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notesSlides/notesSlide1.xml" ContentType="application/vnd.openxmlformats-officedocument.presentationml.notesSlide+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notesSlides/notesSlide2.xml" ContentType="application/vnd.openxmlformats-officedocument.presentationml.notesSlide+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notesSlides/notesSlide3.xml" ContentType="application/vnd.openxmlformats-officedocument.presentationml.notesSlide+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notesSlides/notesSlide4.xml" ContentType="application/vnd.openxmlformats-officedocument.presentationml.notesSlide+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notesSlides/notesSlide5.xml" ContentType="application/vnd.openxmlformats-officedocument.presentationml.notesSlide+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notesSlides/notesSlide6.xml" ContentType="application/vnd.openxmlformats-officedocument.presentationml.notesSlide+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notesSlides/notesSlide7.xml" ContentType="application/vnd.openxmlformats-officedocument.presentationml.notesSlide+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notesSlides/notesSlide8.xml" ContentType="application/vnd.openxmlformats-officedocument.presentationml.notesSlide+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notesSlides/notesSlide9.xml" ContentType="application/vnd.openxmlformats-officedocument.presentationml.notesSlide+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notesSlides/notesSlide10.xml" ContentType="application/vnd.openxmlformats-officedocument.presentationml.notesSlide+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notesSlides/notesSlide11.xml" ContentType="application/vnd.openxmlformats-officedocument.presentationml.notesSlide+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notesSlides/notesSlide12.xml" ContentType="application/vnd.openxmlformats-officedocument.presentationml.notesSlide+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notesSlides/notesSlide13.xml" ContentType="application/vnd.openxmlformats-officedocument.presentationml.notesSlide+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notesSlides/notesSlide1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notesSlides/notesSlide15.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notesSlides/notesSlide16.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notesSlides/notesSlide17.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notesSlides/notesSlide18.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notesSlides/notesSlide19.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notesSlides/notesSlide20.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notesSlides/notesSlide21.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648" r:id="rId4"/>
    <p:sldMasterId id="2147483864" r:id="rId5"/>
  </p:sldMasterIdLst>
  <p:notesMasterIdLst>
    <p:notesMasterId r:id="rId30"/>
  </p:notesMasterIdLst>
  <p:handoutMasterIdLst>
    <p:handoutMasterId r:id="rId31"/>
  </p:handoutMasterIdLst>
  <p:sldIdLst>
    <p:sldId id="258" r:id="rId6"/>
    <p:sldId id="263" r:id="rId7"/>
    <p:sldId id="2147479064" r:id="rId8"/>
    <p:sldId id="2147479043" r:id="rId9"/>
    <p:sldId id="2147483624" r:id="rId10"/>
    <p:sldId id="2147479057" r:id="rId11"/>
    <p:sldId id="2147479459" r:id="rId12"/>
    <p:sldId id="2147479350" r:id="rId13"/>
    <p:sldId id="2147479351" r:id="rId14"/>
    <p:sldId id="2147479455" r:id="rId15"/>
    <p:sldId id="2147479355" r:id="rId16"/>
    <p:sldId id="2147479353" r:id="rId17"/>
    <p:sldId id="2147479354" r:id="rId18"/>
    <p:sldId id="2147479456" r:id="rId19"/>
    <p:sldId id="262" r:id="rId20"/>
    <p:sldId id="2147483625" r:id="rId21"/>
    <p:sldId id="2147479269" r:id="rId22"/>
    <p:sldId id="2147479270" r:id="rId23"/>
    <p:sldId id="2147479147" r:id="rId24"/>
    <p:sldId id="2147479129" r:id="rId25"/>
    <p:sldId id="2147479272" r:id="rId26"/>
    <p:sldId id="2147479157" r:id="rId27"/>
    <p:sldId id="2147479271" r:id="rId28"/>
    <p:sldId id="2147479273" r:id="rId29"/>
  </p:sldIdLst>
  <p:sldSz cx="12192000" cy="6858000"/>
  <p:notesSz cx="7102475" cy="9388475"/>
  <p:embeddedFontLst>
    <p:embeddedFont>
      <p:font typeface="Segoe UI" panose="020B0502040204020203" pitchFamily="34" charset="0"/>
      <p:regular r:id="rId32"/>
      <p:bold r:id="rId33"/>
      <p:italic r:id="rId34"/>
      <p:boldItalic r:id="rId35"/>
    </p:embeddedFont>
  </p:embeddedFontLst>
  <p:custDataLst>
    <p:tags r:id="rId3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AE4D1"/>
    <a:srgbClr val="F3E3E3"/>
    <a:srgbClr val="FBDEE1"/>
    <a:srgbClr val="E4EDE7"/>
    <a:srgbClr val="E1EEFF"/>
    <a:srgbClr val="800080"/>
    <a:srgbClr val="0000FF"/>
    <a:srgbClr val="DDDDDD"/>
    <a:srgbClr val="DD8080"/>
    <a:srgbClr val="8080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703" autoAdjust="0"/>
    <p:restoredTop sz="94582" autoAdjust="0"/>
  </p:normalViewPr>
  <p:slideViewPr>
    <p:cSldViewPr snapToGrid="0" snapToObjects="1">
      <p:cViewPr varScale="1">
        <p:scale>
          <a:sx n="92" d="100"/>
          <a:sy n="92" d="100"/>
        </p:scale>
        <p:origin x="590" y="82"/>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40" d="100"/>
        <a:sy n="140" d="100"/>
      </p:scale>
      <p:origin x="0" y="0"/>
    </p:cViewPr>
  </p:sorterViewPr>
  <p:notesViewPr>
    <p:cSldViewPr snapToGrid="0" snapToObjects="1">
      <p:cViewPr>
        <p:scale>
          <a:sx n="75" d="100"/>
          <a:sy n="75" d="100"/>
        </p:scale>
        <p:origin x="3204" y="16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viewProps" Target="viewProps.xml"/><Relationship Id="rId21" Type="http://schemas.openxmlformats.org/officeDocument/2006/relationships/slide" Target="slides/slide16.xml"/><Relationship Id="rId34" Type="http://schemas.openxmlformats.org/officeDocument/2006/relationships/font" Target="fonts/font3.fntdata"/><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font" Target="fonts/font1.fntdata"/><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35" Type="http://schemas.openxmlformats.org/officeDocument/2006/relationships/font" Target="fonts/font4.fntdata"/><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font" Target="fonts/font2.fntdata"/><Relationship Id="rId38"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402843601895734E-2"/>
          <c:y val="0.15757575757575756"/>
          <c:w val="0.96919431279620849"/>
          <c:h val="0.68484848484848482"/>
        </c:manualLayout>
      </c:layout>
      <c:barChart>
        <c:barDir val="col"/>
        <c:grouping val="stacked"/>
        <c:varyColors val="0"/>
        <c:ser>
          <c:idx val="0"/>
          <c:order val="0"/>
          <c:spPr>
            <a:solidFill>
              <a:schemeClr val="accent1"/>
            </a:solidFill>
            <a:ln w="9525" cmpd="sng" algn="ctr">
              <a:solidFill>
                <a:schemeClr val="bg1"/>
              </a:solidFill>
              <a:prstDash val="solid"/>
            </a:ln>
          </c:spPr>
          <c:invertIfNegative val="0"/>
          <c:val>
            <c:numRef>
              <c:f>Sheet1!$A$1:$E$1</c:f>
              <c:numCache>
                <c:formatCode>General</c:formatCode>
                <c:ptCount val="5"/>
                <c:pt idx="0">
                  <c:v>6.2665847834842019</c:v>
                </c:pt>
                <c:pt idx="1">
                  <c:v>6.0447838445515396</c:v>
                </c:pt>
                <c:pt idx="2">
                  <c:v>5.8933239759482419</c:v>
                </c:pt>
                <c:pt idx="3">
                  <c:v>5.9713134222805966</c:v>
                </c:pt>
                <c:pt idx="4">
                  <c:v>5.6989980904745101</c:v>
                </c:pt>
              </c:numCache>
            </c:numRef>
          </c:val>
          <c:extLst>
            <c:ext xmlns:c16="http://schemas.microsoft.com/office/drawing/2014/chart" uri="{C3380CC4-5D6E-409C-BE32-E72D297353CC}">
              <c16:uniqueId val="{00000000-8A03-4231-8CCB-F80376972FD3}"/>
            </c:ext>
          </c:extLst>
        </c:ser>
        <c:ser>
          <c:idx val="1"/>
          <c:order val="1"/>
          <c:spPr>
            <a:solidFill>
              <a:schemeClr val="accent3"/>
            </a:solidFill>
            <a:ln w="9525" cmpd="sng" algn="ctr">
              <a:solidFill>
                <a:schemeClr val="bg1"/>
              </a:solidFill>
              <a:prstDash val="solid"/>
            </a:ln>
          </c:spPr>
          <c:invertIfNegative val="0"/>
          <c:val>
            <c:numRef>
              <c:f>Sheet1!$A$2:$E$2</c:f>
              <c:numCache>
                <c:formatCode>General</c:formatCode>
                <c:ptCount val="5"/>
                <c:pt idx="0">
                  <c:v>1.5894002165157985</c:v>
                </c:pt>
                <c:pt idx="1">
                  <c:v>1.5868821554484605</c:v>
                </c:pt>
                <c:pt idx="2">
                  <c:v>1.5160890240517579</c:v>
                </c:pt>
                <c:pt idx="3">
                  <c:v>1.1950615777194038</c:v>
                </c:pt>
                <c:pt idx="4">
                  <c:v>1.1607059095254897</c:v>
                </c:pt>
              </c:numCache>
            </c:numRef>
          </c:val>
          <c:extLst>
            <c:ext xmlns:c16="http://schemas.microsoft.com/office/drawing/2014/chart" uri="{C3380CC4-5D6E-409C-BE32-E72D297353CC}">
              <c16:uniqueId val="{00000001-8A03-4231-8CCB-F80376972FD3}"/>
            </c:ext>
          </c:extLst>
        </c:ser>
        <c:dLbls>
          <c:showLegendKey val="0"/>
          <c:showVal val="0"/>
          <c:showCatName val="0"/>
          <c:showSerName val="0"/>
          <c:showPercent val="0"/>
          <c:showBubbleSize val="0"/>
        </c:dLbls>
        <c:gapWidth val="40"/>
        <c:overlap val="100"/>
        <c:axId val="40928656"/>
        <c:axId val="1"/>
      </c:barChart>
      <c:catAx>
        <c:axId val="4092865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8559850000000004"/>
          <c:min val="0"/>
        </c:scaling>
        <c:delete val="1"/>
        <c:axPos val="l"/>
        <c:numFmt formatCode="General" sourceLinked="1"/>
        <c:majorTickMark val="out"/>
        <c:minorTickMark val="none"/>
        <c:tickLblPos val="nextTo"/>
        <c:crossAx val="40928656"/>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186915887850467E-2"/>
          <c:y val="0.23825503355704697"/>
          <c:w val="0.96962616822429903"/>
          <c:h val="0.52348993288590606"/>
        </c:manualLayout>
      </c:layout>
      <c:barChart>
        <c:barDir val="col"/>
        <c:grouping val="stacked"/>
        <c:varyColors val="0"/>
        <c:ser>
          <c:idx val="0"/>
          <c:order val="0"/>
          <c:spPr>
            <a:no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0CBD-4F10-A501-202DF6CE938A}"/>
              </c:ext>
            </c:extLst>
          </c:dPt>
          <c:dPt>
            <c:idx val="3"/>
            <c:invertIfNegative val="0"/>
            <c:bubble3D val="0"/>
            <c:spPr>
              <a:solidFill>
                <a:schemeClr val="accent1"/>
              </a:solidFill>
              <a:ln>
                <a:noFill/>
              </a:ln>
            </c:spPr>
            <c:extLst>
              <c:ext xmlns:c16="http://schemas.microsoft.com/office/drawing/2014/chart" uri="{C3380CC4-5D6E-409C-BE32-E72D297353CC}">
                <c16:uniqueId val="{00000001-0CBD-4F10-A501-202DF6CE938A}"/>
              </c:ext>
            </c:extLst>
          </c:dPt>
          <c:dLbls>
            <c:dLbl>
              <c:idx val="0"/>
              <c:layout>
                <c:manualLayout>
                  <c:x val="0"/>
                  <c:y val="-0.25167785234899331"/>
                </c:manualLayout>
              </c:layout>
              <c:numFmt formatCode="#,##0;&quot;-&quot;#,##0" sourceLinked="0"/>
              <c:spPr>
                <a:noFill/>
                <a:ln>
                  <a:noFill/>
                </a:ln>
              </c:spPr>
              <c:txPr>
                <a:bodyPr wrap="none"/>
                <a:lstStyle/>
                <a:p>
                  <a:pPr>
                    <a:defRPr sz="1000" kern="1200">
                      <a:solidFill>
                        <a:schemeClr val="tx1">
                          <a:lumMod val="85000"/>
                          <a:lumOff val="15000"/>
                        </a:schemeClr>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CBD-4F10-A501-202DF6CE938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683.87280981635183</c:v>
                </c:pt>
                <c:pt idx="1">
                  <c:v>683.87280981635183</c:v>
                </c:pt>
                <c:pt idx="2">
                  <c:v>1127.6179149735528</c:v>
                </c:pt>
                <c:pt idx="3">
                  <c:v>1220.6582182621332</c:v>
                </c:pt>
              </c:numCache>
            </c:numRef>
          </c:val>
          <c:extLst>
            <c:ext xmlns:c16="http://schemas.microsoft.com/office/drawing/2014/chart" uri="{C3380CC4-5D6E-409C-BE32-E72D297353CC}">
              <c16:uniqueId val="{00000002-0CBD-4F10-A501-202DF6CE938A}"/>
            </c:ext>
          </c:extLst>
        </c:ser>
        <c:ser>
          <c:idx val="1"/>
          <c:order val="1"/>
          <c:spPr>
            <a:solidFill>
              <a:schemeClr val="accent1"/>
            </a:solidFill>
            <a:ln>
              <a:noFill/>
            </a:ln>
          </c:spPr>
          <c:invertIfNegative val="0"/>
          <c:dLbls>
            <c:dLbl>
              <c:idx val="1"/>
              <c:layout>
                <c:manualLayout>
                  <c:x val="0"/>
                  <c:y val="-5.0335570469798654E-3"/>
                </c:manualLayout>
              </c:layout>
              <c:numFmt formatCode="#,##0;#,##0" sourceLinked="0"/>
              <c:spPr>
                <a:noFill/>
                <a:ln>
                  <a:noFill/>
                </a:ln>
              </c:spPr>
              <c:txPr>
                <a:bodyPr wrap="none"/>
                <a:lstStyle/>
                <a:p>
                  <a:pPr>
                    <a:defRPr sz="1000" kern="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CBD-4F10-A501-202DF6CE938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1">
                  <c:v>443.74510515720101</c:v>
                </c:pt>
                <c:pt idx="2">
                  <c:v>93.04030328858039</c:v>
                </c:pt>
              </c:numCache>
            </c:numRef>
          </c:val>
          <c:extLst>
            <c:ext xmlns:c16="http://schemas.microsoft.com/office/drawing/2014/chart" uri="{C3380CC4-5D6E-409C-BE32-E72D297353CC}">
              <c16:uniqueId val="{00000004-0CBD-4F10-A501-202DF6CE938A}"/>
            </c:ext>
          </c:extLst>
        </c:ser>
        <c:dLbls>
          <c:showLegendKey val="0"/>
          <c:showVal val="0"/>
          <c:showCatName val="0"/>
          <c:showSerName val="0"/>
          <c:showPercent val="0"/>
          <c:showBubbleSize val="0"/>
        </c:dLbls>
        <c:gapWidth val="80"/>
        <c:overlap val="100"/>
        <c:axId val="1550229311"/>
        <c:axId val="1"/>
      </c:barChart>
      <c:catAx>
        <c:axId val="155022931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220.6582182621332"/>
          <c:min val="0"/>
        </c:scaling>
        <c:delete val="1"/>
        <c:axPos val="l"/>
        <c:numFmt formatCode="General" sourceLinked="1"/>
        <c:majorTickMark val="out"/>
        <c:minorTickMark val="none"/>
        <c:tickLblPos val="nextTo"/>
        <c:crossAx val="1550229311"/>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402843601895734E-2"/>
          <c:y val="0.15757575757575756"/>
          <c:w val="0.96919431279620849"/>
          <c:h val="0.68484848484848482"/>
        </c:manualLayout>
      </c:layout>
      <c:barChart>
        <c:barDir val="col"/>
        <c:grouping val="stacked"/>
        <c:varyColors val="0"/>
        <c:ser>
          <c:idx val="0"/>
          <c:order val="0"/>
          <c:spPr>
            <a:solidFill>
              <a:schemeClr val="accent1"/>
            </a:solidFill>
            <a:ln w="9525" cmpd="sng" algn="ctr">
              <a:solidFill>
                <a:schemeClr val="bg1"/>
              </a:solidFill>
              <a:prstDash val="solid"/>
            </a:ln>
          </c:spPr>
          <c:invertIfNegative val="0"/>
          <c:val>
            <c:numRef>
              <c:f>Sheet1!$A$1:$E$1</c:f>
              <c:numCache>
                <c:formatCode>General</c:formatCode>
                <c:ptCount val="5"/>
                <c:pt idx="0">
                  <c:v>0.7469189051334606</c:v>
                </c:pt>
                <c:pt idx="1">
                  <c:v>0.80450186377500876</c:v>
                </c:pt>
                <c:pt idx="2">
                  <c:v>0.8911083399021773</c:v>
                </c:pt>
                <c:pt idx="3">
                  <c:v>0.90440083787161396</c:v>
                </c:pt>
                <c:pt idx="4">
                  <c:v>0.84713901685094584</c:v>
                </c:pt>
              </c:numCache>
            </c:numRef>
          </c:val>
          <c:extLst>
            <c:ext xmlns:c16="http://schemas.microsoft.com/office/drawing/2014/chart" uri="{C3380CC4-5D6E-409C-BE32-E72D297353CC}">
              <c16:uniqueId val="{00000000-5030-4D3F-82FC-36D4251B5910}"/>
            </c:ext>
          </c:extLst>
        </c:ser>
        <c:ser>
          <c:idx val="1"/>
          <c:order val="1"/>
          <c:spPr>
            <a:solidFill>
              <a:schemeClr val="accent3"/>
            </a:solidFill>
            <a:ln w="9525" cmpd="sng" algn="ctr">
              <a:solidFill>
                <a:schemeClr val="bg1"/>
              </a:solidFill>
              <a:prstDash val="solid"/>
            </a:ln>
          </c:spPr>
          <c:invertIfNegative val="0"/>
          <c:val>
            <c:numRef>
              <c:f>Sheet1!$A$2:$E$2</c:f>
              <c:numCache>
                <c:formatCode>General</c:formatCode>
                <c:ptCount val="5"/>
                <c:pt idx="0">
                  <c:v>0.3237200948665393</c:v>
                </c:pt>
                <c:pt idx="1">
                  <c:v>0.31706613622499114</c:v>
                </c:pt>
                <c:pt idx="2">
                  <c:v>0.39533066009782281</c:v>
                </c:pt>
                <c:pt idx="3">
                  <c:v>0.3299491621283861</c:v>
                </c:pt>
                <c:pt idx="4">
                  <c:v>0.34220098314905423</c:v>
                </c:pt>
              </c:numCache>
            </c:numRef>
          </c:val>
          <c:extLst>
            <c:ext xmlns:c16="http://schemas.microsoft.com/office/drawing/2014/chart" uri="{C3380CC4-5D6E-409C-BE32-E72D297353CC}">
              <c16:uniqueId val="{00000001-5030-4D3F-82FC-36D4251B5910}"/>
            </c:ext>
          </c:extLst>
        </c:ser>
        <c:dLbls>
          <c:showLegendKey val="0"/>
          <c:showVal val="0"/>
          <c:showCatName val="0"/>
          <c:showSerName val="0"/>
          <c:showPercent val="0"/>
          <c:showBubbleSize val="0"/>
        </c:dLbls>
        <c:gapWidth val="40"/>
        <c:overlap val="100"/>
        <c:axId val="721226208"/>
        <c:axId val="1"/>
      </c:barChart>
      <c:catAx>
        <c:axId val="72122620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2864390000000001"/>
          <c:min val="0"/>
        </c:scaling>
        <c:delete val="1"/>
        <c:axPos val="l"/>
        <c:numFmt formatCode="General" sourceLinked="1"/>
        <c:majorTickMark val="out"/>
        <c:minorTickMark val="none"/>
        <c:tickLblPos val="nextTo"/>
        <c:crossAx val="721226208"/>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994232987312572E-2"/>
          <c:y val="0.23509933774834438"/>
          <c:w val="0.97001153402537488"/>
          <c:h val="0.5298013245033113"/>
        </c:manualLayout>
      </c:layout>
      <c:barChart>
        <c:barDir val="col"/>
        <c:grouping val="stacked"/>
        <c:varyColors val="0"/>
        <c:ser>
          <c:idx val="0"/>
          <c:order val="0"/>
          <c:spPr>
            <a:no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6345-442B-8C79-7A4218FFCD5C}"/>
              </c:ext>
            </c:extLst>
          </c:dPt>
          <c:dPt>
            <c:idx val="5"/>
            <c:invertIfNegative val="0"/>
            <c:bubble3D val="0"/>
            <c:spPr>
              <a:solidFill>
                <a:schemeClr val="accent1"/>
              </a:solidFill>
              <a:ln>
                <a:noFill/>
              </a:ln>
            </c:spPr>
            <c:extLst>
              <c:ext xmlns:c16="http://schemas.microsoft.com/office/drawing/2014/chart" uri="{C3380CC4-5D6E-409C-BE32-E72D297353CC}">
                <c16:uniqueId val="{00000001-6345-442B-8C79-7A4218FFCD5C}"/>
              </c:ext>
            </c:extLst>
          </c:dPt>
          <c:val>
            <c:numRef>
              <c:f>Sheet1!$A$1:$F$1</c:f>
              <c:numCache>
                <c:formatCode>General</c:formatCode>
                <c:ptCount val="6"/>
                <c:pt idx="0">
                  <c:v>1207.8404393357821</c:v>
                </c:pt>
                <c:pt idx="1">
                  <c:v>1207.8404393357821</c:v>
                </c:pt>
                <c:pt idx="2">
                  <c:v>2153.2592202068063</c:v>
                </c:pt>
                <c:pt idx="3">
                  <c:v>2795.0484407125368</c:v>
                </c:pt>
                <c:pt idx="4">
                  <c:v>3366.5446440228106</c:v>
                </c:pt>
                <c:pt idx="5">
                  <c:v>3946.4075792237127</c:v>
                </c:pt>
              </c:numCache>
            </c:numRef>
          </c:val>
          <c:extLst>
            <c:ext xmlns:c16="http://schemas.microsoft.com/office/drawing/2014/chart" uri="{C3380CC4-5D6E-409C-BE32-E72D297353CC}">
              <c16:uniqueId val="{00000002-6345-442B-8C79-7A4218FFCD5C}"/>
            </c:ext>
          </c:extLst>
        </c:ser>
        <c:ser>
          <c:idx val="1"/>
          <c:order val="1"/>
          <c:spPr>
            <a:solidFill>
              <a:schemeClr val="accent1"/>
            </a:solidFill>
            <a:ln>
              <a:noFill/>
            </a:ln>
          </c:spPr>
          <c:invertIfNegative val="0"/>
          <c:dLbls>
            <c:dLbl>
              <c:idx val="1"/>
              <c:layout>
                <c:manualLayout>
                  <c:x val="0"/>
                  <c:y val="-6.6225165562913907E-3"/>
                </c:manualLayout>
              </c:layout>
              <c:numFmt formatCode="#,##0;#,##0;0" sourceLinked="0"/>
              <c:spPr>
                <a:noFill/>
                <a:ln>
                  <a:noFill/>
                </a:ln>
              </c:spPr>
              <c:txPr>
                <a:bodyPr wrap="none"/>
                <a:lstStyle/>
                <a:p>
                  <a:pPr>
                    <a:defRPr sz="10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345-442B-8C79-7A4218FFCD5C}"/>
                </c:ext>
              </c:extLst>
            </c:dLbl>
            <c:dLbl>
              <c:idx val="2"/>
              <c:layout>
                <c:manualLayout>
                  <c:x val="6.8627450980392163E-2"/>
                  <c:y val="-4.9668874172185433E-3"/>
                </c:manualLayout>
              </c:layout>
              <c:numFmt formatCode="#,##0;#,##0;0" sourceLinked="0"/>
              <c:spPr>
                <a:noFill/>
                <a:ln>
                  <a:noFill/>
                </a:ln>
              </c:spPr>
              <c:txPr>
                <a:bodyPr wrap="none"/>
                <a:lstStyle/>
                <a:p>
                  <a:pPr>
                    <a:defRPr sz="1000" kern="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345-442B-8C79-7A4218FFCD5C}"/>
                </c:ext>
              </c:extLst>
            </c:dLbl>
            <c:dLbl>
              <c:idx val="3"/>
              <c:layout>
                <c:manualLayout>
                  <c:x val="6.8627450980392163E-2"/>
                  <c:y val="5.4635761589403975E-2"/>
                </c:manualLayout>
              </c:layout>
              <c:numFmt formatCode="#,##0;#,##0;0" sourceLinked="0"/>
              <c:spPr>
                <a:noFill/>
                <a:ln>
                  <a:noFill/>
                </a:ln>
              </c:spPr>
              <c:txPr>
                <a:bodyPr wrap="none"/>
                <a:lstStyle/>
                <a:p>
                  <a:pPr>
                    <a:defRPr sz="1000" kern="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345-442B-8C79-7A4218FFCD5C}"/>
                </c:ext>
              </c:extLst>
            </c:dLbl>
            <c:dLbl>
              <c:idx val="4"/>
              <c:layout>
                <c:manualLayout>
                  <c:x val="6.8627450980392163E-2"/>
                  <c:y val="5.2980132450331126E-2"/>
                </c:manualLayout>
              </c:layout>
              <c:numFmt formatCode="#,##0;#,##0;0" sourceLinked="0"/>
              <c:spPr>
                <a:noFill/>
                <a:ln>
                  <a:noFill/>
                </a:ln>
              </c:spPr>
              <c:txPr>
                <a:bodyPr wrap="none"/>
                <a:lstStyle/>
                <a:p>
                  <a:pPr>
                    <a:defRPr sz="1000" kern="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345-442B-8C79-7A4218FFCD5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1">
                  <c:v>945.41878087102418</c:v>
                </c:pt>
                <c:pt idx="2">
                  <c:v>641.78922050573101</c:v>
                </c:pt>
                <c:pt idx="3">
                  <c:v>571.49620331027381</c:v>
                </c:pt>
                <c:pt idx="4">
                  <c:v>579.86293520090203</c:v>
                </c:pt>
              </c:numCache>
            </c:numRef>
          </c:val>
          <c:extLst>
            <c:ext xmlns:c16="http://schemas.microsoft.com/office/drawing/2014/chart" uri="{C3380CC4-5D6E-409C-BE32-E72D297353CC}">
              <c16:uniqueId val="{00000007-6345-442B-8C79-7A4218FFCD5C}"/>
            </c:ext>
          </c:extLst>
        </c:ser>
        <c:dLbls>
          <c:showLegendKey val="0"/>
          <c:showVal val="0"/>
          <c:showCatName val="0"/>
          <c:showSerName val="0"/>
          <c:showPercent val="0"/>
          <c:showBubbleSize val="0"/>
        </c:dLbls>
        <c:gapWidth val="80"/>
        <c:overlap val="100"/>
        <c:axId val="721224288"/>
        <c:axId val="1"/>
      </c:barChart>
      <c:catAx>
        <c:axId val="72122428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946.4075792237127"/>
          <c:min val="0"/>
        </c:scaling>
        <c:delete val="1"/>
        <c:axPos val="l"/>
        <c:numFmt formatCode="General" sourceLinked="1"/>
        <c:majorTickMark val="out"/>
        <c:minorTickMark val="none"/>
        <c:tickLblPos val="nextTo"/>
        <c:crossAx val="721224288"/>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402843601895734E-2"/>
          <c:y val="0.15757575757575756"/>
          <c:w val="0.96919431279620849"/>
          <c:h val="0.68484848484848482"/>
        </c:manualLayout>
      </c:layout>
      <c:barChart>
        <c:barDir val="col"/>
        <c:grouping val="stacked"/>
        <c:varyColors val="0"/>
        <c:ser>
          <c:idx val="0"/>
          <c:order val="0"/>
          <c:spPr>
            <a:solidFill>
              <a:schemeClr val="accent1"/>
            </a:solidFill>
            <a:ln w="9525" cmpd="sng" algn="ctr">
              <a:solidFill>
                <a:schemeClr val="bg1"/>
              </a:solidFill>
              <a:prstDash val="solid"/>
            </a:ln>
          </c:spPr>
          <c:invertIfNegative val="0"/>
          <c:val>
            <c:numRef>
              <c:f>Sheet1!$A$1:$E$1</c:f>
              <c:numCache>
                <c:formatCode>General</c:formatCode>
                <c:ptCount val="5"/>
                <c:pt idx="0">
                  <c:v>0.20849068181094199</c:v>
                </c:pt>
                <c:pt idx="1">
                  <c:v>0.19727183336750759</c:v>
                </c:pt>
                <c:pt idx="2">
                  <c:v>0.15512767964243218</c:v>
                </c:pt>
                <c:pt idx="3">
                  <c:v>0.17563541865539994</c:v>
                </c:pt>
                <c:pt idx="4">
                  <c:v>0.21869860324961787</c:v>
                </c:pt>
              </c:numCache>
            </c:numRef>
          </c:val>
          <c:extLst>
            <c:ext xmlns:c16="http://schemas.microsoft.com/office/drawing/2014/chart" uri="{C3380CC4-5D6E-409C-BE32-E72D297353CC}">
              <c16:uniqueId val="{00000000-7CFC-41B6-B9B4-314F50BAD060}"/>
            </c:ext>
          </c:extLst>
        </c:ser>
        <c:ser>
          <c:idx val="1"/>
          <c:order val="1"/>
          <c:spPr>
            <a:solidFill>
              <a:schemeClr val="accent3"/>
            </a:solidFill>
            <a:ln w="9525" cmpd="sng" algn="ctr">
              <a:solidFill>
                <a:schemeClr val="bg1"/>
              </a:solidFill>
              <a:prstDash val="solid"/>
            </a:ln>
          </c:spPr>
          <c:invertIfNegative val="0"/>
          <c:val>
            <c:numRef>
              <c:f>Sheet1!$A$2:$E$2</c:f>
              <c:numCache>
                <c:formatCode>General</c:formatCode>
                <c:ptCount val="5"/>
                <c:pt idx="0">
                  <c:v>0.413873818189058</c:v>
                </c:pt>
                <c:pt idx="1">
                  <c:v>0.43454016663249245</c:v>
                </c:pt>
                <c:pt idx="2">
                  <c:v>0.49266992035756779</c:v>
                </c:pt>
                <c:pt idx="3">
                  <c:v>0.47109848134460003</c:v>
                </c:pt>
                <c:pt idx="4">
                  <c:v>0.38413319675038216</c:v>
                </c:pt>
              </c:numCache>
            </c:numRef>
          </c:val>
          <c:extLst>
            <c:ext xmlns:c16="http://schemas.microsoft.com/office/drawing/2014/chart" uri="{C3380CC4-5D6E-409C-BE32-E72D297353CC}">
              <c16:uniqueId val="{00000001-7CFC-41B6-B9B4-314F50BAD060}"/>
            </c:ext>
          </c:extLst>
        </c:ser>
        <c:dLbls>
          <c:showLegendKey val="0"/>
          <c:showVal val="0"/>
          <c:showCatName val="0"/>
          <c:showSerName val="0"/>
          <c:showPercent val="0"/>
          <c:showBubbleSize val="0"/>
        </c:dLbls>
        <c:gapWidth val="40"/>
        <c:overlap val="100"/>
        <c:axId val="1585419999"/>
        <c:axId val="1"/>
      </c:barChart>
      <c:catAx>
        <c:axId val="158541999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0.64779759999999997"/>
          <c:min val="0"/>
        </c:scaling>
        <c:delete val="1"/>
        <c:axPos val="l"/>
        <c:numFmt formatCode="General" sourceLinked="1"/>
        <c:majorTickMark val="out"/>
        <c:minorTickMark val="none"/>
        <c:tickLblPos val="nextTo"/>
        <c:crossAx val="1585419999"/>
        <c:crosses val="min"/>
        <c:crossBetween val="between"/>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614952220348511E-2"/>
          <c:y val="0.26007326007326009"/>
          <c:w val="0.97077009555930294"/>
          <c:h val="0.47985347985347987"/>
        </c:manualLayout>
      </c:layout>
      <c:barChart>
        <c:barDir val="col"/>
        <c:grouping val="stacked"/>
        <c:varyColors val="0"/>
        <c:ser>
          <c:idx val="0"/>
          <c:order val="0"/>
          <c:spPr>
            <a:solidFill>
              <a:schemeClr val="accent4"/>
            </a:solidFill>
            <a:ln>
              <a:noFill/>
            </a:ln>
          </c:spPr>
          <c:invertIfNegative val="0"/>
          <c:val>
            <c:numRef>
              <c:f>Sheet1!$A$1:$E$1</c:f>
              <c:numCache>
                <c:formatCode>General</c:formatCode>
                <c:ptCount val="5"/>
                <c:pt idx="0">
                  <c:v>1138.3899999999999</c:v>
                </c:pt>
                <c:pt idx="1">
                  <c:v>1193.69</c:v>
                </c:pt>
                <c:pt idx="2">
                  <c:v>1394.63</c:v>
                </c:pt>
                <c:pt idx="3">
                  <c:v>1443.1699999999998</c:v>
                </c:pt>
                <c:pt idx="4">
                  <c:v>1334.9500000000003</c:v>
                </c:pt>
              </c:numCache>
            </c:numRef>
          </c:val>
          <c:extLst>
            <c:ext xmlns:c16="http://schemas.microsoft.com/office/drawing/2014/chart" uri="{C3380CC4-5D6E-409C-BE32-E72D297353CC}">
              <c16:uniqueId val="{00000000-16A3-4F9B-B96A-F32C5479C86C}"/>
            </c:ext>
          </c:extLst>
        </c:ser>
        <c:ser>
          <c:idx val="1"/>
          <c:order val="1"/>
          <c:spPr>
            <a:solidFill>
              <a:schemeClr val="accent3"/>
            </a:solidFill>
            <a:ln>
              <a:noFill/>
            </a:ln>
          </c:spPr>
          <c:invertIfNegative val="0"/>
          <c:dLbls>
            <c:dLbl>
              <c:idx val="2"/>
              <c:layout>
                <c:manualLayout>
                  <c:x val="7.1388420460933105E-2"/>
                  <c:y val="0.24542124542124541"/>
                </c:manualLayout>
              </c:layout>
              <c:numFmt formatCode="#,##0;&quot;-&quot;#,##0;0" sourceLinked="0"/>
              <c:spPr>
                <a:noFill/>
                <a:ln>
                  <a:noFill/>
                </a:ln>
              </c:spPr>
              <c:txPr>
                <a:bodyPr wrap="none"/>
                <a:lstStyle/>
                <a:p>
                  <a:pPr>
                    <a:defRPr sz="1000" kern="1200">
                      <a:solidFill>
                        <a:schemeClr val="tx1"/>
                      </a:solidFill>
                      <a:latin typeface="+mn-lt"/>
                      <a:ea typeface="+mn-ea"/>
                      <a:cs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6A3-4F9B-B96A-F32C5479C86C}"/>
                </c:ext>
              </c:extLst>
            </c:dLbl>
            <c:dLbl>
              <c:idx val="3"/>
              <c:layout>
                <c:manualLayout>
                  <c:x val="7.7009555930297915E-2"/>
                  <c:y val="0.27289377289377287"/>
                </c:manualLayout>
              </c:layout>
              <c:numFmt formatCode="#,##0;&quot;-&quot;#,##0;0" sourceLinked="0"/>
              <c:spPr>
                <a:noFill/>
                <a:ln>
                  <a:noFill/>
                </a:ln>
              </c:spPr>
              <c:txPr>
                <a:bodyPr wrap="none"/>
                <a:lstStyle/>
                <a:p>
                  <a:pPr>
                    <a:defRPr sz="1000" kern="1200">
                      <a:solidFill>
                        <a:srgbClr val="FFFFFF"/>
                      </a:solidFill>
                      <a:latin typeface="+mn-lt"/>
                      <a:ea typeface="+mn-ea"/>
                      <a:cs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6A3-4F9B-B96A-F32C5479C86C}"/>
                </c:ext>
              </c:extLst>
            </c:dLbl>
            <c:dLbl>
              <c:idx val="4"/>
              <c:layout>
                <c:manualLayout>
                  <c:x val="7.7009555930297915E-2"/>
                  <c:y val="0.25091575091575091"/>
                </c:manualLayout>
              </c:layout>
              <c:numFmt formatCode="#,##0;&quot;-&quot;#,##0;0" sourceLinked="0"/>
              <c:spPr>
                <a:noFill/>
                <a:ln>
                  <a:noFill/>
                </a:ln>
              </c:spPr>
              <c:txPr>
                <a:bodyPr wrap="none"/>
                <a:lstStyle/>
                <a:p>
                  <a:pPr>
                    <a:defRPr sz="1000" kern="1200">
                      <a:solidFill>
                        <a:srgbClr val="FFFFFF"/>
                      </a:solidFill>
                      <a:latin typeface="+mn-lt"/>
                      <a:ea typeface="+mn-ea"/>
                      <a:cs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6A3-4F9B-B96A-F32C5479C86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0</c:v>
                </c:pt>
                <c:pt idx="1">
                  <c:v>0</c:v>
                </c:pt>
                <c:pt idx="2">
                  <c:v>70.759999999999991</c:v>
                </c:pt>
                <c:pt idx="3">
                  <c:v>196.30999999999995</c:v>
                </c:pt>
                <c:pt idx="4">
                  <c:v>246.88999999999987</c:v>
                </c:pt>
              </c:numCache>
            </c:numRef>
          </c:val>
          <c:extLst>
            <c:ext xmlns:c16="http://schemas.microsoft.com/office/drawing/2014/chart" uri="{C3380CC4-5D6E-409C-BE32-E72D297353CC}">
              <c16:uniqueId val="{00000004-16A3-4F9B-B96A-F32C5479C86C}"/>
            </c:ext>
          </c:extLst>
        </c:ser>
        <c:ser>
          <c:idx val="2"/>
          <c:order val="2"/>
          <c:spPr>
            <a:solidFill>
              <a:schemeClr val="accent2"/>
            </a:solidFill>
            <a:ln>
              <a:noFill/>
            </a:ln>
          </c:spPr>
          <c:invertIfNegative val="0"/>
          <c:dLbls>
            <c:dLbl>
              <c:idx val="0"/>
              <c:layout>
                <c:manualLayout>
                  <c:x val="7.7009555930297915E-2"/>
                  <c:y val="3.8461538461538464E-2"/>
                </c:manualLayout>
              </c:layout>
              <c:numFmt formatCode="#,##0;&quot;-&quot;#,##0;0" sourceLinked="0"/>
              <c:spPr>
                <a:noFill/>
                <a:ln>
                  <a:noFill/>
                </a:ln>
              </c:spPr>
              <c:txPr>
                <a:bodyPr wrap="none"/>
                <a:lstStyle/>
                <a:p>
                  <a:pPr>
                    <a:defRPr sz="1000" kern="1200">
                      <a:solidFill>
                        <a:srgbClr val="FFFFFF"/>
                      </a:solidFill>
                      <a:latin typeface="+mn-lt"/>
                      <a:ea typeface="+mn-ea"/>
                      <a:cs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6A3-4F9B-B96A-F32C5479C86C}"/>
                </c:ext>
              </c:extLst>
            </c:dLbl>
            <c:dLbl>
              <c:idx val="1"/>
              <c:layout>
                <c:manualLayout>
                  <c:x val="7.7009555930297915E-2"/>
                  <c:y val="5.4945054945054944E-2"/>
                </c:manualLayout>
              </c:layout>
              <c:numFmt formatCode="#,##0;&quot;-&quot;#,##0;0" sourceLinked="0"/>
              <c:spPr>
                <a:noFill/>
                <a:ln>
                  <a:noFill/>
                </a:ln>
              </c:spPr>
              <c:txPr>
                <a:bodyPr wrap="none"/>
                <a:lstStyle/>
                <a:p>
                  <a:pPr>
                    <a:defRPr sz="1000" kern="1200">
                      <a:solidFill>
                        <a:srgbClr val="FFFFFF"/>
                      </a:solidFill>
                      <a:latin typeface="+mn-lt"/>
                      <a:ea typeface="+mn-ea"/>
                      <a:cs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6A3-4F9B-B96A-F32C5479C86C}"/>
                </c:ext>
              </c:extLst>
            </c:dLbl>
            <c:dLbl>
              <c:idx val="2"/>
              <c:layout>
                <c:manualLayout>
                  <c:x val="7.7009555930297915E-2"/>
                  <c:y val="0.12087912087912088"/>
                </c:manualLayout>
              </c:layout>
              <c:numFmt formatCode="#,##0;&quot;-&quot;#,##0;0" sourceLinked="0"/>
              <c:spPr>
                <a:noFill/>
                <a:ln>
                  <a:noFill/>
                </a:ln>
              </c:spPr>
              <c:txPr>
                <a:bodyPr wrap="none"/>
                <a:lstStyle/>
                <a:p>
                  <a:pPr>
                    <a:defRPr sz="1000" kern="1200">
                      <a:solidFill>
                        <a:srgbClr val="FFFFFF"/>
                      </a:solidFill>
                      <a:latin typeface="+mn-lt"/>
                      <a:ea typeface="+mn-ea"/>
                      <a:cs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6A3-4F9B-B96A-F32C5479C86C}"/>
                </c:ext>
              </c:extLst>
            </c:dLbl>
            <c:dLbl>
              <c:idx val="3"/>
              <c:layout>
                <c:manualLayout>
                  <c:x val="7.7009555930297915E-2"/>
                  <c:y val="0.16483516483516483"/>
                </c:manualLayout>
              </c:layout>
              <c:numFmt formatCode="#,##0;&quot;-&quot;#,##0;0" sourceLinked="0"/>
              <c:spPr>
                <a:noFill/>
                <a:ln>
                  <a:noFill/>
                </a:ln>
              </c:spPr>
              <c:txPr>
                <a:bodyPr wrap="none"/>
                <a:lstStyle/>
                <a:p>
                  <a:pPr>
                    <a:defRPr sz="1000" kern="1200">
                      <a:solidFill>
                        <a:srgbClr val="FFFFFF"/>
                      </a:solidFill>
                      <a:latin typeface="+mn-lt"/>
                      <a:ea typeface="+mn-ea"/>
                      <a:cs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6A3-4F9B-B96A-F32C5479C86C}"/>
                </c:ext>
              </c:extLst>
            </c:dLbl>
            <c:dLbl>
              <c:idx val="4"/>
              <c:layout>
                <c:manualLayout>
                  <c:x val="7.7009555930297915E-2"/>
                  <c:y val="0.15018315018315018"/>
                </c:manualLayout>
              </c:layout>
              <c:numFmt formatCode="#,##0;&quot;-&quot;#,##0;0" sourceLinked="0"/>
              <c:spPr>
                <a:noFill/>
                <a:ln>
                  <a:noFill/>
                </a:ln>
              </c:spPr>
              <c:txPr>
                <a:bodyPr wrap="none"/>
                <a:lstStyle/>
                <a:p>
                  <a:pPr>
                    <a:defRPr sz="1000" kern="1200">
                      <a:solidFill>
                        <a:srgbClr val="FFFFFF"/>
                      </a:solidFill>
                      <a:latin typeface="+mn-lt"/>
                      <a:ea typeface="+mn-ea"/>
                      <a:cs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6A3-4F9B-B96A-F32C5479C86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193.02999999999997</c:v>
                </c:pt>
                <c:pt idx="1">
                  <c:v>214.22000000000003</c:v>
                </c:pt>
                <c:pt idx="2">
                  <c:v>196.33999999999992</c:v>
                </c:pt>
                <c:pt idx="3">
                  <c:v>206.37999999999988</c:v>
                </c:pt>
                <c:pt idx="4">
                  <c:v>200</c:v>
                </c:pt>
              </c:numCache>
            </c:numRef>
          </c:val>
          <c:extLst>
            <c:ext xmlns:c16="http://schemas.microsoft.com/office/drawing/2014/chart" uri="{C3380CC4-5D6E-409C-BE32-E72D297353CC}">
              <c16:uniqueId val="{0000000A-16A3-4F9B-B96A-F32C5479C86C}"/>
            </c:ext>
          </c:extLst>
        </c:ser>
        <c:ser>
          <c:idx val="3"/>
          <c:order val="3"/>
          <c:spPr>
            <a:solidFill>
              <a:schemeClr val="accent1"/>
            </a:solidFill>
            <a:ln>
              <a:noFill/>
            </a:ln>
          </c:spPr>
          <c:invertIfNegative val="0"/>
          <c:dLbls>
            <c:dLbl>
              <c:idx val="0"/>
              <c:layout>
                <c:manualLayout>
                  <c:x val="7.1388420460933105E-2"/>
                  <c:y val="-8.4249084249084255E-2"/>
                </c:manualLayout>
              </c:layout>
              <c:numFmt formatCode="#,##0;&quot;-&quot;#,##0;0" sourceLinked="0"/>
              <c:spPr>
                <a:noFill/>
                <a:ln>
                  <a:noFill/>
                </a:ln>
              </c:spPr>
              <c:txPr>
                <a:bodyPr wrap="none"/>
                <a:lstStyle/>
                <a:p>
                  <a:pPr>
                    <a:defRPr sz="1000" kern="1200">
                      <a:solidFill>
                        <a:srgbClr val="FFFFFF"/>
                      </a:solidFill>
                      <a:latin typeface="+mn-lt"/>
                      <a:ea typeface="+mn-ea"/>
                      <a:cs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6A3-4F9B-B96A-F32C5479C86C}"/>
                </c:ext>
              </c:extLst>
            </c:dLbl>
            <c:dLbl>
              <c:idx val="1"/>
              <c:layout>
                <c:manualLayout>
                  <c:x val="7.1388420460933105E-2"/>
                  <c:y val="-6.95970695970696E-2"/>
                </c:manualLayout>
              </c:layout>
              <c:numFmt formatCode="#,##0;&quot;-&quot;#,##0;0" sourceLinked="0"/>
              <c:spPr>
                <a:noFill/>
                <a:ln>
                  <a:noFill/>
                </a:ln>
              </c:spPr>
              <c:txPr>
                <a:bodyPr wrap="none"/>
                <a:lstStyle/>
                <a:p>
                  <a:pPr>
                    <a:defRPr sz="1000" kern="1200">
                      <a:solidFill>
                        <a:srgbClr val="FFFFFF"/>
                      </a:solidFill>
                      <a:latin typeface="+mn-lt"/>
                      <a:ea typeface="+mn-ea"/>
                      <a:cs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6A3-4F9B-B96A-F32C5479C86C}"/>
                </c:ext>
              </c:extLst>
            </c:dLbl>
            <c:dLbl>
              <c:idx val="2"/>
              <c:layout>
                <c:manualLayout>
                  <c:x val="7.1388420460933105E-2"/>
                  <c:y val="-3.663003663003663E-3"/>
                </c:manualLayout>
              </c:layout>
              <c:numFmt formatCode="#,##0;&quot;-&quot;#,##0;0" sourceLinked="0"/>
              <c:spPr>
                <a:noFill/>
                <a:ln>
                  <a:noFill/>
                </a:ln>
              </c:spPr>
              <c:txPr>
                <a:bodyPr wrap="none"/>
                <a:lstStyle/>
                <a:p>
                  <a:pPr>
                    <a:defRPr sz="1000" kern="1200">
                      <a:solidFill>
                        <a:srgbClr val="FFFFFF"/>
                      </a:solidFill>
                      <a:latin typeface="+mn-lt"/>
                      <a:ea typeface="+mn-ea"/>
                      <a:cs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6A3-4F9B-B96A-F32C5479C86C}"/>
                </c:ext>
              </c:extLst>
            </c:dLbl>
            <c:dLbl>
              <c:idx val="3"/>
              <c:layout>
                <c:manualLayout>
                  <c:x val="7.1388420460933105E-2"/>
                  <c:y val="4.2124542124542128E-2"/>
                </c:manualLayout>
              </c:layout>
              <c:numFmt formatCode="#,##0;&quot;-&quot;#,##0;0" sourceLinked="0"/>
              <c:spPr>
                <a:noFill/>
                <a:ln>
                  <a:noFill/>
                </a:ln>
              </c:spPr>
              <c:txPr>
                <a:bodyPr wrap="none"/>
                <a:lstStyle/>
                <a:p>
                  <a:pPr>
                    <a:defRPr sz="1000" kern="1200">
                      <a:solidFill>
                        <a:schemeClr val="tx1"/>
                      </a:solidFill>
                      <a:latin typeface="+mn-lt"/>
                      <a:ea typeface="+mn-ea"/>
                      <a:cs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6A3-4F9B-B96A-F32C5479C86C}"/>
                </c:ext>
              </c:extLst>
            </c:dLbl>
            <c:dLbl>
              <c:idx val="4"/>
              <c:layout>
                <c:manualLayout>
                  <c:x val="7.1388420460933105E-2"/>
                  <c:y val="2.9304029304029304E-2"/>
                </c:manualLayout>
              </c:layout>
              <c:numFmt formatCode="#,##0;&quot;-&quot;#,##0;0" sourceLinked="0"/>
              <c:spPr>
                <a:noFill/>
                <a:ln>
                  <a:noFill/>
                </a:ln>
              </c:spPr>
              <c:txPr>
                <a:bodyPr wrap="none"/>
                <a:lstStyle/>
                <a:p>
                  <a:pPr>
                    <a:defRPr sz="1000" kern="1200">
                      <a:solidFill>
                        <a:schemeClr val="tx1"/>
                      </a:solidFill>
                      <a:latin typeface="+mn-lt"/>
                      <a:ea typeface="+mn-ea"/>
                      <a:cs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6A3-4F9B-B96A-F32C5479C86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80.539999999999964</c:v>
                </c:pt>
                <c:pt idx="1">
                  <c:v>54.75</c:v>
                </c:pt>
                <c:pt idx="2">
                  <c:v>69.930000000000064</c:v>
                </c:pt>
                <c:pt idx="3">
                  <c:v>73.1099999999999</c:v>
                </c:pt>
                <c:pt idx="4">
                  <c:v>95</c:v>
                </c:pt>
              </c:numCache>
            </c:numRef>
          </c:val>
          <c:extLst>
            <c:ext xmlns:c16="http://schemas.microsoft.com/office/drawing/2014/chart" uri="{C3380CC4-5D6E-409C-BE32-E72D297353CC}">
              <c16:uniqueId val="{00000010-16A3-4F9B-B96A-F32C5479C86C}"/>
            </c:ext>
          </c:extLst>
        </c:ser>
        <c:dLbls>
          <c:showLegendKey val="0"/>
          <c:showVal val="0"/>
          <c:showCatName val="0"/>
          <c:showSerName val="0"/>
          <c:showPercent val="0"/>
          <c:showBubbleSize val="0"/>
        </c:dLbls>
        <c:gapWidth val="80"/>
        <c:overlap val="100"/>
        <c:axId val="721469568"/>
        <c:axId val="1"/>
      </c:barChart>
      <c:catAx>
        <c:axId val="72146956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918.9699999999996"/>
          <c:min val="0"/>
        </c:scaling>
        <c:delete val="1"/>
        <c:axPos val="l"/>
        <c:numFmt formatCode="General" sourceLinked="1"/>
        <c:majorTickMark val="out"/>
        <c:minorTickMark val="none"/>
        <c:tickLblPos val="nextTo"/>
        <c:crossAx val="721469568"/>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402843601895734E-2"/>
          <c:y val="0.15757575757575756"/>
          <c:w val="0.96919431279620849"/>
          <c:h val="0.68484848484848482"/>
        </c:manualLayout>
      </c:layout>
      <c:barChart>
        <c:barDir val="col"/>
        <c:grouping val="stacked"/>
        <c:varyColors val="0"/>
        <c:ser>
          <c:idx val="0"/>
          <c:order val="0"/>
          <c:spPr>
            <a:solidFill>
              <a:schemeClr val="accent1"/>
            </a:solidFill>
            <a:ln w="9525" cmpd="sng" algn="ctr">
              <a:solidFill>
                <a:schemeClr val="bg1"/>
              </a:solidFill>
              <a:prstDash val="solid"/>
            </a:ln>
          </c:spPr>
          <c:invertIfNegative val="0"/>
          <c:val>
            <c:numRef>
              <c:f>Sheet1!$A$1:$E$1</c:f>
              <c:numCache>
                <c:formatCode>General</c:formatCode>
                <c:ptCount val="5"/>
                <c:pt idx="0">
                  <c:v>464941421.92654586</c:v>
                </c:pt>
                <c:pt idx="1">
                  <c:v>538875917.94480002</c:v>
                </c:pt>
                <c:pt idx="2">
                  <c:v>1603154834.0804887</c:v>
                </c:pt>
                <c:pt idx="3">
                  <c:v>3040467831.5033689</c:v>
                </c:pt>
                <c:pt idx="4">
                  <c:v>6871390987.7277908</c:v>
                </c:pt>
              </c:numCache>
            </c:numRef>
          </c:val>
          <c:extLst>
            <c:ext xmlns:c16="http://schemas.microsoft.com/office/drawing/2014/chart" uri="{C3380CC4-5D6E-409C-BE32-E72D297353CC}">
              <c16:uniqueId val="{00000000-2171-4363-88DB-E3DD4A981718}"/>
            </c:ext>
          </c:extLst>
        </c:ser>
        <c:ser>
          <c:idx val="1"/>
          <c:order val="1"/>
          <c:spPr>
            <a:solidFill>
              <a:schemeClr val="accent2"/>
            </a:solidFill>
            <a:ln w="9525" cmpd="sng" algn="ctr">
              <a:solidFill>
                <a:schemeClr val="bg1"/>
              </a:solidFill>
              <a:prstDash val="solid"/>
            </a:ln>
          </c:spPr>
          <c:invertIfNegative val="0"/>
          <c:val>
            <c:numRef>
              <c:f>Sheet1!$A$2:$E$2</c:f>
              <c:numCache>
                <c:formatCode>General</c:formatCode>
                <c:ptCount val="5"/>
                <c:pt idx="0">
                  <c:v>783194899.07345414</c:v>
                </c:pt>
                <c:pt idx="1">
                  <c:v>885478428.05519998</c:v>
                </c:pt>
                <c:pt idx="2">
                  <c:v>1128044953.9195113</c:v>
                </c:pt>
                <c:pt idx="3">
                  <c:v>1134037358.4966311</c:v>
                </c:pt>
                <c:pt idx="4">
                  <c:v>913178689.32221031</c:v>
                </c:pt>
              </c:numCache>
            </c:numRef>
          </c:val>
          <c:extLst>
            <c:ext xmlns:c16="http://schemas.microsoft.com/office/drawing/2014/chart" uri="{C3380CC4-5D6E-409C-BE32-E72D297353CC}">
              <c16:uniqueId val="{00000001-2171-4363-88DB-E3DD4A981718}"/>
            </c:ext>
          </c:extLst>
        </c:ser>
        <c:ser>
          <c:idx val="2"/>
          <c:order val="2"/>
          <c:spPr>
            <a:solidFill>
              <a:schemeClr val="accent3"/>
            </a:solidFill>
            <a:ln w="9525" cmpd="sng" algn="ctr">
              <a:solidFill>
                <a:schemeClr val="bg1"/>
              </a:solidFill>
              <a:prstDash val="solid"/>
            </a:ln>
          </c:spPr>
          <c:invertIfNegative val="0"/>
          <c:val>
            <c:numRef>
              <c:f>Sheet1!$A$3:$E$3</c:f>
              <c:numCache>
                <c:formatCode>General</c:formatCode>
                <c:ptCount val="5"/>
                <c:pt idx="0">
                  <c:v>131363878</c:v>
                </c:pt>
                <c:pt idx="1">
                  <c:v>141366096</c:v>
                </c:pt>
                <c:pt idx="2">
                  <c:v>82650436</c:v>
                </c:pt>
                <c:pt idx="3">
                  <c:v>82742818</c:v>
                </c:pt>
                <c:pt idx="4">
                  <c:v>108043705.65400028</c:v>
                </c:pt>
              </c:numCache>
            </c:numRef>
          </c:val>
          <c:extLst>
            <c:ext xmlns:c16="http://schemas.microsoft.com/office/drawing/2014/chart" uri="{C3380CC4-5D6E-409C-BE32-E72D297353CC}">
              <c16:uniqueId val="{00000002-2171-4363-88DB-E3DD4A981718}"/>
            </c:ext>
          </c:extLst>
        </c:ser>
        <c:dLbls>
          <c:showLegendKey val="0"/>
          <c:showVal val="0"/>
          <c:showCatName val="0"/>
          <c:showSerName val="0"/>
          <c:showPercent val="0"/>
          <c:showBubbleSize val="0"/>
        </c:dLbls>
        <c:gapWidth val="40"/>
        <c:overlap val="100"/>
        <c:axId val="721372128"/>
        <c:axId val="1"/>
      </c:barChart>
      <c:catAx>
        <c:axId val="72137212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892613382.7040014"/>
          <c:min val="0"/>
        </c:scaling>
        <c:delete val="1"/>
        <c:axPos val="l"/>
        <c:numFmt formatCode="General" sourceLinked="1"/>
        <c:majorTickMark val="out"/>
        <c:minorTickMark val="none"/>
        <c:tickLblPos val="nextTo"/>
        <c:crossAx val="721372128"/>
        <c:crosses val="min"/>
        <c:crossBetween val="between"/>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614952220348511E-2"/>
          <c:y val="0.26007326007326009"/>
          <c:w val="0.97077009555930294"/>
          <c:h val="0.47985347985347987"/>
        </c:manualLayout>
      </c:layout>
      <c:barChart>
        <c:barDir val="col"/>
        <c:grouping val="stacked"/>
        <c:varyColors val="0"/>
        <c:ser>
          <c:idx val="0"/>
          <c:order val="0"/>
          <c:spPr>
            <a:solidFill>
              <a:schemeClr val="accent3"/>
            </a:solidFill>
            <a:ln>
              <a:noFill/>
            </a:ln>
          </c:spPr>
          <c:invertIfNegative val="0"/>
          <c:dLbls>
            <c:dLbl>
              <c:idx val="0"/>
              <c:layout>
                <c:manualLayout>
                  <c:x val="0"/>
                  <c:y val="-5.4945054945054949E-3"/>
                </c:manualLayout>
              </c:layout>
              <c:numFmt formatCode="#,##0;&quot;-&quot;#,##0;0" sourceLinked="0"/>
              <c:spPr>
                <a:noFill/>
                <a:ln>
                  <a:noFill/>
                </a:ln>
              </c:spPr>
              <c:txPr>
                <a:bodyPr wrap="none"/>
                <a:lstStyle/>
                <a:p>
                  <a:pPr>
                    <a:defRPr sz="1000" kern="1200">
                      <a:solidFill>
                        <a:schemeClr val="tx2"/>
                      </a:solidFill>
                      <a:latin typeface="+mn-lt"/>
                      <a:ea typeface="+mn-ea"/>
                      <a:cs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5F8-4092-BA7B-CC3FA264077E}"/>
                </c:ext>
              </c:extLst>
            </c:dLbl>
            <c:dLbl>
              <c:idx val="1"/>
              <c:layout>
                <c:manualLayout>
                  <c:x val="0"/>
                  <c:y val="-5.4945054945054949E-3"/>
                </c:manualLayout>
              </c:layout>
              <c:numFmt formatCode="#,##0;&quot;-&quot;#,##0;0" sourceLinked="0"/>
              <c:spPr>
                <a:noFill/>
                <a:ln>
                  <a:noFill/>
                </a:ln>
              </c:spPr>
              <c:txPr>
                <a:bodyPr wrap="none"/>
                <a:lstStyle/>
                <a:p>
                  <a:pPr>
                    <a:defRPr sz="1000" kern="1200">
                      <a:solidFill>
                        <a:schemeClr val="tx2"/>
                      </a:solidFill>
                      <a:latin typeface="+mn-lt"/>
                      <a:ea typeface="+mn-ea"/>
                      <a:cs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5F8-4092-BA7B-CC3FA264077E}"/>
                </c:ext>
              </c:extLst>
            </c:dLbl>
            <c:dLbl>
              <c:idx val="2"/>
              <c:layout>
                <c:manualLayout>
                  <c:x val="0"/>
                  <c:y val="-5.4945054945054949E-3"/>
                </c:manualLayout>
              </c:layout>
              <c:numFmt formatCode="#,##0;&quot;-&quot;#,##0;0" sourceLinked="0"/>
              <c:spPr>
                <a:noFill/>
                <a:ln>
                  <a:noFill/>
                </a:ln>
              </c:spPr>
              <c:txPr>
                <a:bodyPr wrap="none"/>
                <a:lstStyle/>
                <a:p>
                  <a:pPr>
                    <a:defRPr sz="1000" kern="1200">
                      <a:solidFill>
                        <a:schemeClr val="tx2"/>
                      </a:solidFill>
                      <a:latin typeface="+mn-lt"/>
                      <a:ea typeface="+mn-ea"/>
                      <a:cs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5F8-4092-BA7B-CC3FA264077E}"/>
                </c:ext>
              </c:extLst>
            </c:dLbl>
            <c:dLbl>
              <c:idx val="3"/>
              <c:layout>
                <c:manualLayout>
                  <c:x val="0"/>
                  <c:y val="-7.326007326007326E-3"/>
                </c:manualLayout>
              </c:layout>
              <c:numFmt formatCode="#,##0;&quot;-&quot;#,##0;0" sourceLinked="0"/>
              <c:spPr>
                <a:noFill/>
                <a:ln>
                  <a:noFill/>
                </a:ln>
              </c:spPr>
              <c:txPr>
                <a:bodyPr wrap="none"/>
                <a:lstStyle/>
                <a:p>
                  <a:pPr>
                    <a:defRPr sz="1000" kern="1200">
                      <a:solidFill>
                        <a:schemeClr val="tx2"/>
                      </a:solidFill>
                      <a:latin typeface="+mn-lt"/>
                      <a:ea typeface="+mn-ea"/>
                      <a:cs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5F8-4092-BA7B-CC3FA264077E}"/>
                </c:ext>
              </c:extLst>
            </c:dLbl>
            <c:dLbl>
              <c:idx val="4"/>
              <c:layout>
                <c:manualLayout>
                  <c:x val="0"/>
                  <c:y val="-5.4945054945054949E-3"/>
                </c:manualLayout>
              </c:layout>
              <c:numFmt formatCode="#,##0;&quot;-&quot;#,##0;0" sourceLinked="0"/>
              <c:spPr>
                <a:noFill/>
                <a:ln>
                  <a:noFill/>
                </a:ln>
              </c:spPr>
              <c:txPr>
                <a:bodyPr wrap="none"/>
                <a:lstStyle/>
                <a:p>
                  <a:pPr>
                    <a:defRPr sz="1000" kern="1200">
                      <a:solidFill>
                        <a:schemeClr val="tx2"/>
                      </a:solidFill>
                      <a:latin typeface="+mn-lt"/>
                      <a:ea typeface="+mn-ea"/>
                      <a:cs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5F8-4092-BA7B-CC3FA264077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391.36253209329618</c:v>
                </c:pt>
                <c:pt idx="1">
                  <c:v>475.08451790779344</c:v>
                </c:pt>
                <c:pt idx="2">
                  <c:v>445.41055633970836</c:v>
                </c:pt>
                <c:pt idx="3">
                  <c:v>461.1676560314516</c:v>
                </c:pt>
                <c:pt idx="4">
                  <c:v>433.23170591734049</c:v>
                </c:pt>
              </c:numCache>
            </c:numRef>
          </c:val>
          <c:extLst>
            <c:ext xmlns:c16="http://schemas.microsoft.com/office/drawing/2014/chart" uri="{C3380CC4-5D6E-409C-BE32-E72D297353CC}">
              <c16:uniqueId val="{00000005-E5F8-4092-BA7B-CC3FA264077E}"/>
            </c:ext>
          </c:extLst>
        </c:ser>
        <c:ser>
          <c:idx val="1"/>
          <c:order val="1"/>
          <c:spPr>
            <a:solidFill>
              <a:schemeClr val="accent2"/>
            </a:solidFill>
            <a:ln>
              <a:noFill/>
            </a:ln>
          </c:spPr>
          <c:invertIfNegative val="0"/>
          <c:dLbls>
            <c:dLbl>
              <c:idx val="0"/>
              <c:layout>
                <c:manualLayout>
                  <c:x val="7.7009555930297915E-2"/>
                  <c:y val="0.1043956043956044"/>
                </c:manualLayout>
              </c:layout>
              <c:numFmt formatCode="#,##0;&quot;-&quot;#,##0;0" sourceLinked="0"/>
              <c:spPr>
                <a:noFill/>
                <a:ln>
                  <a:noFill/>
                </a:ln>
              </c:spPr>
              <c:txPr>
                <a:bodyPr wrap="none"/>
                <a:lstStyle/>
                <a:p>
                  <a:pPr>
                    <a:defRPr sz="1000" kern="1200">
                      <a:solidFill>
                        <a:srgbClr val="FFFFFF"/>
                      </a:solidFill>
                      <a:latin typeface="+mn-lt"/>
                      <a:ea typeface="+mn-ea"/>
                      <a:cs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5F8-4092-BA7B-CC3FA264077E}"/>
                </c:ext>
              </c:extLst>
            </c:dLbl>
            <c:dLbl>
              <c:idx val="1"/>
              <c:layout>
                <c:manualLayout>
                  <c:x val="7.7009555930297915E-2"/>
                  <c:y val="0.1575091575091575"/>
                </c:manualLayout>
              </c:layout>
              <c:numFmt formatCode="#,##0;&quot;-&quot;#,##0;0" sourceLinked="0"/>
              <c:spPr>
                <a:noFill/>
                <a:ln>
                  <a:noFill/>
                </a:ln>
              </c:spPr>
              <c:txPr>
                <a:bodyPr wrap="none"/>
                <a:lstStyle/>
                <a:p>
                  <a:pPr>
                    <a:defRPr sz="1000" kern="1200">
                      <a:solidFill>
                        <a:srgbClr val="FFFFFF"/>
                      </a:solidFill>
                      <a:latin typeface="+mn-lt"/>
                      <a:ea typeface="+mn-ea"/>
                      <a:cs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5F8-4092-BA7B-CC3FA264077E}"/>
                </c:ext>
              </c:extLst>
            </c:dLbl>
            <c:dLbl>
              <c:idx val="2"/>
              <c:layout>
                <c:manualLayout>
                  <c:x val="7.7009555930297915E-2"/>
                  <c:y val="0.13186813186813187"/>
                </c:manualLayout>
              </c:layout>
              <c:numFmt formatCode="#,##0;&quot;-&quot;#,##0;0" sourceLinked="0"/>
              <c:spPr>
                <a:noFill/>
                <a:ln>
                  <a:noFill/>
                </a:ln>
              </c:spPr>
              <c:txPr>
                <a:bodyPr wrap="none"/>
                <a:lstStyle/>
                <a:p>
                  <a:pPr>
                    <a:defRPr sz="1000" kern="1200">
                      <a:solidFill>
                        <a:srgbClr val="FFFFFF"/>
                      </a:solidFill>
                      <a:latin typeface="+mn-lt"/>
                      <a:ea typeface="+mn-ea"/>
                      <a:cs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5F8-4092-BA7B-CC3FA264077E}"/>
                </c:ext>
              </c:extLst>
            </c:dLbl>
            <c:dLbl>
              <c:idx val="3"/>
              <c:layout>
                <c:manualLayout>
                  <c:x val="7.1388420460933105E-2"/>
                  <c:y val="0.11721611721611722"/>
                </c:manualLayout>
              </c:layout>
              <c:numFmt formatCode="#,##0;&quot;-&quot;#,##0;0" sourceLinked="0"/>
              <c:spPr>
                <a:noFill/>
                <a:ln>
                  <a:noFill/>
                </a:ln>
              </c:spPr>
              <c:txPr>
                <a:bodyPr wrap="none"/>
                <a:lstStyle/>
                <a:p>
                  <a:pPr>
                    <a:defRPr sz="1000" kern="1200">
                      <a:solidFill>
                        <a:srgbClr val="FFFFFF"/>
                      </a:solidFill>
                      <a:latin typeface="+mn-lt"/>
                      <a:ea typeface="+mn-ea"/>
                      <a:cs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5F8-4092-BA7B-CC3FA264077E}"/>
                </c:ext>
              </c:extLst>
            </c:dLbl>
            <c:dLbl>
              <c:idx val="4"/>
              <c:layout>
                <c:manualLayout>
                  <c:x val="7.1388420460933105E-2"/>
                  <c:y val="-5.4945054945054949E-3"/>
                </c:manualLayout>
              </c:layout>
              <c:numFmt formatCode="#,##0;&quot;-&quot;#,##0;0" sourceLinked="0"/>
              <c:spPr>
                <a:noFill/>
                <a:ln>
                  <a:noFill/>
                </a:ln>
              </c:spPr>
              <c:txPr>
                <a:bodyPr wrap="none"/>
                <a:lstStyle/>
                <a:p>
                  <a:pPr>
                    <a:defRPr sz="1000" kern="1200">
                      <a:solidFill>
                        <a:srgbClr val="FFFFFF"/>
                      </a:solidFill>
                      <a:latin typeface="+mn-lt"/>
                      <a:ea typeface="+mn-ea"/>
                      <a:cs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5F8-4092-BA7B-CC3FA264077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150.42999999999995</c:v>
                </c:pt>
                <c:pt idx="1">
                  <c:v>124.19999999999999</c:v>
                </c:pt>
                <c:pt idx="2">
                  <c:v>115.50999999999999</c:v>
                </c:pt>
                <c:pt idx="3">
                  <c:v>44.79000000000002</c:v>
                </c:pt>
                <c:pt idx="4">
                  <c:v>87.610000000000014</c:v>
                </c:pt>
              </c:numCache>
            </c:numRef>
          </c:val>
          <c:extLst>
            <c:ext xmlns:c16="http://schemas.microsoft.com/office/drawing/2014/chart" uri="{C3380CC4-5D6E-409C-BE32-E72D297353CC}">
              <c16:uniqueId val="{0000000B-E5F8-4092-BA7B-CC3FA264077E}"/>
            </c:ext>
          </c:extLst>
        </c:ser>
        <c:ser>
          <c:idx val="2"/>
          <c:order val="2"/>
          <c:spPr>
            <a:solidFill>
              <a:schemeClr val="accent1"/>
            </a:solidFill>
            <a:ln>
              <a:noFill/>
            </a:ln>
          </c:spPr>
          <c:invertIfNegative val="0"/>
          <c:dLbls>
            <c:dLbl>
              <c:idx val="0"/>
              <c:layout>
                <c:manualLayout>
                  <c:x val="7.1388420460933105E-2"/>
                  <c:y val="3.1135531135531136E-2"/>
                </c:manualLayout>
              </c:layout>
              <c:numFmt formatCode="#,##0;&quot;-&quot;#,##0;0" sourceLinked="0"/>
              <c:spPr>
                <a:noFill/>
                <a:ln>
                  <a:noFill/>
                </a:ln>
              </c:spPr>
              <c:txPr>
                <a:bodyPr wrap="none"/>
                <a:lstStyle/>
                <a:p>
                  <a:pPr>
                    <a:defRPr sz="1000" kern="1200">
                      <a:solidFill>
                        <a:srgbClr val="FFFFFF"/>
                      </a:solidFill>
                      <a:latin typeface="+mn-lt"/>
                      <a:ea typeface="+mn-ea"/>
                      <a:cs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5F8-4092-BA7B-CC3FA264077E}"/>
                </c:ext>
              </c:extLst>
            </c:dLbl>
            <c:dLbl>
              <c:idx val="1"/>
              <c:layout>
                <c:manualLayout>
                  <c:x val="7.1388420460933105E-2"/>
                  <c:y val="6.043956043956044E-2"/>
                </c:manualLayout>
              </c:layout>
              <c:numFmt formatCode="#,##0;&quot;-&quot;#,##0;0" sourceLinked="0"/>
              <c:spPr>
                <a:noFill/>
                <a:ln>
                  <a:noFill/>
                </a:ln>
              </c:spPr>
              <c:txPr>
                <a:bodyPr wrap="none"/>
                <a:lstStyle/>
                <a:p>
                  <a:pPr>
                    <a:defRPr sz="1000" kern="1200">
                      <a:solidFill>
                        <a:srgbClr val="FFFFFF"/>
                      </a:solidFill>
                      <a:latin typeface="+mn-lt"/>
                      <a:ea typeface="+mn-ea"/>
                      <a:cs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5F8-4092-BA7B-CC3FA264077E}"/>
                </c:ext>
              </c:extLst>
            </c:dLbl>
            <c:dLbl>
              <c:idx val="2"/>
              <c:layout>
                <c:manualLayout>
                  <c:x val="7.1388420460933105E-2"/>
                  <c:y val="2.7472527472527472E-2"/>
                </c:manualLayout>
              </c:layout>
              <c:numFmt formatCode="#,##0;&quot;-&quot;#,##0;0" sourceLinked="0"/>
              <c:spPr>
                <a:noFill/>
                <a:ln>
                  <a:noFill/>
                </a:ln>
              </c:spPr>
              <c:txPr>
                <a:bodyPr wrap="none"/>
                <a:lstStyle/>
                <a:p>
                  <a:pPr>
                    <a:defRPr sz="1000" kern="1200">
                      <a:solidFill>
                        <a:srgbClr val="FFFFFF"/>
                      </a:solidFill>
                      <a:latin typeface="+mn-lt"/>
                      <a:ea typeface="+mn-ea"/>
                      <a:cs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5F8-4092-BA7B-CC3FA264077E}"/>
                </c:ext>
              </c:extLst>
            </c:dLbl>
            <c:dLbl>
              <c:idx val="3"/>
              <c:layout>
                <c:manualLayout>
                  <c:x val="7.1388420460933105E-2"/>
                  <c:y val="-1.8315018315018316E-2"/>
                </c:manualLayout>
              </c:layout>
              <c:numFmt formatCode="#,##0;&quot;-&quot;#,##0;0" sourceLinked="0"/>
              <c:spPr>
                <a:noFill/>
                <a:ln>
                  <a:noFill/>
                </a:ln>
              </c:spPr>
              <c:txPr>
                <a:bodyPr wrap="none"/>
                <a:lstStyle/>
                <a:p>
                  <a:pPr>
                    <a:defRPr sz="1000" kern="1200">
                      <a:solidFill>
                        <a:srgbClr val="FFFFFF"/>
                      </a:solidFill>
                      <a:latin typeface="+mn-lt"/>
                      <a:ea typeface="+mn-ea"/>
                      <a:cs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E5F8-4092-BA7B-CC3FA264077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74.430000000000064</c:v>
                </c:pt>
                <c:pt idx="1">
                  <c:v>35.620000000000005</c:v>
                </c:pt>
                <c:pt idx="2">
                  <c:v>23.370000000000005</c:v>
                </c:pt>
                <c:pt idx="3">
                  <c:v>12.889999999999986</c:v>
                </c:pt>
              </c:numCache>
            </c:numRef>
          </c:val>
          <c:extLst>
            <c:ext xmlns:c16="http://schemas.microsoft.com/office/drawing/2014/chart" uri="{C3380CC4-5D6E-409C-BE32-E72D297353CC}">
              <c16:uniqueId val="{00000010-E5F8-4092-BA7B-CC3FA264077E}"/>
            </c:ext>
          </c:extLst>
        </c:ser>
        <c:dLbls>
          <c:showLegendKey val="0"/>
          <c:showVal val="0"/>
          <c:showCatName val="0"/>
          <c:showSerName val="0"/>
          <c:showPercent val="0"/>
          <c:showBubbleSize val="0"/>
        </c:dLbls>
        <c:gapWidth val="80"/>
        <c:overlap val="100"/>
        <c:axId val="721479168"/>
        <c:axId val="1"/>
      </c:barChart>
      <c:catAx>
        <c:axId val="72147916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34.90451790779343"/>
          <c:min val="0"/>
        </c:scaling>
        <c:delete val="1"/>
        <c:axPos val="l"/>
        <c:numFmt formatCode="General" sourceLinked="1"/>
        <c:majorTickMark val="out"/>
        <c:minorTickMark val="none"/>
        <c:tickLblPos val="nextTo"/>
        <c:crossAx val="721479168"/>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994232987312572E-2"/>
          <c:y val="0.20790629575402636"/>
          <c:w val="0.97001153402537488"/>
          <c:h val="0.58418740849194728"/>
        </c:manualLayout>
      </c:layout>
      <c:barChart>
        <c:barDir val="col"/>
        <c:grouping val="stacked"/>
        <c:varyColors val="0"/>
        <c:ser>
          <c:idx val="0"/>
          <c:order val="0"/>
          <c:spPr>
            <a:no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2675-4935-A1D4-1FDAE811B8F8}"/>
              </c:ext>
            </c:extLst>
          </c:dPt>
          <c:dPt>
            <c:idx val="5"/>
            <c:invertIfNegative val="0"/>
            <c:bubble3D val="0"/>
            <c:spPr>
              <a:solidFill>
                <a:schemeClr val="accent1"/>
              </a:solidFill>
              <a:ln>
                <a:noFill/>
              </a:ln>
            </c:spPr>
            <c:extLst>
              <c:ext xmlns:c16="http://schemas.microsoft.com/office/drawing/2014/chart" uri="{C3380CC4-5D6E-409C-BE32-E72D297353CC}">
                <c16:uniqueId val="{00000001-2675-4935-A1D4-1FDAE811B8F8}"/>
              </c:ext>
            </c:extLst>
          </c:dPt>
          <c:val>
            <c:numRef>
              <c:f>Sheet1!$A$1:$F$1</c:f>
              <c:numCache>
                <c:formatCode>General</c:formatCode>
                <c:ptCount val="6"/>
                <c:pt idx="0">
                  <c:v>1287.1516259296204</c:v>
                </c:pt>
                <c:pt idx="1">
                  <c:v>1287.1516259296204</c:v>
                </c:pt>
                <c:pt idx="2">
                  <c:v>2319.0350952114741</c:v>
                </c:pt>
                <c:pt idx="3">
                  <c:v>2961.992744301544</c:v>
                </c:pt>
                <c:pt idx="4">
                  <c:v>3567.3385382758602</c:v>
                </c:pt>
                <c:pt idx="5">
                  <c:v>3872.4169506402513</c:v>
                </c:pt>
              </c:numCache>
            </c:numRef>
          </c:val>
          <c:extLst>
            <c:ext xmlns:c16="http://schemas.microsoft.com/office/drawing/2014/chart" uri="{C3380CC4-5D6E-409C-BE32-E72D297353CC}">
              <c16:uniqueId val="{00000002-2675-4935-A1D4-1FDAE811B8F8}"/>
            </c:ext>
          </c:extLst>
        </c:ser>
        <c:ser>
          <c:idx val="1"/>
          <c:order val="1"/>
          <c:spPr>
            <a:solidFill>
              <a:schemeClr val="accent1"/>
            </a:solidFill>
            <a:ln>
              <a:noFill/>
            </a:ln>
          </c:spPr>
          <c:invertIfNegative val="0"/>
          <c:dLbls>
            <c:dLbl>
              <c:idx val="2"/>
              <c:layout>
                <c:manualLayout>
                  <c:x val="0"/>
                  <c:y val="-4.3923865300146414E-3"/>
                </c:manualLayout>
              </c:layout>
              <c:numFmt formatCode="#,##0;#,##0" sourceLinked="0"/>
              <c:spPr>
                <a:noFill/>
                <a:ln>
                  <a:noFill/>
                </a:ln>
              </c:spPr>
              <c:txPr>
                <a:bodyPr wrap="none"/>
                <a:lstStyle/>
                <a:p>
                  <a:pPr>
                    <a:defRPr sz="1000" kern="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675-4935-A1D4-1FDAE811B8F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1">
                  <c:v>1031.8834692818536</c:v>
                </c:pt>
                <c:pt idx="2">
                  <c:v>642.95764909006994</c:v>
                </c:pt>
                <c:pt idx="3">
                  <c:v>605.34579397431571</c:v>
                </c:pt>
                <c:pt idx="4">
                  <c:v>305.07841236439117</c:v>
                </c:pt>
              </c:numCache>
            </c:numRef>
          </c:val>
          <c:extLst>
            <c:ext xmlns:c16="http://schemas.microsoft.com/office/drawing/2014/chart" uri="{C3380CC4-5D6E-409C-BE32-E72D297353CC}">
              <c16:uniqueId val="{00000004-2675-4935-A1D4-1FDAE811B8F8}"/>
            </c:ext>
          </c:extLst>
        </c:ser>
        <c:dLbls>
          <c:showLegendKey val="0"/>
          <c:showVal val="0"/>
          <c:showCatName val="0"/>
          <c:showSerName val="0"/>
          <c:showPercent val="0"/>
          <c:showBubbleSize val="0"/>
        </c:dLbls>
        <c:gapWidth val="80"/>
        <c:overlap val="100"/>
        <c:axId val="40938256"/>
        <c:axId val="1"/>
      </c:barChart>
      <c:catAx>
        <c:axId val="4093825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872.4169506402513"/>
          <c:min val="0"/>
        </c:scaling>
        <c:delete val="1"/>
        <c:axPos val="l"/>
        <c:numFmt formatCode="General" sourceLinked="1"/>
        <c:majorTickMark val="out"/>
        <c:minorTickMark val="none"/>
        <c:tickLblPos val="nextTo"/>
        <c:crossAx val="40938256"/>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402843601895734E-2"/>
          <c:y val="0.15757575757575756"/>
          <c:w val="0.96919431279620849"/>
          <c:h val="0.68484848484848482"/>
        </c:manualLayout>
      </c:layout>
      <c:barChart>
        <c:barDir val="col"/>
        <c:grouping val="stacked"/>
        <c:varyColors val="0"/>
        <c:ser>
          <c:idx val="0"/>
          <c:order val="0"/>
          <c:spPr>
            <a:solidFill>
              <a:schemeClr val="accent1"/>
            </a:solidFill>
            <a:ln w="9525" cmpd="sng" algn="ctr">
              <a:solidFill>
                <a:schemeClr val="bg1"/>
              </a:solidFill>
              <a:prstDash val="solid"/>
            </a:ln>
          </c:spPr>
          <c:invertIfNegative val="0"/>
          <c:val>
            <c:numRef>
              <c:f>Sheet1!$A$1:$E$1</c:f>
              <c:numCache>
                <c:formatCode>General</c:formatCode>
                <c:ptCount val="5"/>
                <c:pt idx="0">
                  <c:v>7.3099218216515585</c:v>
                </c:pt>
                <c:pt idx="1">
                  <c:v>6.9292838256806313</c:v>
                </c:pt>
                <c:pt idx="2">
                  <c:v>7.4009059873212379</c:v>
                </c:pt>
                <c:pt idx="3">
                  <c:v>6.6381390446741202</c:v>
                </c:pt>
                <c:pt idx="4">
                  <c:v>6.6459074230418702</c:v>
                </c:pt>
              </c:numCache>
            </c:numRef>
          </c:val>
          <c:extLst>
            <c:ext xmlns:c16="http://schemas.microsoft.com/office/drawing/2014/chart" uri="{C3380CC4-5D6E-409C-BE32-E72D297353CC}">
              <c16:uniqueId val="{00000000-1E1F-4B36-A5B4-B6677022CEDB}"/>
            </c:ext>
          </c:extLst>
        </c:ser>
        <c:ser>
          <c:idx val="1"/>
          <c:order val="1"/>
          <c:spPr>
            <a:solidFill>
              <a:schemeClr val="accent3"/>
            </a:solidFill>
            <a:ln w="9525" cmpd="sng" algn="ctr">
              <a:solidFill>
                <a:schemeClr val="bg1"/>
              </a:solidFill>
              <a:prstDash val="solid"/>
            </a:ln>
          </c:spPr>
          <c:invertIfNegative val="0"/>
          <c:val>
            <c:numRef>
              <c:f>Sheet1!$A$2:$E$2</c:f>
              <c:numCache>
                <c:formatCode>General</c:formatCode>
                <c:ptCount val="5"/>
                <c:pt idx="0">
                  <c:v>0.23712917834844127</c:v>
                </c:pt>
                <c:pt idx="1">
                  <c:v>0.25093517431936885</c:v>
                </c:pt>
                <c:pt idx="2">
                  <c:v>0.31860101267876217</c:v>
                </c:pt>
                <c:pt idx="3">
                  <c:v>0.1786859553258795</c:v>
                </c:pt>
                <c:pt idx="4">
                  <c:v>0.13126257695812971</c:v>
                </c:pt>
              </c:numCache>
            </c:numRef>
          </c:val>
          <c:extLst>
            <c:ext xmlns:c16="http://schemas.microsoft.com/office/drawing/2014/chart" uri="{C3380CC4-5D6E-409C-BE32-E72D297353CC}">
              <c16:uniqueId val="{00000001-1E1F-4B36-A5B4-B6677022CEDB}"/>
            </c:ext>
          </c:extLst>
        </c:ser>
        <c:dLbls>
          <c:showLegendKey val="0"/>
          <c:showVal val="0"/>
          <c:showCatName val="0"/>
          <c:showSerName val="0"/>
          <c:showPercent val="0"/>
          <c:showBubbleSize val="0"/>
        </c:dLbls>
        <c:gapWidth val="40"/>
        <c:overlap val="100"/>
        <c:axId val="1787053871"/>
        <c:axId val="1"/>
      </c:barChart>
      <c:catAx>
        <c:axId val="178705387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7195070000000001"/>
          <c:min val="0"/>
        </c:scaling>
        <c:delete val="1"/>
        <c:axPos val="l"/>
        <c:numFmt formatCode="General" sourceLinked="1"/>
        <c:majorTickMark val="out"/>
        <c:minorTickMark val="none"/>
        <c:tickLblPos val="nextTo"/>
        <c:crossAx val="1787053871"/>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994232987312572E-2"/>
          <c:y val="0.20790629575402636"/>
          <c:w val="0.97001153402537488"/>
          <c:h val="0.58418740849194728"/>
        </c:manualLayout>
      </c:layout>
      <c:barChart>
        <c:barDir val="col"/>
        <c:grouping val="stacked"/>
        <c:varyColors val="0"/>
        <c:ser>
          <c:idx val="0"/>
          <c:order val="0"/>
          <c:spPr>
            <a:no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721C-4752-8D44-C072B378A474}"/>
              </c:ext>
            </c:extLst>
          </c:dPt>
          <c:dPt>
            <c:idx val="5"/>
            <c:invertIfNegative val="0"/>
            <c:bubble3D val="0"/>
            <c:spPr>
              <a:solidFill>
                <a:schemeClr val="accent1"/>
              </a:solidFill>
              <a:ln>
                <a:noFill/>
              </a:ln>
            </c:spPr>
            <c:extLst>
              <c:ext xmlns:c16="http://schemas.microsoft.com/office/drawing/2014/chart" uri="{C3380CC4-5D6E-409C-BE32-E72D297353CC}">
                <c16:uniqueId val="{00000001-721C-4752-8D44-C072B378A474}"/>
              </c:ext>
            </c:extLst>
          </c:dPt>
          <c:dLbls>
            <c:dLbl>
              <c:idx val="0"/>
              <c:layout>
                <c:manualLayout>
                  <c:x val="0"/>
                  <c:y val="-0.12005856515373353"/>
                </c:manualLayout>
              </c:layout>
              <c:numFmt formatCode="#,##0;&quot;-&quot;#,##0" sourceLinked="0"/>
              <c:spPr>
                <a:noFill/>
                <a:ln>
                  <a:noFill/>
                </a:ln>
              </c:spPr>
              <c:txPr>
                <a:bodyPr wrap="none"/>
                <a:lstStyle/>
                <a:p>
                  <a:pPr>
                    <a:defRPr sz="1000" kern="1200">
                      <a:solidFill>
                        <a:schemeClr val="tx1">
                          <a:lumMod val="85000"/>
                          <a:lumOff val="15000"/>
                        </a:schemeClr>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21C-4752-8D44-C072B378A47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10.79726842330388</c:v>
                </c:pt>
                <c:pt idx="1">
                  <c:v>110.79726842330388</c:v>
                </c:pt>
                <c:pt idx="2">
                  <c:v>564.70386947276131</c:v>
                </c:pt>
                <c:pt idx="3">
                  <c:v>978.92135255384869</c:v>
                </c:pt>
                <c:pt idx="4">
                  <c:v>1065.2781934238474</c:v>
                </c:pt>
                <c:pt idx="5">
                  <c:v>1147.6804954155846</c:v>
                </c:pt>
              </c:numCache>
            </c:numRef>
          </c:val>
          <c:extLst>
            <c:ext xmlns:c16="http://schemas.microsoft.com/office/drawing/2014/chart" uri="{C3380CC4-5D6E-409C-BE32-E72D297353CC}">
              <c16:uniqueId val="{00000002-721C-4752-8D44-C072B378A474}"/>
            </c:ext>
          </c:extLst>
        </c:ser>
        <c:ser>
          <c:idx val="1"/>
          <c:order val="1"/>
          <c:spPr>
            <a:solidFill>
              <a:schemeClr val="accent1"/>
            </a:solidFill>
            <a:ln>
              <a:noFill/>
            </a:ln>
          </c:spPr>
          <c:invertIfNegative val="0"/>
          <c:dLbls>
            <c:dLbl>
              <c:idx val="1"/>
              <c:layout>
                <c:manualLayout>
                  <c:x val="0"/>
                  <c:y val="-5.8565153733528552E-3"/>
                </c:manualLayout>
              </c:layout>
              <c:numFmt formatCode="#,##0;#,##0" sourceLinked="0"/>
              <c:spPr>
                <a:noFill/>
                <a:ln>
                  <a:noFill/>
                </a:ln>
              </c:spPr>
              <c:txPr>
                <a:bodyPr wrap="none"/>
                <a:lstStyle/>
                <a:p>
                  <a:pPr>
                    <a:defRPr sz="1000" kern="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21C-4752-8D44-C072B378A474}"/>
                </c:ext>
              </c:extLst>
            </c:dLbl>
            <c:dLbl>
              <c:idx val="2"/>
              <c:layout>
                <c:manualLayout>
                  <c:x val="0"/>
                  <c:y val="-4.3923865300146414E-3"/>
                </c:manualLayout>
              </c:layout>
              <c:numFmt formatCode="#,##0;#,##0" sourceLinked="0"/>
              <c:spPr>
                <a:noFill/>
                <a:ln>
                  <a:noFill/>
                </a:ln>
              </c:spPr>
              <c:txPr>
                <a:bodyPr wrap="none"/>
                <a:lstStyle/>
                <a:p>
                  <a:pPr>
                    <a:defRPr sz="1000" kern="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21C-4752-8D44-C072B378A47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1">
                  <c:v>453.90660104945744</c:v>
                </c:pt>
                <c:pt idx="2">
                  <c:v>414.21748308108738</c:v>
                </c:pt>
                <c:pt idx="3">
                  <c:v>86.35684086999845</c:v>
                </c:pt>
                <c:pt idx="4">
                  <c:v>82.402301991737204</c:v>
                </c:pt>
              </c:numCache>
            </c:numRef>
          </c:val>
          <c:extLst>
            <c:ext xmlns:c16="http://schemas.microsoft.com/office/drawing/2014/chart" uri="{C3380CC4-5D6E-409C-BE32-E72D297353CC}">
              <c16:uniqueId val="{00000005-721C-4752-8D44-C072B378A474}"/>
            </c:ext>
          </c:extLst>
        </c:ser>
        <c:dLbls>
          <c:showLegendKey val="0"/>
          <c:showVal val="0"/>
          <c:showCatName val="0"/>
          <c:showSerName val="0"/>
          <c:showPercent val="0"/>
          <c:showBubbleSize val="0"/>
        </c:dLbls>
        <c:gapWidth val="80"/>
        <c:overlap val="100"/>
        <c:axId val="1787045231"/>
        <c:axId val="1"/>
      </c:barChart>
      <c:catAx>
        <c:axId val="178704523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147.6804954155846"/>
          <c:min val="0"/>
        </c:scaling>
        <c:delete val="1"/>
        <c:axPos val="l"/>
        <c:numFmt formatCode="General" sourceLinked="1"/>
        <c:majorTickMark val="out"/>
        <c:minorTickMark val="none"/>
        <c:tickLblPos val="nextTo"/>
        <c:crossAx val="1787045231"/>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402843601895734E-2"/>
          <c:y val="0.15757575757575756"/>
          <c:w val="0.96919431279620849"/>
          <c:h val="0.68484848484848482"/>
        </c:manualLayout>
      </c:layout>
      <c:barChart>
        <c:barDir val="col"/>
        <c:grouping val="stacked"/>
        <c:varyColors val="0"/>
        <c:ser>
          <c:idx val="0"/>
          <c:order val="0"/>
          <c:spPr>
            <a:solidFill>
              <a:schemeClr val="accent1"/>
            </a:solidFill>
            <a:ln w="9525" cmpd="sng" algn="ctr">
              <a:solidFill>
                <a:schemeClr val="bg1"/>
              </a:solidFill>
              <a:prstDash val="solid"/>
            </a:ln>
          </c:spPr>
          <c:invertIfNegative val="0"/>
          <c:val>
            <c:numRef>
              <c:f>Sheet1!$A$1:$E$1</c:f>
              <c:numCache>
                <c:formatCode>General</c:formatCode>
                <c:ptCount val="5"/>
                <c:pt idx="0">
                  <c:v>0.81074272910173806</c:v>
                </c:pt>
                <c:pt idx="1">
                  <c:v>0.66130973827636319</c:v>
                </c:pt>
                <c:pt idx="2">
                  <c:v>0.63076286207133925</c:v>
                </c:pt>
                <c:pt idx="3">
                  <c:v>0.71748263012638458</c:v>
                </c:pt>
                <c:pt idx="4">
                  <c:v>0.63256640916660345</c:v>
                </c:pt>
              </c:numCache>
            </c:numRef>
          </c:val>
          <c:extLst>
            <c:ext xmlns:c16="http://schemas.microsoft.com/office/drawing/2014/chart" uri="{C3380CC4-5D6E-409C-BE32-E72D297353CC}">
              <c16:uniqueId val="{00000000-5D9B-4612-9B53-E2F6D50EA19C}"/>
            </c:ext>
          </c:extLst>
        </c:ser>
        <c:ser>
          <c:idx val="1"/>
          <c:order val="1"/>
          <c:spPr>
            <a:solidFill>
              <a:schemeClr val="accent3"/>
            </a:solidFill>
            <a:ln w="9525" cmpd="sng" algn="ctr">
              <a:solidFill>
                <a:schemeClr val="bg1"/>
              </a:solidFill>
              <a:prstDash val="solid"/>
            </a:ln>
          </c:spPr>
          <c:invertIfNegative val="0"/>
          <c:val>
            <c:numRef>
              <c:f>Sheet1!$A$2:$E$2</c:f>
              <c:numCache>
                <c:formatCode>General</c:formatCode>
                <c:ptCount val="5"/>
                <c:pt idx="0">
                  <c:v>0.25270627089826203</c:v>
                </c:pt>
                <c:pt idx="1">
                  <c:v>0.20569646172363676</c:v>
                </c:pt>
                <c:pt idx="2">
                  <c:v>0.23018183792866087</c:v>
                </c:pt>
                <c:pt idx="3">
                  <c:v>0.13705816987361541</c:v>
                </c:pt>
                <c:pt idx="4">
                  <c:v>0.1456043908333966</c:v>
                </c:pt>
              </c:numCache>
            </c:numRef>
          </c:val>
          <c:extLst>
            <c:ext xmlns:c16="http://schemas.microsoft.com/office/drawing/2014/chart" uri="{C3380CC4-5D6E-409C-BE32-E72D297353CC}">
              <c16:uniqueId val="{00000001-5D9B-4612-9B53-E2F6D50EA19C}"/>
            </c:ext>
          </c:extLst>
        </c:ser>
        <c:dLbls>
          <c:showLegendKey val="0"/>
          <c:showVal val="0"/>
          <c:showCatName val="0"/>
          <c:showSerName val="0"/>
          <c:showPercent val="0"/>
          <c:showBubbleSize val="0"/>
        </c:dLbls>
        <c:gapWidth val="40"/>
        <c:overlap val="100"/>
        <c:axId val="1014261968"/>
        <c:axId val="1"/>
      </c:barChart>
      <c:catAx>
        <c:axId val="101426196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634490000000001"/>
          <c:min val="0"/>
        </c:scaling>
        <c:delete val="1"/>
        <c:axPos val="l"/>
        <c:numFmt formatCode="General" sourceLinked="1"/>
        <c:majorTickMark val="out"/>
        <c:minorTickMark val="none"/>
        <c:tickLblPos val="nextTo"/>
        <c:crossAx val="1014261968"/>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994232987312572E-2"/>
          <c:y val="0.20790629575402636"/>
          <c:w val="0.97001153402537488"/>
          <c:h val="0.58418740849194728"/>
        </c:manualLayout>
      </c:layout>
      <c:barChart>
        <c:barDir val="col"/>
        <c:grouping val="stacked"/>
        <c:varyColors val="0"/>
        <c:ser>
          <c:idx val="0"/>
          <c:order val="0"/>
          <c:spPr>
            <a:no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AE21-4939-A8E4-4ADD3FBE8ACF}"/>
              </c:ext>
            </c:extLst>
          </c:dPt>
          <c:dPt>
            <c:idx val="5"/>
            <c:invertIfNegative val="0"/>
            <c:bubble3D val="0"/>
            <c:spPr>
              <a:solidFill>
                <a:schemeClr val="accent1"/>
              </a:solidFill>
              <a:ln>
                <a:noFill/>
              </a:ln>
            </c:spPr>
            <c:extLst>
              <c:ext xmlns:c16="http://schemas.microsoft.com/office/drawing/2014/chart" uri="{C3380CC4-5D6E-409C-BE32-E72D297353CC}">
                <c16:uniqueId val="{00000001-AE21-4939-A8E4-4ADD3FBE8ACF}"/>
              </c:ext>
            </c:extLst>
          </c:dPt>
          <c:val>
            <c:numRef>
              <c:f>Sheet1!$A$1:$F$1</c:f>
              <c:numCache>
                <c:formatCode>General</c:formatCode>
                <c:ptCount val="6"/>
                <c:pt idx="0">
                  <c:v>1031.0793448164995</c:v>
                </c:pt>
                <c:pt idx="1">
                  <c:v>1031.0793448164995</c:v>
                </c:pt>
                <c:pt idx="2">
                  <c:v>1329.7274069316959</c:v>
                </c:pt>
                <c:pt idx="3">
                  <c:v>1541.5157513094816</c:v>
                </c:pt>
                <c:pt idx="4">
                  <c:v>1741.8138837620352</c:v>
                </c:pt>
                <c:pt idx="5">
                  <c:v>2703.4021069652122</c:v>
                </c:pt>
              </c:numCache>
            </c:numRef>
          </c:val>
          <c:extLst>
            <c:ext xmlns:c16="http://schemas.microsoft.com/office/drawing/2014/chart" uri="{C3380CC4-5D6E-409C-BE32-E72D297353CC}">
              <c16:uniqueId val="{00000002-AE21-4939-A8E4-4ADD3FBE8ACF}"/>
            </c:ext>
          </c:extLst>
        </c:ser>
        <c:ser>
          <c:idx val="1"/>
          <c:order val="1"/>
          <c:spPr>
            <a:solidFill>
              <a:schemeClr val="accent1"/>
            </a:solidFill>
            <a:ln>
              <a:noFill/>
            </a:ln>
          </c:spPr>
          <c:invertIfNegative val="0"/>
          <c:dLbls>
            <c:dLbl>
              <c:idx val="4"/>
              <c:layout>
                <c:manualLayout>
                  <c:x val="0"/>
                  <c:y val="-4.3923865300146414E-3"/>
                </c:manualLayout>
              </c:layout>
              <c:numFmt formatCode="#,##0;#,##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E21-4939-A8E4-4ADD3FBE8AC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1">
                  <c:v>298.64806211519635</c:v>
                </c:pt>
                <c:pt idx="2">
                  <c:v>211.78834437778573</c:v>
                </c:pt>
                <c:pt idx="3">
                  <c:v>200.29813245255355</c:v>
                </c:pt>
                <c:pt idx="4">
                  <c:v>961.58822320317699</c:v>
                </c:pt>
              </c:numCache>
            </c:numRef>
          </c:val>
          <c:extLst>
            <c:ext xmlns:c16="http://schemas.microsoft.com/office/drawing/2014/chart" uri="{C3380CC4-5D6E-409C-BE32-E72D297353CC}">
              <c16:uniqueId val="{00000004-AE21-4939-A8E4-4ADD3FBE8ACF}"/>
            </c:ext>
          </c:extLst>
        </c:ser>
        <c:dLbls>
          <c:showLegendKey val="0"/>
          <c:showVal val="0"/>
          <c:showCatName val="0"/>
          <c:showSerName val="0"/>
          <c:showPercent val="0"/>
          <c:showBubbleSize val="0"/>
        </c:dLbls>
        <c:gapWidth val="80"/>
        <c:overlap val="100"/>
        <c:axId val="1014283088"/>
        <c:axId val="1"/>
      </c:barChart>
      <c:catAx>
        <c:axId val="101428308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703.4021069652122"/>
          <c:min val="0"/>
        </c:scaling>
        <c:delete val="1"/>
        <c:axPos val="l"/>
        <c:numFmt formatCode="General" sourceLinked="1"/>
        <c:majorTickMark val="out"/>
        <c:minorTickMark val="none"/>
        <c:tickLblPos val="nextTo"/>
        <c:crossAx val="1014283088"/>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402843601895734E-2"/>
          <c:y val="0.15757575757575756"/>
          <c:w val="0.96919431279620849"/>
          <c:h val="0.68484848484848482"/>
        </c:manualLayout>
      </c:layout>
      <c:barChart>
        <c:barDir val="col"/>
        <c:grouping val="stacked"/>
        <c:varyColors val="0"/>
        <c:ser>
          <c:idx val="0"/>
          <c:order val="0"/>
          <c:spPr>
            <a:solidFill>
              <a:schemeClr val="accent1"/>
            </a:solidFill>
            <a:ln w="9525" cmpd="sng" algn="ctr">
              <a:solidFill>
                <a:schemeClr val="bg1"/>
              </a:solidFill>
              <a:prstDash val="solid"/>
            </a:ln>
          </c:spPr>
          <c:invertIfNegative val="0"/>
          <c:val>
            <c:numRef>
              <c:f>Sheet1!$A$1:$E$1</c:f>
              <c:numCache>
                <c:formatCode>General</c:formatCode>
                <c:ptCount val="5"/>
                <c:pt idx="0">
                  <c:v>1.3620000000000003</c:v>
                </c:pt>
                <c:pt idx="1">
                  <c:v>1.4160000000000001</c:v>
                </c:pt>
                <c:pt idx="2">
                  <c:v>1.4413824105364894</c:v>
                </c:pt>
                <c:pt idx="3">
                  <c:v>1.1063791322646717</c:v>
                </c:pt>
                <c:pt idx="4">
                  <c:v>1.1375671857218896</c:v>
                </c:pt>
              </c:numCache>
            </c:numRef>
          </c:val>
          <c:extLst>
            <c:ext xmlns:c16="http://schemas.microsoft.com/office/drawing/2014/chart" uri="{C3380CC4-5D6E-409C-BE32-E72D297353CC}">
              <c16:uniqueId val="{00000000-E641-450E-B797-658B87406938}"/>
            </c:ext>
          </c:extLst>
        </c:ser>
        <c:ser>
          <c:idx val="1"/>
          <c:order val="1"/>
          <c:spPr>
            <a:solidFill>
              <a:schemeClr val="accent3"/>
            </a:solidFill>
            <a:ln w="9525" cmpd="sng" algn="ctr">
              <a:solidFill>
                <a:schemeClr val="bg1"/>
              </a:solidFill>
              <a:prstDash val="solid"/>
            </a:ln>
          </c:spPr>
          <c:invertIfNegative val="0"/>
          <c:val>
            <c:numRef>
              <c:f>Sheet1!$A$2:$E$2</c:f>
              <c:numCache>
                <c:formatCode>General</c:formatCode>
                <c:ptCount val="5"/>
                <c:pt idx="0">
                  <c:v>0.9079999999999997</c:v>
                </c:pt>
                <c:pt idx="1">
                  <c:v>0.94399999999999973</c:v>
                </c:pt>
                <c:pt idx="2">
                  <c:v>0.96861758946351073</c:v>
                </c:pt>
                <c:pt idx="3">
                  <c:v>1.2936208677353283</c:v>
                </c:pt>
                <c:pt idx="4">
                  <c:v>1.4024328142781104</c:v>
                </c:pt>
              </c:numCache>
            </c:numRef>
          </c:val>
          <c:extLst>
            <c:ext xmlns:c16="http://schemas.microsoft.com/office/drawing/2014/chart" uri="{C3380CC4-5D6E-409C-BE32-E72D297353CC}">
              <c16:uniqueId val="{00000001-E641-450E-B797-658B87406938}"/>
            </c:ext>
          </c:extLst>
        </c:ser>
        <c:dLbls>
          <c:showLegendKey val="0"/>
          <c:showVal val="0"/>
          <c:showCatName val="0"/>
          <c:showSerName val="0"/>
          <c:showPercent val="0"/>
          <c:showBubbleSize val="0"/>
        </c:dLbls>
        <c:gapWidth val="40"/>
        <c:overlap val="100"/>
        <c:axId val="986825983"/>
        <c:axId val="1"/>
      </c:barChart>
      <c:catAx>
        <c:axId val="98682598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54"/>
          <c:min val="0"/>
        </c:scaling>
        <c:delete val="1"/>
        <c:axPos val="l"/>
        <c:numFmt formatCode="General" sourceLinked="1"/>
        <c:majorTickMark val="out"/>
        <c:minorTickMark val="none"/>
        <c:tickLblPos val="nextTo"/>
        <c:crossAx val="986825983"/>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614952220348511E-2"/>
          <c:y val="0.26007326007326009"/>
          <c:w val="0.97077009555930294"/>
          <c:h val="0.47985347985347987"/>
        </c:manualLayout>
      </c:layout>
      <c:barChart>
        <c:barDir val="col"/>
        <c:grouping val="stacked"/>
        <c:varyColors val="0"/>
        <c:ser>
          <c:idx val="0"/>
          <c:order val="0"/>
          <c:spPr>
            <a:solidFill>
              <a:schemeClr val="accent3"/>
            </a:solidFill>
            <a:ln>
              <a:noFill/>
            </a:ln>
          </c:spPr>
          <c:invertIfNegative val="0"/>
          <c:dLbls>
            <c:dLbl>
              <c:idx val="0"/>
              <c:layout>
                <c:manualLayout>
                  <c:x val="0"/>
                  <c:y val="-0.23443223443223443"/>
                </c:manualLayout>
              </c:layout>
              <c:numFmt formatCode="#,##0;&quot;-&quot;#,##0;0" sourceLinked="0"/>
              <c:spPr>
                <a:noFill/>
                <a:ln>
                  <a:noFill/>
                </a:ln>
              </c:spPr>
              <c:txPr>
                <a:bodyPr wrap="none"/>
                <a:lstStyle/>
                <a:p>
                  <a:pPr>
                    <a:defRPr sz="1000" kern="1200">
                      <a:solidFill>
                        <a:schemeClr val="tx1"/>
                      </a:solidFill>
                      <a:latin typeface="+mn-lt"/>
                      <a:ea typeface="+mn-ea"/>
                      <a:cs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E60-406F-B62C-6ED12467337B}"/>
                </c:ext>
              </c:extLst>
            </c:dLbl>
            <c:dLbl>
              <c:idx val="1"/>
              <c:layout>
                <c:manualLayout>
                  <c:x val="0"/>
                  <c:y val="-5.4945054945054949E-3"/>
                </c:manualLayout>
              </c:layout>
              <c:numFmt formatCode="#,##0;&quot;-&quot;#,##0;0" sourceLinked="0"/>
              <c:spPr>
                <a:noFill/>
                <a:ln>
                  <a:noFill/>
                </a:ln>
              </c:spPr>
              <c:txPr>
                <a:bodyPr wrap="none"/>
                <a:lstStyle/>
                <a:p>
                  <a:pPr>
                    <a:defRPr sz="1000" kern="1200">
                      <a:solidFill>
                        <a:schemeClr val="tx2"/>
                      </a:solidFill>
                      <a:latin typeface="+mn-lt"/>
                      <a:ea typeface="+mn-ea"/>
                      <a:cs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E60-406F-B62C-6ED12467337B}"/>
                </c:ext>
              </c:extLst>
            </c:dLbl>
            <c:dLbl>
              <c:idx val="2"/>
              <c:layout>
                <c:manualLayout>
                  <c:x val="0"/>
                  <c:y val="-5.4945054945054949E-3"/>
                </c:manualLayout>
              </c:layout>
              <c:numFmt formatCode="#,##0;&quot;-&quot;#,##0;0" sourceLinked="0"/>
              <c:spPr>
                <a:noFill/>
                <a:ln>
                  <a:noFill/>
                </a:ln>
              </c:spPr>
              <c:txPr>
                <a:bodyPr wrap="none"/>
                <a:lstStyle/>
                <a:p>
                  <a:pPr>
                    <a:defRPr sz="1000" kern="1200">
                      <a:solidFill>
                        <a:schemeClr val="tx2"/>
                      </a:solidFill>
                      <a:latin typeface="+mn-lt"/>
                      <a:ea typeface="+mn-ea"/>
                      <a:cs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E60-406F-B62C-6ED12467337B}"/>
                </c:ext>
              </c:extLst>
            </c:dLbl>
            <c:dLbl>
              <c:idx val="3"/>
              <c:layout>
                <c:manualLayout>
                  <c:x val="0"/>
                  <c:y val="-5.4945054945054949E-3"/>
                </c:manualLayout>
              </c:layout>
              <c:numFmt formatCode="#,##0;&quot;-&quot;#,##0;0" sourceLinked="0"/>
              <c:spPr>
                <a:noFill/>
                <a:ln>
                  <a:noFill/>
                </a:ln>
              </c:spPr>
              <c:txPr>
                <a:bodyPr wrap="none"/>
                <a:lstStyle/>
                <a:p>
                  <a:pPr>
                    <a:defRPr sz="1000" kern="1200">
                      <a:solidFill>
                        <a:schemeClr val="tx2"/>
                      </a:solidFill>
                      <a:latin typeface="+mn-lt"/>
                      <a:ea typeface="+mn-ea"/>
                      <a:cs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E60-406F-B62C-6ED12467337B}"/>
                </c:ext>
              </c:extLst>
            </c:dLbl>
            <c:dLbl>
              <c:idx val="4"/>
              <c:layout>
                <c:manualLayout>
                  <c:x val="0"/>
                  <c:y val="-5.4945054945054949E-3"/>
                </c:manualLayout>
              </c:layout>
              <c:numFmt formatCode="#,##0;&quot;-&quot;#,##0;0" sourceLinked="0"/>
              <c:spPr>
                <a:noFill/>
                <a:ln>
                  <a:noFill/>
                </a:ln>
              </c:spPr>
              <c:txPr>
                <a:bodyPr wrap="none"/>
                <a:lstStyle/>
                <a:p>
                  <a:pPr>
                    <a:defRPr sz="1000" kern="1200">
                      <a:solidFill>
                        <a:schemeClr val="tx2"/>
                      </a:solidFill>
                      <a:latin typeface="+mn-lt"/>
                      <a:ea typeface="+mn-ea"/>
                      <a:cs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E60-406F-B62C-6ED12467337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369.73330975613675</c:v>
                </c:pt>
                <c:pt idx="1">
                  <c:v>329.83068171478084</c:v>
                </c:pt>
                <c:pt idx="2">
                  <c:v>211.5351222583144</c:v>
                </c:pt>
                <c:pt idx="3">
                  <c:v>211.49629715779486</c:v>
                </c:pt>
                <c:pt idx="4">
                  <c:v>194.36680122446947</c:v>
                </c:pt>
              </c:numCache>
            </c:numRef>
          </c:val>
          <c:extLst>
            <c:ext xmlns:c16="http://schemas.microsoft.com/office/drawing/2014/chart" uri="{C3380CC4-5D6E-409C-BE32-E72D297353CC}">
              <c16:uniqueId val="{00000005-DE60-406F-B62C-6ED12467337B}"/>
            </c:ext>
          </c:extLst>
        </c:ser>
        <c:ser>
          <c:idx val="1"/>
          <c:order val="1"/>
          <c:spPr>
            <a:solidFill>
              <a:schemeClr val="accent2"/>
            </a:solidFill>
            <a:ln>
              <a:noFill/>
            </a:ln>
          </c:spPr>
          <c:invertIfNegative val="0"/>
          <c:dLbls>
            <c:dLbl>
              <c:idx val="1"/>
              <c:layout>
                <c:manualLayout>
                  <c:x val="7.1388420460933105E-2"/>
                  <c:y val="6.7765567765567761E-2"/>
                </c:manualLayout>
              </c:layout>
              <c:numFmt formatCode="#,##0;&quot;-&quot;#,##0;0" sourceLinked="0"/>
              <c:spPr>
                <a:noFill/>
                <a:ln>
                  <a:noFill/>
                </a:ln>
              </c:spPr>
              <c:txPr>
                <a:bodyPr wrap="none"/>
                <a:lstStyle/>
                <a:p>
                  <a:pPr>
                    <a:defRPr sz="1000" kern="1200">
                      <a:solidFill>
                        <a:srgbClr val="FFFFFF"/>
                      </a:solidFill>
                      <a:latin typeface="+mn-lt"/>
                      <a:ea typeface="+mn-ea"/>
                      <a:cs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E60-406F-B62C-6ED12467337B}"/>
                </c:ext>
              </c:extLst>
            </c:dLbl>
            <c:dLbl>
              <c:idx val="2"/>
              <c:layout>
                <c:manualLayout>
                  <c:x val="0"/>
                  <c:y val="-7.326007326007326E-3"/>
                </c:manualLayout>
              </c:layout>
              <c:numFmt formatCode="#,##0;&quot;-&quot;#,##0;0" sourceLinked="0"/>
              <c:spPr>
                <a:noFill/>
                <a:ln>
                  <a:noFill/>
                </a:ln>
              </c:spPr>
              <c:txPr>
                <a:bodyPr wrap="none"/>
                <a:lstStyle/>
                <a:p>
                  <a:pPr>
                    <a:defRPr sz="1000" kern="1200">
                      <a:solidFill>
                        <a:schemeClr val="tx1"/>
                      </a:solidFill>
                      <a:latin typeface="+mn-lt"/>
                      <a:ea typeface="+mn-ea"/>
                      <a:cs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E60-406F-B62C-6ED12467337B}"/>
                </c:ext>
              </c:extLst>
            </c:dLbl>
            <c:dLbl>
              <c:idx val="3"/>
              <c:layout>
                <c:manualLayout>
                  <c:x val="0"/>
                  <c:y val="-7.326007326007326E-3"/>
                </c:manualLayout>
              </c:layout>
              <c:numFmt formatCode="#,##0;&quot;-&quot;#,##0;0" sourceLinked="0"/>
              <c:spPr>
                <a:noFill/>
                <a:ln>
                  <a:noFill/>
                </a:ln>
              </c:spPr>
              <c:txPr>
                <a:bodyPr wrap="none"/>
                <a:lstStyle/>
                <a:p>
                  <a:pPr>
                    <a:defRPr sz="1000" kern="1200">
                      <a:solidFill>
                        <a:schemeClr val="tx1"/>
                      </a:solidFill>
                      <a:latin typeface="+mn-lt"/>
                      <a:ea typeface="+mn-ea"/>
                      <a:cs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E60-406F-B62C-6ED12467337B}"/>
                </c:ext>
              </c:extLst>
            </c:dLbl>
            <c:dLbl>
              <c:idx val="4"/>
              <c:layout>
                <c:manualLayout>
                  <c:x val="0"/>
                  <c:y val="-5.4945054945054949E-3"/>
                </c:manualLayout>
              </c:layout>
              <c:numFmt formatCode="#,##0;&quot;-&quot;#,##0;0" sourceLinked="0"/>
              <c:spPr>
                <a:noFill/>
                <a:ln>
                  <a:noFill/>
                </a:ln>
              </c:spPr>
              <c:txPr>
                <a:bodyPr wrap="none"/>
                <a:lstStyle/>
                <a:p>
                  <a:pPr>
                    <a:defRPr sz="1000" kern="1200">
                      <a:solidFill>
                        <a:schemeClr val="tx1"/>
                      </a:solidFill>
                      <a:latin typeface="+mn-lt"/>
                      <a:ea typeface="+mn-ea"/>
                      <a:cs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E60-406F-B62C-6ED12467337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1">
                  <c:v>28.649999999999977</c:v>
                </c:pt>
                <c:pt idx="2">
                  <c:v>210.06</c:v>
                </c:pt>
                <c:pt idx="3">
                  <c:v>428.51</c:v>
                </c:pt>
                <c:pt idx="4">
                  <c:v>476.31000000000006</c:v>
                </c:pt>
              </c:numCache>
            </c:numRef>
          </c:val>
          <c:extLst>
            <c:ext xmlns:c16="http://schemas.microsoft.com/office/drawing/2014/chart" uri="{C3380CC4-5D6E-409C-BE32-E72D297353CC}">
              <c16:uniqueId val="{0000000A-DE60-406F-B62C-6ED12467337B}"/>
            </c:ext>
          </c:extLst>
        </c:ser>
        <c:ser>
          <c:idx val="2"/>
          <c:order val="2"/>
          <c:spPr>
            <a:solidFill>
              <a:schemeClr val="accent1"/>
            </a:solidFill>
            <a:ln>
              <a:noFill/>
            </a:ln>
          </c:spPr>
          <c:invertIfNegative val="0"/>
          <c:dLbls>
            <c:dLbl>
              <c:idx val="1"/>
              <c:layout>
                <c:manualLayout>
                  <c:x val="6.5486228218100059E-2"/>
                  <c:y val="-7.6923076923076927E-2"/>
                </c:manualLayout>
              </c:layout>
              <c:numFmt formatCode="#,##0;&quot;-&quot;#,##0;0" sourceLinked="0"/>
              <c:spPr>
                <a:noFill/>
                <a:ln>
                  <a:noFill/>
                </a:ln>
              </c:spPr>
              <c:txPr>
                <a:bodyPr wrap="none"/>
                <a:lstStyle/>
                <a:p>
                  <a:pPr>
                    <a:defRPr sz="1000" kern="1200">
                      <a:solidFill>
                        <a:schemeClr val="tx1"/>
                      </a:solidFill>
                      <a:latin typeface="+mn-lt"/>
                      <a:ea typeface="+mn-ea"/>
                      <a:cs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E60-406F-B62C-6ED12467337B}"/>
                </c:ext>
              </c:extLst>
            </c:dLbl>
            <c:dLbl>
              <c:idx val="2"/>
              <c:layout>
                <c:manualLayout>
                  <c:x val="7.1388420460933105E-2"/>
                  <c:y val="-7.326007326007326E-3"/>
                </c:manualLayout>
              </c:layout>
              <c:numFmt formatCode="#,##0;&quot;-&quot;#,##0;0" sourceLinked="0"/>
              <c:spPr>
                <a:noFill/>
                <a:ln>
                  <a:noFill/>
                </a:ln>
              </c:spPr>
              <c:txPr>
                <a:bodyPr wrap="none"/>
                <a:lstStyle/>
                <a:p>
                  <a:pPr>
                    <a:defRPr sz="1000" kern="1200">
                      <a:solidFill>
                        <a:srgbClr val="FFFFFF"/>
                      </a:solidFill>
                      <a:latin typeface="+mn-lt"/>
                      <a:ea typeface="+mn-ea"/>
                      <a:cs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E60-406F-B62C-6ED12467337B}"/>
                </c:ext>
              </c:extLst>
            </c:dLbl>
            <c:dLbl>
              <c:idx val="3"/>
              <c:layout>
                <c:manualLayout>
                  <c:x val="7.1388420460933105E-2"/>
                  <c:y val="2.7472527472527472E-2"/>
                </c:manualLayout>
              </c:layout>
              <c:numFmt formatCode="#,##0;&quot;-&quot;#,##0;0" sourceLinked="0"/>
              <c:spPr>
                <a:noFill/>
                <a:ln>
                  <a:noFill/>
                </a:ln>
              </c:spPr>
              <c:txPr>
                <a:bodyPr wrap="none"/>
                <a:lstStyle/>
                <a:p>
                  <a:pPr>
                    <a:defRPr sz="1000" kern="1200">
                      <a:solidFill>
                        <a:srgbClr val="FFFFFF"/>
                      </a:solidFill>
                      <a:latin typeface="+mn-lt"/>
                      <a:ea typeface="+mn-ea"/>
                      <a:cs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E60-406F-B62C-6ED12467337B}"/>
                </c:ext>
              </c:extLst>
            </c:dLbl>
            <c:dLbl>
              <c:idx val="4"/>
              <c:layout>
                <c:manualLayout>
                  <c:x val="7.1388420460933105E-2"/>
                  <c:y val="5.3113553113553112E-2"/>
                </c:manualLayout>
              </c:layout>
              <c:numFmt formatCode="#,##0;&quot;-&quot;#,##0;0" sourceLinked="0"/>
              <c:spPr>
                <a:noFill/>
                <a:ln>
                  <a:noFill/>
                </a:ln>
              </c:spPr>
              <c:txPr>
                <a:bodyPr wrap="none"/>
                <a:lstStyle/>
                <a:p>
                  <a:pPr>
                    <a:defRPr sz="1000" kern="1200">
                      <a:solidFill>
                        <a:srgbClr val="FFFFFF"/>
                      </a:solidFill>
                      <a:latin typeface="+mn-lt"/>
                      <a:ea typeface="+mn-ea"/>
                      <a:cs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E60-406F-B62C-6ED12467337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1">
                  <c:v>7.339999999999975</c:v>
                </c:pt>
                <c:pt idx="2">
                  <c:v>13.850000000000023</c:v>
                </c:pt>
                <c:pt idx="3">
                  <c:v>45.75</c:v>
                </c:pt>
                <c:pt idx="4">
                  <c:v>62.789999999999964</c:v>
                </c:pt>
              </c:numCache>
            </c:numRef>
          </c:val>
          <c:extLst>
            <c:ext xmlns:c16="http://schemas.microsoft.com/office/drawing/2014/chart" uri="{C3380CC4-5D6E-409C-BE32-E72D297353CC}">
              <c16:uniqueId val="{0000000F-DE60-406F-B62C-6ED12467337B}"/>
            </c:ext>
          </c:extLst>
        </c:ser>
        <c:dLbls>
          <c:showLegendKey val="0"/>
          <c:showVal val="0"/>
          <c:showCatName val="0"/>
          <c:showSerName val="0"/>
          <c:showPercent val="0"/>
          <c:showBubbleSize val="0"/>
        </c:dLbls>
        <c:gapWidth val="80"/>
        <c:overlap val="100"/>
        <c:axId val="986822143"/>
        <c:axId val="1"/>
      </c:barChart>
      <c:catAx>
        <c:axId val="98682214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33.46680122446946"/>
          <c:min val="0"/>
        </c:scaling>
        <c:delete val="1"/>
        <c:axPos val="l"/>
        <c:numFmt formatCode="General" sourceLinked="1"/>
        <c:majorTickMark val="out"/>
        <c:minorTickMark val="none"/>
        <c:tickLblPos val="nextTo"/>
        <c:crossAx val="986822143"/>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402843601895734E-2"/>
          <c:y val="0.15757575757575756"/>
          <c:w val="0.96919431279620849"/>
          <c:h val="0.68484848484848482"/>
        </c:manualLayout>
      </c:layout>
      <c:barChart>
        <c:barDir val="col"/>
        <c:grouping val="stacked"/>
        <c:varyColors val="0"/>
        <c:ser>
          <c:idx val="0"/>
          <c:order val="0"/>
          <c:spPr>
            <a:solidFill>
              <a:schemeClr val="accent1"/>
            </a:solidFill>
            <a:ln w="9525" cmpd="sng" algn="ctr">
              <a:solidFill>
                <a:schemeClr val="bg1"/>
              </a:solidFill>
              <a:prstDash val="solid"/>
            </a:ln>
          </c:spPr>
          <c:invertIfNegative val="0"/>
          <c:val>
            <c:numRef>
              <c:f>Sheet1!$A$1:$E$1</c:f>
              <c:numCache>
                <c:formatCode>General</c:formatCode>
                <c:ptCount val="5"/>
                <c:pt idx="0">
                  <c:v>1.1343396393546636</c:v>
                </c:pt>
                <c:pt idx="1">
                  <c:v>1.0712068140186761</c:v>
                </c:pt>
                <c:pt idx="2">
                  <c:v>0.97718987188739703</c:v>
                </c:pt>
                <c:pt idx="3">
                  <c:v>1.2457914163805572</c:v>
                </c:pt>
                <c:pt idx="4">
                  <c:v>1.5807614781394608</c:v>
                </c:pt>
              </c:numCache>
            </c:numRef>
          </c:val>
          <c:extLst>
            <c:ext xmlns:c16="http://schemas.microsoft.com/office/drawing/2014/chart" uri="{C3380CC4-5D6E-409C-BE32-E72D297353CC}">
              <c16:uniqueId val="{00000000-7B18-494E-BF11-E8F453900B44}"/>
            </c:ext>
          </c:extLst>
        </c:ser>
        <c:ser>
          <c:idx val="1"/>
          <c:order val="1"/>
          <c:spPr>
            <a:solidFill>
              <a:schemeClr val="accent3"/>
            </a:solidFill>
            <a:ln w="9525" cmpd="sng" algn="ctr">
              <a:solidFill>
                <a:schemeClr val="bg1"/>
              </a:solidFill>
              <a:prstDash val="solid"/>
            </a:ln>
          </c:spPr>
          <c:invertIfNegative val="0"/>
          <c:val>
            <c:numRef>
              <c:f>Sheet1!$A$2:$E$2</c:f>
              <c:numCache>
                <c:formatCode>General</c:formatCode>
                <c:ptCount val="5"/>
                <c:pt idx="0">
                  <c:v>0.63144936064533641</c:v>
                </c:pt>
                <c:pt idx="1">
                  <c:v>0.76039918598132394</c:v>
                </c:pt>
                <c:pt idx="2">
                  <c:v>0.85552512811260306</c:v>
                </c:pt>
                <c:pt idx="3">
                  <c:v>0.58298858361944284</c:v>
                </c:pt>
                <c:pt idx="4">
                  <c:v>0.37639752186053932</c:v>
                </c:pt>
              </c:numCache>
            </c:numRef>
          </c:val>
          <c:extLst>
            <c:ext xmlns:c16="http://schemas.microsoft.com/office/drawing/2014/chart" uri="{C3380CC4-5D6E-409C-BE32-E72D297353CC}">
              <c16:uniqueId val="{00000001-7B18-494E-BF11-E8F453900B44}"/>
            </c:ext>
          </c:extLst>
        </c:ser>
        <c:dLbls>
          <c:showLegendKey val="0"/>
          <c:showVal val="0"/>
          <c:showCatName val="0"/>
          <c:showSerName val="0"/>
          <c:showPercent val="0"/>
          <c:showBubbleSize val="0"/>
        </c:dLbls>
        <c:gapWidth val="40"/>
        <c:overlap val="100"/>
        <c:axId val="1550275871"/>
        <c:axId val="1"/>
      </c:barChart>
      <c:catAx>
        <c:axId val="155027587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9571590000000001"/>
          <c:min val="0"/>
        </c:scaling>
        <c:delete val="1"/>
        <c:axPos val="l"/>
        <c:numFmt formatCode="General" sourceLinked="1"/>
        <c:majorTickMark val="out"/>
        <c:minorTickMark val="none"/>
        <c:tickLblPos val="nextTo"/>
        <c:crossAx val="1550275871"/>
        <c:crosses val="min"/>
        <c:crossBetween val="between"/>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29 August 2024</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rtl="0">
              <a:defRPr sz="900">
                <a:latin typeface="+mn-lt"/>
                <a:cs typeface="Arial" panose="020B0604020202020204" pitchFamily="34" charset="0"/>
              </a:defRPr>
            </a:lvl1pPr>
          </a:lstStyle>
          <a:p>
            <a:endParaRPr lang="en-US" dirty="0"/>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rtl="0">
              <a:defRPr sz="900">
                <a:latin typeface="+mn-lt"/>
                <a:cs typeface="Arial" panose="020B0604020202020204" pitchFamily="34" charset="0"/>
              </a:defRPr>
            </a:lvl1pPr>
          </a:lstStyle>
          <a:p>
            <a:fld id="{1DF34805-1F01-4BDA-A8CA-FCEA2B4BC8D0}" type="datetime3">
              <a:rPr lang="en-US" smtClean="0"/>
              <a:pPr/>
              <a:t>29 August 2024</a:t>
            </a:fld>
            <a:endParaRPr lang="en-US" dirty="0"/>
          </a:p>
        </p:txBody>
      </p:sp>
      <p:sp>
        <p:nvSpPr>
          <p:cNvPr id="4" name="Slide Image Placeholder 3"/>
          <p:cNvSpPr>
            <a:spLocks noGrp="1" noRot="1" noChangeAspect="1"/>
          </p:cNvSpPr>
          <p:nvPr>
            <p:ph type="sldImg" idx="2"/>
          </p:nvPr>
        </p:nvSpPr>
        <p:spPr>
          <a:xfrm>
            <a:off x="735012"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rtl="0">
              <a:defRPr sz="900">
                <a:latin typeface="+mn-lt"/>
                <a:cs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rtl="0">
              <a:defRPr sz="900">
                <a:latin typeface="+mn-lt"/>
                <a:cs typeface="Arial" panose="020B0604020202020204" pitchFamily="34" charset="0"/>
              </a:defRPr>
            </a:lvl1pPr>
          </a:lstStyle>
          <a:p>
            <a:fld id="{CF5EBCF4-26FC-4F76-8DA1-52FDDC328D44}" type="slidenum">
              <a:rPr lang="en-US" smtClean="0"/>
              <a:pPr/>
              <a:t>‹#›</a:t>
            </a:fld>
            <a:endParaRPr lang="en-US" dirty="0"/>
          </a:p>
        </p:txBody>
      </p:sp>
      <p:sp>
        <p:nvSpPr>
          <p:cNvPr id="5" name="Notes Placeholder 4">
            <a:extLst>
              <a:ext uri="{FF2B5EF4-FFF2-40B4-BE49-F238E27FC236}">
                <a16:creationId xmlns:a16="http://schemas.microsoft.com/office/drawing/2014/main" id="{22FEA09E-B533-4D4E-953A-87FE390760BA}"/>
              </a:ext>
            </a:extLst>
          </p:cNvPr>
          <p:cNvSpPr>
            <a:spLocks noGrp="1"/>
          </p:cNvSpPr>
          <p:nvPr>
            <p:ph type="body" sz="quarter" idx="3"/>
          </p:nvPr>
        </p:nvSpPr>
        <p:spPr>
          <a:xfrm>
            <a:off x="735012" y="4518025"/>
            <a:ext cx="5632450" cy="1000274"/>
          </a:xfrm>
          <a:prstGeom prst="rect">
            <a:avLst/>
          </a:prstGeom>
        </p:spPr>
        <p:txBody>
          <a:bodyPr vert="horz"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300"/>
      </a:spcBef>
      <a:spcAft>
        <a:spcPts val="300"/>
      </a:spcAft>
      <a:defRPr lang="en-US" sz="1100" kern="1200">
        <a:solidFill>
          <a:schemeClr val="tx1"/>
        </a:solidFill>
        <a:latin typeface="+mn-lt"/>
        <a:ea typeface="+mn-ea"/>
        <a:cs typeface="Arial" panose="020B0604020202020204" pitchFamily="34" charset="0"/>
      </a:defRPr>
    </a:lvl1pPr>
    <a:lvl2pPr marL="144000" indent="-144000" algn="l" defTabSz="914400" rtl="0" eaLnBrk="1" latinLnBrk="0" hangingPunct="1">
      <a:spcAft>
        <a:spcPts val="300"/>
      </a:spcAft>
      <a:buSzPct val="110000"/>
      <a:buFont typeface="Wingdings" panose="05000000000000000000" pitchFamily="2" charset="2"/>
      <a:buChar char=""/>
      <a:defRPr lang="en-US" sz="1100" kern="1200">
        <a:solidFill>
          <a:schemeClr val="tx1"/>
        </a:solidFill>
        <a:latin typeface="+mn-lt"/>
        <a:ea typeface="+mn-ea"/>
        <a:cs typeface="+mn-cs"/>
      </a:defRPr>
    </a:lvl2pPr>
    <a:lvl3pPr marL="288000" indent="-144000" algn="l" defTabSz="914400" rtl="0" eaLnBrk="1" latinLnBrk="0" hangingPunct="1">
      <a:spcAft>
        <a:spcPts val="300"/>
      </a:spcAft>
      <a:buSzPct val="110000"/>
      <a:buFont typeface="Arial" panose="020B0604020202020204" pitchFamily="34" charset="0"/>
      <a:buChar char="‒"/>
      <a:defRPr lang="en-US" sz="1100" kern="1200">
        <a:solidFill>
          <a:schemeClr val="tx1"/>
        </a:solidFill>
        <a:latin typeface="+mn-lt"/>
        <a:ea typeface="+mn-ea"/>
        <a:cs typeface="+mn-cs"/>
      </a:defRPr>
    </a:lvl3pPr>
    <a:lvl4pPr marL="432000" indent="-144000" algn="l" defTabSz="914400" rtl="0" eaLnBrk="1" latinLnBrk="0" hangingPunct="1">
      <a:spcAft>
        <a:spcPts val="300"/>
      </a:spcAft>
      <a:buSzPct val="100000"/>
      <a:buFont typeface="Arial" panose="020B0604020202020204" pitchFamily="34" charset="0"/>
      <a:buChar char="•"/>
      <a:defRPr lang="en-US" sz="1100" kern="1200">
        <a:solidFill>
          <a:schemeClr val="tx1"/>
        </a:solidFill>
        <a:latin typeface="+mn-lt"/>
        <a:ea typeface="+mn-ea"/>
        <a:cs typeface="+mn-cs"/>
      </a:defRPr>
    </a:lvl4pPr>
    <a:lvl5pPr marL="576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ft.com/content/6a3f0ce5-9988-417b-af35-3a0766050fe3"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idx="1"/>
          </p:nvPr>
        </p:nvSpPr>
        <p:spPr/>
        <p:txBody>
          <a:bodyPr/>
          <a:lstStyle/>
          <a:p>
            <a:fld id="{1DF34805-1F01-4BDA-A8CA-FCEA2B4BC8D0}" type="datetime3">
              <a:rPr lang="en-US" smtClean="0"/>
              <a:pPr/>
              <a:t>29 August 2024</a:t>
            </a:fld>
            <a:endParaRPr lang="en-US" dirty="0"/>
          </a:p>
        </p:txBody>
      </p:sp>
      <p:sp>
        <p:nvSpPr>
          <p:cNvPr id="5" name="Slide Number Placeholder 4"/>
          <p:cNvSpPr>
            <a:spLocks noGrp="1"/>
          </p:cNvSpPr>
          <p:nvPr>
            <p:ph type="sldNum" sz="quarter" idx="5"/>
          </p:nvPr>
        </p:nvSpPr>
        <p:spPr/>
        <p:txBody>
          <a:bodyPr/>
          <a:lstStyle/>
          <a:p>
            <a:fld id="{CF5EBCF4-26FC-4F76-8DA1-52FDDC328D44}" type="slidenum">
              <a:rPr lang="en-US" smtClean="0"/>
              <a:pPr/>
              <a:t>1</a:t>
            </a:fld>
            <a:endParaRPr lang="en-US" dirty="0"/>
          </a:p>
        </p:txBody>
      </p:sp>
      <p:sp>
        <p:nvSpPr>
          <p:cNvPr id="51" name="Slide Image Placeholder 50">
            <a:extLst>
              <a:ext uri="{FF2B5EF4-FFF2-40B4-BE49-F238E27FC236}">
                <a16:creationId xmlns:a16="http://schemas.microsoft.com/office/drawing/2014/main" id="{DCE3710F-2356-44F5-A47E-3DFCE8CD483E}"/>
              </a:ext>
            </a:extLst>
          </p:cNvPr>
          <p:cNvSpPr>
            <a:spLocks noGrp="1" noRot="1" noChangeAspect="1"/>
          </p:cNvSpPr>
          <p:nvPr>
            <p:ph type="sldImg"/>
          </p:nvPr>
        </p:nvSpPr>
        <p:spPr>
          <a:xfrm>
            <a:off x="735013" y="563563"/>
            <a:ext cx="5632450" cy="3168650"/>
          </a:xfrm>
        </p:spPr>
      </p:sp>
    </p:spTree>
    <p:extLst>
      <p:ext uri="{BB962C8B-B14F-4D97-AF65-F5344CB8AC3E}">
        <p14:creationId xmlns:p14="http://schemas.microsoft.com/office/powerpoint/2010/main" val="39107832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pt-BR"/>
          </a:p>
        </p:txBody>
      </p:sp>
      <p:sp>
        <p:nvSpPr>
          <p:cNvPr id="4" name="Slide Number Placeholder 3"/>
          <p:cNvSpPr>
            <a:spLocks noGrp="1"/>
          </p:cNvSpPr>
          <p:nvPr>
            <p:ph type="sldNum" sz="quarter" idx="5"/>
          </p:nvPr>
        </p:nvSpPr>
        <p:spPr/>
        <p:txBody>
          <a:bodyPr/>
          <a:lstStyle/>
          <a:p>
            <a:fld id="{E5F04E4A-AA0D-454C-AFE6-CAF328BBA256}" type="slidenum">
              <a:rPr lang="pt-BR" smtClean="0"/>
              <a:t>11</a:t>
            </a:fld>
            <a:endParaRPr lang="pt-BR"/>
          </a:p>
        </p:txBody>
      </p:sp>
    </p:spTree>
    <p:extLst>
      <p:ext uri="{BB962C8B-B14F-4D97-AF65-F5344CB8AC3E}">
        <p14:creationId xmlns:p14="http://schemas.microsoft.com/office/powerpoint/2010/main" val="24889752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pt-BR"/>
          </a:p>
        </p:txBody>
      </p:sp>
      <p:sp>
        <p:nvSpPr>
          <p:cNvPr id="4" name="Slide Number Placeholder 3"/>
          <p:cNvSpPr>
            <a:spLocks noGrp="1"/>
          </p:cNvSpPr>
          <p:nvPr>
            <p:ph type="sldNum" sz="quarter" idx="5"/>
          </p:nvPr>
        </p:nvSpPr>
        <p:spPr/>
        <p:txBody>
          <a:bodyPr/>
          <a:lstStyle/>
          <a:p>
            <a:fld id="{E5F04E4A-AA0D-454C-AFE6-CAF328BBA256}" type="slidenum">
              <a:rPr lang="pt-BR" smtClean="0"/>
              <a:t>12</a:t>
            </a:fld>
            <a:endParaRPr lang="pt-BR"/>
          </a:p>
        </p:txBody>
      </p:sp>
    </p:spTree>
    <p:extLst>
      <p:ext uri="{BB962C8B-B14F-4D97-AF65-F5344CB8AC3E}">
        <p14:creationId xmlns:p14="http://schemas.microsoft.com/office/powerpoint/2010/main" val="26017679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pt-BR"/>
          </a:p>
        </p:txBody>
      </p:sp>
      <p:sp>
        <p:nvSpPr>
          <p:cNvPr id="4" name="Slide Number Placeholder 3"/>
          <p:cNvSpPr>
            <a:spLocks noGrp="1"/>
          </p:cNvSpPr>
          <p:nvPr>
            <p:ph type="sldNum" sz="quarter" idx="5"/>
          </p:nvPr>
        </p:nvSpPr>
        <p:spPr/>
        <p:txBody>
          <a:bodyPr/>
          <a:lstStyle/>
          <a:p>
            <a:fld id="{E5F04E4A-AA0D-454C-AFE6-CAF328BBA256}" type="slidenum">
              <a:rPr lang="pt-BR" smtClean="0"/>
              <a:t>13</a:t>
            </a:fld>
            <a:endParaRPr lang="pt-BR"/>
          </a:p>
        </p:txBody>
      </p:sp>
    </p:spTree>
    <p:extLst>
      <p:ext uri="{BB962C8B-B14F-4D97-AF65-F5344CB8AC3E}">
        <p14:creationId xmlns:p14="http://schemas.microsoft.com/office/powerpoint/2010/main" val="16601481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pt-BR"/>
          </a:p>
        </p:txBody>
      </p:sp>
      <p:sp>
        <p:nvSpPr>
          <p:cNvPr id="4" name="Slide Number Placeholder 3"/>
          <p:cNvSpPr>
            <a:spLocks noGrp="1"/>
          </p:cNvSpPr>
          <p:nvPr>
            <p:ph type="sldNum" sz="quarter" idx="5"/>
          </p:nvPr>
        </p:nvSpPr>
        <p:spPr/>
        <p:txBody>
          <a:bodyPr/>
          <a:lstStyle/>
          <a:p>
            <a:fld id="{E5F04E4A-AA0D-454C-AFE6-CAF328BBA256}" type="slidenum">
              <a:rPr lang="pt-BR" smtClean="0"/>
              <a:t>14</a:t>
            </a:fld>
            <a:endParaRPr lang="pt-BR"/>
          </a:p>
        </p:txBody>
      </p:sp>
    </p:spTree>
    <p:extLst>
      <p:ext uri="{BB962C8B-B14F-4D97-AF65-F5344CB8AC3E}">
        <p14:creationId xmlns:p14="http://schemas.microsoft.com/office/powerpoint/2010/main" val="22944147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a:xfrm>
            <a:off x="504561" y="5159110"/>
            <a:ext cx="6306088" cy="246221"/>
          </a:xfrm>
        </p:spPr>
        <p:txBody>
          <a:bodyPr/>
          <a:lstStyle/>
          <a:p>
            <a:endParaRPr lang="en-CA" dirty="0"/>
          </a:p>
        </p:txBody>
      </p:sp>
      <p:sp>
        <p:nvSpPr>
          <p:cNvPr id="4" name="Slide Number Placeholder 3"/>
          <p:cNvSpPr>
            <a:spLocks noGrp="1"/>
          </p:cNvSpPr>
          <p:nvPr>
            <p:ph type="sldNum" sz="quarter" idx="10"/>
          </p:nvPr>
        </p:nvSpPr>
        <p:spPr>
          <a:xfrm>
            <a:off x="6717673" y="9211895"/>
            <a:ext cx="92974" cy="200055"/>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300" b="0" i="0" u="none" strike="noStrike" kern="1200" cap="none" spc="0" normalizeH="0" baseline="0" noProof="0" smtClean="0">
                <a:ln>
                  <a:noFill/>
                </a:ln>
                <a:solidFill>
                  <a:srgbClr val="000000"/>
                </a:solidFill>
                <a:effectLst/>
                <a:uLnTx/>
                <a:uFillTx/>
                <a:latin typeface="Calibri" panose="020F0502020204030204" pitchFamily="34" charset="0"/>
                <a:ea typeface="+mn-ea"/>
                <a:cs typeface="Calibri" panose="020F050202020403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7</a:t>
            </a:fld>
            <a:endParaRPr kumimoji="0" lang="en-US" sz="13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9307615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a:xfrm>
            <a:off x="504561" y="5159110"/>
            <a:ext cx="6306088" cy="246221"/>
          </a:xfrm>
        </p:spPr>
        <p:txBody>
          <a:bodyPr/>
          <a:lstStyle/>
          <a:p>
            <a:endParaRPr lang="en-CA" dirty="0"/>
          </a:p>
        </p:txBody>
      </p:sp>
      <p:sp>
        <p:nvSpPr>
          <p:cNvPr id="4" name="Slide Number Placeholder 3"/>
          <p:cNvSpPr>
            <a:spLocks noGrp="1"/>
          </p:cNvSpPr>
          <p:nvPr>
            <p:ph type="sldNum" sz="quarter" idx="10"/>
          </p:nvPr>
        </p:nvSpPr>
        <p:spPr>
          <a:xfrm>
            <a:off x="6717673" y="9211895"/>
            <a:ext cx="92974" cy="200055"/>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300" b="0" i="0" u="none" strike="noStrike" kern="1200" cap="none" spc="0" normalizeH="0" baseline="0" noProof="0" smtClean="0">
                <a:ln>
                  <a:noFill/>
                </a:ln>
                <a:solidFill>
                  <a:srgbClr val="000000"/>
                </a:solidFill>
                <a:effectLst/>
                <a:uLnTx/>
                <a:uFillTx/>
                <a:latin typeface="Calibri" panose="020F0502020204030204" pitchFamily="34" charset="0"/>
                <a:ea typeface="+mn-ea"/>
                <a:cs typeface="Calibri" panose="020F050202020403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en-US" sz="13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8548989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a:xfrm>
            <a:off x="504561" y="5159110"/>
            <a:ext cx="6306088" cy="246221"/>
          </a:xfrm>
        </p:spPr>
        <p:txBody>
          <a:bodyPr/>
          <a:lstStyle/>
          <a:p>
            <a:endParaRPr lang="en-CA" dirty="0"/>
          </a:p>
        </p:txBody>
      </p:sp>
      <p:sp>
        <p:nvSpPr>
          <p:cNvPr id="4" name="Slide Number Placeholder 3"/>
          <p:cNvSpPr>
            <a:spLocks noGrp="1"/>
          </p:cNvSpPr>
          <p:nvPr>
            <p:ph type="sldNum" sz="quarter" idx="10"/>
          </p:nvPr>
        </p:nvSpPr>
        <p:spPr>
          <a:xfrm>
            <a:off x="6717673" y="9211895"/>
            <a:ext cx="92974" cy="200055"/>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300" b="0" i="0" u="none" strike="noStrike" kern="1200" cap="none" spc="0" normalizeH="0" baseline="0" noProof="0" smtClean="0">
                <a:ln>
                  <a:noFill/>
                </a:ln>
                <a:solidFill>
                  <a:srgbClr val="000000"/>
                </a:solidFill>
                <a:effectLst/>
                <a:uLnTx/>
                <a:uFillTx/>
                <a:latin typeface="Calibri" panose="020F0502020204030204" pitchFamily="34" charset="0"/>
                <a:ea typeface="+mn-ea"/>
                <a:cs typeface="Calibri" panose="020F050202020403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en-US" sz="13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9307615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a:xfrm>
            <a:off x="504561" y="5159110"/>
            <a:ext cx="6306088" cy="246221"/>
          </a:xfrm>
        </p:spPr>
        <p:txBody>
          <a:bodyPr/>
          <a:lstStyle/>
          <a:p>
            <a:endParaRPr lang="en-CA" dirty="0"/>
          </a:p>
        </p:txBody>
      </p:sp>
      <p:sp>
        <p:nvSpPr>
          <p:cNvPr id="4" name="Slide Number Placeholder 3"/>
          <p:cNvSpPr>
            <a:spLocks noGrp="1"/>
          </p:cNvSpPr>
          <p:nvPr>
            <p:ph type="sldNum" sz="quarter" idx="10"/>
          </p:nvPr>
        </p:nvSpPr>
        <p:spPr>
          <a:xfrm>
            <a:off x="6717673" y="9211895"/>
            <a:ext cx="92974" cy="200055"/>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300" b="0" i="0" u="none" strike="noStrike" kern="1200" cap="none" spc="0" normalizeH="0" baseline="0" noProof="0" smtClean="0">
                <a:ln>
                  <a:noFill/>
                </a:ln>
                <a:solidFill>
                  <a:srgbClr val="000000"/>
                </a:solidFill>
                <a:effectLst/>
                <a:uLnTx/>
                <a:uFillTx/>
                <a:latin typeface="Calibri" panose="020F0502020204030204" pitchFamily="34" charset="0"/>
                <a:ea typeface="+mn-ea"/>
                <a:cs typeface="Calibri" panose="020F050202020403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en-US" sz="13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9088784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a:xfrm>
            <a:off x="504561" y="5159110"/>
            <a:ext cx="6306088" cy="246221"/>
          </a:xfrm>
        </p:spPr>
        <p:txBody>
          <a:bodyPr/>
          <a:lstStyle/>
          <a:p>
            <a:endParaRPr lang="en-CA" dirty="0"/>
          </a:p>
        </p:txBody>
      </p:sp>
      <p:sp>
        <p:nvSpPr>
          <p:cNvPr id="4" name="Slide Number Placeholder 3"/>
          <p:cNvSpPr>
            <a:spLocks noGrp="1"/>
          </p:cNvSpPr>
          <p:nvPr>
            <p:ph type="sldNum" sz="quarter" idx="10"/>
          </p:nvPr>
        </p:nvSpPr>
        <p:spPr>
          <a:xfrm>
            <a:off x="6717673" y="9211895"/>
            <a:ext cx="92974" cy="200055"/>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300" b="0" i="0" u="none" strike="noStrike" kern="1200" cap="none" spc="0" normalizeH="0" baseline="0" noProof="0" smtClean="0">
                <a:ln>
                  <a:noFill/>
                </a:ln>
                <a:solidFill>
                  <a:srgbClr val="000000"/>
                </a:solidFill>
                <a:effectLst/>
                <a:uLnTx/>
                <a:uFillTx/>
                <a:latin typeface="Calibri" panose="020F0502020204030204" pitchFamily="34" charset="0"/>
                <a:ea typeface="+mn-ea"/>
                <a:cs typeface="Calibri" panose="020F050202020403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US" sz="13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2399222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a:xfrm>
            <a:off x="504561" y="5159110"/>
            <a:ext cx="6306088" cy="246221"/>
          </a:xfrm>
        </p:spPr>
        <p:txBody>
          <a:bodyPr/>
          <a:lstStyle/>
          <a:p>
            <a:endParaRPr lang="en-CA" dirty="0"/>
          </a:p>
        </p:txBody>
      </p:sp>
      <p:sp>
        <p:nvSpPr>
          <p:cNvPr id="4" name="Slide Number Placeholder 3"/>
          <p:cNvSpPr>
            <a:spLocks noGrp="1"/>
          </p:cNvSpPr>
          <p:nvPr>
            <p:ph type="sldNum" sz="quarter" idx="10"/>
          </p:nvPr>
        </p:nvSpPr>
        <p:spPr>
          <a:xfrm>
            <a:off x="6717673" y="9211895"/>
            <a:ext cx="92974" cy="200055"/>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300" b="0" i="0" u="none" strike="noStrike" kern="1200" cap="none" spc="0" normalizeH="0" baseline="0" noProof="0" smtClean="0">
                <a:ln>
                  <a:noFill/>
                </a:ln>
                <a:solidFill>
                  <a:srgbClr val="000000"/>
                </a:solidFill>
                <a:effectLst/>
                <a:uLnTx/>
                <a:uFillTx/>
                <a:latin typeface="Calibri" panose="020F0502020204030204" pitchFamily="34" charset="0"/>
                <a:ea typeface="+mn-ea"/>
                <a:cs typeface="Calibri" panose="020F050202020403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0" lang="en-US" sz="13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5739575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pt-BR"/>
          </a:p>
        </p:txBody>
      </p:sp>
      <p:sp>
        <p:nvSpPr>
          <p:cNvPr id="4" name="Slide Number Placeholder 3"/>
          <p:cNvSpPr>
            <a:spLocks noGrp="1"/>
          </p:cNvSpPr>
          <p:nvPr>
            <p:ph type="sldNum" sz="quarter" idx="5"/>
          </p:nvPr>
        </p:nvSpPr>
        <p:spPr/>
        <p:txBody>
          <a:bodyPr/>
          <a:lstStyle/>
          <a:p>
            <a:fld id="{E5F04E4A-AA0D-454C-AFE6-CAF328BBA256}" type="slidenum">
              <a:rPr lang="pt-BR" smtClean="0"/>
              <a:t>2</a:t>
            </a:fld>
            <a:endParaRPr lang="pt-BR"/>
          </a:p>
        </p:txBody>
      </p:sp>
    </p:spTree>
    <p:extLst>
      <p:ext uri="{BB962C8B-B14F-4D97-AF65-F5344CB8AC3E}">
        <p14:creationId xmlns:p14="http://schemas.microsoft.com/office/powerpoint/2010/main" val="33969359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a:xfrm>
            <a:off x="504561" y="5159110"/>
            <a:ext cx="6306088" cy="246221"/>
          </a:xfrm>
        </p:spPr>
        <p:txBody>
          <a:bodyPr/>
          <a:lstStyle/>
          <a:p>
            <a:endParaRPr lang="en-CA" dirty="0"/>
          </a:p>
        </p:txBody>
      </p:sp>
      <p:sp>
        <p:nvSpPr>
          <p:cNvPr id="4" name="Slide Number Placeholder 3"/>
          <p:cNvSpPr>
            <a:spLocks noGrp="1"/>
          </p:cNvSpPr>
          <p:nvPr>
            <p:ph type="sldNum" sz="quarter" idx="10"/>
          </p:nvPr>
        </p:nvSpPr>
        <p:spPr>
          <a:xfrm>
            <a:off x="6717673" y="9211895"/>
            <a:ext cx="92974" cy="200055"/>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300" b="0" i="0" u="none" strike="noStrike" kern="1200" cap="none" spc="0" normalizeH="0" baseline="0" noProof="0" smtClean="0">
                <a:ln>
                  <a:noFill/>
                </a:ln>
                <a:solidFill>
                  <a:srgbClr val="000000"/>
                </a:solidFill>
                <a:effectLst/>
                <a:uLnTx/>
                <a:uFillTx/>
                <a:latin typeface="Calibri" panose="020F0502020204030204" pitchFamily="34" charset="0"/>
                <a:ea typeface="+mn-ea"/>
                <a:cs typeface="Calibri" panose="020F050202020403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3</a:t>
            </a:fld>
            <a:endParaRPr kumimoji="0" lang="en-US" sz="13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66008085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a:xfrm>
            <a:off x="504561" y="5159110"/>
            <a:ext cx="6306088" cy="246221"/>
          </a:xfrm>
        </p:spPr>
        <p:txBody>
          <a:bodyPr/>
          <a:lstStyle/>
          <a:p>
            <a:endParaRPr lang="en-CA" dirty="0"/>
          </a:p>
        </p:txBody>
      </p:sp>
      <p:sp>
        <p:nvSpPr>
          <p:cNvPr id="4" name="Slide Number Placeholder 3"/>
          <p:cNvSpPr>
            <a:spLocks noGrp="1"/>
          </p:cNvSpPr>
          <p:nvPr>
            <p:ph type="sldNum" sz="quarter" idx="10"/>
          </p:nvPr>
        </p:nvSpPr>
        <p:spPr>
          <a:xfrm>
            <a:off x="6717673" y="9211895"/>
            <a:ext cx="92974" cy="200055"/>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300" b="0" i="0" u="none" strike="noStrike" kern="1200" cap="none" spc="0" normalizeH="0" baseline="0" noProof="0" smtClean="0">
                <a:ln>
                  <a:noFill/>
                </a:ln>
                <a:solidFill>
                  <a:srgbClr val="000000"/>
                </a:solidFill>
                <a:effectLst/>
                <a:uLnTx/>
                <a:uFillTx/>
                <a:latin typeface="Calibri" panose="020F0502020204030204" pitchFamily="34" charset="0"/>
                <a:ea typeface="+mn-ea"/>
                <a:cs typeface="Calibri" panose="020F050202020403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4</a:t>
            </a:fld>
            <a:endParaRPr kumimoji="0" lang="en-US" sz="13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809094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l-PL" sz="1200" dirty="0" err="1">
                <a:solidFill>
                  <a:srgbClr val="000000"/>
                </a:solidFill>
              </a:rPr>
              <a:t>Copper</a:t>
            </a:r>
            <a:r>
              <a:rPr lang="pl-PL" sz="1200" dirty="0">
                <a:solidFill>
                  <a:srgbClr val="000000"/>
                </a:solidFill>
              </a:rPr>
              <a:t>:</a:t>
            </a:r>
          </a:p>
          <a:p>
            <a:r>
              <a:rPr lang="pl-PL" sz="1200" b="1" dirty="0" err="1">
                <a:solidFill>
                  <a:srgbClr val="000000"/>
                </a:solidFill>
              </a:rPr>
              <a:t>LatAm</a:t>
            </a:r>
            <a:r>
              <a:rPr lang="pl-PL" sz="1200" b="1" dirty="0">
                <a:solidFill>
                  <a:srgbClr val="000000"/>
                </a:solidFill>
              </a:rPr>
              <a:t> 9.1 Mt</a:t>
            </a:r>
          </a:p>
          <a:p>
            <a:r>
              <a:rPr lang="pl-PL" sz="1200" dirty="0" err="1">
                <a:solidFill>
                  <a:srgbClr val="000000"/>
                </a:solidFill>
              </a:rPr>
              <a:t>Africa</a:t>
            </a:r>
            <a:r>
              <a:rPr lang="pl-PL" sz="1200" dirty="0">
                <a:solidFill>
                  <a:srgbClr val="000000"/>
                </a:solidFill>
              </a:rPr>
              <a:t> 3.2 Mt</a:t>
            </a:r>
          </a:p>
          <a:p>
            <a:r>
              <a:rPr lang="pl-PL" sz="1200" dirty="0">
                <a:solidFill>
                  <a:srgbClr val="000000"/>
                </a:solidFill>
              </a:rPr>
              <a:t>Asia 3.2 Mt</a:t>
            </a:r>
          </a:p>
          <a:p>
            <a:endParaRPr lang="pl-PL" sz="1200" dirty="0">
              <a:solidFill>
                <a:srgbClr val="000000"/>
              </a:solidFill>
            </a:endParaRPr>
          </a:p>
          <a:p>
            <a:r>
              <a:rPr lang="pl-PL" sz="1200" dirty="0">
                <a:solidFill>
                  <a:srgbClr val="000000"/>
                </a:solidFill>
              </a:rPr>
              <a:t>Silver:</a:t>
            </a:r>
          </a:p>
          <a:p>
            <a:r>
              <a:rPr lang="pl-PL" sz="1200" b="1" dirty="0" err="1">
                <a:solidFill>
                  <a:srgbClr val="000000"/>
                </a:solidFill>
              </a:rPr>
              <a:t>LatAm</a:t>
            </a:r>
            <a:r>
              <a:rPr lang="pl-PL" sz="1200" b="1" dirty="0">
                <a:solidFill>
                  <a:srgbClr val="000000"/>
                </a:solidFill>
              </a:rPr>
              <a:t>: 430 Moz</a:t>
            </a:r>
          </a:p>
          <a:p>
            <a:r>
              <a:rPr lang="pl-PL" sz="1200" dirty="0">
                <a:solidFill>
                  <a:srgbClr val="000000"/>
                </a:solidFill>
              </a:rPr>
              <a:t>Asia 155 Moz</a:t>
            </a:r>
          </a:p>
          <a:p>
            <a:r>
              <a:rPr lang="pl-PL" sz="1200" dirty="0">
                <a:solidFill>
                  <a:srgbClr val="000000"/>
                </a:solidFill>
              </a:rPr>
              <a:t>Europe 68 Moz</a:t>
            </a:r>
          </a:p>
          <a:p>
            <a:endParaRPr lang="pl-PL" sz="1200" dirty="0">
              <a:solidFill>
                <a:srgbClr val="000000"/>
              </a:solidFill>
            </a:endParaRPr>
          </a:p>
          <a:p>
            <a:r>
              <a:rPr lang="pl-PL" sz="1200" dirty="0" err="1">
                <a:solidFill>
                  <a:srgbClr val="000000"/>
                </a:solidFill>
              </a:rPr>
              <a:t>Zinc</a:t>
            </a:r>
            <a:r>
              <a:rPr lang="pl-PL" sz="1200" dirty="0">
                <a:solidFill>
                  <a:srgbClr val="000000"/>
                </a:solidFill>
              </a:rPr>
              <a:t>:</a:t>
            </a:r>
          </a:p>
          <a:p>
            <a:r>
              <a:rPr lang="pl-PL" sz="1200" dirty="0">
                <a:solidFill>
                  <a:srgbClr val="000000"/>
                </a:solidFill>
              </a:rPr>
              <a:t>Asia: 5.2 Mt (of </a:t>
            </a:r>
            <a:r>
              <a:rPr lang="pl-PL" sz="1200" dirty="0" err="1">
                <a:solidFill>
                  <a:srgbClr val="000000"/>
                </a:solidFill>
              </a:rPr>
              <a:t>which</a:t>
            </a:r>
            <a:r>
              <a:rPr lang="pl-PL" sz="1200" dirty="0">
                <a:solidFill>
                  <a:srgbClr val="000000"/>
                </a:solidFill>
              </a:rPr>
              <a:t> China 4.3 Mt)</a:t>
            </a:r>
          </a:p>
          <a:p>
            <a:r>
              <a:rPr lang="pl-PL" sz="1200" b="1" dirty="0" err="1">
                <a:solidFill>
                  <a:srgbClr val="000000"/>
                </a:solidFill>
              </a:rPr>
              <a:t>LatAm</a:t>
            </a:r>
            <a:r>
              <a:rPr lang="pl-PL" sz="1200" b="1" dirty="0">
                <a:solidFill>
                  <a:srgbClr val="000000"/>
                </a:solidFill>
              </a:rPr>
              <a:t>: 2.6 Mt</a:t>
            </a:r>
          </a:p>
          <a:p>
            <a:r>
              <a:rPr lang="pl-PL" sz="1200" dirty="0">
                <a:solidFill>
                  <a:srgbClr val="000000"/>
                </a:solidFill>
              </a:rPr>
              <a:t>Australia: 1.2 Mt</a:t>
            </a:r>
          </a:p>
          <a:p>
            <a:endParaRPr lang="pl-PL" sz="1200" dirty="0">
              <a:solidFill>
                <a:srgbClr val="000000"/>
              </a:solidFill>
            </a:endParaRPr>
          </a:p>
          <a:p>
            <a:r>
              <a:rPr lang="pl-PL" sz="1200" dirty="0">
                <a:solidFill>
                  <a:srgbClr val="000000"/>
                </a:solidFill>
              </a:rPr>
              <a:t>Iron </a:t>
            </a:r>
            <a:r>
              <a:rPr lang="pl-PL" sz="1200" dirty="0" err="1">
                <a:solidFill>
                  <a:srgbClr val="000000"/>
                </a:solidFill>
              </a:rPr>
              <a:t>ore</a:t>
            </a:r>
            <a:r>
              <a:rPr lang="pl-PL" sz="1200" dirty="0">
                <a:solidFill>
                  <a:srgbClr val="000000"/>
                </a:solidFill>
              </a:rPr>
              <a:t>:</a:t>
            </a:r>
          </a:p>
          <a:p>
            <a:r>
              <a:rPr lang="pl-PL" sz="1200" dirty="0">
                <a:solidFill>
                  <a:srgbClr val="000000"/>
                </a:solidFill>
              </a:rPr>
              <a:t>Australia: 945 Mt</a:t>
            </a:r>
          </a:p>
          <a:p>
            <a:r>
              <a:rPr lang="pl-PL" sz="1200" b="1" dirty="0" err="1">
                <a:solidFill>
                  <a:srgbClr val="000000"/>
                </a:solidFill>
              </a:rPr>
              <a:t>LatAm</a:t>
            </a:r>
            <a:r>
              <a:rPr lang="pl-PL" sz="1200" b="1" dirty="0">
                <a:solidFill>
                  <a:srgbClr val="000000"/>
                </a:solidFill>
              </a:rPr>
              <a:t>: 456 Mt</a:t>
            </a:r>
          </a:p>
          <a:p>
            <a:r>
              <a:rPr lang="pl-PL" sz="1200" dirty="0">
                <a:solidFill>
                  <a:srgbClr val="000000"/>
                </a:solidFill>
              </a:rPr>
              <a:t>China: 274 Mt</a:t>
            </a:r>
          </a:p>
          <a:p>
            <a:r>
              <a:rPr lang="pl-PL" sz="1200" dirty="0">
                <a:solidFill>
                  <a:srgbClr val="000000"/>
                </a:solidFill>
              </a:rPr>
              <a:t>India: 249 Mt</a:t>
            </a:r>
          </a:p>
          <a:p>
            <a:r>
              <a:rPr lang="pl-PL" sz="1200" dirty="0">
                <a:solidFill>
                  <a:srgbClr val="000000"/>
                </a:solidFill>
              </a:rPr>
              <a:t>(</a:t>
            </a:r>
            <a:r>
              <a:rPr lang="pl-PL" sz="1200" dirty="0" err="1">
                <a:solidFill>
                  <a:srgbClr val="000000"/>
                </a:solidFill>
              </a:rPr>
              <a:t>LatAm</a:t>
            </a:r>
            <a:r>
              <a:rPr lang="pl-PL" sz="1200" dirty="0">
                <a:solidFill>
                  <a:srgbClr val="000000"/>
                </a:solidFill>
              </a:rPr>
              <a:t> </a:t>
            </a:r>
            <a:r>
              <a:rPr lang="pl-PL" sz="1200" dirty="0" err="1">
                <a:solidFill>
                  <a:srgbClr val="000000"/>
                </a:solidFill>
              </a:rPr>
              <a:t>is</a:t>
            </a:r>
            <a:r>
              <a:rPr lang="pl-PL" sz="1200" dirty="0">
                <a:solidFill>
                  <a:srgbClr val="000000"/>
                </a:solidFill>
              </a:rPr>
              <a:t> 3rd </a:t>
            </a:r>
            <a:r>
              <a:rPr lang="pl-PL" sz="1200" dirty="0" err="1">
                <a:solidFill>
                  <a:srgbClr val="000000"/>
                </a:solidFill>
              </a:rPr>
              <a:t>if</a:t>
            </a:r>
            <a:r>
              <a:rPr lang="pl-PL" sz="1200" dirty="0">
                <a:solidFill>
                  <a:srgbClr val="000000"/>
                </a:solidFill>
              </a:rPr>
              <a:t> </a:t>
            </a:r>
            <a:r>
              <a:rPr lang="pl-PL" sz="1200" dirty="0" err="1">
                <a:solidFill>
                  <a:srgbClr val="000000"/>
                </a:solidFill>
              </a:rPr>
              <a:t>you</a:t>
            </a:r>
            <a:r>
              <a:rPr lang="pl-PL" sz="1200" dirty="0">
                <a:solidFill>
                  <a:srgbClr val="000000"/>
                </a:solidFill>
              </a:rPr>
              <a:t> </a:t>
            </a:r>
            <a:r>
              <a:rPr lang="pl-PL" sz="1200" dirty="0" err="1">
                <a:solidFill>
                  <a:srgbClr val="000000"/>
                </a:solidFill>
              </a:rPr>
              <a:t>combine</a:t>
            </a:r>
            <a:r>
              <a:rPr lang="pl-PL" sz="1200" dirty="0">
                <a:solidFill>
                  <a:srgbClr val="000000"/>
                </a:solidFill>
              </a:rPr>
              <a:t> </a:t>
            </a:r>
            <a:r>
              <a:rPr lang="pl-PL" sz="1200" dirty="0" err="1">
                <a:solidFill>
                  <a:srgbClr val="000000"/>
                </a:solidFill>
              </a:rPr>
              <a:t>all</a:t>
            </a:r>
            <a:r>
              <a:rPr lang="pl-PL" sz="1200" dirty="0">
                <a:solidFill>
                  <a:srgbClr val="000000"/>
                </a:solidFill>
              </a:rPr>
              <a:t> </a:t>
            </a:r>
            <a:r>
              <a:rPr lang="pl-PL" sz="1200" dirty="0" err="1">
                <a:solidFill>
                  <a:srgbClr val="000000"/>
                </a:solidFill>
              </a:rPr>
              <a:t>Asian</a:t>
            </a:r>
            <a:r>
              <a:rPr lang="pl-PL" sz="1200" dirty="0">
                <a:solidFill>
                  <a:srgbClr val="000000"/>
                </a:solidFill>
              </a:rPr>
              <a:t> </a:t>
            </a:r>
            <a:r>
              <a:rPr lang="pl-PL" sz="1200" dirty="0" err="1">
                <a:solidFill>
                  <a:srgbClr val="000000"/>
                </a:solidFill>
              </a:rPr>
              <a:t>countries</a:t>
            </a:r>
            <a:r>
              <a:rPr lang="pl-PL" sz="1200" dirty="0">
                <a:solidFill>
                  <a:srgbClr val="000000"/>
                </a:solidFill>
              </a:rPr>
              <a:t>)</a:t>
            </a:r>
          </a:p>
          <a:p>
            <a:endParaRPr lang="pl-PL" sz="1200" dirty="0">
              <a:solidFill>
                <a:srgbClr val="000000"/>
              </a:solidFill>
            </a:endParaRPr>
          </a:p>
          <a:p>
            <a:r>
              <a:rPr lang="pl-PL" sz="1200" dirty="0">
                <a:solidFill>
                  <a:srgbClr val="000000"/>
                </a:solidFill>
              </a:rPr>
              <a:t>Gold:</a:t>
            </a:r>
          </a:p>
          <a:p>
            <a:r>
              <a:rPr lang="pl-PL" sz="1200" dirty="0" err="1">
                <a:solidFill>
                  <a:srgbClr val="000000"/>
                </a:solidFill>
              </a:rPr>
              <a:t>Africa</a:t>
            </a:r>
            <a:r>
              <a:rPr lang="pl-PL" sz="1200" dirty="0">
                <a:solidFill>
                  <a:srgbClr val="000000"/>
                </a:solidFill>
              </a:rPr>
              <a:t> 30 Moz</a:t>
            </a:r>
          </a:p>
          <a:p>
            <a:r>
              <a:rPr lang="pl-PL" sz="1200" b="1" dirty="0" err="1">
                <a:solidFill>
                  <a:srgbClr val="000000"/>
                </a:solidFill>
              </a:rPr>
              <a:t>LatAm</a:t>
            </a:r>
            <a:r>
              <a:rPr lang="pl-PL" sz="1200" b="1" dirty="0">
                <a:solidFill>
                  <a:srgbClr val="000000"/>
                </a:solidFill>
              </a:rPr>
              <a:t> 21 Moz</a:t>
            </a:r>
          </a:p>
          <a:p>
            <a:r>
              <a:rPr lang="pl-PL" sz="1200" dirty="0">
                <a:solidFill>
                  <a:srgbClr val="000000"/>
                </a:solidFill>
              </a:rPr>
              <a:t>Asia 16 Moz</a:t>
            </a:r>
          </a:p>
          <a:p>
            <a:endParaRPr lang="pl-PL" sz="1200" dirty="0">
              <a:solidFill>
                <a:srgbClr val="000000"/>
              </a:solidFill>
            </a:endParaRPr>
          </a:p>
          <a:p>
            <a:r>
              <a:rPr lang="pl-PL" sz="1200" dirty="0" err="1">
                <a:solidFill>
                  <a:srgbClr val="000000"/>
                </a:solidFill>
              </a:rPr>
              <a:t>Lithium</a:t>
            </a:r>
            <a:r>
              <a:rPr lang="pl-PL" sz="1200" dirty="0">
                <a:solidFill>
                  <a:srgbClr val="000000"/>
                </a:solidFill>
              </a:rPr>
              <a:t>:</a:t>
            </a:r>
          </a:p>
          <a:p>
            <a:r>
              <a:rPr lang="pl-PL" sz="1200" dirty="0">
                <a:solidFill>
                  <a:srgbClr val="000000"/>
                </a:solidFill>
              </a:rPr>
              <a:t>Australia: 359 </a:t>
            </a:r>
            <a:r>
              <a:rPr lang="pl-PL" sz="1200" dirty="0" err="1">
                <a:solidFill>
                  <a:srgbClr val="000000"/>
                </a:solidFill>
              </a:rPr>
              <a:t>kt</a:t>
            </a:r>
            <a:r>
              <a:rPr lang="pl-PL" sz="1200" dirty="0">
                <a:solidFill>
                  <a:srgbClr val="000000"/>
                </a:solidFill>
              </a:rPr>
              <a:t> LCE</a:t>
            </a:r>
          </a:p>
          <a:p>
            <a:r>
              <a:rPr lang="pl-PL" sz="1200" b="1" dirty="0" err="1">
                <a:solidFill>
                  <a:srgbClr val="000000"/>
                </a:solidFill>
              </a:rPr>
              <a:t>LatAm</a:t>
            </a:r>
            <a:r>
              <a:rPr lang="pl-PL" sz="1200" b="1" dirty="0">
                <a:solidFill>
                  <a:srgbClr val="000000"/>
                </a:solidFill>
              </a:rPr>
              <a:t>: 260 </a:t>
            </a:r>
            <a:r>
              <a:rPr lang="pl-PL" sz="1200" b="1" dirty="0" err="1">
                <a:solidFill>
                  <a:srgbClr val="000000"/>
                </a:solidFill>
              </a:rPr>
              <a:t>kt</a:t>
            </a:r>
            <a:r>
              <a:rPr lang="pl-PL" sz="1200" b="1" dirty="0">
                <a:solidFill>
                  <a:srgbClr val="000000"/>
                </a:solidFill>
              </a:rPr>
              <a:t> LCE</a:t>
            </a:r>
          </a:p>
          <a:p>
            <a:r>
              <a:rPr lang="pl-PL" sz="1200" dirty="0">
                <a:solidFill>
                  <a:srgbClr val="000000"/>
                </a:solidFill>
              </a:rPr>
              <a:t>China: 176 </a:t>
            </a:r>
            <a:r>
              <a:rPr lang="pl-PL" sz="1200" dirty="0" err="1">
                <a:solidFill>
                  <a:srgbClr val="000000"/>
                </a:solidFill>
              </a:rPr>
              <a:t>kt</a:t>
            </a:r>
            <a:r>
              <a:rPr lang="pl-PL" sz="1200" dirty="0">
                <a:solidFill>
                  <a:srgbClr val="000000"/>
                </a:solidFill>
              </a:rPr>
              <a:t> LCE</a:t>
            </a:r>
          </a:p>
          <a:p>
            <a:endParaRPr lang="pt-BR" dirty="0"/>
          </a:p>
        </p:txBody>
      </p:sp>
      <p:sp>
        <p:nvSpPr>
          <p:cNvPr id="4" name="Slide Number Placeholder 3"/>
          <p:cNvSpPr>
            <a:spLocks noGrp="1"/>
          </p:cNvSpPr>
          <p:nvPr>
            <p:ph type="sldNum" sz="quarter" idx="5"/>
          </p:nvPr>
        </p:nvSpPr>
        <p:spPr/>
        <p:txBody>
          <a:bodyPr/>
          <a:lstStyle/>
          <a:p>
            <a:fld id="{E5F04E4A-AA0D-454C-AFE6-CAF328BBA256}" type="slidenum">
              <a:rPr lang="pt-BR" smtClean="0"/>
              <a:t>3</a:t>
            </a:fld>
            <a:endParaRPr lang="pt-BR"/>
          </a:p>
        </p:txBody>
      </p:sp>
    </p:spTree>
    <p:extLst>
      <p:ext uri="{BB962C8B-B14F-4D97-AF65-F5344CB8AC3E}">
        <p14:creationId xmlns:p14="http://schemas.microsoft.com/office/powerpoint/2010/main" val="3946124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s-CO" dirty="0"/>
          </a:p>
        </p:txBody>
      </p:sp>
      <p:sp>
        <p:nvSpPr>
          <p:cNvPr id="4" name="Date Placeholder 3"/>
          <p:cNvSpPr>
            <a:spLocks noGrp="1"/>
          </p:cNvSpPr>
          <p:nvPr>
            <p:ph type="dt" idx="1"/>
          </p:nvPr>
        </p:nvSpPr>
        <p:spPr/>
        <p:txBody>
          <a:bodyPr/>
          <a:lstStyle/>
          <a:p>
            <a:fld id="{1DF34805-1F01-4BDA-A8CA-FCEA2B4BC8D0}" type="datetime3">
              <a:rPr lang="en-US" smtClean="0"/>
              <a:pPr/>
              <a:t>29 August 2024</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4</a:t>
            </a:fld>
            <a:endParaRPr lang="en-US"/>
          </a:p>
        </p:txBody>
      </p:sp>
    </p:spTree>
    <p:extLst>
      <p:ext uri="{BB962C8B-B14F-4D97-AF65-F5344CB8AC3E}">
        <p14:creationId xmlns:p14="http://schemas.microsoft.com/office/powerpoint/2010/main" val="11137079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r>
              <a:rPr lang="es-CO" dirty="0"/>
              <a:t>https://www.newsecuritybeat.org/2023/07/chinas-critical-mineral-model-latin-america/</a:t>
            </a:r>
          </a:p>
          <a:p>
            <a:r>
              <a:rPr lang="es-CO" dirty="0"/>
              <a:t>https://www.bloomberglinea.com/english/electric-vehicle-boom-brings-95b-investment-to-latin-american-copper-mining-projects/</a:t>
            </a:r>
          </a:p>
          <a:p>
            <a:r>
              <a:rPr lang="es-PE" sz="1800" dirty="0">
                <a:effectLst/>
                <a:latin typeface="Calibri" panose="020F0502020204030204" pitchFamily="34" charset="0"/>
                <a:hlinkClick r:id="rId3"/>
              </a:rPr>
              <a:t>https://www.ft.com/content/6a3f0ce5-9988-417b-af35-3a0766050fe3</a:t>
            </a:r>
            <a:endParaRPr lang="es-CO" dirty="0"/>
          </a:p>
        </p:txBody>
      </p:sp>
      <p:sp>
        <p:nvSpPr>
          <p:cNvPr id="4" name="Date Placeholder 3"/>
          <p:cNvSpPr>
            <a:spLocks noGrp="1"/>
          </p:cNvSpPr>
          <p:nvPr>
            <p:ph type="dt" idx="1"/>
          </p:nvPr>
        </p:nvSpPr>
        <p:spPr/>
        <p:txBody>
          <a:bodyPr/>
          <a:lstStyle/>
          <a:p>
            <a:fld id="{1DF34805-1F01-4BDA-A8CA-FCEA2B4BC8D0}" type="datetime3">
              <a:rPr lang="en-US" smtClean="0"/>
              <a:pPr/>
              <a:t>29 August 2024</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6</a:t>
            </a:fld>
            <a:endParaRPr lang="en-US"/>
          </a:p>
        </p:txBody>
      </p:sp>
    </p:spTree>
    <p:extLst>
      <p:ext uri="{BB962C8B-B14F-4D97-AF65-F5344CB8AC3E}">
        <p14:creationId xmlns:p14="http://schemas.microsoft.com/office/powerpoint/2010/main" val="40822930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pt-BR"/>
          </a:p>
        </p:txBody>
      </p:sp>
      <p:sp>
        <p:nvSpPr>
          <p:cNvPr id="4" name="Slide Number Placeholder 3"/>
          <p:cNvSpPr>
            <a:spLocks noGrp="1"/>
          </p:cNvSpPr>
          <p:nvPr>
            <p:ph type="sldNum" sz="quarter" idx="5"/>
          </p:nvPr>
        </p:nvSpPr>
        <p:spPr/>
        <p:txBody>
          <a:bodyPr/>
          <a:lstStyle/>
          <a:p>
            <a:fld id="{E5F04E4A-AA0D-454C-AFE6-CAF328BBA256}" type="slidenum">
              <a:rPr lang="pt-BR" smtClean="0"/>
              <a:t>7</a:t>
            </a:fld>
            <a:endParaRPr lang="pt-BR"/>
          </a:p>
        </p:txBody>
      </p:sp>
    </p:spTree>
    <p:extLst>
      <p:ext uri="{BB962C8B-B14F-4D97-AF65-F5344CB8AC3E}">
        <p14:creationId xmlns:p14="http://schemas.microsoft.com/office/powerpoint/2010/main" val="9492895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pt-BR"/>
          </a:p>
        </p:txBody>
      </p:sp>
      <p:sp>
        <p:nvSpPr>
          <p:cNvPr id="4" name="Slide Number Placeholder 3"/>
          <p:cNvSpPr>
            <a:spLocks noGrp="1"/>
          </p:cNvSpPr>
          <p:nvPr>
            <p:ph type="sldNum" sz="quarter" idx="5"/>
          </p:nvPr>
        </p:nvSpPr>
        <p:spPr/>
        <p:txBody>
          <a:bodyPr/>
          <a:lstStyle/>
          <a:p>
            <a:fld id="{E5F04E4A-AA0D-454C-AFE6-CAF328BBA256}" type="slidenum">
              <a:rPr lang="pt-BR" smtClean="0"/>
              <a:t>8</a:t>
            </a:fld>
            <a:endParaRPr lang="pt-BR"/>
          </a:p>
        </p:txBody>
      </p:sp>
    </p:spTree>
    <p:extLst>
      <p:ext uri="{BB962C8B-B14F-4D97-AF65-F5344CB8AC3E}">
        <p14:creationId xmlns:p14="http://schemas.microsoft.com/office/powerpoint/2010/main" val="19646968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pt-BR"/>
          </a:p>
        </p:txBody>
      </p:sp>
      <p:sp>
        <p:nvSpPr>
          <p:cNvPr id="4" name="Slide Number Placeholder 3"/>
          <p:cNvSpPr>
            <a:spLocks noGrp="1"/>
          </p:cNvSpPr>
          <p:nvPr>
            <p:ph type="sldNum" sz="quarter" idx="5"/>
          </p:nvPr>
        </p:nvSpPr>
        <p:spPr/>
        <p:txBody>
          <a:bodyPr/>
          <a:lstStyle/>
          <a:p>
            <a:fld id="{E5F04E4A-AA0D-454C-AFE6-CAF328BBA256}" type="slidenum">
              <a:rPr lang="pt-BR" smtClean="0"/>
              <a:t>9</a:t>
            </a:fld>
            <a:endParaRPr lang="pt-BR"/>
          </a:p>
        </p:txBody>
      </p:sp>
    </p:spTree>
    <p:extLst>
      <p:ext uri="{BB962C8B-B14F-4D97-AF65-F5344CB8AC3E}">
        <p14:creationId xmlns:p14="http://schemas.microsoft.com/office/powerpoint/2010/main" val="23832628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pt-BR"/>
          </a:p>
        </p:txBody>
      </p:sp>
      <p:sp>
        <p:nvSpPr>
          <p:cNvPr id="4" name="Slide Number Placeholder 3"/>
          <p:cNvSpPr>
            <a:spLocks noGrp="1"/>
          </p:cNvSpPr>
          <p:nvPr>
            <p:ph type="sldNum" sz="quarter" idx="5"/>
          </p:nvPr>
        </p:nvSpPr>
        <p:spPr/>
        <p:txBody>
          <a:bodyPr/>
          <a:lstStyle/>
          <a:p>
            <a:fld id="{E5F04E4A-AA0D-454C-AFE6-CAF328BBA256}" type="slidenum">
              <a:rPr lang="pt-BR" smtClean="0"/>
              <a:t>10</a:t>
            </a:fld>
            <a:endParaRPr lang="pt-BR"/>
          </a:p>
        </p:txBody>
      </p:sp>
    </p:spTree>
    <p:extLst>
      <p:ext uri="{BB962C8B-B14F-4D97-AF65-F5344CB8AC3E}">
        <p14:creationId xmlns:p14="http://schemas.microsoft.com/office/powerpoint/2010/main" val="257147300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24.xml"/><Relationship Id="rId7" Type="http://schemas.openxmlformats.org/officeDocument/2006/relationships/oleObject" Target="../embeddings/oleObject2.bin"/><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slideMaster" Target="../slideMasters/slideMaster1.xml"/><Relationship Id="rId5" Type="http://schemas.openxmlformats.org/officeDocument/2006/relationships/tags" Target="../tags/tag26.xml"/><Relationship Id="rId10" Type="http://schemas.openxmlformats.org/officeDocument/2006/relationships/image" Target="../media/image6.png"/><Relationship Id="rId4" Type="http://schemas.openxmlformats.org/officeDocument/2006/relationships/tags" Target="../tags/tag25.xml"/><Relationship Id="rId9"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89.xml"/><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image" Target="../media/image2.png"/><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image" Target="../media/image1.emf"/><Relationship Id="rId5" Type="http://schemas.openxmlformats.org/officeDocument/2006/relationships/tags" Target="../tags/tag86.xml"/><Relationship Id="rId10" Type="http://schemas.openxmlformats.org/officeDocument/2006/relationships/oleObject" Target="../embeddings/oleObject11.bin"/><Relationship Id="rId4" Type="http://schemas.openxmlformats.org/officeDocument/2006/relationships/tags" Target="../tags/tag85.xml"/><Relationship Id="rId9"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97.xml"/><Relationship Id="rId3" Type="http://schemas.openxmlformats.org/officeDocument/2006/relationships/tags" Target="../tags/tag92.xml"/><Relationship Id="rId7" Type="http://schemas.openxmlformats.org/officeDocument/2006/relationships/tags" Target="../tags/tag96.xml"/><Relationship Id="rId12" Type="http://schemas.openxmlformats.org/officeDocument/2006/relationships/image" Target="../media/image2.png"/><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image" Target="../media/image7.emf"/><Relationship Id="rId5" Type="http://schemas.openxmlformats.org/officeDocument/2006/relationships/tags" Target="../tags/tag94.xml"/><Relationship Id="rId10" Type="http://schemas.openxmlformats.org/officeDocument/2006/relationships/oleObject" Target="../embeddings/oleObject12.bin"/><Relationship Id="rId4" Type="http://schemas.openxmlformats.org/officeDocument/2006/relationships/tags" Target="../tags/tag93.xml"/><Relationship Id="rId9"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05.xml"/><Relationship Id="rId3" Type="http://schemas.openxmlformats.org/officeDocument/2006/relationships/tags" Target="../tags/tag100.xml"/><Relationship Id="rId7" Type="http://schemas.openxmlformats.org/officeDocument/2006/relationships/tags" Target="../tags/tag104.xml"/><Relationship Id="rId12" Type="http://schemas.openxmlformats.org/officeDocument/2006/relationships/image" Target="../media/image2.png"/><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tags" Target="../tags/tag103.xml"/><Relationship Id="rId11" Type="http://schemas.openxmlformats.org/officeDocument/2006/relationships/image" Target="../media/image1.emf"/><Relationship Id="rId5" Type="http://schemas.openxmlformats.org/officeDocument/2006/relationships/tags" Target="../tags/tag102.xml"/><Relationship Id="rId10" Type="http://schemas.openxmlformats.org/officeDocument/2006/relationships/oleObject" Target="../embeddings/oleObject13.bin"/><Relationship Id="rId4" Type="http://schemas.openxmlformats.org/officeDocument/2006/relationships/tags" Target="../tags/tag101.xml"/><Relationship Id="rId9"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108.xml"/><Relationship Id="rId7" Type="http://schemas.openxmlformats.org/officeDocument/2006/relationships/slideMaster" Target="../slideMasters/slideMaster1.xml"/><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tags" Target="../tags/tag111.xml"/><Relationship Id="rId5" Type="http://schemas.openxmlformats.org/officeDocument/2006/relationships/tags" Target="../tags/tag110.xml"/><Relationship Id="rId10" Type="http://schemas.openxmlformats.org/officeDocument/2006/relationships/image" Target="../media/image2.png"/><Relationship Id="rId4" Type="http://schemas.openxmlformats.org/officeDocument/2006/relationships/tags" Target="../tags/tag109.xml"/><Relationship Id="rId9" Type="http://schemas.openxmlformats.org/officeDocument/2006/relationships/image" Target="../media/image4.emf"/></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14.xml"/><Relationship Id="rId7" Type="http://schemas.openxmlformats.org/officeDocument/2006/relationships/image" Target="../media/image4.emf"/><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oleObject" Target="../embeddings/oleObject15.bin"/><Relationship Id="rId5" Type="http://schemas.openxmlformats.org/officeDocument/2006/relationships/slideMaster" Target="../slideMasters/slideMaster1.xml"/><Relationship Id="rId4" Type="http://schemas.openxmlformats.org/officeDocument/2006/relationships/tags" Target="../tags/tag115.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140.xml"/><Relationship Id="rId7" Type="http://schemas.openxmlformats.org/officeDocument/2006/relationships/oleObject" Target="../embeddings/oleObject18.bin"/><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slideMaster" Target="../slideMasters/slideMaster2.xml"/><Relationship Id="rId5" Type="http://schemas.openxmlformats.org/officeDocument/2006/relationships/tags" Target="../tags/tag142.xml"/><Relationship Id="rId10" Type="http://schemas.openxmlformats.org/officeDocument/2006/relationships/image" Target="../media/image6.png"/><Relationship Id="rId4" Type="http://schemas.openxmlformats.org/officeDocument/2006/relationships/tags" Target="../tags/tag141.xml"/><Relationship Id="rId9" Type="http://schemas.openxmlformats.org/officeDocument/2006/relationships/image" Target="../media/image5.jpeg"/></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45.xml"/><Relationship Id="rId7" Type="http://schemas.openxmlformats.org/officeDocument/2006/relationships/tags" Target="../tags/tag149.xml"/><Relationship Id="rId2" Type="http://schemas.openxmlformats.org/officeDocument/2006/relationships/tags" Target="../tags/tag144.xml"/><Relationship Id="rId1" Type="http://schemas.openxmlformats.org/officeDocument/2006/relationships/tags" Target="../tags/tag143.xml"/><Relationship Id="rId6" Type="http://schemas.openxmlformats.org/officeDocument/2006/relationships/tags" Target="../tags/tag148.xml"/><Relationship Id="rId5" Type="http://schemas.openxmlformats.org/officeDocument/2006/relationships/tags" Target="../tags/tag147.xml"/><Relationship Id="rId10" Type="http://schemas.openxmlformats.org/officeDocument/2006/relationships/image" Target="../media/image1.emf"/><Relationship Id="rId4" Type="http://schemas.openxmlformats.org/officeDocument/2006/relationships/tags" Target="../tags/tag146.xml"/><Relationship Id="rId9" Type="http://schemas.openxmlformats.org/officeDocument/2006/relationships/oleObject" Target="../embeddings/oleObject19.bin"/></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52.xml"/><Relationship Id="rId7" Type="http://schemas.openxmlformats.org/officeDocument/2006/relationships/tags" Target="../tags/tag156.xml"/><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tags" Target="../tags/tag155.xml"/><Relationship Id="rId5" Type="http://schemas.openxmlformats.org/officeDocument/2006/relationships/tags" Target="../tags/tag154.xml"/><Relationship Id="rId10" Type="http://schemas.openxmlformats.org/officeDocument/2006/relationships/image" Target="../media/image1.emf"/><Relationship Id="rId4" Type="http://schemas.openxmlformats.org/officeDocument/2006/relationships/tags" Target="../tags/tag153.xml"/><Relationship Id="rId9" Type="http://schemas.openxmlformats.org/officeDocument/2006/relationships/oleObject" Target="../embeddings/oleObject20.bin"/></Relationships>
</file>

<file path=ppt/slideLayouts/_rels/slideLayout21.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159.xml"/><Relationship Id="rId7" Type="http://schemas.openxmlformats.org/officeDocument/2006/relationships/slideMaster" Target="../slideMasters/slideMaster2.xml"/><Relationship Id="rId2" Type="http://schemas.openxmlformats.org/officeDocument/2006/relationships/tags" Target="../tags/tag158.xml"/><Relationship Id="rId1" Type="http://schemas.openxmlformats.org/officeDocument/2006/relationships/tags" Target="../tags/tag157.xml"/><Relationship Id="rId6" Type="http://schemas.openxmlformats.org/officeDocument/2006/relationships/tags" Target="../tags/tag162.xml"/><Relationship Id="rId5" Type="http://schemas.openxmlformats.org/officeDocument/2006/relationships/tags" Target="../tags/tag161.xml"/><Relationship Id="rId4" Type="http://schemas.openxmlformats.org/officeDocument/2006/relationships/tags" Target="../tags/tag160.xml"/><Relationship Id="rId9"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tags" Target="../tags/tag165.xml"/><Relationship Id="rId7" Type="http://schemas.openxmlformats.org/officeDocument/2006/relationships/slideMaster" Target="../slideMasters/slideMaster2.xml"/><Relationship Id="rId2" Type="http://schemas.openxmlformats.org/officeDocument/2006/relationships/tags" Target="../tags/tag164.xml"/><Relationship Id="rId1" Type="http://schemas.openxmlformats.org/officeDocument/2006/relationships/tags" Target="../tags/tag163.xml"/><Relationship Id="rId6" Type="http://schemas.openxmlformats.org/officeDocument/2006/relationships/tags" Target="../tags/tag168.xml"/><Relationship Id="rId5" Type="http://schemas.openxmlformats.org/officeDocument/2006/relationships/tags" Target="../tags/tag167.xml"/><Relationship Id="rId4" Type="http://schemas.openxmlformats.org/officeDocument/2006/relationships/tags" Target="../tags/tag166.xml"/><Relationship Id="rId9" Type="http://schemas.openxmlformats.org/officeDocument/2006/relationships/image" Target="../media/image4.emf"/></Relationships>
</file>

<file path=ppt/slideLayouts/_rels/slideLayout23.xml.rels><?xml version="1.0" encoding="UTF-8" standalone="yes"?>
<Relationships xmlns="http://schemas.openxmlformats.org/package/2006/relationships"><Relationship Id="rId8" Type="http://schemas.openxmlformats.org/officeDocument/2006/relationships/oleObject" Target="../embeddings/oleObject23.bin"/><Relationship Id="rId3" Type="http://schemas.openxmlformats.org/officeDocument/2006/relationships/tags" Target="../tags/tag171.xml"/><Relationship Id="rId7" Type="http://schemas.openxmlformats.org/officeDocument/2006/relationships/slideMaster" Target="../slideMasters/slideMaster2.xml"/><Relationship Id="rId2" Type="http://schemas.openxmlformats.org/officeDocument/2006/relationships/tags" Target="../tags/tag170.xml"/><Relationship Id="rId1" Type="http://schemas.openxmlformats.org/officeDocument/2006/relationships/tags" Target="../tags/tag169.xml"/><Relationship Id="rId6" Type="http://schemas.openxmlformats.org/officeDocument/2006/relationships/tags" Target="../tags/tag174.xml"/><Relationship Id="rId5" Type="http://schemas.openxmlformats.org/officeDocument/2006/relationships/tags" Target="../tags/tag173.xml"/><Relationship Id="rId4" Type="http://schemas.openxmlformats.org/officeDocument/2006/relationships/tags" Target="../tags/tag172.xml"/><Relationship Id="rId9"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77.xml"/><Relationship Id="rId7" Type="http://schemas.openxmlformats.org/officeDocument/2006/relationships/tags" Target="../tags/tag181.xml"/><Relationship Id="rId2" Type="http://schemas.openxmlformats.org/officeDocument/2006/relationships/tags" Target="../tags/tag176.xml"/><Relationship Id="rId1" Type="http://schemas.openxmlformats.org/officeDocument/2006/relationships/tags" Target="../tags/tag175.xml"/><Relationship Id="rId6" Type="http://schemas.openxmlformats.org/officeDocument/2006/relationships/tags" Target="../tags/tag180.xml"/><Relationship Id="rId5" Type="http://schemas.openxmlformats.org/officeDocument/2006/relationships/tags" Target="../tags/tag179.xml"/><Relationship Id="rId10" Type="http://schemas.openxmlformats.org/officeDocument/2006/relationships/image" Target="../media/image4.emf"/><Relationship Id="rId4" Type="http://schemas.openxmlformats.org/officeDocument/2006/relationships/tags" Target="../tags/tag178.xml"/><Relationship Id="rId9" Type="http://schemas.openxmlformats.org/officeDocument/2006/relationships/oleObject" Target="../embeddings/oleObject24.bin"/></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189.xml"/><Relationship Id="rId13" Type="http://schemas.microsoft.com/office/2007/relationships/hdphoto" Target="../media/hdphoto1.wdp"/><Relationship Id="rId3" Type="http://schemas.openxmlformats.org/officeDocument/2006/relationships/tags" Target="../tags/tag184.xml"/><Relationship Id="rId7" Type="http://schemas.openxmlformats.org/officeDocument/2006/relationships/tags" Target="../tags/tag188.xml"/><Relationship Id="rId12" Type="http://schemas.openxmlformats.org/officeDocument/2006/relationships/image" Target="../media/image8.png"/><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tags" Target="../tags/tag187.xml"/><Relationship Id="rId11" Type="http://schemas.openxmlformats.org/officeDocument/2006/relationships/image" Target="../media/image1.emf"/><Relationship Id="rId5" Type="http://schemas.openxmlformats.org/officeDocument/2006/relationships/tags" Target="../tags/tag186.xml"/><Relationship Id="rId10" Type="http://schemas.openxmlformats.org/officeDocument/2006/relationships/oleObject" Target="../embeddings/oleObject25.bin"/><Relationship Id="rId4" Type="http://schemas.openxmlformats.org/officeDocument/2006/relationships/tags" Target="../tags/tag185.xml"/><Relationship Id="rId9" Type="http://schemas.openxmlformats.org/officeDocument/2006/relationships/slideMaster" Target="../slideMasters/slideMaster2.xml"/><Relationship Id="rId14" Type="http://schemas.openxmlformats.org/officeDocument/2006/relationships/image" Target="../media/image3.png"/></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197.xml"/><Relationship Id="rId13" Type="http://schemas.microsoft.com/office/2007/relationships/hdphoto" Target="../media/hdphoto1.wdp"/><Relationship Id="rId3" Type="http://schemas.openxmlformats.org/officeDocument/2006/relationships/tags" Target="../tags/tag192.xml"/><Relationship Id="rId7" Type="http://schemas.openxmlformats.org/officeDocument/2006/relationships/tags" Target="../tags/tag196.xml"/><Relationship Id="rId12" Type="http://schemas.openxmlformats.org/officeDocument/2006/relationships/image" Target="../media/image8.png"/><Relationship Id="rId2" Type="http://schemas.openxmlformats.org/officeDocument/2006/relationships/tags" Target="../tags/tag191.xml"/><Relationship Id="rId1" Type="http://schemas.openxmlformats.org/officeDocument/2006/relationships/tags" Target="../tags/tag190.xml"/><Relationship Id="rId6" Type="http://schemas.openxmlformats.org/officeDocument/2006/relationships/tags" Target="../tags/tag195.xml"/><Relationship Id="rId11" Type="http://schemas.openxmlformats.org/officeDocument/2006/relationships/image" Target="../media/image1.emf"/><Relationship Id="rId5" Type="http://schemas.openxmlformats.org/officeDocument/2006/relationships/tags" Target="../tags/tag194.xml"/><Relationship Id="rId10" Type="http://schemas.openxmlformats.org/officeDocument/2006/relationships/oleObject" Target="../embeddings/oleObject26.bin"/><Relationship Id="rId4" Type="http://schemas.openxmlformats.org/officeDocument/2006/relationships/tags" Target="../tags/tag193.xml"/><Relationship Id="rId9" Type="http://schemas.openxmlformats.org/officeDocument/2006/relationships/slideMaster" Target="../slideMasters/slideMaster2.xml"/><Relationship Id="rId14" Type="http://schemas.openxmlformats.org/officeDocument/2006/relationships/image" Target="../media/image3.png"/></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05.xml"/><Relationship Id="rId13" Type="http://schemas.microsoft.com/office/2007/relationships/hdphoto" Target="../media/hdphoto1.wdp"/><Relationship Id="rId3" Type="http://schemas.openxmlformats.org/officeDocument/2006/relationships/tags" Target="../tags/tag200.xml"/><Relationship Id="rId7" Type="http://schemas.openxmlformats.org/officeDocument/2006/relationships/tags" Target="../tags/tag204.xml"/><Relationship Id="rId12" Type="http://schemas.openxmlformats.org/officeDocument/2006/relationships/image" Target="../media/image8.png"/><Relationship Id="rId2" Type="http://schemas.openxmlformats.org/officeDocument/2006/relationships/tags" Target="../tags/tag199.xml"/><Relationship Id="rId1" Type="http://schemas.openxmlformats.org/officeDocument/2006/relationships/tags" Target="../tags/tag198.xml"/><Relationship Id="rId6" Type="http://schemas.openxmlformats.org/officeDocument/2006/relationships/tags" Target="../tags/tag203.xml"/><Relationship Id="rId11" Type="http://schemas.openxmlformats.org/officeDocument/2006/relationships/image" Target="../media/image4.emf"/><Relationship Id="rId5" Type="http://schemas.openxmlformats.org/officeDocument/2006/relationships/tags" Target="../tags/tag202.xml"/><Relationship Id="rId10" Type="http://schemas.openxmlformats.org/officeDocument/2006/relationships/oleObject" Target="../embeddings/oleObject27.bin"/><Relationship Id="rId4" Type="http://schemas.openxmlformats.org/officeDocument/2006/relationships/tags" Target="../tags/tag201.xml"/><Relationship Id="rId9" Type="http://schemas.openxmlformats.org/officeDocument/2006/relationships/slideMaster" Target="../slideMasters/slideMaster2.xml"/><Relationship Id="rId14" Type="http://schemas.openxmlformats.org/officeDocument/2006/relationships/image" Target="../media/image3.png"/></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13.xml"/><Relationship Id="rId13" Type="http://schemas.microsoft.com/office/2007/relationships/hdphoto" Target="../media/hdphoto1.wdp"/><Relationship Id="rId3" Type="http://schemas.openxmlformats.org/officeDocument/2006/relationships/tags" Target="../tags/tag208.xml"/><Relationship Id="rId7" Type="http://schemas.openxmlformats.org/officeDocument/2006/relationships/tags" Target="../tags/tag212.xml"/><Relationship Id="rId12" Type="http://schemas.openxmlformats.org/officeDocument/2006/relationships/image" Target="../media/image8.png"/><Relationship Id="rId2" Type="http://schemas.openxmlformats.org/officeDocument/2006/relationships/tags" Target="../tags/tag207.xml"/><Relationship Id="rId1" Type="http://schemas.openxmlformats.org/officeDocument/2006/relationships/tags" Target="../tags/tag206.xml"/><Relationship Id="rId6" Type="http://schemas.openxmlformats.org/officeDocument/2006/relationships/tags" Target="../tags/tag211.xml"/><Relationship Id="rId11" Type="http://schemas.openxmlformats.org/officeDocument/2006/relationships/image" Target="../media/image1.emf"/><Relationship Id="rId5" Type="http://schemas.openxmlformats.org/officeDocument/2006/relationships/tags" Target="../tags/tag210.xml"/><Relationship Id="rId10" Type="http://schemas.openxmlformats.org/officeDocument/2006/relationships/oleObject" Target="../embeddings/oleObject28.bin"/><Relationship Id="rId4" Type="http://schemas.openxmlformats.org/officeDocument/2006/relationships/tags" Target="../tags/tag209.xml"/><Relationship Id="rId9" Type="http://schemas.openxmlformats.org/officeDocument/2006/relationships/slideMaster" Target="../slideMasters/slideMaster2.xml"/><Relationship Id="rId14" Type="http://schemas.openxmlformats.org/officeDocument/2006/relationships/image" Target="../media/image3.png"/></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221.xml"/><Relationship Id="rId13" Type="http://schemas.microsoft.com/office/2007/relationships/hdphoto" Target="../media/hdphoto1.wdp"/><Relationship Id="rId3" Type="http://schemas.openxmlformats.org/officeDocument/2006/relationships/tags" Target="../tags/tag216.xml"/><Relationship Id="rId7" Type="http://schemas.openxmlformats.org/officeDocument/2006/relationships/tags" Target="../tags/tag220.xml"/><Relationship Id="rId12" Type="http://schemas.openxmlformats.org/officeDocument/2006/relationships/image" Target="../media/image8.png"/><Relationship Id="rId2" Type="http://schemas.openxmlformats.org/officeDocument/2006/relationships/tags" Target="../tags/tag215.xml"/><Relationship Id="rId1" Type="http://schemas.openxmlformats.org/officeDocument/2006/relationships/tags" Target="../tags/tag214.xml"/><Relationship Id="rId6" Type="http://schemas.openxmlformats.org/officeDocument/2006/relationships/tags" Target="../tags/tag219.xml"/><Relationship Id="rId11" Type="http://schemas.openxmlformats.org/officeDocument/2006/relationships/image" Target="../media/image4.emf"/><Relationship Id="rId5" Type="http://schemas.openxmlformats.org/officeDocument/2006/relationships/tags" Target="../tags/tag218.xml"/><Relationship Id="rId10" Type="http://schemas.openxmlformats.org/officeDocument/2006/relationships/oleObject" Target="../embeddings/oleObject29.bin"/><Relationship Id="rId4" Type="http://schemas.openxmlformats.org/officeDocument/2006/relationships/tags" Target="../tags/tag217.xml"/><Relationship Id="rId9" Type="http://schemas.openxmlformats.org/officeDocument/2006/relationships/slideMaster" Target="../slideMasters/slideMaster2.xml"/><Relationship Id="rId1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6.xml"/><Relationship Id="rId7" Type="http://schemas.openxmlformats.org/officeDocument/2006/relationships/tags" Target="../tags/tag40.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tags" Target="../tags/tag39.xml"/><Relationship Id="rId5" Type="http://schemas.openxmlformats.org/officeDocument/2006/relationships/tags" Target="../tags/tag38.xml"/><Relationship Id="rId10" Type="http://schemas.openxmlformats.org/officeDocument/2006/relationships/image" Target="../media/image1.emf"/><Relationship Id="rId4" Type="http://schemas.openxmlformats.org/officeDocument/2006/relationships/tags" Target="../tags/tag37.xml"/><Relationship Id="rId9"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229.xml"/><Relationship Id="rId3" Type="http://schemas.openxmlformats.org/officeDocument/2006/relationships/tags" Target="../tags/tag224.xml"/><Relationship Id="rId7" Type="http://schemas.openxmlformats.org/officeDocument/2006/relationships/tags" Target="../tags/tag228.xml"/><Relationship Id="rId12" Type="http://schemas.openxmlformats.org/officeDocument/2006/relationships/image" Target="../media/image2.png"/><Relationship Id="rId2" Type="http://schemas.openxmlformats.org/officeDocument/2006/relationships/tags" Target="../tags/tag223.xml"/><Relationship Id="rId1" Type="http://schemas.openxmlformats.org/officeDocument/2006/relationships/tags" Target="../tags/tag222.xml"/><Relationship Id="rId6" Type="http://schemas.openxmlformats.org/officeDocument/2006/relationships/tags" Target="../tags/tag227.xml"/><Relationship Id="rId11" Type="http://schemas.openxmlformats.org/officeDocument/2006/relationships/image" Target="../media/image4.emf"/><Relationship Id="rId5" Type="http://schemas.openxmlformats.org/officeDocument/2006/relationships/tags" Target="../tags/tag226.xml"/><Relationship Id="rId10" Type="http://schemas.openxmlformats.org/officeDocument/2006/relationships/oleObject" Target="../embeddings/oleObject30.bin"/><Relationship Id="rId4" Type="http://schemas.openxmlformats.org/officeDocument/2006/relationships/tags" Target="../tags/tag225.xml"/><Relationship Id="rId9"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237.xml"/><Relationship Id="rId3" Type="http://schemas.openxmlformats.org/officeDocument/2006/relationships/tags" Target="../tags/tag232.xml"/><Relationship Id="rId7" Type="http://schemas.openxmlformats.org/officeDocument/2006/relationships/tags" Target="../tags/tag236.xml"/><Relationship Id="rId12" Type="http://schemas.openxmlformats.org/officeDocument/2006/relationships/image" Target="../media/image2.png"/><Relationship Id="rId2" Type="http://schemas.openxmlformats.org/officeDocument/2006/relationships/tags" Target="../tags/tag231.xml"/><Relationship Id="rId1" Type="http://schemas.openxmlformats.org/officeDocument/2006/relationships/tags" Target="../tags/tag230.xml"/><Relationship Id="rId6" Type="http://schemas.openxmlformats.org/officeDocument/2006/relationships/tags" Target="../tags/tag235.xml"/><Relationship Id="rId11" Type="http://schemas.openxmlformats.org/officeDocument/2006/relationships/image" Target="../media/image1.emf"/><Relationship Id="rId5" Type="http://schemas.openxmlformats.org/officeDocument/2006/relationships/tags" Target="../tags/tag234.xml"/><Relationship Id="rId10" Type="http://schemas.openxmlformats.org/officeDocument/2006/relationships/oleObject" Target="../embeddings/oleObject31.bin"/><Relationship Id="rId4" Type="http://schemas.openxmlformats.org/officeDocument/2006/relationships/tags" Target="../tags/tag233.xml"/><Relationship Id="rId9"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245.xml"/><Relationship Id="rId3" Type="http://schemas.openxmlformats.org/officeDocument/2006/relationships/tags" Target="../tags/tag240.xml"/><Relationship Id="rId7" Type="http://schemas.openxmlformats.org/officeDocument/2006/relationships/tags" Target="../tags/tag244.xml"/><Relationship Id="rId12" Type="http://schemas.openxmlformats.org/officeDocument/2006/relationships/image" Target="../media/image2.png"/><Relationship Id="rId2" Type="http://schemas.openxmlformats.org/officeDocument/2006/relationships/tags" Target="../tags/tag239.xml"/><Relationship Id="rId1" Type="http://schemas.openxmlformats.org/officeDocument/2006/relationships/tags" Target="../tags/tag238.xml"/><Relationship Id="rId6" Type="http://schemas.openxmlformats.org/officeDocument/2006/relationships/tags" Target="../tags/tag243.xml"/><Relationship Id="rId11" Type="http://schemas.openxmlformats.org/officeDocument/2006/relationships/image" Target="../media/image4.emf"/><Relationship Id="rId5" Type="http://schemas.openxmlformats.org/officeDocument/2006/relationships/tags" Target="../tags/tag242.xml"/><Relationship Id="rId10" Type="http://schemas.openxmlformats.org/officeDocument/2006/relationships/oleObject" Target="../embeddings/oleObject32.bin"/><Relationship Id="rId4" Type="http://schemas.openxmlformats.org/officeDocument/2006/relationships/tags" Target="../tags/tag241.xml"/><Relationship Id="rId9"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tags" Target="../tags/tag248.xml"/><Relationship Id="rId7" Type="http://schemas.openxmlformats.org/officeDocument/2006/relationships/slideMaster" Target="../slideMasters/slideMaster2.xml"/><Relationship Id="rId2" Type="http://schemas.openxmlformats.org/officeDocument/2006/relationships/tags" Target="../tags/tag247.xml"/><Relationship Id="rId1" Type="http://schemas.openxmlformats.org/officeDocument/2006/relationships/tags" Target="../tags/tag246.xml"/><Relationship Id="rId6" Type="http://schemas.openxmlformats.org/officeDocument/2006/relationships/tags" Target="../tags/tag251.xml"/><Relationship Id="rId11" Type="http://schemas.microsoft.com/office/2007/relationships/hdphoto" Target="../media/hdphoto1.wdp"/><Relationship Id="rId5" Type="http://schemas.openxmlformats.org/officeDocument/2006/relationships/tags" Target="../tags/tag250.xml"/><Relationship Id="rId10" Type="http://schemas.openxmlformats.org/officeDocument/2006/relationships/image" Target="../media/image8.png"/><Relationship Id="rId4" Type="http://schemas.openxmlformats.org/officeDocument/2006/relationships/tags" Target="../tags/tag249.xml"/><Relationship Id="rId9" Type="http://schemas.openxmlformats.org/officeDocument/2006/relationships/image" Target="../media/image4.emf"/></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54.xml"/><Relationship Id="rId7" Type="http://schemas.openxmlformats.org/officeDocument/2006/relationships/image" Target="../media/image4.emf"/><Relationship Id="rId2" Type="http://schemas.openxmlformats.org/officeDocument/2006/relationships/tags" Target="../tags/tag253.xml"/><Relationship Id="rId1" Type="http://schemas.openxmlformats.org/officeDocument/2006/relationships/tags" Target="../tags/tag252.xml"/><Relationship Id="rId6" Type="http://schemas.openxmlformats.org/officeDocument/2006/relationships/oleObject" Target="../embeddings/oleObject34.bin"/><Relationship Id="rId5" Type="http://schemas.openxmlformats.org/officeDocument/2006/relationships/slideMaster" Target="../slideMasters/slideMaster2.xml"/><Relationship Id="rId4" Type="http://schemas.openxmlformats.org/officeDocument/2006/relationships/tags" Target="../tags/tag255.xml"/><Relationship Id="rId9" Type="http://schemas.microsoft.com/office/2007/relationships/hdphoto" Target="../media/hdphoto1.wdp"/></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1.wdp"/><Relationship Id="rId2" Type="http://schemas.openxmlformats.org/officeDocument/2006/relationships/tags" Target="../tags/tag257.xml"/><Relationship Id="rId1" Type="http://schemas.openxmlformats.org/officeDocument/2006/relationships/tags" Target="../tags/tag256.xml"/><Relationship Id="rId6" Type="http://schemas.openxmlformats.org/officeDocument/2006/relationships/image" Target="../media/image8.png"/><Relationship Id="rId5" Type="http://schemas.openxmlformats.org/officeDocument/2006/relationships/image" Target="../media/image4.emf"/><Relationship Id="rId4" Type="http://schemas.openxmlformats.org/officeDocument/2006/relationships/oleObject" Target="../embeddings/oleObject35.bin"/></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3.xml"/><Relationship Id="rId7"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tags" Target="../tags/tag46.xml"/><Relationship Id="rId5" Type="http://schemas.openxmlformats.org/officeDocument/2006/relationships/tags" Target="../tags/tag45.xml"/><Relationship Id="rId4" Type="http://schemas.openxmlformats.org/officeDocument/2006/relationships/tags" Target="../tags/tag44.xml"/><Relationship Id="rId9"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9.xml"/><Relationship Id="rId7"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tags" Target="../tags/tag52.xml"/><Relationship Id="rId5" Type="http://schemas.openxmlformats.org/officeDocument/2006/relationships/tags" Target="../tags/tag51.xml"/><Relationship Id="rId4" Type="http://schemas.openxmlformats.org/officeDocument/2006/relationships/tags" Target="../tags/tag50.xml"/><Relationship Id="rId9"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55.xml"/><Relationship Id="rId7"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tags" Target="../tags/tag58.xml"/><Relationship Id="rId5" Type="http://schemas.openxmlformats.org/officeDocument/2006/relationships/tags" Target="../tags/tag57.xml"/><Relationship Id="rId4" Type="http://schemas.openxmlformats.org/officeDocument/2006/relationships/tags" Target="../tags/tag56.xml"/><Relationship Id="rId9"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61.xml"/><Relationship Id="rId7" Type="http://schemas.openxmlformats.org/officeDocument/2006/relationships/tags" Target="../tags/tag65.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tags" Target="../tags/tag64.xml"/><Relationship Id="rId5" Type="http://schemas.openxmlformats.org/officeDocument/2006/relationships/tags" Target="../tags/tag63.xml"/><Relationship Id="rId10" Type="http://schemas.openxmlformats.org/officeDocument/2006/relationships/image" Target="../media/image4.emf"/><Relationship Id="rId4" Type="http://schemas.openxmlformats.org/officeDocument/2006/relationships/tags" Target="../tags/tag62.xml"/><Relationship Id="rId9"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3.xml"/><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image" Target="../media/image2.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tags" Target="../tags/tag71.xml"/><Relationship Id="rId11" Type="http://schemas.openxmlformats.org/officeDocument/2006/relationships/image" Target="../media/image1.emf"/><Relationship Id="rId5" Type="http://schemas.openxmlformats.org/officeDocument/2006/relationships/tags" Target="../tags/tag70.xml"/><Relationship Id="rId10" Type="http://schemas.openxmlformats.org/officeDocument/2006/relationships/oleObject" Target="../embeddings/oleObject9.bin"/><Relationship Id="rId4" Type="http://schemas.openxmlformats.org/officeDocument/2006/relationships/tags" Target="../tags/tag69.xml"/><Relationship Id="rId9"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1.xml"/><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image" Target="../media/image2.pn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tags" Target="../tags/tag79.xml"/><Relationship Id="rId11" Type="http://schemas.openxmlformats.org/officeDocument/2006/relationships/image" Target="../media/image1.emf"/><Relationship Id="rId5" Type="http://schemas.openxmlformats.org/officeDocument/2006/relationships/tags" Target="../tags/tag78.xml"/><Relationship Id="rId10" Type="http://schemas.openxmlformats.org/officeDocument/2006/relationships/oleObject" Target="../embeddings/oleObject10.bin"/><Relationship Id="rId4" Type="http://schemas.openxmlformats.org/officeDocument/2006/relationships/tags" Target="../tags/tag77.xml"/><Relationship Id="rId9"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84870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F7B32389-C86E-6957-1D5C-53D8792F36E7}"/>
              </a:ext>
            </a:extLst>
          </p:cNvPr>
          <p:cNvPicPr>
            <a:picLocks noChangeAspect="1"/>
          </p:cNvPicPr>
          <p:nvPr userDrawn="1"/>
        </p:nvPicPr>
        <p:blipFill>
          <a:blip r:embed="rId9"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3F3534FF-8973-ACD8-7F79-E70B140FCEC7}"/>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457200" y="457200"/>
            <a:ext cx="11277600" cy="59436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Rectángulo 1">
            <a:extLst>
              <a:ext uri="{FF2B5EF4-FFF2-40B4-BE49-F238E27FC236}">
                <a16:creationId xmlns:a16="http://schemas.microsoft.com/office/drawing/2014/main" id="{EF6F4045-E4C9-5EE4-CBC8-6A114AA57BC0}"/>
              </a:ext>
            </a:extLst>
          </p:cNvPr>
          <p:cNvSpPr/>
          <p:nvPr userDrawn="1"/>
        </p:nvSpPr>
        <p:spPr>
          <a:xfrm>
            <a:off x="471813" y="4882882"/>
            <a:ext cx="11248373" cy="15040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9236145" y="5918580"/>
            <a:ext cx="2214588" cy="313932"/>
          </a:xfrm>
          <a:prstGeom prst="rect">
            <a:avLst/>
          </a:prstGeom>
        </p:spPr>
        <p:txBody>
          <a:bodyPr wrap="square">
            <a:noAutofit/>
          </a:bodyPr>
          <a:lstStyle>
            <a:lvl1pPr>
              <a:defRPr kumimoji="0" lang="en-US" b="0" i="1" u="none" strike="noStrike" cap="none" spc="0" normalizeH="0" baseline="0" dirty="0">
                <a:ln>
                  <a:noFill/>
                </a:ln>
                <a:solidFill>
                  <a:srgbClr val="002060"/>
                </a:solidFill>
                <a:effectLst/>
                <a:uLnTx/>
                <a:uFillTx/>
                <a:latin typeface="Calibri" panose="020F0502020204030204" pitchFamily="34" charset="0"/>
                <a:cs typeface="Calibri" panose="020F0502020204030204" pitchFamily="34" charset="0"/>
              </a:defRPr>
            </a:lvl1pPr>
          </a:lstStyle>
          <a:p>
            <a:pPr marR="0" lvl="0" algn="r" fontAlgn="auto">
              <a:lnSpc>
                <a:spcPct val="90000"/>
              </a:lnSpc>
              <a:spcBef>
                <a:spcPct val="0"/>
              </a:spcBef>
              <a:spcAft>
                <a:spcPts val="0"/>
              </a:spcAft>
              <a:buClrTx/>
              <a:buSzTx/>
              <a:buFontTx/>
              <a:buNone/>
              <a:tabLst/>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741267" y="5798270"/>
            <a:ext cx="4963247" cy="424732"/>
          </a:xfrm>
          <a:prstGeom prst="rect">
            <a:avLst/>
          </a:prstGeom>
        </p:spPr>
        <p:txBody>
          <a:bodyPr wrap="square" lIns="91440" tIns="45720" rIns="91440" bIns="45720">
            <a:noAutofit/>
          </a:bodyPr>
          <a:lstStyle>
            <a:lvl1pPr>
              <a:defRPr kumimoji="0" lang="en-US" sz="2400" b="0" i="0" u="none" strike="noStrike" kern="0" cap="none" spc="0" normalizeH="0" baseline="0" dirty="0">
                <a:ln>
                  <a:noFill/>
                </a:ln>
                <a:solidFill>
                  <a:srgbClr val="002060"/>
                </a:solidFill>
                <a:effectLst/>
                <a:uLnTx/>
                <a:uFillTx/>
                <a:latin typeface="Calibri" panose="020F0502020204030204"/>
                <a:cs typeface="+mn-cs"/>
              </a:defRPr>
            </a:lvl1pPr>
          </a:lstStyle>
          <a:p>
            <a:pPr marR="0" lvl="0" fontAlgn="auto">
              <a:lnSpc>
                <a:spcPct val="90000"/>
              </a:lnSpc>
              <a:spcBef>
                <a:spcPts val="0"/>
              </a:spcBef>
              <a:spcAft>
                <a:spcPts val="0"/>
              </a:spcAft>
              <a:buClr>
                <a:srgbClr val="002060"/>
              </a:buClr>
              <a:buSzPts val="3200"/>
              <a:buFontTx/>
              <a:buNone/>
              <a:tabLst/>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727568" y="5088686"/>
            <a:ext cx="10426301" cy="733088"/>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ct val="0"/>
              </a:spcBef>
              <a:buNone/>
              <a:defRPr lang="en-US" sz="3600" b="1" i="0" kern="1200" dirty="0">
                <a:solidFill>
                  <a:srgbClr val="002060"/>
                </a:solidFill>
                <a:latin typeface="Calibri" panose="020F0502020204030204" pitchFamily="34" charset="0"/>
                <a:ea typeface="+mj-ea"/>
                <a:cs typeface="Calibri" panose="020F0502020204030204" pitchFamily="34" charset="0"/>
              </a:defRPr>
            </a:lvl1pPr>
          </a:lstStyle>
          <a:p>
            <a:pPr marL="0" lvl="0" indent="0">
              <a:lnSpc>
                <a:spcPct val="90000"/>
              </a:lnSpc>
            </a:pPr>
            <a:r>
              <a:rPr lang="en-US"/>
              <a:t>Click to edit Master title style</a:t>
            </a:r>
            <a:endParaRPr lang="en-US" dirty="0"/>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111298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1EE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384721"/>
          </a:xfrm>
        </p:spPr>
        <p:txBody>
          <a:bodyPr vert="horz">
            <a:spAutoFit/>
          </a:bodyPr>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5" y="637721"/>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2" name="Picture 1">
            <a:extLst>
              <a:ext uri="{FF2B5EF4-FFF2-40B4-BE49-F238E27FC236}">
                <a16:creationId xmlns:a16="http://schemas.microsoft.com/office/drawing/2014/main" id="{DFCEF652-4A66-9A39-8CF5-12FC11CA9CAC}"/>
              </a:ext>
            </a:extLst>
          </p:cNvPr>
          <p:cNvPicPr>
            <a:picLocks/>
          </p:cNvPicPr>
          <p:nvPr userDrawn="1"/>
        </p:nvPicPr>
        <p:blipFill>
          <a:blip r:embed="rId12" cstate="screen">
            <a:extLst>
              <a:ext uri="{28A0092B-C50C-407E-A947-70E740481C1C}">
                <a14:useLocalDpi xmlns:a14="http://schemas.microsoft.com/office/drawing/2010/main"/>
              </a:ext>
            </a:extLst>
          </a:blip>
          <a:srcRect/>
          <a:stretch/>
        </p:blipFill>
        <p:spPr>
          <a:xfrm>
            <a:off x="10286286" y="172212"/>
            <a:ext cx="1350978" cy="384721"/>
          </a:xfrm>
          <a:prstGeom prst="rect">
            <a:avLst/>
          </a:prstGeom>
        </p:spPr>
      </p:pic>
    </p:spTree>
    <p:extLst>
      <p:ext uri="{BB962C8B-B14F-4D97-AF65-F5344CB8AC3E}">
        <p14:creationId xmlns:p14="http://schemas.microsoft.com/office/powerpoint/2010/main" val="35409616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898612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384721"/>
          </a:xfrm>
        </p:spPr>
        <p:txBody>
          <a:bodyPr vert="horz">
            <a:spAutoFit/>
          </a:bodyPr>
          <a:lstStyle>
            <a:lvl1pPr rtl="0">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1EE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5" y="637721"/>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2" name="Picture 1">
            <a:extLst>
              <a:ext uri="{FF2B5EF4-FFF2-40B4-BE49-F238E27FC236}">
                <a16:creationId xmlns:a16="http://schemas.microsoft.com/office/drawing/2014/main" id="{A19CF906-119A-17DE-6E40-C82E78B614B2}"/>
              </a:ext>
            </a:extLst>
          </p:cNvPr>
          <p:cNvPicPr>
            <a:picLocks/>
          </p:cNvPicPr>
          <p:nvPr userDrawn="1"/>
        </p:nvPicPr>
        <p:blipFill>
          <a:blip r:embed="rId12" cstate="screen">
            <a:extLst>
              <a:ext uri="{28A0092B-C50C-407E-A947-70E740481C1C}">
                <a14:useLocalDpi xmlns:a14="http://schemas.microsoft.com/office/drawing/2010/main"/>
              </a:ext>
            </a:extLst>
          </a:blip>
          <a:srcRect/>
          <a:stretch/>
        </p:blipFill>
        <p:spPr>
          <a:xfrm>
            <a:off x="10286286" y="172212"/>
            <a:ext cx="1350978" cy="384721"/>
          </a:xfrm>
          <a:prstGeom prst="rect">
            <a:avLst/>
          </a:prstGeom>
        </p:spPr>
      </p:pic>
    </p:spTree>
    <p:extLst>
      <p:ext uri="{BB962C8B-B14F-4D97-AF65-F5344CB8AC3E}">
        <p14:creationId xmlns:p14="http://schemas.microsoft.com/office/powerpoint/2010/main" val="30551837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409412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1EE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384721"/>
          </a:xfrm>
        </p:spPr>
        <p:txBody>
          <a:bodyPr vert="horz">
            <a:spAutoFit/>
          </a:bodyPr>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5" y="637721"/>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2" name="Picture 1">
            <a:extLst>
              <a:ext uri="{FF2B5EF4-FFF2-40B4-BE49-F238E27FC236}">
                <a16:creationId xmlns:a16="http://schemas.microsoft.com/office/drawing/2014/main" id="{C2718E36-07A2-D0CD-E837-479A44A5AF0B}"/>
              </a:ext>
            </a:extLst>
          </p:cNvPr>
          <p:cNvPicPr>
            <a:picLocks/>
          </p:cNvPicPr>
          <p:nvPr userDrawn="1"/>
        </p:nvPicPr>
        <p:blipFill>
          <a:blip r:embed="rId12" cstate="screen">
            <a:extLst>
              <a:ext uri="{28A0092B-C50C-407E-A947-70E740481C1C}">
                <a14:useLocalDpi xmlns:a14="http://schemas.microsoft.com/office/drawing/2010/main"/>
              </a:ext>
            </a:extLst>
          </a:blip>
          <a:srcRect/>
          <a:stretch/>
        </p:blipFill>
        <p:spPr>
          <a:xfrm>
            <a:off x="10286286" y="172212"/>
            <a:ext cx="1350978" cy="384721"/>
          </a:xfrm>
          <a:prstGeom prst="rect">
            <a:avLst/>
          </a:prstGeom>
        </p:spPr>
      </p:pic>
    </p:spTree>
    <p:extLst>
      <p:ext uri="{BB962C8B-B14F-4D97-AF65-F5344CB8AC3E}">
        <p14:creationId xmlns:p14="http://schemas.microsoft.com/office/powerpoint/2010/main" val="5103681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7589433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hasCustomPrompt="1"/>
            <p:custDataLst>
              <p:tags r:id="rId4"/>
            </p:custDataLst>
          </p:nvPr>
        </p:nvSpPr>
        <p:spPr>
          <a:xfrm>
            <a:off x="554736" y="172212"/>
            <a:ext cx="9640824" cy="1154162"/>
          </a:xfrm>
        </p:spPr>
        <p:txBody>
          <a:bodyPr vert="horz">
            <a:spAutoFit/>
          </a:bodyPr>
          <a:lstStyle>
            <a:lvl1pPr rtl="0">
              <a:defRPr/>
            </a:lvl1pPr>
          </a:lstStyle>
          <a:p>
            <a:r>
              <a:rPr lang="en-US" dirty="0"/>
              <a:t>Click to edit Master title style</a:t>
            </a:r>
            <a:br>
              <a:rPr lang="en-US" dirty="0"/>
            </a:br>
            <a:br>
              <a:rPr lang="en-US" dirty="0"/>
            </a:b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9" name="Sticker" hidden="1">
            <a:extLst>
              <a:ext uri="{FF2B5EF4-FFF2-40B4-BE49-F238E27FC236}">
                <a16:creationId xmlns:a16="http://schemas.microsoft.com/office/drawing/2014/main" id="{2B5F1846-DB86-4338-8AFA-F2C1B534B900}"/>
              </a:ext>
            </a:extLst>
          </p:cNvPr>
          <p:cNvSpPr txBox="1"/>
          <p:nvPr userDrawn="1"/>
        </p:nvSpPr>
        <p:spPr>
          <a:xfrm>
            <a:off x="558489" y="1401800"/>
            <a:ext cx="344646"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dirty="0"/>
              <a:t>STICKER</a:t>
            </a:r>
          </a:p>
        </p:txBody>
      </p:sp>
      <p:pic>
        <p:nvPicPr>
          <p:cNvPr id="5" name="Picture 4">
            <a:extLst>
              <a:ext uri="{FF2B5EF4-FFF2-40B4-BE49-F238E27FC236}">
                <a16:creationId xmlns:a16="http://schemas.microsoft.com/office/drawing/2014/main" id="{F94BEBC1-E72A-463E-CB26-BCDB1DCDBE7F}"/>
              </a:ext>
            </a:extLst>
          </p:cNvPr>
          <p:cNvPicPr>
            <a:picLocks/>
          </p:cNvPicPr>
          <p:nvPr userDrawn="1"/>
        </p:nvPicPr>
        <p:blipFill>
          <a:blip r:embed="rId10" cstate="screen">
            <a:extLst>
              <a:ext uri="{28A0092B-C50C-407E-A947-70E740481C1C}">
                <a14:useLocalDpi xmlns:a14="http://schemas.microsoft.com/office/drawing/2010/main"/>
              </a:ext>
            </a:extLst>
          </a:blip>
          <a:srcRect/>
          <a:stretch/>
        </p:blipFill>
        <p:spPr>
          <a:xfrm>
            <a:off x="10286286" y="172212"/>
            <a:ext cx="1350978" cy="384721"/>
          </a:xfrm>
          <a:prstGeom prst="rect">
            <a:avLst/>
          </a:prstGeom>
        </p:spPr>
      </p:pic>
    </p:spTree>
    <p:extLst>
      <p:ext uri="{BB962C8B-B14F-4D97-AF65-F5344CB8AC3E}">
        <p14:creationId xmlns:p14="http://schemas.microsoft.com/office/powerpoint/2010/main" val="35408241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3" name="Picture 2">
            <a:extLst>
              <a:ext uri="{FF2B5EF4-FFF2-40B4-BE49-F238E27FC236}">
                <a16:creationId xmlns:a16="http://schemas.microsoft.com/office/drawing/2014/main" id="{2BD515C1-868D-33D1-550E-61B01926196C}"/>
              </a:ext>
            </a:extLst>
          </p:cNvPr>
          <p:cNvPicPr>
            <a:picLocks/>
          </p:cNvPicPr>
          <p:nvPr userDrawn="1"/>
        </p:nvPicPr>
        <p:blipFill>
          <a:blip r:embed="rId8" cstate="screen">
            <a:extLst>
              <a:ext uri="{28A0092B-C50C-407E-A947-70E740481C1C}">
                <a14:useLocalDpi xmlns:a14="http://schemas.microsoft.com/office/drawing/2010/main"/>
              </a:ext>
            </a:extLst>
          </a:blip>
          <a:srcRect/>
          <a:stretch/>
        </p:blipFill>
        <p:spPr>
          <a:xfrm>
            <a:off x="10286286" y="172212"/>
            <a:ext cx="1350978" cy="384721"/>
          </a:xfrm>
          <a:prstGeom prst="rect">
            <a:avLst/>
          </a:prstGeom>
        </p:spPr>
      </p:pic>
    </p:spTree>
    <p:extLst>
      <p:ext uri="{BB962C8B-B14F-4D97-AF65-F5344CB8AC3E}">
        <p14:creationId xmlns:p14="http://schemas.microsoft.com/office/powerpoint/2010/main" val="3863007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6893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pic>
        <p:nvPicPr>
          <p:cNvPr id="3" name="Picture 2">
            <a:extLst>
              <a:ext uri="{FF2B5EF4-FFF2-40B4-BE49-F238E27FC236}">
                <a16:creationId xmlns:a16="http://schemas.microsoft.com/office/drawing/2014/main" id="{6A2AF7B0-F5A1-6591-AAD2-AA5AA8E081DB}"/>
              </a:ext>
            </a:extLst>
          </p:cNvPr>
          <p:cNvPicPr>
            <a:picLocks/>
          </p:cNvPicPr>
          <p:nvPr userDrawn="1"/>
        </p:nvPicPr>
        <p:blipFill>
          <a:blip r:embed="rId6" cstate="screen">
            <a:extLst>
              <a:ext uri="{28A0092B-C50C-407E-A947-70E740481C1C}">
                <a14:useLocalDpi xmlns:a14="http://schemas.microsoft.com/office/drawing/2010/main"/>
              </a:ext>
            </a:extLst>
          </a:blip>
          <a:srcRect/>
          <a:stretch/>
        </p:blipFill>
        <p:spPr>
          <a:xfrm>
            <a:off x="4552050" y="2989326"/>
            <a:ext cx="3087900" cy="879348"/>
          </a:xfrm>
          <a:prstGeom prst="rect">
            <a:avLst/>
          </a:prstGeom>
        </p:spPr>
      </p:pic>
    </p:spTree>
    <p:extLst>
      <p:ext uri="{BB962C8B-B14F-4D97-AF65-F5344CB8AC3E}">
        <p14:creationId xmlns:p14="http://schemas.microsoft.com/office/powerpoint/2010/main" val="4664705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 Column Tex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84D904A-A19A-3949-8D9E-4C7F13AA9810}"/>
              </a:ext>
            </a:extLst>
          </p:cNvPr>
          <p:cNvSpPr>
            <a:spLocks noGrp="1"/>
          </p:cNvSpPr>
          <p:nvPr>
            <p:ph idx="1"/>
          </p:nvPr>
        </p:nvSpPr>
        <p:spPr/>
        <p:txBody>
          <a:bodyPr/>
          <a:lstStyle>
            <a:lvl1pPr>
              <a:defRPr sz="2000"/>
            </a:lvl1pPr>
            <a:lvl2pPr>
              <a:defRPr sz="1800"/>
            </a:lvl2pPr>
            <a:lvl3pPr>
              <a:defRPr sz="1600"/>
            </a:lvl3pPr>
            <a:lvl4pPr>
              <a:defRPr sz="1400"/>
            </a:lvl4pPr>
            <a:lvl5pP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Slide Number Placeholder 7">
            <a:extLst>
              <a:ext uri="{FF2B5EF4-FFF2-40B4-BE49-F238E27FC236}">
                <a16:creationId xmlns:a16="http://schemas.microsoft.com/office/drawing/2014/main" id="{D1DA4BF0-521D-984A-9956-A5C4AB9A2A6B}"/>
              </a:ext>
            </a:extLst>
          </p:cNvPr>
          <p:cNvSpPr>
            <a:spLocks noGrp="1"/>
          </p:cNvSpPr>
          <p:nvPr>
            <p:ph type="sldNum" sz="quarter" idx="11"/>
          </p:nvPr>
        </p:nvSpPr>
        <p:spPr/>
        <p:txBody>
          <a:bodyPr/>
          <a:lstStyle/>
          <a:p>
            <a:fld id="{3CDB285B-DFCF-F045-9459-27C683DF8B15}" type="slidenum">
              <a:rPr lang="en-US" smtClean="0"/>
              <a:t>‹#›</a:t>
            </a:fld>
            <a:endParaRPr lang="en-US"/>
          </a:p>
        </p:txBody>
      </p:sp>
    </p:spTree>
    <p:extLst>
      <p:ext uri="{BB962C8B-B14F-4D97-AF65-F5344CB8AC3E}">
        <p14:creationId xmlns:p14="http://schemas.microsoft.com/office/powerpoint/2010/main" val="323403103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122D0A1-DE36-734D-8221-54C7B9B8E62F}"/>
              </a:ext>
            </a:extLst>
          </p:cNvPr>
          <p:cNvSpPr>
            <a:spLocks noGrp="1"/>
          </p:cNvSpPr>
          <p:nvPr>
            <p:ph type="sldNum" sz="quarter" idx="11"/>
          </p:nvPr>
        </p:nvSpPr>
        <p:spPr/>
        <p:txBody>
          <a:bodyPr/>
          <a:lstStyle/>
          <a:p>
            <a:fld id="{3CDB285B-DFCF-F045-9459-27C683DF8B15}" type="slidenum">
              <a:rPr lang="en-US" smtClean="0"/>
              <a:t>‹#›</a:t>
            </a:fld>
            <a:endParaRPr lang="en-US"/>
          </a:p>
        </p:txBody>
      </p:sp>
    </p:spTree>
    <p:extLst>
      <p:ext uri="{BB962C8B-B14F-4D97-AF65-F5344CB8AC3E}">
        <p14:creationId xmlns:p14="http://schemas.microsoft.com/office/powerpoint/2010/main" val="24205493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84870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F7B32389-C86E-6957-1D5C-53D8792F36E7}"/>
              </a:ext>
            </a:extLst>
          </p:cNvPr>
          <p:cNvPicPr>
            <a:picLocks noChangeAspect="1"/>
          </p:cNvPicPr>
          <p:nvPr userDrawn="1"/>
        </p:nvPicPr>
        <p:blipFill>
          <a:blip r:embed="rId9"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3F3534FF-8973-ACD8-7F79-E70B140FCEC7}"/>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457200" y="457200"/>
            <a:ext cx="11277600" cy="59436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Rectángulo 1">
            <a:extLst>
              <a:ext uri="{FF2B5EF4-FFF2-40B4-BE49-F238E27FC236}">
                <a16:creationId xmlns:a16="http://schemas.microsoft.com/office/drawing/2014/main" id="{EF6F4045-E4C9-5EE4-CBC8-6A114AA57BC0}"/>
              </a:ext>
            </a:extLst>
          </p:cNvPr>
          <p:cNvSpPr/>
          <p:nvPr userDrawn="1"/>
        </p:nvSpPr>
        <p:spPr>
          <a:xfrm>
            <a:off x="471813" y="4882882"/>
            <a:ext cx="11248373" cy="1504083"/>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schemeClr val="bg1"/>
              </a:solidFill>
              <a:effectLst/>
              <a:uLnTx/>
              <a:uFillTx/>
              <a:latin typeface="Calibri" panose="020F0502020204030204"/>
              <a:ea typeface="+mn-ea"/>
              <a:cs typeface="+mn-cs"/>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9236145" y="5918580"/>
            <a:ext cx="2214588" cy="313932"/>
          </a:xfrm>
          <a:prstGeom prst="rect">
            <a:avLst/>
          </a:prstGeom>
        </p:spPr>
        <p:txBody>
          <a:bodyPr wrap="square">
            <a:noAutofit/>
          </a:bodyPr>
          <a:lstStyle>
            <a:lvl1pPr>
              <a:defRPr kumimoji="0" lang="en-US" b="0" i="1" u="none" strike="noStrike" cap="none" spc="0" normalizeH="0" baseline="0" dirty="0">
                <a:ln>
                  <a:noFill/>
                </a:ln>
                <a:solidFill>
                  <a:schemeClr val="bg1"/>
                </a:solidFill>
                <a:effectLst/>
                <a:uLnTx/>
                <a:uFillTx/>
                <a:latin typeface="Calibri" panose="020F0502020204030204" pitchFamily="34" charset="0"/>
                <a:cs typeface="Calibri" panose="020F0502020204030204" pitchFamily="34" charset="0"/>
              </a:defRPr>
            </a:lvl1pPr>
          </a:lstStyle>
          <a:p>
            <a:pPr marR="0" lvl="0" algn="r" fontAlgn="auto">
              <a:lnSpc>
                <a:spcPct val="90000"/>
              </a:lnSpc>
              <a:spcBef>
                <a:spcPct val="0"/>
              </a:spcBef>
              <a:spcAft>
                <a:spcPts val="0"/>
              </a:spcAft>
              <a:buClrTx/>
              <a:buSzTx/>
              <a:buFontTx/>
              <a:buNone/>
              <a:tabLst/>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741267" y="5798270"/>
            <a:ext cx="4963247" cy="424732"/>
          </a:xfrm>
          <a:prstGeom prst="rect">
            <a:avLst/>
          </a:prstGeom>
        </p:spPr>
        <p:txBody>
          <a:bodyPr wrap="square" lIns="91440" tIns="45720" rIns="91440" bIns="45720">
            <a:noAutofit/>
          </a:bodyPr>
          <a:lstStyle>
            <a:lvl1pPr>
              <a:defRPr kumimoji="0" lang="en-US" sz="2400" b="0" i="0" u="none" strike="noStrike" kern="0" cap="none" spc="0" normalizeH="0" baseline="0" dirty="0">
                <a:ln>
                  <a:noFill/>
                </a:ln>
                <a:solidFill>
                  <a:schemeClr val="bg1"/>
                </a:solidFill>
                <a:effectLst/>
                <a:uLnTx/>
                <a:uFillTx/>
                <a:latin typeface="Calibri" panose="020F0502020204030204"/>
                <a:cs typeface="+mn-cs"/>
              </a:defRPr>
            </a:lvl1pPr>
          </a:lstStyle>
          <a:p>
            <a:pPr marR="0" lvl="0" fontAlgn="auto">
              <a:lnSpc>
                <a:spcPct val="90000"/>
              </a:lnSpc>
              <a:spcBef>
                <a:spcPts val="0"/>
              </a:spcBef>
              <a:spcAft>
                <a:spcPts val="0"/>
              </a:spcAft>
              <a:buClr>
                <a:srgbClr val="002060"/>
              </a:buClr>
              <a:buSzPts val="3200"/>
              <a:buFontTx/>
              <a:buNone/>
              <a:tabLst/>
            </a:pPr>
            <a:r>
              <a:rPr lang="en-US" dirty="0"/>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727568" y="5088686"/>
            <a:ext cx="10426301" cy="733088"/>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ct val="0"/>
              </a:spcBef>
              <a:buNone/>
              <a:defRPr lang="en-US" sz="3600" b="1" i="0" kern="1200" dirty="0">
                <a:solidFill>
                  <a:schemeClr val="bg1"/>
                </a:solidFill>
                <a:latin typeface="Calibri" panose="020F0502020204030204" pitchFamily="34" charset="0"/>
                <a:ea typeface="+mj-ea"/>
                <a:cs typeface="Calibri" panose="020F0502020204030204" pitchFamily="34" charset="0"/>
              </a:defRPr>
            </a:lvl1pPr>
          </a:lstStyle>
          <a:p>
            <a:pPr marL="0" lvl="0" indent="0">
              <a:lnSpc>
                <a:spcPct val="90000"/>
              </a:lnSpc>
            </a:pPr>
            <a:r>
              <a:rPr lang="en-US" dirty="0"/>
              <a:t>Click to edit Master title style</a:t>
            </a:r>
          </a:p>
        </p:txBody>
      </p:sp>
    </p:spTree>
    <p:extLst>
      <p:ext uri="{BB962C8B-B14F-4D97-AF65-F5344CB8AC3E}">
        <p14:creationId xmlns:p14="http://schemas.microsoft.com/office/powerpoint/2010/main" val="304867202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1152161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172212"/>
            <a:ext cx="9640824" cy="38472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5" y="637721"/>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6"/>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7"/>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8545150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76862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5" y="637721"/>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9640824"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solidFill>
                  <a:schemeClr val="accent1"/>
                </a:solidFill>
              </a:defRPr>
            </a:lvl1pPr>
          </a:lstStyle>
          <a:p>
            <a:pPr lvl="0"/>
            <a:r>
              <a:rPr lang="en-US"/>
              <a:t>Click to edit Master title style</a:t>
            </a:r>
            <a:endParaRPr lang="en-US" dirty="0"/>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2-line + Sub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782308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00" name="Sticker" hidden="1">
            <a:extLst>
              <a:ext uri="{FF2B5EF4-FFF2-40B4-BE49-F238E27FC236}">
                <a16:creationId xmlns:a16="http://schemas.microsoft.com/office/drawing/2014/main" id="{1BE78E90-512D-48A0-A845-A06C7B40AA52}"/>
              </a:ext>
            </a:extLst>
          </p:cNvPr>
          <p:cNvSpPr txBox="1"/>
          <p:nvPr userDrawn="1"/>
        </p:nvSpPr>
        <p:spPr>
          <a:xfrm>
            <a:off x="558489" y="1401800"/>
            <a:ext cx="344646"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dirty="0"/>
              <a:t>STICKER</a:t>
            </a:r>
          </a:p>
        </p:txBody>
      </p:sp>
      <p:sp>
        <p:nvSpPr>
          <p:cNvPr id="101" name="3. Subtitle">
            <a:extLst>
              <a:ext uri="{FF2B5EF4-FFF2-40B4-BE49-F238E27FC236}">
                <a16:creationId xmlns:a16="http://schemas.microsoft.com/office/drawing/2014/main" id="{8AB5A759-C8C6-4E92-997D-BA04067A36CE}"/>
              </a:ext>
            </a:extLst>
          </p:cNvPr>
          <p:cNvSpPr>
            <a:spLocks noGrp="1"/>
          </p:cNvSpPr>
          <p:nvPr>
            <p:ph type="subTitle" idx="1"/>
            <p:custDataLst>
              <p:tags r:id="rId2"/>
            </p:custDataLst>
          </p:nvPr>
        </p:nvSpPr>
        <p:spPr>
          <a:xfrm>
            <a:off x="554736" y="1022441"/>
            <a:ext cx="110825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Rectangle 3" hidden="1">
            <a:extLst>
              <a:ext uri="{FF2B5EF4-FFF2-40B4-BE49-F238E27FC236}">
                <a16:creationId xmlns:a16="http://schemas.microsoft.com/office/drawing/2014/main" id="{ED3A330D-704F-4050-81F6-50A136E7860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hasCustomPrompt="1"/>
            <p:custDataLst>
              <p:tags r:id="rId4"/>
            </p:custDataLst>
          </p:nvPr>
        </p:nvSpPr>
        <p:spPr>
          <a:xfrm>
            <a:off x="554736" y="172212"/>
            <a:ext cx="9640824" cy="769441"/>
          </a:xfrm>
        </p:spPr>
        <p:txBody>
          <a:bodyPr vert="horz">
            <a:spAutoFit/>
          </a:bodyPr>
          <a:lstStyle>
            <a:lvl1pPr rtl="0">
              <a:defRPr/>
            </a:lvl1pPr>
          </a:lstStyle>
          <a:p>
            <a:r>
              <a:rPr lang="en-US" dirty="0"/>
              <a:t>Click to edit Master title style</a:t>
            </a:r>
            <a:br>
              <a:rPr lang="en-US" dirty="0"/>
            </a:br>
            <a:endParaRPr lang="en-US" dirty="0"/>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1204698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extLst>
              <p:ext uri="{D42A27DB-BD31-4B8C-83A1-F6EECF244321}">
                <p14:modId xmlns:p14="http://schemas.microsoft.com/office/powerpoint/2010/main" val="1855279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408557"/>
            <a:ext cx="3813048" cy="769441"/>
          </a:xfrm>
          <a:prstGeom prst="rect">
            <a:avLst/>
          </a:prstGeom>
        </p:spPr>
        <p:txBody>
          <a:bodyPr vert="horz" anchor="t">
            <a:noAutofit/>
          </a:bodyPr>
          <a:lstStyle>
            <a:lvl1pPr rtl="0">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79744E48-04EF-4FA7-AF06-13E2E4A9BC5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9219664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1019295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29A5BC72-B58B-4282-B0EA-EE79CC589D7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5282945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extLst>
              <p:ext uri="{D42A27DB-BD31-4B8C-83A1-F6EECF244321}">
                <p14:modId xmlns:p14="http://schemas.microsoft.com/office/powerpoint/2010/main" val="1534511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8F89071A-FCD4-4931-B959-81108D770B1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7750153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extLst>
              <p:ext uri="{D42A27DB-BD31-4B8C-83A1-F6EECF244321}">
                <p14:modId xmlns:p14="http://schemas.microsoft.com/office/powerpoint/2010/main" val="2977653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1505712" y="3556229"/>
            <a:ext cx="9180576" cy="523220"/>
          </a:xfrm>
          <a:prstGeom prst="rect">
            <a:avLst/>
          </a:prstGeom>
        </p:spPr>
        <p:txBody>
          <a:bodyPr vert="horz" anchor="b">
            <a:spAutoFit/>
          </a:bodyPr>
          <a:lstStyle>
            <a:lvl1pPr rtl="0">
              <a:lnSpc>
                <a:spcPct val="105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878CBA30-A797-424E-A56B-F43F015ECE96}"/>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3126788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1483030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5"/>
            </p:custDataLst>
          </p:nvPr>
        </p:nvSpPr>
        <p:spPr>
          <a:xfrm>
            <a:off x="554736" y="2744369"/>
            <a:ext cx="2514600" cy="769441"/>
          </a:xfrm>
        </p:spPr>
        <p:txBody>
          <a:bodyPr vert="horz" anchor="b">
            <a:noAutofit/>
          </a:bodyPr>
          <a:lstStyle>
            <a:lvl1pPr rtl="0">
              <a:defRPr>
                <a:solidFill>
                  <a:schemeClr val="bg1"/>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7E97B40B-AFF2-4819-823D-9831ADC756CA}"/>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pic>
        <p:nvPicPr>
          <p:cNvPr id="2" name="Picture 1">
            <a:extLst>
              <a:ext uri="{FF2B5EF4-FFF2-40B4-BE49-F238E27FC236}">
                <a16:creationId xmlns:a16="http://schemas.microsoft.com/office/drawing/2014/main" id="{3FBBDF83-1974-E9CC-EB11-CB237FF06B0B}"/>
              </a:ext>
            </a:extLst>
          </p:cNvPr>
          <p:cNvPicPr>
            <a:picLocks/>
          </p:cNvPicPr>
          <p:nvPr userDrawn="1"/>
        </p:nvPicPr>
        <p:blipFill>
          <a:blip r:embed="rId12" cstate="screen">
            <a:lum bright="70000" contrast="-70000"/>
            <a:extLst>
              <a:ext uri="{BEBA8EAE-BF5A-486C-A8C5-ECC9F3942E4B}">
                <a14:imgProps xmlns:a14="http://schemas.microsoft.com/office/drawing/2010/main">
                  <a14:imgLayer r:embed="rId13">
                    <a14:imgEffect>
                      <a14:artisticPhotocopy/>
                    </a14:imgEffect>
                  </a14:imgLayer>
                </a14:imgProps>
              </a:ext>
              <a:ext uri="{28A0092B-C50C-407E-A947-70E740481C1C}">
                <a14:useLocalDpi xmlns:a14="http://schemas.microsoft.com/office/drawing/2010/main"/>
              </a:ext>
            </a:extLst>
          </a:blip>
          <a:srcRect/>
          <a:stretch/>
        </p:blipFill>
        <p:spPr>
          <a:xfrm>
            <a:off x="10286286" y="172212"/>
            <a:ext cx="1350978" cy="384721"/>
          </a:xfrm>
          <a:prstGeom prst="rect">
            <a:avLst/>
          </a:prstGeom>
        </p:spPr>
      </p:pic>
      <p:pic>
        <p:nvPicPr>
          <p:cNvPr id="5" name="Picture 4">
            <a:extLst>
              <a:ext uri="{FF2B5EF4-FFF2-40B4-BE49-F238E27FC236}">
                <a16:creationId xmlns:a16="http://schemas.microsoft.com/office/drawing/2014/main" id="{DFDCF66B-DDB9-A054-7521-16470BE43FD4}"/>
              </a:ext>
            </a:extLst>
          </p:cNvPr>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23262" y="0"/>
            <a:ext cx="3124200" cy="6858000"/>
          </a:xfrm>
          <a:prstGeom prst="rect">
            <a:avLst/>
          </a:prstGeom>
        </p:spPr>
      </p:pic>
    </p:spTree>
    <p:extLst>
      <p:ext uri="{BB962C8B-B14F-4D97-AF65-F5344CB8AC3E}">
        <p14:creationId xmlns:p14="http://schemas.microsoft.com/office/powerpoint/2010/main" val="41998185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1583149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rtl="0">
              <a:defRPr>
                <a:solidFill>
                  <a:schemeClr val="bg1"/>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2635D98B-97DC-4A80-82A3-A8B3C701B736}"/>
              </a:ext>
            </a:extLst>
          </p:cNvPr>
          <p:cNvSpPr>
            <a:spLocks noGrp="1"/>
          </p:cNvSpPr>
          <p:nvPr>
            <p:ph type="body" sz="quarter" idx="10" hasCustomPrompt="1"/>
            <p:custDataLst>
              <p:tags r:id="rId8"/>
            </p:custDataLst>
          </p:nvPr>
        </p:nvSpPr>
        <p:spPr>
          <a:xfrm>
            <a:off x="554735" y="41597"/>
            <a:ext cx="3465575"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pic>
        <p:nvPicPr>
          <p:cNvPr id="3" name="Picture 2">
            <a:extLst>
              <a:ext uri="{FF2B5EF4-FFF2-40B4-BE49-F238E27FC236}">
                <a16:creationId xmlns:a16="http://schemas.microsoft.com/office/drawing/2014/main" id="{4C83731E-5BED-0354-A36A-9EB8F38E1BC9}"/>
              </a:ext>
            </a:extLst>
          </p:cNvPr>
          <p:cNvPicPr>
            <a:picLocks/>
          </p:cNvPicPr>
          <p:nvPr userDrawn="1"/>
        </p:nvPicPr>
        <p:blipFill>
          <a:blip r:embed="rId12" cstate="screen">
            <a:lum bright="70000" contrast="-70000"/>
            <a:extLst>
              <a:ext uri="{BEBA8EAE-BF5A-486C-A8C5-ECC9F3942E4B}">
                <a14:imgProps xmlns:a14="http://schemas.microsoft.com/office/drawing/2010/main">
                  <a14:imgLayer r:embed="rId13">
                    <a14:imgEffect>
                      <a14:artisticPhotocopy/>
                    </a14:imgEffect>
                  </a14:imgLayer>
                </a14:imgProps>
              </a:ext>
              <a:ext uri="{28A0092B-C50C-407E-A947-70E740481C1C}">
                <a14:useLocalDpi xmlns:a14="http://schemas.microsoft.com/office/drawing/2010/main"/>
              </a:ext>
            </a:extLst>
          </a:blip>
          <a:srcRect/>
          <a:stretch/>
        </p:blipFill>
        <p:spPr>
          <a:xfrm>
            <a:off x="10286286" y="172212"/>
            <a:ext cx="1350978" cy="384721"/>
          </a:xfrm>
          <a:prstGeom prst="rect">
            <a:avLst/>
          </a:prstGeom>
        </p:spPr>
      </p:pic>
      <p:pic>
        <p:nvPicPr>
          <p:cNvPr id="5" name="Picture 4">
            <a:extLst>
              <a:ext uri="{FF2B5EF4-FFF2-40B4-BE49-F238E27FC236}">
                <a16:creationId xmlns:a16="http://schemas.microsoft.com/office/drawing/2014/main" id="{1519B9AC-7195-B9D2-28C7-3939ADDED676}"/>
              </a:ext>
            </a:extLst>
          </p:cNvPr>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23262" y="0"/>
            <a:ext cx="3124200" cy="6858000"/>
          </a:xfrm>
          <a:prstGeom prst="rect">
            <a:avLst/>
          </a:prstGeom>
        </p:spPr>
      </p:pic>
    </p:spTree>
    <p:extLst>
      <p:ext uri="{BB962C8B-B14F-4D97-AF65-F5344CB8AC3E}">
        <p14:creationId xmlns:p14="http://schemas.microsoft.com/office/powerpoint/2010/main" val="4286952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931253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5065776" cy="384721"/>
          </a:xfrm>
        </p:spPr>
        <p:txBody>
          <a:bodyPr vert="horz">
            <a:spAutoFit/>
          </a:bodyPr>
          <a:lstStyle>
            <a:lvl1pPr rtl="0">
              <a:defRPr>
                <a:solidFill>
                  <a:schemeClr val="bg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5" y="637721"/>
            <a:ext cx="5065776"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pic>
        <p:nvPicPr>
          <p:cNvPr id="4" name="Picture 3">
            <a:extLst>
              <a:ext uri="{FF2B5EF4-FFF2-40B4-BE49-F238E27FC236}">
                <a16:creationId xmlns:a16="http://schemas.microsoft.com/office/drawing/2014/main" id="{6E07347F-CE2D-2CD8-ACF5-76AEA3BD4075}"/>
              </a:ext>
            </a:extLst>
          </p:cNvPr>
          <p:cNvPicPr>
            <a:picLocks/>
          </p:cNvPicPr>
          <p:nvPr userDrawn="1"/>
        </p:nvPicPr>
        <p:blipFill>
          <a:blip r:embed="rId12" cstate="screen">
            <a:lum bright="70000" contrast="-70000"/>
            <a:extLst>
              <a:ext uri="{BEBA8EAE-BF5A-486C-A8C5-ECC9F3942E4B}">
                <a14:imgProps xmlns:a14="http://schemas.microsoft.com/office/drawing/2010/main">
                  <a14:imgLayer r:embed="rId13">
                    <a14:imgEffect>
                      <a14:artisticPhotocopy/>
                    </a14:imgEffect>
                  </a14:imgLayer>
                </a14:imgProps>
              </a:ext>
              <a:ext uri="{28A0092B-C50C-407E-A947-70E740481C1C}">
                <a14:useLocalDpi xmlns:a14="http://schemas.microsoft.com/office/drawing/2010/main"/>
              </a:ext>
            </a:extLst>
          </a:blip>
          <a:srcRect/>
          <a:stretch/>
        </p:blipFill>
        <p:spPr>
          <a:xfrm>
            <a:off x="10286286" y="172212"/>
            <a:ext cx="1350978" cy="384721"/>
          </a:xfrm>
          <a:prstGeom prst="rect">
            <a:avLst/>
          </a:prstGeom>
        </p:spPr>
      </p:pic>
      <p:pic>
        <p:nvPicPr>
          <p:cNvPr id="5" name="Picture 4">
            <a:extLst>
              <a:ext uri="{FF2B5EF4-FFF2-40B4-BE49-F238E27FC236}">
                <a16:creationId xmlns:a16="http://schemas.microsoft.com/office/drawing/2014/main" id="{7941A1C6-42C4-D58F-F681-17B59C75BB67}"/>
              </a:ext>
            </a:extLst>
          </p:cNvPr>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23262" y="0"/>
            <a:ext cx="3124200" cy="6858000"/>
          </a:xfrm>
          <a:prstGeom prst="rect">
            <a:avLst/>
          </a:prstGeom>
        </p:spPr>
      </p:pic>
    </p:spTree>
    <p:extLst>
      <p:ext uri="{BB962C8B-B14F-4D97-AF65-F5344CB8AC3E}">
        <p14:creationId xmlns:p14="http://schemas.microsoft.com/office/powerpoint/2010/main" val="16877398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212186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3"/>
            </p:custDataLst>
          </p:nvPr>
        </p:nvSpPr>
        <p:spPr>
          <a:xfrm>
            <a:off x="554736" y="172212"/>
            <a:ext cx="6967728" cy="384721"/>
          </a:xfrm>
        </p:spPr>
        <p:txBody>
          <a:bodyPr vert="horz">
            <a:spAutoFit/>
          </a:bodyPr>
          <a:lstStyle>
            <a:lvl1pPr rtl="0">
              <a:defRPr>
                <a:solidFill>
                  <a:schemeClr val="bg1"/>
                </a:solidFill>
              </a:defRPr>
            </a:lvl1pPr>
          </a:lstStyle>
          <a:p>
            <a:r>
              <a:rPr lang="en-US" dirty="0"/>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6"/>
            </p:custDataLst>
          </p:nvPr>
        </p:nvSpPr>
        <p:spPr>
          <a:xfrm>
            <a:off x="554735" y="637721"/>
            <a:ext cx="6967728"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pic>
        <p:nvPicPr>
          <p:cNvPr id="2" name="Picture 1">
            <a:extLst>
              <a:ext uri="{FF2B5EF4-FFF2-40B4-BE49-F238E27FC236}">
                <a16:creationId xmlns:a16="http://schemas.microsoft.com/office/drawing/2014/main" id="{94C2C667-6273-060D-FAA6-207AE3C4B2C2}"/>
              </a:ext>
            </a:extLst>
          </p:cNvPr>
          <p:cNvPicPr>
            <a:picLocks/>
          </p:cNvPicPr>
          <p:nvPr userDrawn="1"/>
        </p:nvPicPr>
        <p:blipFill>
          <a:blip r:embed="rId12" cstate="screen">
            <a:lum bright="70000" contrast="-70000"/>
            <a:extLst>
              <a:ext uri="{BEBA8EAE-BF5A-486C-A8C5-ECC9F3942E4B}">
                <a14:imgProps xmlns:a14="http://schemas.microsoft.com/office/drawing/2010/main">
                  <a14:imgLayer r:embed="rId13">
                    <a14:imgEffect>
                      <a14:artisticPhotocopy/>
                    </a14:imgEffect>
                  </a14:imgLayer>
                </a14:imgProps>
              </a:ext>
              <a:ext uri="{28A0092B-C50C-407E-A947-70E740481C1C}">
                <a14:useLocalDpi xmlns:a14="http://schemas.microsoft.com/office/drawing/2010/main"/>
              </a:ext>
            </a:extLst>
          </a:blip>
          <a:srcRect/>
          <a:stretch/>
        </p:blipFill>
        <p:spPr>
          <a:xfrm>
            <a:off x="10286286" y="172212"/>
            <a:ext cx="1350978" cy="384721"/>
          </a:xfrm>
          <a:prstGeom prst="rect">
            <a:avLst/>
          </a:prstGeom>
        </p:spPr>
      </p:pic>
      <p:pic>
        <p:nvPicPr>
          <p:cNvPr id="5" name="Picture 4">
            <a:extLst>
              <a:ext uri="{FF2B5EF4-FFF2-40B4-BE49-F238E27FC236}">
                <a16:creationId xmlns:a16="http://schemas.microsoft.com/office/drawing/2014/main" id="{E02304FE-3C3B-FBA6-44AE-E215AAA667B1}"/>
              </a:ext>
            </a:extLst>
          </p:cNvPr>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23262" y="0"/>
            <a:ext cx="3124200" cy="6858000"/>
          </a:xfrm>
          <a:prstGeom prst="rect">
            <a:avLst/>
          </a:prstGeom>
        </p:spPr>
      </p:pic>
    </p:spTree>
    <p:extLst>
      <p:ext uri="{BB962C8B-B14F-4D97-AF65-F5344CB8AC3E}">
        <p14:creationId xmlns:p14="http://schemas.microsoft.com/office/powerpoint/2010/main" val="342342282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2508270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7918704" cy="384721"/>
          </a:xfrm>
        </p:spPr>
        <p:txBody>
          <a:bodyPr vert="horz">
            <a:spAutoFit/>
          </a:bodyPr>
          <a:lstStyle>
            <a:lvl1pPr rtl="0">
              <a:defRPr>
                <a:solidFill>
                  <a:schemeClr val="bg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5" y="637721"/>
            <a:ext cx="7918704"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bg2"/>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pic>
        <p:nvPicPr>
          <p:cNvPr id="2" name="Picture 1">
            <a:extLst>
              <a:ext uri="{FF2B5EF4-FFF2-40B4-BE49-F238E27FC236}">
                <a16:creationId xmlns:a16="http://schemas.microsoft.com/office/drawing/2014/main" id="{80F9A1C0-A0E7-18FC-FC8A-6BFEADFEBCB7}"/>
              </a:ext>
            </a:extLst>
          </p:cNvPr>
          <p:cNvPicPr>
            <a:picLocks/>
          </p:cNvPicPr>
          <p:nvPr userDrawn="1"/>
        </p:nvPicPr>
        <p:blipFill>
          <a:blip r:embed="rId12" cstate="screen">
            <a:lum bright="70000" contrast="-70000"/>
            <a:extLst>
              <a:ext uri="{BEBA8EAE-BF5A-486C-A8C5-ECC9F3942E4B}">
                <a14:imgProps xmlns:a14="http://schemas.microsoft.com/office/drawing/2010/main">
                  <a14:imgLayer r:embed="rId13">
                    <a14:imgEffect>
                      <a14:artisticPhotocopy/>
                    </a14:imgEffect>
                  </a14:imgLayer>
                </a14:imgProps>
              </a:ext>
              <a:ext uri="{28A0092B-C50C-407E-A947-70E740481C1C}">
                <a14:useLocalDpi xmlns:a14="http://schemas.microsoft.com/office/drawing/2010/main"/>
              </a:ext>
            </a:extLst>
          </a:blip>
          <a:srcRect/>
          <a:stretch/>
        </p:blipFill>
        <p:spPr>
          <a:xfrm>
            <a:off x="10286286" y="172212"/>
            <a:ext cx="1350978" cy="384721"/>
          </a:xfrm>
          <a:prstGeom prst="rect">
            <a:avLst/>
          </a:prstGeom>
        </p:spPr>
      </p:pic>
      <p:pic>
        <p:nvPicPr>
          <p:cNvPr id="5" name="Picture 4">
            <a:extLst>
              <a:ext uri="{FF2B5EF4-FFF2-40B4-BE49-F238E27FC236}">
                <a16:creationId xmlns:a16="http://schemas.microsoft.com/office/drawing/2014/main" id="{E88C93A2-718C-359A-E89F-65FB3FFDD0A7}"/>
              </a:ext>
            </a:extLst>
          </p:cNvPr>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23262" y="0"/>
            <a:ext cx="3124200" cy="6858000"/>
          </a:xfrm>
          <a:prstGeom prst="rect">
            <a:avLst/>
          </a:prstGeom>
        </p:spPr>
      </p:pic>
    </p:spTree>
    <p:extLst>
      <p:ext uri="{BB962C8B-B14F-4D97-AF65-F5344CB8AC3E}">
        <p14:creationId xmlns:p14="http://schemas.microsoft.com/office/powerpoint/2010/main" val="17911823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line + Subtitl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871820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bwMode="gray">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99" name="Sticker" hidden="1">
            <a:extLst>
              <a:ext uri="{FF2B5EF4-FFF2-40B4-BE49-F238E27FC236}">
                <a16:creationId xmlns:a16="http://schemas.microsoft.com/office/drawing/2014/main" id="{64F3132B-1605-45D5-B06F-B703D774997D}"/>
              </a:ext>
            </a:extLst>
          </p:cNvPr>
          <p:cNvSpPr txBox="1"/>
          <p:nvPr userDrawn="1"/>
        </p:nvSpPr>
        <p:spPr bwMode="gray">
          <a:xfrm>
            <a:off x="558489" y="1401800"/>
            <a:ext cx="344646"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dirty="0"/>
              <a:t>STICKER</a:t>
            </a:r>
          </a:p>
        </p:txBody>
      </p:sp>
      <p:sp>
        <p:nvSpPr>
          <p:cNvPr id="14" name="3. Subtitle">
            <a:extLst>
              <a:ext uri="{FF2B5EF4-FFF2-40B4-BE49-F238E27FC236}">
                <a16:creationId xmlns:a16="http://schemas.microsoft.com/office/drawing/2014/main" id="{D4D36123-678D-4B6C-A648-186F85BE34AE}"/>
              </a:ext>
            </a:extLst>
          </p:cNvPr>
          <p:cNvSpPr>
            <a:spLocks noGrp="1"/>
          </p:cNvSpPr>
          <p:nvPr userDrawn="1">
            <p:ph type="subTitle" idx="1"/>
            <p:custDataLst>
              <p:tags r:id="rId3"/>
            </p:custDataLst>
          </p:nvPr>
        </p:nvSpPr>
        <p:spPr bwMode="gray">
          <a:xfrm>
            <a:off x="554736" y="1022441"/>
            <a:ext cx="11082528" cy="246221"/>
          </a:xfrm>
          <a:prstGeom prst="rect">
            <a:avLst/>
          </a:prstGeom>
        </p:spPr>
        <p:txBody>
          <a:bodyPr wrap="square">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gray">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bwMode="gray">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userDrawn="1">
            <p:ph type="body" sz="quarter" idx="10" hasCustomPrompt="1"/>
            <p:custDataLst>
              <p:tags r:id="rId6"/>
            </p:custDataLst>
          </p:nvPr>
        </p:nvSpPr>
        <p:spPr bwMode="gray">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userDrawn="1">
            <p:ph type="title" hasCustomPrompt="1"/>
            <p:custDataLst>
              <p:tags r:id="rId7"/>
            </p:custDataLst>
          </p:nvPr>
        </p:nvSpPr>
        <p:spPr bwMode="gray">
          <a:xfrm>
            <a:off x="554736" y="172212"/>
            <a:ext cx="9640824" cy="769441"/>
          </a:xfrm>
          <a:prstGeom prst="rect">
            <a:avLst/>
          </a:prstGeom>
        </p:spPr>
        <p:txBody>
          <a:bodyPr vert="horz" wrap="square" lIns="0" tIns="0" rIns="0" bIns="0" rtlCol="0" anchor="t" anchorCtr="0">
            <a:noAutofit/>
          </a:bodyPr>
          <a:lstStyle>
            <a:lvl1pPr>
              <a:defRPr/>
            </a:lvl1pPr>
          </a:lstStyle>
          <a:p>
            <a:r>
              <a:rPr lang="en-US" dirty="0"/>
              <a:t>Click to edit Master title style</a:t>
            </a:r>
            <a:br>
              <a:rPr lang="en-US" dirty="0"/>
            </a:br>
            <a:endParaRPr lang="en-US" dirty="0"/>
          </a:p>
        </p:txBody>
      </p:sp>
    </p:spTree>
    <p:extLst>
      <p:ext uri="{BB962C8B-B14F-4D97-AF65-F5344CB8AC3E}">
        <p14:creationId xmlns:p14="http://schemas.microsoft.com/office/powerpoint/2010/main" val="11022787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2501873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rgbClr val="000000"/>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rgbClr val="000000"/>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5065776" cy="384721"/>
          </a:xfrm>
        </p:spPr>
        <p:txBody>
          <a:bodyPr vert="horz">
            <a:spAutoFit/>
          </a:bodyPr>
          <a:lstStyle>
            <a:lvl1pPr rtl="0">
              <a:defRPr>
                <a:solidFill>
                  <a:schemeClr val="tx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5" y="637721"/>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tx1"/>
                </a:solidFill>
                <a:cs typeface="+mn-cs"/>
              </a:defRPr>
            </a:lvl1pPr>
          </a:lstStyle>
          <a:p>
            <a:pPr lvl="0">
              <a:buNone/>
            </a:pPr>
            <a:r>
              <a:rPr lang="en-US" dirty="0"/>
              <a:t>Add tracker</a:t>
            </a:r>
          </a:p>
        </p:txBody>
      </p:sp>
      <p:pic>
        <p:nvPicPr>
          <p:cNvPr id="4" name="Picture 3">
            <a:extLst>
              <a:ext uri="{FF2B5EF4-FFF2-40B4-BE49-F238E27FC236}">
                <a16:creationId xmlns:a16="http://schemas.microsoft.com/office/drawing/2014/main" id="{0A4B896D-88DE-1DED-F3BE-C7581F58A7CB}"/>
              </a:ext>
            </a:extLst>
          </p:cNvPr>
          <p:cNvPicPr>
            <a:picLocks/>
          </p:cNvPicPr>
          <p:nvPr userDrawn="1"/>
        </p:nvPicPr>
        <p:blipFill>
          <a:blip r:embed="rId12" cstate="screen">
            <a:extLst>
              <a:ext uri="{28A0092B-C50C-407E-A947-70E740481C1C}">
                <a14:useLocalDpi xmlns:a14="http://schemas.microsoft.com/office/drawing/2010/main"/>
              </a:ext>
            </a:extLst>
          </a:blip>
          <a:srcRect/>
          <a:stretch/>
        </p:blipFill>
        <p:spPr>
          <a:xfrm>
            <a:off x="10286286" y="172212"/>
            <a:ext cx="1350978" cy="384721"/>
          </a:xfrm>
          <a:prstGeom prst="rect">
            <a:avLst/>
          </a:prstGeom>
        </p:spPr>
      </p:pic>
    </p:spTree>
    <p:extLst>
      <p:ext uri="{BB962C8B-B14F-4D97-AF65-F5344CB8AC3E}">
        <p14:creationId xmlns:p14="http://schemas.microsoft.com/office/powerpoint/2010/main" val="361787394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3240251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rgbClr val="000000"/>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rgbClr val="000000"/>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5"/>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6"/>
            </p:custDataLst>
          </p:nvPr>
        </p:nvSpPr>
        <p:spPr>
          <a:xfrm>
            <a:off x="554735" y="41597"/>
            <a:ext cx="3465576"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A2A8C6A2-26B8-46D0-B6A4-4D8C91B2772E}"/>
              </a:ext>
            </a:extLst>
          </p:cNvPr>
          <p:cNvSpPr>
            <a:spLocks noGrp="1"/>
          </p:cNvSpPr>
          <p:nvPr>
            <p:ph type="title"/>
            <p:custDataLst>
              <p:tags r:id="rId7"/>
            </p:custDataLst>
          </p:nvPr>
        </p:nvSpPr>
        <p:spPr>
          <a:xfrm>
            <a:off x="554736" y="2744369"/>
            <a:ext cx="3465576" cy="769441"/>
          </a:xfrm>
          <a:prstGeom prst="rect">
            <a:avLst/>
          </a:prstGeom>
        </p:spPr>
        <p:txBody>
          <a:bodyPr vert="horz" wrap="square" anchor="b">
            <a:noAutofit/>
          </a:bodyPr>
          <a:lstStyle>
            <a:lvl1pPr algn="l" rtl="0">
              <a:defRPr>
                <a:solidFill>
                  <a:schemeClr val="tx1"/>
                </a:solidFill>
              </a:defRPr>
            </a:lvl1pPr>
          </a:lstStyle>
          <a:p>
            <a:r>
              <a:rPr lang="en-US" dirty="0"/>
              <a:t>Click to edit Master title style</a:t>
            </a:r>
          </a:p>
        </p:txBody>
      </p:sp>
      <p:sp>
        <p:nvSpPr>
          <p:cNvPr id="12" name="3. Subtitle">
            <a:extLst>
              <a:ext uri="{FF2B5EF4-FFF2-40B4-BE49-F238E27FC236}">
                <a16:creationId xmlns:a16="http://schemas.microsoft.com/office/drawing/2014/main" id="{63DE0353-99BC-4322-9D9F-E3C1556B87A4}"/>
              </a:ext>
            </a:extLst>
          </p:cNvPr>
          <p:cNvSpPr>
            <a:spLocks noGrp="1"/>
          </p:cNvSpPr>
          <p:nvPr>
            <p:ph type="subTitle" idx="1"/>
            <p:custDataLst>
              <p:tags r:id="rId8"/>
            </p:custDataLst>
          </p:nvPr>
        </p:nvSpPr>
        <p:spPr>
          <a:xfrm>
            <a:off x="554734" y="3659644"/>
            <a:ext cx="3465576"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pic>
        <p:nvPicPr>
          <p:cNvPr id="2" name="Picture 1">
            <a:extLst>
              <a:ext uri="{FF2B5EF4-FFF2-40B4-BE49-F238E27FC236}">
                <a16:creationId xmlns:a16="http://schemas.microsoft.com/office/drawing/2014/main" id="{1A57AF98-BDE1-627C-0340-CB7C4F7AE5FF}"/>
              </a:ext>
            </a:extLst>
          </p:cNvPr>
          <p:cNvPicPr>
            <a:picLocks/>
          </p:cNvPicPr>
          <p:nvPr userDrawn="1"/>
        </p:nvPicPr>
        <p:blipFill>
          <a:blip r:embed="rId12" cstate="screen">
            <a:extLst>
              <a:ext uri="{28A0092B-C50C-407E-A947-70E740481C1C}">
                <a14:useLocalDpi xmlns:a14="http://schemas.microsoft.com/office/drawing/2010/main"/>
              </a:ext>
            </a:extLst>
          </a:blip>
          <a:srcRect/>
          <a:stretch/>
        </p:blipFill>
        <p:spPr>
          <a:xfrm>
            <a:off x="10286286" y="172212"/>
            <a:ext cx="1350978" cy="384721"/>
          </a:xfrm>
          <a:prstGeom prst="rect">
            <a:avLst/>
          </a:prstGeom>
        </p:spPr>
      </p:pic>
    </p:spTree>
    <p:extLst>
      <p:ext uri="{BB962C8B-B14F-4D97-AF65-F5344CB8AC3E}">
        <p14:creationId xmlns:p14="http://schemas.microsoft.com/office/powerpoint/2010/main" val="42719942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201588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0"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6"/>
            </p:custDataLst>
          </p:nvPr>
        </p:nvSpPr>
        <p:spPr>
          <a:xfrm>
            <a:off x="554735" y="41597"/>
            <a:ext cx="2514600"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201E918A-7ADD-4595-9E5C-36C3D305CA4A}"/>
              </a:ext>
            </a:extLst>
          </p:cNvPr>
          <p:cNvSpPr>
            <a:spLocks noGrp="1"/>
          </p:cNvSpPr>
          <p:nvPr>
            <p:ph type="title"/>
            <p:custDataLst>
              <p:tags r:id="rId7"/>
            </p:custDataLst>
          </p:nvPr>
        </p:nvSpPr>
        <p:spPr>
          <a:xfrm>
            <a:off x="554736" y="2744369"/>
            <a:ext cx="2514600" cy="769441"/>
          </a:xfrm>
        </p:spPr>
        <p:txBody>
          <a:bodyPr vert="horz" anchor="b">
            <a:noAutofit/>
          </a:bodyPr>
          <a:lstStyle>
            <a:lvl1pPr rtl="0">
              <a:defRPr>
                <a:solidFill>
                  <a:schemeClr val="tx1"/>
                </a:solidFill>
              </a:defRPr>
            </a:lvl1pPr>
          </a:lstStyle>
          <a:p>
            <a:r>
              <a:rPr lang="en-US" dirty="0"/>
              <a:t>Click to edit Master title</a:t>
            </a:r>
          </a:p>
        </p:txBody>
      </p:sp>
      <p:sp>
        <p:nvSpPr>
          <p:cNvPr id="12" name="3. Subtitle">
            <a:extLst>
              <a:ext uri="{FF2B5EF4-FFF2-40B4-BE49-F238E27FC236}">
                <a16:creationId xmlns:a16="http://schemas.microsoft.com/office/drawing/2014/main" id="{A0895B2F-2F72-4935-BC7F-BEA280D6C542}"/>
              </a:ext>
            </a:extLst>
          </p:cNvPr>
          <p:cNvSpPr>
            <a:spLocks noGrp="1"/>
          </p:cNvSpPr>
          <p:nvPr>
            <p:ph type="subTitle" idx="1"/>
            <p:custDataLst>
              <p:tags r:id="rId8"/>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pic>
        <p:nvPicPr>
          <p:cNvPr id="2" name="Picture 1">
            <a:extLst>
              <a:ext uri="{FF2B5EF4-FFF2-40B4-BE49-F238E27FC236}">
                <a16:creationId xmlns:a16="http://schemas.microsoft.com/office/drawing/2014/main" id="{2C0AE6C8-88DA-D4F5-3A8A-C34874BFDE22}"/>
              </a:ext>
            </a:extLst>
          </p:cNvPr>
          <p:cNvPicPr>
            <a:picLocks/>
          </p:cNvPicPr>
          <p:nvPr userDrawn="1"/>
        </p:nvPicPr>
        <p:blipFill>
          <a:blip r:embed="rId12" cstate="screen">
            <a:extLst>
              <a:ext uri="{28A0092B-C50C-407E-A947-70E740481C1C}">
                <a14:useLocalDpi xmlns:a14="http://schemas.microsoft.com/office/drawing/2010/main"/>
              </a:ext>
            </a:extLst>
          </a:blip>
          <a:srcRect/>
          <a:stretch/>
        </p:blipFill>
        <p:spPr>
          <a:xfrm>
            <a:off x="10286286" y="172212"/>
            <a:ext cx="1350978" cy="384721"/>
          </a:xfrm>
          <a:prstGeom prst="rect">
            <a:avLst/>
          </a:prstGeom>
        </p:spPr>
      </p:pic>
    </p:spTree>
    <p:extLst>
      <p:ext uri="{BB962C8B-B14F-4D97-AF65-F5344CB8AC3E}">
        <p14:creationId xmlns:p14="http://schemas.microsoft.com/office/powerpoint/2010/main" val="40805870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extLst>
              <p:ext uri="{D42A27DB-BD31-4B8C-83A1-F6EECF244321}">
                <p14:modId xmlns:p14="http://schemas.microsoft.com/office/powerpoint/2010/main" val="389441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98" name="Sticker" hidden="1">
            <a:extLst>
              <a:ext uri="{FF2B5EF4-FFF2-40B4-BE49-F238E27FC236}">
                <a16:creationId xmlns:a16="http://schemas.microsoft.com/office/drawing/2014/main" id="{02AE8CE4-BD27-40D4-AB6E-9F41E7636086}"/>
              </a:ext>
            </a:extLst>
          </p:cNvPr>
          <p:cNvSpPr txBox="1"/>
          <p:nvPr userDrawn="1"/>
        </p:nvSpPr>
        <p:spPr>
          <a:xfrm>
            <a:off x="558489" y="1401800"/>
            <a:ext cx="344646"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dirty="0"/>
              <a:t>STICKER</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hasCustomPrompt="1"/>
            <p:custDataLst>
              <p:tags r:id="rId4"/>
            </p:custDataLst>
          </p:nvPr>
        </p:nvSpPr>
        <p:spPr>
          <a:xfrm>
            <a:off x="554736" y="172212"/>
            <a:ext cx="9640824" cy="1154162"/>
          </a:xfrm>
        </p:spPr>
        <p:txBody>
          <a:bodyPr vert="horz">
            <a:spAutoFit/>
          </a:bodyPr>
          <a:lstStyle>
            <a:lvl1pPr rtl="0">
              <a:defRPr/>
            </a:lvl1pPr>
          </a:lstStyle>
          <a:p>
            <a:r>
              <a:rPr lang="en-US" dirty="0"/>
              <a:t>Click to edit Master title style</a:t>
            </a:r>
            <a:br>
              <a:rPr lang="en-US" dirty="0"/>
            </a:br>
            <a:br>
              <a:rPr lang="en-US" dirty="0"/>
            </a:br>
            <a:endParaRPr lang="en-US" dirty="0"/>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B5C5F547-1B1B-411D-99AF-7DE767A71F1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5" name="Picture 4">
            <a:extLst>
              <a:ext uri="{FF2B5EF4-FFF2-40B4-BE49-F238E27FC236}">
                <a16:creationId xmlns:a16="http://schemas.microsoft.com/office/drawing/2014/main" id="{01984130-3BE5-1D67-38A3-815F128FED10}"/>
              </a:ext>
            </a:extLst>
          </p:cNvPr>
          <p:cNvPicPr>
            <a:picLocks/>
          </p:cNvPicPr>
          <p:nvPr userDrawn="1"/>
        </p:nvPicPr>
        <p:blipFill>
          <a:blip r:embed="rId10" cstate="screen">
            <a:lum bright="70000" contrast="-70000"/>
            <a:extLst>
              <a:ext uri="{BEBA8EAE-BF5A-486C-A8C5-ECC9F3942E4B}">
                <a14:imgProps xmlns:a14="http://schemas.microsoft.com/office/drawing/2010/main">
                  <a14:imgLayer r:embed="rId11">
                    <a14:imgEffect>
                      <a14:artisticPhotocopy/>
                    </a14:imgEffect>
                  </a14:imgLayer>
                </a14:imgProps>
              </a:ext>
              <a:ext uri="{28A0092B-C50C-407E-A947-70E740481C1C}">
                <a14:useLocalDpi xmlns:a14="http://schemas.microsoft.com/office/drawing/2010/main"/>
              </a:ext>
            </a:extLst>
          </a:blip>
          <a:srcRect/>
          <a:stretch/>
        </p:blipFill>
        <p:spPr>
          <a:xfrm>
            <a:off x="10286286" y="172212"/>
            <a:ext cx="1350978" cy="384721"/>
          </a:xfrm>
          <a:prstGeom prst="rect">
            <a:avLst/>
          </a:prstGeom>
        </p:spPr>
      </p:pic>
    </p:spTree>
    <p:extLst>
      <p:ext uri="{BB962C8B-B14F-4D97-AF65-F5344CB8AC3E}">
        <p14:creationId xmlns:p14="http://schemas.microsoft.com/office/powerpoint/2010/main" val="73216347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1860085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7" name="1. On-page tracker">
            <a:extLst>
              <a:ext uri="{FF2B5EF4-FFF2-40B4-BE49-F238E27FC236}">
                <a16:creationId xmlns:a16="http://schemas.microsoft.com/office/drawing/2014/main" id="{E9E206AB-587F-4AC2-9EF7-AA339899F4B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3" name="Picture 2">
            <a:extLst>
              <a:ext uri="{FF2B5EF4-FFF2-40B4-BE49-F238E27FC236}">
                <a16:creationId xmlns:a16="http://schemas.microsoft.com/office/drawing/2014/main" id="{20A6194B-D920-4DC2-0129-14ED8C243C52}"/>
              </a:ext>
            </a:extLst>
          </p:cNvPr>
          <p:cNvPicPr>
            <a:picLocks/>
          </p:cNvPicPr>
          <p:nvPr userDrawn="1"/>
        </p:nvPicPr>
        <p:blipFill>
          <a:blip r:embed="rId8" cstate="screen">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rcRect/>
          <a:stretch/>
        </p:blipFill>
        <p:spPr>
          <a:xfrm>
            <a:off x="10286286" y="172212"/>
            <a:ext cx="1350978" cy="384721"/>
          </a:xfrm>
          <a:prstGeom prst="rect">
            <a:avLst/>
          </a:prstGeom>
        </p:spPr>
      </p:pic>
    </p:spTree>
    <p:extLst>
      <p:ext uri="{BB962C8B-B14F-4D97-AF65-F5344CB8AC3E}">
        <p14:creationId xmlns:p14="http://schemas.microsoft.com/office/powerpoint/2010/main" val="3196490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1"/>
            </p:custDataLst>
            <p:extLst>
              <p:ext uri="{D42A27DB-BD31-4B8C-83A1-F6EECF244321}">
                <p14:modId xmlns:p14="http://schemas.microsoft.com/office/powerpoint/2010/main" val="778582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DA9CF6F9-3F22-4C1D-8F1F-9500FF4122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5. Source" hidden="1">
            <a:extLst>
              <a:ext uri="{FF2B5EF4-FFF2-40B4-BE49-F238E27FC236}">
                <a16:creationId xmlns:a16="http://schemas.microsoft.com/office/drawing/2014/main" id="{EED9D83D-9CC3-45F3-876D-CC42BC0B70E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pic>
        <p:nvPicPr>
          <p:cNvPr id="5" name="Picture 4">
            <a:extLst>
              <a:ext uri="{FF2B5EF4-FFF2-40B4-BE49-F238E27FC236}">
                <a16:creationId xmlns:a16="http://schemas.microsoft.com/office/drawing/2014/main" id="{515E75E6-BFE1-D136-D373-60C71E0C8F15}"/>
              </a:ext>
            </a:extLst>
          </p:cNvPr>
          <p:cNvPicPr>
            <a:picLocks/>
          </p:cNvPicPr>
          <p:nvPr userDrawn="1"/>
        </p:nvPicPr>
        <p:blipFill>
          <a:blip r:embed="rId6" cstate="screen">
            <a:lum bright="70000" contrast="-70000"/>
            <a:extLst>
              <a:ext uri="{BEBA8EAE-BF5A-486C-A8C5-ECC9F3942E4B}">
                <a14:imgProps xmlns:a14="http://schemas.microsoft.com/office/drawing/2010/main">
                  <a14:imgLayer r:embed="rId7">
                    <a14:imgEffect>
                      <a14:artisticPhotocopy/>
                    </a14:imgEffect>
                  </a14:imgLayer>
                </a14:imgProps>
              </a:ext>
              <a:ext uri="{28A0092B-C50C-407E-A947-70E740481C1C}">
                <a14:useLocalDpi xmlns:a14="http://schemas.microsoft.com/office/drawing/2010/main"/>
              </a:ext>
            </a:extLst>
          </a:blip>
          <a:srcRect/>
          <a:stretch/>
        </p:blipFill>
        <p:spPr>
          <a:xfrm>
            <a:off x="4552050" y="2989326"/>
            <a:ext cx="3087900" cy="879348"/>
          </a:xfrm>
          <a:prstGeom prst="rect">
            <a:avLst/>
          </a:prstGeom>
        </p:spPr>
      </p:pic>
    </p:spTree>
    <p:extLst>
      <p:ext uri="{BB962C8B-B14F-4D97-AF65-F5344CB8AC3E}">
        <p14:creationId xmlns:p14="http://schemas.microsoft.com/office/powerpoint/2010/main" val="3677900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445357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408557"/>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8524986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1956950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0797074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833244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4970631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2746503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nchor="b">
            <a:spAutoFit/>
          </a:bodyPr>
          <a:lstStyle>
            <a:lvl1pPr rtl="0">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4116976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1768476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1EE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BD1E8CEA-59CA-420E-955C-4C9FBA24773C}"/>
              </a:ext>
            </a:extLst>
          </p:cNvPr>
          <p:cNvSpPr>
            <a:spLocks noGrp="1"/>
          </p:cNvSpPr>
          <p:nvPr>
            <p:ph type="title"/>
            <p:custDataLst>
              <p:tags r:id="rId8"/>
            </p:custDataLst>
          </p:nvPr>
        </p:nvSpPr>
        <p:spPr>
          <a:xfrm>
            <a:off x="554736" y="2744369"/>
            <a:ext cx="2514600" cy="769441"/>
          </a:xfrm>
          <a:prstGeom prst="rect">
            <a:avLst/>
          </a:prstGeom>
        </p:spPr>
        <p:txBody>
          <a:bodyPr vert="horz" wrap="square" lIns="0" tIns="0" rIns="0" bIns="0" rtlCol="0" anchor="b" anchorCtr="0">
            <a:noAutofit/>
          </a:bodyPr>
          <a:lstStyle/>
          <a:p>
            <a:pPr lvl="0"/>
            <a:r>
              <a:rPr lang="en-US"/>
              <a:t>Click to edit Master title style</a:t>
            </a:r>
            <a:endParaRPr lang="en-US" dirty="0"/>
          </a:p>
        </p:txBody>
      </p:sp>
      <p:pic>
        <p:nvPicPr>
          <p:cNvPr id="2" name="Picture 1">
            <a:extLst>
              <a:ext uri="{FF2B5EF4-FFF2-40B4-BE49-F238E27FC236}">
                <a16:creationId xmlns:a16="http://schemas.microsoft.com/office/drawing/2014/main" id="{8BA9180E-57DA-3AA5-83B6-956B10A587C3}"/>
              </a:ext>
            </a:extLst>
          </p:cNvPr>
          <p:cNvPicPr>
            <a:picLocks/>
          </p:cNvPicPr>
          <p:nvPr userDrawn="1"/>
        </p:nvPicPr>
        <p:blipFill>
          <a:blip r:embed="rId12" cstate="screen">
            <a:extLst>
              <a:ext uri="{28A0092B-C50C-407E-A947-70E740481C1C}">
                <a14:useLocalDpi xmlns:a14="http://schemas.microsoft.com/office/drawing/2010/main"/>
              </a:ext>
            </a:extLst>
          </a:blip>
          <a:srcRect/>
          <a:stretch/>
        </p:blipFill>
        <p:spPr>
          <a:xfrm>
            <a:off x="10286286" y="172212"/>
            <a:ext cx="1350978" cy="384721"/>
          </a:xfrm>
          <a:prstGeom prst="rect">
            <a:avLst/>
          </a:prstGeom>
        </p:spPr>
      </p:pic>
    </p:spTree>
    <p:extLst>
      <p:ext uri="{BB962C8B-B14F-4D97-AF65-F5344CB8AC3E}">
        <p14:creationId xmlns:p14="http://schemas.microsoft.com/office/powerpoint/2010/main" val="28094160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1973916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1EE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B064DA18-FA54-43C0-B981-F306F40179F4}"/>
              </a:ext>
            </a:extLst>
          </p:cNvPr>
          <p:cNvSpPr>
            <a:spLocks noGrp="1"/>
          </p:cNvSpPr>
          <p:nvPr>
            <p:ph type="title"/>
            <p:custDataLst>
              <p:tags r:id="rId8"/>
            </p:custDataLst>
          </p:nvPr>
        </p:nvSpPr>
        <p:spPr>
          <a:xfrm>
            <a:off x="554736" y="2744369"/>
            <a:ext cx="3465574" cy="769441"/>
          </a:xfrm>
          <a:prstGeom prst="rect">
            <a:avLst/>
          </a:prstGeom>
        </p:spPr>
        <p:txBody>
          <a:bodyPr vert="horz" wrap="square" lIns="0" tIns="0" rIns="0" bIns="0" rtlCol="0" anchor="b" anchorCtr="0">
            <a:noAutofit/>
          </a:bodyPr>
          <a:lstStyle/>
          <a:p>
            <a:pPr lvl="0"/>
            <a:r>
              <a:rPr lang="en-US"/>
              <a:t>Click to edit Master title style</a:t>
            </a:r>
            <a:endParaRPr lang="en-US" dirty="0"/>
          </a:p>
        </p:txBody>
      </p:sp>
      <p:pic>
        <p:nvPicPr>
          <p:cNvPr id="2" name="Picture 1">
            <a:extLst>
              <a:ext uri="{FF2B5EF4-FFF2-40B4-BE49-F238E27FC236}">
                <a16:creationId xmlns:a16="http://schemas.microsoft.com/office/drawing/2014/main" id="{D020C0D8-1387-1951-DFC3-9A6156517764}"/>
              </a:ext>
            </a:extLst>
          </p:cNvPr>
          <p:cNvPicPr>
            <a:picLocks/>
          </p:cNvPicPr>
          <p:nvPr userDrawn="1"/>
        </p:nvPicPr>
        <p:blipFill>
          <a:blip r:embed="rId12" cstate="screen">
            <a:extLst>
              <a:ext uri="{28A0092B-C50C-407E-A947-70E740481C1C}">
                <a14:useLocalDpi xmlns:a14="http://schemas.microsoft.com/office/drawing/2010/main"/>
              </a:ext>
            </a:extLst>
          </a:blip>
          <a:srcRect/>
          <a:stretch/>
        </p:blipFill>
        <p:spPr>
          <a:xfrm>
            <a:off x="10286286" y="172212"/>
            <a:ext cx="1350978" cy="384721"/>
          </a:xfrm>
          <a:prstGeom prst="rect">
            <a:avLst/>
          </a:prstGeom>
        </p:spPr>
      </p:pic>
    </p:spTree>
    <p:extLst>
      <p:ext uri="{BB962C8B-B14F-4D97-AF65-F5344CB8AC3E}">
        <p14:creationId xmlns:p14="http://schemas.microsoft.com/office/powerpoint/2010/main" val="257509887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9.xml"/><Relationship Id="rId39" Type="http://schemas.openxmlformats.org/officeDocument/2006/relationships/oleObject" Target="../embeddings/oleObject1.bin"/><Relationship Id="rId21" Type="http://schemas.openxmlformats.org/officeDocument/2006/relationships/tags" Target="../tags/tag4.xml"/><Relationship Id="rId34" Type="http://schemas.openxmlformats.org/officeDocument/2006/relationships/tags" Target="../tags/tag17.xml"/><Relationship Id="rId42" Type="http://schemas.openxmlformats.org/officeDocument/2006/relationships/image" Target="../media/image3.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29" Type="http://schemas.openxmlformats.org/officeDocument/2006/relationships/tags" Target="../tags/tag12.xml"/><Relationship Id="rId41"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32" Type="http://schemas.openxmlformats.org/officeDocument/2006/relationships/tags" Target="../tags/tag15.xml"/><Relationship Id="rId37" Type="http://schemas.openxmlformats.org/officeDocument/2006/relationships/tags" Target="../tags/tag20.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28" Type="http://schemas.openxmlformats.org/officeDocument/2006/relationships/tags" Target="../tags/tag11.xml"/><Relationship Id="rId36" Type="http://schemas.openxmlformats.org/officeDocument/2006/relationships/tags" Target="../tags/tag19.xml"/><Relationship Id="rId10" Type="http://schemas.openxmlformats.org/officeDocument/2006/relationships/slideLayout" Target="../slideLayouts/slideLayout10.xml"/><Relationship Id="rId19" Type="http://schemas.openxmlformats.org/officeDocument/2006/relationships/tags" Target="../tags/tag2.xml"/><Relationship Id="rId31" Type="http://schemas.openxmlformats.org/officeDocument/2006/relationships/tags" Target="../tags/tag1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 Id="rId27" Type="http://schemas.openxmlformats.org/officeDocument/2006/relationships/tags" Target="../tags/tag10.xml"/><Relationship Id="rId30" Type="http://schemas.openxmlformats.org/officeDocument/2006/relationships/tags" Target="../tags/tag13.xml"/><Relationship Id="rId35" Type="http://schemas.openxmlformats.org/officeDocument/2006/relationships/tags" Target="../tags/tag18.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8.xml"/><Relationship Id="rId33" Type="http://schemas.openxmlformats.org/officeDocument/2006/relationships/tags" Target="../tags/tag16.xml"/><Relationship Id="rId38" Type="http://schemas.openxmlformats.org/officeDocument/2006/relationships/tags" Target="../tags/tag2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0.xml"/><Relationship Id="rId18" Type="http://schemas.openxmlformats.org/officeDocument/2006/relationships/slideLayout" Target="../slideLayouts/slideLayout35.xml"/><Relationship Id="rId26" Type="http://schemas.openxmlformats.org/officeDocument/2006/relationships/tags" Target="../tags/tag124.xml"/><Relationship Id="rId39" Type="http://schemas.openxmlformats.org/officeDocument/2006/relationships/tags" Target="../tags/tag137.xml"/><Relationship Id="rId21" Type="http://schemas.openxmlformats.org/officeDocument/2006/relationships/tags" Target="../tags/tag119.xml"/><Relationship Id="rId34" Type="http://schemas.openxmlformats.org/officeDocument/2006/relationships/tags" Target="../tags/tag132.xml"/><Relationship Id="rId42" Type="http://schemas.openxmlformats.org/officeDocument/2006/relationships/image" Target="../media/image8.png"/><Relationship Id="rId7" Type="http://schemas.openxmlformats.org/officeDocument/2006/relationships/slideLayout" Target="../slideLayouts/slideLayout2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9" Type="http://schemas.openxmlformats.org/officeDocument/2006/relationships/tags" Target="../tags/tag127.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tags" Target="../tags/tag122.xml"/><Relationship Id="rId32" Type="http://schemas.openxmlformats.org/officeDocument/2006/relationships/tags" Target="../tags/tag130.xml"/><Relationship Id="rId37" Type="http://schemas.openxmlformats.org/officeDocument/2006/relationships/tags" Target="../tags/tag135.xml"/><Relationship Id="rId40" Type="http://schemas.openxmlformats.org/officeDocument/2006/relationships/oleObject" Target="../embeddings/oleObject17.bin"/><Relationship Id="rId45" Type="http://schemas.microsoft.com/office/2007/relationships/hdphoto" Target="../media/hdphoto2.wdp"/><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tags" Target="../tags/tag121.xml"/><Relationship Id="rId28" Type="http://schemas.openxmlformats.org/officeDocument/2006/relationships/tags" Target="../tags/tag126.xml"/><Relationship Id="rId36" Type="http://schemas.openxmlformats.org/officeDocument/2006/relationships/tags" Target="../tags/tag134.xml"/><Relationship Id="rId10" Type="http://schemas.openxmlformats.org/officeDocument/2006/relationships/slideLayout" Target="../slideLayouts/slideLayout27.xml"/><Relationship Id="rId19" Type="http://schemas.openxmlformats.org/officeDocument/2006/relationships/theme" Target="../theme/theme2.xml"/><Relationship Id="rId31" Type="http://schemas.openxmlformats.org/officeDocument/2006/relationships/tags" Target="../tags/tag129.xml"/><Relationship Id="rId44" Type="http://schemas.openxmlformats.org/officeDocument/2006/relationships/image" Target="../media/image9.png"/><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tags" Target="../tags/tag120.xml"/><Relationship Id="rId27" Type="http://schemas.openxmlformats.org/officeDocument/2006/relationships/tags" Target="../tags/tag125.xml"/><Relationship Id="rId30" Type="http://schemas.openxmlformats.org/officeDocument/2006/relationships/tags" Target="../tags/tag128.xml"/><Relationship Id="rId35" Type="http://schemas.openxmlformats.org/officeDocument/2006/relationships/tags" Target="../tags/tag133.xml"/><Relationship Id="rId43" Type="http://schemas.microsoft.com/office/2007/relationships/hdphoto" Target="../media/hdphoto1.wdp"/><Relationship Id="rId8" Type="http://schemas.openxmlformats.org/officeDocument/2006/relationships/slideLayout" Target="../slideLayouts/slideLayout25.xml"/><Relationship Id="rId3" Type="http://schemas.openxmlformats.org/officeDocument/2006/relationships/slideLayout" Target="../slideLayouts/slideLayout20.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tags" Target="../tags/tag123.xml"/><Relationship Id="rId33" Type="http://schemas.openxmlformats.org/officeDocument/2006/relationships/tags" Target="../tags/tag131.xml"/><Relationship Id="rId38" Type="http://schemas.openxmlformats.org/officeDocument/2006/relationships/tags" Target="../tags/tag136.xml"/><Relationship Id="rId20" Type="http://schemas.openxmlformats.org/officeDocument/2006/relationships/tags" Target="../tags/tag118.xml"/><Relationship Id="rId41" Type="http://schemas.openxmlformats.org/officeDocument/2006/relationships/image" Target="../media/image4.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9"/>
            </p:custDataLst>
            <p:extLst>
              <p:ext uri="{D42A27DB-BD31-4B8C-83A1-F6EECF244321}">
                <p14:modId xmlns:p14="http://schemas.microsoft.com/office/powerpoint/2010/main" val="1774080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413" imgH="416" progId="TCLayout.ActiveDocument.1">
                  <p:embed/>
                </p:oleObj>
              </mc:Choice>
              <mc:Fallback>
                <p:oleObj name="think-cell Slide" r:id="rId3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0"/>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grpSp>
        <p:nvGrpSpPr>
          <p:cNvPr id="170" name="Grid" hidden="1">
            <a:extLst>
              <a:ext uri="{FF2B5EF4-FFF2-40B4-BE49-F238E27FC236}">
                <a16:creationId xmlns:a16="http://schemas.microsoft.com/office/drawing/2014/main" id="{3BBFEB30-B5C9-4D5C-9A82-066C6BF363E3}"/>
              </a:ext>
            </a:extLst>
          </p:cNvPr>
          <p:cNvGrpSpPr/>
          <p:nvPr userDrawn="1"/>
        </p:nvGrpSpPr>
        <p:grpSpPr>
          <a:xfrm>
            <a:off x="0" y="0"/>
            <a:ext cx="12190476" cy="6858000"/>
            <a:chOff x="0" y="0"/>
            <a:chExt cx="12190476" cy="6858000"/>
          </a:xfrm>
        </p:grpSpPr>
        <p:sp>
          <p:nvSpPr>
            <p:cNvPr id="171" name="Freeform: Shape 170">
              <a:extLst>
                <a:ext uri="{FF2B5EF4-FFF2-40B4-BE49-F238E27FC236}">
                  <a16:creationId xmlns:a16="http://schemas.microsoft.com/office/drawing/2014/main" id="{950B3518-D8B6-4062-A4CE-0C1A1A286FE1}"/>
                </a:ext>
              </a:extLst>
            </p:cNvPr>
            <p:cNvSpPr/>
            <p:nvPr userDrawn="1"/>
          </p:nvSpPr>
          <p:spPr bwMode="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172" name="Freeform: Shape 171">
              <a:extLst>
                <a:ext uri="{FF2B5EF4-FFF2-40B4-BE49-F238E27FC236}">
                  <a16:creationId xmlns:a16="http://schemas.microsoft.com/office/drawing/2014/main" id="{EC45F528-EF91-4619-AF16-5D11F63D2FFC}"/>
                </a:ext>
              </a:extLst>
            </p:cNvPr>
            <p:cNvSpPr/>
            <p:nvPr/>
          </p:nvSpPr>
          <p:spPr bwMode="gray">
            <a:xfrm>
              <a:off x="1524" y="0"/>
              <a:ext cx="12188952" cy="6858000"/>
            </a:xfrm>
            <a:custGeom>
              <a:avLst/>
              <a:gdLst>
                <a:gd name="connsiteX0" fmla="*/ 553212 w 12188952"/>
                <a:gd name="connsiteY0" fmla="*/ 1405610 h 6858000"/>
                <a:gd name="connsiteX1" fmla="*/ 553212 w 12188952"/>
                <a:gd name="connsiteY1" fmla="*/ 1709928 h 6858000"/>
                <a:gd name="connsiteX2" fmla="*/ 551868 w 12188952"/>
                <a:gd name="connsiteY2" fmla="*/ 1709928 h 6858000"/>
                <a:gd name="connsiteX3" fmla="*/ 551868 w 12188952"/>
                <a:gd name="connsiteY3" fmla="*/ 6217920 h 6858000"/>
                <a:gd name="connsiteX4" fmla="*/ 553212 w 12188952"/>
                <a:gd name="connsiteY4" fmla="*/ 6217920 h 6858000"/>
                <a:gd name="connsiteX5" fmla="*/ 11635740 w 12188952"/>
                <a:gd name="connsiteY5" fmla="*/ 6217920 h 6858000"/>
                <a:gd name="connsiteX6" fmla="*/ 11636196 w 12188952"/>
                <a:gd name="connsiteY6" fmla="*/ 6217920 h 6858000"/>
                <a:gd name="connsiteX7" fmla="*/ 11636196 w 12188952"/>
                <a:gd name="connsiteY7" fmla="*/ 1709928 h 6858000"/>
                <a:gd name="connsiteX8" fmla="*/ 11635740 w 12188952"/>
                <a:gd name="connsiteY8" fmla="*/ 1709928 h 6858000"/>
                <a:gd name="connsiteX9" fmla="*/ 11635740 w 12188952"/>
                <a:gd name="connsiteY9" fmla="*/ 1405610 h 6858000"/>
                <a:gd name="connsiteX10" fmla="*/ 0 w 12188952"/>
                <a:gd name="connsiteY10" fmla="*/ 0 h 6858000"/>
                <a:gd name="connsiteX11" fmla="*/ 12188952 w 12188952"/>
                <a:gd name="connsiteY11" fmla="*/ 0 h 6858000"/>
                <a:gd name="connsiteX12" fmla="*/ 12188952 w 12188952"/>
                <a:gd name="connsiteY12" fmla="*/ 6858000 h 6858000"/>
                <a:gd name="connsiteX13" fmla="*/ 0 w 12188952"/>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8952" h="6858000">
                  <a:moveTo>
                    <a:pt x="553212" y="1405610"/>
                  </a:moveTo>
                  <a:lnTo>
                    <a:pt x="553212" y="1709928"/>
                  </a:lnTo>
                  <a:lnTo>
                    <a:pt x="551868" y="1709928"/>
                  </a:lnTo>
                  <a:lnTo>
                    <a:pt x="551868" y="6217920"/>
                  </a:lnTo>
                  <a:lnTo>
                    <a:pt x="553212" y="6217920"/>
                  </a:lnTo>
                  <a:lnTo>
                    <a:pt x="11635740" y="6217920"/>
                  </a:lnTo>
                  <a:lnTo>
                    <a:pt x="11636196" y="6217920"/>
                  </a:lnTo>
                  <a:lnTo>
                    <a:pt x="11636196" y="1709928"/>
                  </a:lnTo>
                  <a:lnTo>
                    <a:pt x="11635740" y="1709928"/>
                  </a:lnTo>
                  <a:lnTo>
                    <a:pt x="11635740" y="1405610"/>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rtl="0"/>
              <a:endParaRPr lang="en-US" dirty="0">
                <a:solidFill>
                  <a:schemeClr val="tx1"/>
                </a:solidFill>
                <a:latin typeface="+mn-lt"/>
              </a:endParaRPr>
            </a:p>
          </p:txBody>
        </p:sp>
        <p:cxnSp>
          <p:nvCxnSpPr>
            <p:cNvPr id="173" name="Straight Connector 172">
              <a:extLst>
                <a:ext uri="{FF2B5EF4-FFF2-40B4-BE49-F238E27FC236}">
                  <a16:creationId xmlns:a16="http://schemas.microsoft.com/office/drawing/2014/main" id="{77ABF7BA-0428-4141-8351-03A2727DECBD}"/>
                </a:ext>
              </a:extLst>
            </p:cNvPr>
            <p:cNvCxnSpPr/>
            <p:nvPr/>
          </p:nvCxnSpPr>
          <p:spPr bwMode="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94EB93D9-2FE5-4212-8DB4-7A0327E33766}"/>
                </a:ext>
              </a:extLst>
            </p:cNvPr>
            <p:cNvCxnSpPr/>
            <p:nvPr/>
          </p:nvCxnSpPr>
          <p:spPr bwMode="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C2F34081-E688-4287-A553-264328F1E1E1}"/>
                </a:ext>
              </a:extLst>
            </p:cNvPr>
            <p:cNvCxnSpPr/>
            <p:nvPr/>
          </p:nvCxnSpPr>
          <p:spPr bwMode="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6868CDEE-044B-4D04-A5D3-6A526BE51179}"/>
                </a:ext>
              </a:extLst>
            </p:cNvPr>
            <p:cNvCxnSpPr/>
            <p:nvPr/>
          </p:nvCxnSpPr>
          <p:spPr bwMode="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0100C653-5CFA-4B3C-BD97-47499B419B53}"/>
                </a:ext>
              </a:extLst>
            </p:cNvPr>
            <p:cNvCxnSpPr/>
            <p:nvPr/>
          </p:nvCxnSpPr>
          <p:spPr bwMode="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F21F5AB2-1154-4ACD-832F-CB2539EE783F}"/>
                </a:ext>
              </a:extLst>
            </p:cNvPr>
            <p:cNvCxnSpPr/>
            <p:nvPr/>
          </p:nvCxnSpPr>
          <p:spPr bwMode="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466910D2-AFA9-4FD1-8D04-D99BB3645452}"/>
                </a:ext>
              </a:extLst>
            </p:cNvPr>
            <p:cNvCxnSpPr/>
            <p:nvPr/>
          </p:nvCxnSpPr>
          <p:spPr bwMode="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1769A11B-0399-4716-A212-6F179313A427}"/>
                </a:ext>
              </a:extLst>
            </p:cNvPr>
            <p:cNvCxnSpPr/>
            <p:nvPr/>
          </p:nvCxnSpPr>
          <p:spPr bwMode="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2CB3272D-021B-49B8-92A5-D1DEB3202AE0}"/>
                </a:ext>
              </a:extLst>
            </p:cNvPr>
            <p:cNvCxnSpPr/>
            <p:nvPr/>
          </p:nvCxnSpPr>
          <p:spPr bwMode="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61701AE9-04C5-4AD4-8DEE-873680FD231F}"/>
                </a:ext>
              </a:extLst>
            </p:cNvPr>
            <p:cNvCxnSpPr/>
            <p:nvPr/>
          </p:nvCxnSpPr>
          <p:spPr bwMode="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4050D91B-89C3-45DE-BE0C-1430E2BE6F4B}"/>
                </a:ext>
              </a:extLst>
            </p:cNvPr>
            <p:cNvCxnSpPr/>
            <p:nvPr/>
          </p:nvCxnSpPr>
          <p:spPr bwMode="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68E5EF5D-0D94-4FCE-8BE2-F0790F7B1879}"/>
                </a:ext>
              </a:extLst>
            </p:cNvPr>
            <p:cNvCxnSpPr/>
            <p:nvPr/>
          </p:nvCxnSpPr>
          <p:spPr bwMode="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203" name="Freeform: Shape 202">
              <a:extLst>
                <a:ext uri="{FF2B5EF4-FFF2-40B4-BE49-F238E27FC236}">
                  <a16:creationId xmlns:a16="http://schemas.microsoft.com/office/drawing/2014/main" id="{205F8351-710E-49E9-A523-EA0755B417C5}"/>
                </a:ext>
              </a:extLst>
            </p:cNvPr>
            <p:cNvSpPr/>
            <p:nvPr/>
          </p:nvSpPr>
          <p:spPr bwMode="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4" name="Freeform: Shape 203">
              <a:extLst>
                <a:ext uri="{FF2B5EF4-FFF2-40B4-BE49-F238E27FC236}">
                  <a16:creationId xmlns:a16="http://schemas.microsoft.com/office/drawing/2014/main" id="{47C1C31B-A122-4A09-9500-27B0684B272F}"/>
                </a:ext>
              </a:extLst>
            </p:cNvPr>
            <p:cNvSpPr/>
            <p:nvPr/>
          </p:nvSpPr>
          <p:spPr bwMode="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5" name="Freeform: Shape 204">
              <a:extLst>
                <a:ext uri="{FF2B5EF4-FFF2-40B4-BE49-F238E27FC236}">
                  <a16:creationId xmlns:a16="http://schemas.microsoft.com/office/drawing/2014/main" id="{7DF86859-7D4B-4DA1-91AA-0992644F5903}"/>
                </a:ext>
              </a:extLst>
            </p:cNvPr>
            <p:cNvSpPr/>
            <p:nvPr/>
          </p:nvSpPr>
          <p:spPr bwMode="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6" name="Freeform: Shape 205">
              <a:extLst>
                <a:ext uri="{FF2B5EF4-FFF2-40B4-BE49-F238E27FC236}">
                  <a16:creationId xmlns:a16="http://schemas.microsoft.com/office/drawing/2014/main" id="{3DC3E9CA-569C-4414-A75A-C805A4A40B64}"/>
                </a:ext>
              </a:extLst>
            </p:cNvPr>
            <p:cNvSpPr/>
            <p:nvPr/>
          </p:nvSpPr>
          <p:spPr bwMode="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7" name="Freeform: Shape 206">
              <a:extLst>
                <a:ext uri="{FF2B5EF4-FFF2-40B4-BE49-F238E27FC236}">
                  <a16:creationId xmlns:a16="http://schemas.microsoft.com/office/drawing/2014/main" id="{B532C466-D8D3-43AC-995C-2B54885AC096}"/>
                </a:ext>
              </a:extLst>
            </p:cNvPr>
            <p:cNvSpPr/>
            <p:nvPr/>
          </p:nvSpPr>
          <p:spPr bwMode="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8" name="Freeform: Shape 207">
              <a:extLst>
                <a:ext uri="{FF2B5EF4-FFF2-40B4-BE49-F238E27FC236}">
                  <a16:creationId xmlns:a16="http://schemas.microsoft.com/office/drawing/2014/main" id="{B0920AE1-B909-471F-9E77-7C3A31509F84}"/>
                </a:ext>
              </a:extLst>
            </p:cNvPr>
            <p:cNvSpPr/>
            <p:nvPr/>
          </p:nvSpPr>
          <p:spPr bwMode="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9" name="Freeform: Shape 208">
              <a:extLst>
                <a:ext uri="{FF2B5EF4-FFF2-40B4-BE49-F238E27FC236}">
                  <a16:creationId xmlns:a16="http://schemas.microsoft.com/office/drawing/2014/main" id="{2A1E8190-F3C6-4BF7-97E3-90F3FC84746E}"/>
                </a:ext>
              </a:extLst>
            </p:cNvPr>
            <p:cNvSpPr/>
            <p:nvPr/>
          </p:nvSpPr>
          <p:spPr bwMode="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0" name="Freeform: Shape 209">
              <a:extLst>
                <a:ext uri="{FF2B5EF4-FFF2-40B4-BE49-F238E27FC236}">
                  <a16:creationId xmlns:a16="http://schemas.microsoft.com/office/drawing/2014/main" id="{33B1FC28-C9D6-4928-BCCE-9873C7DEEFDE}"/>
                </a:ext>
              </a:extLst>
            </p:cNvPr>
            <p:cNvSpPr/>
            <p:nvPr/>
          </p:nvSpPr>
          <p:spPr bwMode="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1" name="Freeform: Shape 210">
              <a:extLst>
                <a:ext uri="{FF2B5EF4-FFF2-40B4-BE49-F238E27FC236}">
                  <a16:creationId xmlns:a16="http://schemas.microsoft.com/office/drawing/2014/main" id="{13C9C1F2-E745-44A5-AEA3-9DE0D69F2B15}"/>
                </a:ext>
              </a:extLst>
            </p:cNvPr>
            <p:cNvSpPr/>
            <p:nvPr/>
          </p:nvSpPr>
          <p:spPr bwMode="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2" name="Freeform: Shape 211">
              <a:extLst>
                <a:ext uri="{FF2B5EF4-FFF2-40B4-BE49-F238E27FC236}">
                  <a16:creationId xmlns:a16="http://schemas.microsoft.com/office/drawing/2014/main" id="{3F7DB9B8-09EF-46A7-9839-EE0FA8E11651}"/>
                </a:ext>
              </a:extLst>
            </p:cNvPr>
            <p:cNvSpPr/>
            <p:nvPr/>
          </p:nvSpPr>
          <p:spPr bwMode="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3" name="Freeform: Shape 212">
              <a:extLst>
                <a:ext uri="{FF2B5EF4-FFF2-40B4-BE49-F238E27FC236}">
                  <a16:creationId xmlns:a16="http://schemas.microsoft.com/office/drawing/2014/main" id="{759DC929-939A-40DF-96D2-82427AD8E191}"/>
                </a:ext>
              </a:extLst>
            </p:cNvPr>
            <p:cNvSpPr/>
            <p:nvPr/>
          </p:nvSpPr>
          <p:spPr bwMode="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4" name="Freeform: Shape 213">
              <a:extLst>
                <a:ext uri="{FF2B5EF4-FFF2-40B4-BE49-F238E27FC236}">
                  <a16:creationId xmlns:a16="http://schemas.microsoft.com/office/drawing/2014/main" id="{71E475EA-3BCA-4BD2-9129-0A15F92784B0}"/>
                </a:ext>
              </a:extLst>
            </p:cNvPr>
            <p:cNvSpPr/>
            <p:nvPr/>
          </p:nvSpPr>
          <p:spPr bwMode="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5" name="Freeform: Shape 214">
              <a:extLst>
                <a:ext uri="{FF2B5EF4-FFF2-40B4-BE49-F238E27FC236}">
                  <a16:creationId xmlns:a16="http://schemas.microsoft.com/office/drawing/2014/main" id="{B58358D8-4286-4ED9-A0FF-82879D8C9183}"/>
                </a:ext>
              </a:extLst>
            </p:cNvPr>
            <p:cNvSpPr/>
            <p:nvPr/>
          </p:nvSpPr>
          <p:spPr bwMode="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6" name="Freeform: Shape 215">
              <a:extLst>
                <a:ext uri="{FF2B5EF4-FFF2-40B4-BE49-F238E27FC236}">
                  <a16:creationId xmlns:a16="http://schemas.microsoft.com/office/drawing/2014/main" id="{07E8672D-5A21-4EE8-8FA5-FBB35E3AF6F8}"/>
                </a:ext>
              </a:extLst>
            </p:cNvPr>
            <p:cNvSpPr/>
            <p:nvPr/>
          </p:nvSpPr>
          <p:spPr bwMode="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7" name="Freeform: Shape 216">
              <a:extLst>
                <a:ext uri="{FF2B5EF4-FFF2-40B4-BE49-F238E27FC236}">
                  <a16:creationId xmlns:a16="http://schemas.microsoft.com/office/drawing/2014/main" id="{FA059A59-9BBE-4F86-862A-48E139D1EE64}"/>
                </a:ext>
              </a:extLst>
            </p:cNvPr>
            <p:cNvSpPr/>
            <p:nvPr userDrawn="1"/>
          </p:nvSpPr>
          <p:spPr bwMode="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8" name="Freeform: Shape 217">
              <a:extLst>
                <a:ext uri="{FF2B5EF4-FFF2-40B4-BE49-F238E27FC236}">
                  <a16:creationId xmlns:a16="http://schemas.microsoft.com/office/drawing/2014/main" id="{55CF5402-4FC2-4420-ABC5-BBFA3EA9D203}"/>
                </a:ext>
              </a:extLst>
            </p:cNvPr>
            <p:cNvSpPr/>
            <p:nvPr userDrawn="1"/>
          </p:nvSpPr>
          <p:spPr bwMode="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9" name="Freeform: Shape 218">
              <a:extLst>
                <a:ext uri="{FF2B5EF4-FFF2-40B4-BE49-F238E27FC236}">
                  <a16:creationId xmlns:a16="http://schemas.microsoft.com/office/drawing/2014/main" id="{10BB1258-8102-4E47-BE2F-816FBB6BA408}"/>
                </a:ext>
              </a:extLst>
            </p:cNvPr>
            <p:cNvSpPr/>
            <p:nvPr userDrawn="1"/>
          </p:nvSpPr>
          <p:spPr bwMode="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0" name="Freeform: Shape 219">
              <a:extLst>
                <a:ext uri="{FF2B5EF4-FFF2-40B4-BE49-F238E27FC236}">
                  <a16:creationId xmlns:a16="http://schemas.microsoft.com/office/drawing/2014/main" id="{B270BD53-6742-47F1-853C-FA770237F3FD}"/>
                </a:ext>
              </a:extLst>
            </p:cNvPr>
            <p:cNvSpPr/>
            <p:nvPr userDrawn="1"/>
          </p:nvSpPr>
          <p:spPr bwMode="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1" name="Freeform: Shape 220">
              <a:extLst>
                <a:ext uri="{FF2B5EF4-FFF2-40B4-BE49-F238E27FC236}">
                  <a16:creationId xmlns:a16="http://schemas.microsoft.com/office/drawing/2014/main" id="{3395B319-4702-4CD9-838C-C0612B6879BC}"/>
                </a:ext>
              </a:extLst>
            </p:cNvPr>
            <p:cNvSpPr/>
            <p:nvPr userDrawn="1"/>
          </p:nvSpPr>
          <p:spPr bwMode="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2" name="Freeform: Shape 221">
              <a:extLst>
                <a:ext uri="{FF2B5EF4-FFF2-40B4-BE49-F238E27FC236}">
                  <a16:creationId xmlns:a16="http://schemas.microsoft.com/office/drawing/2014/main" id="{AE5E70F1-247D-4F01-A473-C5A9226BCADC}"/>
                </a:ext>
              </a:extLst>
            </p:cNvPr>
            <p:cNvSpPr/>
            <p:nvPr userDrawn="1"/>
          </p:nvSpPr>
          <p:spPr bwMode="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3" name="Freeform: Shape 222">
              <a:extLst>
                <a:ext uri="{FF2B5EF4-FFF2-40B4-BE49-F238E27FC236}">
                  <a16:creationId xmlns:a16="http://schemas.microsoft.com/office/drawing/2014/main" id="{732858E4-B133-4A91-9BCA-BF80F093194A}"/>
                </a:ext>
              </a:extLst>
            </p:cNvPr>
            <p:cNvSpPr/>
            <p:nvPr userDrawn="1"/>
          </p:nvSpPr>
          <p:spPr bwMode="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4" name="Freeform: Shape 223">
              <a:extLst>
                <a:ext uri="{FF2B5EF4-FFF2-40B4-BE49-F238E27FC236}">
                  <a16:creationId xmlns:a16="http://schemas.microsoft.com/office/drawing/2014/main" id="{027DED92-EF7A-4687-A1A4-BDAA2F1EAF12}"/>
                </a:ext>
              </a:extLst>
            </p:cNvPr>
            <p:cNvSpPr/>
            <p:nvPr userDrawn="1"/>
          </p:nvSpPr>
          <p:spPr bwMode="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5" name="Freeform: Shape 224">
              <a:extLst>
                <a:ext uri="{FF2B5EF4-FFF2-40B4-BE49-F238E27FC236}">
                  <a16:creationId xmlns:a16="http://schemas.microsoft.com/office/drawing/2014/main" id="{53D72483-35F2-49AC-989D-0E1BC8456803}"/>
                </a:ext>
              </a:extLst>
            </p:cNvPr>
            <p:cNvSpPr/>
            <p:nvPr userDrawn="1"/>
          </p:nvSpPr>
          <p:spPr bwMode="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6" name="Freeform: Shape 225">
              <a:extLst>
                <a:ext uri="{FF2B5EF4-FFF2-40B4-BE49-F238E27FC236}">
                  <a16:creationId xmlns:a16="http://schemas.microsoft.com/office/drawing/2014/main" id="{2DD2F54E-53A3-49F6-905E-B0F8E1348C8E}"/>
                </a:ext>
              </a:extLst>
            </p:cNvPr>
            <p:cNvSpPr/>
            <p:nvPr userDrawn="1"/>
          </p:nvSpPr>
          <p:spPr bwMode="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227" name="Straight Connector 226">
              <a:extLst>
                <a:ext uri="{FF2B5EF4-FFF2-40B4-BE49-F238E27FC236}">
                  <a16:creationId xmlns:a16="http://schemas.microsoft.com/office/drawing/2014/main" id="{557A01EE-7FB2-4BA0-B35A-2F95546E4624}"/>
                </a:ext>
              </a:extLst>
            </p:cNvPr>
            <p:cNvCxnSpPr/>
            <p:nvPr userDrawn="1"/>
          </p:nvCxnSpPr>
          <p:spPr bwMode="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7FC1C45B-2B29-4A42-8D4B-721F68CA1348}"/>
                </a:ext>
              </a:extLst>
            </p:cNvPr>
            <p:cNvCxnSpPr/>
            <p:nvPr userDrawn="1"/>
          </p:nvCxnSpPr>
          <p:spPr bwMode="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B1A27E92-9270-4990-A7E0-13762B5DCF31}"/>
                </a:ext>
              </a:extLst>
            </p:cNvPr>
            <p:cNvCxnSpPr/>
            <p:nvPr userDrawn="1"/>
          </p:nvCxnSpPr>
          <p:spPr bwMode="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9F46154D-791B-4F7D-8E1C-E15CD03A29AA}"/>
                </a:ext>
              </a:extLst>
            </p:cNvPr>
            <p:cNvCxnSpPr/>
            <p:nvPr userDrawn="1"/>
          </p:nvCxnSpPr>
          <p:spPr bwMode="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C9B4B757-25C9-484E-A4FE-A49FBA3319A4}"/>
                </a:ext>
              </a:extLst>
            </p:cNvPr>
            <p:cNvCxnSpPr/>
            <p:nvPr userDrawn="1"/>
          </p:nvCxnSpPr>
          <p:spPr bwMode="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75535B4E-91AD-45A5-B3C9-3699892DFD15}"/>
                </a:ext>
              </a:extLst>
            </p:cNvPr>
            <p:cNvCxnSpPr/>
            <p:nvPr userDrawn="1"/>
          </p:nvCxnSpPr>
          <p:spPr bwMode="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BB8DA04A-5D80-45BB-8266-4A4ECB242742}"/>
                </a:ext>
              </a:extLst>
            </p:cNvPr>
            <p:cNvCxnSpPr/>
            <p:nvPr userDrawn="1"/>
          </p:nvCxnSpPr>
          <p:spPr bwMode="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E5E52966-F7BC-421A-9050-FFBE6C9FDFFC}"/>
                </a:ext>
              </a:extLst>
            </p:cNvPr>
            <p:cNvCxnSpPr/>
            <p:nvPr userDrawn="1"/>
          </p:nvCxnSpPr>
          <p:spPr bwMode="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27183FD6-ADDC-4DBA-AD69-7D5A08920C83}"/>
                </a:ext>
              </a:extLst>
            </p:cNvPr>
            <p:cNvCxnSpPr/>
            <p:nvPr userDrawn="1"/>
          </p:nvCxnSpPr>
          <p:spPr bwMode="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3B1C3B52-250A-482D-AE65-9AAC3A76868D}"/>
                </a:ext>
              </a:extLst>
            </p:cNvPr>
            <p:cNvCxnSpPr/>
            <p:nvPr userDrawn="1"/>
          </p:nvCxnSpPr>
          <p:spPr bwMode="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3AB6E369-DE4F-4AA3-9B2B-FD9286DC14EB}"/>
                </a:ext>
              </a:extLst>
            </p:cNvPr>
            <p:cNvCxnSpPr/>
            <p:nvPr userDrawn="1"/>
          </p:nvCxnSpPr>
          <p:spPr bwMode="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02D96B38-98DE-4984-BD84-08887A144206}"/>
                </a:ext>
              </a:extLst>
            </p:cNvPr>
            <p:cNvCxnSpPr/>
            <p:nvPr userDrawn="1"/>
          </p:nvCxnSpPr>
          <p:spPr bwMode="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2A47B8B7-112A-4075-B20A-90A845CE256B}"/>
                </a:ext>
              </a:extLst>
            </p:cNvPr>
            <p:cNvCxnSpPr/>
            <p:nvPr userDrawn="1"/>
          </p:nvCxnSpPr>
          <p:spPr bwMode="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0FEBE3CB-E087-4212-96D5-920E5C903EF2}"/>
                </a:ext>
              </a:extLst>
            </p:cNvPr>
            <p:cNvCxnSpPr/>
            <p:nvPr userDrawn="1"/>
          </p:nvCxnSpPr>
          <p:spPr bwMode="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3686B76C-7301-4C4A-B5BE-0AFF241FAEB0}"/>
                </a:ext>
              </a:extLst>
            </p:cNvPr>
            <p:cNvCxnSpPr/>
            <p:nvPr userDrawn="1"/>
          </p:nvCxnSpPr>
          <p:spPr bwMode="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2B029B6E-808D-40CF-A2D1-AADA131A0D00}"/>
                </a:ext>
              </a:extLst>
            </p:cNvPr>
            <p:cNvCxnSpPr/>
            <p:nvPr userDrawn="1"/>
          </p:nvCxnSpPr>
          <p:spPr bwMode="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8705E053-FBF3-4534-A74B-EC16CC92EE77}"/>
                </a:ext>
              </a:extLst>
            </p:cNvPr>
            <p:cNvCxnSpPr/>
            <p:nvPr userDrawn="1"/>
          </p:nvCxnSpPr>
          <p:spPr bwMode="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BE0E44BE-C4B0-46A9-A59B-A43157B927C1}"/>
                </a:ext>
              </a:extLst>
            </p:cNvPr>
            <p:cNvCxnSpPr/>
            <p:nvPr userDrawn="1"/>
          </p:nvCxnSpPr>
          <p:spPr bwMode="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9B09A95B-D404-461F-A093-7C895E3A741F}"/>
                </a:ext>
              </a:extLst>
            </p:cNvPr>
            <p:cNvCxnSpPr/>
            <p:nvPr userDrawn="1"/>
          </p:nvCxnSpPr>
          <p:spPr bwMode="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A79A7095-2656-44EB-B0A3-4271C7264720}"/>
                </a:ext>
              </a:extLst>
            </p:cNvPr>
            <p:cNvCxnSpPr/>
            <p:nvPr userDrawn="1"/>
          </p:nvCxnSpPr>
          <p:spPr bwMode="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BA4BC595-5B69-4C71-A5EC-2940C48186D2}"/>
                </a:ext>
              </a:extLst>
            </p:cNvPr>
            <p:cNvCxnSpPr/>
            <p:nvPr userDrawn="1"/>
          </p:nvCxnSpPr>
          <p:spPr bwMode="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97474A32-631C-4FA8-B250-D9C17610DA92}"/>
                </a:ext>
              </a:extLst>
            </p:cNvPr>
            <p:cNvCxnSpPr/>
            <p:nvPr userDrawn="1"/>
          </p:nvCxnSpPr>
          <p:spPr bwMode="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4FA397D1-2FFD-4719-93E4-17828F08EC1D}"/>
                </a:ext>
              </a:extLst>
            </p:cNvPr>
            <p:cNvCxnSpPr/>
            <p:nvPr userDrawn="1"/>
          </p:nvCxnSpPr>
          <p:spPr bwMode="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12CDBCAF-60C0-40A4-97EA-7B190F17D13D}"/>
                </a:ext>
              </a:extLst>
            </p:cNvPr>
            <p:cNvCxnSpPr/>
            <p:nvPr userDrawn="1"/>
          </p:nvCxnSpPr>
          <p:spPr bwMode="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88614279-F6F1-4779-A908-BEF080C471AB}"/>
                </a:ext>
              </a:extLst>
            </p:cNvPr>
            <p:cNvCxnSpPr/>
            <p:nvPr userDrawn="1"/>
          </p:nvCxnSpPr>
          <p:spPr bwMode="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D77A8DFC-FE4B-4B06-8AEF-607F9AEE764E}"/>
                </a:ext>
              </a:extLst>
            </p:cNvPr>
            <p:cNvCxnSpPr/>
            <p:nvPr userDrawn="1"/>
          </p:nvCxnSpPr>
          <p:spPr bwMode="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942E819A-5DA8-4032-B3EB-D10DC14D6C84}"/>
                </a:ext>
              </a:extLst>
            </p:cNvPr>
            <p:cNvCxnSpPr/>
            <p:nvPr userDrawn="1"/>
          </p:nvCxnSpPr>
          <p:spPr bwMode="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1912236D-CA1F-4315-989A-12010EB46505}"/>
                </a:ext>
              </a:extLst>
            </p:cNvPr>
            <p:cNvCxnSpPr/>
            <p:nvPr userDrawn="1"/>
          </p:nvCxnSpPr>
          <p:spPr bwMode="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44ED2ACF-C68A-42CC-A632-CD03AB2544F3}"/>
                </a:ext>
              </a:extLst>
            </p:cNvPr>
            <p:cNvCxnSpPr/>
            <p:nvPr userDrawn="1"/>
          </p:nvCxnSpPr>
          <p:spPr bwMode="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4A8F039F-D473-4D39-8AC6-81810B219B3E}"/>
                </a:ext>
              </a:extLst>
            </p:cNvPr>
            <p:cNvCxnSpPr/>
            <p:nvPr userDrawn="1"/>
          </p:nvCxnSpPr>
          <p:spPr bwMode="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BA241E12-AAE1-45D8-9D67-A8007269A3E0}"/>
                </a:ext>
              </a:extLst>
            </p:cNvPr>
            <p:cNvCxnSpPr/>
            <p:nvPr userDrawn="1"/>
          </p:nvCxnSpPr>
          <p:spPr bwMode="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B3D829D9-0D54-4FB5-9FD5-512316CE5897}"/>
                </a:ext>
              </a:extLst>
            </p:cNvPr>
            <p:cNvCxnSpPr/>
            <p:nvPr userDrawn="1"/>
          </p:nvCxnSpPr>
          <p:spPr bwMode="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6DCAEE40-53ED-4281-A3F1-ACB0AA93B7BD}"/>
                </a:ext>
              </a:extLst>
            </p:cNvPr>
            <p:cNvCxnSpPr/>
            <p:nvPr userDrawn="1"/>
          </p:nvCxnSpPr>
          <p:spPr bwMode="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716D3477-104A-45EC-ABA6-46CC43BAB1CA}"/>
                </a:ext>
              </a:extLst>
            </p:cNvPr>
            <p:cNvCxnSpPr/>
            <p:nvPr userDrawn="1"/>
          </p:nvCxnSpPr>
          <p:spPr bwMode="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25EC7B04-40CF-4499-BF37-9874AB2E42BC}"/>
                </a:ext>
              </a:extLst>
            </p:cNvPr>
            <p:cNvCxnSpPr/>
            <p:nvPr userDrawn="1"/>
          </p:nvCxnSpPr>
          <p:spPr bwMode="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A1B7D422-DF11-439B-AA7B-5AE071A4C7DC}"/>
                </a:ext>
              </a:extLst>
            </p:cNvPr>
            <p:cNvCxnSpPr/>
            <p:nvPr userDrawn="1"/>
          </p:nvCxnSpPr>
          <p:spPr bwMode="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21103B97-22A5-4A41-A8B4-4FBC1AB3251F}"/>
                </a:ext>
              </a:extLst>
            </p:cNvPr>
            <p:cNvCxnSpPr/>
            <p:nvPr userDrawn="1"/>
          </p:nvCxnSpPr>
          <p:spPr bwMode="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706654E2-EE76-422E-8306-19CDD004E451}"/>
                </a:ext>
              </a:extLst>
            </p:cNvPr>
            <p:cNvCxnSpPr/>
            <p:nvPr userDrawn="1"/>
          </p:nvCxnSpPr>
          <p:spPr bwMode="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61A46DB1-E3F1-48B8-8CD6-686C08337E3D}"/>
                </a:ext>
              </a:extLst>
            </p:cNvPr>
            <p:cNvCxnSpPr/>
            <p:nvPr userDrawn="1"/>
          </p:nvCxnSpPr>
          <p:spPr bwMode="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C7EB58E3-EE98-4C63-A5FA-31A1F31261BD}"/>
                </a:ext>
              </a:extLst>
            </p:cNvPr>
            <p:cNvCxnSpPr/>
            <p:nvPr userDrawn="1"/>
          </p:nvCxnSpPr>
          <p:spPr bwMode="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FDF83986-66A6-442D-9688-89B353D5848C}"/>
                </a:ext>
              </a:extLst>
            </p:cNvPr>
            <p:cNvCxnSpPr/>
            <p:nvPr userDrawn="1"/>
          </p:nvCxnSpPr>
          <p:spPr bwMode="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AC32EE19-D046-4DA8-83C8-C7090C2032B7}"/>
                </a:ext>
              </a:extLst>
            </p:cNvPr>
            <p:cNvCxnSpPr/>
            <p:nvPr userDrawn="1"/>
          </p:nvCxnSpPr>
          <p:spPr bwMode="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AE9073FA-D009-4B43-AE1C-76B2371EDB72}"/>
                </a:ext>
              </a:extLst>
            </p:cNvPr>
            <p:cNvCxnSpPr/>
            <p:nvPr userDrawn="1"/>
          </p:nvCxnSpPr>
          <p:spPr bwMode="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A37EEEBC-9035-46B4-859D-8637EB5F71E7}"/>
                </a:ext>
              </a:extLst>
            </p:cNvPr>
            <p:cNvCxnSpPr/>
            <p:nvPr userDrawn="1"/>
          </p:nvCxnSpPr>
          <p:spPr bwMode="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271" name="main body box">
              <a:extLst>
                <a:ext uri="{FF2B5EF4-FFF2-40B4-BE49-F238E27FC236}">
                  <a16:creationId xmlns:a16="http://schemas.microsoft.com/office/drawing/2014/main" id="{5A4E68D2-98C2-4107-A058-DD36C69DD1BD}"/>
                </a:ext>
              </a:extLst>
            </p:cNvPr>
            <p:cNvSpPr/>
            <p:nvPr userDrawn="1"/>
          </p:nvSpPr>
          <p:spPr bwMode="gray">
            <a:xfrm>
              <a:off x="554736" y="1405610"/>
              <a:ext cx="11082528" cy="4812310"/>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272" name="Straight Connector 271">
              <a:extLst>
                <a:ext uri="{FF2B5EF4-FFF2-40B4-BE49-F238E27FC236}">
                  <a16:creationId xmlns:a16="http://schemas.microsoft.com/office/drawing/2014/main" id="{CD320E2E-9A90-4FBD-95ED-547D38976E3C}"/>
                </a:ext>
              </a:extLst>
            </p:cNvPr>
            <p:cNvCxnSpPr/>
            <p:nvPr userDrawn="1"/>
          </p:nvCxnSpPr>
          <p:spPr bwMode="gray">
            <a:xfrm>
              <a:off x="554736" y="1865376"/>
              <a:ext cx="11082528" cy="0"/>
            </a:xfrm>
            <a:prstGeom prst="line">
              <a:avLst/>
            </a:prstGeom>
            <a:noFill/>
            <a:ln w="12700">
              <a:solidFill>
                <a:srgbClr val="19D3C5">
                  <a:alpha val="50000"/>
                </a:srgbClr>
              </a:solidFill>
            </a:ln>
          </p:spPr>
        </p:cxnSp>
        <p:cxnSp>
          <p:nvCxnSpPr>
            <p:cNvPr id="273" name="Straight Connector 272">
              <a:extLst>
                <a:ext uri="{FF2B5EF4-FFF2-40B4-BE49-F238E27FC236}">
                  <a16:creationId xmlns:a16="http://schemas.microsoft.com/office/drawing/2014/main" id="{70454B89-8DFA-4EF3-83A9-38CF648F4CD1}"/>
                </a:ext>
              </a:extLst>
            </p:cNvPr>
            <p:cNvCxnSpPr/>
            <p:nvPr userDrawn="1"/>
          </p:nvCxnSpPr>
          <p:spPr bwMode="gray">
            <a:xfrm>
              <a:off x="554736" y="1408557"/>
              <a:ext cx="11082528" cy="0"/>
            </a:xfrm>
            <a:prstGeom prst="line">
              <a:avLst/>
            </a:prstGeom>
            <a:noFill/>
            <a:ln w="12700">
              <a:solidFill>
                <a:srgbClr val="19D3C5">
                  <a:alpha val="50000"/>
                </a:srgbClr>
              </a:solidFill>
            </a:ln>
          </p:spPr>
        </p:cxnSp>
      </p:gr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1"/>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2"/>
            </p:custDataLst>
          </p:nvPr>
        </p:nvSpPr>
        <p:spPr>
          <a:xfrm>
            <a:off x="554736" y="172212"/>
            <a:ext cx="9640824"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p>
            <a:pPr lvl="0"/>
            <a:r>
              <a:rPr lang="en-US"/>
              <a:t>Click to edit Master title style</a:t>
            </a:r>
            <a:endParaRPr lang="en-US" dirty="0"/>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3"/>
            </p:custDataLst>
          </p:nvPr>
        </p:nvSpPr>
        <p:spPr>
          <a:xfrm>
            <a:off x="5987738" y="2170800"/>
            <a:ext cx="3049253" cy="53860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sz="1400"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63688"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75" name="Sticker" hidden="1">
            <a:extLst>
              <a:ext uri="{FF2B5EF4-FFF2-40B4-BE49-F238E27FC236}">
                <a16:creationId xmlns:a16="http://schemas.microsoft.com/office/drawing/2014/main" id="{97ED2832-F2D3-4BBC-B741-D13502E9DAA9}"/>
              </a:ext>
            </a:extLst>
          </p:cNvPr>
          <p:cNvSpPr txBox="1"/>
          <p:nvPr userDrawn="1"/>
        </p:nvSpPr>
        <p:spPr>
          <a:xfrm>
            <a:off x="558489" y="964729"/>
            <a:ext cx="344646"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grpSp>
        <p:nvGrpSpPr>
          <p:cNvPr id="6" name="LegendLines" hidden="1">
            <a:extLst>
              <a:ext uri="{FF2B5EF4-FFF2-40B4-BE49-F238E27FC236}">
                <a16:creationId xmlns:a16="http://schemas.microsoft.com/office/drawing/2014/main" id="{DCF68DD1-C992-0742-3B25-BB90E068E45D}"/>
              </a:ext>
            </a:extLst>
          </p:cNvPr>
          <p:cNvGrpSpPr/>
          <p:nvPr userDrawn="1"/>
        </p:nvGrpSpPr>
        <p:grpSpPr>
          <a:xfrm>
            <a:off x="10317304" y="3355023"/>
            <a:ext cx="1251160" cy="958286"/>
            <a:chOff x="10162879" y="3243772"/>
            <a:chExt cx="1251160" cy="958286"/>
          </a:xfrm>
        </p:grpSpPr>
        <p:sp>
          <p:nvSpPr>
            <p:cNvPr id="7" name="Legend1" hidden="1">
              <a:extLst>
                <a:ext uri="{FF2B5EF4-FFF2-40B4-BE49-F238E27FC236}">
                  <a16:creationId xmlns:a16="http://schemas.microsoft.com/office/drawing/2014/main" id="{5FAB63E5-7274-9BC4-8EA3-976D5DE9C3C6}"/>
                </a:ext>
              </a:extLst>
            </p:cNvPr>
            <p:cNvSpPr txBox="1"/>
            <p:nvPr/>
          </p:nvSpPr>
          <p:spPr>
            <a:xfrm>
              <a:off x="10886522" y="3243772"/>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8" name="Legend2" hidden="1">
              <a:extLst>
                <a:ext uri="{FF2B5EF4-FFF2-40B4-BE49-F238E27FC236}">
                  <a16:creationId xmlns:a16="http://schemas.microsoft.com/office/drawing/2014/main" id="{0C5ED2FD-8343-29CE-E645-26D50474817E}"/>
                </a:ext>
              </a:extLst>
            </p:cNvPr>
            <p:cNvSpPr txBox="1"/>
            <p:nvPr/>
          </p:nvSpPr>
          <p:spPr>
            <a:xfrm>
              <a:off x="10886522" y="3615193"/>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9" name="Legend3" hidden="1">
              <a:extLst>
                <a:ext uri="{FF2B5EF4-FFF2-40B4-BE49-F238E27FC236}">
                  <a16:creationId xmlns:a16="http://schemas.microsoft.com/office/drawing/2014/main" id="{CA00E968-07BC-740C-73C9-19B81071C158}"/>
                </a:ext>
              </a:extLst>
            </p:cNvPr>
            <p:cNvSpPr txBox="1"/>
            <p:nvPr/>
          </p:nvSpPr>
          <p:spPr>
            <a:xfrm>
              <a:off x="10886522" y="3986614"/>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0" name="LineLegend3" hidden="1">
              <a:extLst>
                <a:ext uri="{FF2B5EF4-FFF2-40B4-BE49-F238E27FC236}">
                  <a16:creationId xmlns:a16="http://schemas.microsoft.com/office/drawing/2014/main" id="{D2A3096E-5361-BF31-0598-52742645F09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1" name="LineLegend2" hidden="1">
              <a:extLst>
                <a:ext uri="{FF2B5EF4-FFF2-40B4-BE49-F238E27FC236}">
                  <a16:creationId xmlns:a16="http://schemas.microsoft.com/office/drawing/2014/main" id="{A319D8F1-6D6A-37B7-04E5-7A6A02F478DD}"/>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2" name="LineLegend1" hidden="1">
              <a:extLst>
                <a:ext uri="{FF2B5EF4-FFF2-40B4-BE49-F238E27FC236}">
                  <a16:creationId xmlns:a16="http://schemas.microsoft.com/office/drawing/2014/main" id="{DAFFC953-0851-5D30-BEEE-0D264428B5F5}"/>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grpSp>
      <p:grpSp>
        <p:nvGrpSpPr>
          <p:cNvPr id="13" name="LegendMoons" hidden="1">
            <a:extLst>
              <a:ext uri="{FF2B5EF4-FFF2-40B4-BE49-F238E27FC236}">
                <a16:creationId xmlns:a16="http://schemas.microsoft.com/office/drawing/2014/main" id="{F804E0FF-C130-FAF1-CA10-7E362A11C132}"/>
              </a:ext>
            </a:extLst>
          </p:cNvPr>
          <p:cNvGrpSpPr/>
          <p:nvPr userDrawn="1"/>
        </p:nvGrpSpPr>
        <p:grpSpPr>
          <a:xfrm>
            <a:off x="10688315" y="1415983"/>
            <a:ext cx="880149" cy="1731859"/>
            <a:chOff x="7723680" y="1702457"/>
            <a:chExt cx="880149" cy="1731859"/>
          </a:xfrm>
        </p:grpSpPr>
        <p:sp>
          <p:nvSpPr>
            <p:cNvPr id="14" name="Legend1" hidden="1">
              <a:extLst>
                <a:ext uri="{FF2B5EF4-FFF2-40B4-BE49-F238E27FC236}">
                  <a16:creationId xmlns:a16="http://schemas.microsoft.com/office/drawing/2014/main" id="{C6D5344A-872B-D5C1-0769-BFBE3B1802AE}"/>
                </a:ext>
              </a:extLst>
            </p:cNvPr>
            <p:cNvSpPr txBox="1"/>
            <p:nvPr/>
          </p:nvSpPr>
          <p:spPr>
            <a:xfrm>
              <a:off x="8076312" y="1709816"/>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 name="Legend2" hidden="1">
              <a:extLst>
                <a:ext uri="{FF2B5EF4-FFF2-40B4-BE49-F238E27FC236}">
                  <a16:creationId xmlns:a16="http://schemas.microsoft.com/office/drawing/2014/main" id="{BE2F09AA-D452-555F-CA6B-8E10D7C0F14E}"/>
                </a:ext>
              </a:extLst>
            </p:cNvPr>
            <p:cNvSpPr txBox="1"/>
            <p:nvPr/>
          </p:nvSpPr>
          <p:spPr>
            <a:xfrm>
              <a:off x="8076312" y="2085275"/>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 name="Legend3" hidden="1">
              <a:extLst>
                <a:ext uri="{FF2B5EF4-FFF2-40B4-BE49-F238E27FC236}">
                  <a16:creationId xmlns:a16="http://schemas.microsoft.com/office/drawing/2014/main" id="{2EFB36BA-7173-7AE4-5FB6-1E282D49DE20}"/>
                </a:ext>
              </a:extLst>
            </p:cNvPr>
            <p:cNvSpPr txBox="1"/>
            <p:nvPr/>
          </p:nvSpPr>
          <p:spPr>
            <a:xfrm>
              <a:off x="8076312" y="2460734"/>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 name="Legend4" hidden="1">
              <a:extLst>
                <a:ext uri="{FF2B5EF4-FFF2-40B4-BE49-F238E27FC236}">
                  <a16:creationId xmlns:a16="http://schemas.microsoft.com/office/drawing/2014/main" id="{C056F2B7-80F5-F6FE-CC34-CF8DC874AB24}"/>
                </a:ext>
              </a:extLst>
            </p:cNvPr>
            <p:cNvSpPr txBox="1"/>
            <p:nvPr/>
          </p:nvSpPr>
          <p:spPr>
            <a:xfrm>
              <a:off x="8076312" y="2836193"/>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 name="Legend5" hidden="1">
              <a:extLst>
                <a:ext uri="{FF2B5EF4-FFF2-40B4-BE49-F238E27FC236}">
                  <a16:creationId xmlns:a16="http://schemas.microsoft.com/office/drawing/2014/main" id="{8D4E577D-A953-E46B-E785-3EBA4D918D12}"/>
                </a:ext>
              </a:extLst>
            </p:cNvPr>
            <p:cNvSpPr txBox="1"/>
            <p:nvPr/>
          </p:nvSpPr>
          <p:spPr>
            <a:xfrm>
              <a:off x="8076312" y="3211654"/>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20" name="MoonLegend1" hidden="1">
              <a:extLst>
                <a:ext uri="{FF2B5EF4-FFF2-40B4-BE49-F238E27FC236}">
                  <a16:creationId xmlns:a16="http://schemas.microsoft.com/office/drawing/2014/main" id="{46898DC4-F386-0405-E656-6F16F91F8138}"/>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33" name="Oval 32" hidden="1">
                <a:extLst>
                  <a:ext uri="{FF2B5EF4-FFF2-40B4-BE49-F238E27FC236}">
                    <a16:creationId xmlns:a16="http://schemas.microsoft.com/office/drawing/2014/main" id="{C569B4E7-3452-24E5-B2A2-3576701FC876}"/>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34" name="Arc 33" hidden="1">
                <a:extLst>
                  <a:ext uri="{FF2B5EF4-FFF2-40B4-BE49-F238E27FC236}">
                    <a16:creationId xmlns:a16="http://schemas.microsoft.com/office/drawing/2014/main" id="{D3417714-C711-E1BF-F63F-4ADAA5DB9BCE}"/>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1" name="MoonLegend2" hidden="1">
              <a:extLst>
                <a:ext uri="{FF2B5EF4-FFF2-40B4-BE49-F238E27FC236}">
                  <a16:creationId xmlns:a16="http://schemas.microsoft.com/office/drawing/2014/main" id="{E6FE36DC-FF71-5169-A1BB-951BA08588EF}"/>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31" name="Oval 30" hidden="1">
                <a:extLst>
                  <a:ext uri="{FF2B5EF4-FFF2-40B4-BE49-F238E27FC236}">
                    <a16:creationId xmlns:a16="http://schemas.microsoft.com/office/drawing/2014/main" id="{1EFDD24B-5895-2316-947F-C0D46C3847C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32" name="Arc 31" hidden="1">
                <a:extLst>
                  <a:ext uri="{FF2B5EF4-FFF2-40B4-BE49-F238E27FC236}">
                    <a16:creationId xmlns:a16="http://schemas.microsoft.com/office/drawing/2014/main" id="{A3FB276C-0755-04F3-AF68-C1BADE135CB2}"/>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2" name="MoonLegend3" hidden="1">
              <a:extLst>
                <a:ext uri="{FF2B5EF4-FFF2-40B4-BE49-F238E27FC236}">
                  <a16:creationId xmlns:a16="http://schemas.microsoft.com/office/drawing/2014/main" id="{F01E35BD-776B-2351-CD17-F44164314709}"/>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29" name="Oval 28" hidden="1">
                <a:extLst>
                  <a:ext uri="{FF2B5EF4-FFF2-40B4-BE49-F238E27FC236}">
                    <a16:creationId xmlns:a16="http://schemas.microsoft.com/office/drawing/2014/main" id="{FE1B85F6-4EF1-EB5A-C381-191AF3A2C27D}"/>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30" name="Arc 29" hidden="1">
                <a:extLst>
                  <a:ext uri="{FF2B5EF4-FFF2-40B4-BE49-F238E27FC236}">
                    <a16:creationId xmlns:a16="http://schemas.microsoft.com/office/drawing/2014/main" id="{A6FEE84C-17F5-4CB7-FAE7-40310FAF88B0}"/>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3" name="MoonLegend4" hidden="1">
              <a:extLst>
                <a:ext uri="{FF2B5EF4-FFF2-40B4-BE49-F238E27FC236}">
                  <a16:creationId xmlns:a16="http://schemas.microsoft.com/office/drawing/2014/main" id="{7F136962-9B8F-0305-E928-2A023BBD2B07}"/>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27" name="Oval 26" hidden="1">
                <a:extLst>
                  <a:ext uri="{FF2B5EF4-FFF2-40B4-BE49-F238E27FC236}">
                    <a16:creationId xmlns:a16="http://schemas.microsoft.com/office/drawing/2014/main" id="{EC1A50A8-8128-3B50-F878-7180320E7F7A}"/>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8" name="Arc 27" hidden="1">
                <a:extLst>
                  <a:ext uri="{FF2B5EF4-FFF2-40B4-BE49-F238E27FC236}">
                    <a16:creationId xmlns:a16="http://schemas.microsoft.com/office/drawing/2014/main" id="{5BDB5D82-6F91-525A-E386-6AAB061D9C11}"/>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4" name="MoonLegend5" hidden="1">
              <a:extLst>
                <a:ext uri="{FF2B5EF4-FFF2-40B4-BE49-F238E27FC236}">
                  <a16:creationId xmlns:a16="http://schemas.microsoft.com/office/drawing/2014/main" id="{25D8B4D2-8F31-0B98-C8EA-5157B361DB07}"/>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25" name="Oval 24" hidden="1">
                <a:extLst>
                  <a:ext uri="{FF2B5EF4-FFF2-40B4-BE49-F238E27FC236}">
                    <a16:creationId xmlns:a16="http://schemas.microsoft.com/office/drawing/2014/main" id="{A8836747-D588-92B9-8240-353862040B99}"/>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6" name="Arc 25" hidden="1">
                <a:extLst>
                  <a:ext uri="{FF2B5EF4-FFF2-40B4-BE49-F238E27FC236}">
                    <a16:creationId xmlns:a16="http://schemas.microsoft.com/office/drawing/2014/main" id="{9DD5C3A8-B13D-DC5D-28B9-6A4318A0DF41}"/>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35" name="LegendBoxes" hidden="1">
            <a:extLst>
              <a:ext uri="{FF2B5EF4-FFF2-40B4-BE49-F238E27FC236}">
                <a16:creationId xmlns:a16="http://schemas.microsoft.com/office/drawing/2014/main" id="{CC6F5ED4-4297-CA81-2321-4F087C6DBF43}"/>
              </a:ext>
            </a:extLst>
          </p:cNvPr>
          <p:cNvGrpSpPr/>
          <p:nvPr userDrawn="1"/>
        </p:nvGrpSpPr>
        <p:grpSpPr>
          <a:xfrm>
            <a:off x="10714801" y="4520490"/>
            <a:ext cx="853663" cy="1717282"/>
            <a:chOff x="10652400" y="4322824"/>
            <a:chExt cx="853663" cy="1717282"/>
          </a:xfrm>
        </p:grpSpPr>
        <p:sp>
          <p:nvSpPr>
            <p:cNvPr id="36" name="RectangleLegend1" hidden="1">
              <a:extLst>
                <a:ext uri="{FF2B5EF4-FFF2-40B4-BE49-F238E27FC236}">
                  <a16:creationId xmlns:a16="http://schemas.microsoft.com/office/drawing/2014/main" id="{14E741CA-D7A7-C251-240B-CCEE025BD5FA}"/>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37" name="RectangleLegend2" hidden="1">
              <a:extLst>
                <a:ext uri="{FF2B5EF4-FFF2-40B4-BE49-F238E27FC236}">
                  <a16:creationId xmlns:a16="http://schemas.microsoft.com/office/drawing/2014/main" id="{4187721A-11F2-E7AC-9035-87E4016543E1}"/>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38" name="RectangleLegend3" hidden="1">
              <a:extLst>
                <a:ext uri="{FF2B5EF4-FFF2-40B4-BE49-F238E27FC236}">
                  <a16:creationId xmlns:a16="http://schemas.microsoft.com/office/drawing/2014/main" id="{2737EE5E-E344-4FC5-3DEA-C64DAE35519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39" name="RectangleLegend4" hidden="1">
              <a:extLst>
                <a:ext uri="{FF2B5EF4-FFF2-40B4-BE49-F238E27FC236}">
                  <a16:creationId xmlns:a16="http://schemas.microsoft.com/office/drawing/2014/main" id="{ACDE71A4-2DA2-2E48-95B1-AB4D5652D0DE}"/>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40" name="RectangleLegend5" hidden="1">
              <a:extLst>
                <a:ext uri="{FF2B5EF4-FFF2-40B4-BE49-F238E27FC236}">
                  <a16:creationId xmlns:a16="http://schemas.microsoft.com/office/drawing/2014/main" id="{287C2886-20BE-0B9E-CD23-BB940F90B9DF}"/>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41" name="Legend1" hidden="1">
              <a:extLst>
                <a:ext uri="{FF2B5EF4-FFF2-40B4-BE49-F238E27FC236}">
                  <a16:creationId xmlns:a16="http://schemas.microsoft.com/office/drawing/2014/main" id="{91D8511A-461B-72F5-FCA9-9CA80E4321AB}"/>
                </a:ext>
              </a:extLst>
            </p:cNvPr>
            <p:cNvSpPr txBox="1"/>
            <p:nvPr/>
          </p:nvSpPr>
          <p:spPr>
            <a:xfrm>
              <a:off x="10978546" y="4322824"/>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42" name="Legend2" hidden="1">
              <a:extLst>
                <a:ext uri="{FF2B5EF4-FFF2-40B4-BE49-F238E27FC236}">
                  <a16:creationId xmlns:a16="http://schemas.microsoft.com/office/drawing/2014/main" id="{F43B821C-10BF-DBE3-EE97-D1071EF92912}"/>
                </a:ext>
              </a:extLst>
            </p:cNvPr>
            <p:cNvSpPr txBox="1"/>
            <p:nvPr/>
          </p:nvSpPr>
          <p:spPr>
            <a:xfrm>
              <a:off x="10978546" y="4702322"/>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43" name="Legend3" hidden="1">
              <a:extLst>
                <a:ext uri="{FF2B5EF4-FFF2-40B4-BE49-F238E27FC236}">
                  <a16:creationId xmlns:a16="http://schemas.microsoft.com/office/drawing/2014/main" id="{10818E48-9884-62E3-DCF0-6C26CA8B68A1}"/>
                </a:ext>
              </a:extLst>
            </p:cNvPr>
            <p:cNvSpPr txBox="1"/>
            <p:nvPr/>
          </p:nvSpPr>
          <p:spPr>
            <a:xfrm>
              <a:off x="10978546" y="5081820"/>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44" name="Legend4" hidden="1">
              <a:extLst>
                <a:ext uri="{FF2B5EF4-FFF2-40B4-BE49-F238E27FC236}">
                  <a16:creationId xmlns:a16="http://schemas.microsoft.com/office/drawing/2014/main" id="{A2CCF6F5-E0A4-5582-FF27-62ECC30CE68E}"/>
                </a:ext>
              </a:extLst>
            </p:cNvPr>
            <p:cNvSpPr txBox="1"/>
            <p:nvPr/>
          </p:nvSpPr>
          <p:spPr>
            <a:xfrm>
              <a:off x="10978546" y="5453241"/>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45" name="Legend5" hidden="1">
              <a:extLst>
                <a:ext uri="{FF2B5EF4-FFF2-40B4-BE49-F238E27FC236}">
                  <a16:creationId xmlns:a16="http://schemas.microsoft.com/office/drawing/2014/main" id="{F6205492-F707-DDE9-1A75-FE3B5E23DE6D}"/>
                </a:ext>
              </a:extLst>
            </p:cNvPr>
            <p:cNvSpPr txBox="1"/>
            <p:nvPr/>
          </p:nvSpPr>
          <p:spPr>
            <a:xfrm>
              <a:off x="10978545" y="5824662"/>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pic>
        <p:nvPicPr>
          <p:cNvPr id="4" name="Picture 3">
            <a:extLst>
              <a:ext uri="{FF2B5EF4-FFF2-40B4-BE49-F238E27FC236}">
                <a16:creationId xmlns:a16="http://schemas.microsoft.com/office/drawing/2014/main" id="{F9682730-1B5D-7A2D-1E03-DE153F6EEE43}"/>
              </a:ext>
            </a:extLst>
          </p:cNvPr>
          <p:cNvPicPr>
            <a:picLocks/>
          </p:cNvPicPr>
          <p:nvPr userDrawn="1"/>
        </p:nvPicPr>
        <p:blipFill>
          <a:blip r:embed="rId41" cstate="screen">
            <a:extLst>
              <a:ext uri="{28A0092B-C50C-407E-A947-70E740481C1C}">
                <a14:useLocalDpi xmlns:a14="http://schemas.microsoft.com/office/drawing/2010/main"/>
              </a:ext>
            </a:extLst>
          </a:blip>
          <a:srcRect/>
          <a:stretch/>
        </p:blipFill>
        <p:spPr>
          <a:xfrm>
            <a:off x="10286286" y="172212"/>
            <a:ext cx="1350978" cy="384721"/>
          </a:xfrm>
          <a:prstGeom prst="rect">
            <a:avLst/>
          </a:prstGeom>
        </p:spPr>
      </p:pic>
      <p:pic>
        <p:nvPicPr>
          <p:cNvPr id="46" name="Picture 45">
            <a:extLst>
              <a:ext uri="{FF2B5EF4-FFF2-40B4-BE49-F238E27FC236}">
                <a16:creationId xmlns:a16="http://schemas.microsoft.com/office/drawing/2014/main" id="{CD708BF6-BF58-86FF-38C0-5F5EBB02FD3F}"/>
              </a:ext>
            </a:extLst>
          </p:cNvPr>
          <p:cNvPicPr>
            <a:picLocks noChangeAspect="1"/>
          </p:cNvPicPr>
          <p:nvPr userDrawn="1"/>
        </p:nvPicPr>
        <p:blipFill>
          <a:blip r:embed="rId42" cstate="screen">
            <a:extLst>
              <a:ext uri="{28A0092B-C50C-407E-A947-70E740481C1C}">
                <a14:useLocalDpi xmlns:a14="http://schemas.microsoft.com/office/drawing/2010/main"/>
              </a:ext>
            </a:extLst>
          </a:blip>
          <a:stretch>
            <a:fillRect/>
          </a:stretch>
        </p:blipFill>
        <p:spPr>
          <a:xfrm>
            <a:off x="-23262" y="0"/>
            <a:ext cx="3124200" cy="6858000"/>
          </a:xfrm>
          <a:prstGeom prst="rect">
            <a:avLst/>
          </a:prstGeom>
        </p:spPr>
      </p:pic>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97" r:id="rId3"/>
    <p:sldLayoutId id="2147483807" r:id="rId4"/>
    <p:sldLayoutId id="2147483800" r:id="rId5"/>
    <p:sldLayoutId id="2147483659" r:id="rId6"/>
    <p:sldLayoutId id="2147483804" r:id="rId7"/>
    <p:sldLayoutId id="2147483882" r:id="rId8"/>
    <p:sldLayoutId id="2147483883" r:id="rId9"/>
    <p:sldLayoutId id="2147483884" r:id="rId10"/>
    <p:sldLayoutId id="2147483885" r:id="rId11"/>
    <p:sldLayoutId id="2147483886" r:id="rId12"/>
    <p:sldLayoutId id="2147483887" r:id="rId13"/>
    <p:sldLayoutId id="2147483706" r:id="rId14"/>
    <p:sldLayoutId id="2147483718" r:id="rId15"/>
    <p:sldLayoutId id="2147483900" r:id="rId16"/>
    <p:sldLayoutId id="2147483901" r:id="rId17"/>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78" userDrawn="1">
          <p15:clr>
            <a:srgbClr val="5ACBF0"/>
          </p15:clr>
        </p15:guide>
        <p15:guide id="3" orient="horz" pos="3912">
          <p15:clr>
            <a:srgbClr val="5ACBF0"/>
          </p15:clr>
        </p15:guide>
        <p15:guide id="4" orient="horz" pos="890" userDrawn="1">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20"/>
            </p:custDataLst>
            <p:extLst>
              <p:ext uri="{D42A27DB-BD31-4B8C-83A1-F6EECF244321}">
                <p14:modId xmlns:p14="http://schemas.microsoft.com/office/powerpoint/2010/main" val="266809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592" imgH="591" progId="TCLayout.ActiveDocument.1">
                  <p:embed/>
                </p:oleObj>
              </mc:Choice>
              <mc:Fallback>
                <p:oleObj name="think-cell Slide" r:id="rId40"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399E7-290D-4CE6-AA08-2DA0CF307E1C}"/>
              </a:ext>
            </a:extLst>
          </p:cNvPr>
          <p:cNvSpPr/>
          <p:nvPr userDrawn="1">
            <p:custDataLst>
              <p:tags r:id="rId21"/>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grpSp>
        <p:nvGrpSpPr>
          <p:cNvPr id="146" name="Grid" hidden="1">
            <a:extLst>
              <a:ext uri="{FF2B5EF4-FFF2-40B4-BE49-F238E27FC236}">
                <a16:creationId xmlns:a16="http://schemas.microsoft.com/office/drawing/2014/main" id="{00E02929-655A-4D11-8498-7B726B892859}"/>
              </a:ext>
            </a:extLst>
          </p:cNvPr>
          <p:cNvGrpSpPr/>
          <p:nvPr userDrawn="1"/>
        </p:nvGrpSpPr>
        <p:grpSpPr>
          <a:xfrm>
            <a:off x="0" y="0"/>
            <a:ext cx="12190476" cy="6858000"/>
            <a:chOff x="0" y="0"/>
            <a:chExt cx="12190476" cy="6858000"/>
          </a:xfrm>
        </p:grpSpPr>
        <p:sp>
          <p:nvSpPr>
            <p:cNvPr id="147" name="Freeform: Shape 146">
              <a:extLst>
                <a:ext uri="{FF2B5EF4-FFF2-40B4-BE49-F238E27FC236}">
                  <a16:creationId xmlns:a16="http://schemas.microsoft.com/office/drawing/2014/main" id="{B246553F-F107-4247-AFD2-330A5E29AB37}"/>
                </a:ext>
              </a:extLst>
            </p:cNvPr>
            <p:cNvSpPr/>
            <p:nvPr userDrawn="1"/>
          </p:nvSpPr>
          <p:spPr bwMode="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148" name="Freeform: Shape 147">
              <a:extLst>
                <a:ext uri="{FF2B5EF4-FFF2-40B4-BE49-F238E27FC236}">
                  <a16:creationId xmlns:a16="http://schemas.microsoft.com/office/drawing/2014/main" id="{B004011D-070D-4016-9995-FCB7504D0F9E}"/>
                </a:ext>
              </a:extLst>
            </p:cNvPr>
            <p:cNvSpPr/>
            <p:nvPr/>
          </p:nvSpPr>
          <p:spPr bwMode="gray">
            <a:xfrm>
              <a:off x="1524" y="0"/>
              <a:ext cx="12188952" cy="6858000"/>
            </a:xfrm>
            <a:custGeom>
              <a:avLst/>
              <a:gdLst>
                <a:gd name="connsiteX0" fmla="*/ 553212 w 12188952"/>
                <a:gd name="connsiteY0" fmla="*/ 1405610 h 6858000"/>
                <a:gd name="connsiteX1" fmla="*/ 553212 w 12188952"/>
                <a:gd name="connsiteY1" fmla="*/ 1709928 h 6858000"/>
                <a:gd name="connsiteX2" fmla="*/ 551868 w 12188952"/>
                <a:gd name="connsiteY2" fmla="*/ 1709928 h 6858000"/>
                <a:gd name="connsiteX3" fmla="*/ 551868 w 12188952"/>
                <a:gd name="connsiteY3" fmla="*/ 6217920 h 6858000"/>
                <a:gd name="connsiteX4" fmla="*/ 553212 w 12188952"/>
                <a:gd name="connsiteY4" fmla="*/ 6217920 h 6858000"/>
                <a:gd name="connsiteX5" fmla="*/ 11635740 w 12188952"/>
                <a:gd name="connsiteY5" fmla="*/ 6217920 h 6858000"/>
                <a:gd name="connsiteX6" fmla="*/ 11636196 w 12188952"/>
                <a:gd name="connsiteY6" fmla="*/ 6217920 h 6858000"/>
                <a:gd name="connsiteX7" fmla="*/ 11636196 w 12188952"/>
                <a:gd name="connsiteY7" fmla="*/ 1709928 h 6858000"/>
                <a:gd name="connsiteX8" fmla="*/ 11635740 w 12188952"/>
                <a:gd name="connsiteY8" fmla="*/ 1709928 h 6858000"/>
                <a:gd name="connsiteX9" fmla="*/ 11635740 w 12188952"/>
                <a:gd name="connsiteY9" fmla="*/ 1405610 h 6858000"/>
                <a:gd name="connsiteX10" fmla="*/ 0 w 12188952"/>
                <a:gd name="connsiteY10" fmla="*/ 0 h 6858000"/>
                <a:gd name="connsiteX11" fmla="*/ 12188952 w 12188952"/>
                <a:gd name="connsiteY11" fmla="*/ 0 h 6858000"/>
                <a:gd name="connsiteX12" fmla="*/ 12188952 w 12188952"/>
                <a:gd name="connsiteY12" fmla="*/ 6858000 h 6858000"/>
                <a:gd name="connsiteX13" fmla="*/ 0 w 12188952"/>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8952" h="6858000">
                  <a:moveTo>
                    <a:pt x="553212" y="1405610"/>
                  </a:moveTo>
                  <a:lnTo>
                    <a:pt x="553212" y="1709928"/>
                  </a:lnTo>
                  <a:lnTo>
                    <a:pt x="551868" y="1709928"/>
                  </a:lnTo>
                  <a:lnTo>
                    <a:pt x="551868" y="6217920"/>
                  </a:lnTo>
                  <a:lnTo>
                    <a:pt x="553212" y="6217920"/>
                  </a:lnTo>
                  <a:lnTo>
                    <a:pt x="11635740" y="6217920"/>
                  </a:lnTo>
                  <a:lnTo>
                    <a:pt x="11636196" y="6217920"/>
                  </a:lnTo>
                  <a:lnTo>
                    <a:pt x="11636196" y="1709928"/>
                  </a:lnTo>
                  <a:lnTo>
                    <a:pt x="11635740" y="1709928"/>
                  </a:lnTo>
                  <a:lnTo>
                    <a:pt x="11635740" y="1405610"/>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rtl="0"/>
              <a:endParaRPr lang="en-US" dirty="0">
                <a:solidFill>
                  <a:schemeClr val="tx1"/>
                </a:solidFill>
                <a:latin typeface="+mn-lt"/>
              </a:endParaRPr>
            </a:p>
          </p:txBody>
        </p:sp>
        <p:cxnSp>
          <p:nvCxnSpPr>
            <p:cNvPr id="149" name="Straight Connector 148">
              <a:extLst>
                <a:ext uri="{FF2B5EF4-FFF2-40B4-BE49-F238E27FC236}">
                  <a16:creationId xmlns:a16="http://schemas.microsoft.com/office/drawing/2014/main" id="{8EED4E9C-CBFD-493E-8230-4890744820CD}"/>
                </a:ext>
              </a:extLst>
            </p:cNvPr>
            <p:cNvCxnSpPr/>
            <p:nvPr/>
          </p:nvCxnSpPr>
          <p:spPr bwMode="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C4E7EE8D-5E67-4BAD-BF3E-B49398A0D38A}"/>
                </a:ext>
              </a:extLst>
            </p:cNvPr>
            <p:cNvCxnSpPr/>
            <p:nvPr/>
          </p:nvCxnSpPr>
          <p:spPr bwMode="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EBF4CC32-113E-4603-89B5-B2E9710CEC86}"/>
                </a:ext>
              </a:extLst>
            </p:cNvPr>
            <p:cNvCxnSpPr/>
            <p:nvPr/>
          </p:nvCxnSpPr>
          <p:spPr bwMode="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1F0D8B50-908B-4BBC-B53E-EBFB79D81A0A}"/>
                </a:ext>
              </a:extLst>
            </p:cNvPr>
            <p:cNvCxnSpPr/>
            <p:nvPr/>
          </p:nvCxnSpPr>
          <p:spPr bwMode="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96B0BD72-05B5-4E6D-ADCA-69118552AB73}"/>
                </a:ext>
              </a:extLst>
            </p:cNvPr>
            <p:cNvCxnSpPr/>
            <p:nvPr/>
          </p:nvCxnSpPr>
          <p:spPr bwMode="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6FC8DA45-07AB-4141-99EE-E61BAAE7D11E}"/>
                </a:ext>
              </a:extLst>
            </p:cNvPr>
            <p:cNvCxnSpPr/>
            <p:nvPr/>
          </p:nvCxnSpPr>
          <p:spPr bwMode="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FAD9D4E0-4143-4515-A821-78819A398AF2}"/>
                </a:ext>
              </a:extLst>
            </p:cNvPr>
            <p:cNvCxnSpPr/>
            <p:nvPr/>
          </p:nvCxnSpPr>
          <p:spPr bwMode="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5992F49D-6943-4918-866D-7066A87A4A79}"/>
                </a:ext>
              </a:extLst>
            </p:cNvPr>
            <p:cNvCxnSpPr/>
            <p:nvPr/>
          </p:nvCxnSpPr>
          <p:spPr bwMode="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1FE62798-DF2C-4227-978E-F44634E9B13E}"/>
                </a:ext>
              </a:extLst>
            </p:cNvPr>
            <p:cNvCxnSpPr/>
            <p:nvPr/>
          </p:nvCxnSpPr>
          <p:spPr bwMode="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2E77B44F-95E2-4A82-9055-AF6FD632A4C2}"/>
                </a:ext>
              </a:extLst>
            </p:cNvPr>
            <p:cNvCxnSpPr/>
            <p:nvPr/>
          </p:nvCxnSpPr>
          <p:spPr bwMode="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B867695C-B379-491F-A7BA-BB9CDD95C0A2}"/>
                </a:ext>
              </a:extLst>
            </p:cNvPr>
            <p:cNvCxnSpPr/>
            <p:nvPr/>
          </p:nvCxnSpPr>
          <p:spPr bwMode="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3CF70945-7437-42D7-8530-CC82474AD8C7}"/>
                </a:ext>
              </a:extLst>
            </p:cNvPr>
            <p:cNvCxnSpPr/>
            <p:nvPr/>
          </p:nvCxnSpPr>
          <p:spPr bwMode="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161" name="Freeform: Shape 160">
              <a:extLst>
                <a:ext uri="{FF2B5EF4-FFF2-40B4-BE49-F238E27FC236}">
                  <a16:creationId xmlns:a16="http://schemas.microsoft.com/office/drawing/2014/main" id="{DA9FAF73-F6CC-433E-9E54-926227DC3B49}"/>
                </a:ext>
              </a:extLst>
            </p:cNvPr>
            <p:cNvSpPr/>
            <p:nvPr/>
          </p:nvSpPr>
          <p:spPr bwMode="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162" name="Freeform: Shape 161">
              <a:extLst>
                <a:ext uri="{FF2B5EF4-FFF2-40B4-BE49-F238E27FC236}">
                  <a16:creationId xmlns:a16="http://schemas.microsoft.com/office/drawing/2014/main" id="{E34A557B-494C-4AD9-8F89-E5E9AF83C5C9}"/>
                </a:ext>
              </a:extLst>
            </p:cNvPr>
            <p:cNvSpPr/>
            <p:nvPr/>
          </p:nvSpPr>
          <p:spPr bwMode="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163" name="Freeform: Shape 162">
              <a:extLst>
                <a:ext uri="{FF2B5EF4-FFF2-40B4-BE49-F238E27FC236}">
                  <a16:creationId xmlns:a16="http://schemas.microsoft.com/office/drawing/2014/main" id="{EF51026B-29C4-4F7C-BFF5-D2620B54A446}"/>
                </a:ext>
              </a:extLst>
            </p:cNvPr>
            <p:cNvSpPr/>
            <p:nvPr/>
          </p:nvSpPr>
          <p:spPr bwMode="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164" name="Freeform: Shape 163">
              <a:extLst>
                <a:ext uri="{FF2B5EF4-FFF2-40B4-BE49-F238E27FC236}">
                  <a16:creationId xmlns:a16="http://schemas.microsoft.com/office/drawing/2014/main" id="{F9CB8DDA-DEB9-4F33-8B16-4080680C908C}"/>
                </a:ext>
              </a:extLst>
            </p:cNvPr>
            <p:cNvSpPr/>
            <p:nvPr/>
          </p:nvSpPr>
          <p:spPr bwMode="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165" name="Freeform: Shape 164">
              <a:extLst>
                <a:ext uri="{FF2B5EF4-FFF2-40B4-BE49-F238E27FC236}">
                  <a16:creationId xmlns:a16="http://schemas.microsoft.com/office/drawing/2014/main" id="{3CB0E135-78BE-4A78-8B8E-49EE618FDE01}"/>
                </a:ext>
              </a:extLst>
            </p:cNvPr>
            <p:cNvSpPr/>
            <p:nvPr/>
          </p:nvSpPr>
          <p:spPr bwMode="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166" name="Freeform: Shape 165">
              <a:extLst>
                <a:ext uri="{FF2B5EF4-FFF2-40B4-BE49-F238E27FC236}">
                  <a16:creationId xmlns:a16="http://schemas.microsoft.com/office/drawing/2014/main" id="{78208839-3FD9-4108-AF55-EFAFE64878DE}"/>
                </a:ext>
              </a:extLst>
            </p:cNvPr>
            <p:cNvSpPr/>
            <p:nvPr/>
          </p:nvSpPr>
          <p:spPr bwMode="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167" name="Freeform: Shape 166">
              <a:extLst>
                <a:ext uri="{FF2B5EF4-FFF2-40B4-BE49-F238E27FC236}">
                  <a16:creationId xmlns:a16="http://schemas.microsoft.com/office/drawing/2014/main" id="{2B2AC86F-33CA-4F2C-87E3-578BBC834878}"/>
                </a:ext>
              </a:extLst>
            </p:cNvPr>
            <p:cNvSpPr/>
            <p:nvPr/>
          </p:nvSpPr>
          <p:spPr bwMode="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8" name="Freeform: Shape 207">
              <a:extLst>
                <a:ext uri="{FF2B5EF4-FFF2-40B4-BE49-F238E27FC236}">
                  <a16:creationId xmlns:a16="http://schemas.microsoft.com/office/drawing/2014/main" id="{B399E9D3-5CD6-46EF-8841-082C09FE512F}"/>
                </a:ext>
              </a:extLst>
            </p:cNvPr>
            <p:cNvSpPr/>
            <p:nvPr/>
          </p:nvSpPr>
          <p:spPr bwMode="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09" name="Freeform: Shape 208">
              <a:extLst>
                <a:ext uri="{FF2B5EF4-FFF2-40B4-BE49-F238E27FC236}">
                  <a16:creationId xmlns:a16="http://schemas.microsoft.com/office/drawing/2014/main" id="{F1BE799B-05CC-43C3-BA7F-F6C85C06E3A1}"/>
                </a:ext>
              </a:extLst>
            </p:cNvPr>
            <p:cNvSpPr/>
            <p:nvPr/>
          </p:nvSpPr>
          <p:spPr bwMode="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0" name="Freeform: Shape 209">
              <a:extLst>
                <a:ext uri="{FF2B5EF4-FFF2-40B4-BE49-F238E27FC236}">
                  <a16:creationId xmlns:a16="http://schemas.microsoft.com/office/drawing/2014/main" id="{29922180-B37A-4F36-9EF1-968A7058C3E4}"/>
                </a:ext>
              </a:extLst>
            </p:cNvPr>
            <p:cNvSpPr/>
            <p:nvPr/>
          </p:nvSpPr>
          <p:spPr bwMode="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1" name="Freeform: Shape 210">
              <a:extLst>
                <a:ext uri="{FF2B5EF4-FFF2-40B4-BE49-F238E27FC236}">
                  <a16:creationId xmlns:a16="http://schemas.microsoft.com/office/drawing/2014/main" id="{2F205530-B739-4965-8F39-00F8FBF9EACF}"/>
                </a:ext>
              </a:extLst>
            </p:cNvPr>
            <p:cNvSpPr/>
            <p:nvPr/>
          </p:nvSpPr>
          <p:spPr bwMode="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2" name="Freeform: Shape 211">
              <a:extLst>
                <a:ext uri="{FF2B5EF4-FFF2-40B4-BE49-F238E27FC236}">
                  <a16:creationId xmlns:a16="http://schemas.microsoft.com/office/drawing/2014/main" id="{A9BFC6E5-704D-4104-8F1F-6DB1C235A93C}"/>
                </a:ext>
              </a:extLst>
            </p:cNvPr>
            <p:cNvSpPr/>
            <p:nvPr/>
          </p:nvSpPr>
          <p:spPr bwMode="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3" name="Freeform: Shape 212">
              <a:extLst>
                <a:ext uri="{FF2B5EF4-FFF2-40B4-BE49-F238E27FC236}">
                  <a16:creationId xmlns:a16="http://schemas.microsoft.com/office/drawing/2014/main" id="{4385216E-CB37-47AA-A5EC-C860686082F4}"/>
                </a:ext>
              </a:extLst>
            </p:cNvPr>
            <p:cNvSpPr/>
            <p:nvPr/>
          </p:nvSpPr>
          <p:spPr bwMode="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4" name="Freeform: Shape 213">
              <a:extLst>
                <a:ext uri="{FF2B5EF4-FFF2-40B4-BE49-F238E27FC236}">
                  <a16:creationId xmlns:a16="http://schemas.microsoft.com/office/drawing/2014/main" id="{8E699DF9-8C96-4EF1-8278-09F68ECAD255}"/>
                </a:ext>
              </a:extLst>
            </p:cNvPr>
            <p:cNvSpPr/>
            <p:nvPr/>
          </p:nvSpPr>
          <p:spPr bwMode="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5" name="Freeform: Shape 214">
              <a:extLst>
                <a:ext uri="{FF2B5EF4-FFF2-40B4-BE49-F238E27FC236}">
                  <a16:creationId xmlns:a16="http://schemas.microsoft.com/office/drawing/2014/main" id="{A032DDF0-DB7D-4C06-9B2E-FEBAC77CE493}"/>
                </a:ext>
              </a:extLst>
            </p:cNvPr>
            <p:cNvSpPr/>
            <p:nvPr userDrawn="1"/>
          </p:nvSpPr>
          <p:spPr bwMode="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6" name="Freeform: Shape 215">
              <a:extLst>
                <a:ext uri="{FF2B5EF4-FFF2-40B4-BE49-F238E27FC236}">
                  <a16:creationId xmlns:a16="http://schemas.microsoft.com/office/drawing/2014/main" id="{4B7943A5-8846-4B6F-925D-749F0A92CCE3}"/>
                </a:ext>
              </a:extLst>
            </p:cNvPr>
            <p:cNvSpPr/>
            <p:nvPr userDrawn="1"/>
          </p:nvSpPr>
          <p:spPr bwMode="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7" name="Freeform: Shape 216">
              <a:extLst>
                <a:ext uri="{FF2B5EF4-FFF2-40B4-BE49-F238E27FC236}">
                  <a16:creationId xmlns:a16="http://schemas.microsoft.com/office/drawing/2014/main" id="{6BAEFCE8-AA4E-4972-BCB1-7CCA549391CB}"/>
                </a:ext>
              </a:extLst>
            </p:cNvPr>
            <p:cNvSpPr/>
            <p:nvPr userDrawn="1"/>
          </p:nvSpPr>
          <p:spPr bwMode="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8" name="Freeform: Shape 217">
              <a:extLst>
                <a:ext uri="{FF2B5EF4-FFF2-40B4-BE49-F238E27FC236}">
                  <a16:creationId xmlns:a16="http://schemas.microsoft.com/office/drawing/2014/main" id="{AC7A7F14-873F-4714-A75C-0839615AA9FB}"/>
                </a:ext>
              </a:extLst>
            </p:cNvPr>
            <p:cNvSpPr/>
            <p:nvPr userDrawn="1"/>
          </p:nvSpPr>
          <p:spPr bwMode="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19" name="Freeform: Shape 218">
              <a:extLst>
                <a:ext uri="{FF2B5EF4-FFF2-40B4-BE49-F238E27FC236}">
                  <a16:creationId xmlns:a16="http://schemas.microsoft.com/office/drawing/2014/main" id="{0917B358-4946-4D30-AAAB-7E0175159EA0}"/>
                </a:ext>
              </a:extLst>
            </p:cNvPr>
            <p:cNvSpPr/>
            <p:nvPr userDrawn="1"/>
          </p:nvSpPr>
          <p:spPr bwMode="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0" name="Freeform: Shape 219">
              <a:extLst>
                <a:ext uri="{FF2B5EF4-FFF2-40B4-BE49-F238E27FC236}">
                  <a16:creationId xmlns:a16="http://schemas.microsoft.com/office/drawing/2014/main" id="{E0BB4314-8F96-4718-8B5E-B905DDE49A7E}"/>
                </a:ext>
              </a:extLst>
            </p:cNvPr>
            <p:cNvSpPr/>
            <p:nvPr userDrawn="1"/>
          </p:nvSpPr>
          <p:spPr bwMode="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1" name="Freeform: Shape 220">
              <a:extLst>
                <a:ext uri="{FF2B5EF4-FFF2-40B4-BE49-F238E27FC236}">
                  <a16:creationId xmlns:a16="http://schemas.microsoft.com/office/drawing/2014/main" id="{D2D0D114-5DE4-4E61-899C-07588FB06DF3}"/>
                </a:ext>
              </a:extLst>
            </p:cNvPr>
            <p:cNvSpPr/>
            <p:nvPr userDrawn="1"/>
          </p:nvSpPr>
          <p:spPr bwMode="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2" name="Freeform: Shape 221">
              <a:extLst>
                <a:ext uri="{FF2B5EF4-FFF2-40B4-BE49-F238E27FC236}">
                  <a16:creationId xmlns:a16="http://schemas.microsoft.com/office/drawing/2014/main" id="{04036915-BBD4-4851-93E8-A797358279D9}"/>
                </a:ext>
              </a:extLst>
            </p:cNvPr>
            <p:cNvSpPr/>
            <p:nvPr userDrawn="1"/>
          </p:nvSpPr>
          <p:spPr bwMode="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3" name="Freeform: Shape 222">
              <a:extLst>
                <a:ext uri="{FF2B5EF4-FFF2-40B4-BE49-F238E27FC236}">
                  <a16:creationId xmlns:a16="http://schemas.microsoft.com/office/drawing/2014/main" id="{06D83B2A-2D56-454A-A448-ACAE0CD1D158}"/>
                </a:ext>
              </a:extLst>
            </p:cNvPr>
            <p:cNvSpPr/>
            <p:nvPr userDrawn="1"/>
          </p:nvSpPr>
          <p:spPr bwMode="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224" name="Freeform: Shape 223">
              <a:extLst>
                <a:ext uri="{FF2B5EF4-FFF2-40B4-BE49-F238E27FC236}">
                  <a16:creationId xmlns:a16="http://schemas.microsoft.com/office/drawing/2014/main" id="{537C2011-1B30-471D-B374-D87B2F631652}"/>
                </a:ext>
              </a:extLst>
            </p:cNvPr>
            <p:cNvSpPr/>
            <p:nvPr userDrawn="1"/>
          </p:nvSpPr>
          <p:spPr bwMode="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225" name="Straight Connector 224">
              <a:extLst>
                <a:ext uri="{FF2B5EF4-FFF2-40B4-BE49-F238E27FC236}">
                  <a16:creationId xmlns:a16="http://schemas.microsoft.com/office/drawing/2014/main" id="{C8F76A20-DBFD-4B9A-BE7D-31180C641FA0}"/>
                </a:ext>
              </a:extLst>
            </p:cNvPr>
            <p:cNvCxnSpPr/>
            <p:nvPr userDrawn="1"/>
          </p:nvCxnSpPr>
          <p:spPr bwMode="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B545DD8E-6238-40A1-A9E7-0CB32914911D}"/>
                </a:ext>
              </a:extLst>
            </p:cNvPr>
            <p:cNvCxnSpPr/>
            <p:nvPr userDrawn="1"/>
          </p:nvCxnSpPr>
          <p:spPr bwMode="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846B7DA4-3920-4B1D-AA7A-BAA908F568D5}"/>
                </a:ext>
              </a:extLst>
            </p:cNvPr>
            <p:cNvCxnSpPr/>
            <p:nvPr userDrawn="1"/>
          </p:nvCxnSpPr>
          <p:spPr bwMode="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F712EFC8-A725-4CCE-8BC8-388C349C2F0F}"/>
                </a:ext>
              </a:extLst>
            </p:cNvPr>
            <p:cNvCxnSpPr/>
            <p:nvPr userDrawn="1"/>
          </p:nvCxnSpPr>
          <p:spPr bwMode="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1E269678-4626-4DD2-AD14-B4E734025420}"/>
                </a:ext>
              </a:extLst>
            </p:cNvPr>
            <p:cNvCxnSpPr/>
            <p:nvPr userDrawn="1"/>
          </p:nvCxnSpPr>
          <p:spPr bwMode="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FEF5B142-72A7-412C-A4A1-ED45648F13E2}"/>
                </a:ext>
              </a:extLst>
            </p:cNvPr>
            <p:cNvCxnSpPr/>
            <p:nvPr userDrawn="1"/>
          </p:nvCxnSpPr>
          <p:spPr bwMode="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86943484-6D68-4D25-BEA2-607B81CC81A1}"/>
                </a:ext>
              </a:extLst>
            </p:cNvPr>
            <p:cNvCxnSpPr/>
            <p:nvPr userDrawn="1"/>
          </p:nvCxnSpPr>
          <p:spPr bwMode="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624BD91D-C4CF-4637-A29C-DFBC02EF78D0}"/>
                </a:ext>
              </a:extLst>
            </p:cNvPr>
            <p:cNvCxnSpPr/>
            <p:nvPr userDrawn="1"/>
          </p:nvCxnSpPr>
          <p:spPr bwMode="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5CBB7BE1-7BDD-42BB-B011-062A7D4DE69C}"/>
                </a:ext>
              </a:extLst>
            </p:cNvPr>
            <p:cNvCxnSpPr/>
            <p:nvPr userDrawn="1"/>
          </p:nvCxnSpPr>
          <p:spPr bwMode="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B4FC5B03-6517-4A88-8B16-A1D4CE1B40F4}"/>
                </a:ext>
              </a:extLst>
            </p:cNvPr>
            <p:cNvCxnSpPr/>
            <p:nvPr userDrawn="1"/>
          </p:nvCxnSpPr>
          <p:spPr bwMode="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832FD3D2-0C2A-4082-A143-4EFFBD928298}"/>
                </a:ext>
              </a:extLst>
            </p:cNvPr>
            <p:cNvCxnSpPr/>
            <p:nvPr userDrawn="1"/>
          </p:nvCxnSpPr>
          <p:spPr bwMode="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13F6219C-6F70-4B61-A6BE-79D0FD7094BF}"/>
                </a:ext>
              </a:extLst>
            </p:cNvPr>
            <p:cNvCxnSpPr/>
            <p:nvPr userDrawn="1"/>
          </p:nvCxnSpPr>
          <p:spPr bwMode="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E3444F34-64A1-4A73-9AAC-870F360D0243}"/>
                </a:ext>
              </a:extLst>
            </p:cNvPr>
            <p:cNvCxnSpPr/>
            <p:nvPr userDrawn="1"/>
          </p:nvCxnSpPr>
          <p:spPr bwMode="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94808C27-CEC5-43D6-B2D7-3C3C7059B573}"/>
                </a:ext>
              </a:extLst>
            </p:cNvPr>
            <p:cNvCxnSpPr/>
            <p:nvPr userDrawn="1"/>
          </p:nvCxnSpPr>
          <p:spPr bwMode="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5B3503CC-B04C-426C-949F-F3FC31425FEB}"/>
                </a:ext>
              </a:extLst>
            </p:cNvPr>
            <p:cNvCxnSpPr/>
            <p:nvPr userDrawn="1"/>
          </p:nvCxnSpPr>
          <p:spPr bwMode="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4A2B1578-5111-4BE7-931E-242321A59CA9}"/>
                </a:ext>
              </a:extLst>
            </p:cNvPr>
            <p:cNvCxnSpPr/>
            <p:nvPr userDrawn="1"/>
          </p:nvCxnSpPr>
          <p:spPr bwMode="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465DDD97-A397-40EC-A211-5E87B6B0B662}"/>
                </a:ext>
              </a:extLst>
            </p:cNvPr>
            <p:cNvCxnSpPr/>
            <p:nvPr userDrawn="1"/>
          </p:nvCxnSpPr>
          <p:spPr bwMode="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AF4D4C72-E117-4C1D-B739-B75FE02B87FC}"/>
                </a:ext>
              </a:extLst>
            </p:cNvPr>
            <p:cNvCxnSpPr/>
            <p:nvPr userDrawn="1"/>
          </p:nvCxnSpPr>
          <p:spPr bwMode="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41AED1DD-F122-4B41-B6BB-7719F1232C06}"/>
                </a:ext>
              </a:extLst>
            </p:cNvPr>
            <p:cNvCxnSpPr/>
            <p:nvPr userDrawn="1"/>
          </p:nvCxnSpPr>
          <p:spPr bwMode="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C2DE51BE-00F9-45C2-9743-601D27D2FCB1}"/>
                </a:ext>
              </a:extLst>
            </p:cNvPr>
            <p:cNvCxnSpPr/>
            <p:nvPr userDrawn="1"/>
          </p:nvCxnSpPr>
          <p:spPr bwMode="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51DBDE71-C5A4-47D0-8F4D-445ED7EBBC02}"/>
                </a:ext>
              </a:extLst>
            </p:cNvPr>
            <p:cNvCxnSpPr/>
            <p:nvPr userDrawn="1"/>
          </p:nvCxnSpPr>
          <p:spPr bwMode="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C4E39DC0-CDD5-4BB0-9423-B3CD76795955}"/>
                </a:ext>
              </a:extLst>
            </p:cNvPr>
            <p:cNvCxnSpPr/>
            <p:nvPr userDrawn="1"/>
          </p:nvCxnSpPr>
          <p:spPr bwMode="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34197F31-5ADE-425C-A215-3B985F2D0F70}"/>
                </a:ext>
              </a:extLst>
            </p:cNvPr>
            <p:cNvCxnSpPr/>
            <p:nvPr userDrawn="1"/>
          </p:nvCxnSpPr>
          <p:spPr bwMode="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C3F56A52-6409-474A-AC10-21942DF341D1}"/>
                </a:ext>
              </a:extLst>
            </p:cNvPr>
            <p:cNvCxnSpPr/>
            <p:nvPr userDrawn="1"/>
          </p:nvCxnSpPr>
          <p:spPr bwMode="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0F880D30-4361-4F07-9E65-761B56E8D8DF}"/>
                </a:ext>
              </a:extLst>
            </p:cNvPr>
            <p:cNvCxnSpPr/>
            <p:nvPr userDrawn="1"/>
          </p:nvCxnSpPr>
          <p:spPr bwMode="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00881E81-0967-47FA-B2F5-C2D42469C7EA}"/>
                </a:ext>
              </a:extLst>
            </p:cNvPr>
            <p:cNvCxnSpPr/>
            <p:nvPr userDrawn="1"/>
          </p:nvCxnSpPr>
          <p:spPr bwMode="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68FDAAED-2DE5-4415-AC4F-71BF36E3DAC2}"/>
                </a:ext>
              </a:extLst>
            </p:cNvPr>
            <p:cNvCxnSpPr/>
            <p:nvPr userDrawn="1"/>
          </p:nvCxnSpPr>
          <p:spPr bwMode="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F9B004E8-D88B-4A71-9DF9-0F9A36100A5C}"/>
                </a:ext>
              </a:extLst>
            </p:cNvPr>
            <p:cNvCxnSpPr/>
            <p:nvPr userDrawn="1"/>
          </p:nvCxnSpPr>
          <p:spPr bwMode="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6E082F8F-16FA-4AEB-8166-162C6FCCEB66}"/>
                </a:ext>
              </a:extLst>
            </p:cNvPr>
            <p:cNvCxnSpPr/>
            <p:nvPr userDrawn="1"/>
          </p:nvCxnSpPr>
          <p:spPr bwMode="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FC2DCAFF-2DF6-4BBC-BCDD-0D570455CE06}"/>
                </a:ext>
              </a:extLst>
            </p:cNvPr>
            <p:cNvCxnSpPr/>
            <p:nvPr userDrawn="1"/>
          </p:nvCxnSpPr>
          <p:spPr bwMode="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B977AE58-9FB0-42DA-9B39-BFD87E4B724A}"/>
                </a:ext>
              </a:extLst>
            </p:cNvPr>
            <p:cNvCxnSpPr/>
            <p:nvPr userDrawn="1"/>
          </p:nvCxnSpPr>
          <p:spPr bwMode="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EEF759A5-C252-45E9-B082-FD35CD055299}"/>
                </a:ext>
              </a:extLst>
            </p:cNvPr>
            <p:cNvCxnSpPr/>
            <p:nvPr userDrawn="1"/>
          </p:nvCxnSpPr>
          <p:spPr bwMode="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A6062B46-308B-4012-85F6-0368F5983B75}"/>
                </a:ext>
              </a:extLst>
            </p:cNvPr>
            <p:cNvCxnSpPr/>
            <p:nvPr userDrawn="1"/>
          </p:nvCxnSpPr>
          <p:spPr bwMode="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B0D8E9E1-16CF-4856-B7CC-293CC0754512}"/>
                </a:ext>
              </a:extLst>
            </p:cNvPr>
            <p:cNvCxnSpPr/>
            <p:nvPr userDrawn="1"/>
          </p:nvCxnSpPr>
          <p:spPr bwMode="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CAC04634-4F05-4544-9451-CFC9D7814D5D}"/>
                </a:ext>
              </a:extLst>
            </p:cNvPr>
            <p:cNvCxnSpPr/>
            <p:nvPr userDrawn="1"/>
          </p:nvCxnSpPr>
          <p:spPr bwMode="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B5CF2D49-79B9-43C6-84C8-F0E26D667D1D}"/>
                </a:ext>
              </a:extLst>
            </p:cNvPr>
            <p:cNvCxnSpPr/>
            <p:nvPr userDrawn="1"/>
          </p:nvCxnSpPr>
          <p:spPr bwMode="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19D2EE3B-2073-41B9-BF48-6CF58DCD5F9F}"/>
                </a:ext>
              </a:extLst>
            </p:cNvPr>
            <p:cNvCxnSpPr/>
            <p:nvPr userDrawn="1"/>
          </p:nvCxnSpPr>
          <p:spPr bwMode="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5427CE8A-B394-4BC8-90E6-F01DA9DFEF69}"/>
                </a:ext>
              </a:extLst>
            </p:cNvPr>
            <p:cNvCxnSpPr/>
            <p:nvPr userDrawn="1"/>
          </p:nvCxnSpPr>
          <p:spPr bwMode="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26C3FEEB-8CED-4573-950A-702EA59DB370}"/>
                </a:ext>
              </a:extLst>
            </p:cNvPr>
            <p:cNvCxnSpPr/>
            <p:nvPr userDrawn="1"/>
          </p:nvCxnSpPr>
          <p:spPr bwMode="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124DED01-33FE-453B-8054-51C70E958B69}"/>
                </a:ext>
              </a:extLst>
            </p:cNvPr>
            <p:cNvCxnSpPr/>
            <p:nvPr userDrawn="1"/>
          </p:nvCxnSpPr>
          <p:spPr bwMode="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4BC90B9C-86A4-4B76-AB2F-48C8BA557B2A}"/>
                </a:ext>
              </a:extLst>
            </p:cNvPr>
            <p:cNvCxnSpPr/>
            <p:nvPr userDrawn="1"/>
          </p:nvCxnSpPr>
          <p:spPr bwMode="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FCFD93DC-72B3-48E1-B57C-CAC54C82ED13}"/>
                </a:ext>
              </a:extLst>
            </p:cNvPr>
            <p:cNvCxnSpPr/>
            <p:nvPr userDrawn="1"/>
          </p:nvCxnSpPr>
          <p:spPr bwMode="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614304D6-019F-44B7-8088-DB02E79D3B35}"/>
                </a:ext>
              </a:extLst>
            </p:cNvPr>
            <p:cNvCxnSpPr/>
            <p:nvPr userDrawn="1"/>
          </p:nvCxnSpPr>
          <p:spPr bwMode="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A9A21668-FF36-42B2-8E8C-DC36580D76B7}"/>
                </a:ext>
              </a:extLst>
            </p:cNvPr>
            <p:cNvCxnSpPr/>
            <p:nvPr userDrawn="1"/>
          </p:nvCxnSpPr>
          <p:spPr bwMode="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269" name="main body box">
              <a:extLst>
                <a:ext uri="{FF2B5EF4-FFF2-40B4-BE49-F238E27FC236}">
                  <a16:creationId xmlns:a16="http://schemas.microsoft.com/office/drawing/2014/main" id="{0F4A42CE-FEE6-4F15-ABED-0ED2DF2E0134}"/>
                </a:ext>
              </a:extLst>
            </p:cNvPr>
            <p:cNvSpPr/>
            <p:nvPr userDrawn="1"/>
          </p:nvSpPr>
          <p:spPr bwMode="gray">
            <a:xfrm>
              <a:off x="554736" y="1405610"/>
              <a:ext cx="11082528" cy="4812310"/>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270" name="Straight Connector 269">
              <a:extLst>
                <a:ext uri="{FF2B5EF4-FFF2-40B4-BE49-F238E27FC236}">
                  <a16:creationId xmlns:a16="http://schemas.microsoft.com/office/drawing/2014/main" id="{FAFC25A2-0E4C-4885-9514-D2AB63FE0822}"/>
                </a:ext>
              </a:extLst>
            </p:cNvPr>
            <p:cNvCxnSpPr/>
            <p:nvPr userDrawn="1"/>
          </p:nvCxnSpPr>
          <p:spPr bwMode="gray">
            <a:xfrm>
              <a:off x="554736" y="1865376"/>
              <a:ext cx="11082528" cy="0"/>
            </a:xfrm>
            <a:prstGeom prst="line">
              <a:avLst/>
            </a:prstGeom>
            <a:noFill/>
            <a:ln w="12700">
              <a:solidFill>
                <a:srgbClr val="19D3C5">
                  <a:alpha val="50000"/>
                </a:srgbClr>
              </a:solidFill>
            </a:ln>
          </p:spPr>
        </p:cxnSp>
        <p:cxnSp>
          <p:nvCxnSpPr>
            <p:cNvPr id="271" name="Straight Connector 270">
              <a:extLst>
                <a:ext uri="{FF2B5EF4-FFF2-40B4-BE49-F238E27FC236}">
                  <a16:creationId xmlns:a16="http://schemas.microsoft.com/office/drawing/2014/main" id="{C6E16B4E-FA8E-424E-8B59-17E11E8A383B}"/>
                </a:ext>
              </a:extLst>
            </p:cNvPr>
            <p:cNvCxnSpPr/>
            <p:nvPr userDrawn="1"/>
          </p:nvCxnSpPr>
          <p:spPr bwMode="gray">
            <a:xfrm>
              <a:off x="554736" y="1408557"/>
              <a:ext cx="11082528" cy="0"/>
            </a:xfrm>
            <a:prstGeom prst="line">
              <a:avLst/>
            </a:prstGeom>
            <a:noFill/>
            <a:ln w="12700">
              <a:solidFill>
                <a:srgbClr val="19D3C5">
                  <a:alpha val="50000"/>
                </a:srgbClr>
              </a:solidFill>
            </a:ln>
          </p:spPr>
        </p:cxnSp>
      </p:grpSp>
      <p:sp>
        <p:nvSpPr>
          <p:cNvPr id="272" name="Sticker" hidden="1">
            <a:extLst>
              <a:ext uri="{FF2B5EF4-FFF2-40B4-BE49-F238E27FC236}">
                <a16:creationId xmlns:a16="http://schemas.microsoft.com/office/drawing/2014/main" id="{B441B46A-23BA-471B-96B6-498030A9A587}"/>
              </a:ext>
            </a:extLst>
          </p:cNvPr>
          <p:cNvSpPr txBox="1"/>
          <p:nvPr userDrawn="1"/>
        </p:nvSpPr>
        <p:spPr>
          <a:xfrm>
            <a:off x="558489" y="964729"/>
            <a:ext cx="344646"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2"/>
            </p:custDataLst>
          </p:nvPr>
        </p:nvSpPr>
        <p:spPr>
          <a:xfrm>
            <a:off x="554736" y="172212"/>
            <a:ext cx="9640824"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pPr lvl="0"/>
            <a:r>
              <a:rPr lang="en-US" dirty="0"/>
              <a:t>Click to edit Master title style</a:t>
            </a:r>
          </a:p>
        </p:txBody>
      </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3"/>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24"/>
            </p:custDataLst>
          </p:nvPr>
        </p:nvSpPr>
        <p:spPr>
          <a:xfrm>
            <a:off x="5987738" y="2170800"/>
            <a:ext cx="3049253" cy="53860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sz="1400" b="0" dirty="0"/>
              <a:t>Unit of Measure</a:t>
            </a:r>
          </a:p>
        </p:txBody>
      </p:sp>
      <p:sp>
        <p:nvSpPr>
          <p:cNvPr id="4" name="Text Placeholder 3">
            <a:extLst>
              <a:ext uri="{FF2B5EF4-FFF2-40B4-BE49-F238E27FC236}">
                <a16:creationId xmlns:a16="http://schemas.microsoft.com/office/drawing/2014/main" id="{AEA8BC65-10CC-4404-9B17-2797DDA47747}"/>
              </a:ext>
            </a:extLst>
          </p:cNvPr>
          <p:cNvSpPr>
            <a:spLocks noGrp="1"/>
          </p:cNvSpPr>
          <p:nvPr>
            <p:ph type="body" idx="1"/>
          </p:nvPr>
        </p:nvSpPr>
        <p:spPr>
          <a:xfrm>
            <a:off x="554736" y="2170800"/>
            <a:ext cx="2463688" cy="1384995"/>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6" name="LegendBoxes" hidden="1">
            <a:extLst>
              <a:ext uri="{FF2B5EF4-FFF2-40B4-BE49-F238E27FC236}">
                <a16:creationId xmlns:a16="http://schemas.microsoft.com/office/drawing/2014/main" id="{B1E43079-E7F8-2A9A-B839-CFB44C7B24A4}"/>
              </a:ext>
            </a:extLst>
          </p:cNvPr>
          <p:cNvGrpSpPr/>
          <p:nvPr userDrawn="1"/>
        </p:nvGrpSpPr>
        <p:grpSpPr>
          <a:xfrm>
            <a:off x="10714801" y="4520490"/>
            <a:ext cx="853663" cy="1717282"/>
            <a:chOff x="10554770" y="4322824"/>
            <a:chExt cx="853663" cy="1717282"/>
          </a:xfrm>
        </p:grpSpPr>
        <p:sp>
          <p:nvSpPr>
            <p:cNvPr id="7" name="RectangleLegend1" hidden="1">
              <a:extLst>
                <a:ext uri="{FF2B5EF4-FFF2-40B4-BE49-F238E27FC236}">
                  <a16:creationId xmlns:a16="http://schemas.microsoft.com/office/drawing/2014/main" id="{AF4D4BFB-F3FF-C7BE-2F3D-8B07395D7CED}"/>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8" name="RectangleLegend2" hidden="1">
              <a:extLst>
                <a:ext uri="{FF2B5EF4-FFF2-40B4-BE49-F238E27FC236}">
                  <a16:creationId xmlns:a16="http://schemas.microsoft.com/office/drawing/2014/main" id="{40718B26-17B1-C41B-5374-5D5F7F824582}"/>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9" name="RectangleLegend3" hidden="1">
              <a:extLst>
                <a:ext uri="{FF2B5EF4-FFF2-40B4-BE49-F238E27FC236}">
                  <a16:creationId xmlns:a16="http://schemas.microsoft.com/office/drawing/2014/main" id="{725E6DB8-318D-8063-A556-DA08214A2651}"/>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0" name="RectangleLegend4" hidden="1">
              <a:extLst>
                <a:ext uri="{FF2B5EF4-FFF2-40B4-BE49-F238E27FC236}">
                  <a16:creationId xmlns:a16="http://schemas.microsoft.com/office/drawing/2014/main" id="{93FF0DD2-47CE-F283-6D9A-688E101103C7}"/>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1" name="RectangleLegend5" hidden="1">
              <a:extLst>
                <a:ext uri="{FF2B5EF4-FFF2-40B4-BE49-F238E27FC236}">
                  <a16:creationId xmlns:a16="http://schemas.microsoft.com/office/drawing/2014/main" id="{32CD2328-2ABE-FCA2-4E58-F2341C44302F}"/>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2" name="Legend1" hidden="1">
              <a:extLst>
                <a:ext uri="{FF2B5EF4-FFF2-40B4-BE49-F238E27FC236}">
                  <a16:creationId xmlns:a16="http://schemas.microsoft.com/office/drawing/2014/main" id="{E924C2D2-153F-3029-4B00-5DAE0816E0B8}"/>
                </a:ext>
              </a:extLst>
            </p:cNvPr>
            <p:cNvSpPr txBox="1"/>
            <p:nvPr/>
          </p:nvSpPr>
          <p:spPr>
            <a:xfrm>
              <a:off x="10880916" y="4322824"/>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3" name="Legend2" hidden="1">
              <a:extLst>
                <a:ext uri="{FF2B5EF4-FFF2-40B4-BE49-F238E27FC236}">
                  <a16:creationId xmlns:a16="http://schemas.microsoft.com/office/drawing/2014/main" id="{11EC5E6F-C545-93B0-0250-C29B6690D96D}"/>
                </a:ext>
              </a:extLst>
            </p:cNvPr>
            <p:cNvSpPr txBox="1"/>
            <p:nvPr/>
          </p:nvSpPr>
          <p:spPr>
            <a:xfrm>
              <a:off x="10880916" y="4702322"/>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4" name="Legend3" hidden="1">
              <a:extLst>
                <a:ext uri="{FF2B5EF4-FFF2-40B4-BE49-F238E27FC236}">
                  <a16:creationId xmlns:a16="http://schemas.microsoft.com/office/drawing/2014/main" id="{4DE1BE3B-2F91-1B42-ACAE-836B0C09B81E}"/>
                </a:ext>
              </a:extLst>
            </p:cNvPr>
            <p:cNvSpPr txBox="1"/>
            <p:nvPr/>
          </p:nvSpPr>
          <p:spPr>
            <a:xfrm>
              <a:off x="10880916" y="5081820"/>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 name="Legend4" hidden="1">
              <a:extLst>
                <a:ext uri="{FF2B5EF4-FFF2-40B4-BE49-F238E27FC236}">
                  <a16:creationId xmlns:a16="http://schemas.microsoft.com/office/drawing/2014/main" id="{99A4D258-B342-F13F-6FBA-ABC0F233C487}"/>
                </a:ext>
              </a:extLst>
            </p:cNvPr>
            <p:cNvSpPr txBox="1"/>
            <p:nvPr/>
          </p:nvSpPr>
          <p:spPr>
            <a:xfrm>
              <a:off x="10880916" y="5453241"/>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 name="Legend5" hidden="1">
              <a:extLst>
                <a:ext uri="{FF2B5EF4-FFF2-40B4-BE49-F238E27FC236}">
                  <a16:creationId xmlns:a16="http://schemas.microsoft.com/office/drawing/2014/main" id="{9D81D625-5FEA-9E41-62B1-3C7CDC3C3C8B}"/>
                </a:ext>
              </a:extLst>
            </p:cNvPr>
            <p:cNvSpPr txBox="1"/>
            <p:nvPr/>
          </p:nvSpPr>
          <p:spPr>
            <a:xfrm>
              <a:off x="10880915" y="5824662"/>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grpSp>
        <p:nvGrpSpPr>
          <p:cNvPr id="17" name="LegendLines" hidden="1">
            <a:extLst>
              <a:ext uri="{FF2B5EF4-FFF2-40B4-BE49-F238E27FC236}">
                <a16:creationId xmlns:a16="http://schemas.microsoft.com/office/drawing/2014/main" id="{E27333CB-80C7-42CC-6235-5D88EDFD5680}"/>
              </a:ext>
            </a:extLst>
          </p:cNvPr>
          <p:cNvGrpSpPr/>
          <p:nvPr userDrawn="1"/>
        </p:nvGrpSpPr>
        <p:grpSpPr>
          <a:xfrm>
            <a:off x="10317304" y="3355023"/>
            <a:ext cx="1251160" cy="958286"/>
            <a:chOff x="10162879" y="3243772"/>
            <a:chExt cx="1251160" cy="958286"/>
          </a:xfrm>
        </p:grpSpPr>
        <p:sp>
          <p:nvSpPr>
            <p:cNvPr id="18" name="Legend1" hidden="1">
              <a:extLst>
                <a:ext uri="{FF2B5EF4-FFF2-40B4-BE49-F238E27FC236}">
                  <a16:creationId xmlns:a16="http://schemas.microsoft.com/office/drawing/2014/main" id="{1B3FA431-DB5F-D612-72CB-D4D3A90F6CF4}"/>
                </a:ext>
              </a:extLst>
            </p:cNvPr>
            <p:cNvSpPr txBox="1"/>
            <p:nvPr/>
          </p:nvSpPr>
          <p:spPr>
            <a:xfrm>
              <a:off x="10886522" y="3243772"/>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 name="Legend2" hidden="1">
              <a:extLst>
                <a:ext uri="{FF2B5EF4-FFF2-40B4-BE49-F238E27FC236}">
                  <a16:creationId xmlns:a16="http://schemas.microsoft.com/office/drawing/2014/main" id="{F4E47F1B-4725-9227-3B38-5C53911A826F}"/>
                </a:ext>
              </a:extLst>
            </p:cNvPr>
            <p:cNvSpPr txBox="1"/>
            <p:nvPr/>
          </p:nvSpPr>
          <p:spPr>
            <a:xfrm>
              <a:off x="10886522" y="3615193"/>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 name="Legend3" hidden="1">
              <a:extLst>
                <a:ext uri="{FF2B5EF4-FFF2-40B4-BE49-F238E27FC236}">
                  <a16:creationId xmlns:a16="http://schemas.microsoft.com/office/drawing/2014/main" id="{268F3FC7-C8A5-F691-B137-A5C90E364043}"/>
                </a:ext>
              </a:extLst>
            </p:cNvPr>
            <p:cNvSpPr txBox="1"/>
            <p:nvPr/>
          </p:nvSpPr>
          <p:spPr>
            <a:xfrm>
              <a:off x="10886522" y="3986614"/>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1" name="LineLegend3" hidden="1">
              <a:extLst>
                <a:ext uri="{FF2B5EF4-FFF2-40B4-BE49-F238E27FC236}">
                  <a16:creationId xmlns:a16="http://schemas.microsoft.com/office/drawing/2014/main" id="{851C3F85-5DC5-47B5-3E9F-8BFBE41B96E8}"/>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mn-lt"/>
                <a:ea typeface="+mn-ea"/>
              </a:endParaRPr>
            </a:p>
          </p:txBody>
        </p:sp>
        <p:sp>
          <p:nvSpPr>
            <p:cNvPr id="22" name="LineLegend2" hidden="1">
              <a:extLst>
                <a:ext uri="{FF2B5EF4-FFF2-40B4-BE49-F238E27FC236}">
                  <a16:creationId xmlns:a16="http://schemas.microsoft.com/office/drawing/2014/main" id="{BADFF1BD-C736-F4DC-0CB2-AADBD02EB1B2}"/>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mn-lt"/>
                <a:ea typeface="+mn-ea"/>
              </a:endParaRPr>
            </a:p>
          </p:txBody>
        </p:sp>
        <p:sp>
          <p:nvSpPr>
            <p:cNvPr id="23" name="LineLegend1" hidden="1">
              <a:extLst>
                <a:ext uri="{FF2B5EF4-FFF2-40B4-BE49-F238E27FC236}">
                  <a16:creationId xmlns:a16="http://schemas.microsoft.com/office/drawing/2014/main" id="{796714C4-4D7F-8133-D330-9140C565E5F4}"/>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mn-lt"/>
                <a:ea typeface="+mn-ea"/>
              </a:endParaRPr>
            </a:p>
          </p:txBody>
        </p:sp>
      </p:grpSp>
      <p:grpSp>
        <p:nvGrpSpPr>
          <p:cNvPr id="24" name="LegendMoons" hidden="1">
            <a:extLst>
              <a:ext uri="{FF2B5EF4-FFF2-40B4-BE49-F238E27FC236}">
                <a16:creationId xmlns:a16="http://schemas.microsoft.com/office/drawing/2014/main" id="{A96F0D56-E80B-F9FA-0557-348CF03582C8}"/>
              </a:ext>
            </a:extLst>
          </p:cNvPr>
          <p:cNvGrpSpPr/>
          <p:nvPr userDrawn="1"/>
        </p:nvGrpSpPr>
        <p:grpSpPr>
          <a:xfrm>
            <a:off x="10688315" y="1415983"/>
            <a:ext cx="880149" cy="1731859"/>
            <a:chOff x="7716535" y="2630582"/>
            <a:chExt cx="880149" cy="1731859"/>
          </a:xfrm>
        </p:grpSpPr>
        <p:sp>
          <p:nvSpPr>
            <p:cNvPr id="25" name="Legend1" hidden="1">
              <a:extLst>
                <a:ext uri="{FF2B5EF4-FFF2-40B4-BE49-F238E27FC236}">
                  <a16:creationId xmlns:a16="http://schemas.microsoft.com/office/drawing/2014/main" id="{CA2C2D2E-6B7A-49B4-771C-3BEDA00A64E2}"/>
                </a:ext>
              </a:extLst>
            </p:cNvPr>
            <p:cNvSpPr txBox="1"/>
            <p:nvPr/>
          </p:nvSpPr>
          <p:spPr>
            <a:xfrm>
              <a:off x="8069167" y="2637941"/>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6" name="Legend2" hidden="1">
              <a:extLst>
                <a:ext uri="{FF2B5EF4-FFF2-40B4-BE49-F238E27FC236}">
                  <a16:creationId xmlns:a16="http://schemas.microsoft.com/office/drawing/2014/main" id="{97AA7B3A-C794-A41A-B503-347AD4E8AFBE}"/>
                </a:ext>
              </a:extLst>
            </p:cNvPr>
            <p:cNvSpPr txBox="1"/>
            <p:nvPr/>
          </p:nvSpPr>
          <p:spPr>
            <a:xfrm>
              <a:off x="8069167" y="3013400"/>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7" name="Legend3" hidden="1">
              <a:extLst>
                <a:ext uri="{FF2B5EF4-FFF2-40B4-BE49-F238E27FC236}">
                  <a16:creationId xmlns:a16="http://schemas.microsoft.com/office/drawing/2014/main" id="{9B029DED-6B65-D8C2-76CA-F050D6527879}"/>
                </a:ext>
              </a:extLst>
            </p:cNvPr>
            <p:cNvSpPr txBox="1"/>
            <p:nvPr/>
          </p:nvSpPr>
          <p:spPr>
            <a:xfrm>
              <a:off x="8069167" y="3388859"/>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8" name="Legend4" hidden="1">
              <a:extLst>
                <a:ext uri="{FF2B5EF4-FFF2-40B4-BE49-F238E27FC236}">
                  <a16:creationId xmlns:a16="http://schemas.microsoft.com/office/drawing/2014/main" id="{3AAE5C9E-F13A-DB37-71D0-0E09E2B968DA}"/>
                </a:ext>
              </a:extLst>
            </p:cNvPr>
            <p:cNvSpPr txBox="1"/>
            <p:nvPr/>
          </p:nvSpPr>
          <p:spPr>
            <a:xfrm>
              <a:off x="8069167" y="3764318"/>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9" name="Legend5" hidden="1">
              <a:extLst>
                <a:ext uri="{FF2B5EF4-FFF2-40B4-BE49-F238E27FC236}">
                  <a16:creationId xmlns:a16="http://schemas.microsoft.com/office/drawing/2014/main" id="{A66B1506-E9B3-2671-79FA-44AD45A6919C}"/>
                </a:ext>
              </a:extLst>
            </p:cNvPr>
            <p:cNvSpPr txBox="1"/>
            <p:nvPr/>
          </p:nvSpPr>
          <p:spPr>
            <a:xfrm>
              <a:off x="8069167" y="4139779"/>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30" name="MoonLegend1" hidden="1">
              <a:extLst>
                <a:ext uri="{FF2B5EF4-FFF2-40B4-BE49-F238E27FC236}">
                  <a16:creationId xmlns:a16="http://schemas.microsoft.com/office/drawing/2014/main" id="{4461B45D-548B-134E-1D97-28752E81248B}"/>
                </a:ext>
              </a:extLst>
            </p:cNvPr>
            <p:cNvGrpSpPr>
              <a:grpSpLocks noChangeAspect="1"/>
            </p:cNvGrpSpPr>
            <p:nvPr>
              <p:custDataLst>
                <p:tags r:id="rId25"/>
              </p:custDataLst>
            </p:nvPr>
          </p:nvGrpSpPr>
          <p:grpSpPr>
            <a:xfrm>
              <a:off x="7716535" y="2630582"/>
              <a:ext cx="228600" cy="228600"/>
              <a:chOff x="762000" y="1270000"/>
              <a:chExt cx="254000" cy="254000"/>
            </a:xfrm>
          </p:grpSpPr>
          <p:sp>
            <p:nvSpPr>
              <p:cNvPr id="43" name="Oval 42" hidden="1">
                <a:extLst>
                  <a:ext uri="{FF2B5EF4-FFF2-40B4-BE49-F238E27FC236}">
                    <a16:creationId xmlns:a16="http://schemas.microsoft.com/office/drawing/2014/main" id="{673BD834-0092-7967-EACA-51A09E919467}"/>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44" name="Arc 43" hidden="1">
                <a:extLst>
                  <a:ext uri="{FF2B5EF4-FFF2-40B4-BE49-F238E27FC236}">
                    <a16:creationId xmlns:a16="http://schemas.microsoft.com/office/drawing/2014/main" id="{35D946DA-DE4E-F8EA-2F5A-5D649B8BCF55}"/>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31" name="MoonLegend2" hidden="1">
              <a:extLst>
                <a:ext uri="{FF2B5EF4-FFF2-40B4-BE49-F238E27FC236}">
                  <a16:creationId xmlns:a16="http://schemas.microsoft.com/office/drawing/2014/main" id="{C105E030-C22B-B6B4-1686-B38637ADBE52}"/>
                </a:ext>
              </a:extLst>
            </p:cNvPr>
            <p:cNvGrpSpPr>
              <a:grpSpLocks noChangeAspect="1"/>
            </p:cNvGrpSpPr>
            <p:nvPr>
              <p:custDataLst>
                <p:tags r:id="rId26"/>
              </p:custDataLst>
            </p:nvPr>
          </p:nvGrpSpPr>
          <p:grpSpPr>
            <a:xfrm>
              <a:off x="7716535" y="3006395"/>
              <a:ext cx="228600" cy="228600"/>
              <a:chOff x="762000" y="1270000"/>
              <a:chExt cx="254000" cy="254000"/>
            </a:xfrm>
          </p:grpSpPr>
          <p:sp>
            <p:nvSpPr>
              <p:cNvPr id="41" name="Oval 40" hidden="1">
                <a:extLst>
                  <a:ext uri="{FF2B5EF4-FFF2-40B4-BE49-F238E27FC236}">
                    <a16:creationId xmlns:a16="http://schemas.microsoft.com/office/drawing/2014/main" id="{4D9B96D3-6C08-DE14-61AD-8B6E3432D905}"/>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42" name="Arc 41" hidden="1">
                <a:extLst>
                  <a:ext uri="{FF2B5EF4-FFF2-40B4-BE49-F238E27FC236}">
                    <a16:creationId xmlns:a16="http://schemas.microsoft.com/office/drawing/2014/main" id="{3E429FA0-89C1-EEFC-5B6E-41A966CDA446}"/>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32" name="MoonLegend3" hidden="1">
              <a:extLst>
                <a:ext uri="{FF2B5EF4-FFF2-40B4-BE49-F238E27FC236}">
                  <a16:creationId xmlns:a16="http://schemas.microsoft.com/office/drawing/2014/main" id="{3AA00839-0376-B3B5-2A5D-F818F7331B49}"/>
                </a:ext>
              </a:extLst>
            </p:cNvPr>
            <p:cNvGrpSpPr>
              <a:grpSpLocks noChangeAspect="1"/>
            </p:cNvGrpSpPr>
            <p:nvPr>
              <p:custDataLst>
                <p:tags r:id="rId27"/>
              </p:custDataLst>
            </p:nvPr>
          </p:nvGrpSpPr>
          <p:grpSpPr>
            <a:xfrm>
              <a:off x="7716535" y="3382210"/>
              <a:ext cx="228600" cy="228600"/>
              <a:chOff x="762000" y="1270000"/>
              <a:chExt cx="254000" cy="254000"/>
            </a:xfrm>
          </p:grpSpPr>
          <p:sp>
            <p:nvSpPr>
              <p:cNvPr id="39" name="Oval 38" hidden="1">
                <a:extLst>
                  <a:ext uri="{FF2B5EF4-FFF2-40B4-BE49-F238E27FC236}">
                    <a16:creationId xmlns:a16="http://schemas.microsoft.com/office/drawing/2014/main" id="{6CE557BD-ABC5-FC6C-E57E-A5C43C326A0C}"/>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40" name="Arc 39" hidden="1">
                <a:extLst>
                  <a:ext uri="{FF2B5EF4-FFF2-40B4-BE49-F238E27FC236}">
                    <a16:creationId xmlns:a16="http://schemas.microsoft.com/office/drawing/2014/main" id="{D6568744-6658-F902-5107-A08973609292}"/>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33" name="MoonLegend4" hidden="1">
              <a:extLst>
                <a:ext uri="{FF2B5EF4-FFF2-40B4-BE49-F238E27FC236}">
                  <a16:creationId xmlns:a16="http://schemas.microsoft.com/office/drawing/2014/main" id="{F89E6DB1-47A8-C630-DB5B-F05FE2BB1776}"/>
                </a:ext>
              </a:extLst>
            </p:cNvPr>
            <p:cNvGrpSpPr>
              <a:grpSpLocks noChangeAspect="1"/>
            </p:cNvGrpSpPr>
            <p:nvPr>
              <p:custDataLst>
                <p:tags r:id="rId28"/>
              </p:custDataLst>
            </p:nvPr>
          </p:nvGrpSpPr>
          <p:grpSpPr>
            <a:xfrm>
              <a:off x="7716535" y="3758025"/>
              <a:ext cx="228600" cy="228600"/>
              <a:chOff x="762000" y="1270000"/>
              <a:chExt cx="254000" cy="254000"/>
            </a:xfrm>
          </p:grpSpPr>
          <p:sp>
            <p:nvSpPr>
              <p:cNvPr id="37" name="Oval 36" hidden="1">
                <a:extLst>
                  <a:ext uri="{FF2B5EF4-FFF2-40B4-BE49-F238E27FC236}">
                    <a16:creationId xmlns:a16="http://schemas.microsoft.com/office/drawing/2014/main" id="{C2F42AD7-5E33-16D0-6710-33EB211E08D5}"/>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38" name="Arc 37" hidden="1">
                <a:extLst>
                  <a:ext uri="{FF2B5EF4-FFF2-40B4-BE49-F238E27FC236}">
                    <a16:creationId xmlns:a16="http://schemas.microsoft.com/office/drawing/2014/main" id="{0BF98058-72FA-6A3C-7C9A-1F61630923B7}"/>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34" name="MoonLegend5" hidden="1">
              <a:extLst>
                <a:ext uri="{FF2B5EF4-FFF2-40B4-BE49-F238E27FC236}">
                  <a16:creationId xmlns:a16="http://schemas.microsoft.com/office/drawing/2014/main" id="{40CA7A5E-E88E-386E-0FB5-35C4F1240A8C}"/>
                </a:ext>
              </a:extLst>
            </p:cNvPr>
            <p:cNvGrpSpPr>
              <a:grpSpLocks noChangeAspect="1"/>
            </p:cNvGrpSpPr>
            <p:nvPr>
              <p:custDataLst>
                <p:tags r:id="rId29"/>
              </p:custDataLst>
            </p:nvPr>
          </p:nvGrpSpPr>
          <p:grpSpPr>
            <a:xfrm>
              <a:off x="7716535" y="4133841"/>
              <a:ext cx="228600" cy="228600"/>
              <a:chOff x="762000" y="1270000"/>
              <a:chExt cx="254000" cy="254000"/>
            </a:xfrm>
          </p:grpSpPr>
          <p:sp>
            <p:nvSpPr>
              <p:cNvPr id="35" name="Oval 34" hidden="1">
                <a:extLst>
                  <a:ext uri="{FF2B5EF4-FFF2-40B4-BE49-F238E27FC236}">
                    <a16:creationId xmlns:a16="http://schemas.microsoft.com/office/drawing/2014/main" id="{2B935DB9-719F-0F51-BA2A-F1EDD46ADB85}"/>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36" name="Arc 35" hidden="1">
                <a:extLst>
                  <a:ext uri="{FF2B5EF4-FFF2-40B4-BE49-F238E27FC236}">
                    <a16:creationId xmlns:a16="http://schemas.microsoft.com/office/drawing/2014/main" id="{D3478C96-07AF-FF7F-5A7D-00088A2B4400}"/>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pic>
        <p:nvPicPr>
          <p:cNvPr id="48" name="Picture 47">
            <a:extLst>
              <a:ext uri="{FF2B5EF4-FFF2-40B4-BE49-F238E27FC236}">
                <a16:creationId xmlns:a16="http://schemas.microsoft.com/office/drawing/2014/main" id="{9FD5462D-9EE0-00D2-59EE-04C499398D55}"/>
              </a:ext>
            </a:extLst>
          </p:cNvPr>
          <p:cNvPicPr>
            <a:picLocks/>
          </p:cNvPicPr>
          <p:nvPr userDrawn="1"/>
        </p:nvPicPr>
        <p:blipFill>
          <a:blip r:embed="rId42" cstate="screen">
            <a:lum bright="70000" contrast="-70000"/>
            <a:extLst>
              <a:ext uri="{BEBA8EAE-BF5A-486C-A8C5-ECC9F3942E4B}">
                <a14:imgProps xmlns:a14="http://schemas.microsoft.com/office/drawing/2010/main">
                  <a14:imgLayer r:embed="rId43">
                    <a14:imgEffect>
                      <a14:artisticPhotocopy/>
                    </a14:imgEffect>
                  </a14:imgLayer>
                </a14:imgProps>
              </a:ext>
              <a:ext uri="{28A0092B-C50C-407E-A947-70E740481C1C}">
                <a14:useLocalDpi xmlns:a14="http://schemas.microsoft.com/office/drawing/2010/main"/>
              </a:ext>
            </a:extLst>
          </a:blip>
          <a:srcRect/>
          <a:stretch/>
        </p:blipFill>
        <p:spPr>
          <a:xfrm>
            <a:off x="10286286" y="172212"/>
            <a:ext cx="1350978" cy="384721"/>
          </a:xfrm>
          <a:prstGeom prst="rect">
            <a:avLst/>
          </a:prstGeom>
        </p:spPr>
      </p:pic>
      <p:pic>
        <p:nvPicPr>
          <p:cNvPr id="46" name="Picture 45">
            <a:extLst>
              <a:ext uri="{FF2B5EF4-FFF2-40B4-BE49-F238E27FC236}">
                <a16:creationId xmlns:a16="http://schemas.microsoft.com/office/drawing/2014/main" id="{E361E084-1021-A054-4F63-4EBFDF44AF00}"/>
              </a:ext>
            </a:extLst>
          </p:cNvPr>
          <p:cNvPicPr>
            <a:picLocks noChangeAspect="1"/>
          </p:cNvPicPr>
          <p:nvPr userDrawn="1"/>
        </p:nvPicPr>
        <p:blipFill>
          <a:blip r:embed="rId44">
            <a:extLst>
              <a:ext uri="{BEBA8EAE-BF5A-486C-A8C5-ECC9F3942E4B}">
                <a14:imgProps xmlns:a14="http://schemas.microsoft.com/office/drawing/2010/main">
                  <a14:imgLayer r:embed="rId45">
                    <a14:imgEffect>
                      <a14:brightnessContrast bright="40000" contrast="40000"/>
                    </a14:imgEffect>
                  </a14:imgLayer>
                </a14:imgProps>
              </a:ext>
            </a:extLst>
          </a:blip>
          <a:stretch>
            <a:fillRect/>
          </a:stretch>
        </p:blipFill>
        <p:spPr>
          <a:xfrm>
            <a:off x="0" y="0"/>
            <a:ext cx="3121153" cy="6858000"/>
          </a:xfrm>
          <a:prstGeom prst="rect">
            <a:avLst/>
          </a:prstGeom>
        </p:spPr>
      </p:pic>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99" r:id="rId1"/>
    <p:sldLayoutId id="2147483866" r:id="rId2"/>
    <p:sldLayoutId id="2147483898" r:id="rId3"/>
    <p:sldLayoutId id="2147483867" r:id="rId4"/>
    <p:sldLayoutId id="2147483868" r:id="rId5"/>
    <p:sldLayoutId id="2147483870" r:id="rId6"/>
    <p:sldLayoutId id="2147483871" r:id="rId7"/>
    <p:sldLayoutId id="2147483888" r:id="rId8"/>
    <p:sldLayoutId id="2147483889" r:id="rId9"/>
    <p:sldLayoutId id="2147483890" r:id="rId10"/>
    <p:sldLayoutId id="2147483891" r:id="rId11"/>
    <p:sldLayoutId id="2147483892" r:id="rId12"/>
    <p:sldLayoutId id="2147483894" r:id="rId13"/>
    <p:sldLayoutId id="2147483895" r:id="rId14"/>
    <p:sldLayoutId id="2147483896" r:id="rId15"/>
    <p:sldLayoutId id="2147483893" r:id="rId16"/>
    <p:sldLayoutId id="2147483877" r:id="rId17"/>
    <p:sldLayoutId id="2147483878" r:id="rId18"/>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71" userDrawn="1">
          <p15:clr>
            <a:srgbClr val="5ACBF0"/>
          </p15:clr>
        </p15:guide>
        <p15:guide id="3" orient="horz" pos="3912">
          <p15:clr>
            <a:srgbClr val="5ACBF0"/>
          </p15:clr>
        </p15:guide>
        <p15:guide id="4" orient="horz" pos="883" userDrawn="1">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36.bin"/><Relationship Id="rId3" Type="http://schemas.openxmlformats.org/officeDocument/2006/relationships/tags" Target="../tags/tag260.xml"/><Relationship Id="rId7" Type="http://schemas.openxmlformats.org/officeDocument/2006/relationships/notesSlide" Target="../notesSlides/notesSlide1.xml"/><Relationship Id="rId2" Type="http://schemas.openxmlformats.org/officeDocument/2006/relationships/tags" Target="../tags/tag259.xml"/><Relationship Id="rId1" Type="http://schemas.openxmlformats.org/officeDocument/2006/relationships/tags" Target="../tags/tag258.xml"/><Relationship Id="rId6" Type="http://schemas.openxmlformats.org/officeDocument/2006/relationships/slideLayout" Target="../slideLayouts/slideLayout1.xml"/><Relationship Id="rId5" Type="http://schemas.openxmlformats.org/officeDocument/2006/relationships/tags" Target="../tags/tag262.xml"/><Relationship Id="rId4" Type="http://schemas.openxmlformats.org/officeDocument/2006/relationships/tags" Target="../tags/tag261.xml"/><Relationship Id="rId9" Type="http://schemas.openxmlformats.org/officeDocument/2006/relationships/image" Target="../media/image4.emf"/></Relationships>
</file>

<file path=ppt/slides/_rels/slide10.xml.rels><?xml version="1.0" encoding="UTF-8" standalone="yes"?>
<Relationships xmlns="http://schemas.openxmlformats.org/package/2006/relationships"><Relationship Id="rId8" Type="http://schemas.openxmlformats.org/officeDocument/2006/relationships/tags" Target="../tags/tag435.xml"/><Relationship Id="rId13" Type="http://schemas.openxmlformats.org/officeDocument/2006/relationships/tags" Target="../tags/tag440.xml"/><Relationship Id="rId18" Type="http://schemas.openxmlformats.org/officeDocument/2006/relationships/slideLayout" Target="../slideLayouts/slideLayout17.xml"/><Relationship Id="rId26" Type="http://schemas.openxmlformats.org/officeDocument/2006/relationships/image" Target="../media/image64.png"/><Relationship Id="rId3" Type="http://schemas.openxmlformats.org/officeDocument/2006/relationships/tags" Target="../tags/tag430.xml"/><Relationship Id="rId21" Type="http://schemas.openxmlformats.org/officeDocument/2006/relationships/image" Target="../media/image10.emf"/><Relationship Id="rId7" Type="http://schemas.openxmlformats.org/officeDocument/2006/relationships/tags" Target="../tags/tag434.xml"/><Relationship Id="rId12" Type="http://schemas.openxmlformats.org/officeDocument/2006/relationships/tags" Target="../tags/tag439.xml"/><Relationship Id="rId17" Type="http://schemas.openxmlformats.org/officeDocument/2006/relationships/tags" Target="../tags/tag444.xml"/><Relationship Id="rId25" Type="http://schemas.openxmlformats.org/officeDocument/2006/relationships/image" Target="../media/image83.svg"/><Relationship Id="rId2" Type="http://schemas.openxmlformats.org/officeDocument/2006/relationships/tags" Target="../tags/tag429.xml"/><Relationship Id="rId16" Type="http://schemas.openxmlformats.org/officeDocument/2006/relationships/tags" Target="../tags/tag443.xml"/><Relationship Id="rId20" Type="http://schemas.openxmlformats.org/officeDocument/2006/relationships/oleObject" Target="../embeddings/oleObject45.bin"/><Relationship Id="rId29" Type="http://schemas.openxmlformats.org/officeDocument/2006/relationships/image" Target="../media/image128.png"/><Relationship Id="rId1" Type="http://schemas.openxmlformats.org/officeDocument/2006/relationships/tags" Target="../tags/tag428.xml"/><Relationship Id="rId6" Type="http://schemas.openxmlformats.org/officeDocument/2006/relationships/tags" Target="../tags/tag433.xml"/><Relationship Id="rId11" Type="http://schemas.openxmlformats.org/officeDocument/2006/relationships/tags" Target="../tags/tag438.xml"/><Relationship Id="rId24" Type="http://schemas.openxmlformats.org/officeDocument/2006/relationships/image" Target="../media/image82.png"/><Relationship Id="rId32" Type="http://schemas.openxmlformats.org/officeDocument/2006/relationships/image" Target="../media/image131.png"/><Relationship Id="rId5" Type="http://schemas.openxmlformats.org/officeDocument/2006/relationships/tags" Target="../tags/tag432.xml"/><Relationship Id="rId15" Type="http://schemas.openxmlformats.org/officeDocument/2006/relationships/tags" Target="../tags/tag442.xml"/><Relationship Id="rId23" Type="http://schemas.openxmlformats.org/officeDocument/2006/relationships/image" Target="../media/image107.svg"/><Relationship Id="rId28" Type="http://schemas.openxmlformats.org/officeDocument/2006/relationships/image" Target="../media/image84.png"/><Relationship Id="rId10" Type="http://schemas.openxmlformats.org/officeDocument/2006/relationships/tags" Target="../tags/tag437.xml"/><Relationship Id="rId19" Type="http://schemas.openxmlformats.org/officeDocument/2006/relationships/notesSlide" Target="../notesSlides/notesSlide9.xml"/><Relationship Id="rId31" Type="http://schemas.openxmlformats.org/officeDocument/2006/relationships/image" Target="../media/image130.png"/><Relationship Id="rId4" Type="http://schemas.openxmlformats.org/officeDocument/2006/relationships/tags" Target="../tags/tag431.xml"/><Relationship Id="rId9" Type="http://schemas.openxmlformats.org/officeDocument/2006/relationships/tags" Target="../tags/tag436.xml"/><Relationship Id="rId14" Type="http://schemas.openxmlformats.org/officeDocument/2006/relationships/tags" Target="../tags/tag441.xml"/><Relationship Id="rId22" Type="http://schemas.openxmlformats.org/officeDocument/2006/relationships/image" Target="../media/image86.png"/><Relationship Id="rId27" Type="http://schemas.openxmlformats.org/officeDocument/2006/relationships/image" Target="../media/image108.svg"/><Relationship Id="rId30" Type="http://schemas.openxmlformats.org/officeDocument/2006/relationships/image" Target="../media/image129.jpeg"/></Relationships>
</file>

<file path=ppt/slides/_rels/slide11.xml.rels><?xml version="1.0" encoding="UTF-8" standalone="yes"?>
<Relationships xmlns="http://schemas.openxmlformats.org/package/2006/relationships"><Relationship Id="rId13" Type="http://schemas.openxmlformats.org/officeDocument/2006/relationships/tags" Target="../tags/tag457.xml"/><Relationship Id="rId18" Type="http://schemas.openxmlformats.org/officeDocument/2006/relationships/slideLayout" Target="../slideLayouts/slideLayout17.xml"/><Relationship Id="rId26" Type="http://schemas.openxmlformats.org/officeDocument/2006/relationships/image" Target="../media/image64.png"/><Relationship Id="rId21" Type="http://schemas.openxmlformats.org/officeDocument/2006/relationships/image" Target="../media/image10.emf"/><Relationship Id="rId34" Type="http://schemas.openxmlformats.org/officeDocument/2006/relationships/image" Target="../media/image70.png"/><Relationship Id="rId7" Type="http://schemas.openxmlformats.org/officeDocument/2006/relationships/tags" Target="../tags/tag451.xml"/><Relationship Id="rId12" Type="http://schemas.openxmlformats.org/officeDocument/2006/relationships/tags" Target="../tags/tag456.xml"/><Relationship Id="rId17" Type="http://schemas.openxmlformats.org/officeDocument/2006/relationships/tags" Target="../tags/tag461.xml"/><Relationship Id="rId25" Type="http://schemas.openxmlformats.org/officeDocument/2006/relationships/image" Target="../media/image83.svg"/><Relationship Id="rId33" Type="http://schemas.openxmlformats.org/officeDocument/2006/relationships/image" Target="../media/image135.png"/><Relationship Id="rId2" Type="http://schemas.openxmlformats.org/officeDocument/2006/relationships/tags" Target="../tags/tag446.xml"/><Relationship Id="rId16" Type="http://schemas.openxmlformats.org/officeDocument/2006/relationships/tags" Target="../tags/tag460.xml"/><Relationship Id="rId20" Type="http://schemas.openxmlformats.org/officeDocument/2006/relationships/oleObject" Target="../embeddings/oleObject46.bin"/><Relationship Id="rId29" Type="http://schemas.openxmlformats.org/officeDocument/2006/relationships/image" Target="../media/image132.png"/><Relationship Id="rId1" Type="http://schemas.openxmlformats.org/officeDocument/2006/relationships/tags" Target="../tags/tag445.xml"/><Relationship Id="rId6" Type="http://schemas.openxmlformats.org/officeDocument/2006/relationships/tags" Target="../tags/tag450.xml"/><Relationship Id="rId11" Type="http://schemas.openxmlformats.org/officeDocument/2006/relationships/tags" Target="../tags/tag455.xml"/><Relationship Id="rId24" Type="http://schemas.openxmlformats.org/officeDocument/2006/relationships/image" Target="../media/image82.png"/><Relationship Id="rId32" Type="http://schemas.openxmlformats.org/officeDocument/2006/relationships/image" Target="../media/image91.png"/><Relationship Id="rId37" Type="http://schemas.openxmlformats.org/officeDocument/2006/relationships/image" Target="../media/image137.png"/><Relationship Id="rId5" Type="http://schemas.openxmlformats.org/officeDocument/2006/relationships/tags" Target="../tags/tag449.xml"/><Relationship Id="rId15" Type="http://schemas.openxmlformats.org/officeDocument/2006/relationships/tags" Target="../tags/tag459.xml"/><Relationship Id="rId23" Type="http://schemas.openxmlformats.org/officeDocument/2006/relationships/image" Target="../media/image107.svg"/><Relationship Id="rId28" Type="http://schemas.openxmlformats.org/officeDocument/2006/relationships/image" Target="../media/image84.png"/><Relationship Id="rId36" Type="http://schemas.openxmlformats.org/officeDocument/2006/relationships/image" Target="../media/image136.png"/><Relationship Id="rId10" Type="http://schemas.openxmlformats.org/officeDocument/2006/relationships/tags" Target="../tags/tag454.xml"/><Relationship Id="rId19" Type="http://schemas.openxmlformats.org/officeDocument/2006/relationships/notesSlide" Target="../notesSlides/notesSlide10.xml"/><Relationship Id="rId31" Type="http://schemas.openxmlformats.org/officeDocument/2006/relationships/image" Target="../media/image134.png"/><Relationship Id="rId4" Type="http://schemas.openxmlformats.org/officeDocument/2006/relationships/tags" Target="../tags/tag448.xml"/><Relationship Id="rId9" Type="http://schemas.openxmlformats.org/officeDocument/2006/relationships/tags" Target="../tags/tag453.xml"/><Relationship Id="rId14" Type="http://schemas.openxmlformats.org/officeDocument/2006/relationships/tags" Target="../tags/tag458.xml"/><Relationship Id="rId22" Type="http://schemas.openxmlformats.org/officeDocument/2006/relationships/image" Target="../media/image86.png"/><Relationship Id="rId27" Type="http://schemas.openxmlformats.org/officeDocument/2006/relationships/image" Target="../media/image108.svg"/><Relationship Id="rId30" Type="http://schemas.openxmlformats.org/officeDocument/2006/relationships/image" Target="../media/image133.jpeg"/><Relationship Id="rId35" Type="http://schemas.openxmlformats.org/officeDocument/2006/relationships/image" Target="../media/image104.png"/><Relationship Id="rId8" Type="http://schemas.openxmlformats.org/officeDocument/2006/relationships/tags" Target="../tags/tag452.xml"/><Relationship Id="rId3" Type="http://schemas.openxmlformats.org/officeDocument/2006/relationships/tags" Target="../tags/tag447.xml"/></Relationships>
</file>

<file path=ppt/slides/_rels/slide12.xml.rels><?xml version="1.0" encoding="UTF-8" standalone="yes"?>
<Relationships xmlns="http://schemas.openxmlformats.org/package/2006/relationships"><Relationship Id="rId13" Type="http://schemas.openxmlformats.org/officeDocument/2006/relationships/tags" Target="../tags/tag474.xml"/><Relationship Id="rId18" Type="http://schemas.openxmlformats.org/officeDocument/2006/relationships/slideLayout" Target="../slideLayouts/slideLayout17.xml"/><Relationship Id="rId26" Type="http://schemas.openxmlformats.org/officeDocument/2006/relationships/image" Target="../media/image64.png"/><Relationship Id="rId39" Type="http://schemas.openxmlformats.org/officeDocument/2006/relationships/image" Target="../media/image147.png"/><Relationship Id="rId21" Type="http://schemas.openxmlformats.org/officeDocument/2006/relationships/image" Target="../media/image10.emf"/><Relationship Id="rId34" Type="http://schemas.openxmlformats.org/officeDocument/2006/relationships/image" Target="../media/image143.png"/><Relationship Id="rId7" Type="http://schemas.openxmlformats.org/officeDocument/2006/relationships/tags" Target="../tags/tag468.xml"/><Relationship Id="rId12" Type="http://schemas.openxmlformats.org/officeDocument/2006/relationships/tags" Target="../tags/tag473.xml"/><Relationship Id="rId17" Type="http://schemas.openxmlformats.org/officeDocument/2006/relationships/tags" Target="../tags/tag478.xml"/><Relationship Id="rId25" Type="http://schemas.openxmlformats.org/officeDocument/2006/relationships/image" Target="../media/image83.svg"/><Relationship Id="rId33" Type="http://schemas.openxmlformats.org/officeDocument/2006/relationships/image" Target="../media/image142.png"/><Relationship Id="rId38" Type="http://schemas.openxmlformats.org/officeDocument/2006/relationships/image" Target="../media/image146.png"/><Relationship Id="rId2" Type="http://schemas.openxmlformats.org/officeDocument/2006/relationships/tags" Target="../tags/tag463.xml"/><Relationship Id="rId16" Type="http://schemas.openxmlformats.org/officeDocument/2006/relationships/tags" Target="../tags/tag477.xml"/><Relationship Id="rId20" Type="http://schemas.openxmlformats.org/officeDocument/2006/relationships/oleObject" Target="../embeddings/oleObject47.bin"/><Relationship Id="rId29" Type="http://schemas.openxmlformats.org/officeDocument/2006/relationships/image" Target="../media/image138.png"/><Relationship Id="rId1" Type="http://schemas.openxmlformats.org/officeDocument/2006/relationships/tags" Target="../tags/tag462.xml"/><Relationship Id="rId6" Type="http://schemas.openxmlformats.org/officeDocument/2006/relationships/tags" Target="../tags/tag467.xml"/><Relationship Id="rId11" Type="http://schemas.openxmlformats.org/officeDocument/2006/relationships/tags" Target="../tags/tag472.xml"/><Relationship Id="rId24" Type="http://schemas.openxmlformats.org/officeDocument/2006/relationships/image" Target="../media/image82.png"/><Relationship Id="rId32" Type="http://schemas.openxmlformats.org/officeDocument/2006/relationships/image" Target="../media/image141.png"/><Relationship Id="rId37" Type="http://schemas.openxmlformats.org/officeDocument/2006/relationships/image" Target="../media/image145.png"/><Relationship Id="rId40" Type="http://schemas.openxmlformats.org/officeDocument/2006/relationships/image" Target="../media/image148.png"/><Relationship Id="rId5" Type="http://schemas.openxmlformats.org/officeDocument/2006/relationships/tags" Target="../tags/tag466.xml"/><Relationship Id="rId15" Type="http://schemas.openxmlformats.org/officeDocument/2006/relationships/tags" Target="../tags/tag476.xml"/><Relationship Id="rId23" Type="http://schemas.openxmlformats.org/officeDocument/2006/relationships/image" Target="../media/image107.svg"/><Relationship Id="rId28" Type="http://schemas.openxmlformats.org/officeDocument/2006/relationships/image" Target="../media/image84.png"/><Relationship Id="rId36" Type="http://schemas.openxmlformats.org/officeDocument/2006/relationships/image" Target="../media/image144.png"/><Relationship Id="rId10" Type="http://schemas.openxmlformats.org/officeDocument/2006/relationships/tags" Target="../tags/tag471.xml"/><Relationship Id="rId19" Type="http://schemas.openxmlformats.org/officeDocument/2006/relationships/notesSlide" Target="../notesSlides/notesSlide11.xml"/><Relationship Id="rId31" Type="http://schemas.openxmlformats.org/officeDocument/2006/relationships/image" Target="../media/image140.png"/><Relationship Id="rId4" Type="http://schemas.openxmlformats.org/officeDocument/2006/relationships/tags" Target="../tags/tag465.xml"/><Relationship Id="rId9" Type="http://schemas.openxmlformats.org/officeDocument/2006/relationships/tags" Target="../tags/tag470.xml"/><Relationship Id="rId14" Type="http://schemas.openxmlformats.org/officeDocument/2006/relationships/tags" Target="../tags/tag475.xml"/><Relationship Id="rId22" Type="http://schemas.openxmlformats.org/officeDocument/2006/relationships/image" Target="../media/image86.png"/><Relationship Id="rId27" Type="http://schemas.openxmlformats.org/officeDocument/2006/relationships/image" Target="../media/image108.svg"/><Relationship Id="rId30" Type="http://schemas.openxmlformats.org/officeDocument/2006/relationships/image" Target="../media/image139.png"/><Relationship Id="rId35" Type="http://schemas.openxmlformats.org/officeDocument/2006/relationships/image" Target="../media/image134.png"/><Relationship Id="rId8" Type="http://schemas.openxmlformats.org/officeDocument/2006/relationships/tags" Target="../tags/tag469.xml"/><Relationship Id="rId3" Type="http://schemas.openxmlformats.org/officeDocument/2006/relationships/tags" Target="../tags/tag464.xml"/></Relationships>
</file>

<file path=ppt/slides/_rels/slide13.xml.rels><?xml version="1.0" encoding="UTF-8" standalone="yes"?>
<Relationships xmlns="http://schemas.openxmlformats.org/package/2006/relationships"><Relationship Id="rId13" Type="http://schemas.openxmlformats.org/officeDocument/2006/relationships/tags" Target="../tags/tag491.xml"/><Relationship Id="rId18" Type="http://schemas.openxmlformats.org/officeDocument/2006/relationships/tags" Target="../tags/tag496.xml"/><Relationship Id="rId26" Type="http://schemas.openxmlformats.org/officeDocument/2006/relationships/image" Target="../media/image10.emf"/><Relationship Id="rId39" Type="http://schemas.openxmlformats.org/officeDocument/2006/relationships/image" Target="../media/image91.png"/><Relationship Id="rId21" Type="http://schemas.openxmlformats.org/officeDocument/2006/relationships/tags" Target="../tags/tag499.xml"/><Relationship Id="rId34" Type="http://schemas.openxmlformats.org/officeDocument/2006/relationships/image" Target="../media/image149.png"/><Relationship Id="rId42" Type="http://schemas.openxmlformats.org/officeDocument/2006/relationships/image" Target="../media/image121.jpeg"/><Relationship Id="rId7" Type="http://schemas.openxmlformats.org/officeDocument/2006/relationships/tags" Target="../tags/tag485.xml"/><Relationship Id="rId2" Type="http://schemas.openxmlformats.org/officeDocument/2006/relationships/tags" Target="../tags/tag480.xml"/><Relationship Id="rId16" Type="http://schemas.openxmlformats.org/officeDocument/2006/relationships/tags" Target="../tags/tag494.xml"/><Relationship Id="rId20" Type="http://schemas.openxmlformats.org/officeDocument/2006/relationships/tags" Target="../tags/tag498.xml"/><Relationship Id="rId29" Type="http://schemas.openxmlformats.org/officeDocument/2006/relationships/image" Target="../media/image82.png"/><Relationship Id="rId41" Type="http://schemas.openxmlformats.org/officeDocument/2006/relationships/image" Target="../media/image155.jpeg"/><Relationship Id="rId1" Type="http://schemas.openxmlformats.org/officeDocument/2006/relationships/tags" Target="../tags/tag479.xml"/><Relationship Id="rId6" Type="http://schemas.openxmlformats.org/officeDocument/2006/relationships/tags" Target="../tags/tag484.xml"/><Relationship Id="rId11" Type="http://schemas.openxmlformats.org/officeDocument/2006/relationships/tags" Target="../tags/tag489.xml"/><Relationship Id="rId24" Type="http://schemas.openxmlformats.org/officeDocument/2006/relationships/notesSlide" Target="../notesSlides/notesSlide12.xml"/><Relationship Id="rId32" Type="http://schemas.openxmlformats.org/officeDocument/2006/relationships/image" Target="../media/image108.svg"/><Relationship Id="rId37" Type="http://schemas.openxmlformats.org/officeDocument/2006/relationships/image" Target="../media/image152.jpeg"/><Relationship Id="rId40" Type="http://schemas.openxmlformats.org/officeDocument/2006/relationships/image" Target="../media/image154.png"/><Relationship Id="rId5" Type="http://schemas.openxmlformats.org/officeDocument/2006/relationships/tags" Target="../tags/tag483.xml"/><Relationship Id="rId15" Type="http://schemas.openxmlformats.org/officeDocument/2006/relationships/tags" Target="../tags/tag493.xml"/><Relationship Id="rId23" Type="http://schemas.openxmlformats.org/officeDocument/2006/relationships/slideLayout" Target="../slideLayouts/slideLayout17.xml"/><Relationship Id="rId28" Type="http://schemas.openxmlformats.org/officeDocument/2006/relationships/image" Target="../media/image107.svg"/><Relationship Id="rId36" Type="http://schemas.openxmlformats.org/officeDocument/2006/relationships/image" Target="../media/image151.jpeg"/><Relationship Id="rId10" Type="http://schemas.openxmlformats.org/officeDocument/2006/relationships/tags" Target="../tags/tag488.xml"/><Relationship Id="rId19" Type="http://schemas.openxmlformats.org/officeDocument/2006/relationships/tags" Target="../tags/tag497.xml"/><Relationship Id="rId31" Type="http://schemas.openxmlformats.org/officeDocument/2006/relationships/image" Target="../media/image64.png"/><Relationship Id="rId4" Type="http://schemas.openxmlformats.org/officeDocument/2006/relationships/tags" Target="../tags/tag482.xml"/><Relationship Id="rId9" Type="http://schemas.openxmlformats.org/officeDocument/2006/relationships/tags" Target="../tags/tag487.xml"/><Relationship Id="rId14" Type="http://schemas.openxmlformats.org/officeDocument/2006/relationships/tags" Target="../tags/tag492.xml"/><Relationship Id="rId22" Type="http://schemas.openxmlformats.org/officeDocument/2006/relationships/tags" Target="../tags/tag500.xml"/><Relationship Id="rId27" Type="http://schemas.openxmlformats.org/officeDocument/2006/relationships/image" Target="../media/image86.png"/><Relationship Id="rId30" Type="http://schemas.openxmlformats.org/officeDocument/2006/relationships/image" Target="../media/image83.svg"/><Relationship Id="rId35" Type="http://schemas.openxmlformats.org/officeDocument/2006/relationships/image" Target="../media/image150.png"/><Relationship Id="rId43" Type="http://schemas.openxmlformats.org/officeDocument/2006/relationships/image" Target="../media/image156.jpeg"/><Relationship Id="rId8" Type="http://schemas.openxmlformats.org/officeDocument/2006/relationships/tags" Target="../tags/tag486.xml"/><Relationship Id="rId3" Type="http://schemas.openxmlformats.org/officeDocument/2006/relationships/tags" Target="../tags/tag481.xml"/><Relationship Id="rId12" Type="http://schemas.openxmlformats.org/officeDocument/2006/relationships/tags" Target="../tags/tag490.xml"/><Relationship Id="rId17" Type="http://schemas.openxmlformats.org/officeDocument/2006/relationships/tags" Target="../tags/tag495.xml"/><Relationship Id="rId25" Type="http://schemas.openxmlformats.org/officeDocument/2006/relationships/oleObject" Target="../embeddings/oleObject48.bin"/><Relationship Id="rId33" Type="http://schemas.openxmlformats.org/officeDocument/2006/relationships/image" Target="../media/image84.png"/><Relationship Id="rId38" Type="http://schemas.openxmlformats.org/officeDocument/2006/relationships/image" Target="../media/image153.png"/></Relationships>
</file>

<file path=ppt/slides/_rels/slide14.xml.rels><?xml version="1.0" encoding="UTF-8" standalone="yes"?>
<Relationships xmlns="http://schemas.openxmlformats.org/package/2006/relationships"><Relationship Id="rId13" Type="http://schemas.openxmlformats.org/officeDocument/2006/relationships/tags" Target="../tags/tag513.xml"/><Relationship Id="rId18" Type="http://schemas.openxmlformats.org/officeDocument/2006/relationships/tags" Target="../tags/tag518.xml"/><Relationship Id="rId26" Type="http://schemas.openxmlformats.org/officeDocument/2006/relationships/image" Target="../media/image83.svg"/><Relationship Id="rId21" Type="http://schemas.openxmlformats.org/officeDocument/2006/relationships/oleObject" Target="../embeddings/oleObject49.bin"/><Relationship Id="rId34" Type="http://schemas.openxmlformats.org/officeDocument/2006/relationships/image" Target="../media/image160.png"/><Relationship Id="rId7" Type="http://schemas.openxmlformats.org/officeDocument/2006/relationships/tags" Target="../tags/tag507.xml"/><Relationship Id="rId12" Type="http://schemas.openxmlformats.org/officeDocument/2006/relationships/tags" Target="../tags/tag512.xml"/><Relationship Id="rId17" Type="http://schemas.openxmlformats.org/officeDocument/2006/relationships/tags" Target="../tags/tag517.xml"/><Relationship Id="rId25" Type="http://schemas.openxmlformats.org/officeDocument/2006/relationships/image" Target="../media/image82.png"/><Relationship Id="rId33" Type="http://schemas.openxmlformats.org/officeDocument/2006/relationships/image" Target="../media/image159.jpeg"/><Relationship Id="rId2" Type="http://schemas.openxmlformats.org/officeDocument/2006/relationships/tags" Target="../tags/tag502.xml"/><Relationship Id="rId16" Type="http://schemas.openxmlformats.org/officeDocument/2006/relationships/tags" Target="../tags/tag516.xml"/><Relationship Id="rId20" Type="http://schemas.openxmlformats.org/officeDocument/2006/relationships/notesSlide" Target="../notesSlides/notesSlide13.xml"/><Relationship Id="rId29" Type="http://schemas.openxmlformats.org/officeDocument/2006/relationships/image" Target="../media/image84.png"/><Relationship Id="rId1" Type="http://schemas.openxmlformats.org/officeDocument/2006/relationships/tags" Target="../tags/tag501.xml"/><Relationship Id="rId6" Type="http://schemas.openxmlformats.org/officeDocument/2006/relationships/tags" Target="../tags/tag506.xml"/><Relationship Id="rId11" Type="http://schemas.openxmlformats.org/officeDocument/2006/relationships/tags" Target="../tags/tag511.xml"/><Relationship Id="rId24" Type="http://schemas.openxmlformats.org/officeDocument/2006/relationships/image" Target="../media/image107.svg"/><Relationship Id="rId32" Type="http://schemas.openxmlformats.org/officeDocument/2006/relationships/image" Target="../media/image158.jpeg"/><Relationship Id="rId37" Type="http://schemas.openxmlformats.org/officeDocument/2006/relationships/image" Target="../media/image162.svg"/><Relationship Id="rId5" Type="http://schemas.openxmlformats.org/officeDocument/2006/relationships/tags" Target="../tags/tag505.xml"/><Relationship Id="rId15" Type="http://schemas.openxmlformats.org/officeDocument/2006/relationships/tags" Target="../tags/tag515.xml"/><Relationship Id="rId23" Type="http://schemas.openxmlformats.org/officeDocument/2006/relationships/image" Target="../media/image86.png"/><Relationship Id="rId28" Type="http://schemas.openxmlformats.org/officeDocument/2006/relationships/image" Target="../media/image108.svg"/><Relationship Id="rId36" Type="http://schemas.openxmlformats.org/officeDocument/2006/relationships/image" Target="../media/image161.png"/><Relationship Id="rId10" Type="http://schemas.openxmlformats.org/officeDocument/2006/relationships/tags" Target="../tags/tag510.xml"/><Relationship Id="rId19" Type="http://schemas.openxmlformats.org/officeDocument/2006/relationships/slideLayout" Target="../slideLayouts/slideLayout17.xml"/><Relationship Id="rId31" Type="http://schemas.openxmlformats.org/officeDocument/2006/relationships/image" Target="../media/image135.png"/><Relationship Id="rId4" Type="http://schemas.openxmlformats.org/officeDocument/2006/relationships/tags" Target="../tags/tag504.xml"/><Relationship Id="rId9" Type="http://schemas.openxmlformats.org/officeDocument/2006/relationships/tags" Target="../tags/tag509.xml"/><Relationship Id="rId14" Type="http://schemas.openxmlformats.org/officeDocument/2006/relationships/tags" Target="../tags/tag514.xml"/><Relationship Id="rId22" Type="http://schemas.openxmlformats.org/officeDocument/2006/relationships/image" Target="../media/image10.emf"/><Relationship Id="rId27" Type="http://schemas.openxmlformats.org/officeDocument/2006/relationships/image" Target="../media/image64.png"/><Relationship Id="rId30" Type="http://schemas.openxmlformats.org/officeDocument/2006/relationships/image" Target="../media/image157.png"/><Relationship Id="rId35" Type="http://schemas.openxmlformats.org/officeDocument/2006/relationships/image" Target="../media/image70.png"/><Relationship Id="rId8" Type="http://schemas.openxmlformats.org/officeDocument/2006/relationships/tags" Target="../tags/tag508.xml"/><Relationship Id="rId3" Type="http://schemas.openxmlformats.org/officeDocument/2006/relationships/tags" Target="../tags/tag50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6.xml.rels><?xml version="1.0" encoding="UTF-8" standalone="yes"?>
<Relationships xmlns="http://schemas.openxmlformats.org/package/2006/relationships"><Relationship Id="rId3" Type="http://schemas.openxmlformats.org/officeDocument/2006/relationships/tags" Target="../tags/tag521.xml"/><Relationship Id="rId2" Type="http://schemas.openxmlformats.org/officeDocument/2006/relationships/tags" Target="../tags/tag520.xml"/><Relationship Id="rId1" Type="http://schemas.openxmlformats.org/officeDocument/2006/relationships/tags" Target="../tags/tag519.xml"/><Relationship Id="rId6" Type="http://schemas.openxmlformats.org/officeDocument/2006/relationships/image" Target="../media/image59.emf"/><Relationship Id="rId5" Type="http://schemas.openxmlformats.org/officeDocument/2006/relationships/oleObject" Target="../embeddings/oleObject50.bin"/><Relationship Id="rId4"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6" Type="http://schemas.openxmlformats.org/officeDocument/2006/relationships/tags" Target="../tags/tag547.xml"/><Relationship Id="rId21" Type="http://schemas.openxmlformats.org/officeDocument/2006/relationships/tags" Target="../tags/tag542.xml"/><Relationship Id="rId42" Type="http://schemas.openxmlformats.org/officeDocument/2006/relationships/tags" Target="../tags/tag563.xml"/><Relationship Id="rId47" Type="http://schemas.openxmlformats.org/officeDocument/2006/relationships/tags" Target="../tags/tag568.xml"/><Relationship Id="rId63" Type="http://schemas.openxmlformats.org/officeDocument/2006/relationships/tags" Target="../tags/tag584.xml"/><Relationship Id="rId68" Type="http://schemas.openxmlformats.org/officeDocument/2006/relationships/notesSlide" Target="../notesSlides/notesSlide14.xml"/><Relationship Id="rId2" Type="http://schemas.openxmlformats.org/officeDocument/2006/relationships/tags" Target="../tags/tag523.xml"/><Relationship Id="rId16" Type="http://schemas.openxmlformats.org/officeDocument/2006/relationships/tags" Target="../tags/tag537.xml"/><Relationship Id="rId29" Type="http://schemas.openxmlformats.org/officeDocument/2006/relationships/tags" Target="../tags/tag550.xml"/><Relationship Id="rId11" Type="http://schemas.openxmlformats.org/officeDocument/2006/relationships/tags" Target="../tags/tag532.xml"/><Relationship Id="rId24" Type="http://schemas.openxmlformats.org/officeDocument/2006/relationships/tags" Target="../tags/tag545.xml"/><Relationship Id="rId32" Type="http://schemas.openxmlformats.org/officeDocument/2006/relationships/tags" Target="../tags/tag553.xml"/><Relationship Id="rId37" Type="http://schemas.openxmlformats.org/officeDocument/2006/relationships/tags" Target="../tags/tag558.xml"/><Relationship Id="rId40" Type="http://schemas.openxmlformats.org/officeDocument/2006/relationships/tags" Target="../tags/tag561.xml"/><Relationship Id="rId45" Type="http://schemas.openxmlformats.org/officeDocument/2006/relationships/tags" Target="../tags/tag566.xml"/><Relationship Id="rId53" Type="http://schemas.openxmlformats.org/officeDocument/2006/relationships/tags" Target="../tags/tag574.xml"/><Relationship Id="rId58" Type="http://schemas.openxmlformats.org/officeDocument/2006/relationships/tags" Target="../tags/tag579.xml"/><Relationship Id="rId66" Type="http://schemas.openxmlformats.org/officeDocument/2006/relationships/tags" Target="../tags/tag587.xml"/><Relationship Id="rId74" Type="http://schemas.openxmlformats.org/officeDocument/2006/relationships/image" Target="../media/image104.png"/><Relationship Id="rId5" Type="http://schemas.openxmlformats.org/officeDocument/2006/relationships/tags" Target="../tags/tag526.xml"/><Relationship Id="rId61" Type="http://schemas.openxmlformats.org/officeDocument/2006/relationships/tags" Target="../tags/tag582.xml"/><Relationship Id="rId19" Type="http://schemas.openxmlformats.org/officeDocument/2006/relationships/tags" Target="../tags/tag540.xml"/><Relationship Id="rId14" Type="http://schemas.openxmlformats.org/officeDocument/2006/relationships/tags" Target="../tags/tag535.xml"/><Relationship Id="rId22" Type="http://schemas.openxmlformats.org/officeDocument/2006/relationships/tags" Target="../tags/tag543.xml"/><Relationship Id="rId27" Type="http://schemas.openxmlformats.org/officeDocument/2006/relationships/tags" Target="../tags/tag548.xml"/><Relationship Id="rId30" Type="http://schemas.openxmlformats.org/officeDocument/2006/relationships/tags" Target="../tags/tag551.xml"/><Relationship Id="rId35" Type="http://schemas.openxmlformats.org/officeDocument/2006/relationships/tags" Target="../tags/tag556.xml"/><Relationship Id="rId43" Type="http://schemas.openxmlformats.org/officeDocument/2006/relationships/tags" Target="../tags/tag564.xml"/><Relationship Id="rId48" Type="http://schemas.openxmlformats.org/officeDocument/2006/relationships/tags" Target="../tags/tag569.xml"/><Relationship Id="rId56" Type="http://schemas.openxmlformats.org/officeDocument/2006/relationships/tags" Target="../tags/tag577.xml"/><Relationship Id="rId64" Type="http://schemas.openxmlformats.org/officeDocument/2006/relationships/tags" Target="../tags/tag585.xml"/><Relationship Id="rId69" Type="http://schemas.openxmlformats.org/officeDocument/2006/relationships/oleObject" Target="../embeddings/oleObject51.bin"/><Relationship Id="rId8" Type="http://schemas.openxmlformats.org/officeDocument/2006/relationships/tags" Target="../tags/tag529.xml"/><Relationship Id="rId51" Type="http://schemas.openxmlformats.org/officeDocument/2006/relationships/tags" Target="../tags/tag572.xml"/><Relationship Id="rId72" Type="http://schemas.openxmlformats.org/officeDocument/2006/relationships/chart" Target="../charts/chart2.xml"/><Relationship Id="rId3" Type="http://schemas.openxmlformats.org/officeDocument/2006/relationships/tags" Target="../tags/tag524.xml"/><Relationship Id="rId12" Type="http://schemas.openxmlformats.org/officeDocument/2006/relationships/tags" Target="../tags/tag533.xml"/><Relationship Id="rId17" Type="http://schemas.openxmlformats.org/officeDocument/2006/relationships/tags" Target="../tags/tag538.xml"/><Relationship Id="rId25" Type="http://schemas.openxmlformats.org/officeDocument/2006/relationships/tags" Target="../tags/tag546.xml"/><Relationship Id="rId33" Type="http://schemas.openxmlformats.org/officeDocument/2006/relationships/tags" Target="../tags/tag554.xml"/><Relationship Id="rId38" Type="http://schemas.openxmlformats.org/officeDocument/2006/relationships/tags" Target="../tags/tag559.xml"/><Relationship Id="rId46" Type="http://schemas.openxmlformats.org/officeDocument/2006/relationships/tags" Target="../tags/tag567.xml"/><Relationship Id="rId59" Type="http://schemas.openxmlformats.org/officeDocument/2006/relationships/tags" Target="../tags/tag580.xml"/><Relationship Id="rId67" Type="http://schemas.openxmlformats.org/officeDocument/2006/relationships/slideLayout" Target="../slideLayouts/slideLayout16.xml"/><Relationship Id="rId20" Type="http://schemas.openxmlformats.org/officeDocument/2006/relationships/tags" Target="../tags/tag541.xml"/><Relationship Id="rId41" Type="http://schemas.openxmlformats.org/officeDocument/2006/relationships/tags" Target="../tags/tag562.xml"/><Relationship Id="rId54" Type="http://schemas.openxmlformats.org/officeDocument/2006/relationships/tags" Target="../tags/tag575.xml"/><Relationship Id="rId62" Type="http://schemas.openxmlformats.org/officeDocument/2006/relationships/tags" Target="../tags/tag583.xml"/><Relationship Id="rId70" Type="http://schemas.openxmlformats.org/officeDocument/2006/relationships/image" Target="../media/image10.emf"/><Relationship Id="rId75" Type="http://schemas.openxmlformats.org/officeDocument/2006/relationships/image" Target="../media/image94.png"/><Relationship Id="rId1" Type="http://schemas.openxmlformats.org/officeDocument/2006/relationships/tags" Target="../tags/tag522.xml"/><Relationship Id="rId6" Type="http://schemas.openxmlformats.org/officeDocument/2006/relationships/tags" Target="../tags/tag527.xml"/><Relationship Id="rId15" Type="http://schemas.openxmlformats.org/officeDocument/2006/relationships/tags" Target="../tags/tag536.xml"/><Relationship Id="rId23" Type="http://schemas.openxmlformats.org/officeDocument/2006/relationships/tags" Target="../tags/tag544.xml"/><Relationship Id="rId28" Type="http://schemas.openxmlformats.org/officeDocument/2006/relationships/tags" Target="../tags/tag549.xml"/><Relationship Id="rId36" Type="http://schemas.openxmlformats.org/officeDocument/2006/relationships/tags" Target="../tags/tag557.xml"/><Relationship Id="rId49" Type="http://schemas.openxmlformats.org/officeDocument/2006/relationships/tags" Target="../tags/tag570.xml"/><Relationship Id="rId57" Type="http://schemas.openxmlformats.org/officeDocument/2006/relationships/tags" Target="../tags/tag578.xml"/><Relationship Id="rId10" Type="http://schemas.openxmlformats.org/officeDocument/2006/relationships/tags" Target="../tags/tag531.xml"/><Relationship Id="rId31" Type="http://schemas.openxmlformats.org/officeDocument/2006/relationships/tags" Target="../tags/tag552.xml"/><Relationship Id="rId44" Type="http://schemas.openxmlformats.org/officeDocument/2006/relationships/tags" Target="../tags/tag565.xml"/><Relationship Id="rId52" Type="http://schemas.openxmlformats.org/officeDocument/2006/relationships/tags" Target="../tags/tag573.xml"/><Relationship Id="rId60" Type="http://schemas.openxmlformats.org/officeDocument/2006/relationships/tags" Target="../tags/tag581.xml"/><Relationship Id="rId65" Type="http://schemas.openxmlformats.org/officeDocument/2006/relationships/tags" Target="../tags/tag586.xml"/><Relationship Id="rId73" Type="http://schemas.openxmlformats.org/officeDocument/2006/relationships/image" Target="../media/image163.png"/><Relationship Id="rId4" Type="http://schemas.openxmlformats.org/officeDocument/2006/relationships/tags" Target="../tags/tag525.xml"/><Relationship Id="rId9" Type="http://schemas.openxmlformats.org/officeDocument/2006/relationships/tags" Target="../tags/tag530.xml"/><Relationship Id="rId13" Type="http://schemas.openxmlformats.org/officeDocument/2006/relationships/tags" Target="../tags/tag534.xml"/><Relationship Id="rId18" Type="http://schemas.openxmlformats.org/officeDocument/2006/relationships/tags" Target="../tags/tag539.xml"/><Relationship Id="rId39" Type="http://schemas.openxmlformats.org/officeDocument/2006/relationships/tags" Target="../tags/tag560.xml"/><Relationship Id="rId34" Type="http://schemas.openxmlformats.org/officeDocument/2006/relationships/tags" Target="../tags/tag555.xml"/><Relationship Id="rId50" Type="http://schemas.openxmlformats.org/officeDocument/2006/relationships/tags" Target="../tags/tag571.xml"/><Relationship Id="rId55" Type="http://schemas.openxmlformats.org/officeDocument/2006/relationships/tags" Target="../tags/tag576.xml"/><Relationship Id="rId76" Type="http://schemas.openxmlformats.org/officeDocument/2006/relationships/image" Target="../media/image164.jpeg"/><Relationship Id="rId7" Type="http://schemas.openxmlformats.org/officeDocument/2006/relationships/tags" Target="../tags/tag528.xml"/><Relationship Id="rId71" Type="http://schemas.openxmlformats.org/officeDocument/2006/relationships/chart" Target="../charts/chart1.xml"/></Relationships>
</file>

<file path=ppt/slides/_rels/slide18.xml.rels><?xml version="1.0" encoding="UTF-8" standalone="yes"?>
<Relationships xmlns="http://schemas.openxmlformats.org/package/2006/relationships"><Relationship Id="rId26" Type="http://schemas.openxmlformats.org/officeDocument/2006/relationships/tags" Target="../tags/tag613.xml"/><Relationship Id="rId21" Type="http://schemas.openxmlformats.org/officeDocument/2006/relationships/tags" Target="../tags/tag608.xml"/><Relationship Id="rId42" Type="http://schemas.openxmlformats.org/officeDocument/2006/relationships/tags" Target="../tags/tag629.xml"/><Relationship Id="rId47" Type="http://schemas.openxmlformats.org/officeDocument/2006/relationships/tags" Target="../tags/tag634.xml"/><Relationship Id="rId63" Type="http://schemas.openxmlformats.org/officeDocument/2006/relationships/tags" Target="../tags/tag650.xml"/><Relationship Id="rId68" Type="http://schemas.openxmlformats.org/officeDocument/2006/relationships/chart" Target="../charts/chart3.xml"/><Relationship Id="rId2" Type="http://schemas.openxmlformats.org/officeDocument/2006/relationships/tags" Target="../tags/tag589.xml"/><Relationship Id="rId16" Type="http://schemas.openxmlformats.org/officeDocument/2006/relationships/tags" Target="../tags/tag603.xml"/><Relationship Id="rId29" Type="http://schemas.openxmlformats.org/officeDocument/2006/relationships/tags" Target="../tags/tag616.xml"/><Relationship Id="rId11" Type="http://schemas.openxmlformats.org/officeDocument/2006/relationships/tags" Target="../tags/tag598.xml"/><Relationship Id="rId24" Type="http://schemas.openxmlformats.org/officeDocument/2006/relationships/tags" Target="../tags/tag611.xml"/><Relationship Id="rId32" Type="http://schemas.openxmlformats.org/officeDocument/2006/relationships/tags" Target="../tags/tag619.xml"/><Relationship Id="rId37" Type="http://schemas.openxmlformats.org/officeDocument/2006/relationships/tags" Target="../tags/tag624.xml"/><Relationship Id="rId40" Type="http://schemas.openxmlformats.org/officeDocument/2006/relationships/tags" Target="../tags/tag627.xml"/><Relationship Id="rId45" Type="http://schemas.openxmlformats.org/officeDocument/2006/relationships/tags" Target="../tags/tag632.xml"/><Relationship Id="rId53" Type="http://schemas.openxmlformats.org/officeDocument/2006/relationships/tags" Target="../tags/tag640.xml"/><Relationship Id="rId58" Type="http://schemas.openxmlformats.org/officeDocument/2006/relationships/tags" Target="../tags/tag645.xml"/><Relationship Id="rId66" Type="http://schemas.openxmlformats.org/officeDocument/2006/relationships/oleObject" Target="../embeddings/oleObject52.bin"/><Relationship Id="rId5" Type="http://schemas.openxmlformats.org/officeDocument/2006/relationships/tags" Target="../tags/tag592.xml"/><Relationship Id="rId61" Type="http://schemas.openxmlformats.org/officeDocument/2006/relationships/tags" Target="../tags/tag648.xml"/><Relationship Id="rId19" Type="http://schemas.openxmlformats.org/officeDocument/2006/relationships/tags" Target="../tags/tag606.xml"/><Relationship Id="rId14" Type="http://schemas.openxmlformats.org/officeDocument/2006/relationships/tags" Target="../tags/tag601.xml"/><Relationship Id="rId22" Type="http://schemas.openxmlformats.org/officeDocument/2006/relationships/tags" Target="../tags/tag609.xml"/><Relationship Id="rId27" Type="http://schemas.openxmlformats.org/officeDocument/2006/relationships/tags" Target="../tags/tag614.xml"/><Relationship Id="rId30" Type="http://schemas.openxmlformats.org/officeDocument/2006/relationships/tags" Target="../tags/tag617.xml"/><Relationship Id="rId35" Type="http://schemas.openxmlformats.org/officeDocument/2006/relationships/tags" Target="../tags/tag622.xml"/><Relationship Id="rId43" Type="http://schemas.openxmlformats.org/officeDocument/2006/relationships/tags" Target="../tags/tag630.xml"/><Relationship Id="rId48" Type="http://schemas.openxmlformats.org/officeDocument/2006/relationships/tags" Target="../tags/tag635.xml"/><Relationship Id="rId56" Type="http://schemas.openxmlformats.org/officeDocument/2006/relationships/tags" Target="../tags/tag643.xml"/><Relationship Id="rId64" Type="http://schemas.openxmlformats.org/officeDocument/2006/relationships/slideLayout" Target="../slideLayouts/slideLayout16.xml"/><Relationship Id="rId69" Type="http://schemas.openxmlformats.org/officeDocument/2006/relationships/chart" Target="../charts/chart4.xml"/><Relationship Id="rId8" Type="http://schemas.openxmlformats.org/officeDocument/2006/relationships/tags" Target="../tags/tag595.xml"/><Relationship Id="rId51" Type="http://schemas.openxmlformats.org/officeDocument/2006/relationships/tags" Target="../tags/tag638.xml"/><Relationship Id="rId72" Type="http://schemas.openxmlformats.org/officeDocument/2006/relationships/image" Target="../media/image101.png"/><Relationship Id="rId3" Type="http://schemas.openxmlformats.org/officeDocument/2006/relationships/tags" Target="../tags/tag590.xml"/><Relationship Id="rId12" Type="http://schemas.openxmlformats.org/officeDocument/2006/relationships/tags" Target="../tags/tag599.xml"/><Relationship Id="rId17" Type="http://schemas.openxmlformats.org/officeDocument/2006/relationships/tags" Target="../tags/tag604.xml"/><Relationship Id="rId25" Type="http://schemas.openxmlformats.org/officeDocument/2006/relationships/tags" Target="../tags/tag612.xml"/><Relationship Id="rId33" Type="http://schemas.openxmlformats.org/officeDocument/2006/relationships/tags" Target="../tags/tag620.xml"/><Relationship Id="rId38" Type="http://schemas.openxmlformats.org/officeDocument/2006/relationships/tags" Target="../tags/tag625.xml"/><Relationship Id="rId46" Type="http://schemas.openxmlformats.org/officeDocument/2006/relationships/tags" Target="../tags/tag633.xml"/><Relationship Id="rId59" Type="http://schemas.openxmlformats.org/officeDocument/2006/relationships/tags" Target="../tags/tag646.xml"/><Relationship Id="rId67" Type="http://schemas.openxmlformats.org/officeDocument/2006/relationships/image" Target="../media/image10.emf"/><Relationship Id="rId20" Type="http://schemas.openxmlformats.org/officeDocument/2006/relationships/tags" Target="../tags/tag607.xml"/><Relationship Id="rId41" Type="http://schemas.openxmlformats.org/officeDocument/2006/relationships/tags" Target="../tags/tag628.xml"/><Relationship Id="rId54" Type="http://schemas.openxmlformats.org/officeDocument/2006/relationships/tags" Target="../tags/tag641.xml"/><Relationship Id="rId62" Type="http://schemas.openxmlformats.org/officeDocument/2006/relationships/tags" Target="../tags/tag649.xml"/><Relationship Id="rId70" Type="http://schemas.openxmlformats.org/officeDocument/2006/relationships/image" Target="../media/image165.png"/><Relationship Id="rId1" Type="http://schemas.openxmlformats.org/officeDocument/2006/relationships/tags" Target="../tags/tag588.xml"/><Relationship Id="rId6" Type="http://schemas.openxmlformats.org/officeDocument/2006/relationships/tags" Target="../tags/tag593.xml"/><Relationship Id="rId15" Type="http://schemas.openxmlformats.org/officeDocument/2006/relationships/tags" Target="../tags/tag602.xml"/><Relationship Id="rId23" Type="http://schemas.openxmlformats.org/officeDocument/2006/relationships/tags" Target="../tags/tag610.xml"/><Relationship Id="rId28" Type="http://schemas.openxmlformats.org/officeDocument/2006/relationships/tags" Target="../tags/tag615.xml"/><Relationship Id="rId36" Type="http://schemas.openxmlformats.org/officeDocument/2006/relationships/tags" Target="../tags/tag623.xml"/><Relationship Id="rId49" Type="http://schemas.openxmlformats.org/officeDocument/2006/relationships/tags" Target="../tags/tag636.xml"/><Relationship Id="rId57" Type="http://schemas.openxmlformats.org/officeDocument/2006/relationships/tags" Target="../tags/tag644.xml"/><Relationship Id="rId10" Type="http://schemas.openxmlformats.org/officeDocument/2006/relationships/tags" Target="../tags/tag597.xml"/><Relationship Id="rId31" Type="http://schemas.openxmlformats.org/officeDocument/2006/relationships/tags" Target="../tags/tag618.xml"/><Relationship Id="rId44" Type="http://schemas.openxmlformats.org/officeDocument/2006/relationships/tags" Target="../tags/tag631.xml"/><Relationship Id="rId52" Type="http://schemas.openxmlformats.org/officeDocument/2006/relationships/tags" Target="../tags/tag639.xml"/><Relationship Id="rId60" Type="http://schemas.openxmlformats.org/officeDocument/2006/relationships/tags" Target="../tags/tag647.xml"/><Relationship Id="rId65" Type="http://schemas.openxmlformats.org/officeDocument/2006/relationships/notesSlide" Target="../notesSlides/notesSlide15.xml"/><Relationship Id="rId73" Type="http://schemas.openxmlformats.org/officeDocument/2006/relationships/image" Target="../media/image111.png"/><Relationship Id="rId4" Type="http://schemas.openxmlformats.org/officeDocument/2006/relationships/tags" Target="../tags/tag591.xml"/><Relationship Id="rId9" Type="http://schemas.openxmlformats.org/officeDocument/2006/relationships/tags" Target="../tags/tag596.xml"/><Relationship Id="rId13" Type="http://schemas.openxmlformats.org/officeDocument/2006/relationships/tags" Target="../tags/tag600.xml"/><Relationship Id="rId18" Type="http://schemas.openxmlformats.org/officeDocument/2006/relationships/tags" Target="../tags/tag605.xml"/><Relationship Id="rId39" Type="http://schemas.openxmlformats.org/officeDocument/2006/relationships/tags" Target="../tags/tag626.xml"/><Relationship Id="rId34" Type="http://schemas.openxmlformats.org/officeDocument/2006/relationships/tags" Target="../tags/tag621.xml"/><Relationship Id="rId50" Type="http://schemas.openxmlformats.org/officeDocument/2006/relationships/tags" Target="../tags/tag637.xml"/><Relationship Id="rId55" Type="http://schemas.openxmlformats.org/officeDocument/2006/relationships/tags" Target="../tags/tag642.xml"/><Relationship Id="rId7" Type="http://schemas.openxmlformats.org/officeDocument/2006/relationships/tags" Target="../tags/tag594.xml"/><Relationship Id="rId71" Type="http://schemas.openxmlformats.org/officeDocument/2006/relationships/image" Target="../media/image166.png"/></Relationships>
</file>

<file path=ppt/slides/_rels/slide19.xml.rels><?xml version="1.0" encoding="UTF-8" standalone="yes"?>
<Relationships xmlns="http://schemas.openxmlformats.org/package/2006/relationships"><Relationship Id="rId26" Type="http://schemas.openxmlformats.org/officeDocument/2006/relationships/tags" Target="../tags/tag676.xml"/><Relationship Id="rId21" Type="http://schemas.openxmlformats.org/officeDocument/2006/relationships/tags" Target="../tags/tag671.xml"/><Relationship Id="rId42" Type="http://schemas.openxmlformats.org/officeDocument/2006/relationships/tags" Target="../tags/tag692.xml"/><Relationship Id="rId47" Type="http://schemas.openxmlformats.org/officeDocument/2006/relationships/tags" Target="../tags/tag697.xml"/><Relationship Id="rId63" Type="http://schemas.openxmlformats.org/officeDocument/2006/relationships/tags" Target="../tags/tag713.xml"/><Relationship Id="rId68" Type="http://schemas.openxmlformats.org/officeDocument/2006/relationships/image" Target="../media/image10.emf"/><Relationship Id="rId2" Type="http://schemas.openxmlformats.org/officeDocument/2006/relationships/tags" Target="../tags/tag652.xml"/><Relationship Id="rId16" Type="http://schemas.openxmlformats.org/officeDocument/2006/relationships/tags" Target="../tags/tag666.xml"/><Relationship Id="rId29" Type="http://schemas.openxmlformats.org/officeDocument/2006/relationships/tags" Target="../tags/tag679.xml"/><Relationship Id="rId11" Type="http://schemas.openxmlformats.org/officeDocument/2006/relationships/tags" Target="../tags/tag661.xml"/><Relationship Id="rId24" Type="http://schemas.openxmlformats.org/officeDocument/2006/relationships/tags" Target="../tags/tag674.xml"/><Relationship Id="rId32" Type="http://schemas.openxmlformats.org/officeDocument/2006/relationships/tags" Target="../tags/tag682.xml"/><Relationship Id="rId37" Type="http://schemas.openxmlformats.org/officeDocument/2006/relationships/tags" Target="../tags/tag687.xml"/><Relationship Id="rId40" Type="http://schemas.openxmlformats.org/officeDocument/2006/relationships/tags" Target="../tags/tag690.xml"/><Relationship Id="rId45" Type="http://schemas.openxmlformats.org/officeDocument/2006/relationships/tags" Target="../tags/tag695.xml"/><Relationship Id="rId53" Type="http://schemas.openxmlformats.org/officeDocument/2006/relationships/tags" Target="../tags/tag703.xml"/><Relationship Id="rId58" Type="http://schemas.openxmlformats.org/officeDocument/2006/relationships/tags" Target="../tags/tag708.xml"/><Relationship Id="rId66" Type="http://schemas.openxmlformats.org/officeDocument/2006/relationships/notesSlide" Target="../notesSlides/notesSlide16.xml"/><Relationship Id="rId74" Type="http://schemas.openxmlformats.org/officeDocument/2006/relationships/image" Target="../media/image165.png"/><Relationship Id="rId5" Type="http://schemas.openxmlformats.org/officeDocument/2006/relationships/tags" Target="../tags/tag655.xml"/><Relationship Id="rId61" Type="http://schemas.openxmlformats.org/officeDocument/2006/relationships/tags" Target="../tags/tag711.xml"/><Relationship Id="rId19" Type="http://schemas.openxmlformats.org/officeDocument/2006/relationships/tags" Target="../tags/tag669.xml"/><Relationship Id="rId14" Type="http://schemas.openxmlformats.org/officeDocument/2006/relationships/tags" Target="../tags/tag664.xml"/><Relationship Id="rId22" Type="http://schemas.openxmlformats.org/officeDocument/2006/relationships/tags" Target="../tags/tag672.xml"/><Relationship Id="rId27" Type="http://schemas.openxmlformats.org/officeDocument/2006/relationships/tags" Target="../tags/tag677.xml"/><Relationship Id="rId30" Type="http://schemas.openxmlformats.org/officeDocument/2006/relationships/tags" Target="../tags/tag680.xml"/><Relationship Id="rId35" Type="http://schemas.openxmlformats.org/officeDocument/2006/relationships/tags" Target="../tags/tag685.xml"/><Relationship Id="rId43" Type="http://schemas.openxmlformats.org/officeDocument/2006/relationships/tags" Target="../tags/tag693.xml"/><Relationship Id="rId48" Type="http://schemas.openxmlformats.org/officeDocument/2006/relationships/tags" Target="../tags/tag698.xml"/><Relationship Id="rId56" Type="http://schemas.openxmlformats.org/officeDocument/2006/relationships/tags" Target="../tags/tag706.xml"/><Relationship Id="rId64" Type="http://schemas.openxmlformats.org/officeDocument/2006/relationships/tags" Target="../tags/tag714.xml"/><Relationship Id="rId69" Type="http://schemas.openxmlformats.org/officeDocument/2006/relationships/image" Target="../media/image167.png"/><Relationship Id="rId8" Type="http://schemas.openxmlformats.org/officeDocument/2006/relationships/tags" Target="../tags/tag658.xml"/><Relationship Id="rId51" Type="http://schemas.openxmlformats.org/officeDocument/2006/relationships/tags" Target="../tags/tag701.xml"/><Relationship Id="rId72" Type="http://schemas.openxmlformats.org/officeDocument/2006/relationships/image" Target="../media/image168.jpeg"/><Relationship Id="rId3" Type="http://schemas.openxmlformats.org/officeDocument/2006/relationships/tags" Target="../tags/tag653.xml"/><Relationship Id="rId12" Type="http://schemas.openxmlformats.org/officeDocument/2006/relationships/tags" Target="../tags/tag662.xml"/><Relationship Id="rId17" Type="http://schemas.openxmlformats.org/officeDocument/2006/relationships/tags" Target="../tags/tag667.xml"/><Relationship Id="rId25" Type="http://schemas.openxmlformats.org/officeDocument/2006/relationships/tags" Target="../tags/tag675.xml"/><Relationship Id="rId33" Type="http://schemas.openxmlformats.org/officeDocument/2006/relationships/tags" Target="../tags/tag683.xml"/><Relationship Id="rId38" Type="http://schemas.openxmlformats.org/officeDocument/2006/relationships/tags" Target="../tags/tag688.xml"/><Relationship Id="rId46" Type="http://schemas.openxmlformats.org/officeDocument/2006/relationships/tags" Target="../tags/tag696.xml"/><Relationship Id="rId59" Type="http://schemas.openxmlformats.org/officeDocument/2006/relationships/tags" Target="../tags/tag709.xml"/><Relationship Id="rId67" Type="http://schemas.openxmlformats.org/officeDocument/2006/relationships/oleObject" Target="../embeddings/oleObject53.bin"/><Relationship Id="rId20" Type="http://schemas.openxmlformats.org/officeDocument/2006/relationships/tags" Target="../tags/tag670.xml"/><Relationship Id="rId41" Type="http://schemas.openxmlformats.org/officeDocument/2006/relationships/tags" Target="../tags/tag691.xml"/><Relationship Id="rId54" Type="http://schemas.openxmlformats.org/officeDocument/2006/relationships/tags" Target="../tags/tag704.xml"/><Relationship Id="rId62" Type="http://schemas.openxmlformats.org/officeDocument/2006/relationships/tags" Target="../tags/tag712.xml"/><Relationship Id="rId70" Type="http://schemas.openxmlformats.org/officeDocument/2006/relationships/chart" Target="../charts/chart5.xml"/><Relationship Id="rId1" Type="http://schemas.openxmlformats.org/officeDocument/2006/relationships/tags" Target="../tags/tag651.xml"/><Relationship Id="rId6" Type="http://schemas.openxmlformats.org/officeDocument/2006/relationships/tags" Target="../tags/tag656.xml"/><Relationship Id="rId15" Type="http://schemas.openxmlformats.org/officeDocument/2006/relationships/tags" Target="../tags/tag665.xml"/><Relationship Id="rId23" Type="http://schemas.openxmlformats.org/officeDocument/2006/relationships/tags" Target="../tags/tag673.xml"/><Relationship Id="rId28" Type="http://schemas.openxmlformats.org/officeDocument/2006/relationships/tags" Target="../tags/tag678.xml"/><Relationship Id="rId36" Type="http://schemas.openxmlformats.org/officeDocument/2006/relationships/tags" Target="../tags/tag686.xml"/><Relationship Id="rId49" Type="http://schemas.openxmlformats.org/officeDocument/2006/relationships/tags" Target="../tags/tag699.xml"/><Relationship Id="rId57" Type="http://schemas.openxmlformats.org/officeDocument/2006/relationships/tags" Target="../tags/tag707.xml"/><Relationship Id="rId10" Type="http://schemas.openxmlformats.org/officeDocument/2006/relationships/tags" Target="../tags/tag660.xml"/><Relationship Id="rId31" Type="http://schemas.openxmlformats.org/officeDocument/2006/relationships/tags" Target="../tags/tag681.xml"/><Relationship Id="rId44" Type="http://schemas.openxmlformats.org/officeDocument/2006/relationships/tags" Target="../tags/tag694.xml"/><Relationship Id="rId52" Type="http://schemas.openxmlformats.org/officeDocument/2006/relationships/tags" Target="../tags/tag702.xml"/><Relationship Id="rId60" Type="http://schemas.openxmlformats.org/officeDocument/2006/relationships/tags" Target="../tags/tag710.xml"/><Relationship Id="rId65" Type="http://schemas.openxmlformats.org/officeDocument/2006/relationships/slideLayout" Target="../slideLayouts/slideLayout16.xml"/><Relationship Id="rId73" Type="http://schemas.openxmlformats.org/officeDocument/2006/relationships/image" Target="../media/image111.png"/><Relationship Id="rId4" Type="http://schemas.openxmlformats.org/officeDocument/2006/relationships/tags" Target="../tags/tag654.xml"/><Relationship Id="rId9" Type="http://schemas.openxmlformats.org/officeDocument/2006/relationships/tags" Target="../tags/tag659.xml"/><Relationship Id="rId13" Type="http://schemas.openxmlformats.org/officeDocument/2006/relationships/tags" Target="../tags/tag663.xml"/><Relationship Id="rId18" Type="http://schemas.openxmlformats.org/officeDocument/2006/relationships/tags" Target="../tags/tag668.xml"/><Relationship Id="rId39" Type="http://schemas.openxmlformats.org/officeDocument/2006/relationships/tags" Target="../tags/tag689.xml"/><Relationship Id="rId34" Type="http://schemas.openxmlformats.org/officeDocument/2006/relationships/tags" Target="../tags/tag684.xml"/><Relationship Id="rId50" Type="http://schemas.openxmlformats.org/officeDocument/2006/relationships/tags" Target="../tags/tag700.xml"/><Relationship Id="rId55" Type="http://schemas.openxmlformats.org/officeDocument/2006/relationships/tags" Target="../tags/tag705.xml"/><Relationship Id="rId7" Type="http://schemas.openxmlformats.org/officeDocument/2006/relationships/tags" Target="../tags/tag657.xml"/><Relationship Id="rId71" Type="http://schemas.openxmlformats.org/officeDocument/2006/relationships/chart" Target="../charts/chart6.xml"/></Relationships>
</file>

<file path=ppt/slides/_rels/slide2.xml.rels><?xml version="1.0" encoding="UTF-8" standalone="yes"?>
<Relationships xmlns="http://schemas.openxmlformats.org/package/2006/relationships"><Relationship Id="rId8" Type="http://schemas.openxmlformats.org/officeDocument/2006/relationships/tags" Target="../tags/tag270.xml"/><Relationship Id="rId13" Type="http://schemas.openxmlformats.org/officeDocument/2006/relationships/tags" Target="../tags/tag275.xml"/><Relationship Id="rId18" Type="http://schemas.openxmlformats.org/officeDocument/2006/relationships/image" Target="../media/image11.png"/><Relationship Id="rId26" Type="http://schemas.openxmlformats.org/officeDocument/2006/relationships/image" Target="../media/image19.svg"/><Relationship Id="rId3" Type="http://schemas.openxmlformats.org/officeDocument/2006/relationships/tags" Target="../tags/tag265.xml"/><Relationship Id="rId21" Type="http://schemas.openxmlformats.org/officeDocument/2006/relationships/image" Target="../media/image14.svg"/><Relationship Id="rId7" Type="http://schemas.openxmlformats.org/officeDocument/2006/relationships/tags" Target="../tags/tag269.xml"/><Relationship Id="rId12" Type="http://schemas.openxmlformats.org/officeDocument/2006/relationships/tags" Target="../tags/tag274.xml"/><Relationship Id="rId17" Type="http://schemas.openxmlformats.org/officeDocument/2006/relationships/image" Target="../media/image10.emf"/><Relationship Id="rId25" Type="http://schemas.openxmlformats.org/officeDocument/2006/relationships/image" Target="../media/image18.png"/><Relationship Id="rId2" Type="http://schemas.openxmlformats.org/officeDocument/2006/relationships/tags" Target="../tags/tag264.xml"/><Relationship Id="rId16" Type="http://schemas.openxmlformats.org/officeDocument/2006/relationships/oleObject" Target="../embeddings/oleObject37.bin"/><Relationship Id="rId20" Type="http://schemas.openxmlformats.org/officeDocument/2006/relationships/image" Target="../media/image13.png"/><Relationship Id="rId29" Type="http://schemas.openxmlformats.org/officeDocument/2006/relationships/image" Target="../media/image22.png"/><Relationship Id="rId1" Type="http://schemas.openxmlformats.org/officeDocument/2006/relationships/tags" Target="../tags/tag263.xml"/><Relationship Id="rId6" Type="http://schemas.openxmlformats.org/officeDocument/2006/relationships/tags" Target="../tags/tag268.xml"/><Relationship Id="rId11" Type="http://schemas.openxmlformats.org/officeDocument/2006/relationships/tags" Target="../tags/tag273.xml"/><Relationship Id="rId24" Type="http://schemas.openxmlformats.org/officeDocument/2006/relationships/image" Target="../media/image17.svg"/><Relationship Id="rId5" Type="http://schemas.openxmlformats.org/officeDocument/2006/relationships/tags" Target="../tags/tag267.xml"/><Relationship Id="rId15" Type="http://schemas.openxmlformats.org/officeDocument/2006/relationships/notesSlide" Target="../notesSlides/notesSlide2.xml"/><Relationship Id="rId23" Type="http://schemas.openxmlformats.org/officeDocument/2006/relationships/image" Target="../media/image16.png"/><Relationship Id="rId28" Type="http://schemas.openxmlformats.org/officeDocument/2006/relationships/image" Target="../media/image21.svg"/><Relationship Id="rId10" Type="http://schemas.openxmlformats.org/officeDocument/2006/relationships/tags" Target="../tags/tag272.xml"/><Relationship Id="rId19" Type="http://schemas.openxmlformats.org/officeDocument/2006/relationships/image" Target="../media/image12.svg"/><Relationship Id="rId4" Type="http://schemas.openxmlformats.org/officeDocument/2006/relationships/tags" Target="../tags/tag266.xml"/><Relationship Id="rId9" Type="http://schemas.openxmlformats.org/officeDocument/2006/relationships/tags" Target="../tags/tag271.xml"/><Relationship Id="rId14" Type="http://schemas.openxmlformats.org/officeDocument/2006/relationships/slideLayout" Target="../slideLayouts/slideLayout16.xml"/><Relationship Id="rId22" Type="http://schemas.openxmlformats.org/officeDocument/2006/relationships/image" Target="../media/image15.png"/><Relationship Id="rId27" Type="http://schemas.openxmlformats.org/officeDocument/2006/relationships/image" Target="../media/image20.png"/><Relationship Id="rId30" Type="http://schemas.openxmlformats.org/officeDocument/2006/relationships/image" Target="../media/image23.svg"/></Relationships>
</file>

<file path=ppt/slides/_rels/slide20.xml.rels><?xml version="1.0" encoding="UTF-8" standalone="yes"?>
<Relationships xmlns="http://schemas.openxmlformats.org/package/2006/relationships"><Relationship Id="rId26" Type="http://schemas.openxmlformats.org/officeDocument/2006/relationships/tags" Target="../tags/tag740.xml"/><Relationship Id="rId21" Type="http://schemas.openxmlformats.org/officeDocument/2006/relationships/tags" Target="../tags/tag735.xml"/><Relationship Id="rId42" Type="http://schemas.openxmlformats.org/officeDocument/2006/relationships/tags" Target="../tags/tag756.xml"/><Relationship Id="rId47" Type="http://schemas.openxmlformats.org/officeDocument/2006/relationships/tags" Target="../tags/tag761.xml"/><Relationship Id="rId63" Type="http://schemas.openxmlformats.org/officeDocument/2006/relationships/tags" Target="../tags/tag777.xml"/><Relationship Id="rId68" Type="http://schemas.openxmlformats.org/officeDocument/2006/relationships/tags" Target="../tags/tag782.xml"/><Relationship Id="rId16" Type="http://schemas.openxmlformats.org/officeDocument/2006/relationships/tags" Target="../tags/tag730.xml"/><Relationship Id="rId11" Type="http://schemas.openxmlformats.org/officeDocument/2006/relationships/tags" Target="../tags/tag725.xml"/><Relationship Id="rId24" Type="http://schemas.openxmlformats.org/officeDocument/2006/relationships/tags" Target="../tags/tag738.xml"/><Relationship Id="rId32" Type="http://schemas.openxmlformats.org/officeDocument/2006/relationships/tags" Target="../tags/tag746.xml"/><Relationship Id="rId37" Type="http://schemas.openxmlformats.org/officeDocument/2006/relationships/tags" Target="../tags/tag751.xml"/><Relationship Id="rId40" Type="http://schemas.openxmlformats.org/officeDocument/2006/relationships/tags" Target="../tags/tag754.xml"/><Relationship Id="rId45" Type="http://schemas.openxmlformats.org/officeDocument/2006/relationships/tags" Target="../tags/tag759.xml"/><Relationship Id="rId53" Type="http://schemas.openxmlformats.org/officeDocument/2006/relationships/tags" Target="../tags/tag767.xml"/><Relationship Id="rId58" Type="http://schemas.openxmlformats.org/officeDocument/2006/relationships/tags" Target="../tags/tag772.xml"/><Relationship Id="rId66" Type="http://schemas.openxmlformats.org/officeDocument/2006/relationships/tags" Target="../tags/tag780.xml"/><Relationship Id="rId74" Type="http://schemas.openxmlformats.org/officeDocument/2006/relationships/image" Target="../media/image130.png"/><Relationship Id="rId5" Type="http://schemas.openxmlformats.org/officeDocument/2006/relationships/tags" Target="../tags/tag719.xml"/><Relationship Id="rId61" Type="http://schemas.openxmlformats.org/officeDocument/2006/relationships/tags" Target="../tags/tag775.xml"/><Relationship Id="rId19" Type="http://schemas.openxmlformats.org/officeDocument/2006/relationships/tags" Target="../tags/tag733.xml"/><Relationship Id="rId14" Type="http://schemas.openxmlformats.org/officeDocument/2006/relationships/tags" Target="../tags/tag728.xml"/><Relationship Id="rId22" Type="http://schemas.openxmlformats.org/officeDocument/2006/relationships/tags" Target="../tags/tag736.xml"/><Relationship Id="rId27" Type="http://schemas.openxmlformats.org/officeDocument/2006/relationships/tags" Target="../tags/tag741.xml"/><Relationship Id="rId30" Type="http://schemas.openxmlformats.org/officeDocument/2006/relationships/tags" Target="../tags/tag744.xml"/><Relationship Id="rId35" Type="http://schemas.openxmlformats.org/officeDocument/2006/relationships/tags" Target="../tags/tag749.xml"/><Relationship Id="rId43" Type="http://schemas.openxmlformats.org/officeDocument/2006/relationships/tags" Target="../tags/tag757.xml"/><Relationship Id="rId48" Type="http://schemas.openxmlformats.org/officeDocument/2006/relationships/tags" Target="../tags/tag762.xml"/><Relationship Id="rId56" Type="http://schemas.openxmlformats.org/officeDocument/2006/relationships/tags" Target="../tags/tag770.xml"/><Relationship Id="rId64" Type="http://schemas.openxmlformats.org/officeDocument/2006/relationships/tags" Target="../tags/tag778.xml"/><Relationship Id="rId69" Type="http://schemas.openxmlformats.org/officeDocument/2006/relationships/slideLayout" Target="../slideLayouts/slideLayout16.xml"/><Relationship Id="rId77" Type="http://schemas.openxmlformats.org/officeDocument/2006/relationships/image" Target="../media/image169.png"/><Relationship Id="rId8" Type="http://schemas.openxmlformats.org/officeDocument/2006/relationships/tags" Target="../tags/tag722.xml"/><Relationship Id="rId51" Type="http://schemas.openxmlformats.org/officeDocument/2006/relationships/tags" Target="../tags/tag765.xml"/><Relationship Id="rId72" Type="http://schemas.openxmlformats.org/officeDocument/2006/relationships/image" Target="../media/image10.emf"/><Relationship Id="rId3" Type="http://schemas.openxmlformats.org/officeDocument/2006/relationships/tags" Target="../tags/tag717.xml"/><Relationship Id="rId12" Type="http://schemas.openxmlformats.org/officeDocument/2006/relationships/tags" Target="../tags/tag726.xml"/><Relationship Id="rId17" Type="http://schemas.openxmlformats.org/officeDocument/2006/relationships/tags" Target="../tags/tag731.xml"/><Relationship Id="rId25" Type="http://schemas.openxmlformats.org/officeDocument/2006/relationships/tags" Target="../tags/tag739.xml"/><Relationship Id="rId33" Type="http://schemas.openxmlformats.org/officeDocument/2006/relationships/tags" Target="../tags/tag747.xml"/><Relationship Id="rId38" Type="http://schemas.openxmlformats.org/officeDocument/2006/relationships/tags" Target="../tags/tag752.xml"/><Relationship Id="rId46" Type="http://schemas.openxmlformats.org/officeDocument/2006/relationships/tags" Target="../tags/tag760.xml"/><Relationship Id="rId59" Type="http://schemas.openxmlformats.org/officeDocument/2006/relationships/tags" Target="../tags/tag773.xml"/><Relationship Id="rId67" Type="http://schemas.openxmlformats.org/officeDocument/2006/relationships/tags" Target="../tags/tag781.xml"/><Relationship Id="rId20" Type="http://schemas.openxmlformats.org/officeDocument/2006/relationships/tags" Target="../tags/tag734.xml"/><Relationship Id="rId41" Type="http://schemas.openxmlformats.org/officeDocument/2006/relationships/tags" Target="../tags/tag755.xml"/><Relationship Id="rId54" Type="http://schemas.openxmlformats.org/officeDocument/2006/relationships/tags" Target="../tags/tag768.xml"/><Relationship Id="rId62" Type="http://schemas.openxmlformats.org/officeDocument/2006/relationships/tags" Target="../tags/tag776.xml"/><Relationship Id="rId70" Type="http://schemas.openxmlformats.org/officeDocument/2006/relationships/notesSlide" Target="../notesSlides/notesSlide17.xml"/><Relationship Id="rId75" Type="http://schemas.openxmlformats.org/officeDocument/2006/relationships/image" Target="../media/image131.png"/><Relationship Id="rId1" Type="http://schemas.openxmlformats.org/officeDocument/2006/relationships/tags" Target="../tags/tag715.xml"/><Relationship Id="rId6" Type="http://schemas.openxmlformats.org/officeDocument/2006/relationships/tags" Target="../tags/tag720.xml"/><Relationship Id="rId15" Type="http://schemas.openxmlformats.org/officeDocument/2006/relationships/tags" Target="../tags/tag729.xml"/><Relationship Id="rId23" Type="http://schemas.openxmlformats.org/officeDocument/2006/relationships/tags" Target="../tags/tag737.xml"/><Relationship Id="rId28" Type="http://schemas.openxmlformats.org/officeDocument/2006/relationships/tags" Target="../tags/tag742.xml"/><Relationship Id="rId36" Type="http://schemas.openxmlformats.org/officeDocument/2006/relationships/tags" Target="../tags/tag750.xml"/><Relationship Id="rId49" Type="http://schemas.openxmlformats.org/officeDocument/2006/relationships/tags" Target="../tags/tag763.xml"/><Relationship Id="rId57" Type="http://schemas.openxmlformats.org/officeDocument/2006/relationships/tags" Target="../tags/tag771.xml"/><Relationship Id="rId10" Type="http://schemas.openxmlformats.org/officeDocument/2006/relationships/tags" Target="../tags/tag724.xml"/><Relationship Id="rId31" Type="http://schemas.openxmlformats.org/officeDocument/2006/relationships/tags" Target="../tags/tag745.xml"/><Relationship Id="rId44" Type="http://schemas.openxmlformats.org/officeDocument/2006/relationships/tags" Target="../tags/tag758.xml"/><Relationship Id="rId52" Type="http://schemas.openxmlformats.org/officeDocument/2006/relationships/tags" Target="../tags/tag766.xml"/><Relationship Id="rId60" Type="http://schemas.openxmlformats.org/officeDocument/2006/relationships/tags" Target="../tags/tag774.xml"/><Relationship Id="rId65" Type="http://schemas.openxmlformats.org/officeDocument/2006/relationships/tags" Target="../tags/tag779.xml"/><Relationship Id="rId73" Type="http://schemas.openxmlformats.org/officeDocument/2006/relationships/chart" Target="../charts/chart7.xml"/><Relationship Id="rId4" Type="http://schemas.openxmlformats.org/officeDocument/2006/relationships/tags" Target="../tags/tag718.xml"/><Relationship Id="rId9" Type="http://schemas.openxmlformats.org/officeDocument/2006/relationships/tags" Target="../tags/tag723.xml"/><Relationship Id="rId13" Type="http://schemas.openxmlformats.org/officeDocument/2006/relationships/tags" Target="../tags/tag727.xml"/><Relationship Id="rId18" Type="http://schemas.openxmlformats.org/officeDocument/2006/relationships/tags" Target="../tags/tag732.xml"/><Relationship Id="rId39" Type="http://schemas.openxmlformats.org/officeDocument/2006/relationships/tags" Target="../tags/tag753.xml"/><Relationship Id="rId34" Type="http://schemas.openxmlformats.org/officeDocument/2006/relationships/tags" Target="../tags/tag748.xml"/><Relationship Id="rId50" Type="http://schemas.openxmlformats.org/officeDocument/2006/relationships/tags" Target="../tags/tag764.xml"/><Relationship Id="rId55" Type="http://schemas.openxmlformats.org/officeDocument/2006/relationships/tags" Target="../tags/tag769.xml"/><Relationship Id="rId76" Type="http://schemas.openxmlformats.org/officeDocument/2006/relationships/chart" Target="../charts/chart8.xml"/><Relationship Id="rId7" Type="http://schemas.openxmlformats.org/officeDocument/2006/relationships/tags" Target="../tags/tag721.xml"/><Relationship Id="rId71" Type="http://schemas.openxmlformats.org/officeDocument/2006/relationships/oleObject" Target="../embeddings/oleObject54.bin"/><Relationship Id="rId2" Type="http://schemas.openxmlformats.org/officeDocument/2006/relationships/tags" Target="../tags/tag716.xml"/><Relationship Id="rId29" Type="http://schemas.openxmlformats.org/officeDocument/2006/relationships/tags" Target="../tags/tag743.xml"/></Relationships>
</file>

<file path=ppt/slides/_rels/slide21.xml.rels><?xml version="1.0" encoding="UTF-8" standalone="yes"?>
<Relationships xmlns="http://schemas.openxmlformats.org/package/2006/relationships"><Relationship Id="rId26" Type="http://schemas.openxmlformats.org/officeDocument/2006/relationships/tags" Target="../tags/tag808.xml"/><Relationship Id="rId21" Type="http://schemas.openxmlformats.org/officeDocument/2006/relationships/tags" Target="../tags/tag803.xml"/><Relationship Id="rId34" Type="http://schemas.openxmlformats.org/officeDocument/2006/relationships/tags" Target="../tags/tag816.xml"/><Relationship Id="rId42" Type="http://schemas.openxmlformats.org/officeDocument/2006/relationships/tags" Target="../tags/tag824.xml"/><Relationship Id="rId47" Type="http://schemas.openxmlformats.org/officeDocument/2006/relationships/tags" Target="../tags/tag829.xml"/><Relationship Id="rId50" Type="http://schemas.openxmlformats.org/officeDocument/2006/relationships/tags" Target="../tags/tag832.xml"/><Relationship Id="rId55" Type="http://schemas.openxmlformats.org/officeDocument/2006/relationships/tags" Target="../tags/tag837.xml"/><Relationship Id="rId63" Type="http://schemas.openxmlformats.org/officeDocument/2006/relationships/chart" Target="../charts/chart10.xml"/><Relationship Id="rId7" Type="http://schemas.openxmlformats.org/officeDocument/2006/relationships/tags" Target="../tags/tag789.xml"/><Relationship Id="rId2" Type="http://schemas.openxmlformats.org/officeDocument/2006/relationships/tags" Target="../tags/tag784.xml"/><Relationship Id="rId16" Type="http://schemas.openxmlformats.org/officeDocument/2006/relationships/tags" Target="../tags/tag798.xml"/><Relationship Id="rId29" Type="http://schemas.openxmlformats.org/officeDocument/2006/relationships/tags" Target="../tags/tag811.xml"/><Relationship Id="rId11" Type="http://schemas.openxmlformats.org/officeDocument/2006/relationships/tags" Target="../tags/tag793.xml"/><Relationship Id="rId24" Type="http://schemas.openxmlformats.org/officeDocument/2006/relationships/tags" Target="../tags/tag806.xml"/><Relationship Id="rId32" Type="http://schemas.openxmlformats.org/officeDocument/2006/relationships/tags" Target="../tags/tag814.xml"/><Relationship Id="rId37" Type="http://schemas.openxmlformats.org/officeDocument/2006/relationships/tags" Target="../tags/tag819.xml"/><Relationship Id="rId40" Type="http://schemas.openxmlformats.org/officeDocument/2006/relationships/tags" Target="../tags/tag822.xml"/><Relationship Id="rId45" Type="http://schemas.openxmlformats.org/officeDocument/2006/relationships/tags" Target="../tags/tag827.xml"/><Relationship Id="rId53" Type="http://schemas.openxmlformats.org/officeDocument/2006/relationships/tags" Target="../tags/tag835.xml"/><Relationship Id="rId58" Type="http://schemas.openxmlformats.org/officeDocument/2006/relationships/slideLayout" Target="../slideLayouts/slideLayout16.xml"/><Relationship Id="rId66" Type="http://schemas.openxmlformats.org/officeDocument/2006/relationships/image" Target="../media/image70.png"/><Relationship Id="rId5" Type="http://schemas.openxmlformats.org/officeDocument/2006/relationships/tags" Target="../tags/tag787.xml"/><Relationship Id="rId61" Type="http://schemas.openxmlformats.org/officeDocument/2006/relationships/image" Target="../media/image10.emf"/><Relationship Id="rId19" Type="http://schemas.openxmlformats.org/officeDocument/2006/relationships/tags" Target="../tags/tag801.xml"/><Relationship Id="rId14" Type="http://schemas.openxmlformats.org/officeDocument/2006/relationships/tags" Target="../tags/tag796.xml"/><Relationship Id="rId22" Type="http://schemas.openxmlformats.org/officeDocument/2006/relationships/tags" Target="../tags/tag804.xml"/><Relationship Id="rId27" Type="http://schemas.openxmlformats.org/officeDocument/2006/relationships/tags" Target="../tags/tag809.xml"/><Relationship Id="rId30" Type="http://schemas.openxmlformats.org/officeDocument/2006/relationships/tags" Target="../tags/tag812.xml"/><Relationship Id="rId35" Type="http://schemas.openxmlformats.org/officeDocument/2006/relationships/tags" Target="../tags/tag817.xml"/><Relationship Id="rId43" Type="http://schemas.openxmlformats.org/officeDocument/2006/relationships/tags" Target="../tags/tag825.xml"/><Relationship Id="rId48" Type="http://schemas.openxmlformats.org/officeDocument/2006/relationships/tags" Target="../tags/tag830.xml"/><Relationship Id="rId56" Type="http://schemas.openxmlformats.org/officeDocument/2006/relationships/tags" Target="../tags/tag838.xml"/><Relationship Id="rId64" Type="http://schemas.openxmlformats.org/officeDocument/2006/relationships/image" Target="../media/image170.png"/><Relationship Id="rId8" Type="http://schemas.openxmlformats.org/officeDocument/2006/relationships/tags" Target="../tags/tag790.xml"/><Relationship Id="rId51" Type="http://schemas.openxmlformats.org/officeDocument/2006/relationships/tags" Target="../tags/tag833.xml"/><Relationship Id="rId3" Type="http://schemas.openxmlformats.org/officeDocument/2006/relationships/tags" Target="../tags/tag785.xml"/><Relationship Id="rId12" Type="http://schemas.openxmlformats.org/officeDocument/2006/relationships/tags" Target="../tags/tag794.xml"/><Relationship Id="rId17" Type="http://schemas.openxmlformats.org/officeDocument/2006/relationships/tags" Target="../tags/tag799.xml"/><Relationship Id="rId25" Type="http://schemas.openxmlformats.org/officeDocument/2006/relationships/tags" Target="../tags/tag807.xml"/><Relationship Id="rId33" Type="http://schemas.openxmlformats.org/officeDocument/2006/relationships/tags" Target="../tags/tag815.xml"/><Relationship Id="rId38" Type="http://schemas.openxmlformats.org/officeDocument/2006/relationships/tags" Target="../tags/tag820.xml"/><Relationship Id="rId46" Type="http://schemas.openxmlformats.org/officeDocument/2006/relationships/tags" Target="../tags/tag828.xml"/><Relationship Id="rId59" Type="http://schemas.openxmlformats.org/officeDocument/2006/relationships/notesSlide" Target="../notesSlides/notesSlide18.xml"/><Relationship Id="rId67" Type="http://schemas.openxmlformats.org/officeDocument/2006/relationships/image" Target="../media/image104.png"/><Relationship Id="rId20" Type="http://schemas.openxmlformats.org/officeDocument/2006/relationships/tags" Target="../tags/tag802.xml"/><Relationship Id="rId41" Type="http://schemas.openxmlformats.org/officeDocument/2006/relationships/tags" Target="../tags/tag823.xml"/><Relationship Id="rId54" Type="http://schemas.openxmlformats.org/officeDocument/2006/relationships/tags" Target="../tags/tag836.xml"/><Relationship Id="rId62" Type="http://schemas.openxmlformats.org/officeDocument/2006/relationships/chart" Target="../charts/chart9.xml"/><Relationship Id="rId1" Type="http://schemas.openxmlformats.org/officeDocument/2006/relationships/tags" Target="../tags/tag783.xml"/><Relationship Id="rId6" Type="http://schemas.openxmlformats.org/officeDocument/2006/relationships/tags" Target="../tags/tag788.xml"/><Relationship Id="rId15" Type="http://schemas.openxmlformats.org/officeDocument/2006/relationships/tags" Target="../tags/tag797.xml"/><Relationship Id="rId23" Type="http://schemas.openxmlformats.org/officeDocument/2006/relationships/tags" Target="../tags/tag805.xml"/><Relationship Id="rId28" Type="http://schemas.openxmlformats.org/officeDocument/2006/relationships/tags" Target="../tags/tag810.xml"/><Relationship Id="rId36" Type="http://schemas.openxmlformats.org/officeDocument/2006/relationships/tags" Target="../tags/tag818.xml"/><Relationship Id="rId49" Type="http://schemas.openxmlformats.org/officeDocument/2006/relationships/tags" Target="../tags/tag831.xml"/><Relationship Id="rId57" Type="http://schemas.openxmlformats.org/officeDocument/2006/relationships/tags" Target="../tags/tag839.xml"/><Relationship Id="rId10" Type="http://schemas.openxmlformats.org/officeDocument/2006/relationships/tags" Target="../tags/tag792.xml"/><Relationship Id="rId31" Type="http://schemas.openxmlformats.org/officeDocument/2006/relationships/tags" Target="../tags/tag813.xml"/><Relationship Id="rId44" Type="http://schemas.openxmlformats.org/officeDocument/2006/relationships/tags" Target="../tags/tag826.xml"/><Relationship Id="rId52" Type="http://schemas.openxmlformats.org/officeDocument/2006/relationships/tags" Target="../tags/tag834.xml"/><Relationship Id="rId60" Type="http://schemas.openxmlformats.org/officeDocument/2006/relationships/oleObject" Target="../embeddings/oleObject55.bin"/><Relationship Id="rId65" Type="http://schemas.openxmlformats.org/officeDocument/2006/relationships/image" Target="../media/image171.jpeg"/><Relationship Id="rId4" Type="http://schemas.openxmlformats.org/officeDocument/2006/relationships/tags" Target="../tags/tag786.xml"/><Relationship Id="rId9" Type="http://schemas.openxmlformats.org/officeDocument/2006/relationships/tags" Target="../tags/tag791.xml"/><Relationship Id="rId13" Type="http://schemas.openxmlformats.org/officeDocument/2006/relationships/tags" Target="../tags/tag795.xml"/><Relationship Id="rId18" Type="http://schemas.openxmlformats.org/officeDocument/2006/relationships/tags" Target="../tags/tag800.xml"/><Relationship Id="rId39" Type="http://schemas.openxmlformats.org/officeDocument/2006/relationships/tags" Target="../tags/tag821.xml"/></Relationships>
</file>

<file path=ppt/slides/_rels/slide22.xml.rels><?xml version="1.0" encoding="UTF-8" standalone="yes"?>
<Relationships xmlns="http://schemas.openxmlformats.org/package/2006/relationships"><Relationship Id="rId26" Type="http://schemas.openxmlformats.org/officeDocument/2006/relationships/tags" Target="../tags/tag865.xml"/><Relationship Id="rId21" Type="http://schemas.openxmlformats.org/officeDocument/2006/relationships/tags" Target="../tags/tag860.xml"/><Relationship Id="rId42" Type="http://schemas.openxmlformats.org/officeDocument/2006/relationships/tags" Target="../tags/tag881.xml"/><Relationship Id="rId47" Type="http://schemas.openxmlformats.org/officeDocument/2006/relationships/tags" Target="../tags/tag886.xml"/><Relationship Id="rId63" Type="http://schemas.openxmlformats.org/officeDocument/2006/relationships/tags" Target="../tags/tag902.xml"/><Relationship Id="rId68" Type="http://schemas.openxmlformats.org/officeDocument/2006/relationships/slideLayout" Target="../slideLayouts/slideLayout16.xml"/><Relationship Id="rId16" Type="http://schemas.openxmlformats.org/officeDocument/2006/relationships/tags" Target="../tags/tag855.xml"/><Relationship Id="rId11" Type="http://schemas.openxmlformats.org/officeDocument/2006/relationships/tags" Target="../tags/tag850.xml"/><Relationship Id="rId24" Type="http://schemas.openxmlformats.org/officeDocument/2006/relationships/tags" Target="../tags/tag863.xml"/><Relationship Id="rId32" Type="http://schemas.openxmlformats.org/officeDocument/2006/relationships/tags" Target="../tags/tag871.xml"/><Relationship Id="rId37" Type="http://schemas.openxmlformats.org/officeDocument/2006/relationships/tags" Target="../tags/tag876.xml"/><Relationship Id="rId40" Type="http://schemas.openxmlformats.org/officeDocument/2006/relationships/tags" Target="../tags/tag879.xml"/><Relationship Id="rId45" Type="http://schemas.openxmlformats.org/officeDocument/2006/relationships/tags" Target="../tags/tag884.xml"/><Relationship Id="rId53" Type="http://schemas.openxmlformats.org/officeDocument/2006/relationships/tags" Target="../tags/tag892.xml"/><Relationship Id="rId58" Type="http://schemas.openxmlformats.org/officeDocument/2006/relationships/tags" Target="../tags/tag897.xml"/><Relationship Id="rId66" Type="http://schemas.openxmlformats.org/officeDocument/2006/relationships/tags" Target="../tags/tag905.xml"/><Relationship Id="rId74" Type="http://schemas.openxmlformats.org/officeDocument/2006/relationships/chart" Target="../charts/chart12.xml"/><Relationship Id="rId5" Type="http://schemas.openxmlformats.org/officeDocument/2006/relationships/tags" Target="../tags/tag844.xml"/><Relationship Id="rId61" Type="http://schemas.openxmlformats.org/officeDocument/2006/relationships/tags" Target="../tags/tag900.xml"/><Relationship Id="rId19" Type="http://schemas.openxmlformats.org/officeDocument/2006/relationships/tags" Target="../tags/tag858.xml"/><Relationship Id="rId14" Type="http://schemas.openxmlformats.org/officeDocument/2006/relationships/tags" Target="../tags/tag853.xml"/><Relationship Id="rId22" Type="http://schemas.openxmlformats.org/officeDocument/2006/relationships/tags" Target="../tags/tag861.xml"/><Relationship Id="rId27" Type="http://schemas.openxmlformats.org/officeDocument/2006/relationships/tags" Target="../tags/tag866.xml"/><Relationship Id="rId30" Type="http://schemas.openxmlformats.org/officeDocument/2006/relationships/tags" Target="../tags/tag869.xml"/><Relationship Id="rId35" Type="http://schemas.openxmlformats.org/officeDocument/2006/relationships/tags" Target="../tags/tag874.xml"/><Relationship Id="rId43" Type="http://schemas.openxmlformats.org/officeDocument/2006/relationships/tags" Target="../tags/tag882.xml"/><Relationship Id="rId48" Type="http://schemas.openxmlformats.org/officeDocument/2006/relationships/tags" Target="../tags/tag887.xml"/><Relationship Id="rId56" Type="http://schemas.openxmlformats.org/officeDocument/2006/relationships/tags" Target="../tags/tag895.xml"/><Relationship Id="rId64" Type="http://schemas.openxmlformats.org/officeDocument/2006/relationships/tags" Target="../tags/tag903.xml"/><Relationship Id="rId69" Type="http://schemas.openxmlformats.org/officeDocument/2006/relationships/notesSlide" Target="../notesSlides/notesSlide19.xml"/><Relationship Id="rId77" Type="http://schemas.openxmlformats.org/officeDocument/2006/relationships/image" Target="../media/image142.png"/><Relationship Id="rId8" Type="http://schemas.openxmlformats.org/officeDocument/2006/relationships/tags" Target="../tags/tag847.xml"/><Relationship Id="rId51" Type="http://schemas.openxmlformats.org/officeDocument/2006/relationships/tags" Target="../tags/tag890.xml"/><Relationship Id="rId72" Type="http://schemas.openxmlformats.org/officeDocument/2006/relationships/image" Target="../media/image172.png"/><Relationship Id="rId3" Type="http://schemas.openxmlformats.org/officeDocument/2006/relationships/tags" Target="../tags/tag842.xml"/><Relationship Id="rId12" Type="http://schemas.openxmlformats.org/officeDocument/2006/relationships/tags" Target="../tags/tag851.xml"/><Relationship Id="rId17" Type="http://schemas.openxmlformats.org/officeDocument/2006/relationships/tags" Target="../tags/tag856.xml"/><Relationship Id="rId25" Type="http://schemas.openxmlformats.org/officeDocument/2006/relationships/tags" Target="../tags/tag864.xml"/><Relationship Id="rId33" Type="http://schemas.openxmlformats.org/officeDocument/2006/relationships/tags" Target="../tags/tag872.xml"/><Relationship Id="rId38" Type="http://schemas.openxmlformats.org/officeDocument/2006/relationships/tags" Target="../tags/tag877.xml"/><Relationship Id="rId46" Type="http://schemas.openxmlformats.org/officeDocument/2006/relationships/tags" Target="../tags/tag885.xml"/><Relationship Id="rId59" Type="http://schemas.openxmlformats.org/officeDocument/2006/relationships/tags" Target="../tags/tag898.xml"/><Relationship Id="rId67" Type="http://schemas.openxmlformats.org/officeDocument/2006/relationships/tags" Target="../tags/tag906.xml"/><Relationship Id="rId20" Type="http://schemas.openxmlformats.org/officeDocument/2006/relationships/tags" Target="../tags/tag859.xml"/><Relationship Id="rId41" Type="http://schemas.openxmlformats.org/officeDocument/2006/relationships/tags" Target="../tags/tag880.xml"/><Relationship Id="rId54" Type="http://schemas.openxmlformats.org/officeDocument/2006/relationships/tags" Target="../tags/tag893.xml"/><Relationship Id="rId62" Type="http://schemas.openxmlformats.org/officeDocument/2006/relationships/tags" Target="../tags/tag901.xml"/><Relationship Id="rId70" Type="http://schemas.openxmlformats.org/officeDocument/2006/relationships/oleObject" Target="../embeddings/oleObject56.bin"/><Relationship Id="rId75" Type="http://schemas.openxmlformats.org/officeDocument/2006/relationships/image" Target="../media/image173.png"/><Relationship Id="rId1" Type="http://schemas.openxmlformats.org/officeDocument/2006/relationships/tags" Target="../tags/tag840.xml"/><Relationship Id="rId6" Type="http://schemas.openxmlformats.org/officeDocument/2006/relationships/tags" Target="../tags/tag845.xml"/><Relationship Id="rId15" Type="http://schemas.openxmlformats.org/officeDocument/2006/relationships/tags" Target="../tags/tag854.xml"/><Relationship Id="rId23" Type="http://schemas.openxmlformats.org/officeDocument/2006/relationships/tags" Target="../tags/tag862.xml"/><Relationship Id="rId28" Type="http://schemas.openxmlformats.org/officeDocument/2006/relationships/tags" Target="../tags/tag867.xml"/><Relationship Id="rId36" Type="http://schemas.openxmlformats.org/officeDocument/2006/relationships/tags" Target="../tags/tag875.xml"/><Relationship Id="rId49" Type="http://schemas.openxmlformats.org/officeDocument/2006/relationships/tags" Target="../tags/tag888.xml"/><Relationship Id="rId57" Type="http://schemas.openxmlformats.org/officeDocument/2006/relationships/tags" Target="../tags/tag896.xml"/><Relationship Id="rId10" Type="http://schemas.openxmlformats.org/officeDocument/2006/relationships/tags" Target="../tags/tag849.xml"/><Relationship Id="rId31" Type="http://schemas.openxmlformats.org/officeDocument/2006/relationships/tags" Target="../tags/tag870.xml"/><Relationship Id="rId44" Type="http://schemas.openxmlformats.org/officeDocument/2006/relationships/tags" Target="../tags/tag883.xml"/><Relationship Id="rId52" Type="http://schemas.openxmlformats.org/officeDocument/2006/relationships/tags" Target="../tags/tag891.xml"/><Relationship Id="rId60" Type="http://schemas.openxmlformats.org/officeDocument/2006/relationships/tags" Target="../tags/tag899.xml"/><Relationship Id="rId65" Type="http://schemas.openxmlformats.org/officeDocument/2006/relationships/tags" Target="../tags/tag904.xml"/><Relationship Id="rId73" Type="http://schemas.openxmlformats.org/officeDocument/2006/relationships/chart" Target="../charts/chart11.xml"/><Relationship Id="rId4" Type="http://schemas.openxmlformats.org/officeDocument/2006/relationships/tags" Target="../tags/tag843.xml"/><Relationship Id="rId9" Type="http://schemas.openxmlformats.org/officeDocument/2006/relationships/tags" Target="../tags/tag848.xml"/><Relationship Id="rId13" Type="http://schemas.openxmlformats.org/officeDocument/2006/relationships/tags" Target="../tags/tag852.xml"/><Relationship Id="rId18" Type="http://schemas.openxmlformats.org/officeDocument/2006/relationships/tags" Target="../tags/tag857.xml"/><Relationship Id="rId39" Type="http://schemas.openxmlformats.org/officeDocument/2006/relationships/tags" Target="../tags/tag878.xml"/><Relationship Id="rId34" Type="http://schemas.openxmlformats.org/officeDocument/2006/relationships/tags" Target="../tags/tag873.xml"/><Relationship Id="rId50" Type="http://schemas.openxmlformats.org/officeDocument/2006/relationships/tags" Target="../tags/tag889.xml"/><Relationship Id="rId55" Type="http://schemas.openxmlformats.org/officeDocument/2006/relationships/tags" Target="../tags/tag894.xml"/><Relationship Id="rId76" Type="http://schemas.openxmlformats.org/officeDocument/2006/relationships/image" Target="../media/image141.png"/><Relationship Id="rId7" Type="http://schemas.openxmlformats.org/officeDocument/2006/relationships/tags" Target="../tags/tag846.xml"/><Relationship Id="rId71" Type="http://schemas.openxmlformats.org/officeDocument/2006/relationships/image" Target="../media/image10.emf"/><Relationship Id="rId2" Type="http://schemas.openxmlformats.org/officeDocument/2006/relationships/tags" Target="../tags/tag841.xml"/><Relationship Id="rId29" Type="http://schemas.openxmlformats.org/officeDocument/2006/relationships/tags" Target="../tags/tag868.xml"/></Relationships>
</file>

<file path=ppt/slides/_rels/slide23.xml.rels><?xml version="1.0" encoding="UTF-8" standalone="yes"?>
<Relationships xmlns="http://schemas.openxmlformats.org/package/2006/relationships"><Relationship Id="rId26" Type="http://schemas.openxmlformats.org/officeDocument/2006/relationships/tags" Target="../tags/tag932.xml"/><Relationship Id="rId21" Type="http://schemas.openxmlformats.org/officeDocument/2006/relationships/tags" Target="../tags/tag927.xml"/><Relationship Id="rId42" Type="http://schemas.openxmlformats.org/officeDocument/2006/relationships/tags" Target="../tags/tag948.xml"/><Relationship Id="rId47" Type="http://schemas.openxmlformats.org/officeDocument/2006/relationships/tags" Target="../tags/tag953.xml"/><Relationship Id="rId63" Type="http://schemas.openxmlformats.org/officeDocument/2006/relationships/tags" Target="../tags/tag969.xml"/><Relationship Id="rId68" Type="http://schemas.openxmlformats.org/officeDocument/2006/relationships/tags" Target="../tags/tag974.xml"/><Relationship Id="rId84" Type="http://schemas.openxmlformats.org/officeDocument/2006/relationships/tags" Target="../tags/tag990.xml"/><Relationship Id="rId89" Type="http://schemas.openxmlformats.org/officeDocument/2006/relationships/tags" Target="../tags/tag995.xml"/><Relationship Id="rId16" Type="http://schemas.openxmlformats.org/officeDocument/2006/relationships/tags" Target="../tags/tag922.xml"/><Relationship Id="rId11" Type="http://schemas.openxmlformats.org/officeDocument/2006/relationships/tags" Target="../tags/tag917.xml"/><Relationship Id="rId32" Type="http://schemas.openxmlformats.org/officeDocument/2006/relationships/tags" Target="../tags/tag938.xml"/><Relationship Id="rId37" Type="http://schemas.openxmlformats.org/officeDocument/2006/relationships/tags" Target="../tags/tag943.xml"/><Relationship Id="rId53" Type="http://schemas.openxmlformats.org/officeDocument/2006/relationships/tags" Target="../tags/tag959.xml"/><Relationship Id="rId58" Type="http://schemas.openxmlformats.org/officeDocument/2006/relationships/tags" Target="../tags/tag964.xml"/><Relationship Id="rId74" Type="http://schemas.openxmlformats.org/officeDocument/2006/relationships/tags" Target="../tags/tag980.xml"/><Relationship Id="rId79" Type="http://schemas.openxmlformats.org/officeDocument/2006/relationships/tags" Target="../tags/tag985.xml"/><Relationship Id="rId102" Type="http://schemas.openxmlformats.org/officeDocument/2006/relationships/chart" Target="../charts/chart14.xml"/><Relationship Id="rId5" Type="http://schemas.openxmlformats.org/officeDocument/2006/relationships/tags" Target="../tags/tag911.xml"/><Relationship Id="rId90" Type="http://schemas.openxmlformats.org/officeDocument/2006/relationships/tags" Target="../tags/tag996.xml"/><Relationship Id="rId95" Type="http://schemas.openxmlformats.org/officeDocument/2006/relationships/oleObject" Target="../embeddings/oleObject57.bin"/><Relationship Id="rId22" Type="http://schemas.openxmlformats.org/officeDocument/2006/relationships/tags" Target="../tags/tag928.xml"/><Relationship Id="rId27" Type="http://schemas.openxmlformats.org/officeDocument/2006/relationships/tags" Target="../tags/tag933.xml"/><Relationship Id="rId43" Type="http://schemas.openxmlformats.org/officeDocument/2006/relationships/tags" Target="../tags/tag949.xml"/><Relationship Id="rId48" Type="http://schemas.openxmlformats.org/officeDocument/2006/relationships/tags" Target="../tags/tag954.xml"/><Relationship Id="rId64" Type="http://schemas.openxmlformats.org/officeDocument/2006/relationships/tags" Target="../tags/tag970.xml"/><Relationship Id="rId69" Type="http://schemas.openxmlformats.org/officeDocument/2006/relationships/tags" Target="../tags/tag975.xml"/><Relationship Id="rId80" Type="http://schemas.openxmlformats.org/officeDocument/2006/relationships/tags" Target="../tags/tag986.xml"/><Relationship Id="rId85" Type="http://schemas.openxmlformats.org/officeDocument/2006/relationships/tags" Target="../tags/tag991.xml"/><Relationship Id="rId12" Type="http://schemas.openxmlformats.org/officeDocument/2006/relationships/tags" Target="../tags/tag918.xml"/><Relationship Id="rId17" Type="http://schemas.openxmlformats.org/officeDocument/2006/relationships/tags" Target="../tags/tag923.xml"/><Relationship Id="rId25" Type="http://schemas.openxmlformats.org/officeDocument/2006/relationships/tags" Target="../tags/tag931.xml"/><Relationship Id="rId33" Type="http://schemas.openxmlformats.org/officeDocument/2006/relationships/tags" Target="../tags/tag939.xml"/><Relationship Id="rId38" Type="http://schemas.openxmlformats.org/officeDocument/2006/relationships/tags" Target="../tags/tag944.xml"/><Relationship Id="rId46" Type="http://schemas.openxmlformats.org/officeDocument/2006/relationships/tags" Target="../tags/tag952.xml"/><Relationship Id="rId59" Type="http://schemas.openxmlformats.org/officeDocument/2006/relationships/tags" Target="../tags/tag965.xml"/><Relationship Id="rId67" Type="http://schemas.openxmlformats.org/officeDocument/2006/relationships/tags" Target="../tags/tag973.xml"/><Relationship Id="rId20" Type="http://schemas.openxmlformats.org/officeDocument/2006/relationships/tags" Target="../tags/tag926.xml"/><Relationship Id="rId41" Type="http://schemas.openxmlformats.org/officeDocument/2006/relationships/tags" Target="../tags/tag947.xml"/><Relationship Id="rId54" Type="http://schemas.openxmlformats.org/officeDocument/2006/relationships/tags" Target="../tags/tag960.xml"/><Relationship Id="rId62" Type="http://schemas.openxmlformats.org/officeDocument/2006/relationships/tags" Target="../tags/tag968.xml"/><Relationship Id="rId70" Type="http://schemas.openxmlformats.org/officeDocument/2006/relationships/tags" Target="../tags/tag976.xml"/><Relationship Id="rId75" Type="http://schemas.openxmlformats.org/officeDocument/2006/relationships/tags" Target="../tags/tag981.xml"/><Relationship Id="rId83" Type="http://schemas.openxmlformats.org/officeDocument/2006/relationships/tags" Target="../tags/tag989.xml"/><Relationship Id="rId88" Type="http://schemas.openxmlformats.org/officeDocument/2006/relationships/tags" Target="../tags/tag994.xml"/><Relationship Id="rId91" Type="http://schemas.openxmlformats.org/officeDocument/2006/relationships/tags" Target="../tags/tag997.xml"/><Relationship Id="rId96" Type="http://schemas.openxmlformats.org/officeDocument/2006/relationships/image" Target="../media/image10.emf"/><Relationship Id="rId1" Type="http://schemas.openxmlformats.org/officeDocument/2006/relationships/tags" Target="../tags/tag907.xml"/><Relationship Id="rId6" Type="http://schemas.openxmlformats.org/officeDocument/2006/relationships/tags" Target="../tags/tag912.xml"/><Relationship Id="rId15" Type="http://schemas.openxmlformats.org/officeDocument/2006/relationships/tags" Target="../tags/tag921.xml"/><Relationship Id="rId23" Type="http://schemas.openxmlformats.org/officeDocument/2006/relationships/tags" Target="../tags/tag929.xml"/><Relationship Id="rId28" Type="http://schemas.openxmlformats.org/officeDocument/2006/relationships/tags" Target="../tags/tag934.xml"/><Relationship Id="rId36" Type="http://schemas.openxmlformats.org/officeDocument/2006/relationships/tags" Target="../tags/tag942.xml"/><Relationship Id="rId49" Type="http://schemas.openxmlformats.org/officeDocument/2006/relationships/tags" Target="../tags/tag955.xml"/><Relationship Id="rId57" Type="http://schemas.openxmlformats.org/officeDocument/2006/relationships/tags" Target="../tags/tag963.xml"/><Relationship Id="rId10" Type="http://schemas.openxmlformats.org/officeDocument/2006/relationships/tags" Target="../tags/tag916.xml"/><Relationship Id="rId31" Type="http://schemas.openxmlformats.org/officeDocument/2006/relationships/tags" Target="../tags/tag937.xml"/><Relationship Id="rId44" Type="http://schemas.openxmlformats.org/officeDocument/2006/relationships/tags" Target="../tags/tag950.xml"/><Relationship Id="rId52" Type="http://schemas.openxmlformats.org/officeDocument/2006/relationships/tags" Target="../tags/tag958.xml"/><Relationship Id="rId60" Type="http://schemas.openxmlformats.org/officeDocument/2006/relationships/tags" Target="../tags/tag966.xml"/><Relationship Id="rId65" Type="http://schemas.openxmlformats.org/officeDocument/2006/relationships/tags" Target="../tags/tag971.xml"/><Relationship Id="rId73" Type="http://schemas.openxmlformats.org/officeDocument/2006/relationships/tags" Target="../tags/tag979.xml"/><Relationship Id="rId78" Type="http://schemas.openxmlformats.org/officeDocument/2006/relationships/tags" Target="../tags/tag984.xml"/><Relationship Id="rId81" Type="http://schemas.openxmlformats.org/officeDocument/2006/relationships/tags" Target="../tags/tag987.xml"/><Relationship Id="rId86" Type="http://schemas.openxmlformats.org/officeDocument/2006/relationships/tags" Target="../tags/tag992.xml"/><Relationship Id="rId94" Type="http://schemas.openxmlformats.org/officeDocument/2006/relationships/notesSlide" Target="../notesSlides/notesSlide20.xml"/><Relationship Id="rId99" Type="http://schemas.openxmlformats.org/officeDocument/2006/relationships/image" Target="../media/image175.png"/><Relationship Id="rId101" Type="http://schemas.openxmlformats.org/officeDocument/2006/relationships/image" Target="../media/image135.png"/><Relationship Id="rId4" Type="http://schemas.openxmlformats.org/officeDocument/2006/relationships/tags" Target="../tags/tag910.xml"/><Relationship Id="rId9" Type="http://schemas.openxmlformats.org/officeDocument/2006/relationships/tags" Target="../tags/tag915.xml"/><Relationship Id="rId13" Type="http://schemas.openxmlformats.org/officeDocument/2006/relationships/tags" Target="../tags/tag919.xml"/><Relationship Id="rId18" Type="http://schemas.openxmlformats.org/officeDocument/2006/relationships/tags" Target="../tags/tag924.xml"/><Relationship Id="rId39" Type="http://schemas.openxmlformats.org/officeDocument/2006/relationships/tags" Target="../tags/tag945.xml"/><Relationship Id="rId34" Type="http://schemas.openxmlformats.org/officeDocument/2006/relationships/tags" Target="../tags/tag940.xml"/><Relationship Id="rId50" Type="http://schemas.openxmlformats.org/officeDocument/2006/relationships/tags" Target="../tags/tag956.xml"/><Relationship Id="rId55" Type="http://schemas.openxmlformats.org/officeDocument/2006/relationships/tags" Target="../tags/tag961.xml"/><Relationship Id="rId76" Type="http://schemas.openxmlformats.org/officeDocument/2006/relationships/tags" Target="../tags/tag982.xml"/><Relationship Id="rId97" Type="http://schemas.openxmlformats.org/officeDocument/2006/relationships/chart" Target="../charts/chart13.xml"/><Relationship Id="rId7" Type="http://schemas.openxmlformats.org/officeDocument/2006/relationships/tags" Target="../tags/tag913.xml"/><Relationship Id="rId71" Type="http://schemas.openxmlformats.org/officeDocument/2006/relationships/tags" Target="../tags/tag977.xml"/><Relationship Id="rId92" Type="http://schemas.openxmlformats.org/officeDocument/2006/relationships/tags" Target="../tags/tag998.xml"/><Relationship Id="rId2" Type="http://schemas.openxmlformats.org/officeDocument/2006/relationships/tags" Target="../tags/tag908.xml"/><Relationship Id="rId29" Type="http://schemas.openxmlformats.org/officeDocument/2006/relationships/tags" Target="../tags/tag935.xml"/><Relationship Id="rId24" Type="http://schemas.openxmlformats.org/officeDocument/2006/relationships/tags" Target="../tags/tag930.xml"/><Relationship Id="rId40" Type="http://schemas.openxmlformats.org/officeDocument/2006/relationships/tags" Target="../tags/tag946.xml"/><Relationship Id="rId45" Type="http://schemas.openxmlformats.org/officeDocument/2006/relationships/tags" Target="../tags/tag951.xml"/><Relationship Id="rId66" Type="http://schemas.openxmlformats.org/officeDocument/2006/relationships/tags" Target="../tags/tag972.xml"/><Relationship Id="rId87" Type="http://schemas.openxmlformats.org/officeDocument/2006/relationships/tags" Target="../tags/tag993.xml"/><Relationship Id="rId61" Type="http://schemas.openxmlformats.org/officeDocument/2006/relationships/tags" Target="../tags/tag967.xml"/><Relationship Id="rId82" Type="http://schemas.openxmlformats.org/officeDocument/2006/relationships/tags" Target="../tags/tag988.xml"/><Relationship Id="rId19" Type="http://schemas.openxmlformats.org/officeDocument/2006/relationships/tags" Target="../tags/tag925.xml"/><Relationship Id="rId14" Type="http://schemas.openxmlformats.org/officeDocument/2006/relationships/tags" Target="../tags/tag920.xml"/><Relationship Id="rId30" Type="http://schemas.openxmlformats.org/officeDocument/2006/relationships/tags" Target="../tags/tag936.xml"/><Relationship Id="rId35" Type="http://schemas.openxmlformats.org/officeDocument/2006/relationships/tags" Target="../tags/tag941.xml"/><Relationship Id="rId56" Type="http://schemas.openxmlformats.org/officeDocument/2006/relationships/tags" Target="../tags/tag962.xml"/><Relationship Id="rId77" Type="http://schemas.openxmlformats.org/officeDocument/2006/relationships/tags" Target="../tags/tag983.xml"/><Relationship Id="rId100" Type="http://schemas.openxmlformats.org/officeDocument/2006/relationships/image" Target="../media/image176.jpeg"/><Relationship Id="rId8" Type="http://schemas.openxmlformats.org/officeDocument/2006/relationships/tags" Target="../tags/tag914.xml"/><Relationship Id="rId51" Type="http://schemas.openxmlformats.org/officeDocument/2006/relationships/tags" Target="../tags/tag957.xml"/><Relationship Id="rId72" Type="http://schemas.openxmlformats.org/officeDocument/2006/relationships/tags" Target="../tags/tag978.xml"/><Relationship Id="rId93" Type="http://schemas.openxmlformats.org/officeDocument/2006/relationships/slideLayout" Target="../slideLayouts/slideLayout16.xml"/><Relationship Id="rId98" Type="http://schemas.openxmlformats.org/officeDocument/2006/relationships/image" Target="../media/image174.png"/><Relationship Id="rId3" Type="http://schemas.openxmlformats.org/officeDocument/2006/relationships/tags" Target="../tags/tag909.xml"/></Relationships>
</file>

<file path=ppt/slides/_rels/slide24.xml.rels><?xml version="1.0" encoding="UTF-8" standalone="yes"?>
<Relationships xmlns="http://schemas.openxmlformats.org/package/2006/relationships"><Relationship Id="rId26" Type="http://schemas.openxmlformats.org/officeDocument/2006/relationships/tags" Target="../tags/tag1024.xml"/><Relationship Id="rId21" Type="http://schemas.openxmlformats.org/officeDocument/2006/relationships/tags" Target="../tags/tag1019.xml"/><Relationship Id="rId42" Type="http://schemas.openxmlformats.org/officeDocument/2006/relationships/tags" Target="../tags/tag1040.xml"/><Relationship Id="rId47" Type="http://schemas.openxmlformats.org/officeDocument/2006/relationships/tags" Target="../tags/tag1045.xml"/><Relationship Id="rId63" Type="http://schemas.openxmlformats.org/officeDocument/2006/relationships/tags" Target="../tags/tag1061.xml"/><Relationship Id="rId68" Type="http://schemas.openxmlformats.org/officeDocument/2006/relationships/tags" Target="../tags/tag1066.xml"/><Relationship Id="rId84" Type="http://schemas.openxmlformats.org/officeDocument/2006/relationships/tags" Target="../tags/tag1082.xml"/><Relationship Id="rId89" Type="http://schemas.openxmlformats.org/officeDocument/2006/relationships/image" Target="../media/image177.png"/><Relationship Id="rId16" Type="http://schemas.openxmlformats.org/officeDocument/2006/relationships/tags" Target="../tags/tag1014.xml"/><Relationship Id="rId11" Type="http://schemas.openxmlformats.org/officeDocument/2006/relationships/tags" Target="../tags/tag1009.xml"/><Relationship Id="rId32" Type="http://schemas.openxmlformats.org/officeDocument/2006/relationships/tags" Target="../tags/tag1030.xml"/><Relationship Id="rId37" Type="http://schemas.openxmlformats.org/officeDocument/2006/relationships/tags" Target="../tags/tag1035.xml"/><Relationship Id="rId53" Type="http://schemas.openxmlformats.org/officeDocument/2006/relationships/tags" Target="../tags/tag1051.xml"/><Relationship Id="rId58" Type="http://schemas.openxmlformats.org/officeDocument/2006/relationships/tags" Target="../tags/tag1056.xml"/><Relationship Id="rId74" Type="http://schemas.openxmlformats.org/officeDocument/2006/relationships/tags" Target="../tags/tag1072.xml"/><Relationship Id="rId79" Type="http://schemas.openxmlformats.org/officeDocument/2006/relationships/tags" Target="../tags/tag1077.xml"/><Relationship Id="rId5" Type="http://schemas.openxmlformats.org/officeDocument/2006/relationships/tags" Target="../tags/tag1003.xml"/><Relationship Id="rId90" Type="http://schemas.openxmlformats.org/officeDocument/2006/relationships/image" Target="../media/image135.png"/><Relationship Id="rId14" Type="http://schemas.openxmlformats.org/officeDocument/2006/relationships/tags" Target="../tags/tag1012.xml"/><Relationship Id="rId22" Type="http://schemas.openxmlformats.org/officeDocument/2006/relationships/tags" Target="../tags/tag1020.xml"/><Relationship Id="rId27" Type="http://schemas.openxmlformats.org/officeDocument/2006/relationships/tags" Target="../tags/tag1025.xml"/><Relationship Id="rId30" Type="http://schemas.openxmlformats.org/officeDocument/2006/relationships/tags" Target="../tags/tag1028.xml"/><Relationship Id="rId35" Type="http://schemas.openxmlformats.org/officeDocument/2006/relationships/tags" Target="../tags/tag1033.xml"/><Relationship Id="rId43" Type="http://schemas.openxmlformats.org/officeDocument/2006/relationships/tags" Target="../tags/tag1041.xml"/><Relationship Id="rId48" Type="http://schemas.openxmlformats.org/officeDocument/2006/relationships/tags" Target="../tags/tag1046.xml"/><Relationship Id="rId56" Type="http://schemas.openxmlformats.org/officeDocument/2006/relationships/tags" Target="../tags/tag1054.xml"/><Relationship Id="rId64" Type="http://schemas.openxmlformats.org/officeDocument/2006/relationships/tags" Target="../tags/tag1062.xml"/><Relationship Id="rId69" Type="http://schemas.openxmlformats.org/officeDocument/2006/relationships/tags" Target="../tags/tag1067.xml"/><Relationship Id="rId77" Type="http://schemas.openxmlformats.org/officeDocument/2006/relationships/tags" Target="../tags/tag1075.xml"/><Relationship Id="rId8" Type="http://schemas.openxmlformats.org/officeDocument/2006/relationships/tags" Target="../tags/tag1006.xml"/><Relationship Id="rId51" Type="http://schemas.openxmlformats.org/officeDocument/2006/relationships/tags" Target="../tags/tag1049.xml"/><Relationship Id="rId72" Type="http://schemas.openxmlformats.org/officeDocument/2006/relationships/tags" Target="../tags/tag1070.xml"/><Relationship Id="rId80" Type="http://schemas.openxmlformats.org/officeDocument/2006/relationships/tags" Target="../tags/tag1078.xml"/><Relationship Id="rId85" Type="http://schemas.openxmlformats.org/officeDocument/2006/relationships/slideLayout" Target="../slideLayouts/slideLayout16.xml"/><Relationship Id="rId3" Type="http://schemas.openxmlformats.org/officeDocument/2006/relationships/tags" Target="../tags/tag1001.xml"/><Relationship Id="rId12" Type="http://schemas.openxmlformats.org/officeDocument/2006/relationships/tags" Target="../tags/tag1010.xml"/><Relationship Id="rId17" Type="http://schemas.openxmlformats.org/officeDocument/2006/relationships/tags" Target="../tags/tag1015.xml"/><Relationship Id="rId25" Type="http://schemas.openxmlformats.org/officeDocument/2006/relationships/tags" Target="../tags/tag1023.xml"/><Relationship Id="rId33" Type="http://schemas.openxmlformats.org/officeDocument/2006/relationships/tags" Target="../tags/tag1031.xml"/><Relationship Id="rId38" Type="http://schemas.openxmlformats.org/officeDocument/2006/relationships/tags" Target="../tags/tag1036.xml"/><Relationship Id="rId46" Type="http://schemas.openxmlformats.org/officeDocument/2006/relationships/tags" Target="../tags/tag1044.xml"/><Relationship Id="rId59" Type="http://schemas.openxmlformats.org/officeDocument/2006/relationships/tags" Target="../tags/tag1057.xml"/><Relationship Id="rId67" Type="http://schemas.openxmlformats.org/officeDocument/2006/relationships/tags" Target="../tags/tag1065.xml"/><Relationship Id="rId20" Type="http://schemas.openxmlformats.org/officeDocument/2006/relationships/tags" Target="../tags/tag1018.xml"/><Relationship Id="rId41" Type="http://schemas.openxmlformats.org/officeDocument/2006/relationships/tags" Target="../tags/tag1039.xml"/><Relationship Id="rId54" Type="http://schemas.openxmlformats.org/officeDocument/2006/relationships/tags" Target="../tags/tag1052.xml"/><Relationship Id="rId62" Type="http://schemas.openxmlformats.org/officeDocument/2006/relationships/tags" Target="../tags/tag1060.xml"/><Relationship Id="rId70" Type="http://schemas.openxmlformats.org/officeDocument/2006/relationships/tags" Target="../tags/tag1068.xml"/><Relationship Id="rId75" Type="http://schemas.openxmlformats.org/officeDocument/2006/relationships/tags" Target="../tags/tag1073.xml"/><Relationship Id="rId83" Type="http://schemas.openxmlformats.org/officeDocument/2006/relationships/tags" Target="../tags/tag1081.xml"/><Relationship Id="rId88" Type="http://schemas.openxmlformats.org/officeDocument/2006/relationships/image" Target="../media/image10.emf"/><Relationship Id="rId91" Type="http://schemas.openxmlformats.org/officeDocument/2006/relationships/chart" Target="../charts/chart15.xml"/><Relationship Id="rId1" Type="http://schemas.openxmlformats.org/officeDocument/2006/relationships/tags" Target="../tags/tag999.xml"/><Relationship Id="rId6" Type="http://schemas.openxmlformats.org/officeDocument/2006/relationships/tags" Target="../tags/tag1004.xml"/><Relationship Id="rId15" Type="http://schemas.openxmlformats.org/officeDocument/2006/relationships/tags" Target="../tags/tag1013.xml"/><Relationship Id="rId23" Type="http://schemas.openxmlformats.org/officeDocument/2006/relationships/tags" Target="../tags/tag1021.xml"/><Relationship Id="rId28" Type="http://schemas.openxmlformats.org/officeDocument/2006/relationships/tags" Target="../tags/tag1026.xml"/><Relationship Id="rId36" Type="http://schemas.openxmlformats.org/officeDocument/2006/relationships/tags" Target="../tags/tag1034.xml"/><Relationship Id="rId49" Type="http://schemas.openxmlformats.org/officeDocument/2006/relationships/tags" Target="../tags/tag1047.xml"/><Relationship Id="rId57" Type="http://schemas.openxmlformats.org/officeDocument/2006/relationships/tags" Target="../tags/tag1055.xml"/><Relationship Id="rId10" Type="http://schemas.openxmlformats.org/officeDocument/2006/relationships/tags" Target="../tags/tag1008.xml"/><Relationship Id="rId31" Type="http://schemas.openxmlformats.org/officeDocument/2006/relationships/tags" Target="../tags/tag1029.xml"/><Relationship Id="rId44" Type="http://schemas.openxmlformats.org/officeDocument/2006/relationships/tags" Target="../tags/tag1042.xml"/><Relationship Id="rId52" Type="http://schemas.openxmlformats.org/officeDocument/2006/relationships/tags" Target="../tags/tag1050.xml"/><Relationship Id="rId60" Type="http://schemas.openxmlformats.org/officeDocument/2006/relationships/tags" Target="../tags/tag1058.xml"/><Relationship Id="rId65" Type="http://schemas.openxmlformats.org/officeDocument/2006/relationships/tags" Target="../tags/tag1063.xml"/><Relationship Id="rId73" Type="http://schemas.openxmlformats.org/officeDocument/2006/relationships/tags" Target="../tags/tag1071.xml"/><Relationship Id="rId78" Type="http://schemas.openxmlformats.org/officeDocument/2006/relationships/tags" Target="../tags/tag1076.xml"/><Relationship Id="rId81" Type="http://schemas.openxmlformats.org/officeDocument/2006/relationships/tags" Target="../tags/tag1079.xml"/><Relationship Id="rId86" Type="http://schemas.openxmlformats.org/officeDocument/2006/relationships/notesSlide" Target="../notesSlides/notesSlide21.xml"/><Relationship Id="rId4" Type="http://schemas.openxmlformats.org/officeDocument/2006/relationships/tags" Target="../tags/tag1002.xml"/><Relationship Id="rId9" Type="http://schemas.openxmlformats.org/officeDocument/2006/relationships/tags" Target="../tags/tag1007.xml"/><Relationship Id="rId13" Type="http://schemas.openxmlformats.org/officeDocument/2006/relationships/tags" Target="../tags/tag1011.xml"/><Relationship Id="rId18" Type="http://schemas.openxmlformats.org/officeDocument/2006/relationships/tags" Target="../tags/tag1016.xml"/><Relationship Id="rId39" Type="http://schemas.openxmlformats.org/officeDocument/2006/relationships/tags" Target="../tags/tag1037.xml"/><Relationship Id="rId34" Type="http://schemas.openxmlformats.org/officeDocument/2006/relationships/tags" Target="../tags/tag1032.xml"/><Relationship Id="rId50" Type="http://schemas.openxmlformats.org/officeDocument/2006/relationships/tags" Target="../tags/tag1048.xml"/><Relationship Id="rId55" Type="http://schemas.openxmlformats.org/officeDocument/2006/relationships/tags" Target="../tags/tag1053.xml"/><Relationship Id="rId76" Type="http://schemas.openxmlformats.org/officeDocument/2006/relationships/tags" Target="../tags/tag1074.xml"/><Relationship Id="rId7" Type="http://schemas.openxmlformats.org/officeDocument/2006/relationships/tags" Target="../tags/tag1005.xml"/><Relationship Id="rId71" Type="http://schemas.openxmlformats.org/officeDocument/2006/relationships/tags" Target="../tags/tag1069.xml"/><Relationship Id="rId92" Type="http://schemas.openxmlformats.org/officeDocument/2006/relationships/chart" Target="../charts/chart16.xml"/><Relationship Id="rId2" Type="http://schemas.openxmlformats.org/officeDocument/2006/relationships/tags" Target="../tags/tag1000.xml"/><Relationship Id="rId29" Type="http://schemas.openxmlformats.org/officeDocument/2006/relationships/tags" Target="../tags/tag1027.xml"/><Relationship Id="rId24" Type="http://schemas.openxmlformats.org/officeDocument/2006/relationships/tags" Target="../tags/tag1022.xml"/><Relationship Id="rId40" Type="http://schemas.openxmlformats.org/officeDocument/2006/relationships/tags" Target="../tags/tag1038.xml"/><Relationship Id="rId45" Type="http://schemas.openxmlformats.org/officeDocument/2006/relationships/tags" Target="../tags/tag1043.xml"/><Relationship Id="rId66" Type="http://schemas.openxmlformats.org/officeDocument/2006/relationships/tags" Target="../tags/tag1064.xml"/><Relationship Id="rId87" Type="http://schemas.openxmlformats.org/officeDocument/2006/relationships/oleObject" Target="../embeddings/oleObject58.bin"/><Relationship Id="rId61" Type="http://schemas.openxmlformats.org/officeDocument/2006/relationships/tags" Target="../tags/tag1059.xml"/><Relationship Id="rId82" Type="http://schemas.openxmlformats.org/officeDocument/2006/relationships/tags" Target="../tags/tag1080.xml"/><Relationship Id="rId19" Type="http://schemas.openxmlformats.org/officeDocument/2006/relationships/tags" Target="../tags/tag1017.xml"/></Relationships>
</file>

<file path=ppt/slides/_rels/slide3.xml.rels><?xml version="1.0" encoding="UTF-8" standalone="yes"?>
<Relationships xmlns="http://schemas.openxmlformats.org/package/2006/relationships"><Relationship Id="rId13" Type="http://schemas.openxmlformats.org/officeDocument/2006/relationships/tags" Target="../tags/tag288.xml"/><Relationship Id="rId18" Type="http://schemas.openxmlformats.org/officeDocument/2006/relationships/tags" Target="../tags/tag293.xml"/><Relationship Id="rId26" Type="http://schemas.openxmlformats.org/officeDocument/2006/relationships/tags" Target="../tags/tag301.xml"/><Relationship Id="rId39" Type="http://schemas.openxmlformats.org/officeDocument/2006/relationships/image" Target="../media/image27.jpeg"/><Relationship Id="rId21" Type="http://schemas.openxmlformats.org/officeDocument/2006/relationships/tags" Target="../tags/tag296.xml"/><Relationship Id="rId34" Type="http://schemas.openxmlformats.org/officeDocument/2006/relationships/oleObject" Target="../embeddings/oleObject38.bin"/><Relationship Id="rId42" Type="http://schemas.openxmlformats.org/officeDocument/2006/relationships/image" Target="../media/image30.png"/><Relationship Id="rId47" Type="http://schemas.openxmlformats.org/officeDocument/2006/relationships/image" Target="../media/image34.png"/><Relationship Id="rId50" Type="http://schemas.openxmlformats.org/officeDocument/2006/relationships/image" Target="../media/image37.svg"/><Relationship Id="rId55" Type="http://schemas.openxmlformats.org/officeDocument/2006/relationships/image" Target="../media/image42.png"/><Relationship Id="rId7" Type="http://schemas.openxmlformats.org/officeDocument/2006/relationships/tags" Target="../tags/tag282.xml"/><Relationship Id="rId2" Type="http://schemas.openxmlformats.org/officeDocument/2006/relationships/tags" Target="../tags/tag277.xml"/><Relationship Id="rId16" Type="http://schemas.openxmlformats.org/officeDocument/2006/relationships/tags" Target="../tags/tag291.xml"/><Relationship Id="rId29" Type="http://schemas.openxmlformats.org/officeDocument/2006/relationships/tags" Target="../tags/tag304.xml"/><Relationship Id="rId11" Type="http://schemas.openxmlformats.org/officeDocument/2006/relationships/tags" Target="../tags/tag286.xml"/><Relationship Id="rId24" Type="http://schemas.openxmlformats.org/officeDocument/2006/relationships/tags" Target="../tags/tag299.xml"/><Relationship Id="rId32" Type="http://schemas.openxmlformats.org/officeDocument/2006/relationships/slideLayout" Target="../slideLayouts/slideLayout16.xml"/><Relationship Id="rId37" Type="http://schemas.openxmlformats.org/officeDocument/2006/relationships/image" Target="../media/image25.svg"/><Relationship Id="rId40" Type="http://schemas.openxmlformats.org/officeDocument/2006/relationships/image" Target="../media/image28.jpeg"/><Relationship Id="rId45" Type="http://schemas.openxmlformats.org/officeDocument/2006/relationships/image" Target="../media/image32.png"/><Relationship Id="rId53" Type="http://schemas.openxmlformats.org/officeDocument/2006/relationships/image" Target="../media/image40.png"/><Relationship Id="rId5" Type="http://schemas.openxmlformats.org/officeDocument/2006/relationships/tags" Target="../tags/tag280.xml"/><Relationship Id="rId19" Type="http://schemas.openxmlformats.org/officeDocument/2006/relationships/tags" Target="../tags/tag294.xml"/><Relationship Id="rId4" Type="http://schemas.openxmlformats.org/officeDocument/2006/relationships/tags" Target="../tags/tag279.xml"/><Relationship Id="rId9" Type="http://schemas.openxmlformats.org/officeDocument/2006/relationships/tags" Target="../tags/tag284.xml"/><Relationship Id="rId14" Type="http://schemas.openxmlformats.org/officeDocument/2006/relationships/tags" Target="../tags/tag289.xml"/><Relationship Id="rId22" Type="http://schemas.openxmlformats.org/officeDocument/2006/relationships/tags" Target="../tags/tag297.xml"/><Relationship Id="rId27" Type="http://schemas.openxmlformats.org/officeDocument/2006/relationships/tags" Target="../tags/tag302.xml"/><Relationship Id="rId30" Type="http://schemas.openxmlformats.org/officeDocument/2006/relationships/tags" Target="../tags/tag305.xml"/><Relationship Id="rId35" Type="http://schemas.openxmlformats.org/officeDocument/2006/relationships/image" Target="../media/image10.emf"/><Relationship Id="rId43" Type="http://schemas.microsoft.com/office/2007/relationships/hdphoto" Target="../media/hdphoto3.wdp"/><Relationship Id="rId48" Type="http://schemas.openxmlformats.org/officeDocument/2006/relationships/image" Target="../media/image35.svg"/><Relationship Id="rId56" Type="http://schemas.openxmlformats.org/officeDocument/2006/relationships/image" Target="../media/image43.svg"/><Relationship Id="rId8" Type="http://schemas.openxmlformats.org/officeDocument/2006/relationships/tags" Target="../tags/tag283.xml"/><Relationship Id="rId51" Type="http://schemas.openxmlformats.org/officeDocument/2006/relationships/image" Target="../media/image38.png"/><Relationship Id="rId3" Type="http://schemas.openxmlformats.org/officeDocument/2006/relationships/tags" Target="../tags/tag278.xml"/><Relationship Id="rId12" Type="http://schemas.openxmlformats.org/officeDocument/2006/relationships/tags" Target="../tags/tag287.xml"/><Relationship Id="rId17" Type="http://schemas.openxmlformats.org/officeDocument/2006/relationships/tags" Target="../tags/tag292.xml"/><Relationship Id="rId25" Type="http://schemas.openxmlformats.org/officeDocument/2006/relationships/tags" Target="../tags/tag300.xml"/><Relationship Id="rId33" Type="http://schemas.openxmlformats.org/officeDocument/2006/relationships/notesSlide" Target="../notesSlides/notesSlide3.xml"/><Relationship Id="rId38" Type="http://schemas.openxmlformats.org/officeDocument/2006/relationships/image" Target="../media/image26.jpeg"/><Relationship Id="rId46" Type="http://schemas.openxmlformats.org/officeDocument/2006/relationships/image" Target="../media/image33.svg"/><Relationship Id="rId20" Type="http://schemas.openxmlformats.org/officeDocument/2006/relationships/tags" Target="../tags/tag295.xml"/><Relationship Id="rId41" Type="http://schemas.openxmlformats.org/officeDocument/2006/relationships/image" Target="../media/image29.jpeg"/><Relationship Id="rId54" Type="http://schemas.openxmlformats.org/officeDocument/2006/relationships/image" Target="../media/image41.svg"/><Relationship Id="rId1" Type="http://schemas.openxmlformats.org/officeDocument/2006/relationships/tags" Target="../tags/tag276.xml"/><Relationship Id="rId6" Type="http://schemas.openxmlformats.org/officeDocument/2006/relationships/tags" Target="../tags/tag281.xml"/><Relationship Id="rId15" Type="http://schemas.openxmlformats.org/officeDocument/2006/relationships/tags" Target="../tags/tag290.xml"/><Relationship Id="rId23" Type="http://schemas.openxmlformats.org/officeDocument/2006/relationships/tags" Target="../tags/tag298.xml"/><Relationship Id="rId28" Type="http://schemas.openxmlformats.org/officeDocument/2006/relationships/tags" Target="../tags/tag303.xml"/><Relationship Id="rId36" Type="http://schemas.openxmlformats.org/officeDocument/2006/relationships/image" Target="../media/image24.png"/><Relationship Id="rId49" Type="http://schemas.openxmlformats.org/officeDocument/2006/relationships/image" Target="../media/image36.png"/><Relationship Id="rId57" Type="http://schemas.openxmlformats.org/officeDocument/2006/relationships/image" Target="../media/image44.png"/><Relationship Id="rId10" Type="http://schemas.openxmlformats.org/officeDocument/2006/relationships/tags" Target="../tags/tag285.xml"/><Relationship Id="rId31" Type="http://schemas.openxmlformats.org/officeDocument/2006/relationships/tags" Target="../tags/tag306.xml"/><Relationship Id="rId44" Type="http://schemas.openxmlformats.org/officeDocument/2006/relationships/image" Target="../media/image31.jpeg"/><Relationship Id="rId52" Type="http://schemas.openxmlformats.org/officeDocument/2006/relationships/image" Target="../media/image39.svg"/></Relationships>
</file>

<file path=ppt/slides/_rels/slide4.xml.rels><?xml version="1.0" encoding="UTF-8" standalone="yes"?>
<Relationships xmlns="http://schemas.openxmlformats.org/package/2006/relationships"><Relationship Id="rId13" Type="http://schemas.openxmlformats.org/officeDocument/2006/relationships/tags" Target="../tags/tag319.xml"/><Relationship Id="rId18" Type="http://schemas.openxmlformats.org/officeDocument/2006/relationships/tags" Target="../tags/tag324.xml"/><Relationship Id="rId26" Type="http://schemas.openxmlformats.org/officeDocument/2006/relationships/image" Target="../media/image47.png"/><Relationship Id="rId21" Type="http://schemas.openxmlformats.org/officeDocument/2006/relationships/notesSlide" Target="../notesSlides/notesSlide4.xml"/><Relationship Id="rId34" Type="http://schemas.openxmlformats.org/officeDocument/2006/relationships/image" Target="../media/image55.png"/><Relationship Id="rId7" Type="http://schemas.openxmlformats.org/officeDocument/2006/relationships/tags" Target="../tags/tag313.xml"/><Relationship Id="rId12" Type="http://schemas.openxmlformats.org/officeDocument/2006/relationships/tags" Target="../tags/tag318.xml"/><Relationship Id="rId17" Type="http://schemas.openxmlformats.org/officeDocument/2006/relationships/tags" Target="../tags/tag323.xml"/><Relationship Id="rId25" Type="http://schemas.openxmlformats.org/officeDocument/2006/relationships/image" Target="../media/image46.svg"/><Relationship Id="rId33" Type="http://schemas.openxmlformats.org/officeDocument/2006/relationships/image" Target="../media/image54.svg"/><Relationship Id="rId2" Type="http://schemas.openxmlformats.org/officeDocument/2006/relationships/tags" Target="../tags/tag308.xml"/><Relationship Id="rId16" Type="http://schemas.openxmlformats.org/officeDocument/2006/relationships/tags" Target="../tags/tag322.xml"/><Relationship Id="rId20" Type="http://schemas.openxmlformats.org/officeDocument/2006/relationships/slideLayout" Target="../slideLayouts/slideLayout16.xml"/><Relationship Id="rId29" Type="http://schemas.openxmlformats.org/officeDocument/2006/relationships/image" Target="../media/image50.svg"/><Relationship Id="rId1" Type="http://schemas.openxmlformats.org/officeDocument/2006/relationships/tags" Target="../tags/tag307.xml"/><Relationship Id="rId6" Type="http://schemas.openxmlformats.org/officeDocument/2006/relationships/tags" Target="../tags/tag312.xml"/><Relationship Id="rId11" Type="http://schemas.openxmlformats.org/officeDocument/2006/relationships/tags" Target="../tags/tag317.xml"/><Relationship Id="rId24" Type="http://schemas.openxmlformats.org/officeDocument/2006/relationships/image" Target="../media/image45.png"/><Relationship Id="rId32" Type="http://schemas.openxmlformats.org/officeDocument/2006/relationships/image" Target="../media/image53.png"/><Relationship Id="rId37" Type="http://schemas.openxmlformats.org/officeDocument/2006/relationships/image" Target="../media/image58.svg"/><Relationship Id="rId5" Type="http://schemas.openxmlformats.org/officeDocument/2006/relationships/tags" Target="../tags/tag311.xml"/><Relationship Id="rId15" Type="http://schemas.openxmlformats.org/officeDocument/2006/relationships/tags" Target="../tags/tag321.xml"/><Relationship Id="rId23" Type="http://schemas.openxmlformats.org/officeDocument/2006/relationships/image" Target="../media/image10.emf"/><Relationship Id="rId28" Type="http://schemas.openxmlformats.org/officeDocument/2006/relationships/image" Target="../media/image49.png"/><Relationship Id="rId36" Type="http://schemas.openxmlformats.org/officeDocument/2006/relationships/image" Target="../media/image57.png"/><Relationship Id="rId10" Type="http://schemas.openxmlformats.org/officeDocument/2006/relationships/tags" Target="../tags/tag316.xml"/><Relationship Id="rId19" Type="http://schemas.openxmlformats.org/officeDocument/2006/relationships/tags" Target="../tags/tag325.xml"/><Relationship Id="rId31" Type="http://schemas.openxmlformats.org/officeDocument/2006/relationships/image" Target="../media/image52.svg"/><Relationship Id="rId4" Type="http://schemas.openxmlformats.org/officeDocument/2006/relationships/tags" Target="../tags/tag310.xml"/><Relationship Id="rId9" Type="http://schemas.openxmlformats.org/officeDocument/2006/relationships/tags" Target="../tags/tag315.xml"/><Relationship Id="rId14" Type="http://schemas.openxmlformats.org/officeDocument/2006/relationships/tags" Target="../tags/tag320.xml"/><Relationship Id="rId22" Type="http://schemas.openxmlformats.org/officeDocument/2006/relationships/oleObject" Target="../embeddings/oleObject39.bin"/><Relationship Id="rId27" Type="http://schemas.openxmlformats.org/officeDocument/2006/relationships/image" Target="../media/image48.svg"/><Relationship Id="rId30" Type="http://schemas.openxmlformats.org/officeDocument/2006/relationships/image" Target="../media/image51.png"/><Relationship Id="rId35" Type="http://schemas.openxmlformats.org/officeDocument/2006/relationships/image" Target="../media/image56.svg"/><Relationship Id="rId8" Type="http://schemas.openxmlformats.org/officeDocument/2006/relationships/tags" Target="../tags/tag314.xml"/><Relationship Id="rId3" Type="http://schemas.openxmlformats.org/officeDocument/2006/relationships/tags" Target="../tags/tag309.xml"/></Relationships>
</file>

<file path=ppt/slides/_rels/slide5.xml.rels><?xml version="1.0" encoding="UTF-8" standalone="yes"?>
<Relationships xmlns="http://schemas.openxmlformats.org/package/2006/relationships"><Relationship Id="rId8" Type="http://schemas.openxmlformats.org/officeDocument/2006/relationships/oleObject" Target="../embeddings/oleObject40.bin"/><Relationship Id="rId13" Type="http://schemas.openxmlformats.org/officeDocument/2006/relationships/image" Target="../media/image63.svg"/><Relationship Id="rId3" Type="http://schemas.openxmlformats.org/officeDocument/2006/relationships/tags" Target="../tags/tag328.xml"/><Relationship Id="rId7" Type="http://schemas.openxmlformats.org/officeDocument/2006/relationships/slideLayout" Target="../slideLayouts/slideLayout2.xml"/><Relationship Id="rId12" Type="http://schemas.openxmlformats.org/officeDocument/2006/relationships/image" Target="../media/image62.png"/><Relationship Id="rId2" Type="http://schemas.openxmlformats.org/officeDocument/2006/relationships/tags" Target="../tags/tag327.xml"/><Relationship Id="rId1" Type="http://schemas.openxmlformats.org/officeDocument/2006/relationships/tags" Target="../tags/tag326.xml"/><Relationship Id="rId6" Type="http://schemas.openxmlformats.org/officeDocument/2006/relationships/tags" Target="../tags/tag331.xml"/><Relationship Id="rId11" Type="http://schemas.openxmlformats.org/officeDocument/2006/relationships/image" Target="../media/image61.png"/><Relationship Id="rId5" Type="http://schemas.openxmlformats.org/officeDocument/2006/relationships/tags" Target="../tags/tag330.xml"/><Relationship Id="rId10" Type="http://schemas.openxmlformats.org/officeDocument/2006/relationships/image" Target="../media/image60.png"/><Relationship Id="rId4" Type="http://schemas.openxmlformats.org/officeDocument/2006/relationships/tags" Target="../tags/tag329.xml"/><Relationship Id="rId9" Type="http://schemas.openxmlformats.org/officeDocument/2006/relationships/image" Target="../media/image59.emf"/></Relationships>
</file>

<file path=ppt/slides/_rels/slide6.xml.rels><?xml version="1.0" encoding="UTF-8" standalone="yes"?>
<Relationships xmlns="http://schemas.openxmlformats.org/package/2006/relationships"><Relationship Id="rId13" Type="http://schemas.openxmlformats.org/officeDocument/2006/relationships/tags" Target="../tags/tag344.xml"/><Relationship Id="rId18" Type="http://schemas.openxmlformats.org/officeDocument/2006/relationships/tags" Target="../tags/tag349.xml"/><Relationship Id="rId26" Type="http://schemas.openxmlformats.org/officeDocument/2006/relationships/tags" Target="../tags/tag357.xml"/><Relationship Id="rId39" Type="http://schemas.openxmlformats.org/officeDocument/2006/relationships/image" Target="../media/image72.png"/><Relationship Id="rId21" Type="http://schemas.openxmlformats.org/officeDocument/2006/relationships/tags" Target="../tags/tag352.xml"/><Relationship Id="rId34" Type="http://schemas.openxmlformats.org/officeDocument/2006/relationships/image" Target="../media/image67.png"/><Relationship Id="rId42" Type="http://schemas.openxmlformats.org/officeDocument/2006/relationships/image" Target="../media/image75.png"/><Relationship Id="rId47" Type="http://schemas.openxmlformats.org/officeDocument/2006/relationships/image" Target="../media/image80.png"/><Relationship Id="rId50" Type="http://schemas.openxmlformats.org/officeDocument/2006/relationships/image" Target="../media/image30.png"/><Relationship Id="rId7" Type="http://schemas.openxmlformats.org/officeDocument/2006/relationships/tags" Target="../tags/tag338.xml"/><Relationship Id="rId2" Type="http://schemas.openxmlformats.org/officeDocument/2006/relationships/tags" Target="../tags/tag333.xml"/><Relationship Id="rId16" Type="http://schemas.openxmlformats.org/officeDocument/2006/relationships/tags" Target="../tags/tag347.xml"/><Relationship Id="rId29" Type="http://schemas.openxmlformats.org/officeDocument/2006/relationships/oleObject" Target="../embeddings/oleObject41.bin"/><Relationship Id="rId11" Type="http://schemas.openxmlformats.org/officeDocument/2006/relationships/tags" Target="../tags/tag342.xml"/><Relationship Id="rId24" Type="http://schemas.openxmlformats.org/officeDocument/2006/relationships/tags" Target="../tags/tag355.xml"/><Relationship Id="rId32" Type="http://schemas.openxmlformats.org/officeDocument/2006/relationships/image" Target="../media/image65.svg"/><Relationship Id="rId37" Type="http://schemas.openxmlformats.org/officeDocument/2006/relationships/image" Target="../media/image70.png"/><Relationship Id="rId40" Type="http://schemas.openxmlformats.org/officeDocument/2006/relationships/image" Target="../media/image73.svg"/><Relationship Id="rId45" Type="http://schemas.openxmlformats.org/officeDocument/2006/relationships/image" Target="../media/image78.png"/><Relationship Id="rId5" Type="http://schemas.openxmlformats.org/officeDocument/2006/relationships/tags" Target="../tags/tag336.xml"/><Relationship Id="rId15" Type="http://schemas.openxmlformats.org/officeDocument/2006/relationships/tags" Target="../tags/tag346.xml"/><Relationship Id="rId23" Type="http://schemas.openxmlformats.org/officeDocument/2006/relationships/tags" Target="../tags/tag354.xml"/><Relationship Id="rId28" Type="http://schemas.openxmlformats.org/officeDocument/2006/relationships/notesSlide" Target="../notesSlides/notesSlide5.xml"/><Relationship Id="rId36" Type="http://schemas.openxmlformats.org/officeDocument/2006/relationships/image" Target="../media/image69.png"/><Relationship Id="rId49" Type="http://schemas.openxmlformats.org/officeDocument/2006/relationships/image" Target="../media/image31.jpeg"/><Relationship Id="rId10" Type="http://schemas.openxmlformats.org/officeDocument/2006/relationships/tags" Target="../tags/tag341.xml"/><Relationship Id="rId19" Type="http://schemas.openxmlformats.org/officeDocument/2006/relationships/tags" Target="../tags/tag350.xml"/><Relationship Id="rId31" Type="http://schemas.openxmlformats.org/officeDocument/2006/relationships/image" Target="../media/image64.png"/><Relationship Id="rId44" Type="http://schemas.openxmlformats.org/officeDocument/2006/relationships/image" Target="../media/image77.png"/><Relationship Id="rId52" Type="http://schemas.openxmlformats.org/officeDocument/2006/relationships/image" Target="../media/image29.jpeg"/><Relationship Id="rId4" Type="http://schemas.openxmlformats.org/officeDocument/2006/relationships/tags" Target="../tags/tag335.xml"/><Relationship Id="rId9" Type="http://schemas.openxmlformats.org/officeDocument/2006/relationships/tags" Target="../tags/tag340.xml"/><Relationship Id="rId14" Type="http://schemas.openxmlformats.org/officeDocument/2006/relationships/tags" Target="../tags/tag345.xml"/><Relationship Id="rId22" Type="http://schemas.openxmlformats.org/officeDocument/2006/relationships/tags" Target="../tags/tag353.xml"/><Relationship Id="rId27" Type="http://schemas.openxmlformats.org/officeDocument/2006/relationships/slideLayout" Target="../slideLayouts/slideLayout16.xml"/><Relationship Id="rId30" Type="http://schemas.openxmlformats.org/officeDocument/2006/relationships/image" Target="../media/image10.emf"/><Relationship Id="rId35" Type="http://schemas.openxmlformats.org/officeDocument/2006/relationships/image" Target="../media/image68.png"/><Relationship Id="rId43" Type="http://schemas.openxmlformats.org/officeDocument/2006/relationships/image" Target="../media/image76.png"/><Relationship Id="rId48" Type="http://schemas.openxmlformats.org/officeDocument/2006/relationships/image" Target="../media/image81.png"/><Relationship Id="rId8" Type="http://schemas.openxmlformats.org/officeDocument/2006/relationships/tags" Target="../tags/tag339.xml"/><Relationship Id="rId51" Type="http://schemas.microsoft.com/office/2007/relationships/hdphoto" Target="../media/hdphoto3.wdp"/><Relationship Id="rId3" Type="http://schemas.openxmlformats.org/officeDocument/2006/relationships/tags" Target="../tags/tag334.xml"/><Relationship Id="rId12" Type="http://schemas.openxmlformats.org/officeDocument/2006/relationships/tags" Target="../tags/tag343.xml"/><Relationship Id="rId17" Type="http://schemas.openxmlformats.org/officeDocument/2006/relationships/tags" Target="../tags/tag348.xml"/><Relationship Id="rId25" Type="http://schemas.openxmlformats.org/officeDocument/2006/relationships/tags" Target="../tags/tag356.xml"/><Relationship Id="rId33" Type="http://schemas.openxmlformats.org/officeDocument/2006/relationships/image" Target="../media/image66.png"/><Relationship Id="rId38" Type="http://schemas.openxmlformats.org/officeDocument/2006/relationships/image" Target="../media/image71.png"/><Relationship Id="rId46" Type="http://schemas.openxmlformats.org/officeDocument/2006/relationships/image" Target="../media/image79.png"/><Relationship Id="rId20" Type="http://schemas.openxmlformats.org/officeDocument/2006/relationships/tags" Target="../tags/tag351.xml"/><Relationship Id="rId41" Type="http://schemas.openxmlformats.org/officeDocument/2006/relationships/image" Target="../media/image74.png"/><Relationship Id="rId1" Type="http://schemas.openxmlformats.org/officeDocument/2006/relationships/tags" Target="../tags/tag332.xml"/><Relationship Id="rId6" Type="http://schemas.openxmlformats.org/officeDocument/2006/relationships/tags" Target="../tags/tag337.xml"/></Relationships>
</file>

<file path=ppt/slides/_rels/slide7.xml.rels><?xml version="1.0" encoding="UTF-8" standalone="yes"?>
<Relationships xmlns="http://schemas.openxmlformats.org/package/2006/relationships"><Relationship Id="rId13" Type="http://schemas.openxmlformats.org/officeDocument/2006/relationships/tags" Target="../tags/tag370.xml"/><Relationship Id="rId18" Type="http://schemas.openxmlformats.org/officeDocument/2006/relationships/tags" Target="../tags/tag375.xml"/><Relationship Id="rId26" Type="http://schemas.openxmlformats.org/officeDocument/2006/relationships/tags" Target="../tags/tag383.xml"/><Relationship Id="rId39" Type="http://schemas.openxmlformats.org/officeDocument/2006/relationships/image" Target="../media/image89.png"/><Relationship Id="rId21" Type="http://schemas.openxmlformats.org/officeDocument/2006/relationships/tags" Target="../tags/tag378.xml"/><Relationship Id="rId34" Type="http://schemas.openxmlformats.org/officeDocument/2006/relationships/image" Target="../media/image85.png"/><Relationship Id="rId42" Type="http://schemas.openxmlformats.org/officeDocument/2006/relationships/image" Target="../media/image92.png"/><Relationship Id="rId47" Type="http://schemas.openxmlformats.org/officeDocument/2006/relationships/image" Target="../media/image97.jpeg"/><Relationship Id="rId50" Type="http://schemas.openxmlformats.org/officeDocument/2006/relationships/image" Target="../media/image100.jpeg"/><Relationship Id="rId55" Type="http://schemas.openxmlformats.org/officeDocument/2006/relationships/image" Target="../media/image105.png"/><Relationship Id="rId7" Type="http://schemas.openxmlformats.org/officeDocument/2006/relationships/tags" Target="../tags/tag364.xml"/><Relationship Id="rId2" Type="http://schemas.openxmlformats.org/officeDocument/2006/relationships/tags" Target="../tags/tag359.xml"/><Relationship Id="rId16" Type="http://schemas.openxmlformats.org/officeDocument/2006/relationships/tags" Target="../tags/tag373.xml"/><Relationship Id="rId29" Type="http://schemas.openxmlformats.org/officeDocument/2006/relationships/oleObject" Target="../embeddings/oleObject42.bin"/><Relationship Id="rId11" Type="http://schemas.openxmlformats.org/officeDocument/2006/relationships/tags" Target="../tags/tag368.xml"/><Relationship Id="rId24" Type="http://schemas.openxmlformats.org/officeDocument/2006/relationships/tags" Target="../tags/tag381.xml"/><Relationship Id="rId32" Type="http://schemas.openxmlformats.org/officeDocument/2006/relationships/image" Target="../media/image83.svg"/><Relationship Id="rId37" Type="http://schemas.openxmlformats.org/officeDocument/2006/relationships/image" Target="../media/image64.png"/><Relationship Id="rId40" Type="http://schemas.openxmlformats.org/officeDocument/2006/relationships/image" Target="../media/image90.png"/><Relationship Id="rId45" Type="http://schemas.openxmlformats.org/officeDocument/2006/relationships/image" Target="../media/image95.jpeg"/><Relationship Id="rId53" Type="http://schemas.openxmlformats.org/officeDocument/2006/relationships/image" Target="../media/image103.png"/><Relationship Id="rId5" Type="http://schemas.openxmlformats.org/officeDocument/2006/relationships/tags" Target="../tags/tag362.xml"/><Relationship Id="rId19" Type="http://schemas.openxmlformats.org/officeDocument/2006/relationships/tags" Target="../tags/tag376.xml"/><Relationship Id="rId4" Type="http://schemas.openxmlformats.org/officeDocument/2006/relationships/tags" Target="../tags/tag361.xml"/><Relationship Id="rId9" Type="http://schemas.openxmlformats.org/officeDocument/2006/relationships/tags" Target="../tags/tag366.xml"/><Relationship Id="rId14" Type="http://schemas.openxmlformats.org/officeDocument/2006/relationships/tags" Target="../tags/tag371.xml"/><Relationship Id="rId22" Type="http://schemas.openxmlformats.org/officeDocument/2006/relationships/tags" Target="../tags/tag379.xml"/><Relationship Id="rId27" Type="http://schemas.openxmlformats.org/officeDocument/2006/relationships/slideLayout" Target="../slideLayouts/slideLayout17.xml"/><Relationship Id="rId30" Type="http://schemas.openxmlformats.org/officeDocument/2006/relationships/image" Target="../media/image10.emf"/><Relationship Id="rId35" Type="http://schemas.openxmlformats.org/officeDocument/2006/relationships/image" Target="../media/image86.png"/><Relationship Id="rId43" Type="http://schemas.openxmlformats.org/officeDocument/2006/relationships/image" Target="../media/image93.png"/><Relationship Id="rId48" Type="http://schemas.openxmlformats.org/officeDocument/2006/relationships/image" Target="../media/image98.jpeg"/><Relationship Id="rId56" Type="http://schemas.openxmlformats.org/officeDocument/2006/relationships/image" Target="../media/image66.png"/><Relationship Id="rId8" Type="http://schemas.openxmlformats.org/officeDocument/2006/relationships/tags" Target="../tags/tag365.xml"/><Relationship Id="rId51" Type="http://schemas.openxmlformats.org/officeDocument/2006/relationships/image" Target="../media/image101.png"/><Relationship Id="rId3" Type="http://schemas.openxmlformats.org/officeDocument/2006/relationships/tags" Target="../tags/tag360.xml"/><Relationship Id="rId12" Type="http://schemas.openxmlformats.org/officeDocument/2006/relationships/tags" Target="../tags/tag369.xml"/><Relationship Id="rId17" Type="http://schemas.openxmlformats.org/officeDocument/2006/relationships/tags" Target="../tags/tag374.xml"/><Relationship Id="rId25" Type="http://schemas.openxmlformats.org/officeDocument/2006/relationships/tags" Target="../tags/tag382.xml"/><Relationship Id="rId33" Type="http://schemas.openxmlformats.org/officeDocument/2006/relationships/image" Target="../media/image84.png"/><Relationship Id="rId38" Type="http://schemas.openxmlformats.org/officeDocument/2006/relationships/image" Target="../media/image88.svg"/><Relationship Id="rId46" Type="http://schemas.openxmlformats.org/officeDocument/2006/relationships/image" Target="../media/image96.png"/><Relationship Id="rId20" Type="http://schemas.openxmlformats.org/officeDocument/2006/relationships/tags" Target="../tags/tag377.xml"/><Relationship Id="rId41" Type="http://schemas.openxmlformats.org/officeDocument/2006/relationships/image" Target="../media/image91.png"/><Relationship Id="rId54" Type="http://schemas.openxmlformats.org/officeDocument/2006/relationships/image" Target="../media/image104.png"/><Relationship Id="rId1" Type="http://schemas.openxmlformats.org/officeDocument/2006/relationships/tags" Target="../tags/tag358.xml"/><Relationship Id="rId6" Type="http://schemas.openxmlformats.org/officeDocument/2006/relationships/tags" Target="../tags/tag363.xml"/><Relationship Id="rId15" Type="http://schemas.openxmlformats.org/officeDocument/2006/relationships/tags" Target="../tags/tag372.xml"/><Relationship Id="rId23" Type="http://schemas.openxmlformats.org/officeDocument/2006/relationships/tags" Target="../tags/tag380.xml"/><Relationship Id="rId28" Type="http://schemas.openxmlformats.org/officeDocument/2006/relationships/notesSlide" Target="../notesSlides/notesSlide6.xml"/><Relationship Id="rId36" Type="http://schemas.openxmlformats.org/officeDocument/2006/relationships/image" Target="../media/image87.svg"/><Relationship Id="rId49" Type="http://schemas.openxmlformats.org/officeDocument/2006/relationships/image" Target="../media/image99.png"/><Relationship Id="rId57" Type="http://schemas.openxmlformats.org/officeDocument/2006/relationships/image" Target="../media/image106.png"/><Relationship Id="rId10" Type="http://schemas.openxmlformats.org/officeDocument/2006/relationships/tags" Target="../tags/tag367.xml"/><Relationship Id="rId31" Type="http://schemas.openxmlformats.org/officeDocument/2006/relationships/image" Target="../media/image82.png"/><Relationship Id="rId44" Type="http://schemas.openxmlformats.org/officeDocument/2006/relationships/image" Target="../media/image94.png"/><Relationship Id="rId52" Type="http://schemas.openxmlformats.org/officeDocument/2006/relationships/image" Target="../media/image102.png"/></Relationships>
</file>

<file path=ppt/slides/_rels/slide8.xml.rels><?xml version="1.0" encoding="UTF-8" standalone="yes"?>
<Relationships xmlns="http://schemas.openxmlformats.org/package/2006/relationships"><Relationship Id="rId13" Type="http://schemas.openxmlformats.org/officeDocument/2006/relationships/tags" Target="../tags/tag396.xml"/><Relationship Id="rId18" Type="http://schemas.openxmlformats.org/officeDocument/2006/relationships/tags" Target="../tags/tag401.xml"/><Relationship Id="rId26" Type="http://schemas.openxmlformats.org/officeDocument/2006/relationships/image" Target="../media/image107.svg"/><Relationship Id="rId39" Type="http://schemas.openxmlformats.org/officeDocument/2006/relationships/image" Target="../media/image113.jpeg"/><Relationship Id="rId21" Type="http://schemas.openxmlformats.org/officeDocument/2006/relationships/slideLayout" Target="../slideLayouts/slideLayout17.xml"/><Relationship Id="rId34" Type="http://schemas.openxmlformats.org/officeDocument/2006/relationships/image" Target="../media/image96.png"/><Relationship Id="rId42" Type="http://schemas.openxmlformats.org/officeDocument/2006/relationships/image" Target="../media/image116.png"/><Relationship Id="rId7" Type="http://schemas.openxmlformats.org/officeDocument/2006/relationships/tags" Target="../tags/tag390.xml"/><Relationship Id="rId2" Type="http://schemas.openxmlformats.org/officeDocument/2006/relationships/tags" Target="../tags/tag385.xml"/><Relationship Id="rId16" Type="http://schemas.openxmlformats.org/officeDocument/2006/relationships/tags" Target="../tags/tag399.xml"/><Relationship Id="rId20" Type="http://schemas.openxmlformats.org/officeDocument/2006/relationships/tags" Target="../tags/tag403.xml"/><Relationship Id="rId29" Type="http://schemas.openxmlformats.org/officeDocument/2006/relationships/image" Target="../media/image64.png"/><Relationship Id="rId41" Type="http://schemas.openxmlformats.org/officeDocument/2006/relationships/image" Target="../media/image115.png"/><Relationship Id="rId1" Type="http://schemas.openxmlformats.org/officeDocument/2006/relationships/tags" Target="../tags/tag384.xml"/><Relationship Id="rId6" Type="http://schemas.openxmlformats.org/officeDocument/2006/relationships/tags" Target="../tags/tag389.xml"/><Relationship Id="rId11" Type="http://schemas.openxmlformats.org/officeDocument/2006/relationships/tags" Target="../tags/tag394.xml"/><Relationship Id="rId24" Type="http://schemas.openxmlformats.org/officeDocument/2006/relationships/image" Target="../media/image10.emf"/><Relationship Id="rId32" Type="http://schemas.openxmlformats.org/officeDocument/2006/relationships/image" Target="../media/image66.png"/><Relationship Id="rId37" Type="http://schemas.openxmlformats.org/officeDocument/2006/relationships/image" Target="../media/image111.png"/><Relationship Id="rId40" Type="http://schemas.openxmlformats.org/officeDocument/2006/relationships/image" Target="../media/image114.png"/><Relationship Id="rId5" Type="http://schemas.openxmlformats.org/officeDocument/2006/relationships/tags" Target="../tags/tag388.xml"/><Relationship Id="rId15" Type="http://schemas.openxmlformats.org/officeDocument/2006/relationships/tags" Target="../tags/tag398.xml"/><Relationship Id="rId23" Type="http://schemas.openxmlformats.org/officeDocument/2006/relationships/oleObject" Target="../embeddings/oleObject43.bin"/><Relationship Id="rId28" Type="http://schemas.openxmlformats.org/officeDocument/2006/relationships/image" Target="../media/image83.svg"/><Relationship Id="rId36" Type="http://schemas.openxmlformats.org/officeDocument/2006/relationships/image" Target="../media/image110.jpeg"/><Relationship Id="rId10" Type="http://schemas.openxmlformats.org/officeDocument/2006/relationships/tags" Target="../tags/tag393.xml"/><Relationship Id="rId19" Type="http://schemas.openxmlformats.org/officeDocument/2006/relationships/tags" Target="../tags/tag402.xml"/><Relationship Id="rId31" Type="http://schemas.openxmlformats.org/officeDocument/2006/relationships/image" Target="../media/image84.png"/><Relationship Id="rId4" Type="http://schemas.openxmlformats.org/officeDocument/2006/relationships/tags" Target="../tags/tag387.xml"/><Relationship Id="rId9" Type="http://schemas.openxmlformats.org/officeDocument/2006/relationships/tags" Target="../tags/tag392.xml"/><Relationship Id="rId14" Type="http://schemas.openxmlformats.org/officeDocument/2006/relationships/tags" Target="../tags/tag397.xml"/><Relationship Id="rId22" Type="http://schemas.openxmlformats.org/officeDocument/2006/relationships/notesSlide" Target="../notesSlides/notesSlide7.xml"/><Relationship Id="rId27" Type="http://schemas.openxmlformats.org/officeDocument/2006/relationships/image" Target="../media/image82.png"/><Relationship Id="rId30" Type="http://schemas.openxmlformats.org/officeDocument/2006/relationships/image" Target="../media/image108.svg"/><Relationship Id="rId35" Type="http://schemas.openxmlformats.org/officeDocument/2006/relationships/image" Target="../media/image101.png"/><Relationship Id="rId8" Type="http://schemas.openxmlformats.org/officeDocument/2006/relationships/tags" Target="../tags/tag391.xml"/><Relationship Id="rId3" Type="http://schemas.openxmlformats.org/officeDocument/2006/relationships/tags" Target="../tags/tag386.xml"/><Relationship Id="rId12" Type="http://schemas.openxmlformats.org/officeDocument/2006/relationships/tags" Target="../tags/tag395.xml"/><Relationship Id="rId17" Type="http://schemas.openxmlformats.org/officeDocument/2006/relationships/tags" Target="../tags/tag400.xml"/><Relationship Id="rId25" Type="http://schemas.openxmlformats.org/officeDocument/2006/relationships/image" Target="../media/image86.png"/><Relationship Id="rId33" Type="http://schemas.openxmlformats.org/officeDocument/2006/relationships/image" Target="../media/image109.png"/><Relationship Id="rId38" Type="http://schemas.openxmlformats.org/officeDocument/2006/relationships/image" Target="../media/image112.png"/></Relationships>
</file>

<file path=ppt/slides/_rels/slide9.xml.rels><?xml version="1.0" encoding="UTF-8" standalone="yes"?>
<Relationships xmlns="http://schemas.openxmlformats.org/package/2006/relationships"><Relationship Id="rId13" Type="http://schemas.openxmlformats.org/officeDocument/2006/relationships/tags" Target="../tags/tag416.xml"/><Relationship Id="rId18" Type="http://schemas.openxmlformats.org/officeDocument/2006/relationships/tags" Target="../tags/tag421.xml"/><Relationship Id="rId26" Type="http://schemas.openxmlformats.org/officeDocument/2006/relationships/notesSlide" Target="../notesSlides/notesSlide8.xml"/><Relationship Id="rId39" Type="http://schemas.openxmlformats.org/officeDocument/2006/relationships/image" Target="../media/image119.png"/><Relationship Id="rId21" Type="http://schemas.openxmlformats.org/officeDocument/2006/relationships/tags" Target="../tags/tag424.xml"/><Relationship Id="rId34" Type="http://schemas.openxmlformats.org/officeDocument/2006/relationships/image" Target="../media/image108.svg"/><Relationship Id="rId42" Type="http://schemas.openxmlformats.org/officeDocument/2006/relationships/image" Target="../media/image96.png"/><Relationship Id="rId47" Type="http://schemas.openxmlformats.org/officeDocument/2006/relationships/image" Target="../media/image125.png"/><Relationship Id="rId7" Type="http://schemas.openxmlformats.org/officeDocument/2006/relationships/tags" Target="../tags/tag410.xml"/><Relationship Id="rId2" Type="http://schemas.openxmlformats.org/officeDocument/2006/relationships/tags" Target="../tags/tag405.xml"/><Relationship Id="rId16" Type="http://schemas.openxmlformats.org/officeDocument/2006/relationships/tags" Target="../tags/tag419.xml"/><Relationship Id="rId29" Type="http://schemas.openxmlformats.org/officeDocument/2006/relationships/image" Target="../media/image86.png"/><Relationship Id="rId11" Type="http://schemas.openxmlformats.org/officeDocument/2006/relationships/tags" Target="../tags/tag414.xml"/><Relationship Id="rId24" Type="http://schemas.openxmlformats.org/officeDocument/2006/relationships/tags" Target="../tags/tag427.xml"/><Relationship Id="rId32" Type="http://schemas.openxmlformats.org/officeDocument/2006/relationships/image" Target="../media/image83.svg"/><Relationship Id="rId37" Type="http://schemas.openxmlformats.org/officeDocument/2006/relationships/image" Target="../media/image118.png"/><Relationship Id="rId40" Type="http://schemas.openxmlformats.org/officeDocument/2006/relationships/image" Target="../media/image120.png"/><Relationship Id="rId45" Type="http://schemas.openxmlformats.org/officeDocument/2006/relationships/image" Target="../media/image123.png"/><Relationship Id="rId5" Type="http://schemas.openxmlformats.org/officeDocument/2006/relationships/tags" Target="../tags/tag408.xml"/><Relationship Id="rId15" Type="http://schemas.openxmlformats.org/officeDocument/2006/relationships/tags" Target="../tags/tag418.xml"/><Relationship Id="rId23" Type="http://schemas.openxmlformats.org/officeDocument/2006/relationships/tags" Target="../tags/tag426.xml"/><Relationship Id="rId28" Type="http://schemas.openxmlformats.org/officeDocument/2006/relationships/image" Target="../media/image10.emf"/><Relationship Id="rId36" Type="http://schemas.openxmlformats.org/officeDocument/2006/relationships/image" Target="../media/image117.png"/><Relationship Id="rId49" Type="http://schemas.openxmlformats.org/officeDocument/2006/relationships/image" Target="../media/image127.png"/><Relationship Id="rId10" Type="http://schemas.openxmlformats.org/officeDocument/2006/relationships/tags" Target="../tags/tag413.xml"/><Relationship Id="rId19" Type="http://schemas.openxmlformats.org/officeDocument/2006/relationships/tags" Target="../tags/tag422.xml"/><Relationship Id="rId31" Type="http://schemas.openxmlformats.org/officeDocument/2006/relationships/image" Target="../media/image82.png"/><Relationship Id="rId44" Type="http://schemas.openxmlformats.org/officeDocument/2006/relationships/image" Target="../media/image122.png"/><Relationship Id="rId4" Type="http://schemas.openxmlformats.org/officeDocument/2006/relationships/tags" Target="../tags/tag407.xml"/><Relationship Id="rId9" Type="http://schemas.openxmlformats.org/officeDocument/2006/relationships/tags" Target="../tags/tag412.xml"/><Relationship Id="rId14" Type="http://schemas.openxmlformats.org/officeDocument/2006/relationships/tags" Target="../tags/tag417.xml"/><Relationship Id="rId22" Type="http://schemas.openxmlformats.org/officeDocument/2006/relationships/tags" Target="../tags/tag425.xml"/><Relationship Id="rId27" Type="http://schemas.openxmlformats.org/officeDocument/2006/relationships/oleObject" Target="../embeddings/oleObject44.bin"/><Relationship Id="rId30" Type="http://schemas.openxmlformats.org/officeDocument/2006/relationships/image" Target="../media/image107.svg"/><Relationship Id="rId35" Type="http://schemas.openxmlformats.org/officeDocument/2006/relationships/image" Target="../media/image84.png"/><Relationship Id="rId43" Type="http://schemas.openxmlformats.org/officeDocument/2006/relationships/image" Target="../media/image121.jpeg"/><Relationship Id="rId48" Type="http://schemas.openxmlformats.org/officeDocument/2006/relationships/image" Target="../media/image126.png"/><Relationship Id="rId8" Type="http://schemas.openxmlformats.org/officeDocument/2006/relationships/tags" Target="../tags/tag411.xml"/><Relationship Id="rId3" Type="http://schemas.openxmlformats.org/officeDocument/2006/relationships/tags" Target="../tags/tag406.xml"/><Relationship Id="rId12" Type="http://schemas.openxmlformats.org/officeDocument/2006/relationships/tags" Target="../tags/tag415.xml"/><Relationship Id="rId17" Type="http://schemas.openxmlformats.org/officeDocument/2006/relationships/tags" Target="../tags/tag420.xml"/><Relationship Id="rId25" Type="http://schemas.openxmlformats.org/officeDocument/2006/relationships/slideLayout" Target="../slideLayouts/slideLayout17.xml"/><Relationship Id="rId33" Type="http://schemas.openxmlformats.org/officeDocument/2006/relationships/image" Target="../media/image64.png"/><Relationship Id="rId38" Type="http://schemas.openxmlformats.org/officeDocument/2006/relationships/image" Target="../media/image66.png"/><Relationship Id="rId46" Type="http://schemas.openxmlformats.org/officeDocument/2006/relationships/image" Target="../media/image124.jpeg"/><Relationship Id="rId20" Type="http://schemas.openxmlformats.org/officeDocument/2006/relationships/tags" Target="../tags/tag423.xml"/><Relationship Id="rId41" Type="http://schemas.openxmlformats.org/officeDocument/2006/relationships/image" Target="../media/image111.png"/><Relationship Id="rId1" Type="http://schemas.openxmlformats.org/officeDocument/2006/relationships/tags" Target="../tags/tag404.xml"/><Relationship Id="rId6" Type="http://schemas.openxmlformats.org/officeDocument/2006/relationships/tags" Target="../tags/tag40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B0E17E90-3C4E-4F37-9FA4-FC779C250872}"/>
              </a:ext>
            </a:extLst>
          </p:cNvPr>
          <p:cNvGraphicFramePr>
            <a:graphicFrameLocks noChangeAspect="1"/>
          </p:cNvGraphicFramePr>
          <p:nvPr>
            <p:custDataLst>
              <p:tags r:id="rId2"/>
            </p:custDataLst>
            <p:extLst>
              <p:ext uri="{D42A27DB-BD31-4B8C-83A1-F6EECF244321}">
                <p14:modId xmlns:p14="http://schemas.microsoft.com/office/powerpoint/2010/main" val="3019977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6" name="Object 6" hidden="1">
                        <a:extLst>
                          <a:ext uri="{FF2B5EF4-FFF2-40B4-BE49-F238E27FC236}">
                            <a16:creationId xmlns:a16="http://schemas.microsoft.com/office/drawing/2014/main" id="{B0E17E90-3C4E-4F37-9FA4-FC779C250872}"/>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EB9340E2-D95A-4545-81E1-3AD07AB3A01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4400" b="1" dirty="0">
              <a:solidFill>
                <a:schemeClr val="bg1"/>
              </a:solidFill>
              <a:latin typeface="Arial" panose="020B0604020202020204" pitchFamily="34" charset="0"/>
              <a:ea typeface="+mj-ea"/>
              <a:cs typeface="+mj-cs"/>
              <a:sym typeface="Arial" panose="020B0604020202020204" pitchFamily="34" charset="0"/>
            </a:endParaRPr>
          </a:p>
        </p:txBody>
      </p:sp>
      <p:sp>
        <p:nvSpPr>
          <p:cNvPr id="2" name="Documenttype">
            <a:extLst>
              <a:ext uri="{FF2B5EF4-FFF2-40B4-BE49-F238E27FC236}">
                <a16:creationId xmlns:a16="http://schemas.microsoft.com/office/drawing/2014/main" id="{11D06D31-577C-468F-A315-4B1A48E07A2C}"/>
              </a:ext>
            </a:extLst>
          </p:cNvPr>
          <p:cNvSpPr>
            <a:spLocks noGrp="1"/>
          </p:cNvSpPr>
          <p:nvPr>
            <p:ph type="body" sz="quarter" idx="13"/>
            <p:custDataLst>
              <p:tags r:id="rId4"/>
            </p:custDataLst>
          </p:nvPr>
        </p:nvSpPr>
        <p:spPr>
          <a:xfrm>
            <a:off x="9236145" y="5918580"/>
            <a:ext cx="2214588" cy="221599"/>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s-ES" sz="1600" b="0" i="1"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April 2024</a:t>
            </a:r>
          </a:p>
        </p:txBody>
      </p:sp>
      <p:sp>
        <p:nvSpPr>
          <p:cNvPr id="4" name="Title">
            <a:extLst>
              <a:ext uri="{FF2B5EF4-FFF2-40B4-BE49-F238E27FC236}">
                <a16:creationId xmlns:a16="http://schemas.microsoft.com/office/drawing/2014/main" id="{806FD97B-691F-4513-92F7-37A1FAC29B8E}"/>
              </a:ext>
            </a:extLst>
          </p:cNvPr>
          <p:cNvSpPr>
            <a:spLocks noGrp="1"/>
          </p:cNvSpPr>
          <p:nvPr>
            <p:ph type="title"/>
            <p:custDataLst>
              <p:tags r:id="rId5"/>
            </p:custDataLst>
          </p:nvPr>
        </p:nvSpPr>
        <p:spPr>
          <a:xfrm>
            <a:off x="727568" y="5159764"/>
            <a:ext cx="10426301" cy="590931"/>
          </a:xfrm>
          <a:noFill/>
          <a:ln/>
          <a:extLst>
            <a:ext uri="{909E8E84-426E-40DD-AFC4-6F175D3DCCD1}">
              <a14:hiddenFill xmlns:a14="http://schemas.microsoft.com/office/drawing/2010/main">
                <a:solidFill>
                  <a:srgbClr val="FFFFFF"/>
                </a:solidFill>
              </a14:hiddenFill>
            </a:ext>
          </a:extLst>
        </p:spPr>
        <p:txBody>
          <a:bodyPr vert="horz" wrap="square" anchor="ctr" anchorCtr="0">
            <a:spAutoFit/>
          </a:bodyPr>
          <a:lstStyle/>
          <a:p>
            <a:pPr marL="0" indent="0">
              <a:buNone/>
            </a:pPr>
            <a:r>
              <a:rPr lang="en-CA" sz="3600" b="1" dirty="0">
                <a:solidFill>
                  <a:srgbClr val="002060"/>
                </a:solidFill>
                <a:latin typeface="Calibri" panose="020F0502020204030204" pitchFamily="34" charset="0"/>
                <a:ea typeface="+mj-ea"/>
                <a:cs typeface="Calibri" panose="020F0502020204030204" pitchFamily="34" charset="0"/>
              </a:rPr>
              <a:t>Detailing a growth strategy for Latin America</a:t>
            </a:r>
            <a:endParaRPr lang="en-US" sz="3600" b="1" dirty="0">
              <a:solidFill>
                <a:srgbClr val="002060"/>
              </a:solidFill>
              <a:latin typeface="Calibri" panose="020F0502020204030204" pitchFamily="34" charset="0"/>
              <a:ea typeface="+mj-ea"/>
              <a:cs typeface="Calibri" panose="020F0502020204030204" pitchFamily="34" charset="0"/>
            </a:endParaRPr>
          </a:p>
        </p:txBody>
      </p:sp>
    </p:spTree>
    <p:custDataLst>
      <p:tags r:id="rId1"/>
    </p:custDataLst>
    <p:extLst>
      <p:ext uri="{BB962C8B-B14F-4D97-AF65-F5344CB8AC3E}">
        <p14:creationId xmlns:p14="http://schemas.microsoft.com/office/powerpoint/2010/main" val="619217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8092391-F817-4825-975B-A7CE230F0506}"/>
              </a:ext>
            </a:extLst>
          </p:cNvPr>
          <p:cNvGraphicFramePr>
            <a:graphicFrameLocks noChangeAspect="1"/>
          </p:cNvGraphicFramePr>
          <p:nvPr>
            <p:custDataLst>
              <p:tags r:id="rId1"/>
            </p:custDataLst>
            <p:extLst>
              <p:ext uri="{D42A27DB-BD31-4B8C-83A1-F6EECF244321}">
                <p14:modId xmlns:p14="http://schemas.microsoft.com/office/powerpoint/2010/main" val="100388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95" imgH="396" progId="TCLayout.ActiveDocument.1">
                  <p:embed/>
                </p:oleObj>
              </mc:Choice>
              <mc:Fallback>
                <p:oleObj name="think-cell Slide" r:id="rId20" imgW="395" imgH="396" progId="TCLayout.ActiveDocument.1">
                  <p:embed/>
                  <p:pic>
                    <p:nvPicPr>
                      <p:cNvPr id="5" name="Object 4" hidden="1">
                        <a:extLst>
                          <a:ext uri="{FF2B5EF4-FFF2-40B4-BE49-F238E27FC236}">
                            <a16:creationId xmlns:a16="http://schemas.microsoft.com/office/drawing/2014/main" id="{78092391-F817-4825-975B-A7CE230F0506}"/>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Slide Number Placeholder 5">
            <a:extLst>
              <a:ext uri="{FF2B5EF4-FFF2-40B4-BE49-F238E27FC236}">
                <a16:creationId xmlns:a16="http://schemas.microsoft.com/office/drawing/2014/main" id="{167D3468-42B9-45FA-938B-2DE60CA6C7E7}"/>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DB285B-DFCF-F045-9459-27C683DF8B15}" type="slidenum">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7" name="Rectangle: Diagonal Corners Rounded 6">
            <a:extLst>
              <a:ext uri="{FF2B5EF4-FFF2-40B4-BE49-F238E27FC236}">
                <a16:creationId xmlns:a16="http://schemas.microsoft.com/office/drawing/2014/main" id="{D1A5CE68-3036-40BF-A35A-C0C1A8D70A20}"/>
              </a:ext>
            </a:extLst>
          </p:cNvPr>
          <p:cNvSpPr/>
          <p:nvPr/>
        </p:nvSpPr>
        <p:spPr>
          <a:xfrm flipV="1">
            <a:off x="0" y="1094638"/>
            <a:ext cx="3000375" cy="5763362"/>
          </a:xfrm>
          <a:prstGeom prst="round2DiagRect">
            <a:avLst>
              <a:gd name="adj1" fmla="val 5095"/>
              <a:gd name="adj2"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DC1EC433-3EF1-48B7-99B5-529DCED7A6A3}"/>
              </a:ext>
            </a:extLst>
          </p:cNvPr>
          <p:cNvSpPr txBox="1">
            <a:spLocks/>
          </p:cNvSpPr>
          <p:nvPr/>
        </p:nvSpPr>
        <p:spPr>
          <a:xfrm>
            <a:off x="262527" y="1231901"/>
            <a:ext cx="2394947" cy="341313"/>
          </a:xfrm>
          <a:prstGeom prst="rect">
            <a:avLst/>
          </a:prstGeom>
        </p:spPr>
        <p:txBody>
          <a:bodyPr vert="horz" wrap="square" lIns="91440" tIns="45720" rIns="91440" bIns="45720" rtlCol="0">
            <a:no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rPr>
              <a:t>Overview</a:t>
            </a:r>
          </a:p>
        </p:txBody>
      </p:sp>
      <p:sp>
        <p:nvSpPr>
          <p:cNvPr id="8" name="TextBox 7">
            <a:extLst>
              <a:ext uri="{FF2B5EF4-FFF2-40B4-BE49-F238E27FC236}">
                <a16:creationId xmlns:a16="http://schemas.microsoft.com/office/drawing/2014/main" id="{1B2AC41C-9751-4BD4-8334-13028029FFBB}"/>
              </a:ext>
            </a:extLst>
          </p:cNvPr>
          <p:cNvSpPr txBox="1"/>
          <p:nvPr/>
        </p:nvSpPr>
        <p:spPr>
          <a:xfrm>
            <a:off x="3238501" y="1231901"/>
            <a:ext cx="4523785" cy="341313"/>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Mining outlook</a:t>
            </a:r>
          </a:p>
        </p:txBody>
      </p:sp>
      <p:sp>
        <p:nvSpPr>
          <p:cNvPr id="10" name="TextBox 9">
            <a:extLst>
              <a:ext uri="{FF2B5EF4-FFF2-40B4-BE49-F238E27FC236}">
                <a16:creationId xmlns:a16="http://schemas.microsoft.com/office/drawing/2014/main" id="{72A71319-D7DF-494C-A3A2-AACCB837E44E}"/>
              </a:ext>
            </a:extLst>
          </p:cNvPr>
          <p:cNvSpPr txBox="1">
            <a:spLocks/>
          </p:cNvSpPr>
          <p:nvPr/>
        </p:nvSpPr>
        <p:spPr>
          <a:xfrm>
            <a:off x="8953499" y="1231901"/>
            <a:ext cx="2870021" cy="341313"/>
          </a:xfrm>
          <a:prstGeom prst="rect">
            <a:avLst/>
          </a:prstGeom>
        </p:spPr>
        <p:txBody>
          <a:bodyPr vert="horz" wrap="square" lIns="91440" tIns="45720" rIns="91440" bIns="45720" rtlCol="0">
            <a:no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Main risks</a:t>
            </a:r>
          </a:p>
        </p:txBody>
      </p:sp>
      <p:sp>
        <p:nvSpPr>
          <p:cNvPr id="11" name="TextBox 10">
            <a:extLst>
              <a:ext uri="{FF2B5EF4-FFF2-40B4-BE49-F238E27FC236}">
                <a16:creationId xmlns:a16="http://schemas.microsoft.com/office/drawing/2014/main" id="{BD857A46-F9EA-4680-A8D4-A1C2E89C4EC3}"/>
              </a:ext>
            </a:extLst>
          </p:cNvPr>
          <p:cNvSpPr txBox="1"/>
          <p:nvPr/>
        </p:nvSpPr>
        <p:spPr>
          <a:xfrm>
            <a:off x="3238501" y="1633538"/>
            <a:ext cx="2737848" cy="314325"/>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Importance for the country</a:t>
            </a:r>
          </a:p>
        </p:txBody>
      </p:sp>
      <p:sp>
        <p:nvSpPr>
          <p:cNvPr id="12" name="TextBox 11">
            <a:extLst>
              <a:ext uri="{FF2B5EF4-FFF2-40B4-BE49-F238E27FC236}">
                <a16:creationId xmlns:a16="http://schemas.microsoft.com/office/drawing/2014/main" id="{26552266-20AA-42F4-9FEB-E5C1FA3551B9}"/>
              </a:ext>
            </a:extLst>
          </p:cNvPr>
          <p:cNvSpPr txBox="1"/>
          <p:nvPr/>
        </p:nvSpPr>
        <p:spPr>
          <a:xfrm>
            <a:off x="6214475" y="1633538"/>
            <a:ext cx="2394947" cy="314325"/>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Gold mining in numbers</a:t>
            </a:r>
          </a:p>
        </p:txBody>
      </p:sp>
      <p:sp>
        <p:nvSpPr>
          <p:cNvPr id="100" name="BigStat 100">
            <a:extLst>
              <a:ext uri="{FF2B5EF4-FFF2-40B4-BE49-F238E27FC236}">
                <a16:creationId xmlns:a16="http://schemas.microsoft.com/office/drawing/2014/main" id="{CD719AC9-6C18-4195-B152-24B07B6A6612}"/>
              </a:ext>
            </a:extLst>
          </p:cNvPr>
          <p:cNvSpPr txBox="1"/>
          <p:nvPr>
            <p:custDataLst>
              <p:tags r:id="rId2"/>
            </p:custDataLst>
          </p:nvPr>
        </p:nvSpPr>
        <p:spPr>
          <a:xfrm>
            <a:off x="3238500" y="1965325"/>
            <a:ext cx="2857499" cy="923330"/>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2.2 </a:t>
            </a:r>
            <a:r>
              <a:rPr kumimoji="0" lang="en-US" sz="16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MUSD</a:t>
            </a: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 (2.5%)</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GDP from Mining activities (% of the country’s total GDP)</a:t>
            </a:r>
          </a:p>
        </p:txBody>
      </p:sp>
      <p:grpSp>
        <p:nvGrpSpPr>
          <p:cNvPr id="121" name="Group 120">
            <a:extLst>
              <a:ext uri="{FF2B5EF4-FFF2-40B4-BE49-F238E27FC236}">
                <a16:creationId xmlns:a16="http://schemas.microsoft.com/office/drawing/2014/main" id="{DDE23F5E-33B3-41E0-96BD-B12A9EBD2276}"/>
              </a:ext>
            </a:extLst>
          </p:cNvPr>
          <p:cNvGrpSpPr/>
          <p:nvPr/>
        </p:nvGrpSpPr>
        <p:grpSpPr>
          <a:xfrm>
            <a:off x="3238501" y="3809812"/>
            <a:ext cx="2611609" cy="291655"/>
            <a:chOff x="3238501" y="4749814"/>
            <a:chExt cx="2611609" cy="291290"/>
          </a:xfrm>
        </p:grpSpPr>
        <p:grpSp>
          <p:nvGrpSpPr>
            <p:cNvPr id="106" name="CheckmarkBlue 106">
              <a:extLst>
                <a:ext uri="{FF2B5EF4-FFF2-40B4-BE49-F238E27FC236}">
                  <a16:creationId xmlns:a16="http://schemas.microsoft.com/office/drawing/2014/main" id="{9896BB38-D997-4948-8179-E60E9FA09410}"/>
                </a:ext>
              </a:extLst>
            </p:cNvPr>
            <p:cNvGrpSpPr>
              <a:grpSpLocks noChangeAspect="1"/>
            </p:cNvGrpSpPr>
            <p:nvPr>
              <p:custDataLst>
                <p:tags r:id="rId17"/>
              </p:custDataLst>
            </p:nvPr>
          </p:nvGrpSpPr>
          <p:grpSpPr>
            <a:xfrm>
              <a:off x="3238501" y="4772456"/>
              <a:ext cx="268648" cy="268648"/>
              <a:chOff x="1016000" y="1016000"/>
              <a:chExt cx="396228" cy="396228"/>
            </a:xfrm>
          </p:grpSpPr>
          <p:sp>
            <p:nvSpPr>
              <p:cNvPr id="103" name="Oval 102">
                <a:extLst>
                  <a:ext uri="{FF2B5EF4-FFF2-40B4-BE49-F238E27FC236}">
                    <a16:creationId xmlns:a16="http://schemas.microsoft.com/office/drawing/2014/main" id="{4B9934FC-AE8E-4AA8-BAF0-9476EB4E90BC}"/>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05" name="Graphic 104">
                <a:extLst>
                  <a:ext uri="{FF2B5EF4-FFF2-40B4-BE49-F238E27FC236}">
                    <a16:creationId xmlns:a16="http://schemas.microsoft.com/office/drawing/2014/main" id="{FFD06596-95A3-40AD-B50C-9BDFC8F1DF1C}"/>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023614" y="1023614"/>
                <a:ext cx="381000" cy="381000"/>
              </a:xfrm>
              <a:prstGeom prst="rect">
                <a:avLst/>
              </a:prstGeom>
            </p:spPr>
          </p:pic>
        </p:grpSp>
        <p:sp>
          <p:nvSpPr>
            <p:cNvPr id="108" name="TextBox 107">
              <a:extLst>
                <a:ext uri="{FF2B5EF4-FFF2-40B4-BE49-F238E27FC236}">
                  <a16:creationId xmlns:a16="http://schemas.microsoft.com/office/drawing/2014/main" id="{31962308-D58A-46E0-8CC9-9B2CCF076613}"/>
                </a:ext>
              </a:extLst>
            </p:cNvPr>
            <p:cNvSpPr txBox="1"/>
            <p:nvPr/>
          </p:nvSpPr>
          <p:spPr>
            <a:xfrm>
              <a:off x="3512311" y="4749814"/>
              <a:ext cx="2337799" cy="285874"/>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Emerging market</a:t>
              </a:r>
            </a:p>
          </p:txBody>
        </p:sp>
      </p:grpSp>
      <p:grpSp>
        <p:nvGrpSpPr>
          <p:cNvPr id="122" name="Group 121">
            <a:extLst>
              <a:ext uri="{FF2B5EF4-FFF2-40B4-BE49-F238E27FC236}">
                <a16:creationId xmlns:a16="http://schemas.microsoft.com/office/drawing/2014/main" id="{A7CCE14C-E775-478A-9111-39D92FBBC064}"/>
              </a:ext>
            </a:extLst>
          </p:cNvPr>
          <p:cNvGrpSpPr/>
          <p:nvPr/>
        </p:nvGrpSpPr>
        <p:grpSpPr>
          <a:xfrm>
            <a:off x="3238501" y="4226388"/>
            <a:ext cx="2611609" cy="480131"/>
            <a:chOff x="3238501" y="5199292"/>
            <a:chExt cx="2611609" cy="479530"/>
          </a:xfrm>
        </p:grpSpPr>
        <p:grpSp>
          <p:nvGrpSpPr>
            <p:cNvPr id="109" name="CheckmarkBlue 106">
              <a:extLst>
                <a:ext uri="{FF2B5EF4-FFF2-40B4-BE49-F238E27FC236}">
                  <a16:creationId xmlns:a16="http://schemas.microsoft.com/office/drawing/2014/main" id="{C8F22BB2-471A-4965-AFFF-6FDBF5695F90}"/>
                </a:ext>
              </a:extLst>
            </p:cNvPr>
            <p:cNvGrpSpPr>
              <a:grpSpLocks noChangeAspect="1"/>
            </p:cNvGrpSpPr>
            <p:nvPr>
              <p:custDataLst>
                <p:tags r:id="rId16"/>
              </p:custDataLst>
            </p:nvPr>
          </p:nvGrpSpPr>
          <p:grpSpPr>
            <a:xfrm>
              <a:off x="3238501" y="5221934"/>
              <a:ext cx="268648" cy="268648"/>
              <a:chOff x="1016000" y="1016000"/>
              <a:chExt cx="396228" cy="396228"/>
            </a:xfrm>
          </p:grpSpPr>
          <p:sp>
            <p:nvSpPr>
              <p:cNvPr id="110" name="Oval 109">
                <a:extLst>
                  <a:ext uri="{FF2B5EF4-FFF2-40B4-BE49-F238E27FC236}">
                    <a16:creationId xmlns:a16="http://schemas.microsoft.com/office/drawing/2014/main" id="{97B13D1E-9109-40C7-8602-79671060235E}"/>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11" name="Graphic 110">
                <a:extLst>
                  <a:ext uri="{FF2B5EF4-FFF2-40B4-BE49-F238E27FC236}">
                    <a16:creationId xmlns:a16="http://schemas.microsoft.com/office/drawing/2014/main" id="{9713C298-EC59-4122-A98B-6E84FF62918C}"/>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023614" y="1023614"/>
                <a:ext cx="381000" cy="381000"/>
              </a:xfrm>
              <a:prstGeom prst="rect">
                <a:avLst/>
              </a:prstGeom>
            </p:spPr>
          </p:pic>
        </p:grpSp>
        <p:sp>
          <p:nvSpPr>
            <p:cNvPr id="112" name="TextBox 111">
              <a:extLst>
                <a:ext uri="{FF2B5EF4-FFF2-40B4-BE49-F238E27FC236}">
                  <a16:creationId xmlns:a16="http://schemas.microsoft.com/office/drawing/2014/main" id="{AD1406F8-4661-4248-8773-B660B7776C2B}"/>
                </a:ext>
              </a:extLst>
            </p:cNvPr>
            <p:cNvSpPr txBox="1"/>
            <p:nvPr/>
          </p:nvSpPr>
          <p:spPr>
            <a:xfrm>
              <a:off x="3512311" y="5199292"/>
              <a:ext cx="2337799" cy="479530"/>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Attracting investments on multiple copper-gold projects</a:t>
              </a:r>
            </a:p>
          </p:txBody>
        </p:sp>
      </p:grpSp>
      <p:grpSp>
        <p:nvGrpSpPr>
          <p:cNvPr id="123" name="Group 122">
            <a:extLst>
              <a:ext uri="{FF2B5EF4-FFF2-40B4-BE49-F238E27FC236}">
                <a16:creationId xmlns:a16="http://schemas.microsoft.com/office/drawing/2014/main" id="{0194005B-D523-446D-85CA-40EF4BFBEB28}"/>
              </a:ext>
            </a:extLst>
          </p:cNvPr>
          <p:cNvGrpSpPr/>
          <p:nvPr/>
        </p:nvGrpSpPr>
        <p:grpSpPr>
          <a:xfrm>
            <a:off x="3238501" y="4864178"/>
            <a:ext cx="2611609" cy="291655"/>
            <a:chOff x="3238501" y="5648770"/>
            <a:chExt cx="2611609" cy="291290"/>
          </a:xfrm>
        </p:grpSpPr>
        <p:grpSp>
          <p:nvGrpSpPr>
            <p:cNvPr id="113" name="CheckmarkBlue 106">
              <a:extLst>
                <a:ext uri="{FF2B5EF4-FFF2-40B4-BE49-F238E27FC236}">
                  <a16:creationId xmlns:a16="http://schemas.microsoft.com/office/drawing/2014/main" id="{CDFB78B2-7660-415B-9B20-58F68D55B4FA}"/>
                </a:ext>
              </a:extLst>
            </p:cNvPr>
            <p:cNvGrpSpPr>
              <a:grpSpLocks noChangeAspect="1"/>
            </p:cNvGrpSpPr>
            <p:nvPr>
              <p:custDataLst>
                <p:tags r:id="rId15"/>
              </p:custDataLst>
            </p:nvPr>
          </p:nvGrpSpPr>
          <p:grpSpPr>
            <a:xfrm>
              <a:off x="3238501" y="5671412"/>
              <a:ext cx="268648" cy="268648"/>
              <a:chOff x="1016000" y="1016000"/>
              <a:chExt cx="396228" cy="396228"/>
            </a:xfrm>
          </p:grpSpPr>
          <p:sp>
            <p:nvSpPr>
              <p:cNvPr id="114" name="Oval 113">
                <a:extLst>
                  <a:ext uri="{FF2B5EF4-FFF2-40B4-BE49-F238E27FC236}">
                    <a16:creationId xmlns:a16="http://schemas.microsoft.com/office/drawing/2014/main" id="{DF70ECE0-CF28-481E-ADB9-F052536C5007}"/>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15" name="Graphic 114">
                <a:extLst>
                  <a:ext uri="{FF2B5EF4-FFF2-40B4-BE49-F238E27FC236}">
                    <a16:creationId xmlns:a16="http://schemas.microsoft.com/office/drawing/2014/main" id="{4D3FC6F2-DC01-4825-BBF4-B78E01224B91}"/>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023614" y="1023614"/>
                <a:ext cx="381000" cy="381000"/>
              </a:xfrm>
              <a:prstGeom prst="rect">
                <a:avLst/>
              </a:prstGeom>
            </p:spPr>
          </p:pic>
        </p:grpSp>
        <p:sp>
          <p:nvSpPr>
            <p:cNvPr id="116" name="TextBox 115">
              <a:extLst>
                <a:ext uri="{FF2B5EF4-FFF2-40B4-BE49-F238E27FC236}">
                  <a16:creationId xmlns:a16="http://schemas.microsoft.com/office/drawing/2014/main" id="{54D0E05A-5009-4FFC-8D48-D6EC5891D736}"/>
                </a:ext>
              </a:extLst>
            </p:cNvPr>
            <p:cNvSpPr txBox="1"/>
            <p:nvPr/>
          </p:nvSpPr>
          <p:spPr>
            <a:xfrm>
              <a:off x="3512311" y="5648770"/>
              <a:ext cx="2337799" cy="285874"/>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High artisanal production</a:t>
              </a:r>
            </a:p>
          </p:txBody>
        </p:sp>
      </p:grpSp>
      <p:sp>
        <p:nvSpPr>
          <p:cNvPr id="125" name="BigStat 100">
            <a:extLst>
              <a:ext uri="{FF2B5EF4-FFF2-40B4-BE49-F238E27FC236}">
                <a16:creationId xmlns:a16="http://schemas.microsoft.com/office/drawing/2014/main" id="{736CED63-F3F0-44DC-B584-A0313FAB62CE}"/>
              </a:ext>
            </a:extLst>
          </p:cNvPr>
          <p:cNvSpPr txBox="1"/>
          <p:nvPr>
            <p:custDataLst>
              <p:tags r:id="rId3"/>
            </p:custDataLst>
          </p:nvPr>
        </p:nvSpPr>
        <p:spPr>
          <a:xfrm>
            <a:off x="6214475" y="1949450"/>
            <a:ext cx="2737848" cy="923330"/>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3</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Industrial scale gold mines currently operating</a:t>
            </a:r>
          </a:p>
        </p:txBody>
      </p:sp>
      <p:sp>
        <p:nvSpPr>
          <p:cNvPr id="126" name="BigStat 100">
            <a:extLst>
              <a:ext uri="{FF2B5EF4-FFF2-40B4-BE49-F238E27FC236}">
                <a16:creationId xmlns:a16="http://schemas.microsoft.com/office/drawing/2014/main" id="{66EC6B8E-22E3-4645-B336-AEDE2ADDC866}"/>
              </a:ext>
            </a:extLst>
          </p:cNvPr>
          <p:cNvSpPr txBox="1"/>
          <p:nvPr>
            <p:custDataLst>
              <p:tags r:id="rId4"/>
            </p:custDataLst>
          </p:nvPr>
        </p:nvSpPr>
        <p:spPr>
          <a:xfrm>
            <a:off x="6214475" y="2886342"/>
            <a:ext cx="2737848" cy="728663"/>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0.7 </a:t>
            </a:r>
            <a:r>
              <a:rPr kumimoji="0" lang="en-US" sz="3200" b="1" i="0" u="none" strike="noStrike" kern="1200" cap="none" spc="0" normalizeH="0" baseline="0" noProof="0" dirty="0" err="1">
                <a:ln>
                  <a:noFill/>
                </a:ln>
                <a:solidFill>
                  <a:srgbClr val="B39759"/>
                </a:solidFill>
                <a:effectLst/>
                <a:uLnTx/>
                <a:uFillTx/>
                <a:latin typeface="Calibri Light" panose="020F0302020204030204"/>
                <a:ea typeface="+mn-ea"/>
                <a:cs typeface="Calibri" panose="020F0502020204030204" pitchFamily="34" charset="0"/>
              </a:rPr>
              <a:t>Moz</a:t>
            </a: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 (7%)</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Gold production (growth 21-22)</a:t>
            </a:r>
          </a:p>
        </p:txBody>
      </p:sp>
      <p:sp>
        <p:nvSpPr>
          <p:cNvPr id="144" name="TextBox 143">
            <a:extLst>
              <a:ext uri="{FF2B5EF4-FFF2-40B4-BE49-F238E27FC236}">
                <a16:creationId xmlns:a16="http://schemas.microsoft.com/office/drawing/2014/main" id="{E8106E64-E8A4-4E6C-8094-05F333F3310F}"/>
              </a:ext>
            </a:extLst>
          </p:cNvPr>
          <p:cNvSpPr txBox="1"/>
          <p:nvPr/>
        </p:nvSpPr>
        <p:spPr>
          <a:xfrm>
            <a:off x="8953499" y="1633539"/>
            <a:ext cx="2870021" cy="2760756"/>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28600" marR="0" lvl="0" indent="-2286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Lack of </a:t>
            </a:r>
            <a:r>
              <a:rPr kumimoji="0" lang="en-US" sz="1600" b="1"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clarity, standardization, and stability</a:t>
            </a:r>
            <a:r>
              <a:rPr kumimoji="0" lang="en-US" sz="16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 regarding </a:t>
            </a:r>
            <a:r>
              <a:rPr kumimoji="0" lang="en-US" sz="1600" b="1"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mining regulation</a:t>
            </a:r>
          </a:p>
          <a:p>
            <a:pPr marL="228600" marR="0" lvl="0" indent="-2286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Social resistance </a:t>
            </a:r>
            <a:r>
              <a:rPr kumimoji="0" lang="en-US" sz="16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against potential impacts of resource industries</a:t>
            </a:r>
          </a:p>
          <a:p>
            <a:pPr marL="228600" marR="0" lvl="0" indent="-2286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 Drug-related security risks</a:t>
            </a:r>
            <a:r>
              <a:rPr kumimoji="0" lang="en-US" sz="16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 and </a:t>
            </a:r>
            <a:r>
              <a:rPr kumimoji="0" lang="en-US" sz="1600" b="1"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political instability</a:t>
            </a:r>
          </a:p>
          <a:p>
            <a:pPr marL="228600" marR="0" lvl="0" indent="-2286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Relatively new mining industry</a:t>
            </a:r>
            <a:r>
              <a:rPr kumimoji="0" lang="en-US" sz="16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 with not yet developed </a:t>
            </a:r>
            <a:r>
              <a:rPr kumimoji="0" lang="en-US" sz="1600" b="1"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mining ecosystem</a:t>
            </a:r>
          </a:p>
        </p:txBody>
      </p:sp>
      <p:cxnSp>
        <p:nvCxnSpPr>
          <p:cNvPr id="150" name="LineContentSeparatorDefault 150">
            <a:extLst>
              <a:ext uri="{FF2B5EF4-FFF2-40B4-BE49-F238E27FC236}">
                <a16:creationId xmlns:a16="http://schemas.microsoft.com/office/drawing/2014/main" id="{74B6E49E-3407-4E23-92E6-CE2E3937239F}"/>
              </a:ext>
            </a:extLst>
          </p:cNvPr>
          <p:cNvCxnSpPr>
            <a:cxnSpLocks/>
          </p:cNvCxnSpPr>
          <p:nvPr>
            <p:custDataLst>
              <p:tags r:id="rId5"/>
            </p:custDataLst>
          </p:nvPr>
        </p:nvCxnSpPr>
        <p:spPr>
          <a:xfrm>
            <a:off x="262527" y="1566863"/>
            <a:ext cx="2394947" cy="0"/>
          </a:xfrm>
          <a:prstGeom prst="straightConnector1">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2" name="LineContentSeparatorDefault 150">
            <a:extLst>
              <a:ext uri="{FF2B5EF4-FFF2-40B4-BE49-F238E27FC236}">
                <a16:creationId xmlns:a16="http://schemas.microsoft.com/office/drawing/2014/main" id="{10A2A179-A986-464E-992D-7F7C71DADDAE}"/>
              </a:ext>
            </a:extLst>
          </p:cNvPr>
          <p:cNvCxnSpPr>
            <a:cxnSpLocks/>
          </p:cNvCxnSpPr>
          <p:nvPr>
            <p:custDataLst>
              <p:tags r:id="rId6"/>
            </p:custDataLst>
          </p:nvPr>
        </p:nvCxnSpPr>
        <p:spPr>
          <a:xfrm>
            <a:off x="3238501" y="1566863"/>
            <a:ext cx="5495924" cy="0"/>
          </a:xfrm>
          <a:prstGeom prst="straightConnector1">
            <a:avLst/>
          </a:prstGeom>
          <a:ln w="6350">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154" name="LineContentSeparatorDefault 150">
            <a:extLst>
              <a:ext uri="{FF2B5EF4-FFF2-40B4-BE49-F238E27FC236}">
                <a16:creationId xmlns:a16="http://schemas.microsoft.com/office/drawing/2014/main" id="{5DD69DFA-90AE-4BC4-B32C-7D033758F7AF}"/>
              </a:ext>
            </a:extLst>
          </p:cNvPr>
          <p:cNvCxnSpPr>
            <a:cxnSpLocks/>
          </p:cNvCxnSpPr>
          <p:nvPr>
            <p:custDataLst>
              <p:tags r:id="rId7"/>
            </p:custDataLst>
          </p:nvPr>
        </p:nvCxnSpPr>
        <p:spPr>
          <a:xfrm>
            <a:off x="8953500" y="1566863"/>
            <a:ext cx="2870021" cy="0"/>
          </a:xfrm>
          <a:prstGeom prst="straightConnector1">
            <a:avLst/>
          </a:prstGeom>
          <a:ln w="6350">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nvGrpSpPr>
          <p:cNvPr id="158" name="ChevronWhite 158">
            <a:extLst>
              <a:ext uri="{FF2B5EF4-FFF2-40B4-BE49-F238E27FC236}">
                <a16:creationId xmlns:a16="http://schemas.microsoft.com/office/drawing/2014/main" id="{7A57A53C-82A1-4767-B284-15634A46B7E3}"/>
              </a:ext>
            </a:extLst>
          </p:cNvPr>
          <p:cNvGrpSpPr>
            <a:grpSpLocks noChangeAspect="1"/>
          </p:cNvGrpSpPr>
          <p:nvPr>
            <p:custDataLst>
              <p:tags r:id="rId8"/>
            </p:custDataLst>
          </p:nvPr>
        </p:nvGrpSpPr>
        <p:grpSpPr>
          <a:xfrm>
            <a:off x="2839392" y="1385889"/>
            <a:ext cx="303213" cy="303213"/>
            <a:chOff x="1016000" y="1016000"/>
            <a:chExt cx="396228" cy="396228"/>
          </a:xfrm>
        </p:grpSpPr>
        <p:sp>
          <p:nvSpPr>
            <p:cNvPr id="155" name="Oval 154">
              <a:extLst>
                <a:ext uri="{FF2B5EF4-FFF2-40B4-BE49-F238E27FC236}">
                  <a16:creationId xmlns:a16="http://schemas.microsoft.com/office/drawing/2014/main" id="{AA98363E-41C0-4689-B779-4AC4E4884E0F}"/>
                </a:ext>
              </a:extLst>
            </p:cNvPr>
            <p:cNvSpPr/>
            <p:nvPr/>
          </p:nvSpPr>
          <p:spPr>
            <a:xfrm>
              <a:off x="1016000" y="1016000"/>
              <a:ext cx="396228" cy="396228"/>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57" name="Graphic 156">
              <a:extLst>
                <a:ext uri="{FF2B5EF4-FFF2-40B4-BE49-F238E27FC236}">
                  <a16:creationId xmlns:a16="http://schemas.microsoft.com/office/drawing/2014/main" id="{B037DC85-89A7-424E-9471-A1BFB5820EFB}"/>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1023614" y="1023614"/>
              <a:ext cx="381000" cy="381000"/>
            </a:xfrm>
            <a:prstGeom prst="rect">
              <a:avLst/>
            </a:prstGeom>
          </p:spPr>
        </p:pic>
      </p:grpSp>
      <p:grpSp>
        <p:nvGrpSpPr>
          <p:cNvPr id="160" name="ChevronWhite 158">
            <a:extLst>
              <a:ext uri="{FF2B5EF4-FFF2-40B4-BE49-F238E27FC236}">
                <a16:creationId xmlns:a16="http://schemas.microsoft.com/office/drawing/2014/main" id="{68E623C4-99D7-446A-843A-91B9BDFEA093}"/>
              </a:ext>
            </a:extLst>
          </p:cNvPr>
          <p:cNvGrpSpPr>
            <a:grpSpLocks noChangeAspect="1"/>
          </p:cNvGrpSpPr>
          <p:nvPr>
            <p:custDataLst>
              <p:tags r:id="rId9"/>
            </p:custDataLst>
          </p:nvPr>
        </p:nvGrpSpPr>
        <p:grpSpPr>
          <a:xfrm>
            <a:off x="8610601" y="1385889"/>
            <a:ext cx="303213" cy="303213"/>
            <a:chOff x="1016000" y="1016000"/>
            <a:chExt cx="396228" cy="396228"/>
          </a:xfrm>
          <a:solidFill>
            <a:schemeClr val="accent3"/>
          </a:solidFill>
        </p:grpSpPr>
        <p:sp>
          <p:nvSpPr>
            <p:cNvPr id="161" name="Oval 160">
              <a:extLst>
                <a:ext uri="{FF2B5EF4-FFF2-40B4-BE49-F238E27FC236}">
                  <a16:creationId xmlns:a16="http://schemas.microsoft.com/office/drawing/2014/main" id="{44825ED7-26B2-411C-A881-AAFCC0FD9CB9}"/>
                </a:ext>
              </a:extLst>
            </p:cNvPr>
            <p:cNvSpPr/>
            <p:nvPr/>
          </p:nvSpPr>
          <p:spPr>
            <a:xfrm>
              <a:off x="1016000" y="1016000"/>
              <a:ext cx="396228" cy="396228"/>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62" name="Graphic 161">
              <a:extLst>
                <a:ext uri="{FF2B5EF4-FFF2-40B4-BE49-F238E27FC236}">
                  <a16:creationId xmlns:a16="http://schemas.microsoft.com/office/drawing/2014/main" id="{9795E4CD-0104-494F-8ED1-D0068D57A764}"/>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023614" y="1023614"/>
              <a:ext cx="381000" cy="381000"/>
            </a:xfrm>
            <a:prstGeom prst="rect">
              <a:avLst/>
            </a:prstGeom>
          </p:spPr>
        </p:pic>
      </p:grpSp>
      <p:pic>
        <p:nvPicPr>
          <p:cNvPr id="164" name="Picture 163">
            <a:extLst>
              <a:ext uri="{FF2B5EF4-FFF2-40B4-BE49-F238E27FC236}">
                <a16:creationId xmlns:a16="http://schemas.microsoft.com/office/drawing/2014/main" id="{C08644D0-F3E7-4FD7-A025-99B29EDF625E}"/>
              </a:ext>
            </a:extLst>
          </p:cNvPr>
          <p:cNvPicPr>
            <a:picLocks noChangeAspect="1"/>
          </p:cNvPicPr>
          <p:nvPr>
            <p:custDataLst>
              <p:tags r:id="rId10"/>
            </p:custDataLst>
          </p:nvPr>
        </p:nvPicPr>
        <p:blipFill rotWithShape="1">
          <a:blip r:embed="rId28" cstate="print">
            <a:extLst>
              <a:ext uri="{28A0092B-C50C-407E-A947-70E740481C1C}">
                <a14:useLocalDpi xmlns:a14="http://schemas.microsoft.com/office/drawing/2010/main"/>
              </a:ext>
            </a:extLst>
          </a:blip>
          <a:srcRect/>
          <a:stretch/>
        </p:blipFill>
        <p:spPr>
          <a:xfrm flipH="1">
            <a:off x="8589371" y="4692650"/>
            <a:ext cx="3601355" cy="2028825"/>
          </a:xfrm>
          <a:prstGeom prst="rect">
            <a:avLst/>
          </a:prstGeom>
        </p:spPr>
      </p:pic>
      <p:sp>
        <p:nvSpPr>
          <p:cNvPr id="184" name="BigStat 100">
            <a:extLst>
              <a:ext uri="{FF2B5EF4-FFF2-40B4-BE49-F238E27FC236}">
                <a16:creationId xmlns:a16="http://schemas.microsoft.com/office/drawing/2014/main" id="{41138818-1B86-4B56-90FC-10CF426CCC63}"/>
              </a:ext>
            </a:extLst>
          </p:cNvPr>
          <p:cNvSpPr txBox="1"/>
          <p:nvPr>
            <p:custDataLst>
              <p:tags r:id="rId11"/>
            </p:custDataLst>
          </p:nvPr>
        </p:nvSpPr>
        <p:spPr>
          <a:xfrm>
            <a:off x="6214475" y="3628567"/>
            <a:ext cx="2737848" cy="923925"/>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3</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Gold projects </a:t>
            </a: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expected </a:t>
            </a: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to be launched prior to 2030</a:t>
            </a:r>
          </a:p>
        </p:txBody>
      </p:sp>
      <p:sp>
        <p:nvSpPr>
          <p:cNvPr id="204" name="BigStat 100">
            <a:extLst>
              <a:ext uri="{FF2B5EF4-FFF2-40B4-BE49-F238E27FC236}">
                <a16:creationId xmlns:a16="http://schemas.microsoft.com/office/drawing/2014/main" id="{954B7A5F-DAEB-4A83-84A4-D077F6763C99}"/>
              </a:ext>
            </a:extLst>
          </p:cNvPr>
          <p:cNvSpPr txBox="1"/>
          <p:nvPr>
            <p:custDataLst>
              <p:tags r:id="rId12"/>
            </p:custDataLst>
          </p:nvPr>
        </p:nvSpPr>
        <p:spPr>
          <a:xfrm>
            <a:off x="6214475" y="4566054"/>
            <a:ext cx="2737848" cy="729430"/>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29 / 80 </a:t>
            </a:r>
            <a:r>
              <a:rPr kumimoji="0" lang="en-US" sz="3200" b="1" i="0" u="none" strike="noStrike" kern="1200" cap="none" spc="0" normalizeH="0" baseline="0" noProof="0" dirty="0" err="1">
                <a:ln>
                  <a:noFill/>
                </a:ln>
                <a:solidFill>
                  <a:srgbClr val="B39759"/>
                </a:solidFill>
                <a:effectLst/>
                <a:uLnTx/>
                <a:uFillTx/>
                <a:latin typeface="Calibri Light" panose="020F0302020204030204"/>
                <a:ea typeface="+mn-ea"/>
                <a:cs typeface="Calibri" panose="020F0502020204030204" pitchFamily="34" charset="0"/>
              </a:rPr>
              <a:t>Moz</a:t>
            </a:r>
            <a:endPar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endParaRP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Gold reserves / Gold R&amp;R</a:t>
            </a:r>
          </a:p>
        </p:txBody>
      </p:sp>
      <p:pic>
        <p:nvPicPr>
          <p:cNvPr id="14" name="Picture 13">
            <a:extLst>
              <a:ext uri="{FF2B5EF4-FFF2-40B4-BE49-F238E27FC236}">
                <a16:creationId xmlns:a16="http://schemas.microsoft.com/office/drawing/2014/main" id="{C68F041C-6FAD-ED64-DD84-640899425E47}"/>
              </a:ext>
            </a:extLst>
          </p:cNvPr>
          <p:cNvPicPr>
            <a:picLocks/>
          </p:cNvPicPr>
          <p:nvPr/>
        </p:nvPicPr>
        <p:blipFill rotWithShape="1">
          <a:blip r:embed="rId29" cstate="screen">
            <a:extLst>
              <a:ext uri="{28A0092B-C50C-407E-A947-70E740481C1C}">
                <a14:useLocalDpi xmlns:a14="http://schemas.microsoft.com/office/drawing/2010/main"/>
              </a:ext>
            </a:extLst>
          </a:blip>
          <a:srcRect/>
          <a:stretch/>
        </p:blipFill>
        <p:spPr>
          <a:xfrm>
            <a:off x="8762207" y="358581"/>
            <a:ext cx="604510" cy="604510"/>
          </a:xfrm>
          <a:prstGeom prst="ellipse">
            <a:avLst/>
          </a:prstGeom>
          <a:ln>
            <a:solidFill>
              <a:srgbClr val="CCCCCC"/>
            </a:solidFill>
          </a:ln>
        </p:spPr>
      </p:pic>
      <p:sp>
        <p:nvSpPr>
          <p:cNvPr id="85" name="TextBox 84">
            <a:extLst>
              <a:ext uri="{FF2B5EF4-FFF2-40B4-BE49-F238E27FC236}">
                <a16:creationId xmlns:a16="http://schemas.microsoft.com/office/drawing/2014/main" id="{BB0E91B3-A14B-F0BD-B384-A818AE4E4601}"/>
              </a:ext>
            </a:extLst>
          </p:cNvPr>
          <p:cNvSpPr txBox="1"/>
          <p:nvPr/>
        </p:nvSpPr>
        <p:spPr>
          <a:xfrm>
            <a:off x="3244970" y="5346389"/>
            <a:ext cx="2737848" cy="258532"/>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Top players in country</a:t>
            </a:r>
          </a:p>
        </p:txBody>
      </p:sp>
      <p:sp>
        <p:nvSpPr>
          <p:cNvPr id="86" name="TextBox 85">
            <a:extLst>
              <a:ext uri="{FF2B5EF4-FFF2-40B4-BE49-F238E27FC236}">
                <a16:creationId xmlns:a16="http://schemas.microsoft.com/office/drawing/2014/main" id="{B334C6C0-AD72-72F7-FE3F-DCA439A113C3}"/>
              </a:ext>
            </a:extLst>
          </p:cNvPr>
          <p:cNvSpPr txBox="1"/>
          <p:nvPr/>
        </p:nvSpPr>
        <p:spPr>
          <a:xfrm>
            <a:off x="6214475" y="5374886"/>
            <a:ext cx="2394947" cy="258532"/>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Top gold mines</a:t>
            </a:r>
          </a:p>
        </p:txBody>
      </p:sp>
      <p:pic>
        <p:nvPicPr>
          <p:cNvPr id="22" name="Picture 4">
            <a:extLst>
              <a:ext uri="{FF2B5EF4-FFF2-40B4-BE49-F238E27FC236}">
                <a16:creationId xmlns:a16="http://schemas.microsoft.com/office/drawing/2014/main" id="{F8900609-ECE0-F939-BAC5-C63C07730D2E}"/>
              </a:ext>
            </a:extLst>
          </p:cNvPr>
          <p:cNvPicPr>
            <a:picLocks noChangeAspect="1" noChangeArrowheads="1"/>
          </p:cNvPicPr>
          <p:nvPr/>
        </p:nvPicPr>
        <p:blipFill rotWithShape="1">
          <a:blip r:embed="rId30" cstate="print">
            <a:extLst>
              <a:ext uri="{28A0092B-C50C-407E-A947-70E740481C1C}">
                <a14:useLocalDpi xmlns:a14="http://schemas.microsoft.com/office/drawing/2010/main"/>
              </a:ext>
            </a:extLst>
          </a:blip>
          <a:srcRect/>
          <a:stretch/>
        </p:blipFill>
        <p:spPr bwMode="auto">
          <a:xfrm>
            <a:off x="3364740" y="5641065"/>
            <a:ext cx="1077991" cy="435722"/>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a:extLst>
              <a:ext uri="{FF2B5EF4-FFF2-40B4-BE49-F238E27FC236}">
                <a16:creationId xmlns:a16="http://schemas.microsoft.com/office/drawing/2014/main" id="{AA166059-EA0E-B081-8609-744204D34FEE}"/>
              </a:ext>
            </a:extLst>
          </p:cNvPr>
          <p:cNvPicPr>
            <a:picLocks noChangeAspect="1" noChangeArrowheads="1"/>
          </p:cNvPicPr>
          <p:nvPr/>
        </p:nvPicPr>
        <p:blipFill rotWithShape="1">
          <a:blip r:embed="rId31" cstate="print">
            <a:extLst>
              <a:ext uri="{28A0092B-C50C-407E-A947-70E740481C1C}">
                <a14:useLocalDpi xmlns:a14="http://schemas.microsoft.com/office/drawing/2010/main"/>
              </a:ext>
            </a:extLst>
          </a:blip>
          <a:srcRect l="3084" t="40128" r="1579" b="36901"/>
          <a:stretch/>
        </p:blipFill>
        <p:spPr bwMode="auto">
          <a:xfrm>
            <a:off x="3364740" y="6151709"/>
            <a:ext cx="1834087" cy="230947"/>
          </a:xfrm>
          <a:prstGeom prst="rect">
            <a:avLst/>
          </a:prstGeom>
          <a:noFill/>
          <a:extLst>
            <a:ext uri="{909E8E84-426E-40DD-AFC4-6F175D3DCCD1}">
              <a14:hiddenFill xmlns:a14="http://schemas.microsoft.com/office/drawing/2010/main">
                <a:solidFill>
                  <a:srgbClr val="FFFFFF"/>
                </a:solidFill>
              </a14:hiddenFill>
            </a:ext>
          </a:extLst>
        </p:spPr>
      </p:pic>
      <p:sp>
        <p:nvSpPr>
          <p:cNvPr id="9" name="Title 1">
            <a:extLst>
              <a:ext uri="{FF2B5EF4-FFF2-40B4-BE49-F238E27FC236}">
                <a16:creationId xmlns:a16="http://schemas.microsoft.com/office/drawing/2014/main" id="{BD0D04F7-7F77-0ADE-3A6C-2CC88E9729CB}"/>
              </a:ext>
            </a:extLst>
          </p:cNvPr>
          <p:cNvSpPr txBox="1">
            <a:spLocks/>
          </p:cNvSpPr>
          <p:nvPr/>
        </p:nvSpPr>
        <p:spPr>
          <a:xfrm>
            <a:off x="262527" y="175755"/>
            <a:ext cx="8326844" cy="75713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ctr" anchorCtr="0">
            <a:spAutoFit/>
          </a:bodyPr>
          <a:lstStyle>
            <a:lvl1pPr algn="l" defTabSz="914400" rtl="0" eaLnBrk="1" latinLnBrk="0" hangingPunct="1">
              <a:lnSpc>
                <a:spcPct val="90000"/>
              </a:lnSpc>
              <a:spcBef>
                <a:spcPct val="0"/>
              </a:spcBef>
              <a:buNone/>
              <a:defRPr sz="3200" b="1" i="0" kern="1200">
                <a:solidFill>
                  <a:srgbClr val="002060"/>
                </a:solidFill>
                <a:latin typeface="Calibri" panose="020F0502020204030204" pitchFamily="34" charset="0"/>
                <a:ea typeface="+mj-ea"/>
                <a:cs typeface="Calibri" panose="020F050202020403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Calibri" panose="020F0502020204030204" pitchFamily="34" charset="0"/>
                <a:ea typeface="+mj-ea"/>
                <a:cs typeface="Calibri" panose="020F0502020204030204" pitchFamily="34" charset="0"/>
              </a:rPr>
              <a:t>Ecuador has a high geological potential, but uncertainty makes it look better as an exploration bet for the long-term</a:t>
            </a:r>
            <a:endParaRPr kumimoji="0" lang="en-CA" sz="2400" b="1" i="0" u="none" strike="noStrike" kern="1200" cap="none" spc="0" normalizeH="0" baseline="0" noProof="0" dirty="0">
              <a:ln>
                <a:noFill/>
              </a:ln>
              <a:solidFill>
                <a:srgbClr val="002060"/>
              </a:solidFill>
              <a:effectLst/>
              <a:uLnTx/>
              <a:uFillTx/>
              <a:latin typeface="Calibri" panose="020F0502020204030204" pitchFamily="34" charset="0"/>
              <a:ea typeface="+mj-ea"/>
              <a:cs typeface="Calibri" panose="020F0502020204030204" pitchFamily="34" charset="0"/>
            </a:endParaRPr>
          </a:p>
        </p:txBody>
      </p:sp>
      <p:sp>
        <p:nvSpPr>
          <p:cNvPr id="19" name="TextBox 18">
            <a:extLst>
              <a:ext uri="{FF2B5EF4-FFF2-40B4-BE49-F238E27FC236}">
                <a16:creationId xmlns:a16="http://schemas.microsoft.com/office/drawing/2014/main" id="{77E24765-4D42-5296-E31C-6D55C1BBABD3}"/>
              </a:ext>
            </a:extLst>
          </p:cNvPr>
          <p:cNvSpPr txBox="1"/>
          <p:nvPr/>
        </p:nvSpPr>
        <p:spPr>
          <a:xfrm>
            <a:off x="262527" y="820969"/>
            <a:ext cx="4064000" cy="286232"/>
          </a:xfrm>
          <a:prstGeom prst="rect">
            <a:avLst/>
          </a:prstGeom>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mn-cs"/>
              </a:rPr>
              <a:t>Ecuador executive summary</a:t>
            </a:r>
          </a:p>
        </p:txBody>
      </p:sp>
      <p:sp>
        <p:nvSpPr>
          <p:cNvPr id="4" name="BigStat 100">
            <a:extLst>
              <a:ext uri="{FF2B5EF4-FFF2-40B4-BE49-F238E27FC236}">
                <a16:creationId xmlns:a16="http://schemas.microsoft.com/office/drawing/2014/main" id="{C59C3A2D-17D9-289D-4C73-4E971B8D55CA}"/>
              </a:ext>
            </a:extLst>
          </p:cNvPr>
          <p:cNvSpPr txBox="1"/>
          <p:nvPr>
            <p:custDataLst>
              <p:tags r:id="rId13"/>
            </p:custDataLst>
          </p:nvPr>
        </p:nvSpPr>
        <p:spPr>
          <a:xfrm>
            <a:off x="3238501" y="2924074"/>
            <a:ext cx="2737848" cy="757238"/>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130</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Mining operations &amp; projects</a:t>
            </a:r>
          </a:p>
        </p:txBody>
      </p:sp>
      <p:sp>
        <p:nvSpPr>
          <p:cNvPr id="58" name="5. Source">
            <a:extLst>
              <a:ext uri="{FF2B5EF4-FFF2-40B4-BE49-F238E27FC236}">
                <a16:creationId xmlns:a16="http://schemas.microsoft.com/office/drawing/2014/main" id="{2F31CCD3-BE2A-6C17-DCDF-D35A6F9CCD70}"/>
              </a:ext>
            </a:extLst>
          </p:cNvPr>
          <p:cNvSpPr txBox="1"/>
          <p:nvPr>
            <p:custDataLst>
              <p:tags r:id="rId14"/>
            </p:custDataLst>
          </p:nvPr>
        </p:nvSpPr>
        <p:spPr>
          <a:xfrm>
            <a:off x="262528" y="6533620"/>
            <a:ext cx="2582692" cy="184666"/>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6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Source: S&amp;P Global, IBRAM, Americas Market Intelligence, World Bank WDI, IMF (WEO), </a:t>
            </a:r>
            <a:r>
              <a:rPr kumimoji="0" lang="en-US" sz="600" b="0" i="0" u="none" strike="noStrike" kern="1200" cap="none" spc="0" normalizeH="0" baseline="0" noProof="0" dirty="0" err="1">
                <a:ln>
                  <a:noFill/>
                </a:ln>
                <a:solidFill>
                  <a:srgbClr val="FFFFFF"/>
                </a:solidFill>
                <a:effectLst/>
                <a:uLnTx/>
                <a:uFillTx/>
                <a:latin typeface="Calibri" panose="020F0502020204030204" pitchFamily="34" charset="0"/>
                <a:ea typeface="+mn-ea"/>
                <a:cs typeface="Calibri" panose="020F0502020204030204" pitchFamily="34" charset="0"/>
              </a:rPr>
              <a:t>Dentos</a:t>
            </a:r>
            <a:r>
              <a:rPr kumimoji="0" lang="en-US" sz="6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 Global Mining Guide, </a:t>
            </a:r>
            <a:r>
              <a:rPr kumimoji="0" lang="en-US" sz="600" b="0" i="0" u="none" strike="noStrike" kern="1200" cap="none" spc="0" normalizeH="0" baseline="0" noProof="0" dirty="0" err="1">
                <a:ln>
                  <a:noFill/>
                </a:ln>
                <a:solidFill>
                  <a:srgbClr val="FFFFFF"/>
                </a:solidFill>
                <a:effectLst/>
                <a:uLnTx/>
                <a:uFillTx/>
                <a:latin typeface="Calibri" panose="020F0502020204030204" pitchFamily="34" charset="0"/>
                <a:ea typeface="+mn-ea"/>
                <a:cs typeface="Calibri" panose="020F0502020204030204" pitchFamily="34" charset="0"/>
              </a:rPr>
              <a:t>Lexology</a:t>
            </a:r>
            <a:r>
              <a:rPr kumimoji="0" lang="en-US" sz="6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 Maplecroft report, press search</a:t>
            </a:r>
          </a:p>
        </p:txBody>
      </p:sp>
      <p:sp>
        <p:nvSpPr>
          <p:cNvPr id="60" name="TextBox 59">
            <a:extLst>
              <a:ext uri="{FF2B5EF4-FFF2-40B4-BE49-F238E27FC236}">
                <a16:creationId xmlns:a16="http://schemas.microsoft.com/office/drawing/2014/main" id="{740A1F5D-9A3C-D433-DC24-8B82BBE7426F}"/>
              </a:ext>
            </a:extLst>
          </p:cNvPr>
          <p:cNvSpPr txBox="1"/>
          <p:nvPr/>
        </p:nvSpPr>
        <p:spPr>
          <a:xfrm>
            <a:off x="206822" y="1940012"/>
            <a:ext cx="2632569" cy="2834622"/>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144000" marR="0" lvl="0" indent="-1440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rPr>
              <a:t>Mining industry expected to grow </a:t>
            </a: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in Ecuador, with Lundin’s </a:t>
            </a:r>
            <a:r>
              <a:rPr kumimoji="0" lang="en-US" sz="1800" b="1" i="0" u="none" strike="noStrike" kern="1200" cap="none" spc="0" normalizeH="0" baseline="0" noProof="0" dirty="0" err="1">
                <a:ln>
                  <a:noFill/>
                </a:ln>
                <a:solidFill>
                  <a:srgbClr val="FFFFFF"/>
                </a:solidFill>
                <a:effectLst/>
                <a:uLnTx/>
                <a:uFillTx/>
                <a:latin typeface="Calibri" panose="020F0502020204030204"/>
                <a:ea typeface="+mn-ea"/>
                <a:cs typeface="+mn-cs"/>
              </a:rPr>
              <a:t>Fruta</a:t>
            </a: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rPr>
              <a:t> del Norte as the main project</a:t>
            </a:r>
          </a:p>
          <a:p>
            <a:pPr marL="144000" marR="0" lvl="0" indent="-1440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However, there is </a:t>
            </a: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rPr>
              <a:t>still uncertainty towards standardization of regulation </a:t>
            </a: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and </a:t>
            </a: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rPr>
              <a:t>social acceptance of mining operations</a:t>
            </a:r>
          </a:p>
        </p:txBody>
      </p:sp>
      <p:pic>
        <p:nvPicPr>
          <p:cNvPr id="78" name="Picture 2">
            <a:extLst>
              <a:ext uri="{FF2B5EF4-FFF2-40B4-BE49-F238E27FC236}">
                <a16:creationId xmlns:a16="http://schemas.microsoft.com/office/drawing/2014/main" id="{092504BE-E2B8-966C-E47A-7AD1F0F2AC8F}"/>
              </a:ext>
            </a:extLst>
          </p:cNvPr>
          <p:cNvPicPr>
            <a:picLocks noChangeAspect="1" noChangeArrowheads="1"/>
          </p:cNvPicPr>
          <p:nvPr/>
        </p:nvPicPr>
        <p:blipFill rotWithShape="1">
          <a:blip r:embed="rId31" cstate="screen">
            <a:extLst>
              <a:ext uri="{28A0092B-C50C-407E-A947-70E740481C1C}">
                <a14:useLocalDpi xmlns:a14="http://schemas.microsoft.com/office/drawing/2010/main"/>
              </a:ext>
            </a:extLst>
          </a:blip>
          <a:srcRect t="27546" b="29417"/>
          <a:stretch/>
        </p:blipFill>
        <p:spPr bwMode="auto">
          <a:xfrm>
            <a:off x="6312827" y="5604921"/>
            <a:ext cx="1231613" cy="276996"/>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4">
            <a:extLst>
              <a:ext uri="{FF2B5EF4-FFF2-40B4-BE49-F238E27FC236}">
                <a16:creationId xmlns:a16="http://schemas.microsoft.com/office/drawing/2014/main" id="{F0DFF537-BD94-1A07-4155-FC3F51358CE4}"/>
              </a:ext>
            </a:extLst>
          </p:cNvPr>
          <p:cNvPicPr>
            <a:picLocks noChangeAspect="1" noChangeArrowheads="1"/>
          </p:cNvPicPr>
          <p:nvPr/>
        </p:nvPicPr>
        <p:blipFill>
          <a:blip r:embed="rId32" cstate="screen">
            <a:extLst>
              <a:ext uri="{28A0092B-C50C-407E-A947-70E740481C1C}">
                <a14:useLocalDpi xmlns:a14="http://schemas.microsoft.com/office/drawing/2010/main"/>
              </a:ext>
            </a:extLst>
          </a:blip>
          <a:srcRect/>
          <a:stretch>
            <a:fillRect/>
          </a:stretch>
        </p:blipFill>
        <p:spPr bwMode="auto">
          <a:xfrm>
            <a:off x="6312827" y="5956795"/>
            <a:ext cx="313149" cy="4212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70633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8092391-F817-4825-975B-A7CE230F0506}"/>
              </a:ext>
            </a:extLst>
          </p:cNvPr>
          <p:cNvGraphicFramePr>
            <a:graphicFrameLocks noChangeAspect="1"/>
          </p:cNvGraphicFramePr>
          <p:nvPr>
            <p:custDataLst>
              <p:tags r:id="rId1"/>
            </p:custDataLst>
            <p:extLst>
              <p:ext uri="{D42A27DB-BD31-4B8C-83A1-F6EECF244321}">
                <p14:modId xmlns:p14="http://schemas.microsoft.com/office/powerpoint/2010/main" val="4124761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95" imgH="396" progId="TCLayout.ActiveDocument.1">
                  <p:embed/>
                </p:oleObj>
              </mc:Choice>
              <mc:Fallback>
                <p:oleObj name="think-cell Slide" r:id="rId20" imgW="395" imgH="396" progId="TCLayout.ActiveDocument.1">
                  <p:embed/>
                  <p:pic>
                    <p:nvPicPr>
                      <p:cNvPr id="5" name="Object 4" hidden="1">
                        <a:extLst>
                          <a:ext uri="{FF2B5EF4-FFF2-40B4-BE49-F238E27FC236}">
                            <a16:creationId xmlns:a16="http://schemas.microsoft.com/office/drawing/2014/main" id="{78092391-F817-4825-975B-A7CE230F0506}"/>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Slide Number Placeholder 5">
            <a:extLst>
              <a:ext uri="{FF2B5EF4-FFF2-40B4-BE49-F238E27FC236}">
                <a16:creationId xmlns:a16="http://schemas.microsoft.com/office/drawing/2014/main" id="{167D3468-42B9-45FA-938B-2DE60CA6C7E7}"/>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DB285B-DFCF-F045-9459-27C683DF8B15}" type="slidenum">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7" name="Rectangle: Diagonal Corners Rounded 6">
            <a:extLst>
              <a:ext uri="{FF2B5EF4-FFF2-40B4-BE49-F238E27FC236}">
                <a16:creationId xmlns:a16="http://schemas.microsoft.com/office/drawing/2014/main" id="{D1A5CE68-3036-40BF-A35A-C0C1A8D70A20}"/>
              </a:ext>
            </a:extLst>
          </p:cNvPr>
          <p:cNvSpPr/>
          <p:nvPr/>
        </p:nvSpPr>
        <p:spPr>
          <a:xfrm flipV="1">
            <a:off x="0" y="1094638"/>
            <a:ext cx="3000375" cy="5763362"/>
          </a:xfrm>
          <a:prstGeom prst="round2DiagRect">
            <a:avLst>
              <a:gd name="adj1" fmla="val 5095"/>
              <a:gd name="adj2"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DC1EC433-3EF1-48B7-99B5-529DCED7A6A3}"/>
              </a:ext>
            </a:extLst>
          </p:cNvPr>
          <p:cNvSpPr txBox="1">
            <a:spLocks/>
          </p:cNvSpPr>
          <p:nvPr/>
        </p:nvSpPr>
        <p:spPr>
          <a:xfrm>
            <a:off x="262527" y="1231901"/>
            <a:ext cx="2394947" cy="341313"/>
          </a:xfrm>
          <a:prstGeom prst="rect">
            <a:avLst/>
          </a:prstGeom>
        </p:spPr>
        <p:txBody>
          <a:bodyPr vert="horz" wrap="square" lIns="91440" tIns="45720" rIns="91440" bIns="45720" rtlCol="0">
            <a:no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rPr>
              <a:t>Overview</a:t>
            </a:r>
          </a:p>
        </p:txBody>
      </p:sp>
      <p:sp>
        <p:nvSpPr>
          <p:cNvPr id="8" name="TextBox 7">
            <a:extLst>
              <a:ext uri="{FF2B5EF4-FFF2-40B4-BE49-F238E27FC236}">
                <a16:creationId xmlns:a16="http://schemas.microsoft.com/office/drawing/2014/main" id="{1B2AC41C-9751-4BD4-8334-13028029FFBB}"/>
              </a:ext>
            </a:extLst>
          </p:cNvPr>
          <p:cNvSpPr txBox="1"/>
          <p:nvPr/>
        </p:nvSpPr>
        <p:spPr>
          <a:xfrm>
            <a:off x="3238501" y="1231901"/>
            <a:ext cx="4523785" cy="341313"/>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Mining outlook</a:t>
            </a:r>
          </a:p>
        </p:txBody>
      </p:sp>
      <p:sp>
        <p:nvSpPr>
          <p:cNvPr id="10" name="TextBox 9">
            <a:extLst>
              <a:ext uri="{FF2B5EF4-FFF2-40B4-BE49-F238E27FC236}">
                <a16:creationId xmlns:a16="http://schemas.microsoft.com/office/drawing/2014/main" id="{72A71319-D7DF-494C-A3A2-AACCB837E44E}"/>
              </a:ext>
            </a:extLst>
          </p:cNvPr>
          <p:cNvSpPr txBox="1">
            <a:spLocks/>
          </p:cNvSpPr>
          <p:nvPr/>
        </p:nvSpPr>
        <p:spPr>
          <a:xfrm>
            <a:off x="8953499" y="1231901"/>
            <a:ext cx="2870021" cy="341313"/>
          </a:xfrm>
          <a:prstGeom prst="rect">
            <a:avLst/>
          </a:prstGeom>
        </p:spPr>
        <p:txBody>
          <a:bodyPr vert="horz" wrap="square" lIns="91440" tIns="45720" rIns="91440" bIns="45720" rtlCol="0">
            <a:no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Main risks</a:t>
            </a:r>
          </a:p>
        </p:txBody>
      </p:sp>
      <p:sp>
        <p:nvSpPr>
          <p:cNvPr id="11" name="TextBox 10">
            <a:extLst>
              <a:ext uri="{FF2B5EF4-FFF2-40B4-BE49-F238E27FC236}">
                <a16:creationId xmlns:a16="http://schemas.microsoft.com/office/drawing/2014/main" id="{BD857A46-F9EA-4680-A8D4-A1C2E89C4EC3}"/>
              </a:ext>
            </a:extLst>
          </p:cNvPr>
          <p:cNvSpPr txBox="1"/>
          <p:nvPr/>
        </p:nvSpPr>
        <p:spPr>
          <a:xfrm>
            <a:off x="3238501" y="1633538"/>
            <a:ext cx="2737848" cy="314325"/>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Importance for the country</a:t>
            </a:r>
          </a:p>
        </p:txBody>
      </p:sp>
      <p:sp>
        <p:nvSpPr>
          <p:cNvPr id="12" name="TextBox 11">
            <a:extLst>
              <a:ext uri="{FF2B5EF4-FFF2-40B4-BE49-F238E27FC236}">
                <a16:creationId xmlns:a16="http://schemas.microsoft.com/office/drawing/2014/main" id="{26552266-20AA-42F4-9FEB-E5C1FA3551B9}"/>
              </a:ext>
            </a:extLst>
          </p:cNvPr>
          <p:cNvSpPr txBox="1"/>
          <p:nvPr/>
        </p:nvSpPr>
        <p:spPr>
          <a:xfrm>
            <a:off x="6214475" y="1633538"/>
            <a:ext cx="2394947" cy="314325"/>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Gold mining in numbers</a:t>
            </a:r>
          </a:p>
        </p:txBody>
      </p:sp>
      <p:sp>
        <p:nvSpPr>
          <p:cNvPr id="100" name="BigStat 100">
            <a:extLst>
              <a:ext uri="{FF2B5EF4-FFF2-40B4-BE49-F238E27FC236}">
                <a16:creationId xmlns:a16="http://schemas.microsoft.com/office/drawing/2014/main" id="{CD719AC9-6C18-4195-B152-24B07B6A6612}"/>
              </a:ext>
            </a:extLst>
          </p:cNvPr>
          <p:cNvSpPr txBox="1"/>
          <p:nvPr>
            <p:custDataLst>
              <p:tags r:id="rId2"/>
            </p:custDataLst>
          </p:nvPr>
        </p:nvSpPr>
        <p:spPr>
          <a:xfrm>
            <a:off x="3238500" y="1965325"/>
            <a:ext cx="2857499" cy="923330"/>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10.8 </a:t>
            </a:r>
            <a:r>
              <a:rPr kumimoji="0" lang="en-US" sz="16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BUSD</a:t>
            </a: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 (1.7%)</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GDP from Mining (% of the country’s total GDP)</a:t>
            </a:r>
          </a:p>
        </p:txBody>
      </p:sp>
      <p:grpSp>
        <p:nvGrpSpPr>
          <p:cNvPr id="121" name="Group 120">
            <a:extLst>
              <a:ext uri="{FF2B5EF4-FFF2-40B4-BE49-F238E27FC236}">
                <a16:creationId xmlns:a16="http://schemas.microsoft.com/office/drawing/2014/main" id="{DDE23F5E-33B3-41E0-96BD-B12A9EBD2276}"/>
              </a:ext>
            </a:extLst>
          </p:cNvPr>
          <p:cNvGrpSpPr/>
          <p:nvPr/>
        </p:nvGrpSpPr>
        <p:grpSpPr>
          <a:xfrm>
            <a:off x="3238501" y="3767664"/>
            <a:ext cx="2611609" cy="480131"/>
            <a:chOff x="3238501" y="4749814"/>
            <a:chExt cx="2611609" cy="479530"/>
          </a:xfrm>
        </p:grpSpPr>
        <p:grpSp>
          <p:nvGrpSpPr>
            <p:cNvPr id="106" name="CheckmarkBlue 106">
              <a:extLst>
                <a:ext uri="{FF2B5EF4-FFF2-40B4-BE49-F238E27FC236}">
                  <a16:creationId xmlns:a16="http://schemas.microsoft.com/office/drawing/2014/main" id="{9896BB38-D997-4948-8179-E60E9FA09410}"/>
                </a:ext>
              </a:extLst>
            </p:cNvPr>
            <p:cNvGrpSpPr>
              <a:grpSpLocks noChangeAspect="1"/>
            </p:cNvGrpSpPr>
            <p:nvPr>
              <p:custDataLst>
                <p:tags r:id="rId17"/>
              </p:custDataLst>
            </p:nvPr>
          </p:nvGrpSpPr>
          <p:grpSpPr>
            <a:xfrm>
              <a:off x="3238501" y="4772456"/>
              <a:ext cx="268648" cy="268648"/>
              <a:chOff x="1016000" y="1016000"/>
              <a:chExt cx="396228" cy="396228"/>
            </a:xfrm>
          </p:grpSpPr>
          <p:sp>
            <p:nvSpPr>
              <p:cNvPr id="103" name="Oval 102">
                <a:extLst>
                  <a:ext uri="{FF2B5EF4-FFF2-40B4-BE49-F238E27FC236}">
                    <a16:creationId xmlns:a16="http://schemas.microsoft.com/office/drawing/2014/main" id="{4B9934FC-AE8E-4AA8-BAF0-9476EB4E90BC}"/>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05" name="Graphic 104">
                <a:extLst>
                  <a:ext uri="{FF2B5EF4-FFF2-40B4-BE49-F238E27FC236}">
                    <a16:creationId xmlns:a16="http://schemas.microsoft.com/office/drawing/2014/main" id="{FFD06596-95A3-40AD-B50C-9BDFC8F1DF1C}"/>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023614" y="1023614"/>
                <a:ext cx="381000" cy="381000"/>
              </a:xfrm>
              <a:prstGeom prst="rect">
                <a:avLst/>
              </a:prstGeom>
            </p:spPr>
          </p:pic>
        </p:grpSp>
        <p:sp>
          <p:nvSpPr>
            <p:cNvPr id="108" name="TextBox 107">
              <a:extLst>
                <a:ext uri="{FF2B5EF4-FFF2-40B4-BE49-F238E27FC236}">
                  <a16:creationId xmlns:a16="http://schemas.microsoft.com/office/drawing/2014/main" id="{31962308-D58A-46E0-8CC9-9B2CCF076613}"/>
                </a:ext>
              </a:extLst>
            </p:cNvPr>
            <p:cNvSpPr txBox="1"/>
            <p:nvPr/>
          </p:nvSpPr>
          <p:spPr>
            <a:xfrm>
              <a:off x="3512311" y="4749814"/>
              <a:ext cx="2337799" cy="479530"/>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Mining regulations are governed by the provinces</a:t>
              </a:r>
            </a:p>
          </p:txBody>
        </p:sp>
      </p:grpSp>
      <p:grpSp>
        <p:nvGrpSpPr>
          <p:cNvPr id="122" name="Group 121">
            <a:extLst>
              <a:ext uri="{FF2B5EF4-FFF2-40B4-BE49-F238E27FC236}">
                <a16:creationId xmlns:a16="http://schemas.microsoft.com/office/drawing/2014/main" id="{A7CCE14C-E775-478A-9111-39D92FBBC064}"/>
              </a:ext>
            </a:extLst>
          </p:cNvPr>
          <p:cNvGrpSpPr/>
          <p:nvPr/>
        </p:nvGrpSpPr>
        <p:grpSpPr>
          <a:xfrm>
            <a:off x="3238501" y="4253472"/>
            <a:ext cx="2611609" cy="480131"/>
            <a:chOff x="3238501" y="5199292"/>
            <a:chExt cx="2611609" cy="479530"/>
          </a:xfrm>
        </p:grpSpPr>
        <p:grpSp>
          <p:nvGrpSpPr>
            <p:cNvPr id="109" name="CheckmarkBlue 106">
              <a:extLst>
                <a:ext uri="{FF2B5EF4-FFF2-40B4-BE49-F238E27FC236}">
                  <a16:creationId xmlns:a16="http://schemas.microsoft.com/office/drawing/2014/main" id="{C8F22BB2-471A-4965-AFFF-6FDBF5695F90}"/>
                </a:ext>
              </a:extLst>
            </p:cNvPr>
            <p:cNvGrpSpPr>
              <a:grpSpLocks noChangeAspect="1"/>
            </p:cNvGrpSpPr>
            <p:nvPr>
              <p:custDataLst>
                <p:tags r:id="rId16"/>
              </p:custDataLst>
            </p:nvPr>
          </p:nvGrpSpPr>
          <p:grpSpPr>
            <a:xfrm>
              <a:off x="3238501" y="5221934"/>
              <a:ext cx="268648" cy="268648"/>
              <a:chOff x="1016000" y="1016000"/>
              <a:chExt cx="396228" cy="396228"/>
            </a:xfrm>
          </p:grpSpPr>
          <p:sp>
            <p:nvSpPr>
              <p:cNvPr id="110" name="Oval 109">
                <a:extLst>
                  <a:ext uri="{FF2B5EF4-FFF2-40B4-BE49-F238E27FC236}">
                    <a16:creationId xmlns:a16="http://schemas.microsoft.com/office/drawing/2014/main" id="{97B13D1E-9109-40C7-8602-79671060235E}"/>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11" name="Graphic 110">
                <a:extLst>
                  <a:ext uri="{FF2B5EF4-FFF2-40B4-BE49-F238E27FC236}">
                    <a16:creationId xmlns:a16="http://schemas.microsoft.com/office/drawing/2014/main" id="{9713C298-EC59-4122-A98B-6E84FF62918C}"/>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023614" y="1023614"/>
                <a:ext cx="381000" cy="381000"/>
              </a:xfrm>
              <a:prstGeom prst="rect">
                <a:avLst/>
              </a:prstGeom>
            </p:spPr>
          </p:pic>
        </p:grpSp>
        <p:sp>
          <p:nvSpPr>
            <p:cNvPr id="112" name="TextBox 111">
              <a:extLst>
                <a:ext uri="{FF2B5EF4-FFF2-40B4-BE49-F238E27FC236}">
                  <a16:creationId xmlns:a16="http://schemas.microsoft.com/office/drawing/2014/main" id="{AD1406F8-4661-4248-8773-B660B7776C2B}"/>
                </a:ext>
              </a:extLst>
            </p:cNvPr>
            <p:cNvSpPr txBox="1"/>
            <p:nvPr/>
          </p:nvSpPr>
          <p:spPr>
            <a:xfrm>
              <a:off x="3512311" y="5199292"/>
              <a:ext cx="2337799" cy="479530"/>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Minimized opposition due to remote locations</a:t>
              </a:r>
            </a:p>
          </p:txBody>
        </p:sp>
      </p:grpSp>
      <p:grpSp>
        <p:nvGrpSpPr>
          <p:cNvPr id="123" name="Group 122">
            <a:extLst>
              <a:ext uri="{FF2B5EF4-FFF2-40B4-BE49-F238E27FC236}">
                <a16:creationId xmlns:a16="http://schemas.microsoft.com/office/drawing/2014/main" id="{0194005B-D523-446D-85CA-40EF4BFBEB28}"/>
              </a:ext>
            </a:extLst>
          </p:cNvPr>
          <p:cNvGrpSpPr/>
          <p:nvPr/>
        </p:nvGrpSpPr>
        <p:grpSpPr>
          <a:xfrm>
            <a:off x="3238501" y="4739280"/>
            <a:ext cx="2611609" cy="480131"/>
            <a:chOff x="3238501" y="5648770"/>
            <a:chExt cx="2611609" cy="479530"/>
          </a:xfrm>
        </p:grpSpPr>
        <p:grpSp>
          <p:nvGrpSpPr>
            <p:cNvPr id="113" name="CheckmarkBlue 106">
              <a:extLst>
                <a:ext uri="{FF2B5EF4-FFF2-40B4-BE49-F238E27FC236}">
                  <a16:creationId xmlns:a16="http://schemas.microsoft.com/office/drawing/2014/main" id="{CDFB78B2-7660-415B-9B20-58F68D55B4FA}"/>
                </a:ext>
              </a:extLst>
            </p:cNvPr>
            <p:cNvGrpSpPr>
              <a:grpSpLocks noChangeAspect="1"/>
            </p:cNvGrpSpPr>
            <p:nvPr>
              <p:custDataLst>
                <p:tags r:id="rId15"/>
              </p:custDataLst>
            </p:nvPr>
          </p:nvGrpSpPr>
          <p:grpSpPr>
            <a:xfrm>
              <a:off x="3238501" y="5671412"/>
              <a:ext cx="268648" cy="268648"/>
              <a:chOff x="1016000" y="1016000"/>
              <a:chExt cx="396228" cy="396228"/>
            </a:xfrm>
          </p:grpSpPr>
          <p:sp>
            <p:nvSpPr>
              <p:cNvPr id="114" name="Oval 113">
                <a:extLst>
                  <a:ext uri="{FF2B5EF4-FFF2-40B4-BE49-F238E27FC236}">
                    <a16:creationId xmlns:a16="http://schemas.microsoft.com/office/drawing/2014/main" id="{DF70ECE0-CF28-481E-ADB9-F052536C5007}"/>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15" name="Graphic 114">
                <a:extLst>
                  <a:ext uri="{FF2B5EF4-FFF2-40B4-BE49-F238E27FC236}">
                    <a16:creationId xmlns:a16="http://schemas.microsoft.com/office/drawing/2014/main" id="{4D3FC6F2-DC01-4825-BBF4-B78E01224B91}"/>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023614" y="1023614"/>
                <a:ext cx="381000" cy="381000"/>
              </a:xfrm>
              <a:prstGeom prst="rect">
                <a:avLst/>
              </a:prstGeom>
            </p:spPr>
          </p:pic>
        </p:grpSp>
        <p:sp>
          <p:nvSpPr>
            <p:cNvPr id="116" name="TextBox 115">
              <a:extLst>
                <a:ext uri="{FF2B5EF4-FFF2-40B4-BE49-F238E27FC236}">
                  <a16:creationId xmlns:a16="http://schemas.microsoft.com/office/drawing/2014/main" id="{54D0E05A-5009-4FFC-8D48-D6EC5891D736}"/>
                </a:ext>
              </a:extLst>
            </p:cNvPr>
            <p:cNvSpPr txBox="1"/>
            <p:nvPr/>
          </p:nvSpPr>
          <p:spPr>
            <a:xfrm>
              <a:off x="3512311" y="5648770"/>
              <a:ext cx="2337799" cy="479530"/>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Recent reduction on mining export taxes</a:t>
              </a:r>
            </a:p>
          </p:txBody>
        </p:sp>
      </p:grpSp>
      <p:sp>
        <p:nvSpPr>
          <p:cNvPr id="125" name="BigStat 100">
            <a:extLst>
              <a:ext uri="{FF2B5EF4-FFF2-40B4-BE49-F238E27FC236}">
                <a16:creationId xmlns:a16="http://schemas.microsoft.com/office/drawing/2014/main" id="{736CED63-F3F0-44DC-B584-A0313FAB62CE}"/>
              </a:ext>
            </a:extLst>
          </p:cNvPr>
          <p:cNvSpPr txBox="1"/>
          <p:nvPr>
            <p:custDataLst>
              <p:tags r:id="rId3"/>
            </p:custDataLst>
          </p:nvPr>
        </p:nvSpPr>
        <p:spPr>
          <a:xfrm>
            <a:off x="6214475" y="1949450"/>
            <a:ext cx="2737848" cy="923330"/>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12</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Industrial scale gold mines currently operating</a:t>
            </a:r>
          </a:p>
        </p:txBody>
      </p:sp>
      <p:sp>
        <p:nvSpPr>
          <p:cNvPr id="126" name="BigStat 100">
            <a:extLst>
              <a:ext uri="{FF2B5EF4-FFF2-40B4-BE49-F238E27FC236}">
                <a16:creationId xmlns:a16="http://schemas.microsoft.com/office/drawing/2014/main" id="{66EC6B8E-22E3-4645-B336-AEDE2ADDC866}"/>
              </a:ext>
            </a:extLst>
          </p:cNvPr>
          <p:cNvSpPr txBox="1"/>
          <p:nvPr>
            <p:custDataLst>
              <p:tags r:id="rId4"/>
            </p:custDataLst>
          </p:nvPr>
        </p:nvSpPr>
        <p:spPr>
          <a:xfrm>
            <a:off x="6214475" y="2863463"/>
            <a:ext cx="2737848" cy="728663"/>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1.2 </a:t>
            </a:r>
            <a:r>
              <a:rPr kumimoji="0" lang="en-US" sz="3200" b="1" i="0" u="none" strike="noStrike" kern="1200" cap="none" spc="0" normalizeH="0" baseline="0" noProof="0" dirty="0" err="1">
                <a:ln>
                  <a:noFill/>
                </a:ln>
                <a:solidFill>
                  <a:srgbClr val="B39759"/>
                </a:solidFill>
                <a:effectLst/>
                <a:uLnTx/>
                <a:uFillTx/>
                <a:latin typeface="Calibri Light" panose="020F0302020204030204"/>
                <a:ea typeface="+mn-ea"/>
                <a:cs typeface="Calibri" panose="020F0502020204030204" pitchFamily="34" charset="0"/>
              </a:rPr>
              <a:t>Moz</a:t>
            </a: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 (12%)</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Gold production (growth 21-22)</a:t>
            </a:r>
          </a:p>
        </p:txBody>
      </p:sp>
      <p:sp>
        <p:nvSpPr>
          <p:cNvPr id="144" name="TextBox 143">
            <a:extLst>
              <a:ext uri="{FF2B5EF4-FFF2-40B4-BE49-F238E27FC236}">
                <a16:creationId xmlns:a16="http://schemas.microsoft.com/office/drawing/2014/main" id="{E8106E64-E8A4-4E6C-8094-05F333F3310F}"/>
              </a:ext>
            </a:extLst>
          </p:cNvPr>
          <p:cNvSpPr txBox="1"/>
          <p:nvPr/>
        </p:nvSpPr>
        <p:spPr>
          <a:xfrm>
            <a:off x="8953499" y="1608372"/>
            <a:ext cx="2870021" cy="3280898"/>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28600" marR="0" lvl="0" indent="-2286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Recurring inflation and currency crises</a:t>
            </a:r>
            <a:endParaRPr kumimoji="0" lang="en-US" sz="16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a:p>
            <a:pPr marL="228600" marR="0" lvl="0" indent="-2286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Current regulation </a:t>
            </a:r>
            <a:r>
              <a:rPr kumimoji="0" lang="en-US" sz="1600" b="1"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presents a challenge for business building and foreign investment </a:t>
            </a:r>
          </a:p>
          <a:p>
            <a:pPr marL="228600" marR="0" lvl="0" indent="-2286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Mining community and government support vary widely </a:t>
            </a:r>
            <a:r>
              <a:rPr kumimoji="0" lang="en-US" sz="16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across provinces</a:t>
            </a:r>
          </a:p>
          <a:p>
            <a:pPr marL="228600" marR="0" lvl="0" indent="-2286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Potential </a:t>
            </a:r>
            <a:r>
              <a:rPr kumimoji="0" lang="en-US" sz="1600" b="1"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water scarcity issues </a:t>
            </a:r>
            <a:r>
              <a:rPr kumimoji="0" lang="en-US" sz="16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in the future</a:t>
            </a:r>
          </a:p>
          <a:p>
            <a:pPr marL="228600" marR="0" lvl="0" indent="-2286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Labor unions</a:t>
            </a:r>
            <a:r>
              <a:rPr kumimoji="0" lang="en-US" sz="16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 could pose an operational and cost risk</a:t>
            </a:r>
          </a:p>
        </p:txBody>
      </p:sp>
      <p:cxnSp>
        <p:nvCxnSpPr>
          <p:cNvPr id="150" name="LineContentSeparatorDefault 150">
            <a:extLst>
              <a:ext uri="{FF2B5EF4-FFF2-40B4-BE49-F238E27FC236}">
                <a16:creationId xmlns:a16="http://schemas.microsoft.com/office/drawing/2014/main" id="{74B6E49E-3407-4E23-92E6-CE2E3937239F}"/>
              </a:ext>
            </a:extLst>
          </p:cNvPr>
          <p:cNvCxnSpPr>
            <a:cxnSpLocks/>
          </p:cNvCxnSpPr>
          <p:nvPr>
            <p:custDataLst>
              <p:tags r:id="rId5"/>
            </p:custDataLst>
          </p:nvPr>
        </p:nvCxnSpPr>
        <p:spPr>
          <a:xfrm>
            <a:off x="262527" y="1566863"/>
            <a:ext cx="2394947" cy="0"/>
          </a:xfrm>
          <a:prstGeom prst="straightConnector1">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2" name="LineContentSeparatorDefault 150">
            <a:extLst>
              <a:ext uri="{FF2B5EF4-FFF2-40B4-BE49-F238E27FC236}">
                <a16:creationId xmlns:a16="http://schemas.microsoft.com/office/drawing/2014/main" id="{10A2A179-A986-464E-992D-7F7C71DADDAE}"/>
              </a:ext>
            </a:extLst>
          </p:cNvPr>
          <p:cNvCxnSpPr>
            <a:cxnSpLocks/>
          </p:cNvCxnSpPr>
          <p:nvPr>
            <p:custDataLst>
              <p:tags r:id="rId6"/>
            </p:custDataLst>
          </p:nvPr>
        </p:nvCxnSpPr>
        <p:spPr>
          <a:xfrm>
            <a:off x="3238501" y="1566863"/>
            <a:ext cx="5495924" cy="0"/>
          </a:xfrm>
          <a:prstGeom prst="straightConnector1">
            <a:avLst/>
          </a:prstGeom>
          <a:ln w="6350">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154" name="LineContentSeparatorDefault 150">
            <a:extLst>
              <a:ext uri="{FF2B5EF4-FFF2-40B4-BE49-F238E27FC236}">
                <a16:creationId xmlns:a16="http://schemas.microsoft.com/office/drawing/2014/main" id="{5DD69DFA-90AE-4BC4-B32C-7D033758F7AF}"/>
              </a:ext>
            </a:extLst>
          </p:cNvPr>
          <p:cNvCxnSpPr>
            <a:cxnSpLocks/>
          </p:cNvCxnSpPr>
          <p:nvPr>
            <p:custDataLst>
              <p:tags r:id="rId7"/>
            </p:custDataLst>
          </p:nvPr>
        </p:nvCxnSpPr>
        <p:spPr>
          <a:xfrm>
            <a:off x="8953500" y="1566863"/>
            <a:ext cx="2870021" cy="0"/>
          </a:xfrm>
          <a:prstGeom prst="straightConnector1">
            <a:avLst/>
          </a:prstGeom>
          <a:ln w="6350">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nvGrpSpPr>
          <p:cNvPr id="158" name="ChevronWhite 158">
            <a:extLst>
              <a:ext uri="{FF2B5EF4-FFF2-40B4-BE49-F238E27FC236}">
                <a16:creationId xmlns:a16="http://schemas.microsoft.com/office/drawing/2014/main" id="{7A57A53C-82A1-4767-B284-15634A46B7E3}"/>
              </a:ext>
            </a:extLst>
          </p:cNvPr>
          <p:cNvGrpSpPr>
            <a:grpSpLocks noChangeAspect="1"/>
          </p:cNvGrpSpPr>
          <p:nvPr>
            <p:custDataLst>
              <p:tags r:id="rId8"/>
            </p:custDataLst>
          </p:nvPr>
        </p:nvGrpSpPr>
        <p:grpSpPr>
          <a:xfrm>
            <a:off x="2839392" y="1385889"/>
            <a:ext cx="303213" cy="303213"/>
            <a:chOff x="1016000" y="1016000"/>
            <a:chExt cx="396228" cy="396228"/>
          </a:xfrm>
        </p:grpSpPr>
        <p:sp>
          <p:nvSpPr>
            <p:cNvPr id="155" name="Oval 154">
              <a:extLst>
                <a:ext uri="{FF2B5EF4-FFF2-40B4-BE49-F238E27FC236}">
                  <a16:creationId xmlns:a16="http://schemas.microsoft.com/office/drawing/2014/main" id="{AA98363E-41C0-4689-B779-4AC4E4884E0F}"/>
                </a:ext>
              </a:extLst>
            </p:cNvPr>
            <p:cNvSpPr/>
            <p:nvPr/>
          </p:nvSpPr>
          <p:spPr>
            <a:xfrm>
              <a:off x="1016000" y="1016000"/>
              <a:ext cx="396228" cy="396228"/>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57" name="Graphic 156">
              <a:extLst>
                <a:ext uri="{FF2B5EF4-FFF2-40B4-BE49-F238E27FC236}">
                  <a16:creationId xmlns:a16="http://schemas.microsoft.com/office/drawing/2014/main" id="{B037DC85-89A7-424E-9471-A1BFB5820EFB}"/>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1023614" y="1023614"/>
              <a:ext cx="381000" cy="381000"/>
            </a:xfrm>
            <a:prstGeom prst="rect">
              <a:avLst/>
            </a:prstGeom>
          </p:spPr>
        </p:pic>
      </p:grpSp>
      <p:grpSp>
        <p:nvGrpSpPr>
          <p:cNvPr id="160" name="ChevronWhite 158">
            <a:extLst>
              <a:ext uri="{FF2B5EF4-FFF2-40B4-BE49-F238E27FC236}">
                <a16:creationId xmlns:a16="http://schemas.microsoft.com/office/drawing/2014/main" id="{68E623C4-99D7-446A-843A-91B9BDFEA093}"/>
              </a:ext>
            </a:extLst>
          </p:cNvPr>
          <p:cNvGrpSpPr>
            <a:grpSpLocks noChangeAspect="1"/>
          </p:cNvGrpSpPr>
          <p:nvPr>
            <p:custDataLst>
              <p:tags r:id="rId9"/>
            </p:custDataLst>
          </p:nvPr>
        </p:nvGrpSpPr>
        <p:grpSpPr>
          <a:xfrm>
            <a:off x="8669338" y="1385889"/>
            <a:ext cx="303213" cy="303213"/>
            <a:chOff x="1016000" y="1016000"/>
            <a:chExt cx="396228" cy="396228"/>
          </a:xfrm>
          <a:solidFill>
            <a:schemeClr val="accent3"/>
          </a:solidFill>
        </p:grpSpPr>
        <p:sp>
          <p:nvSpPr>
            <p:cNvPr id="161" name="Oval 160">
              <a:extLst>
                <a:ext uri="{FF2B5EF4-FFF2-40B4-BE49-F238E27FC236}">
                  <a16:creationId xmlns:a16="http://schemas.microsoft.com/office/drawing/2014/main" id="{44825ED7-26B2-411C-A881-AAFCC0FD9CB9}"/>
                </a:ext>
              </a:extLst>
            </p:cNvPr>
            <p:cNvSpPr/>
            <p:nvPr/>
          </p:nvSpPr>
          <p:spPr>
            <a:xfrm>
              <a:off x="1016000" y="1016000"/>
              <a:ext cx="396228" cy="396228"/>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62" name="Graphic 161">
              <a:extLst>
                <a:ext uri="{FF2B5EF4-FFF2-40B4-BE49-F238E27FC236}">
                  <a16:creationId xmlns:a16="http://schemas.microsoft.com/office/drawing/2014/main" id="{9795E4CD-0104-494F-8ED1-D0068D57A764}"/>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023614" y="1023614"/>
              <a:ext cx="381000" cy="381000"/>
            </a:xfrm>
            <a:prstGeom prst="rect">
              <a:avLst/>
            </a:prstGeom>
          </p:spPr>
        </p:pic>
      </p:grpSp>
      <p:pic>
        <p:nvPicPr>
          <p:cNvPr id="164" name="Picture 163">
            <a:extLst>
              <a:ext uri="{FF2B5EF4-FFF2-40B4-BE49-F238E27FC236}">
                <a16:creationId xmlns:a16="http://schemas.microsoft.com/office/drawing/2014/main" id="{C08644D0-F3E7-4FD7-A025-99B29EDF625E}"/>
              </a:ext>
            </a:extLst>
          </p:cNvPr>
          <p:cNvPicPr>
            <a:picLocks noChangeAspect="1"/>
          </p:cNvPicPr>
          <p:nvPr>
            <p:custDataLst>
              <p:tags r:id="rId10"/>
            </p:custDataLst>
          </p:nvPr>
        </p:nvPicPr>
        <p:blipFill rotWithShape="1">
          <a:blip r:embed="rId28" cstate="print">
            <a:extLst>
              <a:ext uri="{28A0092B-C50C-407E-A947-70E740481C1C}">
                <a14:useLocalDpi xmlns:a14="http://schemas.microsoft.com/office/drawing/2010/main"/>
              </a:ext>
            </a:extLst>
          </a:blip>
          <a:srcRect/>
          <a:stretch/>
        </p:blipFill>
        <p:spPr>
          <a:xfrm flipH="1">
            <a:off x="8589371" y="4692650"/>
            <a:ext cx="3601355" cy="2028825"/>
          </a:xfrm>
          <a:prstGeom prst="rect">
            <a:avLst/>
          </a:prstGeom>
        </p:spPr>
      </p:pic>
      <p:sp>
        <p:nvSpPr>
          <p:cNvPr id="184" name="BigStat 100">
            <a:extLst>
              <a:ext uri="{FF2B5EF4-FFF2-40B4-BE49-F238E27FC236}">
                <a16:creationId xmlns:a16="http://schemas.microsoft.com/office/drawing/2014/main" id="{41138818-1B86-4B56-90FC-10CF426CCC63}"/>
              </a:ext>
            </a:extLst>
          </p:cNvPr>
          <p:cNvSpPr txBox="1"/>
          <p:nvPr>
            <p:custDataLst>
              <p:tags r:id="rId11"/>
            </p:custDataLst>
          </p:nvPr>
        </p:nvSpPr>
        <p:spPr>
          <a:xfrm>
            <a:off x="6214475" y="3582809"/>
            <a:ext cx="2737848" cy="923925"/>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1</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Gold projects </a:t>
            </a: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expected</a:t>
            </a:r>
            <a:r>
              <a:rPr kumimoji="0" lang="en-US" sz="1400" b="0" i="0" u="none" strike="noStrike" kern="1200" cap="none" spc="0" normalizeH="0" baseline="0" noProof="0" dirty="0">
                <a:ln>
                  <a:noFill/>
                </a:ln>
                <a:solidFill>
                  <a:srgbClr val="FF0000"/>
                </a:solidFill>
                <a:effectLst/>
                <a:uLnTx/>
                <a:uFillTx/>
                <a:latin typeface="Calibri" panose="020F0502020204030204"/>
                <a:ea typeface="+mn-ea"/>
                <a:cs typeface="Calibri" panose="020F0502020204030204" pitchFamily="34" charset="0"/>
              </a:rPr>
              <a:t> </a:t>
            </a: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to be launched prior to 2030</a:t>
            </a:r>
          </a:p>
        </p:txBody>
      </p:sp>
      <p:sp>
        <p:nvSpPr>
          <p:cNvPr id="204" name="BigStat 100">
            <a:extLst>
              <a:ext uri="{FF2B5EF4-FFF2-40B4-BE49-F238E27FC236}">
                <a16:creationId xmlns:a16="http://schemas.microsoft.com/office/drawing/2014/main" id="{954B7A5F-DAEB-4A83-84A4-D077F6763C99}"/>
              </a:ext>
            </a:extLst>
          </p:cNvPr>
          <p:cNvSpPr txBox="1"/>
          <p:nvPr>
            <p:custDataLst>
              <p:tags r:id="rId12"/>
            </p:custDataLst>
          </p:nvPr>
        </p:nvSpPr>
        <p:spPr>
          <a:xfrm>
            <a:off x="6214475" y="4497416"/>
            <a:ext cx="2737848" cy="729430"/>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20 / 54 </a:t>
            </a:r>
            <a:r>
              <a:rPr kumimoji="0" lang="en-US" sz="3200" b="1" i="0" u="none" strike="noStrike" kern="1200" cap="none" spc="0" normalizeH="0" baseline="0" noProof="0" dirty="0" err="1">
                <a:ln>
                  <a:noFill/>
                </a:ln>
                <a:solidFill>
                  <a:srgbClr val="B39759"/>
                </a:solidFill>
                <a:effectLst/>
                <a:uLnTx/>
                <a:uFillTx/>
                <a:latin typeface="Calibri Light" panose="020F0302020204030204"/>
                <a:ea typeface="+mn-ea"/>
                <a:cs typeface="Calibri" panose="020F0502020204030204" pitchFamily="34" charset="0"/>
              </a:rPr>
              <a:t>Moz</a:t>
            </a:r>
            <a:endPar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endParaRP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Gold reserves / Gold R&amp;R</a:t>
            </a:r>
          </a:p>
        </p:txBody>
      </p:sp>
      <p:pic>
        <p:nvPicPr>
          <p:cNvPr id="41" name="Picture 40">
            <a:extLst>
              <a:ext uri="{FF2B5EF4-FFF2-40B4-BE49-F238E27FC236}">
                <a16:creationId xmlns:a16="http://schemas.microsoft.com/office/drawing/2014/main" id="{9E4579AC-6340-7ED5-F4A4-352E8AD3AEFA}"/>
              </a:ext>
            </a:extLst>
          </p:cNvPr>
          <p:cNvPicPr>
            <a:picLocks/>
          </p:cNvPicPr>
          <p:nvPr/>
        </p:nvPicPr>
        <p:blipFill rotWithShape="1">
          <a:blip r:embed="rId29" cstate="screen">
            <a:extLst>
              <a:ext uri="{28A0092B-C50C-407E-A947-70E740481C1C}">
                <a14:useLocalDpi xmlns:a14="http://schemas.microsoft.com/office/drawing/2010/main"/>
              </a:ext>
            </a:extLst>
          </a:blip>
          <a:srcRect/>
          <a:stretch/>
        </p:blipFill>
        <p:spPr>
          <a:xfrm>
            <a:off x="8762207" y="358581"/>
            <a:ext cx="604510" cy="604510"/>
          </a:xfrm>
          <a:prstGeom prst="ellipse">
            <a:avLst/>
          </a:prstGeom>
          <a:ln>
            <a:solidFill>
              <a:srgbClr val="CCCCCC"/>
            </a:solidFill>
          </a:ln>
        </p:spPr>
      </p:pic>
      <p:sp>
        <p:nvSpPr>
          <p:cNvPr id="22" name="Title 1">
            <a:extLst>
              <a:ext uri="{FF2B5EF4-FFF2-40B4-BE49-F238E27FC236}">
                <a16:creationId xmlns:a16="http://schemas.microsoft.com/office/drawing/2014/main" id="{E4977599-54D1-C144-0F30-43F9152D2F14}"/>
              </a:ext>
            </a:extLst>
          </p:cNvPr>
          <p:cNvSpPr txBox="1">
            <a:spLocks/>
          </p:cNvSpPr>
          <p:nvPr/>
        </p:nvSpPr>
        <p:spPr>
          <a:xfrm>
            <a:off x="262527" y="175755"/>
            <a:ext cx="8326844" cy="75713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ctr" anchorCtr="0">
            <a:spAutoFit/>
          </a:bodyPr>
          <a:lstStyle>
            <a:lvl1pPr algn="l" defTabSz="914400" rtl="0" eaLnBrk="1" latinLnBrk="0" hangingPunct="1">
              <a:lnSpc>
                <a:spcPct val="90000"/>
              </a:lnSpc>
              <a:spcBef>
                <a:spcPct val="0"/>
              </a:spcBef>
              <a:buNone/>
              <a:defRPr sz="3200" b="1" i="0" kern="1200">
                <a:solidFill>
                  <a:srgbClr val="002060"/>
                </a:solidFill>
                <a:latin typeface="Calibri" panose="020F0502020204030204" pitchFamily="34" charset="0"/>
                <a:ea typeface="+mj-ea"/>
                <a:cs typeface="Calibri" panose="020F050202020403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Calibri" panose="020F0502020204030204" pitchFamily="34" charset="0"/>
                <a:ea typeface="+mj-ea"/>
                <a:cs typeface="Calibri" panose="020F0502020204030204" pitchFamily="34" charset="0"/>
              </a:rPr>
              <a:t>Selected Argentinian provinces are attractive options for mining investment despite the economic challenges in the country</a:t>
            </a:r>
            <a:endParaRPr kumimoji="0" lang="en-CA" sz="2400" b="1" i="0" u="none" strike="noStrike" kern="1200" cap="none" spc="0" normalizeH="0" baseline="0" noProof="0" dirty="0">
              <a:ln>
                <a:noFill/>
              </a:ln>
              <a:solidFill>
                <a:srgbClr val="002060"/>
              </a:solidFill>
              <a:effectLst/>
              <a:uLnTx/>
              <a:uFillTx/>
              <a:latin typeface="Calibri" panose="020F0502020204030204" pitchFamily="34" charset="0"/>
              <a:ea typeface="+mj-ea"/>
              <a:cs typeface="Calibri" panose="020F0502020204030204" pitchFamily="34" charset="0"/>
            </a:endParaRPr>
          </a:p>
        </p:txBody>
      </p:sp>
      <p:sp>
        <p:nvSpPr>
          <p:cNvPr id="24" name="TextBox 23">
            <a:extLst>
              <a:ext uri="{FF2B5EF4-FFF2-40B4-BE49-F238E27FC236}">
                <a16:creationId xmlns:a16="http://schemas.microsoft.com/office/drawing/2014/main" id="{487EEC65-4695-0261-D4EB-2545BE19569B}"/>
              </a:ext>
            </a:extLst>
          </p:cNvPr>
          <p:cNvSpPr txBox="1"/>
          <p:nvPr/>
        </p:nvSpPr>
        <p:spPr>
          <a:xfrm>
            <a:off x="262527" y="820969"/>
            <a:ext cx="4064000" cy="286232"/>
          </a:xfrm>
          <a:prstGeom prst="rect">
            <a:avLst/>
          </a:prstGeom>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mn-cs"/>
              </a:rPr>
              <a:t>Argentina executive summary</a:t>
            </a:r>
          </a:p>
        </p:txBody>
      </p:sp>
      <p:sp>
        <p:nvSpPr>
          <p:cNvPr id="3" name="BigStat 100">
            <a:extLst>
              <a:ext uri="{FF2B5EF4-FFF2-40B4-BE49-F238E27FC236}">
                <a16:creationId xmlns:a16="http://schemas.microsoft.com/office/drawing/2014/main" id="{7FDE03F7-4FC0-F434-AFBE-CA071652CE53}"/>
              </a:ext>
            </a:extLst>
          </p:cNvPr>
          <p:cNvSpPr txBox="1"/>
          <p:nvPr>
            <p:custDataLst>
              <p:tags r:id="rId13"/>
            </p:custDataLst>
          </p:nvPr>
        </p:nvSpPr>
        <p:spPr>
          <a:xfrm>
            <a:off x="3238501" y="2949537"/>
            <a:ext cx="2737848" cy="757238"/>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500</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Mining operations &amp; projects</a:t>
            </a:r>
          </a:p>
        </p:txBody>
      </p:sp>
      <p:sp>
        <p:nvSpPr>
          <p:cNvPr id="15" name="TextBox 14">
            <a:extLst>
              <a:ext uri="{FF2B5EF4-FFF2-40B4-BE49-F238E27FC236}">
                <a16:creationId xmlns:a16="http://schemas.microsoft.com/office/drawing/2014/main" id="{C2FACA38-5C1F-3AE8-CF63-1C7CF72EBB79}"/>
              </a:ext>
            </a:extLst>
          </p:cNvPr>
          <p:cNvSpPr txBox="1"/>
          <p:nvPr/>
        </p:nvSpPr>
        <p:spPr>
          <a:xfrm>
            <a:off x="6214475" y="5339275"/>
            <a:ext cx="2394947" cy="258532"/>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Top gold miners</a:t>
            </a:r>
          </a:p>
        </p:txBody>
      </p:sp>
      <p:sp>
        <p:nvSpPr>
          <p:cNvPr id="27" name="TextBox 26">
            <a:extLst>
              <a:ext uri="{FF2B5EF4-FFF2-40B4-BE49-F238E27FC236}">
                <a16:creationId xmlns:a16="http://schemas.microsoft.com/office/drawing/2014/main" id="{3D1D25E1-5FA1-1023-0B76-45A63F58563F}"/>
              </a:ext>
            </a:extLst>
          </p:cNvPr>
          <p:cNvSpPr txBox="1"/>
          <p:nvPr/>
        </p:nvSpPr>
        <p:spPr>
          <a:xfrm>
            <a:off x="3244970" y="5335690"/>
            <a:ext cx="2737848" cy="258532"/>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Top players in country</a:t>
            </a:r>
          </a:p>
        </p:txBody>
      </p:sp>
      <p:pic>
        <p:nvPicPr>
          <p:cNvPr id="28" name="Picture 12">
            <a:extLst>
              <a:ext uri="{FF2B5EF4-FFF2-40B4-BE49-F238E27FC236}">
                <a16:creationId xmlns:a16="http://schemas.microsoft.com/office/drawing/2014/main" id="{7AB418A0-2895-B9DF-F4FE-6AC7B8CE2B25}"/>
              </a:ext>
            </a:extLst>
          </p:cNvPr>
          <p:cNvPicPr>
            <a:picLocks noChangeAspect="1" noChangeArrowheads="1"/>
          </p:cNvPicPr>
          <p:nvPr/>
        </p:nvPicPr>
        <p:blipFill rotWithShape="1">
          <a:blip r:embed="rId30" cstate="screen">
            <a:extLst>
              <a:ext uri="{28A0092B-C50C-407E-A947-70E740481C1C}">
                <a14:useLocalDpi xmlns:a14="http://schemas.microsoft.com/office/drawing/2010/main"/>
              </a:ext>
            </a:extLst>
          </a:blip>
          <a:srcRect/>
          <a:stretch/>
        </p:blipFill>
        <p:spPr bwMode="auto">
          <a:xfrm>
            <a:off x="7429523" y="6048132"/>
            <a:ext cx="667386" cy="469641"/>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a:extLst>
              <a:ext uri="{FF2B5EF4-FFF2-40B4-BE49-F238E27FC236}">
                <a16:creationId xmlns:a16="http://schemas.microsoft.com/office/drawing/2014/main" id="{3D5985FF-CA78-67D9-5473-7EC1A3E42698}"/>
              </a:ext>
            </a:extLst>
          </p:cNvPr>
          <p:cNvPicPr>
            <a:picLocks noChangeAspect="1" noChangeArrowheads="1"/>
          </p:cNvPicPr>
          <p:nvPr/>
        </p:nvPicPr>
        <p:blipFill>
          <a:blip r:embed="rId31" cstate="screen">
            <a:extLst>
              <a:ext uri="{28A0092B-C50C-407E-A947-70E740481C1C}">
                <a14:useLocalDpi xmlns:a14="http://schemas.microsoft.com/office/drawing/2010/main"/>
              </a:ext>
            </a:extLst>
          </a:blip>
          <a:srcRect/>
          <a:stretch>
            <a:fillRect/>
          </a:stretch>
        </p:blipFill>
        <p:spPr bwMode="auto">
          <a:xfrm>
            <a:off x="6336406" y="5964338"/>
            <a:ext cx="1007790" cy="203574"/>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6">
            <a:extLst>
              <a:ext uri="{FF2B5EF4-FFF2-40B4-BE49-F238E27FC236}">
                <a16:creationId xmlns:a16="http://schemas.microsoft.com/office/drawing/2014/main" id="{BD3043F3-7142-D4F0-A58E-DC2C7AF74C74}"/>
              </a:ext>
            </a:extLst>
          </p:cNvPr>
          <p:cNvPicPr>
            <a:picLocks noChangeAspect="1" noChangeArrowheads="1"/>
          </p:cNvPicPr>
          <p:nvPr/>
        </p:nvPicPr>
        <p:blipFill rotWithShape="1">
          <a:blip r:embed="rId32" cstate="print">
            <a:extLst>
              <a:ext uri="{28A0092B-C50C-407E-A947-70E740481C1C}">
                <a14:useLocalDpi xmlns:a14="http://schemas.microsoft.com/office/drawing/2010/main"/>
              </a:ext>
            </a:extLst>
          </a:blip>
          <a:srcRect t="35013" b="42388"/>
          <a:stretch/>
        </p:blipFill>
        <p:spPr bwMode="auto">
          <a:xfrm>
            <a:off x="4301219" y="5647225"/>
            <a:ext cx="1462302" cy="330472"/>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12">
            <a:extLst>
              <a:ext uri="{FF2B5EF4-FFF2-40B4-BE49-F238E27FC236}">
                <a16:creationId xmlns:a16="http://schemas.microsoft.com/office/drawing/2014/main" id="{B011918F-9B96-1B1D-1B4F-3113F8B6825E}"/>
              </a:ext>
            </a:extLst>
          </p:cNvPr>
          <p:cNvPicPr>
            <a:picLocks noChangeAspect="1" noChangeArrowheads="1"/>
          </p:cNvPicPr>
          <p:nvPr/>
        </p:nvPicPr>
        <p:blipFill rotWithShape="1">
          <a:blip r:embed="rId30" cstate="screen">
            <a:extLst>
              <a:ext uri="{28A0092B-C50C-407E-A947-70E740481C1C}">
                <a14:useLocalDpi xmlns:a14="http://schemas.microsoft.com/office/drawing/2010/main"/>
              </a:ext>
            </a:extLst>
          </a:blip>
          <a:srcRect/>
          <a:stretch/>
        </p:blipFill>
        <p:spPr bwMode="auto">
          <a:xfrm>
            <a:off x="3389380" y="5657698"/>
            <a:ext cx="667386" cy="469641"/>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4">
            <a:extLst>
              <a:ext uri="{FF2B5EF4-FFF2-40B4-BE49-F238E27FC236}">
                <a16:creationId xmlns:a16="http://schemas.microsoft.com/office/drawing/2014/main" id="{E7853ABB-D0D3-3135-ADC2-9DC1A257EC69}"/>
              </a:ext>
            </a:extLst>
          </p:cNvPr>
          <p:cNvPicPr>
            <a:picLocks noChangeAspect="1" noChangeArrowheads="1"/>
          </p:cNvPicPr>
          <p:nvPr/>
        </p:nvPicPr>
        <p:blipFill rotWithShape="1">
          <a:blip r:embed="rId33" cstate="screen">
            <a:extLst>
              <a:ext uri="{28A0092B-C50C-407E-A947-70E740481C1C}">
                <a14:useLocalDpi xmlns:a14="http://schemas.microsoft.com/office/drawing/2010/main"/>
              </a:ext>
            </a:extLst>
          </a:blip>
          <a:srcRect l="11288" t="26488" r="7863" b="33979"/>
          <a:stretch/>
        </p:blipFill>
        <p:spPr bwMode="auto">
          <a:xfrm>
            <a:off x="3389070" y="6112927"/>
            <a:ext cx="1385394" cy="352871"/>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2">
            <a:extLst>
              <a:ext uri="{FF2B5EF4-FFF2-40B4-BE49-F238E27FC236}">
                <a16:creationId xmlns:a16="http://schemas.microsoft.com/office/drawing/2014/main" id="{C45EFC06-844A-A400-86B7-6F42DEB84E8A}"/>
              </a:ext>
            </a:extLst>
          </p:cNvPr>
          <p:cNvPicPr>
            <a:picLocks noChangeAspect="1" noChangeArrowheads="1"/>
          </p:cNvPicPr>
          <p:nvPr/>
        </p:nvPicPr>
        <p:blipFill>
          <a:blip r:embed="rId34" cstate="screen">
            <a:extLst>
              <a:ext uri="{28A0092B-C50C-407E-A947-70E740481C1C}">
                <a14:useLocalDpi xmlns:a14="http://schemas.microsoft.com/office/drawing/2010/main"/>
              </a:ext>
            </a:extLst>
          </a:blip>
          <a:srcRect/>
          <a:stretch>
            <a:fillRect/>
          </a:stretch>
        </p:blipFill>
        <p:spPr bwMode="auto">
          <a:xfrm>
            <a:off x="6335603" y="5611926"/>
            <a:ext cx="1457524" cy="289766"/>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10">
            <a:extLst>
              <a:ext uri="{FF2B5EF4-FFF2-40B4-BE49-F238E27FC236}">
                <a16:creationId xmlns:a16="http://schemas.microsoft.com/office/drawing/2014/main" id="{1BCBC206-F3CF-5194-0B01-E0B8EC4773BF}"/>
              </a:ext>
            </a:extLst>
          </p:cNvPr>
          <p:cNvPicPr>
            <a:picLocks noChangeAspect="1" noChangeArrowheads="1"/>
          </p:cNvPicPr>
          <p:nvPr/>
        </p:nvPicPr>
        <p:blipFill rotWithShape="1">
          <a:blip r:embed="rId35" cstate="screen">
            <a:extLst>
              <a:ext uri="{28A0092B-C50C-407E-A947-70E740481C1C}">
                <a14:useLocalDpi xmlns:a14="http://schemas.microsoft.com/office/drawing/2010/main"/>
              </a:ext>
            </a:extLst>
          </a:blip>
          <a:srcRect l="13223" t="33704" r="11201" b="35957"/>
          <a:stretch/>
        </p:blipFill>
        <p:spPr bwMode="auto">
          <a:xfrm>
            <a:off x="6252492" y="6330937"/>
            <a:ext cx="796688" cy="166593"/>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
            <a:extLst>
              <a:ext uri="{FF2B5EF4-FFF2-40B4-BE49-F238E27FC236}">
                <a16:creationId xmlns:a16="http://schemas.microsoft.com/office/drawing/2014/main" id="{50105B49-4C4D-AD30-1B01-8D4AC55CC417}"/>
              </a:ext>
            </a:extLst>
          </p:cNvPr>
          <p:cNvPicPr>
            <a:picLocks noChangeAspect="1" noChangeArrowheads="1"/>
          </p:cNvPicPr>
          <p:nvPr/>
        </p:nvPicPr>
        <p:blipFill>
          <a:blip r:embed="rId36" cstate="screen">
            <a:extLst>
              <a:ext uri="{28A0092B-C50C-407E-A947-70E740481C1C}">
                <a14:useLocalDpi xmlns:a14="http://schemas.microsoft.com/office/drawing/2010/main"/>
              </a:ext>
            </a:extLst>
          </a:blip>
          <a:srcRect/>
          <a:stretch>
            <a:fillRect/>
          </a:stretch>
        </p:blipFill>
        <p:spPr bwMode="auto">
          <a:xfrm>
            <a:off x="7901560" y="5677171"/>
            <a:ext cx="792305" cy="412712"/>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6">
            <a:extLst>
              <a:ext uri="{FF2B5EF4-FFF2-40B4-BE49-F238E27FC236}">
                <a16:creationId xmlns:a16="http://schemas.microsoft.com/office/drawing/2014/main" id="{201C60B1-CF97-05E1-B450-FBFE10FE7C39}"/>
              </a:ext>
            </a:extLst>
          </p:cNvPr>
          <p:cNvPicPr>
            <a:picLocks noChangeAspect="1" noChangeArrowheads="1"/>
          </p:cNvPicPr>
          <p:nvPr/>
        </p:nvPicPr>
        <p:blipFill>
          <a:blip r:embed="rId37" cstate="screen">
            <a:extLst>
              <a:ext uri="{28A0092B-C50C-407E-A947-70E740481C1C}">
                <a14:useLocalDpi xmlns:a14="http://schemas.microsoft.com/office/drawing/2010/main"/>
              </a:ext>
            </a:extLst>
          </a:blip>
          <a:srcRect/>
          <a:stretch>
            <a:fillRect/>
          </a:stretch>
        </p:blipFill>
        <p:spPr bwMode="auto">
          <a:xfrm>
            <a:off x="4809949" y="6139436"/>
            <a:ext cx="1182193" cy="254551"/>
          </a:xfrm>
          <a:prstGeom prst="rect">
            <a:avLst/>
          </a:prstGeom>
          <a:noFill/>
          <a:extLst>
            <a:ext uri="{909E8E84-426E-40DD-AFC4-6F175D3DCCD1}">
              <a14:hiddenFill xmlns:a14="http://schemas.microsoft.com/office/drawing/2010/main">
                <a:solidFill>
                  <a:srgbClr val="FFFFFF"/>
                </a:solidFill>
              </a14:hiddenFill>
            </a:ext>
          </a:extLst>
        </p:spPr>
      </p:pic>
      <p:sp>
        <p:nvSpPr>
          <p:cNvPr id="66" name="5. Source">
            <a:extLst>
              <a:ext uri="{FF2B5EF4-FFF2-40B4-BE49-F238E27FC236}">
                <a16:creationId xmlns:a16="http://schemas.microsoft.com/office/drawing/2014/main" id="{8A5D7902-D641-D9E1-B778-C3214491F97E}"/>
              </a:ext>
            </a:extLst>
          </p:cNvPr>
          <p:cNvSpPr txBox="1"/>
          <p:nvPr>
            <p:custDataLst>
              <p:tags r:id="rId14"/>
            </p:custDataLst>
          </p:nvPr>
        </p:nvSpPr>
        <p:spPr>
          <a:xfrm>
            <a:off x="262528" y="6533620"/>
            <a:ext cx="2582692" cy="184666"/>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6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Source: S&amp;P Global, IBRAM, Americas Market Intelligence, World Bank WDI, IMF (WEO), </a:t>
            </a:r>
            <a:r>
              <a:rPr kumimoji="0" lang="en-US" sz="600" b="0" i="0" u="none" strike="noStrike" kern="1200" cap="none" spc="0" normalizeH="0" baseline="0" noProof="0" dirty="0" err="1">
                <a:ln>
                  <a:noFill/>
                </a:ln>
                <a:solidFill>
                  <a:srgbClr val="FFFFFF"/>
                </a:solidFill>
                <a:effectLst/>
                <a:uLnTx/>
                <a:uFillTx/>
                <a:latin typeface="Calibri" panose="020F0502020204030204" pitchFamily="34" charset="0"/>
                <a:ea typeface="+mn-ea"/>
                <a:cs typeface="Calibri" panose="020F0502020204030204" pitchFamily="34" charset="0"/>
              </a:rPr>
              <a:t>Dentos</a:t>
            </a:r>
            <a:r>
              <a:rPr kumimoji="0" lang="en-US" sz="6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 Global Mining Guide, </a:t>
            </a:r>
            <a:r>
              <a:rPr kumimoji="0" lang="en-US" sz="600" b="0" i="0" u="none" strike="noStrike" kern="1200" cap="none" spc="0" normalizeH="0" baseline="0" noProof="0" dirty="0" err="1">
                <a:ln>
                  <a:noFill/>
                </a:ln>
                <a:solidFill>
                  <a:srgbClr val="FFFFFF"/>
                </a:solidFill>
                <a:effectLst/>
                <a:uLnTx/>
                <a:uFillTx/>
                <a:latin typeface="Calibri" panose="020F0502020204030204" pitchFamily="34" charset="0"/>
                <a:ea typeface="+mn-ea"/>
                <a:cs typeface="Calibri" panose="020F0502020204030204" pitchFamily="34" charset="0"/>
              </a:rPr>
              <a:t>Lexology</a:t>
            </a:r>
            <a:r>
              <a:rPr kumimoji="0" lang="en-US" sz="6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 press search</a:t>
            </a:r>
          </a:p>
        </p:txBody>
      </p:sp>
      <p:sp>
        <p:nvSpPr>
          <p:cNvPr id="68" name="TextBox 67">
            <a:extLst>
              <a:ext uri="{FF2B5EF4-FFF2-40B4-BE49-F238E27FC236}">
                <a16:creationId xmlns:a16="http://schemas.microsoft.com/office/drawing/2014/main" id="{78A2A58A-D02D-8FDB-C96B-43D8B659F6A1}"/>
              </a:ext>
            </a:extLst>
          </p:cNvPr>
          <p:cNvSpPr txBox="1"/>
          <p:nvPr/>
        </p:nvSpPr>
        <p:spPr>
          <a:xfrm>
            <a:off x="206823" y="1940012"/>
            <a:ext cx="2533202" cy="3582519"/>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144000" marR="0" lvl="0" indent="-1440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Mining investment </a:t>
            </a: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rPr>
              <a:t>thrives in Santa Cruz, Salta, and San Juan</a:t>
            </a: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 </a:t>
            </a: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rPr>
              <a:t>thanks to community and government support</a:t>
            </a:r>
          </a:p>
          <a:p>
            <a:pPr marL="144000" marR="0" lvl="0" indent="-1440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rPr>
              <a:t>In other provinces, </a:t>
            </a: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rPr>
              <a:t>open-pit mining and cyanide use are banned</a:t>
            </a:r>
          </a:p>
          <a:p>
            <a:pPr marL="144000" marR="0" lvl="0" indent="-1440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rPr>
              <a:t>High inflation rates and monetary barriers present a challenge</a:t>
            </a: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 for foreign investment</a:t>
            </a:r>
          </a:p>
        </p:txBody>
      </p:sp>
    </p:spTree>
    <p:extLst>
      <p:ext uri="{BB962C8B-B14F-4D97-AF65-F5344CB8AC3E}">
        <p14:creationId xmlns:p14="http://schemas.microsoft.com/office/powerpoint/2010/main" val="5428723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8092391-F817-4825-975B-A7CE230F05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95" imgH="396" progId="TCLayout.ActiveDocument.1">
                  <p:embed/>
                </p:oleObj>
              </mc:Choice>
              <mc:Fallback>
                <p:oleObj name="think-cell Slide" r:id="rId20" imgW="395" imgH="396" progId="TCLayout.ActiveDocument.1">
                  <p:embed/>
                  <p:pic>
                    <p:nvPicPr>
                      <p:cNvPr id="5" name="Object 4" hidden="1">
                        <a:extLst>
                          <a:ext uri="{FF2B5EF4-FFF2-40B4-BE49-F238E27FC236}">
                            <a16:creationId xmlns:a16="http://schemas.microsoft.com/office/drawing/2014/main" id="{78092391-F817-4825-975B-A7CE230F0506}"/>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Slide Number Placeholder 5">
            <a:extLst>
              <a:ext uri="{FF2B5EF4-FFF2-40B4-BE49-F238E27FC236}">
                <a16:creationId xmlns:a16="http://schemas.microsoft.com/office/drawing/2014/main" id="{167D3468-42B9-45FA-938B-2DE60CA6C7E7}"/>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endParaRPr>
          </a:p>
        </p:txBody>
      </p:sp>
      <p:sp>
        <p:nvSpPr>
          <p:cNvPr id="7" name="Rectangle: Diagonal Corners Rounded 6">
            <a:extLst>
              <a:ext uri="{FF2B5EF4-FFF2-40B4-BE49-F238E27FC236}">
                <a16:creationId xmlns:a16="http://schemas.microsoft.com/office/drawing/2014/main" id="{D1A5CE68-3036-40BF-A35A-C0C1A8D70A20}"/>
              </a:ext>
            </a:extLst>
          </p:cNvPr>
          <p:cNvSpPr/>
          <p:nvPr/>
        </p:nvSpPr>
        <p:spPr>
          <a:xfrm flipV="1">
            <a:off x="0" y="1094638"/>
            <a:ext cx="3000375" cy="5763362"/>
          </a:xfrm>
          <a:prstGeom prst="round2DiagRect">
            <a:avLst>
              <a:gd name="adj1" fmla="val 5095"/>
              <a:gd name="adj2"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DC1EC433-3EF1-48B7-99B5-529DCED7A6A3}"/>
              </a:ext>
            </a:extLst>
          </p:cNvPr>
          <p:cNvSpPr txBox="1">
            <a:spLocks/>
          </p:cNvSpPr>
          <p:nvPr/>
        </p:nvSpPr>
        <p:spPr>
          <a:xfrm>
            <a:off x="262527" y="1231901"/>
            <a:ext cx="2394947" cy="341313"/>
          </a:xfrm>
          <a:prstGeom prst="rect">
            <a:avLst/>
          </a:prstGeom>
        </p:spPr>
        <p:txBody>
          <a:bodyPr vert="horz" wrap="square" lIns="91440" tIns="45720" rIns="91440" bIns="45720" rtlCol="0">
            <a:no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rPr>
              <a:t>Overview</a:t>
            </a:r>
          </a:p>
        </p:txBody>
      </p:sp>
      <p:sp>
        <p:nvSpPr>
          <p:cNvPr id="8" name="TextBox 7">
            <a:extLst>
              <a:ext uri="{FF2B5EF4-FFF2-40B4-BE49-F238E27FC236}">
                <a16:creationId xmlns:a16="http://schemas.microsoft.com/office/drawing/2014/main" id="{1B2AC41C-9751-4BD4-8334-13028029FFBB}"/>
              </a:ext>
            </a:extLst>
          </p:cNvPr>
          <p:cNvSpPr txBox="1"/>
          <p:nvPr/>
        </p:nvSpPr>
        <p:spPr>
          <a:xfrm>
            <a:off x="3238501" y="1231901"/>
            <a:ext cx="4523785" cy="341313"/>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Mining outlook</a:t>
            </a:r>
          </a:p>
        </p:txBody>
      </p:sp>
      <p:sp>
        <p:nvSpPr>
          <p:cNvPr id="10" name="TextBox 9">
            <a:extLst>
              <a:ext uri="{FF2B5EF4-FFF2-40B4-BE49-F238E27FC236}">
                <a16:creationId xmlns:a16="http://schemas.microsoft.com/office/drawing/2014/main" id="{72A71319-D7DF-494C-A3A2-AACCB837E44E}"/>
              </a:ext>
            </a:extLst>
          </p:cNvPr>
          <p:cNvSpPr txBox="1">
            <a:spLocks/>
          </p:cNvSpPr>
          <p:nvPr/>
        </p:nvSpPr>
        <p:spPr>
          <a:xfrm>
            <a:off x="8953499" y="1231901"/>
            <a:ext cx="2870021" cy="341313"/>
          </a:xfrm>
          <a:prstGeom prst="rect">
            <a:avLst/>
          </a:prstGeom>
        </p:spPr>
        <p:txBody>
          <a:bodyPr vert="horz" wrap="square" lIns="91440" tIns="45720" rIns="91440" bIns="45720" rtlCol="0">
            <a:no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Main risks</a:t>
            </a:r>
          </a:p>
        </p:txBody>
      </p:sp>
      <p:sp>
        <p:nvSpPr>
          <p:cNvPr id="11" name="TextBox 10">
            <a:extLst>
              <a:ext uri="{FF2B5EF4-FFF2-40B4-BE49-F238E27FC236}">
                <a16:creationId xmlns:a16="http://schemas.microsoft.com/office/drawing/2014/main" id="{BD857A46-F9EA-4680-A8D4-A1C2E89C4EC3}"/>
              </a:ext>
            </a:extLst>
          </p:cNvPr>
          <p:cNvSpPr txBox="1"/>
          <p:nvPr/>
        </p:nvSpPr>
        <p:spPr>
          <a:xfrm>
            <a:off x="3238501" y="1633538"/>
            <a:ext cx="2737848" cy="314325"/>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Importance for the country</a:t>
            </a:r>
          </a:p>
        </p:txBody>
      </p:sp>
      <p:sp>
        <p:nvSpPr>
          <p:cNvPr id="12" name="TextBox 11">
            <a:extLst>
              <a:ext uri="{FF2B5EF4-FFF2-40B4-BE49-F238E27FC236}">
                <a16:creationId xmlns:a16="http://schemas.microsoft.com/office/drawing/2014/main" id="{26552266-20AA-42F4-9FEB-E5C1FA3551B9}"/>
              </a:ext>
            </a:extLst>
          </p:cNvPr>
          <p:cNvSpPr txBox="1"/>
          <p:nvPr/>
        </p:nvSpPr>
        <p:spPr>
          <a:xfrm>
            <a:off x="6214475" y="1633538"/>
            <a:ext cx="2394947" cy="314325"/>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Gold mining in numbers</a:t>
            </a:r>
          </a:p>
        </p:txBody>
      </p:sp>
      <p:sp>
        <p:nvSpPr>
          <p:cNvPr id="100" name="BigStat 100">
            <a:extLst>
              <a:ext uri="{FF2B5EF4-FFF2-40B4-BE49-F238E27FC236}">
                <a16:creationId xmlns:a16="http://schemas.microsoft.com/office/drawing/2014/main" id="{CD719AC9-6C18-4195-B152-24B07B6A6612}"/>
              </a:ext>
            </a:extLst>
          </p:cNvPr>
          <p:cNvSpPr txBox="1"/>
          <p:nvPr>
            <p:custDataLst>
              <p:tags r:id="rId2"/>
            </p:custDataLst>
          </p:nvPr>
        </p:nvSpPr>
        <p:spPr>
          <a:xfrm>
            <a:off x="3238500" y="1965325"/>
            <a:ext cx="2857499" cy="923330"/>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13.7 </a:t>
            </a:r>
            <a:r>
              <a:rPr kumimoji="0" lang="en-US" sz="16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BUSD</a:t>
            </a: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 (1.2%)</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GDP from Mining activities (% of the country’s total GDP)</a:t>
            </a:r>
          </a:p>
        </p:txBody>
      </p:sp>
      <p:grpSp>
        <p:nvGrpSpPr>
          <p:cNvPr id="121" name="Group 120">
            <a:extLst>
              <a:ext uri="{FF2B5EF4-FFF2-40B4-BE49-F238E27FC236}">
                <a16:creationId xmlns:a16="http://schemas.microsoft.com/office/drawing/2014/main" id="{DDE23F5E-33B3-41E0-96BD-B12A9EBD2276}"/>
              </a:ext>
            </a:extLst>
          </p:cNvPr>
          <p:cNvGrpSpPr/>
          <p:nvPr/>
        </p:nvGrpSpPr>
        <p:grpSpPr>
          <a:xfrm>
            <a:off x="3238501" y="3851003"/>
            <a:ext cx="2611609" cy="291655"/>
            <a:chOff x="3238501" y="4749814"/>
            <a:chExt cx="2611609" cy="291290"/>
          </a:xfrm>
        </p:grpSpPr>
        <p:grpSp>
          <p:nvGrpSpPr>
            <p:cNvPr id="106" name="CheckmarkBlue 106">
              <a:extLst>
                <a:ext uri="{FF2B5EF4-FFF2-40B4-BE49-F238E27FC236}">
                  <a16:creationId xmlns:a16="http://schemas.microsoft.com/office/drawing/2014/main" id="{9896BB38-D997-4948-8179-E60E9FA09410}"/>
                </a:ext>
              </a:extLst>
            </p:cNvPr>
            <p:cNvGrpSpPr>
              <a:grpSpLocks noChangeAspect="1"/>
            </p:cNvGrpSpPr>
            <p:nvPr>
              <p:custDataLst>
                <p:tags r:id="rId17"/>
              </p:custDataLst>
            </p:nvPr>
          </p:nvGrpSpPr>
          <p:grpSpPr>
            <a:xfrm>
              <a:off x="3238501" y="4772456"/>
              <a:ext cx="268648" cy="268648"/>
              <a:chOff x="1016000" y="1016000"/>
              <a:chExt cx="396228" cy="396228"/>
            </a:xfrm>
          </p:grpSpPr>
          <p:sp>
            <p:nvSpPr>
              <p:cNvPr id="103" name="Oval 102">
                <a:extLst>
                  <a:ext uri="{FF2B5EF4-FFF2-40B4-BE49-F238E27FC236}">
                    <a16:creationId xmlns:a16="http://schemas.microsoft.com/office/drawing/2014/main" id="{4B9934FC-AE8E-4AA8-BAF0-9476EB4E90BC}"/>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05" name="Graphic 104">
                <a:extLst>
                  <a:ext uri="{FF2B5EF4-FFF2-40B4-BE49-F238E27FC236}">
                    <a16:creationId xmlns:a16="http://schemas.microsoft.com/office/drawing/2014/main" id="{FFD06596-95A3-40AD-B50C-9BDFC8F1DF1C}"/>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023614" y="1023614"/>
                <a:ext cx="381000" cy="381000"/>
              </a:xfrm>
              <a:prstGeom prst="rect">
                <a:avLst/>
              </a:prstGeom>
            </p:spPr>
          </p:pic>
        </p:grpSp>
        <p:sp>
          <p:nvSpPr>
            <p:cNvPr id="108" name="TextBox 107">
              <a:extLst>
                <a:ext uri="{FF2B5EF4-FFF2-40B4-BE49-F238E27FC236}">
                  <a16:creationId xmlns:a16="http://schemas.microsoft.com/office/drawing/2014/main" id="{31962308-D58A-46E0-8CC9-9B2CCF076613}"/>
                </a:ext>
              </a:extLst>
            </p:cNvPr>
            <p:cNvSpPr txBox="1"/>
            <p:nvPr/>
          </p:nvSpPr>
          <p:spPr>
            <a:xfrm>
              <a:off x="3512311" y="4749814"/>
              <a:ext cx="2337799" cy="285874"/>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Traditional mining hub</a:t>
              </a:r>
            </a:p>
          </p:txBody>
        </p:sp>
      </p:grpSp>
      <p:grpSp>
        <p:nvGrpSpPr>
          <p:cNvPr id="122" name="Group 121">
            <a:extLst>
              <a:ext uri="{FF2B5EF4-FFF2-40B4-BE49-F238E27FC236}">
                <a16:creationId xmlns:a16="http://schemas.microsoft.com/office/drawing/2014/main" id="{A7CCE14C-E775-478A-9111-39D92FBBC064}"/>
              </a:ext>
            </a:extLst>
          </p:cNvPr>
          <p:cNvGrpSpPr/>
          <p:nvPr/>
        </p:nvGrpSpPr>
        <p:grpSpPr>
          <a:xfrm>
            <a:off x="3238501" y="4267579"/>
            <a:ext cx="2611609" cy="480131"/>
            <a:chOff x="3238501" y="5199292"/>
            <a:chExt cx="2611609" cy="479530"/>
          </a:xfrm>
        </p:grpSpPr>
        <p:grpSp>
          <p:nvGrpSpPr>
            <p:cNvPr id="109" name="CheckmarkBlue 106">
              <a:extLst>
                <a:ext uri="{FF2B5EF4-FFF2-40B4-BE49-F238E27FC236}">
                  <a16:creationId xmlns:a16="http://schemas.microsoft.com/office/drawing/2014/main" id="{C8F22BB2-471A-4965-AFFF-6FDBF5695F90}"/>
                </a:ext>
              </a:extLst>
            </p:cNvPr>
            <p:cNvGrpSpPr>
              <a:grpSpLocks noChangeAspect="1"/>
            </p:cNvGrpSpPr>
            <p:nvPr>
              <p:custDataLst>
                <p:tags r:id="rId16"/>
              </p:custDataLst>
            </p:nvPr>
          </p:nvGrpSpPr>
          <p:grpSpPr>
            <a:xfrm>
              <a:off x="3238501" y="5221934"/>
              <a:ext cx="268648" cy="268648"/>
              <a:chOff x="1016000" y="1016000"/>
              <a:chExt cx="396228" cy="396228"/>
            </a:xfrm>
          </p:grpSpPr>
          <p:sp>
            <p:nvSpPr>
              <p:cNvPr id="110" name="Oval 109">
                <a:extLst>
                  <a:ext uri="{FF2B5EF4-FFF2-40B4-BE49-F238E27FC236}">
                    <a16:creationId xmlns:a16="http://schemas.microsoft.com/office/drawing/2014/main" id="{97B13D1E-9109-40C7-8602-79671060235E}"/>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11" name="Graphic 110">
                <a:extLst>
                  <a:ext uri="{FF2B5EF4-FFF2-40B4-BE49-F238E27FC236}">
                    <a16:creationId xmlns:a16="http://schemas.microsoft.com/office/drawing/2014/main" id="{9713C298-EC59-4122-A98B-6E84FF62918C}"/>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023614" y="1023614"/>
                <a:ext cx="381000" cy="381000"/>
              </a:xfrm>
              <a:prstGeom prst="rect">
                <a:avLst/>
              </a:prstGeom>
            </p:spPr>
          </p:pic>
        </p:grpSp>
        <p:sp>
          <p:nvSpPr>
            <p:cNvPr id="112" name="TextBox 111">
              <a:extLst>
                <a:ext uri="{FF2B5EF4-FFF2-40B4-BE49-F238E27FC236}">
                  <a16:creationId xmlns:a16="http://schemas.microsoft.com/office/drawing/2014/main" id="{AD1406F8-4661-4248-8773-B660B7776C2B}"/>
                </a:ext>
              </a:extLst>
            </p:cNvPr>
            <p:cNvSpPr txBox="1"/>
            <p:nvPr/>
          </p:nvSpPr>
          <p:spPr>
            <a:xfrm>
              <a:off x="3512311" y="5199292"/>
              <a:ext cx="2337799" cy="479530"/>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Increasing importance due to lithium</a:t>
              </a:r>
            </a:p>
          </p:txBody>
        </p:sp>
      </p:grpSp>
      <p:grpSp>
        <p:nvGrpSpPr>
          <p:cNvPr id="123" name="Group 122">
            <a:extLst>
              <a:ext uri="{FF2B5EF4-FFF2-40B4-BE49-F238E27FC236}">
                <a16:creationId xmlns:a16="http://schemas.microsoft.com/office/drawing/2014/main" id="{0194005B-D523-446D-85CA-40EF4BFBEB28}"/>
              </a:ext>
            </a:extLst>
          </p:cNvPr>
          <p:cNvGrpSpPr/>
          <p:nvPr/>
        </p:nvGrpSpPr>
        <p:grpSpPr>
          <a:xfrm>
            <a:off x="3238501" y="4778341"/>
            <a:ext cx="2611609" cy="480131"/>
            <a:chOff x="3238501" y="5648770"/>
            <a:chExt cx="2611609" cy="479530"/>
          </a:xfrm>
        </p:grpSpPr>
        <p:grpSp>
          <p:nvGrpSpPr>
            <p:cNvPr id="113" name="CheckmarkBlue 106">
              <a:extLst>
                <a:ext uri="{FF2B5EF4-FFF2-40B4-BE49-F238E27FC236}">
                  <a16:creationId xmlns:a16="http://schemas.microsoft.com/office/drawing/2014/main" id="{CDFB78B2-7660-415B-9B20-58F68D55B4FA}"/>
                </a:ext>
              </a:extLst>
            </p:cNvPr>
            <p:cNvGrpSpPr>
              <a:grpSpLocks noChangeAspect="1"/>
            </p:cNvGrpSpPr>
            <p:nvPr>
              <p:custDataLst>
                <p:tags r:id="rId15"/>
              </p:custDataLst>
            </p:nvPr>
          </p:nvGrpSpPr>
          <p:grpSpPr>
            <a:xfrm>
              <a:off x="3238501" y="5671412"/>
              <a:ext cx="268648" cy="268648"/>
              <a:chOff x="1016000" y="1016000"/>
              <a:chExt cx="396228" cy="396228"/>
            </a:xfrm>
          </p:grpSpPr>
          <p:sp>
            <p:nvSpPr>
              <p:cNvPr id="114" name="Oval 113">
                <a:extLst>
                  <a:ext uri="{FF2B5EF4-FFF2-40B4-BE49-F238E27FC236}">
                    <a16:creationId xmlns:a16="http://schemas.microsoft.com/office/drawing/2014/main" id="{DF70ECE0-CF28-481E-ADB9-F052536C5007}"/>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15" name="Graphic 114">
                <a:extLst>
                  <a:ext uri="{FF2B5EF4-FFF2-40B4-BE49-F238E27FC236}">
                    <a16:creationId xmlns:a16="http://schemas.microsoft.com/office/drawing/2014/main" id="{4D3FC6F2-DC01-4825-BBF4-B78E01224B91}"/>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023614" y="1023614"/>
                <a:ext cx="381000" cy="381000"/>
              </a:xfrm>
              <a:prstGeom prst="rect">
                <a:avLst/>
              </a:prstGeom>
            </p:spPr>
          </p:pic>
        </p:grpSp>
        <p:sp>
          <p:nvSpPr>
            <p:cNvPr id="116" name="TextBox 115">
              <a:extLst>
                <a:ext uri="{FF2B5EF4-FFF2-40B4-BE49-F238E27FC236}">
                  <a16:creationId xmlns:a16="http://schemas.microsoft.com/office/drawing/2014/main" id="{54D0E05A-5009-4FFC-8D48-D6EC5891D736}"/>
                </a:ext>
              </a:extLst>
            </p:cNvPr>
            <p:cNvSpPr txBox="1"/>
            <p:nvPr/>
          </p:nvSpPr>
          <p:spPr>
            <a:xfrm>
              <a:off x="3512311" y="5648770"/>
              <a:ext cx="2337799" cy="479530"/>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Presence of major international companies </a:t>
              </a:r>
            </a:p>
          </p:txBody>
        </p:sp>
      </p:grpSp>
      <p:sp>
        <p:nvSpPr>
          <p:cNvPr id="125" name="BigStat 100">
            <a:extLst>
              <a:ext uri="{FF2B5EF4-FFF2-40B4-BE49-F238E27FC236}">
                <a16:creationId xmlns:a16="http://schemas.microsoft.com/office/drawing/2014/main" id="{736CED63-F3F0-44DC-B584-A0313FAB62CE}"/>
              </a:ext>
            </a:extLst>
          </p:cNvPr>
          <p:cNvSpPr txBox="1"/>
          <p:nvPr>
            <p:custDataLst>
              <p:tags r:id="rId3"/>
            </p:custDataLst>
          </p:nvPr>
        </p:nvSpPr>
        <p:spPr>
          <a:xfrm>
            <a:off x="6214475" y="1949450"/>
            <a:ext cx="2737848" cy="923330"/>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30</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Industrial scale gold mines currently operating</a:t>
            </a:r>
          </a:p>
        </p:txBody>
      </p:sp>
      <p:sp>
        <p:nvSpPr>
          <p:cNvPr id="126" name="BigStat 100">
            <a:extLst>
              <a:ext uri="{FF2B5EF4-FFF2-40B4-BE49-F238E27FC236}">
                <a16:creationId xmlns:a16="http://schemas.microsoft.com/office/drawing/2014/main" id="{66EC6B8E-22E3-4645-B336-AEDE2ADDC866}"/>
              </a:ext>
            </a:extLst>
          </p:cNvPr>
          <p:cNvSpPr txBox="1"/>
          <p:nvPr>
            <p:custDataLst>
              <p:tags r:id="rId4"/>
            </p:custDataLst>
          </p:nvPr>
        </p:nvSpPr>
        <p:spPr>
          <a:xfrm>
            <a:off x="6214475" y="2867383"/>
            <a:ext cx="2737848" cy="728663"/>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3.9 </a:t>
            </a:r>
            <a:r>
              <a:rPr kumimoji="0" lang="en-US" sz="3200" b="1" i="0" u="none" strike="noStrike" kern="1200" cap="none" spc="0" normalizeH="0" baseline="0" noProof="0" dirty="0" err="1">
                <a:ln>
                  <a:noFill/>
                </a:ln>
                <a:solidFill>
                  <a:srgbClr val="B39759"/>
                </a:solidFill>
                <a:effectLst/>
                <a:uLnTx/>
                <a:uFillTx/>
                <a:latin typeface="Calibri Light" panose="020F0302020204030204"/>
                <a:ea typeface="+mn-ea"/>
                <a:cs typeface="Calibri" panose="020F0502020204030204" pitchFamily="34" charset="0"/>
              </a:rPr>
              <a:t>Moz</a:t>
            </a: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 (-1%)</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Gold production (growth 21-22)</a:t>
            </a:r>
          </a:p>
        </p:txBody>
      </p:sp>
      <p:sp>
        <p:nvSpPr>
          <p:cNvPr id="144" name="TextBox 143">
            <a:extLst>
              <a:ext uri="{FF2B5EF4-FFF2-40B4-BE49-F238E27FC236}">
                <a16:creationId xmlns:a16="http://schemas.microsoft.com/office/drawing/2014/main" id="{E8106E64-E8A4-4E6C-8094-05F333F3310F}"/>
              </a:ext>
            </a:extLst>
          </p:cNvPr>
          <p:cNvSpPr txBox="1"/>
          <p:nvPr/>
        </p:nvSpPr>
        <p:spPr>
          <a:xfrm>
            <a:off x="8953499" y="1633539"/>
            <a:ext cx="3052395" cy="3203954"/>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28600" marR="0" lvl="0" indent="-2286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Deep changes in the mining legislation in May 2023</a:t>
            </a:r>
            <a:r>
              <a:rPr kumimoji="0" lang="en-US" sz="16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 causing companies to review investment decisions and juniors to leave operations in the country</a:t>
            </a:r>
          </a:p>
          <a:p>
            <a:pPr marL="228600" marR="0" lvl="0" indent="-2286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History of labor-related conflicts</a:t>
            </a:r>
          </a:p>
          <a:p>
            <a:pPr marL="228600" marR="0" lvl="0" indent="-2286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 Drug-related</a:t>
            </a:r>
            <a:r>
              <a:rPr kumimoji="0" lang="en-US" sz="16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 </a:t>
            </a:r>
            <a:r>
              <a:rPr kumimoji="0" lang="en-US" sz="1600" b="1"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issues </a:t>
            </a:r>
            <a:r>
              <a:rPr kumimoji="0" lang="en-US" sz="16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 especially in Guerrero and Sinaloa</a:t>
            </a:r>
          </a:p>
          <a:p>
            <a:pPr marL="228600" marR="0" lvl="0" indent="-2286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Challenging political scenario for mining</a:t>
            </a:r>
          </a:p>
        </p:txBody>
      </p:sp>
      <p:cxnSp>
        <p:nvCxnSpPr>
          <p:cNvPr id="150" name="LineContentSeparatorDefault 150">
            <a:extLst>
              <a:ext uri="{FF2B5EF4-FFF2-40B4-BE49-F238E27FC236}">
                <a16:creationId xmlns:a16="http://schemas.microsoft.com/office/drawing/2014/main" id="{74B6E49E-3407-4E23-92E6-CE2E3937239F}"/>
              </a:ext>
            </a:extLst>
          </p:cNvPr>
          <p:cNvCxnSpPr>
            <a:cxnSpLocks/>
          </p:cNvCxnSpPr>
          <p:nvPr>
            <p:custDataLst>
              <p:tags r:id="rId5"/>
            </p:custDataLst>
          </p:nvPr>
        </p:nvCxnSpPr>
        <p:spPr>
          <a:xfrm>
            <a:off x="262527" y="1566863"/>
            <a:ext cx="2394947" cy="0"/>
          </a:xfrm>
          <a:prstGeom prst="straightConnector1">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2" name="LineContentSeparatorDefault 150">
            <a:extLst>
              <a:ext uri="{FF2B5EF4-FFF2-40B4-BE49-F238E27FC236}">
                <a16:creationId xmlns:a16="http://schemas.microsoft.com/office/drawing/2014/main" id="{10A2A179-A986-464E-992D-7F7C71DADDAE}"/>
              </a:ext>
            </a:extLst>
          </p:cNvPr>
          <p:cNvCxnSpPr>
            <a:cxnSpLocks/>
          </p:cNvCxnSpPr>
          <p:nvPr>
            <p:custDataLst>
              <p:tags r:id="rId6"/>
            </p:custDataLst>
          </p:nvPr>
        </p:nvCxnSpPr>
        <p:spPr>
          <a:xfrm>
            <a:off x="3238501" y="1566863"/>
            <a:ext cx="5495924" cy="0"/>
          </a:xfrm>
          <a:prstGeom prst="straightConnector1">
            <a:avLst/>
          </a:prstGeom>
          <a:ln w="6350">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154" name="LineContentSeparatorDefault 150">
            <a:extLst>
              <a:ext uri="{FF2B5EF4-FFF2-40B4-BE49-F238E27FC236}">
                <a16:creationId xmlns:a16="http://schemas.microsoft.com/office/drawing/2014/main" id="{5DD69DFA-90AE-4BC4-B32C-7D033758F7AF}"/>
              </a:ext>
            </a:extLst>
          </p:cNvPr>
          <p:cNvCxnSpPr>
            <a:cxnSpLocks/>
          </p:cNvCxnSpPr>
          <p:nvPr>
            <p:custDataLst>
              <p:tags r:id="rId7"/>
            </p:custDataLst>
          </p:nvPr>
        </p:nvCxnSpPr>
        <p:spPr>
          <a:xfrm>
            <a:off x="8953500" y="1566863"/>
            <a:ext cx="2870021" cy="0"/>
          </a:xfrm>
          <a:prstGeom prst="straightConnector1">
            <a:avLst/>
          </a:prstGeom>
          <a:ln w="6350">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nvGrpSpPr>
          <p:cNvPr id="158" name="ChevronWhite 158">
            <a:extLst>
              <a:ext uri="{FF2B5EF4-FFF2-40B4-BE49-F238E27FC236}">
                <a16:creationId xmlns:a16="http://schemas.microsoft.com/office/drawing/2014/main" id="{7A57A53C-82A1-4767-B284-15634A46B7E3}"/>
              </a:ext>
            </a:extLst>
          </p:cNvPr>
          <p:cNvGrpSpPr>
            <a:grpSpLocks noChangeAspect="1"/>
          </p:cNvGrpSpPr>
          <p:nvPr>
            <p:custDataLst>
              <p:tags r:id="rId8"/>
            </p:custDataLst>
          </p:nvPr>
        </p:nvGrpSpPr>
        <p:grpSpPr>
          <a:xfrm>
            <a:off x="2839392" y="1385889"/>
            <a:ext cx="303213" cy="303213"/>
            <a:chOff x="1016000" y="1016000"/>
            <a:chExt cx="396228" cy="396228"/>
          </a:xfrm>
        </p:grpSpPr>
        <p:sp>
          <p:nvSpPr>
            <p:cNvPr id="155" name="Oval 154">
              <a:extLst>
                <a:ext uri="{FF2B5EF4-FFF2-40B4-BE49-F238E27FC236}">
                  <a16:creationId xmlns:a16="http://schemas.microsoft.com/office/drawing/2014/main" id="{AA98363E-41C0-4689-B779-4AC4E4884E0F}"/>
                </a:ext>
              </a:extLst>
            </p:cNvPr>
            <p:cNvSpPr/>
            <p:nvPr/>
          </p:nvSpPr>
          <p:spPr>
            <a:xfrm>
              <a:off x="1016000" y="1016000"/>
              <a:ext cx="396228" cy="396228"/>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57" name="Graphic 156">
              <a:extLst>
                <a:ext uri="{FF2B5EF4-FFF2-40B4-BE49-F238E27FC236}">
                  <a16:creationId xmlns:a16="http://schemas.microsoft.com/office/drawing/2014/main" id="{B037DC85-89A7-424E-9471-A1BFB5820EFB}"/>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1023614" y="1023614"/>
              <a:ext cx="381000" cy="381000"/>
            </a:xfrm>
            <a:prstGeom prst="rect">
              <a:avLst/>
            </a:prstGeom>
          </p:spPr>
        </p:pic>
      </p:grpSp>
      <p:grpSp>
        <p:nvGrpSpPr>
          <p:cNvPr id="160" name="ChevronWhite 158">
            <a:extLst>
              <a:ext uri="{FF2B5EF4-FFF2-40B4-BE49-F238E27FC236}">
                <a16:creationId xmlns:a16="http://schemas.microsoft.com/office/drawing/2014/main" id="{68E623C4-99D7-446A-843A-91B9BDFEA093}"/>
              </a:ext>
            </a:extLst>
          </p:cNvPr>
          <p:cNvGrpSpPr>
            <a:grpSpLocks noChangeAspect="1"/>
          </p:cNvGrpSpPr>
          <p:nvPr>
            <p:custDataLst>
              <p:tags r:id="rId9"/>
            </p:custDataLst>
          </p:nvPr>
        </p:nvGrpSpPr>
        <p:grpSpPr>
          <a:xfrm>
            <a:off x="8610601" y="1385889"/>
            <a:ext cx="303213" cy="303213"/>
            <a:chOff x="1016000" y="1016000"/>
            <a:chExt cx="396228" cy="396228"/>
          </a:xfrm>
          <a:solidFill>
            <a:schemeClr val="accent3"/>
          </a:solidFill>
        </p:grpSpPr>
        <p:sp>
          <p:nvSpPr>
            <p:cNvPr id="161" name="Oval 160">
              <a:extLst>
                <a:ext uri="{FF2B5EF4-FFF2-40B4-BE49-F238E27FC236}">
                  <a16:creationId xmlns:a16="http://schemas.microsoft.com/office/drawing/2014/main" id="{44825ED7-26B2-411C-A881-AAFCC0FD9CB9}"/>
                </a:ext>
              </a:extLst>
            </p:cNvPr>
            <p:cNvSpPr/>
            <p:nvPr/>
          </p:nvSpPr>
          <p:spPr>
            <a:xfrm>
              <a:off x="1016000" y="1016000"/>
              <a:ext cx="396228" cy="396228"/>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62" name="Graphic 161">
              <a:extLst>
                <a:ext uri="{FF2B5EF4-FFF2-40B4-BE49-F238E27FC236}">
                  <a16:creationId xmlns:a16="http://schemas.microsoft.com/office/drawing/2014/main" id="{9795E4CD-0104-494F-8ED1-D0068D57A764}"/>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023614" y="1023614"/>
              <a:ext cx="381000" cy="381000"/>
            </a:xfrm>
            <a:prstGeom prst="rect">
              <a:avLst/>
            </a:prstGeom>
          </p:spPr>
        </p:pic>
      </p:grpSp>
      <p:pic>
        <p:nvPicPr>
          <p:cNvPr id="164" name="Picture 163">
            <a:extLst>
              <a:ext uri="{FF2B5EF4-FFF2-40B4-BE49-F238E27FC236}">
                <a16:creationId xmlns:a16="http://schemas.microsoft.com/office/drawing/2014/main" id="{C08644D0-F3E7-4FD7-A025-99B29EDF625E}"/>
              </a:ext>
            </a:extLst>
          </p:cNvPr>
          <p:cNvPicPr>
            <a:picLocks noChangeAspect="1"/>
          </p:cNvPicPr>
          <p:nvPr>
            <p:custDataLst>
              <p:tags r:id="rId10"/>
            </p:custDataLst>
          </p:nvPr>
        </p:nvPicPr>
        <p:blipFill rotWithShape="1">
          <a:blip r:embed="rId28" cstate="print">
            <a:extLst>
              <a:ext uri="{28A0092B-C50C-407E-A947-70E740481C1C}">
                <a14:useLocalDpi xmlns:a14="http://schemas.microsoft.com/office/drawing/2010/main"/>
              </a:ext>
            </a:extLst>
          </a:blip>
          <a:srcRect/>
          <a:stretch/>
        </p:blipFill>
        <p:spPr>
          <a:xfrm flipH="1">
            <a:off x="8589371" y="4692650"/>
            <a:ext cx="3601355" cy="2028825"/>
          </a:xfrm>
          <a:prstGeom prst="rect">
            <a:avLst/>
          </a:prstGeom>
        </p:spPr>
      </p:pic>
      <p:sp>
        <p:nvSpPr>
          <p:cNvPr id="184" name="BigStat 100">
            <a:extLst>
              <a:ext uri="{FF2B5EF4-FFF2-40B4-BE49-F238E27FC236}">
                <a16:creationId xmlns:a16="http://schemas.microsoft.com/office/drawing/2014/main" id="{41138818-1B86-4B56-90FC-10CF426CCC63}"/>
              </a:ext>
            </a:extLst>
          </p:cNvPr>
          <p:cNvSpPr txBox="1"/>
          <p:nvPr>
            <p:custDataLst>
              <p:tags r:id="rId11"/>
            </p:custDataLst>
          </p:nvPr>
        </p:nvSpPr>
        <p:spPr>
          <a:xfrm>
            <a:off x="6214475" y="3590649"/>
            <a:ext cx="2737848" cy="923925"/>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7</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Gold projects </a:t>
            </a: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expected</a:t>
            </a:r>
            <a:r>
              <a:rPr kumimoji="0" lang="en-US" sz="1400" b="0" i="0" u="none" strike="noStrike" kern="1200" cap="none" spc="0" normalizeH="0" baseline="0" noProof="0" dirty="0">
                <a:ln>
                  <a:noFill/>
                </a:ln>
                <a:solidFill>
                  <a:srgbClr val="FF0000"/>
                </a:solidFill>
                <a:effectLst/>
                <a:uLnTx/>
                <a:uFillTx/>
                <a:latin typeface="Calibri" panose="020F0502020204030204"/>
                <a:ea typeface="+mn-ea"/>
                <a:cs typeface="Calibri" panose="020F0502020204030204" pitchFamily="34" charset="0"/>
              </a:rPr>
              <a:t> </a:t>
            </a: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to be launched prior to 2030</a:t>
            </a:r>
          </a:p>
        </p:txBody>
      </p:sp>
      <p:sp>
        <p:nvSpPr>
          <p:cNvPr id="204" name="BigStat 100">
            <a:extLst>
              <a:ext uri="{FF2B5EF4-FFF2-40B4-BE49-F238E27FC236}">
                <a16:creationId xmlns:a16="http://schemas.microsoft.com/office/drawing/2014/main" id="{954B7A5F-DAEB-4A83-84A4-D077F6763C99}"/>
              </a:ext>
            </a:extLst>
          </p:cNvPr>
          <p:cNvSpPr txBox="1"/>
          <p:nvPr>
            <p:custDataLst>
              <p:tags r:id="rId12"/>
            </p:custDataLst>
          </p:nvPr>
        </p:nvSpPr>
        <p:spPr>
          <a:xfrm>
            <a:off x="6214475" y="4509178"/>
            <a:ext cx="2737848" cy="729430"/>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37 / 147 </a:t>
            </a:r>
            <a:r>
              <a:rPr kumimoji="0" lang="en-US" sz="3200" b="1" i="0" u="none" strike="noStrike" kern="1200" cap="none" spc="0" normalizeH="0" baseline="0" noProof="0" dirty="0" err="1">
                <a:ln>
                  <a:noFill/>
                </a:ln>
                <a:solidFill>
                  <a:srgbClr val="B39759"/>
                </a:solidFill>
                <a:effectLst/>
                <a:uLnTx/>
                <a:uFillTx/>
                <a:latin typeface="Calibri Light" panose="020F0302020204030204"/>
                <a:ea typeface="+mn-ea"/>
                <a:cs typeface="Calibri" panose="020F0502020204030204" pitchFamily="34" charset="0"/>
              </a:rPr>
              <a:t>Moz</a:t>
            </a:r>
            <a:endPar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endParaRP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Gold reserves / Gold R&amp;R</a:t>
            </a:r>
          </a:p>
        </p:txBody>
      </p:sp>
      <p:sp>
        <p:nvSpPr>
          <p:cNvPr id="85" name="TextBox 84">
            <a:extLst>
              <a:ext uri="{FF2B5EF4-FFF2-40B4-BE49-F238E27FC236}">
                <a16:creationId xmlns:a16="http://schemas.microsoft.com/office/drawing/2014/main" id="{BB0E91B3-A14B-F0BD-B384-A818AE4E4601}"/>
              </a:ext>
            </a:extLst>
          </p:cNvPr>
          <p:cNvSpPr txBox="1"/>
          <p:nvPr/>
        </p:nvSpPr>
        <p:spPr>
          <a:xfrm>
            <a:off x="3244970" y="5346389"/>
            <a:ext cx="2737848" cy="258532"/>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Top players in country</a:t>
            </a:r>
          </a:p>
        </p:txBody>
      </p:sp>
      <p:sp>
        <p:nvSpPr>
          <p:cNvPr id="86" name="TextBox 85">
            <a:extLst>
              <a:ext uri="{FF2B5EF4-FFF2-40B4-BE49-F238E27FC236}">
                <a16:creationId xmlns:a16="http://schemas.microsoft.com/office/drawing/2014/main" id="{B334C6C0-AD72-72F7-FE3F-DCA439A113C3}"/>
              </a:ext>
            </a:extLst>
          </p:cNvPr>
          <p:cNvSpPr txBox="1"/>
          <p:nvPr/>
        </p:nvSpPr>
        <p:spPr>
          <a:xfrm>
            <a:off x="6214475" y="5346389"/>
            <a:ext cx="2394947" cy="258532"/>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Top gold miners</a:t>
            </a:r>
          </a:p>
        </p:txBody>
      </p:sp>
      <p:pic>
        <p:nvPicPr>
          <p:cNvPr id="9" name="Picture 8">
            <a:extLst>
              <a:ext uri="{FF2B5EF4-FFF2-40B4-BE49-F238E27FC236}">
                <a16:creationId xmlns:a16="http://schemas.microsoft.com/office/drawing/2014/main" id="{AB39C013-A115-89F7-9F59-14B0059A9B89}"/>
              </a:ext>
            </a:extLst>
          </p:cNvPr>
          <p:cNvPicPr>
            <a:picLocks noChangeAspect="1"/>
          </p:cNvPicPr>
          <p:nvPr/>
        </p:nvPicPr>
        <p:blipFill rotWithShape="1">
          <a:blip r:embed="rId29" cstate="screen">
            <a:extLst>
              <a:ext uri="{28A0092B-C50C-407E-A947-70E740481C1C}">
                <a14:useLocalDpi xmlns:a14="http://schemas.microsoft.com/office/drawing/2010/main"/>
              </a:ext>
            </a:extLst>
          </a:blip>
          <a:srcRect/>
          <a:stretch/>
        </p:blipFill>
        <p:spPr>
          <a:xfrm>
            <a:off x="8762207" y="358581"/>
            <a:ext cx="601743" cy="601743"/>
          </a:xfrm>
          <a:prstGeom prst="ellipse">
            <a:avLst/>
          </a:prstGeom>
          <a:ln>
            <a:solidFill>
              <a:srgbClr val="CCCCCC"/>
            </a:solidFill>
          </a:ln>
        </p:spPr>
      </p:pic>
      <p:pic>
        <p:nvPicPr>
          <p:cNvPr id="3074" name="Picture 2">
            <a:extLst>
              <a:ext uri="{FF2B5EF4-FFF2-40B4-BE49-F238E27FC236}">
                <a16:creationId xmlns:a16="http://schemas.microsoft.com/office/drawing/2014/main" id="{D623BBCA-458B-7E5F-1B1A-B8C097AF7056}"/>
              </a:ext>
            </a:extLst>
          </p:cNvPr>
          <p:cNvPicPr>
            <a:picLocks noChangeAspect="1" noChangeArrowheads="1"/>
          </p:cNvPicPr>
          <p:nvPr/>
        </p:nvPicPr>
        <p:blipFill>
          <a:blip r:embed="rId30" cstate="screen">
            <a:extLst>
              <a:ext uri="{28A0092B-C50C-407E-A947-70E740481C1C}">
                <a14:useLocalDpi xmlns:a14="http://schemas.microsoft.com/office/drawing/2010/main"/>
              </a:ext>
            </a:extLst>
          </a:blip>
          <a:srcRect/>
          <a:stretch>
            <a:fillRect/>
          </a:stretch>
        </p:blipFill>
        <p:spPr bwMode="auto">
          <a:xfrm>
            <a:off x="6369366" y="6091158"/>
            <a:ext cx="950114" cy="154023"/>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a:extLst>
              <a:ext uri="{FF2B5EF4-FFF2-40B4-BE49-F238E27FC236}">
                <a16:creationId xmlns:a16="http://schemas.microsoft.com/office/drawing/2014/main" id="{92A3DD84-5220-ABE6-DF29-CE950324C6A2}"/>
              </a:ext>
            </a:extLst>
          </p:cNvPr>
          <p:cNvPicPr>
            <a:picLocks noChangeAspect="1" noChangeArrowheads="1"/>
          </p:cNvPicPr>
          <p:nvPr/>
        </p:nvPicPr>
        <p:blipFill>
          <a:blip r:embed="rId31" cstate="screen">
            <a:extLst>
              <a:ext uri="{28A0092B-C50C-407E-A947-70E740481C1C}">
                <a14:useLocalDpi xmlns:a14="http://schemas.microsoft.com/office/drawing/2010/main"/>
              </a:ext>
            </a:extLst>
          </a:blip>
          <a:srcRect/>
          <a:stretch>
            <a:fillRect/>
          </a:stretch>
        </p:blipFill>
        <p:spPr bwMode="auto">
          <a:xfrm>
            <a:off x="3382998" y="5961155"/>
            <a:ext cx="516616" cy="210279"/>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4">
            <a:extLst>
              <a:ext uri="{FF2B5EF4-FFF2-40B4-BE49-F238E27FC236}">
                <a16:creationId xmlns:a16="http://schemas.microsoft.com/office/drawing/2014/main" id="{60113639-FC8F-2B35-4CF3-7169F91930FD}"/>
              </a:ext>
            </a:extLst>
          </p:cNvPr>
          <p:cNvPicPr>
            <a:picLocks noChangeAspect="1" noChangeArrowheads="1"/>
          </p:cNvPicPr>
          <p:nvPr/>
        </p:nvPicPr>
        <p:blipFill>
          <a:blip r:embed="rId32">
            <a:extLst>
              <a:ext uri="{28A0092B-C50C-407E-A947-70E740481C1C}">
                <a14:useLocalDpi xmlns:a14="http://schemas.microsoft.com/office/drawing/2010/main"/>
              </a:ext>
            </a:extLst>
          </a:blip>
          <a:srcRect/>
          <a:stretch>
            <a:fillRect/>
          </a:stretch>
        </p:blipFill>
        <p:spPr bwMode="auto">
          <a:xfrm>
            <a:off x="6369365" y="5656956"/>
            <a:ext cx="727188" cy="391094"/>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6">
            <a:extLst>
              <a:ext uri="{FF2B5EF4-FFF2-40B4-BE49-F238E27FC236}">
                <a16:creationId xmlns:a16="http://schemas.microsoft.com/office/drawing/2014/main" id="{BAE15B7B-450E-572F-A687-60EC1F6EF70D}"/>
              </a:ext>
            </a:extLst>
          </p:cNvPr>
          <p:cNvPicPr>
            <a:picLocks noChangeAspect="1" noChangeArrowheads="1"/>
          </p:cNvPicPr>
          <p:nvPr/>
        </p:nvPicPr>
        <p:blipFill>
          <a:blip r:embed="rId33">
            <a:extLst>
              <a:ext uri="{28A0092B-C50C-407E-A947-70E740481C1C}">
                <a14:useLocalDpi xmlns:a14="http://schemas.microsoft.com/office/drawing/2010/main"/>
              </a:ext>
            </a:extLst>
          </a:blip>
          <a:srcRect/>
          <a:stretch>
            <a:fillRect/>
          </a:stretch>
        </p:blipFill>
        <p:spPr bwMode="auto">
          <a:xfrm>
            <a:off x="7246744" y="5712364"/>
            <a:ext cx="809617" cy="258532"/>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4">
            <a:extLst>
              <a:ext uri="{FF2B5EF4-FFF2-40B4-BE49-F238E27FC236}">
                <a16:creationId xmlns:a16="http://schemas.microsoft.com/office/drawing/2014/main" id="{34371BB8-1940-F16B-D35C-06852134E693}"/>
              </a:ext>
            </a:extLst>
          </p:cNvPr>
          <p:cNvPicPr>
            <a:picLocks noChangeAspect="1" noChangeArrowheads="1"/>
          </p:cNvPicPr>
          <p:nvPr/>
        </p:nvPicPr>
        <p:blipFill>
          <a:blip r:embed="rId34" cstate="screen">
            <a:extLst>
              <a:ext uri="{28A0092B-C50C-407E-A947-70E740481C1C}">
                <a14:useLocalDpi xmlns:a14="http://schemas.microsoft.com/office/drawing/2010/main"/>
              </a:ext>
            </a:extLst>
          </a:blip>
          <a:srcRect/>
          <a:stretch>
            <a:fillRect/>
          </a:stretch>
        </p:blipFill>
        <p:spPr bwMode="auto">
          <a:xfrm>
            <a:off x="7449010" y="6094922"/>
            <a:ext cx="757084" cy="3634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8">
            <a:extLst>
              <a:ext uri="{FF2B5EF4-FFF2-40B4-BE49-F238E27FC236}">
                <a16:creationId xmlns:a16="http://schemas.microsoft.com/office/drawing/2014/main" id="{71B66DF8-BB44-ACCF-BDC8-06F78FFADDAB}"/>
              </a:ext>
            </a:extLst>
          </p:cNvPr>
          <p:cNvPicPr>
            <a:picLocks noChangeAspect="1" noChangeArrowheads="1"/>
          </p:cNvPicPr>
          <p:nvPr/>
        </p:nvPicPr>
        <p:blipFill>
          <a:blip r:embed="rId35" cstate="screen">
            <a:extLst>
              <a:ext uri="{28A0092B-C50C-407E-A947-70E740481C1C}">
                <a14:useLocalDpi xmlns:a14="http://schemas.microsoft.com/office/drawing/2010/main"/>
              </a:ext>
            </a:extLst>
          </a:blip>
          <a:srcRect/>
          <a:stretch>
            <a:fillRect/>
          </a:stretch>
        </p:blipFill>
        <p:spPr bwMode="auto">
          <a:xfrm>
            <a:off x="6378702" y="6316779"/>
            <a:ext cx="950114" cy="191923"/>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EFAF0A5A-968B-73EA-100F-B14A1881F993}"/>
              </a:ext>
            </a:extLst>
          </p:cNvPr>
          <p:cNvPicPr>
            <a:picLocks noChangeAspect="1" noChangeArrowheads="1"/>
          </p:cNvPicPr>
          <p:nvPr/>
        </p:nvPicPr>
        <p:blipFill>
          <a:blip r:embed="rId36">
            <a:extLst>
              <a:ext uri="{28A0092B-C50C-407E-A947-70E740481C1C}">
                <a14:useLocalDpi xmlns:a14="http://schemas.microsoft.com/office/drawing/2010/main"/>
              </a:ext>
            </a:extLst>
          </a:blip>
          <a:srcRect/>
          <a:stretch>
            <a:fillRect/>
          </a:stretch>
        </p:blipFill>
        <p:spPr bwMode="auto">
          <a:xfrm>
            <a:off x="3397220" y="5641949"/>
            <a:ext cx="1133475" cy="21907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07852E07-CBB1-8050-6FD9-6D7934B52B2A}"/>
              </a:ext>
            </a:extLst>
          </p:cNvPr>
          <p:cNvPicPr>
            <a:picLocks noChangeAspect="1" noChangeArrowheads="1"/>
          </p:cNvPicPr>
          <p:nvPr/>
        </p:nvPicPr>
        <p:blipFill>
          <a:blip r:embed="rId37" cstate="screen">
            <a:extLst>
              <a:ext uri="{28A0092B-C50C-407E-A947-70E740481C1C}">
                <a14:useLocalDpi xmlns:a14="http://schemas.microsoft.com/office/drawing/2010/main"/>
              </a:ext>
            </a:extLst>
          </a:blip>
          <a:srcRect/>
          <a:stretch>
            <a:fillRect/>
          </a:stretch>
        </p:blipFill>
        <p:spPr bwMode="auto">
          <a:xfrm>
            <a:off x="4727655" y="5615607"/>
            <a:ext cx="465244" cy="445859"/>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
            <a:extLst>
              <a:ext uri="{FF2B5EF4-FFF2-40B4-BE49-F238E27FC236}">
                <a16:creationId xmlns:a16="http://schemas.microsoft.com/office/drawing/2014/main" id="{F97040A9-9D39-BCAA-ED9F-A84ECFAAA402}"/>
              </a:ext>
            </a:extLst>
          </p:cNvPr>
          <p:cNvPicPr>
            <a:picLocks noChangeAspect="1" noChangeArrowheads="1"/>
          </p:cNvPicPr>
          <p:nvPr/>
        </p:nvPicPr>
        <p:blipFill>
          <a:blip r:embed="rId38" cstate="screen">
            <a:extLst>
              <a:ext uri="{28A0092B-C50C-407E-A947-70E740481C1C}">
                <a14:useLocalDpi xmlns:a14="http://schemas.microsoft.com/office/drawing/2010/main"/>
              </a:ext>
            </a:extLst>
          </a:blip>
          <a:srcRect/>
          <a:stretch>
            <a:fillRect/>
          </a:stretch>
        </p:blipFill>
        <p:spPr bwMode="auto">
          <a:xfrm>
            <a:off x="3387523" y="6272519"/>
            <a:ext cx="1028763" cy="16677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
            <a:extLst>
              <a:ext uri="{FF2B5EF4-FFF2-40B4-BE49-F238E27FC236}">
                <a16:creationId xmlns:a16="http://schemas.microsoft.com/office/drawing/2014/main" id="{6ADCC54B-13ED-8F8F-588A-6BA9C0BD753A}"/>
              </a:ext>
            </a:extLst>
          </p:cNvPr>
          <p:cNvPicPr>
            <a:picLocks noChangeAspect="1" noChangeArrowheads="1"/>
          </p:cNvPicPr>
          <p:nvPr/>
        </p:nvPicPr>
        <p:blipFill>
          <a:blip r:embed="rId39" cstate="screen">
            <a:extLst>
              <a:ext uri="{28A0092B-C50C-407E-A947-70E740481C1C}">
                <a14:useLocalDpi xmlns:a14="http://schemas.microsoft.com/office/drawing/2010/main"/>
              </a:ext>
            </a:extLst>
          </a:blip>
          <a:srcRect/>
          <a:stretch>
            <a:fillRect/>
          </a:stretch>
        </p:blipFill>
        <p:spPr bwMode="auto">
          <a:xfrm>
            <a:off x="4744928" y="6088528"/>
            <a:ext cx="670564" cy="32187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BA4A0FD6-9D96-AF30-B81A-F28402DE3C04}"/>
              </a:ext>
            </a:extLst>
          </p:cNvPr>
          <p:cNvPicPr>
            <a:picLocks noChangeAspect="1" noChangeArrowheads="1"/>
          </p:cNvPicPr>
          <p:nvPr/>
        </p:nvPicPr>
        <p:blipFill>
          <a:blip r:embed="rId40" cstate="screen">
            <a:extLst>
              <a:ext uri="{28A0092B-C50C-407E-A947-70E740481C1C}">
                <a14:useLocalDpi xmlns:a14="http://schemas.microsoft.com/office/drawing/2010/main"/>
              </a:ext>
            </a:extLst>
          </a:blip>
          <a:srcRect/>
          <a:stretch>
            <a:fillRect/>
          </a:stretch>
        </p:blipFill>
        <p:spPr bwMode="auto">
          <a:xfrm>
            <a:off x="4074914" y="5846071"/>
            <a:ext cx="585311" cy="391094"/>
          </a:xfrm>
          <a:prstGeom prst="rect">
            <a:avLst/>
          </a:prstGeom>
          <a:noFill/>
          <a:extLst>
            <a:ext uri="{909E8E84-426E-40DD-AFC4-6F175D3DCCD1}">
              <a14:hiddenFill xmlns:a14="http://schemas.microsoft.com/office/drawing/2010/main">
                <a:solidFill>
                  <a:srgbClr val="FFFFFF"/>
                </a:solidFill>
              </a14:hiddenFill>
            </a:ext>
          </a:extLst>
        </p:spPr>
      </p:pic>
      <p:sp>
        <p:nvSpPr>
          <p:cNvPr id="22" name="Title 1">
            <a:extLst>
              <a:ext uri="{FF2B5EF4-FFF2-40B4-BE49-F238E27FC236}">
                <a16:creationId xmlns:a16="http://schemas.microsoft.com/office/drawing/2014/main" id="{C79DDB43-EBC9-4325-4F4C-ACDCF4B64C5A}"/>
              </a:ext>
            </a:extLst>
          </p:cNvPr>
          <p:cNvSpPr txBox="1">
            <a:spLocks/>
          </p:cNvSpPr>
          <p:nvPr/>
        </p:nvSpPr>
        <p:spPr>
          <a:xfrm>
            <a:off x="262527" y="175755"/>
            <a:ext cx="8645461" cy="75713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ctr" anchorCtr="0">
            <a:spAutoFit/>
          </a:bodyPr>
          <a:lstStyle>
            <a:lvl1pPr algn="l" defTabSz="914400" rtl="0" eaLnBrk="1" latinLnBrk="0" hangingPunct="1">
              <a:lnSpc>
                <a:spcPct val="90000"/>
              </a:lnSpc>
              <a:spcBef>
                <a:spcPct val="0"/>
              </a:spcBef>
              <a:buNone/>
              <a:defRPr sz="3200" b="1" i="0" kern="1200">
                <a:solidFill>
                  <a:srgbClr val="002060"/>
                </a:solidFill>
                <a:latin typeface="Calibri" panose="020F0502020204030204" pitchFamily="34" charset="0"/>
                <a:ea typeface="+mj-ea"/>
                <a:cs typeface="Calibri" panose="020F050202020403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Calibri" panose="020F0502020204030204" pitchFamily="34" charset="0"/>
                <a:ea typeface="+mj-ea"/>
                <a:cs typeface="Calibri" panose="020F0502020204030204" pitchFamily="34" charset="0"/>
              </a:rPr>
              <a:t>Mexico’s sizeable geological endowment should be evaluated at a granular level to properly understand security and regulation risks</a:t>
            </a:r>
            <a:endParaRPr kumimoji="0" lang="en-CA" sz="2400" b="1" i="0" u="none" strike="noStrike" kern="1200" cap="none" spc="0" normalizeH="0" baseline="0" noProof="0" dirty="0">
              <a:ln>
                <a:noFill/>
              </a:ln>
              <a:solidFill>
                <a:srgbClr val="002060"/>
              </a:solidFill>
              <a:effectLst/>
              <a:uLnTx/>
              <a:uFillTx/>
              <a:latin typeface="Calibri" panose="020F0502020204030204" pitchFamily="34" charset="0"/>
              <a:ea typeface="+mj-ea"/>
              <a:cs typeface="Calibri" panose="020F0502020204030204" pitchFamily="34" charset="0"/>
            </a:endParaRPr>
          </a:p>
        </p:txBody>
      </p:sp>
      <p:sp>
        <p:nvSpPr>
          <p:cNvPr id="26" name="TextBox 25">
            <a:extLst>
              <a:ext uri="{FF2B5EF4-FFF2-40B4-BE49-F238E27FC236}">
                <a16:creationId xmlns:a16="http://schemas.microsoft.com/office/drawing/2014/main" id="{92E89A7B-B545-0CF5-16BD-E572C5F9ECB6}"/>
              </a:ext>
            </a:extLst>
          </p:cNvPr>
          <p:cNvSpPr txBox="1"/>
          <p:nvPr/>
        </p:nvSpPr>
        <p:spPr>
          <a:xfrm>
            <a:off x="262527" y="820969"/>
            <a:ext cx="4064000" cy="286232"/>
          </a:xfrm>
          <a:prstGeom prst="rect">
            <a:avLst/>
          </a:prstGeom>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mn-cs"/>
              </a:rPr>
              <a:t>Mexico executive summary</a:t>
            </a:r>
          </a:p>
        </p:txBody>
      </p:sp>
      <p:sp>
        <p:nvSpPr>
          <p:cNvPr id="4" name="BigStat 100">
            <a:extLst>
              <a:ext uri="{FF2B5EF4-FFF2-40B4-BE49-F238E27FC236}">
                <a16:creationId xmlns:a16="http://schemas.microsoft.com/office/drawing/2014/main" id="{A709D5DA-5DA9-3ABF-B7E8-F216F16F78BA}"/>
              </a:ext>
            </a:extLst>
          </p:cNvPr>
          <p:cNvSpPr txBox="1"/>
          <p:nvPr>
            <p:custDataLst>
              <p:tags r:id="rId13"/>
            </p:custDataLst>
          </p:nvPr>
        </p:nvSpPr>
        <p:spPr>
          <a:xfrm>
            <a:off x="3238501" y="2991504"/>
            <a:ext cx="2737848" cy="757238"/>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1300</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Mining operations &amp; projects</a:t>
            </a:r>
          </a:p>
        </p:txBody>
      </p:sp>
      <p:sp>
        <p:nvSpPr>
          <p:cNvPr id="60" name="5. Source">
            <a:extLst>
              <a:ext uri="{FF2B5EF4-FFF2-40B4-BE49-F238E27FC236}">
                <a16:creationId xmlns:a16="http://schemas.microsoft.com/office/drawing/2014/main" id="{1C7C506E-49F5-50EC-B53F-A14D74D4885C}"/>
              </a:ext>
            </a:extLst>
          </p:cNvPr>
          <p:cNvSpPr txBox="1"/>
          <p:nvPr>
            <p:custDataLst>
              <p:tags r:id="rId14"/>
            </p:custDataLst>
          </p:nvPr>
        </p:nvSpPr>
        <p:spPr>
          <a:xfrm>
            <a:off x="262528" y="6533620"/>
            <a:ext cx="2582692" cy="184666"/>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6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Source: S&amp;P Global, IBRAM, Americas Market Intelligence, World Bank WDI, IMF (WEO), </a:t>
            </a:r>
            <a:r>
              <a:rPr kumimoji="0" lang="en-US" sz="600" b="0" i="0" u="none" strike="noStrike" kern="1200" cap="none" spc="0" normalizeH="0" baseline="0" noProof="0" dirty="0" err="1">
                <a:ln>
                  <a:noFill/>
                </a:ln>
                <a:solidFill>
                  <a:srgbClr val="FFFFFF"/>
                </a:solidFill>
                <a:effectLst/>
                <a:uLnTx/>
                <a:uFillTx/>
                <a:latin typeface="Calibri" panose="020F0502020204030204" pitchFamily="34" charset="0"/>
                <a:ea typeface="+mn-ea"/>
                <a:cs typeface="Calibri" panose="020F0502020204030204" pitchFamily="34" charset="0"/>
              </a:rPr>
              <a:t>Dentos</a:t>
            </a:r>
            <a:r>
              <a:rPr kumimoji="0" lang="en-US" sz="6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 Global Mining Guide, </a:t>
            </a:r>
            <a:r>
              <a:rPr kumimoji="0" lang="en-US" sz="600" b="0" i="0" u="none" strike="noStrike" kern="1200" cap="none" spc="0" normalizeH="0" baseline="0" noProof="0" dirty="0" err="1">
                <a:ln>
                  <a:noFill/>
                </a:ln>
                <a:solidFill>
                  <a:srgbClr val="FFFFFF"/>
                </a:solidFill>
                <a:effectLst/>
                <a:uLnTx/>
                <a:uFillTx/>
                <a:latin typeface="Calibri" panose="020F0502020204030204" pitchFamily="34" charset="0"/>
                <a:ea typeface="+mn-ea"/>
                <a:cs typeface="Calibri" panose="020F0502020204030204" pitchFamily="34" charset="0"/>
              </a:rPr>
              <a:t>Lexology</a:t>
            </a:r>
            <a:r>
              <a:rPr kumimoji="0" lang="en-US" sz="6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 press search</a:t>
            </a:r>
          </a:p>
        </p:txBody>
      </p:sp>
      <p:sp>
        <p:nvSpPr>
          <p:cNvPr id="62" name="TextBox 61">
            <a:extLst>
              <a:ext uri="{FF2B5EF4-FFF2-40B4-BE49-F238E27FC236}">
                <a16:creationId xmlns:a16="http://schemas.microsoft.com/office/drawing/2014/main" id="{8CAE7050-34D6-137B-71E7-9C451D0DBDD0}"/>
              </a:ext>
            </a:extLst>
          </p:cNvPr>
          <p:cNvSpPr txBox="1"/>
          <p:nvPr/>
        </p:nvSpPr>
        <p:spPr>
          <a:xfrm>
            <a:off x="206823" y="1940012"/>
            <a:ext cx="2533202" cy="4081117"/>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144000" marR="0" lvl="0" indent="-1440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Mexico’s reserves and resources are the </a:t>
            </a: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rPr>
              <a:t>largest in LatAm,</a:t>
            </a: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 and some of the </a:t>
            </a: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rPr>
              <a:t>most significant gold players in the world</a:t>
            </a: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 operate in the country</a:t>
            </a:r>
            <a:endPar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144000" marR="0" lvl="0" indent="-1440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rPr>
              <a:t>Security issues </a:t>
            </a: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due to cartels are relevant, but there are </a:t>
            </a: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rPr>
              <a:t>specific regions in which it is safer to operate</a:t>
            </a:r>
          </a:p>
          <a:p>
            <a:pPr marL="144000" marR="0" lvl="0" indent="-1440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rPr>
              <a:t>Recent regulation changes generated uncertainty </a:t>
            </a: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towards mining investment</a:t>
            </a:r>
          </a:p>
        </p:txBody>
      </p:sp>
    </p:spTree>
    <p:extLst>
      <p:ext uri="{BB962C8B-B14F-4D97-AF65-F5344CB8AC3E}">
        <p14:creationId xmlns:p14="http://schemas.microsoft.com/office/powerpoint/2010/main" val="35089899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8092391-F817-4825-975B-A7CE230F05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395" imgH="396" progId="TCLayout.ActiveDocument.1">
                  <p:embed/>
                </p:oleObj>
              </mc:Choice>
              <mc:Fallback>
                <p:oleObj name="think-cell Slide" r:id="rId25" imgW="395" imgH="396" progId="TCLayout.ActiveDocument.1">
                  <p:embed/>
                  <p:pic>
                    <p:nvPicPr>
                      <p:cNvPr id="5" name="Object 4" hidden="1">
                        <a:extLst>
                          <a:ext uri="{FF2B5EF4-FFF2-40B4-BE49-F238E27FC236}">
                            <a16:creationId xmlns:a16="http://schemas.microsoft.com/office/drawing/2014/main" id="{78092391-F817-4825-975B-A7CE230F0506}"/>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Slide Number Placeholder 5">
            <a:extLst>
              <a:ext uri="{FF2B5EF4-FFF2-40B4-BE49-F238E27FC236}">
                <a16:creationId xmlns:a16="http://schemas.microsoft.com/office/drawing/2014/main" id="{167D3468-42B9-45FA-938B-2DE60CA6C7E7}"/>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endParaRPr>
          </a:p>
        </p:txBody>
      </p:sp>
      <p:sp>
        <p:nvSpPr>
          <p:cNvPr id="7" name="Rectangle: Diagonal Corners Rounded 6">
            <a:extLst>
              <a:ext uri="{FF2B5EF4-FFF2-40B4-BE49-F238E27FC236}">
                <a16:creationId xmlns:a16="http://schemas.microsoft.com/office/drawing/2014/main" id="{D1A5CE68-3036-40BF-A35A-C0C1A8D70A20}"/>
              </a:ext>
            </a:extLst>
          </p:cNvPr>
          <p:cNvSpPr/>
          <p:nvPr/>
        </p:nvSpPr>
        <p:spPr>
          <a:xfrm flipV="1">
            <a:off x="0" y="1094638"/>
            <a:ext cx="3000375" cy="5763362"/>
          </a:xfrm>
          <a:prstGeom prst="round2DiagRect">
            <a:avLst>
              <a:gd name="adj1" fmla="val 5095"/>
              <a:gd name="adj2"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DC1EC433-3EF1-48B7-99B5-529DCED7A6A3}"/>
              </a:ext>
            </a:extLst>
          </p:cNvPr>
          <p:cNvSpPr txBox="1">
            <a:spLocks/>
          </p:cNvSpPr>
          <p:nvPr/>
        </p:nvSpPr>
        <p:spPr>
          <a:xfrm>
            <a:off x="262527" y="1231901"/>
            <a:ext cx="2394947" cy="341313"/>
          </a:xfrm>
          <a:prstGeom prst="rect">
            <a:avLst/>
          </a:prstGeom>
        </p:spPr>
        <p:txBody>
          <a:bodyPr vert="horz" wrap="square" lIns="91440" tIns="45720" rIns="91440" bIns="45720" rtlCol="0">
            <a:no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rPr>
              <a:t>Overview</a:t>
            </a:r>
          </a:p>
        </p:txBody>
      </p:sp>
      <p:sp>
        <p:nvSpPr>
          <p:cNvPr id="8" name="TextBox 7">
            <a:extLst>
              <a:ext uri="{FF2B5EF4-FFF2-40B4-BE49-F238E27FC236}">
                <a16:creationId xmlns:a16="http://schemas.microsoft.com/office/drawing/2014/main" id="{1B2AC41C-9751-4BD4-8334-13028029FFBB}"/>
              </a:ext>
            </a:extLst>
          </p:cNvPr>
          <p:cNvSpPr txBox="1"/>
          <p:nvPr/>
        </p:nvSpPr>
        <p:spPr>
          <a:xfrm>
            <a:off x="3238501" y="1231901"/>
            <a:ext cx="4523785" cy="341313"/>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Mining outlook</a:t>
            </a:r>
          </a:p>
        </p:txBody>
      </p:sp>
      <p:sp>
        <p:nvSpPr>
          <p:cNvPr id="10" name="TextBox 9">
            <a:extLst>
              <a:ext uri="{FF2B5EF4-FFF2-40B4-BE49-F238E27FC236}">
                <a16:creationId xmlns:a16="http://schemas.microsoft.com/office/drawing/2014/main" id="{72A71319-D7DF-494C-A3A2-AACCB837E44E}"/>
              </a:ext>
            </a:extLst>
          </p:cNvPr>
          <p:cNvSpPr txBox="1">
            <a:spLocks/>
          </p:cNvSpPr>
          <p:nvPr/>
        </p:nvSpPr>
        <p:spPr>
          <a:xfrm>
            <a:off x="8953499" y="1231901"/>
            <a:ext cx="2870021" cy="341313"/>
          </a:xfrm>
          <a:prstGeom prst="rect">
            <a:avLst/>
          </a:prstGeom>
        </p:spPr>
        <p:txBody>
          <a:bodyPr vert="horz" wrap="square" lIns="91440" tIns="45720" rIns="91440" bIns="45720" rtlCol="0">
            <a:no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Main risks</a:t>
            </a:r>
          </a:p>
        </p:txBody>
      </p:sp>
      <p:sp>
        <p:nvSpPr>
          <p:cNvPr id="11" name="TextBox 10">
            <a:extLst>
              <a:ext uri="{FF2B5EF4-FFF2-40B4-BE49-F238E27FC236}">
                <a16:creationId xmlns:a16="http://schemas.microsoft.com/office/drawing/2014/main" id="{BD857A46-F9EA-4680-A8D4-A1C2E89C4EC3}"/>
              </a:ext>
            </a:extLst>
          </p:cNvPr>
          <p:cNvSpPr txBox="1"/>
          <p:nvPr/>
        </p:nvSpPr>
        <p:spPr>
          <a:xfrm>
            <a:off x="3238501" y="1633538"/>
            <a:ext cx="2737848" cy="314325"/>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Importance for the country</a:t>
            </a:r>
          </a:p>
        </p:txBody>
      </p:sp>
      <p:sp>
        <p:nvSpPr>
          <p:cNvPr id="12" name="TextBox 11">
            <a:extLst>
              <a:ext uri="{FF2B5EF4-FFF2-40B4-BE49-F238E27FC236}">
                <a16:creationId xmlns:a16="http://schemas.microsoft.com/office/drawing/2014/main" id="{26552266-20AA-42F4-9FEB-E5C1FA3551B9}"/>
              </a:ext>
            </a:extLst>
          </p:cNvPr>
          <p:cNvSpPr txBox="1"/>
          <p:nvPr/>
        </p:nvSpPr>
        <p:spPr>
          <a:xfrm>
            <a:off x="6214475" y="1633538"/>
            <a:ext cx="2394947" cy="314325"/>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Gold mining in numbers</a:t>
            </a:r>
          </a:p>
        </p:txBody>
      </p:sp>
      <p:sp>
        <p:nvSpPr>
          <p:cNvPr id="100" name="BigStat 100">
            <a:extLst>
              <a:ext uri="{FF2B5EF4-FFF2-40B4-BE49-F238E27FC236}">
                <a16:creationId xmlns:a16="http://schemas.microsoft.com/office/drawing/2014/main" id="{CD719AC9-6C18-4195-B152-24B07B6A6612}"/>
              </a:ext>
            </a:extLst>
          </p:cNvPr>
          <p:cNvSpPr txBox="1"/>
          <p:nvPr>
            <p:custDataLst>
              <p:tags r:id="rId2"/>
            </p:custDataLst>
          </p:nvPr>
        </p:nvSpPr>
        <p:spPr>
          <a:xfrm>
            <a:off x="3238500" y="1965325"/>
            <a:ext cx="2857499" cy="923330"/>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2 </a:t>
            </a:r>
            <a:r>
              <a:rPr kumimoji="0" lang="en-US" sz="16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BUSD</a:t>
            </a: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 (0.6%)</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GDP from Mining (% of the country’s total GDP)</a:t>
            </a:r>
          </a:p>
        </p:txBody>
      </p:sp>
      <p:grpSp>
        <p:nvGrpSpPr>
          <p:cNvPr id="121" name="Group 120">
            <a:extLst>
              <a:ext uri="{FF2B5EF4-FFF2-40B4-BE49-F238E27FC236}">
                <a16:creationId xmlns:a16="http://schemas.microsoft.com/office/drawing/2014/main" id="{DDE23F5E-33B3-41E0-96BD-B12A9EBD2276}"/>
              </a:ext>
            </a:extLst>
          </p:cNvPr>
          <p:cNvGrpSpPr/>
          <p:nvPr/>
        </p:nvGrpSpPr>
        <p:grpSpPr>
          <a:xfrm>
            <a:off x="3238501" y="3767664"/>
            <a:ext cx="2611609" cy="480131"/>
            <a:chOff x="3238501" y="4749814"/>
            <a:chExt cx="2611609" cy="479530"/>
          </a:xfrm>
        </p:grpSpPr>
        <p:grpSp>
          <p:nvGrpSpPr>
            <p:cNvPr id="106" name="CheckmarkBlue 106">
              <a:extLst>
                <a:ext uri="{FF2B5EF4-FFF2-40B4-BE49-F238E27FC236}">
                  <a16:creationId xmlns:a16="http://schemas.microsoft.com/office/drawing/2014/main" id="{9896BB38-D997-4948-8179-E60E9FA09410}"/>
                </a:ext>
              </a:extLst>
            </p:cNvPr>
            <p:cNvGrpSpPr>
              <a:grpSpLocks noChangeAspect="1"/>
            </p:cNvGrpSpPr>
            <p:nvPr>
              <p:custDataLst>
                <p:tags r:id="rId22"/>
              </p:custDataLst>
            </p:nvPr>
          </p:nvGrpSpPr>
          <p:grpSpPr>
            <a:xfrm>
              <a:off x="3238501" y="4772456"/>
              <a:ext cx="268648" cy="268648"/>
              <a:chOff x="1016000" y="1016000"/>
              <a:chExt cx="396228" cy="396228"/>
            </a:xfrm>
          </p:grpSpPr>
          <p:sp>
            <p:nvSpPr>
              <p:cNvPr id="103" name="Oval 102">
                <a:extLst>
                  <a:ext uri="{FF2B5EF4-FFF2-40B4-BE49-F238E27FC236}">
                    <a16:creationId xmlns:a16="http://schemas.microsoft.com/office/drawing/2014/main" id="{4B9934FC-AE8E-4AA8-BAF0-9476EB4E90BC}"/>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05" name="Graphic 104">
                <a:extLst>
                  <a:ext uri="{FF2B5EF4-FFF2-40B4-BE49-F238E27FC236}">
                    <a16:creationId xmlns:a16="http://schemas.microsoft.com/office/drawing/2014/main" id="{FFD06596-95A3-40AD-B50C-9BDFC8F1DF1C}"/>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1023614" y="1023614"/>
                <a:ext cx="381000" cy="381000"/>
              </a:xfrm>
              <a:prstGeom prst="rect">
                <a:avLst/>
              </a:prstGeom>
            </p:spPr>
          </p:pic>
        </p:grpSp>
        <p:sp>
          <p:nvSpPr>
            <p:cNvPr id="108" name="TextBox 107">
              <a:extLst>
                <a:ext uri="{FF2B5EF4-FFF2-40B4-BE49-F238E27FC236}">
                  <a16:creationId xmlns:a16="http://schemas.microsoft.com/office/drawing/2014/main" id="{31962308-D58A-46E0-8CC9-9B2CCF076613}"/>
                </a:ext>
              </a:extLst>
            </p:cNvPr>
            <p:cNvSpPr txBox="1"/>
            <p:nvPr/>
          </p:nvSpPr>
          <p:spPr>
            <a:xfrm>
              <a:off x="3512311" y="4749814"/>
              <a:ext cx="2337799" cy="479530"/>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Strong geological potential, particularly gold and copper</a:t>
              </a:r>
            </a:p>
          </p:txBody>
        </p:sp>
      </p:grpSp>
      <p:grpSp>
        <p:nvGrpSpPr>
          <p:cNvPr id="122" name="Group 121">
            <a:extLst>
              <a:ext uri="{FF2B5EF4-FFF2-40B4-BE49-F238E27FC236}">
                <a16:creationId xmlns:a16="http://schemas.microsoft.com/office/drawing/2014/main" id="{A7CCE14C-E775-478A-9111-39D92FBBC064}"/>
              </a:ext>
            </a:extLst>
          </p:cNvPr>
          <p:cNvGrpSpPr/>
          <p:nvPr/>
        </p:nvGrpSpPr>
        <p:grpSpPr>
          <a:xfrm>
            <a:off x="3238501" y="4270005"/>
            <a:ext cx="2611609" cy="480131"/>
            <a:chOff x="3238501" y="5199292"/>
            <a:chExt cx="2611609" cy="479530"/>
          </a:xfrm>
        </p:grpSpPr>
        <p:grpSp>
          <p:nvGrpSpPr>
            <p:cNvPr id="109" name="CheckmarkBlue 106">
              <a:extLst>
                <a:ext uri="{FF2B5EF4-FFF2-40B4-BE49-F238E27FC236}">
                  <a16:creationId xmlns:a16="http://schemas.microsoft.com/office/drawing/2014/main" id="{C8F22BB2-471A-4965-AFFF-6FDBF5695F90}"/>
                </a:ext>
              </a:extLst>
            </p:cNvPr>
            <p:cNvGrpSpPr>
              <a:grpSpLocks noChangeAspect="1"/>
            </p:cNvGrpSpPr>
            <p:nvPr>
              <p:custDataLst>
                <p:tags r:id="rId21"/>
              </p:custDataLst>
            </p:nvPr>
          </p:nvGrpSpPr>
          <p:grpSpPr>
            <a:xfrm>
              <a:off x="3238501" y="5221934"/>
              <a:ext cx="268648" cy="268648"/>
              <a:chOff x="1016000" y="1016000"/>
              <a:chExt cx="396228" cy="396228"/>
            </a:xfrm>
          </p:grpSpPr>
          <p:sp>
            <p:nvSpPr>
              <p:cNvPr id="110" name="Oval 109">
                <a:extLst>
                  <a:ext uri="{FF2B5EF4-FFF2-40B4-BE49-F238E27FC236}">
                    <a16:creationId xmlns:a16="http://schemas.microsoft.com/office/drawing/2014/main" id="{97B13D1E-9109-40C7-8602-79671060235E}"/>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11" name="Graphic 110">
                <a:extLst>
                  <a:ext uri="{FF2B5EF4-FFF2-40B4-BE49-F238E27FC236}">
                    <a16:creationId xmlns:a16="http://schemas.microsoft.com/office/drawing/2014/main" id="{9713C298-EC59-4122-A98B-6E84FF62918C}"/>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1023614" y="1023614"/>
                <a:ext cx="381000" cy="381000"/>
              </a:xfrm>
              <a:prstGeom prst="rect">
                <a:avLst/>
              </a:prstGeom>
            </p:spPr>
          </p:pic>
        </p:grpSp>
        <p:sp>
          <p:nvSpPr>
            <p:cNvPr id="112" name="TextBox 111">
              <a:extLst>
                <a:ext uri="{FF2B5EF4-FFF2-40B4-BE49-F238E27FC236}">
                  <a16:creationId xmlns:a16="http://schemas.microsoft.com/office/drawing/2014/main" id="{AD1406F8-4661-4248-8773-B660B7776C2B}"/>
                </a:ext>
              </a:extLst>
            </p:cNvPr>
            <p:cNvSpPr txBox="1"/>
            <p:nvPr/>
          </p:nvSpPr>
          <p:spPr>
            <a:xfrm>
              <a:off x="3512311" y="5199292"/>
              <a:ext cx="2337799" cy="479530"/>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Support for mining in key hubs, e.g., Antioquia</a:t>
              </a:r>
            </a:p>
          </p:txBody>
        </p:sp>
      </p:grpSp>
      <p:grpSp>
        <p:nvGrpSpPr>
          <p:cNvPr id="123" name="Group 122">
            <a:extLst>
              <a:ext uri="{FF2B5EF4-FFF2-40B4-BE49-F238E27FC236}">
                <a16:creationId xmlns:a16="http://schemas.microsoft.com/office/drawing/2014/main" id="{0194005B-D523-446D-85CA-40EF4BFBEB28}"/>
              </a:ext>
            </a:extLst>
          </p:cNvPr>
          <p:cNvGrpSpPr/>
          <p:nvPr/>
        </p:nvGrpSpPr>
        <p:grpSpPr>
          <a:xfrm>
            <a:off x="3238501" y="4749675"/>
            <a:ext cx="2611609" cy="480131"/>
            <a:chOff x="3238501" y="5648770"/>
            <a:chExt cx="2611609" cy="479530"/>
          </a:xfrm>
        </p:grpSpPr>
        <p:grpSp>
          <p:nvGrpSpPr>
            <p:cNvPr id="113" name="CheckmarkBlue 106">
              <a:extLst>
                <a:ext uri="{FF2B5EF4-FFF2-40B4-BE49-F238E27FC236}">
                  <a16:creationId xmlns:a16="http://schemas.microsoft.com/office/drawing/2014/main" id="{CDFB78B2-7660-415B-9B20-58F68D55B4FA}"/>
                </a:ext>
              </a:extLst>
            </p:cNvPr>
            <p:cNvGrpSpPr>
              <a:grpSpLocks noChangeAspect="1"/>
            </p:cNvGrpSpPr>
            <p:nvPr>
              <p:custDataLst>
                <p:tags r:id="rId20"/>
              </p:custDataLst>
            </p:nvPr>
          </p:nvGrpSpPr>
          <p:grpSpPr>
            <a:xfrm>
              <a:off x="3238501" y="5671412"/>
              <a:ext cx="268648" cy="268648"/>
              <a:chOff x="1016000" y="1016000"/>
              <a:chExt cx="396228" cy="396228"/>
            </a:xfrm>
          </p:grpSpPr>
          <p:sp>
            <p:nvSpPr>
              <p:cNvPr id="114" name="Oval 113">
                <a:extLst>
                  <a:ext uri="{FF2B5EF4-FFF2-40B4-BE49-F238E27FC236}">
                    <a16:creationId xmlns:a16="http://schemas.microsoft.com/office/drawing/2014/main" id="{DF70ECE0-CF28-481E-ADB9-F052536C5007}"/>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15" name="Graphic 114">
                <a:extLst>
                  <a:ext uri="{FF2B5EF4-FFF2-40B4-BE49-F238E27FC236}">
                    <a16:creationId xmlns:a16="http://schemas.microsoft.com/office/drawing/2014/main" id="{4D3FC6F2-DC01-4825-BBF4-B78E01224B91}"/>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1023614" y="1023614"/>
                <a:ext cx="381000" cy="381000"/>
              </a:xfrm>
              <a:prstGeom prst="rect">
                <a:avLst/>
              </a:prstGeom>
            </p:spPr>
          </p:pic>
        </p:grpSp>
        <p:sp>
          <p:nvSpPr>
            <p:cNvPr id="116" name="TextBox 115">
              <a:extLst>
                <a:ext uri="{FF2B5EF4-FFF2-40B4-BE49-F238E27FC236}">
                  <a16:creationId xmlns:a16="http://schemas.microsoft.com/office/drawing/2014/main" id="{54D0E05A-5009-4FFC-8D48-D6EC5891D736}"/>
                </a:ext>
              </a:extLst>
            </p:cNvPr>
            <p:cNvSpPr txBox="1"/>
            <p:nvPr/>
          </p:nvSpPr>
          <p:spPr>
            <a:xfrm>
              <a:off x="3512311" y="5648770"/>
              <a:ext cx="2337799" cy="479530"/>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1</a:t>
              </a:r>
              <a:r>
                <a:rPr kumimoji="0" lang="en-US" sz="1400" b="0" i="0" u="none" strike="noStrike" kern="1200" cap="none" spc="0" normalizeH="0" baseline="30000" noProof="0" dirty="0">
                  <a:ln>
                    <a:noFill/>
                  </a:ln>
                  <a:solidFill>
                    <a:srgbClr val="000000"/>
                  </a:solidFill>
                  <a:effectLst/>
                  <a:uLnTx/>
                  <a:uFillTx/>
                  <a:latin typeface="Calibri" panose="020F0502020204030204"/>
                  <a:ea typeface="+mn-ea"/>
                  <a:cs typeface="Calibri" panose="020F0502020204030204" pitchFamily="34" charset="0"/>
                </a:rPr>
                <a:t>st</a:t>
              </a: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 global-scale mine in development: </a:t>
              </a:r>
              <a:r>
                <a:rPr kumimoji="0" lang="en-US" sz="1400" b="0" i="0" u="none" strike="noStrike" kern="1200" cap="none" spc="0" normalizeH="0" baseline="0" noProof="0" dirty="0" err="1">
                  <a:ln>
                    <a:noFill/>
                  </a:ln>
                  <a:solidFill>
                    <a:srgbClr val="000000"/>
                  </a:solidFill>
                  <a:effectLst/>
                  <a:uLnTx/>
                  <a:uFillTx/>
                  <a:latin typeface="Calibri" panose="020F0502020204030204"/>
                  <a:ea typeface="+mn-ea"/>
                  <a:cs typeface="Calibri" panose="020F0502020204030204" pitchFamily="34" charset="0"/>
                </a:rPr>
                <a:t>Quebradona</a:t>
              </a:r>
              <a:endPar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endParaRPr>
            </a:p>
          </p:txBody>
        </p:sp>
      </p:grpSp>
      <p:sp>
        <p:nvSpPr>
          <p:cNvPr id="125" name="BigStat 100">
            <a:extLst>
              <a:ext uri="{FF2B5EF4-FFF2-40B4-BE49-F238E27FC236}">
                <a16:creationId xmlns:a16="http://schemas.microsoft.com/office/drawing/2014/main" id="{736CED63-F3F0-44DC-B584-A0313FAB62CE}"/>
              </a:ext>
            </a:extLst>
          </p:cNvPr>
          <p:cNvSpPr txBox="1"/>
          <p:nvPr>
            <p:custDataLst>
              <p:tags r:id="rId3"/>
            </p:custDataLst>
          </p:nvPr>
        </p:nvSpPr>
        <p:spPr>
          <a:xfrm>
            <a:off x="6214475" y="1949450"/>
            <a:ext cx="2737848" cy="923330"/>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6</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Industrial scale gold mines currently operating</a:t>
            </a:r>
          </a:p>
        </p:txBody>
      </p:sp>
      <p:sp>
        <p:nvSpPr>
          <p:cNvPr id="126" name="BigStat 100">
            <a:extLst>
              <a:ext uri="{FF2B5EF4-FFF2-40B4-BE49-F238E27FC236}">
                <a16:creationId xmlns:a16="http://schemas.microsoft.com/office/drawing/2014/main" id="{66EC6B8E-22E3-4645-B336-AEDE2ADDC866}"/>
              </a:ext>
            </a:extLst>
          </p:cNvPr>
          <p:cNvSpPr txBox="1"/>
          <p:nvPr>
            <p:custDataLst>
              <p:tags r:id="rId4"/>
            </p:custDataLst>
          </p:nvPr>
        </p:nvSpPr>
        <p:spPr>
          <a:xfrm>
            <a:off x="6214475" y="2863463"/>
            <a:ext cx="2737848" cy="728663"/>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1.9 </a:t>
            </a:r>
            <a:r>
              <a:rPr kumimoji="0" lang="en-US" sz="3200" b="1" i="0" u="none" strike="noStrike" kern="1200" cap="none" spc="0" normalizeH="0" baseline="0" noProof="0" dirty="0" err="1">
                <a:ln>
                  <a:noFill/>
                </a:ln>
                <a:solidFill>
                  <a:srgbClr val="B39759"/>
                </a:solidFill>
                <a:effectLst/>
                <a:uLnTx/>
                <a:uFillTx/>
                <a:latin typeface="Calibri Light" panose="020F0302020204030204"/>
                <a:ea typeface="+mn-ea"/>
                <a:cs typeface="Calibri" panose="020F0502020204030204" pitchFamily="34" charset="0"/>
              </a:rPr>
              <a:t>Moz</a:t>
            </a: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 (1%)</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Gold production (growth 21-22)</a:t>
            </a:r>
          </a:p>
        </p:txBody>
      </p:sp>
      <p:sp>
        <p:nvSpPr>
          <p:cNvPr id="144" name="TextBox 143">
            <a:extLst>
              <a:ext uri="{FF2B5EF4-FFF2-40B4-BE49-F238E27FC236}">
                <a16:creationId xmlns:a16="http://schemas.microsoft.com/office/drawing/2014/main" id="{E8106E64-E8A4-4E6C-8094-05F333F3310F}"/>
              </a:ext>
            </a:extLst>
          </p:cNvPr>
          <p:cNvSpPr txBox="1"/>
          <p:nvPr/>
        </p:nvSpPr>
        <p:spPr>
          <a:xfrm>
            <a:off x="8953499" y="1633539"/>
            <a:ext cx="2870021" cy="2914644"/>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Regulatory uncertainty</a:t>
            </a:r>
            <a:r>
              <a:rPr kumimoji="0" lang="en-US" sz="16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 over protected areas, open pit mining licensing, exploration and taxation</a:t>
            </a:r>
            <a:endParaRPr kumimoji="0" lang="en-US" sz="1600" b="1"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Large illegal mining activity </a:t>
            </a:r>
            <a:r>
              <a:rPr kumimoji="0" lang="en-US" sz="16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may pose a security threat</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Environmental activism</a:t>
            </a:r>
            <a:r>
              <a:rPr kumimoji="0" lang="en-US" sz="16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 and community opposition in some region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Relatively small mining ecosystem</a:t>
            </a:r>
          </a:p>
        </p:txBody>
      </p:sp>
      <p:cxnSp>
        <p:nvCxnSpPr>
          <p:cNvPr id="150" name="LineContentSeparatorDefault 150">
            <a:extLst>
              <a:ext uri="{FF2B5EF4-FFF2-40B4-BE49-F238E27FC236}">
                <a16:creationId xmlns:a16="http://schemas.microsoft.com/office/drawing/2014/main" id="{74B6E49E-3407-4E23-92E6-CE2E3937239F}"/>
              </a:ext>
            </a:extLst>
          </p:cNvPr>
          <p:cNvCxnSpPr>
            <a:cxnSpLocks/>
          </p:cNvCxnSpPr>
          <p:nvPr>
            <p:custDataLst>
              <p:tags r:id="rId5"/>
            </p:custDataLst>
          </p:nvPr>
        </p:nvCxnSpPr>
        <p:spPr>
          <a:xfrm>
            <a:off x="262527" y="1566863"/>
            <a:ext cx="2394947" cy="0"/>
          </a:xfrm>
          <a:prstGeom prst="straightConnector1">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2" name="LineContentSeparatorDefault 150">
            <a:extLst>
              <a:ext uri="{FF2B5EF4-FFF2-40B4-BE49-F238E27FC236}">
                <a16:creationId xmlns:a16="http://schemas.microsoft.com/office/drawing/2014/main" id="{10A2A179-A986-464E-992D-7F7C71DADDAE}"/>
              </a:ext>
            </a:extLst>
          </p:cNvPr>
          <p:cNvCxnSpPr>
            <a:cxnSpLocks/>
          </p:cNvCxnSpPr>
          <p:nvPr>
            <p:custDataLst>
              <p:tags r:id="rId6"/>
            </p:custDataLst>
          </p:nvPr>
        </p:nvCxnSpPr>
        <p:spPr>
          <a:xfrm>
            <a:off x="3238501" y="1566863"/>
            <a:ext cx="5495924" cy="0"/>
          </a:xfrm>
          <a:prstGeom prst="straightConnector1">
            <a:avLst/>
          </a:prstGeom>
          <a:ln w="6350">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154" name="LineContentSeparatorDefault 150">
            <a:extLst>
              <a:ext uri="{FF2B5EF4-FFF2-40B4-BE49-F238E27FC236}">
                <a16:creationId xmlns:a16="http://schemas.microsoft.com/office/drawing/2014/main" id="{5DD69DFA-90AE-4BC4-B32C-7D033758F7AF}"/>
              </a:ext>
            </a:extLst>
          </p:cNvPr>
          <p:cNvCxnSpPr>
            <a:cxnSpLocks/>
          </p:cNvCxnSpPr>
          <p:nvPr>
            <p:custDataLst>
              <p:tags r:id="rId7"/>
            </p:custDataLst>
          </p:nvPr>
        </p:nvCxnSpPr>
        <p:spPr>
          <a:xfrm>
            <a:off x="8953500" y="1566863"/>
            <a:ext cx="2870021" cy="0"/>
          </a:xfrm>
          <a:prstGeom prst="straightConnector1">
            <a:avLst/>
          </a:prstGeom>
          <a:ln w="6350">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nvGrpSpPr>
          <p:cNvPr id="158" name="ChevronWhite 158">
            <a:extLst>
              <a:ext uri="{FF2B5EF4-FFF2-40B4-BE49-F238E27FC236}">
                <a16:creationId xmlns:a16="http://schemas.microsoft.com/office/drawing/2014/main" id="{7A57A53C-82A1-4767-B284-15634A46B7E3}"/>
              </a:ext>
            </a:extLst>
          </p:cNvPr>
          <p:cNvGrpSpPr>
            <a:grpSpLocks noChangeAspect="1"/>
          </p:cNvGrpSpPr>
          <p:nvPr>
            <p:custDataLst>
              <p:tags r:id="rId8"/>
            </p:custDataLst>
          </p:nvPr>
        </p:nvGrpSpPr>
        <p:grpSpPr>
          <a:xfrm>
            <a:off x="2839392" y="1385889"/>
            <a:ext cx="303213" cy="303213"/>
            <a:chOff x="1016000" y="1016000"/>
            <a:chExt cx="396228" cy="396228"/>
          </a:xfrm>
        </p:grpSpPr>
        <p:sp>
          <p:nvSpPr>
            <p:cNvPr id="155" name="Oval 154">
              <a:extLst>
                <a:ext uri="{FF2B5EF4-FFF2-40B4-BE49-F238E27FC236}">
                  <a16:creationId xmlns:a16="http://schemas.microsoft.com/office/drawing/2014/main" id="{AA98363E-41C0-4689-B779-4AC4E4884E0F}"/>
                </a:ext>
              </a:extLst>
            </p:cNvPr>
            <p:cNvSpPr/>
            <p:nvPr/>
          </p:nvSpPr>
          <p:spPr>
            <a:xfrm>
              <a:off x="1016000" y="1016000"/>
              <a:ext cx="396228" cy="396228"/>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57" name="Graphic 156">
              <a:extLst>
                <a:ext uri="{FF2B5EF4-FFF2-40B4-BE49-F238E27FC236}">
                  <a16:creationId xmlns:a16="http://schemas.microsoft.com/office/drawing/2014/main" id="{B037DC85-89A7-424E-9471-A1BFB5820EFB}"/>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1023614" y="1023614"/>
              <a:ext cx="381000" cy="381000"/>
            </a:xfrm>
            <a:prstGeom prst="rect">
              <a:avLst/>
            </a:prstGeom>
          </p:spPr>
        </p:pic>
      </p:grpSp>
      <p:grpSp>
        <p:nvGrpSpPr>
          <p:cNvPr id="160" name="ChevronWhite 158">
            <a:extLst>
              <a:ext uri="{FF2B5EF4-FFF2-40B4-BE49-F238E27FC236}">
                <a16:creationId xmlns:a16="http://schemas.microsoft.com/office/drawing/2014/main" id="{68E623C4-99D7-446A-843A-91B9BDFEA093}"/>
              </a:ext>
            </a:extLst>
          </p:cNvPr>
          <p:cNvGrpSpPr>
            <a:grpSpLocks noChangeAspect="1"/>
          </p:cNvGrpSpPr>
          <p:nvPr>
            <p:custDataLst>
              <p:tags r:id="rId9"/>
            </p:custDataLst>
          </p:nvPr>
        </p:nvGrpSpPr>
        <p:grpSpPr>
          <a:xfrm>
            <a:off x="8669338" y="1385889"/>
            <a:ext cx="303213" cy="303213"/>
            <a:chOff x="1016000" y="1016000"/>
            <a:chExt cx="396228" cy="396228"/>
          </a:xfrm>
          <a:solidFill>
            <a:schemeClr val="accent3"/>
          </a:solidFill>
        </p:grpSpPr>
        <p:sp>
          <p:nvSpPr>
            <p:cNvPr id="161" name="Oval 160">
              <a:extLst>
                <a:ext uri="{FF2B5EF4-FFF2-40B4-BE49-F238E27FC236}">
                  <a16:creationId xmlns:a16="http://schemas.microsoft.com/office/drawing/2014/main" id="{44825ED7-26B2-411C-A881-AAFCC0FD9CB9}"/>
                </a:ext>
              </a:extLst>
            </p:cNvPr>
            <p:cNvSpPr/>
            <p:nvPr/>
          </p:nvSpPr>
          <p:spPr>
            <a:xfrm>
              <a:off x="1016000" y="1016000"/>
              <a:ext cx="396228" cy="396228"/>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62" name="Graphic 161">
              <a:extLst>
                <a:ext uri="{FF2B5EF4-FFF2-40B4-BE49-F238E27FC236}">
                  <a16:creationId xmlns:a16="http://schemas.microsoft.com/office/drawing/2014/main" id="{9795E4CD-0104-494F-8ED1-D0068D57A764}"/>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1023614" y="1023614"/>
              <a:ext cx="381000" cy="381000"/>
            </a:xfrm>
            <a:prstGeom prst="rect">
              <a:avLst/>
            </a:prstGeom>
          </p:spPr>
        </p:pic>
      </p:grpSp>
      <p:pic>
        <p:nvPicPr>
          <p:cNvPr id="164" name="Picture 163">
            <a:extLst>
              <a:ext uri="{FF2B5EF4-FFF2-40B4-BE49-F238E27FC236}">
                <a16:creationId xmlns:a16="http://schemas.microsoft.com/office/drawing/2014/main" id="{C08644D0-F3E7-4FD7-A025-99B29EDF625E}"/>
              </a:ext>
            </a:extLst>
          </p:cNvPr>
          <p:cNvPicPr>
            <a:picLocks noChangeAspect="1"/>
          </p:cNvPicPr>
          <p:nvPr>
            <p:custDataLst>
              <p:tags r:id="rId10"/>
            </p:custDataLst>
          </p:nvPr>
        </p:nvPicPr>
        <p:blipFill rotWithShape="1">
          <a:blip r:embed="rId33" cstate="print">
            <a:extLst>
              <a:ext uri="{28A0092B-C50C-407E-A947-70E740481C1C}">
                <a14:useLocalDpi xmlns:a14="http://schemas.microsoft.com/office/drawing/2010/main"/>
              </a:ext>
            </a:extLst>
          </a:blip>
          <a:srcRect/>
          <a:stretch/>
        </p:blipFill>
        <p:spPr>
          <a:xfrm flipH="1">
            <a:off x="8589371" y="4692650"/>
            <a:ext cx="3601355" cy="2028825"/>
          </a:xfrm>
          <a:prstGeom prst="rect">
            <a:avLst/>
          </a:prstGeom>
        </p:spPr>
      </p:pic>
      <p:sp>
        <p:nvSpPr>
          <p:cNvPr id="184" name="BigStat 100">
            <a:extLst>
              <a:ext uri="{FF2B5EF4-FFF2-40B4-BE49-F238E27FC236}">
                <a16:creationId xmlns:a16="http://schemas.microsoft.com/office/drawing/2014/main" id="{41138818-1B86-4B56-90FC-10CF426CCC63}"/>
              </a:ext>
            </a:extLst>
          </p:cNvPr>
          <p:cNvSpPr txBox="1"/>
          <p:nvPr>
            <p:custDataLst>
              <p:tags r:id="rId11"/>
            </p:custDataLst>
          </p:nvPr>
        </p:nvSpPr>
        <p:spPr>
          <a:xfrm>
            <a:off x="6214475" y="3582809"/>
            <a:ext cx="2737848" cy="923925"/>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3</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Gold projects </a:t>
            </a: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expected</a:t>
            </a:r>
            <a:r>
              <a:rPr kumimoji="0" lang="en-US" sz="1400" b="0" i="0" u="none" strike="noStrike" kern="1200" cap="none" spc="0" normalizeH="0" baseline="0" noProof="0" dirty="0">
                <a:ln>
                  <a:noFill/>
                </a:ln>
                <a:solidFill>
                  <a:srgbClr val="FF0000"/>
                </a:solidFill>
                <a:effectLst/>
                <a:uLnTx/>
                <a:uFillTx/>
                <a:latin typeface="Calibri" panose="020F0502020204030204"/>
                <a:ea typeface="+mn-ea"/>
                <a:cs typeface="Calibri" panose="020F0502020204030204" pitchFamily="34" charset="0"/>
              </a:rPr>
              <a:t> </a:t>
            </a: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to be launched prior to 2030</a:t>
            </a:r>
          </a:p>
        </p:txBody>
      </p:sp>
      <p:sp>
        <p:nvSpPr>
          <p:cNvPr id="204" name="BigStat 100">
            <a:extLst>
              <a:ext uri="{FF2B5EF4-FFF2-40B4-BE49-F238E27FC236}">
                <a16:creationId xmlns:a16="http://schemas.microsoft.com/office/drawing/2014/main" id="{954B7A5F-DAEB-4A83-84A4-D077F6763C99}"/>
              </a:ext>
            </a:extLst>
          </p:cNvPr>
          <p:cNvSpPr txBox="1"/>
          <p:nvPr>
            <p:custDataLst>
              <p:tags r:id="rId12"/>
            </p:custDataLst>
          </p:nvPr>
        </p:nvSpPr>
        <p:spPr>
          <a:xfrm>
            <a:off x="6214475" y="4497416"/>
            <a:ext cx="2737848" cy="729430"/>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20 / 72 </a:t>
            </a:r>
            <a:r>
              <a:rPr kumimoji="0" lang="en-US" sz="3200" b="1" i="0" u="none" strike="noStrike" kern="1200" cap="none" spc="0" normalizeH="0" baseline="0" noProof="0" dirty="0" err="1">
                <a:ln>
                  <a:noFill/>
                </a:ln>
                <a:solidFill>
                  <a:srgbClr val="B39759"/>
                </a:solidFill>
                <a:effectLst/>
                <a:uLnTx/>
                <a:uFillTx/>
                <a:latin typeface="Calibri Light" panose="020F0302020204030204"/>
                <a:ea typeface="+mn-ea"/>
                <a:cs typeface="Calibri" panose="020F0502020204030204" pitchFamily="34" charset="0"/>
              </a:rPr>
              <a:t>Moz</a:t>
            </a:r>
            <a:endPar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endParaRP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Gold reserves / Gold R&amp;R</a:t>
            </a:r>
          </a:p>
        </p:txBody>
      </p:sp>
      <p:sp>
        <p:nvSpPr>
          <p:cNvPr id="85" name="TextBox 84">
            <a:extLst>
              <a:ext uri="{FF2B5EF4-FFF2-40B4-BE49-F238E27FC236}">
                <a16:creationId xmlns:a16="http://schemas.microsoft.com/office/drawing/2014/main" id="{BB0E91B3-A14B-F0BD-B384-A818AE4E4601}"/>
              </a:ext>
            </a:extLst>
          </p:cNvPr>
          <p:cNvSpPr txBox="1"/>
          <p:nvPr/>
        </p:nvSpPr>
        <p:spPr>
          <a:xfrm>
            <a:off x="3244970" y="5335690"/>
            <a:ext cx="2737848" cy="258532"/>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Top players in country</a:t>
            </a:r>
          </a:p>
        </p:txBody>
      </p:sp>
      <p:sp>
        <p:nvSpPr>
          <p:cNvPr id="86" name="TextBox 85">
            <a:extLst>
              <a:ext uri="{FF2B5EF4-FFF2-40B4-BE49-F238E27FC236}">
                <a16:creationId xmlns:a16="http://schemas.microsoft.com/office/drawing/2014/main" id="{B334C6C0-AD72-72F7-FE3F-DCA439A113C3}"/>
              </a:ext>
            </a:extLst>
          </p:cNvPr>
          <p:cNvSpPr txBox="1"/>
          <p:nvPr/>
        </p:nvSpPr>
        <p:spPr>
          <a:xfrm>
            <a:off x="6214475" y="5339275"/>
            <a:ext cx="2394947" cy="258532"/>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Top gold miners</a:t>
            </a:r>
          </a:p>
        </p:txBody>
      </p:sp>
      <p:pic>
        <p:nvPicPr>
          <p:cNvPr id="32" name="Picture 31">
            <a:extLst>
              <a:ext uri="{FF2B5EF4-FFF2-40B4-BE49-F238E27FC236}">
                <a16:creationId xmlns:a16="http://schemas.microsoft.com/office/drawing/2014/main" id="{9162718B-AB82-6D8E-61CC-E13B8888EB65}"/>
              </a:ext>
            </a:extLst>
          </p:cNvPr>
          <p:cNvPicPr>
            <a:picLocks/>
          </p:cNvPicPr>
          <p:nvPr/>
        </p:nvPicPr>
        <p:blipFill rotWithShape="1">
          <a:blip r:embed="rId34" cstate="screen">
            <a:extLst>
              <a:ext uri="{28A0092B-C50C-407E-A947-70E740481C1C}">
                <a14:useLocalDpi xmlns:a14="http://schemas.microsoft.com/office/drawing/2010/main"/>
              </a:ext>
            </a:extLst>
          </a:blip>
          <a:srcRect/>
          <a:stretch/>
        </p:blipFill>
        <p:spPr>
          <a:xfrm>
            <a:off x="8762207" y="358581"/>
            <a:ext cx="604510" cy="604510"/>
          </a:xfrm>
          <a:prstGeom prst="ellipse">
            <a:avLst/>
          </a:prstGeom>
          <a:ln>
            <a:solidFill>
              <a:srgbClr val="CCCCCC"/>
            </a:solidFill>
          </a:ln>
        </p:spPr>
      </p:pic>
      <p:sp>
        <p:nvSpPr>
          <p:cNvPr id="15" name="Title 1">
            <a:extLst>
              <a:ext uri="{FF2B5EF4-FFF2-40B4-BE49-F238E27FC236}">
                <a16:creationId xmlns:a16="http://schemas.microsoft.com/office/drawing/2014/main" id="{D35D8D57-BA88-75FF-9F0D-48CED9902967}"/>
              </a:ext>
            </a:extLst>
          </p:cNvPr>
          <p:cNvSpPr txBox="1">
            <a:spLocks/>
          </p:cNvSpPr>
          <p:nvPr/>
        </p:nvSpPr>
        <p:spPr>
          <a:xfrm>
            <a:off x="262527" y="175755"/>
            <a:ext cx="8471898" cy="75713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ctr" anchorCtr="0">
            <a:spAutoFit/>
          </a:bodyPr>
          <a:lstStyle>
            <a:lvl1pPr algn="l" defTabSz="914400" rtl="0" eaLnBrk="1" latinLnBrk="0" hangingPunct="1">
              <a:lnSpc>
                <a:spcPct val="90000"/>
              </a:lnSpc>
              <a:spcBef>
                <a:spcPct val="0"/>
              </a:spcBef>
              <a:buNone/>
              <a:defRPr sz="3200" b="1" i="0" kern="1200">
                <a:solidFill>
                  <a:srgbClr val="002060"/>
                </a:solidFill>
                <a:latin typeface="Calibri" panose="020F0502020204030204" pitchFamily="34" charset="0"/>
                <a:ea typeface="+mj-ea"/>
                <a:cs typeface="Calibri" panose="020F050202020403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Calibri" panose="020F0502020204030204" pitchFamily="34" charset="0"/>
                <a:ea typeface="+mj-ea"/>
                <a:cs typeface="Calibri" panose="020F0502020204030204" pitchFamily="34" charset="0"/>
              </a:rPr>
              <a:t>Colombia presents high quality gold resources, but requires miners to tackle security and community issues</a:t>
            </a:r>
            <a:endParaRPr kumimoji="0" lang="en-CA" sz="2400" b="1" i="0" u="none" strike="noStrike" kern="1200" cap="none" spc="0" normalizeH="0" baseline="0" noProof="0" dirty="0">
              <a:ln>
                <a:noFill/>
              </a:ln>
              <a:solidFill>
                <a:srgbClr val="002060"/>
              </a:solidFill>
              <a:effectLst/>
              <a:uLnTx/>
              <a:uFillTx/>
              <a:latin typeface="Calibri" panose="020F0502020204030204" pitchFamily="34" charset="0"/>
              <a:ea typeface="+mj-ea"/>
              <a:cs typeface="Calibri" panose="020F0502020204030204" pitchFamily="34" charset="0"/>
            </a:endParaRPr>
          </a:p>
        </p:txBody>
      </p:sp>
      <p:sp>
        <p:nvSpPr>
          <p:cNvPr id="22" name="TextBox 21">
            <a:extLst>
              <a:ext uri="{FF2B5EF4-FFF2-40B4-BE49-F238E27FC236}">
                <a16:creationId xmlns:a16="http://schemas.microsoft.com/office/drawing/2014/main" id="{0621A3EA-5C31-C42C-CD4D-EB626CA46CC6}"/>
              </a:ext>
            </a:extLst>
          </p:cNvPr>
          <p:cNvSpPr txBox="1"/>
          <p:nvPr/>
        </p:nvSpPr>
        <p:spPr>
          <a:xfrm>
            <a:off x="262527" y="820969"/>
            <a:ext cx="4064000" cy="286232"/>
          </a:xfrm>
          <a:prstGeom prst="rect">
            <a:avLst/>
          </a:prstGeom>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mn-cs"/>
              </a:rPr>
              <a:t>Colombia executive summary</a:t>
            </a:r>
          </a:p>
        </p:txBody>
      </p:sp>
      <p:sp>
        <p:nvSpPr>
          <p:cNvPr id="3" name="BigStat 100">
            <a:extLst>
              <a:ext uri="{FF2B5EF4-FFF2-40B4-BE49-F238E27FC236}">
                <a16:creationId xmlns:a16="http://schemas.microsoft.com/office/drawing/2014/main" id="{39D9FA94-50C2-E0D2-A4ED-61FCD49A1BAB}"/>
              </a:ext>
            </a:extLst>
          </p:cNvPr>
          <p:cNvSpPr txBox="1"/>
          <p:nvPr>
            <p:custDataLst>
              <p:tags r:id="rId13"/>
            </p:custDataLst>
          </p:nvPr>
        </p:nvSpPr>
        <p:spPr>
          <a:xfrm>
            <a:off x="3238501" y="2949537"/>
            <a:ext cx="2737848" cy="757238"/>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260</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Mining operations &amp; projects</a:t>
            </a:r>
          </a:p>
        </p:txBody>
      </p:sp>
      <p:sp>
        <p:nvSpPr>
          <p:cNvPr id="63" name="5. Source">
            <a:extLst>
              <a:ext uri="{FF2B5EF4-FFF2-40B4-BE49-F238E27FC236}">
                <a16:creationId xmlns:a16="http://schemas.microsoft.com/office/drawing/2014/main" id="{E5253BC4-3CF3-9E3F-5F36-79267B7AAD57}"/>
              </a:ext>
            </a:extLst>
          </p:cNvPr>
          <p:cNvSpPr txBox="1"/>
          <p:nvPr>
            <p:custDataLst>
              <p:tags r:id="rId14"/>
            </p:custDataLst>
          </p:nvPr>
        </p:nvSpPr>
        <p:spPr>
          <a:xfrm>
            <a:off x="262528" y="6533620"/>
            <a:ext cx="2582692" cy="184666"/>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6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Source: S&amp;P Global, IBRAM, Americas Market Intelligence, World Bank WDI, IMF (WEO), </a:t>
            </a:r>
            <a:r>
              <a:rPr kumimoji="0" lang="en-US" sz="600" b="0" i="0" u="none" strike="noStrike" kern="1200" cap="none" spc="0" normalizeH="0" baseline="0" noProof="0" dirty="0" err="1">
                <a:ln>
                  <a:noFill/>
                </a:ln>
                <a:solidFill>
                  <a:srgbClr val="FFFFFF"/>
                </a:solidFill>
                <a:effectLst/>
                <a:uLnTx/>
                <a:uFillTx/>
                <a:latin typeface="Calibri" panose="020F0502020204030204" pitchFamily="34" charset="0"/>
                <a:ea typeface="+mn-ea"/>
                <a:cs typeface="Calibri" panose="020F0502020204030204" pitchFamily="34" charset="0"/>
              </a:rPr>
              <a:t>Dentos</a:t>
            </a:r>
            <a:r>
              <a:rPr kumimoji="0" lang="en-US" sz="6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 Global Mining Guide, </a:t>
            </a:r>
            <a:r>
              <a:rPr kumimoji="0" lang="en-US" sz="600" b="0" i="0" u="none" strike="noStrike" kern="1200" cap="none" spc="0" normalizeH="0" baseline="0" noProof="0" dirty="0" err="1">
                <a:ln>
                  <a:noFill/>
                </a:ln>
                <a:solidFill>
                  <a:srgbClr val="FFFFFF"/>
                </a:solidFill>
                <a:effectLst/>
                <a:uLnTx/>
                <a:uFillTx/>
                <a:latin typeface="Calibri" panose="020F0502020204030204" pitchFamily="34" charset="0"/>
                <a:ea typeface="+mn-ea"/>
                <a:cs typeface="Calibri" panose="020F0502020204030204" pitchFamily="34" charset="0"/>
              </a:rPr>
              <a:t>Lexology</a:t>
            </a:r>
            <a:r>
              <a:rPr kumimoji="0" lang="en-US" sz="6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 press search</a:t>
            </a:r>
          </a:p>
        </p:txBody>
      </p:sp>
      <p:sp>
        <p:nvSpPr>
          <p:cNvPr id="65" name="TextBox 64">
            <a:extLst>
              <a:ext uri="{FF2B5EF4-FFF2-40B4-BE49-F238E27FC236}">
                <a16:creationId xmlns:a16="http://schemas.microsoft.com/office/drawing/2014/main" id="{523D215C-082D-33BB-2A93-B8FE338C2123}"/>
              </a:ext>
            </a:extLst>
          </p:cNvPr>
          <p:cNvSpPr txBox="1"/>
          <p:nvPr/>
        </p:nvSpPr>
        <p:spPr>
          <a:xfrm>
            <a:off x="206823" y="1940012"/>
            <a:ext cx="2533202" cy="3831818"/>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144000" marR="0" lvl="0" indent="-1440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Colombia has the </a:t>
            </a: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rPr>
              <a:t>highest gold grades in </a:t>
            </a:r>
            <a:r>
              <a:rPr kumimoji="0" lang="en-US" sz="1800" b="1" i="0" u="none" strike="noStrike" kern="1200" cap="none" spc="0" normalizeH="0" baseline="0" noProof="0" dirty="0" err="1">
                <a:ln>
                  <a:noFill/>
                </a:ln>
                <a:solidFill>
                  <a:srgbClr val="FFFFFF"/>
                </a:solidFill>
                <a:effectLst/>
                <a:uLnTx/>
                <a:uFillTx/>
                <a:latin typeface="Calibri" panose="020F0502020204030204"/>
                <a:ea typeface="+mn-ea"/>
                <a:cs typeface="+mn-cs"/>
              </a:rPr>
              <a:t>LatAm</a:t>
            </a: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rPr>
              <a:t>,</a:t>
            </a: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 but </a:t>
            </a: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rPr>
              <a:t>multiple large-scale projects are on hold</a:t>
            </a: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 due to regulatory and community issues</a:t>
            </a:r>
          </a:p>
          <a:p>
            <a:pPr marL="144000" marR="0" lvl="0" indent="-1440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rPr>
              <a:t>Security issues related to drugs and illegal mining remain</a:t>
            </a: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 even after pacification</a:t>
            </a:r>
          </a:p>
          <a:p>
            <a:pPr marL="144000" marR="0" lvl="0" indent="-1440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rPr>
              <a:t>Mining environment still needs to grow </a:t>
            </a: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to reach the scale of LatAm mining giants</a:t>
            </a:r>
          </a:p>
        </p:txBody>
      </p:sp>
      <p:pic>
        <p:nvPicPr>
          <p:cNvPr id="80" name="Picture 79">
            <a:extLst>
              <a:ext uri="{FF2B5EF4-FFF2-40B4-BE49-F238E27FC236}">
                <a16:creationId xmlns:a16="http://schemas.microsoft.com/office/drawing/2014/main" id="{83FBC827-9C04-77D2-00C6-72DD5ADF94DA}"/>
              </a:ext>
            </a:extLst>
          </p:cNvPr>
          <p:cNvPicPr>
            <a:picLocks noChangeAspect="1"/>
          </p:cNvPicPr>
          <p:nvPr>
            <p:custDataLst>
              <p:tags r:id="rId15"/>
            </p:custDataLst>
          </p:nvPr>
        </p:nvPicPr>
        <p:blipFill rotWithShape="1">
          <a:blip r:embed="rId35" cstate="screen">
            <a:extLst>
              <a:ext uri="{28A0092B-C50C-407E-A947-70E740481C1C}">
                <a14:useLocalDpi xmlns:a14="http://schemas.microsoft.com/office/drawing/2010/main"/>
              </a:ext>
            </a:extLst>
          </a:blip>
          <a:srcRect t="9008" b="15107"/>
          <a:stretch/>
        </p:blipFill>
        <p:spPr>
          <a:xfrm>
            <a:off x="6311397" y="5598775"/>
            <a:ext cx="685897" cy="301710"/>
          </a:xfrm>
          <a:prstGeom prst="rect">
            <a:avLst/>
          </a:prstGeom>
        </p:spPr>
      </p:pic>
      <p:pic>
        <p:nvPicPr>
          <p:cNvPr id="81" name="Picture 80">
            <a:extLst>
              <a:ext uri="{FF2B5EF4-FFF2-40B4-BE49-F238E27FC236}">
                <a16:creationId xmlns:a16="http://schemas.microsoft.com/office/drawing/2014/main" id="{D69F84BF-74AD-130C-26EF-891CA461741C}"/>
              </a:ext>
            </a:extLst>
          </p:cNvPr>
          <p:cNvPicPr>
            <a:picLocks noChangeAspect="1"/>
          </p:cNvPicPr>
          <p:nvPr>
            <p:custDataLst>
              <p:tags r:id="rId16"/>
            </p:custDataLst>
          </p:nvPr>
        </p:nvPicPr>
        <p:blipFill rotWithShape="1">
          <a:blip r:embed="rId36" cstate="screen">
            <a:extLst>
              <a:ext uri="{28A0092B-C50C-407E-A947-70E740481C1C}">
                <a14:useLocalDpi xmlns:a14="http://schemas.microsoft.com/office/drawing/2010/main"/>
              </a:ext>
            </a:extLst>
          </a:blip>
          <a:srcRect/>
          <a:stretch/>
        </p:blipFill>
        <p:spPr>
          <a:xfrm>
            <a:off x="7068348" y="6048376"/>
            <a:ext cx="719874" cy="145922"/>
          </a:xfrm>
          <a:prstGeom prst="rect">
            <a:avLst/>
          </a:prstGeom>
        </p:spPr>
      </p:pic>
      <p:pic>
        <p:nvPicPr>
          <p:cNvPr id="82" name="Picture 81">
            <a:extLst>
              <a:ext uri="{FF2B5EF4-FFF2-40B4-BE49-F238E27FC236}">
                <a16:creationId xmlns:a16="http://schemas.microsoft.com/office/drawing/2014/main" id="{073ECD10-0ABA-EB1B-E78B-BC49B229A00C}"/>
              </a:ext>
            </a:extLst>
          </p:cNvPr>
          <p:cNvPicPr>
            <a:picLocks noChangeAspect="1"/>
          </p:cNvPicPr>
          <p:nvPr>
            <p:custDataLst>
              <p:tags r:id="rId17"/>
            </p:custDataLst>
          </p:nvPr>
        </p:nvPicPr>
        <p:blipFill>
          <a:blip r:embed="rId37" cstate="screen">
            <a:extLst>
              <a:ext uri="{28A0092B-C50C-407E-A947-70E740481C1C}">
                <a14:useLocalDpi xmlns:a14="http://schemas.microsoft.com/office/drawing/2010/main"/>
              </a:ext>
            </a:extLst>
          </a:blip>
          <a:stretch>
            <a:fillRect/>
          </a:stretch>
        </p:blipFill>
        <p:spPr>
          <a:xfrm>
            <a:off x="6311397" y="5951434"/>
            <a:ext cx="616398" cy="285958"/>
          </a:xfrm>
          <a:prstGeom prst="rect">
            <a:avLst/>
          </a:prstGeom>
        </p:spPr>
      </p:pic>
      <p:pic>
        <p:nvPicPr>
          <p:cNvPr id="83" name="Picture 82">
            <a:extLst>
              <a:ext uri="{FF2B5EF4-FFF2-40B4-BE49-F238E27FC236}">
                <a16:creationId xmlns:a16="http://schemas.microsoft.com/office/drawing/2014/main" id="{3FA37524-7998-3AD5-2B61-767191B05ADC}"/>
              </a:ext>
            </a:extLst>
          </p:cNvPr>
          <p:cNvPicPr>
            <a:picLocks noChangeAspect="1"/>
          </p:cNvPicPr>
          <p:nvPr>
            <p:custDataLst>
              <p:tags r:id="rId18"/>
            </p:custDataLst>
          </p:nvPr>
        </p:nvPicPr>
        <p:blipFill>
          <a:blip r:embed="rId38" cstate="screen">
            <a:extLst>
              <a:ext uri="{28A0092B-C50C-407E-A947-70E740481C1C}">
                <a14:useLocalDpi xmlns:a14="http://schemas.microsoft.com/office/drawing/2010/main"/>
              </a:ext>
            </a:extLst>
          </a:blip>
          <a:stretch>
            <a:fillRect/>
          </a:stretch>
        </p:blipFill>
        <p:spPr>
          <a:xfrm>
            <a:off x="7110223" y="5705729"/>
            <a:ext cx="717436" cy="194756"/>
          </a:xfrm>
          <a:prstGeom prst="rect">
            <a:avLst/>
          </a:prstGeom>
        </p:spPr>
      </p:pic>
      <p:pic>
        <p:nvPicPr>
          <p:cNvPr id="4" name="Picture 6">
            <a:extLst>
              <a:ext uri="{FF2B5EF4-FFF2-40B4-BE49-F238E27FC236}">
                <a16:creationId xmlns:a16="http://schemas.microsoft.com/office/drawing/2014/main" id="{852BBFB6-FAC3-AA69-A17A-BBE6B8C82DF3}"/>
              </a:ext>
            </a:extLst>
          </p:cNvPr>
          <p:cNvPicPr>
            <a:picLocks noChangeAspect="1" noChangeArrowheads="1"/>
          </p:cNvPicPr>
          <p:nvPr/>
        </p:nvPicPr>
        <p:blipFill rotWithShape="1">
          <a:blip r:embed="rId39" cstate="screen">
            <a:extLst>
              <a:ext uri="{28A0092B-C50C-407E-A947-70E740481C1C}">
                <a14:useLocalDpi xmlns:a14="http://schemas.microsoft.com/office/drawing/2010/main"/>
              </a:ext>
            </a:extLst>
          </a:blip>
          <a:srcRect t="35013" b="42388"/>
          <a:stretch/>
        </p:blipFill>
        <p:spPr bwMode="auto">
          <a:xfrm>
            <a:off x="3306267" y="5592815"/>
            <a:ext cx="1211788" cy="27385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a:extLst>
              <a:ext uri="{FF2B5EF4-FFF2-40B4-BE49-F238E27FC236}">
                <a16:creationId xmlns:a16="http://schemas.microsoft.com/office/drawing/2014/main" id="{112D7B77-166B-7953-B960-39490C6D7F98}"/>
              </a:ext>
            </a:extLst>
          </p:cNvPr>
          <p:cNvPicPr>
            <a:picLocks noChangeAspect="1" noChangeArrowheads="1"/>
          </p:cNvPicPr>
          <p:nvPr/>
        </p:nvPicPr>
        <p:blipFill>
          <a:blip r:embed="rId40" cstate="screen">
            <a:extLst>
              <a:ext uri="{28A0092B-C50C-407E-A947-70E740481C1C}">
                <a14:useLocalDpi xmlns:a14="http://schemas.microsoft.com/office/drawing/2010/main"/>
              </a:ext>
            </a:extLst>
          </a:blip>
          <a:srcRect/>
          <a:stretch>
            <a:fillRect/>
          </a:stretch>
        </p:blipFill>
        <p:spPr bwMode="auto">
          <a:xfrm>
            <a:off x="3368576" y="5967215"/>
            <a:ext cx="452894" cy="549116"/>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a:extLst>
              <a:ext uri="{FF2B5EF4-FFF2-40B4-BE49-F238E27FC236}">
                <a16:creationId xmlns:a16="http://schemas.microsoft.com/office/drawing/2014/main" id="{41F76654-DBCB-A024-E814-CD8D25A4C725}"/>
              </a:ext>
            </a:extLst>
          </p:cNvPr>
          <p:cNvPicPr>
            <a:picLocks noChangeAspect="1" noChangeArrowheads="1"/>
          </p:cNvPicPr>
          <p:nvPr/>
        </p:nvPicPr>
        <p:blipFill rotWithShape="1">
          <a:blip r:embed="rId41" cstate="screen">
            <a:extLst>
              <a:ext uri="{28A0092B-C50C-407E-A947-70E740481C1C}">
                <a14:useLocalDpi xmlns:a14="http://schemas.microsoft.com/office/drawing/2010/main"/>
              </a:ext>
            </a:extLst>
          </a:blip>
          <a:srcRect/>
          <a:stretch/>
        </p:blipFill>
        <p:spPr bwMode="auto">
          <a:xfrm>
            <a:off x="4676363" y="5618968"/>
            <a:ext cx="1045173" cy="30636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A0C723DA-AEAC-7B63-728F-FDCBED0E5B1A}"/>
              </a:ext>
            </a:extLst>
          </p:cNvPr>
          <p:cNvPicPr>
            <a:picLocks noChangeAspect="1" noChangeArrowheads="1"/>
          </p:cNvPicPr>
          <p:nvPr/>
        </p:nvPicPr>
        <p:blipFill>
          <a:blip r:embed="rId42" cstate="screen">
            <a:extLst>
              <a:ext uri="{28A0092B-C50C-407E-A947-70E740481C1C}">
                <a14:useLocalDpi xmlns:a14="http://schemas.microsoft.com/office/drawing/2010/main"/>
              </a:ext>
            </a:extLst>
          </a:blip>
          <a:srcRect/>
          <a:stretch>
            <a:fillRect/>
          </a:stretch>
        </p:blipFill>
        <p:spPr bwMode="auto">
          <a:xfrm>
            <a:off x="6444685" y="6342189"/>
            <a:ext cx="724390" cy="21784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57AD01A2-09BE-274C-657E-B6F2E72D79D4}"/>
              </a:ext>
            </a:extLst>
          </p:cNvPr>
          <p:cNvPicPr>
            <a:picLocks noChangeAspect="1" noChangeArrowheads="1"/>
          </p:cNvPicPr>
          <p:nvPr/>
        </p:nvPicPr>
        <p:blipFill>
          <a:blip r:embed="rId43" cstate="screen">
            <a:extLst>
              <a:ext uri="{28A0092B-C50C-407E-A947-70E740481C1C}">
                <a14:useLocalDpi xmlns:a14="http://schemas.microsoft.com/office/drawing/2010/main"/>
              </a:ext>
            </a:extLst>
          </a:blip>
          <a:srcRect/>
          <a:stretch>
            <a:fillRect/>
          </a:stretch>
        </p:blipFill>
        <p:spPr bwMode="auto">
          <a:xfrm>
            <a:off x="3941132" y="5996679"/>
            <a:ext cx="950870" cy="285958"/>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61BA6129-E114-AA6D-E623-6909241DE454}"/>
              </a:ext>
            </a:extLst>
          </p:cNvPr>
          <p:cNvPicPr>
            <a:picLocks noChangeAspect="1"/>
          </p:cNvPicPr>
          <p:nvPr>
            <p:custDataLst>
              <p:tags r:id="rId19"/>
            </p:custDataLst>
          </p:nvPr>
        </p:nvPicPr>
        <p:blipFill>
          <a:blip r:embed="rId38" cstate="screen">
            <a:extLst>
              <a:ext uri="{28A0092B-C50C-407E-A947-70E740481C1C}">
                <a14:useLocalDpi xmlns:a14="http://schemas.microsoft.com/office/drawing/2010/main"/>
              </a:ext>
            </a:extLst>
          </a:blip>
          <a:stretch>
            <a:fillRect/>
          </a:stretch>
        </p:blipFill>
        <p:spPr>
          <a:xfrm>
            <a:off x="5047177" y="6070060"/>
            <a:ext cx="717436" cy="194756"/>
          </a:xfrm>
          <a:prstGeom prst="rect">
            <a:avLst/>
          </a:prstGeom>
        </p:spPr>
      </p:pic>
    </p:spTree>
    <p:extLst>
      <p:ext uri="{BB962C8B-B14F-4D97-AF65-F5344CB8AC3E}">
        <p14:creationId xmlns:p14="http://schemas.microsoft.com/office/powerpoint/2010/main" val="22370238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8092391-F817-4825-975B-A7CE230F05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395" imgH="396" progId="TCLayout.ActiveDocument.1">
                  <p:embed/>
                </p:oleObj>
              </mc:Choice>
              <mc:Fallback>
                <p:oleObj name="think-cell Slide" r:id="rId21" imgW="395" imgH="396" progId="TCLayout.ActiveDocument.1">
                  <p:embed/>
                  <p:pic>
                    <p:nvPicPr>
                      <p:cNvPr id="5" name="Object 4" hidden="1">
                        <a:extLst>
                          <a:ext uri="{FF2B5EF4-FFF2-40B4-BE49-F238E27FC236}">
                            <a16:creationId xmlns:a16="http://schemas.microsoft.com/office/drawing/2014/main" id="{78092391-F817-4825-975B-A7CE230F0506}"/>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Slide Number Placeholder 5">
            <a:extLst>
              <a:ext uri="{FF2B5EF4-FFF2-40B4-BE49-F238E27FC236}">
                <a16:creationId xmlns:a16="http://schemas.microsoft.com/office/drawing/2014/main" id="{167D3468-42B9-45FA-938B-2DE60CA6C7E7}"/>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endParaRPr>
          </a:p>
        </p:txBody>
      </p:sp>
      <p:sp>
        <p:nvSpPr>
          <p:cNvPr id="7" name="Rectangle: Diagonal Corners Rounded 6">
            <a:extLst>
              <a:ext uri="{FF2B5EF4-FFF2-40B4-BE49-F238E27FC236}">
                <a16:creationId xmlns:a16="http://schemas.microsoft.com/office/drawing/2014/main" id="{D1A5CE68-3036-40BF-A35A-C0C1A8D70A20}"/>
              </a:ext>
            </a:extLst>
          </p:cNvPr>
          <p:cNvSpPr/>
          <p:nvPr/>
        </p:nvSpPr>
        <p:spPr>
          <a:xfrm flipV="1">
            <a:off x="0" y="1094638"/>
            <a:ext cx="3000375" cy="5763362"/>
          </a:xfrm>
          <a:prstGeom prst="round2DiagRect">
            <a:avLst>
              <a:gd name="adj1" fmla="val 5095"/>
              <a:gd name="adj2"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DC1EC433-3EF1-48B7-99B5-529DCED7A6A3}"/>
              </a:ext>
            </a:extLst>
          </p:cNvPr>
          <p:cNvSpPr txBox="1">
            <a:spLocks/>
          </p:cNvSpPr>
          <p:nvPr/>
        </p:nvSpPr>
        <p:spPr>
          <a:xfrm>
            <a:off x="262527" y="1231901"/>
            <a:ext cx="2394947" cy="341313"/>
          </a:xfrm>
          <a:prstGeom prst="rect">
            <a:avLst/>
          </a:prstGeom>
        </p:spPr>
        <p:txBody>
          <a:bodyPr vert="horz" wrap="square" lIns="91440" tIns="45720" rIns="91440" bIns="45720" rtlCol="0">
            <a:no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rPr>
              <a:t>Overview</a:t>
            </a:r>
          </a:p>
        </p:txBody>
      </p:sp>
      <p:sp>
        <p:nvSpPr>
          <p:cNvPr id="8" name="TextBox 7">
            <a:extLst>
              <a:ext uri="{FF2B5EF4-FFF2-40B4-BE49-F238E27FC236}">
                <a16:creationId xmlns:a16="http://schemas.microsoft.com/office/drawing/2014/main" id="{1B2AC41C-9751-4BD4-8334-13028029FFBB}"/>
              </a:ext>
            </a:extLst>
          </p:cNvPr>
          <p:cNvSpPr txBox="1"/>
          <p:nvPr/>
        </p:nvSpPr>
        <p:spPr>
          <a:xfrm>
            <a:off x="3238501" y="1231901"/>
            <a:ext cx="4523785" cy="341313"/>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Mining outlook</a:t>
            </a:r>
          </a:p>
        </p:txBody>
      </p:sp>
      <p:sp>
        <p:nvSpPr>
          <p:cNvPr id="10" name="TextBox 9">
            <a:extLst>
              <a:ext uri="{FF2B5EF4-FFF2-40B4-BE49-F238E27FC236}">
                <a16:creationId xmlns:a16="http://schemas.microsoft.com/office/drawing/2014/main" id="{72A71319-D7DF-494C-A3A2-AACCB837E44E}"/>
              </a:ext>
            </a:extLst>
          </p:cNvPr>
          <p:cNvSpPr txBox="1">
            <a:spLocks/>
          </p:cNvSpPr>
          <p:nvPr/>
        </p:nvSpPr>
        <p:spPr>
          <a:xfrm>
            <a:off x="8953499" y="1231901"/>
            <a:ext cx="2870021" cy="341313"/>
          </a:xfrm>
          <a:prstGeom prst="rect">
            <a:avLst/>
          </a:prstGeom>
        </p:spPr>
        <p:txBody>
          <a:bodyPr vert="horz" wrap="square" lIns="91440" tIns="45720" rIns="91440" bIns="45720" rtlCol="0">
            <a:no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Main risks</a:t>
            </a:r>
          </a:p>
        </p:txBody>
      </p:sp>
      <p:sp>
        <p:nvSpPr>
          <p:cNvPr id="11" name="TextBox 10">
            <a:extLst>
              <a:ext uri="{FF2B5EF4-FFF2-40B4-BE49-F238E27FC236}">
                <a16:creationId xmlns:a16="http://schemas.microsoft.com/office/drawing/2014/main" id="{BD857A46-F9EA-4680-A8D4-A1C2E89C4EC3}"/>
              </a:ext>
            </a:extLst>
          </p:cNvPr>
          <p:cNvSpPr txBox="1"/>
          <p:nvPr/>
        </p:nvSpPr>
        <p:spPr>
          <a:xfrm>
            <a:off x="3238501" y="1633538"/>
            <a:ext cx="2737848" cy="314325"/>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Importance for the country</a:t>
            </a:r>
          </a:p>
        </p:txBody>
      </p:sp>
      <p:sp>
        <p:nvSpPr>
          <p:cNvPr id="12" name="TextBox 11">
            <a:extLst>
              <a:ext uri="{FF2B5EF4-FFF2-40B4-BE49-F238E27FC236}">
                <a16:creationId xmlns:a16="http://schemas.microsoft.com/office/drawing/2014/main" id="{26552266-20AA-42F4-9FEB-E5C1FA3551B9}"/>
              </a:ext>
            </a:extLst>
          </p:cNvPr>
          <p:cNvSpPr txBox="1"/>
          <p:nvPr/>
        </p:nvSpPr>
        <p:spPr>
          <a:xfrm>
            <a:off x="6214475" y="1633538"/>
            <a:ext cx="2394947" cy="314325"/>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Gold mining in numbers</a:t>
            </a:r>
          </a:p>
        </p:txBody>
      </p:sp>
      <p:sp>
        <p:nvSpPr>
          <p:cNvPr id="100" name="BigStat 100">
            <a:extLst>
              <a:ext uri="{FF2B5EF4-FFF2-40B4-BE49-F238E27FC236}">
                <a16:creationId xmlns:a16="http://schemas.microsoft.com/office/drawing/2014/main" id="{CD719AC9-6C18-4195-B152-24B07B6A6612}"/>
              </a:ext>
            </a:extLst>
          </p:cNvPr>
          <p:cNvSpPr txBox="1"/>
          <p:nvPr>
            <p:custDataLst>
              <p:tags r:id="rId2"/>
            </p:custDataLst>
          </p:nvPr>
        </p:nvSpPr>
        <p:spPr>
          <a:xfrm>
            <a:off x="3238500" y="1965325"/>
            <a:ext cx="2857499" cy="923330"/>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1.9 </a:t>
            </a:r>
            <a:r>
              <a:rPr kumimoji="0" lang="en-US" sz="16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BUSD</a:t>
            </a: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 (15%)</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GDP from Mining (% of the country’s total GDP)</a:t>
            </a:r>
          </a:p>
        </p:txBody>
      </p:sp>
      <p:grpSp>
        <p:nvGrpSpPr>
          <p:cNvPr id="121" name="Group 120">
            <a:extLst>
              <a:ext uri="{FF2B5EF4-FFF2-40B4-BE49-F238E27FC236}">
                <a16:creationId xmlns:a16="http://schemas.microsoft.com/office/drawing/2014/main" id="{DDE23F5E-33B3-41E0-96BD-B12A9EBD2276}"/>
              </a:ext>
            </a:extLst>
          </p:cNvPr>
          <p:cNvGrpSpPr/>
          <p:nvPr/>
        </p:nvGrpSpPr>
        <p:grpSpPr>
          <a:xfrm>
            <a:off x="3238501" y="3767664"/>
            <a:ext cx="2611609" cy="480131"/>
            <a:chOff x="3238501" y="4749814"/>
            <a:chExt cx="2611609" cy="479530"/>
          </a:xfrm>
        </p:grpSpPr>
        <p:grpSp>
          <p:nvGrpSpPr>
            <p:cNvPr id="106" name="CheckmarkBlue 106">
              <a:extLst>
                <a:ext uri="{FF2B5EF4-FFF2-40B4-BE49-F238E27FC236}">
                  <a16:creationId xmlns:a16="http://schemas.microsoft.com/office/drawing/2014/main" id="{9896BB38-D997-4948-8179-E60E9FA09410}"/>
                </a:ext>
              </a:extLst>
            </p:cNvPr>
            <p:cNvGrpSpPr>
              <a:grpSpLocks noChangeAspect="1"/>
            </p:cNvGrpSpPr>
            <p:nvPr>
              <p:custDataLst>
                <p:tags r:id="rId18"/>
              </p:custDataLst>
            </p:nvPr>
          </p:nvGrpSpPr>
          <p:grpSpPr>
            <a:xfrm>
              <a:off x="3238501" y="4772456"/>
              <a:ext cx="268648" cy="268648"/>
              <a:chOff x="1016000" y="1016000"/>
              <a:chExt cx="396228" cy="396228"/>
            </a:xfrm>
          </p:grpSpPr>
          <p:sp>
            <p:nvSpPr>
              <p:cNvPr id="103" name="Oval 102">
                <a:extLst>
                  <a:ext uri="{FF2B5EF4-FFF2-40B4-BE49-F238E27FC236}">
                    <a16:creationId xmlns:a16="http://schemas.microsoft.com/office/drawing/2014/main" id="{4B9934FC-AE8E-4AA8-BAF0-9476EB4E90BC}"/>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05" name="Graphic 104">
                <a:extLst>
                  <a:ext uri="{FF2B5EF4-FFF2-40B4-BE49-F238E27FC236}">
                    <a16:creationId xmlns:a16="http://schemas.microsoft.com/office/drawing/2014/main" id="{FFD06596-95A3-40AD-B50C-9BDFC8F1DF1C}"/>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1023614" y="1023614"/>
                <a:ext cx="381000" cy="381000"/>
              </a:xfrm>
              <a:prstGeom prst="rect">
                <a:avLst/>
              </a:prstGeom>
            </p:spPr>
          </p:pic>
        </p:grpSp>
        <p:sp>
          <p:nvSpPr>
            <p:cNvPr id="108" name="TextBox 107">
              <a:extLst>
                <a:ext uri="{FF2B5EF4-FFF2-40B4-BE49-F238E27FC236}">
                  <a16:creationId xmlns:a16="http://schemas.microsoft.com/office/drawing/2014/main" id="{31962308-D58A-46E0-8CC9-9B2CCF076613}"/>
                </a:ext>
              </a:extLst>
            </p:cNvPr>
            <p:cNvSpPr txBox="1"/>
            <p:nvPr/>
          </p:nvSpPr>
          <p:spPr>
            <a:xfrm>
              <a:off x="3512311" y="4749814"/>
              <a:ext cx="2337799" cy="479530"/>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Broad political and public support</a:t>
              </a:r>
            </a:p>
          </p:txBody>
        </p:sp>
      </p:grpSp>
      <p:grpSp>
        <p:nvGrpSpPr>
          <p:cNvPr id="122" name="Group 121">
            <a:extLst>
              <a:ext uri="{FF2B5EF4-FFF2-40B4-BE49-F238E27FC236}">
                <a16:creationId xmlns:a16="http://schemas.microsoft.com/office/drawing/2014/main" id="{A7CCE14C-E775-478A-9111-39D92FBBC064}"/>
              </a:ext>
            </a:extLst>
          </p:cNvPr>
          <p:cNvGrpSpPr/>
          <p:nvPr/>
        </p:nvGrpSpPr>
        <p:grpSpPr>
          <a:xfrm>
            <a:off x="3238501" y="4253472"/>
            <a:ext cx="2611609" cy="480131"/>
            <a:chOff x="3238501" y="5199292"/>
            <a:chExt cx="2611609" cy="479530"/>
          </a:xfrm>
        </p:grpSpPr>
        <p:grpSp>
          <p:nvGrpSpPr>
            <p:cNvPr id="109" name="CheckmarkBlue 106">
              <a:extLst>
                <a:ext uri="{FF2B5EF4-FFF2-40B4-BE49-F238E27FC236}">
                  <a16:creationId xmlns:a16="http://schemas.microsoft.com/office/drawing/2014/main" id="{C8F22BB2-471A-4965-AFFF-6FDBF5695F90}"/>
                </a:ext>
              </a:extLst>
            </p:cNvPr>
            <p:cNvGrpSpPr>
              <a:grpSpLocks noChangeAspect="1"/>
            </p:cNvGrpSpPr>
            <p:nvPr>
              <p:custDataLst>
                <p:tags r:id="rId17"/>
              </p:custDataLst>
            </p:nvPr>
          </p:nvGrpSpPr>
          <p:grpSpPr>
            <a:xfrm>
              <a:off x="3238501" y="5221934"/>
              <a:ext cx="268648" cy="268648"/>
              <a:chOff x="1016000" y="1016000"/>
              <a:chExt cx="396228" cy="396228"/>
            </a:xfrm>
          </p:grpSpPr>
          <p:sp>
            <p:nvSpPr>
              <p:cNvPr id="110" name="Oval 109">
                <a:extLst>
                  <a:ext uri="{FF2B5EF4-FFF2-40B4-BE49-F238E27FC236}">
                    <a16:creationId xmlns:a16="http://schemas.microsoft.com/office/drawing/2014/main" id="{97B13D1E-9109-40C7-8602-79671060235E}"/>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11" name="Graphic 110">
                <a:extLst>
                  <a:ext uri="{FF2B5EF4-FFF2-40B4-BE49-F238E27FC236}">
                    <a16:creationId xmlns:a16="http://schemas.microsoft.com/office/drawing/2014/main" id="{9713C298-EC59-4122-A98B-6E84FF62918C}"/>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1023614" y="1023614"/>
                <a:ext cx="381000" cy="381000"/>
              </a:xfrm>
              <a:prstGeom prst="rect">
                <a:avLst/>
              </a:prstGeom>
            </p:spPr>
          </p:pic>
        </p:grpSp>
        <p:sp>
          <p:nvSpPr>
            <p:cNvPr id="112" name="TextBox 111">
              <a:extLst>
                <a:ext uri="{FF2B5EF4-FFF2-40B4-BE49-F238E27FC236}">
                  <a16:creationId xmlns:a16="http://schemas.microsoft.com/office/drawing/2014/main" id="{AD1406F8-4661-4248-8773-B660B7776C2B}"/>
                </a:ext>
              </a:extLst>
            </p:cNvPr>
            <p:cNvSpPr txBox="1"/>
            <p:nvPr/>
          </p:nvSpPr>
          <p:spPr>
            <a:xfrm>
              <a:off x="3512311" y="5199292"/>
              <a:ext cx="2337799" cy="479530"/>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Fastest growing economy in the world</a:t>
              </a:r>
            </a:p>
          </p:txBody>
        </p:sp>
      </p:grpSp>
      <p:grpSp>
        <p:nvGrpSpPr>
          <p:cNvPr id="123" name="Group 122">
            <a:extLst>
              <a:ext uri="{FF2B5EF4-FFF2-40B4-BE49-F238E27FC236}">
                <a16:creationId xmlns:a16="http://schemas.microsoft.com/office/drawing/2014/main" id="{0194005B-D523-446D-85CA-40EF4BFBEB28}"/>
              </a:ext>
            </a:extLst>
          </p:cNvPr>
          <p:cNvGrpSpPr/>
          <p:nvPr/>
        </p:nvGrpSpPr>
        <p:grpSpPr>
          <a:xfrm>
            <a:off x="3238501" y="4739280"/>
            <a:ext cx="2611609" cy="480131"/>
            <a:chOff x="3238501" y="5648770"/>
            <a:chExt cx="2611609" cy="479530"/>
          </a:xfrm>
        </p:grpSpPr>
        <p:grpSp>
          <p:nvGrpSpPr>
            <p:cNvPr id="113" name="CheckmarkBlue 106">
              <a:extLst>
                <a:ext uri="{FF2B5EF4-FFF2-40B4-BE49-F238E27FC236}">
                  <a16:creationId xmlns:a16="http://schemas.microsoft.com/office/drawing/2014/main" id="{CDFB78B2-7660-415B-9B20-58F68D55B4FA}"/>
                </a:ext>
              </a:extLst>
            </p:cNvPr>
            <p:cNvGrpSpPr>
              <a:grpSpLocks noChangeAspect="1"/>
            </p:cNvGrpSpPr>
            <p:nvPr>
              <p:custDataLst>
                <p:tags r:id="rId16"/>
              </p:custDataLst>
            </p:nvPr>
          </p:nvGrpSpPr>
          <p:grpSpPr>
            <a:xfrm>
              <a:off x="3238501" y="5671412"/>
              <a:ext cx="268648" cy="268648"/>
              <a:chOff x="1016000" y="1016000"/>
              <a:chExt cx="396228" cy="396228"/>
            </a:xfrm>
          </p:grpSpPr>
          <p:sp>
            <p:nvSpPr>
              <p:cNvPr id="114" name="Oval 113">
                <a:extLst>
                  <a:ext uri="{FF2B5EF4-FFF2-40B4-BE49-F238E27FC236}">
                    <a16:creationId xmlns:a16="http://schemas.microsoft.com/office/drawing/2014/main" id="{DF70ECE0-CF28-481E-ADB9-F052536C5007}"/>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15" name="Graphic 114">
                <a:extLst>
                  <a:ext uri="{FF2B5EF4-FFF2-40B4-BE49-F238E27FC236}">
                    <a16:creationId xmlns:a16="http://schemas.microsoft.com/office/drawing/2014/main" id="{4D3FC6F2-DC01-4825-BBF4-B78E01224B91}"/>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1023614" y="1023614"/>
                <a:ext cx="381000" cy="381000"/>
              </a:xfrm>
              <a:prstGeom prst="rect">
                <a:avLst/>
              </a:prstGeom>
            </p:spPr>
          </p:pic>
        </p:grpSp>
        <p:sp>
          <p:nvSpPr>
            <p:cNvPr id="116" name="TextBox 115">
              <a:extLst>
                <a:ext uri="{FF2B5EF4-FFF2-40B4-BE49-F238E27FC236}">
                  <a16:creationId xmlns:a16="http://schemas.microsoft.com/office/drawing/2014/main" id="{54D0E05A-5009-4FFC-8D48-D6EC5891D736}"/>
                </a:ext>
              </a:extLst>
            </p:cNvPr>
            <p:cNvSpPr txBox="1"/>
            <p:nvPr/>
          </p:nvSpPr>
          <p:spPr>
            <a:xfrm>
              <a:off x="3512311" y="5648770"/>
              <a:ext cx="2337799" cy="479530"/>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Large small and artisanal mining activity</a:t>
              </a:r>
            </a:p>
          </p:txBody>
        </p:sp>
      </p:grpSp>
      <p:sp>
        <p:nvSpPr>
          <p:cNvPr id="125" name="BigStat 100">
            <a:extLst>
              <a:ext uri="{FF2B5EF4-FFF2-40B4-BE49-F238E27FC236}">
                <a16:creationId xmlns:a16="http://schemas.microsoft.com/office/drawing/2014/main" id="{736CED63-F3F0-44DC-B584-A0313FAB62CE}"/>
              </a:ext>
            </a:extLst>
          </p:cNvPr>
          <p:cNvSpPr txBox="1"/>
          <p:nvPr>
            <p:custDataLst>
              <p:tags r:id="rId3"/>
            </p:custDataLst>
          </p:nvPr>
        </p:nvSpPr>
        <p:spPr>
          <a:xfrm>
            <a:off x="6214475" y="1949450"/>
            <a:ext cx="2737848" cy="923330"/>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2</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Industrial scale gold mines currently operating</a:t>
            </a:r>
          </a:p>
        </p:txBody>
      </p:sp>
      <p:sp>
        <p:nvSpPr>
          <p:cNvPr id="126" name="BigStat 100">
            <a:extLst>
              <a:ext uri="{FF2B5EF4-FFF2-40B4-BE49-F238E27FC236}">
                <a16:creationId xmlns:a16="http://schemas.microsoft.com/office/drawing/2014/main" id="{66EC6B8E-22E3-4645-B336-AEDE2ADDC866}"/>
              </a:ext>
            </a:extLst>
          </p:cNvPr>
          <p:cNvSpPr txBox="1"/>
          <p:nvPr>
            <p:custDataLst>
              <p:tags r:id="rId4"/>
            </p:custDataLst>
          </p:nvPr>
        </p:nvSpPr>
        <p:spPr>
          <a:xfrm>
            <a:off x="6214475" y="2863463"/>
            <a:ext cx="2737848" cy="728663"/>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0.5 </a:t>
            </a:r>
            <a:r>
              <a:rPr kumimoji="0" lang="en-US" sz="3200" b="1" i="0" u="none" strike="noStrike" kern="1200" cap="none" spc="0" normalizeH="0" baseline="0" noProof="0" dirty="0" err="1">
                <a:ln>
                  <a:noFill/>
                </a:ln>
                <a:solidFill>
                  <a:srgbClr val="B39759"/>
                </a:solidFill>
                <a:effectLst/>
                <a:uLnTx/>
                <a:uFillTx/>
                <a:latin typeface="Calibri Light" panose="020F0302020204030204"/>
                <a:ea typeface="+mn-ea"/>
                <a:cs typeface="Calibri" panose="020F0502020204030204" pitchFamily="34" charset="0"/>
              </a:rPr>
              <a:t>Moz</a:t>
            </a: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 (0.5%)</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Gold production (growth 21-22)</a:t>
            </a:r>
          </a:p>
        </p:txBody>
      </p:sp>
      <p:sp>
        <p:nvSpPr>
          <p:cNvPr id="144" name="TextBox 143">
            <a:extLst>
              <a:ext uri="{FF2B5EF4-FFF2-40B4-BE49-F238E27FC236}">
                <a16:creationId xmlns:a16="http://schemas.microsoft.com/office/drawing/2014/main" id="{E8106E64-E8A4-4E6C-8094-05F333F3310F}"/>
              </a:ext>
            </a:extLst>
          </p:cNvPr>
          <p:cNvSpPr txBox="1"/>
          <p:nvPr/>
        </p:nvSpPr>
        <p:spPr>
          <a:xfrm>
            <a:off x="8953499" y="1633539"/>
            <a:ext cx="2870021" cy="3136243"/>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Elevated health and safety concern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Security issues linked to illegal mining and smuggling</a:t>
            </a:r>
            <a:endParaRPr kumimoji="0" lang="en-US" sz="16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Regulation uncertainty </a:t>
            </a:r>
            <a:r>
              <a:rPr kumimoji="0" lang="en-US" sz="16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due to political interference and </a:t>
            </a:r>
            <a:r>
              <a:rPr kumimoji="0" lang="en-US" sz="1600" b="1"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lack of a stable legal framework</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Challenges in </a:t>
            </a:r>
            <a:r>
              <a:rPr kumimoji="0" lang="en-US" sz="1600" b="1"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securing social license to operate</a:t>
            </a:r>
            <a:r>
              <a:rPr kumimoji="0" lang="en-US" sz="16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 stemming from </a:t>
            </a:r>
            <a:r>
              <a:rPr kumimoji="0" lang="en-US" sz="1600" b="1"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long-standing indigenous wariness</a:t>
            </a:r>
          </a:p>
        </p:txBody>
      </p:sp>
      <p:cxnSp>
        <p:nvCxnSpPr>
          <p:cNvPr id="150" name="LineContentSeparatorDefault 150">
            <a:extLst>
              <a:ext uri="{FF2B5EF4-FFF2-40B4-BE49-F238E27FC236}">
                <a16:creationId xmlns:a16="http://schemas.microsoft.com/office/drawing/2014/main" id="{74B6E49E-3407-4E23-92E6-CE2E3937239F}"/>
              </a:ext>
            </a:extLst>
          </p:cNvPr>
          <p:cNvCxnSpPr>
            <a:cxnSpLocks/>
          </p:cNvCxnSpPr>
          <p:nvPr>
            <p:custDataLst>
              <p:tags r:id="rId5"/>
            </p:custDataLst>
          </p:nvPr>
        </p:nvCxnSpPr>
        <p:spPr>
          <a:xfrm>
            <a:off x="262527" y="1566863"/>
            <a:ext cx="2394947" cy="0"/>
          </a:xfrm>
          <a:prstGeom prst="straightConnector1">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2" name="LineContentSeparatorDefault 150">
            <a:extLst>
              <a:ext uri="{FF2B5EF4-FFF2-40B4-BE49-F238E27FC236}">
                <a16:creationId xmlns:a16="http://schemas.microsoft.com/office/drawing/2014/main" id="{10A2A179-A986-464E-992D-7F7C71DADDAE}"/>
              </a:ext>
            </a:extLst>
          </p:cNvPr>
          <p:cNvCxnSpPr>
            <a:cxnSpLocks/>
          </p:cNvCxnSpPr>
          <p:nvPr>
            <p:custDataLst>
              <p:tags r:id="rId6"/>
            </p:custDataLst>
          </p:nvPr>
        </p:nvCxnSpPr>
        <p:spPr>
          <a:xfrm>
            <a:off x="3238501" y="1566863"/>
            <a:ext cx="5495924" cy="0"/>
          </a:xfrm>
          <a:prstGeom prst="straightConnector1">
            <a:avLst/>
          </a:prstGeom>
          <a:ln w="6350">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154" name="LineContentSeparatorDefault 150">
            <a:extLst>
              <a:ext uri="{FF2B5EF4-FFF2-40B4-BE49-F238E27FC236}">
                <a16:creationId xmlns:a16="http://schemas.microsoft.com/office/drawing/2014/main" id="{5DD69DFA-90AE-4BC4-B32C-7D033758F7AF}"/>
              </a:ext>
            </a:extLst>
          </p:cNvPr>
          <p:cNvCxnSpPr>
            <a:cxnSpLocks/>
          </p:cNvCxnSpPr>
          <p:nvPr>
            <p:custDataLst>
              <p:tags r:id="rId7"/>
            </p:custDataLst>
          </p:nvPr>
        </p:nvCxnSpPr>
        <p:spPr>
          <a:xfrm>
            <a:off x="8953500" y="1566863"/>
            <a:ext cx="2870021" cy="0"/>
          </a:xfrm>
          <a:prstGeom prst="straightConnector1">
            <a:avLst/>
          </a:prstGeom>
          <a:ln w="6350">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nvGrpSpPr>
          <p:cNvPr id="158" name="ChevronWhite 158">
            <a:extLst>
              <a:ext uri="{FF2B5EF4-FFF2-40B4-BE49-F238E27FC236}">
                <a16:creationId xmlns:a16="http://schemas.microsoft.com/office/drawing/2014/main" id="{7A57A53C-82A1-4767-B284-15634A46B7E3}"/>
              </a:ext>
            </a:extLst>
          </p:cNvPr>
          <p:cNvGrpSpPr>
            <a:grpSpLocks noChangeAspect="1"/>
          </p:cNvGrpSpPr>
          <p:nvPr>
            <p:custDataLst>
              <p:tags r:id="rId8"/>
            </p:custDataLst>
          </p:nvPr>
        </p:nvGrpSpPr>
        <p:grpSpPr>
          <a:xfrm>
            <a:off x="2839392" y="1385889"/>
            <a:ext cx="303213" cy="303213"/>
            <a:chOff x="1016000" y="1016000"/>
            <a:chExt cx="396228" cy="396228"/>
          </a:xfrm>
        </p:grpSpPr>
        <p:sp>
          <p:nvSpPr>
            <p:cNvPr id="155" name="Oval 154">
              <a:extLst>
                <a:ext uri="{FF2B5EF4-FFF2-40B4-BE49-F238E27FC236}">
                  <a16:creationId xmlns:a16="http://schemas.microsoft.com/office/drawing/2014/main" id="{AA98363E-41C0-4689-B779-4AC4E4884E0F}"/>
                </a:ext>
              </a:extLst>
            </p:cNvPr>
            <p:cNvSpPr/>
            <p:nvPr/>
          </p:nvSpPr>
          <p:spPr>
            <a:xfrm>
              <a:off x="1016000" y="1016000"/>
              <a:ext cx="396228" cy="396228"/>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57" name="Graphic 156">
              <a:extLst>
                <a:ext uri="{FF2B5EF4-FFF2-40B4-BE49-F238E27FC236}">
                  <a16:creationId xmlns:a16="http://schemas.microsoft.com/office/drawing/2014/main" id="{B037DC85-89A7-424E-9471-A1BFB5820EFB}"/>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1023614" y="1023614"/>
              <a:ext cx="381000" cy="381000"/>
            </a:xfrm>
            <a:prstGeom prst="rect">
              <a:avLst/>
            </a:prstGeom>
          </p:spPr>
        </p:pic>
      </p:grpSp>
      <p:grpSp>
        <p:nvGrpSpPr>
          <p:cNvPr id="160" name="ChevronWhite 158">
            <a:extLst>
              <a:ext uri="{FF2B5EF4-FFF2-40B4-BE49-F238E27FC236}">
                <a16:creationId xmlns:a16="http://schemas.microsoft.com/office/drawing/2014/main" id="{68E623C4-99D7-446A-843A-91B9BDFEA093}"/>
              </a:ext>
            </a:extLst>
          </p:cNvPr>
          <p:cNvGrpSpPr>
            <a:grpSpLocks noChangeAspect="1"/>
          </p:cNvGrpSpPr>
          <p:nvPr>
            <p:custDataLst>
              <p:tags r:id="rId9"/>
            </p:custDataLst>
          </p:nvPr>
        </p:nvGrpSpPr>
        <p:grpSpPr>
          <a:xfrm>
            <a:off x="8669338" y="1385889"/>
            <a:ext cx="303213" cy="303213"/>
            <a:chOff x="1016000" y="1016000"/>
            <a:chExt cx="396228" cy="396228"/>
          </a:xfrm>
          <a:solidFill>
            <a:schemeClr val="accent3"/>
          </a:solidFill>
        </p:grpSpPr>
        <p:sp>
          <p:nvSpPr>
            <p:cNvPr id="161" name="Oval 160">
              <a:extLst>
                <a:ext uri="{FF2B5EF4-FFF2-40B4-BE49-F238E27FC236}">
                  <a16:creationId xmlns:a16="http://schemas.microsoft.com/office/drawing/2014/main" id="{44825ED7-26B2-411C-A881-AAFCC0FD9CB9}"/>
                </a:ext>
              </a:extLst>
            </p:cNvPr>
            <p:cNvSpPr/>
            <p:nvPr/>
          </p:nvSpPr>
          <p:spPr>
            <a:xfrm>
              <a:off x="1016000" y="1016000"/>
              <a:ext cx="396228" cy="396228"/>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62" name="Graphic 161">
              <a:extLst>
                <a:ext uri="{FF2B5EF4-FFF2-40B4-BE49-F238E27FC236}">
                  <a16:creationId xmlns:a16="http://schemas.microsoft.com/office/drawing/2014/main" id="{9795E4CD-0104-494F-8ED1-D0068D57A764}"/>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1023614" y="1023614"/>
              <a:ext cx="381000" cy="381000"/>
            </a:xfrm>
            <a:prstGeom prst="rect">
              <a:avLst/>
            </a:prstGeom>
          </p:spPr>
        </p:pic>
      </p:grpSp>
      <p:pic>
        <p:nvPicPr>
          <p:cNvPr id="164" name="Picture 163">
            <a:extLst>
              <a:ext uri="{FF2B5EF4-FFF2-40B4-BE49-F238E27FC236}">
                <a16:creationId xmlns:a16="http://schemas.microsoft.com/office/drawing/2014/main" id="{C08644D0-F3E7-4FD7-A025-99B29EDF625E}"/>
              </a:ext>
            </a:extLst>
          </p:cNvPr>
          <p:cNvPicPr>
            <a:picLocks noChangeAspect="1"/>
          </p:cNvPicPr>
          <p:nvPr>
            <p:custDataLst>
              <p:tags r:id="rId10"/>
            </p:custDataLst>
          </p:nvPr>
        </p:nvPicPr>
        <p:blipFill rotWithShape="1">
          <a:blip r:embed="rId29" cstate="print">
            <a:extLst>
              <a:ext uri="{28A0092B-C50C-407E-A947-70E740481C1C}">
                <a14:useLocalDpi xmlns:a14="http://schemas.microsoft.com/office/drawing/2010/main"/>
              </a:ext>
            </a:extLst>
          </a:blip>
          <a:srcRect/>
          <a:stretch/>
        </p:blipFill>
        <p:spPr>
          <a:xfrm flipH="1">
            <a:off x="8589371" y="4692650"/>
            <a:ext cx="3601355" cy="2028825"/>
          </a:xfrm>
          <a:prstGeom prst="rect">
            <a:avLst/>
          </a:prstGeom>
        </p:spPr>
      </p:pic>
      <p:sp>
        <p:nvSpPr>
          <p:cNvPr id="184" name="BigStat 100">
            <a:extLst>
              <a:ext uri="{FF2B5EF4-FFF2-40B4-BE49-F238E27FC236}">
                <a16:creationId xmlns:a16="http://schemas.microsoft.com/office/drawing/2014/main" id="{41138818-1B86-4B56-90FC-10CF426CCC63}"/>
              </a:ext>
            </a:extLst>
          </p:cNvPr>
          <p:cNvSpPr txBox="1"/>
          <p:nvPr>
            <p:custDataLst>
              <p:tags r:id="rId11"/>
            </p:custDataLst>
          </p:nvPr>
        </p:nvSpPr>
        <p:spPr>
          <a:xfrm>
            <a:off x="6214475" y="3582809"/>
            <a:ext cx="2737848" cy="923925"/>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2</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Gold projects </a:t>
            </a: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expected</a:t>
            </a:r>
            <a:r>
              <a:rPr kumimoji="0" lang="en-US" sz="1400" b="0" i="0" u="none" strike="noStrike" kern="1200" cap="none" spc="0" normalizeH="0" baseline="0" noProof="0" dirty="0">
                <a:ln>
                  <a:noFill/>
                </a:ln>
                <a:solidFill>
                  <a:srgbClr val="FF0000"/>
                </a:solidFill>
                <a:effectLst/>
                <a:uLnTx/>
                <a:uFillTx/>
                <a:latin typeface="Calibri" panose="020F0502020204030204"/>
                <a:ea typeface="+mn-ea"/>
                <a:cs typeface="Calibri" panose="020F0502020204030204" pitchFamily="34" charset="0"/>
              </a:rPr>
              <a:t> </a:t>
            </a: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to be launched prior to 2030</a:t>
            </a:r>
          </a:p>
        </p:txBody>
      </p:sp>
      <p:sp>
        <p:nvSpPr>
          <p:cNvPr id="204" name="BigStat 100">
            <a:extLst>
              <a:ext uri="{FF2B5EF4-FFF2-40B4-BE49-F238E27FC236}">
                <a16:creationId xmlns:a16="http://schemas.microsoft.com/office/drawing/2014/main" id="{954B7A5F-DAEB-4A83-84A4-D077F6763C99}"/>
              </a:ext>
            </a:extLst>
          </p:cNvPr>
          <p:cNvSpPr txBox="1"/>
          <p:nvPr>
            <p:custDataLst>
              <p:tags r:id="rId12"/>
            </p:custDataLst>
          </p:nvPr>
        </p:nvSpPr>
        <p:spPr>
          <a:xfrm>
            <a:off x="6214475" y="4497416"/>
            <a:ext cx="2737848" cy="729430"/>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3 / 28 </a:t>
            </a:r>
            <a:r>
              <a:rPr kumimoji="0" lang="en-US" sz="3200" b="1" i="0" u="none" strike="noStrike" kern="1200" cap="none" spc="0" normalizeH="0" baseline="0" noProof="0" dirty="0" err="1">
                <a:ln>
                  <a:noFill/>
                </a:ln>
                <a:solidFill>
                  <a:srgbClr val="B39759"/>
                </a:solidFill>
                <a:effectLst/>
                <a:uLnTx/>
                <a:uFillTx/>
                <a:latin typeface="Calibri Light" panose="020F0302020204030204"/>
                <a:ea typeface="+mn-ea"/>
                <a:cs typeface="Calibri" panose="020F0502020204030204" pitchFamily="34" charset="0"/>
              </a:rPr>
              <a:t>Moz</a:t>
            </a:r>
            <a:endPar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endParaRP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Gold reserves / Gold R&amp;R</a:t>
            </a:r>
          </a:p>
        </p:txBody>
      </p:sp>
      <p:sp>
        <p:nvSpPr>
          <p:cNvPr id="85" name="TextBox 84">
            <a:extLst>
              <a:ext uri="{FF2B5EF4-FFF2-40B4-BE49-F238E27FC236}">
                <a16:creationId xmlns:a16="http://schemas.microsoft.com/office/drawing/2014/main" id="{BB0E91B3-A14B-F0BD-B384-A818AE4E4601}"/>
              </a:ext>
            </a:extLst>
          </p:cNvPr>
          <p:cNvSpPr txBox="1"/>
          <p:nvPr/>
        </p:nvSpPr>
        <p:spPr>
          <a:xfrm>
            <a:off x="3244970" y="5335690"/>
            <a:ext cx="2737848" cy="258532"/>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Top players in country</a:t>
            </a:r>
          </a:p>
        </p:txBody>
      </p:sp>
      <p:sp>
        <p:nvSpPr>
          <p:cNvPr id="86" name="TextBox 85">
            <a:extLst>
              <a:ext uri="{FF2B5EF4-FFF2-40B4-BE49-F238E27FC236}">
                <a16:creationId xmlns:a16="http://schemas.microsoft.com/office/drawing/2014/main" id="{B334C6C0-AD72-72F7-FE3F-DCA439A113C3}"/>
              </a:ext>
            </a:extLst>
          </p:cNvPr>
          <p:cNvSpPr txBox="1"/>
          <p:nvPr/>
        </p:nvSpPr>
        <p:spPr>
          <a:xfrm>
            <a:off x="6214475" y="5339275"/>
            <a:ext cx="2394947" cy="258532"/>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Top gold miners</a:t>
            </a:r>
          </a:p>
        </p:txBody>
      </p:sp>
      <p:pic>
        <p:nvPicPr>
          <p:cNvPr id="41" name="Picture 40">
            <a:extLst>
              <a:ext uri="{FF2B5EF4-FFF2-40B4-BE49-F238E27FC236}">
                <a16:creationId xmlns:a16="http://schemas.microsoft.com/office/drawing/2014/main" id="{06F6DC3C-ABB5-A358-DC2D-63DE39252E67}"/>
              </a:ext>
            </a:extLst>
          </p:cNvPr>
          <p:cNvPicPr>
            <a:picLocks/>
          </p:cNvPicPr>
          <p:nvPr/>
        </p:nvPicPr>
        <p:blipFill rotWithShape="1">
          <a:blip r:embed="rId30" cstate="screen">
            <a:extLst>
              <a:ext uri="{28A0092B-C50C-407E-A947-70E740481C1C}">
                <a14:useLocalDpi xmlns:a14="http://schemas.microsoft.com/office/drawing/2010/main"/>
              </a:ext>
            </a:extLst>
          </a:blip>
          <a:srcRect/>
          <a:stretch/>
        </p:blipFill>
        <p:spPr>
          <a:xfrm>
            <a:off x="8762207" y="358581"/>
            <a:ext cx="604510" cy="604510"/>
          </a:xfrm>
          <a:prstGeom prst="ellipse">
            <a:avLst/>
          </a:prstGeom>
          <a:ln>
            <a:solidFill>
              <a:srgbClr val="CCCCCC"/>
            </a:solidFill>
          </a:ln>
        </p:spPr>
      </p:pic>
      <p:sp>
        <p:nvSpPr>
          <p:cNvPr id="22" name="Title 1">
            <a:extLst>
              <a:ext uri="{FF2B5EF4-FFF2-40B4-BE49-F238E27FC236}">
                <a16:creationId xmlns:a16="http://schemas.microsoft.com/office/drawing/2014/main" id="{8AC35652-610C-1349-A005-2D27876855D8}"/>
              </a:ext>
            </a:extLst>
          </p:cNvPr>
          <p:cNvSpPr txBox="1">
            <a:spLocks/>
          </p:cNvSpPr>
          <p:nvPr/>
        </p:nvSpPr>
        <p:spPr>
          <a:xfrm>
            <a:off x="262526" y="175755"/>
            <a:ext cx="8689797" cy="75713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ctr" anchorCtr="0">
            <a:spAutoFit/>
          </a:bodyPr>
          <a:lstStyle>
            <a:lvl1pPr algn="l" defTabSz="914400" rtl="0" eaLnBrk="1" latinLnBrk="0" hangingPunct="1">
              <a:lnSpc>
                <a:spcPct val="90000"/>
              </a:lnSpc>
              <a:spcBef>
                <a:spcPct val="0"/>
              </a:spcBef>
              <a:buNone/>
              <a:defRPr sz="3200" b="1" i="0" kern="1200">
                <a:solidFill>
                  <a:srgbClr val="002060"/>
                </a:solidFill>
                <a:latin typeface="Calibri" panose="020F0502020204030204" pitchFamily="34" charset="0"/>
                <a:ea typeface="+mj-ea"/>
                <a:cs typeface="Calibri" panose="020F050202020403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Calibri" panose="020F0502020204030204" pitchFamily="34" charset="0"/>
                <a:ea typeface="+mj-ea"/>
                <a:cs typeface="Calibri" panose="020F0502020204030204" pitchFamily="34" charset="0"/>
              </a:rPr>
              <a:t>Guyana could be an attractive long-term investment option if the political and security panorama eventually stabilizes</a:t>
            </a:r>
          </a:p>
        </p:txBody>
      </p:sp>
      <p:sp>
        <p:nvSpPr>
          <p:cNvPr id="24" name="TextBox 23">
            <a:extLst>
              <a:ext uri="{FF2B5EF4-FFF2-40B4-BE49-F238E27FC236}">
                <a16:creationId xmlns:a16="http://schemas.microsoft.com/office/drawing/2014/main" id="{4345661B-393D-99B1-CDC6-441BAC35B57F}"/>
              </a:ext>
            </a:extLst>
          </p:cNvPr>
          <p:cNvSpPr txBox="1"/>
          <p:nvPr/>
        </p:nvSpPr>
        <p:spPr>
          <a:xfrm>
            <a:off x="262527" y="820969"/>
            <a:ext cx="4064000" cy="286232"/>
          </a:xfrm>
          <a:prstGeom prst="rect">
            <a:avLst/>
          </a:prstGeom>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mn-cs"/>
              </a:rPr>
              <a:t>Guyana executive summary</a:t>
            </a:r>
          </a:p>
        </p:txBody>
      </p:sp>
      <p:sp>
        <p:nvSpPr>
          <p:cNvPr id="3" name="BigStat 100">
            <a:extLst>
              <a:ext uri="{FF2B5EF4-FFF2-40B4-BE49-F238E27FC236}">
                <a16:creationId xmlns:a16="http://schemas.microsoft.com/office/drawing/2014/main" id="{FC739235-C838-1554-0B34-19B32082E58C}"/>
              </a:ext>
            </a:extLst>
          </p:cNvPr>
          <p:cNvSpPr txBox="1"/>
          <p:nvPr>
            <p:custDataLst>
              <p:tags r:id="rId13"/>
            </p:custDataLst>
          </p:nvPr>
        </p:nvSpPr>
        <p:spPr>
          <a:xfrm>
            <a:off x="3238501" y="2949537"/>
            <a:ext cx="2737848" cy="757238"/>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100</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Mining operations &amp; projects</a:t>
            </a:r>
          </a:p>
        </p:txBody>
      </p:sp>
      <p:pic>
        <p:nvPicPr>
          <p:cNvPr id="4" name="Picture 4">
            <a:extLst>
              <a:ext uri="{FF2B5EF4-FFF2-40B4-BE49-F238E27FC236}">
                <a16:creationId xmlns:a16="http://schemas.microsoft.com/office/drawing/2014/main" id="{74B1B474-C4AB-ABC8-7E3F-BCD72E721A11}"/>
              </a:ext>
            </a:extLst>
          </p:cNvPr>
          <p:cNvPicPr>
            <a:picLocks noChangeAspect="1" noChangeArrowheads="1"/>
          </p:cNvPicPr>
          <p:nvPr/>
        </p:nvPicPr>
        <p:blipFill rotWithShape="1">
          <a:blip r:embed="rId31" cstate="screen">
            <a:extLst>
              <a:ext uri="{28A0092B-C50C-407E-A947-70E740481C1C}">
                <a14:useLocalDpi xmlns:a14="http://schemas.microsoft.com/office/drawing/2010/main"/>
              </a:ext>
            </a:extLst>
          </a:blip>
          <a:srcRect l="11288" t="26488" r="7863" b="33979"/>
          <a:stretch/>
        </p:blipFill>
        <p:spPr bwMode="auto">
          <a:xfrm>
            <a:off x="3414045" y="5741152"/>
            <a:ext cx="1385394" cy="352871"/>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4">
            <a:extLst>
              <a:ext uri="{FF2B5EF4-FFF2-40B4-BE49-F238E27FC236}">
                <a16:creationId xmlns:a16="http://schemas.microsoft.com/office/drawing/2014/main" id="{665A9003-3E14-F64D-F5C3-BE54ABA63A68}"/>
              </a:ext>
            </a:extLst>
          </p:cNvPr>
          <p:cNvPicPr>
            <a:picLocks noChangeAspect="1" noChangeArrowheads="1"/>
          </p:cNvPicPr>
          <p:nvPr/>
        </p:nvPicPr>
        <p:blipFill rotWithShape="1">
          <a:blip r:embed="rId31" cstate="screen">
            <a:extLst>
              <a:ext uri="{28A0092B-C50C-407E-A947-70E740481C1C}">
                <a14:useLocalDpi xmlns:a14="http://schemas.microsoft.com/office/drawing/2010/main"/>
              </a:ext>
            </a:extLst>
          </a:blip>
          <a:srcRect l="11288" t="26488" r="7863" b="33979"/>
          <a:stretch/>
        </p:blipFill>
        <p:spPr bwMode="auto">
          <a:xfrm>
            <a:off x="6244281" y="5597901"/>
            <a:ext cx="1206181" cy="30722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a:extLst>
              <a:ext uri="{FF2B5EF4-FFF2-40B4-BE49-F238E27FC236}">
                <a16:creationId xmlns:a16="http://schemas.microsoft.com/office/drawing/2014/main" id="{4A5E1ACD-6988-CCB0-8476-163817498961}"/>
              </a:ext>
            </a:extLst>
          </p:cNvPr>
          <p:cNvPicPr>
            <a:picLocks noChangeAspect="1"/>
          </p:cNvPicPr>
          <p:nvPr>
            <p:custDataLst>
              <p:tags r:id="rId14"/>
            </p:custDataLst>
          </p:nvPr>
        </p:nvPicPr>
        <p:blipFill rotWithShape="1">
          <a:blip r:embed="rId32" cstate="screen">
            <a:extLst>
              <a:ext uri="{28A0092B-C50C-407E-A947-70E740481C1C}">
                <a14:useLocalDpi xmlns:a14="http://schemas.microsoft.com/office/drawing/2010/main"/>
              </a:ext>
            </a:extLst>
          </a:blip>
          <a:srcRect/>
          <a:stretch/>
        </p:blipFill>
        <p:spPr>
          <a:xfrm>
            <a:off x="7378407" y="6106723"/>
            <a:ext cx="1190114" cy="241242"/>
          </a:xfrm>
          <a:prstGeom prst="rect">
            <a:avLst/>
          </a:prstGeom>
        </p:spPr>
      </p:pic>
      <p:pic>
        <p:nvPicPr>
          <p:cNvPr id="29" name="Picture 2">
            <a:extLst>
              <a:ext uri="{FF2B5EF4-FFF2-40B4-BE49-F238E27FC236}">
                <a16:creationId xmlns:a16="http://schemas.microsoft.com/office/drawing/2014/main" id="{233D94D3-E516-484B-1B2D-0857D63C8C27}"/>
              </a:ext>
            </a:extLst>
          </p:cNvPr>
          <p:cNvPicPr>
            <a:picLocks noChangeAspect="1" noChangeArrowheads="1"/>
          </p:cNvPicPr>
          <p:nvPr/>
        </p:nvPicPr>
        <p:blipFill rotWithShape="1">
          <a:blip r:embed="rId33" cstate="print">
            <a:extLst>
              <a:ext uri="{28A0092B-C50C-407E-A947-70E740481C1C}">
                <a14:useLocalDpi xmlns:a14="http://schemas.microsoft.com/office/drawing/2010/main"/>
              </a:ext>
            </a:extLst>
          </a:blip>
          <a:srcRect/>
          <a:stretch/>
        </p:blipFill>
        <p:spPr bwMode="auto">
          <a:xfrm>
            <a:off x="4749270" y="5741743"/>
            <a:ext cx="1137592" cy="325390"/>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4">
            <a:extLst>
              <a:ext uri="{FF2B5EF4-FFF2-40B4-BE49-F238E27FC236}">
                <a16:creationId xmlns:a16="http://schemas.microsoft.com/office/drawing/2014/main" id="{6D23745B-8369-A8F1-2958-222ADDE51949}"/>
              </a:ext>
            </a:extLst>
          </p:cNvPr>
          <p:cNvPicPr>
            <a:picLocks noChangeAspect="1" noChangeArrowheads="1"/>
          </p:cNvPicPr>
          <p:nvPr/>
        </p:nvPicPr>
        <p:blipFill>
          <a:blip r:embed="rId34" cstate="screen">
            <a:extLst>
              <a:ext uri="{28A0092B-C50C-407E-A947-70E740481C1C}">
                <a14:useLocalDpi xmlns:a14="http://schemas.microsoft.com/office/drawing/2010/main"/>
              </a:ext>
            </a:extLst>
          </a:blip>
          <a:srcRect/>
          <a:stretch>
            <a:fillRect/>
          </a:stretch>
        </p:blipFill>
        <p:spPr bwMode="auto">
          <a:xfrm>
            <a:off x="7470220" y="5519587"/>
            <a:ext cx="675322" cy="408932"/>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
            <a:extLst>
              <a:ext uri="{FF2B5EF4-FFF2-40B4-BE49-F238E27FC236}">
                <a16:creationId xmlns:a16="http://schemas.microsoft.com/office/drawing/2014/main" id="{504A7C57-E69C-A152-A7FD-B39D658B3E4D}"/>
              </a:ext>
            </a:extLst>
          </p:cNvPr>
          <p:cNvPicPr>
            <a:picLocks noChangeAspect="1" noChangeArrowheads="1"/>
          </p:cNvPicPr>
          <p:nvPr/>
        </p:nvPicPr>
        <p:blipFill>
          <a:blip r:embed="rId35" cstate="screen">
            <a:extLst>
              <a:ext uri="{28A0092B-C50C-407E-A947-70E740481C1C}">
                <a14:useLocalDpi xmlns:a14="http://schemas.microsoft.com/office/drawing/2010/main"/>
              </a:ext>
            </a:extLst>
          </a:blip>
          <a:srcRect/>
          <a:stretch>
            <a:fillRect/>
          </a:stretch>
        </p:blipFill>
        <p:spPr bwMode="auto">
          <a:xfrm>
            <a:off x="6291727" y="6006739"/>
            <a:ext cx="946389" cy="188149"/>
          </a:xfrm>
          <a:prstGeom prst="rect">
            <a:avLst/>
          </a:prstGeom>
          <a:noFill/>
          <a:extLst>
            <a:ext uri="{909E8E84-426E-40DD-AFC4-6F175D3DCCD1}">
              <a14:hiddenFill xmlns:a14="http://schemas.microsoft.com/office/drawing/2010/main">
                <a:solidFill>
                  <a:srgbClr val="FFFFFF"/>
                </a:solidFill>
              </a14:hiddenFill>
            </a:ext>
          </a:extLst>
        </p:spPr>
      </p:pic>
      <p:sp>
        <p:nvSpPr>
          <p:cNvPr id="61" name="5. Source">
            <a:extLst>
              <a:ext uri="{FF2B5EF4-FFF2-40B4-BE49-F238E27FC236}">
                <a16:creationId xmlns:a16="http://schemas.microsoft.com/office/drawing/2014/main" id="{2B7C40A1-6785-DF54-7B5A-544C939F3142}"/>
              </a:ext>
            </a:extLst>
          </p:cNvPr>
          <p:cNvSpPr txBox="1"/>
          <p:nvPr>
            <p:custDataLst>
              <p:tags r:id="rId15"/>
            </p:custDataLst>
          </p:nvPr>
        </p:nvSpPr>
        <p:spPr>
          <a:xfrm>
            <a:off x="262528" y="6533620"/>
            <a:ext cx="2582692" cy="184666"/>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6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Source: S&amp;P Global, IBRAM, Americas Market Intelligence, World Bank WDI, IMF (WEO), </a:t>
            </a:r>
            <a:r>
              <a:rPr kumimoji="0" lang="en-US" sz="600" b="0" i="0" u="none" strike="noStrike" kern="1200" cap="none" spc="0" normalizeH="0" baseline="0" noProof="0" dirty="0" err="1">
                <a:ln>
                  <a:noFill/>
                </a:ln>
                <a:solidFill>
                  <a:srgbClr val="FFFFFF"/>
                </a:solidFill>
                <a:effectLst/>
                <a:uLnTx/>
                <a:uFillTx/>
                <a:latin typeface="Calibri" panose="020F0502020204030204" pitchFamily="34" charset="0"/>
                <a:ea typeface="+mn-ea"/>
                <a:cs typeface="Calibri" panose="020F0502020204030204" pitchFamily="34" charset="0"/>
              </a:rPr>
              <a:t>Dentos</a:t>
            </a:r>
            <a:r>
              <a:rPr kumimoji="0" lang="en-US" sz="6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 Global Mining Guide, </a:t>
            </a:r>
            <a:r>
              <a:rPr kumimoji="0" lang="en-US" sz="600" b="0" i="0" u="none" strike="noStrike" kern="1200" cap="none" spc="0" normalizeH="0" baseline="0" noProof="0" dirty="0" err="1">
                <a:ln>
                  <a:noFill/>
                </a:ln>
                <a:solidFill>
                  <a:srgbClr val="FFFFFF"/>
                </a:solidFill>
                <a:effectLst/>
                <a:uLnTx/>
                <a:uFillTx/>
                <a:latin typeface="Calibri" panose="020F0502020204030204" pitchFamily="34" charset="0"/>
                <a:ea typeface="+mn-ea"/>
                <a:cs typeface="Calibri" panose="020F0502020204030204" pitchFamily="34" charset="0"/>
              </a:rPr>
              <a:t>Lexology</a:t>
            </a:r>
            <a:r>
              <a:rPr kumimoji="0" lang="en-US" sz="6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 Maplecroft report, press search</a:t>
            </a:r>
          </a:p>
        </p:txBody>
      </p:sp>
      <p:sp>
        <p:nvSpPr>
          <p:cNvPr id="63" name="TextBox 62">
            <a:extLst>
              <a:ext uri="{FF2B5EF4-FFF2-40B4-BE49-F238E27FC236}">
                <a16:creationId xmlns:a16="http://schemas.microsoft.com/office/drawing/2014/main" id="{B256E380-0F7A-E1B8-6033-DF2A51DCACAC}"/>
              </a:ext>
            </a:extLst>
          </p:cNvPr>
          <p:cNvSpPr txBox="1"/>
          <p:nvPr/>
        </p:nvSpPr>
        <p:spPr>
          <a:xfrm>
            <a:off x="206823" y="1940012"/>
            <a:ext cx="2533202" cy="4081117"/>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144000" marR="0" lvl="0" indent="-1440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rPr>
              <a:t>Most of Guyana’s gold deposits are in the early stage,</a:t>
            </a: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 but the country’s </a:t>
            </a: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rPr>
              <a:t>pro-mining agenda </a:t>
            </a: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is turning the eyes of big mining players</a:t>
            </a:r>
          </a:p>
          <a:p>
            <a:pPr marL="144000" marR="0" lvl="0" indent="-1440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rPr>
              <a:t>Guyana still lacks a mining ecosystem and infrastructure to hold large operations</a:t>
            </a:r>
          </a:p>
          <a:p>
            <a:pPr marL="144000" marR="0" lvl="0" indent="-1440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rPr>
              <a:t>Guyana is relatively unexplored, </a:t>
            </a: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which leaves space for a </a:t>
            </a: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rPr>
              <a:t>potential industry upside </a:t>
            </a: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in the future</a:t>
            </a:r>
          </a:p>
        </p:txBody>
      </p:sp>
      <p:sp>
        <p:nvSpPr>
          <p:cNvPr id="9" name="TextBox 8">
            <a:extLst>
              <a:ext uri="{FF2B5EF4-FFF2-40B4-BE49-F238E27FC236}">
                <a16:creationId xmlns:a16="http://schemas.microsoft.com/office/drawing/2014/main" id="{AA6B99FD-C772-BB02-1E32-3FCDAE6BC652}"/>
              </a:ext>
            </a:extLst>
          </p:cNvPr>
          <p:cNvSpPr txBox="1"/>
          <p:nvPr/>
        </p:nvSpPr>
        <p:spPr>
          <a:xfrm>
            <a:off x="6451218" y="1086659"/>
            <a:ext cx="2236184" cy="430374"/>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5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sym typeface="Theinhardt Pan Light" panose="020B0404020101020102" pitchFamily="34" charset="0"/>
              </a:rPr>
              <a:t>A deep qualitative assessment shows that the </a:t>
            </a:r>
            <a:r>
              <a:rPr kumimoji="0" lang="en-US" sz="9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sym typeface="Theinhardt Pan Light" panose="020B0404020101020102" pitchFamily="34" charset="0"/>
              </a:rPr>
              <a:t>Institutional and Social panorama of the country </a:t>
            </a:r>
            <a:r>
              <a:rPr kumimoji="0" lang="en-US" sz="900" b="1" i="0" u="none" strike="noStrike" kern="1200" cap="none" spc="0" normalizeH="0" baseline="0" noProof="0" dirty="0">
                <a:ln>
                  <a:noFill/>
                </a:ln>
                <a:solidFill>
                  <a:srgbClr val="9B0C34">
                    <a:lumMod val="60000"/>
                    <a:lumOff val="40000"/>
                  </a:srgbClr>
                </a:solidFill>
                <a:effectLst/>
                <a:uLnTx/>
                <a:uFillTx/>
                <a:latin typeface="Calibri" panose="020F0502020204030204"/>
                <a:ea typeface="+mn-ea"/>
                <a:cs typeface="Arial" panose="020B0604020202020204" pitchFamily="34" charset="0"/>
                <a:sym typeface="Theinhardt Pan Light" panose="020B0404020101020102" pitchFamily="34" charset="0"/>
              </a:rPr>
              <a:t>is riskier than shown in the indexes</a:t>
            </a:r>
            <a:endParaRPr kumimoji="0" lang="en-US" sz="900" b="1" i="0" u="none" strike="noStrike" kern="1200" cap="none" spc="0" normalizeH="0" baseline="0" noProof="0" dirty="0">
              <a:ln>
                <a:noFill/>
              </a:ln>
              <a:solidFill>
                <a:srgbClr val="9B0C34">
                  <a:lumMod val="60000"/>
                  <a:lumOff val="40000"/>
                </a:srgbClr>
              </a:solidFill>
              <a:effectLst/>
              <a:uLnTx/>
              <a:uFillTx/>
              <a:latin typeface="Calibri" panose="020F0502020204030204"/>
              <a:ea typeface="+mn-ea"/>
              <a:cs typeface="Arial" panose="020B0604020202020204" pitchFamily="34" charset="0"/>
            </a:endParaRPr>
          </a:p>
        </p:txBody>
      </p:sp>
      <p:grpSp>
        <p:nvGrpSpPr>
          <p:cNvPr id="19" name="Group 18">
            <a:extLst>
              <a:ext uri="{FF2B5EF4-FFF2-40B4-BE49-F238E27FC236}">
                <a16:creationId xmlns:a16="http://schemas.microsoft.com/office/drawing/2014/main" id="{1C740C47-1244-76BE-1BFB-59845A61E3E3}"/>
              </a:ext>
            </a:extLst>
          </p:cNvPr>
          <p:cNvGrpSpPr>
            <a:grpSpLocks/>
          </p:cNvGrpSpPr>
          <p:nvPr/>
        </p:nvGrpSpPr>
        <p:grpSpPr>
          <a:xfrm>
            <a:off x="6065265" y="1098253"/>
            <a:ext cx="274484" cy="274484"/>
            <a:chOff x="5670685" y="3676549"/>
            <a:chExt cx="342462" cy="342462"/>
          </a:xfrm>
          <a:solidFill>
            <a:schemeClr val="accent4"/>
          </a:solidFill>
        </p:grpSpPr>
        <p:sp>
          <p:nvSpPr>
            <p:cNvPr id="20" name="Oval 19">
              <a:extLst>
                <a:ext uri="{FF2B5EF4-FFF2-40B4-BE49-F238E27FC236}">
                  <a16:creationId xmlns:a16="http://schemas.microsoft.com/office/drawing/2014/main" id="{FA3BA3EA-3D8A-07B9-59AB-2D6FA5D73C42}"/>
                </a:ext>
              </a:extLst>
            </p:cNvPr>
            <p:cNvSpPr/>
            <p:nvPr/>
          </p:nvSpPr>
          <p:spPr>
            <a:xfrm flipH="1">
              <a:off x="5670685" y="3676549"/>
              <a:ext cx="342462" cy="342462"/>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21" name="Graphic 20">
              <a:extLst>
                <a:ext uri="{FF2B5EF4-FFF2-40B4-BE49-F238E27FC236}">
                  <a16:creationId xmlns:a16="http://schemas.microsoft.com/office/drawing/2014/main" id="{A1F70AE0-6CDC-0E9C-3072-6721E24B6024}"/>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flipH="1">
              <a:off x="5677265" y="3683132"/>
              <a:ext cx="329300" cy="329300"/>
            </a:xfrm>
            <a:prstGeom prst="rect">
              <a:avLst/>
            </a:prstGeom>
          </p:spPr>
        </p:pic>
      </p:grpSp>
    </p:spTree>
    <p:extLst>
      <p:ext uri="{BB962C8B-B14F-4D97-AF65-F5344CB8AC3E}">
        <p14:creationId xmlns:p14="http://schemas.microsoft.com/office/powerpoint/2010/main" val="13999384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97083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C06C3C9-0B79-314F-0393-33ABD2367EA2}"/>
              </a:ext>
            </a:extLst>
          </p:cNvPr>
          <p:cNvGraphicFramePr>
            <a:graphicFrameLocks noChangeAspect="1"/>
          </p:cNvGraphicFramePr>
          <p:nvPr>
            <p:custDataLst>
              <p:tags r:id="rId1"/>
            </p:custDataLst>
            <p:extLst>
              <p:ext uri="{D42A27DB-BD31-4B8C-83A1-F6EECF244321}">
                <p14:modId xmlns:p14="http://schemas.microsoft.com/office/powerpoint/2010/main" val="2321612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4" imgH="486" progId="TCLayout.ActiveDocument.1">
                  <p:embed/>
                </p:oleObj>
              </mc:Choice>
              <mc:Fallback>
                <p:oleObj name="think-cell Slide" r:id="rId5" imgW="484" imgH="4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32BECD54-0D06-4D14-AAD7-FD179BEA0F27}"/>
              </a:ext>
            </a:extLst>
          </p:cNvPr>
          <p:cNvSpPr>
            <a:spLocks noGrp="1"/>
          </p:cNvSpPr>
          <p:nvPr>
            <p:ph type="title"/>
            <p:custDataLst>
              <p:tags r:id="rId2"/>
            </p:custDataLst>
          </p:nvPr>
        </p:nvSpPr>
        <p:spPr/>
        <p:txBody>
          <a:bodyPr vert="horz"/>
          <a:lstStyle/>
          <a:p>
            <a:r>
              <a:rPr lang="pt-BR"/>
              <a:t>Backup</a:t>
            </a:r>
          </a:p>
        </p:txBody>
      </p:sp>
      <p:sp>
        <p:nvSpPr>
          <p:cNvPr id="3" name="1. On-page tracker">
            <a:extLst>
              <a:ext uri="{FF2B5EF4-FFF2-40B4-BE49-F238E27FC236}">
                <a16:creationId xmlns:a16="http://schemas.microsoft.com/office/drawing/2014/main" id="{B79232DE-8441-FAD2-1B11-68A32D66C2D3}"/>
              </a:ext>
            </a:extLst>
          </p:cNvPr>
          <p:cNvSpPr>
            <a:spLocks noGrp="1"/>
          </p:cNvSpPr>
          <p:nvPr>
            <p:ph type="body" sz="quarter" idx="10"/>
            <p:custDataLst>
              <p:tags r:id="rId3"/>
            </p:custDataLst>
          </p:nvPr>
        </p:nvSpPr>
        <p:spPr/>
        <p:txBody>
          <a:bodyPr/>
          <a:lstStyle/>
          <a:p>
            <a:endParaRPr lang="pt-BR"/>
          </a:p>
        </p:txBody>
      </p:sp>
    </p:spTree>
    <p:extLst>
      <p:ext uri="{BB962C8B-B14F-4D97-AF65-F5344CB8AC3E}">
        <p14:creationId xmlns:p14="http://schemas.microsoft.com/office/powerpoint/2010/main" val="23112711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 hidden="1">
            <a:extLst>
              <a:ext uri="{FF2B5EF4-FFF2-40B4-BE49-F238E27FC236}">
                <a16:creationId xmlns:a16="http://schemas.microsoft.com/office/drawing/2014/main" id="{578D55DE-3BB1-3BCB-BC1B-44EF337F1908}"/>
              </a:ext>
            </a:extLst>
          </p:cNvPr>
          <p:cNvGraphicFramePr>
            <a:graphicFrameLocks noChangeAspect="1"/>
          </p:cNvGraphicFramePr>
          <p:nvPr>
            <p:custDataLst>
              <p:tags r:id="rId1"/>
            </p:custDataLst>
            <p:extLst>
              <p:ext uri="{D42A27DB-BD31-4B8C-83A1-F6EECF244321}">
                <p14:modId xmlns:p14="http://schemas.microsoft.com/office/powerpoint/2010/main" val="122066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9" imgW="395" imgH="396" progId="TCLayout.ActiveDocument.1">
                  <p:embed/>
                </p:oleObj>
              </mc:Choice>
              <mc:Fallback>
                <p:oleObj name="think-cell Slide" r:id="rId69" imgW="395" imgH="396" progId="TCLayout.ActiveDocument.1">
                  <p:embed/>
                  <p:pic>
                    <p:nvPicPr>
                      <p:cNvPr id="15" name="Object 1" hidden="1">
                        <a:extLst>
                          <a:ext uri="{FF2B5EF4-FFF2-40B4-BE49-F238E27FC236}">
                            <a16:creationId xmlns:a16="http://schemas.microsoft.com/office/drawing/2014/main" id="{578D55DE-3BB1-3BCB-BC1B-44EF337F1908}"/>
                          </a:ext>
                        </a:extLst>
                      </p:cNvPr>
                      <p:cNvPicPr/>
                      <p:nvPr/>
                    </p:nvPicPr>
                    <p:blipFill>
                      <a:blip r:embed="rId70"/>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idx="4294967295"/>
          </p:nvPr>
        </p:nvSpPr>
        <p:spPr>
          <a:xfrm>
            <a:off x="262527" y="237143"/>
            <a:ext cx="9166496" cy="830997"/>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ctr" anchorCtr="0">
            <a:spAutoFit/>
          </a:bodyPr>
          <a:lstStyle/>
          <a:p>
            <a:r>
              <a:rPr lang="en-CA" sz="2400" dirty="0"/>
              <a:t>Peru is a top-10 global gold producer, with a mature mining industry facing depletion of large gold mines</a:t>
            </a:r>
          </a:p>
        </p:txBody>
      </p:sp>
      <p:sp>
        <p:nvSpPr>
          <p:cNvPr id="51" name="5. Source">
            <a:extLst>
              <a:ext uri="{FF2B5EF4-FFF2-40B4-BE49-F238E27FC236}">
                <a16:creationId xmlns:a16="http://schemas.microsoft.com/office/drawing/2014/main" id="{FEA89F67-585A-557F-A85D-1AAFAD031886}"/>
              </a:ext>
            </a:extLst>
          </p:cNvPr>
          <p:cNvSpPr txBox="1"/>
          <p:nvPr>
            <p:custDataLst>
              <p:tags r:id="rId2"/>
            </p:custDataLst>
          </p:nvPr>
        </p:nvSpPr>
        <p:spPr>
          <a:xfrm>
            <a:off x="346356"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ource: CIA World Factbook, World Bank WDI, IMF (WEO), Oxford Economics, </a:t>
            </a:r>
            <a:r>
              <a:rPr kumimoji="0" lang="en-US" sz="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MineSpans</a:t>
            </a: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en-US" sz="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Dentos</a:t>
            </a: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Global Mining Guide, </a:t>
            </a:r>
            <a:r>
              <a:rPr kumimoji="0" lang="en-US" sz="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Lexology</a:t>
            </a: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press search</a:t>
            </a:r>
          </a:p>
        </p:txBody>
      </p:sp>
      <p:cxnSp>
        <p:nvCxnSpPr>
          <p:cNvPr id="34" name="Straight Connector 33">
            <a:extLst>
              <a:ext uri="{FF2B5EF4-FFF2-40B4-BE49-F238E27FC236}">
                <a16:creationId xmlns:a16="http://schemas.microsoft.com/office/drawing/2014/main" id="{EB3C492B-2B23-BBB8-FD5D-B1EF650D1AA8}"/>
              </a:ext>
            </a:extLst>
          </p:cNvPr>
          <p:cNvCxnSpPr>
            <a:cxnSpLocks/>
          </p:cNvCxnSpPr>
          <p:nvPr>
            <p:custDataLst>
              <p:tags r:id="rId3"/>
            </p:custDataLst>
          </p:nvPr>
        </p:nvCxnSpPr>
        <p:spPr>
          <a:xfrm>
            <a:off x="346074" y="4057395"/>
            <a:ext cx="5524265" cy="0"/>
          </a:xfrm>
          <a:prstGeom prst="line">
            <a:avLst/>
          </a:prstGeom>
          <a:ln w="6350">
            <a:solidFill>
              <a:srgbClr val="757575"/>
            </a:solidFill>
            <a:prstDash val="soli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D80A1D05-FAF3-BED8-FD5C-2BE9D20B7596}"/>
              </a:ext>
            </a:extLst>
          </p:cNvPr>
          <p:cNvCxnSpPr>
            <a:cxnSpLocks/>
          </p:cNvCxnSpPr>
          <p:nvPr>
            <p:custDataLst>
              <p:tags r:id="rId4"/>
            </p:custDataLst>
          </p:nvPr>
        </p:nvCxnSpPr>
        <p:spPr>
          <a:xfrm>
            <a:off x="346074" y="2086909"/>
            <a:ext cx="5524265" cy="0"/>
          </a:xfrm>
          <a:prstGeom prst="line">
            <a:avLst/>
          </a:prstGeom>
          <a:ln w="6350">
            <a:solidFill>
              <a:srgbClr val="757575"/>
            </a:solidFill>
            <a:prstDash val="soli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E48FF427-B204-0939-2F10-F61E62D6A4AB}"/>
              </a:ext>
            </a:extLst>
          </p:cNvPr>
          <p:cNvCxnSpPr>
            <a:cxnSpLocks/>
          </p:cNvCxnSpPr>
          <p:nvPr>
            <p:custDataLst>
              <p:tags r:id="rId5"/>
            </p:custDataLst>
          </p:nvPr>
        </p:nvCxnSpPr>
        <p:spPr>
          <a:xfrm>
            <a:off x="346074" y="3210582"/>
            <a:ext cx="5524265" cy="0"/>
          </a:xfrm>
          <a:prstGeom prst="line">
            <a:avLst/>
          </a:prstGeom>
          <a:ln w="6350">
            <a:solidFill>
              <a:srgbClr val="757575"/>
            </a:solidFill>
            <a:prstDash val="soli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64A3520-D2D9-CE31-EF86-4AF475BF887E}"/>
              </a:ext>
            </a:extLst>
          </p:cNvPr>
          <p:cNvCxnSpPr>
            <a:cxnSpLocks/>
          </p:cNvCxnSpPr>
          <p:nvPr>
            <p:custDataLst>
              <p:tags r:id="rId6"/>
            </p:custDataLst>
          </p:nvPr>
        </p:nvCxnSpPr>
        <p:spPr>
          <a:xfrm>
            <a:off x="6197600" y="3128633"/>
            <a:ext cx="5689601" cy="0"/>
          </a:xfrm>
          <a:prstGeom prst="line">
            <a:avLst/>
          </a:prstGeom>
          <a:ln w="6350">
            <a:solidFill>
              <a:srgbClr val="757575"/>
            </a:solidFill>
            <a:prstDash val="solid"/>
          </a:ln>
        </p:spPr>
        <p:style>
          <a:lnRef idx="1">
            <a:schemeClr val="accent1"/>
          </a:lnRef>
          <a:fillRef idx="0">
            <a:schemeClr val="accent1"/>
          </a:fillRef>
          <a:effectRef idx="0">
            <a:schemeClr val="accent1"/>
          </a:effectRef>
          <a:fontRef idx="minor">
            <a:schemeClr val="tx1"/>
          </a:fontRef>
        </p:style>
      </p:cxnSp>
      <p:sp>
        <p:nvSpPr>
          <p:cNvPr id="42" name="Rectangle 8">
            <a:extLst>
              <a:ext uri="{FF2B5EF4-FFF2-40B4-BE49-F238E27FC236}">
                <a16:creationId xmlns:a16="http://schemas.microsoft.com/office/drawing/2014/main" id="{EF0C4F77-5819-4FF8-28E6-3CC6E87DC0F5}"/>
              </a:ext>
            </a:extLst>
          </p:cNvPr>
          <p:cNvSpPr txBox="1">
            <a:spLocks/>
          </p:cNvSpPr>
          <p:nvPr>
            <p:custDataLst>
              <p:tags r:id="rId7"/>
            </p:custDataLst>
          </p:nvPr>
        </p:nvSpPr>
        <p:spPr>
          <a:xfrm>
            <a:off x="6197598" y="3188945"/>
            <a:ext cx="896621" cy="1801067"/>
          </a:xfrm>
          <a:prstGeom prst="rect">
            <a:avLst/>
          </a:prstGeom>
          <a:solidFill>
            <a:schemeClr val="accent1"/>
          </a:solidFill>
          <a:ln w="9525">
            <a:noFill/>
            <a:miter lim="800000"/>
            <a:headEnd/>
            <a:tailEnd/>
          </a:ln>
          <a:effectLst/>
        </p:spPr>
        <p:txBody>
          <a:bodyPr vert="horz" wrap="square" lIns="36576" tIns="76200" rIns="36576" bIns="76200" numCol="1" anchor="ctr" anchorCtr="0" compatLnSpc="1">
            <a:prstTxWarp prst="textNoShape">
              <a:avLst/>
            </a:prstTxWarp>
            <a:noAutofit/>
          </a:bodyPr>
          <a:lstStyle>
            <a:defPPr>
              <a:defRPr lang="en-US"/>
            </a:defPPr>
            <a:lvl1pPr marL="0" lvl="0" indent="0" defTabSz="913526" eaLnBrk="1" hangingPunct="1">
              <a:buClr>
                <a:schemeClr val="tx2"/>
              </a:buClr>
              <a:defRPr sz="1000" b="1"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Fiscal and regulatory terms relevant to gold industry</a:t>
            </a:r>
            <a:endParaRPr kumimoji="0" lang="en-CA"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endParaRPr>
          </a:p>
        </p:txBody>
      </p:sp>
      <p:sp>
        <p:nvSpPr>
          <p:cNvPr id="93" name="TextBox 92">
            <a:extLst>
              <a:ext uri="{FF2B5EF4-FFF2-40B4-BE49-F238E27FC236}">
                <a16:creationId xmlns:a16="http://schemas.microsoft.com/office/drawing/2014/main" id="{973EABFE-AA29-2CE1-B02E-CAAF3B875086}"/>
              </a:ext>
            </a:extLst>
          </p:cNvPr>
          <p:cNvSpPr txBox="1">
            <a:spLocks/>
          </p:cNvSpPr>
          <p:nvPr/>
        </p:nvSpPr>
        <p:spPr>
          <a:xfrm>
            <a:off x="7174991" y="3188945"/>
            <a:ext cx="4712209" cy="180106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Peru’s mining regime is based on a civil law regime and relies on four legal instruments:</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sym typeface="Wingdings" panose="05000000000000000000" pitchFamily="2" charset="2"/>
              </a:rPr>
              <a:t> (i)</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The </a:t>
            </a: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Political Constitution of the Republic of Peru</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ii) The </a:t>
            </a: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General Mining Law</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iii) The </a:t>
            </a: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Law for the Promotion of Investments in the Mining Secto</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r, (iv) The Organic Law for the </a:t>
            </a: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Sustainable Use of Natural Resources</a:t>
            </a:r>
          </a:p>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Peruvian companies have to pay the following taxes: (i) </a:t>
            </a: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CIT, at the rate of 29.5%</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on net income; (ii) </a:t>
            </a: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VAT, at the rate of 18% </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on the value of taxable transactions ; (iii) </a:t>
            </a: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Excise Tax</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depending on the kind of product acquired, different rates may apply; (iv) </a:t>
            </a: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Customs duties: 0,4,6 and 11%, </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depending on the kind of goods imported; (v) </a:t>
            </a: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Temporary Tax on Net Assets: 0.4% </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on net assets, for the excess of S/1,000,000 (approximately, US$400,000); and, (vi) Financial Transactions Tax: 0.005% on debit and credit transactions made through banks in Peru.</a:t>
            </a:r>
          </a:p>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Other main taxes: </a:t>
            </a: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Special Mining Tax: Between 2 and 8.4%, </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depending on the operating margin of profits obtained quarterly; </a:t>
            </a: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Supplemental Retirement Mining Fund: 0.5% </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on the company’s taxable income; </a:t>
            </a: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Regulatory Contribution to Supervisory Agency OSINERGMIN</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among others</a:t>
            </a:r>
          </a:p>
        </p:txBody>
      </p:sp>
      <p:grpSp>
        <p:nvGrpSpPr>
          <p:cNvPr id="54" name="Group 53">
            <a:extLst>
              <a:ext uri="{FF2B5EF4-FFF2-40B4-BE49-F238E27FC236}">
                <a16:creationId xmlns:a16="http://schemas.microsoft.com/office/drawing/2014/main" id="{EBCC2EEA-521E-F028-1B57-B2DE1C770C2B}"/>
              </a:ext>
            </a:extLst>
          </p:cNvPr>
          <p:cNvGrpSpPr/>
          <p:nvPr/>
        </p:nvGrpSpPr>
        <p:grpSpPr>
          <a:xfrm>
            <a:off x="346075" y="3330112"/>
            <a:ext cx="5361781" cy="607753"/>
            <a:chOff x="346075" y="3465763"/>
            <a:chExt cx="5361781" cy="607753"/>
          </a:xfrm>
        </p:grpSpPr>
        <p:sp>
          <p:nvSpPr>
            <p:cNvPr id="33" name="Rectangle 8">
              <a:extLst>
                <a:ext uri="{FF2B5EF4-FFF2-40B4-BE49-F238E27FC236}">
                  <a16:creationId xmlns:a16="http://schemas.microsoft.com/office/drawing/2014/main" id="{CB027349-3B9C-8384-4834-48368D61E2E8}"/>
                </a:ext>
              </a:extLst>
            </p:cNvPr>
            <p:cNvSpPr txBox="1">
              <a:spLocks/>
            </p:cNvSpPr>
            <p:nvPr>
              <p:custDataLst>
                <p:tags r:id="rId66"/>
              </p:custDataLst>
            </p:nvPr>
          </p:nvSpPr>
          <p:spPr>
            <a:xfrm>
              <a:off x="346075" y="3465763"/>
              <a:ext cx="1194435" cy="606315"/>
            </a:xfrm>
            <a:prstGeom prst="rect">
              <a:avLst/>
            </a:prstGeom>
            <a:solidFill>
              <a:schemeClr val="accent1"/>
            </a:solidFill>
            <a:ln w="9525">
              <a:noFill/>
              <a:miter lim="800000"/>
              <a:headEnd/>
              <a:tailEnd/>
            </a:ln>
            <a:effectLst/>
          </p:spPr>
          <p:txBody>
            <a:bodyPr vert="horz" wrap="square" lIns="36576" tIns="76200" rIns="36576" bIns="76200" numCol="1" anchor="ctr" anchorCtr="0" compatLnSpc="1">
              <a:prstTxWarp prst="textNoShape">
                <a:avLst/>
              </a:prstTxWarp>
              <a:noAutofit/>
            </a:bodyPr>
            <a:lstStyle>
              <a:defPPr>
                <a:defRPr lang="en-US"/>
              </a:defPPr>
              <a:lvl1pPr marL="0" lvl="0" indent="0" defTabSz="913526" eaLnBrk="1" hangingPunct="1">
                <a:buClr>
                  <a:schemeClr val="tx2"/>
                </a:buClr>
                <a:defRPr sz="1000" b="1"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Comparable opera-</a:t>
              </a:r>
              <a:r>
                <a:rPr kumimoji="0" lang="en-US" sz="1000" b="1" i="0" u="none" strike="noStrike" kern="1200" cap="none" spc="0" normalizeH="0" baseline="0" noProof="0" dirty="0" err="1">
                  <a:ln>
                    <a:noFill/>
                  </a:ln>
                  <a:solidFill>
                    <a:srgbClr val="FFFFFF"/>
                  </a:solidFill>
                  <a:effectLst/>
                  <a:uLnTx/>
                  <a:uFillTx/>
                  <a:latin typeface="Calibri" panose="020F0502020204030204" pitchFamily="34" charset="0"/>
                  <a:ea typeface="ＭＳ Ｐゴシック"/>
                  <a:cs typeface="Calibri" panose="020F0502020204030204" pitchFamily="34" charset="0"/>
                </a:rPr>
                <a:t>tional</a:t>
              </a: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 environments</a:t>
              </a:r>
              <a:endParaRPr kumimoji="0" lang="en-CA"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endParaRPr>
            </a:p>
          </p:txBody>
        </p:sp>
        <p:sp>
          <p:nvSpPr>
            <p:cNvPr id="91" name="TextBox 90">
              <a:extLst>
                <a:ext uri="{FF2B5EF4-FFF2-40B4-BE49-F238E27FC236}">
                  <a16:creationId xmlns:a16="http://schemas.microsoft.com/office/drawing/2014/main" id="{BEE782B9-C50C-7145-E203-58E3D3C475B7}"/>
                </a:ext>
              </a:extLst>
            </p:cNvPr>
            <p:cNvSpPr txBox="1">
              <a:spLocks/>
            </p:cNvSpPr>
            <p:nvPr/>
          </p:nvSpPr>
          <p:spPr>
            <a:xfrm>
              <a:off x="1615440" y="3465764"/>
              <a:ext cx="4092416" cy="60775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Chile – presence of traditional mining hubs and a long history of mining investments</a:t>
              </a:r>
            </a:p>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Brazil – areas with presence of sensitive environmental regions with traditional communities</a:t>
              </a:r>
            </a:p>
          </p:txBody>
        </p:sp>
      </p:grpSp>
      <p:grpSp>
        <p:nvGrpSpPr>
          <p:cNvPr id="57" name="Group 56">
            <a:extLst>
              <a:ext uri="{FF2B5EF4-FFF2-40B4-BE49-F238E27FC236}">
                <a16:creationId xmlns:a16="http://schemas.microsoft.com/office/drawing/2014/main" id="{428C6762-B277-CE44-2706-31CBDFC098C3}"/>
              </a:ext>
            </a:extLst>
          </p:cNvPr>
          <p:cNvGrpSpPr/>
          <p:nvPr/>
        </p:nvGrpSpPr>
        <p:grpSpPr>
          <a:xfrm>
            <a:off x="346075" y="4176925"/>
            <a:ext cx="5361782" cy="813087"/>
            <a:chOff x="346075" y="4176925"/>
            <a:chExt cx="5361782" cy="813087"/>
          </a:xfrm>
        </p:grpSpPr>
        <p:sp>
          <p:nvSpPr>
            <p:cNvPr id="41" name="Rectangle 8">
              <a:extLst>
                <a:ext uri="{FF2B5EF4-FFF2-40B4-BE49-F238E27FC236}">
                  <a16:creationId xmlns:a16="http://schemas.microsoft.com/office/drawing/2014/main" id="{EA08B892-A175-5A1E-4459-FB7C21FBFBD3}"/>
                </a:ext>
              </a:extLst>
            </p:cNvPr>
            <p:cNvSpPr txBox="1">
              <a:spLocks/>
            </p:cNvSpPr>
            <p:nvPr>
              <p:custDataLst>
                <p:tags r:id="rId65"/>
              </p:custDataLst>
            </p:nvPr>
          </p:nvSpPr>
          <p:spPr>
            <a:xfrm>
              <a:off x="346075" y="4176925"/>
              <a:ext cx="1194435" cy="813087"/>
            </a:xfrm>
            <a:prstGeom prst="rect">
              <a:avLst/>
            </a:prstGeom>
            <a:solidFill>
              <a:schemeClr val="accent1"/>
            </a:solidFill>
            <a:ln w="9525">
              <a:noFill/>
              <a:miter lim="800000"/>
              <a:headEnd/>
              <a:tailEnd/>
            </a:ln>
            <a:effectLst/>
          </p:spPr>
          <p:txBody>
            <a:bodyPr vert="horz" wrap="square" lIns="36576" tIns="76200" rIns="36576" bIns="76200" numCol="1" anchor="ctr"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Other relevant factors</a:t>
              </a:r>
              <a:endParaRPr kumimoji="0" lang="en-CA"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endParaRPr>
            </a:p>
          </p:txBody>
        </p:sp>
        <p:sp>
          <p:nvSpPr>
            <p:cNvPr id="92" name="TextBox 91">
              <a:extLst>
                <a:ext uri="{FF2B5EF4-FFF2-40B4-BE49-F238E27FC236}">
                  <a16:creationId xmlns:a16="http://schemas.microsoft.com/office/drawing/2014/main" id="{234F2287-030E-8A2F-7325-FADEC940D7CA}"/>
                </a:ext>
              </a:extLst>
            </p:cNvPr>
            <p:cNvSpPr txBox="1">
              <a:spLocks/>
            </p:cNvSpPr>
            <p:nvPr/>
          </p:nvSpPr>
          <p:spPr>
            <a:xfrm>
              <a:off x="1615441" y="4196307"/>
              <a:ext cx="4092416" cy="7848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Large presence of illegal miners in remote regions (especially Madre de Dios, Puno, and La Libertad), which presents security and environmental risk</a:t>
              </a:r>
            </a:p>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Despite the political instability of the country, the actions of the CRB (Central Reserves Bank) allowed Peru to maintain its business competitiveness</a:t>
              </a:r>
            </a:p>
          </p:txBody>
        </p:sp>
      </p:grpSp>
      <p:grpSp>
        <p:nvGrpSpPr>
          <p:cNvPr id="49" name="Group 48">
            <a:extLst>
              <a:ext uri="{FF2B5EF4-FFF2-40B4-BE49-F238E27FC236}">
                <a16:creationId xmlns:a16="http://schemas.microsoft.com/office/drawing/2014/main" id="{B30F087F-8C14-5F53-54D9-890E0A25168B}"/>
              </a:ext>
            </a:extLst>
          </p:cNvPr>
          <p:cNvGrpSpPr/>
          <p:nvPr/>
        </p:nvGrpSpPr>
        <p:grpSpPr>
          <a:xfrm>
            <a:off x="346075" y="1093867"/>
            <a:ext cx="5524265" cy="873512"/>
            <a:chOff x="346075" y="1469399"/>
            <a:chExt cx="5524265" cy="873512"/>
          </a:xfrm>
        </p:grpSpPr>
        <p:sp>
          <p:nvSpPr>
            <p:cNvPr id="46" name="Rectangle 8">
              <a:extLst>
                <a:ext uri="{FF2B5EF4-FFF2-40B4-BE49-F238E27FC236}">
                  <a16:creationId xmlns:a16="http://schemas.microsoft.com/office/drawing/2014/main" id="{DF62B165-B198-85FE-915A-1686D3ACAA0E}"/>
                </a:ext>
              </a:extLst>
            </p:cNvPr>
            <p:cNvSpPr txBox="1">
              <a:spLocks/>
            </p:cNvSpPr>
            <p:nvPr>
              <p:custDataLst>
                <p:tags r:id="rId64"/>
              </p:custDataLst>
            </p:nvPr>
          </p:nvSpPr>
          <p:spPr>
            <a:xfrm>
              <a:off x="346075" y="1469399"/>
              <a:ext cx="1194435" cy="873512"/>
            </a:xfrm>
            <a:prstGeom prst="rect">
              <a:avLst/>
            </a:prstGeom>
            <a:solidFill>
              <a:schemeClr val="accent1"/>
            </a:solidFill>
            <a:ln w="9525">
              <a:noFill/>
              <a:miter lim="800000"/>
              <a:headEnd/>
              <a:tailEnd/>
            </a:ln>
            <a:effectLst/>
          </p:spPr>
          <p:txBody>
            <a:bodyPr vert="horz" wrap="square" lIns="36576" tIns="76200" rIns="36576" bIns="76200" numCol="1" anchor="ctr"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Government overview and key stakeholders</a:t>
              </a:r>
              <a:endParaRPr kumimoji="0" lang="en-CA"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endParaRPr>
            </a:p>
          </p:txBody>
        </p:sp>
        <p:sp>
          <p:nvSpPr>
            <p:cNvPr id="132" name="TextBox 131">
              <a:extLst>
                <a:ext uri="{FF2B5EF4-FFF2-40B4-BE49-F238E27FC236}">
                  <a16:creationId xmlns:a16="http://schemas.microsoft.com/office/drawing/2014/main" id="{92FF2AEE-7746-7067-2EA0-26A153EB1600}"/>
                </a:ext>
              </a:extLst>
            </p:cNvPr>
            <p:cNvSpPr txBox="1">
              <a:spLocks/>
            </p:cNvSpPr>
            <p:nvPr/>
          </p:nvSpPr>
          <p:spPr>
            <a:xfrm>
              <a:off x="1615442" y="1614822"/>
              <a:ext cx="913446" cy="13652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Parliament type:</a:t>
              </a:r>
            </a:p>
          </p:txBody>
        </p:sp>
        <p:sp>
          <p:nvSpPr>
            <p:cNvPr id="133" name="TextBox 132">
              <a:extLst>
                <a:ext uri="{FF2B5EF4-FFF2-40B4-BE49-F238E27FC236}">
                  <a16:creationId xmlns:a16="http://schemas.microsoft.com/office/drawing/2014/main" id="{045FCAF2-5034-7D0C-CAC2-3B228E3769BA}"/>
                </a:ext>
              </a:extLst>
            </p:cNvPr>
            <p:cNvSpPr txBox="1">
              <a:spLocks/>
            </p:cNvSpPr>
            <p:nvPr/>
          </p:nvSpPr>
          <p:spPr>
            <a:xfrm>
              <a:off x="2600326" y="1614822"/>
              <a:ext cx="3270014"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unicameral Congress of the Republic of Peru</a:t>
              </a:r>
              <a:endPar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endParaRPr>
            </a:p>
          </p:txBody>
        </p:sp>
        <p:sp>
          <p:nvSpPr>
            <p:cNvPr id="128" name="TextBox 127">
              <a:extLst>
                <a:ext uri="{FF2B5EF4-FFF2-40B4-BE49-F238E27FC236}">
                  <a16:creationId xmlns:a16="http://schemas.microsoft.com/office/drawing/2014/main" id="{08BB0351-7469-B33B-7341-A6C5B691B92D}"/>
                </a:ext>
              </a:extLst>
            </p:cNvPr>
            <p:cNvSpPr txBox="1">
              <a:spLocks/>
            </p:cNvSpPr>
            <p:nvPr/>
          </p:nvSpPr>
          <p:spPr>
            <a:xfrm>
              <a:off x="1615442" y="1469399"/>
              <a:ext cx="913446" cy="13652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Government type:</a:t>
              </a:r>
            </a:p>
          </p:txBody>
        </p:sp>
        <p:sp>
          <p:nvSpPr>
            <p:cNvPr id="129" name="TextBox 128">
              <a:extLst>
                <a:ext uri="{FF2B5EF4-FFF2-40B4-BE49-F238E27FC236}">
                  <a16:creationId xmlns:a16="http://schemas.microsoft.com/office/drawing/2014/main" id="{1591AFA9-25E4-06CF-CED4-57D391FB4D61}"/>
                </a:ext>
              </a:extLst>
            </p:cNvPr>
            <p:cNvSpPr txBox="1">
              <a:spLocks/>
            </p:cNvSpPr>
            <p:nvPr/>
          </p:nvSpPr>
          <p:spPr>
            <a:xfrm>
              <a:off x="2600326" y="1469399"/>
              <a:ext cx="3270014" cy="13652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Democracy</a:t>
              </a:r>
            </a:p>
          </p:txBody>
        </p:sp>
        <p:sp>
          <p:nvSpPr>
            <p:cNvPr id="135" name="TextBox 134">
              <a:extLst>
                <a:ext uri="{FF2B5EF4-FFF2-40B4-BE49-F238E27FC236}">
                  <a16:creationId xmlns:a16="http://schemas.microsoft.com/office/drawing/2014/main" id="{8FC8F185-8320-ED7C-8C9C-C417ECD7A218}"/>
                </a:ext>
              </a:extLst>
            </p:cNvPr>
            <p:cNvSpPr txBox="1">
              <a:spLocks/>
            </p:cNvSpPr>
            <p:nvPr/>
          </p:nvSpPr>
          <p:spPr>
            <a:xfrm>
              <a:off x="1615442" y="1762219"/>
              <a:ext cx="913446" cy="13493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President:</a:t>
              </a:r>
            </a:p>
          </p:txBody>
        </p:sp>
        <p:sp>
          <p:nvSpPr>
            <p:cNvPr id="136" name="TextBox 135">
              <a:extLst>
                <a:ext uri="{FF2B5EF4-FFF2-40B4-BE49-F238E27FC236}">
                  <a16:creationId xmlns:a16="http://schemas.microsoft.com/office/drawing/2014/main" id="{286FD3F8-A9FB-E0FA-11D2-E82BA030CF9B}"/>
                </a:ext>
              </a:extLst>
            </p:cNvPr>
            <p:cNvSpPr txBox="1">
              <a:spLocks/>
            </p:cNvSpPr>
            <p:nvPr/>
          </p:nvSpPr>
          <p:spPr>
            <a:xfrm>
              <a:off x="2600326" y="1762219"/>
              <a:ext cx="3270014" cy="138499"/>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Dina Ercilia Boluarte Zegarra </a:t>
              </a:r>
              <a:r>
                <a:rPr kumimoji="0" lang="es-E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a:t>
              </a:r>
              <a:r>
                <a:rPr kumimoji="0" lang="es-ES" sz="9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since</a:t>
              </a:r>
              <a:r>
                <a:rPr kumimoji="0" lang="es-E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2022)</a:t>
              </a:r>
              <a:endPar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endParaRPr>
            </a:p>
          </p:txBody>
        </p:sp>
        <p:sp>
          <p:nvSpPr>
            <p:cNvPr id="139" name="TextBox 138">
              <a:extLst>
                <a:ext uri="{FF2B5EF4-FFF2-40B4-BE49-F238E27FC236}">
                  <a16:creationId xmlns:a16="http://schemas.microsoft.com/office/drawing/2014/main" id="{CC8673C0-B27B-4146-B381-90AA05457754}"/>
                </a:ext>
              </a:extLst>
            </p:cNvPr>
            <p:cNvSpPr txBox="1">
              <a:spLocks/>
            </p:cNvSpPr>
            <p:nvPr/>
          </p:nvSpPr>
          <p:spPr>
            <a:xfrm>
              <a:off x="1615442" y="1909616"/>
              <a:ext cx="913446"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Next election:</a:t>
              </a:r>
            </a:p>
          </p:txBody>
        </p:sp>
        <p:sp>
          <p:nvSpPr>
            <p:cNvPr id="140" name="TextBox 139">
              <a:extLst>
                <a:ext uri="{FF2B5EF4-FFF2-40B4-BE49-F238E27FC236}">
                  <a16:creationId xmlns:a16="http://schemas.microsoft.com/office/drawing/2014/main" id="{3ED62777-DDCE-5F21-D331-4AEE1668ECF3}"/>
                </a:ext>
              </a:extLst>
            </p:cNvPr>
            <p:cNvSpPr txBox="1">
              <a:spLocks/>
            </p:cNvSpPr>
            <p:nvPr/>
          </p:nvSpPr>
          <p:spPr>
            <a:xfrm>
              <a:off x="2600326" y="1909616"/>
              <a:ext cx="3270014"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2026</a:t>
              </a:r>
            </a:p>
          </p:txBody>
        </p:sp>
        <p:sp>
          <p:nvSpPr>
            <p:cNvPr id="143" name="TextBox 142">
              <a:extLst>
                <a:ext uri="{FF2B5EF4-FFF2-40B4-BE49-F238E27FC236}">
                  <a16:creationId xmlns:a16="http://schemas.microsoft.com/office/drawing/2014/main" id="{CA777830-90B0-AC47-B276-1B852CEBD625}"/>
                </a:ext>
              </a:extLst>
            </p:cNvPr>
            <p:cNvSpPr txBox="1">
              <a:spLocks/>
            </p:cNvSpPr>
            <p:nvPr/>
          </p:nvSpPr>
          <p:spPr>
            <a:xfrm>
              <a:off x="1615442" y="2057013"/>
              <a:ext cx="913446" cy="13493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Mining ministry:</a:t>
              </a:r>
            </a:p>
          </p:txBody>
        </p:sp>
        <p:sp>
          <p:nvSpPr>
            <p:cNvPr id="144" name="TextBox 143">
              <a:extLst>
                <a:ext uri="{FF2B5EF4-FFF2-40B4-BE49-F238E27FC236}">
                  <a16:creationId xmlns:a16="http://schemas.microsoft.com/office/drawing/2014/main" id="{0F6E1B82-5A40-B08E-4FCB-69D6C6C2E0A8}"/>
                </a:ext>
              </a:extLst>
            </p:cNvPr>
            <p:cNvSpPr txBox="1">
              <a:spLocks/>
            </p:cNvSpPr>
            <p:nvPr/>
          </p:nvSpPr>
          <p:spPr>
            <a:xfrm>
              <a:off x="2600326" y="2057013"/>
              <a:ext cx="3270014"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Ministry of Mines and Energy</a:t>
              </a:r>
            </a:p>
          </p:txBody>
        </p:sp>
        <p:sp>
          <p:nvSpPr>
            <p:cNvPr id="146" name="TextBox 145">
              <a:extLst>
                <a:ext uri="{FF2B5EF4-FFF2-40B4-BE49-F238E27FC236}">
                  <a16:creationId xmlns:a16="http://schemas.microsoft.com/office/drawing/2014/main" id="{C9C2C543-5312-BA95-CE37-7BA9D157C26F}"/>
                </a:ext>
              </a:extLst>
            </p:cNvPr>
            <p:cNvSpPr txBox="1">
              <a:spLocks/>
            </p:cNvSpPr>
            <p:nvPr/>
          </p:nvSpPr>
          <p:spPr>
            <a:xfrm>
              <a:off x="1615442" y="2204412"/>
              <a:ext cx="913446" cy="13493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Affiliations:</a:t>
              </a:r>
            </a:p>
          </p:txBody>
        </p:sp>
        <p:sp>
          <p:nvSpPr>
            <p:cNvPr id="147" name="TextBox 146">
              <a:extLst>
                <a:ext uri="{FF2B5EF4-FFF2-40B4-BE49-F238E27FC236}">
                  <a16:creationId xmlns:a16="http://schemas.microsoft.com/office/drawing/2014/main" id="{7343889F-A382-98A9-7730-3C431ABAD8B5}"/>
                </a:ext>
              </a:extLst>
            </p:cNvPr>
            <p:cNvSpPr txBox="1">
              <a:spLocks/>
            </p:cNvSpPr>
            <p:nvPr/>
          </p:nvSpPr>
          <p:spPr>
            <a:xfrm>
              <a:off x="2600326" y="2204412"/>
              <a:ext cx="3270014"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APEC, CAN, WTO, IFC, OAS, UN, Mercosur, Pacific Alliance, etc.</a:t>
              </a:r>
            </a:p>
          </p:txBody>
        </p:sp>
      </p:grpSp>
      <p:cxnSp>
        <p:nvCxnSpPr>
          <p:cNvPr id="112" name="Straight Connector 111">
            <a:extLst>
              <a:ext uri="{FF2B5EF4-FFF2-40B4-BE49-F238E27FC236}">
                <a16:creationId xmlns:a16="http://schemas.microsoft.com/office/drawing/2014/main" id="{5F66926C-576E-AABA-7FC9-3DE28A7C9518}"/>
              </a:ext>
            </a:extLst>
          </p:cNvPr>
          <p:cNvCxnSpPr>
            <a:cxnSpLocks/>
          </p:cNvCxnSpPr>
          <p:nvPr/>
        </p:nvCxnSpPr>
        <p:spPr>
          <a:xfrm>
            <a:off x="6033969" y="1097232"/>
            <a:ext cx="0" cy="5263883"/>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 name="Rectangle 5">
            <a:extLst>
              <a:ext uri="{FF2B5EF4-FFF2-40B4-BE49-F238E27FC236}">
                <a16:creationId xmlns:a16="http://schemas.microsoft.com/office/drawing/2014/main" id="{18C89DB0-878D-FFE4-29D4-9099729BAA00}"/>
              </a:ext>
            </a:extLst>
          </p:cNvPr>
          <p:cNvSpPr txBox="1">
            <a:spLocks/>
          </p:cNvSpPr>
          <p:nvPr>
            <p:custDataLst>
              <p:tags r:id="rId8"/>
            </p:custDataLst>
          </p:nvPr>
        </p:nvSpPr>
        <p:spPr>
          <a:xfrm>
            <a:off x="346074" y="5064759"/>
            <a:ext cx="5524265" cy="1296355"/>
          </a:xfrm>
          <a:prstGeom prst="rect">
            <a:avLst/>
          </a:prstGeom>
          <a:noFill/>
          <a:ln w="6350">
            <a:solidFill>
              <a:schemeClr val="accent1"/>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C9A319"/>
              </a:buClr>
              <a:buSzTx/>
              <a:buFontTx/>
              <a:buNone/>
              <a:tabLst/>
              <a:defRPr/>
            </a:pPr>
            <a:endParaRPr kumimoji="0" lang="en-CA" sz="1200" b="0" i="0" u="none" strike="noStrike" kern="1200" cap="none" spc="0" normalizeH="0" baseline="0" noProof="0" dirty="0">
              <a:ln>
                <a:noFill/>
              </a:ln>
              <a:solidFill>
                <a:srgbClr val="FF0000"/>
              </a:solidFill>
              <a:effectLst/>
              <a:uLnTx/>
              <a:uFillTx/>
              <a:latin typeface="Calibri" panose="020F0502020204030204" pitchFamily="34" charset="0"/>
              <a:ea typeface="ＭＳ Ｐゴシック"/>
              <a:cs typeface="Calibri" panose="020F0502020204030204" pitchFamily="34" charset="0"/>
            </a:endParaRPr>
          </a:p>
        </p:txBody>
      </p:sp>
      <p:sp>
        <p:nvSpPr>
          <p:cNvPr id="9" name="Rectangle 5">
            <a:extLst>
              <a:ext uri="{FF2B5EF4-FFF2-40B4-BE49-F238E27FC236}">
                <a16:creationId xmlns:a16="http://schemas.microsoft.com/office/drawing/2014/main" id="{9CC717D2-F54E-DE23-6B20-6378BC00F840}"/>
              </a:ext>
            </a:extLst>
          </p:cNvPr>
          <p:cNvSpPr txBox="1">
            <a:spLocks/>
          </p:cNvSpPr>
          <p:nvPr>
            <p:custDataLst>
              <p:tags r:id="rId9"/>
            </p:custDataLst>
          </p:nvPr>
        </p:nvSpPr>
        <p:spPr>
          <a:xfrm>
            <a:off x="6197600" y="5064759"/>
            <a:ext cx="5689601" cy="1296355"/>
          </a:xfrm>
          <a:prstGeom prst="rect">
            <a:avLst/>
          </a:prstGeom>
          <a:noFill/>
          <a:ln w="6350">
            <a:solidFill>
              <a:schemeClr val="accent1"/>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C9A319"/>
              </a:buClr>
              <a:buSzTx/>
              <a:buFontTx/>
              <a:buNone/>
              <a:tabLst/>
              <a:defRPr/>
            </a:pPr>
            <a:endParaRPr kumimoji="0" lang="en-CA" sz="1200" b="0" i="0" u="none" strike="noStrike" kern="1200" cap="none" spc="0" normalizeH="0" baseline="0" noProof="0" dirty="0">
              <a:ln>
                <a:noFill/>
              </a:ln>
              <a:solidFill>
                <a:srgbClr val="FF0000"/>
              </a:solidFill>
              <a:effectLst/>
              <a:uLnTx/>
              <a:uFillTx/>
              <a:latin typeface="Calibri" panose="020F0502020204030204" pitchFamily="34" charset="0"/>
              <a:ea typeface="ＭＳ Ｐゴシック"/>
              <a:cs typeface="Calibri" panose="020F0502020204030204" pitchFamily="34" charset="0"/>
            </a:endParaRPr>
          </a:p>
        </p:txBody>
      </p:sp>
      <p:sp>
        <p:nvSpPr>
          <p:cNvPr id="10" name="AutoShape 250">
            <a:extLst>
              <a:ext uri="{FF2B5EF4-FFF2-40B4-BE49-F238E27FC236}">
                <a16:creationId xmlns:a16="http://schemas.microsoft.com/office/drawing/2014/main" id="{05119A4F-7C11-9FEE-34F2-112D0C75F132}"/>
              </a:ext>
            </a:extLst>
          </p:cNvPr>
          <p:cNvSpPr>
            <a:spLocks noChangeArrowheads="1"/>
          </p:cNvSpPr>
          <p:nvPr/>
        </p:nvSpPr>
        <p:spPr bwMode="auto">
          <a:xfrm>
            <a:off x="429449" y="5337175"/>
            <a:ext cx="5195032" cy="153888"/>
          </a:xfrm>
          <a:prstGeom prst="leftRightArrow">
            <a:avLst>
              <a:gd name="adj1" fmla="val 100000"/>
              <a:gd name="adj2" fmla="val 0"/>
            </a:avLst>
          </a:prstGeom>
          <a:noFill/>
          <a:ln w="9525">
            <a:noFill/>
            <a:miter lim="800000"/>
            <a:headEnd/>
            <a:tailEnd/>
          </a:ln>
          <a:effectLst/>
        </p:spPr>
        <p:txBody>
          <a:bodyPr vert="horz" wrap="square" lIns="0" tIns="0" rIns="0" bIns="0" numCol="1" anchor="ctr" anchorCtr="0" compatLnSpc="1">
            <a:prstTxWarp prst="textNoShape">
              <a:avLst/>
            </a:prstTxWarp>
            <a:spAutoFit/>
          </a:body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Contribution of mining to national GDP, </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a:t>
            </a:r>
          </a:p>
        </p:txBody>
      </p:sp>
      <p:sp>
        <p:nvSpPr>
          <p:cNvPr id="13" name="Rectangle 8">
            <a:extLst>
              <a:ext uri="{FF2B5EF4-FFF2-40B4-BE49-F238E27FC236}">
                <a16:creationId xmlns:a16="http://schemas.microsoft.com/office/drawing/2014/main" id="{B07FC199-360C-974C-EF20-1F816E02F11A}"/>
              </a:ext>
            </a:extLst>
          </p:cNvPr>
          <p:cNvSpPr txBox="1">
            <a:spLocks/>
          </p:cNvSpPr>
          <p:nvPr>
            <p:custDataLst>
              <p:tags r:id="rId10"/>
            </p:custDataLst>
          </p:nvPr>
        </p:nvSpPr>
        <p:spPr>
          <a:xfrm>
            <a:off x="428225" y="5110807"/>
            <a:ext cx="5279631" cy="184666"/>
          </a:xfrm>
          <a:prstGeom prst="rect">
            <a:avLst/>
          </a:prstGeom>
          <a:noFill/>
          <a:ln w="9525">
            <a:noFill/>
            <a:miter lim="800000"/>
            <a:headEnd/>
            <a:tailEnd/>
          </a:ln>
          <a:effectLst/>
        </p:spPr>
        <p:txBody>
          <a:bodyPr vert="horz" wrap="square" lIns="0" tIns="0" rIns="0" bIns="0" numCol="1" anchor="ctr"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Mining corresponds to ~7% of the country’s GDP, gold mining accounts for ~1.2%</a:t>
            </a:r>
            <a:endParaRPr kumimoji="0" lang="en-CA" sz="12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25" name="Rectangle 8">
            <a:extLst>
              <a:ext uri="{FF2B5EF4-FFF2-40B4-BE49-F238E27FC236}">
                <a16:creationId xmlns:a16="http://schemas.microsoft.com/office/drawing/2014/main" id="{B6C705F5-6843-416F-990A-2DE0067927C8}"/>
              </a:ext>
            </a:extLst>
          </p:cNvPr>
          <p:cNvSpPr txBox="1">
            <a:spLocks/>
          </p:cNvSpPr>
          <p:nvPr>
            <p:custDataLst>
              <p:tags r:id="rId11"/>
            </p:custDataLst>
          </p:nvPr>
        </p:nvSpPr>
        <p:spPr>
          <a:xfrm>
            <a:off x="6312992" y="5114946"/>
            <a:ext cx="5744216" cy="184666"/>
          </a:xfrm>
          <a:prstGeom prst="rect">
            <a:avLst/>
          </a:prstGeom>
          <a:noFill/>
          <a:ln w="9525">
            <a:noFill/>
            <a:miter lim="800000"/>
            <a:headEnd/>
            <a:tailEnd/>
          </a:ln>
          <a:effectLst/>
        </p:spPr>
        <p:txBody>
          <a:bodyPr vert="horz" wrap="square" lIns="0" tIns="0" rIns="0" bIns="0" numCol="1" anchor="ctr"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CA" sz="12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La Libertad is the largest producer of gold, followed by Cajamarca, and Arequipa</a:t>
            </a:r>
          </a:p>
        </p:txBody>
      </p:sp>
      <p:sp>
        <p:nvSpPr>
          <p:cNvPr id="26" name="Rectangle 25">
            <a:extLst>
              <a:ext uri="{FF2B5EF4-FFF2-40B4-BE49-F238E27FC236}">
                <a16:creationId xmlns:a16="http://schemas.microsoft.com/office/drawing/2014/main" id="{8153BFA0-ED1B-D90A-7281-186BCCA8734C}"/>
              </a:ext>
            </a:extLst>
          </p:cNvPr>
          <p:cNvSpPr/>
          <p:nvPr>
            <p:custDataLst>
              <p:tags r:id="rId12"/>
            </p:custDataLst>
          </p:nvPr>
        </p:nvSpPr>
        <p:spPr bwMode="auto">
          <a:xfrm>
            <a:off x="3868739" y="5380038"/>
            <a:ext cx="123825" cy="123825"/>
          </a:xfrm>
          <a:prstGeom prst="rect">
            <a:avLst/>
          </a:prstGeom>
          <a:solidFill>
            <a:schemeClr val="accent3"/>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pt-BR" sz="1600" b="0" i="0" u="none" strike="noStrike" kern="1200" cap="none" spc="0" normalizeH="0" baseline="0" noProof="0" dirty="0" err="1">
              <a:ln>
                <a:noFill/>
              </a:ln>
              <a:solidFill>
                <a:srgbClr val="FFFFFF"/>
              </a:solidFill>
              <a:effectLst/>
              <a:uLnTx/>
              <a:uFillTx/>
              <a:latin typeface="Calibri" panose="020F0502020204030204" pitchFamily="34" charset="0"/>
              <a:ea typeface="+mn-ea"/>
              <a:cs typeface="+mn-cs"/>
            </a:endParaRPr>
          </a:p>
        </p:txBody>
      </p:sp>
      <p:sp>
        <p:nvSpPr>
          <p:cNvPr id="40" name="Rectangle 39">
            <a:extLst>
              <a:ext uri="{FF2B5EF4-FFF2-40B4-BE49-F238E27FC236}">
                <a16:creationId xmlns:a16="http://schemas.microsoft.com/office/drawing/2014/main" id="{ABFFE11A-18BF-8CDA-8C47-AFC4D074282E}"/>
              </a:ext>
            </a:extLst>
          </p:cNvPr>
          <p:cNvSpPr/>
          <p:nvPr>
            <p:custDataLst>
              <p:tags r:id="rId13"/>
            </p:custDataLst>
          </p:nvPr>
        </p:nvSpPr>
        <p:spPr bwMode="auto">
          <a:xfrm>
            <a:off x="4710114" y="5380038"/>
            <a:ext cx="123825" cy="123825"/>
          </a:xfrm>
          <a:prstGeom prst="rect">
            <a:avLst/>
          </a:prstGeom>
          <a:solidFill>
            <a:schemeClr val="accent1"/>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pt-BR" sz="1600" b="0" i="0" u="none" strike="noStrike" kern="1200" cap="none" spc="0" normalizeH="0" baseline="0" noProof="0" dirty="0" err="1">
              <a:ln>
                <a:noFill/>
              </a:ln>
              <a:solidFill>
                <a:srgbClr val="FFFFFF"/>
              </a:solidFill>
              <a:effectLst/>
              <a:uLnTx/>
              <a:uFillTx/>
              <a:latin typeface="Calibri" panose="020F0502020204030204" pitchFamily="34" charset="0"/>
              <a:ea typeface="+mn-ea"/>
              <a:cs typeface="+mn-cs"/>
            </a:endParaRPr>
          </a:p>
        </p:txBody>
      </p:sp>
      <p:sp>
        <p:nvSpPr>
          <p:cNvPr id="44" name="Text Placeholder 2">
            <a:extLst>
              <a:ext uri="{FF2B5EF4-FFF2-40B4-BE49-F238E27FC236}">
                <a16:creationId xmlns:a16="http://schemas.microsoft.com/office/drawing/2014/main" id="{9460A1D7-D3E8-0A62-CBB5-226D67100E47}"/>
              </a:ext>
            </a:extLst>
          </p:cNvPr>
          <p:cNvSpPr>
            <a:spLocks noGrp="1"/>
          </p:cNvSpPr>
          <p:nvPr>
            <p:custDataLst>
              <p:tags r:id="rId14"/>
            </p:custDataLst>
          </p:nvPr>
        </p:nvSpPr>
        <p:spPr bwMode="auto">
          <a:xfrm>
            <a:off x="4043363" y="5378450"/>
            <a:ext cx="5651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CFD9687A-E157-48A4-B000-F980DBB88AEF}" type="datetime'G''o''''''''''''''''''ld'''' m''ini''''''''''''n''g'''">
              <a:rPr kumimoji="0" lang="pt-BR" altLang="en-US" sz="900" b="0" i="0" u="none" strike="noStrike" kern="1200" cap="none" spc="0" normalizeH="0" baseline="0" noProof="0" smtClean="0">
                <a:ln>
                  <a:noFill/>
                </a:ln>
                <a:solidFill>
                  <a:srgbClr val="000000"/>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Gold mining</a:t>
            </a:fld>
            <a:endParaRPr kumimoji="0" lang="pt-BR" sz="9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endParaRPr>
          </a:p>
        </p:txBody>
      </p:sp>
      <p:sp>
        <p:nvSpPr>
          <p:cNvPr id="45" name="Text Placeholder 2">
            <a:extLst>
              <a:ext uri="{FF2B5EF4-FFF2-40B4-BE49-F238E27FC236}">
                <a16:creationId xmlns:a16="http://schemas.microsoft.com/office/drawing/2014/main" id="{8E145F4B-153E-0965-5F7E-EB23AB5430C9}"/>
              </a:ext>
            </a:extLst>
          </p:cNvPr>
          <p:cNvSpPr>
            <a:spLocks noGrp="1"/>
          </p:cNvSpPr>
          <p:nvPr>
            <p:custDataLst>
              <p:tags r:id="rId15"/>
            </p:custDataLst>
          </p:nvPr>
        </p:nvSpPr>
        <p:spPr bwMode="auto">
          <a:xfrm>
            <a:off x="4884738" y="5378450"/>
            <a:ext cx="6175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1E82F7BC-63FB-44EB-99DD-3F4C92115308}" type="datetime'''O''''''''''the''''''''''''''''r mi''''n''''i''''''''n''g'">
              <a:rPr kumimoji="0" lang="pt-BR" altLang="en-US" sz="900" b="0" i="0" u="none" strike="noStrike" kern="1200" cap="none" spc="0" normalizeH="0" baseline="0" noProof="0" smtClean="0">
                <a:ln>
                  <a:noFill/>
                </a:ln>
                <a:solidFill>
                  <a:srgbClr val="000000"/>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Other mining</a:t>
            </a:fld>
            <a:endParaRPr kumimoji="0" lang="pt-BR" sz="9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endParaRPr>
          </a:p>
        </p:txBody>
      </p:sp>
      <p:graphicFrame>
        <p:nvGraphicFramePr>
          <p:cNvPr id="24" name="Chart 23">
            <a:extLst>
              <a:ext uri="{FF2B5EF4-FFF2-40B4-BE49-F238E27FC236}">
                <a16:creationId xmlns:a16="http://schemas.microsoft.com/office/drawing/2014/main" id="{8DA98856-5ADD-564F-0086-48F1FF2B31D5}"/>
              </a:ext>
            </a:extLst>
          </p:cNvPr>
          <p:cNvGraphicFramePr/>
          <p:nvPr>
            <p:custDataLst>
              <p:tags r:id="rId16"/>
            </p:custDataLst>
          </p:nvPr>
        </p:nvGraphicFramePr>
        <p:xfrm>
          <a:off x="344488" y="5683250"/>
          <a:ext cx="5359400" cy="523875"/>
        </p:xfrm>
        <a:graphic>
          <a:graphicData uri="http://schemas.openxmlformats.org/drawingml/2006/chart">
            <c:chart xmlns:c="http://schemas.openxmlformats.org/drawingml/2006/chart" xmlns:r="http://schemas.openxmlformats.org/officeDocument/2006/relationships" r:id="rId71"/>
          </a:graphicData>
        </a:graphic>
      </p:graphicFrame>
      <p:sp>
        <p:nvSpPr>
          <p:cNvPr id="55" name="Text Placeholder 2">
            <a:extLst>
              <a:ext uri="{FF2B5EF4-FFF2-40B4-BE49-F238E27FC236}">
                <a16:creationId xmlns:a16="http://schemas.microsoft.com/office/drawing/2014/main" id="{B946D9DD-DA0A-BE42-839C-B2B1D503385A}"/>
              </a:ext>
            </a:extLst>
          </p:cNvPr>
          <p:cNvSpPr>
            <a:spLocks noGrp="1"/>
          </p:cNvSpPr>
          <p:nvPr>
            <p:custDataLst>
              <p:tags r:id="rId17"/>
            </p:custDataLst>
          </p:nvPr>
        </p:nvSpPr>
        <p:spPr bwMode="gray">
          <a:xfrm>
            <a:off x="847725" y="5726113"/>
            <a:ext cx="196850" cy="152400"/>
          </a:xfrm>
          <a:prstGeom prst="rect">
            <a:avLst/>
          </a:prstGeom>
          <a:solidFill>
            <a:schemeClr val="accent3"/>
          </a:solidFill>
          <a:ln>
            <a:noFill/>
          </a:ln>
          <a:effec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A56E7FBE-CA76-4AFE-AC87-983196723A23}" type="datetime'''''''''''1''.''''''6'''''''''''''''''''''''''''''''">
              <a:rPr kumimoji="0" lang="pt-BR" altLang="en-US" sz="1000" b="0" i="0" u="none" strike="noStrike" kern="1200" cap="none" spc="0" normalizeH="0" baseline="0" noProof="0" smtClean="0">
                <a:ln>
                  <a:noFill/>
                </a:ln>
                <a:solidFill>
                  <a:srgbClr val="FFFFFF"/>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1.6</a:t>
            </a:fld>
            <a:endParaRPr kumimoji="0" lang="pt-BR" sz="1000" b="0"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endParaRPr>
          </a:p>
        </p:txBody>
      </p:sp>
      <p:sp>
        <p:nvSpPr>
          <p:cNvPr id="69" name="Text Placeholder 2">
            <a:extLst>
              <a:ext uri="{FF2B5EF4-FFF2-40B4-BE49-F238E27FC236}">
                <a16:creationId xmlns:a16="http://schemas.microsoft.com/office/drawing/2014/main" id="{757A9A4F-4961-86FC-AC9D-3FC11F38A742}"/>
              </a:ext>
            </a:extLst>
          </p:cNvPr>
          <p:cNvSpPr>
            <a:spLocks noGrp="1"/>
          </p:cNvSpPr>
          <p:nvPr>
            <p:custDataLst>
              <p:tags r:id="rId18"/>
            </p:custDataLst>
          </p:nvPr>
        </p:nvSpPr>
        <p:spPr bwMode="auto">
          <a:xfrm>
            <a:off x="809625" y="6167438"/>
            <a:ext cx="2730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0E1A8222-B5A6-48E4-8A6D-84CBC8B66705}" type="datetime'''''''''''2''''''''''''''''''''''''''''''''0''''18'''''''''''">
              <a:rPr kumimoji="0" lang="pt-BR" altLang="en-US" sz="1000" b="0" i="0" u="none" strike="noStrike" kern="1200" cap="none" spc="0" normalizeH="0" baseline="0" noProof="0" smtClean="0">
                <a:ln>
                  <a:noFill/>
                </a:ln>
                <a:solidFill>
                  <a:srgbClr val="000000"/>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18</a:t>
            </a:fld>
            <a:endParaRPr kumimoji="0" lang="pt-BR" sz="10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endParaRPr>
          </a:p>
        </p:txBody>
      </p:sp>
      <p:sp>
        <p:nvSpPr>
          <p:cNvPr id="56" name="Text Placeholder 2">
            <a:extLst>
              <a:ext uri="{FF2B5EF4-FFF2-40B4-BE49-F238E27FC236}">
                <a16:creationId xmlns:a16="http://schemas.microsoft.com/office/drawing/2014/main" id="{B946D9DD-DA0A-BE42-839C-B2B1D503385A}"/>
              </a:ext>
            </a:extLst>
          </p:cNvPr>
          <p:cNvSpPr>
            <a:spLocks noGrp="1"/>
          </p:cNvSpPr>
          <p:nvPr>
            <p:custDataLst>
              <p:tags r:id="rId19"/>
            </p:custDataLst>
          </p:nvPr>
        </p:nvSpPr>
        <p:spPr bwMode="gray">
          <a:xfrm>
            <a:off x="1885950" y="5735638"/>
            <a:ext cx="196850" cy="152400"/>
          </a:xfrm>
          <a:prstGeom prst="rect">
            <a:avLst/>
          </a:prstGeom>
          <a:solidFill>
            <a:schemeClr val="accent3"/>
          </a:solidFill>
          <a:ln>
            <a:noFill/>
          </a:ln>
          <a:effec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B05FE274-4958-4405-96A6-E12C6DF4F609}" type="datetime'''''''''''''''''''''1''''''''''''.6'''''''''''''''">
              <a:rPr kumimoji="0" lang="pt-BR" altLang="en-US" sz="1000" b="0" i="0" u="none" strike="noStrike" kern="1200" cap="none" spc="0" normalizeH="0" baseline="0" noProof="0" smtClean="0">
                <a:ln>
                  <a:noFill/>
                </a:ln>
                <a:solidFill>
                  <a:srgbClr val="FFFFFF"/>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1.6</a:t>
            </a:fld>
            <a:endParaRPr kumimoji="0" lang="pt-BR" sz="1000" b="0"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endParaRPr>
          </a:p>
        </p:txBody>
      </p:sp>
      <p:sp>
        <p:nvSpPr>
          <p:cNvPr id="63" name="Text Placeholder 2">
            <a:extLst>
              <a:ext uri="{FF2B5EF4-FFF2-40B4-BE49-F238E27FC236}">
                <a16:creationId xmlns:a16="http://schemas.microsoft.com/office/drawing/2014/main" id="{02DBBEF8-168D-E242-2E5A-68ED86AFBF3C}"/>
              </a:ext>
            </a:extLst>
          </p:cNvPr>
          <p:cNvSpPr>
            <a:spLocks noGrp="1"/>
          </p:cNvSpPr>
          <p:nvPr>
            <p:custDataLst>
              <p:tags r:id="rId20"/>
            </p:custDataLst>
          </p:nvPr>
        </p:nvSpPr>
        <p:spPr bwMode="auto">
          <a:xfrm>
            <a:off x="1912938" y="6167438"/>
            <a:ext cx="1428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D45D1B56-59A3-4A92-A416-1532367D4132}" type="datetime'''''19'''''''''''''''''''''''''''''''''''">
              <a:rPr kumimoji="0" lang="pt-BR" altLang="en-US" sz="1000" b="0" i="0" u="none" strike="noStrike" kern="1200" cap="none" spc="0" normalizeH="0" baseline="0" noProof="0" smtClean="0">
                <a:ln>
                  <a:noFill/>
                </a:ln>
                <a:solidFill>
                  <a:srgbClr val="000000"/>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19</a:t>
            </a:fld>
            <a:endParaRPr kumimoji="0" lang="pt-BR" sz="10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endParaRPr>
          </a:p>
        </p:txBody>
      </p:sp>
      <p:sp>
        <p:nvSpPr>
          <p:cNvPr id="61" name="Text Placeholder 2">
            <a:extLst>
              <a:ext uri="{FF2B5EF4-FFF2-40B4-BE49-F238E27FC236}">
                <a16:creationId xmlns:a16="http://schemas.microsoft.com/office/drawing/2014/main" id="{B946D9DD-DA0A-BE42-839C-B2B1D503385A}"/>
              </a:ext>
            </a:extLst>
          </p:cNvPr>
          <p:cNvSpPr>
            <a:spLocks noGrp="1"/>
          </p:cNvSpPr>
          <p:nvPr>
            <p:custDataLst>
              <p:tags r:id="rId21"/>
            </p:custDataLst>
          </p:nvPr>
        </p:nvSpPr>
        <p:spPr bwMode="gray">
          <a:xfrm>
            <a:off x="2925763" y="5743575"/>
            <a:ext cx="196850" cy="152400"/>
          </a:xfrm>
          <a:prstGeom prst="rect">
            <a:avLst/>
          </a:prstGeom>
          <a:solidFill>
            <a:schemeClr val="accent3"/>
          </a:solidFill>
          <a:ln>
            <a:noFill/>
          </a:ln>
          <a:effec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EEE8059B-6538-466C-BA8D-8C1BBD7E797C}" type="datetime'''''''''''''''''''''''''''''1.''''''''''5'''''">
              <a:rPr kumimoji="0" lang="pt-BR" altLang="en-US" sz="1000" b="0" i="0" u="none" strike="noStrike" kern="1200" cap="none" spc="0" normalizeH="0" baseline="0" noProof="0" smtClean="0">
                <a:ln>
                  <a:noFill/>
                </a:ln>
                <a:solidFill>
                  <a:srgbClr val="FFFFFF"/>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1.5</a:t>
            </a:fld>
            <a:endParaRPr kumimoji="0" lang="pt-BR" sz="1000" b="0"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endParaRPr>
          </a:p>
        </p:txBody>
      </p:sp>
      <p:sp>
        <p:nvSpPr>
          <p:cNvPr id="53" name="Text Placeholder 2">
            <a:extLst>
              <a:ext uri="{FF2B5EF4-FFF2-40B4-BE49-F238E27FC236}">
                <a16:creationId xmlns:a16="http://schemas.microsoft.com/office/drawing/2014/main" id="{76EF615D-74F3-82BB-467C-58CE260C02BC}"/>
              </a:ext>
            </a:extLst>
          </p:cNvPr>
          <p:cNvSpPr>
            <a:spLocks noGrp="1"/>
          </p:cNvSpPr>
          <p:nvPr>
            <p:custDataLst>
              <p:tags r:id="rId22"/>
            </p:custDataLst>
          </p:nvPr>
        </p:nvSpPr>
        <p:spPr bwMode="auto">
          <a:xfrm>
            <a:off x="2952750" y="6167438"/>
            <a:ext cx="1428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F17FD67C-2897-4C72-ABAC-8FD7B2ACCD16}" type="datetime'''''''''''2''''''''''''''''''''0'''''''''''''''">
              <a:rPr kumimoji="0" lang="pt-BR" altLang="en-US" sz="1000" b="0" i="0" u="none" strike="noStrike" kern="1200" cap="none" spc="0" normalizeH="0" baseline="0" noProof="0" smtClean="0">
                <a:ln>
                  <a:noFill/>
                </a:ln>
                <a:solidFill>
                  <a:srgbClr val="000000"/>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a:t>
            </a:fld>
            <a:endParaRPr kumimoji="0" lang="pt-BR" sz="10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endParaRPr>
          </a:p>
        </p:txBody>
      </p:sp>
      <p:sp>
        <p:nvSpPr>
          <p:cNvPr id="64" name="Text Placeholder 2">
            <a:extLst>
              <a:ext uri="{FF2B5EF4-FFF2-40B4-BE49-F238E27FC236}">
                <a16:creationId xmlns:a16="http://schemas.microsoft.com/office/drawing/2014/main" id="{B946D9DD-DA0A-BE42-839C-B2B1D503385A}"/>
              </a:ext>
            </a:extLst>
          </p:cNvPr>
          <p:cNvSpPr>
            <a:spLocks noGrp="1"/>
          </p:cNvSpPr>
          <p:nvPr>
            <p:custDataLst>
              <p:tags r:id="rId23"/>
            </p:custDataLst>
          </p:nvPr>
        </p:nvSpPr>
        <p:spPr bwMode="gray">
          <a:xfrm>
            <a:off x="3963988" y="5748338"/>
            <a:ext cx="196850" cy="152400"/>
          </a:xfrm>
          <a:prstGeom prst="rect">
            <a:avLst/>
          </a:prstGeom>
          <a:solidFill>
            <a:schemeClr val="accent3"/>
          </a:solidFill>
          <a:ln>
            <a:noFill/>
          </a:ln>
          <a:effec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ED97BA61-472F-4594-8F0E-BD90AA40EF6B}" type="datetime'''1.''''''''''''''''2'''''''">
              <a:rPr kumimoji="0" lang="pt-BR" altLang="en-US" sz="1000" b="0" i="0" u="none" strike="noStrike" kern="1200" cap="none" spc="0" normalizeH="0" baseline="0" noProof="0" smtClean="0">
                <a:ln>
                  <a:noFill/>
                </a:ln>
                <a:solidFill>
                  <a:srgbClr val="FFFFFF"/>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1.2</a:t>
            </a:fld>
            <a:endParaRPr kumimoji="0" lang="pt-BR" sz="1000" b="0"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endParaRPr>
          </a:p>
        </p:txBody>
      </p:sp>
      <p:sp>
        <p:nvSpPr>
          <p:cNvPr id="73" name="Text Placeholder 2">
            <a:extLst>
              <a:ext uri="{FF2B5EF4-FFF2-40B4-BE49-F238E27FC236}">
                <a16:creationId xmlns:a16="http://schemas.microsoft.com/office/drawing/2014/main" id="{605BFAE5-9BA1-A9F6-5551-448877CBADB0}"/>
              </a:ext>
            </a:extLst>
          </p:cNvPr>
          <p:cNvSpPr>
            <a:spLocks noGrp="1"/>
          </p:cNvSpPr>
          <p:nvPr>
            <p:custDataLst>
              <p:tags r:id="rId24"/>
            </p:custDataLst>
          </p:nvPr>
        </p:nvSpPr>
        <p:spPr bwMode="auto">
          <a:xfrm>
            <a:off x="3990975" y="6167438"/>
            <a:ext cx="1428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5C738A93-CA81-43BE-9B8D-28CD29A68858}" type="datetime'''''''''''2''''''''''''1'''''''''''''''''''">
              <a:rPr kumimoji="0" lang="pt-BR" altLang="en-US" sz="1000" b="0" i="0" u="none" strike="noStrike" kern="1200" cap="none" spc="0" normalizeH="0" baseline="0" noProof="0" smtClean="0">
                <a:ln>
                  <a:noFill/>
                </a:ln>
                <a:solidFill>
                  <a:srgbClr val="000000"/>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1</a:t>
            </a:fld>
            <a:endParaRPr kumimoji="0" lang="pt-BR" sz="10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endParaRPr>
          </a:p>
        </p:txBody>
      </p:sp>
      <p:sp>
        <p:nvSpPr>
          <p:cNvPr id="68" name="Text Placeholder 2">
            <a:extLst>
              <a:ext uri="{FF2B5EF4-FFF2-40B4-BE49-F238E27FC236}">
                <a16:creationId xmlns:a16="http://schemas.microsoft.com/office/drawing/2014/main" id="{B946D9DD-DA0A-BE42-839C-B2B1D503385A}"/>
              </a:ext>
            </a:extLst>
          </p:cNvPr>
          <p:cNvSpPr>
            <a:spLocks noGrp="1"/>
          </p:cNvSpPr>
          <p:nvPr>
            <p:custDataLst>
              <p:tags r:id="rId25"/>
            </p:custDataLst>
          </p:nvPr>
        </p:nvSpPr>
        <p:spPr bwMode="gray">
          <a:xfrm>
            <a:off x="5003800" y="5761038"/>
            <a:ext cx="196850" cy="152400"/>
          </a:xfrm>
          <a:prstGeom prst="rect">
            <a:avLst/>
          </a:prstGeom>
          <a:solidFill>
            <a:schemeClr val="accent3"/>
          </a:solidFill>
          <a:ln>
            <a:noFill/>
          </a:ln>
          <a:effec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8FA35713-87A1-4B8B-B59E-E87182641723}" type="datetime'''''''''''''''''''''''''''1''''''.''''''''2'''''''''''''''">
              <a:rPr kumimoji="0" lang="pt-BR" altLang="en-US" sz="1000" b="0" i="0" u="none" strike="noStrike" kern="1200" cap="none" spc="0" normalizeH="0" baseline="0" noProof="0" smtClean="0">
                <a:ln>
                  <a:noFill/>
                </a:ln>
                <a:solidFill>
                  <a:srgbClr val="FFFFFF"/>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1.2</a:t>
            </a:fld>
            <a:endParaRPr kumimoji="0" lang="pt-BR" sz="1000" b="0"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endParaRPr>
          </a:p>
        </p:txBody>
      </p:sp>
      <p:sp>
        <p:nvSpPr>
          <p:cNvPr id="74" name="Text Placeholder 2">
            <a:extLst>
              <a:ext uri="{FF2B5EF4-FFF2-40B4-BE49-F238E27FC236}">
                <a16:creationId xmlns:a16="http://schemas.microsoft.com/office/drawing/2014/main" id="{5C8AB9D4-23A4-6267-D72E-5D4D2B621013}"/>
              </a:ext>
            </a:extLst>
          </p:cNvPr>
          <p:cNvSpPr>
            <a:spLocks noGrp="1"/>
          </p:cNvSpPr>
          <p:nvPr>
            <p:custDataLst>
              <p:tags r:id="rId26"/>
            </p:custDataLst>
          </p:nvPr>
        </p:nvSpPr>
        <p:spPr bwMode="auto">
          <a:xfrm>
            <a:off x="4965700" y="6167438"/>
            <a:ext cx="2730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6D39530B-660B-42DB-924D-3270D7ADF377}" type="datetime'''''''2''''''''''''0''''''''''''''''''''2''2'">
              <a:rPr kumimoji="0" lang="pt-BR" altLang="en-US" sz="1000" b="0" i="0" u="none" strike="noStrike" kern="1200" cap="none" spc="0" normalizeH="0" baseline="0" noProof="0" smtClean="0">
                <a:ln>
                  <a:noFill/>
                </a:ln>
                <a:solidFill>
                  <a:srgbClr val="000000"/>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22</a:t>
            </a:fld>
            <a:endParaRPr kumimoji="0" lang="pt-BR" sz="10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endParaRPr>
          </a:p>
        </p:txBody>
      </p:sp>
      <p:sp>
        <p:nvSpPr>
          <p:cNvPr id="75" name="Text Placeholder 2">
            <a:extLst>
              <a:ext uri="{FF2B5EF4-FFF2-40B4-BE49-F238E27FC236}">
                <a16:creationId xmlns:a16="http://schemas.microsoft.com/office/drawing/2014/main" id="{3840D0A7-DF95-D46A-2B66-05FCC06B4C39}"/>
              </a:ext>
            </a:extLst>
          </p:cNvPr>
          <p:cNvSpPr>
            <a:spLocks noGrp="1"/>
          </p:cNvSpPr>
          <p:nvPr>
            <p:custDataLst>
              <p:tags r:id="rId27"/>
            </p:custDataLst>
          </p:nvPr>
        </p:nvSpPr>
        <p:spPr bwMode="gray">
          <a:xfrm>
            <a:off x="847725" y="5589588"/>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0567D5BA-67DF-44CB-B332-4D069F957398}" type="datetime'''''''''''7''''.''''''9'''''''''''''''''''''''''">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7.9</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76" name="Text Placeholder 2">
            <a:extLst>
              <a:ext uri="{FF2B5EF4-FFF2-40B4-BE49-F238E27FC236}">
                <a16:creationId xmlns:a16="http://schemas.microsoft.com/office/drawing/2014/main" id="{F28CD8A8-D0B5-7272-A332-3D0B8FC3049F}"/>
              </a:ext>
            </a:extLst>
          </p:cNvPr>
          <p:cNvSpPr>
            <a:spLocks noGrp="1"/>
          </p:cNvSpPr>
          <p:nvPr>
            <p:custDataLst>
              <p:tags r:id="rId28"/>
            </p:custDataLst>
          </p:nvPr>
        </p:nvSpPr>
        <p:spPr bwMode="gray">
          <a:xfrm>
            <a:off x="1885950" y="5599113"/>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06704FAE-3234-493D-AC85-B537AD44E364}" type="datetime'7''''''''''''''.''''''''''''''''''''6'''''''''''''''''''">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7.6</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80" name="Text Placeholder 2">
            <a:extLst>
              <a:ext uri="{FF2B5EF4-FFF2-40B4-BE49-F238E27FC236}">
                <a16:creationId xmlns:a16="http://schemas.microsoft.com/office/drawing/2014/main" id="{F20754C6-CD75-473F-403A-8DC50C254EF8}"/>
              </a:ext>
            </a:extLst>
          </p:cNvPr>
          <p:cNvSpPr>
            <a:spLocks noGrp="1"/>
          </p:cNvSpPr>
          <p:nvPr>
            <p:custDataLst>
              <p:tags r:id="rId29"/>
            </p:custDataLst>
          </p:nvPr>
        </p:nvSpPr>
        <p:spPr bwMode="gray">
          <a:xfrm>
            <a:off x="2925763" y="5607050"/>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0FD1115E-A0E5-450A-9D90-BCC9AEE0E027}" type="datetime'''''7''''''''''''''''''''.''''''''''''''''''''''4'''''''">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7.4</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81" name="Text Placeholder 2">
            <a:extLst>
              <a:ext uri="{FF2B5EF4-FFF2-40B4-BE49-F238E27FC236}">
                <a16:creationId xmlns:a16="http://schemas.microsoft.com/office/drawing/2014/main" id="{042D86B2-CB3F-91E5-0C90-E7D2EA216A8A}"/>
              </a:ext>
            </a:extLst>
          </p:cNvPr>
          <p:cNvSpPr>
            <a:spLocks noGrp="1"/>
          </p:cNvSpPr>
          <p:nvPr>
            <p:custDataLst>
              <p:tags r:id="rId30"/>
            </p:custDataLst>
          </p:nvPr>
        </p:nvSpPr>
        <p:spPr bwMode="gray">
          <a:xfrm>
            <a:off x="3963988" y="5611813"/>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2CFA306A-26E8-4201-AA87-D5D9D290BC88}" type="datetime'''''''''''7''''''''''.''''''''''''''''2'">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7.2</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82" name="Text Placeholder 2">
            <a:extLst>
              <a:ext uri="{FF2B5EF4-FFF2-40B4-BE49-F238E27FC236}">
                <a16:creationId xmlns:a16="http://schemas.microsoft.com/office/drawing/2014/main" id="{A714BA8C-ECE0-E1FC-A46C-D62216F2F495}"/>
              </a:ext>
            </a:extLst>
          </p:cNvPr>
          <p:cNvSpPr>
            <a:spLocks noGrp="1"/>
          </p:cNvSpPr>
          <p:nvPr>
            <p:custDataLst>
              <p:tags r:id="rId31"/>
            </p:custDataLst>
          </p:nvPr>
        </p:nvSpPr>
        <p:spPr bwMode="gray">
          <a:xfrm>
            <a:off x="5003800" y="5624513"/>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1A8A4213-1C3C-42FF-A3E4-CBC85497D50A}" type="datetime'''6''''''''.''''9'''">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6.9</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5" name="Text Placeholder 2">
            <a:extLst>
              <a:ext uri="{FF2B5EF4-FFF2-40B4-BE49-F238E27FC236}">
                <a16:creationId xmlns:a16="http://schemas.microsoft.com/office/drawing/2014/main" id="{B946D9DD-DA0A-BE42-839C-B2B1D503385A}"/>
              </a:ext>
            </a:extLst>
          </p:cNvPr>
          <p:cNvSpPr>
            <a:spLocks noGrp="1"/>
          </p:cNvSpPr>
          <p:nvPr>
            <p:custDataLst>
              <p:tags r:id="rId32"/>
            </p:custDataLst>
          </p:nvPr>
        </p:nvSpPr>
        <p:spPr bwMode="gray">
          <a:xfrm>
            <a:off x="847725" y="5905500"/>
            <a:ext cx="196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lnSpc>
                <a:spcPct val="100000"/>
              </a:lnSpc>
              <a:spcBef>
                <a:spcPct val="0"/>
              </a:spcBef>
              <a:spcAft>
                <a:spcPct val="0"/>
              </a:spcAft>
              <a:buNone/>
            </a:pPr>
            <a:fld id="{D2C04085-B355-432B-9053-F3C1A8B34786}" type="datetime'''''''''''''6''.''''''''''''''''''''3'''">
              <a:rPr lang="pt-BR" altLang="en-US" sz="1000" smtClean="0">
                <a:solidFill>
                  <a:srgbClr val="FFFFFF"/>
                </a:solidFill>
                <a:effectLst/>
                <a:cs typeface="Calibri" panose="020F0502020204030204" pitchFamily="34" charset="0"/>
              </a:rPr>
              <a:pPr marL="0" lvl="0" indent="0" algn="ctr">
                <a:lnSpc>
                  <a:spcPct val="100000"/>
                </a:lnSpc>
                <a:spcBef>
                  <a:spcPct val="0"/>
                </a:spcBef>
                <a:spcAft>
                  <a:spcPct val="0"/>
                </a:spcAft>
                <a:buNone/>
              </a:pPr>
              <a:t>6.3</a:t>
            </a:fld>
            <a:endParaRPr lang="pt-BR" sz="1000" dirty="0">
              <a:solidFill>
                <a:srgbClr val="FFFFFF"/>
              </a:solidFill>
              <a:cs typeface="Calibri" panose="020F0502020204030204" pitchFamily="34" charset="0"/>
            </a:endParaRPr>
          </a:p>
        </p:txBody>
      </p:sp>
      <p:sp>
        <p:nvSpPr>
          <p:cNvPr id="6" name="Text Placeholder 2">
            <a:extLst>
              <a:ext uri="{FF2B5EF4-FFF2-40B4-BE49-F238E27FC236}">
                <a16:creationId xmlns:a16="http://schemas.microsoft.com/office/drawing/2014/main" id="{B946D9DD-DA0A-BE42-839C-B2B1D503385A}"/>
              </a:ext>
            </a:extLst>
          </p:cNvPr>
          <p:cNvSpPr>
            <a:spLocks noGrp="1"/>
          </p:cNvSpPr>
          <p:nvPr>
            <p:custDataLst>
              <p:tags r:id="rId33"/>
            </p:custDataLst>
          </p:nvPr>
        </p:nvSpPr>
        <p:spPr bwMode="gray">
          <a:xfrm>
            <a:off x="1885950" y="5910263"/>
            <a:ext cx="196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lnSpc>
                <a:spcPct val="100000"/>
              </a:lnSpc>
              <a:spcBef>
                <a:spcPct val="0"/>
              </a:spcBef>
              <a:spcAft>
                <a:spcPct val="0"/>
              </a:spcAft>
              <a:buNone/>
            </a:pPr>
            <a:fld id="{F6748DD4-9F93-4755-B901-DF7D6F10002E}" type="datetime'''''''''''''''''''6''''''''''''''.''''''''''''''''''''0'''">
              <a:rPr lang="pt-BR" altLang="en-US" sz="1000" smtClean="0">
                <a:solidFill>
                  <a:schemeClr val="bg1"/>
                </a:solidFill>
                <a:effectLst/>
                <a:cs typeface="Calibri" panose="020F0502020204030204" pitchFamily="34" charset="0"/>
              </a:rPr>
              <a:pPr marL="0" lvl="0" indent="0" algn="ctr">
                <a:lnSpc>
                  <a:spcPct val="100000"/>
                </a:lnSpc>
                <a:spcBef>
                  <a:spcPct val="0"/>
                </a:spcBef>
                <a:spcAft>
                  <a:spcPct val="0"/>
                </a:spcAft>
                <a:buNone/>
              </a:pPr>
              <a:t>6.0</a:t>
            </a:fld>
            <a:endParaRPr lang="pt-BR" sz="1000" dirty="0">
              <a:solidFill>
                <a:schemeClr val="bg1"/>
              </a:solidFill>
              <a:cs typeface="Calibri" panose="020F0502020204030204" pitchFamily="34" charset="0"/>
            </a:endParaRPr>
          </a:p>
        </p:txBody>
      </p:sp>
      <p:sp>
        <p:nvSpPr>
          <p:cNvPr id="16" name="Text Placeholder 2">
            <a:extLst>
              <a:ext uri="{FF2B5EF4-FFF2-40B4-BE49-F238E27FC236}">
                <a16:creationId xmlns:a16="http://schemas.microsoft.com/office/drawing/2014/main" id="{B946D9DD-DA0A-BE42-839C-B2B1D503385A}"/>
              </a:ext>
            </a:extLst>
          </p:cNvPr>
          <p:cNvSpPr>
            <a:spLocks noGrp="1"/>
          </p:cNvSpPr>
          <p:nvPr>
            <p:custDataLst>
              <p:tags r:id="rId34"/>
            </p:custDataLst>
          </p:nvPr>
        </p:nvSpPr>
        <p:spPr bwMode="gray">
          <a:xfrm>
            <a:off x="2925763" y="5913438"/>
            <a:ext cx="196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lnSpc>
                <a:spcPct val="100000"/>
              </a:lnSpc>
              <a:spcBef>
                <a:spcPct val="0"/>
              </a:spcBef>
              <a:spcAft>
                <a:spcPct val="0"/>
              </a:spcAft>
              <a:buNone/>
            </a:pPr>
            <a:fld id="{1F313681-12A8-4A77-A7C9-C1C75520F56E}" type="datetime'''''''''''''''''''''''''''''''''''''''''''''5.''''9'''''''">
              <a:rPr lang="pt-BR" altLang="en-US" sz="1000" smtClean="0">
                <a:solidFill>
                  <a:srgbClr val="FFFFFF"/>
                </a:solidFill>
                <a:effectLst/>
                <a:cs typeface="Calibri" panose="020F0502020204030204" pitchFamily="34" charset="0"/>
              </a:rPr>
              <a:pPr marL="0" lvl="0" indent="0" algn="ctr">
                <a:lnSpc>
                  <a:spcPct val="100000"/>
                </a:lnSpc>
                <a:spcBef>
                  <a:spcPct val="0"/>
                </a:spcBef>
                <a:spcAft>
                  <a:spcPct val="0"/>
                </a:spcAft>
                <a:buNone/>
              </a:pPr>
              <a:t>5.9</a:t>
            </a:fld>
            <a:endParaRPr lang="pt-BR" sz="1000" dirty="0">
              <a:solidFill>
                <a:srgbClr val="FFFFFF"/>
              </a:solidFill>
              <a:cs typeface="Calibri" panose="020F0502020204030204" pitchFamily="34" charset="0"/>
            </a:endParaRPr>
          </a:p>
        </p:txBody>
      </p:sp>
      <p:sp>
        <p:nvSpPr>
          <p:cNvPr id="22" name="Text Placeholder 2">
            <a:extLst>
              <a:ext uri="{FF2B5EF4-FFF2-40B4-BE49-F238E27FC236}">
                <a16:creationId xmlns:a16="http://schemas.microsoft.com/office/drawing/2014/main" id="{B946D9DD-DA0A-BE42-839C-B2B1D503385A}"/>
              </a:ext>
            </a:extLst>
          </p:cNvPr>
          <p:cNvSpPr>
            <a:spLocks noGrp="1"/>
          </p:cNvSpPr>
          <p:nvPr>
            <p:custDataLst>
              <p:tags r:id="rId35"/>
            </p:custDataLst>
          </p:nvPr>
        </p:nvSpPr>
        <p:spPr bwMode="gray">
          <a:xfrm>
            <a:off x="3963988" y="5911850"/>
            <a:ext cx="196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lnSpc>
                <a:spcPct val="100000"/>
              </a:lnSpc>
              <a:spcBef>
                <a:spcPct val="0"/>
              </a:spcBef>
              <a:spcAft>
                <a:spcPct val="0"/>
              </a:spcAft>
              <a:buNone/>
            </a:pPr>
            <a:fld id="{AC0503A5-480F-471B-8039-9CE9D2A2A710}" type="datetime'''''''''''6''.''''0'''''''''''''''''''">
              <a:rPr lang="pt-BR" altLang="en-US" sz="1000" smtClean="0">
                <a:solidFill>
                  <a:srgbClr val="FFFFFF"/>
                </a:solidFill>
                <a:effectLst/>
                <a:cs typeface="Calibri" panose="020F0502020204030204" pitchFamily="34" charset="0"/>
              </a:rPr>
              <a:pPr marL="0" lvl="0" indent="0" algn="ctr">
                <a:lnSpc>
                  <a:spcPct val="100000"/>
                </a:lnSpc>
                <a:spcBef>
                  <a:spcPct val="0"/>
                </a:spcBef>
                <a:spcAft>
                  <a:spcPct val="0"/>
                </a:spcAft>
                <a:buNone/>
              </a:pPr>
              <a:t>6.0</a:t>
            </a:fld>
            <a:endParaRPr lang="pt-BR" sz="1000" dirty="0">
              <a:solidFill>
                <a:srgbClr val="FFFFFF"/>
              </a:solidFill>
              <a:cs typeface="Calibri" panose="020F0502020204030204" pitchFamily="34" charset="0"/>
            </a:endParaRPr>
          </a:p>
        </p:txBody>
      </p:sp>
      <p:sp>
        <p:nvSpPr>
          <p:cNvPr id="23" name="Text Placeholder 2">
            <a:extLst>
              <a:ext uri="{FF2B5EF4-FFF2-40B4-BE49-F238E27FC236}">
                <a16:creationId xmlns:a16="http://schemas.microsoft.com/office/drawing/2014/main" id="{B946D9DD-DA0A-BE42-839C-B2B1D503385A}"/>
              </a:ext>
            </a:extLst>
          </p:cNvPr>
          <p:cNvSpPr>
            <a:spLocks noGrp="1"/>
          </p:cNvSpPr>
          <p:nvPr>
            <p:custDataLst>
              <p:tags r:id="rId36"/>
            </p:custDataLst>
          </p:nvPr>
        </p:nvSpPr>
        <p:spPr bwMode="gray">
          <a:xfrm>
            <a:off x="5003800" y="5918200"/>
            <a:ext cx="196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lnSpc>
                <a:spcPct val="100000"/>
              </a:lnSpc>
              <a:spcBef>
                <a:spcPct val="0"/>
              </a:spcBef>
              <a:spcAft>
                <a:spcPct val="0"/>
              </a:spcAft>
              <a:buNone/>
            </a:pPr>
            <a:fld id="{E90D7A1F-9EB6-4A81-B039-8B3A96FA8824}" type="datetime'''''''''5''''''.''''''''''''''''''''''''7'">
              <a:rPr lang="pt-BR" altLang="en-US" sz="1000" smtClean="0">
                <a:solidFill>
                  <a:srgbClr val="FFFFFF"/>
                </a:solidFill>
                <a:effectLst/>
                <a:cs typeface="Calibri" panose="020F0502020204030204" pitchFamily="34" charset="0"/>
              </a:rPr>
              <a:pPr marL="0" lvl="0" indent="0" algn="ctr">
                <a:lnSpc>
                  <a:spcPct val="100000"/>
                </a:lnSpc>
                <a:spcBef>
                  <a:spcPct val="0"/>
                </a:spcBef>
                <a:spcAft>
                  <a:spcPct val="0"/>
                </a:spcAft>
                <a:buNone/>
              </a:pPr>
              <a:t>5.7</a:t>
            </a:fld>
            <a:endParaRPr lang="pt-BR" sz="1000" dirty="0">
              <a:solidFill>
                <a:srgbClr val="FFFFFF"/>
              </a:solidFill>
              <a:cs typeface="Calibri" panose="020F0502020204030204" pitchFamily="34" charset="0"/>
            </a:endParaRPr>
          </a:p>
        </p:txBody>
      </p:sp>
      <p:sp>
        <p:nvSpPr>
          <p:cNvPr id="83" name="AutoShape 250">
            <a:extLst>
              <a:ext uri="{FF2B5EF4-FFF2-40B4-BE49-F238E27FC236}">
                <a16:creationId xmlns:a16="http://schemas.microsoft.com/office/drawing/2014/main" id="{34C397C2-5ACE-3836-3F12-BDB033F456CB}"/>
              </a:ext>
            </a:extLst>
          </p:cNvPr>
          <p:cNvSpPr>
            <a:spLocks noChangeArrowheads="1"/>
          </p:cNvSpPr>
          <p:nvPr/>
        </p:nvSpPr>
        <p:spPr bwMode="auto">
          <a:xfrm>
            <a:off x="6300402" y="5337175"/>
            <a:ext cx="5483996" cy="153888"/>
          </a:xfrm>
          <a:prstGeom prst="leftRightArrow">
            <a:avLst>
              <a:gd name="adj1" fmla="val 100000"/>
              <a:gd name="adj2" fmla="val 0"/>
            </a:avLst>
          </a:prstGeom>
          <a:noFill/>
          <a:ln w="9525">
            <a:noFill/>
            <a:miter lim="800000"/>
            <a:headEnd/>
            <a:tailEnd/>
          </a:ln>
          <a:effectLst/>
        </p:spPr>
        <p:txBody>
          <a:bodyPr vert="horz" wrap="square" lIns="0" tIns="0" rIns="0" bIns="0" numCol="1" anchor="ctr" anchorCtr="0" compatLnSpc="1">
            <a:prstTxWarp prst="textNoShape">
              <a:avLst/>
            </a:prstTxWarp>
            <a:spAutoFit/>
          </a:body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Gold production by province (2022), </a:t>
            </a: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a:cs typeface="Calibri" panose="020F0502020204030204" pitchFamily="34" charset="0"/>
              </a:rPr>
              <a:t>koz</a:t>
            </a:r>
            <a:endPar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cxnSp>
        <p:nvCxnSpPr>
          <p:cNvPr id="84" name="Straight Connector 83">
            <a:extLst>
              <a:ext uri="{FF2B5EF4-FFF2-40B4-BE49-F238E27FC236}">
                <a16:creationId xmlns:a16="http://schemas.microsoft.com/office/drawing/2014/main" id="{37DA0B7D-399E-EC7E-6E84-A1570D119940}"/>
              </a:ext>
            </a:extLst>
          </p:cNvPr>
          <p:cNvCxnSpPr/>
          <p:nvPr>
            <p:custDataLst>
              <p:tags r:id="rId37"/>
            </p:custDataLst>
          </p:nvPr>
        </p:nvCxnSpPr>
        <p:spPr bwMode="auto">
          <a:xfrm>
            <a:off x="7004050" y="5913438"/>
            <a:ext cx="39528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5" name="Straight Connector 84">
            <a:extLst>
              <a:ext uri="{FF2B5EF4-FFF2-40B4-BE49-F238E27FC236}">
                <a16:creationId xmlns:a16="http://schemas.microsoft.com/office/drawing/2014/main" id="{3BB4D743-9DBB-C39A-0953-23149ACC0F3F}"/>
              </a:ext>
            </a:extLst>
          </p:cNvPr>
          <p:cNvCxnSpPr/>
          <p:nvPr>
            <p:custDataLst>
              <p:tags r:id="rId38"/>
            </p:custDataLst>
          </p:nvPr>
        </p:nvCxnSpPr>
        <p:spPr bwMode="auto">
          <a:xfrm>
            <a:off x="7894638" y="5745163"/>
            <a:ext cx="3937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6" name="Straight Connector 85">
            <a:extLst>
              <a:ext uri="{FF2B5EF4-FFF2-40B4-BE49-F238E27FC236}">
                <a16:creationId xmlns:a16="http://schemas.microsoft.com/office/drawing/2014/main" id="{732C727C-538F-B904-0729-1544F1F47AB4}"/>
              </a:ext>
            </a:extLst>
          </p:cNvPr>
          <p:cNvCxnSpPr/>
          <p:nvPr>
            <p:custDataLst>
              <p:tags r:id="rId39"/>
            </p:custDataLst>
          </p:nvPr>
        </p:nvCxnSpPr>
        <p:spPr bwMode="auto">
          <a:xfrm>
            <a:off x="8783638" y="5640388"/>
            <a:ext cx="39528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8" name="Straight Connector 87">
            <a:extLst>
              <a:ext uri="{FF2B5EF4-FFF2-40B4-BE49-F238E27FC236}">
                <a16:creationId xmlns:a16="http://schemas.microsoft.com/office/drawing/2014/main" id="{1C938B14-246C-FC55-49FF-2367D93637F1}"/>
              </a:ext>
            </a:extLst>
          </p:cNvPr>
          <p:cNvCxnSpPr/>
          <p:nvPr>
            <p:custDataLst>
              <p:tags r:id="rId40"/>
            </p:custDataLst>
          </p:nvPr>
        </p:nvCxnSpPr>
        <p:spPr bwMode="auto">
          <a:xfrm>
            <a:off x="9674225" y="5540375"/>
            <a:ext cx="39528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7" name="Straight Connector 86">
            <a:extLst>
              <a:ext uri="{FF2B5EF4-FFF2-40B4-BE49-F238E27FC236}">
                <a16:creationId xmlns:a16="http://schemas.microsoft.com/office/drawing/2014/main" id="{D3413014-8170-3D21-7E58-B62706719A73}"/>
              </a:ext>
            </a:extLst>
          </p:cNvPr>
          <p:cNvCxnSpPr/>
          <p:nvPr>
            <p:custDataLst>
              <p:tags r:id="rId41"/>
            </p:custDataLst>
          </p:nvPr>
        </p:nvCxnSpPr>
        <p:spPr bwMode="auto">
          <a:xfrm>
            <a:off x="10564813" y="5491163"/>
            <a:ext cx="3937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48" name="Chart 47">
            <a:extLst>
              <a:ext uri="{FF2B5EF4-FFF2-40B4-BE49-F238E27FC236}">
                <a16:creationId xmlns:a16="http://schemas.microsoft.com/office/drawing/2014/main" id="{BD641CBA-C1A2-90D6-DE79-4B2FE49204EC}"/>
              </a:ext>
            </a:extLst>
          </p:cNvPr>
          <p:cNvGraphicFramePr/>
          <p:nvPr>
            <p:custDataLst>
              <p:tags r:id="rId42"/>
            </p:custDataLst>
          </p:nvPr>
        </p:nvGraphicFramePr>
        <p:xfrm>
          <a:off x="6229350" y="5265738"/>
          <a:ext cx="5505450" cy="1084262"/>
        </p:xfrm>
        <a:graphic>
          <a:graphicData uri="http://schemas.openxmlformats.org/drawingml/2006/chart">
            <c:chart xmlns:c="http://schemas.openxmlformats.org/drawingml/2006/chart" xmlns:r="http://schemas.openxmlformats.org/officeDocument/2006/relationships" r:id="rId72"/>
          </a:graphicData>
        </a:graphic>
      </p:graphicFrame>
      <p:sp>
        <p:nvSpPr>
          <p:cNvPr id="97" name="Text Placeholder 2">
            <a:extLst>
              <a:ext uri="{FF2B5EF4-FFF2-40B4-BE49-F238E27FC236}">
                <a16:creationId xmlns:a16="http://schemas.microsoft.com/office/drawing/2014/main" id="{B74BE842-2E14-19F7-70DC-E61CC2033077}"/>
              </a:ext>
            </a:extLst>
          </p:cNvPr>
          <p:cNvSpPr>
            <a:spLocks noGrp="1"/>
          </p:cNvSpPr>
          <p:nvPr>
            <p:custDataLst>
              <p:tags r:id="rId43"/>
            </p:custDataLst>
          </p:nvPr>
        </p:nvSpPr>
        <p:spPr bwMode="auto">
          <a:xfrm>
            <a:off x="6254750" y="6167438"/>
            <a:ext cx="1004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7948E5AF-4DE9-49DF-91C2-FC2D83169428}" type="datetime'''''Oth''ers/unspe''''''c''i''f''''''''''''''''''i''e''''d'">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Others/unspecified</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mn-cs"/>
            </a:endParaRPr>
          </a:p>
        </p:txBody>
      </p:sp>
      <p:sp>
        <p:nvSpPr>
          <p:cNvPr id="90" name="Text Placeholder 2">
            <a:extLst>
              <a:ext uri="{FF2B5EF4-FFF2-40B4-BE49-F238E27FC236}">
                <a16:creationId xmlns:a16="http://schemas.microsoft.com/office/drawing/2014/main" id="{AD8D64EF-4EBE-51AB-EBA3-9326283638E9}"/>
              </a:ext>
            </a:extLst>
          </p:cNvPr>
          <p:cNvSpPr>
            <a:spLocks noGrp="1"/>
          </p:cNvSpPr>
          <p:nvPr>
            <p:custDataLst>
              <p:tags r:id="rId44"/>
            </p:custDataLst>
          </p:nvPr>
        </p:nvSpPr>
        <p:spPr bwMode="auto">
          <a:xfrm>
            <a:off x="7356475" y="6167438"/>
            <a:ext cx="5826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2A63D367-E43E-4AB0-8472-F5F6C267142E}" type="datetime'''La'''''' L''''ib''''e''''''''''''''r''ta''''''''''''''''d'">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La Libertad</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mn-cs"/>
            </a:endParaRPr>
          </a:p>
        </p:txBody>
      </p:sp>
      <p:sp>
        <p:nvSpPr>
          <p:cNvPr id="107" name="Text Placeholder 2">
            <a:extLst>
              <a:ext uri="{FF2B5EF4-FFF2-40B4-BE49-F238E27FC236}">
                <a16:creationId xmlns:a16="http://schemas.microsoft.com/office/drawing/2014/main" id="{F2339228-06B1-40AD-ABDE-4A7480A79ED3}"/>
              </a:ext>
            </a:extLst>
          </p:cNvPr>
          <p:cNvSpPr>
            <a:spLocks noGrp="1"/>
          </p:cNvSpPr>
          <p:nvPr>
            <p:custDataLst>
              <p:tags r:id="rId45"/>
            </p:custDataLst>
          </p:nvPr>
        </p:nvSpPr>
        <p:spPr bwMode="auto">
          <a:xfrm>
            <a:off x="8259763" y="6167438"/>
            <a:ext cx="552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B787156E-4410-49A6-961A-D1DEA3431AC4}" type="datetime'''''Ca''''''''''''''''''''''''j''''am''''''''''''''a''''rca'">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Cajamarca</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mn-cs"/>
            </a:endParaRPr>
          </a:p>
        </p:txBody>
      </p:sp>
      <p:sp>
        <p:nvSpPr>
          <p:cNvPr id="113" name="Text Placeholder 2">
            <a:extLst>
              <a:ext uri="{FF2B5EF4-FFF2-40B4-BE49-F238E27FC236}">
                <a16:creationId xmlns:a16="http://schemas.microsoft.com/office/drawing/2014/main" id="{625A58FC-E2C5-8E6D-9137-A7BDF5830EDD}"/>
              </a:ext>
            </a:extLst>
          </p:cNvPr>
          <p:cNvSpPr>
            <a:spLocks noGrp="1"/>
          </p:cNvSpPr>
          <p:nvPr>
            <p:custDataLst>
              <p:tags r:id="rId46"/>
            </p:custDataLst>
          </p:nvPr>
        </p:nvSpPr>
        <p:spPr bwMode="gray">
          <a:xfrm>
            <a:off x="9312275" y="5521325"/>
            <a:ext cx="230188" cy="136525"/>
          </a:xfrm>
          <a:prstGeom prst="rect">
            <a:avLst/>
          </a:prstGeom>
          <a:solidFill>
            <a:schemeClr val="accent1"/>
          </a:solidFill>
          <a:ln>
            <a:noFill/>
          </a:ln>
          <a:effec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007139A5-93EF-4A5F-92BA-E4548893A774}" type="datetime'6''''''''''''05'''''''''">
              <a:rPr kumimoji="0" lang="pt-BR" altLang="en-US" sz="10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605</a:t>
            </a:fld>
            <a:endParaRPr kumimoji="0" lang="pt-BR" sz="10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6" name="Text Placeholder 2">
            <a:extLst>
              <a:ext uri="{FF2B5EF4-FFF2-40B4-BE49-F238E27FC236}">
                <a16:creationId xmlns:a16="http://schemas.microsoft.com/office/drawing/2014/main" id="{CC75883C-CF41-E77D-62C0-5FE7A329ADA0}"/>
              </a:ext>
            </a:extLst>
          </p:cNvPr>
          <p:cNvSpPr>
            <a:spLocks noGrp="1"/>
          </p:cNvSpPr>
          <p:nvPr>
            <p:custDataLst>
              <p:tags r:id="rId47"/>
            </p:custDataLst>
          </p:nvPr>
        </p:nvSpPr>
        <p:spPr bwMode="auto">
          <a:xfrm>
            <a:off x="9185274" y="6167438"/>
            <a:ext cx="482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BBC69B78-EA19-43E0-873E-5260BCB25A4A}" type="datetime'A''re''''''''q''ui''p''''''''''''''''''''a'''''''''''''">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Arequipa</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mn-cs"/>
            </a:endParaRPr>
          </a:p>
        </p:txBody>
      </p:sp>
      <p:sp>
        <p:nvSpPr>
          <p:cNvPr id="100" name="Text Placeholder 2">
            <a:extLst>
              <a:ext uri="{FF2B5EF4-FFF2-40B4-BE49-F238E27FC236}">
                <a16:creationId xmlns:a16="http://schemas.microsoft.com/office/drawing/2014/main" id="{B946D9DD-DA0A-BE42-839C-B2B1D503385A}"/>
              </a:ext>
            </a:extLst>
          </p:cNvPr>
          <p:cNvSpPr>
            <a:spLocks noGrp="1"/>
          </p:cNvSpPr>
          <p:nvPr>
            <p:custDataLst>
              <p:tags r:id="rId48"/>
            </p:custDataLst>
          </p:nvPr>
        </p:nvSpPr>
        <p:spPr bwMode="gray">
          <a:xfrm>
            <a:off x="10202863" y="5446714"/>
            <a:ext cx="230188" cy="136525"/>
          </a:xfrm>
          <a:prstGeom prst="rect">
            <a:avLst/>
          </a:prstGeom>
          <a:solidFill>
            <a:schemeClr val="accent1"/>
          </a:solidFill>
          <a:ln>
            <a:noFill/>
          </a:ln>
          <a:effec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0C72A13E-1044-4F1C-A0A5-6B872C8E594D}" type="datetime'''''3''''''''''0''5'''''''''''''''''''''''">
              <a:rPr kumimoji="0" lang="pt-BR" altLang="en-US" sz="10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305</a:t>
            </a:fld>
            <a:endParaRPr kumimoji="0" lang="pt-BR" sz="10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11" name="Text Placeholder 2">
            <a:extLst>
              <a:ext uri="{FF2B5EF4-FFF2-40B4-BE49-F238E27FC236}">
                <a16:creationId xmlns:a16="http://schemas.microsoft.com/office/drawing/2014/main" id="{92E5946F-C9A8-4437-BEDE-979F80BF6991}"/>
              </a:ext>
            </a:extLst>
          </p:cNvPr>
          <p:cNvSpPr>
            <a:spLocks noGrp="1"/>
          </p:cNvSpPr>
          <p:nvPr>
            <p:custDataLst>
              <p:tags r:id="rId49"/>
            </p:custDataLst>
          </p:nvPr>
        </p:nvSpPr>
        <p:spPr bwMode="auto">
          <a:xfrm>
            <a:off x="10061576" y="6167438"/>
            <a:ext cx="5111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11D2ECDE-DBB9-4A5D-9764-12D76C6BFB2C}" type="datetime'''A''''''''''''''y''''''''''''''''''''a''''c''''''uc''ho'''">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Ayacucho</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mn-cs"/>
            </a:endParaRPr>
          </a:p>
        </p:txBody>
      </p:sp>
      <p:sp>
        <p:nvSpPr>
          <p:cNvPr id="108" name="Text Placeholder 2">
            <a:extLst>
              <a:ext uri="{FF2B5EF4-FFF2-40B4-BE49-F238E27FC236}">
                <a16:creationId xmlns:a16="http://schemas.microsoft.com/office/drawing/2014/main" id="{EFBE1035-2122-3130-17FC-E15C241D8387}"/>
              </a:ext>
            </a:extLst>
          </p:cNvPr>
          <p:cNvSpPr>
            <a:spLocks noGrp="1"/>
          </p:cNvSpPr>
          <p:nvPr>
            <p:custDataLst>
              <p:tags r:id="rId50"/>
            </p:custDataLst>
          </p:nvPr>
        </p:nvSpPr>
        <p:spPr bwMode="auto">
          <a:xfrm>
            <a:off x="11069638" y="6167438"/>
            <a:ext cx="2730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AC5636C0-30CA-415B-9682-0BB278DAEE02}" type="datetime'''''''''T''''''''''''''''''''''o''''''''t''a''''l'''">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Total</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mn-cs"/>
            </a:endParaRPr>
          </a:p>
        </p:txBody>
      </p:sp>
      <p:sp>
        <p:nvSpPr>
          <p:cNvPr id="27" name="Text Placeholder 2">
            <a:extLst>
              <a:ext uri="{FF2B5EF4-FFF2-40B4-BE49-F238E27FC236}">
                <a16:creationId xmlns:a16="http://schemas.microsoft.com/office/drawing/2014/main" id="{B946D9DD-DA0A-BE42-839C-B2B1D503385A}"/>
              </a:ext>
            </a:extLst>
          </p:cNvPr>
          <p:cNvSpPr>
            <a:spLocks noGrp="1"/>
          </p:cNvSpPr>
          <p:nvPr>
            <p:custDataLst>
              <p:tags r:id="rId51"/>
            </p:custDataLst>
          </p:nvPr>
        </p:nvSpPr>
        <p:spPr bwMode="gray">
          <a:xfrm>
            <a:off x="6592888" y="5751514"/>
            <a:ext cx="3270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6102381-D2B1-49C1-861F-4F0911C1CE29}" type="datetime'''''''''''1'''''''''''''',''''''''''''''''28''''''''''7'''''''">
              <a:rPr lang="pt-BR" altLang="en-US" sz="1000" smtClean="0">
                <a:effectLst/>
              </a:rPr>
              <a:pPr marL="0" lvl="0" indent="0" algn="ctr">
                <a:spcBef>
                  <a:spcPct val="0"/>
                </a:spcBef>
                <a:spcAft>
                  <a:spcPct val="0"/>
                </a:spcAft>
                <a:buNone/>
              </a:pPr>
              <a:t>1,287</a:t>
            </a:fld>
            <a:endParaRPr lang="pt-BR" sz="1000" dirty="0"/>
          </a:p>
        </p:txBody>
      </p:sp>
      <p:sp>
        <p:nvSpPr>
          <p:cNvPr id="32" name="Text Placeholder 2">
            <a:extLst>
              <a:ext uri="{FF2B5EF4-FFF2-40B4-BE49-F238E27FC236}">
                <a16:creationId xmlns:a16="http://schemas.microsoft.com/office/drawing/2014/main" id="{B946D9DD-DA0A-BE42-839C-B2B1D503385A}"/>
              </a:ext>
            </a:extLst>
          </p:cNvPr>
          <p:cNvSpPr>
            <a:spLocks noGrp="1"/>
          </p:cNvSpPr>
          <p:nvPr>
            <p:custDataLst>
              <p:tags r:id="rId52"/>
            </p:custDataLst>
          </p:nvPr>
        </p:nvSpPr>
        <p:spPr bwMode="gray">
          <a:xfrm>
            <a:off x="7483475" y="5761039"/>
            <a:ext cx="3270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2544925-6A4D-4BC9-97DD-3C409146FF4C}" type="datetime'''''''''''''''''''1'''',''''''''''''0''3''''''''2'''''''''">
              <a:rPr lang="pt-BR" altLang="en-US" sz="1000" smtClean="0">
                <a:solidFill>
                  <a:srgbClr val="FFFFFF"/>
                </a:solidFill>
                <a:effectLst/>
              </a:rPr>
              <a:pPr marL="0" lvl="0" indent="0" algn="ctr">
                <a:spcBef>
                  <a:spcPct val="0"/>
                </a:spcBef>
                <a:spcAft>
                  <a:spcPct val="0"/>
                </a:spcAft>
                <a:buNone/>
              </a:pPr>
              <a:t>1,032</a:t>
            </a:fld>
            <a:endParaRPr lang="pt-BR" sz="1000" dirty="0">
              <a:solidFill>
                <a:srgbClr val="FFFFFF"/>
              </a:solidFill>
            </a:endParaRPr>
          </a:p>
        </p:txBody>
      </p:sp>
      <p:sp>
        <p:nvSpPr>
          <p:cNvPr id="47" name="Text Placeholder 2">
            <a:extLst>
              <a:ext uri="{FF2B5EF4-FFF2-40B4-BE49-F238E27FC236}">
                <a16:creationId xmlns:a16="http://schemas.microsoft.com/office/drawing/2014/main" id="{B946D9DD-DA0A-BE42-839C-B2B1D503385A}"/>
              </a:ext>
            </a:extLst>
          </p:cNvPr>
          <p:cNvSpPr>
            <a:spLocks noGrp="1"/>
          </p:cNvSpPr>
          <p:nvPr>
            <p:custDataLst>
              <p:tags r:id="rId53"/>
            </p:custDataLst>
          </p:nvPr>
        </p:nvSpPr>
        <p:spPr bwMode="gray">
          <a:xfrm>
            <a:off x="11042650" y="5329239"/>
            <a:ext cx="3270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4A5449C-A482-4D49-A85D-794A808A6D31}" type="datetime'3'''',8''''''''''72'''''''''''''''''''''''''''''''''''">
              <a:rPr lang="pt-BR" altLang="en-US" sz="1000" smtClean="0">
                <a:effectLst/>
              </a:rPr>
              <a:pPr marL="0" lvl="0" indent="0" algn="ctr">
                <a:spcBef>
                  <a:spcPct val="0"/>
                </a:spcBef>
                <a:spcAft>
                  <a:spcPct val="0"/>
                </a:spcAft>
                <a:buNone/>
              </a:pPr>
              <a:t>3,872</a:t>
            </a:fld>
            <a:endParaRPr lang="pt-BR" sz="1000" dirty="0"/>
          </a:p>
        </p:txBody>
      </p:sp>
      <p:sp>
        <p:nvSpPr>
          <p:cNvPr id="1024" name="Rectangle 8">
            <a:extLst>
              <a:ext uri="{FF2B5EF4-FFF2-40B4-BE49-F238E27FC236}">
                <a16:creationId xmlns:a16="http://schemas.microsoft.com/office/drawing/2014/main" id="{A3F78508-A964-0314-D537-B58AC27C34DF}"/>
              </a:ext>
            </a:extLst>
          </p:cNvPr>
          <p:cNvSpPr txBox="1">
            <a:spLocks/>
          </p:cNvSpPr>
          <p:nvPr>
            <p:custDataLst>
              <p:tags r:id="rId54"/>
            </p:custDataLst>
          </p:nvPr>
        </p:nvSpPr>
        <p:spPr>
          <a:xfrm>
            <a:off x="6197599" y="1093867"/>
            <a:ext cx="896621" cy="1974453"/>
          </a:xfrm>
          <a:prstGeom prst="rect">
            <a:avLst/>
          </a:prstGeom>
          <a:solidFill>
            <a:schemeClr val="accent1"/>
          </a:solidFill>
          <a:ln w="9525">
            <a:noFill/>
            <a:miter lim="800000"/>
            <a:headEnd/>
            <a:tailEnd/>
          </a:ln>
          <a:effectLst/>
        </p:spPr>
        <p:txBody>
          <a:bodyPr vert="horz" wrap="square" lIns="36576" tIns="76200" rIns="36576" bIns="76200" numCol="1" anchor="ctr"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Gold industry context</a:t>
            </a:r>
            <a:endParaRPr kumimoji="0" lang="en-CA"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endParaRPr>
          </a:p>
        </p:txBody>
      </p:sp>
      <p:sp>
        <p:nvSpPr>
          <p:cNvPr id="1025" name="TextBox 1024">
            <a:extLst>
              <a:ext uri="{FF2B5EF4-FFF2-40B4-BE49-F238E27FC236}">
                <a16:creationId xmlns:a16="http://schemas.microsoft.com/office/drawing/2014/main" id="{DAD314E2-AD5F-2097-3D88-678F0CCF4CBE}"/>
              </a:ext>
            </a:extLst>
          </p:cNvPr>
          <p:cNvSpPr txBox="1">
            <a:spLocks/>
          </p:cNvSpPr>
          <p:nvPr/>
        </p:nvSpPr>
        <p:spPr>
          <a:xfrm>
            <a:off x="7171817" y="1123986"/>
            <a:ext cx="4712209" cy="66941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5425"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Peru was the 9</a:t>
            </a:r>
            <a:r>
              <a:rPr kumimoji="0" lang="en-US" sz="900" b="0" i="0" u="none" strike="noStrike" kern="1200" cap="none" spc="0" normalizeH="0" baseline="3000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th</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largest gold producer in 2022, with the presence of large global gold miners – like Newmont, Gold Fields –, local companies – like MARSA, Hochschild, and Buenaventura and copper producers, which generate gold as a by-product</a:t>
            </a:r>
          </a:p>
          <a:p>
            <a:pPr marL="228600" marR="0" lvl="1" indent="-225425"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However, some of the historical flagship mines in the country are depleting – such as </a:t>
            </a:r>
            <a:r>
              <a:rPr kumimoji="0" lang="en-US" sz="9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Yanacocha</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and Lagunas Norte</a:t>
            </a:r>
          </a:p>
          <a:p>
            <a:pPr marL="228600" marR="0" lvl="1" indent="-225425"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Artisan mining corresponds to ~20% of Peru’s gold production, spread across the country</a:t>
            </a:r>
          </a:p>
        </p:txBody>
      </p:sp>
      <p:sp>
        <p:nvSpPr>
          <p:cNvPr id="1026" name="TextBox 1025">
            <a:extLst>
              <a:ext uri="{FF2B5EF4-FFF2-40B4-BE49-F238E27FC236}">
                <a16:creationId xmlns:a16="http://schemas.microsoft.com/office/drawing/2014/main" id="{1E4E2C97-85F2-E614-DACB-CADA4522D9BA}"/>
              </a:ext>
            </a:extLst>
          </p:cNvPr>
          <p:cNvSpPr txBox="1">
            <a:spLocks/>
          </p:cNvSpPr>
          <p:nvPr/>
        </p:nvSpPr>
        <p:spPr>
          <a:xfrm>
            <a:off x="7254089" y="2056924"/>
            <a:ext cx="4554013" cy="153888"/>
          </a:xfrm>
          <a:prstGeom prst="rect">
            <a:avLst/>
          </a:prstGeom>
          <a:noFill/>
          <a:ln w="9525">
            <a:noFill/>
            <a:miter lim="800000"/>
            <a:headEnd/>
            <a:tailEnd/>
          </a:ln>
          <a:effectLst/>
        </p:spPr>
        <p:txBody>
          <a:bodyPr vert="horz" wrap="square" lIns="0" tIns="0" rIns="0" bIns="0" numCol="1" anchor="ctr"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C9A319"/>
              </a:buClr>
              <a:buSzTx/>
              <a:buFontTx/>
              <a:buNone/>
              <a:tabLst/>
              <a:defRPr/>
            </a:pPr>
            <a:r>
              <a:rPr kumimoji="0" lang="en-CA" sz="10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Largest gold mines by production </a:t>
            </a:r>
          </a:p>
        </p:txBody>
      </p:sp>
      <p:cxnSp>
        <p:nvCxnSpPr>
          <p:cNvPr id="1028" name="Straight Connector 1027">
            <a:extLst>
              <a:ext uri="{FF2B5EF4-FFF2-40B4-BE49-F238E27FC236}">
                <a16:creationId xmlns:a16="http://schemas.microsoft.com/office/drawing/2014/main" id="{FF0B593C-D848-9FB4-A4F6-0E12D9A887D3}"/>
              </a:ext>
            </a:extLst>
          </p:cNvPr>
          <p:cNvCxnSpPr>
            <a:cxnSpLocks/>
          </p:cNvCxnSpPr>
          <p:nvPr>
            <p:custDataLst>
              <p:tags r:id="rId55"/>
            </p:custDataLst>
          </p:nvPr>
        </p:nvCxnSpPr>
        <p:spPr>
          <a:xfrm>
            <a:off x="8710559" y="2434531"/>
            <a:ext cx="784899" cy="0"/>
          </a:xfrm>
          <a:prstGeom prst="line">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sp>
        <p:nvSpPr>
          <p:cNvPr id="1029" name="TextBox 1028">
            <a:extLst>
              <a:ext uri="{FF2B5EF4-FFF2-40B4-BE49-F238E27FC236}">
                <a16:creationId xmlns:a16="http://schemas.microsoft.com/office/drawing/2014/main" id="{482CA360-9D79-17B5-9ADF-D4357DEB7783}"/>
              </a:ext>
            </a:extLst>
          </p:cNvPr>
          <p:cNvSpPr txBox="1">
            <a:spLocks/>
          </p:cNvSpPr>
          <p:nvPr/>
        </p:nvSpPr>
        <p:spPr>
          <a:xfrm>
            <a:off x="8710559" y="2272432"/>
            <a:ext cx="401691" cy="1384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Mine</a:t>
            </a:r>
          </a:p>
        </p:txBody>
      </p:sp>
      <p:cxnSp>
        <p:nvCxnSpPr>
          <p:cNvPr id="1030" name="Straight Connector 1029">
            <a:extLst>
              <a:ext uri="{FF2B5EF4-FFF2-40B4-BE49-F238E27FC236}">
                <a16:creationId xmlns:a16="http://schemas.microsoft.com/office/drawing/2014/main" id="{58FAC8FE-427B-945B-18CE-2D531EF1CB05}"/>
              </a:ext>
            </a:extLst>
          </p:cNvPr>
          <p:cNvCxnSpPr>
            <a:cxnSpLocks/>
          </p:cNvCxnSpPr>
          <p:nvPr>
            <p:custDataLst>
              <p:tags r:id="rId56"/>
            </p:custDataLst>
          </p:nvPr>
        </p:nvCxnSpPr>
        <p:spPr>
          <a:xfrm>
            <a:off x="9703779" y="2434531"/>
            <a:ext cx="797529" cy="0"/>
          </a:xfrm>
          <a:prstGeom prst="line">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sp>
        <p:nvSpPr>
          <p:cNvPr id="1031" name="TextBox 1030">
            <a:extLst>
              <a:ext uri="{FF2B5EF4-FFF2-40B4-BE49-F238E27FC236}">
                <a16:creationId xmlns:a16="http://schemas.microsoft.com/office/drawing/2014/main" id="{DA9AE0B7-F515-5E02-EE91-A9C47C13156C}"/>
              </a:ext>
            </a:extLst>
          </p:cNvPr>
          <p:cNvSpPr txBox="1">
            <a:spLocks/>
          </p:cNvSpPr>
          <p:nvPr/>
        </p:nvSpPr>
        <p:spPr>
          <a:xfrm>
            <a:off x="9703779" y="2261907"/>
            <a:ext cx="797529" cy="1384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Output</a:t>
            </a: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oz / year</a:t>
            </a:r>
          </a:p>
        </p:txBody>
      </p:sp>
      <p:cxnSp>
        <p:nvCxnSpPr>
          <p:cNvPr id="1032" name="Straight Connector 1031">
            <a:extLst>
              <a:ext uri="{FF2B5EF4-FFF2-40B4-BE49-F238E27FC236}">
                <a16:creationId xmlns:a16="http://schemas.microsoft.com/office/drawing/2014/main" id="{B7C007AA-56BB-619C-F2A8-85C273755624}"/>
              </a:ext>
            </a:extLst>
          </p:cNvPr>
          <p:cNvCxnSpPr>
            <a:cxnSpLocks/>
          </p:cNvCxnSpPr>
          <p:nvPr>
            <p:custDataLst>
              <p:tags r:id="rId57"/>
            </p:custDataLst>
          </p:nvPr>
        </p:nvCxnSpPr>
        <p:spPr>
          <a:xfrm>
            <a:off x="10683198" y="2434531"/>
            <a:ext cx="1124902" cy="0"/>
          </a:xfrm>
          <a:prstGeom prst="line">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sp>
        <p:nvSpPr>
          <p:cNvPr id="1035" name="TextBox 1034">
            <a:extLst>
              <a:ext uri="{FF2B5EF4-FFF2-40B4-BE49-F238E27FC236}">
                <a16:creationId xmlns:a16="http://schemas.microsoft.com/office/drawing/2014/main" id="{1E4CD653-A35E-0DCD-6A78-C2E1878AC761}"/>
              </a:ext>
            </a:extLst>
          </p:cNvPr>
          <p:cNvSpPr txBox="1">
            <a:spLocks/>
          </p:cNvSpPr>
          <p:nvPr/>
        </p:nvSpPr>
        <p:spPr>
          <a:xfrm>
            <a:off x="10683198" y="2260923"/>
            <a:ext cx="1124902" cy="1384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Date of first production</a:t>
            </a:r>
          </a:p>
        </p:txBody>
      </p:sp>
      <p:cxnSp>
        <p:nvCxnSpPr>
          <p:cNvPr id="1036" name="Straight Connector 1035">
            <a:extLst>
              <a:ext uri="{FF2B5EF4-FFF2-40B4-BE49-F238E27FC236}">
                <a16:creationId xmlns:a16="http://schemas.microsoft.com/office/drawing/2014/main" id="{20C0DD8D-3E62-EAEC-AD24-6B42F5A37BCA}"/>
              </a:ext>
            </a:extLst>
          </p:cNvPr>
          <p:cNvCxnSpPr>
            <a:cxnSpLocks/>
          </p:cNvCxnSpPr>
          <p:nvPr>
            <p:custDataLst>
              <p:tags r:id="rId58"/>
            </p:custDataLst>
          </p:nvPr>
        </p:nvCxnSpPr>
        <p:spPr>
          <a:xfrm>
            <a:off x="7254089" y="2626833"/>
            <a:ext cx="4554013" cy="0"/>
          </a:xfrm>
          <a:prstGeom prst="line">
            <a:avLst/>
          </a:prstGeom>
          <a:ln w="6350">
            <a:solidFill>
              <a:srgbClr val="757575"/>
            </a:solidFill>
            <a:prstDash val="solid"/>
          </a:ln>
        </p:spPr>
        <p:style>
          <a:lnRef idx="1">
            <a:schemeClr val="accent1"/>
          </a:lnRef>
          <a:fillRef idx="0">
            <a:schemeClr val="accent1"/>
          </a:fillRef>
          <a:effectRef idx="0">
            <a:schemeClr val="accent1"/>
          </a:effectRef>
          <a:fontRef idx="minor">
            <a:schemeClr val="tx1"/>
          </a:fontRef>
        </p:style>
      </p:cxnSp>
      <p:sp>
        <p:nvSpPr>
          <p:cNvPr id="1037" name="TextBox 1036">
            <a:extLst>
              <a:ext uri="{FF2B5EF4-FFF2-40B4-BE49-F238E27FC236}">
                <a16:creationId xmlns:a16="http://schemas.microsoft.com/office/drawing/2014/main" id="{55A506C1-33E5-6199-554D-45AAA2FC19BF}"/>
              </a:ext>
            </a:extLst>
          </p:cNvPr>
          <p:cNvSpPr txBox="1">
            <a:spLocks/>
          </p:cNvSpPr>
          <p:nvPr/>
        </p:nvSpPr>
        <p:spPr>
          <a:xfrm>
            <a:off x="7254089" y="2280157"/>
            <a:ext cx="1248149" cy="1384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Company</a:t>
            </a:r>
          </a:p>
        </p:txBody>
      </p:sp>
      <p:sp>
        <p:nvSpPr>
          <p:cNvPr id="1038" name="TextBox 1037">
            <a:extLst>
              <a:ext uri="{FF2B5EF4-FFF2-40B4-BE49-F238E27FC236}">
                <a16:creationId xmlns:a16="http://schemas.microsoft.com/office/drawing/2014/main" id="{3CDE89D9-6FA6-CBBA-BD5F-E04EA230D579}"/>
              </a:ext>
            </a:extLst>
          </p:cNvPr>
          <p:cNvSpPr txBox="1">
            <a:spLocks/>
          </p:cNvSpPr>
          <p:nvPr/>
        </p:nvSpPr>
        <p:spPr>
          <a:xfrm>
            <a:off x="8710560" y="2482214"/>
            <a:ext cx="664862" cy="12906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Yancocha</a:t>
            </a:r>
          </a:p>
        </p:txBody>
      </p:sp>
      <p:sp>
        <p:nvSpPr>
          <p:cNvPr id="1039" name="TextBox 1038">
            <a:extLst>
              <a:ext uri="{FF2B5EF4-FFF2-40B4-BE49-F238E27FC236}">
                <a16:creationId xmlns:a16="http://schemas.microsoft.com/office/drawing/2014/main" id="{A4920BEE-2966-562A-5E1C-6303979D945F}"/>
              </a:ext>
            </a:extLst>
          </p:cNvPr>
          <p:cNvSpPr txBox="1">
            <a:spLocks/>
          </p:cNvSpPr>
          <p:nvPr/>
        </p:nvSpPr>
        <p:spPr>
          <a:xfrm>
            <a:off x="9704901" y="2482214"/>
            <a:ext cx="796688" cy="13512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230</a:t>
            </a:r>
          </a:p>
        </p:txBody>
      </p:sp>
      <p:sp>
        <p:nvSpPr>
          <p:cNvPr id="1040" name="TextBox 1039">
            <a:extLst>
              <a:ext uri="{FF2B5EF4-FFF2-40B4-BE49-F238E27FC236}">
                <a16:creationId xmlns:a16="http://schemas.microsoft.com/office/drawing/2014/main" id="{979CE3AE-03C8-53BF-EC59-82861F799DD9}"/>
              </a:ext>
            </a:extLst>
          </p:cNvPr>
          <p:cNvSpPr txBox="1">
            <a:spLocks/>
          </p:cNvSpPr>
          <p:nvPr/>
        </p:nvSpPr>
        <p:spPr>
          <a:xfrm>
            <a:off x="10682552" y="2482214"/>
            <a:ext cx="899848" cy="13715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1993</a:t>
            </a:r>
          </a:p>
        </p:txBody>
      </p:sp>
      <p:sp>
        <p:nvSpPr>
          <p:cNvPr id="1041" name="TextBox 1040">
            <a:extLst>
              <a:ext uri="{FF2B5EF4-FFF2-40B4-BE49-F238E27FC236}">
                <a16:creationId xmlns:a16="http://schemas.microsoft.com/office/drawing/2014/main" id="{7AB8DAED-410A-1785-BA6A-54FA0D33E14A}"/>
              </a:ext>
            </a:extLst>
          </p:cNvPr>
          <p:cNvSpPr txBox="1">
            <a:spLocks/>
          </p:cNvSpPr>
          <p:nvPr/>
        </p:nvSpPr>
        <p:spPr>
          <a:xfrm>
            <a:off x="8710559" y="2675061"/>
            <a:ext cx="784899" cy="13512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Retamas</a:t>
            </a:r>
          </a:p>
        </p:txBody>
      </p:sp>
      <p:sp>
        <p:nvSpPr>
          <p:cNvPr id="1042" name="TextBox 1041">
            <a:extLst>
              <a:ext uri="{FF2B5EF4-FFF2-40B4-BE49-F238E27FC236}">
                <a16:creationId xmlns:a16="http://schemas.microsoft.com/office/drawing/2014/main" id="{2F0723F8-8636-5C2B-6250-520F196B1975}"/>
              </a:ext>
            </a:extLst>
          </p:cNvPr>
          <p:cNvSpPr txBox="1">
            <a:spLocks/>
          </p:cNvSpPr>
          <p:nvPr/>
        </p:nvSpPr>
        <p:spPr>
          <a:xfrm>
            <a:off x="9704901" y="2675061"/>
            <a:ext cx="796688" cy="13512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207</a:t>
            </a:r>
          </a:p>
        </p:txBody>
      </p:sp>
      <p:sp>
        <p:nvSpPr>
          <p:cNvPr id="1043" name="TextBox 1042">
            <a:extLst>
              <a:ext uri="{FF2B5EF4-FFF2-40B4-BE49-F238E27FC236}">
                <a16:creationId xmlns:a16="http://schemas.microsoft.com/office/drawing/2014/main" id="{6781E4CB-4C92-17B9-973F-766FAD006728}"/>
              </a:ext>
            </a:extLst>
          </p:cNvPr>
          <p:cNvSpPr txBox="1">
            <a:spLocks/>
          </p:cNvSpPr>
          <p:nvPr/>
        </p:nvSpPr>
        <p:spPr>
          <a:xfrm>
            <a:off x="10682552" y="2675061"/>
            <a:ext cx="1125550" cy="13512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1983</a:t>
            </a:r>
          </a:p>
        </p:txBody>
      </p:sp>
      <p:cxnSp>
        <p:nvCxnSpPr>
          <p:cNvPr id="1044" name="Straight Connector 1043">
            <a:extLst>
              <a:ext uri="{FF2B5EF4-FFF2-40B4-BE49-F238E27FC236}">
                <a16:creationId xmlns:a16="http://schemas.microsoft.com/office/drawing/2014/main" id="{F6C248A5-3840-C9CD-27E4-804CF784D90E}"/>
              </a:ext>
            </a:extLst>
          </p:cNvPr>
          <p:cNvCxnSpPr>
            <a:cxnSpLocks/>
          </p:cNvCxnSpPr>
          <p:nvPr>
            <p:custDataLst>
              <p:tags r:id="rId59"/>
            </p:custDataLst>
          </p:nvPr>
        </p:nvCxnSpPr>
        <p:spPr>
          <a:xfrm>
            <a:off x="7254089" y="2434531"/>
            <a:ext cx="1248149" cy="0"/>
          </a:xfrm>
          <a:prstGeom prst="line">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sp>
        <p:nvSpPr>
          <p:cNvPr id="1045" name="TextBox 1044">
            <a:extLst>
              <a:ext uri="{FF2B5EF4-FFF2-40B4-BE49-F238E27FC236}">
                <a16:creationId xmlns:a16="http://schemas.microsoft.com/office/drawing/2014/main" id="{0F70E0E6-7F12-F8E3-2C93-0FE87EC65599}"/>
              </a:ext>
            </a:extLst>
          </p:cNvPr>
          <p:cNvSpPr txBox="1">
            <a:spLocks/>
          </p:cNvSpPr>
          <p:nvPr/>
        </p:nvSpPr>
        <p:spPr>
          <a:xfrm>
            <a:off x="8710559" y="2889546"/>
            <a:ext cx="784899" cy="13512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Inmaculada</a:t>
            </a:r>
          </a:p>
        </p:txBody>
      </p:sp>
      <p:cxnSp>
        <p:nvCxnSpPr>
          <p:cNvPr id="1047" name="Straight Connector 1046">
            <a:extLst>
              <a:ext uri="{FF2B5EF4-FFF2-40B4-BE49-F238E27FC236}">
                <a16:creationId xmlns:a16="http://schemas.microsoft.com/office/drawing/2014/main" id="{E6F1B657-E941-F2D9-BB7D-5A399E512644}"/>
              </a:ext>
            </a:extLst>
          </p:cNvPr>
          <p:cNvCxnSpPr>
            <a:cxnSpLocks/>
          </p:cNvCxnSpPr>
          <p:nvPr>
            <p:custDataLst>
              <p:tags r:id="rId60"/>
            </p:custDataLst>
          </p:nvPr>
        </p:nvCxnSpPr>
        <p:spPr>
          <a:xfrm>
            <a:off x="7254089" y="2830809"/>
            <a:ext cx="4554013" cy="0"/>
          </a:xfrm>
          <a:prstGeom prst="line">
            <a:avLst/>
          </a:prstGeom>
          <a:ln w="6350">
            <a:solidFill>
              <a:srgbClr val="757575"/>
            </a:solidFill>
            <a:prstDash val="solid"/>
          </a:ln>
        </p:spPr>
        <p:style>
          <a:lnRef idx="1">
            <a:schemeClr val="accent1"/>
          </a:lnRef>
          <a:fillRef idx="0">
            <a:schemeClr val="accent1"/>
          </a:fillRef>
          <a:effectRef idx="0">
            <a:schemeClr val="accent1"/>
          </a:effectRef>
          <a:fontRef idx="minor">
            <a:schemeClr val="tx1"/>
          </a:fontRef>
        </p:style>
      </p:cxnSp>
      <p:sp>
        <p:nvSpPr>
          <p:cNvPr id="1052" name="TextBox 1051">
            <a:extLst>
              <a:ext uri="{FF2B5EF4-FFF2-40B4-BE49-F238E27FC236}">
                <a16:creationId xmlns:a16="http://schemas.microsoft.com/office/drawing/2014/main" id="{BFA83F51-2CB3-C5BF-5DF7-C6EFC7EA480C}"/>
              </a:ext>
            </a:extLst>
          </p:cNvPr>
          <p:cNvSpPr txBox="1">
            <a:spLocks/>
          </p:cNvSpPr>
          <p:nvPr/>
        </p:nvSpPr>
        <p:spPr>
          <a:xfrm>
            <a:off x="9704901" y="2879267"/>
            <a:ext cx="796688" cy="13512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154</a:t>
            </a:r>
          </a:p>
        </p:txBody>
      </p:sp>
      <p:sp>
        <p:nvSpPr>
          <p:cNvPr id="1055" name="Rectangle 1054">
            <a:extLst>
              <a:ext uri="{FF2B5EF4-FFF2-40B4-BE49-F238E27FC236}">
                <a16:creationId xmlns:a16="http://schemas.microsoft.com/office/drawing/2014/main" id="{F7B0F23C-8F86-927D-0684-1B9FFDBF2FF1}"/>
              </a:ext>
            </a:extLst>
          </p:cNvPr>
          <p:cNvSpPr>
            <a:spLocks/>
          </p:cNvSpPr>
          <p:nvPr/>
        </p:nvSpPr>
        <p:spPr>
          <a:xfrm>
            <a:off x="7174991" y="2234624"/>
            <a:ext cx="4712207" cy="833697"/>
          </a:xfrm>
          <a:prstGeom prst="rect">
            <a:avLst/>
          </a:prstGeom>
          <a:no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CA" sz="1400" b="0" i="0" u="none" strike="noStrike" kern="1200" cap="none" spc="0" normalizeH="0" baseline="0" noProof="0" dirty="0" err="1">
              <a:ln>
                <a:noFill/>
              </a:ln>
              <a:solidFill>
                <a:srgbClr val="2A516C"/>
              </a:solidFill>
              <a:effectLst/>
              <a:uLnTx/>
              <a:uFillTx/>
              <a:latin typeface="Calibri" panose="020F0502020204030204" pitchFamily="34" charset="0"/>
              <a:ea typeface="ＭＳ Ｐゴシック"/>
              <a:cs typeface="Calibri" panose="020F0502020204030204" pitchFamily="34" charset="0"/>
            </a:endParaRPr>
          </a:p>
        </p:txBody>
      </p:sp>
      <p:sp>
        <p:nvSpPr>
          <p:cNvPr id="1056" name="TextBox 1055">
            <a:extLst>
              <a:ext uri="{FF2B5EF4-FFF2-40B4-BE49-F238E27FC236}">
                <a16:creationId xmlns:a16="http://schemas.microsoft.com/office/drawing/2014/main" id="{7F9AD6BC-E650-7D16-2477-8F96CA86DA2C}"/>
              </a:ext>
            </a:extLst>
          </p:cNvPr>
          <p:cNvSpPr txBox="1">
            <a:spLocks/>
          </p:cNvSpPr>
          <p:nvPr/>
        </p:nvSpPr>
        <p:spPr>
          <a:xfrm>
            <a:off x="10682552" y="2879111"/>
            <a:ext cx="1125550" cy="13512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2015</a:t>
            </a:r>
          </a:p>
        </p:txBody>
      </p:sp>
      <p:grpSp>
        <p:nvGrpSpPr>
          <p:cNvPr id="52" name="Group 51">
            <a:extLst>
              <a:ext uri="{FF2B5EF4-FFF2-40B4-BE49-F238E27FC236}">
                <a16:creationId xmlns:a16="http://schemas.microsoft.com/office/drawing/2014/main" id="{B6500973-17E0-46CC-F096-2C5426F2AA4B}"/>
              </a:ext>
            </a:extLst>
          </p:cNvPr>
          <p:cNvGrpSpPr/>
          <p:nvPr/>
        </p:nvGrpSpPr>
        <p:grpSpPr>
          <a:xfrm>
            <a:off x="346075" y="2206439"/>
            <a:ext cx="5524265" cy="884613"/>
            <a:chOff x="346075" y="2462031"/>
            <a:chExt cx="5524265" cy="884613"/>
          </a:xfrm>
        </p:grpSpPr>
        <p:sp>
          <p:nvSpPr>
            <p:cNvPr id="43" name="Rectangle 8">
              <a:extLst>
                <a:ext uri="{FF2B5EF4-FFF2-40B4-BE49-F238E27FC236}">
                  <a16:creationId xmlns:a16="http://schemas.microsoft.com/office/drawing/2014/main" id="{F8D474FE-B311-2170-5018-2B21548A87C7}"/>
                </a:ext>
              </a:extLst>
            </p:cNvPr>
            <p:cNvSpPr txBox="1">
              <a:spLocks/>
            </p:cNvSpPr>
            <p:nvPr>
              <p:custDataLst>
                <p:tags r:id="rId63"/>
              </p:custDataLst>
            </p:nvPr>
          </p:nvSpPr>
          <p:spPr>
            <a:xfrm>
              <a:off x="346075" y="2462031"/>
              <a:ext cx="1194435" cy="884613"/>
            </a:xfrm>
            <a:prstGeom prst="rect">
              <a:avLst/>
            </a:prstGeom>
            <a:solidFill>
              <a:schemeClr val="accent1"/>
            </a:solidFill>
            <a:ln w="9525">
              <a:noFill/>
              <a:miter lim="800000"/>
              <a:headEnd/>
              <a:tailEnd/>
            </a:ln>
            <a:effectLst/>
          </p:spPr>
          <p:txBody>
            <a:bodyPr vert="horz" wrap="square" lIns="36576" tIns="76200" rIns="36576" bIns="76200" numCol="1" anchor="ctr"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Country overview</a:t>
              </a:r>
              <a:endParaRPr kumimoji="0" lang="en-CA"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endParaRPr>
            </a:p>
          </p:txBody>
        </p:sp>
        <p:grpSp>
          <p:nvGrpSpPr>
            <p:cNvPr id="117" name="Group 116">
              <a:extLst>
                <a:ext uri="{FF2B5EF4-FFF2-40B4-BE49-F238E27FC236}">
                  <a16:creationId xmlns:a16="http://schemas.microsoft.com/office/drawing/2014/main" id="{0D700741-E291-821A-8C10-BB317B1AF13D}"/>
                </a:ext>
              </a:extLst>
            </p:cNvPr>
            <p:cNvGrpSpPr/>
            <p:nvPr/>
          </p:nvGrpSpPr>
          <p:grpSpPr>
            <a:xfrm>
              <a:off x="1615442" y="2462031"/>
              <a:ext cx="4254898" cy="138499"/>
              <a:chOff x="1615442" y="2734812"/>
              <a:chExt cx="4254898" cy="138499"/>
            </a:xfrm>
          </p:grpSpPr>
          <p:sp>
            <p:nvSpPr>
              <p:cNvPr id="149" name="TextBox 148">
                <a:extLst>
                  <a:ext uri="{FF2B5EF4-FFF2-40B4-BE49-F238E27FC236}">
                    <a16:creationId xmlns:a16="http://schemas.microsoft.com/office/drawing/2014/main" id="{AE99F63B-9356-119E-2124-9025192EC592}"/>
                  </a:ext>
                </a:extLst>
              </p:cNvPr>
              <p:cNvSpPr txBox="1">
                <a:spLocks/>
              </p:cNvSpPr>
              <p:nvPr/>
            </p:nvSpPr>
            <p:spPr>
              <a:xfrm>
                <a:off x="1615442" y="2734812"/>
                <a:ext cx="913446" cy="13493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Population:</a:t>
                </a:r>
              </a:p>
            </p:txBody>
          </p:sp>
          <p:sp>
            <p:nvSpPr>
              <p:cNvPr id="150" name="TextBox 149">
                <a:extLst>
                  <a:ext uri="{FF2B5EF4-FFF2-40B4-BE49-F238E27FC236}">
                    <a16:creationId xmlns:a16="http://schemas.microsoft.com/office/drawing/2014/main" id="{AB7C5F20-D7EE-1CF5-FE7D-7AAB651A0DE7}"/>
                  </a:ext>
                </a:extLst>
              </p:cNvPr>
              <p:cNvSpPr txBox="1">
                <a:spLocks/>
              </p:cNvSpPr>
              <p:nvPr/>
            </p:nvSpPr>
            <p:spPr>
              <a:xfrm>
                <a:off x="2600326" y="2734812"/>
                <a:ext cx="3270014" cy="138499"/>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32 M</a:t>
                </a:r>
              </a:p>
            </p:txBody>
          </p:sp>
        </p:grpSp>
        <p:grpSp>
          <p:nvGrpSpPr>
            <p:cNvPr id="118" name="Group 117">
              <a:extLst>
                <a:ext uri="{FF2B5EF4-FFF2-40B4-BE49-F238E27FC236}">
                  <a16:creationId xmlns:a16="http://schemas.microsoft.com/office/drawing/2014/main" id="{75D92D83-F78D-2A33-183E-21E55BE40F5E}"/>
                </a:ext>
              </a:extLst>
            </p:cNvPr>
            <p:cNvGrpSpPr/>
            <p:nvPr/>
          </p:nvGrpSpPr>
          <p:grpSpPr>
            <a:xfrm>
              <a:off x="1615442" y="2611966"/>
              <a:ext cx="4254898" cy="134938"/>
              <a:chOff x="1615442" y="2884747"/>
              <a:chExt cx="4254898" cy="134938"/>
            </a:xfrm>
          </p:grpSpPr>
          <p:sp>
            <p:nvSpPr>
              <p:cNvPr id="152" name="TextBox 151">
                <a:extLst>
                  <a:ext uri="{FF2B5EF4-FFF2-40B4-BE49-F238E27FC236}">
                    <a16:creationId xmlns:a16="http://schemas.microsoft.com/office/drawing/2014/main" id="{313CD90E-654F-4BD9-14E0-95192A35D357}"/>
                  </a:ext>
                </a:extLst>
              </p:cNvPr>
              <p:cNvSpPr txBox="1">
                <a:spLocks/>
              </p:cNvSpPr>
              <p:nvPr/>
            </p:nvSpPr>
            <p:spPr>
              <a:xfrm>
                <a:off x="1615442" y="2884747"/>
                <a:ext cx="913446" cy="13493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Language:</a:t>
                </a:r>
              </a:p>
            </p:txBody>
          </p:sp>
          <p:sp>
            <p:nvSpPr>
              <p:cNvPr id="153" name="TextBox 152">
                <a:extLst>
                  <a:ext uri="{FF2B5EF4-FFF2-40B4-BE49-F238E27FC236}">
                    <a16:creationId xmlns:a16="http://schemas.microsoft.com/office/drawing/2014/main" id="{E254005B-DA49-EDF3-48A6-CCA356330855}"/>
                  </a:ext>
                </a:extLst>
              </p:cNvPr>
              <p:cNvSpPr txBox="1">
                <a:spLocks/>
              </p:cNvSpPr>
              <p:nvPr/>
            </p:nvSpPr>
            <p:spPr>
              <a:xfrm>
                <a:off x="2600326" y="2884747"/>
                <a:ext cx="3270014" cy="134938"/>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Spanish</a:t>
                </a:r>
              </a:p>
            </p:txBody>
          </p:sp>
        </p:grpSp>
        <p:grpSp>
          <p:nvGrpSpPr>
            <p:cNvPr id="119" name="Group 118">
              <a:extLst>
                <a:ext uri="{FF2B5EF4-FFF2-40B4-BE49-F238E27FC236}">
                  <a16:creationId xmlns:a16="http://schemas.microsoft.com/office/drawing/2014/main" id="{E3276519-0FBA-B8DD-DEB5-94D4112A275E}"/>
                </a:ext>
              </a:extLst>
            </p:cNvPr>
            <p:cNvGrpSpPr/>
            <p:nvPr/>
          </p:nvGrpSpPr>
          <p:grpSpPr>
            <a:xfrm>
              <a:off x="1615442" y="2758340"/>
              <a:ext cx="4254898" cy="138499"/>
              <a:chOff x="1615442" y="3031121"/>
              <a:chExt cx="4254898" cy="138499"/>
            </a:xfrm>
          </p:grpSpPr>
          <p:sp>
            <p:nvSpPr>
              <p:cNvPr id="155" name="TextBox 154">
                <a:extLst>
                  <a:ext uri="{FF2B5EF4-FFF2-40B4-BE49-F238E27FC236}">
                    <a16:creationId xmlns:a16="http://schemas.microsoft.com/office/drawing/2014/main" id="{E1CEF0DF-2075-199B-7D67-0C756649C778}"/>
                  </a:ext>
                </a:extLst>
              </p:cNvPr>
              <p:cNvSpPr txBox="1">
                <a:spLocks/>
              </p:cNvSpPr>
              <p:nvPr/>
            </p:nvSpPr>
            <p:spPr>
              <a:xfrm>
                <a:off x="1615442" y="3031121"/>
                <a:ext cx="913446" cy="13493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Currency:</a:t>
                </a:r>
              </a:p>
            </p:txBody>
          </p:sp>
          <p:sp>
            <p:nvSpPr>
              <p:cNvPr id="156" name="TextBox 155">
                <a:extLst>
                  <a:ext uri="{FF2B5EF4-FFF2-40B4-BE49-F238E27FC236}">
                    <a16:creationId xmlns:a16="http://schemas.microsoft.com/office/drawing/2014/main" id="{E8E68DDD-ED49-C541-1AE5-B7EEC7DC9112}"/>
                  </a:ext>
                </a:extLst>
              </p:cNvPr>
              <p:cNvSpPr txBox="1">
                <a:spLocks/>
              </p:cNvSpPr>
              <p:nvPr/>
            </p:nvSpPr>
            <p:spPr>
              <a:xfrm>
                <a:off x="2600326" y="3031121"/>
                <a:ext cx="3270014" cy="138499"/>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Nuevo Sol (PEN)</a:t>
                </a:r>
              </a:p>
            </p:txBody>
          </p:sp>
        </p:grpSp>
        <p:grpSp>
          <p:nvGrpSpPr>
            <p:cNvPr id="120" name="Group 119">
              <a:extLst>
                <a:ext uri="{FF2B5EF4-FFF2-40B4-BE49-F238E27FC236}">
                  <a16:creationId xmlns:a16="http://schemas.microsoft.com/office/drawing/2014/main" id="{35AFA302-D84E-EE58-CF86-DF61DA597128}"/>
                </a:ext>
              </a:extLst>
            </p:cNvPr>
            <p:cNvGrpSpPr/>
            <p:nvPr/>
          </p:nvGrpSpPr>
          <p:grpSpPr>
            <a:xfrm>
              <a:off x="1615442" y="2908275"/>
              <a:ext cx="4254898" cy="138499"/>
              <a:chOff x="1615442" y="3181056"/>
              <a:chExt cx="4254898" cy="138499"/>
            </a:xfrm>
          </p:grpSpPr>
          <p:sp>
            <p:nvSpPr>
              <p:cNvPr id="159" name="TextBox 158">
                <a:extLst>
                  <a:ext uri="{FF2B5EF4-FFF2-40B4-BE49-F238E27FC236}">
                    <a16:creationId xmlns:a16="http://schemas.microsoft.com/office/drawing/2014/main" id="{E77F8775-5EF5-5DA0-F571-01185669986D}"/>
                  </a:ext>
                </a:extLst>
              </p:cNvPr>
              <p:cNvSpPr txBox="1">
                <a:spLocks/>
              </p:cNvSpPr>
              <p:nvPr/>
            </p:nvSpPr>
            <p:spPr>
              <a:xfrm>
                <a:off x="1615442" y="3181056"/>
                <a:ext cx="913446"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Exchange rate:</a:t>
                </a:r>
              </a:p>
            </p:txBody>
          </p:sp>
          <p:sp>
            <p:nvSpPr>
              <p:cNvPr id="160" name="TextBox 159">
                <a:extLst>
                  <a:ext uri="{FF2B5EF4-FFF2-40B4-BE49-F238E27FC236}">
                    <a16:creationId xmlns:a16="http://schemas.microsoft.com/office/drawing/2014/main" id="{8D2084E0-1F0A-EA53-2101-573D4A0B7D35}"/>
                  </a:ext>
                </a:extLst>
              </p:cNvPr>
              <p:cNvSpPr txBox="1">
                <a:spLocks/>
              </p:cNvSpPr>
              <p:nvPr/>
            </p:nvSpPr>
            <p:spPr>
              <a:xfrm>
                <a:off x="2600326" y="3181056"/>
                <a:ext cx="3270014" cy="138499"/>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1 USD = 3.84 PEN</a:t>
                </a:r>
              </a:p>
            </p:txBody>
          </p:sp>
        </p:grpSp>
        <p:grpSp>
          <p:nvGrpSpPr>
            <p:cNvPr id="122" name="Group 121">
              <a:extLst>
                <a:ext uri="{FF2B5EF4-FFF2-40B4-BE49-F238E27FC236}">
                  <a16:creationId xmlns:a16="http://schemas.microsoft.com/office/drawing/2014/main" id="{1B8844CB-0FC0-9D73-DA72-21471BD615A7}"/>
                </a:ext>
              </a:extLst>
            </p:cNvPr>
            <p:cNvGrpSpPr/>
            <p:nvPr/>
          </p:nvGrpSpPr>
          <p:grpSpPr>
            <a:xfrm>
              <a:off x="1615442" y="3058210"/>
              <a:ext cx="4254898" cy="138499"/>
              <a:chOff x="1615442" y="3330991"/>
              <a:chExt cx="4254898" cy="138499"/>
            </a:xfrm>
          </p:grpSpPr>
          <p:sp>
            <p:nvSpPr>
              <p:cNvPr id="162" name="TextBox 161">
                <a:extLst>
                  <a:ext uri="{FF2B5EF4-FFF2-40B4-BE49-F238E27FC236}">
                    <a16:creationId xmlns:a16="http://schemas.microsoft.com/office/drawing/2014/main" id="{76B76856-C654-E263-B4BA-6F7F2F92C6D5}"/>
                  </a:ext>
                </a:extLst>
              </p:cNvPr>
              <p:cNvSpPr txBox="1">
                <a:spLocks/>
              </p:cNvSpPr>
              <p:nvPr/>
            </p:nvSpPr>
            <p:spPr>
              <a:xfrm>
                <a:off x="1615442" y="3330991"/>
                <a:ext cx="913446" cy="13652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Unemployment:</a:t>
                </a:r>
              </a:p>
            </p:txBody>
          </p:sp>
          <p:sp>
            <p:nvSpPr>
              <p:cNvPr id="163" name="TextBox 162">
                <a:extLst>
                  <a:ext uri="{FF2B5EF4-FFF2-40B4-BE49-F238E27FC236}">
                    <a16:creationId xmlns:a16="http://schemas.microsoft.com/office/drawing/2014/main" id="{5056F202-CE90-6AAF-63E3-548B804AE4F1}"/>
                  </a:ext>
                </a:extLst>
              </p:cNvPr>
              <p:cNvSpPr txBox="1">
                <a:spLocks/>
              </p:cNvSpPr>
              <p:nvPr/>
            </p:nvSpPr>
            <p:spPr>
              <a:xfrm>
                <a:off x="2600326" y="3330991"/>
                <a:ext cx="3270014" cy="138499"/>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3.66 (2022)</a:t>
                </a:r>
              </a:p>
            </p:txBody>
          </p:sp>
        </p:grpSp>
        <p:grpSp>
          <p:nvGrpSpPr>
            <p:cNvPr id="121" name="Group 120">
              <a:extLst>
                <a:ext uri="{FF2B5EF4-FFF2-40B4-BE49-F238E27FC236}">
                  <a16:creationId xmlns:a16="http://schemas.microsoft.com/office/drawing/2014/main" id="{6996271A-FA53-38D8-C9B4-8E1C1D06E063}"/>
                </a:ext>
              </a:extLst>
            </p:cNvPr>
            <p:cNvGrpSpPr/>
            <p:nvPr/>
          </p:nvGrpSpPr>
          <p:grpSpPr>
            <a:xfrm>
              <a:off x="1615442" y="3208145"/>
              <a:ext cx="4254898" cy="138499"/>
              <a:chOff x="1615442" y="3480926"/>
              <a:chExt cx="4254898" cy="138499"/>
            </a:xfrm>
          </p:grpSpPr>
          <p:sp>
            <p:nvSpPr>
              <p:cNvPr id="165" name="TextBox 164">
                <a:extLst>
                  <a:ext uri="{FF2B5EF4-FFF2-40B4-BE49-F238E27FC236}">
                    <a16:creationId xmlns:a16="http://schemas.microsoft.com/office/drawing/2014/main" id="{444C5EFD-7B02-49E1-5490-7F10EC8CD8AC}"/>
                  </a:ext>
                </a:extLst>
              </p:cNvPr>
              <p:cNvSpPr txBox="1">
                <a:spLocks/>
              </p:cNvSpPr>
              <p:nvPr/>
            </p:nvSpPr>
            <p:spPr>
              <a:xfrm>
                <a:off x="1615442" y="3480926"/>
                <a:ext cx="913446"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Inflation (CPI):</a:t>
                </a:r>
              </a:p>
            </p:txBody>
          </p:sp>
          <p:sp>
            <p:nvSpPr>
              <p:cNvPr id="166" name="TextBox 165">
                <a:extLst>
                  <a:ext uri="{FF2B5EF4-FFF2-40B4-BE49-F238E27FC236}">
                    <a16:creationId xmlns:a16="http://schemas.microsoft.com/office/drawing/2014/main" id="{0740A040-C3E7-6D3E-153A-B12C72258648}"/>
                  </a:ext>
                </a:extLst>
              </p:cNvPr>
              <p:cNvSpPr txBox="1">
                <a:spLocks/>
              </p:cNvSpPr>
              <p:nvPr/>
            </p:nvSpPr>
            <p:spPr>
              <a:xfrm>
                <a:off x="2600326" y="3480926"/>
                <a:ext cx="3270014" cy="138499"/>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2.5% (2022)</a:t>
                </a:r>
              </a:p>
            </p:txBody>
          </p:sp>
        </p:grpSp>
        <p:pic>
          <p:nvPicPr>
            <p:cNvPr id="7" name="Picture 6">
              <a:extLst>
                <a:ext uri="{FF2B5EF4-FFF2-40B4-BE49-F238E27FC236}">
                  <a16:creationId xmlns:a16="http://schemas.microsoft.com/office/drawing/2014/main" id="{874C17B3-2DB9-F37F-B00B-659585017B95}"/>
                </a:ext>
              </a:extLst>
            </p:cNvPr>
            <p:cNvPicPr>
              <a:picLocks/>
            </p:cNvPicPr>
            <p:nvPr/>
          </p:nvPicPr>
          <p:blipFill>
            <a:blip r:embed="rId73" cstate="screen">
              <a:extLst>
                <a:ext uri="{28A0092B-C50C-407E-A947-70E740481C1C}">
                  <a14:useLocalDpi xmlns:a14="http://schemas.microsoft.com/office/drawing/2010/main"/>
                </a:ext>
              </a:extLst>
            </a:blip>
            <a:stretch>
              <a:fillRect/>
            </a:stretch>
          </p:blipFill>
          <p:spPr>
            <a:xfrm>
              <a:off x="1615441" y="2462031"/>
              <a:ext cx="259080" cy="167383"/>
            </a:xfrm>
            <a:prstGeom prst="rect">
              <a:avLst/>
            </a:prstGeom>
            <a:ln>
              <a:solidFill>
                <a:srgbClr val="CCCCCC"/>
              </a:solidFill>
            </a:ln>
          </p:spPr>
        </p:pic>
        <p:sp>
          <p:nvSpPr>
            <p:cNvPr id="21" name="Freeform: Shape 20">
              <a:extLst>
                <a:ext uri="{FF2B5EF4-FFF2-40B4-BE49-F238E27FC236}">
                  <a16:creationId xmlns:a16="http://schemas.microsoft.com/office/drawing/2014/main" id="{B5525F6C-1774-F076-30A3-326B6C96CB45}"/>
                </a:ext>
              </a:extLst>
            </p:cNvPr>
            <p:cNvSpPr/>
            <p:nvPr/>
          </p:nvSpPr>
          <p:spPr>
            <a:xfrm>
              <a:off x="4319588" y="2551382"/>
              <a:ext cx="1144587" cy="620712"/>
            </a:xfrm>
            <a:custGeom>
              <a:avLst/>
              <a:gdLst>
                <a:gd name="connsiteX0" fmla="*/ 0 w 1144587"/>
                <a:gd name="connsiteY0" fmla="*/ 0 h 620712"/>
                <a:gd name="connsiteX1" fmla="*/ 0 w 1144587"/>
                <a:gd name="connsiteY1" fmla="*/ 620712 h 620712"/>
                <a:gd name="connsiteX2" fmla="*/ 1144587 w 1144587"/>
                <a:gd name="connsiteY2" fmla="*/ 280987 h 620712"/>
                <a:gd name="connsiteX3" fmla="*/ 1066800 w 1144587"/>
                <a:gd name="connsiteY3" fmla="*/ 142875 h 620712"/>
                <a:gd name="connsiteX4" fmla="*/ 0 w 1144587"/>
                <a:gd name="connsiteY4" fmla="*/ 0 h 6207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4587" h="620712">
                  <a:moveTo>
                    <a:pt x="0" y="0"/>
                  </a:moveTo>
                  <a:lnTo>
                    <a:pt x="0" y="620712"/>
                  </a:lnTo>
                  <a:lnTo>
                    <a:pt x="1144587" y="280987"/>
                  </a:lnTo>
                  <a:lnTo>
                    <a:pt x="1066800" y="142875"/>
                  </a:lnTo>
                  <a:lnTo>
                    <a:pt x="0" y="0"/>
                  </a:lnTo>
                  <a:close/>
                </a:path>
              </a:pathLst>
            </a:cu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30" name="Group 29">
              <a:extLst>
                <a:ext uri="{FF2B5EF4-FFF2-40B4-BE49-F238E27FC236}">
                  <a16:creationId xmlns:a16="http://schemas.microsoft.com/office/drawing/2014/main" id="{01DCF41D-C81B-9E91-E9BE-BB08DC5EDC92}"/>
                </a:ext>
              </a:extLst>
            </p:cNvPr>
            <p:cNvGrpSpPr/>
            <p:nvPr/>
          </p:nvGrpSpPr>
          <p:grpSpPr>
            <a:xfrm>
              <a:off x="3740224" y="2478886"/>
              <a:ext cx="2130116" cy="850903"/>
              <a:chOff x="3957324" y="2769132"/>
              <a:chExt cx="2130116" cy="850903"/>
            </a:xfrm>
          </p:grpSpPr>
          <p:sp>
            <p:nvSpPr>
              <p:cNvPr id="11" name="Freeform 11">
                <a:extLst>
                  <a:ext uri="{FF2B5EF4-FFF2-40B4-BE49-F238E27FC236}">
                    <a16:creationId xmlns:a16="http://schemas.microsoft.com/office/drawing/2014/main" id="{ED43C623-77B2-0000-B9F1-AF0F22E61AA1}"/>
                  </a:ext>
                </a:extLst>
              </p:cNvPr>
              <p:cNvSpPr>
                <a:spLocks noEditPoints="1"/>
              </p:cNvSpPr>
              <p:nvPr/>
            </p:nvSpPr>
            <p:spPr bwMode="auto">
              <a:xfrm>
                <a:off x="5648622" y="3168297"/>
                <a:ext cx="197672" cy="435584"/>
              </a:xfrm>
              <a:custGeom>
                <a:avLst/>
                <a:gdLst>
                  <a:gd name="T0" fmla="*/ 418 w 673"/>
                  <a:gd name="T1" fmla="*/ 65 h 1483"/>
                  <a:gd name="T2" fmla="*/ 512 w 673"/>
                  <a:gd name="T3" fmla="*/ 116 h 1483"/>
                  <a:gd name="T4" fmla="*/ 527 w 673"/>
                  <a:gd name="T5" fmla="*/ 158 h 1483"/>
                  <a:gd name="T6" fmla="*/ 513 w 673"/>
                  <a:gd name="T7" fmla="*/ 204 h 1483"/>
                  <a:gd name="T8" fmla="*/ 597 w 673"/>
                  <a:gd name="T9" fmla="*/ 206 h 1483"/>
                  <a:gd name="T10" fmla="*/ 641 w 673"/>
                  <a:gd name="T11" fmla="*/ 155 h 1483"/>
                  <a:gd name="T12" fmla="*/ 668 w 673"/>
                  <a:gd name="T13" fmla="*/ 155 h 1483"/>
                  <a:gd name="T14" fmla="*/ 658 w 673"/>
                  <a:gd name="T15" fmla="*/ 204 h 1483"/>
                  <a:gd name="T16" fmla="*/ 614 w 673"/>
                  <a:gd name="T17" fmla="*/ 233 h 1483"/>
                  <a:gd name="T18" fmla="*/ 566 w 673"/>
                  <a:gd name="T19" fmla="*/ 287 h 1483"/>
                  <a:gd name="T20" fmla="*/ 529 w 673"/>
                  <a:gd name="T21" fmla="*/ 357 h 1483"/>
                  <a:gd name="T22" fmla="*/ 512 w 673"/>
                  <a:gd name="T23" fmla="*/ 440 h 1483"/>
                  <a:gd name="T24" fmla="*/ 530 w 673"/>
                  <a:gd name="T25" fmla="*/ 502 h 1483"/>
                  <a:gd name="T26" fmla="*/ 566 w 673"/>
                  <a:gd name="T27" fmla="*/ 565 h 1483"/>
                  <a:gd name="T28" fmla="*/ 532 w 673"/>
                  <a:gd name="T29" fmla="*/ 648 h 1483"/>
                  <a:gd name="T30" fmla="*/ 430 w 673"/>
                  <a:gd name="T31" fmla="*/ 677 h 1483"/>
                  <a:gd name="T32" fmla="*/ 384 w 673"/>
                  <a:gd name="T33" fmla="*/ 691 h 1483"/>
                  <a:gd name="T34" fmla="*/ 376 w 673"/>
                  <a:gd name="T35" fmla="*/ 738 h 1483"/>
                  <a:gd name="T36" fmla="*/ 320 w 673"/>
                  <a:gd name="T37" fmla="*/ 767 h 1483"/>
                  <a:gd name="T38" fmla="*/ 286 w 673"/>
                  <a:gd name="T39" fmla="*/ 774 h 1483"/>
                  <a:gd name="T40" fmla="*/ 309 w 673"/>
                  <a:gd name="T41" fmla="*/ 832 h 1483"/>
                  <a:gd name="T42" fmla="*/ 330 w 673"/>
                  <a:gd name="T43" fmla="*/ 849 h 1483"/>
                  <a:gd name="T44" fmla="*/ 311 w 673"/>
                  <a:gd name="T45" fmla="*/ 856 h 1483"/>
                  <a:gd name="T46" fmla="*/ 281 w 673"/>
                  <a:gd name="T47" fmla="*/ 920 h 1483"/>
                  <a:gd name="T48" fmla="*/ 248 w 673"/>
                  <a:gd name="T49" fmla="*/ 952 h 1483"/>
                  <a:gd name="T50" fmla="*/ 202 w 673"/>
                  <a:gd name="T51" fmla="*/ 1002 h 1483"/>
                  <a:gd name="T52" fmla="*/ 265 w 673"/>
                  <a:gd name="T53" fmla="*/ 1065 h 1483"/>
                  <a:gd name="T54" fmla="*/ 235 w 673"/>
                  <a:gd name="T55" fmla="*/ 1121 h 1483"/>
                  <a:gd name="T56" fmla="*/ 192 w 673"/>
                  <a:gd name="T57" fmla="*/ 1203 h 1483"/>
                  <a:gd name="T58" fmla="*/ 155 w 673"/>
                  <a:gd name="T59" fmla="*/ 1279 h 1483"/>
                  <a:gd name="T60" fmla="*/ 56 w 673"/>
                  <a:gd name="T61" fmla="*/ 1308 h 1483"/>
                  <a:gd name="T62" fmla="*/ 43 w 673"/>
                  <a:gd name="T63" fmla="*/ 1242 h 1483"/>
                  <a:gd name="T64" fmla="*/ 2 w 673"/>
                  <a:gd name="T65" fmla="*/ 1201 h 1483"/>
                  <a:gd name="T66" fmla="*/ 36 w 673"/>
                  <a:gd name="T67" fmla="*/ 1131 h 1483"/>
                  <a:gd name="T68" fmla="*/ 43 w 673"/>
                  <a:gd name="T69" fmla="*/ 1072 h 1483"/>
                  <a:gd name="T70" fmla="*/ 60 w 673"/>
                  <a:gd name="T71" fmla="*/ 1009 h 1483"/>
                  <a:gd name="T72" fmla="*/ 66 w 673"/>
                  <a:gd name="T73" fmla="*/ 951 h 1483"/>
                  <a:gd name="T74" fmla="*/ 85 w 673"/>
                  <a:gd name="T75" fmla="*/ 929 h 1483"/>
                  <a:gd name="T76" fmla="*/ 68 w 673"/>
                  <a:gd name="T77" fmla="*/ 886 h 1483"/>
                  <a:gd name="T78" fmla="*/ 53 w 673"/>
                  <a:gd name="T79" fmla="*/ 830 h 1483"/>
                  <a:gd name="T80" fmla="*/ 58 w 673"/>
                  <a:gd name="T81" fmla="*/ 774 h 1483"/>
                  <a:gd name="T82" fmla="*/ 65 w 673"/>
                  <a:gd name="T83" fmla="*/ 716 h 1483"/>
                  <a:gd name="T84" fmla="*/ 90 w 673"/>
                  <a:gd name="T85" fmla="*/ 663 h 1483"/>
                  <a:gd name="T86" fmla="*/ 83 w 673"/>
                  <a:gd name="T87" fmla="*/ 597 h 1483"/>
                  <a:gd name="T88" fmla="*/ 107 w 673"/>
                  <a:gd name="T89" fmla="*/ 554 h 1483"/>
                  <a:gd name="T90" fmla="*/ 119 w 673"/>
                  <a:gd name="T91" fmla="*/ 486 h 1483"/>
                  <a:gd name="T92" fmla="*/ 121 w 673"/>
                  <a:gd name="T93" fmla="*/ 427 h 1483"/>
                  <a:gd name="T94" fmla="*/ 104 w 673"/>
                  <a:gd name="T95" fmla="*/ 354 h 1483"/>
                  <a:gd name="T96" fmla="*/ 126 w 673"/>
                  <a:gd name="T97" fmla="*/ 304 h 1483"/>
                  <a:gd name="T98" fmla="*/ 138 w 673"/>
                  <a:gd name="T99" fmla="*/ 243 h 1483"/>
                  <a:gd name="T100" fmla="*/ 175 w 673"/>
                  <a:gd name="T101" fmla="*/ 196 h 1483"/>
                  <a:gd name="T102" fmla="*/ 170 w 673"/>
                  <a:gd name="T103" fmla="*/ 110 h 1483"/>
                  <a:gd name="T104" fmla="*/ 253 w 673"/>
                  <a:gd name="T105" fmla="*/ 2 h 1483"/>
                  <a:gd name="T106" fmla="*/ 315 w 673"/>
                  <a:gd name="T107" fmla="*/ 32 h 1483"/>
                  <a:gd name="T108" fmla="*/ 180 w 673"/>
                  <a:gd name="T109" fmla="*/ 1362 h 1483"/>
                  <a:gd name="T110" fmla="*/ 213 w 673"/>
                  <a:gd name="T111" fmla="*/ 1425 h 1483"/>
                  <a:gd name="T112" fmla="*/ 282 w 673"/>
                  <a:gd name="T113" fmla="*/ 1466 h 1483"/>
                  <a:gd name="T114" fmla="*/ 223 w 673"/>
                  <a:gd name="T115" fmla="*/ 1475 h 1483"/>
                  <a:gd name="T116" fmla="*/ 320 w 673"/>
                  <a:gd name="T117" fmla="*/ 1465 h 1483"/>
                  <a:gd name="T118" fmla="*/ 301 w 673"/>
                  <a:gd name="T119" fmla="*/ 1466 h 1483"/>
                  <a:gd name="T120" fmla="*/ 206 w 673"/>
                  <a:gd name="T121" fmla="*/ 1473 h 1483"/>
                  <a:gd name="T122" fmla="*/ 269 w 673"/>
                  <a:gd name="T123" fmla="*/ 954 h 1483"/>
                  <a:gd name="T124" fmla="*/ 383 w 673"/>
                  <a:gd name="T125" fmla="*/ 721 h 1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73" h="1483">
                    <a:moveTo>
                      <a:pt x="369" y="17"/>
                    </a:moveTo>
                    <a:lnTo>
                      <a:pt x="371" y="17"/>
                    </a:lnTo>
                    <a:lnTo>
                      <a:pt x="371" y="19"/>
                    </a:lnTo>
                    <a:lnTo>
                      <a:pt x="369" y="19"/>
                    </a:lnTo>
                    <a:lnTo>
                      <a:pt x="371" y="19"/>
                    </a:lnTo>
                    <a:lnTo>
                      <a:pt x="372" y="20"/>
                    </a:lnTo>
                    <a:lnTo>
                      <a:pt x="372" y="22"/>
                    </a:lnTo>
                    <a:lnTo>
                      <a:pt x="374" y="22"/>
                    </a:lnTo>
                    <a:lnTo>
                      <a:pt x="376" y="22"/>
                    </a:lnTo>
                    <a:lnTo>
                      <a:pt x="376" y="24"/>
                    </a:lnTo>
                    <a:lnTo>
                      <a:pt x="377" y="24"/>
                    </a:lnTo>
                    <a:lnTo>
                      <a:pt x="379" y="24"/>
                    </a:lnTo>
                    <a:lnTo>
                      <a:pt x="379" y="25"/>
                    </a:lnTo>
                    <a:lnTo>
                      <a:pt x="379" y="24"/>
                    </a:lnTo>
                    <a:lnTo>
                      <a:pt x="379" y="25"/>
                    </a:lnTo>
                    <a:lnTo>
                      <a:pt x="381" y="25"/>
                    </a:lnTo>
                    <a:lnTo>
                      <a:pt x="379" y="25"/>
                    </a:lnTo>
                    <a:lnTo>
                      <a:pt x="381" y="25"/>
                    </a:lnTo>
                    <a:lnTo>
                      <a:pt x="381" y="27"/>
                    </a:lnTo>
                    <a:lnTo>
                      <a:pt x="383" y="27"/>
                    </a:lnTo>
                    <a:lnTo>
                      <a:pt x="384" y="27"/>
                    </a:lnTo>
                    <a:lnTo>
                      <a:pt x="383" y="29"/>
                    </a:lnTo>
                    <a:lnTo>
                      <a:pt x="384" y="29"/>
                    </a:lnTo>
                    <a:lnTo>
                      <a:pt x="383" y="29"/>
                    </a:lnTo>
                    <a:lnTo>
                      <a:pt x="383" y="31"/>
                    </a:lnTo>
                    <a:lnTo>
                      <a:pt x="383" y="32"/>
                    </a:lnTo>
                    <a:lnTo>
                      <a:pt x="384" y="31"/>
                    </a:lnTo>
                    <a:lnTo>
                      <a:pt x="384" y="32"/>
                    </a:lnTo>
                    <a:lnTo>
                      <a:pt x="384" y="34"/>
                    </a:lnTo>
                    <a:lnTo>
                      <a:pt x="384" y="36"/>
                    </a:lnTo>
                    <a:lnTo>
                      <a:pt x="386" y="37"/>
                    </a:lnTo>
                    <a:lnTo>
                      <a:pt x="388" y="39"/>
                    </a:lnTo>
                    <a:lnTo>
                      <a:pt x="388" y="41"/>
                    </a:lnTo>
                    <a:lnTo>
                      <a:pt x="389" y="42"/>
                    </a:lnTo>
                    <a:lnTo>
                      <a:pt x="389" y="44"/>
                    </a:lnTo>
                    <a:lnTo>
                      <a:pt x="391" y="44"/>
                    </a:lnTo>
                    <a:lnTo>
                      <a:pt x="391" y="46"/>
                    </a:lnTo>
                    <a:lnTo>
                      <a:pt x="393" y="46"/>
                    </a:lnTo>
                    <a:lnTo>
                      <a:pt x="394" y="48"/>
                    </a:lnTo>
                    <a:lnTo>
                      <a:pt x="396" y="48"/>
                    </a:lnTo>
                    <a:lnTo>
                      <a:pt x="396" y="49"/>
                    </a:lnTo>
                    <a:lnTo>
                      <a:pt x="398" y="49"/>
                    </a:lnTo>
                    <a:lnTo>
                      <a:pt x="398" y="51"/>
                    </a:lnTo>
                    <a:lnTo>
                      <a:pt x="400" y="51"/>
                    </a:lnTo>
                    <a:lnTo>
                      <a:pt x="400" y="53"/>
                    </a:lnTo>
                    <a:lnTo>
                      <a:pt x="401" y="53"/>
                    </a:lnTo>
                    <a:lnTo>
                      <a:pt x="401" y="54"/>
                    </a:lnTo>
                    <a:lnTo>
                      <a:pt x="403" y="54"/>
                    </a:lnTo>
                    <a:lnTo>
                      <a:pt x="405" y="54"/>
                    </a:lnTo>
                    <a:lnTo>
                      <a:pt x="405" y="56"/>
                    </a:lnTo>
                    <a:lnTo>
                      <a:pt x="406" y="56"/>
                    </a:lnTo>
                    <a:lnTo>
                      <a:pt x="406" y="58"/>
                    </a:lnTo>
                    <a:lnTo>
                      <a:pt x="408" y="58"/>
                    </a:lnTo>
                    <a:lnTo>
                      <a:pt x="408" y="59"/>
                    </a:lnTo>
                    <a:lnTo>
                      <a:pt x="410" y="59"/>
                    </a:lnTo>
                    <a:lnTo>
                      <a:pt x="410" y="61"/>
                    </a:lnTo>
                    <a:lnTo>
                      <a:pt x="411" y="61"/>
                    </a:lnTo>
                    <a:lnTo>
                      <a:pt x="413" y="61"/>
                    </a:lnTo>
                    <a:lnTo>
                      <a:pt x="415" y="61"/>
                    </a:lnTo>
                    <a:lnTo>
                      <a:pt x="415" y="63"/>
                    </a:lnTo>
                    <a:lnTo>
                      <a:pt x="417" y="63"/>
                    </a:lnTo>
                    <a:lnTo>
                      <a:pt x="417" y="65"/>
                    </a:lnTo>
                    <a:lnTo>
                      <a:pt x="418" y="65"/>
                    </a:lnTo>
                    <a:lnTo>
                      <a:pt x="420" y="65"/>
                    </a:lnTo>
                    <a:lnTo>
                      <a:pt x="420" y="66"/>
                    </a:lnTo>
                    <a:lnTo>
                      <a:pt x="422" y="66"/>
                    </a:lnTo>
                    <a:lnTo>
                      <a:pt x="422" y="68"/>
                    </a:lnTo>
                    <a:lnTo>
                      <a:pt x="422" y="70"/>
                    </a:lnTo>
                    <a:lnTo>
                      <a:pt x="423" y="70"/>
                    </a:lnTo>
                    <a:lnTo>
                      <a:pt x="423" y="71"/>
                    </a:lnTo>
                    <a:lnTo>
                      <a:pt x="425" y="73"/>
                    </a:lnTo>
                    <a:lnTo>
                      <a:pt x="425" y="75"/>
                    </a:lnTo>
                    <a:lnTo>
                      <a:pt x="427" y="75"/>
                    </a:lnTo>
                    <a:lnTo>
                      <a:pt x="427" y="73"/>
                    </a:lnTo>
                    <a:lnTo>
                      <a:pt x="428" y="75"/>
                    </a:lnTo>
                    <a:lnTo>
                      <a:pt x="430" y="76"/>
                    </a:lnTo>
                    <a:lnTo>
                      <a:pt x="432" y="76"/>
                    </a:lnTo>
                    <a:lnTo>
                      <a:pt x="434" y="76"/>
                    </a:lnTo>
                    <a:lnTo>
                      <a:pt x="435" y="76"/>
                    </a:lnTo>
                    <a:lnTo>
                      <a:pt x="435" y="78"/>
                    </a:lnTo>
                    <a:lnTo>
                      <a:pt x="437" y="78"/>
                    </a:lnTo>
                    <a:lnTo>
                      <a:pt x="439" y="78"/>
                    </a:lnTo>
                    <a:lnTo>
                      <a:pt x="439" y="80"/>
                    </a:lnTo>
                    <a:lnTo>
                      <a:pt x="440" y="80"/>
                    </a:lnTo>
                    <a:lnTo>
                      <a:pt x="442" y="80"/>
                    </a:lnTo>
                    <a:lnTo>
                      <a:pt x="444" y="80"/>
                    </a:lnTo>
                    <a:lnTo>
                      <a:pt x="445" y="80"/>
                    </a:lnTo>
                    <a:lnTo>
                      <a:pt x="445" y="82"/>
                    </a:lnTo>
                    <a:lnTo>
                      <a:pt x="447" y="82"/>
                    </a:lnTo>
                    <a:lnTo>
                      <a:pt x="449" y="83"/>
                    </a:lnTo>
                    <a:lnTo>
                      <a:pt x="451" y="83"/>
                    </a:lnTo>
                    <a:lnTo>
                      <a:pt x="452" y="83"/>
                    </a:lnTo>
                    <a:lnTo>
                      <a:pt x="454" y="83"/>
                    </a:lnTo>
                    <a:lnTo>
                      <a:pt x="456" y="82"/>
                    </a:lnTo>
                    <a:lnTo>
                      <a:pt x="457" y="82"/>
                    </a:lnTo>
                    <a:lnTo>
                      <a:pt x="466" y="87"/>
                    </a:lnTo>
                    <a:lnTo>
                      <a:pt x="473" y="92"/>
                    </a:lnTo>
                    <a:lnTo>
                      <a:pt x="476" y="93"/>
                    </a:lnTo>
                    <a:lnTo>
                      <a:pt x="478" y="95"/>
                    </a:lnTo>
                    <a:lnTo>
                      <a:pt x="478" y="97"/>
                    </a:lnTo>
                    <a:lnTo>
                      <a:pt x="479" y="97"/>
                    </a:lnTo>
                    <a:lnTo>
                      <a:pt x="481" y="99"/>
                    </a:lnTo>
                    <a:lnTo>
                      <a:pt x="483" y="100"/>
                    </a:lnTo>
                    <a:lnTo>
                      <a:pt x="485" y="100"/>
                    </a:lnTo>
                    <a:lnTo>
                      <a:pt x="485" y="102"/>
                    </a:lnTo>
                    <a:lnTo>
                      <a:pt x="486" y="102"/>
                    </a:lnTo>
                    <a:lnTo>
                      <a:pt x="488" y="104"/>
                    </a:lnTo>
                    <a:lnTo>
                      <a:pt x="490" y="104"/>
                    </a:lnTo>
                    <a:lnTo>
                      <a:pt x="491" y="105"/>
                    </a:lnTo>
                    <a:lnTo>
                      <a:pt x="493" y="105"/>
                    </a:lnTo>
                    <a:lnTo>
                      <a:pt x="495" y="107"/>
                    </a:lnTo>
                    <a:lnTo>
                      <a:pt x="496" y="107"/>
                    </a:lnTo>
                    <a:lnTo>
                      <a:pt x="496" y="109"/>
                    </a:lnTo>
                    <a:lnTo>
                      <a:pt x="498" y="109"/>
                    </a:lnTo>
                    <a:lnTo>
                      <a:pt x="498" y="110"/>
                    </a:lnTo>
                    <a:lnTo>
                      <a:pt x="500" y="110"/>
                    </a:lnTo>
                    <a:lnTo>
                      <a:pt x="502" y="110"/>
                    </a:lnTo>
                    <a:lnTo>
                      <a:pt x="503" y="110"/>
                    </a:lnTo>
                    <a:lnTo>
                      <a:pt x="503" y="112"/>
                    </a:lnTo>
                    <a:lnTo>
                      <a:pt x="505" y="112"/>
                    </a:lnTo>
                    <a:lnTo>
                      <a:pt x="507" y="112"/>
                    </a:lnTo>
                    <a:lnTo>
                      <a:pt x="508" y="112"/>
                    </a:lnTo>
                    <a:lnTo>
                      <a:pt x="510" y="112"/>
                    </a:lnTo>
                    <a:lnTo>
                      <a:pt x="510" y="114"/>
                    </a:lnTo>
                    <a:lnTo>
                      <a:pt x="512" y="114"/>
                    </a:lnTo>
                    <a:lnTo>
                      <a:pt x="512" y="116"/>
                    </a:lnTo>
                    <a:lnTo>
                      <a:pt x="513" y="116"/>
                    </a:lnTo>
                    <a:lnTo>
                      <a:pt x="513" y="117"/>
                    </a:lnTo>
                    <a:lnTo>
                      <a:pt x="515" y="117"/>
                    </a:lnTo>
                    <a:lnTo>
                      <a:pt x="515" y="119"/>
                    </a:lnTo>
                    <a:lnTo>
                      <a:pt x="515" y="117"/>
                    </a:lnTo>
                    <a:lnTo>
                      <a:pt x="517" y="117"/>
                    </a:lnTo>
                    <a:lnTo>
                      <a:pt x="517" y="116"/>
                    </a:lnTo>
                    <a:lnTo>
                      <a:pt x="519" y="116"/>
                    </a:lnTo>
                    <a:lnTo>
                      <a:pt x="520" y="117"/>
                    </a:lnTo>
                    <a:lnTo>
                      <a:pt x="522" y="117"/>
                    </a:lnTo>
                    <a:lnTo>
                      <a:pt x="522" y="119"/>
                    </a:lnTo>
                    <a:lnTo>
                      <a:pt x="524" y="119"/>
                    </a:lnTo>
                    <a:lnTo>
                      <a:pt x="524" y="121"/>
                    </a:lnTo>
                    <a:lnTo>
                      <a:pt x="525" y="119"/>
                    </a:lnTo>
                    <a:lnTo>
                      <a:pt x="525" y="121"/>
                    </a:lnTo>
                    <a:lnTo>
                      <a:pt x="525" y="119"/>
                    </a:lnTo>
                    <a:lnTo>
                      <a:pt x="525" y="121"/>
                    </a:lnTo>
                    <a:lnTo>
                      <a:pt x="525" y="119"/>
                    </a:lnTo>
                    <a:lnTo>
                      <a:pt x="527" y="121"/>
                    </a:lnTo>
                    <a:lnTo>
                      <a:pt x="529" y="121"/>
                    </a:lnTo>
                    <a:lnTo>
                      <a:pt x="530" y="121"/>
                    </a:lnTo>
                    <a:lnTo>
                      <a:pt x="532" y="122"/>
                    </a:lnTo>
                    <a:lnTo>
                      <a:pt x="532" y="124"/>
                    </a:lnTo>
                    <a:lnTo>
                      <a:pt x="534" y="124"/>
                    </a:lnTo>
                    <a:lnTo>
                      <a:pt x="534" y="126"/>
                    </a:lnTo>
                    <a:lnTo>
                      <a:pt x="536" y="126"/>
                    </a:lnTo>
                    <a:lnTo>
                      <a:pt x="534" y="126"/>
                    </a:lnTo>
                    <a:lnTo>
                      <a:pt x="536" y="127"/>
                    </a:lnTo>
                    <a:lnTo>
                      <a:pt x="536" y="129"/>
                    </a:lnTo>
                    <a:lnTo>
                      <a:pt x="537" y="129"/>
                    </a:lnTo>
                    <a:lnTo>
                      <a:pt x="536" y="129"/>
                    </a:lnTo>
                    <a:lnTo>
                      <a:pt x="536" y="131"/>
                    </a:lnTo>
                    <a:lnTo>
                      <a:pt x="537" y="131"/>
                    </a:lnTo>
                    <a:lnTo>
                      <a:pt x="537" y="133"/>
                    </a:lnTo>
                    <a:lnTo>
                      <a:pt x="539" y="133"/>
                    </a:lnTo>
                    <a:lnTo>
                      <a:pt x="541" y="133"/>
                    </a:lnTo>
                    <a:lnTo>
                      <a:pt x="541" y="134"/>
                    </a:lnTo>
                    <a:lnTo>
                      <a:pt x="541" y="136"/>
                    </a:lnTo>
                    <a:lnTo>
                      <a:pt x="541" y="138"/>
                    </a:lnTo>
                    <a:lnTo>
                      <a:pt x="541" y="139"/>
                    </a:lnTo>
                    <a:lnTo>
                      <a:pt x="539" y="139"/>
                    </a:lnTo>
                    <a:lnTo>
                      <a:pt x="539" y="141"/>
                    </a:lnTo>
                    <a:lnTo>
                      <a:pt x="537" y="141"/>
                    </a:lnTo>
                    <a:lnTo>
                      <a:pt x="537" y="143"/>
                    </a:lnTo>
                    <a:lnTo>
                      <a:pt x="536" y="143"/>
                    </a:lnTo>
                    <a:lnTo>
                      <a:pt x="534" y="144"/>
                    </a:lnTo>
                    <a:lnTo>
                      <a:pt x="536" y="144"/>
                    </a:lnTo>
                    <a:lnTo>
                      <a:pt x="536" y="146"/>
                    </a:lnTo>
                    <a:lnTo>
                      <a:pt x="534" y="146"/>
                    </a:lnTo>
                    <a:lnTo>
                      <a:pt x="532" y="146"/>
                    </a:lnTo>
                    <a:lnTo>
                      <a:pt x="532" y="148"/>
                    </a:lnTo>
                    <a:lnTo>
                      <a:pt x="534" y="148"/>
                    </a:lnTo>
                    <a:lnTo>
                      <a:pt x="534" y="150"/>
                    </a:lnTo>
                    <a:lnTo>
                      <a:pt x="532" y="150"/>
                    </a:lnTo>
                    <a:lnTo>
                      <a:pt x="530" y="150"/>
                    </a:lnTo>
                    <a:lnTo>
                      <a:pt x="530" y="151"/>
                    </a:lnTo>
                    <a:lnTo>
                      <a:pt x="532" y="153"/>
                    </a:lnTo>
                    <a:lnTo>
                      <a:pt x="530" y="153"/>
                    </a:lnTo>
                    <a:lnTo>
                      <a:pt x="530" y="155"/>
                    </a:lnTo>
                    <a:lnTo>
                      <a:pt x="530" y="156"/>
                    </a:lnTo>
                    <a:lnTo>
                      <a:pt x="529" y="156"/>
                    </a:lnTo>
                    <a:lnTo>
                      <a:pt x="529" y="158"/>
                    </a:lnTo>
                    <a:lnTo>
                      <a:pt x="527" y="158"/>
                    </a:lnTo>
                    <a:lnTo>
                      <a:pt x="527" y="160"/>
                    </a:lnTo>
                    <a:lnTo>
                      <a:pt x="525" y="160"/>
                    </a:lnTo>
                    <a:lnTo>
                      <a:pt x="524" y="160"/>
                    </a:lnTo>
                    <a:lnTo>
                      <a:pt x="524" y="161"/>
                    </a:lnTo>
                    <a:lnTo>
                      <a:pt x="522" y="161"/>
                    </a:lnTo>
                    <a:lnTo>
                      <a:pt x="522" y="163"/>
                    </a:lnTo>
                    <a:lnTo>
                      <a:pt x="520" y="163"/>
                    </a:lnTo>
                    <a:lnTo>
                      <a:pt x="522" y="163"/>
                    </a:lnTo>
                    <a:lnTo>
                      <a:pt x="522" y="165"/>
                    </a:lnTo>
                    <a:lnTo>
                      <a:pt x="520" y="165"/>
                    </a:lnTo>
                    <a:lnTo>
                      <a:pt x="520" y="167"/>
                    </a:lnTo>
                    <a:lnTo>
                      <a:pt x="520" y="168"/>
                    </a:lnTo>
                    <a:lnTo>
                      <a:pt x="520" y="170"/>
                    </a:lnTo>
                    <a:lnTo>
                      <a:pt x="519" y="170"/>
                    </a:lnTo>
                    <a:lnTo>
                      <a:pt x="519" y="172"/>
                    </a:lnTo>
                    <a:lnTo>
                      <a:pt x="520" y="172"/>
                    </a:lnTo>
                    <a:lnTo>
                      <a:pt x="520" y="173"/>
                    </a:lnTo>
                    <a:lnTo>
                      <a:pt x="519" y="173"/>
                    </a:lnTo>
                    <a:lnTo>
                      <a:pt x="519" y="175"/>
                    </a:lnTo>
                    <a:lnTo>
                      <a:pt x="519" y="177"/>
                    </a:lnTo>
                    <a:lnTo>
                      <a:pt x="520" y="177"/>
                    </a:lnTo>
                    <a:lnTo>
                      <a:pt x="520" y="178"/>
                    </a:lnTo>
                    <a:lnTo>
                      <a:pt x="519" y="178"/>
                    </a:lnTo>
                    <a:lnTo>
                      <a:pt x="520" y="180"/>
                    </a:lnTo>
                    <a:lnTo>
                      <a:pt x="519" y="180"/>
                    </a:lnTo>
                    <a:lnTo>
                      <a:pt x="517" y="180"/>
                    </a:lnTo>
                    <a:lnTo>
                      <a:pt x="517" y="182"/>
                    </a:lnTo>
                    <a:lnTo>
                      <a:pt x="519" y="184"/>
                    </a:lnTo>
                    <a:lnTo>
                      <a:pt x="517" y="184"/>
                    </a:lnTo>
                    <a:lnTo>
                      <a:pt x="517" y="185"/>
                    </a:lnTo>
                    <a:lnTo>
                      <a:pt x="515" y="185"/>
                    </a:lnTo>
                    <a:lnTo>
                      <a:pt x="515" y="187"/>
                    </a:lnTo>
                    <a:lnTo>
                      <a:pt x="515" y="189"/>
                    </a:lnTo>
                    <a:lnTo>
                      <a:pt x="513" y="189"/>
                    </a:lnTo>
                    <a:lnTo>
                      <a:pt x="513" y="190"/>
                    </a:lnTo>
                    <a:lnTo>
                      <a:pt x="512" y="190"/>
                    </a:lnTo>
                    <a:lnTo>
                      <a:pt x="510" y="190"/>
                    </a:lnTo>
                    <a:lnTo>
                      <a:pt x="510" y="192"/>
                    </a:lnTo>
                    <a:lnTo>
                      <a:pt x="510" y="194"/>
                    </a:lnTo>
                    <a:lnTo>
                      <a:pt x="508" y="194"/>
                    </a:lnTo>
                    <a:lnTo>
                      <a:pt x="510" y="196"/>
                    </a:lnTo>
                    <a:lnTo>
                      <a:pt x="508" y="196"/>
                    </a:lnTo>
                    <a:lnTo>
                      <a:pt x="507" y="196"/>
                    </a:lnTo>
                    <a:lnTo>
                      <a:pt x="508" y="196"/>
                    </a:lnTo>
                    <a:lnTo>
                      <a:pt x="507" y="197"/>
                    </a:lnTo>
                    <a:lnTo>
                      <a:pt x="508" y="197"/>
                    </a:lnTo>
                    <a:lnTo>
                      <a:pt x="507" y="197"/>
                    </a:lnTo>
                    <a:lnTo>
                      <a:pt x="505" y="197"/>
                    </a:lnTo>
                    <a:lnTo>
                      <a:pt x="505" y="199"/>
                    </a:lnTo>
                    <a:lnTo>
                      <a:pt x="503" y="199"/>
                    </a:lnTo>
                    <a:lnTo>
                      <a:pt x="503" y="201"/>
                    </a:lnTo>
                    <a:lnTo>
                      <a:pt x="505" y="201"/>
                    </a:lnTo>
                    <a:lnTo>
                      <a:pt x="505" y="202"/>
                    </a:lnTo>
                    <a:lnTo>
                      <a:pt x="507" y="202"/>
                    </a:lnTo>
                    <a:lnTo>
                      <a:pt x="507" y="204"/>
                    </a:lnTo>
                    <a:lnTo>
                      <a:pt x="505" y="204"/>
                    </a:lnTo>
                    <a:lnTo>
                      <a:pt x="505" y="206"/>
                    </a:lnTo>
                    <a:lnTo>
                      <a:pt x="507" y="206"/>
                    </a:lnTo>
                    <a:lnTo>
                      <a:pt x="507" y="204"/>
                    </a:lnTo>
                    <a:lnTo>
                      <a:pt x="508" y="204"/>
                    </a:lnTo>
                    <a:lnTo>
                      <a:pt x="510" y="204"/>
                    </a:lnTo>
                    <a:lnTo>
                      <a:pt x="512" y="204"/>
                    </a:lnTo>
                    <a:lnTo>
                      <a:pt x="513" y="204"/>
                    </a:lnTo>
                    <a:lnTo>
                      <a:pt x="515" y="204"/>
                    </a:lnTo>
                    <a:lnTo>
                      <a:pt x="517" y="204"/>
                    </a:lnTo>
                    <a:lnTo>
                      <a:pt x="519" y="204"/>
                    </a:lnTo>
                    <a:lnTo>
                      <a:pt x="520" y="204"/>
                    </a:lnTo>
                    <a:lnTo>
                      <a:pt x="522" y="204"/>
                    </a:lnTo>
                    <a:lnTo>
                      <a:pt x="524" y="204"/>
                    </a:lnTo>
                    <a:lnTo>
                      <a:pt x="525" y="204"/>
                    </a:lnTo>
                    <a:lnTo>
                      <a:pt x="527" y="204"/>
                    </a:lnTo>
                    <a:lnTo>
                      <a:pt x="529" y="204"/>
                    </a:lnTo>
                    <a:lnTo>
                      <a:pt x="530" y="204"/>
                    </a:lnTo>
                    <a:lnTo>
                      <a:pt x="532" y="206"/>
                    </a:lnTo>
                    <a:lnTo>
                      <a:pt x="534" y="206"/>
                    </a:lnTo>
                    <a:lnTo>
                      <a:pt x="536" y="206"/>
                    </a:lnTo>
                    <a:lnTo>
                      <a:pt x="537" y="206"/>
                    </a:lnTo>
                    <a:lnTo>
                      <a:pt x="537" y="207"/>
                    </a:lnTo>
                    <a:lnTo>
                      <a:pt x="539" y="207"/>
                    </a:lnTo>
                    <a:lnTo>
                      <a:pt x="541" y="209"/>
                    </a:lnTo>
                    <a:lnTo>
                      <a:pt x="542" y="209"/>
                    </a:lnTo>
                    <a:lnTo>
                      <a:pt x="542" y="211"/>
                    </a:lnTo>
                    <a:lnTo>
                      <a:pt x="544" y="211"/>
                    </a:lnTo>
                    <a:lnTo>
                      <a:pt x="546" y="211"/>
                    </a:lnTo>
                    <a:lnTo>
                      <a:pt x="546" y="209"/>
                    </a:lnTo>
                    <a:lnTo>
                      <a:pt x="547" y="209"/>
                    </a:lnTo>
                    <a:lnTo>
                      <a:pt x="549" y="209"/>
                    </a:lnTo>
                    <a:lnTo>
                      <a:pt x="551" y="211"/>
                    </a:lnTo>
                    <a:lnTo>
                      <a:pt x="553" y="211"/>
                    </a:lnTo>
                    <a:lnTo>
                      <a:pt x="554" y="211"/>
                    </a:lnTo>
                    <a:lnTo>
                      <a:pt x="556" y="213"/>
                    </a:lnTo>
                    <a:lnTo>
                      <a:pt x="558" y="213"/>
                    </a:lnTo>
                    <a:lnTo>
                      <a:pt x="559" y="213"/>
                    </a:lnTo>
                    <a:lnTo>
                      <a:pt x="559" y="211"/>
                    </a:lnTo>
                    <a:lnTo>
                      <a:pt x="561" y="211"/>
                    </a:lnTo>
                    <a:lnTo>
                      <a:pt x="561" y="209"/>
                    </a:lnTo>
                    <a:lnTo>
                      <a:pt x="563" y="209"/>
                    </a:lnTo>
                    <a:lnTo>
                      <a:pt x="564" y="209"/>
                    </a:lnTo>
                    <a:lnTo>
                      <a:pt x="564" y="211"/>
                    </a:lnTo>
                    <a:lnTo>
                      <a:pt x="566" y="211"/>
                    </a:lnTo>
                    <a:lnTo>
                      <a:pt x="568" y="213"/>
                    </a:lnTo>
                    <a:lnTo>
                      <a:pt x="570" y="213"/>
                    </a:lnTo>
                    <a:lnTo>
                      <a:pt x="570" y="211"/>
                    </a:lnTo>
                    <a:lnTo>
                      <a:pt x="571" y="211"/>
                    </a:lnTo>
                    <a:lnTo>
                      <a:pt x="573" y="211"/>
                    </a:lnTo>
                    <a:lnTo>
                      <a:pt x="575" y="211"/>
                    </a:lnTo>
                    <a:lnTo>
                      <a:pt x="576" y="211"/>
                    </a:lnTo>
                    <a:lnTo>
                      <a:pt x="576" y="213"/>
                    </a:lnTo>
                    <a:lnTo>
                      <a:pt x="578" y="213"/>
                    </a:lnTo>
                    <a:lnTo>
                      <a:pt x="578" y="214"/>
                    </a:lnTo>
                    <a:lnTo>
                      <a:pt x="581" y="216"/>
                    </a:lnTo>
                    <a:lnTo>
                      <a:pt x="581" y="214"/>
                    </a:lnTo>
                    <a:lnTo>
                      <a:pt x="583" y="214"/>
                    </a:lnTo>
                    <a:lnTo>
                      <a:pt x="583" y="213"/>
                    </a:lnTo>
                    <a:lnTo>
                      <a:pt x="585" y="211"/>
                    </a:lnTo>
                    <a:lnTo>
                      <a:pt x="583" y="211"/>
                    </a:lnTo>
                    <a:lnTo>
                      <a:pt x="583" y="209"/>
                    </a:lnTo>
                    <a:lnTo>
                      <a:pt x="585" y="209"/>
                    </a:lnTo>
                    <a:lnTo>
                      <a:pt x="587" y="209"/>
                    </a:lnTo>
                    <a:lnTo>
                      <a:pt x="587" y="207"/>
                    </a:lnTo>
                    <a:lnTo>
                      <a:pt x="588" y="206"/>
                    </a:lnTo>
                    <a:lnTo>
                      <a:pt x="590" y="206"/>
                    </a:lnTo>
                    <a:lnTo>
                      <a:pt x="592" y="206"/>
                    </a:lnTo>
                    <a:lnTo>
                      <a:pt x="593" y="206"/>
                    </a:lnTo>
                    <a:lnTo>
                      <a:pt x="595" y="207"/>
                    </a:lnTo>
                    <a:lnTo>
                      <a:pt x="597" y="206"/>
                    </a:lnTo>
                    <a:lnTo>
                      <a:pt x="598" y="207"/>
                    </a:lnTo>
                    <a:lnTo>
                      <a:pt x="598" y="209"/>
                    </a:lnTo>
                    <a:lnTo>
                      <a:pt x="600" y="209"/>
                    </a:lnTo>
                    <a:lnTo>
                      <a:pt x="600" y="211"/>
                    </a:lnTo>
                    <a:lnTo>
                      <a:pt x="602" y="211"/>
                    </a:lnTo>
                    <a:lnTo>
                      <a:pt x="604" y="209"/>
                    </a:lnTo>
                    <a:lnTo>
                      <a:pt x="604" y="207"/>
                    </a:lnTo>
                    <a:lnTo>
                      <a:pt x="605" y="207"/>
                    </a:lnTo>
                    <a:lnTo>
                      <a:pt x="607" y="207"/>
                    </a:lnTo>
                    <a:lnTo>
                      <a:pt x="607" y="206"/>
                    </a:lnTo>
                    <a:lnTo>
                      <a:pt x="607" y="204"/>
                    </a:lnTo>
                    <a:lnTo>
                      <a:pt x="609" y="204"/>
                    </a:lnTo>
                    <a:lnTo>
                      <a:pt x="609" y="202"/>
                    </a:lnTo>
                    <a:lnTo>
                      <a:pt x="607" y="202"/>
                    </a:lnTo>
                    <a:lnTo>
                      <a:pt x="607" y="201"/>
                    </a:lnTo>
                    <a:lnTo>
                      <a:pt x="607" y="199"/>
                    </a:lnTo>
                    <a:lnTo>
                      <a:pt x="609" y="201"/>
                    </a:lnTo>
                    <a:lnTo>
                      <a:pt x="609" y="199"/>
                    </a:lnTo>
                    <a:lnTo>
                      <a:pt x="609" y="197"/>
                    </a:lnTo>
                    <a:lnTo>
                      <a:pt x="610" y="197"/>
                    </a:lnTo>
                    <a:lnTo>
                      <a:pt x="612" y="197"/>
                    </a:lnTo>
                    <a:lnTo>
                      <a:pt x="612" y="196"/>
                    </a:lnTo>
                    <a:lnTo>
                      <a:pt x="612" y="194"/>
                    </a:lnTo>
                    <a:lnTo>
                      <a:pt x="614" y="194"/>
                    </a:lnTo>
                    <a:lnTo>
                      <a:pt x="615" y="192"/>
                    </a:lnTo>
                    <a:lnTo>
                      <a:pt x="617" y="192"/>
                    </a:lnTo>
                    <a:lnTo>
                      <a:pt x="619" y="190"/>
                    </a:lnTo>
                    <a:lnTo>
                      <a:pt x="621" y="192"/>
                    </a:lnTo>
                    <a:lnTo>
                      <a:pt x="622" y="192"/>
                    </a:lnTo>
                    <a:lnTo>
                      <a:pt x="622" y="190"/>
                    </a:lnTo>
                    <a:lnTo>
                      <a:pt x="622" y="189"/>
                    </a:lnTo>
                    <a:lnTo>
                      <a:pt x="624" y="187"/>
                    </a:lnTo>
                    <a:lnTo>
                      <a:pt x="626" y="185"/>
                    </a:lnTo>
                    <a:lnTo>
                      <a:pt x="627" y="185"/>
                    </a:lnTo>
                    <a:lnTo>
                      <a:pt x="629" y="185"/>
                    </a:lnTo>
                    <a:lnTo>
                      <a:pt x="629" y="184"/>
                    </a:lnTo>
                    <a:lnTo>
                      <a:pt x="629" y="182"/>
                    </a:lnTo>
                    <a:lnTo>
                      <a:pt x="631" y="180"/>
                    </a:lnTo>
                    <a:lnTo>
                      <a:pt x="632" y="180"/>
                    </a:lnTo>
                    <a:lnTo>
                      <a:pt x="632" y="182"/>
                    </a:lnTo>
                    <a:lnTo>
                      <a:pt x="634" y="180"/>
                    </a:lnTo>
                    <a:lnTo>
                      <a:pt x="634" y="178"/>
                    </a:lnTo>
                    <a:lnTo>
                      <a:pt x="634" y="177"/>
                    </a:lnTo>
                    <a:lnTo>
                      <a:pt x="634" y="175"/>
                    </a:lnTo>
                    <a:lnTo>
                      <a:pt x="636" y="175"/>
                    </a:lnTo>
                    <a:lnTo>
                      <a:pt x="636" y="173"/>
                    </a:lnTo>
                    <a:lnTo>
                      <a:pt x="638" y="173"/>
                    </a:lnTo>
                    <a:lnTo>
                      <a:pt x="638" y="172"/>
                    </a:lnTo>
                    <a:lnTo>
                      <a:pt x="638" y="170"/>
                    </a:lnTo>
                    <a:lnTo>
                      <a:pt x="638" y="168"/>
                    </a:lnTo>
                    <a:lnTo>
                      <a:pt x="639" y="168"/>
                    </a:lnTo>
                    <a:lnTo>
                      <a:pt x="639" y="167"/>
                    </a:lnTo>
                    <a:lnTo>
                      <a:pt x="638" y="165"/>
                    </a:lnTo>
                    <a:lnTo>
                      <a:pt x="639" y="165"/>
                    </a:lnTo>
                    <a:lnTo>
                      <a:pt x="641" y="165"/>
                    </a:lnTo>
                    <a:lnTo>
                      <a:pt x="641" y="163"/>
                    </a:lnTo>
                    <a:lnTo>
                      <a:pt x="639" y="163"/>
                    </a:lnTo>
                    <a:lnTo>
                      <a:pt x="639" y="161"/>
                    </a:lnTo>
                    <a:lnTo>
                      <a:pt x="639" y="160"/>
                    </a:lnTo>
                    <a:lnTo>
                      <a:pt x="639" y="158"/>
                    </a:lnTo>
                    <a:lnTo>
                      <a:pt x="638" y="156"/>
                    </a:lnTo>
                    <a:lnTo>
                      <a:pt x="639" y="155"/>
                    </a:lnTo>
                    <a:lnTo>
                      <a:pt x="641" y="155"/>
                    </a:lnTo>
                    <a:lnTo>
                      <a:pt x="641" y="153"/>
                    </a:lnTo>
                    <a:lnTo>
                      <a:pt x="641" y="151"/>
                    </a:lnTo>
                    <a:lnTo>
                      <a:pt x="641" y="150"/>
                    </a:lnTo>
                    <a:lnTo>
                      <a:pt x="641" y="148"/>
                    </a:lnTo>
                    <a:lnTo>
                      <a:pt x="639" y="148"/>
                    </a:lnTo>
                    <a:lnTo>
                      <a:pt x="639" y="146"/>
                    </a:lnTo>
                    <a:lnTo>
                      <a:pt x="639" y="144"/>
                    </a:lnTo>
                    <a:lnTo>
                      <a:pt x="639" y="143"/>
                    </a:lnTo>
                    <a:lnTo>
                      <a:pt x="641" y="143"/>
                    </a:lnTo>
                    <a:lnTo>
                      <a:pt x="641" y="141"/>
                    </a:lnTo>
                    <a:lnTo>
                      <a:pt x="643" y="141"/>
                    </a:lnTo>
                    <a:lnTo>
                      <a:pt x="643" y="139"/>
                    </a:lnTo>
                    <a:lnTo>
                      <a:pt x="643" y="141"/>
                    </a:lnTo>
                    <a:lnTo>
                      <a:pt x="644" y="141"/>
                    </a:lnTo>
                    <a:lnTo>
                      <a:pt x="646" y="143"/>
                    </a:lnTo>
                    <a:lnTo>
                      <a:pt x="646" y="144"/>
                    </a:lnTo>
                    <a:lnTo>
                      <a:pt x="648" y="144"/>
                    </a:lnTo>
                    <a:lnTo>
                      <a:pt x="646" y="143"/>
                    </a:lnTo>
                    <a:lnTo>
                      <a:pt x="648" y="143"/>
                    </a:lnTo>
                    <a:lnTo>
                      <a:pt x="648" y="141"/>
                    </a:lnTo>
                    <a:lnTo>
                      <a:pt x="649" y="141"/>
                    </a:lnTo>
                    <a:lnTo>
                      <a:pt x="649" y="139"/>
                    </a:lnTo>
                    <a:lnTo>
                      <a:pt x="651" y="139"/>
                    </a:lnTo>
                    <a:lnTo>
                      <a:pt x="653" y="141"/>
                    </a:lnTo>
                    <a:lnTo>
                      <a:pt x="653" y="139"/>
                    </a:lnTo>
                    <a:lnTo>
                      <a:pt x="655" y="139"/>
                    </a:lnTo>
                    <a:lnTo>
                      <a:pt x="655" y="138"/>
                    </a:lnTo>
                    <a:lnTo>
                      <a:pt x="656" y="138"/>
                    </a:lnTo>
                    <a:lnTo>
                      <a:pt x="658" y="136"/>
                    </a:lnTo>
                    <a:lnTo>
                      <a:pt x="658" y="138"/>
                    </a:lnTo>
                    <a:lnTo>
                      <a:pt x="658" y="139"/>
                    </a:lnTo>
                    <a:lnTo>
                      <a:pt x="656" y="139"/>
                    </a:lnTo>
                    <a:lnTo>
                      <a:pt x="658" y="141"/>
                    </a:lnTo>
                    <a:lnTo>
                      <a:pt x="658" y="139"/>
                    </a:lnTo>
                    <a:lnTo>
                      <a:pt x="660" y="139"/>
                    </a:lnTo>
                    <a:lnTo>
                      <a:pt x="661" y="139"/>
                    </a:lnTo>
                    <a:lnTo>
                      <a:pt x="661" y="141"/>
                    </a:lnTo>
                    <a:lnTo>
                      <a:pt x="663" y="141"/>
                    </a:lnTo>
                    <a:lnTo>
                      <a:pt x="661" y="141"/>
                    </a:lnTo>
                    <a:lnTo>
                      <a:pt x="663" y="141"/>
                    </a:lnTo>
                    <a:lnTo>
                      <a:pt x="663" y="143"/>
                    </a:lnTo>
                    <a:lnTo>
                      <a:pt x="663" y="141"/>
                    </a:lnTo>
                    <a:lnTo>
                      <a:pt x="665" y="141"/>
                    </a:lnTo>
                    <a:lnTo>
                      <a:pt x="665" y="143"/>
                    </a:lnTo>
                    <a:lnTo>
                      <a:pt x="665" y="141"/>
                    </a:lnTo>
                    <a:lnTo>
                      <a:pt x="665" y="143"/>
                    </a:lnTo>
                    <a:lnTo>
                      <a:pt x="666" y="143"/>
                    </a:lnTo>
                    <a:lnTo>
                      <a:pt x="666" y="144"/>
                    </a:lnTo>
                    <a:lnTo>
                      <a:pt x="665" y="144"/>
                    </a:lnTo>
                    <a:lnTo>
                      <a:pt x="666" y="144"/>
                    </a:lnTo>
                    <a:lnTo>
                      <a:pt x="665" y="144"/>
                    </a:lnTo>
                    <a:lnTo>
                      <a:pt x="666" y="144"/>
                    </a:lnTo>
                    <a:lnTo>
                      <a:pt x="666" y="146"/>
                    </a:lnTo>
                    <a:lnTo>
                      <a:pt x="666" y="148"/>
                    </a:lnTo>
                    <a:lnTo>
                      <a:pt x="668" y="150"/>
                    </a:lnTo>
                    <a:lnTo>
                      <a:pt x="666" y="150"/>
                    </a:lnTo>
                    <a:lnTo>
                      <a:pt x="666" y="151"/>
                    </a:lnTo>
                    <a:lnTo>
                      <a:pt x="668" y="151"/>
                    </a:lnTo>
                    <a:lnTo>
                      <a:pt x="666" y="153"/>
                    </a:lnTo>
                    <a:lnTo>
                      <a:pt x="668" y="153"/>
                    </a:lnTo>
                    <a:lnTo>
                      <a:pt x="666" y="153"/>
                    </a:lnTo>
                    <a:lnTo>
                      <a:pt x="666" y="155"/>
                    </a:lnTo>
                    <a:lnTo>
                      <a:pt x="668" y="155"/>
                    </a:lnTo>
                    <a:lnTo>
                      <a:pt x="668" y="156"/>
                    </a:lnTo>
                    <a:lnTo>
                      <a:pt x="670" y="158"/>
                    </a:lnTo>
                    <a:lnTo>
                      <a:pt x="670" y="160"/>
                    </a:lnTo>
                    <a:lnTo>
                      <a:pt x="672" y="161"/>
                    </a:lnTo>
                    <a:lnTo>
                      <a:pt x="673" y="163"/>
                    </a:lnTo>
                    <a:lnTo>
                      <a:pt x="673" y="165"/>
                    </a:lnTo>
                    <a:lnTo>
                      <a:pt x="673" y="167"/>
                    </a:lnTo>
                    <a:lnTo>
                      <a:pt x="673" y="168"/>
                    </a:lnTo>
                    <a:lnTo>
                      <a:pt x="672" y="168"/>
                    </a:lnTo>
                    <a:lnTo>
                      <a:pt x="672" y="170"/>
                    </a:lnTo>
                    <a:lnTo>
                      <a:pt x="672" y="172"/>
                    </a:lnTo>
                    <a:lnTo>
                      <a:pt x="672" y="173"/>
                    </a:lnTo>
                    <a:lnTo>
                      <a:pt x="672" y="175"/>
                    </a:lnTo>
                    <a:lnTo>
                      <a:pt x="670" y="175"/>
                    </a:lnTo>
                    <a:lnTo>
                      <a:pt x="672" y="175"/>
                    </a:lnTo>
                    <a:lnTo>
                      <a:pt x="670" y="177"/>
                    </a:lnTo>
                    <a:lnTo>
                      <a:pt x="672" y="177"/>
                    </a:lnTo>
                    <a:lnTo>
                      <a:pt x="670" y="177"/>
                    </a:lnTo>
                    <a:lnTo>
                      <a:pt x="670" y="178"/>
                    </a:lnTo>
                    <a:lnTo>
                      <a:pt x="670" y="180"/>
                    </a:lnTo>
                    <a:lnTo>
                      <a:pt x="672" y="180"/>
                    </a:lnTo>
                    <a:lnTo>
                      <a:pt x="670" y="182"/>
                    </a:lnTo>
                    <a:lnTo>
                      <a:pt x="672" y="182"/>
                    </a:lnTo>
                    <a:lnTo>
                      <a:pt x="670" y="182"/>
                    </a:lnTo>
                    <a:lnTo>
                      <a:pt x="670" y="184"/>
                    </a:lnTo>
                    <a:lnTo>
                      <a:pt x="670" y="182"/>
                    </a:lnTo>
                    <a:lnTo>
                      <a:pt x="670" y="184"/>
                    </a:lnTo>
                    <a:lnTo>
                      <a:pt x="672" y="184"/>
                    </a:lnTo>
                    <a:lnTo>
                      <a:pt x="670" y="185"/>
                    </a:lnTo>
                    <a:lnTo>
                      <a:pt x="672" y="185"/>
                    </a:lnTo>
                    <a:lnTo>
                      <a:pt x="672" y="187"/>
                    </a:lnTo>
                    <a:lnTo>
                      <a:pt x="673" y="189"/>
                    </a:lnTo>
                    <a:lnTo>
                      <a:pt x="672" y="189"/>
                    </a:lnTo>
                    <a:lnTo>
                      <a:pt x="672" y="190"/>
                    </a:lnTo>
                    <a:lnTo>
                      <a:pt x="672" y="192"/>
                    </a:lnTo>
                    <a:lnTo>
                      <a:pt x="672" y="190"/>
                    </a:lnTo>
                    <a:lnTo>
                      <a:pt x="672" y="192"/>
                    </a:lnTo>
                    <a:lnTo>
                      <a:pt x="670" y="192"/>
                    </a:lnTo>
                    <a:lnTo>
                      <a:pt x="672" y="194"/>
                    </a:lnTo>
                    <a:lnTo>
                      <a:pt x="670" y="194"/>
                    </a:lnTo>
                    <a:lnTo>
                      <a:pt x="670" y="196"/>
                    </a:lnTo>
                    <a:lnTo>
                      <a:pt x="668" y="194"/>
                    </a:lnTo>
                    <a:lnTo>
                      <a:pt x="668" y="196"/>
                    </a:lnTo>
                    <a:lnTo>
                      <a:pt x="670" y="196"/>
                    </a:lnTo>
                    <a:lnTo>
                      <a:pt x="668" y="196"/>
                    </a:lnTo>
                    <a:lnTo>
                      <a:pt x="668" y="197"/>
                    </a:lnTo>
                    <a:lnTo>
                      <a:pt x="668" y="196"/>
                    </a:lnTo>
                    <a:lnTo>
                      <a:pt x="668" y="197"/>
                    </a:lnTo>
                    <a:lnTo>
                      <a:pt x="668" y="199"/>
                    </a:lnTo>
                    <a:lnTo>
                      <a:pt x="666" y="199"/>
                    </a:lnTo>
                    <a:lnTo>
                      <a:pt x="668" y="199"/>
                    </a:lnTo>
                    <a:lnTo>
                      <a:pt x="666" y="199"/>
                    </a:lnTo>
                    <a:lnTo>
                      <a:pt x="666" y="201"/>
                    </a:lnTo>
                    <a:lnTo>
                      <a:pt x="666" y="199"/>
                    </a:lnTo>
                    <a:lnTo>
                      <a:pt x="665" y="199"/>
                    </a:lnTo>
                    <a:lnTo>
                      <a:pt x="665" y="201"/>
                    </a:lnTo>
                    <a:lnTo>
                      <a:pt x="663" y="199"/>
                    </a:lnTo>
                    <a:lnTo>
                      <a:pt x="663" y="201"/>
                    </a:lnTo>
                    <a:lnTo>
                      <a:pt x="661" y="201"/>
                    </a:lnTo>
                    <a:lnTo>
                      <a:pt x="661" y="202"/>
                    </a:lnTo>
                    <a:lnTo>
                      <a:pt x="660" y="202"/>
                    </a:lnTo>
                    <a:lnTo>
                      <a:pt x="660" y="204"/>
                    </a:lnTo>
                    <a:lnTo>
                      <a:pt x="658" y="204"/>
                    </a:lnTo>
                    <a:lnTo>
                      <a:pt x="658" y="206"/>
                    </a:lnTo>
                    <a:lnTo>
                      <a:pt x="656" y="206"/>
                    </a:lnTo>
                    <a:lnTo>
                      <a:pt x="656" y="204"/>
                    </a:lnTo>
                    <a:lnTo>
                      <a:pt x="655" y="204"/>
                    </a:lnTo>
                    <a:lnTo>
                      <a:pt x="655" y="206"/>
                    </a:lnTo>
                    <a:lnTo>
                      <a:pt x="655" y="207"/>
                    </a:lnTo>
                    <a:lnTo>
                      <a:pt x="653" y="209"/>
                    </a:lnTo>
                    <a:lnTo>
                      <a:pt x="653" y="211"/>
                    </a:lnTo>
                    <a:lnTo>
                      <a:pt x="651" y="211"/>
                    </a:lnTo>
                    <a:lnTo>
                      <a:pt x="651" y="209"/>
                    </a:lnTo>
                    <a:lnTo>
                      <a:pt x="649" y="209"/>
                    </a:lnTo>
                    <a:lnTo>
                      <a:pt x="649" y="211"/>
                    </a:lnTo>
                    <a:lnTo>
                      <a:pt x="648" y="211"/>
                    </a:lnTo>
                    <a:lnTo>
                      <a:pt x="648" y="209"/>
                    </a:lnTo>
                    <a:lnTo>
                      <a:pt x="646" y="209"/>
                    </a:lnTo>
                    <a:lnTo>
                      <a:pt x="646" y="211"/>
                    </a:lnTo>
                    <a:lnTo>
                      <a:pt x="646" y="213"/>
                    </a:lnTo>
                    <a:lnTo>
                      <a:pt x="644" y="213"/>
                    </a:lnTo>
                    <a:lnTo>
                      <a:pt x="643" y="213"/>
                    </a:lnTo>
                    <a:lnTo>
                      <a:pt x="643" y="211"/>
                    </a:lnTo>
                    <a:lnTo>
                      <a:pt x="641" y="211"/>
                    </a:lnTo>
                    <a:lnTo>
                      <a:pt x="641" y="213"/>
                    </a:lnTo>
                    <a:lnTo>
                      <a:pt x="641" y="214"/>
                    </a:lnTo>
                    <a:lnTo>
                      <a:pt x="639" y="214"/>
                    </a:lnTo>
                    <a:lnTo>
                      <a:pt x="639" y="213"/>
                    </a:lnTo>
                    <a:lnTo>
                      <a:pt x="638" y="213"/>
                    </a:lnTo>
                    <a:lnTo>
                      <a:pt x="638" y="214"/>
                    </a:lnTo>
                    <a:lnTo>
                      <a:pt x="639" y="214"/>
                    </a:lnTo>
                    <a:lnTo>
                      <a:pt x="638" y="216"/>
                    </a:lnTo>
                    <a:lnTo>
                      <a:pt x="638" y="214"/>
                    </a:lnTo>
                    <a:lnTo>
                      <a:pt x="636" y="214"/>
                    </a:lnTo>
                    <a:lnTo>
                      <a:pt x="636" y="216"/>
                    </a:lnTo>
                    <a:lnTo>
                      <a:pt x="634" y="216"/>
                    </a:lnTo>
                    <a:lnTo>
                      <a:pt x="634" y="214"/>
                    </a:lnTo>
                    <a:lnTo>
                      <a:pt x="632" y="216"/>
                    </a:lnTo>
                    <a:lnTo>
                      <a:pt x="632" y="218"/>
                    </a:lnTo>
                    <a:lnTo>
                      <a:pt x="631" y="218"/>
                    </a:lnTo>
                    <a:lnTo>
                      <a:pt x="631" y="219"/>
                    </a:lnTo>
                    <a:lnTo>
                      <a:pt x="631" y="221"/>
                    </a:lnTo>
                    <a:lnTo>
                      <a:pt x="631" y="223"/>
                    </a:lnTo>
                    <a:lnTo>
                      <a:pt x="629" y="223"/>
                    </a:lnTo>
                    <a:lnTo>
                      <a:pt x="627" y="223"/>
                    </a:lnTo>
                    <a:lnTo>
                      <a:pt x="627" y="224"/>
                    </a:lnTo>
                    <a:lnTo>
                      <a:pt x="626" y="223"/>
                    </a:lnTo>
                    <a:lnTo>
                      <a:pt x="624" y="223"/>
                    </a:lnTo>
                    <a:lnTo>
                      <a:pt x="624" y="224"/>
                    </a:lnTo>
                    <a:lnTo>
                      <a:pt x="626" y="224"/>
                    </a:lnTo>
                    <a:lnTo>
                      <a:pt x="627" y="224"/>
                    </a:lnTo>
                    <a:lnTo>
                      <a:pt x="626" y="226"/>
                    </a:lnTo>
                    <a:lnTo>
                      <a:pt x="624" y="226"/>
                    </a:lnTo>
                    <a:lnTo>
                      <a:pt x="624" y="228"/>
                    </a:lnTo>
                    <a:lnTo>
                      <a:pt x="622" y="228"/>
                    </a:lnTo>
                    <a:lnTo>
                      <a:pt x="622" y="226"/>
                    </a:lnTo>
                    <a:lnTo>
                      <a:pt x="621" y="226"/>
                    </a:lnTo>
                    <a:lnTo>
                      <a:pt x="621" y="228"/>
                    </a:lnTo>
                    <a:lnTo>
                      <a:pt x="619" y="228"/>
                    </a:lnTo>
                    <a:lnTo>
                      <a:pt x="619" y="230"/>
                    </a:lnTo>
                    <a:lnTo>
                      <a:pt x="617" y="228"/>
                    </a:lnTo>
                    <a:lnTo>
                      <a:pt x="615" y="230"/>
                    </a:lnTo>
                    <a:lnTo>
                      <a:pt x="615" y="231"/>
                    </a:lnTo>
                    <a:lnTo>
                      <a:pt x="614" y="231"/>
                    </a:lnTo>
                    <a:lnTo>
                      <a:pt x="615" y="233"/>
                    </a:lnTo>
                    <a:lnTo>
                      <a:pt x="614" y="233"/>
                    </a:lnTo>
                    <a:lnTo>
                      <a:pt x="612" y="235"/>
                    </a:lnTo>
                    <a:lnTo>
                      <a:pt x="610" y="235"/>
                    </a:lnTo>
                    <a:lnTo>
                      <a:pt x="610" y="236"/>
                    </a:lnTo>
                    <a:lnTo>
                      <a:pt x="609" y="236"/>
                    </a:lnTo>
                    <a:lnTo>
                      <a:pt x="609" y="238"/>
                    </a:lnTo>
                    <a:lnTo>
                      <a:pt x="607" y="238"/>
                    </a:lnTo>
                    <a:lnTo>
                      <a:pt x="607" y="236"/>
                    </a:lnTo>
                    <a:lnTo>
                      <a:pt x="607" y="238"/>
                    </a:lnTo>
                    <a:lnTo>
                      <a:pt x="605" y="238"/>
                    </a:lnTo>
                    <a:lnTo>
                      <a:pt x="605" y="240"/>
                    </a:lnTo>
                    <a:lnTo>
                      <a:pt x="604" y="240"/>
                    </a:lnTo>
                    <a:lnTo>
                      <a:pt x="602" y="240"/>
                    </a:lnTo>
                    <a:lnTo>
                      <a:pt x="602" y="241"/>
                    </a:lnTo>
                    <a:lnTo>
                      <a:pt x="602" y="243"/>
                    </a:lnTo>
                    <a:lnTo>
                      <a:pt x="604" y="243"/>
                    </a:lnTo>
                    <a:lnTo>
                      <a:pt x="605" y="243"/>
                    </a:lnTo>
                    <a:lnTo>
                      <a:pt x="605" y="245"/>
                    </a:lnTo>
                    <a:lnTo>
                      <a:pt x="604" y="247"/>
                    </a:lnTo>
                    <a:lnTo>
                      <a:pt x="604" y="248"/>
                    </a:lnTo>
                    <a:lnTo>
                      <a:pt x="604" y="247"/>
                    </a:lnTo>
                    <a:lnTo>
                      <a:pt x="602" y="245"/>
                    </a:lnTo>
                    <a:lnTo>
                      <a:pt x="600" y="245"/>
                    </a:lnTo>
                    <a:lnTo>
                      <a:pt x="598" y="245"/>
                    </a:lnTo>
                    <a:lnTo>
                      <a:pt x="597" y="247"/>
                    </a:lnTo>
                    <a:lnTo>
                      <a:pt x="597" y="248"/>
                    </a:lnTo>
                    <a:lnTo>
                      <a:pt x="598" y="250"/>
                    </a:lnTo>
                    <a:lnTo>
                      <a:pt x="597" y="250"/>
                    </a:lnTo>
                    <a:lnTo>
                      <a:pt x="595" y="250"/>
                    </a:lnTo>
                    <a:lnTo>
                      <a:pt x="593" y="250"/>
                    </a:lnTo>
                    <a:lnTo>
                      <a:pt x="593" y="252"/>
                    </a:lnTo>
                    <a:lnTo>
                      <a:pt x="593" y="253"/>
                    </a:lnTo>
                    <a:lnTo>
                      <a:pt x="593" y="255"/>
                    </a:lnTo>
                    <a:lnTo>
                      <a:pt x="592" y="255"/>
                    </a:lnTo>
                    <a:lnTo>
                      <a:pt x="592" y="257"/>
                    </a:lnTo>
                    <a:lnTo>
                      <a:pt x="590" y="257"/>
                    </a:lnTo>
                    <a:lnTo>
                      <a:pt x="590" y="258"/>
                    </a:lnTo>
                    <a:lnTo>
                      <a:pt x="588" y="258"/>
                    </a:lnTo>
                    <a:lnTo>
                      <a:pt x="588" y="260"/>
                    </a:lnTo>
                    <a:lnTo>
                      <a:pt x="587" y="262"/>
                    </a:lnTo>
                    <a:lnTo>
                      <a:pt x="585" y="262"/>
                    </a:lnTo>
                    <a:lnTo>
                      <a:pt x="583" y="262"/>
                    </a:lnTo>
                    <a:lnTo>
                      <a:pt x="583" y="264"/>
                    </a:lnTo>
                    <a:lnTo>
                      <a:pt x="583" y="265"/>
                    </a:lnTo>
                    <a:lnTo>
                      <a:pt x="583" y="267"/>
                    </a:lnTo>
                    <a:lnTo>
                      <a:pt x="581" y="267"/>
                    </a:lnTo>
                    <a:lnTo>
                      <a:pt x="581" y="269"/>
                    </a:lnTo>
                    <a:lnTo>
                      <a:pt x="580" y="269"/>
                    </a:lnTo>
                    <a:lnTo>
                      <a:pt x="580" y="270"/>
                    </a:lnTo>
                    <a:lnTo>
                      <a:pt x="580" y="272"/>
                    </a:lnTo>
                    <a:lnTo>
                      <a:pt x="580" y="274"/>
                    </a:lnTo>
                    <a:lnTo>
                      <a:pt x="576" y="274"/>
                    </a:lnTo>
                    <a:lnTo>
                      <a:pt x="575" y="274"/>
                    </a:lnTo>
                    <a:lnTo>
                      <a:pt x="575" y="275"/>
                    </a:lnTo>
                    <a:lnTo>
                      <a:pt x="573" y="275"/>
                    </a:lnTo>
                    <a:lnTo>
                      <a:pt x="573" y="277"/>
                    </a:lnTo>
                    <a:lnTo>
                      <a:pt x="571" y="277"/>
                    </a:lnTo>
                    <a:lnTo>
                      <a:pt x="571" y="279"/>
                    </a:lnTo>
                    <a:lnTo>
                      <a:pt x="571" y="281"/>
                    </a:lnTo>
                    <a:lnTo>
                      <a:pt x="570" y="284"/>
                    </a:lnTo>
                    <a:lnTo>
                      <a:pt x="568" y="284"/>
                    </a:lnTo>
                    <a:lnTo>
                      <a:pt x="568" y="286"/>
                    </a:lnTo>
                    <a:lnTo>
                      <a:pt x="568" y="287"/>
                    </a:lnTo>
                    <a:lnTo>
                      <a:pt x="566" y="287"/>
                    </a:lnTo>
                    <a:lnTo>
                      <a:pt x="566" y="289"/>
                    </a:lnTo>
                    <a:lnTo>
                      <a:pt x="564" y="289"/>
                    </a:lnTo>
                    <a:lnTo>
                      <a:pt x="564" y="291"/>
                    </a:lnTo>
                    <a:lnTo>
                      <a:pt x="563" y="291"/>
                    </a:lnTo>
                    <a:lnTo>
                      <a:pt x="563" y="292"/>
                    </a:lnTo>
                    <a:lnTo>
                      <a:pt x="561" y="292"/>
                    </a:lnTo>
                    <a:lnTo>
                      <a:pt x="561" y="294"/>
                    </a:lnTo>
                    <a:lnTo>
                      <a:pt x="561" y="296"/>
                    </a:lnTo>
                    <a:lnTo>
                      <a:pt x="559" y="296"/>
                    </a:lnTo>
                    <a:lnTo>
                      <a:pt x="559" y="298"/>
                    </a:lnTo>
                    <a:lnTo>
                      <a:pt x="558" y="298"/>
                    </a:lnTo>
                    <a:lnTo>
                      <a:pt x="558" y="299"/>
                    </a:lnTo>
                    <a:lnTo>
                      <a:pt x="556" y="299"/>
                    </a:lnTo>
                    <a:lnTo>
                      <a:pt x="554" y="301"/>
                    </a:lnTo>
                    <a:lnTo>
                      <a:pt x="553" y="299"/>
                    </a:lnTo>
                    <a:lnTo>
                      <a:pt x="553" y="301"/>
                    </a:lnTo>
                    <a:lnTo>
                      <a:pt x="551" y="301"/>
                    </a:lnTo>
                    <a:lnTo>
                      <a:pt x="549" y="303"/>
                    </a:lnTo>
                    <a:lnTo>
                      <a:pt x="549" y="304"/>
                    </a:lnTo>
                    <a:lnTo>
                      <a:pt x="549" y="306"/>
                    </a:lnTo>
                    <a:lnTo>
                      <a:pt x="549" y="308"/>
                    </a:lnTo>
                    <a:lnTo>
                      <a:pt x="549" y="309"/>
                    </a:lnTo>
                    <a:lnTo>
                      <a:pt x="547" y="309"/>
                    </a:lnTo>
                    <a:lnTo>
                      <a:pt x="546" y="309"/>
                    </a:lnTo>
                    <a:lnTo>
                      <a:pt x="546" y="311"/>
                    </a:lnTo>
                    <a:lnTo>
                      <a:pt x="544" y="311"/>
                    </a:lnTo>
                    <a:lnTo>
                      <a:pt x="544" y="313"/>
                    </a:lnTo>
                    <a:lnTo>
                      <a:pt x="542" y="315"/>
                    </a:lnTo>
                    <a:lnTo>
                      <a:pt x="541" y="316"/>
                    </a:lnTo>
                    <a:lnTo>
                      <a:pt x="539" y="316"/>
                    </a:lnTo>
                    <a:lnTo>
                      <a:pt x="537" y="316"/>
                    </a:lnTo>
                    <a:lnTo>
                      <a:pt x="539" y="316"/>
                    </a:lnTo>
                    <a:lnTo>
                      <a:pt x="539" y="318"/>
                    </a:lnTo>
                    <a:lnTo>
                      <a:pt x="539" y="320"/>
                    </a:lnTo>
                    <a:lnTo>
                      <a:pt x="539" y="321"/>
                    </a:lnTo>
                    <a:lnTo>
                      <a:pt x="539" y="323"/>
                    </a:lnTo>
                    <a:lnTo>
                      <a:pt x="537" y="323"/>
                    </a:lnTo>
                    <a:lnTo>
                      <a:pt x="536" y="325"/>
                    </a:lnTo>
                    <a:lnTo>
                      <a:pt x="534" y="325"/>
                    </a:lnTo>
                    <a:lnTo>
                      <a:pt x="534" y="326"/>
                    </a:lnTo>
                    <a:lnTo>
                      <a:pt x="532" y="326"/>
                    </a:lnTo>
                    <a:lnTo>
                      <a:pt x="530" y="326"/>
                    </a:lnTo>
                    <a:lnTo>
                      <a:pt x="530" y="328"/>
                    </a:lnTo>
                    <a:lnTo>
                      <a:pt x="530" y="330"/>
                    </a:lnTo>
                    <a:lnTo>
                      <a:pt x="530" y="332"/>
                    </a:lnTo>
                    <a:lnTo>
                      <a:pt x="532" y="333"/>
                    </a:lnTo>
                    <a:lnTo>
                      <a:pt x="532" y="335"/>
                    </a:lnTo>
                    <a:lnTo>
                      <a:pt x="532" y="337"/>
                    </a:lnTo>
                    <a:lnTo>
                      <a:pt x="532" y="338"/>
                    </a:lnTo>
                    <a:lnTo>
                      <a:pt x="532" y="340"/>
                    </a:lnTo>
                    <a:lnTo>
                      <a:pt x="532" y="344"/>
                    </a:lnTo>
                    <a:lnTo>
                      <a:pt x="532" y="345"/>
                    </a:lnTo>
                    <a:lnTo>
                      <a:pt x="530" y="345"/>
                    </a:lnTo>
                    <a:lnTo>
                      <a:pt x="529" y="345"/>
                    </a:lnTo>
                    <a:lnTo>
                      <a:pt x="529" y="347"/>
                    </a:lnTo>
                    <a:lnTo>
                      <a:pt x="530" y="347"/>
                    </a:lnTo>
                    <a:lnTo>
                      <a:pt x="530" y="349"/>
                    </a:lnTo>
                    <a:lnTo>
                      <a:pt x="530" y="350"/>
                    </a:lnTo>
                    <a:lnTo>
                      <a:pt x="530" y="352"/>
                    </a:lnTo>
                    <a:lnTo>
                      <a:pt x="529" y="352"/>
                    </a:lnTo>
                    <a:lnTo>
                      <a:pt x="529" y="354"/>
                    </a:lnTo>
                    <a:lnTo>
                      <a:pt x="529" y="355"/>
                    </a:lnTo>
                    <a:lnTo>
                      <a:pt x="529" y="357"/>
                    </a:lnTo>
                    <a:lnTo>
                      <a:pt x="529" y="359"/>
                    </a:lnTo>
                    <a:lnTo>
                      <a:pt x="527" y="361"/>
                    </a:lnTo>
                    <a:lnTo>
                      <a:pt x="527" y="362"/>
                    </a:lnTo>
                    <a:lnTo>
                      <a:pt x="527" y="364"/>
                    </a:lnTo>
                    <a:lnTo>
                      <a:pt x="525" y="364"/>
                    </a:lnTo>
                    <a:lnTo>
                      <a:pt x="524" y="366"/>
                    </a:lnTo>
                    <a:lnTo>
                      <a:pt x="524" y="367"/>
                    </a:lnTo>
                    <a:lnTo>
                      <a:pt x="525" y="367"/>
                    </a:lnTo>
                    <a:lnTo>
                      <a:pt x="525" y="369"/>
                    </a:lnTo>
                    <a:lnTo>
                      <a:pt x="527" y="369"/>
                    </a:lnTo>
                    <a:lnTo>
                      <a:pt x="527" y="371"/>
                    </a:lnTo>
                    <a:lnTo>
                      <a:pt x="527" y="372"/>
                    </a:lnTo>
                    <a:lnTo>
                      <a:pt x="525" y="376"/>
                    </a:lnTo>
                    <a:lnTo>
                      <a:pt x="525" y="378"/>
                    </a:lnTo>
                    <a:lnTo>
                      <a:pt x="524" y="381"/>
                    </a:lnTo>
                    <a:lnTo>
                      <a:pt x="522" y="381"/>
                    </a:lnTo>
                    <a:lnTo>
                      <a:pt x="520" y="381"/>
                    </a:lnTo>
                    <a:lnTo>
                      <a:pt x="520" y="383"/>
                    </a:lnTo>
                    <a:lnTo>
                      <a:pt x="520" y="384"/>
                    </a:lnTo>
                    <a:lnTo>
                      <a:pt x="520" y="386"/>
                    </a:lnTo>
                    <a:lnTo>
                      <a:pt x="522" y="388"/>
                    </a:lnTo>
                    <a:lnTo>
                      <a:pt x="522" y="389"/>
                    </a:lnTo>
                    <a:lnTo>
                      <a:pt x="522" y="391"/>
                    </a:lnTo>
                    <a:lnTo>
                      <a:pt x="520" y="391"/>
                    </a:lnTo>
                    <a:lnTo>
                      <a:pt x="520" y="393"/>
                    </a:lnTo>
                    <a:lnTo>
                      <a:pt x="520" y="395"/>
                    </a:lnTo>
                    <a:lnTo>
                      <a:pt x="522" y="396"/>
                    </a:lnTo>
                    <a:lnTo>
                      <a:pt x="522" y="398"/>
                    </a:lnTo>
                    <a:lnTo>
                      <a:pt x="524" y="398"/>
                    </a:lnTo>
                    <a:lnTo>
                      <a:pt x="524" y="400"/>
                    </a:lnTo>
                    <a:lnTo>
                      <a:pt x="522" y="400"/>
                    </a:lnTo>
                    <a:lnTo>
                      <a:pt x="522" y="401"/>
                    </a:lnTo>
                    <a:lnTo>
                      <a:pt x="520" y="401"/>
                    </a:lnTo>
                    <a:lnTo>
                      <a:pt x="520" y="403"/>
                    </a:lnTo>
                    <a:lnTo>
                      <a:pt x="520" y="405"/>
                    </a:lnTo>
                    <a:lnTo>
                      <a:pt x="519" y="406"/>
                    </a:lnTo>
                    <a:lnTo>
                      <a:pt x="520" y="406"/>
                    </a:lnTo>
                    <a:lnTo>
                      <a:pt x="520" y="408"/>
                    </a:lnTo>
                    <a:lnTo>
                      <a:pt x="520" y="410"/>
                    </a:lnTo>
                    <a:lnTo>
                      <a:pt x="520" y="412"/>
                    </a:lnTo>
                    <a:lnTo>
                      <a:pt x="522" y="413"/>
                    </a:lnTo>
                    <a:lnTo>
                      <a:pt x="520" y="413"/>
                    </a:lnTo>
                    <a:lnTo>
                      <a:pt x="522" y="413"/>
                    </a:lnTo>
                    <a:lnTo>
                      <a:pt x="522" y="415"/>
                    </a:lnTo>
                    <a:lnTo>
                      <a:pt x="522" y="417"/>
                    </a:lnTo>
                    <a:lnTo>
                      <a:pt x="522" y="418"/>
                    </a:lnTo>
                    <a:lnTo>
                      <a:pt x="522" y="420"/>
                    </a:lnTo>
                    <a:lnTo>
                      <a:pt x="522" y="422"/>
                    </a:lnTo>
                    <a:lnTo>
                      <a:pt x="522" y="423"/>
                    </a:lnTo>
                    <a:lnTo>
                      <a:pt x="524" y="425"/>
                    </a:lnTo>
                    <a:lnTo>
                      <a:pt x="524" y="427"/>
                    </a:lnTo>
                    <a:lnTo>
                      <a:pt x="524" y="429"/>
                    </a:lnTo>
                    <a:lnTo>
                      <a:pt x="522" y="429"/>
                    </a:lnTo>
                    <a:lnTo>
                      <a:pt x="522" y="430"/>
                    </a:lnTo>
                    <a:lnTo>
                      <a:pt x="520" y="430"/>
                    </a:lnTo>
                    <a:lnTo>
                      <a:pt x="519" y="432"/>
                    </a:lnTo>
                    <a:lnTo>
                      <a:pt x="517" y="432"/>
                    </a:lnTo>
                    <a:lnTo>
                      <a:pt x="515" y="432"/>
                    </a:lnTo>
                    <a:lnTo>
                      <a:pt x="513" y="432"/>
                    </a:lnTo>
                    <a:lnTo>
                      <a:pt x="513" y="434"/>
                    </a:lnTo>
                    <a:lnTo>
                      <a:pt x="513" y="439"/>
                    </a:lnTo>
                    <a:lnTo>
                      <a:pt x="513" y="440"/>
                    </a:lnTo>
                    <a:lnTo>
                      <a:pt x="512" y="440"/>
                    </a:lnTo>
                    <a:lnTo>
                      <a:pt x="512" y="442"/>
                    </a:lnTo>
                    <a:lnTo>
                      <a:pt x="510" y="444"/>
                    </a:lnTo>
                    <a:lnTo>
                      <a:pt x="510" y="447"/>
                    </a:lnTo>
                    <a:lnTo>
                      <a:pt x="510" y="449"/>
                    </a:lnTo>
                    <a:lnTo>
                      <a:pt x="510" y="451"/>
                    </a:lnTo>
                    <a:lnTo>
                      <a:pt x="510" y="456"/>
                    </a:lnTo>
                    <a:lnTo>
                      <a:pt x="510" y="457"/>
                    </a:lnTo>
                    <a:lnTo>
                      <a:pt x="512" y="459"/>
                    </a:lnTo>
                    <a:lnTo>
                      <a:pt x="512" y="461"/>
                    </a:lnTo>
                    <a:lnTo>
                      <a:pt x="512" y="463"/>
                    </a:lnTo>
                    <a:lnTo>
                      <a:pt x="512" y="464"/>
                    </a:lnTo>
                    <a:lnTo>
                      <a:pt x="512" y="466"/>
                    </a:lnTo>
                    <a:lnTo>
                      <a:pt x="512" y="468"/>
                    </a:lnTo>
                    <a:lnTo>
                      <a:pt x="513" y="469"/>
                    </a:lnTo>
                    <a:lnTo>
                      <a:pt x="515" y="469"/>
                    </a:lnTo>
                    <a:lnTo>
                      <a:pt x="513" y="469"/>
                    </a:lnTo>
                    <a:lnTo>
                      <a:pt x="513" y="471"/>
                    </a:lnTo>
                    <a:lnTo>
                      <a:pt x="513" y="473"/>
                    </a:lnTo>
                    <a:lnTo>
                      <a:pt x="513" y="474"/>
                    </a:lnTo>
                    <a:lnTo>
                      <a:pt x="513" y="476"/>
                    </a:lnTo>
                    <a:lnTo>
                      <a:pt x="513" y="478"/>
                    </a:lnTo>
                    <a:lnTo>
                      <a:pt x="512" y="480"/>
                    </a:lnTo>
                    <a:lnTo>
                      <a:pt x="510" y="480"/>
                    </a:lnTo>
                    <a:lnTo>
                      <a:pt x="510" y="481"/>
                    </a:lnTo>
                    <a:lnTo>
                      <a:pt x="512" y="481"/>
                    </a:lnTo>
                    <a:lnTo>
                      <a:pt x="512" y="483"/>
                    </a:lnTo>
                    <a:lnTo>
                      <a:pt x="512" y="485"/>
                    </a:lnTo>
                    <a:lnTo>
                      <a:pt x="510" y="483"/>
                    </a:lnTo>
                    <a:lnTo>
                      <a:pt x="510" y="485"/>
                    </a:lnTo>
                    <a:lnTo>
                      <a:pt x="510" y="486"/>
                    </a:lnTo>
                    <a:lnTo>
                      <a:pt x="508" y="486"/>
                    </a:lnTo>
                    <a:lnTo>
                      <a:pt x="508" y="485"/>
                    </a:lnTo>
                    <a:lnTo>
                      <a:pt x="507" y="485"/>
                    </a:lnTo>
                    <a:lnTo>
                      <a:pt x="507" y="486"/>
                    </a:lnTo>
                    <a:lnTo>
                      <a:pt x="508" y="486"/>
                    </a:lnTo>
                    <a:lnTo>
                      <a:pt x="510" y="486"/>
                    </a:lnTo>
                    <a:lnTo>
                      <a:pt x="510" y="488"/>
                    </a:lnTo>
                    <a:lnTo>
                      <a:pt x="510" y="490"/>
                    </a:lnTo>
                    <a:lnTo>
                      <a:pt x="512" y="490"/>
                    </a:lnTo>
                    <a:lnTo>
                      <a:pt x="510" y="490"/>
                    </a:lnTo>
                    <a:lnTo>
                      <a:pt x="512" y="490"/>
                    </a:lnTo>
                    <a:lnTo>
                      <a:pt x="512" y="491"/>
                    </a:lnTo>
                    <a:lnTo>
                      <a:pt x="513" y="491"/>
                    </a:lnTo>
                    <a:lnTo>
                      <a:pt x="513" y="493"/>
                    </a:lnTo>
                    <a:lnTo>
                      <a:pt x="515" y="495"/>
                    </a:lnTo>
                    <a:lnTo>
                      <a:pt x="515" y="493"/>
                    </a:lnTo>
                    <a:lnTo>
                      <a:pt x="515" y="495"/>
                    </a:lnTo>
                    <a:lnTo>
                      <a:pt x="517" y="495"/>
                    </a:lnTo>
                    <a:lnTo>
                      <a:pt x="517" y="497"/>
                    </a:lnTo>
                    <a:lnTo>
                      <a:pt x="519" y="497"/>
                    </a:lnTo>
                    <a:lnTo>
                      <a:pt x="519" y="498"/>
                    </a:lnTo>
                    <a:lnTo>
                      <a:pt x="520" y="498"/>
                    </a:lnTo>
                    <a:lnTo>
                      <a:pt x="522" y="498"/>
                    </a:lnTo>
                    <a:lnTo>
                      <a:pt x="524" y="498"/>
                    </a:lnTo>
                    <a:lnTo>
                      <a:pt x="524" y="500"/>
                    </a:lnTo>
                    <a:lnTo>
                      <a:pt x="525" y="500"/>
                    </a:lnTo>
                    <a:lnTo>
                      <a:pt x="527" y="500"/>
                    </a:lnTo>
                    <a:lnTo>
                      <a:pt x="527" y="502"/>
                    </a:lnTo>
                    <a:lnTo>
                      <a:pt x="529" y="502"/>
                    </a:lnTo>
                    <a:lnTo>
                      <a:pt x="529" y="503"/>
                    </a:lnTo>
                    <a:lnTo>
                      <a:pt x="529" y="502"/>
                    </a:lnTo>
                    <a:lnTo>
                      <a:pt x="530" y="503"/>
                    </a:lnTo>
                    <a:lnTo>
                      <a:pt x="530" y="502"/>
                    </a:lnTo>
                    <a:lnTo>
                      <a:pt x="532" y="503"/>
                    </a:lnTo>
                    <a:lnTo>
                      <a:pt x="534" y="505"/>
                    </a:lnTo>
                    <a:lnTo>
                      <a:pt x="536" y="505"/>
                    </a:lnTo>
                    <a:lnTo>
                      <a:pt x="536" y="507"/>
                    </a:lnTo>
                    <a:lnTo>
                      <a:pt x="537" y="507"/>
                    </a:lnTo>
                    <a:lnTo>
                      <a:pt x="539" y="507"/>
                    </a:lnTo>
                    <a:lnTo>
                      <a:pt x="539" y="509"/>
                    </a:lnTo>
                    <a:lnTo>
                      <a:pt x="541" y="509"/>
                    </a:lnTo>
                    <a:lnTo>
                      <a:pt x="542" y="510"/>
                    </a:lnTo>
                    <a:lnTo>
                      <a:pt x="544" y="510"/>
                    </a:lnTo>
                    <a:lnTo>
                      <a:pt x="544" y="512"/>
                    </a:lnTo>
                    <a:lnTo>
                      <a:pt x="546" y="512"/>
                    </a:lnTo>
                    <a:lnTo>
                      <a:pt x="546" y="514"/>
                    </a:lnTo>
                    <a:lnTo>
                      <a:pt x="547" y="514"/>
                    </a:lnTo>
                    <a:lnTo>
                      <a:pt x="547" y="515"/>
                    </a:lnTo>
                    <a:lnTo>
                      <a:pt x="549" y="515"/>
                    </a:lnTo>
                    <a:lnTo>
                      <a:pt x="549" y="517"/>
                    </a:lnTo>
                    <a:lnTo>
                      <a:pt x="551" y="517"/>
                    </a:lnTo>
                    <a:lnTo>
                      <a:pt x="551" y="519"/>
                    </a:lnTo>
                    <a:lnTo>
                      <a:pt x="553" y="520"/>
                    </a:lnTo>
                    <a:lnTo>
                      <a:pt x="553" y="522"/>
                    </a:lnTo>
                    <a:lnTo>
                      <a:pt x="554" y="522"/>
                    </a:lnTo>
                    <a:lnTo>
                      <a:pt x="554" y="524"/>
                    </a:lnTo>
                    <a:lnTo>
                      <a:pt x="554" y="526"/>
                    </a:lnTo>
                    <a:lnTo>
                      <a:pt x="556" y="526"/>
                    </a:lnTo>
                    <a:lnTo>
                      <a:pt x="556" y="527"/>
                    </a:lnTo>
                    <a:lnTo>
                      <a:pt x="556" y="529"/>
                    </a:lnTo>
                    <a:lnTo>
                      <a:pt x="554" y="529"/>
                    </a:lnTo>
                    <a:lnTo>
                      <a:pt x="554" y="531"/>
                    </a:lnTo>
                    <a:lnTo>
                      <a:pt x="553" y="531"/>
                    </a:lnTo>
                    <a:lnTo>
                      <a:pt x="553" y="532"/>
                    </a:lnTo>
                    <a:lnTo>
                      <a:pt x="551" y="534"/>
                    </a:lnTo>
                    <a:lnTo>
                      <a:pt x="551" y="536"/>
                    </a:lnTo>
                    <a:lnTo>
                      <a:pt x="549" y="537"/>
                    </a:lnTo>
                    <a:lnTo>
                      <a:pt x="549" y="539"/>
                    </a:lnTo>
                    <a:lnTo>
                      <a:pt x="547" y="539"/>
                    </a:lnTo>
                    <a:lnTo>
                      <a:pt x="549" y="539"/>
                    </a:lnTo>
                    <a:lnTo>
                      <a:pt x="547" y="539"/>
                    </a:lnTo>
                    <a:lnTo>
                      <a:pt x="547" y="541"/>
                    </a:lnTo>
                    <a:lnTo>
                      <a:pt x="547" y="543"/>
                    </a:lnTo>
                    <a:lnTo>
                      <a:pt x="547" y="544"/>
                    </a:lnTo>
                    <a:lnTo>
                      <a:pt x="547" y="546"/>
                    </a:lnTo>
                    <a:lnTo>
                      <a:pt x="547" y="548"/>
                    </a:lnTo>
                    <a:lnTo>
                      <a:pt x="547" y="549"/>
                    </a:lnTo>
                    <a:lnTo>
                      <a:pt x="547" y="551"/>
                    </a:lnTo>
                    <a:lnTo>
                      <a:pt x="549" y="551"/>
                    </a:lnTo>
                    <a:lnTo>
                      <a:pt x="549" y="553"/>
                    </a:lnTo>
                    <a:lnTo>
                      <a:pt x="549" y="554"/>
                    </a:lnTo>
                    <a:lnTo>
                      <a:pt x="551" y="554"/>
                    </a:lnTo>
                    <a:lnTo>
                      <a:pt x="551" y="556"/>
                    </a:lnTo>
                    <a:lnTo>
                      <a:pt x="551" y="558"/>
                    </a:lnTo>
                    <a:lnTo>
                      <a:pt x="553" y="558"/>
                    </a:lnTo>
                    <a:lnTo>
                      <a:pt x="553" y="560"/>
                    </a:lnTo>
                    <a:lnTo>
                      <a:pt x="554" y="560"/>
                    </a:lnTo>
                    <a:lnTo>
                      <a:pt x="554" y="561"/>
                    </a:lnTo>
                    <a:lnTo>
                      <a:pt x="556" y="561"/>
                    </a:lnTo>
                    <a:lnTo>
                      <a:pt x="556" y="563"/>
                    </a:lnTo>
                    <a:lnTo>
                      <a:pt x="558" y="563"/>
                    </a:lnTo>
                    <a:lnTo>
                      <a:pt x="559" y="565"/>
                    </a:lnTo>
                    <a:lnTo>
                      <a:pt x="561" y="565"/>
                    </a:lnTo>
                    <a:lnTo>
                      <a:pt x="563" y="565"/>
                    </a:lnTo>
                    <a:lnTo>
                      <a:pt x="564" y="565"/>
                    </a:lnTo>
                    <a:lnTo>
                      <a:pt x="566" y="565"/>
                    </a:lnTo>
                    <a:lnTo>
                      <a:pt x="568" y="565"/>
                    </a:lnTo>
                    <a:lnTo>
                      <a:pt x="568" y="563"/>
                    </a:lnTo>
                    <a:lnTo>
                      <a:pt x="570" y="563"/>
                    </a:lnTo>
                    <a:lnTo>
                      <a:pt x="570" y="565"/>
                    </a:lnTo>
                    <a:lnTo>
                      <a:pt x="570" y="566"/>
                    </a:lnTo>
                    <a:lnTo>
                      <a:pt x="570" y="568"/>
                    </a:lnTo>
                    <a:lnTo>
                      <a:pt x="571" y="571"/>
                    </a:lnTo>
                    <a:lnTo>
                      <a:pt x="571" y="573"/>
                    </a:lnTo>
                    <a:lnTo>
                      <a:pt x="571" y="575"/>
                    </a:lnTo>
                    <a:lnTo>
                      <a:pt x="571" y="577"/>
                    </a:lnTo>
                    <a:lnTo>
                      <a:pt x="571" y="578"/>
                    </a:lnTo>
                    <a:lnTo>
                      <a:pt x="571" y="580"/>
                    </a:lnTo>
                    <a:lnTo>
                      <a:pt x="571" y="582"/>
                    </a:lnTo>
                    <a:lnTo>
                      <a:pt x="571" y="583"/>
                    </a:lnTo>
                    <a:lnTo>
                      <a:pt x="571" y="585"/>
                    </a:lnTo>
                    <a:lnTo>
                      <a:pt x="571" y="587"/>
                    </a:lnTo>
                    <a:lnTo>
                      <a:pt x="571" y="588"/>
                    </a:lnTo>
                    <a:lnTo>
                      <a:pt x="570" y="590"/>
                    </a:lnTo>
                    <a:lnTo>
                      <a:pt x="568" y="592"/>
                    </a:lnTo>
                    <a:lnTo>
                      <a:pt x="568" y="594"/>
                    </a:lnTo>
                    <a:lnTo>
                      <a:pt x="566" y="595"/>
                    </a:lnTo>
                    <a:lnTo>
                      <a:pt x="566" y="597"/>
                    </a:lnTo>
                    <a:lnTo>
                      <a:pt x="564" y="599"/>
                    </a:lnTo>
                    <a:lnTo>
                      <a:pt x="563" y="600"/>
                    </a:lnTo>
                    <a:lnTo>
                      <a:pt x="563" y="602"/>
                    </a:lnTo>
                    <a:lnTo>
                      <a:pt x="561" y="604"/>
                    </a:lnTo>
                    <a:lnTo>
                      <a:pt x="561" y="605"/>
                    </a:lnTo>
                    <a:lnTo>
                      <a:pt x="559" y="605"/>
                    </a:lnTo>
                    <a:lnTo>
                      <a:pt x="559" y="607"/>
                    </a:lnTo>
                    <a:lnTo>
                      <a:pt x="558" y="609"/>
                    </a:lnTo>
                    <a:lnTo>
                      <a:pt x="558" y="611"/>
                    </a:lnTo>
                    <a:lnTo>
                      <a:pt x="558" y="612"/>
                    </a:lnTo>
                    <a:lnTo>
                      <a:pt x="556" y="612"/>
                    </a:lnTo>
                    <a:lnTo>
                      <a:pt x="556" y="614"/>
                    </a:lnTo>
                    <a:lnTo>
                      <a:pt x="554" y="614"/>
                    </a:lnTo>
                    <a:lnTo>
                      <a:pt x="554" y="616"/>
                    </a:lnTo>
                    <a:lnTo>
                      <a:pt x="553" y="617"/>
                    </a:lnTo>
                    <a:lnTo>
                      <a:pt x="551" y="619"/>
                    </a:lnTo>
                    <a:lnTo>
                      <a:pt x="549" y="621"/>
                    </a:lnTo>
                    <a:lnTo>
                      <a:pt x="547" y="622"/>
                    </a:lnTo>
                    <a:lnTo>
                      <a:pt x="546" y="624"/>
                    </a:lnTo>
                    <a:lnTo>
                      <a:pt x="546" y="626"/>
                    </a:lnTo>
                    <a:lnTo>
                      <a:pt x="544" y="626"/>
                    </a:lnTo>
                    <a:lnTo>
                      <a:pt x="544" y="628"/>
                    </a:lnTo>
                    <a:lnTo>
                      <a:pt x="542" y="629"/>
                    </a:lnTo>
                    <a:lnTo>
                      <a:pt x="542" y="631"/>
                    </a:lnTo>
                    <a:lnTo>
                      <a:pt x="542" y="633"/>
                    </a:lnTo>
                    <a:lnTo>
                      <a:pt x="542" y="634"/>
                    </a:lnTo>
                    <a:lnTo>
                      <a:pt x="542" y="636"/>
                    </a:lnTo>
                    <a:lnTo>
                      <a:pt x="542" y="638"/>
                    </a:lnTo>
                    <a:lnTo>
                      <a:pt x="542" y="636"/>
                    </a:lnTo>
                    <a:lnTo>
                      <a:pt x="542" y="638"/>
                    </a:lnTo>
                    <a:lnTo>
                      <a:pt x="542" y="639"/>
                    </a:lnTo>
                    <a:lnTo>
                      <a:pt x="541" y="639"/>
                    </a:lnTo>
                    <a:lnTo>
                      <a:pt x="539" y="641"/>
                    </a:lnTo>
                    <a:lnTo>
                      <a:pt x="539" y="643"/>
                    </a:lnTo>
                    <a:lnTo>
                      <a:pt x="537" y="643"/>
                    </a:lnTo>
                    <a:lnTo>
                      <a:pt x="537" y="645"/>
                    </a:lnTo>
                    <a:lnTo>
                      <a:pt x="536" y="645"/>
                    </a:lnTo>
                    <a:lnTo>
                      <a:pt x="534" y="645"/>
                    </a:lnTo>
                    <a:lnTo>
                      <a:pt x="534" y="646"/>
                    </a:lnTo>
                    <a:lnTo>
                      <a:pt x="532" y="646"/>
                    </a:lnTo>
                    <a:lnTo>
                      <a:pt x="532" y="648"/>
                    </a:lnTo>
                    <a:lnTo>
                      <a:pt x="530" y="648"/>
                    </a:lnTo>
                    <a:lnTo>
                      <a:pt x="529" y="648"/>
                    </a:lnTo>
                    <a:lnTo>
                      <a:pt x="527" y="650"/>
                    </a:lnTo>
                    <a:lnTo>
                      <a:pt x="525" y="650"/>
                    </a:lnTo>
                    <a:lnTo>
                      <a:pt x="525" y="651"/>
                    </a:lnTo>
                    <a:lnTo>
                      <a:pt x="524" y="651"/>
                    </a:lnTo>
                    <a:lnTo>
                      <a:pt x="522" y="653"/>
                    </a:lnTo>
                    <a:lnTo>
                      <a:pt x="520" y="653"/>
                    </a:lnTo>
                    <a:lnTo>
                      <a:pt x="519" y="655"/>
                    </a:lnTo>
                    <a:lnTo>
                      <a:pt x="517" y="655"/>
                    </a:lnTo>
                    <a:lnTo>
                      <a:pt x="515" y="655"/>
                    </a:lnTo>
                    <a:lnTo>
                      <a:pt x="515" y="656"/>
                    </a:lnTo>
                    <a:lnTo>
                      <a:pt x="513" y="656"/>
                    </a:lnTo>
                    <a:lnTo>
                      <a:pt x="512" y="656"/>
                    </a:lnTo>
                    <a:lnTo>
                      <a:pt x="510" y="658"/>
                    </a:lnTo>
                    <a:lnTo>
                      <a:pt x="508" y="658"/>
                    </a:lnTo>
                    <a:lnTo>
                      <a:pt x="507" y="658"/>
                    </a:lnTo>
                    <a:lnTo>
                      <a:pt x="507" y="660"/>
                    </a:lnTo>
                    <a:lnTo>
                      <a:pt x="505" y="660"/>
                    </a:lnTo>
                    <a:lnTo>
                      <a:pt x="503" y="660"/>
                    </a:lnTo>
                    <a:lnTo>
                      <a:pt x="502" y="660"/>
                    </a:lnTo>
                    <a:lnTo>
                      <a:pt x="500" y="662"/>
                    </a:lnTo>
                    <a:lnTo>
                      <a:pt x="498" y="662"/>
                    </a:lnTo>
                    <a:lnTo>
                      <a:pt x="496" y="663"/>
                    </a:lnTo>
                    <a:lnTo>
                      <a:pt x="495" y="663"/>
                    </a:lnTo>
                    <a:lnTo>
                      <a:pt x="493" y="663"/>
                    </a:lnTo>
                    <a:lnTo>
                      <a:pt x="491" y="665"/>
                    </a:lnTo>
                    <a:lnTo>
                      <a:pt x="490" y="665"/>
                    </a:lnTo>
                    <a:lnTo>
                      <a:pt x="488" y="665"/>
                    </a:lnTo>
                    <a:lnTo>
                      <a:pt x="486" y="665"/>
                    </a:lnTo>
                    <a:lnTo>
                      <a:pt x="485" y="667"/>
                    </a:lnTo>
                    <a:lnTo>
                      <a:pt x="483" y="667"/>
                    </a:lnTo>
                    <a:lnTo>
                      <a:pt x="481" y="667"/>
                    </a:lnTo>
                    <a:lnTo>
                      <a:pt x="479" y="667"/>
                    </a:lnTo>
                    <a:lnTo>
                      <a:pt x="479" y="668"/>
                    </a:lnTo>
                    <a:lnTo>
                      <a:pt x="478" y="668"/>
                    </a:lnTo>
                    <a:lnTo>
                      <a:pt x="476" y="668"/>
                    </a:lnTo>
                    <a:lnTo>
                      <a:pt x="474" y="668"/>
                    </a:lnTo>
                    <a:lnTo>
                      <a:pt x="473" y="668"/>
                    </a:lnTo>
                    <a:lnTo>
                      <a:pt x="471" y="668"/>
                    </a:lnTo>
                    <a:lnTo>
                      <a:pt x="469" y="670"/>
                    </a:lnTo>
                    <a:lnTo>
                      <a:pt x="468" y="670"/>
                    </a:lnTo>
                    <a:lnTo>
                      <a:pt x="466" y="670"/>
                    </a:lnTo>
                    <a:lnTo>
                      <a:pt x="464" y="672"/>
                    </a:lnTo>
                    <a:lnTo>
                      <a:pt x="462" y="672"/>
                    </a:lnTo>
                    <a:lnTo>
                      <a:pt x="461" y="672"/>
                    </a:lnTo>
                    <a:lnTo>
                      <a:pt x="459" y="672"/>
                    </a:lnTo>
                    <a:lnTo>
                      <a:pt x="457" y="672"/>
                    </a:lnTo>
                    <a:lnTo>
                      <a:pt x="456" y="672"/>
                    </a:lnTo>
                    <a:lnTo>
                      <a:pt x="454" y="672"/>
                    </a:lnTo>
                    <a:lnTo>
                      <a:pt x="454" y="674"/>
                    </a:lnTo>
                    <a:lnTo>
                      <a:pt x="452" y="674"/>
                    </a:lnTo>
                    <a:lnTo>
                      <a:pt x="449" y="674"/>
                    </a:lnTo>
                    <a:lnTo>
                      <a:pt x="447" y="674"/>
                    </a:lnTo>
                    <a:lnTo>
                      <a:pt x="445" y="675"/>
                    </a:lnTo>
                    <a:lnTo>
                      <a:pt x="444" y="675"/>
                    </a:lnTo>
                    <a:lnTo>
                      <a:pt x="442" y="675"/>
                    </a:lnTo>
                    <a:lnTo>
                      <a:pt x="440" y="675"/>
                    </a:lnTo>
                    <a:lnTo>
                      <a:pt x="439" y="675"/>
                    </a:lnTo>
                    <a:lnTo>
                      <a:pt x="435" y="677"/>
                    </a:lnTo>
                    <a:lnTo>
                      <a:pt x="434" y="677"/>
                    </a:lnTo>
                    <a:lnTo>
                      <a:pt x="432" y="677"/>
                    </a:lnTo>
                    <a:lnTo>
                      <a:pt x="430" y="677"/>
                    </a:lnTo>
                    <a:lnTo>
                      <a:pt x="428" y="677"/>
                    </a:lnTo>
                    <a:lnTo>
                      <a:pt x="427" y="677"/>
                    </a:lnTo>
                    <a:lnTo>
                      <a:pt x="425" y="677"/>
                    </a:lnTo>
                    <a:lnTo>
                      <a:pt x="423" y="679"/>
                    </a:lnTo>
                    <a:lnTo>
                      <a:pt x="422" y="679"/>
                    </a:lnTo>
                    <a:lnTo>
                      <a:pt x="420" y="679"/>
                    </a:lnTo>
                    <a:lnTo>
                      <a:pt x="418" y="679"/>
                    </a:lnTo>
                    <a:lnTo>
                      <a:pt x="417" y="679"/>
                    </a:lnTo>
                    <a:lnTo>
                      <a:pt x="415" y="679"/>
                    </a:lnTo>
                    <a:lnTo>
                      <a:pt x="411" y="679"/>
                    </a:lnTo>
                    <a:lnTo>
                      <a:pt x="410" y="679"/>
                    </a:lnTo>
                    <a:lnTo>
                      <a:pt x="408" y="679"/>
                    </a:lnTo>
                    <a:lnTo>
                      <a:pt x="406" y="679"/>
                    </a:lnTo>
                    <a:lnTo>
                      <a:pt x="405" y="679"/>
                    </a:lnTo>
                    <a:lnTo>
                      <a:pt x="403" y="679"/>
                    </a:lnTo>
                    <a:lnTo>
                      <a:pt x="401" y="677"/>
                    </a:lnTo>
                    <a:lnTo>
                      <a:pt x="400" y="677"/>
                    </a:lnTo>
                    <a:lnTo>
                      <a:pt x="398" y="679"/>
                    </a:lnTo>
                    <a:lnTo>
                      <a:pt x="396" y="677"/>
                    </a:lnTo>
                    <a:lnTo>
                      <a:pt x="394" y="677"/>
                    </a:lnTo>
                    <a:lnTo>
                      <a:pt x="393" y="677"/>
                    </a:lnTo>
                    <a:lnTo>
                      <a:pt x="393" y="675"/>
                    </a:lnTo>
                    <a:lnTo>
                      <a:pt x="391" y="675"/>
                    </a:lnTo>
                    <a:lnTo>
                      <a:pt x="389" y="675"/>
                    </a:lnTo>
                    <a:lnTo>
                      <a:pt x="389" y="674"/>
                    </a:lnTo>
                    <a:lnTo>
                      <a:pt x="388" y="674"/>
                    </a:lnTo>
                    <a:lnTo>
                      <a:pt x="388" y="672"/>
                    </a:lnTo>
                    <a:lnTo>
                      <a:pt x="386" y="670"/>
                    </a:lnTo>
                    <a:lnTo>
                      <a:pt x="384" y="670"/>
                    </a:lnTo>
                    <a:lnTo>
                      <a:pt x="383" y="668"/>
                    </a:lnTo>
                    <a:lnTo>
                      <a:pt x="383" y="670"/>
                    </a:lnTo>
                    <a:lnTo>
                      <a:pt x="381" y="668"/>
                    </a:lnTo>
                    <a:lnTo>
                      <a:pt x="379" y="668"/>
                    </a:lnTo>
                    <a:lnTo>
                      <a:pt x="381" y="668"/>
                    </a:lnTo>
                    <a:lnTo>
                      <a:pt x="381" y="670"/>
                    </a:lnTo>
                    <a:lnTo>
                      <a:pt x="379" y="670"/>
                    </a:lnTo>
                    <a:lnTo>
                      <a:pt x="379" y="672"/>
                    </a:lnTo>
                    <a:lnTo>
                      <a:pt x="381" y="670"/>
                    </a:lnTo>
                    <a:lnTo>
                      <a:pt x="381" y="672"/>
                    </a:lnTo>
                    <a:lnTo>
                      <a:pt x="383" y="672"/>
                    </a:lnTo>
                    <a:lnTo>
                      <a:pt x="381" y="672"/>
                    </a:lnTo>
                    <a:lnTo>
                      <a:pt x="379" y="672"/>
                    </a:lnTo>
                    <a:lnTo>
                      <a:pt x="379" y="674"/>
                    </a:lnTo>
                    <a:lnTo>
                      <a:pt x="381" y="674"/>
                    </a:lnTo>
                    <a:lnTo>
                      <a:pt x="379" y="675"/>
                    </a:lnTo>
                    <a:lnTo>
                      <a:pt x="379" y="677"/>
                    </a:lnTo>
                    <a:lnTo>
                      <a:pt x="381" y="677"/>
                    </a:lnTo>
                    <a:lnTo>
                      <a:pt x="383" y="677"/>
                    </a:lnTo>
                    <a:lnTo>
                      <a:pt x="384" y="677"/>
                    </a:lnTo>
                    <a:lnTo>
                      <a:pt x="386" y="679"/>
                    </a:lnTo>
                    <a:lnTo>
                      <a:pt x="384" y="679"/>
                    </a:lnTo>
                    <a:lnTo>
                      <a:pt x="383" y="680"/>
                    </a:lnTo>
                    <a:lnTo>
                      <a:pt x="381" y="680"/>
                    </a:lnTo>
                    <a:lnTo>
                      <a:pt x="381" y="682"/>
                    </a:lnTo>
                    <a:lnTo>
                      <a:pt x="381" y="684"/>
                    </a:lnTo>
                    <a:lnTo>
                      <a:pt x="381" y="685"/>
                    </a:lnTo>
                    <a:lnTo>
                      <a:pt x="381" y="687"/>
                    </a:lnTo>
                    <a:lnTo>
                      <a:pt x="381" y="689"/>
                    </a:lnTo>
                    <a:lnTo>
                      <a:pt x="383" y="689"/>
                    </a:lnTo>
                    <a:lnTo>
                      <a:pt x="381" y="689"/>
                    </a:lnTo>
                    <a:lnTo>
                      <a:pt x="381" y="691"/>
                    </a:lnTo>
                    <a:lnTo>
                      <a:pt x="383" y="691"/>
                    </a:lnTo>
                    <a:lnTo>
                      <a:pt x="384" y="691"/>
                    </a:lnTo>
                    <a:lnTo>
                      <a:pt x="386" y="691"/>
                    </a:lnTo>
                    <a:lnTo>
                      <a:pt x="388" y="691"/>
                    </a:lnTo>
                    <a:lnTo>
                      <a:pt x="388" y="692"/>
                    </a:lnTo>
                    <a:lnTo>
                      <a:pt x="389" y="692"/>
                    </a:lnTo>
                    <a:lnTo>
                      <a:pt x="389" y="694"/>
                    </a:lnTo>
                    <a:lnTo>
                      <a:pt x="391" y="694"/>
                    </a:lnTo>
                    <a:lnTo>
                      <a:pt x="391" y="696"/>
                    </a:lnTo>
                    <a:lnTo>
                      <a:pt x="391" y="697"/>
                    </a:lnTo>
                    <a:lnTo>
                      <a:pt x="389" y="696"/>
                    </a:lnTo>
                    <a:lnTo>
                      <a:pt x="388" y="696"/>
                    </a:lnTo>
                    <a:lnTo>
                      <a:pt x="388" y="694"/>
                    </a:lnTo>
                    <a:lnTo>
                      <a:pt x="386" y="694"/>
                    </a:lnTo>
                    <a:lnTo>
                      <a:pt x="386" y="692"/>
                    </a:lnTo>
                    <a:lnTo>
                      <a:pt x="384" y="691"/>
                    </a:lnTo>
                    <a:lnTo>
                      <a:pt x="384" y="692"/>
                    </a:lnTo>
                    <a:lnTo>
                      <a:pt x="384" y="691"/>
                    </a:lnTo>
                    <a:lnTo>
                      <a:pt x="383" y="692"/>
                    </a:lnTo>
                    <a:lnTo>
                      <a:pt x="384" y="692"/>
                    </a:lnTo>
                    <a:lnTo>
                      <a:pt x="384" y="694"/>
                    </a:lnTo>
                    <a:lnTo>
                      <a:pt x="386" y="694"/>
                    </a:lnTo>
                    <a:lnTo>
                      <a:pt x="386" y="696"/>
                    </a:lnTo>
                    <a:lnTo>
                      <a:pt x="388" y="696"/>
                    </a:lnTo>
                    <a:lnTo>
                      <a:pt x="388" y="697"/>
                    </a:lnTo>
                    <a:lnTo>
                      <a:pt x="389" y="697"/>
                    </a:lnTo>
                    <a:lnTo>
                      <a:pt x="389" y="699"/>
                    </a:lnTo>
                    <a:lnTo>
                      <a:pt x="389" y="701"/>
                    </a:lnTo>
                    <a:lnTo>
                      <a:pt x="389" y="702"/>
                    </a:lnTo>
                    <a:lnTo>
                      <a:pt x="388" y="702"/>
                    </a:lnTo>
                    <a:lnTo>
                      <a:pt x="388" y="704"/>
                    </a:lnTo>
                    <a:lnTo>
                      <a:pt x="388" y="706"/>
                    </a:lnTo>
                    <a:lnTo>
                      <a:pt x="388" y="708"/>
                    </a:lnTo>
                    <a:lnTo>
                      <a:pt x="388" y="709"/>
                    </a:lnTo>
                    <a:lnTo>
                      <a:pt x="388" y="711"/>
                    </a:lnTo>
                    <a:lnTo>
                      <a:pt x="388" y="713"/>
                    </a:lnTo>
                    <a:lnTo>
                      <a:pt x="388" y="714"/>
                    </a:lnTo>
                    <a:lnTo>
                      <a:pt x="388" y="716"/>
                    </a:lnTo>
                    <a:lnTo>
                      <a:pt x="388" y="718"/>
                    </a:lnTo>
                    <a:lnTo>
                      <a:pt x="386" y="718"/>
                    </a:lnTo>
                    <a:lnTo>
                      <a:pt x="386" y="716"/>
                    </a:lnTo>
                    <a:lnTo>
                      <a:pt x="384" y="716"/>
                    </a:lnTo>
                    <a:lnTo>
                      <a:pt x="384" y="718"/>
                    </a:lnTo>
                    <a:lnTo>
                      <a:pt x="383" y="718"/>
                    </a:lnTo>
                    <a:lnTo>
                      <a:pt x="383" y="716"/>
                    </a:lnTo>
                    <a:lnTo>
                      <a:pt x="381" y="716"/>
                    </a:lnTo>
                    <a:lnTo>
                      <a:pt x="381" y="718"/>
                    </a:lnTo>
                    <a:lnTo>
                      <a:pt x="381" y="719"/>
                    </a:lnTo>
                    <a:lnTo>
                      <a:pt x="381" y="721"/>
                    </a:lnTo>
                    <a:lnTo>
                      <a:pt x="381" y="723"/>
                    </a:lnTo>
                    <a:lnTo>
                      <a:pt x="379" y="723"/>
                    </a:lnTo>
                    <a:lnTo>
                      <a:pt x="379" y="725"/>
                    </a:lnTo>
                    <a:lnTo>
                      <a:pt x="379" y="726"/>
                    </a:lnTo>
                    <a:lnTo>
                      <a:pt x="379" y="728"/>
                    </a:lnTo>
                    <a:lnTo>
                      <a:pt x="381" y="728"/>
                    </a:lnTo>
                    <a:lnTo>
                      <a:pt x="381" y="730"/>
                    </a:lnTo>
                    <a:lnTo>
                      <a:pt x="379" y="730"/>
                    </a:lnTo>
                    <a:lnTo>
                      <a:pt x="379" y="731"/>
                    </a:lnTo>
                    <a:lnTo>
                      <a:pt x="377" y="731"/>
                    </a:lnTo>
                    <a:lnTo>
                      <a:pt x="377" y="733"/>
                    </a:lnTo>
                    <a:lnTo>
                      <a:pt x="376" y="733"/>
                    </a:lnTo>
                    <a:lnTo>
                      <a:pt x="376" y="735"/>
                    </a:lnTo>
                    <a:lnTo>
                      <a:pt x="374" y="735"/>
                    </a:lnTo>
                    <a:lnTo>
                      <a:pt x="374" y="736"/>
                    </a:lnTo>
                    <a:lnTo>
                      <a:pt x="376" y="738"/>
                    </a:lnTo>
                    <a:lnTo>
                      <a:pt x="376" y="740"/>
                    </a:lnTo>
                    <a:lnTo>
                      <a:pt x="376" y="742"/>
                    </a:lnTo>
                    <a:lnTo>
                      <a:pt x="377" y="742"/>
                    </a:lnTo>
                    <a:lnTo>
                      <a:pt x="377" y="743"/>
                    </a:lnTo>
                    <a:lnTo>
                      <a:pt x="379" y="743"/>
                    </a:lnTo>
                    <a:lnTo>
                      <a:pt x="381" y="745"/>
                    </a:lnTo>
                    <a:lnTo>
                      <a:pt x="383" y="747"/>
                    </a:lnTo>
                    <a:lnTo>
                      <a:pt x="384" y="747"/>
                    </a:lnTo>
                    <a:lnTo>
                      <a:pt x="384" y="748"/>
                    </a:lnTo>
                    <a:lnTo>
                      <a:pt x="386" y="748"/>
                    </a:lnTo>
                    <a:lnTo>
                      <a:pt x="386" y="750"/>
                    </a:lnTo>
                    <a:lnTo>
                      <a:pt x="384" y="752"/>
                    </a:lnTo>
                    <a:lnTo>
                      <a:pt x="383" y="753"/>
                    </a:lnTo>
                    <a:lnTo>
                      <a:pt x="383" y="755"/>
                    </a:lnTo>
                    <a:lnTo>
                      <a:pt x="383" y="757"/>
                    </a:lnTo>
                    <a:lnTo>
                      <a:pt x="381" y="759"/>
                    </a:lnTo>
                    <a:lnTo>
                      <a:pt x="381" y="760"/>
                    </a:lnTo>
                    <a:lnTo>
                      <a:pt x="379" y="762"/>
                    </a:lnTo>
                    <a:lnTo>
                      <a:pt x="377" y="762"/>
                    </a:lnTo>
                    <a:lnTo>
                      <a:pt x="377" y="764"/>
                    </a:lnTo>
                    <a:lnTo>
                      <a:pt x="376" y="764"/>
                    </a:lnTo>
                    <a:lnTo>
                      <a:pt x="374" y="764"/>
                    </a:lnTo>
                    <a:lnTo>
                      <a:pt x="372" y="764"/>
                    </a:lnTo>
                    <a:lnTo>
                      <a:pt x="372" y="765"/>
                    </a:lnTo>
                    <a:lnTo>
                      <a:pt x="371" y="765"/>
                    </a:lnTo>
                    <a:lnTo>
                      <a:pt x="369" y="767"/>
                    </a:lnTo>
                    <a:lnTo>
                      <a:pt x="367" y="767"/>
                    </a:lnTo>
                    <a:lnTo>
                      <a:pt x="367" y="769"/>
                    </a:lnTo>
                    <a:lnTo>
                      <a:pt x="366" y="769"/>
                    </a:lnTo>
                    <a:lnTo>
                      <a:pt x="366" y="767"/>
                    </a:lnTo>
                    <a:lnTo>
                      <a:pt x="364" y="767"/>
                    </a:lnTo>
                    <a:lnTo>
                      <a:pt x="364" y="769"/>
                    </a:lnTo>
                    <a:lnTo>
                      <a:pt x="362" y="769"/>
                    </a:lnTo>
                    <a:lnTo>
                      <a:pt x="362" y="770"/>
                    </a:lnTo>
                    <a:lnTo>
                      <a:pt x="360" y="770"/>
                    </a:lnTo>
                    <a:lnTo>
                      <a:pt x="359" y="770"/>
                    </a:lnTo>
                    <a:lnTo>
                      <a:pt x="357" y="772"/>
                    </a:lnTo>
                    <a:lnTo>
                      <a:pt x="355" y="772"/>
                    </a:lnTo>
                    <a:lnTo>
                      <a:pt x="355" y="774"/>
                    </a:lnTo>
                    <a:lnTo>
                      <a:pt x="354" y="774"/>
                    </a:lnTo>
                    <a:lnTo>
                      <a:pt x="352" y="774"/>
                    </a:lnTo>
                    <a:lnTo>
                      <a:pt x="350" y="774"/>
                    </a:lnTo>
                    <a:lnTo>
                      <a:pt x="349" y="774"/>
                    </a:lnTo>
                    <a:lnTo>
                      <a:pt x="347" y="774"/>
                    </a:lnTo>
                    <a:lnTo>
                      <a:pt x="345" y="774"/>
                    </a:lnTo>
                    <a:lnTo>
                      <a:pt x="343" y="774"/>
                    </a:lnTo>
                    <a:lnTo>
                      <a:pt x="342" y="774"/>
                    </a:lnTo>
                    <a:lnTo>
                      <a:pt x="340" y="774"/>
                    </a:lnTo>
                    <a:lnTo>
                      <a:pt x="338" y="774"/>
                    </a:lnTo>
                    <a:lnTo>
                      <a:pt x="337" y="774"/>
                    </a:lnTo>
                    <a:lnTo>
                      <a:pt x="335" y="774"/>
                    </a:lnTo>
                    <a:lnTo>
                      <a:pt x="333" y="774"/>
                    </a:lnTo>
                    <a:lnTo>
                      <a:pt x="332" y="774"/>
                    </a:lnTo>
                    <a:lnTo>
                      <a:pt x="330" y="774"/>
                    </a:lnTo>
                    <a:lnTo>
                      <a:pt x="330" y="772"/>
                    </a:lnTo>
                    <a:lnTo>
                      <a:pt x="328" y="772"/>
                    </a:lnTo>
                    <a:lnTo>
                      <a:pt x="326" y="772"/>
                    </a:lnTo>
                    <a:lnTo>
                      <a:pt x="326" y="770"/>
                    </a:lnTo>
                    <a:lnTo>
                      <a:pt x="325" y="769"/>
                    </a:lnTo>
                    <a:lnTo>
                      <a:pt x="323" y="769"/>
                    </a:lnTo>
                    <a:lnTo>
                      <a:pt x="321" y="769"/>
                    </a:lnTo>
                    <a:lnTo>
                      <a:pt x="321" y="767"/>
                    </a:lnTo>
                    <a:lnTo>
                      <a:pt x="320" y="767"/>
                    </a:lnTo>
                    <a:lnTo>
                      <a:pt x="321" y="767"/>
                    </a:lnTo>
                    <a:lnTo>
                      <a:pt x="321" y="765"/>
                    </a:lnTo>
                    <a:lnTo>
                      <a:pt x="320" y="765"/>
                    </a:lnTo>
                    <a:lnTo>
                      <a:pt x="320" y="767"/>
                    </a:lnTo>
                    <a:lnTo>
                      <a:pt x="318" y="767"/>
                    </a:lnTo>
                    <a:lnTo>
                      <a:pt x="316" y="767"/>
                    </a:lnTo>
                    <a:lnTo>
                      <a:pt x="315" y="765"/>
                    </a:lnTo>
                    <a:lnTo>
                      <a:pt x="313" y="765"/>
                    </a:lnTo>
                    <a:lnTo>
                      <a:pt x="313" y="764"/>
                    </a:lnTo>
                    <a:lnTo>
                      <a:pt x="311" y="764"/>
                    </a:lnTo>
                    <a:lnTo>
                      <a:pt x="309" y="762"/>
                    </a:lnTo>
                    <a:lnTo>
                      <a:pt x="308" y="762"/>
                    </a:lnTo>
                    <a:lnTo>
                      <a:pt x="306" y="760"/>
                    </a:lnTo>
                    <a:lnTo>
                      <a:pt x="304" y="760"/>
                    </a:lnTo>
                    <a:lnTo>
                      <a:pt x="303" y="760"/>
                    </a:lnTo>
                    <a:lnTo>
                      <a:pt x="301" y="759"/>
                    </a:lnTo>
                    <a:lnTo>
                      <a:pt x="299" y="759"/>
                    </a:lnTo>
                    <a:lnTo>
                      <a:pt x="298" y="759"/>
                    </a:lnTo>
                    <a:lnTo>
                      <a:pt x="296" y="759"/>
                    </a:lnTo>
                    <a:lnTo>
                      <a:pt x="294" y="759"/>
                    </a:lnTo>
                    <a:lnTo>
                      <a:pt x="292" y="759"/>
                    </a:lnTo>
                    <a:lnTo>
                      <a:pt x="294" y="757"/>
                    </a:lnTo>
                    <a:lnTo>
                      <a:pt x="296" y="757"/>
                    </a:lnTo>
                    <a:lnTo>
                      <a:pt x="298" y="757"/>
                    </a:lnTo>
                    <a:lnTo>
                      <a:pt x="298" y="759"/>
                    </a:lnTo>
                    <a:lnTo>
                      <a:pt x="299" y="757"/>
                    </a:lnTo>
                    <a:lnTo>
                      <a:pt x="298" y="757"/>
                    </a:lnTo>
                    <a:lnTo>
                      <a:pt x="299" y="757"/>
                    </a:lnTo>
                    <a:lnTo>
                      <a:pt x="298" y="757"/>
                    </a:lnTo>
                    <a:lnTo>
                      <a:pt x="296" y="757"/>
                    </a:lnTo>
                    <a:lnTo>
                      <a:pt x="298" y="755"/>
                    </a:lnTo>
                    <a:lnTo>
                      <a:pt x="296" y="755"/>
                    </a:lnTo>
                    <a:lnTo>
                      <a:pt x="298" y="755"/>
                    </a:lnTo>
                    <a:lnTo>
                      <a:pt x="296" y="755"/>
                    </a:lnTo>
                    <a:lnTo>
                      <a:pt x="296" y="753"/>
                    </a:lnTo>
                    <a:lnTo>
                      <a:pt x="294" y="753"/>
                    </a:lnTo>
                    <a:lnTo>
                      <a:pt x="292" y="753"/>
                    </a:lnTo>
                    <a:lnTo>
                      <a:pt x="291" y="753"/>
                    </a:lnTo>
                    <a:lnTo>
                      <a:pt x="292" y="753"/>
                    </a:lnTo>
                    <a:lnTo>
                      <a:pt x="291" y="753"/>
                    </a:lnTo>
                    <a:lnTo>
                      <a:pt x="291" y="755"/>
                    </a:lnTo>
                    <a:lnTo>
                      <a:pt x="292" y="753"/>
                    </a:lnTo>
                    <a:lnTo>
                      <a:pt x="292" y="755"/>
                    </a:lnTo>
                    <a:lnTo>
                      <a:pt x="294" y="755"/>
                    </a:lnTo>
                    <a:lnTo>
                      <a:pt x="292" y="755"/>
                    </a:lnTo>
                    <a:lnTo>
                      <a:pt x="291" y="755"/>
                    </a:lnTo>
                    <a:lnTo>
                      <a:pt x="289" y="755"/>
                    </a:lnTo>
                    <a:lnTo>
                      <a:pt x="289" y="757"/>
                    </a:lnTo>
                    <a:lnTo>
                      <a:pt x="287" y="757"/>
                    </a:lnTo>
                    <a:lnTo>
                      <a:pt x="287" y="759"/>
                    </a:lnTo>
                    <a:lnTo>
                      <a:pt x="286" y="759"/>
                    </a:lnTo>
                    <a:lnTo>
                      <a:pt x="286" y="760"/>
                    </a:lnTo>
                    <a:lnTo>
                      <a:pt x="286" y="762"/>
                    </a:lnTo>
                    <a:lnTo>
                      <a:pt x="284" y="764"/>
                    </a:lnTo>
                    <a:lnTo>
                      <a:pt x="284" y="765"/>
                    </a:lnTo>
                    <a:lnTo>
                      <a:pt x="284" y="767"/>
                    </a:lnTo>
                    <a:lnTo>
                      <a:pt x="284" y="769"/>
                    </a:lnTo>
                    <a:lnTo>
                      <a:pt x="284" y="770"/>
                    </a:lnTo>
                    <a:lnTo>
                      <a:pt x="286" y="770"/>
                    </a:lnTo>
                    <a:lnTo>
                      <a:pt x="286" y="772"/>
                    </a:lnTo>
                    <a:lnTo>
                      <a:pt x="286" y="774"/>
                    </a:lnTo>
                    <a:lnTo>
                      <a:pt x="284" y="774"/>
                    </a:lnTo>
                    <a:lnTo>
                      <a:pt x="286" y="774"/>
                    </a:lnTo>
                    <a:lnTo>
                      <a:pt x="286" y="776"/>
                    </a:lnTo>
                    <a:lnTo>
                      <a:pt x="286" y="777"/>
                    </a:lnTo>
                    <a:lnTo>
                      <a:pt x="286" y="779"/>
                    </a:lnTo>
                    <a:lnTo>
                      <a:pt x="286" y="781"/>
                    </a:lnTo>
                    <a:lnTo>
                      <a:pt x="287" y="781"/>
                    </a:lnTo>
                    <a:lnTo>
                      <a:pt x="287" y="782"/>
                    </a:lnTo>
                    <a:lnTo>
                      <a:pt x="287" y="784"/>
                    </a:lnTo>
                    <a:lnTo>
                      <a:pt x="287" y="786"/>
                    </a:lnTo>
                    <a:lnTo>
                      <a:pt x="289" y="787"/>
                    </a:lnTo>
                    <a:lnTo>
                      <a:pt x="291" y="789"/>
                    </a:lnTo>
                    <a:lnTo>
                      <a:pt x="291" y="791"/>
                    </a:lnTo>
                    <a:lnTo>
                      <a:pt x="289" y="791"/>
                    </a:lnTo>
                    <a:lnTo>
                      <a:pt x="291" y="793"/>
                    </a:lnTo>
                    <a:lnTo>
                      <a:pt x="289" y="793"/>
                    </a:lnTo>
                    <a:lnTo>
                      <a:pt x="289" y="794"/>
                    </a:lnTo>
                    <a:lnTo>
                      <a:pt x="289" y="796"/>
                    </a:lnTo>
                    <a:lnTo>
                      <a:pt x="289" y="798"/>
                    </a:lnTo>
                    <a:lnTo>
                      <a:pt x="289" y="799"/>
                    </a:lnTo>
                    <a:lnTo>
                      <a:pt x="289" y="801"/>
                    </a:lnTo>
                    <a:lnTo>
                      <a:pt x="291" y="801"/>
                    </a:lnTo>
                    <a:lnTo>
                      <a:pt x="289" y="801"/>
                    </a:lnTo>
                    <a:lnTo>
                      <a:pt x="289" y="803"/>
                    </a:lnTo>
                    <a:lnTo>
                      <a:pt x="289" y="804"/>
                    </a:lnTo>
                    <a:lnTo>
                      <a:pt x="289" y="806"/>
                    </a:lnTo>
                    <a:lnTo>
                      <a:pt x="287" y="806"/>
                    </a:lnTo>
                    <a:lnTo>
                      <a:pt x="287" y="808"/>
                    </a:lnTo>
                    <a:lnTo>
                      <a:pt x="287" y="810"/>
                    </a:lnTo>
                    <a:lnTo>
                      <a:pt x="287" y="811"/>
                    </a:lnTo>
                    <a:lnTo>
                      <a:pt x="287" y="813"/>
                    </a:lnTo>
                    <a:lnTo>
                      <a:pt x="289" y="815"/>
                    </a:lnTo>
                    <a:lnTo>
                      <a:pt x="289" y="816"/>
                    </a:lnTo>
                    <a:lnTo>
                      <a:pt x="291" y="816"/>
                    </a:lnTo>
                    <a:lnTo>
                      <a:pt x="291" y="818"/>
                    </a:lnTo>
                    <a:lnTo>
                      <a:pt x="292" y="818"/>
                    </a:lnTo>
                    <a:lnTo>
                      <a:pt x="292" y="820"/>
                    </a:lnTo>
                    <a:lnTo>
                      <a:pt x="294" y="820"/>
                    </a:lnTo>
                    <a:lnTo>
                      <a:pt x="296" y="820"/>
                    </a:lnTo>
                    <a:lnTo>
                      <a:pt x="298" y="820"/>
                    </a:lnTo>
                    <a:lnTo>
                      <a:pt x="298" y="822"/>
                    </a:lnTo>
                    <a:lnTo>
                      <a:pt x="299" y="822"/>
                    </a:lnTo>
                    <a:lnTo>
                      <a:pt x="301" y="822"/>
                    </a:lnTo>
                    <a:lnTo>
                      <a:pt x="303" y="822"/>
                    </a:lnTo>
                    <a:lnTo>
                      <a:pt x="304" y="822"/>
                    </a:lnTo>
                    <a:lnTo>
                      <a:pt x="306" y="822"/>
                    </a:lnTo>
                    <a:lnTo>
                      <a:pt x="306" y="823"/>
                    </a:lnTo>
                    <a:lnTo>
                      <a:pt x="306" y="822"/>
                    </a:lnTo>
                    <a:lnTo>
                      <a:pt x="308" y="823"/>
                    </a:lnTo>
                    <a:lnTo>
                      <a:pt x="306" y="823"/>
                    </a:lnTo>
                    <a:lnTo>
                      <a:pt x="306" y="825"/>
                    </a:lnTo>
                    <a:lnTo>
                      <a:pt x="304" y="825"/>
                    </a:lnTo>
                    <a:lnTo>
                      <a:pt x="304" y="827"/>
                    </a:lnTo>
                    <a:lnTo>
                      <a:pt x="304" y="828"/>
                    </a:lnTo>
                    <a:lnTo>
                      <a:pt x="303" y="830"/>
                    </a:lnTo>
                    <a:lnTo>
                      <a:pt x="303" y="832"/>
                    </a:lnTo>
                    <a:lnTo>
                      <a:pt x="304" y="832"/>
                    </a:lnTo>
                    <a:lnTo>
                      <a:pt x="304" y="830"/>
                    </a:lnTo>
                    <a:lnTo>
                      <a:pt x="304" y="832"/>
                    </a:lnTo>
                    <a:lnTo>
                      <a:pt x="306" y="830"/>
                    </a:lnTo>
                    <a:lnTo>
                      <a:pt x="306" y="832"/>
                    </a:lnTo>
                    <a:lnTo>
                      <a:pt x="308" y="832"/>
                    </a:lnTo>
                    <a:lnTo>
                      <a:pt x="308" y="830"/>
                    </a:lnTo>
                    <a:lnTo>
                      <a:pt x="308" y="832"/>
                    </a:lnTo>
                    <a:lnTo>
                      <a:pt x="309" y="832"/>
                    </a:lnTo>
                    <a:lnTo>
                      <a:pt x="311" y="832"/>
                    </a:lnTo>
                    <a:lnTo>
                      <a:pt x="311" y="830"/>
                    </a:lnTo>
                    <a:lnTo>
                      <a:pt x="311" y="832"/>
                    </a:lnTo>
                    <a:lnTo>
                      <a:pt x="313" y="830"/>
                    </a:lnTo>
                    <a:lnTo>
                      <a:pt x="315" y="830"/>
                    </a:lnTo>
                    <a:lnTo>
                      <a:pt x="316" y="830"/>
                    </a:lnTo>
                    <a:lnTo>
                      <a:pt x="318" y="830"/>
                    </a:lnTo>
                    <a:lnTo>
                      <a:pt x="320" y="832"/>
                    </a:lnTo>
                    <a:lnTo>
                      <a:pt x="320" y="830"/>
                    </a:lnTo>
                    <a:lnTo>
                      <a:pt x="321" y="830"/>
                    </a:lnTo>
                    <a:lnTo>
                      <a:pt x="321" y="828"/>
                    </a:lnTo>
                    <a:lnTo>
                      <a:pt x="323" y="828"/>
                    </a:lnTo>
                    <a:lnTo>
                      <a:pt x="321" y="827"/>
                    </a:lnTo>
                    <a:lnTo>
                      <a:pt x="323" y="827"/>
                    </a:lnTo>
                    <a:lnTo>
                      <a:pt x="321" y="825"/>
                    </a:lnTo>
                    <a:lnTo>
                      <a:pt x="321" y="823"/>
                    </a:lnTo>
                    <a:lnTo>
                      <a:pt x="320" y="823"/>
                    </a:lnTo>
                    <a:lnTo>
                      <a:pt x="318" y="823"/>
                    </a:lnTo>
                    <a:lnTo>
                      <a:pt x="316" y="823"/>
                    </a:lnTo>
                    <a:lnTo>
                      <a:pt x="316" y="822"/>
                    </a:lnTo>
                    <a:lnTo>
                      <a:pt x="315" y="823"/>
                    </a:lnTo>
                    <a:lnTo>
                      <a:pt x="313" y="823"/>
                    </a:lnTo>
                    <a:lnTo>
                      <a:pt x="311" y="823"/>
                    </a:lnTo>
                    <a:lnTo>
                      <a:pt x="311" y="822"/>
                    </a:lnTo>
                    <a:lnTo>
                      <a:pt x="313" y="822"/>
                    </a:lnTo>
                    <a:lnTo>
                      <a:pt x="316" y="822"/>
                    </a:lnTo>
                    <a:lnTo>
                      <a:pt x="318" y="820"/>
                    </a:lnTo>
                    <a:lnTo>
                      <a:pt x="320" y="820"/>
                    </a:lnTo>
                    <a:lnTo>
                      <a:pt x="321" y="820"/>
                    </a:lnTo>
                    <a:lnTo>
                      <a:pt x="323" y="820"/>
                    </a:lnTo>
                    <a:lnTo>
                      <a:pt x="323" y="818"/>
                    </a:lnTo>
                    <a:lnTo>
                      <a:pt x="325" y="818"/>
                    </a:lnTo>
                    <a:lnTo>
                      <a:pt x="325" y="816"/>
                    </a:lnTo>
                    <a:lnTo>
                      <a:pt x="326" y="816"/>
                    </a:lnTo>
                    <a:lnTo>
                      <a:pt x="328" y="816"/>
                    </a:lnTo>
                    <a:lnTo>
                      <a:pt x="328" y="815"/>
                    </a:lnTo>
                    <a:lnTo>
                      <a:pt x="330" y="815"/>
                    </a:lnTo>
                    <a:lnTo>
                      <a:pt x="332" y="815"/>
                    </a:lnTo>
                    <a:lnTo>
                      <a:pt x="333" y="816"/>
                    </a:lnTo>
                    <a:lnTo>
                      <a:pt x="333" y="818"/>
                    </a:lnTo>
                    <a:lnTo>
                      <a:pt x="333" y="820"/>
                    </a:lnTo>
                    <a:lnTo>
                      <a:pt x="335" y="822"/>
                    </a:lnTo>
                    <a:lnTo>
                      <a:pt x="335" y="823"/>
                    </a:lnTo>
                    <a:lnTo>
                      <a:pt x="337" y="825"/>
                    </a:lnTo>
                    <a:lnTo>
                      <a:pt x="337" y="827"/>
                    </a:lnTo>
                    <a:lnTo>
                      <a:pt x="337" y="828"/>
                    </a:lnTo>
                    <a:lnTo>
                      <a:pt x="337" y="830"/>
                    </a:lnTo>
                    <a:lnTo>
                      <a:pt x="337" y="832"/>
                    </a:lnTo>
                    <a:lnTo>
                      <a:pt x="337" y="833"/>
                    </a:lnTo>
                    <a:lnTo>
                      <a:pt x="337" y="835"/>
                    </a:lnTo>
                    <a:lnTo>
                      <a:pt x="337" y="837"/>
                    </a:lnTo>
                    <a:lnTo>
                      <a:pt x="338" y="837"/>
                    </a:lnTo>
                    <a:lnTo>
                      <a:pt x="338" y="839"/>
                    </a:lnTo>
                    <a:lnTo>
                      <a:pt x="338" y="840"/>
                    </a:lnTo>
                    <a:lnTo>
                      <a:pt x="337" y="840"/>
                    </a:lnTo>
                    <a:lnTo>
                      <a:pt x="337" y="842"/>
                    </a:lnTo>
                    <a:lnTo>
                      <a:pt x="337" y="844"/>
                    </a:lnTo>
                    <a:lnTo>
                      <a:pt x="337" y="845"/>
                    </a:lnTo>
                    <a:lnTo>
                      <a:pt x="337" y="847"/>
                    </a:lnTo>
                    <a:lnTo>
                      <a:pt x="335" y="847"/>
                    </a:lnTo>
                    <a:lnTo>
                      <a:pt x="333" y="849"/>
                    </a:lnTo>
                    <a:lnTo>
                      <a:pt x="332" y="849"/>
                    </a:lnTo>
                    <a:lnTo>
                      <a:pt x="330" y="849"/>
                    </a:lnTo>
                    <a:lnTo>
                      <a:pt x="328" y="849"/>
                    </a:lnTo>
                    <a:lnTo>
                      <a:pt x="328" y="850"/>
                    </a:lnTo>
                    <a:lnTo>
                      <a:pt x="326" y="850"/>
                    </a:lnTo>
                    <a:lnTo>
                      <a:pt x="325" y="850"/>
                    </a:lnTo>
                    <a:lnTo>
                      <a:pt x="323" y="850"/>
                    </a:lnTo>
                    <a:lnTo>
                      <a:pt x="321" y="850"/>
                    </a:lnTo>
                    <a:lnTo>
                      <a:pt x="321" y="852"/>
                    </a:lnTo>
                    <a:lnTo>
                      <a:pt x="320" y="852"/>
                    </a:lnTo>
                    <a:lnTo>
                      <a:pt x="318" y="850"/>
                    </a:lnTo>
                    <a:lnTo>
                      <a:pt x="316" y="849"/>
                    </a:lnTo>
                    <a:lnTo>
                      <a:pt x="316" y="847"/>
                    </a:lnTo>
                    <a:lnTo>
                      <a:pt x="315" y="847"/>
                    </a:lnTo>
                    <a:lnTo>
                      <a:pt x="315" y="845"/>
                    </a:lnTo>
                    <a:lnTo>
                      <a:pt x="316" y="844"/>
                    </a:lnTo>
                    <a:lnTo>
                      <a:pt x="315" y="842"/>
                    </a:lnTo>
                    <a:lnTo>
                      <a:pt x="316" y="842"/>
                    </a:lnTo>
                    <a:lnTo>
                      <a:pt x="316" y="840"/>
                    </a:lnTo>
                    <a:lnTo>
                      <a:pt x="315" y="840"/>
                    </a:lnTo>
                    <a:lnTo>
                      <a:pt x="315" y="839"/>
                    </a:lnTo>
                    <a:lnTo>
                      <a:pt x="313" y="839"/>
                    </a:lnTo>
                    <a:lnTo>
                      <a:pt x="313" y="837"/>
                    </a:lnTo>
                    <a:lnTo>
                      <a:pt x="311" y="837"/>
                    </a:lnTo>
                    <a:lnTo>
                      <a:pt x="311" y="835"/>
                    </a:lnTo>
                    <a:lnTo>
                      <a:pt x="309" y="835"/>
                    </a:lnTo>
                    <a:lnTo>
                      <a:pt x="308" y="835"/>
                    </a:lnTo>
                    <a:lnTo>
                      <a:pt x="306" y="835"/>
                    </a:lnTo>
                    <a:lnTo>
                      <a:pt x="306" y="833"/>
                    </a:lnTo>
                    <a:lnTo>
                      <a:pt x="304" y="833"/>
                    </a:lnTo>
                    <a:lnTo>
                      <a:pt x="303" y="835"/>
                    </a:lnTo>
                    <a:lnTo>
                      <a:pt x="301" y="835"/>
                    </a:lnTo>
                    <a:lnTo>
                      <a:pt x="299" y="835"/>
                    </a:lnTo>
                    <a:lnTo>
                      <a:pt x="299" y="837"/>
                    </a:lnTo>
                    <a:lnTo>
                      <a:pt x="298" y="837"/>
                    </a:lnTo>
                    <a:lnTo>
                      <a:pt x="298" y="839"/>
                    </a:lnTo>
                    <a:lnTo>
                      <a:pt x="296" y="839"/>
                    </a:lnTo>
                    <a:lnTo>
                      <a:pt x="296" y="840"/>
                    </a:lnTo>
                    <a:lnTo>
                      <a:pt x="294" y="840"/>
                    </a:lnTo>
                    <a:lnTo>
                      <a:pt x="292" y="840"/>
                    </a:lnTo>
                    <a:lnTo>
                      <a:pt x="291" y="840"/>
                    </a:lnTo>
                    <a:lnTo>
                      <a:pt x="291" y="842"/>
                    </a:lnTo>
                    <a:lnTo>
                      <a:pt x="291" y="844"/>
                    </a:lnTo>
                    <a:lnTo>
                      <a:pt x="289" y="844"/>
                    </a:lnTo>
                    <a:lnTo>
                      <a:pt x="289" y="845"/>
                    </a:lnTo>
                    <a:lnTo>
                      <a:pt x="289" y="847"/>
                    </a:lnTo>
                    <a:lnTo>
                      <a:pt x="291" y="847"/>
                    </a:lnTo>
                    <a:lnTo>
                      <a:pt x="291" y="849"/>
                    </a:lnTo>
                    <a:lnTo>
                      <a:pt x="291" y="847"/>
                    </a:lnTo>
                    <a:lnTo>
                      <a:pt x="292" y="847"/>
                    </a:lnTo>
                    <a:lnTo>
                      <a:pt x="292" y="849"/>
                    </a:lnTo>
                    <a:lnTo>
                      <a:pt x="294" y="849"/>
                    </a:lnTo>
                    <a:lnTo>
                      <a:pt x="294" y="850"/>
                    </a:lnTo>
                    <a:lnTo>
                      <a:pt x="296" y="850"/>
                    </a:lnTo>
                    <a:lnTo>
                      <a:pt x="298" y="850"/>
                    </a:lnTo>
                    <a:lnTo>
                      <a:pt x="299" y="852"/>
                    </a:lnTo>
                    <a:lnTo>
                      <a:pt x="301" y="852"/>
                    </a:lnTo>
                    <a:lnTo>
                      <a:pt x="301" y="854"/>
                    </a:lnTo>
                    <a:lnTo>
                      <a:pt x="303" y="854"/>
                    </a:lnTo>
                    <a:lnTo>
                      <a:pt x="304" y="854"/>
                    </a:lnTo>
                    <a:lnTo>
                      <a:pt x="306" y="854"/>
                    </a:lnTo>
                    <a:lnTo>
                      <a:pt x="306" y="856"/>
                    </a:lnTo>
                    <a:lnTo>
                      <a:pt x="308" y="856"/>
                    </a:lnTo>
                    <a:lnTo>
                      <a:pt x="309" y="856"/>
                    </a:lnTo>
                    <a:lnTo>
                      <a:pt x="311" y="856"/>
                    </a:lnTo>
                    <a:lnTo>
                      <a:pt x="313" y="854"/>
                    </a:lnTo>
                    <a:lnTo>
                      <a:pt x="313" y="856"/>
                    </a:lnTo>
                    <a:lnTo>
                      <a:pt x="313" y="857"/>
                    </a:lnTo>
                    <a:lnTo>
                      <a:pt x="311" y="857"/>
                    </a:lnTo>
                    <a:lnTo>
                      <a:pt x="311" y="859"/>
                    </a:lnTo>
                    <a:lnTo>
                      <a:pt x="309" y="859"/>
                    </a:lnTo>
                    <a:lnTo>
                      <a:pt x="309" y="861"/>
                    </a:lnTo>
                    <a:lnTo>
                      <a:pt x="308" y="861"/>
                    </a:lnTo>
                    <a:lnTo>
                      <a:pt x="306" y="861"/>
                    </a:lnTo>
                    <a:lnTo>
                      <a:pt x="304" y="862"/>
                    </a:lnTo>
                    <a:lnTo>
                      <a:pt x="303" y="862"/>
                    </a:lnTo>
                    <a:lnTo>
                      <a:pt x="301" y="864"/>
                    </a:lnTo>
                    <a:lnTo>
                      <a:pt x="298" y="864"/>
                    </a:lnTo>
                    <a:lnTo>
                      <a:pt x="294" y="866"/>
                    </a:lnTo>
                    <a:lnTo>
                      <a:pt x="294" y="867"/>
                    </a:lnTo>
                    <a:lnTo>
                      <a:pt x="291" y="869"/>
                    </a:lnTo>
                    <a:lnTo>
                      <a:pt x="289" y="871"/>
                    </a:lnTo>
                    <a:lnTo>
                      <a:pt x="289" y="873"/>
                    </a:lnTo>
                    <a:lnTo>
                      <a:pt x="287" y="874"/>
                    </a:lnTo>
                    <a:lnTo>
                      <a:pt x="289" y="874"/>
                    </a:lnTo>
                    <a:lnTo>
                      <a:pt x="289" y="876"/>
                    </a:lnTo>
                    <a:lnTo>
                      <a:pt x="287" y="876"/>
                    </a:lnTo>
                    <a:lnTo>
                      <a:pt x="287" y="878"/>
                    </a:lnTo>
                    <a:lnTo>
                      <a:pt x="286" y="878"/>
                    </a:lnTo>
                    <a:lnTo>
                      <a:pt x="286" y="879"/>
                    </a:lnTo>
                    <a:lnTo>
                      <a:pt x="284" y="879"/>
                    </a:lnTo>
                    <a:lnTo>
                      <a:pt x="284" y="881"/>
                    </a:lnTo>
                    <a:lnTo>
                      <a:pt x="284" y="883"/>
                    </a:lnTo>
                    <a:lnTo>
                      <a:pt x="282" y="883"/>
                    </a:lnTo>
                    <a:lnTo>
                      <a:pt x="282" y="884"/>
                    </a:lnTo>
                    <a:lnTo>
                      <a:pt x="281" y="884"/>
                    </a:lnTo>
                    <a:lnTo>
                      <a:pt x="281" y="886"/>
                    </a:lnTo>
                    <a:lnTo>
                      <a:pt x="279" y="886"/>
                    </a:lnTo>
                    <a:lnTo>
                      <a:pt x="279" y="888"/>
                    </a:lnTo>
                    <a:lnTo>
                      <a:pt x="279" y="890"/>
                    </a:lnTo>
                    <a:lnTo>
                      <a:pt x="279" y="891"/>
                    </a:lnTo>
                    <a:lnTo>
                      <a:pt x="279" y="893"/>
                    </a:lnTo>
                    <a:lnTo>
                      <a:pt x="279" y="895"/>
                    </a:lnTo>
                    <a:lnTo>
                      <a:pt x="279" y="896"/>
                    </a:lnTo>
                    <a:lnTo>
                      <a:pt x="279" y="898"/>
                    </a:lnTo>
                    <a:lnTo>
                      <a:pt x="279" y="900"/>
                    </a:lnTo>
                    <a:lnTo>
                      <a:pt x="281" y="900"/>
                    </a:lnTo>
                    <a:lnTo>
                      <a:pt x="281" y="901"/>
                    </a:lnTo>
                    <a:lnTo>
                      <a:pt x="281" y="903"/>
                    </a:lnTo>
                    <a:lnTo>
                      <a:pt x="282" y="903"/>
                    </a:lnTo>
                    <a:lnTo>
                      <a:pt x="281" y="903"/>
                    </a:lnTo>
                    <a:lnTo>
                      <a:pt x="282" y="905"/>
                    </a:lnTo>
                    <a:lnTo>
                      <a:pt x="282" y="907"/>
                    </a:lnTo>
                    <a:lnTo>
                      <a:pt x="284" y="905"/>
                    </a:lnTo>
                    <a:lnTo>
                      <a:pt x="282" y="907"/>
                    </a:lnTo>
                    <a:lnTo>
                      <a:pt x="282" y="908"/>
                    </a:lnTo>
                    <a:lnTo>
                      <a:pt x="282" y="910"/>
                    </a:lnTo>
                    <a:lnTo>
                      <a:pt x="282" y="912"/>
                    </a:lnTo>
                    <a:lnTo>
                      <a:pt x="281" y="910"/>
                    </a:lnTo>
                    <a:lnTo>
                      <a:pt x="281" y="912"/>
                    </a:lnTo>
                    <a:lnTo>
                      <a:pt x="279" y="912"/>
                    </a:lnTo>
                    <a:lnTo>
                      <a:pt x="279" y="913"/>
                    </a:lnTo>
                    <a:lnTo>
                      <a:pt x="279" y="915"/>
                    </a:lnTo>
                    <a:lnTo>
                      <a:pt x="281" y="915"/>
                    </a:lnTo>
                    <a:lnTo>
                      <a:pt x="281" y="917"/>
                    </a:lnTo>
                    <a:lnTo>
                      <a:pt x="281" y="918"/>
                    </a:lnTo>
                    <a:lnTo>
                      <a:pt x="282" y="918"/>
                    </a:lnTo>
                    <a:lnTo>
                      <a:pt x="281" y="920"/>
                    </a:lnTo>
                    <a:lnTo>
                      <a:pt x="282" y="920"/>
                    </a:lnTo>
                    <a:lnTo>
                      <a:pt x="282" y="922"/>
                    </a:lnTo>
                    <a:lnTo>
                      <a:pt x="281" y="922"/>
                    </a:lnTo>
                    <a:lnTo>
                      <a:pt x="281" y="924"/>
                    </a:lnTo>
                    <a:lnTo>
                      <a:pt x="279" y="924"/>
                    </a:lnTo>
                    <a:lnTo>
                      <a:pt x="279" y="925"/>
                    </a:lnTo>
                    <a:lnTo>
                      <a:pt x="279" y="927"/>
                    </a:lnTo>
                    <a:lnTo>
                      <a:pt x="281" y="927"/>
                    </a:lnTo>
                    <a:lnTo>
                      <a:pt x="281" y="929"/>
                    </a:lnTo>
                    <a:lnTo>
                      <a:pt x="279" y="929"/>
                    </a:lnTo>
                    <a:lnTo>
                      <a:pt x="277" y="929"/>
                    </a:lnTo>
                    <a:lnTo>
                      <a:pt x="277" y="930"/>
                    </a:lnTo>
                    <a:lnTo>
                      <a:pt x="277" y="932"/>
                    </a:lnTo>
                    <a:lnTo>
                      <a:pt x="277" y="930"/>
                    </a:lnTo>
                    <a:lnTo>
                      <a:pt x="277" y="932"/>
                    </a:lnTo>
                    <a:lnTo>
                      <a:pt x="275" y="930"/>
                    </a:lnTo>
                    <a:lnTo>
                      <a:pt x="274" y="930"/>
                    </a:lnTo>
                    <a:lnTo>
                      <a:pt x="274" y="932"/>
                    </a:lnTo>
                    <a:lnTo>
                      <a:pt x="272" y="932"/>
                    </a:lnTo>
                    <a:lnTo>
                      <a:pt x="272" y="934"/>
                    </a:lnTo>
                    <a:lnTo>
                      <a:pt x="270" y="934"/>
                    </a:lnTo>
                    <a:lnTo>
                      <a:pt x="269" y="935"/>
                    </a:lnTo>
                    <a:lnTo>
                      <a:pt x="267" y="937"/>
                    </a:lnTo>
                    <a:lnTo>
                      <a:pt x="267" y="939"/>
                    </a:lnTo>
                    <a:lnTo>
                      <a:pt x="267" y="941"/>
                    </a:lnTo>
                    <a:lnTo>
                      <a:pt x="267" y="942"/>
                    </a:lnTo>
                    <a:lnTo>
                      <a:pt x="265" y="942"/>
                    </a:lnTo>
                    <a:lnTo>
                      <a:pt x="265" y="944"/>
                    </a:lnTo>
                    <a:lnTo>
                      <a:pt x="265" y="946"/>
                    </a:lnTo>
                    <a:lnTo>
                      <a:pt x="267" y="946"/>
                    </a:lnTo>
                    <a:lnTo>
                      <a:pt x="269" y="946"/>
                    </a:lnTo>
                    <a:lnTo>
                      <a:pt x="270" y="947"/>
                    </a:lnTo>
                    <a:lnTo>
                      <a:pt x="270" y="946"/>
                    </a:lnTo>
                    <a:lnTo>
                      <a:pt x="270" y="947"/>
                    </a:lnTo>
                    <a:lnTo>
                      <a:pt x="272" y="947"/>
                    </a:lnTo>
                    <a:lnTo>
                      <a:pt x="272" y="949"/>
                    </a:lnTo>
                    <a:lnTo>
                      <a:pt x="270" y="949"/>
                    </a:lnTo>
                    <a:lnTo>
                      <a:pt x="270" y="951"/>
                    </a:lnTo>
                    <a:lnTo>
                      <a:pt x="269" y="951"/>
                    </a:lnTo>
                    <a:lnTo>
                      <a:pt x="269" y="952"/>
                    </a:lnTo>
                    <a:lnTo>
                      <a:pt x="270" y="952"/>
                    </a:lnTo>
                    <a:lnTo>
                      <a:pt x="269" y="952"/>
                    </a:lnTo>
                    <a:lnTo>
                      <a:pt x="269" y="954"/>
                    </a:lnTo>
                    <a:lnTo>
                      <a:pt x="269" y="952"/>
                    </a:lnTo>
                    <a:lnTo>
                      <a:pt x="267" y="952"/>
                    </a:lnTo>
                    <a:lnTo>
                      <a:pt x="267" y="954"/>
                    </a:lnTo>
                    <a:lnTo>
                      <a:pt x="265" y="952"/>
                    </a:lnTo>
                    <a:lnTo>
                      <a:pt x="264" y="952"/>
                    </a:lnTo>
                    <a:lnTo>
                      <a:pt x="262" y="952"/>
                    </a:lnTo>
                    <a:lnTo>
                      <a:pt x="264" y="952"/>
                    </a:lnTo>
                    <a:lnTo>
                      <a:pt x="262" y="952"/>
                    </a:lnTo>
                    <a:lnTo>
                      <a:pt x="262" y="951"/>
                    </a:lnTo>
                    <a:lnTo>
                      <a:pt x="260" y="951"/>
                    </a:lnTo>
                    <a:lnTo>
                      <a:pt x="260" y="952"/>
                    </a:lnTo>
                    <a:lnTo>
                      <a:pt x="258" y="952"/>
                    </a:lnTo>
                    <a:lnTo>
                      <a:pt x="258" y="954"/>
                    </a:lnTo>
                    <a:lnTo>
                      <a:pt x="257" y="954"/>
                    </a:lnTo>
                    <a:lnTo>
                      <a:pt x="257" y="952"/>
                    </a:lnTo>
                    <a:lnTo>
                      <a:pt x="255" y="951"/>
                    </a:lnTo>
                    <a:lnTo>
                      <a:pt x="253" y="951"/>
                    </a:lnTo>
                    <a:lnTo>
                      <a:pt x="252" y="951"/>
                    </a:lnTo>
                    <a:lnTo>
                      <a:pt x="250" y="951"/>
                    </a:lnTo>
                    <a:lnTo>
                      <a:pt x="248" y="952"/>
                    </a:lnTo>
                    <a:lnTo>
                      <a:pt x="247" y="954"/>
                    </a:lnTo>
                    <a:lnTo>
                      <a:pt x="245" y="954"/>
                    </a:lnTo>
                    <a:lnTo>
                      <a:pt x="245" y="952"/>
                    </a:lnTo>
                    <a:lnTo>
                      <a:pt x="243" y="954"/>
                    </a:lnTo>
                    <a:lnTo>
                      <a:pt x="245" y="954"/>
                    </a:lnTo>
                    <a:lnTo>
                      <a:pt x="243" y="954"/>
                    </a:lnTo>
                    <a:lnTo>
                      <a:pt x="241" y="954"/>
                    </a:lnTo>
                    <a:lnTo>
                      <a:pt x="240" y="954"/>
                    </a:lnTo>
                    <a:lnTo>
                      <a:pt x="240" y="956"/>
                    </a:lnTo>
                    <a:lnTo>
                      <a:pt x="238" y="958"/>
                    </a:lnTo>
                    <a:lnTo>
                      <a:pt x="238" y="959"/>
                    </a:lnTo>
                    <a:lnTo>
                      <a:pt x="240" y="958"/>
                    </a:lnTo>
                    <a:lnTo>
                      <a:pt x="240" y="959"/>
                    </a:lnTo>
                    <a:lnTo>
                      <a:pt x="238" y="959"/>
                    </a:lnTo>
                    <a:lnTo>
                      <a:pt x="238" y="958"/>
                    </a:lnTo>
                    <a:lnTo>
                      <a:pt x="236" y="958"/>
                    </a:lnTo>
                    <a:lnTo>
                      <a:pt x="236" y="959"/>
                    </a:lnTo>
                    <a:lnTo>
                      <a:pt x="238" y="959"/>
                    </a:lnTo>
                    <a:lnTo>
                      <a:pt x="238" y="961"/>
                    </a:lnTo>
                    <a:lnTo>
                      <a:pt x="238" y="963"/>
                    </a:lnTo>
                    <a:lnTo>
                      <a:pt x="238" y="961"/>
                    </a:lnTo>
                    <a:lnTo>
                      <a:pt x="236" y="961"/>
                    </a:lnTo>
                    <a:lnTo>
                      <a:pt x="235" y="961"/>
                    </a:lnTo>
                    <a:lnTo>
                      <a:pt x="233" y="961"/>
                    </a:lnTo>
                    <a:lnTo>
                      <a:pt x="233" y="963"/>
                    </a:lnTo>
                    <a:lnTo>
                      <a:pt x="231" y="963"/>
                    </a:lnTo>
                    <a:lnTo>
                      <a:pt x="230" y="963"/>
                    </a:lnTo>
                    <a:lnTo>
                      <a:pt x="228" y="963"/>
                    </a:lnTo>
                    <a:lnTo>
                      <a:pt x="226" y="963"/>
                    </a:lnTo>
                    <a:lnTo>
                      <a:pt x="224" y="964"/>
                    </a:lnTo>
                    <a:lnTo>
                      <a:pt x="223" y="966"/>
                    </a:lnTo>
                    <a:lnTo>
                      <a:pt x="221" y="966"/>
                    </a:lnTo>
                    <a:lnTo>
                      <a:pt x="221" y="968"/>
                    </a:lnTo>
                    <a:lnTo>
                      <a:pt x="219" y="969"/>
                    </a:lnTo>
                    <a:lnTo>
                      <a:pt x="218" y="971"/>
                    </a:lnTo>
                    <a:lnTo>
                      <a:pt x="218" y="973"/>
                    </a:lnTo>
                    <a:lnTo>
                      <a:pt x="216" y="975"/>
                    </a:lnTo>
                    <a:lnTo>
                      <a:pt x="214" y="976"/>
                    </a:lnTo>
                    <a:lnTo>
                      <a:pt x="214" y="978"/>
                    </a:lnTo>
                    <a:lnTo>
                      <a:pt x="213" y="978"/>
                    </a:lnTo>
                    <a:lnTo>
                      <a:pt x="213" y="980"/>
                    </a:lnTo>
                    <a:lnTo>
                      <a:pt x="211" y="980"/>
                    </a:lnTo>
                    <a:lnTo>
                      <a:pt x="211" y="981"/>
                    </a:lnTo>
                    <a:lnTo>
                      <a:pt x="211" y="983"/>
                    </a:lnTo>
                    <a:lnTo>
                      <a:pt x="211" y="985"/>
                    </a:lnTo>
                    <a:lnTo>
                      <a:pt x="211" y="987"/>
                    </a:lnTo>
                    <a:lnTo>
                      <a:pt x="209" y="987"/>
                    </a:lnTo>
                    <a:lnTo>
                      <a:pt x="211" y="988"/>
                    </a:lnTo>
                    <a:lnTo>
                      <a:pt x="209" y="988"/>
                    </a:lnTo>
                    <a:lnTo>
                      <a:pt x="211" y="990"/>
                    </a:lnTo>
                    <a:lnTo>
                      <a:pt x="209" y="990"/>
                    </a:lnTo>
                    <a:lnTo>
                      <a:pt x="207" y="990"/>
                    </a:lnTo>
                    <a:lnTo>
                      <a:pt x="207" y="992"/>
                    </a:lnTo>
                    <a:lnTo>
                      <a:pt x="206" y="992"/>
                    </a:lnTo>
                    <a:lnTo>
                      <a:pt x="207" y="993"/>
                    </a:lnTo>
                    <a:lnTo>
                      <a:pt x="206" y="993"/>
                    </a:lnTo>
                    <a:lnTo>
                      <a:pt x="206" y="995"/>
                    </a:lnTo>
                    <a:lnTo>
                      <a:pt x="204" y="995"/>
                    </a:lnTo>
                    <a:lnTo>
                      <a:pt x="204" y="997"/>
                    </a:lnTo>
                    <a:lnTo>
                      <a:pt x="204" y="998"/>
                    </a:lnTo>
                    <a:lnTo>
                      <a:pt x="202" y="998"/>
                    </a:lnTo>
                    <a:lnTo>
                      <a:pt x="202" y="1000"/>
                    </a:lnTo>
                    <a:lnTo>
                      <a:pt x="202" y="1002"/>
                    </a:lnTo>
                    <a:lnTo>
                      <a:pt x="201" y="1002"/>
                    </a:lnTo>
                    <a:lnTo>
                      <a:pt x="202" y="1002"/>
                    </a:lnTo>
                    <a:lnTo>
                      <a:pt x="201" y="1004"/>
                    </a:lnTo>
                    <a:lnTo>
                      <a:pt x="201" y="1005"/>
                    </a:lnTo>
                    <a:lnTo>
                      <a:pt x="201" y="1007"/>
                    </a:lnTo>
                    <a:lnTo>
                      <a:pt x="202" y="1009"/>
                    </a:lnTo>
                    <a:lnTo>
                      <a:pt x="202" y="1012"/>
                    </a:lnTo>
                    <a:lnTo>
                      <a:pt x="202" y="1014"/>
                    </a:lnTo>
                    <a:lnTo>
                      <a:pt x="202" y="1015"/>
                    </a:lnTo>
                    <a:lnTo>
                      <a:pt x="204" y="1017"/>
                    </a:lnTo>
                    <a:lnTo>
                      <a:pt x="204" y="1019"/>
                    </a:lnTo>
                    <a:lnTo>
                      <a:pt x="206" y="1021"/>
                    </a:lnTo>
                    <a:lnTo>
                      <a:pt x="206" y="1022"/>
                    </a:lnTo>
                    <a:lnTo>
                      <a:pt x="206" y="1024"/>
                    </a:lnTo>
                    <a:lnTo>
                      <a:pt x="207" y="1024"/>
                    </a:lnTo>
                    <a:lnTo>
                      <a:pt x="207" y="1027"/>
                    </a:lnTo>
                    <a:lnTo>
                      <a:pt x="209" y="1027"/>
                    </a:lnTo>
                    <a:lnTo>
                      <a:pt x="209" y="1029"/>
                    </a:lnTo>
                    <a:lnTo>
                      <a:pt x="211" y="1029"/>
                    </a:lnTo>
                    <a:lnTo>
                      <a:pt x="211" y="1031"/>
                    </a:lnTo>
                    <a:lnTo>
                      <a:pt x="213" y="1031"/>
                    </a:lnTo>
                    <a:lnTo>
                      <a:pt x="214" y="1031"/>
                    </a:lnTo>
                    <a:lnTo>
                      <a:pt x="214" y="1032"/>
                    </a:lnTo>
                    <a:lnTo>
                      <a:pt x="216" y="1032"/>
                    </a:lnTo>
                    <a:lnTo>
                      <a:pt x="218" y="1034"/>
                    </a:lnTo>
                    <a:lnTo>
                      <a:pt x="219" y="1036"/>
                    </a:lnTo>
                    <a:lnTo>
                      <a:pt x="219" y="1038"/>
                    </a:lnTo>
                    <a:lnTo>
                      <a:pt x="221" y="1038"/>
                    </a:lnTo>
                    <a:lnTo>
                      <a:pt x="221" y="1039"/>
                    </a:lnTo>
                    <a:lnTo>
                      <a:pt x="223" y="1041"/>
                    </a:lnTo>
                    <a:lnTo>
                      <a:pt x="224" y="1043"/>
                    </a:lnTo>
                    <a:lnTo>
                      <a:pt x="226" y="1044"/>
                    </a:lnTo>
                    <a:lnTo>
                      <a:pt x="228" y="1046"/>
                    </a:lnTo>
                    <a:lnTo>
                      <a:pt x="228" y="1048"/>
                    </a:lnTo>
                    <a:lnTo>
                      <a:pt x="230" y="1048"/>
                    </a:lnTo>
                    <a:lnTo>
                      <a:pt x="230" y="1049"/>
                    </a:lnTo>
                    <a:lnTo>
                      <a:pt x="231" y="1049"/>
                    </a:lnTo>
                    <a:lnTo>
                      <a:pt x="233" y="1049"/>
                    </a:lnTo>
                    <a:lnTo>
                      <a:pt x="235" y="1051"/>
                    </a:lnTo>
                    <a:lnTo>
                      <a:pt x="236" y="1051"/>
                    </a:lnTo>
                    <a:lnTo>
                      <a:pt x="238" y="1051"/>
                    </a:lnTo>
                    <a:lnTo>
                      <a:pt x="240" y="1051"/>
                    </a:lnTo>
                    <a:lnTo>
                      <a:pt x="241" y="1051"/>
                    </a:lnTo>
                    <a:lnTo>
                      <a:pt x="243" y="1051"/>
                    </a:lnTo>
                    <a:lnTo>
                      <a:pt x="245" y="1051"/>
                    </a:lnTo>
                    <a:lnTo>
                      <a:pt x="245" y="1053"/>
                    </a:lnTo>
                    <a:lnTo>
                      <a:pt x="247" y="1053"/>
                    </a:lnTo>
                    <a:lnTo>
                      <a:pt x="248" y="1053"/>
                    </a:lnTo>
                    <a:lnTo>
                      <a:pt x="250" y="1053"/>
                    </a:lnTo>
                    <a:lnTo>
                      <a:pt x="252" y="1053"/>
                    </a:lnTo>
                    <a:lnTo>
                      <a:pt x="253" y="1053"/>
                    </a:lnTo>
                    <a:lnTo>
                      <a:pt x="255" y="1053"/>
                    </a:lnTo>
                    <a:lnTo>
                      <a:pt x="257" y="1053"/>
                    </a:lnTo>
                    <a:lnTo>
                      <a:pt x="258" y="1053"/>
                    </a:lnTo>
                    <a:lnTo>
                      <a:pt x="260" y="1053"/>
                    </a:lnTo>
                    <a:lnTo>
                      <a:pt x="262" y="1055"/>
                    </a:lnTo>
                    <a:lnTo>
                      <a:pt x="262" y="1056"/>
                    </a:lnTo>
                    <a:lnTo>
                      <a:pt x="264" y="1056"/>
                    </a:lnTo>
                    <a:lnTo>
                      <a:pt x="265" y="1058"/>
                    </a:lnTo>
                    <a:lnTo>
                      <a:pt x="265" y="1060"/>
                    </a:lnTo>
                    <a:lnTo>
                      <a:pt x="265" y="1061"/>
                    </a:lnTo>
                    <a:lnTo>
                      <a:pt x="265" y="1063"/>
                    </a:lnTo>
                    <a:lnTo>
                      <a:pt x="265" y="1065"/>
                    </a:lnTo>
                    <a:lnTo>
                      <a:pt x="265" y="1066"/>
                    </a:lnTo>
                    <a:lnTo>
                      <a:pt x="265" y="1068"/>
                    </a:lnTo>
                    <a:lnTo>
                      <a:pt x="265" y="1070"/>
                    </a:lnTo>
                    <a:lnTo>
                      <a:pt x="265" y="1072"/>
                    </a:lnTo>
                    <a:lnTo>
                      <a:pt x="265" y="1073"/>
                    </a:lnTo>
                    <a:lnTo>
                      <a:pt x="265" y="1075"/>
                    </a:lnTo>
                    <a:lnTo>
                      <a:pt x="265" y="1077"/>
                    </a:lnTo>
                    <a:lnTo>
                      <a:pt x="264" y="1077"/>
                    </a:lnTo>
                    <a:lnTo>
                      <a:pt x="264" y="1078"/>
                    </a:lnTo>
                    <a:lnTo>
                      <a:pt x="264" y="1080"/>
                    </a:lnTo>
                    <a:lnTo>
                      <a:pt x="262" y="1082"/>
                    </a:lnTo>
                    <a:lnTo>
                      <a:pt x="262" y="1083"/>
                    </a:lnTo>
                    <a:lnTo>
                      <a:pt x="262" y="1085"/>
                    </a:lnTo>
                    <a:lnTo>
                      <a:pt x="260" y="1087"/>
                    </a:lnTo>
                    <a:lnTo>
                      <a:pt x="260" y="1089"/>
                    </a:lnTo>
                    <a:lnTo>
                      <a:pt x="260" y="1090"/>
                    </a:lnTo>
                    <a:lnTo>
                      <a:pt x="260" y="1092"/>
                    </a:lnTo>
                    <a:lnTo>
                      <a:pt x="262" y="1092"/>
                    </a:lnTo>
                    <a:lnTo>
                      <a:pt x="262" y="1094"/>
                    </a:lnTo>
                    <a:lnTo>
                      <a:pt x="264" y="1094"/>
                    </a:lnTo>
                    <a:lnTo>
                      <a:pt x="264" y="1095"/>
                    </a:lnTo>
                    <a:lnTo>
                      <a:pt x="262" y="1097"/>
                    </a:lnTo>
                    <a:lnTo>
                      <a:pt x="262" y="1095"/>
                    </a:lnTo>
                    <a:lnTo>
                      <a:pt x="260" y="1095"/>
                    </a:lnTo>
                    <a:lnTo>
                      <a:pt x="258" y="1095"/>
                    </a:lnTo>
                    <a:lnTo>
                      <a:pt x="258" y="1097"/>
                    </a:lnTo>
                    <a:lnTo>
                      <a:pt x="258" y="1099"/>
                    </a:lnTo>
                    <a:lnTo>
                      <a:pt x="258" y="1100"/>
                    </a:lnTo>
                    <a:lnTo>
                      <a:pt x="257" y="1100"/>
                    </a:lnTo>
                    <a:lnTo>
                      <a:pt x="257" y="1102"/>
                    </a:lnTo>
                    <a:lnTo>
                      <a:pt x="258" y="1102"/>
                    </a:lnTo>
                    <a:lnTo>
                      <a:pt x="260" y="1102"/>
                    </a:lnTo>
                    <a:lnTo>
                      <a:pt x="260" y="1104"/>
                    </a:lnTo>
                    <a:lnTo>
                      <a:pt x="258" y="1104"/>
                    </a:lnTo>
                    <a:lnTo>
                      <a:pt x="260" y="1104"/>
                    </a:lnTo>
                    <a:lnTo>
                      <a:pt x="258" y="1104"/>
                    </a:lnTo>
                    <a:lnTo>
                      <a:pt x="257" y="1104"/>
                    </a:lnTo>
                    <a:lnTo>
                      <a:pt x="255" y="1104"/>
                    </a:lnTo>
                    <a:lnTo>
                      <a:pt x="253" y="1104"/>
                    </a:lnTo>
                    <a:lnTo>
                      <a:pt x="252" y="1104"/>
                    </a:lnTo>
                    <a:lnTo>
                      <a:pt x="252" y="1106"/>
                    </a:lnTo>
                    <a:lnTo>
                      <a:pt x="252" y="1107"/>
                    </a:lnTo>
                    <a:lnTo>
                      <a:pt x="250" y="1107"/>
                    </a:lnTo>
                    <a:lnTo>
                      <a:pt x="252" y="1109"/>
                    </a:lnTo>
                    <a:lnTo>
                      <a:pt x="250" y="1109"/>
                    </a:lnTo>
                    <a:lnTo>
                      <a:pt x="248" y="1109"/>
                    </a:lnTo>
                    <a:lnTo>
                      <a:pt x="247" y="1111"/>
                    </a:lnTo>
                    <a:lnTo>
                      <a:pt x="247" y="1112"/>
                    </a:lnTo>
                    <a:lnTo>
                      <a:pt x="245" y="1112"/>
                    </a:lnTo>
                    <a:lnTo>
                      <a:pt x="245" y="1114"/>
                    </a:lnTo>
                    <a:lnTo>
                      <a:pt x="245" y="1116"/>
                    </a:lnTo>
                    <a:lnTo>
                      <a:pt x="245" y="1117"/>
                    </a:lnTo>
                    <a:lnTo>
                      <a:pt x="245" y="1116"/>
                    </a:lnTo>
                    <a:lnTo>
                      <a:pt x="245" y="1117"/>
                    </a:lnTo>
                    <a:lnTo>
                      <a:pt x="243" y="1116"/>
                    </a:lnTo>
                    <a:lnTo>
                      <a:pt x="241" y="1116"/>
                    </a:lnTo>
                    <a:lnTo>
                      <a:pt x="240" y="1117"/>
                    </a:lnTo>
                    <a:lnTo>
                      <a:pt x="240" y="1119"/>
                    </a:lnTo>
                    <a:lnTo>
                      <a:pt x="238" y="1119"/>
                    </a:lnTo>
                    <a:lnTo>
                      <a:pt x="238" y="1121"/>
                    </a:lnTo>
                    <a:lnTo>
                      <a:pt x="238" y="1119"/>
                    </a:lnTo>
                    <a:lnTo>
                      <a:pt x="236" y="1119"/>
                    </a:lnTo>
                    <a:lnTo>
                      <a:pt x="235" y="1121"/>
                    </a:lnTo>
                    <a:lnTo>
                      <a:pt x="233" y="1121"/>
                    </a:lnTo>
                    <a:lnTo>
                      <a:pt x="231" y="1123"/>
                    </a:lnTo>
                    <a:lnTo>
                      <a:pt x="230" y="1124"/>
                    </a:lnTo>
                    <a:lnTo>
                      <a:pt x="228" y="1124"/>
                    </a:lnTo>
                    <a:lnTo>
                      <a:pt x="228" y="1126"/>
                    </a:lnTo>
                    <a:lnTo>
                      <a:pt x="226" y="1128"/>
                    </a:lnTo>
                    <a:lnTo>
                      <a:pt x="226" y="1129"/>
                    </a:lnTo>
                    <a:lnTo>
                      <a:pt x="224" y="1129"/>
                    </a:lnTo>
                    <a:lnTo>
                      <a:pt x="223" y="1129"/>
                    </a:lnTo>
                    <a:lnTo>
                      <a:pt x="221" y="1131"/>
                    </a:lnTo>
                    <a:lnTo>
                      <a:pt x="219" y="1133"/>
                    </a:lnTo>
                    <a:lnTo>
                      <a:pt x="218" y="1133"/>
                    </a:lnTo>
                    <a:lnTo>
                      <a:pt x="218" y="1135"/>
                    </a:lnTo>
                    <a:lnTo>
                      <a:pt x="218" y="1136"/>
                    </a:lnTo>
                    <a:lnTo>
                      <a:pt x="218" y="1138"/>
                    </a:lnTo>
                    <a:lnTo>
                      <a:pt x="216" y="1138"/>
                    </a:lnTo>
                    <a:lnTo>
                      <a:pt x="216" y="1140"/>
                    </a:lnTo>
                    <a:lnTo>
                      <a:pt x="216" y="1141"/>
                    </a:lnTo>
                    <a:lnTo>
                      <a:pt x="214" y="1141"/>
                    </a:lnTo>
                    <a:lnTo>
                      <a:pt x="213" y="1143"/>
                    </a:lnTo>
                    <a:lnTo>
                      <a:pt x="211" y="1143"/>
                    </a:lnTo>
                    <a:lnTo>
                      <a:pt x="209" y="1145"/>
                    </a:lnTo>
                    <a:lnTo>
                      <a:pt x="206" y="1146"/>
                    </a:lnTo>
                    <a:lnTo>
                      <a:pt x="206" y="1148"/>
                    </a:lnTo>
                    <a:lnTo>
                      <a:pt x="204" y="1150"/>
                    </a:lnTo>
                    <a:lnTo>
                      <a:pt x="204" y="1152"/>
                    </a:lnTo>
                    <a:lnTo>
                      <a:pt x="202" y="1152"/>
                    </a:lnTo>
                    <a:lnTo>
                      <a:pt x="202" y="1155"/>
                    </a:lnTo>
                    <a:lnTo>
                      <a:pt x="201" y="1157"/>
                    </a:lnTo>
                    <a:lnTo>
                      <a:pt x="202" y="1158"/>
                    </a:lnTo>
                    <a:lnTo>
                      <a:pt x="201" y="1160"/>
                    </a:lnTo>
                    <a:lnTo>
                      <a:pt x="199" y="1162"/>
                    </a:lnTo>
                    <a:lnTo>
                      <a:pt x="201" y="1162"/>
                    </a:lnTo>
                    <a:lnTo>
                      <a:pt x="199" y="1162"/>
                    </a:lnTo>
                    <a:lnTo>
                      <a:pt x="201" y="1163"/>
                    </a:lnTo>
                    <a:lnTo>
                      <a:pt x="202" y="1162"/>
                    </a:lnTo>
                    <a:lnTo>
                      <a:pt x="202" y="1163"/>
                    </a:lnTo>
                    <a:lnTo>
                      <a:pt x="202" y="1165"/>
                    </a:lnTo>
                    <a:lnTo>
                      <a:pt x="202" y="1167"/>
                    </a:lnTo>
                    <a:lnTo>
                      <a:pt x="201" y="1167"/>
                    </a:lnTo>
                    <a:lnTo>
                      <a:pt x="201" y="1169"/>
                    </a:lnTo>
                    <a:lnTo>
                      <a:pt x="201" y="1170"/>
                    </a:lnTo>
                    <a:lnTo>
                      <a:pt x="201" y="1172"/>
                    </a:lnTo>
                    <a:lnTo>
                      <a:pt x="199" y="1174"/>
                    </a:lnTo>
                    <a:lnTo>
                      <a:pt x="199" y="1175"/>
                    </a:lnTo>
                    <a:lnTo>
                      <a:pt x="199" y="1177"/>
                    </a:lnTo>
                    <a:lnTo>
                      <a:pt x="199" y="1179"/>
                    </a:lnTo>
                    <a:lnTo>
                      <a:pt x="199" y="1180"/>
                    </a:lnTo>
                    <a:lnTo>
                      <a:pt x="199" y="1182"/>
                    </a:lnTo>
                    <a:lnTo>
                      <a:pt x="199" y="1184"/>
                    </a:lnTo>
                    <a:lnTo>
                      <a:pt x="199" y="1186"/>
                    </a:lnTo>
                    <a:lnTo>
                      <a:pt x="199" y="1187"/>
                    </a:lnTo>
                    <a:lnTo>
                      <a:pt x="197" y="1189"/>
                    </a:lnTo>
                    <a:lnTo>
                      <a:pt x="197" y="1191"/>
                    </a:lnTo>
                    <a:lnTo>
                      <a:pt x="197" y="1192"/>
                    </a:lnTo>
                    <a:lnTo>
                      <a:pt x="196" y="1194"/>
                    </a:lnTo>
                    <a:lnTo>
                      <a:pt x="196" y="1196"/>
                    </a:lnTo>
                    <a:lnTo>
                      <a:pt x="196" y="1197"/>
                    </a:lnTo>
                    <a:lnTo>
                      <a:pt x="194" y="1197"/>
                    </a:lnTo>
                    <a:lnTo>
                      <a:pt x="194" y="1199"/>
                    </a:lnTo>
                    <a:lnTo>
                      <a:pt x="194" y="1201"/>
                    </a:lnTo>
                    <a:lnTo>
                      <a:pt x="192" y="1201"/>
                    </a:lnTo>
                    <a:lnTo>
                      <a:pt x="192" y="1203"/>
                    </a:lnTo>
                    <a:lnTo>
                      <a:pt x="190" y="1203"/>
                    </a:lnTo>
                    <a:lnTo>
                      <a:pt x="189" y="1204"/>
                    </a:lnTo>
                    <a:lnTo>
                      <a:pt x="187" y="1204"/>
                    </a:lnTo>
                    <a:lnTo>
                      <a:pt x="187" y="1206"/>
                    </a:lnTo>
                    <a:lnTo>
                      <a:pt x="185" y="1206"/>
                    </a:lnTo>
                    <a:lnTo>
                      <a:pt x="184" y="1208"/>
                    </a:lnTo>
                    <a:lnTo>
                      <a:pt x="182" y="1208"/>
                    </a:lnTo>
                    <a:lnTo>
                      <a:pt x="180" y="1208"/>
                    </a:lnTo>
                    <a:lnTo>
                      <a:pt x="179" y="1208"/>
                    </a:lnTo>
                    <a:lnTo>
                      <a:pt x="177" y="1208"/>
                    </a:lnTo>
                    <a:lnTo>
                      <a:pt x="177" y="1209"/>
                    </a:lnTo>
                    <a:lnTo>
                      <a:pt x="177" y="1211"/>
                    </a:lnTo>
                    <a:lnTo>
                      <a:pt x="175" y="1211"/>
                    </a:lnTo>
                    <a:lnTo>
                      <a:pt x="173" y="1213"/>
                    </a:lnTo>
                    <a:lnTo>
                      <a:pt x="172" y="1213"/>
                    </a:lnTo>
                    <a:lnTo>
                      <a:pt x="170" y="1213"/>
                    </a:lnTo>
                    <a:lnTo>
                      <a:pt x="170" y="1214"/>
                    </a:lnTo>
                    <a:lnTo>
                      <a:pt x="168" y="1214"/>
                    </a:lnTo>
                    <a:lnTo>
                      <a:pt x="167" y="1214"/>
                    </a:lnTo>
                    <a:lnTo>
                      <a:pt x="167" y="1216"/>
                    </a:lnTo>
                    <a:lnTo>
                      <a:pt x="167" y="1214"/>
                    </a:lnTo>
                    <a:lnTo>
                      <a:pt x="167" y="1216"/>
                    </a:lnTo>
                    <a:lnTo>
                      <a:pt x="165" y="1216"/>
                    </a:lnTo>
                    <a:lnTo>
                      <a:pt x="163" y="1216"/>
                    </a:lnTo>
                    <a:lnTo>
                      <a:pt x="162" y="1218"/>
                    </a:lnTo>
                    <a:lnTo>
                      <a:pt x="160" y="1218"/>
                    </a:lnTo>
                    <a:lnTo>
                      <a:pt x="160" y="1220"/>
                    </a:lnTo>
                    <a:lnTo>
                      <a:pt x="158" y="1220"/>
                    </a:lnTo>
                    <a:lnTo>
                      <a:pt x="160" y="1221"/>
                    </a:lnTo>
                    <a:lnTo>
                      <a:pt x="158" y="1221"/>
                    </a:lnTo>
                    <a:lnTo>
                      <a:pt x="156" y="1223"/>
                    </a:lnTo>
                    <a:lnTo>
                      <a:pt x="156" y="1225"/>
                    </a:lnTo>
                    <a:lnTo>
                      <a:pt x="155" y="1225"/>
                    </a:lnTo>
                    <a:lnTo>
                      <a:pt x="155" y="1226"/>
                    </a:lnTo>
                    <a:lnTo>
                      <a:pt x="153" y="1228"/>
                    </a:lnTo>
                    <a:lnTo>
                      <a:pt x="153" y="1230"/>
                    </a:lnTo>
                    <a:lnTo>
                      <a:pt x="153" y="1231"/>
                    </a:lnTo>
                    <a:lnTo>
                      <a:pt x="153" y="1233"/>
                    </a:lnTo>
                    <a:lnTo>
                      <a:pt x="151" y="1233"/>
                    </a:lnTo>
                    <a:lnTo>
                      <a:pt x="151" y="1235"/>
                    </a:lnTo>
                    <a:lnTo>
                      <a:pt x="151" y="1237"/>
                    </a:lnTo>
                    <a:lnTo>
                      <a:pt x="151" y="1238"/>
                    </a:lnTo>
                    <a:lnTo>
                      <a:pt x="150" y="1240"/>
                    </a:lnTo>
                    <a:lnTo>
                      <a:pt x="150" y="1242"/>
                    </a:lnTo>
                    <a:lnTo>
                      <a:pt x="151" y="1243"/>
                    </a:lnTo>
                    <a:lnTo>
                      <a:pt x="151" y="1245"/>
                    </a:lnTo>
                    <a:lnTo>
                      <a:pt x="151" y="1247"/>
                    </a:lnTo>
                    <a:lnTo>
                      <a:pt x="151" y="1248"/>
                    </a:lnTo>
                    <a:lnTo>
                      <a:pt x="150" y="1250"/>
                    </a:lnTo>
                    <a:lnTo>
                      <a:pt x="148" y="1252"/>
                    </a:lnTo>
                    <a:lnTo>
                      <a:pt x="148" y="1254"/>
                    </a:lnTo>
                    <a:lnTo>
                      <a:pt x="150" y="1254"/>
                    </a:lnTo>
                    <a:lnTo>
                      <a:pt x="150" y="1255"/>
                    </a:lnTo>
                    <a:lnTo>
                      <a:pt x="150" y="1257"/>
                    </a:lnTo>
                    <a:lnTo>
                      <a:pt x="150" y="1259"/>
                    </a:lnTo>
                    <a:lnTo>
                      <a:pt x="151" y="1264"/>
                    </a:lnTo>
                    <a:lnTo>
                      <a:pt x="151" y="1265"/>
                    </a:lnTo>
                    <a:lnTo>
                      <a:pt x="153" y="1267"/>
                    </a:lnTo>
                    <a:lnTo>
                      <a:pt x="153" y="1269"/>
                    </a:lnTo>
                    <a:lnTo>
                      <a:pt x="153" y="1271"/>
                    </a:lnTo>
                    <a:lnTo>
                      <a:pt x="155" y="1274"/>
                    </a:lnTo>
                    <a:lnTo>
                      <a:pt x="155" y="1276"/>
                    </a:lnTo>
                    <a:lnTo>
                      <a:pt x="155" y="1279"/>
                    </a:lnTo>
                    <a:lnTo>
                      <a:pt x="156" y="1281"/>
                    </a:lnTo>
                    <a:lnTo>
                      <a:pt x="156" y="1282"/>
                    </a:lnTo>
                    <a:lnTo>
                      <a:pt x="156" y="1284"/>
                    </a:lnTo>
                    <a:lnTo>
                      <a:pt x="156" y="1286"/>
                    </a:lnTo>
                    <a:lnTo>
                      <a:pt x="155" y="1286"/>
                    </a:lnTo>
                    <a:lnTo>
                      <a:pt x="155" y="1288"/>
                    </a:lnTo>
                    <a:lnTo>
                      <a:pt x="156" y="1288"/>
                    </a:lnTo>
                    <a:lnTo>
                      <a:pt x="156" y="1289"/>
                    </a:lnTo>
                    <a:lnTo>
                      <a:pt x="156" y="1291"/>
                    </a:lnTo>
                    <a:lnTo>
                      <a:pt x="158" y="1293"/>
                    </a:lnTo>
                    <a:lnTo>
                      <a:pt x="160" y="1296"/>
                    </a:lnTo>
                    <a:lnTo>
                      <a:pt x="162" y="1300"/>
                    </a:lnTo>
                    <a:lnTo>
                      <a:pt x="163" y="1305"/>
                    </a:lnTo>
                    <a:lnTo>
                      <a:pt x="165" y="1308"/>
                    </a:lnTo>
                    <a:lnTo>
                      <a:pt x="167" y="1310"/>
                    </a:lnTo>
                    <a:lnTo>
                      <a:pt x="168" y="1315"/>
                    </a:lnTo>
                    <a:lnTo>
                      <a:pt x="170" y="1317"/>
                    </a:lnTo>
                    <a:lnTo>
                      <a:pt x="173" y="1322"/>
                    </a:lnTo>
                    <a:lnTo>
                      <a:pt x="175" y="1325"/>
                    </a:lnTo>
                    <a:lnTo>
                      <a:pt x="177" y="1325"/>
                    </a:lnTo>
                    <a:lnTo>
                      <a:pt x="177" y="1327"/>
                    </a:lnTo>
                    <a:lnTo>
                      <a:pt x="177" y="1328"/>
                    </a:lnTo>
                    <a:lnTo>
                      <a:pt x="175" y="1328"/>
                    </a:lnTo>
                    <a:lnTo>
                      <a:pt x="175" y="1330"/>
                    </a:lnTo>
                    <a:lnTo>
                      <a:pt x="175" y="1328"/>
                    </a:lnTo>
                    <a:lnTo>
                      <a:pt x="175" y="1327"/>
                    </a:lnTo>
                    <a:lnTo>
                      <a:pt x="173" y="1327"/>
                    </a:lnTo>
                    <a:lnTo>
                      <a:pt x="172" y="1327"/>
                    </a:lnTo>
                    <a:lnTo>
                      <a:pt x="170" y="1327"/>
                    </a:lnTo>
                    <a:lnTo>
                      <a:pt x="168" y="1327"/>
                    </a:lnTo>
                    <a:lnTo>
                      <a:pt x="168" y="1325"/>
                    </a:lnTo>
                    <a:lnTo>
                      <a:pt x="167" y="1325"/>
                    </a:lnTo>
                    <a:lnTo>
                      <a:pt x="165" y="1325"/>
                    </a:lnTo>
                    <a:lnTo>
                      <a:pt x="163" y="1325"/>
                    </a:lnTo>
                    <a:lnTo>
                      <a:pt x="163" y="1323"/>
                    </a:lnTo>
                    <a:lnTo>
                      <a:pt x="162" y="1323"/>
                    </a:lnTo>
                    <a:lnTo>
                      <a:pt x="158" y="1322"/>
                    </a:lnTo>
                    <a:lnTo>
                      <a:pt x="156" y="1322"/>
                    </a:lnTo>
                    <a:lnTo>
                      <a:pt x="155" y="1320"/>
                    </a:lnTo>
                    <a:lnTo>
                      <a:pt x="153" y="1320"/>
                    </a:lnTo>
                    <a:lnTo>
                      <a:pt x="151" y="1320"/>
                    </a:lnTo>
                    <a:lnTo>
                      <a:pt x="150" y="1318"/>
                    </a:lnTo>
                    <a:lnTo>
                      <a:pt x="148" y="1318"/>
                    </a:lnTo>
                    <a:lnTo>
                      <a:pt x="145" y="1318"/>
                    </a:lnTo>
                    <a:lnTo>
                      <a:pt x="141" y="1318"/>
                    </a:lnTo>
                    <a:lnTo>
                      <a:pt x="139" y="1317"/>
                    </a:lnTo>
                    <a:lnTo>
                      <a:pt x="138" y="1317"/>
                    </a:lnTo>
                    <a:lnTo>
                      <a:pt x="134" y="1315"/>
                    </a:lnTo>
                    <a:lnTo>
                      <a:pt x="131" y="1313"/>
                    </a:lnTo>
                    <a:lnTo>
                      <a:pt x="128" y="1313"/>
                    </a:lnTo>
                    <a:lnTo>
                      <a:pt x="126" y="1311"/>
                    </a:lnTo>
                    <a:lnTo>
                      <a:pt x="124" y="1310"/>
                    </a:lnTo>
                    <a:lnTo>
                      <a:pt x="121" y="1308"/>
                    </a:lnTo>
                    <a:lnTo>
                      <a:pt x="109" y="1310"/>
                    </a:lnTo>
                    <a:lnTo>
                      <a:pt x="104" y="1308"/>
                    </a:lnTo>
                    <a:lnTo>
                      <a:pt x="99" y="1310"/>
                    </a:lnTo>
                    <a:lnTo>
                      <a:pt x="92" y="1308"/>
                    </a:lnTo>
                    <a:lnTo>
                      <a:pt x="78" y="1310"/>
                    </a:lnTo>
                    <a:lnTo>
                      <a:pt x="75" y="1308"/>
                    </a:lnTo>
                    <a:lnTo>
                      <a:pt x="73" y="1308"/>
                    </a:lnTo>
                    <a:lnTo>
                      <a:pt x="65" y="1308"/>
                    </a:lnTo>
                    <a:lnTo>
                      <a:pt x="56" y="1310"/>
                    </a:lnTo>
                    <a:lnTo>
                      <a:pt x="56" y="1308"/>
                    </a:lnTo>
                    <a:lnTo>
                      <a:pt x="54" y="1308"/>
                    </a:lnTo>
                    <a:lnTo>
                      <a:pt x="53" y="1308"/>
                    </a:lnTo>
                    <a:lnTo>
                      <a:pt x="53" y="1306"/>
                    </a:lnTo>
                    <a:lnTo>
                      <a:pt x="54" y="1306"/>
                    </a:lnTo>
                    <a:lnTo>
                      <a:pt x="54" y="1305"/>
                    </a:lnTo>
                    <a:lnTo>
                      <a:pt x="56" y="1305"/>
                    </a:lnTo>
                    <a:lnTo>
                      <a:pt x="56" y="1303"/>
                    </a:lnTo>
                    <a:lnTo>
                      <a:pt x="54" y="1301"/>
                    </a:lnTo>
                    <a:lnTo>
                      <a:pt x="54" y="1300"/>
                    </a:lnTo>
                    <a:lnTo>
                      <a:pt x="53" y="1300"/>
                    </a:lnTo>
                    <a:lnTo>
                      <a:pt x="53" y="1298"/>
                    </a:lnTo>
                    <a:lnTo>
                      <a:pt x="51" y="1298"/>
                    </a:lnTo>
                    <a:lnTo>
                      <a:pt x="51" y="1296"/>
                    </a:lnTo>
                    <a:lnTo>
                      <a:pt x="49" y="1296"/>
                    </a:lnTo>
                    <a:lnTo>
                      <a:pt x="49" y="1294"/>
                    </a:lnTo>
                    <a:lnTo>
                      <a:pt x="48" y="1294"/>
                    </a:lnTo>
                    <a:lnTo>
                      <a:pt x="48" y="1293"/>
                    </a:lnTo>
                    <a:lnTo>
                      <a:pt x="46" y="1293"/>
                    </a:lnTo>
                    <a:lnTo>
                      <a:pt x="44" y="1293"/>
                    </a:lnTo>
                    <a:lnTo>
                      <a:pt x="44" y="1291"/>
                    </a:lnTo>
                    <a:lnTo>
                      <a:pt x="44" y="1289"/>
                    </a:lnTo>
                    <a:lnTo>
                      <a:pt x="43" y="1288"/>
                    </a:lnTo>
                    <a:lnTo>
                      <a:pt x="43" y="1286"/>
                    </a:lnTo>
                    <a:lnTo>
                      <a:pt x="41" y="1286"/>
                    </a:lnTo>
                    <a:lnTo>
                      <a:pt x="39" y="1286"/>
                    </a:lnTo>
                    <a:lnTo>
                      <a:pt x="39" y="1284"/>
                    </a:lnTo>
                    <a:lnTo>
                      <a:pt x="41" y="1282"/>
                    </a:lnTo>
                    <a:lnTo>
                      <a:pt x="39" y="1282"/>
                    </a:lnTo>
                    <a:lnTo>
                      <a:pt x="41" y="1282"/>
                    </a:lnTo>
                    <a:lnTo>
                      <a:pt x="43" y="1282"/>
                    </a:lnTo>
                    <a:lnTo>
                      <a:pt x="43" y="1281"/>
                    </a:lnTo>
                    <a:lnTo>
                      <a:pt x="43" y="1279"/>
                    </a:lnTo>
                    <a:lnTo>
                      <a:pt x="43" y="1277"/>
                    </a:lnTo>
                    <a:lnTo>
                      <a:pt x="43" y="1276"/>
                    </a:lnTo>
                    <a:lnTo>
                      <a:pt x="43" y="1274"/>
                    </a:lnTo>
                    <a:lnTo>
                      <a:pt x="41" y="1272"/>
                    </a:lnTo>
                    <a:lnTo>
                      <a:pt x="43" y="1272"/>
                    </a:lnTo>
                    <a:lnTo>
                      <a:pt x="43" y="1271"/>
                    </a:lnTo>
                    <a:lnTo>
                      <a:pt x="44" y="1271"/>
                    </a:lnTo>
                    <a:lnTo>
                      <a:pt x="44" y="1269"/>
                    </a:lnTo>
                    <a:lnTo>
                      <a:pt x="44" y="1267"/>
                    </a:lnTo>
                    <a:lnTo>
                      <a:pt x="44" y="1265"/>
                    </a:lnTo>
                    <a:lnTo>
                      <a:pt x="43" y="1265"/>
                    </a:lnTo>
                    <a:lnTo>
                      <a:pt x="41" y="1264"/>
                    </a:lnTo>
                    <a:lnTo>
                      <a:pt x="41" y="1262"/>
                    </a:lnTo>
                    <a:lnTo>
                      <a:pt x="41" y="1260"/>
                    </a:lnTo>
                    <a:lnTo>
                      <a:pt x="39" y="1260"/>
                    </a:lnTo>
                    <a:lnTo>
                      <a:pt x="41" y="1259"/>
                    </a:lnTo>
                    <a:lnTo>
                      <a:pt x="41" y="1257"/>
                    </a:lnTo>
                    <a:lnTo>
                      <a:pt x="41" y="1255"/>
                    </a:lnTo>
                    <a:lnTo>
                      <a:pt x="43" y="1255"/>
                    </a:lnTo>
                    <a:lnTo>
                      <a:pt x="43" y="1257"/>
                    </a:lnTo>
                    <a:lnTo>
                      <a:pt x="44" y="1257"/>
                    </a:lnTo>
                    <a:lnTo>
                      <a:pt x="44" y="1255"/>
                    </a:lnTo>
                    <a:lnTo>
                      <a:pt x="44" y="1254"/>
                    </a:lnTo>
                    <a:lnTo>
                      <a:pt x="44" y="1252"/>
                    </a:lnTo>
                    <a:lnTo>
                      <a:pt x="46" y="1250"/>
                    </a:lnTo>
                    <a:lnTo>
                      <a:pt x="46" y="1248"/>
                    </a:lnTo>
                    <a:lnTo>
                      <a:pt x="44" y="1247"/>
                    </a:lnTo>
                    <a:lnTo>
                      <a:pt x="44" y="1245"/>
                    </a:lnTo>
                    <a:lnTo>
                      <a:pt x="44" y="1243"/>
                    </a:lnTo>
                    <a:lnTo>
                      <a:pt x="43" y="1243"/>
                    </a:lnTo>
                    <a:lnTo>
                      <a:pt x="43" y="1242"/>
                    </a:lnTo>
                    <a:lnTo>
                      <a:pt x="43" y="1240"/>
                    </a:lnTo>
                    <a:lnTo>
                      <a:pt x="44" y="1238"/>
                    </a:lnTo>
                    <a:lnTo>
                      <a:pt x="44" y="1237"/>
                    </a:lnTo>
                    <a:lnTo>
                      <a:pt x="43" y="1237"/>
                    </a:lnTo>
                    <a:lnTo>
                      <a:pt x="43" y="1235"/>
                    </a:lnTo>
                    <a:lnTo>
                      <a:pt x="41" y="1235"/>
                    </a:lnTo>
                    <a:lnTo>
                      <a:pt x="39" y="1235"/>
                    </a:lnTo>
                    <a:lnTo>
                      <a:pt x="37" y="1233"/>
                    </a:lnTo>
                    <a:lnTo>
                      <a:pt x="36" y="1235"/>
                    </a:lnTo>
                    <a:lnTo>
                      <a:pt x="34" y="1235"/>
                    </a:lnTo>
                    <a:lnTo>
                      <a:pt x="34" y="1237"/>
                    </a:lnTo>
                    <a:lnTo>
                      <a:pt x="34" y="1238"/>
                    </a:lnTo>
                    <a:lnTo>
                      <a:pt x="32" y="1237"/>
                    </a:lnTo>
                    <a:lnTo>
                      <a:pt x="31" y="1235"/>
                    </a:lnTo>
                    <a:lnTo>
                      <a:pt x="31" y="1237"/>
                    </a:lnTo>
                    <a:lnTo>
                      <a:pt x="29" y="1235"/>
                    </a:lnTo>
                    <a:lnTo>
                      <a:pt x="27" y="1235"/>
                    </a:lnTo>
                    <a:lnTo>
                      <a:pt x="26" y="1237"/>
                    </a:lnTo>
                    <a:lnTo>
                      <a:pt x="24" y="1237"/>
                    </a:lnTo>
                    <a:lnTo>
                      <a:pt x="24" y="1238"/>
                    </a:lnTo>
                    <a:lnTo>
                      <a:pt x="22" y="1238"/>
                    </a:lnTo>
                    <a:lnTo>
                      <a:pt x="22" y="1240"/>
                    </a:lnTo>
                    <a:lnTo>
                      <a:pt x="20" y="1242"/>
                    </a:lnTo>
                    <a:lnTo>
                      <a:pt x="19" y="1242"/>
                    </a:lnTo>
                    <a:lnTo>
                      <a:pt x="17" y="1243"/>
                    </a:lnTo>
                    <a:lnTo>
                      <a:pt x="17" y="1242"/>
                    </a:lnTo>
                    <a:lnTo>
                      <a:pt x="15" y="1243"/>
                    </a:lnTo>
                    <a:lnTo>
                      <a:pt x="14" y="1245"/>
                    </a:lnTo>
                    <a:lnTo>
                      <a:pt x="12" y="1245"/>
                    </a:lnTo>
                    <a:lnTo>
                      <a:pt x="10" y="1245"/>
                    </a:lnTo>
                    <a:lnTo>
                      <a:pt x="10" y="1243"/>
                    </a:lnTo>
                    <a:lnTo>
                      <a:pt x="10" y="1242"/>
                    </a:lnTo>
                    <a:lnTo>
                      <a:pt x="10" y="1240"/>
                    </a:lnTo>
                    <a:lnTo>
                      <a:pt x="12" y="1240"/>
                    </a:lnTo>
                    <a:lnTo>
                      <a:pt x="14" y="1238"/>
                    </a:lnTo>
                    <a:lnTo>
                      <a:pt x="14" y="1237"/>
                    </a:lnTo>
                    <a:lnTo>
                      <a:pt x="12" y="1237"/>
                    </a:lnTo>
                    <a:lnTo>
                      <a:pt x="10" y="1235"/>
                    </a:lnTo>
                    <a:lnTo>
                      <a:pt x="10" y="1233"/>
                    </a:lnTo>
                    <a:lnTo>
                      <a:pt x="10" y="1231"/>
                    </a:lnTo>
                    <a:lnTo>
                      <a:pt x="9" y="1231"/>
                    </a:lnTo>
                    <a:lnTo>
                      <a:pt x="9" y="1230"/>
                    </a:lnTo>
                    <a:lnTo>
                      <a:pt x="7" y="1228"/>
                    </a:lnTo>
                    <a:lnTo>
                      <a:pt x="9" y="1228"/>
                    </a:lnTo>
                    <a:lnTo>
                      <a:pt x="7" y="1226"/>
                    </a:lnTo>
                    <a:lnTo>
                      <a:pt x="5" y="1226"/>
                    </a:lnTo>
                    <a:lnTo>
                      <a:pt x="7" y="1226"/>
                    </a:lnTo>
                    <a:lnTo>
                      <a:pt x="5" y="1225"/>
                    </a:lnTo>
                    <a:lnTo>
                      <a:pt x="3" y="1221"/>
                    </a:lnTo>
                    <a:lnTo>
                      <a:pt x="3" y="1220"/>
                    </a:lnTo>
                    <a:lnTo>
                      <a:pt x="3" y="1218"/>
                    </a:lnTo>
                    <a:lnTo>
                      <a:pt x="2" y="1218"/>
                    </a:lnTo>
                    <a:lnTo>
                      <a:pt x="2" y="1216"/>
                    </a:lnTo>
                    <a:lnTo>
                      <a:pt x="0" y="1214"/>
                    </a:lnTo>
                    <a:lnTo>
                      <a:pt x="2" y="1213"/>
                    </a:lnTo>
                    <a:lnTo>
                      <a:pt x="2" y="1211"/>
                    </a:lnTo>
                    <a:lnTo>
                      <a:pt x="2" y="1209"/>
                    </a:lnTo>
                    <a:lnTo>
                      <a:pt x="2" y="1208"/>
                    </a:lnTo>
                    <a:lnTo>
                      <a:pt x="3" y="1206"/>
                    </a:lnTo>
                    <a:lnTo>
                      <a:pt x="3" y="1204"/>
                    </a:lnTo>
                    <a:lnTo>
                      <a:pt x="2" y="1204"/>
                    </a:lnTo>
                    <a:lnTo>
                      <a:pt x="2" y="1203"/>
                    </a:lnTo>
                    <a:lnTo>
                      <a:pt x="2" y="1201"/>
                    </a:lnTo>
                    <a:lnTo>
                      <a:pt x="3" y="1199"/>
                    </a:lnTo>
                    <a:lnTo>
                      <a:pt x="2" y="1199"/>
                    </a:lnTo>
                    <a:lnTo>
                      <a:pt x="2" y="1197"/>
                    </a:lnTo>
                    <a:lnTo>
                      <a:pt x="2" y="1196"/>
                    </a:lnTo>
                    <a:lnTo>
                      <a:pt x="3" y="1196"/>
                    </a:lnTo>
                    <a:lnTo>
                      <a:pt x="3" y="1194"/>
                    </a:lnTo>
                    <a:lnTo>
                      <a:pt x="3" y="1192"/>
                    </a:lnTo>
                    <a:lnTo>
                      <a:pt x="5" y="1191"/>
                    </a:lnTo>
                    <a:lnTo>
                      <a:pt x="5" y="1189"/>
                    </a:lnTo>
                    <a:lnTo>
                      <a:pt x="3" y="1187"/>
                    </a:lnTo>
                    <a:lnTo>
                      <a:pt x="3" y="1186"/>
                    </a:lnTo>
                    <a:lnTo>
                      <a:pt x="3" y="1184"/>
                    </a:lnTo>
                    <a:lnTo>
                      <a:pt x="3" y="1182"/>
                    </a:lnTo>
                    <a:lnTo>
                      <a:pt x="5" y="1182"/>
                    </a:lnTo>
                    <a:lnTo>
                      <a:pt x="3" y="1180"/>
                    </a:lnTo>
                    <a:lnTo>
                      <a:pt x="3" y="1179"/>
                    </a:lnTo>
                    <a:lnTo>
                      <a:pt x="2" y="1179"/>
                    </a:lnTo>
                    <a:lnTo>
                      <a:pt x="2" y="1177"/>
                    </a:lnTo>
                    <a:lnTo>
                      <a:pt x="2" y="1175"/>
                    </a:lnTo>
                    <a:lnTo>
                      <a:pt x="3" y="1175"/>
                    </a:lnTo>
                    <a:lnTo>
                      <a:pt x="3" y="1174"/>
                    </a:lnTo>
                    <a:lnTo>
                      <a:pt x="3" y="1172"/>
                    </a:lnTo>
                    <a:lnTo>
                      <a:pt x="3" y="1170"/>
                    </a:lnTo>
                    <a:lnTo>
                      <a:pt x="5" y="1170"/>
                    </a:lnTo>
                    <a:lnTo>
                      <a:pt x="5" y="1169"/>
                    </a:lnTo>
                    <a:lnTo>
                      <a:pt x="5" y="1167"/>
                    </a:lnTo>
                    <a:lnTo>
                      <a:pt x="7" y="1165"/>
                    </a:lnTo>
                    <a:lnTo>
                      <a:pt x="5" y="1165"/>
                    </a:lnTo>
                    <a:lnTo>
                      <a:pt x="3" y="1163"/>
                    </a:lnTo>
                    <a:lnTo>
                      <a:pt x="3" y="1162"/>
                    </a:lnTo>
                    <a:lnTo>
                      <a:pt x="3" y="1160"/>
                    </a:lnTo>
                    <a:lnTo>
                      <a:pt x="17" y="1163"/>
                    </a:lnTo>
                    <a:lnTo>
                      <a:pt x="19" y="1163"/>
                    </a:lnTo>
                    <a:lnTo>
                      <a:pt x="17" y="1163"/>
                    </a:lnTo>
                    <a:lnTo>
                      <a:pt x="17" y="1162"/>
                    </a:lnTo>
                    <a:lnTo>
                      <a:pt x="17" y="1163"/>
                    </a:lnTo>
                    <a:lnTo>
                      <a:pt x="15" y="1163"/>
                    </a:lnTo>
                    <a:lnTo>
                      <a:pt x="15" y="1162"/>
                    </a:lnTo>
                    <a:lnTo>
                      <a:pt x="15" y="1160"/>
                    </a:lnTo>
                    <a:lnTo>
                      <a:pt x="15" y="1158"/>
                    </a:lnTo>
                    <a:lnTo>
                      <a:pt x="17" y="1157"/>
                    </a:lnTo>
                    <a:lnTo>
                      <a:pt x="19" y="1155"/>
                    </a:lnTo>
                    <a:lnTo>
                      <a:pt x="19" y="1153"/>
                    </a:lnTo>
                    <a:lnTo>
                      <a:pt x="20" y="1153"/>
                    </a:lnTo>
                    <a:lnTo>
                      <a:pt x="20" y="1152"/>
                    </a:lnTo>
                    <a:lnTo>
                      <a:pt x="20" y="1150"/>
                    </a:lnTo>
                    <a:lnTo>
                      <a:pt x="20" y="1148"/>
                    </a:lnTo>
                    <a:lnTo>
                      <a:pt x="22" y="1148"/>
                    </a:lnTo>
                    <a:lnTo>
                      <a:pt x="22" y="1146"/>
                    </a:lnTo>
                    <a:lnTo>
                      <a:pt x="24" y="1146"/>
                    </a:lnTo>
                    <a:lnTo>
                      <a:pt x="26" y="1148"/>
                    </a:lnTo>
                    <a:lnTo>
                      <a:pt x="27" y="1148"/>
                    </a:lnTo>
                    <a:lnTo>
                      <a:pt x="27" y="1146"/>
                    </a:lnTo>
                    <a:lnTo>
                      <a:pt x="29" y="1145"/>
                    </a:lnTo>
                    <a:lnTo>
                      <a:pt x="31" y="1145"/>
                    </a:lnTo>
                    <a:lnTo>
                      <a:pt x="31" y="1143"/>
                    </a:lnTo>
                    <a:lnTo>
                      <a:pt x="32" y="1141"/>
                    </a:lnTo>
                    <a:lnTo>
                      <a:pt x="34" y="1140"/>
                    </a:lnTo>
                    <a:lnTo>
                      <a:pt x="36" y="1140"/>
                    </a:lnTo>
                    <a:lnTo>
                      <a:pt x="36" y="1138"/>
                    </a:lnTo>
                    <a:lnTo>
                      <a:pt x="36" y="1136"/>
                    </a:lnTo>
                    <a:lnTo>
                      <a:pt x="36" y="1135"/>
                    </a:lnTo>
                    <a:lnTo>
                      <a:pt x="36" y="1131"/>
                    </a:lnTo>
                    <a:lnTo>
                      <a:pt x="34" y="1124"/>
                    </a:lnTo>
                    <a:lnTo>
                      <a:pt x="34" y="1123"/>
                    </a:lnTo>
                    <a:lnTo>
                      <a:pt x="36" y="1123"/>
                    </a:lnTo>
                    <a:lnTo>
                      <a:pt x="36" y="1124"/>
                    </a:lnTo>
                    <a:lnTo>
                      <a:pt x="37" y="1124"/>
                    </a:lnTo>
                    <a:lnTo>
                      <a:pt x="39" y="1124"/>
                    </a:lnTo>
                    <a:lnTo>
                      <a:pt x="41" y="1123"/>
                    </a:lnTo>
                    <a:lnTo>
                      <a:pt x="41" y="1121"/>
                    </a:lnTo>
                    <a:lnTo>
                      <a:pt x="39" y="1121"/>
                    </a:lnTo>
                    <a:lnTo>
                      <a:pt x="39" y="1119"/>
                    </a:lnTo>
                    <a:lnTo>
                      <a:pt x="41" y="1119"/>
                    </a:lnTo>
                    <a:lnTo>
                      <a:pt x="43" y="1117"/>
                    </a:lnTo>
                    <a:lnTo>
                      <a:pt x="41" y="1117"/>
                    </a:lnTo>
                    <a:lnTo>
                      <a:pt x="41" y="1116"/>
                    </a:lnTo>
                    <a:lnTo>
                      <a:pt x="43" y="1116"/>
                    </a:lnTo>
                    <a:lnTo>
                      <a:pt x="43" y="1117"/>
                    </a:lnTo>
                    <a:lnTo>
                      <a:pt x="43" y="1116"/>
                    </a:lnTo>
                    <a:lnTo>
                      <a:pt x="44" y="1117"/>
                    </a:lnTo>
                    <a:lnTo>
                      <a:pt x="44" y="1116"/>
                    </a:lnTo>
                    <a:lnTo>
                      <a:pt x="46" y="1116"/>
                    </a:lnTo>
                    <a:lnTo>
                      <a:pt x="46" y="1114"/>
                    </a:lnTo>
                    <a:lnTo>
                      <a:pt x="44" y="1112"/>
                    </a:lnTo>
                    <a:lnTo>
                      <a:pt x="44" y="1111"/>
                    </a:lnTo>
                    <a:lnTo>
                      <a:pt x="43" y="1111"/>
                    </a:lnTo>
                    <a:lnTo>
                      <a:pt x="43" y="1109"/>
                    </a:lnTo>
                    <a:lnTo>
                      <a:pt x="44" y="1109"/>
                    </a:lnTo>
                    <a:lnTo>
                      <a:pt x="43" y="1107"/>
                    </a:lnTo>
                    <a:lnTo>
                      <a:pt x="44" y="1106"/>
                    </a:lnTo>
                    <a:lnTo>
                      <a:pt x="43" y="1106"/>
                    </a:lnTo>
                    <a:lnTo>
                      <a:pt x="43" y="1104"/>
                    </a:lnTo>
                    <a:lnTo>
                      <a:pt x="41" y="1104"/>
                    </a:lnTo>
                    <a:lnTo>
                      <a:pt x="41" y="1102"/>
                    </a:lnTo>
                    <a:lnTo>
                      <a:pt x="39" y="1102"/>
                    </a:lnTo>
                    <a:lnTo>
                      <a:pt x="39" y="1100"/>
                    </a:lnTo>
                    <a:lnTo>
                      <a:pt x="39" y="1099"/>
                    </a:lnTo>
                    <a:lnTo>
                      <a:pt x="39" y="1097"/>
                    </a:lnTo>
                    <a:lnTo>
                      <a:pt x="37" y="1097"/>
                    </a:lnTo>
                    <a:lnTo>
                      <a:pt x="36" y="1095"/>
                    </a:lnTo>
                    <a:lnTo>
                      <a:pt x="36" y="1094"/>
                    </a:lnTo>
                    <a:lnTo>
                      <a:pt x="37" y="1094"/>
                    </a:lnTo>
                    <a:lnTo>
                      <a:pt x="37" y="1092"/>
                    </a:lnTo>
                    <a:lnTo>
                      <a:pt x="37" y="1090"/>
                    </a:lnTo>
                    <a:lnTo>
                      <a:pt x="37" y="1089"/>
                    </a:lnTo>
                    <a:lnTo>
                      <a:pt x="37" y="1087"/>
                    </a:lnTo>
                    <a:lnTo>
                      <a:pt x="36" y="1087"/>
                    </a:lnTo>
                    <a:lnTo>
                      <a:pt x="36" y="1085"/>
                    </a:lnTo>
                    <a:lnTo>
                      <a:pt x="37" y="1087"/>
                    </a:lnTo>
                    <a:lnTo>
                      <a:pt x="39" y="1087"/>
                    </a:lnTo>
                    <a:lnTo>
                      <a:pt x="41" y="1087"/>
                    </a:lnTo>
                    <a:lnTo>
                      <a:pt x="41" y="1085"/>
                    </a:lnTo>
                    <a:lnTo>
                      <a:pt x="39" y="1085"/>
                    </a:lnTo>
                    <a:lnTo>
                      <a:pt x="39" y="1083"/>
                    </a:lnTo>
                    <a:lnTo>
                      <a:pt x="39" y="1082"/>
                    </a:lnTo>
                    <a:lnTo>
                      <a:pt x="41" y="1082"/>
                    </a:lnTo>
                    <a:lnTo>
                      <a:pt x="41" y="1080"/>
                    </a:lnTo>
                    <a:lnTo>
                      <a:pt x="43" y="1080"/>
                    </a:lnTo>
                    <a:lnTo>
                      <a:pt x="43" y="1078"/>
                    </a:lnTo>
                    <a:lnTo>
                      <a:pt x="43" y="1077"/>
                    </a:lnTo>
                    <a:lnTo>
                      <a:pt x="43" y="1075"/>
                    </a:lnTo>
                    <a:lnTo>
                      <a:pt x="44" y="1075"/>
                    </a:lnTo>
                    <a:lnTo>
                      <a:pt x="44" y="1073"/>
                    </a:lnTo>
                    <a:lnTo>
                      <a:pt x="43" y="1073"/>
                    </a:lnTo>
                    <a:lnTo>
                      <a:pt x="43" y="1072"/>
                    </a:lnTo>
                    <a:lnTo>
                      <a:pt x="43" y="1073"/>
                    </a:lnTo>
                    <a:lnTo>
                      <a:pt x="43" y="1072"/>
                    </a:lnTo>
                    <a:lnTo>
                      <a:pt x="44" y="1072"/>
                    </a:lnTo>
                    <a:lnTo>
                      <a:pt x="44" y="1070"/>
                    </a:lnTo>
                    <a:lnTo>
                      <a:pt x="46" y="1070"/>
                    </a:lnTo>
                    <a:lnTo>
                      <a:pt x="46" y="1068"/>
                    </a:lnTo>
                    <a:lnTo>
                      <a:pt x="48" y="1070"/>
                    </a:lnTo>
                    <a:lnTo>
                      <a:pt x="48" y="1068"/>
                    </a:lnTo>
                    <a:lnTo>
                      <a:pt x="49" y="1066"/>
                    </a:lnTo>
                    <a:lnTo>
                      <a:pt x="49" y="1065"/>
                    </a:lnTo>
                    <a:lnTo>
                      <a:pt x="51" y="1065"/>
                    </a:lnTo>
                    <a:lnTo>
                      <a:pt x="53" y="1065"/>
                    </a:lnTo>
                    <a:lnTo>
                      <a:pt x="53" y="1063"/>
                    </a:lnTo>
                    <a:lnTo>
                      <a:pt x="54" y="1063"/>
                    </a:lnTo>
                    <a:lnTo>
                      <a:pt x="53" y="1061"/>
                    </a:lnTo>
                    <a:lnTo>
                      <a:pt x="54" y="1060"/>
                    </a:lnTo>
                    <a:lnTo>
                      <a:pt x="53" y="1058"/>
                    </a:lnTo>
                    <a:lnTo>
                      <a:pt x="54" y="1060"/>
                    </a:lnTo>
                    <a:lnTo>
                      <a:pt x="56" y="1060"/>
                    </a:lnTo>
                    <a:lnTo>
                      <a:pt x="58" y="1060"/>
                    </a:lnTo>
                    <a:lnTo>
                      <a:pt x="58" y="1058"/>
                    </a:lnTo>
                    <a:lnTo>
                      <a:pt x="58" y="1056"/>
                    </a:lnTo>
                    <a:lnTo>
                      <a:pt x="60" y="1056"/>
                    </a:lnTo>
                    <a:lnTo>
                      <a:pt x="58" y="1056"/>
                    </a:lnTo>
                    <a:lnTo>
                      <a:pt x="58" y="1055"/>
                    </a:lnTo>
                    <a:lnTo>
                      <a:pt x="56" y="1053"/>
                    </a:lnTo>
                    <a:lnTo>
                      <a:pt x="54" y="1053"/>
                    </a:lnTo>
                    <a:lnTo>
                      <a:pt x="56" y="1051"/>
                    </a:lnTo>
                    <a:lnTo>
                      <a:pt x="58" y="1049"/>
                    </a:lnTo>
                    <a:lnTo>
                      <a:pt x="58" y="1048"/>
                    </a:lnTo>
                    <a:lnTo>
                      <a:pt x="56" y="1048"/>
                    </a:lnTo>
                    <a:lnTo>
                      <a:pt x="54" y="1048"/>
                    </a:lnTo>
                    <a:lnTo>
                      <a:pt x="56" y="1046"/>
                    </a:lnTo>
                    <a:lnTo>
                      <a:pt x="54" y="1046"/>
                    </a:lnTo>
                    <a:lnTo>
                      <a:pt x="54" y="1044"/>
                    </a:lnTo>
                    <a:lnTo>
                      <a:pt x="54" y="1043"/>
                    </a:lnTo>
                    <a:lnTo>
                      <a:pt x="56" y="1043"/>
                    </a:lnTo>
                    <a:lnTo>
                      <a:pt x="56" y="1041"/>
                    </a:lnTo>
                    <a:lnTo>
                      <a:pt x="54" y="1039"/>
                    </a:lnTo>
                    <a:lnTo>
                      <a:pt x="56" y="1039"/>
                    </a:lnTo>
                    <a:lnTo>
                      <a:pt x="58" y="1039"/>
                    </a:lnTo>
                    <a:lnTo>
                      <a:pt x="60" y="1039"/>
                    </a:lnTo>
                    <a:lnTo>
                      <a:pt x="60" y="1038"/>
                    </a:lnTo>
                    <a:lnTo>
                      <a:pt x="61" y="1038"/>
                    </a:lnTo>
                    <a:lnTo>
                      <a:pt x="61" y="1036"/>
                    </a:lnTo>
                    <a:lnTo>
                      <a:pt x="63" y="1036"/>
                    </a:lnTo>
                    <a:lnTo>
                      <a:pt x="63" y="1034"/>
                    </a:lnTo>
                    <a:lnTo>
                      <a:pt x="65" y="1034"/>
                    </a:lnTo>
                    <a:lnTo>
                      <a:pt x="66" y="1032"/>
                    </a:lnTo>
                    <a:lnTo>
                      <a:pt x="65" y="1031"/>
                    </a:lnTo>
                    <a:lnTo>
                      <a:pt x="66" y="1031"/>
                    </a:lnTo>
                    <a:lnTo>
                      <a:pt x="65" y="1029"/>
                    </a:lnTo>
                    <a:lnTo>
                      <a:pt x="65" y="1027"/>
                    </a:lnTo>
                    <a:lnTo>
                      <a:pt x="65" y="1026"/>
                    </a:lnTo>
                    <a:lnTo>
                      <a:pt x="65" y="1024"/>
                    </a:lnTo>
                    <a:lnTo>
                      <a:pt x="63" y="1021"/>
                    </a:lnTo>
                    <a:lnTo>
                      <a:pt x="63" y="1017"/>
                    </a:lnTo>
                    <a:lnTo>
                      <a:pt x="63" y="1015"/>
                    </a:lnTo>
                    <a:lnTo>
                      <a:pt x="63" y="1014"/>
                    </a:lnTo>
                    <a:lnTo>
                      <a:pt x="63" y="1012"/>
                    </a:lnTo>
                    <a:lnTo>
                      <a:pt x="61" y="1010"/>
                    </a:lnTo>
                    <a:lnTo>
                      <a:pt x="61" y="1009"/>
                    </a:lnTo>
                    <a:lnTo>
                      <a:pt x="60" y="1009"/>
                    </a:lnTo>
                    <a:lnTo>
                      <a:pt x="58" y="1009"/>
                    </a:lnTo>
                    <a:lnTo>
                      <a:pt x="58" y="1007"/>
                    </a:lnTo>
                    <a:lnTo>
                      <a:pt x="56" y="1007"/>
                    </a:lnTo>
                    <a:lnTo>
                      <a:pt x="58" y="1005"/>
                    </a:lnTo>
                    <a:lnTo>
                      <a:pt x="60" y="1005"/>
                    </a:lnTo>
                    <a:lnTo>
                      <a:pt x="61" y="1005"/>
                    </a:lnTo>
                    <a:lnTo>
                      <a:pt x="61" y="1004"/>
                    </a:lnTo>
                    <a:lnTo>
                      <a:pt x="63" y="1004"/>
                    </a:lnTo>
                    <a:lnTo>
                      <a:pt x="65" y="1004"/>
                    </a:lnTo>
                    <a:lnTo>
                      <a:pt x="65" y="1002"/>
                    </a:lnTo>
                    <a:lnTo>
                      <a:pt x="65" y="1000"/>
                    </a:lnTo>
                    <a:lnTo>
                      <a:pt x="66" y="1000"/>
                    </a:lnTo>
                    <a:lnTo>
                      <a:pt x="66" y="998"/>
                    </a:lnTo>
                    <a:lnTo>
                      <a:pt x="66" y="997"/>
                    </a:lnTo>
                    <a:lnTo>
                      <a:pt x="66" y="995"/>
                    </a:lnTo>
                    <a:lnTo>
                      <a:pt x="65" y="993"/>
                    </a:lnTo>
                    <a:lnTo>
                      <a:pt x="63" y="993"/>
                    </a:lnTo>
                    <a:lnTo>
                      <a:pt x="63" y="992"/>
                    </a:lnTo>
                    <a:lnTo>
                      <a:pt x="63" y="993"/>
                    </a:lnTo>
                    <a:lnTo>
                      <a:pt x="61" y="992"/>
                    </a:lnTo>
                    <a:lnTo>
                      <a:pt x="63" y="990"/>
                    </a:lnTo>
                    <a:lnTo>
                      <a:pt x="61" y="990"/>
                    </a:lnTo>
                    <a:lnTo>
                      <a:pt x="61" y="988"/>
                    </a:lnTo>
                    <a:lnTo>
                      <a:pt x="61" y="987"/>
                    </a:lnTo>
                    <a:lnTo>
                      <a:pt x="61" y="985"/>
                    </a:lnTo>
                    <a:lnTo>
                      <a:pt x="61" y="983"/>
                    </a:lnTo>
                    <a:lnTo>
                      <a:pt x="61" y="981"/>
                    </a:lnTo>
                    <a:lnTo>
                      <a:pt x="63" y="980"/>
                    </a:lnTo>
                    <a:lnTo>
                      <a:pt x="61" y="980"/>
                    </a:lnTo>
                    <a:lnTo>
                      <a:pt x="61" y="978"/>
                    </a:lnTo>
                    <a:lnTo>
                      <a:pt x="63" y="978"/>
                    </a:lnTo>
                    <a:lnTo>
                      <a:pt x="63" y="976"/>
                    </a:lnTo>
                    <a:lnTo>
                      <a:pt x="65" y="976"/>
                    </a:lnTo>
                    <a:lnTo>
                      <a:pt x="66" y="976"/>
                    </a:lnTo>
                    <a:lnTo>
                      <a:pt x="68" y="976"/>
                    </a:lnTo>
                    <a:lnTo>
                      <a:pt x="70" y="976"/>
                    </a:lnTo>
                    <a:lnTo>
                      <a:pt x="70" y="975"/>
                    </a:lnTo>
                    <a:lnTo>
                      <a:pt x="71" y="975"/>
                    </a:lnTo>
                    <a:lnTo>
                      <a:pt x="70" y="973"/>
                    </a:lnTo>
                    <a:lnTo>
                      <a:pt x="70" y="971"/>
                    </a:lnTo>
                    <a:lnTo>
                      <a:pt x="70" y="969"/>
                    </a:lnTo>
                    <a:lnTo>
                      <a:pt x="71" y="969"/>
                    </a:lnTo>
                    <a:lnTo>
                      <a:pt x="73" y="969"/>
                    </a:lnTo>
                    <a:lnTo>
                      <a:pt x="73" y="968"/>
                    </a:lnTo>
                    <a:lnTo>
                      <a:pt x="75" y="968"/>
                    </a:lnTo>
                    <a:lnTo>
                      <a:pt x="77" y="968"/>
                    </a:lnTo>
                    <a:lnTo>
                      <a:pt x="77" y="966"/>
                    </a:lnTo>
                    <a:lnTo>
                      <a:pt x="77" y="964"/>
                    </a:lnTo>
                    <a:lnTo>
                      <a:pt x="75" y="964"/>
                    </a:lnTo>
                    <a:lnTo>
                      <a:pt x="77" y="963"/>
                    </a:lnTo>
                    <a:lnTo>
                      <a:pt x="75" y="963"/>
                    </a:lnTo>
                    <a:lnTo>
                      <a:pt x="75" y="961"/>
                    </a:lnTo>
                    <a:lnTo>
                      <a:pt x="73" y="961"/>
                    </a:lnTo>
                    <a:lnTo>
                      <a:pt x="73" y="959"/>
                    </a:lnTo>
                    <a:lnTo>
                      <a:pt x="71" y="958"/>
                    </a:lnTo>
                    <a:lnTo>
                      <a:pt x="71" y="956"/>
                    </a:lnTo>
                    <a:lnTo>
                      <a:pt x="70" y="956"/>
                    </a:lnTo>
                    <a:lnTo>
                      <a:pt x="70" y="954"/>
                    </a:lnTo>
                    <a:lnTo>
                      <a:pt x="68" y="952"/>
                    </a:lnTo>
                    <a:lnTo>
                      <a:pt x="68" y="951"/>
                    </a:lnTo>
                    <a:lnTo>
                      <a:pt x="70" y="951"/>
                    </a:lnTo>
                    <a:lnTo>
                      <a:pt x="68" y="951"/>
                    </a:lnTo>
                    <a:lnTo>
                      <a:pt x="66" y="951"/>
                    </a:lnTo>
                    <a:lnTo>
                      <a:pt x="66" y="949"/>
                    </a:lnTo>
                    <a:lnTo>
                      <a:pt x="65" y="951"/>
                    </a:lnTo>
                    <a:lnTo>
                      <a:pt x="65" y="949"/>
                    </a:lnTo>
                    <a:lnTo>
                      <a:pt x="63" y="949"/>
                    </a:lnTo>
                    <a:lnTo>
                      <a:pt x="61" y="947"/>
                    </a:lnTo>
                    <a:lnTo>
                      <a:pt x="61" y="949"/>
                    </a:lnTo>
                    <a:lnTo>
                      <a:pt x="60" y="947"/>
                    </a:lnTo>
                    <a:lnTo>
                      <a:pt x="58" y="947"/>
                    </a:lnTo>
                    <a:lnTo>
                      <a:pt x="58" y="949"/>
                    </a:lnTo>
                    <a:lnTo>
                      <a:pt x="56" y="949"/>
                    </a:lnTo>
                    <a:lnTo>
                      <a:pt x="56" y="947"/>
                    </a:lnTo>
                    <a:lnTo>
                      <a:pt x="54" y="947"/>
                    </a:lnTo>
                    <a:lnTo>
                      <a:pt x="53" y="946"/>
                    </a:lnTo>
                    <a:lnTo>
                      <a:pt x="53" y="947"/>
                    </a:lnTo>
                    <a:lnTo>
                      <a:pt x="53" y="946"/>
                    </a:lnTo>
                    <a:lnTo>
                      <a:pt x="51" y="946"/>
                    </a:lnTo>
                    <a:lnTo>
                      <a:pt x="53" y="944"/>
                    </a:lnTo>
                    <a:lnTo>
                      <a:pt x="51" y="944"/>
                    </a:lnTo>
                    <a:lnTo>
                      <a:pt x="53" y="944"/>
                    </a:lnTo>
                    <a:lnTo>
                      <a:pt x="53" y="942"/>
                    </a:lnTo>
                    <a:lnTo>
                      <a:pt x="51" y="942"/>
                    </a:lnTo>
                    <a:lnTo>
                      <a:pt x="51" y="941"/>
                    </a:lnTo>
                    <a:lnTo>
                      <a:pt x="51" y="939"/>
                    </a:lnTo>
                    <a:lnTo>
                      <a:pt x="53" y="941"/>
                    </a:lnTo>
                    <a:lnTo>
                      <a:pt x="54" y="941"/>
                    </a:lnTo>
                    <a:lnTo>
                      <a:pt x="56" y="941"/>
                    </a:lnTo>
                    <a:lnTo>
                      <a:pt x="56" y="942"/>
                    </a:lnTo>
                    <a:lnTo>
                      <a:pt x="56" y="941"/>
                    </a:lnTo>
                    <a:lnTo>
                      <a:pt x="58" y="941"/>
                    </a:lnTo>
                    <a:lnTo>
                      <a:pt x="58" y="942"/>
                    </a:lnTo>
                    <a:lnTo>
                      <a:pt x="60" y="941"/>
                    </a:lnTo>
                    <a:lnTo>
                      <a:pt x="60" y="942"/>
                    </a:lnTo>
                    <a:lnTo>
                      <a:pt x="60" y="941"/>
                    </a:lnTo>
                    <a:lnTo>
                      <a:pt x="61" y="939"/>
                    </a:lnTo>
                    <a:lnTo>
                      <a:pt x="61" y="941"/>
                    </a:lnTo>
                    <a:lnTo>
                      <a:pt x="63" y="941"/>
                    </a:lnTo>
                    <a:lnTo>
                      <a:pt x="65" y="941"/>
                    </a:lnTo>
                    <a:lnTo>
                      <a:pt x="66" y="941"/>
                    </a:lnTo>
                    <a:lnTo>
                      <a:pt x="68" y="941"/>
                    </a:lnTo>
                    <a:lnTo>
                      <a:pt x="68" y="939"/>
                    </a:lnTo>
                    <a:lnTo>
                      <a:pt x="68" y="941"/>
                    </a:lnTo>
                    <a:lnTo>
                      <a:pt x="70" y="939"/>
                    </a:lnTo>
                    <a:lnTo>
                      <a:pt x="71" y="939"/>
                    </a:lnTo>
                    <a:lnTo>
                      <a:pt x="73" y="939"/>
                    </a:lnTo>
                    <a:lnTo>
                      <a:pt x="73" y="941"/>
                    </a:lnTo>
                    <a:lnTo>
                      <a:pt x="75" y="941"/>
                    </a:lnTo>
                    <a:lnTo>
                      <a:pt x="75" y="942"/>
                    </a:lnTo>
                    <a:lnTo>
                      <a:pt x="77" y="942"/>
                    </a:lnTo>
                    <a:lnTo>
                      <a:pt x="78" y="942"/>
                    </a:lnTo>
                    <a:lnTo>
                      <a:pt x="78" y="941"/>
                    </a:lnTo>
                    <a:lnTo>
                      <a:pt x="80" y="941"/>
                    </a:lnTo>
                    <a:lnTo>
                      <a:pt x="80" y="939"/>
                    </a:lnTo>
                    <a:lnTo>
                      <a:pt x="80" y="937"/>
                    </a:lnTo>
                    <a:lnTo>
                      <a:pt x="82" y="935"/>
                    </a:lnTo>
                    <a:lnTo>
                      <a:pt x="80" y="935"/>
                    </a:lnTo>
                    <a:lnTo>
                      <a:pt x="80" y="934"/>
                    </a:lnTo>
                    <a:lnTo>
                      <a:pt x="82" y="932"/>
                    </a:lnTo>
                    <a:lnTo>
                      <a:pt x="80" y="932"/>
                    </a:lnTo>
                    <a:lnTo>
                      <a:pt x="82" y="932"/>
                    </a:lnTo>
                    <a:lnTo>
                      <a:pt x="83" y="932"/>
                    </a:lnTo>
                    <a:lnTo>
                      <a:pt x="85" y="932"/>
                    </a:lnTo>
                    <a:lnTo>
                      <a:pt x="83" y="930"/>
                    </a:lnTo>
                    <a:lnTo>
                      <a:pt x="85" y="929"/>
                    </a:lnTo>
                    <a:lnTo>
                      <a:pt x="83" y="929"/>
                    </a:lnTo>
                    <a:lnTo>
                      <a:pt x="82" y="927"/>
                    </a:lnTo>
                    <a:lnTo>
                      <a:pt x="83" y="927"/>
                    </a:lnTo>
                    <a:lnTo>
                      <a:pt x="83" y="925"/>
                    </a:lnTo>
                    <a:lnTo>
                      <a:pt x="82" y="925"/>
                    </a:lnTo>
                    <a:lnTo>
                      <a:pt x="80" y="924"/>
                    </a:lnTo>
                    <a:lnTo>
                      <a:pt x="80" y="925"/>
                    </a:lnTo>
                    <a:lnTo>
                      <a:pt x="80" y="924"/>
                    </a:lnTo>
                    <a:lnTo>
                      <a:pt x="78" y="924"/>
                    </a:lnTo>
                    <a:lnTo>
                      <a:pt x="77" y="924"/>
                    </a:lnTo>
                    <a:lnTo>
                      <a:pt x="75" y="924"/>
                    </a:lnTo>
                    <a:lnTo>
                      <a:pt x="75" y="922"/>
                    </a:lnTo>
                    <a:lnTo>
                      <a:pt x="73" y="922"/>
                    </a:lnTo>
                    <a:lnTo>
                      <a:pt x="71" y="922"/>
                    </a:lnTo>
                    <a:lnTo>
                      <a:pt x="71" y="924"/>
                    </a:lnTo>
                    <a:lnTo>
                      <a:pt x="70" y="922"/>
                    </a:lnTo>
                    <a:lnTo>
                      <a:pt x="70" y="924"/>
                    </a:lnTo>
                    <a:lnTo>
                      <a:pt x="68" y="924"/>
                    </a:lnTo>
                    <a:lnTo>
                      <a:pt x="66" y="922"/>
                    </a:lnTo>
                    <a:lnTo>
                      <a:pt x="66" y="924"/>
                    </a:lnTo>
                    <a:lnTo>
                      <a:pt x="65" y="924"/>
                    </a:lnTo>
                    <a:lnTo>
                      <a:pt x="65" y="922"/>
                    </a:lnTo>
                    <a:lnTo>
                      <a:pt x="63" y="922"/>
                    </a:lnTo>
                    <a:lnTo>
                      <a:pt x="63" y="924"/>
                    </a:lnTo>
                    <a:lnTo>
                      <a:pt x="61" y="924"/>
                    </a:lnTo>
                    <a:lnTo>
                      <a:pt x="60" y="924"/>
                    </a:lnTo>
                    <a:lnTo>
                      <a:pt x="60" y="922"/>
                    </a:lnTo>
                    <a:lnTo>
                      <a:pt x="60" y="920"/>
                    </a:lnTo>
                    <a:lnTo>
                      <a:pt x="61" y="920"/>
                    </a:lnTo>
                    <a:lnTo>
                      <a:pt x="61" y="918"/>
                    </a:lnTo>
                    <a:lnTo>
                      <a:pt x="60" y="917"/>
                    </a:lnTo>
                    <a:lnTo>
                      <a:pt x="60" y="915"/>
                    </a:lnTo>
                    <a:lnTo>
                      <a:pt x="61" y="913"/>
                    </a:lnTo>
                    <a:lnTo>
                      <a:pt x="60" y="913"/>
                    </a:lnTo>
                    <a:lnTo>
                      <a:pt x="60" y="912"/>
                    </a:lnTo>
                    <a:lnTo>
                      <a:pt x="58" y="910"/>
                    </a:lnTo>
                    <a:lnTo>
                      <a:pt x="60" y="910"/>
                    </a:lnTo>
                    <a:lnTo>
                      <a:pt x="61" y="910"/>
                    </a:lnTo>
                    <a:lnTo>
                      <a:pt x="63" y="908"/>
                    </a:lnTo>
                    <a:lnTo>
                      <a:pt x="63" y="907"/>
                    </a:lnTo>
                    <a:lnTo>
                      <a:pt x="63" y="905"/>
                    </a:lnTo>
                    <a:lnTo>
                      <a:pt x="65" y="905"/>
                    </a:lnTo>
                    <a:lnTo>
                      <a:pt x="65" y="903"/>
                    </a:lnTo>
                    <a:lnTo>
                      <a:pt x="65" y="901"/>
                    </a:lnTo>
                    <a:lnTo>
                      <a:pt x="66" y="901"/>
                    </a:lnTo>
                    <a:lnTo>
                      <a:pt x="65" y="900"/>
                    </a:lnTo>
                    <a:lnTo>
                      <a:pt x="63" y="900"/>
                    </a:lnTo>
                    <a:lnTo>
                      <a:pt x="63" y="898"/>
                    </a:lnTo>
                    <a:lnTo>
                      <a:pt x="63" y="896"/>
                    </a:lnTo>
                    <a:lnTo>
                      <a:pt x="61" y="896"/>
                    </a:lnTo>
                    <a:lnTo>
                      <a:pt x="63" y="896"/>
                    </a:lnTo>
                    <a:lnTo>
                      <a:pt x="61" y="896"/>
                    </a:lnTo>
                    <a:lnTo>
                      <a:pt x="63" y="895"/>
                    </a:lnTo>
                    <a:lnTo>
                      <a:pt x="61" y="895"/>
                    </a:lnTo>
                    <a:lnTo>
                      <a:pt x="63" y="893"/>
                    </a:lnTo>
                    <a:lnTo>
                      <a:pt x="65" y="891"/>
                    </a:lnTo>
                    <a:lnTo>
                      <a:pt x="65" y="890"/>
                    </a:lnTo>
                    <a:lnTo>
                      <a:pt x="66" y="890"/>
                    </a:lnTo>
                    <a:lnTo>
                      <a:pt x="68" y="890"/>
                    </a:lnTo>
                    <a:lnTo>
                      <a:pt x="66" y="890"/>
                    </a:lnTo>
                    <a:lnTo>
                      <a:pt x="68" y="890"/>
                    </a:lnTo>
                    <a:lnTo>
                      <a:pt x="68" y="888"/>
                    </a:lnTo>
                    <a:lnTo>
                      <a:pt x="68" y="886"/>
                    </a:lnTo>
                    <a:lnTo>
                      <a:pt x="66" y="886"/>
                    </a:lnTo>
                    <a:lnTo>
                      <a:pt x="65" y="886"/>
                    </a:lnTo>
                    <a:lnTo>
                      <a:pt x="63" y="886"/>
                    </a:lnTo>
                    <a:lnTo>
                      <a:pt x="63" y="884"/>
                    </a:lnTo>
                    <a:lnTo>
                      <a:pt x="61" y="884"/>
                    </a:lnTo>
                    <a:lnTo>
                      <a:pt x="61" y="883"/>
                    </a:lnTo>
                    <a:lnTo>
                      <a:pt x="60" y="883"/>
                    </a:lnTo>
                    <a:lnTo>
                      <a:pt x="58" y="883"/>
                    </a:lnTo>
                    <a:lnTo>
                      <a:pt x="58" y="881"/>
                    </a:lnTo>
                    <a:lnTo>
                      <a:pt x="60" y="879"/>
                    </a:lnTo>
                    <a:lnTo>
                      <a:pt x="58" y="879"/>
                    </a:lnTo>
                    <a:lnTo>
                      <a:pt x="58" y="878"/>
                    </a:lnTo>
                    <a:lnTo>
                      <a:pt x="58" y="879"/>
                    </a:lnTo>
                    <a:lnTo>
                      <a:pt x="56" y="879"/>
                    </a:lnTo>
                    <a:lnTo>
                      <a:pt x="56" y="878"/>
                    </a:lnTo>
                    <a:lnTo>
                      <a:pt x="56" y="876"/>
                    </a:lnTo>
                    <a:lnTo>
                      <a:pt x="58" y="874"/>
                    </a:lnTo>
                    <a:lnTo>
                      <a:pt x="58" y="873"/>
                    </a:lnTo>
                    <a:lnTo>
                      <a:pt x="56" y="873"/>
                    </a:lnTo>
                    <a:lnTo>
                      <a:pt x="58" y="873"/>
                    </a:lnTo>
                    <a:lnTo>
                      <a:pt x="60" y="873"/>
                    </a:lnTo>
                    <a:lnTo>
                      <a:pt x="61" y="873"/>
                    </a:lnTo>
                    <a:lnTo>
                      <a:pt x="61" y="871"/>
                    </a:lnTo>
                    <a:lnTo>
                      <a:pt x="61" y="873"/>
                    </a:lnTo>
                    <a:lnTo>
                      <a:pt x="63" y="873"/>
                    </a:lnTo>
                    <a:lnTo>
                      <a:pt x="63" y="871"/>
                    </a:lnTo>
                    <a:lnTo>
                      <a:pt x="63" y="869"/>
                    </a:lnTo>
                    <a:lnTo>
                      <a:pt x="61" y="867"/>
                    </a:lnTo>
                    <a:lnTo>
                      <a:pt x="63" y="867"/>
                    </a:lnTo>
                    <a:lnTo>
                      <a:pt x="63" y="866"/>
                    </a:lnTo>
                    <a:lnTo>
                      <a:pt x="61" y="866"/>
                    </a:lnTo>
                    <a:lnTo>
                      <a:pt x="61" y="864"/>
                    </a:lnTo>
                    <a:lnTo>
                      <a:pt x="60" y="864"/>
                    </a:lnTo>
                    <a:lnTo>
                      <a:pt x="58" y="864"/>
                    </a:lnTo>
                    <a:lnTo>
                      <a:pt x="58" y="862"/>
                    </a:lnTo>
                    <a:lnTo>
                      <a:pt x="56" y="862"/>
                    </a:lnTo>
                    <a:lnTo>
                      <a:pt x="56" y="861"/>
                    </a:lnTo>
                    <a:lnTo>
                      <a:pt x="54" y="859"/>
                    </a:lnTo>
                    <a:lnTo>
                      <a:pt x="53" y="859"/>
                    </a:lnTo>
                    <a:lnTo>
                      <a:pt x="53" y="857"/>
                    </a:lnTo>
                    <a:lnTo>
                      <a:pt x="51" y="857"/>
                    </a:lnTo>
                    <a:lnTo>
                      <a:pt x="51" y="856"/>
                    </a:lnTo>
                    <a:lnTo>
                      <a:pt x="49" y="854"/>
                    </a:lnTo>
                    <a:lnTo>
                      <a:pt x="49" y="852"/>
                    </a:lnTo>
                    <a:lnTo>
                      <a:pt x="49" y="850"/>
                    </a:lnTo>
                    <a:lnTo>
                      <a:pt x="49" y="849"/>
                    </a:lnTo>
                    <a:lnTo>
                      <a:pt x="48" y="849"/>
                    </a:lnTo>
                    <a:lnTo>
                      <a:pt x="49" y="849"/>
                    </a:lnTo>
                    <a:lnTo>
                      <a:pt x="49" y="847"/>
                    </a:lnTo>
                    <a:lnTo>
                      <a:pt x="49" y="845"/>
                    </a:lnTo>
                    <a:lnTo>
                      <a:pt x="49" y="844"/>
                    </a:lnTo>
                    <a:lnTo>
                      <a:pt x="48" y="844"/>
                    </a:lnTo>
                    <a:lnTo>
                      <a:pt x="48" y="842"/>
                    </a:lnTo>
                    <a:lnTo>
                      <a:pt x="49" y="842"/>
                    </a:lnTo>
                    <a:lnTo>
                      <a:pt x="49" y="840"/>
                    </a:lnTo>
                    <a:lnTo>
                      <a:pt x="49" y="839"/>
                    </a:lnTo>
                    <a:lnTo>
                      <a:pt x="51" y="839"/>
                    </a:lnTo>
                    <a:lnTo>
                      <a:pt x="51" y="837"/>
                    </a:lnTo>
                    <a:lnTo>
                      <a:pt x="53" y="837"/>
                    </a:lnTo>
                    <a:lnTo>
                      <a:pt x="53" y="835"/>
                    </a:lnTo>
                    <a:lnTo>
                      <a:pt x="53" y="833"/>
                    </a:lnTo>
                    <a:lnTo>
                      <a:pt x="53" y="832"/>
                    </a:lnTo>
                    <a:lnTo>
                      <a:pt x="53" y="830"/>
                    </a:lnTo>
                    <a:lnTo>
                      <a:pt x="51" y="830"/>
                    </a:lnTo>
                    <a:lnTo>
                      <a:pt x="51" y="828"/>
                    </a:lnTo>
                    <a:lnTo>
                      <a:pt x="49" y="830"/>
                    </a:lnTo>
                    <a:lnTo>
                      <a:pt x="49" y="828"/>
                    </a:lnTo>
                    <a:lnTo>
                      <a:pt x="49" y="827"/>
                    </a:lnTo>
                    <a:lnTo>
                      <a:pt x="49" y="825"/>
                    </a:lnTo>
                    <a:lnTo>
                      <a:pt x="48" y="823"/>
                    </a:lnTo>
                    <a:lnTo>
                      <a:pt x="49" y="823"/>
                    </a:lnTo>
                    <a:lnTo>
                      <a:pt x="48" y="822"/>
                    </a:lnTo>
                    <a:lnTo>
                      <a:pt x="48" y="820"/>
                    </a:lnTo>
                    <a:lnTo>
                      <a:pt x="48" y="818"/>
                    </a:lnTo>
                    <a:lnTo>
                      <a:pt x="49" y="818"/>
                    </a:lnTo>
                    <a:lnTo>
                      <a:pt x="51" y="818"/>
                    </a:lnTo>
                    <a:lnTo>
                      <a:pt x="51" y="816"/>
                    </a:lnTo>
                    <a:lnTo>
                      <a:pt x="53" y="816"/>
                    </a:lnTo>
                    <a:lnTo>
                      <a:pt x="53" y="818"/>
                    </a:lnTo>
                    <a:lnTo>
                      <a:pt x="54" y="818"/>
                    </a:lnTo>
                    <a:lnTo>
                      <a:pt x="56" y="820"/>
                    </a:lnTo>
                    <a:lnTo>
                      <a:pt x="58" y="820"/>
                    </a:lnTo>
                    <a:lnTo>
                      <a:pt x="58" y="818"/>
                    </a:lnTo>
                    <a:lnTo>
                      <a:pt x="60" y="818"/>
                    </a:lnTo>
                    <a:lnTo>
                      <a:pt x="60" y="820"/>
                    </a:lnTo>
                    <a:lnTo>
                      <a:pt x="60" y="818"/>
                    </a:lnTo>
                    <a:lnTo>
                      <a:pt x="61" y="818"/>
                    </a:lnTo>
                    <a:lnTo>
                      <a:pt x="63" y="818"/>
                    </a:lnTo>
                    <a:lnTo>
                      <a:pt x="63" y="816"/>
                    </a:lnTo>
                    <a:lnTo>
                      <a:pt x="63" y="815"/>
                    </a:lnTo>
                    <a:lnTo>
                      <a:pt x="63" y="813"/>
                    </a:lnTo>
                    <a:lnTo>
                      <a:pt x="61" y="813"/>
                    </a:lnTo>
                    <a:lnTo>
                      <a:pt x="61" y="811"/>
                    </a:lnTo>
                    <a:lnTo>
                      <a:pt x="61" y="810"/>
                    </a:lnTo>
                    <a:lnTo>
                      <a:pt x="61" y="808"/>
                    </a:lnTo>
                    <a:lnTo>
                      <a:pt x="61" y="806"/>
                    </a:lnTo>
                    <a:lnTo>
                      <a:pt x="61" y="804"/>
                    </a:lnTo>
                    <a:lnTo>
                      <a:pt x="61" y="803"/>
                    </a:lnTo>
                    <a:lnTo>
                      <a:pt x="61" y="801"/>
                    </a:lnTo>
                    <a:lnTo>
                      <a:pt x="61" y="799"/>
                    </a:lnTo>
                    <a:lnTo>
                      <a:pt x="60" y="799"/>
                    </a:lnTo>
                    <a:lnTo>
                      <a:pt x="61" y="798"/>
                    </a:lnTo>
                    <a:lnTo>
                      <a:pt x="60" y="798"/>
                    </a:lnTo>
                    <a:lnTo>
                      <a:pt x="60" y="796"/>
                    </a:lnTo>
                    <a:lnTo>
                      <a:pt x="58" y="796"/>
                    </a:lnTo>
                    <a:lnTo>
                      <a:pt x="58" y="794"/>
                    </a:lnTo>
                    <a:lnTo>
                      <a:pt x="58" y="793"/>
                    </a:lnTo>
                    <a:lnTo>
                      <a:pt x="60" y="793"/>
                    </a:lnTo>
                    <a:lnTo>
                      <a:pt x="60" y="791"/>
                    </a:lnTo>
                    <a:lnTo>
                      <a:pt x="60" y="789"/>
                    </a:lnTo>
                    <a:lnTo>
                      <a:pt x="60" y="787"/>
                    </a:lnTo>
                    <a:lnTo>
                      <a:pt x="60" y="786"/>
                    </a:lnTo>
                    <a:lnTo>
                      <a:pt x="58" y="786"/>
                    </a:lnTo>
                    <a:lnTo>
                      <a:pt x="58" y="784"/>
                    </a:lnTo>
                    <a:lnTo>
                      <a:pt x="58" y="782"/>
                    </a:lnTo>
                    <a:lnTo>
                      <a:pt x="56" y="782"/>
                    </a:lnTo>
                    <a:lnTo>
                      <a:pt x="58" y="782"/>
                    </a:lnTo>
                    <a:lnTo>
                      <a:pt x="58" y="781"/>
                    </a:lnTo>
                    <a:lnTo>
                      <a:pt x="58" y="779"/>
                    </a:lnTo>
                    <a:lnTo>
                      <a:pt x="58" y="777"/>
                    </a:lnTo>
                    <a:lnTo>
                      <a:pt x="60" y="779"/>
                    </a:lnTo>
                    <a:lnTo>
                      <a:pt x="58" y="777"/>
                    </a:lnTo>
                    <a:lnTo>
                      <a:pt x="60" y="777"/>
                    </a:lnTo>
                    <a:lnTo>
                      <a:pt x="58" y="777"/>
                    </a:lnTo>
                    <a:lnTo>
                      <a:pt x="58" y="776"/>
                    </a:lnTo>
                    <a:lnTo>
                      <a:pt x="58" y="774"/>
                    </a:lnTo>
                    <a:lnTo>
                      <a:pt x="60" y="774"/>
                    </a:lnTo>
                    <a:lnTo>
                      <a:pt x="60" y="772"/>
                    </a:lnTo>
                    <a:lnTo>
                      <a:pt x="60" y="770"/>
                    </a:lnTo>
                    <a:lnTo>
                      <a:pt x="60" y="769"/>
                    </a:lnTo>
                    <a:lnTo>
                      <a:pt x="58" y="769"/>
                    </a:lnTo>
                    <a:lnTo>
                      <a:pt x="58" y="767"/>
                    </a:lnTo>
                    <a:lnTo>
                      <a:pt x="58" y="765"/>
                    </a:lnTo>
                    <a:lnTo>
                      <a:pt x="56" y="765"/>
                    </a:lnTo>
                    <a:lnTo>
                      <a:pt x="58" y="765"/>
                    </a:lnTo>
                    <a:lnTo>
                      <a:pt x="58" y="764"/>
                    </a:lnTo>
                    <a:lnTo>
                      <a:pt x="58" y="762"/>
                    </a:lnTo>
                    <a:lnTo>
                      <a:pt x="58" y="760"/>
                    </a:lnTo>
                    <a:lnTo>
                      <a:pt x="58" y="762"/>
                    </a:lnTo>
                    <a:lnTo>
                      <a:pt x="58" y="760"/>
                    </a:lnTo>
                    <a:lnTo>
                      <a:pt x="56" y="760"/>
                    </a:lnTo>
                    <a:lnTo>
                      <a:pt x="56" y="759"/>
                    </a:lnTo>
                    <a:lnTo>
                      <a:pt x="56" y="757"/>
                    </a:lnTo>
                    <a:lnTo>
                      <a:pt x="56" y="755"/>
                    </a:lnTo>
                    <a:lnTo>
                      <a:pt x="54" y="755"/>
                    </a:lnTo>
                    <a:lnTo>
                      <a:pt x="54" y="753"/>
                    </a:lnTo>
                    <a:lnTo>
                      <a:pt x="56" y="753"/>
                    </a:lnTo>
                    <a:lnTo>
                      <a:pt x="58" y="752"/>
                    </a:lnTo>
                    <a:lnTo>
                      <a:pt x="58" y="750"/>
                    </a:lnTo>
                    <a:lnTo>
                      <a:pt x="60" y="750"/>
                    </a:lnTo>
                    <a:lnTo>
                      <a:pt x="60" y="748"/>
                    </a:lnTo>
                    <a:lnTo>
                      <a:pt x="58" y="748"/>
                    </a:lnTo>
                    <a:lnTo>
                      <a:pt x="58" y="747"/>
                    </a:lnTo>
                    <a:lnTo>
                      <a:pt x="60" y="745"/>
                    </a:lnTo>
                    <a:lnTo>
                      <a:pt x="58" y="745"/>
                    </a:lnTo>
                    <a:lnTo>
                      <a:pt x="60" y="743"/>
                    </a:lnTo>
                    <a:lnTo>
                      <a:pt x="60" y="742"/>
                    </a:lnTo>
                    <a:lnTo>
                      <a:pt x="61" y="740"/>
                    </a:lnTo>
                    <a:lnTo>
                      <a:pt x="61" y="742"/>
                    </a:lnTo>
                    <a:lnTo>
                      <a:pt x="61" y="740"/>
                    </a:lnTo>
                    <a:lnTo>
                      <a:pt x="63" y="742"/>
                    </a:lnTo>
                    <a:lnTo>
                      <a:pt x="65" y="740"/>
                    </a:lnTo>
                    <a:lnTo>
                      <a:pt x="65" y="738"/>
                    </a:lnTo>
                    <a:lnTo>
                      <a:pt x="65" y="736"/>
                    </a:lnTo>
                    <a:lnTo>
                      <a:pt x="65" y="735"/>
                    </a:lnTo>
                    <a:lnTo>
                      <a:pt x="63" y="735"/>
                    </a:lnTo>
                    <a:lnTo>
                      <a:pt x="61" y="735"/>
                    </a:lnTo>
                    <a:lnTo>
                      <a:pt x="60" y="733"/>
                    </a:lnTo>
                    <a:lnTo>
                      <a:pt x="61" y="733"/>
                    </a:lnTo>
                    <a:lnTo>
                      <a:pt x="60" y="733"/>
                    </a:lnTo>
                    <a:lnTo>
                      <a:pt x="60" y="731"/>
                    </a:lnTo>
                    <a:lnTo>
                      <a:pt x="61" y="730"/>
                    </a:lnTo>
                    <a:lnTo>
                      <a:pt x="60" y="730"/>
                    </a:lnTo>
                    <a:lnTo>
                      <a:pt x="60" y="728"/>
                    </a:lnTo>
                    <a:lnTo>
                      <a:pt x="61" y="728"/>
                    </a:lnTo>
                    <a:lnTo>
                      <a:pt x="60" y="726"/>
                    </a:lnTo>
                    <a:lnTo>
                      <a:pt x="61" y="726"/>
                    </a:lnTo>
                    <a:lnTo>
                      <a:pt x="63" y="726"/>
                    </a:lnTo>
                    <a:lnTo>
                      <a:pt x="65" y="728"/>
                    </a:lnTo>
                    <a:lnTo>
                      <a:pt x="65" y="726"/>
                    </a:lnTo>
                    <a:lnTo>
                      <a:pt x="65" y="725"/>
                    </a:lnTo>
                    <a:lnTo>
                      <a:pt x="65" y="723"/>
                    </a:lnTo>
                    <a:lnTo>
                      <a:pt x="65" y="721"/>
                    </a:lnTo>
                    <a:lnTo>
                      <a:pt x="66" y="721"/>
                    </a:lnTo>
                    <a:lnTo>
                      <a:pt x="66" y="719"/>
                    </a:lnTo>
                    <a:lnTo>
                      <a:pt x="68" y="719"/>
                    </a:lnTo>
                    <a:lnTo>
                      <a:pt x="68" y="718"/>
                    </a:lnTo>
                    <a:lnTo>
                      <a:pt x="66" y="716"/>
                    </a:lnTo>
                    <a:lnTo>
                      <a:pt x="65" y="716"/>
                    </a:lnTo>
                    <a:lnTo>
                      <a:pt x="65" y="714"/>
                    </a:lnTo>
                    <a:lnTo>
                      <a:pt x="65" y="713"/>
                    </a:lnTo>
                    <a:lnTo>
                      <a:pt x="65" y="711"/>
                    </a:lnTo>
                    <a:lnTo>
                      <a:pt x="63" y="711"/>
                    </a:lnTo>
                    <a:lnTo>
                      <a:pt x="63" y="709"/>
                    </a:lnTo>
                    <a:lnTo>
                      <a:pt x="65" y="709"/>
                    </a:lnTo>
                    <a:lnTo>
                      <a:pt x="63" y="709"/>
                    </a:lnTo>
                    <a:lnTo>
                      <a:pt x="65" y="709"/>
                    </a:lnTo>
                    <a:lnTo>
                      <a:pt x="65" y="708"/>
                    </a:lnTo>
                    <a:lnTo>
                      <a:pt x="63" y="706"/>
                    </a:lnTo>
                    <a:lnTo>
                      <a:pt x="65" y="706"/>
                    </a:lnTo>
                    <a:lnTo>
                      <a:pt x="65" y="704"/>
                    </a:lnTo>
                    <a:lnTo>
                      <a:pt x="65" y="702"/>
                    </a:lnTo>
                    <a:lnTo>
                      <a:pt x="65" y="704"/>
                    </a:lnTo>
                    <a:lnTo>
                      <a:pt x="66" y="704"/>
                    </a:lnTo>
                    <a:lnTo>
                      <a:pt x="66" y="706"/>
                    </a:lnTo>
                    <a:lnTo>
                      <a:pt x="68" y="706"/>
                    </a:lnTo>
                    <a:lnTo>
                      <a:pt x="70" y="706"/>
                    </a:lnTo>
                    <a:lnTo>
                      <a:pt x="71" y="706"/>
                    </a:lnTo>
                    <a:lnTo>
                      <a:pt x="71" y="704"/>
                    </a:lnTo>
                    <a:lnTo>
                      <a:pt x="71" y="702"/>
                    </a:lnTo>
                    <a:lnTo>
                      <a:pt x="70" y="702"/>
                    </a:lnTo>
                    <a:lnTo>
                      <a:pt x="70" y="701"/>
                    </a:lnTo>
                    <a:lnTo>
                      <a:pt x="71" y="699"/>
                    </a:lnTo>
                    <a:lnTo>
                      <a:pt x="71" y="697"/>
                    </a:lnTo>
                    <a:lnTo>
                      <a:pt x="73" y="697"/>
                    </a:lnTo>
                    <a:lnTo>
                      <a:pt x="71" y="697"/>
                    </a:lnTo>
                    <a:lnTo>
                      <a:pt x="73" y="696"/>
                    </a:lnTo>
                    <a:lnTo>
                      <a:pt x="71" y="696"/>
                    </a:lnTo>
                    <a:lnTo>
                      <a:pt x="71" y="694"/>
                    </a:lnTo>
                    <a:lnTo>
                      <a:pt x="73" y="694"/>
                    </a:lnTo>
                    <a:lnTo>
                      <a:pt x="75" y="694"/>
                    </a:lnTo>
                    <a:lnTo>
                      <a:pt x="75" y="692"/>
                    </a:lnTo>
                    <a:lnTo>
                      <a:pt x="75" y="691"/>
                    </a:lnTo>
                    <a:lnTo>
                      <a:pt x="75" y="689"/>
                    </a:lnTo>
                    <a:lnTo>
                      <a:pt x="75" y="687"/>
                    </a:lnTo>
                    <a:lnTo>
                      <a:pt x="73" y="685"/>
                    </a:lnTo>
                    <a:lnTo>
                      <a:pt x="73" y="684"/>
                    </a:lnTo>
                    <a:lnTo>
                      <a:pt x="73" y="682"/>
                    </a:lnTo>
                    <a:lnTo>
                      <a:pt x="73" y="680"/>
                    </a:lnTo>
                    <a:lnTo>
                      <a:pt x="75" y="680"/>
                    </a:lnTo>
                    <a:lnTo>
                      <a:pt x="73" y="680"/>
                    </a:lnTo>
                    <a:lnTo>
                      <a:pt x="73" y="679"/>
                    </a:lnTo>
                    <a:lnTo>
                      <a:pt x="73" y="677"/>
                    </a:lnTo>
                    <a:lnTo>
                      <a:pt x="73" y="675"/>
                    </a:lnTo>
                    <a:lnTo>
                      <a:pt x="75" y="675"/>
                    </a:lnTo>
                    <a:lnTo>
                      <a:pt x="75" y="674"/>
                    </a:lnTo>
                    <a:lnTo>
                      <a:pt x="77" y="674"/>
                    </a:lnTo>
                    <a:lnTo>
                      <a:pt x="78" y="672"/>
                    </a:lnTo>
                    <a:lnTo>
                      <a:pt x="78" y="670"/>
                    </a:lnTo>
                    <a:lnTo>
                      <a:pt x="80" y="670"/>
                    </a:lnTo>
                    <a:lnTo>
                      <a:pt x="82" y="670"/>
                    </a:lnTo>
                    <a:lnTo>
                      <a:pt x="83" y="670"/>
                    </a:lnTo>
                    <a:lnTo>
                      <a:pt x="83" y="668"/>
                    </a:lnTo>
                    <a:lnTo>
                      <a:pt x="85" y="668"/>
                    </a:lnTo>
                    <a:lnTo>
                      <a:pt x="87" y="668"/>
                    </a:lnTo>
                    <a:lnTo>
                      <a:pt x="88" y="668"/>
                    </a:lnTo>
                    <a:lnTo>
                      <a:pt x="90" y="668"/>
                    </a:lnTo>
                    <a:lnTo>
                      <a:pt x="90" y="667"/>
                    </a:lnTo>
                    <a:lnTo>
                      <a:pt x="92" y="667"/>
                    </a:lnTo>
                    <a:lnTo>
                      <a:pt x="92" y="665"/>
                    </a:lnTo>
                    <a:lnTo>
                      <a:pt x="90" y="665"/>
                    </a:lnTo>
                    <a:lnTo>
                      <a:pt x="90" y="663"/>
                    </a:lnTo>
                    <a:lnTo>
                      <a:pt x="92" y="663"/>
                    </a:lnTo>
                    <a:lnTo>
                      <a:pt x="92" y="662"/>
                    </a:lnTo>
                    <a:lnTo>
                      <a:pt x="94" y="662"/>
                    </a:lnTo>
                    <a:lnTo>
                      <a:pt x="94" y="660"/>
                    </a:lnTo>
                    <a:lnTo>
                      <a:pt x="94" y="658"/>
                    </a:lnTo>
                    <a:lnTo>
                      <a:pt x="92" y="658"/>
                    </a:lnTo>
                    <a:lnTo>
                      <a:pt x="92" y="656"/>
                    </a:lnTo>
                    <a:lnTo>
                      <a:pt x="90" y="656"/>
                    </a:lnTo>
                    <a:lnTo>
                      <a:pt x="90" y="655"/>
                    </a:lnTo>
                    <a:lnTo>
                      <a:pt x="88" y="655"/>
                    </a:lnTo>
                    <a:lnTo>
                      <a:pt x="88" y="653"/>
                    </a:lnTo>
                    <a:lnTo>
                      <a:pt x="88" y="651"/>
                    </a:lnTo>
                    <a:lnTo>
                      <a:pt x="87" y="650"/>
                    </a:lnTo>
                    <a:lnTo>
                      <a:pt x="88" y="650"/>
                    </a:lnTo>
                    <a:lnTo>
                      <a:pt x="87" y="650"/>
                    </a:lnTo>
                    <a:lnTo>
                      <a:pt x="87" y="648"/>
                    </a:lnTo>
                    <a:lnTo>
                      <a:pt x="87" y="646"/>
                    </a:lnTo>
                    <a:lnTo>
                      <a:pt x="87" y="645"/>
                    </a:lnTo>
                    <a:lnTo>
                      <a:pt x="88" y="645"/>
                    </a:lnTo>
                    <a:lnTo>
                      <a:pt x="88" y="643"/>
                    </a:lnTo>
                    <a:lnTo>
                      <a:pt x="87" y="641"/>
                    </a:lnTo>
                    <a:lnTo>
                      <a:pt x="85" y="639"/>
                    </a:lnTo>
                    <a:lnTo>
                      <a:pt x="87" y="639"/>
                    </a:lnTo>
                    <a:lnTo>
                      <a:pt x="88" y="639"/>
                    </a:lnTo>
                    <a:lnTo>
                      <a:pt x="87" y="639"/>
                    </a:lnTo>
                    <a:lnTo>
                      <a:pt x="87" y="638"/>
                    </a:lnTo>
                    <a:lnTo>
                      <a:pt x="85" y="638"/>
                    </a:lnTo>
                    <a:lnTo>
                      <a:pt x="85" y="636"/>
                    </a:lnTo>
                    <a:lnTo>
                      <a:pt x="85" y="634"/>
                    </a:lnTo>
                    <a:lnTo>
                      <a:pt x="83" y="633"/>
                    </a:lnTo>
                    <a:lnTo>
                      <a:pt x="83" y="631"/>
                    </a:lnTo>
                    <a:lnTo>
                      <a:pt x="83" y="629"/>
                    </a:lnTo>
                    <a:lnTo>
                      <a:pt x="82" y="629"/>
                    </a:lnTo>
                    <a:lnTo>
                      <a:pt x="82" y="628"/>
                    </a:lnTo>
                    <a:lnTo>
                      <a:pt x="83" y="628"/>
                    </a:lnTo>
                    <a:lnTo>
                      <a:pt x="82" y="628"/>
                    </a:lnTo>
                    <a:lnTo>
                      <a:pt x="82" y="626"/>
                    </a:lnTo>
                    <a:lnTo>
                      <a:pt x="82" y="624"/>
                    </a:lnTo>
                    <a:lnTo>
                      <a:pt x="82" y="622"/>
                    </a:lnTo>
                    <a:lnTo>
                      <a:pt x="80" y="622"/>
                    </a:lnTo>
                    <a:lnTo>
                      <a:pt x="80" y="621"/>
                    </a:lnTo>
                    <a:lnTo>
                      <a:pt x="82" y="619"/>
                    </a:lnTo>
                    <a:lnTo>
                      <a:pt x="83" y="617"/>
                    </a:lnTo>
                    <a:lnTo>
                      <a:pt x="83" y="616"/>
                    </a:lnTo>
                    <a:lnTo>
                      <a:pt x="82" y="616"/>
                    </a:lnTo>
                    <a:lnTo>
                      <a:pt x="83" y="616"/>
                    </a:lnTo>
                    <a:lnTo>
                      <a:pt x="83" y="614"/>
                    </a:lnTo>
                    <a:lnTo>
                      <a:pt x="83" y="612"/>
                    </a:lnTo>
                    <a:lnTo>
                      <a:pt x="83" y="611"/>
                    </a:lnTo>
                    <a:lnTo>
                      <a:pt x="82" y="609"/>
                    </a:lnTo>
                    <a:lnTo>
                      <a:pt x="80" y="609"/>
                    </a:lnTo>
                    <a:lnTo>
                      <a:pt x="82" y="607"/>
                    </a:lnTo>
                    <a:lnTo>
                      <a:pt x="80" y="607"/>
                    </a:lnTo>
                    <a:lnTo>
                      <a:pt x="80" y="605"/>
                    </a:lnTo>
                    <a:lnTo>
                      <a:pt x="80" y="604"/>
                    </a:lnTo>
                    <a:lnTo>
                      <a:pt x="82" y="604"/>
                    </a:lnTo>
                    <a:lnTo>
                      <a:pt x="82" y="602"/>
                    </a:lnTo>
                    <a:lnTo>
                      <a:pt x="83" y="602"/>
                    </a:lnTo>
                    <a:lnTo>
                      <a:pt x="83" y="600"/>
                    </a:lnTo>
                    <a:lnTo>
                      <a:pt x="83" y="599"/>
                    </a:lnTo>
                    <a:lnTo>
                      <a:pt x="85" y="599"/>
                    </a:lnTo>
                    <a:lnTo>
                      <a:pt x="85" y="597"/>
                    </a:lnTo>
                    <a:lnTo>
                      <a:pt x="83" y="597"/>
                    </a:lnTo>
                    <a:lnTo>
                      <a:pt x="83" y="595"/>
                    </a:lnTo>
                    <a:lnTo>
                      <a:pt x="83" y="594"/>
                    </a:lnTo>
                    <a:lnTo>
                      <a:pt x="82" y="594"/>
                    </a:lnTo>
                    <a:lnTo>
                      <a:pt x="82" y="592"/>
                    </a:lnTo>
                    <a:lnTo>
                      <a:pt x="80" y="592"/>
                    </a:lnTo>
                    <a:lnTo>
                      <a:pt x="82" y="592"/>
                    </a:lnTo>
                    <a:lnTo>
                      <a:pt x="83" y="592"/>
                    </a:lnTo>
                    <a:lnTo>
                      <a:pt x="83" y="590"/>
                    </a:lnTo>
                    <a:lnTo>
                      <a:pt x="85" y="590"/>
                    </a:lnTo>
                    <a:lnTo>
                      <a:pt x="83" y="590"/>
                    </a:lnTo>
                    <a:lnTo>
                      <a:pt x="82" y="588"/>
                    </a:lnTo>
                    <a:lnTo>
                      <a:pt x="83" y="588"/>
                    </a:lnTo>
                    <a:lnTo>
                      <a:pt x="83" y="587"/>
                    </a:lnTo>
                    <a:lnTo>
                      <a:pt x="82" y="587"/>
                    </a:lnTo>
                    <a:lnTo>
                      <a:pt x="82" y="585"/>
                    </a:lnTo>
                    <a:lnTo>
                      <a:pt x="83" y="585"/>
                    </a:lnTo>
                    <a:lnTo>
                      <a:pt x="83" y="583"/>
                    </a:lnTo>
                    <a:lnTo>
                      <a:pt x="83" y="582"/>
                    </a:lnTo>
                    <a:lnTo>
                      <a:pt x="83" y="580"/>
                    </a:lnTo>
                    <a:lnTo>
                      <a:pt x="83" y="578"/>
                    </a:lnTo>
                    <a:lnTo>
                      <a:pt x="85" y="578"/>
                    </a:lnTo>
                    <a:lnTo>
                      <a:pt x="85" y="580"/>
                    </a:lnTo>
                    <a:lnTo>
                      <a:pt x="87" y="580"/>
                    </a:lnTo>
                    <a:lnTo>
                      <a:pt x="87" y="578"/>
                    </a:lnTo>
                    <a:lnTo>
                      <a:pt x="87" y="577"/>
                    </a:lnTo>
                    <a:lnTo>
                      <a:pt x="85" y="577"/>
                    </a:lnTo>
                    <a:lnTo>
                      <a:pt x="87" y="575"/>
                    </a:lnTo>
                    <a:lnTo>
                      <a:pt x="85" y="575"/>
                    </a:lnTo>
                    <a:lnTo>
                      <a:pt x="87" y="573"/>
                    </a:lnTo>
                    <a:lnTo>
                      <a:pt x="85" y="573"/>
                    </a:lnTo>
                    <a:lnTo>
                      <a:pt x="87" y="571"/>
                    </a:lnTo>
                    <a:lnTo>
                      <a:pt x="87" y="570"/>
                    </a:lnTo>
                    <a:lnTo>
                      <a:pt x="87" y="571"/>
                    </a:lnTo>
                    <a:lnTo>
                      <a:pt x="88" y="571"/>
                    </a:lnTo>
                    <a:lnTo>
                      <a:pt x="90" y="571"/>
                    </a:lnTo>
                    <a:lnTo>
                      <a:pt x="90" y="570"/>
                    </a:lnTo>
                    <a:lnTo>
                      <a:pt x="92" y="570"/>
                    </a:lnTo>
                    <a:lnTo>
                      <a:pt x="92" y="568"/>
                    </a:lnTo>
                    <a:lnTo>
                      <a:pt x="92" y="566"/>
                    </a:lnTo>
                    <a:lnTo>
                      <a:pt x="92" y="568"/>
                    </a:lnTo>
                    <a:lnTo>
                      <a:pt x="94" y="568"/>
                    </a:lnTo>
                    <a:lnTo>
                      <a:pt x="94" y="566"/>
                    </a:lnTo>
                    <a:lnTo>
                      <a:pt x="94" y="568"/>
                    </a:lnTo>
                    <a:lnTo>
                      <a:pt x="95" y="568"/>
                    </a:lnTo>
                    <a:lnTo>
                      <a:pt x="97" y="568"/>
                    </a:lnTo>
                    <a:lnTo>
                      <a:pt x="99" y="568"/>
                    </a:lnTo>
                    <a:lnTo>
                      <a:pt x="99" y="566"/>
                    </a:lnTo>
                    <a:lnTo>
                      <a:pt x="97" y="566"/>
                    </a:lnTo>
                    <a:lnTo>
                      <a:pt x="97" y="565"/>
                    </a:lnTo>
                    <a:lnTo>
                      <a:pt x="99" y="563"/>
                    </a:lnTo>
                    <a:lnTo>
                      <a:pt x="97" y="561"/>
                    </a:lnTo>
                    <a:lnTo>
                      <a:pt x="99" y="561"/>
                    </a:lnTo>
                    <a:lnTo>
                      <a:pt x="100" y="561"/>
                    </a:lnTo>
                    <a:lnTo>
                      <a:pt x="100" y="560"/>
                    </a:lnTo>
                    <a:lnTo>
                      <a:pt x="100" y="558"/>
                    </a:lnTo>
                    <a:lnTo>
                      <a:pt x="102" y="558"/>
                    </a:lnTo>
                    <a:lnTo>
                      <a:pt x="102" y="556"/>
                    </a:lnTo>
                    <a:lnTo>
                      <a:pt x="104" y="556"/>
                    </a:lnTo>
                    <a:lnTo>
                      <a:pt x="104" y="558"/>
                    </a:lnTo>
                    <a:lnTo>
                      <a:pt x="105" y="558"/>
                    </a:lnTo>
                    <a:lnTo>
                      <a:pt x="107" y="558"/>
                    </a:lnTo>
                    <a:lnTo>
                      <a:pt x="107" y="556"/>
                    </a:lnTo>
                    <a:lnTo>
                      <a:pt x="107" y="554"/>
                    </a:lnTo>
                    <a:lnTo>
                      <a:pt x="107" y="553"/>
                    </a:lnTo>
                    <a:lnTo>
                      <a:pt x="109" y="553"/>
                    </a:lnTo>
                    <a:lnTo>
                      <a:pt x="109" y="551"/>
                    </a:lnTo>
                    <a:lnTo>
                      <a:pt x="109" y="549"/>
                    </a:lnTo>
                    <a:lnTo>
                      <a:pt x="107" y="549"/>
                    </a:lnTo>
                    <a:lnTo>
                      <a:pt x="109" y="548"/>
                    </a:lnTo>
                    <a:lnTo>
                      <a:pt x="107" y="548"/>
                    </a:lnTo>
                    <a:lnTo>
                      <a:pt x="107" y="546"/>
                    </a:lnTo>
                    <a:lnTo>
                      <a:pt x="107" y="544"/>
                    </a:lnTo>
                    <a:lnTo>
                      <a:pt x="109" y="544"/>
                    </a:lnTo>
                    <a:lnTo>
                      <a:pt x="111" y="544"/>
                    </a:lnTo>
                    <a:lnTo>
                      <a:pt x="111" y="543"/>
                    </a:lnTo>
                    <a:lnTo>
                      <a:pt x="109" y="543"/>
                    </a:lnTo>
                    <a:lnTo>
                      <a:pt x="109" y="541"/>
                    </a:lnTo>
                    <a:lnTo>
                      <a:pt x="109" y="539"/>
                    </a:lnTo>
                    <a:lnTo>
                      <a:pt x="109" y="537"/>
                    </a:lnTo>
                    <a:lnTo>
                      <a:pt x="107" y="537"/>
                    </a:lnTo>
                    <a:lnTo>
                      <a:pt x="107" y="536"/>
                    </a:lnTo>
                    <a:lnTo>
                      <a:pt x="109" y="534"/>
                    </a:lnTo>
                    <a:lnTo>
                      <a:pt x="107" y="532"/>
                    </a:lnTo>
                    <a:lnTo>
                      <a:pt x="107" y="531"/>
                    </a:lnTo>
                    <a:lnTo>
                      <a:pt x="109" y="531"/>
                    </a:lnTo>
                    <a:lnTo>
                      <a:pt x="107" y="529"/>
                    </a:lnTo>
                    <a:lnTo>
                      <a:pt x="105" y="529"/>
                    </a:lnTo>
                    <a:lnTo>
                      <a:pt x="107" y="527"/>
                    </a:lnTo>
                    <a:lnTo>
                      <a:pt x="105" y="527"/>
                    </a:lnTo>
                    <a:lnTo>
                      <a:pt x="107" y="526"/>
                    </a:lnTo>
                    <a:lnTo>
                      <a:pt x="105" y="526"/>
                    </a:lnTo>
                    <a:lnTo>
                      <a:pt x="107" y="524"/>
                    </a:lnTo>
                    <a:lnTo>
                      <a:pt x="107" y="522"/>
                    </a:lnTo>
                    <a:lnTo>
                      <a:pt x="105" y="522"/>
                    </a:lnTo>
                    <a:lnTo>
                      <a:pt x="104" y="522"/>
                    </a:lnTo>
                    <a:lnTo>
                      <a:pt x="102" y="522"/>
                    </a:lnTo>
                    <a:lnTo>
                      <a:pt x="102" y="520"/>
                    </a:lnTo>
                    <a:lnTo>
                      <a:pt x="102" y="519"/>
                    </a:lnTo>
                    <a:lnTo>
                      <a:pt x="102" y="517"/>
                    </a:lnTo>
                    <a:lnTo>
                      <a:pt x="104" y="517"/>
                    </a:lnTo>
                    <a:lnTo>
                      <a:pt x="105" y="517"/>
                    </a:lnTo>
                    <a:lnTo>
                      <a:pt x="107" y="517"/>
                    </a:lnTo>
                    <a:lnTo>
                      <a:pt x="109" y="517"/>
                    </a:lnTo>
                    <a:lnTo>
                      <a:pt x="109" y="515"/>
                    </a:lnTo>
                    <a:lnTo>
                      <a:pt x="109" y="514"/>
                    </a:lnTo>
                    <a:lnTo>
                      <a:pt x="109" y="512"/>
                    </a:lnTo>
                    <a:lnTo>
                      <a:pt x="109" y="510"/>
                    </a:lnTo>
                    <a:lnTo>
                      <a:pt x="109" y="509"/>
                    </a:lnTo>
                    <a:lnTo>
                      <a:pt x="111" y="509"/>
                    </a:lnTo>
                    <a:lnTo>
                      <a:pt x="111" y="507"/>
                    </a:lnTo>
                    <a:lnTo>
                      <a:pt x="111" y="505"/>
                    </a:lnTo>
                    <a:lnTo>
                      <a:pt x="112" y="503"/>
                    </a:lnTo>
                    <a:lnTo>
                      <a:pt x="112" y="502"/>
                    </a:lnTo>
                    <a:lnTo>
                      <a:pt x="112" y="500"/>
                    </a:lnTo>
                    <a:lnTo>
                      <a:pt x="111" y="500"/>
                    </a:lnTo>
                    <a:lnTo>
                      <a:pt x="111" y="498"/>
                    </a:lnTo>
                    <a:lnTo>
                      <a:pt x="112" y="498"/>
                    </a:lnTo>
                    <a:lnTo>
                      <a:pt x="112" y="497"/>
                    </a:lnTo>
                    <a:lnTo>
                      <a:pt x="114" y="497"/>
                    </a:lnTo>
                    <a:lnTo>
                      <a:pt x="114" y="495"/>
                    </a:lnTo>
                    <a:lnTo>
                      <a:pt x="114" y="493"/>
                    </a:lnTo>
                    <a:lnTo>
                      <a:pt x="116" y="491"/>
                    </a:lnTo>
                    <a:lnTo>
                      <a:pt x="116" y="490"/>
                    </a:lnTo>
                    <a:lnTo>
                      <a:pt x="117" y="488"/>
                    </a:lnTo>
                    <a:lnTo>
                      <a:pt x="119" y="488"/>
                    </a:lnTo>
                    <a:lnTo>
                      <a:pt x="119" y="486"/>
                    </a:lnTo>
                    <a:lnTo>
                      <a:pt x="121" y="485"/>
                    </a:lnTo>
                    <a:lnTo>
                      <a:pt x="121" y="483"/>
                    </a:lnTo>
                    <a:lnTo>
                      <a:pt x="121" y="481"/>
                    </a:lnTo>
                    <a:lnTo>
                      <a:pt x="121" y="480"/>
                    </a:lnTo>
                    <a:lnTo>
                      <a:pt x="122" y="480"/>
                    </a:lnTo>
                    <a:lnTo>
                      <a:pt x="122" y="478"/>
                    </a:lnTo>
                    <a:lnTo>
                      <a:pt x="122" y="480"/>
                    </a:lnTo>
                    <a:lnTo>
                      <a:pt x="124" y="480"/>
                    </a:lnTo>
                    <a:lnTo>
                      <a:pt x="126" y="480"/>
                    </a:lnTo>
                    <a:lnTo>
                      <a:pt x="126" y="478"/>
                    </a:lnTo>
                    <a:lnTo>
                      <a:pt x="128" y="478"/>
                    </a:lnTo>
                    <a:lnTo>
                      <a:pt x="128" y="476"/>
                    </a:lnTo>
                    <a:lnTo>
                      <a:pt x="128" y="474"/>
                    </a:lnTo>
                    <a:lnTo>
                      <a:pt x="126" y="474"/>
                    </a:lnTo>
                    <a:lnTo>
                      <a:pt x="126" y="473"/>
                    </a:lnTo>
                    <a:lnTo>
                      <a:pt x="128" y="471"/>
                    </a:lnTo>
                    <a:lnTo>
                      <a:pt x="126" y="471"/>
                    </a:lnTo>
                    <a:lnTo>
                      <a:pt x="126" y="469"/>
                    </a:lnTo>
                    <a:lnTo>
                      <a:pt x="128" y="469"/>
                    </a:lnTo>
                    <a:lnTo>
                      <a:pt x="126" y="468"/>
                    </a:lnTo>
                    <a:lnTo>
                      <a:pt x="126" y="466"/>
                    </a:lnTo>
                    <a:lnTo>
                      <a:pt x="126" y="468"/>
                    </a:lnTo>
                    <a:lnTo>
                      <a:pt x="124" y="466"/>
                    </a:lnTo>
                    <a:lnTo>
                      <a:pt x="124" y="464"/>
                    </a:lnTo>
                    <a:lnTo>
                      <a:pt x="126" y="464"/>
                    </a:lnTo>
                    <a:lnTo>
                      <a:pt x="126" y="463"/>
                    </a:lnTo>
                    <a:lnTo>
                      <a:pt x="124" y="463"/>
                    </a:lnTo>
                    <a:lnTo>
                      <a:pt x="124" y="461"/>
                    </a:lnTo>
                    <a:lnTo>
                      <a:pt x="124" y="459"/>
                    </a:lnTo>
                    <a:lnTo>
                      <a:pt x="124" y="457"/>
                    </a:lnTo>
                    <a:lnTo>
                      <a:pt x="126" y="457"/>
                    </a:lnTo>
                    <a:lnTo>
                      <a:pt x="126" y="456"/>
                    </a:lnTo>
                    <a:lnTo>
                      <a:pt x="126" y="454"/>
                    </a:lnTo>
                    <a:lnTo>
                      <a:pt x="126" y="452"/>
                    </a:lnTo>
                    <a:lnTo>
                      <a:pt x="126" y="451"/>
                    </a:lnTo>
                    <a:lnTo>
                      <a:pt x="126" y="449"/>
                    </a:lnTo>
                    <a:lnTo>
                      <a:pt x="128" y="449"/>
                    </a:lnTo>
                    <a:lnTo>
                      <a:pt x="128" y="447"/>
                    </a:lnTo>
                    <a:lnTo>
                      <a:pt x="128" y="446"/>
                    </a:lnTo>
                    <a:lnTo>
                      <a:pt x="128" y="444"/>
                    </a:lnTo>
                    <a:lnTo>
                      <a:pt x="129" y="444"/>
                    </a:lnTo>
                    <a:lnTo>
                      <a:pt x="129" y="442"/>
                    </a:lnTo>
                    <a:lnTo>
                      <a:pt x="129" y="440"/>
                    </a:lnTo>
                    <a:lnTo>
                      <a:pt x="128" y="440"/>
                    </a:lnTo>
                    <a:lnTo>
                      <a:pt x="128" y="439"/>
                    </a:lnTo>
                    <a:lnTo>
                      <a:pt x="126" y="439"/>
                    </a:lnTo>
                    <a:lnTo>
                      <a:pt x="124" y="439"/>
                    </a:lnTo>
                    <a:lnTo>
                      <a:pt x="124" y="437"/>
                    </a:lnTo>
                    <a:lnTo>
                      <a:pt x="124" y="439"/>
                    </a:lnTo>
                    <a:lnTo>
                      <a:pt x="122" y="439"/>
                    </a:lnTo>
                    <a:lnTo>
                      <a:pt x="122" y="440"/>
                    </a:lnTo>
                    <a:lnTo>
                      <a:pt x="121" y="440"/>
                    </a:lnTo>
                    <a:lnTo>
                      <a:pt x="121" y="439"/>
                    </a:lnTo>
                    <a:lnTo>
                      <a:pt x="121" y="437"/>
                    </a:lnTo>
                    <a:lnTo>
                      <a:pt x="119" y="437"/>
                    </a:lnTo>
                    <a:lnTo>
                      <a:pt x="119" y="435"/>
                    </a:lnTo>
                    <a:lnTo>
                      <a:pt x="119" y="434"/>
                    </a:lnTo>
                    <a:lnTo>
                      <a:pt x="119" y="432"/>
                    </a:lnTo>
                    <a:lnTo>
                      <a:pt x="119" y="430"/>
                    </a:lnTo>
                    <a:lnTo>
                      <a:pt x="117" y="430"/>
                    </a:lnTo>
                    <a:lnTo>
                      <a:pt x="119" y="429"/>
                    </a:lnTo>
                    <a:lnTo>
                      <a:pt x="121" y="429"/>
                    </a:lnTo>
                    <a:lnTo>
                      <a:pt x="121" y="427"/>
                    </a:lnTo>
                    <a:lnTo>
                      <a:pt x="122" y="427"/>
                    </a:lnTo>
                    <a:lnTo>
                      <a:pt x="121" y="427"/>
                    </a:lnTo>
                    <a:lnTo>
                      <a:pt x="121" y="425"/>
                    </a:lnTo>
                    <a:lnTo>
                      <a:pt x="121" y="423"/>
                    </a:lnTo>
                    <a:lnTo>
                      <a:pt x="119" y="422"/>
                    </a:lnTo>
                    <a:lnTo>
                      <a:pt x="119" y="420"/>
                    </a:lnTo>
                    <a:lnTo>
                      <a:pt x="117" y="420"/>
                    </a:lnTo>
                    <a:lnTo>
                      <a:pt x="117" y="418"/>
                    </a:lnTo>
                    <a:lnTo>
                      <a:pt x="117" y="417"/>
                    </a:lnTo>
                    <a:lnTo>
                      <a:pt x="116" y="417"/>
                    </a:lnTo>
                    <a:lnTo>
                      <a:pt x="116" y="415"/>
                    </a:lnTo>
                    <a:lnTo>
                      <a:pt x="116" y="413"/>
                    </a:lnTo>
                    <a:lnTo>
                      <a:pt x="116" y="412"/>
                    </a:lnTo>
                    <a:lnTo>
                      <a:pt x="117" y="410"/>
                    </a:lnTo>
                    <a:lnTo>
                      <a:pt x="117" y="408"/>
                    </a:lnTo>
                    <a:lnTo>
                      <a:pt x="116" y="408"/>
                    </a:lnTo>
                    <a:lnTo>
                      <a:pt x="117" y="406"/>
                    </a:lnTo>
                    <a:lnTo>
                      <a:pt x="116" y="406"/>
                    </a:lnTo>
                    <a:lnTo>
                      <a:pt x="114" y="405"/>
                    </a:lnTo>
                    <a:lnTo>
                      <a:pt x="114" y="403"/>
                    </a:lnTo>
                    <a:lnTo>
                      <a:pt x="114" y="401"/>
                    </a:lnTo>
                    <a:lnTo>
                      <a:pt x="114" y="400"/>
                    </a:lnTo>
                    <a:lnTo>
                      <a:pt x="112" y="400"/>
                    </a:lnTo>
                    <a:lnTo>
                      <a:pt x="111" y="398"/>
                    </a:lnTo>
                    <a:lnTo>
                      <a:pt x="111" y="396"/>
                    </a:lnTo>
                    <a:lnTo>
                      <a:pt x="111" y="395"/>
                    </a:lnTo>
                    <a:lnTo>
                      <a:pt x="111" y="393"/>
                    </a:lnTo>
                    <a:lnTo>
                      <a:pt x="111" y="391"/>
                    </a:lnTo>
                    <a:lnTo>
                      <a:pt x="109" y="391"/>
                    </a:lnTo>
                    <a:lnTo>
                      <a:pt x="111" y="391"/>
                    </a:lnTo>
                    <a:lnTo>
                      <a:pt x="109" y="389"/>
                    </a:lnTo>
                    <a:lnTo>
                      <a:pt x="109" y="388"/>
                    </a:lnTo>
                    <a:lnTo>
                      <a:pt x="111" y="389"/>
                    </a:lnTo>
                    <a:lnTo>
                      <a:pt x="112" y="389"/>
                    </a:lnTo>
                    <a:lnTo>
                      <a:pt x="112" y="388"/>
                    </a:lnTo>
                    <a:lnTo>
                      <a:pt x="114" y="386"/>
                    </a:lnTo>
                    <a:lnTo>
                      <a:pt x="114" y="384"/>
                    </a:lnTo>
                    <a:lnTo>
                      <a:pt x="112" y="384"/>
                    </a:lnTo>
                    <a:lnTo>
                      <a:pt x="112" y="383"/>
                    </a:lnTo>
                    <a:lnTo>
                      <a:pt x="111" y="383"/>
                    </a:lnTo>
                    <a:lnTo>
                      <a:pt x="109" y="383"/>
                    </a:lnTo>
                    <a:lnTo>
                      <a:pt x="107" y="383"/>
                    </a:lnTo>
                    <a:lnTo>
                      <a:pt x="105" y="381"/>
                    </a:lnTo>
                    <a:lnTo>
                      <a:pt x="105" y="379"/>
                    </a:lnTo>
                    <a:lnTo>
                      <a:pt x="105" y="378"/>
                    </a:lnTo>
                    <a:lnTo>
                      <a:pt x="105" y="376"/>
                    </a:lnTo>
                    <a:lnTo>
                      <a:pt x="105" y="374"/>
                    </a:lnTo>
                    <a:lnTo>
                      <a:pt x="104" y="374"/>
                    </a:lnTo>
                    <a:lnTo>
                      <a:pt x="104" y="372"/>
                    </a:lnTo>
                    <a:lnTo>
                      <a:pt x="102" y="372"/>
                    </a:lnTo>
                    <a:lnTo>
                      <a:pt x="102" y="371"/>
                    </a:lnTo>
                    <a:lnTo>
                      <a:pt x="102" y="369"/>
                    </a:lnTo>
                    <a:lnTo>
                      <a:pt x="102" y="367"/>
                    </a:lnTo>
                    <a:lnTo>
                      <a:pt x="102" y="366"/>
                    </a:lnTo>
                    <a:lnTo>
                      <a:pt x="102" y="364"/>
                    </a:lnTo>
                    <a:lnTo>
                      <a:pt x="104" y="364"/>
                    </a:lnTo>
                    <a:lnTo>
                      <a:pt x="104" y="362"/>
                    </a:lnTo>
                    <a:lnTo>
                      <a:pt x="104" y="361"/>
                    </a:lnTo>
                    <a:lnTo>
                      <a:pt x="102" y="361"/>
                    </a:lnTo>
                    <a:lnTo>
                      <a:pt x="104" y="359"/>
                    </a:lnTo>
                    <a:lnTo>
                      <a:pt x="104" y="357"/>
                    </a:lnTo>
                    <a:lnTo>
                      <a:pt x="104" y="355"/>
                    </a:lnTo>
                    <a:lnTo>
                      <a:pt x="104" y="354"/>
                    </a:lnTo>
                    <a:lnTo>
                      <a:pt x="104" y="352"/>
                    </a:lnTo>
                    <a:lnTo>
                      <a:pt x="105" y="352"/>
                    </a:lnTo>
                    <a:lnTo>
                      <a:pt x="105" y="350"/>
                    </a:lnTo>
                    <a:lnTo>
                      <a:pt x="105" y="352"/>
                    </a:lnTo>
                    <a:lnTo>
                      <a:pt x="107" y="352"/>
                    </a:lnTo>
                    <a:lnTo>
                      <a:pt x="107" y="354"/>
                    </a:lnTo>
                    <a:lnTo>
                      <a:pt x="107" y="355"/>
                    </a:lnTo>
                    <a:lnTo>
                      <a:pt x="109" y="354"/>
                    </a:lnTo>
                    <a:lnTo>
                      <a:pt x="109" y="352"/>
                    </a:lnTo>
                    <a:lnTo>
                      <a:pt x="109" y="350"/>
                    </a:lnTo>
                    <a:lnTo>
                      <a:pt x="111" y="350"/>
                    </a:lnTo>
                    <a:lnTo>
                      <a:pt x="112" y="350"/>
                    </a:lnTo>
                    <a:lnTo>
                      <a:pt x="112" y="349"/>
                    </a:lnTo>
                    <a:lnTo>
                      <a:pt x="111" y="349"/>
                    </a:lnTo>
                    <a:lnTo>
                      <a:pt x="111" y="347"/>
                    </a:lnTo>
                    <a:lnTo>
                      <a:pt x="111" y="345"/>
                    </a:lnTo>
                    <a:lnTo>
                      <a:pt x="111" y="344"/>
                    </a:lnTo>
                    <a:lnTo>
                      <a:pt x="111" y="342"/>
                    </a:lnTo>
                    <a:lnTo>
                      <a:pt x="112" y="342"/>
                    </a:lnTo>
                    <a:lnTo>
                      <a:pt x="112" y="340"/>
                    </a:lnTo>
                    <a:lnTo>
                      <a:pt x="112" y="338"/>
                    </a:lnTo>
                    <a:lnTo>
                      <a:pt x="112" y="337"/>
                    </a:lnTo>
                    <a:lnTo>
                      <a:pt x="112" y="335"/>
                    </a:lnTo>
                    <a:lnTo>
                      <a:pt x="114" y="335"/>
                    </a:lnTo>
                    <a:lnTo>
                      <a:pt x="112" y="335"/>
                    </a:lnTo>
                    <a:lnTo>
                      <a:pt x="112" y="333"/>
                    </a:lnTo>
                    <a:lnTo>
                      <a:pt x="114" y="333"/>
                    </a:lnTo>
                    <a:lnTo>
                      <a:pt x="114" y="332"/>
                    </a:lnTo>
                    <a:lnTo>
                      <a:pt x="114" y="330"/>
                    </a:lnTo>
                    <a:lnTo>
                      <a:pt x="116" y="328"/>
                    </a:lnTo>
                    <a:lnTo>
                      <a:pt x="114" y="328"/>
                    </a:lnTo>
                    <a:lnTo>
                      <a:pt x="116" y="328"/>
                    </a:lnTo>
                    <a:lnTo>
                      <a:pt x="116" y="326"/>
                    </a:lnTo>
                    <a:lnTo>
                      <a:pt x="117" y="326"/>
                    </a:lnTo>
                    <a:lnTo>
                      <a:pt x="117" y="325"/>
                    </a:lnTo>
                    <a:lnTo>
                      <a:pt x="116" y="323"/>
                    </a:lnTo>
                    <a:lnTo>
                      <a:pt x="117" y="321"/>
                    </a:lnTo>
                    <a:lnTo>
                      <a:pt x="117" y="323"/>
                    </a:lnTo>
                    <a:lnTo>
                      <a:pt x="119" y="323"/>
                    </a:lnTo>
                    <a:lnTo>
                      <a:pt x="119" y="325"/>
                    </a:lnTo>
                    <a:lnTo>
                      <a:pt x="121" y="325"/>
                    </a:lnTo>
                    <a:lnTo>
                      <a:pt x="121" y="323"/>
                    </a:lnTo>
                    <a:lnTo>
                      <a:pt x="122" y="323"/>
                    </a:lnTo>
                    <a:lnTo>
                      <a:pt x="124" y="323"/>
                    </a:lnTo>
                    <a:lnTo>
                      <a:pt x="124" y="321"/>
                    </a:lnTo>
                    <a:lnTo>
                      <a:pt x="124" y="320"/>
                    </a:lnTo>
                    <a:lnTo>
                      <a:pt x="126" y="320"/>
                    </a:lnTo>
                    <a:lnTo>
                      <a:pt x="126" y="318"/>
                    </a:lnTo>
                    <a:lnTo>
                      <a:pt x="126" y="316"/>
                    </a:lnTo>
                    <a:lnTo>
                      <a:pt x="126" y="318"/>
                    </a:lnTo>
                    <a:lnTo>
                      <a:pt x="128" y="318"/>
                    </a:lnTo>
                    <a:lnTo>
                      <a:pt x="128" y="316"/>
                    </a:lnTo>
                    <a:lnTo>
                      <a:pt x="128" y="315"/>
                    </a:lnTo>
                    <a:lnTo>
                      <a:pt x="126" y="315"/>
                    </a:lnTo>
                    <a:lnTo>
                      <a:pt x="126" y="313"/>
                    </a:lnTo>
                    <a:lnTo>
                      <a:pt x="124" y="313"/>
                    </a:lnTo>
                    <a:lnTo>
                      <a:pt x="122" y="313"/>
                    </a:lnTo>
                    <a:lnTo>
                      <a:pt x="122" y="311"/>
                    </a:lnTo>
                    <a:lnTo>
                      <a:pt x="124" y="311"/>
                    </a:lnTo>
                    <a:lnTo>
                      <a:pt x="124" y="309"/>
                    </a:lnTo>
                    <a:lnTo>
                      <a:pt x="124" y="308"/>
                    </a:lnTo>
                    <a:lnTo>
                      <a:pt x="124" y="306"/>
                    </a:lnTo>
                    <a:lnTo>
                      <a:pt x="126" y="304"/>
                    </a:lnTo>
                    <a:lnTo>
                      <a:pt x="124" y="304"/>
                    </a:lnTo>
                    <a:lnTo>
                      <a:pt x="126" y="303"/>
                    </a:lnTo>
                    <a:lnTo>
                      <a:pt x="124" y="303"/>
                    </a:lnTo>
                    <a:lnTo>
                      <a:pt x="124" y="301"/>
                    </a:lnTo>
                    <a:lnTo>
                      <a:pt x="124" y="299"/>
                    </a:lnTo>
                    <a:lnTo>
                      <a:pt x="126" y="299"/>
                    </a:lnTo>
                    <a:lnTo>
                      <a:pt x="126" y="298"/>
                    </a:lnTo>
                    <a:lnTo>
                      <a:pt x="124" y="298"/>
                    </a:lnTo>
                    <a:lnTo>
                      <a:pt x="124" y="296"/>
                    </a:lnTo>
                    <a:lnTo>
                      <a:pt x="122" y="296"/>
                    </a:lnTo>
                    <a:lnTo>
                      <a:pt x="122" y="294"/>
                    </a:lnTo>
                    <a:lnTo>
                      <a:pt x="124" y="294"/>
                    </a:lnTo>
                    <a:lnTo>
                      <a:pt x="122" y="294"/>
                    </a:lnTo>
                    <a:lnTo>
                      <a:pt x="124" y="292"/>
                    </a:lnTo>
                    <a:lnTo>
                      <a:pt x="122" y="292"/>
                    </a:lnTo>
                    <a:lnTo>
                      <a:pt x="124" y="291"/>
                    </a:lnTo>
                    <a:lnTo>
                      <a:pt x="122" y="291"/>
                    </a:lnTo>
                    <a:lnTo>
                      <a:pt x="122" y="289"/>
                    </a:lnTo>
                    <a:lnTo>
                      <a:pt x="122" y="287"/>
                    </a:lnTo>
                    <a:lnTo>
                      <a:pt x="122" y="286"/>
                    </a:lnTo>
                    <a:lnTo>
                      <a:pt x="121" y="286"/>
                    </a:lnTo>
                    <a:lnTo>
                      <a:pt x="121" y="284"/>
                    </a:lnTo>
                    <a:lnTo>
                      <a:pt x="121" y="282"/>
                    </a:lnTo>
                    <a:lnTo>
                      <a:pt x="121" y="281"/>
                    </a:lnTo>
                    <a:lnTo>
                      <a:pt x="122" y="281"/>
                    </a:lnTo>
                    <a:lnTo>
                      <a:pt x="122" y="279"/>
                    </a:lnTo>
                    <a:lnTo>
                      <a:pt x="122" y="277"/>
                    </a:lnTo>
                    <a:lnTo>
                      <a:pt x="124" y="277"/>
                    </a:lnTo>
                    <a:lnTo>
                      <a:pt x="124" y="275"/>
                    </a:lnTo>
                    <a:lnTo>
                      <a:pt x="126" y="275"/>
                    </a:lnTo>
                    <a:lnTo>
                      <a:pt x="128" y="275"/>
                    </a:lnTo>
                    <a:lnTo>
                      <a:pt x="128" y="274"/>
                    </a:lnTo>
                    <a:lnTo>
                      <a:pt x="129" y="274"/>
                    </a:lnTo>
                    <a:lnTo>
                      <a:pt x="128" y="274"/>
                    </a:lnTo>
                    <a:lnTo>
                      <a:pt x="128" y="272"/>
                    </a:lnTo>
                    <a:lnTo>
                      <a:pt x="129" y="272"/>
                    </a:lnTo>
                    <a:lnTo>
                      <a:pt x="128" y="270"/>
                    </a:lnTo>
                    <a:lnTo>
                      <a:pt x="129" y="270"/>
                    </a:lnTo>
                    <a:lnTo>
                      <a:pt x="129" y="269"/>
                    </a:lnTo>
                    <a:lnTo>
                      <a:pt x="129" y="267"/>
                    </a:lnTo>
                    <a:lnTo>
                      <a:pt x="129" y="265"/>
                    </a:lnTo>
                    <a:lnTo>
                      <a:pt x="129" y="264"/>
                    </a:lnTo>
                    <a:lnTo>
                      <a:pt x="131" y="264"/>
                    </a:lnTo>
                    <a:lnTo>
                      <a:pt x="131" y="262"/>
                    </a:lnTo>
                    <a:lnTo>
                      <a:pt x="131" y="260"/>
                    </a:lnTo>
                    <a:lnTo>
                      <a:pt x="131" y="258"/>
                    </a:lnTo>
                    <a:lnTo>
                      <a:pt x="131" y="257"/>
                    </a:lnTo>
                    <a:lnTo>
                      <a:pt x="131" y="255"/>
                    </a:lnTo>
                    <a:lnTo>
                      <a:pt x="133" y="255"/>
                    </a:lnTo>
                    <a:lnTo>
                      <a:pt x="131" y="253"/>
                    </a:lnTo>
                    <a:lnTo>
                      <a:pt x="133" y="253"/>
                    </a:lnTo>
                    <a:lnTo>
                      <a:pt x="133" y="252"/>
                    </a:lnTo>
                    <a:lnTo>
                      <a:pt x="133" y="250"/>
                    </a:lnTo>
                    <a:lnTo>
                      <a:pt x="133" y="248"/>
                    </a:lnTo>
                    <a:lnTo>
                      <a:pt x="134" y="248"/>
                    </a:lnTo>
                    <a:lnTo>
                      <a:pt x="133" y="248"/>
                    </a:lnTo>
                    <a:lnTo>
                      <a:pt x="133" y="247"/>
                    </a:lnTo>
                    <a:lnTo>
                      <a:pt x="134" y="247"/>
                    </a:lnTo>
                    <a:lnTo>
                      <a:pt x="136" y="247"/>
                    </a:lnTo>
                    <a:lnTo>
                      <a:pt x="134" y="245"/>
                    </a:lnTo>
                    <a:lnTo>
                      <a:pt x="136" y="245"/>
                    </a:lnTo>
                    <a:lnTo>
                      <a:pt x="138" y="245"/>
                    </a:lnTo>
                    <a:lnTo>
                      <a:pt x="138" y="243"/>
                    </a:lnTo>
                    <a:lnTo>
                      <a:pt x="138" y="241"/>
                    </a:lnTo>
                    <a:lnTo>
                      <a:pt x="139" y="241"/>
                    </a:lnTo>
                    <a:lnTo>
                      <a:pt x="139" y="240"/>
                    </a:lnTo>
                    <a:lnTo>
                      <a:pt x="139" y="238"/>
                    </a:lnTo>
                    <a:lnTo>
                      <a:pt x="141" y="240"/>
                    </a:lnTo>
                    <a:lnTo>
                      <a:pt x="143" y="240"/>
                    </a:lnTo>
                    <a:lnTo>
                      <a:pt x="143" y="238"/>
                    </a:lnTo>
                    <a:lnTo>
                      <a:pt x="145" y="236"/>
                    </a:lnTo>
                    <a:lnTo>
                      <a:pt x="145" y="235"/>
                    </a:lnTo>
                    <a:lnTo>
                      <a:pt x="146" y="233"/>
                    </a:lnTo>
                    <a:lnTo>
                      <a:pt x="146" y="231"/>
                    </a:lnTo>
                    <a:lnTo>
                      <a:pt x="148" y="230"/>
                    </a:lnTo>
                    <a:lnTo>
                      <a:pt x="150" y="231"/>
                    </a:lnTo>
                    <a:lnTo>
                      <a:pt x="150" y="230"/>
                    </a:lnTo>
                    <a:lnTo>
                      <a:pt x="150" y="228"/>
                    </a:lnTo>
                    <a:lnTo>
                      <a:pt x="151" y="228"/>
                    </a:lnTo>
                    <a:lnTo>
                      <a:pt x="151" y="226"/>
                    </a:lnTo>
                    <a:lnTo>
                      <a:pt x="151" y="224"/>
                    </a:lnTo>
                    <a:lnTo>
                      <a:pt x="151" y="223"/>
                    </a:lnTo>
                    <a:lnTo>
                      <a:pt x="151" y="221"/>
                    </a:lnTo>
                    <a:lnTo>
                      <a:pt x="153" y="221"/>
                    </a:lnTo>
                    <a:lnTo>
                      <a:pt x="153" y="219"/>
                    </a:lnTo>
                    <a:lnTo>
                      <a:pt x="153" y="218"/>
                    </a:lnTo>
                    <a:lnTo>
                      <a:pt x="153" y="216"/>
                    </a:lnTo>
                    <a:lnTo>
                      <a:pt x="155" y="216"/>
                    </a:lnTo>
                    <a:lnTo>
                      <a:pt x="156" y="214"/>
                    </a:lnTo>
                    <a:lnTo>
                      <a:pt x="155" y="214"/>
                    </a:lnTo>
                    <a:lnTo>
                      <a:pt x="156" y="214"/>
                    </a:lnTo>
                    <a:lnTo>
                      <a:pt x="156" y="213"/>
                    </a:lnTo>
                    <a:lnTo>
                      <a:pt x="156" y="211"/>
                    </a:lnTo>
                    <a:lnTo>
                      <a:pt x="155" y="211"/>
                    </a:lnTo>
                    <a:lnTo>
                      <a:pt x="156" y="211"/>
                    </a:lnTo>
                    <a:lnTo>
                      <a:pt x="156" y="209"/>
                    </a:lnTo>
                    <a:lnTo>
                      <a:pt x="156" y="211"/>
                    </a:lnTo>
                    <a:lnTo>
                      <a:pt x="158" y="209"/>
                    </a:lnTo>
                    <a:lnTo>
                      <a:pt x="156" y="209"/>
                    </a:lnTo>
                    <a:lnTo>
                      <a:pt x="158" y="209"/>
                    </a:lnTo>
                    <a:lnTo>
                      <a:pt x="158" y="207"/>
                    </a:lnTo>
                    <a:lnTo>
                      <a:pt x="158" y="206"/>
                    </a:lnTo>
                    <a:lnTo>
                      <a:pt x="160" y="206"/>
                    </a:lnTo>
                    <a:lnTo>
                      <a:pt x="160" y="204"/>
                    </a:lnTo>
                    <a:lnTo>
                      <a:pt x="162" y="204"/>
                    </a:lnTo>
                    <a:lnTo>
                      <a:pt x="160" y="204"/>
                    </a:lnTo>
                    <a:lnTo>
                      <a:pt x="160" y="202"/>
                    </a:lnTo>
                    <a:lnTo>
                      <a:pt x="160" y="201"/>
                    </a:lnTo>
                    <a:lnTo>
                      <a:pt x="160" y="199"/>
                    </a:lnTo>
                    <a:lnTo>
                      <a:pt x="162" y="199"/>
                    </a:lnTo>
                    <a:lnTo>
                      <a:pt x="162" y="197"/>
                    </a:lnTo>
                    <a:lnTo>
                      <a:pt x="163" y="197"/>
                    </a:lnTo>
                    <a:lnTo>
                      <a:pt x="165" y="197"/>
                    </a:lnTo>
                    <a:lnTo>
                      <a:pt x="167" y="197"/>
                    </a:lnTo>
                    <a:lnTo>
                      <a:pt x="167" y="199"/>
                    </a:lnTo>
                    <a:lnTo>
                      <a:pt x="168" y="201"/>
                    </a:lnTo>
                    <a:lnTo>
                      <a:pt x="168" y="199"/>
                    </a:lnTo>
                    <a:lnTo>
                      <a:pt x="170" y="201"/>
                    </a:lnTo>
                    <a:lnTo>
                      <a:pt x="170" y="199"/>
                    </a:lnTo>
                    <a:lnTo>
                      <a:pt x="170" y="197"/>
                    </a:lnTo>
                    <a:lnTo>
                      <a:pt x="172" y="199"/>
                    </a:lnTo>
                    <a:lnTo>
                      <a:pt x="173" y="197"/>
                    </a:lnTo>
                    <a:lnTo>
                      <a:pt x="172" y="196"/>
                    </a:lnTo>
                    <a:lnTo>
                      <a:pt x="173" y="197"/>
                    </a:lnTo>
                    <a:lnTo>
                      <a:pt x="173" y="196"/>
                    </a:lnTo>
                    <a:lnTo>
                      <a:pt x="175" y="196"/>
                    </a:lnTo>
                    <a:lnTo>
                      <a:pt x="177" y="196"/>
                    </a:lnTo>
                    <a:lnTo>
                      <a:pt x="179" y="196"/>
                    </a:lnTo>
                    <a:lnTo>
                      <a:pt x="179" y="194"/>
                    </a:lnTo>
                    <a:lnTo>
                      <a:pt x="179" y="192"/>
                    </a:lnTo>
                    <a:lnTo>
                      <a:pt x="179" y="190"/>
                    </a:lnTo>
                    <a:lnTo>
                      <a:pt x="180" y="190"/>
                    </a:lnTo>
                    <a:lnTo>
                      <a:pt x="179" y="190"/>
                    </a:lnTo>
                    <a:lnTo>
                      <a:pt x="179" y="189"/>
                    </a:lnTo>
                    <a:lnTo>
                      <a:pt x="177" y="187"/>
                    </a:lnTo>
                    <a:lnTo>
                      <a:pt x="177" y="185"/>
                    </a:lnTo>
                    <a:lnTo>
                      <a:pt x="175" y="185"/>
                    </a:lnTo>
                    <a:lnTo>
                      <a:pt x="173" y="182"/>
                    </a:lnTo>
                    <a:lnTo>
                      <a:pt x="173" y="180"/>
                    </a:lnTo>
                    <a:lnTo>
                      <a:pt x="172" y="180"/>
                    </a:lnTo>
                    <a:lnTo>
                      <a:pt x="172" y="178"/>
                    </a:lnTo>
                    <a:lnTo>
                      <a:pt x="170" y="177"/>
                    </a:lnTo>
                    <a:lnTo>
                      <a:pt x="170" y="175"/>
                    </a:lnTo>
                    <a:lnTo>
                      <a:pt x="168" y="173"/>
                    </a:lnTo>
                    <a:lnTo>
                      <a:pt x="168" y="172"/>
                    </a:lnTo>
                    <a:lnTo>
                      <a:pt x="170" y="170"/>
                    </a:lnTo>
                    <a:lnTo>
                      <a:pt x="170" y="167"/>
                    </a:lnTo>
                    <a:lnTo>
                      <a:pt x="172" y="165"/>
                    </a:lnTo>
                    <a:lnTo>
                      <a:pt x="173" y="163"/>
                    </a:lnTo>
                    <a:lnTo>
                      <a:pt x="175" y="163"/>
                    </a:lnTo>
                    <a:lnTo>
                      <a:pt x="175" y="160"/>
                    </a:lnTo>
                    <a:lnTo>
                      <a:pt x="175" y="156"/>
                    </a:lnTo>
                    <a:lnTo>
                      <a:pt x="175" y="155"/>
                    </a:lnTo>
                    <a:lnTo>
                      <a:pt x="173" y="151"/>
                    </a:lnTo>
                    <a:lnTo>
                      <a:pt x="173" y="146"/>
                    </a:lnTo>
                    <a:lnTo>
                      <a:pt x="172" y="144"/>
                    </a:lnTo>
                    <a:lnTo>
                      <a:pt x="172" y="143"/>
                    </a:lnTo>
                    <a:lnTo>
                      <a:pt x="170" y="143"/>
                    </a:lnTo>
                    <a:lnTo>
                      <a:pt x="170" y="141"/>
                    </a:lnTo>
                    <a:lnTo>
                      <a:pt x="172" y="139"/>
                    </a:lnTo>
                    <a:lnTo>
                      <a:pt x="170" y="139"/>
                    </a:lnTo>
                    <a:lnTo>
                      <a:pt x="170" y="138"/>
                    </a:lnTo>
                    <a:lnTo>
                      <a:pt x="170" y="136"/>
                    </a:lnTo>
                    <a:lnTo>
                      <a:pt x="168" y="134"/>
                    </a:lnTo>
                    <a:lnTo>
                      <a:pt x="170" y="134"/>
                    </a:lnTo>
                    <a:lnTo>
                      <a:pt x="170" y="133"/>
                    </a:lnTo>
                    <a:lnTo>
                      <a:pt x="172" y="133"/>
                    </a:lnTo>
                    <a:lnTo>
                      <a:pt x="172" y="131"/>
                    </a:lnTo>
                    <a:lnTo>
                      <a:pt x="170" y="131"/>
                    </a:lnTo>
                    <a:lnTo>
                      <a:pt x="170" y="129"/>
                    </a:lnTo>
                    <a:lnTo>
                      <a:pt x="170" y="127"/>
                    </a:lnTo>
                    <a:lnTo>
                      <a:pt x="172" y="127"/>
                    </a:lnTo>
                    <a:lnTo>
                      <a:pt x="172" y="126"/>
                    </a:lnTo>
                    <a:lnTo>
                      <a:pt x="172" y="124"/>
                    </a:lnTo>
                    <a:lnTo>
                      <a:pt x="173" y="122"/>
                    </a:lnTo>
                    <a:lnTo>
                      <a:pt x="175" y="122"/>
                    </a:lnTo>
                    <a:lnTo>
                      <a:pt x="175" y="124"/>
                    </a:lnTo>
                    <a:lnTo>
                      <a:pt x="175" y="122"/>
                    </a:lnTo>
                    <a:lnTo>
                      <a:pt x="177" y="122"/>
                    </a:lnTo>
                    <a:lnTo>
                      <a:pt x="177" y="121"/>
                    </a:lnTo>
                    <a:lnTo>
                      <a:pt x="177" y="119"/>
                    </a:lnTo>
                    <a:lnTo>
                      <a:pt x="175" y="119"/>
                    </a:lnTo>
                    <a:lnTo>
                      <a:pt x="175" y="117"/>
                    </a:lnTo>
                    <a:lnTo>
                      <a:pt x="173" y="117"/>
                    </a:lnTo>
                    <a:lnTo>
                      <a:pt x="173" y="116"/>
                    </a:lnTo>
                    <a:lnTo>
                      <a:pt x="173" y="114"/>
                    </a:lnTo>
                    <a:lnTo>
                      <a:pt x="172" y="114"/>
                    </a:lnTo>
                    <a:lnTo>
                      <a:pt x="170" y="112"/>
                    </a:lnTo>
                    <a:lnTo>
                      <a:pt x="170" y="110"/>
                    </a:lnTo>
                    <a:lnTo>
                      <a:pt x="170" y="109"/>
                    </a:lnTo>
                    <a:lnTo>
                      <a:pt x="170" y="107"/>
                    </a:lnTo>
                    <a:lnTo>
                      <a:pt x="172" y="107"/>
                    </a:lnTo>
                    <a:lnTo>
                      <a:pt x="172" y="105"/>
                    </a:lnTo>
                    <a:lnTo>
                      <a:pt x="172" y="104"/>
                    </a:lnTo>
                    <a:lnTo>
                      <a:pt x="173" y="104"/>
                    </a:lnTo>
                    <a:lnTo>
                      <a:pt x="173" y="102"/>
                    </a:lnTo>
                    <a:lnTo>
                      <a:pt x="175" y="102"/>
                    </a:lnTo>
                    <a:lnTo>
                      <a:pt x="175" y="100"/>
                    </a:lnTo>
                    <a:lnTo>
                      <a:pt x="175" y="99"/>
                    </a:lnTo>
                    <a:lnTo>
                      <a:pt x="177" y="99"/>
                    </a:lnTo>
                    <a:lnTo>
                      <a:pt x="177" y="100"/>
                    </a:lnTo>
                    <a:lnTo>
                      <a:pt x="179" y="99"/>
                    </a:lnTo>
                    <a:lnTo>
                      <a:pt x="179" y="97"/>
                    </a:lnTo>
                    <a:lnTo>
                      <a:pt x="180" y="97"/>
                    </a:lnTo>
                    <a:lnTo>
                      <a:pt x="180" y="95"/>
                    </a:lnTo>
                    <a:lnTo>
                      <a:pt x="187" y="93"/>
                    </a:lnTo>
                    <a:lnTo>
                      <a:pt x="189" y="92"/>
                    </a:lnTo>
                    <a:lnTo>
                      <a:pt x="190" y="92"/>
                    </a:lnTo>
                    <a:lnTo>
                      <a:pt x="199" y="88"/>
                    </a:lnTo>
                    <a:lnTo>
                      <a:pt x="206" y="85"/>
                    </a:lnTo>
                    <a:lnTo>
                      <a:pt x="211" y="83"/>
                    </a:lnTo>
                    <a:lnTo>
                      <a:pt x="214" y="73"/>
                    </a:lnTo>
                    <a:lnTo>
                      <a:pt x="214" y="71"/>
                    </a:lnTo>
                    <a:lnTo>
                      <a:pt x="218" y="61"/>
                    </a:lnTo>
                    <a:lnTo>
                      <a:pt x="219" y="54"/>
                    </a:lnTo>
                    <a:lnTo>
                      <a:pt x="219" y="53"/>
                    </a:lnTo>
                    <a:lnTo>
                      <a:pt x="223" y="44"/>
                    </a:lnTo>
                    <a:lnTo>
                      <a:pt x="219" y="41"/>
                    </a:lnTo>
                    <a:lnTo>
                      <a:pt x="216" y="37"/>
                    </a:lnTo>
                    <a:lnTo>
                      <a:pt x="218" y="34"/>
                    </a:lnTo>
                    <a:lnTo>
                      <a:pt x="223" y="32"/>
                    </a:lnTo>
                    <a:lnTo>
                      <a:pt x="223" y="31"/>
                    </a:lnTo>
                    <a:lnTo>
                      <a:pt x="221" y="31"/>
                    </a:lnTo>
                    <a:lnTo>
                      <a:pt x="221" y="29"/>
                    </a:lnTo>
                    <a:lnTo>
                      <a:pt x="221" y="27"/>
                    </a:lnTo>
                    <a:lnTo>
                      <a:pt x="223" y="27"/>
                    </a:lnTo>
                    <a:lnTo>
                      <a:pt x="224" y="25"/>
                    </a:lnTo>
                    <a:lnTo>
                      <a:pt x="226" y="25"/>
                    </a:lnTo>
                    <a:lnTo>
                      <a:pt x="230" y="24"/>
                    </a:lnTo>
                    <a:lnTo>
                      <a:pt x="230" y="22"/>
                    </a:lnTo>
                    <a:lnTo>
                      <a:pt x="230" y="20"/>
                    </a:lnTo>
                    <a:lnTo>
                      <a:pt x="231" y="20"/>
                    </a:lnTo>
                    <a:lnTo>
                      <a:pt x="231" y="19"/>
                    </a:lnTo>
                    <a:lnTo>
                      <a:pt x="231" y="17"/>
                    </a:lnTo>
                    <a:lnTo>
                      <a:pt x="233" y="15"/>
                    </a:lnTo>
                    <a:lnTo>
                      <a:pt x="235" y="15"/>
                    </a:lnTo>
                    <a:lnTo>
                      <a:pt x="241" y="13"/>
                    </a:lnTo>
                    <a:lnTo>
                      <a:pt x="245" y="12"/>
                    </a:lnTo>
                    <a:lnTo>
                      <a:pt x="247" y="12"/>
                    </a:lnTo>
                    <a:lnTo>
                      <a:pt x="247" y="10"/>
                    </a:lnTo>
                    <a:lnTo>
                      <a:pt x="247" y="8"/>
                    </a:lnTo>
                    <a:lnTo>
                      <a:pt x="247" y="7"/>
                    </a:lnTo>
                    <a:lnTo>
                      <a:pt x="247" y="5"/>
                    </a:lnTo>
                    <a:lnTo>
                      <a:pt x="248" y="5"/>
                    </a:lnTo>
                    <a:lnTo>
                      <a:pt x="247" y="5"/>
                    </a:lnTo>
                    <a:lnTo>
                      <a:pt x="248" y="5"/>
                    </a:lnTo>
                    <a:lnTo>
                      <a:pt x="248" y="3"/>
                    </a:lnTo>
                    <a:lnTo>
                      <a:pt x="248" y="2"/>
                    </a:lnTo>
                    <a:lnTo>
                      <a:pt x="248" y="0"/>
                    </a:lnTo>
                    <a:lnTo>
                      <a:pt x="250" y="0"/>
                    </a:lnTo>
                    <a:lnTo>
                      <a:pt x="252" y="2"/>
                    </a:lnTo>
                    <a:lnTo>
                      <a:pt x="253" y="2"/>
                    </a:lnTo>
                    <a:lnTo>
                      <a:pt x="255" y="3"/>
                    </a:lnTo>
                    <a:lnTo>
                      <a:pt x="255" y="5"/>
                    </a:lnTo>
                    <a:lnTo>
                      <a:pt x="257" y="5"/>
                    </a:lnTo>
                    <a:lnTo>
                      <a:pt x="258" y="5"/>
                    </a:lnTo>
                    <a:lnTo>
                      <a:pt x="260" y="8"/>
                    </a:lnTo>
                    <a:lnTo>
                      <a:pt x="262" y="10"/>
                    </a:lnTo>
                    <a:lnTo>
                      <a:pt x="264" y="10"/>
                    </a:lnTo>
                    <a:lnTo>
                      <a:pt x="264" y="12"/>
                    </a:lnTo>
                    <a:lnTo>
                      <a:pt x="265" y="12"/>
                    </a:lnTo>
                    <a:lnTo>
                      <a:pt x="267" y="12"/>
                    </a:lnTo>
                    <a:lnTo>
                      <a:pt x="269" y="12"/>
                    </a:lnTo>
                    <a:lnTo>
                      <a:pt x="270" y="12"/>
                    </a:lnTo>
                    <a:lnTo>
                      <a:pt x="270" y="10"/>
                    </a:lnTo>
                    <a:lnTo>
                      <a:pt x="274" y="12"/>
                    </a:lnTo>
                    <a:lnTo>
                      <a:pt x="275" y="12"/>
                    </a:lnTo>
                    <a:lnTo>
                      <a:pt x="277" y="12"/>
                    </a:lnTo>
                    <a:lnTo>
                      <a:pt x="281" y="12"/>
                    </a:lnTo>
                    <a:lnTo>
                      <a:pt x="281" y="10"/>
                    </a:lnTo>
                    <a:lnTo>
                      <a:pt x="281" y="12"/>
                    </a:lnTo>
                    <a:lnTo>
                      <a:pt x="284" y="10"/>
                    </a:lnTo>
                    <a:lnTo>
                      <a:pt x="287" y="10"/>
                    </a:lnTo>
                    <a:lnTo>
                      <a:pt x="289" y="10"/>
                    </a:lnTo>
                    <a:lnTo>
                      <a:pt x="291" y="10"/>
                    </a:lnTo>
                    <a:lnTo>
                      <a:pt x="291" y="12"/>
                    </a:lnTo>
                    <a:lnTo>
                      <a:pt x="292" y="12"/>
                    </a:lnTo>
                    <a:lnTo>
                      <a:pt x="294" y="12"/>
                    </a:lnTo>
                    <a:lnTo>
                      <a:pt x="296" y="13"/>
                    </a:lnTo>
                    <a:lnTo>
                      <a:pt x="298" y="13"/>
                    </a:lnTo>
                    <a:lnTo>
                      <a:pt x="299" y="15"/>
                    </a:lnTo>
                    <a:lnTo>
                      <a:pt x="301" y="15"/>
                    </a:lnTo>
                    <a:lnTo>
                      <a:pt x="303" y="15"/>
                    </a:lnTo>
                    <a:lnTo>
                      <a:pt x="304" y="17"/>
                    </a:lnTo>
                    <a:lnTo>
                      <a:pt x="306" y="17"/>
                    </a:lnTo>
                    <a:lnTo>
                      <a:pt x="306" y="19"/>
                    </a:lnTo>
                    <a:lnTo>
                      <a:pt x="304" y="20"/>
                    </a:lnTo>
                    <a:lnTo>
                      <a:pt x="304" y="22"/>
                    </a:lnTo>
                    <a:lnTo>
                      <a:pt x="306" y="22"/>
                    </a:lnTo>
                    <a:lnTo>
                      <a:pt x="306" y="24"/>
                    </a:lnTo>
                    <a:lnTo>
                      <a:pt x="308" y="24"/>
                    </a:lnTo>
                    <a:lnTo>
                      <a:pt x="308" y="25"/>
                    </a:lnTo>
                    <a:lnTo>
                      <a:pt x="309" y="25"/>
                    </a:lnTo>
                    <a:lnTo>
                      <a:pt x="308" y="27"/>
                    </a:lnTo>
                    <a:lnTo>
                      <a:pt x="309" y="27"/>
                    </a:lnTo>
                    <a:lnTo>
                      <a:pt x="309" y="29"/>
                    </a:lnTo>
                    <a:lnTo>
                      <a:pt x="309" y="31"/>
                    </a:lnTo>
                    <a:lnTo>
                      <a:pt x="309" y="32"/>
                    </a:lnTo>
                    <a:lnTo>
                      <a:pt x="311" y="32"/>
                    </a:lnTo>
                    <a:lnTo>
                      <a:pt x="311" y="34"/>
                    </a:lnTo>
                    <a:lnTo>
                      <a:pt x="309" y="34"/>
                    </a:lnTo>
                    <a:lnTo>
                      <a:pt x="311" y="34"/>
                    </a:lnTo>
                    <a:lnTo>
                      <a:pt x="313" y="36"/>
                    </a:lnTo>
                    <a:lnTo>
                      <a:pt x="313" y="37"/>
                    </a:lnTo>
                    <a:lnTo>
                      <a:pt x="311" y="37"/>
                    </a:lnTo>
                    <a:lnTo>
                      <a:pt x="313" y="37"/>
                    </a:lnTo>
                    <a:lnTo>
                      <a:pt x="313" y="39"/>
                    </a:lnTo>
                    <a:lnTo>
                      <a:pt x="313" y="41"/>
                    </a:lnTo>
                    <a:lnTo>
                      <a:pt x="313" y="39"/>
                    </a:lnTo>
                    <a:lnTo>
                      <a:pt x="315" y="39"/>
                    </a:lnTo>
                    <a:lnTo>
                      <a:pt x="313" y="39"/>
                    </a:lnTo>
                    <a:lnTo>
                      <a:pt x="315" y="37"/>
                    </a:lnTo>
                    <a:lnTo>
                      <a:pt x="315" y="36"/>
                    </a:lnTo>
                    <a:lnTo>
                      <a:pt x="315" y="34"/>
                    </a:lnTo>
                    <a:lnTo>
                      <a:pt x="315" y="32"/>
                    </a:lnTo>
                    <a:lnTo>
                      <a:pt x="315" y="31"/>
                    </a:lnTo>
                    <a:lnTo>
                      <a:pt x="316" y="31"/>
                    </a:lnTo>
                    <a:lnTo>
                      <a:pt x="316" y="29"/>
                    </a:lnTo>
                    <a:lnTo>
                      <a:pt x="315" y="29"/>
                    </a:lnTo>
                    <a:lnTo>
                      <a:pt x="316" y="29"/>
                    </a:lnTo>
                    <a:lnTo>
                      <a:pt x="316" y="27"/>
                    </a:lnTo>
                    <a:lnTo>
                      <a:pt x="316" y="25"/>
                    </a:lnTo>
                    <a:lnTo>
                      <a:pt x="318" y="25"/>
                    </a:lnTo>
                    <a:lnTo>
                      <a:pt x="318" y="24"/>
                    </a:lnTo>
                    <a:lnTo>
                      <a:pt x="320" y="24"/>
                    </a:lnTo>
                    <a:lnTo>
                      <a:pt x="320" y="22"/>
                    </a:lnTo>
                    <a:lnTo>
                      <a:pt x="320" y="20"/>
                    </a:lnTo>
                    <a:lnTo>
                      <a:pt x="321" y="19"/>
                    </a:lnTo>
                    <a:lnTo>
                      <a:pt x="321" y="17"/>
                    </a:lnTo>
                    <a:lnTo>
                      <a:pt x="323" y="17"/>
                    </a:lnTo>
                    <a:lnTo>
                      <a:pt x="323" y="15"/>
                    </a:lnTo>
                    <a:lnTo>
                      <a:pt x="323" y="13"/>
                    </a:lnTo>
                    <a:lnTo>
                      <a:pt x="325" y="12"/>
                    </a:lnTo>
                    <a:lnTo>
                      <a:pt x="323" y="12"/>
                    </a:lnTo>
                    <a:lnTo>
                      <a:pt x="325" y="12"/>
                    </a:lnTo>
                    <a:lnTo>
                      <a:pt x="325" y="10"/>
                    </a:lnTo>
                    <a:lnTo>
                      <a:pt x="325" y="8"/>
                    </a:lnTo>
                    <a:lnTo>
                      <a:pt x="326" y="8"/>
                    </a:lnTo>
                    <a:lnTo>
                      <a:pt x="332" y="8"/>
                    </a:lnTo>
                    <a:lnTo>
                      <a:pt x="333" y="8"/>
                    </a:lnTo>
                    <a:lnTo>
                      <a:pt x="335" y="8"/>
                    </a:lnTo>
                    <a:lnTo>
                      <a:pt x="335" y="10"/>
                    </a:lnTo>
                    <a:lnTo>
                      <a:pt x="335" y="8"/>
                    </a:lnTo>
                    <a:lnTo>
                      <a:pt x="354" y="8"/>
                    </a:lnTo>
                    <a:lnTo>
                      <a:pt x="364" y="8"/>
                    </a:lnTo>
                    <a:lnTo>
                      <a:pt x="364" y="10"/>
                    </a:lnTo>
                    <a:lnTo>
                      <a:pt x="364" y="12"/>
                    </a:lnTo>
                    <a:lnTo>
                      <a:pt x="364" y="13"/>
                    </a:lnTo>
                    <a:lnTo>
                      <a:pt x="366" y="13"/>
                    </a:lnTo>
                    <a:lnTo>
                      <a:pt x="367" y="13"/>
                    </a:lnTo>
                    <a:lnTo>
                      <a:pt x="367" y="15"/>
                    </a:lnTo>
                    <a:lnTo>
                      <a:pt x="369" y="15"/>
                    </a:lnTo>
                    <a:lnTo>
                      <a:pt x="369" y="17"/>
                    </a:lnTo>
                    <a:close/>
                    <a:moveTo>
                      <a:pt x="167" y="1473"/>
                    </a:moveTo>
                    <a:lnTo>
                      <a:pt x="167" y="1468"/>
                    </a:lnTo>
                    <a:lnTo>
                      <a:pt x="167" y="1456"/>
                    </a:lnTo>
                    <a:lnTo>
                      <a:pt x="167" y="1454"/>
                    </a:lnTo>
                    <a:lnTo>
                      <a:pt x="167" y="1453"/>
                    </a:lnTo>
                    <a:lnTo>
                      <a:pt x="167" y="1451"/>
                    </a:lnTo>
                    <a:lnTo>
                      <a:pt x="167" y="1444"/>
                    </a:lnTo>
                    <a:lnTo>
                      <a:pt x="167" y="1442"/>
                    </a:lnTo>
                    <a:lnTo>
                      <a:pt x="167" y="1429"/>
                    </a:lnTo>
                    <a:lnTo>
                      <a:pt x="167" y="1417"/>
                    </a:lnTo>
                    <a:lnTo>
                      <a:pt x="167" y="1410"/>
                    </a:lnTo>
                    <a:lnTo>
                      <a:pt x="168" y="1398"/>
                    </a:lnTo>
                    <a:lnTo>
                      <a:pt x="168" y="1386"/>
                    </a:lnTo>
                    <a:lnTo>
                      <a:pt x="168" y="1383"/>
                    </a:lnTo>
                    <a:lnTo>
                      <a:pt x="168" y="1378"/>
                    </a:lnTo>
                    <a:lnTo>
                      <a:pt x="168" y="1364"/>
                    </a:lnTo>
                    <a:lnTo>
                      <a:pt x="168" y="1347"/>
                    </a:lnTo>
                    <a:lnTo>
                      <a:pt x="168" y="1345"/>
                    </a:lnTo>
                    <a:lnTo>
                      <a:pt x="168" y="1347"/>
                    </a:lnTo>
                    <a:lnTo>
                      <a:pt x="170" y="1349"/>
                    </a:lnTo>
                    <a:lnTo>
                      <a:pt x="173" y="1352"/>
                    </a:lnTo>
                    <a:lnTo>
                      <a:pt x="175" y="1356"/>
                    </a:lnTo>
                    <a:lnTo>
                      <a:pt x="177" y="1359"/>
                    </a:lnTo>
                    <a:lnTo>
                      <a:pt x="179" y="1361"/>
                    </a:lnTo>
                    <a:lnTo>
                      <a:pt x="180" y="1362"/>
                    </a:lnTo>
                    <a:lnTo>
                      <a:pt x="180" y="1366"/>
                    </a:lnTo>
                    <a:lnTo>
                      <a:pt x="180" y="1368"/>
                    </a:lnTo>
                    <a:lnTo>
                      <a:pt x="182" y="1371"/>
                    </a:lnTo>
                    <a:lnTo>
                      <a:pt x="182" y="1373"/>
                    </a:lnTo>
                    <a:lnTo>
                      <a:pt x="182" y="1371"/>
                    </a:lnTo>
                    <a:lnTo>
                      <a:pt x="180" y="1369"/>
                    </a:lnTo>
                    <a:lnTo>
                      <a:pt x="180" y="1368"/>
                    </a:lnTo>
                    <a:lnTo>
                      <a:pt x="180" y="1366"/>
                    </a:lnTo>
                    <a:lnTo>
                      <a:pt x="179" y="1364"/>
                    </a:lnTo>
                    <a:lnTo>
                      <a:pt x="179" y="1366"/>
                    </a:lnTo>
                    <a:lnTo>
                      <a:pt x="177" y="1366"/>
                    </a:lnTo>
                    <a:lnTo>
                      <a:pt x="175" y="1366"/>
                    </a:lnTo>
                    <a:lnTo>
                      <a:pt x="175" y="1368"/>
                    </a:lnTo>
                    <a:lnTo>
                      <a:pt x="173" y="1369"/>
                    </a:lnTo>
                    <a:lnTo>
                      <a:pt x="172" y="1371"/>
                    </a:lnTo>
                    <a:lnTo>
                      <a:pt x="172" y="1373"/>
                    </a:lnTo>
                    <a:lnTo>
                      <a:pt x="170" y="1373"/>
                    </a:lnTo>
                    <a:lnTo>
                      <a:pt x="170" y="1374"/>
                    </a:lnTo>
                    <a:lnTo>
                      <a:pt x="170" y="1376"/>
                    </a:lnTo>
                    <a:lnTo>
                      <a:pt x="170" y="1378"/>
                    </a:lnTo>
                    <a:lnTo>
                      <a:pt x="172" y="1379"/>
                    </a:lnTo>
                    <a:lnTo>
                      <a:pt x="173" y="1381"/>
                    </a:lnTo>
                    <a:lnTo>
                      <a:pt x="175" y="1381"/>
                    </a:lnTo>
                    <a:lnTo>
                      <a:pt x="177" y="1381"/>
                    </a:lnTo>
                    <a:lnTo>
                      <a:pt x="177" y="1383"/>
                    </a:lnTo>
                    <a:lnTo>
                      <a:pt x="179" y="1383"/>
                    </a:lnTo>
                    <a:lnTo>
                      <a:pt x="180" y="1381"/>
                    </a:lnTo>
                    <a:lnTo>
                      <a:pt x="182" y="1381"/>
                    </a:lnTo>
                    <a:lnTo>
                      <a:pt x="182" y="1383"/>
                    </a:lnTo>
                    <a:lnTo>
                      <a:pt x="184" y="1383"/>
                    </a:lnTo>
                    <a:lnTo>
                      <a:pt x="185" y="1385"/>
                    </a:lnTo>
                    <a:lnTo>
                      <a:pt x="185" y="1386"/>
                    </a:lnTo>
                    <a:lnTo>
                      <a:pt x="185" y="1388"/>
                    </a:lnTo>
                    <a:lnTo>
                      <a:pt x="187" y="1390"/>
                    </a:lnTo>
                    <a:lnTo>
                      <a:pt x="187" y="1391"/>
                    </a:lnTo>
                    <a:lnTo>
                      <a:pt x="187" y="1393"/>
                    </a:lnTo>
                    <a:lnTo>
                      <a:pt x="189" y="1395"/>
                    </a:lnTo>
                    <a:lnTo>
                      <a:pt x="189" y="1396"/>
                    </a:lnTo>
                    <a:lnTo>
                      <a:pt x="189" y="1398"/>
                    </a:lnTo>
                    <a:lnTo>
                      <a:pt x="190" y="1398"/>
                    </a:lnTo>
                    <a:lnTo>
                      <a:pt x="190" y="1400"/>
                    </a:lnTo>
                    <a:lnTo>
                      <a:pt x="192" y="1402"/>
                    </a:lnTo>
                    <a:lnTo>
                      <a:pt x="194" y="1403"/>
                    </a:lnTo>
                    <a:lnTo>
                      <a:pt x="194" y="1405"/>
                    </a:lnTo>
                    <a:lnTo>
                      <a:pt x="196" y="1405"/>
                    </a:lnTo>
                    <a:lnTo>
                      <a:pt x="197" y="1407"/>
                    </a:lnTo>
                    <a:lnTo>
                      <a:pt x="199" y="1408"/>
                    </a:lnTo>
                    <a:lnTo>
                      <a:pt x="201" y="1410"/>
                    </a:lnTo>
                    <a:lnTo>
                      <a:pt x="202" y="1412"/>
                    </a:lnTo>
                    <a:lnTo>
                      <a:pt x="204" y="1412"/>
                    </a:lnTo>
                    <a:lnTo>
                      <a:pt x="202" y="1413"/>
                    </a:lnTo>
                    <a:lnTo>
                      <a:pt x="204" y="1415"/>
                    </a:lnTo>
                    <a:lnTo>
                      <a:pt x="204" y="1417"/>
                    </a:lnTo>
                    <a:lnTo>
                      <a:pt x="206" y="1417"/>
                    </a:lnTo>
                    <a:lnTo>
                      <a:pt x="206" y="1419"/>
                    </a:lnTo>
                    <a:lnTo>
                      <a:pt x="207" y="1419"/>
                    </a:lnTo>
                    <a:lnTo>
                      <a:pt x="207" y="1420"/>
                    </a:lnTo>
                    <a:lnTo>
                      <a:pt x="209" y="1420"/>
                    </a:lnTo>
                    <a:lnTo>
                      <a:pt x="209" y="1422"/>
                    </a:lnTo>
                    <a:lnTo>
                      <a:pt x="211" y="1422"/>
                    </a:lnTo>
                    <a:lnTo>
                      <a:pt x="211" y="1424"/>
                    </a:lnTo>
                    <a:lnTo>
                      <a:pt x="213" y="1424"/>
                    </a:lnTo>
                    <a:lnTo>
                      <a:pt x="213" y="1425"/>
                    </a:lnTo>
                    <a:lnTo>
                      <a:pt x="214" y="1425"/>
                    </a:lnTo>
                    <a:lnTo>
                      <a:pt x="216" y="1427"/>
                    </a:lnTo>
                    <a:lnTo>
                      <a:pt x="218" y="1427"/>
                    </a:lnTo>
                    <a:lnTo>
                      <a:pt x="218" y="1429"/>
                    </a:lnTo>
                    <a:lnTo>
                      <a:pt x="219" y="1429"/>
                    </a:lnTo>
                    <a:lnTo>
                      <a:pt x="221" y="1430"/>
                    </a:lnTo>
                    <a:lnTo>
                      <a:pt x="223" y="1430"/>
                    </a:lnTo>
                    <a:lnTo>
                      <a:pt x="224" y="1432"/>
                    </a:lnTo>
                    <a:lnTo>
                      <a:pt x="226" y="1434"/>
                    </a:lnTo>
                    <a:lnTo>
                      <a:pt x="228" y="1434"/>
                    </a:lnTo>
                    <a:lnTo>
                      <a:pt x="230" y="1436"/>
                    </a:lnTo>
                    <a:lnTo>
                      <a:pt x="231" y="1436"/>
                    </a:lnTo>
                    <a:lnTo>
                      <a:pt x="231" y="1437"/>
                    </a:lnTo>
                    <a:lnTo>
                      <a:pt x="233" y="1437"/>
                    </a:lnTo>
                    <a:lnTo>
                      <a:pt x="233" y="1439"/>
                    </a:lnTo>
                    <a:lnTo>
                      <a:pt x="233" y="1441"/>
                    </a:lnTo>
                    <a:lnTo>
                      <a:pt x="235" y="1441"/>
                    </a:lnTo>
                    <a:lnTo>
                      <a:pt x="235" y="1442"/>
                    </a:lnTo>
                    <a:lnTo>
                      <a:pt x="236" y="1442"/>
                    </a:lnTo>
                    <a:lnTo>
                      <a:pt x="236" y="1444"/>
                    </a:lnTo>
                    <a:lnTo>
                      <a:pt x="238" y="1444"/>
                    </a:lnTo>
                    <a:lnTo>
                      <a:pt x="238" y="1446"/>
                    </a:lnTo>
                    <a:lnTo>
                      <a:pt x="240" y="1447"/>
                    </a:lnTo>
                    <a:lnTo>
                      <a:pt x="240" y="1449"/>
                    </a:lnTo>
                    <a:lnTo>
                      <a:pt x="241" y="1449"/>
                    </a:lnTo>
                    <a:lnTo>
                      <a:pt x="243" y="1449"/>
                    </a:lnTo>
                    <a:lnTo>
                      <a:pt x="245" y="1451"/>
                    </a:lnTo>
                    <a:lnTo>
                      <a:pt x="247" y="1451"/>
                    </a:lnTo>
                    <a:lnTo>
                      <a:pt x="248" y="1453"/>
                    </a:lnTo>
                    <a:lnTo>
                      <a:pt x="250" y="1453"/>
                    </a:lnTo>
                    <a:lnTo>
                      <a:pt x="252" y="1454"/>
                    </a:lnTo>
                    <a:lnTo>
                      <a:pt x="253" y="1454"/>
                    </a:lnTo>
                    <a:lnTo>
                      <a:pt x="255" y="1454"/>
                    </a:lnTo>
                    <a:lnTo>
                      <a:pt x="257" y="1456"/>
                    </a:lnTo>
                    <a:lnTo>
                      <a:pt x="258" y="1456"/>
                    </a:lnTo>
                    <a:lnTo>
                      <a:pt x="260" y="1456"/>
                    </a:lnTo>
                    <a:lnTo>
                      <a:pt x="260" y="1458"/>
                    </a:lnTo>
                    <a:lnTo>
                      <a:pt x="262" y="1458"/>
                    </a:lnTo>
                    <a:lnTo>
                      <a:pt x="264" y="1459"/>
                    </a:lnTo>
                    <a:lnTo>
                      <a:pt x="265" y="1459"/>
                    </a:lnTo>
                    <a:lnTo>
                      <a:pt x="267" y="1459"/>
                    </a:lnTo>
                    <a:lnTo>
                      <a:pt x="269" y="1459"/>
                    </a:lnTo>
                    <a:lnTo>
                      <a:pt x="270" y="1459"/>
                    </a:lnTo>
                    <a:lnTo>
                      <a:pt x="272" y="1459"/>
                    </a:lnTo>
                    <a:lnTo>
                      <a:pt x="274" y="1459"/>
                    </a:lnTo>
                    <a:lnTo>
                      <a:pt x="275" y="1458"/>
                    </a:lnTo>
                    <a:lnTo>
                      <a:pt x="275" y="1459"/>
                    </a:lnTo>
                    <a:lnTo>
                      <a:pt x="275" y="1458"/>
                    </a:lnTo>
                    <a:lnTo>
                      <a:pt x="277" y="1458"/>
                    </a:lnTo>
                    <a:lnTo>
                      <a:pt x="279" y="1458"/>
                    </a:lnTo>
                    <a:lnTo>
                      <a:pt x="281" y="1458"/>
                    </a:lnTo>
                    <a:lnTo>
                      <a:pt x="282" y="1458"/>
                    </a:lnTo>
                    <a:lnTo>
                      <a:pt x="282" y="1459"/>
                    </a:lnTo>
                    <a:lnTo>
                      <a:pt x="282" y="1458"/>
                    </a:lnTo>
                    <a:lnTo>
                      <a:pt x="282" y="1459"/>
                    </a:lnTo>
                    <a:lnTo>
                      <a:pt x="284" y="1459"/>
                    </a:lnTo>
                    <a:lnTo>
                      <a:pt x="286" y="1459"/>
                    </a:lnTo>
                    <a:lnTo>
                      <a:pt x="284" y="1461"/>
                    </a:lnTo>
                    <a:lnTo>
                      <a:pt x="284" y="1463"/>
                    </a:lnTo>
                    <a:lnTo>
                      <a:pt x="284" y="1465"/>
                    </a:lnTo>
                    <a:lnTo>
                      <a:pt x="282" y="1465"/>
                    </a:lnTo>
                    <a:lnTo>
                      <a:pt x="284" y="1465"/>
                    </a:lnTo>
                    <a:lnTo>
                      <a:pt x="282" y="1466"/>
                    </a:lnTo>
                    <a:lnTo>
                      <a:pt x="282" y="1468"/>
                    </a:lnTo>
                    <a:lnTo>
                      <a:pt x="281" y="1468"/>
                    </a:lnTo>
                    <a:lnTo>
                      <a:pt x="282" y="1468"/>
                    </a:lnTo>
                    <a:lnTo>
                      <a:pt x="282" y="1470"/>
                    </a:lnTo>
                    <a:lnTo>
                      <a:pt x="281" y="1470"/>
                    </a:lnTo>
                    <a:lnTo>
                      <a:pt x="281" y="1471"/>
                    </a:lnTo>
                    <a:lnTo>
                      <a:pt x="279" y="1471"/>
                    </a:lnTo>
                    <a:lnTo>
                      <a:pt x="279" y="1473"/>
                    </a:lnTo>
                    <a:lnTo>
                      <a:pt x="279" y="1475"/>
                    </a:lnTo>
                    <a:lnTo>
                      <a:pt x="277" y="1476"/>
                    </a:lnTo>
                    <a:lnTo>
                      <a:pt x="275" y="1476"/>
                    </a:lnTo>
                    <a:lnTo>
                      <a:pt x="275" y="1475"/>
                    </a:lnTo>
                    <a:lnTo>
                      <a:pt x="275" y="1473"/>
                    </a:lnTo>
                    <a:lnTo>
                      <a:pt x="274" y="1473"/>
                    </a:lnTo>
                    <a:lnTo>
                      <a:pt x="274" y="1475"/>
                    </a:lnTo>
                    <a:lnTo>
                      <a:pt x="272" y="1476"/>
                    </a:lnTo>
                    <a:lnTo>
                      <a:pt x="270" y="1476"/>
                    </a:lnTo>
                    <a:lnTo>
                      <a:pt x="269" y="1476"/>
                    </a:lnTo>
                    <a:lnTo>
                      <a:pt x="269" y="1478"/>
                    </a:lnTo>
                    <a:lnTo>
                      <a:pt x="267" y="1478"/>
                    </a:lnTo>
                    <a:lnTo>
                      <a:pt x="265" y="1478"/>
                    </a:lnTo>
                    <a:lnTo>
                      <a:pt x="265" y="1476"/>
                    </a:lnTo>
                    <a:lnTo>
                      <a:pt x="265" y="1475"/>
                    </a:lnTo>
                    <a:lnTo>
                      <a:pt x="264" y="1473"/>
                    </a:lnTo>
                    <a:lnTo>
                      <a:pt x="264" y="1475"/>
                    </a:lnTo>
                    <a:lnTo>
                      <a:pt x="262" y="1475"/>
                    </a:lnTo>
                    <a:lnTo>
                      <a:pt x="262" y="1473"/>
                    </a:lnTo>
                    <a:lnTo>
                      <a:pt x="260" y="1473"/>
                    </a:lnTo>
                    <a:lnTo>
                      <a:pt x="258" y="1475"/>
                    </a:lnTo>
                    <a:lnTo>
                      <a:pt x="258" y="1473"/>
                    </a:lnTo>
                    <a:lnTo>
                      <a:pt x="257" y="1473"/>
                    </a:lnTo>
                    <a:lnTo>
                      <a:pt x="257" y="1475"/>
                    </a:lnTo>
                    <a:lnTo>
                      <a:pt x="258" y="1476"/>
                    </a:lnTo>
                    <a:lnTo>
                      <a:pt x="257" y="1478"/>
                    </a:lnTo>
                    <a:lnTo>
                      <a:pt x="255" y="1478"/>
                    </a:lnTo>
                    <a:lnTo>
                      <a:pt x="253" y="1478"/>
                    </a:lnTo>
                    <a:lnTo>
                      <a:pt x="252" y="1478"/>
                    </a:lnTo>
                    <a:lnTo>
                      <a:pt x="250" y="1478"/>
                    </a:lnTo>
                    <a:lnTo>
                      <a:pt x="250" y="1480"/>
                    </a:lnTo>
                    <a:lnTo>
                      <a:pt x="248" y="1478"/>
                    </a:lnTo>
                    <a:lnTo>
                      <a:pt x="247" y="1478"/>
                    </a:lnTo>
                    <a:lnTo>
                      <a:pt x="245" y="1478"/>
                    </a:lnTo>
                    <a:lnTo>
                      <a:pt x="245" y="1480"/>
                    </a:lnTo>
                    <a:lnTo>
                      <a:pt x="243" y="1480"/>
                    </a:lnTo>
                    <a:lnTo>
                      <a:pt x="245" y="1482"/>
                    </a:lnTo>
                    <a:lnTo>
                      <a:pt x="243" y="1482"/>
                    </a:lnTo>
                    <a:lnTo>
                      <a:pt x="241" y="1482"/>
                    </a:lnTo>
                    <a:lnTo>
                      <a:pt x="241" y="1483"/>
                    </a:lnTo>
                    <a:lnTo>
                      <a:pt x="240" y="1482"/>
                    </a:lnTo>
                    <a:lnTo>
                      <a:pt x="238" y="1483"/>
                    </a:lnTo>
                    <a:lnTo>
                      <a:pt x="238" y="1482"/>
                    </a:lnTo>
                    <a:lnTo>
                      <a:pt x="236" y="1482"/>
                    </a:lnTo>
                    <a:lnTo>
                      <a:pt x="235" y="1482"/>
                    </a:lnTo>
                    <a:lnTo>
                      <a:pt x="233" y="1480"/>
                    </a:lnTo>
                    <a:lnTo>
                      <a:pt x="231" y="1480"/>
                    </a:lnTo>
                    <a:lnTo>
                      <a:pt x="231" y="1478"/>
                    </a:lnTo>
                    <a:lnTo>
                      <a:pt x="231" y="1476"/>
                    </a:lnTo>
                    <a:lnTo>
                      <a:pt x="230" y="1476"/>
                    </a:lnTo>
                    <a:lnTo>
                      <a:pt x="228" y="1476"/>
                    </a:lnTo>
                    <a:lnTo>
                      <a:pt x="226" y="1476"/>
                    </a:lnTo>
                    <a:lnTo>
                      <a:pt x="224" y="1476"/>
                    </a:lnTo>
                    <a:lnTo>
                      <a:pt x="224" y="1475"/>
                    </a:lnTo>
                    <a:lnTo>
                      <a:pt x="223" y="1475"/>
                    </a:lnTo>
                    <a:lnTo>
                      <a:pt x="221" y="1475"/>
                    </a:lnTo>
                    <a:lnTo>
                      <a:pt x="219" y="1475"/>
                    </a:lnTo>
                    <a:lnTo>
                      <a:pt x="219" y="1473"/>
                    </a:lnTo>
                    <a:lnTo>
                      <a:pt x="218" y="1473"/>
                    </a:lnTo>
                    <a:lnTo>
                      <a:pt x="216" y="1473"/>
                    </a:lnTo>
                    <a:lnTo>
                      <a:pt x="214" y="1473"/>
                    </a:lnTo>
                    <a:lnTo>
                      <a:pt x="213" y="1473"/>
                    </a:lnTo>
                    <a:lnTo>
                      <a:pt x="213" y="1471"/>
                    </a:lnTo>
                    <a:lnTo>
                      <a:pt x="213" y="1473"/>
                    </a:lnTo>
                    <a:lnTo>
                      <a:pt x="213" y="1471"/>
                    </a:lnTo>
                    <a:lnTo>
                      <a:pt x="213" y="1473"/>
                    </a:lnTo>
                    <a:lnTo>
                      <a:pt x="211" y="1471"/>
                    </a:lnTo>
                    <a:lnTo>
                      <a:pt x="213" y="1473"/>
                    </a:lnTo>
                    <a:lnTo>
                      <a:pt x="211" y="1473"/>
                    </a:lnTo>
                    <a:lnTo>
                      <a:pt x="211" y="1471"/>
                    </a:lnTo>
                    <a:lnTo>
                      <a:pt x="209" y="1471"/>
                    </a:lnTo>
                    <a:lnTo>
                      <a:pt x="211" y="1473"/>
                    </a:lnTo>
                    <a:lnTo>
                      <a:pt x="209" y="1473"/>
                    </a:lnTo>
                    <a:lnTo>
                      <a:pt x="207" y="1473"/>
                    </a:lnTo>
                    <a:lnTo>
                      <a:pt x="207" y="1471"/>
                    </a:lnTo>
                    <a:lnTo>
                      <a:pt x="206" y="1471"/>
                    </a:lnTo>
                    <a:lnTo>
                      <a:pt x="204" y="1471"/>
                    </a:lnTo>
                    <a:lnTo>
                      <a:pt x="202" y="1471"/>
                    </a:lnTo>
                    <a:lnTo>
                      <a:pt x="202" y="1473"/>
                    </a:lnTo>
                    <a:lnTo>
                      <a:pt x="201" y="1473"/>
                    </a:lnTo>
                    <a:lnTo>
                      <a:pt x="199" y="1473"/>
                    </a:lnTo>
                    <a:lnTo>
                      <a:pt x="197" y="1473"/>
                    </a:lnTo>
                    <a:lnTo>
                      <a:pt x="196" y="1471"/>
                    </a:lnTo>
                    <a:lnTo>
                      <a:pt x="194" y="1471"/>
                    </a:lnTo>
                    <a:lnTo>
                      <a:pt x="192" y="1471"/>
                    </a:lnTo>
                    <a:lnTo>
                      <a:pt x="190" y="1471"/>
                    </a:lnTo>
                    <a:lnTo>
                      <a:pt x="189" y="1471"/>
                    </a:lnTo>
                    <a:lnTo>
                      <a:pt x="189" y="1470"/>
                    </a:lnTo>
                    <a:lnTo>
                      <a:pt x="187" y="1471"/>
                    </a:lnTo>
                    <a:lnTo>
                      <a:pt x="187" y="1470"/>
                    </a:lnTo>
                    <a:lnTo>
                      <a:pt x="185" y="1470"/>
                    </a:lnTo>
                    <a:lnTo>
                      <a:pt x="184" y="1470"/>
                    </a:lnTo>
                    <a:lnTo>
                      <a:pt x="182" y="1468"/>
                    </a:lnTo>
                    <a:lnTo>
                      <a:pt x="180" y="1468"/>
                    </a:lnTo>
                    <a:lnTo>
                      <a:pt x="179" y="1468"/>
                    </a:lnTo>
                    <a:lnTo>
                      <a:pt x="179" y="1470"/>
                    </a:lnTo>
                    <a:lnTo>
                      <a:pt x="180" y="1470"/>
                    </a:lnTo>
                    <a:lnTo>
                      <a:pt x="179" y="1470"/>
                    </a:lnTo>
                    <a:lnTo>
                      <a:pt x="177" y="1470"/>
                    </a:lnTo>
                    <a:lnTo>
                      <a:pt x="175" y="1471"/>
                    </a:lnTo>
                    <a:lnTo>
                      <a:pt x="173" y="1471"/>
                    </a:lnTo>
                    <a:lnTo>
                      <a:pt x="172" y="1470"/>
                    </a:lnTo>
                    <a:lnTo>
                      <a:pt x="172" y="1471"/>
                    </a:lnTo>
                    <a:lnTo>
                      <a:pt x="170" y="1471"/>
                    </a:lnTo>
                    <a:lnTo>
                      <a:pt x="172" y="1471"/>
                    </a:lnTo>
                    <a:lnTo>
                      <a:pt x="170" y="1473"/>
                    </a:lnTo>
                    <a:lnTo>
                      <a:pt x="168" y="1473"/>
                    </a:lnTo>
                    <a:lnTo>
                      <a:pt x="167" y="1473"/>
                    </a:lnTo>
                    <a:close/>
                    <a:moveTo>
                      <a:pt x="313" y="1465"/>
                    </a:moveTo>
                    <a:lnTo>
                      <a:pt x="315" y="1463"/>
                    </a:lnTo>
                    <a:lnTo>
                      <a:pt x="315" y="1465"/>
                    </a:lnTo>
                    <a:lnTo>
                      <a:pt x="316" y="1463"/>
                    </a:lnTo>
                    <a:lnTo>
                      <a:pt x="318" y="1465"/>
                    </a:lnTo>
                    <a:lnTo>
                      <a:pt x="318" y="1466"/>
                    </a:lnTo>
                    <a:lnTo>
                      <a:pt x="320" y="1465"/>
                    </a:lnTo>
                    <a:lnTo>
                      <a:pt x="318" y="1465"/>
                    </a:lnTo>
                    <a:lnTo>
                      <a:pt x="318" y="1463"/>
                    </a:lnTo>
                    <a:lnTo>
                      <a:pt x="320" y="1465"/>
                    </a:lnTo>
                    <a:lnTo>
                      <a:pt x="321" y="1465"/>
                    </a:lnTo>
                    <a:lnTo>
                      <a:pt x="321" y="1463"/>
                    </a:lnTo>
                    <a:lnTo>
                      <a:pt x="323" y="1465"/>
                    </a:lnTo>
                    <a:lnTo>
                      <a:pt x="321" y="1466"/>
                    </a:lnTo>
                    <a:lnTo>
                      <a:pt x="323" y="1466"/>
                    </a:lnTo>
                    <a:lnTo>
                      <a:pt x="323" y="1465"/>
                    </a:lnTo>
                    <a:lnTo>
                      <a:pt x="325" y="1465"/>
                    </a:lnTo>
                    <a:lnTo>
                      <a:pt x="326" y="1463"/>
                    </a:lnTo>
                    <a:lnTo>
                      <a:pt x="328" y="1463"/>
                    </a:lnTo>
                    <a:lnTo>
                      <a:pt x="328" y="1465"/>
                    </a:lnTo>
                    <a:lnTo>
                      <a:pt x="330" y="1463"/>
                    </a:lnTo>
                    <a:lnTo>
                      <a:pt x="330" y="1465"/>
                    </a:lnTo>
                    <a:lnTo>
                      <a:pt x="328" y="1466"/>
                    </a:lnTo>
                    <a:lnTo>
                      <a:pt x="328" y="1468"/>
                    </a:lnTo>
                    <a:lnTo>
                      <a:pt x="328" y="1466"/>
                    </a:lnTo>
                    <a:lnTo>
                      <a:pt x="326" y="1466"/>
                    </a:lnTo>
                    <a:lnTo>
                      <a:pt x="326" y="1468"/>
                    </a:lnTo>
                    <a:lnTo>
                      <a:pt x="325" y="1468"/>
                    </a:lnTo>
                    <a:lnTo>
                      <a:pt x="325" y="1466"/>
                    </a:lnTo>
                    <a:lnTo>
                      <a:pt x="323" y="1466"/>
                    </a:lnTo>
                    <a:lnTo>
                      <a:pt x="323" y="1468"/>
                    </a:lnTo>
                    <a:lnTo>
                      <a:pt x="321" y="1468"/>
                    </a:lnTo>
                    <a:lnTo>
                      <a:pt x="321" y="1466"/>
                    </a:lnTo>
                    <a:lnTo>
                      <a:pt x="321" y="1468"/>
                    </a:lnTo>
                    <a:lnTo>
                      <a:pt x="320" y="1468"/>
                    </a:lnTo>
                    <a:lnTo>
                      <a:pt x="320" y="1470"/>
                    </a:lnTo>
                    <a:lnTo>
                      <a:pt x="320" y="1468"/>
                    </a:lnTo>
                    <a:lnTo>
                      <a:pt x="318" y="1470"/>
                    </a:lnTo>
                    <a:lnTo>
                      <a:pt x="316" y="1470"/>
                    </a:lnTo>
                    <a:lnTo>
                      <a:pt x="316" y="1471"/>
                    </a:lnTo>
                    <a:lnTo>
                      <a:pt x="316" y="1470"/>
                    </a:lnTo>
                    <a:lnTo>
                      <a:pt x="316" y="1468"/>
                    </a:lnTo>
                    <a:lnTo>
                      <a:pt x="316" y="1466"/>
                    </a:lnTo>
                    <a:lnTo>
                      <a:pt x="315" y="1468"/>
                    </a:lnTo>
                    <a:lnTo>
                      <a:pt x="315" y="1466"/>
                    </a:lnTo>
                    <a:lnTo>
                      <a:pt x="313" y="1466"/>
                    </a:lnTo>
                    <a:lnTo>
                      <a:pt x="313" y="1468"/>
                    </a:lnTo>
                    <a:lnTo>
                      <a:pt x="313" y="1470"/>
                    </a:lnTo>
                    <a:lnTo>
                      <a:pt x="311" y="1470"/>
                    </a:lnTo>
                    <a:lnTo>
                      <a:pt x="309" y="1471"/>
                    </a:lnTo>
                    <a:lnTo>
                      <a:pt x="308" y="1471"/>
                    </a:lnTo>
                    <a:lnTo>
                      <a:pt x="308" y="1470"/>
                    </a:lnTo>
                    <a:lnTo>
                      <a:pt x="309" y="1470"/>
                    </a:lnTo>
                    <a:lnTo>
                      <a:pt x="308" y="1470"/>
                    </a:lnTo>
                    <a:lnTo>
                      <a:pt x="306" y="1471"/>
                    </a:lnTo>
                    <a:lnTo>
                      <a:pt x="306" y="1473"/>
                    </a:lnTo>
                    <a:lnTo>
                      <a:pt x="304" y="1473"/>
                    </a:lnTo>
                    <a:lnTo>
                      <a:pt x="303" y="1475"/>
                    </a:lnTo>
                    <a:lnTo>
                      <a:pt x="303" y="1473"/>
                    </a:lnTo>
                    <a:lnTo>
                      <a:pt x="301" y="1475"/>
                    </a:lnTo>
                    <a:lnTo>
                      <a:pt x="299" y="1475"/>
                    </a:lnTo>
                    <a:lnTo>
                      <a:pt x="299" y="1473"/>
                    </a:lnTo>
                    <a:lnTo>
                      <a:pt x="301" y="1473"/>
                    </a:lnTo>
                    <a:lnTo>
                      <a:pt x="303" y="1473"/>
                    </a:lnTo>
                    <a:lnTo>
                      <a:pt x="301" y="1471"/>
                    </a:lnTo>
                    <a:lnTo>
                      <a:pt x="301" y="1470"/>
                    </a:lnTo>
                    <a:lnTo>
                      <a:pt x="299" y="1471"/>
                    </a:lnTo>
                    <a:lnTo>
                      <a:pt x="298" y="1470"/>
                    </a:lnTo>
                    <a:lnTo>
                      <a:pt x="299" y="1470"/>
                    </a:lnTo>
                    <a:lnTo>
                      <a:pt x="299" y="1468"/>
                    </a:lnTo>
                    <a:lnTo>
                      <a:pt x="299" y="1466"/>
                    </a:lnTo>
                    <a:lnTo>
                      <a:pt x="301" y="1468"/>
                    </a:lnTo>
                    <a:lnTo>
                      <a:pt x="301" y="1466"/>
                    </a:lnTo>
                    <a:lnTo>
                      <a:pt x="303" y="1466"/>
                    </a:lnTo>
                    <a:lnTo>
                      <a:pt x="303" y="1468"/>
                    </a:lnTo>
                    <a:lnTo>
                      <a:pt x="304" y="1468"/>
                    </a:lnTo>
                    <a:lnTo>
                      <a:pt x="306" y="1468"/>
                    </a:lnTo>
                    <a:lnTo>
                      <a:pt x="306" y="1466"/>
                    </a:lnTo>
                    <a:lnTo>
                      <a:pt x="306" y="1465"/>
                    </a:lnTo>
                    <a:lnTo>
                      <a:pt x="306" y="1463"/>
                    </a:lnTo>
                    <a:lnTo>
                      <a:pt x="306" y="1465"/>
                    </a:lnTo>
                    <a:lnTo>
                      <a:pt x="308" y="1466"/>
                    </a:lnTo>
                    <a:lnTo>
                      <a:pt x="309" y="1465"/>
                    </a:lnTo>
                    <a:lnTo>
                      <a:pt x="309" y="1466"/>
                    </a:lnTo>
                    <a:lnTo>
                      <a:pt x="309" y="1465"/>
                    </a:lnTo>
                    <a:lnTo>
                      <a:pt x="311" y="1465"/>
                    </a:lnTo>
                    <a:lnTo>
                      <a:pt x="311" y="1466"/>
                    </a:lnTo>
                    <a:lnTo>
                      <a:pt x="311" y="1465"/>
                    </a:lnTo>
                    <a:lnTo>
                      <a:pt x="313" y="1463"/>
                    </a:lnTo>
                    <a:lnTo>
                      <a:pt x="313" y="1465"/>
                    </a:lnTo>
                    <a:close/>
                    <a:moveTo>
                      <a:pt x="391" y="682"/>
                    </a:moveTo>
                    <a:lnTo>
                      <a:pt x="393" y="682"/>
                    </a:lnTo>
                    <a:lnTo>
                      <a:pt x="394" y="682"/>
                    </a:lnTo>
                    <a:lnTo>
                      <a:pt x="394" y="684"/>
                    </a:lnTo>
                    <a:lnTo>
                      <a:pt x="396" y="684"/>
                    </a:lnTo>
                    <a:lnTo>
                      <a:pt x="396" y="685"/>
                    </a:lnTo>
                    <a:lnTo>
                      <a:pt x="396" y="687"/>
                    </a:lnTo>
                    <a:lnTo>
                      <a:pt x="396" y="689"/>
                    </a:lnTo>
                    <a:lnTo>
                      <a:pt x="394" y="689"/>
                    </a:lnTo>
                    <a:lnTo>
                      <a:pt x="394" y="687"/>
                    </a:lnTo>
                    <a:lnTo>
                      <a:pt x="393" y="687"/>
                    </a:lnTo>
                    <a:lnTo>
                      <a:pt x="391" y="687"/>
                    </a:lnTo>
                    <a:lnTo>
                      <a:pt x="391" y="685"/>
                    </a:lnTo>
                    <a:lnTo>
                      <a:pt x="389" y="685"/>
                    </a:lnTo>
                    <a:lnTo>
                      <a:pt x="389" y="684"/>
                    </a:lnTo>
                    <a:lnTo>
                      <a:pt x="388" y="684"/>
                    </a:lnTo>
                    <a:lnTo>
                      <a:pt x="388" y="682"/>
                    </a:lnTo>
                    <a:lnTo>
                      <a:pt x="389" y="682"/>
                    </a:lnTo>
                    <a:lnTo>
                      <a:pt x="391" y="682"/>
                    </a:lnTo>
                    <a:close/>
                    <a:moveTo>
                      <a:pt x="388" y="718"/>
                    </a:moveTo>
                    <a:lnTo>
                      <a:pt x="388" y="719"/>
                    </a:lnTo>
                    <a:lnTo>
                      <a:pt x="388" y="721"/>
                    </a:lnTo>
                    <a:lnTo>
                      <a:pt x="386" y="719"/>
                    </a:lnTo>
                    <a:lnTo>
                      <a:pt x="384" y="719"/>
                    </a:lnTo>
                    <a:lnTo>
                      <a:pt x="384" y="718"/>
                    </a:lnTo>
                    <a:lnTo>
                      <a:pt x="386" y="718"/>
                    </a:lnTo>
                    <a:lnTo>
                      <a:pt x="386" y="716"/>
                    </a:lnTo>
                    <a:lnTo>
                      <a:pt x="386" y="718"/>
                    </a:lnTo>
                    <a:lnTo>
                      <a:pt x="388" y="718"/>
                    </a:lnTo>
                    <a:close/>
                    <a:moveTo>
                      <a:pt x="386" y="742"/>
                    </a:moveTo>
                    <a:lnTo>
                      <a:pt x="386" y="743"/>
                    </a:lnTo>
                    <a:lnTo>
                      <a:pt x="386" y="745"/>
                    </a:lnTo>
                    <a:lnTo>
                      <a:pt x="386" y="747"/>
                    </a:lnTo>
                    <a:lnTo>
                      <a:pt x="384" y="745"/>
                    </a:lnTo>
                    <a:lnTo>
                      <a:pt x="383" y="745"/>
                    </a:lnTo>
                    <a:lnTo>
                      <a:pt x="384" y="743"/>
                    </a:lnTo>
                    <a:lnTo>
                      <a:pt x="384" y="742"/>
                    </a:lnTo>
                    <a:lnTo>
                      <a:pt x="386" y="742"/>
                    </a:lnTo>
                    <a:close/>
                    <a:moveTo>
                      <a:pt x="207" y="1473"/>
                    </a:moveTo>
                    <a:lnTo>
                      <a:pt x="209" y="1473"/>
                    </a:lnTo>
                    <a:lnTo>
                      <a:pt x="209" y="1475"/>
                    </a:lnTo>
                    <a:lnTo>
                      <a:pt x="207" y="1473"/>
                    </a:lnTo>
                    <a:lnTo>
                      <a:pt x="206" y="1475"/>
                    </a:lnTo>
                    <a:lnTo>
                      <a:pt x="204" y="1473"/>
                    </a:lnTo>
                    <a:lnTo>
                      <a:pt x="206" y="1471"/>
                    </a:lnTo>
                    <a:lnTo>
                      <a:pt x="206" y="1473"/>
                    </a:lnTo>
                    <a:lnTo>
                      <a:pt x="206" y="1471"/>
                    </a:lnTo>
                    <a:lnTo>
                      <a:pt x="207" y="1471"/>
                    </a:lnTo>
                    <a:lnTo>
                      <a:pt x="207" y="1473"/>
                    </a:lnTo>
                    <a:close/>
                    <a:moveTo>
                      <a:pt x="384" y="738"/>
                    </a:moveTo>
                    <a:lnTo>
                      <a:pt x="386" y="738"/>
                    </a:lnTo>
                    <a:lnTo>
                      <a:pt x="386" y="742"/>
                    </a:lnTo>
                    <a:lnTo>
                      <a:pt x="384" y="742"/>
                    </a:lnTo>
                    <a:lnTo>
                      <a:pt x="384" y="738"/>
                    </a:lnTo>
                    <a:close/>
                    <a:moveTo>
                      <a:pt x="386" y="687"/>
                    </a:moveTo>
                    <a:lnTo>
                      <a:pt x="389" y="687"/>
                    </a:lnTo>
                    <a:lnTo>
                      <a:pt x="389" y="689"/>
                    </a:lnTo>
                    <a:lnTo>
                      <a:pt x="386" y="689"/>
                    </a:lnTo>
                    <a:lnTo>
                      <a:pt x="386" y="687"/>
                    </a:lnTo>
                    <a:close/>
                    <a:moveTo>
                      <a:pt x="389" y="679"/>
                    </a:moveTo>
                    <a:lnTo>
                      <a:pt x="391" y="679"/>
                    </a:lnTo>
                    <a:lnTo>
                      <a:pt x="391" y="680"/>
                    </a:lnTo>
                    <a:lnTo>
                      <a:pt x="389" y="680"/>
                    </a:lnTo>
                    <a:lnTo>
                      <a:pt x="389" y="679"/>
                    </a:lnTo>
                    <a:close/>
                    <a:moveTo>
                      <a:pt x="381" y="672"/>
                    </a:moveTo>
                    <a:lnTo>
                      <a:pt x="383" y="672"/>
                    </a:lnTo>
                    <a:lnTo>
                      <a:pt x="383" y="675"/>
                    </a:lnTo>
                    <a:lnTo>
                      <a:pt x="381" y="675"/>
                    </a:lnTo>
                    <a:lnTo>
                      <a:pt x="381" y="672"/>
                    </a:lnTo>
                    <a:close/>
                    <a:moveTo>
                      <a:pt x="386" y="679"/>
                    </a:moveTo>
                    <a:lnTo>
                      <a:pt x="389" y="679"/>
                    </a:lnTo>
                    <a:lnTo>
                      <a:pt x="389" y="680"/>
                    </a:lnTo>
                    <a:lnTo>
                      <a:pt x="386" y="680"/>
                    </a:lnTo>
                    <a:lnTo>
                      <a:pt x="386" y="679"/>
                    </a:lnTo>
                    <a:close/>
                    <a:moveTo>
                      <a:pt x="386" y="728"/>
                    </a:moveTo>
                    <a:lnTo>
                      <a:pt x="388" y="728"/>
                    </a:lnTo>
                    <a:lnTo>
                      <a:pt x="388" y="731"/>
                    </a:lnTo>
                    <a:lnTo>
                      <a:pt x="386" y="731"/>
                    </a:lnTo>
                    <a:lnTo>
                      <a:pt x="386" y="728"/>
                    </a:lnTo>
                    <a:close/>
                    <a:moveTo>
                      <a:pt x="515" y="476"/>
                    </a:moveTo>
                    <a:lnTo>
                      <a:pt x="517" y="476"/>
                    </a:lnTo>
                    <a:lnTo>
                      <a:pt x="517" y="478"/>
                    </a:lnTo>
                    <a:lnTo>
                      <a:pt x="515" y="478"/>
                    </a:lnTo>
                    <a:lnTo>
                      <a:pt x="515" y="476"/>
                    </a:lnTo>
                    <a:close/>
                    <a:moveTo>
                      <a:pt x="386" y="677"/>
                    </a:moveTo>
                    <a:lnTo>
                      <a:pt x="388" y="677"/>
                    </a:lnTo>
                    <a:lnTo>
                      <a:pt x="388" y="679"/>
                    </a:lnTo>
                    <a:lnTo>
                      <a:pt x="386" y="679"/>
                    </a:lnTo>
                    <a:lnTo>
                      <a:pt x="386" y="677"/>
                    </a:lnTo>
                    <a:close/>
                    <a:moveTo>
                      <a:pt x="381" y="675"/>
                    </a:moveTo>
                    <a:lnTo>
                      <a:pt x="384" y="675"/>
                    </a:lnTo>
                    <a:lnTo>
                      <a:pt x="384" y="677"/>
                    </a:lnTo>
                    <a:lnTo>
                      <a:pt x="381" y="677"/>
                    </a:lnTo>
                    <a:lnTo>
                      <a:pt x="381" y="675"/>
                    </a:lnTo>
                    <a:close/>
                    <a:moveTo>
                      <a:pt x="255" y="956"/>
                    </a:moveTo>
                    <a:lnTo>
                      <a:pt x="257" y="956"/>
                    </a:lnTo>
                    <a:lnTo>
                      <a:pt x="255" y="956"/>
                    </a:lnTo>
                    <a:close/>
                    <a:moveTo>
                      <a:pt x="513" y="493"/>
                    </a:moveTo>
                    <a:lnTo>
                      <a:pt x="515" y="493"/>
                    </a:lnTo>
                    <a:lnTo>
                      <a:pt x="513" y="493"/>
                    </a:lnTo>
                    <a:close/>
                    <a:moveTo>
                      <a:pt x="318" y="1458"/>
                    </a:moveTo>
                    <a:lnTo>
                      <a:pt x="320" y="1458"/>
                    </a:lnTo>
                    <a:lnTo>
                      <a:pt x="320" y="1459"/>
                    </a:lnTo>
                    <a:lnTo>
                      <a:pt x="318" y="1459"/>
                    </a:lnTo>
                    <a:lnTo>
                      <a:pt x="318" y="1458"/>
                    </a:lnTo>
                    <a:close/>
                    <a:moveTo>
                      <a:pt x="269" y="952"/>
                    </a:moveTo>
                    <a:lnTo>
                      <a:pt x="270" y="952"/>
                    </a:lnTo>
                    <a:lnTo>
                      <a:pt x="270" y="954"/>
                    </a:lnTo>
                    <a:lnTo>
                      <a:pt x="269" y="954"/>
                    </a:lnTo>
                    <a:lnTo>
                      <a:pt x="269" y="952"/>
                    </a:lnTo>
                    <a:close/>
                    <a:moveTo>
                      <a:pt x="389" y="689"/>
                    </a:moveTo>
                    <a:lnTo>
                      <a:pt x="391" y="689"/>
                    </a:lnTo>
                    <a:lnTo>
                      <a:pt x="389" y="689"/>
                    </a:lnTo>
                    <a:close/>
                    <a:moveTo>
                      <a:pt x="383" y="718"/>
                    </a:moveTo>
                    <a:lnTo>
                      <a:pt x="384" y="718"/>
                    </a:lnTo>
                    <a:lnTo>
                      <a:pt x="384" y="719"/>
                    </a:lnTo>
                    <a:lnTo>
                      <a:pt x="383" y="719"/>
                    </a:lnTo>
                    <a:lnTo>
                      <a:pt x="383" y="718"/>
                    </a:lnTo>
                    <a:close/>
                    <a:moveTo>
                      <a:pt x="529" y="502"/>
                    </a:moveTo>
                    <a:lnTo>
                      <a:pt x="530" y="502"/>
                    </a:lnTo>
                    <a:lnTo>
                      <a:pt x="530" y="503"/>
                    </a:lnTo>
                    <a:lnTo>
                      <a:pt x="529" y="503"/>
                    </a:lnTo>
                    <a:lnTo>
                      <a:pt x="529" y="502"/>
                    </a:lnTo>
                    <a:close/>
                    <a:moveTo>
                      <a:pt x="515" y="474"/>
                    </a:moveTo>
                    <a:lnTo>
                      <a:pt x="515" y="476"/>
                    </a:lnTo>
                    <a:lnTo>
                      <a:pt x="515" y="474"/>
                    </a:lnTo>
                    <a:close/>
                    <a:moveTo>
                      <a:pt x="381" y="716"/>
                    </a:moveTo>
                    <a:lnTo>
                      <a:pt x="383" y="716"/>
                    </a:lnTo>
                    <a:lnTo>
                      <a:pt x="383" y="718"/>
                    </a:lnTo>
                    <a:lnTo>
                      <a:pt x="381" y="718"/>
                    </a:lnTo>
                    <a:lnTo>
                      <a:pt x="381" y="716"/>
                    </a:lnTo>
                    <a:close/>
                    <a:moveTo>
                      <a:pt x="383" y="674"/>
                    </a:moveTo>
                    <a:lnTo>
                      <a:pt x="384" y="674"/>
                    </a:lnTo>
                    <a:lnTo>
                      <a:pt x="384" y="675"/>
                    </a:lnTo>
                    <a:lnTo>
                      <a:pt x="383" y="675"/>
                    </a:lnTo>
                    <a:lnTo>
                      <a:pt x="383" y="674"/>
                    </a:lnTo>
                    <a:close/>
                    <a:moveTo>
                      <a:pt x="315" y="1459"/>
                    </a:moveTo>
                    <a:lnTo>
                      <a:pt x="315" y="1461"/>
                    </a:lnTo>
                    <a:lnTo>
                      <a:pt x="315" y="1459"/>
                    </a:lnTo>
                    <a:close/>
                    <a:moveTo>
                      <a:pt x="515" y="476"/>
                    </a:moveTo>
                    <a:lnTo>
                      <a:pt x="515" y="478"/>
                    </a:lnTo>
                    <a:lnTo>
                      <a:pt x="515" y="476"/>
                    </a:lnTo>
                    <a:close/>
                    <a:moveTo>
                      <a:pt x="517" y="474"/>
                    </a:moveTo>
                    <a:lnTo>
                      <a:pt x="519" y="474"/>
                    </a:lnTo>
                    <a:lnTo>
                      <a:pt x="519" y="476"/>
                    </a:lnTo>
                    <a:lnTo>
                      <a:pt x="517" y="476"/>
                    </a:lnTo>
                    <a:lnTo>
                      <a:pt x="517" y="474"/>
                    </a:lnTo>
                    <a:close/>
                    <a:moveTo>
                      <a:pt x="383" y="687"/>
                    </a:moveTo>
                    <a:lnTo>
                      <a:pt x="384" y="687"/>
                    </a:lnTo>
                    <a:lnTo>
                      <a:pt x="383" y="687"/>
                    </a:lnTo>
                    <a:close/>
                    <a:moveTo>
                      <a:pt x="257" y="956"/>
                    </a:moveTo>
                    <a:lnTo>
                      <a:pt x="258" y="956"/>
                    </a:lnTo>
                    <a:lnTo>
                      <a:pt x="258" y="958"/>
                    </a:lnTo>
                    <a:lnTo>
                      <a:pt x="257" y="958"/>
                    </a:lnTo>
                    <a:lnTo>
                      <a:pt x="257" y="956"/>
                    </a:lnTo>
                    <a:close/>
                    <a:moveTo>
                      <a:pt x="384" y="675"/>
                    </a:moveTo>
                    <a:lnTo>
                      <a:pt x="386" y="675"/>
                    </a:lnTo>
                    <a:lnTo>
                      <a:pt x="384" y="675"/>
                    </a:lnTo>
                    <a:close/>
                    <a:moveTo>
                      <a:pt x="386" y="723"/>
                    </a:moveTo>
                    <a:lnTo>
                      <a:pt x="388" y="723"/>
                    </a:lnTo>
                    <a:lnTo>
                      <a:pt x="388" y="725"/>
                    </a:lnTo>
                    <a:lnTo>
                      <a:pt x="386" y="725"/>
                    </a:lnTo>
                    <a:lnTo>
                      <a:pt x="386" y="723"/>
                    </a:lnTo>
                    <a:close/>
                    <a:moveTo>
                      <a:pt x="265" y="954"/>
                    </a:moveTo>
                    <a:lnTo>
                      <a:pt x="267" y="954"/>
                    </a:lnTo>
                    <a:lnTo>
                      <a:pt x="265" y="954"/>
                    </a:lnTo>
                    <a:close/>
                    <a:moveTo>
                      <a:pt x="381" y="721"/>
                    </a:moveTo>
                    <a:lnTo>
                      <a:pt x="383" y="721"/>
                    </a:lnTo>
                    <a:lnTo>
                      <a:pt x="381" y="721"/>
                    </a:lnTo>
                    <a:close/>
                    <a:moveTo>
                      <a:pt x="383" y="721"/>
                    </a:moveTo>
                    <a:lnTo>
                      <a:pt x="383" y="723"/>
                    </a:lnTo>
                    <a:lnTo>
                      <a:pt x="383" y="721"/>
                    </a:lnTo>
                    <a:close/>
                    <a:moveTo>
                      <a:pt x="274" y="951"/>
                    </a:moveTo>
                    <a:lnTo>
                      <a:pt x="274" y="952"/>
                    </a:lnTo>
                    <a:lnTo>
                      <a:pt x="274" y="951"/>
                    </a:lnTo>
                    <a:close/>
                    <a:moveTo>
                      <a:pt x="367" y="767"/>
                    </a:moveTo>
                    <a:lnTo>
                      <a:pt x="369" y="767"/>
                    </a:lnTo>
                    <a:lnTo>
                      <a:pt x="367" y="767"/>
                    </a:lnTo>
                    <a:close/>
                    <a:moveTo>
                      <a:pt x="517" y="474"/>
                    </a:moveTo>
                    <a:lnTo>
                      <a:pt x="519" y="474"/>
                    </a:lnTo>
                    <a:lnTo>
                      <a:pt x="517" y="474"/>
                    </a:lnTo>
                    <a:close/>
                    <a:moveTo>
                      <a:pt x="515" y="471"/>
                    </a:moveTo>
                    <a:lnTo>
                      <a:pt x="515" y="473"/>
                    </a:lnTo>
                    <a:lnTo>
                      <a:pt x="515" y="471"/>
                    </a:lnTo>
                    <a:close/>
                    <a:moveTo>
                      <a:pt x="513" y="476"/>
                    </a:moveTo>
                    <a:lnTo>
                      <a:pt x="515" y="476"/>
                    </a:lnTo>
                    <a:lnTo>
                      <a:pt x="513" y="476"/>
                    </a:lnTo>
                    <a:close/>
                    <a:moveTo>
                      <a:pt x="209" y="1473"/>
                    </a:moveTo>
                    <a:lnTo>
                      <a:pt x="209" y="1475"/>
                    </a:lnTo>
                    <a:lnTo>
                      <a:pt x="209" y="1473"/>
                    </a:lnTo>
                    <a:close/>
                    <a:moveTo>
                      <a:pt x="388" y="721"/>
                    </a:moveTo>
                    <a:lnTo>
                      <a:pt x="389" y="721"/>
                    </a:lnTo>
                    <a:lnTo>
                      <a:pt x="389" y="723"/>
                    </a:lnTo>
                    <a:lnTo>
                      <a:pt x="388" y="723"/>
                    </a:lnTo>
                    <a:lnTo>
                      <a:pt x="388" y="721"/>
                    </a:lnTo>
                    <a:close/>
                    <a:moveTo>
                      <a:pt x="384" y="677"/>
                    </a:moveTo>
                    <a:lnTo>
                      <a:pt x="386" y="677"/>
                    </a:lnTo>
                    <a:lnTo>
                      <a:pt x="384" y="677"/>
                    </a:lnTo>
                    <a:close/>
                    <a:moveTo>
                      <a:pt x="394" y="680"/>
                    </a:moveTo>
                    <a:lnTo>
                      <a:pt x="394" y="682"/>
                    </a:lnTo>
                    <a:lnTo>
                      <a:pt x="394" y="680"/>
                    </a:lnTo>
                    <a:close/>
                    <a:moveTo>
                      <a:pt x="512" y="464"/>
                    </a:moveTo>
                    <a:lnTo>
                      <a:pt x="512" y="466"/>
                    </a:lnTo>
                    <a:lnTo>
                      <a:pt x="512" y="46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2" name="Freeform 12">
                <a:extLst>
                  <a:ext uri="{FF2B5EF4-FFF2-40B4-BE49-F238E27FC236}">
                    <a16:creationId xmlns:a16="http://schemas.microsoft.com/office/drawing/2014/main" id="{D0CA2042-1D74-2124-C35A-4E189A90A6EC}"/>
                  </a:ext>
                </a:extLst>
              </p:cNvPr>
              <p:cNvSpPr>
                <a:spLocks noEditPoints="1"/>
              </p:cNvSpPr>
              <p:nvPr/>
            </p:nvSpPr>
            <p:spPr bwMode="auto">
              <a:xfrm>
                <a:off x="5683575" y="2820535"/>
                <a:ext cx="2056" cy="2056"/>
              </a:xfrm>
              <a:custGeom>
                <a:avLst/>
                <a:gdLst>
                  <a:gd name="T0" fmla="*/ 0 w 7"/>
                  <a:gd name="T1" fmla="*/ 0 h 7"/>
                  <a:gd name="T2" fmla="*/ 2 w 7"/>
                  <a:gd name="T3" fmla="*/ 0 h 7"/>
                  <a:gd name="T4" fmla="*/ 2 w 7"/>
                  <a:gd name="T5" fmla="*/ 2 h 7"/>
                  <a:gd name="T6" fmla="*/ 3 w 7"/>
                  <a:gd name="T7" fmla="*/ 2 h 7"/>
                  <a:gd name="T8" fmla="*/ 3 w 7"/>
                  <a:gd name="T9" fmla="*/ 3 h 7"/>
                  <a:gd name="T10" fmla="*/ 5 w 7"/>
                  <a:gd name="T11" fmla="*/ 3 h 7"/>
                  <a:gd name="T12" fmla="*/ 5 w 7"/>
                  <a:gd name="T13" fmla="*/ 5 h 7"/>
                  <a:gd name="T14" fmla="*/ 7 w 7"/>
                  <a:gd name="T15" fmla="*/ 5 h 7"/>
                  <a:gd name="T16" fmla="*/ 7 w 7"/>
                  <a:gd name="T17" fmla="*/ 7 h 7"/>
                  <a:gd name="T18" fmla="*/ 5 w 7"/>
                  <a:gd name="T19" fmla="*/ 7 h 7"/>
                  <a:gd name="T20" fmla="*/ 3 w 7"/>
                  <a:gd name="T21" fmla="*/ 7 h 7"/>
                  <a:gd name="T22" fmla="*/ 3 w 7"/>
                  <a:gd name="T23" fmla="*/ 5 h 7"/>
                  <a:gd name="T24" fmla="*/ 2 w 7"/>
                  <a:gd name="T25" fmla="*/ 5 h 7"/>
                  <a:gd name="T26" fmla="*/ 2 w 7"/>
                  <a:gd name="T27" fmla="*/ 3 h 7"/>
                  <a:gd name="T28" fmla="*/ 0 w 7"/>
                  <a:gd name="T29" fmla="*/ 3 h 7"/>
                  <a:gd name="T30" fmla="*/ 0 w 7"/>
                  <a:gd name="T31" fmla="*/ 2 h 7"/>
                  <a:gd name="T32" fmla="*/ 0 w 7"/>
                  <a:gd name="T33" fmla="*/ 0 h 7"/>
                  <a:gd name="T34" fmla="*/ 2 w 7"/>
                  <a:gd name="T35" fmla="*/ 5 h 7"/>
                  <a:gd name="T36" fmla="*/ 3 w 7"/>
                  <a:gd name="T37" fmla="*/ 5 h 7"/>
                  <a:gd name="T38" fmla="*/ 2 w 7"/>
                  <a:gd name="T3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 h="7">
                    <a:moveTo>
                      <a:pt x="0" y="0"/>
                    </a:moveTo>
                    <a:lnTo>
                      <a:pt x="2" y="0"/>
                    </a:lnTo>
                    <a:lnTo>
                      <a:pt x="2" y="2"/>
                    </a:lnTo>
                    <a:lnTo>
                      <a:pt x="3" y="2"/>
                    </a:lnTo>
                    <a:lnTo>
                      <a:pt x="3" y="3"/>
                    </a:lnTo>
                    <a:lnTo>
                      <a:pt x="5" y="3"/>
                    </a:lnTo>
                    <a:lnTo>
                      <a:pt x="5" y="5"/>
                    </a:lnTo>
                    <a:lnTo>
                      <a:pt x="7" y="5"/>
                    </a:lnTo>
                    <a:lnTo>
                      <a:pt x="7" y="7"/>
                    </a:lnTo>
                    <a:lnTo>
                      <a:pt x="5" y="7"/>
                    </a:lnTo>
                    <a:lnTo>
                      <a:pt x="3" y="7"/>
                    </a:lnTo>
                    <a:lnTo>
                      <a:pt x="3" y="5"/>
                    </a:lnTo>
                    <a:lnTo>
                      <a:pt x="2" y="5"/>
                    </a:lnTo>
                    <a:lnTo>
                      <a:pt x="2" y="3"/>
                    </a:lnTo>
                    <a:lnTo>
                      <a:pt x="0" y="3"/>
                    </a:lnTo>
                    <a:lnTo>
                      <a:pt x="0" y="2"/>
                    </a:lnTo>
                    <a:lnTo>
                      <a:pt x="0" y="0"/>
                    </a:lnTo>
                    <a:close/>
                    <a:moveTo>
                      <a:pt x="2" y="5"/>
                    </a:moveTo>
                    <a:lnTo>
                      <a:pt x="3" y="5"/>
                    </a:lnTo>
                    <a:lnTo>
                      <a:pt x="2" y="5"/>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4" name="Freeform 14">
                <a:extLst>
                  <a:ext uri="{FF2B5EF4-FFF2-40B4-BE49-F238E27FC236}">
                    <a16:creationId xmlns:a16="http://schemas.microsoft.com/office/drawing/2014/main" id="{EE4B53D8-7570-EF59-47F0-6E1A39F2832D}"/>
                  </a:ext>
                </a:extLst>
              </p:cNvPr>
              <p:cNvSpPr>
                <a:spLocks/>
              </p:cNvSpPr>
              <p:nvPr/>
            </p:nvSpPr>
            <p:spPr bwMode="auto">
              <a:xfrm>
                <a:off x="5786963" y="2813485"/>
                <a:ext cx="2056" cy="2644"/>
              </a:xfrm>
              <a:custGeom>
                <a:avLst/>
                <a:gdLst>
                  <a:gd name="T0" fmla="*/ 2 w 7"/>
                  <a:gd name="T1" fmla="*/ 0 h 9"/>
                  <a:gd name="T2" fmla="*/ 2 w 7"/>
                  <a:gd name="T3" fmla="*/ 2 h 9"/>
                  <a:gd name="T4" fmla="*/ 3 w 7"/>
                  <a:gd name="T5" fmla="*/ 2 h 9"/>
                  <a:gd name="T6" fmla="*/ 3 w 7"/>
                  <a:gd name="T7" fmla="*/ 4 h 9"/>
                  <a:gd name="T8" fmla="*/ 5 w 7"/>
                  <a:gd name="T9" fmla="*/ 4 h 9"/>
                  <a:gd name="T10" fmla="*/ 5 w 7"/>
                  <a:gd name="T11" fmla="*/ 5 h 9"/>
                  <a:gd name="T12" fmla="*/ 7 w 7"/>
                  <a:gd name="T13" fmla="*/ 5 h 9"/>
                  <a:gd name="T14" fmla="*/ 7 w 7"/>
                  <a:gd name="T15" fmla="*/ 7 h 9"/>
                  <a:gd name="T16" fmla="*/ 7 w 7"/>
                  <a:gd name="T17" fmla="*/ 9 h 9"/>
                  <a:gd name="T18" fmla="*/ 5 w 7"/>
                  <a:gd name="T19" fmla="*/ 9 h 9"/>
                  <a:gd name="T20" fmla="*/ 3 w 7"/>
                  <a:gd name="T21" fmla="*/ 9 h 9"/>
                  <a:gd name="T22" fmla="*/ 2 w 7"/>
                  <a:gd name="T23" fmla="*/ 9 h 9"/>
                  <a:gd name="T24" fmla="*/ 0 w 7"/>
                  <a:gd name="T25" fmla="*/ 7 h 9"/>
                  <a:gd name="T26" fmla="*/ 0 w 7"/>
                  <a:gd name="T27" fmla="*/ 5 h 9"/>
                  <a:gd name="T28" fmla="*/ 0 w 7"/>
                  <a:gd name="T29" fmla="*/ 4 h 9"/>
                  <a:gd name="T30" fmla="*/ 0 w 7"/>
                  <a:gd name="T31" fmla="*/ 2 h 9"/>
                  <a:gd name="T32" fmla="*/ 0 w 7"/>
                  <a:gd name="T33" fmla="*/ 0 h 9"/>
                  <a:gd name="T34" fmla="*/ 2 w 7"/>
                  <a:gd name="T3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9">
                    <a:moveTo>
                      <a:pt x="2" y="0"/>
                    </a:moveTo>
                    <a:lnTo>
                      <a:pt x="2" y="2"/>
                    </a:lnTo>
                    <a:lnTo>
                      <a:pt x="3" y="2"/>
                    </a:lnTo>
                    <a:lnTo>
                      <a:pt x="3" y="4"/>
                    </a:lnTo>
                    <a:lnTo>
                      <a:pt x="5" y="4"/>
                    </a:lnTo>
                    <a:lnTo>
                      <a:pt x="5" y="5"/>
                    </a:lnTo>
                    <a:lnTo>
                      <a:pt x="7" y="5"/>
                    </a:lnTo>
                    <a:lnTo>
                      <a:pt x="7" y="7"/>
                    </a:lnTo>
                    <a:lnTo>
                      <a:pt x="7" y="9"/>
                    </a:lnTo>
                    <a:lnTo>
                      <a:pt x="5" y="9"/>
                    </a:lnTo>
                    <a:lnTo>
                      <a:pt x="3" y="9"/>
                    </a:lnTo>
                    <a:lnTo>
                      <a:pt x="2" y="9"/>
                    </a:lnTo>
                    <a:lnTo>
                      <a:pt x="0" y="7"/>
                    </a:lnTo>
                    <a:lnTo>
                      <a:pt x="0" y="5"/>
                    </a:lnTo>
                    <a:lnTo>
                      <a:pt x="0" y="4"/>
                    </a:lnTo>
                    <a:lnTo>
                      <a:pt x="0" y="2"/>
                    </a:lnTo>
                    <a:lnTo>
                      <a:pt x="0" y="0"/>
                    </a:lnTo>
                    <a:lnTo>
                      <a:pt x="2"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 name="Freeform 16">
                <a:extLst>
                  <a:ext uri="{FF2B5EF4-FFF2-40B4-BE49-F238E27FC236}">
                    <a16:creationId xmlns:a16="http://schemas.microsoft.com/office/drawing/2014/main" id="{57A9C2A5-739D-4E9A-26A2-CF3307E8F913}"/>
                  </a:ext>
                </a:extLst>
              </p:cNvPr>
              <p:cNvSpPr>
                <a:spLocks/>
              </p:cNvSpPr>
              <p:nvPr/>
            </p:nvSpPr>
            <p:spPr bwMode="auto">
              <a:xfrm>
                <a:off x="5687688" y="3043466"/>
                <a:ext cx="120719" cy="136874"/>
              </a:xfrm>
              <a:custGeom>
                <a:avLst/>
                <a:gdLst>
                  <a:gd name="T0" fmla="*/ 306 w 411"/>
                  <a:gd name="T1" fmla="*/ 342 h 466"/>
                  <a:gd name="T2" fmla="*/ 231 w 411"/>
                  <a:gd name="T3" fmla="*/ 435 h 466"/>
                  <a:gd name="T4" fmla="*/ 188 w 411"/>
                  <a:gd name="T5" fmla="*/ 444 h 466"/>
                  <a:gd name="T6" fmla="*/ 182 w 411"/>
                  <a:gd name="T7" fmla="*/ 464 h 466"/>
                  <a:gd name="T8" fmla="*/ 175 w 411"/>
                  <a:gd name="T9" fmla="*/ 450 h 466"/>
                  <a:gd name="T10" fmla="*/ 156 w 411"/>
                  <a:gd name="T11" fmla="*/ 435 h 466"/>
                  <a:gd name="T12" fmla="*/ 125 w 411"/>
                  <a:gd name="T13" fmla="*/ 430 h 466"/>
                  <a:gd name="T14" fmla="*/ 112 w 411"/>
                  <a:gd name="T15" fmla="*/ 437 h 466"/>
                  <a:gd name="T16" fmla="*/ 85 w 411"/>
                  <a:gd name="T17" fmla="*/ 459 h 466"/>
                  <a:gd name="T18" fmla="*/ 59 w 411"/>
                  <a:gd name="T19" fmla="*/ 452 h 466"/>
                  <a:gd name="T20" fmla="*/ 54 w 411"/>
                  <a:gd name="T21" fmla="*/ 427 h 466"/>
                  <a:gd name="T22" fmla="*/ 42 w 411"/>
                  <a:gd name="T23" fmla="*/ 394 h 466"/>
                  <a:gd name="T24" fmla="*/ 32 w 411"/>
                  <a:gd name="T25" fmla="*/ 379 h 466"/>
                  <a:gd name="T26" fmla="*/ 37 w 411"/>
                  <a:gd name="T27" fmla="*/ 362 h 466"/>
                  <a:gd name="T28" fmla="*/ 37 w 411"/>
                  <a:gd name="T29" fmla="*/ 347 h 466"/>
                  <a:gd name="T30" fmla="*/ 29 w 411"/>
                  <a:gd name="T31" fmla="*/ 328 h 466"/>
                  <a:gd name="T32" fmla="*/ 22 w 411"/>
                  <a:gd name="T33" fmla="*/ 308 h 466"/>
                  <a:gd name="T34" fmla="*/ 18 w 411"/>
                  <a:gd name="T35" fmla="*/ 290 h 466"/>
                  <a:gd name="T36" fmla="*/ 6 w 411"/>
                  <a:gd name="T37" fmla="*/ 267 h 466"/>
                  <a:gd name="T38" fmla="*/ 10 w 411"/>
                  <a:gd name="T39" fmla="*/ 253 h 466"/>
                  <a:gd name="T40" fmla="*/ 22 w 411"/>
                  <a:gd name="T41" fmla="*/ 234 h 466"/>
                  <a:gd name="T42" fmla="*/ 12 w 411"/>
                  <a:gd name="T43" fmla="*/ 200 h 466"/>
                  <a:gd name="T44" fmla="*/ 13 w 411"/>
                  <a:gd name="T45" fmla="*/ 188 h 466"/>
                  <a:gd name="T46" fmla="*/ 15 w 411"/>
                  <a:gd name="T47" fmla="*/ 168 h 466"/>
                  <a:gd name="T48" fmla="*/ 27 w 411"/>
                  <a:gd name="T49" fmla="*/ 154 h 466"/>
                  <a:gd name="T50" fmla="*/ 23 w 411"/>
                  <a:gd name="T51" fmla="*/ 136 h 466"/>
                  <a:gd name="T52" fmla="*/ 27 w 411"/>
                  <a:gd name="T53" fmla="*/ 114 h 466"/>
                  <a:gd name="T54" fmla="*/ 32 w 411"/>
                  <a:gd name="T55" fmla="*/ 100 h 466"/>
                  <a:gd name="T56" fmla="*/ 18 w 411"/>
                  <a:gd name="T57" fmla="*/ 68 h 466"/>
                  <a:gd name="T58" fmla="*/ 6 w 411"/>
                  <a:gd name="T59" fmla="*/ 42 h 466"/>
                  <a:gd name="T60" fmla="*/ 23 w 411"/>
                  <a:gd name="T61" fmla="*/ 44 h 466"/>
                  <a:gd name="T62" fmla="*/ 39 w 411"/>
                  <a:gd name="T63" fmla="*/ 46 h 466"/>
                  <a:gd name="T64" fmla="*/ 54 w 411"/>
                  <a:gd name="T65" fmla="*/ 34 h 466"/>
                  <a:gd name="T66" fmla="*/ 71 w 411"/>
                  <a:gd name="T67" fmla="*/ 27 h 466"/>
                  <a:gd name="T68" fmla="*/ 86 w 411"/>
                  <a:gd name="T69" fmla="*/ 20 h 466"/>
                  <a:gd name="T70" fmla="*/ 103 w 411"/>
                  <a:gd name="T71" fmla="*/ 6 h 466"/>
                  <a:gd name="T72" fmla="*/ 120 w 411"/>
                  <a:gd name="T73" fmla="*/ 3 h 466"/>
                  <a:gd name="T74" fmla="*/ 132 w 411"/>
                  <a:gd name="T75" fmla="*/ 3 h 466"/>
                  <a:gd name="T76" fmla="*/ 141 w 411"/>
                  <a:gd name="T77" fmla="*/ 3 h 466"/>
                  <a:gd name="T78" fmla="*/ 148 w 411"/>
                  <a:gd name="T79" fmla="*/ 13 h 466"/>
                  <a:gd name="T80" fmla="*/ 146 w 411"/>
                  <a:gd name="T81" fmla="*/ 34 h 466"/>
                  <a:gd name="T82" fmla="*/ 146 w 411"/>
                  <a:gd name="T83" fmla="*/ 54 h 466"/>
                  <a:gd name="T84" fmla="*/ 154 w 411"/>
                  <a:gd name="T85" fmla="*/ 69 h 466"/>
                  <a:gd name="T86" fmla="*/ 166 w 411"/>
                  <a:gd name="T87" fmla="*/ 85 h 466"/>
                  <a:gd name="T88" fmla="*/ 175 w 411"/>
                  <a:gd name="T89" fmla="*/ 93 h 466"/>
                  <a:gd name="T90" fmla="*/ 193 w 411"/>
                  <a:gd name="T91" fmla="*/ 97 h 466"/>
                  <a:gd name="T92" fmla="*/ 212 w 411"/>
                  <a:gd name="T93" fmla="*/ 102 h 466"/>
                  <a:gd name="T94" fmla="*/ 226 w 411"/>
                  <a:gd name="T95" fmla="*/ 108 h 466"/>
                  <a:gd name="T96" fmla="*/ 241 w 411"/>
                  <a:gd name="T97" fmla="*/ 117 h 466"/>
                  <a:gd name="T98" fmla="*/ 255 w 411"/>
                  <a:gd name="T99" fmla="*/ 119 h 466"/>
                  <a:gd name="T100" fmla="*/ 268 w 411"/>
                  <a:gd name="T101" fmla="*/ 132 h 466"/>
                  <a:gd name="T102" fmla="*/ 285 w 411"/>
                  <a:gd name="T103" fmla="*/ 132 h 466"/>
                  <a:gd name="T104" fmla="*/ 301 w 411"/>
                  <a:gd name="T105" fmla="*/ 137 h 466"/>
                  <a:gd name="T106" fmla="*/ 309 w 411"/>
                  <a:gd name="T107" fmla="*/ 144 h 466"/>
                  <a:gd name="T108" fmla="*/ 312 w 411"/>
                  <a:gd name="T109" fmla="*/ 165 h 466"/>
                  <a:gd name="T110" fmla="*/ 306 w 411"/>
                  <a:gd name="T111" fmla="*/ 187 h 466"/>
                  <a:gd name="T112" fmla="*/ 343 w 411"/>
                  <a:gd name="T113" fmla="*/ 228 h 466"/>
                  <a:gd name="T114" fmla="*/ 380 w 411"/>
                  <a:gd name="T115" fmla="*/ 233 h 466"/>
                  <a:gd name="T116" fmla="*/ 379 w 411"/>
                  <a:gd name="T117" fmla="*/ 256 h 466"/>
                  <a:gd name="T118" fmla="*/ 396 w 411"/>
                  <a:gd name="T119" fmla="*/ 272 h 466"/>
                  <a:gd name="T120" fmla="*/ 408 w 411"/>
                  <a:gd name="T121" fmla="*/ 294 h 466"/>
                  <a:gd name="T122" fmla="*/ 403 w 411"/>
                  <a:gd name="T123" fmla="*/ 325 h 466"/>
                  <a:gd name="T124" fmla="*/ 392 w 411"/>
                  <a:gd name="T125" fmla="*/ 36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1" h="466">
                    <a:moveTo>
                      <a:pt x="387" y="367"/>
                    </a:moveTo>
                    <a:lnTo>
                      <a:pt x="387" y="365"/>
                    </a:lnTo>
                    <a:lnTo>
                      <a:pt x="389" y="365"/>
                    </a:lnTo>
                    <a:lnTo>
                      <a:pt x="389" y="364"/>
                    </a:lnTo>
                    <a:lnTo>
                      <a:pt x="387" y="364"/>
                    </a:lnTo>
                    <a:lnTo>
                      <a:pt x="387" y="362"/>
                    </a:lnTo>
                    <a:lnTo>
                      <a:pt x="387" y="360"/>
                    </a:lnTo>
                    <a:lnTo>
                      <a:pt x="387" y="359"/>
                    </a:lnTo>
                    <a:lnTo>
                      <a:pt x="386" y="359"/>
                    </a:lnTo>
                    <a:lnTo>
                      <a:pt x="387" y="359"/>
                    </a:lnTo>
                    <a:lnTo>
                      <a:pt x="387" y="357"/>
                    </a:lnTo>
                    <a:lnTo>
                      <a:pt x="386" y="357"/>
                    </a:lnTo>
                    <a:lnTo>
                      <a:pt x="387" y="355"/>
                    </a:lnTo>
                    <a:lnTo>
                      <a:pt x="379" y="348"/>
                    </a:lnTo>
                    <a:lnTo>
                      <a:pt x="375" y="347"/>
                    </a:lnTo>
                    <a:lnTo>
                      <a:pt x="358" y="335"/>
                    </a:lnTo>
                    <a:lnTo>
                      <a:pt x="326" y="335"/>
                    </a:lnTo>
                    <a:lnTo>
                      <a:pt x="306" y="342"/>
                    </a:lnTo>
                    <a:lnTo>
                      <a:pt x="268" y="348"/>
                    </a:lnTo>
                    <a:lnTo>
                      <a:pt x="267" y="348"/>
                    </a:lnTo>
                    <a:lnTo>
                      <a:pt x="261" y="362"/>
                    </a:lnTo>
                    <a:lnTo>
                      <a:pt x="261" y="364"/>
                    </a:lnTo>
                    <a:lnTo>
                      <a:pt x="251" y="377"/>
                    </a:lnTo>
                    <a:lnTo>
                      <a:pt x="250" y="381"/>
                    </a:lnTo>
                    <a:lnTo>
                      <a:pt x="250" y="396"/>
                    </a:lnTo>
                    <a:lnTo>
                      <a:pt x="250" y="399"/>
                    </a:lnTo>
                    <a:lnTo>
                      <a:pt x="243" y="421"/>
                    </a:lnTo>
                    <a:lnTo>
                      <a:pt x="239" y="430"/>
                    </a:lnTo>
                    <a:lnTo>
                      <a:pt x="236" y="442"/>
                    </a:lnTo>
                    <a:lnTo>
                      <a:pt x="236" y="440"/>
                    </a:lnTo>
                    <a:lnTo>
                      <a:pt x="234" y="440"/>
                    </a:lnTo>
                    <a:lnTo>
                      <a:pt x="234" y="438"/>
                    </a:lnTo>
                    <a:lnTo>
                      <a:pt x="233" y="438"/>
                    </a:lnTo>
                    <a:lnTo>
                      <a:pt x="231" y="438"/>
                    </a:lnTo>
                    <a:lnTo>
                      <a:pt x="231" y="437"/>
                    </a:lnTo>
                    <a:lnTo>
                      <a:pt x="231" y="435"/>
                    </a:lnTo>
                    <a:lnTo>
                      <a:pt x="231" y="433"/>
                    </a:lnTo>
                    <a:lnTo>
                      <a:pt x="221" y="433"/>
                    </a:lnTo>
                    <a:lnTo>
                      <a:pt x="202" y="433"/>
                    </a:lnTo>
                    <a:lnTo>
                      <a:pt x="202" y="435"/>
                    </a:lnTo>
                    <a:lnTo>
                      <a:pt x="202" y="433"/>
                    </a:lnTo>
                    <a:lnTo>
                      <a:pt x="200" y="433"/>
                    </a:lnTo>
                    <a:lnTo>
                      <a:pt x="199" y="433"/>
                    </a:lnTo>
                    <a:lnTo>
                      <a:pt x="193" y="433"/>
                    </a:lnTo>
                    <a:lnTo>
                      <a:pt x="192" y="433"/>
                    </a:lnTo>
                    <a:lnTo>
                      <a:pt x="192" y="435"/>
                    </a:lnTo>
                    <a:lnTo>
                      <a:pt x="192" y="437"/>
                    </a:lnTo>
                    <a:lnTo>
                      <a:pt x="190" y="437"/>
                    </a:lnTo>
                    <a:lnTo>
                      <a:pt x="192" y="437"/>
                    </a:lnTo>
                    <a:lnTo>
                      <a:pt x="190" y="438"/>
                    </a:lnTo>
                    <a:lnTo>
                      <a:pt x="190" y="440"/>
                    </a:lnTo>
                    <a:lnTo>
                      <a:pt x="190" y="442"/>
                    </a:lnTo>
                    <a:lnTo>
                      <a:pt x="188" y="442"/>
                    </a:lnTo>
                    <a:lnTo>
                      <a:pt x="188" y="444"/>
                    </a:lnTo>
                    <a:lnTo>
                      <a:pt x="187" y="445"/>
                    </a:lnTo>
                    <a:lnTo>
                      <a:pt x="187" y="447"/>
                    </a:lnTo>
                    <a:lnTo>
                      <a:pt x="187" y="449"/>
                    </a:lnTo>
                    <a:lnTo>
                      <a:pt x="185" y="449"/>
                    </a:lnTo>
                    <a:lnTo>
                      <a:pt x="185" y="450"/>
                    </a:lnTo>
                    <a:lnTo>
                      <a:pt x="183" y="450"/>
                    </a:lnTo>
                    <a:lnTo>
                      <a:pt x="183" y="452"/>
                    </a:lnTo>
                    <a:lnTo>
                      <a:pt x="183" y="454"/>
                    </a:lnTo>
                    <a:lnTo>
                      <a:pt x="182" y="454"/>
                    </a:lnTo>
                    <a:lnTo>
                      <a:pt x="183" y="454"/>
                    </a:lnTo>
                    <a:lnTo>
                      <a:pt x="183" y="456"/>
                    </a:lnTo>
                    <a:lnTo>
                      <a:pt x="182" y="456"/>
                    </a:lnTo>
                    <a:lnTo>
                      <a:pt x="182" y="457"/>
                    </a:lnTo>
                    <a:lnTo>
                      <a:pt x="182" y="459"/>
                    </a:lnTo>
                    <a:lnTo>
                      <a:pt x="182" y="461"/>
                    </a:lnTo>
                    <a:lnTo>
                      <a:pt x="182" y="462"/>
                    </a:lnTo>
                    <a:lnTo>
                      <a:pt x="180" y="464"/>
                    </a:lnTo>
                    <a:lnTo>
                      <a:pt x="182" y="464"/>
                    </a:lnTo>
                    <a:lnTo>
                      <a:pt x="180" y="464"/>
                    </a:lnTo>
                    <a:lnTo>
                      <a:pt x="180" y="466"/>
                    </a:lnTo>
                    <a:lnTo>
                      <a:pt x="180" y="464"/>
                    </a:lnTo>
                    <a:lnTo>
                      <a:pt x="180" y="462"/>
                    </a:lnTo>
                    <a:lnTo>
                      <a:pt x="178" y="462"/>
                    </a:lnTo>
                    <a:lnTo>
                      <a:pt x="180" y="462"/>
                    </a:lnTo>
                    <a:lnTo>
                      <a:pt x="180" y="461"/>
                    </a:lnTo>
                    <a:lnTo>
                      <a:pt x="178" y="459"/>
                    </a:lnTo>
                    <a:lnTo>
                      <a:pt x="176" y="459"/>
                    </a:lnTo>
                    <a:lnTo>
                      <a:pt x="178" y="459"/>
                    </a:lnTo>
                    <a:lnTo>
                      <a:pt x="178" y="457"/>
                    </a:lnTo>
                    <a:lnTo>
                      <a:pt x="176" y="457"/>
                    </a:lnTo>
                    <a:lnTo>
                      <a:pt x="176" y="456"/>
                    </a:lnTo>
                    <a:lnTo>
                      <a:pt x="176" y="454"/>
                    </a:lnTo>
                    <a:lnTo>
                      <a:pt x="176" y="452"/>
                    </a:lnTo>
                    <a:lnTo>
                      <a:pt x="175" y="452"/>
                    </a:lnTo>
                    <a:lnTo>
                      <a:pt x="176" y="450"/>
                    </a:lnTo>
                    <a:lnTo>
                      <a:pt x="175" y="450"/>
                    </a:lnTo>
                    <a:lnTo>
                      <a:pt x="175" y="449"/>
                    </a:lnTo>
                    <a:lnTo>
                      <a:pt x="173" y="449"/>
                    </a:lnTo>
                    <a:lnTo>
                      <a:pt x="173" y="447"/>
                    </a:lnTo>
                    <a:lnTo>
                      <a:pt x="171" y="447"/>
                    </a:lnTo>
                    <a:lnTo>
                      <a:pt x="171" y="445"/>
                    </a:lnTo>
                    <a:lnTo>
                      <a:pt x="173" y="444"/>
                    </a:lnTo>
                    <a:lnTo>
                      <a:pt x="173" y="442"/>
                    </a:lnTo>
                    <a:lnTo>
                      <a:pt x="171" y="442"/>
                    </a:lnTo>
                    <a:lnTo>
                      <a:pt x="170" y="440"/>
                    </a:lnTo>
                    <a:lnTo>
                      <a:pt x="168" y="440"/>
                    </a:lnTo>
                    <a:lnTo>
                      <a:pt x="166" y="440"/>
                    </a:lnTo>
                    <a:lnTo>
                      <a:pt x="165" y="438"/>
                    </a:lnTo>
                    <a:lnTo>
                      <a:pt x="163" y="438"/>
                    </a:lnTo>
                    <a:lnTo>
                      <a:pt x="161" y="437"/>
                    </a:lnTo>
                    <a:lnTo>
                      <a:pt x="159" y="437"/>
                    </a:lnTo>
                    <a:lnTo>
                      <a:pt x="158" y="437"/>
                    </a:lnTo>
                    <a:lnTo>
                      <a:pt x="158" y="435"/>
                    </a:lnTo>
                    <a:lnTo>
                      <a:pt x="156" y="435"/>
                    </a:lnTo>
                    <a:lnTo>
                      <a:pt x="154" y="435"/>
                    </a:lnTo>
                    <a:lnTo>
                      <a:pt x="151" y="435"/>
                    </a:lnTo>
                    <a:lnTo>
                      <a:pt x="148" y="437"/>
                    </a:lnTo>
                    <a:lnTo>
                      <a:pt x="148" y="435"/>
                    </a:lnTo>
                    <a:lnTo>
                      <a:pt x="148" y="437"/>
                    </a:lnTo>
                    <a:lnTo>
                      <a:pt x="144" y="437"/>
                    </a:lnTo>
                    <a:lnTo>
                      <a:pt x="142" y="437"/>
                    </a:lnTo>
                    <a:lnTo>
                      <a:pt x="141" y="437"/>
                    </a:lnTo>
                    <a:lnTo>
                      <a:pt x="137" y="435"/>
                    </a:lnTo>
                    <a:lnTo>
                      <a:pt x="137" y="437"/>
                    </a:lnTo>
                    <a:lnTo>
                      <a:pt x="136" y="437"/>
                    </a:lnTo>
                    <a:lnTo>
                      <a:pt x="134" y="437"/>
                    </a:lnTo>
                    <a:lnTo>
                      <a:pt x="132" y="437"/>
                    </a:lnTo>
                    <a:lnTo>
                      <a:pt x="131" y="437"/>
                    </a:lnTo>
                    <a:lnTo>
                      <a:pt x="131" y="435"/>
                    </a:lnTo>
                    <a:lnTo>
                      <a:pt x="129" y="435"/>
                    </a:lnTo>
                    <a:lnTo>
                      <a:pt x="127" y="433"/>
                    </a:lnTo>
                    <a:lnTo>
                      <a:pt x="125" y="430"/>
                    </a:lnTo>
                    <a:lnTo>
                      <a:pt x="124" y="430"/>
                    </a:lnTo>
                    <a:lnTo>
                      <a:pt x="122" y="430"/>
                    </a:lnTo>
                    <a:lnTo>
                      <a:pt x="122" y="428"/>
                    </a:lnTo>
                    <a:lnTo>
                      <a:pt x="120" y="427"/>
                    </a:lnTo>
                    <a:lnTo>
                      <a:pt x="119" y="427"/>
                    </a:lnTo>
                    <a:lnTo>
                      <a:pt x="117" y="425"/>
                    </a:lnTo>
                    <a:lnTo>
                      <a:pt x="115" y="425"/>
                    </a:lnTo>
                    <a:lnTo>
                      <a:pt x="115" y="427"/>
                    </a:lnTo>
                    <a:lnTo>
                      <a:pt x="115" y="428"/>
                    </a:lnTo>
                    <a:lnTo>
                      <a:pt x="115" y="430"/>
                    </a:lnTo>
                    <a:lnTo>
                      <a:pt x="114" y="430"/>
                    </a:lnTo>
                    <a:lnTo>
                      <a:pt x="115" y="430"/>
                    </a:lnTo>
                    <a:lnTo>
                      <a:pt x="114" y="430"/>
                    </a:lnTo>
                    <a:lnTo>
                      <a:pt x="114" y="432"/>
                    </a:lnTo>
                    <a:lnTo>
                      <a:pt x="114" y="433"/>
                    </a:lnTo>
                    <a:lnTo>
                      <a:pt x="114" y="435"/>
                    </a:lnTo>
                    <a:lnTo>
                      <a:pt x="114" y="437"/>
                    </a:lnTo>
                    <a:lnTo>
                      <a:pt x="112" y="437"/>
                    </a:lnTo>
                    <a:lnTo>
                      <a:pt x="108" y="438"/>
                    </a:lnTo>
                    <a:lnTo>
                      <a:pt x="102" y="440"/>
                    </a:lnTo>
                    <a:lnTo>
                      <a:pt x="100" y="440"/>
                    </a:lnTo>
                    <a:lnTo>
                      <a:pt x="98" y="442"/>
                    </a:lnTo>
                    <a:lnTo>
                      <a:pt x="98" y="444"/>
                    </a:lnTo>
                    <a:lnTo>
                      <a:pt x="98" y="445"/>
                    </a:lnTo>
                    <a:lnTo>
                      <a:pt x="97" y="445"/>
                    </a:lnTo>
                    <a:lnTo>
                      <a:pt x="97" y="447"/>
                    </a:lnTo>
                    <a:lnTo>
                      <a:pt x="97" y="449"/>
                    </a:lnTo>
                    <a:lnTo>
                      <a:pt x="93" y="450"/>
                    </a:lnTo>
                    <a:lnTo>
                      <a:pt x="91" y="450"/>
                    </a:lnTo>
                    <a:lnTo>
                      <a:pt x="90" y="452"/>
                    </a:lnTo>
                    <a:lnTo>
                      <a:pt x="88" y="452"/>
                    </a:lnTo>
                    <a:lnTo>
                      <a:pt x="88" y="454"/>
                    </a:lnTo>
                    <a:lnTo>
                      <a:pt x="88" y="456"/>
                    </a:lnTo>
                    <a:lnTo>
                      <a:pt x="90" y="456"/>
                    </a:lnTo>
                    <a:lnTo>
                      <a:pt x="90" y="457"/>
                    </a:lnTo>
                    <a:lnTo>
                      <a:pt x="85" y="459"/>
                    </a:lnTo>
                    <a:lnTo>
                      <a:pt x="83" y="462"/>
                    </a:lnTo>
                    <a:lnTo>
                      <a:pt x="73" y="466"/>
                    </a:lnTo>
                    <a:lnTo>
                      <a:pt x="71" y="466"/>
                    </a:lnTo>
                    <a:lnTo>
                      <a:pt x="63" y="464"/>
                    </a:lnTo>
                    <a:lnTo>
                      <a:pt x="61" y="464"/>
                    </a:lnTo>
                    <a:lnTo>
                      <a:pt x="59" y="464"/>
                    </a:lnTo>
                    <a:lnTo>
                      <a:pt x="59" y="462"/>
                    </a:lnTo>
                    <a:lnTo>
                      <a:pt x="61" y="461"/>
                    </a:lnTo>
                    <a:lnTo>
                      <a:pt x="59" y="461"/>
                    </a:lnTo>
                    <a:lnTo>
                      <a:pt x="61" y="461"/>
                    </a:lnTo>
                    <a:lnTo>
                      <a:pt x="59" y="459"/>
                    </a:lnTo>
                    <a:lnTo>
                      <a:pt x="61" y="457"/>
                    </a:lnTo>
                    <a:lnTo>
                      <a:pt x="59" y="457"/>
                    </a:lnTo>
                    <a:lnTo>
                      <a:pt x="59" y="456"/>
                    </a:lnTo>
                    <a:lnTo>
                      <a:pt x="61" y="456"/>
                    </a:lnTo>
                    <a:lnTo>
                      <a:pt x="61" y="454"/>
                    </a:lnTo>
                    <a:lnTo>
                      <a:pt x="61" y="452"/>
                    </a:lnTo>
                    <a:lnTo>
                      <a:pt x="59" y="452"/>
                    </a:lnTo>
                    <a:lnTo>
                      <a:pt x="59" y="450"/>
                    </a:lnTo>
                    <a:lnTo>
                      <a:pt x="59" y="449"/>
                    </a:lnTo>
                    <a:lnTo>
                      <a:pt x="59" y="447"/>
                    </a:lnTo>
                    <a:lnTo>
                      <a:pt x="57" y="447"/>
                    </a:lnTo>
                    <a:lnTo>
                      <a:pt x="57" y="445"/>
                    </a:lnTo>
                    <a:lnTo>
                      <a:pt x="57" y="444"/>
                    </a:lnTo>
                    <a:lnTo>
                      <a:pt x="59" y="442"/>
                    </a:lnTo>
                    <a:lnTo>
                      <a:pt x="57" y="442"/>
                    </a:lnTo>
                    <a:lnTo>
                      <a:pt x="59" y="440"/>
                    </a:lnTo>
                    <a:lnTo>
                      <a:pt x="57" y="440"/>
                    </a:lnTo>
                    <a:lnTo>
                      <a:pt x="57" y="438"/>
                    </a:lnTo>
                    <a:lnTo>
                      <a:pt x="57" y="437"/>
                    </a:lnTo>
                    <a:lnTo>
                      <a:pt x="57" y="435"/>
                    </a:lnTo>
                    <a:lnTo>
                      <a:pt x="56" y="435"/>
                    </a:lnTo>
                    <a:lnTo>
                      <a:pt x="56" y="433"/>
                    </a:lnTo>
                    <a:lnTo>
                      <a:pt x="54" y="433"/>
                    </a:lnTo>
                    <a:lnTo>
                      <a:pt x="54" y="432"/>
                    </a:lnTo>
                    <a:lnTo>
                      <a:pt x="54" y="427"/>
                    </a:lnTo>
                    <a:lnTo>
                      <a:pt x="54" y="425"/>
                    </a:lnTo>
                    <a:lnTo>
                      <a:pt x="52" y="423"/>
                    </a:lnTo>
                    <a:lnTo>
                      <a:pt x="52" y="421"/>
                    </a:lnTo>
                    <a:lnTo>
                      <a:pt x="51" y="420"/>
                    </a:lnTo>
                    <a:lnTo>
                      <a:pt x="49" y="418"/>
                    </a:lnTo>
                    <a:lnTo>
                      <a:pt x="49" y="416"/>
                    </a:lnTo>
                    <a:lnTo>
                      <a:pt x="49" y="415"/>
                    </a:lnTo>
                    <a:lnTo>
                      <a:pt x="49" y="413"/>
                    </a:lnTo>
                    <a:lnTo>
                      <a:pt x="49" y="410"/>
                    </a:lnTo>
                    <a:lnTo>
                      <a:pt x="49" y="408"/>
                    </a:lnTo>
                    <a:lnTo>
                      <a:pt x="49" y="406"/>
                    </a:lnTo>
                    <a:lnTo>
                      <a:pt x="46" y="401"/>
                    </a:lnTo>
                    <a:lnTo>
                      <a:pt x="46" y="399"/>
                    </a:lnTo>
                    <a:lnTo>
                      <a:pt x="46" y="398"/>
                    </a:lnTo>
                    <a:lnTo>
                      <a:pt x="44" y="398"/>
                    </a:lnTo>
                    <a:lnTo>
                      <a:pt x="44" y="396"/>
                    </a:lnTo>
                    <a:lnTo>
                      <a:pt x="42" y="396"/>
                    </a:lnTo>
                    <a:lnTo>
                      <a:pt x="42" y="394"/>
                    </a:lnTo>
                    <a:lnTo>
                      <a:pt x="40" y="394"/>
                    </a:lnTo>
                    <a:lnTo>
                      <a:pt x="39" y="394"/>
                    </a:lnTo>
                    <a:lnTo>
                      <a:pt x="37" y="393"/>
                    </a:lnTo>
                    <a:lnTo>
                      <a:pt x="37" y="391"/>
                    </a:lnTo>
                    <a:lnTo>
                      <a:pt x="37" y="389"/>
                    </a:lnTo>
                    <a:lnTo>
                      <a:pt x="37" y="387"/>
                    </a:lnTo>
                    <a:lnTo>
                      <a:pt x="37" y="386"/>
                    </a:lnTo>
                    <a:lnTo>
                      <a:pt x="39" y="386"/>
                    </a:lnTo>
                    <a:lnTo>
                      <a:pt x="39" y="384"/>
                    </a:lnTo>
                    <a:lnTo>
                      <a:pt x="40" y="384"/>
                    </a:lnTo>
                    <a:lnTo>
                      <a:pt x="40" y="382"/>
                    </a:lnTo>
                    <a:lnTo>
                      <a:pt x="39" y="382"/>
                    </a:lnTo>
                    <a:lnTo>
                      <a:pt x="39" y="381"/>
                    </a:lnTo>
                    <a:lnTo>
                      <a:pt x="37" y="381"/>
                    </a:lnTo>
                    <a:lnTo>
                      <a:pt x="35" y="381"/>
                    </a:lnTo>
                    <a:lnTo>
                      <a:pt x="35" y="379"/>
                    </a:lnTo>
                    <a:lnTo>
                      <a:pt x="34" y="379"/>
                    </a:lnTo>
                    <a:lnTo>
                      <a:pt x="32" y="379"/>
                    </a:lnTo>
                    <a:lnTo>
                      <a:pt x="32" y="377"/>
                    </a:lnTo>
                    <a:lnTo>
                      <a:pt x="30" y="377"/>
                    </a:lnTo>
                    <a:lnTo>
                      <a:pt x="30" y="376"/>
                    </a:lnTo>
                    <a:lnTo>
                      <a:pt x="30" y="374"/>
                    </a:lnTo>
                    <a:lnTo>
                      <a:pt x="32" y="374"/>
                    </a:lnTo>
                    <a:lnTo>
                      <a:pt x="34" y="374"/>
                    </a:lnTo>
                    <a:lnTo>
                      <a:pt x="34" y="372"/>
                    </a:lnTo>
                    <a:lnTo>
                      <a:pt x="34" y="370"/>
                    </a:lnTo>
                    <a:lnTo>
                      <a:pt x="32" y="370"/>
                    </a:lnTo>
                    <a:lnTo>
                      <a:pt x="32" y="369"/>
                    </a:lnTo>
                    <a:lnTo>
                      <a:pt x="32" y="367"/>
                    </a:lnTo>
                    <a:lnTo>
                      <a:pt x="32" y="365"/>
                    </a:lnTo>
                    <a:lnTo>
                      <a:pt x="30" y="365"/>
                    </a:lnTo>
                    <a:lnTo>
                      <a:pt x="30" y="364"/>
                    </a:lnTo>
                    <a:lnTo>
                      <a:pt x="32" y="364"/>
                    </a:lnTo>
                    <a:lnTo>
                      <a:pt x="34" y="362"/>
                    </a:lnTo>
                    <a:lnTo>
                      <a:pt x="35" y="362"/>
                    </a:lnTo>
                    <a:lnTo>
                      <a:pt x="37" y="362"/>
                    </a:lnTo>
                    <a:lnTo>
                      <a:pt x="37" y="360"/>
                    </a:lnTo>
                    <a:lnTo>
                      <a:pt x="37" y="359"/>
                    </a:lnTo>
                    <a:lnTo>
                      <a:pt x="39" y="359"/>
                    </a:lnTo>
                    <a:lnTo>
                      <a:pt x="39" y="357"/>
                    </a:lnTo>
                    <a:lnTo>
                      <a:pt x="37" y="357"/>
                    </a:lnTo>
                    <a:lnTo>
                      <a:pt x="37" y="355"/>
                    </a:lnTo>
                    <a:lnTo>
                      <a:pt x="39" y="355"/>
                    </a:lnTo>
                    <a:lnTo>
                      <a:pt x="37" y="355"/>
                    </a:lnTo>
                    <a:lnTo>
                      <a:pt x="35" y="355"/>
                    </a:lnTo>
                    <a:lnTo>
                      <a:pt x="35" y="353"/>
                    </a:lnTo>
                    <a:lnTo>
                      <a:pt x="34" y="352"/>
                    </a:lnTo>
                    <a:lnTo>
                      <a:pt x="32" y="352"/>
                    </a:lnTo>
                    <a:lnTo>
                      <a:pt x="32" y="350"/>
                    </a:lnTo>
                    <a:lnTo>
                      <a:pt x="34" y="350"/>
                    </a:lnTo>
                    <a:lnTo>
                      <a:pt x="35" y="350"/>
                    </a:lnTo>
                    <a:lnTo>
                      <a:pt x="35" y="348"/>
                    </a:lnTo>
                    <a:lnTo>
                      <a:pt x="35" y="347"/>
                    </a:lnTo>
                    <a:lnTo>
                      <a:pt x="37" y="347"/>
                    </a:lnTo>
                    <a:lnTo>
                      <a:pt x="37" y="345"/>
                    </a:lnTo>
                    <a:lnTo>
                      <a:pt x="39" y="345"/>
                    </a:lnTo>
                    <a:lnTo>
                      <a:pt x="39" y="343"/>
                    </a:lnTo>
                    <a:lnTo>
                      <a:pt x="40" y="342"/>
                    </a:lnTo>
                    <a:lnTo>
                      <a:pt x="40" y="340"/>
                    </a:lnTo>
                    <a:lnTo>
                      <a:pt x="40" y="338"/>
                    </a:lnTo>
                    <a:lnTo>
                      <a:pt x="39" y="338"/>
                    </a:lnTo>
                    <a:lnTo>
                      <a:pt x="39" y="336"/>
                    </a:lnTo>
                    <a:lnTo>
                      <a:pt x="37" y="335"/>
                    </a:lnTo>
                    <a:lnTo>
                      <a:pt x="35" y="335"/>
                    </a:lnTo>
                    <a:lnTo>
                      <a:pt x="35" y="333"/>
                    </a:lnTo>
                    <a:lnTo>
                      <a:pt x="34" y="333"/>
                    </a:lnTo>
                    <a:lnTo>
                      <a:pt x="34" y="331"/>
                    </a:lnTo>
                    <a:lnTo>
                      <a:pt x="32" y="331"/>
                    </a:lnTo>
                    <a:lnTo>
                      <a:pt x="32" y="330"/>
                    </a:lnTo>
                    <a:lnTo>
                      <a:pt x="30" y="330"/>
                    </a:lnTo>
                    <a:lnTo>
                      <a:pt x="30" y="328"/>
                    </a:lnTo>
                    <a:lnTo>
                      <a:pt x="29" y="328"/>
                    </a:lnTo>
                    <a:lnTo>
                      <a:pt x="27" y="326"/>
                    </a:lnTo>
                    <a:lnTo>
                      <a:pt x="25" y="326"/>
                    </a:lnTo>
                    <a:lnTo>
                      <a:pt x="25" y="325"/>
                    </a:lnTo>
                    <a:lnTo>
                      <a:pt x="25" y="323"/>
                    </a:lnTo>
                    <a:lnTo>
                      <a:pt x="23" y="323"/>
                    </a:lnTo>
                    <a:lnTo>
                      <a:pt x="23" y="321"/>
                    </a:lnTo>
                    <a:lnTo>
                      <a:pt x="25" y="321"/>
                    </a:lnTo>
                    <a:lnTo>
                      <a:pt x="25" y="319"/>
                    </a:lnTo>
                    <a:lnTo>
                      <a:pt x="23" y="318"/>
                    </a:lnTo>
                    <a:lnTo>
                      <a:pt x="23" y="316"/>
                    </a:lnTo>
                    <a:lnTo>
                      <a:pt x="23" y="314"/>
                    </a:lnTo>
                    <a:lnTo>
                      <a:pt x="22" y="314"/>
                    </a:lnTo>
                    <a:lnTo>
                      <a:pt x="22" y="313"/>
                    </a:lnTo>
                    <a:lnTo>
                      <a:pt x="22" y="311"/>
                    </a:lnTo>
                    <a:lnTo>
                      <a:pt x="20" y="311"/>
                    </a:lnTo>
                    <a:lnTo>
                      <a:pt x="22" y="311"/>
                    </a:lnTo>
                    <a:lnTo>
                      <a:pt x="22" y="309"/>
                    </a:lnTo>
                    <a:lnTo>
                      <a:pt x="22" y="308"/>
                    </a:lnTo>
                    <a:lnTo>
                      <a:pt x="22" y="306"/>
                    </a:lnTo>
                    <a:lnTo>
                      <a:pt x="22" y="304"/>
                    </a:lnTo>
                    <a:lnTo>
                      <a:pt x="20" y="304"/>
                    </a:lnTo>
                    <a:lnTo>
                      <a:pt x="20" y="302"/>
                    </a:lnTo>
                    <a:lnTo>
                      <a:pt x="20" y="301"/>
                    </a:lnTo>
                    <a:lnTo>
                      <a:pt x="20" y="299"/>
                    </a:lnTo>
                    <a:lnTo>
                      <a:pt x="20" y="297"/>
                    </a:lnTo>
                    <a:lnTo>
                      <a:pt x="18" y="297"/>
                    </a:lnTo>
                    <a:lnTo>
                      <a:pt x="18" y="296"/>
                    </a:lnTo>
                    <a:lnTo>
                      <a:pt x="17" y="296"/>
                    </a:lnTo>
                    <a:lnTo>
                      <a:pt x="17" y="294"/>
                    </a:lnTo>
                    <a:lnTo>
                      <a:pt x="18" y="294"/>
                    </a:lnTo>
                    <a:lnTo>
                      <a:pt x="18" y="292"/>
                    </a:lnTo>
                    <a:lnTo>
                      <a:pt x="20" y="292"/>
                    </a:lnTo>
                    <a:lnTo>
                      <a:pt x="18" y="292"/>
                    </a:lnTo>
                    <a:lnTo>
                      <a:pt x="20" y="292"/>
                    </a:lnTo>
                    <a:lnTo>
                      <a:pt x="20" y="290"/>
                    </a:lnTo>
                    <a:lnTo>
                      <a:pt x="18" y="290"/>
                    </a:lnTo>
                    <a:lnTo>
                      <a:pt x="18" y="289"/>
                    </a:lnTo>
                    <a:lnTo>
                      <a:pt x="17" y="289"/>
                    </a:lnTo>
                    <a:lnTo>
                      <a:pt x="15" y="289"/>
                    </a:lnTo>
                    <a:lnTo>
                      <a:pt x="13" y="289"/>
                    </a:lnTo>
                    <a:lnTo>
                      <a:pt x="13" y="287"/>
                    </a:lnTo>
                    <a:lnTo>
                      <a:pt x="12" y="287"/>
                    </a:lnTo>
                    <a:lnTo>
                      <a:pt x="12" y="285"/>
                    </a:lnTo>
                    <a:lnTo>
                      <a:pt x="12" y="284"/>
                    </a:lnTo>
                    <a:lnTo>
                      <a:pt x="12" y="282"/>
                    </a:lnTo>
                    <a:lnTo>
                      <a:pt x="12" y="280"/>
                    </a:lnTo>
                    <a:lnTo>
                      <a:pt x="10" y="280"/>
                    </a:lnTo>
                    <a:lnTo>
                      <a:pt x="10" y="279"/>
                    </a:lnTo>
                    <a:lnTo>
                      <a:pt x="8" y="277"/>
                    </a:lnTo>
                    <a:lnTo>
                      <a:pt x="6" y="275"/>
                    </a:lnTo>
                    <a:lnTo>
                      <a:pt x="6" y="272"/>
                    </a:lnTo>
                    <a:lnTo>
                      <a:pt x="6" y="270"/>
                    </a:lnTo>
                    <a:lnTo>
                      <a:pt x="6" y="268"/>
                    </a:lnTo>
                    <a:lnTo>
                      <a:pt x="6" y="267"/>
                    </a:lnTo>
                    <a:lnTo>
                      <a:pt x="5" y="267"/>
                    </a:lnTo>
                    <a:lnTo>
                      <a:pt x="3" y="263"/>
                    </a:lnTo>
                    <a:lnTo>
                      <a:pt x="1" y="263"/>
                    </a:lnTo>
                    <a:lnTo>
                      <a:pt x="0" y="263"/>
                    </a:lnTo>
                    <a:lnTo>
                      <a:pt x="1" y="263"/>
                    </a:lnTo>
                    <a:lnTo>
                      <a:pt x="1" y="262"/>
                    </a:lnTo>
                    <a:lnTo>
                      <a:pt x="3" y="262"/>
                    </a:lnTo>
                    <a:lnTo>
                      <a:pt x="3" y="260"/>
                    </a:lnTo>
                    <a:lnTo>
                      <a:pt x="5" y="260"/>
                    </a:lnTo>
                    <a:lnTo>
                      <a:pt x="5" y="258"/>
                    </a:lnTo>
                    <a:lnTo>
                      <a:pt x="6" y="256"/>
                    </a:lnTo>
                    <a:lnTo>
                      <a:pt x="6" y="258"/>
                    </a:lnTo>
                    <a:lnTo>
                      <a:pt x="8" y="258"/>
                    </a:lnTo>
                    <a:lnTo>
                      <a:pt x="8" y="256"/>
                    </a:lnTo>
                    <a:lnTo>
                      <a:pt x="10" y="256"/>
                    </a:lnTo>
                    <a:lnTo>
                      <a:pt x="10" y="255"/>
                    </a:lnTo>
                    <a:lnTo>
                      <a:pt x="8" y="255"/>
                    </a:lnTo>
                    <a:lnTo>
                      <a:pt x="10" y="253"/>
                    </a:lnTo>
                    <a:lnTo>
                      <a:pt x="12" y="253"/>
                    </a:lnTo>
                    <a:lnTo>
                      <a:pt x="12" y="251"/>
                    </a:lnTo>
                    <a:lnTo>
                      <a:pt x="12" y="250"/>
                    </a:lnTo>
                    <a:lnTo>
                      <a:pt x="13" y="250"/>
                    </a:lnTo>
                    <a:lnTo>
                      <a:pt x="13" y="248"/>
                    </a:lnTo>
                    <a:lnTo>
                      <a:pt x="15" y="248"/>
                    </a:lnTo>
                    <a:lnTo>
                      <a:pt x="15" y="246"/>
                    </a:lnTo>
                    <a:lnTo>
                      <a:pt x="17" y="246"/>
                    </a:lnTo>
                    <a:lnTo>
                      <a:pt x="17" y="245"/>
                    </a:lnTo>
                    <a:lnTo>
                      <a:pt x="18" y="243"/>
                    </a:lnTo>
                    <a:lnTo>
                      <a:pt x="20" y="243"/>
                    </a:lnTo>
                    <a:lnTo>
                      <a:pt x="22" y="243"/>
                    </a:lnTo>
                    <a:lnTo>
                      <a:pt x="22" y="241"/>
                    </a:lnTo>
                    <a:lnTo>
                      <a:pt x="22" y="239"/>
                    </a:lnTo>
                    <a:lnTo>
                      <a:pt x="20" y="239"/>
                    </a:lnTo>
                    <a:lnTo>
                      <a:pt x="20" y="238"/>
                    </a:lnTo>
                    <a:lnTo>
                      <a:pt x="22" y="236"/>
                    </a:lnTo>
                    <a:lnTo>
                      <a:pt x="22" y="234"/>
                    </a:lnTo>
                    <a:lnTo>
                      <a:pt x="23" y="234"/>
                    </a:lnTo>
                    <a:lnTo>
                      <a:pt x="29" y="231"/>
                    </a:lnTo>
                    <a:lnTo>
                      <a:pt x="29" y="229"/>
                    </a:lnTo>
                    <a:lnTo>
                      <a:pt x="27" y="228"/>
                    </a:lnTo>
                    <a:lnTo>
                      <a:pt x="25" y="228"/>
                    </a:lnTo>
                    <a:lnTo>
                      <a:pt x="23" y="226"/>
                    </a:lnTo>
                    <a:lnTo>
                      <a:pt x="22" y="226"/>
                    </a:lnTo>
                    <a:lnTo>
                      <a:pt x="20" y="226"/>
                    </a:lnTo>
                    <a:lnTo>
                      <a:pt x="18" y="226"/>
                    </a:lnTo>
                    <a:lnTo>
                      <a:pt x="15" y="224"/>
                    </a:lnTo>
                    <a:lnTo>
                      <a:pt x="13" y="224"/>
                    </a:lnTo>
                    <a:lnTo>
                      <a:pt x="12" y="219"/>
                    </a:lnTo>
                    <a:lnTo>
                      <a:pt x="12" y="214"/>
                    </a:lnTo>
                    <a:lnTo>
                      <a:pt x="10" y="211"/>
                    </a:lnTo>
                    <a:lnTo>
                      <a:pt x="10" y="209"/>
                    </a:lnTo>
                    <a:lnTo>
                      <a:pt x="8" y="205"/>
                    </a:lnTo>
                    <a:lnTo>
                      <a:pt x="12" y="202"/>
                    </a:lnTo>
                    <a:lnTo>
                      <a:pt x="12" y="200"/>
                    </a:lnTo>
                    <a:lnTo>
                      <a:pt x="12" y="199"/>
                    </a:lnTo>
                    <a:lnTo>
                      <a:pt x="13" y="200"/>
                    </a:lnTo>
                    <a:lnTo>
                      <a:pt x="13" y="199"/>
                    </a:lnTo>
                    <a:lnTo>
                      <a:pt x="15" y="199"/>
                    </a:lnTo>
                    <a:lnTo>
                      <a:pt x="13" y="199"/>
                    </a:lnTo>
                    <a:lnTo>
                      <a:pt x="13" y="197"/>
                    </a:lnTo>
                    <a:lnTo>
                      <a:pt x="15" y="195"/>
                    </a:lnTo>
                    <a:lnTo>
                      <a:pt x="15" y="194"/>
                    </a:lnTo>
                    <a:lnTo>
                      <a:pt x="17" y="194"/>
                    </a:lnTo>
                    <a:lnTo>
                      <a:pt x="17" y="192"/>
                    </a:lnTo>
                    <a:lnTo>
                      <a:pt x="17" y="194"/>
                    </a:lnTo>
                    <a:lnTo>
                      <a:pt x="17" y="192"/>
                    </a:lnTo>
                    <a:lnTo>
                      <a:pt x="18" y="192"/>
                    </a:lnTo>
                    <a:lnTo>
                      <a:pt x="17" y="192"/>
                    </a:lnTo>
                    <a:lnTo>
                      <a:pt x="17" y="190"/>
                    </a:lnTo>
                    <a:lnTo>
                      <a:pt x="15" y="188"/>
                    </a:lnTo>
                    <a:lnTo>
                      <a:pt x="13" y="187"/>
                    </a:lnTo>
                    <a:lnTo>
                      <a:pt x="13" y="188"/>
                    </a:lnTo>
                    <a:lnTo>
                      <a:pt x="13" y="187"/>
                    </a:lnTo>
                    <a:lnTo>
                      <a:pt x="12" y="187"/>
                    </a:lnTo>
                    <a:lnTo>
                      <a:pt x="12" y="185"/>
                    </a:lnTo>
                    <a:lnTo>
                      <a:pt x="12" y="183"/>
                    </a:lnTo>
                    <a:lnTo>
                      <a:pt x="10" y="183"/>
                    </a:lnTo>
                    <a:lnTo>
                      <a:pt x="10" y="182"/>
                    </a:lnTo>
                    <a:lnTo>
                      <a:pt x="10" y="180"/>
                    </a:lnTo>
                    <a:lnTo>
                      <a:pt x="10" y="178"/>
                    </a:lnTo>
                    <a:lnTo>
                      <a:pt x="10" y="177"/>
                    </a:lnTo>
                    <a:lnTo>
                      <a:pt x="12" y="177"/>
                    </a:lnTo>
                    <a:lnTo>
                      <a:pt x="12" y="175"/>
                    </a:lnTo>
                    <a:lnTo>
                      <a:pt x="13" y="175"/>
                    </a:lnTo>
                    <a:lnTo>
                      <a:pt x="15" y="175"/>
                    </a:lnTo>
                    <a:lnTo>
                      <a:pt x="13" y="173"/>
                    </a:lnTo>
                    <a:lnTo>
                      <a:pt x="13" y="171"/>
                    </a:lnTo>
                    <a:lnTo>
                      <a:pt x="15" y="171"/>
                    </a:lnTo>
                    <a:lnTo>
                      <a:pt x="15" y="170"/>
                    </a:lnTo>
                    <a:lnTo>
                      <a:pt x="15" y="168"/>
                    </a:lnTo>
                    <a:lnTo>
                      <a:pt x="17" y="170"/>
                    </a:lnTo>
                    <a:lnTo>
                      <a:pt x="17" y="168"/>
                    </a:lnTo>
                    <a:lnTo>
                      <a:pt x="17" y="166"/>
                    </a:lnTo>
                    <a:lnTo>
                      <a:pt x="18" y="166"/>
                    </a:lnTo>
                    <a:lnTo>
                      <a:pt x="18" y="165"/>
                    </a:lnTo>
                    <a:lnTo>
                      <a:pt x="20" y="165"/>
                    </a:lnTo>
                    <a:lnTo>
                      <a:pt x="20" y="163"/>
                    </a:lnTo>
                    <a:lnTo>
                      <a:pt x="22" y="163"/>
                    </a:lnTo>
                    <a:lnTo>
                      <a:pt x="22" y="161"/>
                    </a:lnTo>
                    <a:lnTo>
                      <a:pt x="22" y="160"/>
                    </a:lnTo>
                    <a:lnTo>
                      <a:pt x="22" y="158"/>
                    </a:lnTo>
                    <a:lnTo>
                      <a:pt x="22" y="156"/>
                    </a:lnTo>
                    <a:lnTo>
                      <a:pt x="23" y="156"/>
                    </a:lnTo>
                    <a:lnTo>
                      <a:pt x="25" y="156"/>
                    </a:lnTo>
                    <a:lnTo>
                      <a:pt x="27" y="156"/>
                    </a:lnTo>
                    <a:lnTo>
                      <a:pt x="29" y="156"/>
                    </a:lnTo>
                    <a:lnTo>
                      <a:pt x="27" y="156"/>
                    </a:lnTo>
                    <a:lnTo>
                      <a:pt x="27" y="154"/>
                    </a:lnTo>
                    <a:lnTo>
                      <a:pt x="27" y="153"/>
                    </a:lnTo>
                    <a:lnTo>
                      <a:pt x="27" y="151"/>
                    </a:lnTo>
                    <a:lnTo>
                      <a:pt x="25" y="151"/>
                    </a:lnTo>
                    <a:lnTo>
                      <a:pt x="25" y="149"/>
                    </a:lnTo>
                    <a:lnTo>
                      <a:pt x="23" y="149"/>
                    </a:lnTo>
                    <a:lnTo>
                      <a:pt x="23" y="148"/>
                    </a:lnTo>
                    <a:lnTo>
                      <a:pt x="23" y="146"/>
                    </a:lnTo>
                    <a:lnTo>
                      <a:pt x="22" y="146"/>
                    </a:lnTo>
                    <a:lnTo>
                      <a:pt x="23" y="144"/>
                    </a:lnTo>
                    <a:lnTo>
                      <a:pt x="22" y="144"/>
                    </a:lnTo>
                    <a:lnTo>
                      <a:pt x="22" y="143"/>
                    </a:lnTo>
                    <a:lnTo>
                      <a:pt x="22" y="141"/>
                    </a:lnTo>
                    <a:lnTo>
                      <a:pt x="22" y="139"/>
                    </a:lnTo>
                    <a:lnTo>
                      <a:pt x="20" y="139"/>
                    </a:lnTo>
                    <a:lnTo>
                      <a:pt x="20" y="137"/>
                    </a:lnTo>
                    <a:lnTo>
                      <a:pt x="20" y="136"/>
                    </a:lnTo>
                    <a:lnTo>
                      <a:pt x="22" y="136"/>
                    </a:lnTo>
                    <a:lnTo>
                      <a:pt x="23" y="136"/>
                    </a:lnTo>
                    <a:lnTo>
                      <a:pt x="23" y="134"/>
                    </a:lnTo>
                    <a:lnTo>
                      <a:pt x="23" y="132"/>
                    </a:lnTo>
                    <a:lnTo>
                      <a:pt x="25" y="132"/>
                    </a:lnTo>
                    <a:lnTo>
                      <a:pt x="25" y="131"/>
                    </a:lnTo>
                    <a:lnTo>
                      <a:pt x="25" y="129"/>
                    </a:lnTo>
                    <a:lnTo>
                      <a:pt x="25" y="127"/>
                    </a:lnTo>
                    <a:lnTo>
                      <a:pt x="27" y="125"/>
                    </a:lnTo>
                    <a:lnTo>
                      <a:pt x="25" y="125"/>
                    </a:lnTo>
                    <a:lnTo>
                      <a:pt x="27" y="125"/>
                    </a:lnTo>
                    <a:lnTo>
                      <a:pt x="27" y="124"/>
                    </a:lnTo>
                    <a:lnTo>
                      <a:pt x="27" y="122"/>
                    </a:lnTo>
                    <a:lnTo>
                      <a:pt x="27" y="120"/>
                    </a:lnTo>
                    <a:lnTo>
                      <a:pt x="27" y="119"/>
                    </a:lnTo>
                    <a:lnTo>
                      <a:pt x="27" y="117"/>
                    </a:lnTo>
                    <a:lnTo>
                      <a:pt x="27" y="115"/>
                    </a:lnTo>
                    <a:lnTo>
                      <a:pt x="27" y="114"/>
                    </a:lnTo>
                    <a:lnTo>
                      <a:pt x="27" y="112"/>
                    </a:lnTo>
                    <a:lnTo>
                      <a:pt x="27" y="114"/>
                    </a:lnTo>
                    <a:lnTo>
                      <a:pt x="25" y="112"/>
                    </a:lnTo>
                    <a:lnTo>
                      <a:pt x="27" y="112"/>
                    </a:lnTo>
                    <a:lnTo>
                      <a:pt x="27" y="110"/>
                    </a:lnTo>
                    <a:lnTo>
                      <a:pt x="27" y="108"/>
                    </a:lnTo>
                    <a:lnTo>
                      <a:pt x="29" y="108"/>
                    </a:lnTo>
                    <a:lnTo>
                      <a:pt x="27" y="107"/>
                    </a:lnTo>
                    <a:lnTo>
                      <a:pt x="29" y="107"/>
                    </a:lnTo>
                    <a:lnTo>
                      <a:pt x="29" y="105"/>
                    </a:lnTo>
                    <a:lnTo>
                      <a:pt x="30" y="105"/>
                    </a:lnTo>
                    <a:lnTo>
                      <a:pt x="30" y="103"/>
                    </a:lnTo>
                    <a:lnTo>
                      <a:pt x="32" y="103"/>
                    </a:lnTo>
                    <a:lnTo>
                      <a:pt x="30" y="103"/>
                    </a:lnTo>
                    <a:lnTo>
                      <a:pt x="32" y="103"/>
                    </a:lnTo>
                    <a:lnTo>
                      <a:pt x="30" y="103"/>
                    </a:lnTo>
                    <a:lnTo>
                      <a:pt x="32" y="103"/>
                    </a:lnTo>
                    <a:lnTo>
                      <a:pt x="30" y="102"/>
                    </a:lnTo>
                    <a:lnTo>
                      <a:pt x="30" y="100"/>
                    </a:lnTo>
                    <a:lnTo>
                      <a:pt x="32" y="100"/>
                    </a:lnTo>
                    <a:lnTo>
                      <a:pt x="32" y="98"/>
                    </a:lnTo>
                    <a:lnTo>
                      <a:pt x="34" y="98"/>
                    </a:lnTo>
                    <a:lnTo>
                      <a:pt x="34" y="97"/>
                    </a:lnTo>
                    <a:lnTo>
                      <a:pt x="32" y="97"/>
                    </a:lnTo>
                    <a:lnTo>
                      <a:pt x="34" y="97"/>
                    </a:lnTo>
                    <a:lnTo>
                      <a:pt x="34" y="98"/>
                    </a:lnTo>
                    <a:lnTo>
                      <a:pt x="34" y="97"/>
                    </a:lnTo>
                    <a:lnTo>
                      <a:pt x="32" y="93"/>
                    </a:lnTo>
                    <a:lnTo>
                      <a:pt x="29" y="86"/>
                    </a:lnTo>
                    <a:lnTo>
                      <a:pt x="27" y="85"/>
                    </a:lnTo>
                    <a:lnTo>
                      <a:pt x="25" y="81"/>
                    </a:lnTo>
                    <a:lnTo>
                      <a:pt x="25" y="80"/>
                    </a:lnTo>
                    <a:lnTo>
                      <a:pt x="23" y="78"/>
                    </a:lnTo>
                    <a:lnTo>
                      <a:pt x="23" y="76"/>
                    </a:lnTo>
                    <a:lnTo>
                      <a:pt x="22" y="74"/>
                    </a:lnTo>
                    <a:lnTo>
                      <a:pt x="20" y="73"/>
                    </a:lnTo>
                    <a:lnTo>
                      <a:pt x="20" y="69"/>
                    </a:lnTo>
                    <a:lnTo>
                      <a:pt x="18" y="68"/>
                    </a:lnTo>
                    <a:lnTo>
                      <a:pt x="18" y="66"/>
                    </a:lnTo>
                    <a:lnTo>
                      <a:pt x="15" y="64"/>
                    </a:lnTo>
                    <a:lnTo>
                      <a:pt x="15" y="61"/>
                    </a:lnTo>
                    <a:lnTo>
                      <a:pt x="13" y="61"/>
                    </a:lnTo>
                    <a:lnTo>
                      <a:pt x="13" y="59"/>
                    </a:lnTo>
                    <a:lnTo>
                      <a:pt x="12" y="56"/>
                    </a:lnTo>
                    <a:lnTo>
                      <a:pt x="10" y="54"/>
                    </a:lnTo>
                    <a:lnTo>
                      <a:pt x="8" y="52"/>
                    </a:lnTo>
                    <a:lnTo>
                      <a:pt x="6" y="51"/>
                    </a:lnTo>
                    <a:lnTo>
                      <a:pt x="6" y="49"/>
                    </a:lnTo>
                    <a:lnTo>
                      <a:pt x="5" y="46"/>
                    </a:lnTo>
                    <a:lnTo>
                      <a:pt x="3" y="44"/>
                    </a:lnTo>
                    <a:lnTo>
                      <a:pt x="3" y="42"/>
                    </a:lnTo>
                    <a:lnTo>
                      <a:pt x="3" y="44"/>
                    </a:lnTo>
                    <a:lnTo>
                      <a:pt x="3" y="42"/>
                    </a:lnTo>
                    <a:lnTo>
                      <a:pt x="5" y="42"/>
                    </a:lnTo>
                    <a:lnTo>
                      <a:pt x="6" y="44"/>
                    </a:lnTo>
                    <a:lnTo>
                      <a:pt x="6" y="42"/>
                    </a:lnTo>
                    <a:lnTo>
                      <a:pt x="8" y="42"/>
                    </a:lnTo>
                    <a:lnTo>
                      <a:pt x="10" y="44"/>
                    </a:lnTo>
                    <a:lnTo>
                      <a:pt x="10" y="42"/>
                    </a:lnTo>
                    <a:lnTo>
                      <a:pt x="10" y="44"/>
                    </a:lnTo>
                    <a:lnTo>
                      <a:pt x="12" y="42"/>
                    </a:lnTo>
                    <a:lnTo>
                      <a:pt x="13" y="42"/>
                    </a:lnTo>
                    <a:lnTo>
                      <a:pt x="13" y="44"/>
                    </a:lnTo>
                    <a:lnTo>
                      <a:pt x="13" y="42"/>
                    </a:lnTo>
                    <a:lnTo>
                      <a:pt x="15" y="42"/>
                    </a:lnTo>
                    <a:lnTo>
                      <a:pt x="15" y="44"/>
                    </a:lnTo>
                    <a:lnTo>
                      <a:pt x="15" y="42"/>
                    </a:lnTo>
                    <a:lnTo>
                      <a:pt x="17" y="44"/>
                    </a:lnTo>
                    <a:lnTo>
                      <a:pt x="18" y="44"/>
                    </a:lnTo>
                    <a:lnTo>
                      <a:pt x="20" y="44"/>
                    </a:lnTo>
                    <a:lnTo>
                      <a:pt x="22" y="44"/>
                    </a:lnTo>
                    <a:lnTo>
                      <a:pt x="22" y="46"/>
                    </a:lnTo>
                    <a:lnTo>
                      <a:pt x="22" y="44"/>
                    </a:lnTo>
                    <a:lnTo>
                      <a:pt x="23" y="44"/>
                    </a:lnTo>
                    <a:lnTo>
                      <a:pt x="23" y="46"/>
                    </a:lnTo>
                    <a:lnTo>
                      <a:pt x="25" y="46"/>
                    </a:lnTo>
                    <a:lnTo>
                      <a:pt x="27" y="46"/>
                    </a:lnTo>
                    <a:lnTo>
                      <a:pt x="25" y="46"/>
                    </a:lnTo>
                    <a:lnTo>
                      <a:pt x="27" y="46"/>
                    </a:lnTo>
                    <a:lnTo>
                      <a:pt x="27" y="44"/>
                    </a:lnTo>
                    <a:lnTo>
                      <a:pt x="29" y="46"/>
                    </a:lnTo>
                    <a:lnTo>
                      <a:pt x="29" y="44"/>
                    </a:lnTo>
                    <a:lnTo>
                      <a:pt x="29" y="46"/>
                    </a:lnTo>
                    <a:lnTo>
                      <a:pt x="30" y="44"/>
                    </a:lnTo>
                    <a:lnTo>
                      <a:pt x="30" y="46"/>
                    </a:lnTo>
                    <a:lnTo>
                      <a:pt x="30" y="47"/>
                    </a:lnTo>
                    <a:lnTo>
                      <a:pt x="32" y="49"/>
                    </a:lnTo>
                    <a:lnTo>
                      <a:pt x="32" y="51"/>
                    </a:lnTo>
                    <a:lnTo>
                      <a:pt x="37" y="49"/>
                    </a:lnTo>
                    <a:lnTo>
                      <a:pt x="37" y="47"/>
                    </a:lnTo>
                    <a:lnTo>
                      <a:pt x="39" y="47"/>
                    </a:lnTo>
                    <a:lnTo>
                      <a:pt x="39" y="46"/>
                    </a:lnTo>
                    <a:lnTo>
                      <a:pt x="40" y="47"/>
                    </a:lnTo>
                    <a:lnTo>
                      <a:pt x="40" y="46"/>
                    </a:lnTo>
                    <a:lnTo>
                      <a:pt x="42" y="46"/>
                    </a:lnTo>
                    <a:lnTo>
                      <a:pt x="42" y="47"/>
                    </a:lnTo>
                    <a:lnTo>
                      <a:pt x="42" y="46"/>
                    </a:lnTo>
                    <a:lnTo>
                      <a:pt x="44" y="46"/>
                    </a:lnTo>
                    <a:lnTo>
                      <a:pt x="46" y="46"/>
                    </a:lnTo>
                    <a:lnTo>
                      <a:pt x="46" y="44"/>
                    </a:lnTo>
                    <a:lnTo>
                      <a:pt x="47" y="44"/>
                    </a:lnTo>
                    <a:lnTo>
                      <a:pt x="47" y="42"/>
                    </a:lnTo>
                    <a:lnTo>
                      <a:pt x="49" y="42"/>
                    </a:lnTo>
                    <a:lnTo>
                      <a:pt x="49" y="40"/>
                    </a:lnTo>
                    <a:lnTo>
                      <a:pt x="51" y="39"/>
                    </a:lnTo>
                    <a:lnTo>
                      <a:pt x="51" y="37"/>
                    </a:lnTo>
                    <a:lnTo>
                      <a:pt x="52" y="37"/>
                    </a:lnTo>
                    <a:lnTo>
                      <a:pt x="52" y="35"/>
                    </a:lnTo>
                    <a:lnTo>
                      <a:pt x="52" y="34"/>
                    </a:lnTo>
                    <a:lnTo>
                      <a:pt x="54" y="34"/>
                    </a:lnTo>
                    <a:lnTo>
                      <a:pt x="56" y="32"/>
                    </a:lnTo>
                    <a:lnTo>
                      <a:pt x="56" y="34"/>
                    </a:lnTo>
                    <a:lnTo>
                      <a:pt x="57" y="32"/>
                    </a:lnTo>
                    <a:lnTo>
                      <a:pt x="57" y="34"/>
                    </a:lnTo>
                    <a:lnTo>
                      <a:pt x="59" y="32"/>
                    </a:lnTo>
                    <a:lnTo>
                      <a:pt x="61" y="32"/>
                    </a:lnTo>
                    <a:lnTo>
                      <a:pt x="63" y="34"/>
                    </a:lnTo>
                    <a:lnTo>
                      <a:pt x="64" y="34"/>
                    </a:lnTo>
                    <a:lnTo>
                      <a:pt x="64" y="35"/>
                    </a:lnTo>
                    <a:lnTo>
                      <a:pt x="66" y="35"/>
                    </a:lnTo>
                    <a:lnTo>
                      <a:pt x="66" y="34"/>
                    </a:lnTo>
                    <a:lnTo>
                      <a:pt x="66" y="32"/>
                    </a:lnTo>
                    <a:lnTo>
                      <a:pt x="66" y="30"/>
                    </a:lnTo>
                    <a:lnTo>
                      <a:pt x="68" y="32"/>
                    </a:lnTo>
                    <a:lnTo>
                      <a:pt x="68" y="30"/>
                    </a:lnTo>
                    <a:lnTo>
                      <a:pt x="69" y="30"/>
                    </a:lnTo>
                    <a:lnTo>
                      <a:pt x="69" y="29"/>
                    </a:lnTo>
                    <a:lnTo>
                      <a:pt x="71" y="27"/>
                    </a:lnTo>
                    <a:lnTo>
                      <a:pt x="73" y="27"/>
                    </a:lnTo>
                    <a:lnTo>
                      <a:pt x="74" y="25"/>
                    </a:lnTo>
                    <a:lnTo>
                      <a:pt x="74" y="27"/>
                    </a:lnTo>
                    <a:lnTo>
                      <a:pt x="74" y="25"/>
                    </a:lnTo>
                    <a:lnTo>
                      <a:pt x="76" y="25"/>
                    </a:lnTo>
                    <a:lnTo>
                      <a:pt x="76" y="23"/>
                    </a:lnTo>
                    <a:lnTo>
                      <a:pt x="74" y="23"/>
                    </a:lnTo>
                    <a:lnTo>
                      <a:pt x="76" y="23"/>
                    </a:lnTo>
                    <a:lnTo>
                      <a:pt x="78" y="23"/>
                    </a:lnTo>
                    <a:lnTo>
                      <a:pt x="80" y="23"/>
                    </a:lnTo>
                    <a:lnTo>
                      <a:pt x="80" y="22"/>
                    </a:lnTo>
                    <a:lnTo>
                      <a:pt x="78" y="22"/>
                    </a:lnTo>
                    <a:lnTo>
                      <a:pt x="80" y="22"/>
                    </a:lnTo>
                    <a:lnTo>
                      <a:pt x="81" y="22"/>
                    </a:lnTo>
                    <a:lnTo>
                      <a:pt x="83" y="22"/>
                    </a:lnTo>
                    <a:lnTo>
                      <a:pt x="85" y="22"/>
                    </a:lnTo>
                    <a:lnTo>
                      <a:pt x="85" y="20"/>
                    </a:lnTo>
                    <a:lnTo>
                      <a:pt x="86" y="20"/>
                    </a:lnTo>
                    <a:lnTo>
                      <a:pt x="88" y="20"/>
                    </a:lnTo>
                    <a:lnTo>
                      <a:pt x="90" y="18"/>
                    </a:lnTo>
                    <a:lnTo>
                      <a:pt x="90" y="17"/>
                    </a:lnTo>
                    <a:lnTo>
                      <a:pt x="91" y="17"/>
                    </a:lnTo>
                    <a:lnTo>
                      <a:pt x="91" y="15"/>
                    </a:lnTo>
                    <a:lnTo>
                      <a:pt x="93" y="15"/>
                    </a:lnTo>
                    <a:lnTo>
                      <a:pt x="91" y="15"/>
                    </a:lnTo>
                    <a:lnTo>
                      <a:pt x="93" y="15"/>
                    </a:lnTo>
                    <a:lnTo>
                      <a:pt x="93" y="13"/>
                    </a:lnTo>
                    <a:lnTo>
                      <a:pt x="95" y="13"/>
                    </a:lnTo>
                    <a:lnTo>
                      <a:pt x="95" y="12"/>
                    </a:lnTo>
                    <a:lnTo>
                      <a:pt x="97" y="12"/>
                    </a:lnTo>
                    <a:lnTo>
                      <a:pt x="98" y="10"/>
                    </a:lnTo>
                    <a:lnTo>
                      <a:pt x="100" y="10"/>
                    </a:lnTo>
                    <a:lnTo>
                      <a:pt x="100" y="8"/>
                    </a:lnTo>
                    <a:lnTo>
                      <a:pt x="102" y="8"/>
                    </a:lnTo>
                    <a:lnTo>
                      <a:pt x="102" y="6"/>
                    </a:lnTo>
                    <a:lnTo>
                      <a:pt x="103" y="6"/>
                    </a:lnTo>
                    <a:lnTo>
                      <a:pt x="105" y="6"/>
                    </a:lnTo>
                    <a:lnTo>
                      <a:pt x="107" y="6"/>
                    </a:lnTo>
                    <a:lnTo>
                      <a:pt x="108" y="6"/>
                    </a:lnTo>
                    <a:lnTo>
                      <a:pt x="110" y="6"/>
                    </a:lnTo>
                    <a:lnTo>
                      <a:pt x="108" y="6"/>
                    </a:lnTo>
                    <a:lnTo>
                      <a:pt x="110" y="6"/>
                    </a:lnTo>
                    <a:lnTo>
                      <a:pt x="112" y="6"/>
                    </a:lnTo>
                    <a:lnTo>
                      <a:pt x="112" y="5"/>
                    </a:lnTo>
                    <a:lnTo>
                      <a:pt x="114" y="5"/>
                    </a:lnTo>
                    <a:lnTo>
                      <a:pt x="115" y="5"/>
                    </a:lnTo>
                    <a:lnTo>
                      <a:pt x="115" y="3"/>
                    </a:lnTo>
                    <a:lnTo>
                      <a:pt x="115" y="5"/>
                    </a:lnTo>
                    <a:lnTo>
                      <a:pt x="117" y="5"/>
                    </a:lnTo>
                    <a:lnTo>
                      <a:pt x="117" y="3"/>
                    </a:lnTo>
                    <a:lnTo>
                      <a:pt x="119" y="3"/>
                    </a:lnTo>
                    <a:lnTo>
                      <a:pt x="120" y="3"/>
                    </a:lnTo>
                    <a:lnTo>
                      <a:pt x="120" y="5"/>
                    </a:lnTo>
                    <a:lnTo>
                      <a:pt x="120" y="3"/>
                    </a:lnTo>
                    <a:lnTo>
                      <a:pt x="122" y="3"/>
                    </a:lnTo>
                    <a:lnTo>
                      <a:pt x="122" y="5"/>
                    </a:lnTo>
                    <a:lnTo>
                      <a:pt x="122" y="3"/>
                    </a:lnTo>
                    <a:lnTo>
                      <a:pt x="124" y="3"/>
                    </a:lnTo>
                    <a:lnTo>
                      <a:pt x="125" y="3"/>
                    </a:lnTo>
                    <a:lnTo>
                      <a:pt x="125" y="1"/>
                    </a:lnTo>
                    <a:lnTo>
                      <a:pt x="125" y="3"/>
                    </a:lnTo>
                    <a:lnTo>
                      <a:pt x="125" y="1"/>
                    </a:lnTo>
                    <a:lnTo>
                      <a:pt x="127" y="3"/>
                    </a:lnTo>
                    <a:lnTo>
                      <a:pt x="127" y="1"/>
                    </a:lnTo>
                    <a:lnTo>
                      <a:pt x="127" y="3"/>
                    </a:lnTo>
                    <a:lnTo>
                      <a:pt x="129" y="3"/>
                    </a:lnTo>
                    <a:lnTo>
                      <a:pt x="129" y="1"/>
                    </a:lnTo>
                    <a:lnTo>
                      <a:pt x="131" y="1"/>
                    </a:lnTo>
                    <a:lnTo>
                      <a:pt x="129" y="3"/>
                    </a:lnTo>
                    <a:lnTo>
                      <a:pt x="131" y="3"/>
                    </a:lnTo>
                    <a:lnTo>
                      <a:pt x="131" y="1"/>
                    </a:lnTo>
                    <a:lnTo>
                      <a:pt x="132" y="3"/>
                    </a:lnTo>
                    <a:lnTo>
                      <a:pt x="132" y="1"/>
                    </a:lnTo>
                    <a:lnTo>
                      <a:pt x="134" y="1"/>
                    </a:lnTo>
                    <a:lnTo>
                      <a:pt x="134" y="3"/>
                    </a:lnTo>
                    <a:lnTo>
                      <a:pt x="132" y="3"/>
                    </a:lnTo>
                    <a:lnTo>
                      <a:pt x="134" y="3"/>
                    </a:lnTo>
                    <a:lnTo>
                      <a:pt x="132" y="3"/>
                    </a:lnTo>
                    <a:lnTo>
                      <a:pt x="134" y="5"/>
                    </a:lnTo>
                    <a:lnTo>
                      <a:pt x="134" y="3"/>
                    </a:lnTo>
                    <a:lnTo>
                      <a:pt x="136" y="3"/>
                    </a:lnTo>
                    <a:lnTo>
                      <a:pt x="136" y="5"/>
                    </a:lnTo>
                    <a:lnTo>
                      <a:pt x="136" y="3"/>
                    </a:lnTo>
                    <a:lnTo>
                      <a:pt x="136" y="5"/>
                    </a:lnTo>
                    <a:lnTo>
                      <a:pt x="137" y="5"/>
                    </a:lnTo>
                    <a:lnTo>
                      <a:pt x="139" y="5"/>
                    </a:lnTo>
                    <a:lnTo>
                      <a:pt x="137" y="5"/>
                    </a:lnTo>
                    <a:lnTo>
                      <a:pt x="137" y="3"/>
                    </a:lnTo>
                    <a:lnTo>
                      <a:pt x="139" y="3"/>
                    </a:lnTo>
                    <a:lnTo>
                      <a:pt x="141" y="3"/>
                    </a:lnTo>
                    <a:lnTo>
                      <a:pt x="141" y="1"/>
                    </a:lnTo>
                    <a:lnTo>
                      <a:pt x="141" y="0"/>
                    </a:lnTo>
                    <a:lnTo>
                      <a:pt x="141" y="1"/>
                    </a:lnTo>
                    <a:lnTo>
                      <a:pt x="141" y="0"/>
                    </a:lnTo>
                    <a:lnTo>
                      <a:pt x="142" y="0"/>
                    </a:lnTo>
                    <a:lnTo>
                      <a:pt x="144" y="0"/>
                    </a:lnTo>
                    <a:lnTo>
                      <a:pt x="144" y="1"/>
                    </a:lnTo>
                    <a:lnTo>
                      <a:pt x="146" y="1"/>
                    </a:lnTo>
                    <a:lnTo>
                      <a:pt x="146" y="3"/>
                    </a:lnTo>
                    <a:lnTo>
                      <a:pt x="146" y="5"/>
                    </a:lnTo>
                    <a:lnTo>
                      <a:pt x="148" y="5"/>
                    </a:lnTo>
                    <a:lnTo>
                      <a:pt x="148" y="6"/>
                    </a:lnTo>
                    <a:lnTo>
                      <a:pt x="146" y="6"/>
                    </a:lnTo>
                    <a:lnTo>
                      <a:pt x="146" y="8"/>
                    </a:lnTo>
                    <a:lnTo>
                      <a:pt x="146" y="10"/>
                    </a:lnTo>
                    <a:lnTo>
                      <a:pt x="146" y="12"/>
                    </a:lnTo>
                    <a:lnTo>
                      <a:pt x="146" y="13"/>
                    </a:lnTo>
                    <a:lnTo>
                      <a:pt x="148" y="13"/>
                    </a:lnTo>
                    <a:lnTo>
                      <a:pt x="148" y="15"/>
                    </a:lnTo>
                    <a:lnTo>
                      <a:pt x="146" y="17"/>
                    </a:lnTo>
                    <a:lnTo>
                      <a:pt x="148" y="17"/>
                    </a:lnTo>
                    <a:lnTo>
                      <a:pt x="148" y="18"/>
                    </a:lnTo>
                    <a:lnTo>
                      <a:pt x="146" y="18"/>
                    </a:lnTo>
                    <a:lnTo>
                      <a:pt x="146" y="20"/>
                    </a:lnTo>
                    <a:lnTo>
                      <a:pt x="146" y="22"/>
                    </a:lnTo>
                    <a:lnTo>
                      <a:pt x="144" y="22"/>
                    </a:lnTo>
                    <a:lnTo>
                      <a:pt x="144" y="23"/>
                    </a:lnTo>
                    <a:lnTo>
                      <a:pt x="144" y="25"/>
                    </a:lnTo>
                    <a:lnTo>
                      <a:pt x="144" y="27"/>
                    </a:lnTo>
                    <a:lnTo>
                      <a:pt x="142" y="27"/>
                    </a:lnTo>
                    <a:lnTo>
                      <a:pt x="142" y="29"/>
                    </a:lnTo>
                    <a:lnTo>
                      <a:pt x="144" y="29"/>
                    </a:lnTo>
                    <a:lnTo>
                      <a:pt x="144" y="30"/>
                    </a:lnTo>
                    <a:lnTo>
                      <a:pt x="142" y="30"/>
                    </a:lnTo>
                    <a:lnTo>
                      <a:pt x="144" y="32"/>
                    </a:lnTo>
                    <a:lnTo>
                      <a:pt x="146" y="34"/>
                    </a:lnTo>
                    <a:lnTo>
                      <a:pt x="146" y="35"/>
                    </a:lnTo>
                    <a:lnTo>
                      <a:pt x="146" y="37"/>
                    </a:lnTo>
                    <a:lnTo>
                      <a:pt x="146" y="39"/>
                    </a:lnTo>
                    <a:lnTo>
                      <a:pt x="148" y="39"/>
                    </a:lnTo>
                    <a:lnTo>
                      <a:pt x="148" y="40"/>
                    </a:lnTo>
                    <a:lnTo>
                      <a:pt x="148" y="42"/>
                    </a:lnTo>
                    <a:lnTo>
                      <a:pt x="148" y="44"/>
                    </a:lnTo>
                    <a:lnTo>
                      <a:pt x="149" y="44"/>
                    </a:lnTo>
                    <a:lnTo>
                      <a:pt x="148" y="46"/>
                    </a:lnTo>
                    <a:lnTo>
                      <a:pt x="148" y="47"/>
                    </a:lnTo>
                    <a:lnTo>
                      <a:pt x="146" y="49"/>
                    </a:lnTo>
                    <a:lnTo>
                      <a:pt x="144" y="49"/>
                    </a:lnTo>
                    <a:lnTo>
                      <a:pt x="144" y="51"/>
                    </a:lnTo>
                    <a:lnTo>
                      <a:pt x="146" y="51"/>
                    </a:lnTo>
                    <a:lnTo>
                      <a:pt x="146" y="52"/>
                    </a:lnTo>
                    <a:lnTo>
                      <a:pt x="144" y="52"/>
                    </a:lnTo>
                    <a:lnTo>
                      <a:pt x="144" y="54"/>
                    </a:lnTo>
                    <a:lnTo>
                      <a:pt x="146" y="54"/>
                    </a:lnTo>
                    <a:lnTo>
                      <a:pt x="146" y="56"/>
                    </a:lnTo>
                    <a:lnTo>
                      <a:pt x="148" y="56"/>
                    </a:lnTo>
                    <a:lnTo>
                      <a:pt x="146" y="56"/>
                    </a:lnTo>
                    <a:lnTo>
                      <a:pt x="146" y="57"/>
                    </a:lnTo>
                    <a:lnTo>
                      <a:pt x="146" y="59"/>
                    </a:lnTo>
                    <a:lnTo>
                      <a:pt x="146" y="61"/>
                    </a:lnTo>
                    <a:lnTo>
                      <a:pt x="148" y="63"/>
                    </a:lnTo>
                    <a:lnTo>
                      <a:pt x="149" y="63"/>
                    </a:lnTo>
                    <a:lnTo>
                      <a:pt x="149" y="64"/>
                    </a:lnTo>
                    <a:lnTo>
                      <a:pt x="149" y="66"/>
                    </a:lnTo>
                    <a:lnTo>
                      <a:pt x="149" y="68"/>
                    </a:lnTo>
                    <a:lnTo>
                      <a:pt x="148" y="69"/>
                    </a:lnTo>
                    <a:lnTo>
                      <a:pt x="149" y="69"/>
                    </a:lnTo>
                    <a:lnTo>
                      <a:pt x="149" y="71"/>
                    </a:lnTo>
                    <a:lnTo>
                      <a:pt x="151" y="71"/>
                    </a:lnTo>
                    <a:lnTo>
                      <a:pt x="151" y="69"/>
                    </a:lnTo>
                    <a:lnTo>
                      <a:pt x="153" y="69"/>
                    </a:lnTo>
                    <a:lnTo>
                      <a:pt x="154" y="69"/>
                    </a:lnTo>
                    <a:lnTo>
                      <a:pt x="154" y="71"/>
                    </a:lnTo>
                    <a:lnTo>
                      <a:pt x="154" y="73"/>
                    </a:lnTo>
                    <a:lnTo>
                      <a:pt x="154" y="74"/>
                    </a:lnTo>
                    <a:lnTo>
                      <a:pt x="156" y="74"/>
                    </a:lnTo>
                    <a:lnTo>
                      <a:pt x="156" y="76"/>
                    </a:lnTo>
                    <a:lnTo>
                      <a:pt x="156" y="78"/>
                    </a:lnTo>
                    <a:lnTo>
                      <a:pt x="156" y="80"/>
                    </a:lnTo>
                    <a:lnTo>
                      <a:pt x="158" y="80"/>
                    </a:lnTo>
                    <a:lnTo>
                      <a:pt x="159" y="80"/>
                    </a:lnTo>
                    <a:lnTo>
                      <a:pt x="161" y="80"/>
                    </a:lnTo>
                    <a:lnTo>
                      <a:pt x="163" y="80"/>
                    </a:lnTo>
                    <a:lnTo>
                      <a:pt x="163" y="81"/>
                    </a:lnTo>
                    <a:lnTo>
                      <a:pt x="163" y="83"/>
                    </a:lnTo>
                    <a:lnTo>
                      <a:pt x="163" y="81"/>
                    </a:lnTo>
                    <a:lnTo>
                      <a:pt x="165" y="81"/>
                    </a:lnTo>
                    <a:lnTo>
                      <a:pt x="165" y="83"/>
                    </a:lnTo>
                    <a:lnTo>
                      <a:pt x="165" y="85"/>
                    </a:lnTo>
                    <a:lnTo>
                      <a:pt x="166" y="85"/>
                    </a:lnTo>
                    <a:lnTo>
                      <a:pt x="166" y="83"/>
                    </a:lnTo>
                    <a:lnTo>
                      <a:pt x="166" y="81"/>
                    </a:lnTo>
                    <a:lnTo>
                      <a:pt x="166" y="83"/>
                    </a:lnTo>
                    <a:lnTo>
                      <a:pt x="168" y="83"/>
                    </a:lnTo>
                    <a:lnTo>
                      <a:pt x="166" y="83"/>
                    </a:lnTo>
                    <a:lnTo>
                      <a:pt x="166" y="85"/>
                    </a:lnTo>
                    <a:lnTo>
                      <a:pt x="168" y="86"/>
                    </a:lnTo>
                    <a:lnTo>
                      <a:pt x="170" y="86"/>
                    </a:lnTo>
                    <a:lnTo>
                      <a:pt x="171" y="86"/>
                    </a:lnTo>
                    <a:lnTo>
                      <a:pt x="171" y="88"/>
                    </a:lnTo>
                    <a:lnTo>
                      <a:pt x="173" y="88"/>
                    </a:lnTo>
                    <a:lnTo>
                      <a:pt x="173" y="86"/>
                    </a:lnTo>
                    <a:lnTo>
                      <a:pt x="173" y="88"/>
                    </a:lnTo>
                    <a:lnTo>
                      <a:pt x="175" y="88"/>
                    </a:lnTo>
                    <a:lnTo>
                      <a:pt x="175" y="90"/>
                    </a:lnTo>
                    <a:lnTo>
                      <a:pt x="173" y="91"/>
                    </a:lnTo>
                    <a:lnTo>
                      <a:pt x="175" y="91"/>
                    </a:lnTo>
                    <a:lnTo>
                      <a:pt x="175" y="93"/>
                    </a:lnTo>
                    <a:lnTo>
                      <a:pt x="176" y="93"/>
                    </a:lnTo>
                    <a:lnTo>
                      <a:pt x="176" y="95"/>
                    </a:lnTo>
                    <a:lnTo>
                      <a:pt x="178" y="95"/>
                    </a:lnTo>
                    <a:lnTo>
                      <a:pt x="180" y="95"/>
                    </a:lnTo>
                    <a:lnTo>
                      <a:pt x="182" y="95"/>
                    </a:lnTo>
                    <a:lnTo>
                      <a:pt x="180" y="97"/>
                    </a:lnTo>
                    <a:lnTo>
                      <a:pt x="182" y="97"/>
                    </a:lnTo>
                    <a:lnTo>
                      <a:pt x="182" y="95"/>
                    </a:lnTo>
                    <a:lnTo>
                      <a:pt x="183" y="95"/>
                    </a:lnTo>
                    <a:lnTo>
                      <a:pt x="185" y="95"/>
                    </a:lnTo>
                    <a:lnTo>
                      <a:pt x="185" y="97"/>
                    </a:lnTo>
                    <a:lnTo>
                      <a:pt x="187" y="97"/>
                    </a:lnTo>
                    <a:lnTo>
                      <a:pt x="187" y="95"/>
                    </a:lnTo>
                    <a:lnTo>
                      <a:pt x="187" y="97"/>
                    </a:lnTo>
                    <a:lnTo>
                      <a:pt x="188" y="97"/>
                    </a:lnTo>
                    <a:lnTo>
                      <a:pt x="190" y="97"/>
                    </a:lnTo>
                    <a:lnTo>
                      <a:pt x="192" y="97"/>
                    </a:lnTo>
                    <a:lnTo>
                      <a:pt x="193" y="97"/>
                    </a:lnTo>
                    <a:lnTo>
                      <a:pt x="195" y="95"/>
                    </a:lnTo>
                    <a:lnTo>
                      <a:pt x="197" y="95"/>
                    </a:lnTo>
                    <a:lnTo>
                      <a:pt x="199" y="93"/>
                    </a:lnTo>
                    <a:lnTo>
                      <a:pt x="199" y="95"/>
                    </a:lnTo>
                    <a:lnTo>
                      <a:pt x="200" y="95"/>
                    </a:lnTo>
                    <a:lnTo>
                      <a:pt x="202" y="95"/>
                    </a:lnTo>
                    <a:lnTo>
                      <a:pt x="204" y="95"/>
                    </a:lnTo>
                    <a:lnTo>
                      <a:pt x="204" y="97"/>
                    </a:lnTo>
                    <a:lnTo>
                      <a:pt x="205" y="97"/>
                    </a:lnTo>
                    <a:lnTo>
                      <a:pt x="207" y="97"/>
                    </a:lnTo>
                    <a:lnTo>
                      <a:pt x="207" y="98"/>
                    </a:lnTo>
                    <a:lnTo>
                      <a:pt x="209" y="98"/>
                    </a:lnTo>
                    <a:lnTo>
                      <a:pt x="210" y="98"/>
                    </a:lnTo>
                    <a:lnTo>
                      <a:pt x="210" y="100"/>
                    </a:lnTo>
                    <a:lnTo>
                      <a:pt x="209" y="100"/>
                    </a:lnTo>
                    <a:lnTo>
                      <a:pt x="210" y="100"/>
                    </a:lnTo>
                    <a:lnTo>
                      <a:pt x="210" y="102"/>
                    </a:lnTo>
                    <a:lnTo>
                      <a:pt x="212" y="102"/>
                    </a:lnTo>
                    <a:lnTo>
                      <a:pt x="214" y="102"/>
                    </a:lnTo>
                    <a:lnTo>
                      <a:pt x="214" y="103"/>
                    </a:lnTo>
                    <a:lnTo>
                      <a:pt x="216" y="103"/>
                    </a:lnTo>
                    <a:lnTo>
                      <a:pt x="217" y="103"/>
                    </a:lnTo>
                    <a:lnTo>
                      <a:pt x="216" y="102"/>
                    </a:lnTo>
                    <a:lnTo>
                      <a:pt x="217" y="102"/>
                    </a:lnTo>
                    <a:lnTo>
                      <a:pt x="217" y="100"/>
                    </a:lnTo>
                    <a:lnTo>
                      <a:pt x="219" y="102"/>
                    </a:lnTo>
                    <a:lnTo>
                      <a:pt x="219" y="100"/>
                    </a:lnTo>
                    <a:lnTo>
                      <a:pt x="219" y="102"/>
                    </a:lnTo>
                    <a:lnTo>
                      <a:pt x="221" y="102"/>
                    </a:lnTo>
                    <a:lnTo>
                      <a:pt x="221" y="103"/>
                    </a:lnTo>
                    <a:lnTo>
                      <a:pt x="222" y="103"/>
                    </a:lnTo>
                    <a:lnTo>
                      <a:pt x="222" y="105"/>
                    </a:lnTo>
                    <a:lnTo>
                      <a:pt x="224" y="105"/>
                    </a:lnTo>
                    <a:lnTo>
                      <a:pt x="224" y="107"/>
                    </a:lnTo>
                    <a:lnTo>
                      <a:pt x="224" y="108"/>
                    </a:lnTo>
                    <a:lnTo>
                      <a:pt x="226" y="108"/>
                    </a:lnTo>
                    <a:lnTo>
                      <a:pt x="227" y="108"/>
                    </a:lnTo>
                    <a:lnTo>
                      <a:pt x="227" y="110"/>
                    </a:lnTo>
                    <a:lnTo>
                      <a:pt x="229" y="110"/>
                    </a:lnTo>
                    <a:lnTo>
                      <a:pt x="229" y="112"/>
                    </a:lnTo>
                    <a:lnTo>
                      <a:pt x="231" y="112"/>
                    </a:lnTo>
                    <a:lnTo>
                      <a:pt x="231" y="114"/>
                    </a:lnTo>
                    <a:lnTo>
                      <a:pt x="233" y="114"/>
                    </a:lnTo>
                    <a:lnTo>
                      <a:pt x="234" y="115"/>
                    </a:lnTo>
                    <a:lnTo>
                      <a:pt x="234" y="114"/>
                    </a:lnTo>
                    <a:lnTo>
                      <a:pt x="236" y="114"/>
                    </a:lnTo>
                    <a:lnTo>
                      <a:pt x="236" y="112"/>
                    </a:lnTo>
                    <a:lnTo>
                      <a:pt x="236" y="114"/>
                    </a:lnTo>
                    <a:lnTo>
                      <a:pt x="238" y="114"/>
                    </a:lnTo>
                    <a:lnTo>
                      <a:pt x="238" y="115"/>
                    </a:lnTo>
                    <a:lnTo>
                      <a:pt x="239" y="115"/>
                    </a:lnTo>
                    <a:lnTo>
                      <a:pt x="239" y="117"/>
                    </a:lnTo>
                    <a:lnTo>
                      <a:pt x="241" y="115"/>
                    </a:lnTo>
                    <a:lnTo>
                      <a:pt x="241" y="117"/>
                    </a:lnTo>
                    <a:lnTo>
                      <a:pt x="243" y="117"/>
                    </a:lnTo>
                    <a:lnTo>
                      <a:pt x="243" y="115"/>
                    </a:lnTo>
                    <a:lnTo>
                      <a:pt x="243" y="117"/>
                    </a:lnTo>
                    <a:lnTo>
                      <a:pt x="244" y="117"/>
                    </a:lnTo>
                    <a:lnTo>
                      <a:pt x="244" y="119"/>
                    </a:lnTo>
                    <a:lnTo>
                      <a:pt x="244" y="117"/>
                    </a:lnTo>
                    <a:lnTo>
                      <a:pt x="244" y="119"/>
                    </a:lnTo>
                    <a:lnTo>
                      <a:pt x="246" y="119"/>
                    </a:lnTo>
                    <a:lnTo>
                      <a:pt x="248" y="119"/>
                    </a:lnTo>
                    <a:lnTo>
                      <a:pt x="250" y="119"/>
                    </a:lnTo>
                    <a:lnTo>
                      <a:pt x="250" y="117"/>
                    </a:lnTo>
                    <a:lnTo>
                      <a:pt x="251" y="117"/>
                    </a:lnTo>
                    <a:lnTo>
                      <a:pt x="251" y="119"/>
                    </a:lnTo>
                    <a:lnTo>
                      <a:pt x="253" y="119"/>
                    </a:lnTo>
                    <a:lnTo>
                      <a:pt x="251" y="117"/>
                    </a:lnTo>
                    <a:lnTo>
                      <a:pt x="253" y="117"/>
                    </a:lnTo>
                    <a:lnTo>
                      <a:pt x="253" y="119"/>
                    </a:lnTo>
                    <a:lnTo>
                      <a:pt x="255" y="119"/>
                    </a:lnTo>
                    <a:lnTo>
                      <a:pt x="255" y="120"/>
                    </a:lnTo>
                    <a:lnTo>
                      <a:pt x="255" y="122"/>
                    </a:lnTo>
                    <a:lnTo>
                      <a:pt x="255" y="124"/>
                    </a:lnTo>
                    <a:lnTo>
                      <a:pt x="256" y="124"/>
                    </a:lnTo>
                    <a:lnTo>
                      <a:pt x="256" y="125"/>
                    </a:lnTo>
                    <a:lnTo>
                      <a:pt x="258" y="125"/>
                    </a:lnTo>
                    <a:lnTo>
                      <a:pt x="258" y="127"/>
                    </a:lnTo>
                    <a:lnTo>
                      <a:pt x="258" y="125"/>
                    </a:lnTo>
                    <a:lnTo>
                      <a:pt x="260" y="127"/>
                    </a:lnTo>
                    <a:lnTo>
                      <a:pt x="260" y="129"/>
                    </a:lnTo>
                    <a:lnTo>
                      <a:pt x="260" y="127"/>
                    </a:lnTo>
                    <a:lnTo>
                      <a:pt x="261" y="129"/>
                    </a:lnTo>
                    <a:lnTo>
                      <a:pt x="261" y="131"/>
                    </a:lnTo>
                    <a:lnTo>
                      <a:pt x="263" y="131"/>
                    </a:lnTo>
                    <a:lnTo>
                      <a:pt x="263" y="132"/>
                    </a:lnTo>
                    <a:lnTo>
                      <a:pt x="265" y="132"/>
                    </a:lnTo>
                    <a:lnTo>
                      <a:pt x="267" y="132"/>
                    </a:lnTo>
                    <a:lnTo>
                      <a:pt x="268" y="132"/>
                    </a:lnTo>
                    <a:lnTo>
                      <a:pt x="268" y="131"/>
                    </a:lnTo>
                    <a:lnTo>
                      <a:pt x="270" y="131"/>
                    </a:lnTo>
                    <a:lnTo>
                      <a:pt x="270" y="132"/>
                    </a:lnTo>
                    <a:lnTo>
                      <a:pt x="270" y="131"/>
                    </a:lnTo>
                    <a:lnTo>
                      <a:pt x="272" y="132"/>
                    </a:lnTo>
                    <a:lnTo>
                      <a:pt x="272" y="131"/>
                    </a:lnTo>
                    <a:lnTo>
                      <a:pt x="273" y="132"/>
                    </a:lnTo>
                    <a:lnTo>
                      <a:pt x="275" y="132"/>
                    </a:lnTo>
                    <a:lnTo>
                      <a:pt x="277" y="132"/>
                    </a:lnTo>
                    <a:lnTo>
                      <a:pt x="278" y="132"/>
                    </a:lnTo>
                    <a:lnTo>
                      <a:pt x="280" y="132"/>
                    </a:lnTo>
                    <a:lnTo>
                      <a:pt x="280" y="131"/>
                    </a:lnTo>
                    <a:lnTo>
                      <a:pt x="282" y="131"/>
                    </a:lnTo>
                    <a:lnTo>
                      <a:pt x="284" y="131"/>
                    </a:lnTo>
                    <a:lnTo>
                      <a:pt x="284" y="132"/>
                    </a:lnTo>
                    <a:lnTo>
                      <a:pt x="285" y="132"/>
                    </a:lnTo>
                    <a:lnTo>
                      <a:pt x="285" y="131"/>
                    </a:lnTo>
                    <a:lnTo>
                      <a:pt x="285" y="132"/>
                    </a:lnTo>
                    <a:lnTo>
                      <a:pt x="287" y="132"/>
                    </a:lnTo>
                    <a:lnTo>
                      <a:pt x="287" y="131"/>
                    </a:lnTo>
                    <a:lnTo>
                      <a:pt x="287" y="132"/>
                    </a:lnTo>
                    <a:lnTo>
                      <a:pt x="289" y="132"/>
                    </a:lnTo>
                    <a:lnTo>
                      <a:pt x="289" y="131"/>
                    </a:lnTo>
                    <a:lnTo>
                      <a:pt x="290" y="131"/>
                    </a:lnTo>
                    <a:lnTo>
                      <a:pt x="290" y="132"/>
                    </a:lnTo>
                    <a:lnTo>
                      <a:pt x="290" y="131"/>
                    </a:lnTo>
                    <a:lnTo>
                      <a:pt x="292" y="131"/>
                    </a:lnTo>
                    <a:lnTo>
                      <a:pt x="292" y="132"/>
                    </a:lnTo>
                    <a:lnTo>
                      <a:pt x="294" y="132"/>
                    </a:lnTo>
                    <a:lnTo>
                      <a:pt x="295" y="132"/>
                    </a:lnTo>
                    <a:lnTo>
                      <a:pt x="295" y="134"/>
                    </a:lnTo>
                    <a:lnTo>
                      <a:pt x="295" y="136"/>
                    </a:lnTo>
                    <a:lnTo>
                      <a:pt x="297" y="136"/>
                    </a:lnTo>
                    <a:lnTo>
                      <a:pt x="299" y="136"/>
                    </a:lnTo>
                    <a:lnTo>
                      <a:pt x="299" y="137"/>
                    </a:lnTo>
                    <a:lnTo>
                      <a:pt x="301" y="137"/>
                    </a:lnTo>
                    <a:lnTo>
                      <a:pt x="302" y="137"/>
                    </a:lnTo>
                    <a:lnTo>
                      <a:pt x="302" y="139"/>
                    </a:lnTo>
                    <a:lnTo>
                      <a:pt x="302" y="137"/>
                    </a:lnTo>
                    <a:lnTo>
                      <a:pt x="302" y="139"/>
                    </a:lnTo>
                    <a:lnTo>
                      <a:pt x="304" y="139"/>
                    </a:lnTo>
                    <a:lnTo>
                      <a:pt x="306" y="139"/>
                    </a:lnTo>
                    <a:lnTo>
                      <a:pt x="307" y="141"/>
                    </a:lnTo>
                    <a:lnTo>
                      <a:pt x="309" y="141"/>
                    </a:lnTo>
                    <a:lnTo>
                      <a:pt x="311" y="141"/>
                    </a:lnTo>
                    <a:lnTo>
                      <a:pt x="309" y="143"/>
                    </a:lnTo>
                    <a:lnTo>
                      <a:pt x="311" y="143"/>
                    </a:lnTo>
                    <a:lnTo>
                      <a:pt x="309" y="143"/>
                    </a:lnTo>
                    <a:lnTo>
                      <a:pt x="311" y="143"/>
                    </a:lnTo>
                    <a:lnTo>
                      <a:pt x="309" y="143"/>
                    </a:lnTo>
                    <a:lnTo>
                      <a:pt x="309" y="144"/>
                    </a:lnTo>
                    <a:lnTo>
                      <a:pt x="309" y="143"/>
                    </a:lnTo>
                    <a:lnTo>
                      <a:pt x="311" y="144"/>
                    </a:lnTo>
                    <a:lnTo>
                      <a:pt x="309" y="144"/>
                    </a:lnTo>
                    <a:lnTo>
                      <a:pt x="311" y="144"/>
                    </a:lnTo>
                    <a:lnTo>
                      <a:pt x="311" y="146"/>
                    </a:lnTo>
                    <a:lnTo>
                      <a:pt x="311" y="148"/>
                    </a:lnTo>
                    <a:lnTo>
                      <a:pt x="312" y="148"/>
                    </a:lnTo>
                    <a:lnTo>
                      <a:pt x="312" y="149"/>
                    </a:lnTo>
                    <a:lnTo>
                      <a:pt x="311" y="149"/>
                    </a:lnTo>
                    <a:lnTo>
                      <a:pt x="311" y="151"/>
                    </a:lnTo>
                    <a:lnTo>
                      <a:pt x="309" y="151"/>
                    </a:lnTo>
                    <a:lnTo>
                      <a:pt x="309" y="153"/>
                    </a:lnTo>
                    <a:lnTo>
                      <a:pt x="309" y="154"/>
                    </a:lnTo>
                    <a:lnTo>
                      <a:pt x="309" y="156"/>
                    </a:lnTo>
                    <a:lnTo>
                      <a:pt x="311" y="156"/>
                    </a:lnTo>
                    <a:lnTo>
                      <a:pt x="311" y="158"/>
                    </a:lnTo>
                    <a:lnTo>
                      <a:pt x="311" y="160"/>
                    </a:lnTo>
                    <a:lnTo>
                      <a:pt x="311" y="161"/>
                    </a:lnTo>
                    <a:lnTo>
                      <a:pt x="312" y="161"/>
                    </a:lnTo>
                    <a:lnTo>
                      <a:pt x="312" y="163"/>
                    </a:lnTo>
                    <a:lnTo>
                      <a:pt x="312" y="165"/>
                    </a:lnTo>
                    <a:lnTo>
                      <a:pt x="314" y="165"/>
                    </a:lnTo>
                    <a:lnTo>
                      <a:pt x="314" y="166"/>
                    </a:lnTo>
                    <a:lnTo>
                      <a:pt x="314" y="168"/>
                    </a:lnTo>
                    <a:lnTo>
                      <a:pt x="314" y="170"/>
                    </a:lnTo>
                    <a:lnTo>
                      <a:pt x="316" y="170"/>
                    </a:lnTo>
                    <a:lnTo>
                      <a:pt x="316" y="171"/>
                    </a:lnTo>
                    <a:lnTo>
                      <a:pt x="318" y="173"/>
                    </a:lnTo>
                    <a:lnTo>
                      <a:pt x="318" y="175"/>
                    </a:lnTo>
                    <a:lnTo>
                      <a:pt x="318" y="177"/>
                    </a:lnTo>
                    <a:lnTo>
                      <a:pt x="318" y="180"/>
                    </a:lnTo>
                    <a:lnTo>
                      <a:pt x="318" y="182"/>
                    </a:lnTo>
                    <a:lnTo>
                      <a:pt x="318" y="183"/>
                    </a:lnTo>
                    <a:lnTo>
                      <a:pt x="318" y="187"/>
                    </a:lnTo>
                    <a:lnTo>
                      <a:pt x="316" y="187"/>
                    </a:lnTo>
                    <a:lnTo>
                      <a:pt x="314" y="187"/>
                    </a:lnTo>
                    <a:lnTo>
                      <a:pt x="311" y="187"/>
                    </a:lnTo>
                    <a:lnTo>
                      <a:pt x="309" y="187"/>
                    </a:lnTo>
                    <a:lnTo>
                      <a:pt x="306" y="187"/>
                    </a:lnTo>
                    <a:lnTo>
                      <a:pt x="309" y="190"/>
                    </a:lnTo>
                    <a:lnTo>
                      <a:pt x="314" y="195"/>
                    </a:lnTo>
                    <a:lnTo>
                      <a:pt x="316" y="199"/>
                    </a:lnTo>
                    <a:lnTo>
                      <a:pt x="318" y="200"/>
                    </a:lnTo>
                    <a:lnTo>
                      <a:pt x="318" y="202"/>
                    </a:lnTo>
                    <a:lnTo>
                      <a:pt x="318" y="204"/>
                    </a:lnTo>
                    <a:lnTo>
                      <a:pt x="319" y="221"/>
                    </a:lnTo>
                    <a:lnTo>
                      <a:pt x="319" y="224"/>
                    </a:lnTo>
                    <a:lnTo>
                      <a:pt x="319" y="228"/>
                    </a:lnTo>
                    <a:lnTo>
                      <a:pt x="321" y="228"/>
                    </a:lnTo>
                    <a:lnTo>
                      <a:pt x="323" y="228"/>
                    </a:lnTo>
                    <a:lnTo>
                      <a:pt x="324" y="228"/>
                    </a:lnTo>
                    <a:lnTo>
                      <a:pt x="326" y="228"/>
                    </a:lnTo>
                    <a:lnTo>
                      <a:pt x="329" y="228"/>
                    </a:lnTo>
                    <a:lnTo>
                      <a:pt x="331" y="228"/>
                    </a:lnTo>
                    <a:lnTo>
                      <a:pt x="335" y="228"/>
                    </a:lnTo>
                    <a:lnTo>
                      <a:pt x="341" y="228"/>
                    </a:lnTo>
                    <a:lnTo>
                      <a:pt x="343" y="228"/>
                    </a:lnTo>
                    <a:lnTo>
                      <a:pt x="345" y="228"/>
                    </a:lnTo>
                    <a:lnTo>
                      <a:pt x="348" y="228"/>
                    </a:lnTo>
                    <a:lnTo>
                      <a:pt x="352" y="229"/>
                    </a:lnTo>
                    <a:lnTo>
                      <a:pt x="353" y="229"/>
                    </a:lnTo>
                    <a:lnTo>
                      <a:pt x="355" y="229"/>
                    </a:lnTo>
                    <a:lnTo>
                      <a:pt x="360" y="229"/>
                    </a:lnTo>
                    <a:lnTo>
                      <a:pt x="367" y="229"/>
                    </a:lnTo>
                    <a:lnTo>
                      <a:pt x="369" y="229"/>
                    </a:lnTo>
                    <a:lnTo>
                      <a:pt x="370" y="229"/>
                    </a:lnTo>
                    <a:lnTo>
                      <a:pt x="375" y="229"/>
                    </a:lnTo>
                    <a:lnTo>
                      <a:pt x="379" y="229"/>
                    </a:lnTo>
                    <a:lnTo>
                      <a:pt x="380" y="229"/>
                    </a:lnTo>
                    <a:lnTo>
                      <a:pt x="380" y="228"/>
                    </a:lnTo>
                    <a:lnTo>
                      <a:pt x="382" y="228"/>
                    </a:lnTo>
                    <a:lnTo>
                      <a:pt x="382" y="229"/>
                    </a:lnTo>
                    <a:lnTo>
                      <a:pt x="382" y="231"/>
                    </a:lnTo>
                    <a:lnTo>
                      <a:pt x="382" y="233"/>
                    </a:lnTo>
                    <a:lnTo>
                      <a:pt x="380" y="233"/>
                    </a:lnTo>
                    <a:lnTo>
                      <a:pt x="380" y="234"/>
                    </a:lnTo>
                    <a:lnTo>
                      <a:pt x="382" y="234"/>
                    </a:lnTo>
                    <a:lnTo>
                      <a:pt x="382" y="236"/>
                    </a:lnTo>
                    <a:lnTo>
                      <a:pt x="380" y="238"/>
                    </a:lnTo>
                    <a:lnTo>
                      <a:pt x="379" y="238"/>
                    </a:lnTo>
                    <a:lnTo>
                      <a:pt x="379" y="239"/>
                    </a:lnTo>
                    <a:lnTo>
                      <a:pt x="379" y="241"/>
                    </a:lnTo>
                    <a:lnTo>
                      <a:pt x="377" y="241"/>
                    </a:lnTo>
                    <a:lnTo>
                      <a:pt x="377" y="243"/>
                    </a:lnTo>
                    <a:lnTo>
                      <a:pt x="377" y="245"/>
                    </a:lnTo>
                    <a:lnTo>
                      <a:pt x="377" y="246"/>
                    </a:lnTo>
                    <a:lnTo>
                      <a:pt x="377" y="248"/>
                    </a:lnTo>
                    <a:lnTo>
                      <a:pt x="377" y="250"/>
                    </a:lnTo>
                    <a:lnTo>
                      <a:pt x="377" y="251"/>
                    </a:lnTo>
                    <a:lnTo>
                      <a:pt x="377" y="253"/>
                    </a:lnTo>
                    <a:lnTo>
                      <a:pt x="379" y="253"/>
                    </a:lnTo>
                    <a:lnTo>
                      <a:pt x="379" y="255"/>
                    </a:lnTo>
                    <a:lnTo>
                      <a:pt x="379" y="256"/>
                    </a:lnTo>
                    <a:lnTo>
                      <a:pt x="380" y="256"/>
                    </a:lnTo>
                    <a:lnTo>
                      <a:pt x="380" y="258"/>
                    </a:lnTo>
                    <a:lnTo>
                      <a:pt x="380" y="260"/>
                    </a:lnTo>
                    <a:lnTo>
                      <a:pt x="380" y="262"/>
                    </a:lnTo>
                    <a:lnTo>
                      <a:pt x="382" y="262"/>
                    </a:lnTo>
                    <a:lnTo>
                      <a:pt x="382" y="263"/>
                    </a:lnTo>
                    <a:lnTo>
                      <a:pt x="384" y="263"/>
                    </a:lnTo>
                    <a:lnTo>
                      <a:pt x="384" y="265"/>
                    </a:lnTo>
                    <a:lnTo>
                      <a:pt x="384" y="267"/>
                    </a:lnTo>
                    <a:lnTo>
                      <a:pt x="386" y="267"/>
                    </a:lnTo>
                    <a:lnTo>
                      <a:pt x="387" y="267"/>
                    </a:lnTo>
                    <a:lnTo>
                      <a:pt x="389" y="268"/>
                    </a:lnTo>
                    <a:lnTo>
                      <a:pt x="389" y="270"/>
                    </a:lnTo>
                    <a:lnTo>
                      <a:pt x="391" y="270"/>
                    </a:lnTo>
                    <a:lnTo>
                      <a:pt x="392" y="270"/>
                    </a:lnTo>
                    <a:lnTo>
                      <a:pt x="392" y="272"/>
                    </a:lnTo>
                    <a:lnTo>
                      <a:pt x="394" y="272"/>
                    </a:lnTo>
                    <a:lnTo>
                      <a:pt x="396" y="272"/>
                    </a:lnTo>
                    <a:lnTo>
                      <a:pt x="396" y="270"/>
                    </a:lnTo>
                    <a:lnTo>
                      <a:pt x="397" y="270"/>
                    </a:lnTo>
                    <a:lnTo>
                      <a:pt x="399" y="272"/>
                    </a:lnTo>
                    <a:lnTo>
                      <a:pt x="401" y="273"/>
                    </a:lnTo>
                    <a:lnTo>
                      <a:pt x="403" y="273"/>
                    </a:lnTo>
                    <a:lnTo>
                      <a:pt x="401" y="273"/>
                    </a:lnTo>
                    <a:lnTo>
                      <a:pt x="401" y="275"/>
                    </a:lnTo>
                    <a:lnTo>
                      <a:pt x="401" y="277"/>
                    </a:lnTo>
                    <a:lnTo>
                      <a:pt x="401" y="279"/>
                    </a:lnTo>
                    <a:lnTo>
                      <a:pt x="403" y="279"/>
                    </a:lnTo>
                    <a:lnTo>
                      <a:pt x="403" y="280"/>
                    </a:lnTo>
                    <a:lnTo>
                      <a:pt x="404" y="282"/>
                    </a:lnTo>
                    <a:lnTo>
                      <a:pt x="404" y="284"/>
                    </a:lnTo>
                    <a:lnTo>
                      <a:pt x="403" y="284"/>
                    </a:lnTo>
                    <a:lnTo>
                      <a:pt x="406" y="289"/>
                    </a:lnTo>
                    <a:lnTo>
                      <a:pt x="406" y="290"/>
                    </a:lnTo>
                    <a:lnTo>
                      <a:pt x="408" y="292"/>
                    </a:lnTo>
                    <a:lnTo>
                      <a:pt x="408" y="294"/>
                    </a:lnTo>
                    <a:lnTo>
                      <a:pt x="409" y="296"/>
                    </a:lnTo>
                    <a:lnTo>
                      <a:pt x="411" y="296"/>
                    </a:lnTo>
                    <a:lnTo>
                      <a:pt x="411" y="297"/>
                    </a:lnTo>
                    <a:lnTo>
                      <a:pt x="409" y="297"/>
                    </a:lnTo>
                    <a:lnTo>
                      <a:pt x="408" y="297"/>
                    </a:lnTo>
                    <a:lnTo>
                      <a:pt x="408" y="299"/>
                    </a:lnTo>
                    <a:lnTo>
                      <a:pt x="408" y="301"/>
                    </a:lnTo>
                    <a:lnTo>
                      <a:pt x="406" y="308"/>
                    </a:lnTo>
                    <a:lnTo>
                      <a:pt x="404" y="309"/>
                    </a:lnTo>
                    <a:lnTo>
                      <a:pt x="404" y="313"/>
                    </a:lnTo>
                    <a:lnTo>
                      <a:pt x="403" y="314"/>
                    </a:lnTo>
                    <a:lnTo>
                      <a:pt x="403" y="316"/>
                    </a:lnTo>
                    <a:lnTo>
                      <a:pt x="403" y="318"/>
                    </a:lnTo>
                    <a:lnTo>
                      <a:pt x="401" y="319"/>
                    </a:lnTo>
                    <a:lnTo>
                      <a:pt x="401" y="321"/>
                    </a:lnTo>
                    <a:lnTo>
                      <a:pt x="403" y="321"/>
                    </a:lnTo>
                    <a:lnTo>
                      <a:pt x="403" y="323"/>
                    </a:lnTo>
                    <a:lnTo>
                      <a:pt x="403" y="325"/>
                    </a:lnTo>
                    <a:lnTo>
                      <a:pt x="404" y="325"/>
                    </a:lnTo>
                    <a:lnTo>
                      <a:pt x="403" y="325"/>
                    </a:lnTo>
                    <a:lnTo>
                      <a:pt x="403" y="326"/>
                    </a:lnTo>
                    <a:lnTo>
                      <a:pt x="401" y="326"/>
                    </a:lnTo>
                    <a:lnTo>
                      <a:pt x="399" y="330"/>
                    </a:lnTo>
                    <a:lnTo>
                      <a:pt x="397" y="331"/>
                    </a:lnTo>
                    <a:lnTo>
                      <a:pt x="397" y="333"/>
                    </a:lnTo>
                    <a:lnTo>
                      <a:pt x="397" y="335"/>
                    </a:lnTo>
                    <a:lnTo>
                      <a:pt x="394" y="342"/>
                    </a:lnTo>
                    <a:lnTo>
                      <a:pt x="391" y="348"/>
                    </a:lnTo>
                    <a:lnTo>
                      <a:pt x="389" y="352"/>
                    </a:lnTo>
                    <a:lnTo>
                      <a:pt x="394" y="355"/>
                    </a:lnTo>
                    <a:lnTo>
                      <a:pt x="397" y="359"/>
                    </a:lnTo>
                    <a:lnTo>
                      <a:pt x="397" y="360"/>
                    </a:lnTo>
                    <a:lnTo>
                      <a:pt x="397" y="362"/>
                    </a:lnTo>
                    <a:lnTo>
                      <a:pt x="396" y="362"/>
                    </a:lnTo>
                    <a:lnTo>
                      <a:pt x="394" y="362"/>
                    </a:lnTo>
                    <a:lnTo>
                      <a:pt x="392" y="362"/>
                    </a:lnTo>
                    <a:lnTo>
                      <a:pt x="392" y="364"/>
                    </a:lnTo>
                    <a:lnTo>
                      <a:pt x="391" y="364"/>
                    </a:lnTo>
                    <a:lnTo>
                      <a:pt x="391" y="365"/>
                    </a:lnTo>
                    <a:lnTo>
                      <a:pt x="389" y="365"/>
                    </a:lnTo>
                    <a:lnTo>
                      <a:pt x="387" y="36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8" name="Freeform 17">
                <a:extLst>
                  <a:ext uri="{FF2B5EF4-FFF2-40B4-BE49-F238E27FC236}">
                    <a16:creationId xmlns:a16="http://schemas.microsoft.com/office/drawing/2014/main" id="{F891C738-8B7F-A920-D907-FF661EB76FF3}"/>
                  </a:ext>
                </a:extLst>
              </p:cNvPr>
              <p:cNvSpPr>
                <a:spLocks noEditPoints="1"/>
              </p:cNvSpPr>
              <p:nvPr/>
            </p:nvSpPr>
            <p:spPr bwMode="auto">
              <a:xfrm>
                <a:off x="5700022" y="2769132"/>
                <a:ext cx="54044" cy="57276"/>
              </a:xfrm>
              <a:custGeom>
                <a:avLst/>
                <a:gdLst>
                  <a:gd name="T0" fmla="*/ 2 w 184"/>
                  <a:gd name="T1" fmla="*/ 187 h 195"/>
                  <a:gd name="T2" fmla="*/ 4 w 184"/>
                  <a:gd name="T3" fmla="*/ 187 h 195"/>
                  <a:gd name="T4" fmla="*/ 4 w 184"/>
                  <a:gd name="T5" fmla="*/ 189 h 195"/>
                  <a:gd name="T6" fmla="*/ 5 w 184"/>
                  <a:gd name="T7" fmla="*/ 189 h 195"/>
                  <a:gd name="T8" fmla="*/ 7 w 184"/>
                  <a:gd name="T9" fmla="*/ 189 h 195"/>
                  <a:gd name="T10" fmla="*/ 7 w 184"/>
                  <a:gd name="T11" fmla="*/ 190 h 195"/>
                  <a:gd name="T12" fmla="*/ 7 w 184"/>
                  <a:gd name="T13" fmla="*/ 192 h 195"/>
                  <a:gd name="T14" fmla="*/ 7 w 184"/>
                  <a:gd name="T15" fmla="*/ 194 h 195"/>
                  <a:gd name="T16" fmla="*/ 5 w 184"/>
                  <a:gd name="T17" fmla="*/ 192 h 195"/>
                  <a:gd name="T18" fmla="*/ 5 w 184"/>
                  <a:gd name="T19" fmla="*/ 194 h 195"/>
                  <a:gd name="T20" fmla="*/ 7 w 184"/>
                  <a:gd name="T21" fmla="*/ 195 h 195"/>
                  <a:gd name="T22" fmla="*/ 5 w 184"/>
                  <a:gd name="T23" fmla="*/ 195 h 195"/>
                  <a:gd name="T24" fmla="*/ 4 w 184"/>
                  <a:gd name="T25" fmla="*/ 195 h 195"/>
                  <a:gd name="T26" fmla="*/ 4 w 184"/>
                  <a:gd name="T27" fmla="*/ 194 h 195"/>
                  <a:gd name="T28" fmla="*/ 4 w 184"/>
                  <a:gd name="T29" fmla="*/ 192 h 195"/>
                  <a:gd name="T30" fmla="*/ 5 w 184"/>
                  <a:gd name="T31" fmla="*/ 192 h 195"/>
                  <a:gd name="T32" fmla="*/ 4 w 184"/>
                  <a:gd name="T33" fmla="*/ 192 h 195"/>
                  <a:gd name="T34" fmla="*/ 4 w 184"/>
                  <a:gd name="T35" fmla="*/ 190 h 195"/>
                  <a:gd name="T36" fmla="*/ 4 w 184"/>
                  <a:gd name="T37" fmla="*/ 189 h 195"/>
                  <a:gd name="T38" fmla="*/ 2 w 184"/>
                  <a:gd name="T39" fmla="*/ 189 h 195"/>
                  <a:gd name="T40" fmla="*/ 0 w 184"/>
                  <a:gd name="T41" fmla="*/ 189 h 195"/>
                  <a:gd name="T42" fmla="*/ 0 w 184"/>
                  <a:gd name="T43" fmla="*/ 187 h 195"/>
                  <a:gd name="T44" fmla="*/ 0 w 184"/>
                  <a:gd name="T45" fmla="*/ 185 h 195"/>
                  <a:gd name="T46" fmla="*/ 2 w 184"/>
                  <a:gd name="T47" fmla="*/ 187 h 195"/>
                  <a:gd name="T48" fmla="*/ 182 w 184"/>
                  <a:gd name="T49" fmla="*/ 3 h 195"/>
                  <a:gd name="T50" fmla="*/ 184 w 184"/>
                  <a:gd name="T51" fmla="*/ 3 h 195"/>
                  <a:gd name="T52" fmla="*/ 184 w 184"/>
                  <a:gd name="T53" fmla="*/ 5 h 195"/>
                  <a:gd name="T54" fmla="*/ 182 w 184"/>
                  <a:gd name="T55" fmla="*/ 5 h 195"/>
                  <a:gd name="T56" fmla="*/ 182 w 184"/>
                  <a:gd name="T57" fmla="*/ 3 h 195"/>
                  <a:gd name="T58" fmla="*/ 174 w 184"/>
                  <a:gd name="T59" fmla="*/ 0 h 195"/>
                  <a:gd name="T60" fmla="*/ 175 w 184"/>
                  <a:gd name="T61" fmla="*/ 0 h 195"/>
                  <a:gd name="T62" fmla="*/ 174 w 184"/>
                  <a:gd name="T63" fmla="*/ 0 h 195"/>
                  <a:gd name="T64" fmla="*/ 2 w 184"/>
                  <a:gd name="T65" fmla="*/ 190 h 195"/>
                  <a:gd name="T66" fmla="*/ 4 w 184"/>
                  <a:gd name="T67" fmla="*/ 190 h 195"/>
                  <a:gd name="T68" fmla="*/ 4 w 184"/>
                  <a:gd name="T69" fmla="*/ 192 h 195"/>
                  <a:gd name="T70" fmla="*/ 2 w 184"/>
                  <a:gd name="T71" fmla="*/ 192 h 195"/>
                  <a:gd name="T72" fmla="*/ 2 w 184"/>
                  <a:gd name="T73" fmla="*/ 19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4" h="195">
                    <a:moveTo>
                      <a:pt x="2" y="187"/>
                    </a:moveTo>
                    <a:lnTo>
                      <a:pt x="4" y="187"/>
                    </a:lnTo>
                    <a:lnTo>
                      <a:pt x="4" y="189"/>
                    </a:lnTo>
                    <a:lnTo>
                      <a:pt x="5" y="189"/>
                    </a:lnTo>
                    <a:lnTo>
                      <a:pt x="7" y="189"/>
                    </a:lnTo>
                    <a:lnTo>
                      <a:pt x="7" y="190"/>
                    </a:lnTo>
                    <a:lnTo>
                      <a:pt x="7" y="192"/>
                    </a:lnTo>
                    <a:lnTo>
                      <a:pt x="7" y="194"/>
                    </a:lnTo>
                    <a:lnTo>
                      <a:pt x="5" y="192"/>
                    </a:lnTo>
                    <a:lnTo>
                      <a:pt x="5" y="194"/>
                    </a:lnTo>
                    <a:lnTo>
                      <a:pt x="7" y="195"/>
                    </a:lnTo>
                    <a:lnTo>
                      <a:pt x="5" y="195"/>
                    </a:lnTo>
                    <a:lnTo>
                      <a:pt x="4" y="195"/>
                    </a:lnTo>
                    <a:lnTo>
                      <a:pt x="4" y="194"/>
                    </a:lnTo>
                    <a:lnTo>
                      <a:pt x="4" y="192"/>
                    </a:lnTo>
                    <a:lnTo>
                      <a:pt x="5" y="192"/>
                    </a:lnTo>
                    <a:lnTo>
                      <a:pt x="4" y="192"/>
                    </a:lnTo>
                    <a:lnTo>
                      <a:pt x="4" y="190"/>
                    </a:lnTo>
                    <a:lnTo>
                      <a:pt x="4" y="189"/>
                    </a:lnTo>
                    <a:lnTo>
                      <a:pt x="2" y="189"/>
                    </a:lnTo>
                    <a:lnTo>
                      <a:pt x="0" y="189"/>
                    </a:lnTo>
                    <a:lnTo>
                      <a:pt x="0" y="187"/>
                    </a:lnTo>
                    <a:lnTo>
                      <a:pt x="0" y="185"/>
                    </a:lnTo>
                    <a:lnTo>
                      <a:pt x="2" y="187"/>
                    </a:lnTo>
                    <a:close/>
                    <a:moveTo>
                      <a:pt x="182" y="3"/>
                    </a:moveTo>
                    <a:lnTo>
                      <a:pt x="184" y="3"/>
                    </a:lnTo>
                    <a:lnTo>
                      <a:pt x="184" y="5"/>
                    </a:lnTo>
                    <a:lnTo>
                      <a:pt x="182" y="5"/>
                    </a:lnTo>
                    <a:lnTo>
                      <a:pt x="182" y="3"/>
                    </a:lnTo>
                    <a:close/>
                    <a:moveTo>
                      <a:pt x="174" y="0"/>
                    </a:moveTo>
                    <a:lnTo>
                      <a:pt x="175" y="0"/>
                    </a:lnTo>
                    <a:lnTo>
                      <a:pt x="174" y="0"/>
                    </a:lnTo>
                    <a:close/>
                    <a:moveTo>
                      <a:pt x="2" y="190"/>
                    </a:moveTo>
                    <a:lnTo>
                      <a:pt x="4" y="190"/>
                    </a:lnTo>
                    <a:lnTo>
                      <a:pt x="4" y="192"/>
                    </a:lnTo>
                    <a:lnTo>
                      <a:pt x="2" y="192"/>
                    </a:lnTo>
                    <a:lnTo>
                      <a:pt x="2" y="19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9" name="Freeform 18">
                <a:extLst>
                  <a:ext uri="{FF2B5EF4-FFF2-40B4-BE49-F238E27FC236}">
                    <a16:creationId xmlns:a16="http://schemas.microsoft.com/office/drawing/2014/main" id="{4E88C0F6-0275-140C-B363-E9B295EBEBA7}"/>
                  </a:ext>
                </a:extLst>
              </p:cNvPr>
              <p:cNvSpPr>
                <a:spLocks noEditPoints="1"/>
              </p:cNvSpPr>
              <p:nvPr/>
            </p:nvSpPr>
            <p:spPr bwMode="auto">
              <a:xfrm>
                <a:off x="5644513" y="2894550"/>
                <a:ext cx="442927" cy="407976"/>
              </a:xfrm>
              <a:custGeom>
                <a:avLst/>
                <a:gdLst>
                  <a:gd name="T0" fmla="*/ 84 w 1508"/>
                  <a:gd name="T1" fmla="*/ 517 h 1389"/>
                  <a:gd name="T2" fmla="*/ 6 w 1508"/>
                  <a:gd name="T3" fmla="*/ 437 h 1389"/>
                  <a:gd name="T4" fmla="*/ 45 w 1508"/>
                  <a:gd name="T5" fmla="*/ 348 h 1389"/>
                  <a:gd name="T6" fmla="*/ 119 w 1508"/>
                  <a:gd name="T7" fmla="*/ 318 h 1389"/>
                  <a:gd name="T8" fmla="*/ 138 w 1508"/>
                  <a:gd name="T9" fmla="*/ 158 h 1389"/>
                  <a:gd name="T10" fmla="*/ 194 w 1508"/>
                  <a:gd name="T11" fmla="*/ 117 h 1389"/>
                  <a:gd name="T12" fmla="*/ 286 w 1508"/>
                  <a:gd name="T13" fmla="*/ 144 h 1389"/>
                  <a:gd name="T14" fmla="*/ 349 w 1508"/>
                  <a:gd name="T15" fmla="*/ 109 h 1389"/>
                  <a:gd name="T16" fmla="*/ 323 w 1508"/>
                  <a:gd name="T17" fmla="*/ 39 h 1389"/>
                  <a:gd name="T18" fmla="*/ 395 w 1508"/>
                  <a:gd name="T19" fmla="*/ 39 h 1389"/>
                  <a:gd name="T20" fmla="*/ 473 w 1508"/>
                  <a:gd name="T21" fmla="*/ 10 h 1389"/>
                  <a:gd name="T22" fmla="*/ 475 w 1508"/>
                  <a:gd name="T23" fmla="*/ 93 h 1389"/>
                  <a:gd name="T24" fmla="*/ 539 w 1508"/>
                  <a:gd name="T25" fmla="*/ 126 h 1389"/>
                  <a:gd name="T26" fmla="*/ 609 w 1508"/>
                  <a:gd name="T27" fmla="*/ 93 h 1389"/>
                  <a:gd name="T28" fmla="*/ 708 w 1508"/>
                  <a:gd name="T29" fmla="*/ 103 h 1389"/>
                  <a:gd name="T30" fmla="*/ 764 w 1508"/>
                  <a:gd name="T31" fmla="*/ 30 h 1389"/>
                  <a:gd name="T32" fmla="*/ 813 w 1508"/>
                  <a:gd name="T33" fmla="*/ 120 h 1389"/>
                  <a:gd name="T34" fmla="*/ 786 w 1508"/>
                  <a:gd name="T35" fmla="*/ 183 h 1389"/>
                  <a:gd name="T36" fmla="*/ 854 w 1508"/>
                  <a:gd name="T37" fmla="*/ 187 h 1389"/>
                  <a:gd name="T38" fmla="*/ 861 w 1508"/>
                  <a:gd name="T39" fmla="*/ 223 h 1389"/>
                  <a:gd name="T40" fmla="*/ 896 w 1508"/>
                  <a:gd name="T41" fmla="*/ 199 h 1389"/>
                  <a:gd name="T42" fmla="*/ 924 w 1508"/>
                  <a:gd name="T43" fmla="*/ 211 h 1389"/>
                  <a:gd name="T44" fmla="*/ 949 w 1508"/>
                  <a:gd name="T45" fmla="*/ 219 h 1389"/>
                  <a:gd name="T46" fmla="*/ 969 w 1508"/>
                  <a:gd name="T47" fmla="*/ 234 h 1389"/>
                  <a:gd name="T48" fmla="*/ 988 w 1508"/>
                  <a:gd name="T49" fmla="*/ 258 h 1389"/>
                  <a:gd name="T50" fmla="*/ 1012 w 1508"/>
                  <a:gd name="T51" fmla="*/ 263 h 1389"/>
                  <a:gd name="T52" fmla="*/ 1049 w 1508"/>
                  <a:gd name="T53" fmla="*/ 262 h 1389"/>
                  <a:gd name="T54" fmla="*/ 1153 w 1508"/>
                  <a:gd name="T55" fmla="*/ 275 h 1389"/>
                  <a:gd name="T56" fmla="*/ 1264 w 1508"/>
                  <a:gd name="T57" fmla="*/ 350 h 1389"/>
                  <a:gd name="T58" fmla="*/ 1323 w 1508"/>
                  <a:gd name="T59" fmla="*/ 437 h 1389"/>
                  <a:gd name="T60" fmla="*/ 1258 w 1508"/>
                  <a:gd name="T61" fmla="*/ 539 h 1389"/>
                  <a:gd name="T62" fmla="*/ 1192 w 1508"/>
                  <a:gd name="T63" fmla="*/ 607 h 1389"/>
                  <a:gd name="T64" fmla="*/ 1180 w 1508"/>
                  <a:gd name="T65" fmla="*/ 672 h 1389"/>
                  <a:gd name="T66" fmla="*/ 1163 w 1508"/>
                  <a:gd name="T67" fmla="*/ 797 h 1389"/>
                  <a:gd name="T68" fmla="*/ 1117 w 1508"/>
                  <a:gd name="T69" fmla="*/ 908 h 1389"/>
                  <a:gd name="T70" fmla="*/ 1044 w 1508"/>
                  <a:gd name="T71" fmla="*/ 976 h 1389"/>
                  <a:gd name="T72" fmla="*/ 1002 w 1508"/>
                  <a:gd name="T73" fmla="*/ 974 h 1389"/>
                  <a:gd name="T74" fmla="*/ 949 w 1508"/>
                  <a:gd name="T75" fmla="*/ 1005 h 1389"/>
                  <a:gd name="T76" fmla="*/ 859 w 1508"/>
                  <a:gd name="T77" fmla="*/ 1085 h 1389"/>
                  <a:gd name="T78" fmla="*/ 856 w 1508"/>
                  <a:gd name="T79" fmla="*/ 1170 h 1389"/>
                  <a:gd name="T80" fmla="*/ 743 w 1508"/>
                  <a:gd name="T81" fmla="*/ 1320 h 1389"/>
                  <a:gd name="T82" fmla="*/ 687 w 1508"/>
                  <a:gd name="T83" fmla="*/ 1332 h 1389"/>
                  <a:gd name="T84" fmla="*/ 607 w 1508"/>
                  <a:gd name="T85" fmla="*/ 1272 h 1389"/>
                  <a:gd name="T86" fmla="*/ 585 w 1508"/>
                  <a:gd name="T87" fmla="*/ 1213 h 1389"/>
                  <a:gd name="T88" fmla="*/ 653 w 1508"/>
                  <a:gd name="T89" fmla="*/ 1146 h 1389"/>
                  <a:gd name="T90" fmla="*/ 680 w 1508"/>
                  <a:gd name="T91" fmla="*/ 1078 h 1389"/>
                  <a:gd name="T92" fmla="*/ 650 w 1508"/>
                  <a:gd name="T93" fmla="*/ 1008 h 1389"/>
                  <a:gd name="T94" fmla="*/ 594 w 1508"/>
                  <a:gd name="T95" fmla="*/ 944 h 1389"/>
                  <a:gd name="T96" fmla="*/ 546 w 1508"/>
                  <a:gd name="T97" fmla="*/ 905 h 1389"/>
                  <a:gd name="T98" fmla="*/ 543 w 1508"/>
                  <a:gd name="T99" fmla="*/ 779 h 1389"/>
                  <a:gd name="T100" fmla="*/ 456 w 1508"/>
                  <a:gd name="T101" fmla="*/ 663 h 1389"/>
                  <a:gd name="T102" fmla="*/ 391 w 1508"/>
                  <a:gd name="T103" fmla="*/ 624 h 1389"/>
                  <a:gd name="T104" fmla="*/ 312 w 1508"/>
                  <a:gd name="T105" fmla="*/ 588 h 1389"/>
                  <a:gd name="T106" fmla="*/ 281 w 1508"/>
                  <a:gd name="T107" fmla="*/ 510 h 1389"/>
                  <a:gd name="T108" fmla="*/ 203 w 1508"/>
                  <a:gd name="T109" fmla="*/ 539 h 1389"/>
                  <a:gd name="T110" fmla="*/ 930 w 1508"/>
                  <a:gd name="T111" fmla="*/ 209 h 1389"/>
                  <a:gd name="T112" fmla="*/ 781 w 1508"/>
                  <a:gd name="T113" fmla="*/ 177 h 1389"/>
                  <a:gd name="T114" fmla="*/ 818 w 1508"/>
                  <a:gd name="T115" fmla="*/ 173 h 1389"/>
                  <a:gd name="T116" fmla="*/ 793 w 1508"/>
                  <a:gd name="T117" fmla="*/ 168 h 1389"/>
                  <a:gd name="T118" fmla="*/ 990 w 1508"/>
                  <a:gd name="T119" fmla="*/ 285 h 1389"/>
                  <a:gd name="T120" fmla="*/ 986 w 1508"/>
                  <a:gd name="T121" fmla="*/ 228 h 1389"/>
                  <a:gd name="T122" fmla="*/ 1189 w 1508"/>
                  <a:gd name="T123" fmla="*/ 621 h 1389"/>
                  <a:gd name="T124" fmla="*/ 973 w 1508"/>
                  <a:gd name="T125" fmla="*/ 1007 h 1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08" h="1389">
                    <a:moveTo>
                      <a:pt x="150" y="549"/>
                    </a:moveTo>
                    <a:lnTo>
                      <a:pt x="148" y="549"/>
                    </a:lnTo>
                    <a:lnTo>
                      <a:pt x="148" y="551"/>
                    </a:lnTo>
                    <a:lnTo>
                      <a:pt x="148" y="549"/>
                    </a:lnTo>
                    <a:lnTo>
                      <a:pt x="148" y="551"/>
                    </a:lnTo>
                    <a:lnTo>
                      <a:pt x="147" y="551"/>
                    </a:lnTo>
                    <a:lnTo>
                      <a:pt x="145" y="551"/>
                    </a:lnTo>
                    <a:lnTo>
                      <a:pt x="143" y="551"/>
                    </a:lnTo>
                    <a:lnTo>
                      <a:pt x="143" y="549"/>
                    </a:lnTo>
                    <a:lnTo>
                      <a:pt x="142" y="549"/>
                    </a:lnTo>
                    <a:lnTo>
                      <a:pt x="140" y="549"/>
                    </a:lnTo>
                    <a:lnTo>
                      <a:pt x="138" y="549"/>
                    </a:lnTo>
                    <a:lnTo>
                      <a:pt x="136" y="549"/>
                    </a:lnTo>
                    <a:lnTo>
                      <a:pt x="136" y="551"/>
                    </a:lnTo>
                    <a:lnTo>
                      <a:pt x="135" y="549"/>
                    </a:lnTo>
                    <a:lnTo>
                      <a:pt x="135" y="551"/>
                    </a:lnTo>
                    <a:lnTo>
                      <a:pt x="133" y="551"/>
                    </a:lnTo>
                    <a:lnTo>
                      <a:pt x="131" y="551"/>
                    </a:lnTo>
                    <a:lnTo>
                      <a:pt x="131" y="553"/>
                    </a:lnTo>
                    <a:lnTo>
                      <a:pt x="130" y="553"/>
                    </a:lnTo>
                    <a:lnTo>
                      <a:pt x="128" y="554"/>
                    </a:lnTo>
                    <a:lnTo>
                      <a:pt x="128" y="553"/>
                    </a:lnTo>
                    <a:lnTo>
                      <a:pt x="128" y="554"/>
                    </a:lnTo>
                    <a:lnTo>
                      <a:pt x="126" y="553"/>
                    </a:lnTo>
                    <a:lnTo>
                      <a:pt x="126" y="554"/>
                    </a:lnTo>
                    <a:lnTo>
                      <a:pt x="125" y="554"/>
                    </a:lnTo>
                    <a:lnTo>
                      <a:pt x="123" y="554"/>
                    </a:lnTo>
                    <a:lnTo>
                      <a:pt x="123" y="553"/>
                    </a:lnTo>
                    <a:lnTo>
                      <a:pt x="121" y="553"/>
                    </a:lnTo>
                    <a:lnTo>
                      <a:pt x="119" y="551"/>
                    </a:lnTo>
                    <a:lnTo>
                      <a:pt x="118" y="549"/>
                    </a:lnTo>
                    <a:lnTo>
                      <a:pt x="114" y="551"/>
                    </a:lnTo>
                    <a:lnTo>
                      <a:pt x="114" y="542"/>
                    </a:lnTo>
                    <a:lnTo>
                      <a:pt x="114" y="539"/>
                    </a:lnTo>
                    <a:lnTo>
                      <a:pt x="114" y="537"/>
                    </a:lnTo>
                    <a:lnTo>
                      <a:pt x="114" y="534"/>
                    </a:lnTo>
                    <a:lnTo>
                      <a:pt x="114" y="532"/>
                    </a:lnTo>
                    <a:lnTo>
                      <a:pt x="114" y="530"/>
                    </a:lnTo>
                    <a:lnTo>
                      <a:pt x="114" y="529"/>
                    </a:lnTo>
                    <a:lnTo>
                      <a:pt x="114" y="525"/>
                    </a:lnTo>
                    <a:lnTo>
                      <a:pt x="114" y="524"/>
                    </a:lnTo>
                    <a:lnTo>
                      <a:pt x="114" y="522"/>
                    </a:lnTo>
                    <a:lnTo>
                      <a:pt x="114" y="520"/>
                    </a:lnTo>
                    <a:lnTo>
                      <a:pt x="114" y="519"/>
                    </a:lnTo>
                    <a:lnTo>
                      <a:pt x="114" y="517"/>
                    </a:lnTo>
                    <a:lnTo>
                      <a:pt x="114" y="513"/>
                    </a:lnTo>
                    <a:lnTo>
                      <a:pt x="114" y="512"/>
                    </a:lnTo>
                    <a:lnTo>
                      <a:pt x="114" y="510"/>
                    </a:lnTo>
                    <a:lnTo>
                      <a:pt x="116" y="510"/>
                    </a:lnTo>
                    <a:lnTo>
                      <a:pt x="118" y="510"/>
                    </a:lnTo>
                    <a:lnTo>
                      <a:pt x="118" y="508"/>
                    </a:lnTo>
                    <a:lnTo>
                      <a:pt x="118" y="507"/>
                    </a:lnTo>
                    <a:lnTo>
                      <a:pt x="116" y="507"/>
                    </a:lnTo>
                    <a:lnTo>
                      <a:pt x="116" y="505"/>
                    </a:lnTo>
                    <a:lnTo>
                      <a:pt x="114" y="503"/>
                    </a:lnTo>
                    <a:lnTo>
                      <a:pt x="116" y="503"/>
                    </a:lnTo>
                    <a:lnTo>
                      <a:pt x="114" y="502"/>
                    </a:lnTo>
                    <a:lnTo>
                      <a:pt x="116" y="502"/>
                    </a:lnTo>
                    <a:lnTo>
                      <a:pt x="116" y="503"/>
                    </a:lnTo>
                    <a:lnTo>
                      <a:pt x="116" y="502"/>
                    </a:lnTo>
                    <a:lnTo>
                      <a:pt x="116" y="503"/>
                    </a:lnTo>
                    <a:lnTo>
                      <a:pt x="116" y="502"/>
                    </a:lnTo>
                    <a:lnTo>
                      <a:pt x="118" y="502"/>
                    </a:lnTo>
                    <a:lnTo>
                      <a:pt x="116" y="502"/>
                    </a:lnTo>
                    <a:lnTo>
                      <a:pt x="118" y="502"/>
                    </a:lnTo>
                    <a:lnTo>
                      <a:pt x="118" y="500"/>
                    </a:lnTo>
                    <a:lnTo>
                      <a:pt x="118" y="498"/>
                    </a:lnTo>
                    <a:lnTo>
                      <a:pt x="116" y="498"/>
                    </a:lnTo>
                    <a:lnTo>
                      <a:pt x="114" y="498"/>
                    </a:lnTo>
                    <a:lnTo>
                      <a:pt x="114" y="500"/>
                    </a:lnTo>
                    <a:lnTo>
                      <a:pt x="113" y="500"/>
                    </a:lnTo>
                    <a:lnTo>
                      <a:pt x="113" y="502"/>
                    </a:lnTo>
                    <a:lnTo>
                      <a:pt x="111" y="502"/>
                    </a:lnTo>
                    <a:lnTo>
                      <a:pt x="111" y="503"/>
                    </a:lnTo>
                    <a:lnTo>
                      <a:pt x="109" y="502"/>
                    </a:lnTo>
                    <a:lnTo>
                      <a:pt x="109" y="503"/>
                    </a:lnTo>
                    <a:lnTo>
                      <a:pt x="109" y="505"/>
                    </a:lnTo>
                    <a:lnTo>
                      <a:pt x="108" y="505"/>
                    </a:lnTo>
                    <a:lnTo>
                      <a:pt x="106" y="505"/>
                    </a:lnTo>
                    <a:lnTo>
                      <a:pt x="106" y="507"/>
                    </a:lnTo>
                    <a:lnTo>
                      <a:pt x="104" y="508"/>
                    </a:lnTo>
                    <a:lnTo>
                      <a:pt x="102" y="508"/>
                    </a:lnTo>
                    <a:lnTo>
                      <a:pt x="102" y="510"/>
                    </a:lnTo>
                    <a:lnTo>
                      <a:pt x="102" y="512"/>
                    </a:lnTo>
                    <a:lnTo>
                      <a:pt x="101" y="512"/>
                    </a:lnTo>
                    <a:lnTo>
                      <a:pt x="99" y="512"/>
                    </a:lnTo>
                    <a:lnTo>
                      <a:pt x="97" y="512"/>
                    </a:lnTo>
                    <a:lnTo>
                      <a:pt x="97" y="513"/>
                    </a:lnTo>
                    <a:lnTo>
                      <a:pt x="96" y="513"/>
                    </a:lnTo>
                    <a:lnTo>
                      <a:pt x="96" y="515"/>
                    </a:lnTo>
                    <a:lnTo>
                      <a:pt x="94" y="515"/>
                    </a:lnTo>
                    <a:lnTo>
                      <a:pt x="94" y="517"/>
                    </a:lnTo>
                    <a:lnTo>
                      <a:pt x="92" y="517"/>
                    </a:lnTo>
                    <a:lnTo>
                      <a:pt x="91" y="517"/>
                    </a:lnTo>
                    <a:lnTo>
                      <a:pt x="89" y="517"/>
                    </a:lnTo>
                    <a:lnTo>
                      <a:pt x="85" y="517"/>
                    </a:lnTo>
                    <a:lnTo>
                      <a:pt x="84" y="517"/>
                    </a:lnTo>
                    <a:lnTo>
                      <a:pt x="80" y="517"/>
                    </a:lnTo>
                    <a:lnTo>
                      <a:pt x="77" y="517"/>
                    </a:lnTo>
                    <a:lnTo>
                      <a:pt x="74" y="517"/>
                    </a:lnTo>
                    <a:lnTo>
                      <a:pt x="70" y="517"/>
                    </a:lnTo>
                    <a:lnTo>
                      <a:pt x="67" y="517"/>
                    </a:lnTo>
                    <a:lnTo>
                      <a:pt x="62" y="517"/>
                    </a:lnTo>
                    <a:lnTo>
                      <a:pt x="63" y="517"/>
                    </a:lnTo>
                    <a:lnTo>
                      <a:pt x="62" y="515"/>
                    </a:lnTo>
                    <a:lnTo>
                      <a:pt x="62" y="513"/>
                    </a:lnTo>
                    <a:lnTo>
                      <a:pt x="63" y="513"/>
                    </a:lnTo>
                    <a:lnTo>
                      <a:pt x="62" y="512"/>
                    </a:lnTo>
                    <a:lnTo>
                      <a:pt x="63" y="512"/>
                    </a:lnTo>
                    <a:lnTo>
                      <a:pt x="62" y="512"/>
                    </a:lnTo>
                    <a:lnTo>
                      <a:pt x="63" y="510"/>
                    </a:lnTo>
                    <a:lnTo>
                      <a:pt x="62" y="510"/>
                    </a:lnTo>
                    <a:lnTo>
                      <a:pt x="60" y="510"/>
                    </a:lnTo>
                    <a:lnTo>
                      <a:pt x="60" y="508"/>
                    </a:lnTo>
                    <a:lnTo>
                      <a:pt x="58" y="508"/>
                    </a:lnTo>
                    <a:lnTo>
                      <a:pt x="60" y="508"/>
                    </a:lnTo>
                    <a:lnTo>
                      <a:pt x="58" y="507"/>
                    </a:lnTo>
                    <a:lnTo>
                      <a:pt x="60" y="507"/>
                    </a:lnTo>
                    <a:lnTo>
                      <a:pt x="60" y="505"/>
                    </a:lnTo>
                    <a:lnTo>
                      <a:pt x="58" y="505"/>
                    </a:lnTo>
                    <a:lnTo>
                      <a:pt x="60" y="505"/>
                    </a:lnTo>
                    <a:lnTo>
                      <a:pt x="58" y="505"/>
                    </a:lnTo>
                    <a:lnTo>
                      <a:pt x="58" y="503"/>
                    </a:lnTo>
                    <a:lnTo>
                      <a:pt x="58" y="502"/>
                    </a:lnTo>
                    <a:lnTo>
                      <a:pt x="57" y="502"/>
                    </a:lnTo>
                    <a:lnTo>
                      <a:pt x="57" y="500"/>
                    </a:lnTo>
                    <a:lnTo>
                      <a:pt x="55" y="500"/>
                    </a:lnTo>
                    <a:lnTo>
                      <a:pt x="53" y="500"/>
                    </a:lnTo>
                    <a:lnTo>
                      <a:pt x="51" y="500"/>
                    </a:lnTo>
                    <a:lnTo>
                      <a:pt x="50" y="500"/>
                    </a:lnTo>
                    <a:lnTo>
                      <a:pt x="48" y="500"/>
                    </a:lnTo>
                    <a:lnTo>
                      <a:pt x="48" y="498"/>
                    </a:lnTo>
                    <a:lnTo>
                      <a:pt x="46" y="498"/>
                    </a:lnTo>
                    <a:lnTo>
                      <a:pt x="45" y="498"/>
                    </a:lnTo>
                    <a:lnTo>
                      <a:pt x="43" y="498"/>
                    </a:lnTo>
                    <a:lnTo>
                      <a:pt x="43" y="496"/>
                    </a:lnTo>
                    <a:lnTo>
                      <a:pt x="36" y="496"/>
                    </a:lnTo>
                    <a:lnTo>
                      <a:pt x="28" y="496"/>
                    </a:lnTo>
                    <a:lnTo>
                      <a:pt x="28" y="495"/>
                    </a:lnTo>
                    <a:lnTo>
                      <a:pt x="29" y="495"/>
                    </a:lnTo>
                    <a:lnTo>
                      <a:pt x="31" y="493"/>
                    </a:lnTo>
                    <a:lnTo>
                      <a:pt x="31" y="491"/>
                    </a:lnTo>
                    <a:lnTo>
                      <a:pt x="33" y="491"/>
                    </a:lnTo>
                    <a:lnTo>
                      <a:pt x="34" y="490"/>
                    </a:lnTo>
                    <a:lnTo>
                      <a:pt x="33" y="490"/>
                    </a:lnTo>
                    <a:lnTo>
                      <a:pt x="34" y="488"/>
                    </a:lnTo>
                    <a:lnTo>
                      <a:pt x="36" y="488"/>
                    </a:lnTo>
                    <a:lnTo>
                      <a:pt x="36" y="486"/>
                    </a:lnTo>
                    <a:lnTo>
                      <a:pt x="36" y="485"/>
                    </a:lnTo>
                    <a:lnTo>
                      <a:pt x="36" y="483"/>
                    </a:lnTo>
                    <a:lnTo>
                      <a:pt x="34" y="483"/>
                    </a:lnTo>
                    <a:lnTo>
                      <a:pt x="34" y="481"/>
                    </a:lnTo>
                    <a:lnTo>
                      <a:pt x="33" y="479"/>
                    </a:lnTo>
                    <a:lnTo>
                      <a:pt x="31" y="478"/>
                    </a:lnTo>
                    <a:lnTo>
                      <a:pt x="29" y="476"/>
                    </a:lnTo>
                    <a:lnTo>
                      <a:pt x="29" y="474"/>
                    </a:lnTo>
                    <a:lnTo>
                      <a:pt x="29" y="473"/>
                    </a:lnTo>
                    <a:lnTo>
                      <a:pt x="28" y="473"/>
                    </a:lnTo>
                    <a:lnTo>
                      <a:pt x="26" y="473"/>
                    </a:lnTo>
                    <a:lnTo>
                      <a:pt x="24" y="473"/>
                    </a:lnTo>
                    <a:lnTo>
                      <a:pt x="24" y="471"/>
                    </a:lnTo>
                    <a:lnTo>
                      <a:pt x="23" y="471"/>
                    </a:lnTo>
                    <a:lnTo>
                      <a:pt x="23" y="469"/>
                    </a:lnTo>
                    <a:lnTo>
                      <a:pt x="23" y="467"/>
                    </a:lnTo>
                    <a:lnTo>
                      <a:pt x="23" y="466"/>
                    </a:lnTo>
                    <a:lnTo>
                      <a:pt x="21" y="466"/>
                    </a:lnTo>
                    <a:lnTo>
                      <a:pt x="21" y="464"/>
                    </a:lnTo>
                    <a:lnTo>
                      <a:pt x="21" y="462"/>
                    </a:lnTo>
                    <a:lnTo>
                      <a:pt x="19" y="462"/>
                    </a:lnTo>
                    <a:lnTo>
                      <a:pt x="17" y="462"/>
                    </a:lnTo>
                    <a:lnTo>
                      <a:pt x="16" y="461"/>
                    </a:lnTo>
                    <a:lnTo>
                      <a:pt x="16" y="459"/>
                    </a:lnTo>
                    <a:lnTo>
                      <a:pt x="16" y="457"/>
                    </a:lnTo>
                    <a:lnTo>
                      <a:pt x="14" y="456"/>
                    </a:lnTo>
                    <a:lnTo>
                      <a:pt x="14" y="454"/>
                    </a:lnTo>
                    <a:lnTo>
                      <a:pt x="14" y="452"/>
                    </a:lnTo>
                    <a:lnTo>
                      <a:pt x="12" y="450"/>
                    </a:lnTo>
                    <a:lnTo>
                      <a:pt x="12" y="449"/>
                    </a:lnTo>
                    <a:lnTo>
                      <a:pt x="11" y="449"/>
                    </a:lnTo>
                    <a:lnTo>
                      <a:pt x="11" y="447"/>
                    </a:lnTo>
                    <a:lnTo>
                      <a:pt x="9" y="447"/>
                    </a:lnTo>
                    <a:lnTo>
                      <a:pt x="9" y="445"/>
                    </a:lnTo>
                    <a:lnTo>
                      <a:pt x="7" y="445"/>
                    </a:lnTo>
                    <a:lnTo>
                      <a:pt x="9" y="445"/>
                    </a:lnTo>
                    <a:lnTo>
                      <a:pt x="9" y="444"/>
                    </a:lnTo>
                    <a:lnTo>
                      <a:pt x="9" y="445"/>
                    </a:lnTo>
                    <a:lnTo>
                      <a:pt x="11" y="444"/>
                    </a:lnTo>
                    <a:lnTo>
                      <a:pt x="11" y="442"/>
                    </a:lnTo>
                    <a:lnTo>
                      <a:pt x="11" y="440"/>
                    </a:lnTo>
                    <a:lnTo>
                      <a:pt x="9" y="440"/>
                    </a:lnTo>
                    <a:lnTo>
                      <a:pt x="7" y="440"/>
                    </a:lnTo>
                    <a:lnTo>
                      <a:pt x="7" y="439"/>
                    </a:lnTo>
                    <a:lnTo>
                      <a:pt x="6" y="439"/>
                    </a:lnTo>
                    <a:lnTo>
                      <a:pt x="6" y="437"/>
                    </a:lnTo>
                    <a:lnTo>
                      <a:pt x="4" y="437"/>
                    </a:lnTo>
                    <a:lnTo>
                      <a:pt x="2" y="435"/>
                    </a:lnTo>
                    <a:lnTo>
                      <a:pt x="0" y="433"/>
                    </a:lnTo>
                    <a:lnTo>
                      <a:pt x="2" y="433"/>
                    </a:lnTo>
                    <a:lnTo>
                      <a:pt x="2" y="432"/>
                    </a:lnTo>
                    <a:lnTo>
                      <a:pt x="2" y="430"/>
                    </a:lnTo>
                    <a:lnTo>
                      <a:pt x="2" y="427"/>
                    </a:lnTo>
                    <a:lnTo>
                      <a:pt x="4" y="428"/>
                    </a:lnTo>
                    <a:lnTo>
                      <a:pt x="6" y="427"/>
                    </a:lnTo>
                    <a:lnTo>
                      <a:pt x="7" y="427"/>
                    </a:lnTo>
                    <a:lnTo>
                      <a:pt x="9" y="427"/>
                    </a:lnTo>
                    <a:lnTo>
                      <a:pt x="9" y="425"/>
                    </a:lnTo>
                    <a:lnTo>
                      <a:pt x="11" y="425"/>
                    </a:lnTo>
                    <a:lnTo>
                      <a:pt x="11" y="423"/>
                    </a:lnTo>
                    <a:lnTo>
                      <a:pt x="9" y="422"/>
                    </a:lnTo>
                    <a:lnTo>
                      <a:pt x="7" y="418"/>
                    </a:lnTo>
                    <a:lnTo>
                      <a:pt x="9" y="416"/>
                    </a:lnTo>
                    <a:lnTo>
                      <a:pt x="9" y="415"/>
                    </a:lnTo>
                    <a:lnTo>
                      <a:pt x="9" y="413"/>
                    </a:lnTo>
                    <a:lnTo>
                      <a:pt x="9" y="411"/>
                    </a:lnTo>
                    <a:lnTo>
                      <a:pt x="9" y="410"/>
                    </a:lnTo>
                    <a:lnTo>
                      <a:pt x="11" y="410"/>
                    </a:lnTo>
                    <a:lnTo>
                      <a:pt x="11" y="408"/>
                    </a:lnTo>
                    <a:lnTo>
                      <a:pt x="12" y="408"/>
                    </a:lnTo>
                    <a:lnTo>
                      <a:pt x="12" y="406"/>
                    </a:lnTo>
                    <a:lnTo>
                      <a:pt x="14" y="406"/>
                    </a:lnTo>
                    <a:lnTo>
                      <a:pt x="16" y="406"/>
                    </a:lnTo>
                    <a:lnTo>
                      <a:pt x="16" y="405"/>
                    </a:lnTo>
                    <a:lnTo>
                      <a:pt x="17" y="403"/>
                    </a:lnTo>
                    <a:lnTo>
                      <a:pt x="17" y="405"/>
                    </a:lnTo>
                    <a:lnTo>
                      <a:pt x="17" y="403"/>
                    </a:lnTo>
                    <a:lnTo>
                      <a:pt x="19" y="403"/>
                    </a:lnTo>
                    <a:lnTo>
                      <a:pt x="21" y="403"/>
                    </a:lnTo>
                    <a:lnTo>
                      <a:pt x="21" y="401"/>
                    </a:lnTo>
                    <a:lnTo>
                      <a:pt x="23" y="401"/>
                    </a:lnTo>
                    <a:lnTo>
                      <a:pt x="24" y="401"/>
                    </a:lnTo>
                    <a:lnTo>
                      <a:pt x="26" y="401"/>
                    </a:lnTo>
                    <a:lnTo>
                      <a:pt x="26" y="399"/>
                    </a:lnTo>
                    <a:lnTo>
                      <a:pt x="28" y="401"/>
                    </a:lnTo>
                    <a:lnTo>
                      <a:pt x="28" y="399"/>
                    </a:lnTo>
                    <a:lnTo>
                      <a:pt x="28" y="398"/>
                    </a:lnTo>
                    <a:lnTo>
                      <a:pt x="29" y="399"/>
                    </a:lnTo>
                    <a:lnTo>
                      <a:pt x="29" y="398"/>
                    </a:lnTo>
                    <a:lnTo>
                      <a:pt x="29" y="396"/>
                    </a:lnTo>
                    <a:lnTo>
                      <a:pt x="31" y="396"/>
                    </a:lnTo>
                    <a:lnTo>
                      <a:pt x="29" y="396"/>
                    </a:lnTo>
                    <a:lnTo>
                      <a:pt x="31" y="394"/>
                    </a:lnTo>
                    <a:lnTo>
                      <a:pt x="29" y="394"/>
                    </a:lnTo>
                    <a:lnTo>
                      <a:pt x="29" y="393"/>
                    </a:lnTo>
                    <a:lnTo>
                      <a:pt x="29" y="391"/>
                    </a:lnTo>
                    <a:lnTo>
                      <a:pt x="28" y="391"/>
                    </a:lnTo>
                    <a:lnTo>
                      <a:pt x="29" y="391"/>
                    </a:lnTo>
                    <a:lnTo>
                      <a:pt x="28" y="389"/>
                    </a:lnTo>
                    <a:lnTo>
                      <a:pt x="28" y="388"/>
                    </a:lnTo>
                    <a:lnTo>
                      <a:pt x="26" y="388"/>
                    </a:lnTo>
                    <a:lnTo>
                      <a:pt x="28" y="388"/>
                    </a:lnTo>
                    <a:lnTo>
                      <a:pt x="26" y="388"/>
                    </a:lnTo>
                    <a:lnTo>
                      <a:pt x="26" y="386"/>
                    </a:lnTo>
                    <a:lnTo>
                      <a:pt x="26" y="384"/>
                    </a:lnTo>
                    <a:lnTo>
                      <a:pt x="26" y="382"/>
                    </a:lnTo>
                    <a:lnTo>
                      <a:pt x="26" y="381"/>
                    </a:lnTo>
                    <a:lnTo>
                      <a:pt x="28" y="382"/>
                    </a:lnTo>
                    <a:lnTo>
                      <a:pt x="26" y="381"/>
                    </a:lnTo>
                    <a:lnTo>
                      <a:pt x="28" y="381"/>
                    </a:lnTo>
                    <a:lnTo>
                      <a:pt x="28" y="379"/>
                    </a:lnTo>
                    <a:lnTo>
                      <a:pt x="28" y="377"/>
                    </a:lnTo>
                    <a:lnTo>
                      <a:pt x="29" y="377"/>
                    </a:lnTo>
                    <a:lnTo>
                      <a:pt x="29" y="376"/>
                    </a:lnTo>
                    <a:lnTo>
                      <a:pt x="31" y="376"/>
                    </a:lnTo>
                    <a:lnTo>
                      <a:pt x="31" y="374"/>
                    </a:lnTo>
                    <a:lnTo>
                      <a:pt x="33" y="374"/>
                    </a:lnTo>
                    <a:lnTo>
                      <a:pt x="33" y="372"/>
                    </a:lnTo>
                    <a:lnTo>
                      <a:pt x="34" y="372"/>
                    </a:lnTo>
                    <a:lnTo>
                      <a:pt x="34" y="371"/>
                    </a:lnTo>
                    <a:lnTo>
                      <a:pt x="34" y="369"/>
                    </a:lnTo>
                    <a:lnTo>
                      <a:pt x="36" y="369"/>
                    </a:lnTo>
                    <a:lnTo>
                      <a:pt x="34" y="369"/>
                    </a:lnTo>
                    <a:lnTo>
                      <a:pt x="34" y="367"/>
                    </a:lnTo>
                    <a:lnTo>
                      <a:pt x="36" y="367"/>
                    </a:lnTo>
                    <a:lnTo>
                      <a:pt x="36" y="365"/>
                    </a:lnTo>
                    <a:lnTo>
                      <a:pt x="36" y="364"/>
                    </a:lnTo>
                    <a:lnTo>
                      <a:pt x="34" y="364"/>
                    </a:lnTo>
                    <a:lnTo>
                      <a:pt x="36" y="364"/>
                    </a:lnTo>
                    <a:lnTo>
                      <a:pt x="36" y="362"/>
                    </a:lnTo>
                    <a:lnTo>
                      <a:pt x="36" y="360"/>
                    </a:lnTo>
                    <a:lnTo>
                      <a:pt x="38" y="360"/>
                    </a:lnTo>
                    <a:lnTo>
                      <a:pt x="38" y="359"/>
                    </a:lnTo>
                    <a:lnTo>
                      <a:pt x="38" y="357"/>
                    </a:lnTo>
                    <a:lnTo>
                      <a:pt x="38" y="355"/>
                    </a:lnTo>
                    <a:lnTo>
                      <a:pt x="38" y="354"/>
                    </a:lnTo>
                    <a:lnTo>
                      <a:pt x="38" y="352"/>
                    </a:lnTo>
                    <a:lnTo>
                      <a:pt x="40" y="352"/>
                    </a:lnTo>
                    <a:lnTo>
                      <a:pt x="40" y="350"/>
                    </a:lnTo>
                    <a:lnTo>
                      <a:pt x="41" y="350"/>
                    </a:lnTo>
                    <a:lnTo>
                      <a:pt x="43" y="350"/>
                    </a:lnTo>
                    <a:lnTo>
                      <a:pt x="43" y="348"/>
                    </a:lnTo>
                    <a:lnTo>
                      <a:pt x="45" y="348"/>
                    </a:lnTo>
                    <a:lnTo>
                      <a:pt x="46" y="348"/>
                    </a:lnTo>
                    <a:lnTo>
                      <a:pt x="48" y="348"/>
                    </a:lnTo>
                    <a:lnTo>
                      <a:pt x="46" y="347"/>
                    </a:lnTo>
                    <a:lnTo>
                      <a:pt x="48" y="347"/>
                    </a:lnTo>
                    <a:lnTo>
                      <a:pt x="46" y="347"/>
                    </a:lnTo>
                    <a:lnTo>
                      <a:pt x="48" y="347"/>
                    </a:lnTo>
                    <a:lnTo>
                      <a:pt x="50" y="345"/>
                    </a:lnTo>
                    <a:lnTo>
                      <a:pt x="51" y="345"/>
                    </a:lnTo>
                    <a:lnTo>
                      <a:pt x="53" y="343"/>
                    </a:lnTo>
                    <a:lnTo>
                      <a:pt x="51" y="343"/>
                    </a:lnTo>
                    <a:lnTo>
                      <a:pt x="53" y="343"/>
                    </a:lnTo>
                    <a:lnTo>
                      <a:pt x="55" y="343"/>
                    </a:lnTo>
                    <a:lnTo>
                      <a:pt x="55" y="342"/>
                    </a:lnTo>
                    <a:lnTo>
                      <a:pt x="55" y="340"/>
                    </a:lnTo>
                    <a:lnTo>
                      <a:pt x="57" y="340"/>
                    </a:lnTo>
                    <a:lnTo>
                      <a:pt x="58" y="340"/>
                    </a:lnTo>
                    <a:lnTo>
                      <a:pt x="60" y="340"/>
                    </a:lnTo>
                    <a:lnTo>
                      <a:pt x="58" y="338"/>
                    </a:lnTo>
                    <a:lnTo>
                      <a:pt x="60" y="340"/>
                    </a:lnTo>
                    <a:lnTo>
                      <a:pt x="60" y="338"/>
                    </a:lnTo>
                    <a:lnTo>
                      <a:pt x="62" y="338"/>
                    </a:lnTo>
                    <a:lnTo>
                      <a:pt x="63" y="337"/>
                    </a:lnTo>
                    <a:lnTo>
                      <a:pt x="63" y="338"/>
                    </a:lnTo>
                    <a:lnTo>
                      <a:pt x="63" y="337"/>
                    </a:lnTo>
                    <a:lnTo>
                      <a:pt x="65" y="337"/>
                    </a:lnTo>
                    <a:lnTo>
                      <a:pt x="65" y="335"/>
                    </a:lnTo>
                    <a:lnTo>
                      <a:pt x="67" y="335"/>
                    </a:lnTo>
                    <a:lnTo>
                      <a:pt x="68" y="335"/>
                    </a:lnTo>
                    <a:lnTo>
                      <a:pt x="68" y="333"/>
                    </a:lnTo>
                    <a:lnTo>
                      <a:pt x="70" y="333"/>
                    </a:lnTo>
                    <a:lnTo>
                      <a:pt x="70" y="331"/>
                    </a:lnTo>
                    <a:lnTo>
                      <a:pt x="72" y="331"/>
                    </a:lnTo>
                    <a:lnTo>
                      <a:pt x="70" y="330"/>
                    </a:lnTo>
                    <a:lnTo>
                      <a:pt x="72" y="330"/>
                    </a:lnTo>
                    <a:lnTo>
                      <a:pt x="72" y="331"/>
                    </a:lnTo>
                    <a:lnTo>
                      <a:pt x="72" y="330"/>
                    </a:lnTo>
                    <a:lnTo>
                      <a:pt x="74" y="330"/>
                    </a:lnTo>
                    <a:lnTo>
                      <a:pt x="75" y="330"/>
                    </a:lnTo>
                    <a:lnTo>
                      <a:pt x="77" y="330"/>
                    </a:lnTo>
                    <a:lnTo>
                      <a:pt x="75" y="330"/>
                    </a:lnTo>
                    <a:lnTo>
                      <a:pt x="77" y="330"/>
                    </a:lnTo>
                    <a:lnTo>
                      <a:pt x="79" y="330"/>
                    </a:lnTo>
                    <a:lnTo>
                      <a:pt x="80" y="330"/>
                    </a:lnTo>
                    <a:lnTo>
                      <a:pt x="80" y="331"/>
                    </a:lnTo>
                    <a:lnTo>
                      <a:pt x="82" y="331"/>
                    </a:lnTo>
                    <a:lnTo>
                      <a:pt x="82" y="330"/>
                    </a:lnTo>
                    <a:lnTo>
                      <a:pt x="84" y="330"/>
                    </a:lnTo>
                    <a:lnTo>
                      <a:pt x="84" y="328"/>
                    </a:lnTo>
                    <a:lnTo>
                      <a:pt x="84" y="330"/>
                    </a:lnTo>
                    <a:lnTo>
                      <a:pt x="85" y="330"/>
                    </a:lnTo>
                    <a:lnTo>
                      <a:pt x="84" y="328"/>
                    </a:lnTo>
                    <a:lnTo>
                      <a:pt x="85" y="328"/>
                    </a:lnTo>
                    <a:lnTo>
                      <a:pt x="87" y="328"/>
                    </a:lnTo>
                    <a:lnTo>
                      <a:pt x="87" y="330"/>
                    </a:lnTo>
                    <a:lnTo>
                      <a:pt x="87" y="328"/>
                    </a:lnTo>
                    <a:lnTo>
                      <a:pt x="89" y="328"/>
                    </a:lnTo>
                    <a:lnTo>
                      <a:pt x="91" y="328"/>
                    </a:lnTo>
                    <a:lnTo>
                      <a:pt x="91" y="326"/>
                    </a:lnTo>
                    <a:lnTo>
                      <a:pt x="91" y="328"/>
                    </a:lnTo>
                    <a:lnTo>
                      <a:pt x="92" y="328"/>
                    </a:lnTo>
                    <a:lnTo>
                      <a:pt x="92" y="326"/>
                    </a:lnTo>
                    <a:lnTo>
                      <a:pt x="94" y="326"/>
                    </a:lnTo>
                    <a:lnTo>
                      <a:pt x="96" y="328"/>
                    </a:lnTo>
                    <a:lnTo>
                      <a:pt x="96" y="326"/>
                    </a:lnTo>
                    <a:lnTo>
                      <a:pt x="97" y="326"/>
                    </a:lnTo>
                    <a:lnTo>
                      <a:pt x="99" y="326"/>
                    </a:lnTo>
                    <a:lnTo>
                      <a:pt x="101" y="326"/>
                    </a:lnTo>
                    <a:lnTo>
                      <a:pt x="102" y="326"/>
                    </a:lnTo>
                    <a:lnTo>
                      <a:pt x="102" y="325"/>
                    </a:lnTo>
                    <a:lnTo>
                      <a:pt x="101" y="325"/>
                    </a:lnTo>
                    <a:lnTo>
                      <a:pt x="102" y="325"/>
                    </a:lnTo>
                    <a:lnTo>
                      <a:pt x="102" y="326"/>
                    </a:lnTo>
                    <a:lnTo>
                      <a:pt x="104" y="326"/>
                    </a:lnTo>
                    <a:lnTo>
                      <a:pt x="104" y="325"/>
                    </a:lnTo>
                    <a:lnTo>
                      <a:pt x="106" y="325"/>
                    </a:lnTo>
                    <a:lnTo>
                      <a:pt x="106" y="323"/>
                    </a:lnTo>
                    <a:lnTo>
                      <a:pt x="106" y="321"/>
                    </a:lnTo>
                    <a:lnTo>
                      <a:pt x="108" y="321"/>
                    </a:lnTo>
                    <a:lnTo>
                      <a:pt x="108" y="319"/>
                    </a:lnTo>
                    <a:lnTo>
                      <a:pt x="109" y="319"/>
                    </a:lnTo>
                    <a:lnTo>
                      <a:pt x="109" y="318"/>
                    </a:lnTo>
                    <a:lnTo>
                      <a:pt x="111" y="319"/>
                    </a:lnTo>
                    <a:lnTo>
                      <a:pt x="113" y="319"/>
                    </a:lnTo>
                    <a:lnTo>
                      <a:pt x="113" y="318"/>
                    </a:lnTo>
                    <a:lnTo>
                      <a:pt x="114" y="318"/>
                    </a:lnTo>
                    <a:lnTo>
                      <a:pt x="114" y="319"/>
                    </a:lnTo>
                    <a:lnTo>
                      <a:pt x="116" y="319"/>
                    </a:lnTo>
                    <a:lnTo>
                      <a:pt x="118" y="318"/>
                    </a:lnTo>
                    <a:lnTo>
                      <a:pt x="116" y="318"/>
                    </a:lnTo>
                    <a:lnTo>
                      <a:pt x="118" y="318"/>
                    </a:lnTo>
                    <a:lnTo>
                      <a:pt x="118" y="319"/>
                    </a:lnTo>
                    <a:lnTo>
                      <a:pt x="119" y="319"/>
                    </a:lnTo>
                    <a:lnTo>
                      <a:pt x="119" y="318"/>
                    </a:lnTo>
                    <a:lnTo>
                      <a:pt x="119" y="319"/>
                    </a:lnTo>
                    <a:lnTo>
                      <a:pt x="119" y="318"/>
                    </a:lnTo>
                    <a:lnTo>
                      <a:pt x="121" y="318"/>
                    </a:lnTo>
                    <a:lnTo>
                      <a:pt x="119" y="318"/>
                    </a:lnTo>
                    <a:lnTo>
                      <a:pt x="121" y="318"/>
                    </a:lnTo>
                    <a:lnTo>
                      <a:pt x="123" y="318"/>
                    </a:lnTo>
                    <a:lnTo>
                      <a:pt x="123" y="319"/>
                    </a:lnTo>
                    <a:lnTo>
                      <a:pt x="125" y="319"/>
                    </a:lnTo>
                    <a:lnTo>
                      <a:pt x="125" y="318"/>
                    </a:lnTo>
                    <a:lnTo>
                      <a:pt x="126" y="319"/>
                    </a:lnTo>
                    <a:lnTo>
                      <a:pt x="126" y="321"/>
                    </a:lnTo>
                    <a:lnTo>
                      <a:pt x="125" y="321"/>
                    </a:lnTo>
                    <a:lnTo>
                      <a:pt x="126" y="323"/>
                    </a:lnTo>
                    <a:lnTo>
                      <a:pt x="128" y="325"/>
                    </a:lnTo>
                    <a:lnTo>
                      <a:pt x="128" y="323"/>
                    </a:lnTo>
                    <a:lnTo>
                      <a:pt x="128" y="325"/>
                    </a:lnTo>
                    <a:lnTo>
                      <a:pt x="130" y="325"/>
                    </a:lnTo>
                    <a:lnTo>
                      <a:pt x="130" y="323"/>
                    </a:lnTo>
                    <a:lnTo>
                      <a:pt x="131" y="323"/>
                    </a:lnTo>
                    <a:lnTo>
                      <a:pt x="131" y="321"/>
                    </a:lnTo>
                    <a:lnTo>
                      <a:pt x="131" y="323"/>
                    </a:lnTo>
                    <a:lnTo>
                      <a:pt x="133" y="323"/>
                    </a:lnTo>
                    <a:lnTo>
                      <a:pt x="133" y="325"/>
                    </a:lnTo>
                    <a:lnTo>
                      <a:pt x="135" y="326"/>
                    </a:lnTo>
                    <a:lnTo>
                      <a:pt x="136" y="326"/>
                    </a:lnTo>
                    <a:lnTo>
                      <a:pt x="136" y="325"/>
                    </a:lnTo>
                    <a:lnTo>
                      <a:pt x="136" y="323"/>
                    </a:lnTo>
                    <a:lnTo>
                      <a:pt x="136" y="321"/>
                    </a:lnTo>
                    <a:lnTo>
                      <a:pt x="138" y="321"/>
                    </a:lnTo>
                    <a:lnTo>
                      <a:pt x="140" y="311"/>
                    </a:lnTo>
                    <a:lnTo>
                      <a:pt x="142" y="302"/>
                    </a:lnTo>
                    <a:lnTo>
                      <a:pt x="145" y="279"/>
                    </a:lnTo>
                    <a:lnTo>
                      <a:pt x="145" y="275"/>
                    </a:lnTo>
                    <a:lnTo>
                      <a:pt x="148" y="260"/>
                    </a:lnTo>
                    <a:lnTo>
                      <a:pt x="148" y="255"/>
                    </a:lnTo>
                    <a:lnTo>
                      <a:pt x="150" y="250"/>
                    </a:lnTo>
                    <a:lnTo>
                      <a:pt x="152" y="245"/>
                    </a:lnTo>
                    <a:lnTo>
                      <a:pt x="152" y="238"/>
                    </a:lnTo>
                    <a:lnTo>
                      <a:pt x="153" y="229"/>
                    </a:lnTo>
                    <a:lnTo>
                      <a:pt x="153" y="228"/>
                    </a:lnTo>
                    <a:lnTo>
                      <a:pt x="155" y="228"/>
                    </a:lnTo>
                    <a:lnTo>
                      <a:pt x="155" y="226"/>
                    </a:lnTo>
                    <a:lnTo>
                      <a:pt x="153" y="226"/>
                    </a:lnTo>
                    <a:lnTo>
                      <a:pt x="155" y="224"/>
                    </a:lnTo>
                    <a:lnTo>
                      <a:pt x="155" y="223"/>
                    </a:lnTo>
                    <a:lnTo>
                      <a:pt x="155" y="221"/>
                    </a:lnTo>
                    <a:lnTo>
                      <a:pt x="155" y="219"/>
                    </a:lnTo>
                    <a:lnTo>
                      <a:pt x="155" y="217"/>
                    </a:lnTo>
                    <a:lnTo>
                      <a:pt x="155" y="216"/>
                    </a:lnTo>
                    <a:lnTo>
                      <a:pt x="155" y="214"/>
                    </a:lnTo>
                    <a:lnTo>
                      <a:pt x="155" y="212"/>
                    </a:lnTo>
                    <a:lnTo>
                      <a:pt x="153" y="212"/>
                    </a:lnTo>
                    <a:lnTo>
                      <a:pt x="155" y="212"/>
                    </a:lnTo>
                    <a:lnTo>
                      <a:pt x="153" y="211"/>
                    </a:lnTo>
                    <a:lnTo>
                      <a:pt x="152" y="209"/>
                    </a:lnTo>
                    <a:lnTo>
                      <a:pt x="152" y="211"/>
                    </a:lnTo>
                    <a:lnTo>
                      <a:pt x="152" y="209"/>
                    </a:lnTo>
                    <a:lnTo>
                      <a:pt x="152" y="207"/>
                    </a:lnTo>
                    <a:lnTo>
                      <a:pt x="150" y="207"/>
                    </a:lnTo>
                    <a:lnTo>
                      <a:pt x="150" y="206"/>
                    </a:lnTo>
                    <a:lnTo>
                      <a:pt x="148" y="204"/>
                    </a:lnTo>
                    <a:lnTo>
                      <a:pt x="150" y="204"/>
                    </a:lnTo>
                    <a:lnTo>
                      <a:pt x="148" y="204"/>
                    </a:lnTo>
                    <a:lnTo>
                      <a:pt x="148" y="202"/>
                    </a:lnTo>
                    <a:lnTo>
                      <a:pt x="148" y="200"/>
                    </a:lnTo>
                    <a:lnTo>
                      <a:pt x="150" y="200"/>
                    </a:lnTo>
                    <a:lnTo>
                      <a:pt x="150" y="199"/>
                    </a:lnTo>
                    <a:lnTo>
                      <a:pt x="148" y="199"/>
                    </a:lnTo>
                    <a:lnTo>
                      <a:pt x="148" y="197"/>
                    </a:lnTo>
                    <a:lnTo>
                      <a:pt x="148" y="195"/>
                    </a:lnTo>
                    <a:lnTo>
                      <a:pt x="148" y="194"/>
                    </a:lnTo>
                    <a:lnTo>
                      <a:pt x="147" y="195"/>
                    </a:lnTo>
                    <a:lnTo>
                      <a:pt x="147" y="194"/>
                    </a:lnTo>
                    <a:lnTo>
                      <a:pt x="145" y="194"/>
                    </a:lnTo>
                    <a:lnTo>
                      <a:pt x="143" y="192"/>
                    </a:lnTo>
                    <a:lnTo>
                      <a:pt x="142" y="192"/>
                    </a:lnTo>
                    <a:lnTo>
                      <a:pt x="142" y="190"/>
                    </a:lnTo>
                    <a:lnTo>
                      <a:pt x="140" y="189"/>
                    </a:lnTo>
                    <a:lnTo>
                      <a:pt x="138" y="190"/>
                    </a:lnTo>
                    <a:lnTo>
                      <a:pt x="138" y="189"/>
                    </a:lnTo>
                    <a:lnTo>
                      <a:pt x="136" y="189"/>
                    </a:lnTo>
                    <a:lnTo>
                      <a:pt x="136" y="187"/>
                    </a:lnTo>
                    <a:lnTo>
                      <a:pt x="135" y="185"/>
                    </a:lnTo>
                    <a:lnTo>
                      <a:pt x="135" y="183"/>
                    </a:lnTo>
                    <a:lnTo>
                      <a:pt x="135" y="182"/>
                    </a:lnTo>
                    <a:lnTo>
                      <a:pt x="133" y="182"/>
                    </a:lnTo>
                    <a:lnTo>
                      <a:pt x="133" y="178"/>
                    </a:lnTo>
                    <a:lnTo>
                      <a:pt x="133" y="175"/>
                    </a:lnTo>
                    <a:lnTo>
                      <a:pt x="133" y="172"/>
                    </a:lnTo>
                    <a:lnTo>
                      <a:pt x="133" y="170"/>
                    </a:lnTo>
                    <a:lnTo>
                      <a:pt x="133" y="168"/>
                    </a:lnTo>
                    <a:lnTo>
                      <a:pt x="133" y="166"/>
                    </a:lnTo>
                    <a:lnTo>
                      <a:pt x="133" y="165"/>
                    </a:lnTo>
                    <a:lnTo>
                      <a:pt x="133" y="161"/>
                    </a:lnTo>
                    <a:lnTo>
                      <a:pt x="133" y="160"/>
                    </a:lnTo>
                    <a:lnTo>
                      <a:pt x="135" y="160"/>
                    </a:lnTo>
                    <a:lnTo>
                      <a:pt x="135" y="158"/>
                    </a:lnTo>
                    <a:lnTo>
                      <a:pt x="136" y="158"/>
                    </a:lnTo>
                    <a:lnTo>
                      <a:pt x="136" y="160"/>
                    </a:lnTo>
                    <a:lnTo>
                      <a:pt x="138" y="160"/>
                    </a:lnTo>
                    <a:lnTo>
                      <a:pt x="138" y="158"/>
                    </a:lnTo>
                    <a:lnTo>
                      <a:pt x="140" y="158"/>
                    </a:lnTo>
                    <a:lnTo>
                      <a:pt x="142" y="158"/>
                    </a:lnTo>
                    <a:lnTo>
                      <a:pt x="143" y="158"/>
                    </a:lnTo>
                    <a:lnTo>
                      <a:pt x="143" y="156"/>
                    </a:lnTo>
                    <a:lnTo>
                      <a:pt x="145" y="158"/>
                    </a:lnTo>
                    <a:lnTo>
                      <a:pt x="145" y="156"/>
                    </a:lnTo>
                    <a:lnTo>
                      <a:pt x="147" y="154"/>
                    </a:lnTo>
                    <a:lnTo>
                      <a:pt x="147" y="156"/>
                    </a:lnTo>
                    <a:lnTo>
                      <a:pt x="148" y="156"/>
                    </a:lnTo>
                    <a:lnTo>
                      <a:pt x="148" y="158"/>
                    </a:lnTo>
                    <a:lnTo>
                      <a:pt x="148" y="156"/>
                    </a:lnTo>
                    <a:lnTo>
                      <a:pt x="150" y="156"/>
                    </a:lnTo>
                    <a:lnTo>
                      <a:pt x="150" y="154"/>
                    </a:lnTo>
                    <a:lnTo>
                      <a:pt x="152" y="154"/>
                    </a:lnTo>
                    <a:lnTo>
                      <a:pt x="152" y="153"/>
                    </a:lnTo>
                    <a:lnTo>
                      <a:pt x="153" y="153"/>
                    </a:lnTo>
                    <a:lnTo>
                      <a:pt x="155" y="154"/>
                    </a:lnTo>
                    <a:lnTo>
                      <a:pt x="155" y="156"/>
                    </a:lnTo>
                    <a:lnTo>
                      <a:pt x="157" y="156"/>
                    </a:lnTo>
                    <a:lnTo>
                      <a:pt x="157" y="158"/>
                    </a:lnTo>
                    <a:lnTo>
                      <a:pt x="157" y="156"/>
                    </a:lnTo>
                    <a:lnTo>
                      <a:pt x="159" y="156"/>
                    </a:lnTo>
                    <a:lnTo>
                      <a:pt x="159" y="158"/>
                    </a:lnTo>
                    <a:lnTo>
                      <a:pt x="160" y="158"/>
                    </a:lnTo>
                    <a:lnTo>
                      <a:pt x="162" y="158"/>
                    </a:lnTo>
                    <a:lnTo>
                      <a:pt x="162" y="156"/>
                    </a:lnTo>
                    <a:lnTo>
                      <a:pt x="164" y="156"/>
                    </a:lnTo>
                    <a:lnTo>
                      <a:pt x="165" y="156"/>
                    </a:lnTo>
                    <a:lnTo>
                      <a:pt x="165" y="154"/>
                    </a:lnTo>
                    <a:lnTo>
                      <a:pt x="164" y="154"/>
                    </a:lnTo>
                    <a:lnTo>
                      <a:pt x="162" y="153"/>
                    </a:lnTo>
                    <a:lnTo>
                      <a:pt x="164" y="153"/>
                    </a:lnTo>
                    <a:lnTo>
                      <a:pt x="164" y="151"/>
                    </a:lnTo>
                    <a:lnTo>
                      <a:pt x="164" y="149"/>
                    </a:lnTo>
                    <a:lnTo>
                      <a:pt x="164" y="148"/>
                    </a:lnTo>
                    <a:lnTo>
                      <a:pt x="162" y="148"/>
                    </a:lnTo>
                    <a:lnTo>
                      <a:pt x="162" y="146"/>
                    </a:lnTo>
                    <a:lnTo>
                      <a:pt x="164" y="146"/>
                    </a:lnTo>
                    <a:lnTo>
                      <a:pt x="162" y="146"/>
                    </a:lnTo>
                    <a:lnTo>
                      <a:pt x="162" y="144"/>
                    </a:lnTo>
                    <a:lnTo>
                      <a:pt x="162" y="143"/>
                    </a:lnTo>
                    <a:lnTo>
                      <a:pt x="160" y="143"/>
                    </a:lnTo>
                    <a:lnTo>
                      <a:pt x="159" y="143"/>
                    </a:lnTo>
                    <a:lnTo>
                      <a:pt x="159" y="141"/>
                    </a:lnTo>
                    <a:lnTo>
                      <a:pt x="157" y="141"/>
                    </a:lnTo>
                    <a:lnTo>
                      <a:pt x="155" y="143"/>
                    </a:lnTo>
                    <a:lnTo>
                      <a:pt x="153" y="141"/>
                    </a:lnTo>
                    <a:lnTo>
                      <a:pt x="152" y="141"/>
                    </a:lnTo>
                    <a:lnTo>
                      <a:pt x="150" y="141"/>
                    </a:lnTo>
                    <a:lnTo>
                      <a:pt x="148" y="141"/>
                    </a:lnTo>
                    <a:lnTo>
                      <a:pt x="147" y="141"/>
                    </a:lnTo>
                    <a:lnTo>
                      <a:pt x="145" y="141"/>
                    </a:lnTo>
                    <a:lnTo>
                      <a:pt x="143" y="141"/>
                    </a:lnTo>
                    <a:lnTo>
                      <a:pt x="142" y="141"/>
                    </a:lnTo>
                    <a:lnTo>
                      <a:pt x="142" y="143"/>
                    </a:lnTo>
                    <a:lnTo>
                      <a:pt x="142" y="141"/>
                    </a:lnTo>
                    <a:lnTo>
                      <a:pt x="140" y="141"/>
                    </a:lnTo>
                    <a:lnTo>
                      <a:pt x="140" y="139"/>
                    </a:lnTo>
                    <a:lnTo>
                      <a:pt x="140" y="136"/>
                    </a:lnTo>
                    <a:lnTo>
                      <a:pt x="140" y="134"/>
                    </a:lnTo>
                    <a:lnTo>
                      <a:pt x="140" y="132"/>
                    </a:lnTo>
                    <a:lnTo>
                      <a:pt x="140" y="129"/>
                    </a:lnTo>
                    <a:lnTo>
                      <a:pt x="140" y="126"/>
                    </a:lnTo>
                    <a:lnTo>
                      <a:pt x="140" y="122"/>
                    </a:lnTo>
                    <a:lnTo>
                      <a:pt x="140" y="120"/>
                    </a:lnTo>
                    <a:lnTo>
                      <a:pt x="142" y="120"/>
                    </a:lnTo>
                    <a:lnTo>
                      <a:pt x="143" y="120"/>
                    </a:lnTo>
                    <a:lnTo>
                      <a:pt x="143" y="119"/>
                    </a:lnTo>
                    <a:lnTo>
                      <a:pt x="145" y="119"/>
                    </a:lnTo>
                    <a:lnTo>
                      <a:pt x="147" y="119"/>
                    </a:lnTo>
                    <a:lnTo>
                      <a:pt x="147" y="120"/>
                    </a:lnTo>
                    <a:lnTo>
                      <a:pt x="147" y="119"/>
                    </a:lnTo>
                    <a:lnTo>
                      <a:pt x="147" y="120"/>
                    </a:lnTo>
                    <a:lnTo>
                      <a:pt x="147" y="119"/>
                    </a:lnTo>
                    <a:lnTo>
                      <a:pt x="148" y="120"/>
                    </a:lnTo>
                    <a:lnTo>
                      <a:pt x="148" y="119"/>
                    </a:lnTo>
                    <a:lnTo>
                      <a:pt x="150" y="119"/>
                    </a:lnTo>
                    <a:lnTo>
                      <a:pt x="152" y="117"/>
                    </a:lnTo>
                    <a:lnTo>
                      <a:pt x="152" y="119"/>
                    </a:lnTo>
                    <a:lnTo>
                      <a:pt x="153" y="119"/>
                    </a:lnTo>
                    <a:lnTo>
                      <a:pt x="155" y="119"/>
                    </a:lnTo>
                    <a:lnTo>
                      <a:pt x="159" y="119"/>
                    </a:lnTo>
                    <a:lnTo>
                      <a:pt x="164" y="119"/>
                    </a:lnTo>
                    <a:lnTo>
                      <a:pt x="169" y="119"/>
                    </a:lnTo>
                    <a:lnTo>
                      <a:pt x="174" y="119"/>
                    </a:lnTo>
                    <a:lnTo>
                      <a:pt x="184" y="119"/>
                    </a:lnTo>
                    <a:lnTo>
                      <a:pt x="198" y="119"/>
                    </a:lnTo>
                    <a:lnTo>
                      <a:pt x="196" y="119"/>
                    </a:lnTo>
                    <a:lnTo>
                      <a:pt x="196" y="117"/>
                    </a:lnTo>
                    <a:lnTo>
                      <a:pt x="196" y="119"/>
                    </a:lnTo>
                    <a:lnTo>
                      <a:pt x="194" y="117"/>
                    </a:lnTo>
                    <a:lnTo>
                      <a:pt x="194" y="119"/>
                    </a:lnTo>
                    <a:lnTo>
                      <a:pt x="194" y="117"/>
                    </a:lnTo>
                    <a:lnTo>
                      <a:pt x="194" y="115"/>
                    </a:lnTo>
                    <a:lnTo>
                      <a:pt x="194" y="117"/>
                    </a:lnTo>
                    <a:lnTo>
                      <a:pt x="194" y="115"/>
                    </a:lnTo>
                    <a:lnTo>
                      <a:pt x="194" y="117"/>
                    </a:lnTo>
                    <a:lnTo>
                      <a:pt x="193" y="115"/>
                    </a:lnTo>
                    <a:lnTo>
                      <a:pt x="194" y="115"/>
                    </a:lnTo>
                    <a:lnTo>
                      <a:pt x="193" y="115"/>
                    </a:lnTo>
                    <a:lnTo>
                      <a:pt x="194" y="115"/>
                    </a:lnTo>
                    <a:lnTo>
                      <a:pt x="194" y="114"/>
                    </a:lnTo>
                    <a:lnTo>
                      <a:pt x="194" y="112"/>
                    </a:lnTo>
                    <a:lnTo>
                      <a:pt x="196" y="112"/>
                    </a:lnTo>
                    <a:lnTo>
                      <a:pt x="196" y="110"/>
                    </a:lnTo>
                    <a:lnTo>
                      <a:pt x="196" y="109"/>
                    </a:lnTo>
                    <a:lnTo>
                      <a:pt x="196" y="110"/>
                    </a:lnTo>
                    <a:lnTo>
                      <a:pt x="196" y="112"/>
                    </a:lnTo>
                    <a:lnTo>
                      <a:pt x="198" y="112"/>
                    </a:lnTo>
                    <a:lnTo>
                      <a:pt x="198" y="110"/>
                    </a:lnTo>
                    <a:lnTo>
                      <a:pt x="198" y="112"/>
                    </a:lnTo>
                    <a:lnTo>
                      <a:pt x="199" y="112"/>
                    </a:lnTo>
                    <a:lnTo>
                      <a:pt x="199" y="114"/>
                    </a:lnTo>
                    <a:lnTo>
                      <a:pt x="201" y="114"/>
                    </a:lnTo>
                    <a:lnTo>
                      <a:pt x="203" y="114"/>
                    </a:lnTo>
                    <a:lnTo>
                      <a:pt x="203" y="115"/>
                    </a:lnTo>
                    <a:lnTo>
                      <a:pt x="204" y="115"/>
                    </a:lnTo>
                    <a:lnTo>
                      <a:pt x="204" y="117"/>
                    </a:lnTo>
                    <a:lnTo>
                      <a:pt x="206" y="117"/>
                    </a:lnTo>
                    <a:lnTo>
                      <a:pt x="206" y="115"/>
                    </a:lnTo>
                    <a:lnTo>
                      <a:pt x="208" y="114"/>
                    </a:lnTo>
                    <a:lnTo>
                      <a:pt x="208" y="112"/>
                    </a:lnTo>
                    <a:lnTo>
                      <a:pt x="210" y="112"/>
                    </a:lnTo>
                    <a:lnTo>
                      <a:pt x="210" y="110"/>
                    </a:lnTo>
                    <a:lnTo>
                      <a:pt x="211" y="110"/>
                    </a:lnTo>
                    <a:lnTo>
                      <a:pt x="211" y="109"/>
                    </a:lnTo>
                    <a:lnTo>
                      <a:pt x="213" y="109"/>
                    </a:lnTo>
                    <a:lnTo>
                      <a:pt x="215" y="109"/>
                    </a:lnTo>
                    <a:lnTo>
                      <a:pt x="216" y="109"/>
                    </a:lnTo>
                    <a:lnTo>
                      <a:pt x="218" y="109"/>
                    </a:lnTo>
                    <a:lnTo>
                      <a:pt x="218" y="107"/>
                    </a:lnTo>
                    <a:lnTo>
                      <a:pt x="220" y="107"/>
                    </a:lnTo>
                    <a:lnTo>
                      <a:pt x="220" y="105"/>
                    </a:lnTo>
                    <a:lnTo>
                      <a:pt x="221" y="105"/>
                    </a:lnTo>
                    <a:lnTo>
                      <a:pt x="221" y="103"/>
                    </a:lnTo>
                    <a:lnTo>
                      <a:pt x="223" y="102"/>
                    </a:lnTo>
                    <a:lnTo>
                      <a:pt x="223" y="103"/>
                    </a:lnTo>
                    <a:lnTo>
                      <a:pt x="225" y="103"/>
                    </a:lnTo>
                    <a:lnTo>
                      <a:pt x="223" y="103"/>
                    </a:lnTo>
                    <a:lnTo>
                      <a:pt x="223" y="105"/>
                    </a:lnTo>
                    <a:lnTo>
                      <a:pt x="225" y="105"/>
                    </a:lnTo>
                    <a:lnTo>
                      <a:pt x="225" y="107"/>
                    </a:lnTo>
                    <a:lnTo>
                      <a:pt x="225" y="109"/>
                    </a:lnTo>
                    <a:lnTo>
                      <a:pt x="225" y="110"/>
                    </a:lnTo>
                    <a:lnTo>
                      <a:pt x="225" y="112"/>
                    </a:lnTo>
                    <a:lnTo>
                      <a:pt x="227" y="112"/>
                    </a:lnTo>
                    <a:lnTo>
                      <a:pt x="227" y="114"/>
                    </a:lnTo>
                    <a:lnTo>
                      <a:pt x="228" y="115"/>
                    </a:lnTo>
                    <a:lnTo>
                      <a:pt x="230" y="115"/>
                    </a:lnTo>
                    <a:lnTo>
                      <a:pt x="232" y="115"/>
                    </a:lnTo>
                    <a:lnTo>
                      <a:pt x="232" y="117"/>
                    </a:lnTo>
                    <a:lnTo>
                      <a:pt x="232" y="119"/>
                    </a:lnTo>
                    <a:lnTo>
                      <a:pt x="232" y="120"/>
                    </a:lnTo>
                    <a:lnTo>
                      <a:pt x="232" y="122"/>
                    </a:lnTo>
                    <a:lnTo>
                      <a:pt x="232" y="124"/>
                    </a:lnTo>
                    <a:lnTo>
                      <a:pt x="233" y="124"/>
                    </a:lnTo>
                    <a:lnTo>
                      <a:pt x="232" y="126"/>
                    </a:lnTo>
                    <a:lnTo>
                      <a:pt x="232" y="127"/>
                    </a:lnTo>
                    <a:lnTo>
                      <a:pt x="233" y="127"/>
                    </a:lnTo>
                    <a:lnTo>
                      <a:pt x="233" y="129"/>
                    </a:lnTo>
                    <a:lnTo>
                      <a:pt x="233" y="131"/>
                    </a:lnTo>
                    <a:lnTo>
                      <a:pt x="233" y="132"/>
                    </a:lnTo>
                    <a:lnTo>
                      <a:pt x="232" y="132"/>
                    </a:lnTo>
                    <a:lnTo>
                      <a:pt x="232" y="134"/>
                    </a:lnTo>
                    <a:lnTo>
                      <a:pt x="233" y="134"/>
                    </a:lnTo>
                    <a:lnTo>
                      <a:pt x="233" y="136"/>
                    </a:lnTo>
                    <a:lnTo>
                      <a:pt x="233" y="137"/>
                    </a:lnTo>
                    <a:lnTo>
                      <a:pt x="233" y="139"/>
                    </a:lnTo>
                    <a:lnTo>
                      <a:pt x="235" y="137"/>
                    </a:lnTo>
                    <a:lnTo>
                      <a:pt x="240" y="137"/>
                    </a:lnTo>
                    <a:lnTo>
                      <a:pt x="242" y="136"/>
                    </a:lnTo>
                    <a:lnTo>
                      <a:pt x="259" y="153"/>
                    </a:lnTo>
                    <a:lnTo>
                      <a:pt x="261" y="153"/>
                    </a:lnTo>
                    <a:lnTo>
                      <a:pt x="262" y="151"/>
                    </a:lnTo>
                    <a:lnTo>
                      <a:pt x="264" y="151"/>
                    </a:lnTo>
                    <a:lnTo>
                      <a:pt x="264" y="153"/>
                    </a:lnTo>
                    <a:lnTo>
                      <a:pt x="266" y="153"/>
                    </a:lnTo>
                    <a:lnTo>
                      <a:pt x="267" y="153"/>
                    </a:lnTo>
                    <a:lnTo>
                      <a:pt x="267" y="151"/>
                    </a:lnTo>
                    <a:lnTo>
                      <a:pt x="269" y="151"/>
                    </a:lnTo>
                    <a:lnTo>
                      <a:pt x="271" y="151"/>
                    </a:lnTo>
                    <a:lnTo>
                      <a:pt x="271" y="149"/>
                    </a:lnTo>
                    <a:lnTo>
                      <a:pt x="272" y="149"/>
                    </a:lnTo>
                    <a:lnTo>
                      <a:pt x="272" y="148"/>
                    </a:lnTo>
                    <a:lnTo>
                      <a:pt x="274" y="148"/>
                    </a:lnTo>
                    <a:lnTo>
                      <a:pt x="274" y="146"/>
                    </a:lnTo>
                    <a:lnTo>
                      <a:pt x="276" y="146"/>
                    </a:lnTo>
                    <a:lnTo>
                      <a:pt x="278" y="146"/>
                    </a:lnTo>
                    <a:lnTo>
                      <a:pt x="278" y="144"/>
                    </a:lnTo>
                    <a:lnTo>
                      <a:pt x="279" y="144"/>
                    </a:lnTo>
                    <a:lnTo>
                      <a:pt x="281" y="144"/>
                    </a:lnTo>
                    <a:lnTo>
                      <a:pt x="283" y="144"/>
                    </a:lnTo>
                    <a:lnTo>
                      <a:pt x="284" y="144"/>
                    </a:lnTo>
                    <a:lnTo>
                      <a:pt x="286" y="144"/>
                    </a:lnTo>
                    <a:lnTo>
                      <a:pt x="286" y="146"/>
                    </a:lnTo>
                    <a:lnTo>
                      <a:pt x="286" y="148"/>
                    </a:lnTo>
                    <a:lnTo>
                      <a:pt x="288" y="148"/>
                    </a:lnTo>
                    <a:lnTo>
                      <a:pt x="288" y="149"/>
                    </a:lnTo>
                    <a:lnTo>
                      <a:pt x="286" y="149"/>
                    </a:lnTo>
                    <a:lnTo>
                      <a:pt x="286" y="151"/>
                    </a:lnTo>
                    <a:lnTo>
                      <a:pt x="284" y="153"/>
                    </a:lnTo>
                    <a:lnTo>
                      <a:pt x="284" y="154"/>
                    </a:lnTo>
                    <a:lnTo>
                      <a:pt x="286" y="156"/>
                    </a:lnTo>
                    <a:lnTo>
                      <a:pt x="286" y="154"/>
                    </a:lnTo>
                    <a:lnTo>
                      <a:pt x="288" y="154"/>
                    </a:lnTo>
                    <a:lnTo>
                      <a:pt x="289" y="154"/>
                    </a:lnTo>
                    <a:lnTo>
                      <a:pt x="289" y="153"/>
                    </a:lnTo>
                    <a:lnTo>
                      <a:pt x="291" y="153"/>
                    </a:lnTo>
                    <a:lnTo>
                      <a:pt x="291" y="151"/>
                    </a:lnTo>
                    <a:lnTo>
                      <a:pt x="289" y="151"/>
                    </a:lnTo>
                    <a:lnTo>
                      <a:pt x="291" y="149"/>
                    </a:lnTo>
                    <a:lnTo>
                      <a:pt x="293" y="148"/>
                    </a:lnTo>
                    <a:lnTo>
                      <a:pt x="291" y="148"/>
                    </a:lnTo>
                    <a:lnTo>
                      <a:pt x="293" y="148"/>
                    </a:lnTo>
                    <a:lnTo>
                      <a:pt x="293" y="146"/>
                    </a:lnTo>
                    <a:lnTo>
                      <a:pt x="295" y="146"/>
                    </a:lnTo>
                    <a:lnTo>
                      <a:pt x="296" y="146"/>
                    </a:lnTo>
                    <a:lnTo>
                      <a:pt x="296" y="148"/>
                    </a:lnTo>
                    <a:lnTo>
                      <a:pt x="298" y="148"/>
                    </a:lnTo>
                    <a:lnTo>
                      <a:pt x="298" y="146"/>
                    </a:lnTo>
                    <a:lnTo>
                      <a:pt x="298" y="144"/>
                    </a:lnTo>
                    <a:lnTo>
                      <a:pt x="300" y="144"/>
                    </a:lnTo>
                    <a:lnTo>
                      <a:pt x="298" y="143"/>
                    </a:lnTo>
                    <a:lnTo>
                      <a:pt x="298" y="141"/>
                    </a:lnTo>
                    <a:lnTo>
                      <a:pt x="300" y="141"/>
                    </a:lnTo>
                    <a:lnTo>
                      <a:pt x="298" y="139"/>
                    </a:lnTo>
                    <a:lnTo>
                      <a:pt x="300" y="139"/>
                    </a:lnTo>
                    <a:lnTo>
                      <a:pt x="301" y="139"/>
                    </a:lnTo>
                    <a:lnTo>
                      <a:pt x="301" y="141"/>
                    </a:lnTo>
                    <a:lnTo>
                      <a:pt x="303" y="141"/>
                    </a:lnTo>
                    <a:lnTo>
                      <a:pt x="303" y="139"/>
                    </a:lnTo>
                    <a:lnTo>
                      <a:pt x="305" y="139"/>
                    </a:lnTo>
                    <a:lnTo>
                      <a:pt x="305" y="137"/>
                    </a:lnTo>
                    <a:lnTo>
                      <a:pt x="305" y="136"/>
                    </a:lnTo>
                    <a:lnTo>
                      <a:pt x="306" y="136"/>
                    </a:lnTo>
                    <a:lnTo>
                      <a:pt x="306" y="137"/>
                    </a:lnTo>
                    <a:lnTo>
                      <a:pt x="306" y="136"/>
                    </a:lnTo>
                    <a:lnTo>
                      <a:pt x="308" y="136"/>
                    </a:lnTo>
                    <a:lnTo>
                      <a:pt x="310" y="136"/>
                    </a:lnTo>
                    <a:lnTo>
                      <a:pt x="308" y="134"/>
                    </a:lnTo>
                    <a:lnTo>
                      <a:pt x="310" y="134"/>
                    </a:lnTo>
                    <a:lnTo>
                      <a:pt x="312" y="134"/>
                    </a:lnTo>
                    <a:lnTo>
                      <a:pt x="312" y="136"/>
                    </a:lnTo>
                    <a:lnTo>
                      <a:pt x="313" y="136"/>
                    </a:lnTo>
                    <a:lnTo>
                      <a:pt x="313" y="134"/>
                    </a:lnTo>
                    <a:lnTo>
                      <a:pt x="315" y="134"/>
                    </a:lnTo>
                    <a:lnTo>
                      <a:pt x="317" y="134"/>
                    </a:lnTo>
                    <a:lnTo>
                      <a:pt x="317" y="132"/>
                    </a:lnTo>
                    <a:lnTo>
                      <a:pt x="318" y="132"/>
                    </a:lnTo>
                    <a:lnTo>
                      <a:pt x="318" y="131"/>
                    </a:lnTo>
                    <a:lnTo>
                      <a:pt x="320" y="129"/>
                    </a:lnTo>
                    <a:lnTo>
                      <a:pt x="322" y="129"/>
                    </a:lnTo>
                    <a:lnTo>
                      <a:pt x="322" y="127"/>
                    </a:lnTo>
                    <a:lnTo>
                      <a:pt x="323" y="127"/>
                    </a:lnTo>
                    <a:lnTo>
                      <a:pt x="325" y="126"/>
                    </a:lnTo>
                    <a:lnTo>
                      <a:pt x="325" y="127"/>
                    </a:lnTo>
                    <a:lnTo>
                      <a:pt x="325" y="126"/>
                    </a:lnTo>
                    <a:lnTo>
                      <a:pt x="325" y="127"/>
                    </a:lnTo>
                    <a:lnTo>
                      <a:pt x="325" y="129"/>
                    </a:lnTo>
                    <a:lnTo>
                      <a:pt x="325" y="131"/>
                    </a:lnTo>
                    <a:lnTo>
                      <a:pt x="323" y="131"/>
                    </a:lnTo>
                    <a:lnTo>
                      <a:pt x="325" y="131"/>
                    </a:lnTo>
                    <a:lnTo>
                      <a:pt x="327" y="132"/>
                    </a:lnTo>
                    <a:lnTo>
                      <a:pt x="327" y="131"/>
                    </a:lnTo>
                    <a:lnTo>
                      <a:pt x="327" y="129"/>
                    </a:lnTo>
                    <a:lnTo>
                      <a:pt x="329" y="127"/>
                    </a:lnTo>
                    <a:lnTo>
                      <a:pt x="330" y="127"/>
                    </a:lnTo>
                    <a:lnTo>
                      <a:pt x="332" y="127"/>
                    </a:lnTo>
                    <a:lnTo>
                      <a:pt x="332" y="126"/>
                    </a:lnTo>
                    <a:lnTo>
                      <a:pt x="332" y="124"/>
                    </a:lnTo>
                    <a:lnTo>
                      <a:pt x="334" y="124"/>
                    </a:lnTo>
                    <a:lnTo>
                      <a:pt x="335" y="124"/>
                    </a:lnTo>
                    <a:lnTo>
                      <a:pt x="335" y="122"/>
                    </a:lnTo>
                    <a:lnTo>
                      <a:pt x="335" y="120"/>
                    </a:lnTo>
                    <a:lnTo>
                      <a:pt x="335" y="119"/>
                    </a:lnTo>
                    <a:lnTo>
                      <a:pt x="335" y="117"/>
                    </a:lnTo>
                    <a:lnTo>
                      <a:pt x="335" y="115"/>
                    </a:lnTo>
                    <a:lnTo>
                      <a:pt x="335" y="114"/>
                    </a:lnTo>
                    <a:lnTo>
                      <a:pt x="335" y="112"/>
                    </a:lnTo>
                    <a:lnTo>
                      <a:pt x="337" y="112"/>
                    </a:lnTo>
                    <a:lnTo>
                      <a:pt x="337" y="110"/>
                    </a:lnTo>
                    <a:lnTo>
                      <a:pt x="339" y="110"/>
                    </a:lnTo>
                    <a:lnTo>
                      <a:pt x="340" y="110"/>
                    </a:lnTo>
                    <a:lnTo>
                      <a:pt x="342" y="110"/>
                    </a:lnTo>
                    <a:lnTo>
                      <a:pt x="344" y="112"/>
                    </a:lnTo>
                    <a:lnTo>
                      <a:pt x="344" y="110"/>
                    </a:lnTo>
                    <a:lnTo>
                      <a:pt x="346" y="110"/>
                    </a:lnTo>
                    <a:lnTo>
                      <a:pt x="347" y="110"/>
                    </a:lnTo>
                    <a:lnTo>
                      <a:pt x="347" y="109"/>
                    </a:lnTo>
                    <a:lnTo>
                      <a:pt x="349" y="110"/>
                    </a:lnTo>
                    <a:lnTo>
                      <a:pt x="349" y="109"/>
                    </a:lnTo>
                    <a:lnTo>
                      <a:pt x="351" y="109"/>
                    </a:lnTo>
                    <a:lnTo>
                      <a:pt x="351" y="107"/>
                    </a:lnTo>
                    <a:lnTo>
                      <a:pt x="352" y="107"/>
                    </a:lnTo>
                    <a:lnTo>
                      <a:pt x="352" y="105"/>
                    </a:lnTo>
                    <a:lnTo>
                      <a:pt x="354" y="105"/>
                    </a:lnTo>
                    <a:lnTo>
                      <a:pt x="354" y="107"/>
                    </a:lnTo>
                    <a:lnTo>
                      <a:pt x="356" y="107"/>
                    </a:lnTo>
                    <a:lnTo>
                      <a:pt x="356" y="105"/>
                    </a:lnTo>
                    <a:lnTo>
                      <a:pt x="356" y="107"/>
                    </a:lnTo>
                    <a:lnTo>
                      <a:pt x="357" y="105"/>
                    </a:lnTo>
                    <a:lnTo>
                      <a:pt x="359" y="103"/>
                    </a:lnTo>
                    <a:lnTo>
                      <a:pt x="357" y="103"/>
                    </a:lnTo>
                    <a:lnTo>
                      <a:pt x="359" y="103"/>
                    </a:lnTo>
                    <a:lnTo>
                      <a:pt x="359" y="102"/>
                    </a:lnTo>
                    <a:lnTo>
                      <a:pt x="359" y="100"/>
                    </a:lnTo>
                    <a:lnTo>
                      <a:pt x="359" y="98"/>
                    </a:lnTo>
                    <a:lnTo>
                      <a:pt x="359" y="97"/>
                    </a:lnTo>
                    <a:lnTo>
                      <a:pt x="359" y="95"/>
                    </a:lnTo>
                    <a:lnTo>
                      <a:pt x="357" y="95"/>
                    </a:lnTo>
                    <a:lnTo>
                      <a:pt x="356" y="95"/>
                    </a:lnTo>
                    <a:lnTo>
                      <a:pt x="354" y="97"/>
                    </a:lnTo>
                    <a:lnTo>
                      <a:pt x="352" y="97"/>
                    </a:lnTo>
                    <a:lnTo>
                      <a:pt x="351" y="97"/>
                    </a:lnTo>
                    <a:lnTo>
                      <a:pt x="349" y="97"/>
                    </a:lnTo>
                    <a:lnTo>
                      <a:pt x="347" y="97"/>
                    </a:lnTo>
                    <a:lnTo>
                      <a:pt x="346" y="97"/>
                    </a:lnTo>
                    <a:lnTo>
                      <a:pt x="344" y="97"/>
                    </a:lnTo>
                    <a:lnTo>
                      <a:pt x="342" y="95"/>
                    </a:lnTo>
                    <a:lnTo>
                      <a:pt x="340" y="95"/>
                    </a:lnTo>
                    <a:lnTo>
                      <a:pt x="339" y="95"/>
                    </a:lnTo>
                    <a:lnTo>
                      <a:pt x="337" y="93"/>
                    </a:lnTo>
                    <a:lnTo>
                      <a:pt x="337" y="95"/>
                    </a:lnTo>
                    <a:lnTo>
                      <a:pt x="337" y="93"/>
                    </a:lnTo>
                    <a:lnTo>
                      <a:pt x="335" y="93"/>
                    </a:lnTo>
                    <a:lnTo>
                      <a:pt x="335" y="92"/>
                    </a:lnTo>
                    <a:lnTo>
                      <a:pt x="337" y="92"/>
                    </a:lnTo>
                    <a:lnTo>
                      <a:pt x="337" y="90"/>
                    </a:lnTo>
                    <a:lnTo>
                      <a:pt x="337" y="88"/>
                    </a:lnTo>
                    <a:lnTo>
                      <a:pt x="339" y="88"/>
                    </a:lnTo>
                    <a:lnTo>
                      <a:pt x="339" y="86"/>
                    </a:lnTo>
                    <a:lnTo>
                      <a:pt x="337" y="86"/>
                    </a:lnTo>
                    <a:lnTo>
                      <a:pt x="339" y="86"/>
                    </a:lnTo>
                    <a:lnTo>
                      <a:pt x="337" y="85"/>
                    </a:lnTo>
                    <a:lnTo>
                      <a:pt x="339" y="85"/>
                    </a:lnTo>
                    <a:lnTo>
                      <a:pt x="337" y="85"/>
                    </a:lnTo>
                    <a:lnTo>
                      <a:pt x="337" y="83"/>
                    </a:lnTo>
                    <a:lnTo>
                      <a:pt x="335" y="81"/>
                    </a:lnTo>
                    <a:lnTo>
                      <a:pt x="335" y="80"/>
                    </a:lnTo>
                    <a:lnTo>
                      <a:pt x="335" y="78"/>
                    </a:lnTo>
                    <a:lnTo>
                      <a:pt x="334" y="78"/>
                    </a:lnTo>
                    <a:lnTo>
                      <a:pt x="334" y="76"/>
                    </a:lnTo>
                    <a:lnTo>
                      <a:pt x="332" y="76"/>
                    </a:lnTo>
                    <a:lnTo>
                      <a:pt x="332" y="75"/>
                    </a:lnTo>
                    <a:lnTo>
                      <a:pt x="330" y="73"/>
                    </a:lnTo>
                    <a:lnTo>
                      <a:pt x="330" y="71"/>
                    </a:lnTo>
                    <a:lnTo>
                      <a:pt x="330" y="69"/>
                    </a:lnTo>
                    <a:lnTo>
                      <a:pt x="330" y="68"/>
                    </a:lnTo>
                    <a:lnTo>
                      <a:pt x="330" y="66"/>
                    </a:lnTo>
                    <a:lnTo>
                      <a:pt x="330" y="64"/>
                    </a:lnTo>
                    <a:lnTo>
                      <a:pt x="330" y="63"/>
                    </a:lnTo>
                    <a:lnTo>
                      <a:pt x="329" y="63"/>
                    </a:lnTo>
                    <a:lnTo>
                      <a:pt x="330" y="61"/>
                    </a:lnTo>
                    <a:lnTo>
                      <a:pt x="332" y="59"/>
                    </a:lnTo>
                    <a:lnTo>
                      <a:pt x="332" y="58"/>
                    </a:lnTo>
                    <a:lnTo>
                      <a:pt x="330" y="56"/>
                    </a:lnTo>
                    <a:lnTo>
                      <a:pt x="329" y="54"/>
                    </a:lnTo>
                    <a:lnTo>
                      <a:pt x="329" y="52"/>
                    </a:lnTo>
                    <a:lnTo>
                      <a:pt x="327" y="52"/>
                    </a:lnTo>
                    <a:lnTo>
                      <a:pt x="327" y="51"/>
                    </a:lnTo>
                    <a:lnTo>
                      <a:pt x="325" y="51"/>
                    </a:lnTo>
                    <a:lnTo>
                      <a:pt x="323" y="51"/>
                    </a:lnTo>
                    <a:lnTo>
                      <a:pt x="322" y="51"/>
                    </a:lnTo>
                    <a:lnTo>
                      <a:pt x="322" y="49"/>
                    </a:lnTo>
                    <a:lnTo>
                      <a:pt x="320" y="49"/>
                    </a:lnTo>
                    <a:lnTo>
                      <a:pt x="320" y="47"/>
                    </a:lnTo>
                    <a:lnTo>
                      <a:pt x="318" y="47"/>
                    </a:lnTo>
                    <a:lnTo>
                      <a:pt x="318" y="46"/>
                    </a:lnTo>
                    <a:lnTo>
                      <a:pt x="317" y="44"/>
                    </a:lnTo>
                    <a:lnTo>
                      <a:pt x="315" y="42"/>
                    </a:lnTo>
                    <a:lnTo>
                      <a:pt x="315" y="41"/>
                    </a:lnTo>
                    <a:lnTo>
                      <a:pt x="313" y="41"/>
                    </a:lnTo>
                    <a:lnTo>
                      <a:pt x="313" y="39"/>
                    </a:lnTo>
                    <a:lnTo>
                      <a:pt x="312" y="39"/>
                    </a:lnTo>
                    <a:lnTo>
                      <a:pt x="312" y="37"/>
                    </a:lnTo>
                    <a:lnTo>
                      <a:pt x="310" y="37"/>
                    </a:lnTo>
                    <a:lnTo>
                      <a:pt x="310" y="35"/>
                    </a:lnTo>
                    <a:lnTo>
                      <a:pt x="310" y="34"/>
                    </a:lnTo>
                    <a:lnTo>
                      <a:pt x="312" y="34"/>
                    </a:lnTo>
                    <a:lnTo>
                      <a:pt x="313" y="34"/>
                    </a:lnTo>
                    <a:lnTo>
                      <a:pt x="315" y="34"/>
                    </a:lnTo>
                    <a:lnTo>
                      <a:pt x="315" y="35"/>
                    </a:lnTo>
                    <a:lnTo>
                      <a:pt x="317" y="37"/>
                    </a:lnTo>
                    <a:lnTo>
                      <a:pt x="317" y="39"/>
                    </a:lnTo>
                    <a:lnTo>
                      <a:pt x="318" y="39"/>
                    </a:lnTo>
                    <a:lnTo>
                      <a:pt x="320" y="39"/>
                    </a:lnTo>
                    <a:lnTo>
                      <a:pt x="322" y="39"/>
                    </a:lnTo>
                    <a:lnTo>
                      <a:pt x="323" y="39"/>
                    </a:lnTo>
                    <a:lnTo>
                      <a:pt x="323" y="37"/>
                    </a:lnTo>
                    <a:lnTo>
                      <a:pt x="323" y="39"/>
                    </a:lnTo>
                    <a:lnTo>
                      <a:pt x="325" y="37"/>
                    </a:lnTo>
                    <a:lnTo>
                      <a:pt x="325" y="39"/>
                    </a:lnTo>
                    <a:lnTo>
                      <a:pt x="327" y="39"/>
                    </a:lnTo>
                    <a:lnTo>
                      <a:pt x="329" y="37"/>
                    </a:lnTo>
                    <a:lnTo>
                      <a:pt x="329" y="39"/>
                    </a:lnTo>
                    <a:lnTo>
                      <a:pt x="330" y="39"/>
                    </a:lnTo>
                    <a:lnTo>
                      <a:pt x="332" y="39"/>
                    </a:lnTo>
                    <a:lnTo>
                      <a:pt x="334" y="39"/>
                    </a:lnTo>
                    <a:lnTo>
                      <a:pt x="334" y="41"/>
                    </a:lnTo>
                    <a:lnTo>
                      <a:pt x="335" y="41"/>
                    </a:lnTo>
                    <a:lnTo>
                      <a:pt x="334" y="42"/>
                    </a:lnTo>
                    <a:lnTo>
                      <a:pt x="335" y="42"/>
                    </a:lnTo>
                    <a:lnTo>
                      <a:pt x="335" y="44"/>
                    </a:lnTo>
                    <a:lnTo>
                      <a:pt x="337" y="46"/>
                    </a:lnTo>
                    <a:lnTo>
                      <a:pt x="339" y="46"/>
                    </a:lnTo>
                    <a:lnTo>
                      <a:pt x="339" y="47"/>
                    </a:lnTo>
                    <a:lnTo>
                      <a:pt x="339" y="46"/>
                    </a:lnTo>
                    <a:lnTo>
                      <a:pt x="340" y="46"/>
                    </a:lnTo>
                    <a:lnTo>
                      <a:pt x="342" y="46"/>
                    </a:lnTo>
                    <a:lnTo>
                      <a:pt x="342" y="44"/>
                    </a:lnTo>
                    <a:lnTo>
                      <a:pt x="344" y="44"/>
                    </a:lnTo>
                    <a:lnTo>
                      <a:pt x="344" y="46"/>
                    </a:lnTo>
                    <a:lnTo>
                      <a:pt x="346" y="46"/>
                    </a:lnTo>
                    <a:lnTo>
                      <a:pt x="346" y="44"/>
                    </a:lnTo>
                    <a:lnTo>
                      <a:pt x="347" y="46"/>
                    </a:lnTo>
                    <a:lnTo>
                      <a:pt x="349" y="46"/>
                    </a:lnTo>
                    <a:lnTo>
                      <a:pt x="347" y="44"/>
                    </a:lnTo>
                    <a:lnTo>
                      <a:pt x="349" y="42"/>
                    </a:lnTo>
                    <a:lnTo>
                      <a:pt x="349" y="44"/>
                    </a:lnTo>
                    <a:lnTo>
                      <a:pt x="351" y="44"/>
                    </a:lnTo>
                    <a:lnTo>
                      <a:pt x="351" y="46"/>
                    </a:lnTo>
                    <a:lnTo>
                      <a:pt x="352" y="46"/>
                    </a:lnTo>
                    <a:lnTo>
                      <a:pt x="351" y="46"/>
                    </a:lnTo>
                    <a:lnTo>
                      <a:pt x="352" y="47"/>
                    </a:lnTo>
                    <a:lnTo>
                      <a:pt x="352" y="46"/>
                    </a:lnTo>
                    <a:lnTo>
                      <a:pt x="352" y="47"/>
                    </a:lnTo>
                    <a:lnTo>
                      <a:pt x="354" y="47"/>
                    </a:lnTo>
                    <a:lnTo>
                      <a:pt x="356" y="47"/>
                    </a:lnTo>
                    <a:lnTo>
                      <a:pt x="357" y="47"/>
                    </a:lnTo>
                    <a:lnTo>
                      <a:pt x="357" y="46"/>
                    </a:lnTo>
                    <a:lnTo>
                      <a:pt x="357" y="44"/>
                    </a:lnTo>
                    <a:lnTo>
                      <a:pt x="356" y="44"/>
                    </a:lnTo>
                    <a:lnTo>
                      <a:pt x="357" y="44"/>
                    </a:lnTo>
                    <a:lnTo>
                      <a:pt x="359" y="44"/>
                    </a:lnTo>
                    <a:lnTo>
                      <a:pt x="361" y="44"/>
                    </a:lnTo>
                    <a:lnTo>
                      <a:pt x="363" y="44"/>
                    </a:lnTo>
                    <a:lnTo>
                      <a:pt x="364" y="44"/>
                    </a:lnTo>
                    <a:lnTo>
                      <a:pt x="364" y="46"/>
                    </a:lnTo>
                    <a:lnTo>
                      <a:pt x="364" y="47"/>
                    </a:lnTo>
                    <a:lnTo>
                      <a:pt x="364" y="49"/>
                    </a:lnTo>
                    <a:lnTo>
                      <a:pt x="366" y="49"/>
                    </a:lnTo>
                    <a:lnTo>
                      <a:pt x="368" y="49"/>
                    </a:lnTo>
                    <a:lnTo>
                      <a:pt x="368" y="51"/>
                    </a:lnTo>
                    <a:lnTo>
                      <a:pt x="369" y="51"/>
                    </a:lnTo>
                    <a:lnTo>
                      <a:pt x="369" y="52"/>
                    </a:lnTo>
                    <a:lnTo>
                      <a:pt x="369" y="54"/>
                    </a:lnTo>
                    <a:lnTo>
                      <a:pt x="371" y="54"/>
                    </a:lnTo>
                    <a:lnTo>
                      <a:pt x="371" y="56"/>
                    </a:lnTo>
                    <a:lnTo>
                      <a:pt x="373" y="56"/>
                    </a:lnTo>
                    <a:lnTo>
                      <a:pt x="374" y="56"/>
                    </a:lnTo>
                    <a:lnTo>
                      <a:pt x="374" y="54"/>
                    </a:lnTo>
                    <a:lnTo>
                      <a:pt x="376" y="52"/>
                    </a:lnTo>
                    <a:lnTo>
                      <a:pt x="378" y="51"/>
                    </a:lnTo>
                    <a:lnTo>
                      <a:pt x="378" y="52"/>
                    </a:lnTo>
                    <a:lnTo>
                      <a:pt x="380" y="52"/>
                    </a:lnTo>
                    <a:lnTo>
                      <a:pt x="380" y="54"/>
                    </a:lnTo>
                    <a:lnTo>
                      <a:pt x="380" y="52"/>
                    </a:lnTo>
                    <a:lnTo>
                      <a:pt x="381" y="52"/>
                    </a:lnTo>
                    <a:lnTo>
                      <a:pt x="380" y="51"/>
                    </a:lnTo>
                    <a:lnTo>
                      <a:pt x="381" y="51"/>
                    </a:lnTo>
                    <a:lnTo>
                      <a:pt x="380" y="49"/>
                    </a:lnTo>
                    <a:lnTo>
                      <a:pt x="381" y="49"/>
                    </a:lnTo>
                    <a:lnTo>
                      <a:pt x="380" y="49"/>
                    </a:lnTo>
                    <a:lnTo>
                      <a:pt x="380" y="47"/>
                    </a:lnTo>
                    <a:lnTo>
                      <a:pt x="378" y="46"/>
                    </a:lnTo>
                    <a:lnTo>
                      <a:pt x="380" y="46"/>
                    </a:lnTo>
                    <a:lnTo>
                      <a:pt x="380" y="44"/>
                    </a:lnTo>
                    <a:lnTo>
                      <a:pt x="380" y="42"/>
                    </a:lnTo>
                    <a:lnTo>
                      <a:pt x="380" y="41"/>
                    </a:lnTo>
                    <a:lnTo>
                      <a:pt x="381" y="42"/>
                    </a:lnTo>
                    <a:lnTo>
                      <a:pt x="383" y="41"/>
                    </a:lnTo>
                    <a:lnTo>
                      <a:pt x="383" y="42"/>
                    </a:lnTo>
                    <a:lnTo>
                      <a:pt x="383" y="41"/>
                    </a:lnTo>
                    <a:lnTo>
                      <a:pt x="385" y="41"/>
                    </a:lnTo>
                    <a:lnTo>
                      <a:pt x="385" y="42"/>
                    </a:lnTo>
                    <a:lnTo>
                      <a:pt x="386" y="42"/>
                    </a:lnTo>
                    <a:lnTo>
                      <a:pt x="386" y="41"/>
                    </a:lnTo>
                    <a:lnTo>
                      <a:pt x="386" y="39"/>
                    </a:lnTo>
                    <a:lnTo>
                      <a:pt x="388" y="39"/>
                    </a:lnTo>
                    <a:lnTo>
                      <a:pt x="388" y="37"/>
                    </a:lnTo>
                    <a:lnTo>
                      <a:pt x="390" y="39"/>
                    </a:lnTo>
                    <a:lnTo>
                      <a:pt x="390" y="37"/>
                    </a:lnTo>
                    <a:lnTo>
                      <a:pt x="391" y="37"/>
                    </a:lnTo>
                    <a:lnTo>
                      <a:pt x="393" y="37"/>
                    </a:lnTo>
                    <a:lnTo>
                      <a:pt x="395" y="39"/>
                    </a:lnTo>
                    <a:lnTo>
                      <a:pt x="395" y="37"/>
                    </a:lnTo>
                    <a:lnTo>
                      <a:pt x="395" y="39"/>
                    </a:lnTo>
                    <a:lnTo>
                      <a:pt x="395" y="37"/>
                    </a:lnTo>
                    <a:lnTo>
                      <a:pt x="397" y="39"/>
                    </a:lnTo>
                    <a:lnTo>
                      <a:pt x="398" y="39"/>
                    </a:lnTo>
                    <a:lnTo>
                      <a:pt x="400" y="39"/>
                    </a:lnTo>
                    <a:lnTo>
                      <a:pt x="400" y="41"/>
                    </a:lnTo>
                    <a:lnTo>
                      <a:pt x="402" y="39"/>
                    </a:lnTo>
                    <a:lnTo>
                      <a:pt x="403" y="39"/>
                    </a:lnTo>
                    <a:lnTo>
                      <a:pt x="402" y="37"/>
                    </a:lnTo>
                    <a:lnTo>
                      <a:pt x="403" y="37"/>
                    </a:lnTo>
                    <a:lnTo>
                      <a:pt x="405" y="37"/>
                    </a:lnTo>
                    <a:lnTo>
                      <a:pt x="407" y="37"/>
                    </a:lnTo>
                    <a:lnTo>
                      <a:pt x="407" y="39"/>
                    </a:lnTo>
                    <a:lnTo>
                      <a:pt x="408" y="39"/>
                    </a:lnTo>
                    <a:lnTo>
                      <a:pt x="408" y="37"/>
                    </a:lnTo>
                    <a:lnTo>
                      <a:pt x="410" y="37"/>
                    </a:lnTo>
                    <a:lnTo>
                      <a:pt x="412" y="37"/>
                    </a:lnTo>
                    <a:lnTo>
                      <a:pt x="412" y="35"/>
                    </a:lnTo>
                    <a:lnTo>
                      <a:pt x="414" y="35"/>
                    </a:lnTo>
                    <a:lnTo>
                      <a:pt x="414" y="34"/>
                    </a:lnTo>
                    <a:lnTo>
                      <a:pt x="415" y="34"/>
                    </a:lnTo>
                    <a:lnTo>
                      <a:pt x="417" y="34"/>
                    </a:lnTo>
                    <a:lnTo>
                      <a:pt x="417" y="35"/>
                    </a:lnTo>
                    <a:lnTo>
                      <a:pt x="417" y="34"/>
                    </a:lnTo>
                    <a:lnTo>
                      <a:pt x="419" y="34"/>
                    </a:lnTo>
                    <a:lnTo>
                      <a:pt x="420" y="34"/>
                    </a:lnTo>
                    <a:lnTo>
                      <a:pt x="422" y="34"/>
                    </a:lnTo>
                    <a:lnTo>
                      <a:pt x="422" y="32"/>
                    </a:lnTo>
                    <a:lnTo>
                      <a:pt x="422" y="30"/>
                    </a:lnTo>
                    <a:lnTo>
                      <a:pt x="422" y="29"/>
                    </a:lnTo>
                    <a:lnTo>
                      <a:pt x="424" y="29"/>
                    </a:lnTo>
                    <a:lnTo>
                      <a:pt x="425" y="29"/>
                    </a:lnTo>
                    <a:lnTo>
                      <a:pt x="427" y="29"/>
                    </a:lnTo>
                    <a:lnTo>
                      <a:pt x="429" y="29"/>
                    </a:lnTo>
                    <a:lnTo>
                      <a:pt x="429" y="27"/>
                    </a:lnTo>
                    <a:lnTo>
                      <a:pt x="429" y="25"/>
                    </a:lnTo>
                    <a:lnTo>
                      <a:pt x="427" y="25"/>
                    </a:lnTo>
                    <a:lnTo>
                      <a:pt x="429" y="25"/>
                    </a:lnTo>
                    <a:lnTo>
                      <a:pt x="431" y="25"/>
                    </a:lnTo>
                    <a:lnTo>
                      <a:pt x="432" y="25"/>
                    </a:lnTo>
                    <a:lnTo>
                      <a:pt x="434" y="25"/>
                    </a:lnTo>
                    <a:lnTo>
                      <a:pt x="434" y="27"/>
                    </a:lnTo>
                    <a:lnTo>
                      <a:pt x="434" y="25"/>
                    </a:lnTo>
                    <a:lnTo>
                      <a:pt x="436" y="25"/>
                    </a:lnTo>
                    <a:lnTo>
                      <a:pt x="437" y="25"/>
                    </a:lnTo>
                    <a:lnTo>
                      <a:pt x="439" y="25"/>
                    </a:lnTo>
                    <a:lnTo>
                      <a:pt x="439" y="24"/>
                    </a:lnTo>
                    <a:lnTo>
                      <a:pt x="441" y="24"/>
                    </a:lnTo>
                    <a:lnTo>
                      <a:pt x="441" y="22"/>
                    </a:lnTo>
                    <a:lnTo>
                      <a:pt x="441" y="20"/>
                    </a:lnTo>
                    <a:lnTo>
                      <a:pt x="442" y="20"/>
                    </a:lnTo>
                    <a:lnTo>
                      <a:pt x="442" y="18"/>
                    </a:lnTo>
                    <a:lnTo>
                      <a:pt x="444" y="18"/>
                    </a:lnTo>
                    <a:lnTo>
                      <a:pt x="446" y="18"/>
                    </a:lnTo>
                    <a:lnTo>
                      <a:pt x="446" y="17"/>
                    </a:lnTo>
                    <a:lnTo>
                      <a:pt x="448" y="17"/>
                    </a:lnTo>
                    <a:lnTo>
                      <a:pt x="448" y="15"/>
                    </a:lnTo>
                    <a:lnTo>
                      <a:pt x="449" y="15"/>
                    </a:lnTo>
                    <a:lnTo>
                      <a:pt x="449" y="13"/>
                    </a:lnTo>
                    <a:lnTo>
                      <a:pt x="451" y="13"/>
                    </a:lnTo>
                    <a:lnTo>
                      <a:pt x="451" y="12"/>
                    </a:lnTo>
                    <a:lnTo>
                      <a:pt x="453" y="12"/>
                    </a:lnTo>
                    <a:lnTo>
                      <a:pt x="453" y="10"/>
                    </a:lnTo>
                    <a:lnTo>
                      <a:pt x="453" y="8"/>
                    </a:lnTo>
                    <a:lnTo>
                      <a:pt x="451" y="8"/>
                    </a:lnTo>
                    <a:lnTo>
                      <a:pt x="451" y="6"/>
                    </a:lnTo>
                    <a:lnTo>
                      <a:pt x="451" y="5"/>
                    </a:lnTo>
                    <a:lnTo>
                      <a:pt x="451" y="3"/>
                    </a:lnTo>
                    <a:lnTo>
                      <a:pt x="449" y="3"/>
                    </a:lnTo>
                    <a:lnTo>
                      <a:pt x="449" y="1"/>
                    </a:lnTo>
                    <a:lnTo>
                      <a:pt x="448" y="1"/>
                    </a:lnTo>
                    <a:lnTo>
                      <a:pt x="449" y="1"/>
                    </a:lnTo>
                    <a:lnTo>
                      <a:pt x="451" y="1"/>
                    </a:lnTo>
                    <a:lnTo>
                      <a:pt x="453" y="1"/>
                    </a:lnTo>
                    <a:lnTo>
                      <a:pt x="454" y="1"/>
                    </a:lnTo>
                    <a:lnTo>
                      <a:pt x="456" y="1"/>
                    </a:lnTo>
                    <a:lnTo>
                      <a:pt x="458" y="1"/>
                    </a:lnTo>
                    <a:lnTo>
                      <a:pt x="458" y="3"/>
                    </a:lnTo>
                    <a:lnTo>
                      <a:pt x="458" y="1"/>
                    </a:lnTo>
                    <a:lnTo>
                      <a:pt x="459" y="1"/>
                    </a:lnTo>
                    <a:lnTo>
                      <a:pt x="461" y="1"/>
                    </a:lnTo>
                    <a:lnTo>
                      <a:pt x="463" y="1"/>
                    </a:lnTo>
                    <a:lnTo>
                      <a:pt x="465" y="0"/>
                    </a:lnTo>
                    <a:lnTo>
                      <a:pt x="466" y="0"/>
                    </a:lnTo>
                    <a:lnTo>
                      <a:pt x="466" y="1"/>
                    </a:lnTo>
                    <a:lnTo>
                      <a:pt x="468" y="1"/>
                    </a:lnTo>
                    <a:lnTo>
                      <a:pt x="468" y="0"/>
                    </a:lnTo>
                    <a:lnTo>
                      <a:pt x="468" y="1"/>
                    </a:lnTo>
                    <a:lnTo>
                      <a:pt x="470" y="1"/>
                    </a:lnTo>
                    <a:lnTo>
                      <a:pt x="470" y="3"/>
                    </a:lnTo>
                    <a:lnTo>
                      <a:pt x="470" y="5"/>
                    </a:lnTo>
                    <a:lnTo>
                      <a:pt x="471" y="5"/>
                    </a:lnTo>
                    <a:lnTo>
                      <a:pt x="471" y="6"/>
                    </a:lnTo>
                    <a:lnTo>
                      <a:pt x="473" y="6"/>
                    </a:lnTo>
                    <a:lnTo>
                      <a:pt x="473" y="8"/>
                    </a:lnTo>
                    <a:lnTo>
                      <a:pt x="473" y="10"/>
                    </a:lnTo>
                    <a:lnTo>
                      <a:pt x="473" y="12"/>
                    </a:lnTo>
                    <a:lnTo>
                      <a:pt x="473" y="13"/>
                    </a:lnTo>
                    <a:lnTo>
                      <a:pt x="471" y="15"/>
                    </a:lnTo>
                    <a:lnTo>
                      <a:pt x="471" y="17"/>
                    </a:lnTo>
                    <a:lnTo>
                      <a:pt x="471" y="18"/>
                    </a:lnTo>
                    <a:lnTo>
                      <a:pt x="471" y="20"/>
                    </a:lnTo>
                    <a:lnTo>
                      <a:pt x="470" y="20"/>
                    </a:lnTo>
                    <a:lnTo>
                      <a:pt x="470" y="22"/>
                    </a:lnTo>
                    <a:lnTo>
                      <a:pt x="468" y="22"/>
                    </a:lnTo>
                    <a:lnTo>
                      <a:pt x="468" y="24"/>
                    </a:lnTo>
                    <a:lnTo>
                      <a:pt x="468" y="25"/>
                    </a:lnTo>
                    <a:lnTo>
                      <a:pt x="470" y="25"/>
                    </a:lnTo>
                    <a:lnTo>
                      <a:pt x="471" y="25"/>
                    </a:lnTo>
                    <a:lnTo>
                      <a:pt x="470" y="25"/>
                    </a:lnTo>
                    <a:lnTo>
                      <a:pt x="471" y="25"/>
                    </a:lnTo>
                    <a:lnTo>
                      <a:pt x="471" y="27"/>
                    </a:lnTo>
                    <a:lnTo>
                      <a:pt x="473" y="25"/>
                    </a:lnTo>
                    <a:lnTo>
                      <a:pt x="473" y="27"/>
                    </a:lnTo>
                    <a:lnTo>
                      <a:pt x="473" y="25"/>
                    </a:lnTo>
                    <a:lnTo>
                      <a:pt x="475" y="25"/>
                    </a:lnTo>
                    <a:lnTo>
                      <a:pt x="475" y="27"/>
                    </a:lnTo>
                    <a:lnTo>
                      <a:pt x="476" y="27"/>
                    </a:lnTo>
                    <a:lnTo>
                      <a:pt x="478" y="27"/>
                    </a:lnTo>
                    <a:lnTo>
                      <a:pt x="476" y="27"/>
                    </a:lnTo>
                    <a:lnTo>
                      <a:pt x="478" y="27"/>
                    </a:lnTo>
                    <a:lnTo>
                      <a:pt x="480" y="27"/>
                    </a:lnTo>
                    <a:lnTo>
                      <a:pt x="482" y="29"/>
                    </a:lnTo>
                    <a:lnTo>
                      <a:pt x="482" y="30"/>
                    </a:lnTo>
                    <a:lnTo>
                      <a:pt x="483" y="30"/>
                    </a:lnTo>
                    <a:lnTo>
                      <a:pt x="483" y="32"/>
                    </a:lnTo>
                    <a:lnTo>
                      <a:pt x="482" y="32"/>
                    </a:lnTo>
                    <a:lnTo>
                      <a:pt x="482" y="34"/>
                    </a:lnTo>
                    <a:lnTo>
                      <a:pt x="483" y="34"/>
                    </a:lnTo>
                    <a:lnTo>
                      <a:pt x="482" y="34"/>
                    </a:lnTo>
                    <a:lnTo>
                      <a:pt x="482" y="35"/>
                    </a:lnTo>
                    <a:lnTo>
                      <a:pt x="482" y="37"/>
                    </a:lnTo>
                    <a:lnTo>
                      <a:pt x="483" y="37"/>
                    </a:lnTo>
                    <a:lnTo>
                      <a:pt x="485" y="37"/>
                    </a:lnTo>
                    <a:lnTo>
                      <a:pt x="485" y="39"/>
                    </a:lnTo>
                    <a:lnTo>
                      <a:pt x="485" y="41"/>
                    </a:lnTo>
                    <a:lnTo>
                      <a:pt x="487" y="42"/>
                    </a:lnTo>
                    <a:lnTo>
                      <a:pt x="487" y="44"/>
                    </a:lnTo>
                    <a:lnTo>
                      <a:pt x="488" y="44"/>
                    </a:lnTo>
                    <a:lnTo>
                      <a:pt x="488" y="46"/>
                    </a:lnTo>
                    <a:lnTo>
                      <a:pt x="487" y="46"/>
                    </a:lnTo>
                    <a:lnTo>
                      <a:pt x="487" y="47"/>
                    </a:lnTo>
                    <a:lnTo>
                      <a:pt x="487" y="49"/>
                    </a:lnTo>
                    <a:lnTo>
                      <a:pt x="485" y="49"/>
                    </a:lnTo>
                    <a:lnTo>
                      <a:pt x="485" y="51"/>
                    </a:lnTo>
                    <a:lnTo>
                      <a:pt x="485" y="49"/>
                    </a:lnTo>
                    <a:lnTo>
                      <a:pt x="485" y="51"/>
                    </a:lnTo>
                    <a:lnTo>
                      <a:pt x="483" y="51"/>
                    </a:lnTo>
                    <a:lnTo>
                      <a:pt x="483" y="52"/>
                    </a:lnTo>
                    <a:lnTo>
                      <a:pt x="482" y="54"/>
                    </a:lnTo>
                    <a:lnTo>
                      <a:pt x="480" y="56"/>
                    </a:lnTo>
                    <a:lnTo>
                      <a:pt x="478" y="56"/>
                    </a:lnTo>
                    <a:lnTo>
                      <a:pt x="478" y="58"/>
                    </a:lnTo>
                    <a:lnTo>
                      <a:pt x="476" y="58"/>
                    </a:lnTo>
                    <a:lnTo>
                      <a:pt x="478" y="58"/>
                    </a:lnTo>
                    <a:lnTo>
                      <a:pt x="476" y="58"/>
                    </a:lnTo>
                    <a:lnTo>
                      <a:pt x="478" y="58"/>
                    </a:lnTo>
                    <a:lnTo>
                      <a:pt x="478" y="59"/>
                    </a:lnTo>
                    <a:lnTo>
                      <a:pt x="480" y="59"/>
                    </a:lnTo>
                    <a:lnTo>
                      <a:pt x="478" y="61"/>
                    </a:lnTo>
                    <a:lnTo>
                      <a:pt x="480" y="61"/>
                    </a:lnTo>
                    <a:lnTo>
                      <a:pt x="478" y="61"/>
                    </a:lnTo>
                    <a:lnTo>
                      <a:pt x="478" y="63"/>
                    </a:lnTo>
                    <a:lnTo>
                      <a:pt x="480" y="63"/>
                    </a:lnTo>
                    <a:lnTo>
                      <a:pt x="478" y="63"/>
                    </a:lnTo>
                    <a:lnTo>
                      <a:pt x="480" y="63"/>
                    </a:lnTo>
                    <a:lnTo>
                      <a:pt x="480" y="64"/>
                    </a:lnTo>
                    <a:lnTo>
                      <a:pt x="478" y="64"/>
                    </a:lnTo>
                    <a:lnTo>
                      <a:pt x="478" y="66"/>
                    </a:lnTo>
                    <a:lnTo>
                      <a:pt x="478" y="68"/>
                    </a:lnTo>
                    <a:lnTo>
                      <a:pt x="476" y="68"/>
                    </a:lnTo>
                    <a:lnTo>
                      <a:pt x="476" y="69"/>
                    </a:lnTo>
                    <a:lnTo>
                      <a:pt x="476" y="71"/>
                    </a:lnTo>
                    <a:lnTo>
                      <a:pt x="475" y="71"/>
                    </a:lnTo>
                    <a:lnTo>
                      <a:pt x="476" y="71"/>
                    </a:lnTo>
                    <a:lnTo>
                      <a:pt x="475" y="73"/>
                    </a:lnTo>
                    <a:lnTo>
                      <a:pt x="476" y="73"/>
                    </a:lnTo>
                    <a:lnTo>
                      <a:pt x="475" y="73"/>
                    </a:lnTo>
                    <a:lnTo>
                      <a:pt x="475" y="75"/>
                    </a:lnTo>
                    <a:lnTo>
                      <a:pt x="475" y="76"/>
                    </a:lnTo>
                    <a:lnTo>
                      <a:pt x="475" y="78"/>
                    </a:lnTo>
                    <a:lnTo>
                      <a:pt x="473" y="78"/>
                    </a:lnTo>
                    <a:lnTo>
                      <a:pt x="473" y="80"/>
                    </a:lnTo>
                    <a:lnTo>
                      <a:pt x="473" y="81"/>
                    </a:lnTo>
                    <a:lnTo>
                      <a:pt x="473" y="83"/>
                    </a:lnTo>
                    <a:lnTo>
                      <a:pt x="473" y="85"/>
                    </a:lnTo>
                    <a:lnTo>
                      <a:pt x="473" y="86"/>
                    </a:lnTo>
                    <a:lnTo>
                      <a:pt x="473" y="88"/>
                    </a:lnTo>
                    <a:lnTo>
                      <a:pt x="475" y="90"/>
                    </a:lnTo>
                    <a:lnTo>
                      <a:pt x="473" y="90"/>
                    </a:lnTo>
                    <a:lnTo>
                      <a:pt x="475" y="90"/>
                    </a:lnTo>
                    <a:lnTo>
                      <a:pt x="475" y="92"/>
                    </a:lnTo>
                    <a:lnTo>
                      <a:pt x="475" y="93"/>
                    </a:lnTo>
                    <a:lnTo>
                      <a:pt x="476" y="93"/>
                    </a:lnTo>
                    <a:lnTo>
                      <a:pt x="476" y="95"/>
                    </a:lnTo>
                    <a:lnTo>
                      <a:pt x="476" y="97"/>
                    </a:lnTo>
                    <a:lnTo>
                      <a:pt x="476" y="98"/>
                    </a:lnTo>
                    <a:lnTo>
                      <a:pt x="478" y="98"/>
                    </a:lnTo>
                    <a:lnTo>
                      <a:pt x="478" y="100"/>
                    </a:lnTo>
                    <a:lnTo>
                      <a:pt x="478" y="98"/>
                    </a:lnTo>
                    <a:lnTo>
                      <a:pt x="478" y="100"/>
                    </a:lnTo>
                    <a:lnTo>
                      <a:pt x="480" y="100"/>
                    </a:lnTo>
                    <a:lnTo>
                      <a:pt x="482" y="100"/>
                    </a:lnTo>
                    <a:lnTo>
                      <a:pt x="482" y="102"/>
                    </a:lnTo>
                    <a:lnTo>
                      <a:pt x="482" y="103"/>
                    </a:lnTo>
                    <a:lnTo>
                      <a:pt x="482" y="105"/>
                    </a:lnTo>
                    <a:lnTo>
                      <a:pt x="482" y="107"/>
                    </a:lnTo>
                    <a:lnTo>
                      <a:pt x="482" y="109"/>
                    </a:lnTo>
                    <a:lnTo>
                      <a:pt x="482" y="110"/>
                    </a:lnTo>
                    <a:lnTo>
                      <a:pt x="482" y="112"/>
                    </a:lnTo>
                    <a:lnTo>
                      <a:pt x="482" y="114"/>
                    </a:lnTo>
                    <a:lnTo>
                      <a:pt x="482" y="115"/>
                    </a:lnTo>
                    <a:lnTo>
                      <a:pt x="483" y="115"/>
                    </a:lnTo>
                    <a:lnTo>
                      <a:pt x="485" y="115"/>
                    </a:lnTo>
                    <a:lnTo>
                      <a:pt x="485" y="117"/>
                    </a:lnTo>
                    <a:lnTo>
                      <a:pt x="483" y="117"/>
                    </a:lnTo>
                    <a:lnTo>
                      <a:pt x="483" y="119"/>
                    </a:lnTo>
                    <a:lnTo>
                      <a:pt x="485" y="119"/>
                    </a:lnTo>
                    <a:lnTo>
                      <a:pt x="485" y="120"/>
                    </a:lnTo>
                    <a:lnTo>
                      <a:pt x="487" y="120"/>
                    </a:lnTo>
                    <a:lnTo>
                      <a:pt x="487" y="119"/>
                    </a:lnTo>
                    <a:lnTo>
                      <a:pt x="488" y="119"/>
                    </a:lnTo>
                    <a:lnTo>
                      <a:pt x="488" y="120"/>
                    </a:lnTo>
                    <a:lnTo>
                      <a:pt x="490" y="122"/>
                    </a:lnTo>
                    <a:lnTo>
                      <a:pt x="490" y="120"/>
                    </a:lnTo>
                    <a:lnTo>
                      <a:pt x="490" y="122"/>
                    </a:lnTo>
                    <a:lnTo>
                      <a:pt x="490" y="124"/>
                    </a:lnTo>
                    <a:lnTo>
                      <a:pt x="492" y="124"/>
                    </a:lnTo>
                    <a:lnTo>
                      <a:pt x="492" y="126"/>
                    </a:lnTo>
                    <a:lnTo>
                      <a:pt x="493" y="126"/>
                    </a:lnTo>
                    <a:lnTo>
                      <a:pt x="493" y="127"/>
                    </a:lnTo>
                    <a:lnTo>
                      <a:pt x="495" y="127"/>
                    </a:lnTo>
                    <a:lnTo>
                      <a:pt x="495" y="129"/>
                    </a:lnTo>
                    <a:lnTo>
                      <a:pt x="497" y="129"/>
                    </a:lnTo>
                    <a:lnTo>
                      <a:pt x="497" y="131"/>
                    </a:lnTo>
                    <a:lnTo>
                      <a:pt x="499" y="131"/>
                    </a:lnTo>
                    <a:lnTo>
                      <a:pt x="500" y="131"/>
                    </a:lnTo>
                    <a:lnTo>
                      <a:pt x="500" y="132"/>
                    </a:lnTo>
                    <a:lnTo>
                      <a:pt x="502" y="132"/>
                    </a:lnTo>
                    <a:lnTo>
                      <a:pt x="504" y="132"/>
                    </a:lnTo>
                    <a:lnTo>
                      <a:pt x="505" y="132"/>
                    </a:lnTo>
                    <a:lnTo>
                      <a:pt x="507" y="132"/>
                    </a:lnTo>
                    <a:lnTo>
                      <a:pt x="507" y="134"/>
                    </a:lnTo>
                    <a:lnTo>
                      <a:pt x="509" y="134"/>
                    </a:lnTo>
                    <a:lnTo>
                      <a:pt x="510" y="134"/>
                    </a:lnTo>
                    <a:lnTo>
                      <a:pt x="510" y="136"/>
                    </a:lnTo>
                    <a:lnTo>
                      <a:pt x="509" y="136"/>
                    </a:lnTo>
                    <a:lnTo>
                      <a:pt x="510" y="136"/>
                    </a:lnTo>
                    <a:lnTo>
                      <a:pt x="510" y="137"/>
                    </a:lnTo>
                    <a:lnTo>
                      <a:pt x="512" y="137"/>
                    </a:lnTo>
                    <a:lnTo>
                      <a:pt x="514" y="137"/>
                    </a:lnTo>
                    <a:lnTo>
                      <a:pt x="516" y="137"/>
                    </a:lnTo>
                    <a:lnTo>
                      <a:pt x="516" y="136"/>
                    </a:lnTo>
                    <a:lnTo>
                      <a:pt x="516" y="134"/>
                    </a:lnTo>
                    <a:lnTo>
                      <a:pt x="517" y="134"/>
                    </a:lnTo>
                    <a:lnTo>
                      <a:pt x="519" y="134"/>
                    </a:lnTo>
                    <a:lnTo>
                      <a:pt x="521" y="134"/>
                    </a:lnTo>
                    <a:lnTo>
                      <a:pt x="521" y="136"/>
                    </a:lnTo>
                    <a:lnTo>
                      <a:pt x="521" y="134"/>
                    </a:lnTo>
                    <a:lnTo>
                      <a:pt x="522" y="134"/>
                    </a:lnTo>
                    <a:lnTo>
                      <a:pt x="522" y="136"/>
                    </a:lnTo>
                    <a:lnTo>
                      <a:pt x="522" y="134"/>
                    </a:lnTo>
                    <a:lnTo>
                      <a:pt x="524" y="136"/>
                    </a:lnTo>
                    <a:lnTo>
                      <a:pt x="524" y="134"/>
                    </a:lnTo>
                    <a:lnTo>
                      <a:pt x="524" y="132"/>
                    </a:lnTo>
                    <a:lnTo>
                      <a:pt x="524" y="131"/>
                    </a:lnTo>
                    <a:lnTo>
                      <a:pt x="522" y="131"/>
                    </a:lnTo>
                    <a:lnTo>
                      <a:pt x="524" y="129"/>
                    </a:lnTo>
                    <a:lnTo>
                      <a:pt x="522" y="129"/>
                    </a:lnTo>
                    <a:lnTo>
                      <a:pt x="524" y="129"/>
                    </a:lnTo>
                    <a:lnTo>
                      <a:pt x="526" y="129"/>
                    </a:lnTo>
                    <a:lnTo>
                      <a:pt x="526" y="127"/>
                    </a:lnTo>
                    <a:lnTo>
                      <a:pt x="527" y="129"/>
                    </a:lnTo>
                    <a:lnTo>
                      <a:pt x="527" y="127"/>
                    </a:lnTo>
                    <a:lnTo>
                      <a:pt x="527" y="126"/>
                    </a:lnTo>
                    <a:lnTo>
                      <a:pt x="529" y="126"/>
                    </a:lnTo>
                    <a:lnTo>
                      <a:pt x="529" y="124"/>
                    </a:lnTo>
                    <a:lnTo>
                      <a:pt x="529" y="126"/>
                    </a:lnTo>
                    <a:lnTo>
                      <a:pt x="531" y="126"/>
                    </a:lnTo>
                    <a:lnTo>
                      <a:pt x="531" y="124"/>
                    </a:lnTo>
                    <a:lnTo>
                      <a:pt x="531" y="126"/>
                    </a:lnTo>
                    <a:lnTo>
                      <a:pt x="533" y="126"/>
                    </a:lnTo>
                    <a:lnTo>
                      <a:pt x="534" y="126"/>
                    </a:lnTo>
                    <a:lnTo>
                      <a:pt x="536" y="127"/>
                    </a:lnTo>
                    <a:lnTo>
                      <a:pt x="534" y="127"/>
                    </a:lnTo>
                    <a:lnTo>
                      <a:pt x="536" y="127"/>
                    </a:lnTo>
                    <a:lnTo>
                      <a:pt x="538" y="127"/>
                    </a:lnTo>
                    <a:lnTo>
                      <a:pt x="538" y="126"/>
                    </a:lnTo>
                    <a:lnTo>
                      <a:pt x="539" y="127"/>
                    </a:lnTo>
                    <a:lnTo>
                      <a:pt x="539" y="126"/>
                    </a:lnTo>
                    <a:lnTo>
                      <a:pt x="541" y="126"/>
                    </a:lnTo>
                    <a:lnTo>
                      <a:pt x="541" y="124"/>
                    </a:lnTo>
                    <a:lnTo>
                      <a:pt x="541" y="122"/>
                    </a:lnTo>
                    <a:lnTo>
                      <a:pt x="539" y="122"/>
                    </a:lnTo>
                    <a:lnTo>
                      <a:pt x="541" y="122"/>
                    </a:lnTo>
                    <a:lnTo>
                      <a:pt x="543" y="122"/>
                    </a:lnTo>
                    <a:lnTo>
                      <a:pt x="544" y="122"/>
                    </a:lnTo>
                    <a:lnTo>
                      <a:pt x="544" y="120"/>
                    </a:lnTo>
                    <a:lnTo>
                      <a:pt x="544" y="122"/>
                    </a:lnTo>
                    <a:lnTo>
                      <a:pt x="546" y="120"/>
                    </a:lnTo>
                    <a:lnTo>
                      <a:pt x="548" y="120"/>
                    </a:lnTo>
                    <a:lnTo>
                      <a:pt x="548" y="119"/>
                    </a:lnTo>
                    <a:lnTo>
                      <a:pt x="548" y="120"/>
                    </a:lnTo>
                    <a:lnTo>
                      <a:pt x="550" y="119"/>
                    </a:lnTo>
                    <a:lnTo>
                      <a:pt x="550" y="120"/>
                    </a:lnTo>
                    <a:lnTo>
                      <a:pt x="550" y="119"/>
                    </a:lnTo>
                    <a:lnTo>
                      <a:pt x="550" y="120"/>
                    </a:lnTo>
                    <a:lnTo>
                      <a:pt x="551" y="120"/>
                    </a:lnTo>
                    <a:lnTo>
                      <a:pt x="553" y="120"/>
                    </a:lnTo>
                    <a:lnTo>
                      <a:pt x="555" y="120"/>
                    </a:lnTo>
                    <a:lnTo>
                      <a:pt x="556" y="120"/>
                    </a:lnTo>
                    <a:lnTo>
                      <a:pt x="556" y="119"/>
                    </a:lnTo>
                    <a:lnTo>
                      <a:pt x="556" y="117"/>
                    </a:lnTo>
                    <a:lnTo>
                      <a:pt x="558" y="117"/>
                    </a:lnTo>
                    <a:lnTo>
                      <a:pt x="560" y="115"/>
                    </a:lnTo>
                    <a:lnTo>
                      <a:pt x="558" y="115"/>
                    </a:lnTo>
                    <a:lnTo>
                      <a:pt x="560" y="115"/>
                    </a:lnTo>
                    <a:lnTo>
                      <a:pt x="560" y="114"/>
                    </a:lnTo>
                    <a:lnTo>
                      <a:pt x="561" y="112"/>
                    </a:lnTo>
                    <a:lnTo>
                      <a:pt x="561" y="114"/>
                    </a:lnTo>
                    <a:lnTo>
                      <a:pt x="561" y="112"/>
                    </a:lnTo>
                    <a:lnTo>
                      <a:pt x="561" y="110"/>
                    </a:lnTo>
                    <a:lnTo>
                      <a:pt x="563" y="110"/>
                    </a:lnTo>
                    <a:lnTo>
                      <a:pt x="565" y="110"/>
                    </a:lnTo>
                    <a:lnTo>
                      <a:pt x="565" y="112"/>
                    </a:lnTo>
                    <a:lnTo>
                      <a:pt x="567" y="112"/>
                    </a:lnTo>
                    <a:lnTo>
                      <a:pt x="567" y="110"/>
                    </a:lnTo>
                    <a:lnTo>
                      <a:pt x="568" y="110"/>
                    </a:lnTo>
                    <a:lnTo>
                      <a:pt x="570" y="110"/>
                    </a:lnTo>
                    <a:lnTo>
                      <a:pt x="570" y="109"/>
                    </a:lnTo>
                    <a:lnTo>
                      <a:pt x="570" y="110"/>
                    </a:lnTo>
                    <a:lnTo>
                      <a:pt x="572" y="110"/>
                    </a:lnTo>
                    <a:lnTo>
                      <a:pt x="572" y="112"/>
                    </a:lnTo>
                    <a:lnTo>
                      <a:pt x="573" y="112"/>
                    </a:lnTo>
                    <a:lnTo>
                      <a:pt x="573" y="114"/>
                    </a:lnTo>
                    <a:lnTo>
                      <a:pt x="575" y="114"/>
                    </a:lnTo>
                    <a:lnTo>
                      <a:pt x="577" y="112"/>
                    </a:lnTo>
                    <a:lnTo>
                      <a:pt x="577" y="114"/>
                    </a:lnTo>
                    <a:lnTo>
                      <a:pt x="578" y="114"/>
                    </a:lnTo>
                    <a:lnTo>
                      <a:pt x="580" y="114"/>
                    </a:lnTo>
                    <a:lnTo>
                      <a:pt x="580" y="115"/>
                    </a:lnTo>
                    <a:lnTo>
                      <a:pt x="582" y="115"/>
                    </a:lnTo>
                    <a:lnTo>
                      <a:pt x="582" y="114"/>
                    </a:lnTo>
                    <a:lnTo>
                      <a:pt x="584" y="112"/>
                    </a:lnTo>
                    <a:lnTo>
                      <a:pt x="584" y="114"/>
                    </a:lnTo>
                    <a:lnTo>
                      <a:pt x="585" y="114"/>
                    </a:lnTo>
                    <a:lnTo>
                      <a:pt x="585" y="112"/>
                    </a:lnTo>
                    <a:lnTo>
                      <a:pt x="587" y="112"/>
                    </a:lnTo>
                    <a:lnTo>
                      <a:pt x="589" y="114"/>
                    </a:lnTo>
                    <a:lnTo>
                      <a:pt x="590" y="112"/>
                    </a:lnTo>
                    <a:lnTo>
                      <a:pt x="592" y="112"/>
                    </a:lnTo>
                    <a:lnTo>
                      <a:pt x="594" y="112"/>
                    </a:lnTo>
                    <a:lnTo>
                      <a:pt x="594" y="114"/>
                    </a:lnTo>
                    <a:lnTo>
                      <a:pt x="594" y="112"/>
                    </a:lnTo>
                    <a:lnTo>
                      <a:pt x="595" y="112"/>
                    </a:lnTo>
                    <a:lnTo>
                      <a:pt x="597" y="112"/>
                    </a:lnTo>
                    <a:lnTo>
                      <a:pt x="597" y="114"/>
                    </a:lnTo>
                    <a:lnTo>
                      <a:pt x="599" y="114"/>
                    </a:lnTo>
                    <a:lnTo>
                      <a:pt x="601" y="114"/>
                    </a:lnTo>
                    <a:lnTo>
                      <a:pt x="602" y="114"/>
                    </a:lnTo>
                    <a:lnTo>
                      <a:pt x="604" y="115"/>
                    </a:lnTo>
                    <a:lnTo>
                      <a:pt x="606" y="115"/>
                    </a:lnTo>
                    <a:lnTo>
                      <a:pt x="607" y="115"/>
                    </a:lnTo>
                    <a:lnTo>
                      <a:pt x="609" y="115"/>
                    </a:lnTo>
                    <a:lnTo>
                      <a:pt x="611" y="114"/>
                    </a:lnTo>
                    <a:lnTo>
                      <a:pt x="611" y="112"/>
                    </a:lnTo>
                    <a:lnTo>
                      <a:pt x="609" y="110"/>
                    </a:lnTo>
                    <a:lnTo>
                      <a:pt x="611" y="110"/>
                    </a:lnTo>
                    <a:lnTo>
                      <a:pt x="611" y="109"/>
                    </a:lnTo>
                    <a:lnTo>
                      <a:pt x="611" y="107"/>
                    </a:lnTo>
                    <a:lnTo>
                      <a:pt x="609" y="107"/>
                    </a:lnTo>
                    <a:lnTo>
                      <a:pt x="609" y="105"/>
                    </a:lnTo>
                    <a:lnTo>
                      <a:pt x="607" y="105"/>
                    </a:lnTo>
                    <a:lnTo>
                      <a:pt x="606" y="105"/>
                    </a:lnTo>
                    <a:lnTo>
                      <a:pt x="606" y="103"/>
                    </a:lnTo>
                    <a:lnTo>
                      <a:pt x="606" y="102"/>
                    </a:lnTo>
                    <a:lnTo>
                      <a:pt x="604" y="102"/>
                    </a:lnTo>
                    <a:lnTo>
                      <a:pt x="602" y="102"/>
                    </a:lnTo>
                    <a:lnTo>
                      <a:pt x="604" y="100"/>
                    </a:lnTo>
                    <a:lnTo>
                      <a:pt x="604" y="98"/>
                    </a:lnTo>
                    <a:lnTo>
                      <a:pt x="606" y="98"/>
                    </a:lnTo>
                    <a:lnTo>
                      <a:pt x="607" y="98"/>
                    </a:lnTo>
                    <a:lnTo>
                      <a:pt x="606" y="98"/>
                    </a:lnTo>
                    <a:lnTo>
                      <a:pt x="607" y="97"/>
                    </a:lnTo>
                    <a:lnTo>
                      <a:pt x="607" y="95"/>
                    </a:lnTo>
                    <a:lnTo>
                      <a:pt x="607" y="93"/>
                    </a:lnTo>
                    <a:lnTo>
                      <a:pt x="609" y="93"/>
                    </a:lnTo>
                    <a:lnTo>
                      <a:pt x="607" y="93"/>
                    </a:lnTo>
                    <a:lnTo>
                      <a:pt x="609" y="93"/>
                    </a:lnTo>
                    <a:lnTo>
                      <a:pt x="609" y="92"/>
                    </a:lnTo>
                    <a:lnTo>
                      <a:pt x="611" y="92"/>
                    </a:lnTo>
                    <a:lnTo>
                      <a:pt x="611" y="93"/>
                    </a:lnTo>
                    <a:lnTo>
                      <a:pt x="612" y="93"/>
                    </a:lnTo>
                    <a:lnTo>
                      <a:pt x="612" y="95"/>
                    </a:lnTo>
                    <a:lnTo>
                      <a:pt x="614" y="95"/>
                    </a:lnTo>
                    <a:lnTo>
                      <a:pt x="616" y="95"/>
                    </a:lnTo>
                    <a:lnTo>
                      <a:pt x="616" y="97"/>
                    </a:lnTo>
                    <a:lnTo>
                      <a:pt x="618" y="97"/>
                    </a:lnTo>
                    <a:lnTo>
                      <a:pt x="619" y="97"/>
                    </a:lnTo>
                    <a:lnTo>
                      <a:pt x="621" y="97"/>
                    </a:lnTo>
                    <a:lnTo>
                      <a:pt x="621" y="95"/>
                    </a:lnTo>
                    <a:lnTo>
                      <a:pt x="623" y="95"/>
                    </a:lnTo>
                    <a:lnTo>
                      <a:pt x="623" y="97"/>
                    </a:lnTo>
                    <a:lnTo>
                      <a:pt x="623" y="95"/>
                    </a:lnTo>
                    <a:lnTo>
                      <a:pt x="624" y="95"/>
                    </a:lnTo>
                    <a:lnTo>
                      <a:pt x="626" y="95"/>
                    </a:lnTo>
                    <a:lnTo>
                      <a:pt x="628" y="95"/>
                    </a:lnTo>
                    <a:lnTo>
                      <a:pt x="628" y="97"/>
                    </a:lnTo>
                    <a:lnTo>
                      <a:pt x="629" y="97"/>
                    </a:lnTo>
                    <a:lnTo>
                      <a:pt x="629" y="95"/>
                    </a:lnTo>
                    <a:lnTo>
                      <a:pt x="629" y="93"/>
                    </a:lnTo>
                    <a:lnTo>
                      <a:pt x="631" y="93"/>
                    </a:lnTo>
                    <a:lnTo>
                      <a:pt x="633" y="93"/>
                    </a:lnTo>
                    <a:lnTo>
                      <a:pt x="635" y="93"/>
                    </a:lnTo>
                    <a:lnTo>
                      <a:pt x="635" y="92"/>
                    </a:lnTo>
                    <a:lnTo>
                      <a:pt x="636" y="92"/>
                    </a:lnTo>
                    <a:lnTo>
                      <a:pt x="638" y="92"/>
                    </a:lnTo>
                    <a:lnTo>
                      <a:pt x="638" y="93"/>
                    </a:lnTo>
                    <a:lnTo>
                      <a:pt x="638" y="92"/>
                    </a:lnTo>
                    <a:lnTo>
                      <a:pt x="640" y="92"/>
                    </a:lnTo>
                    <a:lnTo>
                      <a:pt x="641" y="92"/>
                    </a:lnTo>
                    <a:lnTo>
                      <a:pt x="641" y="90"/>
                    </a:lnTo>
                    <a:lnTo>
                      <a:pt x="643" y="90"/>
                    </a:lnTo>
                    <a:lnTo>
                      <a:pt x="643" y="92"/>
                    </a:lnTo>
                    <a:lnTo>
                      <a:pt x="643" y="93"/>
                    </a:lnTo>
                    <a:lnTo>
                      <a:pt x="645" y="93"/>
                    </a:lnTo>
                    <a:lnTo>
                      <a:pt x="645" y="95"/>
                    </a:lnTo>
                    <a:lnTo>
                      <a:pt x="646" y="95"/>
                    </a:lnTo>
                    <a:lnTo>
                      <a:pt x="648" y="95"/>
                    </a:lnTo>
                    <a:lnTo>
                      <a:pt x="650" y="95"/>
                    </a:lnTo>
                    <a:lnTo>
                      <a:pt x="652" y="95"/>
                    </a:lnTo>
                    <a:lnTo>
                      <a:pt x="652" y="97"/>
                    </a:lnTo>
                    <a:lnTo>
                      <a:pt x="652" y="98"/>
                    </a:lnTo>
                    <a:lnTo>
                      <a:pt x="653" y="98"/>
                    </a:lnTo>
                    <a:lnTo>
                      <a:pt x="655" y="98"/>
                    </a:lnTo>
                    <a:lnTo>
                      <a:pt x="655" y="100"/>
                    </a:lnTo>
                    <a:lnTo>
                      <a:pt x="657" y="100"/>
                    </a:lnTo>
                    <a:lnTo>
                      <a:pt x="657" y="102"/>
                    </a:lnTo>
                    <a:lnTo>
                      <a:pt x="658" y="102"/>
                    </a:lnTo>
                    <a:lnTo>
                      <a:pt x="660" y="103"/>
                    </a:lnTo>
                    <a:lnTo>
                      <a:pt x="662" y="103"/>
                    </a:lnTo>
                    <a:lnTo>
                      <a:pt x="663" y="103"/>
                    </a:lnTo>
                    <a:lnTo>
                      <a:pt x="663" y="105"/>
                    </a:lnTo>
                    <a:lnTo>
                      <a:pt x="665" y="105"/>
                    </a:lnTo>
                    <a:lnTo>
                      <a:pt x="667" y="105"/>
                    </a:lnTo>
                    <a:lnTo>
                      <a:pt x="669" y="105"/>
                    </a:lnTo>
                    <a:lnTo>
                      <a:pt x="670" y="105"/>
                    </a:lnTo>
                    <a:lnTo>
                      <a:pt x="670" y="107"/>
                    </a:lnTo>
                    <a:lnTo>
                      <a:pt x="672" y="107"/>
                    </a:lnTo>
                    <a:lnTo>
                      <a:pt x="672" y="105"/>
                    </a:lnTo>
                    <a:lnTo>
                      <a:pt x="672" y="103"/>
                    </a:lnTo>
                    <a:lnTo>
                      <a:pt x="674" y="103"/>
                    </a:lnTo>
                    <a:lnTo>
                      <a:pt x="675" y="103"/>
                    </a:lnTo>
                    <a:lnTo>
                      <a:pt x="677" y="103"/>
                    </a:lnTo>
                    <a:lnTo>
                      <a:pt x="677" y="102"/>
                    </a:lnTo>
                    <a:lnTo>
                      <a:pt x="677" y="100"/>
                    </a:lnTo>
                    <a:lnTo>
                      <a:pt x="677" y="102"/>
                    </a:lnTo>
                    <a:lnTo>
                      <a:pt x="679" y="102"/>
                    </a:lnTo>
                    <a:lnTo>
                      <a:pt x="679" y="100"/>
                    </a:lnTo>
                    <a:lnTo>
                      <a:pt x="680" y="100"/>
                    </a:lnTo>
                    <a:lnTo>
                      <a:pt x="682" y="100"/>
                    </a:lnTo>
                    <a:lnTo>
                      <a:pt x="680" y="100"/>
                    </a:lnTo>
                    <a:lnTo>
                      <a:pt x="680" y="98"/>
                    </a:lnTo>
                    <a:lnTo>
                      <a:pt x="682" y="98"/>
                    </a:lnTo>
                    <a:lnTo>
                      <a:pt x="684" y="98"/>
                    </a:lnTo>
                    <a:lnTo>
                      <a:pt x="684" y="100"/>
                    </a:lnTo>
                    <a:lnTo>
                      <a:pt x="686" y="100"/>
                    </a:lnTo>
                    <a:lnTo>
                      <a:pt x="687" y="100"/>
                    </a:lnTo>
                    <a:lnTo>
                      <a:pt x="689" y="100"/>
                    </a:lnTo>
                    <a:lnTo>
                      <a:pt x="689" y="102"/>
                    </a:lnTo>
                    <a:lnTo>
                      <a:pt x="691" y="102"/>
                    </a:lnTo>
                    <a:lnTo>
                      <a:pt x="692" y="102"/>
                    </a:lnTo>
                    <a:lnTo>
                      <a:pt x="694" y="100"/>
                    </a:lnTo>
                    <a:lnTo>
                      <a:pt x="696" y="100"/>
                    </a:lnTo>
                    <a:lnTo>
                      <a:pt x="697" y="100"/>
                    </a:lnTo>
                    <a:lnTo>
                      <a:pt x="699" y="100"/>
                    </a:lnTo>
                    <a:lnTo>
                      <a:pt x="701" y="100"/>
                    </a:lnTo>
                    <a:lnTo>
                      <a:pt x="701" y="102"/>
                    </a:lnTo>
                    <a:lnTo>
                      <a:pt x="701" y="103"/>
                    </a:lnTo>
                    <a:lnTo>
                      <a:pt x="703" y="103"/>
                    </a:lnTo>
                    <a:lnTo>
                      <a:pt x="704" y="103"/>
                    </a:lnTo>
                    <a:lnTo>
                      <a:pt x="706" y="102"/>
                    </a:lnTo>
                    <a:lnTo>
                      <a:pt x="706" y="103"/>
                    </a:lnTo>
                    <a:lnTo>
                      <a:pt x="708" y="103"/>
                    </a:lnTo>
                    <a:lnTo>
                      <a:pt x="709" y="103"/>
                    </a:lnTo>
                    <a:lnTo>
                      <a:pt x="709" y="105"/>
                    </a:lnTo>
                    <a:lnTo>
                      <a:pt x="711" y="105"/>
                    </a:lnTo>
                    <a:lnTo>
                      <a:pt x="711" y="103"/>
                    </a:lnTo>
                    <a:lnTo>
                      <a:pt x="713" y="103"/>
                    </a:lnTo>
                    <a:lnTo>
                      <a:pt x="713" y="102"/>
                    </a:lnTo>
                    <a:lnTo>
                      <a:pt x="714" y="102"/>
                    </a:lnTo>
                    <a:lnTo>
                      <a:pt x="714" y="100"/>
                    </a:lnTo>
                    <a:lnTo>
                      <a:pt x="716" y="100"/>
                    </a:lnTo>
                    <a:lnTo>
                      <a:pt x="718" y="98"/>
                    </a:lnTo>
                    <a:lnTo>
                      <a:pt x="720" y="98"/>
                    </a:lnTo>
                    <a:lnTo>
                      <a:pt x="721" y="98"/>
                    </a:lnTo>
                    <a:lnTo>
                      <a:pt x="721" y="97"/>
                    </a:lnTo>
                    <a:lnTo>
                      <a:pt x="721" y="95"/>
                    </a:lnTo>
                    <a:lnTo>
                      <a:pt x="723" y="95"/>
                    </a:lnTo>
                    <a:lnTo>
                      <a:pt x="721" y="95"/>
                    </a:lnTo>
                    <a:lnTo>
                      <a:pt x="723" y="95"/>
                    </a:lnTo>
                    <a:lnTo>
                      <a:pt x="723" y="93"/>
                    </a:lnTo>
                    <a:lnTo>
                      <a:pt x="725" y="93"/>
                    </a:lnTo>
                    <a:lnTo>
                      <a:pt x="725" y="92"/>
                    </a:lnTo>
                    <a:lnTo>
                      <a:pt x="725" y="90"/>
                    </a:lnTo>
                    <a:lnTo>
                      <a:pt x="725" y="88"/>
                    </a:lnTo>
                    <a:lnTo>
                      <a:pt x="725" y="86"/>
                    </a:lnTo>
                    <a:lnTo>
                      <a:pt x="726" y="86"/>
                    </a:lnTo>
                    <a:lnTo>
                      <a:pt x="726" y="85"/>
                    </a:lnTo>
                    <a:lnTo>
                      <a:pt x="726" y="83"/>
                    </a:lnTo>
                    <a:lnTo>
                      <a:pt x="728" y="83"/>
                    </a:lnTo>
                    <a:lnTo>
                      <a:pt x="728" y="81"/>
                    </a:lnTo>
                    <a:lnTo>
                      <a:pt x="728" y="80"/>
                    </a:lnTo>
                    <a:lnTo>
                      <a:pt x="730" y="80"/>
                    </a:lnTo>
                    <a:lnTo>
                      <a:pt x="730" y="78"/>
                    </a:lnTo>
                    <a:lnTo>
                      <a:pt x="730" y="76"/>
                    </a:lnTo>
                    <a:lnTo>
                      <a:pt x="731" y="76"/>
                    </a:lnTo>
                    <a:lnTo>
                      <a:pt x="731" y="75"/>
                    </a:lnTo>
                    <a:lnTo>
                      <a:pt x="731" y="73"/>
                    </a:lnTo>
                    <a:lnTo>
                      <a:pt x="731" y="71"/>
                    </a:lnTo>
                    <a:lnTo>
                      <a:pt x="733" y="71"/>
                    </a:lnTo>
                    <a:lnTo>
                      <a:pt x="733" y="69"/>
                    </a:lnTo>
                    <a:lnTo>
                      <a:pt x="733" y="68"/>
                    </a:lnTo>
                    <a:lnTo>
                      <a:pt x="735" y="68"/>
                    </a:lnTo>
                    <a:lnTo>
                      <a:pt x="737" y="68"/>
                    </a:lnTo>
                    <a:lnTo>
                      <a:pt x="737" y="66"/>
                    </a:lnTo>
                    <a:lnTo>
                      <a:pt x="737" y="64"/>
                    </a:lnTo>
                    <a:lnTo>
                      <a:pt x="738" y="64"/>
                    </a:lnTo>
                    <a:lnTo>
                      <a:pt x="738" y="63"/>
                    </a:lnTo>
                    <a:lnTo>
                      <a:pt x="738" y="61"/>
                    </a:lnTo>
                    <a:lnTo>
                      <a:pt x="740" y="61"/>
                    </a:lnTo>
                    <a:lnTo>
                      <a:pt x="740" y="59"/>
                    </a:lnTo>
                    <a:lnTo>
                      <a:pt x="742" y="59"/>
                    </a:lnTo>
                    <a:lnTo>
                      <a:pt x="742" y="58"/>
                    </a:lnTo>
                    <a:lnTo>
                      <a:pt x="742" y="56"/>
                    </a:lnTo>
                    <a:lnTo>
                      <a:pt x="743" y="56"/>
                    </a:lnTo>
                    <a:lnTo>
                      <a:pt x="743" y="54"/>
                    </a:lnTo>
                    <a:lnTo>
                      <a:pt x="743" y="52"/>
                    </a:lnTo>
                    <a:lnTo>
                      <a:pt x="745" y="52"/>
                    </a:lnTo>
                    <a:lnTo>
                      <a:pt x="745" y="51"/>
                    </a:lnTo>
                    <a:lnTo>
                      <a:pt x="747" y="49"/>
                    </a:lnTo>
                    <a:lnTo>
                      <a:pt x="748" y="47"/>
                    </a:lnTo>
                    <a:lnTo>
                      <a:pt x="750" y="47"/>
                    </a:lnTo>
                    <a:lnTo>
                      <a:pt x="750" y="46"/>
                    </a:lnTo>
                    <a:lnTo>
                      <a:pt x="750" y="44"/>
                    </a:lnTo>
                    <a:lnTo>
                      <a:pt x="752" y="42"/>
                    </a:lnTo>
                    <a:lnTo>
                      <a:pt x="754" y="42"/>
                    </a:lnTo>
                    <a:lnTo>
                      <a:pt x="754" y="41"/>
                    </a:lnTo>
                    <a:lnTo>
                      <a:pt x="755" y="41"/>
                    </a:lnTo>
                    <a:lnTo>
                      <a:pt x="755" y="39"/>
                    </a:lnTo>
                    <a:lnTo>
                      <a:pt x="755" y="37"/>
                    </a:lnTo>
                    <a:lnTo>
                      <a:pt x="757" y="37"/>
                    </a:lnTo>
                    <a:lnTo>
                      <a:pt x="755" y="35"/>
                    </a:lnTo>
                    <a:lnTo>
                      <a:pt x="757" y="35"/>
                    </a:lnTo>
                    <a:lnTo>
                      <a:pt x="757" y="34"/>
                    </a:lnTo>
                    <a:lnTo>
                      <a:pt x="757" y="35"/>
                    </a:lnTo>
                    <a:lnTo>
                      <a:pt x="759" y="37"/>
                    </a:lnTo>
                    <a:lnTo>
                      <a:pt x="759" y="39"/>
                    </a:lnTo>
                    <a:lnTo>
                      <a:pt x="759" y="41"/>
                    </a:lnTo>
                    <a:lnTo>
                      <a:pt x="760" y="41"/>
                    </a:lnTo>
                    <a:lnTo>
                      <a:pt x="760" y="42"/>
                    </a:lnTo>
                    <a:lnTo>
                      <a:pt x="760" y="44"/>
                    </a:lnTo>
                    <a:lnTo>
                      <a:pt x="762" y="44"/>
                    </a:lnTo>
                    <a:lnTo>
                      <a:pt x="760" y="44"/>
                    </a:lnTo>
                    <a:lnTo>
                      <a:pt x="760" y="42"/>
                    </a:lnTo>
                    <a:lnTo>
                      <a:pt x="760" y="41"/>
                    </a:lnTo>
                    <a:lnTo>
                      <a:pt x="760" y="39"/>
                    </a:lnTo>
                    <a:lnTo>
                      <a:pt x="759" y="39"/>
                    </a:lnTo>
                    <a:lnTo>
                      <a:pt x="759" y="37"/>
                    </a:lnTo>
                    <a:lnTo>
                      <a:pt x="759" y="35"/>
                    </a:lnTo>
                    <a:lnTo>
                      <a:pt x="759" y="34"/>
                    </a:lnTo>
                    <a:lnTo>
                      <a:pt x="757" y="34"/>
                    </a:lnTo>
                    <a:lnTo>
                      <a:pt x="757" y="32"/>
                    </a:lnTo>
                    <a:lnTo>
                      <a:pt x="757" y="30"/>
                    </a:lnTo>
                    <a:lnTo>
                      <a:pt x="757" y="29"/>
                    </a:lnTo>
                    <a:lnTo>
                      <a:pt x="759" y="29"/>
                    </a:lnTo>
                    <a:lnTo>
                      <a:pt x="759" y="27"/>
                    </a:lnTo>
                    <a:lnTo>
                      <a:pt x="760" y="29"/>
                    </a:lnTo>
                    <a:lnTo>
                      <a:pt x="762" y="29"/>
                    </a:lnTo>
                    <a:lnTo>
                      <a:pt x="762" y="30"/>
                    </a:lnTo>
                    <a:lnTo>
                      <a:pt x="764" y="30"/>
                    </a:lnTo>
                    <a:lnTo>
                      <a:pt x="764" y="32"/>
                    </a:lnTo>
                    <a:lnTo>
                      <a:pt x="765" y="32"/>
                    </a:lnTo>
                    <a:lnTo>
                      <a:pt x="765" y="34"/>
                    </a:lnTo>
                    <a:lnTo>
                      <a:pt x="767" y="34"/>
                    </a:lnTo>
                    <a:lnTo>
                      <a:pt x="767" y="35"/>
                    </a:lnTo>
                    <a:lnTo>
                      <a:pt x="769" y="37"/>
                    </a:lnTo>
                    <a:lnTo>
                      <a:pt x="769" y="39"/>
                    </a:lnTo>
                    <a:lnTo>
                      <a:pt x="771" y="39"/>
                    </a:lnTo>
                    <a:lnTo>
                      <a:pt x="771" y="41"/>
                    </a:lnTo>
                    <a:lnTo>
                      <a:pt x="771" y="42"/>
                    </a:lnTo>
                    <a:lnTo>
                      <a:pt x="771" y="44"/>
                    </a:lnTo>
                    <a:lnTo>
                      <a:pt x="771" y="46"/>
                    </a:lnTo>
                    <a:lnTo>
                      <a:pt x="771" y="47"/>
                    </a:lnTo>
                    <a:lnTo>
                      <a:pt x="771" y="49"/>
                    </a:lnTo>
                    <a:lnTo>
                      <a:pt x="771" y="51"/>
                    </a:lnTo>
                    <a:lnTo>
                      <a:pt x="771" y="52"/>
                    </a:lnTo>
                    <a:lnTo>
                      <a:pt x="769" y="54"/>
                    </a:lnTo>
                    <a:lnTo>
                      <a:pt x="771" y="52"/>
                    </a:lnTo>
                    <a:lnTo>
                      <a:pt x="771" y="51"/>
                    </a:lnTo>
                    <a:lnTo>
                      <a:pt x="771" y="49"/>
                    </a:lnTo>
                    <a:lnTo>
                      <a:pt x="771" y="47"/>
                    </a:lnTo>
                    <a:lnTo>
                      <a:pt x="772" y="47"/>
                    </a:lnTo>
                    <a:lnTo>
                      <a:pt x="772" y="46"/>
                    </a:lnTo>
                    <a:lnTo>
                      <a:pt x="774" y="46"/>
                    </a:lnTo>
                    <a:lnTo>
                      <a:pt x="774" y="47"/>
                    </a:lnTo>
                    <a:lnTo>
                      <a:pt x="774" y="49"/>
                    </a:lnTo>
                    <a:lnTo>
                      <a:pt x="774" y="51"/>
                    </a:lnTo>
                    <a:lnTo>
                      <a:pt x="774" y="52"/>
                    </a:lnTo>
                    <a:lnTo>
                      <a:pt x="774" y="54"/>
                    </a:lnTo>
                    <a:lnTo>
                      <a:pt x="774" y="56"/>
                    </a:lnTo>
                    <a:lnTo>
                      <a:pt x="774" y="58"/>
                    </a:lnTo>
                    <a:lnTo>
                      <a:pt x="774" y="59"/>
                    </a:lnTo>
                    <a:lnTo>
                      <a:pt x="774" y="61"/>
                    </a:lnTo>
                    <a:lnTo>
                      <a:pt x="772" y="61"/>
                    </a:lnTo>
                    <a:lnTo>
                      <a:pt x="774" y="63"/>
                    </a:lnTo>
                    <a:lnTo>
                      <a:pt x="774" y="64"/>
                    </a:lnTo>
                    <a:lnTo>
                      <a:pt x="774" y="66"/>
                    </a:lnTo>
                    <a:lnTo>
                      <a:pt x="774" y="68"/>
                    </a:lnTo>
                    <a:lnTo>
                      <a:pt x="776" y="68"/>
                    </a:lnTo>
                    <a:lnTo>
                      <a:pt x="776" y="69"/>
                    </a:lnTo>
                    <a:lnTo>
                      <a:pt x="776" y="71"/>
                    </a:lnTo>
                    <a:lnTo>
                      <a:pt x="776" y="73"/>
                    </a:lnTo>
                    <a:lnTo>
                      <a:pt x="776" y="75"/>
                    </a:lnTo>
                    <a:lnTo>
                      <a:pt x="776" y="76"/>
                    </a:lnTo>
                    <a:lnTo>
                      <a:pt x="777" y="76"/>
                    </a:lnTo>
                    <a:lnTo>
                      <a:pt x="777" y="78"/>
                    </a:lnTo>
                    <a:lnTo>
                      <a:pt x="777" y="80"/>
                    </a:lnTo>
                    <a:lnTo>
                      <a:pt x="779" y="81"/>
                    </a:lnTo>
                    <a:lnTo>
                      <a:pt x="777" y="81"/>
                    </a:lnTo>
                    <a:lnTo>
                      <a:pt x="779" y="83"/>
                    </a:lnTo>
                    <a:lnTo>
                      <a:pt x="779" y="85"/>
                    </a:lnTo>
                    <a:lnTo>
                      <a:pt x="781" y="85"/>
                    </a:lnTo>
                    <a:lnTo>
                      <a:pt x="781" y="86"/>
                    </a:lnTo>
                    <a:lnTo>
                      <a:pt x="781" y="88"/>
                    </a:lnTo>
                    <a:lnTo>
                      <a:pt x="782" y="88"/>
                    </a:lnTo>
                    <a:lnTo>
                      <a:pt x="782" y="90"/>
                    </a:lnTo>
                    <a:lnTo>
                      <a:pt x="782" y="92"/>
                    </a:lnTo>
                    <a:lnTo>
                      <a:pt x="782" y="93"/>
                    </a:lnTo>
                    <a:lnTo>
                      <a:pt x="781" y="93"/>
                    </a:lnTo>
                    <a:lnTo>
                      <a:pt x="782" y="93"/>
                    </a:lnTo>
                    <a:lnTo>
                      <a:pt x="784" y="93"/>
                    </a:lnTo>
                    <a:lnTo>
                      <a:pt x="784" y="95"/>
                    </a:lnTo>
                    <a:lnTo>
                      <a:pt x="784" y="97"/>
                    </a:lnTo>
                    <a:lnTo>
                      <a:pt x="784" y="98"/>
                    </a:lnTo>
                    <a:lnTo>
                      <a:pt x="786" y="98"/>
                    </a:lnTo>
                    <a:lnTo>
                      <a:pt x="786" y="100"/>
                    </a:lnTo>
                    <a:lnTo>
                      <a:pt x="786" y="102"/>
                    </a:lnTo>
                    <a:lnTo>
                      <a:pt x="786" y="103"/>
                    </a:lnTo>
                    <a:lnTo>
                      <a:pt x="788" y="103"/>
                    </a:lnTo>
                    <a:lnTo>
                      <a:pt x="788" y="105"/>
                    </a:lnTo>
                    <a:lnTo>
                      <a:pt x="786" y="105"/>
                    </a:lnTo>
                    <a:lnTo>
                      <a:pt x="786" y="107"/>
                    </a:lnTo>
                    <a:lnTo>
                      <a:pt x="784" y="107"/>
                    </a:lnTo>
                    <a:lnTo>
                      <a:pt x="786" y="107"/>
                    </a:lnTo>
                    <a:lnTo>
                      <a:pt x="788" y="105"/>
                    </a:lnTo>
                    <a:lnTo>
                      <a:pt x="788" y="107"/>
                    </a:lnTo>
                    <a:lnTo>
                      <a:pt x="789" y="107"/>
                    </a:lnTo>
                    <a:lnTo>
                      <a:pt x="791" y="109"/>
                    </a:lnTo>
                    <a:lnTo>
                      <a:pt x="789" y="109"/>
                    </a:lnTo>
                    <a:lnTo>
                      <a:pt x="789" y="110"/>
                    </a:lnTo>
                    <a:lnTo>
                      <a:pt x="791" y="110"/>
                    </a:lnTo>
                    <a:lnTo>
                      <a:pt x="791" y="112"/>
                    </a:lnTo>
                    <a:lnTo>
                      <a:pt x="793" y="112"/>
                    </a:lnTo>
                    <a:lnTo>
                      <a:pt x="793" y="114"/>
                    </a:lnTo>
                    <a:lnTo>
                      <a:pt x="794" y="115"/>
                    </a:lnTo>
                    <a:lnTo>
                      <a:pt x="794" y="117"/>
                    </a:lnTo>
                    <a:lnTo>
                      <a:pt x="796" y="117"/>
                    </a:lnTo>
                    <a:lnTo>
                      <a:pt x="798" y="117"/>
                    </a:lnTo>
                    <a:lnTo>
                      <a:pt x="799" y="117"/>
                    </a:lnTo>
                    <a:lnTo>
                      <a:pt x="801" y="117"/>
                    </a:lnTo>
                    <a:lnTo>
                      <a:pt x="803" y="117"/>
                    </a:lnTo>
                    <a:lnTo>
                      <a:pt x="805" y="117"/>
                    </a:lnTo>
                    <a:lnTo>
                      <a:pt x="806" y="117"/>
                    </a:lnTo>
                    <a:lnTo>
                      <a:pt x="808" y="117"/>
                    </a:lnTo>
                    <a:lnTo>
                      <a:pt x="810" y="119"/>
                    </a:lnTo>
                    <a:lnTo>
                      <a:pt x="811" y="119"/>
                    </a:lnTo>
                    <a:lnTo>
                      <a:pt x="813" y="120"/>
                    </a:lnTo>
                    <a:lnTo>
                      <a:pt x="813" y="122"/>
                    </a:lnTo>
                    <a:lnTo>
                      <a:pt x="813" y="124"/>
                    </a:lnTo>
                    <a:lnTo>
                      <a:pt x="813" y="126"/>
                    </a:lnTo>
                    <a:lnTo>
                      <a:pt x="813" y="127"/>
                    </a:lnTo>
                    <a:lnTo>
                      <a:pt x="815" y="127"/>
                    </a:lnTo>
                    <a:lnTo>
                      <a:pt x="815" y="129"/>
                    </a:lnTo>
                    <a:lnTo>
                      <a:pt x="815" y="131"/>
                    </a:lnTo>
                    <a:lnTo>
                      <a:pt x="815" y="132"/>
                    </a:lnTo>
                    <a:lnTo>
                      <a:pt x="813" y="134"/>
                    </a:lnTo>
                    <a:lnTo>
                      <a:pt x="813" y="136"/>
                    </a:lnTo>
                    <a:lnTo>
                      <a:pt x="811" y="136"/>
                    </a:lnTo>
                    <a:lnTo>
                      <a:pt x="810" y="136"/>
                    </a:lnTo>
                    <a:lnTo>
                      <a:pt x="808" y="136"/>
                    </a:lnTo>
                    <a:lnTo>
                      <a:pt x="806" y="136"/>
                    </a:lnTo>
                    <a:lnTo>
                      <a:pt x="806" y="137"/>
                    </a:lnTo>
                    <a:lnTo>
                      <a:pt x="806" y="136"/>
                    </a:lnTo>
                    <a:lnTo>
                      <a:pt x="806" y="134"/>
                    </a:lnTo>
                    <a:lnTo>
                      <a:pt x="806" y="132"/>
                    </a:lnTo>
                    <a:lnTo>
                      <a:pt x="805" y="132"/>
                    </a:lnTo>
                    <a:lnTo>
                      <a:pt x="803" y="132"/>
                    </a:lnTo>
                    <a:lnTo>
                      <a:pt x="801" y="132"/>
                    </a:lnTo>
                    <a:lnTo>
                      <a:pt x="801" y="134"/>
                    </a:lnTo>
                    <a:lnTo>
                      <a:pt x="803" y="132"/>
                    </a:lnTo>
                    <a:lnTo>
                      <a:pt x="805" y="132"/>
                    </a:lnTo>
                    <a:lnTo>
                      <a:pt x="806" y="132"/>
                    </a:lnTo>
                    <a:lnTo>
                      <a:pt x="806" y="134"/>
                    </a:lnTo>
                    <a:lnTo>
                      <a:pt x="805" y="136"/>
                    </a:lnTo>
                    <a:lnTo>
                      <a:pt x="805" y="137"/>
                    </a:lnTo>
                    <a:lnTo>
                      <a:pt x="806" y="137"/>
                    </a:lnTo>
                    <a:lnTo>
                      <a:pt x="808" y="137"/>
                    </a:lnTo>
                    <a:lnTo>
                      <a:pt x="810" y="137"/>
                    </a:lnTo>
                    <a:lnTo>
                      <a:pt x="811" y="137"/>
                    </a:lnTo>
                    <a:lnTo>
                      <a:pt x="811" y="136"/>
                    </a:lnTo>
                    <a:lnTo>
                      <a:pt x="813" y="136"/>
                    </a:lnTo>
                    <a:lnTo>
                      <a:pt x="813" y="137"/>
                    </a:lnTo>
                    <a:lnTo>
                      <a:pt x="815" y="137"/>
                    </a:lnTo>
                    <a:lnTo>
                      <a:pt x="815" y="139"/>
                    </a:lnTo>
                    <a:lnTo>
                      <a:pt x="813" y="139"/>
                    </a:lnTo>
                    <a:lnTo>
                      <a:pt x="813" y="141"/>
                    </a:lnTo>
                    <a:lnTo>
                      <a:pt x="811" y="141"/>
                    </a:lnTo>
                    <a:lnTo>
                      <a:pt x="810" y="143"/>
                    </a:lnTo>
                    <a:lnTo>
                      <a:pt x="808" y="143"/>
                    </a:lnTo>
                    <a:lnTo>
                      <a:pt x="808" y="144"/>
                    </a:lnTo>
                    <a:lnTo>
                      <a:pt x="806" y="144"/>
                    </a:lnTo>
                    <a:lnTo>
                      <a:pt x="806" y="146"/>
                    </a:lnTo>
                    <a:lnTo>
                      <a:pt x="805" y="146"/>
                    </a:lnTo>
                    <a:lnTo>
                      <a:pt x="805" y="148"/>
                    </a:lnTo>
                    <a:lnTo>
                      <a:pt x="803" y="148"/>
                    </a:lnTo>
                    <a:lnTo>
                      <a:pt x="801" y="148"/>
                    </a:lnTo>
                    <a:lnTo>
                      <a:pt x="801" y="149"/>
                    </a:lnTo>
                    <a:lnTo>
                      <a:pt x="799" y="149"/>
                    </a:lnTo>
                    <a:lnTo>
                      <a:pt x="799" y="151"/>
                    </a:lnTo>
                    <a:lnTo>
                      <a:pt x="799" y="153"/>
                    </a:lnTo>
                    <a:lnTo>
                      <a:pt x="798" y="153"/>
                    </a:lnTo>
                    <a:lnTo>
                      <a:pt x="798" y="154"/>
                    </a:lnTo>
                    <a:lnTo>
                      <a:pt x="796" y="154"/>
                    </a:lnTo>
                    <a:lnTo>
                      <a:pt x="794" y="156"/>
                    </a:lnTo>
                    <a:lnTo>
                      <a:pt x="794" y="158"/>
                    </a:lnTo>
                    <a:lnTo>
                      <a:pt x="793" y="158"/>
                    </a:lnTo>
                    <a:lnTo>
                      <a:pt x="793" y="160"/>
                    </a:lnTo>
                    <a:lnTo>
                      <a:pt x="793" y="161"/>
                    </a:lnTo>
                    <a:lnTo>
                      <a:pt x="791" y="161"/>
                    </a:lnTo>
                    <a:lnTo>
                      <a:pt x="791" y="163"/>
                    </a:lnTo>
                    <a:lnTo>
                      <a:pt x="791" y="165"/>
                    </a:lnTo>
                    <a:lnTo>
                      <a:pt x="789" y="165"/>
                    </a:lnTo>
                    <a:lnTo>
                      <a:pt x="789" y="166"/>
                    </a:lnTo>
                    <a:lnTo>
                      <a:pt x="788" y="166"/>
                    </a:lnTo>
                    <a:lnTo>
                      <a:pt x="788" y="168"/>
                    </a:lnTo>
                    <a:lnTo>
                      <a:pt x="786" y="168"/>
                    </a:lnTo>
                    <a:lnTo>
                      <a:pt x="786" y="170"/>
                    </a:lnTo>
                    <a:lnTo>
                      <a:pt x="784" y="170"/>
                    </a:lnTo>
                    <a:lnTo>
                      <a:pt x="784" y="172"/>
                    </a:lnTo>
                    <a:lnTo>
                      <a:pt x="782" y="172"/>
                    </a:lnTo>
                    <a:lnTo>
                      <a:pt x="781" y="172"/>
                    </a:lnTo>
                    <a:lnTo>
                      <a:pt x="779" y="172"/>
                    </a:lnTo>
                    <a:lnTo>
                      <a:pt x="779" y="173"/>
                    </a:lnTo>
                    <a:lnTo>
                      <a:pt x="777" y="173"/>
                    </a:lnTo>
                    <a:lnTo>
                      <a:pt x="776" y="175"/>
                    </a:lnTo>
                    <a:lnTo>
                      <a:pt x="776" y="177"/>
                    </a:lnTo>
                    <a:lnTo>
                      <a:pt x="774" y="177"/>
                    </a:lnTo>
                    <a:lnTo>
                      <a:pt x="774" y="178"/>
                    </a:lnTo>
                    <a:lnTo>
                      <a:pt x="774" y="180"/>
                    </a:lnTo>
                    <a:lnTo>
                      <a:pt x="777" y="182"/>
                    </a:lnTo>
                    <a:lnTo>
                      <a:pt x="777" y="180"/>
                    </a:lnTo>
                    <a:lnTo>
                      <a:pt x="779" y="180"/>
                    </a:lnTo>
                    <a:lnTo>
                      <a:pt x="781" y="180"/>
                    </a:lnTo>
                    <a:lnTo>
                      <a:pt x="782" y="180"/>
                    </a:lnTo>
                    <a:lnTo>
                      <a:pt x="782" y="178"/>
                    </a:lnTo>
                    <a:lnTo>
                      <a:pt x="784" y="178"/>
                    </a:lnTo>
                    <a:lnTo>
                      <a:pt x="786" y="178"/>
                    </a:lnTo>
                    <a:lnTo>
                      <a:pt x="788" y="178"/>
                    </a:lnTo>
                    <a:lnTo>
                      <a:pt x="788" y="180"/>
                    </a:lnTo>
                    <a:lnTo>
                      <a:pt x="789" y="180"/>
                    </a:lnTo>
                    <a:lnTo>
                      <a:pt x="789" y="182"/>
                    </a:lnTo>
                    <a:lnTo>
                      <a:pt x="788" y="182"/>
                    </a:lnTo>
                    <a:lnTo>
                      <a:pt x="788" y="183"/>
                    </a:lnTo>
                    <a:lnTo>
                      <a:pt x="786" y="183"/>
                    </a:lnTo>
                    <a:lnTo>
                      <a:pt x="784" y="185"/>
                    </a:lnTo>
                    <a:lnTo>
                      <a:pt x="782" y="185"/>
                    </a:lnTo>
                    <a:lnTo>
                      <a:pt x="782" y="187"/>
                    </a:lnTo>
                    <a:lnTo>
                      <a:pt x="781" y="187"/>
                    </a:lnTo>
                    <a:lnTo>
                      <a:pt x="779" y="189"/>
                    </a:lnTo>
                    <a:lnTo>
                      <a:pt x="777" y="190"/>
                    </a:lnTo>
                    <a:lnTo>
                      <a:pt x="776" y="190"/>
                    </a:lnTo>
                    <a:lnTo>
                      <a:pt x="777" y="192"/>
                    </a:lnTo>
                    <a:lnTo>
                      <a:pt x="777" y="190"/>
                    </a:lnTo>
                    <a:lnTo>
                      <a:pt x="779" y="190"/>
                    </a:lnTo>
                    <a:lnTo>
                      <a:pt x="781" y="190"/>
                    </a:lnTo>
                    <a:lnTo>
                      <a:pt x="782" y="190"/>
                    </a:lnTo>
                    <a:lnTo>
                      <a:pt x="782" y="192"/>
                    </a:lnTo>
                    <a:lnTo>
                      <a:pt x="782" y="190"/>
                    </a:lnTo>
                    <a:lnTo>
                      <a:pt x="784" y="190"/>
                    </a:lnTo>
                    <a:lnTo>
                      <a:pt x="784" y="192"/>
                    </a:lnTo>
                    <a:lnTo>
                      <a:pt x="784" y="194"/>
                    </a:lnTo>
                    <a:lnTo>
                      <a:pt x="782" y="194"/>
                    </a:lnTo>
                    <a:lnTo>
                      <a:pt x="782" y="195"/>
                    </a:lnTo>
                    <a:lnTo>
                      <a:pt x="781" y="195"/>
                    </a:lnTo>
                    <a:lnTo>
                      <a:pt x="779" y="195"/>
                    </a:lnTo>
                    <a:lnTo>
                      <a:pt x="779" y="197"/>
                    </a:lnTo>
                    <a:lnTo>
                      <a:pt x="777" y="197"/>
                    </a:lnTo>
                    <a:lnTo>
                      <a:pt x="776" y="197"/>
                    </a:lnTo>
                    <a:lnTo>
                      <a:pt x="776" y="199"/>
                    </a:lnTo>
                    <a:lnTo>
                      <a:pt x="776" y="200"/>
                    </a:lnTo>
                    <a:lnTo>
                      <a:pt x="774" y="200"/>
                    </a:lnTo>
                    <a:lnTo>
                      <a:pt x="776" y="200"/>
                    </a:lnTo>
                    <a:lnTo>
                      <a:pt x="777" y="199"/>
                    </a:lnTo>
                    <a:lnTo>
                      <a:pt x="779" y="197"/>
                    </a:lnTo>
                    <a:lnTo>
                      <a:pt x="781" y="197"/>
                    </a:lnTo>
                    <a:lnTo>
                      <a:pt x="782" y="197"/>
                    </a:lnTo>
                    <a:lnTo>
                      <a:pt x="782" y="199"/>
                    </a:lnTo>
                    <a:lnTo>
                      <a:pt x="782" y="200"/>
                    </a:lnTo>
                    <a:lnTo>
                      <a:pt x="782" y="202"/>
                    </a:lnTo>
                    <a:lnTo>
                      <a:pt x="782" y="204"/>
                    </a:lnTo>
                    <a:lnTo>
                      <a:pt x="784" y="204"/>
                    </a:lnTo>
                    <a:lnTo>
                      <a:pt x="784" y="202"/>
                    </a:lnTo>
                    <a:lnTo>
                      <a:pt x="784" y="200"/>
                    </a:lnTo>
                    <a:lnTo>
                      <a:pt x="784" y="199"/>
                    </a:lnTo>
                    <a:lnTo>
                      <a:pt x="784" y="197"/>
                    </a:lnTo>
                    <a:lnTo>
                      <a:pt x="786" y="197"/>
                    </a:lnTo>
                    <a:lnTo>
                      <a:pt x="786" y="195"/>
                    </a:lnTo>
                    <a:lnTo>
                      <a:pt x="786" y="194"/>
                    </a:lnTo>
                    <a:lnTo>
                      <a:pt x="786" y="192"/>
                    </a:lnTo>
                    <a:lnTo>
                      <a:pt x="786" y="190"/>
                    </a:lnTo>
                    <a:lnTo>
                      <a:pt x="788" y="190"/>
                    </a:lnTo>
                    <a:lnTo>
                      <a:pt x="788" y="189"/>
                    </a:lnTo>
                    <a:lnTo>
                      <a:pt x="788" y="187"/>
                    </a:lnTo>
                    <a:lnTo>
                      <a:pt x="789" y="187"/>
                    </a:lnTo>
                    <a:lnTo>
                      <a:pt x="789" y="185"/>
                    </a:lnTo>
                    <a:lnTo>
                      <a:pt x="791" y="185"/>
                    </a:lnTo>
                    <a:lnTo>
                      <a:pt x="791" y="183"/>
                    </a:lnTo>
                    <a:lnTo>
                      <a:pt x="793" y="183"/>
                    </a:lnTo>
                    <a:lnTo>
                      <a:pt x="794" y="183"/>
                    </a:lnTo>
                    <a:lnTo>
                      <a:pt x="794" y="182"/>
                    </a:lnTo>
                    <a:lnTo>
                      <a:pt x="796" y="182"/>
                    </a:lnTo>
                    <a:lnTo>
                      <a:pt x="798" y="182"/>
                    </a:lnTo>
                    <a:lnTo>
                      <a:pt x="799" y="182"/>
                    </a:lnTo>
                    <a:lnTo>
                      <a:pt x="801" y="182"/>
                    </a:lnTo>
                    <a:lnTo>
                      <a:pt x="803" y="182"/>
                    </a:lnTo>
                    <a:lnTo>
                      <a:pt x="805" y="182"/>
                    </a:lnTo>
                    <a:lnTo>
                      <a:pt x="806" y="182"/>
                    </a:lnTo>
                    <a:lnTo>
                      <a:pt x="806" y="183"/>
                    </a:lnTo>
                    <a:lnTo>
                      <a:pt x="808" y="183"/>
                    </a:lnTo>
                    <a:lnTo>
                      <a:pt x="810" y="183"/>
                    </a:lnTo>
                    <a:lnTo>
                      <a:pt x="811" y="183"/>
                    </a:lnTo>
                    <a:lnTo>
                      <a:pt x="813" y="183"/>
                    </a:lnTo>
                    <a:lnTo>
                      <a:pt x="815" y="183"/>
                    </a:lnTo>
                    <a:lnTo>
                      <a:pt x="815" y="185"/>
                    </a:lnTo>
                    <a:lnTo>
                      <a:pt x="816" y="185"/>
                    </a:lnTo>
                    <a:lnTo>
                      <a:pt x="818" y="185"/>
                    </a:lnTo>
                    <a:lnTo>
                      <a:pt x="820" y="185"/>
                    </a:lnTo>
                    <a:lnTo>
                      <a:pt x="822" y="185"/>
                    </a:lnTo>
                    <a:lnTo>
                      <a:pt x="823" y="187"/>
                    </a:lnTo>
                    <a:lnTo>
                      <a:pt x="823" y="185"/>
                    </a:lnTo>
                    <a:lnTo>
                      <a:pt x="825" y="185"/>
                    </a:lnTo>
                    <a:lnTo>
                      <a:pt x="827" y="185"/>
                    </a:lnTo>
                    <a:lnTo>
                      <a:pt x="828" y="185"/>
                    </a:lnTo>
                    <a:lnTo>
                      <a:pt x="830" y="185"/>
                    </a:lnTo>
                    <a:lnTo>
                      <a:pt x="830" y="183"/>
                    </a:lnTo>
                    <a:lnTo>
                      <a:pt x="832" y="183"/>
                    </a:lnTo>
                    <a:lnTo>
                      <a:pt x="833" y="183"/>
                    </a:lnTo>
                    <a:lnTo>
                      <a:pt x="835" y="183"/>
                    </a:lnTo>
                    <a:lnTo>
                      <a:pt x="837" y="183"/>
                    </a:lnTo>
                    <a:lnTo>
                      <a:pt x="837" y="182"/>
                    </a:lnTo>
                    <a:lnTo>
                      <a:pt x="839" y="183"/>
                    </a:lnTo>
                    <a:lnTo>
                      <a:pt x="840" y="183"/>
                    </a:lnTo>
                    <a:lnTo>
                      <a:pt x="842" y="183"/>
                    </a:lnTo>
                    <a:lnTo>
                      <a:pt x="844" y="183"/>
                    </a:lnTo>
                    <a:lnTo>
                      <a:pt x="845" y="185"/>
                    </a:lnTo>
                    <a:lnTo>
                      <a:pt x="847" y="185"/>
                    </a:lnTo>
                    <a:lnTo>
                      <a:pt x="849" y="185"/>
                    </a:lnTo>
                    <a:lnTo>
                      <a:pt x="850" y="185"/>
                    </a:lnTo>
                    <a:lnTo>
                      <a:pt x="852" y="185"/>
                    </a:lnTo>
                    <a:lnTo>
                      <a:pt x="852" y="187"/>
                    </a:lnTo>
                    <a:lnTo>
                      <a:pt x="854" y="187"/>
                    </a:lnTo>
                    <a:lnTo>
                      <a:pt x="856" y="187"/>
                    </a:lnTo>
                    <a:lnTo>
                      <a:pt x="856" y="185"/>
                    </a:lnTo>
                    <a:lnTo>
                      <a:pt x="857" y="185"/>
                    </a:lnTo>
                    <a:lnTo>
                      <a:pt x="859" y="185"/>
                    </a:lnTo>
                    <a:lnTo>
                      <a:pt x="861" y="185"/>
                    </a:lnTo>
                    <a:lnTo>
                      <a:pt x="861" y="187"/>
                    </a:lnTo>
                    <a:lnTo>
                      <a:pt x="861" y="185"/>
                    </a:lnTo>
                    <a:lnTo>
                      <a:pt x="862" y="185"/>
                    </a:lnTo>
                    <a:lnTo>
                      <a:pt x="864" y="187"/>
                    </a:lnTo>
                    <a:lnTo>
                      <a:pt x="866" y="187"/>
                    </a:lnTo>
                    <a:lnTo>
                      <a:pt x="866" y="189"/>
                    </a:lnTo>
                    <a:lnTo>
                      <a:pt x="864" y="189"/>
                    </a:lnTo>
                    <a:lnTo>
                      <a:pt x="864" y="190"/>
                    </a:lnTo>
                    <a:lnTo>
                      <a:pt x="864" y="192"/>
                    </a:lnTo>
                    <a:lnTo>
                      <a:pt x="862" y="192"/>
                    </a:lnTo>
                    <a:lnTo>
                      <a:pt x="862" y="194"/>
                    </a:lnTo>
                    <a:lnTo>
                      <a:pt x="862" y="195"/>
                    </a:lnTo>
                    <a:lnTo>
                      <a:pt x="862" y="197"/>
                    </a:lnTo>
                    <a:lnTo>
                      <a:pt x="862" y="199"/>
                    </a:lnTo>
                    <a:lnTo>
                      <a:pt x="861" y="199"/>
                    </a:lnTo>
                    <a:lnTo>
                      <a:pt x="862" y="199"/>
                    </a:lnTo>
                    <a:lnTo>
                      <a:pt x="861" y="200"/>
                    </a:lnTo>
                    <a:lnTo>
                      <a:pt x="862" y="200"/>
                    </a:lnTo>
                    <a:lnTo>
                      <a:pt x="861" y="200"/>
                    </a:lnTo>
                    <a:lnTo>
                      <a:pt x="861" y="202"/>
                    </a:lnTo>
                    <a:lnTo>
                      <a:pt x="861" y="204"/>
                    </a:lnTo>
                    <a:lnTo>
                      <a:pt x="861" y="206"/>
                    </a:lnTo>
                    <a:lnTo>
                      <a:pt x="861" y="207"/>
                    </a:lnTo>
                    <a:lnTo>
                      <a:pt x="861" y="209"/>
                    </a:lnTo>
                    <a:lnTo>
                      <a:pt x="859" y="209"/>
                    </a:lnTo>
                    <a:lnTo>
                      <a:pt x="857" y="211"/>
                    </a:lnTo>
                    <a:lnTo>
                      <a:pt x="856" y="212"/>
                    </a:lnTo>
                    <a:lnTo>
                      <a:pt x="857" y="212"/>
                    </a:lnTo>
                    <a:lnTo>
                      <a:pt x="857" y="214"/>
                    </a:lnTo>
                    <a:lnTo>
                      <a:pt x="856" y="214"/>
                    </a:lnTo>
                    <a:lnTo>
                      <a:pt x="856" y="216"/>
                    </a:lnTo>
                    <a:lnTo>
                      <a:pt x="854" y="216"/>
                    </a:lnTo>
                    <a:lnTo>
                      <a:pt x="854" y="217"/>
                    </a:lnTo>
                    <a:lnTo>
                      <a:pt x="852" y="217"/>
                    </a:lnTo>
                    <a:lnTo>
                      <a:pt x="852" y="219"/>
                    </a:lnTo>
                    <a:lnTo>
                      <a:pt x="852" y="221"/>
                    </a:lnTo>
                    <a:lnTo>
                      <a:pt x="850" y="221"/>
                    </a:lnTo>
                    <a:lnTo>
                      <a:pt x="850" y="223"/>
                    </a:lnTo>
                    <a:lnTo>
                      <a:pt x="850" y="224"/>
                    </a:lnTo>
                    <a:lnTo>
                      <a:pt x="850" y="226"/>
                    </a:lnTo>
                    <a:lnTo>
                      <a:pt x="850" y="228"/>
                    </a:lnTo>
                    <a:lnTo>
                      <a:pt x="849" y="228"/>
                    </a:lnTo>
                    <a:lnTo>
                      <a:pt x="847" y="228"/>
                    </a:lnTo>
                    <a:lnTo>
                      <a:pt x="847" y="229"/>
                    </a:lnTo>
                    <a:lnTo>
                      <a:pt x="847" y="231"/>
                    </a:lnTo>
                    <a:lnTo>
                      <a:pt x="847" y="233"/>
                    </a:lnTo>
                    <a:lnTo>
                      <a:pt x="847" y="234"/>
                    </a:lnTo>
                    <a:lnTo>
                      <a:pt x="845" y="234"/>
                    </a:lnTo>
                    <a:lnTo>
                      <a:pt x="845" y="236"/>
                    </a:lnTo>
                    <a:lnTo>
                      <a:pt x="847" y="236"/>
                    </a:lnTo>
                    <a:lnTo>
                      <a:pt x="845" y="238"/>
                    </a:lnTo>
                    <a:lnTo>
                      <a:pt x="844" y="238"/>
                    </a:lnTo>
                    <a:lnTo>
                      <a:pt x="844" y="240"/>
                    </a:lnTo>
                    <a:lnTo>
                      <a:pt x="842" y="241"/>
                    </a:lnTo>
                    <a:lnTo>
                      <a:pt x="842" y="240"/>
                    </a:lnTo>
                    <a:lnTo>
                      <a:pt x="842" y="241"/>
                    </a:lnTo>
                    <a:lnTo>
                      <a:pt x="844" y="240"/>
                    </a:lnTo>
                    <a:lnTo>
                      <a:pt x="845" y="240"/>
                    </a:lnTo>
                    <a:lnTo>
                      <a:pt x="845" y="238"/>
                    </a:lnTo>
                    <a:lnTo>
                      <a:pt x="847" y="238"/>
                    </a:lnTo>
                    <a:lnTo>
                      <a:pt x="847" y="236"/>
                    </a:lnTo>
                    <a:lnTo>
                      <a:pt x="849" y="236"/>
                    </a:lnTo>
                    <a:lnTo>
                      <a:pt x="849" y="234"/>
                    </a:lnTo>
                    <a:lnTo>
                      <a:pt x="849" y="233"/>
                    </a:lnTo>
                    <a:lnTo>
                      <a:pt x="850" y="233"/>
                    </a:lnTo>
                    <a:lnTo>
                      <a:pt x="850" y="231"/>
                    </a:lnTo>
                    <a:lnTo>
                      <a:pt x="852" y="231"/>
                    </a:lnTo>
                    <a:lnTo>
                      <a:pt x="852" y="229"/>
                    </a:lnTo>
                    <a:lnTo>
                      <a:pt x="854" y="229"/>
                    </a:lnTo>
                    <a:lnTo>
                      <a:pt x="854" y="228"/>
                    </a:lnTo>
                    <a:lnTo>
                      <a:pt x="854" y="226"/>
                    </a:lnTo>
                    <a:lnTo>
                      <a:pt x="856" y="226"/>
                    </a:lnTo>
                    <a:lnTo>
                      <a:pt x="856" y="224"/>
                    </a:lnTo>
                    <a:lnTo>
                      <a:pt x="857" y="224"/>
                    </a:lnTo>
                    <a:lnTo>
                      <a:pt x="857" y="223"/>
                    </a:lnTo>
                    <a:lnTo>
                      <a:pt x="859" y="223"/>
                    </a:lnTo>
                    <a:lnTo>
                      <a:pt x="859" y="224"/>
                    </a:lnTo>
                    <a:lnTo>
                      <a:pt x="861" y="224"/>
                    </a:lnTo>
                    <a:lnTo>
                      <a:pt x="861" y="226"/>
                    </a:lnTo>
                    <a:lnTo>
                      <a:pt x="859" y="226"/>
                    </a:lnTo>
                    <a:lnTo>
                      <a:pt x="859" y="228"/>
                    </a:lnTo>
                    <a:lnTo>
                      <a:pt x="861" y="228"/>
                    </a:lnTo>
                    <a:lnTo>
                      <a:pt x="861" y="229"/>
                    </a:lnTo>
                    <a:lnTo>
                      <a:pt x="861" y="228"/>
                    </a:lnTo>
                    <a:lnTo>
                      <a:pt x="862" y="228"/>
                    </a:lnTo>
                    <a:lnTo>
                      <a:pt x="864" y="228"/>
                    </a:lnTo>
                    <a:lnTo>
                      <a:pt x="862" y="228"/>
                    </a:lnTo>
                    <a:lnTo>
                      <a:pt x="861" y="228"/>
                    </a:lnTo>
                    <a:lnTo>
                      <a:pt x="861" y="226"/>
                    </a:lnTo>
                    <a:lnTo>
                      <a:pt x="861" y="224"/>
                    </a:lnTo>
                    <a:lnTo>
                      <a:pt x="862" y="224"/>
                    </a:lnTo>
                    <a:lnTo>
                      <a:pt x="861" y="223"/>
                    </a:lnTo>
                    <a:lnTo>
                      <a:pt x="861" y="221"/>
                    </a:lnTo>
                    <a:lnTo>
                      <a:pt x="862" y="221"/>
                    </a:lnTo>
                    <a:lnTo>
                      <a:pt x="862" y="219"/>
                    </a:lnTo>
                    <a:lnTo>
                      <a:pt x="864" y="219"/>
                    </a:lnTo>
                    <a:lnTo>
                      <a:pt x="862" y="217"/>
                    </a:lnTo>
                    <a:lnTo>
                      <a:pt x="862" y="216"/>
                    </a:lnTo>
                    <a:lnTo>
                      <a:pt x="864" y="216"/>
                    </a:lnTo>
                    <a:lnTo>
                      <a:pt x="864" y="214"/>
                    </a:lnTo>
                    <a:lnTo>
                      <a:pt x="864" y="216"/>
                    </a:lnTo>
                    <a:lnTo>
                      <a:pt x="864" y="214"/>
                    </a:lnTo>
                    <a:lnTo>
                      <a:pt x="866" y="214"/>
                    </a:lnTo>
                    <a:lnTo>
                      <a:pt x="867" y="214"/>
                    </a:lnTo>
                    <a:lnTo>
                      <a:pt x="866" y="214"/>
                    </a:lnTo>
                    <a:lnTo>
                      <a:pt x="867" y="216"/>
                    </a:lnTo>
                    <a:lnTo>
                      <a:pt x="867" y="214"/>
                    </a:lnTo>
                    <a:lnTo>
                      <a:pt x="867" y="212"/>
                    </a:lnTo>
                    <a:lnTo>
                      <a:pt x="867" y="211"/>
                    </a:lnTo>
                    <a:lnTo>
                      <a:pt x="867" y="209"/>
                    </a:lnTo>
                    <a:lnTo>
                      <a:pt x="869" y="209"/>
                    </a:lnTo>
                    <a:lnTo>
                      <a:pt x="869" y="207"/>
                    </a:lnTo>
                    <a:lnTo>
                      <a:pt x="871" y="206"/>
                    </a:lnTo>
                    <a:lnTo>
                      <a:pt x="873" y="206"/>
                    </a:lnTo>
                    <a:lnTo>
                      <a:pt x="873" y="207"/>
                    </a:lnTo>
                    <a:lnTo>
                      <a:pt x="873" y="206"/>
                    </a:lnTo>
                    <a:lnTo>
                      <a:pt x="873" y="204"/>
                    </a:lnTo>
                    <a:lnTo>
                      <a:pt x="874" y="204"/>
                    </a:lnTo>
                    <a:lnTo>
                      <a:pt x="874" y="202"/>
                    </a:lnTo>
                    <a:lnTo>
                      <a:pt x="876" y="200"/>
                    </a:lnTo>
                    <a:lnTo>
                      <a:pt x="878" y="200"/>
                    </a:lnTo>
                    <a:lnTo>
                      <a:pt x="878" y="202"/>
                    </a:lnTo>
                    <a:lnTo>
                      <a:pt x="878" y="200"/>
                    </a:lnTo>
                    <a:lnTo>
                      <a:pt x="878" y="202"/>
                    </a:lnTo>
                    <a:lnTo>
                      <a:pt x="878" y="200"/>
                    </a:lnTo>
                    <a:lnTo>
                      <a:pt x="879" y="202"/>
                    </a:lnTo>
                    <a:lnTo>
                      <a:pt x="879" y="204"/>
                    </a:lnTo>
                    <a:lnTo>
                      <a:pt x="879" y="202"/>
                    </a:lnTo>
                    <a:lnTo>
                      <a:pt x="879" y="200"/>
                    </a:lnTo>
                    <a:lnTo>
                      <a:pt x="879" y="199"/>
                    </a:lnTo>
                    <a:lnTo>
                      <a:pt x="881" y="199"/>
                    </a:lnTo>
                    <a:lnTo>
                      <a:pt x="881" y="197"/>
                    </a:lnTo>
                    <a:lnTo>
                      <a:pt x="883" y="197"/>
                    </a:lnTo>
                    <a:lnTo>
                      <a:pt x="883" y="199"/>
                    </a:lnTo>
                    <a:lnTo>
                      <a:pt x="883" y="200"/>
                    </a:lnTo>
                    <a:lnTo>
                      <a:pt x="883" y="202"/>
                    </a:lnTo>
                    <a:lnTo>
                      <a:pt x="883" y="200"/>
                    </a:lnTo>
                    <a:lnTo>
                      <a:pt x="884" y="200"/>
                    </a:lnTo>
                    <a:lnTo>
                      <a:pt x="884" y="199"/>
                    </a:lnTo>
                    <a:lnTo>
                      <a:pt x="883" y="199"/>
                    </a:lnTo>
                    <a:lnTo>
                      <a:pt x="884" y="199"/>
                    </a:lnTo>
                    <a:lnTo>
                      <a:pt x="884" y="197"/>
                    </a:lnTo>
                    <a:lnTo>
                      <a:pt x="884" y="199"/>
                    </a:lnTo>
                    <a:lnTo>
                      <a:pt x="884" y="197"/>
                    </a:lnTo>
                    <a:lnTo>
                      <a:pt x="884" y="199"/>
                    </a:lnTo>
                    <a:lnTo>
                      <a:pt x="886" y="199"/>
                    </a:lnTo>
                    <a:lnTo>
                      <a:pt x="884" y="199"/>
                    </a:lnTo>
                    <a:lnTo>
                      <a:pt x="886" y="199"/>
                    </a:lnTo>
                    <a:lnTo>
                      <a:pt x="888" y="200"/>
                    </a:lnTo>
                    <a:lnTo>
                      <a:pt x="888" y="199"/>
                    </a:lnTo>
                    <a:lnTo>
                      <a:pt x="886" y="199"/>
                    </a:lnTo>
                    <a:lnTo>
                      <a:pt x="886" y="197"/>
                    </a:lnTo>
                    <a:lnTo>
                      <a:pt x="886" y="195"/>
                    </a:lnTo>
                    <a:lnTo>
                      <a:pt x="888" y="195"/>
                    </a:lnTo>
                    <a:lnTo>
                      <a:pt x="888" y="197"/>
                    </a:lnTo>
                    <a:lnTo>
                      <a:pt x="888" y="199"/>
                    </a:lnTo>
                    <a:lnTo>
                      <a:pt x="888" y="197"/>
                    </a:lnTo>
                    <a:lnTo>
                      <a:pt x="890" y="197"/>
                    </a:lnTo>
                    <a:lnTo>
                      <a:pt x="890" y="199"/>
                    </a:lnTo>
                    <a:lnTo>
                      <a:pt x="890" y="200"/>
                    </a:lnTo>
                    <a:lnTo>
                      <a:pt x="890" y="202"/>
                    </a:lnTo>
                    <a:lnTo>
                      <a:pt x="890" y="200"/>
                    </a:lnTo>
                    <a:lnTo>
                      <a:pt x="890" y="202"/>
                    </a:lnTo>
                    <a:lnTo>
                      <a:pt x="888" y="202"/>
                    </a:lnTo>
                    <a:lnTo>
                      <a:pt x="886" y="202"/>
                    </a:lnTo>
                    <a:lnTo>
                      <a:pt x="886" y="204"/>
                    </a:lnTo>
                    <a:lnTo>
                      <a:pt x="888" y="204"/>
                    </a:lnTo>
                    <a:lnTo>
                      <a:pt x="888" y="202"/>
                    </a:lnTo>
                    <a:lnTo>
                      <a:pt x="890" y="202"/>
                    </a:lnTo>
                    <a:lnTo>
                      <a:pt x="891" y="202"/>
                    </a:lnTo>
                    <a:lnTo>
                      <a:pt x="891" y="200"/>
                    </a:lnTo>
                    <a:lnTo>
                      <a:pt x="891" y="199"/>
                    </a:lnTo>
                    <a:lnTo>
                      <a:pt x="893" y="199"/>
                    </a:lnTo>
                    <a:lnTo>
                      <a:pt x="891" y="199"/>
                    </a:lnTo>
                    <a:lnTo>
                      <a:pt x="891" y="197"/>
                    </a:lnTo>
                    <a:lnTo>
                      <a:pt x="893" y="197"/>
                    </a:lnTo>
                    <a:lnTo>
                      <a:pt x="893" y="199"/>
                    </a:lnTo>
                    <a:lnTo>
                      <a:pt x="893" y="200"/>
                    </a:lnTo>
                    <a:lnTo>
                      <a:pt x="895" y="200"/>
                    </a:lnTo>
                    <a:lnTo>
                      <a:pt x="895" y="202"/>
                    </a:lnTo>
                    <a:lnTo>
                      <a:pt x="895" y="204"/>
                    </a:lnTo>
                    <a:lnTo>
                      <a:pt x="896" y="204"/>
                    </a:lnTo>
                    <a:lnTo>
                      <a:pt x="898" y="204"/>
                    </a:lnTo>
                    <a:lnTo>
                      <a:pt x="898" y="206"/>
                    </a:lnTo>
                    <a:lnTo>
                      <a:pt x="898" y="204"/>
                    </a:lnTo>
                    <a:lnTo>
                      <a:pt x="896" y="202"/>
                    </a:lnTo>
                    <a:lnTo>
                      <a:pt x="896" y="200"/>
                    </a:lnTo>
                    <a:lnTo>
                      <a:pt x="895" y="200"/>
                    </a:lnTo>
                    <a:lnTo>
                      <a:pt x="896" y="199"/>
                    </a:lnTo>
                    <a:lnTo>
                      <a:pt x="895" y="199"/>
                    </a:lnTo>
                    <a:lnTo>
                      <a:pt x="896" y="199"/>
                    </a:lnTo>
                    <a:lnTo>
                      <a:pt x="895" y="199"/>
                    </a:lnTo>
                    <a:lnTo>
                      <a:pt x="895" y="197"/>
                    </a:lnTo>
                    <a:lnTo>
                      <a:pt x="896" y="197"/>
                    </a:lnTo>
                    <a:lnTo>
                      <a:pt x="898" y="197"/>
                    </a:lnTo>
                    <a:lnTo>
                      <a:pt x="898" y="199"/>
                    </a:lnTo>
                    <a:lnTo>
                      <a:pt x="896" y="199"/>
                    </a:lnTo>
                    <a:lnTo>
                      <a:pt x="898" y="199"/>
                    </a:lnTo>
                    <a:lnTo>
                      <a:pt x="896" y="199"/>
                    </a:lnTo>
                    <a:lnTo>
                      <a:pt x="896" y="200"/>
                    </a:lnTo>
                    <a:lnTo>
                      <a:pt x="898" y="199"/>
                    </a:lnTo>
                    <a:lnTo>
                      <a:pt x="898" y="200"/>
                    </a:lnTo>
                    <a:lnTo>
                      <a:pt x="898" y="199"/>
                    </a:lnTo>
                    <a:lnTo>
                      <a:pt x="900" y="199"/>
                    </a:lnTo>
                    <a:lnTo>
                      <a:pt x="898" y="199"/>
                    </a:lnTo>
                    <a:lnTo>
                      <a:pt x="900" y="199"/>
                    </a:lnTo>
                    <a:lnTo>
                      <a:pt x="901" y="197"/>
                    </a:lnTo>
                    <a:lnTo>
                      <a:pt x="901" y="199"/>
                    </a:lnTo>
                    <a:lnTo>
                      <a:pt x="901" y="200"/>
                    </a:lnTo>
                    <a:lnTo>
                      <a:pt x="901" y="199"/>
                    </a:lnTo>
                    <a:lnTo>
                      <a:pt x="903" y="200"/>
                    </a:lnTo>
                    <a:lnTo>
                      <a:pt x="903" y="199"/>
                    </a:lnTo>
                    <a:lnTo>
                      <a:pt x="905" y="199"/>
                    </a:lnTo>
                    <a:lnTo>
                      <a:pt x="905" y="200"/>
                    </a:lnTo>
                    <a:lnTo>
                      <a:pt x="903" y="200"/>
                    </a:lnTo>
                    <a:lnTo>
                      <a:pt x="903" y="202"/>
                    </a:lnTo>
                    <a:lnTo>
                      <a:pt x="905" y="202"/>
                    </a:lnTo>
                    <a:lnTo>
                      <a:pt x="905" y="200"/>
                    </a:lnTo>
                    <a:lnTo>
                      <a:pt x="907" y="200"/>
                    </a:lnTo>
                    <a:lnTo>
                      <a:pt x="907" y="202"/>
                    </a:lnTo>
                    <a:lnTo>
                      <a:pt x="905" y="202"/>
                    </a:lnTo>
                    <a:lnTo>
                      <a:pt x="905" y="204"/>
                    </a:lnTo>
                    <a:lnTo>
                      <a:pt x="907" y="204"/>
                    </a:lnTo>
                    <a:lnTo>
                      <a:pt x="907" y="206"/>
                    </a:lnTo>
                    <a:lnTo>
                      <a:pt x="907" y="204"/>
                    </a:lnTo>
                    <a:lnTo>
                      <a:pt x="907" y="202"/>
                    </a:lnTo>
                    <a:lnTo>
                      <a:pt x="907" y="204"/>
                    </a:lnTo>
                    <a:lnTo>
                      <a:pt x="907" y="202"/>
                    </a:lnTo>
                    <a:lnTo>
                      <a:pt x="908" y="202"/>
                    </a:lnTo>
                    <a:lnTo>
                      <a:pt x="907" y="200"/>
                    </a:lnTo>
                    <a:lnTo>
                      <a:pt x="908" y="200"/>
                    </a:lnTo>
                    <a:lnTo>
                      <a:pt x="908" y="202"/>
                    </a:lnTo>
                    <a:lnTo>
                      <a:pt x="908" y="204"/>
                    </a:lnTo>
                    <a:lnTo>
                      <a:pt x="908" y="206"/>
                    </a:lnTo>
                    <a:lnTo>
                      <a:pt x="910" y="204"/>
                    </a:lnTo>
                    <a:lnTo>
                      <a:pt x="910" y="206"/>
                    </a:lnTo>
                    <a:lnTo>
                      <a:pt x="908" y="206"/>
                    </a:lnTo>
                    <a:lnTo>
                      <a:pt x="908" y="207"/>
                    </a:lnTo>
                    <a:lnTo>
                      <a:pt x="908" y="206"/>
                    </a:lnTo>
                    <a:lnTo>
                      <a:pt x="910" y="206"/>
                    </a:lnTo>
                    <a:lnTo>
                      <a:pt x="912" y="206"/>
                    </a:lnTo>
                    <a:lnTo>
                      <a:pt x="910" y="206"/>
                    </a:lnTo>
                    <a:lnTo>
                      <a:pt x="910" y="204"/>
                    </a:lnTo>
                    <a:lnTo>
                      <a:pt x="912" y="204"/>
                    </a:lnTo>
                    <a:lnTo>
                      <a:pt x="912" y="202"/>
                    </a:lnTo>
                    <a:lnTo>
                      <a:pt x="913" y="202"/>
                    </a:lnTo>
                    <a:lnTo>
                      <a:pt x="913" y="204"/>
                    </a:lnTo>
                    <a:lnTo>
                      <a:pt x="912" y="204"/>
                    </a:lnTo>
                    <a:lnTo>
                      <a:pt x="913" y="204"/>
                    </a:lnTo>
                    <a:lnTo>
                      <a:pt x="913" y="206"/>
                    </a:lnTo>
                    <a:lnTo>
                      <a:pt x="913" y="207"/>
                    </a:lnTo>
                    <a:lnTo>
                      <a:pt x="915" y="207"/>
                    </a:lnTo>
                    <a:lnTo>
                      <a:pt x="915" y="206"/>
                    </a:lnTo>
                    <a:lnTo>
                      <a:pt x="915" y="204"/>
                    </a:lnTo>
                    <a:lnTo>
                      <a:pt x="917" y="204"/>
                    </a:lnTo>
                    <a:lnTo>
                      <a:pt x="917" y="202"/>
                    </a:lnTo>
                    <a:lnTo>
                      <a:pt x="917" y="204"/>
                    </a:lnTo>
                    <a:lnTo>
                      <a:pt x="917" y="206"/>
                    </a:lnTo>
                    <a:lnTo>
                      <a:pt x="917" y="207"/>
                    </a:lnTo>
                    <a:lnTo>
                      <a:pt x="918" y="206"/>
                    </a:lnTo>
                    <a:lnTo>
                      <a:pt x="918" y="207"/>
                    </a:lnTo>
                    <a:lnTo>
                      <a:pt x="917" y="207"/>
                    </a:lnTo>
                    <a:lnTo>
                      <a:pt x="918" y="209"/>
                    </a:lnTo>
                    <a:lnTo>
                      <a:pt x="918" y="207"/>
                    </a:lnTo>
                    <a:lnTo>
                      <a:pt x="918" y="206"/>
                    </a:lnTo>
                    <a:lnTo>
                      <a:pt x="920" y="206"/>
                    </a:lnTo>
                    <a:lnTo>
                      <a:pt x="920" y="207"/>
                    </a:lnTo>
                    <a:lnTo>
                      <a:pt x="920" y="209"/>
                    </a:lnTo>
                    <a:lnTo>
                      <a:pt x="922" y="209"/>
                    </a:lnTo>
                    <a:lnTo>
                      <a:pt x="920" y="207"/>
                    </a:lnTo>
                    <a:lnTo>
                      <a:pt x="922" y="207"/>
                    </a:lnTo>
                    <a:lnTo>
                      <a:pt x="922" y="206"/>
                    </a:lnTo>
                    <a:lnTo>
                      <a:pt x="922" y="207"/>
                    </a:lnTo>
                    <a:lnTo>
                      <a:pt x="924" y="207"/>
                    </a:lnTo>
                    <a:lnTo>
                      <a:pt x="922" y="206"/>
                    </a:lnTo>
                    <a:lnTo>
                      <a:pt x="924" y="206"/>
                    </a:lnTo>
                    <a:lnTo>
                      <a:pt x="922" y="204"/>
                    </a:lnTo>
                    <a:lnTo>
                      <a:pt x="924" y="204"/>
                    </a:lnTo>
                    <a:lnTo>
                      <a:pt x="924" y="206"/>
                    </a:lnTo>
                    <a:lnTo>
                      <a:pt x="925" y="206"/>
                    </a:lnTo>
                    <a:lnTo>
                      <a:pt x="925" y="207"/>
                    </a:lnTo>
                    <a:lnTo>
                      <a:pt x="924" y="207"/>
                    </a:lnTo>
                    <a:lnTo>
                      <a:pt x="925" y="207"/>
                    </a:lnTo>
                    <a:lnTo>
                      <a:pt x="924" y="207"/>
                    </a:lnTo>
                    <a:lnTo>
                      <a:pt x="924" y="209"/>
                    </a:lnTo>
                    <a:lnTo>
                      <a:pt x="924" y="211"/>
                    </a:lnTo>
                    <a:lnTo>
                      <a:pt x="922" y="211"/>
                    </a:lnTo>
                    <a:lnTo>
                      <a:pt x="920" y="211"/>
                    </a:lnTo>
                    <a:lnTo>
                      <a:pt x="922" y="211"/>
                    </a:lnTo>
                    <a:lnTo>
                      <a:pt x="924" y="211"/>
                    </a:lnTo>
                    <a:lnTo>
                      <a:pt x="925" y="211"/>
                    </a:lnTo>
                    <a:lnTo>
                      <a:pt x="927" y="211"/>
                    </a:lnTo>
                    <a:lnTo>
                      <a:pt x="927" y="209"/>
                    </a:lnTo>
                    <a:lnTo>
                      <a:pt x="927" y="211"/>
                    </a:lnTo>
                    <a:lnTo>
                      <a:pt x="929" y="209"/>
                    </a:lnTo>
                    <a:lnTo>
                      <a:pt x="929" y="207"/>
                    </a:lnTo>
                    <a:lnTo>
                      <a:pt x="929" y="209"/>
                    </a:lnTo>
                    <a:lnTo>
                      <a:pt x="930" y="207"/>
                    </a:lnTo>
                    <a:lnTo>
                      <a:pt x="932" y="207"/>
                    </a:lnTo>
                    <a:lnTo>
                      <a:pt x="930" y="207"/>
                    </a:lnTo>
                    <a:lnTo>
                      <a:pt x="930" y="209"/>
                    </a:lnTo>
                    <a:lnTo>
                      <a:pt x="929" y="209"/>
                    </a:lnTo>
                    <a:lnTo>
                      <a:pt x="929" y="211"/>
                    </a:lnTo>
                    <a:lnTo>
                      <a:pt x="930" y="212"/>
                    </a:lnTo>
                    <a:lnTo>
                      <a:pt x="929" y="212"/>
                    </a:lnTo>
                    <a:lnTo>
                      <a:pt x="930" y="212"/>
                    </a:lnTo>
                    <a:lnTo>
                      <a:pt x="932" y="212"/>
                    </a:lnTo>
                    <a:lnTo>
                      <a:pt x="930" y="212"/>
                    </a:lnTo>
                    <a:lnTo>
                      <a:pt x="932" y="212"/>
                    </a:lnTo>
                    <a:lnTo>
                      <a:pt x="932" y="211"/>
                    </a:lnTo>
                    <a:lnTo>
                      <a:pt x="932" y="212"/>
                    </a:lnTo>
                    <a:lnTo>
                      <a:pt x="934" y="212"/>
                    </a:lnTo>
                    <a:lnTo>
                      <a:pt x="934" y="214"/>
                    </a:lnTo>
                    <a:lnTo>
                      <a:pt x="934" y="212"/>
                    </a:lnTo>
                    <a:lnTo>
                      <a:pt x="935" y="212"/>
                    </a:lnTo>
                    <a:lnTo>
                      <a:pt x="935" y="214"/>
                    </a:lnTo>
                    <a:lnTo>
                      <a:pt x="935" y="212"/>
                    </a:lnTo>
                    <a:lnTo>
                      <a:pt x="935" y="211"/>
                    </a:lnTo>
                    <a:lnTo>
                      <a:pt x="937" y="209"/>
                    </a:lnTo>
                    <a:lnTo>
                      <a:pt x="935" y="209"/>
                    </a:lnTo>
                    <a:lnTo>
                      <a:pt x="937" y="209"/>
                    </a:lnTo>
                    <a:lnTo>
                      <a:pt x="937" y="207"/>
                    </a:lnTo>
                    <a:lnTo>
                      <a:pt x="939" y="207"/>
                    </a:lnTo>
                    <a:lnTo>
                      <a:pt x="939" y="209"/>
                    </a:lnTo>
                    <a:lnTo>
                      <a:pt x="939" y="211"/>
                    </a:lnTo>
                    <a:lnTo>
                      <a:pt x="937" y="211"/>
                    </a:lnTo>
                    <a:lnTo>
                      <a:pt x="937" y="212"/>
                    </a:lnTo>
                    <a:lnTo>
                      <a:pt x="939" y="212"/>
                    </a:lnTo>
                    <a:lnTo>
                      <a:pt x="939" y="214"/>
                    </a:lnTo>
                    <a:lnTo>
                      <a:pt x="937" y="214"/>
                    </a:lnTo>
                    <a:lnTo>
                      <a:pt x="937" y="216"/>
                    </a:lnTo>
                    <a:lnTo>
                      <a:pt x="937" y="217"/>
                    </a:lnTo>
                    <a:lnTo>
                      <a:pt x="935" y="217"/>
                    </a:lnTo>
                    <a:lnTo>
                      <a:pt x="937" y="217"/>
                    </a:lnTo>
                    <a:lnTo>
                      <a:pt x="937" y="216"/>
                    </a:lnTo>
                    <a:lnTo>
                      <a:pt x="939" y="214"/>
                    </a:lnTo>
                    <a:lnTo>
                      <a:pt x="939" y="212"/>
                    </a:lnTo>
                    <a:lnTo>
                      <a:pt x="941" y="212"/>
                    </a:lnTo>
                    <a:lnTo>
                      <a:pt x="941" y="214"/>
                    </a:lnTo>
                    <a:lnTo>
                      <a:pt x="939" y="214"/>
                    </a:lnTo>
                    <a:lnTo>
                      <a:pt x="939" y="216"/>
                    </a:lnTo>
                    <a:lnTo>
                      <a:pt x="939" y="214"/>
                    </a:lnTo>
                    <a:lnTo>
                      <a:pt x="941" y="214"/>
                    </a:lnTo>
                    <a:lnTo>
                      <a:pt x="941" y="216"/>
                    </a:lnTo>
                    <a:lnTo>
                      <a:pt x="941" y="214"/>
                    </a:lnTo>
                    <a:lnTo>
                      <a:pt x="942" y="212"/>
                    </a:lnTo>
                    <a:lnTo>
                      <a:pt x="942" y="214"/>
                    </a:lnTo>
                    <a:lnTo>
                      <a:pt x="942" y="212"/>
                    </a:lnTo>
                    <a:lnTo>
                      <a:pt x="942" y="214"/>
                    </a:lnTo>
                    <a:lnTo>
                      <a:pt x="942" y="216"/>
                    </a:lnTo>
                    <a:lnTo>
                      <a:pt x="944" y="216"/>
                    </a:lnTo>
                    <a:lnTo>
                      <a:pt x="942" y="216"/>
                    </a:lnTo>
                    <a:lnTo>
                      <a:pt x="942" y="217"/>
                    </a:lnTo>
                    <a:lnTo>
                      <a:pt x="942" y="219"/>
                    </a:lnTo>
                    <a:lnTo>
                      <a:pt x="941" y="219"/>
                    </a:lnTo>
                    <a:lnTo>
                      <a:pt x="942" y="219"/>
                    </a:lnTo>
                    <a:lnTo>
                      <a:pt x="942" y="217"/>
                    </a:lnTo>
                    <a:lnTo>
                      <a:pt x="942" y="216"/>
                    </a:lnTo>
                    <a:lnTo>
                      <a:pt x="944" y="216"/>
                    </a:lnTo>
                    <a:lnTo>
                      <a:pt x="944" y="217"/>
                    </a:lnTo>
                    <a:lnTo>
                      <a:pt x="944" y="216"/>
                    </a:lnTo>
                    <a:lnTo>
                      <a:pt x="944" y="214"/>
                    </a:lnTo>
                    <a:lnTo>
                      <a:pt x="946" y="214"/>
                    </a:lnTo>
                    <a:lnTo>
                      <a:pt x="946" y="216"/>
                    </a:lnTo>
                    <a:lnTo>
                      <a:pt x="947" y="216"/>
                    </a:lnTo>
                    <a:lnTo>
                      <a:pt x="946" y="216"/>
                    </a:lnTo>
                    <a:lnTo>
                      <a:pt x="946" y="217"/>
                    </a:lnTo>
                    <a:lnTo>
                      <a:pt x="944" y="217"/>
                    </a:lnTo>
                    <a:lnTo>
                      <a:pt x="946" y="217"/>
                    </a:lnTo>
                    <a:lnTo>
                      <a:pt x="947" y="219"/>
                    </a:lnTo>
                    <a:lnTo>
                      <a:pt x="946" y="219"/>
                    </a:lnTo>
                    <a:lnTo>
                      <a:pt x="947" y="219"/>
                    </a:lnTo>
                    <a:lnTo>
                      <a:pt x="947" y="217"/>
                    </a:lnTo>
                    <a:lnTo>
                      <a:pt x="947" y="216"/>
                    </a:lnTo>
                    <a:lnTo>
                      <a:pt x="949" y="216"/>
                    </a:lnTo>
                    <a:lnTo>
                      <a:pt x="949" y="214"/>
                    </a:lnTo>
                    <a:lnTo>
                      <a:pt x="951" y="214"/>
                    </a:lnTo>
                    <a:lnTo>
                      <a:pt x="951" y="216"/>
                    </a:lnTo>
                    <a:lnTo>
                      <a:pt x="949" y="216"/>
                    </a:lnTo>
                    <a:lnTo>
                      <a:pt x="949" y="217"/>
                    </a:lnTo>
                    <a:lnTo>
                      <a:pt x="947" y="217"/>
                    </a:lnTo>
                    <a:lnTo>
                      <a:pt x="949" y="217"/>
                    </a:lnTo>
                    <a:lnTo>
                      <a:pt x="949" y="219"/>
                    </a:lnTo>
                    <a:lnTo>
                      <a:pt x="951" y="219"/>
                    </a:lnTo>
                    <a:lnTo>
                      <a:pt x="949" y="219"/>
                    </a:lnTo>
                    <a:lnTo>
                      <a:pt x="951" y="219"/>
                    </a:lnTo>
                    <a:lnTo>
                      <a:pt x="949" y="219"/>
                    </a:lnTo>
                    <a:lnTo>
                      <a:pt x="949" y="221"/>
                    </a:lnTo>
                    <a:lnTo>
                      <a:pt x="951" y="221"/>
                    </a:lnTo>
                    <a:lnTo>
                      <a:pt x="951" y="219"/>
                    </a:lnTo>
                    <a:lnTo>
                      <a:pt x="951" y="217"/>
                    </a:lnTo>
                    <a:lnTo>
                      <a:pt x="952" y="217"/>
                    </a:lnTo>
                    <a:lnTo>
                      <a:pt x="951" y="219"/>
                    </a:lnTo>
                    <a:lnTo>
                      <a:pt x="952" y="219"/>
                    </a:lnTo>
                    <a:lnTo>
                      <a:pt x="951" y="219"/>
                    </a:lnTo>
                    <a:lnTo>
                      <a:pt x="951" y="221"/>
                    </a:lnTo>
                    <a:lnTo>
                      <a:pt x="952" y="219"/>
                    </a:lnTo>
                    <a:lnTo>
                      <a:pt x="952" y="217"/>
                    </a:lnTo>
                    <a:lnTo>
                      <a:pt x="954" y="217"/>
                    </a:lnTo>
                    <a:lnTo>
                      <a:pt x="954" y="216"/>
                    </a:lnTo>
                    <a:lnTo>
                      <a:pt x="956" y="216"/>
                    </a:lnTo>
                    <a:lnTo>
                      <a:pt x="956" y="217"/>
                    </a:lnTo>
                    <a:lnTo>
                      <a:pt x="954" y="217"/>
                    </a:lnTo>
                    <a:lnTo>
                      <a:pt x="954" y="219"/>
                    </a:lnTo>
                    <a:lnTo>
                      <a:pt x="954" y="221"/>
                    </a:lnTo>
                    <a:lnTo>
                      <a:pt x="956" y="221"/>
                    </a:lnTo>
                    <a:lnTo>
                      <a:pt x="954" y="223"/>
                    </a:lnTo>
                    <a:lnTo>
                      <a:pt x="956" y="223"/>
                    </a:lnTo>
                    <a:lnTo>
                      <a:pt x="956" y="224"/>
                    </a:lnTo>
                    <a:lnTo>
                      <a:pt x="954" y="224"/>
                    </a:lnTo>
                    <a:lnTo>
                      <a:pt x="956" y="224"/>
                    </a:lnTo>
                    <a:lnTo>
                      <a:pt x="956" y="226"/>
                    </a:lnTo>
                    <a:lnTo>
                      <a:pt x="956" y="224"/>
                    </a:lnTo>
                    <a:lnTo>
                      <a:pt x="958" y="224"/>
                    </a:lnTo>
                    <a:lnTo>
                      <a:pt x="958" y="223"/>
                    </a:lnTo>
                    <a:lnTo>
                      <a:pt x="958" y="221"/>
                    </a:lnTo>
                    <a:lnTo>
                      <a:pt x="959" y="221"/>
                    </a:lnTo>
                    <a:lnTo>
                      <a:pt x="959" y="223"/>
                    </a:lnTo>
                    <a:lnTo>
                      <a:pt x="959" y="221"/>
                    </a:lnTo>
                    <a:lnTo>
                      <a:pt x="959" y="223"/>
                    </a:lnTo>
                    <a:lnTo>
                      <a:pt x="961" y="223"/>
                    </a:lnTo>
                    <a:lnTo>
                      <a:pt x="961" y="224"/>
                    </a:lnTo>
                    <a:lnTo>
                      <a:pt x="961" y="226"/>
                    </a:lnTo>
                    <a:lnTo>
                      <a:pt x="959" y="224"/>
                    </a:lnTo>
                    <a:lnTo>
                      <a:pt x="959" y="226"/>
                    </a:lnTo>
                    <a:lnTo>
                      <a:pt x="959" y="224"/>
                    </a:lnTo>
                    <a:lnTo>
                      <a:pt x="961" y="226"/>
                    </a:lnTo>
                    <a:lnTo>
                      <a:pt x="961" y="224"/>
                    </a:lnTo>
                    <a:lnTo>
                      <a:pt x="963" y="224"/>
                    </a:lnTo>
                    <a:lnTo>
                      <a:pt x="963" y="223"/>
                    </a:lnTo>
                    <a:lnTo>
                      <a:pt x="963" y="224"/>
                    </a:lnTo>
                    <a:lnTo>
                      <a:pt x="963" y="223"/>
                    </a:lnTo>
                    <a:lnTo>
                      <a:pt x="964" y="223"/>
                    </a:lnTo>
                    <a:lnTo>
                      <a:pt x="964" y="221"/>
                    </a:lnTo>
                    <a:lnTo>
                      <a:pt x="966" y="223"/>
                    </a:lnTo>
                    <a:lnTo>
                      <a:pt x="964" y="223"/>
                    </a:lnTo>
                    <a:lnTo>
                      <a:pt x="964" y="224"/>
                    </a:lnTo>
                    <a:lnTo>
                      <a:pt x="963" y="224"/>
                    </a:lnTo>
                    <a:lnTo>
                      <a:pt x="963" y="226"/>
                    </a:lnTo>
                    <a:lnTo>
                      <a:pt x="963" y="228"/>
                    </a:lnTo>
                    <a:lnTo>
                      <a:pt x="964" y="228"/>
                    </a:lnTo>
                    <a:lnTo>
                      <a:pt x="963" y="228"/>
                    </a:lnTo>
                    <a:lnTo>
                      <a:pt x="964" y="228"/>
                    </a:lnTo>
                    <a:lnTo>
                      <a:pt x="964" y="226"/>
                    </a:lnTo>
                    <a:lnTo>
                      <a:pt x="966" y="226"/>
                    </a:lnTo>
                    <a:lnTo>
                      <a:pt x="966" y="224"/>
                    </a:lnTo>
                    <a:lnTo>
                      <a:pt x="968" y="223"/>
                    </a:lnTo>
                    <a:lnTo>
                      <a:pt x="966" y="223"/>
                    </a:lnTo>
                    <a:lnTo>
                      <a:pt x="968" y="223"/>
                    </a:lnTo>
                    <a:lnTo>
                      <a:pt x="969" y="223"/>
                    </a:lnTo>
                    <a:lnTo>
                      <a:pt x="968" y="223"/>
                    </a:lnTo>
                    <a:lnTo>
                      <a:pt x="969" y="224"/>
                    </a:lnTo>
                    <a:lnTo>
                      <a:pt x="968" y="224"/>
                    </a:lnTo>
                    <a:lnTo>
                      <a:pt x="969" y="224"/>
                    </a:lnTo>
                    <a:lnTo>
                      <a:pt x="969" y="226"/>
                    </a:lnTo>
                    <a:lnTo>
                      <a:pt x="968" y="226"/>
                    </a:lnTo>
                    <a:lnTo>
                      <a:pt x="968" y="228"/>
                    </a:lnTo>
                    <a:lnTo>
                      <a:pt x="966" y="228"/>
                    </a:lnTo>
                    <a:lnTo>
                      <a:pt x="968" y="228"/>
                    </a:lnTo>
                    <a:lnTo>
                      <a:pt x="969" y="228"/>
                    </a:lnTo>
                    <a:lnTo>
                      <a:pt x="968" y="229"/>
                    </a:lnTo>
                    <a:lnTo>
                      <a:pt x="968" y="231"/>
                    </a:lnTo>
                    <a:lnTo>
                      <a:pt x="968" y="233"/>
                    </a:lnTo>
                    <a:lnTo>
                      <a:pt x="968" y="234"/>
                    </a:lnTo>
                    <a:lnTo>
                      <a:pt x="966" y="234"/>
                    </a:lnTo>
                    <a:lnTo>
                      <a:pt x="966" y="236"/>
                    </a:lnTo>
                    <a:lnTo>
                      <a:pt x="968" y="236"/>
                    </a:lnTo>
                    <a:lnTo>
                      <a:pt x="969" y="236"/>
                    </a:lnTo>
                    <a:lnTo>
                      <a:pt x="969" y="238"/>
                    </a:lnTo>
                    <a:lnTo>
                      <a:pt x="971" y="238"/>
                    </a:lnTo>
                    <a:lnTo>
                      <a:pt x="971" y="240"/>
                    </a:lnTo>
                    <a:lnTo>
                      <a:pt x="971" y="241"/>
                    </a:lnTo>
                    <a:lnTo>
                      <a:pt x="973" y="241"/>
                    </a:lnTo>
                    <a:lnTo>
                      <a:pt x="973" y="240"/>
                    </a:lnTo>
                    <a:lnTo>
                      <a:pt x="971" y="241"/>
                    </a:lnTo>
                    <a:lnTo>
                      <a:pt x="971" y="240"/>
                    </a:lnTo>
                    <a:lnTo>
                      <a:pt x="971" y="238"/>
                    </a:lnTo>
                    <a:lnTo>
                      <a:pt x="971" y="236"/>
                    </a:lnTo>
                    <a:lnTo>
                      <a:pt x="969" y="236"/>
                    </a:lnTo>
                    <a:lnTo>
                      <a:pt x="969" y="234"/>
                    </a:lnTo>
                    <a:lnTo>
                      <a:pt x="971" y="234"/>
                    </a:lnTo>
                    <a:lnTo>
                      <a:pt x="971" y="233"/>
                    </a:lnTo>
                    <a:lnTo>
                      <a:pt x="971" y="231"/>
                    </a:lnTo>
                    <a:lnTo>
                      <a:pt x="971" y="229"/>
                    </a:lnTo>
                    <a:lnTo>
                      <a:pt x="973" y="229"/>
                    </a:lnTo>
                    <a:lnTo>
                      <a:pt x="973" y="228"/>
                    </a:lnTo>
                    <a:lnTo>
                      <a:pt x="973" y="229"/>
                    </a:lnTo>
                    <a:lnTo>
                      <a:pt x="973" y="228"/>
                    </a:lnTo>
                    <a:lnTo>
                      <a:pt x="975" y="228"/>
                    </a:lnTo>
                    <a:lnTo>
                      <a:pt x="975" y="229"/>
                    </a:lnTo>
                    <a:lnTo>
                      <a:pt x="975" y="228"/>
                    </a:lnTo>
                    <a:lnTo>
                      <a:pt x="976" y="228"/>
                    </a:lnTo>
                    <a:lnTo>
                      <a:pt x="978" y="228"/>
                    </a:lnTo>
                    <a:lnTo>
                      <a:pt x="980" y="229"/>
                    </a:lnTo>
                    <a:lnTo>
                      <a:pt x="978" y="229"/>
                    </a:lnTo>
                    <a:lnTo>
                      <a:pt x="980" y="229"/>
                    </a:lnTo>
                    <a:lnTo>
                      <a:pt x="980" y="231"/>
                    </a:lnTo>
                    <a:lnTo>
                      <a:pt x="978" y="231"/>
                    </a:lnTo>
                    <a:lnTo>
                      <a:pt x="980" y="231"/>
                    </a:lnTo>
                    <a:lnTo>
                      <a:pt x="981" y="231"/>
                    </a:lnTo>
                    <a:lnTo>
                      <a:pt x="981" y="229"/>
                    </a:lnTo>
                    <a:lnTo>
                      <a:pt x="980" y="229"/>
                    </a:lnTo>
                    <a:lnTo>
                      <a:pt x="980" y="228"/>
                    </a:lnTo>
                    <a:lnTo>
                      <a:pt x="981" y="228"/>
                    </a:lnTo>
                    <a:lnTo>
                      <a:pt x="983" y="226"/>
                    </a:lnTo>
                    <a:lnTo>
                      <a:pt x="985" y="226"/>
                    </a:lnTo>
                    <a:lnTo>
                      <a:pt x="985" y="228"/>
                    </a:lnTo>
                    <a:lnTo>
                      <a:pt x="983" y="228"/>
                    </a:lnTo>
                    <a:lnTo>
                      <a:pt x="983" y="229"/>
                    </a:lnTo>
                    <a:lnTo>
                      <a:pt x="981" y="229"/>
                    </a:lnTo>
                    <a:lnTo>
                      <a:pt x="981" y="231"/>
                    </a:lnTo>
                    <a:lnTo>
                      <a:pt x="981" y="233"/>
                    </a:lnTo>
                    <a:lnTo>
                      <a:pt x="983" y="233"/>
                    </a:lnTo>
                    <a:lnTo>
                      <a:pt x="985" y="233"/>
                    </a:lnTo>
                    <a:lnTo>
                      <a:pt x="985" y="231"/>
                    </a:lnTo>
                    <a:lnTo>
                      <a:pt x="986" y="231"/>
                    </a:lnTo>
                    <a:lnTo>
                      <a:pt x="986" y="233"/>
                    </a:lnTo>
                    <a:lnTo>
                      <a:pt x="986" y="231"/>
                    </a:lnTo>
                    <a:lnTo>
                      <a:pt x="988" y="231"/>
                    </a:lnTo>
                    <a:lnTo>
                      <a:pt x="988" y="233"/>
                    </a:lnTo>
                    <a:lnTo>
                      <a:pt x="988" y="231"/>
                    </a:lnTo>
                    <a:lnTo>
                      <a:pt x="990" y="231"/>
                    </a:lnTo>
                    <a:lnTo>
                      <a:pt x="992" y="233"/>
                    </a:lnTo>
                    <a:lnTo>
                      <a:pt x="990" y="234"/>
                    </a:lnTo>
                    <a:lnTo>
                      <a:pt x="990" y="233"/>
                    </a:lnTo>
                    <a:lnTo>
                      <a:pt x="988" y="233"/>
                    </a:lnTo>
                    <a:lnTo>
                      <a:pt x="988" y="234"/>
                    </a:lnTo>
                    <a:lnTo>
                      <a:pt x="986" y="234"/>
                    </a:lnTo>
                    <a:lnTo>
                      <a:pt x="986" y="236"/>
                    </a:lnTo>
                    <a:lnTo>
                      <a:pt x="988" y="236"/>
                    </a:lnTo>
                    <a:lnTo>
                      <a:pt x="990" y="236"/>
                    </a:lnTo>
                    <a:lnTo>
                      <a:pt x="988" y="236"/>
                    </a:lnTo>
                    <a:lnTo>
                      <a:pt x="988" y="238"/>
                    </a:lnTo>
                    <a:lnTo>
                      <a:pt x="986" y="238"/>
                    </a:lnTo>
                    <a:lnTo>
                      <a:pt x="988" y="238"/>
                    </a:lnTo>
                    <a:lnTo>
                      <a:pt x="990" y="238"/>
                    </a:lnTo>
                    <a:lnTo>
                      <a:pt x="992" y="238"/>
                    </a:lnTo>
                    <a:lnTo>
                      <a:pt x="990" y="236"/>
                    </a:lnTo>
                    <a:lnTo>
                      <a:pt x="992" y="236"/>
                    </a:lnTo>
                    <a:lnTo>
                      <a:pt x="993" y="236"/>
                    </a:lnTo>
                    <a:lnTo>
                      <a:pt x="992" y="236"/>
                    </a:lnTo>
                    <a:lnTo>
                      <a:pt x="992" y="238"/>
                    </a:lnTo>
                    <a:lnTo>
                      <a:pt x="993" y="238"/>
                    </a:lnTo>
                    <a:lnTo>
                      <a:pt x="992" y="238"/>
                    </a:lnTo>
                    <a:lnTo>
                      <a:pt x="993" y="240"/>
                    </a:lnTo>
                    <a:lnTo>
                      <a:pt x="993" y="238"/>
                    </a:lnTo>
                    <a:lnTo>
                      <a:pt x="993" y="240"/>
                    </a:lnTo>
                    <a:lnTo>
                      <a:pt x="995" y="240"/>
                    </a:lnTo>
                    <a:lnTo>
                      <a:pt x="995" y="241"/>
                    </a:lnTo>
                    <a:lnTo>
                      <a:pt x="993" y="241"/>
                    </a:lnTo>
                    <a:lnTo>
                      <a:pt x="995" y="241"/>
                    </a:lnTo>
                    <a:lnTo>
                      <a:pt x="997" y="243"/>
                    </a:lnTo>
                    <a:lnTo>
                      <a:pt x="997" y="245"/>
                    </a:lnTo>
                    <a:lnTo>
                      <a:pt x="995" y="245"/>
                    </a:lnTo>
                    <a:lnTo>
                      <a:pt x="997" y="245"/>
                    </a:lnTo>
                    <a:lnTo>
                      <a:pt x="995" y="246"/>
                    </a:lnTo>
                    <a:lnTo>
                      <a:pt x="993" y="246"/>
                    </a:lnTo>
                    <a:lnTo>
                      <a:pt x="995" y="246"/>
                    </a:lnTo>
                    <a:lnTo>
                      <a:pt x="997" y="246"/>
                    </a:lnTo>
                    <a:lnTo>
                      <a:pt x="995" y="248"/>
                    </a:lnTo>
                    <a:lnTo>
                      <a:pt x="993" y="248"/>
                    </a:lnTo>
                    <a:lnTo>
                      <a:pt x="993" y="250"/>
                    </a:lnTo>
                    <a:lnTo>
                      <a:pt x="993" y="251"/>
                    </a:lnTo>
                    <a:lnTo>
                      <a:pt x="992" y="251"/>
                    </a:lnTo>
                    <a:lnTo>
                      <a:pt x="992" y="253"/>
                    </a:lnTo>
                    <a:lnTo>
                      <a:pt x="990" y="253"/>
                    </a:lnTo>
                    <a:lnTo>
                      <a:pt x="990" y="255"/>
                    </a:lnTo>
                    <a:lnTo>
                      <a:pt x="990" y="253"/>
                    </a:lnTo>
                    <a:lnTo>
                      <a:pt x="990" y="255"/>
                    </a:lnTo>
                    <a:lnTo>
                      <a:pt x="988" y="255"/>
                    </a:lnTo>
                    <a:lnTo>
                      <a:pt x="986" y="255"/>
                    </a:lnTo>
                    <a:lnTo>
                      <a:pt x="988" y="255"/>
                    </a:lnTo>
                    <a:lnTo>
                      <a:pt x="990" y="255"/>
                    </a:lnTo>
                    <a:lnTo>
                      <a:pt x="992" y="255"/>
                    </a:lnTo>
                    <a:lnTo>
                      <a:pt x="990" y="257"/>
                    </a:lnTo>
                    <a:lnTo>
                      <a:pt x="990" y="258"/>
                    </a:lnTo>
                    <a:lnTo>
                      <a:pt x="988" y="258"/>
                    </a:lnTo>
                    <a:lnTo>
                      <a:pt x="990" y="258"/>
                    </a:lnTo>
                    <a:lnTo>
                      <a:pt x="992" y="258"/>
                    </a:lnTo>
                    <a:lnTo>
                      <a:pt x="990" y="257"/>
                    </a:lnTo>
                    <a:lnTo>
                      <a:pt x="992" y="257"/>
                    </a:lnTo>
                    <a:lnTo>
                      <a:pt x="992" y="255"/>
                    </a:lnTo>
                    <a:lnTo>
                      <a:pt x="993" y="253"/>
                    </a:lnTo>
                    <a:lnTo>
                      <a:pt x="995" y="253"/>
                    </a:lnTo>
                    <a:lnTo>
                      <a:pt x="993" y="253"/>
                    </a:lnTo>
                    <a:lnTo>
                      <a:pt x="995" y="251"/>
                    </a:lnTo>
                    <a:lnTo>
                      <a:pt x="995" y="250"/>
                    </a:lnTo>
                    <a:lnTo>
                      <a:pt x="997" y="250"/>
                    </a:lnTo>
                    <a:lnTo>
                      <a:pt x="998" y="251"/>
                    </a:lnTo>
                    <a:lnTo>
                      <a:pt x="1000" y="253"/>
                    </a:lnTo>
                    <a:lnTo>
                      <a:pt x="998" y="253"/>
                    </a:lnTo>
                    <a:lnTo>
                      <a:pt x="1000" y="253"/>
                    </a:lnTo>
                    <a:lnTo>
                      <a:pt x="1000" y="255"/>
                    </a:lnTo>
                    <a:lnTo>
                      <a:pt x="1000" y="257"/>
                    </a:lnTo>
                    <a:lnTo>
                      <a:pt x="1000" y="258"/>
                    </a:lnTo>
                    <a:lnTo>
                      <a:pt x="1000" y="260"/>
                    </a:lnTo>
                    <a:lnTo>
                      <a:pt x="998" y="260"/>
                    </a:lnTo>
                    <a:lnTo>
                      <a:pt x="997" y="260"/>
                    </a:lnTo>
                    <a:lnTo>
                      <a:pt x="997" y="258"/>
                    </a:lnTo>
                    <a:lnTo>
                      <a:pt x="995" y="258"/>
                    </a:lnTo>
                    <a:lnTo>
                      <a:pt x="997" y="258"/>
                    </a:lnTo>
                    <a:lnTo>
                      <a:pt x="997" y="260"/>
                    </a:lnTo>
                    <a:lnTo>
                      <a:pt x="995" y="260"/>
                    </a:lnTo>
                    <a:lnTo>
                      <a:pt x="995" y="262"/>
                    </a:lnTo>
                    <a:lnTo>
                      <a:pt x="997" y="262"/>
                    </a:lnTo>
                    <a:lnTo>
                      <a:pt x="995" y="262"/>
                    </a:lnTo>
                    <a:lnTo>
                      <a:pt x="995" y="263"/>
                    </a:lnTo>
                    <a:lnTo>
                      <a:pt x="993" y="263"/>
                    </a:lnTo>
                    <a:lnTo>
                      <a:pt x="993" y="265"/>
                    </a:lnTo>
                    <a:lnTo>
                      <a:pt x="993" y="263"/>
                    </a:lnTo>
                    <a:lnTo>
                      <a:pt x="995" y="263"/>
                    </a:lnTo>
                    <a:lnTo>
                      <a:pt x="995" y="265"/>
                    </a:lnTo>
                    <a:lnTo>
                      <a:pt x="993" y="265"/>
                    </a:lnTo>
                    <a:lnTo>
                      <a:pt x="993" y="267"/>
                    </a:lnTo>
                    <a:lnTo>
                      <a:pt x="993" y="268"/>
                    </a:lnTo>
                    <a:lnTo>
                      <a:pt x="992" y="268"/>
                    </a:lnTo>
                    <a:lnTo>
                      <a:pt x="992" y="270"/>
                    </a:lnTo>
                    <a:lnTo>
                      <a:pt x="992" y="272"/>
                    </a:lnTo>
                    <a:lnTo>
                      <a:pt x="992" y="274"/>
                    </a:lnTo>
                    <a:lnTo>
                      <a:pt x="992" y="275"/>
                    </a:lnTo>
                    <a:lnTo>
                      <a:pt x="990" y="275"/>
                    </a:lnTo>
                    <a:lnTo>
                      <a:pt x="990" y="277"/>
                    </a:lnTo>
                    <a:lnTo>
                      <a:pt x="990" y="279"/>
                    </a:lnTo>
                    <a:lnTo>
                      <a:pt x="992" y="280"/>
                    </a:lnTo>
                    <a:lnTo>
                      <a:pt x="992" y="282"/>
                    </a:lnTo>
                    <a:lnTo>
                      <a:pt x="990" y="282"/>
                    </a:lnTo>
                    <a:lnTo>
                      <a:pt x="990" y="284"/>
                    </a:lnTo>
                    <a:lnTo>
                      <a:pt x="988" y="284"/>
                    </a:lnTo>
                    <a:lnTo>
                      <a:pt x="988" y="285"/>
                    </a:lnTo>
                    <a:lnTo>
                      <a:pt x="986" y="285"/>
                    </a:lnTo>
                    <a:lnTo>
                      <a:pt x="986" y="287"/>
                    </a:lnTo>
                    <a:lnTo>
                      <a:pt x="986" y="289"/>
                    </a:lnTo>
                    <a:lnTo>
                      <a:pt x="986" y="291"/>
                    </a:lnTo>
                    <a:lnTo>
                      <a:pt x="988" y="291"/>
                    </a:lnTo>
                    <a:lnTo>
                      <a:pt x="988" y="289"/>
                    </a:lnTo>
                    <a:lnTo>
                      <a:pt x="986" y="287"/>
                    </a:lnTo>
                    <a:lnTo>
                      <a:pt x="988" y="287"/>
                    </a:lnTo>
                    <a:lnTo>
                      <a:pt x="988" y="285"/>
                    </a:lnTo>
                    <a:lnTo>
                      <a:pt x="990" y="285"/>
                    </a:lnTo>
                    <a:lnTo>
                      <a:pt x="992" y="285"/>
                    </a:lnTo>
                    <a:lnTo>
                      <a:pt x="992" y="284"/>
                    </a:lnTo>
                    <a:lnTo>
                      <a:pt x="995" y="282"/>
                    </a:lnTo>
                    <a:lnTo>
                      <a:pt x="995" y="280"/>
                    </a:lnTo>
                    <a:lnTo>
                      <a:pt x="997" y="280"/>
                    </a:lnTo>
                    <a:lnTo>
                      <a:pt x="997" y="279"/>
                    </a:lnTo>
                    <a:lnTo>
                      <a:pt x="998" y="279"/>
                    </a:lnTo>
                    <a:lnTo>
                      <a:pt x="998" y="277"/>
                    </a:lnTo>
                    <a:lnTo>
                      <a:pt x="998" y="275"/>
                    </a:lnTo>
                    <a:lnTo>
                      <a:pt x="998" y="274"/>
                    </a:lnTo>
                    <a:lnTo>
                      <a:pt x="998" y="272"/>
                    </a:lnTo>
                    <a:lnTo>
                      <a:pt x="1000" y="270"/>
                    </a:lnTo>
                    <a:lnTo>
                      <a:pt x="1000" y="268"/>
                    </a:lnTo>
                    <a:lnTo>
                      <a:pt x="1000" y="267"/>
                    </a:lnTo>
                    <a:lnTo>
                      <a:pt x="1000" y="265"/>
                    </a:lnTo>
                    <a:lnTo>
                      <a:pt x="1000" y="263"/>
                    </a:lnTo>
                    <a:lnTo>
                      <a:pt x="1002" y="263"/>
                    </a:lnTo>
                    <a:lnTo>
                      <a:pt x="1003" y="265"/>
                    </a:lnTo>
                    <a:lnTo>
                      <a:pt x="1003" y="263"/>
                    </a:lnTo>
                    <a:lnTo>
                      <a:pt x="1002" y="263"/>
                    </a:lnTo>
                    <a:lnTo>
                      <a:pt x="1003" y="263"/>
                    </a:lnTo>
                    <a:lnTo>
                      <a:pt x="1002" y="263"/>
                    </a:lnTo>
                    <a:lnTo>
                      <a:pt x="1002" y="262"/>
                    </a:lnTo>
                    <a:lnTo>
                      <a:pt x="1003" y="262"/>
                    </a:lnTo>
                    <a:lnTo>
                      <a:pt x="1005" y="262"/>
                    </a:lnTo>
                    <a:lnTo>
                      <a:pt x="1007" y="262"/>
                    </a:lnTo>
                    <a:lnTo>
                      <a:pt x="1007" y="260"/>
                    </a:lnTo>
                    <a:lnTo>
                      <a:pt x="1009" y="260"/>
                    </a:lnTo>
                    <a:lnTo>
                      <a:pt x="1010" y="260"/>
                    </a:lnTo>
                    <a:lnTo>
                      <a:pt x="1010" y="258"/>
                    </a:lnTo>
                    <a:lnTo>
                      <a:pt x="1012" y="260"/>
                    </a:lnTo>
                    <a:lnTo>
                      <a:pt x="1010" y="260"/>
                    </a:lnTo>
                    <a:lnTo>
                      <a:pt x="1010" y="262"/>
                    </a:lnTo>
                    <a:lnTo>
                      <a:pt x="1012" y="262"/>
                    </a:lnTo>
                    <a:lnTo>
                      <a:pt x="1012" y="263"/>
                    </a:lnTo>
                    <a:lnTo>
                      <a:pt x="1010" y="265"/>
                    </a:lnTo>
                    <a:lnTo>
                      <a:pt x="1009" y="265"/>
                    </a:lnTo>
                    <a:lnTo>
                      <a:pt x="1009" y="267"/>
                    </a:lnTo>
                    <a:lnTo>
                      <a:pt x="1009" y="268"/>
                    </a:lnTo>
                    <a:lnTo>
                      <a:pt x="1007" y="268"/>
                    </a:lnTo>
                    <a:lnTo>
                      <a:pt x="1005" y="268"/>
                    </a:lnTo>
                    <a:lnTo>
                      <a:pt x="1005" y="270"/>
                    </a:lnTo>
                    <a:lnTo>
                      <a:pt x="1003" y="270"/>
                    </a:lnTo>
                    <a:lnTo>
                      <a:pt x="1003" y="272"/>
                    </a:lnTo>
                    <a:lnTo>
                      <a:pt x="1002" y="272"/>
                    </a:lnTo>
                    <a:lnTo>
                      <a:pt x="1003" y="272"/>
                    </a:lnTo>
                    <a:lnTo>
                      <a:pt x="1003" y="274"/>
                    </a:lnTo>
                    <a:lnTo>
                      <a:pt x="1003" y="272"/>
                    </a:lnTo>
                    <a:lnTo>
                      <a:pt x="1005" y="272"/>
                    </a:lnTo>
                    <a:lnTo>
                      <a:pt x="1007" y="272"/>
                    </a:lnTo>
                    <a:lnTo>
                      <a:pt x="1007" y="274"/>
                    </a:lnTo>
                    <a:lnTo>
                      <a:pt x="1007" y="272"/>
                    </a:lnTo>
                    <a:lnTo>
                      <a:pt x="1009" y="272"/>
                    </a:lnTo>
                    <a:lnTo>
                      <a:pt x="1009" y="270"/>
                    </a:lnTo>
                    <a:lnTo>
                      <a:pt x="1010" y="272"/>
                    </a:lnTo>
                    <a:lnTo>
                      <a:pt x="1010" y="270"/>
                    </a:lnTo>
                    <a:lnTo>
                      <a:pt x="1010" y="272"/>
                    </a:lnTo>
                    <a:lnTo>
                      <a:pt x="1010" y="270"/>
                    </a:lnTo>
                    <a:lnTo>
                      <a:pt x="1012" y="268"/>
                    </a:lnTo>
                    <a:lnTo>
                      <a:pt x="1012" y="267"/>
                    </a:lnTo>
                    <a:lnTo>
                      <a:pt x="1014" y="267"/>
                    </a:lnTo>
                    <a:lnTo>
                      <a:pt x="1014" y="265"/>
                    </a:lnTo>
                    <a:lnTo>
                      <a:pt x="1015" y="265"/>
                    </a:lnTo>
                    <a:lnTo>
                      <a:pt x="1015" y="263"/>
                    </a:lnTo>
                    <a:lnTo>
                      <a:pt x="1017" y="265"/>
                    </a:lnTo>
                    <a:lnTo>
                      <a:pt x="1017" y="263"/>
                    </a:lnTo>
                    <a:lnTo>
                      <a:pt x="1019" y="263"/>
                    </a:lnTo>
                    <a:lnTo>
                      <a:pt x="1017" y="263"/>
                    </a:lnTo>
                    <a:lnTo>
                      <a:pt x="1019" y="262"/>
                    </a:lnTo>
                    <a:lnTo>
                      <a:pt x="1019" y="260"/>
                    </a:lnTo>
                    <a:lnTo>
                      <a:pt x="1019" y="258"/>
                    </a:lnTo>
                    <a:lnTo>
                      <a:pt x="1020" y="258"/>
                    </a:lnTo>
                    <a:lnTo>
                      <a:pt x="1019" y="260"/>
                    </a:lnTo>
                    <a:lnTo>
                      <a:pt x="1019" y="262"/>
                    </a:lnTo>
                    <a:lnTo>
                      <a:pt x="1019" y="260"/>
                    </a:lnTo>
                    <a:lnTo>
                      <a:pt x="1020" y="260"/>
                    </a:lnTo>
                    <a:lnTo>
                      <a:pt x="1022" y="258"/>
                    </a:lnTo>
                    <a:lnTo>
                      <a:pt x="1022" y="257"/>
                    </a:lnTo>
                    <a:lnTo>
                      <a:pt x="1022" y="255"/>
                    </a:lnTo>
                    <a:lnTo>
                      <a:pt x="1024" y="255"/>
                    </a:lnTo>
                    <a:lnTo>
                      <a:pt x="1026" y="255"/>
                    </a:lnTo>
                    <a:lnTo>
                      <a:pt x="1026" y="253"/>
                    </a:lnTo>
                    <a:lnTo>
                      <a:pt x="1026" y="255"/>
                    </a:lnTo>
                    <a:lnTo>
                      <a:pt x="1024" y="255"/>
                    </a:lnTo>
                    <a:lnTo>
                      <a:pt x="1024" y="257"/>
                    </a:lnTo>
                    <a:lnTo>
                      <a:pt x="1026" y="257"/>
                    </a:lnTo>
                    <a:lnTo>
                      <a:pt x="1026" y="258"/>
                    </a:lnTo>
                    <a:lnTo>
                      <a:pt x="1024" y="258"/>
                    </a:lnTo>
                    <a:lnTo>
                      <a:pt x="1024" y="260"/>
                    </a:lnTo>
                    <a:lnTo>
                      <a:pt x="1022" y="260"/>
                    </a:lnTo>
                    <a:lnTo>
                      <a:pt x="1020" y="260"/>
                    </a:lnTo>
                    <a:lnTo>
                      <a:pt x="1020" y="262"/>
                    </a:lnTo>
                    <a:lnTo>
                      <a:pt x="1020" y="263"/>
                    </a:lnTo>
                    <a:lnTo>
                      <a:pt x="1020" y="262"/>
                    </a:lnTo>
                    <a:lnTo>
                      <a:pt x="1022" y="262"/>
                    </a:lnTo>
                    <a:lnTo>
                      <a:pt x="1024" y="262"/>
                    </a:lnTo>
                    <a:lnTo>
                      <a:pt x="1022" y="262"/>
                    </a:lnTo>
                    <a:lnTo>
                      <a:pt x="1022" y="263"/>
                    </a:lnTo>
                    <a:lnTo>
                      <a:pt x="1024" y="263"/>
                    </a:lnTo>
                    <a:lnTo>
                      <a:pt x="1024" y="262"/>
                    </a:lnTo>
                    <a:lnTo>
                      <a:pt x="1026" y="262"/>
                    </a:lnTo>
                    <a:lnTo>
                      <a:pt x="1026" y="263"/>
                    </a:lnTo>
                    <a:lnTo>
                      <a:pt x="1026" y="262"/>
                    </a:lnTo>
                    <a:lnTo>
                      <a:pt x="1027" y="262"/>
                    </a:lnTo>
                    <a:lnTo>
                      <a:pt x="1026" y="262"/>
                    </a:lnTo>
                    <a:lnTo>
                      <a:pt x="1027" y="263"/>
                    </a:lnTo>
                    <a:lnTo>
                      <a:pt x="1027" y="262"/>
                    </a:lnTo>
                    <a:lnTo>
                      <a:pt x="1027" y="260"/>
                    </a:lnTo>
                    <a:lnTo>
                      <a:pt x="1029" y="260"/>
                    </a:lnTo>
                    <a:lnTo>
                      <a:pt x="1029" y="262"/>
                    </a:lnTo>
                    <a:lnTo>
                      <a:pt x="1031" y="262"/>
                    </a:lnTo>
                    <a:lnTo>
                      <a:pt x="1031" y="263"/>
                    </a:lnTo>
                    <a:lnTo>
                      <a:pt x="1031" y="262"/>
                    </a:lnTo>
                    <a:lnTo>
                      <a:pt x="1031" y="260"/>
                    </a:lnTo>
                    <a:lnTo>
                      <a:pt x="1032" y="260"/>
                    </a:lnTo>
                    <a:lnTo>
                      <a:pt x="1034" y="260"/>
                    </a:lnTo>
                    <a:lnTo>
                      <a:pt x="1032" y="260"/>
                    </a:lnTo>
                    <a:lnTo>
                      <a:pt x="1031" y="260"/>
                    </a:lnTo>
                    <a:lnTo>
                      <a:pt x="1031" y="258"/>
                    </a:lnTo>
                    <a:lnTo>
                      <a:pt x="1031" y="257"/>
                    </a:lnTo>
                    <a:lnTo>
                      <a:pt x="1032" y="257"/>
                    </a:lnTo>
                    <a:lnTo>
                      <a:pt x="1034" y="257"/>
                    </a:lnTo>
                    <a:lnTo>
                      <a:pt x="1036" y="257"/>
                    </a:lnTo>
                    <a:lnTo>
                      <a:pt x="1037" y="257"/>
                    </a:lnTo>
                    <a:lnTo>
                      <a:pt x="1039" y="258"/>
                    </a:lnTo>
                    <a:lnTo>
                      <a:pt x="1041" y="258"/>
                    </a:lnTo>
                    <a:lnTo>
                      <a:pt x="1043" y="258"/>
                    </a:lnTo>
                    <a:lnTo>
                      <a:pt x="1043" y="260"/>
                    </a:lnTo>
                    <a:lnTo>
                      <a:pt x="1044" y="260"/>
                    </a:lnTo>
                    <a:lnTo>
                      <a:pt x="1046" y="262"/>
                    </a:lnTo>
                    <a:lnTo>
                      <a:pt x="1048" y="262"/>
                    </a:lnTo>
                    <a:lnTo>
                      <a:pt x="1049" y="262"/>
                    </a:lnTo>
                    <a:lnTo>
                      <a:pt x="1049" y="263"/>
                    </a:lnTo>
                    <a:lnTo>
                      <a:pt x="1051" y="263"/>
                    </a:lnTo>
                    <a:lnTo>
                      <a:pt x="1053" y="263"/>
                    </a:lnTo>
                    <a:lnTo>
                      <a:pt x="1053" y="265"/>
                    </a:lnTo>
                    <a:lnTo>
                      <a:pt x="1054" y="265"/>
                    </a:lnTo>
                    <a:lnTo>
                      <a:pt x="1056" y="265"/>
                    </a:lnTo>
                    <a:lnTo>
                      <a:pt x="1058" y="267"/>
                    </a:lnTo>
                    <a:lnTo>
                      <a:pt x="1060" y="267"/>
                    </a:lnTo>
                    <a:lnTo>
                      <a:pt x="1061" y="268"/>
                    </a:lnTo>
                    <a:lnTo>
                      <a:pt x="1063" y="268"/>
                    </a:lnTo>
                    <a:lnTo>
                      <a:pt x="1065" y="268"/>
                    </a:lnTo>
                    <a:lnTo>
                      <a:pt x="1066" y="270"/>
                    </a:lnTo>
                    <a:lnTo>
                      <a:pt x="1068" y="270"/>
                    </a:lnTo>
                    <a:lnTo>
                      <a:pt x="1070" y="270"/>
                    </a:lnTo>
                    <a:lnTo>
                      <a:pt x="1071" y="270"/>
                    </a:lnTo>
                    <a:lnTo>
                      <a:pt x="1071" y="272"/>
                    </a:lnTo>
                    <a:lnTo>
                      <a:pt x="1073" y="274"/>
                    </a:lnTo>
                    <a:lnTo>
                      <a:pt x="1071" y="274"/>
                    </a:lnTo>
                    <a:lnTo>
                      <a:pt x="1073" y="274"/>
                    </a:lnTo>
                    <a:lnTo>
                      <a:pt x="1073" y="272"/>
                    </a:lnTo>
                    <a:lnTo>
                      <a:pt x="1073" y="274"/>
                    </a:lnTo>
                    <a:lnTo>
                      <a:pt x="1073" y="272"/>
                    </a:lnTo>
                    <a:lnTo>
                      <a:pt x="1073" y="274"/>
                    </a:lnTo>
                    <a:lnTo>
                      <a:pt x="1075" y="274"/>
                    </a:lnTo>
                    <a:lnTo>
                      <a:pt x="1075" y="272"/>
                    </a:lnTo>
                    <a:lnTo>
                      <a:pt x="1077" y="272"/>
                    </a:lnTo>
                    <a:lnTo>
                      <a:pt x="1075" y="272"/>
                    </a:lnTo>
                    <a:lnTo>
                      <a:pt x="1073" y="272"/>
                    </a:lnTo>
                    <a:lnTo>
                      <a:pt x="1075" y="272"/>
                    </a:lnTo>
                    <a:lnTo>
                      <a:pt x="1075" y="270"/>
                    </a:lnTo>
                    <a:lnTo>
                      <a:pt x="1077" y="272"/>
                    </a:lnTo>
                    <a:lnTo>
                      <a:pt x="1078" y="272"/>
                    </a:lnTo>
                    <a:lnTo>
                      <a:pt x="1078" y="274"/>
                    </a:lnTo>
                    <a:lnTo>
                      <a:pt x="1078" y="272"/>
                    </a:lnTo>
                    <a:lnTo>
                      <a:pt x="1080" y="272"/>
                    </a:lnTo>
                    <a:lnTo>
                      <a:pt x="1080" y="270"/>
                    </a:lnTo>
                    <a:lnTo>
                      <a:pt x="1082" y="270"/>
                    </a:lnTo>
                    <a:lnTo>
                      <a:pt x="1083" y="270"/>
                    </a:lnTo>
                    <a:lnTo>
                      <a:pt x="1085" y="270"/>
                    </a:lnTo>
                    <a:lnTo>
                      <a:pt x="1087" y="270"/>
                    </a:lnTo>
                    <a:lnTo>
                      <a:pt x="1085" y="272"/>
                    </a:lnTo>
                    <a:lnTo>
                      <a:pt x="1087" y="272"/>
                    </a:lnTo>
                    <a:lnTo>
                      <a:pt x="1087" y="270"/>
                    </a:lnTo>
                    <a:lnTo>
                      <a:pt x="1088" y="272"/>
                    </a:lnTo>
                    <a:lnTo>
                      <a:pt x="1090" y="272"/>
                    </a:lnTo>
                    <a:lnTo>
                      <a:pt x="1090" y="274"/>
                    </a:lnTo>
                    <a:lnTo>
                      <a:pt x="1092" y="274"/>
                    </a:lnTo>
                    <a:lnTo>
                      <a:pt x="1092" y="275"/>
                    </a:lnTo>
                    <a:lnTo>
                      <a:pt x="1094" y="275"/>
                    </a:lnTo>
                    <a:lnTo>
                      <a:pt x="1095" y="275"/>
                    </a:lnTo>
                    <a:lnTo>
                      <a:pt x="1095" y="277"/>
                    </a:lnTo>
                    <a:lnTo>
                      <a:pt x="1097" y="277"/>
                    </a:lnTo>
                    <a:lnTo>
                      <a:pt x="1097" y="275"/>
                    </a:lnTo>
                    <a:lnTo>
                      <a:pt x="1099" y="275"/>
                    </a:lnTo>
                    <a:lnTo>
                      <a:pt x="1099" y="277"/>
                    </a:lnTo>
                    <a:lnTo>
                      <a:pt x="1100" y="277"/>
                    </a:lnTo>
                    <a:lnTo>
                      <a:pt x="1100" y="275"/>
                    </a:lnTo>
                    <a:lnTo>
                      <a:pt x="1100" y="277"/>
                    </a:lnTo>
                    <a:lnTo>
                      <a:pt x="1102" y="277"/>
                    </a:lnTo>
                    <a:lnTo>
                      <a:pt x="1104" y="277"/>
                    </a:lnTo>
                    <a:lnTo>
                      <a:pt x="1104" y="275"/>
                    </a:lnTo>
                    <a:lnTo>
                      <a:pt x="1105" y="275"/>
                    </a:lnTo>
                    <a:lnTo>
                      <a:pt x="1107" y="275"/>
                    </a:lnTo>
                    <a:lnTo>
                      <a:pt x="1109" y="275"/>
                    </a:lnTo>
                    <a:lnTo>
                      <a:pt x="1111" y="275"/>
                    </a:lnTo>
                    <a:lnTo>
                      <a:pt x="1112" y="275"/>
                    </a:lnTo>
                    <a:lnTo>
                      <a:pt x="1114" y="275"/>
                    </a:lnTo>
                    <a:lnTo>
                      <a:pt x="1116" y="275"/>
                    </a:lnTo>
                    <a:lnTo>
                      <a:pt x="1117" y="275"/>
                    </a:lnTo>
                    <a:lnTo>
                      <a:pt x="1119" y="275"/>
                    </a:lnTo>
                    <a:lnTo>
                      <a:pt x="1121" y="275"/>
                    </a:lnTo>
                    <a:lnTo>
                      <a:pt x="1121" y="274"/>
                    </a:lnTo>
                    <a:lnTo>
                      <a:pt x="1122" y="274"/>
                    </a:lnTo>
                    <a:lnTo>
                      <a:pt x="1124" y="274"/>
                    </a:lnTo>
                    <a:lnTo>
                      <a:pt x="1126" y="274"/>
                    </a:lnTo>
                    <a:lnTo>
                      <a:pt x="1128" y="274"/>
                    </a:lnTo>
                    <a:lnTo>
                      <a:pt x="1129" y="274"/>
                    </a:lnTo>
                    <a:lnTo>
                      <a:pt x="1131" y="272"/>
                    </a:lnTo>
                    <a:lnTo>
                      <a:pt x="1133" y="272"/>
                    </a:lnTo>
                    <a:lnTo>
                      <a:pt x="1133" y="274"/>
                    </a:lnTo>
                    <a:lnTo>
                      <a:pt x="1134" y="274"/>
                    </a:lnTo>
                    <a:lnTo>
                      <a:pt x="1136" y="274"/>
                    </a:lnTo>
                    <a:lnTo>
                      <a:pt x="1136" y="272"/>
                    </a:lnTo>
                    <a:lnTo>
                      <a:pt x="1138" y="272"/>
                    </a:lnTo>
                    <a:lnTo>
                      <a:pt x="1138" y="274"/>
                    </a:lnTo>
                    <a:lnTo>
                      <a:pt x="1139" y="274"/>
                    </a:lnTo>
                    <a:lnTo>
                      <a:pt x="1141" y="274"/>
                    </a:lnTo>
                    <a:lnTo>
                      <a:pt x="1143" y="274"/>
                    </a:lnTo>
                    <a:lnTo>
                      <a:pt x="1145" y="274"/>
                    </a:lnTo>
                    <a:lnTo>
                      <a:pt x="1146" y="274"/>
                    </a:lnTo>
                    <a:lnTo>
                      <a:pt x="1148" y="274"/>
                    </a:lnTo>
                    <a:lnTo>
                      <a:pt x="1150" y="274"/>
                    </a:lnTo>
                    <a:lnTo>
                      <a:pt x="1150" y="275"/>
                    </a:lnTo>
                    <a:lnTo>
                      <a:pt x="1151" y="275"/>
                    </a:lnTo>
                    <a:lnTo>
                      <a:pt x="1150" y="275"/>
                    </a:lnTo>
                    <a:lnTo>
                      <a:pt x="1151" y="275"/>
                    </a:lnTo>
                    <a:lnTo>
                      <a:pt x="1153" y="275"/>
                    </a:lnTo>
                    <a:lnTo>
                      <a:pt x="1153" y="277"/>
                    </a:lnTo>
                    <a:lnTo>
                      <a:pt x="1155" y="277"/>
                    </a:lnTo>
                    <a:lnTo>
                      <a:pt x="1156" y="279"/>
                    </a:lnTo>
                    <a:lnTo>
                      <a:pt x="1158" y="279"/>
                    </a:lnTo>
                    <a:lnTo>
                      <a:pt x="1160" y="280"/>
                    </a:lnTo>
                    <a:lnTo>
                      <a:pt x="1162" y="280"/>
                    </a:lnTo>
                    <a:lnTo>
                      <a:pt x="1162" y="282"/>
                    </a:lnTo>
                    <a:lnTo>
                      <a:pt x="1163" y="282"/>
                    </a:lnTo>
                    <a:lnTo>
                      <a:pt x="1165" y="282"/>
                    </a:lnTo>
                    <a:lnTo>
                      <a:pt x="1165" y="284"/>
                    </a:lnTo>
                    <a:lnTo>
                      <a:pt x="1167" y="284"/>
                    </a:lnTo>
                    <a:lnTo>
                      <a:pt x="1168" y="285"/>
                    </a:lnTo>
                    <a:lnTo>
                      <a:pt x="1170" y="285"/>
                    </a:lnTo>
                    <a:lnTo>
                      <a:pt x="1172" y="285"/>
                    </a:lnTo>
                    <a:lnTo>
                      <a:pt x="1172" y="287"/>
                    </a:lnTo>
                    <a:lnTo>
                      <a:pt x="1173" y="287"/>
                    </a:lnTo>
                    <a:lnTo>
                      <a:pt x="1175" y="287"/>
                    </a:lnTo>
                    <a:lnTo>
                      <a:pt x="1175" y="289"/>
                    </a:lnTo>
                    <a:lnTo>
                      <a:pt x="1175" y="291"/>
                    </a:lnTo>
                    <a:lnTo>
                      <a:pt x="1177" y="291"/>
                    </a:lnTo>
                    <a:lnTo>
                      <a:pt x="1179" y="292"/>
                    </a:lnTo>
                    <a:lnTo>
                      <a:pt x="1180" y="294"/>
                    </a:lnTo>
                    <a:lnTo>
                      <a:pt x="1180" y="292"/>
                    </a:lnTo>
                    <a:lnTo>
                      <a:pt x="1182" y="292"/>
                    </a:lnTo>
                    <a:lnTo>
                      <a:pt x="1184" y="294"/>
                    </a:lnTo>
                    <a:lnTo>
                      <a:pt x="1184" y="296"/>
                    </a:lnTo>
                    <a:lnTo>
                      <a:pt x="1185" y="296"/>
                    </a:lnTo>
                    <a:lnTo>
                      <a:pt x="1185" y="297"/>
                    </a:lnTo>
                    <a:lnTo>
                      <a:pt x="1187" y="297"/>
                    </a:lnTo>
                    <a:lnTo>
                      <a:pt x="1189" y="297"/>
                    </a:lnTo>
                    <a:lnTo>
                      <a:pt x="1189" y="299"/>
                    </a:lnTo>
                    <a:lnTo>
                      <a:pt x="1190" y="301"/>
                    </a:lnTo>
                    <a:lnTo>
                      <a:pt x="1192" y="301"/>
                    </a:lnTo>
                    <a:lnTo>
                      <a:pt x="1192" y="302"/>
                    </a:lnTo>
                    <a:lnTo>
                      <a:pt x="1194" y="302"/>
                    </a:lnTo>
                    <a:lnTo>
                      <a:pt x="1196" y="302"/>
                    </a:lnTo>
                    <a:lnTo>
                      <a:pt x="1197" y="304"/>
                    </a:lnTo>
                    <a:lnTo>
                      <a:pt x="1199" y="304"/>
                    </a:lnTo>
                    <a:lnTo>
                      <a:pt x="1199" y="302"/>
                    </a:lnTo>
                    <a:lnTo>
                      <a:pt x="1199" y="304"/>
                    </a:lnTo>
                    <a:lnTo>
                      <a:pt x="1201" y="304"/>
                    </a:lnTo>
                    <a:lnTo>
                      <a:pt x="1201" y="306"/>
                    </a:lnTo>
                    <a:lnTo>
                      <a:pt x="1202" y="308"/>
                    </a:lnTo>
                    <a:lnTo>
                      <a:pt x="1202" y="309"/>
                    </a:lnTo>
                    <a:lnTo>
                      <a:pt x="1204" y="309"/>
                    </a:lnTo>
                    <a:lnTo>
                      <a:pt x="1204" y="311"/>
                    </a:lnTo>
                    <a:lnTo>
                      <a:pt x="1206" y="311"/>
                    </a:lnTo>
                    <a:lnTo>
                      <a:pt x="1207" y="313"/>
                    </a:lnTo>
                    <a:lnTo>
                      <a:pt x="1209" y="314"/>
                    </a:lnTo>
                    <a:lnTo>
                      <a:pt x="1209" y="316"/>
                    </a:lnTo>
                    <a:lnTo>
                      <a:pt x="1211" y="316"/>
                    </a:lnTo>
                    <a:lnTo>
                      <a:pt x="1211" y="318"/>
                    </a:lnTo>
                    <a:lnTo>
                      <a:pt x="1213" y="319"/>
                    </a:lnTo>
                    <a:lnTo>
                      <a:pt x="1214" y="321"/>
                    </a:lnTo>
                    <a:lnTo>
                      <a:pt x="1216" y="321"/>
                    </a:lnTo>
                    <a:lnTo>
                      <a:pt x="1216" y="323"/>
                    </a:lnTo>
                    <a:lnTo>
                      <a:pt x="1218" y="323"/>
                    </a:lnTo>
                    <a:lnTo>
                      <a:pt x="1218" y="325"/>
                    </a:lnTo>
                    <a:lnTo>
                      <a:pt x="1219" y="326"/>
                    </a:lnTo>
                    <a:lnTo>
                      <a:pt x="1221" y="326"/>
                    </a:lnTo>
                    <a:lnTo>
                      <a:pt x="1223" y="326"/>
                    </a:lnTo>
                    <a:lnTo>
                      <a:pt x="1223" y="328"/>
                    </a:lnTo>
                    <a:lnTo>
                      <a:pt x="1224" y="328"/>
                    </a:lnTo>
                    <a:lnTo>
                      <a:pt x="1224" y="330"/>
                    </a:lnTo>
                    <a:lnTo>
                      <a:pt x="1224" y="331"/>
                    </a:lnTo>
                    <a:lnTo>
                      <a:pt x="1226" y="331"/>
                    </a:lnTo>
                    <a:lnTo>
                      <a:pt x="1228" y="333"/>
                    </a:lnTo>
                    <a:lnTo>
                      <a:pt x="1230" y="335"/>
                    </a:lnTo>
                    <a:lnTo>
                      <a:pt x="1231" y="335"/>
                    </a:lnTo>
                    <a:lnTo>
                      <a:pt x="1233" y="335"/>
                    </a:lnTo>
                    <a:lnTo>
                      <a:pt x="1235" y="335"/>
                    </a:lnTo>
                    <a:lnTo>
                      <a:pt x="1235" y="337"/>
                    </a:lnTo>
                    <a:lnTo>
                      <a:pt x="1236" y="337"/>
                    </a:lnTo>
                    <a:lnTo>
                      <a:pt x="1238" y="337"/>
                    </a:lnTo>
                    <a:lnTo>
                      <a:pt x="1238" y="338"/>
                    </a:lnTo>
                    <a:lnTo>
                      <a:pt x="1240" y="338"/>
                    </a:lnTo>
                    <a:lnTo>
                      <a:pt x="1240" y="340"/>
                    </a:lnTo>
                    <a:lnTo>
                      <a:pt x="1240" y="342"/>
                    </a:lnTo>
                    <a:lnTo>
                      <a:pt x="1241" y="342"/>
                    </a:lnTo>
                    <a:lnTo>
                      <a:pt x="1241" y="343"/>
                    </a:lnTo>
                    <a:lnTo>
                      <a:pt x="1243" y="343"/>
                    </a:lnTo>
                    <a:lnTo>
                      <a:pt x="1243" y="345"/>
                    </a:lnTo>
                    <a:lnTo>
                      <a:pt x="1245" y="345"/>
                    </a:lnTo>
                    <a:lnTo>
                      <a:pt x="1247" y="345"/>
                    </a:lnTo>
                    <a:lnTo>
                      <a:pt x="1248" y="345"/>
                    </a:lnTo>
                    <a:lnTo>
                      <a:pt x="1250" y="345"/>
                    </a:lnTo>
                    <a:lnTo>
                      <a:pt x="1252" y="345"/>
                    </a:lnTo>
                    <a:lnTo>
                      <a:pt x="1253" y="345"/>
                    </a:lnTo>
                    <a:lnTo>
                      <a:pt x="1253" y="347"/>
                    </a:lnTo>
                    <a:lnTo>
                      <a:pt x="1255" y="347"/>
                    </a:lnTo>
                    <a:lnTo>
                      <a:pt x="1255" y="348"/>
                    </a:lnTo>
                    <a:lnTo>
                      <a:pt x="1257" y="348"/>
                    </a:lnTo>
                    <a:lnTo>
                      <a:pt x="1258" y="348"/>
                    </a:lnTo>
                    <a:lnTo>
                      <a:pt x="1258" y="350"/>
                    </a:lnTo>
                    <a:lnTo>
                      <a:pt x="1260" y="350"/>
                    </a:lnTo>
                    <a:lnTo>
                      <a:pt x="1262" y="350"/>
                    </a:lnTo>
                    <a:lnTo>
                      <a:pt x="1264" y="350"/>
                    </a:lnTo>
                    <a:lnTo>
                      <a:pt x="1262" y="350"/>
                    </a:lnTo>
                    <a:lnTo>
                      <a:pt x="1264" y="350"/>
                    </a:lnTo>
                    <a:lnTo>
                      <a:pt x="1265" y="350"/>
                    </a:lnTo>
                    <a:lnTo>
                      <a:pt x="1267" y="350"/>
                    </a:lnTo>
                    <a:lnTo>
                      <a:pt x="1267" y="348"/>
                    </a:lnTo>
                    <a:lnTo>
                      <a:pt x="1269" y="350"/>
                    </a:lnTo>
                    <a:lnTo>
                      <a:pt x="1270" y="350"/>
                    </a:lnTo>
                    <a:lnTo>
                      <a:pt x="1272" y="350"/>
                    </a:lnTo>
                    <a:lnTo>
                      <a:pt x="1274" y="350"/>
                    </a:lnTo>
                    <a:lnTo>
                      <a:pt x="1275" y="350"/>
                    </a:lnTo>
                    <a:lnTo>
                      <a:pt x="1277" y="350"/>
                    </a:lnTo>
                    <a:lnTo>
                      <a:pt x="1279" y="350"/>
                    </a:lnTo>
                    <a:lnTo>
                      <a:pt x="1281" y="348"/>
                    </a:lnTo>
                    <a:lnTo>
                      <a:pt x="1282" y="348"/>
                    </a:lnTo>
                    <a:lnTo>
                      <a:pt x="1284" y="348"/>
                    </a:lnTo>
                    <a:lnTo>
                      <a:pt x="1286" y="348"/>
                    </a:lnTo>
                    <a:lnTo>
                      <a:pt x="1287" y="348"/>
                    </a:lnTo>
                    <a:lnTo>
                      <a:pt x="1289" y="350"/>
                    </a:lnTo>
                    <a:lnTo>
                      <a:pt x="1291" y="350"/>
                    </a:lnTo>
                    <a:lnTo>
                      <a:pt x="1292" y="350"/>
                    </a:lnTo>
                    <a:lnTo>
                      <a:pt x="1294" y="350"/>
                    </a:lnTo>
                    <a:lnTo>
                      <a:pt x="1294" y="352"/>
                    </a:lnTo>
                    <a:lnTo>
                      <a:pt x="1296" y="350"/>
                    </a:lnTo>
                    <a:lnTo>
                      <a:pt x="1296" y="352"/>
                    </a:lnTo>
                    <a:lnTo>
                      <a:pt x="1298" y="352"/>
                    </a:lnTo>
                    <a:lnTo>
                      <a:pt x="1299" y="352"/>
                    </a:lnTo>
                    <a:lnTo>
                      <a:pt x="1301" y="352"/>
                    </a:lnTo>
                    <a:lnTo>
                      <a:pt x="1301" y="354"/>
                    </a:lnTo>
                    <a:lnTo>
                      <a:pt x="1303" y="354"/>
                    </a:lnTo>
                    <a:lnTo>
                      <a:pt x="1303" y="355"/>
                    </a:lnTo>
                    <a:lnTo>
                      <a:pt x="1304" y="357"/>
                    </a:lnTo>
                    <a:lnTo>
                      <a:pt x="1304" y="359"/>
                    </a:lnTo>
                    <a:lnTo>
                      <a:pt x="1306" y="360"/>
                    </a:lnTo>
                    <a:lnTo>
                      <a:pt x="1306" y="362"/>
                    </a:lnTo>
                    <a:lnTo>
                      <a:pt x="1308" y="364"/>
                    </a:lnTo>
                    <a:lnTo>
                      <a:pt x="1308" y="365"/>
                    </a:lnTo>
                    <a:lnTo>
                      <a:pt x="1308" y="367"/>
                    </a:lnTo>
                    <a:lnTo>
                      <a:pt x="1309" y="367"/>
                    </a:lnTo>
                    <a:lnTo>
                      <a:pt x="1309" y="369"/>
                    </a:lnTo>
                    <a:lnTo>
                      <a:pt x="1309" y="371"/>
                    </a:lnTo>
                    <a:lnTo>
                      <a:pt x="1309" y="372"/>
                    </a:lnTo>
                    <a:lnTo>
                      <a:pt x="1309" y="374"/>
                    </a:lnTo>
                    <a:lnTo>
                      <a:pt x="1311" y="374"/>
                    </a:lnTo>
                    <a:lnTo>
                      <a:pt x="1311" y="376"/>
                    </a:lnTo>
                    <a:lnTo>
                      <a:pt x="1311" y="377"/>
                    </a:lnTo>
                    <a:lnTo>
                      <a:pt x="1311" y="379"/>
                    </a:lnTo>
                    <a:lnTo>
                      <a:pt x="1313" y="379"/>
                    </a:lnTo>
                    <a:lnTo>
                      <a:pt x="1313" y="381"/>
                    </a:lnTo>
                    <a:lnTo>
                      <a:pt x="1313" y="382"/>
                    </a:lnTo>
                    <a:lnTo>
                      <a:pt x="1313" y="384"/>
                    </a:lnTo>
                    <a:lnTo>
                      <a:pt x="1313" y="386"/>
                    </a:lnTo>
                    <a:lnTo>
                      <a:pt x="1313" y="388"/>
                    </a:lnTo>
                    <a:lnTo>
                      <a:pt x="1315" y="388"/>
                    </a:lnTo>
                    <a:lnTo>
                      <a:pt x="1315" y="389"/>
                    </a:lnTo>
                    <a:lnTo>
                      <a:pt x="1315" y="391"/>
                    </a:lnTo>
                    <a:lnTo>
                      <a:pt x="1316" y="391"/>
                    </a:lnTo>
                    <a:lnTo>
                      <a:pt x="1315" y="391"/>
                    </a:lnTo>
                    <a:lnTo>
                      <a:pt x="1316" y="393"/>
                    </a:lnTo>
                    <a:lnTo>
                      <a:pt x="1316" y="394"/>
                    </a:lnTo>
                    <a:lnTo>
                      <a:pt x="1318" y="394"/>
                    </a:lnTo>
                    <a:lnTo>
                      <a:pt x="1318" y="396"/>
                    </a:lnTo>
                    <a:lnTo>
                      <a:pt x="1318" y="398"/>
                    </a:lnTo>
                    <a:lnTo>
                      <a:pt x="1318" y="399"/>
                    </a:lnTo>
                    <a:lnTo>
                      <a:pt x="1318" y="401"/>
                    </a:lnTo>
                    <a:lnTo>
                      <a:pt x="1318" y="403"/>
                    </a:lnTo>
                    <a:lnTo>
                      <a:pt x="1318" y="405"/>
                    </a:lnTo>
                    <a:lnTo>
                      <a:pt x="1320" y="405"/>
                    </a:lnTo>
                    <a:lnTo>
                      <a:pt x="1318" y="405"/>
                    </a:lnTo>
                    <a:lnTo>
                      <a:pt x="1320" y="405"/>
                    </a:lnTo>
                    <a:lnTo>
                      <a:pt x="1318" y="406"/>
                    </a:lnTo>
                    <a:lnTo>
                      <a:pt x="1320" y="406"/>
                    </a:lnTo>
                    <a:lnTo>
                      <a:pt x="1318" y="406"/>
                    </a:lnTo>
                    <a:lnTo>
                      <a:pt x="1320" y="406"/>
                    </a:lnTo>
                    <a:lnTo>
                      <a:pt x="1320" y="408"/>
                    </a:lnTo>
                    <a:lnTo>
                      <a:pt x="1320" y="410"/>
                    </a:lnTo>
                    <a:lnTo>
                      <a:pt x="1320" y="411"/>
                    </a:lnTo>
                    <a:lnTo>
                      <a:pt x="1321" y="411"/>
                    </a:lnTo>
                    <a:lnTo>
                      <a:pt x="1321" y="413"/>
                    </a:lnTo>
                    <a:lnTo>
                      <a:pt x="1323" y="413"/>
                    </a:lnTo>
                    <a:lnTo>
                      <a:pt x="1323" y="415"/>
                    </a:lnTo>
                    <a:lnTo>
                      <a:pt x="1323" y="416"/>
                    </a:lnTo>
                    <a:lnTo>
                      <a:pt x="1321" y="416"/>
                    </a:lnTo>
                    <a:lnTo>
                      <a:pt x="1323" y="418"/>
                    </a:lnTo>
                    <a:lnTo>
                      <a:pt x="1321" y="418"/>
                    </a:lnTo>
                    <a:lnTo>
                      <a:pt x="1323" y="418"/>
                    </a:lnTo>
                    <a:lnTo>
                      <a:pt x="1323" y="420"/>
                    </a:lnTo>
                    <a:lnTo>
                      <a:pt x="1323" y="422"/>
                    </a:lnTo>
                    <a:lnTo>
                      <a:pt x="1323" y="423"/>
                    </a:lnTo>
                    <a:lnTo>
                      <a:pt x="1323" y="425"/>
                    </a:lnTo>
                    <a:lnTo>
                      <a:pt x="1323" y="427"/>
                    </a:lnTo>
                    <a:lnTo>
                      <a:pt x="1323" y="428"/>
                    </a:lnTo>
                    <a:lnTo>
                      <a:pt x="1323" y="430"/>
                    </a:lnTo>
                    <a:lnTo>
                      <a:pt x="1323" y="432"/>
                    </a:lnTo>
                    <a:lnTo>
                      <a:pt x="1323" y="433"/>
                    </a:lnTo>
                    <a:lnTo>
                      <a:pt x="1321" y="433"/>
                    </a:lnTo>
                    <a:lnTo>
                      <a:pt x="1323" y="435"/>
                    </a:lnTo>
                    <a:lnTo>
                      <a:pt x="1323" y="437"/>
                    </a:lnTo>
                    <a:lnTo>
                      <a:pt x="1323" y="439"/>
                    </a:lnTo>
                    <a:lnTo>
                      <a:pt x="1321" y="439"/>
                    </a:lnTo>
                    <a:lnTo>
                      <a:pt x="1323" y="439"/>
                    </a:lnTo>
                    <a:lnTo>
                      <a:pt x="1321" y="439"/>
                    </a:lnTo>
                    <a:lnTo>
                      <a:pt x="1323" y="440"/>
                    </a:lnTo>
                    <a:lnTo>
                      <a:pt x="1321" y="442"/>
                    </a:lnTo>
                    <a:lnTo>
                      <a:pt x="1321" y="444"/>
                    </a:lnTo>
                    <a:lnTo>
                      <a:pt x="1323" y="445"/>
                    </a:lnTo>
                    <a:lnTo>
                      <a:pt x="1323" y="447"/>
                    </a:lnTo>
                    <a:lnTo>
                      <a:pt x="1321" y="449"/>
                    </a:lnTo>
                    <a:lnTo>
                      <a:pt x="1321" y="450"/>
                    </a:lnTo>
                    <a:lnTo>
                      <a:pt x="1320" y="452"/>
                    </a:lnTo>
                    <a:lnTo>
                      <a:pt x="1321" y="452"/>
                    </a:lnTo>
                    <a:lnTo>
                      <a:pt x="1320" y="452"/>
                    </a:lnTo>
                    <a:lnTo>
                      <a:pt x="1320" y="454"/>
                    </a:lnTo>
                    <a:lnTo>
                      <a:pt x="1320" y="456"/>
                    </a:lnTo>
                    <a:lnTo>
                      <a:pt x="1320" y="457"/>
                    </a:lnTo>
                    <a:lnTo>
                      <a:pt x="1318" y="457"/>
                    </a:lnTo>
                    <a:lnTo>
                      <a:pt x="1318" y="459"/>
                    </a:lnTo>
                    <a:lnTo>
                      <a:pt x="1318" y="461"/>
                    </a:lnTo>
                    <a:lnTo>
                      <a:pt x="1318" y="462"/>
                    </a:lnTo>
                    <a:lnTo>
                      <a:pt x="1318" y="464"/>
                    </a:lnTo>
                    <a:lnTo>
                      <a:pt x="1316" y="464"/>
                    </a:lnTo>
                    <a:lnTo>
                      <a:pt x="1316" y="466"/>
                    </a:lnTo>
                    <a:lnTo>
                      <a:pt x="1316" y="467"/>
                    </a:lnTo>
                    <a:lnTo>
                      <a:pt x="1315" y="469"/>
                    </a:lnTo>
                    <a:lnTo>
                      <a:pt x="1315" y="471"/>
                    </a:lnTo>
                    <a:lnTo>
                      <a:pt x="1315" y="473"/>
                    </a:lnTo>
                    <a:lnTo>
                      <a:pt x="1313" y="473"/>
                    </a:lnTo>
                    <a:lnTo>
                      <a:pt x="1315" y="473"/>
                    </a:lnTo>
                    <a:lnTo>
                      <a:pt x="1313" y="474"/>
                    </a:lnTo>
                    <a:lnTo>
                      <a:pt x="1313" y="476"/>
                    </a:lnTo>
                    <a:lnTo>
                      <a:pt x="1313" y="478"/>
                    </a:lnTo>
                    <a:lnTo>
                      <a:pt x="1311" y="478"/>
                    </a:lnTo>
                    <a:lnTo>
                      <a:pt x="1313" y="478"/>
                    </a:lnTo>
                    <a:lnTo>
                      <a:pt x="1311" y="479"/>
                    </a:lnTo>
                    <a:lnTo>
                      <a:pt x="1311" y="481"/>
                    </a:lnTo>
                    <a:lnTo>
                      <a:pt x="1311" y="483"/>
                    </a:lnTo>
                    <a:lnTo>
                      <a:pt x="1309" y="483"/>
                    </a:lnTo>
                    <a:lnTo>
                      <a:pt x="1309" y="485"/>
                    </a:lnTo>
                    <a:lnTo>
                      <a:pt x="1308" y="485"/>
                    </a:lnTo>
                    <a:lnTo>
                      <a:pt x="1308" y="486"/>
                    </a:lnTo>
                    <a:lnTo>
                      <a:pt x="1308" y="488"/>
                    </a:lnTo>
                    <a:lnTo>
                      <a:pt x="1306" y="488"/>
                    </a:lnTo>
                    <a:lnTo>
                      <a:pt x="1306" y="490"/>
                    </a:lnTo>
                    <a:lnTo>
                      <a:pt x="1306" y="491"/>
                    </a:lnTo>
                    <a:lnTo>
                      <a:pt x="1304" y="491"/>
                    </a:lnTo>
                    <a:lnTo>
                      <a:pt x="1304" y="493"/>
                    </a:lnTo>
                    <a:lnTo>
                      <a:pt x="1303" y="493"/>
                    </a:lnTo>
                    <a:lnTo>
                      <a:pt x="1303" y="495"/>
                    </a:lnTo>
                    <a:lnTo>
                      <a:pt x="1301" y="495"/>
                    </a:lnTo>
                    <a:lnTo>
                      <a:pt x="1301" y="496"/>
                    </a:lnTo>
                    <a:lnTo>
                      <a:pt x="1299" y="496"/>
                    </a:lnTo>
                    <a:lnTo>
                      <a:pt x="1299" y="498"/>
                    </a:lnTo>
                    <a:lnTo>
                      <a:pt x="1298" y="500"/>
                    </a:lnTo>
                    <a:lnTo>
                      <a:pt x="1296" y="500"/>
                    </a:lnTo>
                    <a:lnTo>
                      <a:pt x="1296" y="502"/>
                    </a:lnTo>
                    <a:lnTo>
                      <a:pt x="1294" y="502"/>
                    </a:lnTo>
                    <a:lnTo>
                      <a:pt x="1294" y="503"/>
                    </a:lnTo>
                    <a:lnTo>
                      <a:pt x="1292" y="505"/>
                    </a:lnTo>
                    <a:lnTo>
                      <a:pt x="1292" y="507"/>
                    </a:lnTo>
                    <a:lnTo>
                      <a:pt x="1291" y="507"/>
                    </a:lnTo>
                    <a:lnTo>
                      <a:pt x="1289" y="507"/>
                    </a:lnTo>
                    <a:lnTo>
                      <a:pt x="1289" y="508"/>
                    </a:lnTo>
                    <a:lnTo>
                      <a:pt x="1289" y="510"/>
                    </a:lnTo>
                    <a:lnTo>
                      <a:pt x="1287" y="510"/>
                    </a:lnTo>
                    <a:lnTo>
                      <a:pt x="1287" y="512"/>
                    </a:lnTo>
                    <a:lnTo>
                      <a:pt x="1286" y="512"/>
                    </a:lnTo>
                    <a:lnTo>
                      <a:pt x="1286" y="513"/>
                    </a:lnTo>
                    <a:lnTo>
                      <a:pt x="1284" y="513"/>
                    </a:lnTo>
                    <a:lnTo>
                      <a:pt x="1284" y="515"/>
                    </a:lnTo>
                    <a:lnTo>
                      <a:pt x="1284" y="517"/>
                    </a:lnTo>
                    <a:lnTo>
                      <a:pt x="1282" y="517"/>
                    </a:lnTo>
                    <a:lnTo>
                      <a:pt x="1282" y="519"/>
                    </a:lnTo>
                    <a:lnTo>
                      <a:pt x="1281" y="520"/>
                    </a:lnTo>
                    <a:lnTo>
                      <a:pt x="1279" y="520"/>
                    </a:lnTo>
                    <a:lnTo>
                      <a:pt x="1279" y="522"/>
                    </a:lnTo>
                    <a:lnTo>
                      <a:pt x="1279" y="524"/>
                    </a:lnTo>
                    <a:lnTo>
                      <a:pt x="1277" y="522"/>
                    </a:lnTo>
                    <a:lnTo>
                      <a:pt x="1277" y="524"/>
                    </a:lnTo>
                    <a:lnTo>
                      <a:pt x="1275" y="524"/>
                    </a:lnTo>
                    <a:lnTo>
                      <a:pt x="1275" y="525"/>
                    </a:lnTo>
                    <a:lnTo>
                      <a:pt x="1274" y="525"/>
                    </a:lnTo>
                    <a:lnTo>
                      <a:pt x="1274" y="527"/>
                    </a:lnTo>
                    <a:lnTo>
                      <a:pt x="1272" y="527"/>
                    </a:lnTo>
                    <a:lnTo>
                      <a:pt x="1272" y="529"/>
                    </a:lnTo>
                    <a:lnTo>
                      <a:pt x="1272" y="530"/>
                    </a:lnTo>
                    <a:lnTo>
                      <a:pt x="1270" y="532"/>
                    </a:lnTo>
                    <a:lnTo>
                      <a:pt x="1270" y="534"/>
                    </a:lnTo>
                    <a:lnTo>
                      <a:pt x="1269" y="534"/>
                    </a:lnTo>
                    <a:lnTo>
                      <a:pt x="1269" y="536"/>
                    </a:lnTo>
                    <a:lnTo>
                      <a:pt x="1267" y="536"/>
                    </a:lnTo>
                    <a:lnTo>
                      <a:pt x="1265" y="536"/>
                    </a:lnTo>
                    <a:lnTo>
                      <a:pt x="1264" y="537"/>
                    </a:lnTo>
                    <a:lnTo>
                      <a:pt x="1262" y="537"/>
                    </a:lnTo>
                    <a:lnTo>
                      <a:pt x="1260" y="539"/>
                    </a:lnTo>
                    <a:lnTo>
                      <a:pt x="1258" y="539"/>
                    </a:lnTo>
                    <a:lnTo>
                      <a:pt x="1258" y="541"/>
                    </a:lnTo>
                    <a:lnTo>
                      <a:pt x="1257" y="541"/>
                    </a:lnTo>
                    <a:lnTo>
                      <a:pt x="1255" y="541"/>
                    </a:lnTo>
                    <a:lnTo>
                      <a:pt x="1255" y="542"/>
                    </a:lnTo>
                    <a:lnTo>
                      <a:pt x="1253" y="542"/>
                    </a:lnTo>
                    <a:lnTo>
                      <a:pt x="1253" y="544"/>
                    </a:lnTo>
                    <a:lnTo>
                      <a:pt x="1252" y="546"/>
                    </a:lnTo>
                    <a:lnTo>
                      <a:pt x="1250" y="547"/>
                    </a:lnTo>
                    <a:lnTo>
                      <a:pt x="1248" y="549"/>
                    </a:lnTo>
                    <a:lnTo>
                      <a:pt x="1248" y="551"/>
                    </a:lnTo>
                    <a:lnTo>
                      <a:pt x="1248" y="549"/>
                    </a:lnTo>
                    <a:lnTo>
                      <a:pt x="1248" y="551"/>
                    </a:lnTo>
                    <a:lnTo>
                      <a:pt x="1247" y="551"/>
                    </a:lnTo>
                    <a:lnTo>
                      <a:pt x="1247" y="553"/>
                    </a:lnTo>
                    <a:lnTo>
                      <a:pt x="1245" y="554"/>
                    </a:lnTo>
                    <a:lnTo>
                      <a:pt x="1245" y="556"/>
                    </a:lnTo>
                    <a:lnTo>
                      <a:pt x="1243" y="556"/>
                    </a:lnTo>
                    <a:lnTo>
                      <a:pt x="1243" y="558"/>
                    </a:lnTo>
                    <a:lnTo>
                      <a:pt x="1243" y="559"/>
                    </a:lnTo>
                    <a:lnTo>
                      <a:pt x="1241" y="559"/>
                    </a:lnTo>
                    <a:lnTo>
                      <a:pt x="1241" y="561"/>
                    </a:lnTo>
                    <a:lnTo>
                      <a:pt x="1240" y="561"/>
                    </a:lnTo>
                    <a:lnTo>
                      <a:pt x="1240" y="563"/>
                    </a:lnTo>
                    <a:lnTo>
                      <a:pt x="1238" y="564"/>
                    </a:lnTo>
                    <a:lnTo>
                      <a:pt x="1238" y="566"/>
                    </a:lnTo>
                    <a:lnTo>
                      <a:pt x="1236" y="566"/>
                    </a:lnTo>
                    <a:lnTo>
                      <a:pt x="1238" y="568"/>
                    </a:lnTo>
                    <a:lnTo>
                      <a:pt x="1236" y="568"/>
                    </a:lnTo>
                    <a:lnTo>
                      <a:pt x="1236" y="570"/>
                    </a:lnTo>
                    <a:lnTo>
                      <a:pt x="1235" y="571"/>
                    </a:lnTo>
                    <a:lnTo>
                      <a:pt x="1233" y="573"/>
                    </a:lnTo>
                    <a:lnTo>
                      <a:pt x="1233" y="575"/>
                    </a:lnTo>
                    <a:lnTo>
                      <a:pt x="1233" y="576"/>
                    </a:lnTo>
                    <a:lnTo>
                      <a:pt x="1231" y="576"/>
                    </a:lnTo>
                    <a:lnTo>
                      <a:pt x="1231" y="578"/>
                    </a:lnTo>
                    <a:lnTo>
                      <a:pt x="1231" y="580"/>
                    </a:lnTo>
                    <a:lnTo>
                      <a:pt x="1230" y="581"/>
                    </a:lnTo>
                    <a:lnTo>
                      <a:pt x="1230" y="583"/>
                    </a:lnTo>
                    <a:lnTo>
                      <a:pt x="1228" y="585"/>
                    </a:lnTo>
                    <a:lnTo>
                      <a:pt x="1228" y="587"/>
                    </a:lnTo>
                    <a:lnTo>
                      <a:pt x="1226" y="588"/>
                    </a:lnTo>
                    <a:lnTo>
                      <a:pt x="1226" y="590"/>
                    </a:lnTo>
                    <a:lnTo>
                      <a:pt x="1224" y="592"/>
                    </a:lnTo>
                    <a:lnTo>
                      <a:pt x="1223" y="593"/>
                    </a:lnTo>
                    <a:lnTo>
                      <a:pt x="1223" y="595"/>
                    </a:lnTo>
                    <a:lnTo>
                      <a:pt x="1221" y="597"/>
                    </a:lnTo>
                    <a:lnTo>
                      <a:pt x="1221" y="598"/>
                    </a:lnTo>
                    <a:lnTo>
                      <a:pt x="1219" y="598"/>
                    </a:lnTo>
                    <a:lnTo>
                      <a:pt x="1219" y="600"/>
                    </a:lnTo>
                    <a:lnTo>
                      <a:pt x="1218" y="600"/>
                    </a:lnTo>
                    <a:lnTo>
                      <a:pt x="1218" y="602"/>
                    </a:lnTo>
                    <a:lnTo>
                      <a:pt x="1218" y="604"/>
                    </a:lnTo>
                    <a:lnTo>
                      <a:pt x="1216" y="604"/>
                    </a:lnTo>
                    <a:lnTo>
                      <a:pt x="1216" y="605"/>
                    </a:lnTo>
                    <a:lnTo>
                      <a:pt x="1214" y="607"/>
                    </a:lnTo>
                    <a:lnTo>
                      <a:pt x="1214" y="609"/>
                    </a:lnTo>
                    <a:lnTo>
                      <a:pt x="1213" y="609"/>
                    </a:lnTo>
                    <a:lnTo>
                      <a:pt x="1213" y="610"/>
                    </a:lnTo>
                    <a:lnTo>
                      <a:pt x="1211" y="610"/>
                    </a:lnTo>
                    <a:lnTo>
                      <a:pt x="1211" y="612"/>
                    </a:lnTo>
                    <a:lnTo>
                      <a:pt x="1209" y="612"/>
                    </a:lnTo>
                    <a:lnTo>
                      <a:pt x="1209" y="614"/>
                    </a:lnTo>
                    <a:lnTo>
                      <a:pt x="1207" y="614"/>
                    </a:lnTo>
                    <a:lnTo>
                      <a:pt x="1207" y="615"/>
                    </a:lnTo>
                    <a:lnTo>
                      <a:pt x="1206" y="615"/>
                    </a:lnTo>
                    <a:lnTo>
                      <a:pt x="1206" y="617"/>
                    </a:lnTo>
                    <a:lnTo>
                      <a:pt x="1204" y="617"/>
                    </a:lnTo>
                    <a:lnTo>
                      <a:pt x="1204" y="619"/>
                    </a:lnTo>
                    <a:lnTo>
                      <a:pt x="1202" y="619"/>
                    </a:lnTo>
                    <a:lnTo>
                      <a:pt x="1201" y="621"/>
                    </a:lnTo>
                    <a:lnTo>
                      <a:pt x="1199" y="621"/>
                    </a:lnTo>
                    <a:lnTo>
                      <a:pt x="1197" y="621"/>
                    </a:lnTo>
                    <a:lnTo>
                      <a:pt x="1199" y="619"/>
                    </a:lnTo>
                    <a:lnTo>
                      <a:pt x="1197" y="619"/>
                    </a:lnTo>
                    <a:lnTo>
                      <a:pt x="1199" y="617"/>
                    </a:lnTo>
                    <a:lnTo>
                      <a:pt x="1199" y="619"/>
                    </a:lnTo>
                    <a:lnTo>
                      <a:pt x="1199" y="617"/>
                    </a:lnTo>
                    <a:lnTo>
                      <a:pt x="1199" y="615"/>
                    </a:lnTo>
                    <a:lnTo>
                      <a:pt x="1199" y="614"/>
                    </a:lnTo>
                    <a:lnTo>
                      <a:pt x="1201" y="614"/>
                    </a:lnTo>
                    <a:lnTo>
                      <a:pt x="1201" y="612"/>
                    </a:lnTo>
                    <a:lnTo>
                      <a:pt x="1201" y="614"/>
                    </a:lnTo>
                    <a:lnTo>
                      <a:pt x="1201" y="612"/>
                    </a:lnTo>
                    <a:lnTo>
                      <a:pt x="1199" y="614"/>
                    </a:lnTo>
                    <a:lnTo>
                      <a:pt x="1199" y="612"/>
                    </a:lnTo>
                    <a:lnTo>
                      <a:pt x="1199" y="614"/>
                    </a:lnTo>
                    <a:lnTo>
                      <a:pt x="1199" y="612"/>
                    </a:lnTo>
                    <a:lnTo>
                      <a:pt x="1197" y="612"/>
                    </a:lnTo>
                    <a:lnTo>
                      <a:pt x="1197" y="610"/>
                    </a:lnTo>
                    <a:lnTo>
                      <a:pt x="1196" y="610"/>
                    </a:lnTo>
                    <a:lnTo>
                      <a:pt x="1196" y="612"/>
                    </a:lnTo>
                    <a:lnTo>
                      <a:pt x="1194" y="610"/>
                    </a:lnTo>
                    <a:lnTo>
                      <a:pt x="1194" y="609"/>
                    </a:lnTo>
                    <a:lnTo>
                      <a:pt x="1194" y="610"/>
                    </a:lnTo>
                    <a:lnTo>
                      <a:pt x="1194" y="609"/>
                    </a:lnTo>
                    <a:lnTo>
                      <a:pt x="1192" y="609"/>
                    </a:lnTo>
                    <a:lnTo>
                      <a:pt x="1192" y="607"/>
                    </a:lnTo>
                    <a:lnTo>
                      <a:pt x="1192" y="609"/>
                    </a:lnTo>
                    <a:lnTo>
                      <a:pt x="1190" y="609"/>
                    </a:lnTo>
                    <a:lnTo>
                      <a:pt x="1190" y="607"/>
                    </a:lnTo>
                    <a:lnTo>
                      <a:pt x="1190" y="609"/>
                    </a:lnTo>
                    <a:lnTo>
                      <a:pt x="1190" y="610"/>
                    </a:lnTo>
                    <a:lnTo>
                      <a:pt x="1190" y="612"/>
                    </a:lnTo>
                    <a:lnTo>
                      <a:pt x="1189" y="614"/>
                    </a:lnTo>
                    <a:lnTo>
                      <a:pt x="1189" y="615"/>
                    </a:lnTo>
                    <a:lnTo>
                      <a:pt x="1187" y="615"/>
                    </a:lnTo>
                    <a:lnTo>
                      <a:pt x="1187" y="614"/>
                    </a:lnTo>
                    <a:lnTo>
                      <a:pt x="1185" y="612"/>
                    </a:lnTo>
                    <a:lnTo>
                      <a:pt x="1185" y="610"/>
                    </a:lnTo>
                    <a:lnTo>
                      <a:pt x="1187" y="610"/>
                    </a:lnTo>
                    <a:lnTo>
                      <a:pt x="1187" y="609"/>
                    </a:lnTo>
                    <a:lnTo>
                      <a:pt x="1185" y="609"/>
                    </a:lnTo>
                    <a:lnTo>
                      <a:pt x="1187" y="609"/>
                    </a:lnTo>
                    <a:lnTo>
                      <a:pt x="1185" y="610"/>
                    </a:lnTo>
                    <a:lnTo>
                      <a:pt x="1185" y="609"/>
                    </a:lnTo>
                    <a:lnTo>
                      <a:pt x="1185" y="610"/>
                    </a:lnTo>
                    <a:lnTo>
                      <a:pt x="1184" y="612"/>
                    </a:lnTo>
                    <a:lnTo>
                      <a:pt x="1185" y="612"/>
                    </a:lnTo>
                    <a:lnTo>
                      <a:pt x="1185" y="614"/>
                    </a:lnTo>
                    <a:lnTo>
                      <a:pt x="1184" y="614"/>
                    </a:lnTo>
                    <a:lnTo>
                      <a:pt x="1185" y="614"/>
                    </a:lnTo>
                    <a:lnTo>
                      <a:pt x="1187" y="614"/>
                    </a:lnTo>
                    <a:lnTo>
                      <a:pt x="1185" y="614"/>
                    </a:lnTo>
                    <a:lnTo>
                      <a:pt x="1187" y="615"/>
                    </a:lnTo>
                    <a:lnTo>
                      <a:pt x="1189" y="615"/>
                    </a:lnTo>
                    <a:lnTo>
                      <a:pt x="1189" y="617"/>
                    </a:lnTo>
                    <a:lnTo>
                      <a:pt x="1190" y="615"/>
                    </a:lnTo>
                    <a:lnTo>
                      <a:pt x="1190" y="617"/>
                    </a:lnTo>
                    <a:lnTo>
                      <a:pt x="1189" y="617"/>
                    </a:lnTo>
                    <a:lnTo>
                      <a:pt x="1189" y="619"/>
                    </a:lnTo>
                    <a:lnTo>
                      <a:pt x="1189" y="621"/>
                    </a:lnTo>
                    <a:lnTo>
                      <a:pt x="1189" y="622"/>
                    </a:lnTo>
                    <a:lnTo>
                      <a:pt x="1190" y="622"/>
                    </a:lnTo>
                    <a:lnTo>
                      <a:pt x="1190" y="621"/>
                    </a:lnTo>
                    <a:lnTo>
                      <a:pt x="1192" y="621"/>
                    </a:lnTo>
                    <a:lnTo>
                      <a:pt x="1192" y="619"/>
                    </a:lnTo>
                    <a:lnTo>
                      <a:pt x="1192" y="617"/>
                    </a:lnTo>
                    <a:lnTo>
                      <a:pt x="1194" y="617"/>
                    </a:lnTo>
                    <a:lnTo>
                      <a:pt x="1194" y="619"/>
                    </a:lnTo>
                    <a:lnTo>
                      <a:pt x="1196" y="619"/>
                    </a:lnTo>
                    <a:lnTo>
                      <a:pt x="1194" y="621"/>
                    </a:lnTo>
                    <a:lnTo>
                      <a:pt x="1194" y="622"/>
                    </a:lnTo>
                    <a:lnTo>
                      <a:pt x="1192" y="622"/>
                    </a:lnTo>
                    <a:lnTo>
                      <a:pt x="1190" y="622"/>
                    </a:lnTo>
                    <a:lnTo>
                      <a:pt x="1190" y="624"/>
                    </a:lnTo>
                    <a:lnTo>
                      <a:pt x="1189" y="624"/>
                    </a:lnTo>
                    <a:lnTo>
                      <a:pt x="1189" y="626"/>
                    </a:lnTo>
                    <a:lnTo>
                      <a:pt x="1189" y="624"/>
                    </a:lnTo>
                    <a:lnTo>
                      <a:pt x="1187" y="624"/>
                    </a:lnTo>
                    <a:lnTo>
                      <a:pt x="1187" y="626"/>
                    </a:lnTo>
                    <a:lnTo>
                      <a:pt x="1189" y="626"/>
                    </a:lnTo>
                    <a:lnTo>
                      <a:pt x="1187" y="626"/>
                    </a:lnTo>
                    <a:lnTo>
                      <a:pt x="1187" y="627"/>
                    </a:lnTo>
                    <a:lnTo>
                      <a:pt x="1185" y="627"/>
                    </a:lnTo>
                    <a:lnTo>
                      <a:pt x="1184" y="629"/>
                    </a:lnTo>
                    <a:lnTo>
                      <a:pt x="1182" y="631"/>
                    </a:lnTo>
                    <a:lnTo>
                      <a:pt x="1182" y="632"/>
                    </a:lnTo>
                    <a:lnTo>
                      <a:pt x="1184" y="634"/>
                    </a:lnTo>
                    <a:lnTo>
                      <a:pt x="1185" y="634"/>
                    </a:lnTo>
                    <a:lnTo>
                      <a:pt x="1185" y="636"/>
                    </a:lnTo>
                    <a:lnTo>
                      <a:pt x="1185" y="638"/>
                    </a:lnTo>
                    <a:lnTo>
                      <a:pt x="1184" y="638"/>
                    </a:lnTo>
                    <a:lnTo>
                      <a:pt x="1185" y="638"/>
                    </a:lnTo>
                    <a:lnTo>
                      <a:pt x="1184" y="639"/>
                    </a:lnTo>
                    <a:lnTo>
                      <a:pt x="1184" y="641"/>
                    </a:lnTo>
                    <a:lnTo>
                      <a:pt x="1185" y="641"/>
                    </a:lnTo>
                    <a:lnTo>
                      <a:pt x="1185" y="643"/>
                    </a:lnTo>
                    <a:lnTo>
                      <a:pt x="1185" y="644"/>
                    </a:lnTo>
                    <a:lnTo>
                      <a:pt x="1184" y="644"/>
                    </a:lnTo>
                    <a:lnTo>
                      <a:pt x="1184" y="643"/>
                    </a:lnTo>
                    <a:lnTo>
                      <a:pt x="1184" y="644"/>
                    </a:lnTo>
                    <a:lnTo>
                      <a:pt x="1182" y="644"/>
                    </a:lnTo>
                    <a:lnTo>
                      <a:pt x="1182" y="646"/>
                    </a:lnTo>
                    <a:lnTo>
                      <a:pt x="1182" y="648"/>
                    </a:lnTo>
                    <a:lnTo>
                      <a:pt x="1182" y="650"/>
                    </a:lnTo>
                    <a:lnTo>
                      <a:pt x="1182" y="651"/>
                    </a:lnTo>
                    <a:lnTo>
                      <a:pt x="1180" y="651"/>
                    </a:lnTo>
                    <a:lnTo>
                      <a:pt x="1182" y="651"/>
                    </a:lnTo>
                    <a:lnTo>
                      <a:pt x="1182" y="653"/>
                    </a:lnTo>
                    <a:lnTo>
                      <a:pt x="1182" y="651"/>
                    </a:lnTo>
                    <a:lnTo>
                      <a:pt x="1184" y="651"/>
                    </a:lnTo>
                    <a:lnTo>
                      <a:pt x="1184" y="653"/>
                    </a:lnTo>
                    <a:lnTo>
                      <a:pt x="1184" y="655"/>
                    </a:lnTo>
                    <a:lnTo>
                      <a:pt x="1184" y="656"/>
                    </a:lnTo>
                    <a:lnTo>
                      <a:pt x="1184" y="658"/>
                    </a:lnTo>
                    <a:lnTo>
                      <a:pt x="1182" y="660"/>
                    </a:lnTo>
                    <a:lnTo>
                      <a:pt x="1182" y="661"/>
                    </a:lnTo>
                    <a:lnTo>
                      <a:pt x="1182" y="663"/>
                    </a:lnTo>
                    <a:lnTo>
                      <a:pt x="1182" y="665"/>
                    </a:lnTo>
                    <a:lnTo>
                      <a:pt x="1182" y="667"/>
                    </a:lnTo>
                    <a:lnTo>
                      <a:pt x="1182" y="668"/>
                    </a:lnTo>
                    <a:lnTo>
                      <a:pt x="1182" y="670"/>
                    </a:lnTo>
                    <a:lnTo>
                      <a:pt x="1180" y="670"/>
                    </a:lnTo>
                    <a:lnTo>
                      <a:pt x="1180" y="672"/>
                    </a:lnTo>
                    <a:lnTo>
                      <a:pt x="1180" y="673"/>
                    </a:lnTo>
                    <a:lnTo>
                      <a:pt x="1180" y="675"/>
                    </a:lnTo>
                    <a:lnTo>
                      <a:pt x="1180" y="677"/>
                    </a:lnTo>
                    <a:lnTo>
                      <a:pt x="1179" y="678"/>
                    </a:lnTo>
                    <a:lnTo>
                      <a:pt x="1179" y="680"/>
                    </a:lnTo>
                    <a:lnTo>
                      <a:pt x="1179" y="682"/>
                    </a:lnTo>
                    <a:lnTo>
                      <a:pt x="1180" y="682"/>
                    </a:lnTo>
                    <a:lnTo>
                      <a:pt x="1180" y="684"/>
                    </a:lnTo>
                    <a:lnTo>
                      <a:pt x="1180" y="682"/>
                    </a:lnTo>
                    <a:lnTo>
                      <a:pt x="1180" y="684"/>
                    </a:lnTo>
                    <a:lnTo>
                      <a:pt x="1180" y="685"/>
                    </a:lnTo>
                    <a:lnTo>
                      <a:pt x="1180" y="687"/>
                    </a:lnTo>
                    <a:lnTo>
                      <a:pt x="1180" y="689"/>
                    </a:lnTo>
                    <a:lnTo>
                      <a:pt x="1182" y="689"/>
                    </a:lnTo>
                    <a:lnTo>
                      <a:pt x="1182" y="690"/>
                    </a:lnTo>
                    <a:lnTo>
                      <a:pt x="1182" y="694"/>
                    </a:lnTo>
                    <a:lnTo>
                      <a:pt x="1182" y="695"/>
                    </a:lnTo>
                    <a:lnTo>
                      <a:pt x="1182" y="697"/>
                    </a:lnTo>
                    <a:lnTo>
                      <a:pt x="1182" y="699"/>
                    </a:lnTo>
                    <a:lnTo>
                      <a:pt x="1182" y="701"/>
                    </a:lnTo>
                    <a:lnTo>
                      <a:pt x="1182" y="702"/>
                    </a:lnTo>
                    <a:lnTo>
                      <a:pt x="1182" y="704"/>
                    </a:lnTo>
                    <a:lnTo>
                      <a:pt x="1184" y="706"/>
                    </a:lnTo>
                    <a:lnTo>
                      <a:pt x="1184" y="707"/>
                    </a:lnTo>
                    <a:lnTo>
                      <a:pt x="1184" y="709"/>
                    </a:lnTo>
                    <a:lnTo>
                      <a:pt x="1184" y="711"/>
                    </a:lnTo>
                    <a:lnTo>
                      <a:pt x="1184" y="712"/>
                    </a:lnTo>
                    <a:lnTo>
                      <a:pt x="1184" y="714"/>
                    </a:lnTo>
                    <a:lnTo>
                      <a:pt x="1184" y="716"/>
                    </a:lnTo>
                    <a:lnTo>
                      <a:pt x="1185" y="716"/>
                    </a:lnTo>
                    <a:lnTo>
                      <a:pt x="1185" y="718"/>
                    </a:lnTo>
                    <a:lnTo>
                      <a:pt x="1185" y="719"/>
                    </a:lnTo>
                    <a:lnTo>
                      <a:pt x="1187" y="719"/>
                    </a:lnTo>
                    <a:lnTo>
                      <a:pt x="1187" y="721"/>
                    </a:lnTo>
                    <a:lnTo>
                      <a:pt x="1185" y="721"/>
                    </a:lnTo>
                    <a:lnTo>
                      <a:pt x="1185" y="723"/>
                    </a:lnTo>
                    <a:lnTo>
                      <a:pt x="1185" y="724"/>
                    </a:lnTo>
                    <a:lnTo>
                      <a:pt x="1184" y="726"/>
                    </a:lnTo>
                    <a:lnTo>
                      <a:pt x="1184" y="728"/>
                    </a:lnTo>
                    <a:lnTo>
                      <a:pt x="1184" y="729"/>
                    </a:lnTo>
                    <a:lnTo>
                      <a:pt x="1184" y="731"/>
                    </a:lnTo>
                    <a:lnTo>
                      <a:pt x="1182" y="731"/>
                    </a:lnTo>
                    <a:lnTo>
                      <a:pt x="1182" y="733"/>
                    </a:lnTo>
                    <a:lnTo>
                      <a:pt x="1182" y="735"/>
                    </a:lnTo>
                    <a:lnTo>
                      <a:pt x="1180" y="735"/>
                    </a:lnTo>
                    <a:lnTo>
                      <a:pt x="1180" y="736"/>
                    </a:lnTo>
                    <a:lnTo>
                      <a:pt x="1182" y="736"/>
                    </a:lnTo>
                    <a:lnTo>
                      <a:pt x="1180" y="738"/>
                    </a:lnTo>
                    <a:lnTo>
                      <a:pt x="1182" y="738"/>
                    </a:lnTo>
                    <a:lnTo>
                      <a:pt x="1180" y="740"/>
                    </a:lnTo>
                    <a:lnTo>
                      <a:pt x="1180" y="741"/>
                    </a:lnTo>
                    <a:lnTo>
                      <a:pt x="1179" y="741"/>
                    </a:lnTo>
                    <a:lnTo>
                      <a:pt x="1180" y="741"/>
                    </a:lnTo>
                    <a:lnTo>
                      <a:pt x="1179" y="743"/>
                    </a:lnTo>
                    <a:lnTo>
                      <a:pt x="1179" y="745"/>
                    </a:lnTo>
                    <a:lnTo>
                      <a:pt x="1179" y="746"/>
                    </a:lnTo>
                    <a:lnTo>
                      <a:pt x="1179" y="748"/>
                    </a:lnTo>
                    <a:lnTo>
                      <a:pt x="1179" y="750"/>
                    </a:lnTo>
                    <a:lnTo>
                      <a:pt x="1177" y="750"/>
                    </a:lnTo>
                    <a:lnTo>
                      <a:pt x="1177" y="752"/>
                    </a:lnTo>
                    <a:lnTo>
                      <a:pt x="1177" y="753"/>
                    </a:lnTo>
                    <a:lnTo>
                      <a:pt x="1177" y="755"/>
                    </a:lnTo>
                    <a:lnTo>
                      <a:pt x="1177" y="757"/>
                    </a:lnTo>
                    <a:lnTo>
                      <a:pt x="1179" y="757"/>
                    </a:lnTo>
                    <a:lnTo>
                      <a:pt x="1177" y="757"/>
                    </a:lnTo>
                    <a:lnTo>
                      <a:pt x="1177" y="758"/>
                    </a:lnTo>
                    <a:lnTo>
                      <a:pt x="1177" y="760"/>
                    </a:lnTo>
                    <a:lnTo>
                      <a:pt x="1175" y="760"/>
                    </a:lnTo>
                    <a:lnTo>
                      <a:pt x="1175" y="762"/>
                    </a:lnTo>
                    <a:lnTo>
                      <a:pt x="1175" y="763"/>
                    </a:lnTo>
                    <a:lnTo>
                      <a:pt x="1175" y="765"/>
                    </a:lnTo>
                    <a:lnTo>
                      <a:pt x="1175" y="767"/>
                    </a:lnTo>
                    <a:lnTo>
                      <a:pt x="1173" y="769"/>
                    </a:lnTo>
                    <a:lnTo>
                      <a:pt x="1175" y="769"/>
                    </a:lnTo>
                    <a:lnTo>
                      <a:pt x="1173" y="770"/>
                    </a:lnTo>
                    <a:lnTo>
                      <a:pt x="1173" y="772"/>
                    </a:lnTo>
                    <a:lnTo>
                      <a:pt x="1175" y="774"/>
                    </a:lnTo>
                    <a:lnTo>
                      <a:pt x="1175" y="775"/>
                    </a:lnTo>
                    <a:lnTo>
                      <a:pt x="1175" y="777"/>
                    </a:lnTo>
                    <a:lnTo>
                      <a:pt x="1175" y="779"/>
                    </a:lnTo>
                    <a:lnTo>
                      <a:pt x="1175" y="780"/>
                    </a:lnTo>
                    <a:lnTo>
                      <a:pt x="1175" y="782"/>
                    </a:lnTo>
                    <a:lnTo>
                      <a:pt x="1175" y="784"/>
                    </a:lnTo>
                    <a:lnTo>
                      <a:pt x="1177" y="784"/>
                    </a:lnTo>
                    <a:lnTo>
                      <a:pt x="1177" y="786"/>
                    </a:lnTo>
                    <a:lnTo>
                      <a:pt x="1175" y="786"/>
                    </a:lnTo>
                    <a:lnTo>
                      <a:pt x="1175" y="787"/>
                    </a:lnTo>
                    <a:lnTo>
                      <a:pt x="1173" y="789"/>
                    </a:lnTo>
                    <a:lnTo>
                      <a:pt x="1173" y="791"/>
                    </a:lnTo>
                    <a:lnTo>
                      <a:pt x="1172" y="791"/>
                    </a:lnTo>
                    <a:lnTo>
                      <a:pt x="1172" y="792"/>
                    </a:lnTo>
                    <a:lnTo>
                      <a:pt x="1170" y="792"/>
                    </a:lnTo>
                    <a:lnTo>
                      <a:pt x="1168" y="792"/>
                    </a:lnTo>
                    <a:lnTo>
                      <a:pt x="1168" y="794"/>
                    </a:lnTo>
                    <a:lnTo>
                      <a:pt x="1167" y="794"/>
                    </a:lnTo>
                    <a:lnTo>
                      <a:pt x="1165" y="796"/>
                    </a:lnTo>
                    <a:lnTo>
                      <a:pt x="1163" y="797"/>
                    </a:lnTo>
                    <a:lnTo>
                      <a:pt x="1163" y="799"/>
                    </a:lnTo>
                    <a:lnTo>
                      <a:pt x="1162" y="801"/>
                    </a:lnTo>
                    <a:lnTo>
                      <a:pt x="1162" y="803"/>
                    </a:lnTo>
                    <a:lnTo>
                      <a:pt x="1160" y="804"/>
                    </a:lnTo>
                    <a:lnTo>
                      <a:pt x="1160" y="806"/>
                    </a:lnTo>
                    <a:lnTo>
                      <a:pt x="1160" y="808"/>
                    </a:lnTo>
                    <a:lnTo>
                      <a:pt x="1158" y="808"/>
                    </a:lnTo>
                    <a:lnTo>
                      <a:pt x="1158" y="809"/>
                    </a:lnTo>
                    <a:lnTo>
                      <a:pt x="1158" y="811"/>
                    </a:lnTo>
                    <a:lnTo>
                      <a:pt x="1158" y="813"/>
                    </a:lnTo>
                    <a:lnTo>
                      <a:pt x="1156" y="813"/>
                    </a:lnTo>
                    <a:lnTo>
                      <a:pt x="1156" y="815"/>
                    </a:lnTo>
                    <a:lnTo>
                      <a:pt x="1156" y="816"/>
                    </a:lnTo>
                    <a:lnTo>
                      <a:pt x="1156" y="818"/>
                    </a:lnTo>
                    <a:lnTo>
                      <a:pt x="1156" y="820"/>
                    </a:lnTo>
                    <a:lnTo>
                      <a:pt x="1156" y="821"/>
                    </a:lnTo>
                    <a:lnTo>
                      <a:pt x="1156" y="823"/>
                    </a:lnTo>
                    <a:lnTo>
                      <a:pt x="1156" y="825"/>
                    </a:lnTo>
                    <a:lnTo>
                      <a:pt x="1156" y="826"/>
                    </a:lnTo>
                    <a:lnTo>
                      <a:pt x="1156" y="828"/>
                    </a:lnTo>
                    <a:lnTo>
                      <a:pt x="1156" y="830"/>
                    </a:lnTo>
                    <a:lnTo>
                      <a:pt x="1156" y="832"/>
                    </a:lnTo>
                    <a:lnTo>
                      <a:pt x="1156" y="833"/>
                    </a:lnTo>
                    <a:lnTo>
                      <a:pt x="1156" y="835"/>
                    </a:lnTo>
                    <a:lnTo>
                      <a:pt x="1158" y="837"/>
                    </a:lnTo>
                    <a:lnTo>
                      <a:pt x="1158" y="838"/>
                    </a:lnTo>
                    <a:lnTo>
                      <a:pt x="1158" y="840"/>
                    </a:lnTo>
                    <a:lnTo>
                      <a:pt x="1158" y="842"/>
                    </a:lnTo>
                    <a:lnTo>
                      <a:pt x="1158" y="843"/>
                    </a:lnTo>
                    <a:lnTo>
                      <a:pt x="1158" y="845"/>
                    </a:lnTo>
                    <a:lnTo>
                      <a:pt x="1158" y="847"/>
                    </a:lnTo>
                    <a:lnTo>
                      <a:pt x="1156" y="849"/>
                    </a:lnTo>
                    <a:lnTo>
                      <a:pt x="1156" y="850"/>
                    </a:lnTo>
                    <a:lnTo>
                      <a:pt x="1156" y="852"/>
                    </a:lnTo>
                    <a:lnTo>
                      <a:pt x="1155" y="852"/>
                    </a:lnTo>
                    <a:lnTo>
                      <a:pt x="1155" y="854"/>
                    </a:lnTo>
                    <a:lnTo>
                      <a:pt x="1155" y="855"/>
                    </a:lnTo>
                    <a:lnTo>
                      <a:pt x="1153" y="855"/>
                    </a:lnTo>
                    <a:lnTo>
                      <a:pt x="1151" y="855"/>
                    </a:lnTo>
                    <a:lnTo>
                      <a:pt x="1150" y="857"/>
                    </a:lnTo>
                    <a:lnTo>
                      <a:pt x="1148" y="857"/>
                    </a:lnTo>
                    <a:lnTo>
                      <a:pt x="1148" y="859"/>
                    </a:lnTo>
                    <a:lnTo>
                      <a:pt x="1146" y="859"/>
                    </a:lnTo>
                    <a:lnTo>
                      <a:pt x="1146" y="860"/>
                    </a:lnTo>
                    <a:lnTo>
                      <a:pt x="1146" y="862"/>
                    </a:lnTo>
                    <a:lnTo>
                      <a:pt x="1145" y="862"/>
                    </a:lnTo>
                    <a:lnTo>
                      <a:pt x="1145" y="864"/>
                    </a:lnTo>
                    <a:lnTo>
                      <a:pt x="1145" y="866"/>
                    </a:lnTo>
                    <a:lnTo>
                      <a:pt x="1143" y="866"/>
                    </a:lnTo>
                    <a:lnTo>
                      <a:pt x="1143" y="867"/>
                    </a:lnTo>
                    <a:lnTo>
                      <a:pt x="1143" y="869"/>
                    </a:lnTo>
                    <a:lnTo>
                      <a:pt x="1141" y="869"/>
                    </a:lnTo>
                    <a:lnTo>
                      <a:pt x="1141" y="871"/>
                    </a:lnTo>
                    <a:lnTo>
                      <a:pt x="1141" y="872"/>
                    </a:lnTo>
                    <a:lnTo>
                      <a:pt x="1141" y="874"/>
                    </a:lnTo>
                    <a:lnTo>
                      <a:pt x="1141" y="876"/>
                    </a:lnTo>
                    <a:lnTo>
                      <a:pt x="1141" y="877"/>
                    </a:lnTo>
                    <a:lnTo>
                      <a:pt x="1139" y="877"/>
                    </a:lnTo>
                    <a:lnTo>
                      <a:pt x="1138" y="877"/>
                    </a:lnTo>
                    <a:lnTo>
                      <a:pt x="1138" y="879"/>
                    </a:lnTo>
                    <a:lnTo>
                      <a:pt x="1136" y="879"/>
                    </a:lnTo>
                    <a:lnTo>
                      <a:pt x="1138" y="879"/>
                    </a:lnTo>
                    <a:lnTo>
                      <a:pt x="1139" y="879"/>
                    </a:lnTo>
                    <a:lnTo>
                      <a:pt x="1138" y="879"/>
                    </a:lnTo>
                    <a:lnTo>
                      <a:pt x="1138" y="881"/>
                    </a:lnTo>
                    <a:lnTo>
                      <a:pt x="1138" y="883"/>
                    </a:lnTo>
                    <a:lnTo>
                      <a:pt x="1136" y="884"/>
                    </a:lnTo>
                    <a:lnTo>
                      <a:pt x="1136" y="886"/>
                    </a:lnTo>
                    <a:lnTo>
                      <a:pt x="1134" y="886"/>
                    </a:lnTo>
                    <a:lnTo>
                      <a:pt x="1134" y="888"/>
                    </a:lnTo>
                    <a:lnTo>
                      <a:pt x="1134" y="889"/>
                    </a:lnTo>
                    <a:lnTo>
                      <a:pt x="1133" y="889"/>
                    </a:lnTo>
                    <a:lnTo>
                      <a:pt x="1133" y="891"/>
                    </a:lnTo>
                    <a:lnTo>
                      <a:pt x="1133" y="889"/>
                    </a:lnTo>
                    <a:lnTo>
                      <a:pt x="1133" y="891"/>
                    </a:lnTo>
                    <a:lnTo>
                      <a:pt x="1131" y="891"/>
                    </a:lnTo>
                    <a:lnTo>
                      <a:pt x="1131" y="893"/>
                    </a:lnTo>
                    <a:lnTo>
                      <a:pt x="1129" y="893"/>
                    </a:lnTo>
                    <a:lnTo>
                      <a:pt x="1131" y="894"/>
                    </a:lnTo>
                    <a:lnTo>
                      <a:pt x="1129" y="894"/>
                    </a:lnTo>
                    <a:lnTo>
                      <a:pt x="1128" y="894"/>
                    </a:lnTo>
                    <a:lnTo>
                      <a:pt x="1129" y="896"/>
                    </a:lnTo>
                    <a:lnTo>
                      <a:pt x="1128" y="896"/>
                    </a:lnTo>
                    <a:lnTo>
                      <a:pt x="1128" y="898"/>
                    </a:lnTo>
                    <a:lnTo>
                      <a:pt x="1126" y="898"/>
                    </a:lnTo>
                    <a:lnTo>
                      <a:pt x="1126" y="896"/>
                    </a:lnTo>
                    <a:lnTo>
                      <a:pt x="1124" y="898"/>
                    </a:lnTo>
                    <a:lnTo>
                      <a:pt x="1122" y="898"/>
                    </a:lnTo>
                    <a:lnTo>
                      <a:pt x="1122" y="900"/>
                    </a:lnTo>
                    <a:lnTo>
                      <a:pt x="1121" y="900"/>
                    </a:lnTo>
                    <a:lnTo>
                      <a:pt x="1121" y="901"/>
                    </a:lnTo>
                    <a:lnTo>
                      <a:pt x="1121" y="903"/>
                    </a:lnTo>
                    <a:lnTo>
                      <a:pt x="1121" y="905"/>
                    </a:lnTo>
                    <a:lnTo>
                      <a:pt x="1119" y="905"/>
                    </a:lnTo>
                    <a:lnTo>
                      <a:pt x="1119" y="906"/>
                    </a:lnTo>
                    <a:lnTo>
                      <a:pt x="1119" y="908"/>
                    </a:lnTo>
                    <a:lnTo>
                      <a:pt x="1117" y="908"/>
                    </a:lnTo>
                    <a:lnTo>
                      <a:pt x="1117" y="910"/>
                    </a:lnTo>
                    <a:lnTo>
                      <a:pt x="1116" y="910"/>
                    </a:lnTo>
                    <a:lnTo>
                      <a:pt x="1116" y="911"/>
                    </a:lnTo>
                    <a:lnTo>
                      <a:pt x="1116" y="913"/>
                    </a:lnTo>
                    <a:lnTo>
                      <a:pt x="1116" y="915"/>
                    </a:lnTo>
                    <a:lnTo>
                      <a:pt x="1116" y="917"/>
                    </a:lnTo>
                    <a:lnTo>
                      <a:pt x="1114" y="918"/>
                    </a:lnTo>
                    <a:lnTo>
                      <a:pt x="1114" y="920"/>
                    </a:lnTo>
                    <a:lnTo>
                      <a:pt x="1112" y="920"/>
                    </a:lnTo>
                    <a:lnTo>
                      <a:pt x="1112" y="922"/>
                    </a:lnTo>
                    <a:lnTo>
                      <a:pt x="1112" y="923"/>
                    </a:lnTo>
                    <a:lnTo>
                      <a:pt x="1112" y="925"/>
                    </a:lnTo>
                    <a:lnTo>
                      <a:pt x="1114" y="925"/>
                    </a:lnTo>
                    <a:lnTo>
                      <a:pt x="1114" y="927"/>
                    </a:lnTo>
                    <a:lnTo>
                      <a:pt x="1114" y="928"/>
                    </a:lnTo>
                    <a:lnTo>
                      <a:pt x="1114" y="930"/>
                    </a:lnTo>
                    <a:lnTo>
                      <a:pt x="1114" y="932"/>
                    </a:lnTo>
                    <a:lnTo>
                      <a:pt x="1114" y="934"/>
                    </a:lnTo>
                    <a:lnTo>
                      <a:pt x="1114" y="935"/>
                    </a:lnTo>
                    <a:lnTo>
                      <a:pt x="1114" y="937"/>
                    </a:lnTo>
                    <a:lnTo>
                      <a:pt x="1116" y="937"/>
                    </a:lnTo>
                    <a:lnTo>
                      <a:pt x="1116" y="939"/>
                    </a:lnTo>
                    <a:lnTo>
                      <a:pt x="1114" y="939"/>
                    </a:lnTo>
                    <a:lnTo>
                      <a:pt x="1114" y="940"/>
                    </a:lnTo>
                    <a:lnTo>
                      <a:pt x="1112" y="940"/>
                    </a:lnTo>
                    <a:lnTo>
                      <a:pt x="1112" y="942"/>
                    </a:lnTo>
                    <a:lnTo>
                      <a:pt x="1111" y="942"/>
                    </a:lnTo>
                    <a:lnTo>
                      <a:pt x="1109" y="944"/>
                    </a:lnTo>
                    <a:lnTo>
                      <a:pt x="1107" y="944"/>
                    </a:lnTo>
                    <a:lnTo>
                      <a:pt x="1107" y="945"/>
                    </a:lnTo>
                    <a:lnTo>
                      <a:pt x="1105" y="945"/>
                    </a:lnTo>
                    <a:lnTo>
                      <a:pt x="1104" y="945"/>
                    </a:lnTo>
                    <a:lnTo>
                      <a:pt x="1102" y="945"/>
                    </a:lnTo>
                    <a:lnTo>
                      <a:pt x="1100" y="947"/>
                    </a:lnTo>
                    <a:lnTo>
                      <a:pt x="1099" y="947"/>
                    </a:lnTo>
                    <a:lnTo>
                      <a:pt x="1097" y="947"/>
                    </a:lnTo>
                    <a:lnTo>
                      <a:pt x="1095" y="949"/>
                    </a:lnTo>
                    <a:lnTo>
                      <a:pt x="1095" y="947"/>
                    </a:lnTo>
                    <a:lnTo>
                      <a:pt x="1095" y="949"/>
                    </a:lnTo>
                    <a:lnTo>
                      <a:pt x="1094" y="949"/>
                    </a:lnTo>
                    <a:lnTo>
                      <a:pt x="1092" y="951"/>
                    </a:lnTo>
                    <a:lnTo>
                      <a:pt x="1090" y="951"/>
                    </a:lnTo>
                    <a:lnTo>
                      <a:pt x="1090" y="952"/>
                    </a:lnTo>
                    <a:lnTo>
                      <a:pt x="1088" y="952"/>
                    </a:lnTo>
                    <a:lnTo>
                      <a:pt x="1088" y="954"/>
                    </a:lnTo>
                    <a:lnTo>
                      <a:pt x="1087" y="954"/>
                    </a:lnTo>
                    <a:lnTo>
                      <a:pt x="1087" y="956"/>
                    </a:lnTo>
                    <a:lnTo>
                      <a:pt x="1085" y="956"/>
                    </a:lnTo>
                    <a:lnTo>
                      <a:pt x="1085" y="957"/>
                    </a:lnTo>
                    <a:lnTo>
                      <a:pt x="1083" y="957"/>
                    </a:lnTo>
                    <a:lnTo>
                      <a:pt x="1083" y="959"/>
                    </a:lnTo>
                    <a:lnTo>
                      <a:pt x="1082" y="959"/>
                    </a:lnTo>
                    <a:lnTo>
                      <a:pt x="1082" y="961"/>
                    </a:lnTo>
                    <a:lnTo>
                      <a:pt x="1080" y="961"/>
                    </a:lnTo>
                    <a:lnTo>
                      <a:pt x="1080" y="963"/>
                    </a:lnTo>
                    <a:lnTo>
                      <a:pt x="1080" y="964"/>
                    </a:lnTo>
                    <a:lnTo>
                      <a:pt x="1080" y="966"/>
                    </a:lnTo>
                    <a:lnTo>
                      <a:pt x="1082" y="966"/>
                    </a:lnTo>
                    <a:lnTo>
                      <a:pt x="1082" y="968"/>
                    </a:lnTo>
                    <a:lnTo>
                      <a:pt x="1083" y="968"/>
                    </a:lnTo>
                    <a:lnTo>
                      <a:pt x="1085" y="966"/>
                    </a:lnTo>
                    <a:lnTo>
                      <a:pt x="1085" y="968"/>
                    </a:lnTo>
                    <a:lnTo>
                      <a:pt x="1083" y="968"/>
                    </a:lnTo>
                    <a:lnTo>
                      <a:pt x="1085" y="968"/>
                    </a:lnTo>
                    <a:lnTo>
                      <a:pt x="1083" y="968"/>
                    </a:lnTo>
                    <a:lnTo>
                      <a:pt x="1083" y="969"/>
                    </a:lnTo>
                    <a:lnTo>
                      <a:pt x="1082" y="969"/>
                    </a:lnTo>
                    <a:lnTo>
                      <a:pt x="1082" y="971"/>
                    </a:lnTo>
                    <a:lnTo>
                      <a:pt x="1080" y="971"/>
                    </a:lnTo>
                    <a:lnTo>
                      <a:pt x="1082" y="971"/>
                    </a:lnTo>
                    <a:lnTo>
                      <a:pt x="1080" y="973"/>
                    </a:lnTo>
                    <a:lnTo>
                      <a:pt x="1078" y="973"/>
                    </a:lnTo>
                    <a:lnTo>
                      <a:pt x="1080" y="974"/>
                    </a:lnTo>
                    <a:lnTo>
                      <a:pt x="1080" y="976"/>
                    </a:lnTo>
                    <a:lnTo>
                      <a:pt x="1078" y="974"/>
                    </a:lnTo>
                    <a:lnTo>
                      <a:pt x="1077" y="974"/>
                    </a:lnTo>
                    <a:lnTo>
                      <a:pt x="1075" y="974"/>
                    </a:lnTo>
                    <a:lnTo>
                      <a:pt x="1073" y="974"/>
                    </a:lnTo>
                    <a:lnTo>
                      <a:pt x="1071" y="974"/>
                    </a:lnTo>
                    <a:lnTo>
                      <a:pt x="1070" y="974"/>
                    </a:lnTo>
                    <a:lnTo>
                      <a:pt x="1068" y="974"/>
                    </a:lnTo>
                    <a:lnTo>
                      <a:pt x="1066" y="974"/>
                    </a:lnTo>
                    <a:lnTo>
                      <a:pt x="1065" y="974"/>
                    </a:lnTo>
                    <a:lnTo>
                      <a:pt x="1063" y="974"/>
                    </a:lnTo>
                    <a:lnTo>
                      <a:pt x="1061" y="974"/>
                    </a:lnTo>
                    <a:lnTo>
                      <a:pt x="1060" y="974"/>
                    </a:lnTo>
                    <a:lnTo>
                      <a:pt x="1058" y="974"/>
                    </a:lnTo>
                    <a:lnTo>
                      <a:pt x="1056" y="974"/>
                    </a:lnTo>
                    <a:lnTo>
                      <a:pt x="1054" y="974"/>
                    </a:lnTo>
                    <a:lnTo>
                      <a:pt x="1053" y="974"/>
                    </a:lnTo>
                    <a:lnTo>
                      <a:pt x="1051" y="974"/>
                    </a:lnTo>
                    <a:lnTo>
                      <a:pt x="1049" y="974"/>
                    </a:lnTo>
                    <a:lnTo>
                      <a:pt x="1049" y="976"/>
                    </a:lnTo>
                    <a:lnTo>
                      <a:pt x="1048" y="976"/>
                    </a:lnTo>
                    <a:lnTo>
                      <a:pt x="1046" y="974"/>
                    </a:lnTo>
                    <a:lnTo>
                      <a:pt x="1046" y="976"/>
                    </a:lnTo>
                    <a:lnTo>
                      <a:pt x="1044" y="976"/>
                    </a:lnTo>
                    <a:lnTo>
                      <a:pt x="1044" y="974"/>
                    </a:lnTo>
                    <a:lnTo>
                      <a:pt x="1043" y="974"/>
                    </a:lnTo>
                    <a:lnTo>
                      <a:pt x="1043" y="973"/>
                    </a:lnTo>
                    <a:lnTo>
                      <a:pt x="1043" y="974"/>
                    </a:lnTo>
                    <a:lnTo>
                      <a:pt x="1043" y="973"/>
                    </a:lnTo>
                    <a:lnTo>
                      <a:pt x="1043" y="971"/>
                    </a:lnTo>
                    <a:lnTo>
                      <a:pt x="1043" y="969"/>
                    </a:lnTo>
                    <a:lnTo>
                      <a:pt x="1044" y="969"/>
                    </a:lnTo>
                    <a:lnTo>
                      <a:pt x="1044" y="968"/>
                    </a:lnTo>
                    <a:lnTo>
                      <a:pt x="1046" y="968"/>
                    </a:lnTo>
                    <a:lnTo>
                      <a:pt x="1046" y="966"/>
                    </a:lnTo>
                    <a:lnTo>
                      <a:pt x="1044" y="964"/>
                    </a:lnTo>
                    <a:lnTo>
                      <a:pt x="1043" y="964"/>
                    </a:lnTo>
                    <a:lnTo>
                      <a:pt x="1043" y="966"/>
                    </a:lnTo>
                    <a:lnTo>
                      <a:pt x="1041" y="966"/>
                    </a:lnTo>
                    <a:lnTo>
                      <a:pt x="1039" y="966"/>
                    </a:lnTo>
                    <a:lnTo>
                      <a:pt x="1039" y="968"/>
                    </a:lnTo>
                    <a:lnTo>
                      <a:pt x="1039" y="966"/>
                    </a:lnTo>
                    <a:lnTo>
                      <a:pt x="1037" y="968"/>
                    </a:lnTo>
                    <a:lnTo>
                      <a:pt x="1037" y="969"/>
                    </a:lnTo>
                    <a:lnTo>
                      <a:pt x="1037" y="971"/>
                    </a:lnTo>
                    <a:lnTo>
                      <a:pt x="1039" y="971"/>
                    </a:lnTo>
                    <a:lnTo>
                      <a:pt x="1039" y="973"/>
                    </a:lnTo>
                    <a:lnTo>
                      <a:pt x="1041" y="973"/>
                    </a:lnTo>
                    <a:lnTo>
                      <a:pt x="1041" y="974"/>
                    </a:lnTo>
                    <a:lnTo>
                      <a:pt x="1041" y="976"/>
                    </a:lnTo>
                    <a:lnTo>
                      <a:pt x="1039" y="976"/>
                    </a:lnTo>
                    <a:lnTo>
                      <a:pt x="1037" y="976"/>
                    </a:lnTo>
                    <a:lnTo>
                      <a:pt x="1036" y="978"/>
                    </a:lnTo>
                    <a:lnTo>
                      <a:pt x="1036" y="976"/>
                    </a:lnTo>
                    <a:lnTo>
                      <a:pt x="1034" y="976"/>
                    </a:lnTo>
                    <a:lnTo>
                      <a:pt x="1032" y="976"/>
                    </a:lnTo>
                    <a:lnTo>
                      <a:pt x="1032" y="978"/>
                    </a:lnTo>
                    <a:lnTo>
                      <a:pt x="1031" y="978"/>
                    </a:lnTo>
                    <a:lnTo>
                      <a:pt x="1029" y="978"/>
                    </a:lnTo>
                    <a:lnTo>
                      <a:pt x="1027" y="978"/>
                    </a:lnTo>
                    <a:lnTo>
                      <a:pt x="1027" y="980"/>
                    </a:lnTo>
                    <a:lnTo>
                      <a:pt x="1027" y="978"/>
                    </a:lnTo>
                    <a:lnTo>
                      <a:pt x="1026" y="978"/>
                    </a:lnTo>
                    <a:lnTo>
                      <a:pt x="1024" y="978"/>
                    </a:lnTo>
                    <a:lnTo>
                      <a:pt x="1022" y="978"/>
                    </a:lnTo>
                    <a:lnTo>
                      <a:pt x="1020" y="978"/>
                    </a:lnTo>
                    <a:lnTo>
                      <a:pt x="1020" y="980"/>
                    </a:lnTo>
                    <a:lnTo>
                      <a:pt x="1019" y="980"/>
                    </a:lnTo>
                    <a:lnTo>
                      <a:pt x="1017" y="980"/>
                    </a:lnTo>
                    <a:lnTo>
                      <a:pt x="1015" y="980"/>
                    </a:lnTo>
                    <a:lnTo>
                      <a:pt x="1014" y="980"/>
                    </a:lnTo>
                    <a:lnTo>
                      <a:pt x="1012" y="980"/>
                    </a:lnTo>
                    <a:lnTo>
                      <a:pt x="1014" y="978"/>
                    </a:lnTo>
                    <a:lnTo>
                      <a:pt x="1015" y="978"/>
                    </a:lnTo>
                    <a:lnTo>
                      <a:pt x="1015" y="980"/>
                    </a:lnTo>
                    <a:lnTo>
                      <a:pt x="1017" y="980"/>
                    </a:lnTo>
                    <a:lnTo>
                      <a:pt x="1017" y="978"/>
                    </a:lnTo>
                    <a:lnTo>
                      <a:pt x="1015" y="978"/>
                    </a:lnTo>
                    <a:lnTo>
                      <a:pt x="1017" y="978"/>
                    </a:lnTo>
                    <a:lnTo>
                      <a:pt x="1019" y="978"/>
                    </a:lnTo>
                    <a:lnTo>
                      <a:pt x="1020" y="978"/>
                    </a:lnTo>
                    <a:lnTo>
                      <a:pt x="1022" y="978"/>
                    </a:lnTo>
                    <a:lnTo>
                      <a:pt x="1024" y="978"/>
                    </a:lnTo>
                    <a:lnTo>
                      <a:pt x="1026" y="978"/>
                    </a:lnTo>
                    <a:lnTo>
                      <a:pt x="1026" y="976"/>
                    </a:lnTo>
                    <a:lnTo>
                      <a:pt x="1024" y="976"/>
                    </a:lnTo>
                    <a:lnTo>
                      <a:pt x="1022" y="976"/>
                    </a:lnTo>
                    <a:lnTo>
                      <a:pt x="1022" y="974"/>
                    </a:lnTo>
                    <a:lnTo>
                      <a:pt x="1020" y="974"/>
                    </a:lnTo>
                    <a:lnTo>
                      <a:pt x="1020" y="973"/>
                    </a:lnTo>
                    <a:lnTo>
                      <a:pt x="1020" y="974"/>
                    </a:lnTo>
                    <a:lnTo>
                      <a:pt x="1020" y="973"/>
                    </a:lnTo>
                    <a:lnTo>
                      <a:pt x="1019" y="973"/>
                    </a:lnTo>
                    <a:lnTo>
                      <a:pt x="1019" y="974"/>
                    </a:lnTo>
                    <a:lnTo>
                      <a:pt x="1017" y="973"/>
                    </a:lnTo>
                    <a:lnTo>
                      <a:pt x="1019" y="973"/>
                    </a:lnTo>
                    <a:lnTo>
                      <a:pt x="1017" y="973"/>
                    </a:lnTo>
                    <a:lnTo>
                      <a:pt x="1015" y="974"/>
                    </a:lnTo>
                    <a:lnTo>
                      <a:pt x="1014" y="974"/>
                    </a:lnTo>
                    <a:lnTo>
                      <a:pt x="1012" y="974"/>
                    </a:lnTo>
                    <a:lnTo>
                      <a:pt x="1012" y="976"/>
                    </a:lnTo>
                    <a:lnTo>
                      <a:pt x="1010" y="976"/>
                    </a:lnTo>
                    <a:lnTo>
                      <a:pt x="1012" y="974"/>
                    </a:lnTo>
                    <a:lnTo>
                      <a:pt x="1010" y="974"/>
                    </a:lnTo>
                    <a:lnTo>
                      <a:pt x="1010" y="976"/>
                    </a:lnTo>
                    <a:lnTo>
                      <a:pt x="1009" y="978"/>
                    </a:lnTo>
                    <a:lnTo>
                      <a:pt x="1007" y="978"/>
                    </a:lnTo>
                    <a:lnTo>
                      <a:pt x="1005" y="978"/>
                    </a:lnTo>
                    <a:lnTo>
                      <a:pt x="1005" y="976"/>
                    </a:lnTo>
                    <a:lnTo>
                      <a:pt x="1003" y="976"/>
                    </a:lnTo>
                    <a:lnTo>
                      <a:pt x="1003" y="978"/>
                    </a:lnTo>
                    <a:lnTo>
                      <a:pt x="1002" y="976"/>
                    </a:lnTo>
                    <a:lnTo>
                      <a:pt x="1002" y="978"/>
                    </a:lnTo>
                    <a:lnTo>
                      <a:pt x="1000" y="978"/>
                    </a:lnTo>
                    <a:lnTo>
                      <a:pt x="1000" y="976"/>
                    </a:lnTo>
                    <a:lnTo>
                      <a:pt x="1002" y="976"/>
                    </a:lnTo>
                    <a:lnTo>
                      <a:pt x="1002" y="974"/>
                    </a:lnTo>
                    <a:lnTo>
                      <a:pt x="1003" y="974"/>
                    </a:lnTo>
                    <a:lnTo>
                      <a:pt x="1002" y="974"/>
                    </a:lnTo>
                    <a:lnTo>
                      <a:pt x="1000" y="974"/>
                    </a:lnTo>
                    <a:lnTo>
                      <a:pt x="1002" y="974"/>
                    </a:lnTo>
                    <a:lnTo>
                      <a:pt x="1000" y="974"/>
                    </a:lnTo>
                    <a:lnTo>
                      <a:pt x="1000" y="976"/>
                    </a:lnTo>
                    <a:lnTo>
                      <a:pt x="1000" y="974"/>
                    </a:lnTo>
                    <a:lnTo>
                      <a:pt x="998" y="974"/>
                    </a:lnTo>
                    <a:lnTo>
                      <a:pt x="998" y="976"/>
                    </a:lnTo>
                    <a:lnTo>
                      <a:pt x="998" y="978"/>
                    </a:lnTo>
                    <a:lnTo>
                      <a:pt x="997" y="976"/>
                    </a:lnTo>
                    <a:lnTo>
                      <a:pt x="997" y="978"/>
                    </a:lnTo>
                    <a:lnTo>
                      <a:pt x="995" y="978"/>
                    </a:lnTo>
                    <a:lnTo>
                      <a:pt x="993" y="978"/>
                    </a:lnTo>
                    <a:lnTo>
                      <a:pt x="993" y="980"/>
                    </a:lnTo>
                    <a:lnTo>
                      <a:pt x="993" y="978"/>
                    </a:lnTo>
                    <a:lnTo>
                      <a:pt x="992" y="978"/>
                    </a:lnTo>
                    <a:lnTo>
                      <a:pt x="990" y="978"/>
                    </a:lnTo>
                    <a:lnTo>
                      <a:pt x="990" y="980"/>
                    </a:lnTo>
                    <a:lnTo>
                      <a:pt x="990" y="981"/>
                    </a:lnTo>
                    <a:lnTo>
                      <a:pt x="988" y="983"/>
                    </a:lnTo>
                    <a:lnTo>
                      <a:pt x="990" y="983"/>
                    </a:lnTo>
                    <a:lnTo>
                      <a:pt x="988" y="983"/>
                    </a:lnTo>
                    <a:lnTo>
                      <a:pt x="988" y="985"/>
                    </a:lnTo>
                    <a:lnTo>
                      <a:pt x="990" y="985"/>
                    </a:lnTo>
                    <a:lnTo>
                      <a:pt x="992" y="983"/>
                    </a:lnTo>
                    <a:lnTo>
                      <a:pt x="992" y="985"/>
                    </a:lnTo>
                    <a:lnTo>
                      <a:pt x="990" y="985"/>
                    </a:lnTo>
                    <a:lnTo>
                      <a:pt x="990" y="986"/>
                    </a:lnTo>
                    <a:lnTo>
                      <a:pt x="990" y="985"/>
                    </a:lnTo>
                    <a:lnTo>
                      <a:pt x="992" y="985"/>
                    </a:lnTo>
                    <a:lnTo>
                      <a:pt x="992" y="986"/>
                    </a:lnTo>
                    <a:lnTo>
                      <a:pt x="990" y="986"/>
                    </a:lnTo>
                    <a:lnTo>
                      <a:pt x="992" y="988"/>
                    </a:lnTo>
                    <a:lnTo>
                      <a:pt x="992" y="986"/>
                    </a:lnTo>
                    <a:lnTo>
                      <a:pt x="993" y="985"/>
                    </a:lnTo>
                    <a:lnTo>
                      <a:pt x="993" y="986"/>
                    </a:lnTo>
                    <a:lnTo>
                      <a:pt x="995" y="986"/>
                    </a:lnTo>
                    <a:lnTo>
                      <a:pt x="995" y="988"/>
                    </a:lnTo>
                    <a:lnTo>
                      <a:pt x="995" y="986"/>
                    </a:lnTo>
                    <a:lnTo>
                      <a:pt x="995" y="988"/>
                    </a:lnTo>
                    <a:lnTo>
                      <a:pt x="993" y="988"/>
                    </a:lnTo>
                    <a:lnTo>
                      <a:pt x="993" y="990"/>
                    </a:lnTo>
                    <a:lnTo>
                      <a:pt x="992" y="990"/>
                    </a:lnTo>
                    <a:lnTo>
                      <a:pt x="992" y="988"/>
                    </a:lnTo>
                    <a:lnTo>
                      <a:pt x="992" y="990"/>
                    </a:lnTo>
                    <a:lnTo>
                      <a:pt x="992" y="988"/>
                    </a:lnTo>
                    <a:lnTo>
                      <a:pt x="990" y="990"/>
                    </a:lnTo>
                    <a:lnTo>
                      <a:pt x="990" y="988"/>
                    </a:lnTo>
                    <a:lnTo>
                      <a:pt x="990" y="990"/>
                    </a:lnTo>
                    <a:lnTo>
                      <a:pt x="990" y="988"/>
                    </a:lnTo>
                    <a:lnTo>
                      <a:pt x="988" y="990"/>
                    </a:lnTo>
                    <a:lnTo>
                      <a:pt x="986" y="990"/>
                    </a:lnTo>
                    <a:lnTo>
                      <a:pt x="985" y="990"/>
                    </a:lnTo>
                    <a:lnTo>
                      <a:pt x="985" y="991"/>
                    </a:lnTo>
                    <a:lnTo>
                      <a:pt x="985" y="990"/>
                    </a:lnTo>
                    <a:lnTo>
                      <a:pt x="983" y="990"/>
                    </a:lnTo>
                    <a:lnTo>
                      <a:pt x="981" y="988"/>
                    </a:lnTo>
                    <a:lnTo>
                      <a:pt x="981" y="990"/>
                    </a:lnTo>
                    <a:lnTo>
                      <a:pt x="980" y="990"/>
                    </a:lnTo>
                    <a:lnTo>
                      <a:pt x="980" y="991"/>
                    </a:lnTo>
                    <a:lnTo>
                      <a:pt x="978" y="991"/>
                    </a:lnTo>
                    <a:lnTo>
                      <a:pt x="976" y="991"/>
                    </a:lnTo>
                    <a:lnTo>
                      <a:pt x="976" y="993"/>
                    </a:lnTo>
                    <a:lnTo>
                      <a:pt x="978" y="993"/>
                    </a:lnTo>
                    <a:lnTo>
                      <a:pt x="976" y="993"/>
                    </a:lnTo>
                    <a:lnTo>
                      <a:pt x="976" y="995"/>
                    </a:lnTo>
                    <a:lnTo>
                      <a:pt x="975" y="995"/>
                    </a:lnTo>
                    <a:lnTo>
                      <a:pt x="975" y="997"/>
                    </a:lnTo>
                    <a:lnTo>
                      <a:pt x="975" y="995"/>
                    </a:lnTo>
                    <a:lnTo>
                      <a:pt x="973" y="995"/>
                    </a:lnTo>
                    <a:lnTo>
                      <a:pt x="973" y="997"/>
                    </a:lnTo>
                    <a:lnTo>
                      <a:pt x="973" y="995"/>
                    </a:lnTo>
                    <a:lnTo>
                      <a:pt x="971" y="995"/>
                    </a:lnTo>
                    <a:lnTo>
                      <a:pt x="971" y="997"/>
                    </a:lnTo>
                    <a:lnTo>
                      <a:pt x="971" y="998"/>
                    </a:lnTo>
                    <a:lnTo>
                      <a:pt x="969" y="998"/>
                    </a:lnTo>
                    <a:lnTo>
                      <a:pt x="969" y="997"/>
                    </a:lnTo>
                    <a:lnTo>
                      <a:pt x="968" y="998"/>
                    </a:lnTo>
                    <a:lnTo>
                      <a:pt x="968" y="1000"/>
                    </a:lnTo>
                    <a:lnTo>
                      <a:pt x="966" y="1000"/>
                    </a:lnTo>
                    <a:lnTo>
                      <a:pt x="964" y="1000"/>
                    </a:lnTo>
                    <a:lnTo>
                      <a:pt x="964" y="1002"/>
                    </a:lnTo>
                    <a:lnTo>
                      <a:pt x="964" y="1003"/>
                    </a:lnTo>
                    <a:lnTo>
                      <a:pt x="966" y="1003"/>
                    </a:lnTo>
                    <a:lnTo>
                      <a:pt x="964" y="1003"/>
                    </a:lnTo>
                    <a:lnTo>
                      <a:pt x="966" y="1005"/>
                    </a:lnTo>
                    <a:lnTo>
                      <a:pt x="966" y="1007"/>
                    </a:lnTo>
                    <a:lnTo>
                      <a:pt x="964" y="1007"/>
                    </a:lnTo>
                    <a:lnTo>
                      <a:pt x="963" y="1007"/>
                    </a:lnTo>
                    <a:lnTo>
                      <a:pt x="961" y="1007"/>
                    </a:lnTo>
                    <a:lnTo>
                      <a:pt x="959" y="1005"/>
                    </a:lnTo>
                    <a:lnTo>
                      <a:pt x="958" y="1005"/>
                    </a:lnTo>
                    <a:lnTo>
                      <a:pt x="958" y="1007"/>
                    </a:lnTo>
                    <a:lnTo>
                      <a:pt x="958" y="1005"/>
                    </a:lnTo>
                    <a:lnTo>
                      <a:pt x="956" y="1005"/>
                    </a:lnTo>
                    <a:lnTo>
                      <a:pt x="954" y="1005"/>
                    </a:lnTo>
                    <a:lnTo>
                      <a:pt x="952" y="1005"/>
                    </a:lnTo>
                    <a:lnTo>
                      <a:pt x="951" y="1003"/>
                    </a:lnTo>
                    <a:lnTo>
                      <a:pt x="951" y="1005"/>
                    </a:lnTo>
                    <a:lnTo>
                      <a:pt x="949" y="1005"/>
                    </a:lnTo>
                    <a:lnTo>
                      <a:pt x="947" y="1005"/>
                    </a:lnTo>
                    <a:lnTo>
                      <a:pt x="946" y="1005"/>
                    </a:lnTo>
                    <a:lnTo>
                      <a:pt x="944" y="1007"/>
                    </a:lnTo>
                    <a:lnTo>
                      <a:pt x="942" y="1007"/>
                    </a:lnTo>
                    <a:lnTo>
                      <a:pt x="941" y="1007"/>
                    </a:lnTo>
                    <a:lnTo>
                      <a:pt x="941" y="1008"/>
                    </a:lnTo>
                    <a:lnTo>
                      <a:pt x="941" y="1010"/>
                    </a:lnTo>
                    <a:lnTo>
                      <a:pt x="939" y="1010"/>
                    </a:lnTo>
                    <a:lnTo>
                      <a:pt x="941" y="1012"/>
                    </a:lnTo>
                    <a:lnTo>
                      <a:pt x="939" y="1012"/>
                    </a:lnTo>
                    <a:lnTo>
                      <a:pt x="939" y="1014"/>
                    </a:lnTo>
                    <a:lnTo>
                      <a:pt x="939" y="1012"/>
                    </a:lnTo>
                    <a:lnTo>
                      <a:pt x="937" y="1014"/>
                    </a:lnTo>
                    <a:lnTo>
                      <a:pt x="935" y="1014"/>
                    </a:lnTo>
                    <a:lnTo>
                      <a:pt x="935" y="1015"/>
                    </a:lnTo>
                    <a:lnTo>
                      <a:pt x="935" y="1014"/>
                    </a:lnTo>
                    <a:lnTo>
                      <a:pt x="934" y="1014"/>
                    </a:lnTo>
                    <a:lnTo>
                      <a:pt x="935" y="1014"/>
                    </a:lnTo>
                    <a:lnTo>
                      <a:pt x="934" y="1012"/>
                    </a:lnTo>
                    <a:lnTo>
                      <a:pt x="932" y="1012"/>
                    </a:lnTo>
                    <a:lnTo>
                      <a:pt x="932" y="1014"/>
                    </a:lnTo>
                    <a:lnTo>
                      <a:pt x="932" y="1015"/>
                    </a:lnTo>
                    <a:lnTo>
                      <a:pt x="932" y="1014"/>
                    </a:lnTo>
                    <a:lnTo>
                      <a:pt x="930" y="1014"/>
                    </a:lnTo>
                    <a:lnTo>
                      <a:pt x="929" y="1015"/>
                    </a:lnTo>
                    <a:lnTo>
                      <a:pt x="927" y="1015"/>
                    </a:lnTo>
                    <a:lnTo>
                      <a:pt x="925" y="1017"/>
                    </a:lnTo>
                    <a:lnTo>
                      <a:pt x="924" y="1017"/>
                    </a:lnTo>
                    <a:lnTo>
                      <a:pt x="922" y="1017"/>
                    </a:lnTo>
                    <a:lnTo>
                      <a:pt x="922" y="1019"/>
                    </a:lnTo>
                    <a:lnTo>
                      <a:pt x="920" y="1019"/>
                    </a:lnTo>
                    <a:lnTo>
                      <a:pt x="920" y="1020"/>
                    </a:lnTo>
                    <a:lnTo>
                      <a:pt x="918" y="1020"/>
                    </a:lnTo>
                    <a:lnTo>
                      <a:pt x="917" y="1020"/>
                    </a:lnTo>
                    <a:lnTo>
                      <a:pt x="917" y="1022"/>
                    </a:lnTo>
                    <a:lnTo>
                      <a:pt x="915" y="1022"/>
                    </a:lnTo>
                    <a:lnTo>
                      <a:pt x="913" y="1024"/>
                    </a:lnTo>
                    <a:lnTo>
                      <a:pt x="912" y="1025"/>
                    </a:lnTo>
                    <a:lnTo>
                      <a:pt x="912" y="1027"/>
                    </a:lnTo>
                    <a:lnTo>
                      <a:pt x="912" y="1029"/>
                    </a:lnTo>
                    <a:lnTo>
                      <a:pt x="910" y="1029"/>
                    </a:lnTo>
                    <a:lnTo>
                      <a:pt x="908" y="1031"/>
                    </a:lnTo>
                    <a:lnTo>
                      <a:pt x="907" y="1032"/>
                    </a:lnTo>
                    <a:lnTo>
                      <a:pt x="905" y="1032"/>
                    </a:lnTo>
                    <a:lnTo>
                      <a:pt x="905" y="1034"/>
                    </a:lnTo>
                    <a:lnTo>
                      <a:pt x="903" y="1034"/>
                    </a:lnTo>
                    <a:lnTo>
                      <a:pt x="901" y="1036"/>
                    </a:lnTo>
                    <a:lnTo>
                      <a:pt x="900" y="1036"/>
                    </a:lnTo>
                    <a:lnTo>
                      <a:pt x="900" y="1037"/>
                    </a:lnTo>
                    <a:lnTo>
                      <a:pt x="898" y="1037"/>
                    </a:lnTo>
                    <a:lnTo>
                      <a:pt x="896" y="1039"/>
                    </a:lnTo>
                    <a:lnTo>
                      <a:pt x="895" y="1039"/>
                    </a:lnTo>
                    <a:lnTo>
                      <a:pt x="895" y="1041"/>
                    </a:lnTo>
                    <a:lnTo>
                      <a:pt x="893" y="1041"/>
                    </a:lnTo>
                    <a:lnTo>
                      <a:pt x="891" y="1042"/>
                    </a:lnTo>
                    <a:lnTo>
                      <a:pt x="890" y="1042"/>
                    </a:lnTo>
                    <a:lnTo>
                      <a:pt x="890" y="1044"/>
                    </a:lnTo>
                    <a:lnTo>
                      <a:pt x="888" y="1044"/>
                    </a:lnTo>
                    <a:lnTo>
                      <a:pt x="888" y="1046"/>
                    </a:lnTo>
                    <a:lnTo>
                      <a:pt x="886" y="1046"/>
                    </a:lnTo>
                    <a:lnTo>
                      <a:pt x="884" y="1048"/>
                    </a:lnTo>
                    <a:lnTo>
                      <a:pt x="884" y="1049"/>
                    </a:lnTo>
                    <a:lnTo>
                      <a:pt x="883" y="1049"/>
                    </a:lnTo>
                    <a:lnTo>
                      <a:pt x="883" y="1051"/>
                    </a:lnTo>
                    <a:lnTo>
                      <a:pt x="881" y="1051"/>
                    </a:lnTo>
                    <a:lnTo>
                      <a:pt x="881" y="1053"/>
                    </a:lnTo>
                    <a:lnTo>
                      <a:pt x="881" y="1054"/>
                    </a:lnTo>
                    <a:lnTo>
                      <a:pt x="881" y="1056"/>
                    </a:lnTo>
                    <a:lnTo>
                      <a:pt x="879" y="1056"/>
                    </a:lnTo>
                    <a:lnTo>
                      <a:pt x="879" y="1058"/>
                    </a:lnTo>
                    <a:lnTo>
                      <a:pt x="878" y="1058"/>
                    </a:lnTo>
                    <a:lnTo>
                      <a:pt x="878" y="1059"/>
                    </a:lnTo>
                    <a:lnTo>
                      <a:pt x="876" y="1059"/>
                    </a:lnTo>
                    <a:lnTo>
                      <a:pt x="876" y="1061"/>
                    </a:lnTo>
                    <a:lnTo>
                      <a:pt x="874" y="1061"/>
                    </a:lnTo>
                    <a:lnTo>
                      <a:pt x="874" y="1063"/>
                    </a:lnTo>
                    <a:lnTo>
                      <a:pt x="873" y="1063"/>
                    </a:lnTo>
                    <a:lnTo>
                      <a:pt x="873" y="1065"/>
                    </a:lnTo>
                    <a:lnTo>
                      <a:pt x="871" y="1065"/>
                    </a:lnTo>
                    <a:lnTo>
                      <a:pt x="871" y="1066"/>
                    </a:lnTo>
                    <a:lnTo>
                      <a:pt x="871" y="1068"/>
                    </a:lnTo>
                    <a:lnTo>
                      <a:pt x="869" y="1068"/>
                    </a:lnTo>
                    <a:lnTo>
                      <a:pt x="867" y="1068"/>
                    </a:lnTo>
                    <a:lnTo>
                      <a:pt x="867" y="1070"/>
                    </a:lnTo>
                    <a:lnTo>
                      <a:pt x="867" y="1071"/>
                    </a:lnTo>
                    <a:lnTo>
                      <a:pt x="866" y="1071"/>
                    </a:lnTo>
                    <a:lnTo>
                      <a:pt x="866" y="1073"/>
                    </a:lnTo>
                    <a:lnTo>
                      <a:pt x="864" y="1073"/>
                    </a:lnTo>
                    <a:lnTo>
                      <a:pt x="862" y="1075"/>
                    </a:lnTo>
                    <a:lnTo>
                      <a:pt x="862" y="1076"/>
                    </a:lnTo>
                    <a:lnTo>
                      <a:pt x="861" y="1078"/>
                    </a:lnTo>
                    <a:lnTo>
                      <a:pt x="861" y="1080"/>
                    </a:lnTo>
                    <a:lnTo>
                      <a:pt x="859" y="1080"/>
                    </a:lnTo>
                    <a:lnTo>
                      <a:pt x="861" y="1082"/>
                    </a:lnTo>
                    <a:lnTo>
                      <a:pt x="859" y="1082"/>
                    </a:lnTo>
                    <a:lnTo>
                      <a:pt x="859" y="1083"/>
                    </a:lnTo>
                    <a:lnTo>
                      <a:pt x="859" y="1085"/>
                    </a:lnTo>
                    <a:lnTo>
                      <a:pt x="857" y="1085"/>
                    </a:lnTo>
                    <a:lnTo>
                      <a:pt x="857" y="1087"/>
                    </a:lnTo>
                    <a:lnTo>
                      <a:pt x="857" y="1088"/>
                    </a:lnTo>
                    <a:lnTo>
                      <a:pt x="857" y="1090"/>
                    </a:lnTo>
                    <a:lnTo>
                      <a:pt x="857" y="1092"/>
                    </a:lnTo>
                    <a:lnTo>
                      <a:pt x="857" y="1093"/>
                    </a:lnTo>
                    <a:lnTo>
                      <a:pt x="859" y="1093"/>
                    </a:lnTo>
                    <a:lnTo>
                      <a:pt x="861" y="1093"/>
                    </a:lnTo>
                    <a:lnTo>
                      <a:pt x="861" y="1095"/>
                    </a:lnTo>
                    <a:lnTo>
                      <a:pt x="861" y="1097"/>
                    </a:lnTo>
                    <a:lnTo>
                      <a:pt x="859" y="1099"/>
                    </a:lnTo>
                    <a:lnTo>
                      <a:pt x="859" y="1100"/>
                    </a:lnTo>
                    <a:lnTo>
                      <a:pt x="859" y="1102"/>
                    </a:lnTo>
                    <a:lnTo>
                      <a:pt x="857" y="1102"/>
                    </a:lnTo>
                    <a:lnTo>
                      <a:pt x="857" y="1104"/>
                    </a:lnTo>
                    <a:lnTo>
                      <a:pt x="857" y="1105"/>
                    </a:lnTo>
                    <a:lnTo>
                      <a:pt x="857" y="1107"/>
                    </a:lnTo>
                    <a:lnTo>
                      <a:pt x="856" y="1107"/>
                    </a:lnTo>
                    <a:lnTo>
                      <a:pt x="856" y="1109"/>
                    </a:lnTo>
                    <a:lnTo>
                      <a:pt x="856" y="1110"/>
                    </a:lnTo>
                    <a:lnTo>
                      <a:pt x="856" y="1112"/>
                    </a:lnTo>
                    <a:lnTo>
                      <a:pt x="854" y="1112"/>
                    </a:lnTo>
                    <a:lnTo>
                      <a:pt x="856" y="1112"/>
                    </a:lnTo>
                    <a:lnTo>
                      <a:pt x="854" y="1112"/>
                    </a:lnTo>
                    <a:lnTo>
                      <a:pt x="854" y="1114"/>
                    </a:lnTo>
                    <a:lnTo>
                      <a:pt x="856" y="1114"/>
                    </a:lnTo>
                    <a:lnTo>
                      <a:pt x="856" y="1116"/>
                    </a:lnTo>
                    <a:lnTo>
                      <a:pt x="856" y="1117"/>
                    </a:lnTo>
                    <a:lnTo>
                      <a:pt x="856" y="1116"/>
                    </a:lnTo>
                    <a:lnTo>
                      <a:pt x="857" y="1117"/>
                    </a:lnTo>
                    <a:lnTo>
                      <a:pt x="857" y="1119"/>
                    </a:lnTo>
                    <a:lnTo>
                      <a:pt x="856" y="1121"/>
                    </a:lnTo>
                    <a:lnTo>
                      <a:pt x="856" y="1122"/>
                    </a:lnTo>
                    <a:lnTo>
                      <a:pt x="857" y="1122"/>
                    </a:lnTo>
                    <a:lnTo>
                      <a:pt x="857" y="1124"/>
                    </a:lnTo>
                    <a:lnTo>
                      <a:pt x="856" y="1124"/>
                    </a:lnTo>
                    <a:lnTo>
                      <a:pt x="857" y="1126"/>
                    </a:lnTo>
                    <a:lnTo>
                      <a:pt x="859" y="1126"/>
                    </a:lnTo>
                    <a:lnTo>
                      <a:pt x="859" y="1128"/>
                    </a:lnTo>
                    <a:lnTo>
                      <a:pt x="857" y="1128"/>
                    </a:lnTo>
                    <a:lnTo>
                      <a:pt x="857" y="1129"/>
                    </a:lnTo>
                    <a:lnTo>
                      <a:pt x="857" y="1131"/>
                    </a:lnTo>
                    <a:lnTo>
                      <a:pt x="859" y="1131"/>
                    </a:lnTo>
                    <a:lnTo>
                      <a:pt x="861" y="1131"/>
                    </a:lnTo>
                    <a:lnTo>
                      <a:pt x="861" y="1129"/>
                    </a:lnTo>
                    <a:lnTo>
                      <a:pt x="861" y="1131"/>
                    </a:lnTo>
                    <a:lnTo>
                      <a:pt x="862" y="1131"/>
                    </a:lnTo>
                    <a:lnTo>
                      <a:pt x="861" y="1131"/>
                    </a:lnTo>
                    <a:lnTo>
                      <a:pt x="861" y="1133"/>
                    </a:lnTo>
                    <a:lnTo>
                      <a:pt x="862" y="1133"/>
                    </a:lnTo>
                    <a:lnTo>
                      <a:pt x="861" y="1134"/>
                    </a:lnTo>
                    <a:lnTo>
                      <a:pt x="861" y="1133"/>
                    </a:lnTo>
                    <a:lnTo>
                      <a:pt x="859" y="1133"/>
                    </a:lnTo>
                    <a:lnTo>
                      <a:pt x="857" y="1134"/>
                    </a:lnTo>
                    <a:lnTo>
                      <a:pt x="857" y="1136"/>
                    </a:lnTo>
                    <a:lnTo>
                      <a:pt x="857" y="1138"/>
                    </a:lnTo>
                    <a:lnTo>
                      <a:pt x="859" y="1138"/>
                    </a:lnTo>
                    <a:lnTo>
                      <a:pt x="859" y="1136"/>
                    </a:lnTo>
                    <a:lnTo>
                      <a:pt x="859" y="1138"/>
                    </a:lnTo>
                    <a:lnTo>
                      <a:pt x="861" y="1138"/>
                    </a:lnTo>
                    <a:lnTo>
                      <a:pt x="859" y="1139"/>
                    </a:lnTo>
                    <a:lnTo>
                      <a:pt x="861" y="1139"/>
                    </a:lnTo>
                    <a:lnTo>
                      <a:pt x="859" y="1139"/>
                    </a:lnTo>
                    <a:lnTo>
                      <a:pt x="859" y="1141"/>
                    </a:lnTo>
                    <a:lnTo>
                      <a:pt x="857" y="1141"/>
                    </a:lnTo>
                    <a:lnTo>
                      <a:pt x="857" y="1143"/>
                    </a:lnTo>
                    <a:lnTo>
                      <a:pt x="856" y="1143"/>
                    </a:lnTo>
                    <a:lnTo>
                      <a:pt x="856" y="1145"/>
                    </a:lnTo>
                    <a:lnTo>
                      <a:pt x="857" y="1145"/>
                    </a:lnTo>
                    <a:lnTo>
                      <a:pt x="857" y="1146"/>
                    </a:lnTo>
                    <a:lnTo>
                      <a:pt x="857" y="1148"/>
                    </a:lnTo>
                    <a:lnTo>
                      <a:pt x="859" y="1148"/>
                    </a:lnTo>
                    <a:lnTo>
                      <a:pt x="857" y="1150"/>
                    </a:lnTo>
                    <a:lnTo>
                      <a:pt x="857" y="1148"/>
                    </a:lnTo>
                    <a:lnTo>
                      <a:pt x="857" y="1150"/>
                    </a:lnTo>
                    <a:lnTo>
                      <a:pt x="856" y="1150"/>
                    </a:lnTo>
                    <a:lnTo>
                      <a:pt x="856" y="1151"/>
                    </a:lnTo>
                    <a:lnTo>
                      <a:pt x="857" y="1151"/>
                    </a:lnTo>
                    <a:lnTo>
                      <a:pt x="856" y="1151"/>
                    </a:lnTo>
                    <a:lnTo>
                      <a:pt x="856" y="1153"/>
                    </a:lnTo>
                    <a:lnTo>
                      <a:pt x="857" y="1155"/>
                    </a:lnTo>
                    <a:lnTo>
                      <a:pt x="856" y="1155"/>
                    </a:lnTo>
                    <a:lnTo>
                      <a:pt x="857" y="1155"/>
                    </a:lnTo>
                    <a:lnTo>
                      <a:pt x="857" y="1156"/>
                    </a:lnTo>
                    <a:lnTo>
                      <a:pt x="859" y="1158"/>
                    </a:lnTo>
                    <a:lnTo>
                      <a:pt x="857" y="1158"/>
                    </a:lnTo>
                    <a:lnTo>
                      <a:pt x="857" y="1160"/>
                    </a:lnTo>
                    <a:lnTo>
                      <a:pt x="859" y="1160"/>
                    </a:lnTo>
                    <a:lnTo>
                      <a:pt x="857" y="1160"/>
                    </a:lnTo>
                    <a:lnTo>
                      <a:pt x="857" y="1162"/>
                    </a:lnTo>
                    <a:lnTo>
                      <a:pt x="857" y="1163"/>
                    </a:lnTo>
                    <a:lnTo>
                      <a:pt x="857" y="1165"/>
                    </a:lnTo>
                    <a:lnTo>
                      <a:pt x="857" y="1167"/>
                    </a:lnTo>
                    <a:lnTo>
                      <a:pt x="856" y="1168"/>
                    </a:lnTo>
                    <a:lnTo>
                      <a:pt x="857" y="1168"/>
                    </a:lnTo>
                    <a:lnTo>
                      <a:pt x="856" y="1168"/>
                    </a:lnTo>
                    <a:lnTo>
                      <a:pt x="856" y="1170"/>
                    </a:lnTo>
                    <a:lnTo>
                      <a:pt x="856" y="1172"/>
                    </a:lnTo>
                    <a:lnTo>
                      <a:pt x="856" y="1173"/>
                    </a:lnTo>
                    <a:lnTo>
                      <a:pt x="854" y="1175"/>
                    </a:lnTo>
                    <a:lnTo>
                      <a:pt x="854" y="1177"/>
                    </a:lnTo>
                    <a:lnTo>
                      <a:pt x="852" y="1179"/>
                    </a:lnTo>
                    <a:lnTo>
                      <a:pt x="852" y="1180"/>
                    </a:lnTo>
                    <a:lnTo>
                      <a:pt x="852" y="1182"/>
                    </a:lnTo>
                    <a:lnTo>
                      <a:pt x="852" y="1184"/>
                    </a:lnTo>
                    <a:lnTo>
                      <a:pt x="852" y="1185"/>
                    </a:lnTo>
                    <a:lnTo>
                      <a:pt x="850" y="1185"/>
                    </a:lnTo>
                    <a:lnTo>
                      <a:pt x="850" y="1187"/>
                    </a:lnTo>
                    <a:lnTo>
                      <a:pt x="849" y="1187"/>
                    </a:lnTo>
                    <a:lnTo>
                      <a:pt x="847" y="1187"/>
                    </a:lnTo>
                    <a:lnTo>
                      <a:pt x="847" y="1189"/>
                    </a:lnTo>
                    <a:lnTo>
                      <a:pt x="845" y="1189"/>
                    </a:lnTo>
                    <a:lnTo>
                      <a:pt x="844" y="1190"/>
                    </a:lnTo>
                    <a:lnTo>
                      <a:pt x="840" y="1192"/>
                    </a:lnTo>
                    <a:lnTo>
                      <a:pt x="839" y="1194"/>
                    </a:lnTo>
                    <a:lnTo>
                      <a:pt x="837" y="1194"/>
                    </a:lnTo>
                    <a:lnTo>
                      <a:pt x="837" y="1196"/>
                    </a:lnTo>
                    <a:lnTo>
                      <a:pt x="833" y="1197"/>
                    </a:lnTo>
                    <a:lnTo>
                      <a:pt x="833" y="1199"/>
                    </a:lnTo>
                    <a:lnTo>
                      <a:pt x="832" y="1199"/>
                    </a:lnTo>
                    <a:lnTo>
                      <a:pt x="832" y="1201"/>
                    </a:lnTo>
                    <a:lnTo>
                      <a:pt x="828" y="1202"/>
                    </a:lnTo>
                    <a:lnTo>
                      <a:pt x="828" y="1204"/>
                    </a:lnTo>
                    <a:lnTo>
                      <a:pt x="827" y="1206"/>
                    </a:lnTo>
                    <a:lnTo>
                      <a:pt x="825" y="1207"/>
                    </a:lnTo>
                    <a:lnTo>
                      <a:pt x="823" y="1209"/>
                    </a:lnTo>
                    <a:lnTo>
                      <a:pt x="822" y="1211"/>
                    </a:lnTo>
                    <a:lnTo>
                      <a:pt x="822" y="1213"/>
                    </a:lnTo>
                    <a:lnTo>
                      <a:pt x="820" y="1213"/>
                    </a:lnTo>
                    <a:lnTo>
                      <a:pt x="820" y="1214"/>
                    </a:lnTo>
                    <a:lnTo>
                      <a:pt x="820" y="1216"/>
                    </a:lnTo>
                    <a:lnTo>
                      <a:pt x="818" y="1216"/>
                    </a:lnTo>
                    <a:lnTo>
                      <a:pt x="818" y="1218"/>
                    </a:lnTo>
                    <a:lnTo>
                      <a:pt x="816" y="1219"/>
                    </a:lnTo>
                    <a:lnTo>
                      <a:pt x="815" y="1221"/>
                    </a:lnTo>
                    <a:lnTo>
                      <a:pt x="815" y="1223"/>
                    </a:lnTo>
                    <a:lnTo>
                      <a:pt x="813" y="1224"/>
                    </a:lnTo>
                    <a:lnTo>
                      <a:pt x="813" y="1226"/>
                    </a:lnTo>
                    <a:lnTo>
                      <a:pt x="811" y="1228"/>
                    </a:lnTo>
                    <a:lnTo>
                      <a:pt x="810" y="1231"/>
                    </a:lnTo>
                    <a:lnTo>
                      <a:pt x="810" y="1233"/>
                    </a:lnTo>
                    <a:lnTo>
                      <a:pt x="808" y="1235"/>
                    </a:lnTo>
                    <a:lnTo>
                      <a:pt x="808" y="1236"/>
                    </a:lnTo>
                    <a:lnTo>
                      <a:pt x="806" y="1240"/>
                    </a:lnTo>
                    <a:lnTo>
                      <a:pt x="806" y="1241"/>
                    </a:lnTo>
                    <a:lnTo>
                      <a:pt x="805" y="1245"/>
                    </a:lnTo>
                    <a:lnTo>
                      <a:pt x="803" y="1250"/>
                    </a:lnTo>
                    <a:lnTo>
                      <a:pt x="801" y="1252"/>
                    </a:lnTo>
                    <a:lnTo>
                      <a:pt x="801" y="1253"/>
                    </a:lnTo>
                    <a:lnTo>
                      <a:pt x="799" y="1257"/>
                    </a:lnTo>
                    <a:lnTo>
                      <a:pt x="799" y="1258"/>
                    </a:lnTo>
                    <a:lnTo>
                      <a:pt x="799" y="1260"/>
                    </a:lnTo>
                    <a:lnTo>
                      <a:pt x="798" y="1262"/>
                    </a:lnTo>
                    <a:lnTo>
                      <a:pt x="798" y="1264"/>
                    </a:lnTo>
                    <a:lnTo>
                      <a:pt x="796" y="1267"/>
                    </a:lnTo>
                    <a:lnTo>
                      <a:pt x="794" y="1269"/>
                    </a:lnTo>
                    <a:lnTo>
                      <a:pt x="793" y="1270"/>
                    </a:lnTo>
                    <a:lnTo>
                      <a:pt x="793" y="1272"/>
                    </a:lnTo>
                    <a:lnTo>
                      <a:pt x="791" y="1272"/>
                    </a:lnTo>
                    <a:lnTo>
                      <a:pt x="791" y="1274"/>
                    </a:lnTo>
                    <a:lnTo>
                      <a:pt x="789" y="1276"/>
                    </a:lnTo>
                    <a:lnTo>
                      <a:pt x="789" y="1277"/>
                    </a:lnTo>
                    <a:lnTo>
                      <a:pt x="788" y="1279"/>
                    </a:lnTo>
                    <a:lnTo>
                      <a:pt x="786" y="1281"/>
                    </a:lnTo>
                    <a:lnTo>
                      <a:pt x="784" y="1284"/>
                    </a:lnTo>
                    <a:lnTo>
                      <a:pt x="784" y="1286"/>
                    </a:lnTo>
                    <a:lnTo>
                      <a:pt x="782" y="1286"/>
                    </a:lnTo>
                    <a:lnTo>
                      <a:pt x="782" y="1287"/>
                    </a:lnTo>
                    <a:lnTo>
                      <a:pt x="779" y="1289"/>
                    </a:lnTo>
                    <a:lnTo>
                      <a:pt x="779" y="1291"/>
                    </a:lnTo>
                    <a:lnTo>
                      <a:pt x="777" y="1293"/>
                    </a:lnTo>
                    <a:lnTo>
                      <a:pt x="776" y="1294"/>
                    </a:lnTo>
                    <a:lnTo>
                      <a:pt x="774" y="1294"/>
                    </a:lnTo>
                    <a:lnTo>
                      <a:pt x="774" y="1296"/>
                    </a:lnTo>
                    <a:lnTo>
                      <a:pt x="772" y="1298"/>
                    </a:lnTo>
                    <a:lnTo>
                      <a:pt x="771" y="1299"/>
                    </a:lnTo>
                    <a:lnTo>
                      <a:pt x="769" y="1301"/>
                    </a:lnTo>
                    <a:lnTo>
                      <a:pt x="769" y="1303"/>
                    </a:lnTo>
                    <a:lnTo>
                      <a:pt x="767" y="1303"/>
                    </a:lnTo>
                    <a:lnTo>
                      <a:pt x="765" y="1304"/>
                    </a:lnTo>
                    <a:lnTo>
                      <a:pt x="764" y="1306"/>
                    </a:lnTo>
                    <a:lnTo>
                      <a:pt x="762" y="1308"/>
                    </a:lnTo>
                    <a:lnTo>
                      <a:pt x="760" y="1308"/>
                    </a:lnTo>
                    <a:lnTo>
                      <a:pt x="759" y="1310"/>
                    </a:lnTo>
                    <a:lnTo>
                      <a:pt x="757" y="1311"/>
                    </a:lnTo>
                    <a:lnTo>
                      <a:pt x="755" y="1311"/>
                    </a:lnTo>
                    <a:lnTo>
                      <a:pt x="755" y="1313"/>
                    </a:lnTo>
                    <a:lnTo>
                      <a:pt x="754" y="1313"/>
                    </a:lnTo>
                    <a:lnTo>
                      <a:pt x="752" y="1315"/>
                    </a:lnTo>
                    <a:lnTo>
                      <a:pt x="750" y="1315"/>
                    </a:lnTo>
                    <a:lnTo>
                      <a:pt x="748" y="1316"/>
                    </a:lnTo>
                    <a:lnTo>
                      <a:pt x="747" y="1318"/>
                    </a:lnTo>
                    <a:lnTo>
                      <a:pt x="745" y="1320"/>
                    </a:lnTo>
                    <a:lnTo>
                      <a:pt x="743" y="1320"/>
                    </a:lnTo>
                    <a:lnTo>
                      <a:pt x="742" y="1323"/>
                    </a:lnTo>
                    <a:lnTo>
                      <a:pt x="742" y="1325"/>
                    </a:lnTo>
                    <a:lnTo>
                      <a:pt x="740" y="1325"/>
                    </a:lnTo>
                    <a:lnTo>
                      <a:pt x="740" y="1327"/>
                    </a:lnTo>
                    <a:lnTo>
                      <a:pt x="740" y="1325"/>
                    </a:lnTo>
                    <a:lnTo>
                      <a:pt x="740" y="1327"/>
                    </a:lnTo>
                    <a:lnTo>
                      <a:pt x="738" y="1327"/>
                    </a:lnTo>
                    <a:lnTo>
                      <a:pt x="737" y="1328"/>
                    </a:lnTo>
                    <a:lnTo>
                      <a:pt x="735" y="1330"/>
                    </a:lnTo>
                    <a:lnTo>
                      <a:pt x="733" y="1333"/>
                    </a:lnTo>
                    <a:lnTo>
                      <a:pt x="731" y="1335"/>
                    </a:lnTo>
                    <a:lnTo>
                      <a:pt x="731" y="1337"/>
                    </a:lnTo>
                    <a:lnTo>
                      <a:pt x="731" y="1338"/>
                    </a:lnTo>
                    <a:lnTo>
                      <a:pt x="730" y="1338"/>
                    </a:lnTo>
                    <a:lnTo>
                      <a:pt x="730" y="1342"/>
                    </a:lnTo>
                    <a:lnTo>
                      <a:pt x="730" y="1344"/>
                    </a:lnTo>
                    <a:lnTo>
                      <a:pt x="728" y="1344"/>
                    </a:lnTo>
                    <a:lnTo>
                      <a:pt x="728" y="1345"/>
                    </a:lnTo>
                    <a:lnTo>
                      <a:pt x="728" y="1347"/>
                    </a:lnTo>
                    <a:lnTo>
                      <a:pt x="728" y="1349"/>
                    </a:lnTo>
                    <a:lnTo>
                      <a:pt x="728" y="1350"/>
                    </a:lnTo>
                    <a:lnTo>
                      <a:pt x="726" y="1352"/>
                    </a:lnTo>
                    <a:lnTo>
                      <a:pt x="726" y="1354"/>
                    </a:lnTo>
                    <a:lnTo>
                      <a:pt x="726" y="1355"/>
                    </a:lnTo>
                    <a:lnTo>
                      <a:pt x="725" y="1355"/>
                    </a:lnTo>
                    <a:lnTo>
                      <a:pt x="725" y="1357"/>
                    </a:lnTo>
                    <a:lnTo>
                      <a:pt x="725" y="1359"/>
                    </a:lnTo>
                    <a:lnTo>
                      <a:pt x="723" y="1362"/>
                    </a:lnTo>
                    <a:lnTo>
                      <a:pt x="721" y="1364"/>
                    </a:lnTo>
                    <a:lnTo>
                      <a:pt x="721" y="1366"/>
                    </a:lnTo>
                    <a:lnTo>
                      <a:pt x="720" y="1366"/>
                    </a:lnTo>
                    <a:lnTo>
                      <a:pt x="720" y="1367"/>
                    </a:lnTo>
                    <a:lnTo>
                      <a:pt x="718" y="1369"/>
                    </a:lnTo>
                    <a:lnTo>
                      <a:pt x="716" y="1371"/>
                    </a:lnTo>
                    <a:lnTo>
                      <a:pt x="714" y="1372"/>
                    </a:lnTo>
                    <a:lnTo>
                      <a:pt x="713" y="1374"/>
                    </a:lnTo>
                    <a:lnTo>
                      <a:pt x="711" y="1376"/>
                    </a:lnTo>
                    <a:lnTo>
                      <a:pt x="709" y="1378"/>
                    </a:lnTo>
                    <a:lnTo>
                      <a:pt x="708" y="1379"/>
                    </a:lnTo>
                    <a:lnTo>
                      <a:pt x="706" y="1381"/>
                    </a:lnTo>
                    <a:lnTo>
                      <a:pt x="704" y="1383"/>
                    </a:lnTo>
                    <a:lnTo>
                      <a:pt x="704" y="1384"/>
                    </a:lnTo>
                    <a:lnTo>
                      <a:pt x="703" y="1384"/>
                    </a:lnTo>
                    <a:lnTo>
                      <a:pt x="701" y="1386"/>
                    </a:lnTo>
                    <a:lnTo>
                      <a:pt x="699" y="1388"/>
                    </a:lnTo>
                    <a:lnTo>
                      <a:pt x="697" y="1388"/>
                    </a:lnTo>
                    <a:lnTo>
                      <a:pt x="697" y="1389"/>
                    </a:lnTo>
                    <a:lnTo>
                      <a:pt x="696" y="1389"/>
                    </a:lnTo>
                    <a:lnTo>
                      <a:pt x="694" y="1389"/>
                    </a:lnTo>
                    <a:lnTo>
                      <a:pt x="694" y="1388"/>
                    </a:lnTo>
                    <a:lnTo>
                      <a:pt x="692" y="1388"/>
                    </a:lnTo>
                    <a:lnTo>
                      <a:pt x="691" y="1388"/>
                    </a:lnTo>
                    <a:lnTo>
                      <a:pt x="691" y="1386"/>
                    </a:lnTo>
                    <a:lnTo>
                      <a:pt x="691" y="1384"/>
                    </a:lnTo>
                    <a:lnTo>
                      <a:pt x="691" y="1383"/>
                    </a:lnTo>
                    <a:lnTo>
                      <a:pt x="691" y="1381"/>
                    </a:lnTo>
                    <a:lnTo>
                      <a:pt x="692" y="1379"/>
                    </a:lnTo>
                    <a:lnTo>
                      <a:pt x="692" y="1376"/>
                    </a:lnTo>
                    <a:lnTo>
                      <a:pt x="692" y="1374"/>
                    </a:lnTo>
                    <a:lnTo>
                      <a:pt x="691" y="1372"/>
                    </a:lnTo>
                    <a:lnTo>
                      <a:pt x="691" y="1371"/>
                    </a:lnTo>
                    <a:lnTo>
                      <a:pt x="691" y="1369"/>
                    </a:lnTo>
                    <a:lnTo>
                      <a:pt x="691" y="1367"/>
                    </a:lnTo>
                    <a:lnTo>
                      <a:pt x="692" y="1367"/>
                    </a:lnTo>
                    <a:lnTo>
                      <a:pt x="692" y="1366"/>
                    </a:lnTo>
                    <a:lnTo>
                      <a:pt x="692" y="1364"/>
                    </a:lnTo>
                    <a:lnTo>
                      <a:pt x="694" y="1364"/>
                    </a:lnTo>
                    <a:lnTo>
                      <a:pt x="697" y="1359"/>
                    </a:lnTo>
                    <a:lnTo>
                      <a:pt x="699" y="1359"/>
                    </a:lnTo>
                    <a:lnTo>
                      <a:pt x="699" y="1357"/>
                    </a:lnTo>
                    <a:lnTo>
                      <a:pt x="699" y="1355"/>
                    </a:lnTo>
                    <a:lnTo>
                      <a:pt x="699" y="1354"/>
                    </a:lnTo>
                    <a:lnTo>
                      <a:pt x="701" y="1354"/>
                    </a:lnTo>
                    <a:lnTo>
                      <a:pt x="701" y="1352"/>
                    </a:lnTo>
                    <a:lnTo>
                      <a:pt x="703" y="1350"/>
                    </a:lnTo>
                    <a:lnTo>
                      <a:pt x="704" y="1350"/>
                    </a:lnTo>
                    <a:lnTo>
                      <a:pt x="704" y="1349"/>
                    </a:lnTo>
                    <a:lnTo>
                      <a:pt x="706" y="1349"/>
                    </a:lnTo>
                    <a:lnTo>
                      <a:pt x="703" y="1347"/>
                    </a:lnTo>
                    <a:lnTo>
                      <a:pt x="703" y="1345"/>
                    </a:lnTo>
                    <a:lnTo>
                      <a:pt x="701" y="1345"/>
                    </a:lnTo>
                    <a:lnTo>
                      <a:pt x="701" y="1344"/>
                    </a:lnTo>
                    <a:lnTo>
                      <a:pt x="699" y="1344"/>
                    </a:lnTo>
                    <a:lnTo>
                      <a:pt x="697" y="1344"/>
                    </a:lnTo>
                    <a:lnTo>
                      <a:pt x="696" y="1342"/>
                    </a:lnTo>
                    <a:lnTo>
                      <a:pt x="696" y="1344"/>
                    </a:lnTo>
                    <a:lnTo>
                      <a:pt x="696" y="1342"/>
                    </a:lnTo>
                    <a:lnTo>
                      <a:pt x="694" y="1342"/>
                    </a:lnTo>
                    <a:lnTo>
                      <a:pt x="694" y="1340"/>
                    </a:lnTo>
                    <a:lnTo>
                      <a:pt x="694" y="1338"/>
                    </a:lnTo>
                    <a:lnTo>
                      <a:pt x="692" y="1338"/>
                    </a:lnTo>
                    <a:lnTo>
                      <a:pt x="691" y="1338"/>
                    </a:lnTo>
                    <a:lnTo>
                      <a:pt x="689" y="1337"/>
                    </a:lnTo>
                    <a:lnTo>
                      <a:pt x="689" y="1335"/>
                    </a:lnTo>
                    <a:lnTo>
                      <a:pt x="687" y="1335"/>
                    </a:lnTo>
                    <a:lnTo>
                      <a:pt x="687" y="1333"/>
                    </a:lnTo>
                    <a:lnTo>
                      <a:pt x="687" y="1332"/>
                    </a:lnTo>
                    <a:lnTo>
                      <a:pt x="687" y="1330"/>
                    </a:lnTo>
                    <a:lnTo>
                      <a:pt x="686" y="1330"/>
                    </a:lnTo>
                    <a:lnTo>
                      <a:pt x="686" y="1328"/>
                    </a:lnTo>
                    <a:lnTo>
                      <a:pt x="686" y="1327"/>
                    </a:lnTo>
                    <a:lnTo>
                      <a:pt x="684" y="1327"/>
                    </a:lnTo>
                    <a:lnTo>
                      <a:pt x="686" y="1325"/>
                    </a:lnTo>
                    <a:lnTo>
                      <a:pt x="684" y="1325"/>
                    </a:lnTo>
                    <a:lnTo>
                      <a:pt x="684" y="1323"/>
                    </a:lnTo>
                    <a:lnTo>
                      <a:pt x="682" y="1321"/>
                    </a:lnTo>
                    <a:lnTo>
                      <a:pt x="682" y="1323"/>
                    </a:lnTo>
                    <a:lnTo>
                      <a:pt x="680" y="1321"/>
                    </a:lnTo>
                    <a:lnTo>
                      <a:pt x="680" y="1320"/>
                    </a:lnTo>
                    <a:lnTo>
                      <a:pt x="679" y="1320"/>
                    </a:lnTo>
                    <a:lnTo>
                      <a:pt x="679" y="1318"/>
                    </a:lnTo>
                    <a:lnTo>
                      <a:pt x="677" y="1318"/>
                    </a:lnTo>
                    <a:lnTo>
                      <a:pt x="675" y="1316"/>
                    </a:lnTo>
                    <a:lnTo>
                      <a:pt x="677" y="1316"/>
                    </a:lnTo>
                    <a:lnTo>
                      <a:pt x="675" y="1316"/>
                    </a:lnTo>
                    <a:lnTo>
                      <a:pt x="674" y="1315"/>
                    </a:lnTo>
                    <a:lnTo>
                      <a:pt x="674" y="1316"/>
                    </a:lnTo>
                    <a:lnTo>
                      <a:pt x="672" y="1316"/>
                    </a:lnTo>
                    <a:lnTo>
                      <a:pt x="670" y="1316"/>
                    </a:lnTo>
                    <a:lnTo>
                      <a:pt x="670" y="1315"/>
                    </a:lnTo>
                    <a:lnTo>
                      <a:pt x="669" y="1315"/>
                    </a:lnTo>
                    <a:lnTo>
                      <a:pt x="669" y="1313"/>
                    </a:lnTo>
                    <a:lnTo>
                      <a:pt x="667" y="1313"/>
                    </a:lnTo>
                    <a:lnTo>
                      <a:pt x="667" y="1311"/>
                    </a:lnTo>
                    <a:lnTo>
                      <a:pt x="665" y="1311"/>
                    </a:lnTo>
                    <a:lnTo>
                      <a:pt x="663" y="1310"/>
                    </a:lnTo>
                    <a:lnTo>
                      <a:pt x="660" y="1306"/>
                    </a:lnTo>
                    <a:lnTo>
                      <a:pt x="660" y="1304"/>
                    </a:lnTo>
                    <a:lnTo>
                      <a:pt x="660" y="1303"/>
                    </a:lnTo>
                    <a:lnTo>
                      <a:pt x="658" y="1303"/>
                    </a:lnTo>
                    <a:lnTo>
                      <a:pt x="658" y="1301"/>
                    </a:lnTo>
                    <a:lnTo>
                      <a:pt x="658" y="1299"/>
                    </a:lnTo>
                    <a:lnTo>
                      <a:pt x="657" y="1299"/>
                    </a:lnTo>
                    <a:lnTo>
                      <a:pt x="655" y="1298"/>
                    </a:lnTo>
                    <a:lnTo>
                      <a:pt x="653" y="1298"/>
                    </a:lnTo>
                    <a:lnTo>
                      <a:pt x="652" y="1298"/>
                    </a:lnTo>
                    <a:lnTo>
                      <a:pt x="650" y="1296"/>
                    </a:lnTo>
                    <a:lnTo>
                      <a:pt x="650" y="1298"/>
                    </a:lnTo>
                    <a:lnTo>
                      <a:pt x="648" y="1298"/>
                    </a:lnTo>
                    <a:lnTo>
                      <a:pt x="646" y="1298"/>
                    </a:lnTo>
                    <a:lnTo>
                      <a:pt x="646" y="1296"/>
                    </a:lnTo>
                    <a:lnTo>
                      <a:pt x="645" y="1294"/>
                    </a:lnTo>
                    <a:lnTo>
                      <a:pt x="645" y="1296"/>
                    </a:lnTo>
                    <a:lnTo>
                      <a:pt x="643" y="1296"/>
                    </a:lnTo>
                    <a:lnTo>
                      <a:pt x="643" y="1294"/>
                    </a:lnTo>
                    <a:lnTo>
                      <a:pt x="643" y="1293"/>
                    </a:lnTo>
                    <a:lnTo>
                      <a:pt x="641" y="1293"/>
                    </a:lnTo>
                    <a:lnTo>
                      <a:pt x="641" y="1291"/>
                    </a:lnTo>
                    <a:lnTo>
                      <a:pt x="640" y="1291"/>
                    </a:lnTo>
                    <a:lnTo>
                      <a:pt x="640" y="1293"/>
                    </a:lnTo>
                    <a:lnTo>
                      <a:pt x="638" y="1293"/>
                    </a:lnTo>
                    <a:lnTo>
                      <a:pt x="636" y="1293"/>
                    </a:lnTo>
                    <a:lnTo>
                      <a:pt x="636" y="1291"/>
                    </a:lnTo>
                    <a:lnTo>
                      <a:pt x="635" y="1291"/>
                    </a:lnTo>
                    <a:lnTo>
                      <a:pt x="633" y="1291"/>
                    </a:lnTo>
                    <a:lnTo>
                      <a:pt x="633" y="1289"/>
                    </a:lnTo>
                    <a:lnTo>
                      <a:pt x="633" y="1287"/>
                    </a:lnTo>
                    <a:lnTo>
                      <a:pt x="631" y="1287"/>
                    </a:lnTo>
                    <a:lnTo>
                      <a:pt x="633" y="1287"/>
                    </a:lnTo>
                    <a:lnTo>
                      <a:pt x="631" y="1286"/>
                    </a:lnTo>
                    <a:lnTo>
                      <a:pt x="629" y="1286"/>
                    </a:lnTo>
                    <a:lnTo>
                      <a:pt x="631" y="1284"/>
                    </a:lnTo>
                    <a:lnTo>
                      <a:pt x="629" y="1284"/>
                    </a:lnTo>
                    <a:lnTo>
                      <a:pt x="629" y="1282"/>
                    </a:lnTo>
                    <a:lnTo>
                      <a:pt x="629" y="1281"/>
                    </a:lnTo>
                    <a:lnTo>
                      <a:pt x="628" y="1281"/>
                    </a:lnTo>
                    <a:lnTo>
                      <a:pt x="626" y="1281"/>
                    </a:lnTo>
                    <a:lnTo>
                      <a:pt x="628" y="1279"/>
                    </a:lnTo>
                    <a:lnTo>
                      <a:pt x="626" y="1279"/>
                    </a:lnTo>
                    <a:lnTo>
                      <a:pt x="626" y="1277"/>
                    </a:lnTo>
                    <a:lnTo>
                      <a:pt x="624" y="1277"/>
                    </a:lnTo>
                    <a:lnTo>
                      <a:pt x="624" y="1276"/>
                    </a:lnTo>
                    <a:lnTo>
                      <a:pt x="623" y="1276"/>
                    </a:lnTo>
                    <a:lnTo>
                      <a:pt x="623" y="1274"/>
                    </a:lnTo>
                    <a:lnTo>
                      <a:pt x="621" y="1274"/>
                    </a:lnTo>
                    <a:lnTo>
                      <a:pt x="619" y="1274"/>
                    </a:lnTo>
                    <a:lnTo>
                      <a:pt x="619" y="1276"/>
                    </a:lnTo>
                    <a:lnTo>
                      <a:pt x="619" y="1277"/>
                    </a:lnTo>
                    <a:lnTo>
                      <a:pt x="619" y="1279"/>
                    </a:lnTo>
                    <a:lnTo>
                      <a:pt x="618" y="1277"/>
                    </a:lnTo>
                    <a:lnTo>
                      <a:pt x="618" y="1279"/>
                    </a:lnTo>
                    <a:lnTo>
                      <a:pt x="618" y="1277"/>
                    </a:lnTo>
                    <a:lnTo>
                      <a:pt x="618" y="1279"/>
                    </a:lnTo>
                    <a:lnTo>
                      <a:pt x="616" y="1279"/>
                    </a:lnTo>
                    <a:lnTo>
                      <a:pt x="616" y="1281"/>
                    </a:lnTo>
                    <a:lnTo>
                      <a:pt x="614" y="1281"/>
                    </a:lnTo>
                    <a:lnTo>
                      <a:pt x="612" y="1281"/>
                    </a:lnTo>
                    <a:lnTo>
                      <a:pt x="612" y="1279"/>
                    </a:lnTo>
                    <a:lnTo>
                      <a:pt x="611" y="1279"/>
                    </a:lnTo>
                    <a:lnTo>
                      <a:pt x="611" y="1277"/>
                    </a:lnTo>
                    <a:lnTo>
                      <a:pt x="609" y="1277"/>
                    </a:lnTo>
                    <a:lnTo>
                      <a:pt x="609" y="1276"/>
                    </a:lnTo>
                    <a:lnTo>
                      <a:pt x="607" y="1274"/>
                    </a:lnTo>
                    <a:lnTo>
                      <a:pt x="607" y="1272"/>
                    </a:lnTo>
                    <a:lnTo>
                      <a:pt x="606" y="1270"/>
                    </a:lnTo>
                    <a:lnTo>
                      <a:pt x="604" y="1270"/>
                    </a:lnTo>
                    <a:lnTo>
                      <a:pt x="604" y="1269"/>
                    </a:lnTo>
                    <a:lnTo>
                      <a:pt x="604" y="1270"/>
                    </a:lnTo>
                    <a:lnTo>
                      <a:pt x="604" y="1269"/>
                    </a:lnTo>
                    <a:lnTo>
                      <a:pt x="602" y="1269"/>
                    </a:lnTo>
                    <a:lnTo>
                      <a:pt x="602" y="1267"/>
                    </a:lnTo>
                    <a:lnTo>
                      <a:pt x="602" y="1265"/>
                    </a:lnTo>
                    <a:lnTo>
                      <a:pt x="601" y="1264"/>
                    </a:lnTo>
                    <a:lnTo>
                      <a:pt x="601" y="1265"/>
                    </a:lnTo>
                    <a:lnTo>
                      <a:pt x="601" y="1264"/>
                    </a:lnTo>
                    <a:lnTo>
                      <a:pt x="599" y="1264"/>
                    </a:lnTo>
                    <a:lnTo>
                      <a:pt x="599" y="1262"/>
                    </a:lnTo>
                    <a:lnTo>
                      <a:pt x="597" y="1262"/>
                    </a:lnTo>
                    <a:lnTo>
                      <a:pt x="597" y="1260"/>
                    </a:lnTo>
                    <a:lnTo>
                      <a:pt x="595" y="1260"/>
                    </a:lnTo>
                    <a:lnTo>
                      <a:pt x="594" y="1260"/>
                    </a:lnTo>
                    <a:lnTo>
                      <a:pt x="594" y="1258"/>
                    </a:lnTo>
                    <a:lnTo>
                      <a:pt x="594" y="1257"/>
                    </a:lnTo>
                    <a:lnTo>
                      <a:pt x="594" y="1258"/>
                    </a:lnTo>
                    <a:lnTo>
                      <a:pt x="592" y="1257"/>
                    </a:lnTo>
                    <a:lnTo>
                      <a:pt x="592" y="1255"/>
                    </a:lnTo>
                    <a:lnTo>
                      <a:pt x="592" y="1257"/>
                    </a:lnTo>
                    <a:lnTo>
                      <a:pt x="590" y="1257"/>
                    </a:lnTo>
                    <a:lnTo>
                      <a:pt x="590" y="1255"/>
                    </a:lnTo>
                    <a:lnTo>
                      <a:pt x="589" y="1255"/>
                    </a:lnTo>
                    <a:lnTo>
                      <a:pt x="589" y="1253"/>
                    </a:lnTo>
                    <a:lnTo>
                      <a:pt x="590" y="1253"/>
                    </a:lnTo>
                    <a:lnTo>
                      <a:pt x="589" y="1253"/>
                    </a:lnTo>
                    <a:lnTo>
                      <a:pt x="589" y="1252"/>
                    </a:lnTo>
                    <a:lnTo>
                      <a:pt x="587" y="1252"/>
                    </a:lnTo>
                    <a:lnTo>
                      <a:pt x="587" y="1250"/>
                    </a:lnTo>
                    <a:lnTo>
                      <a:pt x="585" y="1250"/>
                    </a:lnTo>
                    <a:lnTo>
                      <a:pt x="585" y="1248"/>
                    </a:lnTo>
                    <a:lnTo>
                      <a:pt x="584" y="1248"/>
                    </a:lnTo>
                    <a:lnTo>
                      <a:pt x="582" y="1247"/>
                    </a:lnTo>
                    <a:lnTo>
                      <a:pt x="582" y="1245"/>
                    </a:lnTo>
                    <a:lnTo>
                      <a:pt x="580" y="1245"/>
                    </a:lnTo>
                    <a:lnTo>
                      <a:pt x="578" y="1245"/>
                    </a:lnTo>
                    <a:lnTo>
                      <a:pt x="577" y="1245"/>
                    </a:lnTo>
                    <a:lnTo>
                      <a:pt x="575" y="1245"/>
                    </a:lnTo>
                    <a:lnTo>
                      <a:pt x="573" y="1245"/>
                    </a:lnTo>
                    <a:lnTo>
                      <a:pt x="572" y="1245"/>
                    </a:lnTo>
                    <a:lnTo>
                      <a:pt x="570" y="1245"/>
                    </a:lnTo>
                    <a:lnTo>
                      <a:pt x="570" y="1247"/>
                    </a:lnTo>
                    <a:lnTo>
                      <a:pt x="568" y="1248"/>
                    </a:lnTo>
                    <a:lnTo>
                      <a:pt x="568" y="1250"/>
                    </a:lnTo>
                    <a:lnTo>
                      <a:pt x="567" y="1252"/>
                    </a:lnTo>
                    <a:lnTo>
                      <a:pt x="565" y="1252"/>
                    </a:lnTo>
                    <a:lnTo>
                      <a:pt x="563" y="1252"/>
                    </a:lnTo>
                    <a:lnTo>
                      <a:pt x="563" y="1250"/>
                    </a:lnTo>
                    <a:lnTo>
                      <a:pt x="563" y="1252"/>
                    </a:lnTo>
                    <a:lnTo>
                      <a:pt x="561" y="1252"/>
                    </a:lnTo>
                    <a:lnTo>
                      <a:pt x="561" y="1253"/>
                    </a:lnTo>
                    <a:lnTo>
                      <a:pt x="560" y="1253"/>
                    </a:lnTo>
                    <a:lnTo>
                      <a:pt x="560" y="1252"/>
                    </a:lnTo>
                    <a:lnTo>
                      <a:pt x="558" y="1252"/>
                    </a:lnTo>
                    <a:lnTo>
                      <a:pt x="556" y="1252"/>
                    </a:lnTo>
                    <a:lnTo>
                      <a:pt x="555" y="1252"/>
                    </a:lnTo>
                    <a:lnTo>
                      <a:pt x="555" y="1250"/>
                    </a:lnTo>
                    <a:lnTo>
                      <a:pt x="555" y="1248"/>
                    </a:lnTo>
                    <a:lnTo>
                      <a:pt x="553" y="1248"/>
                    </a:lnTo>
                    <a:lnTo>
                      <a:pt x="555" y="1248"/>
                    </a:lnTo>
                    <a:lnTo>
                      <a:pt x="556" y="1247"/>
                    </a:lnTo>
                    <a:lnTo>
                      <a:pt x="558" y="1245"/>
                    </a:lnTo>
                    <a:lnTo>
                      <a:pt x="558" y="1243"/>
                    </a:lnTo>
                    <a:lnTo>
                      <a:pt x="560" y="1243"/>
                    </a:lnTo>
                    <a:lnTo>
                      <a:pt x="560" y="1241"/>
                    </a:lnTo>
                    <a:lnTo>
                      <a:pt x="561" y="1241"/>
                    </a:lnTo>
                    <a:lnTo>
                      <a:pt x="563" y="1241"/>
                    </a:lnTo>
                    <a:lnTo>
                      <a:pt x="563" y="1240"/>
                    </a:lnTo>
                    <a:lnTo>
                      <a:pt x="563" y="1238"/>
                    </a:lnTo>
                    <a:lnTo>
                      <a:pt x="563" y="1236"/>
                    </a:lnTo>
                    <a:lnTo>
                      <a:pt x="563" y="1235"/>
                    </a:lnTo>
                    <a:lnTo>
                      <a:pt x="565" y="1233"/>
                    </a:lnTo>
                    <a:lnTo>
                      <a:pt x="567" y="1233"/>
                    </a:lnTo>
                    <a:lnTo>
                      <a:pt x="567" y="1231"/>
                    </a:lnTo>
                    <a:lnTo>
                      <a:pt x="568" y="1233"/>
                    </a:lnTo>
                    <a:lnTo>
                      <a:pt x="570" y="1231"/>
                    </a:lnTo>
                    <a:lnTo>
                      <a:pt x="572" y="1231"/>
                    </a:lnTo>
                    <a:lnTo>
                      <a:pt x="572" y="1230"/>
                    </a:lnTo>
                    <a:lnTo>
                      <a:pt x="573" y="1230"/>
                    </a:lnTo>
                    <a:lnTo>
                      <a:pt x="573" y="1228"/>
                    </a:lnTo>
                    <a:lnTo>
                      <a:pt x="575" y="1228"/>
                    </a:lnTo>
                    <a:lnTo>
                      <a:pt x="575" y="1226"/>
                    </a:lnTo>
                    <a:lnTo>
                      <a:pt x="575" y="1224"/>
                    </a:lnTo>
                    <a:lnTo>
                      <a:pt x="577" y="1224"/>
                    </a:lnTo>
                    <a:lnTo>
                      <a:pt x="577" y="1223"/>
                    </a:lnTo>
                    <a:lnTo>
                      <a:pt x="578" y="1223"/>
                    </a:lnTo>
                    <a:lnTo>
                      <a:pt x="578" y="1221"/>
                    </a:lnTo>
                    <a:lnTo>
                      <a:pt x="580" y="1221"/>
                    </a:lnTo>
                    <a:lnTo>
                      <a:pt x="580" y="1219"/>
                    </a:lnTo>
                    <a:lnTo>
                      <a:pt x="582" y="1219"/>
                    </a:lnTo>
                    <a:lnTo>
                      <a:pt x="582" y="1218"/>
                    </a:lnTo>
                    <a:lnTo>
                      <a:pt x="582" y="1216"/>
                    </a:lnTo>
                    <a:lnTo>
                      <a:pt x="584" y="1216"/>
                    </a:lnTo>
                    <a:lnTo>
                      <a:pt x="585" y="1213"/>
                    </a:lnTo>
                    <a:lnTo>
                      <a:pt x="585" y="1211"/>
                    </a:lnTo>
                    <a:lnTo>
                      <a:pt x="585" y="1209"/>
                    </a:lnTo>
                    <a:lnTo>
                      <a:pt x="587" y="1209"/>
                    </a:lnTo>
                    <a:lnTo>
                      <a:pt x="587" y="1207"/>
                    </a:lnTo>
                    <a:lnTo>
                      <a:pt x="589" y="1207"/>
                    </a:lnTo>
                    <a:lnTo>
                      <a:pt x="589" y="1206"/>
                    </a:lnTo>
                    <a:lnTo>
                      <a:pt x="590" y="1206"/>
                    </a:lnTo>
                    <a:lnTo>
                      <a:pt x="594" y="1206"/>
                    </a:lnTo>
                    <a:lnTo>
                      <a:pt x="594" y="1204"/>
                    </a:lnTo>
                    <a:lnTo>
                      <a:pt x="594" y="1202"/>
                    </a:lnTo>
                    <a:lnTo>
                      <a:pt x="594" y="1201"/>
                    </a:lnTo>
                    <a:lnTo>
                      <a:pt x="595" y="1201"/>
                    </a:lnTo>
                    <a:lnTo>
                      <a:pt x="595" y="1199"/>
                    </a:lnTo>
                    <a:lnTo>
                      <a:pt x="597" y="1199"/>
                    </a:lnTo>
                    <a:lnTo>
                      <a:pt x="597" y="1197"/>
                    </a:lnTo>
                    <a:lnTo>
                      <a:pt x="597" y="1196"/>
                    </a:lnTo>
                    <a:lnTo>
                      <a:pt x="597" y="1194"/>
                    </a:lnTo>
                    <a:lnTo>
                      <a:pt x="599" y="1194"/>
                    </a:lnTo>
                    <a:lnTo>
                      <a:pt x="601" y="1194"/>
                    </a:lnTo>
                    <a:lnTo>
                      <a:pt x="602" y="1192"/>
                    </a:lnTo>
                    <a:lnTo>
                      <a:pt x="602" y="1190"/>
                    </a:lnTo>
                    <a:lnTo>
                      <a:pt x="604" y="1190"/>
                    </a:lnTo>
                    <a:lnTo>
                      <a:pt x="604" y="1189"/>
                    </a:lnTo>
                    <a:lnTo>
                      <a:pt x="606" y="1189"/>
                    </a:lnTo>
                    <a:lnTo>
                      <a:pt x="606" y="1187"/>
                    </a:lnTo>
                    <a:lnTo>
                      <a:pt x="607" y="1187"/>
                    </a:lnTo>
                    <a:lnTo>
                      <a:pt x="607" y="1185"/>
                    </a:lnTo>
                    <a:lnTo>
                      <a:pt x="607" y="1184"/>
                    </a:lnTo>
                    <a:lnTo>
                      <a:pt x="607" y="1182"/>
                    </a:lnTo>
                    <a:lnTo>
                      <a:pt x="609" y="1182"/>
                    </a:lnTo>
                    <a:lnTo>
                      <a:pt x="611" y="1182"/>
                    </a:lnTo>
                    <a:lnTo>
                      <a:pt x="612" y="1182"/>
                    </a:lnTo>
                    <a:lnTo>
                      <a:pt x="611" y="1180"/>
                    </a:lnTo>
                    <a:lnTo>
                      <a:pt x="611" y="1179"/>
                    </a:lnTo>
                    <a:lnTo>
                      <a:pt x="612" y="1177"/>
                    </a:lnTo>
                    <a:lnTo>
                      <a:pt x="614" y="1177"/>
                    </a:lnTo>
                    <a:lnTo>
                      <a:pt x="616" y="1177"/>
                    </a:lnTo>
                    <a:lnTo>
                      <a:pt x="618" y="1179"/>
                    </a:lnTo>
                    <a:lnTo>
                      <a:pt x="618" y="1180"/>
                    </a:lnTo>
                    <a:lnTo>
                      <a:pt x="618" y="1179"/>
                    </a:lnTo>
                    <a:lnTo>
                      <a:pt x="619" y="1177"/>
                    </a:lnTo>
                    <a:lnTo>
                      <a:pt x="619" y="1175"/>
                    </a:lnTo>
                    <a:lnTo>
                      <a:pt x="618" y="1175"/>
                    </a:lnTo>
                    <a:lnTo>
                      <a:pt x="616" y="1175"/>
                    </a:lnTo>
                    <a:lnTo>
                      <a:pt x="616" y="1173"/>
                    </a:lnTo>
                    <a:lnTo>
                      <a:pt x="616" y="1172"/>
                    </a:lnTo>
                    <a:lnTo>
                      <a:pt x="618" y="1172"/>
                    </a:lnTo>
                    <a:lnTo>
                      <a:pt x="619" y="1172"/>
                    </a:lnTo>
                    <a:lnTo>
                      <a:pt x="619" y="1170"/>
                    </a:lnTo>
                    <a:lnTo>
                      <a:pt x="621" y="1170"/>
                    </a:lnTo>
                    <a:lnTo>
                      <a:pt x="621" y="1168"/>
                    </a:lnTo>
                    <a:lnTo>
                      <a:pt x="621" y="1170"/>
                    </a:lnTo>
                    <a:lnTo>
                      <a:pt x="623" y="1170"/>
                    </a:lnTo>
                    <a:lnTo>
                      <a:pt x="623" y="1168"/>
                    </a:lnTo>
                    <a:lnTo>
                      <a:pt x="624" y="1168"/>
                    </a:lnTo>
                    <a:lnTo>
                      <a:pt x="624" y="1167"/>
                    </a:lnTo>
                    <a:lnTo>
                      <a:pt x="626" y="1167"/>
                    </a:lnTo>
                    <a:lnTo>
                      <a:pt x="628" y="1165"/>
                    </a:lnTo>
                    <a:lnTo>
                      <a:pt x="629" y="1165"/>
                    </a:lnTo>
                    <a:lnTo>
                      <a:pt x="628" y="1163"/>
                    </a:lnTo>
                    <a:lnTo>
                      <a:pt x="629" y="1163"/>
                    </a:lnTo>
                    <a:lnTo>
                      <a:pt x="629" y="1162"/>
                    </a:lnTo>
                    <a:lnTo>
                      <a:pt x="631" y="1160"/>
                    </a:lnTo>
                    <a:lnTo>
                      <a:pt x="633" y="1162"/>
                    </a:lnTo>
                    <a:lnTo>
                      <a:pt x="633" y="1160"/>
                    </a:lnTo>
                    <a:lnTo>
                      <a:pt x="635" y="1160"/>
                    </a:lnTo>
                    <a:lnTo>
                      <a:pt x="635" y="1158"/>
                    </a:lnTo>
                    <a:lnTo>
                      <a:pt x="636" y="1158"/>
                    </a:lnTo>
                    <a:lnTo>
                      <a:pt x="636" y="1160"/>
                    </a:lnTo>
                    <a:lnTo>
                      <a:pt x="638" y="1160"/>
                    </a:lnTo>
                    <a:lnTo>
                      <a:pt x="638" y="1158"/>
                    </a:lnTo>
                    <a:lnTo>
                      <a:pt x="640" y="1158"/>
                    </a:lnTo>
                    <a:lnTo>
                      <a:pt x="641" y="1156"/>
                    </a:lnTo>
                    <a:lnTo>
                      <a:pt x="640" y="1156"/>
                    </a:lnTo>
                    <a:lnTo>
                      <a:pt x="638" y="1156"/>
                    </a:lnTo>
                    <a:lnTo>
                      <a:pt x="638" y="1155"/>
                    </a:lnTo>
                    <a:lnTo>
                      <a:pt x="640" y="1155"/>
                    </a:lnTo>
                    <a:lnTo>
                      <a:pt x="641" y="1156"/>
                    </a:lnTo>
                    <a:lnTo>
                      <a:pt x="641" y="1155"/>
                    </a:lnTo>
                    <a:lnTo>
                      <a:pt x="643" y="1155"/>
                    </a:lnTo>
                    <a:lnTo>
                      <a:pt x="645" y="1155"/>
                    </a:lnTo>
                    <a:lnTo>
                      <a:pt x="645" y="1153"/>
                    </a:lnTo>
                    <a:lnTo>
                      <a:pt x="645" y="1151"/>
                    </a:lnTo>
                    <a:lnTo>
                      <a:pt x="645" y="1150"/>
                    </a:lnTo>
                    <a:lnTo>
                      <a:pt x="646" y="1150"/>
                    </a:lnTo>
                    <a:lnTo>
                      <a:pt x="646" y="1148"/>
                    </a:lnTo>
                    <a:lnTo>
                      <a:pt x="648" y="1146"/>
                    </a:lnTo>
                    <a:lnTo>
                      <a:pt x="648" y="1148"/>
                    </a:lnTo>
                    <a:lnTo>
                      <a:pt x="650" y="1148"/>
                    </a:lnTo>
                    <a:lnTo>
                      <a:pt x="650" y="1146"/>
                    </a:lnTo>
                    <a:lnTo>
                      <a:pt x="652" y="1146"/>
                    </a:lnTo>
                    <a:lnTo>
                      <a:pt x="652" y="1148"/>
                    </a:lnTo>
                    <a:lnTo>
                      <a:pt x="653" y="1146"/>
                    </a:lnTo>
                    <a:lnTo>
                      <a:pt x="652" y="1146"/>
                    </a:lnTo>
                    <a:lnTo>
                      <a:pt x="652" y="1145"/>
                    </a:lnTo>
                    <a:lnTo>
                      <a:pt x="653" y="1145"/>
                    </a:lnTo>
                    <a:lnTo>
                      <a:pt x="653" y="1146"/>
                    </a:lnTo>
                    <a:lnTo>
                      <a:pt x="655" y="1146"/>
                    </a:lnTo>
                    <a:lnTo>
                      <a:pt x="655" y="1145"/>
                    </a:lnTo>
                    <a:lnTo>
                      <a:pt x="655" y="1143"/>
                    </a:lnTo>
                    <a:lnTo>
                      <a:pt x="657" y="1143"/>
                    </a:lnTo>
                    <a:lnTo>
                      <a:pt x="657" y="1145"/>
                    </a:lnTo>
                    <a:lnTo>
                      <a:pt x="658" y="1145"/>
                    </a:lnTo>
                    <a:lnTo>
                      <a:pt x="660" y="1145"/>
                    </a:lnTo>
                    <a:lnTo>
                      <a:pt x="660" y="1143"/>
                    </a:lnTo>
                    <a:lnTo>
                      <a:pt x="660" y="1141"/>
                    </a:lnTo>
                    <a:lnTo>
                      <a:pt x="662" y="1141"/>
                    </a:lnTo>
                    <a:lnTo>
                      <a:pt x="662" y="1143"/>
                    </a:lnTo>
                    <a:lnTo>
                      <a:pt x="663" y="1143"/>
                    </a:lnTo>
                    <a:lnTo>
                      <a:pt x="663" y="1141"/>
                    </a:lnTo>
                    <a:lnTo>
                      <a:pt x="665" y="1141"/>
                    </a:lnTo>
                    <a:lnTo>
                      <a:pt x="665" y="1143"/>
                    </a:lnTo>
                    <a:lnTo>
                      <a:pt x="667" y="1143"/>
                    </a:lnTo>
                    <a:lnTo>
                      <a:pt x="667" y="1141"/>
                    </a:lnTo>
                    <a:lnTo>
                      <a:pt x="669" y="1139"/>
                    </a:lnTo>
                    <a:lnTo>
                      <a:pt x="669" y="1138"/>
                    </a:lnTo>
                    <a:lnTo>
                      <a:pt x="669" y="1136"/>
                    </a:lnTo>
                    <a:lnTo>
                      <a:pt x="670" y="1136"/>
                    </a:lnTo>
                    <a:lnTo>
                      <a:pt x="670" y="1138"/>
                    </a:lnTo>
                    <a:lnTo>
                      <a:pt x="672" y="1138"/>
                    </a:lnTo>
                    <a:lnTo>
                      <a:pt x="672" y="1136"/>
                    </a:lnTo>
                    <a:lnTo>
                      <a:pt x="674" y="1136"/>
                    </a:lnTo>
                    <a:lnTo>
                      <a:pt x="674" y="1134"/>
                    </a:lnTo>
                    <a:lnTo>
                      <a:pt x="675" y="1134"/>
                    </a:lnTo>
                    <a:lnTo>
                      <a:pt x="675" y="1133"/>
                    </a:lnTo>
                    <a:lnTo>
                      <a:pt x="677" y="1133"/>
                    </a:lnTo>
                    <a:lnTo>
                      <a:pt x="677" y="1131"/>
                    </a:lnTo>
                    <a:lnTo>
                      <a:pt x="679" y="1133"/>
                    </a:lnTo>
                    <a:lnTo>
                      <a:pt x="679" y="1131"/>
                    </a:lnTo>
                    <a:lnTo>
                      <a:pt x="680" y="1131"/>
                    </a:lnTo>
                    <a:lnTo>
                      <a:pt x="680" y="1133"/>
                    </a:lnTo>
                    <a:lnTo>
                      <a:pt x="680" y="1131"/>
                    </a:lnTo>
                    <a:lnTo>
                      <a:pt x="682" y="1131"/>
                    </a:lnTo>
                    <a:lnTo>
                      <a:pt x="680" y="1131"/>
                    </a:lnTo>
                    <a:lnTo>
                      <a:pt x="682" y="1131"/>
                    </a:lnTo>
                    <a:lnTo>
                      <a:pt x="682" y="1129"/>
                    </a:lnTo>
                    <a:lnTo>
                      <a:pt x="682" y="1128"/>
                    </a:lnTo>
                    <a:lnTo>
                      <a:pt x="682" y="1129"/>
                    </a:lnTo>
                    <a:lnTo>
                      <a:pt x="682" y="1128"/>
                    </a:lnTo>
                    <a:lnTo>
                      <a:pt x="684" y="1128"/>
                    </a:lnTo>
                    <a:lnTo>
                      <a:pt x="682" y="1128"/>
                    </a:lnTo>
                    <a:lnTo>
                      <a:pt x="682" y="1126"/>
                    </a:lnTo>
                    <a:lnTo>
                      <a:pt x="684" y="1128"/>
                    </a:lnTo>
                    <a:lnTo>
                      <a:pt x="684" y="1126"/>
                    </a:lnTo>
                    <a:lnTo>
                      <a:pt x="686" y="1126"/>
                    </a:lnTo>
                    <a:lnTo>
                      <a:pt x="684" y="1124"/>
                    </a:lnTo>
                    <a:lnTo>
                      <a:pt x="686" y="1124"/>
                    </a:lnTo>
                    <a:lnTo>
                      <a:pt x="686" y="1122"/>
                    </a:lnTo>
                    <a:lnTo>
                      <a:pt x="686" y="1124"/>
                    </a:lnTo>
                    <a:lnTo>
                      <a:pt x="686" y="1122"/>
                    </a:lnTo>
                    <a:lnTo>
                      <a:pt x="686" y="1121"/>
                    </a:lnTo>
                    <a:lnTo>
                      <a:pt x="687" y="1121"/>
                    </a:lnTo>
                    <a:lnTo>
                      <a:pt x="686" y="1119"/>
                    </a:lnTo>
                    <a:lnTo>
                      <a:pt x="686" y="1117"/>
                    </a:lnTo>
                    <a:lnTo>
                      <a:pt x="684" y="1117"/>
                    </a:lnTo>
                    <a:lnTo>
                      <a:pt x="686" y="1116"/>
                    </a:lnTo>
                    <a:lnTo>
                      <a:pt x="684" y="1116"/>
                    </a:lnTo>
                    <a:lnTo>
                      <a:pt x="684" y="1114"/>
                    </a:lnTo>
                    <a:lnTo>
                      <a:pt x="684" y="1116"/>
                    </a:lnTo>
                    <a:lnTo>
                      <a:pt x="684" y="1114"/>
                    </a:lnTo>
                    <a:lnTo>
                      <a:pt x="686" y="1114"/>
                    </a:lnTo>
                    <a:lnTo>
                      <a:pt x="684" y="1114"/>
                    </a:lnTo>
                    <a:lnTo>
                      <a:pt x="686" y="1112"/>
                    </a:lnTo>
                    <a:lnTo>
                      <a:pt x="684" y="1112"/>
                    </a:lnTo>
                    <a:lnTo>
                      <a:pt x="684" y="1110"/>
                    </a:lnTo>
                    <a:lnTo>
                      <a:pt x="684" y="1109"/>
                    </a:lnTo>
                    <a:lnTo>
                      <a:pt x="686" y="1109"/>
                    </a:lnTo>
                    <a:lnTo>
                      <a:pt x="684" y="1109"/>
                    </a:lnTo>
                    <a:lnTo>
                      <a:pt x="686" y="1107"/>
                    </a:lnTo>
                    <a:lnTo>
                      <a:pt x="684" y="1107"/>
                    </a:lnTo>
                    <a:lnTo>
                      <a:pt x="686" y="1107"/>
                    </a:lnTo>
                    <a:lnTo>
                      <a:pt x="686" y="1105"/>
                    </a:lnTo>
                    <a:lnTo>
                      <a:pt x="686" y="1104"/>
                    </a:lnTo>
                    <a:lnTo>
                      <a:pt x="686" y="1102"/>
                    </a:lnTo>
                    <a:lnTo>
                      <a:pt x="686" y="1100"/>
                    </a:lnTo>
                    <a:lnTo>
                      <a:pt x="687" y="1100"/>
                    </a:lnTo>
                    <a:lnTo>
                      <a:pt x="687" y="1099"/>
                    </a:lnTo>
                    <a:lnTo>
                      <a:pt x="687" y="1097"/>
                    </a:lnTo>
                    <a:lnTo>
                      <a:pt x="687" y="1095"/>
                    </a:lnTo>
                    <a:lnTo>
                      <a:pt x="686" y="1093"/>
                    </a:lnTo>
                    <a:lnTo>
                      <a:pt x="684" y="1092"/>
                    </a:lnTo>
                    <a:lnTo>
                      <a:pt x="684" y="1090"/>
                    </a:lnTo>
                    <a:lnTo>
                      <a:pt x="682" y="1088"/>
                    </a:lnTo>
                    <a:lnTo>
                      <a:pt x="682" y="1087"/>
                    </a:lnTo>
                    <a:lnTo>
                      <a:pt x="680" y="1087"/>
                    </a:lnTo>
                    <a:lnTo>
                      <a:pt x="680" y="1085"/>
                    </a:lnTo>
                    <a:lnTo>
                      <a:pt x="682" y="1085"/>
                    </a:lnTo>
                    <a:lnTo>
                      <a:pt x="680" y="1085"/>
                    </a:lnTo>
                    <a:lnTo>
                      <a:pt x="682" y="1083"/>
                    </a:lnTo>
                    <a:lnTo>
                      <a:pt x="680" y="1083"/>
                    </a:lnTo>
                    <a:lnTo>
                      <a:pt x="680" y="1082"/>
                    </a:lnTo>
                    <a:lnTo>
                      <a:pt x="682" y="1082"/>
                    </a:lnTo>
                    <a:lnTo>
                      <a:pt x="680" y="1080"/>
                    </a:lnTo>
                    <a:lnTo>
                      <a:pt x="680" y="1078"/>
                    </a:lnTo>
                    <a:lnTo>
                      <a:pt x="680" y="1076"/>
                    </a:lnTo>
                    <a:lnTo>
                      <a:pt x="679" y="1076"/>
                    </a:lnTo>
                    <a:lnTo>
                      <a:pt x="680" y="1076"/>
                    </a:lnTo>
                    <a:lnTo>
                      <a:pt x="679" y="1076"/>
                    </a:lnTo>
                    <a:lnTo>
                      <a:pt x="680" y="1076"/>
                    </a:lnTo>
                    <a:lnTo>
                      <a:pt x="680" y="1075"/>
                    </a:lnTo>
                    <a:lnTo>
                      <a:pt x="679" y="1075"/>
                    </a:lnTo>
                    <a:lnTo>
                      <a:pt x="679" y="1073"/>
                    </a:lnTo>
                    <a:lnTo>
                      <a:pt x="679" y="1075"/>
                    </a:lnTo>
                    <a:lnTo>
                      <a:pt x="679" y="1073"/>
                    </a:lnTo>
                    <a:lnTo>
                      <a:pt x="677" y="1073"/>
                    </a:lnTo>
                    <a:lnTo>
                      <a:pt x="677" y="1075"/>
                    </a:lnTo>
                    <a:lnTo>
                      <a:pt x="677" y="1073"/>
                    </a:lnTo>
                    <a:lnTo>
                      <a:pt x="675" y="1073"/>
                    </a:lnTo>
                    <a:lnTo>
                      <a:pt x="677" y="1073"/>
                    </a:lnTo>
                    <a:lnTo>
                      <a:pt x="675" y="1073"/>
                    </a:lnTo>
                    <a:lnTo>
                      <a:pt x="675" y="1071"/>
                    </a:lnTo>
                    <a:lnTo>
                      <a:pt x="674" y="1071"/>
                    </a:lnTo>
                    <a:lnTo>
                      <a:pt x="672" y="1071"/>
                    </a:lnTo>
                    <a:lnTo>
                      <a:pt x="672" y="1073"/>
                    </a:lnTo>
                    <a:lnTo>
                      <a:pt x="670" y="1071"/>
                    </a:lnTo>
                    <a:lnTo>
                      <a:pt x="672" y="1071"/>
                    </a:lnTo>
                    <a:lnTo>
                      <a:pt x="672" y="1070"/>
                    </a:lnTo>
                    <a:lnTo>
                      <a:pt x="672" y="1068"/>
                    </a:lnTo>
                    <a:lnTo>
                      <a:pt x="670" y="1070"/>
                    </a:lnTo>
                    <a:lnTo>
                      <a:pt x="669" y="1070"/>
                    </a:lnTo>
                    <a:lnTo>
                      <a:pt x="669" y="1071"/>
                    </a:lnTo>
                    <a:lnTo>
                      <a:pt x="667" y="1071"/>
                    </a:lnTo>
                    <a:lnTo>
                      <a:pt x="667" y="1073"/>
                    </a:lnTo>
                    <a:lnTo>
                      <a:pt x="665" y="1071"/>
                    </a:lnTo>
                    <a:lnTo>
                      <a:pt x="663" y="1071"/>
                    </a:lnTo>
                    <a:lnTo>
                      <a:pt x="663" y="1073"/>
                    </a:lnTo>
                    <a:lnTo>
                      <a:pt x="662" y="1073"/>
                    </a:lnTo>
                    <a:lnTo>
                      <a:pt x="662" y="1075"/>
                    </a:lnTo>
                    <a:lnTo>
                      <a:pt x="660" y="1075"/>
                    </a:lnTo>
                    <a:lnTo>
                      <a:pt x="662" y="1076"/>
                    </a:lnTo>
                    <a:lnTo>
                      <a:pt x="660" y="1076"/>
                    </a:lnTo>
                    <a:lnTo>
                      <a:pt x="660" y="1075"/>
                    </a:lnTo>
                    <a:lnTo>
                      <a:pt x="658" y="1073"/>
                    </a:lnTo>
                    <a:lnTo>
                      <a:pt x="657" y="1073"/>
                    </a:lnTo>
                    <a:lnTo>
                      <a:pt x="657" y="1071"/>
                    </a:lnTo>
                    <a:lnTo>
                      <a:pt x="657" y="1073"/>
                    </a:lnTo>
                    <a:lnTo>
                      <a:pt x="655" y="1073"/>
                    </a:lnTo>
                    <a:lnTo>
                      <a:pt x="655" y="1071"/>
                    </a:lnTo>
                    <a:lnTo>
                      <a:pt x="655" y="1070"/>
                    </a:lnTo>
                    <a:lnTo>
                      <a:pt x="655" y="1068"/>
                    </a:lnTo>
                    <a:lnTo>
                      <a:pt x="655" y="1066"/>
                    </a:lnTo>
                    <a:lnTo>
                      <a:pt x="655" y="1065"/>
                    </a:lnTo>
                    <a:lnTo>
                      <a:pt x="657" y="1065"/>
                    </a:lnTo>
                    <a:lnTo>
                      <a:pt x="657" y="1063"/>
                    </a:lnTo>
                    <a:lnTo>
                      <a:pt x="658" y="1061"/>
                    </a:lnTo>
                    <a:lnTo>
                      <a:pt x="658" y="1059"/>
                    </a:lnTo>
                    <a:lnTo>
                      <a:pt x="660" y="1058"/>
                    </a:lnTo>
                    <a:lnTo>
                      <a:pt x="660" y="1056"/>
                    </a:lnTo>
                    <a:lnTo>
                      <a:pt x="660" y="1054"/>
                    </a:lnTo>
                    <a:lnTo>
                      <a:pt x="660" y="1053"/>
                    </a:lnTo>
                    <a:lnTo>
                      <a:pt x="660" y="1051"/>
                    </a:lnTo>
                    <a:lnTo>
                      <a:pt x="660" y="1049"/>
                    </a:lnTo>
                    <a:lnTo>
                      <a:pt x="660" y="1048"/>
                    </a:lnTo>
                    <a:lnTo>
                      <a:pt x="662" y="1046"/>
                    </a:lnTo>
                    <a:lnTo>
                      <a:pt x="662" y="1044"/>
                    </a:lnTo>
                    <a:lnTo>
                      <a:pt x="662" y="1042"/>
                    </a:lnTo>
                    <a:lnTo>
                      <a:pt x="663" y="1041"/>
                    </a:lnTo>
                    <a:lnTo>
                      <a:pt x="663" y="1039"/>
                    </a:lnTo>
                    <a:lnTo>
                      <a:pt x="663" y="1037"/>
                    </a:lnTo>
                    <a:lnTo>
                      <a:pt x="665" y="1037"/>
                    </a:lnTo>
                    <a:lnTo>
                      <a:pt x="665" y="1036"/>
                    </a:lnTo>
                    <a:lnTo>
                      <a:pt x="665" y="1034"/>
                    </a:lnTo>
                    <a:lnTo>
                      <a:pt x="663" y="1034"/>
                    </a:lnTo>
                    <a:lnTo>
                      <a:pt x="663" y="1032"/>
                    </a:lnTo>
                    <a:lnTo>
                      <a:pt x="663" y="1031"/>
                    </a:lnTo>
                    <a:lnTo>
                      <a:pt x="665" y="1031"/>
                    </a:lnTo>
                    <a:lnTo>
                      <a:pt x="665" y="1029"/>
                    </a:lnTo>
                    <a:lnTo>
                      <a:pt x="667" y="1027"/>
                    </a:lnTo>
                    <a:lnTo>
                      <a:pt x="667" y="1025"/>
                    </a:lnTo>
                    <a:lnTo>
                      <a:pt x="665" y="1024"/>
                    </a:lnTo>
                    <a:lnTo>
                      <a:pt x="665" y="1022"/>
                    </a:lnTo>
                    <a:lnTo>
                      <a:pt x="663" y="1022"/>
                    </a:lnTo>
                    <a:lnTo>
                      <a:pt x="663" y="1020"/>
                    </a:lnTo>
                    <a:lnTo>
                      <a:pt x="663" y="1019"/>
                    </a:lnTo>
                    <a:lnTo>
                      <a:pt x="663" y="1017"/>
                    </a:lnTo>
                    <a:lnTo>
                      <a:pt x="665" y="1017"/>
                    </a:lnTo>
                    <a:lnTo>
                      <a:pt x="665" y="1015"/>
                    </a:lnTo>
                    <a:lnTo>
                      <a:pt x="665" y="1014"/>
                    </a:lnTo>
                    <a:lnTo>
                      <a:pt x="663" y="1014"/>
                    </a:lnTo>
                    <a:lnTo>
                      <a:pt x="662" y="1012"/>
                    </a:lnTo>
                    <a:lnTo>
                      <a:pt x="660" y="1010"/>
                    </a:lnTo>
                    <a:lnTo>
                      <a:pt x="660" y="1008"/>
                    </a:lnTo>
                    <a:lnTo>
                      <a:pt x="658" y="1008"/>
                    </a:lnTo>
                    <a:lnTo>
                      <a:pt x="657" y="1008"/>
                    </a:lnTo>
                    <a:lnTo>
                      <a:pt x="655" y="1007"/>
                    </a:lnTo>
                    <a:lnTo>
                      <a:pt x="655" y="1008"/>
                    </a:lnTo>
                    <a:lnTo>
                      <a:pt x="655" y="1007"/>
                    </a:lnTo>
                    <a:lnTo>
                      <a:pt x="653" y="1007"/>
                    </a:lnTo>
                    <a:lnTo>
                      <a:pt x="652" y="1007"/>
                    </a:lnTo>
                    <a:lnTo>
                      <a:pt x="652" y="1008"/>
                    </a:lnTo>
                    <a:lnTo>
                      <a:pt x="650" y="1008"/>
                    </a:lnTo>
                    <a:lnTo>
                      <a:pt x="648" y="1008"/>
                    </a:lnTo>
                    <a:lnTo>
                      <a:pt x="646" y="1008"/>
                    </a:lnTo>
                    <a:lnTo>
                      <a:pt x="646" y="1010"/>
                    </a:lnTo>
                    <a:lnTo>
                      <a:pt x="645" y="1010"/>
                    </a:lnTo>
                    <a:lnTo>
                      <a:pt x="645" y="1012"/>
                    </a:lnTo>
                    <a:lnTo>
                      <a:pt x="643" y="1012"/>
                    </a:lnTo>
                    <a:lnTo>
                      <a:pt x="641" y="1012"/>
                    </a:lnTo>
                    <a:lnTo>
                      <a:pt x="640" y="1012"/>
                    </a:lnTo>
                    <a:lnTo>
                      <a:pt x="640" y="1014"/>
                    </a:lnTo>
                    <a:lnTo>
                      <a:pt x="640" y="1012"/>
                    </a:lnTo>
                    <a:lnTo>
                      <a:pt x="638" y="1012"/>
                    </a:lnTo>
                    <a:lnTo>
                      <a:pt x="636" y="1014"/>
                    </a:lnTo>
                    <a:lnTo>
                      <a:pt x="636" y="1012"/>
                    </a:lnTo>
                    <a:lnTo>
                      <a:pt x="636" y="1014"/>
                    </a:lnTo>
                    <a:lnTo>
                      <a:pt x="635" y="1014"/>
                    </a:lnTo>
                    <a:lnTo>
                      <a:pt x="633" y="1014"/>
                    </a:lnTo>
                    <a:lnTo>
                      <a:pt x="633" y="1012"/>
                    </a:lnTo>
                    <a:lnTo>
                      <a:pt x="631" y="1012"/>
                    </a:lnTo>
                    <a:lnTo>
                      <a:pt x="629" y="1014"/>
                    </a:lnTo>
                    <a:lnTo>
                      <a:pt x="629" y="1012"/>
                    </a:lnTo>
                    <a:lnTo>
                      <a:pt x="628" y="1012"/>
                    </a:lnTo>
                    <a:lnTo>
                      <a:pt x="628" y="1010"/>
                    </a:lnTo>
                    <a:lnTo>
                      <a:pt x="626" y="1010"/>
                    </a:lnTo>
                    <a:lnTo>
                      <a:pt x="626" y="1008"/>
                    </a:lnTo>
                    <a:lnTo>
                      <a:pt x="626" y="1007"/>
                    </a:lnTo>
                    <a:lnTo>
                      <a:pt x="626" y="1005"/>
                    </a:lnTo>
                    <a:lnTo>
                      <a:pt x="628" y="1005"/>
                    </a:lnTo>
                    <a:lnTo>
                      <a:pt x="626" y="1005"/>
                    </a:lnTo>
                    <a:lnTo>
                      <a:pt x="626" y="1003"/>
                    </a:lnTo>
                    <a:lnTo>
                      <a:pt x="626" y="1002"/>
                    </a:lnTo>
                    <a:lnTo>
                      <a:pt x="626" y="1000"/>
                    </a:lnTo>
                    <a:lnTo>
                      <a:pt x="624" y="1000"/>
                    </a:lnTo>
                    <a:lnTo>
                      <a:pt x="623" y="1000"/>
                    </a:lnTo>
                    <a:lnTo>
                      <a:pt x="623" y="998"/>
                    </a:lnTo>
                    <a:lnTo>
                      <a:pt x="624" y="998"/>
                    </a:lnTo>
                    <a:lnTo>
                      <a:pt x="624" y="997"/>
                    </a:lnTo>
                    <a:lnTo>
                      <a:pt x="623" y="997"/>
                    </a:lnTo>
                    <a:lnTo>
                      <a:pt x="623" y="995"/>
                    </a:lnTo>
                    <a:lnTo>
                      <a:pt x="623" y="993"/>
                    </a:lnTo>
                    <a:lnTo>
                      <a:pt x="624" y="991"/>
                    </a:lnTo>
                    <a:lnTo>
                      <a:pt x="624" y="990"/>
                    </a:lnTo>
                    <a:lnTo>
                      <a:pt x="623" y="988"/>
                    </a:lnTo>
                    <a:lnTo>
                      <a:pt x="623" y="986"/>
                    </a:lnTo>
                    <a:lnTo>
                      <a:pt x="624" y="986"/>
                    </a:lnTo>
                    <a:lnTo>
                      <a:pt x="623" y="986"/>
                    </a:lnTo>
                    <a:lnTo>
                      <a:pt x="623" y="985"/>
                    </a:lnTo>
                    <a:lnTo>
                      <a:pt x="624" y="985"/>
                    </a:lnTo>
                    <a:lnTo>
                      <a:pt x="624" y="983"/>
                    </a:lnTo>
                    <a:lnTo>
                      <a:pt x="623" y="983"/>
                    </a:lnTo>
                    <a:lnTo>
                      <a:pt x="623" y="981"/>
                    </a:lnTo>
                    <a:lnTo>
                      <a:pt x="621" y="981"/>
                    </a:lnTo>
                    <a:lnTo>
                      <a:pt x="621" y="980"/>
                    </a:lnTo>
                    <a:lnTo>
                      <a:pt x="621" y="978"/>
                    </a:lnTo>
                    <a:lnTo>
                      <a:pt x="619" y="978"/>
                    </a:lnTo>
                    <a:lnTo>
                      <a:pt x="621" y="976"/>
                    </a:lnTo>
                    <a:lnTo>
                      <a:pt x="619" y="974"/>
                    </a:lnTo>
                    <a:lnTo>
                      <a:pt x="619" y="973"/>
                    </a:lnTo>
                    <a:lnTo>
                      <a:pt x="619" y="971"/>
                    </a:lnTo>
                    <a:lnTo>
                      <a:pt x="619" y="969"/>
                    </a:lnTo>
                    <a:lnTo>
                      <a:pt x="619" y="968"/>
                    </a:lnTo>
                    <a:lnTo>
                      <a:pt x="621" y="968"/>
                    </a:lnTo>
                    <a:lnTo>
                      <a:pt x="621" y="966"/>
                    </a:lnTo>
                    <a:lnTo>
                      <a:pt x="621" y="964"/>
                    </a:lnTo>
                    <a:lnTo>
                      <a:pt x="621" y="963"/>
                    </a:lnTo>
                    <a:lnTo>
                      <a:pt x="619" y="963"/>
                    </a:lnTo>
                    <a:lnTo>
                      <a:pt x="619" y="961"/>
                    </a:lnTo>
                    <a:lnTo>
                      <a:pt x="618" y="961"/>
                    </a:lnTo>
                    <a:lnTo>
                      <a:pt x="618" y="959"/>
                    </a:lnTo>
                    <a:lnTo>
                      <a:pt x="616" y="959"/>
                    </a:lnTo>
                    <a:lnTo>
                      <a:pt x="616" y="957"/>
                    </a:lnTo>
                    <a:lnTo>
                      <a:pt x="616" y="956"/>
                    </a:lnTo>
                    <a:lnTo>
                      <a:pt x="618" y="956"/>
                    </a:lnTo>
                    <a:lnTo>
                      <a:pt x="616" y="956"/>
                    </a:lnTo>
                    <a:lnTo>
                      <a:pt x="616" y="954"/>
                    </a:lnTo>
                    <a:lnTo>
                      <a:pt x="614" y="954"/>
                    </a:lnTo>
                    <a:lnTo>
                      <a:pt x="614" y="952"/>
                    </a:lnTo>
                    <a:lnTo>
                      <a:pt x="612" y="951"/>
                    </a:lnTo>
                    <a:lnTo>
                      <a:pt x="611" y="951"/>
                    </a:lnTo>
                    <a:lnTo>
                      <a:pt x="609" y="951"/>
                    </a:lnTo>
                    <a:lnTo>
                      <a:pt x="607" y="951"/>
                    </a:lnTo>
                    <a:lnTo>
                      <a:pt x="606" y="951"/>
                    </a:lnTo>
                    <a:lnTo>
                      <a:pt x="604" y="951"/>
                    </a:lnTo>
                    <a:lnTo>
                      <a:pt x="604" y="949"/>
                    </a:lnTo>
                    <a:lnTo>
                      <a:pt x="604" y="951"/>
                    </a:lnTo>
                    <a:lnTo>
                      <a:pt x="602" y="951"/>
                    </a:lnTo>
                    <a:lnTo>
                      <a:pt x="601" y="949"/>
                    </a:lnTo>
                    <a:lnTo>
                      <a:pt x="601" y="951"/>
                    </a:lnTo>
                    <a:lnTo>
                      <a:pt x="601" y="949"/>
                    </a:lnTo>
                    <a:lnTo>
                      <a:pt x="599" y="949"/>
                    </a:lnTo>
                    <a:lnTo>
                      <a:pt x="599" y="947"/>
                    </a:lnTo>
                    <a:lnTo>
                      <a:pt x="597" y="947"/>
                    </a:lnTo>
                    <a:lnTo>
                      <a:pt x="595" y="947"/>
                    </a:lnTo>
                    <a:lnTo>
                      <a:pt x="595" y="945"/>
                    </a:lnTo>
                    <a:lnTo>
                      <a:pt x="595" y="944"/>
                    </a:lnTo>
                    <a:lnTo>
                      <a:pt x="594" y="944"/>
                    </a:lnTo>
                    <a:lnTo>
                      <a:pt x="594" y="942"/>
                    </a:lnTo>
                    <a:lnTo>
                      <a:pt x="594" y="944"/>
                    </a:lnTo>
                    <a:lnTo>
                      <a:pt x="592" y="942"/>
                    </a:lnTo>
                    <a:lnTo>
                      <a:pt x="592" y="944"/>
                    </a:lnTo>
                    <a:lnTo>
                      <a:pt x="590" y="944"/>
                    </a:lnTo>
                    <a:lnTo>
                      <a:pt x="590" y="945"/>
                    </a:lnTo>
                    <a:lnTo>
                      <a:pt x="589" y="945"/>
                    </a:lnTo>
                    <a:lnTo>
                      <a:pt x="590" y="945"/>
                    </a:lnTo>
                    <a:lnTo>
                      <a:pt x="589" y="945"/>
                    </a:lnTo>
                    <a:lnTo>
                      <a:pt x="589" y="947"/>
                    </a:lnTo>
                    <a:lnTo>
                      <a:pt x="587" y="947"/>
                    </a:lnTo>
                    <a:lnTo>
                      <a:pt x="587" y="949"/>
                    </a:lnTo>
                    <a:lnTo>
                      <a:pt x="585" y="949"/>
                    </a:lnTo>
                    <a:lnTo>
                      <a:pt x="587" y="949"/>
                    </a:lnTo>
                    <a:lnTo>
                      <a:pt x="585" y="949"/>
                    </a:lnTo>
                    <a:lnTo>
                      <a:pt x="585" y="947"/>
                    </a:lnTo>
                    <a:lnTo>
                      <a:pt x="584" y="947"/>
                    </a:lnTo>
                    <a:lnTo>
                      <a:pt x="584" y="949"/>
                    </a:lnTo>
                    <a:lnTo>
                      <a:pt x="582" y="949"/>
                    </a:lnTo>
                    <a:lnTo>
                      <a:pt x="580" y="949"/>
                    </a:lnTo>
                    <a:lnTo>
                      <a:pt x="580" y="951"/>
                    </a:lnTo>
                    <a:lnTo>
                      <a:pt x="578" y="951"/>
                    </a:lnTo>
                    <a:lnTo>
                      <a:pt x="578" y="949"/>
                    </a:lnTo>
                    <a:lnTo>
                      <a:pt x="577" y="949"/>
                    </a:lnTo>
                    <a:lnTo>
                      <a:pt x="575" y="949"/>
                    </a:lnTo>
                    <a:lnTo>
                      <a:pt x="573" y="947"/>
                    </a:lnTo>
                    <a:lnTo>
                      <a:pt x="573" y="949"/>
                    </a:lnTo>
                    <a:lnTo>
                      <a:pt x="572" y="949"/>
                    </a:lnTo>
                    <a:lnTo>
                      <a:pt x="570" y="949"/>
                    </a:lnTo>
                    <a:lnTo>
                      <a:pt x="570" y="947"/>
                    </a:lnTo>
                    <a:lnTo>
                      <a:pt x="568" y="949"/>
                    </a:lnTo>
                    <a:lnTo>
                      <a:pt x="568" y="947"/>
                    </a:lnTo>
                    <a:lnTo>
                      <a:pt x="567" y="947"/>
                    </a:lnTo>
                    <a:lnTo>
                      <a:pt x="567" y="949"/>
                    </a:lnTo>
                    <a:lnTo>
                      <a:pt x="565" y="949"/>
                    </a:lnTo>
                    <a:lnTo>
                      <a:pt x="565" y="947"/>
                    </a:lnTo>
                    <a:lnTo>
                      <a:pt x="563" y="949"/>
                    </a:lnTo>
                    <a:lnTo>
                      <a:pt x="561" y="947"/>
                    </a:lnTo>
                    <a:lnTo>
                      <a:pt x="561" y="949"/>
                    </a:lnTo>
                    <a:lnTo>
                      <a:pt x="561" y="947"/>
                    </a:lnTo>
                    <a:lnTo>
                      <a:pt x="560" y="947"/>
                    </a:lnTo>
                    <a:lnTo>
                      <a:pt x="558" y="947"/>
                    </a:lnTo>
                    <a:lnTo>
                      <a:pt x="556" y="947"/>
                    </a:lnTo>
                    <a:lnTo>
                      <a:pt x="556" y="945"/>
                    </a:lnTo>
                    <a:lnTo>
                      <a:pt x="556" y="947"/>
                    </a:lnTo>
                    <a:lnTo>
                      <a:pt x="555" y="945"/>
                    </a:lnTo>
                    <a:lnTo>
                      <a:pt x="553" y="945"/>
                    </a:lnTo>
                    <a:lnTo>
                      <a:pt x="553" y="944"/>
                    </a:lnTo>
                    <a:lnTo>
                      <a:pt x="551" y="944"/>
                    </a:lnTo>
                    <a:lnTo>
                      <a:pt x="550" y="944"/>
                    </a:lnTo>
                    <a:lnTo>
                      <a:pt x="550" y="945"/>
                    </a:lnTo>
                    <a:lnTo>
                      <a:pt x="548" y="945"/>
                    </a:lnTo>
                    <a:lnTo>
                      <a:pt x="548" y="944"/>
                    </a:lnTo>
                    <a:lnTo>
                      <a:pt x="546" y="945"/>
                    </a:lnTo>
                    <a:lnTo>
                      <a:pt x="546" y="944"/>
                    </a:lnTo>
                    <a:lnTo>
                      <a:pt x="544" y="944"/>
                    </a:lnTo>
                    <a:lnTo>
                      <a:pt x="544" y="945"/>
                    </a:lnTo>
                    <a:lnTo>
                      <a:pt x="544" y="944"/>
                    </a:lnTo>
                    <a:lnTo>
                      <a:pt x="543" y="944"/>
                    </a:lnTo>
                    <a:lnTo>
                      <a:pt x="543" y="942"/>
                    </a:lnTo>
                    <a:lnTo>
                      <a:pt x="541" y="942"/>
                    </a:lnTo>
                    <a:lnTo>
                      <a:pt x="541" y="944"/>
                    </a:lnTo>
                    <a:lnTo>
                      <a:pt x="541" y="942"/>
                    </a:lnTo>
                    <a:lnTo>
                      <a:pt x="539" y="942"/>
                    </a:lnTo>
                    <a:lnTo>
                      <a:pt x="539" y="940"/>
                    </a:lnTo>
                    <a:lnTo>
                      <a:pt x="541" y="940"/>
                    </a:lnTo>
                    <a:lnTo>
                      <a:pt x="541" y="939"/>
                    </a:lnTo>
                    <a:lnTo>
                      <a:pt x="543" y="939"/>
                    </a:lnTo>
                    <a:lnTo>
                      <a:pt x="543" y="937"/>
                    </a:lnTo>
                    <a:lnTo>
                      <a:pt x="543" y="935"/>
                    </a:lnTo>
                    <a:lnTo>
                      <a:pt x="541" y="935"/>
                    </a:lnTo>
                    <a:lnTo>
                      <a:pt x="541" y="934"/>
                    </a:lnTo>
                    <a:lnTo>
                      <a:pt x="543" y="934"/>
                    </a:lnTo>
                    <a:lnTo>
                      <a:pt x="543" y="932"/>
                    </a:lnTo>
                    <a:lnTo>
                      <a:pt x="543" y="930"/>
                    </a:lnTo>
                    <a:lnTo>
                      <a:pt x="544" y="928"/>
                    </a:lnTo>
                    <a:lnTo>
                      <a:pt x="543" y="928"/>
                    </a:lnTo>
                    <a:lnTo>
                      <a:pt x="543" y="927"/>
                    </a:lnTo>
                    <a:lnTo>
                      <a:pt x="543" y="925"/>
                    </a:lnTo>
                    <a:lnTo>
                      <a:pt x="543" y="923"/>
                    </a:lnTo>
                    <a:lnTo>
                      <a:pt x="541" y="923"/>
                    </a:lnTo>
                    <a:lnTo>
                      <a:pt x="541" y="922"/>
                    </a:lnTo>
                    <a:lnTo>
                      <a:pt x="543" y="922"/>
                    </a:lnTo>
                    <a:lnTo>
                      <a:pt x="543" y="920"/>
                    </a:lnTo>
                    <a:lnTo>
                      <a:pt x="543" y="918"/>
                    </a:lnTo>
                    <a:lnTo>
                      <a:pt x="544" y="918"/>
                    </a:lnTo>
                    <a:lnTo>
                      <a:pt x="544" y="917"/>
                    </a:lnTo>
                    <a:lnTo>
                      <a:pt x="544" y="915"/>
                    </a:lnTo>
                    <a:lnTo>
                      <a:pt x="543" y="913"/>
                    </a:lnTo>
                    <a:lnTo>
                      <a:pt x="544" y="913"/>
                    </a:lnTo>
                    <a:lnTo>
                      <a:pt x="544" y="911"/>
                    </a:lnTo>
                    <a:lnTo>
                      <a:pt x="546" y="911"/>
                    </a:lnTo>
                    <a:lnTo>
                      <a:pt x="546" y="910"/>
                    </a:lnTo>
                    <a:lnTo>
                      <a:pt x="544" y="910"/>
                    </a:lnTo>
                    <a:lnTo>
                      <a:pt x="544" y="908"/>
                    </a:lnTo>
                    <a:lnTo>
                      <a:pt x="546" y="906"/>
                    </a:lnTo>
                    <a:lnTo>
                      <a:pt x="544" y="906"/>
                    </a:lnTo>
                    <a:lnTo>
                      <a:pt x="544" y="905"/>
                    </a:lnTo>
                    <a:lnTo>
                      <a:pt x="546" y="905"/>
                    </a:lnTo>
                    <a:lnTo>
                      <a:pt x="546" y="903"/>
                    </a:lnTo>
                    <a:lnTo>
                      <a:pt x="546" y="901"/>
                    </a:lnTo>
                    <a:lnTo>
                      <a:pt x="544" y="901"/>
                    </a:lnTo>
                    <a:lnTo>
                      <a:pt x="544" y="900"/>
                    </a:lnTo>
                    <a:lnTo>
                      <a:pt x="543" y="900"/>
                    </a:lnTo>
                    <a:lnTo>
                      <a:pt x="544" y="900"/>
                    </a:lnTo>
                    <a:lnTo>
                      <a:pt x="544" y="898"/>
                    </a:lnTo>
                    <a:lnTo>
                      <a:pt x="544" y="896"/>
                    </a:lnTo>
                    <a:lnTo>
                      <a:pt x="543" y="896"/>
                    </a:lnTo>
                    <a:lnTo>
                      <a:pt x="541" y="896"/>
                    </a:lnTo>
                    <a:lnTo>
                      <a:pt x="543" y="894"/>
                    </a:lnTo>
                    <a:lnTo>
                      <a:pt x="544" y="894"/>
                    </a:lnTo>
                    <a:lnTo>
                      <a:pt x="544" y="893"/>
                    </a:lnTo>
                    <a:lnTo>
                      <a:pt x="543" y="893"/>
                    </a:lnTo>
                    <a:lnTo>
                      <a:pt x="543" y="891"/>
                    </a:lnTo>
                    <a:lnTo>
                      <a:pt x="543" y="893"/>
                    </a:lnTo>
                    <a:lnTo>
                      <a:pt x="541" y="893"/>
                    </a:lnTo>
                    <a:lnTo>
                      <a:pt x="541" y="891"/>
                    </a:lnTo>
                    <a:lnTo>
                      <a:pt x="541" y="889"/>
                    </a:lnTo>
                    <a:lnTo>
                      <a:pt x="539" y="889"/>
                    </a:lnTo>
                    <a:lnTo>
                      <a:pt x="541" y="888"/>
                    </a:lnTo>
                    <a:lnTo>
                      <a:pt x="539" y="888"/>
                    </a:lnTo>
                    <a:lnTo>
                      <a:pt x="539" y="886"/>
                    </a:lnTo>
                    <a:lnTo>
                      <a:pt x="539" y="884"/>
                    </a:lnTo>
                    <a:lnTo>
                      <a:pt x="541" y="884"/>
                    </a:lnTo>
                    <a:lnTo>
                      <a:pt x="541" y="883"/>
                    </a:lnTo>
                    <a:lnTo>
                      <a:pt x="539" y="883"/>
                    </a:lnTo>
                    <a:lnTo>
                      <a:pt x="538" y="881"/>
                    </a:lnTo>
                    <a:lnTo>
                      <a:pt x="538" y="879"/>
                    </a:lnTo>
                    <a:lnTo>
                      <a:pt x="536" y="879"/>
                    </a:lnTo>
                    <a:lnTo>
                      <a:pt x="538" y="877"/>
                    </a:lnTo>
                    <a:lnTo>
                      <a:pt x="536" y="876"/>
                    </a:lnTo>
                    <a:lnTo>
                      <a:pt x="536" y="877"/>
                    </a:lnTo>
                    <a:lnTo>
                      <a:pt x="534" y="877"/>
                    </a:lnTo>
                    <a:lnTo>
                      <a:pt x="534" y="876"/>
                    </a:lnTo>
                    <a:lnTo>
                      <a:pt x="536" y="876"/>
                    </a:lnTo>
                    <a:lnTo>
                      <a:pt x="536" y="874"/>
                    </a:lnTo>
                    <a:lnTo>
                      <a:pt x="534" y="874"/>
                    </a:lnTo>
                    <a:lnTo>
                      <a:pt x="536" y="872"/>
                    </a:lnTo>
                    <a:lnTo>
                      <a:pt x="538" y="872"/>
                    </a:lnTo>
                    <a:lnTo>
                      <a:pt x="538" y="871"/>
                    </a:lnTo>
                    <a:lnTo>
                      <a:pt x="539" y="871"/>
                    </a:lnTo>
                    <a:lnTo>
                      <a:pt x="539" y="869"/>
                    </a:lnTo>
                    <a:lnTo>
                      <a:pt x="541" y="869"/>
                    </a:lnTo>
                    <a:lnTo>
                      <a:pt x="543" y="869"/>
                    </a:lnTo>
                    <a:lnTo>
                      <a:pt x="544" y="869"/>
                    </a:lnTo>
                    <a:lnTo>
                      <a:pt x="544" y="867"/>
                    </a:lnTo>
                    <a:lnTo>
                      <a:pt x="544" y="866"/>
                    </a:lnTo>
                    <a:lnTo>
                      <a:pt x="541" y="862"/>
                    </a:lnTo>
                    <a:lnTo>
                      <a:pt x="536" y="859"/>
                    </a:lnTo>
                    <a:lnTo>
                      <a:pt x="538" y="855"/>
                    </a:lnTo>
                    <a:lnTo>
                      <a:pt x="541" y="849"/>
                    </a:lnTo>
                    <a:lnTo>
                      <a:pt x="544" y="842"/>
                    </a:lnTo>
                    <a:lnTo>
                      <a:pt x="544" y="840"/>
                    </a:lnTo>
                    <a:lnTo>
                      <a:pt x="544" y="838"/>
                    </a:lnTo>
                    <a:lnTo>
                      <a:pt x="546" y="837"/>
                    </a:lnTo>
                    <a:lnTo>
                      <a:pt x="548" y="833"/>
                    </a:lnTo>
                    <a:lnTo>
                      <a:pt x="550" y="833"/>
                    </a:lnTo>
                    <a:lnTo>
                      <a:pt x="550" y="832"/>
                    </a:lnTo>
                    <a:lnTo>
                      <a:pt x="551" y="832"/>
                    </a:lnTo>
                    <a:lnTo>
                      <a:pt x="550" y="832"/>
                    </a:lnTo>
                    <a:lnTo>
                      <a:pt x="550" y="830"/>
                    </a:lnTo>
                    <a:lnTo>
                      <a:pt x="550" y="828"/>
                    </a:lnTo>
                    <a:lnTo>
                      <a:pt x="548" y="828"/>
                    </a:lnTo>
                    <a:lnTo>
                      <a:pt x="548" y="826"/>
                    </a:lnTo>
                    <a:lnTo>
                      <a:pt x="550" y="825"/>
                    </a:lnTo>
                    <a:lnTo>
                      <a:pt x="550" y="823"/>
                    </a:lnTo>
                    <a:lnTo>
                      <a:pt x="550" y="821"/>
                    </a:lnTo>
                    <a:lnTo>
                      <a:pt x="551" y="820"/>
                    </a:lnTo>
                    <a:lnTo>
                      <a:pt x="551" y="816"/>
                    </a:lnTo>
                    <a:lnTo>
                      <a:pt x="553" y="815"/>
                    </a:lnTo>
                    <a:lnTo>
                      <a:pt x="555" y="808"/>
                    </a:lnTo>
                    <a:lnTo>
                      <a:pt x="555" y="806"/>
                    </a:lnTo>
                    <a:lnTo>
                      <a:pt x="555" y="804"/>
                    </a:lnTo>
                    <a:lnTo>
                      <a:pt x="556" y="804"/>
                    </a:lnTo>
                    <a:lnTo>
                      <a:pt x="558" y="804"/>
                    </a:lnTo>
                    <a:lnTo>
                      <a:pt x="558" y="803"/>
                    </a:lnTo>
                    <a:lnTo>
                      <a:pt x="556" y="803"/>
                    </a:lnTo>
                    <a:lnTo>
                      <a:pt x="555" y="801"/>
                    </a:lnTo>
                    <a:lnTo>
                      <a:pt x="555" y="799"/>
                    </a:lnTo>
                    <a:lnTo>
                      <a:pt x="553" y="797"/>
                    </a:lnTo>
                    <a:lnTo>
                      <a:pt x="553" y="796"/>
                    </a:lnTo>
                    <a:lnTo>
                      <a:pt x="550" y="791"/>
                    </a:lnTo>
                    <a:lnTo>
                      <a:pt x="551" y="791"/>
                    </a:lnTo>
                    <a:lnTo>
                      <a:pt x="551" y="789"/>
                    </a:lnTo>
                    <a:lnTo>
                      <a:pt x="550" y="787"/>
                    </a:lnTo>
                    <a:lnTo>
                      <a:pt x="550" y="786"/>
                    </a:lnTo>
                    <a:lnTo>
                      <a:pt x="548" y="786"/>
                    </a:lnTo>
                    <a:lnTo>
                      <a:pt x="548" y="784"/>
                    </a:lnTo>
                    <a:lnTo>
                      <a:pt x="548" y="782"/>
                    </a:lnTo>
                    <a:lnTo>
                      <a:pt x="548" y="780"/>
                    </a:lnTo>
                    <a:lnTo>
                      <a:pt x="550" y="780"/>
                    </a:lnTo>
                    <a:lnTo>
                      <a:pt x="548" y="780"/>
                    </a:lnTo>
                    <a:lnTo>
                      <a:pt x="546" y="779"/>
                    </a:lnTo>
                    <a:lnTo>
                      <a:pt x="544" y="777"/>
                    </a:lnTo>
                    <a:lnTo>
                      <a:pt x="543" y="777"/>
                    </a:lnTo>
                    <a:lnTo>
                      <a:pt x="543" y="779"/>
                    </a:lnTo>
                    <a:lnTo>
                      <a:pt x="541" y="779"/>
                    </a:lnTo>
                    <a:lnTo>
                      <a:pt x="539" y="779"/>
                    </a:lnTo>
                    <a:lnTo>
                      <a:pt x="539" y="777"/>
                    </a:lnTo>
                    <a:lnTo>
                      <a:pt x="538" y="777"/>
                    </a:lnTo>
                    <a:lnTo>
                      <a:pt x="536" y="777"/>
                    </a:lnTo>
                    <a:lnTo>
                      <a:pt x="536" y="775"/>
                    </a:lnTo>
                    <a:lnTo>
                      <a:pt x="534" y="774"/>
                    </a:lnTo>
                    <a:lnTo>
                      <a:pt x="533" y="774"/>
                    </a:lnTo>
                    <a:lnTo>
                      <a:pt x="531" y="774"/>
                    </a:lnTo>
                    <a:lnTo>
                      <a:pt x="531" y="772"/>
                    </a:lnTo>
                    <a:lnTo>
                      <a:pt x="531" y="770"/>
                    </a:lnTo>
                    <a:lnTo>
                      <a:pt x="529" y="770"/>
                    </a:lnTo>
                    <a:lnTo>
                      <a:pt x="529" y="769"/>
                    </a:lnTo>
                    <a:lnTo>
                      <a:pt x="527" y="769"/>
                    </a:lnTo>
                    <a:lnTo>
                      <a:pt x="527" y="767"/>
                    </a:lnTo>
                    <a:lnTo>
                      <a:pt x="527" y="765"/>
                    </a:lnTo>
                    <a:lnTo>
                      <a:pt x="527" y="763"/>
                    </a:lnTo>
                    <a:lnTo>
                      <a:pt x="526" y="763"/>
                    </a:lnTo>
                    <a:lnTo>
                      <a:pt x="526" y="762"/>
                    </a:lnTo>
                    <a:lnTo>
                      <a:pt x="526" y="760"/>
                    </a:lnTo>
                    <a:lnTo>
                      <a:pt x="524" y="760"/>
                    </a:lnTo>
                    <a:lnTo>
                      <a:pt x="524" y="758"/>
                    </a:lnTo>
                    <a:lnTo>
                      <a:pt x="524" y="757"/>
                    </a:lnTo>
                    <a:lnTo>
                      <a:pt x="524" y="755"/>
                    </a:lnTo>
                    <a:lnTo>
                      <a:pt x="524" y="753"/>
                    </a:lnTo>
                    <a:lnTo>
                      <a:pt x="524" y="752"/>
                    </a:lnTo>
                    <a:lnTo>
                      <a:pt x="524" y="750"/>
                    </a:lnTo>
                    <a:lnTo>
                      <a:pt x="524" y="748"/>
                    </a:lnTo>
                    <a:lnTo>
                      <a:pt x="526" y="748"/>
                    </a:lnTo>
                    <a:lnTo>
                      <a:pt x="526" y="746"/>
                    </a:lnTo>
                    <a:lnTo>
                      <a:pt x="526" y="745"/>
                    </a:lnTo>
                    <a:lnTo>
                      <a:pt x="527" y="745"/>
                    </a:lnTo>
                    <a:lnTo>
                      <a:pt x="529" y="743"/>
                    </a:lnTo>
                    <a:lnTo>
                      <a:pt x="529" y="741"/>
                    </a:lnTo>
                    <a:lnTo>
                      <a:pt x="527" y="741"/>
                    </a:lnTo>
                    <a:lnTo>
                      <a:pt x="527" y="740"/>
                    </a:lnTo>
                    <a:lnTo>
                      <a:pt x="529" y="740"/>
                    </a:lnTo>
                    <a:lnTo>
                      <a:pt x="529" y="738"/>
                    </a:lnTo>
                    <a:lnTo>
                      <a:pt x="529" y="736"/>
                    </a:lnTo>
                    <a:lnTo>
                      <a:pt x="529" y="735"/>
                    </a:lnTo>
                    <a:lnTo>
                      <a:pt x="527" y="735"/>
                    </a:lnTo>
                    <a:lnTo>
                      <a:pt x="527" y="736"/>
                    </a:lnTo>
                    <a:lnTo>
                      <a:pt x="526" y="736"/>
                    </a:lnTo>
                    <a:lnTo>
                      <a:pt x="522" y="736"/>
                    </a:lnTo>
                    <a:lnTo>
                      <a:pt x="517" y="736"/>
                    </a:lnTo>
                    <a:lnTo>
                      <a:pt x="516" y="736"/>
                    </a:lnTo>
                    <a:lnTo>
                      <a:pt x="514" y="736"/>
                    </a:lnTo>
                    <a:lnTo>
                      <a:pt x="507" y="736"/>
                    </a:lnTo>
                    <a:lnTo>
                      <a:pt x="502" y="736"/>
                    </a:lnTo>
                    <a:lnTo>
                      <a:pt x="500" y="736"/>
                    </a:lnTo>
                    <a:lnTo>
                      <a:pt x="499" y="736"/>
                    </a:lnTo>
                    <a:lnTo>
                      <a:pt x="495" y="735"/>
                    </a:lnTo>
                    <a:lnTo>
                      <a:pt x="492" y="735"/>
                    </a:lnTo>
                    <a:lnTo>
                      <a:pt x="490" y="735"/>
                    </a:lnTo>
                    <a:lnTo>
                      <a:pt x="488" y="735"/>
                    </a:lnTo>
                    <a:lnTo>
                      <a:pt x="482" y="735"/>
                    </a:lnTo>
                    <a:lnTo>
                      <a:pt x="478" y="735"/>
                    </a:lnTo>
                    <a:lnTo>
                      <a:pt x="476" y="735"/>
                    </a:lnTo>
                    <a:lnTo>
                      <a:pt x="473" y="735"/>
                    </a:lnTo>
                    <a:lnTo>
                      <a:pt x="471" y="735"/>
                    </a:lnTo>
                    <a:lnTo>
                      <a:pt x="470" y="735"/>
                    </a:lnTo>
                    <a:lnTo>
                      <a:pt x="468" y="735"/>
                    </a:lnTo>
                    <a:lnTo>
                      <a:pt x="466" y="735"/>
                    </a:lnTo>
                    <a:lnTo>
                      <a:pt x="466" y="731"/>
                    </a:lnTo>
                    <a:lnTo>
                      <a:pt x="466" y="728"/>
                    </a:lnTo>
                    <a:lnTo>
                      <a:pt x="465" y="711"/>
                    </a:lnTo>
                    <a:lnTo>
                      <a:pt x="465" y="709"/>
                    </a:lnTo>
                    <a:lnTo>
                      <a:pt x="465" y="707"/>
                    </a:lnTo>
                    <a:lnTo>
                      <a:pt x="463" y="706"/>
                    </a:lnTo>
                    <a:lnTo>
                      <a:pt x="461" y="702"/>
                    </a:lnTo>
                    <a:lnTo>
                      <a:pt x="456" y="697"/>
                    </a:lnTo>
                    <a:lnTo>
                      <a:pt x="453" y="694"/>
                    </a:lnTo>
                    <a:lnTo>
                      <a:pt x="456" y="694"/>
                    </a:lnTo>
                    <a:lnTo>
                      <a:pt x="458" y="694"/>
                    </a:lnTo>
                    <a:lnTo>
                      <a:pt x="461" y="694"/>
                    </a:lnTo>
                    <a:lnTo>
                      <a:pt x="463" y="694"/>
                    </a:lnTo>
                    <a:lnTo>
                      <a:pt x="465" y="694"/>
                    </a:lnTo>
                    <a:lnTo>
                      <a:pt x="465" y="690"/>
                    </a:lnTo>
                    <a:lnTo>
                      <a:pt x="465" y="689"/>
                    </a:lnTo>
                    <a:lnTo>
                      <a:pt x="465" y="687"/>
                    </a:lnTo>
                    <a:lnTo>
                      <a:pt x="465" y="684"/>
                    </a:lnTo>
                    <a:lnTo>
                      <a:pt x="465" y="682"/>
                    </a:lnTo>
                    <a:lnTo>
                      <a:pt x="465" y="680"/>
                    </a:lnTo>
                    <a:lnTo>
                      <a:pt x="463" y="678"/>
                    </a:lnTo>
                    <a:lnTo>
                      <a:pt x="463" y="677"/>
                    </a:lnTo>
                    <a:lnTo>
                      <a:pt x="461" y="677"/>
                    </a:lnTo>
                    <a:lnTo>
                      <a:pt x="461" y="675"/>
                    </a:lnTo>
                    <a:lnTo>
                      <a:pt x="461" y="673"/>
                    </a:lnTo>
                    <a:lnTo>
                      <a:pt x="461" y="672"/>
                    </a:lnTo>
                    <a:lnTo>
                      <a:pt x="459" y="672"/>
                    </a:lnTo>
                    <a:lnTo>
                      <a:pt x="459" y="670"/>
                    </a:lnTo>
                    <a:lnTo>
                      <a:pt x="459" y="668"/>
                    </a:lnTo>
                    <a:lnTo>
                      <a:pt x="458" y="668"/>
                    </a:lnTo>
                    <a:lnTo>
                      <a:pt x="458" y="667"/>
                    </a:lnTo>
                    <a:lnTo>
                      <a:pt x="458" y="665"/>
                    </a:lnTo>
                    <a:lnTo>
                      <a:pt x="458" y="663"/>
                    </a:lnTo>
                    <a:lnTo>
                      <a:pt x="456" y="663"/>
                    </a:lnTo>
                    <a:lnTo>
                      <a:pt x="456" y="661"/>
                    </a:lnTo>
                    <a:lnTo>
                      <a:pt x="456" y="660"/>
                    </a:lnTo>
                    <a:lnTo>
                      <a:pt x="456" y="658"/>
                    </a:lnTo>
                    <a:lnTo>
                      <a:pt x="458" y="658"/>
                    </a:lnTo>
                    <a:lnTo>
                      <a:pt x="458" y="656"/>
                    </a:lnTo>
                    <a:lnTo>
                      <a:pt x="459" y="656"/>
                    </a:lnTo>
                    <a:lnTo>
                      <a:pt x="459" y="655"/>
                    </a:lnTo>
                    <a:lnTo>
                      <a:pt x="458" y="655"/>
                    </a:lnTo>
                    <a:lnTo>
                      <a:pt x="458" y="653"/>
                    </a:lnTo>
                    <a:lnTo>
                      <a:pt x="458" y="651"/>
                    </a:lnTo>
                    <a:lnTo>
                      <a:pt x="456" y="651"/>
                    </a:lnTo>
                    <a:lnTo>
                      <a:pt x="458" y="651"/>
                    </a:lnTo>
                    <a:lnTo>
                      <a:pt x="456" y="650"/>
                    </a:lnTo>
                    <a:lnTo>
                      <a:pt x="456" y="651"/>
                    </a:lnTo>
                    <a:lnTo>
                      <a:pt x="456" y="650"/>
                    </a:lnTo>
                    <a:lnTo>
                      <a:pt x="458" y="650"/>
                    </a:lnTo>
                    <a:lnTo>
                      <a:pt x="456" y="650"/>
                    </a:lnTo>
                    <a:lnTo>
                      <a:pt x="458" y="650"/>
                    </a:lnTo>
                    <a:lnTo>
                      <a:pt x="456" y="650"/>
                    </a:lnTo>
                    <a:lnTo>
                      <a:pt x="458" y="648"/>
                    </a:lnTo>
                    <a:lnTo>
                      <a:pt x="456" y="648"/>
                    </a:lnTo>
                    <a:lnTo>
                      <a:pt x="454" y="648"/>
                    </a:lnTo>
                    <a:lnTo>
                      <a:pt x="453" y="646"/>
                    </a:lnTo>
                    <a:lnTo>
                      <a:pt x="451" y="646"/>
                    </a:lnTo>
                    <a:lnTo>
                      <a:pt x="449" y="646"/>
                    </a:lnTo>
                    <a:lnTo>
                      <a:pt x="449" y="644"/>
                    </a:lnTo>
                    <a:lnTo>
                      <a:pt x="449" y="646"/>
                    </a:lnTo>
                    <a:lnTo>
                      <a:pt x="449" y="644"/>
                    </a:lnTo>
                    <a:lnTo>
                      <a:pt x="448" y="644"/>
                    </a:lnTo>
                    <a:lnTo>
                      <a:pt x="446" y="644"/>
                    </a:lnTo>
                    <a:lnTo>
                      <a:pt x="446" y="643"/>
                    </a:lnTo>
                    <a:lnTo>
                      <a:pt x="444" y="643"/>
                    </a:lnTo>
                    <a:lnTo>
                      <a:pt x="442" y="643"/>
                    </a:lnTo>
                    <a:lnTo>
                      <a:pt x="442" y="641"/>
                    </a:lnTo>
                    <a:lnTo>
                      <a:pt x="442" y="639"/>
                    </a:lnTo>
                    <a:lnTo>
                      <a:pt x="441" y="639"/>
                    </a:lnTo>
                    <a:lnTo>
                      <a:pt x="439" y="639"/>
                    </a:lnTo>
                    <a:lnTo>
                      <a:pt x="439" y="638"/>
                    </a:lnTo>
                    <a:lnTo>
                      <a:pt x="437" y="638"/>
                    </a:lnTo>
                    <a:lnTo>
                      <a:pt x="437" y="639"/>
                    </a:lnTo>
                    <a:lnTo>
                      <a:pt x="437" y="638"/>
                    </a:lnTo>
                    <a:lnTo>
                      <a:pt x="436" y="638"/>
                    </a:lnTo>
                    <a:lnTo>
                      <a:pt x="436" y="639"/>
                    </a:lnTo>
                    <a:lnTo>
                      <a:pt x="434" y="639"/>
                    </a:lnTo>
                    <a:lnTo>
                      <a:pt x="434" y="638"/>
                    </a:lnTo>
                    <a:lnTo>
                      <a:pt x="434" y="639"/>
                    </a:lnTo>
                    <a:lnTo>
                      <a:pt x="432" y="639"/>
                    </a:lnTo>
                    <a:lnTo>
                      <a:pt x="432" y="638"/>
                    </a:lnTo>
                    <a:lnTo>
                      <a:pt x="432" y="639"/>
                    </a:lnTo>
                    <a:lnTo>
                      <a:pt x="431" y="639"/>
                    </a:lnTo>
                    <a:lnTo>
                      <a:pt x="431" y="638"/>
                    </a:lnTo>
                    <a:lnTo>
                      <a:pt x="429" y="638"/>
                    </a:lnTo>
                    <a:lnTo>
                      <a:pt x="427" y="638"/>
                    </a:lnTo>
                    <a:lnTo>
                      <a:pt x="427" y="639"/>
                    </a:lnTo>
                    <a:lnTo>
                      <a:pt x="425" y="639"/>
                    </a:lnTo>
                    <a:lnTo>
                      <a:pt x="424" y="639"/>
                    </a:lnTo>
                    <a:lnTo>
                      <a:pt x="422" y="639"/>
                    </a:lnTo>
                    <a:lnTo>
                      <a:pt x="420" y="639"/>
                    </a:lnTo>
                    <a:lnTo>
                      <a:pt x="419" y="638"/>
                    </a:lnTo>
                    <a:lnTo>
                      <a:pt x="419" y="639"/>
                    </a:lnTo>
                    <a:lnTo>
                      <a:pt x="417" y="638"/>
                    </a:lnTo>
                    <a:lnTo>
                      <a:pt x="417" y="639"/>
                    </a:lnTo>
                    <a:lnTo>
                      <a:pt x="417" y="638"/>
                    </a:lnTo>
                    <a:lnTo>
                      <a:pt x="415" y="638"/>
                    </a:lnTo>
                    <a:lnTo>
                      <a:pt x="415" y="639"/>
                    </a:lnTo>
                    <a:lnTo>
                      <a:pt x="414" y="639"/>
                    </a:lnTo>
                    <a:lnTo>
                      <a:pt x="412" y="639"/>
                    </a:lnTo>
                    <a:lnTo>
                      <a:pt x="410" y="639"/>
                    </a:lnTo>
                    <a:lnTo>
                      <a:pt x="410" y="638"/>
                    </a:lnTo>
                    <a:lnTo>
                      <a:pt x="408" y="638"/>
                    </a:lnTo>
                    <a:lnTo>
                      <a:pt x="408" y="636"/>
                    </a:lnTo>
                    <a:lnTo>
                      <a:pt x="407" y="634"/>
                    </a:lnTo>
                    <a:lnTo>
                      <a:pt x="407" y="636"/>
                    </a:lnTo>
                    <a:lnTo>
                      <a:pt x="407" y="634"/>
                    </a:lnTo>
                    <a:lnTo>
                      <a:pt x="405" y="632"/>
                    </a:lnTo>
                    <a:lnTo>
                      <a:pt x="405" y="634"/>
                    </a:lnTo>
                    <a:lnTo>
                      <a:pt x="405" y="632"/>
                    </a:lnTo>
                    <a:lnTo>
                      <a:pt x="403" y="632"/>
                    </a:lnTo>
                    <a:lnTo>
                      <a:pt x="403" y="631"/>
                    </a:lnTo>
                    <a:lnTo>
                      <a:pt x="402" y="631"/>
                    </a:lnTo>
                    <a:lnTo>
                      <a:pt x="402" y="629"/>
                    </a:lnTo>
                    <a:lnTo>
                      <a:pt x="402" y="627"/>
                    </a:lnTo>
                    <a:lnTo>
                      <a:pt x="402" y="626"/>
                    </a:lnTo>
                    <a:lnTo>
                      <a:pt x="400" y="626"/>
                    </a:lnTo>
                    <a:lnTo>
                      <a:pt x="400" y="624"/>
                    </a:lnTo>
                    <a:lnTo>
                      <a:pt x="398" y="624"/>
                    </a:lnTo>
                    <a:lnTo>
                      <a:pt x="400" y="626"/>
                    </a:lnTo>
                    <a:lnTo>
                      <a:pt x="398" y="626"/>
                    </a:lnTo>
                    <a:lnTo>
                      <a:pt x="398" y="624"/>
                    </a:lnTo>
                    <a:lnTo>
                      <a:pt x="397" y="624"/>
                    </a:lnTo>
                    <a:lnTo>
                      <a:pt x="397" y="626"/>
                    </a:lnTo>
                    <a:lnTo>
                      <a:pt x="395" y="626"/>
                    </a:lnTo>
                    <a:lnTo>
                      <a:pt x="393" y="626"/>
                    </a:lnTo>
                    <a:lnTo>
                      <a:pt x="391" y="626"/>
                    </a:lnTo>
                    <a:lnTo>
                      <a:pt x="391" y="624"/>
                    </a:lnTo>
                    <a:lnTo>
                      <a:pt x="391" y="626"/>
                    </a:lnTo>
                    <a:lnTo>
                      <a:pt x="391" y="624"/>
                    </a:lnTo>
                    <a:lnTo>
                      <a:pt x="390" y="624"/>
                    </a:lnTo>
                    <a:lnTo>
                      <a:pt x="390" y="622"/>
                    </a:lnTo>
                    <a:lnTo>
                      <a:pt x="390" y="624"/>
                    </a:lnTo>
                    <a:lnTo>
                      <a:pt x="388" y="624"/>
                    </a:lnTo>
                    <a:lnTo>
                      <a:pt x="388" y="622"/>
                    </a:lnTo>
                    <a:lnTo>
                      <a:pt x="386" y="624"/>
                    </a:lnTo>
                    <a:lnTo>
                      <a:pt x="386" y="622"/>
                    </a:lnTo>
                    <a:lnTo>
                      <a:pt x="385" y="622"/>
                    </a:lnTo>
                    <a:lnTo>
                      <a:pt x="385" y="621"/>
                    </a:lnTo>
                    <a:lnTo>
                      <a:pt x="383" y="621"/>
                    </a:lnTo>
                    <a:lnTo>
                      <a:pt x="383" y="619"/>
                    </a:lnTo>
                    <a:lnTo>
                      <a:pt x="383" y="621"/>
                    </a:lnTo>
                    <a:lnTo>
                      <a:pt x="381" y="621"/>
                    </a:lnTo>
                    <a:lnTo>
                      <a:pt x="381" y="622"/>
                    </a:lnTo>
                    <a:lnTo>
                      <a:pt x="380" y="621"/>
                    </a:lnTo>
                    <a:lnTo>
                      <a:pt x="378" y="621"/>
                    </a:lnTo>
                    <a:lnTo>
                      <a:pt x="378" y="619"/>
                    </a:lnTo>
                    <a:lnTo>
                      <a:pt x="376" y="619"/>
                    </a:lnTo>
                    <a:lnTo>
                      <a:pt x="376" y="617"/>
                    </a:lnTo>
                    <a:lnTo>
                      <a:pt x="374" y="617"/>
                    </a:lnTo>
                    <a:lnTo>
                      <a:pt x="374" y="615"/>
                    </a:lnTo>
                    <a:lnTo>
                      <a:pt x="373" y="615"/>
                    </a:lnTo>
                    <a:lnTo>
                      <a:pt x="371" y="615"/>
                    </a:lnTo>
                    <a:lnTo>
                      <a:pt x="371" y="614"/>
                    </a:lnTo>
                    <a:lnTo>
                      <a:pt x="371" y="612"/>
                    </a:lnTo>
                    <a:lnTo>
                      <a:pt x="369" y="612"/>
                    </a:lnTo>
                    <a:lnTo>
                      <a:pt x="369" y="610"/>
                    </a:lnTo>
                    <a:lnTo>
                      <a:pt x="368" y="610"/>
                    </a:lnTo>
                    <a:lnTo>
                      <a:pt x="368" y="609"/>
                    </a:lnTo>
                    <a:lnTo>
                      <a:pt x="366" y="609"/>
                    </a:lnTo>
                    <a:lnTo>
                      <a:pt x="366" y="607"/>
                    </a:lnTo>
                    <a:lnTo>
                      <a:pt x="366" y="609"/>
                    </a:lnTo>
                    <a:lnTo>
                      <a:pt x="364" y="607"/>
                    </a:lnTo>
                    <a:lnTo>
                      <a:pt x="364" y="609"/>
                    </a:lnTo>
                    <a:lnTo>
                      <a:pt x="363" y="609"/>
                    </a:lnTo>
                    <a:lnTo>
                      <a:pt x="364" y="610"/>
                    </a:lnTo>
                    <a:lnTo>
                      <a:pt x="363" y="610"/>
                    </a:lnTo>
                    <a:lnTo>
                      <a:pt x="361" y="610"/>
                    </a:lnTo>
                    <a:lnTo>
                      <a:pt x="361" y="609"/>
                    </a:lnTo>
                    <a:lnTo>
                      <a:pt x="359" y="609"/>
                    </a:lnTo>
                    <a:lnTo>
                      <a:pt x="357" y="609"/>
                    </a:lnTo>
                    <a:lnTo>
                      <a:pt x="357" y="607"/>
                    </a:lnTo>
                    <a:lnTo>
                      <a:pt x="356" y="607"/>
                    </a:lnTo>
                    <a:lnTo>
                      <a:pt x="357" y="607"/>
                    </a:lnTo>
                    <a:lnTo>
                      <a:pt x="357" y="605"/>
                    </a:lnTo>
                    <a:lnTo>
                      <a:pt x="356" y="605"/>
                    </a:lnTo>
                    <a:lnTo>
                      <a:pt x="354" y="605"/>
                    </a:lnTo>
                    <a:lnTo>
                      <a:pt x="354" y="604"/>
                    </a:lnTo>
                    <a:lnTo>
                      <a:pt x="352" y="604"/>
                    </a:lnTo>
                    <a:lnTo>
                      <a:pt x="351" y="604"/>
                    </a:lnTo>
                    <a:lnTo>
                      <a:pt x="351" y="602"/>
                    </a:lnTo>
                    <a:lnTo>
                      <a:pt x="349" y="602"/>
                    </a:lnTo>
                    <a:lnTo>
                      <a:pt x="347" y="602"/>
                    </a:lnTo>
                    <a:lnTo>
                      <a:pt x="346" y="602"/>
                    </a:lnTo>
                    <a:lnTo>
                      <a:pt x="346" y="600"/>
                    </a:lnTo>
                    <a:lnTo>
                      <a:pt x="344" y="602"/>
                    </a:lnTo>
                    <a:lnTo>
                      <a:pt x="342" y="602"/>
                    </a:lnTo>
                    <a:lnTo>
                      <a:pt x="340" y="604"/>
                    </a:lnTo>
                    <a:lnTo>
                      <a:pt x="339" y="604"/>
                    </a:lnTo>
                    <a:lnTo>
                      <a:pt x="337" y="604"/>
                    </a:lnTo>
                    <a:lnTo>
                      <a:pt x="335" y="604"/>
                    </a:lnTo>
                    <a:lnTo>
                      <a:pt x="334" y="604"/>
                    </a:lnTo>
                    <a:lnTo>
                      <a:pt x="334" y="602"/>
                    </a:lnTo>
                    <a:lnTo>
                      <a:pt x="334" y="604"/>
                    </a:lnTo>
                    <a:lnTo>
                      <a:pt x="332" y="604"/>
                    </a:lnTo>
                    <a:lnTo>
                      <a:pt x="332" y="602"/>
                    </a:lnTo>
                    <a:lnTo>
                      <a:pt x="330" y="602"/>
                    </a:lnTo>
                    <a:lnTo>
                      <a:pt x="329" y="602"/>
                    </a:lnTo>
                    <a:lnTo>
                      <a:pt x="329" y="604"/>
                    </a:lnTo>
                    <a:lnTo>
                      <a:pt x="327" y="604"/>
                    </a:lnTo>
                    <a:lnTo>
                      <a:pt x="329" y="602"/>
                    </a:lnTo>
                    <a:lnTo>
                      <a:pt x="327" y="602"/>
                    </a:lnTo>
                    <a:lnTo>
                      <a:pt x="325" y="602"/>
                    </a:lnTo>
                    <a:lnTo>
                      <a:pt x="323" y="602"/>
                    </a:lnTo>
                    <a:lnTo>
                      <a:pt x="323" y="600"/>
                    </a:lnTo>
                    <a:lnTo>
                      <a:pt x="322" y="600"/>
                    </a:lnTo>
                    <a:lnTo>
                      <a:pt x="322" y="598"/>
                    </a:lnTo>
                    <a:lnTo>
                      <a:pt x="320" y="598"/>
                    </a:lnTo>
                    <a:lnTo>
                      <a:pt x="322" y="597"/>
                    </a:lnTo>
                    <a:lnTo>
                      <a:pt x="322" y="595"/>
                    </a:lnTo>
                    <a:lnTo>
                      <a:pt x="320" y="595"/>
                    </a:lnTo>
                    <a:lnTo>
                      <a:pt x="320" y="593"/>
                    </a:lnTo>
                    <a:lnTo>
                      <a:pt x="320" y="595"/>
                    </a:lnTo>
                    <a:lnTo>
                      <a:pt x="318" y="595"/>
                    </a:lnTo>
                    <a:lnTo>
                      <a:pt x="318" y="593"/>
                    </a:lnTo>
                    <a:lnTo>
                      <a:pt x="317" y="593"/>
                    </a:lnTo>
                    <a:lnTo>
                      <a:pt x="315" y="593"/>
                    </a:lnTo>
                    <a:lnTo>
                      <a:pt x="313" y="592"/>
                    </a:lnTo>
                    <a:lnTo>
                      <a:pt x="313" y="590"/>
                    </a:lnTo>
                    <a:lnTo>
                      <a:pt x="315" y="590"/>
                    </a:lnTo>
                    <a:lnTo>
                      <a:pt x="313" y="590"/>
                    </a:lnTo>
                    <a:lnTo>
                      <a:pt x="313" y="588"/>
                    </a:lnTo>
                    <a:lnTo>
                      <a:pt x="313" y="590"/>
                    </a:lnTo>
                    <a:lnTo>
                      <a:pt x="313" y="592"/>
                    </a:lnTo>
                    <a:lnTo>
                      <a:pt x="312" y="592"/>
                    </a:lnTo>
                    <a:lnTo>
                      <a:pt x="312" y="590"/>
                    </a:lnTo>
                    <a:lnTo>
                      <a:pt x="312" y="588"/>
                    </a:lnTo>
                    <a:lnTo>
                      <a:pt x="310" y="588"/>
                    </a:lnTo>
                    <a:lnTo>
                      <a:pt x="310" y="590"/>
                    </a:lnTo>
                    <a:lnTo>
                      <a:pt x="310" y="588"/>
                    </a:lnTo>
                    <a:lnTo>
                      <a:pt x="310" y="587"/>
                    </a:lnTo>
                    <a:lnTo>
                      <a:pt x="308" y="587"/>
                    </a:lnTo>
                    <a:lnTo>
                      <a:pt x="306" y="587"/>
                    </a:lnTo>
                    <a:lnTo>
                      <a:pt x="305" y="587"/>
                    </a:lnTo>
                    <a:lnTo>
                      <a:pt x="303" y="587"/>
                    </a:lnTo>
                    <a:lnTo>
                      <a:pt x="303" y="585"/>
                    </a:lnTo>
                    <a:lnTo>
                      <a:pt x="303" y="583"/>
                    </a:lnTo>
                    <a:lnTo>
                      <a:pt x="303" y="581"/>
                    </a:lnTo>
                    <a:lnTo>
                      <a:pt x="301" y="581"/>
                    </a:lnTo>
                    <a:lnTo>
                      <a:pt x="301" y="580"/>
                    </a:lnTo>
                    <a:lnTo>
                      <a:pt x="301" y="578"/>
                    </a:lnTo>
                    <a:lnTo>
                      <a:pt x="301" y="576"/>
                    </a:lnTo>
                    <a:lnTo>
                      <a:pt x="300" y="576"/>
                    </a:lnTo>
                    <a:lnTo>
                      <a:pt x="298" y="576"/>
                    </a:lnTo>
                    <a:lnTo>
                      <a:pt x="298" y="578"/>
                    </a:lnTo>
                    <a:lnTo>
                      <a:pt x="296" y="578"/>
                    </a:lnTo>
                    <a:lnTo>
                      <a:pt x="296" y="576"/>
                    </a:lnTo>
                    <a:lnTo>
                      <a:pt x="295" y="576"/>
                    </a:lnTo>
                    <a:lnTo>
                      <a:pt x="296" y="575"/>
                    </a:lnTo>
                    <a:lnTo>
                      <a:pt x="296" y="573"/>
                    </a:lnTo>
                    <a:lnTo>
                      <a:pt x="296" y="571"/>
                    </a:lnTo>
                    <a:lnTo>
                      <a:pt x="296" y="570"/>
                    </a:lnTo>
                    <a:lnTo>
                      <a:pt x="295" y="570"/>
                    </a:lnTo>
                    <a:lnTo>
                      <a:pt x="293" y="568"/>
                    </a:lnTo>
                    <a:lnTo>
                      <a:pt x="293" y="566"/>
                    </a:lnTo>
                    <a:lnTo>
                      <a:pt x="293" y="564"/>
                    </a:lnTo>
                    <a:lnTo>
                      <a:pt x="293" y="563"/>
                    </a:lnTo>
                    <a:lnTo>
                      <a:pt x="295" y="563"/>
                    </a:lnTo>
                    <a:lnTo>
                      <a:pt x="293" y="563"/>
                    </a:lnTo>
                    <a:lnTo>
                      <a:pt x="293" y="561"/>
                    </a:lnTo>
                    <a:lnTo>
                      <a:pt x="291" y="561"/>
                    </a:lnTo>
                    <a:lnTo>
                      <a:pt x="291" y="559"/>
                    </a:lnTo>
                    <a:lnTo>
                      <a:pt x="293" y="559"/>
                    </a:lnTo>
                    <a:lnTo>
                      <a:pt x="293" y="558"/>
                    </a:lnTo>
                    <a:lnTo>
                      <a:pt x="291" y="558"/>
                    </a:lnTo>
                    <a:lnTo>
                      <a:pt x="291" y="556"/>
                    </a:lnTo>
                    <a:lnTo>
                      <a:pt x="293" y="556"/>
                    </a:lnTo>
                    <a:lnTo>
                      <a:pt x="295" y="554"/>
                    </a:lnTo>
                    <a:lnTo>
                      <a:pt x="295" y="553"/>
                    </a:lnTo>
                    <a:lnTo>
                      <a:pt x="296" y="551"/>
                    </a:lnTo>
                    <a:lnTo>
                      <a:pt x="295" y="551"/>
                    </a:lnTo>
                    <a:lnTo>
                      <a:pt x="295" y="549"/>
                    </a:lnTo>
                    <a:lnTo>
                      <a:pt x="295" y="547"/>
                    </a:lnTo>
                    <a:lnTo>
                      <a:pt x="295" y="546"/>
                    </a:lnTo>
                    <a:lnTo>
                      <a:pt x="293" y="546"/>
                    </a:lnTo>
                    <a:lnTo>
                      <a:pt x="293" y="544"/>
                    </a:lnTo>
                    <a:lnTo>
                      <a:pt x="293" y="542"/>
                    </a:lnTo>
                    <a:lnTo>
                      <a:pt x="293" y="541"/>
                    </a:lnTo>
                    <a:lnTo>
                      <a:pt x="291" y="539"/>
                    </a:lnTo>
                    <a:lnTo>
                      <a:pt x="289" y="537"/>
                    </a:lnTo>
                    <a:lnTo>
                      <a:pt x="291" y="537"/>
                    </a:lnTo>
                    <a:lnTo>
                      <a:pt x="291" y="536"/>
                    </a:lnTo>
                    <a:lnTo>
                      <a:pt x="289" y="536"/>
                    </a:lnTo>
                    <a:lnTo>
                      <a:pt x="289" y="534"/>
                    </a:lnTo>
                    <a:lnTo>
                      <a:pt x="291" y="534"/>
                    </a:lnTo>
                    <a:lnTo>
                      <a:pt x="291" y="532"/>
                    </a:lnTo>
                    <a:lnTo>
                      <a:pt x="291" y="530"/>
                    </a:lnTo>
                    <a:lnTo>
                      <a:pt x="291" y="529"/>
                    </a:lnTo>
                    <a:lnTo>
                      <a:pt x="293" y="529"/>
                    </a:lnTo>
                    <a:lnTo>
                      <a:pt x="293" y="527"/>
                    </a:lnTo>
                    <a:lnTo>
                      <a:pt x="293" y="525"/>
                    </a:lnTo>
                    <a:lnTo>
                      <a:pt x="295" y="525"/>
                    </a:lnTo>
                    <a:lnTo>
                      <a:pt x="295" y="524"/>
                    </a:lnTo>
                    <a:lnTo>
                      <a:pt x="293" y="524"/>
                    </a:lnTo>
                    <a:lnTo>
                      <a:pt x="295" y="522"/>
                    </a:lnTo>
                    <a:lnTo>
                      <a:pt x="295" y="520"/>
                    </a:lnTo>
                    <a:lnTo>
                      <a:pt x="293" y="520"/>
                    </a:lnTo>
                    <a:lnTo>
                      <a:pt x="293" y="519"/>
                    </a:lnTo>
                    <a:lnTo>
                      <a:pt x="293" y="517"/>
                    </a:lnTo>
                    <a:lnTo>
                      <a:pt x="293" y="515"/>
                    </a:lnTo>
                    <a:lnTo>
                      <a:pt x="293" y="513"/>
                    </a:lnTo>
                    <a:lnTo>
                      <a:pt x="295" y="513"/>
                    </a:lnTo>
                    <a:lnTo>
                      <a:pt x="295" y="512"/>
                    </a:lnTo>
                    <a:lnTo>
                      <a:pt x="293" y="512"/>
                    </a:lnTo>
                    <a:lnTo>
                      <a:pt x="293" y="510"/>
                    </a:lnTo>
                    <a:lnTo>
                      <a:pt x="293" y="508"/>
                    </a:lnTo>
                    <a:lnTo>
                      <a:pt x="291" y="508"/>
                    </a:lnTo>
                    <a:lnTo>
                      <a:pt x="291" y="507"/>
                    </a:lnTo>
                    <a:lnTo>
                      <a:pt x="289" y="507"/>
                    </a:lnTo>
                    <a:lnTo>
                      <a:pt x="288" y="507"/>
                    </a:lnTo>
                    <a:lnTo>
                      <a:pt x="288" y="508"/>
                    </a:lnTo>
                    <a:lnTo>
                      <a:pt x="288" y="507"/>
                    </a:lnTo>
                    <a:lnTo>
                      <a:pt x="288" y="508"/>
                    </a:lnTo>
                    <a:lnTo>
                      <a:pt x="288" y="510"/>
                    </a:lnTo>
                    <a:lnTo>
                      <a:pt x="286" y="510"/>
                    </a:lnTo>
                    <a:lnTo>
                      <a:pt x="284" y="510"/>
                    </a:lnTo>
                    <a:lnTo>
                      <a:pt x="284" y="512"/>
                    </a:lnTo>
                    <a:lnTo>
                      <a:pt x="286" y="512"/>
                    </a:lnTo>
                    <a:lnTo>
                      <a:pt x="284" y="512"/>
                    </a:lnTo>
                    <a:lnTo>
                      <a:pt x="283" y="512"/>
                    </a:lnTo>
                    <a:lnTo>
                      <a:pt x="283" y="510"/>
                    </a:lnTo>
                    <a:lnTo>
                      <a:pt x="283" y="512"/>
                    </a:lnTo>
                    <a:lnTo>
                      <a:pt x="283" y="510"/>
                    </a:lnTo>
                    <a:lnTo>
                      <a:pt x="281" y="510"/>
                    </a:lnTo>
                    <a:lnTo>
                      <a:pt x="281" y="512"/>
                    </a:lnTo>
                    <a:lnTo>
                      <a:pt x="279" y="510"/>
                    </a:lnTo>
                    <a:lnTo>
                      <a:pt x="281" y="510"/>
                    </a:lnTo>
                    <a:lnTo>
                      <a:pt x="279" y="510"/>
                    </a:lnTo>
                    <a:lnTo>
                      <a:pt x="281" y="510"/>
                    </a:lnTo>
                    <a:lnTo>
                      <a:pt x="281" y="508"/>
                    </a:lnTo>
                    <a:lnTo>
                      <a:pt x="279" y="508"/>
                    </a:lnTo>
                    <a:lnTo>
                      <a:pt x="279" y="510"/>
                    </a:lnTo>
                    <a:lnTo>
                      <a:pt x="278" y="508"/>
                    </a:lnTo>
                    <a:lnTo>
                      <a:pt x="278" y="510"/>
                    </a:lnTo>
                    <a:lnTo>
                      <a:pt x="276" y="510"/>
                    </a:lnTo>
                    <a:lnTo>
                      <a:pt x="278" y="508"/>
                    </a:lnTo>
                    <a:lnTo>
                      <a:pt x="276" y="508"/>
                    </a:lnTo>
                    <a:lnTo>
                      <a:pt x="276" y="510"/>
                    </a:lnTo>
                    <a:lnTo>
                      <a:pt x="274" y="510"/>
                    </a:lnTo>
                    <a:lnTo>
                      <a:pt x="274" y="508"/>
                    </a:lnTo>
                    <a:lnTo>
                      <a:pt x="274" y="510"/>
                    </a:lnTo>
                    <a:lnTo>
                      <a:pt x="272" y="508"/>
                    </a:lnTo>
                    <a:lnTo>
                      <a:pt x="272" y="510"/>
                    </a:lnTo>
                    <a:lnTo>
                      <a:pt x="272" y="508"/>
                    </a:lnTo>
                    <a:lnTo>
                      <a:pt x="272" y="510"/>
                    </a:lnTo>
                    <a:lnTo>
                      <a:pt x="271" y="510"/>
                    </a:lnTo>
                    <a:lnTo>
                      <a:pt x="269" y="510"/>
                    </a:lnTo>
                    <a:lnTo>
                      <a:pt x="269" y="512"/>
                    </a:lnTo>
                    <a:lnTo>
                      <a:pt x="269" y="510"/>
                    </a:lnTo>
                    <a:lnTo>
                      <a:pt x="267" y="510"/>
                    </a:lnTo>
                    <a:lnTo>
                      <a:pt x="267" y="512"/>
                    </a:lnTo>
                    <a:lnTo>
                      <a:pt x="267" y="510"/>
                    </a:lnTo>
                    <a:lnTo>
                      <a:pt x="266" y="510"/>
                    </a:lnTo>
                    <a:lnTo>
                      <a:pt x="264" y="510"/>
                    </a:lnTo>
                    <a:lnTo>
                      <a:pt x="264" y="512"/>
                    </a:lnTo>
                    <a:lnTo>
                      <a:pt x="262" y="512"/>
                    </a:lnTo>
                    <a:lnTo>
                      <a:pt x="262" y="510"/>
                    </a:lnTo>
                    <a:lnTo>
                      <a:pt x="262" y="512"/>
                    </a:lnTo>
                    <a:lnTo>
                      <a:pt x="261" y="512"/>
                    </a:lnTo>
                    <a:lnTo>
                      <a:pt x="259" y="512"/>
                    </a:lnTo>
                    <a:lnTo>
                      <a:pt x="259" y="513"/>
                    </a:lnTo>
                    <a:lnTo>
                      <a:pt x="257" y="513"/>
                    </a:lnTo>
                    <a:lnTo>
                      <a:pt x="255" y="513"/>
                    </a:lnTo>
                    <a:lnTo>
                      <a:pt x="257" y="513"/>
                    </a:lnTo>
                    <a:lnTo>
                      <a:pt x="255" y="513"/>
                    </a:lnTo>
                    <a:lnTo>
                      <a:pt x="254" y="513"/>
                    </a:lnTo>
                    <a:lnTo>
                      <a:pt x="252" y="513"/>
                    </a:lnTo>
                    <a:lnTo>
                      <a:pt x="250" y="513"/>
                    </a:lnTo>
                    <a:lnTo>
                      <a:pt x="249" y="513"/>
                    </a:lnTo>
                    <a:lnTo>
                      <a:pt x="249" y="515"/>
                    </a:lnTo>
                    <a:lnTo>
                      <a:pt x="247" y="515"/>
                    </a:lnTo>
                    <a:lnTo>
                      <a:pt x="247" y="517"/>
                    </a:lnTo>
                    <a:lnTo>
                      <a:pt x="245" y="517"/>
                    </a:lnTo>
                    <a:lnTo>
                      <a:pt x="244" y="519"/>
                    </a:lnTo>
                    <a:lnTo>
                      <a:pt x="242" y="519"/>
                    </a:lnTo>
                    <a:lnTo>
                      <a:pt x="242" y="520"/>
                    </a:lnTo>
                    <a:lnTo>
                      <a:pt x="240" y="520"/>
                    </a:lnTo>
                    <a:lnTo>
                      <a:pt x="240" y="522"/>
                    </a:lnTo>
                    <a:lnTo>
                      <a:pt x="238" y="522"/>
                    </a:lnTo>
                    <a:lnTo>
                      <a:pt x="240" y="522"/>
                    </a:lnTo>
                    <a:lnTo>
                      <a:pt x="238" y="522"/>
                    </a:lnTo>
                    <a:lnTo>
                      <a:pt x="238" y="524"/>
                    </a:lnTo>
                    <a:lnTo>
                      <a:pt x="237" y="524"/>
                    </a:lnTo>
                    <a:lnTo>
                      <a:pt x="237" y="525"/>
                    </a:lnTo>
                    <a:lnTo>
                      <a:pt x="235" y="527"/>
                    </a:lnTo>
                    <a:lnTo>
                      <a:pt x="233" y="527"/>
                    </a:lnTo>
                    <a:lnTo>
                      <a:pt x="232" y="527"/>
                    </a:lnTo>
                    <a:lnTo>
                      <a:pt x="232" y="529"/>
                    </a:lnTo>
                    <a:lnTo>
                      <a:pt x="230" y="529"/>
                    </a:lnTo>
                    <a:lnTo>
                      <a:pt x="228" y="529"/>
                    </a:lnTo>
                    <a:lnTo>
                      <a:pt x="227" y="529"/>
                    </a:lnTo>
                    <a:lnTo>
                      <a:pt x="225" y="529"/>
                    </a:lnTo>
                    <a:lnTo>
                      <a:pt x="227" y="529"/>
                    </a:lnTo>
                    <a:lnTo>
                      <a:pt x="227" y="530"/>
                    </a:lnTo>
                    <a:lnTo>
                      <a:pt x="225" y="530"/>
                    </a:lnTo>
                    <a:lnTo>
                      <a:pt x="223" y="530"/>
                    </a:lnTo>
                    <a:lnTo>
                      <a:pt x="221" y="530"/>
                    </a:lnTo>
                    <a:lnTo>
                      <a:pt x="223" y="530"/>
                    </a:lnTo>
                    <a:lnTo>
                      <a:pt x="223" y="532"/>
                    </a:lnTo>
                    <a:lnTo>
                      <a:pt x="221" y="532"/>
                    </a:lnTo>
                    <a:lnTo>
                      <a:pt x="221" y="534"/>
                    </a:lnTo>
                    <a:lnTo>
                      <a:pt x="221" y="532"/>
                    </a:lnTo>
                    <a:lnTo>
                      <a:pt x="220" y="534"/>
                    </a:lnTo>
                    <a:lnTo>
                      <a:pt x="218" y="534"/>
                    </a:lnTo>
                    <a:lnTo>
                      <a:pt x="216" y="536"/>
                    </a:lnTo>
                    <a:lnTo>
                      <a:pt x="216" y="537"/>
                    </a:lnTo>
                    <a:lnTo>
                      <a:pt x="215" y="537"/>
                    </a:lnTo>
                    <a:lnTo>
                      <a:pt x="215" y="539"/>
                    </a:lnTo>
                    <a:lnTo>
                      <a:pt x="213" y="537"/>
                    </a:lnTo>
                    <a:lnTo>
                      <a:pt x="213" y="539"/>
                    </a:lnTo>
                    <a:lnTo>
                      <a:pt x="213" y="541"/>
                    </a:lnTo>
                    <a:lnTo>
                      <a:pt x="213" y="542"/>
                    </a:lnTo>
                    <a:lnTo>
                      <a:pt x="211" y="542"/>
                    </a:lnTo>
                    <a:lnTo>
                      <a:pt x="211" y="541"/>
                    </a:lnTo>
                    <a:lnTo>
                      <a:pt x="210" y="541"/>
                    </a:lnTo>
                    <a:lnTo>
                      <a:pt x="208" y="539"/>
                    </a:lnTo>
                    <a:lnTo>
                      <a:pt x="206" y="539"/>
                    </a:lnTo>
                    <a:lnTo>
                      <a:pt x="204" y="541"/>
                    </a:lnTo>
                    <a:lnTo>
                      <a:pt x="204" y="539"/>
                    </a:lnTo>
                    <a:lnTo>
                      <a:pt x="203" y="541"/>
                    </a:lnTo>
                    <a:lnTo>
                      <a:pt x="203" y="539"/>
                    </a:lnTo>
                    <a:lnTo>
                      <a:pt x="201" y="541"/>
                    </a:lnTo>
                    <a:lnTo>
                      <a:pt x="199" y="541"/>
                    </a:lnTo>
                    <a:lnTo>
                      <a:pt x="199" y="542"/>
                    </a:lnTo>
                    <a:lnTo>
                      <a:pt x="199" y="544"/>
                    </a:lnTo>
                    <a:lnTo>
                      <a:pt x="198" y="544"/>
                    </a:lnTo>
                    <a:lnTo>
                      <a:pt x="198" y="546"/>
                    </a:lnTo>
                    <a:lnTo>
                      <a:pt x="196" y="547"/>
                    </a:lnTo>
                    <a:lnTo>
                      <a:pt x="196" y="549"/>
                    </a:lnTo>
                    <a:lnTo>
                      <a:pt x="194" y="549"/>
                    </a:lnTo>
                    <a:lnTo>
                      <a:pt x="194" y="551"/>
                    </a:lnTo>
                    <a:lnTo>
                      <a:pt x="193" y="551"/>
                    </a:lnTo>
                    <a:lnTo>
                      <a:pt x="193" y="553"/>
                    </a:lnTo>
                    <a:lnTo>
                      <a:pt x="191" y="553"/>
                    </a:lnTo>
                    <a:lnTo>
                      <a:pt x="189" y="553"/>
                    </a:lnTo>
                    <a:lnTo>
                      <a:pt x="189" y="554"/>
                    </a:lnTo>
                    <a:lnTo>
                      <a:pt x="189" y="553"/>
                    </a:lnTo>
                    <a:lnTo>
                      <a:pt x="187" y="553"/>
                    </a:lnTo>
                    <a:lnTo>
                      <a:pt x="187" y="554"/>
                    </a:lnTo>
                    <a:lnTo>
                      <a:pt x="186" y="553"/>
                    </a:lnTo>
                    <a:lnTo>
                      <a:pt x="186" y="554"/>
                    </a:lnTo>
                    <a:lnTo>
                      <a:pt x="184" y="554"/>
                    </a:lnTo>
                    <a:lnTo>
                      <a:pt x="184" y="556"/>
                    </a:lnTo>
                    <a:lnTo>
                      <a:pt x="179" y="558"/>
                    </a:lnTo>
                    <a:lnTo>
                      <a:pt x="179" y="556"/>
                    </a:lnTo>
                    <a:lnTo>
                      <a:pt x="177" y="554"/>
                    </a:lnTo>
                    <a:lnTo>
                      <a:pt x="177" y="553"/>
                    </a:lnTo>
                    <a:lnTo>
                      <a:pt x="177" y="551"/>
                    </a:lnTo>
                    <a:lnTo>
                      <a:pt x="176" y="553"/>
                    </a:lnTo>
                    <a:lnTo>
                      <a:pt x="176" y="551"/>
                    </a:lnTo>
                    <a:lnTo>
                      <a:pt x="176" y="553"/>
                    </a:lnTo>
                    <a:lnTo>
                      <a:pt x="174" y="551"/>
                    </a:lnTo>
                    <a:lnTo>
                      <a:pt x="174" y="553"/>
                    </a:lnTo>
                    <a:lnTo>
                      <a:pt x="172" y="553"/>
                    </a:lnTo>
                    <a:lnTo>
                      <a:pt x="174" y="553"/>
                    </a:lnTo>
                    <a:lnTo>
                      <a:pt x="172" y="553"/>
                    </a:lnTo>
                    <a:lnTo>
                      <a:pt x="170" y="553"/>
                    </a:lnTo>
                    <a:lnTo>
                      <a:pt x="170" y="551"/>
                    </a:lnTo>
                    <a:lnTo>
                      <a:pt x="169" y="551"/>
                    </a:lnTo>
                    <a:lnTo>
                      <a:pt x="169" y="553"/>
                    </a:lnTo>
                    <a:lnTo>
                      <a:pt x="169" y="551"/>
                    </a:lnTo>
                    <a:lnTo>
                      <a:pt x="167" y="551"/>
                    </a:lnTo>
                    <a:lnTo>
                      <a:pt x="165" y="551"/>
                    </a:lnTo>
                    <a:lnTo>
                      <a:pt x="164" y="551"/>
                    </a:lnTo>
                    <a:lnTo>
                      <a:pt x="162" y="549"/>
                    </a:lnTo>
                    <a:lnTo>
                      <a:pt x="162" y="551"/>
                    </a:lnTo>
                    <a:lnTo>
                      <a:pt x="162" y="549"/>
                    </a:lnTo>
                    <a:lnTo>
                      <a:pt x="160" y="549"/>
                    </a:lnTo>
                    <a:lnTo>
                      <a:pt x="160" y="551"/>
                    </a:lnTo>
                    <a:lnTo>
                      <a:pt x="160" y="549"/>
                    </a:lnTo>
                    <a:lnTo>
                      <a:pt x="159" y="549"/>
                    </a:lnTo>
                    <a:lnTo>
                      <a:pt x="157" y="551"/>
                    </a:lnTo>
                    <a:lnTo>
                      <a:pt x="157" y="549"/>
                    </a:lnTo>
                    <a:lnTo>
                      <a:pt x="157" y="551"/>
                    </a:lnTo>
                    <a:lnTo>
                      <a:pt x="155" y="549"/>
                    </a:lnTo>
                    <a:lnTo>
                      <a:pt x="153" y="549"/>
                    </a:lnTo>
                    <a:lnTo>
                      <a:pt x="153" y="551"/>
                    </a:lnTo>
                    <a:lnTo>
                      <a:pt x="152" y="549"/>
                    </a:lnTo>
                    <a:lnTo>
                      <a:pt x="150" y="549"/>
                    </a:lnTo>
                    <a:lnTo>
                      <a:pt x="150" y="551"/>
                    </a:lnTo>
                    <a:lnTo>
                      <a:pt x="150" y="549"/>
                    </a:lnTo>
                    <a:close/>
                    <a:moveTo>
                      <a:pt x="1401" y="308"/>
                    </a:moveTo>
                    <a:lnTo>
                      <a:pt x="1405" y="308"/>
                    </a:lnTo>
                    <a:lnTo>
                      <a:pt x="1405" y="309"/>
                    </a:lnTo>
                    <a:lnTo>
                      <a:pt x="1401" y="309"/>
                    </a:lnTo>
                    <a:lnTo>
                      <a:pt x="1401" y="308"/>
                    </a:lnTo>
                    <a:close/>
                    <a:moveTo>
                      <a:pt x="847" y="234"/>
                    </a:moveTo>
                    <a:lnTo>
                      <a:pt x="849" y="234"/>
                    </a:lnTo>
                    <a:lnTo>
                      <a:pt x="849" y="236"/>
                    </a:lnTo>
                    <a:lnTo>
                      <a:pt x="847" y="236"/>
                    </a:lnTo>
                    <a:lnTo>
                      <a:pt x="847" y="234"/>
                    </a:lnTo>
                    <a:close/>
                    <a:moveTo>
                      <a:pt x="847" y="231"/>
                    </a:moveTo>
                    <a:lnTo>
                      <a:pt x="849" y="231"/>
                    </a:lnTo>
                    <a:lnTo>
                      <a:pt x="847" y="231"/>
                    </a:lnTo>
                    <a:close/>
                    <a:moveTo>
                      <a:pt x="859" y="223"/>
                    </a:moveTo>
                    <a:lnTo>
                      <a:pt x="861" y="223"/>
                    </a:lnTo>
                    <a:lnTo>
                      <a:pt x="861" y="224"/>
                    </a:lnTo>
                    <a:lnTo>
                      <a:pt x="859" y="224"/>
                    </a:lnTo>
                    <a:lnTo>
                      <a:pt x="859" y="223"/>
                    </a:lnTo>
                    <a:close/>
                    <a:moveTo>
                      <a:pt x="859" y="221"/>
                    </a:moveTo>
                    <a:lnTo>
                      <a:pt x="861" y="221"/>
                    </a:lnTo>
                    <a:lnTo>
                      <a:pt x="861" y="223"/>
                    </a:lnTo>
                    <a:lnTo>
                      <a:pt x="859" y="223"/>
                    </a:lnTo>
                    <a:lnTo>
                      <a:pt x="859" y="221"/>
                    </a:lnTo>
                    <a:close/>
                    <a:moveTo>
                      <a:pt x="859" y="221"/>
                    </a:moveTo>
                    <a:lnTo>
                      <a:pt x="861" y="221"/>
                    </a:lnTo>
                    <a:lnTo>
                      <a:pt x="861" y="223"/>
                    </a:lnTo>
                    <a:lnTo>
                      <a:pt x="859" y="223"/>
                    </a:lnTo>
                    <a:lnTo>
                      <a:pt x="859" y="221"/>
                    </a:lnTo>
                    <a:close/>
                    <a:moveTo>
                      <a:pt x="861" y="219"/>
                    </a:moveTo>
                    <a:lnTo>
                      <a:pt x="861" y="221"/>
                    </a:lnTo>
                    <a:lnTo>
                      <a:pt x="861" y="219"/>
                    </a:lnTo>
                    <a:close/>
                    <a:moveTo>
                      <a:pt x="859" y="219"/>
                    </a:moveTo>
                    <a:lnTo>
                      <a:pt x="861" y="219"/>
                    </a:lnTo>
                    <a:lnTo>
                      <a:pt x="861" y="221"/>
                    </a:lnTo>
                    <a:lnTo>
                      <a:pt x="859" y="221"/>
                    </a:lnTo>
                    <a:lnTo>
                      <a:pt x="859" y="219"/>
                    </a:lnTo>
                    <a:close/>
                    <a:moveTo>
                      <a:pt x="930" y="209"/>
                    </a:moveTo>
                    <a:lnTo>
                      <a:pt x="932" y="209"/>
                    </a:lnTo>
                    <a:lnTo>
                      <a:pt x="932" y="211"/>
                    </a:lnTo>
                    <a:lnTo>
                      <a:pt x="930" y="211"/>
                    </a:lnTo>
                    <a:lnTo>
                      <a:pt x="930" y="209"/>
                    </a:lnTo>
                    <a:close/>
                    <a:moveTo>
                      <a:pt x="934" y="209"/>
                    </a:moveTo>
                    <a:lnTo>
                      <a:pt x="935" y="209"/>
                    </a:lnTo>
                    <a:lnTo>
                      <a:pt x="935" y="212"/>
                    </a:lnTo>
                    <a:lnTo>
                      <a:pt x="934" y="212"/>
                    </a:lnTo>
                    <a:lnTo>
                      <a:pt x="934" y="209"/>
                    </a:lnTo>
                    <a:close/>
                    <a:moveTo>
                      <a:pt x="920" y="204"/>
                    </a:moveTo>
                    <a:lnTo>
                      <a:pt x="922" y="204"/>
                    </a:lnTo>
                    <a:lnTo>
                      <a:pt x="920" y="204"/>
                    </a:lnTo>
                    <a:close/>
                    <a:moveTo>
                      <a:pt x="896" y="202"/>
                    </a:moveTo>
                    <a:lnTo>
                      <a:pt x="896" y="204"/>
                    </a:lnTo>
                    <a:lnTo>
                      <a:pt x="896" y="202"/>
                    </a:lnTo>
                    <a:close/>
                    <a:moveTo>
                      <a:pt x="878" y="200"/>
                    </a:moveTo>
                    <a:lnTo>
                      <a:pt x="878" y="202"/>
                    </a:lnTo>
                    <a:lnTo>
                      <a:pt x="878" y="200"/>
                    </a:lnTo>
                    <a:close/>
                    <a:moveTo>
                      <a:pt x="878" y="200"/>
                    </a:moveTo>
                    <a:lnTo>
                      <a:pt x="879" y="200"/>
                    </a:lnTo>
                    <a:lnTo>
                      <a:pt x="878" y="200"/>
                    </a:lnTo>
                    <a:close/>
                    <a:moveTo>
                      <a:pt x="883" y="199"/>
                    </a:moveTo>
                    <a:lnTo>
                      <a:pt x="884" y="199"/>
                    </a:lnTo>
                    <a:lnTo>
                      <a:pt x="884" y="200"/>
                    </a:lnTo>
                    <a:lnTo>
                      <a:pt x="883" y="200"/>
                    </a:lnTo>
                    <a:lnTo>
                      <a:pt x="883" y="199"/>
                    </a:lnTo>
                    <a:close/>
                    <a:moveTo>
                      <a:pt x="884" y="197"/>
                    </a:moveTo>
                    <a:lnTo>
                      <a:pt x="884" y="199"/>
                    </a:lnTo>
                    <a:lnTo>
                      <a:pt x="884" y="197"/>
                    </a:lnTo>
                    <a:close/>
                    <a:moveTo>
                      <a:pt x="784" y="190"/>
                    </a:moveTo>
                    <a:lnTo>
                      <a:pt x="782" y="190"/>
                    </a:lnTo>
                    <a:lnTo>
                      <a:pt x="781" y="190"/>
                    </a:lnTo>
                    <a:lnTo>
                      <a:pt x="779" y="190"/>
                    </a:lnTo>
                    <a:lnTo>
                      <a:pt x="779" y="189"/>
                    </a:lnTo>
                    <a:lnTo>
                      <a:pt x="781" y="189"/>
                    </a:lnTo>
                    <a:lnTo>
                      <a:pt x="782" y="187"/>
                    </a:lnTo>
                    <a:lnTo>
                      <a:pt x="784" y="187"/>
                    </a:lnTo>
                    <a:lnTo>
                      <a:pt x="784" y="185"/>
                    </a:lnTo>
                    <a:lnTo>
                      <a:pt x="784" y="187"/>
                    </a:lnTo>
                    <a:lnTo>
                      <a:pt x="784" y="189"/>
                    </a:lnTo>
                    <a:lnTo>
                      <a:pt x="784" y="190"/>
                    </a:lnTo>
                    <a:close/>
                    <a:moveTo>
                      <a:pt x="844" y="183"/>
                    </a:moveTo>
                    <a:lnTo>
                      <a:pt x="845" y="183"/>
                    </a:lnTo>
                    <a:lnTo>
                      <a:pt x="844" y="183"/>
                    </a:lnTo>
                    <a:close/>
                    <a:moveTo>
                      <a:pt x="793" y="183"/>
                    </a:moveTo>
                    <a:lnTo>
                      <a:pt x="794" y="183"/>
                    </a:lnTo>
                    <a:lnTo>
                      <a:pt x="793" y="183"/>
                    </a:lnTo>
                    <a:close/>
                    <a:moveTo>
                      <a:pt x="845" y="183"/>
                    </a:moveTo>
                    <a:lnTo>
                      <a:pt x="849" y="183"/>
                    </a:lnTo>
                    <a:lnTo>
                      <a:pt x="849" y="185"/>
                    </a:lnTo>
                    <a:lnTo>
                      <a:pt x="845" y="185"/>
                    </a:lnTo>
                    <a:lnTo>
                      <a:pt x="845" y="183"/>
                    </a:lnTo>
                    <a:close/>
                    <a:moveTo>
                      <a:pt x="839" y="182"/>
                    </a:moveTo>
                    <a:lnTo>
                      <a:pt x="840" y="182"/>
                    </a:lnTo>
                    <a:lnTo>
                      <a:pt x="840" y="183"/>
                    </a:lnTo>
                    <a:lnTo>
                      <a:pt x="839" y="183"/>
                    </a:lnTo>
                    <a:lnTo>
                      <a:pt x="839" y="182"/>
                    </a:lnTo>
                    <a:close/>
                    <a:moveTo>
                      <a:pt x="796" y="178"/>
                    </a:moveTo>
                    <a:lnTo>
                      <a:pt x="798" y="178"/>
                    </a:lnTo>
                    <a:lnTo>
                      <a:pt x="798" y="180"/>
                    </a:lnTo>
                    <a:lnTo>
                      <a:pt x="796" y="180"/>
                    </a:lnTo>
                    <a:lnTo>
                      <a:pt x="796" y="178"/>
                    </a:lnTo>
                    <a:close/>
                    <a:moveTo>
                      <a:pt x="789" y="178"/>
                    </a:moveTo>
                    <a:lnTo>
                      <a:pt x="791" y="178"/>
                    </a:lnTo>
                    <a:lnTo>
                      <a:pt x="791" y="180"/>
                    </a:lnTo>
                    <a:lnTo>
                      <a:pt x="789" y="180"/>
                    </a:lnTo>
                    <a:lnTo>
                      <a:pt x="789" y="178"/>
                    </a:lnTo>
                    <a:close/>
                    <a:moveTo>
                      <a:pt x="788" y="178"/>
                    </a:moveTo>
                    <a:lnTo>
                      <a:pt x="789" y="178"/>
                    </a:lnTo>
                    <a:lnTo>
                      <a:pt x="789" y="180"/>
                    </a:lnTo>
                    <a:lnTo>
                      <a:pt x="788" y="180"/>
                    </a:lnTo>
                    <a:lnTo>
                      <a:pt x="788" y="178"/>
                    </a:lnTo>
                    <a:close/>
                    <a:moveTo>
                      <a:pt x="789" y="178"/>
                    </a:moveTo>
                    <a:lnTo>
                      <a:pt x="791" y="178"/>
                    </a:lnTo>
                    <a:lnTo>
                      <a:pt x="789" y="178"/>
                    </a:lnTo>
                    <a:close/>
                    <a:moveTo>
                      <a:pt x="786" y="177"/>
                    </a:moveTo>
                    <a:lnTo>
                      <a:pt x="788" y="177"/>
                    </a:lnTo>
                    <a:lnTo>
                      <a:pt x="788" y="178"/>
                    </a:lnTo>
                    <a:lnTo>
                      <a:pt x="786" y="178"/>
                    </a:lnTo>
                    <a:lnTo>
                      <a:pt x="786" y="177"/>
                    </a:lnTo>
                    <a:close/>
                    <a:moveTo>
                      <a:pt x="779" y="177"/>
                    </a:moveTo>
                    <a:lnTo>
                      <a:pt x="781" y="177"/>
                    </a:lnTo>
                    <a:lnTo>
                      <a:pt x="779" y="177"/>
                    </a:lnTo>
                    <a:close/>
                    <a:moveTo>
                      <a:pt x="784" y="177"/>
                    </a:moveTo>
                    <a:lnTo>
                      <a:pt x="786" y="177"/>
                    </a:lnTo>
                    <a:lnTo>
                      <a:pt x="786" y="178"/>
                    </a:lnTo>
                    <a:lnTo>
                      <a:pt x="784" y="178"/>
                    </a:lnTo>
                    <a:lnTo>
                      <a:pt x="782" y="178"/>
                    </a:lnTo>
                    <a:lnTo>
                      <a:pt x="781" y="178"/>
                    </a:lnTo>
                    <a:lnTo>
                      <a:pt x="779" y="178"/>
                    </a:lnTo>
                    <a:lnTo>
                      <a:pt x="779" y="180"/>
                    </a:lnTo>
                    <a:lnTo>
                      <a:pt x="779" y="178"/>
                    </a:lnTo>
                    <a:lnTo>
                      <a:pt x="777" y="180"/>
                    </a:lnTo>
                    <a:lnTo>
                      <a:pt x="777" y="178"/>
                    </a:lnTo>
                    <a:lnTo>
                      <a:pt x="779" y="178"/>
                    </a:lnTo>
                    <a:lnTo>
                      <a:pt x="781" y="178"/>
                    </a:lnTo>
                    <a:lnTo>
                      <a:pt x="781" y="177"/>
                    </a:lnTo>
                    <a:lnTo>
                      <a:pt x="782" y="177"/>
                    </a:lnTo>
                    <a:lnTo>
                      <a:pt x="784" y="177"/>
                    </a:lnTo>
                    <a:close/>
                    <a:moveTo>
                      <a:pt x="825" y="175"/>
                    </a:moveTo>
                    <a:lnTo>
                      <a:pt x="827" y="175"/>
                    </a:lnTo>
                    <a:lnTo>
                      <a:pt x="828" y="175"/>
                    </a:lnTo>
                    <a:lnTo>
                      <a:pt x="830" y="175"/>
                    </a:lnTo>
                    <a:lnTo>
                      <a:pt x="830" y="177"/>
                    </a:lnTo>
                    <a:lnTo>
                      <a:pt x="832" y="177"/>
                    </a:lnTo>
                    <a:lnTo>
                      <a:pt x="830" y="177"/>
                    </a:lnTo>
                    <a:lnTo>
                      <a:pt x="832" y="177"/>
                    </a:lnTo>
                    <a:lnTo>
                      <a:pt x="832" y="178"/>
                    </a:lnTo>
                    <a:lnTo>
                      <a:pt x="832" y="180"/>
                    </a:lnTo>
                    <a:lnTo>
                      <a:pt x="830" y="180"/>
                    </a:lnTo>
                    <a:lnTo>
                      <a:pt x="828" y="182"/>
                    </a:lnTo>
                    <a:lnTo>
                      <a:pt x="827" y="182"/>
                    </a:lnTo>
                    <a:lnTo>
                      <a:pt x="825" y="182"/>
                    </a:lnTo>
                    <a:lnTo>
                      <a:pt x="823" y="182"/>
                    </a:lnTo>
                    <a:lnTo>
                      <a:pt x="822" y="182"/>
                    </a:lnTo>
                    <a:lnTo>
                      <a:pt x="822" y="183"/>
                    </a:lnTo>
                    <a:lnTo>
                      <a:pt x="820" y="182"/>
                    </a:lnTo>
                    <a:lnTo>
                      <a:pt x="818" y="182"/>
                    </a:lnTo>
                    <a:lnTo>
                      <a:pt x="816" y="182"/>
                    </a:lnTo>
                    <a:lnTo>
                      <a:pt x="816" y="180"/>
                    </a:lnTo>
                    <a:lnTo>
                      <a:pt x="816" y="178"/>
                    </a:lnTo>
                    <a:lnTo>
                      <a:pt x="818" y="178"/>
                    </a:lnTo>
                    <a:lnTo>
                      <a:pt x="820" y="178"/>
                    </a:lnTo>
                    <a:lnTo>
                      <a:pt x="820" y="177"/>
                    </a:lnTo>
                    <a:lnTo>
                      <a:pt x="822" y="177"/>
                    </a:lnTo>
                    <a:lnTo>
                      <a:pt x="823" y="175"/>
                    </a:lnTo>
                    <a:lnTo>
                      <a:pt x="825" y="175"/>
                    </a:lnTo>
                    <a:close/>
                    <a:moveTo>
                      <a:pt x="827" y="173"/>
                    </a:moveTo>
                    <a:lnTo>
                      <a:pt x="828" y="173"/>
                    </a:lnTo>
                    <a:lnTo>
                      <a:pt x="828" y="175"/>
                    </a:lnTo>
                    <a:lnTo>
                      <a:pt x="827" y="175"/>
                    </a:lnTo>
                    <a:lnTo>
                      <a:pt x="827" y="173"/>
                    </a:lnTo>
                    <a:close/>
                    <a:moveTo>
                      <a:pt x="818" y="173"/>
                    </a:moveTo>
                    <a:lnTo>
                      <a:pt x="820" y="173"/>
                    </a:lnTo>
                    <a:lnTo>
                      <a:pt x="820" y="175"/>
                    </a:lnTo>
                    <a:lnTo>
                      <a:pt x="818" y="175"/>
                    </a:lnTo>
                    <a:lnTo>
                      <a:pt x="818" y="173"/>
                    </a:lnTo>
                    <a:close/>
                    <a:moveTo>
                      <a:pt x="791" y="172"/>
                    </a:moveTo>
                    <a:lnTo>
                      <a:pt x="793" y="172"/>
                    </a:lnTo>
                    <a:lnTo>
                      <a:pt x="794" y="173"/>
                    </a:lnTo>
                    <a:lnTo>
                      <a:pt x="796" y="173"/>
                    </a:lnTo>
                    <a:lnTo>
                      <a:pt x="794" y="175"/>
                    </a:lnTo>
                    <a:lnTo>
                      <a:pt x="796" y="175"/>
                    </a:lnTo>
                    <a:lnTo>
                      <a:pt x="796" y="177"/>
                    </a:lnTo>
                    <a:lnTo>
                      <a:pt x="796" y="178"/>
                    </a:lnTo>
                    <a:lnTo>
                      <a:pt x="794" y="178"/>
                    </a:lnTo>
                    <a:lnTo>
                      <a:pt x="793" y="178"/>
                    </a:lnTo>
                    <a:lnTo>
                      <a:pt x="791" y="177"/>
                    </a:lnTo>
                    <a:lnTo>
                      <a:pt x="789" y="177"/>
                    </a:lnTo>
                    <a:lnTo>
                      <a:pt x="789" y="175"/>
                    </a:lnTo>
                    <a:lnTo>
                      <a:pt x="788" y="175"/>
                    </a:lnTo>
                    <a:lnTo>
                      <a:pt x="788" y="173"/>
                    </a:lnTo>
                    <a:lnTo>
                      <a:pt x="788" y="172"/>
                    </a:lnTo>
                    <a:lnTo>
                      <a:pt x="789" y="172"/>
                    </a:lnTo>
                    <a:lnTo>
                      <a:pt x="791" y="172"/>
                    </a:lnTo>
                    <a:close/>
                    <a:moveTo>
                      <a:pt x="788" y="172"/>
                    </a:moveTo>
                    <a:lnTo>
                      <a:pt x="789" y="172"/>
                    </a:lnTo>
                    <a:lnTo>
                      <a:pt x="788" y="172"/>
                    </a:lnTo>
                    <a:close/>
                    <a:moveTo>
                      <a:pt x="822" y="172"/>
                    </a:moveTo>
                    <a:lnTo>
                      <a:pt x="823" y="172"/>
                    </a:lnTo>
                    <a:lnTo>
                      <a:pt x="823" y="173"/>
                    </a:lnTo>
                    <a:lnTo>
                      <a:pt x="822" y="173"/>
                    </a:lnTo>
                    <a:lnTo>
                      <a:pt x="822" y="172"/>
                    </a:lnTo>
                    <a:close/>
                    <a:moveTo>
                      <a:pt x="789" y="172"/>
                    </a:moveTo>
                    <a:lnTo>
                      <a:pt x="791" y="172"/>
                    </a:lnTo>
                    <a:lnTo>
                      <a:pt x="789" y="172"/>
                    </a:lnTo>
                    <a:close/>
                    <a:moveTo>
                      <a:pt x="823" y="170"/>
                    </a:moveTo>
                    <a:lnTo>
                      <a:pt x="825" y="170"/>
                    </a:lnTo>
                    <a:lnTo>
                      <a:pt x="825" y="172"/>
                    </a:lnTo>
                    <a:lnTo>
                      <a:pt x="823" y="172"/>
                    </a:lnTo>
                    <a:lnTo>
                      <a:pt x="823" y="170"/>
                    </a:lnTo>
                    <a:close/>
                    <a:moveTo>
                      <a:pt x="806" y="168"/>
                    </a:moveTo>
                    <a:lnTo>
                      <a:pt x="806" y="170"/>
                    </a:lnTo>
                    <a:lnTo>
                      <a:pt x="805" y="170"/>
                    </a:lnTo>
                    <a:lnTo>
                      <a:pt x="803" y="170"/>
                    </a:lnTo>
                    <a:lnTo>
                      <a:pt x="803" y="168"/>
                    </a:lnTo>
                    <a:lnTo>
                      <a:pt x="805" y="168"/>
                    </a:lnTo>
                    <a:lnTo>
                      <a:pt x="805" y="166"/>
                    </a:lnTo>
                    <a:lnTo>
                      <a:pt x="806" y="166"/>
                    </a:lnTo>
                    <a:lnTo>
                      <a:pt x="808" y="166"/>
                    </a:lnTo>
                    <a:lnTo>
                      <a:pt x="808" y="168"/>
                    </a:lnTo>
                    <a:lnTo>
                      <a:pt x="806" y="168"/>
                    </a:lnTo>
                    <a:close/>
                    <a:moveTo>
                      <a:pt x="825" y="165"/>
                    </a:moveTo>
                    <a:lnTo>
                      <a:pt x="825" y="166"/>
                    </a:lnTo>
                    <a:lnTo>
                      <a:pt x="827" y="166"/>
                    </a:lnTo>
                    <a:lnTo>
                      <a:pt x="825" y="166"/>
                    </a:lnTo>
                    <a:lnTo>
                      <a:pt x="825" y="168"/>
                    </a:lnTo>
                    <a:lnTo>
                      <a:pt x="823" y="168"/>
                    </a:lnTo>
                    <a:lnTo>
                      <a:pt x="823" y="170"/>
                    </a:lnTo>
                    <a:lnTo>
                      <a:pt x="822" y="170"/>
                    </a:lnTo>
                    <a:lnTo>
                      <a:pt x="822" y="172"/>
                    </a:lnTo>
                    <a:lnTo>
                      <a:pt x="820" y="172"/>
                    </a:lnTo>
                    <a:lnTo>
                      <a:pt x="820" y="173"/>
                    </a:lnTo>
                    <a:lnTo>
                      <a:pt x="818" y="173"/>
                    </a:lnTo>
                    <a:lnTo>
                      <a:pt x="818" y="175"/>
                    </a:lnTo>
                    <a:lnTo>
                      <a:pt x="816" y="175"/>
                    </a:lnTo>
                    <a:lnTo>
                      <a:pt x="816" y="177"/>
                    </a:lnTo>
                    <a:lnTo>
                      <a:pt x="815" y="177"/>
                    </a:lnTo>
                    <a:lnTo>
                      <a:pt x="815" y="178"/>
                    </a:lnTo>
                    <a:lnTo>
                      <a:pt x="813" y="178"/>
                    </a:lnTo>
                    <a:lnTo>
                      <a:pt x="811" y="178"/>
                    </a:lnTo>
                    <a:lnTo>
                      <a:pt x="811" y="180"/>
                    </a:lnTo>
                    <a:lnTo>
                      <a:pt x="810" y="180"/>
                    </a:lnTo>
                    <a:lnTo>
                      <a:pt x="810" y="178"/>
                    </a:lnTo>
                    <a:lnTo>
                      <a:pt x="808" y="177"/>
                    </a:lnTo>
                    <a:lnTo>
                      <a:pt x="806" y="177"/>
                    </a:lnTo>
                    <a:lnTo>
                      <a:pt x="805" y="177"/>
                    </a:lnTo>
                    <a:lnTo>
                      <a:pt x="803" y="177"/>
                    </a:lnTo>
                    <a:lnTo>
                      <a:pt x="801" y="177"/>
                    </a:lnTo>
                    <a:lnTo>
                      <a:pt x="799" y="177"/>
                    </a:lnTo>
                    <a:lnTo>
                      <a:pt x="798" y="177"/>
                    </a:lnTo>
                    <a:lnTo>
                      <a:pt x="798" y="175"/>
                    </a:lnTo>
                    <a:lnTo>
                      <a:pt x="798" y="173"/>
                    </a:lnTo>
                    <a:lnTo>
                      <a:pt x="796" y="173"/>
                    </a:lnTo>
                    <a:lnTo>
                      <a:pt x="796" y="172"/>
                    </a:lnTo>
                    <a:lnTo>
                      <a:pt x="798" y="172"/>
                    </a:lnTo>
                    <a:lnTo>
                      <a:pt x="799" y="172"/>
                    </a:lnTo>
                    <a:lnTo>
                      <a:pt x="799" y="170"/>
                    </a:lnTo>
                    <a:lnTo>
                      <a:pt x="801" y="170"/>
                    </a:lnTo>
                    <a:lnTo>
                      <a:pt x="803" y="170"/>
                    </a:lnTo>
                    <a:lnTo>
                      <a:pt x="805" y="170"/>
                    </a:lnTo>
                    <a:lnTo>
                      <a:pt x="806" y="170"/>
                    </a:lnTo>
                    <a:lnTo>
                      <a:pt x="808" y="170"/>
                    </a:lnTo>
                    <a:lnTo>
                      <a:pt x="808" y="168"/>
                    </a:lnTo>
                    <a:lnTo>
                      <a:pt x="808" y="166"/>
                    </a:lnTo>
                    <a:lnTo>
                      <a:pt x="810" y="166"/>
                    </a:lnTo>
                    <a:lnTo>
                      <a:pt x="810" y="168"/>
                    </a:lnTo>
                    <a:lnTo>
                      <a:pt x="810" y="166"/>
                    </a:lnTo>
                    <a:lnTo>
                      <a:pt x="810" y="168"/>
                    </a:lnTo>
                    <a:lnTo>
                      <a:pt x="810" y="166"/>
                    </a:lnTo>
                    <a:lnTo>
                      <a:pt x="811" y="166"/>
                    </a:lnTo>
                    <a:lnTo>
                      <a:pt x="811" y="168"/>
                    </a:lnTo>
                    <a:lnTo>
                      <a:pt x="813" y="168"/>
                    </a:lnTo>
                    <a:lnTo>
                      <a:pt x="815" y="168"/>
                    </a:lnTo>
                    <a:lnTo>
                      <a:pt x="816" y="168"/>
                    </a:lnTo>
                    <a:lnTo>
                      <a:pt x="816" y="166"/>
                    </a:lnTo>
                    <a:lnTo>
                      <a:pt x="818" y="166"/>
                    </a:lnTo>
                    <a:lnTo>
                      <a:pt x="820" y="166"/>
                    </a:lnTo>
                    <a:lnTo>
                      <a:pt x="820" y="165"/>
                    </a:lnTo>
                    <a:lnTo>
                      <a:pt x="822" y="165"/>
                    </a:lnTo>
                    <a:lnTo>
                      <a:pt x="822" y="166"/>
                    </a:lnTo>
                    <a:lnTo>
                      <a:pt x="822" y="165"/>
                    </a:lnTo>
                    <a:lnTo>
                      <a:pt x="823" y="165"/>
                    </a:lnTo>
                    <a:lnTo>
                      <a:pt x="825" y="165"/>
                    </a:lnTo>
                    <a:close/>
                    <a:moveTo>
                      <a:pt x="803" y="156"/>
                    </a:moveTo>
                    <a:lnTo>
                      <a:pt x="805" y="156"/>
                    </a:lnTo>
                    <a:lnTo>
                      <a:pt x="803" y="156"/>
                    </a:lnTo>
                    <a:close/>
                    <a:moveTo>
                      <a:pt x="808" y="156"/>
                    </a:moveTo>
                    <a:lnTo>
                      <a:pt x="808" y="158"/>
                    </a:lnTo>
                    <a:lnTo>
                      <a:pt x="810" y="158"/>
                    </a:lnTo>
                    <a:lnTo>
                      <a:pt x="810" y="160"/>
                    </a:lnTo>
                    <a:lnTo>
                      <a:pt x="808" y="160"/>
                    </a:lnTo>
                    <a:lnTo>
                      <a:pt x="808" y="161"/>
                    </a:lnTo>
                    <a:lnTo>
                      <a:pt x="806" y="161"/>
                    </a:lnTo>
                    <a:lnTo>
                      <a:pt x="806" y="163"/>
                    </a:lnTo>
                    <a:lnTo>
                      <a:pt x="805" y="163"/>
                    </a:lnTo>
                    <a:lnTo>
                      <a:pt x="805" y="165"/>
                    </a:lnTo>
                    <a:lnTo>
                      <a:pt x="803" y="165"/>
                    </a:lnTo>
                    <a:lnTo>
                      <a:pt x="803" y="166"/>
                    </a:lnTo>
                    <a:lnTo>
                      <a:pt x="801" y="166"/>
                    </a:lnTo>
                    <a:lnTo>
                      <a:pt x="799" y="166"/>
                    </a:lnTo>
                    <a:lnTo>
                      <a:pt x="799" y="165"/>
                    </a:lnTo>
                    <a:lnTo>
                      <a:pt x="799" y="163"/>
                    </a:lnTo>
                    <a:lnTo>
                      <a:pt x="799" y="161"/>
                    </a:lnTo>
                    <a:lnTo>
                      <a:pt x="799" y="160"/>
                    </a:lnTo>
                    <a:lnTo>
                      <a:pt x="799" y="158"/>
                    </a:lnTo>
                    <a:lnTo>
                      <a:pt x="801" y="158"/>
                    </a:lnTo>
                    <a:lnTo>
                      <a:pt x="803" y="158"/>
                    </a:lnTo>
                    <a:lnTo>
                      <a:pt x="805" y="158"/>
                    </a:lnTo>
                    <a:lnTo>
                      <a:pt x="806" y="158"/>
                    </a:lnTo>
                    <a:lnTo>
                      <a:pt x="806" y="156"/>
                    </a:lnTo>
                    <a:lnTo>
                      <a:pt x="808" y="156"/>
                    </a:lnTo>
                    <a:close/>
                    <a:moveTo>
                      <a:pt x="799" y="156"/>
                    </a:moveTo>
                    <a:lnTo>
                      <a:pt x="801" y="158"/>
                    </a:lnTo>
                    <a:lnTo>
                      <a:pt x="799" y="158"/>
                    </a:lnTo>
                    <a:lnTo>
                      <a:pt x="799" y="160"/>
                    </a:lnTo>
                    <a:lnTo>
                      <a:pt x="799" y="161"/>
                    </a:lnTo>
                    <a:lnTo>
                      <a:pt x="799" y="163"/>
                    </a:lnTo>
                    <a:lnTo>
                      <a:pt x="799" y="165"/>
                    </a:lnTo>
                    <a:lnTo>
                      <a:pt x="799" y="166"/>
                    </a:lnTo>
                    <a:lnTo>
                      <a:pt x="799" y="168"/>
                    </a:lnTo>
                    <a:lnTo>
                      <a:pt x="799" y="170"/>
                    </a:lnTo>
                    <a:lnTo>
                      <a:pt x="798" y="170"/>
                    </a:lnTo>
                    <a:lnTo>
                      <a:pt x="796" y="170"/>
                    </a:lnTo>
                    <a:lnTo>
                      <a:pt x="796" y="172"/>
                    </a:lnTo>
                    <a:lnTo>
                      <a:pt x="796" y="173"/>
                    </a:lnTo>
                    <a:lnTo>
                      <a:pt x="794" y="172"/>
                    </a:lnTo>
                    <a:lnTo>
                      <a:pt x="793" y="172"/>
                    </a:lnTo>
                    <a:lnTo>
                      <a:pt x="793" y="170"/>
                    </a:lnTo>
                    <a:lnTo>
                      <a:pt x="791" y="170"/>
                    </a:lnTo>
                    <a:lnTo>
                      <a:pt x="793" y="168"/>
                    </a:lnTo>
                    <a:lnTo>
                      <a:pt x="794" y="168"/>
                    </a:lnTo>
                    <a:lnTo>
                      <a:pt x="796" y="165"/>
                    </a:lnTo>
                    <a:lnTo>
                      <a:pt x="796" y="163"/>
                    </a:lnTo>
                    <a:lnTo>
                      <a:pt x="796" y="161"/>
                    </a:lnTo>
                    <a:lnTo>
                      <a:pt x="796" y="160"/>
                    </a:lnTo>
                    <a:lnTo>
                      <a:pt x="796" y="158"/>
                    </a:lnTo>
                    <a:lnTo>
                      <a:pt x="798" y="158"/>
                    </a:lnTo>
                    <a:lnTo>
                      <a:pt x="798" y="156"/>
                    </a:lnTo>
                    <a:lnTo>
                      <a:pt x="799" y="156"/>
                    </a:lnTo>
                    <a:close/>
                    <a:moveTo>
                      <a:pt x="801" y="156"/>
                    </a:moveTo>
                    <a:lnTo>
                      <a:pt x="801" y="158"/>
                    </a:lnTo>
                    <a:lnTo>
                      <a:pt x="801" y="156"/>
                    </a:lnTo>
                    <a:close/>
                    <a:moveTo>
                      <a:pt x="789" y="166"/>
                    </a:moveTo>
                    <a:lnTo>
                      <a:pt x="791" y="166"/>
                    </a:lnTo>
                    <a:lnTo>
                      <a:pt x="791" y="168"/>
                    </a:lnTo>
                    <a:lnTo>
                      <a:pt x="789" y="168"/>
                    </a:lnTo>
                    <a:lnTo>
                      <a:pt x="789" y="166"/>
                    </a:lnTo>
                    <a:close/>
                    <a:moveTo>
                      <a:pt x="801" y="148"/>
                    </a:moveTo>
                    <a:lnTo>
                      <a:pt x="801" y="149"/>
                    </a:lnTo>
                    <a:lnTo>
                      <a:pt x="801" y="148"/>
                    </a:lnTo>
                    <a:close/>
                    <a:moveTo>
                      <a:pt x="810" y="148"/>
                    </a:moveTo>
                    <a:lnTo>
                      <a:pt x="811" y="148"/>
                    </a:lnTo>
                    <a:lnTo>
                      <a:pt x="810" y="148"/>
                    </a:lnTo>
                    <a:close/>
                    <a:moveTo>
                      <a:pt x="810" y="148"/>
                    </a:moveTo>
                    <a:lnTo>
                      <a:pt x="810" y="149"/>
                    </a:lnTo>
                    <a:lnTo>
                      <a:pt x="808" y="149"/>
                    </a:lnTo>
                    <a:lnTo>
                      <a:pt x="810" y="149"/>
                    </a:lnTo>
                    <a:lnTo>
                      <a:pt x="808" y="151"/>
                    </a:lnTo>
                    <a:lnTo>
                      <a:pt x="806" y="153"/>
                    </a:lnTo>
                    <a:lnTo>
                      <a:pt x="805" y="153"/>
                    </a:lnTo>
                    <a:lnTo>
                      <a:pt x="803" y="153"/>
                    </a:lnTo>
                    <a:lnTo>
                      <a:pt x="801" y="153"/>
                    </a:lnTo>
                    <a:lnTo>
                      <a:pt x="801" y="151"/>
                    </a:lnTo>
                    <a:lnTo>
                      <a:pt x="801" y="149"/>
                    </a:lnTo>
                    <a:lnTo>
                      <a:pt x="803" y="148"/>
                    </a:lnTo>
                    <a:lnTo>
                      <a:pt x="805" y="148"/>
                    </a:lnTo>
                    <a:lnTo>
                      <a:pt x="806" y="148"/>
                    </a:lnTo>
                    <a:lnTo>
                      <a:pt x="808" y="148"/>
                    </a:lnTo>
                    <a:lnTo>
                      <a:pt x="810" y="148"/>
                    </a:lnTo>
                    <a:close/>
                    <a:moveTo>
                      <a:pt x="806" y="146"/>
                    </a:moveTo>
                    <a:lnTo>
                      <a:pt x="810" y="146"/>
                    </a:lnTo>
                    <a:lnTo>
                      <a:pt x="810" y="148"/>
                    </a:lnTo>
                    <a:lnTo>
                      <a:pt x="806" y="148"/>
                    </a:lnTo>
                    <a:lnTo>
                      <a:pt x="806" y="146"/>
                    </a:lnTo>
                    <a:close/>
                    <a:moveTo>
                      <a:pt x="805" y="146"/>
                    </a:moveTo>
                    <a:lnTo>
                      <a:pt x="806" y="146"/>
                    </a:lnTo>
                    <a:lnTo>
                      <a:pt x="806" y="148"/>
                    </a:lnTo>
                    <a:lnTo>
                      <a:pt x="805" y="148"/>
                    </a:lnTo>
                    <a:lnTo>
                      <a:pt x="805" y="146"/>
                    </a:lnTo>
                    <a:close/>
                    <a:moveTo>
                      <a:pt x="813" y="141"/>
                    </a:moveTo>
                    <a:lnTo>
                      <a:pt x="813" y="143"/>
                    </a:lnTo>
                    <a:lnTo>
                      <a:pt x="813" y="144"/>
                    </a:lnTo>
                    <a:lnTo>
                      <a:pt x="811" y="146"/>
                    </a:lnTo>
                    <a:lnTo>
                      <a:pt x="810" y="146"/>
                    </a:lnTo>
                    <a:lnTo>
                      <a:pt x="808" y="146"/>
                    </a:lnTo>
                    <a:lnTo>
                      <a:pt x="806" y="146"/>
                    </a:lnTo>
                    <a:lnTo>
                      <a:pt x="806" y="144"/>
                    </a:lnTo>
                    <a:lnTo>
                      <a:pt x="808" y="144"/>
                    </a:lnTo>
                    <a:lnTo>
                      <a:pt x="808" y="143"/>
                    </a:lnTo>
                    <a:lnTo>
                      <a:pt x="810" y="143"/>
                    </a:lnTo>
                    <a:lnTo>
                      <a:pt x="811" y="143"/>
                    </a:lnTo>
                    <a:lnTo>
                      <a:pt x="811" y="141"/>
                    </a:lnTo>
                    <a:lnTo>
                      <a:pt x="813" y="141"/>
                    </a:lnTo>
                    <a:close/>
                    <a:moveTo>
                      <a:pt x="798" y="107"/>
                    </a:moveTo>
                    <a:lnTo>
                      <a:pt x="798" y="109"/>
                    </a:lnTo>
                    <a:lnTo>
                      <a:pt x="798" y="110"/>
                    </a:lnTo>
                    <a:lnTo>
                      <a:pt x="799" y="110"/>
                    </a:lnTo>
                    <a:lnTo>
                      <a:pt x="799" y="112"/>
                    </a:lnTo>
                    <a:lnTo>
                      <a:pt x="798" y="114"/>
                    </a:lnTo>
                    <a:lnTo>
                      <a:pt x="796" y="115"/>
                    </a:lnTo>
                    <a:lnTo>
                      <a:pt x="794" y="114"/>
                    </a:lnTo>
                    <a:lnTo>
                      <a:pt x="794" y="112"/>
                    </a:lnTo>
                    <a:lnTo>
                      <a:pt x="794" y="110"/>
                    </a:lnTo>
                    <a:lnTo>
                      <a:pt x="793" y="110"/>
                    </a:lnTo>
                    <a:lnTo>
                      <a:pt x="793" y="109"/>
                    </a:lnTo>
                    <a:lnTo>
                      <a:pt x="793" y="107"/>
                    </a:lnTo>
                    <a:lnTo>
                      <a:pt x="794" y="107"/>
                    </a:lnTo>
                    <a:lnTo>
                      <a:pt x="796" y="107"/>
                    </a:lnTo>
                    <a:lnTo>
                      <a:pt x="798" y="107"/>
                    </a:lnTo>
                    <a:close/>
                    <a:moveTo>
                      <a:pt x="786" y="105"/>
                    </a:moveTo>
                    <a:lnTo>
                      <a:pt x="786" y="107"/>
                    </a:lnTo>
                    <a:lnTo>
                      <a:pt x="786" y="105"/>
                    </a:lnTo>
                    <a:close/>
                    <a:moveTo>
                      <a:pt x="794" y="103"/>
                    </a:moveTo>
                    <a:lnTo>
                      <a:pt x="794" y="105"/>
                    </a:lnTo>
                    <a:lnTo>
                      <a:pt x="796" y="105"/>
                    </a:lnTo>
                    <a:lnTo>
                      <a:pt x="796" y="107"/>
                    </a:lnTo>
                    <a:lnTo>
                      <a:pt x="794" y="107"/>
                    </a:lnTo>
                    <a:lnTo>
                      <a:pt x="793" y="107"/>
                    </a:lnTo>
                    <a:lnTo>
                      <a:pt x="793" y="105"/>
                    </a:lnTo>
                    <a:lnTo>
                      <a:pt x="791" y="105"/>
                    </a:lnTo>
                    <a:lnTo>
                      <a:pt x="793" y="105"/>
                    </a:lnTo>
                    <a:lnTo>
                      <a:pt x="793" y="103"/>
                    </a:lnTo>
                    <a:lnTo>
                      <a:pt x="794" y="103"/>
                    </a:lnTo>
                    <a:close/>
                    <a:moveTo>
                      <a:pt x="990" y="284"/>
                    </a:moveTo>
                    <a:lnTo>
                      <a:pt x="992" y="284"/>
                    </a:lnTo>
                    <a:lnTo>
                      <a:pt x="992" y="285"/>
                    </a:lnTo>
                    <a:lnTo>
                      <a:pt x="990" y="285"/>
                    </a:lnTo>
                    <a:lnTo>
                      <a:pt x="990" y="284"/>
                    </a:lnTo>
                    <a:close/>
                    <a:moveTo>
                      <a:pt x="990" y="277"/>
                    </a:moveTo>
                    <a:lnTo>
                      <a:pt x="992" y="277"/>
                    </a:lnTo>
                    <a:lnTo>
                      <a:pt x="990" y="277"/>
                    </a:lnTo>
                    <a:close/>
                    <a:moveTo>
                      <a:pt x="1071" y="272"/>
                    </a:moveTo>
                    <a:lnTo>
                      <a:pt x="1073" y="272"/>
                    </a:lnTo>
                    <a:lnTo>
                      <a:pt x="1071" y="272"/>
                    </a:lnTo>
                    <a:close/>
                    <a:moveTo>
                      <a:pt x="997" y="270"/>
                    </a:moveTo>
                    <a:lnTo>
                      <a:pt x="997" y="272"/>
                    </a:lnTo>
                    <a:lnTo>
                      <a:pt x="997" y="274"/>
                    </a:lnTo>
                    <a:lnTo>
                      <a:pt x="997" y="275"/>
                    </a:lnTo>
                    <a:lnTo>
                      <a:pt x="997" y="277"/>
                    </a:lnTo>
                    <a:lnTo>
                      <a:pt x="997" y="279"/>
                    </a:lnTo>
                    <a:lnTo>
                      <a:pt x="995" y="279"/>
                    </a:lnTo>
                    <a:lnTo>
                      <a:pt x="995" y="280"/>
                    </a:lnTo>
                    <a:lnTo>
                      <a:pt x="993" y="280"/>
                    </a:lnTo>
                    <a:lnTo>
                      <a:pt x="992" y="279"/>
                    </a:lnTo>
                    <a:lnTo>
                      <a:pt x="992" y="277"/>
                    </a:lnTo>
                    <a:lnTo>
                      <a:pt x="993" y="275"/>
                    </a:lnTo>
                    <a:lnTo>
                      <a:pt x="993" y="274"/>
                    </a:lnTo>
                    <a:lnTo>
                      <a:pt x="993" y="272"/>
                    </a:lnTo>
                    <a:lnTo>
                      <a:pt x="995" y="272"/>
                    </a:lnTo>
                    <a:lnTo>
                      <a:pt x="995" y="270"/>
                    </a:lnTo>
                    <a:lnTo>
                      <a:pt x="997" y="270"/>
                    </a:lnTo>
                    <a:close/>
                    <a:moveTo>
                      <a:pt x="1073" y="270"/>
                    </a:moveTo>
                    <a:lnTo>
                      <a:pt x="1075" y="270"/>
                    </a:lnTo>
                    <a:lnTo>
                      <a:pt x="1077" y="270"/>
                    </a:lnTo>
                    <a:lnTo>
                      <a:pt x="1075" y="270"/>
                    </a:lnTo>
                    <a:lnTo>
                      <a:pt x="1075" y="272"/>
                    </a:lnTo>
                    <a:lnTo>
                      <a:pt x="1073" y="270"/>
                    </a:lnTo>
                    <a:lnTo>
                      <a:pt x="1071" y="270"/>
                    </a:lnTo>
                    <a:lnTo>
                      <a:pt x="1071" y="268"/>
                    </a:lnTo>
                    <a:lnTo>
                      <a:pt x="1073" y="268"/>
                    </a:lnTo>
                    <a:lnTo>
                      <a:pt x="1073" y="270"/>
                    </a:lnTo>
                    <a:close/>
                    <a:moveTo>
                      <a:pt x="1073" y="268"/>
                    </a:moveTo>
                    <a:lnTo>
                      <a:pt x="1075" y="268"/>
                    </a:lnTo>
                    <a:lnTo>
                      <a:pt x="1077" y="268"/>
                    </a:lnTo>
                    <a:lnTo>
                      <a:pt x="1078" y="268"/>
                    </a:lnTo>
                    <a:lnTo>
                      <a:pt x="1078" y="270"/>
                    </a:lnTo>
                    <a:lnTo>
                      <a:pt x="1080" y="270"/>
                    </a:lnTo>
                    <a:lnTo>
                      <a:pt x="1080" y="272"/>
                    </a:lnTo>
                    <a:lnTo>
                      <a:pt x="1078" y="272"/>
                    </a:lnTo>
                    <a:lnTo>
                      <a:pt x="1077" y="272"/>
                    </a:lnTo>
                    <a:lnTo>
                      <a:pt x="1077" y="270"/>
                    </a:lnTo>
                    <a:lnTo>
                      <a:pt x="1075" y="270"/>
                    </a:lnTo>
                    <a:lnTo>
                      <a:pt x="1073" y="268"/>
                    </a:lnTo>
                    <a:close/>
                    <a:moveTo>
                      <a:pt x="998" y="260"/>
                    </a:moveTo>
                    <a:lnTo>
                      <a:pt x="998" y="262"/>
                    </a:lnTo>
                    <a:lnTo>
                      <a:pt x="997" y="262"/>
                    </a:lnTo>
                    <a:lnTo>
                      <a:pt x="997" y="263"/>
                    </a:lnTo>
                    <a:lnTo>
                      <a:pt x="995" y="263"/>
                    </a:lnTo>
                    <a:lnTo>
                      <a:pt x="995" y="262"/>
                    </a:lnTo>
                    <a:lnTo>
                      <a:pt x="997" y="262"/>
                    </a:lnTo>
                    <a:lnTo>
                      <a:pt x="995" y="260"/>
                    </a:lnTo>
                    <a:lnTo>
                      <a:pt x="997" y="260"/>
                    </a:lnTo>
                    <a:lnTo>
                      <a:pt x="998" y="260"/>
                    </a:lnTo>
                    <a:close/>
                    <a:moveTo>
                      <a:pt x="1029" y="258"/>
                    </a:moveTo>
                    <a:lnTo>
                      <a:pt x="1029" y="260"/>
                    </a:lnTo>
                    <a:lnTo>
                      <a:pt x="1029" y="258"/>
                    </a:lnTo>
                    <a:close/>
                    <a:moveTo>
                      <a:pt x="1020" y="258"/>
                    </a:moveTo>
                    <a:lnTo>
                      <a:pt x="1020" y="260"/>
                    </a:lnTo>
                    <a:lnTo>
                      <a:pt x="1020" y="258"/>
                    </a:lnTo>
                    <a:close/>
                    <a:moveTo>
                      <a:pt x="1026" y="258"/>
                    </a:moveTo>
                    <a:lnTo>
                      <a:pt x="1029" y="258"/>
                    </a:lnTo>
                    <a:lnTo>
                      <a:pt x="1029" y="260"/>
                    </a:lnTo>
                    <a:lnTo>
                      <a:pt x="1026" y="260"/>
                    </a:lnTo>
                    <a:lnTo>
                      <a:pt x="1026" y="258"/>
                    </a:lnTo>
                    <a:close/>
                    <a:moveTo>
                      <a:pt x="1024" y="255"/>
                    </a:moveTo>
                    <a:lnTo>
                      <a:pt x="1026" y="255"/>
                    </a:lnTo>
                    <a:lnTo>
                      <a:pt x="1024" y="255"/>
                    </a:lnTo>
                    <a:close/>
                    <a:moveTo>
                      <a:pt x="1026" y="255"/>
                    </a:moveTo>
                    <a:lnTo>
                      <a:pt x="1027" y="255"/>
                    </a:lnTo>
                    <a:lnTo>
                      <a:pt x="1026" y="255"/>
                    </a:lnTo>
                    <a:close/>
                    <a:moveTo>
                      <a:pt x="986" y="234"/>
                    </a:moveTo>
                    <a:lnTo>
                      <a:pt x="988" y="234"/>
                    </a:lnTo>
                    <a:lnTo>
                      <a:pt x="986" y="234"/>
                    </a:lnTo>
                    <a:close/>
                    <a:moveTo>
                      <a:pt x="969" y="233"/>
                    </a:moveTo>
                    <a:lnTo>
                      <a:pt x="971" y="233"/>
                    </a:lnTo>
                    <a:lnTo>
                      <a:pt x="971" y="236"/>
                    </a:lnTo>
                    <a:lnTo>
                      <a:pt x="969" y="236"/>
                    </a:lnTo>
                    <a:lnTo>
                      <a:pt x="969" y="233"/>
                    </a:lnTo>
                    <a:close/>
                    <a:moveTo>
                      <a:pt x="969" y="233"/>
                    </a:moveTo>
                    <a:lnTo>
                      <a:pt x="968" y="234"/>
                    </a:lnTo>
                    <a:lnTo>
                      <a:pt x="969" y="234"/>
                    </a:lnTo>
                    <a:lnTo>
                      <a:pt x="969" y="236"/>
                    </a:lnTo>
                    <a:lnTo>
                      <a:pt x="968" y="236"/>
                    </a:lnTo>
                    <a:lnTo>
                      <a:pt x="968" y="234"/>
                    </a:lnTo>
                    <a:lnTo>
                      <a:pt x="968" y="233"/>
                    </a:lnTo>
                    <a:lnTo>
                      <a:pt x="969" y="231"/>
                    </a:lnTo>
                    <a:lnTo>
                      <a:pt x="969" y="233"/>
                    </a:lnTo>
                    <a:close/>
                    <a:moveTo>
                      <a:pt x="986" y="229"/>
                    </a:moveTo>
                    <a:lnTo>
                      <a:pt x="988" y="229"/>
                    </a:lnTo>
                    <a:lnTo>
                      <a:pt x="988" y="231"/>
                    </a:lnTo>
                    <a:lnTo>
                      <a:pt x="986" y="231"/>
                    </a:lnTo>
                    <a:lnTo>
                      <a:pt x="986" y="229"/>
                    </a:lnTo>
                    <a:close/>
                    <a:moveTo>
                      <a:pt x="985" y="228"/>
                    </a:moveTo>
                    <a:lnTo>
                      <a:pt x="986" y="228"/>
                    </a:lnTo>
                    <a:lnTo>
                      <a:pt x="986" y="231"/>
                    </a:lnTo>
                    <a:lnTo>
                      <a:pt x="985" y="231"/>
                    </a:lnTo>
                    <a:lnTo>
                      <a:pt x="985" y="228"/>
                    </a:lnTo>
                    <a:close/>
                    <a:moveTo>
                      <a:pt x="986" y="228"/>
                    </a:moveTo>
                    <a:lnTo>
                      <a:pt x="988" y="228"/>
                    </a:lnTo>
                    <a:lnTo>
                      <a:pt x="988" y="229"/>
                    </a:lnTo>
                    <a:lnTo>
                      <a:pt x="986" y="229"/>
                    </a:lnTo>
                    <a:lnTo>
                      <a:pt x="986" y="228"/>
                    </a:lnTo>
                    <a:close/>
                    <a:moveTo>
                      <a:pt x="976" y="226"/>
                    </a:moveTo>
                    <a:lnTo>
                      <a:pt x="976" y="228"/>
                    </a:lnTo>
                    <a:lnTo>
                      <a:pt x="976" y="226"/>
                    </a:lnTo>
                    <a:close/>
                    <a:moveTo>
                      <a:pt x="975" y="226"/>
                    </a:moveTo>
                    <a:lnTo>
                      <a:pt x="976" y="226"/>
                    </a:lnTo>
                    <a:lnTo>
                      <a:pt x="976" y="228"/>
                    </a:lnTo>
                    <a:lnTo>
                      <a:pt x="975" y="228"/>
                    </a:lnTo>
                    <a:lnTo>
                      <a:pt x="975" y="226"/>
                    </a:lnTo>
                    <a:close/>
                    <a:moveTo>
                      <a:pt x="964" y="226"/>
                    </a:moveTo>
                    <a:lnTo>
                      <a:pt x="966" y="226"/>
                    </a:lnTo>
                    <a:lnTo>
                      <a:pt x="964" y="226"/>
                    </a:lnTo>
                    <a:close/>
                    <a:moveTo>
                      <a:pt x="976" y="224"/>
                    </a:moveTo>
                    <a:lnTo>
                      <a:pt x="976" y="226"/>
                    </a:lnTo>
                    <a:lnTo>
                      <a:pt x="976" y="224"/>
                    </a:lnTo>
                    <a:close/>
                    <a:moveTo>
                      <a:pt x="975" y="224"/>
                    </a:moveTo>
                    <a:lnTo>
                      <a:pt x="976" y="224"/>
                    </a:lnTo>
                    <a:lnTo>
                      <a:pt x="976" y="226"/>
                    </a:lnTo>
                    <a:lnTo>
                      <a:pt x="975" y="226"/>
                    </a:lnTo>
                    <a:lnTo>
                      <a:pt x="975" y="224"/>
                    </a:lnTo>
                    <a:close/>
                    <a:moveTo>
                      <a:pt x="978" y="224"/>
                    </a:moveTo>
                    <a:lnTo>
                      <a:pt x="978" y="226"/>
                    </a:lnTo>
                    <a:lnTo>
                      <a:pt x="978" y="224"/>
                    </a:lnTo>
                    <a:close/>
                    <a:moveTo>
                      <a:pt x="983" y="223"/>
                    </a:moveTo>
                    <a:lnTo>
                      <a:pt x="983" y="224"/>
                    </a:lnTo>
                    <a:lnTo>
                      <a:pt x="983" y="223"/>
                    </a:lnTo>
                    <a:close/>
                    <a:moveTo>
                      <a:pt x="959" y="223"/>
                    </a:moveTo>
                    <a:lnTo>
                      <a:pt x="961" y="223"/>
                    </a:lnTo>
                    <a:lnTo>
                      <a:pt x="959" y="223"/>
                    </a:lnTo>
                    <a:close/>
                    <a:moveTo>
                      <a:pt x="959" y="221"/>
                    </a:moveTo>
                    <a:lnTo>
                      <a:pt x="961" y="221"/>
                    </a:lnTo>
                    <a:lnTo>
                      <a:pt x="961" y="223"/>
                    </a:lnTo>
                    <a:lnTo>
                      <a:pt x="959" y="223"/>
                    </a:lnTo>
                    <a:lnTo>
                      <a:pt x="959" y="221"/>
                    </a:lnTo>
                    <a:close/>
                    <a:moveTo>
                      <a:pt x="959" y="221"/>
                    </a:moveTo>
                    <a:lnTo>
                      <a:pt x="961" y="221"/>
                    </a:lnTo>
                    <a:lnTo>
                      <a:pt x="959" y="221"/>
                    </a:lnTo>
                    <a:close/>
                    <a:moveTo>
                      <a:pt x="980" y="221"/>
                    </a:moveTo>
                    <a:lnTo>
                      <a:pt x="981" y="221"/>
                    </a:lnTo>
                    <a:lnTo>
                      <a:pt x="983" y="221"/>
                    </a:lnTo>
                    <a:lnTo>
                      <a:pt x="983" y="223"/>
                    </a:lnTo>
                    <a:lnTo>
                      <a:pt x="983" y="221"/>
                    </a:lnTo>
                    <a:lnTo>
                      <a:pt x="983" y="223"/>
                    </a:lnTo>
                    <a:lnTo>
                      <a:pt x="981" y="223"/>
                    </a:lnTo>
                    <a:lnTo>
                      <a:pt x="981" y="224"/>
                    </a:lnTo>
                    <a:lnTo>
                      <a:pt x="980" y="224"/>
                    </a:lnTo>
                    <a:lnTo>
                      <a:pt x="980" y="226"/>
                    </a:lnTo>
                    <a:lnTo>
                      <a:pt x="978" y="224"/>
                    </a:lnTo>
                    <a:lnTo>
                      <a:pt x="978" y="223"/>
                    </a:lnTo>
                    <a:lnTo>
                      <a:pt x="980" y="223"/>
                    </a:lnTo>
                    <a:lnTo>
                      <a:pt x="980" y="221"/>
                    </a:lnTo>
                    <a:close/>
                    <a:moveTo>
                      <a:pt x="959" y="217"/>
                    </a:moveTo>
                    <a:lnTo>
                      <a:pt x="961" y="217"/>
                    </a:lnTo>
                    <a:lnTo>
                      <a:pt x="961" y="219"/>
                    </a:lnTo>
                    <a:lnTo>
                      <a:pt x="959" y="219"/>
                    </a:lnTo>
                    <a:lnTo>
                      <a:pt x="959" y="217"/>
                    </a:lnTo>
                    <a:close/>
                    <a:moveTo>
                      <a:pt x="956" y="217"/>
                    </a:moveTo>
                    <a:lnTo>
                      <a:pt x="956" y="221"/>
                    </a:lnTo>
                    <a:lnTo>
                      <a:pt x="956" y="217"/>
                    </a:lnTo>
                    <a:close/>
                    <a:moveTo>
                      <a:pt x="952" y="217"/>
                    </a:moveTo>
                    <a:lnTo>
                      <a:pt x="952" y="219"/>
                    </a:lnTo>
                    <a:lnTo>
                      <a:pt x="952" y="217"/>
                    </a:lnTo>
                    <a:close/>
                    <a:moveTo>
                      <a:pt x="944" y="216"/>
                    </a:moveTo>
                    <a:lnTo>
                      <a:pt x="947" y="216"/>
                    </a:lnTo>
                    <a:lnTo>
                      <a:pt x="947" y="217"/>
                    </a:lnTo>
                    <a:lnTo>
                      <a:pt x="944" y="217"/>
                    </a:lnTo>
                    <a:lnTo>
                      <a:pt x="944" y="216"/>
                    </a:lnTo>
                    <a:close/>
                    <a:moveTo>
                      <a:pt x="958" y="217"/>
                    </a:moveTo>
                    <a:lnTo>
                      <a:pt x="958" y="219"/>
                    </a:lnTo>
                    <a:lnTo>
                      <a:pt x="958" y="221"/>
                    </a:lnTo>
                    <a:lnTo>
                      <a:pt x="958" y="223"/>
                    </a:lnTo>
                    <a:lnTo>
                      <a:pt x="958" y="224"/>
                    </a:lnTo>
                    <a:lnTo>
                      <a:pt x="956" y="224"/>
                    </a:lnTo>
                    <a:lnTo>
                      <a:pt x="956" y="223"/>
                    </a:lnTo>
                    <a:lnTo>
                      <a:pt x="956" y="221"/>
                    </a:lnTo>
                    <a:lnTo>
                      <a:pt x="958" y="221"/>
                    </a:lnTo>
                    <a:lnTo>
                      <a:pt x="958" y="219"/>
                    </a:lnTo>
                    <a:lnTo>
                      <a:pt x="958" y="217"/>
                    </a:lnTo>
                    <a:lnTo>
                      <a:pt x="958" y="216"/>
                    </a:lnTo>
                    <a:lnTo>
                      <a:pt x="958" y="217"/>
                    </a:lnTo>
                    <a:close/>
                    <a:moveTo>
                      <a:pt x="951" y="216"/>
                    </a:moveTo>
                    <a:lnTo>
                      <a:pt x="952" y="216"/>
                    </a:lnTo>
                    <a:lnTo>
                      <a:pt x="952" y="217"/>
                    </a:lnTo>
                    <a:lnTo>
                      <a:pt x="951" y="217"/>
                    </a:lnTo>
                    <a:lnTo>
                      <a:pt x="951" y="216"/>
                    </a:lnTo>
                    <a:close/>
                    <a:moveTo>
                      <a:pt x="1189" y="621"/>
                    </a:moveTo>
                    <a:lnTo>
                      <a:pt x="1190" y="621"/>
                    </a:lnTo>
                    <a:lnTo>
                      <a:pt x="1190" y="622"/>
                    </a:lnTo>
                    <a:lnTo>
                      <a:pt x="1189" y="622"/>
                    </a:lnTo>
                    <a:lnTo>
                      <a:pt x="1189" y="621"/>
                    </a:lnTo>
                    <a:close/>
                    <a:moveTo>
                      <a:pt x="1189" y="621"/>
                    </a:moveTo>
                    <a:lnTo>
                      <a:pt x="1190" y="621"/>
                    </a:lnTo>
                    <a:lnTo>
                      <a:pt x="1189" y="621"/>
                    </a:lnTo>
                    <a:close/>
                    <a:moveTo>
                      <a:pt x="1194" y="612"/>
                    </a:moveTo>
                    <a:lnTo>
                      <a:pt x="1194" y="614"/>
                    </a:lnTo>
                    <a:lnTo>
                      <a:pt x="1194" y="612"/>
                    </a:lnTo>
                    <a:close/>
                    <a:moveTo>
                      <a:pt x="1197" y="612"/>
                    </a:moveTo>
                    <a:lnTo>
                      <a:pt x="1197" y="614"/>
                    </a:lnTo>
                    <a:lnTo>
                      <a:pt x="1197" y="612"/>
                    </a:lnTo>
                    <a:close/>
                    <a:moveTo>
                      <a:pt x="1194" y="612"/>
                    </a:moveTo>
                    <a:lnTo>
                      <a:pt x="1196" y="612"/>
                    </a:lnTo>
                    <a:lnTo>
                      <a:pt x="1194" y="612"/>
                    </a:lnTo>
                    <a:close/>
                    <a:moveTo>
                      <a:pt x="1190" y="609"/>
                    </a:moveTo>
                    <a:lnTo>
                      <a:pt x="1192" y="609"/>
                    </a:lnTo>
                    <a:lnTo>
                      <a:pt x="1192" y="610"/>
                    </a:lnTo>
                    <a:lnTo>
                      <a:pt x="1190" y="610"/>
                    </a:lnTo>
                    <a:lnTo>
                      <a:pt x="1190" y="609"/>
                    </a:lnTo>
                    <a:close/>
                    <a:moveTo>
                      <a:pt x="1507" y="884"/>
                    </a:moveTo>
                    <a:lnTo>
                      <a:pt x="1508" y="884"/>
                    </a:lnTo>
                    <a:lnTo>
                      <a:pt x="1508" y="886"/>
                    </a:lnTo>
                    <a:lnTo>
                      <a:pt x="1507" y="886"/>
                    </a:lnTo>
                    <a:lnTo>
                      <a:pt x="1507" y="884"/>
                    </a:lnTo>
                    <a:close/>
                    <a:moveTo>
                      <a:pt x="1007" y="985"/>
                    </a:moveTo>
                    <a:lnTo>
                      <a:pt x="1009" y="985"/>
                    </a:lnTo>
                    <a:lnTo>
                      <a:pt x="1007" y="985"/>
                    </a:lnTo>
                    <a:close/>
                    <a:moveTo>
                      <a:pt x="992" y="985"/>
                    </a:moveTo>
                    <a:lnTo>
                      <a:pt x="993" y="985"/>
                    </a:lnTo>
                    <a:lnTo>
                      <a:pt x="992" y="985"/>
                    </a:lnTo>
                    <a:close/>
                    <a:moveTo>
                      <a:pt x="990" y="981"/>
                    </a:moveTo>
                    <a:lnTo>
                      <a:pt x="990" y="983"/>
                    </a:lnTo>
                    <a:lnTo>
                      <a:pt x="990" y="981"/>
                    </a:lnTo>
                    <a:close/>
                    <a:moveTo>
                      <a:pt x="1005" y="980"/>
                    </a:moveTo>
                    <a:lnTo>
                      <a:pt x="1007" y="980"/>
                    </a:lnTo>
                    <a:lnTo>
                      <a:pt x="1005" y="980"/>
                    </a:lnTo>
                    <a:lnTo>
                      <a:pt x="1007" y="981"/>
                    </a:lnTo>
                    <a:lnTo>
                      <a:pt x="1009" y="981"/>
                    </a:lnTo>
                    <a:lnTo>
                      <a:pt x="1009" y="983"/>
                    </a:lnTo>
                    <a:lnTo>
                      <a:pt x="1009" y="981"/>
                    </a:lnTo>
                    <a:lnTo>
                      <a:pt x="1009" y="983"/>
                    </a:lnTo>
                    <a:lnTo>
                      <a:pt x="1010" y="983"/>
                    </a:lnTo>
                    <a:lnTo>
                      <a:pt x="1009" y="983"/>
                    </a:lnTo>
                    <a:lnTo>
                      <a:pt x="1007" y="983"/>
                    </a:lnTo>
                    <a:lnTo>
                      <a:pt x="1007" y="985"/>
                    </a:lnTo>
                    <a:lnTo>
                      <a:pt x="1005" y="983"/>
                    </a:lnTo>
                    <a:lnTo>
                      <a:pt x="1003" y="985"/>
                    </a:lnTo>
                    <a:lnTo>
                      <a:pt x="1003" y="983"/>
                    </a:lnTo>
                    <a:lnTo>
                      <a:pt x="1002" y="983"/>
                    </a:lnTo>
                    <a:lnTo>
                      <a:pt x="1002" y="985"/>
                    </a:lnTo>
                    <a:lnTo>
                      <a:pt x="1002" y="983"/>
                    </a:lnTo>
                    <a:lnTo>
                      <a:pt x="1000" y="983"/>
                    </a:lnTo>
                    <a:lnTo>
                      <a:pt x="1002" y="983"/>
                    </a:lnTo>
                    <a:lnTo>
                      <a:pt x="1002" y="981"/>
                    </a:lnTo>
                    <a:lnTo>
                      <a:pt x="1003" y="981"/>
                    </a:lnTo>
                    <a:lnTo>
                      <a:pt x="1005" y="981"/>
                    </a:lnTo>
                    <a:lnTo>
                      <a:pt x="1003" y="980"/>
                    </a:lnTo>
                    <a:lnTo>
                      <a:pt x="1005" y="980"/>
                    </a:lnTo>
                    <a:close/>
                    <a:moveTo>
                      <a:pt x="993" y="978"/>
                    </a:moveTo>
                    <a:lnTo>
                      <a:pt x="995" y="978"/>
                    </a:lnTo>
                    <a:lnTo>
                      <a:pt x="995" y="980"/>
                    </a:lnTo>
                    <a:lnTo>
                      <a:pt x="993" y="980"/>
                    </a:lnTo>
                    <a:lnTo>
                      <a:pt x="993" y="978"/>
                    </a:lnTo>
                    <a:close/>
                    <a:moveTo>
                      <a:pt x="995" y="978"/>
                    </a:moveTo>
                    <a:lnTo>
                      <a:pt x="997" y="978"/>
                    </a:lnTo>
                    <a:lnTo>
                      <a:pt x="995" y="978"/>
                    </a:lnTo>
                    <a:close/>
                    <a:moveTo>
                      <a:pt x="1000" y="978"/>
                    </a:moveTo>
                    <a:lnTo>
                      <a:pt x="1002" y="978"/>
                    </a:lnTo>
                    <a:lnTo>
                      <a:pt x="1002" y="980"/>
                    </a:lnTo>
                    <a:lnTo>
                      <a:pt x="1000" y="980"/>
                    </a:lnTo>
                    <a:lnTo>
                      <a:pt x="1000" y="978"/>
                    </a:lnTo>
                    <a:close/>
                    <a:moveTo>
                      <a:pt x="1010" y="976"/>
                    </a:moveTo>
                    <a:lnTo>
                      <a:pt x="1012" y="976"/>
                    </a:lnTo>
                    <a:lnTo>
                      <a:pt x="1010" y="976"/>
                    </a:lnTo>
                    <a:close/>
                    <a:moveTo>
                      <a:pt x="1080" y="976"/>
                    </a:moveTo>
                    <a:lnTo>
                      <a:pt x="1082" y="976"/>
                    </a:lnTo>
                    <a:lnTo>
                      <a:pt x="1080" y="976"/>
                    </a:lnTo>
                    <a:close/>
                    <a:moveTo>
                      <a:pt x="1015" y="974"/>
                    </a:moveTo>
                    <a:lnTo>
                      <a:pt x="1017" y="974"/>
                    </a:lnTo>
                    <a:lnTo>
                      <a:pt x="1015" y="974"/>
                    </a:lnTo>
                    <a:close/>
                    <a:moveTo>
                      <a:pt x="1041" y="968"/>
                    </a:moveTo>
                    <a:lnTo>
                      <a:pt x="1041" y="969"/>
                    </a:lnTo>
                    <a:lnTo>
                      <a:pt x="1041" y="971"/>
                    </a:lnTo>
                    <a:lnTo>
                      <a:pt x="1041" y="969"/>
                    </a:lnTo>
                    <a:lnTo>
                      <a:pt x="1039" y="969"/>
                    </a:lnTo>
                    <a:lnTo>
                      <a:pt x="1039" y="971"/>
                    </a:lnTo>
                    <a:lnTo>
                      <a:pt x="1037" y="969"/>
                    </a:lnTo>
                    <a:lnTo>
                      <a:pt x="1039" y="969"/>
                    </a:lnTo>
                    <a:lnTo>
                      <a:pt x="1039" y="968"/>
                    </a:lnTo>
                    <a:lnTo>
                      <a:pt x="1039" y="969"/>
                    </a:lnTo>
                    <a:lnTo>
                      <a:pt x="1041" y="969"/>
                    </a:lnTo>
                    <a:lnTo>
                      <a:pt x="1041" y="968"/>
                    </a:lnTo>
                    <a:close/>
                    <a:moveTo>
                      <a:pt x="1090" y="954"/>
                    </a:moveTo>
                    <a:lnTo>
                      <a:pt x="1090" y="956"/>
                    </a:lnTo>
                    <a:lnTo>
                      <a:pt x="1090" y="954"/>
                    </a:lnTo>
                    <a:close/>
                    <a:moveTo>
                      <a:pt x="973" y="1005"/>
                    </a:moveTo>
                    <a:lnTo>
                      <a:pt x="975" y="1005"/>
                    </a:lnTo>
                    <a:lnTo>
                      <a:pt x="975" y="1007"/>
                    </a:lnTo>
                    <a:lnTo>
                      <a:pt x="973" y="1007"/>
                    </a:lnTo>
                    <a:lnTo>
                      <a:pt x="973" y="1005"/>
                    </a:lnTo>
                    <a:close/>
                    <a:moveTo>
                      <a:pt x="978" y="1003"/>
                    </a:moveTo>
                    <a:lnTo>
                      <a:pt x="978" y="1005"/>
                    </a:lnTo>
                    <a:lnTo>
                      <a:pt x="978" y="1003"/>
                    </a:lnTo>
                    <a:close/>
                    <a:moveTo>
                      <a:pt x="968" y="1003"/>
                    </a:moveTo>
                    <a:lnTo>
                      <a:pt x="969" y="1003"/>
                    </a:lnTo>
                    <a:lnTo>
                      <a:pt x="971" y="1005"/>
                    </a:lnTo>
                    <a:lnTo>
                      <a:pt x="971" y="1007"/>
                    </a:lnTo>
                    <a:lnTo>
                      <a:pt x="969" y="1007"/>
                    </a:lnTo>
                    <a:lnTo>
                      <a:pt x="969" y="1008"/>
                    </a:lnTo>
                    <a:lnTo>
                      <a:pt x="971" y="1010"/>
                    </a:lnTo>
                    <a:lnTo>
                      <a:pt x="971" y="1008"/>
                    </a:lnTo>
                    <a:lnTo>
                      <a:pt x="971" y="1010"/>
                    </a:lnTo>
                    <a:lnTo>
                      <a:pt x="971" y="1012"/>
                    </a:lnTo>
                    <a:lnTo>
                      <a:pt x="969" y="1012"/>
                    </a:lnTo>
                    <a:lnTo>
                      <a:pt x="969" y="1010"/>
                    </a:lnTo>
                    <a:lnTo>
                      <a:pt x="968" y="1010"/>
                    </a:lnTo>
                    <a:lnTo>
                      <a:pt x="966" y="1010"/>
                    </a:lnTo>
                    <a:lnTo>
                      <a:pt x="964" y="1012"/>
                    </a:lnTo>
                    <a:lnTo>
                      <a:pt x="964" y="1010"/>
                    </a:lnTo>
                    <a:lnTo>
                      <a:pt x="963" y="1010"/>
                    </a:lnTo>
                    <a:lnTo>
                      <a:pt x="963" y="1008"/>
                    </a:lnTo>
                    <a:lnTo>
                      <a:pt x="964" y="1008"/>
                    </a:lnTo>
                    <a:lnTo>
                      <a:pt x="964" y="1007"/>
                    </a:lnTo>
                    <a:lnTo>
                      <a:pt x="966" y="1007"/>
                    </a:lnTo>
                    <a:lnTo>
                      <a:pt x="966" y="1005"/>
                    </a:lnTo>
                    <a:lnTo>
                      <a:pt x="968" y="1005"/>
                    </a:lnTo>
                    <a:lnTo>
                      <a:pt x="968" y="1003"/>
                    </a:lnTo>
                    <a:close/>
                    <a:moveTo>
                      <a:pt x="973" y="997"/>
                    </a:moveTo>
                    <a:lnTo>
                      <a:pt x="975" y="997"/>
                    </a:lnTo>
                    <a:lnTo>
                      <a:pt x="973" y="997"/>
                    </a:lnTo>
                    <a:close/>
                    <a:moveTo>
                      <a:pt x="976" y="997"/>
                    </a:moveTo>
                    <a:lnTo>
                      <a:pt x="978" y="997"/>
                    </a:lnTo>
                    <a:lnTo>
                      <a:pt x="976" y="997"/>
                    </a:lnTo>
                    <a:close/>
                    <a:moveTo>
                      <a:pt x="983" y="991"/>
                    </a:moveTo>
                    <a:lnTo>
                      <a:pt x="985" y="991"/>
                    </a:lnTo>
                    <a:lnTo>
                      <a:pt x="983" y="991"/>
                    </a:lnTo>
                    <a:close/>
                    <a:moveTo>
                      <a:pt x="861" y="1156"/>
                    </a:moveTo>
                    <a:lnTo>
                      <a:pt x="861" y="1158"/>
                    </a:lnTo>
                    <a:lnTo>
                      <a:pt x="861" y="1156"/>
                    </a:lnTo>
                    <a:close/>
                    <a:moveTo>
                      <a:pt x="864" y="1141"/>
                    </a:moveTo>
                    <a:lnTo>
                      <a:pt x="866" y="1143"/>
                    </a:lnTo>
                    <a:lnTo>
                      <a:pt x="866" y="1141"/>
                    </a:lnTo>
                    <a:lnTo>
                      <a:pt x="866" y="1143"/>
                    </a:lnTo>
                    <a:lnTo>
                      <a:pt x="866" y="1145"/>
                    </a:lnTo>
                    <a:lnTo>
                      <a:pt x="864" y="1145"/>
                    </a:lnTo>
                    <a:lnTo>
                      <a:pt x="864" y="1146"/>
                    </a:lnTo>
                    <a:lnTo>
                      <a:pt x="864" y="1148"/>
                    </a:lnTo>
                    <a:lnTo>
                      <a:pt x="862" y="1148"/>
                    </a:lnTo>
                    <a:lnTo>
                      <a:pt x="862" y="1150"/>
                    </a:lnTo>
                    <a:lnTo>
                      <a:pt x="862" y="1151"/>
                    </a:lnTo>
                    <a:lnTo>
                      <a:pt x="861" y="1151"/>
                    </a:lnTo>
                    <a:lnTo>
                      <a:pt x="861" y="1153"/>
                    </a:lnTo>
                    <a:lnTo>
                      <a:pt x="861" y="1155"/>
                    </a:lnTo>
                    <a:lnTo>
                      <a:pt x="862" y="1155"/>
                    </a:lnTo>
                    <a:lnTo>
                      <a:pt x="861" y="1155"/>
                    </a:lnTo>
                    <a:lnTo>
                      <a:pt x="861" y="1156"/>
                    </a:lnTo>
                    <a:lnTo>
                      <a:pt x="861" y="1155"/>
                    </a:lnTo>
                    <a:lnTo>
                      <a:pt x="859" y="1156"/>
                    </a:lnTo>
                    <a:lnTo>
                      <a:pt x="859" y="1155"/>
                    </a:lnTo>
                    <a:lnTo>
                      <a:pt x="859" y="1153"/>
                    </a:lnTo>
                    <a:lnTo>
                      <a:pt x="859" y="1151"/>
                    </a:lnTo>
                    <a:lnTo>
                      <a:pt x="859" y="1150"/>
                    </a:lnTo>
                    <a:lnTo>
                      <a:pt x="861" y="1150"/>
                    </a:lnTo>
                    <a:lnTo>
                      <a:pt x="859" y="1150"/>
                    </a:lnTo>
                    <a:lnTo>
                      <a:pt x="859" y="1148"/>
                    </a:lnTo>
                    <a:lnTo>
                      <a:pt x="861" y="1148"/>
                    </a:lnTo>
                    <a:lnTo>
                      <a:pt x="861" y="1146"/>
                    </a:lnTo>
                    <a:lnTo>
                      <a:pt x="861" y="1145"/>
                    </a:lnTo>
                    <a:lnTo>
                      <a:pt x="859" y="1145"/>
                    </a:lnTo>
                    <a:lnTo>
                      <a:pt x="859" y="1143"/>
                    </a:lnTo>
                    <a:lnTo>
                      <a:pt x="861" y="1143"/>
                    </a:lnTo>
                    <a:lnTo>
                      <a:pt x="859" y="1143"/>
                    </a:lnTo>
                    <a:lnTo>
                      <a:pt x="861" y="1143"/>
                    </a:lnTo>
                    <a:lnTo>
                      <a:pt x="861" y="1141"/>
                    </a:lnTo>
                    <a:lnTo>
                      <a:pt x="861" y="1143"/>
                    </a:lnTo>
                    <a:lnTo>
                      <a:pt x="862" y="1141"/>
                    </a:lnTo>
                    <a:lnTo>
                      <a:pt x="864" y="1141"/>
                    </a:lnTo>
                    <a:lnTo>
                      <a:pt x="862" y="1141"/>
                    </a:lnTo>
                    <a:lnTo>
                      <a:pt x="864" y="1139"/>
                    </a:lnTo>
                    <a:lnTo>
                      <a:pt x="864" y="1141"/>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8" name="Freeform 21">
                <a:extLst>
                  <a:ext uri="{FF2B5EF4-FFF2-40B4-BE49-F238E27FC236}">
                    <a16:creationId xmlns:a16="http://schemas.microsoft.com/office/drawing/2014/main" id="{638A737B-AC0B-D22D-457B-2E0830861D2D}"/>
                  </a:ext>
                </a:extLst>
              </p:cNvPr>
              <p:cNvSpPr>
                <a:spLocks noEditPoints="1"/>
              </p:cNvSpPr>
              <p:nvPr/>
            </p:nvSpPr>
            <p:spPr bwMode="auto">
              <a:xfrm>
                <a:off x="5293224" y="3123357"/>
                <a:ext cx="426185" cy="496678"/>
              </a:xfrm>
              <a:custGeom>
                <a:avLst/>
                <a:gdLst>
                  <a:gd name="T0" fmla="*/ 1322 w 1451"/>
                  <a:gd name="T1" fmla="*/ 542 h 1691"/>
                  <a:gd name="T2" fmla="*/ 1283 w 1451"/>
                  <a:gd name="T3" fmla="*/ 838 h 1691"/>
                  <a:gd name="T4" fmla="*/ 1278 w 1451"/>
                  <a:gd name="T5" fmla="*/ 1092 h 1691"/>
                  <a:gd name="T6" fmla="*/ 1217 w 1451"/>
                  <a:gd name="T7" fmla="*/ 1381 h 1691"/>
                  <a:gd name="T8" fmla="*/ 1264 w 1451"/>
                  <a:gd name="T9" fmla="*/ 1556 h 1691"/>
                  <a:gd name="T10" fmla="*/ 1205 w 1451"/>
                  <a:gd name="T11" fmla="*/ 1514 h 1691"/>
                  <a:gd name="T12" fmla="*/ 1234 w 1451"/>
                  <a:gd name="T13" fmla="*/ 1488 h 1691"/>
                  <a:gd name="T14" fmla="*/ 1208 w 1451"/>
                  <a:gd name="T15" fmla="*/ 1446 h 1691"/>
                  <a:gd name="T16" fmla="*/ 1196 w 1451"/>
                  <a:gd name="T17" fmla="*/ 1384 h 1691"/>
                  <a:gd name="T18" fmla="*/ 1200 w 1451"/>
                  <a:gd name="T19" fmla="*/ 1320 h 1691"/>
                  <a:gd name="T20" fmla="*/ 1219 w 1451"/>
                  <a:gd name="T21" fmla="*/ 1260 h 1691"/>
                  <a:gd name="T22" fmla="*/ 1196 w 1451"/>
                  <a:gd name="T23" fmla="*/ 1208 h 1691"/>
                  <a:gd name="T24" fmla="*/ 1169 w 1451"/>
                  <a:gd name="T25" fmla="*/ 1153 h 1691"/>
                  <a:gd name="T26" fmla="*/ 1222 w 1451"/>
                  <a:gd name="T27" fmla="*/ 1134 h 1691"/>
                  <a:gd name="T28" fmla="*/ 1236 w 1451"/>
                  <a:gd name="T29" fmla="*/ 988 h 1691"/>
                  <a:gd name="T30" fmla="*/ 1219 w 1451"/>
                  <a:gd name="T31" fmla="*/ 871 h 1691"/>
                  <a:gd name="T32" fmla="*/ 1285 w 1451"/>
                  <a:gd name="T33" fmla="*/ 556 h 1691"/>
                  <a:gd name="T34" fmla="*/ 1312 w 1451"/>
                  <a:gd name="T35" fmla="*/ 212 h 1691"/>
                  <a:gd name="T36" fmla="*/ 1389 w 1451"/>
                  <a:gd name="T37" fmla="*/ 127 h 1691"/>
                  <a:gd name="T38" fmla="*/ 1287 w 1451"/>
                  <a:gd name="T39" fmla="*/ 1609 h 1691"/>
                  <a:gd name="T40" fmla="*/ 1321 w 1451"/>
                  <a:gd name="T41" fmla="*/ 1595 h 1691"/>
                  <a:gd name="T42" fmla="*/ 1338 w 1451"/>
                  <a:gd name="T43" fmla="*/ 1505 h 1691"/>
                  <a:gd name="T44" fmla="*/ 1174 w 1451"/>
                  <a:gd name="T45" fmla="*/ 1286 h 1691"/>
                  <a:gd name="T46" fmla="*/ 1164 w 1451"/>
                  <a:gd name="T47" fmla="*/ 1344 h 1691"/>
                  <a:gd name="T48" fmla="*/ 1173 w 1451"/>
                  <a:gd name="T49" fmla="*/ 1284 h 1691"/>
                  <a:gd name="T50" fmla="*/ 1251 w 1451"/>
                  <a:gd name="T51" fmla="*/ 1505 h 1691"/>
                  <a:gd name="T52" fmla="*/ 1355 w 1451"/>
                  <a:gd name="T53" fmla="*/ 1662 h 1691"/>
                  <a:gd name="T54" fmla="*/ 1247 w 1451"/>
                  <a:gd name="T55" fmla="*/ 1568 h 1691"/>
                  <a:gd name="T56" fmla="*/ 1402 w 1451"/>
                  <a:gd name="T57" fmla="*/ 1628 h 1691"/>
                  <a:gd name="T58" fmla="*/ 1300 w 1451"/>
                  <a:gd name="T59" fmla="*/ 1566 h 1691"/>
                  <a:gd name="T60" fmla="*/ 1174 w 1451"/>
                  <a:gd name="T61" fmla="*/ 1502 h 1691"/>
                  <a:gd name="T62" fmla="*/ 1156 w 1451"/>
                  <a:gd name="T63" fmla="*/ 1379 h 1691"/>
                  <a:gd name="T64" fmla="*/ 1156 w 1451"/>
                  <a:gd name="T65" fmla="*/ 1284 h 1691"/>
                  <a:gd name="T66" fmla="*/ 1179 w 1451"/>
                  <a:gd name="T67" fmla="*/ 1282 h 1691"/>
                  <a:gd name="T68" fmla="*/ 1312 w 1451"/>
                  <a:gd name="T69" fmla="*/ 1643 h 1691"/>
                  <a:gd name="T70" fmla="*/ 1169 w 1451"/>
                  <a:gd name="T71" fmla="*/ 1265 h 1691"/>
                  <a:gd name="T72" fmla="*/ 1152 w 1451"/>
                  <a:gd name="T73" fmla="*/ 1277 h 1691"/>
                  <a:gd name="T74" fmla="*/ 1168 w 1451"/>
                  <a:gd name="T75" fmla="*/ 1422 h 1691"/>
                  <a:gd name="T76" fmla="*/ 1196 w 1451"/>
                  <a:gd name="T77" fmla="*/ 1481 h 1691"/>
                  <a:gd name="T78" fmla="*/ 1208 w 1451"/>
                  <a:gd name="T79" fmla="*/ 1126 h 1691"/>
                  <a:gd name="T80" fmla="*/ 1193 w 1451"/>
                  <a:gd name="T81" fmla="*/ 1099 h 1691"/>
                  <a:gd name="T82" fmla="*/ 1292 w 1451"/>
                  <a:gd name="T83" fmla="*/ 1626 h 1691"/>
                  <a:gd name="T84" fmla="*/ 1207 w 1451"/>
                  <a:gd name="T85" fmla="*/ 1155 h 1691"/>
                  <a:gd name="T86" fmla="*/ 1190 w 1451"/>
                  <a:gd name="T87" fmla="*/ 1114 h 1691"/>
                  <a:gd name="T88" fmla="*/ 1173 w 1451"/>
                  <a:gd name="T89" fmla="*/ 1138 h 1691"/>
                  <a:gd name="T90" fmla="*/ 1326 w 1451"/>
                  <a:gd name="T91" fmla="*/ 1629 h 1691"/>
                  <a:gd name="T92" fmla="*/ 1164 w 1451"/>
                  <a:gd name="T93" fmla="*/ 1391 h 1691"/>
                  <a:gd name="T94" fmla="*/ 1173 w 1451"/>
                  <a:gd name="T95" fmla="*/ 1417 h 1691"/>
                  <a:gd name="T96" fmla="*/ 1229 w 1451"/>
                  <a:gd name="T97" fmla="*/ 952 h 1691"/>
                  <a:gd name="T98" fmla="*/ 1183 w 1451"/>
                  <a:gd name="T99" fmla="*/ 1075 h 1691"/>
                  <a:gd name="T100" fmla="*/ 1229 w 1451"/>
                  <a:gd name="T101" fmla="*/ 976 h 1691"/>
                  <a:gd name="T102" fmla="*/ 1378 w 1451"/>
                  <a:gd name="T103" fmla="*/ 1660 h 1691"/>
                  <a:gd name="T104" fmla="*/ 1208 w 1451"/>
                  <a:gd name="T105" fmla="*/ 1065 h 1691"/>
                  <a:gd name="T106" fmla="*/ 1229 w 1451"/>
                  <a:gd name="T107" fmla="*/ 1585 h 1691"/>
                  <a:gd name="T108" fmla="*/ 1336 w 1451"/>
                  <a:gd name="T109" fmla="*/ 1653 h 1691"/>
                  <a:gd name="T110" fmla="*/ 1185 w 1451"/>
                  <a:gd name="T111" fmla="*/ 1463 h 1691"/>
                  <a:gd name="T112" fmla="*/ 1171 w 1451"/>
                  <a:gd name="T113" fmla="*/ 1481 h 1691"/>
                  <a:gd name="T114" fmla="*/ 1215 w 1451"/>
                  <a:gd name="T115" fmla="*/ 1521 h 1691"/>
                  <a:gd name="T116" fmla="*/ 1159 w 1451"/>
                  <a:gd name="T117" fmla="*/ 1356 h 1691"/>
                  <a:gd name="T118" fmla="*/ 1251 w 1451"/>
                  <a:gd name="T119" fmla="*/ 1597 h 1691"/>
                  <a:gd name="T120" fmla="*/ 1232 w 1451"/>
                  <a:gd name="T121" fmla="*/ 1546 h 1691"/>
                  <a:gd name="T122" fmla="*/ 1281 w 1451"/>
                  <a:gd name="T123" fmla="*/ 1614 h 1691"/>
                  <a:gd name="T124" fmla="*/ 1168 w 1451"/>
                  <a:gd name="T125" fmla="*/ 1405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51" h="1691">
                    <a:moveTo>
                      <a:pt x="1426" y="190"/>
                    </a:moveTo>
                    <a:lnTo>
                      <a:pt x="1429" y="194"/>
                    </a:lnTo>
                    <a:lnTo>
                      <a:pt x="1433" y="197"/>
                    </a:lnTo>
                    <a:lnTo>
                      <a:pt x="1429" y="206"/>
                    </a:lnTo>
                    <a:lnTo>
                      <a:pt x="1429" y="207"/>
                    </a:lnTo>
                    <a:lnTo>
                      <a:pt x="1428" y="214"/>
                    </a:lnTo>
                    <a:lnTo>
                      <a:pt x="1424" y="224"/>
                    </a:lnTo>
                    <a:lnTo>
                      <a:pt x="1424" y="226"/>
                    </a:lnTo>
                    <a:lnTo>
                      <a:pt x="1421" y="236"/>
                    </a:lnTo>
                    <a:lnTo>
                      <a:pt x="1416" y="238"/>
                    </a:lnTo>
                    <a:lnTo>
                      <a:pt x="1409" y="241"/>
                    </a:lnTo>
                    <a:lnTo>
                      <a:pt x="1400" y="245"/>
                    </a:lnTo>
                    <a:lnTo>
                      <a:pt x="1399" y="245"/>
                    </a:lnTo>
                    <a:lnTo>
                      <a:pt x="1397" y="246"/>
                    </a:lnTo>
                    <a:lnTo>
                      <a:pt x="1390" y="248"/>
                    </a:lnTo>
                    <a:lnTo>
                      <a:pt x="1390" y="250"/>
                    </a:lnTo>
                    <a:lnTo>
                      <a:pt x="1389" y="250"/>
                    </a:lnTo>
                    <a:lnTo>
                      <a:pt x="1389" y="252"/>
                    </a:lnTo>
                    <a:lnTo>
                      <a:pt x="1387" y="253"/>
                    </a:lnTo>
                    <a:lnTo>
                      <a:pt x="1387" y="252"/>
                    </a:lnTo>
                    <a:lnTo>
                      <a:pt x="1385" y="252"/>
                    </a:lnTo>
                    <a:lnTo>
                      <a:pt x="1385" y="253"/>
                    </a:lnTo>
                    <a:lnTo>
                      <a:pt x="1385" y="255"/>
                    </a:lnTo>
                    <a:lnTo>
                      <a:pt x="1383" y="255"/>
                    </a:lnTo>
                    <a:lnTo>
                      <a:pt x="1383" y="257"/>
                    </a:lnTo>
                    <a:lnTo>
                      <a:pt x="1382" y="257"/>
                    </a:lnTo>
                    <a:lnTo>
                      <a:pt x="1382" y="258"/>
                    </a:lnTo>
                    <a:lnTo>
                      <a:pt x="1382" y="260"/>
                    </a:lnTo>
                    <a:lnTo>
                      <a:pt x="1380" y="260"/>
                    </a:lnTo>
                    <a:lnTo>
                      <a:pt x="1380" y="262"/>
                    </a:lnTo>
                    <a:lnTo>
                      <a:pt x="1380" y="263"/>
                    </a:lnTo>
                    <a:lnTo>
                      <a:pt x="1380" y="265"/>
                    </a:lnTo>
                    <a:lnTo>
                      <a:pt x="1382" y="267"/>
                    </a:lnTo>
                    <a:lnTo>
                      <a:pt x="1383" y="267"/>
                    </a:lnTo>
                    <a:lnTo>
                      <a:pt x="1383" y="269"/>
                    </a:lnTo>
                    <a:lnTo>
                      <a:pt x="1383" y="270"/>
                    </a:lnTo>
                    <a:lnTo>
                      <a:pt x="1385" y="270"/>
                    </a:lnTo>
                    <a:lnTo>
                      <a:pt x="1385" y="272"/>
                    </a:lnTo>
                    <a:lnTo>
                      <a:pt x="1387" y="272"/>
                    </a:lnTo>
                    <a:lnTo>
                      <a:pt x="1387" y="274"/>
                    </a:lnTo>
                    <a:lnTo>
                      <a:pt x="1387" y="275"/>
                    </a:lnTo>
                    <a:lnTo>
                      <a:pt x="1385" y="275"/>
                    </a:lnTo>
                    <a:lnTo>
                      <a:pt x="1385" y="277"/>
                    </a:lnTo>
                    <a:lnTo>
                      <a:pt x="1385" y="275"/>
                    </a:lnTo>
                    <a:lnTo>
                      <a:pt x="1383" y="275"/>
                    </a:lnTo>
                    <a:lnTo>
                      <a:pt x="1382" y="277"/>
                    </a:lnTo>
                    <a:lnTo>
                      <a:pt x="1382" y="279"/>
                    </a:lnTo>
                    <a:lnTo>
                      <a:pt x="1382" y="280"/>
                    </a:lnTo>
                    <a:lnTo>
                      <a:pt x="1380" y="280"/>
                    </a:lnTo>
                    <a:lnTo>
                      <a:pt x="1380" y="282"/>
                    </a:lnTo>
                    <a:lnTo>
                      <a:pt x="1380" y="284"/>
                    </a:lnTo>
                    <a:lnTo>
                      <a:pt x="1382" y="284"/>
                    </a:lnTo>
                    <a:lnTo>
                      <a:pt x="1382" y="286"/>
                    </a:lnTo>
                    <a:lnTo>
                      <a:pt x="1380" y="286"/>
                    </a:lnTo>
                    <a:lnTo>
                      <a:pt x="1380" y="287"/>
                    </a:lnTo>
                    <a:lnTo>
                      <a:pt x="1378" y="287"/>
                    </a:lnTo>
                    <a:lnTo>
                      <a:pt x="1380" y="289"/>
                    </a:lnTo>
                    <a:lnTo>
                      <a:pt x="1380" y="291"/>
                    </a:lnTo>
                    <a:lnTo>
                      <a:pt x="1380" y="292"/>
                    </a:lnTo>
                    <a:lnTo>
                      <a:pt x="1382" y="292"/>
                    </a:lnTo>
                    <a:lnTo>
                      <a:pt x="1380" y="294"/>
                    </a:lnTo>
                    <a:lnTo>
                      <a:pt x="1380" y="296"/>
                    </a:lnTo>
                    <a:lnTo>
                      <a:pt x="1382" y="296"/>
                    </a:lnTo>
                    <a:lnTo>
                      <a:pt x="1382" y="297"/>
                    </a:lnTo>
                    <a:lnTo>
                      <a:pt x="1383" y="299"/>
                    </a:lnTo>
                    <a:lnTo>
                      <a:pt x="1383" y="304"/>
                    </a:lnTo>
                    <a:lnTo>
                      <a:pt x="1385" y="308"/>
                    </a:lnTo>
                    <a:lnTo>
                      <a:pt x="1385" y="309"/>
                    </a:lnTo>
                    <a:lnTo>
                      <a:pt x="1385" y="313"/>
                    </a:lnTo>
                    <a:lnTo>
                      <a:pt x="1385" y="316"/>
                    </a:lnTo>
                    <a:lnTo>
                      <a:pt x="1383" y="316"/>
                    </a:lnTo>
                    <a:lnTo>
                      <a:pt x="1382" y="318"/>
                    </a:lnTo>
                    <a:lnTo>
                      <a:pt x="1380" y="320"/>
                    </a:lnTo>
                    <a:lnTo>
                      <a:pt x="1380" y="323"/>
                    </a:lnTo>
                    <a:lnTo>
                      <a:pt x="1378" y="325"/>
                    </a:lnTo>
                    <a:lnTo>
                      <a:pt x="1378" y="326"/>
                    </a:lnTo>
                    <a:lnTo>
                      <a:pt x="1380" y="328"/>
                    </a:lnTo>
                    <a:lnTo>
                      <a:pt x="1380" y="330"/>
                    </a:lnTo>
                    <a:lnTo>
                      <a:pt x="1382" y="331"/>
                    </a:lnTo>
                    <a:lnTo>
                      <a:pt x="1382" y="333"/>
                    </a:lnTo>
                    <a:lnTo>
                      <a:pt x="1383" y="333"/>
                    </a:lnTo>
                    <a:lnTo>
                      <a:pt x="1383" y="335"/>
                    </a:lnTo>
                    <a:lnTo>
                      <a:pt x="1385" y="338"/>
                    </a:lnTo>
                    <a:lnTo>
                      <a:pt x="1387" y="338"/>
                    </a:lnTo>
                    <a:lnTo>
                      <a:pt x="1387" y="340"/>
                    </a:lnTo>
                    <a:lnTo>
                      <a:pt x="1389" y="342"/>
                    </a:lnTo>
                    <a:lnTo>
                      <a:pt x="1389" y="343"/>
                    </a:lnTo>
                    <a:lnTo>
                      <a:pt x="1390" y="343"/>
                    </a:lnTo>
                    <a:lnTo>
                      <a:pt x="1389" y="343"/>
                    </a:lnTo>
                    <a:lnTo>
                      <a:pt x="1389" y="345"/>
                    </a:lnTo>
                    <a:lnTo>
                      <a:pt x="1389" y="347"/>
                    </a:lnTo>
                    <a:lnTo>
                      <a:pt x="1389" y="349"/>
                    </a:lnTo>
                    <a:lnTo>
                      <a:pt x="1387" y="349"/>
                    </a:lnTo>
                    <a:lnTo>
                      <a:pt x="1385" y="349"/>
                    </a:lnTo>
                    <a:lnTo>
                      <a:pt x="1383" y="349"/>
                    </a:lnTo>
                    <a:lnTo>
                      <a:pt x="1383" y="350"/>
                    </a:lnTo>
                    <a:lnTo>
                      <a:pt x="1382" y="349"/>
                    </a:lnTo>
                    <a:lnTo>
                      <a:pt x="1383" y="350"/>
                    </a:lnTo>
                    <a:lnTo>
                      <a:pt x="1382" y="352"/>
                    </a:lnTo>
                    <a:lnTo>
                      <a:pt x="1380" y="350"/>
                    </a:lnTo>
                    <a:lnTo>
                      <a:pt x="1380" y="352"/>
                    </a:lnTo>
                    <a:lnTo>
                      <a:pt x="1380" y="354"/>
                    </a:lnTo>
                    <a:lnTo>
                      <a:pt x="1378" y="352"/>
                    </a:lnTo>
                    <a:lnTo>
                      <a:pt x="1378" y="354"/>
                    </a:lnTo>
                    <a:lnTo>
                      <a:pt x="1377" y="352"/>
                    </a:lnTo>
                    <a:lnTo>
                      <a:pt x="1377" y="350"/>
                    </a:lnTo>
                    <a:lnTo>
                      <a:pt x="1375" y="350"/>
                    </a:lnTo>
                    <a:lnTo>
                      <a:pt x="1373" y="350"/>
                    </a:lnTo>
                    <a:lnTo>
                      <a:pt x="1372" y="350"/>
                    </a:lnTo>
                    <a:lnTo>
                      <a:pt x="1372" y="352"/>
                    </a:lnTo>
                    <a:lnTo>
                      <a:pt x="1370" y="352"/>
                    </a:lnTo>
                    <a:lnTo>
                      <a:pt x="1370" y="354"/>
                    </a:lnTo>
                    <a:lnTo>
                      <a:pt x="1370" y="355"/>
                    </a:lnTo>
                    <a:lnTo>
                      <a:pt x="1370" y="357"/>
                    </a:lnTo>
                    <a:lnTo>
                      <a:pt x="1372" y="357"/>
                    </a:lnTo>
                    <a:lnTo>
                      <a:pt x="1370" y="357"/>
                    </a:lnTo>
                    <a:lnTo>
                      <a:pt x="1370" y="359"/>
                    </a:lnTo>
                    <a:lnTo>
                      <a:pt x="1368" y="359"/>
                    </a:lnTo>
                    <a:lnTo>
                      <a:pt x="1368" y="360"/>
                    </a:lnTo>
                    <a:lnTo>
                      <a:pt x="1368" y="362"/>
                    </a:lnTo>
                    <a:lnTo>
                      <a:pt x="1366" y="362"/>
                    </a:lnTo>
                    <a:lnTo>
                      <a:pt x="1368" y="362"/>
                    </a:lnTo>
                    <a:lnTo>
                      <a:pt x="1366" y="364"/>
                    </a:lnTo>
                    <a:lnTo>
                      <a:pt x="1366" y="362"/>
                    </a:lnTo>
                    <a:lnTo>
                      <a:pt x="1366" y="364"/>
                    </a:lnTo>
                    <a:lnTo>
                      <a:pt x="1365" y="364"/>
                    </a:lnTo>
                    <a:lnTo>
                      <a:pt x="1366" y="364"/>
                    </a:lnTo>
                    <a:lnTo>
                      <a:pt x="1366" y="366"/>
                    </a:lnTo>
                    <a:lnTo>
                      <a:pt x="1366" y="367"/>
                    </a:lnTo>
                    <a:lnTo>
                      <a:pt x="1365" y="367"/>
                    </a:lnTo>
                    <a:lnTo>
                      <a:pt x="1366" y="367"/>
                    </a:lnTo>
                    <a:lnTo>
                      <a:pt x="1365" y="369"/>
                    </a:lnTo>
                    <a:lnTo>
                      <a:pt x="1363" y="369"/>
                    </a:lnTo>
                    <a:lnTo>
                      <a:pt x="1363" y="371"/>
                    </a:lnTo>
                    <a:lnTo>
                      <a:pt x="1363" y="372"/>
                    </a:lnTo>
                    <a:lnTo>
                      <a:pt x="1363" y="374"/>
                    </a:lnTo>
                    <a:lnTo>
                      <a:pt x="1361" y="374"/>
                    </a:lnTo>
                    <a:lnTo>
                      <a:pt x="1361" y="376"/>
                    </a:lnTo>
                    <a:lnTo>
                      <a:pt x="1361" y="377"/>
                    </a:lnTo>
                    <a:lnTo>
                      <a:pt x="1361" y="379"/>
                    </a:lnTo>
                    <a:lnTo>
                      <a:pt x="1361" y="381"/>
                    </a:lnTo>
                    <a:lnTo>
                      <a:pt x="1360" y="381"/>
                    </a:lnTo>
                    <a:lnTo>
                      <a:pt x="1360" y="383"/>
                    </a:lnTo>
                    <a:lnTo>
                      <a:pt x="1360" y="384"/>
                    </a:lnTo>
                    <a:lnTo>
                      <a:pt x="1358" y="383"/>
                    </a:lnTo>
                    <a:lnTo>
                      <a:pt x="1356" y="384"/>
                    </a:lnTo>
                    <a:lnTo>
                      <a:pt x="1356" y="386"/>
                    </a:lnTo>
                    <a:lnTo>
                      <a:pt x="1355" y="388"/>
                    </a:lnTo>
                    <a:lnTo>
                      <a:pt x="1355" y="389"/>
                    </a:lnTo>
                    <a:lnTo>
                      <a:pt x="1353" y="391"/>
                    </a:lnTo>
                    <a:lnTo>
                      <a:pt x="1353" y="393"/>
                    </a:lnTo>
                    <a:lnTo>
                      <a:pt x="1351" y="393"/>
                    </a:lnTo>
                    <a:lnTo>
                      <a:pt x="1349" y="391"/>
                    </a:lnTo>
                    <a:lnTo>
                      <a:pt x="1349" y="393"/>
                    </a:lnTo>
                    <a:lnTo>
                      <a:pt x="1349" y="394"/>
                    </a:lnTo>
                    <a:lnTo>
                      <a:pt x="1348" y="394"/>
                    </a:lnTo>
                    <a:lnTo>
                      <a:pt x="1348" y="396"/>
                    </a:lnTo>
                    <a:lnTo>
                      <a:pt x="1348" y="398"/>
                    </a:lnTo>
                    <a:lnTo>
                      <a:pt x="1346" y="398"/>
                    </a:lnTo>
                    <a:lnTo>
                      <a:pt x="1344" y="398"/>
                    </a:lnTo>
                    <a:lnTo>
                      <a:pt x="1346" y="400"/>
                    </a:lnTo>
                    <a:lnTo>
                      <a:pt x="1344" y="400"/>
                    </a:lnTo>
                    <a:lnTo>
                      <a:pt x="1343" y="400"/>
                    </a:lnTo>
                    <a:lnTo>
                      <a:pt x="1343" y="401"/>
                    </a:lnTo>
                    <a:lnTo>
                      <a:pt x="1344" y="401"/>
                    </a:lnTo>
                    <a:lnTo>
                      <a:pt x="1343" y="401"/>
                    </a:lnTo>
                    <a:lnTo>
                      <a:pt x="1343" y="403"/>
                    </a:lnTo>
                    <a:lnTo>
                      <a:pt x="1343" y="405"/>
                    </a:lnTo>
                    <a:lnTo>
                      <a:pt x="1343" y="406"/>
                    </a:lnTo>
                    <a:lnTo>
                      <a:pt x="1341" y="406"/>
                    </a:lnTo>
                    <a:lnTo>
                      <a:pt x="1343" y="408"/>
                    </a:lnTo>
                    <a:lnTo>
                      <a:pt x="1341" y="408"/>
                    </a:lnTo>
                    <a:lnTo>
                      <a:pt x="1341" y="410"/>
                    </a:lnTo>
                    <a:lnTo>
                      <a:pt x="1341" y="411"/>
                    </a:lnTo>
                    <a:lnTo>
                      <a:pt x="1341" y="413"/>
                    </a:lnTo>
                    <a:lnTo>
                      <a:pt x="1341" y="415"/>
                    </a:lnTo>
                    <a:lnTo>
                      <a:pt x="1341" y="417"/>
                    </a:lnTo>
                    <a:lnTo>
                      <a:pt x="1339" y="417"/>
                    </a:lnTo>
                    <a:lnTo>
                      <a:pt x="1339" y="418"/>
                    </a:lnTo>
                    <a:lnTo>
                      <a:pt x="1339" y="420"/>
                    </a:lnTo>
                    <a:lnTo>
                      <a:pt x="1339" y="422"/>
                    </a:lnTo>
                    <a:lnTo>
                      <a:pt x="1339" y="423"/>
                    </a:lnTo>
                    <a:lnTo>
                      <a:pt x="1338" y="423"/>
                    </a:lnTo>
                    <a:lnTo>
                      <a:pt x="1339" y="425"/>
                    </a:lnTo>
                    <a:lnTo>
                      <a:pt x="1338" y="425"/>
                    </a:lnTo>
                    <a:lnTo>
                      <a:pt x="1338" y="427"/>
                    </a:lnTo>
                    <a:lnTo>
                      <a:pt x="1339" y="427"/>
                    </a:lnTo>
                    <a:lnTo>
                      <a:pt x="1338" y="427"/>
                    </a:lnTo>
                    <a:lnTo>
                      <a:pt x="1338" y="428"/>
                    </a:lnTo>
                    <a:lnTo>
                      <a:pt x="1336" y="428"/>
                    </a:lnTo>
                    <a:lnTo>
                      <a:pt x="1334" y="428"/>
                    </a:lnTo>
                    <a:lnTo>
                      <a:pt x="1334" y="430"/>
                    </a:lnTo>
                    <a:lnTo>
                      <a:pt x="1332" y="430"/>
                    </a:lnTo>
                    <a:lnTo>
                      <a:pt x="1332" y="432"/>
                    </a:lnTo>
                    <a:lnTo>
                      <a:pt x="1332" y="434"/>
                    </a:lnTo>
                    <a:lnTo>
                      <a:pt x="1331" y="434"/>
                    </a:lnTo>
                    <a:lnTo>
                      <a:pt x="1331" y="435"/>
                    </a:lnTo>
                    <a:lnTo>
                      <a:pt x="1331" y="437"/>
                    </a:lnTo>
                    <a:lnTo>
                      <a:pt x="1331" y="439"/>
                    </a:lnTo>
                    <a:lnTo>
                      <a:pt x="1332" y="439"/>
                    </a:lnTo>
                    <a:lnTo>
                      <a:pt x="1332" y="440"/>
                    </a:lnTo>
                    <a:lnTo>
                      <a:pt x="1332" y="442"/>
                    </a:lnTo>
                    <a:lnTo>
                      <a:pt x="1332" y="444"/>
                    </a:lnTo>
                    <a:lnTo>
                      <a:pt x="1334" y="444"/>
                    </a:lnTo>
                    <a:lnTo>
                      <a:pt x="1332" y="445"/>
                    </a:lnTo>
                    <a:lnTo>
                      <a:pt x="1334" y="445"/>
                    </a:lnTo>
                    <a:lnTo>
                      <a:pt x="1332" y="447"/>
                    </a:lnTo>
                    <a:lnTo>
                      <a:pt x="1334" y="447"/>
                    </a:lnTo>
                    <a:lnTo>
                      <a:pt x="1332" y="447"/>
                    </a:lnTo>
                    <a:lnTo>
                      <a:pt x="1332" y="449"/>
                    </a:lnTo>
                    <a:lnTo>
                      <a:pt x="1334" y="449"/>
                    </a:lnTo>
                    <a:lnTo>
                      <a:pt x="1334" y="451"/>
                    </a:lnTo>
                    <a:lnTo>
                      <a:pt x="1336" y="451"/>
                    </a:lnTo>
                    <a:lnTo>
                      <a:pt x="1336" y="452"/>
                    </a:lnTo>
                    <a:lnTo>
                      <a:pt x="1334" y="452"/>
                    </a:lnTo>
                    <a:lnTo>
                      <a:pt x="1334" y="454"/>
                    </a:lnTo>
                    <a:lnTo>
                      <a:pt x="1334" y="456"/>
                    </a:lnTo>
                    <a:lnTo>
                      <a:pt x="1336" y="456"/>
                    </a:lnTo>
                    <a:lnTo>
                      <a:pt x="1334" y="457"/>
                    </a:lnTo>
                    <a:lnTo>
                      <a:pt x="1336" y="457"/>
                    </a:lnTo>
                    <a:lnTo>
                      <a:pt x="1334" y="459"/>
                    </a:lnTo>
                    <a:lnTo>
                      <a:pt x="1334" y="461"/>
                    </a:lnTo>
                    <a:lnTo>
                      <a:pt x="1334" y="462"/>
                    </a:lnTo>
                    <a:lnTo>
                      <a:pt x="1334" y="464"/>
                    </a:lnTo>
                    <a:lnTo>
                      <a:pt x="1332" y="464"/>
                    </a:lnTo>
                    <a:lnTo>
                      <a:pt x="1332" y="466"/>
                    </a:lnTo>
                    <a:lnTo>
                      <a:pt x="1334" y="466"/>
                    </a:lnTo>
                    <a:lnTo>
                      <a:pt x="1336" y="466"/>
                    </a:lnTo>
                    <a:lnTo>
                      <a:pt x="1336" y="468"/>
                    </a:lnTo>
                    <a:lnTo>
                      <a:pt x="1338" y="468"/>
                    </a:lnTo>
                    <a:lnTo>
                      <a:pt x="1338" y="469"/>
                    </a:lnTo>
                    <a:lnTo>
                      <a:pt x="1338" y="471"/>
                    </a:lnTo>
                    <a:lnTo>
                      <a:pt x="1336" y="471"/>
                    </a:lnTo>
                    <a:lnTo>
                      <a:pt x="1336" y="469"/>
                    </a:lnTo>
                    <a:lnTo>
                      <a:pt x="1336" y="471"/>
                    </a:lnTo>
                    <a:lnTo>
                      <a:pt x="1336" y="473"/>
                    </a:lnTo>
                    <a:lnTo>
                      <a:pt x="1334" y="473"/>
                    </a:lnTo>
                    <a:lnTo>
                      <a:pt x="1334" y="474"/>
                    </a:lnTo>
                    <a:lnTo>
                      <a:pt x="1334" y="476"/>
                    </a:lnTo>
                    <a:lnTo>
                      <a:pt x="1332" y="476"/>
                    </a:lnTo>
                    <a:lnTo>
                      <a:pt x="1331" y="476"/>
                    </a:lnTo>
                    <a:lnTo>
                      <a:pt x="1331" y="478"/>
                    </a:lnTo>
                    <a:lnTo>
                      <a:pt x="1329" y="478"/>
                    </a:lnTo>
                    <a:lnTo>
                      <a:pt x="1329" y="476"/>
                    </a:lnTo>
                    <a:lnTo>
                      <a:pt x="1327" y="476"/>
                    </a:lnTo>
                    <a:lnTo>
                      <a:pt x="1327" y="474"/>
                    </a:lnTo>
                    <a:lnTo>
                      <a:pt x="1326" y="476"/>
                    </a:lnTo>
                    <a:lnTo>
                      <a:pt x="1327" y="478"/>
                    </a:lnTo>
                    <a:lnTo>
                      <a:pt x="1327" y="479"/>
                    </a:lnTo>
                    <a:lnTo>
                      <a:pt x="1326" y="479"/>
                    </a:lnTo>
                    <a:lnTo>
                      <a:pt x="1326" y="481"/>
                    </a:lnTo>
                    <a:lnTo>
                      <a:pt x="1324" y="481"/>
                    </a:lnTo>
                    <a:lnTo>
                      <a:pt x="1326" y="481"/>
                    </a:lnTo>
                    <a:lnTo>
                      <a:pt x="1324" y="483"/>
                    </a:lnTo>
                    <a:lnTo>
                      <a:pt x="1324" y="485"/>
                    </a:lnTo>
                    <a:lnTo>
                      <a:pt x="1324" y="486"/>
                    </a:lnTo>
                    <a:lnTo>
                      <a:pt x="1322" y="486"/>
                    </a:lnTo>
                    <a:lnTo>
                      <a:pt x="1322" y="488"/>
                    </a:lnTo>
                    <a:lnTo>
                      <a:pt x="1324" y="488"/>
                    </a:lnTo>
                    <a:lnTo>
                      <a:pt x="1322" y="488"/>
                    </a:lnTo>
                    <a:lnTo>
                      <a:pt x="1322" y="490"/>
                    </a:lnTo>
                    <a:lnTo>
                      <a:pt x="1322" y="491"/>
                    </a:lnTo>
                    <a:lnTo>
                      <a:pt x="1322" y="493"/>
                    </a:lnTo>
                    <a:lnTo>
                      <a:pt x="1322" y="495"/>
                    </a:lnTo>
                    <a:lnTo>
                      <a:pt x="1321" y="495"/>
                    </a:lnTo>
                    <a:lnTo>
                      <a:pt x="1321" y="497"/>
                    </a:lnTo>
                    <a:lnTo>
                      <a:pt x="1321" y="498"/>
                    </a:lnTo>
                    <a:lnTo>
                      <a:pt x="1321" y="500"/>
                    </a:lnTo>
                    <a:lnTo>
                      <a:pt x="1321" y="502"/>
                    </a:lnTo>
                    <a:lnTo>
                      <a:pt x="1322" y="502"/>
                    </a:lnTo>
                    <a:lnTo>
                      <a:pt x="1322" y="503"/>
                    </a:lnTo>
                    <a:lnTo>
                      <a:pt x="1321" y="503"/>
                    </a:lnTo>
                    <a:lnTo>
                      <a:pt x="1319" y="503"/>
                    </a:lnTo>
                    <a:lnTo>
                      <a:pt x="1319" y="505"/>
                    </a:lnTo>
                    <a:lnTo>
                      <a:pt x="1319" y="507"/>
                    </a:lnTo>
                    <a:lnTo>
                      <a:pt x="1317" y="508"/>
                    </a:lnTo>
                    <a:lnTo>
                      <a:pt x="1317" y="507"/>
                    </a:lnTo>
                    <a:lnTo>
                      <a:pt x="1317" y="505"/>
                    </a:lnTo>
                    <a:lnTo>
                      <a:pt x="1315" y="505"/>
                    </a:lnTo>
                    <a:lnTo>
                      <a:pt x="1315" y="503"/>
                    </a:lnTo>
                    <a:lnTo>
                      <a:pt x="1315" y="505"/>
                    </a:lnTo>
                    <a:lnTo>
                      <a:pt x="1314" y="505"/>
                    </a:lnTo>
                    <a:lnTo>
                      <a:pt x="1314" y="507"/>
                    </a:lnTo>
                    <a:lnTo>
                      <a:pt x="1314" y="508"/>
                    </a:lnTo>
                    <a:lnTo>
                      <a:pt x="1314" y="510"/>
                    </a:lnTo>
                    <a:lnTo>
                      <a:pt x="1314" y="512"/>
                    </a:lnTo>
                    <a:lnTo>
                      <a:pt x="1312" y="514"/>
                    </a:lnTo>
                    <a:lnTo>
                      <a:pt x="1314" y="514"/>
                    </a:lnTo>
                    <a:lnTo>
                      <a:pt x="1314" y="515"/>
                    </a:lnTo>
                    <a:lnTo>
                      <a:pt x="1314" y="517"/>
                    </a:lnTo>
                    <a:lnTo>
                      <a:pt x="1312" y="517"/>
                    </a:lnTo>
                    <a:lnTo>
                      <a:pt x="1312" y="519"/>
                    </a:lnTo>
                    <a:lnTo>
                      <a:pt x="1312" y="520"/>
                    </a:lnTo>
                    <a:lnTo>
                      <a:pt x="1312" y="522"/>
                    </a:lnTo>
                    <a:lnTo>
                      <a:pt x="1312" y="524"/>
                    </a:lnTo>
                    <a:lnTo>
                      <a:pt x="1312" y="525"/>
                    </a:lnTo>
                    <a:lnTo>
                      <a:pt x="1314" y="525"/>
                    </a:lnTo>
                    <a:lnTo>
                      <a:pt x="1314" y="527"/>
                    </a:lnTo>
                    <a:lnTo>
                      <a:pt x="1315" y="527"/>
                    </a:lnTo>
                    <a:lnTo>
                      <a:pt x="1315" y="529"/>
                    </a:lnTo>
                    <a:lnTo>
                      <a:pt x="1315" y="531"/>
                    </a:lnTo>
                    <a:lnTo>
                      <a:pt x="1315" y="532"/>
                    </a:lnTo>
                    <a:lnTo>
                      <a:pt x="1315" y="534"/>
                    </a:lnTo>
                    <a:lnTo>
                      <a:pt x="1317" y="536"/>
                    </a:lnTo>
                    <a:lnTo>
                      <a:pt x="1319" y="536"/>
                    </a:lnTo>
                    <a:lnTo>
                      <a:pt x="1321" y="536"/>
                    </a:lnTo>
                    <a:lnTo>
                      <a:pt x="1322" y="536"/>
                    </a:lnTo>
                    <a:lnTo>
                      <a:pt x="1322" y="537"/>
                    </a:lnTo>
                    <a:lnTo>
                      <a:pt x="1324" y="537"/>
                    </a:lnTo>
                    <a:lnTo>
                      <a:pt x="1324" y="539"/>
                    </a:lnTo>
                    <a:lnTo>
                      <a:pt x="1322" y="541"/>
                    </a:lnTo>
                    <a:lnTo>
                      <a:pt x="1322" y="542"/>
                    </a:lnTo>
                    <a:lnTo>
                      <a:pt x="1321" y="542"/>
                    </a:lnTo>
                    <a:lnTo>
                      <a:pt x="1319" y="541"/>
                    </a:lnTo>
                    <a:lnTo>
                      <a:pt x="1319" y="542"/>
                    </a:lnTo>
                    <a:lnTo>
                      <a:pt x="1321" y="544"/>
                    </a:lnTo>
                    <a:lnTo>
                      <a:pt x="1319" y="544"/>
                    </a:lnTo>
                    <a:lnTo>
                      <a:pt x="1321" y="544"/>
                    </a:lnTo>
                    <a:lnTo>
                      <a:pt x="1321" y="546"/>
                    </a:lnTo>
                    <a:lnTo>
                      <a:pt x="1321" y="548"/>
                    </a:lnTo>
                    <a:lnTo>
                      <a:pt x="1321" y="549"/>
                    </a:lnTo>
                    <a:lnTo>
                      <a:pt x="1321" y="551"/>
                    </a:lnTo>
                    <a:lnTo>
                      <a:pt x="1322" y="553"/>
                    </a:lnTo>
                    <a:lnTo>
                      <a:pt x="1324" y="553"/>
                    </a:lnTo>
                    <a:lnTo>
                      <a:pt x="1324" y="554"/>
                    </a:lnTo>
                    <a:lnTo>
                      <a:pt x="1324" y="556"/>
                    </a:lnTo>
                    <a:lnTo>
                      <a:pt x="1324" y="558"/>
                    </a:lnTo>
                    <a:lnTo>
                      <a:pt x="1326" y="559"/>
                    </a:lnTo>
                    <a:lnTo>
                      <a:pt x="1327" y="559"/>
                    </a:lnTo>
                    <a:lnTo>
                      <a:pt x="1326" y="561"/>
                    </a:lnTo>
                    <a:lnTo>
                      <a:pt x="1327" y="561"/>
                    </a:lnTo>
                    <a:lnTo>
                      <a:pt x="1327" y="563"/>
                    </a:lnTo>
                    <a:lnTo>
                      <a:pt x="1326" y="565"/>
                    </a:lnTo>
                    <a:lnTo>
                      <a:pt x="1326" y="566"/>
                    </a:lnTo>
                    <a:lnTo>
                      <a:pt x="1326" y="568"/>
                    </a:lnTo>
                    <a:lnTo>
                      <a:pt x="1326" y="570"/>
                    </a:lnTo>
                    <a:lnTo>
                      <a:pt x="1327" y="570"/>
                    </a:lnTo>
                    <a:lnTo>
                      <a:pt x="1327" y="571"/>
                    </a:lnTo>
                    <a:lnTo>
                      <a:pt x="1327" y="573"/>
                    </a:lnTo>
                    <a:lnTo>
                      <a:pt x="1329" y="573"/>
                    </a:lnTo>
                    <a:lnTo>
                      <a:pt x="1329" y="575"/>
                    </a:lnTo>
                    <a:lnTo>
                      <a:pt x="1331" y="576"/>
                    </a:lnTo>
                    <a:lnTo>
                      <a:pt x="1331" y="578"/>
                    </a:lnTo>
                    <a:lnTo>
                      <a:pt x="1331" y="580"/>
                    </a:lnTo>
                    <a:lnTo>
                      <a:pt x="1332" y="580"/>
                    </a:lnTo>
                    <a:lnTo>
                      <a:pt x="1331" y="580"/>
                    </a:lnTo>
                    <a:lnTo>
                      <a:pt x="1331" y="582"/>
                    </a:lnTo>
                    <a:lnTo>
                      <a:pt x="1329" y="582"/>
                    </a:lnTo>
                    <a:lnTo>
                      <a:pt x="1327" y="583"/>
                    </a:lnTo>
                    <a:lnTo>
                      <a:pt x="1329" y="583"/>
                    </a:lnTo>
                    <a:lnTo>
                      <a:pt x="1329" y="585"/>
                    </a:lnTo>
                    <a:lnTo>
                      <a:pt x="1329" y="587"/>
                    </a:lnTo>
                    <a:lnTo>
                      <a:pt x="1329" y="588"/>
                    </a:lnTo>
                    <a:lnTo>
                      <a:pt x="1329" y="590"/>
                    </a:lnTo>
                    <a:lnTo>
                      <a:pt x="1331" y="590"/>
                    </a:lnTo>
                    <a:lnTo>
                      <a:pt x="1331" y="592"/>
                    </a:lnTo>
                    <a:lnTo>
                      <a:pt x="1331" y="593"/>
                    </a:lnTo>
                    <a:lnTo>
                      <a:pt x="1332" y="593"/>
                    </a:lnTo>
                    <a:lnTo>
                      <a:pt x="1332" y="592"/>
                    </a:lnTo>
                    <a:lnTo>
                      <a:pt x="1334" y="592"/>
                    </a:lnTo>
                    <a:lnTo>
                      <a:pt x="1334" y="590"/>
                    </a:lnTo>
                    <a:lnTo>
                      <a:pt x="1334" y="592"/>
                    </a:lnTo>
                    <a:lnTo>
                      <a:pt x="1336" y="592"/>
                    </a:lnTo>
                    <a:lnTo>
                      <a:pt x="1338" y="592"/>
                    </a:lnTo>
                    <a:lnTo>
                      <a:pt x="1338" y="593"/>
                    </a:lnTo>
                    <a:lnTo>
                      <a:pt x="1339" y="593"/>
                    </a:lnTo>
                    <a:lnTo>
                      <a:pt x="1339" y="595"/>
                    </a:lnTo>
                    <a:lnTo>
                      <a:pt x="1339" y="597"/>
                    </a:lnTo>
                    <a:lnTo>
                      <a:pt x="1338" y="597"/>
                    </a:lnTo>
                    <a:lnTo>
                      <a:pt x="1338" y="599"/>
                    </a:lnTo>
                    <a:lnTo>
                      <a:pt x="1338" y="600"/>
                    </a:lnTo>
                    <a:lnTo>
                      <a:pt x="1338" y="602"/>
                    </a:lnTo>
                    <a:lnTo>
                      <a:pt x="1336" y="602"/>
                    </a:lnTo>
                    <a:lnTo>
                      <a:pt x="1336" y="604"/>
                    </a:lnTo>
                    <a:lnTo>
                      <a:pt x="1336" y="605"/>
                    </a:lnTo>
                    <a:lnTo>
                      <a:pt x="1336" y="607"/>
                    </a:lnTo>
                    <a:lnTo>
                      <a:pt x="1336" y="609"/>
                    </a:lnTo>
                    <a:lnTo>
                      <a:pt x="1336" y="610"/>
                    </a:lnTo>
                    <a:lnTo>
                      <a:pt x="1334" y="610"/>
                    </a:lnTo>
                    <a:lnTo>
                      <a:pt x="1334" y="612"/>
                    </a:lnTo>
                    <a:lnTo>
                      <a:pt x="1334" y="614"/>
                    </a:lnTo>
                    <a:lnTo>
                      <a:pt x="1334" y="616"/>
                    </a:lnTo>
                    <a:lnTo>
                      <a:pt x="1336" y="616"/>
                    </a:lnTo>
                    <a:lnTo>
                      <a:pt x="1336" y="617"/>
                    </a:lnTo>
                    <a:lnTo>
                      <a:pt x="1334" y="617"/>
                    </a:lnTo>
                    <a:lnTo>
                      <a:pt x="1334" y="619"/>
                    </a:lnTo>
                    <a:lnTo>
                      <a:pt x="1336" y="621"/>
                    </a:lnTo>
                    <a:lnTo>
                      <a:pt x="1336" y="619"/>
                    </a:lnTo>
                    <a:lnTo>
                      <a:pt x="1336" y="621"/>
                    </a:lnTo>
                    <a:lnTo>
                      <a:pt x="1338" y="622"/>
                    </a:lnTo>
                    <a:lnTo>
                      <a:pt x="1336" y="622"/>
                    </a:lnTo>
                    <a:lnTo>
                      <a:pt x="1336" y="624"/>
                    </a:lnTo>
                    <a:lnTo>
                      <a:pt x="1338" y="624"/>
                    </a:lnTo>
                    <a:lnTo>
                      <a:pt x="1336" y="626"/>
                    </a:lnTo>
                    <a:lnTo>
                      <a:pt x="1336" y="627"/>
                    </a:lnTo>
                    <a:lnTo>
                      <a:pt x="1338" y="627"/>
                    </a:lnTo>
                    <a:lnTo>
                      <a:pt x="1338" y="629"/>
                    </a:lnTo>
                    <a:lnTo>
                      <a:pt x="1338" y="631"/>
                    </a:lnTo>
                    <a:lnTo>
                      <a:pt x="1336" y="631"/>
                    </a:lnTo>
                    <a:lnTo>
                      <a:pt x="1336" y="633"/>
                    </a:lnTo>
                    <a:lnTo>
                      <a:pt x="1334" y="633"/>
                    </a:lnTo>
                    <a:lnTo>
                      <a:pt x="1332" y="633"/>
                    </a:lnTo>
                    <a:lnTo>
                      <a:pt x="1332" y="631"/>
                    </a:lnTo>
                    <a:lnTo>
                      <a:pt x="1332" y="633"/>
                    </a:lnTo>
                    <a:lnTo>
                      <a:pt x="1331" y="633"/>
                    </a:lnTo>
                    <a:lnTo>
                      <a:pt x="1331" y="634"/>
                    </a:lnTo>
                    <a:lnTo>
                      <a:pt x="1331" y="636"/>
                    </a:lnTo>
                    <a:lnTo>
                      <a:pt x="1331" y="638"/>
                    </a:lnTo>
                    <a:lnTo>
                      <a:pt x="1329" y="639"/>
                    </a:lnTo>
                    <a:lnTo>
                      <a:pt x="1329" y="641"/>
                    </a:lnTo>
                    <a:lnTo>
                      <a:pt x="1327" y="641"/>
                    </a:lnTo>
                    <a:lnTo>
                      <a:pt x="1326" y="643"/>
                    </a:lnTo>
                    <a:lnTo>
                      <a:pt x="1326" y="644"/>
                    </a:lnTo>
                    <a:lnTo>
                      <a:pt x="1324" y="646"/>
                    </a:lnTo>
                    <a:lnTo>
                      <a:pt x="1324" y="648"/>
                    </a:lnTo>
                    <a:lnTo>
                      <a:pt x="1324" y="650"/>
                    </a:lnTo>
                    <a:lnTo>
                      <a:pt x="1322" y="650"/>
                    </a:lnTo>
                    <a:lnTo>
                      <a:pt x="1322" y="651"/>
                    </a:lnTo>
                    <a:lnTo>
                      <a:pt x="1321" y="651"/>
                    </a:lnTo>
                    <a:lnTo>
                      <a:pt x="1321" y="653"/>
                    </a:lnTo>
                    <a:lnTo>
                      <a:pt x="1322" y="653"/>
                    </a:lnTo>
                    <a:lnTo>
                      <a:pt x="1322" y="655"/>
                    </a:lnTo>
                    <a:lnTo>
                      <a:pt x="1322" y="656"/>
                    </a:lnTo>
                    <a:lnTo>
                      <a:pt x="1321" y="658"/>
                    </a:lnTo>
                    <a:lnTo>
                      <a:pt x="1321" y="660"/>
                    </a:lnTo>
                    <a:lnTo>
                      <a:pt x="1321" y="662"/>
                    </a:lnTo>
                    <a:lnTo>
                      <a:pt x="1319" y="662"/>
                    </a:lnTo>
                    <a:lnTo>
                      <a:pt x="1319" y="663"/>
                    </a:lnTo>
                    <a:lnTo>
                      <a:pt x="1319" y="665"/>
                    </a:lnTo>
                    <a:lnTo>
                      <a:pt x="1319" y="667"/>
                    </a:lnTo>
                    <a:lnTo>
                      <a:pt x="1319" y="668"/>
                    </a:lnTo>
                    <a:lnTo>
                      <a:pt x="1319" y="670"/>
                    </a:lnTo>
                    <a:lnTo>
                      <a:pt x="1317" y="670"/>
                    </a:lnTo>
                    <a:lnTo>
                      <a:pt x="1315" y="670"/>
                    </a:lnTo>
                    <a:lnTo>
                      <a:pt x="1314" y="670"/>
                    </a:lnTo>
                    <a:lnTo>
                      <a:pt x="1312" y="670"/>
                    </a:lnTo>
                    <a:lnTo>
                      <a:pt x="1312" y="672"/>
                    </a:lnTo>
                    <a:lnTo>
                      <a:pt x="1312" y="673"/>
                    </a:lnTo>
                    <a:lnTo>
                      <a:pt x="1312" y="675"/>
                    </a:lnTo>
                    <a:lnTo>
                      <a:pt x="1314" y="675"/>
                    </a:lnTo>
                    <a:lnTo>
                      <a:pt x="1315" y="675"/>
                    </a:lnTo>
                    <a:lnTo>
                      <a:pt x="1317" y="675"/>
                    </a:lnTo>
                    <a:lnTo>
                      <a:pt x="1317" y="677"/>
                    </a:lnTo>
                    <a:lnTo>
                      <a:pt x="1315" y="679"/>
                    </a:lnTo>
                    <a:lnTo>
                      <a:pt x="1317" y="679"/>
                    </a:lnTo>
                    <a:lnTo>
                      <a:pt x="1315" y="680"/>
                    </a:lnTo>
                    <a:lnTo>
                      <a:pt x="1317" y="680"/>
                    </a:lnTo>
                    <a:lnTo>
                      <a:pt x="1315" y="682"/>
                    </a:lnTo>
                    <a:lnTo>
                      <a:pt x="1317" y="682"/>
                    </a:lnTo>
                    <a:lnTo>
                      <a:pt x="1319" y="684"/>
                    </a:lnTo>
                    <a:lnTo>
                      <a:pt x="1317" y="684"/>
                    </a:lnTo>
                    <a:lnTo>
                      <a:pt x="1317" y="685"/>
                    </a:lnTo>
                    <a:lnTo>
                      <a:pt x="1319" y="687"/>
                    </a:lnTo>
                    <a:lnTo>
                      <a:pt x="1317" y="689"/>
                    </a:lnTo>
                    <a:lnTo>
                      <a:pt x="1317" y="690"/>
                    </a:lnTo>
                    <a:lnTo>
                      <a:pt x="1319" y="690"/>
                    </a:lnTo>
                    <a:lnTo>
                      <a:pt x="1319" y="692"/>
                    </a:lnTo>
                    <a:lnTo>
                      <a:pt x="1319" y="694"/>
                    </a:lnTo>
                    <a:lnTo>
                      <a:pt x="1319" y="696"/>
                    </a:lnTo>
                    <a:lnTo>
                      <a:pt x="1321" y="696"/>
                    </a:lnTo>
                    <a:lnTo>
                      <a:pt x="1321" y="697"/>
                    </a:lnTo>
                    <a:lnTo>
                      <a:pt x="1319" y="697"/>
                    </a:lnTo>
                    <a:lnTo>
                      <a:pt x="1317" y="697"/>
                    </a:lnTo>
                    <a:lnTo>
                      <a:pt x="1317" y="699"/>
                    </a:lnTo>
                    <a:lnTo>
                      <a:pt x="1317" y="701"/>
                    </a:lnTo>
                    <a:lnTo>
                      <a:pt x="1319" y="701"/>
                    </a:lnTo>
                    <a:lnTo>
                      <a:pt x="1317" y="702"/>
                    </a:lnTo>
                    <a:lnTo>
                      <a:pt x="1319" y="702"/>
                    </a:lnTo>
                    <a:lnTo>
                      <a:pt x="1319" y="704"/>
                    </a:lnTo>
                    <a:lnTo>
                      <a:pt x="1319" y="706"/>
                    </a:lnTo>
                    <a:lnTo>
                      <a:pt x="1317" y="706"/>
                    </a:lnTo>
                    <a:lnTo>
                      <a:pt x="1317" y="707"/>
                    </a:lnTo>
                    <a:lnTo>
                      <a:pt x="1317" y="709"/>
                    </a:lnTo>
                    <a:lnTo>
                      <a:pt x="1317" y="711"/>
                    </a:lnTo>
                    <a:lnTo>
                      <a:pt x="1315" y="711"/>
                    </a:lnTo>
                    <a:lnTo>
                      <a:pt x="1314" y="711"/>
                    </a:lnTo>
                    <a:lnTo>
                      <a:pt x="1314" y="709"/>
                    </a:lnTo>
                    <a:lnTo>
                      <a:pt x="1312" y="709"/>
                    </a:lnTo>
                    <a:lnTo>
                      <a:pt x="1312" y="711"/>
                    </a:lnTo>
                    <a:lnTo>
                      <a:pt x="1310" y="711"/>
                    </a:lnTo>
                    <a:lnTo>
                      <a:pt x="1310" y="713"/>
                    </a:lnTo>
                    <a:lnTo>
                      <a:pt x="1310" y="714"/>
                    </a:lnTo>
                    <a:lnTo>
                      <a:pt x="1309" y="714"/>
                    </a:lnTo>
                    <a:lnTo>
                      <a:pt x="1307" y="714"/>
                    </a:lnTo>
                    <a:lnTo>
                      <a:pt x="1309" y="716"/>
                    </a:lnTo>
                    <a:lnTo>
                      <a:pt x="1307" y="718"/>
                    </a:lnTo>
                    <a:lnTo>
                      <a:pt x="1307" y="719"/>
                    </a:lnTo>
                    <a:lnTo>
                      <a:pt x="1309" y="719"/>
                    </a:lnTo>
                    <a:lnTo>
                      <a:pt x="1309" y="721"/>
                    </a:lnTo>
                    <a:lnTo>
                      <a:pt x="1307" y="721"/>
                    </a:lnTo>
                    <a:lnTo>
                      <a:pt x="1305" y="721"/>
                    </a:lnTo>
                    <a:lnTo>
                      <a:pt x="1304" y="721"/>
                    </a:lnTo>
                    <a:lnTo>
                      <a:pt x="1304" y="719"/>
                    </a:lnTo>
                    <a:lnTo>
                      <a:pt x="1304" y="721"/>
                    </a:lnTo>
                    <a:lnTo>
                      <a:pt x="1302" y="721"/>
                    </a:lnTo>
                    <a:lnTo>
                      <a:pt x="1302" y="719"/>
                    </a:lnTo>
                    <a:lnTo>
                      <a:pt x="1302" y="721"/>
                    </a:lnTo>
                    <a:lnTo>
                      <a:pt x="1302" y="723"/>
                    </a:lnTo>
                    <a:lnTo>
                      <a:pt x="1300" y="723"/>
                    </a:lnTo>
                    <a:lnTo>
                      <a:pt x="1300" y="724"/>
                    </a:lnTo>
                    <a:lnTo>
                      <a:pt x="1298" y="724"/>
                    </a:lnTo>
                    <a:lnTo>
                      <a:pt x="1297" y="724"/>
                    </a:lnTo>
                    <a:lnTo>
                      <a:pt x="1297" y="723"/>
                    </a:lnTo>
                    <a:lnTo>
                      <a:pt x="1297" y="724"/>
                    </a:lnTo>
                    <a:lnTo>
                      <a:pt x="1295" y="726"/>
                    </a:lnTo>
                    <a:lnTo>
                      <a:pt x="1297" y="726"/>
                    </a:lnTo>
                    <a:lnTo>
                      <a:pt x="1295" y="728"/>
                    </a:lnTo>
                    <a:lnTo>
                      <a:pt x="1297" y="728"/>
                    </a:lnTo>
                    <a:lnTo>
                      <a:pt x="1295" y="730"/>
                    </a:lnTo>
                    <a:lnTo>
                      <a:pt x="1297" y="730"/>
                    </a:lnTo>
                    <a:lnTo>
                      <a:pt x="1297" y="731"/>
                    </a:lnTo>
                    <a:lnTo>
                      <a:pt x="1297" y="733"/>
                    </a:lnTo>
                    <a:lnTo>
                      <a:pt x="1295" y="733"/>
                    </a:lnTo>
                    <a:lnTo>
                      <a:pt x="1295" y="731"/>
                    </a:lnTo>
                    <a:lnTo>
                      <a:pt x="1293" y="731"/>
                    </a:lnTo>
                    <a:lnTo>
                      <a:pt x="1293" y="733"/>
                    </a:lnTo>
                    <a:lnTo>
                      <a:pt x="1293" y="735"/>
                    </a:lnTo>
                    <a:lnTo>
                      <a:pt x="1293" y="736"/>
                    </a:lnTo>
                    <a:lnTo>
                      <a:pt x="1293" y="738"/>
                    </a:lnTo>
                    <a:lnTo>
                      <a:pt x="1292" y="738"/>
                    </a:lnTo>
                    <a:lnTo>
                      <a:pt x="1292" y="740"/>
                    </a:lnTo>
                    <a:lnTo>
                      <a:pt x="1293" y="740"/>
                    </a:lnTo>
                    <a:lnTo>
                      <a:pt x="1293" y="741"/>
                    </a:lnTo>
                    <a:lnTo>
                      <a:pt x="1292" y="741"/>
                    </a:lnTo>
                    <a:lnTo>
                      <a:pt x="1293" y="743"/>
                    </a:lnTo>
                    <a:lnTo>
                      <a:pt x="1295" y="743"/>
                    </a:lnTo>
                    <a:lnTo>
                      <a:pt x="1293" y="743"/>
                    </a:lnTo>
                    <a:lnTo>
                      <a:pt x="1293" y="745"/>
                    </a:lnTo>
                    <a:lnTo>
                      <a:pt x="1292" y="745"/>
                    </a:lnTo>
                    <a:lnTo>
                      <a:pt x="1290" y="745"/>
                    </a:lnTo>
                    <a:lnTo>
                      <a:pt x="1292" y="745"/>
                    </a:lnTo>
                    <a:lnTo>
                      <a:pt x="1292" y="747"/>
                    </a:lnTo>
                    <a:lnTo>
                      <a:pt x="1293" y="747"/>
                    </a:lnTo>
                    <a:lnTo>
                      <a:pt x="1293" y="748"/>
                    </a:lnTo>
                    <a:lnTo>
                      <a:pt x="1293" y="750"/>
                    </a:lnTo>
                    <a:lnTo>
                      <a:pt x="1295" y="750"/>
                    </a:lnTo>
                    <a:lnTo>
                      <a:pt x="1295" y="752"/>
                    </a:lnTo>
                    <a:lnTo>
                      <a:pt x="1293" y="752"/>
                    </a:lnTo>
                    <a:lnTo>
                      <a:pt x="1293" y="753"/>
                    </a:lnTo>
                    <a:lnTo>
                      <a:pt x="1293" y="755"/>
                    </a:lnTo>
                    <a:lnTo>
                      <a:pt x="1292" y="755"/>
                    </a:lnTo>
                    <a:lnTo>
                      <a:pt x="1292" y="757"/>
                    </a:lnTo>
                    <a:lnTo>
                      <a:pt x="1290" y="757"/>
                    </a:lnTo>
                    <a:lnTo>
                      <a:pt x="1290" y="758"/>
                    </a:lnTo>
                    <a:lnTo>
                      <a:pt x="1290" y="760"/>
                    </a:lnTo>
                    <a:lnTo>
                      <a:pt x="1292" y="760"/>
                    </a:lnTo>
                    <a:lnTo>
                      <a:pt x="1290" y="762"/>
                    </a:lnTo>
                    <a:lnTo>
                      <a:pt x="1292" y="762"/>
                    </a:lnTo>
                    <a:lnTo>
                      <a:pt x="1293" y="764"/>
                    </a:lnTo>
                    <a:lnTo>
                      <a:pt x="1293" y="765"/>
                    </a:lnTo>
                    <a:lnTo>
                      <a:pt x="1293" y="767"/>
                    </a:lnTo>
                    <a:lnTo>
                      <a:pt x="1293" y="769"/>
                    </a:lnTo>
                    <a:lnTo>
                      <a:pt x="1292" y="769"/>
                    </a:lnTo>
                    <a:lnTo>
                      <a:pt x="1293" y="769"/>
                    </a:lnTo>
                    <a:lnTo>
                      <a:pt x="1293" y="770"/>
                    </a:lnTo>
                    <a:lnTo>
                      <a:pt x="1292" y="772"/>
                    </a:lnTo>
                    <a:lnTo>
                      <a:pt x="1290" y="774"/>
                    </a:lnTo>
                    <a:lnTo>
                      <a:pt x="1290" y="775"/>
                    </a:lnTo>
                    <a:lnTo>
                      <a:pt x="1292" y="775"/>
                    </a:lnTo>
                    <a:lnTo>
                      <a:pt x="1292" y="777"/>
                    </a:lnTo>
                    <a:lnTo>
                      <a:pt x="1292" y="779"/>
                    </a:lnTo>
                    <a:lnTo>
                      <a:pt x="1292" y="781"/>
                    </a:lnTo>
                    <a:lnTo>
                      <a:pt x="1293" y="781"/>
                    </a:lnTo>
                    <a:lnTo>
                      <a:pt x="1292" y="781"/>
                    </a:lnTo>
                    <a:lnTo>
                      <a:pt x="1292" y="782"/>
                    </a:lnTo>
                    <a:lnTo>
                      <a:pt x="1293" y="782"/>
                    </a:lnTo>
                    <a:lnTo>
                      <a:pt x="1293" y="784"/>
                    </a:lnTo>
                    <a:lnTo>
                      <a:pt x="1293" y="786"/>
                    </a:lnTo>
                    <a:lnTo>
                      <a:pt x="1295" y="787"/>
                    </a:lnTo>
                    <a:lnTo>
                      <a:pt x="1295" y="789"/>
                    </a:lnTo>
                    <a:lnTo>
                      <a:pt x="1295" y="791"/>
                    </a:lnTo>
                    <a:lnTo>
                      <a:pt x="1297" y="791"/>
                    </a:lnTo>
                    <a:lnTo>
                      <a:pt x="1297" y="792"/>
                    </a:lnTo>
                    <a:lnTo>
                      <a:pt x="1298" y="792"/>
                    </a:lnTo>
                    <a:lnTo>
                      <a:pt x="1297" y="792"/>
                    </a:lnTo>
                    <a:lnTo>
                      <a:pt x="1295" y="792"/>
                    </a:lnTo>
                    <a:lnTo>
                      <a:pt x="1297" y="794"/>
                    </a:lnTo>
                    <a:lnTo>
                      <a:pt x="1298" y="796"/>
                    </a:lnTo>
                    <a:lnTo>
                      <a:pt x="1298" y="798"/>
                    </a:lnTo>
                    <a:lnTo>
                      <a:pt x="1297" y="798"/>
                    </a:lnTo>
                    <a:lnTo>
                      <a:pt x="1297" y="799"/>
                    </a:lnTo>
                    <a:lnTo>
                      <a:pt x="1297" y="801"/>
                    </a:lnTo>
                    <a:lnTo>
                      <a:pt x="1297" y="803"/>
                    </a:lnTo>
                    <a:lnTo>
                      <a:pt x="1298" y="803"/>
                    </a:lnTo>
                    <a:lnTo>
                      <a:pt x="1297" y="803"/>
                    </a:lnTo>
                    <a:lnTo>
                      <a:pt x="1298" y="804"/>
                    </a:lnTo>
                    <a:lnTo>
                      <a:pt x="1298" y="806"/>
                    </a:lnTo>
                    <a:lnTo>
                      <a:pt x="1298" y="808"/>
                    </a:lnTo>
                    <a:lnTo>
                      <a:pt x="1300" y="808"/>
                    </a:lnTo>
                    <a:lnTo>
                      <a:pt x="1300" y="809"/>
                    </a:lnTo>
                    <a:lnTo>
                      <a:pt x="1302" y="809"/>
                    </a:lnTo>
                    <a:lnTo>
                      <a:pt x="1302" y="811"/>
                    </a:lnTo>
                    <a:lnTo>
                      <a:pt x="1304" y="811"/>
                    </a:lnTo>
                    <a:lnTo>
                      <a:pt x="1304" y="813"/>
                    </a:lnTo>
                    <a:lnTo>
                      <a:pt x="1304" y="815"/>
                    </a:lnTo>
                    <a:lnTo>
                      <a:pt x="1302" y="815"/>
                    </a:lnTo>
                    <a:lnTo>
                      <a:pt x="1302" y="816"/>
                    </a:lnTo>
                    <a:lnTo>
                      <a:pt x="1300" y="816"/>
                    </a:lnTo>
                    <a:lnTo>
                      <a:pt x="1300" y="818"/>
                    </a:lnTo>
                    <a:lnTo>
                      <a:pt x="1302" y="818"/>
                    </a:lnTo>
                    <a:lnTo>
                      <a:pt x="1302" y="820"/>
                    </a:lnTo>
                    <a:lnTo>
                      <a:pt x="1300" y="820"/>
                    </a:lnTo>
                    <a:lnTo>
                      <a:pt x="1300" y="821"/>
                    </a:lnTo>
                    <a:lnTo>
                      <a:pt x="1298" y="821"/>
                    </a:lnTo>
                    <a:lnTo>
                      <a:pt x="1297" y="821"/>
                    </a:lnTo>
                    <a:lnTo>
                      <a:pt x="1295" y="821"/>
                    </a:lnTo>
                    <a:lnTo>
                      <a:pt x="1293" y="821"/>
                    </a:lnTo>
                    <a:lnTo>
                      <a:pt x="1293" y="823"/>
                    </a:lnTo>
                    <a:lnTo>
                      <a:pt x="1292" y="823"/>
                    </a:lnTo>
                    <a:lnTo>
                      <a:pt x="1290" y="823"/>
                    </a:lnTo>
                    <a:lnTo>
                      <a:pt x="1288" y="823"/>
                    </a:lnTo>
                    <a:lnTo>
                      <a:pt x="1288" y="825"/>
                    </a:lnTo>
                    <a:lnTo>
                      <a:pt x="1287" y="827"/>
                    </a:lnTo>
                    <a:lnTo>
                      <a:pt x="1285" y="827"/>
                    </a:lnTo>
                    <a:lnTo>
                      <a:pt x="1285" y="828"/>
                    </a:lnTo>
                    <a:lnTo>
                      <a:pt x="1283" y="828"/>
                    </a:lnTo>
                    <a:lnTo>
                      <a:pt x="1283" y="830"/>
                    </a:lnTo>
                    <a:lnTo>
                      <a:pt x="1283" y="832"/>
                    </a:lnTo>
                    <a:lnTo>
                      <a:pt x="1283" y="833"/>
                    </a:lnTo>
                    <a:lnTo>
                      <a:pt x="1285" y="833"/>
                    </a:lnTo>
                    <a:lnTo>
                      <a:pt x="1283" y="833"/>
                    </a:lnTo>
                    <a:lnTo>
                      <a:pt x="1283" y="835"/>
                    </a:lnTo>
                    <a:lnTo>
                      <a:pt x="1283" y="837"/>
                    </a:lnTo>
                    <a:lnTo>
                      <a:pt x="1283" y="838"/>
                    </a:lnTo>
                    <a:lnTo>
                      <a:pt x="1285" y="840"/>
                    </a:lnTo>
                    <a:lnTo>
                      <a:pt x="1285" y="842"/>
                    </a:lnTo>
                    <a:lnTo>
                      <a:pt x="1285" y="844"/>
                    </a:lnTo>
                    <a:lnTo>
                      <a:pt x="1285" y="845"/>
                    </a:lnTo>
                    <a:lnTo>
                      <a:pt x="1285" y="847"/>
                    </a:lnTo>
                    <a:lnTo>
                      <a:pt x="1283" y="847"/>
                    </a:lnTo>
                    <a:lnTo>
                      <a:pt x="1281" y="847"/>
                    </a:lnTo>
                    <a:lnTo>
                      <a:pt x="1281" y="849"/>
                    </a:lnTo>
                    <a:lnTo>
                      <a:pt x="1283" y="849"/>
                    </a:lnTo>
                    <a:lnTo>
                      <a:pt x="1281" y="850"/>
                    </a:lnTo>
                    <a:lnTo>
                      <a:pt x="1283" y="850"/>
                    </a:lnTo>
                    <a:lnTo>
                      <a:pt x="1281" y="850"/>
                    </a:lnTo>
                    <a:lnTo>
                      <a:pt x="1281" y="852"/>
                    </a:lnTo>
                    <a:lnTo>
                      <a:pt x="1280" y="854"/>
                    </a:lnTo>
                    <a:lnTo>
                      <a:pt x="1280" y="855"/>
                    </a:lnTo>
                    <a:lnTo>
                      <a:pt x="1281" y="855"/>
                    </a:lnTo>
                    <a:lnTo>
                      <a:pt x="1281" y="857"/>
                    </a:lnTo>
                    <a:lnTo>
                      <a:pt x="1281" y="859"/>
                    </a:lnTo>
                    <a:lnTo>
                      <a:pt x="1280" y="859"/>
                    </a:lnTo>
                    <a:lnTo>
                      <a:pt x="1278" y="859"/>
                    </a:lnTo>
                    <a:lnTo>
                      <a:pt x="1276" y="859"/>
                    </a:lnTo>
                    <a:lnTo>
                      <a:pt x="1276" y="857"/>
                    </a:lnTo>
                    <a:lnTo>
                      <a:pt x="1275" y="857"/>
                    </a:lnTo>
                    <a:lnTo>
                      <a:pt x="1275" y="855"/>
                    </a:lnTo>
                    <a:lnTo>
                      <a:pt x="1275" y="857"/>
                    </a:lnTo>
                    <a:lnTo>
                      <a:pt x="1275" y="859"/>
                    </a:lnTo>
                    <a:lnTo>
                      <a:pt x="1273" y="859"/>
                    </a:lnTo>
                    <a:lnTo>
                      <a:pt x="1275" y="861"/>
                    </a:lnTo>
                    <a:lnTo>
                      <a:pt x="1275" y="862"/>
                    </a:lnTo>
                    <a:lnTo>
                      <a:pt x="1273" y="862"/>
                    </a:lnTo>
                    <a:lnTo>
                      <a:pt x="1275" y="862"/>
                    </a:lnTo>
                    <a:lnTo>
                      <a:pt x="1273" y="862"/>
                    </a:lnTo>
                    <a:lnTo>
                      <a:pt x="1273" y="864"/>
                    </a:lnTo>
                    <a:lnTo>
                      <a:pt x="1275" y="864"/>
                    </a:lnTo>
                    <a:lnTo>
                      <a:pt x="1275" y="866"/>
                    </a:lnTo>
                    <a:lnTo>
                      <a:pt x="1275" y="867"/>
                    </a:lnTo>
                    <a:lnTo>
                      <a:pt x="1275" y="869"/>
                    </a:lnTo>
                    <a:lnTo>
                      <a:pt x="1276" y="869"/>
                    </a:lnTo>
                    <a:lnTo>
                      <a:pt x="1278" y="871"/>
                    </a:lnTo>
                    <a:lnTo>
                      <a:pt x="1278" y="872"/>
                    </a:lnTo>
                    <a:lnTo>
                      <a:pt x="1276" y="872"/>
                    </a:lnTo>
                    <a:lnTo>
                      <a:pt x="1276" y="874"/>
                    </a:lnTo>
                    <a:lnTo>
                      <a:pt x="1275" y="874"/>
                    </a:lnTo>
                    <a:lnTo>
                      <a:pt x="1275" y="876"/>
                    </a:lnTo>
                    <a:lnTo>
                      <a:pt x="1275" y="878"/>
                    </a:lnTo>
                    <a:lnTo>
                      <a:pt x="1275" y="879"/>
                    </a:lnTo>
                    <a:lnTo>
                      <a:pt x="1275" y="881"/>
                    </a:lnTo>
                    <a:lnTo>
                      <a:pt x="1273" y="879"/>
                    </a:lnTo>
                    <a:lnTo>
                      <a:pt x="1271" y="879"/>
                    </a:lnTo>
                    <a:lnTo>
                      <a:pt x="1270" y="879"/>
                    </a:lnTo>
                    <a:lnTo>
                      <a:pt x="1271" y="881"/>
                    </a:lnTo>
                    <a:lnTo>
                      <a:pt x="1270" y="881"/>
                    </a:lnTo>
                    <a:lnTo>
                      <a:pt x="1270" y="883"/>
                    </a:lnTo>
                    <a:lnTo>
                      <a:pt x="1271" y="883"/>
                    </a:lnTo>
                    <a:lnTo>
                      <a:pt x="1270" y="884"/>
                    </a:lnTo>
                    <a:lnTo>
                      <a:pt x="1270" y="886"/>
                    </a:lnTo>
                    <a:lnTo>
                      <a:pt x="1271" y="886"/>
                    </a:lnTo>
                    <a:lnTo>
                      <a:pt x="1270" y="886"/>
                    </a:lnTo>
                    <a:lnTo>
                      <a:pt x="1271" y="888"/>
                    </a:lnTo>
                    <a:lnTo>
                      <a:pt x="1273" y="888"/>
                    </a:lnTo>
                    <a:lnTo>
                      <a:pt x="1275" y="888"/>
                    </a:lnTo>
                    <a:lnTo>
                      <a:pt x="1275" y="889"/>
                    </a:lnTo>
                    <a:lnTo>
                      <a:pt x="1275" y="891"/>
                    </a:lnTo>
                    <a:lnTo>
                      <a:pt x="1275" y="893"/>
                    </a:lnTo>
                    <a:lnTo>
                      <a:pt x="1273" y="895"/>
                    </a:lnTo>
                    <a:lnTo>
                      <a:pt x="1271" y="893"/>
                    </a:lnTo>
                    <a:lnTo>
                      <a:pt x="1271" y="895"/>
                    </a:lnTo>
                    <a:lnTo>
                      <a:pt x="1271" y="893"/>
                    </a:lnTo>
                    <a:lnTo>
                      <a:pt x="1270" y="895"/>
                    </a:lnTo>
                    <a:lnTo>
                      <a:pt x="1270" y="896"/>
                    </a:lnTo>
                    <a:lnTo>
                      <a:pt x="1268" y="898"/>
                    </a:lnTo>
                    <a:lnTo>
                      <a:pt x="1270" y="898"/>
                    </a:lnTo>
                    <a:lnTo>
                      <a:pt x="1268" y="900"/>
                    </a:lnTo>
                    <a:lnTo>
                      <a:pt x="1268" y="901"/>
                    </a:lnTo>
                    <a:lnTo>
                      <a:pt x="1270" y="901"/>
                    </a:lnTo>
                    <a:lnTo>
                      <a:pt x="1270" y="903"/>
                    </a:lnTo>
                    <a:lnTo>
                      <a:pt x="1268" y="903"/>
                    </a:lnTo>
                    <a:lnTo>
                      <a:pt x="1268" y="905"/>
                    </a:lnTo>
                    <a:lnTo>
                      <a:pt x="1266" y="906"/>
                    </a:lnTo>
                    <a:lnTo>
                      <a:pt x="1264" y="906"/>
                    </a:lnTo>
                    <a:lnTo>
                      <a:pt x="1264" y="908"/>
                    </a:lnTo>
                    <a:lnTo>
                      <a:pt x="1266" y="908"/>
                    </a:lnTo>
                    <a:lnTo>
                      <a:pt x="1266" y="910"/>
                    </a:lnTo>
                    <a:lnTo>
                      <a:pt x="1266" y="912"/>
                    </a:lnTo>
                    <a:lnTo>
                      <a:pt x="1266" y="913"/>
                    </a:lnTo>
                    <a:lnTo>
                      <a:pt x="1268" y="913"/>
                    </a:lnTo>
                    <a:lnTo>
                      <a:pt x="1268" y="915"/>
                    </a:lnTo>
                    <a:lnTo>
                      <a:pt x="1268" y="913"/>
                    </a:lnTo>
                    <a:lnTo>
                      <a:pt x="1268" y="915"/>
                    </a:lnTo>
                    <a:lnTo>
                      <a:pt x="1268" y="917"/>
                    </a:lnTo>
                    <a:lnTo>
                      <a:pt x="1268" y="918"/>
                    </a:lnTo>
                    <a:lnTo>
                      <a:pt x="1266" y="918"/>
                    </a:lnTo>
                    <a:lnTo>
                      <a:pt x="1268" y="918"/>
                    </a:lnTo>
                    <a:lnTo>
                      <a:pt x="1268" y="920"/>
                    </a:lnTo>
                    <a:lnTo>
                      <a:pt x="1268" y="922"/>
                    </a:lnTo>
                    <a:lnTo>
                      <a:pt x="1270" y="922"/>
                    </a:lnTo>
                    <a:lnTo>
                      <a:pt x="1270" y="923"/>
                    </a:lnTo>
                    <a:lnTo>
                      <a:pt x="1270" y="925"/>
                    </a:lnTo>
                    <a:lnTo>
                      <a:pt x="1270" y="927"/>
                    </a:lnTo>
                    <a:lnTo>
                      <a:pt x="1268" y="927"/>
                    </a:lnTo>
                    <a:lnTo>
                      <a:pt x="1268" y="929"/>
                    </a:lnTo>
                    <a:lnTo>
                      <a:pt x="1268" y="930"/>
                    </a:lnTo>
                    <a:lnTo>
                      <a:pt x="1270" y="930"/>
                    </a:lnTo>
                    <a:lnTo>
                      <a:pt x="1268" y="930"/>
                    </a:lnTo>
                    <a:lnTo>
                      <a:pt x="1270" y="932"/>
                    </a:lnTo>
                    <a:lnTo>
                      <a:pt x="1268" y="930"/>
                    </a:lnTo>
                    <a:lnTo>
                      <a:pt x="1268" y="932"/>
                    </a:lnTo>
                    <a:lnTo>
                      <a:pt x="1268" y="934"/>
                    </a:lnTo>
                    <a:lnTo>
                      <a:pt x="1268" y="935"/>
                    </a:lnTo>
                    <a:lnTo>
                      <a:pt x="1266" y="935"/>
                    </a:lnTo>
                    <a:lnTo>
                      <a:pt x="1268" y="935"/>
                    </a:lnTo>
                    <a:lnTo>
                      <a:pt x="1268" y="937"/>
                    </a:lnTo>
                    <a:lnTo>
                      <a:pt x="1268" y="939"/>
                    </a:lnTo>
                    <a:lnTo>
                      <a:pt x="1270" y="939"/>
                    </a:lnTo>
                    <a:lnTo>
                      <a:pt x="1270" y="940"/>
                    </a:lnTo>
                    <a:lnTo>
                      <a:pt x="1270" y="942"/>
                    </a:lnTo>
                    <a:lnTo>
                      <a:pt x="1270" y="944"/>
                    </a:lnTo>
                    <a:lnTo>
                      <a:pt x="1270" y="946"/>
                    </a:lnTo>
                    <a:lnTo>
                      <a:pt x="1268" y="946"/>
                    </a:lnTo>
                    <a:lnTo>
                      <a:pt x="1268" y="947"/>
                    </a:lnTo>
                    <a:lnTo>
                      <a:pt x="1268" y="949"/>
                    </a:lnTo>
                    <a:lnTo>
                      <a:pt x="1270" y="949"/>
                    </a:lnTo>
                    <a:lnTo>
                      <a:pt x="1270" y="951"/>
                    </a:lnTo>
                    <a:lnTo>
                      <a:pt x="1271" y="951"/>
                    </a:lnTo>
                    <a:lnTo>
                      <a:pt x="1270" y="952"/>
                    </a:lnTo>
                    <a:lnTo>
                      <a:pt x="1271" y="952"/>
                    </a:lnTo>
                    <a:lnTo>
                      <a:pt x="1271" y="954"/>
                    </a:lnTo>
                    <a:lnTo>
                      <a:pt x="1271" y="956"/>
                    </a:lnTo>
                    <a:lnTo>
                      <a:pt x="1271" y="957"/>
                    </a:lnTo>
                    <a:lnTo>
                      <a:pt x="1271" y="959"/>
                    </a:lnTo>
                    <a:lnTo>
                      <a:pt x="1271" y="961"/>
                    </a:lnTo>
                    <a:lnTo>
                      <a:pt x="1271" y="963"/>
                    </a:lnTo>
                    <a:lnTo>
                      <a:pt x="1271" y="964"/>
                    </a:lnTo>
                    <a:lnTo>
                      <a:pt x="1271" y="966"/>
                    </a:lnTo>
                    <a:lnTo>
                      <a:pt x="1273" y="966"/>
                    </a:lnTo>
                    <a:lnTo>
                      <a:pt x="1273" y="968"/>
                    </a:lnTo>
                    <a:lnTo>
                      <a:pt x="1273" y="969"/>
                    </a:lnTo>
                    <a:lnTo>
                      <a:pt x="1273" y="971"/>
                    </a:lnTo>
                    <a:lnTo>
                      <a:pt x="1271" y="971"/>
                    </a:lnTo>
                    <a:lnTo>
                      <a:pt x="1270" y="971"/>
                    </a:lnTo>
                    <a:lnTo>
                      <a:pt x="1270" y="973"/>
                    </a:lnTo>
                    <a:lnTo>
                      <a:pt x="1270" y="971"/>
                    </a:lnTo>
                    <a:lnTo>
                      <a:pt x="1268" y="971"/>
                    </a:lnTo>
                    <a:lnTo>
                      <a:pt x="1268" y="973"/>
                    </a:lnTo>
                    <a:lnTo>
                      <a:pt x="1266" y="973"/>
                    </a:lnTo>
                    <a:lnTo>
                      <a:pt x="1264" y="971"/>
                    </a:lnTo>
                    <a:lnTo>
                      <a:pt x="1263" y="971"/>
                    </a:lnTo>
                    <a:lnTo>
                      <a:pt x="1263" y="969"/>
                    </a:lnTo>
                    <a:lnTo>
                      <a:pt x="1261" y="969"/>
                    </a:lnTo>
                    <a:lnTo>
                      <a:pt x="1261" y="971"/>
                    </a:lnTo>
                    <a:lnTo>
                      <a:pt x="1259" y="971"/>
                    </a:lnTo>
                    <a:lnTo>
                      <a:pt x="1258" y="971"/>
                    </a:lnTo>
                    <a:lnTo>
                      <a:pt x="1258" y="973"/>
                    </a:lnTo>
                    <a:lnTo>
                      <a:pt x="1258" y="975"/>
                    </a:lnTo>
                    <a:lnTo>
                      <a:pt x="1259" y="976"/>
                    </a:lnTo>
                    <a:lnTo>
                      <a:pt x="1258" y="976"/>
                    </a:lnTo>
                    <a:lnTo>
                      <a:pt x="1259" y="978"/>
                    </a:lnTo>
                    <a:lnTo>
                      <a:pt x="1259" y="980"/>
                    </a:lnTo>
                    <a:lnTo>
                      <a:pt x="1259" y="981"/>
                    </a:lnTo>
                    <a:lnTo>
                      <a:pt x="1259" y="983"/>
                    </a:lnTo>
                    <a:lnTo>
                      <a:pt x="1261" y="981"/>
                    </a:lnTo>
                    <a:lnTo>
                      <a:pt x="1261" y="983"/>
                    </a:lnTo>
                    <a:lnTo>
                      <a:pt x="1263" y="983"/>
                    </a:lnTo>
                    <a:lnTo>
                      <a:pt x="1263" y="985"/>
                    </a:lnTo>
                    <a:lnTo>
                      <a:pt x="1263" y="986"/>
                    </a:lnTo>
                    <a:lnTo>
                      <a:pt x="1263" y="988"/>
                    </a:lnTo>
                    <a:lnTo>
                      <a:pt x="1263" y="990"/>
                    </a:lnTo>
                    <a:lnTo>
                      <a:pt x="1261" y="990"/>
                    </a:lnTo>
                    <a:lnTo>
                      <a:pt x="1261" y="992"/>
                    </a:lnTo>
                    <a:lnTo>
                      <a:pt x="1259" y="992"/>
                    </a:lnTo>
                    <a:lnTo>
                      <a:pt x="1259" y="993"/>
                    </a:lnTo>
                    <a:lnTo>
                      <a:pt x="1259" y="995"/>
                    </a:lnTo>
                    <a:lnTo>
                      <a:pt x="1258" y="995"/>
                    </a:lnTo>
                    <a:lnTo>
                      <a:pt x="1258" y="997"/>
                    </a:lnTo>
                    <a:lnTo>
                      <a:pt x="1259" y="997"/>
                    </a:lnTo>
                    <a:lnTo>
                      <a:pt x="1259" y="998"/>
                    </a:lnTo>
                    <a:lnTo>
                      <a:pt x="1259" y="1000"/>
                    </a:lnTo>
                    <a:lnTo>
                      <a:pt x="1259" y="1002"/>
                    </a:lnTo>
                    <a:lnTo>
                      <a:pt x="1258" y="1002"/>
                    </a:lnTo>
                    <a:lnTo>
                      <a:pt x="1259" y="1002"/>
                    </a:lnTo>
                    <a:lnTo>
                      <a:pt x="1259" y="1003"/>
                    </a:lnTo>
                    <a:lnTo>
                      <a:pt x="1259" y="1005"/>
                    </a:lnTo>
                    <a:lnTo>
                      <a:pt x="1259" y="1007"/>
                    </a:lnTo>
                    <a:lnTo>
                      <a:pt x="1261" y="1009"/>
                    </a:lnTo>
                    <a:lnTo>
                      <a:pt x="1261" y="1010"/>
                    </a:lnTo>
                    <a:lnTo>
                      <a:pt x="1263" y="1010"/>
                    </a:lnTo>
                    <a:lnTo>
                      <a:pt x="1263" y="1012"/>
                    </a:lnTo>
                    <a:lnTo>
                      <a:pt x="1264" y="1012"/>
                    </a:lnTo>
                    <a:lnTo>
                      <a:pt x="1266" y="1014"/>
                    </a:lnTo>
                    <a:lnTo>
                      <a:pt x="1266" y="1015"/>
                    </a:lnTo>
                    <a:lnTo>
                      <a:pt x="1268" y="1015"/>
                    </a:lnTo>
                    <a:lnTo>
                      <a:pt x="1268" y="1017"/>
                    </a:lnTo>
                    <a:lnTo>
                      <a:pt x="1270" y="1017"/>
                    </a:lnTo>
                    <a:lnTo>
                      <a:pt x="1271" y="1017"/>
                    </a:lnTo>
                    <a:lnTo>
                      <a:pt x="1271" y="1019"/>
                    </a:lnTo>
                    <a:lnTo>
                      <a:pt x="1273" y="1019"/>
                    </a:lnTo>
                    <a:lnTo>
                      <a:pt x="1273" y="1020"/>
                    </a:lnTo>
                    <a:lnTo>
                      <a:pt x="1271" y="1020"/>
                    </a:lnTo>
                    <a:lnTo>
                      <a:pt x="1273" y="1022"/>
                    </a:lnTo>
                    <a:lnTo>
                      <a:pt x="1273" y="1024"/>
                    </a:lnTo>
                    <a:lnTo>
                      <a:pt x="1273" y="1026"/>
                    </a:lnTo>
                    <a:lnTo>
                      <a:pt x="1271" y="1026"/>
                    </a:lnTo>
                    <a:lnTo>
                      <a:pt x="1271" y="1024"/>
                    </a:lnTo>
                    <a:lnTo>
                      <a:pt x="1271" y="1026"/>
                    </a:lnTo>
                    <a:lnTo>
                      <a:pt x="1270" y="1026"/>
                    </a:lnTo>
                    <a:lnTo>
                      <a:pt x="1268" y="1026"/>
                    </a:lnTo>
                    <a:lnTo>
                      <a:pt x="1266" y="1026"/>
                    </a:lnTo>
                    <a:lnTo>
                      <a:pt x="1268" y="1026"/>
                    </a:lnTo>
                    <a:lnTo>
                      <a:pt x="1268" y="1027"/>
                    </a:lnTo>
                    <a:lnTo>
                      <a:pt x="1266" y="1029"/>
                    </a:lnTo>
                    <a:lnTo>
                      <a:pt x="1266" y="1031"/>
                    </a:lnTo>
                    <a:lnTo>
                      <a:pt x="1266" y="1032"/>
                    </a:lnTo>
                    <a:lnTo>
                      <a:pt x="1268" y="1032"/>
                    </a:lnTo>
                    <a:lnTo>
                      <a:pt x="1268" y="1031"/>
                    </a:lnTo>
                    <a:lnTo>
                      <a:pt x="1268" y="1032"/>
                    </a:lnTo>
                    <a:lnTo>
                      <a:pt x="1270" y="1032"/>
                    </a:lnTo>
                    <a:lnTo>
                      <a:pt x="1268" y="1034"/>
                    </a:lnTo>
                    <a:lnTo>
                      <a:pt x="1268" y="1036"/>
                    </a:lnTo>
                    <a:lnTo>
                      <a:pt x="1270" y="1036"/>
                    </a:lnTo>
                    <a:lnTo>
                      <a:pt x="1271" y="1036"/>
                    </a:lnTo>
                    <a:lnTo>
                      <a:pt x="1271" y="1037"/>
                    </a:lnTo>
                    <a:lnTo>
                      <a:pt x="1273" y="1037"/>
                    </a:lnTo>
                    <a:lnTo>
                      <a:pt x="1273" y="1039"/>
                    </a:lnTo>
                    <a:lnTo>
                      <a:pt x="1275" y="1039"/>
                    </a:lnTo>
                    <a:lnTo>
                      <a:pt x="1276" y="1039"/>
                    </a:lnTo>
                    <a:lnTo>
                      <a:pt x="1278" y="1039"/>
                    </a:lnTo>
                    <a:lnTo>
                      <a:pt x="1278" y="1041"/>
                    </a:lnTo>
                    <a:lnTo>
                      <a:pt x="1278" y="1043"/>
                    </a:lnTo>
                    <a:lnTo>
                      <a:pt x="1276" y="1043"/>
                    </a:lnTo>
                    <a:lnTo>
                      <a:pt x="1278" y="1043"/>
                    </a:lnTo>
                    <a:lnTo>
                      <a:pt x="1276" y="1043"/>
                    </a:lnTo>
                    <a:lnTo>
                      <a:pt x="1275" y="1043"/>
                    </a:lnTo>
                    <a:lnTo>
                      <a:pt x="1275" y="1044"/>
                    </a:lnTo>
                    <a:lnTo>
                      <a:pt x="1273" y="1046"/>
                    </a:lnTo>
                    <a:lnTo>
                      <a:pt x="1271" y="1048"/>
                    </a:lnTo>
                    <a:lnTo>
                      <a:pt x="1273" y="1048"/>
                    </a:lnTo>
                    <a:lnTo>
                      <a:pt x="1271" y="1049"/>
                    </a:lnTo>
                    <a:lnTo>
                      <a:pt x="1273" y="1049"/>
                    </a:lnTo>
                    <a:lnTo>
                      <a:pt x="1271" y="1049"/>
                    </a:lnTo>
                    <a:lnTo>
                      <a:pt x="1273" y="1049"/>
                    </a:lnTo>
                    <a:lnTo>
                      <a:pt x="1273" y="1051"/>
                    </a:lnTo>
                    <a:lnTo>
                      <a:pt x="1273" y="1053"/>
                    </a:lnTo>
                    <a:lnTo>
                      <a:pt x="1275" y="1053"/>
                    </a:lnTo>
                    <a:lnTo>
                      <a:pt x="1276" y="1054"/>
                    </a:lnTo>
                    <a:lnTo>
                      <a:pt x="1275" y="1054"/>
                    </a:lnTo>
                    <a:lnTo>
                      <a:pt x="1275" y="1056"/>
                    </a:lnTo>
                    <a:lnTo>
                      <a:pt x="1275" y="1058"/>
                    </a:lnTo>
                    <a:lnTo>
                      <a:pt x="1273" y="1058"/>
                    </a:lnTo>
                    <a:lnTo>
                      <a:pt x="1273" y="1060"/>
                    </a:lnTo>
                    <a:lnTo>
                      <a:pt x="1273" y="1061"/>
                    </a:lnTo>
                    <a:lnTo>
                      <a:pt x="1271" y="1063"/>
                    </a:lnTo>
                    <a:lnTo>
                      <a:pt x="1270" y="1063"/>
                    </a:lnTo>
                    <a:lnTo>
                      <a:pt x="1268" y="1063"/>
                    </a:lnTo>
                    <a:lnTo>
                      <a:pt x="1270" y="1065"/>
                    </a:lnTo>
                    <a:lnTo>
                      <a:pt x="1270" y="1066"/>
                    </a:lnTo>
                    <a:lnTo>
                      <a:pt x="1271" y="1066"/>
                    </a:lnTo>
                    <a:lnTo>
                      <a:pt x="1270" y="1068"/>
                    </a:lnTo>
                    <a:lnTo>
                      <a:pt x="1270" y="1070"/>
                    </a:lnTo>
                    <a:lnTo>
                      <a:pt x="1271" y="1071"/>
                    </a:lnTo>
                    <a:lnTo>
                      <a:pt x="1271" y="1073"/>
                    </a:lnTo>
                    <a:lnTo>
                      <a:pt x="1270" y="1073"/>
                    </a:lnTo>
                    <a:lnTo>
                      <a:pt x="1270" y="1075"/>
                    </a:lnTo>
                    <a:lnTo>
                      <a:pt x="1270" y="1077"/>
                    </a:lnTo>
                    <a:lnTo>
                      <a:pt x="1271" y="1077"/>
                    </a:lnTo>
                    <a:lnTo>
                      <a:pt x="1273" y="1077"/>
                    </a:lnTo>
                    <a:lnTo>
                      <a:pt x="1273" y="1075"/>
                    </a:lnTo>
                    <a:lnTo>
                      <a:pt x="1275" y="1075"/>
                    </a:lnTo>
                    <a:lnTo>
                      <a:pt x="1275" y="1077"/>
                    </a:lnTo>
                    <a:lnTo>
                      <a:pt x="1276" y="1077"/>
                    </a:lnTo>
                    <a:lnTo>
                      <a:pt x="1276" y="1075"/>
                    </a:lnTo>
                    <a:lnTo>
                      <a:pt x="1278" y="1077"/>
                    </a:lnTo>
                    <a:lnTo>
                      <a:pt x="1280" y="1077"/>
                    </a:lnTo>
                    <a:lnTo>
                      <a:pt x="1280" y="1075"/>
                    </a:lnTo>
                    <a:lnTo>
                      <a:pt x="1281" y="1077"/>
                    </a:lnTo>
                    <a:lnTo>
                      <a:pt x="1281" y="1075"/>
                    </a:lnTo>
                    <a:lnTo>
                      <a:pt x="1283" y="1075"/>
                    </a:lnTo>
                    <a:lnTo>
                      <a:pt x="1285" y="1075"/>
                    </a:lnTo>
                    <a:lnTo>
                      <a:pt x="1285" y="1077"/>
                    </a:lnTo>
                    <a:lnTo>
                      <a:pt x="1287" y="1077"/>
                    </a:lnTo>
                    <a:lnTo>
                      <a:pt x="1288" y="1077"/>
                    </a:lnTo>
                    <a:lnTo>
                      <a:pt x="1290" y="1077"/>
                    </a:lnTo>
                    <a:lnTo>
                      <a:pt x="1290" y="1078"/>
                    </a:lnTo>
                    <a:lnTo>
                      <a:pt x="1290" y="1077"/>
                    </a:lnTo>
                    <a:lnTo>
                      <a:pt x="1292" y="1078"/>
                    </a:lnTo>
                    <a:lnTo>
                      <a:pt x="1293" y="1078"/>
                    </a:lnTo>
                    <a:lnTo>
                      <a:pt x="1293" y="1080"/>
                    </a:lnTo>
                    <a:lnTo>
                      <a:pt x="1292" y="1080"/>
                    </a:lnTo>
                    <a:lnTo>
                      <a:pt x="1293" y="1082"/>
                    </a:lnTo>
                    <a:lnTo>
                      <a:pt x="1295" y="1082"/>
                    </a:lnTo>
                    <a:lnTo>
                      <a:pt x="1293" y="1083"/>
                    </a:lnTo>
                    <a:lnTo>
                      <a:pt x="1295" y="1085"/>
                    </a:lnTo>
                    <a:lnTo>
                      <a:pt x="1293" y="1085"/>
                    </a:lnTo>
                    <a:lnTo>
                      <a:pt x="1292" y="1085"/>
                    </a:lnTo>
                    <a:lnTo>
                      <a:pt x="1290" y="1085"/>
                    </a:lnTo>
                    <a:lnTo>
                      <a:pt x="1292" y="1085"/>
                    </a:lnTo>
                    <a:lnTo>
                      <a:pt x="1290" y="1087"/>
                    </a:lnTo>
                    <a:lnTo>
                      <a:pt x="1290" y="1088"/>
                    </a:lnTo>
                    <a:lnTo>
                      <a:pt x="1292" y="1088"/>
                    </a:lnTo>
                    <a:lnTo>
                      <a:pt x="1290" y="1090"/>
                    </a:lnTo>
                    <a:lnTo>
                      <a:pt x="1290" y="1092"/>
                    </a:lnTo>
                    <a:lnTo>
                      <a:pt x="1290" y="1094"/>
                    </a:lnTo>
                    <a:lnTo>
                      <a:pt x="1288" y="1094"/>
                    </a:lnTo>
                    <a:lnTo>
                      <a:pt x="1288" y="1095"/>
                    </a:lnTo>
                    <a:lnTo>
                      <a:pt x="1287" y="1095"/>
                    </a:lnTo>
                    <a:lnTo>
                      <a:pt x="1285" y="1095"/>
                    </a:lnTo>
                    <a:lnTo>
                      <a:pt x="1285" y="1094"/>
                    </a:lnTo>
                    <a:lnTo>
                      <a:pt x="1283" y="1094"/>
                    </a:lnTo>
                    <a:lnTo>
                      <a:pt x="1283" y="1092"/>
                    </a:lnTo>
                    <a:lnTo>
                      <a:pt x="1281" y="1092"/>
                    </a:lnTo>
                    <a:lnTo>
                      <a:pt x="1280" y="1092"/>
                    </a:lnTo>
                    <a:lnTo>
                      <a:pt x="1278" y="1094"/>
                    </a:lnTo>
                    <a:lnTo>
                      <a:pt x="1278" y="1092"/>
                    </a:lnTo>
                    <a:lnTo>
                      <a:pt x="1278" y="1094"/>
                    </a:lnTo>
                    <a:lnTo>
                      <a:pt x="1276" y="1094"/>
                    </a:lnTo>
                    <a:lnTo>
                      <a:pt x="1275" y="1094"/>
                    </a:lnTo>
                    <a:lnTo>
                      <a:pt x="1273" y="1094"/>
                    </a:lnTo>
                    <a:lnTo>
                      <a:pt x="1271" y="1094"/>
                    </a:lnTo>
                    <a:lnTo>
                      <a:pt x="1271" y="1092"/>
                    </a:lnTo>
                    <a:lnTo>
                      <a:pt x="1270" y="1094"/>
                    </a:lnTo>
                    <a:lnTo>
                      <a:pt x="1270" y="1095"/>
                    </a:lnTo>
                    <a:lnTo>
                      <a:pt x="1270" y="1094"/>
                    </a:lnTo>
                    <a:lnTo>
                      <a:pt x="1268" y="1095"/>
                    </a:lnTo>
                    <a:lnTo>
                      <a:pt x="1268" y="1094"/>
                    </a:lnTo>
                    <a:lnTo>
                      <a:pt x="1266" y="1094"/>
                    </a:lnTo>
                    <a:lnTo>
                      <a:pt x="1266" y="1095"/>
                    </a:lnTo>
                    <a:lnTo>
                      <a:pt x="1266" y="1094"/>
                    </a:lnTo>
                    <a:lnTo>
                      <a:pt x="1264" y="1094"/>
                    </a:lnTo>
                    <a:lnTo>
                      <a:pt x="1263" y="1094"/>
                    </a:lnTo>
                    <a:lnTo>
                      <a:pt x="1261" y="1092"/>
                    </a:lnTo>
                    <a:lnTo>
                      <a:pt x="1261" y="1094"/>
                    </a:lnTo>
                    <a:lnTo>
                      <a:pt x="1261" y="1095"/>
                    </a:lnTo>
                    <a:lnTo>
                      <a:pt x="1263" y="1095"/>
                    </a:lnTo>
                    <a:lnTo>
                      <a:pt x="1263" y="1097"/>
                    </a:lnTo>
                    <a:lnTo>
                      <a:pt x="1261" y="1097"/>
                    </a:lnTo>
                    <a:lnTo>
                      <a:pt x="1263" y="1097"/>
                    </a:lnTo>
                    <a:lnTo>
                      <a:pt x="1261" y="1099"/>
                    </a:lnTo>
                    <a:lnTo>
                      <a:pt x="1263" y="1099"/>
                    </a:lnTo>
                    <a:lnTo>
                      <a:pt x="1263" y="1100"/>
                    </a:lnTo>
                    <a:lnTo>
                      <a:pt x="1263" y="1099"/>
                    </a:lnTo>
                    <a:lnTo>
                      <a:pt x="1264" y="1100"/>
                    </a:lnTo>
                    <a:lnTo>
                      <a:pt x="1266" y="1100"/>
                    </a:lnTo>
                    <a:lnTo>
                      <a:pt x="1266" y="1102"/>
                    </a:lnTo>
                    <a:lnTo>
                      <a:pt x="1268" y="1102"/>
                    </a:lnTo>
                    <a:lnTo>
                      <a:pt x="1268" y="1100"/>
                    </a:lnTo>
                    <a:lnTo>
                      <a:pt x="1270" y="1100"/>
                    </a:lnTo>
                    <a:lnTo>
                      <a:pt x="1271" y="1102"/>
                    </a:lnTo>
                    <a:lnTo>
                      <a:pt x="1271" y="1100"/>
                    </a:lnTo>
                    <a:lnTo>
                      <a:pt x="1273" y="1102"/>
                    </a:lnTo>
                    <a:lnTo>
                      <a:pt x="1275" y="1102"/>
                    </a:lnTo>
                    <a:lnTo>
                      <a:pt x="1275" y="1104"/>
                    </a:lnTo>
                    <a:lnTo>
                      <a:pt x="1276" y="1102"/>
                    </a:lnTo>
                    <a:lnTo>
                      <a:pt x="1276" y="1104"/>
                    </a:lnTo>
                    <a:lnTo>
                      <a:pt x="1278" y="1104"/>
                    </a:lnTo>
                    <a:lnTo>
                      <a:pt x="1280" y="1104"/>
                    </a:lnTo>
                    <a:lnTo>
                      <a:pt x="1278" y="1104"/>
                    </a:lnTo>
                    <a:lnTo>
                      <a:pt x="1278" y="1105"/>
                    </a:lnTo>
                    <a:lnTo>
                      <a:pt x="1280" y="1107"/>
                    </a:lnTo>
                    <a:lnTo>
                      <a:pt x="1280" y="1109"/>
                    </a:lnTo>
                    <a:lnTo>
                      <a:pt x="1281" y="1109"/>
                    </a:lnTo>
                    <a:lnTo>
                      <a:pt x="1281" y="1111"/>
                    </a:lnTo>
                    <a:lnTo>
                      <a:pt x="1283" y="1112"/>
                    </a:lnTo>
                    <a:lnTo>
                      <a:pt x="1283" y="1114"/>
                    </a:lnTo>
                    <a:lnTo>
                      <a:pt x="1285" y="1114"/>
                    </a:lnTo>
                    <a:lnTo>
                      <a:pt x="1285" y="1116"/>
                    </a:lnTo>
                    <a:lnTo>
                      <a:pt x="1287" y="1116"/>
                    </a:lnTo>
                    <a:lnTo>
                      <a:pt x="1285" y="1117"/>
                    </a:lnTo>
                    <a:lnTo>
                      <a:pt x="1287" y="1117"/>
                    </a:lnTo>
                    <a:lnTo>
                      <a:pt x="1287" y="1119"/>
                    </a:lnTo>
                    <a:lnTo>
                      <a:pt x="1287" y="1121"/>
                    </a:lnTo>
                    <a:lnTo>
                      <a:pt x="1285" y="1121"/>
                    </a:lnTo>
                    <a:lnTo>
                      <a:pt x="1283" y="1121"/>
                    </a:lnTo>
                    <a:lnTo>
                      <a:pt x="1283" y="1122"/>
                    </a:lnTo>
                    <a:lnTo>
                      <a:pt x="1281" y="1122"/>
                    </a:lnTo>
                    <a:lnTo>
                      <a:pt x="1280" y="1122"/>
                    </a:lnTo>
                    <a:lnTo>
                      <a:pt x="1280" y="1124"/>
                    </a:lnTo>
                    <a:lnTo>
                      <a:pt x="1280" y="1126"/>
                    </a:lnTo>
                    <a:lnTo>
                      <a:pt x="1281" y="1128"/>
                    </a:lnTo>
                    <a:lnTo>
                      <a:pt x="1280" y="1128"/>
                    </a:lnTo>
                    <a:lnTo>
                      <a:pt x="1280" y="1129"/>
                    </a:lnTo>
                    <a:lnTo>
                      <a:pt x="1278" y="1129"/>
                    </a:lnTo>
                    <a:lnTo>
                      <a:pt x="1276" y="1129"/>
                    </a:lnTo>
                    <a:lnTo>
                      <a:pt x="1275" y="1129"/>
                    </a:lnTo>
                    <a:lnTo>
                      <a:pt x="1273" y="1129"/>
                    </a:lnTo>
                    <a:lnTo>
                      <a:pt x="1273" y="1131"/>
                    </a:lnTo>
                    <a:lnTo>
                      <a:pt x="1271" y="1131"/>
                    </a:lnTo>
                    <a:lnTo>
                      <a:pt x="1271" y="1133"/>
                    </a:lnTo>
                    <a:lnTo>
                      <a:pt x="1273" y="1133"/>
                    </a:lnTo>
                    <a:lnTo>
                      <a:pt x="1271" y="1134"/>
                    </a:lnTo>
                    <a:lnTo>
                      <a:pt x="1271" y="1136"/>
                    </a:lnTo>
                    <a:lnTo>
                      <a:pt x="1271" y="1138"/>
                    </a:lnTo>
                    <a:lnTo>
                      <a:pt x="1271" y="1140"/>
                    </a:lnTo>
                    <a:lnTo>
                      <a:pt x="1271" y="1141"/>
                    </a:lnTo>
                    <a:lnTo>
                      <a:pt x="1271" y="1143"/>
                    </a:lnTo>
                    <a:lnTo>
                      <a:pt x="1273" y="1143"/>
                    </a:lnTo>
                    <a:lnTo>
                      <a:pt x="1271" y="1145"/>
                    </a:lnTo>
                    <a:lnTo>
                      <a:pt x="1273" y="1146"/>
                    </a:lnTo>
                    <a:lnTo>
                      <a:pt x="1273" y="1145"/>
                    </a:lnTo>
                    <a:lnTo>
                      <a:pt x="1273" y="1146"/>
                    </a:lnTo>
                    <a:lnTo>
                      <a:pt x="1275" y="1146"/>
                    </a:lnTo>
                    <a:lnTo>
                      <a:pt x="1276" y="1148"/>
                    </a:lnTo>
                    <a:lnTo>
                      <a:pt x="1276" y="1150"/>
                    </a:lnTo>
                    <a:lnTo>
                      <a:pt x="1276" y="1151"/>
                    </a:lnTo>
                    <a:lnTo>
                      <a:pt x="1276" y="1153"/>
                    </a:lnTo>
                    <a:lnTo>
                      <a:pt x="1275" y="1153"/>
                    </a:lnTo>
                    <a:lnTo>
                      <a:pt x="1275" y="1155"/>
                    </a:lnTo>
                    <a:lnTo>
                      <a:pt x="1275" y="1157"/>
                    </a:lnTo>
                    <a:lnTo>
                      <a:pt x="1273" y="1157"/>
                    </a:lnTo>
                    <a:lnTo>
                      <a:pt x="1271" y="1157"/>
                    </a:lnTo>
                    <a:lnTo>
                      <a:pt x="1271" y="1158"/>
                    </a:lnTo>
                    <a:lnTo>
                      <a:pt x="1270" y="1158"/>
                    </a:lnTo>
                    <a:lnTo>
                      <a:pt x="1268" y="1158"/>
                    </a:lnTo>
                    <a:lnTo>
                      <a:pt x="1266" y="1160"/>
                    </a:lnTo>
                    <a:lnTo>
                      <a:pt x="1268" y="1160"/>
                    </a:lnTo>
                    <a:lnTo>
                      <a:pt x="1268" y="1162"/>
                    </a:lnTo>
                    <a:lnTo>
                      <a:pt x="1270" y="1162"/>
                    </a:lnTo>
                    <a:lnTo>
                      <a:pt x="1271" y="1162"/>
                    </a:lnTo>
                    <a:lnTo>
                      <a:pt x="1271" y="1163"/>
                    </a:lnTo>
                    <a:lnTo>
                      <a:pt x="1273" y="1165"/>
                    </a:lnTo>
                    <a:lnTo>
                      <a:pt x="1273" y="1167"/>
                    </a:lnTo>
                    <a:lnTo>
                      <a:pt x="1273" y="1168"/>
                    </a:lnTo>
                    <a:lnTo>
                      <a:pt x="1273" y="1170"/>
                    </a:lnTo>
                    <a:lnTo>
                      <a:pt x="1273" y="1174"/>
                    </a:lnTo>
                    <a:lnTo>
                      <a:pt x="1275" y="1177"/>
                    </a:lnTo>
                    <a:lnTo>
                      <a:pt x="1275" y="1179"/>
                    </a:lnTo>
                    <a:lnTo>
                      <a:pt x="1275" y="1180"/>
                    </a:lnTo>
                    <a:lnTo>
                      <a:pt x="1275" y="1182"/>
                    </a:lnTo>
                    <a:lnTo>
                      <a:pt x="1276" y="1184"/>
                    </a:lnTo>
                    <a:lnTo>
                      <a:pt x="1275" y="1184"/>
                    </a:lnTo>
                    <a:lnTo>
                      <a:pt x="1276" y="1185"/>
                    </a:lnTo>
                    <a:lnTo>
                      <a:pt x="1275" y="1187"/>
                    </a:lnTo>
                    <a:lnTo>
                      <a:pt x="1273" y="1187"/>
                    </a:lnTo>
                    <a:lnTo>
                      <a:pt x="1273" y="1189"/>
                    </a:lnTo>
                    <a:lnTo>
                      <a:pt x="1271" y="1189"/>
                    </a:lnTo>
                    <a:lnTo>
                      <a:pt x="1271" y="1191"/>
                    </a:lnTo>
                    <a:lnTo>
                      <a:pt x="1270" y="1191"/>
                    </a:lnTo>
                    <a:lnTo>
                      <a:pt x="1270" y="1192"/>
                    </a:lnTo>
                    <a:lnTo>
                      <a:pt x="1268" y="1192"/>
                    </a:lnTo>
                    <a:lnTo>
                      <a:pt x="1266" y="1192"/>
                    </a:lnTo>
                    <a:lnTo>
                      <a:pt x="1264" y="1192"/>
                    </a:lnTo>
                    <a:lnTo>
                      <a:pt x="1266" y="1194"/>
                    </a:lnTo>
                    <a:lnTo>
                      <a:pt x="1266" y="1196"/>
                    </a:lnTo>
                    <a:lnTo>
                      <a:pt x="1264" y="1196"/>
                    </a:lnTo>
                    <a:lnTo>
                      <a:pt x="1264" y="1197"/>
                    </a:lnTo>
                    <a:lnTo>
                      <a:pt x="1264" y="1199"/>
                    </a:lnTo>
                    <a:lnTo>
                      <a:pt x="1266" y="1199"/>
                    </a:lnTo>
                    <a:lnTo>
                      <a:pt x="1264" y="1201"/>
                    </a:lnTo>
                    <a:lnTo>
                      <a:pt x="1266" y="1201"/>
                    </a:lnTo>
                    <a:lnTo>
                      <a:pt x="1268" y="1201"/>
                    </a:lnTo>
                    <a:lnTo>
                      <a:pt x="1268" y="1202"/>
                    </a:lnTo>
                    <a:lnTo>
                      <a:pt x="1266" y="1204"/>
                    </a:lnTo>
                    <a:lnTo>
                      <a:pt x="1264" y="1206"/>
                    </a:lnTo>
                    <a:lnTo>
                      <a:pt x="1266" y="1206"/>
                    </a:lnTo>
                    <a:lnTo>
                      <a:pt x="1268" y="1208"/>
                    </a:lnTo>
                    <a:lnTo>
                      <a:pt x="1268" y="1209"/>
                    </a:lnTo>
                    <a:lnTo>
                      <a:pt x="1270" y="1209"/>
                    </a:lnTo>
                    <a:lnTo>
                      <a:pt x="1268" y="1209"/>
                    </a:lnTo>
                    <a:lnTo>
                      <a:pt x="1268" y="1211"/>
                    </a:lnTo>
                    <a:lnTo>
                      <a:pt x="1268" y="1213"/>
                    </a:lnTo>
                    <a:lnTo>
                      <a:pt x="1266" y="1213"/>
                    </a:lnTo>
                    <a:lnTo>
                      <a:pt x="1264" y="1213"/>
                    </a:lnTo>
                    <a:lnTo>
                      <a:pt x="1263" y="1211"/>
                    </a:lnTo>
                    <a:lnTo>
                      <a:pt x="1264" y="1213"/>
                    </a:lnTo>
                    <a:lnTo>
                      <a:pt x="1263" y="1214"/>
                    </a:lnTo>
                    <a:lnTo>
                      <a:pt x="1264" y="1216"/>
                    </a:lnTo>
                    <a:lnTo>
                      <a:pt x="1263" y="1216"/>
                    </a:lnTo>
                    <a:lnTo>
                      <a:pt x="1263" y="1218"/>
                    </a:lnTo>
                    <a:lnTo>
                      <a:pt x="1261" y="1218"/>
                    </a:lnTo>
                    <a:lnTo>
                      <a:pt x="1259" y="1218"/>
                    </a:lnTo>
                    <a:lnTo>
                      <a:pt x="1259" y="1219"/>
                    </a:lnTo>
                    <a:lnTo>
                      <a:pt x="1258" y="1221"/>
                    </a:lnTo>
                    <a:lnTo>
                      <a:pt x="1258" y="1223"/>
                    </a:lnTo>
                    <a:lnTo>
                      <a:pt x="1256" y="1221"/>
                    </a:lnTo>
                    <a:lnTo>
                      <a:pt x="1256" y="1223"/>
                    </a:lnTo>
                    <a:lnTo>
                      <a:pt x="1254" y="1223"/>
                    </a:lnTo>
                    <a:lnTo>
                      <a:pt x="1254" y="1225"/>
                    </a:lnTo>
                    <a:lnTo>
                      <a:pt x="1253" y="1225"/>
                    </a:lnTo>
                    <a:lnTo>
                      <a:pt x="1253" y="1226"/>
                    </a:lnTo>
                    <a:lnTo>
                      <a:pt x="1253" y="1225"/>
                    </a:lnTo>
                    <a:lnTo>
                      <a:pt x="1253" y="1226"/>
                    </a:lnTo>
                    <a:lnTo>
                      <a:pt x="1254" y="1226"/>
                    </a:lnTo>
                    <a:lnTo>
                      <a:pt x="1254" y="1228"/>
                    </a:lnTo>
                    <a:lnTo>
                      <a:pt x="1253" y="1228"/>
                    </a:lnTo>
                    <a:lnTo>
                      <a:pt x="1253" y="1230"/>
                    </a:lnTo>
                    <a:lnTo>
                      <a:pt x="1253" y="1231"/>
                    </a:lnTo>
                    <a:lnTo>
                      <a:pt x="1253" y="1233"/>
                    </a:lnTo>
                    <a:lnTo>
                      <a:pt x="1251" y="1233"/>
                    </a:lnTo>
                    <a:lnTo>
                      <a:pt x="1251" y="1235"/>
                    </a:lnTo>
                    <a:lnTo>
                      <a:pt x="1249" y="1235"/>
                    </a:lnTo>
                    <a:lnTo>
                      <a:pt x="1249" y="1236"/>
                    </a:lnTo>
                    <a:lnTo>
                      <a:pt x="1249" y="1238"/>
                    </a:lnTo>
                    <a:lnTo>
                      <a:pt x="1251" y="1238"/>
                    </a:lnTo>
                    <a:lnTo>
                      <a:pt x="1251" y="1240"/>
                    </a:lnTo>
                    <a:lnTo>
                      <a:pt x="1249" y="1240"/>
                    </a:lnTo>
                    <a:lnTo>
                      <a:pt x="1247" y="1240"/>
                    </a:lnTo>
                    <a:lnTo>
                      <a:pt x="1246" y="1238"/>
                    </a:lnTo>
                    <a:lnTo>
                      <a:pt x="1246" y="1240"/>
                    </a:lnTo>
                    <a:lnTo>
                      <a:pt x="1247" y="1240"/>
                    </a:lnTo>
                    <a:lnTo>
                      <a:pt x="1247" y="1242"/>
                    </a:lnTo>
                    <a:lnTo>
                      <a:pt x="1247" y="1243"/>
                    </a:lnTo>
                    <a:lnTo>
                      <a:pt x="1247" y="1245"/>
                    </a:lnTo>
                    <a:lnTo>
                      <a:pt x="1247" y="1247"/>
                    </a:lnTo>
                    <a:lnTo>
                      <a:pt x="1246" y="1247"/>
                    </a:lnTo>
                    <a:lnTo>
                      <a:pt x="1246" y="1248"/>
                    </a:lnTo>
                    <a:lnTo>
                      <a:pt x="1247" y="1250"/>
                    </a:lnTo>
                    <a:lnTo>
                      <a:pt x="1249" y="1250"/>
                    </a:lnTo>
                    <a:lnTo>
                      <a:pt x="1249" y="1252"/>
                    </a:lnTo>
                    <a:lnTo>
                      <a:pt x="1249" y="1253"/>
                    </a:lnTo>
                    <a:lnTo>
                      <a:pt x="1249" y="1255"/>
                    </a:lnTo>
                    <a:lnTo>
                      <a:pt x="1251" y="1255"/>
                    </a:lnTo>
                    <a:lnTo>
                      <a:pt x="1251" y="1257"/>
                    </a:lnTo>
                    <a:lnTo>
                      <a:pt x="1253" y="1257"/>
                    </a:lnTo>
                    <a:lnTo>
                      <a:pt x="1253" y="1259"/>
                    </a:lnTo>
                    <a:lnTo>
                      <a:pt x="1254" y="1259"/>
                    </a:lnTo>
                    <a:lnTo>
                      <a:pt x="1253" y="1260"/>
                    </a:lnTo>
                    <a:lnTo>
                      <a:pt x="1254" y="1262"/>
                    </a:lnTo>
                    <a:lnTo>
                      <a:pt x="1253" y="1262"/>
                    </a:lnTo>
                    <a:lnTo>
                      <a:pt x="1253" y="1264"/>
                    </a:lnTo>
                    <a:lnTo>
                      <a:pt x="1254" y="1264"/>
                    </a:lnTo>
                    <a:lnTo>
                      <a:pt x="1254" y="1265"/>
                    </a:lnTo>
                    <a:lnTo>
                      <a:pt x="1256" y="1267"/>
                    </a:lnTo>
                    <a:lnTo>
                      <a:pt x="1256" y="1269"/>
                    </a:lnTo>
                    <a:lnTo>
                      <a:pt x="1254" y="1269"/>
                    </a:lnTo>
                    <a:lnTo>
                      <a:pt x="1254" y="1270"/>
                    </a:lnTo>
                    <a:lnTo>
                      <a:pt x="1253" y="1269"/>
                    </a:lnTo>
                    <a:lnTo>
                      <a:pt x="1253" y="1270"/>
                    </a:lnTo>
                    <a:lnTo>
                      <a:pt x="1253" y="1269"/>
                    </a:lnTo>
                    <a:lnTo>
                      <a:pt x="1251" y="1269"/>
                    </a:lnTo>
                    <a:lnTo>
                      <a:pt x="1251" y="1270"/>
                    </a:lnTo>
                    <a:lnTo>
                      <a:pt x="1253" y="1270"/>
                    </a:lnTo>
                    <a:lnTo>
                      <a:pt x="1251" y="1272"/>
                    </a:lnTo>
                    <a:lnTo>
                      <a:pt x="1249" y="1272"/>
                    </a:lnTo>
                    <a:lnTo>
                      <a:pt x="1249" y="1274"/>
                    </a:lnTo>
                    <a:lnTo>
                      <a:pt x="1251" y="1274"/>
                    </a:lnTo>
                    <a:lnTo>
                      <a:pt x="1251" y="1276"/>
                    </a:lnTo>
                    <a:lnTo>
                      <a:pt x="1249" y="1277"/>
                    </a:lnTo>
                    <a:lnTo>
                      <a:pt x="1247" y="1277"/>
                    </a:lnTo>
                    <a:lnTo>
                      <a:pt x="1246" y="1277"/>
                    </a:lnTo>
                    <a:lnTo>
                      <a:pt x="1246" y="1276"/>
                    </a:lnTo>
                    <a:lnTo>
                      <a:pt x="1244" y="1276"/>
                    </a:lnTo>
                    <a:lnTo>
                      <a:pt x="1244" y="1277"/>
                    </a:lnTo>
                    <a:lnTo>
                      <a:pt x="1246" y="1284"/>
                    </a:lnTo>
                    <a:lnTo>
                      <a:pt x="1246" y="1288"/>
                    </a:lnTo>
                    <a:lnTo>
                      <a:pt x="1246" y="1289"/>
                    </a:lnTo>
                    <a:lnTo>
                      <a:pt x="1246" y="1291"/>
                    </a:lnTo>
                    <a:lnTo>
                      <a:pt x="1246" y="1293"/>
                    </a:lnTo>
                    <a:lnTo>
                      <a:pt x="1244" y="1293"/>
                    </a:lnTo>
                    <a:lnTo>
                      <a:pt x="1242" y="1294"/>
                    </a:lnTo>
                    <a:lnTo>
                      <a:pt x="1241" y="1296"/>
                    </a:lnTo>
                    <a:lnTo>
                      <a:pt x="1241" y="1298"/>
                    </a:lnTo>
                    <a:lnTo>
                      <a:pt x="1239" y="1298"/>
                    </a:lnTo>
                    <a:lnTo>
                      <a:pt x="1237" y="1299"/>
                    </a:lnTo>
                    <a:lnTo>
                      <a:pt x="1237" y="1301"/>
                    </a:lnTo>
                    <a:lnTo>
                      <a:pt x="1236" y="1301"/>
                    </a:lnTo>
                    <a:lnTo>
                      <a:pt x="1234" y="1299"/>
                    </a:lnTo>
                    <a:lnTo>
                      <a:pt x="1232" y="1299"/>
                    </a:lnTo>
                    <a:lnTo>
                      <a:pt x="1232" y="1301"/>
                    </a:lnTo>
                    <a:lnTo>
                      <a:pt x="1230" y="1301"/>
                    </a:lnTo>
                    <a:lnTo>
                      <a:pt x="1230" y="1303"/>
                    </a:lnTo>
                    <a:lnTo>
                      <a:pt x="1230" y="1305"/>
                    </a:lnTo>
                    <a:lnTo>
                      <a:pt x="1230" y="1306"/>
                    </a:lnTo>
                    <a:lnTo>
                      <a:pt x="1229" y="1306"/>
                    </a:lnTo>
                    <a:lnTo>
                      <a:pt x="1229" y="1308"/>
                    </a:lnTo>
                    <a:lnTo>
                      <a:pt x="1227" y="1310"/>
                    </a:lnTo>
                    <a:lnTo>
                      <a:pt x="1225" y="1311"/>
                    </a:lnTo>
                    <a:lnTo>
                      <a:pt x="1225" y="1313"/>
                    </a:lnTo>
                    <a:lnTo>
                      <a:pt x="1225" y="1315"/>
                    </a:lnTo>
                    <a:lnTo>
                      <a:pt x="1225" y="1316"/>
                    </a:lnTo>
                    <a:lnTo>
                      <a:pt x="1227" y="1316"/>
                    </a:lnTo>
                    <a:lnTo>
                      <a:pt x="1227" y="1315"/>
                    </a:lnTo>
                    <a:lnTo>
                      <a:pt x="1227" y="1316"/>
                    </a:lnTo>
                    <a:lnTo>
                      <a:pt x="1229" y="1316"/>
                    </a:lnTo>
                    <a:lnTo>
                      <a:pt x="1227" y="1316"/>
                    </a:lnTo>
                    <a:lnTo>
                      <a:pt x="1213" y="1313"/>
                    </a:lnTo>
                    <a:lnTo>
                      <a:pt x="1213" y="1315"/>
                    </a:lnTo>
                    <a:lnTo>
                      <a:pt x="1213" y="1316"/>
                    </a:lnTo>
                    <a:lnTo>
                      <a:pt x="1215" y="1318"/>
                    </a:lnTo>
                    <a:lnTo>
                      <a:pt x="1217" y="1318"/>
                    </a:lnTo>
                    <a:lnTo>
                      <a:pt x="1215" y="1320"/>
                    </a:lnTo>
                    <a:lnTo>
                      <a:pt x="1215" y="1322"/>
                    </a:lnTo>
                    <a:lnTo>
                      <a:pt x="1215" y="1323"/>
                    </a:lnTo>
                    <a:lnTo>
                      <a:pt x="1213" y="1323"/>
                    </a:lnTo>
                    <a:lnTo>
                      <a:pt x="1213" y="1325"/>
                    </a:lnTo>
                    <a:lnTo>
                      <a:pt x="1213" y="1327"/>
                    </a:lnTo>
                    <a:lnTo>
                      <a:pt x="1213" y="1328"/>
                    </a:lnTo>
                    <a:lnTo>
                      <a:pt x="1212" y="1328"/>
                    </a:lnTo>
                    <a:lnTo>
                      <a:pt x="1212" y="1330"/>
                    </a:lnTo>
                    <a:lnTo>
                      <a:pt x="1212" y="1332"/>
                    </a:lnTo>
                    <a:lnTo>
                      <a:pt x="1213" y="1332"/>
                    </a:lnTo>
                    <a:lnTo>
                      <a:pt x="1213" y="1333"/>
                    </a:lnTo>
                    <a:lnTo>
                      <a:pt x="1215" y="1335"/>
                    </a:lnTo>
                    <a:lnTo>
                      <a:pt x="1213" y="1335"/>
                    </a:lnTo>
                    <a:lnTo>
                      <a:pt x="1213" y="1337"/>
                    </a:lnTo>
                    <a:lnTo>
                      <a:pt x="1213" y="1339"/>
                    </a:lnTo>
                    <a:lnTo>
                      <a:pt x="1213" y="1340"/>
                    </a:lnTo>
                    <a:lnTo>
                      <a:pt x="1215" y="1342"/>
                    </a:lnTo>
                    <a:lnTo>
                      <a:pt x="1215" y="1344"/>
                    </a:lnTo>
                    <a:lnTo>
                      <a:pt x="1213" y="1345"/>
                    </a:lnTo>
                    <a:lnTo>
                      <a:pt x="1213" y="1347"/>
                    </a:lnTo>
                    <a:lnTo>
                      <a:pt x="1213" y="1349"/>
                    </a:lnTo>
                    <a:lnTo>
                      <a:pt x="1212" y="1349"/>
                    </a:lnTo>
                    <a:lnTo>
                      <a:pt x="1212" y="1350"/>
                    </a:lnTo>
                    <a:lnTo>
                      <a:pt x="1212" y="1352"/>
                    </a:lnTo>
                    <a:lnTo>
                      <a:pt x="1213" y="1352"/>
                    </a:lnTo>
                    <a:lnTo>
                      <a:pt x="1212" y="1354"/>
                    </a:lnTo>
                    <a:lnTo>
                      <a:pt x="1212" y="1356"/>
                    </a:lnTo>
                    <a:lnTo>
                      <a:pt x="1212" y="1357"/>
                    </a:lnTo>
                    <a:lnTo>
                      <a:pt x="1213" y="1357"/>
                    </a:lnTo>
                    <a:lnTo>
                      <a:pt x="1213" y="1359"/>
                    </a:lnTo>
                    <a:lnTo>
                      <a:pt x="1212" y="1361"/>
                    </a:lnTo>
                    <a:lnTo>
                      <a:pt x="1212" y="1362"/>
                    </a:lnTo>
                    <a:lnTo>
                      <a:pt x="1212" y="1364"/>
                    </a:lnTo>
                    <a:lnTo>
                      <a:pt x="1212" y="1366"/>
                    </a:lnTo>
                    <a:lnTo>
                      <a:pt x="1210" y="1367"/>
                    </a:lnTo>
                    <a:lnTo>
                      <a:pt x="1212" y="1369"/>
                    </a:lnTo>
                    <a:lnTo>
                      <a:pt x="1212" y="1371"/>
                    </a:lnTo>
                    <a:lnTo>
                      <a:pt x="1213" y="1371"/>
                    </a:lnTo>
                    <a:lnTo>
                      <a:pt x="1213" y="1373"/>
                    </a:lnTo>
                    <a:lnTo>
                      <a:pt x="1213" y="1374"/>
                    </a:lnTo>
                    <a:lnTo>
                      <a:pt x="1215" y="1378"/>
                    </a:lnTo>
                    <a:lnTo>
                      <a:pt x="1217" y="1379"/>
                    </a:lnTo>
                    <a:lnTo>
                      <a:pt x="1215" y="1379"/>
                    </a:lnTo>
                    <a:lnTo>
                      <a:pt x="1217" y="1379"/>
                    </a:lnTo>
                    <a:lnTo>
                      <a:pt x="1219" y="1381"/>
                    </a:lnTo>
                    <a:lnTo>
                      <a:pt x="1217" y="1381"/>
                    </a:lnTo>
                    <a:lnTo>
                      <a:pt x="1219" y="1383"/>
                    </a:lnTo>
                    <a:lnTo>
                      <a:pt x="1219" y="1384"/>
                    </a:lnTo>
                    <a:lnTo>
                      <a:pt x="1220" y="1384"/>
                    </a:lnTo>
                    <a:lnTo>
                      <a:pt x="1220" y="1386"/>
                    </a:lnTo>
                    <a:lnTo>
                      <a:pt x="1220" y="1388"/>
                    </a:lnTo>
                    <a:lnTo>
                      <a:pt x="1222" y="1390"/>
                    </a:lnTo>
                    <a:lnTo>
                      <a:pt x="1224" y="1390"/>
                    </a:lnTo>
                    <a:lnTo>
                      <a:pt x="1224" y="1391"/>
                    </a:lnTo>
                    <a:lnTo>
                      <a:pt x="1222" y="1393"/>
                    </a:lnTo>
                    <a:lnTo>
                      <a:pt x="1220" y="1393"/>
                    </a:lnTo>
                    <a:lnTo>
                      <a:pt x="1220" y="1395"/>
                    </a:lnTo>
                    <a:lnTo>
                      <a:pt x="1220" y="1396"/>
                    </a:lnTo>
                    <a:lnTo>
                      <a:pt x="1220" y="1398"/>
                    </a:lnTo>
                    <a:lnTo>
                      <a:pt x="1222" y="1398"/>
                    </a:lnTo>
                    <a:lnTo>
                      <a:pt x="1224" y="1398"/>
                    </a:lnTo>
                    <a:lnTo>
                      <a:pt x="1225" y="1396"/>
                    </a:lnTo>
                    <a:lnTo>
                      <a:pt x="1227" y="1395"/>
                    </a:lnTo>
                    <a:lnTo>
                      <a:pt x="1227" y="1396"/>
                    </a:lnTo>
                    <a:lnTo>
                      <a:pt x="1229" y="1395"/>
                    </a:lnTo>
                    <a:lnTo>
                      <a:pt x="1230" y="1395"/>
                    </a:lnTo>
                    <a:lnTo>
                      <a:pt x="1232" y="1393"/>
                    </a:lnTo>
                    <a:lnTo>
                      <a:pt x="1232" y="1391"/>
                    </a:lnTo>
                    <a:lnTo>
                      <a:pt x="1234" y="1391"/>
                    </a:lnTo>
                    <a:lnTo>
                      <a:pt x="1234" y="1390"/>
                    </a:lnTo>
                    <a:lnTo>
                      <a:pt x="1236" y="1390"/>
                    </a:lnTo>
                    <a:lnTo>
                      <a:pt x="1237" y="1388"/>
                    </a:lnTo>
                    <a:lnTo>
                      <a:pt x="1239" y="1388"/>
                    </a:lnTo>
                    <a:lnTo>
                      <a:pt x="1241" y="1390"/>
                    </a:lnTo>
                    <a:lnTo>
                      <a:pt x="1241" y="1388"/>
                    </a:lnTo>
                    <a:lnTo>
                      <a:pt x="1242" y="1390"/>
                    </a:lnTo>
                    <a:lnTo>
                      <a:pt x="1244" y="1391"/>
                    </a:lnTo>
                    <a:lnTo>
                      <a:pt x="1244" y="1390"/>
                    </a:lnTo>
                    <a:lnTo>
                      <a:pt x="1244" y="1388"/>
                    </a:lnTo>
                    <a:lnTo>
                      <a:pt x="1246" y="1388"/>
                    </a:lnTo>
                    <a:lnTo>
                      <a:pt x="1247" y="1386"/>
                    </a:lnTo>
                    <a:lnTo>
                      <a:pt x="1249" y="1388"/>
                    </a:lnTo>
                    <a:lnTo>
                      <a:pt x="1251" y="1388"/>
                    </a:lnTo>
                    <a:lnTo>
                      <a:pt x="1253" y="1388"/>
                    </a:lnTo>
                    <a:lnTo>
                      <a:pt x="1253" y="1390"/>
                    </a:lnTo>
                    <a:lnTo>
                      <a:pt x="1254" y="1390"/>
                    </a:lnTo>
                    <a:lnTo>
                      <a:pt x="1254" y="1391"/>
                    </a:lnTo>
                    <a:lnTo>
                      <a:pt x="1253" y="1393"/>
                    </a:lnTo>
                    <a:lnTo>
                      <a:pt x="1253" y="1395"/>
                    </a:lnTo>
                    <a:lnTo>
                      <a:pt x="1253" y="1396"/>
                    </a:lnTo>
                    <a:lnTo>
                      <a:pt x="1254" y="1396"/>
                    </a:lnTo>
                    <a:lnTo>
                      <a:pt x="1254" y="1398"/>
                    </a:lnTo>
                    <a:lnTo>
                      <a:pt x="1254" y="1400"/>
                    </a:lnTo>
                    <a:lnTo>
                      <a:pt x="1256" y="1401"/>
                    </a:lnTo>
                    <a:lnTo>
                      <a:pt x="1256" y="1403"/>
                    </a:lnTo>
                    <a:lnTo>
                      <a:pt x="1254" y="1405"/>
                    </a:lnTo>
                    <a:lnTo>
                      <a:pt x="1254" y="1407"/>
                    </a:lnTo>
                    <a:lnTo>
                      <a:pt x="1254" y="1408"/>
                    </a:lnTo>
                    <a:lnTo>
                      <a:pt x="1254" y="1410"/>
                    </a:lnTo>
                    <a:lnTo>
                      <a:pt x="1253" y="1410"/>
                    </a:lnTo>
                    <a:lnTo>
                      <a:pt x="1253" y="1408"/>
                    </a:lnTo>
                    <a:lnTo>
                      <a:pt x="1251" y="1408"/>
                    </a:lnTo>
                    <a:lnTo>
                      <a:pt x="1251" y="1410"/>
                    </a:lnTo>
                    <a:lnTo>
                      <a:pt x="1251" y="1412"/>
                    </a:lnTo>
                    <a:lnTo>
                      <a:pt x="1249" y="1413"/>
                    </a:lnTo>
                    <a:lnTo>
                      <a:pt x="1251" y="1413"/>
                    </a:lnTo>
                    <a:lnTo>
                      <a:pt x="1251" y="1415"/>
                    </a:lnTo>
                    <a:lnTo>
                      <a:pt x="1251" y="1417"/>
                    </a:lnTo>
                    <a:lnTo>
                      <a:pt x="1253" y="1418"/>
                    </a:lnTo>
                    <a:lnTo>
                      <a:pt x="1254" y="1418"/>
                    </a:lnTo>
                    <a:lnTo>
                      <a:pt x="1254" y="1420"/>
                    </a:lnTo>
                    <a:lnTo>
                      <a:pt x="1254" y="1422"/>
                    </a:lnTo>
                    <a:lnTo>
                      <a:pt x="1254" y="1424"/>
                    </a:lnTo>
                    <a:lnTo>
                      <a:pt x="1253" y="1424"/>
                    </a:lnTo>
                    <a:lnTo>
                      <a:pt x="1253" y="1425"/>
                    </a:lnTo>
                    <a:lnTo>
                      <a:pt x="1251" y="1425"/>
                    </a:lnTo>
                    <a:lnTo>
                      <a:pt x="1253" y="1427"/>
                    </a:lnTo>
                    <a:lnTo>
                      <a:pt x="1253" y="1429"/>
                    </a:lnTo>
                    <a:lnTo>
                      <a:pt x="1253" y="1430"/>
                    </a:lnTo>
                    <a:lnTo>
                      <a:pt x="1253" y="1432"/>
                    </a:lnTo>
                    <a:lnTo>
                      <a:pt x="1253" y="1434"/>
                    </a:lnTo>
                    <a:lnTo>
                      <a:pt x="1253" y="1435"/>
                    </a:lnTo>
                    <a:lnTo>
                      <a:pt x="1251" y="1435"/>
                    </a:lnTo>
                    <a:lnTo>
                      <a:pt x="1249" y="1435"/>
                    </a:lnTo>
                    <a:lnTo>
                      <a:pt x="1251" y="1435"/>
                    </a:lnTo>
                    <a:lnTo>
                      <a:pt x="1249" y="1437"/>
                    </a:lnTo>
                    <a:lnTo>
                      <a:pt x="1249" y="1439"/>
                    </a:lnTo>
                    <a:lnTo>
                      <a:pt x="1251" y="1439"/>
                    </a:lnTo>
                    <a:lnTo>
                      <a:pt x="1253" y="1439"/>
                    </a:lnTo>
                    <a:lnTo>
                      <a:pt x="1253" y="1441"/>
                    </a:lnTo>
                    <a:lnTo>
                      <a:pt x="1254" y="1442"/>
                    </a:lnTo>
                    <a:lnTo>
                      <a:pt x="1254" y="1444"/>
                    </a:lnTo>
                    <a:lnTo>
                      <a:pt x="1254" y="1446"/>
                    </a:lnTo>
                    <a:lnTo>
                      <a:pt x="1256" y="1446"/>
                    </a:lnTo>
                    <a:lnTo>
                      <a:pt x="1258" y="1446"/>
                    </a:lnTo>
                    <a:lnTo>
                      <a:pt x="1258" y="1447"/>
                    </a:lnTo>
                    <a:lnTo>
                      <a:pt x="1259" y="1447"/>
                    </a:lnTo>
                    <a:lnTo>
                      <a:pt x="1259" y="1449"/>
                    </a:lnTo>
                    <a:lnTo>
                      <a:pt x="1261" y="1449"/>
                    </a:lnTo>
                    <a:lnTo>
                      <a:pt x="1261" y="1451"/>
                    </a:lnTo>
                    <a:lnTo>
                      <a:pt x="1263" y="1451"/>
                    </a:lnTo>
                    <a:lnTo>
                      <a:pt x="1263" y="1453"/>
                    </a:lnTo>
                    <a:lnTo>
                      <a:pt x="1264" y="1453"/>
                    </a:lnTo>
                    <a:lnTo>
                      <a:pt x="1264" y="1454"/>
                    </a:lnTo>
                    <a:lnTo>
                      <a:pt x="1266" y="1456"/>
                    </a:lnTo>
                    <a:lnTo>
                      <a:pt x="1266" y="1458"/>
                    </a:lnTo>
                    <a:lnTo>
                      <a:pt x="1264" y="1458"/>
                    </a:lnTo>
                    <a:lnTo>
                      <a:pt x="1264" y="1459"/>
                    </a:lnTo>
                    <a:lnTo>
                      <a:pt x="1263" y="1459"/>
                    </a:lnTo>
                    <a:lnTo>
                      <a:pt x="1263" y="1461"/>
                    </a:lnTo>
                    <a:lnTo>
                      <a:pt x="1264" y="1461"/>
                    </a:lnTo>
                    <a:lnTo>
                      <a:pt x="1266" y="1461"/>
                    </a:lnTo>
                    <a:lnTo>
                      <a:pt x="1266" y="1463"/>
                    </a:lnTo>
                    <a:lnTo>
                      <a:pt x="1275" y="1461"/>
                    </a:lnTo>
                    <a:lnTo>
                      <a:pt x="1283" y="1461"/>
                    </a:lnTo>
                    <a:lnTo>
                      <a:pt x="1285" y="1461"/>
                    </a:lnTo>
                    <a:lnTo>
                      <a:pt x="1288" y="1463"/>
                    </a:lnTo>
                    <a:lnTo>
                      <a:pt x="1302" y="1461"/>
                    </a:lnTo>
                    <a:lnTo>
                      <a:pt x="1309" y="1463"/>
                    </a:lnTo>
                    <a:lnTo>
                      <a:pt x="1314" y="1461"/>
                    </a:lnTo>
                    <a:lnTo>
                      <a:pt x="1319" y="1463"/>
                    </a:lnTo>
                    <a:lnTo>
                      <a:pt x="1331" y="1461"/>
                    </a:lnTo>
                    <a:lnTo>
                      <a:pt x="1334" y="1463"/>
                    </a:lnTo>
                    <a:lnTo>
                      <a:pt x="1336" y="1464"/>
                    </a:lnTo>
                    <a:lnTo>
                      <a:pt x="1338" y="1466"/>
                    </a:lnTo>
                    <a:lnTo>
                      <a:pt x="1341" y="1466"/>
                    </a:lnTo>
                    <a:lnTo>
                      <a:pt x="1344" y="1468"/>
                    </a:lnTo>
                    <a:lnTo>
                      <a:pt x="1348" y="1470"/>
                    </a:lnTo>
                    <a:lnTo>
                      <a:pt x="1349" y="1470"/>
                    </a:lnTo>
                    <a:lnTo>
                      <a:pt x="1351" y="1471"/>
                    </a:lnTo>
                    <a:lnTo>
                      <a:pt x="1355" y="1471"/>
                    </a:lnTo>
                    <a:lnTo>
                      <a:pt x="1358" y="1471"/>
                    </a:lnTo>
                    <a:lnTo>
                      <a:pt x="1360" y="1471"/>
                    </a:lnTo>
                    <a:lnTo>
                      <a:pt x="1361" y="1473"/>
                    </a:lnTo>
                    <a:lnTo>
                      <a:pt x="1363" y="1473"/>
                    </a:lnTo>
                    <a:lnTo>
                      <a:pt x="1365" y="1473"/>
                    </a:lnTo>
                    <a:lnTo>
                      <a:pt x="1366" y="1475"/>
                    </a:lnTo>
                    <a:lnTo>
                      <a:pt x="1368" y="1475"/>
                    </a:lnTo>
                    <a:lnTo>
                      <a:pt x="1372" y="1476"/>
                    </a:lnTo>
                    <a:lnTo>
                      <a:pt x="1373" y="1476"/>
                    </a:lnTo>
                    <a:lnTo>
                      <a:pt x="1373" y="1478"/>
                    </a:lnTo>
                    <a:lnTo>
                      <a:pt x="1375" y="1478"/>
                    </a:lnTo>
                    <a:lnTo>
                      <a:pt x="1377" y="1478"/>
                    </a:lnTo>
                    <a:lnTo>
                      <a:pt x="1378" y="1478"/>
                    </a:lnTo>
                    <a:lnTo>
                      <a:pt x="1378" y="1480"/>
                    </a:lnTo>
                    <a:lnTo>
                      <a:pt x="1380" y="1480"/>
                    </a:lnTo>
                    <a:lnTo>
                      <a:pt x="1382" y="1480"/>
                    </a:lnTo>
                    <a:lnTo>
                      <a:pt x="1383" y="1480"/>
                    </a:lnTo>
                    <a:lnTo>
                      <a:pt x="1385" y="1480"/>
                    </a:lnTo>
                    <a:lnTo>
                      <a:pt x="1385" y="1481"/>
                    </a:lnTo>
                    <a:lnTo>
                      <a:pt x="1385" y="1483"/>
                    </a:lnTo>
                    <a:lnTo>
                      <a:pt x="1383" y="1483"/>
                    </a:lnTo>
                    <a:lnTo>
                      <a:pt x="1383" y="1481"/>
                    </a:lnTo>
                    <a:lnTo>
                      <a:pt x="1382" y="1481"/>
                    </a:lnTo>
                    <a:lnTo>
                      <a:pt x="1382" y="1480"/>
                    </a:lnTo>
                    <a:lnTo>
                      <a:pt x="1380" y="1481"/>
                    </a:lnTo>
                    <a:lnTo>
                      <a:pt x="1378" y="1480"/>
                    </a:lnTo>
                    <a:lnTo>
                      <a:pt x="1377" y="1480"/>
                    </a:lnTo>
                    <a:lnTo>
                      <a:pt x="1375" y="1480"/>
                    </a:lnTo>
                    <a:lnTo>
                      <a:pt x="1373" y="1480"/>
                    </a:lnTo>
                    <a:lnTo>
                      <a:pt x="1373" y="1478"/>
                    </a:lnTo>
                    <a:lnTo>
                      <a:pt x="1372" y="1480"/>
                    </a:lnTo>
                    <a:lnTo>
                      <a:pt x="1372" y="1478"/>
                    </a:lnTo>
                    <a:lnTo>
                      <a:pt x="1370" y="1480"/>
                    </a:lnTo>
                    <a:lnTo>
                      <a:pt x="1368" y="1478"/>
                    </a:lnTo>
                    <a:lnTo>
                      <a:pt x="1366" y="1478"/>
                    </a:lnTo>
                    <a:lnTo>
                      <a:pt x="1365" y="1476"/>
                    </a:lnTo>
                    <a:lnTo>
                      <a:pt x="1363" y="1475"/>
                    </a:lnTo>
                    <a:lnTo>
                      <a:pt x="1361" y="1475"/>
                    </a:lnTo>
                    <a:lnTo>
                      <a:pt x="1361" y="1473"/>
                    </a:lnTo>
                    <a:lnTo>
                      <a:pt x="1360" y="1473"/>
                    </a:lnTo>
                    <a:lnTo>
                      <a:pt x="1358" y="1473"/>
                    </a:lnTo>
                    <a:lnTo>
                      <a:pt x="1356" y="1473"/>
                    </a:lnTo>
                    <a:lnTo>
                      <a:pt x="1356" y="1475"/>
                    </a:lnTo>
                    <a:lnTo>
                      <a:pt x="1355" y="1475"/>
                    </a:lnTo>
                    <a:lnTo>
                      <a:pt x="1353" y="1475"/>
                    </a:lnTo>
                    <a:lnTo>
                      <a:pt x="1353" y="1476"/>
                    </a:lnTo>
                    <a:lnTo>
                      <a:pt x="1351" y="1476"/>
                    </a:lnTo>
                    <a:lnTo>
                      <a:pt x="1349" y="1476"/>
                    </a:lnTo>
                    <a:lnTo>
                      <a:pt x="1349" y="1478"/>
                    </a:lnTo>
                    <a:lnTo>
                      <a:pt x="1349" y="1480"/>
                    </a:lnTo>
                    <a:lnTo>
                      <a:pt x="1348" y="1480"/>
                    </a:lnTo>
                    <a:lnTo>
                      <a:pt x="1349" y="1481"/>
                    </a:lnTo>
                    <a:lnTo>
                      <a:pt x="1348" y="1481"/>
                    </a:lnTo>
                    <a:lnTo>
                      <a:pt x="1349" y="1483"/>
                    </a:lnTo>
                    <a:lnTo>
                      <a:pt x="1348" y="1483"/>
                    </a:lnTo>
                    <a:lnTo>
                      <a:pt x="1346" y="1485"/>
                    </a:lnTo>
                    <a:lnTo>
                      <a:pt x="1346" y="1487"/>
                    </a:lnTo>
                    <a:lnTo>
                      <a:pt x="1346" y="1488"/>
                    </a:lnTo>
                    <a:lnTo>
                      <a:pt x="1344" y="1488"/>
                    </a:lnTo>
                    <a:lnTo>
                      <a:pt x="1344" y="1490"/>
                    </a:lnTo>
                    <a:lnTo>
                      <a:pt x="1343" y="1492"/>
                    </a:lnTo>
                    <a:lnTo>
                      <a:pt x="1341" y="1492"/>
                    </a:lnTo>
                    <a:lnTo>
                      <a:pt x="1339" y="1492"/>
                    </a:lnTo>
                    <a:lnTo>
                      <a:pt x="1338" y="1490"/>
                    </a:lnTo>
                    <a:lnTo>
                      <a:pt x="1338" y="1488"/>
                    </a:lnTo>
                    <a:lnTo>
                      <a:pt x="1336" y="1488"/>
                    </a:lnTo>
                    <a:lnTo>
                      <a:pt x="1336" y="1490"/>
                    </a:lnTo>
                    <a:lnTo>
                      <a:pt x="1334" y="1490"/>
                    </a:lnTo>
                    <a:lnTo>
                      <a:pt x="1332" y="1492"/>
                    </a:lnTo>
                    <a:lnTo>
                      <a:pt x="1331" y="1492"/>
                    </a:lnTo>
                    <a:lnTo>
                      <a:pt x="1331" y="1493"/>
                    </a:lnTo>
                    <a:lnTo>
                      <a:pt x="1329" y="1493"/>
                    </a:lnTo>
                    <a:lnTo>
                      <a:pt x="1327" y="1493"/>
                    </a:lnTo>
                    <a:lnTo>
                      <a:pt x="1326" y="1495"/>
                    </a:lnTo>
                    <a:lnTo>
                      <a:pt x="1324" y="1495"/>
                    </a:lnTo>
                    <a:lnTo>
                      <a:pt x="1324" y="1497"/>
                    </a:lnTo>
                    <a:lnTo>
                      <a:pt x="1324" y="1498"/>
                    </a:lnTo>
                    <a:lnTo>
                      <a:pt x="1324" y="1497"/>
                    </a:lnTo>
                    <a:lnTo>
                      <a:pt x="1322" y="1497"/>
                    </a:lnTo>
                    <a:lnTo>
                      <a:pt x="1321" y="1497"/>
                    </a:lnTo>
                    <a:lnTo>
                      <a:pt x="1321" y="1498"/>
                    </a:lnTo>
                    <a:lnTo>
                      <a:pt x="1319" y="1498"/>
                    </a:lnTo>
                    <a:lnTo>
                      <a:pt x="1317" y="1500"/>
                    </a:lnTo>
                    <a:lnTo>
                      <a:pt x="1315" y="1500"/>
                    </a:lnTo>
                    <a:lnTo>
                      <a:pt x="1314" y="1502"/>
                    </a:lnTo>
                    <a:lnTo>
                      <a:pt x="1312" y="1502"/>
                    </a:lnTo>
                    <a:lnTo>
                      <a:pt x="1312" y="1500"/>
                    </a:lnTo>
                    <a:lnTo>
                      <a:pt x="1314" y="1500"/>
                    </a:lnTo>
                    <a:lnTo>
                      <a:pt x="1314" y="1498"/>
                    </a:lnTo>
                    <a:lnTo>
                      <a:pt x="1312" y="1498"/>
                    </a:lnTo>
                    <a:lnTo>
                      <a:pt x="1312" y="1500"/>
                    </a:lnTo>
                    <a:lnTo>
                      <a:pt x="1310" y="1502"/>
                    </a:lnTo>
                    <a:lnTo>
                      <a:pt x="1310" y="1500"/>
                    </a:lnTo>
                    <a:lnTo>
                      <a:pt x="1309" y="1502"/>
                    </a:lnTo>
                    <a:lnTo>
                      <a:pt x="1307" y="1502"/>
                    </a:lnTo>
                    <a:lnTo>
                      <a:pt x="1309" y="1504"/>
                    </a:lnTo>
                    <a:lnTo>
                      <a:pt x="1307" y="1504"/>
                    </a:lnTo>
                    <a:lnTo>
                      <a:pt x="1307" y="1502"/>
                    </a:lnTo>
                    <a:lnTo>
                      <a:pt x="1305" y="1502"/>
                    </a:lnTo>
                    <a:lnTo>
                      <a:pt x="1305" y="1504"/>
                    </a:lnTo>
                    <a:lnTo>
                      <a:pt x="1304" y="1504"/>
                    </a:lnTo>
                    <a:lnTo>
                      <a:pt x="1304" y="1502"/>
                    </a:lnTo>
                    <a:lnTo>
                      <a:pt x="1302" y="1502"/>
                    </a:lnTo>
                    <a:lnTo>
                      <a:pt x="1304" y="1502"/>
                    </a:lnTo>
                    <a:lnTo>
                      <a:pt x="1302" y="1502"/>
                    </a:lnTo>
                    <a:lnTo>
                      <a:pt x="1302" y="1504"/>
                    </a:lnTo>
                    <a:lnTo>
                      <a:pt x="1304" y="1504"/>
                    </a:lnTo>
                    <a:lnTo>
                      <a:pt x="1305" y="1504"/>
                    </a:lnTo>
                    <a:lnTo>
                      <a:pt x="1304" y="1505"/>
                    </a:lnTo>
                    <a:lnTo>
                      <a:pt x="1305" y="1505"/>
                    </a:lnTo>
                    <a:lnTo>
                      <a:pt x="1307" y="1505"/>
                    </a:lnTo>
                    <a:lnTo>
                      <a:pt x="1305" y="1507"/>
                    </a:lnTo>
                    <a:lnTo>
                      <a:pt x="1304" y="1507"/>
                    </a:lnTo>
                    <a:lnTo>
                      <a:pt x="1304" y="1509"/>
                    </a:lnTo>
                    <a:lnTo>
                      <a:pt x="1304" y="1507"/>
                    </a:lnTo>
                    <a:lnTo>
                      <a:pt x="1304" y="1509"/>
                    </a:lnTo>
                    <a:lnTo>
                      <a:pt x="1304" y="1510"/>
                    </a:lnTo>
                    <a:lnTo>
                      <a:pt x="1304" y="1512"/>
                    </a:lnTo>
                    <a:lnTo>
                      <a:pt x="1302" y="1512"/>
                    </a:lnTo>
                    <a:lnTo>
                      <a:pt x="1302" y="1514"/>
                    </a:lnTo>
                    <a:lnTo>
                      <a:pt x="1304" y="1514"/>
                    </a:lnTo>
                    <a:lnTo>
                      <a:pt x="1305" y="1514"/>
                    </a:lnTo>
                    <a:lnTo>
                      <a:pt x="1304" y="1515"/>
                    </a:lnTo>
                    <a:lnTo>
                      <a:pt x="1304" y="1517"/>
                    </a:lnTo>
                    <a:lnTo>
                      <a:pt x="1304" y="1519"/>
                    </a:lnTo>
                    <a:lnTo>
                      <a:pt x="1304" y="1521"/>
                    </a:lnTo>
                    <a:lnTo>
                      <a:pt x="1302" y="1521"/>
                    </a:lnTo>
                    <a:lnTo>
                      <a:pt x="1302" y="1522"/>
                    </a:lnTo>
                    <a:lnTo>
                      <a:pt x="1302" y="1524"/>
                    </a:lnTo>
                    <a:lnTo>
                      <a:pt x="1302" y="1526"/>
                    </a:lnTo>
                    <a:lnTo>
                      <a:pt x="1302" y="1527"/>
                    </a:lnTo>
                    <a:lnTo>
                      <a:pt x="1300" y="1527"/>
                    </a:lnTo>
                    <a:lnTo>
                      <a:pt x="1300" y="1529"/>
                    </a:lnTo>
                    <a:lnTo>
                      <a:pt x="1300" y="1531"/>
                    </a:lnTo>
                    <a:lnTo>
                      <a:pt x="1298" y="1532"/>
                    </a:lnTo>
                    <a:lnTo>
                      <a:pt x="1300" y="1532"/>
                    </a:lnTo>
                    <a:lnTo>
                      <a:pt x="1300" y="1534"/>
                    </a:lnTo>
                    <a:lnTo>
                      <a:pt x="1300" y="1536"/>
                    </a:lnTo>
                    <a:lnTo>
                      <a:pt x="1298" y="1538"/>
                    </a:lnTo>
                    <a:lnTo>
                      <a:pt x="1298" y="1539"/>
                    </a:lnTo>
                    <a:lnTo>
                      <a:pt x="1298" y="1541"/>
                    </a:lnTo>
                    <a:lnTo>
                      <a:pt x="1298" y="1543"/>
                    </a:lnTo>
                    <a:lnTo>
                      <a:pt x="1298" y="1544"/>
                    </a:lnTo>
                    <a:lnTo>
                      <a:pt x="1298" y="1546"/>
                    </a:lnTo>
                    <a:lnTo>
                      <a:pt x="1300" y="1548"/>
                    </a:lnTo>
                    <a:lnTo>
                      <a:pt x="1300" y="1549"/>
                    </a:lnTo>
                    <a:lnTo>
                      <a:pt x="1300" y="1551"/>
                    </a:lnTo>
                    <a:lnTo>
                      <a:pt x="1300" y="1553"/>
                    </a:lnTo>
                    <a:lnTo>
                      <a:pt x="1298" y="1553"/>
                    </a:lnTo>
                    <a:lnTo>
                      <a:pt x="1300" y="1555"/>
                    </a:lnTo>
                    <a:lnTo>
                      <a:pt x="1298" y="1556"/>
                    </a:lnTo>
                    <a:lnTo>
                      <a:pt x="1298" y="1558"/>
                    </a:lnTo>
                    <a:lnTo>
                      <a:pt x="1298" y="1560"/>
                    </a:lnTo>
                    <a:lnTo>
                      <a:pt x="1298" y="1561"/>
                    </a:lnTo>
                    <a:lnTo>
                      <a:pt x="1297" y="1561"/>
                    </a:lnTo>
                    <a:lnTo>
                      <a:pt x="1297" y="1563"/>
                    </a:lnTo>
                    <a:lnTo>
                      <a:pt x="1295" y="1565"/>
                    </a:lnTo>
                    <a:lnTo>
                      <a:pt x="1295" y="1563"/>
                    </a:lnTo>
                    <a:lnTo>
                      <a:pt x="1295" y="1565"/>
                    </a:lnTo>
                    <a:lnTo>
                      <a:pt x="1293" y="1565"/>
                    </a:lnTo>
                    <a:lnTo>
                      <a:pt x="1292" y="1566"/>
                    </a:lnTo>
                    <a:lnTo>
                      <a:pt x="1290" y="1566"/>
                    </a:lnTo>
                    <a:lnTo>
                      <a:pt x="1290" y="1568"/>
                    </a:lnTo>
                    <a:lnTo>
                      <a:pt x="1288" y="1568"/>
                    </a:lnTo>
                    <a:lnTo>
                      <a:pt x="1287" y="1568"/>
                    </a:lnTo>
                    <a:lnTo>
                      <a:pt x="1287" y="1566"/>
                    </a:lnTo>
                    <a:lnTo>
                      <a:pt x="1285" y="1566"/>
                    </a:lnTo>
                    <a:lnTo>
                      <a:pt x="1283" y="1565"/>
                    </a:lnTo>
                    <a:lnTo>
                      <a:pt x="1281" y="1565"/>
                    </a:lnTo>
                    <a:lnTo>
                      <a:pt x="1280" y="1565"/>
                    </a:lnTo>
                    <a:lnTo>
                      <a:pt x="1280" y="1563"/>
                    </a:lnTo>
                    <a:lnTo>
                      <a:pt x="1278" y="1563"/>
                    </a:lnTo>
                    <a:lnTo>
                      <a:pt x="1276" y="1563"/>
                    </a:lnTo>
                    <a:lnTo>
                      <a:pt x="1275" y="1563"/>
                    </a:lnTo>
                    <a:lnTo>
                      <a:pt x="1273" y="1563"/>
                    </a:lnTo>
                    <a:lnTo>
                      <a:pt x="1273" y="1561"/>
                    </a:lnTo>
                    <a:lnTo>
                      <a:pt x="1271" y="1561"/>
                    </a:lnTo>
                    <a:lnTo>
                      <a:pt x="1271" y="1560"/>
                    </a:lnTo>
                    <a:lnTo>
                      <a:pt x="1270" y="1560"/>
                    </a:lnTo>
                    <a:lnTo>
                      <a:pt x="1268" y="1560"/>
                    </a:lnTo>
                    <a:lnTo>
                      <a:pt x="1268" y="1558"/>
                    </a:lnTo>
                    <a:lnTo>
                      <a:pt x="1266" y="1556"/>
                    </a:lnTo>
                    <a:lnTo>
                      <a:pt x="1268" y="1556"/>
                    </a:lnTo>
                    <a:lnTo>
                      <a:pt x="1266" y="1556"/>
                    </a:lnTo>
                    <a:lnTo>
                      <a:pt x="1266" y="1558"/>
                    </a:lnTo>
                    <a:lnTo>
                      <a:pt x="1264" y="1558"/>
                    </a:lnTo>
                    <a:lnTo>
                      <a:pt x="1264" y="1556"/>
                    </a:lnTo>
                    <a:lnTo>
                      <a:pt x="1263" y="1556"/>
                    </a:lnTo>
                    <a:lnTo>
                      <a:pt x="1263" y="1558"/>
                    </a:lnTo>
                    <a:lnTo>
                      <a:pt x="1263" y="1556"/>
                    </a:lnTo>
                    <a:lnTo>
                      <a:pt x="1261" y="1556"/>
                    </a:lnTo>
                    <a:lnTo>
                      <a:pt x="1259" y="1556"/>
                    </a:lnTo>
                    <a:lnTo>
                      <a:pt x="1259" y="1555"/>
                    </a:lnTo>
                    <a:lnTo>
                      <a:pt x="1258" y="1555"/>
                    </a:lnTo>
                    <a:lnTo>
                      <a:pt x="1258" y="1553"/>
                    </a:lnTo>
                    <a:lnTo>
                      <a:pt x="1256" y="1553"/>
                    </a:lnTo>
                    <a:lnTo>
                      <a:pt x="1256" y="1551"/>
                    </a:lnTo>
                    <a:lnTo>
                      <a:pt x="1254" y="1551"/>
                    </a:lnTo>
                    <a:lnTo>
                      <a:pt x="1254" y="1549"/>
                    </a:lnTo>
                    <a:lnTo>
                      <a:pt x="1253" y="1549"/>
                    </a:lnTo>
                    <a:lnTo>
                      <a:pt x="1253" y="1548"/>
                    </a:lnTo>
                    <a:lnTo>
                      <a:pt x="1251" y="1546"/>
                    </a:lnTo>
                    <a:lnTo>
                      <a:pt x="1251" y="1544"/>
                    </a:lnTo>
                    <a:lnTo>
                      <a:pt x="1251" y="1546"/>
                    </a:lnTo>
                    <a:lnTo>
                      <a:pt x="1249" y="1544"/>
                    </a:lnTo>
                    <a:lnTo>
                      <a:pt x="1249" y="1543"/>
                    </a:lnTo>
                    <a:lnTo>
                      <a:pt x="1249" y="1541"/>
                    </a:lnTo>
                    <a:lnTo>
                      <a:pt x="1247" y="1541"/>
                    </a:lnTo>
                    <a:lnTo>
                      <a:pt x="1247" y="1539"/>
                    </a:lnTo>
                    <a:lnTo>
                      <a:pt x="1247" y="1538"/>
                    </a:lnTo>
                    <a:lnTo>
                      <a:pt x="1249" y="1539"/>
                    </a:lnTo>
                    <a:lnTo>
                      <a:pt x="1249" y="1538"/>
                    </a:lnTo>
                    <a:lnTo>
                      <a:pt x="1249" y="1536"/>
                    </a:lnTo>
                    <a:lnTo>
                      <a:pt x="1249" y="1534"/>
                    </a:lnTo>
                    <a:lnTo>
                      <a:pt x="1251" y="1534"/>
                    </a:lnTo>
                    <a:lnTo>
                      <a:pt x="1251" y="1532"/>
                    </a:lnTo>
                    <a:lnTo>
                      <a:pt x="1253" y="1532"/>
                    </a:lnTo>
                    <a:lnTo>
                      <a:pt x="1254" y="1531"/>
                    </a:lnTo>
                    <a:lnTo>
                      <a:pt x="1256" y="1532"/>
                    </a:lnTo>
                    <a:lnTo>
                      <a:pt x="1258" y="1532"/>
                    </a:lnTo>
                    <a:lnTo>
                      <a:pt x="1259" y="1532"/>
                    </a:lnTo>
                    <a:lnTo>
                      <a:pt x="1259" y="1531"/>
                    </a:lnTo>
                    <a:lnTo>
                      <a:pt x="1259" y="1532"/>
                    </a:lnTo>
                    <a:lnTo>
                      <a:pt x="1259" y="1534"/>
                    </a:lnTo>
                    <a:lnTo>
                      <a:pt x="1261" y="1534"/>
                    </a:lnTo>
                    <a:lnTo>
                      <a:pt x="1259" y="1536"/>
                    </a:lnTo>
                    <a:lnTo>
                      <a:pt x="1261" y="1536"/>
                    </a:lnTo>
                    <a:lnTo>
                      <a:pt x="1261" y="1538"/>
                    </a:lnTo>
                    <a:lnTo>
                      <a:pt x="1259" y="1539"/>
                    </a:lnTo>
                    <a:lnTo>
                      <a:pt x="1259" y="1541"/>
                    </a:lnTo>
                    <a:lnTo>
                      <a:pt x="1258" y="1541"/>
                    </a:lnTo>
                    <a:lnTo>
                      <a:pt x="1256" y="1543"/>
                    </a:lnTo>
                    <a:lnTo>
                      <a:pt x="1254" y="1541"/>
                    </a:lnTo>
                    <a:lnTo>
                      <a:pt x="1256" y="1543"/>
                    </a:lnTo>
                    <a:lnTo>
                      <a:pt x="1258" y="1543"/>
                    </a:lnTo>
                    <a:lnTo>
                      <a:pt x="1259" y="1541"/>
                    </a:lnTo>
                    <a:lnTo>
                      <a:pt x="1261" y="1541"/>
                    </a:lnTo>
                    <a:lnTo>
                      <a:pt x="1261" y="1539"/>
                    </a:lnTo>
                    <a:lnTo>
                      <a:pt x="1263" y="1539"/>
                    </a:lnTo>
                    <a:lnTo>
                      <a:pt x="1263" y="1538"/>
                    </a:lnTo>
                    <a:lnTo>
                      <a:pt x="1263" y="1536"/>
                    </a:lnTo>
                    <a:lnTo>
                      <a:pt x="1263" y="1534"/>
                    </a:lnTo>
                    <a:lnTo>
                      <a:pt x="1263" y="1532"/>
                    </a:lnTo>
                    <a:lnTo>
                      <a:pt x="1263" y="1531"/>
                    </a:lnTo>
                    <a:lnTo>
                      <a:pt x="1264" y="1531"/>
                    </a:lnTo>
                    <a:lnTo>
                      <a:pt x="1266" y="1531"/>
                    </a:lnTo>
                    <a:lnTo>
                      <a:pt x="1268" y="1531"/>
                    </a:lnTo>
                    <a:lnTo>
                      <a:pt x="1270" y="1531"/>
                    </a:lnTo>
                    <a:lnTo>
                      <a:pt x="1270" y="1532"/>
                    </a:lnTo>
                    <a:lnTo>
                      <a:pt x="1270" y="1534"/>
                    </a:lnTo>
                    <a:lnTo>
                      <a:pt x="1270" y="1536"/>
                    </a:lnTo>
                    <a:lnTo>
                      <a:pt x="1270" y="1538"/>
                    </a:lnTo>
                    <a:lnTo>
                      <a:pt x="1270" y="1539"/>
                    </a:lnTo>
                    <a:lnTo>
                      <a:pt x="1271" y="1541"/>
                    </a:lnTo>
                    <a:lnTo>
                      <a:pt x="1271" y="1543"/>
                    </a:lnTo>
                    <a:lnTo>
                      <a:pt x="1271" y="1541"/>
                    </a:lnTo>
                    <a:lnTo>
                      <a:pt x="1270" y="1543"/>
                    </a:lnTo>
                    <a:lnTo>
                      <a:pt x="1270" y="1544"/>
                    </a:lnTo>
                    <a:lnTo>
                      <a:pt x="1268" y="1544"/>
                    </a:lnTo>
                    <a:lnTo>
                      <a:pt x="1266" y="1546"/>
                    </a:lnTo>
                    <a:lnTo>
                      <a:pt x="1264" y="1546"/>
                    </a:lnTo>
                    <a:lnTo>
                      <a:pt x="1264" y="1548"/>
                    </a:lnTo>
                    <a:lnTo>
                      <a:pt x="1263" y="1548"/>
                    </a:lnTo>
                    <a:lnTo>
                      <a:pt x="1261" y="1548"/>
                    </a:lnTo>
                    <a:lnTo>
                      <a:pt x="1263" y="1548"/>
                    </a:lnTo>
                    <a:lnTo>
                      <a:pt x="1264" y="1549"/>
                    </a:lnTo>
                    <a:lnTo>
                      <a:pt x="1266" y="1548"/>
                    </a:lnTo>
                    <a:lnTo>
                      <a:pt x="1268" y="1548"/>
                    </a:lnTo>
                    <a:lnTo>
                      <a:pt x="1270" y="1546"/>
                    </a:lnTo>
                    <a:lnTo>
                      <a:pt x="1271" y="1544"/>
                    </a:lnTo>
                    <a:lnTo>
                      <a:pt x="1273" y="1543"/>
                    </a:lnTo>
                    <a:lnTo>
                      <a:pt x="1271" y="1543"/>
                    </a:lnTo>
                    <a:lnTo>
                      <a:pt x="1271" y="1541"/>
                    </a:lnTo>
                    <a:lnTo>
                      <a:pt x="1271" y="1539"/>
                    </a:lnTo>
                    <a:lnTo>
                      <a:pt x="1273" y="1538"/>
                    </a:lnTo>
                    <a:lnTo>
                      <a:pt x="1271" y="1538"/>
                    </a:lnTo>
                    <a:lnTo>
                      <a:pt x="1271" y="1536"/>
                    </a:lnTo>
                    <a:lnTo>
                      <a:pt x="1271" y="1534"/>
                    </a:lnTo>
                    <a:lnTo>
                      <a:pt x="1273" y="1536"/>
                    </a:lnTo>
                    <a:lnTo>
                      <a:pt x="1271" y="1534"/>
                    </a:lnTo>
                    <a:lnTo>
                      <a:pt x="1271" y="1532"/>
                    </a:lnTo>
                    <a:lnTo>
                      <a:pt x="1273" y="1532"/>
                    </a:lnTo>
                    <a:lnTo>
                      <a:pt x="1273" y="1531"/>
                    </a:lnTo>
                    <a:lnTo>
                      <a:pt x="1273" y="1529"/>
                    </a:lnTo>
                    <a:lnTo>
                      <a:pt x="1275" y="1529"/>
                    </a:lnTo>
                    <a:lnTo>
                      <a:pt x="1276" y="1529"/>
                    </a:lnTo>
                    <a:lnTo>
                      <a:pt x="1278" y="1527"/>
                    </a:lnTo>
                    <a:lnTo>
                      <a:pt x="1280" y="1527"/>
                    </a:lnTo>
                    <a:lnTo>
                      <a:pt x="1280" y="1526"/>
                    </a:lnTo>
                    <a:lnTo>
                      <a:pt x="1281" y="1526"/>
                    </a:lnTo>
                    <a:lnTo>
                      <a:pt x="1283" y="1526"/>
                    </a:lnTo>
                    <a:lnTo>
                      <a:pt x="1285" y="1524"/>
                    </a:lnTo>
                    <a:lnTo>
                      <a:pt x="1287" y="1524"/>
                    </a:lnTo>
                    <a:lnTo>
                      <a:pt x="1287" y="1522"/>
                    </a:lnTo>
                    <a:lnTo>
                      <a:pt x="1287" y="1521"/>
                    </a:lnTo>
                    <a:lnTo>
                      <a:pt x="1288" y="1521"/>
                    </a:lnTo>
                    <a:lnTo>
                      <a:pt x="1288" y="1519"/>
                    </a:lnTo>
                    <a:lnTo>
                      <a:pt x="1290" y="1517"/>
                    </a:lnTo>
                    <a:lnTo>
                      <a:pt x="1290" y="1515"/>
                    </a:lnTo>
                    <a:lnTo>
                      <a:pt x="1292" y="1515"/>
                    </a:lnTo>
                    <a:lnTo>
                      <a:pt x="1292" y="1514"/>
                    </a:lnTo>
                    <a:lnTo>
                      <a:pt x="1293" y="1514"/>
                    </a:lnTo>
                    <a:lnTo>
                      <a:pt x="1293" y="1512"/>
                    </a:lnTo>
                    <a:lnTo>
                      <a:pt x="1293" y="1510"/>
                    </a:lnTo>
                    <a:lnTo>
                      <a:pt x="1293" y="1509"/>
                    </a:lnTo>
                    <a:lnTo>
                      <a:pt x="1293" y="1507"/>
                    </a:lnTo>
                    <a:lnTo>
                      <a:pt x="1292" y="1507"/>
                    </a:lnTo>
                    <a:lnTo>
                      <a:pt x="1290" y="1507"/>
                    </a:lnTo>
                    <a:lnTo>
                      <a:pt x="1290" y="1505"/>
                    </a:lnTo>
                    <a:lnTo>
                      <a:pt x="1288" y="1505"/>
                    </a:lnTo>
                    <a:lnTo>
                      <a:pt x="1287" y="1507"/>
                    </a:lnTo>
                    <a:lnTo>
                      <a:pt x="1285" y="1507"/>
                    </a:lnTo>
                    <a:lnTo>
                      <a:pt x="1285" y="1505"/>
                    </a:lnTo>
                    <a:lnTo>
                      <a:pt x="1285" y="1504"/>
                    </a:lnTo>
                    <a:lnTo>
                      <a:pt x="1285" y="1502"/>
                    </a:lnTo>
                    <a:lnTo>
                      <a:pt x="1283" y="1502"/>
                    </a:lnTo>
                    <a:lnTo>
                      <a:pt x="1283" y="1500"/>
                    </a:lnTo>
                    <a:lnTo>
                      <a:pt x="1281" y="1498"/>
                    </a:lnTo>
                    <a:lnTo>
                      <a:pt x="1281" y="1497"/>
                    </a:lnTo>
                    <a:lnTo>
                      <a:pt x="1280" y="1497"/>
                    </a:lnTo>
                    <a:lnTo>
                      <a:pt x="1280" y="1495"/>
                    </a:lnTo>
                    <a:lnTo>
                      <a:pt x="1280" y="1493"/>
                    </a:lnTo>
                    <a:lnTo>
                      <a:pt x="1278" y="1493"/>
                    </a:lnTo>
                    <a:lnTo>
                      <a:pt x="1276" y="1493"/>
                    </a:lnTo>
                    <a:lnTo>
                      <a:pt x="1275" y="1493"/>
                    </a:lnTo>
                    <a:lnTo>
                      <a:pt x="1273" y="1493"/>
                    </a:lnTo>
                    <a:lnTo>
                      <a:pt x="1271" y="1493"/>
                    </a:lnTo>
                    <a:lnTo>
                      <a:pt x="1270" y="1493"/>
                    </a:lnTo>
                    <a:lnTo>
                      <a:pt x="1270" y="1492"/>
                    </a:lnTo>
                    <a:lnTo>
                      <a:pt x="1268" y="1492"/>
                    </a:lnTo>
                    <a:lnTo>
                      <a:pt x="1266" y="1492"/>
                    </a:lnTo>
                    <a:lnTo>
                      <a:pt x="1264" y="1492"/>
                    </a:lnTo>
                    <a:lnTo>
                      <a:pt x="1264" y="1493"/>
                    </a:lnTo>
                    <a:lnTo>
                      <a:pt x="1263" y="1492"/>
                    </a:lnTo>
                    <a:lnTo>
                      <a:pt x="1263" y="1493"/>
                    </a:lnTo>
                    <a:lnTo>
                      <a:pt x="1263" y="1492"/>
                    </a:lnTo>
                    <a:lnTo>
                      <a:pt x="1263" y="1493"/>
                    </a:lnTo>
                    <a:lnTo>
                      <a:pt x="1261" y="1492"/>
                    </a:lnTo>
                    <a:lnTo>
                      <a:pt x="1259" y="1492"/>
                    </a:lnTo>
                    <a:lnTo>
                      <a:pt x="1261" y="1492"/>
                    </a:lnTo>
                    <a:lnTo>
                      <a:pt x="1259" y="1493"/>
                    </a:lnTo>
                    <a:lnTo>
                      <a:pt x="1259" y="1492"/>
                    </a:lnTo>
                    <a:lnTo>
                      <a:pt x="1259" y="1490"/>
                    </a:lnTo>
                    <a:lnTo>
                      <a:pt x="1259" y="1492"/>
                    </a:lnTo>
                    <a:lnTo>
                      <a:pt x="1258" y="1490"/>
                    </a:lnTo>
                    <a:lnTo>
                      <a:pt x="1258" y="1492"/>
                    </a:lnTo>
                    <a:lnTo>
                      <a:pt x="1256" y="1492"/>
                    </a:lnTo>
                    <a:lnTo>
                      <a:pt x="1254" y="1492"/>
                    </a:lnTo>
                    <a:lnTo>
                      <a:pt x="1253" y="1492"/>
                    </a:lnTo>
                    <a:lnTo>
                      <a:pt x="1253" y="1493"/>
                    </a:lnTo>
                    <a:lnTo>
                      <a:pt x="1251" y="1495"/>
                    </a:lnTo>
                    <a:lnTo>
                      <a:pt x="1249" y="1495"/>
                    </a:lnTo>
                    <a:lnTo>
                      <a:pt x="1249" y="1497"/>
                    </a:lnTo>
                    <a:lnTo>
                      <a:pt x="1251" y="1497"/>
                    </a:lnTo>
                    <a:lnTo>
                      <a:pt x="1249" y="1498"/>
                    </a:lnTo>
                    <a:lnTo>
                      <a:pt x="1247" y="1498"/>
                    </a:lnTo>
                    <a:lnTo>
                      <a:pt x="1247" y="1497"/>
                    </a:lnTo>
                    <a:lnTo>
                      <a:pt x="1246" y="1497"/>
                    </a:lnTo>
                    <a:lnTo>
                      <a:pt x="1244" y="1495"/>
                    </a:lnTo>
                    <a:lnTo>
                      <a:pt x="1246" y="1495"/>
                    </a:lnTo>
                    <a:lnTo>
                      <a:pt x="1246" y="1493"/>
                    </a:lnTo>
                    <a:lnTo>
                      <a:pt x="1247" y="1493"/>
                    </a:lnTo>
                    <a:lnTo>
                      <a:pt x="1247" y="1492"/>
                    </a:lnTo>
                    <a:lnTo>
                      <a:pt x="1249" y="1493"/>
                    </a:lnTo>
                    <a:lnTo>
                      <a:pt x="1251" y="1493"/>
                    </a:lnTo>
                    <a:lnTo>
                      <a:pt x="1251" y="1492"/>
                    </a:lnTo>
                    <a:lnTo>
                      <a:pt x="1251" y="1490"/>
                    </a:lnTo>
                    <a:lnTo>
                      <a:pt x="1249" y="1490"/>
                    </a:lnTo>
                    <a:lnTo>
                      <a:pt x="1249" y="1492"/>
                    </a:lnTo>
                    <a:lnTo>
                      <a:pt x="1247" y="1492"/>
                    </a:lnTo>
                    <a:lnTo>
                      <a:pt x="1246" y="1492"/>
                    </a:lnTo>
                    <a:lnTo>
                      <a:pt x="1246" y="1493"/>
                    </a:lnTo>
                    <a:lnTo>
                      <a:pt x="1244" y="1493"/>
                    </a:lnTo>
                    <a:lnTo>
                      <a:pt x="1244" y="1495"/>
                    </a:lnTo>
                    <a:lnTo>
                      <a:pt x="1242" y="1493"/>
                    </a:lnTo>
                    <a:lnTo>
                      <a:pt x="1242" y="1492"/>
                    </a:lnTo>
                    <a:lnTo>
                      <a:pt x="1244" y="1490"/>
                    </a:lnTo>
                    <a:lnTo>
                      <a:pt x="1242" y="1492"/>
                    </a:lnTo>
                    <a:lnTo>
                      <a:pt x="1241" y="1492"/>
                    </a:lnTo>
                    <a:lnTo>
                      <a:pt x="1241" y="1493"/>
                    </a:lnTo>
                    <a:lnTo>
                      <a:pt x="1239" y="1493"/>
                    </a:lnTo>
                    <a:lnTo>
                      <a:pt x="1237" y="1493"/>
                    </a:lnTo>
                    <a:lnTo>
                      <a:pt x="1236" y="1492"/>
                    </a:lnTo>
                    <a:lnTo>
                      <a:pt x="1234" y="1492"/>
                    </a:lnTo>
                    <a:lnTo>
                      <a:pt x="1236" y="1493"/>
                    </a:lnTo>
                    <a:lnTo>
                      <a:pt x="1234" y="1493"/>
                    </a:lnTo>
                    <a:lnTo>
                      <a:pt x="1236" y="1493"/>
                    </a:lnTo>
                    <a:lnTo>
                      <a:pt x="1234" y="1493"/>
                    </a:lnTo>
                    <a:lnTo>
                      <a:pt x="1234" y="1495"/>
                    </a:lnTo>
                    <a:lnTo>
                      <a:pt x="1236" y="1495"/>
                    </a:lnTo>
                    <a:lnTo>
                      <a:pt x="1234" y="1495"/>
                    </a:lnTo>
                    <a:lnTo>
                      <a:pt x="1232" y="1495"/>
                    </a:lnTo>
                    <a:lnTo>
                      <a:pt x="1234" y="1495"/>
                    </a:lnTo>
                    <a:lnTo>
                      <a:pt x="1234" y="1497"/>
                    </a:lnTo>
                    <a:lnTo>
                      <a:pt x="1234" y="1498"/>
                    </a:lnTo>
                    <a:lnTo>
                      <a:pt x="1234" y="1497"/>
                    </a:lnTo>
                    <a:lnTo>
                      <a:pt x="1236" y="1497"/>
                    </a:lnTo>
                    <a:lnTo>
                      <a:pt x="1236" y="1495"/>
                    </a:lnTo>
                    <a:lnTo>
                      <a:pt x="1237" y="1497"/>
                    </a:lnTo>
                    <a:lnTo>
                      <a:pt x="1236" y="1498"/>
                    </a:lnTo>
                    <a:lnTo>
                      <a:pt x="1237" y="1497"/>
                    </a:lnTo>
                    <a:lnTo>
                      <a:pt x="1239" y="1497"/>
                    </a:lnTo>
                    <a:lnTo>
                      <a:pt x="1237" y="1498"/>
                    </a:lnTo>
                    <a:lnTo>
                      <a:pt x="1239" y="1497"/>
                    </a:lnTo>
                    <a:lnTo>
                      <a:pt x="1239" y="1498"/>
                    </a:lnTo>
                    <a:lnTo>
                      <a:pt x="1241" y="1498"/>
                    </a:lnTo>
                    <a:lnTo>
                      <a:pt x="1241" y="1500"/>
                    </a:lnTo>
                    <a:lnTo>
                      <a:pt x="1239" y="1502"/>
                    </a:lnTo>
                    <a:lnTo>
                      <a:pt x="1239" y="1504"/>
                    </a:lnTo>
                    <a:lnTo>
                      <a:pt x="1237" y="1504"/>
                    </a:lnTo>
                    <a:lnTo>
                      <a:pt x="1236" y="1505"/>
                    </a:lnTo>
                    <a:lnTo>
                      <a:pt x="1236" y="1507"/>
                    </a:lnTo>
                    <a:lnTo>
                      <a:pt x="1234" y="1507"/>
                    </a:lnTo>
                    <a:lnTo>
                      <a:pt x="1232" y="1505"/>
                    </a:lnTo>
                    <a:lnTo>
                      <a:pt x="1232" y="1507"/>
                    </a:lnTo>
                    <a:lnTo>
                      <a:pt x="1232" y="1509"/>
                    </a:lnTo>
                    <a:lnTo>
                      <a:pt x="1230" y="1509"/>
                    </a:lnTo>
                    <a:lnTo>
                      <a:pt x="1229" y="1509"/>
                    </a:lnTo>
                    <a:lnTo>
                      <a:pt x="1229" y="1510"/>
                    </a:lnTo>
                    <a:lnTo>
                      <a:pt x="1230" y="1510"/>
                    </a:lnTo>
                    <a:lnTo>
                      <a:pt x="1230" y="1512"/>
                    </a:lnTo>
                    <a:lnTo>
                      <a:pt x="1232" y="1512"/>
                    </a:lnTo>
                    <a:lnTo>
                      <a:pt x="1230" y="1514"/>
                    </a:lnTo>
                    <a:lnTo>
                      <a:pt x="1232" y="1515"/>
                    </a:lnTo>
                    <a:lnTo>
                      <a:pt x="1230" y="1515"/>
                    </a:lnTo>
                    <a:lnTo>
                      <a:pt x="1232" y="1515"/>
                    </a:lnTo>
                    <a:lnTo>
                      <a:pt x="1232" y="1517"/>
                    </a:lnTo>
                    <a:lnTo>
                      <a:pt x="1230" y="1517"/>
                    </a:lnTo>
                    <a:lnTo>
                      <a:pt x="1230" y="1519"/>
                    </a:lnTo>
                    <a:lnTo>
                      <a:pt x="1232" y="1519"/>
                    </a:lnTo>
                    <a:lnTo>
                      <a:pt x="1230" y="1521"/>
                    </a:lnTo>
                    <a:lnTo>
                      <a:pt x="1230" y="1522"/>
                    </a:lnTo>
                    <a:lnTo>
                      <a:pt x="1229" y="1521"/>
                    </a:lnTo>
                    <a:lnTo>
                      <a:pt x="1229" y="1522"/>
                    </a:lnTo>
                    <a:lnTo>
                      <a:pt x="1227" y="1522"/>
                    </a:lnTo>
                    <a:lnTo>
                      <a:pt x="1227" y="1524"/>
                    </a:lnTo>
                    <a:lnTo>
                      <a:pt x="1225" y="1524"/>
                    </a:lnTo>
                    <a:lnTo>
                      <a:pt x="1225" y="1522"/>
                    </a:lnTo>
                    <a:lnTo>
                      <a:pt x="1224" y="1521"/>
                    </a:lnTo>
                    <a:lnTo>
                      <a:pt x="1225" y="1521"/>
                    </a:lnTo>
                    <a:lnTo>
                      <a:pt x="1225" y="1519"/>
                    </a:lnTo>
                    <a:lnTo>
                      <a:pt x="1224" y="1519"/>
                    </a:lnTo>
                    <a:lnTo>
                      <a:pt x="1224" y="1521"/>
                    </a:lnTo>
                    <a:lnTo>
                      <a:pt x="1224" y="1522"/>
                    </a:lnTo>
                    <a:lnTo>
                      <a:pt x="1224" y="1524"/>
                    </a:lnTo>
                    <a:lnTo>
                      <a:pt x="1222" y="1522"/>
                    </a:lnTo>
                    <a:lnTo>
                      <a:pt x="1220" y="1522"/>
                    </a:lnTo>
                    <a:lnTo>
                      <a:pt x="1219" y="1522"/>
                    </a:lnTo>
                    <a:lnTo>
                      <a:pt x="1219" y="1521"/>
                    </a:lnTo>
                    <a:lnTo>
                      <a:pt x="1217" y="1521"/>
                    </a:lnTo>
                    <a:lnTo>
                      <a:pt x="1219" y="1521"/>
                    </a:lnTo>
                    <a:lnTo>
                      <a:pt x="1217" y="1521"/>
                    </a:lnTo>
                    <a:lnTo>
                      <a:pt x="1215" y="1519"/>
                    </a:lnTo>
                    <a:lnTo>
                      <a:pt x="1217" y="1517"/>
                    </a:lnTo>
                    <a:lnTo>
                      <a:pt x="1219" y="1517"/>
                    </a:lnTo>
                    <a:lnTo>
                      <a:pt x="1219" y="1519"/>
                    </a:lnTo>
                    <a:lnTo>
                      <a:pt x="1220" y="1517"/>
                    </a:lnTo>
                    <a:lnTo>
                      <a:pt x="1219" y="1517"/>
                    </a:lnTo>
                    <a:lnTo>
                      <a:pt x="1217" y="1515"/>
                    </a:lnTo>
                    <a:lnTo>
                      <a:pt x="1219" y="1515"/>
                    </a:lnTo>
                    <a:lnTo>
                      <a:pt x="1220" y="1515"/>
                    </a:lnTo>
                    <a:lnTo>
                      <a:pt x="1222" y="1515"/>
                    </a:lnTo>
                    <a:lnTo>
                      <a:pt x="1222" y="1517"/>
                    </a:lnTo>
                    <a:lnTo>
                      <a:pt x="1222" y="1515"/>
                    </a:lnTo>
                    <a:lnTo>
                      <a:pt x="1220" y="1515"/>
                    </a:lnTo>
                    <a:lnTo>
                      <a:pt x="1222" y="1514"/>
                    </a:lnTo>
                    <a:lnTo>
                      <a:pt x="1222" y="1512"/>
                    </a:lnTo>
                    <a:lnTo>
                      <a:pt x="1224" y="1512"/>
                    </a:lnTo>
                    <a:lnTo>
                      <a:pt x="1224" y="1514"/>
                    </a:lnTo>
                    <a:lnTo>
                      <a:pt x="1225" y="1514"/>
                    </a:lnTo>
                    <a:lnTo>
                      <a:pt x="1224" y="1512"/>
                    </a:lnTo>
                    <a:lnTo>
                      <a:pt x="1222" y="1512"/>
                    </a:lnTo>
                    <a:lnTo>
                      <a:pt x="1222" y="1514"/>
                    </a:lnTo>
                    <a:lnTo>
                      <a:pt x="1220" y="1514"/>
                    </a:lnTo>
                    <a:lnTo>
                      <a:pt x="1220" y="1512"/>
                    </a:lnTo>
                    <a:lnTo>
                      <a:pt x="1219" y="1514"/>
                    </a:lnTo>
                    <a:lnTo>
                      <a:pt x="1219" y="1512"/>
                    </a:lnTo>
                    <a:lnTo>
                      <a:pt x="1219" y="1514"/>
                    </a:lnTo>
                    <a:lnTo>
                      <a:pt x="1219" y="1512"/>
                    </a:lnTo>
                    <a:lnTo>
                      <a:pt x="1217" y="1512"/>
                    </a:lnTo>
                    <a:lnTo>
                      <a:pt x="1219" y="1514"/>
                    </a:lnTo>
                    <a:lnTo>
                      <a:pt x="1217" y="1514"/>
                    </a:lnTo>
                    <a:lnTo>
                      <a:pt x="1219" y="1515"/>
                    </a:lnTo>
                    <a:lnTo>
                      <a:pt x="1217" y="1515"/>
                    </a:lnTo>
                    <a:lnTo>
                      <a:pt x="1215" y="1515"/>
                    </a:lnTo>
                    <a:lnTo>
                      <a:pt x="1213" y="1515"/>
                    </a:lnTo>
                    <a:lnTo>
                      <a:pt x="1213" y="1514"/>
                    </a:lnTo>
                    <a:lnTo>
                      <a:pt x="1215" y="1514"/>
                    </a:lnTo>
                    <a:lnTo>
                      <a:pt x="1217" y="1514"/>
                    </a:lnTo>
                    <a:lnTo>
                      <a:pt x="1215" y="1512"/>
                    </a:lnTo>
                    <a:lnTo>
                      <a:pt x="1213" y="1512"/>
                    </a:lnTo>
                    <a:lnTo>
                      <a:pt x="1215" y="1514"/>
                    </a:lnTo>
                    <a:lnTo>
                      <a:pt x="1213" y="1514"/>
                    </a:lnTo>
                    <a:lnTo>
                      <a:pt x="1213" y="1512"/>
                    </a:lnTo>
                    <a:lnTo>
                      <a:pt x="1212" y="1512"/>
                    </a:lnTo>
                    <a:lnTo>
                      <a:pt x="1210" y="1512"/>
                    </a:lnTo>
                    <a:lnTo>
                      <a:pt x="1208" y="1512"/>
                    </a:lnTo>
                    <a:lnTo>
                      <a:pt x="1207" y="1512"/>
                    </a:lnTo>
                    <a:lnTo>
                      <a:pt x="1205" y="1514"/>
                    </a:lnTo>
                    <a:lnTo>
                      <a:pt x="1203" y="1514"/>
                    </a:lnTo>
                    <a:lnTo>
                      <a:pt x="1203" y="1512"/>
                    </a:lnTo>
                    <a:lnTo>
                      <a:pt x="1205" y="1512"/>
                    </a:lnTo>
                    <a:lnTo>
                      <a:pt x="1205" y="1510"/>
                    </a:lnTo>
                    <a:lnTo>
                      <a:pt x="1207" y="1510"/>
                    </a:lnTo>
                    <a:lnTo>
                      <a:pt x="1208" y="1509"/>
                    </a:lnTo>
                    <a:lnTo>
                      <a:pt x="1208" y="1510"/>
                    </a:lnTo>
                    <a:lnTo>
                      <a:pt x="1210" y="1510"/>
                    </a:lnTo>
                    <a:lnTo>
                      <a:pt x="1208" y="1509"/>
                    </a:lnTo>
                    <a:lnTo>
                      <a:pt x="1210" y="1509"/>
                    </a:lnTo>
                    <a:lnTo>
                      <a:pt x="1212" y="1510"/>
                    </a:lnTo>
                    <a:lnTo>
                      <a:pt x="1212" y="1509"/>
                    </a:lnTo>
                    <a:lnTo>
                      <a:pt x="1212" y="1510"/>
                    </a:lnTo>
                    <a:lnTo>
                      <a:pt x="1213" y="1510"/>
                    </a:lnTo>
                    <a:lnTo>
                      <a:pt x="1215" y="1510"/>
                    </a:lnTo>
                    <a:lnTo>
                      <a:pt x="1215" y="1512"/>
                    </a:lnTo>
                    <a:lnTo>
                      <a:pt x="1217" y="1510"/>
                    </a:lnTo>
                    <a:lnTo>
                      <a:pt x="1217" y="1512"/>
                    </a:lnTo>
                    <a:lnTo>
                      <a:pt x="1219" y="1512"/>
                    </a:lnTo>
                    <a:lnTo>
                      <a:pt x="1219" y="1510"/>
                    </a:lnTo>
                    <a:lnTo>
                      <a:pt x="1217" y="1510"/>
                    </a:lnTo>
                    <a:lnTo>
                      <a:pt x="1215" y="1510"/>
                    </a:lnTo>
                    <a:lnTo>
                      <a:pt x="1213" y="1510"/>
                    </a:lnTo>
                    <a:lnTo>
                      <a:pt x="1212" y="1509"/>
                    </a:lnTo>
                    <a:lnTo>
                      <a:pt x="1213" y="1509"/>
                    </a:lnTo>
                    <a:lnTo>
                      <a:pt x="1213" y="1510"/>
                    </a:lnTo>
                    <a:lnTo>
                      <a:pt x="1213" y="1509"/>
                    </a:lnTo>
                    <a:lnTo>
                      <a:pt x="1212" y="1509"/>
                    </a:lnTo>
                    <a:lnTo>
                      <a:pt x="1213" y="1509"/>
                    </a:lnTo>
                    <a:lnTo>
                      <a:pt x="1212" y="1507"/>
                    </a:lnTo>
                    <a:lnTo>
                      <a:pt x="1210" y="1507"/>
                    </a:lnTo>
                    <a:lnTo>
                      <a:pt x="1212" y="1507"/>
                    </a:lnTo>
                    <a:lnTo>
                      <a:pt x="1212" y="1505"/>
                    </a:lnTo>
                    <a:lnTo>
                      <a:pt x="1213" y="1505"/>
                    </a:lnTo>
                    <a:lnTo>
                      <a:pt x="1213" y="1507"/>
                    </a:lnTo>
                    <a:lnTo>
                      <a:pt x="1215" y="1507"/>
                    </a:lnTo>
                    <a:lnTo>
                      <a:pt x="1215" y="1509"/>
                    </a:lnTo>
                    <a:lnTo>
                      <a:pt x="1213" y="1509"/>
                    </a:lnTo>
                    <a:lnTo>
                      <a:pt x="1215" y="1509"/>
                    </a:lnTo>
                    <a:lnTo>
                      <a:pt x="1215" y="1507"/>
                    </a:lnTo>
                    <a:lnTo>
                      <a:pt x="1217" y="1505"/>
                    </a:lnTo>
                    <a:lnTo>
                      <a:pt x="1219" y="1507"/>
                    </a:lnTo>
                    <a:lnTo>
                      <a:pt x="1217" y="1507"/>
                    </a:lnTo>
                    <a:lnTo>
                      <a:pt x="1217" y="1509"/>
                    </a:lnTo>
                    <a:lnTo>
                      <a:pt x="1219" y="1509"/>
                    </a:lnTo>
                    <a:lnTo>
                      <a:pt x="1219" y="1507"/>
                    </a:lnTo>
                    <a:lnTo>
                      <a:pt x="1220" y="1509"/>
                    </a:lnTo>
                    <a:lnTo>
                      <a:pt x="1219" y="1507"/>
                    </a:lnTo>
                    <a:lnTo>
                      <a:pt x="1220" y="1507"/>
                    </a:lnTo>
                    <a:lnTo>
                      <a:pt x="1222" y="1507"/>
                    </a:lnTo>
                    <a:lnTo>
                      <a:pt x="1222" y="1505"/>
                    </a:lnTo>
                    <a:lnTo>
                      <a:pt x="1222" y="1504"/>
                    </a:lnTo>
                    <a:lnTo>
                      <a:pt x="1220" y="1505"/>
                    </a:lnTo>
                    <a:lnTo>
                      <a:pt x="1220" y="1504"/>
                    </a:lnTo>
                    <a:lnTo>
                      <a:pt x="1220" y="1502"/>
                    </a:lnTo>
                    <a:lnTo>
                      <a:pt x="1220" y="1504"/>
                    </a:lnTo>
                    <a:lnTo>
                      <a:pt x="1222" y="1504"/>
                    </a:lnTo>
                    <a:lnTo>
                      <a:pt x="1220" y="1502"/>
                    </a:lnTo>
                    <a:lnTo>
                      <a:pt x="1222" y="1502"/>
                    </a:lnTo>
                    <a:lnTo>
                      <a:pt x="1222" y="1500"/>
                    </a:lnTo>
                    <a:lnTo>
                      <a:pt x="1220" y="1500"/>
                    </a:lnTo>
                    <a:lnTo>
                      <a:pt x="1219" y="1500"/>
                    </a:lnTo>
                    <a:lnTo>
                      <a:pt x="1219" y="1498"/>
                    </a:lnTo>
                    <a:lnTo>
                      <a:pt x="1219" y="1497"/>
                    </a:lnTo>
                    <a:lnTo>
                      <a:pt x="1220" y="1497"/>
                    </a:lnTo>
                    <a:lnTo>
                      <a:pt x="1219" y="1497"/>
                    </a:lnTo>
                    <a:lnTo>
                      <a:pt x="1219" y="1495"/>
                    </a:lnTo>
                    <a:lnTo>
                      <a:pt x="1217" y="1495"/>
                    </a:lnTo>
                    <a:lnTo>
                      <a:pt x="1217" y="1493"/>
                    </a:lnTo>
                    <a:lnTo>
                      <a:pt x="1217" y="1495"/>
                    </a:lnTo>
                    <a:lnTo>
                      <a:pt x="1219" y="1495"/>
                    </a:lnTo>
                    <a:lnTo>
                      <a:pt x="1217" y="1495"/>
                    </a:lnTo>
                    <a:lnTo>
                      <a:pt x="1219" y="1497"/>
                    </a:lnTo>
                    <a:lnTo>
                      <a:pt x="1219" y="1498"/>
                    </a:lnTo>
                    <a:lnTo>
                      <a:pt x="1217" y="1498"/>
                    </a:lnTo>
                    <a:lnTo>
                      <a:pt x="1217" y="1500"/>
                    </a:lnTo>
                    <a:lnTo>
                      <a:pt x="1217" y="1498"/>
                    </a:lnTo>
                    <a:lnTo>
                      <a:pt x="1215" y="1500"/>
                    </a:lnTo>
                    <a:lnTo>
                      <a:pt x="1215" y="1498"/>
                    </a:lnTo>
                    <a:lnTo>
                      <a:pt x="1215" y="1500"/>
                    </a:lnTo>
                    <a:lnTo>
                      <a:pt x="1215" y="1498"/>
                    </a:lnTo>
                    <a:lnTo>
                      <a:pt x="1215" y="1500"/>
                    </a:lnTo>
                    <a:lnTo>
                      <a:pt x="1213" y="1498"/>
                    </a:lnTo>
                    <a:lnTo>
                      <a:pt x="1213" y="1500"/>
                    </a:lnTo>
                    <a:lnTo>
                      <a:pt x="1212" y="1498"/>
                    </a:lnTo>
                    <a:lnTo>
                      <a:pt x="1212" y="1500"/>
                    </a:lnTo>
                    <a:lnTo>
                      <a:pt x="1213" y="1500"/>
                    </a:lnTo>
                    <a:lnTo>
                      <a:pt x="1213" y="1502"/>
                    </a:lnTo>
                    <a:lnTo>
                      <a:pt x="1213" y="1500"/>
                    </a:lnTo>
                    <a:lnTo>
                      <a:pt x="1212" y="1500"/>
                    </a:lnTo>
                    <a:lnTo>
                      <a:pt x="1212" y="1502"/>
                    </a:lnTo>
                    <a:lnTo>
                      <a:pt x="1210" y="1502"/>
                    </a:lnTo>
                    <a:lnTo>
                      <a:pt x="1212" y="1502"/>
                    </a:lnTo>
                    <a:lnTo>
                      <a:pt x="1210" y="1504"/>
                    </a:lnTo>
                    <a:lnTo>
                      <a:pt x="1210" y="1502"/>
                    </a:lnTo>
                    <a:lnTo>
                      <a:pt x="1210" y="1504"/>
                    </a:lnTo>
                    <a:lnTo>
                      <a:pt x="1210" y="1502"/>
                    </a:lnTo>
                    <a:lnTo>
                      <a:pt x="1208" y="1502"/>
                    </a:lnTo>
                    <a:lnTo>
                      <a:pt x="1208" y="1504"/>
                    </a:lnTo>
                    <a:lnTo>
                      <a:pt x="1208" y="1505"/>
                    </a:lnTo>
                    <a:lnTo>
                      <a:pt x="1207" y="1505"/>
                    </a:lnTo>
                    <a:lnTo>
                      <a:pt x="1208" y="1505"/>
                    </a:lnTo>
                    <a:lnTo>
                      <a:pt x="1207" y="1505"/>
                    </a:lnTo>
                    <a:lnTo>
                      <a:pt x="1207" y="1504"/>
                    </a:lnTo>
                    <a:lnTo>
                      <a:pt x="1208" y="1504"/>
                    </a:lnTo>
                    <a:lnTo>
                      <a:pt x="1207" y="1504"/>
                    </a:lnTo>
                    <a:lnTo>
                      <a:pt x="1205" y="1504"/>
                    </a:lnTo>
                    <a:lnTo>
                      <a:pt x="1207" y="1502"/>
                    </a:lnTo>
                    <a:lnTo>
                      <a:pt x="1208" y="1502"/>
                    </a:lnTo>
                    <a:lnTo>
                      <a:pt x="1208" y="1500"/>
                    </a:lnTo>
                    <a:lnTo>
                      <a:pt x="1208" y="1498"/>
                    </a:lnTo>
                    <a:lnTo>
                      <a:pt x="1208" y="1500"/>
                    </a:lnTo>
                    <a:lnTo>
                      <a:pt x="1210" y="1498"/>
                    </a:lnTo>
                    <a:lnTo>
                      <a:pt x="1208" y="1500"/>
                    </a:lnTo>
                    <a:lnTo>
                      <a:pt x="1210" y="1500"/>
                    </a:lnTo>
                    <a:lnTo>
                      <a:pt x="1210" y="1498"/>
                    </a:lnTo>
                    <a:lnTo>
                      <a:pt x="1212" y="1498"/>
                    </a:lnTo>
                    <a:lnTo>
                      <a:pt x="1210" y="1498"/>
                    </a:lnTo>
                    <a:lnTo>
                      <a:pt x="1208" y="1498"/>
                    </a:lnTo>
                    <a:lnTo>
                      <a:pt x="1208" y="1497"/>
                    </a:lnTo>
                    <a:lnTo>
                      <a:pt x="1207" y="1497"/>
                    </a:lnTo>
                    <a:lnTo>
                      <a:pt x="1208" y="1497"/>
                    </a:lnTo>
                    <a:lnTo>
                      <a:pt x="1207" y="1497"/>
                    </a:lnTo>
                    <a:lnTo>
                      <a:pt x="1208" y="1495"/>
                    </a:lnTo>
                    <a:lnTo>
                      <a:pt x="1210" y="1495"/>
                    </a:lnTo>
                    <a:lnTo>
                      <a:pt x="1208" y="1495"/>
                    </a:lnTo>
                    <a:lnTo>
                      <a:pt x="1210" y="1493"/>
                    </a:lnTo>
                    <a:lnTo>
                      <a:pt x="1210" y="1495"/>
                    </a:lnTo>
                    <a:lnTo>
                      <a:pt x="1212" y="1495"/>
                    </a:lnTo>
                    <a:lnTo>
                      <a:pt x="1210" y="1493"/>
                    </a:lnTo>
                    <a:lnTo>
                      <a:pt x="1208" y="1492"/>
                    </a:lnTo>
                    <a:lnTo>
                      <a:pt x="1210" y="1493"/>
                    </a:lnTo>
                    <a:lnTo>
                      <a:pt x="1212" y="1493"/>
                    </a:lnTo>
                    <a:lnTo>
                      <a:pt x="1212" y="1495"/>
                    </a:lnTo>
                    <a:lnTo>
                      <a:pt x="1212" y="1493"/>
                    </a:lnTo>
                    <a:lnTo>
                      <a:pt x="1212" y="1492"/>
                    </a:lnTo>
                    <a:lnTo>
                      <a:pt x="1210" y="1492"/>
                    </a:lnTo>
                    <a:lnTo>
                      <a:pt x="1212" y="1490"/>
                    </a:lnTo>
                    <a:lnTo>
                      <a:pt x="1212" y="1488"/>
                    </a:lnTo>
                    <a:lnTo>
                      <a:pt x="1212" y="1490"/>
                    </a:lnTo>
                    <a:lnTo>
                      <a:pt x="1213" y="1490"/>
                    </a:lnTo>
                    <a:lnTo>
                      <a:pt x="1215" y="1490"/>
                    </a:lnTo>
                    <a:lnTo>
                      <a:pt x="1215" y="1488"/>
                    </a:lnTo>
                    <a:lnTo>
                      <a:pt x="1213" y="1488"/>
                    </a:lnTo>
                    <a:lnTo>
                      <a:pt x="1212" y="1488"/>
                    </a:lnTo>
                    <a:lnTo>
                      <a:pt x="1212" y="1487"/>
                    </a:lnTo>
                    <a:lnTo>
                      <a:pt x="1213" y="1487"/>
                    </a:lnTo>
                    <a:lnTo>
                      <a:pt x="1213" y="1485"/>
                    </a:lnTo>
                    <a:lnTo>
                      <a:pt x="1212" y="1487"/>
                    </a:lnTo>
                    <a:lnTo>
                      <a:pt x="1212" y="1488"/>
                    </a:lnTo>
                    <a:lnTo>
                      <a:pt x="1210" y="1488"/>
                    </a:lnTo>
                    <a:lnTo>
                      <a:pt x="1210" y="1487"/>
                    </a:lnTo>
                    <a:lnTo>
                      <a:pt x="1208" y="1487"/>
                    </a:lnTo>
                    <a:lnTo>
                      <a:pt x="1208" y="1485"/>
                    </a:lnTo>
                    <a:lnTo>
                      <a:pt x="1208" y="1483"/>
                    </a:lnTo>
                    <a:lnTo>
                      <a:pt x="1210" y="1483"/>
                    </a:lnTo>
                    <a:lnTo>
                      <a:pt x="1210" y="1485"/>
                    </a:lnTo>
                    <a:lnTo>
                      <a:pt x="1212" y="1483"/>
                    </a:lnTo>
                    <a:lnTo>
                      <a:pt x="1210" y="1481"/>
                    </a:lnTo>
                    <a:lnTo>
                      <a:pt x="1212" y="1481"/>
                    </a:lnTo>
                    <a:lnTo>
                      <a:pt x="1210" y="1481"/>
                    </a:lnTo>
                    <a:lnTo>
                      <a:pt x="1212" y="1481"/>
                    </a:lnTo>
                    <a:lnTo>
                      <a:pt x="1212" y="1480"/>
                    </a:lnTo>
                    <a:lnTo>
                      <a:pt x="1210" y="1480"/>
                    </a:lnTo>
                    <a:lnTo>
                      <a:pt x="1210" y="1478"/>
                    </a:lnTo>
                    <a:lnTo>
                      <a:pt x="1210" y="1476"/>
                    </a:lnTo>
                    <a:lnTo>
                      <a:pt x="1212" y="1475"/>
                    </a:lnTo>
                    <a:lnTo>
                      <a:pt x="1212" y="1473"/>
                    </a:lnTo>
                    <a:lnTo>
                      <a:pt x="1210" y="1473"/>
                    </a:lnTo>
                    <a:lnTo>
                      <a:pt x="1210" y="1471"/>
                    </a:lnTo>
                    <a:lnTo>
                      <a:pt x="1208" y="1471"/>
                    </a:lnTo>
                    <a:lnTo>
                      <a:pt x="1208" y="1470"/>
                    </a:lnTo>
                    <a:lnTo>
                      <a:pt x="1207" y="1468"/>
                    </a:lnTo>
                    <a:lnTo>
                      <a:pt x="1207" y="1466"/>
                    </a:lnTo>
                    <a:lnTo>
                      <a:pt x="1205" y="1466"/>
                    </a:lnTo>
                    <a:lnTo>
                      <a:pt x="1205" y="1464"/>
                    </a:lnTo>
                    <a:lnTo>
                      <a:pt x="1207" y="1463"/>
                    </a:lnTo>
                    <a:lnTo>
                      <a:pt x="1208" y="1464"/>
                    </a:lnTo>
                    <a:lnTo>
                      <a:pt x="1207" y="1466"/>
                    </a:lnTo>
                    <a:lnTo>
                      <a:pt x="1208" y="1466"/>
                    </a:lnTo>
                    <a:lnTo>
                      <a:pt x="1208" y="1468"/>
                    </a:lnTo>
                    <a:lnTo>
                      <a:pt x="1210" y="1468"/>
                    </a:lnTo>
                    <a:lnTo>
                      <a:pt x="1210" y="1470"/>
                    </a:lnTo>
                    <a:lnTo>
                      <a:pt x="1210" y="1471"/>
                    </a:lnTo>
                    <a:lnTo>
                      <a:pt x="1210" y="1470"/>
                    </a:lnTo>
                    <a:lnTo>
                      <a:pt x="1212" y="1470"/>
                    </a:lnTo>
                    <a:lnTo>
                      <a:pt x="1212" y="1471"/>
                    </a:lnTo>
                    <a:lnTo>
                      <a:pt x="1212" y="1473"/>
                    </a:lnTo>
                    <a:lnTo>
                      <a:pt x="1213" y="1473"/>
                    </a:lnTo>
                    <a:lnTo>
                      <a:pt x="1213" y="1471"/>
                    </a:lnTo>
                    <a:lnTo>
                      <a:pt x="1213" y="1470"/>
                    </a:lnTo>
                    <a:lnTo>
                      <a:pt x="1212" y="1470"/>
                    </a:lnTo>
                    <a:lnTo>
                      <a:pt x="1213" y="1470"/>
                    </a:lnTo>
                    <a:lnTo>
                      <a:pt x="1215" y="1470"/>
                    </a:lnTo>
                    <a:lnTo>
                      <a:pt x="1217" y="1471"/>
                    </a:lnTo>
                    <a:lnTo>
                      <a:pt x="1217" y="1473"/>
                    </a:lnTo>
                    <a:lnTo>
                      <a:pt x="1219" y="1475"/>
                    </a:lnTo>
                    <a:lnTo>
                      <a:pt x="1219" y="1473"/>
                    </a:lnTo>
                    <a:lnTo>
                      <a:pt x="1220" y="1473"/>
                    </a:lnTo>
                    <a:lnTo>
                      <a:pt x="1222" y="1473"/>
                    </a:lnTo>
                    <a:lnTo>
                      <a:pt x="1222" y="1471"/>
                    </a:lnTo>
                    <a:lnTo>
                      <a:pt x="1222" y="1470"/>
                    </a:lnTo>
                    <a:lnTo>
                      <a:pt x="1222" y="1468"/>
                    </a:lnTo>
                    <a:lnTo>
                      <a:pt x="1224" y="1468"/>
                    </a:lnTo>
                    <a:lnTo>
                      <a:pt x="1225" y="1470"/>
                    </a:lnTo>
                    <a:lnTo>
                      <a:pt x="1225" y="1468"/>
                    </a:lnTo>
                    <a:lnTo>
                      <a:pt x="1227" y="1466"/>
                    </a:lnTo>
                    <a:lnTo>
                      <a:pt x="1229" y="1466"/>
                    </a:lnTo>
                    <a:lnTo>
                      <a:pt x="1230" y="1464"/>
                    </a:lnTo>
                    <a:lnTo>
                      <a:pt x="1230" y="1466"/>
                    </a:lnTo>
                    <a:lnTo>
                      <a:pt x="1229" y="1466"/>
                    </a:lnTo>
                    <a:lnTo>
                      <a:pt x="1229" y="1468"/>
                    </a:lnTo>
                    <a:lnTo>
                      <a:pt x="1230" y="1470"/>
                    </a:lnTo>
                    <a:lnTo>
                      <a:pt x="1229" y="1470"/>
                    </a:lnTo>
                    <a:lnTo>
                      <a:pt x="1227" y="1470"/>
                    </a:lnTo>
                    <a:lnTo>
                      <a:pt x="1229" y="1471"/>
                    </a:lnTo>
                    <a:lnTo>
                      <a:pt x="1227" y="1471"/>
                    </a:lnTo>
                    <a:lnTo>
                      <a:pt x="1227" y="1473"/>
                    </a:lnTo>
                    <a:lnTo>
                      <a:pt x="1227" y="1475"/>
                    </a:lnTo>
                    <a:lnTo>
                      <a:pt x="1225" y="1475"/>
                    </a:lnTo>
                    <a:lnTo>
                      <a:pt x="1227" y="1475"/>
                    </a:lnTo>
                    <a:lnTo>
                      <a:pt x="1227" y="1473"/>
                    </a:lnTo>
                    <a:lnTo>
                      <a:pt x="1229" y="1471"/>
                    </a:lnTo>
                    <a:lnTo>
                      <a:pt x="1230" y="1471"/>
                    </a:lnTo>
                    <a:lnTo>
                      <a:pt x="1230" y="1473"/>
                    </a:lnTo>
                    <a:lnTo>
                      <a:pt x="1232" y="1473"/>
                    </a:lnTo>
                    <a:lnTo>
                      <a:pt x="1232" y="1475"/>
                    </a:lnTo>
                    <a:lnTo>
                      <a:pt x="1232" y="1476"/>
                    </a:lnTo>
                    <a:lnTo>
                      <a:pt x="1230" y="1476"/>
                    </a:lnTo>
                    <a:lnTo>
                      <a:pt x="1230" y="1478"/>
                    </a:lnTo>
                    <a:lnTo>
                      <a:pt x="1232" y="1478"/>
                    </a:lnTo>
                    <a:lnTo>
                      <a:pt x="1234" y="1478"/>
                    </a:lnTo>
                    <a:lnTo>
                      <a:pt x="1232" y="1476"/>
                    </a:lnTo>
                    <a:lnTo>
                      <a:pt x="1234" y="1476"/>
                    </a:lnTo>
                    <a:lnTo>
                      <a:pt x="1234" y="1478"/>
                    </a:lnTo>
                    <a:lnTo>
                      <a:pt x="1234" y="1476"/>
                    </a:lnTo>
                    <a:lnTo>
                      <a:pt x="1234" y="1475"/>
                    </a:lnTo>
                    <a:lnTo>
                      <a:pt x="1234" y="1473"/>
                    </a:lnTo>
                    <a:lnTo>
                      <a:pt x="1236" y="1473"/>
                    </a:lnTo>
                    <a:lnTo>
                      <a:pt x="1236" y="1471"/>
                    </a:lnTo>
                    <a:lnTo>
                      <a:pt x="1236" y="1470"/>
                    </a:lnTo>
                    <a:lnTo>
                      <a:pt x="1236" y="1468"/>
                    </a:lnTo>
                    <a:lnTo>
                      <a:pt x="1237" y="1468"/>
                    </a:lnTo>
                    <a:lnTo>
                      <a:pt x="1236" y="1466"/>
                    </a:lnTo>
                    <a:lnTo>
                      <a:pt x="1237" y="1468"/>
                    </a:lnTo>
                    <a:lnTo>
                      <a:pt x="1237" y="1466"/>
                    </a:lnTo>
                    <a:lnTo>
                      <a:pt x="1239" y="1466"/>
                    </a:lnTo>
                    <a:lnTo>
                      <a:pt x="1237" y="1464"/>
                    </a:lnTo>
                    <a:lnTo>
                      <a:pt x="1237" y="1466"/>
                    </a:lnTo>
                    <a:lnTo>
                      <a:pt x="1236" y="1466"/>
                    </a:lnTo>
                    <a:lnTo>
                      <a:pt x="1236" y="1468"/>
                    </a:lnTo>
                    <a:lnTo>
                      <a:pt x="1234" y="1470"/>
                    </a:lnTo>
                    <a:lnTo>
                      <a:pt x="1234" y="1471"/>
                    </a:lnTo>
                    <a:lnTo>
                      <a:pt x="1234" y="1473"/>
                    </a:lnTo>
                    <a:lnTo>
                      <a:pt x="1232" y="1475"/>
                    </a:lnTo>
                    <a:lnTo>
                      <a:pt x="1232" y="1473"/>
                    </a:lnTo>
                    <a:lnTo>
                      <a:pt x="1232" y="1471"/>
                    </a:lnTo>
                    <a:lnTo>
                      <a:pt x="1230" y="1471"/>
                    </a:lnTo>
                    <a:lnTo>
                      <a:pt x="1230" y="1470"/>
                    </a:lnTo>
                    <a:lnTo>
                      <a:pt x="1230" y="1468"/>
                    </a:lnTo>
                    <a:lnTo>
                      <a:pt x="1230" y="1466"/>
                    </a:lnTo>
                    <a:lnTo>
                      <a:pt x="1232" y="1466"/>
                    </a:lnTo>
                    <a:lnTo>
                      <a:pt x="1230" y="1466"/>
                    </a:lnTo>
                    <a:lnTo>
                      <a:pt x="1232" y="1464"/>
                    </a:lnTo>
                    <a:lnTo>
                      <a:pt x="1232" y="1466"/>
                    </a:lnTo>
                    <a:lnTo>
                      <a:pt x="1234" y="1466"/>
                    </a:lnTo>
                    <a:lnTo>
                      <a:pt x="1234" y="1464"/>
                    </a:lnTo>
                    <a:lnTo>
                      <a:pt x="1234" y="1463"/>
                    </a:lnTo>
                    <a:lnTo>
                      <a:pt x="1234" y="1461"/>
                    </a:lnTo>
                    <a:lnTo>
                      <a:pt x="1234" y="1459"/>
                    </a:lnTo>
                    <a:lnTo>
                      <a:pt x="1236" y="1459"/>
                    </a:lnTo>
                    <a:lnTo>
                      <a:pt x="1237" y="1459"/>
                    </a:lnTo>
                    <a:lnTo>
                      <a:pt x="1239" y="1459"/>
                    </a:lnTo>
                    <a:lnTo>
                      <a:pt x="1239" y="1461"/>
                    </a:lnTo>
                    <a:lnTo>
                      <a:pt x="1239" y="1463"/>
                    </a:lnTo>
                    <a:lnTo>
                      <a:pt x="1239" y="1464"/>
                    </a:lnTo>
                    <a:lnTo>
                      <a:pt x="1239" y="1466"/>
                    </a:lnTo>
                    <a:lnTo>
                      <a:pt x="1241" y="1468"/>
                    </a:lnTo>
                    <a:lnTo>
                      <a:pt x="1241" y="1470"/>
                    </a:lnTo>
                    <a:lnTo>
                      <a:pt x="1242" y="1470"/>
                    </a:lnTo>
                    <a:lnTo>
                      <a:pt x="1242" y="1468"/>
                    </a:lnTo>
                    <a:lnTo>
                      <a:pt x="1244" y="1470"/>
                    </a:lnTo>
                    <a:lnTo>
                      <a:pt x="1244" y="1471"/>
                    </a:lnTo>
                    <a:lnTo>
                      <a:pt x="1244" y="1473"/>
                    </a:lnTo>
                    <a:lnTo>
                      <a:pt x="1246" y="1473"/>
                    </a:lnTo>
                    <a:lnTo>
                      <a:pt x="1246" y="1475"/>
                    </a:lnTo>
                    <a:lnTo>
                      <a:pt x="1244" y="1475"/>
                    </a:lnTo>
                    <a:lnTo>
                      <a:pt x="1244" y="1476"/>
                    </a:lnTo>
                    <a:lnTo>
                      <a:pt x="1244" y="1478"/>
                    </a:lnTo>
                    <a:lnTo>
                      <a:pt x="1244" y="1480"/>
                    </a:lnTo>
                    <a:lnTo>
                      <a:pt x="1244" y="1481"/>
                    </a:lnTo>
                    <a:lnTo>
                      <a:pt x="1242" y="1481"/>
                    </a:lnTo>
                    <a:lnTo>
                      <a:pt x="1244" y="1481"/>
                    </a:lnTo>
                    <a:lnTo>
                      <a:pt x="1242" y="1481"/>
                    </a:lnTo>
                    <a:lnTo>
                      <a:pt x="1242" y="1483"/>
                    </a:lnTo>
                    <a:lnTo>
                      <a:pt x="1242" y="1481"/>
                    </a:lnTo>
                    <a:lnTo>
                      <a:pt x="1242" y="1483"/>
                    </a:lnTo>
                    <a:lnTo>
                      <a:pt x="1241" y="1481"/>
                    </a:lnTo>
                    <a:lnTo>
                      <a:pt x="1239" y="1481"/>
                    </a:lnTo>
                    <a:lnTo>
                      <a:pt x="1239" y="1483"/>
                    </a:lnTo>
                    <a:lnTo>
                      <a:pt x="1239" y="1485"/>
                    </a:lnTo>
                    <a:lnTo>
                      <a:pt x="1237" y="1483"/>
                    </a:lnTo>
                    <a:lnTo>
                      <a:pt x="1237" y="1485"/>
                    </a:lnTo>
                    <a:lnTo>
                      <a:pt x="1236" y="1485"/>
                    </a:lnTo>
                    <a:lnTo>
                      <a:pt x="1236" y="1487"/>
                    </a:lnTo>
                    <a:lnTo>
                      <a:pt x="1234" y="1487"/>
                    </a:lnTo>
                    <a:lnTo>
                      <a:pt x="1234" y="1488"/>
                    </a:lnTo>
                    <a:lnTo>
                      <a:pt x="1232" y="1488"/>
                    </a:lnTo>
                    <a:lnTo>
                      <a:pt x="1230" y="1488"/>
                    </a:lnTo>
                    <a:lnTo>
                      <a:pt x="1230" y="1490"/>
                    </a:lnTo>
                    <a:lnTo>
                      <a:pt x="1232" y="1490"/>
                    </a:lnTo>
                    <a:lnTo>
                      <a:pt x="1234" y="1488"/>
                    </a:lnTo>
                    <a:lnTo>
                      <a:pt x="1236" y="1488"/>
                    </a:lnTo>
                    <a:lnTo>
                      <a:pt x="1236" y="1487"/>
                    </a:lnTo>
                    <a:lnTo>
                      <a:pt x="1237" y="1487"/>
                    </a:lnTo>
                    <a:lnTo>
                      <a:pt x="1239" y="1487"/>
                    </a:lnTo>
                    <a:lnTo>
                      <a:pt x="1241" y="1487"/>
                    </a:lnTo>
                    <a:lnTo>
                      <a:pt x="1242" y="1487"/>
                    </a:lnTo>
                    <a:lnTo>
                      <a:pt x="1241" y="1487"/>
                    </a:lnTo>
                    <a:lnTo>
                      <a:pt x="1242" y="1487"/>
                    </a:lnTo>
                    <a:lnTo>
                      <a:pt x="1241" y="1485"/>
                    </a:lnTo>
                    <a:lnTo>
                      <a:pt x="1242" y="1485"/>
                    </a:lnTo>
                    <a:lnTo>
                      <a:pt x="1242" y="1483"/>
                    </a:lnTo>
                    <a:lnTo>
                      <a:pt x="1242" y="1485"/>
                    </a:lnTo>
                    <a:lnTo>
                      <a:pt x="1244" y="1483"/>
                    </a:lnTo>
                    <a:lnTo>
                      <a:pt x="1244" y="1485"/>
                    </a:lnTo>
                    <a:lnTo>
                      <a:pt x="1244" y="1483"/>
                    </a:lnTo>
                    <a:lnTo>
                      <a:pt x="1246" y="1483"/>
                    </a:lnTo>
                    <a:lnTo>
                      <a:pt x="1246" y="1481"/>
                    </a:lnTo>
                    <a:lnTo>
                      <a:pt x="1246" y="1480"/>
                    </a:lnTo>
                    <a:lnTo>
                      <a:pt x="1247" y="1478"/>
                    </a:lnTo>
                    <a:lnTo>
                      <a:pt x="1246" y="1478"/>
                    </a:lnTo>
                    <a:lnTo>
                      <a:pt x="1246" y="1476"/>
                    </a:lnTo>
                    <a:lnTo>
                      <a:pt x="1247" y="1476"/>
                    </a:lnTo>
                    <a:lnTo>
                      <a:pt x="1247" y="1475"/>
                    </a:lnTo>
                    <a:lnTo>
                      <a:pt x="1247" y="1473"/>
                    </a:lnTo>
                    <a:lnTo>
                      <a:pt x="1246" y="1473"/>
                    </a:lnTo>
                    <a:lnTo>
                      <a:pt x="1246" y="1471"/>
                    </a:lnTo>
                    <a:lnTo>
                      <a:pt x="1244" y="1470"/>
                    </a:lnTo>
                    <a:lnTo>
                      <a:pt x="1244" y="1468"/>
                    </a:lnTo>
                    <a:lnTo>
                      <a:pt x="1242" y="1466"/>
                    </a:lnTo>
                    <a:lnTo>
                      <a:pt x="1242" y="1464"/>
                    </a:lnTo>
                    <a:lnTo>
                      <a:pt x="1241" y="1464"/>
                    </a:lnTo>
                    <a:lnTo>
                      <a:pt x="1241" y="1463"/>
                    </a:lnTo>
                    <a:lnTo>
                      <a:pt x="1241" y="1461"/>
                    </a:lnTo>
                    <a:lnTo>
                      <a:pt x="1241" y="1459"/>
                    </a:lnTo>
                    <a:lnTo>
                      <a:pt x="1242" y="1458"/>
                    </a:lnTo>
                    <a:lnTo>
                      <a:pt x="1244" y="1458"/>
                    </a:lnTo>
                    <a:lnTo>
                      <a:pt x="1242" y="1458"/>
                    </a:lnTo>
                    <a:lnTo>
                      <a:pt x="1244" y="1459"/>
                    </a:lnTo>
                    <a:lnTo>
                      <a:pt x="1244" y="1461"/>
                    </a:lnTo>
                    <a:lnTo>
                      <a:pt x="1244" y="1459"/>
                    </a:lnTo>
                    <a:lnTo>
                      <a:pt x="1244" y="1458"/>
                    </a:lnTo>
                    <a:lnTo>
                      <a:pt x="1246" y="1459"/>
                    </a:lnTo>
                    <a:lnTo>
                      <a:pt x="1247" y="1458"/>
                    </a:lnTo>
                    <a:lnTo>
                      <a:pt x="1249" y="1458"/>
                    </a:lnTo>
                    <a:lnTo>
                      <a:pt x="1247" y="1456"/>
                    </a:lnTo>
                    <a:lnTo>
                      <a:pt x="1247" y="1454"/>
                    </a:lnTo>
                    <a:lnTo>
                      <a:pt x="1246" y="1453"/>
                    </a:lnTo>
                    <a:lnTo>
                      <a:pt x="1247" y="1453"/>
                    </a:lnTo>
                    <a:lnTo>
                      <a:pt x="1247" y="1451"/>
                    </a:lnTo>
                    <a:lnTo>
                      <a:pt x="1249" y="1449"/>
                    </a:lnTo>
                    <a:lnTo>
                      <a:pt x="1247" y="1449"/>
                    </a:lnTo>
                    <a:lnTo>
                      <a:pt x="1247" y="1447"/>
                    </a:lnTo>
                    <a:lnTo>
                      <a:pt x="1246" y="1447"/>
                    </a:lnTo>
                    <a:lnTo>
                      <a:pt x="1247" y="1446"/>
                    </a:lnTo>
                    <a:lnTo>
                      <a:pt x="1246" y="1446"/>
                    </a:lnTo>
                    <a:lnTo>
                      <a:pt x="1244" y="1444"/>
                    </a:lnTo>
                    <a:lnTo>
                      <a:pt x="1242" y="1444"/>
                    </a:lnTo>
                    <a:lnTo>
                      <a:pt x="1242" y="1442"/>
                    </a:lnTo>
                    <a:lnTo>
                      <a:pt x="1242" y="1441"/>
                    </a:lnTo>
                    <a:lnTo>
                      <a:pt x="1241" y="1441"/>
                    </a:lnTo>
                    <a:lnTo>
                      <a:pt x="1241" y="1439"/>
                    </a:lnTo>
                    <a:lnTo>
                      <a:pt x="1241" y="1441"/>
                    </a:lnTo>
                    <a:lnTo>
                      <a:pt x="1242" y="1441"/>
                    </a:lnTo>
                    <a:lnTo>
                      <a:pt x="1241" y="1442"/>
                    </a:lnTo>
                    <a:lnTo>
                      <a:pt x="1241" y="1441"/>
                    </a:lnTo>
                    <a:lnTo>
                      <a:pt x="1241" y="1439"/>
                    </a:lnTo>
                    <a:lnTo>
                      <a:pt x="1239" y="1439"/>
                    </a:lnTo>
                    <a:lnTo>
                      <a:pt x="1241" y="1439"/>
                    </a:lnTo>
                    <a:lnTo>
                      <a:pt x="1239" y="1439"/>
                    </a:lnTo>
                    <a:lnTo>
                      <a:pt x="1239" y="1437"/>
                    </a:lnTo>
                    <a:lnTo>
                      <a:pt x="1237" y="1439"/>
                    </a:lnTo>
                    <a:lnTo>
                      <a:pt x="1237" y="1437"/>
                    </a:lnTo>
                    <a:lnTo>
                      <a:pt x="1236" y="1437"/>
                    </a:lnTo>
                    <a:lnTo>
                      <a:pt x="1234" y="1437"/>
                    </a:lnTo>
                    <a:lnTo>
                      <a:pt x="1232" y="1435"/>
                    </a:lnTo>
                    <a:lnTo>
                      <a:pt x="1232" y="1434"/>
                    </a:lnTo>
                    <a:lnTo>
                      <a:pt x="1230" y="1434"/>
                    </a:lnTo>
                    <a:lnTo>
                      <a:pt x="1229" y="1434"/>
                    </a:lnTo>
                    <a:lnTo>
                      <a:pt x="1227" y="1434"/>
                    </a:lnTo>
                    <a:lnTo>
                      <a:pt x="1227" y="1432"/>
                    </a:lnTo>
                    <a:lnTo>
                      <a:pt x="1227" y="1430"/>
                    </a:lnTo>
                    <a:lnTo>
                      <a:pt x="1225" y="1432"/>
                    </a:lnTo>
                    <a:lnTo>
                      <a:pt x="1224" y="1432"/>
                    </a:lnTo>
                    <a:lnTo>
                      <a:pt x="1224" y="1434"/>
                    </a:lnTo>
                    <a:lnTo>
                      <a:pt x="1222" y="1432"/>
                    </a:lnTo>
                    <a:lnTo>
                      <a:pt x="1222" y="1434"/>
                    </a:lnTo>
                    <a:lnTo>
                      <a:pt x="1222" y="1432"/>
                    </a:lnTo>
                    <a:lnTo>
                      <a:pt x="1220" y="1434"/>
                    </a:lnTo>
                    <a:lnTo>
                      <a:pt x="1222" y="1434"/>
                    </a:lnTo>
                    <a:lnTo>
                      <a:pt x="1222" y="1435"/>
                    </a:lnTo>
                    <a:lnTo>
                      <a:pt x="1224" y="1435"/>
                    </a:lnTo>
                    <a:lnTo>
                      <a:pt x="1224" y="1434"/>
                    </a:lnTo>
                    <a:lnTo>
                      <a:pt x="1225" y="1434"/>
                    </a:lnTo>
                    <a:lnTo>
                      <a:pt x="1227" y="1434"/>
                    </a:lnTo>
                    <a:lnTo>
                      <a:pt x="1229" y="1434"/>
                    </a:lnTo>
                    <a:lnTo>
                      <a:pt x="1229" y="1435"/>
                    </a:lnTo>
                    <a:lnTo>
                      <a:pt x="1229" y="1437"/>
                    </a:lnTo>
                    <a:lnTo>
                      <a:pt x="1227" y="1439"/>
                    </a:lnTo>
                    <a:lnTo>
                      <a:pt x="1225" y="1439"/>
                    </a:lnTo>
                    <a:lnTo>
                      <a:pt x="1225" y="1441"/>
                    </a:lnTo>
                    <a:lnTo>
                      <a:pt x="1227" y="1439"/>
                    </a:lnTo>
                    <a:lnTo>
                      <a:pt x="1229" y="1439"/>
                    </a:lnTo>
                    <a:lnTo>
                      <a:pt x="1229" y="1437"/>
                    </a:lnTo>
                    <a:lnTo>
                      <a:pt x="1229" y="1435"/>
                    </a:lnTo>
                    <a:lnTo>
                      <a:pt x="1230" y="1435"/>
                    </a:lnTo>
                    <a:lnTo>
                      <a:pt x="1232" y="1437"/>
                    </a:lnTo>
                    <a:lnTo>
                      <a:pt x="1232" y="1439"/>
                    </a:lnTo>
                    <a:lnTo>
                      <a:pt x="1234" y="1437"/>
                    </a:lnTo>
                    <a:lnTo>
                      <a:pt x="1234" y="1439"/>
                    </a:lnTo>
                    <a:lnTo>
                      <a:pt x="1236" y="1441"/>
                    </a:lnTo>
                    <a:lnTo>
                      <a:pt x="1236" y="1439"/>
                    </a:lnTo>
                    <a:lnTo>
                      <a:pt x="1237" y="1439"/>
                    </a:lnTo>
                    <a:lnTo>
                      <a:pt x="1237" y="1441"/>
                    </a:lnTo>
                    <a:lnTo>
                      <a:pt x="1239" y="1441"/>
                    </a:lnTo>
                    <a:lnTo>
                      <a:pt x="1239" y="1442"/>
                    </a:lnTo>
                    <a:lnTo>
                      <a:pt x="1241" y="1444"/>
                    </a:lnTo>
                    <a:lnTo>
                      <a:pt x="1241" y="1446"/>
                    </a:lnTo>
                    <a:lnTo>
                      <a:pt x="1242" y="1444"/>
                    </a:lnTo>
                    <a:lnTo>
                      <a:pt x="1242" y="1446"/>
                    </a:lnTo>
                    <a:lnTo>
                      <a:pt x="1244" y="1446"/>
                    </a:lnTo>
                    <a:lnTo>
                      <a:pt x="1246" y="1446"/>
                    </a:lnTo>
                    <a:lnTo>
                      <a:pt x="1246" y="1447"/>
                    </a:lnTo>
                    <a:lnTo>
                      <a:pt x="1246" y="1449"/>
                    </a:lnTo>
                    <a:lnTo>
                      <a:pt x="1244" y="1451"/>
                    </a:lnTo>
                    <a:lnTo>
                      <a:pt x="1244" y="1453"/>
                    </a:lnTo>
                    <a:lnTo>
                      <a:pt x="1242" y="1453"/>
                    </a:lnTo>
                    <a:lnTo>
                      <a:pt x="1241" y="1453"/>
                    </a:lnTo>
                    <a:lnTo>
                      <a:pt x="1239" y="1451"/>
                    </a:lnTo>
                    <a:lnTo>
                      <a:pt x="1239" y="1453"/>
                    </a:lnTo>
                    <a:lnTo>
                      <a:pt x="1239" y="1451"/>
                    </a:lnTo>
                    <a:lnTo>
                      <a:pt x="1237" y="1451"/>
                    </a:lnTo>
                    <a:lnTo>
                      <a:pt x="1237" y="1449"/>
                    </a:lnTo>
                    <a:lnTo>
                      <a:pt x="1236" y="1449"/>
                    </a:lnTo>
                    <a:lnTo>
                      <a:pt x="1234" y="1447"/>
                    </a:lnTo>
                    <a:lnTo>
                      <a:pt x="1234" y="1449"/>
                    </a:lnTo>
                    <a:lnTo>
                      <a:pt x="1232" y="1447"/>
                    </a:lnTo>
                    <a:lnTo>
                      <a:pt x="1232" y="1449"/>
                    </a:lnTo>
                    <a:lnTo>
                      <a:pt x="1230" y="1449"/>
                    </a:lnTo>
                    <a:lnTo>
                      <a:pt x="1230" y="1447"/>
                    </a:lnTo>
                    <a:lnTo>
                      <a:pt x="1230" y="1446"/>
                    </a:lnTo>
                    <a:lnTo>
                      <a:pt x="1229" y="1446"/>
                    </a:lnTo>
                    <a:lnTo>
                      <a:pt x="1227" y="1446"/>
                    </a:lnTo>
                    <a:lnTo>
                      <a:pt x="1227" y="1444"/>
                    </a:lnTo>
                    <a:lnTo>
                      <a:pt x="1227" y="1446"/>
                    </a:lnTo>
                    <a:lnTo>
                      <a:pt x="1225" y="1446"/>
                    </a:lnTo>
                    <a:lnTo>
                      <a:pt x="1225" y="1444"/>
                    </a:lnTo>
                    <a:lnTo>
                      <a:pt x="1224" y="1444"/>
                    </a:lnTo>
                    <a:lnTo>
                      <a:pt x="1224" y="1442"/>
                    </a:lnTo>
                    <a:lnTo>
                      <a:pt x="1224" y="1441"/>
                    </a:lnTo>
                    <a:lnTo>
                      <a:pt x="1222" y="1441"/>
                    </a:lnTo>
                    <a:lnTo>
                      <a:pt x="1220" y="1439"/>
                    </a:lnTo>
                    <a:lnTo>
                      <a:pt x="1220" y="1441"/>
                    </a:lnTo>
                    <a:lnTo>
                      <a:pt x="1222" y="1441"/>
                    </a:lnTo>
                    <a:lnTo>
                      <a:pt x="1222" y="1442"/>
                    </a:lnTo>
                    <a:lnTo>
                      <a:pt x="1222" y="1444"/>
                    </a:lnTo>
                    <a:lnTo>
                      <a:pt x="1220" y="1444"/>
                    </a:lnTo>
                    <a:lnTo>
                      <a:pt x="1220" y="1446"/>
                    </a:lnTo>
                    <a:lnTo>
                      <a:pt x="1222" y="1444"/>
                    </a:lnTo>
                    <a:lnTo>
                      <a:pt x="1224" y="1446"/>
                    </a:lnTo>
                    <a:lnTo>
                      <a:pt x="1225" y="1446"/>
                    </a:lnTo>
                    <a:lnTo>
                      <a:pt x="1227" y="1446"/>
                    </a:lnTo>
                    <a:lnTo>
                      <a:pt x="1229" y="1447"/>
                    </a:lnTo>
                    <a:lnTo>
                      <a:pt x="1229" y="1449"/>
                    </a:lnTo>
                    <a:lnTo>
                      <a:pt x="1230" y="1451"/>
                    </a:lnTo>
                    <a:lnTo>
                      <a:pt x="1229" y="1451"/>
                    </a:lnTo>
                    <a:lnTo>
                      <a:pt x="1229" y="1449"/>
                    </a:lnTo>
                    <a:lnTo>
                      <a:pt x="1227" y="1447"/>
                    </a:lnTo>
                    <a:lnTo>
                      <a:pt x="1225" y="1449"/>
                    </a:lnTo>
                    <a:lnTo>
                      <a:pt x="1224" y="1449"/>
                    </a:lnTo>
                    <a:lnTo>
                      <a:pt x="1225" y="1451"/>
                    </a:lnTo>
                    <a:lnTo>
                      <a:pt x="1225" y="1449"/>
                    </a:lnTo>
                    <a:lnTo>
                      <a:pt x="1227" y="1449"/>
                    </a:lnTo>
                    <a:lnTo>
                      <a:pt x="1229" y="1449"/>
                    </a:lnTo>
                    <a:lnTo>
                      <a:pt x="1229" y="1451"/>
                    </a:lnTo>
                    <a:lnTo>
                      <a:pt x="1229" y="1453"/>
                    </a:lnTo>
                    <a:lnTo>
                      <a:pt x="1227" y="1453"/>
                    </a:lnTo>
                    <a:lnTo>
                      <a:pt x="1227" y="1454"/>
                    </a:lnTo>
                    <a:lnTo>
                      <a:pt x="1225" y="1454"/>
                    </a:lnTo>
                    <a:lnTo>
                      <a:pt x="1225" y="1456"/>
                    </a:lnTo>
                    <a:lnTo>
                      <a:pt x="1224" y="1454"/>
                    </a:lnTo>
                    <a:lnTo>
                      <a:pt x="1224" y="1456"/>
                    </a:lnTo>
                    <a:lnTo>
                      <a:pt x="1224" y="1454"/>
                    </a:lnTo>
                    <a:lnTo>
                      <a:pt x="1222" y="1456"/>
                    </a:lnTo>
                    <a:lnTo>
                      <a:pt x="1224" y="1456"/>
                    </a:lnTo>
                    <a:lnTo>
                      <a:pt x="1225" y="1456"/>
                    </a:lnTo>
                    <a:lnTo>
                      <a:pt x="1227" y="1456"/>
                    </a:lnTo>
                    <a:lnTo>
                      <a:pt x="1227" y="1454"/>
                    </a:lnTo>
                    <a:lnTo>
                      <a:pt x="1229" y="1454"/>
                    </a:lnTo>
                    <a:lnTo>
                      <a:pt x="1229" y="1453"/>
                    </a:lnTo>
                    <a:lnTo>
                      <a:pt x="1230" y="1453"/>
                    </a:lnTo>
                    <a:lnTo>
                      <a:pt x="1230" y="1451"/>
                    </a:lnTo>
                    <a:lnTo>
                      <a:pt x="1232" y="1453"/>
                    </a:lnTo>
                    <a:lnTo>
                      <a:pt x="1232" y="1454"/>
                    </a:lnTo>
                    <a:lnTo>
                      <a:pt x="1232" y="1453"/>
                    </a:lnTo>
                    <a:lnTo>
                      <a:pt x="1232" y="1454"/>
                    </a:lnTo>
                    <a:lnTo>
                      <a:pt x="1232" y="1456"/>
                    </a:lnTo>
                    <a:lnTo>
                      <a:pt x="1230" y="1456"/>
                    </a:lnTo>
                    <a:lnTo>
                      <a:pt x="1229" y="1458"/>
                    </a:lnTo>
                    <a:lnTo>
                      <a:pt x="1227" y="1458"/>
                    </a:lnTo>
                    <a:lnTo>
                      <a:pt x="1225" y="1459"/>
                    </a:lnTo>
                    <a:lnTo>
                      <a:pt x="1225" y="1461"/>
                    </a:lnTo>
                    <a:lnTo>
                      <a:pt x="1225" y="1463"/>
                    </a:lnTo>
                    <a:lnTo>
                      <a:pt x="1225" y="1464"/>
                    </a:lnTo>
                    <a:lnTo>
                      <a:pt x="1225" y="1466"/>
                    </a:lnTo>
                    <a:lnTo>
                      <a:pt x="1225" y="1468"/>
                    </a:lnTo>
                    <a:lnTo>
                      <a:pt x="1224" y="1468"/>
                    </a:lnTo>
                    <a:lnTo>
                      <a:pt x="1222" y="1468"/>
                    </a:lnTo>
                    <a:lnTo>
                      <a:pt x="1222" y="1466"/>
                    </a:lnTo>
                    <a:lnTo>
                      <a:pt x="1222" y="1464"/>
                    </a:lnTo>
                    <a:lnTo>
                      <a:pt x="1222" y="1463"/>
                    </a:lnTo>
                    <a:lnTo>
                      <a:pt x="1222" y="1461"/>
                    </a:lnTo>
                    <a:lnTo>
                      <a:pt x="1220" y="1459"/>
                    </a:lnTo>
                    <a:lnTo>
                      <a:pt x="1222" y="1458"/>
                    </a:lnTo>
                    <a:lnTo>
                      <a:pt x="1220" y="1456"/>
                    </a:lnTo>
                    <a:lnTo>
                      <a:pt x="1220" y="1458"/>
                    </a:lnTo>
                    <a:lnTo>
                      <a:pt x="1220" y="1456"/>
                    </a:lnTo>
                    <a:lnTo>
                      <a:pt x="1222" y="1456"/>
                    </a:lnTo>
                    <a:lnTo>
                      <a:pt x="1220" y="1454"/>
                    </a:lnTo>
                    <a:lnTo>
                      <a:pt x="1220" y="1453"/>
                    </a:lnTo>
                    <a:lnTo>
                      <a:pt x="1220" y="1451"/>
                    </a:lnTo>
                    <a:lnTo>
                      <a:pt x="1220" y="1449"/>
                    </a:lnTo>
                    <a:lnTo>
                      <a:pt x="1219" y="1449"/>
                    </a:lnTo>
                    <a:lnTo>
                      <a:pt x="1219" y="1447"/>
                    </a:lnTo>
                    <a:lnTo>
                      <a:pt x="1219" y="1446"/>
                    </a:lnTo>
                    <a:lnTo>
                      <a:pt x="1217" y="1444"/>
                    </a:lnTo>
                    <a:lnTo>
                      <a:pt x="1217" y="1442"/>
                    </a:lnTo>
                    <a:lnTo>
                      <a:pt x="1217" y="1444"/>
                    </a:lnTo>
                    <a:lnTo>
                      <a:pt x="1217" y="1446"/>
                    </a:lnTo>
                    <a:lnTo>
                      <a:pt x="1219" y="1446"/>
                    </a:lnTo>
                    <a:lnTo>
                      <a:pt x="1219" y="1447"/>
                    </a:lnTo>
                    <a:lnTo>
                      <a:pt x="1219" y="1449"/>
                    </a:lnTo>
                    <a:lnTo>
                      <a:pt x="1219" y="1451"/>
                    </a:lnTo>
                    <a:lnTo>
                      <a:pt x="1219" y="1453"/>
                    </a:lnTo>
                    <a:lnTo>
                      <a:pt x="1220" y="1454"/>
                    </a:lnTo>
                    <a:lnTo>
                      <a:pt x="1219" y="1453"/>
                    </a:lnTo>
                    <a:lnTo>
                      <a:pt x="1219" y="1454"/>
                    </a:lnTo>
                    <a:lnTo>
                      <a:pt x="1220" y="1454"/>
                    </a:lnTo>
                    <a:lnTo>
                      <a:pt x="1219" y="1456"/>
                    </a:lnTo>
                    <a:lnTo>
                      <a:pt x="1220" y="1458"/>
                    </a:lnTo>
                    <a:lnTo>
                      <a:pt x="1220" y="1459"/>
                    </a:lnTo>
                    <a:lnTo>
                      <a:pt x="1220" y="1461"/>
                    </a:lnTo>
                    <a:lnTo>
                      <a:pt x="1220" y="1463"/>
                    </a:lnTo>
                    <a:lnTo>
                      <a:pt x="1220" y="1464"/>
                    </a:lnTo>
                    <a:lnTo>
                      <a:pt x="1220" y="1466"/>
                    </a:lnTo>
                    <a:lnTo>
                      <a:pt x="1222" y="1468"/>
                    </a:lnTo>
                    <a:lnTo>
                      <a:pt x="1220" y="1470"/>
                    </a:lnTo>
                    <a:lnTo>
                      <a:pt x="1220" y="1471"/>
                    </a:lnTo>
                    <a:lnTo>
                      <a:pt x="1219" y="1471"/>
                    </a:lnTo>
                    <a:lnTo>
                      <a:pt x="1219" y="1470"/>
                    </a:lnTo>
                    <a:lnTo>
                      <a:pt x="1217" y="1470"/>
                    </a:lnTo>
                    <a:lnTo>
                      <a:pt x="1217" y="1468"/>
                    </a:lnTo>
                    <a:lnTo>
                      <a:pt x="1215" y="1468"/>
                    </a:lnTo>
                    <a:lnTo>
                      <a:pt x="1215" y="1466"/>
                    </a:lnTo>
                    <a:lnTo>
                      <a:pt x="1213" y="1466"/>
                    </a:lnTo>
                    <a:lnTo>
                      <a:pt x="1212" y="1464"/>
                    </a:lnTo>
                    <a:lnTo>
                      <a:pt x="1212" y="1463"/>
                    </a:lnTo>
                    <a:lnTo>
                      <a:pt x="1210" y="1463"/>
                    </a:lnTo>
                    <a:lnTo>
                      <a:pt x="1212" y="1463"/>
                    </a:lnTo>
                    <a:lnTo>
                      <a:pt x="1210" y="1463"/>
                    </a:lnTo>
                    <a:lnTo>
                      <a:pt x="1210" y="1461"/>
                    </a:lnTo>
                    <a:lnTo>
                      <a:pt x="1210" y="1459"/>
                    </a:lnTo>
                    <a:lnTo>
                      <a:pt x="1210" y="1458"/>
                    </a:lnTo>
                    <a:lnTo>
                      <a:pt x="1212" y="1458"/>
                    </a:lnTo>
                    <a:lnTo>
                      <a:pt x="1210" y="1458"/>
                    </a:lnTo>
                    <a:lnTo>
                      <a:pt x="1210" y="1456"/>
                    </a:lnTo>
                    <a:lnTo>
                      <a:pt x="1208" y="1456"/>
                    </a:lnTo>
                    <a:lnTo>
                      <a:pt x="1208" y="1454"/>
                    </a:lnTo>
                    <a:lnTo>
                      <a:pt x="1208" y="1453"/>
                    </a:lnTo>
                    <a:lnTo>
                      <a:pt x="1208" y="1451"/>
                    </a:lnTo>
                    <a:lnTo>
                      <a:pt x="1210" y="1453"/>
                    </a:lnTo>
                    <a:lnTo>
                      <a:pt x="1210" y="1451"/>
                    </a:lnTo>
                    <a:lnTo>
                      <a:pt x="1210" y="1453"/>
                    </a:lnTo>
                    <a:lnTo>
                      <a:pt x="1210" y="1454"/>
                    </a:lnTo>
                    <a:lnTo>
                      <a:pt x="1212" y="1454"/>
                    </a:lnTo>
                    <a:lnTo>
                      <a:pt x="1212" y="1456"/>
                    </a:lnTo>
                    <a:lnTo>
                      <a:pt x="1213" y="1458"/>
                    </a:lnTo>
                    <a:lnTo>
                      <a:pt x="1213" y="1459"/>
                    </a:lnTo>
                    <a:lnTo>
                      <a:pt x="1212" y="1458"/>
                    </a:lnTo>
                    <a:lnTo>
                      <a:pt x="1212" y="1459"/>
                    </a:lnTo>
                    <a:lnTo>
                      <a:pt x="1213" y="1459"/>
                    </a:lnTo>
                    <a:lnTo>
                      <a:pt x="1215" y="1461"/>
                    </a:lnTo>
                    <a:lnTo>
                      <a:pt x="1215" y="1463"/>
                    </a:lnTo>
                    <a:lnTo>
                      <a:pt x="1217" y="1464"/>
                    </a:lnTo>
                    <a:lnTo>
                      <a:pt x="1217" y="1463"/>
                    </a:lnTo>
                    <a:lnTo>
                      <a:pt x="1215" y="1461"/>
                    </a:lnTo>
                    <a:lnTo>
                      <a:pt x="1215" y="1459"/>
                    </a:lnTo>
                    <a:lnTo>
                      <a:pt x="1215" y="1458"/>
                    </a:lnTo>
                    <a:lnTo>
                      <a:pt x="1213" y="1458"/>
                    </a:lnTo>
                    <a:lnTo>
                      <a:pt x="1215" y="1456"/>
                    </a:lnTo>
                    <a:lnTo>
                      <a:pt x="1213" y="1456"/>
                    </a:lnTo>
                    <a:lnTo>
                      <a:pt x="1213" y="1454"/>
                    </a:lnTo>
                    <a:lnTo>
                      <a:pt x="1212" y="1453"/>
                    </a:lnTo>
                    <a:lnTo>
                      <a:pt x="1212" y="1451"/>
                    </a:lnTo>
                    <a:lnTo>
                      <a:pt x="1213" y="1451"/>
                    </a:lnTo>
                    <a:lnTo>
                      <a:pt x="1212" y="1451"/>
                    </a:lnTo>
                    <a:lnTo>
                      <a:pt x="1212" y="1449"/>
                    </a:lnTo>
                    <a:lnTo>
                      <a:pt x="1210" y="1449"/>
                    </a:lnTo>
                    <a:lnTo>
                      <a:pt x="1210" y="1447"/>
                    </a:lnTo>
                    <a:lnTo>
                      <a:pt x="1212" y="1447"/>
                    </a:lnTo>
                    <a:lnTo>
                      <a:pt x="1213" y="1447"/>
                    </a:lnTo>
                    <a:lnTo>
                      <a:pt x="1213" y="1446"/>
                    </a:lnTo>
                    <a:lnTo>
                      <a:pt x="1215" y="1444"/>
                    </a:lnTo>
                    <a:lnTo>
                      <a:pt x="1213" y="1444"/>
                    </a:lnTo>
                    <a:lnTo>
                      <a:pt x="1213" y="1446"/>
                    </a:lnTo>
                    <a:lnTo>
                      <a:pt x="1212" y="1446"/>
                    </a:lnTo>
                    <a:lnTo>
                      <a:pt x="1212" y="1447"/>
                    </a:lnTo>
                    <a:lnTo>
                      <a:pt x="1212" y="1446"/>
                    </a:lnTo>
                    <a:lnTo>
                      <a:pt x="1212" y="1444"/>
                    </a:lnTo>
                    <a:lnTo>
                      <a:pt x="1212" y="1446"/>
                    </a:lnTo>
                    <a:lnTo>
                      <a:pt x="1210" y="1447"/>
                    </a:lnTo>
                    <a:lnTo>
                      <a:pt x="1210" y="1446"/>
                    </a:lnTo>
                    <a:lnTo>
                      <a:pt x="1208" y="1446"/>
                    </a:lnTo>
                    <a:lnTo>
                      <a:pt x="1208" y="1444"/>
                    </a:lnTo>
                    <a:lnTo>
                      <a:pt x="1208" y="1442"/>
                    </a:lnTo>
                    <a:lnTo>
                      <a:pt x="1208" y="1444"/>
                    </a:lnTo>
                    <a:lnTo>
                      <a:pt x="1208" y="1446"/>
                    </a:lnTo>
                    <a:lnTo>
                      <a:pt x="1208" y="1447"/>
                    </a:lnTo>
                    <a:lnTo>
                      <a:pt x="1207" y="1447"/>
                    </a:lnTo>
                    <a:lnTo>
                      <a:pt x="1207" y="1449"/>
                    </a:lnTo>
                    <a:lnTo>
                      <a:pt x="1207" y="1451"/>
                    </a:lnTo>
                    <a:lnTo>
                      <a:pt x="1205" y="1449"/>
                    </a:lnTo>
                    <a:lnTo>
                      <a:pt x="1205" y="1447"/>
                    </a:lnTo>
                    <a:lnTo>
                      <a:pt x="1205" y="1446"/>
                    </a:lnTo>
                    <a:lnTo>
                      <a:pt x="1203" y="1446"/>
                    </a:lnTo>
                    <a:lnTo>
                      <a:pt x="1203" y="1444"/>
                    </a:lnTo>
                    <a:lnTo>
                      <a:pt x="1202" y="1444"/>
                    </a:lnTo>
                    <a:lnTo>
                      <a:pt x="1203" y="1442"/>
                    </a:lnTo>
                    <a:lnTo>
                      <a:pt x="1205" y="1442"/>
                    </a:lnTo>
                    <a:lnTo>
                      <a:pt x="1203" y="1442"/>
                    </a:lnTo>
                    <a:lnTo>
                      <a:pt x="1202" y="1442"/>
                    </a:lnTo>
                    <a:lnTo>
                      <a:pt x="1200" y="1442"/>
                    </a:lnTo>
                    <a:lnTo>
                      <a:pt x="1200" y="1441"/>
                    </a:lnTo>
                    <a:lnTo>
                      <a:pt x="1198" y="1441"/>
                    </a:lnTo>
                    <a:lnTo>
                      <a:pt x="1200" y="1441"/>
                    </a:lnTo>
                    <a:lnTo>
                      <a:pt x="1200" y="1439"/>
                    </a:lnTo>
                    <a:lnTo>
                      <a:pt x="1202" y="1439"/>
                    </a:lnTo>
                    <a:lnTo>
                      <a:pt x="1203" y="1439"/>
                    </a:lnTo>
                    <a:lnTo>
                      <a:pt x="1202" y="1439"/>
                    </a:lnTo>
                    <a:lnTo>
                      <a:pt x="1202" y="1437"/>
                    </a:lnTo>
                    <a:lnTo>
                      <a:pt x="1203" y="1437"/>
                    </a:lnTo>
                    <a:lnTo>
                      <a:pt x="1202" y="1437"/>
                    </a:lnTo>
                    <a:lnTo>
                      <a:pt x="1203" y="1435"/>
                    </a:lnTo>
                    <a:lnTo>
                      <a:pt x="1202" y="1437"/>
                    </a:lnTo>
                    <a:lnTo>
                      <a:pt x="1202" y="1435"/>
                    </a:lnTo>
                    <a:lnTo>
                      <a:pt x="1200" y="1437"/>
                    </a:lnTo>
                    <a:lnTo>
                      <a:pt x="1200" y="1439"/>
                    </a:lnTo>
                    <a:lnTo>
                      <a:pt x="1200" y="1437"/>
                    </a:lnTo>
                    <a:lnTo>
                      <a:pt x="1200" y="1435"/>
                    </a:lnTo>
                    <a:lnTo>
                      <a:pt x="1198" y="1435"/>
                    </a:lnTo>
                    <a:lnTo>
                      <a:pt x="1200" y="1435"/>
                    </a:lnTo>
                    <a:lnTo>
                      <a:pt x="1198" y="1435"/>
                    </a:lnTo>
                    <a:lnTo>
                      <a:pt x="1198" y="1434"/>
                    </a:lnTo>
                    <a:lnTo>
                      <a:pt x="1198" y="1435"/>
                    </a:lnTo>
                    <a:lnTo>
                      <a:pt x="1198" y="1434"/>
                    </a:lnTo>
                    <a:lnTo>
                      <a:pt x="1196" y="1435"/>
                    </a:lnTo>
                    <a:lnTo>
                      <a:pt x="1196" y="1434"/>
                    </a:lnTo>
                    <a:lnTo>
                      <a:pt x="1198" y="1432"/>
                    </a:lnTo>
                    <a:lnTo>
                      <a:pt x="1198" y="1434"/>
                    </a:lnTo>
                    <a:lnTo>
                      <a:pt x="1198" y="1432"/>
                    </a:lnTo>
                    <a:lnTo>
                      <a:pt x="1200" y="1432"/>
                    </a:lnTo>
                    <a:lnTo>
                      <a:pt x="1198" y="1432"/>
                    </a:lnTo>
                    <a:lnTo>
                      <a:pt x="1198" y="1430"/>
                    </a:lnTo>
                    <a:lnTo>
                      <a:pt x="1200" y="1430"/>
                    </a:lnTo>
                    <a:lnTo>
                      <a:pt x="1198" y="1430"/>
                    </a:lnTo>
                    <a:lnTo>
                      <a:pt x="1198" y="1429"/>
                    </a:lnTo>
                    <a:lnTo>
                      <a:pt x="1200" y="1429"/>
                    </a:lnTo>
                    <a:lnTo>
                      <a:pt x="1200" y="1427"/>
                    </a:lnTo>
                    <a:lnTo>
                      <a:pt x="1200" y="1429"/>
                    </a:lnTo>
                    <a:lnTo>
                      <a:pt x="1202" y="1429"/>
                    </a:lnTo>
                    <a:lnTo>
                      <a:pt x="1203" y="1429"/>
                    </a:lnTo>
                    <a:lnTo>
                      <a:pt x="1203" y="1430"/>
                    </a:lnTo>
                    <a:lnTo>
                      <a:pt x="1203" y="1432"/>
                    </a:lnTo>
                    <a:lnTo>
                      <a:pt x="1205" y="1432"/>
                    </a:lnTo>
                    <a:lnTo>
                      <a:pt x="1205" y="1434"/>
                    </a:lnTo>
                    <a:lnTo>
                      <a:pt x="1205" y="1432"/>
                    </a:lnTo>
                    <a:lnTo>
                      <a:pt x="1205" y="1430"/>
                    </a:lnTo>
                    <a:lnTo>
                      <a:pt x="1205" y="1432"/>
                    </a:lnTo>
                    <a:lnTo>
                      <a:pt x="1207" y="1434"/>
                    </a:lnTo>
                    <a:lnTo>
                      <a:pt x="1207" y="1435"/>
                    </a:lnTo>
                    <a:lnTo>
                      <a:pt x="1208" y="1437"/>
                    </a:lnTo>
                    <a:lnTo>
                      <a:pt x="1208" y="1439"/>
                    </a:lnTo>
                    <a:lnTo>
                      <a:pt x="1208" y="1441"/>
                    </a:lnTo>
                    <a:lnTo>
                      <a:pt x="1208" y="1442"/>
                    </a:lnTo>
                    <a:lnTo>
                      <a:pt x="1210" y="1441"/>
                    </a:lnTo>
                    <a:lnTo>
                      <a:pt x="1208" y="1439"/>
                    </a:lnTo>
                    <a:lnTo>
                      <a:pt x="1208" y="1437"/>
                    </a:lnTo>
                    <a:lnTo>
                      <a:pt x="1208" y="1435"/>
                    </a:lnTo>
                    <a:lnTo>
                      <a:pt x="1207" y="1434"/>
                    </a:lnTo>
                    <a:lnTo>
                      <a:pt x="1207" y="1435"/>
                    </a:lnTo>
                    <a:lnTo>
                      <a:pt x="1208" y="1435"/>
                    </a:lnTo>
                    <a:lnTo>
                      <a:pt x="1210" y="1435"/>
                    </a:lnTo>
                    <a:lnTo>
                      <a:pt x="1210" y="1437"/>
                    </a:lnTo>
                    <a:lnTo>
                      <a:pt x="1210" y="1435"/>
                    </a:lnTo>
                    <a:lnTo>
                      <a:pt x="1208" y="1435"/>
                    </a:lnTo>
                    <a:lnTo>
                      <a:pt x="1208" y="1434"/>
                    </a:lnTo>
                    <a:lnTo>
                      <a:pt x="1208" y="1432"/>
                    </a:lnTo>
                    <a:lnTo>
                      <a:pt x="1210" y="1432"/>
                    </a:lnTo>
                    <a:lnTo>
                      <a:pt x="1212" y="1432"/>
                    </a:lnTo>
                    <a:lnTo>
                      <a:pt x="1210" y="1432"/>
                    </a:lnTo>
                    <a:lnTo>
                      <a:pt x="1208" y="1432"/>
                    </a:lnTo>
                    <a:lnTo>
                      <a:pt x="1207" y="1430"/>
                    </a:lnTo>
                    <a:lnTo>
                      <a:pt x="1207" y="1429"/>
                    </a:lnTo>
                    <a:lnTo>
                      <a:pt x="1207" y="1427"/>
                    </a:lnTo>
                    <a:lnTo>
                      <a:pt x="1207" y="1425"/>
                    </a:lnTo>
                    <a:lnTo>
                      <a:pt x="1207" y="1427"/>
                    </a:lnTo>
                    <a:lnTo>
                      <a:pt x="1207" y="1425"/>
                    </a:lnTo>
                    <a:lnTo>
                      <a:pt x="1207" y="1424"/>
                    </a:lnTo>
                    <a:lnTo>
                      <a:pt x="1205" y="1422"/>
                    </a:lnTo>
                    <a:lnTo>
                      <a:pt x="1203" y="1420"/>
                    </a:lnTo>
                    <a:lnTo>
                      <a:pt x="1203" y="1418"/>
                    </a:lnTo>
                    <a:lnTo>
                      <a:pt x="1205" y="1418"/>
                    </a:lnTo>
                    <a:lnTo>
                      <a:pt x="1207" y="1418"/>
                    </a:lnTo>
                    <a:lnTo>
                      <a:pt x="1207" y="1420"/>
                    </a:lnTo>
                    <a:lnTo>
                      <a:pt x="1207" y="1422"/>
                    </a:lnTo>
                    <a:lnTo>
                      <a:pt x="1208" y="1422"/>
                    </a:lnTo>
                    <a:lnTo>
                      <a:pt x="1207" y="1422"/>
                    </a:lnTo>
                    <a:lnTo>
                      <a:pt x="1207" y="1420"/>
                    </a:lnTo>
                    <a:lnTo>
                      <a:pt x="1207" y="1418"/>
                    </a:lnTo>
                    <a:lnTo>
                      <a:pt x="1208" y="1418"/>
                    </a:lnTo>
                    <a:lnTo>
                      <a:pt x="1207" y="1418"/>
                    </a:lnTo>
                    <a:lnTo>
                      <a:pt x="1207" y="1417"/>
                    </a:lnTo>
                    <a:lnTo>
                      <a:pt x="1207" y="1415"/>
                    </a:lnTo>
                    <a:lnTo>
                      <a:pt x="1207" y="1417"/>
                    </a:lnTo>
                    <a:lnTo>
                      <a:pt x="1205" y="1417"/>
                    </a:lnTo>
                    <a:lnTo>
                      <a:pt x="1205" y="1415"/>
                    </a:lnTo>
                    <a:lnTo>
                      <a:pt x="1203" y="1413"/>
                    </a:lnTo>
                    <a:lnTo>
                      <a:pt x="1203" y="1412"/>
                    </a:lnTo>
                    <a:lnTo>
                      <a:pt x="1202" y="1412"/>
                    </a:lnTo>
                    <a:lnTo>
                      <a:pt x="1203" y="1412"/>
                    </a:lnTo>
                    <a:lnTo>
                      <a:pt x="1203" y="1413"/>
                    </a:lnTo>
                    <a:lnTo>
                      <a:pt x="1203" y="1415"/>
                    </a:lnTo>
                    <a:lnTo>
                      <a:pt x="1205" y="1415"/>
                    </a:lnTo>
                    <a:lnTo>
                      <a:pt x="1205" y="1417"/>
                    </a:lnTo>
                    <a:lnTo>
                      <a:pt x="1205" y="1418"/>
                    </a:lnTo>
                    <a:lnTo>
                      <a:pt x="1203" y="1418"/>
                    </a:lnTo>
                    <a:lnTo>
                      <a:pt x="1202" y="1420"/>
                    </a:lnTo>
                    <a:lnTo>
                      <a:pt x="1200" y="1422"/>
                    </a:lnTo>
                    <a:lnTo>
                      <a:pt x="1198" y="1420"/>
                    </a:lnTo>
                    <a:lnTo>
                      <a:pt x="1198" y="1418"/>
                    </a:lnTo>
                    <a:lnTo>
                      <a:pt x="1198" y="1417"/>
                    </a:lnTo>
                    <a:lnTo>
                      <a:pt x="1198" y="1415"/>
                    </a:lnTo>
                    <a:lnTo>
                      <a:pt x="1196" y="1415"/>
                    </a:lnTo>
                    <a:lnTo>
                      <a:pt x="1196" y="1413"/>
                    </a:lnTo>
                    <a:lnTo>
                      <a:pt x="1196" y="1415"/>
                    </a:lnTo>
                    <a:lnTo>
                      <a:pt x="1196" y="1417"/>
                    </a:lnTo>
                    <a:lnTo>
                      <a:pt x="1196" y="1418"/>
                    </a:lnTo>
                    <a:lnTo>
                      <a:pt x="1195" y="1418"/>
                    </a:lnTo>
                    <a:lnTo>
                      <a:pt x="1193" y="1418"/>
                    </a:lnTo>
                    <a:lnTo>
                      <a:pt x="1191" y="1417"/>
                    </a:lnTo>
                    <a:lnTo>
                      <a:pt x="1193" y="1415"/>
                    </a:lnTo>
                    <a:lnTo>
                      <a:pt x="1191" y="1413"/>
                    </a:lnTo>
                    <a:lnTo>
                      <a:pt x="1193" y="1413"/>
                    </a:lnTo>
                    <a:lnTo>
                      <a:pt x="1191" y="1413"/>
                    </a:lnTo>
                    <a:lnTo>
                      <a:pt x="1191" y="1412"/>
                    </a:lnTo>
                    <a:lnTo>
                      <a:pt x="1191" y="1410"/>
                    </a:lnTo>
                    <a:lnTo>
                      <a:pt x="1191" y="1412"/>
                    </a:lnTo>
                    <a:lnTo>
                      <a:pt x="1191" y="1410"/>
                    </a:lnTo>
                    <a:lnTo>
                      <a:pt x="1193" y="1410"/>
                    </a:lnTo>
                    <a:lnTo>
                      <a:pt x="1193" y="1408"/>
                    </a:lnTo>
                    <a:lnTo>
                      <a:pt x="1195" y="1408"/>
                    </a:lnTo>
                    <a:lnTo>
                      <a:pt x="1195" y="1407"/>
                    </a:lnTo>
                    <a:lnTo>
                      <a:pt x="1193" y="1407"/>
                    </a:lnTo>
                    <a:lnTo>
                      <a:pt x="1195" y="1405"/>
                    </a:lnTo>
                    <a:lnTo>
                      <a:pt x="1193" y="1407"/>
                    </a:lnTo>
                    <a:lnTo>
                      <a:pt x="1193" y="1405"/>
                    </a:lnTo>
                    <a:lnTo>
                      <a:pt x="1193" y="1407"/>
                    </a:lnTo>
                    <a:lnTo>
                      <a:pt x="1191" y="1408"/>
                    </a:lnTo>
                    <a:lnTo>
                      <a:pt x="1193" y="1407"/>
                    </a:lnTo>
                    <a:lnTo>
                      <a:pt x="1191" y="1407"/>
                    </a:lnTo>
                    <a:lnTo>
                      <a:pt x="1191" y="1408"/>
                    </a:lnTo>
                    <a:lnTo>
                      <a:pt x="1191" y="1410"/>
                    </a:lnTo>
                    <a:lnTo>
                      <a:pt x="1190" y="1410"/>
                    </a:lnTo>
                    <a:lnTo>
                      <a:pt x="1190" y="1408"/>
                    </a:lnTo>
                    <a:lnTo>
                      <a:pt x="1188" y="1408"/>
                    </a:lnTo>
                    <a:lnTo>
                      <a:pt x="1190" y="1407"/>
                    </a:lnTo>
                    <a:lnTo>
                      <a:pt x="1188" y="1407"/>
                    </a:lnTo>
                    <a:lnTo>
                      <a:pt x="1188" y="1405"/>
                    </a:lnTo>
                    <a:lnTo>
                      <a:pt x="1188" y="1403"/>
                    </a:lnTo>
                    <a:lnTo>
                      <a:pt x="1190" y="1403"/>
                    </a:lnTo>
                    <a:lnTo>
                      <a:pt x="1190" y="1401"/>
                    </a:lnTo>
                    <a:lnTo>
                      <a:pt x="1191" y="1401"/>
                    </a:lnTo>
                    <a:lnTo>
                      <a:pt x="1193" y="1400"/>
                    </a:lnTo>
                    <a:lnTo>
                      <a:pt x="1195" y="1401"/>
                    </a:lnTo>
                    <a:lnTo>
                      <a:pt x="1196" y="1401"/>
                    </a:lnTo>
                    <a:lnTo>
                      <a:pt x="1198" y="1401"/>
                    </a:lnTo>
                    <a:lnTo>
                      <a:pt x="1198" y="1403"/>
                    </a:lnTo>
                    <a:lnTo>
                      <a:pt x="1198" y="1401"/>
                    </a:lnTo>
                    <a:lnTo>
                      <a:pt x="1200" y="1400"/>
                    </a:lnTo>
                    <a:lnTo>
                      <a:pt x="1202" y="1401"/>
                    </a:lnTo>
                    <a:lnTo>
                      <a:pt x="1202" y="1403"/>
                    </a:lnTo>
                    <a:lnTo>
                      <a:pt x="1200" y="1405"/>
                    </a:lnTo>
                    <a:lnTo>
                      <a:pt x="1202" y="1405"/>
                    </a:lnTo>
                    <a:lnTo>
                      <a:pt x="1203" y="1405"/>
                    </a:lnTo>
                    <a:lnTo>
                      <a:pt x="1205" y="1405"/>
                    </a:lnTo>
                    <a:lnTo>
                      <a:pt x="1207" y="1405"/>
                    </a:lnTo>
                    <a:lnTo>
                      <a:pt x="1207" y="1403"/>
                    </a:lnTo>
                    <a:lnTo>
                      <a:pt x="1205" y="1405"/>
                    </a:lnTo>
                    <a:lnTo>
                      <a:pt x="1203" y="1403"/>
                    </a:lnTo>
                    <a:lnTo>
                      <a:pt x="1203" y="1401"/>
                    </a:lnTo>
                    <a:lnTo>
                      <a:pt x="1202" y="1401"/>
                    </a:lnTo>
                    <a:lnTo>
                      <a:pt x="1202" y="1400"/>
                    </a:lnTo>
                    <a:lnTo>
                      <a:pt x="1200" y="1400"/>
                    </a:lnTo>
                    <a:lnTo>
                      <a:pt x="1200" y="1398"/>
                    </a:lnTo>
                    <a:lnTo>
                      <a:pt x="1202" y="1398"/>
                    </a:lnTo>
                    <a:lnTo>
                      <a:pt x="1202" y="1396"/>
                    </a:lnTo>
                    <a:lnTo>
                      <a:pt x="1203" y="1396"/>
                    </a:lnTo>
                    <a:lnTo>
                      <a:pt x="1203" y="1398"/>
                    </a:lnTo>
                    <a:lnTo>
                      <a:pt x="1205" y="1398"/>
                    </a:lnTo>
                    <a:lnTo>
                      <a:pt x="1203" y="1398"/>
                    </a:lnTo>
                    <a:lnTo>
                      <a:pt x="1203" y="1396"/>
                    </a:lnTo>
                    <a:lnTo>
                      <a:pt x="1203" y="1395"/>
                    </a:lnTo>
                    <a:lnTo>
                      <a:pt x="1203" y="1393"/>
                    </a:lnTo>
                    <a:lnTo>
                      <a:pt x="1203" y="1391"/>
                    </a:lnTo>
                    <a:lnTo>
                      <a:pt x="1203" y="1390"/>
                    </a:lnTo>
                    <a:lnTo>
                      <a:pt x="1205" y="1390"/>
                    </a:lnTo>
                    <a:lnTo>
                      <a:pt x="1207" y="1390"/>
                    </a:lnTo>
                    <a:lnTo>
                      <a:pt x="1208" y="1388"/>
                    </a:lnTo>
                    <a:lnTo>
                      <a:pt x="1210" y="1390"/>
                    </a:lnTo>
                    <a:lnTo>
                      <a:pt x="1212" y="1390"/>
                    </a:lnTo>
                    <a:lnTo>
                      <a:pt x="1213" y="1391"/>
                    </a:lnTo>
                    <a:lnTo>
                      <a:pt x="1213" y="1390"/>
                    </a:lnTo>
                    <a:lnTo>
                      <a:pt x="1212" y="1390"/>
                    </a:lnTo>
                    <a:lnTo>
                      <a:pt x="1210" y="1388"/>
                    </a:lnTo>
                    <a:lnTo>
                      <a:pt x="1212" y="1388"/>
                    </a:lnTo>
                    <a:lnTo>
                      <a:pt x="1210" y="1386"/>
                    </a:lnTo>
                    <a:lnTo>
                      <a:pt x="1210" y="1388"/>
                    </a:lnTo>
                    <a:lnTo>
                      <a:pt x="1210" y="1386"/>
                    </a:lnTo>
                    <a:lnTo>
                      <a:pt x="1208" y="1388"/>
                    </a:lnTo>
                    <a:lnTo>
                      <a:pt x="1208" y="1386"/>
                    </a:lnTo>
                    <a:lnTo>
                      <a:pt x="1207" y="1386"/>
                    </a:lnTo>
                    <a:lnTo>
                      <a:pt x="1207" y="1384"/>
                    </a:lnTo>
                    <a:lnTo>
                      <a:pt x="1205" y="1384"/>
                    </a:lnTo>
                    <a:lnTo>
                      <a:pt x="1205" y="1383"/>
                    </a:lnTo>
                    <a:lnTo>
                      <a:pt x="1205" y="1381"/>
                    </a:lnTo>
                    <a:lnTo>
                      <a:pt x="1207" y="1381"/>
                    </a:lnTo>
                    <a:lnTo>
                      <a:pt x="1208" y="1381"/>
                    </a:lnTo>
                    <a:lnTo>
                      <a:pt x="1210" y="1381"/>
                    </a:lnTo>
                    <a:lnTo>
                      <a:pt x="1210" y="1379"/>
                    </a:lnTo>
                    <a:lnTo>
                      <a:pt x="1210" y="1378"/>
                    </a:lnTo>
                    <a:lnTo>
                      <a:pt x="1212" y="1378"/>
                    </a:lnTo>
                    <a:lnTo>
                      <a:pt x="1210" y="1376"/>
                    </a:lnTo>
                    <a:lnTo>
                      <a:pt x="1212" y="1376"/>
                    </a:lnTo>
                    <a:lnTo>
                      <a:pt x="1212" y="1374"/>
                    </a:lnTo>
                    <a:lnTo>
                      <a:pt x="1210" y="1374"/>
                    </a:lnTo>
                    <a:lnTo>
                      <a:pt x="1210" y="1376"/>
                    </a:lnTo>
                    <a:lnTo>
                      <a:pt x="1210" y="1378"/>
                    </a:lnTo>
                    <a:lnTo>
                      <a:pt x="1208" y="1379"/>
                    </a:lnTo>
                    <a:lnTo>
                      <a:pt x="1208" y="1381"/>
                    </a:lnTo>
                    <a:lnTo>
                      <a:pt x="1208" y="1379"/>
                    </a:lnTo>
                    <a:lnTo>
                      <a:pt x="1207" y="1381"/>
                    </a:lnTo>
                    <a:lnTo>
                      <a:pt x="1205" y="1381"/>
                    </a:lnTo>
                    <a:lnTo>
                      <a:pt x="1203" y="1383"/>
                    </a:lnTo>
                    <a:lnTo>
                      <a:pt x="1203" y="1384"/>
                    </a:lnTo>
                    <a:lnTo>
                      <a:pt x="1203" y="1386"/>
                    </a:lnTo>
                    <a:lnTo>
                      <a:pt x="1203" y="1388"/>
                    </a:lnTo>
                    <a:lnTo>
                      <a:pt x="1203" y="1390"/>
                    </a:lnTo>
                    <a:lnTo>
                      <a:pt x="1202" y="1391"/>
                    </a:lnTo>
                    <a:lnTo>
                      <a:pt x="1202" y="1393"/>
                    </a:lnTo>
                    <a:lnTo>
                      <a:pt x="1203" y="1393"/>
                    </a:lnTo>
                    <a:lnTo>
                      <a:pt x="1202" y="1395"/>
                    </a:lnTo>
                    <a:lnTo>
                      <a:pt x="1202" y="1396"/>
                    </a:lnTo>
                    <a:lnTo>
                      <a:pt x="1200" y="1396"/>
                    </a:lnTo>
                    <a:lnTo>
                      <a:pt x="1200" y="1398"/>
                    </a:lnTo>
                    <a:lnTo>
                      <a:pt x="1198" y="1400"/>
                    </a:lnTo>
                    <a:lnTo>
                      <a:pt x="1196" y="1400"/>
                    </a:lnTo>
                    <a:lnTo>
                      <a:pt x="1196" y="1398"/>
                    </a:lnTo>
                    <a:lnTo>
                      <a:pt x="1195" y="1400"/>
                    </a:lnTo>
                    <a:lnTo>
                      <a:pt x="1195" y="1398"/>
                    </a:lnTo>
                    <a:lnTo>
                      <a:pt x="1193" y="1396"/>
                    </a:lnTo>
                    <a:lnTo>
                      <a:pt x="1193" y="1395"/>
                    </a:lnTo>
                    <a:lnTo>
                      <a:pt x="1191" y="1395"/>
                    </a:lnTo>
                    <a:lnTo>
                      <a:pt x="1193" y="1395"/>
                    </a:lnTo>
                    <a:lnTo>
                      <a:pt x="1193" y="1393"/>
                    </a:lnTo>
                    <a:lnTo>
                      <a:pt x="1195" y="1393"/>
                    </a:lnTo>
                    <a:lnTo>
                      <a:pt x="1195" y="1391"/>
                    </a:lnTo>
                    <a:lnTo>
                      <a:pt x="1193" y="1391"/>
                    </a:lnTo>
                    <a:lnTo>
                      <a:pt x="1191" y="1391"/>
                    </a:lnTo>
                    <a:lnTo>
                      <a:pt x="1193" y="1391"/>
                    </a:lnTo>
                    <a:lnTo>
                      <a:pt x="1191" y="1393"/>
                    </a:lnTo>
                    <a:lnTo>
                      <a:pt x="1193" y="1395"/>
                    </a:lnTo>
                    <a:lnTo>
                      <a:pt x="1191" y="1395"/>
                    </a:lnTo>
                    <a:lnTo>
                      <a:pt x="1193" y="1395"/>
                    </a:lnTo>
                    <a:lnTo>
                      <a:pt x="1191" y="1393"/>
                    </a:lnTo>
                    <a:lnTo>
                      <a:pt x="1191" y="1391"/>
                    </a:lnTo>
                    <a:lnTo>
                      <a:pt x="1191" y="1390"/>
                    </a:lnTo>
                    <a:lnTo>
                      <a:pt x="1190" y="1390"/>
                    </a:lnTo>
                    <a:lnTo>
                      <a:pt x="1190" y="1388"/>
                    </a:lnTo>
                    <a:lnTo>
                      <a:pt x="1188" y="1386"/>
                    </a:lnTo>
                    <a:lnTo>
                      <a:pt x="1188" y="1384"/>
                    </a:lnTo>
                    <a:lnTo>
                      <a:pt x="1190" y="1384"/>
                    </a:lnTo>
                    <a:lnTo>
                      <a:pt x="1191" y="1383"/>
                    </a:lnTo>
                    <a:lnTo>
                      <a:pt x="1191" y="1384"/>
                    </a:lnTo>
                    <a:lnTo>
                      <a:pt x="1193" y="1384"/>
                    </a:lnTo>
                    <a:lnTo>
                      <a:pt x="1193" y="1386"/>
                    </a:lnTo>
                    <a:lnTo>
                      <a:pt x="1193" y="1384"/>
                    </a:lnTo>
                    <a:lnTo>
                      <a:pt x="1191" y="1384"/>
                    </a:lnTo>
                    <a:lnTo>
                      <a:pt x="1191" y="1383"/>
                    </a:lnTo>
                    <a:lnTo>
                      <a:pt x="1190" y="1383"/>
                    </a:lnTo>
                    <a:lnTo>
                      <a:pt x="1191" y="1383"/>
                    </a:lnTo>
                    <a:lnTo>
                      <a:pt x="1190" y="1384"/>
                    </a:lnTo>
                    <a:lnTo>
                      <a:pt x="1188" y="1384"/>
                    </a:lnTo>
                    <a:lnTo>
                      <a:pt x="1188" y="1383"/>
                    </a:lnTo>
                    <a:lnTo>
                      <a:pt x="1186" y="1381"/>
                    </a:lnTo>
                    <a:lnTo>
                      <a:pt x="1186" y="1379"/>
                    </a:lnTo>
                    <a:lnTo>
                      <a:pt x="1188" y="1379"/>
                    </a:lnTo>
                    <a:lnTo>
                      <a:pt x="1190" y="1379"/>
                    </a:lnTo>
                    <a:lnTo>
                      <a:pt x="1191" y="1381"/>
                    </a:lnTo>
                    <a:lnTo>
                      <a:pt x="1190" y="1381"/>
                    </a:lnTo>
                    <a:lnTo>
                      <a:pt x="1191" y="1383"/>
                    </a:lnTo>
                    <a:lnTo>
                      <a:pt x="1191" y="1381"/>
                    </a:lnTo>
                    <a:lnTo>
                      <a:pt x="1193" y="1383"/>
                    </a:lnTo>
                    <a:lnTo>
                      <a:pt x="1193" y="1381"/>
                    </a:lnTo>
                    <a:lnTo>
                      <a:pt x="1191" y="1381"/>
                    </a:lnTo>
                    <a:lnTo>
                      <a:pt x="1191" y="1379"/>
                    </a:lnTo>
                    <a:lnTo>
                      <a:pt x="1191" y="1381"/>
                    </a:lnTo>
                    <a:lnTo>
                      <a:pt x="1191" y="1379"/>
                    </a:lnTo>
                    <a:lnTo>
                      <a:pt x="1191" y="1381"/>
                    </a:lnTo>
                    <a:lnTo>
                      <a:pt x="1193" y="1381"/>
                    </a:lnTo>
                    <a:lnTo>
                      <a:pt x="1195" y="1381"/>
                    </a:lnTo>
                    <a:lnTo>
                      <a:pt x="1195" y="1383"/>
                    </a:lnTo>
                    <a:lnTo>
                      <a:pt x="1196" y="1383"/>
                    </a:lnTo>
                    <a:lnTo>
                      <a:pt x="1196" y="1384"/>
                    </a:lnTo>
                    <a:lnTo>
                      <a:pt x="1196" y="1386"/>
                    </a:lnTo>
                    <a:lnTo>
                      <a:pt x="1196" y="1384"/>
                    </a:lnTo>
                    <a:lnTo>
                      <a:pt x="1196" y="1383"/>
                    </a:lnTo>
                    <a:lnTo>
                      <a:pt x="1198" y="1383"/>
                    </a:lnTo>
                    <a:lnTo>
                      <a:pt x="1200" y="1383"/>
                    </a:lnTo>
                    <a:lnTo>
                      <a:pt x="1200" y="1384"/>
                    </a:lnTo>
                    <a:lnTo>
                      <a:pt x="1202" y="1384"/>
                    </a:lnTo>
                    <a:lnTo>
                      <a:pt x="1200" y="1383"/>
                    </a:lnTo>
                    <a:lnTo>
                      <a:pt x="1198" y="1383"/>
                    </a:lnTo>
                    <a:lnTo>
                      <a:pt x="1196" y="1383"/>
                    </a:lnTo>
                    <a:lnTo>
                      <a:pt x="1196" y="1381"/>
                    </a:lnTo>
                    <a:lnTo>
                      <a:pt x="1195" y="1381"/>
                    </a:lnTo>
                    <a:lnTo>
                      <a:pt x="1196" y="1379"/>
                    </a:lnTo>
                    <a:lnTo>
                      <a:pt x="1195" y="1379"/>
                    </a:lnTo>
                    <a:lnTo>
                      <a:pt x="1195" y="1381"/>
                    </a:lnTo>
                    <a:lnTo>
                      <a:pt x="1195" y="1379"/>
                    </a:lnTo>
                    <a:lnTo>
                      <a:pt x="1193" y="1379"/>
                    </a:lnTo>
                    <a:lnTo>
                      <a:pt x="1191" y="1378"/>
                    </a:lnTo>
                    <a:lnTo>
                      <a:pt x="1191" y="1376"/>
                    </a:lnTo>
                    <a:lnTo>
                      <a:pt x="1193" y="1376"/>
                    </a:lnTo>
                    <a:lnTo>
                      <a:pt x="1195" y="1374"/>
                    </a:lnTo>
                    <a:lnTo>
                      <a:pt x="1196" y="1374"/>
                    </a:lnTo>
                    <a:lnTo>
                      <a:pt x="1198" y="1374"/>
                    </a:lnTo>
                    <a:lnTo>
                      <a:pt x="1196" y="1374"/>
                    </a:lnTo>
                    <a:lnTo>
                      <a:pt x="1195" y="1374"/>
                    </a:lnTo>
                    <a:lnTo>
                      <a:pt x="1193" y="1374"/>
                    </a:lnTo>
                    <a:lnTo>
                      <a:pt x="1193" y="1376"/>
                    </a:lnTo>
                    <a:lnTo>
                      <a:pt x="1191" y="1376"/>
                    </a:lnTo>
                    <a:lnTo>
                      <a:pt x="1190" y="1378"/>
                    </a:lnTo>
                    <a:lnTo>
                      <a:pt x="1190" y="1376"/>
                    </a:lnTo>
                    <a:lnTo>
                      <a:pt x="1188" y="1378"/>
                    </a:lnTo>
                    <a:lnTo>
                      <a:pt x="1190" y="1378"/>
                    </a:lnTo>
                    <a:lnTo>
                      <a:pt x="1188" y="1378"/>
                    </a:lnTo>
                    <a:lnTo>
                      <a:pt x="1186" y="1378"/>
                    </a:lnTo>
                    <a:lnTo>
                      <a:pt x="1188" y="1376"/>
                    </a:lnTo>
                    <a:lnTo>
                      <a:pt x="1186" y="1376"/>
                    </a:lnTo>
                    <a:lnTo>
                      <a:pt x="1186" y="1378"/>
                    </a:lnTo>
                    <a:lnTo>
                      <a:pt x="1185" y="1376"/>
                    </a:lnTo>
                    <a:lnTo>
                      <a:pt x="1186" y="1374"/>
                    </a:lnTo>
                    <a:lnTo>
                      <a:pt x="1186" y="1373"/>
                    </a:lnTo>
                    <a:lnTo>
                      <a:pt x="1188" y="1373"/>
                    </a:lnTo>
                    <a:lnTo>
                      <a:pt x="1188" y="1371"/>
                    </a:lnTo>
                    <a:lnTo>
                      <a:pt x="1186" y="1371"/>
                    </a:lnTo>
                    <a:lnTo>
                      <a:pt x="1188" y="1371"/>
                    </a:lnTo>
                    <a:lnTo>
                      <a:pt x="1186" y="1371"/>
                    </a:lnTo>
                    <a:lnTo>
                      <a:pt x="1188" y="1369"/>
                    </a:lnTo>
                    <a:lnTo>
                      <a:pt x="1186" y="1367"/>
                    </a:lnTo>
                    <a:lnTo>
                      <a:pt x="1186" y="1369"/>
                    </a:lnTo>
                    <a:lnTo>
                      <a:pt x="1186" y="1367"/>
                    </a:lnTo>
                    <a:lnTo>
                      <a:pt x="1186" y="1369"/>
                    </a:lnTo>
                    <a:lnTo>
                      <a:pt x="1186" y="1371"/>
                    </a:lnTo>
                    <a:lnTo>
                      <a:pt x="1185" y="1371"/>
                    </a:lnTo>
                    <a:lnTo>
                      <a:pt x="1185" y="1373"/>
                    </a:lnTo>
                    <a:lnTo>
                      <a:pt x="1185" y="1374"/>
                    </a:lnTo>
                    <a:lnTo>
                      <a:pt x="1183" y="1374"/>
                    </a:lnTo>
                    <a:lnTo>
                      <a:pt x="1185" y="1374"/>
                    </a:lnTo>
                    <a:lnTo>
                      <a:pt x="1185" y="1376"/>
                    </a:lnTo>
                    <a:lnTo>
                      <a:pt x="1183" y="1374"/>
                    </a:lnTo>
                    <a:lnTo>
                      <a:pt x="1181" y="1374"/>
                    </a:lnTo>
                    <a:lnTo>
                      <a:pt x="1179" y="1373"/>
                    </a:lnTo>
                    <a:lnTo>
                      <a:pt x="1181" y="1373"/>
                    </a:lnTo>
                    <a:lnTo>
                      <a:pt x="1181" y="1371"/>
                    </a:lnTo>
                    <a:lnTo>
                      <a:pt x="1181" y="1373"/>
                    </a:lnTo>
                    <a:lnTo>
                      <a:pt x="1179" y="1373"/>
                    </a:lnTo>
                    <a:lnTo>
                      <a:pt x="1179" y="1371"/>
                    </a:lnTo>
                    <a:lnTo>
                      <a:pt x="1178" y="1371"/>
                    </a:lnTo>
                    <a:lnTo>
                      <a:pt x="1178" y="1369"/>
                    </a:lnTo>
                    <a:lnTo>
                      <a:pt x="1179" y="1369"/>
                    </a:lnTo>
                    <a:lnTo>
                      <a:pt x="1181" y="1369"/>
                    </a:lnTo>
                    <a:lnTo>
                      <a:pt x="1179" y="1369"/>
                    </a:lnTo>
                    <a:lnTo>
                      <a:pt x="1178" y="1369"/>
                    </a:lnTo>
                    <a:lnTo>
                      <a:pt x="1178" y="1367"/>
                    </a:lnTo>
                    <a:lnTo>
                      <a:pt x="1178" y="1366"/>
                    </a:lnTo>
                    <a:lnTo>
                      <a:pt x="1178" y="1367"/>
                    </a:lnTo>
                    <a:lnTo>
                      <a:pt x="1176" y="1367"/>
                    </a:lnTo>
                    <a:lnTo>
                      <a:pt x="1174" y="1367"/>
                    </a:lnTo>
                    <a:lnTo>
                      <a:pt x="1176" y="1366"/>
                    </a:lnTo>
                    <a:lnTo>
                      <a:pt x="1176" y="1364"/>
                    </a:lnTo>
                    <a:lnTo>
                      <a:pt x="1178" y="1364"/>
                    </a:lnTo>
                    <a:lnTo>
                      <a:pt x="1176" y="1364"/>
                    </a:lnTo>
                    <a:lnTo>
                      <a:pt x="1176" y="1366"/>
                    </a:lnTo>
                    <a:lnTo>
                      <a:pt x="1174" y="1366"/>
                    </a:lnTo>
                    <a:lnTo>
                      <a:pt x="1173" y="1366"/>
                    </a:lnTo>
                    <a:lnTo>
                      <a:pt x="1173" y="1364"/>
                    </a:lnTo>
                    <a:lnTo>
                      <a:pt x="1173" y="1362"/>
                    </a:lnTo>
                    <a:lnTo>
                      <a:pt x="1174" y="1362"/>
                    </a:lnTo>
                    <a:lnTo>
                      <a:pt x="1174" y="1361"/>
                    </a:lnTo>
                    <a:lnTo>
                      <a:pt x="1176" y="1361"/>
                    </a:lnTo>
                    <a:lnTo>
                      <a:pt x="1178" y="1359"/>
                    </a:lnTo>
                    <a:lnTo>
                      <a:pt x="1179" y="1361"/>
                    </a:lnTo>
                    <a:lnTo>
                      <a:pt x="1178" y="1362"/>
                    </a:lnTo>
                    <a:lnTo>
                      <a:pt x="1179" y="1362"/>
                    </a:lnTo>
                    <a:lnTo>
                      <a:pt x="1179" y="1361"/>
                    </a:lnTo>
                    <a:lnTo>
                      <a:pt x="1178" y="1359"/>
                    </a:lnTo>
                    <a:lnTo>
                      <a:pt x="1179" y="1359"/>
                    </a:lnTo>
                    <a:lnTo>
                      <a:pt x="1178" y="1359"/>
                    </a:lnTo>
                    <a:lnTo>
                      <a:pt x="1179" y="1359"/>
                    </a:lnTo>
                    <a:lnTo>
                      <a:pt x="1181" y="1359"/>
                    </a:lnTo>
                    <a:lnTo>
                      <a:pt x="1181" y="1361"/>
                    </a:lnTo>
                    <a:lnTo>
                      <a:pt x="1181" y="1359"/>
                    </a:lnTo>
                    <a:lnTo>
                      <a:pt x="1183" y="1359"/>
                    </a:lnTo>
                    <a:lnTo>
                      <a:pt x="1183" y="1361"/>
                    </a:lnTo>
                    <a:lnTo>
                      <a:pt x="1183" y="1359"/>
                    </a:lnTo>
                    <a:lnTo>
                      <a:pt x="1181" y="1359"/>
                    </a:lnTo>
                    <a:lnTo>
                      <a:pt x="1179" y="1357"/>
                    </a:lnTo>
                    <a:lnTo>
                      <a:pt x="1179" y="1359"/>
                    </a:lnTo>
                    <a:lnTo>
                      <a:pt x="1178" y="1359"/>
                    </a:lnTo>
                    <a:lnTo>
                      <a:pt x="1176" y="1359"/>
                    </a:lnTo>
                    <a:lnTo>
                      <a:pt x="1176" y="1361"/>
                    </a:lnTo>
                    <a:lnTo>
                      <a:pt x="1176" y="1359"/>
                    </a:lnTo>
                    <a:lnTo>
                      <a:pt x="1178" y="1359"/>
                    </a:lnTo>
                    <a:lnTo>
                      <a:pt x="1178" y="1357"/>
                    </a:lnTo>
                    <a:lnTo>
                      <a:pt x="1179" y="1357"/>
                    </a:lnTo>
                    <a:lnTo>
                      <a:pt x="1181" y="1356"/>
                    </a:lnTo>
                    <a:lnTo>
                      <a:pt x="1183" y="1357"/>
                    </a:lnTo>
                    <a:lnTo>
                      <a:pt x="1185" y="1357"/>
                    </a:lnTo>
                    <a:lnTo>
                      <a:pt x="1185" y="1359"/>
                    </a:lnTo>
                    <a:lnTo>
                      <a:pt x="1183" y="1359"/>
                    </a:lnTo>
                    <a:lnTo>
                      <a:pt x="1185" y="1359"/>
                    </a:lnTo>
                    <a:lnTo>
                      <a:pt x="1185" y="1361"/>
                    </a:lnTo>
                    <a:lnTo>
                      <a:pt x="1185" y="1359"/>
                    </a:lnTo>
                    <a:lnTo>
                      <a:pt x="1186" y="1359"/>
                    </a:lnTo>
                    <a:lnTo>
                      <a:pt x="1186" y="1361"/>
                    </a:lnTo>
                    <a:lnTo>
                      <a:pt x="1188" y="1361"/>
                    </a:lnTo>
                    <a:lnTo>
                      <a:pt x="1188" y="1362"/>
                    </a:lnTo>
                    <a:lnTo>
                      <a:pt x="1186" y="1362"/>
                    </a:lnTo>
                    <a:lnTo>
                      <a:pt x="1186" y="1364"/>
                    </a:lnTo>
                    <a:lnTo>
                      <a:pt x="1185" y="1364"/>
                    </a:lnTo>
                    <a:lnTo>
                      <a:pt x="1186" y="1364"/>
                    </a:lnTo>
                    <a:lnTo>
                      <a:pt x="1188" y="1362"/>
                    </a:lnTo>
                    <a:lnTo>
                      <a:pt x="1188" y="1364"/>
                    </a:lnTo>
                    <a:lnTo>
                      <a:pt x="1188" y="1366"/>
                    </a:lnTo>
                    <a:lnTo>
                      <a:pt x="1190" y="1366"/>
                    </a:lnTo>
                    <a:lnTo>
                      <a:pt x="1190" y="1367"/>
                    </a:lnTo>
                    <a:lnTo>
                      <a:pt x="1191" y="1369"/>
                    </a:lnTo>
                    <a:lnTo>
                      <a:pt x="1191" y="1367"/>
                    </a:lnTo>
                    <a:lnTo>
                      <a:pt x="1193" y="1366"/>
                    </a:lnTo>
                    <a:lnTo>
                      <a:pt x="1193" y="1367"/>
                    </a:lnTo>
                    <a:lnTo>
                      <a:pt x="1193" y="1366"/>
                    </a:lnTo>
                    <a:lnTo>
                      <a:pt x="1195" y="1367"/>
                    </a:lnTo>
                    <a:lnTo>
                      <a:pt x="1196" y="1367"/>
                    </a:lnTo>
                    <a:lnTo>
                      <a:pt x="1196" y="1369"/>
                    </a:lnTo>
                    <a:lnTo>
                      <a:pt x="1198" y="1369"/>
                    </a:lnTo>
                    <a:lnTo>
                      <a:pt x="1196" y="1367"/>
                    </a:lnTo>
                    <a:lnTo>
                      <a:pt x="1195" y="1367"/>
                    </a:lnTo>
                    <a:lnTo>
                      <a:pt x="1195" y="1366"/>
                    </a:lnTo>
                    <a:lnTo>
                      <a:pt x="1196" y="1366"/>
                    </a:lnTo>
                    <a:lnTo>
                      <a:pt x="1195" y="1366"/>
                    </a:lnTo>
                    <a:lnTo>
                      <a:pt x="1195" y="1364"/>
                    </a:lnTo>
                    <a:lnTo>
                      <a:pt x="1193" y="1364"/>
                    </a:lnTo>
                    <a:lnTo>
                      <a:pt x="1193" y="1366"/>
                    </a:lnTo>
                    <a:lnTo>
                      <a:pt x="1191" y="1366"/>
                    </a:lnTo>
                    <a:lnTo>
                      <a:pt x="1191" y="1364"/>
                    </a:lnTo>
                    <a:lnTo>
                      <a:pt x="1190" y="1364"/>
                    </a:lnTo>
                    <a:lnTo>
                      <a:pt x="1190" y="1362"/>
                    </a:lnTo>
                    <a:lnTo>
                      <a:pt x="1190" y="1361"/>
                    </a:lnTo>
                    <a:lnTo>
                      <a:pt x="1188" y="1361"/>
                    </a:lnTo>
                    <a:lnTo>
                      <a:pt x="1188" y="1359"/>
                    </a:lnTo>
                    <a:lnTo>
                      <a:pt x="1186" y="1359"/>
                    </a:lnTo>
                    <a:lnTo>
                      <a:pt x="1186" y="1357"/>
                    </a:lnTo>
                    <a:lnTo>
                      <a:pt x="1186" y="1356"/>
                    </a:lnTo>
                    <a:lnTo>
                      <a:pt x="1185" y="1356"/>
                    </a:lnTo>
                    <a:lnTo>
                      <a:pt x="1185" y="1354"/>
                    </a:lnTo>
                    <a:lnTo>
                      <a:pt x="1185" y="1352"/>
                    </a:lnTo>
                    <a:lnTo>
                      <a:pt x="1186" y="1350"/>
                    </a:lnTo>
                    <a:lnTo>
                      <a:pt x="1186" y="1352"/>
                    </a:lnTo>
                    <a:lnTo>
                      <a:pt x="1186" y="1354"/>
                    </a:lnTo>
                    <a:lnTo>
                      <a:pt x="1186" y="1352"/>
                    </a:lnTo>
                    <a:lnTo>
                      <a:pt x="1188" y="1352"/>
                    </a:lnTo>
                    <a:lnTo>
                      <a:pt x="1190" y="1352"/>
                    </a:lnTo>
                    <a:lnTo>
                      <a:pt x="1190" y="1354"/>
                    </a:lnTo>
                    <a:lnTo>
                      <a:pt x="1191" y="1354"/>
                    </a:lnTo>
                    <a:lnTo>
                      <a:pt x="1193" y="1356"/>
                    </a:lnTo>
                    <a:lnTo>
                      <a:pt x="1193" y="1354"/>
                    </a:lnTo>
                    <a:lnTo>
                      <a:pt x="1195" y="1356"/>
                    </a:lnTo>
                    <a:lnTo>
                      <a:pt x="1195" y="1357"/>
                    </a:lnTo>
                    <a:lnTo>
                      <a:pt x="1195" y="1356"/>
                    </a:lnTo>
                    <a:lnTo>
                      <a:pt x="1195" y="1357"/>
                    </a:lnTo>
                    <a:lnTo>
                      <a:pt x="1196" y="1356"/>
                    </a:lnTo>
                    <a:lnTo>
                      <a:pt x="1196" y="1354"/>
                    </a:lnTo>
                    <a:lnTo>
                      <a:pt x="1196" y="1352"/>
                    </a:lnTo>
                    <a:lnTo>
                      <a:pt x="1198" y="1352"/>
                    </a:lnTo>
                    <a:lnTo>
                      <a:pt x="1198" y="1350"/>
                    </a:lnTo>
                    <a:lnTo>
                      <a:pt x="1200" y="1350"/>
                    </a:lnTo>
                    <a:lnTo>
                      <a:pt x="1202" y="1350"/>
                    </a:lnTo>
                    <a:lnTo>
                      <a:pt x="1200" y="1350"/>
                    </a:lnTo>
                    <a:lnTo>
                      <a:pt x="1200" y="1349"/>
                    </a:lnTo>
                    <a:lnTo>
                      <a:pt x="1200" y="1347"/>
                    </a:lnTo>
                    <a:lnTo>
                      <a:pt x="1202" y="1347"/>
                    </a:lnTo>
                    <a:lnTo>
                      <a:pt x="1202" y="1345"/>
                    </a:lnTo>
                    <a:lnTo>
                      <a:pt x="1203" y="1345"/>
                    </a:lnTo>
                    <a:lnTo>
                      <a:pt x="1202" y="1345"/>
                    </a:lnTo>
                    <a:lnTo>
                      <a:pt x="1202" y="1347"/>
                    </a:lnTo>
                    <a:lnTo>
                      <a:pt x="1200" y="1347"/>
                    </a:lnTo>
                    <a:lnTo>
                      <a:pt x="1200" y="1349"/>
                    </a:lnTo>
                    <a:lnTo>
                      <a:pt x="1200" y="1350"/>
                    </a:lnTo>
                    <a:lnTo>
                      <a:pt x="1198" y="1350"/>
                    </a:lnTo>
                    <a:lnTo>
                      <a:pt x="1196" y="1350"/>
                    </a:lnTo>
                    <a:lnTo>
                      <a:pt x="1196" y="1352"/>
                    </a:lnTo>
                    <a:lnTo>
                      <a:pt x="1195" y="1354"/>
                    </a:lnTo>
                    <a:lnTo>
                      <a:pt x="1193" y="1352"/>
                    </a:lnTo>
                    <a:lnTo>
                      <a:pt x="1191" y="1350"/>
                    </a:lnTo>
                    <a:lnTo>
                      <a:pt x="1191" y="1349"/>
                    </a:lnTo>
                    <a:lnTo>
                      <a:pt x="1190" y="1350"/>
                    </a:lnTo>
                    <a:lnTo>
                      <a:pt x="1190" y="1349"/>
                    </a:lnTo>
                    <a:lnTo>
                      <a:pt x="1190" y="1350"/>
                    </a:lnTo>
                    <a:lnTo>
                      <a:pt x="1188" y="1350"/>
                    </a:lnTo>
                    <a:lnTo>
                      <a:pt x="1190" y="1350"/>
                    </a:lnTo>
                    <a:lnTo>
                      <a:pt x="1188" y="1349"/>
                    </a:lnTo>
                    <a:lnTo>
                      <a:pt x="1186" y="1350"/>
                    </a:lnTo>
                    <a:lnTo>
                      <a:pt x="1186" y="1349"/>
                    </a:lnTo>
                    <a:lnTo>
                      <a:pt x="1185" y="1349"/>
                    </a:lnTo>
                    <a:lnTo>
                      <a:pt x="1186" y="1347"/>
                    </a:lnTo>
                    <a:lnTo>
                      <a:pt x="1185" y="1347"/>
                    </a:lnTo>
                    <a:lnTo>
                      <a:pt x="1185" y="1345"/>
                    </a:lnTo>
                    <a:lnTo>
                      <a:pt x="1185" y="1344"/>
                    </a:lnTo>
                    <a:lnTo>
                      <a:pt x="1186" y="1344"/>
                    </a:lnTo>
                    <a:lnTo>
                      <a:pt x="1188" y="1344"/>
                    </a:lnTo>
                    <a:lnTo>
                      <a:pt x="1188" y="1342"/>
                    </a:lnTo>
                    <a:lnTo>
                      <a:pt x="1190" y="1342"/>
                    </a:lnTo>
                    <a:lnTo>
                      <a:pt x="1191" y="1342"/>
                    </a:lnTo>
                    <a:lnTo>
                      <a:pt x="1193" y="1342"/>
                    </a:lnTo>
                    <a:lnTo>
                      <a:pt x="1195" y="1340"/>
                    </a:lnTo>
                    <a:lnTo>
                      <a:pt x="1195" y="1342"/>
                    </a:lnTo>
                    <a:lnTo>
                      <a:pt x="1195" y="1340"/>
                    </a:lnTo>
                    <a:lnTo>
                      <a:pt x="1193" y="1340"/>
                    </a:lnTo>
                    <a:lnTo>
                      <a:pt x="1191" y="1340"/>
                    </a:lnTo>
                    <a:lnTo>
                      <a:pt x="1190" y="1340"/>
                    </a:lnTo>
                    <a:lnTo>
                      <a:pt x="1188" y="1340"/>
                    </a:lnTo>
                    <a:lnTo>
                      <a:pt x="1188" y="1342"/>
                    </a:lnTo>
                    <a:lnTo>
                      <a:pt x="1186" y="1342"/>
                    </a:lnTo>
                    <a:lnTo>
                      <a:pt x="1186" y="1340"/>
                    </a:lnTo>
                    <a:lnTo>
                      <a:pt x="1186" y="1339"/>
                    </a:lnTo>
                    <a:lnTo>
                      <a:pt x="1186" y="1337"/>
                    </a:lnTo>
                    <a:lnTo>
                      <a:pt x="1186" y="1335"/>
                    </a:lnTo>
                    <a:lnTo>
                      <a:pt x="1188" y="1333"/>
                    </a:lnTo>
                    <a:lnTo>
                      <a:pt x="1188" y="1335"/>
                    </a:lnTo>
                    <a:lnTo>
                      <a:pt x="1188" y="1333"/>
                    </a:lnTo>
                    <a:lnTo>
                      <a:pt x="1190" y="1332"/>
                    </a:lnTo>
                    <a:lnTo>
                      <a:pt x="1191" y="1332"/>
                    </a:lnTo>
                    <a:lnTo>
                      <a:pt x="1191" y="1333"/>
                    </a:lnTo>
                    <a:lnTo>
                      <a:pt x="1191" y="1332"/>
                    </a:lnTo>
                    <a:lnTo>
                      <a:pt x="1193" y="1332"/>
                    </a:lnTo>
                    <a:lnTo>
                      <a:pt x="1193" y="1330"/>
                    </a:lnTo>
                    <a:lnTo>
                      <a:pt x="1195" y="1330"/>
                    </a:lnTo>
                    <a:lnTo>
                      <a:pt x="1196" y="1332"/>
                    </a:lnTo>
                    <a:lnTo>
                      <a:pt x="1196" y="1333"/>
                    </a:lnTo>
                    <a:lnTo>
                      <a:pt x="1196" y="1335"/>
                    </a:lnTo>
                    <a:lnTo>
                      <a:pt x="1195" y="1335"/>
                    </a:lnTo>
                    <a:lnTo>
                      <a:pt x="1195" y="1337"/>
                    </a:lnTo>
                    <a:lnTo>
                      <a:pt x="1196" y="1335"/>
                    </a:lnTo>
                    <a:lnTo>
                      <a:pt x="1196" y="1333"/>
                    </a:lnTo>
                    <a:lnTo>
                      <a:pt x="1198" y="1332"/>
                    </a:lnTo>
                    <a:lnTo>
                      <a:pt x="1200" y="1332"/>
                    </a:lnTo>
                    <a:lnTo>
                      <a:pt x="1200" y="1333"/>
                    </a:lnTo>
                    <a:lnTo>
                      <a:pt x="1200" y="1335"/>
                    </a:lnTo>
                    <a:lnTo>
                      <a:pt x="1202" y="1335"/>
                    </a:lnTo>
                    <a:lnTo>
                      <a:pt x="1202" y="1337"/>
                    </a:lnTo>
                    <a:lnTo>
                      <a:pt x="1203" y="1337"/>
                    </a:lnTo>
                    <a:lnTo>
                      <a:pt x="1203" y="1339"/>
                    </a:lnTo>
                    <a:lnTo>
                      <a:pt x="1203" y="1340"/>
                    </a:lnTo>
                    <a:lnTo>
                      <a:pt x="1203" y="1339"/>
                    </a:lnTo>
                    <a:lnTo>
                      <a:pt x="1205" y="1339"/>
                    </a:lnTo>
                    <a:lnTo>
                      <a:pt x="1203" y="1339"/>
                    </a:lnTo>
                    <a:lnTo>
                      <a:pt x="1203" y="1337"/>
                    </a:lnTo>
                    <a:lnTo>
                      <a:pt x="1205" y="1337"/>
                    </a:lnTo>
                    <a:lnTo>
                      <a:pt x="1205" y="1339"/>
                    </a:lnTo>
                    <a:lnTo>
                      <a:pt x="1205" y="1340"/>
                    </a:lnTo>
                    <a:lnTo>
                      <a:pt x="1207" y="1340"/>
                    </a:lnTo>
                    <a:lnTo>
                      <a:pt x="1207" y="1342"/>
                    </a:lnTo>
                    <a:lnTo>
                      <a:pt x="1207" y="1340"/>
                    </a:lnTo>
                    <a:lnTo>
                      <a:pt x="1208" y="1340"/>
                    </a:lnTo>
                    <a:lnTo>
                      <a:pt x="1207" y="1340"/>
                    </a:lnTo>
                    <a:lnTo>
                      <a:pt x="1207" y="1339"/>
                    </a:lnTo>
                    <a:lnTo>
                      <a:pt x="1205" y="1339"/>
                    </a:lnTo>
                    <a:lnTo>
                      <a:pt x="1205" y="1337"/>
                    </a:lnTo>
                    <a:lnTo>
                      <a:pt x="1203" y="1335"/>
                    </a:lnTo>
                    <a:lnTo>
                      <a:pt x="1202" y="1335"/>
                    </a:lnTo>
                    <a:lnTo>
                      <a:pt x="1202" y="1333"/>
                    </a:lnTo>
                    <a:lnTo>
                      <a:pt x="1202" y="1332"/>
                    </a:lnTo>
                    <a:lnTo>
                      <a:pt x="1202" y="1330"/>
                    </a:lnTo>
                    <a:lnTo>
                      <a:pt x="1200" y="1330"/>
                    </a:lnTo>
                    <a:lnTo>
                      <a:pt x="1198" y="1330"/>
                    </a:lnTo>
                    <a:lnTo>
                      <a:pt x="1196" y="1330"/>
                    </a:lnTo>
                    <a:lnTo>
                      <a:pt x="1195" y="1328"/>
                    </a:lnTo>
                    <a:lnTo>
                      <a:pt x="1195" y="1330"/>
                    </a:lnTo>
                    <a:lnTo>
                      <a:pt x="1193" y="1328"/>
                    </a:lnTo>
                    <a:lnTo>
                      <a:pt x="1193" y="1327"/>
                    </a:lnTo>
                    <a:lnTo>
                      <a:pt x="1195" y="1327"/>
                    </a:lnTo>
                    <a:lnTo>
                      <a:pt x="1195" y="1325"/>
                    </a:lnTo>
                    <a:lnTo>
                      <a:pt x="1193" y="1325"/>
                    </a:lnTo>
                    <a:lnTo>
                      <a:pt x="1193" y="1323"/>
                    </a:lnTo>
                    <a:lnTo>
                      <a:pt x="1195" y="1323"/>
                    </a:lnTo>
                    <a:lnTo>
                      <a:pt x="1195" y="1322"/>
                    </a:lnTo>
                    <a:lnTo>
                      <a:pt x="1195" y="1320"/>
                    </a:lnTo>
                    <a:lnTo>
                      <a:pt x="1195" y="1318"/>
                    </a:lnTo>
                    <a:lnTo>
                      <a:pt x="1195" y="1316"/>
                    </a:lnTo>
                    <a:lnTo>
                      <a:pt x="1196" y="1316"/>
                    </a:lnTo>
                    <a:lnTo>
                      <a:pt x="1198" y="1316"/>
                    </a:lnTo>
                    <a:lnTo>
                      <a:pt x="1198" y="1318"/>
                    </a:lnTo>
                    <a:lnTo>
                      <a:pt x="1198" y="1320"/>
                    </a:lnTo>
                    <a:lnTo>
                      <a:pt x="1200" y="1320"/>
                    </a:lnTo>
                    <a:lnTo>
                      <a:pt x="1202" y="1320"/>
                    </a:lnTo>
                    <a:lnTo>
                      <a:pt x="1203" y="1320"/>
                    </a:lnTo>
                    <a:lnTo>
                      <a:pt x="1203" y="1322"/>
                    </a:lnTo>
                    <a:lnTo>
                      <a:pt x="1203" y="1323"/>
                    </a:lnTo>
                    <a:lnTo>
                      <a:pt x="1205" y="1323"/>
                    </a:lnTo>
                    <a:lnTo>
                      <a:pt x="1203" y="1323"/>
                    </a:lnTo>
                    <a:lnTo>
                      <a:pt x="1203" y="1322"/>
                    </a:lnTo>
                    <a:lnTo>
                      <a:pt x="1203" y="1320"/>
                    </a:lnTo>
                    <a:lnTo>
                      <a:pt x="1203" y="1322"/>
                    </a:lnTo>
                    <a:lnTo>
                      <a:pt x="1203" y="1320"/>
                    </a:lnTo>
                    <a:lnTo>
                      <a:pt x="1202" y="1320"/>
                    </a:lnTo>
                    <a:lnTo>
                      <a:pt x="1200" y="1320"/>
                    </a:lnTo>
                    <a:lnTo>
                      <a:pt x="1200" y="1318"/>
                    </a:lnTo>
                    <a:lnTo>
                      <a:pt x="1200" y="1316"/>
                    </a:lnTo>
                    <a:lnTo>
                      <a:pt x="1198" y="1316"/>
                    </a:lnTo>
                    <a:lnTo>
                      <a:pt x="1200" y="1318"/>
                    </a:lnTo>
                    <a:lnTo>
                      <a:pt x="1198" y="1318"/>
                    </a:lnTo>
                    <a:lnTo>
                      <a:pt x="1198" y="1316"/>
                    </a:lnTo>
                    <a:lnTo>
                      <a:pt x="1198" y="1315"/>
                    </a:lnTo>
                    <a:lnTo>
                      <a:pt x="1196" y="1315"/>
                    </a:lnTo>
                    <a:lnTo>
                      <a:pt x="1196" y="1313"/>
                    </a:lnTo>
                    <a:lnTo>
                      <a:pt x="1195" y="1313"/>
                    </a:lnTo>
                    <a:lnTo>
                      <a:pt x="1195" y="1315"/>
                    </a:lnTo>
                    <a:lnTo>
                      <a:pt x="1193" y="1315"/>
                    </a:lnTo>
                    <a:lnTo>
                      <a:pt x="1193" y="1313"/>
                    </a:lnTo>
                    <a:lnTo>
                      <a:pt x="1191" y="1313"/>
                    </a:lnTo>
                    <a:lnTo>
                      <a:pt x="1193" y="1315"/>
                    </a:lnTo>
                    <a:lnTo>
                      <a:pt x="1193" y="1316"/>
                    </a:lnTo>
                    <a:lnTo>
                      <a:pt x="1193" y="1318"/>
                    </a:lnTo>
                    <a:lnTo>
                      <a:pt x="1193" y="1320"/>
                    </a:lnTo>
                    <a:lnTo>
                      <a:pt x="1193" y="1322"/>
                    </a:lnTo>
                    <a:lnTo>
                      <a:pt x="1191" y="1322"/>
                    </a:lnTo>
                    <a:lnTo>
                      <a:pt x="1191" y="1323"/>
                    </a:lnTo>
                    <a:lnTo>
                      <a:pt x="1191" y="1325"/>
                    </a:lnTo>
                    <a:lnTo>
                      <a:pt x="1191" y="1327"/>
                    </a:lnTo>
                    <a:lnTo>
                      <a:pt x="1191" y="1328"/>
                    </a:lnTo>
                    <a:lnTo>
                      <a:pt x="1191" y="1330"/>
                    </a:lnTo>
                    <a:lnTo>
                      <a:pt x="1190" y="1330"/>
                    </a:lnTo>
                    <a:lnTo>
                      <a:pt x="1188" y="1330"/>
                    </a:lnTo>
                    <a:lnTo>
                      <a:pt x="1188" y="1328"/>
                    </a:lnTo>
                    <a:lnTo>
                      <a:pt x="1186" y="1327"/>
                    </a:lnTo>
                    <a:lnTo>
                      <a:pt x="1186" y="1325"/>
                    </a:lnTo>
                    <a:lnTo>
                      <a:pt x="1186" y="1323"/>
                    </a:lnTo>
                    <a:lnTo>
                      <a:pt x="1186" y="1325"/>
                    </a:lnTo>
                    <a:lnTo>
                      <a:pt x="1185" y="1325"/>
                    </a:lnTo>
                    <a:lnTo>
                      <a:pt x="1185" y="1323"/>
                    </a:lnTo>
                    <a:lnTo>
                      <a:pt x="1183" y="1323"/>
                    </a:lnTo>
                    <a:lnTo>
                      <a:pt x="1183" y="1322"/>
                    </a:lnTo>
                    <a:lnTo>
                      <a:pt x="1183" y="1323"/>
                    </a:lnTo>
                    <a:lnTo>
                      <a:pt x="1183" y="1322"/>
                    </a:lnTo>
                    <a:lnTo>
                      <a:pt x="1183" y="1320"/>
                    </a:lnTo>
                    <a:lnTo>
                      <a:pt x="1185" y="1320"/>
                    </a:lnTo>
                    <a:lnTo>
                      <a:pt x="1185" y="1318"/>
                    </a:lnTo>
                    <a:lnTo>
                      <a:pt x="1185" y="1316"/>
                    </a:lnTo>
                    <a:lnTo>
                      <a:pt x="1185" y="1315"/>
                    </a:lnTo>
                    <a:lnTo>
                      <a:pt x="1185" y="1313"/>
                    </a:lnTo>
                    <a:lnTo>
                      <a:pt x="1185" y="1311"/>
                    </a:lnTo>
                    <a:lnTo>
                      <a:pt x="1186" y="1311"/>
                    </a:lnTo>
                    <a:lnTo>
                      <a:pt x="1185" y="1311"/>
                    </a:lnTo>
                    <a:lnTo>
                      <a:pt x="1185" y="1310"/>
                    </a:lnTo>
                    <a:lnTo>
                      <a:pt x="1185" y="1308"/>
                    </a:lnTo>
                    <a:lnTo>
                      <a:pt x="1185" y="1306"/>
                    </a:lnTo>
                    <a:lnTo>
                      <a:pt x="1185" y="1305"/>
                    </a:lnTo>
                    <a:lnTo>
                      <a:pt x="1183" y="1306"/>
                    </a:lnTo>
                    <a:lnTo>
                      <a:pt x="1183" y="1308"/>
                    </a:lnTo>
                    <a:lnTo>
                      <a:pt x="1183" y="1306"/>
                    </a:lnTo>
                    <a:lnTo>
                      <a:pt x="1183" y="1305"/>
                    </a:lnTo>
                    <a:lnTo>
                      <a:pt x="1181" y="1303"/>
                    </a:lnTo>
                    <a:lnTo>
                      <a:pt x="1183" y="1303"/>
                    </a:lnTo>
                    <a:lnTo>
                      <a:pt x="1183" y="1301"/>
                    </a:lnTo>
                    <a:lnTo>
                      <a:pt x="1183" y="1303"/>
                    </a:lnTo>
                    <a:lnTo>
                      <a:pt x="1185" y="1301"/>
                    </a:lnTo>
                    <a:lnTo>
                      <a:pt x="1185" y="1299"/>
                    </a:lnTo>
                    <a:lnTo>
                      <a:pt x="1183" y="1299"/>
                    </a:lnTo>
                    <a:lnTo>
                      <a:pt x="1183" y="1298"/>
                    </a:lnTo>
                    <a:lnTo>
                      <a:pt x="1185" y="1299"/>
                    </a:lnTo>
                    <a:lnTo>
                      <a:pt x="1185" y="1298"/>
                    </a:lnTo>
                    <a:lnTo>
                      <a:pt x="1186" y="1299"/>
                    </a:lnTo>
                    <a:lnTo>
                      <a:pt x="1185" y="1298"/>
                    </a:lnTo>
                    <a:lnTo>
                      <a:pt x="1183" y="1298"/>
                    </a:lnTo>
                    <a:lnTo>
                      <a:pt x="1183" y="1296"/>
                    </a:lnTo>
                    <a:lnTo>
                      <a:pt x="1185" y="1296"/>
                    </a:lnTo>
                    <a:lnTo>
                      <a:pt x="1183" y="1296"/>
                    </a:lnTo>
                    <a:lnTo>
                      <a:pt x="1183" y="1294"/>
                    </a:lnTo>
                    <a:lnTo>
                      <a:pt x="1183" y="1293"/>
                    </a:lnTo>
                    <a:lnTo>
                      <a:pt x="1183" y="1291"/>
                    </a:lnTo>
                    <a:lnTo>
                      <a:pt x="1185" y="1291"/>
                    </a:lnTo>
                    <a:lnTo>
                      <a:pt x="1185" y="1289"/>
                    </a:lnTo>
                    <a:lnTo>
                      <a:pt x="1185" y="1288"/>
                    </a:lnTo>
                    <a:lnTo>
                      <a:pt x="1186" y="1288"/>
                    </a:lnTo>
                    <a:lnTo>
                      <a:pt x="1186" y="1289"/>
                    </a:lnTo>
                    <a:lnTo>
                      <a:pt x="1186" y="1288"/>
                    </a:lnTo>
                    <a:lnTo>
                      <a:pt x="1186" y="1289"/>
                    </a:lnTo>
                    <a:lnTo>
                      <a:pt x="1188" y="1289"/>
                    </a:lnTo>
                    <a:lnTo>
                      <a:pt x="1190" y="1289"/>
                    </a:lnTo>
                    <a:lnTo>
                      <a:pt x="1190" y="1288"/>
                    </a:lnTo>
                    <a:lnTo>
                      <a:pt x="1191" y="1288"/>
                    </a:lnTo>
                    <a:lnTo>
                      <a:pt x="1193" y="1288"/>
                    </a:lnTo>
                    <a:lnTo>
                      <a:pt x="1195" y="1289"/>
                    </a:lnTo>
                    <a:lnTo>
                      <a:pt x="1196" y="1288"/>
                    </a:lnTo>
                    <a:lnTo>
                      <a:pt x="1196" y="1289"/>
                    </a:lnTo>
                    <a:lnTo>
                      <a:pt x="1198" y="1288"/>
                    </a:lnTo>
                    <a:lnTo>
                      <a:pt x="1196" y="1288"/>
                    </a:lnTo>
                    <a:lnTo>
                      <a:pt x="1195" y="1288"/>
                    </a:lnTo>
                    <a:lnTo>
                      <a:pt x="1193" y="1288"/>
                    </a:lnTo>
                    <a:lnTo>
                      <a:pt x="1191" y="1286"/>
                    </a:lnTo>
                    <a:lnTo>
                      <a:pt x="1190" y="1288"/>
                    </a:lnTo>
                    <a:lnTo>
                      <a:pt x="1188" y="1288"/>
                    </a:lnTo>
                    <a:lnTo>
                      <a:pt x="1186" y="1288"/>
                    </a:lnTo>
                    <a:lnTo>
                      <a:pt x="1188" y="1286"/>
                    </a:lnTo>
                    <a:lnTo>
                      <a:pt x="1190" y="1286"/>
                    </a:lnTo>
                    <a:lnTo>
                      <a:pt x="1190" y="1284"/>
                    </a:lnTo>
                    <a:lnTo>
                      <a:pt x="1190" y="1286"/>
                    </a:lnTo>
                    <a:lnTo>
                      <a:pt x="1188" y="1286"/>
                    </a:lnTo>
                    <a:lnTo>
                      <a:pt x="1188" y="1284"/>
                    </a:lnTo>
                    <a:lnTo>
                      <a:pt x="1188" y="1286"/>
                    </a:lnTo>
                    <a:lnTo>
                      <a:pt x="1186" y="1286"/>
                    </a:lnTo>
                    <a:lnTo>
                      <a:pt x="1186" y="1284"/>
                    </a:lnTo>
                    <a:lnTo>
                      <a:pt x="1185" y="1286"/>
                    </a:lnTo>
                    <a:lnTo>
                      <a:pt x="1185" y="1284"/>
                    </a:lnTo>
                    <a:lnTo>
                      <a:pt x="1186" y="1284"/>
                    </a:lnTo>
                    <a:lnTo>
                      <a:pt x="1185" y="1282"/>
                    </a:lnTo>
                    <a:lnTo>
                      <a:pt x="1185" y="1281"/>
                    </a:lnTo>
                    <a:lnTo>
                      <a:pt x="1186" y="1281"/>
                    </a:lnTo>
                    <a:lnTo>
                      <a:pt x="1186" y="1279"/>
                    </a:lnTo>
                    <a:lnTo>
                      <a:pt x="1188" y="1279"/>
                    </a:lnTo>
                    <a:lnTo>
                      <a:pt x="1188" y="1277"/>
                    </a:lnTo>
                    <a:lnTo>
                      <a:pt x="1190" y="1279"/>
                    </a:lnTo>
                    <a:lnTo>
                      <a:pt x="1188" y="1277"/>
                    </a:lnTo>
                    <a:lnTo>
                      <a:pt x="1190" y="1277"/>
                    </a:lnTo>
                    <a:lnTo>
                      <a:pt x="1190" y="1276"/>
                    </a:lnTo>
                    <a:lnTo>
                      <a:pt x="1191" y="1276"/>
                    </a:lnTo>
                    <a:lnTo>
                      <a:pt x="1193" y="1276"/>
                    </a:lnTo>
                    <a:lnTo>
                      <a:pt x="1193" y="1277"/>
                    </a:lnTo>
                    <a:lnTo>
                      <a:pt x="1195" y="1277"/>
                    </a:lnTo>
                    <a:lnTo>
                      <a:pt x="1195" y="1279"/>
                    </a:lnTo>
                    <a:lnTo>
                      <a:pt x="1196" y="1279"/>
                    </a:lnTo>
                    <a:lnTo>
                      <a:pt x="1198" y="1281"/>
                    </a:lnTo>
                    <a:lnTo>
                      <a:pt x="1200" y="1282"/>
                    </a:lnTo>
                    <a:lnTo>
                      <a:pt x="1200" y="1281"/>
                    </a:lnTo>
                    <a:lnTo>
                      <a:pt x="1200" y="1279"/>
                    </a:lnTo>
                    <a:lnTo>
                      <a:pt x="1198" y="1279"/>
                    </a:lnTo>
                    <a:lnTo>
                      <a:pt x="1196" y="1279"/>
                    </a:lnTo>
                    <a:lnTo>
                      <a:pt x="1196" y="1277"/>
                    </a:lnTo>
                    <a:lnTo>
                      <a:pt x="1196" y="1276"/>
                    </a:lnTo>
                    <a:lnTo>
                      <a:pt x="1196" y="1274"/>
                    </a:lnTo>
                    <a:lnTo>
                      <a:pt x="1198" y="1272"/>
                    </a:lnTo>
                    <a:lnTo>
                      <a:pt x="1200" y="1274"/>
                    </a:lnTo>
                    <a:lnTo>
                      <a:pt x="1200" y="1272"/>
                    </a:lnTo>
                    <a:lnTo>
                      <a:pt x="1202" y="1272"/>
                    </a:lnTo>
                    <a:lnTo>
                      <a:pt x="1200" y="1272"/>
                    </a:lnTo>
                    <a:lnTo>
                      <a:pt x="1198" y="1272"/>
                    </a:lnTo>
                    <a:lnTo>
                      <a:pt x="1196" y="1272"/>
                    </a:lnTo>
                    <a:lnTo>
                      <a:pt x="1196" y="1270"/>
                    </a:lnTo>
                    <a:lnTo>
                      <a:pt x="1195" y="1270"/>
                    </a:lnTo>
                    <a:lnTo>
                      <a:pt x="1193" y="1270"/>
                    </a:lnTo>
                    <a:lnTo>
                      <a:pt x="1193" y="1269"/>
                    </a:lnTo>
                    <a:lnTo>
                      <a:pt x="1191" y="1269"/>
                    </a:lnTo>
                    <a:lnTo>
                      <a:pt x="1190" y="1269"/>
                    </a:lnTo>
                    <a:lnTo>
                      <a:pt x="1191" y="1267"/>
                    </a:lnTo>
                    <a:lnTo>
                      <a:pt x="1193" y="1267"/>
                    </a:lnTo>
                    <a:lnTo>
                      <a:pt x="1195" y="1267"/>
                    </a:lnTo>
                    <a:lnTo>
                      <a:pt x="1196" y="1267"/>
                    </a:lnTo>
                    <a:lnTo>
                      <a:pt x="1198" y="1267"/>
                    </a:lnTo>
                    <a:lnTo>
                      <a:pt x="1200" y="1267"/>
                    </a:lnTo>
                    <a:lnTo>
                      <a:pt x="1198" y="1267"/>
                    </a:lnTo>
                    <a:lnTo>
                      <a:pt x="1196" y="1267"/>
                    </a:lnTo>
                    <a:lnTo>
                      <a:pt x="1195" y="1267"/>
                    </a:lnTo>
                    <a:lnTo>
                      <a:pt x="1193" y="1267"/>
                    </a:lnTo>
                    <a:lnTo>
                      <a:pt x="1191" y="1267"/>
                    </a:lnTo>
                    <a:lnTo>
                      <a:pt x="1190" y="1267"/>
                    </a:lnTo>
                    <a:lnTo>
                      <a:pt x="1190" y="1269"/>
                    </a:lnTo>
                    <a:lnTo>
                      <a:pt x="1188" y="1269"/>
                    </a:lnTo>
                    <a:lnTo>
                      <a:pt x="1188" y="1267"/>
                    </a:lnTo>
                    <a:lnTo>
                      <a:pt x="1190" y="1267"/>
                    </a:lnTo>
                    <a:lnTo>
                      <a:pt x="1190" y="1265"/>
                    </a:lnTo>
                    <a:lnTo>
                      <a:pt x="1188" y="1264"/>
                    </a:lnTo>
                    <a:lnTo>
                      <a:pt x="1188" y="1265"/>
                    </a:lnTo>
                    <a:lnTo>
                      <a:pt x="1188" y="1264"/>
                    </a:lnTo>
                    <a:lnTo>
                      <a:pt x="1188" y="1262"/>
                    </a:lnTo>
                    <a:lnTo>
                      <a:pt x="1186" y="1262"/>
                    </a:lnTo>
                    <a:lnTo>
                      <a:pt x="1185" y="1262"/>
                    </a:lnTo>
                    <a:lnTo>
                      <a:pt x="1185" y="1260"/>
                    </a:lnTo>
                    <a:lnTo>
                      <a:pt x="1183" y="1260"/>
                    </a:lnTo>
                    <a:lnTo>
                      <a:pt x="1183" y="1259"/>
                    </a:lnTo>
                    <a:lnTo>
                      <a:pt x="1181" y="1259"/>
                    </a:lnTo>
                    <a:lnTo>
                      <a:pt x="1181" y="1257"/>
                    </a:lnTo>
                    <a:lnTo>
                      <a:pt x="1181" y="1255"/>
                    </a:lnTo>
                    <a:lnTo>
                      <a:pt x="1183" y="1255"/>
                    </a:lnTo>
                    <a:lnTo>
                      <a:pt x="1183" y="1253"/>
                    </a:lnTo>
                    <a:lnTo>
                      <a:pt x="1183" y="1255"/>
                    </a:lnTo>
                    <a:lnTo>
                      <a:pt x="1183" y="1253"/>
                    </a:lnTo>
                    <a:lnTo>
                      <a:pt x="1183" y="1252"/>
                    </a:lnTo>
                    <a:lnTo>
                      <a:pt x="1185" y="1252"/>
                    </a:lnTo>
                    <a:lnTo>
                      <a:pt x="1183" y="1252"/>
                    </a:lnTo>
                    <a:lnTo>
                      <a:pt x="1183" y="1253"/>
                    </a:lnTo>
                    <a:lnTo>
                      <a:pt x="1181" y="1253"/>
                    </a:lnTo>
                    <a:lnTo>
                      <a:pt x="1181" y="1255"/>
                    </a:lnTo>
                    <a:lnTo>
                      <a:pt x="1179" y="1255"/>
                    </a:lnTo>
                    <a:lnTo>
                      <a:pt x="1181" y="1255"/>
                    </a:lnTo>
                    <a:lnTo>
                      <a:pt x="1181" y="1253"/>
                    </a:lnTo>
                    <a:lnTo>
                      <a:pt x="1181" y="1255"/>
                    </a:lnTo>
                    <a:lnTo>
                      <a:pt x="1179" y="1255"/>
                    </a:lnTo>
                    <a:lnTo>
                      <a:pt x="1178" y="1257"/>
                    </a:lnTo>
                    <a:lnTo>
                      <a:pt x="1178" y="1255"/>
                    </a:lnTo>
                    <a:lnTo>
                      <a:pt x="1176" y="1255"/>
                    </a:lnTo>
                    <a:lnTo>
                      <a:pt x="1176" y="1253"/>
                    </a:lnTo>
                    <a:lnTo>
                      <a:pt x="1176" y="1255"/>
                    </a:lnTo>
                    <a:lnTo>
                      <a:pt x="1176" y="1253"/>
                    </a:lnTo>
                    <a:lnTo>
                      <a:pt x="1176" y="1252"/>
                    </a:lnTo>
                    <a:lnTo>
                      <a:pt x="1176" y="1250"/>
                    </a:lnTo>
                    <a:lnTo>
                      <a:pt x="1178" y="1250"/>
                    </a:lnTo>
                    <a:lnTo>
                      <a:pt x="1179" y="1248"/>
                    </a:lnTo>
                    <a:lnTo>
                      <a:pt x="1181" y="1248"/>
                    </a:lnTo>
                    <a:lnTo>
                      <a:pt x="1183" y="1250"/>
                    </a:lnTo>
                    <a:lnTo>
                      <a:pt x="1185" y="1250"/>
                    </a:lnTo>
                    <a:lnTo>
                      <a:pt x="1186" y="1252"/>
                    </a:lnTo>
                    <a:lnTo>
                      <a:pt x="1186" y="1253"/>
                    </a:lnTo>
                    <a:lnTo>
                      <a:pt x="1186" y="1252"/>
                    </a:lnTo>
                    <a:lnTo>
                      <a:pt x="1186" y="1253"/>
                    </a:lnTo>
                    <a:lnTo>
                      <a:pt x="1188" y="1255"/>
                    </a:lnTo>
                    <a:lnTo>
                      <a:pt x="1188" y="1257"/>
                    </a:lnTo>
                    <a:lnTo>
                      <a:pt x="1190" y="1259"/>
                    </a:lnTo>
                    <a:lnTo>
                      <a:pt x="1190" y="1260"/>
                    </a:lnTo>
                    <a:lnTo>
                      <a:pt x="1190" y="1262"/>
                    </a:lnTo>
                    <a:lnTo>
                      <a:pt x="1188" y="1262"/>
                    </a:lnTo>
                    <a:lnTo>
                      <a:pt x="1190" y="1262"/>
                    </a:lnTo>
                    <a:lnTo>
                      <a:pt x="1188" y="1264"/>
                    </a:lnTo>
                    <a:lnTo>
                      <a:pt x="1190" y="1264"/>
                    </a:lnTo>
                    <a:lnTo>
                      <a:pt x="1190" y="1262"/>
                    </a:lnTo>
                    <a:lnTo>
                      <a:pt x="1190" y="1260"/>
                    </a:lnTo>
                    <a:lnTo>
                      <a:pt x="1191" y="1262"/>
                    </a:lnTo>
                    <a:lnTo>
                      <a:pt x="1191" y="1264"/>
                    </a:lnTo>
                    <a:lnTo>
                      <a:pt x="1193" y="1262"/>
                    </a:lnTo>
                    <a:lnTo>
                      <a:pt x="1195" y="1262"/>
                    </a:lnTo>
                    <a:lnTo>
                      <a:pt x="1193" y="1262"/>
                    </a:lnTo>
                    <a:lnTo>
                      <a:pt x="1191" y="1264"/>
                    </a:lnTo>
                    <a:lnTo>
                      <a:pt x="1191" y="1262"/>
                    </a:lnTo>
                    <a:lnTo>
                      <a:pt x="1191" y="1260"/>
                    </a:lnTo>
                    <a:lnTo>
                      <a:pt x="1190" y="1260"/>
                    </a:lnTo>
                    <a:lnTo>
                      <a:pt x="1190" y="1259"/>
                    </a:lnTo>
                    <a:lnTo>
                      <a:pt x="1191" y="1259"/>
                    </a:lnTo>
                    <a:lnTo>
                      <a:pt x="1190" y="1259"/>
                    </a:lnTo>
                    <a:lnTo>
                      <a:pt x="1190" y="1257"/>
                    </a:lnTo>
                    <a:lnTo>
                      <a:pt x="1188" y="1255"/>
                    </a:lnTo>
                    <a:lnTo>
                      <a:pt x="1188" y="1253"/>
                    </a:lnTo>
                    <a:lnTo>
                      <a:pt x="1188" y="1252"/>
                    </a:lnTo>
                    <a:lnTo>
                      <a:pt x="1190" y="1252"/>
                    </a:lnTo>
                    <a:lnTo>
                      <a:pt x="1190" y="1250"/>
                    </a:lnTo>
                    <a:lnTo>
                      <a:pt x="1191" y="1250"/>
                    </a:lnTo>
                    <a:lnTo>
                      <a:pt x="1191" y="1252"/>
                    </a:lnTo>
                    <a:lnTo>
                      <a:pt x="1191" y="1253"/>
                    </a:lnTo>
                    <a:lnTo>
                      <a:pt x="1193" y="1253"/>
                    </a:lnTo>
                    <a:lnTo>
                      <a:pt x="1193" y="1255"/>
                    </a:lnTo>
                    <a:lnTo>
                      <a:pt x="1191" y="1253"/>
                    </a:lnTo>
                    <a:lnTo>
                      <a:pt x="1191" y="1252"/>
                    </a:lnTo>
                    <a:lnTo>
                      <a:pt x="1191" y="1250"/>
                    </a:lnTo>
                    <a:lnTo>
                      <a:pt x="1193" y="1250"/>
                    </a:lnTo>
                    <a:lnTo>
                      <a:pt x="1193" y="1252"/>
                    </a:lnTo>
                    <a:lnTo>
                      <a:pt x="1193" y="1250"/>
                    </a:lnTo>
                    <a:lnTo>
                      <a:pt x="1195" y="1250"/>
                    </a:lnTo>
                    <a:lnTo>
                      <a:pt x="1196" y="1250"/>
                    </a:lnTo>
                    <a:lnTo>
                      <a:pt x="1196" y="1252"/>
                    </a:lnTo>
                    <a:lnTo>
                      <a:pt x="1195" y="1252"/>
                    </a:lnTo>
                    <a:lnTo>
                      <a:pt x="1196" y="1252"/>
                    </a:lnTo>
                    <a:lnTo>
                      <a:pt x="1196" y="1253"/>
                    </a:lnTo>
                    <a:lnTo>
                      <a:pt x="1196" y="1252"/>
                    </a:lnTo>
                    <a:lnTo>
                      <a:pt x="1198" y="1252"/>
                    </a:lnTo>
                    <a:lnTo>
                      <a:pt x="1198" y="1253"/>
                    </a:lnTo>
                    <a:lnTo>
                      <a:pt x="1200" y="1253"/>
                    </a:lnTo>
                    <a:lnTo>
                      <a:pt x="1202" y="1252"/>
                    </a:lnTo>
                    <a:lnTo>
                      <a:pt x="1202" y="1253"/>
                    </a:lnTo>
                    <a:lnTo>
                      <a:pt x="1202" y="1252"/>
                    </a:lnTo>
                    <a:lnTo>
                      <a:pt x="1202" y="1253"/>
                    </a:lnTo>
                    <a:lnTo>
                      <a:pt x="1203" y="1253"/>
                    </a:lnTo>
                    <a:lnTo>
                      <a:pt x="1203" y="1255"/>
                    </a:lnTo>
                    <a:lnTo>
                      <a:pt x="1202" y="1255"/>
                    </a:lnTo>
                    <a:lnTo>
                      <a:pt x="1203" y="1257"/>
                    </a:lnTo>
                    <a:lnTo>
                      <a:pt x="1202" y="1257"/>
                    </a:lnTo>
                    <a:lnTo>
                      <a:pt x="1203" y="1257"/>
                    </a:lnTo>
                    <a:lnTo>
                      <a:pt x="1203" y="1255"/>
                    </a:lnTo>
                    <a:lnTo>
                      <a:pt x="1203" y="1253"/>
                    </a:lnTo>
                    <a:lnTo>
                      <a:pt x="1205" y="1253"/>
                    </a:lnTo>
                    <a:lnTo>
                      <a:pt x="1207" y="1253"/>
                    </a:lnTo>
                    <a:lnTo>
                      <a:pt x="1207" y="1255"/>
                    </a:lnTo>
                    <a:lnTo>
                      <a:pt x="1205" y="1255"/>
                    </a:lnTo>
                    <a:lnTo>
                      <a:pt x="1205" y="1257"/>
                    </a:lnTo>
                    <a:lnTo>
                      <a:pt x="1205" y="1259"/>
                    </a:lnTo>
                    <a:lnTo>
                      <a:pt x="1205" y="1257"/>
                    </a:lnTo>
                    <a:lnTo>
                      <a:pt x="1207" y="1255"/>
                    </a:lnTo>
                    <a:lnTo>
                      <a:pt x="1208" y="1257"/>
                    </a:lnTo>
                    <a:lnTo>
                      <a:pt x="1210" y="1257"/>
                    </a:lnTo>
                    <a:lnTo>
                      <a:pt x="1210" y="1259"/>
                    </a:lnTo>
                    <a:lnTo>
                      <a:pt x="1210" y="1257"/>
                    </a:lnTo>
                    <a:lnTo>
                      <a:pt x="1212" y="1259"/>
                    </a:lnTo>
                    <a:lnTo>
                      <a:pt x="1212" y="1260"/>
                    </a:lnTo>
                    <a:lnTo>
                      <a:pt x="1212" y="1262"/>
                    </a:lnTo>
                    <a:lnTo>
                      <a:pt x="1210" y="1262"/>
                    </a:lnTo>
                    <a:lnTo>
                      <a:pt x="1210" y="1264"/>
                    </a:lnTo>
                    <a:lnTo>
                      <a:pt x="1212" y="1262"/>
                    </a:lnTo>
                    <a:lnTo>
                      <a:pt x="1212" y="1260"/>
                    </a:lnTo>
                    <a:lnTo>
                      <a:pt x="1212" y="1262"/>
                    </a:lnTo>
                    <a:lnTo>
                      <a:pt x="1212" y="1264"/>
                    </a:lnTo>
                    <a:lnTo>
                      <a:pt x="1213" y="1264"/>
                    </a:lnTo>
                    <a:lnTo>
                      <a:pt x="1215" y="1264"/>
                    </a:lnTo>
                    <a:lnTo>
                      <a:pt x="1213" y="1262"/>
                    </a:lnTo>
                    <a:lnTo>
                      <a:pt x="1215" y="1260"/>
                    </a:lnTo>
                    <a:lnTo>
                      <a:pt x="1217" y="1260"/>
                    </a:lnTo>
                    <a:lnTo>
                      <a:pt x="1217" y="1262"/>
                    </a:lnTo>
                    <a:lnTo>
                      <a:pt x="1219" y="1262"/>
                    </a:lnTo>
                    <a:lnTo>
                      <a:pt x="1220" y="1262"/>
                    </a:lnTo>
                    <a:lnTo>
                      <a:pt x="1220" y="1260"/>
                    </a:lnTo>
                    <a:lnTo>
                      <a:pt x="1222" y="1260"/>
                    </a:lnTo>
                    <a:lnTo>
                      <a:pt x="1222" y="1259"/>
                    </a:lnTo>
                    <a:lnTo>
                      <a:pt x="1222" y="1257"/>
                    </a:lnTo>
                    <a:lnTo>
                      <a:pt x="1222" y="1255"/>
                    </a:lnTo>
                    <a:lnTo>
                      <a:pt x="1222" y="1253"/>
                    </a:lnTo>
                    <a:lnTo>
                      <a:pt x="1222" y="1252"/>
                    </a:lnTo>
                    <a:lnTo>
                      <a:pt x="1222" y="1253"/>
                    </a:lnTo>
                    <a:lnTo>
                      <a:pt x="1222" y="1255"/>
                    </a:lnTo>
                    <a:lnTo>
                      <a:pt x="1222" y="1257"/>
                    </a:lnTo>
                    <a:lnTo>
                      <a:pt x="1222" y="1259"/>
                    </a:lnTo>
                    <a:lnTo>
                      <a:pt x="1220" y="1260"/>
                    </a:lnTo>
                    <a:lnTo>
                      <a:pt x="1219" y="1260"/>
                    </a:lnTo>
                    <a:lnTo>
                      <a:pt x="1219" y="1259"/>
                    </a:lnTo>
                    <a:lnTo>
                      <a:pt x="1217" y="1259"/>
                    </a:lnTo>
                    <a:lnTo>
                      <a:pt x="1215" y="1259"/>
                    </a:lnTo>
                    <a:lnTo>
                      <a:pt x="1215" y="1257"/>
                    </a:lnTo>
                    <a:lnTo>
                      <a:pt x="1213" y="1255"/>
                    </a:lnTo>
                    <a:lnTo>
                      <a:pt x="1212" y="1255"/>
                    </a:lnTo>
                    <a:lnTo>
                      <a:pt x="1212" y="1253"/>
                    </a:lnTo>
                    <a:lnTo>
                      <a:pt x="1212" y="1252"/>
                    </a:lnTo>
                    <a:lnTo>
                      <a:pt x="1213" y="1252"/>
                    </a:lnTo>
                    <a:lnTo>
                      <a:pt x="1213" y="1250"/>
                    </a:lnTo>
                    <a:lnTo>
                      <a:pt x="1212" y="1250"/>
                    </a:lnTo>
                    <a:lnTo>
                      <a:pt x="1212" y="1252"/>
                    </a:lnTo>
                    <a:lnTo>
                      <a:pt x="1210" y="1252"/>
                    </a:lnTo>
                    <a:lnTo>
                      <a:pt x="1210" y="1250"/>
                    </a:lnTo>
                    <a:lnTo>
                      <a:pt x="1208" y="1248"/>
                    </a:lnTo>
                    <a:lnTo>
                      <a:pt x="1210" y="1248"/>
                    </a:lnTo>
                    <a:lnTo>
                      <a:pt x="1210" y="1247"/>
                    </a:lnTo>
                    <a:lnTo>
                      <a:pt x="1208" y="1247"/>
                    </a:lnTo>
                    <a:lnTo>
                      <a:pt x="1210" y="1245"/>
                    </a:lnTo>
                    <a:lnTo>
                      <a:pt x="1212" y="1245"/>
                    </a:lnTo>
                    <a:lnTo>
                      <a:pt x="1213" y="1245"/>
                    </a:lnTo>
                    <a:lnTo>
                      <a:pt x="1213" y="1247"/>
                    </a:lnTo>
                    <a:lnTo>
                      <a:pt x="1213" y="1248"/>
                    </a:lnTo>
                    <a:lnTo>
                      <a:pt x="1215" y="1248"/>
                    </a:lnTo>
                    <a:lnTo>
                      <a:pt x="1215" y="1250"/>
                    </a:lnTo>
                    <a:lnTo>
                      <a:pt x="1217" y="1250"/>
                    </a:lnTo>
                    <a:lnTo>
                      <a:pt x="1219" y="1250"/>
                    </a:lnTo>
                    <a:lnTo>
                      <a:pt x="1220" y="1248"/>
                    </a:lnTo>
                    <a:lnTo>
                      <a:pt x="1220" y="1250"/>
                    </a:lnTo>
                    <a:lnTo>
                      <a:pt x="1222" y="1250"/>
                    </a:lnTo>
                    <a:lnTo>
                      <a:pt x="1224" y="1250"/>
                    </a:lnTo>
                    <a:lnTo>
                      <a:pt x="1222" y="1248"/>
                    </a:lnTo>
                    <a:lnTo>
                      <a:pt x="1220" y="1248"/>
                    </a:lnTo>
                    <a:lnTo>
                      <a:pt x="1219" y="1248"/>
                    </a:lnTo>
                    <a:lnTo>
                      <a:pt x="1217" y="1248"/>
                    </a:lnTo>
                    <a:lnTo>
                      <a:pt x="1215" y="1248"/>
                    </a:lnTo>
                    <a:lnTo>
                      <a:pt x="1213" y="1248"/>
                    </a:lnTo>
                    <a:lnTo>
                      <a:pt x="1213" y="1247"/>
                    </a:lnTo>
                    <a:lnTo>
                      <a:pt x="1215" y="1247"/>
                    </a:lnTo>
                    <a:lnTo>
                      <a:pt x="1213" y="1245"/>
                    </a:lnTo>
                    <a:lnTo>
                      <a:pt x="1215" y="1245"/>
                    </a:lnTo>
                    <a:lnTo>
                      <a:pt x="1215" y="1243"/>
                    </a:lnTo>
                    <a:lnTo>
                      <a:pt x="1215" y="1245"/>
                    </a:lnTo>
                    <a:lnTo>
                      <a:pt x="1213" y="1245"/>
                    </a:lnTo>
                    <a:lnTo>
                      <a:pt x="1213" y="1243"/>
                    </a:lnTo>
                    <a:lnTo>
                      <a:pt x="1212" y="1243"/>
                    </a:lnTo>
                    <a:lnTo>
                      <a:pt x="1212" y="1242"/>
                    </a:lnTo>
                    <a:lnTo>
                      <a:pt x="1210" y="1242"/>
                    </a:lnTo>
                    <a:lnTo>
                      <a:pt x="1212" y="1242"/>
                    </a:lnTo>
                    <a:lnTo>
                      <a:pt x="1212" y="1240"/>
                    </a:lnTo>
                    <a:lnTo>
                      <a:pt x="1210" y="1240"/>
                    </a:lnTo>
                    <a:lnTo>
                      <a:pt x="1208" y="1240"/>
                    </a:lnTo>
                    <a:lnTo>
                      <a:pt x="1207" y="1240"/>
                    </a:lnTo>
                    <a:lnTo>
                      <a:pt x="1207" y="1238"/>
                    </a:lnTo>
                    <a:lnTo>
                      <a:pt x="1207" y="1236"/>
                    </a:lnTo>
                    <a:lnTo>
                      <a:pt x="1207" y="1235"/>
                    </a:lnTo>
                    <a:lnTo>
                      <a:pt x="1208" y="1233"/>
                    </a:lnTo>
                    <a:lnTo>
                      <a:pt x="1210" y="1231"/>
                    </a:lnTo>
                    <a:lnTo>
                      <a:pt x="1208" y="1231"/>
                    </a:lnTo>
                    <a:lnTo>
                      <a:pt x="1208" y="1233"/>
                    </a:lnTo>
                    <a:lnTo>
                      <a:pt x="1207" y="1233"/>
                    </a:lnTo>
                    <a:lnTo>
                      <a:pt x="1208" y="1233"/>
                    </a:lnTo>
                    <a:lnTo>
                      <a:pt x="1207" y="1233"/>
                    </a:lnTo>
                    <a:lnTo>
                      <a:pt x="1207" y="1235"/>
                    </a:lnTo>
                    <a:lnTo>
                      <a:pt x="1205" y="1235"/>
                    </a:lnTo>
                    <a:lnTo>
                      <a:pt x="1205" y="1236"/>
                    </a:lnTo>
                    <a:lnTo>
                      <a:pt x="1205" y="1238"/>
                    </a:lnTo>
                    <a:lnTo>
                      <a:pt x="1207" y="1238"/>
                    </a:lnTo>
                    <a:lnTo>
                      <a:pt x="1207" y="1240"/>
                    </a:lnTo>
                    <a:lnTo>
                      <a:pt x="1205" y="1240"/>
                    </a:lnTo>
                    <a:lnTo>
                      <a:pt x="1205" y="1242"/>
                    </a:lnTo>
                    <a:lnTo>
                      <a:pt x="1203" y="1242"/>
                    </a:lnTo>
                    <a:lnTo>
                      <a:pt x="1202" y="1242"/>
                    </a:lnTo>
                    <a:lnTo>
                      <a:pt x="1202" y="1243"/>
                    </a:lnTo>
                    <a:lnTo>
                      <a:pt x="1200" y="1243"/>
                    </a:lnTo>
                    <a:lnTo>
                      <a:pt x="1200" y="1242"/>
                    </a:lnTo>
                    <a:lnTo>
                      <a:pt x="1198" y="1242"/>
                    </a:lnTo>
                    <a:lnTo>
                      <a:pt x="1196" y="1242"/>
                    </a:lnTo>
                    <a:lnTo>
                      <a:pt x="1196" y="1240"/>
                    </a:lnTo>
                    <a:lnTo>
                      <a:pt x="1196" y="1238"/>
                    </a:lnTo>
                    <a:lnTo>
                      <a:pt x="1195" y="1240"/>
                    </a:lnTo>
                    <a:lnTo>
                      <a:pt x="1193" y="1240"/>
                    </a:lnTo>
                    <a:lnTo>
                      <a:pt x="1191" y="1240"/>
                    </a:lnTo>
                    <a:lnTo>
                      <a:pt x="1190" y="1240"/>
                    </a:lnTo>
                    <a:lnTo>
                      <a:pt x="1188" y="1240"/>
                    </a:lnTo>
                    <a:lnTo>
                      <a:pt x="1186" y="1240"/>
                    </a:lnTo>
                    <a:lnTo>
                      <a:pt x="1185" y="1240"/>
                    </a:lnTo>
                    <a:lnTo>
                      <a:pt x="1185" y="1238"/>
                    </a:lnTo>
                    <a:lnTo>
                      <a:pt x="1186" y="1238"/>
                    </a:lnTo>
                    <a:lnTo>
                      <a:pt x="1186" y="1240"/>
                    </a:lnTo>
                    <a:lnTo>
                      <a:pt x="1188" y="1240"/>
                    </a:lnTo>
                    <a:lnTo>
                      <a:pt x="1186" y="1238"/>
                    </a:lnTo>
                    <a:lnTo>
                      <a:pt x="1185" y="1238"/>
                    </a:lnTo>
                    <a:lnTo>
                      <a:pt x="1183" y="1238"/>
                    </a:lnTo>
                    <a:lnTo>
                      <a:pt x="1181" y="1238"/>
                    </a:lnTo>
                    <a:lnTo>
                      <a:pt x="1181" y="1240"/>
                    </a:lnTo>
                    <a:lnTo>
                      <a:pt x="1179" y="1240"/>
                    </a:lnTo>
                    <a:lnTo>
                      <a:pt x="1179" y="1238"/>
                    </a:lnTo>
                    <a:lnTo>
                      <a:pt x="1181" y="1238"/>
                    </a:lnTo>
                    <a:lnTo>
                      <a:pt x="1179" y="1238"/>
                    </a:lnTo>
                    <a:lnTo>
                      <a:pt x="1179" y="1240"/>
                    </a:lnTo>
                    <a:lnTo>
                      <a:pt x="1178" y="1240"/>
                    </a:lnTo>
                    <a:lnTo>
                      <a:pt x="1176" y="1240"/>
                    </a:lnTo>
                    <a:lnTo>
                      <a:pt x="1174" y="1238"/>
                    </a:lnTo>
                    <a:lnTo>
                      <a:pt x="1176" y="1238"/>
                    </a:lnTo>
                    <a:lnTo>
                      <a:pt x="1176" y="1236"/>
                    </a:lnTo>
                    <a:lnTo>
                      <a:pt x="1178" y="1236"/>
                    </a:lnTo>
                    <a:lnTo>
                      <a:pt x="1176" y="1236"/>
                    </a:lnTo>
                    <a:lnTo>
                      <a:pt x="1176" y="1238"/>
                    </a:lnTo>
                    <a:lnTo>
                      <a:pt x="1174" y="1238"/>
                    </a:lnTo>
                    <a:lnTo>
                      <a:pt x="1173" y="1238"/>
                    </a:lnTo>
                    <a:lnTo>
                      <a:pt x="1173" y="1236"/>
                    </a:lnTo>
                    <a:lnTo>
                      <a:pt x="1174" y="1235"/>
                    </a:lnTo>
                    <a:lnTo>
                      <a:pt x="1174" y="1233"/>
                    </a:lnTo>
                    <a:lnTo>
                      <a:pt x="1176" y="1233"/>
                    </a:lnTo>
                    <a:lnTo>
                      <a:pt x="1176" y="1231"/>
                    </a:lnTo>
                    <a:lnTo>
                      <a:pt x="1178" y="1233"/>
                    </a:lnTo>
                    <a:lnTo>
                      <a:pt x="1178" y="1231"/>
                    </a:lnTo>
                    <a:lnTo>
                      <a:pt x="1178" y="1233"/>
                    </a:lnTo>
                    <a:lnTo>
                      <a:pt x="1178" y="1231"/>
                    </a:lnTo>
                    <a:lnTo>
                      <a:pt x="1176" y="1231"/>
                    </a:lnTo>
                    <a:lnTo>
                      <a:pt x="1176" y="1230"/>
                    </a:lnTo>
                    <a:lnTo>
                      <a:pt x="1178" y="1230"/>
                    </a:lnTo>
                    <a:lnTo>
                      <a:pt x="1178" y="1228"/>
                    </a:lnTo>
                    <a:lnTo>
                      <a:pt x="1179" y="1228"/>
                    </a:lnTo>
                    <a:lnTo>
                      <a:pt x="1181" y="1228"/>
                    </a:lnTo>
                    <a:lnTo>
                      <a:pt x="1179" y="1230"/>
                    </a:lnTo>
                    <a:lnTo>
                      <a:pt x="1181" y="1230"/>
                    </a:lnTo>
                    <a:lnTo>
                      <a:pt x="1181" y="1231"/>
                    </a:lnTo>
                    <a:lnTo>
                      <a:pt x="1181" y="1230"/>
                    </a:lnTo>
                    <a:lnTo>
                      <a:pt x="1181" y="1228"/>
                    </a:lnTo>
                    <a:lnTo>
                      <a:pt x="1183" y="1228"/>
                    </a:lnTo>
                    <a:lnTo>
                      <a:pt x="1185" y="1228"/>
                    </a:lnTo>
                    <a:lnTo>
                      <a:pt x="1185" y="1230"/>
                    </a:lnTo>
                    <a:lnTo>
                      <a:pt x="1185" y="1231"/>
                    </a:lnTo>
                    <a:lnTo>
                      <a:pt x="1185" y="1230"/>
                    </a:lnTo>
                    <a:lnTo>
                      <a:pt x="1186" y="1231"/>
                    </a:lnTo>
                    <a:lnTo>
                      <a:pt x="1186" y="1233"/>
                    </a:lnTo>
                    <a:lnTo>
                      <a:pt x="1185" y="1233"/>
                    </a:lnTo>
                    <a:lnTo>
                      <a:pt x="1185" y="1235"/>
                    </a:lnTo>
                    <a:lnTo>
                      <a:pt x="1185" y="1233"/>
                    </a:lnTo>
                    <a:lnTo>
                      <a:pt x="1185" y="1231"/>
                    </a:lnTo>
                    <a:lnTo>
                      <a:pt x="1185" y="1233"/>
                    </a:lnTo>
                    <a:lnTo>
                      <a:pt x="1183" y="1233"/>
                    </a:lnTo>
                    <a:lnTo>
                      <a:pt x="1183" y="1235"/>
                    </a:lnTo>
                    <a:lnTo>
                      <a:pt x="1181" y="1235"/>
                    </a:lnTo>
                    <a:lnTo>
                      <a:pt x="1179" y="1235"/>
                    </a:lnTo>
                    <a:lnTo>
                      <a:pt x="1179" y="1233"/>
                    </a:lnTo>
                    <a:lnTo>
                      <a:pt x="1178" y="1233"/>
                    </a:lnTo>
                    <a:lnTo>
                      <a:pt x="1179" y="1233"/>
                    </a:lnTo>
                    <a:lnTo>
                      <a:pt x="1178" y="1235"/>
                    </a:lnTo>
                    <a:lnTo>
                      <a:pt x="1179" y="1235"/>
                    </a:lnTo>
                    <a:lnTo>
                      <a:pt x="1179" y="1236"/>
                    </a:lnTo>
                    <a:lnTo>
                      <a:pt x="1181" y="1235"/>
                    </a:lnTo>
                    <a:lnTo>
                      <a:pt x="1183" y="1235"/>
                    </a:lnTo>
                    <a:lnTo>
                      <a:pt x="1185" y="1235"/>
                    </a:lnTo>
                    <a:lnTo>
                      <a:pt x="1186" y="1233"/>
                    </a:lnTo>
                    <a:lnTo>
                      <a:pt x="1186" y="1235"/>
                    </a:lnTo>
                    <a:lnTo>
                      <a:pt x="1186" y="1233"/>
                    </a:lnTo>
                    <a:lnTo>
                      <a:pt x="1188" y="1235"/>
                    </a:lnTo>
                    <a:lnTo>
                      <a:pt x="1186" y="1235"/>
                    </a:lnTo>
                    <a:lnTo>
                      <a:pt x="1186" y="1236"/>
                    </a:lnTo>
                    <a:lnTo>
                      <a:pt x="1188" y="1236"/>
                    </a:lnTo>
                    <a:lnTo>
                      <a:pt x="1188" y="1238"/>
                    </a:lnTo>
                    <a:lnTo>
                      <a:pt x="1190" y="1238"/>
                    </a:lnTo>
                    <a:lnTo>
                      <a:pt x="1191" y="1238"/>
                    </a:lnTo>
                    <a:lnTo>
                      <a:pt x="1191" y="1240"/>
                    </a:lnTo>
                    <a:lnTo>
                      <a:pt x="1191" y="1238"/>
                    </a:lnTo>
                    <a:lnTo>
                      <a:pt x="1193" y="1238"/>
                    </a:lnTo>
                    <a:lnTo>
                      <a:pt x="1195" y="1238"/>
                    </a:lnTo>
                    <a:lnTo>
                      <a:pt x="1193" y="1238"/>
                    </a:lnTo>
                    <a:lnTo>
                      <a:pt x="1191" y="1238"/>
                    </a:lnTo>
                    <a:lnTo>
                      <a:pt x="1190" y="1238"/>
                    </a:lnTo>
                    <a:lnTo>
                      <a:pt x="1190" y="1236"/>
                    </a:lnTo>
                    <a:lnTo>
                      <a:pt x="1188" y="1236"/>
                    </a:lnTo>
                    <a:lnTo>
                      <a:pt x="1188" y="1235"/>
                    </a:lnTo>
                    <a:lnTo>
                      <a:pt x="1188" y="1233"/>
                    </a:lnTo>
                    <a:lnTo>
                      <a:pt x="1190" y="1233"/>
                    </a:lnTo>
                    <a:lnTo>
                      <a:pt x="1191" y="1233"/>
                    </a:lnTo>
                    <a:lnTo>
                      <a:pt x="1193" y="1235"/>
                    </a:lnTo>
                    <a:lnTo>
                      <a:pt x="1195" y="1235"/>
                    </a:lnTo>
                    <a:lnTo>
                      <a:pt x="1193" y="1233"/>
                    </a:lnTo>
                    <a:lnTo>
                      <a:pt x="1195" y="1233"/>
                    </a:lnTo>
                    <a:lnTo>
                      <a:pt x="1193" y="1233"/>
                    </a:lnTo>
                    <a:lnTo>
                      <a:pt x="1191" y="1233"/>
                    </a:lnTo>
                    <a:lnTo>
                      <a:pt x="1190" y="1233"/>
                    </a:lnTo>
                    <a:lnTo>
                      <a:pt x="1188" y="1233"/>
                    </a:lnTo>
                    <a:lnTo>
                      <a:pt x="1190" y="1233"/>
                    </a:lnTo>
                    <a:lnTo>
                      <a:pt x="1188" y="1233"/>
                    </a:lnTo>
                    <a:lnTo>
                      <a:pt x="1188" y="1231"/>
                    </a:lnTo>
                    <a:lnTo>
                      <a:pt x="1190" y="1231"/>
                    </a:lnTo>
                    <a:lnTo>
                      <a:pt x="1191" y="1231"/>
                    </a:lnTo>
                    <a:lnTo>
                      <a:pt x="1193" y="1231"/>
                    </a:lnTo>
                    <a:lnTo>
                      <a:pt x="1195" y="1231"/>
                    </a:lnTo>
                    <a:lnTo>
                      <a:pt x="1196" y="1231"/>
                    </a:lnTo>
                    <a:lnTo>
                      <a:pt x="1198" y="1231"/>
                    </a:lnTo>
                    <a:lnTo>
                      <a:pt x="1198" y="1230"/>
                    </a:lnTo>
                    <a:lnTo>
                      <a:pt x="1198" y="1231"/>
                    </a:lnTo>
                    <a:lnTo>
                      <a:pt x="1196" y="1231"/>
                    </a:lnTo>
                    <a:lnTo>
                      <a:pt x="1195" y="1231"/>
                    </a:lnTo>
                    <a:lnTo>
                      <a:pt x="1193" y="1231"/>
                    </a:lnTo>
                    <a:lnTo>
                      <a:pt x="1193" y="1230"/>
                    </a:lnTo>
                    <a:lnTo>
                      <a:pt x="1195" y="1230"/>
                    </a:lnTo>
                    <a:lnTo>
                      <a:pt x="1195" y="1228"/>
                    </a:lnTo>
                    <a:lnTo>
                      <a:pt x="1196" y="1228"/>
                    </a:lnTo>
                    <a:lnTo>
                      <a:pt x="1198" y="1226"/>
                    </a:lnTo>
                    <a:lnTo>
                      <a:pt x="1200" y="1226"/>
                    </a:lnTo>
                    <a:lnTo>
                      <a:pt x="1198" y="1226"/>
                    </a:lnTo>
                    <a:lnTo>
                      <a:pt x="1196" y="1226"/>
                    </a:lnTo>
                    <a:lnTo>
                      <a:pt x="1195" y="1226"/>
                    </a:lnTo>
                    <a:lnTo>
                      <a:pt x="1195" y="1228"/>
                    </a:lnTo>
                    <a:lnTo>
                      <a:pt x="1193" y="1230"/>
                    </a:lnTo>
                    <a:lnTo>
                      <a:pt x="1191" y="1230"/>
                    </a:lnTo>
                    <a:lnTo>
                      <a:pt x="1190" y="1230"/>
                    </a:lnTo>
                    <a:lnTo>
                      <a:pt x="1188" y="1230"/>
                    </a:lnTo>
                    <a:lnTo>
                      <a:pt x="1188" y="1231"/>
                    </a:lnTo>
                    <a:lnTo>
                      <a:pt x="1186" y="1231"/>
                    </a:lnTo>
                    <a:lnTo>
                      <a:pt x="1186" y="1230"/>
                    </a:lnTo>
                    <a:lnTo>
                      <a:pt x="1186" y="1228"/>
                    </a:lnTo>
                    <a:lnTo>
                      <a:pt x="1186" y="1226"/>
                    </a:lnTo>
                    <a:lnTo>
                      <a:pt x="1188" y="1226"/>
                    </a:lnTo>
                    <a:lnTo>
                      <a:pt x="1190" y="1226"/>
                    </a:lnTo>
                    <a:lnTo>
                      <a:pt x="1191" y="1226"/>
                    </a:lnTo>
                    <a:lnTo>
                      <a:pt x="1193" y="1225"/>
                    </a:lnTo>
                    <a:lnTo>
                      <a:pt x="1195" y="1225"/>
                    </a:lnTo>
                    <a:lnTo>
                      <a:pt x="1195" y="1223"/>
                    </a:lnTo>
                    <a:lnTo>
                      <a:pt x="1193" y="1223"/>
                    </a:lnTo>
                    <a:lnTo>
                      <a:pt x="1193" y="1225"/>
                    </a:lnTo>
                    <a:lnTo>
                      <a:pt x="1191" y="1225"/>
                    </a:lnTo>
                    <a:lnTo>
                      <a:pt x="1191" y="1226"/>
                    </a:lnTo>
                    <a:lnTo>
                      <a:pt x="1190" y="1225"/>
                    </a:lnTo>
                    <a:lnTo>
                      <a:pt x="1190" y="1226"/>
                    </a:lnTo>
                    <a:lnTo>
                      <a:pt x="1188" y="1226"/>
                    </a:lnTo>
                    <a:lnTo>
                      <a:pt x="1186" y="1226"/>
                    </a:lnTo>
                    <a:lnTo>
                      <a:pt x="1185" y="1226"/>
                    </a:lnTo>
                    <a:lnTo>
                      <a:pt x="1183" y="1226"/>
                    </a:lnTo>
                    <a:lnTo>
                      <a:pt x="1185" y="1226"/>
                    </a:lnTo>
                    <a:lnTo>
                      <a:pt x="1185" y="1228"/>
                    </a:lnTo>
                    <a:lnTo>
                      <a:pt x="1186" y="1226"/>
                    </a:lnTo>
                    <a:lnTo>
                      <a:pt x="1186" y="1228"/>
                    </a:lnTo>
                    <a:lnTo>
                      <a:pt x="1185" y="1228"/>
                    </a:lnTo>
                    <a:lnTo>
                      <a:pt x="1183" y="1226"/>
                    </a:lnTo>
                    <a:lnTo>
                      <a:pt x="1181" y="1225"/>
                    </a:lnTo>
                    <a:lnTo>
                      <a:pt x="1183" y="1225"/>
                    </a:lnTo>
                    <a:lnTo>
                      <a:pt x="1183" y="1223"/>
                    </a:lnTo>
                    <a:lnTo>
                      <a:pt x="1183" y="1225"/>
                    </a:lnTo>
                    <a:lnTo>
                      <a:pt x="1185" y="1223"/>
                    </a:lnTo>
                    <a:lnTo>
                      <a:pt x="1185" y="1225"/>
                    </a:lnTo>
                    <a:lnTo>
                      <a:pt x="1186" y="1225"/>
                    </a:lnTo>
                    <a:lnTo>
                      <a:pt x="1186" y="1223"/>
                    </a:lnTo>
                    <a:lnTo>
                      <a:pt x="1188" y="1223"/>
                    </a:lnTo>
                    <a:lnTo>
                      <a:pt x="1188" y="1221"/>
                    </a:lnTo>
                    <a:lnTo>
                      <a:pt x="1188" y="1223"/>
                    </a:lnTo>
                    <a:lnTo>
                      <a:pt x="1186" y="1223"/>
                    </a:lnTo>
                    <a:lnTo>
                      <a:pt x="1185" y="1223"/>
                    </a:lnTo>
                    <a:lnTo>
                      <a:pt x="1183" y="1223"/>
                    </a:lnTo>
                    <a:lnTo>
                      <a:pt x="1183" y="1221"/>
                    </a:lnTo>
                    <a:lnTo>
                      <a:pt x="1181" y="1223"/>
                    </a:lnTo>
                    <a:lnTo>
                      <a:pt x="1181" y="1225"/>
                    </a:lnTo>
                    <a:lnTo>
                      <a:pt x="1179" y="1223"/>
                    </a:lnTo>
                    <a:lnTo>
                      <a:pt x="1181" y="1223"/>
                    </a:lnTo>
                    <a:lnTo>
                      <a:pt x="1179" y="1223"/>
                    </a:lnTo>
                    <a:lnTo>
                      <a:pt x="1179" y="1221"/>
                    </a:lnTo>
                    <a:lnTo>
                      <a:pt x="1181" y="1221"/>
                    </a:lnTo>
                    <a:lnTo>
                      <a:pt x="1181" y="1219"/>
                    </a:lnTo>
                    <a:lnTo>
                      <a:pt x="1181" y="1218"/>
                    </a:lnTo>
                    <a:lnTo>
                      <a:pt x="1183" y="1218"/>
                    </a:lnTo>
                    <a:lnTo>
                      <a:pt x="1183" y="1216"/>
                    </a:lnTo>
                    <a:lnTo>
                      <a:pt x="1185" y="1216"/>
                    </a:lnTo>
                    <a:lnTo>
                      <a:pt x="1185" y="1214"/>
                    </a:lnTo>
                    <a:lnTo>
                      <a:pt x="1186" y="1214"/>
                    </a:lnTo>
                    <a:lnTo>
                      <a:pt x="1186" y="1213"/>
                    </a:lnTo>
                    <a:lnTo>
                      <a:pt x="1186" y="1211"/>
                    </a:lnTo>
                    <a:lnTo>
                      <a:pt x="1188" y="1211"/>
                    </a:lnTo>
                    <a:lnTo>
                      <a:pt x="1188" y="1213"/>
                    </a:lnTo>
                    <a:lnTo>
                      <a:pt x="1190" y="1213"/>
                    </a:lnTo>
                    <a:lnTo>
                      <a:pt x="1188" y="1213"/>
                    </a:lnTo>
                    <a:lnTo>
                      <a:pt x="1188" y="1211"/>
                    </a:lnTo>
                    <a:lnTo>
                      <a:pt x="1190" y="1211"/>
                    </a:lnTo>
                    <a:lnTo>
                      <a:pt x="1190" y="1213"/>
                    </a:lnTo>
                    <a:lnTo>
                      <a:pt x="1190" y="1214"/>
                    </a:lnTo>
                    <a:lnTo>
                      <a:pt x="1190" y="1216"/>
                    </a:lnTo>
                    <a:lnTo>
                      <a:pt x="1190" y="1218"/>
                    </a:lnTo>
                    <a:lnTo>
                      <a:pt x="1190" y="1219"/>
                    </a:lnTo>
                    <a:lnTo>
                      <a:pt x="1191" y="1219"/>
                    </a:lnTo>
                    <a:lnTo>
                      <a:pt x="1190" y="1218"/>
                    </a:lnTo>
                    <a:lnTo>
                      <a:pt x="1190" y="1216"/>
                    </a:lnTo>
                    <a:lnTo>
                      <a:pt x="1191" y="1214"/>
                    </a:lnTo>
                    <a:lnTo>
                      <a:pt x="1190" y="1213"/>
                    </a:lnTo>
                    <a:lnTo>
                      <a:pt x="1191" y="1211"/>
                    </a:lnTo>
                    <a:lnTo>
                      <a:pt x="1190" y="1213"/>
                    </a:lnTo>
                    <a:lnTo>
                      <a:pt x="1190" y="1211"/>
                    </a:lnTo>
                    <a:lnTo>
                      <a:pt x="1191" y="1211"/>
                    </a:lnTo>
                    <a:lnTo>
                      <a:pt x="1193" y="1211"/>
                    </a:lnTo>
                    <a:lnTo>
                      <a:pt x="1193" y="1213"/>
                    </a:lnTo>
                    <a:lnTo>
                      <a:pt x="1193" y="1214"/>
                    </a:lnTo>
                    <a:lnTo>
                      <a:pt x="1195" y="1214"/>
                    </a:lnTo>
                    <a:lnTo>
                      <a:pt x="1193" y="1214"/>
                    </a:lnTo>
                    <a:lnTo>
                      <a:pt x="1193" y="1213"/>
                    </a:lnTo>
                    <a:lnTo>
                      <a:pt x="1193" y="1211"/>
                    </a:lnTo>
                    <a:lnTo>
                      <a:pt x="1195" y="1211"/>
                    </a:lnTo>
                    <a:lnTo>
                      <a:pt x="1195" y="1209"/>
                    </a:lnTo>
                    <a:lnTo>
                      <a:pt x="1196" y="1209"/>
                    </a:lnTo>
                    <a:lnTo>
                      <a:pt x="1195" y="1211"/>
                    </a:lnTo>
                    <a:lnTo>
                      <a:pt x="1196" y="1211"/>
                    </a:lnTo>
                    <a:lnTo>
                      <a:pt x="1195" y="1213"/>
                    </a:lnTo>
                    <a:lnTo>
                      <a:pt x="1196" y="1213"/>
                    </a:lnTo>
                    <a:lnTo>
                      <a:pt x="1196" y="1211"/>
                    </a:lnTo>
                    <a:lnTo>
                      <a:pt x="1196" y="1209"/>
                    </a:lnTo>
                    <a:lnTo>
                      <a:pt x="1196" y="1208"/>
                    </a:lnTo>
                    <a:lnTo>
                      <a:pt x="1196" y="1206"/>
                    </a:lnTo>
                    <a:lnTo>
                      <a:pt x="1196" y="1208"/>
                    </a:lnTo>
                    <a:lnTo>
                      <a:pt x="1195" y="1208"/>
                    </a:lnTo>
                    <a:lnTo>
                      <a:pt x="1195" y="1209"/>
                    </a:lnTo>
                    <a:lnTo>
                      <a:pt x="1193" y="1209"/>
                    </a:lnTo>
                    <a:lnTo>
                      <a:pt x="1191" y="1209"/>
                    </a:lnTo>
                    <a:lnTo>
                      <a:pt x="1191" y="1208"/>
                    </a:lnTo>
                    <a:lnTo>
                      <a:pt x="1190" y="1208"/>
                    </a:lnTo>
                    <a:lnTo>
                      <a:pt x="1190" y="1206"/>
                    </a:lnTo>
                    <a:lnTo>
                      <a:pt x="1190" y="1204"/>
                    </a:lnTo>
                    <a:lnTo>
                      <a:pt x="1191" y="1202"/>
                    </a:lnTo>
                    <a:lnTo>
                      <a:pt x="1191" y="1201"/>
                    </a:lnTo>
                    <a:lnTo>
                      <a:pt x="1193" y="1201"/>
                    </a:lnTo>
                    <a:lnTo>
                      <a:pt x="1193" y="1202"/>
                    </a:lnTo>
                    <a:lnTo>
                      <a:pt x="1195" y="1202"/>
                    </a:lnTo>
                    <a:lnTo>
                      <a:pt x="1195" y="1204"/>
                    </a:lnTo>
                    <a:lnTo>
                      <a:pt x="1195" y="1202"/>
                    </a:lnTo>
                    <a:lnTo>
                      <a:pt x="1195" y="1201"/>
                    </a:lnTo>
                    <a:lnTo>
                      <a:pt x="1196" y="1199"/>
                    </a:lnTo>
                    <a:lnTo>
                      <a:pt x="1195" y="1199"/>
                    </a:lnTo>
                    <a:lnTo>
                      <a:pt x="1195" y="1201"/>
                    </a:lnTo>
                    <a:lnTo>
                      <a:pt x="1193" y="1199"/>
                    </a:lnTo>
                    <a:lnTo>
                      <a:pt x="1191" y="1197"/>
                    </a:lnTo>
                    <a:lnTo>
                      <a:pt x="1191" y="1196"/>
                    </a:lnTo>
                    <a:lnTo>
                      <a:pt x="1190" y="1196"/>
                    </a:lnTo>
                    <a:lnTo>
                      <a:pt x="1191" y="1194"/>
                    </a:lnTo>
                    <a:lnTo>
                      <a:pt x="1190" y="1194"/>
                    </a:lnTo>
                    <a:lnTo>
                      <a:pt x="1188" y="1192"/>
                    </a:lnTo>
                    <a:lnTo>
                      <a:pt x="1186" y="1191"/>
                    </a:lnTo>
                    <a:lnTo>
                      <a:pt x="1185" y="1191"/>
                    </a:lnTo>
                    <a:lnTo>
                      <a:pt x="1186" y="1191"/>
                    </a:lnTo>
                    <a:lnTo>
                      <a:pt x="1188" y="1192"/>
                    </a:lnTo>
                    <a:lnTo>
                      <a:pt x="1190" y="1191"/>
                    </a:lnTo>
                    <a:lnTo>
                      <a:pt x="1188" y="1191"/>
                    </a:lnTo>
                    <a:lnTo>
                      <a:pt x="1188" y="1189"/>
                    </a:lnTo>
                    <a:lnTo>
                      <a:pt x="1186" y="1191"/>
                    </a:lnTo>
                    <a:lnTo>
                      <a:pt x="1186" y="1189"/>
                    </a:lnTo>
                    <a:lnTo>
                      <a:pt x="1186" y="1191"/>
                    </a:lnTo>
                    <a:lnTo>
                      <a:pt x="1185" y="1189"/>
                    </a:lnTo>
                    <a:lnTo>
                      <a:pt x="1183" y="1189"/>
                    </a:lnTo>
                    <a:lnTo>
                      <a:pt x="1181" y="1189"/>
                    </a:lnTo>
                    <a:lnTo>
                      <a:pt x="1179" y="1189"/>
                    </a:lnTo>
                    <a:lnTo>
                      <a:pt x="1181" y="1187"/>
                    </a:lnTo>
                    <a:lnTo>
                      <a:pt x="1179" y="1187"/>
                    </a:lnTo>
                    <a:lnTo>
                      <a:pt x="1178" y="1187"/>
                    </a:lnTo>
                    <a:lnTo>
                      <a:pt x="1178" y="1189"/>
                    </a:lnTo>
                    <a:lnTo>
                      <a:pt x="1179" y="1189"/>
                    </a:lnTo>
                    <a:lnTo>
                      <a:pt x="1181" y="1189"/>
                    </a:lnTo>
                    <a:lnTo>
                      <a:pt x="1181" y="1191"/>
                    </a:lnTo>
                    <a:lnTo>
                      <a:pt x="1179" y="1191"/>
                    </a:lnTo>
                    <a:lnTo>
                      <a:pt x="1178" y="1191"/>
                    </a:lnTo>
                    <a:lnTo>
                      <a:pt x="1176" y="1191"/>
                    </a:lnTo>
                    <a:lnTo>
                      <a:pt x="1176" y="1192"/>
                    </a:lnTo>
                    <a:lnTo>
                      <a:pt x="1176" y="1194"/>
                    </a:lnTo>
                    <a:lnTo>
                      <a:pt x="1174" y="1194"/>
                    </a:lnTo>
                    <a:lnTo>
                      <a:pt x="1174" y="1192"/>
                    </a:lnTo>
                    <a:lnTo>
                      <a:pt x="1173" y="1192"/>
                    </a:lnTo>
                    <a:lnTo>
                      <a:pt x="1174" y="1192"/>
                    </a:lnTo>
                    <a:lnTo>
                      <a:pt x="1174" y="1194"/>
                    </a:lnTo>
                    <a:lnTo>
                      <a:pt x="1176" y="1194"/>
                    </a:lnTo>
                    <a:lnTo>
                      <a:pt x="1178" y="1194"/>
                    </a:lnTo>
                    <a:lnTo>
                      <a:pt x="1179" y="1192"/>
                    </a:lnTo>
                    <a:lnTo>
                      <a:pt x="1181" y="1194"/>
                    </a:lnTo>
                    <a:lnTo>
                      <a:pt x="1183" y="1194"/>
                    </a:lnTo>
                    <a:lnTo>
                      <a:pt x="1183" y="1196"/>
                    </a:lnTo>
                    <a:lnTo>
                      <a:pt x="1183" y="1197"/>
                    </a:lnTo>
                    <a:lnTo>
                      <a:pt x="1183" y="1196"/>
                    </a:lnTo>
                    <a:lnTo>
                      <a:pt x="1181" y="1196"/>
                    </a:lnTo>
                    <a:lnTo>
                      <a:pt x="1179" y="1196"/>
                    </a:lnTo>
                    <a:lnTo>
                      <a:pt x="1178" y="1196"/>
                    </a:lnTo>
                    <a:lnTo>
                      <a:pt x="1176" y="1194"/>
                    </a:lnTo>
                    <a:lnTo>
                      <a:pt x="1176" y="1196"/>
                    </a:lnTo>
                    <a:lnTo>
                      <a:pt x="1174" y="1196"/>
                    </a:lnTo>
                    <a:lnTo>
                      <a:pt x="1174" y="1194"/>
                    </a:lnTo>
                    <a:lnTo>
                      <a:pt x="1173" y="1192"/>
                    </a:lnTo>
                    <a:lnTo>
                      <a:pt x="1171" y="1192"/>
                    </a:lnTo>
                    <a:lnTo>
                      <a:pt x="1171" y="1191"/>
                    </a:lnTo>
                    <a:lnTo>
                      <a:pt x="1169" y="1191"/>
                    </a:lnTo>
                    <a:lnTo>
                      <a:pt x="1171" y="1191"/>
                    </a:lnTo>
                    <a:lnTo>
                      <a:pt x="1171" y="1189"/>
                    </a:lnTo>
                    <a:lnTo>
                      <a:pt x="1171" y="1191"/>
                    </a:lnTo>
                    <a:lnTo>
                      <a:pt x="1169" y="1191"/>
                    </a:lnTo>
                    <a:lnTo>
                      <a:pt x="1169" y="1192"/>
                    </a:lnTo>
                    <a:lnTo>
                      <a:pt x="1168" y="1191"/>
                    </a:lnTo>
                    <a:lnTo>
                      <a:pt x="1166" y="1191"/>
                    </a:lnTo>
                    <a:lnTo>
                      <a:pt x="1166" y="1189"/>
                    </a:lnTo>
                    <a:lnTo>
                      <a:pt x="1164" y="1189"/>
                    </a:lnTo>
                    <a:lnTo>
                      <a:pt x="1164" y="1187"/>
                    </a:lnTo>
                    <a:lnTo>
                      <a:pt x="1162" y="1187"/>
                    </a:lnTo>
                    <a:lnTo>
                      <a:pt x="1162" y="1185"/>
                    </a:lnTo>
                    <a:lnTo>
                      <a:pt x="1161" y="1185"/>
                    </a:lnTo>
                    <a:lnTo>
                      <a:pt x="1161" y="1184"/>
                    </a:lnTo>
                    <a:lnTo>
                      <a:pt x="1161" y="1182"/>
                    </a:lnTo>
                    <a:lnTo>
                      <a:pt x="1162" y="1182"/>
                    </a:lnTo>
                    <a:lnTo>
                      <a:pt x="1162" y="1180"/>
                    </a:lnTo>
                    <a:lnTo>
                      <a:pt x="1164" y="1179"/>
                    </a:lnTo>
                    <a:lnTo>
                      <a:pt x="1166" y="1177"/>
                    </a:lnTo>
                    <a:lnTo>
                      <a:pt x="1166" y="1175"/>
                    </a:lnTo>
                    <a:lnTo>
                      <a:pt x="1166" y="1174"/>
                    </a:lnTo>
                    <a:lnTo>
                      <a:pt x="1164" y="1174"/>
                    </a:lnTo>
                    <a:lnTo>
                      <a:pt x="1164" y="1175"/>
                    </a:lnTo>
                    <a:lnTo>
                      <a:pt x="1164" y="1177"/>
                    </a:lnTo>
                    <a:lnTo>
                      <a:pt x="1162" y="1177"/>
                    </a:lnTo>
                    <a:lnTo>
                      <a:pt x="1162" y="1179"/>
                    </a:lnTo>
                    <a:lnTo>
                      <a:pt x="1162" y="1177"/>
                    </a:lnTo>
                    <a:lnTo>
                      <a:pt x="1162" y="1179"/>
                    </a:lnTo>
                    <a:lnTo>
                      <a:pt x="1162" y="1177"/>
                    </a:lnTo>
                    <a:lnTo>
                      <a:pt x="1162" y="1179"/>
                    </a:lnTo>
                    <a:lnTo>
                      <a:pt x="1162" y="1180"/>
                    </a:lnTo>
                    <a:lnTo>
                      <a:pt x="1161" y="1180"/>
                    </a:lnTo>
                    <a:lnTo>
                      <a:pt x="1161" y="1182"/>
                    </a:lnTo>
                    <a:lnTo>
                      <a:pt x="1159" y="1182"/>
                    </a:lnTo>
                    <a:lnTo>
                      <a:pt x="1157" y="1184"/>
                    </a:lnTo>
                    <a:lnTo>
                      <a:pt x="1157" y="1182"/>
                    </a:lnTo>
                    <a:lnTo>
                      <a:pt x="1156" y="1180"/>
                    </a:lnTo>
                    <a:lnTo>
                      <a:pt x="1157" y="1182"/>
                    </a:lnTo>
                    <a:lnTo>
                      <a:pt x="1156" y="1182"/>
                    </a:lnTo>
                    <a:lnTo>
                      <a:pt x="1157" y="1182"/>
                    </a:lnTo>
                    <a:lnTo>
                      <a:pt x="1156" y="1184"/>
                    </a:lnTo>
                    <a:lnTo>
                      <a:pt x="1154" y="1184"/>
                    </a:lnTo>
                    <a:lnTo>
                      <a:pt x="1152" y="1184"/>
                    </a:lnTo>
                    <a:lnTo>
                      <a:pt x="1152" y="1185"/>
                    </a:lnTo>
                    <a:lnTo>
                      <a:pt x="1152" y="1184"/>
                    </a:lnTo>
                    <a:lnTo>
                      <a:pt x="1151" y="1185"/>
                    </a:lnTo>
                    <a:lnTo>
                      <a:pt x="1152" y="1185"/>
                    </a:lnTo>
                    <a:lnTo>
                      <a:pt x="1151" y="1185"/>
                    </a:lnTo>
                    <a:lnTo>
                      <a:pt x="1151" y="1184"/>
                    </a:lnTo>
                    <a:lnTo>
                      <a:pt x="1149" y="1184"/>
                    </a:lnTo>
                    <a:lnTo>
                      <a:pt x="1149" y="1185"/>
                    </a:lnTo>
                    <a:lnTo>
                      <a:pt x="1147" y="1185"/>
                    </a:lnTo>
                    <a:lnTo>
                      <a:pt x="1145" y="1187"/>
                    </a:lnTo>
                    <a:lnTo>
                      <a:pt x="1144" y="1187"/>
                    </a:lnTo>
                    <a:lnTo>
                      <a:pt x="1145" y="1187"/>
                    </a:lnTo>
                    <a:lnTo>
                      <a:pt x="1145" y="1189"/>
                    </a:lnTo>
                    <a:lnTo>
                      <a:pt x="1144" y="1189"/>
                    </a:lnTo>
                    <a:lnTo>
                      <a:pt x="1144" y="1191"/>
                    </a:lnTo>
                    <a:lnTo>
                      <a:pt x="1144" y="1192"/>
                    </a:lnTo>
                    <a:lnTo>
                      <a:pt x="1144" y="1191"/>
                    </a:lnTo>
                    <a:lnTo>
                      <a:pt x="1145" y="1191"/>
                    </a:lnTo>
                    <a:lnTo>
                      <a:pt x="1145" y="1189"/>
                    </a:lnTo>
                    <a:lnTo>
                      <a:pt x="1147" y="1187"/>
                    </a:lnTo>
                    <a:lnTo>
                      <a:pt x="1147" y="1189"/>
                    </a:lnTo>
                    <a:lnTo>
                      <a:pt x="1149" y="1187"/>
                    </a:lnTo>
                    <a:lnTo>
                      <a:pt x="1151" y="1187"/>
                    </a:lnTo>
                    <a:lnTo>
                      <a:pt x="1152" y="1189"/>
                    </a:lnTo>
                    <a:lnTo>
                      <a:pt x="1151" y="1189"/>
                    </a:lnTo>
                    <a:lnTo>
                      <a:pt x="1149" y="1189"/>
                    </a:lnTo>
                    <a:lnTo>
                      <a:pt x="1151" y="1189"/>
                    </a:lnTo>
                    <a:lnTo>
                      <a:pt x="1149" y="1191"/>
                    </a:lnTo>
                    <a:lnTo>
                      <a:pt x="1149" y="1192"/>
                    </a:lnTo>
                    <a:lnTo>
                      <a:pt x="1151" y="1191"/>
                    </a:lnTo>
                    <a:lnTo>
                      <a:pt x="1151" y="1192"/>
                    </a:lnTo>
                    <a:lnTo>
                      <a:pt x="1151" y="1191"/>
                    </a:lnTo>
                    <a:lnTo>
                      <a:pt x="1152" y="1191"/>
                    </a:lnTo>
                    <a:lnTo>
                      <a:pt x="1152" y="1192"/>
                    </a:lnTo>
                    <a:lnTo>
                      <a:pt x="1152" y="1194"/>
                    </a:lnTo>
                    <a:lnTo>
                      <a:pt x="1151" y="1194"/>
                    </a:lnTo>
                    <a:lnTo>
                      <a:pt x="1151" y="1196"/>
                    </a:lnTo>
                    <a:lnTo>
                      <a:pt x="1149" y="1196"/>
                    </a:lnTo>
                    <a:lnTo>
                      <a:pt x="1151" y="1196"/>
                    </a:lnTo>
                    <a:lnTo>
                      <a:pt x="1151" y="1194"/>
                    </a:lnTo>
                    <a:lnTo>
                      <a:pt x="1152" y="1194"/>
                    </a:lnTo>
                    <a:lnTo>
                      <a:pt x="1154" y="1196"/>
                    </a:lnTo>
                    <a:lnTo>
                      <a:pt x="1152" y="1194"/>
                    </a:lnTo>
                    <a:lnTo>
                      <a:pt x="1154" y="1194"/>
                    </a:lnTo>
                    <a:lnTo>
                      <a:pt x="1152" y="1194"/>
                    </a:lnTo>
                    <a:lnTo>
                      <a:pt x="1152" y="1192"/>
                    </a:lnTo>
                    <a:lnTo>
                      <a:pt x="1154" y="1194"/>
                    </a:lnTo>
                    <a:lnTo>
                      <a:pt x="1154" y="1196"/>
                    </a:lnTo>
                    <a:lnTo>
                      <a:pt x="1154" y="1197"/>
                    </a:lnTo>
                    <a:lnTo>
                      <a:pt x="1152" y="1197"/>
                    </a:lnTo>
                    <a:lnTo>
                      <a:pt x="1152" y="1199"/>
                    </a:lnTo>
                    <a:lnTo>
                      <a:pt x="1151" y="1199"/>
                    </a:lnTo>
                    <a:lnTo>
                      <a:pt x="1149" y="1199"/>
                    </a:lnTo>
                    <a:lnTo>
                      <a:pt x="1147" y="1201"/>
                    </a:lnTo>
                    <a:lnTo>
                      <a:pt x="1147" y="1199"/>
                    </a:lnTo>
                    <a:lnTo>
                      <a:pt x="1145" y="1199"/>
                    </a:lnTo>
                    <a:lnTo>
                      <a:pt x="1145" y="1197"/>
                    </a:lnTo>
                    <a:lnTo>
                      <a:pt x="1144" y="1197"/>
                    </a:lnTo>
                    <a:lnTo>
                      <a:pt x="1144" y="1196"/>
                    </a:lnTo>
                    <a:lnTo>
                      <a:pt x="1142" y="1194"/>
                    </a:lnTo>
                    <a:lnTo>
                      <a:pt x="1142" y="1192"/>
                    </a:lnTo>
                    <a:lnTo>
                      <a:pt x="1140" y="1192"/>
                    </a:lnTo>
                    <a:lnTo>
                      <a:pt x="1140" y="1191"/>
                    </a:lnTo>
                    <a:lnTo>
                      <a:pt x="1142" y="1191"/>
                    </a:lnTo>
                    <a:lnTo>
                      <a:pt x="1140" y="1189"/>
                    </a:lnTo>
                    <a:lnTo>
                      <a:pt x="1140" y="1187"/>
                    </a:lnTo>
                    <a:lnTo>
                      <a:pt x="1140" y="1185"/>
                    </a:lnTo>
                    <a:lnTo>
                      <a:pt x="1142" y="1185"/>
                    </a:lnTo>
                    <a:lnTo>
                      <a:pt x="1142" y="1184"/>
                    </a:lnTo>
                    <a:lnTo>
                      <a:pt x="1142" y="1182"/>
                    </a:lnTo>
                    <a:lnTo>
                      <a:pt x="1144" y="1182"/>
                    </a:lnTo>
                    <a:lnTo>
                      <a:pt x="1144" y="1180"/>
                    </a:lnTo>
                    <a:lnTo>
                      <a:pt x="1144" y="1182"/>
                    </a:lnTo>
                    <a:lnTo>
                      <a:pt x="1144" y="1180"/>
                    </a:lnTo>
                    <a:lnTo>
                      <a:pt x="1145" y="1182"/>
                    </a:lnTo>
                    <a:lnTo>
                      <a:pt x="1147" y="1182"/>
                    </a:lnTo>
                    <a:lnTo>
                      <a:pt x="1147" y="1184"/>
                    </a:lnTo>
                    <a:lnTo>
                      <a:pt x="1147" y="1182"/>
                    </a:lnTo>
                    <a:lnTo>
                      <a:pt x="1145" y="1182"/>
                    </a:lnTo>
                    <a:lnTo>
                      <a:pt x="1145" y="1180"/>
                    </a:lnTo>
                    <a:lnTo>
                      <a:pt x="1147" y="1180"/>
                    </a:lnTo>
                    <a:lnTo>
                      <a:pt x="1149" y="1182"/>
                    </a:lnTo>
                    <a:lnTo>
                      <a:pt x="1149" y="1180"/>
                    </a:lnTo>
                    <a:lnTo>
                      <a:pt x="1147" y="1180"/>
                    </a:lnTo>
                    <a:lnTo>
                      <a:pt x="1147" y="1179"/>
                    </a:lnTo>
                    <a:lnTo>
                      <a:pt x="1145" y="1179"/>
                    </a:lnTo>
                    <a:lnTo>
                      <a:pt x="1147" y="1179"/>
                    </a:lnTo>
                    <a:lnTo>
                      <a:pt x="1147" y="1177"/>
                    </a:lnTo>
                    <a:lnTo>
                      <a:pt x="1147" y="1179"/>
                    </a:lnTo>
                    <a:lnTo>
                      <a:pt x="1149" y="1179"/>
                    </a:lnTo>
                    <a:lnTo>
                      <a:pt x="1149" y="1177"/>
                    </a:lnTo>
                    <a:lnTo>
                      <a:pt x="1149" y="1179"/>
                    </a:lnTo>
                    <a:lnTo>
                      <a:pt x="1149" y="1177"/>
                    </a:lnTo>
                    <a:lnTo>
                      <a:pt x="1151" y="1177"/>
                    </a:lnTo>
                    <a:lnTo>
                      <a:pt x="1152" y="1177"/>
                    </a:lnTo>
                    <a:lnTo>
                      <a:pt x="1151" y="1175"/>
                    </a:lnTo>
                    <a:lnTo>
                      <a:pt x="1151" y="1174"/>
                    </a:lnTo>
                    <a:lnTo>
                      <a:pt x="1151" y="1175"/>
                    </a:lnTo>
                    <a:lnTo>
                      <a:pt x="1152" y="1175"/>
                    </a:lnTo>
                    <a:lnTo>
                      <a:pt x="1151" y="1174"/>
                    </a:lnTo>
                    <a:lnTo>
                      <a:pt x="1152" y="1174"/>
                    </a:lnTo>
                    <a:lnTo>
                      <a:pt x="1152" y="1172"/>
                    </a:lnTo>
                    <a:lnTo>
                      <a:pt x="1154" y="1172"/>
                    </a:lnTo>
                    <a:lnTo>
                      <a:pt x="1156" y="1170"/>
                    </a:lnTo>
                    <a:lnTo>
                      <a:pt x="1157" y="1172"/>
                    </a:lnTo>
                    <a:lnTo>
                      <a:pt x="1156" y="1170"/>
                    </a:lnTo>
                    <a:lnTo>
                      <a:pt x="1157" y="1170"/>
                    </a:lnTo>
                    <a:lnTo>
                      <a:pt x="1157" y="1168"/>
                    </a:lnTo>
                    <a:lnTo>
                      <a:pt x="1157" y="1167"/>
                    </a:lnTo>
                    <a:lnTo>
                      <a:pt x="1157" y="1168"/>
                    </a:lnTo>
                    <a:lnTo>
                      <a:pt x="1159" y="1168"/>
                    </a:lnTo>
                    <a:lnTo>
                      <a:pt x="1159" y="1170"/>
                    </a:lnTo>
                    <a:lnTo>
                      <a:pt x="1161" y="1170"/>
                    </a:lnTo>
                    <a:lnTo>
                      <a:pt x="1162" y="1170"/>
                    </a:lnTo>
                    <a:lnTo>
                      <a:pt x="1164" y="1170"/>
                    </a:lnTo>
                    <a:lnTo>
                      <a:pt x="1166" y="1170"/>
                    </a:lnTo>
                    <a:lnTo>
                      <a:pt x="1168" y="1170"/>
                    </a:lnTo>
                    <a:lnTo>
                      <a:pt x="1166" y="1170"/>
                    </a:lnTo>
                    <a:lnTo>
                      <a:pt x="1164" y="1170"/>
                    </a:lnTo>
                    <a:lnTo>
                      <a:pt x="1162" y="1170"/>
                    </a:lnTo>
                    <a:lnTo>
                      <a:pt x="1161" y="1170"/>
                    </a:lnTo>
                    <a:lnTo>
                      <a:pt x="1161" y="1168"/>
                    </a:lnTo>
                    <a:lnTo>
                      <a:pt x="1159" y="1168"/>
                    </a:lnTo>
                    <a:lnTo>
                      <a:pt x="1159" y="1167"/>
                    </a:lnTo>
                    <a:lnTo>
                      <a:pt x="1161" y="1167"/>
                    </a:lnTo>
                    <a:lnTo>
                      <a:pt x="1162" y="1167"/>
                    </a:lnTo>
                    <a:lnTo>
                      <a:pt x="1161" y="1167"/>
                    </a:lnTo>
                    <a:lnTo>
                      <a:pt x="1161" y="1165"/>
                    </a:lnTo>
                    <a:lnTo>
                      <a:pt x="1161" y="1163"/>
                    </a:lnTo>
                    <a:lnTo>
                      <a:pt x="1162" y="1163"/>
                    </a:lnTo>
                    <a:lnTo>
                      <a:pt x="1164" y="1163"/>
                    </a:lnTo>
                    <a:lnTo>
                      <a:pt x="1164" y="1165"/>
                    </a:lnTo>
                    <a:lnTo>
                      <a:pt x="1166" y="1165"/>
                    </a:lnTo>
                    <a:lnTo>
                      <a:pt x="1166" y="1167"/>
                    </a:lnTo>
                    <a:lnTo>
                      <a:pt x="1168" y="1167"/>
                    </a:lnTo>
                    <a:lnTo>
                      <a:pt x="1166" y="1165"/>
                    </a:lnTo>
                    <a:lnTo>
                      <a:pt x="1166" y="1163"/>
                    </a:lnTo>
                    <a:lnTo>
                      <a:pt x="1166" y="1162"/>
                    </a:lnTo>
                    <a:lnTo>
                      <a:pt x="1168" y="1162"/>
                    </a:lnTo>
                    <a:lnTo>
                      <a:pt x="1168" y="1160"/>
                    </a:lnTo>
                    <a:lnTo>
                      <a:pt x="1169" y="1160"/>
                    </a:lnTo>
                    <a:lnTo>
                      <a:pt x="1169" y="1162"/>
                    </a:lnTo>
                    <a:lnTo>
                      <a:pt x="1169" y="1160"/>
                    </a:lnTo>
                    <a:lnTo>
                      <a:pt x="1169" y="1162"/>
                    </a:lnTo>
                    <a:lnTo>
                      <a:pt x="1171" y="1162"/>
                    </a:lnTo>
                    <a:lnTo>
                      <a:pt x="1171" y="1163"/>
                    </a:lnTo>
                    <a:lnTo>
                      <a:pt x="1171" y="1162"/>
                    </a:lnTo>
                    <a:lnTo>
                      <a:pt x="1173" y="1162"/>
                    </a:lnTo>
                    <a:lnTo>
                      <a:pt x="1174" y="1162"/>
                    </a:lnTo>
                    <a:lnTo>
                      <a:pt x="1173" y="1160"/>
                    </a:lnTo>
                    <a:lnTo>
                      <a:pt x="1173" y="1162"/>
                    </a:lnTo>
                    <a:lnTo>
                      <a:pt x="1171" y="1162"/>
                    </a:lnTo>
                    <a:lnTo>
                      <a:pt x="1171" y="1160"/>
                    </a:lnTo>
                    <a:lnTo>
                      <a:pt x="1171" y="1158"/>
                    </a:lnTo>
                    <a:lnTo>
                      <a:pt x="1171" y="1157"/>
                    </a:lnTo>
                    <a:lnTo>
                      <a:pt x="1171" y="1155"/>
                    </a:lnTo>
                    <a:lnTo>
                      <a:pt x="1173" y="1155"/>
                    </a:lnTo>
                    <a:lnTo>
                      <a:pt x="1174" y="1155"/>
                    </a:lnTo>
                    <a:lnTo>
                      <a:pt x="1176" y="1155"/>
                    </a:lnTo>
                    <a:lnTo>
                      <a:pt x="1178" y="1155"/>
                    </a:lnTo>
                    <a:lnTo>
                      <a:pt x="1176" y="1153"/>
                    </a:lnTo>
                    <a:lnTo>
                      <a:pt x="1176" y="1155"/>
                    </a:lnTo>
                    <a:lnTo>
                      <a:pt x="1174" y="1155"/>
                    </a:lnTo>
                    <a:lnTo>
                      <a:pt x="1173" y="1155"/>
                    </a:lnTo>
                    <a:lnTo>
                      <a:pt x="1173" y="1153"/>
                    </a:lnTo>
                    <a:lnTo>
                      <a:pt x="1174" y="1153"/>
                    </a:lnTo>
                    <a:lnTo>
                      <a:pt x="1173" y="1151"/>
                    </a:lnTo>
                    <a:lnTo>
                      <a:pt x="1173" y="1150"/>
                    </a:lnTo>
                    <a:lnTo>
                      <a:pt x="1174" y="1148"/>
                    </a:lnTo>
                    <a:lnTo>
                      <a:pt x="1173" y="1148"/>
                    </a:lnTo>
                    <a:lnTo>
                      <a:pt x="1173" y="1150"/>
                    </a:lnTo>
                    <a:lnTo>
                      <a:pt x="1173" y="1151"/>
                    </a:lnTo>
                    <a:lnTo>
                      <a:pt x="1171" y="1151"/>
                    </a:lnTo>
                    <a:lnTo>
                      <a:pt x="1173" y="1151"/>
                    </a:lnTo>
                    <a:lnTo>
                      <a:pt x="1173" y="1153"/>
                    </a:lnTo>
                    <a:lnTo>
                      <a:pt x="1171" y="1153"/>
                    </a:lnTo>
                    <a:lnTo>
                      <a:pt x="1171" y="1155"/>
                    </a:lnTo>
                    <a:lnTo>
                      <a:pt x="1169" y="1155"/>
                    </a:lnTo>
                    <a:lnTo>
                      <a:pt x="1168" y="1155"/>
                    </a:lnTo>
                    <a:lnTo>
                      <a:pt x="1168" y="1157"/>
                    </a:lnTo>
                    <a:lnTo>
                      <a:pt x="1168" y="1158"/>
                    </a:lnTo>
                    <a:lnTo>
                      <a:pt x="1166" y="1158"/>
                    </a:lnTo>
                    <a:lnTo>
                      <a:pt x="1164" y="1158"/>
                    </a:lnTo>
                    <a:lnTo>
                      <a:pt x="1162" y="1158"/>
                    </a:lnTo>
                    <a:lnTo>
                      <a:pt x="1161" y="1157"/>
                    </a:lnTo>
                    <a:lnTo>
                      <a:pt x="1161" y="1155"/>
                    </a:lnTo>
                    <a:lnTo>
                      <a:pt x="1162" y="1155"/>
                    </a:lnTo>
                    <a:lnTo>
                      <a:pt x="1162" y="1153"/>
                    </a:lnTo>
                    <a:lnTo>
                      <a:pt x="1164" y="1155"/>
                    </a:lnTo>
                    <a:lnTo>
                      <a:pt x="1164" y="1153"/>
                    </a:lnTo>
                    <a:lnTo>
                      <a:pt x="1166" y="1153"/>
                    </a:lnTo>
                    <a:lnTo>
                      <a:pt x="1168" y="1153"/>
                    </a:lnTo>
                    <a:lnTo>
                      <a:pt x="1169" y="1153"/>
                    </a:lnTo>
                    <a:lnTo>
                      <a:pt x="1168" y="1153"/>
                    </a:lnTo>
                    <a:lnTo>
                      <a:pt x="1166" y="1151"/>
                    </a:lnTo>
                    <a:lnTo>
                      <a:pt x="1168" y="1153"/>
                    </a:lnTo>
                    <a:lnTo>
                      <a:pt x="1166" y="1153"/>
                    </a:lnTo>
                    <a:lnTo>
                      <a:pt x="1164" y="1153"/>
                    </a:lnTo>
                    <a:lnTo>
                      <a:pt x="1162" y="1153"/>
                    </a:lnTo>
                    <a:lnTo>
                      <a:pt x="1161" y="1151"/>
                    </a:lnTo>
                    <a:lnTo>
                      <a:pt x="1162" y="1151"/>
                    </a:lnTo>
                    <a:lnTo>
                      <a:pt x="1164" y="1151"/>
                    </a:lnTo>
                    <a:lnTo>
                      <a:pt x="1164" y="1150"/>
                    </a:lnTo>
                    <a:lnTo>
                      <a:pt x="1166" y="1151"/>
                    </a:lnTo>
                    <a:lnTo>
                      <a:pt x="1164" y="1150"/>
                    </a:lnTo>
                    <a:lnTo>
                      <a:pt x="1162" y="1151"/>
                    </a:lnTo>
                    <a:lnTo>
                      <a:pt x="1161" y="1151"/>
                    </a:lnTo>
                    <a:lnTo>
                      <a:pt x="1161" y="1150"/>
                    </a:lnTo>
                    <a:lnTo>
                      <a:pt x="1161" y="1148"/>
                    </a:lnTo>
                    <a:lnTo>
                      <a:pt x="1159" y="1148"/>
                    </a:lnTo>
                    <a:lnTo>
                      <a:pt x="1161" y="1146"/>
                    </a:lnTo>
                    <a:lnTo>
                      <a:pt x="1162" y="1146"/>
                    </a:lnTo>
                    <a:lnTo>
                      <a:pt x="1164" y="1146"/>
                    </a:lnTo>
                    <a:lnTo>
                      <a:pt x="1164" y="1148"/>
                    </a:lnTo>
                    <a:lnTo>
                      <a:pt x="1164" y="1146"/>
                    </a:lnTo>
                    <a:lnTo>
                      <a:pt x="1164" y="1148"/>
                    </a:lnTo>
                    <a:lnTo>
                      <a:pt x="1166" y="1148"/>
                    </a:lnTo>
                    <a:lnTo>
                      <a:pt x="1168" y="1148"/>
                    </a:lnTo>
                    <a:lnTo>
                      <a:pt x="1168" y="1150"/>
                    </a:lnTo>
                    <a:lnTo>
                      <a:pt x="1169" y="1150"/>
                    </a:lnTo>
                    <a:lnTo>
                      <a:pt x="1168" y="1150"/>
                    </a:lnTo>
                    <a:lnTo>
                      <a:pt x="1168" y="1148"/>
                    </a:lnTo>
                    <a:lnTo>
                      <a:pt x="1166" y="1148"/>
                    </a:lnTo>
                    <a:lnTo>
                      <a:pt x="1164" y="1146"/>
                    </a:lnTo>
                    <a:lnTo>
                      <a:pt x="1166" y="1146"/>
                    </a:lnTo>
                    <a:lnTo>
                      <a:pt x="1168" y="1146"/>
                    </a:lnTo>
                    <a:lnTo>
                      <a:pt x="1168" y="1148"/>
                    </a:lnTo>
                    <a:lnTo>
                      <a:pt x="1168" y="1146"/>
                    </a:lnTo>
                    <a:lnTo>
                      <a:pt x="1169" y="1146"/>
                    </a:lnTo>
                    <a:lnTo>
                      <a:pt x="1168" y="1146"/>
                    </a:lnTo>
                    <a:lnTo>
                      <a:pt x="1169" y="1146"/>
                    </a:lnTo>
                    <a:lnTo>
                      <a:pt x="1171" y="1146"/>
                    </a:lnTo>
                    <a:lnTo>
                      <a:pt x="1169" y="1146"/>
                    </a:lnTo>
                    <a:lnTo>
                      <a:pt x="1169" y="1145"/>
                    </a:lnTo>
                    <a:lnTo>
                      <a:pt x="1171" y="1145"/>
                    </a:lnTo>
                    <a:lnTo>
                      <a:pt x="1173" y="1143"/>
                    </a:lnTo>
                    <a:lnTo>
                      <a:pt x="1173" y="1145"/>
                    </a:lnTo>
                    <a:lnTo>
                      <a:pt x="1174" y="1145"/>
                    </a:lnTo>
                    <a:lnTo>
                      <a:pt x="1173" y="1146"/>
                    </a:lnTo>
                    <a:lnTo>
                      <a:pt x="1173" y="1148"/>
                    </a:lnTo>
                    <a:lnTo>
                      <a:pt x="1174" y="1146"/>
                    </a:lnTo>
                    <a:lnTo>
                      <a:pt x="1174" y="1145"/>
                    </a:lnTo>
                    <a:lnTo>
                      <a:pt x="1176" y="1145"/>
                    </a:lnTo>
                    <a:lnTo>
                      <a:pt x="1178" y="1145"/>
                    </a:lnTo>
                    <a:lnTo>
                      <a:pt x="1178" y="1146"/>
                    </a:lnTo>
                    <a:lnTo>
                      <a:pt x="1176" y="1146"/>
                    </a:lnTo>
                    <a:lnTo>
                      <a:pt x="1178" y="1146"/>
                    </a:lnTo>
                    <a:lnTo>
                      <a:pt x="1178" y="1145"/>
                    </a:lnTo>
                    <a:lnTo>
                      <a:pt x="1179" y="1145"/>
                    </a:lnTo>
                    <a:lnTo>
                      <a:pt x="1179" y="1146"/>
                    </a:lnTo>
                    <a:lnTo>
                      <a:pt x="1179" y="1148"/>
                    </a:lnTo>
                    <a:lnTo>
                      <a:pt x="1178" y="1148"/>
                    </a:lnTo>
                    <a:lnTo>
                      <a:pt x="1179" y="1148"/>
                    </a:lnTo>
                    <a:lnTo>
                      <a:pt x="1181" y="1148"/>
                    </a:lnTo>
                    <a:lnTo>
                      <a:pt x="1179" y="1150"/>
                    </a:lnTo>
                    <a:lnTo>
                      <a:pt x="1181" y="1150"/>
                    </a:lnTo>
                    <a:lnTo>
                      <a:pt x="1181" y="1148"/>
                    </a:lnTo>
                    <a:lnTo>
                      <a:pt x="1183" y="1150"/>
                    </a:lnTo>
                    <a:lnTo>
                      <a:pt x="1181" y="1151"/>
                    </a:lnTo>
                    <a:lnTo>
                      <a:pt x="1181" y="1153"/>
                    </a:lnTo>
                    <a:lnTo>
                      <a:pt x="1181" y="1155"/>
                    </a:lnTo>
                    <a:lnTo>
                      <a:pt x="1183" y="1155"/>
                    </a:lnTo>
                    <a:lnTo>
                      <a:pt x="1183" y="1153"/>
                    </a:lnTo>
                    <a:lnTo>
                      <a:pt x="1183" y="1151"/>
                    </a:lnTo>
                    <a:lnTo>
                      <a:pt x="1183" y="1153"/>
                    </a:lnTo>
                    <a:lnTo>
                      <a:pt x="1183" y="1151"/>
                    </a:lnTo>
                    <a:lnTo>
                      <a:pt x="1183" y="1150"/>
                    </a:lnTo>
                    <a:lnTo>
                      <a:pt x="1185" y="1150"/>
                    </a:lnTo>
                    <a:lnTo>
                      <a:pt x="1185" y="1151"/>
                    </a:lnTo>
                    <a:lnTo>
                      <a:pt x="1185" y="1150"/>
                    </a:lnTo>
                    <a:lnTo>
                      <a:pt x="1183" y="1150"/>
                    </a:lnTo>
                    <a:lnTo>
                      <a:pt x="1183" y="1148"/>
                    </a:lnTo>
                    <a:lnTo>
                      <a:pt x="1181" y="1148"/>
                    </a:lnTo>
                    <a:lnTo>
                      <a:pt x="1181" y="1146"/>
                    </a:lnTo>
                    <a:lnTo>
                      <a:pt x="1181" y="1145"/>
                    </a:lnTo>
                    <a:lnTo>
                      <a:pt x="1183" y="1145"/>
                    </a:lnTo>
                    <a:lnTo>
                      <a:pt x="1183" y="1146"/>
                    </a:lnTo>
                    <a:lnTo>
                      <a:pt x="1183" y="1145"/>
                    </a:lnTo>
                    <a:lnTo>
                      <a:pt x="1181" y="1145"/>
                    </a:lnTo>
                    <a:lnTo>
                      <a:pt x="1181" y="1143"/>
                    </a:lnTo>
                    <a:lnTo>
                      <a:pt x="1183" y="1145"/>
                    </a:lnTo>
                    <a:lnTo>
                      <a:pt x="1183" y="1143"/>
                    </a:lnTo>
                    <a:lnTo>
                      <a:pt x="1185" y="1143"/>
                    </a:lnTo>
                    <a:lnTo>
                      <a:pt x="1186" y="1145"/>
                    </a:lnTo>
                    <a:lnTo>
                      <a:pt x="1186" y="1143"/>
                    </a:lnTo>
                    <a:lnTo>
                      <a:pt x="1186" y="1145"/>
                    </a:lnTo>
                    <a:lnTo>
                      <a:pt x="1186" y="1146"/>
                    </a:lnTo>
                    <a:lnTo>
                      <a:pt x="1188" y="1146"/>
                    </a:lnTo>
                    <a:lnTo>
                      <a:pt x="1186" y="1146"/>
                    </a:lnTo>
                    <a:lnTo>
                      <a:pt x="1188" y="1145"/>
                    </a:lnTo>
                    <a:lnTo>
                      <a:pt x="1190" y="1143"/>
                    </a:lnTo>
                    <a:lnTo>
                      <a:pt x="1191" y="1143"/>
                    </a:lnTo>
                    <a:lnTo>
                      <a:pt x="1193" y="1143"/>
                    </a:lnTo>
                    <a:lnTo>
                      <a:pt x="1193" y="1145"/>
                    </a:lnTo>
                    <a:lnTo>
                      <a:pt x="1195" y="1145"/>
                    </a:lnTo>
                    <a:lnTo>
                      <a:pt x="1193" y="1145"/>
                    </a:lnTo>
                    <a:lnTo>
                      <a:pt x="1193" y="1143"/>
                    </a:lnTo>
                    <a:lnTo>
                      <a:pt x="1195" y="1145"/>
                    </a:lnTo>
                    <a:lnTo>
                      <a:pt x="1195" y="1146"/>
                    </a:lnTo>
                    <a:lnTo>
                      <a:pt x="1193" y="1146"/>
                    </a:lnTo>
                    <a:lnTo>
                      <a:pt x="1191" y="1146"/>
                    </a:lnTo>
                    <a:lnTo>
                      <a:pt x="1190" y="1146"/>
                    </a:lnTo>
                    <a:lnTo>
                      <a:pt x="1190" y="1148"/>
                    </a:lnTo>
                    <a:lnTo>
                      <a:pt x="1188" y="1148"/>
                    </a:lnTo>
                    <a:lnTo>
                      <a:pt x="1190" y="1148"/>
                    </a:lnTo>
                    <a:lnTo>
                      <a:pt x="1191" y="1148"/>
                    </a:lnTo>
                    <a:lnTo>
                      <a:pt x="1193" y="1148"/>
                    </a:lnTo>
                    <a:lnTo>
                      <a:pt x="1193" y="1150"/>
                    </a:lnTo>
                    <a:lnTo>
                      <a:pt x="1191" y="1150"/>
                    </a:lnTo>
                    <a:lnTo>
                      <a:pt x="1193" y="1150"/>
                    </a:lnTo>
                    <a:lnTo>
                      <a:pt x="1193" y="1148"/>
                    </a:lnTo>
                    <a:lnTo>
                      <a:pt x="1195" y="1148"/>
                    </a:lnTo>
                    <a:lnTo>
                      <a:pt x="1196" y="1150"/>
                    </a:lnTo>
                    <a:lnTo>
                      <a:pt x="1196" y="1151"/>
                    </a:lnTo>
                    <a:lnTo>
                      <a:pt x="1195" y="1151"/>
                    </a:lnTo>
                    <a:lnTo>
                      <a:pt x="1195" y="1153"/>
                    </a:lnTo>
                    <a:lnTo>
                      <a:pt x="1193" y="1153"/>
                    </a:lnTo>
                    <a:lnTo>
                      <a:pt x="1191" y="1153"/>
                    </a:lnTo>
                    <a:lnTo>
                      <a:pt x="1190" y="1153"/>
                    </a:lnTo>
                    <a:lnTo>
                      <a:pt x="1188" y="1155"/>
                    </a:lnTo>
                    <a:lnTo>
                      <a:pt x="1186" y="1153"/>
                    </a:lnTo>
                    <a:lnTo>
                      <a:pt x="1186" y="1155"/>
                    </a:lnTo>
                    <a:lnTo>
                      <a:pt x="1188" y="1155"/>
                    </a:lnTo>
                    <a:lnTo>
                      <a:pt x="1190" y="1155"/>
                    </a:lnTo>
                    <a:lnTo>
                      <a:pt x="1191" y="1153"/>
                    </a:lnTo>
                    <a:lnTo>
                      <a:pt x="1193" y="1153"/>
                    </a:lnTo>
                    <a:lnTo>
                      <a:pt x="1195" y="1153"/>
                    </a:lnTo>
                    <a:lnTo>
                      <a:pt x="1195" y="1155"/>
                    </a:lnTo>
                    <a:lnTo>
                      <a:pt x="1195" y="1157"/>
                    </a:lnTo>
                    <a:lnTo>
                      <a:pt x="1195" y="1158"/>
                    </a:lnTo>
                    <a:lnTo>
                      <a:pt x="1193" y="1158"/>
                    </a:lnTo>
                    <a:lnTo>
                      <a:pt x="1191" y="1160"/>
                    </a:lnTo>
                    <a:lnTo>
                      <a:pt x="1191" y="1158"/>
                    </a:lnTo>
                    <a:lnTo>
                      <a:pt x="1190" y="1158"/>
                    </a:lnTo>
                    <a:lnTo>
                      <a:pt x="1190" y="1160"/>
                    </a:lnTo>
                    <a:lnTo>
                      <a:pt x="1188" y="1160"/>
                    </a:lnTo>
                    <a:lnTo>
                      <a:pt x="1186" y="1160"/>
                    </a:lnTo>
                    <a:lnTo>
                      <a:pt x="1186" y="1158"/>
                    </a:lnTo>
                    <a:lnTo>
                      <a:pt x="1186" y="1160"/>
                    </a:lnTo>
                    <a:lnTo>
                      <a:pt x="1185" y="1158"/>
                    </a:lnTo>
                    <a:lnTo>
                      <a:pt x="1186" y="1160"/>
                    </a:lnTo>
                    <a:lnTo>
                      <a:pt x="1188" y="1160"/>
                    </a:lnTo>
                    <a:lnTo>
                      <a:pt x="1190" y="1160"/>
                    </a:lnTo>
                    <a:lnTo>
                      <a:pt x="1191" y="1160"/>
                    </a:lnTo>
                    <a:lnTo>
                      <a:pt x="1193" y="1160"/>
                    </a:lnTo>
                    <a:lnTo>
                      <a:pt x="1193" y="1158"/>
                    </a:lnTo>
                    <a:lnTo>
                      <a:pt x="1195" y="1158"/>
                    </a:lnTo>
                    <a:lnTo>
                      <a:pt x="1196" y="1157"/>
                    </a:lnTo>
                    <a:lnTo>
                      <a:pt x="1195" y="1157"/>
                    </a:lnTo>
                    <a:lnTo>
                      <a:pt x="1195" y="1155"/>
                    </a:lnTo>
                    <a:lnTo>
                      <a:pt x="1195" y="1153"/>
                    </a:lnTo>
                    <a:lnTo>
                      <a:pt x="1195" y="1151"/>
                    </a:lnTo>
                    <a:lnTo>
                      <a:pt x="1196" y="1151"/>
                    </a:lnTo>
                    <a:lnTo>
                      <a:pt x="1196" y="1153"/>
                    </a:lnTo>
                    <a:lnTo>
                      <a:pt x="1198" y="1153"/>
                    </a:lnTo>
                    <a:lnTo>
                      <a:pt x="1198" y="1155"/>
                    </a:lnTo>
                    <a:lnTo>
                      <a:pt x="1198" y="1157"/>
                    </a:lnTo>
                    <a:lnTo>
                      <a:pt x="1198" y="1158"/>
                    </a:lnTo>
                    <a:lnTo>
                      <a:pt x="1196" y="1160"/>
                    </a:lnTo>
                    <a:lnTo>
                      <a:pt x="1195" y="1160"/>
                    </a:lnTo>
                    <a:lnTo>
                      <a:pt x="1195" y="1162"/>
                    </a:lnTo>
                    <a:lnTo>
                      <a:pt x="1193" y="1162"/>
                    </a:lnTo>
                    <a:lnTo>
                      <a:pt x="1191" y="1163"/>
                    </a:lnTo>
                    <a:lnTo>
                      <a:pt x="1190" y="1163"/>
                    </a:lnTo>
                    <a:lnTo>
                      <a:pt x="1188" y="1163"/>
                    </a:lnTo>
                    <a:lnTo>
                      <a:pt x="1188" y="1165"/>
                    </a:lnTo>
                    <a:lnTo>
                      <a:pt x="1186" y="1165"/>
                    </a:lnTo>
                    <a:lnTo>
                      <a:pt x="1185" y="1163"/>
                    </a:lnTo>
                    <a:lnTo>
                      <a:pt x="1183" y="1163"/>
                    </a:lnTo>
                    <a:lnTo>
                      <a:pt x="1181" y="1162"/>
                    </a:lnTo>
                    <a:lnTo>
                      <a:pt x="1183" y="1162"/>
                    </a:lnTo>
                    <a:lnTo>
                      <a:pt x="1181" y="1160"/>
                    </a:lnTo>
                    <a:lnTo>
                      <a:pt x="1181" y="1162"/>
                    </a:lnTo>
                    <a:lnTo>
                      <a:pt x="1181" y="1163"/>
                    </a:lnTo>
                    <a:lnTo>
                      <a:pt x="1183" y="1163"/>
                    </a:lnTo>
                    <a:lnTo>
                      <a:pt x="1185" y="1165"/>
                    </a:lnTo>
                    <a:lnTo>
                      <a:pt x="1186" y="1165"/>
                    </a:lnTo>
                    <a:lnTo>
                      <a:pt x="1188" y="1165"/>
                    </a:lnTo>
                    <a:lnTo>
                      <a:pt x="1190" y="1165"/>
                    </a:lnTo>
                    <a:lnTo>
                      <a:pt x="1190" y="1163"/>
                    </a:lnTo>
                    <a:lnTo>
                      <a:pt x="1191" y="1163"/>
                    </a:lnTo>
                    <a:lnTo>
                      <a:pt x="1193" y="1163"/>
                    </a:lnTo>
                    <a:lnTo>
                      <a:pt x="1195" y="1162"/>
                    </a:lnTo>
                    <a:lnTo>
                      <a:pt x="1196" y="1162"/>
                    </a:lnTo>
                    <a:lnTo>
                      <a:pt x="1196" y="1163"/>
                    </a:lnTo>
                    <a:lnTo>
                      <a:pt x="1195" y="1163"/>
                    </a:lnTo>
                    <a:lnTo>
                      <a:pt x="1196" y="1163"/>
                    </a:lnTo>
                    <a:lnTo>
                      <a:pt x="1196" y="1165"/>
                    </a:lnTo>
                    <a:lnTo>
                      <a:pt x="1196" y="1163"/>
                    </a:lnTo>
                    <a:lnTo>
                      <a:pt x="1196" y="1162"/>
                    </a:lnTo>
                    <a:lnTo>
                      <a:pt x="1198" y="1162"/>
                    </a:lnTo>
                    <a:lnTo>
                      <a:pt x="1198" y="1160"/>
                    </a:lnTo>
                    <a:lnTo>
                      <a:pt x="1200" y="1160"/>
                    </a:lnTo>
                    <a:lnTo>
                      <a:pt x="1202" y="1158"/>
                    </a:lnTo>
                    <a:lnTo>
                      <a:pt x="1202" y="1160"/>
                    </a:lnTo>
                    <a:lnTo>
                      <a:pt x="1202" y="1162"/>
                    </a:lnTo>
                    <a:lnTo>
                      <a:pt x="1203" y="1162"/>
                    </a:lnTo>
                    <a:lnTo>
                      <a:pt x="1203" y="1163"/>
                    </a:lnTo>
                    <a:lnTo>
                      <a:pt x="1205" y="1163"/>
                    </a:lnTo>
                    <a:lnTo>
                      <a:pt x="1205" y="1165"/>
                    </a:lnTo>
                    <a:lnTo>
                      <a:pt x="1205" y="1167"/>
                    </a:lnTo>
                    <a:lnTo>
                      <a:pt x="1205" y="1168"/>
                    </a:lnTo>
                    <a:lnTo>
                      <a:pt x="1205" y="1170"/>
                    </a:lnTo>
                    <a:lnTo>
                      <a:pt x="1203" y="1170"/>
                    </a:lnTo>
                    <a:lnTo>
                      <a:pt x="1203" y="1172"/>
                    </a:lnTo>
                    <a:lnTo>
                      <a:pt x="1203" y="1174"/>
                    </a:lnTo>
                    <a:lnTo>
                      <a:pt x="1202" y="1174"/>
                    </a:lnTo>
                    <a:lnTo>
                      <a:pt x="1202" y="1175"/>
                    </a:lnTo>
                    <a:lnTo>
                      <a:pt x="1200" y="1175"/>
                    </a:lnTo>
                    <a:lnTo>
                      <a:pt x="1202" y="1177"/>
                    </a:lnTo>
                    <a:lnTo>
                      <a:pt x="1202" y="1179"/>
                    </a:lnTo>
                    <a:lnTo>
                      <a:pt x="1202" y="1177"/>
                    </a:lnTo>
                    <a:lnTo>
                      <a:pt x="1200" y="1177"/>
                    </a:lnTo>
                    <a:lnTo>
                      <a:pt x="1200" y="1179"/>
                    </a:lnTo>
                    <a:lnTo>
                      <a:pt x="1198" y="1179"/>
                    </a:lnTo>
                    <a:lnTo>
                      <a:pt x="1200" y="1179"/>
                    </a:lnTo>
                    <a:lnTo>
                      <a:pt x="1200" y="1180"/>
                    </a:lnTo>
                    <a:lnTo>
                      <a:pt x="1202" y="1180"/>
                    </a:lnTo>
                    <a:lnTo>
                      <a:pt x="1202" y="1182"/>
                    </a:lnTo>
                    <a:lnTo>
                      <a:pt x="1203" y="1180"/>
                    </a:lnTo>
                    <a:lnTo>
                      <a:pt x="1203" y="1179"/>
                    </a:lnTo>
                    <a:lnTo>
                      <a:pt x="1203" y="1177"/>
                    </a:lnTo>
                    <a:lnTo>
                      <a:pt x="1205" y="1177"/>
                    </a:lnTo>
                    <a:lnTo>
                      <a:pt x="1205" y="1175"/>
                    </a:lnTo>
                    <a:lnTo>
                      <a:pt x="1205" y="1174"/>
                    </a:lnTo>
                    <a:lnTo>
                      <a:pt x="1205" y="1172"/>
                    </a:lnTo>
                    <a:lnTo>
                      <a:pt x="1207" y="1172"/>
                    </a:lnTo>
                    <a:lnTo>
                      <a:pt x="1208" y="1170"/>
                    </a:lnTo>
                    <a:lnTo>
                      <a:pt x="1208" y="1168"/>
                    </a:lnTo>
                    <a:lnTo>
                      <a:pt x="1210" y="1168"/>
                    </a:lnTo>
                    <a:lnTo>
                      <a:pt x="1210" y="1167"/>
                    </a:lnTo>
                    <a:lnTo>
                      <a:pt x="1212" y="1167"/>
                    </a:lnTo>
                    <a:lnTo>
                      <a:pt x="1213" y="1167"/>
                    </a:lnTo>
                    <a:lnTo>
                      <a:pt x="1215" y="1167"/>
                    </a:lnTo>
                    <a:lnTo>
                      <a:pt x="1213" y="1167"/>
                    </a:lnTo>
                    <a:lnTo>
                      <a:pt x="1212" y="1167"/>
                    </a:lnTo>
                    <a:lnTo>
                      <a:pt x="1212" y="1165"/>
                    </a:lnTo>
                    <a:lnTo>
                      <a:pt x="1212" y="1163"/>
                    </a:lnTo>
                    <a:lnTo>
                      <a:pt x="1212" y="1162"/>
                    </a:lnTo>
                    <a:lnTo>
                      <a:pt x="1213" y="1162"/>
                    </a:lnTo>
                    <a:lnTo>
                      <a:pt x="1213" y="1160"/>
                    </a:lnTo>
                    <a:lnTo>
                      <a:pt x="1215" y="1160"/>
                    </a:lnTo>
                    <a:lnTo>
                      <a:pt x="1213" y="1160"/>
                    </a:lnTo>
                    <a:lnTo>
                      <a:pt x="1213" y="1158"/>
                    </a:lnTo>
                    <a:lnTo>
                      <a:pt x="1215" y="1158"/>
                    </a:lnTo>
                    <a:lnTo>
                      <a:pt x="1215" y="1157"/>
                    </a:lnTo>
                    <a:lnTo>
                      <a:pt x="1217" y="1157"/>
                    </a:lnTo>
                    <a:lnTo>
                      <a:pt x="1217" y="1155"/>
                    </a:lnTo>
                    <a:lnTo>
                      <a:pt x="1219" y="1155"/>
                    </a:lnTo>
                    <a:lnTo>
                      <a:pt x="1219" y="1153"/>
                    </a:lnTo>
                    <a:lnTo>
                      <a:pt x="1217" y="1153"/>
                    </a:lnTo>
                    <a:lnTo>
                      <a:pt x="1215" y="1155"/>
                    </a:lnTo>
                    <a:lnTo>
                      <a:pt x="1215" y="1157"/>
                    </a:lnTo>
                    <a:lnTo>
                      <a:pt x="1213" y="1157"/>
                    </a:lnTo>
                    <a:lnTo>
                      <a:pt x="1213" y="1158"/>
                    </a:lnTo>
                    <a:lnTo>
                      <a:pt x="1212" y="1160"/>
                    </a:lnTo>
                    <a:lnTo>
                      <a:pt x="1212" y="1162"/>
                    </a:lnTo>
                    <a:lnTo>
                      <a:pt x="1210" y="1163"/>
                    </a:lnTo>
                    <a:lnTo>
                      <a:pt x="1212" y="1162"/>
                    </a:lnTo>
                    <a:lnTo>
                      <a:pt x="1212" y="1163"/>
                    </a:lnTo>
                    <a:lnTo>
                      <a:pt x="1210" y="1163"/>
                    </a:lnTo>
                    <a:lnTo>
                      <a:pt x="1210" y="1165"/>
                    </a:lnTo>
                    <a:lnTo>
                      <a:pt x="1208" y="1167"/>
                    </a:lnTo>
                    <a:lnTo>
                      <a:pt x="1208" y="1168"/>
                    </a:lnTo>
                    <a:lnTo>
                      <a:pt x="1207" y="1168"/>
                    </a:lnTo>
                    <a:lnTo>
                      <a:pt x="1208" y="1168"/>
                    </a:lnTo>
                    <a:lnTo>
                      <a:pt x="1207" y="1168"/>
                    </a:lnTo>
                    <a:lnTo>
                      <a:pt x="1208" y="1167"/>
                    </a:lnTo>
                    <a:lnTo>
                      <a:pt x="1208" y="1165"/>
                    </a:lnTo>
                    <a:lnTo>
                      <a:pt x="1208" y="1163"/>
                    </a:lnTo>
                    <a:lnTo>
                      <a:pt x="1210" y="1163"/>
                    </a:lnTo>
                    <a:lnTo>
                      <a:pt x="1208" y="1163"/>
                    </a:lnTo>
                    <a:lnTo>
                      <a:pt x="1208" y="1162"/>
                    </a:lnTo>
                    <a:lnTo>
                      <a:pt x="1208" y="1160"/>
                    </a:lnTo>
                    <a:lnTo>
                      <a:pt x="1208" y="1158"/>
                    </a:lnTo>
                    <a:lnTo>
                      <a:pt x="1210" y="1158"/>
                    </a:lnTo>
                    <a:lnTo>
                      <a:pt x="1210" y="1157"/>
                    </a:lnTo>
                    <a:lnTo>
                      <a:pt x="1210" y="1155"/>
                    </a:lnTo>
                    <a:lnTo>
                      <a:pt x="1208" y="1153"/>
                    </a:lnTo>
                    <a:lnTo>
                      <a:pt x="1210" y="1153"/>
                    </a:lnTo>
                    <a:lnTo>
                      <a:pt x="1208" y="1151"/>
                    </a:lnTo>
                    <a:lnTo>
                      <a:pt x="1210" y="1151"/>
                    </a:lnTo>
                    <a:lnTo>
                      <a:pt x="1210" y="1150"/>
                    </a:lnTo>
                    <a:lnTo>
                      <a:pt x="1212" y="1150"/>
                    </a:lnTo>
                    <a:lnTo>
                      <a:pt x="1210" y="1150"/>
                    </a:lnTo>
                    <a:lnTo>
                      <a:pt x="1210" y="1148"/>
                    </a:lnTo>
                    <a:lnTo>
                      <a:pt x="1212" y="1146"/>
                    </a:lnTo>
                    <a:lnTo>
                      <a:pt x="1213" y="1146"/>
                    </a:lnTo>
                    <a:lnTo>
                      <a:pt x="1212" y="1145"/>
                    </a:lnTo>
                    <a:lnTo>
                      <a:pt x="1213" y="1143"/>
                    </a:lnTo>
                    <a:lnTo>
                      <a:pt x="1213" y="1141"/>
                    </a:lnTo>
                    <a:lnTo>
                      <a:pt x="1215" y="1141"/>
                    </a:lnTo>
                    <a:lnTo>
                      <a:pt x="1215" y="1140"/>
                    </a:lnTo>
                    <a:lnTo>
                      <a:pt x="1217" y="1138"/>
                    </a:lnTo>
                    <a:lnTo>
                      <a:pt x="1219" y="1138"/>
                    </a:lnTo>
                    <a:lnTo>
                      <a:pt x="1220" y="1138"/>
                    </a:lnTo>
                    <a:lnTo>
                      <a:pt x="1220" y="1136"/>
                    </a:lnTo>
                    <a:lnTo>
                      <a:pt x="1222" y="1138"/>
                    </a:lnTo>
                    <a:lnTo>
                      <a:pt x="1222" y="1136"/>
                    </a:lnTo>
                    <a:lnTo>
                      <a:pt x="1222" y="1138"/>
                    </a:lnTo>
                    <a:lnTo>
                      <a:pt x="1224" y="1138"/>
                    </a:lnTo>
                    <a:lnTo>
                      <a:pt x="1225" y="1136"/>
                    </a:lnTo>
                    <a:lnTo>
                      <a:pt x="1224" y="1136"/>
                    </a:lnTo>
                    <a:lnTo>
                      <a:pt x="1224" y="1134"/>
                    </a:lnTo>
                    <a:lnTo>
                      <a:pt x="1222" y="1134"/>
                    </a:lnTo>
                    <a:lnTo>
                      <a:pt x="1222" y="1136"/>
                    </a:lnTo>
                    <a:lnTo>
                      <a:pt x="1220" y="1136"/>
                    </a:lnTo>
                    <a:lnTo>
                      <a:pt x="1220" y="1134"/>
                    </a:lnTo>
                    <a:lnTo>
                      <a:pt x="1220" y="1133"/>
                    </a:lnTo>
                    <a:lnTo>
                      <a:pt x="1222" y="1133"/>
                    </a:lnTo>
                    <a:lnTo>
                      <a:pt x="1220" y="1133"/>
                    </a:lnTo>
                    <a:lnTo>
                      <a:pt x="1220" y="1134"/>
                    </a:lnTo>
                    <a:lnTo>
                      <a:pt x="1219" y="1134"/>
                    </a:lnTo>
                    <a:lnTo>
                      <a:pt x="1217" y="1136"/>
                    </a:lnTo>
                    <a:lnTo>
                      <a:pt x="1217" y="1138"/>
                    </a:lnTo>
                    <a:lnTo>
                      <a:pt x="1215" y="1138"/>
                    </a:lnTo>
                    <a:lnTo>
                      <a:pt x="1215" y="1140"/>
                    </a:lnTo>
                    <a:lnTo>
                      <a:pt x="1213" y="1140"/>
                    </a:lnTo>
                    <a:lnTo>
                      <a:pt x="1213" y="1141"/>
                    </a:lnTo>
                    <a:lnTo>
                      <a:pt x="1212" y="1141"/>
                    </a:lnTo>
                    <a:lnTo>
                      <a:pt x="1212" y="1140"/>
                    </a:lnTo>
                    <a:lnTo>
                      <a:pt x="1212" y="1138"/>
                    </a:lnTo>
                    <a:lnTo>
                      <a:pt x="1212" y="1136"/>
                    </a:lnTo>
                    <a:lnTo>
                      <a:pt x="1212" y="1134"/>
                    </a:lnTo>
                    <a:lnTo>
                      <a:pt x="1212" y="1133"/>
                    </a:lnTo>
                    <a:lnTo>
                      <a:pt x="1213" y="1133"/>
                    </a:lnTo>
                    <a:lnTo>
                      <a:pt x="1213" y="1131"/>
                    </a:lnTo>
                    <a:lnTo>
                      <a:pt x="1213" y="1129"/>
                    </a:lnTo>
                    <a:lnTo>
                      <a:pt x="1213" y="1128"/>
                    </a:lnTo>
                    <a:lnTo>
                      <a:pt x="1213" y="1126"/>
                    </a:lnTo>
                    <a:lnTo>
                      <a:pt x="1215" y="1124"/>
                    </a:lnTo>
                    <a:lnTo>
                      <a:pt x="1217" y="1124"/>
                    </a:lnTo>
                    <a:lnTo>
                      <a:pt x="1217" y="1126"/>
                    </a:lnTo>
                    <a:lnTo>
                      <a:pt x="1217" y="1128"/>
                    </a:lnTo>
                    <a:lnTo>
                      <a:pt x="1217" y="1126"/>
                    </a:lnTo>
                    <a:lnTo>
                      <a:pt x="1217" y="1124"/>
                    </a:lnTo>
                    <a:lnTo>
                      <a:pt x="1217" y="1122"/>
                    </a:lnTo>
                    <a:lnTo>
                      <a:pt x="1219" y="1122"/>
                    </a:lnTo>
                    <a:lnTo>
                      <a:pt x="1219" y="1121"/>
                    </a:lnTo>
                    <a:lnTo>
                      <a:pt x="1219" y="1122"/>
                    </a:lnTo>
                    <a:lnTo>
                      <a:pt x="1220" y="1124"/>
                    </a:lnTo>
                    <a:lnTo>
                      <a:pt x="1220" y="1122"/>
                    </a:lnTo>
                    <a:lnTo>
                      <a:pt x="1220" y="1121"/>
                    </a:lnTo>
                    <a:lnTo>
                      <a:pt x="1219" y="1121"/>
                    </a:lnTo>
                    <a:lnTo>
                      <a:pt x="1220" y="1121"/>
                    </a:lnTo>
                    <a:lnTo>
                      <a:pt x="1220" y="1119"/>
                    </a:lnTo>
                    <a:lnTo>
                      <a:pt x="1222" y="1119"/>
                    </a:lnTo>
                    <a:lnTo>
                      <a:pt x="1224" y="1119"/>
                    </a:lnTo>
                    <a:lnTo>
                      <a:pt x="1225" y="1119"/>
                    </a:lnTo>
                    <a:lnTo>
                      <a:pt x="1225" y="1121"/>
                    </a:lnTo>
                    <a:lnTo>
                      <a:pt x="1225" y="1122"/>
                    </a:lnTo>
                    <a:lnTo>
                      <a:pt x="1227" y="1122"/>
                    </a:lnTo>
                    <a:lnTo>
                      <a:pt x="1227" y="1124"/>
                    </a:lnTo>
                    <a:lnTo>
                      <a:pt x="1229" y="1124"/>
                    </a:lnTo>
                    <a:lnTo>
                      <a:pt x="1230" y="1126"/>
                    </a:lnTo>
                    <a:lnTo>
                      <a:pt x="1232" y="1126"/>
                    </a:lnTo>
                    <a:lnTo>
                      <a:pt x="1234" y="1126"/>
                    </a:lnTo>
                    <a:lnTo>
                      <a:pt x="1234" y="1128"/>
                    </a:lnTo>
                    <a:lnTo>
                      <a:pt x="1234" y="1126"/>
                    </a:lnTo>
                    <a:lnTo>
                      <a:pt x="1234" y="1128"/>
                    </a:lnTo>
                    <a:lnTo>
                      <a:pt x="1236" y="1126"/>
                    </a:lnTo>
                    <a:lnTo>
                      <a:pt x="1236" y="1128"/>
                    </a:lnTo>
                    <a:lnTo>
                      <a:pt x="1236" y="1126"/>
                    </a:lnTo>
                    <a:lnTo>
                      <a:pt x="1237" y="1126"/>
                    </a:lnTo>
                    <a:lnTo>
                      <a:pt x="1236" y="1126"/>
                    </a:lnTo>
                    <a:lnTo>
                      <a:pt x="1237" y="1126"/>
                    </a:lnTo>
                    <a:lnTo>
                      <a:pt x="1237" y="1124"/>
                    </a:lnTo>
                    <a:lnTo>
                      <a:pt x="1236" y="1124"/>
                    </a:lnTo>
                    <a:lnTo>
                      <a:pt x="1237" y="1122"/>
                    </a:lnTo>
                    <a:lnTo>
                      <a:pt x="1236" y="1122"/>
                    </a:lnTo>
                    <a:lnTo>
                      <a:pt x="1234" y="1122"/>
                    </a:lnTo>
                    <a:lnTo>
                      <a:pt x="1234" y="1124"/>
                    </a:lnTo>
                    <a:lnTo>
                      <a:pt x="1232" y="1124"/>
                    </a:lnTo>
                    <a:lnTo>
                      <a:pt x="1230" y="1124"/>
                    </a:lnTo>
                    <a:lnTo>
                      <a:pt x="1230" y="1122"/>
                    </a:lnTo>
                    <a:lnTo>
                      <a:pt x="1229" y="1122"/>
                    </a:lnTo>
                    <a:lnTo>
                      <a:pt x="1229" y="1121"/>
                    </a:lnTo>
                    <a:lnTo>
                      <a:pt x="1227" y="1121"/>
                    </a:lnTo>
                    <a:lnTo>
                      <a:pt x="1227" y="1119"/>
                    </a:lnTo>
                    <a:lnTo>
                      <a:pt x="1225" y="1117"/>
                    </a:lnTo>
                    <a:lnTo>
                      <a:pt x="1224" y="1117"/>
                    </a:lnTo>
                    <a:lnTo>
                      <a:pt x="1224" y="1116"/>
                    </a:lnTo>
                    <a:lnTo>
                      <a:pt x="1222" y="1116"/>
                    </a:lnTo>
                    <a:lnTo>
                      <a:pt x="1220" y="1116"/>
                    </a:lnTo>
                    <a:lnTo>
                      <a:pt x="1220" y="1117"/>
                    </a:lnTo>
                    <a:lnTo>
                      <a:pt x="1219" y="1117"/>
                    </a:lnTo>
                    <a:lnTo>
                      <a:pt x="1219" y="1119"/>
                    </a:lnTo>
                    <a:lnTo>
                      <a:pt x="1219" y="1117"/>
                    </a:lnTo>
                    <a:lnTo>
                      <a:pt x="1217" y="1117"/>
                    </a:lnTo>
                    <a:lnTo>
                      <a:pt x="1215" y="1117"/>
                    </a:lnTo>
                    <a:lnTo>
                      <a:pt x="1213" y="1116"/>
                    </a:lnTo>
                    <a:lnTo>
                      <a:pt x="1213" y="1114"/>
                    </a:lnTo>
                    <a:lnTo>
                      <a:pt x="1215" y="1116"/>
                    </a:lnTo>
                    <a:lnTo>
                      <a:pt x="1215" y="1117"/>
                    </a:lnTo>
                    <a:lnTo>
                      <a:pt x="1215" y="1116"/>
                    </a:lnTo>
                    <a:lnTo>
                      <a:pt x="1215" y="1114"/>
                    </a:lnTo>
                    <a:lnTo>
                      <a:pt x="1217" y="1114"/>
                    </a:lnTo>
                    <a:lnTo>
                      <a:pt x="1219" y="1114"/>
                    </a:lnTo>
                    <a:lnTo>
                      <a:pt x="1220" y="1114"/>
                    </a:lnTo>
                    <a:lnTo>
                      <a:pt x="1220" y="1112"/>
                    </a:lnTo>
                    <a:lnTo>
                      <a:pt x="1219" y="1112"/>
                    </a:lnTo>
                    <a:lnTo>
                      <a:pt x="1220" y="1112"/>
                    </a:lnTo>
                    <a:lnTo>
                      <a:pt x="1220" y="1111"/>
                    </a:lnTo>
                    <a:lnTo>
                      <a:pt x="1220" y="1109"/>
                    </a:lnTo>
                    <a:lnTo>
                      <a:pt x="1219" y="1109"/>
                    </a:lnTo>
                    <a:lnTo>
                      <a:pt x="1220" y="1109"/>
                    </a:lnTo>
                    <a:lnTo>
                      <a:pt x="1220" y="1107"/>
                    </a:lnTo>
                    <a:lnTo>
                      <a:pt x="1220" y="1109"/>
                    </a:lnTo>
                    <a:lnTo>
                      <a:pt x="1219" y="1109"/>
                    </a:lnTo>
                    <a:lnTo>
                      <a:pt x="1219" y="1107"/>
                    </a:lnTo>
                    <a:lnTo>
                      <a:pt x="1217" y="1107"/>
                    </a:lnTo>
                    <a:lnTo>
                      <a:pt x="1217" y="1105"/>
                    </a:lnTo>
                    <a:lnTo>
                      <a:pt x="1217" y="1104"/>
                    </a:lnTo>
                    <a:lnTo>
                      <a:pt x="1217" y="1102"/>
                    </a:lnTo>
                    <a:lnTo>
                      <a:pt x="1219" y="1102"/>
                    </a:lnTo>
                    <a:lnTo>
                      <a:pt x="1220" y="1102"/>
                    </a:lnTo>
                    <a:lnTo>
                      <a:pt x="1222" y="1102"/>
                    </a:lnTo>
                    <a:lnTo>
                      <a:pt x="1224" y="1102"/>
                    </a:lnTo>
                    <a:lnTo>
                      <a:pt x="1225" y="1100"/>
                    </a:lnTo>
                    <a:lnTo>
                      <a:pt x="1227" y="1102"/>
                    </a:lnTo>
                    <a:lnTo>
                      <a:pt x="1227" y="1100"/>
                    </a:lnTo>
                    <a:lnTo>
                      <a:pt x="1229" y="1100"/>
                    </a:lnTo>
                    <a:lnTo>
                      <a:pt x="1229" y="1099"/>
                    </a:lnTo>
                    <a:lnTo>
                      <a:pt x="1230" y="1099"/>
                    </a:lnTo>
                    <a:lnTo>
                      <a:pt x="1230" y="1097"/>
                    </a:lnTo>
                    <a:lnTo>
                      <a:pt x="1232" y="1097"/>
                    </a:lnTo>
                    <a:lnTo>
                      <a:pt x="1232" y="1099"/>
                    </a:lnTo>
                    <a:lnTo>
                      <a:pt x="1232" y="1097"/>
                    </a:lnTo>
                    <a:lnTo>
                      <a:pt x="1234" y="1097"/>
                    </a:lnTo>
                    <a:lnTo>
                      <a:pt x="1236" y="1095"/>
                    </a:lnTo>
                    <a:lnTo>
                      <a:pt x="1237" y="1094"/>
                    </a:lnTo>
                    <a:lnTo>
                      <a:pt x="1239" y="1092"/>
                    </a:lnTo>
                    <a:lnTo>
                      <a:pt x="1241" y="1092"/>
                    </a:lnTo>
                    <a:lnTo>
                      <a:pt x="1241" y="1090"/>
                    </a:lnTo>
                    <a:lnTo>
                      <a:pt x="1239" y="1088"/>
                    </a:lnTo>
                    <a:lnTo>
                      <a:pt x="1241" y="1087"/>
                    </a:lnTo>
                    <a:lnTo>
                      <a:pt x="1241" y="1085"/>
                    </a:lnTo>
                    <a:lnTo>
                      <a:pt x="1241" y="1083"/>
                    </a:lnTo>
                    <a:lnTo>
                      <a:pt x="1242" y="1082"/>
                    </a:lnTo>
                    <a:lnTo>
                      <a:pt x="1244" y="1082"/>
                    </a:lnTo>
                    <a:lnTo>
                      <a:pt x="1244" y="1080"/>
                    </a:lnTo>
                    <a:lnTo>
                      <a:pt x="1244" y="1082"/>
                    </a:lnTo>
                    <a:lnTo>
                      <a:pt x="1246" y="1082"/>
                    </a:lnTo>
                    <a:lnTo>
                      <a:pt x="1244" y="1080"/>
                    </a:lnTo>
                    <a:lnTo>
                      <a:pt x="1244" y="1078"/>
                    </a:lnTo>
                    <a:lnTo>
                      <a:pt x="1244" y="1077"/>
                    </a:lnTo>
                    <a:lnTo>
                      <a:pt x="1244" y="1075"/>
                    </a:lnTo>
                    <a:lnTo>
                      <a:pt x="1244" y="1073"/>
                    </a:lnTo>
                    <a:lnTo>
                      <a:pt x="1246" y="1071"/>
                    </a:lnTo>
                    <a:lnTo>
                      <a:pt x="1244" y="1071"/>
                    </a:lnTo>
                    <a:lnTo>
                      <a:pt x="1244" y="1073"/>
                    </a:lnTo>
                    <a:lnTo>
                      <a:pt x="1244" y="1075"/>
                    </a:lnTo>
                    <a:lnTo>
                      <a:pt x="1242" y="1077"/>
                    </a:lnTo>
                    <a:lnTo>
                      <a:pt x="1242" y="1078"/>
                    </a:lnTo>
                    <a:lnTo>
                      <a:pt x="1242" y="1080"/>
                    </a:lnTo>
                    <a:lnTo>
                      <a:pt x="1241" y="1080"/>
                    </a:lnTo>
                    <a:lnTo>
                      <a:pt x="1241" y="1082"/>
                    </a:lnTo>
                    <a:lnTo>
                      <a:pt x="1241" y="1080"/>
                    </a:lnTo>
                    <a:lnTo>
                      <a:pt x="1239" y="1080"/>
                    </a:lnTo>
                    <a:lnTo>
                      <a:pt x="1239" y="1078"/>
                    </a:lnTo>
                    <a:lnTo>
                      <a:pt x="1241" y="1078"/>
                    </a:lnTo>
                    <a:lnTo>
                      <a:pt x="1239" y="1078"/>
                    </a:lnTo>
                    <a:lnTo>
                      <a:pt x="1237" y="1078"/>
                    </a:lnTo>
                    <a:lnTo>
                      <a:pt x="1237" y="1077"/>
                    </a:lnTo>
                    <a:lnTo>
                      <a:pt x="1237" y="1075"/>
                    </a:lnTo>
                    <a:lnTo>
                      <a:pt x="1236" y="1075"/>
                    </a:lnTo>
                    <a:lnTo>
                      <a:pt x="1234" y="1075"/>
                    </a:lnTo>
                    <a:lnTo>
                      <a:pt x="1232" y="1073"/>
                    </a:lnTo>
                    <a:lnTo>
                      <a:pt x="1234" y="1073"/>
                    </a:lnTo>
                    <a:lnTo>
                      <a:pt x="1234" y="1071"/>
                    </a:lnTo>
                    <a:lnTo>
                      <a:pt x="1236" y="1071"/>
                    </a:lnTo>
                    <a:lnTo>
                      <a:pt x="1234" y="1071"/>
                    </a:lnTo>
                    <a:lnTo>
                      <a:pt x="1232" y="1071"/>
                    </a:lnTo>
                    <a:lnTo>
                      <a:pt x="1230" y="1071"/>
                    </a:lnTo>
                    <a:lnTo>
                      <a:pt x="1230" y="1070"/>
                    </a:lnTo>
                    <a:lnTo>
                      <a:pt x="1229" y="1070"/>
                    </a:lnTo>
                    <a:lnTo>
                      <a:pt x="1229" y="1068"/>
                    </a:lnTo>
                    <a:lnTo>
                      <a:pt x="1227" y="1068"/>
                    </a:lnTo>
                    <a:lnTo>
                      <a:pt x="1227" y="1070"/>
                    </a:lnTo>
                    <a:lnTo>
                      <a:pt x="1225" y="1070"/>
                    </a:lnTo>
                    <a:lnTo>
                      <a:pt x="1225" y="1068"/>
                    </a:lnTo>
                    <a:lnTo>
                      <a:pt x="1224" y="1068"/>
                    </a:lnTo>
                    <a:lnTo>
                      <a:pt x="1224" y="1066"/>
                    </a:lnTo>
                    <a:lnTo>
                      <a:pt x="1225" y="1066"/>
                    </a:lnTo>
                    <a:lnTo>
                      <a:pt x="1225" y="1068"/>
                    </a:lnTo>
                    <a:lnTo>
                      <a:pt x="1227" y="1068"/>
                    </a:lnTo>
                    <a:lnTo>
                      <a:pt x="1225" y="1066"/>
                    </a:lnTo>
                    <a:lnTo>
                      <a:pt x="1227" y="1066"/>
                    </a:lnTo>
                    <a:lnTo>
                      <a:pt x="1227" y="1065"/>
                    </a:lnTo>
                    <a:lnTo>
                      <a:pt x="1227" y="1066"/>
                    </a:lnTo>
                    <a:lnTo>
                      <a:pt x="1225" y="1065"/>
                    </a:lnTo>
                    <a:lnTo>
                      <a:pt x="1227" y="1065"/>
                    </a:lnTo>
                    <a:lnTo>
                      <a:pt x="1227" y="1063"/>
                    </a:lnTo>
                    <a:lnTo>
                      <a:pt x="1225" y="1063"/>
                    </a:lnTo>
                    <a:lnTo>
                      <a:pt x="1225" y="1065"/>
                    </a:lnTo>
                    <a:lnTo>
                      <a:pt x="1225" y="1066"/>
                    </a:lnTo>
                    <a:lnTo>
                      <a:pt x="1224" y="1066"/>
                    </a:lnTo>
                    <a:lnTo>
                      <a:pt x="1222" y="1066"/>
                    </a:lnTo>
                    <a:lnTo>
                      <a:pt x="1222" y="1065"/>
                    </a:lnTo>
                    <a:lnTo>
                      <a:pt x="1222" y="1066"/>
                    </a:lnTo>
                    <a:lnTo>
                      <a:pt x="1220" y="1066"/>
                    </a:lnTo>
                    <a:lnTo>
                      <a:pt x="1220" y="1065"/>
                    </a:lnTo>
                    <a:lnTo>
                      <a:pt x="1222" y="1065"/>
                    </a:lnTo>
                    <a:lnTo>
                      <a:pt x="1220" y="1065"/>
                    </a:lnTo>
                    <a:lnTo>
                      <a:pt x="1220" y="1063"/>
                    </a:lnTo>
                    <a:lnTo>
                      <a:pt x="1222" y="1061"/>
                    </a:lnTo>
                    <a:lnTo>
                      <a:pt x="1222" y="1063"/>
                    </a:lnTo>
                    <a:lnTo>
                      <a:pt x="1224" y="1065"/>
                    </a:lnTo>
                    <a:lnTo>
                      <a:pt x="1224" y="1063"/>
                    </a:lnTo>
                    <a:lnTo>
                      <a:pt x="1222" y="1061"/>
                    </a:lnTo>
                    <a:lnTo>
                      <a:pt x="1224" y="1060"/>
                    </a:lnTo>
                    <a:lnTo>
                      <a:pt x="1225" y="1060"/>
                    </a:lnTo>
                    <a:lnTo>
                      <a:pt x="1225" y="1061"/>
                    </a:lnTo>
                    <a:lnTo>
                      <a:pt x="1227" y="1061"/>
                    </a:lnTo>
                    <a:lnTo>
                      <a:pt x="1227" y="1060"/>
                    </a:lnTo>
                    <a:lnTo>
                      <a:pt x="1225" y="1060"/>
                    </a:lnTo>
                    <a:lnTo>
                      <a:pt x="1225" y="1058"/>
                    </a:lnTo>
                    <a:lnTo>
                      <a:pt x="1225" y="1056"/>
                    </a:lnTo>
                    <a:lnTo>
                      <a:pt x="1227" y="1056"/>
                    </a:lnTo>
                    <a:lnTo>
                      <a:pt x="1227" y="1054"/>
                    </a:lnTo>
                    <a:lnTo>
                      <a:pt x="1229" y="1054"/>
                    </a:lnTo>
                    <a:lnTo>
                      <a:pt x="1229" y="1053"/>
                    </a:lnTo>
                    <a:lnTo>
                      <a:pt x="1229" y="1051"/>
                    </a:lnTo>
                    <a:lnTo>
                      <a:pt x="1229" y="1049"/>
                    </a:lnTo>
                    <a:lnTo>
                      <a:pt x="1230" y="1049"/>
                    </a:lnTo>
                    <a:lnTo>
                      <a:pt x="1230" y="1048"/>
                    </a:lnTo>
                    <a:lnTo>
                      <a:pt x="1230" y="1046"/>
                    </a:lnTo>
                    <a:lnTo>
                      <a:pt x="1232" y="1046"/>
                    </a:lnTo>
                    <a:lnTo>
                      <a:pt x="1232" y="1048"/>
                    </a:lnTo>
                    <a:lnTo>
                      <a:pt x="1234" y="1048"/>
                    </a:lnTo>
                    <a:lnTo>
                      <a:pt x="1236" y="1048"/>
                    </a:lnTo>
                    <a:lnTo>
                      <a:pt x="1236" y="1049"/>
                    </a:lnTo>
                    <a:lnTo>
                      <a:pt x="1237" y="1048"/>
                    </a:lnTo>
                    <a:lnTo>
                      <a:pt x="1237" y="1049"/>
                    </a:lnTo>
                    <a:lnTo>
                      <a:pt x="1239" y="1049"/>
                    </a:lnTo>
                    <a:lnTo>
                      <a:pt x="1237" y="1049"/>
                    </a:lnTo>
                    <a:lnTo>
                      <a:pt x="1237" y="1048"/>
                    </a:lnTo>
                    <a:lnTo>
                      <a:pt x="1236" y="1048"/>
                    </a:lnTo>
                    <a:lnTo>
                      <a:pt x="1236" y="1046"/>
                    </a:lnTo>
                    <a:lnTo>
                      <a:pt x="1236" y="1044"/>
                    </a:lnTo>
                    <a:lnTo>
                      <a:pt x="1236" y="1043"/>
                    </a:lnTo>
                    <a:lnTo>
                      <a:pt x="1237" y="1043"/>
                    </a:lnTo>
                    <a:lnTo>
                      <a:pt x="1236" y="1043"/>
                    </a:lnTo>
                    <a:lnTo>
                      <a:pt x="1236" y="1041"/>
                    </a:lnTo>
                    <a:lnTo>
                      <a:pt x="1236" y="1043"/>
                    </a:lnTo>
                    <a:lnTo>
                      <a:pt x="1236" y="1044"/>
                    </a:lnTo>
                    <a:lnTo>
                      <a:pt x="1236" y="1046"/>
                    </a:lnTo>
                    <a:lnTo>
                      <a:pt x="1234" y="1046"/>
                    </a:lnTo>
                    <a:lnTo>
                      <a:pt x="1232" y="1046"/>
                    </a:lnTo>
                    <a:lnTo>
                      <a:pt x="1232" y="1048"/>
                    </a:lnTo>
                    <a:lnTo>
                      <a:pt x="1232" y="1046"/>
                    </a:lnTo>
                    <a:lnTo>
                      <a:pt x="1230" y="1046"/>
                    </a:lnTo>
                    <a:lnTo>
                      <a:pt x="1230" y="1044"/>
                    </a:lnTo>
                    <a:lnTo>
                      <a:pt x="1229" y="1044"/>
                    </a:lnTo>
                    <a:lnTo>
                      <a:pt x="1229" y="1043"/>
                    </a:lnTo>
                    <a:lnTo>
                      <a:pt x="1230" y="1043"/>
                    </a:lnTo>
                    <a:lnTo>
                      <a:pt x="1232" y="1041"/>
                    </a:lnTo>
                    <a:lnTo>
                      <a:pt x="1232" y="1039"/>
                    </a:lnTo>
                    <a:lnTo>
                      <a:pt x="1234" y="1039"/>
                    </a:lnTo>
                    <a:lnTo>
                      <a:pt x="1234" y="1037"/>
                    </a:lnTo>
                    <a:lnTo>
                      <a:pt x="1232" y="1039"/>
                    </a:lnTo>
                    <a:lnTo>
                      <a:pt x="1232" y="1037"/>
                    </a:lnTo>
                    <a:lnTo>
                      <a:pt x="1232" y="1039"/>
                    </a:lnTo>
                    <a:lnTo>
                      <a:pt x="1230" y="1037"/>
                    </a:lnTo>
                    <a:lnTo>
                      <a:pt x="1229" y="1037"/>
                    </a:lnTo>
                    <a:lnTo>
                      <a:pt x="1229" y="1036"/>
                    </a:lnTo>
                    <a:lnTo>
                      <a:pt x="1229" y="1034"/>
                    </a:lnTo>
                    <a:lnTo>
                      <a:pt x="1227" y="1032"/>
                    </a:lnTo>
                    <a:lnTo>
                      <a:pt x="1227" y="1031"/>
                    </a:lnTo>
                    <a:lnTo>
                      <a:pt x="1229" y="1029"/>
                    </a:lnTo>
                    <a:lnTo>
                      <a:pt x="1229" y="1027"/>
                    </a:lnTo>
                    <a:lnTo>
                      <a:pt x="1227" y="1027"/>
                    </a:lnTo>
                    <a:lnTo>
                      <a:pt x="1227" y="1026"/>
                    </a:lnTo>
                    <a:lnTo>
                      <a:pt x="1229" y="1026"/>
                    </a:lnTo>
                    <a:lnTo>
                      <a:pt x="1229" y="1024"/>
                    </a:lnTo>
                    <a:lnTo>
                      <a:pt x="1230" y="1024"/>
                    </a:lnTo>
                    <a:lnTo>
                      <a:pt x="1230" y="1022"/>
                    </a:lnTo>
                    <a:lnTo>
                      <a:pt x="1232" y="1022"/>
                    </a:lnTo>
                    <a:lnTo>
                      <a:pt x="1234" y="1022"/>
                    </a:lnTo>
                    <a:lnTo>
                      <a:pt x="1234" y="1020"/>
                    </a:lnTo>
                    <a:lnTo>
                      <a:pt x="1234" y="1019"/>
                    </a:lnTo>
                    <a:lnTo>
                      <a:pt x="1234" y="1017"/>
                    </a:lnTo>
                    <a:lnTo>
                      <a:pt x="1232" y="1017"/>
                    </a:lnTo>
                    <a:lnTo>
                      <a:pt x="1232" y="1015"/>
                    </a:lnTo>
                    <a:lnTo>
                      <a:pt x="1234" y="1015"/>
                    </a:lnTo>
                    <a:lnTo>
                      <a:pt x="1234" y="1014"/>
                    </a:lnTo>
                    <a:lnTo>
                      <a:pt x="1234" y="1012"/>
                    </a:lnTo>
                    <a:lnTo>
                      <a:pt x="1236" y="1012"/>
                    </a:lnTo>
                    <a:lnTo>
                      <a:pt x="1237" y="1012"/>
                    </a:lnTo>
                    <a:lnTo>
                      <a:pt x="1237" y="1014"/>
                    </a:lnTo>
                    <a:lnTo>
                      <a:pt x="1239" y="1014"/>
                    </a:lnTo>
                    <a:lnTo>
                      <a:pt x="1239" y="1012"/>
                    </a:lnTo>
                    <a:lnTo>
                      <a:pt x="1239" y="1010"/>
                    </a:lnTo>
                    <a:lnTo>
                      <a:pt x="1237" y="1010"/>
                    </a:lnTo>
                    <a:lnTo>
                      <a:pt x="1239" y="1010"/>
                    </a:lnTo>
                    <a:lnTo>
                      <a:pt x="1237" y="1010"/>
                    </a:lnTo>
                    <a:lnTo>
                      <a:pt x="1237" y="1009"/>
                    </a:lnTo>
                    <a:lnTo>
                      <a:pt x="1236" y="1009"/>
                    </a:lnTo>
                    <a:lnTo>
                      <a:pt x="1237" y="1007"/>
                    </a:lnTo>
                    <a:lnTo>
                      <a:pt x="1237" y="1009"/>
                    </a:lnTo>
                    <a:lnTo>
                      <a:pt x="1239" y="1009"/>
                    </a:lnTo>
                    <a:lnTo>
                      <a:pt x="1239" y="1007"/>
                    </a:lnTo>
                    <a:lnTo>
                      <a:pt x="1239" y="1005"/>
                    </a:lnTo>
                    <a:lnTo>
                      <a:pt x="1237" y="1005"/>
                    </a:lnTo>
                    <a:lnTo>
                      <a:pt x="1237" y="1003"/>
                    </a:lnTo>
                    <a:lnTo>
                      <a:pt x="1236" y="1003"/>
                    </a:lnTo>
                    <a:lnTo>
                      <a:pt x="1236" y="1002"/>
                    </a:lnTo>
                    <a:lnTo>
                      <a:pt x="1236" y="1000"/>
                    </a:lnTo>
                    <a:lnTo>
                      <a:pt x="1236" y="998"/>
                    </a:lnTo>
                    <a:lnTo>
                      <a:pt x="1236" y="997"/>
                    </a:lnTo>
                    <a:lnTo>
                      <a:pt x="1237" y="997"/>
                    </a:lnTo>
                    <a:lnTo>
                      <a:pt x="1237" y="995"/>
                    </a:lnTo>
                    <a:lnTo>
                      <a:pt x="1236" y="995"/>
                    </a:lnTo>
                    <a:lnTo>
                      <a:pt x="1236" y="993"/>
                    </a:lnTo>
                    <a:lnTo>
                      <a:pt x="1236" y="992"/>
                    </a:lnTo>
                    <a:lnTo>
                      <a:pt x="1236" y="990"/>
                    </a:lnTo>
                    <a:lnTo>
                      <a:pt x="1236" y="988"/>
                    </a:lnTo>
                    <a:lnTo>
                      <a:pt x="1237" y="988"/>
                    </a:lnTo>
                    <a:lnTo>
                      <a:pt x="1239" y="988"/>
                    </a:lnTo>
                    <a:lnTo>
                      <a:pt x="1241" y="988"/>
                    </a:lnTo>
                    <a:lnTo>
                      <a:pt x="1242" y="990"/>
                    </a:lnTo>
                    <a:lnTo>
                      <a:pt x="1244" y="990"/>
                    </a:lnTo>
                    <a:lnTo>
                      <a:pt x="1244" y="992"/>
                    </a:lnTo>
                    <a:lnTo>
                      <a:pt x="1246" y="992"/>
                    </a:lnTo>
                    <a:lnTo>
                      <a:pt x="1247" y="992"/>
                    </a:lnTo>
                    <a:lnTo>
                      <a:pt x="1247" y="990"/>
                    </a:lnTo>
                    <a:lnTo>
                      <a:pt x="1246" y="992"/>
                    </a:lnTo>
                    <a:lnTo>
                      <a:pt x="1246" y="990"/>
                    </a:lnTo>
                    <a:lnTo>
                      <a:pt x="1244" y="990"/>
                    </a:lnTo>
                    <a:lnTo>
                      <a:pt x="1244" y="988"/>
                    </a:lnTo>
                    <a:lnTo>
                      <a:pt x="1242" y="988"/>
                    </a:lnTo>
                    <a:lnTo>
                      <a:pt x="1242" y="986"/>
                    </a:lnTo>
                    <a:lnTo>
                      <a:pt x="1241" y="986"/>
                    </a:lnTo>
                    <a:lnTo>
                      <a:pt x="1241" y="985"/>
                    </a:lnTo>
                    <a:lnTo>
                      <a:pt x="1241" y="983"/>
                    </a:lnTo>
                    <a:lnTo>
                      <a:pt x="1239" y="983"/>
                    </a:lnTo>
                    <a:lnTo>
                      <a:pt x="1237" y="981"/>
                    </a:lnTo>
                    <a:lnTo>
                      <a:pt x="1237" y="980"/>
                    </a:lnTo>
                    <a:lnTo>
                      <a:pt x="1237" y="978"/>
                    </a:lnTo>
                    <a:lnTo>
                      <a:pt x="1237" y="980"/>
                    </a:lnTo>
                    <a:lnTo>
                      <a:pt x="1236" y="980"/>
                    </a:lnTo>
                    <a:lnTo>
                      <a:pt x="1236" y="978"/>
                    </a:lnTo>
                    <a:lnTo>
                      <a:pt x="1237" y="978"/>
                    </a:lnTo>
                    <a:lnTo>
                      <a:pt x="1237" y="976"/>
                    </a:lnTo>
                    <a:lnTo>
                      <a:pt x="1239" y="976"/>
                    </a:lnTo>
                    <a:lnTo>
                      <a:pt x="1239" y="975"/>
                    </a:lnTo>
                    <a:lnTo>
                      <a:pt x="1241" y="975"/>
                    </a:lnTo>
                    <a:lnTo>
                      <a:pt x="1242" y="975"/>
                    </a:lnTo>
                    <a:lnTo>
                      <a:pt x="1244" y="975"/>
                    </a:lnTo>
                    <a:lnTo>
                      <a:pt x="1244" y="973"/>
                    </a:lnTo>
                    <a:lnTo>
                      <a:pt x="1244" y="975"/>
                    </a:lnTo>
                    <a:lnTo>
                      <a:pt x="1246" y="975"/>
                    </a:lnTo>
                    <a:lnTo>
                      <a:pt x="1246" y="976"/>
                    </a:lnTo>
                    <a:lnTo>
                      <a:pt x="1246" y="978"/>
                    </a:lnTo>
                    <a:lnTo>
                      <a:pt x="1246" y="980"/>
                    </a:lnTo>
                    <a:lnTo>
                      <a:pt x="1247" y="981"/>
                    </a:lnTo>
                    <a:lnTo>
                      <a:pt x="1247" y="983"/>
                    </a:lnTo>
                    <a:lnTo>
                      <a:pt x="1249" y="983"/>
                    </a:lnTo>
                    <a:lnTo>
                      <a:pt x="1249" y="985"/>
                    </a:lnTo>
                    <a:lnTo>
                      <a:pt x="1249" y="986"/>
                    </a:lnTo>
                    <a:lnTo>
                      <a:pt x="1249" y="988"/>
                    </a:lnTo>
                    <a:lnTo>
                      <a:pt x="1249" y="986"/>
                    </a:lnTo>
                    <a:lnTo>
                      <a:pt x="1251" y="986"/>
                    </a:lnTo>
                    <a:lnTo>
                      <a:pt x="1249" y="986"/>
                    </a:lnTo>
                    <a:lnTo>
                      <a:pt x="1249" y="985"/>
                    </a:lnTo>
                    <a:lnTo>
                      <a:pt x="1249" y="983"/>
                    </a:lnTo>
                    <a:lnTo>
                      <a:pt x="1249" y="981"/>
                    </a:lnTo>
                    <a:lnTo>
                      <a:pt x="1249" y="980"/>
                    </a:lnTo>
                    <a:lnTo>
                      <a:pt x="1247" y="980"/>
                    </a:lnTo>
                    <a:lnTo>
                      <a:pt x="1247" y="978"/>
                    </a:lnTo>
                    <a:lnTo>
                      <a:pt x="1249" y="976"/>
                    </a:lnTo>
                    <a:lnTo>
                      <a:pt x="1251" y="976"/>
                    </a:lnTo>
                    <a:lnTo>
                      <a:pt x="1249" y="976"/>
                    </a:lnTo>
                    <a:lnTo>
                      <a:pt x="1249" y="975"/>
                    </a:lnTo>
                    <a:lnTo>
                      <a:pt x="1247" y="975"/>
                    </a:lnTo>
                    <a:lnTo>
                      <a:pt x="1249" y="973"/>
                    </a:lnTo>
                    <a:lnTo>
                      <a:pt x="1251" y="973"/>
                    </a:lnTo>
                    <a:lnTo>
                      <a:pt x="1253" y="973"/>
                    </a:lnTo>
                    <a:lnTo>
                      <a:pt x="1251" y="973"/>
                    </a:lnTo>
                    <a:lnTo>
                      <a:pt x="1251" y="971"/>
                    </a:lnTo>
                    <a:lnTo>
                      <a:pt x="1251" y="973"/>
                    </a:lnTo>
                    <a:lnTo>
                      <a:pt x="1249" y="973"/>
                    </a:lnTo>
                    <a:lnTo>
                      <a:pt x="1247" y="971"/>
                    </a:lnTo>
                    <a:lnTo>
                      <a:pt x="1247" y="969"/>
                    </a:lnTo>
                    <a:lnTo>
                      <a:pt x="1249" y="969"/>
                    </a:lnTo>
                    <a:lnTo>
                      <a:pt x="1247" y="968"/>
                    </a:lnTo>
                    <a:lnTo>
                      <a:pt x="1249" y="968"/>
                    </a:lnTo>
                    <a:lnTo>
                      <a:pt x="1249" y="966"/>
                    </a:lnTo>
                    <a:lnTo>
                      <a:pt x="1249" y="964"/>
                    </a:lnTo>
                    <a:lnTo>
                      <a:pt x="1247" y="963"/>
                    </a:lnTo>
                    <a:lnTo>
                      <a:pt x="1246" y="964"/>
                    </a:lnTo>
                    <a:lnTo>
                      <a:pt x="1246" y="966"/>
                    </a:lnTo>
                    <a:lnTo>
                      <a:pt x="1244" y="966"/>
                    </a:lnTo>
                    <a:lnTo>
                      <a:pt x="1244" y="964"/>
                    </a:lnTo>
                    <a:lnTo>
                      <a:pt x="1244" y="966"/>
                    </a:lnTo>
                    <a:lnTo>
                      <a:pt x="1242" y="966"/>
                    </a:lnTo>
                    <a:lnTo>
                      <a:pt x="1242" y="964"/>
                    </a:lnTo>
                    <a:lnTo>
                      <a:pt x="1241" y="964"/>
                    </a:lnTo>
                    <a:lnTo>
                      <a:pt x="1241" y="966"/>
                    </a:lnTo>
                    <a:lnTo>
                      <a:pt x="1239" y="964"/>
                    </a:lnTo>
                    <a:lnTo>
                      <a:pt x="1237" y="964"/>
                    </a:lnTo>
                    <a:lnTo>
                      <a:pt x="1236" y="963"/>
                    </a:lnTo>
                    <a:lnTo>
                      <a:pt x="1237" y="963"/>
                    </a:lnTo>
                    <a:lnTo>
                      <a:pt x="1236" y="961"/>
                    </a:lnTo>
                    <a:lnTo>
                      <a:pt x="1234" y="961"/>
                    </a:lnTo>
                    <a:lnTo>
                      <a:pt x="1236" y="961"/>
                    </a:lnTo>
                    <a:lnTo>
                      <a:pt x="1236" y="959"/>
                    </a:lnTo>
                    <a:lnTo>
                      <a:pt x="1237" y="959"/>
                    </a:lnTo>
                    <a:lnTo>
                      <a:pt x="1237" y="957"/>
                    </a:lnTo>
                    <a:lnTo>
                      <a:pt x="1237" y="956"/>
                    </a:lnTo>
                    <a:lnTo>
                      <a:pt x="1239" y="956"/>
                    </a:lnTo>
                    <a:lnTo>
                      <a:pt x="1241" y="956"/>
                    </a:lnTo>
                    <a:lnTo>
                      <a:pt x="1241" y="954"/>
                    </a:lnTo>
                    <a:lnTo>
                      <a:pt x="1242" y="952"/>
                    </a:lnTo>
                    <a:lnTo>
                      <a:pt x="1244" y="952"/>
                    </a:lnTo>
                    <a:lnTo>
                      <a:pt x="1246" y="952"/>
                    </a:lnTo>
                    <a:lnTo>
                      <a:pt x="1247" y="952"/>
                    </a:lnTo>
                    <a:lnTo>
                      <a:pt x="1249" y="952"/>
                    </a:lnTo>
                    <a:lnTo>
                      <a:pt x="1249" y="951"/>
                    </a:lnTo>
                    <a:lnTo>
                      <a:pt x="1251" y="951"/>
                    </a:lnTo>
                    <a:lnTo>
                      <a:pt x="1253" y="949"/>
                    </a:lnTo>
                    <a:lnTo>
                      <a:pt x="1253" y="947"/>
                    </a:lnTo>
                    <a:lnTo>
                      <a:pt x="1253" y="946"/>
                    </a:lnTo>
                    <a:lnTo>
                      <a:pt x="1253" y="944"/>
                    </a:lnTo>
                    <a:lnTo>
                      <a:pt x="1254" y="944"/>
                    </a:lnTo>
                    <a:lnTo>
                      <a:pt x="1254" y="942"/>
                    </a:lnTo>
                    <a:lnTo>
                      <a:pt x="1253" y="942"/>
                    </a:lnTo>
                    <a:lnTo>
                      <a:pt x="1253" y="940"/>
                    </a:lnTo>
                    <a:lnTo>
                      <a:pt x="1254" y="939"/>
                    </a:lnTo>
                    <a:lnTo>
                      <a:pt x="1254" y="937"/>
                    </a:lnTo>
                    <a:lnTo>
                      <a:pt x="1253" y="937"/>
                    </a:lnTo>
                    <a:lnTo>
                      <a:pt x="1253" y="939"/>
                    </a:lnTo>
                    <a:lnTo>
                      <a:pt x="1253" y="937"/>
                    </a:lnTo>
                    <a:lnTo>
                      <a:pt x="1254" y="939"/>
                    </a:lnTo>
                    <a:lnTo>
                      <a:pt x="1253" y="939"/>
                    </a:lnTo>
                    <a:lnTo>
                      <a:pt x="1253" y="940"/>
                    </a:lnTo>
                    <a:lnTo>
                      <a:pt x="1253" y="942"/>
                    </a:lnTo>
                    <a:lnTo>
                      <a:pt x="1253" y="944"/>
                    </a:lnTo>
                    <a:lnTo>
                      <a:pt x="1253" y="946"/>
                    </a:lnTo>
                    <a:lnTo>
                      <a:pt x="1253" y="947"/>
                    </a:lnTo>
                    <a:lnTo>
                      <a:pt x="1251" y="947"/>
                    </a:lnTo>
                    <a:lnTo>
                      <a:pt x="1251" y="949"/>
                    </a:lnTo>
                    <a:lnTo>
                      <a:pt x="1249" y="949"/>
                    </a:lnTo>
                    <a:lnTo>
                      <a:pt x="1249" y="951"/>
                    </a:lnTo>
                    <a:lnTo>
                      <a:pt x="1249" y="949"/>
                    </a:lnTo>
                    <a:lnTo>
                      <a:pt x="1247" y="951"/>
                    </a:lnTo>
                    <a:lnTo>
                      <a:pt x="1246" y="951"/>
                    </a:lnTo>
                    <a:lnTo>
                      <a:pt x="1244" y="952"/>
                    </a:lnTo>
                    <a:lnTo>
                      <a:pt x="1244" y="951"/>
                    </a:lnTo>
                    <a:lnTo>
                      <a:pt x="1242" y="951"/>
                    </a:lnTo>
                    <a:lnTo>
                      <a:pt x="1241" y="949"/>
                    </a:lnTo>
                    <a:lnTo>
                      <a:pt x="1241" y="947"/>
                    </a:lnTo>
                    <a:lnTo>
                      <a:pt x="1241" y="946"/>
                    </a:lnTo>
                    <a:lnTo>
                      <a:pt x="1239" y="946"/>
                    </a:lnTo>
                    <a:lnTo>
                      <a:pt x="1239" y="944"/>
                    </a:lnTo>
                    <a:lnTo>
                      <a:pt x="1237" y="944"/>
                    </a:lnTo>
                    <a:lnTo>
                      <a:pt x="1237" y="942"/>
                    </a:lnTo>
                    <a:lnTo>
                      <a:pt x="1236" y="942"/>
                    </a:lnTo>
                    <a:lnTo>
                      <a:pt x="1234" y="942"/>
                    </a:lnTo>
                    <a:lnTo>
                      <a:pt x="1232" y="940"/>
                    </a:lnTo>
                    <a:lnTo>
                      <a:pt x="1230" y="942"/>
                    </a:lnTo>
                    <a:lnTo>
                      <a:pt x="1229" y="942"/>
                    </a:lnTo>
                    <a:lnTo>
                      <a:pt x="1229" y="944"/>
                    </a:lnTo>
                    <a:lnTo>
                      <a:pt x="1229" y="946"/>
                    </a:lnTo>
                    <a:lnTo>
                      <a:pt x="1227" y="946"/>
                    </a:lnTo>
                    <a:lnTo>
                      <a:pt x="1227" y="947"/>
                    </a:lnTo>
                    <a:lnTo>
                      <a:pt x="1229" y="949"/>
                    </a:lnTo>
                    <a:lnTo>
                      <a:pt x="1227" y="949"/>
                    </a:lnTo>
                    <a:lnTo>
                      <a:pt x="1229" y="951"/>
                    </a:lnTo>
                    <a:lnTo>
                      <a:pt x="1229" y="952"/>
                    </a:lnTo>
                    <a:lnTo>
                      <a:pt x="1227" y="951"/>
                    </a:lnTo>
                    <a:lnTo>
                      <a:pt x="1227" y="952"/>
                    </a:lnTo>
                    <a:lnTo>
                      <a:pt x="1225" y="954"/>
                    </a:lnTo>
                    <a:lnTo>
                      <a:pt x="1225" y="952"/>
                    </a:lnTo>
                    <a:lnTo>
                      <a:pt x="1225" y="951"/>
                    </a:lnTo>
                    <a:lnTo>
                      <a:pt x="1225" y="952"/>
                    </a:lnTo>
                    <a:lnTo>
                      <a:pt x="1224" y="952"/>
                    </a:lnTo>
                    <a:lnTo>
                      <a:pt x="1225" y="954"/>
                    </a:lnTo>
                    <a:lnTo>
                      <a:pt x="1224" y="954"/>
                    </a:lnTo>
                    <a:lnTo>
                      <a:pt x="1225" y="954"/>
                    </a:lnTo>
                    <a:lnTo>
                      <a:pt x="1225" y="956"/>
                    </a:lnTo>
                    <a:lnTo>
                      <a:pt x="1224" y="954"/>
                    </a:lnTo>
                    <a:lnTo>
                      <a:pt x="1224" y="956"/>
                    </a:lnTo>
                    <a:lnTo>
                      <a:pt x="1222" y="956"/>
                    </a:lnTo>
                    <a:lnTo>
                      <a:pt x="1222" y="954"/>
                    </a:lnTo>
                    <a:lnTo>
                      <a:pt x="1222" y="952"/>
                    </a:lnTo>
                    <a:lnTo>
                      <a:pt x="1224" y="952"/>
                    </a:lnTo>
                    <a:lnTo>
                      <a:pt x="1224" y="954"/>
                    </a:lnTo>
                    <a:lnTo>
                      <a:pt x="1224" y="952"/>
                    </a:lnTo>
                    <a:lnTo>
                      <a:pt x="1222" y="952"/>
                    </a:lnTo>
                    <a:lnTo>
                      <a:pt x="1222" y="954"/>
                    </a:lnTo>
                    <a:lnTo>
                      <a:pt x="1222" y="956"/>
                    </a:lnTo>
                    <a:lnTo>
                      <a:pt x="1220" y="954"/>
                    </a:lnTo>
                    <a:lnTo>
                      <a:pt x="1219" y="954"/>
                    </a:lnTo>
                    <a:lnTo>
                      <a:pt x="1217" y="954"/>
                    </a:lnTo>
                    <a:lnTo>
                      <a:pt x="1219" y="956"/>
                    </a:lnTo>
                    <a:lnTo>
                      <a:pt x="1217" y="956"/>
                    </a:lnTo>
                    <a:lnTo>
                      <a:pt x="1215" y="954"/>
                    </a:lnTo>
                    <a:lnTo>
                      <a:pt x="1215" y="956"/>
                    </a:lnTo>
                    <a:lnTo>
                      <a:pt x="1213" y="956"/>
                    </a:lnTo>
                    <a:lnTo>
                      <a:pt x="1212" y="954"/>
                    </a:lnTo>
                    <a:lnTo>
                      <a:pt x="1210" y="954"/>
                    </a:lnTo>
                    <a:lnTo>
                      <a:pt x="1208" y="954"/>
                    </a:lnTo>
                    <a:lnTo>
                      <a:pt x="1207" y="954"/>
                    </a:lnTo>
                    <a:lnTo>
                      <a:pt x="1207" y="952"/>
                    </a:lnTo>
                    <a:lnTo>
                      <a:pt x="1207" y="954"/>
                    </a:lnTo>
                    <a:lnTo>
                      <a:pt x="1205" y="952"/>
                    </a:lnTo>
                    <a:lnTo>
                      <a:pt x="1207" y="952"/>
                    </a:lnTo>
                    <a:lnTo>
                      <a:pt x="1207" y="951"/>
                    </a:lnTo>
                    <a:lnTo>
                      <a:pt x="1207" y="949"/>
                    </a:lnTo>
                    <a:lnTo>
                      <a:pt x="1207" y="947"/>
                    </a:lnTo>
                    <a:lnTo>
                      <a:pt x="1207" y="949"/>
                    </a:lnTo>
                    <a:lnTo>
                      <a:pt x="1208" y="949"/>
                    </a:lnTo>
                    <a:lnTo>
                      <a:pt x="1207" y="949"/>
                    </a:lnTo>
                    <a:lnTo>
                      <a:pt x="1207" y="951"/>
                    </a:lnTo>
                    <a:lnTo>
                      <a:pt x="1208" y="949"/>
                    </a:lnTo>
                    <a:lnTo>
                      <a:pt x="1207" y="949"/>
                    </a:lnTo>
                    <a:lnTo>
                      <a:pt x="1208" y="947"/>
                    </a:lnTo>
                    <a:lnTo>
                      <a:pt x="1210" y="947"/>
                    </a:lnTo>
                    <a:lnTo>
                      <a:pt x="1210" y="949"/>
                    </a:lnTo>
                    <a:lnTo>
                      <a:pt x="1212" y="949"/>
                    </a:lnTo>
                    <a:lnTo>
                      <a:pt x="1210" y="947"/>
                    </a:lnTo>
                    <a:lnTo>
                      <a:pt x="1212" y="947"/>
                    </a:lnTo>
                    <a:lnTo>
                      <a:pt x="1210" y="947"/>
                    </a:lnTo>
                    <a:lnTo>
                      <a:pt x="1212" y="947"/>
                    </a:lnTo>
                    <a:lnTo>
                      <a:pt x="1213" y="947"/>
                    </a:lnTo>
                    <a:lnTo>
                      <a:pt x="1212" y="947"/>
                    </a:lnTo>
                    <a:lnTo>
                      <a:pt x="1213" y="946"/>
                    </a:lnTo>
                    <a:lnTo>
                      <a:pt x="1213" y="944"/>
                    </a:lnTo>
                    <a:lnTo>
                      <a:pt x="1215" y="942"/>
                    </a:lnTo>
                    <a:lnTo>
                      <a:pt x="1217" y="942"/>
                    </a:lnTo>
                    <a:lnTo>
                      <a:pt x="1219" y="942"/>
                    </a:lnTo>
                    <a:lnTo>
                      <a:pt x="1217" y="942"/>
                    </a:lnTo>
                    <a:lnTo>
                      <a:pt x="1215" y="942"/>
                    </a:lnTo>
                    <a:lnTo>
                      <a:pt x="1213" y="942"/>
                    </a:lnTo>
                    <a:lnTo>
                      <a:pt x="1213" y="944"/>
                    </a:lnTo>
                    <a:lnTo>
                      <a:pt x="1212" y="946"/>
                    </a:lnTo>
                    <a:lnTo>
                      <a:pt x="1210" y="946"/>
                    </a:lnTo>
                    <a:lnTo>
                      <a:pt x="1210" y="947"/>
                    </a:lnTo>
                    <a:lnTo>
                      <a:pt x="1208" y="946"/>
                    </a:lnTo>
                    <a:lnTo>
                      <a:pt x="1208" y="944"/>
                    </a:lnTo>
                    <a:lnTo>
                      <a:pt x="1210" y="944"/>
                    </a:lnTo>
                    <a:lnTo>
                      <a:pt x="1208" y="944"/>
                    </a:lnTo>
                    <a:lnTo>
                      <a:pt x="1207" y="942"/>
                    </a:lnTo>
                    <a:lnTo>
                      <a:pt x="1207" y="944"/>
                    </a:lnTo>
                    <a:lnTo>
                      <a:pt x="1207" y="946"/>
                    </a:lnTo>
                    <a:lnTo>
                      <a:pt x="1208" y="946"/>
                    </a:lnTo>
                    <a:lnTo>
                      <a:pt x="1207" y="947"/>
                    </a:lnTo>
                    <a:lnTo>
                      <a:pt x="1207" y="946"/>
                    </a:lnTo>
                    <a:lnTo>
                      <a:pt x="1205" y="946"/>
                    </a:lnTo>
                    <a:lnTo>
                      <a:pt x="1205" y="944"/>
                    </a:lnTo>
                    <a:lnTo>
                      <a:pt x="1203" y="944"/>
                    </a:lnTo>
                    <a:lnTo>
                      <a:pt x="1203" y="946"/>
                    </a:lnTo>
                    <a:lnTo>
                      <a:pt x="1203" y="944"/>
                    </a:lnTo>
                    <a:lnTo>
                      <a:pt x="1203" y="942"/>
                    </a:lnTo>
                    <a:lnTo>
                      <a:pt x="1202" y="942"/>
                    </a:lnTo>
                    <a:lnTo>
                      <a:pt x="1202" y="940"/>
                    </a:lnTo>
                    <a:lnTo>
                      <a:pt x="1202" y="939"/>
                    </a:lnTo>
                    <a:lnTo>
                      <a:pt x="1202" y="937"/>
                    </a:lnTo>
                    <a:lnTo>
                      <a:pt x="1202" y="935"/>
                    </a:lnTo>
                    <a:lnTo>
                      <a:pt x="1202" y="934"/>
                    </a:lnTo>
                    <a:lnTo>
                      <a:pt x="1202" y="932"/>
                    </a:lnTo>
                    <a:lnTo>
                      <a:pt x="1202" y="930"/>
                    </a:lnTo>
                    <a:lnTo>
                      <a:pt x="1200" y="930"/>
                    </a:lnTo>
                    <a:lnTo>
                      <a:pt x="1200" y="929"/>
                    </a:lnTo>
                    <a:lnTo>
                      <a:pt x="1200" y="927"/>
                    </a:lnTo>
                    <a:lnTo>
                      <a:pt x="1198" y="925"/>
                    </a:lnTo>
                    <a:lnTo>
                      <a:pt x="1200" y="925"/>
                    </a:lnTo>
                    <a:lnTo>
                      <a:pt x="1198" y="925"/>
                    </a:lnTo>
                    <a:lnTo>
                      <a:pt x="1198" y="923"/>
                    </a:lnTo>
                    <a:lnTo>
                      <a:pt x="1198" y="922"/>
                    </a:lnTo>
                    <a:lnTo>
                      <a:pt x="1198" y="920"/>
                    </a:lnTo>
                    <a:lnTo>
                      <a:pt x="1198" y="918"/>
                    </a:lnTo>
                    <a:lnTo>
                      <a:pt x="1200" y="917"/>
                    </a:lnTo>
                    <a:lnTo>
                      <a:pt x="1202" y="917"/>
                    </a:lnTo>
                    <a:lnTo>
                      <a:pt x="1202" y="915"/>
                    </a:lnTo>
                    <a:lnTo>
                      <a:pt x="1200" y="915"/>
                    </a:lnTo>
                    <a:lnTo>
                      <a:pt x="1200" y="913"/>
                    </a:lnTo>
                    <a:lnTo>
                      <a:pt x="1200" y="912"/>
                    </a:lnTo>
                    <a:lnTo>
                      <a:pt x="1202" y="912"/>
                    </a:lnTo>
                    <a:lnTo>
                      <a:pt x="1200" y="912"/>
                    </a:lnTo>
                    <a:lnTo>
                      <a:pt x="1202" y="910"/>
                    </a:lnTo>
                    <a:lnTo>
                      <a:pt x="1202" y="908"/>
                    </a:lnTo>
                    <a:lnTo>
                      <a:pt x="1202" y="906"/>
                    </a:lnTo>
                    <a:lnTo>
                      <a:pt x="1203" y="906"/>
                    </a:lnTo>
                    <a:lnTo>
                      <a:pt x="1202" y="905"/>
                    </a:lnTo>
                    <a:lnTo>
                      <a:pt x="1203" y="905"/>
                    </a:lnTo>
                    <a:lnTo>
                      <a:pt x="1203" y="903"/>
                    </a:lnTo>
                    <a:lnTo>
                      <a:pt x="1205" y="903"/>
                    </a:lnTo>
                    <a:lnTo>
                      <a:pt x="1205" y="901"/>
                    </a:lnTo>
                    <a:lnTo>
                      <a:pt x="1205" y="900"/>
                    </a:lnTo>
                    <a:lnTo>
                      <a:pt x="1207" y="898"/>
                    </a:lnTo>
                    <a:lnTo>
                      <a:pt x="1205" y="898"/>
                    </a:lnTo>
                    <a:lnTo>
                      <a:pt x="1205" y="896"/>
                    </a:lnTo>
                    <a:lnTo>
                      <a:pt x="1203" y="896"/>
                    </a:lnTo>
                    <a:lnTo>
                      <a:pt x="1203" y="895"/>
                    </a:lnTo>
                    <a:lnTo>
                      <a:pt x="1205" y="895"/>
                    </a:lnTo>
                    <a:lnTo>
                      <a:pt x="1205" y="893"/>
                    </a:lnTo>
                    <a:lnTo>
                      <a:pt x="1205" y="891"/>
                    </a:lnTo>
                    <a:lnTo>
                      <a:pt x="1205" y="889"/>
                    </a:lnTo>
                    <a:lnTo>
                      <a:pt x="1205" y="888"/>
                    </a:lnTo>
                    <a:lnTo>
                      <a:pt x="1205" y="886"/>
                    </a:lnTo>
                    <a:lnTo>
                      <a:pt x="1207" y="886"/>
                    </a:lnTo>
                    <a:lnTo>
                      <a:pt x="1205" y="886"/>
                    </a:lnTo>
                    <a:lnTo>
                      <a:pt x="1207" y="884"/>
                    </a:lnTo>
                    <a:lnTo>
                      <a:pt x="1205" y="884"/>
                    </a:lnTo>
                    <a:lnTo>
                      <a:pt x="1207" y="884"/>
                    </a:lnTo>
                    <a:lnTo>
                      <a:pt x="1207" y="883"/>
                    </a:lnTo>
                    <a:lnTo>
                      <a:pt x="1208" y="883"/>
                    </a:lnTo>
                    <a:lnTo>
                      <a:pt x="1208" y="881"/>
                    </a:lnTo>
                    <a:lnTo>
                      <a:pt x="1208" y="879"/>
                    </a:lnTo>
                    <a:lnTo>
                      <a:pt x="1208" y="878"/>
                    </a:lnTo>
                    <a:lnTo>
                      <a:pt x="1207" y="878"/>
                    </a:lnTo>
                    <a:lnTo>
                      <a:pt x="1207" y="876"/>
                    </a:lnTo>
                    <a:lnTo>
                      <a:pt x="1207" y="874"/>
                    </a:lnTo>
                    <a:lnTo>
                      <a:pt x="1208" y="872"/>
                    </a:lnTo>
                    <a:lnTo>
                      <a:pt x="1210" y="872"/>
                    </a:lnTo>
                    <a:lnTo>
                      <a:pt x="1212" y="872"/>
                    </a:lnTo>
                    <a:lnTo>
                      <a:pt x="1212" y="871"/>
                    </a:lnTo>
                    <a:lnTo>
                      <a:pt x="1213" y="871"/>
                    </a:lnTo>
                    <a:lnTo>
                      <a:pt x="1213" y="869"/>
                    </a:lnTo>
                    <a:lnTo>
                      <a:pt x="1215" y="869"/>
                    </a:lnTo>
                    <a:lnTo>
                      <a:pt x="1215" y="871"/>
                    </a:lnTo>
                    <a:lnTo>
                      <a:pt x="1217" y="871"/>
                    </a:lnTo>
                    <a:lnTo>
                      <a:pt x="1217" y="872"/>
                    </a:lnTo>
                    <a:lnTo>
                      <a:pt x="1217" y="871"/>
                    </a:lnTo>
                    <a:lnTo>
                      <a:pt x="1217" y="872"/>
                    </a:lnTo>
                    <a:lnTo>
                      <a:pt x="1217" y="871"/>
                    </a:lnTo>
                    <a:lnTo>
                      <a:pt x="1219" y="871"/>
                    </a:lnTo>
                    <a:lnTo>
                      <a:pt x="1217" y="871"/>
                    </a:lnTo>
                    <a:lnTo>
                      <a:pt x="1217" y="869"/>
                    </a:lnTo>
                    <a:lnTo>
                      <a:pt x="1219" y="869"/>
                    </a:lnTo>
                    <a:lnTo>
                      <a:pt x="1220" y="869"/>
                    </a:lnTo>
                    <a:lnTo>
                      <a:pt x="1222" y="869"/>
                    </a:lnTo>
                    <a:lnTo>
                      <a:pt x="1220" y="867"/>
                    </a:lnTo>
                    <a:lnTo>
                      <a:pt x="1220" y="869"/>
                    </a:lnTo>
                    <a:lnTo>
                      <a:pt x="1219" y="869"/>
                    </a:lnTo>
                    <a:lnTo>
                      <a:pt x="1217" y="869"/>
                    </a:lnTo>
                    <a:lnTo>
                      <a:pt x="1217" y="867"/>
                    </a:lnTo>
                    <a:lnTo>
                      <a:pt x="1217" y="866"/>
                    </a:lnTo>
                    <a:lnTo>
                      <a:pt x="1217" y="864"/>
                    </a:lnTo>
                    <a:lnTo>
                      <a:pt x="1217" y="862"/>
                    </a:lnTo>
                    <a:lnTo>
                      <a:pt x="1217" y="861"/>
                    </a:lnTo>
                    <a:lnTo>
                      <a:pt x="1219" y="861"/>
                    </a:lnTo>
                    <a:lnTo>
                      <a:pt x="1219" y="859"/>
                    </a:lnTo>
                    <a:lnTo>
                      <a:pt x="1220" y="859"/>
                    </a:lnTo>
                    <a:lnTo>
                      <a:pt x="1220" y="857"/>
                    </a:lnTo>
                    <a:lnTo>
                      <a:pt x="1220" y="855"/>
                    </a:lnTo>
                    <a:lnTo>
                      <a:pt x="1222" y="855"/>
                    </a:lnTo>
                    <a:lnTo>
                      <a:pt x="1222" y="854"/>
                    </a:lnTo>
                    <a:lnTo>
                      <a:pt x="1222" y="852"/>
                    </a:lnTo>
                    <a:lnTo>
                      <a:pt x="1220" y="852"/>
                    </a:lnTo>
                    <a:lnTo>
                      <a:pt x="1220" y="850"/>
                    </a:lnTo>
                    <a:lnTo>
                      <a:pt x="1222" y="850"/>
                    </a:lnTo>
                    <a:lnTo>
                      <a:pt x="1224" y="850"/>
                    </a:lnTo>
                    <a:lnTo>
                      <a:pt x="1222" y="850"/>
                    </a:lnTo>
                    <a:lnTo>
                      <a:pt x="1222" y="849"/>
                    </a:lnTo>
                    <a:lnTo>
                      <a:pt x="1224" y="849"/>
                    </a:lnTo>
                    <a:lnTo>
                      <a:pt x="1222" y="849"/>
                    </a:lnTo>
                    <a:lnTo>
                      <a:pt x="1224" y="849"/>
                    </a:lnTo>
                    <a:lnTo>
                      <a:pt x="1224" y="847"/>
                    </a:lnTo>
                    <a:lnTo>
                      <a:pt x="1222" y="845"/>
                    </a:lnTo>
                    <a:lnTo>
                      <a:pt x="1222" y="844"/>
                    </a:lnTo>
                    <a:lnTo>
                      <a:pt x="1222" y="842"/>
                    </a:lnTo>
                    <a:lnTo>
                      <a:pt x="1222" y="840"/>
                    </a:lnTo>
                    <a:lnTo>
                      <a:pt x="1222" y="838"/>
                    </a:lnTo>
                    <a:lnTo>
                      <a:pt x="1220" y="838"/>
                    </a:lnTo>
                    <a:lnTo>
                      <a:pt x="1220" y="837"/>
                    </a:lnTo>
                    <a:lnTo>
                      <a:pt x="1220" y="835"/>
                    </a:lnTo>
                    <a:lnTo>
                      <a:pt x="1220" y="833"/>
                    </a:lnTo>
                    <a:lnTo>
                      <a:pt x="1219" y="832"/>
                    </a:lnTo>
                    <a:lnTo>
                      <a:pt x="1219" y="830"/>
                    </a:lnTo>
                    <a:lnTo>
                      <a:pt x="1219" y="828"/>
                    </a:lnTo>
                    <a:lnTo>
                      <a:pt x="1219" y="827"/>
                    </a:lnTo>
                    <a:lnTo>
                      <a:pt x="1217" y="827"/>
                    </a:lnTo>
                    <a:lnTo>
                      <a:pt x="1217" y="825"/>
                    </a:lnTo>
                    <a:lnTo>
                      <a:pt x="1217" y="823"/>
                    </a:lnTo>
                    <a:lnTo>
                      <a:pt x="1217" y="821"/>
                    </a:lnTo>
                    <a:lnTo>
                      <a:pt x="1215" y="821"/>
                    </a:lnTo>
                    <a:lnTo>
                      <a:pt x="1217" y="820"/>
                    </a:lnTo>
                    <a:lnTo>
                      <a:pt x="1215" y="820"/>
                    </a:lnTo>
                    <a:lnTo>
                      <a:pt x="1215" y="821"/>
                    </a:lnTo>
                    <a:lnTo>
                      <a:pt x="1217" y="821"/>
                    </a:lnTo>
                    <a:lnTo>
                      <a:pt x="1215" y="821"/>
                    </a:lnTo>
                    <a:lnTo>
                      <a:pt x="1215" y="820"/>
                    </a:lnTo>
                    <a:lnTo>
                      <a:pt x="1213" y="818"/>
                    </a:lnTo>
                    <a:lnTo>
                      <a:pt x="1213" y="816"/>
                    </a:lnTo>
                    <a:lnTo>
                      <a:pt x="1213" y="815"/>
                    </a:lnTo>
                    <a:lnTo>
                      <a:pt x="1213" y="813"/>
                    </a:lnTo>
                    <a:lnTo>
                      <a:pt x="1213" y="811"/>
                    </a:lnTo>
                    <a:lnTo>
                      <a:pt x="1212" y="809"/>
                    </a:lnTo>
                    <a:lnTo>
                      <a:pt x="1213" y="809"/>
                    </a:lnTo>
                    <a:lnTo>
                      <a:pt x="1212" y="809"/>
                    </a:lnTo>
                    <a:lnTo>
                      <a:pt x="1212" y="808"/>
                    </a:lnTo>
                    <a:lnTo>
                      <a:pt x="1212" y="806"/>
                    </a:lnTo>
                    <a:lnTo>
                      <a:pt x="1212" y="804"/>
                    </a:lnTo>
                    <a:lnTo>
                      <a:pt x="1213" y="804"/>
                    </a:lnTo>
                    <a:lnTo>
                      <a:pt x="1213" y="803"/>
                    </a:lnTo>
                    <a:lnTo>
                      <a:pt x="1213" y="801"/>
                    </a:lnTo>
                    <a:lnTo>
                      <a:pt x="1213" y="799"/>
                    </a:lnTo>
                    <a:lnTo>
                      <a:pt x="1213" y="798"/>
                    </a:lnTo>
                    <a:lnTo>
                      <a:pt x="1215" y="798"/>
                    </a:lnTo>
                    <a:lnTo>
                      <a:pt x="1215" y="796"/>
                    </a:lnTo>
                    <a:lnTo>
                      <a:pt x="1215" y="794"/>
                    </a:lnTo>
                    <a:lnTo>
                      <a:pt x="1215" y="792"/>
                    </a:lnTo>
                    <a:lnTo>
                      <a:pt x="1215" y="791"/>
                    </a:lnTo>
                    <a:lnTo>
                      <a:pt x="1213" y="789"/>
                    </a:lnTo>
                    <a:lnTo>
                      <a:pt x="1213" y="787"/>
                    </a:lnTo>
                    <a:lnTo>
                      <a:pt x="1213" y="786"/>
                    </a:lnTo>
                    <a:lnTo>
                      <a:pt x="1212" y="784"/>
                    </a:lnTo>
                    <a:lnTo>
                      <a:pt x="1212" y="782"/>
                    </a:lnTo>
                    <a:lnTo>
                      <a:pt x="1210" y="781"/>
                    </a:lnTo>
                    <a:lnTo>
                      <a:pt x="1210" y="779"/>
                    </a:lnTo>
                    <a:lnTo>
                      <a:pt x="1208" y="779"/>
                    </a:lnTo>
                    <a:lnTo>
                      <a:pt x="1208" y="777"/>
                    </a:lnTo>
                    <a:lnTo>
                      <a:pt x="1207" y="775"/>
                    </a:lnTo>
                    <a:lnTo>
                      <a:pt x="1208" y="775"/>
                    </a:lnTo>
                    <a:lnTo>
                      <a:pt x="1208" y="774"/>
                    </a:lnTo>
                    <a:lnTo>
                      <a:pt x="1207" y="774"/>
                    </a:lnTo>
                    <a:lnTo>
                      <a:pt x="1207" y="772"/>
                    </a:lnTo>
                    <a:lnTo>
                      <a:pt x="1207" y="770"/>
                    </a:lnTo>
                    <a:lnTo>
                      <a:pt x="1208" y="772"/>
                    </a:lnTo>
                    <a:lnTo>
                      <a:pt x="1208" y="770"/>
                    </a:lnTo>
                    <a:lnTo>
                      <a:pt x="1208" y="769"/>
                    </a:lnTo>
                    <a:lnTo>
                      <a:pt x="1210" y="769"/>
                    </a:lnTo>
                    <a:lnTo>
                      <a:pt x="1210" y="767"/>
                    </a:lnTo>
                    <a:lnTo>
                      <a:pt x="1210" y="765"/>
                    </a:lnTo>
                    <a:lnTo>
                      <a:pt x="1210" y="764"/>
                    </a:lnTo>
                    <a:lnTo>
                      <a:pt x="1210" y="765"/>
                    </a:lnTo>
                    <a:lnTo>
                      <a:pt x="1210" y="764"/>
                    </a:lnTo>
                    <a:lnTo>
                      <a:pt x="1210" y="762"/>
                    </a:lnTo>
                    <a:lnTo>
                      <a:pt x="1208" y="762"/>
                    </a:lnTo>
                    <a:lnTo>
                      <a:pt x="1207" y="760"/>
                    </a:lnTo>
                    <a:lnTo>
                      <a:pt x="1207" y="762"/>
                    </a:lnTo>
                    <a:lnTo>
                      <a:pt x="1207" y="760"/>
                    </a:lnTo>
                    <a:lnTo>
                      <a:pt x="1208" y="758"/>
                    </a:lnTo>
                    <a:lnTo>
                      <a:pt x="1207" y="758"/>
                    </a:lnTo>
                    <a:lnTo>
                      <a:pt x="1208" y="757"/>
                    </a:lnTo>
                    <a:lnTo>
                      <a:pt x="1208" y="755"/>
                    </a:lnTo>
                    <a:lnTo>
                      <a:pt x="1208" y="753"/>
                    </a:lnTo>
                    <a:lnTo>
                      <a:pt x="1210" y="752"/>
                    </a:lnTo>
                    <a:lnTo>
                      <a:pt x="1212" y="753"/>
                    </a:lnTo>
                    <a:lnTo>
                      <a:pt x="1210" y="753"/>
                    </a:lnTo>
                    <a:lnTo>
                      <a:pt x="1212" y="755"/>
                    </a:lnTo>
                    <a:lnTo>
                      <a:pt x="1213" y="755"/>
                    </a:lnTo>
                    <a:lnTo>
                      <a:pt x="1213" y="753"/>
                    </a:lnTo>
                    <a:lnTo>
                      <a:pt x="1213" y="755"/>
                    </a:lnTo>
                    <a:lnTo>
                      <a:pt x="1215" y="755"/>
                    </a:lnTo>
                    <a:lnTo>
                      <a:pt x="1215" y="757"/>
                    </a:lnTo>
                    <a:lnTo>
                      <a:pt x="1215" y="755"/>
                    </a:lnTo>
                    <a:lnTo>
                      <a:pt x="1217" y="755"/>
                    </a:lnTo>
                    <a:lnTo>
                      <a:pt x="1219" y="755"/>
                    </a:lnTo>
                    <a:lnTo>
                      <a:pt x="1220" y="755"/>
                    </a:lnTo>
                    <a:lnTo>
                      <a:pt x="1222" y="755"/>
                    </a:lnTo>
                    <a:lnTo>
                      <a:pt x="1222" y="753"/>
                    </a:lnTo>
                    <a:lnTo>
                      <a:pt x="1224" y="753"/>
                    </a:lnTo>
                    <a:lnTo>
                      <a:pt x="1224" y="752"/>
                    </a:lnTo>
                    <a:lnTo>
                      <a:pt x="1225" y="750"/>
                    </a:lnTo>
                    <a:lnTo>
                      <a:pt x="1224" y="750"/>
                    </a:lnTo>
                    <a:lnTo>
                      <a:pt x="1224" y="748"/>
                    </a:lnTo>
                    <a:lnTo>
                      <a:pt x="1225" y="748"/>
                    </a:lnTo>
                    <a:lnTo>
                      <a:pt x="1225" y="747"/>
                    </a:lnTo>
                    <a:lnTo>
                      <a:pt x="1224" y="747"/>
                    </a:lnTo>
                    <a:lnTo>
                      <a:pt x="1224" y="745"/>
                    </a:lnTo>
                    <a:lnTo>
                      <a:pt x="1224" y="743"/>
                    </a:lnTo>
                    <a:lnTo>
                      <a:pt x="1225" y="743"/>
                    </a:lnTo>
                    <a:lnTo>
                      <a:pt x="1225" y="741"/>
                    </a:lnTo>
                    <a:lnTo>
                      <a:pt x="1225" y="740"/>
                    </a:lnTo>
                    <a:lnTo>
                      <a:pt x="1225" y="738"/>
                    </a:lnTo>
                    <a:lnTo>
                      <a:pt x="1227" y="738"/>
                    </a:lnTo>
                    <a:lnTo>
                      <a:pt x="1227" y="740"/>
                    </a:lnTo>
                    <a:lnTo>
                      <a:pt x="1229" y="738"/>
                    </a:lnTo>
                    <a:lnTo>
                      <a:pt x="1227" y="738"/>
                    </a:lnTo>
                    <a:lnTo>
                      <a:pt x="1225" y="738"/>
                    </a:lnTo>
                    <a:lnTo>
                      <a:pt x="1224" y="738"/>
                    </a:lnTo>
                    <a:lnTo>
                      <a:pt x="1224" y="736"/>
                    </a:lnTo>
                    <a:lnTo>
                      <a:pt x="1222" y="736"/>
                    </a:lnTo>
                    <a:lnTo>
                      <a:pt x="1224" y="736"/>
                    </a:lnTo>
                    <a:lnTo>
                      <a:pt x="1224" y="735"/>
                    </a:lnTo>
                    <a:lnTo>
                      <a:pt x="1224" y="736"/>
                    </a:lnTo>
                    <a:lnTo>
                      <a:pt x="1225" y="735"/>
                    </a:lnTo>
                    <a:lnTo>
                      <a:pt x="1225" y="733"/>
                    </a:lnTo>
                    <a:lnTo>
                      <a:pt x="1225" y="731"/>
                    </a:lnTo>
                    <a:lnTo>
                      <a:pt x="1225" y="730"/>
                    </a:lnTo>
                    <a:lnTo>
                      <a:pt x="1227" y="730"/>
                    </a:lnTo>
                    <a:lnTo>
                      <a:pt x="1227" y="731"/>
                    </a:lnTo>
                    <a:lnTo>
                      <a:pt x="1227" y="733"/>
                    </a:lnTo>
                    <a:lnTo>
                      <a:pt x="1225" y="733"/>
                    </a:lnTo>
                    <a:lnTo>
                      <a:pt x="1227" y="735"/>
                    </a:lnTo>
                    <a:lnTo>
                      <a:pt x="1229" y="735"/>
                    </a:lnTo>
                    <a:lnTo>
                      <a:pt x="1230" y="735"/>
                    </a:lnTo>
                    <a:lnTo>
                      <a:pt x="1230" y="733"/>
                    </a:lnTo>
                    <a:lnTo>
                      <a:pt x="1230" y="731"/>
                    </a:lnTo>
                    <a:lnTo>
                      <a:pt x="1232" y="730"/>
                    </a:lnTo>
                    <a:lnTo>
                      <a:pt x="1230" y="730"/>
                    </a:lnTo>
                    <a:lnTo>
                      <a:pt x="1230" y="728"/>
                    </a:lnTo>
                    <a:lnTo>
                      <a:pt x="1230" y="726"/>
                    </a:lnTo>
                    <a:lnTo>
                      <a:pt x="1232" y="726"/>
                    </a:lnTo>
                    <a:lnTo>
                      <a:pt x="1232" y="724"/>
                    </a:lnTo>
                    <a:lnTo>
                      <a:pt x="1234" y="724"/>
                    </a:lnTo>
                    <a:lnTo>
                      <a:pt x="1232" y="724"/>
                    </a:lnTo>
                    <a:lnTo>
                      <a:pt x="1232" y="723"/>
                    </a:lnTo>
                    <a:lnTo>
                      <a:pt x="1234" y="723"/>
                    </a:lnTo>
                    <a:lnTo>
                      <a:pt x="1234" y="721"/>
                    </a:lnTo>
                    <a:lnTo>
                      <a:pt x="1234" y="719"/>
                    </a:lnTo>
                    <a:lnTo>
                      <a:pt x="1236" y="718"/>
                    </a:lnTo>
                    <a:lnTo>
                      <a:pt x="1236" y="716"/>
                    </a:lnTo>
                    <a:lnTo>
                      <a:pt x="1236" y="714"/>
                    </a:lnTo>
                    <a:lnTo>
                      <a:pt x="1236" y="713"/>
                    </a:lnTo>
                    <a:lnTo>
                      <a:pt x="1236" y="711"/>
                    </a:lnTo>
                    <a:lnTo>
                      <a:pt x="1237" y="711"/>
                    </a:lnTo>
                    <a:lnTo>
                      <a:pt x="1237" y="709"/>
                    </a:lnTo>
                    <a:lnTo>
                      <a:pt x="1236" y="707"/>
                    </a:lnTo>
                    <a:lnTo>
                      <a:pt x="1237" y="707"/>
                    </a:lnTo>
                    <a:lnTo>
                      <a:pt x="1237" y="706"/>
                    </a:lnTo>
                    <a:lnTo>
                      <a:pt x="1237" y="704"/>
                    </a:lnTo>
                    <a:lnTo>
                      <a:pt x="1237" y="702"/>
                    </a:lnTo>
                    <a:lnTo>
                      <a:pt x="1239" y="702"/>
                    </a:lnTo>
                    <a:lnTo>
                      <a:pt x="1239" y="701"/>
                    </a:lnTo>
                    <a:lnTo>
                      <a:pt x="1241" y="701"/>
                    </a:lnTo>
                    <a:lnTo>
                      <a:pt x="1241" y="699"/>
                    </a:lnTo>
                    <a:lnTo>
                      <a:pt x="1242" y="697"/>
                    </a:lnTo>
                    <a:lnTo>
                      <a:pt x="1244" y="696"/>
                    </a:lnTo>
                    <a:lnTo>
                      <a:pt x="1244" y="694"/>
                    </a:lnTo>
                    <a:lnTo>
                      <a:pt x="1244" y="692"/>
                    </a:lnTo>
                    <a:lnTo>
                      <a:pt x="1244" y="690"/>
                    </a:lnTo>
                    <a:lnTo>
                      <a:pt x="1244" y="689"/>
                    </a:lnTo>
                    <a:lnTo>
                      <a:pt x="1242" y="689"/>
                    </a:lnTo>
                    <a:lnTo>
                      <a:pt x="1242" y="687"/>
                    </a:lnTo>
                    <a:lnTo>
                      <a:pt x="1242" y="685"/>
                    </a:lnTo>
                    <a:lnTo>
                      <a:pt x="1244" y="685"/>
                    </a:lnTo>
                    <a:lnTo>
                      <a:pt x="1244" y="684"/>
                    </a:lnTo>
                    <a:lnTo>
                      <a:pt x="1246" y="684"/>
                    </a:lnTo>
                    <a:lnTo>
                      <a:pt x="1246" y="682"/>
                    </a:lnTo>
                    <a:lnTo>
                      <a:pt x="1247" y="682"/>
                    </a:lnTo>
                    <a:lnTo>
                      <a:pt x="1247" y="680"/>
                    </a:lnTo>
                    <a:lnTo>
                      <a:pt x="1247" y="679"/>
                    </a:lnTo>
                    <a:lnTo>
                      <a:pt x="1247" y="677"/>
                    </a:lnTo>
                    <a:lnTo>
                      <a:pt x="1249" y="677"/>
                    </a:lnTo>
                    <a:lnTo>
                      <a:pt x="1249" y="675"/>
                    </a:lnTo>
                    <a:lnTo>
                      <a:pt x="1251" y="675"/>
                    </a:lnTo>
                    <a:lnTo>
                      <a:pt x="1251" y="673"/>
                    </a:lnTo>
                    <a:lnTo>
                      <a:pt x="1251" y="672"/>
                    </a:lnTo>
                    <a:lnTo>
                      <a:pt x="1251" y="670"/>
                    </a:lnTo>
                    <a:lnTo>
                      <a:pt x="1253" y="670"/>
                    </a:lnTo>
                    <a:lnTo>
                      <a:pt x="1254" y="668"/>
                    </a:lnTo>
                    <a:lnTo>
                      <a:pt x="1256" y="668"/>
                    </a:lnTo>
                    <a:lnTo>
                      <a:pt x="1256" y="667"/>
                    </a:lnTo>
                    <a:lnTo>
                      <a:pt x="1258" y="667"/>
                    </a:lnTo>
                    <a:lnTo>
                      <a:pt x="1258" y="665"/>
                    </a:lnTo>
                    <a:lnTo>
                      <a:pt x="1258" y="663"/>
                    </a:lnTo>
                    <a:lnTo>
                      <a:pt x="1258" y="662"/>
                    </a:lnTo>
                    <a:lnTo>
                      <a:pt x="1258" y="660"/>
                    </a:lnTo>
                    <a:lnTo>
                      <a:pt x="1258" y="658"/>
                    </a:lnTo>
                    <a:lnTo>
                      <a:pt x="1258" y="656"/>
                    </a:lnTo>
                    <a:lnTo>
                      <a:pt x="1259" y="656"/>
                    </a:lnTo>
                    <a:lnTo>
                      <a:pt x="1259" y="655"/>
                    </a:lnTo>
                    <a:lnTo>
                      <a:pt x="1259" y="653"/>
                    </a:lnTo>
                    <a:lnTo>
                      <a:pt x="1261" y="651"/>
                    </a:lnTo>
                    <a:lnTo>
                      <a:pt x="1261" y="650"/>
                    </a:lnTo>
                    <a:lnTo>
                      <a:pt x="1263" y="650"/>
                    </a:lnTo>
                    <a:lnTo>
                      <a:pt x="1263" y="648"/>
                    </a:lnTo>
                    <a:lnTo>
                      <a:pt x="1263" y="646"/>
                    </a:lnTo>
                    <a:lnTo>
                      <a:pt x="1263" y="644"/>
                    </a:lnTo>
                    <a:lnTo>
                      <a:pt x="1263" y="643"/>
                    </a:lnTo>
                    <a:lnTo>
                      <a:pt x="1263" y="641"/>
                    </a:lnTo>
                    <a:lnTo>
                      <a:pt x="1263" y="639"/>
                    </a:lnTo>
                    <a:lnTo>
                      <a:pt x="1263" y="638"/>
                    </a:lnTo>
                    <a:lnTo>
                      <a:pt x="1263" y="636"/>
                    </a:lnTo>
                    <a:lnTo>
                      <a:pt x="1264" y="636"/>
                    </a:lnTo>
                    <a:lnTo>
                      <a:pt x="1264" y="634"/>
                    </a:lnTo>
                    <a:lnTo>
                      <a:pt x="1264" y="633"/>
                    </a:lnTo>
                    <a:lnTo>
                      <a:pt x="1264" y="631"/>
                    </a:lnTo>
                    <a:lnTo>
                      <a:pt x="1264" y="629"/>
                    </a:lnTo>
                    <a:lnTo>
                      <a:pt x="1264" y="627"/>
                    </a:lnTo>
                    <a:lnTo>
                      <a:pt x="1263" y="627"/>
                    </a:lnTo>
                    <a:lnTo>
                      <a:pt x="1264" y="627"/>
                    </a:lnTo>
                    <a:lnTo>
                      <a:pt x="1263" y="626"/>
                    </a:lnTo>
                    <a:lnTo>
                      <a:pt x="1264" y="626"/>
                    </a:lnTo>
                    <a:lnTo>
                      <a:pt x="1266" y="624"/>
                    </a:lnTo>
                    <a:lnTo>
                      <a:pt x="1266" y="622"/>
                    </a:lnTo>
                    <a:lnTo>
                      <a:pt x="1268" y="621"/>
                    </a:lnTo>
                    <a:lnTo>
                      <a:pt x="1268" y="619"/>
                    </a:lnTo>
                    <a:lnTo>
                      <a:pt x="1270" y="617"/>
                    </a:lnTo>
                    <a:lnTo>
                      <a:pt x="1270" y="616"/>
                    </a:lnTo>
                    <a:lnTo>
                      <a:pt x="1270" y="614"/>
                    </a:lnTo>
                    <a:lnTo>
                      <a:pt x="1271" y="612"/>
                    </a:lnTo>
                    <a:lnTo>
                      <a:pt x="1273" y="612"/>
                    </a:lnTo>
                    <a:lnTo>
                      <a:pt x="1273" y="610"/>
                    </a:lnTo>
                    <a:lnTo>
                      <a:pt x="1275" y="610"/>
                    </a:lnTo>
                    <a:lnTo>
                      <a:pt x="1275" y="609"/>
                    </a:lnTo>
                    <a:lnTo>
                      <a:pt x="1276" y="609"/>
                    </a:lnTo>
                    <a:lnTo>
                      <a:pt x="1276" y="607"/>
                    </a:lnTo>
                    <a:lnTo>
                      <a:pt x="1276" y="605"/>
                    </a:lnTo>
                    <a:lnTo>
                      <a:pt x="1276" y="604"/>
                    </a:lnTo>
                    <a:lnTo>
                      <a:pt x="1276" y="602"/>
                    </a:lnTo>
                    <a:lnTo>
                      <a:pt x="1276" y="600"/>
                    </a:lnTo>
                    <a:lnTo>
                      <a:pt x="1275" y="599"/>
                    </a:lnTo>
                    <a:lnTo>
                      <a:pt x="1273" y="599"/>
                    </a:lnTo>
                    <a:lnTo>
                      <a:pt x="1275" y="597"/>
                    </a:lnTo>
                    <a:lnTo>
                      <a:pt x="1273" y="597"/>
                    </a:lnTo>
                    <a:lnTo>
                      <a:pt x="1275" y="597"/>
                    </a:lnTo>
                    <a:lnTo>
                      <a:pt x="1275" y="595"/>
                    </a:lnTo>
                    <a:lnTo>
                      <a:pt x="1276" y="593"/>
                    </a:lnTo>
                    <a:lnTo>
                      <a:pt x="1275" y="593"/>
                    </a:lnTo>
                    <a:lnTo>
                      <a:pt x="1275" y="592"/>
                    </a:lnTo>
                    <a:lnTo>
                      <a:pt x="1275" y="590"/>
                    </a:lnTo>
                    <a:lnTo>
                      <a:pt x="1275" y="588"/>
                    </a:lnTo>
                    <a:lnTo>
                      <a:pt x="1273" y="588"/>
                    </a:lnTo>
                    <a:lnTo>
                      <a:pt x="1275" y="588"/>
                    </a:lnTo>
                    <a:lnTo>
                      <a:pt x="1275" y="587"/>
                    </a:lnTo>
                    <a:lnTo>
                      <a:pt x="1273" y="587"/>
                    </a:lnTo>
                    <a:lnTo>
                      <a:pt x="1273" y="585"/>
                    </a:lnTo>
                    <a:lnTo>
                      <a:pt x="1275" y="585"/>
                    </a:lnTo>
                    <a:lnTo>
                      <a:pt x="1275" y="583"/>
                    </a:lnTo>
                    <a:lnTo>
                      <a:pt x="1275" y="582"/>
                    </a:lnTo>
                    <a:lnTo>
                      <a:pt x="1276" y="582"/>
                    </a:lnTo>
                    <a:lnTo>
                      <a:pt x="1278" y="582"/>
                    </a:lnTo>
                    <a:lnTo>
                      <a:pt x="1280" y="580"/>
                    </a:lnTo>
                    <a:lnTo>
                      <a:pt x="1280" y="578"/>
                    </a:lnTo>
                    <a:lnTo>
                      <a:pt x="1278" y="578"/>
                    </a:lnTo>
                    <a:lnTo>
                      <a:pt x="1280" y="578"/>
                    </a:lnTo>
                    <a:lnTo>
                      <a:pt x="1280" y="576"/>
                    </a:lnTo>
                    <a:lnTo>
                      <a:pt x="1280" y="575"/>
                    </a:lnTo>
                    <a:lnTo>
                      <a:pt x="1280" y="573"/>
                    </a:lnTo>
                    <a:lnTo>
                      <a:pt x="1280" y="571"/>
                    </a:lnTo>
                    <a:lnTo>
                      <a:pt x="1281" y="571"/>
                    </a:lnTo>
                    <a:lnTo>
                      <a:pt x="1281" y="570"/>
                    </a:lnTo>
                    <a:lnTo>
                      <a:pt x="1280" y="570"/>
                    </a:lnTo>
                    <a:lnTo>
                      <a:pt x="1281" y="570"/>
                    </a:lnTo>
                    <a:lnTo>
                      <a:pt x="1281" y="568"/>
                    </a:lnTo>
                    <a:lnTo>
                      <a:pt x="1283" y="568"/>
                    </a:lnTo>
                    <a:lnTo>
                      <a:pt x="1283" y="566"/>
                    </a:lnTo>
                    <a:lnTo>
                      <a:pt x="1283" y="565"/>
                    </a:lnTo>
                    <a:lnTo>
                      <a:pt x="1281" y="565"/>
                    </a:lnTo>
                    <a:lnTo>
                      <a:pt x="1281" y="563"/>
                    </a:lnTo>
                    <a:lnTo>
                      <a:pt x="1281" y="561"/>
                    </a:lnTo>
                    <a:lnTo>
                      <a:pt x="1283" y="561"/>
                    </a:lnTo>
                    <a:lnTo>
                      <a:pt x="1283" y="559"/>
                    </a:lnTo>
                    <a:lnTo>
                      <a:pt x="1283" y="558"/>
                    </a:lnTo>
                    <a:lnTo>
                      <a:pt x="1285" y="556"/>
                    </a:lnTo>
                    <a:lnTo>
                      <a:pt x="1283" y="556"/>
                    </a:lnTo>
                    <a:lnTo>
                      <a:pt x="1283" y="554"/>
                    </a:lnTo>
                    <a:lnTo>
                      <a:pt x="1281" y="554"/>
                    </a:lnTo>
                    <a:lnTo>
                      <a:pt x="1281" y="553"/>
                    </a:lnTo>
                    <a:lnTo>
                      <a:pt x="1281" y="551"/>
                    </a:lnTo>
                    <a:lnTo>
                      <a:pt x="1280" y="549"/>
                    </a:lnTo>
                    <a:lnTo>
                      <a:pt x="1280" y="548"/>
                    </a:lnTo>
                    <a:lnTo>
                      <a:pt x="1280" y="546"/>
                    </a:lnTo>
                    <a:lnTo>
                      <a:pt x="1280" y="544"/>
                    </a:lnTo>
                    <a:lnTo>
                      <a:pt x="1280" y="542"/>
                    </a:lnTo>
                    <a:lnTo>
                      <a:pt x="1280" y="541"/>
                    </a:lnTo>
                    <a:lnTo>
                      <a:pt x="1280" y="539"/>
                    </a:lnTo>
                    <a:lnTo>
                      <a:pt x="1281" y="539"/>
                    </a:lnTo>
                    <a:lnTo>
                      <a:pt x="1280" y="539"/>
                    </a:lnTo>
                    <a:lnTo>
                      <a:pt x="1280" y="537"/>
                    </a:lnTo>
                    <a:lnTo>
                      <a:pt x="1281" y="536"/>
                    </a:lnTo>
                    <a:lnTo>
                      <a:pt x="1280" y="536"/>
                    </a:lnTo>
                    <a:lnTo>
                      <a:pt x="1280" y="534"/>
                    </a:lnTo>
                    <a:lnTo>
                      <a:pt x="1278" y="536"/>
                    </a:lnTo>
                    <a:lnTo>
                      <a:pt x="1278" y="534"/>
                    </a:lnTo>
                    <a:lnTo>
                      <a:pt x="1280" y="534"/>
                    </a:lnTo>
                    <a:lnTo>
                      <a:pt x="1280" y="532"/>
                    </a:lnTo>
                    <a:lnTo>
                      <a:pt x="1280" y="531"/>
                    </a:lnTo>
                    <a:lnTo>
                      <a:pt x="1280" y="529"/>
                    </a:lnTo>
                    <a:lnTo>
                      <a:pt x="1278" y="527"/>
                    </a:lnTo>
                    <a:lnTo>
                      <a:pt x="1278" y="525"/>
                    </a:lnTo>
                    <a:lnTo>
                      <a:pt x="1278" y="524"/>
                    </a:lnTo>
                    <a:lnTo>
                      <a:pt x="1278" y="522"/>
                    </a:lnTo>
                    <a:lnTo>
                      <a:pt x="1278" y="520"/>
                    </a:lnTo>
                    <a:lnTo>
                      <a:pt x="1278" y="519"/>
                    </a:lnTo>
                    <a:lnTo>
                      <a:pt x="1278" y="517"/>
                    </a:lnTo>
                    <a:lnTo>
                      <a:pt x="1276" y="517"/>
                    </a:lnTo>
                    <a:lnTo>
                      <a:pt x="1276" y="515"/>
                    </a:lnTo>
                    <a:lnTo>
                      <a:pt x="1276" y="514"/>
                    </a:lnTo>
                    <a:lnTo>
                      <a:pt x="1276" y="512"/>
                    </a:lnTo>
                    <a:lnTo>
                      <a:pt x="1276" y="510"/>
                    </a:lnTo>
                    <a:lnTo>
                      <a:pt x="1275" y="508"/>
                    </a:lnTo>
                    <a:lnTo>
                      <a:pt x="1276" y="508"/>
                    </a:lnTo>
                    <a:lnTo>
                      <a:pt x="1275" y="508"/>
                    </a:lnTo>
                    <a:lnTo>
                      <a:pt x="1275" y="507"/>
                    </a:lnTo>
                    <a:lnTo>
                      <a:pt x="1275" y="505"/>
                    </a:lnTo>
                    <a:lnTo>
                      <a:pt x="1276" y="505"/>
                    </a:lnTo>
                    <a:lnTo>
                      <a:pt x="1275" y="505"/>
                    </a:lnTo>
                    <a:lnTo>
                      <a:pt x="1275" y="503"/>
                    </a:lnTo>
                    <a:lnTo>
                      <a:pt x="1275" y="502"/>
                    </a:lnTo>
                    <a:lnTo>
                      <a:pt x="1276" y="502"/>
                    </a:lnTo>
                    <a:lnTo>
                      <a:pt x="1275" y="500"/>
                    </a:lnTo>
                    <a:lnTo>
                      <a:pt x="1276" y="500"/>
                    </a:lnTo>
                    <a:lnTo>
                      <a:pt x="1275" y="500"/>
                    </a:lnTo>
                    <a:lnTo>
                      <a:pt x="1275" y="498"/>
                    </a:lnTo>
                    <a:lnTo>
                      <a:pt x="1275" y="497"/>
                    </a:lnTo>
                    <a:lnTo>
                      <a:pt x="1275" y="495"/>
                    </a:lnTo>
                    <a:lnTo>
                      <a:pt x="1275" y="493"/>
                    </a:lnTo>
                    <a:lnTo>
                      <a:pt x="1273" y="493"/>
                    </a:lnTo>
                    <a:lnTo>
                      <a:pt x="1273" y="491"/>
                    </a:lnTo>
                    <a:lnTo>
                      <a:pt x="1275" y="490"/>
                    </a:lnTo>
                    <a:lnTo>
                      <a:pt x="1273" y="490"/>
                    </a:lnTo>
                    <a:lnTo>
                      <a:pt x="1275" y="490"/>
                    </a:lnTo>
                    <a:lnTo>
                      <a:pt x="1275" y="488"/>
                    </a:lnTo>
                    <a:lnTo>
                      <a:pt x="1273" y="488"/>
                    </a:lnTo>
                    <a:lnTo>
                      <a:pt x="1273" y="486"/>
                    </a:lnTo>
                    <a:lnTo>
                      <a:pt x="1273" y="485"/>
                    </a:lnTo>
                    <a:lnTo>
                      <a:pt x="1273" y="483"/>
                    </a:lnTo>
                    <a:lnTo>
                      <a:pt x="1275" y="483"/>
                    </a:lnTo>
                    <a:lnTo>
                      <a:pt x="1275" y="481"/>
                    </a:lnTo>
                    <a:lnTo>
                      <a:pt x="1275" y="479"/>
                    </a:lnTo>
                    <a:lnTo>
                      <a:pt x="1275" y="478"/>
                    </a:lnTo>
                    <a:lnTo>
                      <a:pt x="1275" y="476"/>
                    </a:lnTo>
                    <a:lnTo>
                      <a:pt x="1275" y="474"/>
                    </a:lnTo>
                    <a:lnTo>
                      <a:pt x="1275" y="473"/>
                    </a:lnTo>
                    <a:lnTo>
                      <a:pt x="1276" y="473"/>
                    </a:lnTo>
                    <a:lnTo>
                      <a:pt x="1276" y="471"/>
                    </a:lnTo>
                    <a:lnTo>
                      <a:pt x="1276" y="473"/>
                    </a:lnTo>
                    <a:lnTo>
                      <a:pt x="1278" y="474"/>
                    </a:lnTo>
                    <a:lnTo>
                      <a:pt x="1278" y="473"/>
                    </a:lnTo>
                    <a:lnTo>
                      <a:pt x="1280" y="473"/>
                    </a:lnTo>
                    <a:lnTo>
                      <a:pt x="1281" y="473"/>
                    </a:lnTo>
                    <a:lnTo>
                      <a:pt x="1280" y="471"/>
                    </a:lnTo>
                    <a:lnTo>
                      <a:pt x="1281" y="471"/>
                    </a:lnTo>
                    <a:lnTo>
                      <a:pt x="1281" y="469"/>
                    </a:lnTo>
                    <a:lnTo>
                      <a:pt x="1283" y="468"/>
                    </a:lnTo>
                    <a:lnTo>
                      <a:pt x="1283" y="469"/>
                    </a:lnTo>
                    <a:lnTo>
                      <a:pt x="1285" y="469"/>
                    </a:lnTo>
                    <a:lnTo>
                      <a:pt x="1285" y="468"/>
                    </a:lnTo>
                    <a:lnTo>
                      <a:pt x="1285" y="466"/>
                    </a:lnTo>
                    <a:lnTo>
                      <a:pt x="1285" y="464"/>
                    </a:lnTo>
                    <a:lnTo>
                      <a:pt x="1285" y="462"/>
                    </a:lnTo>
                    <a:lnTo>
                      <a:pt x="1283" y="462"/>
                    </a:lnTo>
                    <a:lnTo>
                      <a:pt x="1285" y="461"/>
                    </a:lnTo>
                    <a:lnTo>
                      <a:pt x="1285" y="459"/>
                    </a:lnTo>
                    <a:lnTo>
                      <a:pt x="1287" y="459"/>
                    </a:lnTo>
                    <a:lnTo>
                      <a:pt x="1287" y="461"/>
                    </a:lnTo>
                    <a:lnTo>
                      <a:pt x="1287" y="459"/>
                    </a:lnTo>
                    <a:lnTo>
                      <a:pt x="1288" y="459"/>
                    </a:lnTo>
                    <a:lnTo>
                      <a:pt x="1288" y="457"/>
                    </a:lnTo>
                    <a:lnTo>
                      <a:pt x="1288" y="456"/>
                    </a:lnTo>
                    <a:lnTo>
                      <a:pt x="1287" y="454"/>
                    </a:lnTo>
                    <a:lnTo>
                      <a:pt x="1287" y="452"/>
                    </a:lnTo>
                    <a:lnTo>
                      <a:pt x="1287" y="451"/>
                    </a:lnTo>
                    <a:lnTo>
                      <a:pt x="1287" y="449"/>
                    </a:lnTo>
                    <a:lnTo>
                      <a:pt x="1287" y="447"/>
                    </a:lnTo>
                    <a:lnTo>
                      <a:pt x="1288" y="447"/>
                    </a:lnTo>
                    <a:lnTo>
                      <a:pt x="1288" y="445"/>
                    </a:lnTo>
                    <a:lnTo>
                      <a:pt x="1287" y="445"/>
                    </a:lnTo>
                    <a:lnTo>
                      <a:pt x="1287" y="444"/>
                    </a:lnTo>
                    <a:lnTo>
                      <a:pt x="1287" y="442"/>
                    </a:lnTo>
                    <a:lnTo>
                      <a:pt x="1287" y="440"/>
                    </a:lnTo>
                    <a:lnTo>
                      <a:pt x="1287" y="439"/>
                    </a:lnTo>
                    <a:lnTo>
                      <a:pt x="1287" y="437"/>
                    </a:lnTo>
                    <a:lnTo>
                      <a:pt x="1287" y="435"/>
                    </a:lnTo>
                    <a:lnTo>
                      <a:pt x="1285" y="435"/>
                    </a:lnTo>
                    <a:lnTo>
                      <a:pt x="1285" y="434"/>
                    </a:lnTo>
                    <a:lnTo>
                      <a:pt x="1283" y="434"/>
                    </a:lnTo>
                    <a:lnTo>
                      <a:pt x="1281" y="432"/>
                    </a:lnTo>
                    <a:lnTo>
                      <a:pt x="1281" y="430"/>
                    </a:lnTo>
                    <a:lnTo>
                      <a:pt x="1280" y="428"/>
                    </a:lnTo>
                    <a:lnTo>
                      <a:pt x="1281" y="428"/>
                    </a:lnTo>
                    <a:lnTo>
                      <a:pt x="1281" y="427"/>
                    </a:lnTo>
                    <a:lnTo>
                      <a:pt x="1280" y="427"/>
                    </a:lnTo>
                    <a:lnTo>
                      <a:pt x="1281" y="425"/>
                    </a:lnTo>
                    <a:lnTo>
                      <a:pt x="1280" y="423"/>
                    </a:lnTo>
                    <a:lnTo>
                      <a:pt x="1281" y="423"/>
                    </a:lnTo>
                    <a:lnTo>
                      <a:pt x="1281" y="422"/>
                    </a:lnTo>
                    <a:lnTo>
                      <a:pt x="1280" y="422"/>
                    </a:lnTo>
                    <a:lnTo>
                      <a:pt x="1280" y="420"/>
                    </a:lnTo>
                    <a:lnTo>
                      <a:pt x="1280" y="418"/>
                    </a:lnTo>
                    <a:lnTo>
                      <a:pt x="1281" y="418"/>
                    </a:lnTo>
                    <a:lnTo>
                      <a:pt x="1281" y="417"/>
                    </a:lnTo>
                    <a:lnTo>
                      <a:pt x="1283" y="417"/>
                    </a:lnTo>
                    <a:lnTo>
                      <a:pt x="1285" y="415"/>
                    </a:lnTo>
                    <a:lnTo>
                      <a:pt x="1285" y="413"/>
                    </a:lnTo>
                    <a:lnTo>
                      <a:pt x="1287" y="411"/>
                    </a:lnTo>
                    <a:lnTo>
                      <a:pt x="1288" y="411"/>
                    </a:lnTo>
                    <a:lnTo>
                      <a:pt x="1288" y="410"/>
                    </a:lnTo>
                    <a:lnTo>
                      <a:pt x="1288" y="408"/>
                    </a:lnTo>
                    <a:lnTo>
                      <a:pt x="1287" y="408"/>
                    </a:lnTo>
                    <a:lnTo>
                      <a:pt x="1287" y="406"/>
                    </a:lnTo>
                    <a:lnTo>
                      <a:pt x="1288" y="406"/>
                    </a:lnTo>
                    <a:lnTo>
                      <a:pt x="1288" y="405"/>
                    </a:lnTo>
                    <a:lnTo>
                      <a:pt x="1288" y="403"/>
                    </a:lnTo>
                    <a:lnTo>
                      <a:pt x="1290" y="403"/>
                    </a:lnTo>
                    <a:lnTo>
                      <a:pt x="1290" y="401"/>
                    </a:lnTo>
                    <a:lnTo>
                      <a:pt x="1292" y="400"/>
                    </a:lnTo>
                    <a:lnTo>
                      <a:pt x="1292" y="398"/>
                    </a:lnTo>
                    <a:lnTo>
                      <a:pt x="1292" y="396"/>
                    </a:lnTo>
                    <a:lnTo>
                      <a:pt x="1290" y="396"/>
                    </a:lnTo>
                    <a:lnTo>
                      <a:pt x="1292" y="396"/>
                    </a:lnTo>
                    <a:lnTo>
                      <a:pt x="1292" y="394"/>
                    </a:lnTo>
                    <a:lnTo>
                      <a:pt x="1292" y="393"/>
                    </a:lnTo>
                    <a:lnTo>
                      <a:pt x="1292" y="391"/>
                    </a:lnTo>
                    <a:lnTo>
                      <a:pt x="1292" y="389"/>
                    </a:lnTo>
                    <a:lnTo>
                      <a:pt x="1292" y="388"/>
                    </a:lnTo>
                    <a:lnTo>
                      <a:pt x="1293" y="388"/>
                    </a:lnTo>
                    <a:lnTo>
                      <a:pt x="1292" y="386"/>
                    </a:lnTo>
                    <a:lnTo>
                      <a:pt x="1293" y="386"/>
                    </a:lnTo>
                    <a:lnTo>
                      <a:pt x="1292" y="386"/>
                    </a:lnTo>
                    <a:lnTo>
                      <a:pt x="1293" y="386"/>
                    </a:lnTo>
                    <a:lnTo>
                      <a:pt x="1292" y="384"/>
                    </a:lnTo>
                    <a:lnTo>
                      <a:pt x="1293" y="384"/>
                    </a:lnTo>
                    <a:lnTo>
                      <a:pt x="1292" y="384"/>
                    </a:lnTo>
                    <a:lnTo>
                      <a:pt x="1293" y="383"/>
                    </a:lnTo>
                    <a:lnTo>
                      <a:pt x="1293" y="381"/>
                    </a:lnTo>
                    <a:lnTo>
                      <a:pt x="1293" y="379"/>
                    </a:lnTo>
                    <a:lnTo>
                      <a:pt x="1295" y="377"/>
                    </a:lnTo>
                    <a:lnTo>
                      <a:pt x="1295" y="376"/>
                    </a:lnTo>
                    <a:lnTo>
                      <a:pt x="1295" y="374"/>
                    </a:lnTo>
                    <a:lnTo>
                      <a:pt x="1297" y="374"/>
                    </a:lnTo>
                    <a:lnTo>
                      <a:pt x="1297" y="372"/>
                    </a:lnTo>
                    <a:lnTo>
                      <a:pt x="1298" y="372"/>
                    </a:lnTo>
                    <a:lnTo>
                      <a:pt x="1300" y="372"/>
                    </a:lnTo>
                    <a:lnTo>
                      <a:pt x="1300" y="371"/>
                    </a:lnTo>
                    <a:lnTo>
                      <a:pt x="1300" y="369"/>
                    </a:lnTo>
                    <a:lnTo>
                      <a:pt x="1300" y="367"/>
                    </a:lnTo>
                    <a:lnTo>
                      <a:pt x="1302" y="367"/>
                    </a:lnTo>
                    <a:lnTo>
                      <a:pt x="1302" y="366"/>
                    </a:lnTo>
                    <a:lnTo>
                      <a:pt x="1300" y="366"/>
                    </a:lnTo>
                    <a:lnTo>
                      <a:pt x="1302" y="366"/>
                    </a:lnTo>
                    <a:lnTo>
                      <a:pt x="1300" y="364"/>
                    </a:lnTo>
                    <a:lnTo>
                      <a:pt x="1300" y="362"/>
                    </a:lnTo>
                    <a:lnTo>
                      <a:pt x="1298" y="360"/>
                    </a:lnTo>
                    <a:lnTo>
                      <a:pt x="1300" y="359"/>
                    </a:lnTo>
                    <a:lnTo>
                      <a:pt x="1300" y="357"/>
                    </a:lnTo>
                    <a:lnTo>
                      <a:pt x="1298" y="357"/>
                    </a:lnTo>
                    <a:lnTo>
                      <a:pt x="1298" y="355"/>
                    </a:lnTo>
                    <a:lnTo>
                      <a:pt x="1298" y="354"/>
                    </a:lnTo>
                    <a:lnTo>
                      <a:pt x="1298" y="352"/>
                    </a:lnTo>
                    <a:lnTo>
                      <a:pt x="1300" y="350"/>
                    </a:lnTo>
                    <a:lnTo>
                      <a:pt x="1300" y="352"/>
                    </a:lnTo>
                    <a:lnTo>
                      <a:pt x="1302" y="352"/>
                    </a:lnTo>
                    <a:lnTo>
                      <a:pt x="1302" y="350"/>
                    </a:lnTo>
                    <a:lnTo>
                      <a:pt x="1304" y="350"/>
                    </a:lnTo>
                    <a:lnTo>
                      <a:pt x="1302" y="349"/>
                    </a:lnTo>
                    <a:lnTo>
                      <a:pt x="1304" y="349"/>
                    </a:lnTo>
                    <a:lnTo>
                      <a:pt x="1304" y="347"/>
                    </a:lnTo>
                    <a:lnTo>
                      <a:pt x="1305" y="347"/>
                    </a:lnTo>
                    <a:lnTo>
                      <a:pt x="1305" y="345"/>
                    </a:lnTo>
                    <a:lnTo>
                      <a:pt x="1304" y="345"/>
                    </a:lnTo>
                    <a:lnTo>
                      <a:pt x="1304" y="343"/>
                    </a:lnTo>
                    <a:lnTo>
                      <a:pt x="1304" y="342"/>
                    </a:lnTo>
                    <a:lnTo>
                      <a:pt x="1304" y="340"/>
                    </a:lnTo>
                    <a:lnTo>
                      <a:pt x="1305" y="338"/>
                    </a:lnTo>
                    <a:lnTo>
                      <a:pt x="1307" y="337"/>
                    </a:lnTo>
                    <a:lnTo>
                      <a:pt x="1305" y="337"/>
                    </a:lnTo>
                    <a:lnTo>
                      <a:pt x="1305" y="335"/>
                    </a:lnTo>
                    <a:lnTo>
                      <a:pt x="1307" y="335"/>
                    </a:lnTo>
                    <a:lnTo>
                      <a:pt x="1307" y="333"/>
                    </a:lnTo>
                    <a:lnTo>
                      <a:pt x="1307" y="331"/>
                    </a:lnTo>
                    <a:lnTo>
                      <a:pt x="1307" y="330"/>
                    </a:lnTo>
                    <a:lnTo>
                      <a:pt x="1309" y="330"/>
                    </a:lnTo>
                    <a:lnTo>
                      <a:pt x="1307" y="330"/>
                    </a:lnTo>
                    <a:lnTo>
                      <a:pt x="1307" y="328"/>
                    </a:lnTo>
                    <a:lnTo>
                      <a:pt x="1309" y="326"/>
                    </a:lnTo>
                    <a:lnTo>
                      <a:pt x="1309" y="325"/>
                    </a:lnTo>
                    <a:lnTo>
                      <a:pt x="1307" y="325"/>
                    </a:lnTo>
                    <a:lnTo>
                      <a:pt x="1307" y="323"/>
                    </a:lnTo>
                    <a:lnTo>
                      <a:pt x="1309" y="323"/>
                    </a:lnTo>
                    <a:lnTo>
                      <a:pt x="1310" y="323"/>
                    </a:lnTo>
                    <a:lnTo>
                      <a:pt x="1310" y="321"/>
                    </a:lnTo>
                    <a:lnTo>
                      <a:pt x="1310" y="320"/>
                    </a:lnTo>
                    <a:lnTo>
                      <a:pt x="1309" y="320"/>
                    </a:lnTo>
                    <a:lnTo>
                      <a:pt x="1309" y="318"/>
                    </a:lnTo>
                    <a:lnTo>
                      <a:pt x="1309" y="316"/>
                    </a:lnTo>
                    <a:lnTo>
                      <a:pt x="1309" y="314"/>
                    </a:lnTo>
                    <a:lnTo>
                      <a:pt x="1309" y="313"/>
                    </a:lnTo>
                    <a:lnTo>
                      <a:pt x="1309" y="311"/>
                    </a:lnTo>
                    <a:lnTo>
                      <a:pt x="1310" y="311"/>
                    </a:lnTo>
                    <a:lnTo>
                      <a:pt x="1310" y="309"/>
                    </a:lnTo>
                    <a:lnTo>
                      <a:pt x="1310" y="308"/>
                    </a:lnTo>
                    <a:lnTo>
                      <a:pt x="1309" y="306"/>
                    </a:lnTo>
                    <a:lnTo>
                      <a:pt x="1309" y="304"/>
                    </a:lnTo>
                    <a:lnTo>
                      <a:pt x="1307" y="304"/>
                    </a:lnTo>
                    <a:lnTo>
                      <a:pt x="1307" y="303"/>
                    </a:lnTo>
                    <a:lnTo>
                      <a:pt x="1307" y="301"/>
                    </a:lnTo>
                    <a:lnTo>
                      <a:pt x="1307" y="299"/>
                    </a:lnTo>
                    <a:lnTo>
                      <a:pt x="1309" y="299"/>
                    </a:lnTo>
                    <a:lnTo>
                      <a:pt x="1307" y="297"/>
                    </a:lnTo>
                    <a:lnTo>
                      <a:pt x="1309" y="297"/>
                    </a:lnTo>
                    <a:lnTo>
                      <a:pt x="1309" y="296"/>
                    </a:lnTo>
                    <a:lnTo>
                      <a:pt x="1310" y="296"/>
                    </a:lnTo>
                    <a:lnTo>
                      <a:pt x="1310" y="294"/>
                    </a:lnTo>
                    <a:lnTo>
                      <a:pt x="1309" y="294"/>
                    </a:lnTo>
                    <a:lnTo>
                      <a:pt x="1310" y="294"/>
                    </a:lnTo>
                    <a:lnTo>
                      <a:pt x="1310" y="292"/>
                    </a:lnTo>
                    <a:lnTo>
                      <a:pt x="1309" y="291"/>
                    </a:lnTo>
                    <a:lnTo>
                      <a:pt x="1310" y="291"/>
                    </a:lnTo>
                    <a:lnTo>
                      <a:pt x="1312" y="291"/>
                    </a:lnTo>
                    <a:lnTo>
                      <a:pt x="1312" y="289"/>
                    </a:lnTo>
                    <a:lnTo>
                      <a:pt x="1314" y="289"/>
                    </a:lnTo>
                    <a:lnTo>
                      <a:pt x="1314" y="287"/>
                    </a:lnTo>
                    <a:lnTo>
                      <a:pt x="1314" y="286"/>
                    </a:lnTo>
                    <a:lnTo>
                      <a:pt x="1315" y="287"/>
                    </a:lnTo>
                    <a:lnTo>
                      <a:pt x="1315" y="286"/>
                    </a:lnTo>
                    <a:lnTo>
                      <a:pt x="1315" y="284"/>
                    </a:lnTo>
                    <a:lnTo>
                      <a:pt x="1315" y="282"/>
                    </a:lnTo>
                    <a:lnTo>
                      <a:pt x="1317" y="282"/>
                    </a:lnTo>
                    <a:lnTo>
                      <a:pt x="1317" y="280"/>
                    </a:lnTo>
                    <a:lnTo>
                      <a:pt x="1317" y="279"/>
                    </a:lnTo>
                    <a:lnTo>
                      <a:pt x="1315" y="277"/>
                    </a:lnTo>
                    <a:lnTo>
                      <a:pt x="1315" y="275"/>
                    </a:lnTo>
                    <a:lnTo>
                      <a:pt x="1314" y="275"/>
                    </a:lnTo>
                    <a:lnTo>
                      <a:pt x="1315" y="274"/>
                    </a:lnTo>
                    <a:lnTo>
                      <a:pt x="1315" y="272"/>
                    </a:lnTo>
                    <a:lnTo>
                      <a:pt x="1315" y="270"/>
                    </a:lnTo>
                    <a:lnTo>
                      <a:pt x="1314" y="269"/>
                    </a:lnTo>
                    <a:lnTo>
                      <a:pt x="1314" y="267"/>
                    </a:lnTo>
                    <a:lnTo>
                      <a:pt x="1314" y="265"/>
                    </a:lnTo>
                    <a:lnTo>
                      <a:pt x="1312" y="265"/>
                    </a:lnTo>
                    <a:lnTo>
                      <a:pt x="1314" y="265"/>
                    </a:lnTo>
                    <a:lnTo>
                      <a:pt x="1312" y="265"/>
                    </a:lnTo>
                    <a:lnTo>
                      <a:pt x="1312" y="263"/>
                    </a:lnTo>
                    <a:lnTo>
                      <a:pt x="1312" y="262"/>
                    </a:lnTo>
                    <a:lnTo>
                      <a:pt x="1312" y="260"/>
                    </a:lnTo>
                    <a:lnTo>
                      <a:pt x="1312" y="258"/>
                    </a:lnTo>
                    <a:lnTo>
                      <a:pt x="1312" y="257"/>
                    </a:lnTo>
                    <a:lnTo>
                      <a:pt x="1312" y="255"/>
                    </a:lnTo>
                    <a:lnTo>
                      <a:pt x="1312" y="253"/>
                    </a:lnTo>
                    <a:lnTo>
                      <a:pt x="1312" y="252"/>
                    </a:lnTo>
                    <a:lnTo>
                      <a:pt x="1312" y="250"/>
                    </a:lnTo>
                    <a:lnTo>
                      <a:pt x="1314" y="250"/>
                    </a:lnTo>
                    <a:lnTo>
                      <a:pt x="1312" y="248"/>
                    </a:lnTo>
                    <a:lnTo>
                      <a:pt x="1314" y="248"/>
                    </a:lnTo>
                    <a:lnTo>
                      <a:pt x="1312" y="246"/>
                    </a:lnTo>
                    <a:lnTo>
                      <a:pt x="1314" y="246"/>
                    </a:lnTo>
                    <a:lnTo>
                      <a:pt x="1314" y="245"/>
                    </a:lnTo>
                    <a:lnTo>
                      <a:pt x="1314" y="243"/>
                    </a:lnTo>
                    <a:lnTo>
                      <a:pt x="1314" y="241"/>
                    </a:lnTo>
                    <a:lnTo>
                      <a:pt x="1314" y="240"/>
                    </a:lnTo>
                    <a:lnTo>
                      <a:pt x="1314" y="238"/>
                    </a:lnTo>
                    <a:lnTo>
                      <a:pt x="1314" y="236"/>
                    </a:lnTo>
                    <a:lnTo>
                      <a:pt x="1314" y="235"/>
                    </a:lnTo>
                    <a:lnTo>
                      <a:pt x="1314" y="233"/>
                    </a:lnTo>
                    <a:lnTo>
                      <a:pt x="1314" y="231"/>
                    </a:lnTo>
                    <a:lnTo>
                      <a:pt x="1314" y="229"/>
                    </a:lnTo>
                    <a:lnTo>
                      <a:pt x="1314" y="228"/>
                    </a:lnTo>
                    <a:lnTo>
                      <a:pt x="1314" y="226"/>
                    </a:lnTo>
                    <a:lnTo>
                      <a:pt x="1315" y="226"/>
                    </a:lnTo>
                    <a:lnTo>
                      <a:pt x="1315" y="224"/>
                    </a:lnTo>
                    <a:lnTo>
                      <a:pt x="1317" y="224"/>
                    </a:lnTo>
                    <a:lnTo>
                      <a:pt x="1317" y="223"/>
                    </a:lnTo>
                    <a:lnTo>
                      <a:pt x="1317" y="221"/>
                    </a:lnTo>
                    <a:lnTo>
                      <a:pt x="1317" y="219"/>
                    </a:lnTo>
                    <a:lnTo>
                      <a:pt x="1317" y="218"/>
                    </a:lnTo>
                    <a:lnTo>
                      <a:pt x="1317" y="216"/>
                    </a:lnTo>
                    <a:lnTo>
                      <a:pt x="1315" y="216"/>
                    </a:lnTo>
                    <a:lnTo>
                      <a:pt x="1315" y="214"/>
                    </a:lnTo>
                    <a:lnTo>
                      <a:pt x="1314" y="214"/>
                    </a:lnTo>
                    <a:lnTo>
                      <a:pt x="1314" y="216"/>
                    </a:lnTo>
                    <a:lnTo>
                      <a:pt x="1312" y="218"/>
                    </a:lnTo>
                    <a:lnTo>
                      <a:pt x="1312" y="216"/>
                    </a:lnTo>
                    <a:lnTo>
                      <a:pt x="1310" y="216"/>
                    </a:lnTo>
                    <a:lnTo>
                      <a:pt x="1310" y="214"/>
                    </a:lnTo>
                    <a:lnTo>
                      <a:pt x="1312" y="212"/>
                    </a:lnTo>
                    <a:lnTo>
                      <a:pt x="1310" y="212"/>
                    </a:lnTo>
                    <a:lnTo>
                      <a:pt x="1310" y="211"/>
                    </a:lnTo>
                    <a:lnTo>
                      <a:pt x="1312" y="209"/>
                    </a:lnTo>
                    <a:lnTo>
                      <a:pt x="1310" y="209"/>
                    </a:lnTo>
                    <a:lnTo>
                      <a:pt x="1310" y="207"/>
                    </a:lnTo>
                    <a:lnTo>
                      <a:pt x="1310" y="206"/>
                    </a:lnTo>
                    <a:lnTo>
                      <a:pt x="1312" y="206"/>
                    </a:lnTo>
                    <a:lnTo>
                      <a:pt x="1312" y="204"/>
                    </a:lnTo>
                    <a:lnTo>
                      <a:pt x="1312" y="202"/>
                    </a:lnTo>
                    <a:lnTo>
                      <a:pt x="1312" y="201"/>
                    </a:lnTo>
                    <a:lnTo>
                      <a:pt x="1312" y="199"/>
                    </a:lnTo>
                    <a:lnTo>
                      <a:pt x="1314" y="199"/>
                    </a:lnTo>
                    <a:lnTo>
                      <a:pt x="1314" y="201"/>
                    </a:lnTo>
                    <a:lnTo>
                      <a:pt x="1315" y="201"/>
                    </a:lnTo>
                    <a:lnTo>
                      <a:pt x="1317" y="201"/>
                    </a:lnTo>
                    <a:lnTo>
                      <a:pt x="1319" y="201"/>
                    </a:lnTo>
                    <a:lnTo>
                      <a:pt x="1319" y="199"/>
                    </a:lnTo>
                    <a:lnTo>
                      <a:pt x="1321" y="197"/>
                    </a:lnTo>
                    <a:lnTo>
                      <a:pt x="1321" y="195"/>
                    </a:lnTo>
                    <a:lnTo>
                      <a:pt x="1321" y="194"/>
                    </a:lnTo>
                    <a:lnTo>
                      <a:pt x="1322" y="194"/>
                    </a:lnTo>
                    <a:lnTo>
                      <a:pt x="1321" y="192"/>
                    </a:lnTo>
                    <a:lnTo>
                      <a:pt x="1321" y="190"/>
                    </a:lnTo>
                    <a:lnTo>
                      <a:pt x="1321" y="189"/>
                    </a:lnTo>
                    <a:lnTo>
                      <a:pt x="1322" y="187"/>
                    </a:lnTo>
                    <a:lnTo>
                      <a:pt x="1322" y="185"/>
                    </a:lnTo>
                    <a:lnTo>
                      <a:pt x="1322" y="184"/>
                    </a:lnTo>
                    <a:lnTo>
                      <a:pt x="1322" y="182"/>
                    </a:lnTo>
                    <a:lnTo>
                      <a:pt x="1322" y="180"/>
                    </a:lnTo>
                    <a:lnTo>
                      <a:pt x="1324" y="178"/>
                    </a:lnTo>
                    <a:lnTo>
                      <a:pt x="1322" y="178"/>
                    </a:lnTo>
                    <a:lnTo>
                      <a:pt x="1322" y="177"/>
                    </a:lnTo>
                    <a:lnTo>
                      <a:pt x="1322" y="175"/>
                    </a:lnTo>
                    <a:lnTo>
                      <a:pt x="1322" y="173"/>
                    </a:lnTo>
                    <a:lnTo>
                      <a:pt x="1324" y="172"/>
                    </a:lnTo>
                    <a:lnTo>
                      <a:pt x="1322" y="172"/>
                    </a:lnTo>
                    <a:lnTo>
                      <a:pt x="1324" y="170"/>
                    </a:lnTo>
                    <a:lnTo>
                      <a:pt x="1324" y="168"/>
                    </a:lnTo>
                    <a:lnTo>
                      <a:pt x="1324" y="166"/>
                    </a:lnTo>
                    <a:lnTo>
                      <a:pt x="1324" y="165"/>
                    </a:lnTo>
                    <a:lnTo>
                      <a:pt x="1324" y="163"/>
                    </a:lnTo>
                    <a:lnTo>
                      <a:pt x="1326" y="163"/>
                    </a:lnTo>
                    <a:lnTo>
                      <a:pt x="1324" y="163"/>
                    </a:lnTo>
                    <a:lnTo>
                      <a:pt x="1324" y="161"/>
                    </a:lnTo>
                    <a:lnTo>
                      <a:pt x="1326" y="161"/>
                    </a:lnTo>
                    <a:lnTo>
                      <a:pt x="1326" y="160"/>
                    </a:lnTo>
                    <a:lnTo>
                      <a:pt x="1326" y="158"/>
                    </a:lnTo>
                    <a:lnTo>
                      <a:pt x="1326" y="156"/>
                    </a:lnTo>
                    <a:lnTo>
                      <a:pt x="1326" y="155"/>
                    </a:lnTo>
                    <a:lnTo>
                      <a:pt x="1326" y="153"/>
                    </a:lnTo>
                    <a:lnTo>
                      <a:pt x="1326" y="151"/>
                    </a:lnTo>
                    <a:lnTo>
                      <a:pt x="1326" y="149"/>
                    </a:lnTo>
                    <a:lnTo>
                      <a:pt x="1326" y="148"/>
                    </a:lnTo>
                    <a:lnTo>
                      <a:pt x="1327" y="148"/>
                    </a:lnTo>
                    <a:lnTo>
                      <a:pt x="1327" y="146"/>
                    </a:lnTo>
                    <a:lnTo>
                      <a:pt x="1327" y="144"/>
                    </a:lnTo>
                    <a:lnTo>
                      <a:pt x="1329" y="144"/>
                    </a:lnTo>
                    <a:lnTo>
                      <a:pt x="1329" y="143"/>
                    </a:lnTo>
                    <a:lnTo>
                      <a:pt x="1329" y="141"/>
                    </a:lnTo>
                    <a:lnTo>
                      <a:pt x="1329" y="139"/>
                    </a:lnTo>
                    <a:lnTo>
                      <a:pt x="1329" y="138"/>
                    </a:lnTo>
                    <a:lnTo>
                      <a:pt x="1327" y="138"/>
                    </a:lnTo>
                    <a:lnTo>
                      <a:pt x="1329" y="136"/>
                    </a:lnTo>
                    <a:lnTo>
                      <a:pt x="1329" y="134"/>
                    </a:lnTo>
                    <a:lnTo>
                      <a:pt x="1329" y="132"/>
                    </a:lnTo>
                    <a:lnTo>
                      <a:pt x="1327" y="132"/>
                    </a:lnTo>
                    <a:lnTo>
                      <a:pt x="1327" y="131"/>
                    </a:lnTo>
                    <a:lnTo>
                      <a:pt x="1327" y="129"/>
                    </a:lnTo>
                    <a:lnTo>
                      <a:pt x="1327" y="127"/>
                    </a:lnTo>
                    <a:lnTo>
                      <a:pt x="1326" y="127"/>
                    </a:lnTo>
                    <a:lnTo>
                      <a:pt x="1326" y="126"/>
                    </a:lnTo>
                    <a:lnTo>
                      <a:pt x="1326" y="124"/>
                    </a:lnTo>
                    <a:lnTo>
                      <a:pt x="1327" y="122"/>
                    </a:lnTo>
                    <a:lnTo>
                      <a:pt x="1326" y="121"/>
                    </a:lnTo>
                    <a:lnTo>
                      <a:pt x="1327" y="121"/>
                    </a:lnTo>
                    <a:lnTo>
                      <a:pt x="1326" y="121"/>
                    </a:lnTo>
                    <a:lnTo>
                      <a:pt x="1326" y="119"/>
                    </a:lnTo>
                    <a:lnTo>
                      <a:pt x="1324" y="117"/>
                    </a:lnTo>
                    <a:lnTo>
                      <a:pt x="1326" y="117"/>
                    </a:lnTo>
                    <a:lnTo>
                      <a:pt x="1324" y="117"/>
                    </a:lnTo>
                    <a:lnTo>
                      <a:pt x="1324" y="115"/>
                    </a:lnTo>
                    <a:lnTo>
                      <a:pt x="1326" y="115"/>
                    </a:lnTo>
                    <a:lnTo>
                      <a:pt x="1324" y="115"/>
                    </a:lnTo>
                    <a:lnTo>
                      <a:pt x="1324" y="114"/>
                    </a:lnTo>
                    <a:lnTo>
                      <a:pt x="1326" y="114"/>
                    </a:lnTo>
                    <a:lnTo>
                      <a:pt x="1324" y="114"/>
                    </a:lnTo>
                    <a:lnTo>
                      <a:pt x="1326" y="112"/>
                    </a:lnTo>
                    <a:lnTo>
                      <a:pt x="1324" y="110"/>
                    </a:lnTo>
                    <a:lnTo>
                      <a:pt x="1324" y="109"/>
                    </a:lnTo>
                    <a:lnTo>
                      <a:pt x="1324" y="107"/>
                    </a:lnTo>
                    <a:lnTo>
                      <a:pt x="1326" y="107"/>
                    </a:lnTo>
                    <a:lnTo>
                      <a:pt x="1326" y="105"/>
                    </a:lnTo>
                    <a:lnTo>
                      <a:pt x="1326" y="104"/>
                    </a:lnTo>
                    <a:lnTo>
                      <a:pt x="1326" y="102"/>
                    </a:lnTo>
                    <a:lnTo>
                      <a:pt x="1326" y="100"/>
                    </a:lnTo>
                    <a:lnTo>
                      <a:pt x="1327" y="100"/>
                    </a:lnTo>
                    <a:lnTo>
                      <a:pt x="1327" y="98"/>
                    </a:lnTo>
                    <a:lnTo>
                      <a:pt x="1326" y="97"/>
                    </a:lnTo>
                    <a:lnTo>
                      <a:pt x="1327" y="95"/>
                    </a:lnTo>
                    <a:lnTo>
                      <a:pt x="1326" y="95"/>
                    </a:lnTo>
                    <a:lnTo>
                      <a:pt x="1326" y="93"/>
                    </a:lnTo>
                    <a:lnTo>
                      <a:pt x="1327" y="93"/>
                    </a:lnTo>
                    <a:lnTo>
                      <a:pt x="1327" y="92"/>
                    </a:lnTo>
                    <a:lnTo>
                      <a:pt x="1327" y="90"/>
                    </a:lnTo>
                    <a:lnTo>
                      <a:pt x="1327" y="88"/>
                    </a:lnTo>
                    <a:lnTo>
                      <a:pt x="1327" y="87"/>
                    </a:lnTo>
                    <a:lnTo>
                      <a:pt x="1326" y="87"/>
                    </a:lnTo>
                    <a:lnTo>
                      <a:pt x="1327" y="87"/>
                    </a:lnTo>
                    <a:lnTo>
                      <a:pt x="1326" y="85"/>
                    </a:lnTo>
                    <a:lnTo>
                      <a:pt x="1327" y="85"/>
                    </a:lnTo>
                    <a:lnTo>
                      <a:pt x="1327" y="83"/>
                    </a:lnTo>
                    <a:lnTo>
                      <a:pt x="1326" y="83"/>
                    </a:lnTo>
                    <a:lnTo>
                      <a:pt x="1326" y="81"/>
                    </a:lnTo>
                    <a:lnTo>
                      <a:pt x="1326" y="80"/>
                    </a:lnTo>
                    <a:lnTo>
                      <a:pt x="1326" y="78"/>
                    </a:lnTo>
                    <a:lnTo>
                      <a:pt x="1326" y="76"/>
                    </a:lnTo>
                    <a:lnTo>
                      <a:pt x="1324" y="75"/>
                    </a:lnTo>
                    <a:lnTo>
                      <a:pt x="1324" y="73"/>
                    </a:lnTo>
                    <a:lnTo>
                      <a:pt x="1324" y="71"/>
                    </a:lnTo>
                    <a:lnTo>
                      <a:pt x="1324" y="70"/>
                    </a:lnTo>
                    <a:lnTo>
                      <a:pt x="1324" y="68"/>
                    </a:lnTo>
                    <a:lnTo>
                      <a:pt x="1324" y="66"/>
                    </a:lnTo>
                    <a:lnTo>
                      <a:pt x="1322" y="66"/>
                    </a:lnTo>
                    <a:lnTo>
                      <a:pt x="1322" y="64"/>
                    </a:lnTo>
                    <a:lnTo>
                      <a:pt x="1322" y="63"/>
                    </a:lnTo>
                    <a:lnTo>
                      <a:pt x="1322" y="61"/>
                    </a:lnTo>
                    <a:lnTo>
                      <a:pt x="1322" y="59"/>
                    </a:lnTo>
                    <a:lnTo>
                      <a:pt x="1322" y="58"/>
                    </a:lnTo>
                    <a:lnTo>
                      <a:pt x="1322" y="56"/>
                    </a:lnTo>
                    <a:lnTo>
                      <a:pt x="1321" y="56"/>
                    </a:lnTo>
                    <a:lnTo>
                      <a:pt x="1321" y="54"/>
                    </a:lnTo>
                    <a:lnTo>
                      <a:pt x="1321" y="53"/>
                    </a:lnTo>
                    <a:lnTo>
                      <a:pt x="1321" y="51"/>
                    </a:lnTo>
                    <a:lnTo>
                      <a:pt x="1321" y="49"/>
                    </a:lnTo>
                    <a:lnTo>
                      <a:pt x="1321" y="47"/>
                    </a:lnTo>
                    <a:lnTo>
                      <a:pt x="1319" y="47"/>
                    </a:lnTo>
                    <a:lnTo>
                      <a:pt x="1319" y="46"/>
                    </a:lnTo>
                    <a:lnTo>
                      <a:pt x="1319" y="44"/>
                    </a:lnTo>
                    <a:lnTo>
                      <a:pt x="1321" y="44"/>
                    </a:lnTo>
                    <a:lnTo>
                      <a:pt x="1319" y="42"/>
                    </a:lnTo>
                    <a:lnTo>
                      <a:pt x="1321" y="42"/>
                    </a:lnTo>
                    <a:lnTo>
                      <a:pt x="1321" y="41"/>
                    </a:lnTo>
                    <a:lnTo>
                      <a:pt x="1319" y="41"/>
                    </a:lnTo>
                    <a:lnTo>
                      <a:pt x="1321" y="39"/>
                    </a:lnTo>
                    <a:lnTo>
                      <a:pt x="1321" y="37"/>
                    </a:lnTo>
                    <a:lnTo>
                      <a:pt x="1321" y="36"/>
                    </a:lnTo>
                    <a:lnTo>
                      <a:pt x="1321" y="34"/>
                    </a:lnTo>
                    <a:lnTo>
                      <a:pt x="1321" y="32"/>
                    </a:lnTo>
                    <a:lnTo>
                      <a:pt x="1321" y="30"/>
                    </a:lnTo>
                    <a:lnTo>
                      <a:pt x="1319" y="30"/>
                    </a:lnTo>
                    <a:lnTo>
                      <a:pt x="1319" y="29"/>
                    </a:lnTo>
                    <a:lnTo>
                      <a:pt x="1321" y="29"/>
                    </a:lnTo>
                    <a:lnTo>
                      <a:pt x="1322" y="29"/>
                    </a:lnTo>
                    <a:lnTo>
                      <a:pt x="1324" y="29"/>
                    </a:lnTo>
                    <a:lnTo>
                      <a:pt x="1326" y="29"/>
                    </a:lnTo>
                    <a:lnTo>
                      <a:pt x="1327" y="29"/>
                    </a:lnTo>
                    <a:lnTo>
                      <a:pt x="1329" y="27"/>
                    </a:lnTo>
                    <a:lnTo>
                      <a:pt x="1331" y="27"/>
                    </a:lnTo>
                    <a:lnTo>
                      <a:pt x="1331" y="25"/>
                    </a:lnTo>
                    <a:lnTo>
                      <a:pt x="1332" y="25"/>
                    </a:lnTo>
                    <a:lnTo>
                      <a:pt x="1334" y="25"/>
                    </a:lnTo>
                    <a:lnTo>
                      <a:pt x="1334" y="24"/>
                    </a:lnTo>
                    <a:lnTo>
                      <a:pt x="1336" y="24"/>
                    </a:lnTo>
                    <a:lnTo>
                      <a:pt x="1338" y="22"/>
                    </a:lnTo>
                    <a:lnTo>
                      <a:pt x="1339" y="22"/>
                    </a:lnTo>
                    <a:lnTo>
                      <a:pt x="1339" y="20"/>
                    </a:lnTo>
                    <a:lnTo>
                      <a:pt x="1339" y="18"/>
                    </a:lnTo>
                    <a:lnTo>
                      <a:pt x="1339" y="17"/>
                    </a:lnTo>
                    <a:lnTo>
                      <a:pt x="1339" y="15"/>
                    </a:lnTo>
                    <a:lnTo>
                      <a:pt x="1339" y="13"/>
                    </a:lnTo>
                    <a:lnTo>
                      <a:pt x="1338" y="13"/>
                    </a:lnTo>
                    <a:lnTo>
                      <a:pt x="1339" y="12"/>
                    </a:lnTo>
                    <a:lnTo>
                      <a:pt x="1338" y="12"/>
                    </a:lnTo>
                    <a:lnTo>
                      <a:pt x="1338" y="10"/>
                    </a:lnTo>
                    <a:lnTo>
                      <a:pt x="1338" y="8"/>
                    </a:lnTo>
                    <a:lnTo>
                      <a:pt x="1336" y="8"/>
                    </a:lnTo>
                    <a:lnTo>
                      <a:pt x="1338" y="7"/>
                    </a:lnTo>
                    <a:lnTo>
                      <a:pt x="1338" y="5"/>
                    </a:lnTo>
                    <a:lnTo>
                      <a:pt x="1339" y="5"/>
                    </a:lnTo>
                    <a:lnTo>
                      <a:pt x="1341" y="5"/>
                    </a:lnTo>
                    <a:lnTo>
                      <a:pt x="1343" y="5"/>
                    </a:lnTo>
                    <a:lnTo>
                      <a:pt x="1344" y="3"/>
                    </a:lnTo>
                    <a:lnTo>
                      <a:pt x="1346" y="1"/>
                    </a:lnTo>
                    <a:lnTo>
                      <a:pt x="1349" y="0"/>
                    </a:lnTo>
                    <a:lnTo>
                      <a:pt x="1349" y="3"/>
                    </a:lnTo>
                    <a:lnTo>
                      <a:pt x="1351" y="5"/>
                    </a:lnTo>
                    <a:lnTo>
                      <a:pt x="1353" y="7"/>
                    </a:lnTo>
                    <a:lnTo>
                      <a:pt x="1353" y="8"/>
                    </a:lnTo>
                    <a:lnTo>
                      <a:pt x="1355" y="8"/>
                    </a:lnTo>
                    <a:lnTo>
                      <a:pt x="1355" y="10"/>
                    </a:lnTo>
                    <a:lnTo>
                      <a:pt x="1355" y="12"/>
                    </a:lnTo>
                    <a:lnTo>
                      <a:pt x="1355" y="13"/>
                    </a:lnTo>
                    <a:lnTo>
                      <a:pt x="1355" y="15"/>
                    </a:lnTo>
                    <a:lnTo>
                      <a:pt x="1356" y="15"/>
                    </a:lnTo>
                    <a:lnTo>
                      <a:pt x="1356" y="17"/>
                    </a:lnTo>
                    <a:lnTo>
                      <a:pt x="1358" y="17"/>
                    </a:lnTo>
                    <a:lnTo>
                      <a:pt x="1360" y="17"/>
                    </a:lnTo>
                    <a:lnTo>
                      <a:pt x="1361" y="17"/>
                    </a:lnTo>
                    <a:lnTo>
                      <a:pt x="1361" y="18"/>
                    </a:lnTo>
                    <a:lnTo>
                      <a:pt x="1363" y="18"/>
                    </a:lnTo>
                    <a:lnTo>
                      <a:pt x="1363" y="20"/>
                    </a:lnTo>
                    <a:lnTo>
                      <a:pt x="1361" y="20"/>
                    </a:lnTo>
                    <a:lnTo>
                      <a:pt x="1363" y="20"/>
                    </a:lnTo>
                    <a:lnTo>
                      <a:pt x="1361" y="20"/>
                    </a:lnTo>
                    <a:lnTo>
                      <a:pt x="1361" y="22"/>
                    </a:lnTo>
                    <a:lnTo>
                      <a:pt x="1360" y="22"/>
                    </a:lnTo>
                    <a:lnTo>
                      <a:pt x="1360" y="24"/>
                    </a:lnTo>
                    <a:lnTo>
                      <a:pt x="1361" y="24"/>
                    </a:lnTo>
                    <a:lnTo>
                      <a:pt x="1361" y="25"/>
                    </a:lnTo>
                    <a:lnTo>
                      <a:pt x="1363" y="25"/>
                    </a:lnTo>
                    <a:lnTo>
                      <a:pt x="1363" y="27"/>
                    </a:lnTo>
                    <a:lnTo>
                      <a:pt x="1363" y="29"/>
                    </a:lnTo>
                    <a:lnTo>
                      <a:pt x="1363" y="30"/>
                    </a:lnTo>
                    <a:lnTo>
                      <a:pt x="1363" y="32"/>
                    </a:lnTo>
                    <a:lnTo>
                      <a:pt x="1365" y="32"/>
                    </a:lnTo>
                    <a:lnTo>
                      <a:pt x="1365" y="34"/>
                    </a:lnTo>
                    <a:lnTo>
                      <a:pt x="1365" y="36"/>
                    </a:lnTo>
                    <a:lnTo>
                      <a:pt x="1365" y="37"/>
                    </a:lnTo>
                    <a:lnTo>
                      <a:pt x="1365" y="39"/>
                    </a:lnTo>
                    <a:lnTo>
                      <a:pt x="1363" y="39"/>
                    </a:lnTo>
                    <a:lnTo>
                      <a:pt x="1365" y="39"/>
                    </a:lnTo>
                    <a:lnTo>
                      <a:pt x="1365" y="41"/>
                    </a:lnTo>
                    <a:lnTo>
                      <a:pt x="1365" y="42"/>
                    </a:lnTo>
                    <a:lnTo>
                      <a:pt x="1366" y="42"/>
                    </a:lnTo>
                    <a:lnTo>
                      <a:pt x="1366" y="44"/>
                    </a:lnTo>
                    <a:lnTo>
                      <a:pt x="1366" y="46"/>
                    </a:lnTo>
                    <a:lnTo>
                      <a:pt x="1368" y="47"/>
                    </a:lnTo>
                    <a:lnTo>
                      <a:pt x="1368" y="49"/>
                    </a:lnTo>
                    <a:lnTo>
                      <a:pt x="1366" y="49"/>
                    </a:lnTo>
                    <a:lnTo>
                      <a:pt x="1366" y="51"/>
                    </a:lnTo>
                    <a:lnTo>
                      <a:pt x="1368" y="51"/>
                    </a:lnTo>
                    <a:lnTo>
                      <a:pt x="1368" y="53"/>
                    </a:lnTo>
                    <a:lnTo>
                      <a:pt x="1368" y="54"/>
                    </a:lnTo>
                    <a:lnTo>
                      <a:pt x="1370" y="54"/>
                    </a:lnTo>
                    <a:lnTo>
                      <a:pt x="1372" y="56"/>
                    </a:lnTo>
                    <a:lnTo>
                      <a:pt x="1373" y="56"/>
                    </a:lnTo>
                    <a:lnTo>
                      <a:pt x="1373" y="58"/>
                    </a:lnTo>
                    <a:lnTo>
                      <a:pt x="1375" y="58"/>
                    </a:lnTo>
                    <a:lnTo>
                      <a:pt x="1375" y="59"/>
                    </a:lnTo>
                    <a:lnTo>
                      <a:pt x="1377" y="59"/>
                    </a:lnTo>
                    <a:lnTo>
                      <a:pt x="1377" y="61"/>
                    </a:lnTo>
                    <a:lnTo>
                      <a:pt x="1378" y="61"/>
                    </a:lnTo>
                    <a:lnTo>
                      <a:pt x="1378" y="63"/>
                    </a:lnTo>
                    <a:lnTo>
                      <a:pt x="1380" y="63"/>
                    </a:lnTo>
                    <a:lnTo>
                      <a:pt x="1382" y="64"/>
                    </a:lnTo>
                    <a:lnTo>
                      <a:pt x="1382" y="66"/>
                    </a:lnTo>
                    <a:lnTo>
                      <a:pt x="1383" y="66"/>
                    </a:lnTo>
                    <a:lnTo>
                      <a:pt x="1383" y="68"/>
                    </a:lnTo>
                    <a:lnTo>
                      <a:pt x="1383" y="70"/>
                    </a:lnTo>
                    <a:lnTo>
                      <a:pt x="1382" y="71"/>
                    </a:lnTo>
                    <a:lnTo>
                      <a:pt x="1382" y="73"/>
                    </a:lnTo>
                    <a:lnTo>
                      <a:pt x="1380" y="73"/>
                    </a:lnTo>
                    <a:lnTo>
                      <a:pt x="1380" y="75"/>
                    </a:lnTo>
                    <a:lnTo>
                      <a:pt x="1378" y="75"/>
                    </a:lnTo>
                    <a:lnTo>
                      <a:pt x="1378" y="76"/>
                    </a:lnTo>
                    <a:lnTo>
                      <a:pt x="1378" y="78"/>
                    </a:lnTo>
                    <a:lnTo>
                      <a:pt x="1377" y="78"/>
                    </a:lnTo>
                    <a:lnTo>
                      <a:pt x="1375" y="78"/>
                    </a:lnTo>
                    <a:lnTo>
                      <a:pt x="1375" y="80"/>
                    </a:lnTo>
                    <a:lnTo>
                      <a:pt x="1377" y="80"/>
                    </a:lnTo>
                    <a:lnTo>
                      <a:pt x="1378" y="81"/>
                    </a:lnTo>
                    <a:lnTo>
                      <a:pt x="1378" y="83"/>
                    </a:lnTo>
                    <a:lnTo>
                      <a:pt x="1380" y="83"/>
                    </a:lnTo>
                    <a:lnTo>
                      <a:pt x="1382" y="83"/>
                    </a:lnTo>
                    <a:lnTo>
                      <a:pt x="1380" y="83"/>
                    </a:lnTo>
                    <a:lnTo>
                      <a:pt x="1380" y="85"/>
                    </a:lnTo>
                    <a:lnTo>
                      <a:pt x="1382" y="85"/>
                    </a:lnTo>
                    <a:lnTo>
                      <a:pt x="1382" y="87"/>
                    </a:lnTo>
                    <a:lnTo>
                      <a:pt x="1380" y="87"/>
                    </a:lnTo>
                    <a:lnTo>
                      <a:pt x="1380" y="88"/>
                    </a:lnTo>
                    <a:lnTo>
                      <a:pt x="1380" y="90"/>
                    </a:lnTo>
                    <a:lnTo>
                      <a:pt x="1378" y="90"/>
                    </a:lnTo>
                    <a:lnTo>
                      <a:pt x="1377" y="90"/>
                    </a:lnTo>
                    <a:lnTo>
                      <a:pt x="1375" y="92"/>
                    </a:lnTo>
                    <a:lnTo>
                      <a:pt x="1373" y="92"/>
                    </a:lnTo>
                    <a:lnTo>
                      <a:pt x="1373" y="93"/>
                    </a:lnTo>
                    <a:lnTo>
                      <a:pt x="1375" y="93"/>
                    </a:lnTo>
                    <a:lnTo>
                      <a:pt x="1375" y="95"/>
                    </a:lnTo>
                    <a:lnTo>
                      <a:pt x="1375" y="97"/>
                    </a:lnTo>
                    <a:lnTo>
                      <a:pt x="1375" y="98"/>
                    </a:lnTo>
                    <a:lnTo>
                      <a:pt x="1377" y="98"/>
                    </a:lnTo>
                    <a:lnTo>
                      <a:pt x="1377" y="100"/>
                    </a:lnTo>
                    <a:lnTo>
                      <a:pt x="1377" y="102"/>
                    </a:lnTo>
                    <a:lnTo>
                      <a:pt x="1375" y="102"/>
                    </a:lnTo>
                    <a:lnTo>
                      <a:pt x="1373" y="102"/>
                    </a:lnTo>
                    <a:lnTo>
                      <a:pt x="1373" y="104"/>
                    </a:lnTo>
                    <a:lnTo>
                      <a:pt x="1373" y="105"/>
                    </a:lnTo>
                    <a:lnTo>
                      <a:pt x="1375" y="105"/>
                    </a:lnTo>
                    <a:lnTo>
                      <a:pt x="1375" y="107"/>
                    </a:lnTo>
                    <a:lnTo>
                      <a:pt x="1377" y="107"/>
                    </a:lnTo>
                    <a:lnTo>
                      <a:pt x="1378" y="107"/>
                    </a:lnTo>
                    <a:lnTo>
                      <a:pt x="1378" y="109"/>
                    </a:lnTo>
                    <a:lnTo>
                      <a:pt x="1380" y="109"/>
                    </a:lnTo>
                    <a:lnTo>
                      <a:pt x="1382" y="109"/>
                    </a:lnTo>
                    <a:lnTo>
                      <a:pt x="1382" y="110"/>
                    </a:lnTo>
                    <a:lnTo>
                      <a:pt x="1383" y="110"/>
                    </a:lnTo>
                    <a:lnTo>
                      <a:pt x="1383" y="112"/>
                    </a:lnTo>
                    <a:lnTo>
                      <a:pt x="1382" y="112"/>
                    </a:lnTo>
                    <a:lnTo>
                      <a:pt x="1382" y="114"/>
                    </a:lnTo>
                    <a:lnTo>
                      <a:pt x="1380" y="114"/>
                    </a:lnTo>
                    <a:lnTo>
                      <a:pt x="1380" y="115"/>
                    </a:lnTo>
                    <a:lnTo>
                      <a:pt x="1380" y="117"/>
                    </a:lnTo>
                    <a:lnTo>
                      <a:pt x="1380" y="119"/>
                    </a:lnTo>
                    <a:lnTo>
                      <a:pt x="1380" y="121"/>
                    </a:lnTo>
                    <a:lnTo>
                      <a:pt x="1382" y="122"/>
                    </a:lnTo>
                    <a:lnTo>
                      <a:pt x="1383" y="122"/>
                    </a:lnTo>
                    <a:lnTo>
                      <a:pt x="1385" y="122"/>
                    </a:lnTo>
                    <a:lnTo>
                      <a:pt x="1385" y="124"/>
                    </a:lnTo>
                    <a:lnTo>
                      <a:pt x="1387" y="124"/>
                    </a:lnTo>
                    <a:lnTo>
                      <a:pt x="1387" y="126"/>
                    </a:lnTo>
                    <a:lnTo>
                      <a:pt x="1389" y="126"/>
                    </a:lnTo>
                    <a:lnTo>
                      <a:pt x="1389" y="127"/>
                    </a:lnTo>
                    <a:lnTo>
                      <a:pt x="1389" y="129"/>
                    </a:lnTo>
                    <a:lnTo>
                      <a:pt x="1392" y="134"/>
                    </a:lnTo>
                    <a:lnTo>
                      <a:pt x="1392" y="136"/>
                    </a:lnTo>
                    <a:lnTo>
                      <a:pt x="1392" y="138"/>
                    </a:lnTo>
                    <a:lnTo>
                      <a:pt x="1392" y="141"/>
                    </a:lnTo>
                    <a:lnTo>
                      <a:pt x="1392" y="143"/>
                    </a:lnTo>
                    <a:lnTo>
                      <a:pt x="1392" y="144"/>
                    </a:lnTo>
                    <a:lnTo>
                      <a:pt x="1392" y="146"/>
                    </a:lnTo>
                    <a:lnTo>
                      <a:pt x="1394" y="148"/>
                    </a:lnTo>
                    <a:lnTo>
                      <a:pt x="1395" y="149"/>
                    </a:lnTo>
                    <a:lnTo>
                      <a:pt x="1395" y="151"/>
                    </a:lnTo>
                    <a:lnTo>
                      <a:pt x="1397" y="153"/>
                    </a:lnTo>
                    <a:lnTo>
                      <a:pt x="1397" y="155"/>
                    </a:lnTo>
                    <a:lnTo>
                      <a:pt x="1397" y="160"/>
                    </a:lnTo>
                    <a:lnTo>
                      <a:pt x="1397" y="161"/>
                    </a:lnTo>
                    <a:lnTo>
                      <a:pt x="1399" y="161"/>
                    </a:lnTo>
                    <a:lnTo>
                      <a:pt x="1399" y="163"/>
                    </a:lnTo>
                    <a:lnTo>
                      <a:pt x="1400" y="163"/>
                    </a:lnTo>
                    <a:lnTo>
                      <a:pt x="1400" y="165"/>
                    </a:lnTo>
                    <a:lnTo>
                      <a:pt x="1400" y="166"/>
                    </a:lnTo>
                    <a:lnTo>
                      <a:pt x="1400" y="168"/>
                    </a:lnTo>
                    <a:lnTo>
                      <a:pt x="1402" y="168"/>
                    </a:lnTo>
                    <a:lnTo>
                      <a:pt x="1400" y="170"/>
                    </a:lnTo>
                    <a:lnTo>
                      <a:pt x="1402" y="170"/>
                    </a:lnTo>
                    <a:lnTo>
                      <a:pt x="1400" y="172"/>
                    </a:lnTo>
                    <a:lnTo>
                      <a:pt x="1400" y="173"/>
                    </a:lnTo>
                    <a:lnTo>
                      <a:pt x="1400" y="175"/>
                    </a:lnTo>
                    <a:lnTo>
                      <a:pt x="1402" y="175"/>
                    </a:lnTo>
                    <a:lnTo>
                      <a:pt x="1402" y="177"/>
                    </a:lnTo>
                    <a:lnTo>
                      <a:pt x="1402" y="178"/>
                    </a:lnTo>
                    <a:lnTo>
                      <a:pt x="1402" y="180"/>
                    </a:lnTo>
                    <a:lnTo>
                      <a:pt x="1404" y="180"/>
                    </a:lnTo>
                    <a:lnTo>
                      <a:pt x="1404" y="182"/>
                    </a:lnTo>
                    <a:lnTo>
                      <a:pt x="1404" y="184"/>
                    </a:lnTo>
                    <a:lnTo>
                      <a:pt x="1402" y="184"/>
                    </a:lnTo>
                    <a:lnTo>
                      <a:pt x="1402" y="185"/>
                    </a:lnTo>
                    <a:lnTo>
                      <a:pt x="1404" y="185"/>
                    </a:lnTo>
                    <a:lnTo>
                      <a:pt x="1402" y="187"/>
                    </a:lnTo>
                    <a:lnTo>
                      <a:pt x="1404" y="189"/>
                    </a:lnTo>
                    <a:lnTo>
                      <a:pt x="1402" y="189"/>
                    </a:lnTo>
                    <a:lnTo>
                      <a:pt x="1404" y="189"/>
                    </a:lnTo>
                    <a:lnTo>
                      <a:pt x="1402" y="190"/>
                    </a:lnTo>
                    <a:lnTo>
                      <a:pt x="1402" y="192"/>
                    </a:lnTo>
                    <a:lnTo>
                      <a:pt x="1404" y="192"/>
                    </a:lnTo>
                    <a:lnTo>
                      <a:pt x="1406" y="192"/>
                    </a:lnTo>
                    <a:lnTo>
                      <a:pt x="1414" y="194"/>
                    </a:lnTo>
                    <a:lnTo>
                      <a:pt x="1416" y="194"/>
                    </a:lnTo>
                    <a:lnTo>
                      <a:pt x="1426" y="190"/>
                    </a:lnTo>
                    <a:close/>
                    <a:moveTo>
                      <a:pt x="1378" y="1498"/>
                    </a:moveTo>
                    <a:lnTo>
                      <a:pt x="1378" y="1500"/>
                    </a:lnTo>
                    <a:lnTo>
                      <a:pt x="1378" y="1517"/>
                    </a:lnTo>
                    <a:lnTo>
                      <a:pt x="1378" y="1531"/>
                    </a:lnTo>
                    <a:lnTo>
                      <a:pt x="1378" y="1536"/>
                    </a:lnTo>
                    <a:lnTo>
                      <a:pt x="1378" y="1539"/>
                    </a:lnTo>
                    <a:lnTo>
                      <a:pt x="1378" y="1551"/>
                    </a:lnTo>
                    <a:lnTo>
                      <a:pt x="1377" y="1563"/>
                    </a:lnTo>
                    <a:lnTo>
                      <a:pt x="1377" y="1570"/>
                    </a:lnTo>
                    <a:lnTo>
                      <a:pt x="1377" y="1582"/>
                    </a:lnTo>
                    <a:lnTo>
                      <a:pt x="1377" y="1595"/>
                    </a:lnTo>
                    <a:lnTo>
                      <a:pt x="1377" y="1597"/>
                    </a:lnTo>
                    <a:lnTo>
                      <a:pt x="1377" y="1604"/>
                    </a:lnTo>
                    <a:lnTo>
                      <a:pt x="1377" y="1606"/>
                    </a:lnTo>
                    <a:lnTo>
                      <a:pt x="1377" y="1607"/>
                    </a:lnTo>
                    <a:lnTo>
                      <a:pt x="1377" y="1609"/>
                    </a:lnTo>
                    <a:lnTo>
                      <a:pt x="1377" y="1621"/>
                    </a:lnTo>
                    <a:lnTo>
                      <a:pt x="1377" y="1626"/>
                    </a:lnTo>
                    <a:lnTo>
                      <a:pt x="1375" y="1624"/>
                    </a:lnTo>
                    <a:lnTo>
                      <a:pt x="1373" y="1623"/>
                    </a:lnTo>
                    <a:lnTo>
                      <a:pt x="1372" y="1623"/>
                    </a:lnTo>
                    <a:lnTo>
                      <a:pt x="1372" y="1624"/>
                    </a:lnTo>
                    <a:lnTo>
                      <a:pt x="1373" y="1624"/>
                    </a:lnTo>
                    <a:lnTo>
                      <a:pt x="1373" y="1626"/>
                    </a:lnTo>
                    <a:lnTo>
                      <a:pt x="1375" y="1626"/>
                    </a:lnTo>
                    <a:lnTo>
                      <a:pt x="1375" y="1628"/>
                    </a:lnTo>
                    <a:lnTo>
                      <a:pt x="1373" y="1628"/>
                    </a:lnTo>
                    <a:lnTo>
                      <a:pt x="1372" y="1629"/>
                    </a:lnTo>
                    <a:lnTo>
                      <a:pt x="1370" y="1629"/>
                    </a:lnTo>
                    <a:lnTo>
                      <a:pt x="1368" y="1629"/>
                    </a:lnTo>
                    <a:lnTo>
                      <a:pt x="1366" y="1629"/>
                    </a:lnTo>
                    <a:lnTo>
                      <a:pt x="1365" y="1629"/>
                    </a:lnTo>
                    <a:lnTo>
                      <a:pt x="1365" y="1631"/>
                    </a:lnTo>
                    <a:lnTo>
                      <a:pt x="1363" y="1629"/>
                    </a:lnTo>
                    <a:lnTo>
                      <a:pt x="1361" y="1629"/>
                    </a:lnTo>
                    <a:lnTo>
                      <a:pt x="1360" y="1629"/>
                    </a:lnTo>
                    <a:lnTo>
                      <a:pt x="1358" y="1628"/>
                    </a:lnTo>
                    <a:lnTo>
                      <a:pt x="1356" y="1628"/>
                    </a:lnTo>
                    <a:lnTo>
                      <a:pt x="1355" y="1628"/>
                    </a:lnTo>
                    <a:lnTo>
                      <a:pt x="1353" y="1628"/>
                    </a:lnTo>
                    <a:lnTo>
                      <a:pt x="1351" y="1626"/>
                    </a:lnTo>
                    <a:lnTo>
                      <a:pt x="1349" y="1626"/>
                    </a:lnTo>
                    <a:lnTo>
                      <a:pt x="1348" y="1626"/>
                    </a:lnTo>
                    <a:lnTo>
                      <a:pt x="1348" y="1624"/>
                    </a:lnTo>
                    <a:lnTo>
                      <a:pt x="1346" y="1624"/>
                    </a:lnTo>
                    <a:lnTo>
                      <a:pt x="1344" y="1624"/>
                    </a:lnTo>
                    <a:lnTo>
                      <a:pt x="1343" y="1623"/>
                    </a:lnTo>
                    <a:lnTo>
                      <a:pt x="1343" y="1621"/>
                    </a:lnTo>
                    <a:lnTo>
                      <a:pt x="1344" y="1619"/>
                    </a:lnTo>
                    <a:lnTo>
                      <a:pt x="1344" y="1621"/>
                    </a:lnTo>
                    <a:lnTo>
                      <a:pt x="1344" y="1619"/>
                    </a:lnTo>
                    <a:lnTo>
                      <a:pt x="1344" y="1618"/>
                    </a:lnTo>
                    <a:lnTo>
                      <a:pt x="1344" y="1616"/>
                    </a:lnTo>
                    <a:lnTo>
                      <a:pt x="1344" y="1618"/>
                    </a:lnTo>
                    <a:lnTo>
                      <a:pt x="1344" y="1619"/>
                    </a:lnTo>
                    <a:lnTo>
                      <a:pt x="1343" y="1621"/>
                    </a:lnTo>
                    <a:lnTo>
                      <a:pt x="1343" y="1619"/>
                    </a:lnTo>
                    <a:lnTo>
                      <a:pt x="1343" y="1618"/>
                    </a:lnTo>
                    <a:lnTo>
                      <a:pt x="1341" y="1616"/>
                    </a:lnTo>
                    <a:lnTo>
                      <a:pt x="1341" y="1614"/>
                    </a:lnTo>
                    <a:lnTo>
                      <a:pt x="1341" y="1616"/>
                    </a:lnTo>
                    <a:lnTo>
                      <a:pt x="1341" y="1618"/>
                    </a:lnTo>
                    <a:lnTo>
                      <a:pt x="1343" y="1619"/>
                    </a:lnTo>
                    <a:lnTo>
                      <a:pt x="1341" y="1619"/>
                    </a:lnTo>
                    <a:lnTo>
                      <a:pt x="1341" y="1621"/>
                    </a:lnTo>
                    <a:lnTo>
                      <a:pt x="1343" y="1621"/>
                    </a:lnTo>
                    <a:lnTo>
                      <a:pt x="1343" y="1619"/>
                    </a:lnTo>
                    <a:lnTo>
                      <a:pt x="1343" y="1621"/>
                    </a:lnTo>
                    <a:lnTo>
                      <a:pt x="1343" y="1623"/>
                    </a:lnTo>
                    <a:lnTo>
                      <a:pt x="1341" y="1623"/>
                    </a:lnTo>
                    <a:lnTo>
                      <a:pt x="1339" y="1623"/>
                    </a:lnTo>
                    <a:lnTo>
                      <a:pt x="1339" y="1621"/>
                    </a:lnTo>
                    <a:lnTo>
                      <a:pt x="1339" y="1619"/>
                    </a:lnTo>
                    <a:lnTo>
                      <a:pt x="1341" y="1619"/>
                    </a:lnTo>
                    <a:lnTo>
                      <a:pt x="1341" y="1618"/>
                    </a:lnTo>
                    <a:lnTo>
                      <a:pt x="1339" y="1618"/>
                    </a:lnTo>
                    <a:lnTo>
                      <a:pt x="1339" y="1616"/>
                    </a:lnTo>
                    <a:lnTo>
                      <a:pt x="1339" y="1618"/>
                    </a:lnTo>
                    <a:lnTo>
                      <a:pt x="1341" y="1619"/>
                    </a:lnTo>
                    <a:lnTo>
                      <a:pt x="1339" y="1619"/>
                    </a:lnTo>
                    <a:lnTo>
                      <a:pt x="1339" y="1621"/>
                    </a:lnTo>
                    <a:lnTo>
                      <a:pt x="1339" y="1623"/>
                    </a:lnTo>
                    <a:lnTo>
                      <a:pt x="1338" y="1623"/>
                    </a:lnTo>
                    <a:lnTo>
                      <a:pt x="1336" y="1623"/>
                    </a:lnTo>
                    <a:lnTo>
                      <a:pt x="1334" y="1623"/>
                    </a:lnTo>
                    <a:lnTo>
                      <a:pt x="1332" y="1623"/>
                    </a:lnTo>
                    <a:lnTo>
                      <a:pt x="1332" y="1621"/>
                    </a:lnTo>
                    <a:lnTo>
                      <a:pt x="1332" y="1619"/>
                    </a:lnTo>
                    <a:lnTo>
                      <a:pt x="1332" y="1618"/>
                    </a:lnTo>
                    <a:lnTo>
                      <a:pt x="1332" y="1616"/>
                    </a:lnTo>
                    <a:lnTo>
                      <a:pt x="1332" y="1618"/>
                    </a:lnTo>
                    <a:lnTo>
                      <a:pt x="1332" y="1619"/>
                    </a:lnTo>
                    <a:lnTo>
                      <a:pt x="1332" y="1621"/>
                    </a:lnTo>
                    <a:lnTo>
                      <a:pt x="1332" y="1623"/>
                    </a:lnTo>
                    <a:lnTo>
                      <a:pt x="1332" y="1624"/>
                    </a:lnTo>
                    <a:lnTo>
                      <a:pt x="1331" y="1624"/>
                    </a:lnTo>
                    <a:lnTo>
                      <a:pt x="1329" y="1624"/>
                    </a:lnTo>
                    <a:lnTo>
                      <a:pt x="1327" y="1624"/>
                    </a:lnTo>
                    <a:lnTo>
                      <a:pt x="1329" y="1623"/>
                    </a:lnTo>
                    <a:lnTo>
                      <a:pt x="1329" y="1621"/>
                    </a:lnTo>
                    <a:lnTo>
                      <a:pt x="1327" y="1623"/>
                    </a:lnTo>
                    <a:lnTo>
                      <a:pt x="1327" y="1621"/>
                    </a:lnTo>
                    <a:lnTo>
                      <a:pt x="1327" y="1623"/>
                    </a:lnTo>
                    <a:lnTo>
                      <a:pt x="1326" y="1624"/>
                    </a:lnTo>
                    <a:lnTo>
                      <a:pt x="1324" y="1624"/>
                    </a:lnTo>
                    <a:lnTo>
                      <a:pt x="1324" y="1623"/>
                    </a:lnTo>
                    <a:lnTo>
                      <a:pt x="1324" y="1624"/>
                    </a:lnTo>
                    <a:lnTo>
                      <a:pt x="1326" y="1624"/>
                    </a:lnTo>
                    <a:lnTo>
                      <a:pt x="1324" y="1624"/>
                    </a:lnTo>
                    <a:lnTo>
                      <a:pt x="1322" y="1624"/>
                    </a:lnTo>
                    <a:lnTo>
                      <a:pt x="1321" y="1624"/>
                    </a:lnTo>
                    <a:lnTo>
                      <a:pt x="1321" y="1623"/>
                    </a:lnTo>
                    <a:lnTo>
                      <a:pt x="1321" y="1621"/>
                    </a:lnTo>
                    <a:lnTo>
                      <a:pt x="1321" y="1619"/>
                    </a:lnTo>
                    <a:lnTo>
                      <a:pt x="1322" y="1618"/>
                    </a:lnTo>
                    <a:lnTo>
                      <a:pt x="1324" y="1616"/>
                    </a:lnTo>
                    <a:lnTo>
                      <a:pt x="1326" y="1614"/>
                    </a:lnTo>
                    <a:lnTo>
                      <a:pt x="1324" y="1614"/>
                    </a:lnTo>
                    <a:lnTo>
                      <a:pt x="1322" y="1614"/>
                    </a:lnTo>
                    <a:lnTo>
                      <a:pt x="1322" y="1616"/>
                    </a:lnTo>
                    <a:lnTo>
                      <a:pt x="1322" y="1618"/>
                    </a:lnTo>
                    <a:lnTo>
                      <a:pt x="1321" y="1618"/>
                    </a:lnTo>
                    <a:lnTo>
                      <a:pt x="1321" y="1619"/>
                    </a:lnTo>
                    <a:lnTo>
                      <a:pt x="1321" y="1621"/>
                    </a:lnTo>
                    <a:lnTo>
                      <a:pt x="1319" y="1623"/>
                    </a:lnTo>
                    <a:lnTo>
                      <a:pt x="1319" y="1624"/>
                    </a:lnTo>
                    <a:lnTo>
                      <a:pt x="1319" y="1623"/>
                    </a:lnTo>
                    <a:lnTo>
                      <a:pt x="1317" y="1623"/>
                    </a:lnTo>
                    <a:lnTo>
                      <a:pt x="1315" y="1621"/>
                    </a:lnTo>
                    <a:lnTo>
                      <a:pt x="1314" y="1621"/>
                    </a:lnTo>
                    <a:lnTo>
                      <a:pt x="1312" y="1621"/>
                    </a:lnTo>
                    <a:lnTo>
                      <a:pt x="1312" y="1619"/>
                    </a:lnTo>
                    <a:lnTo>
                      <a:pt x="1310" y="1619"/>
                    </a:lnTo>
                    <a:lnTo>
                      <a:pt x="1312" y="1619"/>
                    </a:lnTo>
                    <a:lnTo>
                      <a:pt x="1310" y="1619"/>
                    </a:lnTo>
                    <a:lnTo>
                      <a:pt x="1310" y="1621"/>
                    </a:lnTo>
                    <a:lnTo>
                      <a:pt x="1309" y="1621"/>
                    </a:lnTo>
                    <a:lnTo>
                      <a:pt x="1309" y="1623"/>
                    </a:lnTo>
                    <a:lnTo>
                      <a:pt x="1307" y="1621"/>
                    </a:lnTo>
                    <a:lnTo>
                      <a:pt x="1307" y="1623"/>
                    </a:lnTo>
                    <a:lnTo>
                      <a:pt x="1307" y="1624"/>
                    </a:lnTo>
                    <a:lnTo>
                      <a:pt x="1307" y="1623"/>
                    </a:lnTo>
                    <a:lnTo>
                      <a:pt x="1305" y="1623"/>
                    </a:lnTo>
                    <a:lnTo>
                      <a:pt x="1304" y="1623"/>
                    </a:lnTo>
                    <a:lnTo>
                      <a:pt x="1302" y="1623"/>
                    </a:lnTo>
                    <a:lnTo>
                      <a:pt x="1304" y="1621"/>
                    </a:lnTo>
                    <a:lnTo>
                      <a:pt x="1304" y="1619"/>
                    </a:lnTo>
                    <a:lnTo>
                      <a:pt x="1304" y="1621"/>
                    </a:lnTo>
                    <a:lnTo>
                      <a:pt x="1304" y="1619"/>
                    </a:lnTo>
                    <a:lnTo>
                      <a:pt x="1305" y="1619"/>
                    </a:lnTo>
                    <a:lnTo>
                      <a:pt x="1307" y="1619"/>
                    </a:lnTo>
                    <a:lnTo>
                      <a:pt x="1309" y="1618"/>
                    </a:lnTo>
                    <a:lnTo>
                      <a:pt x="1310" y="1618"/>
                    </a:lnTo>
                    <a:lnTo>
                      <a:pt x="1310" y="1616"/>
                    </a:lnTo>
                    <a:lnTo>
                      <a:pt x="1312" y="1616"/>
                    </a:lnTo>
                    <a:lnTo>
                      <a:pt x="1314" y="1616"/>
                    </a:lnTo>
                    <a:lnTo>
                      <a:pt x="1314" y="1614"/>
                    </a:lnTo>
                    <a:lnTo>
                      <a:pt x="1315" y="1614"/>
                    </a:lnTo>
                    <a:lnTo>
                      <a:pt x="1315" y="1612"/>
                    </a:lnTo>
                    <a:lnTo>
                      <a:pt x="1317" y="1612"/>
                    </a:lnTo>
                    <a:lnTo>
                      <a:pt x="1317" y="1611"/>
                    </a:lnTo>
                    <a:lnTo>
                      <a:pt x="1315" y="1611"/>
                    </a:lnTo>
                    <a:lnTo>
                      <a:pt x="1314" y="1611"/>
                    </a:lnTo>
                    <a:lnTo>
                      <a:pt x="1312" y="1611"/>
                    </a:lnTo>
                    <a:lnTo>
                      <a:pt x="1312" y="1612"/>
                    </a:lnTo>
                    <a:lnTo>
                      <a:pt x="1310" y="1614"/>
                    </a:lnTo>
                    <a:lnTo>
                      <a:pt x="1312" y="1614"/>
                    </a:lnTo>
                    <a:lnTo>
                      <a:pt x="1312" y="1616"/>
                    </a:lnTo>
                    <a:lnTo>
                      <a:pt x="1310" y="1616"/>
                    </a:lnTo>
                    <a:lnTo>
                      <a:pt x="1309" y="1616"/>
                    </a:lnTo>
                    <a:lnTo>
                      <a:pt x="1309" y="1618"/>
                    </a:lnTo>
                    <a:lnTo>
                      <a:pt x="1307" y="1618"/>
                    </a:lnTo>
                    <a:lnTo>
                      <a:pt x="1307" y="1616"/>
                    </a:lnTo>
                    <a:lnTo>
                      <a:pt x="1305" y="1616"/>
                    </a:lnTo>
                    <a:lnTo>
                      <a:pt x="1305" y="1618"/>
                    </a:lnTo>
                    <a:lnTo>
                      <a:pt x="1304" y="1618"/>
                    </a:lnTo>
                    <a:lnTo>
                      <a:pt x="1305" y="1618"/>
                    </a:lnTo>
                    <a:lnTo>
                      <a:pt x="1304" y="1619"/>
                    </a:lnTo>
                    <a:lnTo>
                      <a:pt x="1304" y="1618"/>
                    </a:lnTo>
                    <a:lnTo>
                      <a:pt x="1302" y="1619"/>
                    </a:lnTo>
                    <a:lnTo>
                      <a:pt x="1302" y="1618"/>
                    </a:lnTo>
                    <a:lnTo>
                      <a:pt x="1300" y="1618"/>
                    </a:lnTo>
                    <a:lnTo>
                      <a:pt x="1298" y="1618"/>
                    </a:lnTo>
                    <a:lnTo>
                      <a:pt x="1300" y="1618"/>
                    </a:lnTo>
                    <a:lnTo>
                      <a:pt x="1300" y="1616"/>
                    </a:lnTo>
                    <a:lnTo>
                      <a:pt x="1302" y="1616"/>
                    </a:lnTo>
                    <a:lnTo>
                      <a:pt x="1304" y="1614"/>
                    </a:lnTo>
                    <a:lnTo>
                      <a:pt x="1305" y="1614"/>
                    </a:lnTo>
                    <a:lnTo>
                      <a:pt x="1304" y="1614"/>
                    </a:lnTo>
                    <a:lnTo>
                      <a:pt x="1302" y="1614"/>
                    </a:lnTo>
                    <a:lnTo>
                      <a:pt x="1302" y="1612"/>
                    </a:lnTo>
                    <a:lnTo>
                      <a:pt x="1300" y="1612"/>
                    </a:lnTo>
                    <a:lnTo>
                      <a:pt x="1300" y="1614"/>
                    </a:lnTo>
                    <a:lnTo>
                      <a:pt x="1298" y="1614"/>
                    </a:lnTo>
                    <a:lnTo>
                      <a:pt x="1300" y="1614"/>
                    </a:lnTo>
                    <a:lnTo>
                      <a:pt x="1300" y="1616"/>
                    </a:lnTo>
                    <a:lnTo>
                      <a:pt x="1298" y="1618"/>
                    </a:lnTo>
                    <a:lnTo>
                      <a:pt x="1298" y="1619"/>
                    </a:lnTo>
                    <a:lnTo>
                      <a:pt x="1297" y="1619"/>
                    </a:lnTo>
                    <a:lnTo>
                      <a:pt x="1295" y="1618"/>
                    </a:lnTo>
                    <a:lnTo>
                      <a:pt x="1297" y="1618"/>
                    </a:lnTo>
                    <a:lnTo>
                      <a:pt x="1297" y="1616"/>
                    </a:lnTo>
                    <a:lnTo>
                      <a:pt x="1298" y="1616"/>
                    </a:lnTo>
                    <a:lnTo>
                      <a:pt x="1298" y="1614"/>
                    </a:lnTo>
                    <a:lnTo>
                      <a:pt x="1300" y="1614"/>
                    </a:lnTo>
                    <a:lnTo>
                      <a:pt x="1298" y="1614"/>
                    </a:lnTo>
                    <a:lnTo>
                      <a:pt x="1297" y="1614"/>
                    </a:lnTo>
                    <a:lnTo>
                      <a:pt x="1297" y="1616"/>
                    </a:lnTo>
                    <a:lnTo>
                      <a:pt x="1297" y="1614"/>
                    </a:lnTo>
                    <a:lnTo>
                      <a:pt x="1298" y="1614"/>
                    </a:lnTo>
                    <a:lnTo>
                      <a:pt x="1298" y="1612"/>
                    </a:lnTo>
                    <a:lnTo>
                      <a:pt x="1297" y="1612"/>
                    </a:lnTo>
                    <a:lnTo>
                      <a:pt x="1298" y="1612"/>
                    </a:lnTo>
                    <a:lnTo>
                      <a:pt x="1298" y="1611"/>
                    </a:lnTo>
                    <a:lnTo>
                      <a:pt x="1300" y="1611"/>
                    </a:lnTo>
                    <a:lnTo>
                      <a:pt x="1298" y="1611"/>
                    </a:lnTo>
                    <a:lnTo>
                      <a:pt x="1297" y="1611"/>
                    </a:lnTo>
                    <a:lnTo>
                      <a:pt x="1297" y="1609"/>
                    </a:lnTo>
                    <a:lnTo>
                      <a:pt x="1295" y="1609"/>
                    </a:lnTo>
                    <a:lnTo>
                      <a:pt x="1297" y="1611"/>
                    </a:lnTo>
                    <a:lnTo>
                      <a:pt x="1295" y="1612"/>
                    </a:lnTo>
                    <a:lnTo>
                      <a:pt x="1295" y="1611"/>
                    </a:lnTo>
                    <a:lnTo>
                      <a:pt x="1293" y="1612"/>
                    </a:lnTo>
                    <a:lnTo>
                      <a:pt x="1293" y="1614"/>
                    </a:lnTo>
                    <a:lnTo>
                      <a:pt x="1292" y="1614"/>
                    </a:lnTo>
                    <a:lnTo>
                      <a:pt x="1290" y="1614"/>
                    </a:lnTo>
                    <a:lnTo>
                      <a:pt x="1292" y="1614"/>
                    </a:lnTo>
                    <a:lnTo>
                      <a:pt x="1290" y="1612"/>
                    </a:lnTo>
                    <a:lnTo>
                      <a:pt x="1288" y="1614"/>
                    </a:lnTo>
                    <a:lnTo>
                      <a:pt x="1288" y="1612"/>
                    </a:lnTo>
                    <a:lnTo>
                      <a:pt x="1287" y="1612"/>
                    </a:lnTo>
                    <a:lnTo>
                      <a:pt x="1287" y="1611"/>
                    </a:lnTo>
                    <a:lnTo>
                      <a:pt x="1288" y="1611"/>
                    </a:lnTo>
                    <a:lnTo>
                      <a:pt x="1290" y="1612"/>
                    </a:lnTo>
                    <a:lnTo>
                      <a:pt x="1290" y="1611"/>
                    </a:lnTo>
                    <a:lnTo>
                      <a:pt x="1292" y="1611"/>
                    </a:lnTo>
                    <a:lnTo>
                      <a:pt x="1293" y="1611"/>
                    </a:lnTo>
                    <a:lnTo>
                      <a:pt x="1292" y="1611"/>
                    </a:lnTo>
                    <a:lnTo>
                      <a:pt x="1290" y="1611"/>
                    </a:lnTo>
                    <a:lnTo>
                      <a:pt x="1288" y="1609"/>
                    </a:lnTo>
                    <a:lnTo>
                      <a:pt x="1288" y="1607"/>
                    </a:lnTo>
                    <a:lnTo>
                      <a:pt x="1290" y="1607"/>
                    </a:lnTo>
                    <a:lnTo>
                      <a:pt x="1292" y="1607"/>
                    </a:lnTo>
                    <a:lnTo>
                      <a:pt x="1290" y="1607"/>
                    </a:lnTo>
                    <a:lnTo>
                      <a:pt x="1288" y="1607"/>
                    </a:lnTo>
                    <a:lnTo>
                      <a:pt x="1290" y="1606"/>
                    </a:lnTo>
                    <a:lnTo>
                      <a:pt x="1288" y="1606"/>
                    </a:lnTo>
                    <a:lnTo>
                      <a:pt x="1290" y="1604"/>
                    </a:lnTo>
                    <a:lnTo>
                      <a:pt x="1288" y="1606"/>
                    </a:lnTo>
                    <a:lnTo>
                      <a:pt x="1288" y="1607"/>
                    </a:lnTo>
                    <a:lnTo>
                      <a:pt x="1287" y="1607"/>
                    </a:lnTo>
                    <a:lnTo>
                      <a:pt x="1287" y="1606"/>
                    </a:lnTo>
                    <a:lnTo>
                      <a:pt x="1287" y="1604"/>
                    </a:lnTo>
                    <a:lnTo>
                      <a:pt x="1287" y="1606"/>
                    </a:lnTo>
                    <a:lnTo>
                      <a:pt x="1287" y="1607"/>
                    </a:lnTo>
                    <a:lnTo>
                      <a:pt x="1285" y="1606"/>
                    </a:lnTo>
                    <a:lnTo>
                      <a:pt x="1283" y="1604"/>
                    </a:lnTo>
                    <a:lnTo>
                      <a:pt x="1285" y="1606"/>
                    </a:lnTo>
                    <a:lnTo>
                      <a:pt x="1285" y="1607"/>
                    </a:lnTo>
                    <a:lnTo>
                      <a:pt x="1283" y="1606"/>
                    </a:lnTo>
                    <a:lnTo>
                      <a:pt x="1283" y="1607"/>
                    </a:lnTo>
                    <a:lnTo>
                      <a:pt x="1285" y="1607"/>
                    </a:lnTo>
                    <a:lnTo>
                      <a:pt x="1287" y="1607"/>
                    </a:lnTo>
                    <a:lnTo>
                      <a:pt x="1287" y="1609"/>
                    </a:lnTo>
                    <a:lnTo>
                      <a:pt x="1287" y="1611"/>
                    </a:lnTo>
                    <a:lnTo>
                      <a:pt x="1285" y="1609"/>
                    </a:lnTo>
                    <a:lnTo>
                      <a:pt x="1287" y="1609"/>
                    </a:lnTo>
                    <a:lnTo>
                      <a:pt x="1285" y="1609"/>
                    </a:lnTo>
                    <a:lnTo>
                      <a:pt x="1283" y="1609"/>
                    </a:lnTo>
                    <a:lnTo>
                      <a:pt x="1285" y="1609"/>
                    </a:lnTo>
                    <a:lnTo>
                      <a:pt x="1285" y="1611"/>
                    </a:lnTo>
                    <a:lnTo>
                      <a:pt x="1285" y="1612"/>
                    </a:lnTo>
                    <a:lnTo>
                      <a:pt x="1283" y="1612"/>
                    </a:lnTo>
                    <a:lnTo>
                      <a:pt x="1283" y="1611"/>
                    </a:lnTo>
                    <a:lnTo>
                      <a:pt x="1281" y="1611"/>
                    </a:lnTo>
                    <a:lnTo>
                      <a:pt x="1283" y="1612"/>
                    </a:lnTo>
                    <a:lnTo>
                      <a:pt x="1281" y="1612"/>
                    </a:lnTo>
                    <a:lnTo>
                      <a:pt x="1281" y="1614"/>
                    </a:lnTo>
                    <a:lnTo>
                      <a:pt x="1280" y="1614"/>
                    </a:lnTo>
                    <a:lnTo>
                      <a:pt x="1280" y="1612"/>
                    </a:lnTo>
                    <a:lnTo>
                      <a:pt x="1280" y="1611"/>
                    </a:lnTo>
                    <a:lnTo>
                      <a:pt x="1280" y="1609"/>
                    </a:lnTo>
                    <a:lnTo>
                      <a:pt x="1281" y="1609"/>
                    </a:lnTo>
                    <a:lnTo>
                      <a:pt x="1281" y="1607"/>
                    </a:lnTo>
                    <a:lnTo>
                      <a:pt x="1280" y="1609"/>
                    </a:lnTo>
                    <a:lnTo>
                      <a:pt x="1280" y="1611"/>
                    </a:lnTo>
                    <a:lnTo>
                      <a:pt x="1280" y="1612"/>
                    </a:lnTo>
                    <a:lnTo>
                      <a:pt x="1280" y="1611"/>
                    </a:lnTo>
                    <a:lnTo>
                      <a:pt x="1278" y="1612"/>
                    </a:lnTo>
                    <a:lnTo>
                      <a:pt x="1278" y="1611"/>
                    </a:lnTo>
                    <a:lnTo>
                      <a:pt x="1278" y="1609"/>
                    </a:lnTo>
                    <a:lnTo>
                      <a:pt x="1278" y="1611"/>
                    </a:lnTo>
                    <a:lnTo>
                      <a:pt x="1276" y="1611"/>
                    </a:lnTo>
                    <a:lnTo>
                      <a:pt x="1276" y="1609"/>
                    </a:lnTo>
                    <a:lnTo>
                      <a:pt x="1278" y="1609"/>
                    </a:lnTo>
                    <a:lnTo>
                      <a:pt x="1278" y="1607"/>
                    </a:lnTo>
                    <a:lnTo>
                      <a:pt x="1278" y="1609"/>
                    </a:lnTo>
                    <a:lnTo>
                      <a:pt x="1276" y="1607"/>
                    </a:lnTo>
                    <a:lnTo>
                      <a:pt x="1276" y="1609"/>
                    </a:lnTo>
                    <a:lnTo>
                      <a:pt x="1275" y="1611"/>
                    </a:lnTo>
                    <a:lnTo>
                      <a:pt x="1276" y="1611"/>
                    </a:lnTo>
                    <a:lnTo>
                      <a:pt x="1275" y="1612"/>
                    </a:lnTo>
                    <a:lnTo>
                      <a:pt x="1275" y="1611"/>
                    </a:lnTo>
                    <a:lnTo>
                      <a:pt x="1275" y="1609"/>
                    </a:lnTo>
                    <a:lnTo>
                      <a:pt x="1276" y="1609"/>
                    </a:lnTo>
                    <a:lnTo>
                      <a:pt x="1276" y="1607"/>
                    </a:lnTo>
                    <a:lnTo>
                      <a:pt x="1275" y="1609"/>
                    </a:lnTo>
                    <a:lnTo>
                      <a:pt x="1273" y="1609"/>
                    </a:lnTo>
                    <a:lnTo>
                      <a:pt x="1271" y="1607"/>
                    </a:lnTo>
                    <a:lnTo>
                      <a:pt x="1273" y="1609"/>
                    </a:lnTo>
                    <a:lnTo>
                      <a:pt x="1271" y="1611"/>
                    </a:lnTo>
                    <a:lnTo>
                      <a:pt x="1271" y="1609"/>
                    </a:lnTo>
                    <a:lnTo>
                      <a:pt x="1270" y="1607"/>
                    </a:lnTo>
                    <a:lnTo>
                      <a:pt x="1270" y="1609"/>
                    </a:lnTo>
                    <a:lnTo>
                      <a:pt x="1271" y="1611"/>
                    </a:lnTo>
                    <a:lnTo>
                      <a:pt x="1270" y="1611"/>
                    </a:lnTo>
                    <a:lnTo>
                      <a:pt x="1268" y="1611"/>
                    </a:lnTo>
                    <a:lnTo>
                      <a:pt x="1266" y="1611"/>
                    </a:lnTo>
                    <a:lnTo>
                      <a:pt x="1264" y="1609"/>
                    </a:lnTo>
                    <a:lnTo>
                      <a:pt x="1266" y="1609"/>
                    </a:lnTo>
                    <a:lnTo>
                      <a:pt x="1268" y="1609"/>
                    </a:lnTo>
                    <a:lnTo>
                      <a:pt x="1268" y="1607"/>
                    </a:lnTo>
                    <a:lnTo>
                      <a:pt x="1266" y="1607"/>
                    </a:lnTo>
                    <a:lnTo>
                      <a:pt x="1266" y="1606"/>
                    </a:lnTo>
                    <a:lnTo>
                      <a:pt x="1264" y="1607"/>
                    </a:lnTo>
                    <a:lnTo>
                      <a:pt x="1264" y="1606"/>
                    </a:lnTo>
                    <a:lnTo>
                      <a:pt x="1264" y="1604"/>
                    </a:lnTo>
                    <a:lnTo>
                      <a:pt x="1263" y="1604"/>
                    </a:lnTo>
                    <a:lnTo>
                      <a:pt x="1264" y="1602"/>
                    </a:lnTo>
                    <a:lnTo>
                      <a:pt x="1264" y="1604"/>
                    </a:lnTo>
                    <a:lnTo>
                      <a:pt x="1266" y="1606"/>
                    </a:lnTo>
                    <a:lnTo>
                      <a:pt x="1264" y="1604"/>
                    </a:lnTo>
                    <a:lnTo>
                      <a:pt x="1264" y="1602"/>
                    </a:lnTo>
                    <a:lnTo>
                      <a:pt x="1266" y="1604"/>
                    </a:lnTo>
                    <a:lnTo>
                      <a:pt x="1264" y="1602"/>
                    </a:lnTo>
                    <a:lnTo>
                      <a:pt x="1264" y="1600"/>
                    </a:lnTo>
                    <a:lnTo>
                      <a:pt x="1266" y="1600"/>
                    </a:lnTo>
                    <a:lnTo>
                      <a:pt x="1268" y="1600"/>
                    </a:lnTo>
                    <a:lnTo>
                      <a:pt x="1268" y="1602"/>
                    </a:lnTo>
                    <a:lnTo>
                      <a:pt x="1268" y="1604"/>
                    </a:lnTo>
                    <a:lnTo>
                      <a:pt x="1268" y="1602"/>
                    </a:lnTo>
                    <a:lnTo>
                      <a:pt x="1268" y="1600"/>
                    </a:lnTo>
                    <a:lnTo>
                      <a:pt x="1270" y="1602"/>
                    </a:lnTo>
                    <a:lnTo>
                      <a:pt x="1270" y="1604"/>
                    </a:lnTo>
                    <a:lnTo>
                      <a:pt x="1270" y="1606"/>
                    </a:lnTo>
                    <a:lnTo>
                      <a:pt x="1271" y="1606"/>
                    </a:lnTo>
                    <a:lnTo>
                      <a:pt x="1273" y="1606"/>
                    </a:lnTo>
                    <a:lnTo>
                      <a:pt x="1275" y="1607"/>
                    </a:lnTo>
                    <a:lnTo>
                      <a:pt x="1275" y="1606"/>
                    </a:lnTo>
                    <a:lnTo>
                      <a:pt x="1273" y="1606"/>
                    </a:lnTo>
                    <a:lnTo>
                      <a:pt x="1275" y="1606"/>
                    </a:lnTo>
                    <a:lnTo>
                      <a:pt x="1273" y="1604"/>
                    </a:lnTo>
                    <a:lnTo>
                      <a:pt x="1271" y="1602"/>
                    </a:lnTo>
                    <a:lnTo>
                      <a:pt x="1273" y="1602"/>
                    </a:lnTo>
                    <a:lnTo>
                      <a:pt x="1275" y="1604"/>
                    </a:lnTo>
                    <a:lnTo>
                      <a:pt x="1276" y="1604"/>
                    </a:lnTo>
                    <a:lnTo>
                      <a:pt x="1276" y="1606"/>
                    </a:lnTo>
                    <a:lnTo>
                      <a:pt x="1276" y="1604"/>
                    </a:lnTo>
                    <a:lnTo>
                      <a:pt x="1278" y="1606"/>
                    </a:lnTo>
                    <a:lnTo>
                      <a:pt x="1280" y="1606"/>
                    </a:lnTo>
                    <a:lnTo>
                      <a:pt x="1278" y="1604"/>
                    </a:lnTo>
                    <a:lnTo>
                      <a:pt x="1276" y="1604"/>
                    </a:lnTo>
                    <a:lnTo>
                      <a:pt x="1275" y="1604"/>
                    </a:lnTo>
                    <a:lnTo>
                      <a:pt x="1276" y="1602"/>
                    </a:lnTo>
                    <a:lnTo>
                      <a:pt x="1275" y="1602"/>
                    </a:lnTo>
                    <a:lnTo>
                      <a:pt x="1273" y="1602"/>
                    </a:lnTo>
                    <a:lnTo>
                      <a:pt x="1275" y="1600"/>
                    </a:lnTo>
                    <a:lnTo>
                      <a:pt x="1273" y="1600"/>
                    </a:lnTo>
                    <a:lnTo>
                      <a:pt x="1271" y="1600"/>
                    </a:lnTo>
                    <a:lnTo>
                      <a:pt x="1270" y="1600"/>
                    </a:lnTo>
                    <a:lnTo>
                      <a:pt x="1268" y="1600"/>
                    </a:lnTo>
                    <a:lnTo>
                      <a:pt x="1268" y="1599"/>
                    </a:lnTo>
                    <a:lnTo>
                      <a:pt x="1270" y="1599"/>
                    </a:lnTo>
                    <a:lnTo>
                      <a:pt x="1271" y="1600"/>
                    </a:lnTo>
                    <a:lnTo>
                      <a:pt x="1270" y="1599"/>
                    </a:lnTo>
                    <a:lnTo>
                      <a:pt x="1271" y="1599"/>
                    </a:lnTo>
                    <a:lnTo>
                      <a:pt x="1270" y="1599"/>
                    </a:lnTo>
                    <a:lnTo>
                      <a:pt x="1270" y="1597"/>
                    </a:lnTo>
                    <a:lnTo>
                      <a:pt x="1271" y="1599"/>
                    </a:lnTo>
                    <a:lnTo>
                      <a:pt x="1270" y="1597"/>
                    </a:lnTo>
                    <a:lnTo>
                      <a:pt x="1271" y="1597"/>
                    </a:lnTo>
                    <a:lnTo>
                      <a:pt x="1273" y="1597"/>
                    </a:lnTo>
                    <a:lnTo>
                      <a:pt x="1273" y="1599"/>
                    </a:lnTo>
                    <a:lnTo>
                      <a:pt x="1275" y="1599"/>
                    </a:lnTo>
                    <a:lnTo>
                      <a:pt x="1275" y="1600"/>
                    </a:lnTo>
                    <a:lnTo>
                      <a:pt x="1276" y="1600"/>
                    </a:lnTo>
                    <a:lnTo>
                      <a:pt x="1276" y="1602"/>
                    </a:lnTo>
                    <a:lnTo>
                      <a:pt x="1278" y="1602"/>
                    </a:lnTo>
                    <a:lnTo>
                      <a:pt x="1278" y="1604"/>
                    </a:lnTo>
                    <a:lnTo>
                      <a:pt x="1280" y="1604"/>
                    </a:lnTo>
                    <a:lnTo>
                      <a:pt x="1280" y="1602"/>
                    </a:lnTo>
                    <a:lnTo>
                      <a:pt x="1278" y="1602"/>
                    </a:lnTo>
                    <a:lnTo>
                      <a:pt x="1280" y="1602"/>
                    </a:lnTo>
                    <a:lnTo>
                      <a:pt x="1281" y="1602"/>
                    </a:lnTo>
                    <a:lnTo>
                      <a:pt x="1280" y="1602"/>
                    </a:lnTo>
                    <a:lnTo>
                      <a:pt x="1278" y="1600"/>
                    </a:lnTo>
                    <a:lnTo>
                      <a:pt x="1276" y="1600"/>
                    </a:lnTo>
                    <a:lnTo>
                      <a:pt x="1278" y="1600"/>
                    </a:lnTo>
                    <a:lnTo>
                      <a:pt x="1278" y="1599"/>
                    </a:lnTo>
                    <a:lnTo>
                      <a:pt x="1276" y="1597"/>
                    </a:lnTo>
                    <a:lnTo>
                      <a:pt x="1278" y="1597"/>
                    </a:lnTo>
                    <a:lnTo>
                      <a:pt x="1278" y="1599"/>
                    </a:lnTo>
                    <a:lnTo>
                      <a:pt x="1280" y="1599"/>
                    </a:lnTo>
                    <a:lnTo>
                      <a:pt x="1280" y="1597"/>
                    </a:lnTo>
                    <a:lnTo>
                      <a:pt x="1280" y="1599"/>
                    </a:lnTo>
                    <a:lnTo>
                      <a:pt x="1278" y="1597"/>
                    </a:lnTo>
                    <a:lnTo>
                      <a:pt x="1280" y="1597"/>
                    </a:lnTo>
                    <a:lnTo>
                      <a:pt x="1280" y="1599"/>
                    </a:lnTo>
                    <a:lnTo>
                      <a:pt x="1281" y="1599"/>
                    </a:lnTo>
                    <a:lnTo>
                      <a:pt x="1283" y="1599"/>
                    </a:lnTo>
                    <a:lnTo>
                      <a:pt x="1281" y="1599"/>
                    </a:lnTo>
                    <a:lnTo>
                      <a:pt x="1283" y="1599"/>
                    </a:lnTo>
                    <a:lnTo>
                      <a:pt x="1285" y="1599"/>
                    </a:lnTo>
                    <a:lnTo>
                      <a:pt x="1285" y="1600"/>
                    </a:lnTo>
                    <a:lnTo>
                      <a:pt x="1285" y="1599"/>
                    </a:lnTo>
                    <a:lnTo>
                      <a:pt x="1287" y="1599"/>
                    </a:lnTo>
                    <a:lnTo>
                      <a:pt x="1285" y="1599"/>
                    </a:lnTo>
                    <a:lnTo>
                      <a:pt x="1283" y="1599"/>
                    </a:lnTo>
                    <a:lnTo>
                      <a:pt x="1283" y="1597"/>
                    </a:lnTo>
                    <a:lnTo>
                      <a:pt x="1285" y="1597"/>
                    </a:lnTo>
                    <a:lnTo>
                      <a:pt x="1283" y="1595"/>
                    </a:lnTo>
                    <a:lnTo>
                      <a:pt x="1285" y="1597"/>
                    </a:lnTo>
                    <a:lnTo>
                      <a:pt x="1285" y="1595"/>
                    </a:lnTo>
                    <a:lnTo>
                      <a:pt x="1287" y="1595"/>
                    </a:lnTo>
                    <a:lnTo>
                      <a:pt x="1287" y="1597"/>
                    </a:lnTo>
                    <a:lnTo>
                      <a:pt x="1288" y="1597"/>
                    </a:lnTo>
                    <a:lnTo>
                      <a:pt x="1290" y="1599"/>
                    </a:lnTo>
                    <a:lnTo>
                      <a:pt x="1292" y="1599"/>
                    </a:lnTo>
                    <a:lnTo>
                      <a:pt x="1290" y="1599"/>
                    </a:lnTo>
                    <a:lnTo>
                      <a:pt x="1290" y="1600"/>
                    </a:lnTo>
                    <a:lnTo>
                      <a:pt x="1292" y="1600"/>
                    </a:lnTo>
                    <a:lnTo>
                      <a:pt x="1292" y="1599"/>
                    </a:lnTo>
                    <a:lnTo>
                      <a:pt x="1293" y="1599"/>
                    </a:lnTo>
                    <a:lnTo>
                      <a:pt x="1292" y="1600"/>
                    </a:lnTo>
                    <a:lnTo>
                      <a:pt x="1293" y="1600"/>
                    </a:lnTo>
                    <a:lnTo>
                      <a:pt x="1293" y="1602"/>
                    </a:lnTo>
                    <a:lnTo>
                      <a:pt x="1293" y="1600"/>
                    </a:lnTo>
                    <a:lnTo>
                      <a:pt x="1293" y="1599"/>
                    </a:lnTo>
                    <a:lnTo>
                      <a:pt x="1295" y="1600"/>
                    </a:lnTo>
                    <a:lnTo>
                      <a:pt x="1297" y="1600"/>
                    </a:lnTo>
                    <a:lnTo>
                      <a:pt x="1298" y="1600"/>
                    </a:lnTo>
                    <a:lnTo>
                      <a:pt x="1298" y="1602"/>
                    </a:lnTo>
                    <a:lnTo>
                      <a:pt x="1298" y="1604"/>
                    </a:lnTo>
                    <a:lnTo>
                      <a:pt x="1300" y="1604"/>
                    </a:lnTo>
                    <a:lnTo>
                      <a:pt x="1300" y="1602"/>
                    </a:lnTo>
                    <a:lnTo>
                      <a:pt x="1300" y="1600"/>
                    </a:lnTo>
                    <a:lnTo>
                      <a:pt x="1298" y="1600"/>
                    </a:lnTo>
                    <a:lnTo>
                      <a:pt x="1300" y="1599"/>
                    </a:lnTo>
                    <a:lnTo>
                      <a:pt x="1300" y="1597"/>
                    </a:lnTo>
                    <a:lnTo>
                      <a:pt x="1300" y="1595"/>
                    </a:lnTo>
                    <a:lnTo>
                      <a:pt x="1300" y="1594"/>
                    </a:lnTo>
                    <a:lnTo>
                      <a:pt x="1302" y="1595"/>
                    </a:lnTo>
                    <a:lnTo>
                      <a:pt x="1302" y="1594"/>
                    </a:lnTo>
                    <a:lnTo>
                      <a:pt x="1304" y="1594"/>
                    </a:lnTo>
                    <a:lnTo>
                      <a:pt x="1305" y="1594"/>
                    </a:lnTo>
                    <a:lnTo>
                      <a:pt x="1307" y="1594"/>
                    </a:lnTo>
                    <a:lnTo>
                      <a:pt x="1307" y="1595"/>
                    </a:lnTo>
                    <a:lnTo>
                      <a:pt x="1307" y="1594"/>
                    </a:lnTo>
                    <a:lnTo>
                      <a:pt x="1309" y="1595"/>
                    </a:lnTo>
                    <a:lnTo>
                      <a:pt x="1309" y="1594"/>
                    </a:lnTo>
                    <a:lnTo>
                      <a:pt x="1310" y="1594"/>
                    </a:lnTo>
                    <a:lnTo>
                      <a:pt x="1312" y="1594"/>
                    </a:lnTo>
                    <a:lnTo>
                      <a:pt x="1312" y="1595"/>
                    </a:lnTo>
                    <a:lnTo>
                      <a:pt x="1310" y="1595"/>
                    </a:lnTo>
                    <a:lnTo>
                      <a:pt x="1310" y="1597"/>
                    </a:lnTo>
                    <a:lnTo>
                      <a:pt x="1309" y="1597"/>
                    </a:lnTo>
                    <a:lnTo>
                      <a:pt x="1309" y="1599"/>
                    </a:lnTo>
                    <a:lnTo>
                      <a:pt x="1307" y="1599"/>
                    </a:lnTo>
                    <a:lnTo>
                      <a:pt x="1307" y="1600"/>
                    </a:lnTo>
                    <a:lnTo>
                      <a:pt x="1309" y="1600"/>
                    </a:lnTo>
                    <a:lnTo>
                      <a:pt x="1307" y="1602"/>
                    </a:lnTo>
                    <a:lnTo>
                      <a:pt x="1307" y="1604"/>
                    </a:lnTo>
                    <a:lnTo>
                      <a:pt x="1305" y="1606"/>
                    </a:lnTo>
                    <a:lnTo>
                      <a:pt x="1305" y="1607"/>
                    </a:lnTo>
                    <a:lnTo>
                      <a:pt x="1305" y="1609"/>
                    </a:lnTo>
                    <a:lnTo>
                      <a:pt x="1305" y="1611"/>
                    </a:lnTo>
                    <a:lnTo>
                      <a:pt x="1305" y="1609"/>
                    </a:lnTo>
                    <a:lnTo>
                      <a:pt x="1307" y="1609"/>
                    </a:lnTo>
                    <a:lnTo>
                      <a:pt x="1307" y="1607"/>
                    </a:lnTo>
                    <a:lnTo>
                      <a:pt x="1307" y="1606"/>
                    </a:lnTo>
                    <a:lnTo>
                      <a:pt x="1309" y="1607"/>
                    </a:lnTo>
                    <a:lnTo>
                      <a:pt x="1309" y="1609"/>
                    </a:lnTo>
                    <a:lnTo>
                      <a:pt x="1310" y="1609"/>
                    </a:lnTo>
                    <a:lnTo>
                      <a:pt x="1309" y="1607"/>
                    </a:lnTo>
                    <a:lnTo>
                      <a:pt x="1307" y="1606"/>
                    </a:lnTo>
                    <a:lnTo>
                      <a:pt x="1309" y="1604"/>
                    </a:lnTo>
                    <a:lnTo>
                      <a:pt x="1309" y="1602"/>
                    </a:lnTo>
                    <a:lnTo>
                      <a:pt x="1309" y="1600"/>
                    </a:lnTo>
                    <a:lnTo>
                      <a:pt x="1310" y="1600"/>
                    </a:lnTo>
                    <a:lnTo>
                      <a:pt x="1310" y="1599"/>
                    </a:lnTo>
                    <a:lnTo>
                      <a:pt x="1312" y="1599"/>
                    </a:lnTo>
                    <a:lnTo>
                      <a:pt x="1312" y="1597"/>
                    </a:lnTo>
                    <a:lnTo>
                      <a:pt x="1314" y="1599"/>
                    </a:lnTo>
                    <a:lnTo>
                      <a:pt x="1315" y="1600"/>
                    </a:lnTo>
                    <a:lnTo>
                      <a:pt x="1317" y="1602"/>
                    </a:lnTo>
                    <a:lnTo>
                      <a:pt x="1315" y="1602"/>
                    </a:lnTo>
                    <a:lnTo>
                      <a:pt x="1317" y="1602"/>
                    </a:lnTo>
                    <a:lnTo>
                      <a:pt x="1319" y="1602"/>
                    </a:lnTo>
                    <a:lnTo>
                      <a:pt x="1319" y="1604"/>
                    </a:lnTo>
                    <a:lnTo>
                      <a:pt x="1321" y="1604"/>
                    </a:lnTo>
                    <a:lnTo>
                      <a:pt x="1319" y="1604"/>
                    </a:lnTo>
                    <a:lnTo>
                      <a:pt x="1321" y="1604"/>
                    </a:lnTo>
                    <a:lnTo>
                      <a:pt x="1321" y="1606"/>
                    </a:lnTo>
                    <a:lnTo>
                      <a:pt x="1322" y="1607"/>
                    </a:lnTo>
                    <a:lnTo>
                      <a:pt x="1324" y="1607"/>
                    </a:lnTo>
                    <a:lnTo>
                      <a:pt x="1324" y="1609"/>
                    </a:lnTo>
                    <a:lnTo>
                      <a:pt x="1324" y="1607"/>
                    </a:lnTo>
                    <a:lnTo>
                      <a:pt x="1326" y="1609"/>
                    </a:lnTo>
                    <a:lnTo>
                      <a:pt x="1324" y="1607"/>
                    </a:lnTo>
                    <a:lnTo>
                      <a:pt x="1322" y="1607"/>
                    </a:lnTo>
                    <a:lnTo>
                      <a:pt x="1322" y="1606"/>
                    </a:lnTo>
                    <a:lnTo>
                      <a:pt x="1321" y="1606"/>
                    </a:lnTo>
                    <a:lnTo>
                      <a:pt x="1321" y="1604"/>
                    </a:lnTo>
                    <a:lnTo>
                      <a:pt x="1322" y="1604"/>
                    </a:lnTo>
                    <a:lnTo>
                      <a:pt x="1324" y="1604"/>
                    </a:lnTo>
                    <a:lnTo>
                      <a:pt x="1326" y="1606"/>
                    </a:lnTo>
                    <a:lnTo>
                      <a:pt x="1327" y="1607"/>
                    </a:lnTo>
                    <a:lnTo>
                      <a:pt x="1327" y="1606"/>
                    </a:lnTo>
                    <a:lnTo>
                      <a:pt x="1326" y="1606"/>
                    </a:lnTo>
                    <a:lnTo>
                      <a:pt x="1324" y="1604"/>
                    </a:lnTo>
                    <a:lnTo>
                      <a:pt x="1326" y="1604"/>
                    </a:lnTo>
                    <a:lnTo>
                      <a:pt x="1324" y="1604"/>
                    </a:lnTo>
                    <a:lnTo>
                      <a:pt x="1322" y="1602"/>
                    </a:lnTo>
                    <a:lnTo>
                      <a:pt x="1321" y="1602"/>
                    </a:lnTo>
                    <a:lnTo>
                      <a:pt x="1319" y="1600"/>
                    </a:lnTo>
                    <a:lnTo>
                      <a:pt x="1317" y="1600"/>
                    </a:lnTo>
                    <a:lnTo>
                      <a:pt x="1317" y="1599"/>
                    </a:lnTo>
                    <a:lnTo>
                      <a:pt x="1315" y="1599"/>
                    </a:lnTo>
                    <a:lnTo>
                      <a:pt x="1317" y="1597"/>
                    </a:lnTo>
                    <a:lnTo>
                      <a:pt x="1315" y="1597"/>
                    </a:lnTo>
                    <a:lnTo>
                      <a:pt x="1314" y="1597"/>
                    </a:lnTo>
                    <a:lnTo>
                      <a:pt x="1314" y="1595"/>
                    </a:lnTo>
                    <a:lnTo>
                      <a:pt x="1315" y="1594"/>
                    </a:lnTo>
                    <a:lnTo>
                      <a:pt x="1314" y="1594"/>
                    </a:lnTo>
                    <a:lnTo>
                      <a:pt x="1314" y="1592"/>
                    </a:lnTo>
                    <a:lnTo>
                      <a:pt x="1312" y="1590"/>
                    </a:lnTo>
                    <a:lnTo>
                      <a:pt x="1310" y="1590"/>
                    </a:lnTo>
                    <a:lnTo>
                      <a:pt x="1309" y="1590"/>
                    </a:lnTo>
                    <a:lnTo>
                      <a:pt x="1307" y="1590"/>
                    </a:lnTo>
                    <a:lnTo>
                      <a:pt x="1305" y="1590"/>
                    </a:lnTo>
                    <a:lnTo>
                      <a:pt x="1304" y="1590"/>
                    </a:lnTo>
                    <a:lnTo>
                      <a:pt x="1304" y="1589"/>
                    </a:lnTo>
                    <a:lnTo>
                      <a:pt x="1302" y="1589"/>
                    </a:lnTo>
                    <a:lnTo>
                      <a:pt x="1302" y="1587"/>
                    </a:lnTo>
                    <a:lnTo>
                      <a:pt x="1300" y="1585"/>
                    </a:lnTo>
                    <a:lnTo>
                      <a:pt x="1302" y="1585"/>
                    </a:lnTo>
                    <a:lnTo>
                      <a:pt x="1300" y="1583"/>
                    </a:lnTo>
                    <a:lnTo>
                      <a:pt x="1302" y="1583"/>
                    </a:lnTo>
                    <a:lnTo>
                      <a:pt x="1302" y="1585"/>
                    </a:lnTo>
                    <a:lnTo>
                      <a:pt x="1304" y="1585"/>
                    </a:lnTo>
                    <a:lnTo>
                      <a:pt x="1302" y="1585"/>
                    </a:lnTo>
                    <a:lnTo>
                      <a:pt x="1302" y="1583"/>
                    </a:lnTo>
                    <a:lnTo>
                      <a:pt x="1300" y="1582"/>
                    </a:lnTo>
                    <a:lnTo>
                      <a:pt x="1300" y="1580"/>
                    </a:lnTo>
                    <a:lnTo>
                      <a:pt x="1300" y="1582"/>
                    </a:lnTo>
                    <a:lnTo>
                      <a:pt x="1302" y="1582"/>
                    </a:lnTo>
                    <a:lnTo>
                      <a:pt x="1304" y="1582"/>
                    </a:lnTo>
                    <a:lnTo>
                      <a:pt x="1304" y="1583"/>
                    </a:lnTo>
                    <a:lnTo>
                      <a:pt x="1305" y="1583"/>
                    </a:lnTo>
                    <a:lnTo>
                      <a:pt x="1305" y="1585"/>
                    </a:lnTo>
                    <a:lnTo>
                      <a:pt x="1307" y="1585"/>
                    </a:lnTo>
                    <a:lnTo>
                      <a:pt x="1309" y="1585"/>
                    </a:lnTo>
                    <a:lnTo>
                      <a:pt x="1309" y="1587"/>
                    </a:lnTo>
                    <a:lnTo>
                      <a:pt x="1310" y="1589"/>
                    </a:lnTo>
                    <a:lnTo>
                      <a:pt x="1312" y="1589"/>
                    </a:lnTo>
                    <a:lnTo>
                      <a:pt x="1314" y="1589"/>
                    </a:lnTo>
                    <a:lnTo>
                      <a:pt x="1314" y="1590"/>
                    </a:lnTo>
                    <a:lnTo>
                      <a:pt x="1315" y="1590"/>
                    </a:lnTo>
                    <a:lnTo>
                      <a:pt x="1317" y="1590"/>
                    </a:lnTo>
                    <a:lnTo>
                      <a:pt x="1317" y="1592"/>
                    </a:lnTo>
                    <a:lnTo>
                      <a:pt x="1319" y="1592"/>
                    </a:lnTo>
                    <a:lnTo>
                      <a:pt x="1321" y="1592"/>
                    </a:lnTo>
                    <a:lnTo>
                      <a:pt x="1321" y="1594"/>
                    </a:lnTo>
                    <a:lnTo>
                      <a:pt x="1322" y="1594"/>
                    </a:lnTo>
                    <a:lnTo>
                      <a:pt x="1322" y="1595"/>
                    </a:lnTo>
                    <a:lnTo>
                      <a:pt x="1321" y="1595"/>
                    </a:lnTo>
                    <a:lnTo>
                      <a:pt x="1322" y="1595"/>
                    </a:lnTo>
                    <a:lnTo>
                      <a:pt x="1324" y="1595"/>
                    </a:lnTo>
                    <a:lnTo>
                      <a:pt x="1324" y="1597"/>
                    </a:lnTo>
                    <a:lnTo>
                      <a:pt x="1326" y="1599"/>
                    </a:lnTo>
                    <a:lnTo>
                      <a:pt x="1327" y="1599"/>
                    </a:lnTo>
                    <a:lnTo>
                      <a:pt x="1327" y="1597"/>
                    </a:lnTo>
                    <a:lnTo>
                      <a:pt x="1326" y="1597"/>
                    </a:lnTo>
                    <a:lnTo>
                      <a:pt x="1327" y="1597"/>
                    </a:lnTo>
                    <a:lnTo>
                      <a:pt x="1326" y="1597"/>
                    </a:lnTo>
                    <a:lnTo>
                      <a:pt x="1327" y="1595"/>
                    </a:lnTo>
                    <a:lnTo>
                      <a:pt x="1329" y="1595"/>
                    </a:lnTo>
                    <a:lnTo>
                      <a:pt x="1329" y="1597"/>
                    </a:lnTo>
                    <a:lnTo>
                      <a:pt x="1331" y="1597"/>
                    </a:lnTo>
                    <a:lnTo>
                      <a:pt x="1329" y="1595"/>
                    </a:lnTo>
                    <a:lnTo>
                      <a:pt x="1327" y="1595"/>
                    </a:lnTo>
                    <a:lnTo>
                      <a:pt x="1326" y="1595"/>
                    </a:lnTo>
                    <a:lnTo>
                      <a:pt x="1326" y="1594"/>
                    </a:lnTo>
                    <a:lnTo>
                      <a:pt x="1324" y="1594"/>
                    </a:lnTo>
                    <a:lnTo>
                      <a:pt x="1324" y="1592"/>
                    </a:lnTo>
                    <a:lnTo>
                      <a:pt x="1326" y="1592"/>
                    </a:lnTo>
                    <a:lnTo>
                      <a:pt x="1327" y="1592"/>
                    </a:lnTo>
                    <a:lnTo>
                      <a:pt x="1327" y="1590"/>
                    </a:lnTo>
                    <a:lnTo>
                      <a:pt x="1327" y="1589"/>
                    </a:lnTo>
                    <a:lnTo>
                      <a:pt x="1329" y="1589"/>
                    </a:lnTo>
                    <a:lnTo>
                      <a:pt x="1331" y="1589"/>
                    </a:lnTo>
                    <a:lnTo>
                      <a:pt x="1332" y="1590"/>
                    </a:lnTo>
                    <a:lnTo>
                      <a:pt x="1332" y="1592"/>
                    </a:lnTo>
                    <a:lnTo>
                      <a:pt x="1334" y="1592"/>
                    </a:lnTo>
                    <a:lnTo>
                      <a:pt x="1332" y="1592"/>
                    </a:lnTo>
                    <a:lnTo>
                      <a:pt x="1332" y="1594"/>
                    </a:lnTo>
                    <a:lnTo>
                      <a:pt x="1334" y="1595"/>
                    </a:lnTo>
                    <a:lnTo>
                      <a:pt x="1332" y="1595"/>
                    </a:lnTo>
                    <a:lnTo>
                      <a:pt x="1332" y="1597"/>
                    </a:lnTo>
                    <a:lnTo>
                      <a:pt x="1334" y="1595"/>
                    </a:lnTo>
                    <a:lnTo>
                      <a:pt x="1334" y="1597"/>
                    </a:lnTo>
                    <a:lnTo>
                      <a:pt x="1336" y="1597"/>
                    </a:lnTo>
                    <a:lnTo>
                      <a:pt x="1336" y="1599"/>
                    </a:lnTo>
                    <a:lnTo>
                      <a:pt x="1334" y="1599"/>
                    </a:lnTo>
                    <a:lnTo>
                      <a:pt x="1336" y="1599"/>
                    </a:lnTo>
                    <a:lnTo>
                      <a:pt x="1338" y="1600"/>
                    </a:lnTo>
                    <a:lnTo>
                      <a:pt x="1336" y="1600"/>
                    </a:lnTo>
                    <a:lnTo>
                      <a:pt x="1336" y="1602"/>
                    </a:lnTo>
                    <a:lnTo>
                      <a:pt x="1334" y="1604"/>
                    </a:lnTo>
                    <a:lnTo>
                      <a:pt x="1336" y="1604"/>
                    </a:lnTo>
                    <a:lnTo>
                      <a:pt x="1336" y="1602"/>
                    </a:lnTo>
                    <a:lnTo>
                      <a:pt x="1338" y="1602"/>
                    </a:lnTo>
                    <a:lnTo>
                      <a:pt x="1338" y="1600"/>
                    </a:lnTo>
                    <a:lnTo>
                      <a:pt x="1338" y="1602"/>
                    </a:lnTo>
                    <a:lnTo>
                      <a:pt x="1339" y="1602"/>
                    </a:lnTo>
                    <a:lnTo>
                      <a:pt x="1339" y="1604"/>
                    </a:lnTo>
                    <a:lnTo>
                      <a:pt x="1339" y="1606"/>
                    </a:lnTo>
                    <a:lnTo>
                      <a:pt x="1338" y="1606"/>
                    </a:lnTo>
                    <a:lnTo>
                      <a:pt x="1338" y="1607"/>
                    </a:lnTo>
                    <a:lnTo>
                      <a:pt x="1338" y="1606"/>
                    </a:lnTo>
                    <a:lnTo>
                      <a:pt x="1339" y="1606"/>
                    </a:lnTo>
                    <a:lnTo>
                      <a:pt x="1339" y="1607"/>
                    </a:lnTo>
                    <a:lnTo>
                      <a:pt x="1341" y="1607"/>
                    </a:lnTo>
                    <a:lnTo>
                      <a:pt x="1339" y="1607"/>
                    </a:lnTo>
                    <a:lnTo>
                      <a:pt x="1339" y="1609"/>
                    </a:lnTo>
                    <a:lnTo>
                      <a:pt x="1341" y="1607"/>
                    </a:lnTo>
                    <a:lnTo>
                      <a:pt x="1339" y="1606"/>
                    </a:lnTo>
                    <a:lnTo>
                      <a:pt x="1341" y="1604"/>
                    </a:lnTo>
                    <a:lnTo>
                      <a:pt x="1341" y="1602"/>
                    </a:lnTo>
                    <a:lnTo>
                      <a:pt x="1339" y="1600"/>
                    </a:lnTo>
                    <a:lnTo>
                      <a:pt x="1339" y="1599"/>
                    </a:lnTo>
                    <a:lnTo>
                      <a:pt x="1338" y="1599"/>
                    </a:lnTo>
                    <a:lnTo>
                      <a:pt x="1338" y="1597"/>
                    </a:lnTo>
                    <a:lnTo>
                      <a:pt x="1338" y="1595"/>
                    </a:lnTo>
                    <a:lnTo>
                      <a:pt x="1338" y="1594"/>
                    </a:lnTo>
                    <a:lnTo>
                      <a:pt x="1336" y="1594"/>
                    </a:lnTo>
                    <a:lnTo>
                      <a:pt x="1336" y="1592"/>
                    </a:lnTo>
                    <a:lnTo>
                      <a:pt x="1336" y="1590"/>
                    </a:lnTo>
                    <a:lnTo>
                      <a:pt x="1338" y="1590"/>
                    </a:lnTo>
                    <a:lnTo>
                      <a:pt x="1339" y="1592"/>
                    </a:lnTo>
                    <a:lnTo>
                      <a:pt x="1341" y="1592"/>
                    </a:lnTo>
                    <a:lnTo>
                      <a:pt x="1341" y="1594"/>
                    </a:lnTo>
                    <a:lnTo>
                      <a:pt x="1343" y="1594"/>
                    </a:lnTo>
                    <a:lnTo>
                      <a:pt x="1344" y="1594"/>
                    </a:lnTo>
                    <a:lnTo>
                      <a:pt x="1344" y="1595"/>
                    </a:lnTo>
                    <a:lnTo>
                      <a:pt x="1343" y="1597"/>
                    </a:lnTo>
                    <a:lnTo>
                      <a:pt x="1344" y="1597"/>
                    </a:lnTo>
                    <a:lnTo>
                      <a:pt x="1344" y="1599"/>
                    </a:lnTo>
                    <a:lnTo>
                      <a:pt x="1343" y="1600"/>
                    </a:lnTo>
                    <a:lnTo>
                      <a:pt x="1344" y="1602"/>
                    </a:lnTo>
                    <a:lnTo>
                      <a:pt x="1346" y="1602"/>
                    </a:lnTo>
                    <a:lnTo>
                      <a:pt x="1344" y="1600"/>
                    </a:lnTo>
                    <a:lnTo>
                      <a:pt x="1344" y="1599"/>
                    </a:lnTo>
                    <a:lnTo>
                      <a:pt x="1346" y="1599"/>
                    </a:lnTo>
                    <a:lnTo>
                      <a:pt x="1344" y="1597"/>
                    </a:lnTo>
                    <a:lnTo>
                      <a:pt x="1346" y="1599"/>
                    </a:lnTo>
                    <a:lnTo>
                      <a:pt x="1348" y="1600"/>
                    </a:lnTo>
                    <a:lnTo>
                      <a:pt x="1348" y="1599"/>
                    </a:lnTo>
                    <a:lnTo>
                      <a:pt x="1346" y="1599"/>
                    </a:lnTo>
                    <a:lnTo>
                      <a:pt x="1348" y="1599"/>
                    </a:lnTo>
                    <a:lnTo>
                      <a:pt x="1346" y="1597"/>
                    </a:lnTo>
                    <a:lnTo>
                      <a:pt x="1346" y="1595"/>
                    </a:lnTo>
                    <a:lnTo>
                      <a:pt x="1346" y="1594"/>
                    </a:lnTo>
                    <a:lnTo>
                      <a:pt x="1348" y="1594"/>
                    </a:lnTo>
                    <a:lnTo>
                      <a:pt x="1349" y="1594"/>
                    </a:lnTo>
                    <a:lnTo>
                      <a:pt x="1349" y="1595"/>
                    </a:lnTo>
                    <a:lnTo>
                      <a:pt x="1351" y="1595"/>
                    </a:lnTo>
                    <a:lnTo>
                      <a:pt x="1351" y="1597"/>
                    </a:lnTo>
                    <a:lnTo>
                      <a:pt x="1353" y="1597"/>
                    </a:lnTo>
                    <a:lnTo>
                      <a:pt x="1355" y="1599"/>
                    </a:lnTo>
                    <a:lnTo>
                      <a:pt x="1356" y="1599"/>
                    </a:lnTo>
                    <a:lnTo>
                      <a:pt x="1356" y="1600"/>
                    </a:lnTo>
                    <a:lnTo>
                      <a:pt x="1358" y="1600"/>
                    </a:lnTo>
                    <a:lnTo>
                      <a:pt x="1358" y="1602"/>
                    </a:lnTo>
                    <a:lnTo>
                      <a:pt x="1356" y="1602"/>
                    </a:lnTo>
                    <a:lnTo>
                      <a:pt x="1356" y="1604"/>
                    </a:lnTo>
                    <a:lnTo>
                      <a:pt x="1355" y="1606"/>
                    </a:lnTo>
                    <a:lnTo>
                      <a:pt x="1355" y="1607"/>
                    </a:lnTo>
                    <a:lnTo>
                      <a:pt x="1353" y="1607"/>
                    </a:lnTo>
                    <a:lnTo>
                      <a:pt x="1353" y="1609"/>
                    </a:lnTo>
                    <a:lnTo>
                      <a:pt x="1351" y="1609"/>
                    </a:lnTo>
                    <a:lnTo>
                      <a:pt x="1353" y="1611"/>
                    </a:lnTo>
                    <a:lnTo>
                      <a:pt x="1351" y="1611"/>
                    </a:lnTo>
                    <a:lnTo>
                      <a:pt x="1351" y="1612"/>
                    </a:lnTo>
                    <a:lnTo>
                      <a:pt x="1349" y="1612"/>
                    </a:lnTo>
                    <a:lnTo>
                      <a:pt x="1348" y="1612"/>
                    </a:lnTo>
                    <a:lnTo>
                      <a:pt x="1349" y="1614"/>
                    </a:lnTo>
                    <a:lnTo>
                      <a:pt x="1351" y="1612"/>
                    </a:lnTo>
                    <a:lnTo>
                      <a:pt x="1353" y="1612"/>
                    </a:lnTo>
                    <a:lnTo>
                      <a:pt x="1353" y="1614"/>
                    </a:lnTo>
                    <a:lnTo>
                      <a:pt x="1353" y="1616"/>
                    </a:lnTo>
                    <a:lnTo>
                      <a:pt x="1353" y="1614"/>
                    </a:lnTo>
                    <a:lnTo>
                      <a:pt x="1353" y="1612"/>
                    </a:lnTo>
                    <a:lnTo>
                      <a:pt x="1353" y="1611"/>
                    </a:lnTo>
                    <a:lnTo>
                      <a:pt x="1355" y="1611"/>
                    </a:lnTo>
                    <a:lnTo>
                      <a:pt x="1355" y="1609"/>
                    </a:lnTo>
                    <a:lnTo>
                      <a:pt x="1355" y="1607"/>
                    </a:lnTo>
                    <a:lnTo>
                      <a:pt x="1356" y="1606"/>
                    </a:lnTo>
                    <a:lnTo>
                      <a:pt x="1358" y="1606"/>
                    </a:lnTo>
                    <a:lnTo>
                      <a:pt x="1358" y="1604"/>
                    </a:lnTo>
                    <a:lnTo>
                      <a:pt x="1358" y="1606"/>
                    </a:lnTo>
                    <a:lnTo>
                      <a:pt x="1360" y="1607"/>
                    </a:lnTo>
                    <a:lnTo>
                      <a:pt x="1361" y="1607"/>
                    </a:lnTo>
                    <a:lnTo>
                      <a:pt x="1360" y="1606"/>
                    </a:lnTo>
                    <a:lnTo>
                      <a:pt x="1360" y="1604"/>
                    </a:lnTo>
                    <a:lnTo>
                      <a:pt x="1360" y="1602"/>
                    </a:lnTo>
                    <a:lnTo>
                      <a:pt x="1361" y="1600"/>
                    </a:lnTo>
                    <a:lnTo>
                      <a:pt x="1363" y="1600"/>
                    </a:lnTo>
                    <a:lnTo>
                      <a:pt x="1365" y="1600"/>
                    </a:lnTo>
                    <a:lnTo>
                      <a:pt x="1365" y="1602"/>
                    </a:lnTo>
                    <a:lnTo>
                      <a:pt x="1366" y="1602"/>
                    </a:lnTo>
                    <a:lnTo>
                      <a:pt x="1365" y="1600"/>
                    </a:lnTo>
                    <a:lnTo>
                      <a:pt x="1366" y="1600"/>
                    </a:lnTo>
                    <a:lnTo>
                      <a:pt x="1365" y="1599"/>
                    </a:lnTo>
                    <a:lnTo>
                      <a:pt x="1363" y="1599"/>
                    </a:lnTo>
                    <a:lnTo>
                      <a:pt x="1363" y="1597"/>
                    </a:lnTo>
                    <a:lnTo>
                      <a:pt x="1361" y="1597"/>
                    </a:lnTo>
                    <a:lnTo>
                      <a:pt x="1360" y="1597"/>
                    </a:lnTo>
                    <a:lnTo>
                      <a:pt x="1360" y="1595"/>
                    </a:lnTo>
                    <a:lnTo>
                      <a:pt x="1358" y="1595"/>
                    </a:lnTo>
                    <a:lnTo>
                      <a:pt x="1358" y="1594"/>
                    </a:lnTo>
                    <a:lnTo>
                      <a:pt x="1356" y="1594"/>
                    </a:lnTo>
                    <a:lnTo>
                      <a:pt x="1355" y="1592"/>
                    </a:lnTo>
                    <a:lnTo>
                      <a:pt x="1353" y="1592"/>
                    </a:lnTo>
                    <a:lnTo>
                      <a:pt x="1351" y="1592"/>
                    </a:lnTo>
                    <a:lnTo>
                      <a:pt x="1351" y="1590"/>
                    </a:lnTo>
                    <a:lnTo>
                      <a:pt x="1349" y="1590"/>
                    </a:lnTo>
                    <a:lnTo>
                      <a:pt x="1348" y="1590"/>
                    </a:lnTo>
                    <a:lnTo>
                      <a:pt x="1348" y="1589"/>
                    </a:lnTo>
                    <a:lnTo>
                      <a:pt x="1346" y="1589"/>
                    </a:lnTo>
                    <a:lnTo>
                      <a:pt x="1344" y="1587"/>
                    </a:lnTo>
                    <a:lnTo>
                      <a:pt x="1343" y="1587"/>
                    </a:lnTo>
                    <a:lnTo>
                      <a:pt x="1341" y="1587"/>
                    </a:lnTo>
                    <a:lnTo>
                      <a:pt x="1341" y="1585"/>
                    </a:lnTo>
                    <a:lnTo>
                      <a:pt x="1339" y="1585"/>
                    </a:lnTo>
                    <a:lnTo>
                      <a:pt x="1338" y="1585"/>
                    </a:lnTo>
                    <a:lnTo>
                      <a:pt x="1336" y="1583"/>
                    </a:lnTo>
                    <a:lnTo>
                      <a:pt x="1334" y="1583"/>
                    </a:lnTo>
                    <a:lnTo>
                      <a:pt x="1334" y="1582"/>
                    </a:lnTo>
                    <a:lnTo>
                      <a:pt x="1332" y="1582"/>
                    </a:lnTo>
                    <a:lnTo>
                      <a:pt x="1331" y="1580"/>
                    </a:lnTo>
                    <a:lnTo>
                      <a:pt x="1329" y="1580"/>
                    </a:lnTo>
                    <a:lnTo>
                      <a:pt x="1331" y="1580"/>
                    </a:lnTo>
                    <a:lnTo>
                      <a:pt x="1331" y="1578"/>
                    </a:lnTo>
                    <a:lnTo>
                      <a:pt x="1329" y="1578"/>
                    </a:lnTo>
                    <a:lnTo>
                      <a:pt x="1329" y="1577"/>
                    </a:lnTo>
                    <a:lnTo>
                      <a:pt x="1329" y="1575"/>
                    </a:lnTo>
                    <a:lnTo>
                      <a:pt x="1329" y="1573"/>
                    </a:lnTo>
                    <a:lnTo>
                      <a:pt x="1327" y="1573"/>
                    </a:lnTo>
                    <a:lnTo>
                      <a:pt x="1327" y="1572"/>
                    </a:lnTo>
                    <a:lnTo>
                      <a:pt x="1327" y="1570"/>
                    </a:lnTo>
                    <a:lnTo>
                      <a:pt x="1327" y="1568"/>
                    </a:lnTo>
                    <a:lnTo>
                      <a:pt x="1326" y="1568"/>
                    </a:lnTo>
                    <a:lnTo>
                      <a:pt x="1326" y="1566"/>
                    </a:lnTo>
                    <a:lnTo>
                      <a:pt x="1326" y="1565"/>
                    </a:lnTo>
                    <a:lnTo>
                      <a:pt x="1326" y="1563"/>
                    </a:lnTo>
                    <a:lnTo>
                      <a:pt x="1326" y="1561"/>
                    </a:lnTo>
                    <a:lnTo>
                      <a:pt x="1326" y="1560"/>
                    </a:lnTo>
                    <a:lnTo>
                      <a:pt x="1327" y="1560"/>
                    </a:lnTo>
                    <a:lnTo>
                      <a:pt x="1329" y="1558"/>
                    </a:lnTo>
                    <a:lnTo>
                      <a:pt x="1331" y="1558"/>
                    </a:lnTo>
                    <a:lnTo>
                      <a:pt x="1332" y="1558"/>
                    </a:lnTo>
                    <a:lnTo>
                      <a:pt x="1334" y="1556"/>
                    </a:lnTo>
                    <a:lnTo>
                      <a:pt x="1334" y="1555"/>
                    </a:lnTo>
                    <a:lnTo>
                      <a:pt x="1336" y="1555"/>
                    </a:lnTo>
                    <a:lnTo>
                      <a:pt x="1338" y="1555"/>
                    </a:lnTo>
                    <a:lnTo>
                      <a:pt x="1339" y="1555"/>
                    </a:lnTo>
                    <a:lnTo>
                      <a:pt x="1341" y="1555"/>
                    </a:lnTo>
                    <a:lnTo>
                      <a:pt x="1343" y="1555"/>
                    </a:lnTo>
                    <a:lnTo>
                      <a:pt x="1343" y="1553"/>
                    </a:lnTo>
                    <a:lnTo>
                      <a:pt x="1344" y="1553"/>
                    </a:lnTo>
                    <a:lnTo>
                      <a:pt x="1344" y="1551"/>
                    </a:lnTo>
                    <a:lnTo>
                      <a:pt x="1346" y="1551"/>
                    </a:lnTo>
                    <a:lnTo>
                      <a:pt x="1348" y="1549"/>
                    </a:lnTo>
                    <a:lnTo>
                      <a:pt x="1349" y="1549"/>
                    </a:lnTo>
                    <a:lnTo>
                      <a:pt x="1349" y="1548"/>
                    </a:lnTo>
                    <a:lnTo>
                      <a:pt x="1351" y="1548"/>
                    </a:lnTo>
                    <a:lnTo>
                      <a:pt x="1353" y="1548"/>
                    </a:lnTo>
                    <a:lnTo>
                      <a:pt x="1353" y="1546"/>
                    </a:lnTo>
                    <a:lnTo>
                      <a:pt x="1355" y="1546"/>
                    </a:lnTo>
                    <a:lnTo>
                      <a:pt x="1355" y="1544"/>
                    </a:lnTo>
                    <a:lnTo>
                      <a:pt x="1355" y="1543"/>
                    </a:lnTo>
                    <a:lnTo>
                      <a:pt x="1355" y="1541"/>
                    </a:lnTo>
                    <a:lnTo>
                      <a:pt x="1355" y="1539"/>
                    </a:lnTo>
                    <a:lnTo>
                      <a:pt x="1353" y="1539"/>
                    </a:lnTo>
                    <a:lnTo>
                      <a:pt x="1353" y="1538"/>
                    </a:lnTo>
                    <a:lnTo>
                      <a:pt x="1351" y="1538"/>
                    </a:lnTo>
                    <a:lnTo>
                      <a:pt x="1349" y="1538"/>
                    </a:lnTo>
                    <a:lnTo>
                      <a:pt x="1348" y="1538"/>
                    </a:lnTo>
                    <a:lnTo>
                      <a:pt x="1346" y="1538"/>
                    </a:lnTo>
                    <a:lnTo>
                      <a:pt x="1344" y="1538"/>
                    </a:lnTo>
                    <a:lnTo>
                      <a:pt x="1343" y="1538"/>
                    </a:lnTo>
                    <a:lnTo>
                      <a:pt x="1341" y="1538"/>
                    </a:lnTo>
                    <a:lnTo>
                      <a:pt x="1339" y="1538"/>
                    </a:lnTo>
                    <a:lnTo>
                      <a:pt x="1338" y="1539"/>
                    </a:lnTo>
                    <a:lnTo>
                      <a:pt x="1336" y="1539"/>
                    </a:lnTo>
                    <a:lnTo>
                      <a:pt x="1334" y="1539"/>
                    </a:lnTo>
                    <a:lnTo>
                      <a:pt x="1332" y="1539"/>
                    </a:lnTo>
                    <a:lnTo>
                      <a:pt x="1331" y="1541"/>
                    </a:lnTo>
                    <a:lnTo>
                      <a:pt x="1329" y="1541"/>
                    </a:lnTo>
                    <a:lnTo>
                      <a:pt x="1329" y="1543"/>
                    </a:lnTo>
                    <a:lnTo>
                      <a:pt x="1327" y="1543"/>
                    </a:lnTo>
                    <a:lnTo>
                      <a:pt x="1326" y="1543"/>
                    </a:lnTo>
                    <a:lnTo>
                      <a:pt x="1326" y="1544"/>
                    </a:lnTo>
                    <a:lnTo>
                      <a:pt x="1324" y="1544"/>
                    </a:lnTo>
                    <a:lnTo>
                      <a:pt x="1322" y="1544"/>
                    </a:lnTo>
                    <a:lnTo>
                      <a:pt x="1322" y="1543"/>
                    </a:lnTo>
                    <a:lnTo>
                      <a:pt x="1321" y="1543"/>
                    </a:lnTo>
                    <a:lnTo>
                      <a:pt x="1321" y="1541"/>
                    </a:lnTo>
                    <a:lnTo>
                      <a:pt x="1321" y="1539"/>
                    </a:lnTo>
                    <a:lnTo>
                      <a:pt x="1319" y="1539"/>
                    </a:lnTo>
                    <a:lnTo>
                      <a:pt x="1317" y="1539"/>
                    </a:lnTo>
                    <a:lnTo>
                      <a:pt x="1315" y="1539"/>
                    </a:lnTo>
                    <a:lnTo>
                      <a:pt x="1315" y="1538"/>
                    </a:lnTo>
                    <a:lnTo>
                      <a:pt x="1315" y="1536"/>
                    </a:lnTo>
                    <a:lnTo>
                      <a:pt x="1317" y="1534"/>
                    </a:lnTo>
                    <a:lnTo>
                      <a:pt x="1319" y="1534"/>
                    </a:lnTo>
                    <a:lnTo>
                      <a:pt x="1317" y="1534"/>
                    </a:lnTo>
                    <a:lnTo>
                      <a:pt x="1315" y="1536"/>
                    </a:lnTo>
                    <a:lnTo>
                      <a:pt x="1315" y="1534"/>
                    </a:lnTo>
                    <a:lnTo>
                      <a:pt x="1315" y="1532"/>
                    </a:lnTo>
                    <a:lnTo>
                      <a:pt x="1315" y="1531"/>
                    </a:lnTo>
                    <a:lnTo>
                      <a:pt x="1315" y="1529"/>
                    </a:lnTo>
                    <a:lnTo>
                      <a:pt x="1317" y="1527"/>
                    </a:lnTo>
                    <a:lnTo>
                      <a:pt x="1317" y="1526"/>
                    </a:lnTo>
                    <a:lnTo>
                      <a:pt x="1317" y="1524"/>
                    </a:lnTo>
                    <a:lnTo>
                      <a:pt x="1315" y="1524"/>
                    </a:lnTo>
                    <a:lnTo>
                      <a:pt x="1317" y="1522"/>
                    </a:lnTo>
                    <a:lnTo>
                      <a:pt x="1317" y="1521"/>
                    </a:lnTo>
                    <a:lnTo>
                      <a:pt x="1317" y="1519"/>
                    </a:lnTo>
                    <a:lnTo>
                      <a:pt x="1317" y="1517"/>
                    </a:lnTo>
                    <a:lnTo>
                      <a:pt x="1319" y="1517"/>
                    </a:lnTo>
                    <a:lnTo>
                      <a:pt x="1319" y="1515"/>
                    </a:lnTo>
                    <a:lnTo>
                      <a:pt x="1321" y="1515"/>
                    </a:lnTo>
                    <a:lnTo>
                      <a:pt x="1321" y="1517"/>
                    </a:lnTo>
                    <a:lnTo>
                      <a:pt x="1319" y="1517"/>
                    </a:lnTo>
                    <a:lnTo>
                      <a:pt x="1321" y="1519"/>
                    </a:lnTo>
                    <a:lnTo>
                      <a:pt x="1321" y="1521"/>
                    </a:lnTo>
                    <a:lnTo>
                      <a:pt x="1319" y="1521"/>
                    </a:lnTo>
                    <a:lnTo>
                      <a:pt x="1321" y="1521"/>
                    </a:lnTo>
                    <a:lnTo>
                      <a:pt x="1322" y="1521"/>
                    </a:lnTo>
                    <a:lnTo>
                      <a:pt x="1324" y="1521"/>
                    </a:lnTo>
                    <a:lnTo>
                      <a:pt x="1324" y="1519"/>
                    </a:lnTo>
                    <a:lnTo>
                      <a:pt x="1326" y="1519"/>
                    </a:lnTo>
                    <a:lnTo>
                      <a:pt x="1327" y="1519"/>
                    </a:lnTo>
                    <a:lnTo>
                      <a:pt x="1327" y="1517"/>
                    </a:lnTo>
                    <a:lnTo>
                      <a:pt x="1327" y="1515"/>
                    </a:lnTo>
                    <a:lnTo>
                      <a:pt x="1329" y="1514"/>
                    </a:lnTo>
                    <a:lnTo>
                      <a:pt x="1327" y="1512"/>
                    </a:lnTo>
                    <a:lnTo>
                      <a:pt x="1327" y="1510"/>
                    </a:lnTo>
                    <a:lnTo>
                      <a:pt x="1326" y="1512"/>
                    </a:lnTo>
                    <a:lnTo>
                      <a:pt x="1326" y="1510"/>
                    </a:lnTo>
                    <a:lnTo>
                      <a:pt x="1324" y="1510"/>
                    </a:lnTo>
                    <a:lnTo>
                      <a:pt x="1322" y="1510"/>
                    </a:lnTo>
                    <a:lnTo>
                      <a:pt x="1322" y="1512"/>
                    </a:lnTo>
                    <a:lnTo>
                      <a:pt x="1321" y="1512"/>
                    </a:lnTo>
                    <a:lnTo>
                      <a:pt x="1322" y="1510"/>
                    </a:lnTo>
                    <a:lnTo>
                      <a:pt x="1322" y="1509"/>
                    </a:lnTo>
                    <a:lnTo>
                      <a:pt x="1322" y="1507"/>
                    </a:lnTo>
                    <a:lnTo>
                      <a:pt x="1321" y="1505"/>
                    </a:lnTo>
                    <a:lnTo>
                      <a:pt x="1319" y="1505"/>
                    </a:lnTo>
                    <a:lnTo>
                      <a:pt x="1317" y="1505"/>
                    </a:lnTo>
                    <a:lnTo>
                      <a:pt x="1317" y="1504"/>
                    </a:lnTo>
                    <a:lnTo>
                      <a:pt x="1319" y="1504"/>
                    </a:lnTo>
                    <a:lnTo>
                      <a:pt x="1321" y="1504"/>
                    </a:lnTo>
                    <a:lnTo>
                      <a:pt x="1322" y="1504"/>
                    </a:lnTo>
                    <a:lnTo>
                      <a:pt x="1324" y="1504"/>
                    </a:lnTo>
                    <a:lnTo>
                      <a:pt x="1326" y="1502"/>
                    </a:lnTo>
                    <a:lnTo>
                      <a:pt x="1327" y="1502"/>
                    </a:lnTo>
                    <a:lnTo>
                      <a:pt x="1327" y="1504"/>
                    </a:lnTo>
                    <a:lnTo>
                      <a:pt x="1329" y="1505"/>
                    </a:lnTo>
                    <a:lnTo>
                      <a:pt x="1329" y="1507"/>
                    </a:lnTo>
                    <a:lnTo>
                      <a:pt x="1331" y="1509"/>
                    </a:lnTo>
                    <a:lnTo>
                      <a:pt x="1332" y="1509"/>
                    </a:lnTo>
                    <a:lnTo>
                      <a:pt x="1334" y="1509"/>
                    </a:lnTo>
                    <a:lnTo>
                      <a:pt x="1336" y="1507"/>
                    </a:lnTo>
                    <a:lnTo>
                      <a:pt x="1336" y="1505"/>
                    </a:lnTo>
                    <a:lnTo>
                      <a:pt x="1338" y="1505"/>
                    </a:lnTo>
                    <a:lnTo>
                      <a:pt x="1339" y="1505"/>
                    </a:lnTo>
                    <a:lnTo>
                      <a:pt x="1341" y="1504"/>
                    </a:lnTo>
                    <a:lnTo>
                      <a:pt x="1343" y="1502"/>
                    </a:lnTo>
                    <a:lnTo>
                      <a:pt x="1343" y="1500"/>
                    </a:lnTo>
                    <a:lnTo>
                      <a:pt x="1344" y="1498"/>
                    </a:lnTo>
                    <a:lnTo>
                      <a:pt x="1344" y="1497"/>
                    </a:lnTo>
                    <a:lnTo>
                      <a:pt x="1344" y="1495"/>
                    </a:lnTo>
                    <a:lnTo>
                      <a:pt x="1344" y="1493"/>
                    </a:lnTo>
                    <a:lnTo>
                      <a:pt x="1344" y="1492"/>
                    </a:lnTo>
                    <a:lnTo>
                      <a:pt x="1346" y="1492"/>
                    </a:lnTo>
                    <a:lnTo>
                      <a:pt x="1346" y="1490"/>
                    </a:lnTo>
                    <a:lnTo>
                      <a:pt x="1348" y="1490"/>
                    </a:lnTo>
                    <a:lnTo>
                      <a:pt x="1349" y="1488"/>
                    </a:lnTo>
                    <a:lnTo>
                      <a:pt x="1348" y="1488"/>
                    </a:lnTo>
                    <a:lnTo>
                      <a:pt x="1349" y="1488"/>
                    </a:lnTo>
                    <a:lnTo>
                      <a:pt x="1348" y="1488"/>
                    </a:lnTo>
                    <a:lnTo>
                      <a:pt x="1349" y="1488"/>
                    </a:lnTo>
                    <a:lnTo>
                      <a:pt x="1351" y="1487"/>
                    </a:lnTo>
                    <a:lnTo>
                      <a:pt x="1353" y="1488"/>
                    </a:lnTo>
                    <a:lnTo>
                      <a:pt x="1353" y="1490"/>
                    </a:lnTo>
                    <a:lnTo>
                      <a:pt x="1355" y="1492"/>
                    </a:lnTo>
                    <a:lnTo>
                      <a:pt x="1355" y="1493"/>
                    </a:lnTo>
                    <a:lnTo>
                      <a:pt x="1355" y="1495"/>
                    </a:lnTo>
                    <a:lnTo>
                      <a:pt x="1356" y="1497"/>
                    </a:lnTo>
                    <a:lnTo>
                      <a:pt x="1356" y="1498"/>
                    </a:lnTo>
                    <a:lnTo>
                      <a:pt x="1358" y="1498"/>
                    </a:lnTo>
                    <a:lnTo>
                      <a:pt x="1360" y="1500"/>
                    </a:lnTo>
                    <a:lnTo>
                      <a:pt x="1361" y="1500"/>
                    </a:lnTo>
                    <a:lnTo>
                      <a:pt x="1363" y="1500"/>
                    </a:lnTo>
                    <a:lnTo>
                      <a:pt x="1363" y="1498"/>
                    </a:lnTo>
                    <a:lnTo>
                      <a:pt x="1365" y="1498"/>
                    </a:lnTo>
                    <a:lnTo>
                      <a:pt x="1366" y="1498"/>
                    </a:lnTo>
                    <a:lnTo>
                      <a:pt x="1368" y="1497"/>
                    </a:lnTo>
                    <a:lnTo>
                      <a:pt x="1370" y="1497"/>
                    </a:lnTo>
                    <a:lnTo>
                      <a:pt x="1372" y="1497"/>
                    </a:lnTo>
                    <a:lnTo>
                      <a:pt x="1372" y="1495"/>
                    </a:lnTo>
                    <a:lnTo>
                      <a:pt x="1373" y="1495"/>
                    </a:lnTo>
                    <a:lnTo>
                      <a:pt x="1373" y="1493"/>
                    </a:lnTo>
                    <a:lnTo>
                      <a:pt x="1373" y="1492"/>
                    </a:lnTo>
                    <a:lnTo>
                      <a:pt x="1373" y="1493"/>
                    </a:lnTo>
                    <a:lnTo>
                      <a:pt x="1375" y="1493"/>
                    </a:lnTo>
                    <a:lnTo>
                      <a:pt x="1375" y="1495"/>
                    </a:lnTo>
                    <a:lnTo>
                      <a:pt x="1377" y="1497"/>
                    </a:lnTo>
                    <a:lnTo>
                      <a:pt x="1378" y="1497"/>
                    </a:lnTo>
                    <a:lnTo>
                      <a:pt x="1378" y="1498"/>
                    </a:lnTo>
                    <a:close/>
                    <a:moveTo>
                      <a:pt x="1200" y="954"/>
                    </a:moveTo>
                    <a:lnTo>
                      <a:pt x="1200" y="956"/>
                    </a:lnTo>
                    <a:lnTo>
                      <a:pt x="1202" y="957"/>
                    </a:lnTo>
                    <a:lnTo>
                      <a:pt x="1200" y="957"/>
                    </a:lnTo>
                    <a:lnTo>
                      <a:pt x="1198" y="957"/>
                    </a:lnTo>
                    <a:lnTo>
                      <a:pt x="1198" y="956"/>
                    </a:lnTo>
                    <a:lnTo>
                      <a:pt x="1196" y="957"/>
                    </a:lnTo>
                    <a:lnTo>
                      <a:pt x="1196" y="956"/>
                    </a:lnTo>
                    <a:lnTo>
                      <a:pt x="1196" y="957"/>
                    </a:lnTo>
                    <a:lnTo>
                      <a:pt x="1198" y="957"/>
                    </a:lnTo>
                    <a:lnTo>
                      <a:pt x="1198" y="959"/>
                    </a:lnTo>
                    <a:lnTo>
                      <a:pt x="1200" y="959"/>
                    </a:lnTo>
                    <a:lnTo>
                      <a:pt x="1202" y="959"/>
                    </a:lnTo>
                    <a:lnTo>
                      <a:pt x="1202" y="957"/>
                    </a:lnTo>
                    <a:lnTo>
                      <a:pt x="1203" y="957"/>
                    </a:lnTo>
                    <a:lnTo>
                      <a:pt x="1203" y="959"/>
                    </a:lnTo>
                    <a:lnTo>
                      <a:pt x="1205" y="961"/>
                    </a:lnTo>
                    <a:lnTo>
                      <a:pt x="1203" y="963"/>
                    </a:lnTo>
                    <a:lnTo>
                      <a:pt x="1205" y="963"/>
                    </a:lnTo>
                    <a:lnTo>
                      <a:pt x="1205" y="961"/>
                    </a:lnTo>
                    <a:lnTo>
                      <a:pt x="1205" y="963"/>
                    </a:lnTo>
                    <a:lnTo>
                      <a:pt x="1205" y="961"/>
                    </a:lnTo>
                    <a:lnTo>
                      <a:pt x="1207" y="961"/>
                    </a:lnTo>
                    <a:lnTo>
                      <a:pt x="1205" y="961"/>
                    </a:lnTo>
                    <a:lnTo>
                      <a:pt x="1205" y="959"/>
                    </a:lnTo>
                    <a:lnTo>
                      <a:pt x="1203" y="959"/>
                    </a:lnTo>
                    <a:lnTo>
                      <a:pt x="1205" y="959"/>
                    </a:lnTo>
                    <a:lnTo>
                      <a:pt x="1205" y="957"/>
                    </a:lnTo>
                    <a:lnTo>
                      <a:pt x="1207" y="957"/>
                    </a:lnTo>
                    <a:lnTo>
                      <a:pt x="1207" y="956"/>
                    </a:lnTo>
                    <a:lnTo>
                      <a:pt x="1208" y="956"/>
                    </a:lnTo>
                    <a:lnTo>
                      <a:pt x="1208" y="957"/>
                    </a:lnTo>
                    <a:lnTo>
                      <a:pt x="1210" y="956"/>
                    </a:lnTo>
                    <a:lnTo>
                      <a:pt x="1212" y="956"/>
                    </a:lnTo>
                    <a:lnTo>
                      <a:pt x="1212" y="957"/>
                    </a:lnTo>
                    <a:lnTo>
                      <a:pt x="1213" y="957"/>
                    </a:lnTo>
                    <a:lnTo>
                      <a:pt x="1213" y="959"/>
                    </a:lnTo>
                    <a:lnTo>
                      <a:pt x="1212" y="959"/>
                    </a:lnTo>
                    <a:lnTo>
                      <a:pt x="1213" y="959"/>
                    </a:lnTo>
                    <a:lnTo>
                      <a:pt x="1213" y="961"/>
                    </a:lnTo>
                    <a:lnTo>
                      <a:pt x="1213" y="959"/>
                    </a:lnTo>
                    <a:lnTo>
                      <a:pt x="1212" y="959"/>
                    </a:lnTo>
                    <a:lnTo>
                      <a:pt x="1212" y="961"/>
                    </a:lnTo>
                    <a:lnTo>
                      <a:pt x="1213" y="961"/>
                    </a:lnTo>
                    <a:lnTo>
                      <a:pt x="1212" y="961"/>
                    </a:lnTo>
                    <a:lnTo>
                      <a:pt x="1212" y="963"/>
                    </a:lnTo>
                    <a:lnTo>
                      <a:pt x="1213" y="963"/>
                    </a:lnTo>
                    <a:lnTo>
                      <a:pt x="1213" y="964"/>
                    </a:lnTo>
                    <a:lnTo>
                      <a:pt x="1213" y="966"/>
                    </a:lnTo>
                    <a:lnTo>
                      <a:pt x="1215" y="966"/>
                    </a:lnTo>
                    <a:lnTo>
                      <a:pt x="1215" y="968"/>
                    </a:lnTo>
                    <a:lnTo>
                      <a:pt x="1215" y="969"/>
                    </a:lnTo>
                    <a:lnTo>
                      <a:pt x="1215" y="971"/>
                    </a:lnTo>
                    <a:lnTo>
                      <a:pt x="1213" y="969"/>
                    </a:lnTo>
                    <a:lnTo>
                      <a:pt x="1213" y="971"/>
                    </a:lnTo>
                    <a:lnTo>
                      <a:pt x="1215" y="973"/>
                    </a:lnTo>
                    <a:lnTo>
                      <a:pt x="1217" y="975"/>
                    </a:lnTo>
                    <a:lnTo>
                      <a:pt x="1219" y="975"/>
                    </a:lnTo>
                    <a:lnTo>
                      <a:pt x="1219" y="976"/>
                    </a:lnTo>
                    <a:lnTo>
                      <a:pt x="1217" y="976"/>
                    </a:lnTo>
                    <a:lnTo>
                      <a:pt x="1219" y="976"/>
                    </a:lnTo>
                    <a:lnTo>
                      <a:pt x="1219" y="978"/>
                    </a:lnTo>
                    <a:lnTo>
                      <a:pt x="1219" y="980"/>
                    </a:lnTo>
                    <a:lnTo>
                      <a:pt x="1217" y="980"/>
                    </a:lnTo>
                    <a:lnTo>
                      <a:pt x="1215" y="980"/>
                    </a:lnTo>
                    <a:lnTo>
                      <a:pt x="1215" y="978"/>
                    </a:lnTo>
                    <a:lnTo>
                      <a:pt x="1215" y="980"/>
                    </a:lnTo>
                    <a:lnTo>
                      <a:pt x="1213" y="980"/>
                    </a:lnTo>
                    <a:lnTo>
                      <a:pt x="1212" y="980"/>
                    </a:lnTo>
                    <a:lnTo>
                      <a:pt x="1210" y="981"/>
                    </a:lnTo>
                    <a:lnTo>
                      <a:pt x="1208" y="981"/>
                    </a:lnTo>
                    <a:lnTo>
                      <a:pt x="1207" y="983"/>
                    </a:lnTo>
                    <a:lnTo>
                      <a:pt x="1208" y="983"/>
                    </a:lnTo>
                    <a:lnTo>
                      <a:pt x="1208" y="985"/>
                    </a:lnTo>
                    <a:lnTo>
                      <a:pt x="1208" y="986"/>
                    </a:lnTo>
                    <a:lnTo>
                      <a:pt x="1207" y="986"/>
                    </a:lnTo>
                    <a:lnTo>
                      <a:pt x="1208" y="988"/>
                    </a:lnTo>
                    <a:lnTo>
                      <a:pt x="1210" y="988"/>
                    </a:lnTo>
                    <a:lnTo>
                      <a:pt x="1210" y="990"/>
                    </a:lnTo>
                    <a:lnTo>
                      <a:pt x="1208" y="988"/>
                    </a:lnTo>
                    <a:lnTo>
                      <a:pt x="1208" y="990"/>
                    </a:lnTo>
                    <a:lnTo>
                      <a:pt x="1207" y="990"/>
                    </a:lnTo>
                    <a:lnTo>
                      <a:pt x="1205" y="990"/>
                    </a:lnTo>
                    <a:lnTo>
                      <a:pt x="1205" y="988"/>
                    </a:lnTo>
                    <a:lnTo>
                      <a:pt x="1203" y="988"/>
                    </a:lnTo>
                    <a:lnTo>
                      <a:pt x="1205" y="988"/>
                    </a:lnTo>
                    <a:lnTo>
                      <a:pt x="1205" y="986"/>
                    </a:lnTo>
                    <a:lnTo>
                      <a:pt x="1205" y="985"/>
                    </a:lnTo>
                    <a:lnTo>
                      <a:pt x="1205" y="986"/>
                    </a:lnTo>
                    <a:lnTo>
                      <a:pt x="1203" y="986"/>
                    </a:lnTo>
                    <a:lnTo>
                      <a:pt x="1203" y="988"/>
                    </a:lnTo>
                    <a:lnTo>
                      <a:pt x="1203" y="990"/>
                    </a:lnTo>
                    <a:lnTo>
                      <a:pt x="1205" y="990"/>
                    </a:lnTo>
                    <a:lnTo>
                      <a:pt x="1205" y="992"/>
                    </a:lnTo>
                    <a:lnTo>
                      <a:pt x="1203" y="992"/>
                    </a:lnTo>
                    <a:lnTo>
                      <a:pt x="1203" y="993"/>
                    </a:lnTo>
                    <a:lnTo>
                      <a:pt x="1205" y="993"/>
                    </a:lnTo>
                    <a:lnTo>
                      <a:pt x="1205" y="995"/>
                    </a:lnTo>
                    <a:lnTo>
                      <a:pt x="1207" y="995"/>
                    </a:lnTo>
                    <a:lnTo>
                      <a:pt x="1208" y="995"/>
                    </a:lnTo>
                    <a:lnTo>
                      <a:pt x="1207" y="995"/>
                    </a:lnTo>
                    <a:lnTo>
                      <a:pt x="1207" y="997"/>
                    </a:lnTo>
                    <a:lnTo>
                      <a:pt x="1208" y="997"/>
                    </a:lnTo>
                    <a:lnTo>
                      <a:pt x="1208" y="998"/>
                    </a:lnTo>
                    <a:lnTo>
                      <a:pt x="1210" y="998"/>
                    </a:lnTo>
                    <a:lnTo>
                      <a:pt x="1210" y="1000"/>
                    </a:lnTo>
                    <a:lnTo>
                      <a:pt x="1212" y="998"/>
                    </a:lnTo>
                    <a:lnTo>
                      <a:pt x="1212" y="1000"/>
                    </a:lnTo>
                    <a:lnTo>
                      <a:pt x="1213" y="1000"/>
                    </a:lnTo>
                    <a:lnTo>
                      <a:pt x="1213" y="1002"/>
                    </a:lnTo>
                    <a:lnTo>
                      <a:pt x="1213" y="1003"/>
                    </a:lnTo>
                    <a:lnTo>
                      <a:pt x="1215" y="1005"/>
                    </a:lnTo>
                    <a:lnTo>
                      <a:pt x="1213" y="1005"/>
                    </a:lnTo>
                    <a:lnTo>
                      <a:pt x="1213" y="1007"/>
                    </a:lnTo>
                    <a:lnTo>
                      <a:pt x="1213" y="1005"/>
                    </a:lnTo>
                    <a:lnTo>
                      <a:pt x="1213" y="1003"/>
                    </a:lnTo>
                    <a:lnTo>
                      <a:pt x="1213" y="1005"/>
                    </a:lnTo>
                    <a:lnTo>
                      <a:pt x="1212" y="1005"/>
                    </a:lnTo>
                    <a:lnTo>
                      <a:pt x="1210" y="1005"/>
                    </a:lnTo>
                    <a:lnTo>
                      <a:pt x="1210" y="1003"/>
                    </a:lnTo>
                    <a:lnTo>
                      <a:pt x="1210" y="1002"/>
                    </a:lnTo>
                    <a:lnTo>
                      <a:pt x="1208" y="1002"/>
                    </a:lnTo>
                    <a:lnTo>
                      <a:pt x="1210" y="1003"/>
                    </a:lnTo>
                    <a:lnTo>
                      <a:pt x="1208" y="1003"/>
                    </a:lnTo>
                    <a:lnTo>
                      <a:pt x="1210" y="1003"/>
                    </a:lnTo>
                    <a:lnTo>
                      <a:pt x="1210" y="1005"/>
                    </a:lnTo>
                    <a:lnTo>
                      <a:pt x="1208" y="1005"/>
                    </a:lnTo>
                    <a:lnTo>
                      <a:pt x="1208" y="1003"/>
                    </a:lnTo>
                    <a:lnTo>
                      <a:pt x="1207" y="1003"/>
                    </a:lnTo>
                    <a:lnTo>
                      <a:pt x="1205" y="1003"/>
                    </a:lnTo>
                    <a:lnTo>
                      <a:pt x="1205" y="1005"/>
                    </a:lnTo>
                    <a:lnTo>
                      <a:pt x="1207" y="1005"/>
                    </a:lnTo>
                    <a:lnTo>
                      <a:pt x="1208" y="1005"/>
                    </a:lnTo>
                    <a:lnTo>
                      <a:pt x="1208" y="1007"/>
                    </a:lnTo>
                    <a:lnTo>
                      <a:pt x="1208" y="1009"/>
                    </a:lnTo>
                    <a:lnTo>
                      <a:pt x="1210" y="1009"/>
                    </a:lnTo>
                    <a:lnTo>
                      <a:pt x="1212" y="1009"/>
                    </a:lnTo>
                    <a:lnTo>
                      <a:pt x="1212" y="1010"/>
                    </a:lnTo>
                    <a:lnTo>
                      <a:pt x="1212" y="1012"/>
                    </a:lnTo>
                    <a:lnTo>
                      <a:pt x="1213" y="1014"/>
                    </a:lnTo>
                    <a:lnTo>
                      <a:pt x="1212" y="1014"/>
                    </a:lnTo>
                    <a:lnTo>
                      <a:pt x="1212" y="1012"/>
                    </a:lnTo>
                    <a:lnTo>
                      <a:pt x="1210" y="1012"/>
                    </a:lnTo>
                    <a:lnTo>
                      <a:pt x="1208" y="1012"/>
                    </a:lnTo>
                    <a:lnTo>
                      <a:pt x="1208" y="1014"/>
                    </a:lnTo>
                    <a:lnTo>
                      <a:pt x="1210" y="1014"/>
                    </a:lnTo>
                    <a:lnTo>
                      <a:pt x="1212" y="1014"/>
                    </a:lnTo>
                    <a:lnTo>
                      <a:pt x="1213" y="1014"/>
                    </a:lnTo>
                    <a:lnTo>
                      <a:pt x="1213" y="1015"/>
                    </a:lnTo>
                    <a:lnTo>
                      <a:pt x="1213" y="1017"/>
                    </a:lnTo>
                    <a:lnTo>
                      <a:pt x="1212" y="1015"/>
                    </a:lnTo>
                    <a:lnTo>
                      <a:pt x="1210" y="1015"/>
                    </a:lnTo>
                    <a:lnTo>
                      <a:pt x="1208" y="1015"/>
                    </a:lnTo>
                    <a:lnTo>
                      <a:pt x="1208" y="1017"/>
                    </a:lnTo>
                    <a:lnTo>
                      <a:pt x="1207" y="1017"/>
                    </a:lnTo>
                    <a:lnTo>
                      <a:pt x="1207" y="1015"/>
                    </a:lnTo>
                    <a:lnTo>
                      <a:pt x="1205" y="1015"/>
                    </a:lnTo>
                    <a:lnTo>
                      <a:pt x="1205" y="1017"/>
                    </a:lnTo>
                    <a:lnTo>
                      <a:pt x="1205" y="1019"/>
                    </a:lnTo>
                    <a:lnTo>
                      <a:pt x="1205" y="1020"/>
                    </a:lnTo>
                    <a:lnTo>
                      <a:pt x="1205" y="1022"/>
                    </a:lnTo>
                    <a:lnTo>
                      <a:pt x="1207" y="1022"/>
                    </a:lnTo>
                    <a:lnTo>
                      <a:pt x="1207" y="1024"/>
                    </a:lnTo>
                    <a:lnTo>
                      <a:pt x="1208" y="1024"/>
                    </a:lnTo>
                    <a:lnTo>
                      <a:pt x="1208" y="1026"/>
                    </a:lnTo>
                    <a:lnTo>
                      <a:pt x="1207" y="1026"/>
                    </a:lnTo>
                    <a:lnTo>
                      <a:pt x="1205" y="1026"/>
                    </a:lnTo>
                    <a:lnTo>
                      <a:pt x="1203" y="1026"/>
                    </a:lnTo>
                    <a:lnTo>
                      <a:pt x="1203" y="1024"/>
                    </a:lnTo>
                    <a:lnTo>
                      <a:pt x="1202" y="1024"/>
                    </a:lnTo>
                    <a:lnTo>
                      <a:pt x="1200" y="1024"/>
                    </a:lnTo>
                    <a:lnTo>
                      <a:pt x="1202" y="1024"/>
                    </a:lnTo>
                    <a:lnTo>
                      <a:pt x="1203" y="1026"/>
                    </a:lnTo>
                    <a:lnTo>
                      <a:pt x="1203" y="1027"/>
                    </a:lnTo>
                    <a:lnTo>
                      <a:pt x="1203" y="1029"/>
                    </a:lnTo>
                    <a:lnTo>
                      <a:pt x="1202" y="1029"/>
                    </a:lnTo>
                    <a:lnTo>
                      <a:pt x="1202" y="1027"/>
                    </a:lnTo>
                    <a:lnTo>
                      <a:pt x="1203" y="1029"/>
                    </a:lnTo>
                    <a:lnTo>
                      <a:pt x="1202" y="1031"/>
                    </a:lnTo>
                    <a:lnTo>
                      <a:pt x="1200" y="1031"/>
                    </a:lnTo>
                    <a:lnTo>
                      <a:pt x="1200" y="1029"/>
                    </a:lnTo>
                    <a:lnTo>
                      <a:pt x="1198" y="1027"/>
                    </a:lnTo>
                    <a:lnTo>
                      <a:pt x="1196" y="1027"/>
                    </a:lnTo>
                    <a:lnTo>
                      <a:pt x="1196" y="1029"/>
                    </a:lnTo>
                    <a:lnTo>
                      <a:pt x="1196" y="1027"/>
                    </a:lnTo>
                    <a:lnTo>
                      <a:pt x="1195" y="1027"/>
                    </a:lnTo>
                    <a:lnTo>
                      <a:pt x="1195" y="1026"/>
                    </a:lnTo>
                    <a:lnTo>
                      <a:pt x="1193" y="1026"/>
                    </a:lnTo>
                    <a:lnTo>
                      <a:pt x="1193" y="1027"/>
                    </a:lnTo>
                    <a:lnTo>
                      <a:pt x="1195" y="1027"/>
                    </a:lnTo>
                    <a:lnTo>
                      <a:pt x="1193" y="1027"/>
                    </a:lnTo>
                    <a:lnTo>
                      <a:pt x="1193" y="1029"/>
                    </a:lnTo>
                    <a:lnTo>
                      <a:pt x="1191" y="1027"/>
                    </a:lnTo>
                    <a:lnTo>
                      <a:pt x="1193" y="1027"/>
                    </a:lnTo>
                    <a:lnTo>
                      <a:pt x="1191" y="1026"/>
                    </a:lnTo>
                    <a:lnTo>
                      <a:pt x="1191" y="1024"/>
                    </a:lnTo>
                    <a:lnTo>
                      <a:pt x="1191" y="1026"/>
                    </a:lnTo>
                    <a:lnTo>
                      <a:pt x="1191" y="1027"/>
                    </a:lnTo>
                    <a:lnTo>
                      <a:pt x="1190" y="1026"/>
                    </a:lnTo>
                    <a:lnTo>
                      <a:pt x="1190" y="1027"/>
                    </a:lnTo>
                    <a:lnTo>
                      <a:pt x="1188" y="1026"/>
                    </a:lnTo>
                    <a:lnTo>
                      <a:pt x="1186" y="1026"/>
                    </a:lnTo>
                    <a:lnTo>
                      <a:pt x="1186" y="1024"/>
                    </a:lnTo>
                    <a:lnTo>
                      <a:pt x="1185" y="1024"/>
                    </a:lnTo>
                    <a:lnTo>
                      <a:pt x="1183" y="1024"/>
                    </a:lnTo>
                    <a:lnTo>
                      <a:pt x="1183" y="1022"/>
                    </a:lnTo>
                    <a:lnTo>
                      <a:pt x="1183" y="1020"/>
                    </a:lnTo>
                    <a:lnTo>
                      <a:pt x="1185" y="1019"/>
                    </a:lnTo>
                    <a:lnTo>
                      <a:pt x="1185" y="1017"/>
                    </a:lnTo>
                    <a:lnTo>
                      <a:pt x="1186" y="1017"/>
                    </a:lnTo>
                    <a:lnTo>
                      <a:pt x="1186" y="1015"/>
                    </a:lnTo>
                    <a:lnTo>
                      <a:pt x="1185" y="1015"/>
                    </a:lnTo>
                    <a:lnTo>
                      <a:pt x="1186" y="1015"/>
                    </a:lnTo>
                    <a:lnTo>
                      <a:pt x="1185" y="1015"/>
                    </a:lnTo>
                    <a:lnTo>
                      <a:pt x="1185" y="1014"/>
                    </a:lnTo>
                    <a:lnTo>
                      <a:pt x="1186" y="1014"/>
                    </a:lnTo>
                    <a:lnTo>
                      <a:pt x="1188" y="1012"/>
                    </a:lnTo>
                    <a:lnTo>
                      <a:pt x="1188" y="1010"/>
                    </a:lnTo>
                    <a:lnTo>
                      <a:pt x="1190" y="1009"/>
                    </a:lnTo>
                    <a:lnTo>
                      <a:pt x="1190" y="1007"/>
                    </a:lnTo>
                    <a:lnTo>
                      <a:pt x="1188" y="1007"/>
                    </a:lnTo>
                    <a:lnTo>
                      <a:pt x="1190" y="1007"/>
                    </a:lnTo>
                    <a:lnTo>
                      <a:pt x="1190" y="1005"/>
                    </a:lnTo>
                    <a:lnTo>
                      <a:pt x="1191" y="1005"/>
                    </a:lnTo>
                    <a:lnTo>
                      <a:pt x="1191" y="1003"/>
                    </a:lnTo>
                    <a:lnTo>
                      <a:pt x="1191" y="1002"/>
                    </a:lnTo>
                    <a:lnTo>
                      <a:pt x="1191" y="1000"/>
                    </a:lnTo>
                    <a:lnTo>
                      <a:pt x="1191" y="998"/>
                    </a:lnTo>
                    <a:lnTo>
                      <a:pt x="1191" y="997"/>
                    </a:lnTo>
                    <a:lnTo>
                      <a:pt x="1191" y="995"/>
                    </a:lnTo>
                    <a:lnTo>
                      <a:pt x="1191" y="993"/>
                    </a:lnTo>
                    <a:lnTo>
                      <a:pt x="1193" y="993"/>
                    </a:lnTo>
                    <a:lnTo>
                      <a:pt x="1191" y="993"/>
                    </a:lnTo>
                    <a:lnTo>
                      <a:pt x="1191" y="992"/>
                    </a:lnTo>
                    <a:lnTo>
                      <a:pt x="1191" y="990"/>
                    </a:lnTo>
                    <a:lnTo>
                      <a:pt x="1190" y="988"/>
                    </a:lnTo>
                    <a:lnTo>
                      <a:pt x="1190" y="986"/>
                    </a:lnTo>
                    <a:lnTo>
                      <a:pt x="1190" y="985"/>
                    </a:lnTo>
                    <a:lnTo>
                      <a:pt x="1190" y="983"/>
                    </a:lnTo>
                    <a:lnTo>
                      <a:pt x="1191" y="983"/>
                    </a:lnTo>
                    <a:lnTo>
                      <a:pt x="1191" y="981"/>
                    </a:lnTo>
                    <a:lnTo>
                      <a:pt x="1191" y="980"/>
                    </a:lnTo>
                    <a:lnTo>
                      <a:pt x="1191" y="978"/>
                    </a:lnTo>
                    <a:lnTo>
                      <a:pt x="1190" y="976"/>
                    </a:lnTo>
                    <a:lnTo>
                      <a:pt x="1191" y="976"/>
                    </a:lnTo>
                    <a:lnTo>
                      <a:pt x="1191" y="975"/>
                    </a:lnTo>
                    <a:lnTo>
                      <a:pt x="1191" y="973"/>
                    </a:lnTo>
                    <a:lnTo>
                      <a:pt x="1193" y="973"/>
                    </a:lnTo>
                    <a:lnTo>
                      <a:pt x="1193" y="971"/>
                    </a:lnTo>
                    <a:lnTo>
                      <a:pt x="1195" y="971"/>
                    </a:lnTo>
                    <a:lnTo>
                      <a:pt x="1195" y="969"/>
                    </a:lnTo>
                    <a:lnTo>
                      <a:pt x="1195" y="968"/>
                    </a:lnTo>
                    <a:lnTo>
                      <a:pt x="1195" y="966"/>
                    </a:lnTo>
                    <a:lnTo>
                      <a:pt x="1195" y="964"/>
                    </a:lnTo>
                    <a:lnTo>
                      <a:pt x="1195" y="963"/>
                    </a:lnTo>
                    <a:lnTo>
                      <a:pt x="1195" y="961"/>
                    </a:lnTo>
                    <a:lnTo>
                      <a:pt x="1196" y="961"/>
                    </a:lnTo>
                    <a:lnTo>
                      <a:pt x="1196" y="959"/>
                    </a:lnTo>
                    <a:lnTo>
                      <a:pt x="1195" y="959"/>
                    </a:lnTo>
                    <a:lnTo>
                      <a:pt x="1195" y="957"/>
                    </a:lnTo>
                    <a:lnTo>
                      <a:pt x="1195" y="956"/>
                    </a:lnTo>
                    <a:lnTo>
                      <a:pt x="1195" y="954"/>
                    </a:lnTo>
                    <a:lnTo>
                      <a:pt x="1196" y="954"/>
                    </a:lnTo>
                    <a:lnTo>
                      <a:pt x="1196" y="956"/>
                    </a:lnTo>
                    <a:lnTo>
                      <a:pt x="1198" y="956"/>
                    </a:lnTo>
                    <a:lnTo>
                      <a:pt x="1200" y="954"/>
                    </a:lnTo>
                    <a:close/>
                    <a:moveTo>
                      <a:pt x="1174" y="1286"/>
                    </a:moveTo>
                    <a:lnTo>
                      <a:pt x="1176" y="1286"/>
                    </a:lnTo>
                    <a:lnTo>
                      <a:pt x="1176" y="1288"/>
                    </a:lnTo>
                    <a:lnTo>
                      <a:pt x="1174" y="1289"/>
                    </a:lnTo>
                    <a:lnTo>
                      <a:pt x="1176" y="1289"/>
                    </a:lnTo>
                    <a:lnTo>
                      <a:pt x="1176" y="1288"/>
                    </a:lnTo>
                    <a:lnTo>
                      <a:pt x="1178" y="1289"/>
                    </a:lnTo>
                    <a:lnTo>
                      <a:pt x="1176" y="1289"/>
                    </a:lnTo>
                    <a:lnTo>
                      <a:pt x="1176" y="1291"/>
                    </a:lnTo>
                    <a:lnTo>
                      <a:pt x="1176" y="1293"/>
                    </a:lnTo>
                    <a:lnTo>
                      <a:pt x="1178" y="1293"/>
                    </a:lnTo>
                    <a:lnTo>
                      <a:pt x="1176" y="1294"/>
                    </a:lnTo>
                    <a:lnTo>
                      <a:pt x="1174" y="1296"/>
                    </a:lnTo>
                    <a:lnTo>
                      <a:pt x="1176" y="1296"/>
                    </a:lnTo>
                    <a:lnTo>
                      <a:pt x="1176" y="1294"/>
                    </a:lnTo>
                    <a:lnTo>
                      <a:pt x="1178" y="1294"/>
                    </a:lnTo>
                    <a:lnTo>
                      <a:pt x="1178" y="1293"/>
                    </a:lnTo>
                    <a:lnTo>
                      <a:pt x="1178" y="1291"/>
                    </a:lnTo>
                    <a:lnTo>
                      <a:pt x="1178" y="1289"/>
                    </a:lnTo>
                    <a:lnTo>
                      <a:pt x="1178" y="1288"/>
                    </a:lnTo>
                    <a:lnTo>
                      <a:pt x="1179" y="1288"/>
                    </a:lnTo>
                    <a:lnTo>
                      <a:pt x="1181" y="1288"/>
                    </a:lnTo>
                    <a:lnTo>
                      <a:pt x="1181" y="1289"/>
                    </a:lnTo>
                    <a:lnTo>
                      <a:pt x="1181" y="1291"/>
                    </a:lnTo>
                    <a:lnTo>
                      <a:pt x="1181" y="1293"/>
                    </a:lnTo>
                    <a:lnTo>
                      <a:pt x="1181" y="1294"/>
                    </a:lnTo>
                    <a:lnTo>
                      <a:pt x="1181" y="1296"/>
                    </a:lnTo>
                    <a:lnTo>
                      <a:pt x="1179" y="1296"/>
                    </a:lnTo>
                    <a:lnTo>
                      <a:pt x="1179" y="1298"/>
                    </a:lnTo>
                    <a:lnTo>
                      <a:pt x="1178" y="1298"/>
                    </a:lnTo>
                    <a:lnTo>
                      <a:pt x="1178" y="1299"/>
                    </a:lnTo>
                    <a:lnTo>
                      <a:pt x="1176" y="1299"/>
                    </a:lnTo>
                    <a:lnTo>
                      <a:pt x="1178" y="1299"/>
                    </a:lnTo>
                    <a:lnTo>
                      <a:pt x="1178" y="1298"/>
                    </a:lnTo>
                    <a:lnTo>
                      <a:pt x="1179" y="1298"/>
                    </a:lnTo>
                    <a:lnTo>
                      <a:pt x="1179" y="1296"/>
                    </a:lnTo>
                    <a:lnTo>
                      <a:pt x="1181" y="1296"/>
                    </a:lnTo>
                    <a:lnTo>
                      <a:pt x="1181" y="1298"/>
                    </a:lnTo>
                    <a:lnTo>
                      <a:pt x="1181" y="1299"/>
                    </a:lnTo>
                    <a:lnTo>
                      <a:pt x="1183" y="1299"/>
                    </a:lnTo>
                    <a:lnTo>
                      <a:pt x="1183" y="1301"/>
                    </a:lnTo>
                    <a:lnTo>
                      <a:pt x="1181" y="1301"/>
                    </a:lnTo>
                    <a:lnTo>
                      <a:pt x="1181" y="1303"/>
                    </a:lnTo>
                    <a:lnTo>
                      <a:pt x="1179" y="1303"/>
                    </a:lnTo>
                    <a:lnTo>
                      <a:pt x="1181" y="1303"/>
                    </a:lnTo>
                    <a:lnTo>
                      <a:pt x="1181" y="1305"/>
                    </a:lnTo>
                    <a:lnTo>
                      <a:pt x="1181" y="1306"/>
                    </a:lnTo>
                    <a:lnTo>
                      <a:pt x="1183" y="1308"/>
                    </a:lnTo>
                    <a:lnTo>
                      <a:pt x="1183" y="1310"/>
                    </a:lnTo>
                    <a:lnTo>
                      <a:pt x="1183" y="1308"/>
                    </a:lnTo>
                    <a:lnTo>
                      <a:pt x="1181" y="1310"/>
                    </a:lnTo>
                    <a:lnTo>
                      <a:pt x="1183" y="1311"/>
                    </a:lnTo>
                    <a:lnTo>
                      <a:pt x="1183" y="1313"/>
                    </a:lnTo>
                    <a:lnTo>
                      <a:pt x="1183" y="1315"/>
                    </a:lnTo>
                    <a:lnTo>
                      <a:pt x="1183" y="1316"/>
                    </a:lnTo>
                    <a:lnTo>
                      <a:pt x="1183" y="1318"/>
                    </a:lnTo>
                    <a:lnTo>
                      <a:pt x="1183" y="1320"/>
                    </a:lnTo>
                    <a:lnTo>
                      <a:pt x="1181" y="1320"/>
                    </a:lnTo>
                    <a:lnTo>
                      <a:pt x="1181" y="1322"/>
                    </a:lnTo>
                    <a:lnTo>
                      <a:pt x="1183" y="1322"/>
                    </a:lnTo>
                    <a:lnTo>
                      <a:pt x="1183" y="1323"/>
                    </a:lnTo>
                    <a:lnTo>
                      <a:pt x="1181" y="1323"/>
                    </a:lnTo>
                    <a:lnTo>
                      <a:pt x="1181" y="1325"/>
                    </a:lnTo>
                    <a:lnTo>
                      <a:pt x="1181" y="1327"/>
                    </a:lnTo>
                    <a:lnTo>
                      <a:pt x="1181" y="1328"/>
                    </a:lnTo>
                    <a:lnTo>
                      <a:pt x="1179" y="1328"/>
                    </a:lnTo>
                    <a:lnTo>
                      <a:pt x="1178" y="1328"/>
                    </a:lnTo>
                    <a:lnTo>
                      <a:pt x="1179" y="1328"/>
                    </a:lnTo>
                    <a:lnTo>
                      <a:pt x="1179" y="1330"/>
                    </a:lnTo>
                    <a:lnTo>
                      <a:pt x="1179" y="1328"/>
                    </a:lnTo>
                    <a:lnTo>
                      <a:pt x="1179" y="1330"/>
                    </a:lnTo>
                    <a:lnTo>
                      <a:pt x="1181" y="1332"/>
                    </a:lnTo>
                    <a:lnTo>
                      <a:pt x="1181" y="1333"/>
                    </a:lnTo>
                    <a:lnTo>
                      <a:pt x="1179" y="1335"/>
                    </a:lnTo>
                    <a:lnTo>
                      <a:pt x="1179" y="1333"/>
                    </a:lnTo>
                    <a:lnTo>
                      <a:pt x="1178" y="1335"/>
                    </a:lnTo>
                    <a:lnTo>
                      <a:pt x="1178" y="1337"/>
                    </a:lnTo>
                    <a:lnTo>
                      <a:pt x="1179" y="1337"/>
                    </a:lnTo>
                    <a:lnTo>
                      <a:pt x="1178" y="1339"/>
                    </a:lnTo>
                    <a:lnTo>
                      <a:pt x="1176" y="1337"/>
                    </a:lnTo>
                    <a:lnTo>
                      <a:pt x="1178" y="1339"/>
                    </a:lnTo>
                    <a:lnTo>
                      <a:pt x="1179" y="1339"/>
                    </a:lnTo>
                    <a:lnTo>
                      <a:pt x="1179" y="1337"/>
                    </a:lnTo>
                    <a:lnTo>
                      <a:pt x="1179" y="1335"/>
                    </a:lnTo>
                    <a:lnTo>
                      <a:pt x="1181" y="1335"/>
                    </a:lnTo>
                    <a:lnTo>
                      <a:pt x="1183" y="1337"/>
                    </a:lnTo>
                    <a:lnTo>
                      <a:pt x="1183" y="1339"/>
                    </a:lnTo>
                    <a:lnTo>
                      <a:pt x="1183" y="1340"/>
                    </a:lnTo>
                    <a:lnTo>
                      <a:pt x="1183" y="1342"/>
                    </a:lnTo>
                    <a:lnTo>
                      <a:pt x="1181" y="1342"/>
                    </a:lnTo>
                    <a:lnTo>
                      <a:pt x="1181" y="1340"/>
                    </a:lnTo>
                    <a:lnTo>
                      <a:pt x="1179" y="1340"/>
                    </a:lnTo>
                    <a:lnTo>
                      <a:pt x="1179" y="1342"/>
                    </a:lnTo>
                    <a:lnTo>
                      <a:pt x="1181" y="1342"/>
                    </a:lnTo>
                    <a:lnTo>
                      <a:pt x="1181" y="1344"/>
                    </a:lnTo>
                    <a:lnTo>
                      <a:pt x="1183" y="1344"/>
                    </a:lnTo>
                    <a:lnTo>
                      <a:pt x="1183" y="1345"/>
                    </a:lnTo>
                    <a:lnTo>
                      <a:pt x="1183" y="1347"/>
                    </a:lnTo>
                    <a:lnTo>
                      <a:pt x="1183" y="1349"/>
                    </a:lnTo>
                    <a:lnTo>
                      <a:pt x="1181" y="1350"/>
                    </a:lnTo>
                    <a:lnTo>
                      <a:pt x="1181" y="1349"/>
                    </a:lnTo>
                    <a:lnTo>
                      <a:pt x="1181" y="1347"/>
                    </a:lnTo>
                    <a:lnTo>
                      <a:pt x="1179" y="1347"/>
                    </a:lnTo>
                    <a:lnTo>
                      <a:pt x="1181" y="1347"/>
                    </a:lnTo>
                    <a:lnTo>
                      <a:pt x="1181" y="1349"/>
                    </a:lnTo>
                    <a:lnTo>
                      <a:pt x="1181" y="1350"/>
                    </a:lnTo>
                    <a:lnTo>
                      <a:pt x="1181" y="1352"/>
                    </a:lnTo>
                    <a:lnTo>
                      <a:pt x="1179" y="1352"/>
                    </a:lnTo>
                    <a:lnTo>
                      <a:pt x="1181" y="1352"/>
                    </a:lnTo>
                    <a:lnTo>
                      <a:pt x="1179" y="1354"/>
                    </a:lnTo>
                    <a:lnTo>
                      <a:pt x="1178" y="1352"/>
                    </a:lnTo>
                    <a:lnTo>
                      <a:pt x="1178" y="1350"/>
                    </a:lnTo>
                    <a:lnTo>
                      <a:pt x="1176" y="1350"/>
                    </a:lnTo>
                    <a:lnTo>
                      <a:pt x="1176" y="1349"/>
                    </a:lnTo>
                    <a:lnTo>
                      <a:pt x="1176" y="1347"/>
                    </a:lnTo>
                    <a:lnTo>
                      <a:pt x="1174" y="1349"/>
                    </a:lnTo>
                    <a:lnTo>
                      <a:pt x="1176" y="1349"/>
                    </a:lnTo>
                    <a:lnTo>
                      <a:pt x="1176" y="1350"/>
                    </a:lnTo>
                    <a:lnTo>
                      <a:pt x="1178" y="1352"/>
                    </a:lnTo>
                    <a:lnTo>
                      <a:pt x="1179" y="1354"/>
                    </a:lnTo>
                    <a:lnTo>
                      <a:pt x="1178" y="1354"/>
                    </a:lnTo>
                    <a:lnTo>
                      <a:pt x="1178" y="1356"/>
                    </a:lnTo>
                    <a:lnTo>
                      <a:pt x="1176" y="1356"/>
                    </a:lnTo>
                    <a:lnTo>
                      <a:pt x="1176" y="1357"/>
                    </a:lnTo>
                    <a:lnTo>
                      <a:pt x="1174" y="1357"/>
                    </a:lnTo>
                    <a:lnTo>
                      <a:pt x="1174" y="1356"/>
                    </a:lnTo>
                    <a:lnTo>
                      <a:pt x="1174" y="1357"/>
                    </a:lnTo>
                    <a:lnTo>
                      <a:pt x="1173" y="1357"/>
                    </a:lnTo>
                    <a:lnTo>
                      <a:pt x="1173" y="1356"/>
                    </a:lnTo>
                    <a:lnTo>
                      <a:pt x="1174" y="1356"/>
                    </a:lnTo>
                    <a:lnTo>
                      <a:pt x="1174" y="1354"/>
                    </a:lnTo>
                    <a:lnTo>
                      <a:pt x="1174" y="1356"/>
                    </a:lnTo>
                    <a:lnTo>
                      <a:pt x="1173" y="1356"/>
                    </a:lnTo>
                    <a:lnTo>
                      <a:pt x="1173" y="1357"/>
                    </a:lnTo>
                    <a:lnTo>
                      <a:pt x="1173" y="1356"/>
                    </a:lnTo>
                    <a:lnTo>
                      <a:pt x="1173" y="1357"/>
                    </a:lnTo>
                    <a:lnTo>
                      <a:pt x="1171" y="1357"/>
                    </a:lnTo>
                    <a:lnTo>
                      <a:pt x="1169" y="1357"/>
                    </a:lnTo>
                    <a:lnTo>
                      <a:pt x="1168" y="1357"/>
                    </a:lnTo>
                    <a:lnTo>
                      <a:pt x="1169" y="1356"/>
                    </a:lnTo>
                    <a:lnTo>
                      <a:pt x="1168" y="1357"/>
                    </a:lnTo>
                    <a:lnTo>
                      <a:pt x="1168" y="1356"/>
                    </a:lnTo>
                    <a:lnTo>
                      <a:pt x="1166" y="1354"/>
                    </a:lnTo>
                    <a:lnTo>
                      <a:pt x="1168" y="1354"/>
                    </a:lnTo>
                    <a:lnTo>
                      <a:pt x="1168" y="1352"/>
                    </a:lnTo>
                    <a:lnTo>
                      <a:pt x="1169" y="1352"/>
                    </a:lnTo>
                    <a:lnTo>
                      <a:pt x="1171" y="1350"/>
                    </a:lnTo>
                    <a:lnTo>
                      <a:pt x="1173" y="1350"/>
                    </a:lnTo>
                    <a:lnTo>
                      <a:pt x="1174" y="1350"/>
                    </a:lnTo>
                    <a:lnTo>
                      <a:pt x="1174" y="1352"/>
                    </a:lnTo>
                    <a:lnTo>
                      <a:pt x="1176" y="1352"/>
                    </a:lnTo>
                    <a:lnTo>
                      <a:pt x="1174" y="1350"/>
                    </a:lnTo>
                    <a:lnTo>
                      <a:pt x="1173" y="1350"/>
                    </a:lnTo>
                    <a:lnTo>
                      <a:pt x="1173" y="1349"/>
                    </a:lnTo>
                    <a:lnTo>
                      <a:pt x="1171" y="1350"/>
                    </a:lnTo>
                    <a:lnTo>
                      <a:pt x="1169" y="1350"/>
                    </a:lnTo>
                    <a:lnTo>
                      <a:pt x="1168" y="1352"/>
                    </a:lnTo>
                    <a:lnTo>
                      <a:pt x="1166" y="1354"/>
                    </a:lnTo>
                    <a:lnTo>
                      <a:pt x="1168" y="1352"/>
                    </a:lnTo>
                    <a:lnTo>
                      <a:pt x="1166" y="1352"/>
                    </a:lnTo>
                    <a:lnTo>
                      <a:pt x="1166" y="1350"/>
                    </a:lnTo>
                    <a:lnTo>
                      <a:pt x="1166" y="1349"/>
                    </a:lnTo>
                    <a:lnTo>
                      <a:pt x="1168" y="1349"/>
                    </a:lnTo>
                    <a:lnTo>
                      <a:pt x="1166" y="1347"/>
                    </a:lnTo>
                    <a:lnTo>
                      <a:pt x="1168" y="1347"/>
                    </a:lnTo>
                    <a:lnTo>
                      <a:pt x="1166" y="1345"/>
                    </a:lnTo>
                    <a:lnTo>
                      <a:pt x="1168" y="1345"/>
                    </a:lnTo>
                    <a:lnTo>
                      <a:pt x="1168" y="1347"/>
                    </a:lnTo>
                    <a:lnTo>
                      <a:pt x="1169" y="1347"/>
                    </a:lnTo>
                    <a:lnTo>
                      <a:pt x="1169" y="1349"/>
                    </a:lnTo>
                    <a:lnTo>
                      <a:pt x="1171" y="1347"/>
                    </a:lnTo>
                    <a:lnTo>
                      <a:pt x="1173" y="1347"/>
                    </a:lnTo>
                    <a:lnTo>
                      <a:pt x="1173" y="1345"/>
                    </a:lnTo>
                    <a:lnTo>
                      <a:pt x="1174" y="1345"/>
                    </a:lnTo>
                    <a:lnTo>
                      <a:pt x="1176" y="1344"/>
                    </a:lnTo>
                    <a:lnTo>
                      <a:pt x="1174" y="1345"/>
                    </a:lnTo>
                    <a:lnTo>
                      <a:pt x="1173" y="1345"/>
                    </a:lnTo>
                    <a:lnTo>
                      <a:pt x="1171" y="1347"/>
                    </a:lnTo>
                    <a:lnTo>
                      <a:pt x="1169" y="1347"/>
                    </a:lnTo>
                    <a:lnTo>
                      <a:pt x="1168" y="1345"/>
                    </a:lnTo>
                    <a:lnTo>
                      <a:pt x="1169" y="1345"/>
                    </a:lnTo>
                    <a:lnTo>
                      <a:pt x="1169" y="1344"/>
                    </a:lnTo>
                    <a:lnTo>
                      <a:pt x="1169" y="1342"/>
                    </a:lnTo>
                    <a:lnTo>
                      <a:pt x="1171" y="1342"/>
                    </a:lnTo>
                    <a:lnTo>
                      <a:pt x="1173" y="1342"/>
                    </a:lnTo>
                    <a:lnTo>
                      <a:pt x="1171" y="1342"/>
                    </a:lnTo>
                    <a:lnTo>
                      <a:pt x="1171" y="1340"/>
                    </a:lnTo>
                    <a:lnTo>
                      <a:pt x="1173" y="1340"/>
                    </a:lnTo>
                    <a:lnTo>
                      <a:pt x="1171" y="1340"/>
                    </a:lnTo>
                    <a:lnTo>
                      <a:pt x="1171" y="1342"/>
                    </a:lnTo>
                    <a:lnTo>
                      <a:pt x="1169" y="1342"/>
                    </a:lnTo>
                    <a:lnTo>
                      <a:pt x="1169" y="1344"/>
                    </a:lnTo>
                    <a:lnTo>
                      <a:pt x="1168" y="1345"/>
                    </a:lnTo>
                    <a:lnTo>
                      <a:pt x="1168" y="1344"/>
                    </a:lnTo>
                    <a:lnTo>
                      <a:pt x="1166" y="1344"/>
                    </a:lnTo>
                    <a:lnTo>
                      <a:pt x="1166" y="1342"/>
                    </a:lnTo>
                    <a:lnTo>
                      <a:pt x="1166" y="1340"/>
                    </a:lnTo>
                    <a:lnTo>
                      <a:pt x="1168" y="1340"/>
                    </a:lnTo>
                    <a:lnTo>
                      <a:pt x="1166" y="1339"/>
                    </a:lnTo>
                    <a:lnTo>
                      <a:pt x="1166" y="1337"/>
                    </a:lnTo>
                    <a:lnTo>
                      <a:pt x="1168" y="1337"/>
                    </a:lnTo>
                    <a:lnTo>
                      <a:pt x="1166" y="1335"/>
                    </a:lnTo>
                    <a:lnTo>
                      <a:pt x="1166" y="1333"/>
                    </a:lnTo>
                    <a:lnTo>
                      <a:pt x="1168" y="1333"/>
                    </a:lnTo>
                    <a:lnTo>
                      <a:pt x="1169" y="1333"/>
                    </a:lnTo>
                    <a:lnTo>
                      <a:pt x="1169" y="1335"/>
                    </a:lnTo>
                    <a:lnTo>
                      <a:pt x="1171" y="1335"/>
                    </a:lnTo>
                    <a:lnTo>
                      <a:pt x="1173" y="1335"/>
                    </a:lnTo>
                    <a:lnTo>
                      <a:pt x="1171" y="1335"/>
                    </a:lnTo>
                    <a:lnTo>
                      <a:pt x="1171" y="1333"/>
                    </a:lnTo>
                    <a:lnTo>
                      <a:pt x="1171" y="1332"/>
                    </a:lnTo>
                    <a:lnTo>
                      <a:pt x="1173" y="1332"/>
                    </a:lnTo>
                    <a:lnTo>
                      <a:pt x="1171" y="1330"/>
                    </a:lnTo>
                    <a:lnTo>
                      <a:pt x="1171" y="1332"/>
                    </a:lnTo>
                    <a:lnTo>
                      <a:pt x="1171" y="1333"/>
                    </a:lnTo>
                    <a:lnTo>
                      <a:pt x="1169" y="1333"/>
                    </a:lnTo>
                    <a:lnTo>
                      <a:pt x="1168" y="1333"/>
                    </a:lnTo>
                    <a:lnTo>
                      <a:pt x="1168" y="1332"/>
                    </a:lnTo>
                    <a:lnTo>
                      <a:pt x="1166" y="1332"/>
                    </a:lnTo>
                    <a:lnTo>
                      <a:pt x="1168" y="1332"/>
                    </a:lnTo>
                    <a:lnTo>
                      <a:pt x="1168" y="1330"/>
                    </a:lnTo>
                    <a:lnTo>
                      <a:pt x="1168" y="1328"/>
                    </a:lnTo>
                    <a:lnTo>
                      <a:pt x="1169" y="1328"/>
                    </a:lnTo>
                    <a:lnTo>
                      <a:pt x="1171" y="1327"/>
                    </a:lnTo>
                    <a:lnTo>
                      <a:pt x="1173" y="1325"/>
                    </a:lnTo>
                    <a:lnTo>
                      <a:pt x="1174" y="1325"/>
                    </a:lnTo>
                    <a:lnTo>
                      <a:pt x="1176" y="1325"/>
                    </a:lnTo>
                    <a:lnTo>
                      <a:pt x="1174" y="1323"/>
                    </a:lnTo>
                    <a:lnTo>
                      <a:pt x="1173" y="1325"/>
                    </a:lnTo>
                    <a:lnTo>
                      <a:pt x="1173" y="1323"/>
                    </a:lnTo>
                    <a:lnTo>
                      <a:pt x="1173" y="1322"/>
                    </a:lnTo>
                    <a:lnTo>
                      <a:pt x="1174" y="1322"/>
                    </a:lnTo>
                    <a:lnTo>
                      <a:pt x="1176" y="1320"/>
                    </a:lnTo>
                    <a:lnTo>
                      <a:pt x="1176" y="1318"/>
                    </a:lnTo>
                    <a:lnTo>
                      <a:pt x="1176" y="1320"/>
                    </a:lnTo>
                    <a:lnTo>
                      <a:pt x="1174" y="1320"/>
                    </a:lnTo>
                    <a:lnTo>
                      <a:pt x="1174" y="1322"/>
                    </a:lnTo>
                    <a:lnTo>
                      <a:pt x="1173" y="1322"/>
                    </a:lnTo>
                    <a:lnTo>
                      <a:pt x="1173" y="1323"/>
                    </a:lnTo>
                    <a:lnTo>
                      <a:pt x="1173" y="1322"/>
                    </a:lnTo>
                    <a:lnTo>
                      <a:pt x="1171" y="1322"/>
                    </a:lnTo>
                    <a:lnTo>
                      <a:pt x="1169" y="1320"/>
                    </a:lnTo>
                    <a:lnTo>
                      <a:pt x="1171" y="1322"/>
                    </a:lnTo>
                    <a:lnTo>
                      <a:pt x="1171" y="1323"/>
                    </a:lnTo>
                    <a:lnTo>
                      <a:pt x="1173" y="1323"/>
                    </a:lnTo>
                    <a:lnTo>
                      <a:pt x="1171" y="1325"/>
                    </a:lnTo>
                    <a:lnTo>
                      <a:pt x="1169" y="1327"/>
                    </a:lnTo>
                    <a:lnTo>
                      <a:pt x="1168" y="1327"/>
                    </a:lnTo>
                    <a:lnTo>
                      <a:pt x="1168" y="1328"/>
                    </a:lnTo>
                    <a:lnTo>
                      <a:pt x="1168" y="1327"/>
                    </a:lnTo>
                    <a:lnTo>
                      <a:pt x="1168" y="1325"/>
                    </a:lnTo>
                    <a:lnTo>
                      <a:pt x="1168" y="1323"/>
                    </a:lnTo>
                    <a:lnTo>
                      <a:pt x="1168" y="1325"/>
                    </a:lnTo>
                    <a:lnTo>
                      <a:pt x="1168" y="1327"/>
                    </a:lnTo>
                    <a:lnTo>
                      <a:pt x="1168" y="1328"/>
                    </a:lnTo>
                    <a:lnTo>
                      <a:pt x="1166" y="1330"/>
                    </a:lnTo>
                    <a:lnTo>
                      <a:pt x="1164" y="1330"/>
                    </a:lnTo>
                    <a:lnTo>
                      <a:pt x="1164" y="1328"/>
                    </a:lnTo>
                    <a:lnTo>
                      <a:pt x="1166" y="1327"/>
                    </a:lnTo>
                    <a:lnTo>
                      <a:pt x="1164" y="1327"/>
                    </a:lnTo>
                    <a:lnTo>
                      <a:pt x="1164" y="1325"/>
                    </a:lnTo>
                    <a:lnTo>
                      <a:pt x="1164" y="1327"/>
                    </a:lnTo>
                    <a:lnTo>
                      <a:pt x="1164" y="1328"/>
                    </a:lnTo>
                    <a:lnTo>
                      <a:pt x="1162" y="1327"/>
                    </a:lnTo>
                    <a:lnTo>
                      <a:pt x="1162" y="1328"/>
                    </a:lnTo>
                    <a:lnTo>
                      <a:pt x="1164" y="1328"/>
                    </a:lnTo>
                    <a:lnTo>
                      <a:pt x="1164" y="1330"/>
                    </a:lnTo>
                    <a:lnTo>
                      <a:pt x="1162" y="1330"/>
                    </a:lnTo>
                    <a:lnTo>
                      <a:pt x="1162" y="1328"/>
                    </a:lnTo>
                    <a:lnTo>
                      <a:pt x="1162" y="1330"/>
                    </a:lnTo>
                    <a:lnTo>
                      <a:pt x="1164" y="1332"/>
                    </a:lnTo>
                    <a:lnTo>
                      <a:pt x="1162" y="1332"/>
                    </a:lnTo>
                    <a:lnTo>
                      <a:pt x="1164" y="1332"/>
                    </a:lnTo>
                    <a:lnTo>
                      <a:pt x="1164" y="1333"/>
                    </a:lnTo>
                    <a:lnTo>
                      <a:pt x="1162" y="1333"/>
                    </a:lnTo>
                    <a:lnTo>
                      <a:pt x="1162" y="1332"/>
                    </a:lnTo>
                    <a:lnTo>
                      <a:pt x="1161" y="1332"/>
                    </a:lnTo>
                    <a:lnTo>
                      <a:pt x="1161" y="1330"/>
                    </a:lnTo>
                    <a:lnTo>
                      <a:pt x="1159" y="1330"/>
                    </a:lnTo>
                    <a:lnTo>
                      <a:pt x="1161" y="1332"/>
                    </a:lnTo>
                    <a:lnTo>
                      <a:pt x="1162" y="1333"/>
                    </a:lnTo>
                    <a:lnTo>
                      <a:pt x="1164" y="1333"/>
                    </a:lnTo>
                    <a:lnTo>
                      <a:pt x="1162" y="1335"/>
                    </a:lnTo>
                    <a:lnTo>
                      <a:pt x="1162" y="1337"/>
                    </a:lnTo>
                    <a:lnTo>
                      <a:pt x="1162" y="1339"/>
                    </a:lnTo>
                    <a:lnTo>
                      <a:pt x="1162" y="1337"/>
                    </a:lnTo>
                    <a:lnTo>
                      <a:pt x="1164" y="1337"/>
                    </a:lnTo>
                    <a:lnTo>
                      <a:pt x="1164" y="1335"/>
                    </a:lnTo>
                    <a:lnTo>
                      <a:pt x="1164" y="1333"/>
                    </a:lnTo>
                    <a:lnTo>
                      <a:pt x="1164" y="1335"/>
                    </a:lnTo>
                    <a:lnTo>
                      <a:pt x="1166" y="1335"/>
                    </a:lnTo>
                    <a:lnTo>
                      <a:pt x="1164" y="1335"/>
                    </a:lnTo>
                    <a:lnTo>
                      <a:pt x="1164" y="1337"/>
                    </a:lnTo>
                    <a:lnTo>
                      <a:pt x="1164" y="1339"/>
                    </a:lnTo>
                    <a:lnTo>
                      <a:pt x="1162" y="1340"/>
                    </a:lnTo>
                    <a:lnTo>
                      <a:pt x="1162" y="1339"/>
                    </a:lnTo>
                    <a:lnTo>
                      <a:pt x="1162" y="1340"/>
                    </a:lnTo>
                    <a:lnTo>
                      <a:pt x="1162" y="1342"/>
                    </a:lnTo>
                    <a:lnTo>
                      <a:pt x="1162" y="1344"/>
                    </a:lnTo>
                    <a:lnTo>
                      <a:pt x="1162" y="1342"/>
                    </a:lnTo>
                    <a:lnTo>
                      <a:pt x="1162" y="1340"/>
                    </a:lnTo>
                    <a:lnTo>
                      <a:pt x="1164" y="1340"/>
                    </a:lnTo>
                    <a:lnTo>
                      <a:pt x="1164" y="1339"/>
                    </a:lnTo>
                    <a:lnTo>
                      <a:pt x="1164" y="1340"/>
                    </a:lnTo>
                    <a:lnTo>
                      <a:pt x="1164" y="1342"/>
                    </a:lnTo>
                    <a:lnTo>
                      <a:pt x="1164" y="1340"/>
                    </a:lnTo>
                    <a:lnTo>
                      <a:pt x="1166" y="1342"/>
                    </a:lnTo>
                    <a:lnTo>
                      <a:pt x="1166" y="1344"/>
                    </a:lnTo>
                    <a:lnTo>
                      <a:pt x="1164" y="1344"/>
                    </a:lnTo>
                    <a:lnTo>
                      <a:pt x="1166" y="1344"/>
                    </a:lnTo>
                    <a:lnTo>
                      <a:pt x="1164" y="1344"/>
                    </a:lnTo>
                    <a:lnTo>
                      <a:pt x="1164" y="1345"/>
                    </a:lnTo>
                    <a:lnTo>
                      <a:pt x="1164" y="1344"/>
                    </a:lnTo>
                    <a:lnTo>
                      <a:pt x="1164" y="1345"/>
                    </a:lnTo>
                    <a:lnTo>
                      <a:pt x="1164" y="1347"/>
                    </a:lnTo>
                    <a:lnTo>
                      <a:pt x="1162" y="1347"/>
                    </a:lnTo>
                    <a:lnTo>
                      <a:pt x="1164" y="1347"/>
                    </a:lnTo>
                    <a:lnTo>
                      <a:pt x="1162" y="1349"/>
                    </a:lnTo>
                    <a:lnTo>
                      <a:pt x="1161" y="1349"/>
                    </a:lnTo>
                    <a:lnTo>
                      <a:pt x="1161" y="1347"/>
                    </a:lnTo>
                    <a:lnTo>
                      <a:pt x="1161" y="1345"/>
                    </a:lnTo>
                    <a:lnTo>
                      <a:pt x="1161" y="1347"/>
                    </a:lnTo>
                    <a:lnTo>
                      <a:pt x="1159" y="1347"/>
                    </a:lnTo>
                    <a:lnTo>
                      <a:pt x="1157" y="1345"/>
                    </a:lnTo>
                    <a:lnTo>
                      <a:pt x="1157" y="1344"/>
                    </a:lnTo>
                    <a:lnTo>
                      <a:pt x="1157" y="1342"/>
                    </a:lnTo>
                    <a:lnTo>
                      <a:pt x="1159" y="1342"/>
                    </a:lnTo>
                    <a:lnTo>
                      <a:pt x="1157" y="1342"/>
                    </a:lnTo>
                    <a:lnTo>
                      <a:pt x="1156" y="1342"/>
                    </a:lnTo>
                    <a:lnTo>
                      <a:pt x="1156" y="1340"/>
                    </a:lnTo>
                    <a:lnTo>
                      <a:pt x="1156" y="1339"/>
                    </a:lnTo>
                    <a:lnTo>
                      <a:pt x="1154" y="1339"/>
                    </a:lnTo>
                    <a:lnTo>
                      <a:pt x="1156" y="1339"/>
                    </a:lnTo>
                    <a:lnTo>
                      <a:pt x="1157" y="1337"/>
                    </a:lnTo>
                    <a:lnTo>
                      <a:pt x="1156" y="1337"/>
                    </a:lnTo>
                    <a:lnTo>
                      <a:pt x="1154" y="1337"/>
                    </a:lnTo>
                    <a:lnTo>
                      <a:pt x="1156" y="1337"/>
                    </a:lnTo>
                    <a:lnTo>
                      <a:pt x="1154" y="1337"/>
                    </a:lnTo>
                    <a:lnTo>
                      <a:pt x="1154" y="1335"/>
                    </a:lnTo>
                    <a:lnTo>
                      <a:pt x="1156" y="1337"/>
                    </a:lnTo>
                    <a:lnTo>
                      <a:pt x="1157" y="1337"/>
                    </a:lnTo>
                    <a:lnTo>
                      <a:pt x="1157" y="1335"/>
                    </a:lnTo>
                    <a:lnTo>
                      <a:pt x="1157" y="1337"/>
                    </a:lnTo>
                    <a:lnTo>
                      <a:pt x="1156" y="1337"/>
                    </a:lnTo>
                    <a:lnTo>
                      <a:pt x="1156" y="1335"/>
                    </a:lnTo>
                    <a:lnTo>
                      <a:pt x="1154" y="1335"/>
                    </a:lnTo>
                    <a:lnTo>
                      <a:pt x="1156" y="1335"/>
                    </a:lnTo>
                    <a:lnTo>
                      <a:pt x="1156" y="1333"/>
                    </a:lnTo>
                    <a:lnTo>
                      <a:pt x="1157" y="1333"/>
                    </a:lnTo>
                    <a:lnTo>
                      <a:pt x="1157" y="1332"/>
                    </a:lnTo>
                    <a:lnTo>
                      <a:pt x="1157" y="1333"/>
                    </a:lnTo>
                    <a:lnTo>
                      <a:pt x="1156" y="1333"/>
                    </a:lnTo>
                    <a:lnTo>
                      <a:pt x="1156" y="1335"/>
                    </a:lnTo>
                    <a:lnTo>
                      <a:pt x="1154" y="1335"/>
                    </a:lnTo>
                    <a:lnTo>
                      <a:pt x="1152" y="1335"/>
                    </a:lnTo>
                    <a:lnTo>
                      <a:pt x="1152" y="1333"/>
                    </a:lnTo>
                    <a:lnTo>
                      <a:pt x="1154" y="1333"/>
                    </a:lnTo>
                    <a:lnTo>
                      <a:pt x="1154" y="1332"/>
                    </a:lnTo>
                    <a:lnTo>
                      <a:pt x="1156" y="1332"/>
                    </a:lnTo>
                    <a:lnTo>
                      <a:pt x="1157" y="1332"/>
                    </a:lnTo>
                    <a:lnTo>
                      <a:pt x="1156" y="1332"/>
                    </a:lnTo>
                    <a:lnTo>
                      <a:pt x="1156" y="1330"/>
                    </a:lnTo>
                    <a:lnTo>
                      <a:pt x="1157" y="1330"/>
                    </a:lnTo>
                    <a:lnTo>
                      <a:pt x="1157" y="1328"/>
                    </a:lnTo>
                    <a:lnTo>
                      <a:pt x="1157" y="1330"/>
                    </a:lnTo>
                    <a:lnTo>
                      <a:pt x="1157" y="1328"/>
                    </a:lnTo>
                    <a:lnTo>
                      <a:pt x="1156" y="1330"/>
                    </a:lnTo>
                    <a:lnTo>
                      <a:pt x="1154" y="1330"/>
                    </a:lnTo>
                    <a:lnTo>
                      <a:pt x="1154" y="1332"/>
                    </a:lnTo>
                    <a:lnTo>
                      <a:pt x="1154" y="1330"/>
                    </a:lnTo>
                    <a:lnTo>
                      <a:pt x="1152" y="1330"/>
                    </a:lnTo>
                    <a:lnTo>
                      <a:pt x="1152" y="1328"/>
                    </a:lnTo>
                    <a:lnTo>
                      <a:pt x="1154" y="1328"/>
                    </a:lnTo>
                    <a:lnTo>
                      <a:pt x="1156" y="1327"/>
                    </a:lnTo>
                    <a:lnTo>
                      <a:pt x="1154" y="1327"/>
                    </a:lnTo>
                    <a:lnTo>
                      <a:pt x="1156" y="1327"/>
                    </a:lnTo>
                    <a:lnTo>
                      <a:pt x="1156" y="1325"/>
                    </a:lnTo>
                    <a:lnTo>
                      <a:pt x="1156" y="1327"/>
                    </a:lnTo>
                    <a:lnTo>
                      <a:pt x="1154" y="1327"/>
                    </a:lnTo>
                    <a:lnTo>
                      <a:pt x="1154" y="1328"/>
                    </a:lnTo>
                    <a:lnTo>
                      <a:pt x="1152" y="1328"/>
                    </a:lnTo>
                    <a:lnTo>
                      <a:pt x="1152" y="1330"/>
                    </a:lnTo>
                    <a:lnTo>
                      <a:pt x="1152" y="1328"/>
                    </a:lnTo>
                    <a:lnTo>
                      <a:pt x="1151" y="1327"/>
                    </a:lnTo>
                    <a:lnTo>
                      <a:pt x="1152" y="1325"/>
                    </a:lnTo>
                    <a:lnTo>
                      <a:pt x="1151" y="1325"/>
                    </a:lnTo>
                    <a:lnTo>
                      <a:pt x="1151" y="1327"/>
                    </a:lnTo>
                    <a:lnTo>
                      <a:pt x="1152" y="1325"/>
                    </a:lnTo>
                    <a:lnTo>
                      <a:pt x="1151" y="1327"/>
                    </a:lnTo>
                    <a:lnTo>
                      <a:pt x="1149" y="1328"/>
                    </a:lnTo>
                    <a:lnTo>
                      <a:pt x="1149" y="1327"/>
                    </a:lnTo>
                    <a:lnTo>
                      <a:pt x="1151" y="1325"/>
                    </a:lnTo>
                    <a:lnTo>
                      <a:pt x="1152" y="1323"/>
                    </a:lnTo>
                    <a:lnTo>
                      <a:pt x="1151" y="1323"/>
                    </a:lnTo>
                    <a:lnTo>
                      <a:pt x="1151" y="1325"/>
                    </a:lnTo>
                    <a:lnTo>
                      <a:pt x="1149" y="1325"/>
                    </a:lnTo>
                    <a:lnTo>
                      <a:pt x="1149" y="1323"/>
                    </a:lnTo>
                    <a:lnTo>
                      <a:pt x="1147" y="1323"/>
                    </a:lnTo>
                    <a:lnTo>
                      <a:pt x="1147" y="1322"/>
                    </a:lnTo>
                    <a:lnTo>
                      <a:pt x="1149" y="1320"/>
                    </a:lnTo>
                    <a:lnTo>
                      <a:pt x="1147" y="1320"/>
                    </a:lnTo>
                    <a:lnTo>
                      <a:pt x="1147" y="1318"/>
                    </a:lnTo>
                    <a:lnTo>
                      <a:pt x="1147" y="1316"/>
                    </a:lnTo>
                    <a:lnTo>
                      <a:pt x="1149" y="1316"/>
                    </a:lnTo>
                    <a:lnTo>
                      <a:pt x="1151" y="1315"/>
                    </a:lnTo>
                    <a:lnTo>
                      <a:pt x="1151" y="1316"/>
                    </a:lnTo>
                    <a:lnTo>
                      <a:pt x="1152" y="1315"/>
                    </a:lnTo>
                    <a:lnTo>
                      <a:pt x="1152" y="1316"/>
                    </a:lnTo>
                    <a:lnTo>
                      <a:pt x="1151" y="1316"/>
                    </a:lnTo>
                    <a:lnTo>
                      <a:pt x="1151" y="1318"/>
                    </a:lnTo>
                    <a:lnTo>
                      <a:pt x="1149" y="1318"/>
                    </a:lnTo>
                    <a:lnTo>
                      <a:pt x="1149" y="1320"/>
                    </a:lnTo>
                    <a:lnTo>
                      <a:pt x="1149" y="1318"/>
                    </a:lnTo>
                    <a:lnTo>
                      <a:pt x="1151" y="1318"/>
                    </a:lnTo>
                    <a:lnTo>
                      <a:pt x="1152" y="1316"/>
                    </a:lnTo>
                    <a:lnTo>
                      <a:pt x="1152" y="1318"/>
                    </a:lnTo>
                    <a:lnTo>
                      <a:pt x="1151" y="1318"/>
                    </a:lnTo>
                    <a:lnTo>
                      <a:pt x="1152" y="1318"/>
                    </a:lnTo>
                    <a:lnTo>
                      <a:pt x="1152" y="1320"/>
                    </a:lnTo>
                    <a:lnTo>
                      <a:pt x="1152" y="1322"/>
                    </a:lnTo>
                    <a:lnTo>
                      <a:pt x="1154" y="1322"/>
                    </a:lnTo>
                    <a:lnTo>
                      <a:pt x="1154" y="1323"/>
                    </a:lnTo>
                    <a:lnTo>
                      <a:pt x="1156" y="1325"/>
                    </a:lnTo>
                    <a:lnTo>
                      <a:pt x="1157" y="1325"/>
                    </a:lnTo>
                    <a:lnTo>
                      <a:pt x="1157" y="1327"/>
                    </a:lnTo>
                    <a:lnTo>
                      <a:pt x="1159" y="1327"/>
                    </a:lnTo>
                    <a:lnTo>
                      <a:pt x="1157" y="1327"/>
                    </a:lnTo>
                    <a:lnTo>
                      <a:pt x="1157" y="1325"/>
                    </a:lnTo>
                    <a:lnTo>
                      <a:pt x="1156" y="1325"/>
                    </a:lnTo>
                    <a:lnTo>
                      <a:pt x="1156" y="1323"/>
                    </a:lnTo>
                    <a:lnTo>
                      <a:pt x="1156" y="1325"/>
                    </a:lnTo>
                    <a:lnTo>
                      <a:pt x="1157" y="1323"/>
                    </a:lnTo>
                    <a:lnTo>
                      <a:pt x="1159" y="1323"/>
                    </a:lnTo>
                    <a:lnTo>
                      <a:pt x="1159" y="1325"/>
                    </a:lnTo>
                    <a:lnTo>
                      <a:pt x="1161" y="1323"/>
                    </a:lnTo>
                    <a:lnTo>
                      <a:pt x="1162" y="1323"/>
                    </a:lnTo>
                    <a:lnTo>
                      <a:pt x="1164" y="1323"/>
                    </a:lnTo>
                    <a:lnTo>
                      <a:pt x="1162" y="1323"/>
                    </a:lnTo>
                    <a:lnTo>
                      <a:pt x="1161" y="1323"/>
                    </a:lnTo>
                    <a:lnTo>
                      <a:pt x="1159" y="1323"/>
                    </a:lnTo>
                    <a:lnTo>
                      <a:pt x="1157" y="1323"/>
                    </a:lnTo>
                    <a:lnTo>
                      <a:pt x="1156" y="1323"/>
                    </a:lnTo>
                    <a:lnTo>
                      <a:pt x="1157" y="1323"/>
                    </a:lnTo>
                    <a:lnTo>
                      <a:pt x="1156" y="1323"/>
                    </a:lnTo>
                    <a:lnTo>
                      <a:pt x="1156" y="1322"/>
                    </a:lnTo>
                    <a:lnTo>
                      <a:pt x="1154" y="1322"/>
                    </a:lnTo>
                    <a:lnTo>
                      <a:pt x="1156" y="1322"/>
                    </a:lnTo>
                    <a:lnTo>
                      <a:pt x="1154" y="1322"/>
                    </a:lnTo>
                    <a:lnTo>
                      <a:pt x="1154" y="1320"/>
                    </a:lnTo>
                    <a:lnTo>
                      <a:pt x="1154" y="1318"/>
                    </a:lnTo>
                    <a:lnTo>
                      <a:pt x="1156" y="1320"/>
                    </a:lnTo>
                    <a:lnTo>
                      <a:pt x="1154" y="1318"/>
                    </a:lnTo>
                    <a:lnTo>
                      <a:pt x="1152" y="1318"/>
                    </a:lnTo>
                    <a:lnTo>
                      <a:pt x="1152" y="1316"/>
                    </a:lnTo>
                    <a:lnTo>
                      <a:pt x="1154" y="1316"/>
                    </a:lnTo>
                    <a:lnTo>
                      <a:pt x="1154" y="1315"/>
                    </a:lnTo>
                    <a:lnTo>
                      <a:pt x="1152" y="1315"/>
                    </a:lnTo>
                    <a:lnTo>
                      <a:pt x="1154" y="1315"/>
                    </a:lnTo>
                    <a:lnTo>
                      <a:pt x="1156" y="1315"/>
                    </a:lnTo>
                    <a:lnTo>
                      <a:pt x="1156" y="1316"/>
                    </a:lnTo>
                    <a:lnTo>
                      <a:pt x="1156" y="1315"/>
                    </a:lnTo>
                    <a:lnTo>
                      <a:pt x="1156" y="1316"/>
                    </a:lnTo>
                    <a:lnTo>
                      <a:pt x="1157" y="1316"/>
                    </a:lnTo>
                    <a:lnTo>
                      <a:pt x="1156" y="1316"/>
                    </a:lnTo>
                    <a:lnTo>
                      <a:pt x="1157" y="1316"/>
                    </a:lnTo>
                    <a:lnTo>
                      <a:pt x="1157" y="1318"/>
                    </a:lnTo>
                    <a:lnTo>
                      <a:pt x="1157" y="1320"/>
                    </a:lnTo>
                    <a:lnTo>
                      <a:pt x="1159" y="1320"/>
                    </a:lnTo>
                    <a:lnTo>
                      <a:pt x="1157" y="1320"/>
                    </a:lnTo>
                    <a:lnTo>
                      <a:pt x="1159" y="1320"/>
                    </a:lnTo>
                    <a:lnTo>
                      <a:pt x="1159" y="1322"/>
                    </a:lnTo>
                    <a:lnTo>
                      <a:pt x="1159" y="1320"/>
                    </a:lnTo>
                    <a:lnTo>
                      <a:pt x="1161" y="1320"/>
                    </a:lnTo>
                    <a:lnTo>
                      <a:pt x="1162" y="1320"/>
                    </a:lnTo>
                    <a:lnTo>
                      <a:pt x="1161" y="1320"/>
                    </a:lnTo>
                    <a:lnTo>
                      <a:pt x="1159" y="1320"/>
                    </a:lnTo>
                    <a:lnTo>
                      <a:pt x="1157" y="1318"/>
                    </a:lnTo>
                    <a:lnTo>
                      <a:pt x="1159" y="1318"/>
                    </a:lnTo>
                    <a:lnTo>
                      <a:pt x="1159" y="1316"/>
                    </a:lnTo>
                    <a:lnTo>
                      <a:pt x="1157" y="1318"/>
                    </a:lnTo>
                    <a:lnTo>
                      <a:pt x="1157" y="1316"/>
                    </a:lnTo>
                    <a:lnTo>
                      <a:pt x="1157" y="1315"/>
                    </a:lnTo>
                    <a:lnTo>
                      <a:pt x="1157" y="1316"/>
                    </a:lnTo>
                    <a:lnTo>
                      <a:pt x="1159" y="1316"/>
                    </a:lnTo>
                    <a:lnTo>
                      <a:pt x="1161" y="1318"/>
                    </a:lnTo>
                    <a:lnTo>
                      <a:pt x="1161" y="1320"/>
                    </a:lnTo>
                    <a:lnTo>
                      <a:pt x="1162" y="1320"/>
                    </a:lnTo>
                    <a:lnTo>
                      <a:pt x="1161" y="1318"/>
                    </a:lnTo>
                    <a:lnTo>
                      <a:pt x="1159" y="1316"/>
                    </a:lnTo>
                    <a:lnTo>
                      <a:pt x="1161" y="1316"/>
                    </a:lnTo>
                    <a:lnTo>
                      <a:pt x="1159" y="1316"/>
                    </a:lnTo>
                    <a:lnTo>
                      <a:pt x="1159" y="1315"/>
                    </a:lnTo>
                    <a:lnTo>
                      <a:pt x="1161" y="1315"/>
                    </a:lnTo>
                    <a:lnTo>
                      <a:pt x="1161" y="1316"/>
                    </a:lnTo>
                    <a:lnTo>
                      <a:pt x="1161" y="1315"/>
                    </a:lnTo>
                    <a:lnTo>
                      <a:pt x="1162" y="1316"/>
                    </a:lnTo>
                    <a:lnTo>
                      <a:pt x="1164" y="1316"/>
                    </a:lnTo>
                    <a:lnTo>
                      <a:pt x="1164" y="1318"/>
                    </a:lnTo>
                    <a:lnTo>
                      <a:pt x="1164" y="1316"/>
                    </a:lnTo>
                    <a:lnTo>
                      <a:pt x="1162" y="1316"/>
                    </a:lnTo>
                    <a:lnTo>
                      <a:pt x="1162" y="1315"/>
                    </a:lnTo>
                    <a:lnTo>
                      <a:pt x="1164" y="1315"/>
                    </a:lnTo>
                    <a:lnTo>
                      <a:pt x="1162" y="1315"/>
                    </a:lnTo>
                    <a:lnTo>
                      <a:pt x="1161" y="1315"/>
                    </a:lnTo>
                    <a:lnTo>
                      <a:pt x="1161" y="1313"/>
                    </a:lnTo>
                    <a:lnTo>
                      <a:pt x="1162" y="1313"/>
                    </a:lnTo>
                    <a:lnTo>
                      <a:pt x="1162" y="1315"/>
                    </a:lnTo>
                    <a:lnTo>
                      <a:pt x="1162" y="1313"/>
                    </a:lnTo>
                    <a:lnTo>
                      <a:pt x="1161" y="1313"/>
                    </a:lnTo>
                    <a:lnTo>
                      <a:pt x="1161" y="1311"/>
                    </a:lnTo>
                    <a:lnTo>
                      <a:pt x="1162" y="1313"/>
                    </a:lnTo>
                    <a:lnTo>
                      <a:pt x="1162" y="1315"/>
                    </a:lnTo>
                    <a:lnTo>
                      <a:pt x="1164" y="1315"/>
                    </a:lnTo>
                    <a:lnTo>
                      <a:pt x="1164" y="1316"/>
                    </a:lnTo>
                    <a:lnTo>
                      <a:pt x="1166" y="1318"/>
                    </a:lnTo>
                    <a:lnTo>
                      <a:pt x="1168" y="1318"/>
                    </a:lnTo>
                    <a:lnTo>
                      <a:pt x="1168" y="1320"/>
                    </a:lnTo>
                    <a:lnTo>
                      <a:pt x="1166" y="1322"/>
                    </a:lnTo>
                    <a:lnTo>
                      <a:pt x="1168" y="1322"/>
                    </a:lnTo>
                    <a:lnTo>
                      <a:pt x="1168" y="1320"/>
                    </a:lnTo>
                    <a:lnTo>
                      <a:pt x="1168" y="1318"/>
                    </a:lnTo>
                    <a:lnTo>
                      <a:pt x="1168" y="1316"/>
                    </a:lnTo>
                    <a:lnTo>
                      <a:pt x="1168" y="1315"/>
                    </a:lnTo>
                    <a:lnTo>
                      <a:pt x="1168" y="1313"/>
                    </a:lnTo>
                    <a:lnTo>
                      <a:pt x="1169" y="1313"/>
                    </a:lnTo>
                    <a:lnTo>
                      <a:pt x="1169" y="1315"/>
                    </a:lnTo>
                    <a:lnTo>
                      <a:pt x="1169" y="1313"/>
                    </a:lnTo>
                    <a:lnTo>
                      <a:pt x="1168" y="1313"/>
                    </a:lnTo>
                    <a:lnTo>
                      <a:pt x="1168" y="1311"/>
                    </a:lnTo>
                    <a:lnTo>
                      <a:pt x="1169" y="1311"/>
                    </a:lnTo>
                    <a:lnTo>
                      <a:pt x="1171" y="1311"/>
                    </a:lnTo>
                    <a:lnTo>
                      <a:pt x="1171" y="1313"/>
                    </a:lnTo>
                    <a:lnTo>
                      <a:pt x="1171" y="1311"/>
                    </a:lnTo>
                    <a:lnTo>
                      <a:pt x="1169" y="1311"/>
                    </a:lnTo>
                    <a:lnTo>
                      <a:pt x="1169" y="1310"/>
                    </a:lnTo>
                    <a:lnTo>
                      <a:pt x="1169" y="1308"/>
                    </a:lnTo>
                    <a:lnTo>
                      <a:pt x="1169" y="1306"/>
                    </a:lnTo>
                    <a:lnTo>
                      <a:pt x="1171" y="1306"/>
                    </a:lnTo>
                    <a:lnTo>
                      <a:pt x="1169" y="1306"/>
                    </a:lnTo>
                    <a:lnTo>
                      <a:pt x="1169" y="1305"/>
                    </a:lnTo>
                    <a:lnTo>
                      <a:pt x="1168" y="1305"/>
                    </a:lnTo>
                    <a:lnTo>
                      <a:pt x="1168" y="1303"/>
                    </a:lnTo>
                    <a:lnTo>
                      <a:pt x="1166" y="1303"/>
                    </a:lnTo>
                    <a:lnTo>
                      <a:pt x="1166" y="1301"/>
                    </a:lnTo>
                    <a:lnTo>
                      <a:pt x="1168" y="1301"/>
                    </a:lnTo>
                    <a:lnTo>
                      <a:pt x="1169" y="1301"/>
                    </a:lnTo>
                    <a:lnTo>
                      <a:pt x="1169" y="1299"/>
                    </a:lnTo>
                    <a:lnTo>
                      <a:pt x="1169" y="1301"/>
                    </a:lnTo>
                    <a:lnTo>
                      <a:pt x="1171" y="1301"/>
                    </a:lnTo>
                    <a:lnTo>
                      <a:pt x="1171" y="1303"/>
                    </a:lnTo>
                    <a:lnTo>
                      <a:pt x="1173" y="1303"/>
                    </a:lnTo>
                    <a:lnTo>
                      <a:pt x="1173" y="1305"/>
                    </a:lnTo>
                    <a:lnTo>
                      <a:pt x="1171" y="1303"/>
                    </a:lnTo>
                    <a:lnTo>
                      <a:pt x="1171" y="1301"/>
                    </a:lnTo>
                    <a:lnTo>
                      <a:pt x="1169" y="1299"/>
                    </a:lnTo>
                    <a:lnTo>
                      <a:pt x="1171" y="1299"/>
                    </a:lnTo>
                    <a:lnTo>
                      <a:pt x="1171" y="1298"/>
                    </a:lnTo>
                    <a:lnTo>
                      <a:pt x="1171" y="1299"/>
                    </a:lnTo>
                    <a:lnTo>
                      <a:pt x="1169" y="1299"/>
                    </a:lnTo>
                    <a:lnTo>
                      <a:pt x="1168" y="1299"/>
                    </a:lnTo>
                    <a:lnTo>
                      <a:pt x="1168" y="1301"/>
                    </a:lnTo>
                    <a:lnTo>
                      <a:pt x="1166" y="1301"/>
                    </a:lnTo>
                    <a:lnTo>
                      <a:pt x="1164" y="1301"/>
                    </a:lnTo>
                    <a:lnTo>
                      <a:pt x="1164" y="1299"/>
                    </a:lnTo>
                    <a:lnTo>
                      <a:pt x="1166" y="1299"/>
                    </a:lnTo>
                    <a:lnTo>
                      <a:pt x="1168" y="1299"/>
                    </a:lnTo>
                    <a:lnTo>
                      <a:pt x="1166" y="1299"/>
                    </a:lnTo>
                    <a:lnTo>
                      <a:pt x="1164" y="1299"/>
                    </a:lnTo>
                    <a:lnTo>
                      <a:pt x="1164" y="1298"/>
                    </a:lnTo>
                    <a:lnTo>
                      <a:pt x="1166" y="1298"/>
                    </a:lnTo>
                    <a:lnTo>
                      <a:pt x="1168" y="1298"/>
                    </a:lnTo>
                    <a:lnTo>
                      <a:pt x="1169" y="1296"/>
                    </a:lnTo>
                    <a:lnTo>
                      <a:pt x="1168" y="1296"/>
                    </a:lnTo>
                    <a:lnTo>
                      <a:pt x="1168" y="1298"/>
                    </a:lnTo>
                    <a:lnTo>
                      <a:pt x="1168" y="1296"/>
                    </a:lnTo>
                    <a:lnTo>
                      <a:pt x="1168" y="1298"/>
                    </a:lnTo>
                    <a:lnTo>
                      <a:pt x="1166" y="1298"/>
                    </a:lnTo>
                    <a:lnTo>
                      <a:pt x="1164" y="1298"/>
                    </a:lnTo>
                    <a:lnTo>
                      <a:pt x="1162" y="1296"/>
                    </a:lnTo>
                    <a:lnTo>
                      <a:pt x="1164" y="1296"/>
                    </a:lnTo>
                    <a:lnTo>
                      <a:pt x="1166" y="1294"/>
                    </a:lnTo>
                    <a:lnTo>
                      <a:pt x="1168" y="1294"/>
                    </a:lnTo>
                    <a:lnTo>
                      <a:pt x="1169" y="1294"/>
                    </a:lnTo>
                    <a:lnTo>
                      <a:pt x="1168" y="1294"/>
                    </a:lnTo>
                    <a:lnTo>
                      <a:pt x="1169" y="1293"/>
                    </a:lnTo>
                    <a:lnTo>
                      <a:pt x="1168" y="1293"/>
                    </a:lnTo>
                    <a:lnTo>
                      <a:pt x="1168" y="1294"/>
                    </a:lnTo>
                    <a:lnTo>
                      <a:pt x="1166" y="1294"/>
                    </a:lnTo>
                    <a:lnTo>
                      <a:pt x="1164" y="1296"/>
                    </a:lnTo>
                    <a:lnTo>
                      <a:pt x="1162" y="1296"/>
                    </a:lnTo>
                    <a:lnTo>
                      <a:pt x="1162" y="1294"/>
                    </a:lnTo>
                    <a:lnTo>
                      <a:pt x="1162" y="1293"/>
                    </a:lnTo>
                    <a:lnTo>
                      <a:pt x="1162" y="1291"/>
                    </a:lnTo>
                    <a:lnTo>
                      <a:pt x="1164" y="1291"/>
                    </a:lnTo>
                    <a:lnTo>
                      <a:pt x="1164" y="1293"/>
                    </a:lnTo>
                    <a:lnTo>
                      <a:pt x="1166" y="1293"/>
                    </a:lnTo>
                    <a:lnTo>
                      <a:pt x="1168" y="1294"/>
                    </a:lnTo>
                    <a:lnTo>
                      <a:pt x="1168" y="1293"/>
                    </a:lnTo>
                    <a:lnTo>
                      <a:pt x="1166" y="1293"/>
                    </a:lnTo>
                    <a:lnTo>
                      <a:pt x="1164" y="1291"/>
                    </a:lnTo>
                    <a:lnTo>
                      <a:pt x="1166" y="1291"/>
                    </a:lnTo>
                    <a:lnTo>
                      <a:pt x="1166" y="1289"/>
                    </a:lnTo>
                    <a:lnTo>
                      <a:pt x="1164" y="1291"/>
                    </a:lnTo>
                    <a:lnTo>
                      <a:pt x="1162" y="1289"/>
                    </a:lnTo>
                    <a:lnTo>
                      <a:pt x="1164" y="1289"/>
                    </a:lnTo>
                    <a:lnTo>
                      <a:pt x="1166" y="1289"/>
                    </a:lnTo>
                    <a:lnTo>
                      <a:pt x="1168" y="1288"/>
                    </a:lnTo>
                    <a:lnTo>
                      <a:pt x="1168" y="1289"/>
                    </a:lnTo>
                    <a:lnTo>
                      <a:pt x="1168" y="1288"/>
                    </a:lnTo>
                    <a:lnTo>
                      <a:pt x="1169" y="1288"/>
                    </a:lnTo>
                    <a:lnTo>
                      <a:pt x="1168" y="1288"/>
                    </a:lnTo>
                    <a:lnTo>
                      <a:pt x="1169" y="1286"/>
                    </a:lnTo>
                    <a:lnTo>
                      <a:pt x="1169" y="1288"/>
                    </a:lnTo>
                    <a:lnTo>
                      <a:pt x="1169" y="1286"/>
                    </a:lnTo>
                    <a:lnTo>
                      <a:pt x="1171" y="1286"/>
                    </a:lnTo>
                    <a:lnTo>
                      <a:pt x="1171" y="1288"/>
                    </a:lnTo>
                    <a:lnTo>
                      <a:pt x="1171" y="1289"/>
                    </a:lnTo>
                    <a:lnTo>
                      <a:pt x="1169" y="1288"/>
                    </a:lnTo>
                    <a:lnTo>
                      <a:pt x="1169" y="1289"/>
                    </a:lnTo>
                    <a:lnTo>
                      <a:pt x="1171" y="1291"/>
                    </a:lnTo>
                    <a:lnTo>
                      <a:pt x="1171" y="1289"/>
                    </a:lnTo>
                    <a:lnTo>
                      <a:pt x="1171" y="1288"/>
                    </a:lnTo>
                    <a:lnTo>
                      <a:pt x="1171" y="1286"/>
                    </a:lnTo>
                    <a:lnTo>
                      <a:pt x="1173" y="1286"/>
                    </a:lnTo>
                    <a:lnTo>
                      <a:pt x="1173" y="1284"/>
                    </a:lnTo>
                    <a:lnTo>
                      <a:pt x="1174" y="1286"/>
                    </a:lnTo>
                    <a:close/>
                    <a:moveTo>
                      <a:pt x="1264" y="1498"/>
                    </a:moveTo>
                    <a:lnTo>
                      <a:pt x="1266" y="1498"/>
                    </a:lnTo>
                    <a:lnTo>
                      <a:pt x="1266" y="1500"/>
                    </a:lnTo>
                    <a:lnTo>
                      <a:pt x="1268" y="1500"/>
                    </a:lnTo>
                    <a:lnTo>
                      <a:pt x="1270" y="1500"/>
                    </a:lnTo>
                    <a:lnTo>
                      <a:pt x="1271" y="1500"/>
                    </a:lnTo>
                    <a:lnTo>
                      <a:pt x="1273" y="1500"/>
                    </a:lnTo>
                    <a:lnTo>
                      <a:pt x="1275" y="1500"/>
                    </a:lnTo>
                    <a:lnTo>
                      <a:pt x="1276" y="1500"/>
                    </a:lnTo>
                    <a:lnTo>
                      <a:pt x="1278" y="1498"/>
                    </a:lnTo>
                    <a:lnTo>
                      <a:pt x="1280" y="1498"/>
                    </a:lnTo>
                    <a:lnTo>
                      <a:pt x="1281" y="1497"/>
                    </a:lnTo>
                    <a:lnTo>
                      <a:pt x="1281" y="1498"/>
                    </a:lnTo>
                    <a:lnTo>
                      <a:pt x="1281" y="1500"/>
                    </a:lnTo>
                    <a:lnTo>
                      <a:pt x="1283" y="1500"/>
                    </a:lnTo>
                    <a:lnTo>
                      <a:pt x="1283" y="1502"/>
                    </a:lnTo>
                    <a:lnTo>
                      <a:pt x="1285" y="1502"/>
                    </a:lnTo>
                    <a:lnTo>
                      <a:pt x="1283" y="1504"/>
                    </a:lnTo>
                    <a:lnTo>
                      <a:pt x="1285" y="1505"/>
                    </a:lnTo>
                    <a:lnTo>
                      <a:pt x="1283" y="1507"/>
                    </a:lnTo>
                    <a:lnTo>
                      <a:pt x="1285" y="1505"/>
                    </a:lnTo>
                    <a:lnTo>
                      <a:pt x="1285" y="1507"/>
                    </a:lnTo>
                    <a:lnTo>
                      <a:pt x="1283" y="1507"/>
                    </a:lnTo>
                    <a:lnTo>
                      <a:pt x="1283" y="1509"/>
                    </a:lnTo>
                    <a:lnTo>
                      <a:pt x="1281" y="1509"/>
                    </a:lnTo>
                    <a:lnTo>
                      <a:pt x="1280" y="1509"/>
                    </a:lnTo>
                    <a:lnTo>
                      <a:pt x="1278" y="1510"/>
                    </a:lnTo>
                    <a:lnTo>
                      <a:pt x="1276" y="1510"/>
                    </a:lnTo>
                    <a:lnTo>
                      <a:pt x="1276" y="1512"/>
                    </a:lnTo>
                    <a:lnTo>
                      <a:pt x="1275" y="1512"/>
                    </a:lnTo>
                    <a:lnTo>
                      <a:pt x="1275" y="1514"/>
                    </a:lnTo>
                    <a:lnTo>
                      <a:pt x="1273" y="1514"/>
                    </a:lnTo>
                    <a:lnTo>
                      <a:pt x="1271" y="1515"/>
                    </a:lnTo>
                    <a:lnTo>
                      <a:pt x="1270" y="1515"/>
                    </a:lnTo>
                    <a:lnTo>
                      <a:pt x="1270" y="1517"/>
                    </a:lnTo>
                    <a:lnTo>
                      <a:pt x="1268" y="1517"/>
                    </a:lnTo>
                    <a:lnTo>
                      <a:pt x="1266" y="1517"/>
                    </a:lnTo>
                    <a:lnTo>
                      <a:pt x="1266" y="1519"/>
                    </a:lnTo>
                    <a:lnTo>
                      <a:pt x="1266" y="1521"/>
                    </a:lnTo>
                    <a:lnTo>
                      <a:pt x="1264" y="1521"/>
                    </a:lnTo>
                    <a:lnTo>
                      <a:pt x="1264" y="1522"/>
                    </a:lnTo>
                    <a:lnTo>
                      <a:pt x="1263" y="1524"/>
                    </a:lnTo>
                    <a:lnTo>
                      <a:pt x="1263" y="1526"/>
                    </a:lnTo>
                    <a:lnTo>
                      <a:pt x="1261" y="1524"/>
                    </a:lnTo>
                    <a:lnTo>
                      <a:pt x="1261" y="1526"/>
                    </a:lnTo>
                    <a:lnTo>
                      <a:pt x="1259" y="1526"/>
                    </a:lnTo>
                    <a:lnTo>
                      <a:pt x="1259" y="1524"/>
                    </a:lnTo>
                    <a:lnTo>
                      <a:pt x="1258" y="1524"/>
                    </a:lnTo>
                    <a:lnTo>
                      <a:pt x="1258" y="1522"/>
                    </a:lnTo>
                    <a:lnTo>
                      <a:pt x="1256" y="1521"/>
                    </a:lnTo>
                    <a:lnTo>
                      <a:pt x="1254" y="1521"/>
                    </a:lnTo>
                    <a:lnTo>
                      <a:pt x="1253" y="1519"/>
                    </a:lnTo>
                    <a:lnTo>
                      <a:pt x="1251" y="1519"/>
                    </a:lnTo>
                    <a:lnTo>
                      <a:pt x="1253" y="1521"/>
                    </a:lnTo>
                    <a:lnTo>
                      <a:pt x="1254" y="1521"/>
                    </a:lnTo>
                    <a:lnTo>
                      <a:pt x="1254" y="1522"/>
                    </a:lnTo>
                    <a:lnTo>
                      <a:pt x="1256" y="1522"/>
                    </a:lnTo>
                    <a:lnTo>
                      <a:pt x="1254" y="1522"/>
                    </a:lnTo>
                    <a:lnTo>
                      <a:pt x="1256" y="1524"/>
                    </a:lnTo>
                    <a:lnTo>
                      <a:pt x="1254" y="1524"/>
                    </a:lnTo>
                    <a:lnTo>
                      <a:pt x="1254" y="1522"/>
                    </a:lnTo>
                    <a:lnTo>
                      <a:pt x="1253" y="1522"/>
                    </a:lnTo>
                    <a:lnTo>
                      <a:pt x="1253" y="1521"/>
                    </a:lnTo>
                    <a:lnTo>
                      <a:pt x="1251" y="1521"/>
                    </a:lnTo>
                    <a:lnTo>
                      <a:pt x="1251" y="1522"/>
                    </a:lnTo>
                    <a:lnTo>
                      <a:pt x="1251" y="1521"/>
                    </a:lnTo>
                    <a:lnTo>
                      <a:pt x="1249" y="1521"/>
                    </a:lnTo>
                    <a:lnTo>
                      <a:pt x="1247" y="1521"/>
                    </a:lnTo>
                    <a:lnTo>
                      <a:pt x="1247" y="1522"/>
                    </a:lnTo>
                    <a:lnTo>
                      <a:pt x="1247" y="1521"/>
                    </a:lnTo>
                    <a:lnTo>
                      <a:pt x="1246" y="1522"/>
                    </a:lnTo>
                    <a:lnTo>
                      <a:pt x="1244" y="1522"/>
                    </a:lnTo>
                    <a:lnTo>
                      <a:pt x="1246" y="1522"/>
                    </a:lnTo>
                    <a:lnTo>
                      <a:pt x="1247" y="1522"/>
                    </a:lnTo>
                    <a:lnTo>
                      <a:pt x="1249" y="1522"/>
                    </a:lnTo>
                    <a:lnTo>
                      <a:pt x="1251" y="1522"/>
                    </a:lnTo>
                    <a:lnTo>
                      <a:pt x="1253" y="1524"/>
                    </a:lnTo>
                    <a:lnTo>
                      <a:pt x="1253" y="1526"/>
                    </a:lnTo>
                    <a:lnTo>
                      <a:pt x="1254" y="1526"/>
                    </a:lnTo>
                    <a:lnTo>
                      <a:pt x="1256" y="1526"/>
                    </a:lnTo>
                    <a:lnTo>
                      <a:pt x="1256" y="1527"/>
                    </a:lnTo>
                    <a:lnTo>
                      <a:pt x="1258" y="1529"/>
                    </a:lnTo>
                    <a:lnTo>
                      <a:pt x="1256" y="1529"/>
                    </a:lnTo>
                    <a:lnTo>
                      <a:pt x="1254" y="1529"/>
                    </a:lnTo>
                    <a:lnTo>
                      <a:pt x="1253" y="1529"/>
                    </a:lnTo>
                    <a:lnTo>
                      <a:pt x="1251" y="1529"/>
                    </a:lnTo>
                    <a:lnTo>
                      <a:pt x="1251" y="1527"/>
                    </a:lnTo>
                    <a:lnTo>
                      <a:pt x="1251" y="1529"/>
                    </a:lnTo>
                    <a:lnTo>
                      <a:pt x="1253" y="1529"/>
                    </a:lnTo>
                    <a:lnTo>
                      <a:pt x="1253" y="1531"/>
                    </a:lnTo>
                    <a:lnTo>
                      <a:pt x="1251" y="1531"/>
                    </a:lnTo>
                    <a:lnTo>
                      <a:pt x="1249" y="1531"/>
                    </a:lnTo>
                    <a:lnTo>
                      <a:pt x="1249" y="1529"/>
                    </a:lnTo>
                    <a:lnTo>
                      <a:pt x="1249" y="1527"/>
                    </a:lnTo>
                    <a:lnTo>
                      <a:pt x="1249" y="1529"/>
                    </a:lnTo>
                    <a:lnTo>
                      <a:pt x="1247" y="1529"/>
                    </a:lnTo>
                    <a:lnTo>
                      <a:pt x="1246" y="1527"/>
                    </a:lnTo>
                    <a:lnTo>
                      <a:pt x="1246" y="1529"/>
                    </a:lnTo>
                    <a:lnTo>
                      <a:pt x="1247" y="1529"/>
                    </a:lnTo>
                    <a:lnTo>
                      <a:pt x="1249" y="1531"/>
                    </a:lnTo>
                    <a:lnTo>
                      <a:pt x="1247" y="1531"/>
                    </a:lnTo>
                    <a:lnTo>
                      <a:pt x="1246" y="1529"/>
                    </a:lnTo>
                    <a:lnTo>
                      <a:pt x="1244" y="1529"/>
                    </a:lnTo>
                    <a:lnTo>
                      <a:pt x="1242" y="1529"/>
                    </a:lnTo>
                    <a:lnTo>
                      <a:pt x="1244" y="1529"/>
                    </a:lnTo>
                    <a:lnTo>
                      <a:pt x="1246" y="1531"/>
                    </a:lnTo>
                    <a:lnTo>
                      <a:pt x="1247" y="1531"/>
                    </a:lnTo>
                    <a:lnTo>
                      <a:pt x="1247" y="1532"/>
                    </a:lnTo>
                    <a:lnTo>
                      <a:pt x="1249" y="1531"/>
                    </a:lnTo>
                    <a:lnTo>
                      <a:pt x="1249" y="1532"/>
                    </a:lnTo>
                    <a:lnTo>
                      <a:pt x="1247" y="1532"/>
                    </a:lnTo>
                    <a:lnTo>
                      <a:pt x="1249" y="1534"/>
                    </a:lnTo>
                    <a:lnTo>
                      <a:pt x="1247" y="1534"/>
                    </a:lnTo>
                    <a:lnTo>
                      <a:pt x="1246" y="1534"/>
                    </a:lnTo>
                    <a:lnTo>
                      <a:pt x="1246" y="1532"/>
                    </a:lnTo>
                    <a:lnTo>
                      <a:pt x="1246" y="1534"/>
                    </a:lnTo>
                    <a:lnTo>
                      <a:pt x="1246" y="1536"/>
                    </a:lnTo>
                    <a:lnTo>
                      <a:pt x="1246" y="1538"/>
                    </a:lnTo>
                    <a:lnTo>
                      <a:pt x="1246" y="1539"/>
                    </a:lnTo>
                    <a:lnTo>
                      <a:pt x="1244" y="1539"/>
                    </a:lnTo>
                    <a:lnTo>
                      <a:pt x="1242" y="1539"/>
                    </a:lnTo>
                    <a:lnTo>
                      <a:pt x="1242" y="1538"/>
                    </a:lnTo>
                    <a:lnTo>
                      <a:pt x="1241" y="1538"/>
                    </a:lnTo>
                    <a:lnTo>
                      <a:pt x="1242" y="1538"/>
                    </a:lnTo>
                    <a:lnTo>
                      <a:pt x="1242" y="1539"/>
                    </a:lnTo>
                    <a:lnTo>
                      <a:pt x="1244" y="1539"/>
                    </a:lnTo>
                    <a:lnTo>
                      <a:pt x="1244" y="1541"/>
                    </a:lnTo>
                    <a:lnTo>
                      <a:pt x="1242" y="1543"/>
                    </a:lnTo>
                    <a:lnTo>
                      <a:pt x="1244" y="1541"/>
                    </a:lnTo>
                    <a:lnTo>
                      <a:pt x="1246" y="1539"/>
                    </a:lnTo>
                    <a:lnTo>
                      <a:pt x="1246" y="1541"/>
                    </a:lnTo>
                    <a:lnTo>
                      <a:pt x="1247" y="1541"/>
                    </a:lnTo>
                    <a:lnTo>
                      <a:pt x="1247" y="1543"/>
                    </a:lnTo>
                    <a:lnTo>
                      <a:pt x="1249" y="1544"/>
                    </a:lnTo>
                    <a:lnTo>
                      <a:pt x="1249" y="1546"/>
                    </a:lnTo>
                    <a:lnTo>
                      <a:pt x="1251" y="1546"/>
                    </a:lnTo>
                    <a:lnTo>
                      <a:pt x="1251" y="1548"/>
                    </a:lnTo>
                    <a:lnTo>
                      <a:pt x="1249" y="1548"/>
                    </a:lnTo>
                    <a:lnTo>
                      <a:pt x="1247" y="1548"/>
                    </a:lnTo>
                    <a:lnTo>
                      <a:pt x="1246" y="1548"/>
                    </a:lnTo>
                    <a:lnTo>
                      <a:pt x="1244" y="1548"/>
                    </a:lnTo>
                    <a:lnTo>
                      <a:pt x="1246" y="1548"/>
                    </a:lnTo>
                    <a:lnTo>
                      <a:pt x="1246" y="1546"/>
                    </a:lnTo>
                    <a:lnTo>
                      <a:pt x="1244" y="1546"/>
                    </a:lnTo>
                    <a:lnTo>
                      <a:pt x="1242" y="1546"/>
                    </a:lnTo>
                    <a:lnTo>
                      <a:pt x="1242" y="1544"/>
                    </a:lnTo>
                    <a:lnTo>
                      <a:pt x="1244" y="1544"/>
                    </a:lnTo>
                    <a:lnTo>
                      <a:pt x="1242" y="1543"/>
                    </a:lnTo>
                    <a:lnTo>
                      <a:pt x="1242" y="1544"/>
                    </a:lnTo>
                    <a:lnTo>
                      <a:pt x="1241" y="1544"/>
                    </a:lnTo>
                    <a:lnTo>
                      <a:pt x="1239" y="1543"/>
                    </a:lnTo>
                    <a:lnTo>
                      <a:pt x="1237" y="1541"/>
                    </a:lnTo>
                    <a:lnTo>
                      <a:pt x="1237" y="1539"/>
                    </a:lnTo>
                    <a:lnTo>
                      <a:pt x="1237" y="1541"/>
                    </a:lnTo>
                    <a:lnTo>
                      <a:pt x="1237" y="1543"/>
                    </a:lnTo>
                    <a:lnTo>
                      <a:pt x="1236" y="1541"/>
                    </a:lnTo>
                    <a:lnTo>
                      <a:pt x="1237" y="1539"/>
                    </a:lnTo>
                    <a:lnTo>
                      <a:pt x="1236" y="1539"/>
                    </a:lnTo>
                    <a:lnTo>
                      <a:pt x="1234" y="1539"/>
                    </a:lnTo>
                    <a:lnTo>
                      <a:pt x="1232" y="1539"/>
                    </a:lnTo>
                    <a:lnTo>
                      <a:pt x="1234" y="1538"/>
                    </a:lnTo>
                    <a:lnTo>
                      <a:pt x="1232" y="1538"/>
                    </a:lnTo>
                    <a:lnTo>
                      <a:pt x="1230" y="1538"/>
                    </a:lnTo>
                    <a:lnTo>
                      <a:pt x="1230" y="1536"/>
                    </a:lnTo>
                    <a:lnTo>
                      <a:pt x="1230" y="1534"/>
                    </a:lnTo>
                    <a:lnTo>
                      <a:pt x="1229" y="1534"/>
                    </a:lnTo>
                    <a:lnTo>
                      <a:pt x="1229" y="1532"/>
                    </a:lnTo>
                    <a:lnTo>
                      <a:pt x="1229" y="1534"/>
                    </a:lnTo>
                    <a:lnTo>
                      <a:pt x="1227" y="1534"/>
                    </a:lnTo>
                    <a:lnTo>
                      <a:pt x="1227" y="1532"/>
                    </a:lnTo>
                    <a:lnTo>
                      <a:pt x="1225" y="1534"/>
                    </a:lnTo>
                    <a:lnTo>
                      <a:pt x="1225" y="1532"/>
                    </a:lnTo>
                    <a:lnTo>
                      <a:pt x="1224" y="1532"/>
                    </a:lnTo>
                    <a:lnTo>
                      <a:pt x="1225" y="1531"/>
                    </a:lnTo>
                    <a:lnTo>
                      <a:pt x="1224" y="1532"/>
                    </a:lnTo>
                    <a:lnTo>
                      <a:pt x="1222" y="1531"/>
                    </a:lnTo>
                    <a:lnTo>
                      <a:pt x="1222" y="1529"/>
                    </a:lnTo>
                    <a:lnTo>
                      <a:pt x="1222" y="1531"/>
                    </a:lnTo>
                    <a:lnTo>
                      <a:pt x="1224" y="1529"/>
                    </a:lnTo>
                    <a:lnTo>
                      <a:pt x="1222" y="1529"/>
                    </a:lnTo>
                    <a:lnTo>
                      <a:pt x="1222" y="1527"/>
                    </a:lnTo>
                    <a:lnTo>
                      <a:pt x="1220" y="1527"/>
                    </a:lnTo>
                    <a:lnTo>
                      <a:pt x="1220" y="1526"/>
                    </a:lnTo>
                    <a:lnTo>
                      <a:pt x="1222" y="1527"/>
                    </a:lnTo>
                    <a:lnTo>
                      <a:pt x="1224" y="1527"/>
                    </a:lnTo>
                    <a:lnTo>
                      <a:pt x="1225" y="1527"/>
                    </a:lnTo>
                    <a:lnTo>
                      <a:pt x="1225" y="1529"/>
                    </a:lnTo>
                    <a:lnTo>
                      <a:pt x="1225" y="1527"/>
                    </a:lnTo>
                    <a:lnTo>
                      <a:pt x="1227" y="1527"/>
                    </a:lnTo>
                    <a:lnTo>
                      <a:pt x="1229" y="1527"/>
                    </a:lnTo>
                    <a:lnTo>
                      <a:pt x="1229" y="1529"/>
                    </a:lnTo>
                    <a:lnTo>
                      <a:pt x="1229" y="1527"/>
                    </a:lnTo>
                    <a:lnTo>
                      <a:pt x="1230" y="1527"/>
                    </a:lnTo>
                    <a:lnTo>
                      <a:pt x="1230" y="1529"/>
                    </a:lnTo>
                    <a:lnTo>
                      <a:pt x="1232" y="1527"/>
                    </a:lnTo>
                    <a:lnTo>
                      <a:pt x="1230" y="1527"/>
                    </a:lnTo>
                    <a:lnTo>
                      <a:pt x="1232" y="1527"/>
                    </a:lnTo>
                    <a:lnTo>
                      <a:pt x="1230" y="1527"/>
                    </a:lnTo>
                    <a:lnTo>
                      <a:pt x="1232" y="1527"/>
                    </a:lnTo>
                    <a:lnTo>
                      <a:pt x="1234" y="1527"/>
                    </a:lnTo>
                    <a:lnTo>
                      <a:pt x="1232" y="1529"/>
                    </a:lnTo>
                    <a:lnTo>
                      <a:pt x="1234" y="1529"/>
                    </a:lnTo>
                    <a:lnTo>
                      <a:pt x="1236" y="1529"/>
                    </a:lnTo>
                    <a:lnTo>
                      <a:pt x="1236" y="1531"/>
                    </a:lnTo>
                    <a:lnTo>
                      <a:pt x="1236" y="1529"/>
                    </a:lnTo>
                    <a:lnTo>
                      <a:pt x="1237" y="1531"/>
                    </a:lnTo>
                    <a:lnTo>
                      <a:pt x="1239" y="1531"/>
                    </a:lnTo>
                    <a:lnTo>
                      <a:pt x="1239" y="1532"/>
                    </a:lnTo>
                    <a:lnTo>
                      <a:pt x="1237" y="1532"/>
                    </a:lnTo>
                    <a:lnTo>
                      <a:pt x="1239" y="1532"/>
                    </a:lnTo>
                    <a:lnTo>
                      <a:pt x="1237" y="1534"/>
                    </a:lnTo>
                    <a:lnTo>
                      <a:pt x="1239" y="1534"/>
                    </a:lnTo>
                    <a:lnTo>
                      <a:pt x="1237" y="1534"/>
                    </a:lnTo>
                    <a:lnTo>
                      <a:pt x="1239" y="1534"/>
                    </a:lnTo>
                    <a:lnTo>
                      <a:pt x="1239" y="1532"/>
                    </a:lnTo>
                    <a:lnTo>
                      <a:pt x="1241" y="1532"/>
                    </a:lnTo>
                    <a:lnTo>
                      <a:pt x="1239" y="1531"/>
                    </a:lnTo>
                    <a:lnTo>
                      <a:pt x="1237" y="1531"/>
                    </a:lnTo>
                    <a:lnTo>
                      <a:pt x="1237" y="1529"/>
                    </a:lnTo>
                    <a:lnTo>
                      <a:pt x="1236" y="1529"/>
                    </a:lnTo>
                    <a:lnTo>
                      <a:pt x="1236" y="1527"/>
                    </a:lnTo>
                    <a:lnTo>
                      <a:pt x="1236" y="1529"/>
                    </a:lnTo>
                    <a:lnTo>
                      <a:pt x="1236" y="1527"/>
                    </a:lnTo>
                    <a:lnTo>
                      <a:pt x="1237" y="1527"/>
                    </a:lnTo>
                    <a:lnTo>
                      <a:pt x="1239" y="1529"/>
                    </a:lnTo>
                    <a:lnTo>
                      <a:pt x="1239" y="1527"/>
                    </a:lnTo>
                    <a:lnTo>
                      <a:pt x="1237" y="1527"/>
                    </a:lnTo>
                    <a:lnTo>
                      <a:pt x="1237" y="1526"/>
                    </a:lnTo>
                    <a:lnTo>
                      <a:pt x="1239" y="1526"/>
                    </a:lnTo>
                    <a:lnTo>
                      <a:pt x="1241" y="1527"/>
                    </a:lnTo>
                    <a:lnTo>
                      <a:pt x="1239" y="1526"/>
                    </a:lnTo>
                    <a:lnTo>
                      <a:pt x="1241" y="1526"/>
                    </a:lnTo>
                    <a:lnTo>
                      <a:pt x="1241" y="1527"/>
                    </a:lnTo>
                    <a:lnTo>
                      <a:pt x="1241" y="1526"/>
                    </a:lnTo>
                    <a:lnTo>
                      <a:pt x="1239" y="1526"/>
                    </a:lnTo>
                    <a:lnTo>
                      <a:pt x="1241" y="1526"/>
                    </a:lnTo>
                    <a:lnTo>
                      <a:pt x="1239" y="1526"/>
                    </a:lnTo>
                    <a:lnTo>
                      <a:pt x="1239" y="1524"/>
                    </a:lnTo>
                    <a:lnTo>
                      <a:pt x="1239" y="1526"/>
                    </a:lnTo>
                    <a:lnTo>
                      <a:pt x="1237" y="1526"/>
                    </a:lnTo>
                    <a:lnTo>
                      <a:pt x="1237" y="1524"/>
                    </a:lnTo>
                    <a:lnTo>
                      <a:pt x="1236" y="1526"/>
                    </a:lnTo>
                    <a:lnTo>
                      <a:pt x="1234" y="1526"/>
                    </a:lnTo>
                    <a:lnTo>
                      <a:pt x="1232" y="1524"/>
                    </a:lnTo>
                    <a:lnTo>
                      <a:pt x="1230" y="1524"/>
                    </a:lnTo>
                    <a:lnTo>
                      <a:pt x="1232" y="1522"/>
                    </a:lnTo>
                    <a:lnTo>
                      <a:pt x="1232" y="1524"/>
                    </a:lnTo>
                    <a:lnTo>
                      <a:pt x="1232" y="1522"/>
                    </a:lnTo>
                    <a:lnTo>
                      <a:pt x="1234" y="1522"/>
                    </a:lnTo>
                    <a:lnTo>
                      <a:pt x="1234" y="1521"/>
                    </a:lnTo>
                    <a:lnTo>
                      <a:pt x="1236" y="1521"/>
                    </a:lnTo>
                    <a:lnTo>
                      <a:pt x="1236" y="1519"/>
                    </a:lnTo>
                    <a:lnTo>
                      <a:pt x="1234" y="1519"/>
                    </a:lnTo>
                    <a:lnTo>
                      <a:pt x="1234" y="1521"/>
                    </a:lnTo>
                    <a:lnTo>
                      <a:pt x="1232" y="1521"/>
                    </a:lnTo>
                    <a:lnTo>
                      <a:pt x="1232" y="1519"/>
                    </a:lnTo>
                    <a:lnTo>
                      <a:pt x="1232" y="1517"/>
                    </a:lnTo>
                    <a:lnTo>
                      <a:pt x="1232" y="1515"/>
                    </a:lnTo>
                    <a:lnTo>
                      <a:pt x="1230" y="1514"/>
                    </a:lnTo>
                    <a:lnTo>
                      <a:pt x="1232" y="1514"/>
                    </a:lnTo>
                    <a:lnTo>
                      <a:pt x="1232" y="1512"/>
                    </a:lnTo>
                    <a:lnTo>
                      <a:pt x="1234" y="1512"/>
                    </a:lnTo>
                    <a:lnTo>
                      <a:pt x="1232" y="1512"/>
                    </a:lnTo>
                    <a:lnTo>
                      <a:pt x="1232" y="1510"/>
                    </a:lnTo>
                    <a:lnTo>
                      <a:pt x="1230" y="1510"/>
                    </a:lnTo>
                    <a:lnTo>
                      <a:pt x="1230" y="1509"/>
                    </a:lnTo>
                    <a:lnTo>
                      <a:pt x="1232" y="1509"/>
                    </a:lnTo>
                    <a:lnTo>
                      <a:pt x="1234" y="1509"/>
                    </a:lnTo>
                    <a:lnTo>
                      <a:pt x="1236" y="1507"/>
                    </a:lnTo>
                    <a:lnTo>
                      <a:pt x="1236" y="1505"/>
                    </a:lnTo>
                    <a:lnTo>
                      <a:pt x="1237" y="1505"/>
                    </a:lnTo>
                    <a:lnTo>
                      <a:pt x="1237" y="1507"/>
                    </a:lnTo>
                    <a:lnTo>
                      <a:pt x="1236" y="1507"/>
                    </a:lnTo>
                    <a:lnTo>
                      <a:pt x="1237" y="1507"/>
                    </a:lnTo>
                    <a:lnTo>
                      <a:pt x="1239" y="1505"/>
                    </a:lnTo>
                    <a:lnTo>
                      <a:pt x="1239" y="1504"/>
                    </a:lnTo>
                    <a:lnTo>
                      <a:pt x="1241" y="1502"/>
                    </a:lnTo>
                    <a:lnTo>
                      <a:pt x="1242" y="1502"/>
                    </a:lnTo>
                    <a:lnTo>
                      <a:pt x="1242" y="1504"/>
                    </a:lnTo>
                    <a:lnTo>
                      <a:pt x="1244" y="1505"/>
                    </a:lnTo>
                    <a:lnTo>
                      <a:pt x="1242" y="1505"/>
                    </a:lnTo>
                    <a:lnTo>
                      <a:pt x="1242" y="1507"/>
                    </a:lnTo>
                    <a:lnTo>
                      <a:pt x="1241" y="1509"/>
                    </a:lnTo>
                    <a:lnTo>
                      <a:pt x="1239" y="1510"/>
                    </a:lnTo>
                    <a:lnTo>
                      <a:pt x="1239" y="1512"/>
                    </a:lnTo>
                    <a:lnTo>
                      <a:pt x="1241" y="1512"/>
                    </a:lnTo>
                    <a:lnTo>
                      <a:pt x="1241" y="1510"/>
                    </a:lnTo>
                    <a:lnTo>
                      <a:pt x="1241" y="1509"/>
                    </a:lnTo>
                    <a:lnTo>
                      <a:pt x="1242" y="1509"/>
                    </a:lnTo>
                    <a:lnTo>
                      <a:pt x="1242" y="1507"/>
                    </a:lnTo>
                    <a:lnTo>
                      <a:pt x="1244" y="1507"/>
                    </a:lnTo>
                    <a:lnTo>
                      <a:pt x="1246" y="1507"/>
                    </a:lnTo>
                    <a:lnTo>
                      <a:pt x="1244" y="1509"/>
                    </a:lnTo>
                    <a:lnTo>
                      <a:pt x="1242" y="1509"/>
                    </a:lnTo>
                    <a:lnTo>
                      <a:pt x="1242" y="1510"/>
                    </a:lnTo>
                    <a:lnTo>
                      <a:pt x="1244" y="1509"/>
                    </a:lnTo>
                    <a:lnTo>
                      <a:pt x="1246" y="1507"/>
                    </a:lnTo>
                    <a:lnTo>
                      <a:pt x="1246" y="1509"/>
                    </a:lnTo>
                    <a:lnTo>
                      <a:pt x="1244" y="1509"/>
                    </a:lnTo>
                    <a:lnTo>
                      <a:pt x="1244" y="1510"/>
                    </a:lnTo>
                    <a:lnTo>
                      <a:pt x="1244" y="1509"/>
                    </a:lnTo>
                    <a:lnTo>
                      <a:pt x="1246" y="1509"/>
                    </a:lnTo>
                    <a:lnTo>
                      <a:pt x="1247" y="1507"/>
                    </a:lnTo>
                    <a:lnTo>
                      <a:pt x="1247" y="1509"/>
                    </a:lnTo>
                    <a:lnTo>
                      <a:pt x="1247" y="1507"/>
                    </a:lnTo>
                    <a:lnTo>
                      <a:pt x="1247" y="1509"/>
                    </a:lnTo>
                    <a:lnTo>
                      <a:pt x="1249" y="1510"/>
                    </a:lnTo>
                    <a:lnTo>
                      <a:pt x="1249" y="1509"/>
                    </a:lnTo>
                    <a:lnTo>
                      <a:pt x="1249" y="1507"/>
                    </a:lnTo>
                    <a:lnTo>
                      <a:pt x="1251" y="1507"/>
                    </a:lnTo>
                    <a:lnTo>
                      <a:pt x="1251" y="1505"/>
                    </a:lnTo>
                    <a:lnTo>
                      <a:pt x="1253" y="1505"/>
                    </a:lnTo>
                    <a:lnTo>
                      <a:pt x="1254" y="1504"/>
                    </a:lnTo>
                    <a:lnTo>
                      <a:pt x="1254" y="1502"/>
                    </a:lnTo>
                    <a:lnTo>
                      <a:pt x="1256" y="1502"/>
                    </a:lnTo>
                    <a:lnTo>
                      <a:pt x="1258" y="1500"/>
                    </a:lnTo>
                    <a:lnTo>
                      <a:pt x="1258" y="1498"/>
                    </a:lnTo>
                    <a:lnTo>
                      <a:pt x="1259" y="1498"/>
                    </a:lnTo>
                    <a:lnTo>
                      <a:pt x="1261" y="1498"/>
                    </a:lnTo>
                    <a:lnTo>
                      <a:pt x="1263" y="1500"/>
                    </a:lnTo>
                    <a:lnTo>
                      <a:pt x="1263" y="1498"/>
                    </a:lnTo>
                    <a:lnTo>
                      <a:pt x="1264" y="1497"/>
                    </a:lnTo>
                    <a:lnTo>
                      <a:pt x="1264" y="1498"/>
                    </a:lnTo>
                    <a:close/>
                    <a:moveTo>
                      <a:pt x="1382" y="1628"/>
                    </a:moveTo>
                    <a:lnTo>
                      <a:pt x="1383" y="1629"/>
                    </a:lnTo>
                    <a:lnTo>
                      <a:pt x="1385" y="1629"/>
                    </a:lnTo>
                    <a:lnTo>
                      <a:pt x="1385" y="1631"/>
                    </a:lnTo>
                    <a:lnTo>
                      <a:pt x="1387" y="1631"/>
                    </a:lnTo>
                    <a:lnTo>
                      <a:pt x="1387" y="1633"/>
                    </a:lnTo>
                    <a:lnTo>
                      <a:pt x="1389" y="1635"/>
                    </a:lnTo>
                    <a:lnTo>
                      <a:pt x="1389" y="1636"/>
                    </a:lnTo>
                    <a:lnTo>
                      <a:pt x="1387" y="1636"/>
                    </a:lnTo>
                    <a:lnTo>
                      <a:pt x="1385" y="1636"/>
                    </a:lnTo>
                    <a:lnTo>
                      <a:pt x="1385" y="1635"/>
                    </a:lnTo>
                    <a:lnTo>
                      <a:pt x="1383" y="1635"/>
                    </a:lnTo>
                    <a:lnTo>
                      <a:pt x="1385" y="1636"/>
                    </a:lnTo>
                    <a:lnTo>
                      <a:pt x="1385" y="1638"/>
                    </a:lnTo>
                    <a:lnTo>
                      <a:pt x="1383" y="1640"/>
                    </a:lnTo>
                    <a:lnTo>
                      <a:pt x="1382" y="1640"/>
                    </a:lnTo>
                    <a:lnTo>
                      <a:pt x="1380" y="1638"/>
                    </a:lnTo>
                    <a:lnTo>
                      <a:pt x="1378" y="1638"/>
                    </a:lnTo>
                    <a:lnTo>
                      <a:pt x="1380" y="1638"/>
                    </a:lnTo>
                    <a:lnTo>
                      <a:pt x="1380" y="1640"/>
                    </a:lnTo>
                    <a:lnTo>
                      <a:pt x="1380" y="1641"/>
                    </a:lnTo>
                    <a:lnTo>
                      <a:pt x="1378" y="1641"/>
                    </a:lnTo>
                    <a:lnTo>
                      <a:pt x="1377" y="1641"/>
                    </a:lnTo>
                    <a:lnTo>
                      <a:pt x="1375" y="1641"/>
                    </a:lnTo>
                    <a:lnTo>
                      <a:pt x="1373" y="1641"/>
                    </a:lnTo>
                    <a:lnTo>
                      <a:pt x="1373" y="1640"/>
                    </a:lnTo>
                    <a:lnTo>
                      <a:pt x="1372" y="1640"/>
                    </a:lnTo>
                    <a:lnTo>
                      <a:pt x="1370" y="1640"/>
                    </a:lnTo>
                    <a:lnTo>
                      <a:pt x="1370" y="1638"/>
                    </a:lnTo>
                    <a:lnTo>
                      <a:pt x="1368" y="1638"/>
                    </a:lnTo>
                    <a:lnTo>
                      <a:pt x="1368" y="1636"/>
                    </a:lnTo>
                    <a:lnTo>
                      <a:pt x="1366" y="1636"/>
                    </a:lnTo>
                    <a:lnTo>
                      <a:pt x="1365" y="1635"/>
                    </a:lnTo>
                    <a:lnTo>
                      <a:pt x="1363" y="1636"/>
                    </a:lnTo>
                    <a:lnTo>
                      <a:pt x="1365" y="1636"/>
                    </a:lnTo>
                    <a:lnTo>
                      <a:pt x="1366" y="1636"/>
                    </a:lnTo>
                    <a:lnTo>
                      <a:pt x="1366" y="1638"/>
                    </a:lnTo>
                    <a:lnTo>
                      <a:pt x="1366" y="1640"/>
                    </a:lnTo>
                    <a:lnTo>
                      <a:pt x="1368" y="1640"/>
                    </a:lnTo>
                    <a:lnTo>
                      <a:pt x="1370" y="1640"/>
                    </a:lnTo>
                    <a:lnTo>
                      <a:pt x="1370" y="1641"/>
                    </a:lnTo>
                    <a:lnTo>
                      <a:pt x="1372" y="1641"/>
                    </a:lnTo>
                    <a:lnTo>
                      <a:pt x="1372" y="1643"/>
                    </a:lnTo>
                    <a:lnTo>
                      <a:pt x="1372" y="1641"/>
                    </a:lnTo>
                    <a:lnTo>
                      <a:pt x="1372" y="1643"/>
                    </a:lnTo>
                    <a:lnTo>
                      <a:pt x="1373" y="1643"/>
                    </a:lnTo>
                    <a:lnTo>
                      <a:pt x="1375" y="1643"/>
                    </a:lnTo>
                    <a:lnTo>
                      <a:pt x="1375" y="1641"/>
                    </a:lnTo>
                    <a:lnTo>
                      <a:pt x="1377" y="1643"/>
                    </a:lnTo>
                    <a:lnTo>
                      <a:pt x="1378" y="1643"/>
                    </a:lnTo>
                    <a:lnTo>
                      <a:pt x="1380" y="1643"/>
                    </a:lnTo>
                    <a:lnTo>
                      <a:pt x="1382" y="1643"/>
                    </a:lnTo>
                    <a:lnTo>
                      <a:pt x="1383" y="1643"/>
                    </a:lnTo>
                    <a:lnTo>
                      <a:pt x="1385" y="1643"/>
                    </a:lnTo>
                    <a:lnTo>
                      <a:pt x="1387" y="1643"/>
                    </a:lnTo>
                    <a:lnTo>
                      <a:pt x="1387" y="1645"/>
                    </a:lnTo>
                    <a:lnTo>
                      <a:pt x="1389" y="1645"/>
                    </a:lnTo>
                    <a:lnTo>
                      <a:pt x="1390" y="1645"/>
                    </a:lnTo>
                    <a:lnTo>
                      <a:pt x="1390" y="1646"/>
                    </a:lnTo>
                    <a:lnTo>
                      <a:pt x="1389" y="1646"/>
                    </a:lnTo>
                    <a:lnTo>
                      <a:pt x="1387" y="1646"/>
                    </a:lnTo>
                    <a:lnTo>
                      <a:pt x="1389" y="1646"/>
                    </a:lnTo>
                    <a:lnTo>
                      <a:pt x="1390" y="1646"/>
                    </a:lnTo>
                    <a:lnTo>
                      <a:pt x="1392" y="1648"/>
                    </a:lnTo>
                    <a:lnTo>
                      <a:pt x="1394" y="1648"/>
                    </a:lnTo>
                    <a:lnTo>
                      <a:pt x="1394" y="1650"/>
                    </a:lnTo>
                    <a:lnTo>
                      <a:pt x="1392" y="1650"/>
                    </a:lnTo>
                    <a:lnTo>
                      <a:pt x="1390" y="1650"/>
                    </a:lnTo>
                    <a:lnTo>
                      <a:pt x="1389" y="1650"/>
                    </a:lnTo>
                    <a:lnTo>
                      <a:pt x="1387" y="1650"/>
                    </a:lnTo>
                    <a:lnTo>
                      <a:pt x="1385" y="1650"/>
                    </a:lnTo>
                    <a:lnTo>
                      <a:pt x="1383" y="1650"/>
                    </a:lnTo>
                    <a:lnTo>
                      <a:pt x="1382" y="1650"/>
                    </a:lnTo>
                    <a:lnTo>
                      <a:pt x="1383" y="1650"/>
                    </a:lnTo>
                    <a:lnTo>
                      <a:pt x="1383" y="1652"/>
                    </a:lnTo>
                    <a:lnTo>
                      <a:pt x="1382" y="1652"/>
                    </a:lnTo>
                    <a:lnTo>
                      <a:pt x="1380" y="1652"/>
                    </a:lnTo>
                    <a:lnTo>
                      <a:pt x="1378" y="1650"/>
                    </a:lnTo>
                    <a:lnTo>
                      <a:pt x="1378" y="1648"/>
                    </a:lnTo>
                    <a:lnTo>
                      <a:pt x="1377" y="1648"/>
                    </a:lnTo>
                    <a:lnTo>
                      <a:pt x="1375" y="1648"/>
                    </a:lnTo>
                    <a:lnTo>
                      <a:pt x="1377" y="1648"/>
                    </a:lnTo>
                    <a:lnTo>
                      <a:pt x="1378" y="1650"/>
                    </a:lnTo>
                    <a:lnTo>
                      <a:pt x="1377" y="1650"/>
                    </a:lnTo>
                    <a:lnTo>
                      <a:pt x="1378" y="1650"/>
                    </a:lnTo>
                    <a:lnTo>
                      <a:pt x="1378" y="1652"/>
                    </a:lnTo>
                    <a:lnTo>
                      <a:pt x="1378" y="1653"/>
                    </a:lnTo>
                    <a:lnTo>
                      <a:pt x="1380" y="1652"/>
                    </a:lnTo>
                    <a:lnTo>
                      <a:pt x="1382" y="1652"/>
                    </a:lnTo>
                    <a:lnTo>
                      <a:pt x="1380" y="1653"/>
                    </a:lnTo>
                    <a:lnTo>
                      <a:pt x="1380" y="1655"/>
                    </a:lnTo>
                    <a:lnTo>
                      <a:pt x="1382" y="1653"/>
                    </a:lnTo>
                    <a:lnTo>
                      <a:pt x="1383" y="1653"/>
                    </a:lnTo>
                    <a:lnTo>
                      <a:pt x="1385" y="1653"/>
                    </a:lnTo>
                    <a:lnTo>
                      <a:pt x="1387" y="1653"/>
                    </a:lnTo>
                    <a:lnTo>
                      <a:pt x="1389" y="1653"/>
                    </a:lnTo>
                    <a:lnTo>
                      <a:pt x="1389" y="1655"/>
                    </a:lnTo>
                    <a:lnTo>
                      <a:pt x="1390" y="1655"/>
                    </a:lnTo>
                    <a:lnTo>
                      <a:pt x="1389" y="1655"/>
                    </a:lnTo>
                    <a:lnTo>
                      <a:pt x="1389" y="1657"/>
                    </a:lnTo>
                    <a:lnTo>
                      <a:pt x="1390" y="1655"/>
                    </a:lnTo>
                    <a:lnTo>
                      <a:pt x="1392" y="1657"/>
                    </a:lnTo>
                    <a:lnTo>
                      <a:pt x="1392" y="1655"/>
                    </a:lnTo>
                    <a:lnTo>
                      <a:pt x="1394" y="1655"/>
                    </a:lnTo>
                    <a:lnTo>
                      <a:pt x="1395" y="1657"/>
                    </a:lnTo>
                    <a:lnTo>
                      <a:pt x="1394" y="1658"/>
                    </a:lnTo>
                    <a:lnTo>
                      <a:pt x="1394" y="1660"/>
                    </a:lnTo>
                    <a:lnTo>
                      <a:pt x="1395" y="1660"/>
                    </a:lnTo>
                    <a:lnTo>
                      <a:pt x="1397" y="1660"/>
                    </a:lnTo>
                    <a:lnTo>
                      <a:pt x="1399" y="1660"/>
                    </a:lnTo>
                    <a:lnTo>
                      <a:pt x="1397" y="1662"/>
                    </a:lnTo>
                    <a:lnTo>
                      <a:pt x="1395" y="1663"/>
                    </a:lnTo>
                    <a:lnTo>
                      <a:pt x="1397" y="1663"/>
                    </a:lnTo>
                    <a:lnTo>
                      <a:pt x="1397" y="1665"/>
                    </a:lnTo>
                    <a:lnTo>
                      <a:pt x="1397" y="1667"/>
                    </a:lnTo>
                    <a:lnTo>
                      <a:pt x="1399" y="1667"/>
                    </a:lnTo>
                    <a:lnTo>
                      <a:pt x="1399" y="1669"/>
                    </a:lnTo>
                    <a:lnTo>
                      <a:pt x="1399" y="1670"/>
                    </a:lnTo>
                    <a:lnTo>
                      <a:pt x="1397" y="1670"/>
                    </a:lnTo>
                    <a:lnTo>
                      <a:pt x="1399" y="1672"/>
                    </a:lnTo>
                    <a:lnTo>
                      <a:pt x="1397" y="1674"/>
                    </a:lnTo>
                    <a:lnTo>
                      <a:pt x="1397" y="1675"/>
                    </a:lnTo>
                    <a:lnTo>
                      <a:pt x="1395" y="1674"/>
                    </a:lnTo>
                    <a:lnTo>
                      <a:pt x="1395" y="1672"/>
                    </a:lnTo>
                    <a:lnTo>
                      <a:pt x="1394" y="1672"/>
                    </a:lnTo>
                    <a:lnTo>
                      <a:pt x="1395" y="1670"/>
                    </a:lnTo>
                    <a:lnTo>
                      <a:pt x="1394" y="1670"/>
                    </a:lnTo>
                    <a:lnTo>
                      <a:pt x="1394" y="1669"/>
                    </a:lnTo>
                    <a:lnTo>
                      <a:pt x="1394" y="1667"/>
                    </a:lnTo>
                    <a:lnTo>
                      <a:pt x="1394" y="1669"/>
                    </a:lnTo>
                    <a:lnTo>
                      <a:pt x="1392" y="1669"/>
                    </a:lnTo>
                    <a:lnTo>
                      <a:pt x="1392" y="1670"/>
                    </a:lnTo>
                    <a:lnTo>
                      <a:pt x="1392" y="1669"/>
                    </a:lnTo>
                    <a:lnTo>
                      <a:pt x="1390" y="1670"/>
                    </a:lnTo>
                    <a:lnTo>
                      <a:pt x="1389" y="1669"/>
                    </a:lnTo>
                    <a:lnTo>
                      <a:pt x="1390" y="1667"/>
                    </a:lnTo>
                    <a:lnTo>
                      <a:pt x="1390" y="1665"/>
                    </a:lnTo>
                    <a:lnTo>
                      <a:pt x="1392" y="1665"/>
                    </a:lnTo>
                    <a:lnTo>
                      <a:pt x="1392" y="1663"/>
                    </a:lnTo>
                    <a:lnTo>
                      <a:pt x="1390" y="1663"/>
                    </a:lnTo>
                    <a:lnTo>
                      <a:pt x="1389" y="1663"/>
                    </a:lnTo>
                    <a:lnTo>
                      <a:pt x="1389" y="1662"/>
                    </a:lnTo>
                    <a:lnTo>
                      <a:pt x="1389" y="1660"/>
                    </a:lnTo>
                    <a:lnTo>
                      <a:pt x="1387" y="1662"/>
                    </a:lnTo>
                    <a:lnTo>
                      <a:pt x="1389" y="1660"/>
                    </a:lnTo>
                    <a:lnTo>
                      <a:pt x="1387" y="1660"/>
                    </a:lnTo>
                    <a:lnTo>
                      <a:pt x="1387" y="1662"/>
                    </a:lnTo>
                    <a:lnTo>
                      <a:pt x="1385" y="1662"/>
                    </a:lnTo>
                    <a:lnTo>
                      <a:pt x="1383" y="1660"/>
                    </a:lnTo>
                    <a:lnTo>
                      <a:pt x="1383" y="1662"/>
                    </a:lnTo>
                    <a:lnTo>
                      <a:pt x="1382" y="1660"/>
                    </a:lnTo>
                    <a:lnTo>
                      <a:pt x="1380" y="1660"/>
                    </a:lnTo>
                    <a:lnTo>
                      <a:pt x="1382" y="1658"/>
                    </a:lnTo>
                    <a:lnTo>
                      <a:pt x="1382" y="1657"/>
                    </a:lnTo>
                    <a:lnTo>
                      <a:pt x="1380" y="1657"/>
                    </a:lnTo>
                    <a:lnTo>
                      <a:pt x="1380" y="1658"/>
                    </a:lnTo>
                    <a:lnTo>
                      <a:pt x="1380" y="1657"/>
                    </a:lnTo>
                    <a:lnTo>
                      <a:pt x="1378" y="1657"/>
                    </a:lnTo>
                    <a:lnTo>
                      <a:pt x="1380" y="1658"/>
                    </a:lnTo>
                    <a:lnTo>
                      <a:pt x="1378" y="1658"/>
                    </a:lnTo>
                    <a:lnTo>
                      <a:pt x="1380" y="1660"/>
                    </a:lnTo>
                    <a:lnTo>
                      <a:pt x="1378" y="1658"/>
                    </a:lnTo>
                    <a:lnTo>
                      <a:pt x="1378" y="1660"/>
                    </a:lnTo>
                    <a:lnTo>
                      <a:pt x="1377" y="1660"/>
                    </a:lnTo>
                    <a:lnTo>
                      <a:pt x="1375" y="1660"/>
                    </a:lnTo>
                    <a:lnTo>
                      <a:pt x="1375" y="1658"/>
                    </a:lnTo>
                    <a:lnTo>
                      <a:pt x="1373" y="1658"/>
                    </a:lnTo>
                    <a:lnTo>
                      <a:pt x="1373" y="1660"/>
                    </a:lnTo>
                    <a:lnTo>
                      <a:pt x="1372" y="1660"/>
                    </a:lnTo>
                    <a:lnTo>
                      <a:pt x="1373" y="1660"/>
                    </a:lnTo>
                    <a:lnTo>
                      <a:pt x="1375" y="1662"/>
                    </a:lnTo>
                    <a:lnTo>
                      <a:pt x="1373" y="1662"/>
                    </a:lnTo>
                    <a:lnTo>
                      <a:pt x="1373" y="1663"/>
                    </a:lnTo>
                    <a:lnTo>
                      <a:pt x="1372" y="1662"/>
                    </a:lnTo>
                    <a:lnTo>
                      <a:pt x="1370" y="1662"/>
                    </a:lnTo>
                    <a:lnTo>
                      <a:pt x="1370" y="1660"/>
                    </a:lnTo>
                    <a:lnTo>
                      <a:pt x="1368" y="1660"/>
                    </a:lnTo>
                    <a:lnTo>
                      <a:pt x="1368" y="1658"/>
                    </a:lnTo>
                    <a:lnTo>
                      <a:pt x="1366" y="1658"/>
                    </a:lnTo>
                    <a:lnTo>
                      <a:pt x="1368" y="1658"/>
                    </a:lnTo>
                    <a:lnTo>
                      <a:pt x="1368" y="1657"/>
                    </a:lnTo>
                    <a:lnTo>
                      <a:pt x="1370" y="1655"/>
                    </a:lnTo>
                    <a:lnTo>
                      <a:pt x="1372" y="1655"/>
                    </a:lnTo>
                    <a:lnTo>
                      <a:pt x="1373" y="1655"/>
                    </a:lnTo>
                    <a:lnTo>
                      <a:pt x="1373" y="1657"/>
                    </a:lnTo>
                    <a:lnTo>
                      <a:pt x="1373" y="1655"/>
                    </a:lnTo>
                    <a:lnTo>
                      <a:pt x="1372" y="1655"/>
                    </a:lnTo>
                    <a:lnTo>
                      <a:pt x="1370" y="1655"/>
                    </a:lnTo>
                    <a:lnTo>
                      <a:pt x="1368" y="1657"/>
                    </a:lnTo>
                    <a:lnTo>
                      <a:pt x="1366" y="1657"/>
                    </a:lnTo>
                    <a:lnTo>
                      <a:pt x="1368" y="1655"/>
                    </a:lnTo>
                    <a:lnTo>
                      <a:pt x="1368" y="1653"/>
                    </a:lnTo>
                    <a:lnTo>
                      <a:pt x="1370" y="1653"/>
                    </a:lnTo>
                    <a:lnTo>
                      <a:pt x="1368" y="1653"/>
                    </a:lnTo>
                    <a:lnTo>
                      <a:pt x="1370" y="1653"/>
                    </a:lnTo>
                    <a:lnTo>
                      <a:pt x="1370" y="1652"/>
                    </a:lnTo>
                    <a:lnTo>
                      <a:pt x="1370" y="1650"/>
                    </a:lnTo>
                    <a:lnTo>
                      <a:pt x="1370" y="1648"/>
                    </a:lnTo>
                    <a:lnTo>
                      <a:pt x="1372" y="1648"/>
                    </a:lnTo>
                    <a:lnTo>
                      <a:pt x="1372" y="1646"/>
                    </a:lnTo>
                    <a:lnTo>
                      <a:pt x="1370" y="1646"/>
                    </a:lnTo>
                    <a:lnTo>
                      <a:pt x="1372" y="1645"/>
                    </a:lnTo>
                    <a:lnTo>
                      <a:pt x="1373" y="1643"/>
                    </a:lnTo>
                    <a:lnTo>
                      <a:pt x="1372" y="1643"/>
                    </a:lnTo>
                    <a:lnTo>
                      <a:pt x="1372" y="1645"/>
                    </a:lnTo>
                    <a:lnTo>
                      <a:pt x="1370" y="1645"/>
                    </a:lnTo>
                    <a:lnTo>
                      <a:pt x="1370" y="1646"/>
                    </a:lnTo>
                    <a:lnTo>
                      <a:pt x="1370" y="1645"/>
                    </a:lnTo>
                    <a:lnTo>
                      <a:pt x="1368" y="1646"/>
                    </a:lnTo>
                    <a:lnTo>
                      <a:pt x="1368" y="1645"/>
                    </a:lnTo>
                    <a:lnTo>
                      <a:pt x="1368" y="1646"/>
                    </a:lnTo>
                    <a:lnTo>
                      <a:pt x="1366" y="1646"/>
                    </a:lnTo>
                    <a:lnTo>
                      <a:pt x="1368" y="1646"/>
                    </a:lnTo>
                    <a:lnTo>
                      <a:pt x="1366" y="1648"/>
                    </a:lnTo>
                    <a:lnTo>
                      <a:pt x="1366" y="1650"/>
                    </a:lnTo>
                    <a:lnTo>
                      <a:pt x="1366" y="1648"/>
                    </a:lnTo>
                    <a:lnTo>
                      <a:pt x="1365" y="1650"/>
                    </a:lnTo>
                    <a:lnTo>
                      <a:pt x="1365" y="1648"/>
                    </a:lnTo>
                    <a:lnTo>
                      <a:pt x="1363" y="1648"/>
                    </a:lnTo>
                    <a:lnTo>
                      <a:pt x="1363" y="1646"/>
                    </a:lnTo>
                    <a:lnTo>
                      <a:pt x="1361" y="1645"/>
                    </a:lnTo>
                    <a:lnTo>
                      <a:pt x="1361" y="1643"/>
                    </a:lnTo>
                    <a:lnTo>
                      <a:pt x="1361" y="1645"/>
                    </a:lnTo>
                    <a:lnTo>
                      <a:pt x="1361" y="1646"/>
                    </a:lnTo>
                    <a:lnTo>
                      <a:pt x="1363" y="1648"/>
                    </a:lnTo>
                    <a:lnTo>
                      <a:pt x="1361" y="1648"/>
                    </a:lnTo>
                    <a:lnTo>
                      <a:pt x="1360" y="1646"/>
                    </a:lnTo>
                    <a:lnTo>
                      <a:pt x="1360" y="1648"/>
                    </a:lnTo>
                    <a:lnTo>
                      <a:pt x="1360" y="1646"/>
                    </a:lnTo>
                    <a:lnTo>
                      <a:pt x="1358" y="1646"/>
                    </a:lnTo>
                    <a:lnTo>
                      <a:pt x="1360" y="1646"/>
                    </a:lnTo>
                    <a:lnTo>
                      <a:pt x="1358" y="1646"/>
                    </a:lnTo>
                    <a:lnTo>
                      <a:pt x="1358" y="1645"/>
                    </a:lnTo>
                    <a:lnTo>
                      <a:pt x="1358" y="1643"/>
                    </a:lnTo>
                    <a:lnTo>
                      <a:pt x="1356" y="1645"/>
                    </a:lnTo>
                    <a:lnTo>
                      <a:pt x="1356" y="1646"/>
                    </a:lnTo>
                    <a:lnTo>
                      <a:pt x="1358" y="1646"/>
                    </a:lnTo>
                    <a:lnTo>
                      <a:pt x="1358" y="1648"/>
                    </a:lnTo>
                    <a:lnTo>
                      <a:pt x="1356" y="1648"/>
                    </a:lnTo>
                    <a:lnTo>
                      <a:pt x="1356" y="1646"/>
                    </a:lnTo>
                    <a:lnTo>
                      <a:pt x="1356" y="1648"/>
                    </a:lnTo>
                    <a:lnTo>
                      <a:pt x="1355" y="1646"/>
                    </a:lnTo>
                    <a:lnTo>
                      <a:pt x="1355" y="1648"/>
                    </a:lnTo>
                    <a:lnTo>
                      <a:pt x="1356" y="1648"/>
                    </a:lnTo>
                    <a:lnTo>
                      <a:pt x="1358" y="1648"/>
                    </a:lnTo>
                    <a:lnTo>
                      <a:pt x="1358" y="1650"/>
                    </a:lnTo>
                    <a:lnTo>
                      <a:pt x="1356" y="1650"/>
                    </a:lnTo>
                    <a:lnTo>
                      <a:pt x="1356" y="1652"/>
                    </a:lnTo>
                    <a:lnTo>
                      <a:pt x="1355" y="1650"/>
                    </a:lnTo>
                    <a:lnTo>
                      <a:pt x="1353" y="1650"/>
                    </a:lnTo>
                    <a:lnTo>
                      <a:pt x="1355" y="1650"/>
                    </a:lnTo>
                    <a:lnTo>
                      <a:pt x="1353" y="1650"/>
                    </a:lnTo>
                    <a:lnTo>
                      <a:pt x="1351" y="1650"/>
                    </a:lnTo>
                    <a:lnTo>
                      <a:pt x="1353" y="1650"/>
                    </a:lnTo>
                    <a:lnTo>
                      <a:pt x="1351" y="1648"/>
                    </a:lnTo>
                    <a:lnTo>
                      <a:pt x="1351" y="1650"/>
                    </a:lnTo>
                    <a:lnTo>
                      <a:pt x="1351" y="1652"/>
                    </a:lnTo>
                    <a:lnTo>
                      <a:pt x="1351" y="1650"/>
                    </a:lnTo>
                    <a:lnTo>
                      <a:pt x="1353" y="1650"/>
                    </a:lnTo>
                    <a:lnTo>
                      <a:pt x="1355" y="1652"/>
                    </a:lnTo>
                    <a:lnTo>
                      <a:pt x="1356" y="1652"/>
                    </a:lnTo>
                    <a:lnTo>
                      <a:pt x="1355" y="1652"/>
                    </a:lnTo>
                    <a:lnTo>
                      <a:pt x="1355" y="1653"/>
                    </a:lnTo>
                    <a:lnTo>
                      <a:pt x="1356" y="1653"/>
                    </a:lnTo>
                    <a:lnTo>
                      <a:pt x="1356" y="1655"/>
                    </a:lnTo>
                    <a:lnTo>
                      <a:pt x="1356" y="1657"/>
                    </a:lnTo>
                    <a:lnTo>
                      <a:pt x="1358" y="1655"/>
                    </a:lnTo>
                    <a:lnTo>
                      <a:pt x="1358" y="1657"/>
                    </a:lnTo>
                    <a:lnTo>
                      <a:pt x="1360" y="1658"/>
                    </a:lnTo>
                    <a:lnTo>
                      <a:pt x="1358" y="1658"/>
                    </a:lnTo>
                    <a:lnTo>
                      <a:pt x="1356" y="1658"/>
                    </a:lnTo>
                    <a:lnTo>
                      <a:pt x="1356" y="1660"/>
                    </a:lnTo>
                    <a:lnTo>
                      <a:pt x="1358" y="1658"/>
                    </a:lnTo>
                    <a:lnTo>
                      <a:pt x="1358" y="1660"/>
                    </a:lnTo>
                    <a:lnTo>
                      <a:pt x="1356" y="1660"/>
                    </a:lnTo>
                    <a:lnTo>
                      <a:pt x="1358" y="1660"/>
                    </a:lnTo>
                    <a:lnTo>
                      <a:pt x="1360" y="1660"/>
                    </a:lnTo>
                    <a:lnTo>
                      <a:pt x="1358" y="1662"/>
                    </a:lnTo>
                    <a:lnTo>
                      <a:pt x="1360" y="1660"/>
                    </a:lnTo>
                    <a:lnTo>
                      <a:pt x="1360" y="1662"/>
                    </a:lnTo>
                    <a:lnTo>
                      <a:pt x="1360" y="1660"/>
                    </a:lnTo>
                    <a:lnTo>
                      <a:pt x="1361" y="1660"/>
                    </a:lnTo>
                    <a:lnTo>
                      <a:pt x="1363" y="1660"/>
                    </a:lnTo>
                    <a:lnTo>
                      <a:pt x="1363" y="1662"/>
                    </a:lnTo>
                    <a:lnTo>
                      <a:pt x="1361" y="1660"/>
                    </a:lnTo>
                    <a:lnTo>
                      <a:pt x="1360" y="1660"/>
                    </a:lnTo>
                    <a:lnTo>
                      <a:pt x="1361" y="1662"/>
                    </a:lnTo>
                    <a:lnTo>
                      <a:pt x="1360" y="1662"/>
                    </a:lnTo>
                    <a:lnTo>
                      <a:pt x="1361" y="1662"/>
                    </a:lnTo>
                    <a:lnTo>
                      <a:pt x="1363" y="1662"/>
                    </a:lnTo>
                    <a:lnTo>
                      <a:pt x="1361" y="1663"/>
                    </a:lnTo>
                    <a:lnTo>
                      <a:pt x="1360" y="1663"/>
                    </a:lnTo>
                    <a:lnTo>
                      <a:pt x="1360" y="1662"/>
                    </a:lnTo>
                    <a:lnTo>
                      <a:pt x="1360" y="1663"/>
                    </a:lnTo>
                    <a:lnTo>
                      <a:pt x="1360" y="1662"/>
                    </a:lnTo>
                    <a:lnTo>
                      <a:pt x="1358" y="1662"/>
                    </a:lnTo>
                    <a:lnTo>
                      <a:pt x="1358" y="1663"/>
                    </a:lnTo>
                    <a:lnTo>
                      <a:pt x="1356" y="1663"/>
                    </a:lnTo>
                    <a:lnTo>
                      <a:pt x="1355" y="1663"/>
                    </a:lnTo>
                    <a:lnTo>
                      <a:pt x="1355" y="1662"/>
                    </a:lnTo>
                    <a:lnTo>
                      <a:pt x="1355" y="1660"/>
                    </a:lnTo>
                    <a:lnTo>
                      <a:pt x="1355" y="1658"/>
                    </a:lnTo>
                    <a:lnTo>
                      <a:pt x="1355" y="1660"/>
                    </a:lnTo>
                    <a:lnTo>
                      <a:pt x="1353" y="1660"/>
                    </a:lnTo>
                    <a:lnTo>
                      <a:pt x="1355" y="1660"/>
                    </a:lnTo>
                    <a:lnTo>
                      <a:pt x="1355" y="1662"/>
                    </a:lnTo>
                    <a:lnTo>
                      <a:pt x="1353" y="1662"/>
                    </a:lnTo>
                    <a:lnTo>
                      <a:pt x="1355" y="1662"/>
                    </a:lnTo>
                    <a:lnTo>
                      <a:pt x="1353" y="1662"/>
                    </a:lnTo>
                    <a:lnTo>
                      <a:pt x="1353" y="1663"/>
                    </a:lnTo>
                    <a:lnTo>
                      <a:pt x="1353" y="1665"/>
                    </a:lnTo>
                    <a:lnTo>
                      <a:pt x="1351" y="1663"/>
                    </a:lnTo>
                    <a:lnTo>
                      <a:pt x="1353" y="1662"/>
                    </a:lnTo>
                    <a:lnTo>
                      <a:pt x="1351" y="1660"/>
                    </a:lnTo>
                    <a:lnTo>
                      <a:pt x="1351" y="1658"/>
                    </a:lnTo>
                    <a:lnTo>
                      <a:pt x="1349" y="1658"/>
                    </a:lnTo>
                    <a:lnTo>
                      <a:pt x="1349" y="1657"/>
                    </a:lnTo>
                    <a:lnTo>
                      <a:pt x="1351" y="1657"/>
                    </a:lnTo>
                    <a:lnTo>
                      <a:pt x="1353" y="1657"/>
                    </a:lnTo>
                    <a:lnTo>
                      <a:pt x="1351" y="1657"/>
                    </a:lnTo>
                    <a:lnTo>
                      <a:pt x="1349" y="1657"/>
                    </a:lnTo>
                    <a:lnTo>
                      <a:pt x="1349" y="1655"/>
                    </a:lnTo>
                    <a:lnTo>
                      <a:pt x="1351" y="1655"/>
                    </a:lnTo>
                    <a:lnTo>
                      <a:pt x="1349" y="1655"/>
                    </a:lnTo>
                    <a:lnTo>
                      <a:pt x="1348" y="1657"/>
                    </a:lnTo>
                    <a:lnTo>
                      <a:pt x="1346" y="1657"/>
                    </a:lnTo>
                    <a:lnTo>
                      <a:pt x="1344" y="1657"/>
                    </a:lnTo>
                    <a:lnTo>
                      <a:pt x="1344" y="1655"/>
                    </a:lnTo>
                    <a:lnTo>
                      <a:pt x="1346" y="1655"/>
                    </a:lnTo>
                    <a:lnTo>
                      <a:pt x="1348" y="1653"/>
                    </a:lnTo>
                    <a:lnTo>
                      <a:pt x="1346" y="1655"/>
                    </a:lnTo>
                    <a:lnTo>
                      <a:pt x="1346" y="1653"/>
                    </a:lnTo>
                    <a:lnTo>
                      <a:pt x="1344" y="1653"/>
                    </a:lnTo>
                    <a:lnTo>
                      <a:pt x="1344" y="1655"/>
                    </a:lnTo>
                    <a:lnTo>
                      <a:pt x="1343" y="1655"/>
                    </a:lnTo>
                    <a:lnTo>
                      <a:pt x="1343" y="1653"/>
                    </a:lnTo>
                    <a:lnTo>
                      <a:pt x="1344" y="1653"/>
                    </a:lnTo>
                    <a:lnTo>
                      <a:pt x="1344" y="1652"/>
                    </a:lnTo>
                    <a:lnTo>
                      <a:pt x="1343" y="1653"/>
                    </a:lnTo>
                    <a:lnTo>
                      <a:pt x="1341" y="1653"/>
                    </a:lnTo>
                    <a:lnTo>
                      <a:pt x="1339" y="1653"/>
                    </a:lnTo>
                    <a:lnTo>
                      <a:pt x="1338" y="1653"/>
                    </a:lnTo>
                    <a:lnTo>
                      <a:pt x="1339" y="1653"/>
                    </a:lnTo>
                    <a:lnTo>
                      <a:pt x="1339" y="1652"/>
                    </a:lnTo>
                    <a:lnTo>
                      <a:pt x="1341" y="1652"/>
                    </a:lnTo>
                    <a:lnTo>
                      <a:pt x="1339" y="1650"/>
                    </a:lnTo>
                    <a:lnTo>
                      <a:pt x="1341" y="1650"/>
                    </a:lnTo>
                    <a:lnTo>
                      <a:pt x="1343" y="1650"/>
                    </a:lnTo>
                    <a:lnTo>
                      <a:pt x="1344" y="1650"/>
                    </a:lnTo>
                    <a:lnTo>
                      <a:pt x="1346" y="1650"/>
                    </a:lnTo>
                    <a:lnTo>
                      <a:pt x="1348" y="1650"/>
                    </a:lnTo>
                    <a:lnTo>
                      <a:pt x="1346" y="1650"/>
                    </a:lnTo>
                    <a:lnTo>
                      <a:pt x="1344" y="1650"/>
                    </a:lnTo>
                    <a:lnTo>
                      <a:pt x="1343" y="1650"/>
                    </a:lnTo>
                    <a:lnTo>
                      <a:pt x="1344" y="1650"/>
                    </a:lnTo>
                    <a:lnTo>
                      <a:pt x="1344" y="1648"/>
                    </a:lnTo>
                    <a:lnTo>
                      <a:pt x="1343" y="1650"/>
                    </a:lnTo>
                    <a:lnTo>
                      <a:pt x="1343" y="1648"/>
                    </a:lnTo>
                    <a:lnTo>
                      <a:pt x="1344" y="1646"/>
                    </a:lnTo>
                    <a:lnTo>
                      <a:pt x="1346" y="1646"/>
                    </a:lnTo>
                    <a:lnTo>
                      <a:pt x="1348" y="1646"/>
                    </a:lnTo>
                    <a:lnTo>
                      <a:pt x="1348" y="1645"/>
                    </a:lnTo>
                    <a:lnTo>
                      <a:pt x="1349" y="1645"/>
                    </a:lnTo>
                    <a:lnTo>
                      <a:pt x="1349" y="1643"/>
                    </a:lnTo>
                    <a:lnTo>
                      <a:pt x="1348" y="1645"/>
                    </a:lnTo>
                    <a:lnTo>
                      <a:pt x="1346" y="1645"/>
                    </a:lnTo>
                    <a:lnTo>
                      <a:pt x="1344" y="1646"/>
                    </a:lnTo>
                    <a:lnTo>
                      <a:pt x="1343" y="1646"/>
                    </a:lnTo>
                    <a:lnTo>
                      <a:pt x="1343" y="1648"/>
                    </a:lnTo>
                    <a:lnTo>
                      <a:pt x="1341" y="1648"/>
                    </a:lnTo>
                    <a:lnTo>
                      <a:pt x="1339" y="1648"/>
                    </a:lnTo>
                    <a:lnTo>
                      <a:pt x="1339" y="1650"/>
                    </a:lnTo>
                    <a:lnTo>
                      <a:pt x="1338" y="1650"/>
                    </a:lnTo>
                    <a:lnTo>
                      <a:pt x="1336" y="1650"/>
                    </a:lnTo>
                    <a:lnTo>
                      <a:pt x="1334" y="1650"/>
                    </a:lnTo>
                    <a:lnTo>
                      <a:pt x="1336" y="1648"/>
                    </a:lnTo>
                    <a:lnTo>
                      <a:pt x="1334" y="1648"/>
                    </a:lnTo>
                    <a:lnTo>
                      <a:pt x="1332" y="1648"/>
                    </a:lnTo>
                    <a:lnTo>
                      <a:pt x="1332" y="1646"/>
                    </a:lnTo>
                    <a:lnTo>
                      <a:pt x="1334" y="1648"/>
                    </a:lnTo>
                    <a:lnTo>
                      <a:pt x="1336" y="1646"/>
                    </a:lnTo>
                    <a:lnTo>
                      <a:pt x="1334" y="1645"/>
                    </a:lnTo>
                    <a:lnTo>
                      <a:pt x="1332" y="1645"/>
                    </a:lnTo>
                    <a:lnTo>
                      <a:pt x="1331" y="1645"/>
                    </a:lnTo>
                    <a:lnTo>
                      <a:pt x="1332" y="1645"/>
                    </a:lnTo>
                    <a:lnTo>
                      <a:pt x="1334" y="1645"/>
                    </a:lnTo>
                    <a:lnTo>
                      <a:pt x="1336" y="1645"/>
                    </a:lnTo>
                    <a:lnTo>
                      <a:pt x="1338" y="1645"/>
                    </a:lnTo>
                    <a:lnTo>
                      <a:pt x="1336" y="1643"/>
                    </a:lnTo>
                    <a:lnTo>
                      <a:pt x="1336" y="1645"/>
                    </a:lnTo>
                    <a:lnTo>
                      <a:pt x="1334" y="1645"/>
                    </a:lnTo>
                    <a:lnTo>
                      <a:pt x="1332" y="1643"/>
                    </a:lnTo>
                    <a:lnTo>
                      <a:pt x="1334" y="1643"/>
                    </a:lnTo>
                    <a:lnTo>
                      <a:pt x="1332" y="1643"/>
                    </a:lnTo>
                    <a:lnTo>
                      <a:pt x="1331" y="1643"/>
                    </a:lnTo>
                    <a:lnTo>
                      <a:pt x="1331" y="1641"/>
                    </a:lnTo>
                    <a:lnTo>
                      <a:pt x="1331" y="1640"/>
                    </a:lnTo>
                    <a:lnTo>
                      <a:pt x="1332" y="1640"/>
                    </a:lnTo>
                    <a:lnTo>
                      <a:pt x="1332" y="1641"/>
                    </a:lnTo>
                    <a:lnTo>
                      <a:pt x="1334" y="1641"/>
                    </a:lnTo>
                    <a:lnTo>
                      <a:pt x="1332" y="1641"/>
                    </a:lnTo>
                    <a:lnTo>
                      <a:pt x="1332" y="1640"/>
                    </a:lnTo>
                    <a:lnTo>
                      <a:pt x="1334" y="1640"/>
                    </a:lnTo>
                    <a:lnTo>
                      <a:pt x="1334" y="1638"/>
                    </a:lnTo>
                    <a:lnTo>
                      <a:pt x="1336" y="1638"/>
                    </a:lnTo>
                    <a:lnTo>
                      <a:pt x="1338" y="1638"/>
                    </a:lnTo>
                    <a:lnTo>
                      <a:pt x="1339" y="1638"/>
                    </a:lnTo>
                    <a:lnTo>
                      <a:pt x="1339" y="1636"/>
                    </a:lnTo>
                    <a:lnTo>
                      <a:pt x="1341" y="1636"/>
                    </a:lnTo>
                    <a:lnTo>
                      <a:pt x="1343" y="1636"/>
                    </a:lnTo>
                    <a:lnTo>
                      <a:pt x="1343" y="1638"/>
                    </a:lnTo>
                    <a:lnTo>
                      <a:pt x="1343" y="1636"/>
                    </a:lnTo>
                    <a:lnTo>
                      <a:pt x="1344" y="1636"/>
                    </a:lnTo>
                    <a:lnTo>
                      <a:pt x="1346" y="1636"/>
                    </a:lnTo>
                    <a:lnTo>
                      <a:pt x="1346" y="1638"/>
                    </a:lnTo>
                    <a:lnTo>
                      <a:pt x="1346" y="1640"/>
                    </a:lnTo>
                    <a:lnTo>
                      <a:pt x="1348" y="1640"/>
                    </a:lnTo>
                    <a:lnTo>
                      <a:pt x="1346" y="1640"/>
                    </a:lnTo>
                    <a:lnTo>
                      <a:pt x="1348" y="1641"/>
                    </a:lnTo>
                    <a:lnTo>
                      <a:pt x="1348" y="1643"/>
                    </a:lnTo>
                    <a:lnTo>
                      <a:pt x="1346" y="1643"/>
                    </a:lnTo>
                    <a:lnTo>
                      <a:pt x="1348" y="1641"/>
                    </a:lnTo>
                    <a:lnTo>
                      <a:pt x="1348" y="1640"/>
                    </a:lnTo>
                    <a:lnTo>
                      <a:pt x="1348" y="1638"/>
                    </a:lnTo>
                    <a:lnTo>
                      <a:pt x="1346" y="1638"/>
                    </a:lnTo>
                    <a:lnTo>
                      <a:pt x="1348" y="1638"/>
                    </a:lnTo>
                    <a:lnTo>
                      <a:pt x="1346" y="1636"/>
                    </a:lnTo>
                    <a:lnTo>
                      <a:pt x="1346" y="1635"/>
                    </a:lnTo>
                    <a:lnTo>
                      <a:pt x="1348" y="1635"/>
                    </a:lnTo>
                    <a:lnTo>
                      <a:pt x="1349" y="1635"/>
                    </a:lnTo>
                    <a:lnTo>
                      <a:pt x="1351" y="1635"/>
                    </a:lnTo>
                    <a:lnTo>
                      <a:pt x="1351" y="1636"/>
                    </a:lnTo>
                    <a:lnTo>
                      <a:pt x="1349" y="1636"/>
                    </a:lnTo>
                    <a:lnTo>
                      <a:pt x="1351" y="1636"/>
                    </a:lnTo>
                    <a:lnTo>
                      <a:pt x="1353" y="1636"/>
                    </a:lnTo>
                    <a:lnTo>
                      <a:pt x="1355" y="1636"/>
                    </a:lnTo>
                    <a:lnTo>
                      <a:pt x="1353" y="1636"/>
                    </a:lnTo>
                    <a:lnTo>
                      <a:pt x="1353" y="1635"/>
                    </a:lnTo>
                    <a:lnTo>
                      <a:pt x="1353" y="1633"/>
                    </a:lnTo>
                    <a:lnTo>
                      <a:pt x="1355" y="1633"/>
                    </a:lnTo>
                    <a:lnTo>
                      <a:pt x="1356" y="1633"/>
                    </a:lnTo>
                    <a:lnTo>
                      <a:pt x="1358" y="1633"/>
                    </a:lnTo>
                    <a:lnTo>
                      <a:pt x="1358" y="1635"/>
                    </a:lnTo>
                    <a:lnTo>
                      <a:pt x="1360" y="1635"/>
                    </a:lnTo>
                    <a:lnTo>
                      <a:pt x="1358" y="1635"/>
                    </a:lnTo>
                    <a:lnTo>
                      <a:pt x="1358" y="1633"/>
                    </a:lnTo>
                    <a:lnTo>
                      <a:pt x="1360" y="1633"/>
                    </a:lnTo>
                    <a:lnTo>
                      <a:pt x="1361" y="1631"/>
                    </a:lnTo>
                    <a:lnTo>
                      <a:pt x="1361" y="1633"/>
                    </a:lnTo>
                    <a:lnTo>
                      <a:pt x="1363" y="1631"/>
                    </a:lnTo>
                    <a:lnTo>
                      <a:pt x="1363" y="1633"/>
                    </a:lnTo>
                    <a:lnTo>
                      <a:pt x="1365" y="1633"/>
                    </a:lnTo>
                    <a:lnTo>
                      <a:pt x="1365" y="1631"/>
                    </a:lnTo>
                    <a:lnTo>
                      <a:pt x="1366" y="1631"/>
                    </a:lnTo>
                    <a:lnTo>
                      <a:pt x="1368" y="1631"/>
                    </a:lnTo>
                    <a:lnTo>
                      <a:pt x="1370" y="1631"/>
                    </a:lnTo>
                    <a:lnTo>
                      <a:pt x="1372" y="1631"/>
                    </a:lnTo>
                    <a:lnTo>
                      <a:pt x="1373" y="1631"/>
                    </a:lnTo>
                    <a:lnTo>
                      <a:pt x="1373" y="1629"/>
                    </a:lnTo>
                    <a:lnTo>
                      <a:pt x="1375" y="1629"/>
                    </a:lnTo>
                    <a:lnTo>
                      <a:pt x="1377" y="1629"/>
                    </a:lnTo>
                    <a:lnTo>
                      <a:pt x="1378" y="1629"/>
                    </a:lnTo>
                    <a:lnTo>
                      <a:pt x="1380" y="1628"/>
                    </a:lnTo>
                    <a:lnTo>
                      <a:pt x="1382" y="1628"/>
                    </a:lnTo>
                    <a:close/>
                    <a:moveTo>
                      <a:pt x="1229" y="1539"/>
                    </a:moveTo>
                    <a:lnTo>
                      <a:pt x="1230" y="1539"/>
                    </a:lnTo>
                    <a:lnTo>
                      <a:pt x="1229" y="1541"/>
                    </a:lnTo>
                    <a:lnTo>
                      <a:pt x="1229" y="1543"/>
                    </a:lnTo>
                    <a:lnTo>
                      <a:pt x="1229" y="1541"/>
                    </a:lnTo>
                    <a:lnTo>
                      <a:pt x="1230" y="1541"/>
                    </a:lnTo>
                    <a:lnTo>
                      <a:pt x="1230" y="1543"/>
                    </a:lnTo>
                    <a:lnTo>
                      <a:pt x="1229" y="1544"/>
                    </a:lnTo>
                    <a:lnTo>
                      <a:pt x="1230" y="1544"/>
                    </a:lnTo>
                    <a:lnTo>
                      <a:pt x="1230" y="1546"/>
                    </a:lnTo>
                    <a:lnTo>
                      <a:pt x="1230" y="1544"/>
                    </a:lnTo>
                    <a:lnTo>
                      <a:pt x="1230" y="1543"/>
                    </a:lnTo>
                    <a:lnTo>
                      <a:pt x="1230" y="1541"/>
                    </a:lnTo>
                    <a:lnTo>
                      <a:pt x="1230" y="1539"/>
                    </a:lnTo>
                    <a:lnTo>
                      <a:pt x="1230" y="1541"/>
                    </a:lnTo>
                    <a:lnTo>
                      <a:pt x="1232" y="1541"/>
                    </a:lnTo>
                    <a:lnTo>
                      <a:pt x="1232" y="1543"/>
                    </a:lnTo>
                    <a:lnTo>
                      <a:pt x="1232" y="1541"/>
                    </a:lnTo>
                    <a:lnTo>
                      <a:pt x="1234" y="1543"/>
                    </a:lnTo>
                    <a:lnTo>
                      <a:pt x="1232" y="1543"/>
                    </a:lnTo>
                    <a:lnTo>
                      <a:pt x="1234" y="1543"/>
                    </a:lnTo>
                    <a:lnTo>
                      <a:pt x="1234" y="1544"/>
                    </a:lnTo>
                    <a:lnTo>
                      <a:pt x="1232" y="1544"/>
                    </a:lnTo>
                    <a:lnTo>
                      <a:pt x="1232" y="1546"/>
                    </a:lnTo>
                    <a:lnTo>
                      <a:pt x="1232" y="1548"/>
                    </a:lnTo>
                    <a:lnTo>
                      <a:pt x="1234" y="1546"/>
                    </a:lnTo>
                    <a:lnTo>
                      <a:pt x="1232" y="1546"/>
                    </a:lnTo>
                    <a:lnTo>
                      <a:pt x="1234" y="1544"/>
                    </a:lnTo>
                    <a:lnTo>
                      <a:pt x="1234" y="1546"/>
                    </a:lnTo>
                    <a:lnTo>
                      <a:pt x="1236" y="1546"/>
                    </a:lnTo>
                    <a:lnTo>
                      <a:pt x="1234" y="1548"/>
                    </a:lnTo>
                    <a:lnTo>
                      <a:pt x="1232" y="1548"/>
                    </a:lnTo>
                    <a:lnTo>
                      <a:pt x="1234" y="1548"/>
                    </a:lnTo>
                    <a:lnTo>
                      <a:pt x="1236" y="1548"/>
                    </a:lnTo>
                    <a:lnTo>
                      <a:pt x="1234" y="1548"/>
                    </a:lnTo>
                    <a:lnTo>
                      <a:pt x="1234" y="1549"/>
                    </a:lnTo>
                    <a:lnTo>
                      <a:pt x="1236" y="1549"/>
                    </a:lnTo>
                    <a:lnTo>
                      <a:pt x="1234" y="1551"/>
                    </a:lnTo>
                    <a:lnTo>
                      <a:pt x="1234" y="1553"/>
                    </a:lnTo>
                    <a:lnTo>
                      <a:pt x="1234" y="1555"/>
                    </a:lnTo>
                    <a:lnTo>
                      <a:pt x="1236" y="1555"/>
                    </a:lnTo>
                    <a:lnTo>
                      <a:pt x="1236" y="1553"/>
                    </a:lnTo>
                    <a:lnTo>
                      <a:pt x="1234" y="1553"/>
                    </a:lnTo>
                    <a:lnTo>
                      <a:pt x="1236" y="1551"/>
                    </a:lnTo>
                    <a:lnTo>
                      <a:pt x="1236" y="1549"/>
                    </a:lnTo>
                    <a:lnTo>
                      <a:pt x="1237" y="1549"/>
                    </a:lnTo>
                    <a:lnTo>
                      <a:pt x="1236" y="1548"/>
                    </a:lnTo>
                    <a:lnTo>
                      <a:pt x="1236" y="1546"/>
                    </a:lnTo>
                    <a:lnTo>
                      <a:pt x="1236" y="1544"/>
                    </a:lnTo>
                    <a:lnTo>
                      <a:pt x="1234" y="1543"/>
                    </a:lnTo>
                    <a:lnTo>
                      <a:pt x="1236" y="1543"/>
                    </a:lnTo>
                    <a:lnTo>
                      <a:pt x="1237" y="1544"/>
                    </a:lnTo>
                    <a:lnTo>
                      <a:pt x="1237" y="1546"/>
                    </a:lnTo>
                    <a:lnTo>
                      <a:pt x="1239" y="1546"/>
                    </a:lnTo>
                    <a:lnTo>
                      <a:pt x="1239" y="1548"/>
                    </a:lnTo>
                    <a:lnTo>
                      <a:pt x="1239" y="1549"/>
                    </a:lnTo>
                    <a:lnTo>
                      <a:pt x="1241" y="1551"/>
                    </a:lnTo>
                    <a:lnTo>
                      <a:pt x="1239" y="1551"/>
                    </a:lnTo>
                    <a:lnTo>
                      <a:pt x="1239" y="1553"/>
                    </a:lnTo>
                    <a:lnTo>
                      <a:pt x="1241" y="1551"/>
                    </a:lnTo>
                    <a:lnTo>
                      <a:pt x="1241" y="1553"/>
                    </a:lnTo>
                    <a:lnTo>
                      <a:pt x="1241" y="1555"/>
                    </a:lnTo>
                    <a:lnTo>
                      <a:pt x="1242" y="1553"/>
                    </a:lnTo>
                    <a:lnTo>
                      <a:pt x="1242" y="1551"/>
                    </a:lnTo>
                    <a:lnTo>
                      <a:pt x="1242" y="1549"/>
                    </a:lnTo>
                    <a:lnTo>
                      <a:pt x="1241" y="1549"/>
                    </a:lnTo>
                    <a:lnTo>
                      <a:pt x="1241" y="1548"/>
                    </a:lnTo>
                    <a:lnTo>
                      <a:pt x="1242" y="1548"/>
                    </a:lnTo>
                    <a:lnTo>
                      <a:pt x="1242" y="1549"/>
                    </a:lnTo>
                    <a:lnTo>
                      <a:pt x="1242" y="1548"/>
                    </a:lnTo>
                    <a:lnTo>
                      <a:pt x="1244" y="1549"/>
                    </a:lnTo>
                    <a:lnTo>
                      <a:pt x="1246" y="1549"/>
                    </a:lnTo>
                    <a:lnTo>
                      <a:pt x="1247" y="1549"/>
                    </a:lnTo>
                    <a:lnTo>
                      <a:pt x="1247" y="1551"/>
                    </a:lnTo>
                    <a:lnTo>
                      <a:pt x="1249" y="1551"/>
                    </a:lnTo>
                    <a:lnTo>
                      <a:pt x="1247" y="1553"/>
                    </a:lnTo>
                    <a:lnTo>
                      <a:pt x="1249" y="1553"/>
                    </a:lnTo>
                    <a:lnTo>
                      <a:pt x="1249" y="1551"/>
                    </a:lnTo>
                    <a:lnTo>
                      <a:pt x="1249" y="1553"/>
                    </a:lnTo>
                    <a:lnTo>
                      <a:pt x="1251" y="1553"/>
                    </a:lnTo>
                    <a:lnTo>
                      <a:pt x="1249" y="1555"/>
                    </a:lnTo>
                    <a:lnTo>
                      <a:pt x="1247" y="1555"/>
                    </a:lnTo>
                    <a:lnTo>
                      <a:pt x="1246" y="1555"/>
                    </a:lnTo>
                    <a:lnTo>
                      <a:pt x="1244" y="1555"/>
                    </a:lnTo>
                    <a:lnTo>
                      <a:pt x="1242" y="1555"/>
                    </a:lnTo>
                    <a:lnTo>
                      <a:pt x="1242" y="1556"/>
                    </a:lnTo>
                    <a:lnTo>
                      <a:pt x="1242" y="1558"/>
                    </a:lnTo>
                    <a:lnTo>
                      <a:pt x="1244" y="1558"/>
                    </a:lnTo>
                    <a:lnTo>
                      <a:pt x="1242" y="1558"/>
                    </a:lnTo>
                    <a:lnTo>
                      <a:pt x="1244" y="1558"/>
                    </a:lnTo>
                    <a:lnTo>
                      <a:pt x="1246" y="1558"/>
                    </a:lnTo>
                    <a:lnTo>
                      <a:pt x="1244" y="1558"/>
                    </a:lnTo>
                    <a:lnTo>
                      <a:pt x="1242" y="1558"/>
                    </a:lnTo>
                    <a:lnTo>
                      <a:pt x="1244" y="1556"/>
                    </a:lnTo>
                    <a:lnTo>
                      <a:pt x="1246" y="1556"/>
                    </a:lnTo>
                    <a:lnTo>
                      <a:pt x="1247" y="1555"/>
                    </a:lnTo>
                    <a:lnTo>
                      <a:pt x="1247" y="1556"/>
                    </a:lnTo>
                    <a:lnTo>
                      <a:pt x="1249" y="1556"/>
                    </a:lnTo>
                    <a:lnTo>
                      <a:pt x="1247" y="1556"/>
                    </a:lnTo>
                    <a:lnTo>
                      <a:pt x="1249" y="1556"/>
                    </a:lnTo>
                    <a:lnTo>
                      <a:pt x="1249" y="1558"/>
                    </a:lnTo>
                    <a:lnTo>
                      <a:pt x="1247" y="1558"/>
                    </a:lnTo>
                    <a:lnTo>
                      <a:pt x="1249" y="1558"/>
                    </a:lnTo>
                    <a:lnTo>
                      <a:pt x="1247" y="1558"/>
                    </a:lnTo>
                    <a:lnTo>
                      <a:pt x="1247" y="1560"/>
                    </a:lnTo>
                    <a:lnTo>
                      <a:pt x="1249" y="1560"/>
                    </a:lnTo>
                    <a:lnTo>
                      <a:pt x="1249" y="1558"/>
                    </a:lnTo>
                    <a:lnTo>
                      <a:pt x="1249" y="1556"/>
                    </a:lnTo>
                    <a:lnTo>
                      <a:pt x="1251" y="1556"/>
                    </a:lnTo>
                    <a:lnTo>
                      <a:pt x="1253" y="1556"/>
                    </a:lnTo>
                    <a:lnTo>
                      <a:pt x="1251" y="1558"/>
                    </a:lnTo>
                    <a:lnTo>
                      <a:pt x="1253" y="1558"/>
                    </a:lnTo>
                    <a:lnTo>
                      <a:pt x="1253" y="1556"/>
                    </a:lnTo>
                    <a:lnTo>
                      <a:pt x="1254" y="1558"/>
                    </a:lnTo>
                    <a:lnTo>
                      <a:pt x="1256" y="1558"/>
                    </a:lnTo>
                    <a:lnTo>
                      <a:pt x="1254" y="1560"/>
                    </a:lnTo>
                    <a:lnTo>
                      <a:pt x="1253" y="1560"/>
                    </a:lnTo>
                    <a:lnTo>
                      <a:pt x="1254" y="1560"/>
                    </a:lnTo>
                    <a:lnTo>
                      <a:pt x="1256" y="1560"/>
                    </a:lnTo>
                    <a:lnTo>
                      <a:pt x="1258" y="1560"/>
                    </a:lnTo>
                    <a:lnTo>
                      <a:pt x="1258" y="1561"/>
                    </a:lnTo>
                    <a:lnTo>
                      <a:pt x="1259" y="1563"/>
                    </a:lnTo>
                    <a:lnTo>
                      <a:pt x="1258" y="1563"/>
                    </a:lnTo>
                    <a:lnTo>
                      <a:pt x="1256" y="1563"/>
                    </a:lnTo>
                    <a:lnTo>
                      <a:pt x="1254" y="1563"/>
                    </a:lnTo>
                    <a:lnTo>
                      <a:pt x="1256" y="1563"/>
                    </a:lnTo>
                    <a:lnTo>
                      <a:pt x="1258" y="1565"/>
                    </a:lnTo>
                    <a:lnTo>
                      <a:pt x="1256" y="1565"/>
                    </a:lnTo>
                    <a:lnTo>
                      <a:pt x="1256" y="1566"/>
                    </a:lnTo>
                    <a:lnTo>
                      <a:pt x="1254" y="1566"/>
                    </a:lnTo>
                    <a:lnTo>
                      <a:pt x="1253" y="1565"/>
                    </a:lnTo>
                    <a:lnTo>
                      <a:pt x="1251" y="1563"/>
                    </a:lnTo>
                    <a:lnTo>
                      <a:pt x="1251" y="1565"/>
                    </a:lnTo>
                    <a:lnTo>
                      <a:pt x="1249" y="1565"/>
                    </a:lnTo>
                    <a:lnTo>
                      <a:pt x="1247" y="1565"/>
                    </a:lnTo>
                    <a:lnTo>
                      <a:pt x="1249" y="1565"/>
                    </a:lnTo>
                    <a:lnTo>
                      <a:pt x="1251" y="1565"/>
                    </a:lnTo>
                    <a:lnTo>
                      <a:pt x="1253" y="1565"/>
                    </a:lnTo>
                    <a:lnTo>
                      <a:pt x="1251" y="1566"/>
                    </a:lnTo>
                    <a:lnTo>
                      <a:pt x="1253" y="1566"/>
                    </a:lnTo>
                    <a:lnTo>
                      <a:pt x="1253" y="1568"/>
                    </a:lnTo>
                    <a:lnTo>
                      <a:pt x="1253" y="1570"/>
                    </a:lnTo>
                    <a:lnTo>
                      <a:pt x="1251" y="1570"/>
                    </a:lnTo>
                    <a:lnTo>
                      <a:pt x="1251" y="1568"/>
                    </a:lnTo>
                    <a:lnTo>
                      <a:pt x="1251" y="1570"/>
                    </a:lnTo>
                    <a:lnTo>
                      <a:pt x="1251" y="1568"/>
                    </a:lnTo>
                    <a:lnTo>
                      <a:pt x="1249" y="1568"/>
                    </a:lnTo>
                    <a:lnTo>
                      <a:pt x="1247" y="1568"/>
                    </a:lnTo>
                    <a:lnTo>
                      <a:pt x="1249" y="1568"/>
                    </a:lnTo>
                    <a:lnTo>
                      <a:pt x="1249" y="1570"/>
                    </a:lnTo>
                    <a:lnTo>
                      <a:pt x="1251" y="1570"/>
                    </a:lnTo>
                    <a:lnTo>
                      <a:pt x="1251" y="1572"/>
                    </a:lnTo>
                    <a:lnTo>
                      <a:pt x="1249" y="1572"/>
                    </a:lnTo>
                    <a:lnTo>
                      <a:pt x="1247" y="1572"/>
                    </a:lnTo>
                    <a:lnTo>
                      <a:pt x="1249" y="1572"/>
                    </a:lnTo>
                    <a:lnTo>
                      <a:pt x="1251" y="1573"/>
                    </a:lnTo>
                    <a:lnTo>
                      <a:pt x="1251" y="1575"/>
                    </a:lnTo>
                    <a:lnTo>
                      <a:pt x="1251" y="1573"/>
                    </a:lnTo>
                    <a:lnTo>
                      <a:pt x="1253" y="1575"/>
                    </a:lnTo>
                    <a:lnTo>
                      <a:pt x="1253" y="1577"/>
                    </a:lnTo>
                    <a:lnTo>
                      <a:pt x="1251" y="1577"/>
                    </a:lnTo>
                    <a:lnTo>
                      <a:pt x="1249" y="1577"/>
                    </a:lnTo>
                    <a:lnTo>
                      <a:pt x="1249" y="1578"/>
                    </a:lnTo>
                    <a:lnTo>
                      <a:pt x="1247" y="1578"/>
                    </a:lnTo>
                    <a:lnTo>
                      <a:pt x="1247" y="1577"/>
                    </a:lnTo>
                    <a:lnTo>
                      <a:pt x="1247" y="1575"/>
                    </a:lnTo>
                    <a:lnTo>
                      <a:pt x="1246" y="1575"/>
                    </a:lnTo>
                    <a:lnTo>
                      <a:pt x="1247" y="1575"/>
                    </a:lnTo>
                    <a:lnTo>
                      <a:pt x="1247" y="1573"/>
                    </a:lnTo>
                    <a:lnTo>
                      <a:pt x="1247" y="1572"/>
                    </a:lnTo>
                    <a:lnTo>
                      <a:pt x="1247" y="1573"/>
                    </a:lnTo>
                    <a:lnTo>
                      <a:pt x="1247" y="1575"/>
                    </a:lnTo>
                    <a:lnTo>
                      <a:pt x="1246" y="1575"/>
                    </a:lnTo>
                    <a:lnTo>
                      <a:pt x="1246" y="1573"/>
                    </a:lnTo>
                    <a:lnTo>
                      <a:pt x="1244" y="1575"/>
                    </a:lnTo>
                    <a:lnTo>
                      <a:pt x="1246" y="1575"/>
                    </a:lnTo>
                    <a:lnTo>
                      <a:pt x="1244" y="1575"/>
                    </a:lnTo>
                    <a:lnTo>
                      <a:pt x="1244" y="1577"/>
                    </a:lnTo>
                    <a:lnTo>
                      <a:pt x="1246" y="1577"/>
                    </a:lnTo>
                    <a:lnTo>
                      <a:pt x="1246" y="1578"/>
                    </a:lnTo>
                    <a:lnTo>
                      <a:pt x="1246" y="1580"/>
                    </a:lnTo>
                    <a:lnTo>
                      <a:pt x="1246" y="1578"/>
                    </a:lnTo>
                    <a:lnTo>
                      <a:pt x="1246" y="1580"/>
                    </a:lnTo>
                    <a:lnTo>
                      <a:pt x="1244" y="1580"/>
                    </a:lnTo>
                    <a:lnTo>
                      <a:pt x="1244" y="1578"/>
                    </a:lnTo>
                    <a:lnTo>
                      <a:pt x="1242" y="1580"/>
                    </a:lnTo>
                    <a:lnTo>
                      <a:pt x="1242" y="1578"/>
                    </a:lnTo>
                    <a:lnTo>
                      <a:pt x="1242" y="1580"/>
                    </a:lnTo>
                    <a:lnTo>
                      <a:pt x="1242" y="1578"/>
                    </a:lnTo>
                    <a:lnTo>
                      <a:pt x="1244" y="1577"/>
                    </a:lnTo>
                    <a:lnTo>
                      <a:pt x="1242" y="1577"/>
                    </a:lnTo>
                    <a:lnTo>
                      <a:pt x="1242" y="1578"/>
                    </a:lnTo>
                    <a:lnTo>
                      <a:pt x="1241" y="1580"/>
                    </a:lnTo>
                    <a:lnTo>
                      <a:pt x="1241" y="1578"/>
                    </a:lnTo>
                    <a:lnTo>
                      <a:pt x="1242" y="1577"/>
                    </a:lnTo>
                    <a:lnTo>
                      <a:pt x="1242" y="1575"/>
                    </a:lnTo>
                    <a:lnTo>
                      <a:pt x="1242" y="1577"/>
                    </a:lnTo>
                    <a:lnTo>
                      <a:pt x="1241" y="1578"/>
                    </a:lnTo>
                    <a:lnTo>
                      <a:pt x="1241" y="1580"/>
                    </a:lnTo>
                    <a:lnTo>
                      <a:pt x="1239" y="1578"/>
                    </a:lnTo>
                    <a:lnTo>
                      <a:pt x="1239" y="1580"/>
                    </a:lnTo>
                    <a:lnTo>
                      <a:pt x="1241" y="1580"/>
                    </a:lnTo>
                    <a:lnTo>
                      <a:pt x="1239" y="1582"/>
                    </a:lnTo>
                    <a:lnTo>
                      <a:pt x="1237" y="1580"/>
                    </a:lnTo>
                    <a:lnTo>
                      <a:pt x="1237" y="1582"/>
                    </a:lnTo>
                    <a:lnTo>
                      <a:pt x="1237" y="1580"/>
                    </a:lnTo>
                    <a:lnTo>
                      <a:pt x="1236" y="1580"/>
                    </a:lnTo>
                    <a:lnTo>
                      <a:pt x="1237" y="1580"/>
                    </a:lnTo>
                    <a:lnTo>
                      <a:pt x="1236" y="1580"/>
                    </a:lnTo>
                    <a:lnTo>
                      <a:pt x="1236" y="1582"/>
                    </a:lnTo>
                    <a:lnTo>
                      <a:pt x="1234" y="1582"/>
                    </a:lnTo>
                    <a:lnTo>
                      <a:pt x="1232" y="1582"/>
                    </a:lnTo>
                    <a:lnTo>
                      <a:pt x="1230" y="1582"/>
                    </a:lnTo>
                    <a:lnTo>
                      <a:pt x="1232" y="1580"/>
                    </a:lnTo>
                    <a:lnTo>
                      <a:pt x="1232" y="1582"/>
                    </a:lnTo>
                    <a:lnTo>
                      <a:pt x="1232" y="1580"/>
                    </a:lnTo>
                    <a:lnTo>
                      <a:pt x="1234" y="1580"/>
                    </a:lnTo>
                    <a:lnTo>
                      <a:pt x="1232" y="1580"/>
                    </a:lnTo>
                    <a:lnTo>
                      <a:pt x="1234" y="1580"/>
                    </a:lnTo>
                    <a:lnTo>
                      <a:pt x="1234" y="1578"/>
                    </a:lnTo>
                    <a:lnTo>
                      <a:pt x="1232" y="1580"/>
                    </a:lnTo>
                    <a:lnTo>
                      <a:pt x="1232" y="1578"/>
                    </a:lnTo>
                    <a:lnTo>
                      <a:pt x="1232" y="1580"/>
                    </a:lnTo>
                    <a:lnTo>
                      <a:pt x="1230" y="1580"/>
                    </a:lnTo>
                    <a:lnTo>
                      <a:pt x="1229" y="1580"/>
                    </a:lnTo>
                    <a:lnTo>
                      <a:pt x="1227" y="1578"/>
                    </a:lnTo>
                    <a:lnTo>
                      <a:pt x="1229" y="1578"/>
                    </a:lnTo>
                    <a:lnTo>
                      <a:pt x="1230" y="1578"/>
                    </a:lnTo>
                    <a:lnTo>
                      <a:pt x="1232" y="1578"/>
                    </a:lnTo>
                    <a:lnTo>
                      <a:pt x="1234" y="1578"/>
                    </a:lnTo>
                    <a:lnTo>
                      <a:pt x="1236" y="1578"/>
                    </a:lnTo>
                    <a:lnTo>
                      <a:pt x="1237" y="1580"/>
                    </a:lnTo>
                    <a:lnTo>
                      <a:pt x="1237" y="1578"/>
                    </a:lnTo>
                    <a:lnTo>
                      <a:pt x="1236" y="1578"/>
                    </a:lnTo>
                    <a:lnTo>
                      <a:pt x="1234" y="1578"/>
                    </a:lnTo>
                    <a:lnTo>
                      <a:pt x="1234" y="1577"/>
                    </a:lnTo>
                    <a:lnTo>
                      <a:pt x="1232" y="1578"/>
                    </a:lnTo>
                    <a:lnTo>
                      <a:pt x="1232" y="1577"/>
                    </a:lnTo>
                    <a:lnTo>
                      <a:pt x="1230" y="1578"/>
                    </a:lnTo>
                    <a:lnTo>
                      <a:pt x="1232" y="1577"/>
                    </a:lnTo>
                    <a:lnTo>
                      <a:pt x="1230" y="1575"/>
                    </a:lnTo>
                    <a:lnTo>
                      <a:pt x="1232" y="1577"/>
                    </a:lnTo>
                    <a:lnTo>
                      <a:pt x="1234" y="1577"/>
                    </a:lnTo>
                    <a:lnTo>
                      <a:pt x="1236" y="1577"/>
                    </a:lnTo>
                    <a:lnTo>
                      <a:pt x="1234" y="1577"/>
                    </a:lnTo>
                    <a:lnTo>
                      <a:pt x="1236" y="1577"/>
                    </a:lnTo>
                    <a:lnTo>
                      <a:pt x="1237" y="1577"/>
                    </a:lnTo>
                    <a:lnTo>
                      <a:pt x="1237" y="1578"/>
                    </a:lnTo>
                    <a:lnTo>
                      <a:pt x="1239" y="1578"/>
                    </a:lnTo>
                    <a:lnTo>
                      <a:pt x="1237" y="1577"/>
                    </a:lnTo>
                    <a:lnTo>
                      <a:pt x="1239" y="1577"/>
                    </a:lnTo>
                    <a:lnTo>
                      <a:pt x="1237" y="1577"/>
                    </a:lnTo>
                    <a:lnTo>
                      <a:pt x="1236" y="1577"/>
                    </a:lnTo>
                    <a:lnTo>
                      <a:pt x="1237" y="1575"/>
                    </a:lnTo>
                    <a:lnTo>
                      <a:pt x="1236" y="1575"/>
                    </a:lnTo>
                    <a:lnTo>
                      <a:pt x="1234" y="1575"/>
                    </a:lnTo>
                    <a:lnTo>
                      <a:pt x="1236" y="1575"/>
                    </a:lnTo>
                    <a:lnTo>
                      <a:pt x="1237" y="1575"/>
                    </a:lnTo>
                    <a:lnTo>
                      <a:pt x="1237" y="1573"/>
                    </a:lnTo>
                    <a:lnTo>
                      <a:pt x="1236" y="1575"/>
                    </a:lnTo>
                    <a:lnTo>
                      <a:pt x="1237" y="1573"/>
                    </a:lnTo>
                    <a:lnTo>
                      <a:pt x="1236" y="1573"/>
                    </a:lnTo>
                    <a:lnTo>
                      <a:pt x="1234" y="1573"/>
                    </a:lnTo>
                    <a:lnTo>
                      <a:pt x="1236" y="1572"/>
                    </a:lnTo>
                    <a:lnTo>
                      <a:pt x="1237" y="1572"/>
                    </a:lnTo>
                    <a:lnTo>
                      <a:pt x="1239" y="1572"/>
                    </a:lnTo>
                    <a:lnTo>
                      <a:pt x="1239" y="1573"/>
                    </a:lnTo>
                    <a:lnTo>
                      <a:pt x="1241" y="1573"/>
                    </a:lnTo>
                    <a:lnTo>
                      <a:pt x="1239" y="1573"/>
                    </a:lnTo>
                    <a:lnTo>
                      <a:pt x="1239" y="1572"/>
                    </a:lnTo>
                    <a:lnTo>
                      <a:pt x="1237" y="1572"/>
                    </a:lnTo>
                    <a:lnTo>
                      <a:pt x="1237" y="1570"/>
                    </a:lnTo>
                    <a:lnTo>
                      <a:pt x="1237" y="1572"/>
                    </a:lnTo>
                    <a:lnTo>
                      <a:pt x="1237" y="1570"/>
                    </a:lnTo>
                    <a:lnTo>
                      <a:pt x="1239" y="1568"/>
                    </a:lnTo>
                    <a:lnTo>
                      <a:pt x="1241" y="1568"/>
                    </a:lnTo>
                    <a:lnTo>
                      <a:pt x="1242" y="1568"/>
                    </a:lnTo>
                    <a:lnTo>
                      <a:pt x="1242" y="1566"/>
                    </a:lnTo>
                    <a:lnTo>
                      <a:pt x="1241" y="1566"/>
                    </a:lnTo>
                    <a:lnTo>
                      <a:pt x="1241" y="1568"/>
                    </a:lnTo>
                    <a:lnTo>
                      <a:pt x="1241" y="1566"/>
                    </a:lnTo>
                    <a:lnTo>
                      <a:pt x="1239" y="1566"/>
                    </a:lnTo>
                    <a:lnTo>
                      <a:pt x="1241" y="1566"/>
                    </a:lnTo>
                    <a:lnTo>
                      <a:pt x="1239" y="1566"/>
                    </a:lnTo>
                    <a:lnTo>
                      <a:pt x="1239" y="1568"/>
                    </a:lnTo>
                    <a:lnTo>
                      <a:pt x="1237" y="1568"/>
                    </a:lnTo>
                    <a:lnTo>
                      <a:pt x="1237" y="1570"/>
                    </a:lnTo>
                    <a:lnTo>
                      <a:pt x="1237" y="1568"/>
                    </a:lnTo>
                    <a:lnTo>
                      <a:pt x="1237" y="1566"/>
                    </a:lnTo>
                    <a:lnTo>
                      <a:pt x="1239" y="1566"/>
                    </a:lnTo>
                    <a:lnTo>
                      <a:pt x="1239" y="1565"/>
                    </a:lnTo>
                    <a:lnTo>
                      <a:pt x="1237" y="1566"/>
                    </a:lnTo>
                    <a:lnTo>
                      <a:pt x="1236" y="1568"/>
                    </a:lnTo>
                    <a:lnTo>
                      <a:pt x="1237" y="1568"/>
                    </a:lnTo>
                    <a:lnTo>
                      <a:pt x="1236" y="1568"/>
                    </a:lnTo>
                    <a:lnTo>
                      <a:pt x="1237" y="1570"/>
                    </a:lnTo>
                    <a:lnTo>
                      <a:pt x="1236" y="1570"/>
                    </a:lnTo>
                    <a:lnTo>
                      <a:pt x="1236" y="1572"/>
                    </a:lnTo>
                    <a:lnTo>
                      <a:pt x="1234" y="1572"/>
                    </a:lnTo>
                    <a:lnTo>
                      <a:pt x="1232" y="1572"/>
                    </a:lnTo>
                    <a:lnTo>
                      <a:pt x="1234" y="1572"/>
                    </a:lnTo>
                    <a:lnTo>
                      <a:pt x="1232" y="1572"/>
                    </a:lnTo>
                    <a:lnTo>
                      <a:pt x="1232" y="1570"/>
                    </a:lnTo>
                    <a:lnTo>
                      <a:pt x="1234" y="1570"/>
                    </a:lnTo>
                    <a:lnTo>
                      <a:pt x="1236" y="1570"/>
                    </a:lnTo>
                    <a:lnTo>
                      <a:pt x="1234" y="1570"/>
                    </a:lnTo>
                    <a:lnTo>
                      <a:pt x="1234" y="1568"/>
                    </a:lnTo>
                    <a:lnTo>
                      <a:pt x="1236" y="1568"/>
                    </a:lnTo>
                    <a:lnTo>
                      <a:pt x="1236" y="1566"/>
                    </a:lnTo>
                    <a:lnTo>
                      <a:pt x="1236" y="1565"/>
                    </a:lnTo>
                    <a:lnTo>
                      <a:pt x="1236" y="1563"/>
                    </a:lnTo>
                    <a:lnTo>
                      <a:pt x="1237" y="1563"/>
                    </a:lnTo>
                    <a:lnTo>
                      <a:pt x="1237" y="1561"/>
                    </a:lnTo>
                    <a:lnTo>
                      <a:pt x="1239" y="1561"/>
                    </a:lnTo>
                    <a:lnTo>
                      <a:pt x="1239" y="1560"/>
                    </a:lnTo>
                    <a:lnTo>
                      <a:pt x="1237" y="1561"/>
                    </a:lnTo>
                    <a:lnTo>
                      <a:pt x="1237" y="1563"/>
                    </a:lnTo>
                    <a:lnTo>
                      <a:pt x="1236" y="1561"/>
                    </a:lnTo>
                    <a:lnTo>
                      <a:pt x="1236" y="1563"/>
                    </a:lnTo>
                    <a:lnTo>
                      <a:pt x="1234" y="1563"/>
                    </a:lnTo>
                    <a:lnTo>
                      <a:pt x="1236" y="1563"/>
                    </a:lnTo>
                    <a:lnTo>
                      <a:pt x="1236" y="1565"/>
                    </a:lnTo>
                    <a:lnTo>
                      <a:pt x="1236" y="1566"/>
                    </a:lnTo>
                    <a:lnTo>
                      <a:pt x="1234" y="1566"/>
                    </a:lnTo>
                    <a:lnTo>
                      <a:pt x="1234" y="1568"/>
                    </a:lnTo>
                    <a:lnTo>
                      <a:pt x="1232" y="1568"/>
                    </a:lnTo>
                    <a:lnTo>
                      <a:pt x="1230" y="1568"/>
                    </a:lnTo>
                    <a:lnTo>
                      <a:pt x="1232" y="1568"/>
                    </a:lnTo>
                    <a:lnTo>
                      <a:pt x="1232" y="1566"/>
                    </a:lnTo>
                    <a:lnTo>
                      <a:pt x="1230" y="1568"/>
                    </a:lnTo>
                    <a:lnTo>
                      <a:pt x="1229" y="1568"/>
                    </a:lnTo>
                    <a:lnTo>
                      <a:pt x="1229" y="1566"/>
                    </a:lnTo>
                    <a:lnTo>
                      <a:pt x="1230" y="1566"/>
                    </a:lnTo>
                    <a:lnTo>
                      <a:pt x="1229" y="1565"/>
                    </a:lnTo>
                    <a:lnTo>
                      <a:pt x="1230" y="1565"/>
                    </a:lnTo>
                    <a:lnTo>
                      <a:pt x="1232" y="1565"/>
                    </a:lnTo>
                    <a:lnTo>
                      <a:pt x="1234" y="1565"/>
                    </a:lnTo>
                    <a:lnTo>
                      <a:pt x="1232" y="1565"/>
                    </a:lnTo>
                    <a:lnTo>
                      <a:pt x="1230" y="1565"/>
                    </a:lnTo>
                    <a:lnTo>
                      <a:pt x="1229" y="1565"/>
                    </a:lnTo>
                    <a:lnTo>
                      <a:pt x="1230" y="1563"/>
                    </a:lnTo>
                    <a:lnTo>
                      <a:pt x="1229" y="1563"/>
                    </a:lnTo>
                    <a:lnTo>
                      <a:pt x="1229" y="1565"/>
                    </a:lnTo>
                    <a:lnTo>
                      <a:pt x="1229" y="1563"/>
                    </a:lnTo>
                    <a:lnTo>
                      <a:pt x="1230" y="1563"/>
                    </a:lnTo>
                    <a:lnTo>
                      <a:pt x="1232" y="1563"/>
                    </a:lnTo>
                    <a:lnTo>
                      <a:pt x="1230" y="1563"/>
                    </a:lnTo>
                    <a:lnTo>
                      <a:pt x="1230" y="1561"/>
                    </a:lnTo>
                    <a:lnTo>
                      <a:pt x="1232" y="1561"/>
                    </a:lnTo>
                    <a:lnTo>
                      <a:pt x="1234" y="1561"/>
                    </a:lnTo>
                    <a:lnTo>
                      <a:pt x="1234" y="1560"/>
                    </a:lnTo>
                    <a:lnTo>
                      <a:pt x="1236" y="1560"/>
                    </a:lnTo>
                    <a:lnTo>
                      <a:pt x="1237" y="1560"/>
                    </a:lnTo>
                    <a:lnTo>
                      <a:pt x="1236" y="1560"/>
                    </a:lnTo>
                    <a:lnTo>
                      <a:pt x="1236" y="1558"/>
                    </a:lnTo>
                    <a:lnTo>
                      <a:pt x="1236" y="1556"/>
                    </a:lnTo>
                    <a:lnTo>
                      <a:pt x="1236" y="1558"/>
                    </a:lnTo>
                    <a:lnTo>
                      <a:pt x="1234" y="1558"/>
                    </a:lnTo>
                    <a:lnTo>
                      <a:pt x="1236" y="1558"/>
                    </a:lnTo>
                    <a:lnTo>
                      <a:pt x="1234" y="1560"/>
                    </a:lnTo>
                    <a:lnTo>
                      <a:pt x="1234" y="1558"/>
                    </a:lnTo>
                    <a:lnTo>
                      <a:pt x="1232" y="1558"/>
                    </a:lnTo>
                    <a:lnTo>
                      <a:pt x="1230" y="1558"/>
                    </a:lnTo>
                    <a:lnTo>
                      <a:pt x="1230" y="1556"/>
                    </a:lnTo>
                    <a:lnTo>
                      <a:pt x="1229" y="1558"/>
                    </a:lnTo>
                    <a:lnTo>
                      <a:pt x="1229" y="1556"/>
                    </a:lnTo>
                    <a:lnTo>
                      <a:pt x="1227" y="1556"/>
                    </a:lnTo>
                    <a:lnTo>
                      <a:pt x="1225" y="1556"/>
                    </a:lnTo>
                    <a:lnTo>
                      <a:pt x="1224" y="1556"/>
                    </a:lnTo>
                    <a:lnTo>
                      <a:pt x="1225" y="1556"/>
                    </a:lnTo>
                    <a:lnTo>
                      <a:pt x="1225" y="1555"/>
                    </a:lnTo>
                    <a:lnTo>
                      <a:pt x="1227" y="1555"/>
                    </a:lnTo>
                    <a:lnTo>
                      <a:pt x="1229" y="1556"/>
                    </a:lnTo>
                    <a:lnTo>
                      <a:pt x="1229" y="1555"/>
                    </a:lnTo>
                    <a:lnTo>
                      <a:pt x="1230" y="1555"/>
                    </a:lnTo>
                    <a:lnTo>
                      <a:pt x="1232" y="1555"/>
                    </a:lnTo>
                    <a:lnTo>
                      <a:pt x="1232" y="1553"/>
                    </a:lnTo>
                    <a:lnTo>
                      <a:pt x="1230" y="1551"/>
                    </a:lnTo>
                    <a:lnTo>
                      <a:pt x="1230" y="1553"/>
                    </a:lnTo>
                    <a:lnTo>
                      <a:pt x="1230" y="1555"/>
                    </a:lnTo>
                    <a:lnTo>
                      <a:pt x="1230" y="1553"/>
                    </a:lnTo>
                    <a:lnTo>
                      <a:pt x="1229" y="1555"/>
                    </a:lnTo>
                    <a:lnTo>
                      <a:pt x="1227" y="1553"/>
                    </a:lnTo>
                    <a:lnTo>
                      <a:pt x="1227" y="1555"/>
                    </a:lnTo>
                    <a:lnTo>
                      <a:pt x="1227" y="1553"/>
                    </a:lnTo>
                    <a:lnTo>
                      <a:pt x="1229" y="1553"/>
                    </a:lnTo>
                    <a:lnTo>
                      <a:pt x="1229" y="1551"/>
                    </a:lnTo>
                    <a:lnTo>
                      <a:pt x="1230" y="1551"/>
                    </a:lnTo>
                    <a:lnTo>
                      <a:pt x="1230" y="1549"/>
                    </a:lnTo>
                    <a:lnTo>
                      <a:pt x="1229" y="1549"/>
                    </a:lnTo>
                    <a:lnTo>
                      <a:pt x="1229" y="1551"/>
                    </a:lnTo>
                    <a:lnTo>
                      <a:pt x="1227" y="1549"/>
                    </a:lnTo>
                    <a:lnTo>
                      <a:pt x="1227" y="1551"/>
                    </a:lnTo>
                    <a:lnTo>
                      <a:pt x="1229" y="1551"/>
                    </a:lnTo>
                    <a:lnTo>
                      <a:pt x="1227" y="1551"/>
                    </a:lnTo>
                    <a:lnTo>
                      <a:pt x="1227" y="1553"/>
                    </a:lnTo>
                    <a:lnTo>
                      <a:pt x="1227" y="1555"/>
                    </a:lnTo>
                    <a:lnTo>
                      <a:pt x="1225" y="1553"/>
                    </a:lnTo>
                    <a:lnTo>
                      <a:pt x="1224" y="1555"/>
                    </a:lnTo>
                    <a:lnTo>
                      <a:pt x="1224" y="1553"/>
                    </a:lnTo>
                    <a:lnTo>
                      <a:pt x="1225" y="1551"/>
                    </a:lnTo>
                    <a:lnTo>
                      <a:pt x="1225" y="1553"/>
                    </a:lnTo>
                    <a:lnTo>
                      <a:pt x="1224" y="1553"/>
                    </a:lnTo>
                    <a:lnTo>
                      <a:pt x="1222" y="1553"/>
                    </a:lnTo>
                    <a:lnTo>
                      <a:pt x="1220" y="1553"/>
                    </a:lnTo>
                    <a:lnTo>
                      <a:pt x="1222" y="1551"/>
                    </a:lnTo>
                    <a:lnTo>
                      <a:pt x="1220" y="1551"/>
                    </a:lnTo>
                    <a:lnTo>
                      <a:pt x="1222" y="1551"/>
                    </a:lnTo>
                    <a:lnTo>
                      <a:pt x="1220" y="1551"/>
                    </a:lnTo>
                    <a:lnTo>
                      <a:pt x="1222" y="1551"/>
                    </a:lnTo>
                    <a:lnTo>
                      <a:pt x="1222" y="1549"/>
                    </a:lnTo>
                    <a:lnTo>
                      <a:pt x="1224" y="1549"/>
                    </a:lnTo>
                    <a:lnTo>
                      <a:pt x="1222" y="1549"/>
                    </a:lnTo>
                    <a:lnTo>
                      <a:pt x="1220" y="1549"/>
                    </a:lnTo>
                    <a:lnTo>
                      <a:pt x="1222" y="1549"/>
                    </a:lnTo>
                    <a:lnTo>
                      <a:pt x="1220" y="1549"/>
                    </a:lnTo>
                    <a:lnTo>
                      <a:pt x="1219" y="1549"/>
                    </a:lnTo>
                    <a:lnTo>
                      <a:pt x="1219" y="1548"/>
                    </a:lnTo>
                    <a:lnTo>
                      <a:pt x="1217" y="1548"/>
                    </a:lnTo>
                    <a:lnTo>
                      <a:pt x="1217" y="1546"/>
                    </a:lnTo>
                    <a:lnTo>
                      <a:pt x="1217" y="1544"/>
                    </a:lnTo>
                    <a:lnTo>
                      <a:pt x="1215" y="1544"/>
                    </a:lnTo>
                    <a:lnTo>
                      <a:pt x="1215" y="1543"/>
                    </a:lnTo>
                    <a:lnTo>
                      <a:pt x="1217" y="1544"/>
                    </a:lnTo>
                    <a:lnTo>
                      <a:pt x="1219" y="1544"/>
                    </a:lnTo>
                    <a:lnTo>
                      <a:pt x="1220" y="1544"/>
                    </a:lnTo>
                    <a:lnTo>
                      <a:pt x="1220" y="1546"/>
                    </a:lnTo>
                    <a:lnTo>
                      <a:pt x="1222" y="1544"/>
                    </a:lnTo>
                    <a:lnTo>
                      <a:pt x="1222" y="1546"/>
                    </a:lnTo>
                    <a:lnTo>
                      <a:pt x="1222" y="1548"/>
                    </a:lnTo>
                    <a:lnTo>
                      <a:pt x="1222" y="1546"/>
                    </a:lnTo>
                    <a:lnTo>
                      <a:pt x="1224" y="1546"/>
                    </a:lnTo>
                    <a:lnTo>
                      <a:pt x="1222" y="1546"/>
                    </a:lnTo>
                    <a:lnTo>
                      <a:pt x="1224" y="1544"/>
                    </a:lnTo>
                    <a:lnTo>
                      <a:pt x="1224" y="1546"/>
                    </a:lnTo>
                    <a:lnTo>
                      <a:pt x="1225" y="1544"/>
                    </a:lnTo>
                    <a:lnTo>
                      <a:pt x="1225" y="1546"/>
                    </a:lnTo>
                    <a:lnTo>
                      <a:pt x="1227" y="1546"/>
                    </a:lnTo>
                    <a:lnTo>
                      <a:pt x="1227" y="1548"/>
                    </a:lnTo>
                    <a:lnTo>
                      <a:pt x="1227" y="1546"/>
                    </a:lnTo>
                    <a:lnTo>
                      <a:pt x="1229" y="1548"/>
                    </a:lnTo>
                    <a:lnTo>
                      <a:pt x="1229" y="1546"/>
                    </a:lnTo>
                    <a:lnTo>
                      <a:pt x="1227" y="1546"/>
                    </a:lnTo>
                    <a:lnTo>
                      <a:pt x="1225" y="1546"/>
                    </a:lnTo>
                    <a:lnTo>
                      <a:pt x="1225" y="1544"/>
                    </a:lnTo>
                    <a:lnTo>
                      <a:pt x="1225" y="1543"/>
                    </a:lnTo>
                    <a:lnTo>
                      <a:pt x="1227" y="1543"/>
                    </a:lnTo>
                    <a:lnTo>
                      <a:pt x="1225" y="1543"/>
                    </a:lnTo>
                    <a:lnTo>
                      <a:pt x="1227" y="1543"/>
                    </a:lnTo>
                    <a:lnTo>
                      <a:pt x="1225" y="1543"/>
                    </a:lnTo>
                    <a:lnTo>
                      <a:pt x="1225" y="1541"/>
                    </a:lnTo>
                    <a:lnTo>
                      <a:pt x="1224" y="1541"/>
                    </a:lnTo>
                    <a:lnTo>
                      <a:pt x="1225" y="1541"/>
                    </a:lnTo>
                    <a:lnTo>
                      <a:pt x="1224" y="1539"/>
                    </a:lnTo>
                    <a:lnTo>
                      <a:pt x="1225" y="1539"/>
                    </a:lnTo>
                    <a:lnTo>
                      <a:pt x="1227" y="1539"/>
                    </a:lnTo>
                    <a:lnTo>
                      <a:pt x="1229" y="1539"/>
                    </a:lnTo>
                    <a:close/>
                    <a:moveTo>
                      <a:pt x="1400" y="1626"/>
                    </a:moveTo>
                    <a:lnTo>
                      <a:pt x="1402" y="1626"/>
                    </a:lnTo>
                    <a:lnTo>
                      <a:pt x="1402" y="1628"/>
                    </a:lnTo>
                    <a:lnTo>
                      <a:pt x="1404" y="1626"/>
                    </a:lnTo>
                    <a:lnTo>
                      <a:pt x="1404" y="1628"/>
                    </a:lnTo>
                    <a:lnTo>
                      <a:pt x="1406" y="1628"/>
                    </a:lnTo>
                    <a:lnTo>
                      <a:pt x="1407" y="1628"/>
                    </a:lnTo>
                    <a:lnTo>
                      <a:pt x="1409" y="1628"/>
                    </a:lnTo>
                    <a:lnTo>
                      <a:pt x="1407" y="1628"/>
                    </a:lnTo>
                    <a:lnTo>
                      <a:pt x="1409" y="1629"/>
                    </a:lnTo>
                    <a:lnTo>
                      <a:pt x="1409" y="1628"/>
                    </a:lnTo>
                    <a:lnTo>
                      <a:pt x="1411" y="1629"/>
                    </a:lnTo>
                    <a:lnTo>
                      <a:pt x="1411" y="1628"/>
                    </a:lnTo>
                    <a:lnTo>
                      <a:pt x="1412" y="1628"/>
                    </a:lnTo>
                    <a:lnTo>
                      <a:pt x="1414" y="1628"/>
                    </a:lnTo>
                    <a:lnTo>
                      <a:pt x="1416" y="1628"/>
                    </a:lnTo>
                    <a:lnTo>
                      <a:pt x="1416" y="1629"/>
                    </a:lnTo>
                    <a:lnTo>
                      <a:pt x="1417" y="1628"/>
                    </a:lnTo>
                    <a:lnTo>
                      <a:pt x="1419" y="1628"/>
                    </a:lnTo>
                    <a:lnTo>
                      <a:pt x="1421" y="1628"/>
                    </a:lnTo>
                    <a:lnTo>
                      <a:pt x="1423" y="1628"/>
                    </a:lnTo>
                    <a:lnTo>
                      <a:pt x="1423" y="1629"/>
                    </a:lnTo>
                    <a:lnTo>
                      <a:pt x="1424" y="1629"/>
                    </a:lnTo>
                    <a:lnTo>
                      <a:pt x="1426" y="1629"/>
                    </a:lnTo>
                    <a:lnTo>
                      <a:pt x="1428" y="1631"/>
                    </a:lnTo>
                    <a:lnTo>
                      <a:pt x="1428" y="1633"/>
                    </a:lnTo>
                    <a:lnTo>
                      <a:pt x="1429" y="1635"/>
                    </a:lnTo>
                    <a:lnTo>
                      <a:pt x="1429" y="1636"/>
                    </a:lnTo>
                    <a:lnTo>
                      <a:pt x="1429" y="1638"/>
                    </a:lnTo>
                    <a:lnTo>
                      <a:pt x="1431" y="1638"/>
                    </a:lnTo>
                    <a:lnTo>
                      <a:pt x="1431" y="1640"/>
                    </a:lnTo>
                    <a:lnTo>
                      <a:pt x="1431" y="1641"/>
                    </a:lnTo>
                    <a:lnTo>
                      <a:pt x="1429" y="1643"/>
                    </a:lnTo>
                    <a:lnTo>
                      <a:pt x="1429" y="1645"/>
                    </a:lnTo>
                    <a:lnTo>
                      <a:pt x="1428" y="1646"/>
                    </a:lnTo>
                    <a:lnTo>
                      <a:pt x="1426" y="1648"/>
                    </a:lnTo>
                    <a:lnTo>
                      <a:pt x="1426" y="1650"/>
                    </a:lnTo>
                    <a:lnTo>
                      <a:pt x="1424" y="1650"/>
                    </a:lnTo>
                    <a:lnTo>
                      <a:pt x="1424" y="1652"/>
                    </a:lnTo>
                    <a:lnTo>
                      <a:pt x="1423" y="1652"/>
                    </a:lnTo>
                    <a:lnTo>
                      <a:pt x="1421" y="1652"/>
                    </a:lnTo>
                    <a:lnTo>
                      <a:pt x="1419" y="1652"/>
                    </a:lnTo>
                    <a:lnTo>
                      <a:pt x="1417" y="1652"/>
                    </a:lnTo>
                    <a:lnTo>
                      <a:pt x="1417" y="1650"/>
                    </a:lnTo>
                    <a:lnTo>
                      <a:pt x="1417" y="1648"/>
                    </a:lnTo>
                    <a:lnTo>
                      <a:pt x="1417" y="1646"/>
                    </a:lnTo>
                    <a:lnTo>
                      <a:pt x="1419" y="1645"/>
                    </a:lnTo>
                    <a:lnTo>
                      <a:pt x="1417" y="1643"/>
                    </a:lnTo>
                    <a:lnTo>
                      <a:pt x="1416" y="1643"/>
                    </a:lnTo>
                    <a:lnTo>
                      <a:pt x="1414" y="1643"/>
                    </a:lnTo>
                    <a:lnTo>
                      <a:pt x="1412" y="1645"/>
                    </a:lnTo>
                    <a:lnTo>
                      <a:pt x="1411" y="1646"/>
                    </a:lnTo>
                    <a:lnTo>
                      <a:pt x="1412" y="1648"/>
                    </a:lnTo>
                    <a:lnTo>
                      <a:pt x="1411" y="1648"/>
                    </a:lnTo>
                    <a:lnTo>
                      <a:pt x="1409" y="1648"/>
                    </a:lnTo>
                    <a:lnTo>
                      <a:pt x="1407" y="1646"/>
                    </a:lnTo>
                    <a:lnTo>
                      <a:pt x="1407" y="1648"/>
                    </a:lnTo>
                    <a:lnTo>
                      <a:pt x="1406" y="1648"/>
                    </a:lnTo>
                    <a:lnTo>
                      <a:pt x="1404" y="1648"/>
                    </a:lnTo>
                    <a:lnTo>
                      <a:pt x="1402" y="1646"/>
                    </a:lnTo>
                    <a:lnTo>
                      <a:pt x="1404" y="1646"/>
                    </a:lnTo>
                    <a:lnTo>
                      <a:pt x="1402" y="1645"/>
                    </a:lnTo>
                    <a:lnTo>
                      <a:pt x="1404" y="1645"/>
                    </a:lnTo>
                    <a:lnTo>
                      <a:pt x="1404" y="1646"/>
                    </a:lnTo>
                    <a:lnTo>
                      <a:pt x="1406" y="1646"/>
                    </a:lnTo>
                    <a:lnTo>
                      <a:pt x="1407" y="1646"/>
                    </a:lnTo>
                    <a:lnTo>
                      <a:pt x="1406" y="1645"/>
                    </a:lnTo>
                    <a:lnTo>
                      <a:pt x="1404" y="1645"/>
                    </a:lnTo>
                    <a:lnTo>
                      <a:pt x="1404" y="1643"/>
                    </a:lnTo>
                    <a:lnTo>
                      <a:pt x="1402" y="1645"/>
                    </a:lnTo>
                    <a:lnTo>
                      <a:pt x="1402" y="1643"/>
                    </a:lnTo>
                    <a:lnTo>
                      <a:pt x="1400" y="1643"/>
                    </a:lnTo>
                    <a:lnTo>
                      <a:pt x="1400" y="1645"/>
                    </a:lnTo>
                    <a:lnTo>
                      <a:pt x="1399" y="1646"/>
                    </a:lnTo>
                    <a:lnTo>
                      <a:pt x="1399" y="1645"/>
                    </a:lnTo>
                    <a:lnTo>
                      <a:pt x="1399" y="1646"/>
                    </a:lnTo>
                    <a:lnTo>
                      <a:pt x="1397" y="1646"/>
                    </a:lnTo>
                    <a:lnTo>
                      <a:pt x="1395" y="1645"/>
                    </a:lnTo>
                    <a:lnTo>
                      <a:pt x="1394" y="1645"/>
                    </a:lnTo>
                    <a:lnTo>
                      <a:pt x="1394" y="1643"/>
                    </a:lnTo>
                    <a:lnTo>
                      <a:pt x="1395" y="1643"/>
                    </a:lnTo>
                    <a:lnTo>
                      <a:pt x="1397" y="1643"/>
                    </a:lnTo>
                    <a:lnTo>
                      <a:pt x="1395" y="1643"/>
                    </a:lnTo>
                    <a:lnTo>
                      <a:pt x="1394" y="1641"/>
                    </a:lnTo>
                    <a:lnTo>
                      <a:pt x="1394" y="1640"/>
                    </a:lnTo>
                    <a:lnTo>
                      <a:pt x="1394" y="1638"/>
                    </a:lnTo>
                    <a:lnTo>
                      <a:pt x="1394" y="1636"/>
                    </a:lnTo>
                    <a:lnTo>
                      <a:pt x="1394" y="1635"/>
                    </a:lnTo>
                    <a:lnTo>
                      <a:pt x="1394" y="1633"/>
                    </a:lnTo>
                    <a:lnTo>
                      <a:pt x="1392" y="1633"/>
                    </a:lnTo>
                    <a:lnTo>
                      <a:pt x="1394" y="1631"/>
                    </a:lnTo>
                    <a:lnTo>
                      <a:pt x="1392" y="1633"/>
                    </a:lnTo>
                    <a:lnTo>
                      <a:pt x="1392" y="1631"/>
                    </a:lnTo>
                    <a:lnTo>
                      <a:pt x="1392" y="1633"/>
                    </a:lnTo>
                    <a:lnTo>
                      <a:pt x="1390" y="1633"/>
                    </a:lnTo>
                    <a:lnTo>
                      <a:pt x="1389" y="1633"/>
                    </a:lnTo>
                    <a:lnTo>
                      <a:pt x="1387" y="1631"/>
                    </a:lnTo>
                    <a:lnTo>
                      <a:pt x="1387" y="1629"/>
                    </a:lnTo>
                    <a:lnTo>
                      <a:pt x="1385" y="1629"/>
                    </a:lnTo>
                    <a:lnTo>
                      <a:pt x="1387" y="1628"/>
                    </a:lnTo>
                    <a:lnTo>
                      <a:pt x="1389" y="1628"/>
                    </a:lnTo>
                    <a:lnTo>
                      <a:pt x="1390" y="1628"/>
                    </a:lnTo>
                    <a:lnTo>
                      <a:pt x="1392" y="1628"/>
                    </a:lnTo>
                    <a:lnTo>
                      <a:pt x="1390" y="1626"/>
                    </a:lnTo>
                    <a:lnTo>
                      <a:pt x="1392" y="1626"/>
                    </a:lnTo>
                    <a:lnTo>
                      <a:pt x="1394" y="1626"/>
                    </a:lnTo>
                    <a:lnTo>
                      <a:pt x="1395" y="1626"/>
                    </a:lnTo>
                    <a:lnTo>
                      <a:pt x="1397" y="1626"/>
                    </a:lnTo>
                    <a:lnTo>
                      <a:pt x="1399" y="1626"/>
                    </a:lnTo>
                    <a:lnTo>
                      <a:pt x="1400" y="1626"/>
                    </a:lnTo>
                    <a:close/>
                    <a:moveTo>
                      <a:pt x="1232" y="1075"/>
                    </a:moveTo>
                    <a:lnTo>
                      <a:pt x="1232" y="1077"/>
                    </a:lnTo>
                    <a:lnTo>
                      <a:pt x="1234" y="1077"/>
                    </a:lnTo>
                    <a:lnTo>
                      <a:pt x="1234" y="1078"/>
                    </a:lnTo>
                    <a:lnTo>
                      <a:pt x="1232" y="1080"/>
                    </a:lnTo>
                    <a:lnTo>
                      <a:pt x="1230" y="1082"/>
                    </a:lnTo>
                    <a:lnTo>
                      <a:pt x="1232" y="1082"/>
                    </a:lnTo>
                    <a:lnTo>
                      <a:pt x="1230" y="1082"/>
                    </a:lnTo>
                    <a:lnTo>
                      <a:pt x="1230" y="1083"/>
                    </a:lnTo>
                    <a:lnTo>
                      <a:pt x="1232" y="1082"/>
                    </a:lnTo>
                    <a:lnTo>
                      <a:pt x="1232" y="1080"/>
                    </a:lnTo>
                    <a:lnTo>
                      <a:pt x="1234" y="1080"/>
                    </a:lnTo>
                    <a:lnTo>
                      <a:pt x="1234" y="1078"/>
                    </a:lnTo>
                    <a:lnTo>
                      <a:pt x="1234" y="1077"/>
                    </a:lnTo>
                    <a:lnTo>
                      <a:pt x="1236" y="1078"/>
                    </a:lnTo>
                    <a:lnTo>
                      <a:pt x="1237" y="1078"/>
                    </a:lnTo>
                    <a:lnTo>
                      <a:pt x="1237" y="1080"/>
                    </a:lnTo>
                    <a:lnTo>
                      <a:pt x="1239" y="1080"/>
                    </a:lnTo>
                    <a:lnTo>
                      <a:pt x="1239" y="1082"/>
                    </a:lnTo>
                    <a:lnTo>
                      <a:pt x="1241" y="1082"/>
                    </a:lnTo>
                    <a:lnTo>
                      <a:pt x="1241" y="1083"/>
                    </a:lnTo>
                    <a:lnTo>
                      <a:pt x="1239" y="1083"/>
                    </a:lnTo>
                    <a:lnTo>
                      <a:pt x="1239" y="1085"/>
                    </a:lnTo>
                    <a:lnTo>
                      <a:pt x="1237" y="1087"/>
                    </a:lnTo>
                    <a:lnTo>
                      <a:pt x="1236" y="1087"/>
                    </a:lnTo>
                    <a:lnTo>
                      <a:pt x="1234" y="1087"/>
                    </a:lnTo>
                    <a:lnTo>
                      <a:pt x="1232" y="1085"/>
                    </a:lnTo>
                    <a:lnTo>
                      <a:pt x="1230" y="1085"/>
                    </a:lnTo>
                    <a:lnTo>
                      <a:pt x="1232" y="1085"/>
                    </a:lnTo>
                    <a:lnTo>
                      <a:pt x="1230" y="1085"/>
                    </a:lnTo>
                    <a:lnTo>
                      <a:pt x="1232" y="1085"/>
                    </a:lnTo>
                    <a:lnTo>
                      <a:pt x="1230" y="1087"/>
                    </a:lnTo>
                    <a:lnTo>
                      <a:pt x="1232" y="1087"/>
                    </a:lnTo>
                    <a:lnTo>
                      <a:pt x="1234" y="1087"/>
                    </a:lnTo>
                    <a:lnTo>
                      <a:pt x="1234" y="1088"/>
                    </a:lnTo>
                    <a:lnTo>
                      <a:pt x="1236" y="1088"/>
                    </a:lnTo>
                    <a:lnTo>
                      <a:pt x="1237" y="1088"/>
                    </a:lnTo>
                    <a:lnTo>
                      <a:pt x="1237" y="1090"/>
                    </a:lnTo>
                    <a:lnTo>
                      <a:pt x="1236" y="1090"/>
                    </a:lnTo>
                    <a:lnTo>
                      <a:pt x="1236" y="1092"/>
                    </a:lnTo>
                    <a:lnTo>
                      <a:pt x="1234" y="1094"/>
                    </a:lnTo>
                    <a:lnTo>
                      <a:pt x="1234" y="1092"/>
                    </a:lnTo>
                    <a:lnTo>
                      <a:pt x="1234" y="1094"/>
                    </a:lnTo>
                    <a:lnTo>
                      <a:pt x="1232" y="1094"/>
                    </a:lnTo>
                    <a:lnTo>
                      <a:pt x="1230" y="1095"/>
                    </a:lnTo>
                    <a:lnTo>
                      <a:pt x="1230" y="1097"/>
                    </a:lnTo>
                    <a:lnTo>
                      <a:pt x="1229" y="1097"/>
                    </a:lnTo>
                    <a:lnTo>
                      <a:pt x="1229" y="1099"/>
                    </a:lnTo>
                    <a:lnTo>
                      <a:pt x="1227" y="1099"/>
                    </a:lnTo>
                    <a:lnTo>
                      <a:pt x="1227" y="1100"/>
                    </a:lnTo>
                    <a:lnTo>
                      <a:pt x="1225" y="1100"/>
                    </a:lnTo>
                    <a:lnTo>
                      <a:pt x="1224" y="1100"/>
                    </a:lnTo>
                    <a:lnTo>
                      <a:pt x="1224" y="1102"/>
                    </a:lnTo>
                    <a:lnTo>
                      <a:pt x="1222" y="1100"/>
                    </a:lnTo>
                    <a:lnTo>
                      <a:pt x="1220" y="1100"/>
                    </a:lnTo>
                    <a:lnTo>
                      <a:pt x="1220" y="1099"/>
                    </a:lnTo>
                    <a:lnTo>
                      <a:pt x="1220" y="1100"/>
                    </a:lnTo>
                    <a:lnTo>
                      <a:pt x="1220" y="1099"/>
                    </a:lnTo>
                    <a:lnTo>
                      <a:pt x="1219" y="1099"/>
                    </a:lnTo>
                    <a:lnTo>
                      <a:pt x="1219" y="1097"/>
                    </a:lnTo>
                    <a:lnTo>
                      <a:pt x="1217" y="1097"/>
                    </a:lnTo>
                    <a:lnTo>
                      <a:pt x="1217" y="1095"/>
                    </a:lnTo>
                    <a:lnTo>
                      <a:pt x="1219" y="1095"/>
                    </a:lnTo>
                    <a:lnTo>
                      <a:pt x="1220" y="1095"/>
                    </a:lnTo>
                    <a:lnTo>
                      <a:pt x="1220" y="1094"/>
                    </a:lnTo>
                    <a:lnTo>
                      <a:pt x="1222" y="1095"/>
                    </a:lnTo>
                    <a:lnTo>
                      <a:pt x="1224" y="1095"/>
                    </a:lnTo>
                    <a:lnTo>
                      <a:pt x="1222" y="1094"/>
                    </a:lnTo>
                    <a:lnTo>
                      <a:pt x="1220" y="1092"/>
                    </a:lnTo>
                    <a:lnTo>
                      <a:pt x="1222" y="1092"/>
                    </a:lnTo>
                    <a:lnTo>
                      <a:pt x="1220" y="1092"/>
                    </a:lnTo>
                    <a:lnTo>
                      <a:pt x="1220" y="1094"/>
                    </a:lnTo>
                    <a:lnTo>
                      <a:pt x="1219" y="1094"/>
                    </a:lnTo>
                    <a:lnTo>
                      <a:pt x="1219" y="1095"/>
                    </a:lnTo>
                    <a:lnTo>
                      <a:pt x="1217" y="1094"/>
                    </a:lnTo>
                    <a:lnTo>
                      <a:pt x="1217" y="1092"/>
                    </a:lnTo>
                    <a:lnTo>
                      <a:pt x="1219" y="1092"/>
                    </a:lnTo>
                    <a:lnTo>
                      <a:pt x="1217" y="1092"/>
                    </a:lnTo>
                    <a:lnTo>
                      <a:pt x="1215" y="1092"/>
                    </a:lnTo>
                    <a:lnTo>
                      <a:pt x="1215" y="1090"/>
                    </a:lnTo>
                    <a:lnTo>
                      <a:pt x="1215" y="1088"/>
                    </a:lnTo>
                    <a:lnTo>
                      <a:pt x="1215" y="1087"/>
                    </a:lnTo>
                    <a:lnTo>
                      <a:pt x="1215" y="1088"/>
                    </a:lnTo>
                    <a:lnTo>
                      <a:pt x="1215" y="1087"/>
                    </a:lnTo>
                    <a:lnTo>
                      <a:pt x="1215" y="1085"/>
                    </a:lnTo>
                    <a:lnTo>
                      <a:pt x="1217" y="1085"/>
                    </a:lnTo>
                    <a:lnTo>
                      <a:pt x="1217" y="1083"/>
                    </a:lnTo>
                    <a:lnTo>
                      <a:pt x="1217" y="1085"/>
                    </a:lnTo>
                    <a:lnTo>
                      <a:pt x="1219" y="1085"/>
                    </a:lnTo>
                    <a:lnTo>
                      <a:pt x="1217" y="1085"/>
                    </a:lnTo>
                    <a:lnTo>
                      <a:pt x="1219" y="1085"/>
                    </a:lnTo>
                    <a:lnTo>
                      <a:pt x="1219" y="1087"/>
                    </a:lnTo>
                    <a:lnTo>
                      <a:pt x="1219" y="1085"/>
                    </a:lnTo>
                    <a:lnTo>
                      <a:pt x="1220" y="1085"/>
                    </a:lnTo>
                    <a:lnTo>
                      <a:pt x="1220" y="1087"/>
                    </a:lnTo>
                    <a:lnTo>
                      <a:pt x="1222" y="1087"/>
                    </a:lnTo>
                    <a:lnTo>
                      <a:pt x="1224" y="1087"/>
                    </a:lnTo>
                    <a:lnTo>
                      <a:pt x="1222" y="1085"/>
                    </a:lnTo>
                    <a:lnTo>
                      <a:pt x="1220" y="1085"/>
                    </a:lnTo>
                    <a:lnTo>
                      <a:pt x="1222" y="1085"/>
                    </a:lnTo>
                    <a:lnTo>
                      <a:pt x="1220" y="1083"/>
                    </a:lnTo>
                    <a:lnTo>
                      <a:pt x="1222" y="1083"/>
                    </a:lnTo>
                    <a:lnTo>
                      <a:pt x="1222" y="1082"/>
                    </a:lnTo>
                    <a:lnTo>
                      <a:pt x="1222" y="1083"/>
                    </a:lnTo>
                    <a:lnTo>
                      <a:pt x="1224" y="1083"/>
                    </a:lnTo>
                    <a:lnTo>
                      <a:pt x="1225" y="1083"/>
                    </a:lnTo>
                    <a:lnTo>
                      <a:pt x="1225" y="1085"/>
                    </a:lnTo>
                    <a:lnTo>
                      <a:pt x="1225" y="1083"/>
                    </a:lnTo>
                    <a:lnTo>
                      <a:pt x="1225" y="1082"/>
                    </a:lnTo>
                    <a:lnTo>
                      <a:pt x="1224" y="1082"/>
                    </a:lnTo>
                    <a:lnTo>
                      <a:pt x="1222" y="1082"/>
                    </a:lnTo>
                    <a:lnTo>
                      <a:pt x="1222" y="1080"/>
                    </a:lnTo>
                    <a:lnTo>
                      <a:pt x="1222" y="1078"/>
                    </a:lnTo>
                    <a:lnTo>
                      <a:pt x="1222" y="1077"/>
                    </a:lnTo>
                    <a:lnTo>
                      <a:pt x="1224" y="1077"/>
                    </a:lnTo>
                    <a:lnTo>
                      <a:pt x="1225" y="1077"/>
                    </a:lnTo>
                    <a:lnTo>
                      <a:pt x="1225" y="1078"/>
                    </a:lnTo>
                    <a:lnTo>
                      <a:pt x="1225" y="1077"/>
                    </a:lnTo>
                    <a:lnTo>
                      <a:pt x="1227" y="1077"/>
                    </a:lnTo>
                    <a:lnTo>
                      <a:pt x="1227" y="1075"/>
                    </a:lnTo>
                    <a:lnTo>
                      <a:pt x="1229" y="1075"/>
                    </a:lnTo>
                    <a:lnTo>
                      <a:pt x="1230" y="1075"/>
                    </a:lnTo>
                    <a:lnTo>
                      <a:pt x="1232" y="1075"/>
                    </a:lnTo>
                    <a:close/>
                    <a:moveTo>
                      <a:pt x="1315" y="1549"/>
                    </a:moveTo>
                    <a:lnTo>
                      <a:pt x="1315" y="1551"/>
                    </a:lnTo>
                    <a:lnTo>
                      <a:pt x="1315" y="1553"/>
                    </a:lnTo>
                    <a:lnTo>
                      <a:pt x="1315" y="1555"/>
                    </a:lnTo>
                    <a:lnTo>
                      <a:pt x="1315" y="1556"/>
                    </a:lnTo>
                    <a:lnTo>
                      <a:pt x="1315" y="1558"/>
                    </a:lnTo>
                    <a:lnTo>
                      <a:pt x="1315" y="1560"/>
                    </a:lnTo>
                    <a:lnTo>
                      <a:pt x="1315" y="1561"/>
                    </a:lnTo>
                    <a:lnTo>
                      <a:pt x="1317" y="1563"/>
                    </a:lnTo>
                    <a:lnTo>
                      <a:pt x="1315" y="1563"/>
                    </a:lnTo>
                    <a:lnTo>
                      <a:pt x="1317" y="1565"/>
                    </a:lnTo>
                    <a:lnTo>
                      <a:pt x="1315" y="1565"/>
                    </a:lnTo>
                    <a:lnTo>
                      <a:pt x="1317" y="1566"/>
                    </a:lnTo>
                    <a:lnTo>
                      <a:pt x="1315" y="1566"/>
                    </a:lnTo>
                    <a:lnTo>
                      <a:pt x="1315" y="1568"/>
                    </a:lnTo>
                    <a:lnTo>
                      <a:pt x="1317" y="1570"/>
                    </a:lnTo>
                    <a:lnTo>
                      <a:pt x="1319" y="1572"/>
                    </a:lnTo>
                    <a:lnTo>
                      <a:pt x="1319" y="1573"/>
                    </a:lnTo>
                    <a:lnTo>
                      <a:pt x="1321" y="1575"/>
                    </a:lnTo>
                    <a:lnTo>
                      <a:pt x="1319" y="1577"/>
                    </a:lnTo>
                    <a:lnTo>
                      <a:pt x="1317" y="1577"/>
                    </a:lnTo>
                    <a:lnTo>
                      <a:pt x="1317" y="1578"/>
                    </a:lnTo>
                    <a:lnTo>
                      <a:pt x="1315" y="1577"/>
                    </a:lnTo>
                    <a:lnTo>
                      <a:pt x="1314" y="1575"/>
                    </a:lnTo>
                    <a:lnTo>
                      <a:pt x="1312" y="1573"/>
                    </a:lnTo>
                    <a:lnTo>
                      <a:pt x="1310" y="1572"/>
                    </a:lnTo>
                    <a:lnTo>
                      <a:pt x="1309" y="1570"/>
                    </a:lnTo>
                    <a:lnTo>
                      <a:pt x="1309" y="1572"/>
                    </a:lnTo>
                    <a:lnTo>
                      <a:pt x="1309" y="1573"/>
                    </a:lnTo>
                    <a:lnTo>
                      <a:pt x="1310" y="1573"/>
                    </a:lnTo>
                    <a:lnTo>
                      <a:pt x="1310" y="1575"/>
                    </a:lnTo>
                    <a:lnTo>
                      <a:pt x="1312" y="1575"/>
                    </a:lnTo>
                    <a:lnTo>
                      <a:pt x="1312" y="1577"/>
                    </a:lnTo>
                    <a:lnTo>
                      <a:pt x="1312" y="1578"/>
                    </a:lnTo>
                    <a:lnTo>
                      <a:pt x="1312" y="1580"/>
                    </a:lnTo>
                    <a:lnTo>
                      <a:pt x="1312" y="1582"/>
                    </a:lnTo>
                    <a:lnTo>
                      <a:pt x="1314" y="1582"/>
                    </a:lnTo>
                    <a:lnTo>
                      <a:pt x="1314" y="1583"/>
                    </a:lnTo>
                    <a:lnTo>
                      <a:pt x="1314" y="1582"/>
                    </a:lnTo>
                    <a:lnTo>
                      <a:pt x="1315" y="1582"/>
                    </a:lnTo>
                    <a:lnTo>
                      <a:pt x="1315" y="1583"/>
                    </a:lnTo>
                    <a:lnTo>
                      <a:pt x="1317" y="1583"/>
                    </a:lnTo>
                    <a:lnTo>
                      <a:pt x="1317" y="1585"/>
                    </a:lnTo>
                    <a:lnTo>
                      <a:pt x="1319" y="1585"/>
                    </a:lnTo>
                    <a:lnTo>
                      <a:pt x="1321" y="1585"/>
                    </a:lnTo>
                    <a:lnTo>
                      <a:pt x="1322" y="1585"/>
                    </a:lnTo>
                    <a:lnTo>
                      <a:pt x="1321" y="1585"/>
                    </a:lnTo>
                    <a:lnTo>
                      <a:pt x="1322" y="1587"/>
                    </a:lnTo>
                    <a:lnTo>
                      <a:pt x="1321" y="1589"/>
                    </a:lnTo>
                    <a:lnTo>
                      <a:pt x="1322" y="1587"/>
                    </a:lnTo>
                    <a:lnTo>
                      <a:pt x="1324" y="1587"/>
                    </a:lnTo>
                    <a:lnTo>
                      <a:pt x="1324" y="1589"/>
                    </a:lnTo>
                    <a:lnTo>
                      <a:pt x="1322" y="1590"/>
                    </a:lnTo>
                    <a:lnTo>
                      <a:pt x="1321" y="1590"/>
                    </a:lnTo>
                    <a:lnTo>
                      <a:pt x="1319" y="1590"/>
                    </a:lnTo>
                    <a:lnTo>
                      <a:pt x="1317" y="1589"/>
                    </a:lnTo>
                    <a:lnTo>
                      <a:pt x="1315" y="1589"/>
                    </a:lnTo>
                    <a:lnTo>
                      <a:pt x="1314" y="1587"/>
                    </a:lnTo>
                    <a:lnTo>
                      <a:pt x="1315" y="1589"/>
                    </a:lnTo>
                    <a:lnTo>
                      <a:pt x="1314" y="1589"/>
                    </a:lnTo>
                    <a:lnTo>
                      <a:pt x="1312" y="1587"/>
                    </a:lnTo>
                    <a:lnTo>
                      <a:pt x="1310" y="1587"/>
                    </a:lnTo>
                    <a:lnTo>
                      <a:pt x="1309" y="1585"/>
                    </a:lnTo>
                    <a:lnTo>
                      <a:pt x="1307" y="1585"/>
                    </a:lnTo>
                    <a:lnTo>
                      <a:pt x="1305" y="1583"/>
                    </a:lnTo>
                    <a:lnTo>
                      <a:pt x="1305" y="1582"/>
                    </a:lnTo>
                    <a:lnTo>
                      <a:pt x="1304" y="1582"/>
                    </a:lnTo>
                    <a:lnTo>
                      <a:pt x="1304" y="1580"/>
                    </a:lnTo>
                    <a:lnTo>
                      <a:pt x="1305" y="1580"/>
                    </a:lnTo>
                    <a:lnTo>
                      <a:pt x="1304" y="1580"/>
                    </a:lnTo>
                    <a:lnTo>
                      <a:pt x="1302" y="1578"/>
                    </a:lnTo>
                    <a:lnTo>
                      <a:pt x="1302" y="1577"/>
                    </a:lnTo>
                    <a:lnTo>
                      <a:pt x="1302" y="1575"/>
                    </a:lnTo>
                    <a:lnTo>
                      <a:pt x="1302" y="1573"/>
                    </a:lnTo>
                    <a:lnTo>
                      <a:pt x="1302" y="1572"/>
                    </a:lnTo>
                    <a:lnTo>
                      <a:pt x="1300" y="1570"/>
                    </a:lnTo>
                    <a:lnTo>
                      <a:pt x="1302" y="1570"/>
                    </a:lnTo>
                    <a:lnTo>
                      <a:pt x="1304" y="1570"/>
                    </a:lnTo>
                    <a:lnTo>
                      <a:pt x="1302" y="1570"/>
                    </a:lnTo>
                    <a:lnTo>
                      <a:pt x="1302" y="1568"/>
                    </a:lnTo>
                    <a:lnTo>
                      <a:pt x="1300" y="1568"/>
                    </a:lnTo>
                    <a:lnTo>
                      <a:pt x="1300" y="1566"/>
                    </a:lnTo>
                    <a:lnTo>
                      <a:pt x="1302" y="1566"/>
                    </a:lnTo>
                    <a:lnTo>
                      <a:pt x="1302" y="1565"/>
                    </a:lnTo>
                    <a:lnTo>
                      <a:pt x="1304" y="1565"/>
                    </a:lnTo>
                    <a:lnTo>
                      <a:pt x="1305" y="1565"/>
                    </a:lnTo>
                    <a:lnTo>
                      <a:pt x="1307" y="1565"/>
                    </a:lnTo>
                    <a:lnTo>
                      <a:pt x="1309" y="1565"/>
                    </a:lnTo>
                    <a:lnTo>
                      <a:pt x="1309" y="1566"/>
                    </a:lnTo>
                    <a:lnTo>
                      <a:pt x="1310" y="1566"/>
                    </a:lnTo>
                    <a:lnTo>
                      <a:pt x="1310" y="1565"/>
                    </a:lnTo>
                    <a:lnTo>
                      <a:pt x="1310" y="1563"/>
                    </a:lnTo>
                    <a:lnTo>
                      <a:pt x="1309" y="1563"/>
                    </a:lnTo>
                    <a:lnTo>
                      <a:pt x="1307" y="1561"/>
                    </a:lnTo>
                    <a:lnTo>
                      <a:pt x="1307" y="1560"/>
                    </a:lnTo>
                    <a:lnTo>
                      <a:pt x="1307" y="1558"/>
                    </a:lnTo>
                    <a:lnTo>
                      <a:pt x="1307" y="1556"/>
                    </a:lnTo>
                    <a:lnTo>
                      <a:pt x="1309" y="1556"/>
                    </a:lnTo>
                    <a:lnTo>
                      <a:pt x="1310" y="1555"/>
                    </a:lnTo>
                    <a:lnTo>
                      <a:pt x="1312" y="1553"/>
                    </a:lnTo>
                    <a:lnTo>
                      <a:pt x="1312" y="1551"/>
                    </a:lnTo>
                    <a:lnTo>
                      <a:pt x="1312" y="1549"/>
                    </a:lnTo>
                    <a:lnTo>
                      <a:pt x="1314" y="1549"/>
                    </a:lnTo>
                    <a:lnTo>
                      <a:pt x="1315" y="1549"/>
                    </a:lnTo>
                    <a:close/>
                    <a:moveTo>
                      <a:pt x="1174" y="1502"/>
                    </a:moveTo>
                    <a:lnTo>
                      <a:pt x="1174" y="1504"/>
                    </a:lnTo>
                    <a:lnTo>
                      <a:pt x="1176" y="1504"/>
                    </a:lnTo>
                    <a:lnTo>
                      <a:pt x="1174" y="1504"/>
                    </a:lnTo>
                    <a:lnTo>
                      <a:pt x="1176" y="1505"/>
                    </a:lnTo>
                    <a:lnTo>
                      <a:pt x="1178" y="1505"/>
                    </a:lnTo>
                    <a:lnTo>
                      <a:pt x="1178" y="1507"/>
                    </a:lnTo>
                    <a:lnTo>
                      <a:pt x="1179" y="1507"/>
                    </a:lnTo>
                    <a:lnTo>
                      <a:pt x="1179" y="1505"/>
                    </a:lnTo>
                    <a:lnTo>
                      <a:pt x="1179" y="1507"/>
                    </a:lnTo>
                    <a:lnTo>
                      <a:pt x="1181" y="1507"/>
                    </a:lnTo>
                    <a:lnTo>
                      <a:pt x="1181" y="1509"/>
                    </a:lnTo>
                    <a:lnTo>
                      <a:pt x="1179" y="1509"/>
                    </a:lnTo>
                    <a:lnTo>
                      <a:pt x="1181" y="1509"/>
                    </a:lnTo>
                    <a:lnTo>
                      <a:pt x="1181" y="1510"/>
                    </a:lnTo>
                    <a:lnTo>
                      <a:pt x="1179" y="1510"/>
                    </a:lnTo>
                    <a:lnTo>
                      <a:pt x="1181" y="1510"/>
                    </a:lnTo>
                    <a:lnTo>
                      <a:pt x="1183" y="1510"/>
                    </a:lnTo>
                    <a:lnTo>
                      <a:pt x="1183" y="1512"/>
                    </a:lnTo>
                    <a:lnTo>
                      <a:pt x="1183" y="1510"/>
                    </a:lnTo>
                    <a:lnTo>
                      <a:pt x="1185" y="1510"/>
                    </a:lnTo>
                    <a:lnTo>
                      <a:pt x="1183" y="1512"/>
                    </a:lnTo>
                    <a:lnTo>
                      <a:pt x="1183" y="1514"/>
                    </a:lnTo>
                    <a:lnTo>
                      <a:pt x="1185" y="1514"/>
                    </a:lnTo>
                    <a:lnTo>
                      <a:pt x="1185" y="1515"/>
                    </a:lnTo>
                    <a:lnTo>
                      <a:pt x="1186" y="1515"/>
                    </a:lnTo>
                    <a:lnTo>
                      <a:pt x="1185" y="1515"/>
                    </a:lnTo>
                    <a:lnTo>
                      <a:pt x="1185" y="1514"/>
                    </a:lnTo>
                    <a:lnTo>
                      <a:pt x="1186" y="1514"/>
                    </a:lnTo>
                    <a:lnTo>
                      <a:pt x="1186" y="1512"/>
                    </a:lnTo>
                    <a:lnTo>
                      <a:pt x="1186" y="1514"/>
                    </a:lnTo>
                    <a:lnTo>
                      <a:pt x="1186" y="1515"/>
                    </a:lnTo>
                    <a:lnTo>
                      <a:pt x="1188" y="1515"/>
                    </a:lnTo>
                    <a:lnTo>
                      <a:pt x="1186" y="1517"/>
                    </a:lnTo>
                    <a:lnTo>
                      <a:pt x="1188" y="1515"/>
                    </a:lnTo>
                    <a:lnTo>
                      <a:pt x="1188" y="1514"/>
                    </a:lnTo>
                    <a:lnTo>
                      <a:pt x="1188" y="1515"/>
                    </a:lnTo>
                    <a:lnTo>
                      <a:pt x="1190" y="1515"/>
                    </a:lnTo>
                    <a:lnTo>
                      <a:pt x="1190" y="1517"/>
                    </a:lnTo>
                    <a:lnTo>
                      <a:pt x="1190" y="1515"/>
                    </a:lnTo>
                    <a:lnTo>
                      <a:pt x="1191" y="1517"/>
                    </a:lnTo>
                    <a:lnTo>
                      <a:pt x="1190" y="1517"/>
                    </a:lnTo>
                    <a:lnTo>
                      <a:pt x="1191" y="1517"/>
                    </a:lnTo>
                    <a:lnTo>
                      <a:pt x="1193" y="1519"/>
                    </a:lnTo>
                    <a:lnTo>
                      <a:pt x="1193" y="1517"/>
                    </a:lnTo>
                    <a:lnTo>
                      <a:pt x="1193" y="1515"/>
                    </a:lnTo>
                    <a:lnTo>
                      <a:pt x="1191" y="1515"/>
                    </a:lnTo>
                    <a:lnTo>
                      <a:pt x="1191" y="1514"/>
                    </a:lnTo>
                    <a:lnTo>
                      <a:pt x="1193" y="1514"/>
                    </a:lnTo>
                    <a:lnTo>
                      <a:pt x="1193" y="1515"/>
                    </a:lnTo>
                    <a:lnTo>
                      <a:pt x="1195" y="1515"/>
                    </a:lnTo>
                    <a:lnTo>
                      <a:pt x="1193" y="1515"/>
                    </a:lnTo>
                    <a:lnTo>
                      <a:pt x="1195" y="1517"/>
                    </a:lnTo>
                    <a:lnTo>
                      <a:pt x="1196" y="1517"/>
                    </a:lnTo>
                    <a:lnTo>
                      <a:pt x="1195" y="1517"/>
                    </a:lnTo>
                    <a:lnTo>
                      <a:pt x="1196" y="1517"/>
                    </a:lnTo>
                    <a:lnTo>
                      <a:pt x="1198" y="1517"/>
                    </a:lnTo>
                    <a:lnTo>
                      <a:pt x="1198" y="1519"/>
                    </a:lnTo>
                    <a:lnTo>
                      <a:pt x="1196" y="1517"/>
                    </a:lnTo>
                    <a:lnTo>
                      <a:pt x="1198" y="1519"/>
                    </a:lnTo>
                    <a:lnTo>
                      <a:pt x="1196" y="1519"/>
                    </a:lnTo>
                    <a:lnTo>
                      <a:pt x="1198" y="1519"/>
                    </a:lnTo>
                    <a:lnTo>
                      <a:pt x="1198" y="1521"/>
                    </a:lnTo>
                    <a:lnTo>
                      <a:pt x="1200" y="1521"/>
                    </a:lnTo>
                    <a:lnTo>
                      <a:pt x="1198" y="1521"/>
                    </a:lnTo>
                    <a:lnTo>
                      <a:pt x="1200" y="1521"/>
                    </a:lnTo>
                    <a:lnTo>
                      <a:pt x="1198" y="1519"/>
                    </a:lnTo>
                    <a:lnTo>
                      <a:pt x="1200" y="1519"/>
                    </a:lnTo>
                    <a:lnTo>
                      <a:pt x="1202" y="1519"/>
                    </a:lnTo>
                    <a:lnTo>
                      <a:pt x="1202" y="1521"/>
                    </a:lnTo>
                    <a:lnTo>
                      <a:pt x="1203" y="1522"/>
                    </a:lnTo>
                    <a:lnTo>
                      <a:pt x="1202" y="1521"/>
                    </a:lnTo>
                    <a:lnTo>
                      <a:pt x="1202" y="1519"/>
                    </a:lnTo>
                    <a:lnTo>
                      <a:pt x="1203" y="1521"/>
                    </a:lnTo>
                    <a:lnTo>
                      <a:pt x="1205" y="1522"/>
                    </a:lnTo>
                    <a:lnTo>
                      <a:pt x="1205" y="1521"/>
                    </a:lnTo>
                    <a:lnTo>
                      <a:pt x="1205" y="1522"/>
                    </a:lnTo>
                    <a:lnTo>
                      <a:pt x="1207" y="1522"/>
                    </a:lnTo>
                    <a:lnTo>
                      <a:pt x="1205" y="1522"/>
                    </a:lnTo>
                    <a:lnTo>
                      <a:pt x="1207" y="1522"/>
                    </a:lnTo>
                    <a:lnTo>
                      <a:pt x="1207" y="1524"/>
                    </a:lnTo>
                    <a:lnTo>
                      <a:pt x="1208" y="1524"/>
                    </a:lnTo>
                    <a:lnTo>
                      <a:pt x="1207" y="1524"/>
                    </a:lnTo>
                    <a:lnTo>
                      <a:pt x="1208" y="1524"/>
                    </a:lnTo>
                    <a:lnTo>
                      <a:pt x="1208" y="1526"/>
                    </a:lnTo>
                    <a:lnTo>
                      <a:pt x="1208" y="1527"/>
                    </a:lnTo>
                    <a:lnTo>
                      <a:pt x="1208" y="1526"/>
                    </a:lnTo>
                    <a:lnTo>
                      <a:pt x="1210" y="1526"/>
                    </a:lnTo>
                    <a:lnTo>
                      <a:pt x="1208" y="1526"/>
                    </a:lnTo>
                    <a:lnTo>
                      <a:pt x="1208" y="1524"/>
                    </a:lnTo>
                    <a:lnTo>
                      <a:pt x="1208" y="1522"/>
                    </a:lnTo>
                    <a:lnTo>
                      <a:pt x="1210" y="1522"/>
                    </a:lnTo>
                    <a:lnTo>
                      <a:pt x="1208" y="1522"/>
                    </a:lnTo>
                    <a:lnTo>
                      <a:pt x="1210" y="1524"/>
                    </a:lnTo>
                    <a:lnTo>
                      <a:pt x="1212" y="1524"/>
                    </a:lnTo>
                    <a:lnTo>
                      <a:pt x="1212" y="1526"/>
                    </a:lnTo>
                    <a:lnTo>
                      <a:pt x="1212" y="1527"/>
                    </a:lnTo>
                    <a:lnTo>
                      <a:pt x="1210" y="1527"/>
                    </a:lnTo>
                    <a:lnTo>
                      <a:pt x="1212" y="1529"/>
                    </a:lnTo>
                    <a:lnTo>
                      <a:pt x="1212" y="1531"/>
                    </a:lnTo>
                    <a:lnTo>
                      <a:pt x="1212" y="1532"/>
                    </a:lnTo>
                    <a:lnTo>
                      <a:pt x="1213" y="1532"/>
                    </a:lnTo>
                    <a:lnTo>
                      <a:pt x="1213" y="1534"/>
                    </a:lnTo>
                    <a:lnTo>
                      <a:pt x="1213" y="1532"/>
                    </a:lnTo>
                    <a:lnTo>
                      <a:pt x="1213" y="1531"/>
                    </a:lnTo>
                    <a:lnTo>
                      <a:pt x="1215" y="1531"/>
                    </a:lnTo>
                    <a:lnTo>
                      <a:pt x="1213" y="1531"/>
                    </a:lnTo>
                    <a:lnTo>
                      <a:pt x="1215" y="1529"/>
                    </a:lnTo>
                    <a:lnTo>
                      <a:pt x="1213" y="1531"/>
                    </a:lnTo>
                    <a:lnTo>
                      <a:pt x="1213" y="1529"/>
                    </a:lnTo>
                    <a:lnTo>
                      <a:pt x="1213" y="1527"/>
                    </a:lnTo>
                    <a:lnTo>
                      <a:pt x="1212" y="1527"/>
                    </a:lnTo>
                    <a:lnTo>
                      <a:pt x="1213" y="1527"/>
                    </a:lnTo>
                    <a:lnTo>
                      <a:pt x="1213" y="1526"/>
                    </a:lnTo>
                    <a:lnTo>
                      <a:pt x="1215" y="1526"/>
                    </a:lnTo>
                    <a:lnTo>
                      <a:pt x="1215" y="1527"/>
                    </a:lnTo>
                    <a:lnTo>
                      <a:pt x="1217" y="1527"/>
                    </a:lnTo>
                    <a:lnTo>
                      <a:pt x="1215" y="1527"/>
                    </a:lnTo>
                    <a:lnTo>
                      <a:pt x="1217" y="1527"/>
                    </a:lnTo>
                    <a:lnTo>
                      <a:pt x="1217" y="1529"/>
                    </a:lnTo>
                    <a:lnTo>
                      <a:pt x="1217" y="1527"/>
                    </a:lnTo>
                    <a:lnTo>
                      <a:pt x="1217" y="1529"/>
                    </a:lnTo>
                    <a:lnTo>
                      <a:pt x="1215" y="1529"/>
                    </a:lnTo>
                    <a:lnTo>
                      <a:pt x="1217" y="1529"/>
                    </a:lnTo>
                    <a:lnTo>
                      <a:pt x="1215" y="1529"/>
                    </a:lnTo>
                    <a:lnTo>
                      <a:pt x="1217" y="1529"/>
                    </a:lnTo>
                    <a:lnTo>
                      <a:pt x="1219" y="1529"/>
                    </a:lnTo>
                    <a:lnTo>
                      <a:pt x="1217" y="1529"/>
                    </a:lnTo>
                    <a:lnTo>
                      <a:pt x="1219" y="1529"/>
                    </a:lnTo>
                    <a:lnTo>
                      <a:pt x="1219" y="1531"/>
                    </a:lnTo>
                    <a:lnTo>
                      <a:pt x="1220" y="1531"/>
                    </a:lnTo>
                    <a:lnTo>
                      <a:pt x="1219" y="1531"/>
                    </a:lnTo>
                    <a:lnTo>
                      <a:pt x="1219" y="1532"/>
                    </a:lnTo>
                    <a:lnTo>
                      <a:pt x="1217" y="1532"/>
                    </a:lnTo>
                    <a:lnTo>
                      <a:pt x="1219" y="1532"/>
                    </a:lnTo>
                    <a:lnTo>
                      <a:pt x="1217" y="1532"/>
                    </a:lnTo>
                    <a:lnTo>
                      <a:pt x="1219" y="1532"/>
                    </a:lnTo>
                    <a:lnTo>
                      <a:pt x="1220" y="1532"/>
                    </a:lnTo>
                    <a:lnTo>
                      <a:pt x="1220" y="1534"/>
                    </a:lnTo>
                    <a:lnTo>
                      <a:pt x="1222" y="1534"/>
                    </a:lnTo>
                    <a:lnTo>
                      <a:pt x="1224" y="1534"/>
                    </a:lnTo>
                    <a:lnTo>
                      <a:pt x="1224" y="1536"/>
                    </a:lnTo>
                    <a:lnTo>
                      <a:pt x="1222" y="1536"/>
                    </a:lnTo>
                    <a:lnTo>
                      <a:pt x="1224" y="1536"/>
                    </a:lnTo>
                    <a:lnTo>
                      <a:pt x="1225" y="1536"/>
                    </a:lnTo>
                    <a:lnTo>
                      <a:pt x="1225" y="1538"/>
                    </a:lnTo>
                    <a:lnTo>
                      <a:pt x="1227" y="1538"/>
                    </a:lnTo>
                    <a:lnTo>
                      <a:pt x="1225" y="1539"/>
                    </a:lnTo>
                    <a:lnTo>
                      <a:pt x="1225" y="1538"/>
                    </a:lnTo>
                    <a:lnTo>
                      <a:pt x="1224" y="1539"/>
                    </a:lnTo>
                    <a:lnTo>
                      <a:pt x="1222" y="1539"/>
                    </a:lnTo>
                    <a:lnTo>
                      <a:pt x="1222" y="1538"/>
                    </a:lnTo>
                    <a:lnTo>
                      <a:pt x="1222" y="1539"/>
                    </a:lnTo>
                    <a:lnTo>
                      <a:pt x="1220" y="1539"/>
                    </a:lnTo>
                    <a:lnTo>
                      <a:pt x="1220" y="1538"/>
                    </a:lnTo>
                    <a:lnTo>
                      <a:pt x="1219" y="1538"/>
                    </a:lnTo>
                    <a:lnTo>
                      <a:pt x="1217" y="1536"/>
                    </a:lnTo>
                    <a:lnTo>
                      <a:pt x="1219" y="1536"/>
                    </a:lnTo>
                    <a:lnTo>
                      <a:pt x="1217" y="1536"/>
                    </a:lnTo>
                    <a:lnTo>
                      <a:pt x="1215" y="1536"/>
                    </a:lnTo>
                    <a:lnTo>
                      <a:pt x="1215" y="1538"/>
                    </a:lnTo>
                    <a:lnTo>
                      <a:pt x="1215" y="1536"/>
                    </a:lnTo>
                    <a:lnTo>
                      <a:pt x="1213" y="1538"/>
                    </a:lnTo>
                    <a:lnTo>
                      <a:pt x="1212" y="1538"/>
                    </a:lnTo>
                    <a:lnTo>
                      <a:pt x="1210" y="1538"/>
                    </a:lnTo>
                    <a:lnTo>
                      <a:pt x="1210" y="1536"/>
                    </a:lnTo>
                    <a:lnTo>
                      <a:pt x="1208" y="1534"/>
                    </a:lnTo>
                    <a:lnTo>
                      <a:pt x="1210" y="1534"/>
                    </a:lnTo>
                    <a:lnTo>
                      <a:pt x="1212" y="1534"/>
                    </a:lnTo>
                    <a:lnTo>
                      <a:pt x="1212" y="1536"/>
                    </a:lnTo>
                    <a:lnTo>
                      <a:pt x="1212" y="1534"/>
                    </a:lnTo>
                    <a:lnTo>
                      <a:pt x="1213" y="1536"/>
                    </a:lnTo>
                    <a:lnTo>
                      <a:pt x="1213" y="1534"/>
                    </a:lnTo>
                    <a:lnTo>
                      <a:pt x="1212" y="1534"/>
                    </a:lnTo>
                    <a:lnTo>
                      <a:pt x="1210" y="1534"/>
                    </a:lnTo>
                    <a:lnTo>
                      <a:pt x="1210" y="1532"/>
                    </a:lnTo>
                    <a:lnTo>
                      <a:pt x="1210" y="1531"/>
                    </a:lnTo>
                    <a:lnTo>
                      <a:pt x="1212" y="1531"/>
                    </a:lnTo>
                    <a:lnTo>
                      <a:pt x="1210" y="1531"/>
                    </a:lnTo>
                    <a:lnTo>
                      <a:pt x="1210" y="1529"/>
                    </a:lnTo>
                    <a:lnTo>
                      <a:pt x="1210" y="1531"/>
                    </a:lnTo>
                    <a:lnTo>
                      <a:pt x="1210" y="1529"/>
                    </a:lnTo>
                    <a:lnTo>
                      <a:pt x="1208" y="1527"/>
                    </a:lnTo>
                    <a:lnTo>
                      <a:pt x="1208" y="1529"/>
                    </a:lnTo>
                    <a:lnTo>
                      <a:pt x="1208" y="1531"/>
                    </a:lnTo>
                    <a:lnTo>
                      <a:pt x="1208" y="1529"/>
                    </a:lnTo>
                    <a:lnTo>
                      <a:pt x="1207" y="1529"/>
                    </a:lnTo>
                    <a:lnTo>
                      <a:pt x="1207" y="1527"/>
                    </a:lnTo>
                    <a:lnTo>
                      <a:pt x="1207" y="1526"/>
                    </a:lnTo>
                    <a:lnTo>
                      <a:pt x="1205" y="1526"/>
                    </a:lnTo>
                    <a:lnTo>
                      <a:pt x="1207" y="1527"/>
                    </a:lnTo>
                    <a:lnTo>
                      <a:pt x="1205" y="1527"/>
                    </a:lnTo>
                    <a:lnTo>
                      <a:pt x="1205" y="1529"/>
                    </a:lnTo>
                    <a:lnTo>
                      <a:pt x="1205" y="1527"/>
                    </a:lnTo>
                    <a:lnTo>
                      <a:pt x="1207" y="1527"/>
                    </a:lnTo>
                    <a:lnTo>
                      <a:pt x="1205" y="1527"/>
                    </a:lnTo>
                    <a:lnTo>
                      <a:pt x="1203" y="1527"/>
                    </a:lnTo>
                    <a:lnTo>
                      <a:pt x="1203" y="1526"/>
                    </a:lnTo>
                    <a:lnTo>
                      <a:pt x="1203" y="1524"/>
                    </a:lnTo>
                    <a:lnTo>
                      <a:pt x="1202" y="1524"/>
                    </a:lnTo>
                    <a:lnTo>
                      <a:pt x="1203" y="1526"/>
                    </a:lnTo>
                    <a:lnTo>
                      <a:pt x="1203" y="1527"/>
                    </a:lnTo>
                    <a:lnTo>
                      <a:pt x="1203" y="1526"/>
                    </a:lnTo>
                    <a:lnTo>
                      <a:pt x="1202" y="1526"/>
                    </a:lnTo>
                    <a:lnTo>
                      <a:pt x="1202" y="1524"/>
                    </a:lnTo>
                    <a:lnTo>
                      <a:pt x="1202" y="1522"/>
                    </a:lnTo>
                    <a:lnTo>
                      <a:pt x="1200" y="1522"/>
                    </a:lnTo>
                    <a:lnTo>
                      <a:pt x="1200" y="1521"/>
                    </a:lnTo>
                    <a:lnTo>
                      <a:pt x="1200" y="1522"/>
                    </a:lnTo>
                    <a:lnTo>
                      <a:pt x="1200" y="1524"/>
                    </a:lnTo>
                    <a:lnTo>
                      <a:pt x="1198" y="1522"/>
                    </a:lnTo>
                    <a:lnTo>
                      <a:pt x="1196" y="1524"/>
                    </a:lnTo>
                    <a:lnTo>
                      <a:pt x="1196" y="1522"/>
                    </a:lnTo>
                    <a:lnTo>
                      <a:pt x="1195" y="1522"/>
                    </a:lnTo>
                    <a:lnTo>
                      <a:pt x="1195" y="1521"/>
                    </a:lnTo>
                    <a:lnTo>
                      <a:pt x="1195" y="1522"/>
                    </a:lnTo>
                    <a:lnTo>
                      <a:pt x="1193" y="1521"/>
                    </a:lnTo>
                    <a:lnTo>
                      <a:pt x="1195" y="1522"/>
                    </a:lnTo>
                    <a:lnTo>
                      <a:pt x="1196" y="1524"/>
                    </a:lnTo>
                    <a:lnTo>
                      <a:pt x="1195" y="1524"/>
                    </a:lnTo>
                    <a:lnTo>
                      <a:pt x="1193" y="1526"/>
                    </a:lnTo>
                    <a:lnTo>
                      <a:pt x="1195" y="1524"/>
                    </a:lnTo>
                    <a:lnTo>
                      <a:pt x="1193" y="1524"/>
                    </a:lnTo>
                    <a:lnTo>
                      <a:pt x="1193" y="1522"/>
                    </a:lnTo>
                    <a:lnTo>
                      <a:pt x="1193" y="1524"/>
                    </a:lnTo>
                    <a:lnTo>
                      <a:pt x="1191" y="1522"/>
                    </a:lnTo>
                    <a:lnTo>
                      <a:pt x="1191" y="1524"/>
                    </a:lnTo>
                    <a:lnTo>
                      <a:pt x="1191" y="1522"/>
                    </a:lnTo>
                    <a:lnTo>
                      <a:pt x="1190" y="1522"/>
                    </a:lnTo>
                    <a:lnTo>
                      <a:pt x="1191" y="1524"/>
                    </a:lnTo>
                    <a:lnTo>
                      <a:pt x="1190" y="1524"/>
                    </a:lnTo>
                    <a:lnTo>
                      <a:pt x="1190" y="1522"/>
                    </a:lnTo>
                    <a:lnTo>
                      <a:pt x="1188" y="1521"/>
                    </a:lnTo>
                    <a:lnTo>
                      <a:pt x="1190" y="1521"/>
                    </a:lnTo>
                    <a:lnTo>
                      <a:pt x="1188" y="1519"/>
                    </a:lnTo>
                    <a:lnTo>
                      <a:pt x="1188" y="1521"/>
                    </a:lnTo>
                    <a:lnTo>
                      <a:pt x="1190" y="1522"/>
                    </a:lnTo>
                    <a:lnTo>
                      <a:pt x="1188" y="1524"/>
                    </a:lnTo>
                    <a:lnTo>
                      <a:pt x="1188" y="1526"/>
                    </a:lnTo>
                    <a:lnTo>
                      <a:pt x="1188" y="1524"/>
                    </a:lnTo>
                    <a:lnTo>
                      <a:pt x="1188" y="1522"/>
                    </a:lnTo>
                    <a:lnTo>
                      <a:pt x="1188" y="1524"/>
                    </a:lnTo>
                    <a:lnTo>
                      <a:pt x="1186" y="1524"/>
                    </a:lnTo>
                    <a:lnTo>
                      <a:pt x="1185" y="1524"/>
                    </a:lnTo>
                    <a:lnTo>
                      <a:pt x="1185" y="1522"/>
                    </a:lnTo>
                    <a:lnTo>
                      <a:pt x="1186" y="1522"/>
                    </a:lnTo>
                    <a:lnTo>
                      <a:pt x="1186" y="1521"/>
                    </a:lnTo>
                    <a:lnTo>
                      <a:pt x="1185" y="1521"/>
                    </a:lnTo>
                    <a:lnTo>
                      <a:pt x="1185" y="1519"/>
                    </a:lnTo>
                    <a:lnTo>
                      <a:pt x="1185" y="1521"/>
                    </a:lnTo>
                    <a:lnTo>
                      <a:pt x="1185" y="1522"/>
                    </a:lnTo>
                    <a:lnTo>
                      <a:pt x="1185" y="1521"/>
                    </a:lnTo>
                    <a:lnTo>
                      <a:pt x="1183" y="1521"/>
                    </a:lnTo>
                    <a:lnTo>
                      <a:pt x="1183" y="1519"/>
                    </a:lnTo>
                    <a:lnTo>
                      <a:pt x="1183" y="1517"/>
                    </a:lnTo>
                    <a:lnTo>
                      <a:pt x="1181" y="1517"/>
                    </a:lnTo>
                    <a:lnTo>
                      <a:pt x="1181" y="1515"/>
                    </a:lnTo>
                    <a:lnTo>
                      <a:pt x="1181" y="1517"/>
                    </a:lnTo>
                    <a:lnTo>
                      <a:pt x="1179" y="1517"/>
                    </a:lnTo>
                    <a:lnTo>
                      <a:pt x="1181" y="1515"/>
                    </a:lnTo>
                    <a:lnTo>
                      <a:pt x="1179" y="1517"/>
                    </a:lnTo>
                    <a:lnTo>
                      <a:pt x="1179" y="1515"/>
                    </a:lnTo>
                    <a:lnTo>
                      <a:pt x="1179" y="1514"/>
                    </a:lnTo>
                    <a:lnTo>
                      <a:pt x="1179" y="1512"/>
                    </a:lnTo>
                    <a:lnTo>
                      <a:pt x="1179" y="1514"/>
                    </a:lnTo>
                    <a:lnTo>
                      <a:pt x="1179" y="1515"/>
                    </a:lnTo>
                    <a:lnTo>
                      <a:pt x="1179" y="1514"/>
                    </a:lnTo>
                    <a:lnTo>
                      <a:pt x="1178" y="1515"/>
                    </a:lnTo>
                    <a:lnTo>
                      <a:pt x="1176" y="1515"/>
                    </a:lnTo>
                    <a:lnTo>
                      <a:pt x="1176" y="1514"/>
                    </a:lnTo>
                    <a:lnTo>
                      <a:pt x="1176" y="1512"/>
                    </a:lnTo>
                    <a:lnTo>
                      <a:pt x="1176" y="1510"/>
                    </a:lnTo>
                    <a:lnTo>
                      <a:pt x="1174" y="1510"/>
                    </a:lnTo>
                    <a:lnTo>
                      <a:pt x="1174" y="1509"/>
                    </a:lnTo>
                    <a:lnTo>
                      <a:pt x="1176" y="1509"/>
                    </a:lnTo>
                    <a:lnTo>
                      <a:pt x="1176" y="1510"/>
                    </a:lnTo>
                    <a:lnTo>
                      <a:pt x="1178" y="1510"/>
                    </a:lnTo>
                    <a:lnTo>
                      <a:pt x="1176" y="1510"/>
                    </a:lnTo>
                    <a:lnTo>
                      <a:pt x="1176" y="1509"/>
                    </a:lnTo>
                    <a:lnTo>
                      <a:pt x="1174" y="1509"/>
                    </a:lnTo>
                    <a:lnTo>
                      <a:pt x="1173" y="1507"/>
                    </a:lnTo>
                    <a:lnTo>
                      <a:pt x="1174" y="1507"/>
                    </a:lnTo>
                    <a:lnTo>
                      <a:pt x="1176" y="1507"/>
                    </a:lnTo>
                    <a:lnTo>
                      <a:pt x="1174" y="1507"/>
                    </a:lnTo>
                    <a:lnTo>
                      <a:pt x="1173" y="1505"/>
                    </a:lnTo>
                    <a:lnTo>
                      <a:pt x="1173" y="1504"/>
                    </a:lnTo>
                    <a:lnTo>
                      <a:pt x="1171" y="1502"/>
                    </a:lnTo>
                    <a:lnTo>
                      <a:pt x="1173" y="1504"/>
                    </a:lnTo>
                    <a:lnTo>
                      <a:pt x="1173" y="1502"/>
                    </a:lnTo>
                    <a:lnTo>
                      <a:pt x="1174" y="1502"/>
                    </a:lnTo>
                    <a:close/>
                    <a:moveTo>
                      <a:pt x="1278" y="1572"/>
                    </a:moveTo>
                    <a:lnTo>
                      <a:pt x="1276" y="1572"/>
                    </a:lnTo>
                    <a:lnTo>
                      <a:pt x="1278" y="1572"/>
                    </a:lnTo>
                    <a:lnTo>
                      <a:pt x="1280" y="1572"/>
                    </a:lnTo>
                    <a:lnTo>
                      <a:pt x="1280" y="1573"/>
                    </a:lnTo>
                    <a:lnTo>
                      <a:pt x="1280" y="1572"/>
                    </a:lnTo>
                    <a:lnTo>
                      <a:pt x="1281" y="1573"/>
                    </a:lnTo>
                    <a:lnTo>
                      <a:pt x="1280" y="1575"/>
                    </a:lnTo>
                    <a:lnTo>
                      <a:pt x="1281" y="1573"/>
                    </a:lnTo>
                    <a:lnTo>
                      <a:pt x="1280" y="1572"/>
                    </a:lnTo>
                    <a:lnTo>
                      <a:pt x="1281" y="1572"/>
                    </a:lnTo>
                    <a:lnTo>
                      <a:pt x="1283" y="1572"/>
                    </a:lnTo>
                    <a:lnTo>
                      <a:pt x="1283" y="1573"/>
                    </a:lnTo>
                    <a:lnTo>
                      <a:pt x="1281" y="1573"/>
                    </a:lnTo>
                    <a:lnTo>
                      <a:pt x="1283" y="1575"/>
                    </a:lnTo>
                    <a:lnTo>
                      <a:pt x="1283" y="1573"/>
                    </a:lnTo>
                    <a:lnTo>
                      <a:pt x="1283" y="1575"/>
                    </a:lnTo>
                    <a:lnTo>
                      <a:pt x="1285" y="1577"/>
                    </a:lnTo>
                    <a:lnTo>
                      <a:pt x="1283" y="1577"/>
                    </a:lnTo>
                    <a:lnTo>
                      <a:pt x="1285" y="1577"/>
                    </a:lnTo>
                    <a:lnTo>
                      <a:pt x="1285" y="1578"/>
                    </a:lnTo>
                    <a:lnTo>
                      <a:pt x="1283" y="1578"/>
                    </a:lnTo>
                    <a:lnTo>
                      <a:pt x="1283" y="1580"/>
                    </a:lnTo>
                    <a:lnTo>
                      <a:pt x="1285" y="1578"/>
                    </a:lnTo>
                    <a:lnTo>
                      <a:pt x="1285" y="1577"/>
                    </a:lnTo>
                    <a:lnTo>
                      <a:pt x="1285" y="1575"/>
                    </a:lnTo>
                    <a:lnTo>
                      <a:pt x="1285" y="1573"/>
                    </a:lnTo>
                    <a:lnTo>
                      <a:pt x="1285" y="1572"/>
                    </a:lnTo>
                    <a:lnTo>
                      <a:pt x="1287" y="1573"/>
                    </a:lnTo>
                    <a:lnTo>
                      <a:pt x="1288" y="1573"/>
                    </a:lnTo>
                    <a:lnTo>
                      <a:pt x="1288" y="1575"/>
                    </a:lnTo>
                    <a:lnTo>
                      <a:pt x="1288" y="1577"/>
                    </a:lnTo>
                    <a:lnTo>
                      <a:pt x="1288" y="1578"/>
                    </a:lnTo>
                    <a:lnTo>
                      <a:pt x="1290" y="1580"/>
                    </a:lnTo>
                    <a:lnTo>
                      <a:pt x="1288" y="1580"/>
                    </a:lnTo>
                    <a:lnTo>
                      <a:pt x="1287" y="1580"/>
                    </a:lnTo>
                    <a:lnTo>
                      <a:pt x="1288" y="1580"/>
                    </a:lnTo>
                    <a:lnTo>
                      <a:pt x="1290" y="1580"/>
                    </a:lnTo>
                    <a:lnTo>
                      <a:pt x="1290" y="1582"/>
                    </a:lnTo>
                    <a:lnTo>
                      <a:pt x="1290" y="1580"/>
                    </a:lnTo>
                    <a:lnTo>
                      <a:pt x="1290" y="1582"/>
                    </a:lnTo>
                    <a:lnTo>
                      <a:pt x="1290" y="1583"/>
                    </a:lnTo>
                    <a:lnTo>
                      <a:pt x="1290" y="1585"/>
                    </a:lnTo>
                    <a:lnTo>
                      <a:pt x="1292" y="1585"/>
                    </a:lnTo>
                    <a:lnTo>
                      <a:pt x="1292" y="1583"/>
                    </a:lnTo>
                    <a:lnTo>
                      <a:pt x="1292" y="1582"/>
                    </a:lnTo>
                    <a:lnTo>
                      <a:pt x="1292" y="1580"/>
                    </a:lnTo>
                    <a:lnTo>
                      <a:pt x="1293" y="1578"/>
                    </a:lnTo>
                    <a:lnTo>
                      <a:pt x="1293" y="1580"/>
                    </a:lnTo>
                    <a:lnTo>
                      <a:pt x="1293" y="1582"/>
                    </a:lnTo>
                    <a:lnTo>
                      <a:pt x="1292" y="1582"/>
                    </a:lnTo>
                    <a:lnTo>
                      <a:pt x="1293" y="1583"/>
                    </a:lnTo>
                    <a:lnTo>
                      <a:pt x="1293" y="1582"/>
                    </a:lnTo>
                    <a:lnTo>
                      <a:pt x="1293" y="1580"/>
                    </a:lnTo>
                    <a:lnTo>
                      <a:pt x="1293" y="1578"/>
                    </a:lnTo>
                    <a:lnTo>
                      <a:pt x="1295" y="1578"/>
                    </a:lnTo>
                    <a:lnTo>
                      <a:pt x="1295" y="1577"/>
                    </a:lnTo>
                    <a:lnTo>
                      <a:pt x="1295" y="1578"/>
                    </a:lnTo>
                    <a:lnTo>
                      <a:pt x="1297" y="1578"/>
                    </a:lnTo>
                    <a:lnTo>
                      <a:pt x="1297" y="1580"/>
                    </a:lnTo>
                    <a:lnTo>
                      <a:pt x="1298" y="1580"/>
                    </a:lnTo>
                    <a:lnTo>
                      <a:pt x="1298" y="1582"/>
                    </a:lnTo>
                    <a:lnTo>
                      <a:pt x="1297" y="1582"/>
                    </a:lnTo>
                    <a:lnTo>
                      <a:pt x="1298" y="1582"/>
                    </a:lnTo>
                    <a:lnTo>
                      <a:pt x="1297" y="1583"/>
                    </a:lnTo>
                    <a:lnTo>
                      <a:pt x="1297" y="1585"/>
                    </a:lnTo>
                    <a:lnTo>
                      <a:pt x="1295" y="1585"/>
                    </a:lnTo>
                    <a:lnTo>
                      <a:pt x="1295" y="1587"/>
                    </a:lnTo>
                    <a:lnTo>
                      <a:pt x="1297" y="1587"/>
                    </a:lnTo>
                    <a:lnTo>
                      <a:pt x="1297" y="1585"/>
                    </a:lnTo>
                    <a:lnTo>
                      <a:pt x="1297" y="1583"/>
                    </a:lnTo>
                    <a:lnTo>
                      <a:pt x="1298" y="1583"/>
                    </a:lnTo>
                    <a:lnTo>
                      <a:pt x="1298" y="1585"/>
                    </a:lnTo>
                    <a:lnTo>
                      <a:pt x="1298" y="1587"/>
                    </a:lnTo>
                    <a:lnTo>
                      <a:pt x="1298" y="1589"/>
                    </a:lnTo>
                    <a:lnTo>
                      <a:pt x="1297" y="1589"/>
                    </a:lnTo>
                    <a:lnTo>
                      <a:pt x="1298" y="1590"/>
                    </a:lnTo>
                    <a:lnTo>
                      <a:pt x="1298" y="1592"/>
                    </a:lnTo>
                    <a:lnTo>
                      <a:pt x="1297" y="1592"/>
                    </a:lnTo>
                    <a:lnTo>
                      <a:pt x="1295" y="1592"/>
                    </a:lnTo>
                    <a:lnTo>
                      <a:pt x="1297" y="1592"/>
                    </a:lnTo>
                    <a:lnTo>
                      <a:pt x="1297" y="1594"/>
                    </a:lnTo>
                    <a:lnTo>
                      <a:pt x="1295" y="1594"/>
                    </a:lnTo>
                    <a:lnTo>
                      <a:pt x="1293" y="1594"/>
                    </a:lnTo>
                    <a:lnTo>
                      <a:pt x="1293" y="1592"/>
                    </a:lnTo>
                    <a:lnTo>
                      <a:pt x="1292" y="1592"/>
                    </a:lnTo>
                    <a:lnTo>
                      <a:pt x="1293" y="1594"/>
                    </a:lnTo>
                    <a:lnTo>
                      <a:pt x="1295" y="1594"/>
                    </a:lnTo>
                    <a:lnTo>
                      <a:pt x="1295" y="1595"/>
                    </a:lnTo>
                    <a:lnTo>
                      <a:pt x="1293" y="1595"/>
                    </a:lnTo>
                    <a:lnTo>
                      <a:pt x="1295" y="1597"/>
                    </a:lnTo>
                    <a:lnTo>
                      <a:pt x="1293" y="1597"/>
                    </a:lnTo>
                    <a:lnTo>
                      <a:pt x="1292" y="1597"/>
                    </a:lnTo>
                    <a:lnTo>
                      <a:pt x="1292" y="1595"/>
                    </a:lnTo>
                    <a:lnTo>
                      <a:pt x="1292" y="1594"/>
                    </a:lnTo>
                    <a:lnTo>
                      <a:pt x="1292" y="1595"/>
                    </a:lnTo>
                    <a:lnTo>
                      <a:pt x="1290" y="1595"/>
                    </a:lnTo>
                    <a:lnTo>
                      <a:pt x="1290" y="1594"/>
                    </a:lnTo>
                    <a:lnTo>
                      <a:pt x="1288" y="1594"/>
                    </a:lnTo>
                    <a:lnTo>
                      <a:pt x="1287" y="1594"/>
                    </a:lnTo>
                    <a:lnTo>
                      <a:pt x="1287" y="1592"/>
                    </a:lnTo>
                    <a:lnTo>
                      <a:pt x="1285" y="1592"/>
                    </a:lnTo>
                    <a:lnTo>
                      <a:pt x="1285" y="1590"/>
                    </a:lnTo>
                    <a:lnTo>
                      <a:pt x="1287" y="1590"/>
                    </a:lnTo>
                    <a:lnTo>
                      <a:pt x="1288" y="1590"/>
                    </a:lnTo>
                    <a:lnTo>
                      <a:pt x="1290" y="1590"/>
                    </a:lnTo>
                    <a:lnTo>
                      <a:pt x="1290" y="1589"/>
                    </a:lnTo>
                    <a:lnTo>
                      <a:pt x="1292" y="1589"/>
                    </a:lnTo>
                    <a:lnTo>
                      <a:pt x="1290" y="1589"/>
                    </a:lnTo>
                    <a:lnTo>
                      <a:pt x="1290" y="1587"/>
                    </a:lnTo>
                    <a:lnTo>
                      <a:pt x="1290" y="1589"/>
                    </a:lnTo>
                    <a:lnTo>
                      <a:pt x="1288" y="1589"/>
                    </a:lnTo>
                    <a:lnTo>
                      <a:pt x="1287" y="1589"/>
                    </a:lnTo>
                    <a:lnTo>
                      <a:pt x="1287" y="1590"/>
                    </a:lnTo>
                    <a:lnTo>
                      <a:pt x="1287" y="1589"/>
                    </a:lnTo>
                    <a:lnTo>
                      <a:pt x="1287" y="1587"/>
                    </a:lnTo>
                    <a:lnTo>
                      <a:pt x="1287" y="1589"/>
                    </a:lnTo>
                    <a:lnTo>
                      <a:pt x="1285" y="1589"/>
                    </a:lnTo>
                    <a:lnTo>
                      <a:pt x="1283" y="1589"/>
                    </a:lnTo>
                    <a:lnTo>
                      <a:pt x="1283" y="1587"/>
                    </a:lnTo>
                    <a:lnTo>
                      <a:pt x="1281" y="1585"/>
                    </a:lnTo>
                    <a:lnTo>
                      <a:pt x="1283" y="1585"/>
                    </a:lnTo>
                    <a:lnTo>
                      <a:pt x="1283" y="1583"/>
                    </a:lnTo>
                    <a:lnTo>
                      <a:pt x="1283" y="1585"/>
                    </a:lnTo>
                    <a:lnTo>
                      <a:pt x="1283" y="1583"/>
                    </a:lnTo>
                    <a:lnTo>
                      <a:pt x="1285" y="1583"/>
                    </a:lnTo>
                    <a:lnTo>
                      <a:pt x="1285" y="1582"/>
                    </a:lnTo>
                    <a:lnTo>
                      <a:pt x="1285" y="1583"/>
                    </a:lnTo>
                    <a:lnTo>
                      <a:pt x="1283" y="1583"/>
                    </a:lnTo>
                    <a:lnTo>
                      <a:pt x="1283" y="1582"/>
                    </a:lnTo>
                    <a:lnTo>
                      <a:pt x="1285" y="1582"/>
                    </a:lnTo>
                    <a:lnTo>
                      <a:pt x="1285" y="1580"/>
                    </a:lnTo>
                    <a:lnTo>
                      <a:pt x="1283" y="1580"/>
                    </a:lnTo>
                    <a:lnTo>
                      <a:pt x="1283" y="1582"/>
                    </a:lnTo>
                    <a:lnTo>
                      <a:pt x="1283" y="1583"/>
                    </a:lnTo>
                    <a:lnTo>
                      <a:pt x="1281" y="1582"/>
                    </a:lnTo>
                    <a:lnTo>
                      <a:pt x="1280" y="1582"/>
                    </a:lnTo>
                    <a:lnTo>
                      <a:pt x="1281" y="1582"/>
                    </a:lnTo>
                    <a:lnTo>
                      <a:pt x="1281" y="1583"/>
                    </a:lnTo>
                    <a:lnTo>
                      <a:pt x="1281" y="1585"/>
                    </a:lnTo>
                    <a:lnTo>
                      <a:pt x="1280" y="1585"/>
                    </a:lnTo>
                    <a:lnTo>
                      <a:pt x="1281" y="1585"/>
                    </a:lnTo>
                    <a:lnTo>
                      <a:pt x="1280" y="1585"/>
                    </a:lnTo>
                    <a:lnTo>
                      <a:pt x="1281" y="1587"/>
                    </a:lnTo>
                    <a:lnTo>
                      <a:pt x="1281" y="1589"/>
                    </a:lnTo>
                    <a:lnTo>
                      <a:pt x="1281" y="1587"/>
                    </a:lnTo>
                    <a:lnTo>
                      <a:pt x="1283" y="1589"/>
                    </a:lnTo>
                    <a:lnTo>
                      <a:pt x="1285" y="1589"/>
                    </a:lnTo>
                    <a:lnTo>
                      <a:pt x="1285" y="1590"/>
                    </a:lnTo>
                    <a:lnTo>
                      <a:pt x="1283" y="1590"/>
                    </a:lnTo>
                    <a:lnTo>
                      <a:pt x="1283" y="1592"/>
                    </a:lnTo>
                    <a:lnTo>
                      <a:pt x="1285" y="1594"/>
                    </a:lnTo>
                    <a:lnTo>
                      <a:pt x="1283" y="1594"/>
                    </a:lnTo>
                    <a:lnTo>
                      <a:pt x="1281" y="1594"/>
                    </a:lnTo>
                    <a:lnTo>
                      <a:pt x="1280" y="1592"/>
                    </a:lnTo>
                    <a:lnTo>
                      <a:pt x="1281" y="1592"/>
                    </a:lnTo>
                    <a:lnTo>
                      <a:pt x="1280" y="1590"/>
                    </a:lnTo>
                    <a:lnTo>
                      <a:pt x="1280" y="1589"/>
                    </a:lnTo>
                    <a:lnTo>
                      <a:pt x="1281" y="1589"/>
                    </a:lnTo>
                    <a:lnTo>
                      <a:pt x="1280" y="1587"/>
                    </a:lnTo>
                    <a:lnTo>
                      <a:pt x="1281" y="1587"/>
                    </a:lnTo>
                    <a:lnTo>
                      <a:pt x="1280" y="1587"/>
                    </a:lnTo>
                    <a:lnTo>
                      <a:pt x="1280" y="1589"/>
                    </a:lnTo>
                    <a:lnTo>
                      <a:pt x="1280" y="1590"/>
                    </a:lnTo>
                    <a:lnTo>
                      <a:pt x="1278" y="1590"/>
                    </a:lnTo>
                    <a:lnTo>
                      <a:pt x="1278" y="1589"/>
                    </a:lnTo>
                    <a:lnTo>
                      <a:pt x="1278" y="1587"/>
                    </a:lnTo>
                    <a:lnTo>
                      <a:pt x="1278" y="1585"/>
                    </a:lnTo>
                    <a:lnTo>
                      <a:pt x="1280" y="1585"/>
                    </a:lnTo>
                    <a:lnTo>
                      <a:pt x="1278" y="1585"/>
                    </a:lnTo>
                    <a:lnTo>
                      <a:pt x="1278" y="1587"/>
                    </a:lnTo>
                    <a:lnTo>
                      <a:pt x="1276" y="1587"/>
                    </a:lnTo>
                    <a:lnTo>
                      <a:pt x="1278" y="1589"/>
                    </a:lnTo>
                    <a:lnTo>
                      <a:pt x="1276" y="1589"/>
                    </a:lnTo>
                    <a:lnTo>
                      <a:pt x="1275" y="1587"/>
                    </a:lnTo>
                    <a:lnTo>
                      <a:pt x="1275" y="1585"/>
                    </a:lnTo>
                    <a:lnTo>
                      <a:pt x="1275" y="1583"/>
                    </a:lnTo>
                    <a:lnTo>
                      <a:pt x="1273" y="1583"/>
                    </a:lnTo>
                    <a:lnTo>
                      <a:pt x="1275" y="1582"/>
                    </a:lnTo>
                    <a:lnTo>
                      <a:pt x="1276" y="1582"/>
                    </a:lnTo>
                    <a:lnTo>
                      <a:pt x="1276" y="1580"/>
                    </a:lnTo>
                    <a:lnTo>
                      <a:pt x="1278" y="1580"/>
                    </a:lnTo>
                    <a:lnTo>
                      <a:pt x="1278" y="1578"/>
                    </a:lnTo>
                    <a:lnTo>
                      <a:pt x="1278" y="1580"/>
                    </a:lnTo>
                    <a:lnTo>
                      <a:pt x="1276" y="1578"/>
                    </a:lnTo>
                    <a:lnTo>
                      <a:pt x="1276" y="1577"/>
                    </a:lnTo>
                    <a:lnTo>
                      <a:pt x="1275" y="1575"/>
                    </a:lnTo>
                    <a:lnTo>
                      <a:pt x="1276" y="1575"/>
                    </a:lnTo>
                    <a:lnTo>
                      <a:pt x="1275" y="1573"/>
                    </a:lnTo>
                    <a:lnTo>
                      <a:pt x="1276" y="1573"/>
                    </a:lnTo>
                    <a:lnTo>
                      <a:pt x="1276" y="1572"/>
                    </a:lnTo>
                    <a:lnTo>
                      <a:pt x="1278" y="1570"/>
                    </a:lnTo>
                    <a:lnTo>
                      <a:pt x="1278" y="1572"/>
                    </a:lnTo>
                    <a:close/>
                    <a:moveTo>
                      <a:pt x="1152" y="1354"/>
                    </a:moveTo>
                    <a:lnTo>
                      <a:pt x="1154" y="1354"/>
                    </a:lnTo>
                    <a:lnTo>
                      <a:pt x="1152" y="1356"/>
                    </a:lnTo>
                    <a:lnTo>
                      <a:pt x="1152" y="1357"/>
                    </a:lnTo>
                    <a:lnTo>
                      <a:pt x="1152" y="1356"/>
                    </a:lnTo>
                    <a:lnTo>
                      <a:pt x="1154" y="1356"/>
                    </a:lnTo>
                    <a:lnTo>
                      <a:pt x="1154" y="1357"/>
                    </a:lnTo>
                    <a:lnTo>
                      <a:pt x="1152" y="1357"/>
                    </a:lnTo>
                    <a:lnTo>
                      <a:pt x="1154" y="1359"/>
                    </a:lnTo>
                    <a:lnTo>
                      <a:pt x="1154" y="1357"/>
                    </a:lnTo>
                    <a:lnTo>
                      <a:pt x="1154" y="1356"/>
                    </a:lnTo>
                    <a:lnTo>
                      <a:pt x="1156" y="1356"/>
                    </a:lnTo>
                    <a:lnTo>
                      <a:pt x="1157" y="1356"/>
                    </a:lnTo>
                    <a:lnTo>
                      <a:pt x="1159" y="1356"/>
                    </a:lnTo>
                    <a:lnTo>
                      <a:pt x="1159" y="1357"/>
                    </a:lnTo>
                    <a:lnTo>
                      <a:pt x="1159" y="1359"/>
                    </a:lnTo>
                    <a:lnTo>
                      <a:pt x="1157" y="1359"/>
                    </a:lnTo>
                    <a:lnTo>
                      <a:pt x="1157" y="1361"/>
                    </a:lnTo>
                    <a:lnTo>
                      <a:pt x="1159" y="1359"/>
                    </a:lnTo>
                    <a:lnTo>
                      <a:pt x="1161" y="1359"/>
                    </a:lnTo>
                    <a:lnTo>
                      <a:pt x="1159" y="1359"/>
                    </a:lnTo>
                    <a:lnTo>
                      <a:pt x="1161" y="1359"/>
                    </a:lnTo>
                    <a:lnTo>
                      <a:pt x="1161" y="1361"/>
                    </a:lnTo>
                    <a:lnTo>
                      <a:pt x="1161" y="1362"/>
                    </a:lnTo>
                    <a:lnTo>
                      <a:pt x="1162" y="1362"/>
                    </a:lnTo>
                    <a:lnTo>
                      <a:pt x="1161" y="1361"/>
                    </a:lnTo>
                    <a:lnTo>
                      <a:pt x="1162" y="1359"/>
                    </a:lnTo>
                    <a:lnTo>
                      <a:pt x="1162" y="1357"/>
                    </a:lnTo>
                    <a:lnTo>
                      <a:pt x="1164" y="1357"/>
                    </a:lnTo>
                    <a:lnTo>
                      <a:pt x="1164" y="1359"/>
                    </a:lnTo>
                    <a:lnTo>
                      <a:pt x="1164" y="1361"/>
                    </a:lnTo>
                    <a:lnTo>
                      <a:pt x="1162" y="1362"/>
                    </a:lnTo>
                    <a:lnTo>
                      <a:pt x="1164" y="1361"/>
                    </a:lnTo>
                    <a:lnTo>
                      <a:pt x="1164" y="1362"/>
                    </a:lnTo>
                    <a:lnTo>
                      <a:pt x="1164" y="1361"/>
                    </a:lnTo>
                    <a:lnTo>
                      <a:pt x="1166" y="1361"/>
                    </a:lnTo>
                    <a:lnTo>
                      <a:pt x="1166" y="1362"/>
                    </a:lnTo>
                    <a:lnTo>
                      <a:pt x="1168" y="1362"/>
                    </a:lnTo>
                    <a:lnTo>
                      <a:pt x="1168" y="1364"/>
                    </a:lnTo>
                    <a:lnTo>
                      <a:pt x="1168" y="1362"/>
                    </a:lnTo>
                    <a:lnTo>
                      <a:pt x="1166" y="1361"/>
                    </a:lnTo>
                    <a:lnTo>
                      <a:pt x="1168" y="1362"/>
                    </a:lnTo>
                    <a:lnTo>
                      <a:pt x="1169" y="1362"/>
                    </a:lnTo>
                    <a:lnTo>
                      <a:pt x="1168" y="1362"/>
                    </a:lnTo>
                    <a:lnTo>
                      <a:pt x="1166" y="1361"/>
                    </a:lnTo>
                    <a:lnTo>
                      <a:pt x="1168" y="1361"/>
                    </a:lnTo>
                    <a:lnTo>
                      <a:pt x="1166" y="1359"/>
                    </a:lnTo>
                    <a:lnTo>
                      <a:pt x="1168" y="1361"/>
                    </a:lnTo>
                    <a:lnTo>
                      <a:pt x="1169" y="1361"/>
                    </a:lnTo>
                    <a:lnTo>
                      <a:pt x="1171" y="1362"/>
                    </a:lnTo>
                    <a:lnTo>
                      <a:pt x="1169" y="1362"/>
                    </a:lnTo>
                    <a:lnTo>
                      <a:pt x="1171" y="1364"/>
                    </a:lnTo>
                    <a:lnTo>
                      <a:pt x="1169" y="1364"/>
                    </a:lnTo>
                    <a:lnTo>
                      <a:pt x="1168" y="1364"/>
                    </a:lnTo>
                    <a:lnTo>
                      <a:pt x="1169" y="1364"/>
                    </a:lnTo>
                    <a:lnTo>
                      <a:pt x="1168" y="1364"/>
                    </a:lnTo>
                    <a:lnTo>
                      <a:pt x="1169" y="1364"/>
                    </a:lnTo>
                    <a:lnTo>
                      <a:pt x="1168" y="1364"/>
                    </a:lnTo>
                    <a:lnTo>
                      <a:pt x="1166" y="1364"/>
                    </a:lnTo>
                    <a:lnTo>
                      <a:pt x="1168" y="1364"/>
                    </a:lnTo>
                    <a:lnTo>
                      <a:pt x="1169" y="1366"/>
                    </a:lnTo>
                    <a:lnTo>
                      <a:pt x="1168" y="1367"/>
                    </a:lnTo>
                    <a:lnTo>
                      <a:pt x="1168" y="1366"/>
                    </a:lnTo>
                    <a:lnTo>
                      <a:pt x="1166" y="1366"/>
                    </a:lnTo>
                    <a:lnTo>
                      <a:pt x="1166" y="1367"/>
                    </a:lnTo>
                    <a:lnTo>
                      <a:pt x="1168" y="1367"/>
                    </a:lnTo>
                    <a:lnTo>
                      <a:pt x="1166" y="1367"/>
                    </a:lnTo>
                    <a:lnTo>
                      <a:pt x="1166" y="1366"/>
                    </a:lnTo>
                    <a:lnTo>
                      <a:pt x="1164" y="1366"/>
                    </a:lnTo>
                    <a:lnTo>
                      <a:pt x="1162" y="1367"/>
                    </a:lnTo>
                    <a:lnTo>
                      <a:pt x="1164" y="1366"/>
                    </a:lnTo>
                    <a:lnTo>
                      <a:pt x="1164" y="1367"/>
                    </a:lnTo>
                    <a:lnTo>
                      <a:pt x="1164" y="1369"/>
                    </a:lnTo>
                    <a:lnTo>
                      <a:pt x="1162" y="1369"/>
                    </a:lnTo>
                    <a:lnTo>
                      <a:pt x="1162" y="1371"/>
                    </a:lnTo>
                    <a:lnTo>
                      <a:pt x="1161" y="1371"/>
                    </a:lnTo>
                    <a:lnTo>
                      <a:pt x="1161" y="1373"/>
                    </a:lnTo>
                    <a:lnTo>
                      <a:pt x="1159" y="1371"/>
                    </a:lnTo>
                    <a:lnTo>
                      <a:pt x="1161" y="1373"/>
                    </a:lnTo>
                    <a:lnTo>
                      <a:pt x="1159" y="1373"/>
                    </a:lnTo>
                    <a:lnTo>
                      <a:pt x="1159" y="1374"/>
                    </a:lnTo>
                    <a:lnTo>
                      <a:pt x="1157" y="1373"/>
                    </a:lnTo>
                    <a:lnTo>
                      <a:pt x="1157" y="1374"/>
                    </a:lnTo>
                    <a:lnTo>
                      <a:pt x="1157" y="1376"/>
                    </a:lnTo>
                    <a:lnTo>
                      <a:pt x="1156" y="1378"/>
                    </a:lnTo>
                    <a:lnTo>
                      <a:pt x="1157" y="1376"/>
                    </a:lnTo>
                    <a:lnTo>
                      <a:pt x="1159" y="1376"/>
                    </a:lnTo>
                    <a:lnTo>
                      <a:pt x="1161" y="1376"/>
                    </a:lnTo>
                    <a:lnTo>
                      <a:pt x="1159" y="1376"/>
                    </a:lnTo>
                    <a:lnTo>
                      <a:pt x="1159" y="1374"/>
                    </a:lnTo>
                    <a:lnTo>
                      <a:pt x="1157" y="1374"/>
                    </a:lnTo>
                    <a:lnTo>
                      <a:pt x="1159" y="1374"/>
                    </a:lnTo>
                    <a:lnTo>
                      <a:pt x="1159" y="1373"/>
                    </a:lnTo>
                    <a:lnTo>
                      <a:pt x="1161" y="1373"/>
                    </a:lnTo>
                    <a:lnTo>
                      <a:pt x="1161" y="1371"/>
                    </a:lnTo>
                    <a:lnTo>
                      <a:pt x="1162" y="1371"/>
                    </a:lnTo>
                    <a:lnTo>
                      <a:pt x="1162" y="1369"/>
                    </a:lnTo>
                    <a:lnTo>
                      <a:pt x="1164" y="1369"/>
                    </a:lnTo>
                    <a:lnTo>
                      <a:pt x="1166" y="1369"/>
                    </a:lnTo>
                    <a:lnTo>
                      <a:pt x="1166" y="1371"/>
                    </a:lnTo>
                    <a:lnTo>
                      <a:pt x="1166" y="1373"/>
                    </a:lnTo>
                    <a:lnTo>
                      <a:pt x="1166" y="1374"/>
                    </a:lnTo>
                    <a:lnTo>
                      <a:pt x="1164" y="1373"/>
                    </a:lnTo>
                    <a:lnTo>
                      <a:pt x="1164" y="1374"/>
                    </a:lnTo>
                    <a:lnTo>
                      <a:pt x="1162" y="1373"/>
                    </a:lnTo>
                    <a:lnTo>
                      <a:pt x="1162" y="1374"/>
                    </a:lnTo>
                    <a:lnTo>
                      <a:pt x="1161" y="1374"/>
                    </a:lnTo>
                    <a:lnTo>
                      <a:pt x="1162" y="1374"/>
                    </a:lnTo>
                    <a:lnTo>
                      <a:pt x="1164" y="1374"/>
                    </a:lnTo>
                    <a:lnTo>
                      <a:pt x="1164" y="1376"/>
                    </a:lnTo>
                    <a:lnTo>
                      <a:pt x="1162" y="1374"/>
                    </a:lnTo>
                    <a:lnTo>
                      <a:pt x="1164" y="1376"/>
                    </a:lnTo>
                    <a:lnTo>
                      <a:pt x="1162" y="1376"/>
                    </a:lnTo>
                    <a:lnTo>
                      <a:pt x="1161" y="1376"/>
                    </a:lnTo>
                    <a:lnTo>
                      <a:pt x="1159" y="1376"/>
                    </a:lnTo>
                    <a:lnTo>
                      <a:pt x="1159" y="1378"/>
                    </a:lnTo>
                    <a:lnTo>
                      <a:pt x="1157" y="1378"/>
                    </a:lnTo>
                    <a:lnTo>
                      <a:pt x="1157" y="1379"/>
                    </a:lnTo>
                    <a:lnTo>
                      <a:pt x="1156" y="1379"/>
                    </a:lnTo>
                    <a:lnTo>
                      <a:pt x="1156" y="1378"/>
                    </a:lnTo>
                    <a:lnTo>
                      <a:pt x="1154" y="1379"/>
                    </a:lnTo>
                    <a:lnTo>
                      <a:pt x="1154" y="1378"/>
                    </a:lnTo>
                    <a:lnTo>
                      <a:pt x="1154" y="1379"/>
                    </a:lnTo>
                    <a:lnTo>
                      <a:pt x="1154" y="1378"/>
                    </a:lnTo>
                    <a:lnTo>
                      <a:pt x="1152" y="1378"/>
                    </a:lnTo>
                    <a:lnTo>
                      <a:pt x="1151" y="1378"/>
                    </a:lnTo>
                    <a:lnTo>
                      <a:pt x="1152" y="1378"/>
                    </a:lnTo>
                    <a:lnTo>
                      <a:pt x="1152" y="1376"/>
                    </a:lnTo>
                    <a:lnTo>
                      <a:pt x="1152" y="1374"/>
                    </a:lnTo>
                    <a:lnTo>
                      <a:pt x="1154" y="1374"/>
                    </a:lnTo>
                    <a:lnTo>
                      <a:pt x="1152" y="1374"/>
                    </a:lnTo>
                    <a:lnTo>
                      <a:pt x="1154" y="1374"/>
                    </a:lnTo>
                    <a:lnTo>
                      <a:pt x="1154" y="1373"/>
                    </a:lnTo>
                    <a:lnTo>
                      <a:pt x="1156" y="1373"/>
                    </a:lnTo>
                    <a:lnTo>
                      <a:pt x="1156" y="1371"/>
                    </a:lnTo>
                    <a:lnTo>
                      <a:pt x="1156" y="1369"/>
                    </a:lnTo>
                    <a:lnTo>
                      <a:pt x="1156" y="1371"/>
                    </a:lnTo>
                    <a:lnTo>
                      <a:pt x="1156" y="1373"/>
                    </a:lnTo>
                    <a:lnTo>
                      <a:pt x="1154" y="1373"/>
                    </a:lnTo>
                    <a:lnTo>
                      <a:pt x="1152" y="1373"/>
                    </a:lnTo>
                    <a:lnTo>
                      <a:pt x="1152" y="1374"/>
                    </a:lnTo>
                    <a:lnTo>
                      <a:pt x="1152" y="1373"/>
                    </a:lnTo>
                    <a:lnTo>
                      <a:pt x="1154" y="1373"/>
                    </a:lnTo>
                    <a:lnTo>
                      <a:pt x="1154" y="1371"/>
                    </a:lnTo>
                    <a:lnTo>
                      <a:pt x="1152" y="1371"/>
                    </a:lnTo>
                    <a:lnTo>
                      <a:pt x="1151" y="1373"/>
                    </a:lnTo>
                    <a:lnTo>
                      <a:pt x="1151" y="1374"/>
                    </a:lnTo>
                    <a:lnTo>
                      <a:pt x="1149" y="1374"/>
                    </a:lnTo>
                    <a:lnTo>
                      <a:pt x="1149" y="1376"/>
                    </a:lnTo>
                    <a:lnTo>
                      <a:pt x="1149" y="1378"/>
                    </a:lnTo>
                    <a:lnTo>
                      <a:pt x="1147" y="1378"/>
                    </a:lnTo>
                    <a:lnTo>
                      <a:pt x="1145" y="1376"/>
                    </a:lnTo>
                    <a:lnTo>
                      <a:pt x="1147" y="1376"/>
                    </a:lnTo>
                    <a:lnTo>
                      <a:pt x="1149" y="1374"/>
                    </a:lnTo>
                    <a:lnTo>
                      <a:pt x="1149" y="1373"/>
                    </a:lnTo>
                    <a:lnTo>
                      <a:pt x="1149" y="1374"/>
                    </a:lnTo>
                    <a:lnTo>
                      <a:pt x="1147" y="1374"/>
                    </a:lnTo>
                    <a:lnTo>
                      <a:pt x="1147" y="1373"/>
                    </a:lnTo>
                    <a:lnTo>
                      <a:pt x="1147" y="1371"/>
                    </a:lnTo>
                    <a:lnTo>
                      <a:pt x="1147" y="1369"/>
                    </a:lnTo>
                    <a:lnTo>
                      <a:pt x="1149" y="1369"/>
                    </a:lnTo>
                    <a:lnTo>
                      <a:pt x="1149" y="1367"/>
                    </a:lnTo>
                    <a:lnTo>
                      <a:pt x="1147" y="1367"/>
                    </a:lnTo>
                    <a:lnTo>
                      <a:pt x="1149" y="1366"/>
                    </a:lnTo>
                    <a:lnTo>
                      <a:pt x="1147" y="1366"/>
                    </a:lnTo>
                    <a:lnTo>
                      <a:pt x="1149" y="1366"/>
                    </a:lnTo>
                    <a:lnTo>
                      <a:pt x="1149" y="1364"/>
                    </a:lnTo>
                    <a:lnTo>
                      <a:pt x="1149" y="1362"/>
                    </a:lnTo>
                    <a:lnTo>
                      <a:pt x="1151" y="1362"/>
                    </a:lnTo>
                    <a:lnTo>
                      <a:pt x="1152" y="1362"/>
                    </a:lnTo>
                    <a:lnTo>
                      <a:pt x="1152" y="1364"/>
                    </a:lnTo>
                    <a:lnTo>
                      <a:pt x="1154" y="1364"/>
                    </a:lnTo>
                    <a:lnTo>
                      <a:pt x="1154" y="1366"/>
                    </a:lnTo>
                    <a:lnTo>
                      <a:pt x="1152" y="1366"/>
                    </a:lnTo>
                    <a:lnTo>
                      <a:pt x="1151" y="1364"/>
                    </a:lnTo>
                    <a:lnTo>
                      <a:pt x="1151" y="1366"/>
                    </a:lnTo>
                    <a:lnTo>
                      <a:pt x="1152" y="1366"/>
                    </a:lnTo>
                    <a:lnTo>
                      <a:pt x="1154" y="1366"/>
                    </a:lnTo>
                    <a:lnTo>
                      <a:pt x="1154" y="1367"/>
                    </a:lnTo>
                    <a:lnTo>
                      <a:pt x="1156" y="1367"/>
                    </a:lnTo>
                    <a:lnTo>
                      <a:pt x="1156" y="1369"/>
                    </a:lnTo>
                    <a:lnTo>
                      <a:pt x="1157" y="1367"/>
                    </a:lnTo>
                    <a:lnTo>
                      <a:pt x="1157" y="1366"/>
                    </a:lnTo>
                    <a:lnTo>
                      <a:pt x="1157" y="1364"/>
                    </a:lnTo>
                    <a:lnTo>
                      <a:pt x="1159" y="1362"/>
                    </a:lnTo>
                    <a:lnTo>
                      <a:pt x="1159" y="1361"/>
                    </a:lnTo>
                    <a:lnTo>
                      <a:pt x="1159" y="1362"/>
                    </a:lnTo>
                    <a:lnTo>
                      <a:pt x="1157" y="1362"/>
                    </a:lnTo>
                    <a:lnTo>
                      <a:pt x="1159" y="1362"/>
                    </a:lnTo>
                    <a:lnTo>
                      <a:pt x="1157" y="1364"/>
                    </a:lnTo>
                    <a:lnTo>
                      <a:pt x="1156" y="1362"/>
                    </a:lnTo>
                    <a:lnTo>
                      <a:pt x="1154" y="1362"/>
                    </a:lnTo>
                    <a:lnTo>
                      <a:pt x="1154" y="1361"/>
                    </a:lnTo>
                    <a:lnTo>
                      <a:pt x="1152" y="1362"/>
                    </a:lnTo>
                    <a:lnTo>
                      <a:pt x="1152" y="1361"/>
                    </a:lnTo>
                    <a:lnTo>
                      <a:pt x="1152" y="1362"/>
                    </a:lnTo>
                    <a:lnTo>
                      <a:pt x="1151" y="1361"/>
                    </a:lnTo>
                    <a:lnTo>
                      <a:pt x="1151" y="1359"/>
                    </a:lnTo>
                    <a:lnTo>
                      <a:pt x="1149" y="1359"/>
                    </a:lnTo>
                    <a:lnTo>
                      <a:pt x="1149" y="1357"/>
                    </a:lnTo>
                    <a:lnTo>
                      <a:pt x="1149" y="1356"/>
                    </a:lnTo>
                    <a:lnTo>
                      <a:pt x="1151" y="1356"/>
                    </a:lnTo>
                    <a:lnTo>
                      <a:pt x="1151" y="1354"/>
                    </a:lnTo>
                    <a:lnTo>
                      <a:pt x="1151" y="1356"/>
                    </a:lnTo>
                    <a:lnTo>
                      <a:pt x="1151" y="1357"/>
                    </a:lnTo>
                    <a:lnTo>
                      <a:pt x="1151" y="1356"/>
                    </a:lnTo>
                    <a:lnTo>
                      <a:pt x="1151" y="1354"/>
                    </a:lnTo>
                    <a:lnTo>
                      <a:pt x="1152" y="1354"/>
                    </a:lnTo>
                    <a:close/>
                    <a:moveTo>
                      <a:pt x="1266" y="1565"/>
                    </a:moveTo>
                    <a:lnTo>
                      <a:pt x="1268" y="1566"/>
                    </a:lnTo>
                    <a:lnTo>
                      <a:pt x="1270" y="1568"/>
                    </a:lnTo>
                    <a:lnTo>
                      <a:pt x="1270" y="1570"/>
                    </a:lnTo>
                    <a:lnTo>
                      <a:pt x="1270" y="1572"/>
                    </a:lnTo>
                    <a:lnTo>
                      <a:pt x="1270" y="1573"/>
                    </a:lnTo>
                    <a:lnTo>
                      <a:pt x="1270" y="1572"/>
                    </a:lnTo>
                    <a:lnTo>
                      <a:pt x="1270" y="1570"/>
                    </a:lnTo>
                    <a:lnTo>
                      <a:pt x="1271" y="1570"/>
                    </a:lnTo>
                    <a:lnTo>
                      <a:pt x="1271" y="1568"/>
                    </a:lnTo>
                    <a:lnTo>
                      <a:pt x="1273" y="1568"/>
                    </a:lnTo>
                    <a:lnTo>
                      <a:pt x="1271" y="1570"/>
                    </a:lnTo>
                    <a:lnTo>
                      <a:pt x="1273" y="1568"/>
                    </a:lnTo>
                    <a:lnTo>
                      <a:pt x="1275" y="1570"/>
                    </a:lnTo>
                    <a:lnTo>
                      <a:pt x="1276" y="1570"/>
                    </a:lnTo>
                    <a:lnTo>
                      <a:pt x="1275" y="1572"/>
                    </a:lnTo>
                    <a:lnTo>
                      <a:pt x="1275" y="1573"/>
                    </a:lnTo>
                    <a:lnTo>
                      <a:pt x="1273" y="1573"/>
                    </a:lnTo>
                    <a:lnTo>
                      <a:pt x="1275" y="1575"/>
                    </a:lnTo>
                    <a:lnTo>
                      <a:pt x="1275" y="1577"/>
                    </a:lnTo>
                    <a:lnTo>
                      <a:pt x="1273" y="1577"/>
                    </a:lnTo>
                    <a:lnTo>
                      <a:pt x="1271" y="1577"/>
                    </a:lnTo>
                    <a:lnTo>
                      <a:pt x="1273" y="1577"/>
                    </a:lnTo>
                    <a:lnTo>
                      <a:pt x="1273" y="1578"/>
                    </a:lnTo>
                    <a:lnTo>
                      <a:pt x="1273" y="1580"/>
                    </a:lnTo>
                    <a:lnTo>
                      <a:pt x="1273" y="1578"/>
                    </a:lnTo>
                    <a:lnTo>
                      <a:pt x="1275" y="1578"/>
                    </a:lnTo>
                    <a:lnTo>
                      <a:pt x="1275" y="1577"/>
                    </a:lnTo>
                    <a:lnTo>
                      <a:pt x="1276" y="1578"/>
                    </a:lnTo>
                    <a:lnTo>
                      <a:pt x="1276" y="1580"/>
                    </a:lnTo>
                    <a:lnTo>
                      <a:pt x="1275" y="1582"/>
                    </a:lnTo>
                    <a:lnTo>
                      <a:pt x="1275" y="1580"/>
                    </a:lnTo>
                    <a:lnTo>
                      <a:pt x="1275" y="1582"/>
                    </a:lnTo>
                    <a:lnTo>
                      <a:pt x="1273" y="1582"/>
                    </a:lnTo>
                    <a:lnTo>
                      <a:pt x="1273" y="1583"/>
                    </a:lnTo>
                    <a:lnTo>
                      <a:pt x="1273" y="1582"/>
                    </a:lnTo>
                    <a:lnTo>
                      <a:pt x="1273" y="1583"/>
                    </a:lnTo>
                    <a:lnTo>
                      <a:pt x="1271" y="1583"/>
                    </a:lnTo>
                    <a:lnTo>
                      <a:pt x="1271" y="1582"/>
                    </a:lnTo>
                    <a:lnTo>
                      <a:pt x="1271" y="1583"/>
                    </a:lnTo>
                    <a:lnTo>
                      <a:pt x="1270" y="1582"/>
                    </a:lnTo>
                    <a:lnTo>
                      <a:pt x="1270" y="1580"/>
                    </a:lnTo>
                    <a:lnTo>
                      <a:pt x="1268" y="1580"/>
                    </a:lnTo>
                    <a:lnTo>
                      <a:pt x="1270" y="1578"/>
                    </a:lnTo>
                    <a:lnTo>
                      <a:pt x="1268" y="1580"/>
                    </a:lnTo>
                    <a:lnTo>
                      <a:pt x="1268" y="1578"/>
                    </a:lnTo>
                    <a:lnTo>
                      <a:pt x="1266" y="1577"/>
                    </a:lnTo>
                    <a:lnTo>
                      <a:pt x="1266" y="1575"/>
                    </a:lnTo>
                    <a:lnTo>
                      <a:pt x="1266" y="1577"/>
                    </a:lnTo>
                    <a:lnTo>
                      <a:pt x="1266" y="1578"/>
                    </a:lnTo>
                    <a:lnTo>
                      <a:pt x="1266" y="1580"/>
                    </a:lnTo>
                    <a:lnTo>
                      <a:pt x="1268" y="1580"/>
                    </a:lnTo>
                    <a:lnTo>
                      <a:pt x="1266" y="1582"/>
                    </a:lnTo>
                    <a:lnTo>
                      <a:pt x="1268" y="1582"/>
                    </a:lnTo>
                    <a:lnTo>
                      <a:pt x="1268" y="1583"/>
                    </a:lnTo>
                    <a:lnTo>
                      <a:pt x="1270" y="1582"/>
                    </a:lnTo>
                    <a:lnTo>
                      <a:pt x="1270" y="1583"/>
                    </a:lnTo>
                    <a:lnTo>
                      <a:pt x="1271" y="1583"/>
                    </a:lnTo>
                    <a:lnTo>
                      <a:pt x="1271" y="1585"/>
                    </a:lnTo>
                    <a:lnTo>
                      <a:pt x="1271" y="1587"/>
                    </a:lnTo>
                    <a:lnTo>
                      <a:pt x="1271" y="1585"/>
                    </a:lnTo>
                    <a:lnTo>
                      <a:pt x="1271" y="1587"/>
                    </a:lnTo>
                    <a:lnTo>
                      <a:pt x="1273" y="1587"/>
                    </a:lnTo>
                    <a:lnTo>
                      <a:pt x="1273" y="1589"/>
                    </a:lnTo>
                    <a:lnTo>
                      <a:pt x="1273" y="1590"/>
                    </a:lnTo>
                    <a:lnTo>
                      <a:pt x="1271" y="1590"/>
                    </a:lnTo>
                    <a:lnTo>
                      <a:pt x="1271" y="1589"/>
                    </a:lnTo>
                    <a:lnTo>
                      <a:pt x="1270" y="1589"/>
                    </a:lnTo>
                    <a:lnTo>
                      <a:pt x="1268" y="1589"/>
                    </a:lnTo>
                    <a:lnTo>
                      <a:pt x="1270" y="1589"/>
                    </a:lnTo>
                    <a:lnTo>
                      <a:pt x="1270" y="1590"/>
                    </a:lnTo>
                    <a:lnTo>
                      <a:pt x="1268" y="1590"/>
                    </a:lnTo>
                    <a:lnTo>
                      <a:pt x="1270" y="1590"/>
                    </a:lnTo>
                    <a:lnTo>
                      <a:pt x="1270" y="1592"/>
                    </a:lnTo>
                    <a:lnTo>
                      <a:pt x="1268" y="1592"/>
                    </a:lnTo>
                    <a:lnTo>
                      <a:pt x="1270" y="1592"/>
                    </a:lnTo>
                    <a:lnTo>
                      <a:pt x="1270" y="1594"/>
                    </a:lnTo>
                    <a:lnTo>
                      <a:pt x="1271" y="1594"/>
                    </a:lnTo>
                    <a:lnTo>
                      <a:pt x="1270" y="1594"/>
                    </a:lnTo>
                    <a:lnTo>
                      <a:pt x="1268" y="1594"/>
                    </a:lnTo>
                    <a:lnTo>
                      <a:pt x="1266" y="1594"/>
                    </a:lnTo>
                    <a:lnTo>
                      <a:pt x="1266" y="1592"/>
                    </a:lnTo>
                    <a:lnTo>
                      <a:pt x="1266" y="1594"/>
                    </a:lnTo>
                    <a:lnTo>
                      <a:pt x="1264" y="1594"/>
                    </a:lnTo>
                    <a:lnTo>
                      <a:pt x="1264" y="1592"/>
                    </a:lnTo>
                    <a:lnTo>
                      <a:pt x="1266" y="1592"/>
                    </a:lnTo>
                    <a:lnTo>
                      <a:pt x="1266" y="1590"/>
                    </a:lnTo>
                    <a:lnTo>
                      <a:pt x="1266" y="1589"/>
                    </a:lnTo>
                    <a:lnTo>
                      <a:pt x="1268" y="1589"/>
                    </a:lnTo>
                    <a:lnTo>
                      <a:pt x="1268" y="1587"/>
                    </a:lnTo>
                    <a:lnTo>
                      <a:pt x="1268" y="1589"/>
                    </a:lnTo>
                    <a:lnTo>
                      <a:pt x="1266" y="1587"/>
                    </a:lnTo>
                    <a:lnTo>
                      <a:pt x="1266" y="1589"/>
                    </a:lnTo>
                    <a:lnTo>
                      <a:pt x="1264" y="1587"/>
                    </a:lnTo>
                    <a:lnTo>
                      <a:pt x="1263" y="1587"/>
                    </a:lnTo>
                    <a:lnTo>
                      <a:pt x="1264" y="1587"/>
                    </a:lnTo>
                    <a:lnTo>
                      <a:pt x="1263" y="1587"/>
                    </a:lnTo>
                    <a:lnTo>
                      <a:pt x="1264" y="1587"/>
                    </a:lnTo>
                    <a:lnTo>
                      <a:pt x="1263" y="1585"/>
                    </a:lnTo>
                    <a:lnTo>
                      <a:pt x="1263" y="1587"/>
                    </a:lnTo>
                    <a:lnTo>
                      <a:pt x="1263" y="1585"/>
                    </a:lnTo>
                    <a:lnTo>
                      <a:pt x="1261" y="1585"/>
                    </a:lnTo>
                    <a:lnTo>
                      <a:pt x="1261" y="1583"/>
                    </a:lnTo>
                    <a:lnTo>
                      <a:pt x="1259" y="1583"/>
                    </a:lnTo>
                    <a:lnTo>
                      <a:pt x="1259" y="1582"/>
                    </a:lnTo>
                    <a:lnTo>
                      <a:pt x="1261" y="1583"/>
                    </a:lnTo>
                    <a:lnTo>
                      <a:pt x="1261" y="1582"/>
                    </a:lnTo>
                    <a:lnTo>
                      <a:pt x="1263" y="1583"/>
                    </a:lnTo>
                    <a:lnTo>
                      <a:pt x="1263" y="1582"/>
                    </a:lnTo>
                    <a:lnTo>
                      <a:pt x="1261" y="1582"/>
                    </a:lnTo>
                    <a:lnTo>
                      <a:pt x="1259" y="1582"/>
                    </a:lnTo>
                    <a:lnTo>
                      <a:pt x="1258" y="1580"/>
                    </a:lnTo>
                    <a:lnTo>
                      <a:pt x="1259" y="1580"/>
                    </a:lnTo>
                    <a:lnTo>
                      <a:pt x="1261" y="1580"/>
                    </a:lnTo>
                    <a:lnTo>
                      <a:pt x="1263" y="1580"/>
                    </a:lnTo>
                    <a:lnTo>
                      <a:pt x="1261" y="1580"/>
                    </a:lnTo>
                    <a:lnTo>
                      <a:pt x="1259" y="1578"/>
                    </a:lnTo>
                    <a:lnTo>
                      <a:pt x="1259" y="1577"/>
                    </a:lnTo>
                    <a:lnTo>
                      <a:pt x="1259" y="1578"/>
                    </a:lnTo>
                    <a:lnTo>
                      <a:pt x="1258" y="1578"/>
                    </a:lnTo>
                    <a:lnTo>
                      <a:pt x="1258" y="1580"/>
                    </a:lnTo>
                    <a:lnTo>
                      <a:pt x="1256" y="1580"/>
                    </a:lnTo>
                    <a:lnTo>
                      <a:pt x="1256" y="1578"/>
                    </a:lnTo>
                    <a:lnTo>
                      <a:pt x="1254" y="1577"/>
                    </a:lnTo>
                    <a:lnTo>
                      <a:pt x="1256" y="1577"/>
                    </a:lnTo>
                    <a:lnTo>
                      <a:pt x="1256" y="1575"/>
                    </a:lnTo>
                    <a:lnTo>
                      <a:pt x="1258" y="1573"/>
                    </a:lnTo>
                    <a:lnTo>
                      <a:pt x="1258" y="1572"/>
                    </a:lnTo>
                    <a:lnTo>
                      <a:pt x="1258" y="1573"/>
                    </a:lnTo>
                    <a:lnTo>
                      <a:pt x="1256" y="1573"/>
                    </a:lnTo>
                    <a:lnTo>
                      <a:pt x="1254" y="1575"/>
                    </a:lnTo>
                    <a:lnTo>
                      <a:pt x="1254" y="1573"/>
                    </a:lnTo>
                    <a:lnTo>
                      <a:pt x="1254" y="1572"/>
                    </a:lnTo>
                    <a:lnTo>
                      <a:pt x="1254" y="1570"/>
                    </a:lnTo>
                    <a:lnTo>
                      <a:pt x="1256" y="1568"/>
                    </a:lnTo>
                    <a:lnTo>
                      <a:pt x="1256" y="1570"/>
                    </a:lnTo>
                    <a:lnTo>
                      <a:pt x="1258" y="1570"/>
                    </a:lnTo>
                    <a:lnTo>
                      <a:pt x="1259" y="1570"/>
                    </a:lnTo>
                    <a:lnTo>
                      <a:pt x="1259" y="1572"/>
                    </a:lnTo>
                    <a:lnTo>
                      <a:pt x="1259" y="1573"/>
                    </a:lnTo>
                    <a:lnTo>
                      <a:pt x="1261" y="1573"/>
                    </a:lnTo>
                    <a:lnTo>
                      <a:pt x="1263" y="1573"/>
                    </a:lnTo>
                    <a:lnTo>
                      <a:pt x="1261" y="1573"/>
                    </a:lnTo>
                    <a:lnTo>
                      <a:pt x="1261" y="1572"/>
                    </a:lnTo>
                    <a:lnTo>
                      <a:pt x="1259" y="1570"/>
                    </a:lnTo>
                    <a:lnTo>
                      <a:pt x="1261" y="1570"/>
                    </a:lnTo>
                    <a:lnTo>
                      <a:pt x="1261" y="1572"/>
                    </a:lnTo>
                    <a:lnTo>
                      <a:pt x="1263" y="1572"/>
                    </a:lnTo>
                    <a:lnTo>
                      <a:pt x="1261" y="1572"/>
                    </a:lnTo>
                    <a:lnTo>
                      <a:pt x="1261" y="1570"/>
                    </a:lnTo>
                    <a:lnTo>
                      <a:pt x="1263" y="1570"/>
                    </a:lnTo>
                    <a:lnTo>
                      <a:pt x="1263" y="1568"/>
                    </a:lnTo>
                    <a:lnTo>
                      <a:pt x="1263" y="1570"/>
                    </a:lnTo>
                    <a:lnTo>
                      <a:pt x="1264" y="1568"/>
                    </a:lnTo>
                    <a:lnTo>
                      <a:pt x="1266" y="1568"/>
                    </a:lnTo>
                    <a:lnTo>
                      <a:pt x="1264" y="1566"/>
                    </a:lnTo>
                    <a:lnTo>
                      <a:pt x="1266" y="1565"/>
                    </a:lnTo>
                    <a:close/>
                    <a:moveTo>
                      <a:pt x="1152" y="1252"/>
                    </a:moveTo>
                    <a:lnTo>
                      <a:pt x="1154" y="1253"/>
                    </a:lnTo>
                    <a:lnTo>
                      <a:pt x="1152" y="1255"/>
                    </a:lnTo>
                    <a:lnTo>
                      <a:pt x="1154" y="1255"/>
                    </a:lnTo>
                    <a:lnTo>
                      <a:pt x="1152" y="1255"/>
                    </a:lnTo>
                    <a:lnTo>
                      <a:pt x="1151" y="1255"/>
                    </a:lnTo>
                    <a:lnTo>
                      <a:pt x="1152" y="1255"/>
                    </a:lnTo>
                    <a:lnTo>
                      <a:pt x="1152" y="1257"/>
                    </a:lnTo>
                    <a:lnTo>
                      <a:pt x="1152" y="1259"/>
                    </a:lnTo>
                    <a:lnTo>
                      <a:pt x="1152" y="1257"/>
                    </a:lnTo>
                    <a:lnTo>
                      <a:pt x="1152" y="1255"/>
                    </a:lnTo>
                    <a:lnTo>
                      <a:pt x="1154" y="1255"/>
                    </a:lnTo>
                    <a:lnTo>
                      <a:pt x="1154" y="1257"/>
                    </a:lnTo>
                    <a:lnTo>
                      <a:pt x="1152" y="1259"/>
                    </a:lnTo>
                    <a:lnTo>
                      <a:pt x="1152" y="1260"/>
                    </a:lnTo>
                    <a:lnTo>
                      <a:pt x="1152" y="1259"/>
                    </a:lnTo>
                    <a:lnTo>
                      <a:pt x="1154" y="1259"/>
                    </a:lnTo>
                    <a:lnTo>
                      <a:pt x="1156" y="1259"/>
                    </a:lnTo>
                    <a:lnTo>
                      <a:pt x="1154" y="1259"/>
                    </a:lnTo>
                    <a:lnTo>
                      <a:pt x="1154" y="1260"/>
                    </a:lnTo>
                    <a:lnTo>
                      <a:pt x="1156" y="1260"/>
                    </a:lnTo>
                    <a:lnTo>
                      <a:pt x="1156" y="1262"/>
                    </a:lnTo>
                    <a:lnTo>
                      <a:pt x="1154" y="1262"/>
                    </a:lnTo>
                    <a:lnTo>
                      <a:pt x="1154" y="1264"/>
                    </a:lnTo>
                    <a:lnTo>
                      <a:pt x="1156" y="1262"/>
                    </a:lnTo>
                    <a:lnTo>
                      <a:pt x="1156" y="1264"/>
                    </a:lnTo>
                    <a:lnTo>
                      <a:pt x="1157" y="1264"/>
                    </a:lnTo>
                    <a:lnTo>
                      <a:pt x="1157" y="1265"/>
                    </a:lnTo>
                    <a:lnTo>
                      <a:pt x="1156" y="1265"/>
                    </a:lnTo>
                    <a:lnTo>
                      <a:pt x="1156" y="1267"/>
                    </a:lnTo>
                    <a:lnTo>
                      <a:pt x="1157" y="1265"/>
                    </a:lnTo>
                    <a:lnTo>
                      <a:pt x="1157" y="1267"/>
                    </a:lnTo>
                    <a:lnTo>
                      <a:pt x="1157" y="1269"/>
                    </a:lnTo>
                    <a:lnTo>
                      <a:pt x="1159" y="1269"/>
                    </a:lnTo>
                    <a:lnTo>
                      <a:pt x="1159" y="1270"/>
                    </a:lnTo>
                    <a:lnTo>
                      <a:pt x="1159" y="1272"/>
                    </a:lnTo>
                    <a:lnTo>
                      <a:pt x="1157" y="1272"/>
                    </a:lnTo>
                    <a:lnTo>
                      <a:pt x="1159" y="1272"/>
                    </a:lnTo>
                    <a:lnTo>
                      <a:pt x="1157" y="1272"/>
                    </a:lnTo>
                    <a:lnTo>
                      <a:pt x="1157" y="1274"/>
                    </a:lnTo>
                    <a:lnTo>
                      <a:pt x="1159" y="1272"/>
                    </a:lnTo>
                    <a:lnTo>
                      <a:pt x="1159" y="1270"/>
                    </a:lnTo>
                    <a:lnTo>
                      <a:pt x="1161" y="1272"/>
                    </a:lnTo>
                    <a:lnTo>
                      <a:pt x="1161" y="1274"/>
                    </a:lnTo>
                    <a:lnTo>
                      <a:pt x="1162" y="1274"/>
                    </a:lnTo>
                    <a:lnTo>
                      <a:pt x="1161" y="1276"/>
                    </a:lnTo>
                    <a:lnTo>
                      <a:pt x="1161" y="1274"/>
                    </a:lnTo>
                    <a:lnTo>
                      <a:pt x="1161" y="1276"/>
                    </a:lnTo>
                    <a:lnTo>
                      <a:pt x="1159" y="1276"/>
                    </a:lnTo>
                    <a:lnTo>
                      <a:pt x="1161" y="1276"/>
                    </a:lnTo>
                    <a:lnTo>
                      <a:pt x="1159" y="1277"/>
                    </a:lnTo>
                    <a:lnTo>
                      <a:pt x="1161" y="1276"/>
                    </a:lnTo>
                    <a:lnTo>
                      <a:pt x="1162" y="1276"/>
                    </a:lnTo>
                    <a:lnTo>
                      <a:pt x="1162" y="1277"/>
                    </a:lnTo>
                    <a:lnTo>
                      <a:pt x="1161" y="1277"/>
                    </a:lnTo>
                    <a:lnTo>
                      <a:pt x="1162" y="1279"/>
                    </a:lnTo>
                    <a:lnTo>
                      <a:pt x="1162" y="1281"/>
                    </a:lnTo>
                    <a:lnTo>
                      <a:pt x="1162" y="1282"/>
                    </a:lnTo>
                    <a:lnTo>
                      <a:pt x="1161" y="1282"/>
                    </a:lnTo>
                    <a:lnTo>
                      <a:pt x="1159" y="1284"/>
                    </a:lnTo>
                    <a:lnTo>
                      <a:pt x="1161" y="1284"/>
                    </a:lnTo>
                    <a:lnTo>
                      <a:pt x="1159" y="1284"/>
                    </a:lnTo>
                    <a:lnTo>
                      <a:pt x="1159" y="1286"/>
                    </a:lnTo>
                    <a:lnTo>
                      <a:pt x="1157" y="1286"/>
                    </a:lnTo>
                    <a:lnTo>
                      <a:pt x="1156" y="1286"/>
                    </a:lnTo>
                    <a:lnTo>
                      <a:pt x="1156" y="1284"/>
                    </a:lnTo>
                    <a:lnTo>
                      <a:pt x="1157" y="1284"/>
                    </a:lnTo>
                    <a:lnTo>
                      <a:pt x="1156" y="1284"/>
                    </a:lnTo>
                    <a:lnTo>
                      <a:pt x="1157" y="1282"/>
                    </a:lnTo>
                    <a:lnTo>
                      <a:pt x="1159" y="1282"/>
                    </a:lnTo>
                    <a:lnTo>
                      <a:pt x="1157" y="1282"/>
                    </a:lnTo>
                    <a:lnTo>
                      <a:pt x="1156" y="1284"/>
                    </a:lnTo>
                    <a:lnTo>
                      <a:pt x="1156" y="1282"/>
                    </a:lnTo>
                    <a:lnTo>
                      <a:pt x="1156" y="1281"/>
                    </a:lnTo>
                    <a:lnTo>
                      <a:pt x="1157" y="1281"/>
                    </a:lnTo>
                    <a:lnTo>
                      <a:pt x="1156" y="1281"/>
                    </a:lnTo>
                    <a:lnTo>
                      <a:pt x="1154" y="1281"/>
                    </a:lnTo>
                    <a:lnTo>
                      <a:pt x="1156" y="1279"/>
                    </a:lnTo>
                    <a:lnTo>
                      <a:pt x="1154" y="1279"/>
                    </a:lnTo>
                    <a:lnTo>
                      <a:pt x="1154" y="1277"/>
                    </a:lnTo>
                    <a:lnTo>
                      <a:pt x="1156" y="1277"/>
                    </a:lnTo>
                    <a:lnTo>
                      <a:pt x="1154" y="1277"/>
                    </a:lnTo>
                    <a:lnTo>
                      <a:pt x="1154" y="1276"/>
                    </a:lnTo>
                    <a:lnTo>
                      <a:pt x="1154" y="1274"/>
                    </a:lnTo>
                    <a:lnTo>
                      <a:pt x="1156" y="1274"/>
                    </a:lnTo>
                    <a:lnTo>
                      <a:pt x="1156" y="1272"/>
                    </a:lnTo>
                    <a:lnTo>
                      <a:pt x="1157" y="1272"/>
                    </a:lnTo>
                    <a:lnTo>
                      <a:pt x="1156" y="1270"/>
                    </a:lnTo>
                    <a:lnTo>
                      <a:pt x="1156" y="1272"/>
                    </a:lnTo>
                    <a:lnTo>
                      <a:pt x="1154" y="1272"/>
                    </a:lnTo>
                    <a:lnTo>
                      <a:pt x="1154" y="1270"/>
                    </a:lnTo>
                    <a:lnTo>
                      <a:pt x="1154" y="1272"/>
                    </a:lnTo>
                    <a:lnTo>
                      <a:pt x="1154" y="1270"/>
                    </a:lnTo>
                    <a:lnTo>
                      <a:pt x="1154" y="1269"/>
                    </a:lnTo>
                    <a:lnTo>
                      <a:pt x="1156" y="1269"/>
                    </a:lnTo>
                    <a:lnTo>
                      <a:pt x="1156" y="1267"/>
                    </a:lnTo>
                    <a:lnTo>
                      <a:pt x="1156" y="1269"/>
                    </a:lnTo>
                    <a:lnTo>
                      <a:pt x="1154" y="1269"/>
                    </a:lnTo>
                    <a:lnTo>
                      <a:pt x="1152" y="1270"/>
                    </a:lnTo>
                    <a:lnTo>
                      <a:pt x="1151" y="1272"/>
                    </a:lnTo>
                    <a:lnTo>
                      <a:pt x="1151" y="1270"/>
                    </a:lnTo>
                    <a:lnTo>
                      <a:pt x="1151" y="1272"/>
                    </a:lnTo>
                    <a:lnTo>
                      <a:pt x="1149" y="1272"/>
                    </a:lnTo>
                    <a:lnTo>
                      <a:pt x="1147" y="1272"/>
                    </a:lnTo>
                    <a:lnTo>
                      <a:pt x="1149" y="1272"/>
                    </a:lnTo>
                    <a:lnTo>
                      <a:pt x="1147" y="1272"/>
                    </a:lnTo>
                    <a:lnTo>
                      <a:pt x="1145" y="1270"/>
                    </a:lnTo>
                    <a:lnTo>
                      <a:pt x="1145" y="1269"/>
                    </a:lnTo>
                    <a:lnTo>
                      <a:pt x="1147" y="1269"/>
                    </a:lnTo>
                    <a:lnTo>
                      <a:pt x="1149" y="1269"/>
                    </a:lnTo>
                    <a:lnTo>
                      <a:pt x="1151" y="1269"/>
                    </a:lnTo>
                    <a:lnTo>
                      <a:pt x="1152" y="1269"/>
                    </a:lnTo>
                    <a:lnTo>
                      <a:pt x="1152" y="1267"/>
                    </a:lnTo>
                    <a:lnTo>
                      <a:pt x="1151" y="1269"/>
                    </a:lnTo>
                    <a:lnTo>
                      <a:pt x="1151" y="1267"/>
                    </a:lnTo>
                    <a:lnTo>
                      <a:pt x="1152" y="1267"/>
                    </a:lnTo>
                    <a:lnTo>
                      <a:pt x="1152" y="1265"/>
                    </a:lnTo>
                    <a:lnTo>
                      <a:pt x="1151" y="1267"/>
                    </a:lnTo>
                    <a:lnTo>
                      <a:pt x="1151" y="1265"/>
                    </a:lnTo>
                    <a:lnTo>
                      <a:pt x="1152" y="1264"/>
                    </a:lnTo>
                    <a:lnTo>
                      <a:pt x="1152" y="1262"/>
                    </a:lnTo>
                    <a:lnTo>
                      <a:pt x="1151" y="1264"/>
                    </a:lnTo>
                    <a:lnTo>
                      <a:pt x="1151" y="1265"/>
                    </a:lnTo>
                    <a:lnTo>
                      <a:pt x="1151" y="1267"/>
                    </a:lnTo>
                    <a:lnTo>
                      <a:pt x="1149" y="1267"/>
                    </a:lnTo>
                    <a:lnTo>
                      <a:pt x="1151" y="1269"/>
                    </a:lnTo>
                    <a:lnTo>
                      <a:pt x="1149" y="1269"/>
                    </a:lnTo>
                    <a:lnTo>
                      <a:pt x="1149" y="1267"/>
                    </a:lnTo>
                    <a:lnTo>
                      <a:pt x="1149" y="1269"/>
                    </a:lnTo>
                    <a:lnTo>
                      <a:pt x="1147" y="1269"/>
                    </a:lnTo>
                    <a:lnTo>
                      <a:pt x="1147" y="1267"/>
                    </a:lnTo>
                    <a:lnTo>
                      <a:pt x="1149" y="1267"/>
                    </a:lnTo>
                    <a:lnTo>
                      <a:pt x="1149" y="1265"/>
                    </a:lnTo>
                    <a:lnTo>
                      <a:pt x="1149" y="1264"/>
                    </a:lnTo>
                    <a:lnTo>
                      <a:pt x="1151" y="1262"/>
                    </a:lnTo>
                    <a:lnTo>
                      <a:pt x="1149" y="1264"/>
                    </a:lnTo>
                    <a:lnTo>
                      <a:pt x="1149" y="1262"/>
                    </a:lnTo>
                    <a:lnTo>
                      <a:pt x="1151" y="1262"/>
                    </a:lnTo>
                    <a:lnTo>
                      <a:pt x="1151" y="1260"/>
                    </a:lnTo>
                    <a:lnTo>
                      <a:pt x="1149" y="1262"/>
                    </a:lnTo>
                    <a:lnTo>
                      <a:pt x="1149" y="1264"/>
                    </a:lnTo>
                    <a:lnTo>
                      <a:pt x="1147" y="1264"/>
                    </a:lnTo>
                    <a:lnTo>
                      <a:pt x="1145" y="1262"/>
                    </a:lnTo>
                    <a:lnTo>
                      <a:pt x="1147" y="1262"/>
                    </a:lnTo>
                    <a:lnTo>
                      <a:pt x="1147" y="1260"/>
                    </a:lnTo>
                    <a:lnTo>
                      <a:pt x="1145" y="1260"/>
                    </a:lnTo>
                    <a:lnTo>
                      <a:pt x="1145" y="1259"/>
                    </a:lnTo>
                    <a:lnTo>
                      <a:pt x="1144" y="1257"/>
                    </a:lnTo>
                    <a:lnTo>
                      <a:pt x="1145" y="1255"/>
                    </a:lnTo>
                    <a:lnTo>
                      <a:pt x="1147" y="1255"/>
                    </a:lnTo>
                    <a:lnTo>
                      <a:pt x="1147" y="1253"/>
                    </a:lnTo>
                    <a:lnTo>
                      <a:pt x="1147" y="1255"/>
                    </a:lnTo>
                    <a:lnTo>
                      <a:pt x="1147" y="1253"/>
                    </a:lnTo>
                    <a:lnTo>
                      <a:pt x="1149" y="1255"/>
                    </a:lnTo>
                    <a:lnTo>
                      <a:pt x="1149" y="1253"/>
                    </a:lnTo>
                    <a:lnTo>
                      <a:pt x="1149" y="1255"/>
                    </a:lnTo>
                    <a:lnTo>
                      <a:pt x="1149" y="1253"/>
                    </a:lnTo>
                    <a:lnTo>
                      <a:pt x="1149" y="1255"/>
                    </a:lnTo>
                    <a:lnTo>
                      <a:pt x="1149" y="1253"/>
                    </a:lnTo>
                    <a:lnTo>
                      <a:pt x="1151" y="1253"/>
                    </a:lnTo>
                    <a:lnTo>
                      <a:pt x="1149" y="1255"/>
                    </a:lnTo>
                    <a:lnTo>
                      <a:pt x="1149" y="1257"/>
                    </a:lnTo>
                    <a:lnTo>
                      <a:pt x="1149" y="1255"/>
                    </a:lnTo>
                    <a:lnTo>
                      <a:pt x="1151" y="1255"/>
                    </a:lnTo>
                    <a:lnTo>
                      <a:pt x="1151" y="1253"/>
                    </a:lnTo>
                    <a:lnTo>
                      <a:pt x="1151" y="1252"/>
                    </a:lnTo>
                    <a:lnTo>
                      <a:pt x="1152" y="1252"/>
                    </a:lnTo>
                    <a:close/>
                    <a:moveTo>
                      <a:pt x="1176" y="1393"/>
                    </a:moveTo>
                    <a:lnTo>
                      <a:pt x="1176" y="1395"/>
                    </a:lnTo>
                    <a:lnTo>
                      <a:pt x="1176" y="1393"/>
                    </a:lnTo>
                    <a:lnTo>
                      <a:pt x="1178" y="1393"/>
                    </a:lnTo>
                    <a:lnTo>
                      <a:pt x="1178" y="1395"/>
                    </a:lnTo>
                    <a:lnTo>
                      <a:pt x="1179" y="1393"/>
                    </a:lnTo>
                    <a:lnTo>
                      <a:pt x="1179" y="1395"/>
                    </a:lnTo>
                    <a:lnTo>
                      <a:pt x="1181" y="1395"/>
                    </a:lnTo>
                    <a:lnTo>
                      <a:pt x="1181" y="1396"/>
                    </a:lnTo>
                    <a:lnTo>
                      <a:pt x="1181" y="1395"/>
                    </a:lnTo>
                    <a:lnTo>
                      <a:pt x="1183" y="1396"/>
                    </a:lnTo>
                    <a:lnTo>
                      <a:pt x="1181" y="1398"/>
                    </a:lnTo>
                    <a:lnTo>
                      <a:pt x="1181" y="1396"/>
                    </a:lnTo>
                    <a:lnTo>
                      <a:pt x="1181" y="1398"/>
                    </a:lnTo>
                    <a:lnTo>
                      <a:pt x="1181" y="1400"/>
                    </a:lnTo>
                    <a:lnTo>
                      <a:pt x="1179" y="1400"/>
                    </a:lnTo>
                    <a:lnTo>
                      <a:pt x="1181" y="1400"/>
                    </a:lnTo>
                    <a:lnTo>
                      <a:pt x="1181" y="1398"/>
                    </a:lnTo>
                    <a:lnTo>
                      <a:pt x="1183" y="1398"/>
                    </a:lnTo>
                    <a:lnTo>
                      <a:pt x="1183" y="1400"/>
                    </a:lnTo>
                    <a:lnTo>
                      <a:pt x="1183" y="1401"/>
                    </a:lnTo>
                    <a:lnTo>
                      <a:pt x="1183" y="1403"/>
                    </a:lnTo>
                    <a:lnTo>
                      <a:pt x="1181" y="1403"/>
                    </a:lnTo>
                    <a:lnTo>
                      <a:pt x="1183" y="1403"/>
                    </a:lnTo>
                    <a:lnTo>
                      <a:pt x="1183" y="1405"/>
                    </a:lnTo>
                    <a:lnTo>
                      <a:pt x="1183" y="1403"/>
                    </a:lnTo>
                    <a:lnTo>
                      <a:pt x="1183" y="1405"/>
                    </a:lnTo>
                    <a:lnTo>
                      <a:pt x="1183" y="1403"/>
                    </a:lnTo>
                    <a:lnTo>
                      <a:pt x="1183" y="1405"/>
                    </a:lnTo>
                    <a:lnTo>
                      <a:pt x="1183" y="1407"/>
                    </a:lnTo>
                    <a:lnTo>
                      <a:pt x="1183" y="1405"/>
                    </a:lnTo>
                    <a:lnTo>
                      <a:pt x="1185" y="1407"/>
                    </a:lnTo>
                    <a:lnTo>
                      <a:pt x="1185" y="1408"/>
                    </a:lnTo>
                    <a:lnTo>
                      <a:pt x="1185" y="1410"/>
                    </a:lnTo>
                    <a:lnTo>
                      <a:pt x="1185" y="1412"/>
                    </a:lnTo>
                    <a:lnTo>
                      <a:pt x="1183" y="1410"/>
                    </a:lnTo>
                    <a:lnTo>
                      <a:pt x="1185" y="1412"/>
                    </a:lnTo>
                    <a:lnTo>
                      <a:pt x="1183" y="1412"/>
                    </a:lnTo>
                    <a:lnTo>
                      <a:pt x="1183" y="1410"/>
                    </a:lnTo>
                    <a:lnTo>
                      <a:pt x="1181" y="1408"/>
                    </a:lnTo>
                    <a:lnTo>
                      <a:pt x="1181" y="1407"/>
                    </a:lnTo>
                    <a:lnTo>
                      <a:pt x="1179" y="1407"/>
                    </a:lnTo>
                    <a:lnTo>
                      <a:pt x="1179" y="1408"/>
                    </a:lnTo>
                    <a:lnTo>
                      <a:pt x="1181" y="1408"/>
                    </a:lnTo>
                    <a:lnTo>
                      <a:pt x="1181" y="1410"/>
                    </a:lnTo>
                    <a:lnTo>
                      <a:pt x="1181" y="1412"/>
                    </a:lnTo>
                    <a:lnTo>
                      <a:pt x="1179" y="1412"/>
                    </a:lnTo>
                    <a:lnTo>
                      <a:pt x="1179" y="1410"/>
                    </a:lnTo>
                    <a:lnTo>
                      <a:pt x="1179" y="1412"/>
                    </a:lnTo>
                    <a:lnTo>
                      <a:pt x="1181" y="1412"/>
                    </a:lnTo>
                    <a:lnTo>
                      <a:pt x="1181" y="1413"/>
                    </a:lnTo>
                    <a:lnTo>
                      <a:pt x="1183" y="1413"/>
                    </a:lnTo>
                    <a:lnTo>
                      <a:pt x="1185" y="1415"/>
                    </a:lnTo>
                    <a:lnTo>
                      <a:pt x="1185" y="1417"/>
                    </a:lnTo>
                    <a:lnTo>
                      <a:pt x="1185" y="1418"/>
                    </a:lnTo>
                    <a:lnTo>
                      <a:pt x="1183" y="1418"/>
                    </a:lnTo>
                    <a:lnTo>
                      <a:pt x="1183" y="1417"/>
                    </a:lnTo>
                    <a:lnTo>
                      <a:pt x="1181" y="1417"/>
                    </a:lnTo>
                    <a:lnTo>
                      <a:pt x="1183" y="1418"/>
                    </a:lnTo>
                    <a:lnTo>
                      <a:pt x="1183" y="1420"/>
                    </a:lnTo>
                    <a:lnTo>
                      <a:pt x="1183" y="1418"/>
                    </a:lnTo>
                    <a:lnTo>
                      <a:pt x="1181" y="1418"/>
                    </a:lnTo>
                    <a:lnTo>
                      <a:pt x="1181" y="1417"/>
                    </a:lnTo>
                    <a:lnTo>
                      <a:pt x="1179" y="1418"/>
                    </a:lnTo>
                    <a:lnTo>
                      <a:pt x="1181" y="1418"/>
                    </a:lnTo>
                    <a:lnTo>
                      <a:pt x="1183" y="1420"/>
                    </a:lnTo>
                    <a:lnTo>
                      <a:pt x="1183" y="1422"/>
                    </a:lnTo>
                    <a:lnTo>
                      <a:pt x="1181" y="1422"/>
                    </a:lnTo>
                    <a:lnTo>
                      <a:pt x="1181" y="1420"/>
                    </a:lnTo>
                    <a:lnTo>
                      <a:pt x="1181" y="1418"/>
                    </a:lnTo>
                    <a:lnTo>
                      <a:pt x="1179" y="1420"/>
                    </a:lnTo>
                    <a:lnTo>
                      <a:pt x="1179" y="1418"/>
                    </a:lnTo>
                    <a:lnTo>
                      <a:pt x="1178" y="1420"/>
                    </a:lnTo>
                    <a:lnTo>
                      <a:pt x="1178" y="1418"/>
                    </a:lnTo>
                    <a:lnTo>
                      <a:pt x="1179" y="1418"/>
                    </a:lnTo>
                    <a:lnTo>
                      <a:pt x="1179" y="1417"/>
                    </a:lnTo>
                    <a:lnTo>
                      <a:pt x="1178" y="1417"/>
                    </a:lnTo>
                    <a:lnTo>
                      <a:pt x="1178" y="1415"/>
                    </a:lnTo>
                    <a:lnTo>
                      <a:pt x="1176" y="1413"/>
                    </a:lnTo>
                    <a:lnTo>
                      <a:pt x="1178" y="1412"/>
                    </a:lnTo>
                    <a:lnTo>
                      <a:pt x="1176" y="1412"/>
                    </a:lnTo>
                    <a:lnTo>
                      <a:pt x="1176" y="1410"/>
                    </a:lnTo>
                    <a:lnTo>
                      <a:pt x="1178" y="1410"/>
                    </a:lnTo>
                    <a:lnTo>
                      <a:pt x="1179" y="1410"/>
                    </a:lnTo>
                    <a:lnTo>
                      <a:pt x="1179" y="1408"/>
                    </a:lnTo>
                    <a:lnTo>
                      <a:pt x="1179" y="1410"/>
                    </a:lnTo>
                    <a:lnTo>
                      <a:pt x="1178" y="1410"/>
                    </a:lnTo>
                    <a:lnTo>
                      <a:pt x="1176" y="1410"/>
                    </a:lnTo>
                    <a:lnTo>
                      <a:pt x="1176" y="1408"/>
                    </a:lnTo>
                    <a:lnTo>
                      <a:pt x="1176" y="1410"/>
                    </a:lnTo>
                    <a:lnTo>
                      <a:pt x="1176" y="1412"/>
                    </a:lnTo>
                    <a:lnTo>
                      <a:pt x="1174" y="1413"/>
                    </a:lnTo>
                    <a:lnTo>
                      <a:pt x="1174" y="1412"/>
                    </a:lnTo>
                    <a:lnTo>
                      <a:pt x="1174" y="1413"/>
                    </a:lnTo>
                    <a:lnTo>
                      <a:pt x="1173" y="1413"/>
                    </a:lnTo>
                    <a:lnTo>
                      <a:pt x="1171" y="1413"/>
                    </a:lnTo>
                    <a:lnTo>
                      <a:pt x="1173" y="1412"/>
                    </a:lnTo>
                    <a:lnTo>
                      <a:pt x="1171" y="1412"/>
                    </a:lnTo>
                    <a:lnTo>
                      <a:pt x="1173" y="1412"/>
                    </a:lnTo>
                    <a:lnTo>
                      <a:pt x="1173" y="1410"/>
                    </a:lnTo>
                    <a:lnTo>
                      <a:pt x="1171" y="1410"/>
                    </a:lnTo>
                    <a:lnTo>
                      <a:pt x="1173" y="1410"/>
                    </a:lnTo>
                    <a:lnTo>
                      <a:pt x="1174" y="1410"/>
                    </a:lnTo>
                    <a:lnTo>
                      <a:pt x="1174" y="1408"/>
                    </a:lnTo>
                    <a:lnTo>
                      <a:pt x="1176" y="1408"/>
                    </a:lnTo>
                    <a:lnTo>
                      <a:pt x="1176" y="1407"/>
                    </a:lnTo>
                    <a:lnTo>
                      <a:pt x="1176" y="1405"/>
                    </a:lnTo>
                    <a:lnTo>
                      <a:pt x="1176" y="1407"/>
                    </a:lnTo>
                    <a:lnTo>
                      <a:pt x="1174" y="1407"/>
                    </a:lnTo>
                    <a:lnTo>
                      <a:pt x="1174" y="1408"/>
                    </a:lnTo>
                    <a:lnTo>
                      <a:pt x="1173" y="1408"/>
                    </a:lnTo>
                    <a:lnTo>
                      <a:pt x="1171" y="1408"/>
                    </a:lnTo>
                    <a:lnTo>
                      <a:pt x="1171" y="1407"/>
                    </a:lnTo>
                    <a:lnTo>
                      <a:pt x="1171" y="1408"/>
                    </a:lnTo>
                    <a:lnTo>
                      <a:pt x="1169" y="1408"/>
                    </a:lnTo>
                    <a:lnTo>
                      <a:pt x="1171" y="1408"/>
                    </a:lnTo>
                    <a:lnTo>
                      <a:pt x="1171" y="1410"/>
                    </a:lnTo>
                    <a:lnTo>
                      <a:pt x="1169" y="1412"/>
                    </a:lnTo>
                    <a:lnTo>
                      <a:pt x="1168" y="1412"/>
                    </a:lnTo>
                    <a:lnTo>
                      <a:pt x="1169" y="1410"/>
                    </a:lnTo>
                    <a:lnTo>
                      <a:pt x="1168" y="1410"/>
                    </a:lnTo>
                    <a:lnTo>
                      <a:pt x="1168" y="1412"/>
                    </a:lnTo>
                    <a:lnTo>
                      <a:pt x="1166" y="1410"/>
                    </a:lnTo>
                    <a:lnTo>
                      <a:pt x="1168" y="1410"/>
                    </a:lnTo>
                    <a:lnTo>
                      <a:pt x="1168" y="1408"/>
                    </a:lnTo>
                    <a:lnTo>
                      <a:pt x="1169" y="1407"/>
                    </a:lnTo>
                    <a:lnTo>
                      <a:pt x="1168" y="1407"/>
                    </a:lnTo>
                    <a:lnTo>
                      <a:pt x="1169" y="1407"/>
                    </a:lnTo>
                    <a:lnTo>
                      <a:pt x="1171" y="1407"/>
                    </a:lnTo>
                    <a:lnTo>
                      <a:pt x="1169" y="1407"/>
                    </a:lnTo>
                    <a:lnTo>
                      <a:pt x="1168" y="1407"/>
                    </a:lnTo>
                    <a:lnTo>
                      <a:pt x="1166" y="1407"/>
                    </a:lnTo>
                    <a:lnTo>
                      <a:pt x="1168" y="1405"/>
                    </a:lnTo>
                    <a:lnTo>
                      <a:pt x="1169" y="1405"/>
                    </a:lnTo>
                    <a:lnTo>
                      <a:pt x="1168" y="1405"/>
                    </a:lnTo>
                    <a:lnTo>
                      <a:pt x="1166" y="1405"/>
                    </a:lnTo>
                    <a:lnTo>
                      <a:pt x="1166" y="1407"/>
                    </a:lnTo>
                    <a:lnTo>
                      <a:pt x="1164" y="1407"/>
                    </a:lnTo>
                    <a:lnTo>
                      <a:pt x="1164" y="1405"/>
                    </a:lnTo>
                    <a:lnTo>
                      <a:pt x="1164" y="1403"/>
                    </a:lnTo>
                    <a:lnTo>
                      <a:pt x="1166" y="1403"/>
                    </a:lnTo>
                    <a:lnTo>
                      <a:pt x="1168" y="1403"/>
                    </a:lnTo>
                    <a:lnTo>
                      <a:pt x="1166" y="1403"/>
                    </a:lnTo>
                    <a:lnTo>
                      <a:pt x="1164" y="1401"/>
                    </a:lnTo>
                    <a:lnTo>
                      <a:pt x="1166" y="1401"/>
                    </a:lnTo>
                    <a:lnTo>
                      <a:pt x="1168" y="1401"/>
                    </a:lnTo>
                    <a:lnTo>
                      <a:pt x="1166" y="1401"/>
                    </a:lnTo>
                    <a:lnTo>
                      <a:pt x="1168" y="1401"/>
                    </a:lnTo>
                    <a:lnTo>
                      <a:pt x="1169" y="1401"/>
                    </a:lnTo>
                    <a:lnTo>
                      <a:pt x="1169" y="1403"/>
                    </a:lnTo>
                    <a:lnTo>
                      <a:pt x="1171" y="1403"/>
                    </a:lnTo>
                    <a:lnTo>
                      <a:pt x="1173" y="1403"/>
                    </a:lnTo>
                    <a:lnTo>
                      <a:pt x="1174" y="1403"/>
                    </a:lnTo>
                    <a:lnTo>
                      <a:pt x="1173" y="1405"/>
                    </a:lnTo>
                    <a:lnTo>
                      <a:pt x="1174" y="1405"/>
                    </a:lnTo>
                    <a:lnTo>
                      <a:pt x="1174" y="1403"/>
                    </a:lnTo>
                    <a:lnTo>
                      <a:pt x="1176" y="1403"/>
                    </a:lnTo>
                    <a:lnTo>
                      <a:pt x="1176" y="1405"/>
                    </a:lnTo>
                    <a:lnTo>
                      <a:pt x="1176" y="1403"/>
                    </a:lnTo>
                    <a:lnTo>
                      <a:pt x="1178" y="1403"/>
                    </a:lnTo>
                    <a:lnTo>
                      <a:pt x="1176" y="1401"/>
                    </a:lnTo>
                    <a:lnTo>
                      <a:pt x="1178" y="1401"/>
                    </a:lnTo>
                    <a:lnTo>
                      <a:pt x="1176" y="1401"/>
                    </a:lnTo>
                    <a:lnTo>
                      <a:pt x="1176" y="1403"/>
                    </a:lnTo>
                    <a:lnTo>
                      <a:pt x="1174" y="1401"/>
                    </a:lnTo>
                    <a:lnTo>
                      <a:pt x="1174" y="1400"/>
                    </a:lnTo>
                    <a:lnTo>
                      <a:pt x="1176" y="1400"/>
                    </a:lnTo>
                    <a:lnTo>
                      <a:pt x="1176" y="1398"/>
                    </a:lnTo>
                    <a:lnTo>
                      <a:pt x="1178" y="1400"/>
                    </a:lnTo>
                    <a:lnTo>
                      <a:pt x="1176" y="1400"/>
                    </a:lnTo>
                    <a:lnTo>
                      <a:pt x="1178" y="1400"/>
                    </a:lnTo>
                    <a:lnTo>
                      <a:pt x="1178" y="1398"/>
                    </a:lnTo>
                    <a:lnTo>
                      <a:pt x="1179" y="1398"/>
                    </a:lnTo>
                    <a:lnTo>
                      <a:pt x="1178" y="1398"/>
                    </a:lnTo>
                    <a:lnTo>
                      <a:pt x="1176" y="1398"/>
                    </a:lnTo>
                    <a:lnTo>
                      <a:pt x="1176" y="1396"/>
                    </a:lnTo>
                    <a:lnTo>
                      <a:pt x="1174" y="1396"/>
                    </a:lnTo>
                    <a:lnTo>
                      <a:pt x="1174" y="1395"/>
                    </a:lnTo>
                    <a:lnTo>
                      <a:pt x="1173" y="1395"/>
                    </a:lnTo>
                    <a:lnTo>
                      <a:pt x="1174" y="1393"/>
                    </a:lnTo>
                    <a:lnTo>
                      <a:pt x="1174" y="1391"/>
                    </a:lnTo>
                    <a:lnTo>
                      <a:pt x="1176" y="1393"/>
                    </a:lnTo>
                    <a:close/>
                    <a:moveTo>
                      <a:pt x="1173" y="1259"/>
                    </a:moveTo>
                    <a:lnTo>
                      <a:pt x="1174" y="1259"/>
                    </a:lnTo>
                    <a:lnTo>
                      <a:pt x="1174" y="1260"/>
                    </a:lnTo>
                    <a:lnTo>
                      <a:pt x="1174" y="1262"/>
                    </a:lnTo>
                    <a:lnTo>
                      <a:pt x="1173" y="1262"/>
                    </a:lnTo>
                    <a:lnTo>
                      <a:pt x="1174" y="1262"/>
                    </a:lnTo>
                    <a:lnTo>
                      <a:pt x="1174" y="1264"/>
                    </a:lnTo>
                    <a:lnTo>
                      <a:pt x="1174" y="1262"/>
                    </a:lnTo>
                    <a:lnTo>
                      <a:pt x="1176" y="1264"/>
                    </a:lnTo>
                    <a:lnTo>
                      <a:pt x="1174" y="1265"/>
                    </a:lnTo>
                    <a:lnTo>
                      <a:pt x="1176" y="1265"/>
                    </a:lnTo>
                    <a:lnTo>
                      <a:pt x="1174" y="1265"/>
                    </a:lnTo>
                    <a:lnTo>
                      <a:pt x="1176" y="1267"/>
                    </a:lnTo>
                    <a:lnTo>
                      <a:pt x="1178" y="1267"/>
                    </a:lnTo>
                    <a:lnTo>
                      <a:pt x="1178" y="1269"/>
                    </a:lnTo>
                    <a:lnTo>
                      <a:pt x="1178" y="1270"/>
                    </a:lnTo>
                    <a:lnTo>
                      <a:pt x="1178" y="1272"/>
                    </a:lnTo>
                    <a:lnTo>
                      <a:pt x="1176" y="1272"/>
                    </a:lnTo>
                    <a:lnTo>
                      <a:pt x="1174" y="1272"/>
                    </a:lnTo>
                    <a:lnTo>
                      <a:pt x="1176" y="1272"/>
                    </a:lnTo>
                    <a:lnTo>
                      <a:pt x="1176" y="1274"/>
                    </a:lnTo>
                    <a:lnTo>
                      <a:pt x="1178" y="1276"/>
                    </a:lnTo>
                    <a:lnTo>
                      <a:pt x="1178" y="1277"/>
                    </a:lnTo>
                    <a:lnTo>
                      <a:pt x="1178" y="1279"/>
                    </a:lnTo>
                    <a:lnTo>
                      <a:pt x="1178" y="1281"/>
                    </a:lnTo>
                    <a:lnTo>
                      <a:pt x="1179" y="1282"/>
                    </a:lnTo>
                    <a:lnTo>
                      <a:pt x="1179" y="1284"/>
                    </a:lnTo>
                    <a:lnTo>
                      <a:pt x="1181" y="1282"/>
                    </a:lnTo>
                    <a:lnTo>
                      <a:pt x="1179" y="1282"/>
                    </a:lnTo>
                    <a:lnTo>
                      <a:pt x="1179" y="1281"/>
                    </a:lnTo>
                    <a:lnTo>
                      <a:pt x="1181" y="1281"/>
                    </a:lnTo>
                    <a:lnTo>
                      <a:pt x="1181" y="1282"/>
                    </a:lnTo>
                    <a:lnTo>
                      <a:pt x="1181" y="1284"/>
                    </a:lnTo>
                    <a:lnTo>
                      <a:pt x="1181" y="1286"/>
                    </a:lnTo>
                    <a:lnTo>
                      <a:pt x="1179" y="1286"/>
                    </a:lnTo>
                    <a:lnTo>
                      <a:pt x="1178" y="1288"/>
                    </a:lnTo>
                    <a:lnTo>
                      <a:pt x="1178" y="1286"/>
                    </a:lnTo>
                    <a:lnTo>
                      <a:pt x="1176" y="1286"/>
                    </a:lnTo>
                    <a:lnTo>
                      <a:pt x="1176" y="1284"/>
                    </a:lnTo>
                    <a:lnTo>
                      <a:pt x="1174" y="1284"/>
                    </a:lnTo>
                    <a:lnTo>
                      <a:pt x="1173" y="1284"/>
                    </a:lnTo>
                    <a:lnTo>
                      <a:pt x="1174" y="1282"/>
                    </a:lnTo>
                    <a:lnTo>
                      <a:pt x="1173" y="1284"/>
                    </a:lnTo>
                    <a:lnTo>
                      <a:pt x="1171" y="1284"/>
                    </a:lnTo>
                    <a:lnTo>
                      <a:pt x="1169" y="1282"/>
                    </a:lnTo>
                    <a:lnTo>
                      <a:pt x="1168" y="1282"/>
                    </a:lnTo>
                    <a:lnTo>
                      <a:pt x="1166" y="1282"/>
                    </a:lnTo>
                    <a:lnTo>
                      <a:pt x="1166" y="1281"/>
                    </a:lnTo>
                    <a:lnTo>
                      <a:pt x="1166" y="1279"/>
                    </a:lnTo>
                    <a:lnTo>
                      <a:pt x="1166" y="1281"/>
                    </a:lnTo>
                    <a:lnTo>
                      <a:pt x="1166" y="1282"/>
                    </a:lnTo>
                    <a:lnTo>
                      <a:pt x="1164" y="1282"/>
                    </a:lnTo>
                    <a:lnTo>
                      <a:pt x="1164" y="1281"/>
                    </a:lnTo>
                    <a:lnTo>
                      <a:pt x="1164" y="1279"/>
                    </a:lnTo>
                    <a:lnTo>
                      <a:pt x="1164" y="1277"/>
                    </a:lnTo>
                    <a:lnTo>
                      <a:pt x="1164" y="1276"/>
                    </a:lnTo>
                    <a:lnTo>
                      <a:pt x="1164" y="1274"/>
                    </a:lnTo>
                    <a:lnTo>
                      <a:pt x="1166" y="1274"/>
                    </a:lnTo>
                    <a:lnTo>
                      <a:pt x="1166" y="1272"/>
                    </a:lnTo>
                    <a:lnTo>
                      <a:pt x="1168" y="1272"/>
                    </a:lnTo>
                    <a:lnTo>
                      <a:pt x="1168" y="1270"/>
                    </a:lnTo>
                    <a:lnTo>
                      <a:pt x="1169" y="1272"/>
                    </a:lnTo>
                    <a:lnTo>
                      <a:pt x="1169" y="1270"/>
                    </a:lnTo>
                    <a:lnTo>
                      <a:pt x="1171" y="1270"/>
                    </a:lnTo>
                    <a:lnTo>
                      <a:pt x="1171" y="1272"/>
                    </a:lnTo>
                    <a:lnTo>
                      <a:pt x="1171" y="1274"/>
                    </a:lnTo>
                    <a:lnTo>
                      <a:pt x="1171" y="1276"/>
                    </a:lnTo>
                    <a:lnTo>
                      <a:pt x="1171" y="1277"/>
                    </a:lnTo>
                    <a:lnTo>
                      <a:pt x="1171" y="1279"/>
                    </a:lnTo>
                    <a:lnTo>
                      <a:pt x="1171" y="1277"/>
                    </a:lnTo>
                    <a:lnTo>
                      <a:pt x="1171" y="1276"/>
                    </a:lnTo>
                    <a:lnTo>
                      <a:pt x="1173" y="1276"/>
                    </a:lnTo>
                    <a:lnTo>
                      <a:pt x="1173" y="1277"/>
                    </a:lnTo>
                    <a:lnTo>
                      <a:pt x="1173" y="1279"/>
                    </a:lnTo>
                    <a:lnTo>
                      <a:pt x="1173" y="1277"/>
                    </a:lnTo>
                    <a:lnTo>
                      <a:pt x="1173" y="1276"/>
                    </a:lnTo>
                    <a:lnTo>
                      <a:pt x="1174" y="1276"/>
                    </a:lnTo>
                    <a:lnTo>
                      <a:pt x="1174" y="1274"/>
                    </a:lnTo>
                    <a:lnTo>
                      <a:pt x="1174" y="1272"/>
                    </a:lnTo>
                    <a:lnTo>
                      <a:pt x="1173" y="1274"/>
                    </a:lnTo>
                    <a:lnTo>
                      <a:pt x="1173" y="1272"/>
                    </a:lnTo>
                    <a:lnTo>
                      <a:pt x="1171" y="1272"/>
                    </a:lnTo>
                    <a:lnTo>
                      <a:pt x="1171" y="1270"/>
                    </a:lnTo>
                    <a:lnTo>
                      <a:pt x="1171" y="1272"/>
                    </a:lnTo>
                    <a:lnTo>
                      <a:pt x="1173" y="1272"/>
                    </a:lnTo>
                    <a:lnTo>
                      <a:pt x="1171" y="1270"/>
                    </a:lnTo>
                    <a:lnTo>
                      <a:pt x="1171" y="1269"/>
                    </a:lnTo>
                    <a:lnTo>
                      <a:pt x="1171" y="1267"/>
                    </a:lnTo>
                    <a:lnTo>
                      <a:pt x="1171" y="1265"/>
                    </a:lnTo>
                    <a:lnTo>
                      <a:pt x="1171" y="1264"/>
                    </a:lnTo>
                    <a:lnTo>
                      <a:pt x="1173" y="1264"/>
                    </a:lnTo>
                    <a:lnTo>
                      <a:pt x="1171" y="1264"/>
                    </a:lnTo>
                    <a:lnTo>
                      <a:pt x="1173" y="1262"/>
                    </a:lnTo>
                    <a:lnTo>
                      <a:pt x="1173" y="1260"/>
                    </a:lnTo>
                    <a:lnTo>
                      <a:pt x="1173" y="1259"/>
                    </a:lnTo>
                    <a:lnTo>
                      <a:pt x="1173" y="1257"/>
                    </a:lnTo>
                    <a:lnTo>
                      <a:pt x="1173" y="1259"/>
                    </a:lnTo>
                    <a:close/>
                    <a:moveTo>
                      <a:pt x="1188" y="1466"/>
                    </a:moveTo>
                    <a:lnTo>
                      <a:pt x="1190" y="1466"/>
                    </a:lnTo>
                    <a:lnTo>
                      <a:pt x="1190" y="1468"/>
                    </a:lnTo>
                    <a:lnTo>
                      <a:pt x="1191" y="1466"/>
                    </a:lnTo>
                    <a:lnTo>
                      <a:pt x="1193" y="1466"/>
                    </a:lnTo>
                    <a:lnTo>
                      <a:pt x="1193" y="1468"/>
                    </a:lnTo>
                    <a:lnTo>
                      <a:pt x="1195" y="1468"/>
                    </a:lnTo>
                    <a:lnTo>
                      <a:pt x="1195" y="1470"/>
                    </a:lnTo>
                    <a:lnTo>
                      <a:pt x="1193" y="1471"/>
                    </a:lnTo>
                    <a:lnTo>
                      <a:pt x="1195" y="1471"/>
                    </a:lnTo>
                    <a:lnTo>
                      <a:pt x="1195" y="1470"/>
                    </a:lnTo>
                    <a:lnTo>
                      <a:pt x="1196" y="1470"/>
                    </a:lnTo>
                    <a:lnTo>
                      <a:pt x="1196" y="1471"/>
                    </a:lnTo>
                    <a:lnTo>
                      <a:pt x="1198" y="1471"/>
                    </a:lnTo>
                    <a:lnTo>
                      <a:pt x="1198" y="1473"/>
                    </a:lnTo>
                    <a:lnTo>
                      <a:pt x="1200" y="1473"/>
                    </a:lnTo>
                    <a:lnTo>
                      <a:pt x="1202" y="1475"/>
                    </a:lnTo>
                    <a:lnTo>
                      <a:pt x="1203" y="1475"/>
                    </a:lnTo>
                    <a:lnTo>
                      <a:pt x="1203" y="1476"/>
                    </a:lnTo>
                    <a:lnTo>
                      <a:pt x="1205" y="1478"/>
                    </a:lnTo>
                    <a:lnTo>
                      <a:pt x="1205" y="1480"/>
                    </a:lnTo>
                    <a:lnTo>
                      <a:pt x="1203" y="1481"/>
                    </a:lnTo>
                    <a:lnTo>
                      <a:pt x="1205" y="1481"/>
                    </a:lnTo>
                    <a:lnTo>
                      <a:pt x="1205" y="1480"/>
                    </a:lnTo>
                    <a:lnTo>
                      <a:pt x="1205" y="1481"/>
                    </a:lnTo>
                    <a:lnTo>
                      <a:pt x="1205" y="1483"/>
                    </a:lnTo>
                    <a:lnTo>
                      <a:pt x="1205" y="1485"/>
                    </a:lnTo>
                    <a:lnTo>
                      <a:pt x="1207" y="1487"/>
                    </a:lnTo>
                    <a:lnTo>
                      <a:pt x="1207" y="1488"/>
                    </a:lnTo>
                    <a:lnTo>
                      <a:pt x="1208" y="1488"/>
                    </a:lnTo>
                    <a:lnTo>
                      <a:pt x="1208" y="1490"/>
                    </a:lnTo>
                    <a:lnTo>
                      <a:pt x="1207" y="1488"/>
                    </a:lnTo>
                    <a:lnTo>
                      <a:pt x="1208" y="1490"/>
                    </a:lnTo>
                    <a:lnTo>
                      <a:pt x="1207" y="1490"/>
                    </a:lnTo>
                    <a:lnTo>
                      <a:pt x="1205" y="1490"/>
                    </a:lnTo>
                    <a:lnTo>
                      <a:pt x="1207" y="1490"/>
                    </a:lnTo>
                    <a:lnTo>
                      <a:pt x="1207" y="1492"/>
                    </a:lnTo>
                    <a:lnTo>
                      <a:pt x="1205" y="1492"/>
                    </a:lnTo>
                    <a:lnTo>
                      <a:pt x="1205" y="1493"/>
                    </a:lnTo>
                    <a:lnTo>
                      <a:pt x="1207" y="1493"/>
                    </a:lnTo>
                    <a:lnTo>
                      <a:pt x="1205" y="1493"/>
                    </a:lnTo>
                    <a:lnTo>
                      <a:pt x="1203" y="1493"/>
                    </a:lnTo>
                    <a:lnTo>
                      <a:pt x="1203" y="1492"/>
                    </a:lnTo>
                    <a:lnTo>
                      <a:pt x="1203" y="1493"/>
                    </a:lnTo>
                    <a:lnTo>
                      <a:pt x="1205" y="1493"/>
                    </a:lnTo>
                    <a:lnTo>
                      <a:pt x="1203" y="1495"/>
                    </a:lnTo>
                    <a:lnTo>
                      <a:pt x="1205" y="1495"/>
                    </a:lnTo>
                    <a:lnTo>
                      <a:pt x="1205" y="1493"/>
                    </a:lnTo>
                    <a:lnTo>
                      <a:pt x="1207" y="1495"/>
                    </a:lnTo>
                    <a:lnTo>
                      <a:pt x="1207" y="1497"/>
                    </a:lnTo>
                    <a:lnTo>
                      <a:pt x="1205" y="1497"/>
                    </a:lnTo>
                    <a:lnTo>
                      <a:pt x="1205" y="1498"/>
                    </a:lnTo>
                    <a:lnTo>
                      <a:pt x="1205" y="1500"/>
                    </a:lnTo>
                    <a:lnTo>
                      <a:pt x="1205" y="1498"/>
                    </a:lnTo>
                    <a:lnTo>
                      <a:pt x="1203" y="1500"/>
                    </a:lnTo>
                    <a:lnTo>
                      <a:pt x="1205" y="1500"/>
                    </a:lnTo>
                    <a:lnTo>
                      <a:pt x="1203" y="1500"/>
                    </a:lnTo>
                    <a:lnTo>
                      <a:pt x="1203" y="1502"/>
                    </a:lnTo>
                    <a:lnTo>
                      <a:pt x="1202" y="1502"/>
                    </a:lnTo>
                    <a:lnTo>
                      <a:pt x="1202" y="1500"/>
                    </a:lnTo>
                    <a:lnTo>
                      <a:pt x="1202" y="1502"/>
                    </a:lnTo>
                    <a:lnTo>
                      <a:pt x="1200" y="1502"/>
                    </a:lnTo>
                    <a:lnTo>
                      <a:pt x="1200" y="1504"/>
                    </a:lnTo>
                    <a:lnTo>
                      <a:pt x="1198" y="1504"/>
                    </a:lnTo>
                    <a:lnTo>
                      <a:pt x="1198" y="1502"/>
                    </a:lnTo>
                    <a:lnTo>
                      <a:pt x="1198" y="1500"/>
                    </a:lnTo>
                    <a:lnTo>
                      <a:pt x="1200" y="1500"/>
                    </a:lnTo>
                    <a:lnTo>
                      <a:pt x="1200" y="1498"/>
                    </a:lnTo>
                    <a:lnTo>
                      <a:pt x="1202" y="1497"/>
                    </a:lnTo>
                    <a:lnTo>
                      <a:pt x="1202" y="1495"/>
                    </a:lnTo>
                    <a:lnTo>
                      <a:pt x="1200" y="1497"/>
                    </a:lnTo>
                    <a:lnTo>
                      <a:pt x="1200" y="1498"/>
                    </a:lnTo>
                    <a:lnTo>
                      <a:pt x="1198" y="1498"/>
                    </a:lnTo>
                    <a:lnTo>
                      <a:pt x="1198" y="1500"/>
                    </a:lnTo>
                    <a:lnTo>
                      <a:pt x="1198" y="1498"/>
                    </a:lnTo>
                    <a:lnTo>
                      <a:pt x="1198" y="1497"/>
                    </a:lnTo>
                    <a:lnTo>
                      <a:pt x="1200" y="1495"/>
                    </a:lnTo>
                    <a:lnTo>
                      <a:pt x="1202" y="1495"/>
                    </a:lnTo>
                    <a:lnTo>
                      <a:pt x="1202" y="1493"/>
                    </a:lnTo>
                    <a:lnTo>
                      <a:pt x="1200" y="1495"/>
                    </a:lnTo>
                    <a:lnTo>
                      <a:pt x="1200" y="1493"/>
                    </a:lnTo>
                    <a:lnTo>
                      <a:pt x="1200" y="1495"/>
                    </a:lnTo>
                    <a:lnTo>
                      <a:pt x="1198" y="1495"/>
                    </a:lnTo>
                    <a:lnTo>
                      <a:pt x="1196" y="1497"/>
                    </a:lnTo>
                    <a:lnTo>
                      <a:pt x="1196" y="1495"/>
                    </a:lnTo>
                    <a:lnTo>
                      <a:pt x="1196" y="1497"/>
                    </a:lnTo>
                    <a:lnTo>
                      <a:pt x="1196" y="1498"/>
                    </a:lnTo>
                    <a:lnTo>
                      <a:pt x="1195" y="1497"/>
                    </a:lnTo>
                    <a:lnTo>
                      <a:pt x="1193" y="1497"/>
                    </a:lnTo>
                    <a:lnTo>
                      <a:pt x="1195" y="1497"/>
                    </a:lnTo>
                    <a:lnTo>
                      <a:pt x="1195" y="1495"/>
                    </a:lnTo>
                    <a:lnTo>
                      <a:pt x="1195" y="1493"/>
                    </a:lnTo>
                    <a:lnTo>
                      <a:pt x="1196" y="1493"/>
                    </a:lnTo>
                    <a:lnTo>
                      <a:pt x="1198" y="1493"/>
                    </a:lnTo>
                    <a:lnTo>
                      <a:pt x="1198" y="1492"/>
                    </a:lnTo>
                    <a:lnTo>
                      <a:pt x="1196" y="1493"/>
                    </a:lnTo>
                    <a:lnTo>
                      <a:pt x="1196" y="1492"/>
                    </a:lnTo>
                    <a:lnTo>
                      <a:pt x="1198" y="1492"/>
                    </a:lnTo>
                    <a:lnTo>
                      <a:pt x="1198" y="1490"/>
                    </a:lnTo>
                    <a:lnTo>
                      <a:pt x="1200" y="1490"/>
                    </a:lnTo>
                    <a:lnTo>
                      <a:pt x="1200" y="1488"/>
                    </a:lnTo>
                    <a:lnTo>
                      <a:pt x="1200" y="1490"/>
                    </a:lnTo>
                    <a:lnTo>
                      <a:pt x="1200" y="1492"/>
                    </a:lnTo>
                    <a:lnTo>
                      <a:pt x="1198" y="1492"/>
                    </a:lnTo>
                    <a:lnTo>
                      <a:pt x="1200" y="1490"/>
                    </a:lnTo>
                    <a:lnTo>
                      <a:pt x="1202" y="1490"/>
                    </a:lnTo>
                    <a:lnTo>
                      <a:pt x="1200" y="1490"/>
                    </a:lnTo>
                    <a:lnTo>
                      <a:pt x="1202" y="1488"/>
                    </a:lnTo>
                    <a:lnTo>
                      <a:pt x="1203" y="1487"/>
                    </a:lnTo>
                    <a:lnTo>
                      <a:pt x="1202" y="1487"/>
                    </a:lnTo>
                    <a:lnTo>
                      <a:pt x="1202" y="1488"/>
                    </a:lnTo>
                    <a:lnTo>
                      <a:pt x="1200" y="1488"/>
                    </a:lnTo>
                    <a:lnTo>
                      <a:pt x="1202" y="1487"/>
                    </a:lnTo>
                    <a:lnTo>
                      <a:pt x="1203" y="1487"/>
                    </a:lnTo>
                    <a:lnTo>
                      <a:pt x="1205" y="1487"/>
                    </a:lnTo>
                    <a:lnTo>
                      <a:pt x="1203" y="1487"/>
                    </a:lnTo>
                    <a:lnTo>
                      <a:pt x="1205" y="1487"/>
                    </a:lnTo>
                    <a:lnTo>
                      <a:pt x="1203" y="1487"/>
                    </a:lnTo>
                    <a:lnTo>
                      <a:pt x="1205" y="1485"/>
                    </a:lnTo>
                    <a:lnTo>
                      <a:pt x="1203" y="1485"/>
                    </a:lnTo>
                    <a:lnTo>
                      <a:pt x="1202" y="1485"/>
                    </a:lnTo>
                    <a:lnTo>
                      <a:pt x="1200" y="1483"/>
                    </a:lnTo>
                    <a:lnTo>
                      <a:pt x="1202" y="1483"/>
                    </a:lnTo>
                    <a:lnTo>
                      <a:pt x="1200" y="1483"/>
                    </a:lnTo>
                    <a:lnTo>
                      <a:pt x="1202" y="1483"/>
                    </a:lnTo>
                    <a:lnTo>
                      <a:pt x="1202" y="1481"/>
                    </a:lnTo>
                    <a:lnTo>
                      <a:pt x="1203" y="1481"/>
                    </a:lnTo>
                    <a:lnTo>
                      <a:pt x="1205" y="1481"/>
                    </a:lnTo>
                    <a:lnTo>
                      <a:pt x="1203" y="1481"/>
                    </a:lnTo>
                    <a:lnTo>
                      <a:pt x="1202" y="1481"/>
                    </a:lnTo>
                    <a:lnTo>
                      <a:pt x="1203" y="1480"/>
                    </a:lnTo>
                    <a:lnTo>
                      <a:pt x="1202" y="1480"/>
                    </a:lnTo>
                    <a:lnTo>
                      <a:pt x="1200" y="1480"/>
                    </a:lnTo>
                    <a:lnTo>
                      <a:pt x="1198" y="1478"/>
                    </a:lnTo>
                    <a:lnTo>
                      <a:pt x="1196" y="1476"/>
                    </a:lnTo>
                    <a:lnTo>
                      <a:pt x="1196" y="1475"/>
                    </a:lnTo>
                    <a:lnTo>
                      <a:pt x="1195" y="1475"/>
                    </a:lnTo>
                    <a:lnTo>
                      <a:pt x="1195" y="1473"/>
                    </a:lnTo>
                    <a:lnTo>
                      <a:pt x="1193" y="1473"/>
                    </a:lnTo>
                    <a:lnTo>
                      <a:pt x="1195" y="1471"/>
                    </a:lnTo>
                    <a:lnTo>
                      <a:pt x="1193" y="1471"/>
                    </a:lnTo>
                    <a:lnTo>
                      <a:pt x="1191" y="1470"/>
                    </a:lnTo>
                    <a:lnTo>
                      <a:pt x="1190" y="1468"/>
                    </a:lnTo>
                    <a:lnTo>
                      <a:pt x="1188" y="1468"/>
                    </a:lnTo>
                    <a:lnTo>
                      <a:pt x="1188" y="1466"/>
                    </a:lnTo>
                    <a:close/>
                    <a:moveTo>
                      <a:pt x="1319" y="1626"/>
                    </a:moveTo>
                    <a:lnTo>
                      <a:pt x="1321" y="1626"/>
                    </a:lnTo>
                    <a:lnTo>
                      <a:pt x="1321" y="1628"/>
                    </a:lnTo>
                    <a:lnTo>
                      <a:pt x="1319" y="1628"/>
                    </a:lnTo>
                    <a:lnTo>
                      <a:pt x="1317" y="1629"/>
                    </a:lnTo>
                    <a:lnTo>
                      <a:pt x="1319" y="1629"/>
                    </a:lnTo>
                    <a:lnTo>
                      <a:pt x="1321" y="1629"/>
                    </a:lnTo>
                    <a:lnTo>
                      <a:pt x="1321" y="1628"/>
                    </a:lnTo>
                    <a:lnTo>
                      <a:pt x="1322" y="1629"/>
                    </a:lnTo>
                    <a:lnTo>
                      <a:pt x="1322" y="1631"/>
                    </a:lnTo>
                    <a:lnTo>
                      <a:pt x="1322" y="1629"/>
                    </a:lnTo>
                    <a:lnTo>
                      <a:pt x="1324" y="1629"/>
                    </a:lnTo>
                    <a:lnTo>
                      <a:pt x="1322" y="1629"/>
                    </a:lnTo>
                    <a:lnTo>
                      <a:pt x="1324" y="1629"/>
                    </a:lnTo>
                    <a:lnTo>
                      <a:pt x="1322" y="1631"/>
                    </a:lnTo>
                    <a:lnTo>
                      <a:pt x="1321" y="1631"/>
                    </a:lnTo>
                    <a:lnTo>
                      <a:pt x="1321" y="1629"/>
                    </a:lnTo>
                    <a:lnTo>
                      <a:pt x="1319" y="1629"/>
                    </a:lnTo>
                    <a:lnTo>
                      <a:pt x="1321" y="1631"/>
                    </a:lnTo>
                    <a:lnTo>
                      <a:pt x="1321" y="1633"/>
                    </a:lnTo>
                    <a:lnTo>
                      <a:pt x="1319" y="1633"/>
                    </a:lnTo>
                    <a:lnTo>
                      <a:pt x="1317" y="1633"/>
                    </a:lnTo>
                    <a:lnTo>
                      <a:pt x="1319" y="1633"/>
                    </a:lnTo>
                    <a:lnTo>
                      <a:pt x="1317" y="1633"/>
                    </a:lnTo>
                    <a:lnTo>
                      <a:pt x="1315" y="1633"/>
                    </a:lnTo>
                    <a:lnTo>
                      <a:pt x="1315" y="1631"/>
                    </a:lnTo>
                    <a:lnTo>
                      <a:pt x="1315" y="1629"/>
                    </a:lnTo>
                    <a:lnTo>
                      <a:pt x="1314" y="1629"/>
                    </a:lnTo>
                    <a:lnTo>
                      <a:pt x="1315" y="1631"/>
                    </a:lnTo>
                    <a:lnTo>
                      <a:pt x="1314" y="1631"/>
                    </a:lnTo>
                    <a:lnTo>
                      <a:pt x="1314" y="1633"/>
                    </a:lnTo>
                    <a:lnTo>
                      <a:pt x="1312" y="1633"/>
                    </a:lnTo>
                    <a:lnTo>
                      <a:pt x="1310" y="1633"/>
                    </a:lnTo>
                    <a:lnTo>
                      <a:pt x="1312" y="1633"/>
                    </a:lnTo>
                    <a:lnTo>
                      <a:pt x="1310" y="1635"/>
                    </a:lnTo>
                    <a:lnTo>
                      <a:pt x="1309" y="1635"/>
                    </a:lnTo>
                    <a:lnTo>
                      <a:pt x="1310" y="1635"/>
                    </a:lnTo>
                    <a:lnTo>
                      <a:pt x="1309" y="1635"/>
                    </a:lnTo>
                    <a:lnTo>
                      <a:pt x="1309" y="1633"/>
                    </a:lnTo>
                    <a:lnTo>
                      <a:pt x="1307" y="1633"/>
                    </a:lnTo>
                    <a:lnTo>
                      <a:pt x="1307" y="1631"/>
                    </a:lnTo>
                    <a:lnTo>
                      <a:pt x="1307" y="1633"/>
                    </a:lnTo>
                    <a:lnTo>
                      <a:pt x="1305" y="1633"/>
                    </a:lnTo>
                    <a:lnTo>
                      <a:pt x="1307" y="1635"/>
                    </a:lnTo>
                    <a:lnTo>
                      <a:pt x="1307" y="1633"/>
                    </a:lnTo>
                    <a:lnTo>
                      <a:pt x="1309" y="1635"/>
                    </a:lnTo>
                    <a:lnTo>
                      <a:pt x="1310" y="1635"/>
                    </a:lnTo>
                    <a:lnTo>
                      <a:pt x="1310" y="1636"/>
                    </a:lnTo>
                    <a:lnTo>
                      <a:pt x="1312" y="1635"/>
                    </a:lnTo>
                    <a:lnTo>
                      <a:pt x="1314" y="1635"/>
                    </a:lnTo>
                    <a:lnTo>
                      <a:pt x="1315" y="1636"/>
                    </a:lnTo>
                    <a:lnTo>
                      <a:pt x="1314" y="1636"/>
                    </a:lnTo>
                    <a:lnTo>
                      <a:pt x="1315" y="1636"/>
                    </a:lnTo>
                    <a:lnTo>
                      <a:pt x="1314" y="1638"/>
                    </a:lnTo>
                    <a:lnTo>
                      <a:pt x="1315" y="1636"/>
                    </a:lnTo>
                    <a:lnTo>
                      <a:pt x="1317" y="1636"/>
                    </a:lnTo>
                    <a:lnTo>
                      <a:pt x="1319" y="1636"/>
                    </a:lnTo>
                    <a:lnTo>
                      <a:pt x="1321" y="1635"/>
                    </a:lnTo>
                    <a:lnTo>
                      <a:pt x="1319" y="1636"/>
                    </a:lnTo>
                    <a:lnTo>
                      <a:pt x="1321" y="1636"/>
                    </a:lnTo>
                    <a:lnTo>
                      <a:pt x="1322" y="1638"/>
                    </a:lnTo>
                    <a:lnTo>
                      <a:pt x="1321" y="1638"/>
                    </a:lnTo>
                    <a:lnTo>
                      <a:pt x="1319" y="1638"/>
                    </a:lnTo>
                    <a:lnTo>
                      <a:pt x="1321" y="1638"/>
                    </a:lnTo>
                    <a:lnTo>
                      <a:pt x="1321" y="1640"/>
                    </a:lnTo>
                    <a:lnTo>
                      <a:pt x="1322" y="1640"/>
                    </a:lnTo>
                    <a:lnTo>
                      <a:pt x="1321" y="1640"/>
                    </a:lnTo>
                    <a:lnTo>
                      <a:pt x="1322" y="1641"/>
                    </a:lnTo>
                    <a:lnTo>
                      <a:pt x="1321" y="1641"/>
                    </a:lnTo>
                    <a:lnTo>
                      <a:pt x="1321" y="1640"/>
                    </a:lnTo>
                    <a:lnTo>
                      <a:pt x="1321" y="1641"/>
                    </a:lnTo>
                    <a:lnTo>
                      <a:pt x="1319" y="1641"/>
                    </a:lnTo>
                    <a:lnTo>
                      <a:pt x="1319" y="1640"/>
                    </a:lnTo>
                    <a:lnTo>
                      <a:pt x="1317" y="1640"/>
                    </a:lnTo>
                    <a:lnTo>
                      <a:pt x="1317" y="1638"/>
                    </a:lnTo>
                    <a:lnTo>
                      <a:pt x="1317" y="1640"/>
                    </a:lnTo>
                    <a:lnTo>
                      <a:pt x="1315" y="1640"/>
                    </a:lnTo>
                    <a:lnTo>
                      <a:pt x="1317" y="1640"/>
                    </a:lnTo>
                    <a:lnTo>
                      <a:pt x="1315" y="1640"/>
                    </a:lnTo>
                    <a:lnTo>
                      <a:pt x="1315" y="1641"/>
                    </a:lnTo>
                    <a:lnTo>
                      <a:pt x="1317" y="1641"/>
                    </a:lnTo>
                    <a:lnTo>
                      <a:pt x="1319" y="1641"/>
                    </a:lnTo>
                    <a:lnTo>
                      <a:pt x="1319" y="1643"/>
                    </a:lnTo>
                    <a:lnTo>
                      <a:pt x="1317" y="1643"/>
                    </a:lnTo>
                    <a:lnTo>
                      <a:pt x="1319" y="1643"/>
                    </a:lnTo>
                    <a:lnTo>
                      <a:pt x="1317" y="1645"/>
                    </a:lnTo>
                    <a:lnTo>
                      <a:pt x="1317" y="1643"/>
                    </a:lnTo>
                    <a:lnTo>
                      <a:pt x="1315" y="1643"/>
                    </a:lnTo>
                    <a:lnTo>
                      <a:pt x="1314" y="1645"/>
                    </a:lnTo>
                    <a:lnTo>
                      <a:pt x="1315" y="1646"/>
                    </a:lnTo>
                    <a:lnTo>
                      <a:pt x="1314" y="1645"/>
                    </a:lnTo>
                    <a:lnTo>
                      <a:pt x="1314" y="1643"/>
                    </a:lnTo>
                    <a:lnTo>
                      <a:pt x="1312" y="1641"/>
                    </a:lnTo>
                    <a:lnTo>
                      <a:pt x="1312" y="1643"/>
                    </a:lnTo>
                    <a:lnTo>
                      <a:pt x="1312" y="1645"/>
                    </a:lnTo>
                    <a:lnTo>
                      <a:pt x="1314" y="1645"/>
                    </a:lnTo>
                    <a:lnTo>
                      <a:pt x="1312" y="1645"/>
                    </a:lnTo>
                    <a:lnTo>
                      <a:pt x="1310" y="1643"/>
                    </a:lnTo>
                    <a:lnTo>
                      <a:pt x="1312" y="1643"/>
                    </a:lnTo>
                    <a:lnTo>
                      <a:pt x="1312" y="1641"/>
                    </a:lnTo>
                    <a:lnTo>
                      <a:pt x="1312" y="1640"/>
                    </a:lnTo>
                    <a:lnTo>
                      <a:pt x="1314" y="1641"/>
                    </a:lnTo>
                    <a:lnTo>
                      <a:pt x="1312" y="1640"/>
                    </a:lnTo>
                    <a:lnTo>
                      <a:pt x="1314" y="1640"/>
                    </a:lnTo>
                    <a:lnTo>
                      <a:pt x="1312" y="1638"/>
                    </a:lnTo>
                    <a:lnTo>
                      <a:pt x="1312" y="1640"/>
                    </a:lnTo>
                    <a:lnTo>
                      <a:pt x="1310" y="1640"/>
                    </a:lnTo>
                    <a:lnTo>
                      <a:pt x="1310" y="1638"/>
                    </a:lnTo>
                    <a:lnTo>
                      <a:pt x="1310" y="1636"/>
                    </a:lnTo>
                    <a:lnTo>
                      <a:pt x="1312" y="1636"/>
                    </a:lnTo>
                    <a:lnTo>
                      <a:pt x="1310" y="1636"/>
                    </a:lnTo>
                    <a:lnTo>
                      <a:pt x="1309" y="1636"/>
                    </a:lnTo>
                    <a:lnTo>
                      <a:pt x="1310" y="1636"/>
                    </a:lnTo>
                    <a:lnTo>
                      <a:pt x="1310" y="1638"/>
                    </a:lnTo>
                    <a:lnTo>
                      <a:pt x="1310" y="1640"/>
                    </a:lnTo>
                    <a:lnTo>
                      <a:pt x="1310" y="1638"/>
                    </a:lnTo>
                    <a:lnTo>
                      <a:pt x="1309" y="1638"/>
                    </a:lnTo>
                    <a:lnTo>
                      <a:pt x="1309" y="1640"/>
                    </a:lnTo>
                    <a:lnTo>
                      <a:pt x="1307" y="1640"/>
                    </a:lnTo>
                    <a:lnTo>
                      <a:pt x="1307" y="1638"/>
                    </a:lnTo>
                    <a:lnTo>
                      <a:pt x="1307" y="1640"/>
                    </a:lnTo>
                    <a:lnTo>
                      <a:pt x="1307" y="1641"/>
                    </a:lnTo>
                    <a:lnTo>
                      <a:pt x="1307" y="1640"/>
                    </a:lnTo>
                    <a:lnTo>
                      <a:pt x="1305" y="1640"/>
                    </a:lnTo>
                    <a:lnTo>
                      <a:pt x="1305" y="1638"/>
                    </a:lnTo>
                    <a:lnTo>
                      <a:pt x="1305" y="1636"/>
                    </a:lnTo>
                    <a:lnTo>
                      <a:pt x="1307" y="1636"/>
                    </a:lnTo>
                    <a:lnTo>
                      <a:pt x="1305" y="1636"/>
                    </a:lnTo>
                    <a:lnTo>
                      <a:pt x="1304" y="1636"/>
                    </a:lnTo>
                    <a:lnTo>
                      <a:pt x="1304" y="1638"/>
                    </a:lnTo>
                    <a:lnTo>
                      <a:pt x="1302" y="1638"/>
                    </a:lnTo>
                    <a:lnTo>
                      <a:pt x="1302" y="1636"/>
                    </a:lnTo>
                    <a:lnTo>
                      <a:pt x="1300" y="1636"/>
                    </a:lnTo>
                    <a:lnTo>
                      <a:pt x="1300" y="1638"/>
                    </a:lnTo>
                    <a:lnTo>
                      <a:pt x="1300" y="1636"/>
                    </a:lnTo>
                    <a:lnTo>
                      <a:pt x="1298" y="1638"/>
                    </a:lnTo>
                    <a:lnTo>
                      <a:pt x="1298" y="1636"/>
                    </a:lnTo>
                    <a:lnTo>
                      <a:pt x="1297" y="1636"/>
                    </a:lnTo>
                    <a:lnTo>
                      <a:pt x="1297" y="1635"/>
                    </a:lnTo>
                    <a:lnTo>
                      <a:pt x="1298" y="1635"/>
                    </a:lnTo>
                    <a:lnTo>
                      <a:pt x="1297" y="1635"/>
                    </a:lnTo>
                    <a:lnTo>
                      <a:pt x="1297" y="1633"/>
                    </a:lnTo>
                    <a:lnTo>
                      <a:pt x="1298" y="1633"/>
                    </a:lnTo>
                    <a:lnTo>
                      <a:pt x="1298" y="1631"/>
                    </a:lnTo>
                    <a:lnTo>
                      <a:pt x="1297" y="1631"/>
                    </a:lnTo>
                    <a:lnTo>
                      <a:pt x="1297" y="1629"/>
                    </a:lnTo>
                    <a:lnTo>
                      <a:pt x="1298" y="1629"/>
                    </a:lnTo>
                    <a:lnTo>
                      <a:pt x="1300" y="1629"/>
                    </a:lnTo>
                    <a:lnTo>
                      <a:pt x="1300" y="1631"/>
                    </a:lnTo>
                    <a:lnTo>
                      <a:pt x="1300" y="1629"/>
                    </a:lnTo>
                    <a:lnTo>
                      <a:pt x="1302" y="1629"/>
                    </a:lnTo>
                    <a:lnTo>
                      <a:pt x="1302" y="1628"/>
                    </a:lnTo>
                    <a:lnTo>
                      <a:pt x="1302" y="1629"/>
                    </a:lnTo>
                    <a:lnTo>
                      <a:pt x="1302" y="1631"/>
                    </a:lnTo>
                    <a:lnTo>
                      <a:pt x="1304" y="1631"/>
                    </a:lnTo>
                    <a:lnTo>
                      <a:pt x="1304" y="1629"/>
                    </a:lnTo>
                    <a:lnTo>
                      <a:pt x="1305" y="1628"/>
                    </a:lnTo>
                    <a:lnTo>
                      <a:pt x="1305" y="1629"/>
                    </a:lnTo>
                    <a:lnTo>
                      <a:pt x="1307" y="1629"/>
                    </a:lnTo>
                    <a:lnTo>
                      <a:pt x="1307" y="1631"/>
                    </a:lnTo>
                    <a:lnTo>
                      <a:pt x="1305" y="1631"/>
                    </a:lnTo>
                    <a:lnTo>
                      <a:pt x="1307" y="1631"/>
                    </a:lnTo>
                    <a:lnTo>
                      <a:pt x="1309" y="1631"/>
                    </a:lnTo>
                    <a:lnTo>
                      <a:pt x="1309" y="1629"/>
                    </a:lnTo>
                    <a:lnTo>
                      <a:pt x="1309" y="1631"/>
                    </a:lnTo>
                    <a:lnTo>
                      <a:pt x="1310" y="1631"/>
                    </a:lnTo>
                    <a:lnTo>
                      <a:pt x="1312" y="1631"/>
                    </a:lnTo>
                    <a:lnTo>
                      <a:pt x="1310" y="1631"/>
                    </a:lnTo>
                    <a:lnTo>
                      <a:pt x="1310" y="1629"/>
                    </a:lnTo>
                    <a:lnTo>
                      <a:pt x="1312" y="1629"/>
                    </a:lnTo>
                    <a:lnTo>
                      <a:pt x="1312" y="1628"/>
                    </a:lnTo>
                    <a:lnTo>
                      <a:pt x="1314" y="1628"/>
                    </a:lnTo>
                    <a:lnTo>
                      <a:pt x="1315" y="1628"/>
                    </a:lnTo>
                    <a:lnTo>
                      <a:pt x="1315" y="1626"/>
                    </a:lnTo>
                    <a:lnTo>
                      <a:pt x="1317" y="1628"/>
                    </a:lnTo>
                    <a:lnTo>
                      <a:pt x="1317" y="1626"/>
                    </a:lnTo>
                    <a:lnTo>
                      <a:pt x="1319" y="1626"/>
                    </a:lnTo>
                    <a:close/>
                    <a:moveTo>
                      <a:pt x="1203" y="1104"/>
                    </a:moveTo>
                    <a:lnTo>
                      <a:pt x="1203" y="1105"/>
                    </a:lnTo>
                    <a:lnTo>
                      <a:pt x="1203" y="1104"/>
                    </a:lnTo>
                    <a:lnTo>
                      <a:pt x="1203" y="1105"/>
                    </a:lnTo>
                    <a:lnTo>
                      <a:pt x="1205" y="1105"/>
                    </a:lnTo>
                    <a:lnTo>
                      <a:pt x="1203" y="1105"/>
                    </a:lnTo>
                    <a:lnTo>
                      <a:pt x="1205" y="1107"/>
                    </a:lnTo>
                    <a:lnTo>
                      <a:pt x="1207" y="1107"/>
                    </a:lnTo>
                    <a:lnTo>
                      <a:pt x="1207" y="1109"/>
                    </a:lnTo>
                    <a:lnTo>
                      <a:pt x="1207" y="1111"/>
                    </a:lnTo>
                    <a:lnTo>
                      <a:pt x="1207" y="1112"/>
                    </a:lnTo>
                    <a:lnTo>
                      <a:pt x="1207" y="1114"/>
                    </a:lnTo>
                    <a:lnTo>
                      <a:pt x="1205" y="1114"/>
                    </a:lnTo>
                    <a:lnTo>
                      <a:pt x="1207" y="1114"/>
                    </a:lnTo>
                    <a:lnTo>
                      <a:pt x="1207" y="1116"/>
                    </a:lnTo>
                    <a:lnTo>
                      <a:pt x="1205" y="1116"/>
                    </a:lnTo>
                    <a:lnTo>
                      <a:pt x="1207" y="1116"/>
                    </a:lnTo>
                    <a:lnTo>
                      <a:pt x="1207" y="1117"/>
                    </a:lnTo>
                    <a:lnTo>
                      <a:pt x="1205" y="1117"/>
                    </a:lnTo>
                    <a:lnTo>
                      <a:pt x="1205" y="1119"/>
                    </a:lnTo>
                    <a:lnTo>
                      <a:pt x="1205" y="1117"/>
                    </a:lnTo>
                    <a:lnTo>
                      <a:pt x="1203" y="1117"/>
                    </a:lnTo>
                    <a:lnTo>
                      <a:pt x="1203" y="1116"/>
                    </a:lnTo>
                    <a:lnTo>
                      <a:pt x="1202" y="1116"/>
                    </a:lnTo>
                    <a:lnTo>
                      <a:pt x="1200" y="1116"/>
                    </a:lnTo>
                    <a:lnTo>
                      <a:pt x="1198" y="1116"/>
                    </a:lnTo>
                    <a:lnTo>
                      <a:pt x="1198" y="1117"/>
                    </a:lnTo>
                    <a:lnTo>
                      <a:pt x="1196" y="1116"/>
                    </a:lnTo>
                    <a:lnTo>
                      <a:pt x="1196" y="1114"/>
                    </a:lnTo>
                    <a:lnTo>
                      <a:pt x="1198" y="1114"/>
                    </a:lnTo>
                    <a:lnTo>
                      <a:pt x="1200" y="1114"/>
                    </a:lnTo>
                    <a:lnTo>
                      <a:pt x="1202" y="1114"/>
                    </a:lnTo>
                    <a:lnTo>
                      <a:pt x="1200" y="1114"/>
                    </a:lnTo>
                    <a:lnTo>
                      <a:pt x="1198" y="1114"/>
                    </a:lnTo>
                    <a:lnTo>
                      <a:pt x="1196" y="1114"/>
                    </a:lnTo>
                    <a:lnTo>
                      <a:pt x="1195" y="1114"/>
                    </a:lnTo>
                    <a:lnTo>
                      <a:pt x="1195" y="1112"/>
                    </a:lnTo>
                    <a:lnTo>
                      <a:pt x="1195" y="1114"/>
                    </a:lnTo>
                    <a:lnTo>
                      <a:pt x="1195" y="1112"/>
                    </a:lnTo>
                    <a:lnTo>
                      <a:pt x="1193" y="1112"/>
                    </a:lnTo>
                    <a:lnTo>
                      <a:pt x="1195" y="1112"/>
                    </a:lnTo>
                    <a:lnTo>
                      <a:pt x="1195" y="1111"/>
                    </a:lnTo>
                    <a:lnTo>
                      <a:pt x="1193" y="1112"/>
                    </a:lnTo>
                    <a:lnTo>
                      <a:pt x="1191" y="1112"/>
                    </a:lnTo>
                    <a:lnTo>
                      <a:pt x="1191" y="1111"/>
                    </a:lnTo>
                    <a:lnTo>
                      <a:pt x="1191" y="1109"/>
                    </a:lnTo>
                    <a:lnTo>
                      <a:pt x="1191" y="1107"/>
                    </a:lnTo>
                    <a:lnTo>
                      <a:pt x="1191" y="1109"/>
                    </a:lnTo>
                    <a:lnTo>
                      <a:pt x="1191" y="1111"/>
                    </a:lnTo>
                    <a:lnTo>
                      <a:pt x="1191" y="1112"/>
                    </a:lnTo>
                    <a:lnTo>
                      <a:pt x="1190" y="1112"/>
                    </a:lnTo>
                    <a:lnTo>
                      <a:pt x="1188" y="1111"/>
                    </a:lnTo>
                    <a:lnTo>
                      <a:pt x="1188" y="1109"/>
                    </a:lnTo>
                    <a:lnTo>
                      <a:pt x="1188" y="1107"/>
                    </a:lnTo>
                    <a:lnTo>
                      <a:pt x="1190" y="1107"/>
                    </a:lnTo>
                    <a:lnTo>
                      <a:pt x="1191" y="1105"/>
                    </a:lnTo>
                    <a:lnTo>
                      <a:pt x="1193" y="1105"/>
                    </a:lnTo>
                    <a:lnTo>
                      <a:pt x="1193" y="1107"/>
                    </a:lnTo>
                    <a:lnTo>
                      <a:pt x="1193" y="1105"/>
                    </a:lnTo>
                    <a:lnTo>
                      <a:pt x="1195" y="1105"/>
                    </a:lnTo>
                    <a:lnTo>
                      <a:pt x="1195" y="1107"/>
                    </a:lnTo>
                    <a:lnTo>
                      <a:pt x="1195" y="1105"/>
                    </a:lnTo>
                    <a:lnTo>
                      <a:pt x="1196" y="1105"/>
                    </a:lnTo>
                    <a:lnTo>
                      <a:pt x="1198" y="1105"/>
                    </a:lnTo>
                    <a:lnTo>
                      <a:pt x="1200" y="1104"/>
                    </a:lnTo>
                    <a:lnTo>
                      <a:pt x="1202" y="1104"/>
                    </a:lnTo>
                    <a:lnTo>
                      <a:pt x="1203" y="1104"/>
                    </a:lnTo>
                    <a:close/>
                    <a:moveTo>
                      <a:pt x="1179" y="1376"/>
                    </a:moveTo>
                    <a:lnTo>
                      <a:pt x="1179" y="1378"/>
                    </a:lnTo>
                    <a:lnTo>
                      <a:pt x="1179" y="1379"/>
                    </a:lnTo>
                    <a:lnTo>
                      <a:pt x="1181" y="1379"/>
                    </a:lnTo>
                    <a:lnTo>
                      <a:pt x="1183" y="1379"/>
                    </a:lnTo>
                    <a:lnTo>
                      <a:pt x="1183" y="1378"/>
                    </a:lnTo>
                    <a:lnTo>
                      <a:pt x="1185" y="1379"/>
                    </a:lnTo>
                    <a:lnTo>
                      <a:pt x="1185" y="1381"/>
                    </a:lnTo>
                    <a:lnTo>
                      <a:pt x="1185" y="1383"/>
                    </a:lnTo>
                    <a:lnTo>
                      <a:pt x="1186" y="1384"/>
                    </a:lnTo>
                    <a:lnTo>
                      <a:pt x="1185" y="1384"/>
                    </a:lnTo>
                    <a:lnTo>
                      <a:pt x="1186" y="1384"/>
                    </a:lnTo>
                    <a:lnTo>
                      <a:pt x="1186" y="1386"/>
                    </a:lnTo>
                    <a:lnTo>
                      <a:pt x="1186" y="1388"/>
                    </a:lnTo>
                    <a:lnTo>
                      <a:pt x="1186" y="1386"/>
                    </a:lnTo>
                    <a:lnTo>
                      <a:pt x="1188" y="1388"/>
                    </a:lnTo>
                    <a:lnTo>
                      <a:pt x="1186" y="1388"/>
                    </a:lnTo>
                    <a:lnTo>
                      <a:pt x="1188" y="1388"/>
                    </a:lnTo>
                    <a:lnTo>
                      <a:pt x="1188" y="1390"/>
                    </a:lnTo>
                    <a:lnTo>
                      <a:pt x="1190" y="1390"/>
                    </a:lnTo>
                    <a:lnTo>
                      <a:pt x="1190" y="1391"/>
                    </a:lnTo>
                    <a:lnTo>
                      <a:pt x="1188" y="1391"/>
                    </a:lnTo>
                    <a:lnTo>
                      <a:pt x="1186" y="1390"/>
                    </a:lnTo>
                    <a:lnTo>
                      <a:pt x="1186" y="1391"/>
                    </a:lnTo>
                    <a:lnTo>
                      <a:pt x="1186" y="1390"/>
                    </a:lnTo>
                    <a:lnTo>
                      <a:pt x="1185" y="1390"/>
                    </a:lnTo>
                    <a:lnTo>
                      <a:pt x="1186" y="1391"/>
                    </a:lnTo>
                    <a:lnTo>
                      <a:pt x="1188" y="1391"/>
                    </a:lnTo>
                    <a:lnTo>
                      <a:pt x="1188" y="1393"/>
                    </a:lnTo>
                    <a:lnTo>
                      <a:pt x="1186" y="1391"/>
                    </a:lnTo>
                    <a:lnTo>
                      <a:pt x="1188" y="1393"/>
                    </a:lnTo>
                    <a:lnTo>
                      <a:pt x="1188" y="1391"/>
                    </a:lnTo>
                    <a:lnTo>
                      <a:pt x="1190" y="1391"/>
                    </a:lnTo>
                    <a:lnTo>
                      <a:pt x="1190" y="1393"/>
                    </a:lnTo>
                    <a:lnTo>
                      <a:pt x="1190" y="1395"/>
                    </a:lnTo>
                    <a:lnTo>
                      <a:pt x="1191" y="1395"/>
                    </a:lnTo>
                    <a:lnTo>
                      <a:pt x="1191" y="1396"/>
                    </a:lnTo>
                    <a:lnTo>
                      <a:pt x="1191" y="1398"/>
                    </a:lnTo>
                    <a:lnTo>
                      <a:pt x="1191" y="1400"/>
                    </a:lnTo>
                    <a:lnTo>
                      <a:pt x="1190" y="1400"/>
                    </a:lnTo>
                    <a:lnTo>
                      <a:pt x="1190" y="1398"/>
                    </a:lnTo>
                    <a:lnTo>
                      <a:pt x="1190" y="1400"/>
                    </a:lnTo>
                    <a:lnTo>
                      <a:pt x="1188" y="1400"/>
                    </a:lnTo>
                    <a:lnTo>
                      <a:pt x="1188" y="1398"/>
                    </a:lnTo>
                    <a:lnTo>
                      <a:pt x="1188" y="1400"/>
                    </a:lnTo>
                    <a:lnTo>
                      <a:pt x="1188" y="1398"/>
                    </a:lnTo>
                    <a:lnTo>
                      <a:pt x="1190" y="1398"/>
                    </a:lnTo>
                    <a:lnTo>
                      <a:pt x="1188" y="1396"/>
                    </a:lnTo>
                    <a:lnTo>
                      <a:pt x="1188" y="1398"/>
                    </a:lnTo>
                    <a:lnTo>
                      <a:pt x="1188" y="1396"/>
                    </a:lnTo>
                    <a:lnTo>
                      <a:pt x="1188" y="1395"/>
                    </a:lnTo>
                    <a:lnTo>
                      <a:pt x="1188" y="1396"/>
                    </a:lnTo>
                    <a:lnTo>
                      <a:pt x="1186" y="1396"/>
                    </a:lnTo>
                    <a:lnTo>
                      <a:pt x="1186" y="1398"/>
                    </a:lnTo>
                    <a:lnTo>
                      <a:pt x="1186" y="1396"/>
                    </a:lnTo>
                    <a:lnTo>
                      <a:pt x="1185" y="1395"/>
                    </a:lnTo>
                    <a:lnTo>
                      <a:pt x="1185" y="1396"/>
                    </a:lnTo>
                    <a:lnTo>
                      <a:pt x="1186" y="1396"/>
                    </a:lnTo>
                    <a:lnTo>
                      <a:pt x="1186" y="1398"/>
                    </a:lnTo>
                    <a:lnTo>
                      <a:pt x="1186" y="1400"/>
                    </a:lnTo>
                    <a:lnTo>
                      <a:pt x="1186" y="1401"/>
                    </a:lnTo>
                    <a:lnTo>
                      <a:pt x="1186" y="1400"/>
                    </a:lnTo>
                    <a:lnTo>
                      <a:pt x="1185" y="1400"/>
                    </a:lnTo>
                    <a:lnTo>
                      <a:pt x="1186" y="1400"/>
                    </a:lnTo>
                    <a:lnTo>
                      <a:pt x="1185" y="1400"/>
                    </a:lnTo>
                    <a:lnTo>
                      <a:pt x="1185" y="1398"/>
                    </a:lnTo>
                    <a:lnTo>
                      <a:pt x="1183" y="1396"/>
                    </a:lnTo>
                    <a:lnTo>
                      <a:pt x="1183" y="1395"/>
                    </a:lnTo>
                    <a:lnTo>
                      <a:pt x="1181" y="1395"/>
                    </a:lnTo>
                    <a:lnTo>
                      <a:pt x="1183" y="1395"/>
                    </a:lnTo>
                    <a:lnTo>
                      <a:pt x="1181" y="1395"/>
                    </a:lnTo>
                    <a:lnTo>
                      <a:pt x="1181" y="1393"/>
                    </a:lnTo>
                    <a:lnTo>
                      <a:pt x="1179" y="1395"/>
                    </a:lnTo>
                    <a:lnTo>
                      <a:pt x="1179" y="1393"/>
                    </a:lnTo>
                    <a:lnTo>
                      <a:pt x="1179" y="1391"/>
                    </a:lnTo>
                    <a:lnTo>
                      <a:pt x="1181" y="1393"/>
                    </a:lnTo>
                    <a:lnTo>
                      <a:pt x="1181" y="1391"/>
                    </a:lnTo>
                    <a:lnTo>
                      <a:pt x="1179" y="1391"/>
                    </a:lnTo>
                    <a:lnTo>
                      <a:pt x="1179" y="1393"/>
                    </a:lnTo>
                    <a:lnTo>
                      <a:pt x="1178" y="1391"/>
                    </a:lnTo>
                    <a:lnTo>
                      <a:pt x="1179" y="1391"/>
                    </a:lnTo>
                    <a:lnTo>
                      <a:pt x="1179" y="1390"/>
                    </a:lnTo>
                    <a:lnTo>
                      <a:pt x="1181" y="1390"/>
                    </a:lnTo>
                    <a:lnTo>
                      <a:pt x="1179" y="1390"/>
                    </a:lnTo>
                    <a:lnTo>
                      <a:pt x="1178" y="1390"/>
                    </a:lnTo>
                    <a:lnTo>
                      <a:pt x="1178" y="1391"/>
                    </a:lnTo>
                    <a:lnTo>
                      <a:pt x="1178" y="1390"/>
                    </a:lnTo>
                    <a:lnTo>
                      <a:pt x="1176" y="1390"/>
                    </a:lnTo>
                    <a:lnTo>
                      <a:pt x="1176" y="1388"/>
                    </a:lnTo>
                    <a:lnTo>
                      <a:pt x="1176" y="1390"/>
                    </a:lnTo>
                    <a:lnTo>
                      <a:pt x="1174" y="1390"/>
                    </a:lnTo>
                    <a:lnTo>
                      <a:pt x="1176" y="1390"/>
                    </a:lnTo>
                    <a:lnTo>
                      <a:pt x="1176" y="1388"/>
                    </a:lnTo>
                    <a:lnTo>
                      <a:pt x="1178" y="1388"/>
                    </a:lnTo>
                    <a:lnTo>
                      <a:pt x="1176" y="1388"/>
                    </a:lnTo>
                    <a:lnTo>
                      <a:pt x="1178" y="1388"/>
                    </a:lnTo>
                    <a:lnTo>
                      <a:pt x="1178" y="1386"/>
                    </a:lnTo>
                    <a:lnTo>
                      <a:pt x="1179" y="1386"/>
                    </a:lnTo>
                    <a:lnTo>
                      <a:pt x="1179" y="1384"/>
                    </a:lnTo>
                    <a:lnTo>
                      <a:pt x="1181" y="1384"/>
                    </a:lnTo>
                    <a:lnTo>
                      <a:pt x="1181" y="1383"/>
                    </a:lnTo>
                    <a:lnTo>
                      <a:pt x="1183" y="1383"/>
                    </a:lnTo>
                    <a:lnTo>
                      <a:pt x="1183" y="1384"/>
                    </a:lnTo>
                    <a:lnTo>
                      <a:pt x="1183" y="1383"/>
                    </a:lnTo>
                    <a:lnTo>
                      <a:pt x="1185" y="1383"/>
                    </a:lnTo>
                    <a:lnTo>
                      <a:pt x="1183" y="1381"/>
                    </a:lnTo>
                    <a:lnTo>
                      <a:pt x="1183" y="1383"/>
                    </a:lnTo>
                    <a:lnTo>
                      <a:pt x="1181" y="1381"/>
                    </a:lnTo>
                    <a:lnTo>
                      <a:pt x="1179" y="1381"/>
                    </a:lnTo>
                    <a:lnTo>
                      <a:pt x="1181" y="1379"/>
                    </a:lnTo>
                    <a:lnTo>
                      <a:pt x="1179" y="1381"/>
                    </a:lnTo>
                    <a:lnTo>
                      <a:pt x="1179" y="1383"/>
                    </a:lnTo>
                    <a:lnTo>
                      <a:pt x="1179" y="1381"/>
                    </a:lnTo>
                    <a:lnTo>
                      <a:pt x="1178" y="1381"/>
                    </a:lnTo>
                    <a:lnTo>
                      <a:pt x="1176" y="1381"/>
                    </a:lnTo>
                    <a:lnTo>
                      <a:pt x="1176" y="1379"/>
                    </a:lnTo>
                    <a:lnTo>
                      <a:pt x="1176" y="1381"/>
                    </a:lnTo>
                    <a:lnTo>
                      <a:pt x="1174" y="1381"/>
                    </a:lnTo>
                    <a:lnTo>
                      <a:pt x="1174" y="1379"/>
                    </a:lnTo>
                    <a:lnTo>
                      <a:pt x="1173" y="1381"/>
                    </a:lnTo>
                    <a:lnTo>
                      <a:pt x="1174" y="1379"/>
                    </a:lnTo>
                    <a:lnTo>
                      <a:pt x="1176" y="1378"/>
                    </a:lnTo>
                    <a:lnTo>
                      <a:pt x="1178" y="1376"/>
                    </a:lnTo>
                    <a:lnTo>
                      <a:pt x="1179" y="1376"/>
                    </a:lnTo>
                    <a:close/>
                    <a:moveTo>
                      <a:pt x="1157" y="1255"/>
                    </a:moveTo>
                    <a:lnTo>
                      <a:pt x="1159" y="1255"/>
                    </a:lnTo>
                    <a:lnTo>
                      <a:pt x="1161" y="1255"/>
                    </a:lnTo>
                    <a:lnTo>
                      <a:pt x="1159" y="1257"/>
                    </a:lnTo>
                    <a:lnTo>
                      <a:pt x="1161" y="1257"/>
                    </a:lnTo>
                    <a:lnTo>
                      <a:pt x="1162" y="1257"/>
                    </a:lnTo>
                    <a:lnTo>
                      <a:pt x="1161" y="1255"/>
                    </a:lnTo>
                    <a:lnTo>
                      <a:pt x="1162" y="1255"/>
                    </a:lnTo>
                    <a:lnTo>
                      <a:pt x="1164" y="1257"/>
                    </a:lnTo>
                    <a:lnTo>
                      <a:pt x="1166" y="1259"/>
                    </a:lnTo>
                    <a:lnTo>
                      <a:pt x="1164" y="1260"/>
                    </a:lnTo>
                    <a:lnTo>
                      <a:pt x="1166" y="1259"/>
                    </a:lnTo>
                    <a:lnTo>
                      <a:pt x="1166" y="1260"/>
                    </a:lnTo>
                    <a:lnTo>
                      <a:pt x="1168" y="1259"/>
                    </a:lnTo>
                    <a:lnTo>
                      <a:pt x="1168" y="1260"/>
                    </a:lnTo>
                    <a:lnTo>
                      <a:pt x="1168" y="1262"/>
                    </a:lnTo>
                    <a:lnTo>
                      <a:pt x="1166" y="1262"/>
                    </a:lnTo>
                    <a:lnTo>
                      <a:pt x="1166" y="1264"/>
                    </a:lnTo>
                    <a:lnTo>
                      <a:pt x="1168" y="1262"/>
                    </a:lnTo>
                    <a:lnTo>
                      <a:pt x="1168" y="1264"/>
                    </a:lnTo>
                    <a:lnTo>
                      <a:pt x="1166" y="1264"/>
                    </a:lnTo>
                    <a:lnTo>
                      <a:pt x="1166" y="1265"/>
                    </a:lnTo>
                    <a:lnTo>
                      <a:pt x="1166" y="1264"/>
                    </a:lnTo>
                    <a:lnTo>
                      <a:pt x="1168" y="1264"/>
                    </a:lnTo>
                    <a:lnTo>
                      <a:pt x="1169" y="1262"/>
                    </a:lnTo>
                    <a:lnTo>
                      <a:pt x="1169" y="1260"/>
                    </a:lnTo>
                    <a:lnTo>
                      <a:pt x="1171" y="1260"/>
                    </a:lnTo>
                    <a:lnTo>
                      <a:pt x="1171" y="1262"/>
                    </a:lnTo>
                    <a:lnTo>
                      <a:pt x="1169" y="1262"/>
                    </a:lnTo>
                    <a:lnTo>
                      <a:pt x="1171" y="1262"/>
                    </a:lnTo>
                    <a:lnTo>
                      <a:pt x="1171" y="1264"/>
                    </a:lnTo>
                    <a:lnTo>
                      <a:pt x="1169" y="1264"/>
                    </a:lnTo>
                    <a:lnTo>
                      <a:pt x="1169" y="1265"/>
                    </a:lnTo>
                    <a:lnTo>
                      <a:pt x="1168" y="1265"/>
                    </a:lnTo>
                    <a:lnTo>
                      <a:pt x="1168" y="1267"/>
                    </a:lnTo>
                    <a:lnTo>
                      <a:pt x="1168" y="1265"/>
                    </a:lnTo>
                    <a:lnTo>
                      <a:pt x="1169" y="1265"/>
                    </a:lnTo>
                    <a:lnTo>
                      <a:pt x="1169" y="1264"/>
                    </a:lnTo>
                    <a:lnTo>
                      <a:pt x="1171" y="1264"/>
                    </a:lnTo>
                    <a:lnTo>
                      <a:pt x="1169" y="1264"/>
                    </a:lnTo>
                    <a:lnTo>
                      <a:pt x="1169" y="1265"/>
                    </a:lnTo>
                    <a:lnTo>
                      <a:pt x="1169" y="1267"/>
                    </a:lnTo>
                    <a:lnTo>
                      <a:pt x="1169" y="1265"/>
                    </a:lnTo>
                    <a:lnTo>
                      <a:pt x="1169" y="1267"/>
                    </a:lnTo>
                    <a:lnTo>
                      <a:pt x="1171" y="1267"/>
                    </a:lnTo>
                    <a:lnTo>
                      <a:pt x="1169" y="1269"/>
                    </a:lnTo>
                    <a:lnTo>
                      <a:pt x="1171" y="1269"/>
                    </a:lnTo>
                    <a:lnTo>
                      <a:pt x="1169" y="1270"/>
                    </a:lnTo>
                    <a:lnTo>
                      <a:pt x="1168" y="1270"/>
                    </a:lnTo>
                    <a:lnTo>
                      <a:pt x="1169" y="1269"/>
                    </a:lnTo>
                    <a:lnTo>
                      <a:pt x="1168" y="1270"/>
                    </a:lnTo>
                    <a:lnTo>
                      <a:pt x="1166" y="1272"/>
                    </a:lnTo>
                    <a:lnTo>
                      <a:pt x="1164" y="1274"/>
                    </a:lnTo>
                    <a:lnTo>
                      <a:pt x="1162" y="1274"/>
                    </a:lnTo>
                    <a:lnTo>
                      <a:pt x="1162" y="1272"/>
                    </a:lnTo>
                    <a:lnTo>
                      <a:pt x="1162" y="1270"/>
                    </a:lnTo>
                    <a:lnTo>
                      <a:pt x="1161" y="1270"/>
                    </a:lnTo>
                    <a:lnTo>
                      <a:pt x="1161" y="1269"/>
                    </a:lnTo>
                    <a:lnTo>
                      <a:pt x="1161" y="1267"/>
                    </a:lnTo>
                    <a:lnTo>
                      <a:pt x="1162" y="1267"/>
                    </a:lnTo>
                    <a:lnTo>
                      <a:pt x="1161" y="1267"/>
                    </a:lnTo>
                    <a:lnTo>
                      <a:pt x="1161" y="1269"/>
                    </a:lnTo>
                    <a:lnTo>
                      <a:pt x="1159" y="1267"/>
                    </a:lnTo>
                    <a:lnTo>
                      <a:pt x="1159" y="1265"/>
                    </a:lnTo>
                    <a:lnTo>
                      <a:pt x="1159" y="1264"/>
                    </a:lnTo>
                    <a:lnTo>
                      <a:pt x="1161" y="1264"/>
                    </a:lnTo>
                    <a:lnTo>
                      <a:pt x="1162" y="1264"/>
                    </a:lnTo>
                    <a:lnTo>
                      <a:pt x="1161" y="1264"/>
                    </a:lnTo>
                    <a:lnTo>
                      <a:pt x="1159" y="1264"/>
                    </a:lnTo>
                    <a:lnTo>
                      <a:pt x="1161" y="1264"/>
                    </a:lnTo>
                    <a:lnTo>
                      <a:pt x="1161" y="1262"/>
                    </a:lnTo>
                    <a:lnTo>
                      <a:pt x="1161" y="1264"/>
                    </a:lnTo>
                    <a:lnTo>
                      <a:pt x="1159" y="1264"/>
                    </a:lnTo>
                    <a:lnTo>
                      <a:pt x="1157" y="1264"/>
                    </a:lnTo>
                    <a:lnTo>
                      <a:pt x="1159" y="1262"/>
                    </a:lnTo>
                    <a:lnTo>
                      <a:pt x="1157" y="1264"/>
                    </a:lnTo>
                    <a:lnTo>
                      <a:pt x="1157" y="1262"/>
                    </a:lnTo>
                    <a:lnTo>
                      <a:pt x="1159" y="1260"/>
                    </a:lnTo>
                    <a:lnTo>
                      <a:pt x="1157" y="1260"/>
                    </a:lnTo>
                    <a:lnTo>
                      <a:pt x="1157" y="1262"/>
                    </a:lnTo>
                    <a:lnTo>
                      <a:pt x="1157" y="1260"/>
                    </a:lnTo>
                    <a:lnTo>
                      <a:pt x="1159" y="1260"/>
                    </a:lnTo>
                    <a:lnTo>
                      <a:pt x="1161" y="1259"/>
                    </a:lnTo>
                    <a:lnTo>
                      <a:pt x="1159" y="1259"/>
                    </a:lnTo>
                    <a:lnTo>
                      <a:pt x="1159" y="1260"/>
                    </a:lnTo>
                    <a:lnTo>
                      <a:pt x="1157" y="1260"/>
                    </a:lnTo>
                    <a:lnTo>
                      <a:pt x="1157" y="1259"/>
                    </a:lnTo>
                    <a:lnTo>
                      <a:pt x="1159" y="1259"/>
                    </a:lnTo>
                    <a:lnTo>
                      <a:pt x="1157" y="1259"/>
                    </a:lnTo>
                    <a:lnTo>
                      <a:pt x="1157" y="1257"/>
                    </a:lnTo>
                    <a:lnTo>
                      <a:pt x="1157" y="1259"/>
                    </a:lnTo>
                    <a:lnTo>
                      <a:pt x="1156" y="1257"/>
                    </a:lnTo>
                    <a:lnTo>
                      <a:pt x="1156" y="1255"/>
                    </a:lnTo>
                    <a:lnTo>
                      <a:pt x="1157" y="1255"/>
                    </a:lnTo>
                    <a:close/>
                    <a:moveTo>
                      <a:pt x="1183" y="1447"/>
                    </a:moveTo>
                    <a:lnTo>
                      <a:pt x="1185" y="1447"/>
                    </a:lnTo>
                    <a:lnTo>
                      <a:pt x="1185" y="1449"/>
                    </a:lnTo>
                    <a:lnTo>
                      <a:pt x="1183" y="1449"/>
                    </a:lnTo>
                    <a:lnTo>
                      <a:pt x="1185" y="1451"/>
                    </a:lnTo>
                    <a:lnTo>
                      <a:pt x="1185" y="1449"/>
                    </a:lnTo>
                    <a:lnTo>
                      <a:pt x="1186" y="1449"/>
                    </a:lnTo>
                    <a:lnTo>
                      <a:pt x="1186" y="1451"/>
                    </a:lnTo>
                    <a:lnTo>
                      <a:pt x="1185" y="1451"/>
                    </a:lnTo>
                    <a:lnTo>
                      <a:pt x="1186" y="1451"/>
                    </a:lnTo>
                    <a:lnTo>
                      <a:pt x="1186" y="1449"/>
                    </a:lnTo>
                    <a:lnTo>
                      <a:pt x="1186" y="1451"/>
                    </a:lnTo>
                    <a:lnTo>
                      <a:pt x="1186" y="1453"/>
                    </a:lnTo>
                    <a:lnTo>
                      <a:pt x="1186" y="1451"/>
                    </a:lnTo>
                    <a:lnTo>
                      <a:pt x="1186" y="1453"/>
                    </a:lnTo>
                    <a:lnTo>
                      <a:pt x="1188" y="1453"/>
                    </a:lnTo>
                    <a:lnTo>
                      <a:pt x="1190" y="1453"/>
                    </a:lnTo>
                    <a:lnTo>
                      <a:pt x="1190" y="1454"/>
                    </a:lnTo>
                    <a:lnTo>
                      <a:pt x="1190" y="1453"/>
                    </a:lnTo>
                    <a:lnTo>
                      <a:pt x="1191" y="1454"/>
                    </a:lnTo>
                    <a:lnTo>
                      <a:pt x="1191" y="1456"/>
                    </a:lnTo>
                    <a:lnTo>
                      <a:pt x="1190" y="1456"/>
                    </a:lnTo>
                    <a:lnTo>
                      <a:pt x="1191" y="1456"/>
                    </a:lnTo>
                    <a:lnTo>
                      <a:pt x="1193" y="1456"/>
                    </a:lnTo>
                    <a:lnTo>
                      <a:pt x="1193" y="1454"/>
                    </a:lnTo>
                    <a:lnTo>
                      <a:pt x="1193" y="1456"/>
                    </a:lnTo>
                    <a:lnTo>
                      <a:pt x="1193" y="1454"/>
                    </a:lnTo>
                    <a:lnTo>
                      <a:pt x="1195" y="1456"/>
                    </a:lnTo>
                    <a:lnTo>
                      <a:pt x="1193" y="1456"/>
                    </a:lnTo>
                    <a:lnTo>
                      <a:pt x="1195" y="1458"/>
                    </a:lnTo>
                    <a:lnTo>
                      <a:pt x="1195" y="1456"/>
                    </a:lnTo>
                    <a:lnTo>
                      <a:pt x="1195" y="1458"/>
                    </a:lnTo>
                    <a:lnTo>
                      <a:pt x="1196" y="1458"/>
                    </a:lnTo>
                    <a:lnTo>
                      <a:pt x="1196" y="1459"/>
                    </a:lnTo>
                    <a:lnTo>
                      <a:pt x="1196" y="1461"/>
                    </a:lnTo>
                    <a:lnTo>
                      <a:pt x="1198" y="1459"/>
                    </a:lnTo>
                    <a:lnTo>
                      <a:pt x="1198" y="1461"/>
                    </a:lnTo>
                    <a:lnTo>
                      <a:pt x="1198" y="1459"/>
                    </a:lnTo>
                    <a:lnTo>
                      <a:pt x="1198" y="1461"/>
                    </a:lnTo>
                    <a:lnTo>
                      <a:pt x="1200" y="1461"/>
                    </a:lnTo>
                    <a:lnTo>
                      <a:pt x="1202" y="1461"/>
                    </a:lnTo>
                    <a:lnTo>
                      <a:pt x="1202" y="1463"/>
                    </a:lnTo>
                    <a:lnTo>
                      <a:pt x="1203" y="1463"/>
                    </a:lnTo>
                    <a:lnTo>
                      <a:pt x="1203" y="1464"/>
                    </a:lnTo>
                    <a:lnTo>
                      <a:pt x="1205" y="1466"/>
                    </a:lnTo>
                    <a:lnTo>
                      <a:pt x="1205" y="1468"/>
                    </a:lnTo>
                    <a:lnTo>
                      <a:pt x="1207" y="1468"/>
                    </a:lnTo>
                    <a:lnTo>
                      <a:pt x="1207" y="1470"/>
                    </a:lnTo>
                    <a:lnTo>
                      <a:pt x="1207" y="1471"/>
                    </a:lnTo>
                    <a:lnTo>
                      <a:pt x="1208" y="1473"/>
                    </a:lnTo>
                    <a:lnTo>
                      <a:pt x="1208" y="1475"/>
                    </a:lnTo>
                    <a:lnTo>
                      <a:pt x="1207" y="1475"/>
                    </a:lnTo>
                    <a:lnTo>
                      <a:pt x="1207" y="1473"/>
                    </a:lnTo>
                    <a:lnTo>
                      <a:pt x="1205" y="1473"/>
                    </a:lnTo>
                    <a:lnTo>
                      <a:pt x="1205" y="1471"/>
                    </a:lnTo>
                    <a:lnTo>
                      <a:pt x="1203" y="1471"/>
                    </a:lnTo>
                    <a:lnTo>
                      <a:pt x="1203" y="1470"/>
                    </a:lnTo>
                    <a:lnTo>
                      <a:pt x="1202" y="1470"/>
                    </a:lnTo>
                    <a:lnTo>
                      <a:pt x="1202" y="1468"/>
                    </a:lnTo>
                    <a:lnTo>
                      <a:pt x="1200" y="1468"/>
                    </a:lnTo>
                    <a:lnTo>
                      <a:pt x="1198" y="1468"/>
                    </a:lnTo>
                    <a:lnTo>
                      <a:pt x="1198" y="1466"/>
                    </a:lnTo>
                    <a:lnTo>
                      <a:pt x="1196" y="1466"/>
                    </a:lnTo>
                    <a:lnTo>
                      <a:pt x="1196" y="1464"/>
                    </a:lnTo>
                    <a:lnTo>
                      <a:pt x="1195" y="1464"/>
                    </a:lnTo>
                    <a:lnTo>
                      <a:pt x="1193" y="1463"/>
                    </a:lnTo>
                    <a:lnTo>
                      <a:pt x="1193" y="1464"/>
                    </a:lnTo>
                    <a:lnTo>
                      <a:pt x="1193" y="1463"/>
                    </a:lnTo>
                    <a:lnTo>
                      <a:pt x="1195" y="1463"/>
                    </a:lnTo>
                    <a:lnTo>
                      <a:pt x="1196" y="1463"/>
                    </a:lnTo>
                    <a:lnTo>
                      <a:pt x="1196" y="1464"/>
                    </a:lnTo>
                    <a:lnTo>
                      <a:pt x="1198" y="1464"/>
                    </a:lnTo>
                    <a:lnTo>
                      <a:pt x="1196" y="1464"/>
                    </a:lnTo>
                    <a:lnTo>
                      <a:pt x="1195" y="1463"/>
                    </a:lnTo>
                    <a:lnTo>
                      <a:pt x="1193" y="1461"/>
                    </a:lnTo>
                    <a:lnTo>
                      <a:pt x="1193" y="1459"/>
                    </a:lnTo>
                    <a:lnTo>
                      <a:pt x="1193" y="1461"/>
                    </a:lnTo>
                    <a:lnTo>
                      <a:pt x="1191" y="1461"/>
                    </a:lnTo>
                    <a:lnTo>
                      <a:pt x="1191" y="1459"/>
                    </a:lnTo>
                    <a:lnTo>
                      <a:pt x="1190" y="1459"/>
                    </a:lnTo>
                    <a:lnTo>
                      <a:pt x="1188" y="1459"/>
                    </a:lnTo>
                    <a:lnTo>
                      <a:pt x="1188" y="1458"/>
                    </a:lnTo>
                    <a:lnTo>
                      <a:pt x="1186" y="1458"/>
                    </a:lnTo>
                    <a:lnTo>
                      <a:pt x="1188" y="1456"/>
                    </a:lnTo>
                    <a:lnTo>
                      <a:pt x="1186" y="1456"/>
                    </a:lnTo>
                    <a:lnTo>
                      <a:pt x="1186" y="1458"/>
                    </a:lnTo>
                    <a:lnTo>
                      <a:pt x="1185" y="1456"/>
                    </a:lnTo>
                    <a:lnTo>
                      <a:pt x="1183" y="1454"/>
                    </a:lnTo>
                    <a:lnTo>
                      <a:pt x="1185" y="1454"/>
                    </a:lnTo>
                    <a:lnTo>
                      <a:pt x="1183" y="1454"/>
                    </a:lnTo>
                    <a:lnTo>
                      <a:pt x="1183" y="1453"/>
                    </a:lnTo>
                    <a:lnTo>
                      <a:pt x="1183" y="1451"/>
                    </a:lnTo>
                    <a:lnTo>
                      <a:pt x="1183" y="1453"/>
                    </a:lnTo>
                    <a:lnTo>
                      <a:pt x="1181" y="1451"/>
                    </a:lnTo>
                    <a:lnTo>
                      <a:pt x="1181" y="1449"/>
                    </a:lnTo>
                    <a:lnTo>
                      <a:pt x="1183" y="1449"/>
                    </a:lnTo>
                    <a:lnTo>
                      <a:pt x="1181" y="1449"/>
                    </a:lnTo>
                    <a:lnTo>
                      <a:pt x="1179" y="1447"/>
                    </a:lnTo>
                    <a:lnTo>
                      <a:pt x="1179" y="1446"/>
                    </a:lnTo>
                    <a:lnTo>
                      <a:pt x="1181" y="1447"/>
                    </a:lnTo>
                    <a:lnTo>
                      <a:pt x="1183" y="1447"/>
                    </a:lnTo>
                    <a:close/>
                    <a:moveTo>
                      <a:pt x="1343" y="1626"/>
                    </a:moveTo>
                    <a:lnTo>
                      <a:pt x="1344" y="1626"/>
                    </a:lnTo>
                    <a:lnTo>
                      <a:pt x="1346" y="1626"/>
                    </a:lnTo>
                    <a:lnTo>
                      <a:pt x="1348" y="1626"/>
                    </a:lnTo>
                    <a:lnTo>
                      <a:pt x="1349" y="1628"/>
                    </a:lnTo>
                    <a:lnTo>
                      <a:pt x="1348" y="1628"/>
                    </a:lnTo>
                    <a:lnTo>
                      <a:pt x="1349" y="1628"/>
                    </a:lnTo>
                    <a:lnTo>
                      <a:pt x="1348" y="1629"/>
                    </a:lnTo>
                    <a:lnTo>
                      <a:pt x="1348" y="1631"/>
                    </a:lnTo>
                    <a:lnTo>
                      <a:pt x="1349" y="1629"/>
                    </a:lnTo>
                    <a:lnTo>
                      <a:pt x="1349" y="1628"/>
                    </a:lnTo>
                    <a:lnTo>
                      <a:pt x="1351" y="1628"/>
                    </a:lnTo>
                    <a:lnTo>
                      <a:pt x="1353" y="1628"/>
                    </a:lnTo>
                    <a:lnTo>
                      <a:pt x="1355" y="1628"/>
                    </a:lnTo>
                    <a:lnTo>
                      <a:pt x="1355" y="1629"/>
                    </a:lnTo>
                    <a:lnTo>
                      <a:pt x="1356" y="1629"/>
                    </a:lnTo>
                    <a:lnTo>
                      <a:pt x="1358" y="1629"/>
                    </a:lnTo>
                    <a:lnTo>
                      <a:pt x="1360" y="1629"/>
                    </a:lnTo>
                    <a:lnTo>
                      <a:pt x="1360" y="1631"/>
                    </a:lnTo>
                    <a:lnTo>
                      <a:pt x="1361" y="1631"/>
                    </a:lnTo>
                    <a:lnTo>
                      <a:pt x="1360" y="1631"/>
                    </a:lnTo>
                    <a:lnTo>
                      <a:pt x="1358" y="1631"/>
                    </a:lnTo>
                    <a:lnTo>
                      <a:pt x="1356" y="1631"/>
                    </a:lnTo>
                    <a:lnTo>
                      <a:pt x="1355" y="1631"/>
                    </a:lnTo>
                    <a:lnTo>
                      <a:pt x="1353" y="1631"/>
                    </a:lnTo>
                    <a:lnTo>
                      <a:pt x="1355" y="1631"/>
                    </a:lnTo>
                    <a:lnTo>
                      <a:pt x="1355" y="1633"/>
                    </a:lnTo>
                    <a:lnTo>
                      <a:pt x="1353" y="1633"/>
                    </a:lnTo>
                    <a:lnTo>
                      <a:pt x="1351" y="1633"/>
                    </a:lnTo>
                    <a:lnTo>
                      <a:pt x="1351" y="1635"/>
                    </a:lnTo>
                    <a:lnTo>
                      <a:pt x="1349" y="1635"/>
                    </a:lnTo>
                    <a:lnTo>
                      <a:pt x="1349" y="1633"/>
                    </a:lnTo>
                    <a:lnTo>
                      <a:pt x="1349" y="1631"/>
                    </a:lnTo>
                    <a:lnTo>
                      <a:pt x="1349" y="1633"/>
                    </a:lnTo>
                    <a:lnTo>
                      <a:pt x="1348" y="1633"/>
                    </a:lnTo>
                    <a:lnTo>
                      <a:pt x="1348" y="1635"/>
                    </a:lnTo>
                    <a:lnTo>
                      <a:pt x="1346" y="1635"/>
                    </a:lnTo>
                    <a:lnTo>
                      <a:pt x="1344" y="1635"/>
                    </a:lnTo>
                    <a:lnTo>
                      <a:pt x="1343" y="1635"/>
                    </a:lnTo>
                    <a:lnTo>
                      <a:pt x="1343" y="1636"/>
                    </a:lnTo>
                    <a:lnTo>
                      <a:pt x="1341" y="1635"/>
                    </a:lnTo>
                    <a:lnTo>
                      <a:pt x="1341" y="1636"/>
                    </a:lnTo>
                    <a:lnTo>
                      <a:pt x="1339" y="1636"/>
                    </a:lnTo>
                    <a:lnTo>
                      <a:pt x="1338" y="1636"/>
                    </a:lnTo>
                    <a:lnTo>
                      <a:pt x="1338" y="1635"/>
                    </a:lnTo>
                    <a:lnTo>
                      <a:pt x="1338" y="1636"/>
                    </a:lnTo>
                    <a:lnTo>
                      <a:pt x="1338" y="1635"/>
                    </a:lnTo>
                    <a:lnTo>
                      <a:pt x="1338" y="1636"/>
                    </a:lnTo>
                    <a:lnTo>
                      <a:pt x="1336" y="1636"/>
                    </a:lnTo>
                    <a:lnTo>
                      <a:pt x="1334" y="1636"/>
                    </a:lnTo>
                    <a:lnTo>
                      <a:pt x="1334" y="1635"/>
                    </a:lnTo>
                    <a:lnTo>
                      <a:pt x="1332" y="1633"/>
                    </a:lnTo>
                    <a:lnTo>
                      <a:pt x="1334" y="1633"/>
                    </a:lnTo>
                    <a:lnTo>
                      <a:pt x="1334" y="1631"/>
                    </a:lnTo>
                    <a:lnTo>
                      <a:pt x="1334" y="1633"/>
                    </a:lnTo>
                    <a:lnTo>
                      <a:pt x="1332" y="1631"/>
                    </a:lnTo>
                    <a:lnTo>
                      <a:pt x="1334" y="1629"/>
                    </a:lnTo>
                    <a:lnTo>
                      <a:pt x="1336" y="1629"/>
                    </a:lnTo>
                    <a:lnTo>
                      <a:pt x="1338" y="1631"/>
                    </a:lnTo>
                    <a:lnTo>
                      <a:pt x="1338" y="1629"/>
                    </a:lnTo>
                    <a:lnTo>
                      <a:pt x="1336" y="1629"/>
                    </a:lnTo>
                    <a:lnTo>
                      <a:pt x="1334" y="1628"/>
                    </a:lnTo>
                    <a:lnTo>
                      <a:pt x="1334" y="1629"/>
                    </a:lnTo>
                    <a:lnTo>
                      <a:pt x="1332" y="1628"/>
                    </a:lnTo>
                    <a:lnTo>
                      <a:pt x="1334" y="1628"/>
                    </a:lnTo>
                    <a:lnTo>
                      <a:pt x="1334" y="1626"/>
                    </a:lnTo>
                    <a:lnTo>
                      <a:pt x="1336" y="1628"/>
                    </a:lnTo>
                    <a:lnTo>
                      <a:pt x="1336" y="1626"/>
                    </a:lnTo>
                    <a:lnTo>
                      <a:pt x="1338" y="1626"/>
                    </a:lnTo>
                    <a:lnTo>
                      <a:pt x="1339" y="1628"/>
                    </a:lnTo>
                    <a:lnTo>
                      <a:pt x="1339" y="1629"/>
                    </a:lnTo>
                    <a:lnTo>
                      <a:pt x="1339" y="1631"/>
                    </a:lnTo>
                    <a:lnTo>
                      <a:pt x="1341" y="1629"/>
                    </a:lnTo>
                    <a:lnTo>
                      <a:pt x="1343" y="1629"/>
                    </a:lnTo>
                    <a:lnTo>
                      <a:pt x="1341" y="1631"/>
                    </a:lnTo>
                    <a:lnTo>
                      <a:pt x="1343" y="1631"/>
                    </a:lnTo>
                    <a:lnTo>
                      <a:pt x="1343" y="1629"/>
                    </a:lnTo>
                    <a:lnTo>
                      <a:pt x="1341" y="1629"/>
                    </a:lnTo>
                    <a:lnTo>
                      <a:pt x="1341" y="1628"/>
                    </a:lnTo>
                    <a:lnTo>
                      <a:pt x="1343" y="1629"/>
                    </a:lnTo>
                    <a:lnTo>
                      <a:pt x="1341" y="1629"/>
                    </a:lnTo>
                    <a:lnTo>
                      <a:pt x="1341" y="1628"/>
                    </a:lnTo>
                    <a:lnTo>
                      <a:pt x="1339" y="1628"/>
                    </a:lnTo>
                    <a:lnTo>
                      <a:pt x="1339" y="1626"/>
                    </a:lnTo>
                    <a:lnTo>
                      <a:pt x="1341" y="1626"/>
                    </a:lnTo>
                    <a:lnTo>
                      <a:pt x="1343" y="1626"/>
                    </a:lnTo>
                    <a:close/>
                    <a:moveTo>
                      <a:pt x="1152" y="1272"/>
                    </a:moveTo>
                    <a:lnTo>
                      <a:pt x="1152" y="1274"/>
                    </a:lnTo>
                    <a:lnTo>
                      <a:pt x="1152" y="1276"/>
                    </a:lnTo>
                    <a:lnTo>
                      <a:pt x="1151" y="1276"/>
                    </a:lnTo>
                    <a:lnTo>
                      <a:pt x="1152" y="1276"/>
                    </a:lnTo>
                    <a:lnTo>
                      <a:pt x="1152" y="1277"/>
                    </a:lnTo>
                    <a:lnTo>
                      <a:pt x="1152" y="1276"/>
                    </a:lnTo>
                    <a:lnTo>
                      <a:pt x="1152" y="1274"/>
                    </a:lnTo>
                    <a:lnTo>
                      <a:pt x="1152" y="1272"/>
                    </a:lnTo>
                    <a:lnTo>
                      <a:pt x="1154" y="1272"/>
                    </a:lnTo>
                    <a:lnTo>
                      <a:pt x="1154" y="1274"/>
                    </a:lnTo>
                    <a:lnTo>
                      <a:pt x="1154" y="1276"/>
                    </a:lnTo>
                    <a:lnTo>
                      <a:pt x="1154" y="1277"/>
                    </a:lnTo>
                    <a:lnTo>
                      <a:pt x="1152" y="1277"/>
                    </a:lnTo>
                    <a:lnTo>
                      <a:pt x="1154" y="1277"/>
                    </a:lnTo>
                    <a:lnTo>
                      <a:pt x="1154" y="1279"/>
                    </a:lnTo>
                    <a:lnTo>
                      <a:pt x="1156" y="1279"/>
                    </a:lnTo>
                    <a:lnTo>
                      <a:pt x="1154" y="1281"/>
                    </a:lnTo>
                    <a:lnTo>
                      <a:pt x="1154" y="1282"/>
                    </a:lnTo>
                    <a:lnTo>
                      <a:pt x="1154" y="1284"/>
                    </a:lnTo>
                    <a:lnTo>
                      <a:pt x="1152" y="1284"/>
                    </a:lnTo>
                    <a:lnTo>
                      <a:pt x="1152" y="1286"/>
                    </a:lnTo>
                    <a:lnTo>
                      <a:pt x="1151" y="1286"/>
                    </a:lnTo>
                    <a:lnTo>
                      <a:pt x="1151" y="1288"/>
                    </a:lnTo>
                    <a:lnTo>
                      <a:pt x="1149" y="1289"/>
                    </a:lnTo>
                    <a:lnTo>
                      <a:pt x="1149" y="1288"/>
                    </a:lnTo>
                    <a:lnTo>
                      <a:pt x="1149" y="1289"/>
                    </a:lnTo>
                    <a:lnTo>
                      <a:pt x="1147" y="1289"/>
                    </a:lnTo>
                    <a:lnTo>
                      <a:pt x="1145" y="1291"/>
                    </a:lnTo>
                    <a:lnTo>
                      <a:pt x="1144" y="1291"/>
                    </a:lnTo>
                    <a:lnTo>
                      <a:pt x="1144" y="1289"/>
                    </a:lnTo>
                    <a:lnTo>
                      <a:pt x="1142" y="1289"/>
                    </a:lnTo>
                    <a:lnTo>
                      <a:pt x="1142" y="1288"/>
                    </a:lnTo>
                    <a:lnTo>
                      <a:pt x="1142" y="1286"/>
                    </a:lnTo>
                    <a:lnTo>
                      <a:pt x="1142" y="1284"/>
                    </a:lnTo>
                    <a:lnTo>
                      <a:pt x="1144" y="1284"/>
                    </a:lnTo>
                    <a:lnTo>
                      <a:pt x="1144" y="1286"/>
                    </a:lnTo>
                    <a:lnTo>
                      <a:pt x="1145" y="1286"/>
                    </a:lnTo>
                    <a:lnTo>
                      <a:pt x="1147" y="1286"/>
                    </a:lnTo>
                    <a:lnTo>
                      <a:pt x="1147" y="1288"/>
                    </a:lnTo>
                    <a:lnTo>
                      <a:pt x="1147" y="1286"/>
                    </a:lnTo>
                    <a:lnTo>
                      <a:pt x="1149" y="1286"/>
                    </a:lnTo>
                    <a:lnTo>
                      <a:pt x="1151" y="1286"/>
                    </a:lnTo>
                    <a:lnTo>
                      <a:pt x="1151" y="1284"/>
                    </a:lnTo>
                    <a:lnTo>
                      <a:pt x="1152" y="1282"/>
                    </a:lnTo>
                    <a:lnTo>
                      <a:pt x="1154" y="1282"/>
                    </a:lnTo>
                    <a:lnTo>
                      <a:pt x="1154" y="1281"/>
                    </a:lnTo>
                    <a:lnTo>
                      <a:pt x="1152" y="1282"/>
                    </a:lnTo>
                    <a:lnTo>
                      <a:pt x="1152" y="1284"/>
                    </a:lnTo>
                    <a:lnTo>
                      <a:pt x="1151" y="1284"/>
                    </a:lnTo>
                    <a:lnTo>
                      <a:pt x="1149" y="1286"/>
                    </a:lnTo>
                    <a:lnTo>
                      <a:pt x="1147" y="1286"/>
                    </a:lnTo>
                    <a:lnTo>
                      <a:pt x="1145" y="1286"/>
                    </a:lnTo>
                    <a:lnTo>
                      <a:pt x="1144" y="1286"/>
                    </a:lnTo>
                    <a:lnTo>
                      <a:pt x="1144" y="1284"/>
                    </a:lnTo>
                    <a:lnTo>
                      <a:pt x="1144" y="1282"/>
                    </a:lnTo>
                    <a:lnTo>
                      <a:pt x="1145" y="1282"/>
                    </a:lnTo>
                    <a:lnTo>
                      <a:pt x="1145" y="1284"/>
                    </a:lnTo>
                    <a:lnTo>
                      <a:pt x="1147" y="1284"/>
                    </a:lnTo>
                    <a:lnTo>
                      <a:pt x="1149" y="1284"/>
                    </a:lnTo>
                    <a:lnTo>
                      <a:pt x="1147" y="1282"/>
                    </a:lnTo>
                    <a:lnTo>
                      <a:pt x="1149" y="1282"/>
                    </a:lnTo>
                    <a:lnTo>
                      <a:pt x="1151" y="1282"/>
                    </a:lnTo>
                    <a:lnTo>
                      <a:pt x="1151" y="1281"/>
                    </a:lnTo>
                    <a:lnTo>
                      <a:pt x="1152" y="1281"/>
                    </a:lnTo>
                    <a:lnTo>
                      <a:pt x="1151" y="1281"/>
                    </a:lnTo>
                    <a:lnTo>
                      <a:pt x="1149" y="1282"/>
                    </a:lnTo>
                    <a:lnTo>
                      <a:pt x="1147" y="1282"/>
                    </a:lnTo>
                    <a:lnTo>
                      <a:pt x="1145" y="1282"/>
                    </a:lnTo>
                    <a:lnTo>
                      <a:pt x="1147" y="1282"/>
                    </a:lnTo>
                    <a:lnTo>
                      <a:pt x="1147" y="1281"/>
                    </a:lnTo>
                    <a:lnTo>
                      <a:pt x="1149" y="1281"/>
                    </a:lnTo>
                    <a:lnTo>
                      <a:pt x="1151" y="1279"/>
                    </a:lnTo>
                    <a:lnTo>
                      <a:pt x="1152" y="1277"/>
                    </a:lnTo>
                    <a:lnTo>
                      <a:pt x="1151" y="1279"/>
                    </a:lnTo>
                    <a:lnTo>
                      <a:pt x="1149" y="1279"/>
                    </a:lnTo>
                    <a:lnTo>
                      <a:pt x="1149" y="1281"/>
                    </a:lnTo>
                    <a:lnTo>
                      <a:pt x="1147" y="1281"/>
                    </a:lnTo>
                    <a:lnTo>
                      <a:pt x="1147" y="1282"/>
                    </a:lnTo>
                    <a:lnTo>
                      <a:pt x="1145" y="1282"/>
                    </a:lnTo>
                    <a:lnTo>
                      <a:pt x="1144" y="1282"/>
                    </a:lnTo>
                    <a:lnTo>
                      <a:pt x="1145" y="1281"/>
                    </a:lnTo>
                    <a:lnTo>
                      <a:pt x="1144" y="1281"/>
                    </a:lnTo>
                    <a:lnTo>
                      <a:pt x="1144" y="1282"/>
                    </a:lnTo>
                    <a:lnTo>
                      <a:pt x="1142" y="1282"/>
                    </a:lnTo>
                    <a:lnTo>
                      <a:pt x="1144" y="1281"/>
                    </a:lnTo>
                    <a:lnTo>
                      <a:pt x="1142" y="1281"/>
                    </a:lnTo>
                    <a:lnTo>
                      <a:pt x="1142" y="1279"/>
                    </a:lnTo>
                    <a:lnTo>
                      <a:pt x="1144" y="1279"/>
                    </a:lnTo>
                    <a:lnTo>
                      <a:pt x="1142" y="1277"/>
                    </a:lnTo>
                    <a:lnTo>
                      <a:pt x="1144" y="1276"/>
                    </a:lnTo>
                    <a:lnTo>
                      <a:pt x="1142" y="1276"/>
                    </a:lnTo>
                    <a:lnTo>
                      <a:pt x="1142" y="1274"/>
                    </a:lnTo>
                    <a:lnTo>
                      <a:pt x="1144" y="1274"/>
                    </a:lnTo>
                    <a:lnTo>
                      <a:pt x="1144" y="1272"/>
                    </a:lnTo>
                    <a:lnTo>
                      <a:pt x="1145" y="1272"/>
                    </a:lnTo>
                    <a:lnTo>
                      <a:pt x="1145" y="1274"/>
                    </a:lnTo>
                    <a:lnTo>
                      <a:pt x="1147" y="1274"/>
                    </a:lnTo>
                    <a:lnTo>
                      <a:pt x="1147" y="1276"/>
                    </a:lnTo>
                    <a:lnTo>
                      <a:pt x="1147" y="1274"/>
                    </a:lnTo>
                    <a:lnTo>
                      <a:pt x="1149" y="1274"/>
                    </a:lnTo>
                    <a:lnTo>
                      <a:pt x="1147" y="1274"/>
                    </a:lnTo>
                    <a:lnTo>
                      <a:pt x="1149" y="1274"/>
                    </a:lnTo>
                    <a:lnTo>
                      <a:pt x="1151" y="1272"/>
                    </a:lnTo>
                    <a:lnTo>
                      <a:pt x="1151" y="1274"/>
                    </a:lnTo>
                    <a:lnTo>
                      <a:pt x="1151" y="1276"/>
                    </a:lnTo>
                    <a:lnTo>
                      <a:pt x="1151" y="1274"/>
                    </a:lnTo>
                    <a:lnTo>
                      <a:pt x="1151" y="1272"/>
                    </a:lnTo>
                    <a:lnTo>
                      <a:pt x="1152" y="1272"/>
                    </a:lnTo>
                    <a:close/>
                    <a:moveTo>
                      <a:pt x="1195" y="1240"/>
                    </a:moveTo>
                    <a:lnTo>
                      <a:pt x="1195" y="1242"/>
                    </a:lnTo>
                    <a:lnTo>
                      <a:pt x="1196" y="1242"/>
                    </a:lnTo>
                    <a:lnTo>
                      <a:pt x="1196" y="1243"/>
                    </a:lnTo>
                    <a:lnTo>
                      <a:pt x="1198" y="1243"/>
                    </a:lnTo>
                    <a:lnTo>
                      <a:pt x="1200" y="1243"/>
                    </a:lnTo>
                    <a:lnTo>
                      <a:pt x="1202" y="1245"/>
                    </a:lnTo>
                    <a:lnTo>
                      <a:pt x="1202" y="1243"/>
                    </a:lnTo>
                    <a:lnTo>
                      <a:pt x="1203" y="1243"/>
                    </a:lnTo>
                    <a:lnTo>
                      <a:pt x="1205" y="1245"/>
                    </a:lnTo>
                    <a:lnTo>
                      <a:pt x="1203" y="1247"/>
                    </a:lnTo>
                    <a:lnTo>
                      <a:pt x="1203" y="1248"/>
                    </a:lnTo>
                    <a:lnTo>
                      <a:pt x="1202" y="1248"/>
                    </a:lnTo>
                    <a:lnTo>
                      <a:pt x="1200" y="1248"/>
                    </a:lnTo>
                    <a:lnTo>
                      <a:pt x="1202" y="1247"/>
                    </a:lnTo>
                    <a:lnTo>
                      <a:pt x="1200" y="1247"/>
                    </a:lnTo>
                    <a:lnTo>
                      <a:pt x="1198" y="1248"/>
                    </a:lnTo>
                    <a:lnTo>
                      <a:pt x="1196" y="1248"/>
                    </a:lnTo>
                    <a:lnTo>
                      <a:pt x="1195" y="1248"/>
                    </a:lnTo>
                    <a:lnTo>
                      <a:pt x="1193" y="1248"/>
                    </a:lnTo>
                    <a:lnTo>
                      <a:pt x="1191" y="1248"/>
                    </a:lnTo>
                    <a:lnTo>
                      <a:pt x="1190" y="1250"/>
                    </a:lnTo>
                    <a:lnTo>
                      <a:pt x="1190" y="1248"/>
                    </a:lnTo>
                    <a:lnTo>
                      <a:pt x="1188" y="1250"/>
                    </a:lnTo>
                    <a:lnTo>
                      <a:pt x="1186" y="1250"/>
                    </a:lnTo>
                    <a:lnTo>
                      <a:pt x="1186" y="1248"/>
                    </a:lnTo>
                    <a:lnTo>
                      <a:pt x="1186" y="1247"/>
                    </a:lnTo>
                    <a:lnTo>
                      <a:pt x="1185" y="1247"/>
                    </a:lnTo>
                    <a:lnTo>
                      <a:pt x="1185" y="1248"/>
                    </a:lnTo>
                    <a:lnTo>
                      <a:pt x="1185" y="1247"/>
                    </a:lnTo>
                    <a:lnTo>
                      <a:pt x="1183" y="1247"/>
                    </a:lnTo>
                    <a:lnTo>
                      <a:pt x="1181" y="1247"/>
                    </a:lnTo>
                    <a:lnTo>
                      <a:pt x="1181" y="1245"/>
                    </a:lnTo>
                    <a:lnTo>
                      <a:pt x="1183" y="1245"/>
                    </a:lnTo>
                    <a:lnTo>
                      <a:pt x="1185" y="1247"/>
                    </a:lnTo>
                    <a:lnTo>
                      <a:pt x="1185" y="1245"/>
                    </a:lnTo>
                    <a:lnTo>
                      <a:pt x="1183" y="1245"/>
                    </a:lnTo>
                    <a:lnTo>
                      <a:pt x="1183" y="1243"/>
                    </a:lnTo>
                    <a:lnTo>
                      <a:pt x="1185" y="1243"/>
                    </a:lnTo>
                    <a:lnTo>
                      <a:pt x="1185" y="1242"/>
                    </a:lnTo>
                    <a:lnTo>
                      <a:pt x="1186" y="1242"/>
                    </a:lnTo>
                    <a:lnTo>
                      <a:pt x="1186" y="1243"/>
                    </a:lnTo>
                    <a:lnTo>
                      <a:pt x="1188" y="1243"/>
                    </a:lnTo>
                    <a:lnTo>
                      <a:pt x="1188" y="1245"/>
                    </a:lnTo>
                    <a:lnTo>
                      <a:pt x="1190" y="1245"/>
                    </a:lnTo>
                    <a:lnTo>
                      <a:pt x="1191" y="1245"/>
                    </a:lnTo>
                    <a:lnTo>
                      <a:pt x="1190" y="1245"/>
                    </a:lnTo>
                    <a:lnTo>
                      <a:pt x="1190" y="1243"/>
                    </a:lnTo>
                    <a:lnTo>
                      <a:pt x="1188" y="1243"/>
                    </a:lnTo>
                    <a:lnTo>
                      <a:pt x="1188" y="1242"/>
                    </a:lnTo>
                    <a:lnTo>
                      <a:pt x="1186" y="1242"/>
                    </a:lnTo>
                    <a:lnTo>
                      <a:pt x="1188" y="1240"/>
                    </a:lnTo>
                    <a:lnTo>
                      <a:pt x="1190" y="1242"/>
                    </a:lnTo>
                    <a:lnTo>
                      <a:pt x="1190" y="1240"/>
                    </a:lnTo>
                    <a:lnTo>
                      <a:pt x="1191" y="1242"/>
                    </a:lnTo>
                    <a:lnTo>
                      <a:pt x="1193" y="1242"/>
                    </a:lnTo>
                    <a:lnTo>
                      <a:pt x="1195" y="1242"/>
                    </a:lnTo>
                    <a:lnTo>
                      <a:pt x="1195" y="1243"/>
                    </a:lnTo>
                    <a:lnTo>
                      <a:pt x="1196" y="1243"/>
                    </a:lnTo>
                    <a:lnTo>
                      <a:pt x="1195" y="1242"/>
                    </a:lnTo>
                    <a:lnTo>
                      <a:pt x="1193" y="1242"/>
                    </a:lnTo>
                    <a:lnTo>
                      <a:pt x="1191" y="1242"/>
                    </a:lnTo>
                    <a:lnTo>
                      <a:pt x="1191" y="1240"/>
                    </a:lnTo>
                    <a:lnTo>
                      <a:pt x="1193" y="1240"/>
                    </a:lnTo>
                    <a:lnTo>
                      <a:pt x="1195" y="1240"/>
                    </a:lnTo>
                    <a:close/>
                    <a:moveTo>
                      <a:pt x="1147" y="1333"/>
                    </a:moveTo>
                    <a:lnTo>
                      <a:pt x="1149" y="1333"/>
                    </a:lnTo>
                    <a:lnTo>
                      <a:pt x="1151" y="1333"/>
                    </a:lnTo>
                    <a:lnTo>
                      <a:pt x="1151" y="1335"/>
                    </a:lnTo>
                    <a:lnTo>
                      <a:pt x="1151" y="1333"/>
                    </a:lnTo>
                    <a:lnTo>
                      <a:pt x="1151" y="1332"/>
                    </a:lnTo>
                    <a:lnTo>
                      <a:pt x="1152" y="1333"/>
                    </a:lnTo>
                    <a:lnTo>
                      <a:pt x="1152" y="1335"/>
                    </a:lnTo>
                    <a:lnTo>
                      <a:pt x="1154" y="1337"/>
                    </a:lnTo>
                    <a:lnTo>
                      <a:pt x="1152" y="1337"/>
                    </a:lnTo>
                    <a:lnTo>
                      <a:pt x="1152" y="1339"/>
                    </a:lnTo>
                    <a:lnTo>
                      <a:pt x="1152" y="1337"/>
                    </a:lnTo>
                    <a:lnTo>
                      <a:pt x="1154" y="1339"/>
                    </a:lnTo>
                    <a:lnTo>
                      <a:pt x="1154" y="1340"/>
                    </a:lnTo>
                    <a:lnTo>
                      <a:pt x="1156" y="1342"/>
                    </a:lnTo>
                    <a:lnTo>
                      <a:pt x="1156" y="1344"/>
                    </a:lnTo>
                    <a:lnTo>
                      <a:pt x="1156" y="1345"/>
                    </a:lnTo>
                    <a:lnTo>
                      <a:pt x="1157" y="1345"/>
                    </a:lnTo>
                    <a:lnTo>
                      <a:pt x="1157" y="1347"/>
                    </a:lnTo>
                    <a:lnTo>
                      <a:pt x="1157" y="1349"/>
                    </a:lnTo>
                    <a:lnTo>
                      <a:pt x="1156" y="1349"/>
                    </a:lnTo>
                    <a:lnTo>
                      <a:pt x="1157" y="1349"/>
                    </a:lnTo>
                    <a:lnTo>
                      <a:pt x="1156" y="1349"/>
                    </a:lnTo>
                    <a:lnTo>
                      <a:pt x="1156" y="1347"/>
                    </a:lnTo>
                    <a:lnTo>
                      <a:pt x="1154" y="1347"/>
                    </a:lnTo>
                    <a:lnTo>
                      <a:pt x="1154" y="1345"/>
                    </a:lnTo>
                    <a:lnTo>
                      <a:pt x="1152" y="1345"/>
                    </a:lnTo>
                    <a:lnTo>
                      <a:pt x="1154" y="1345"/>
                    </a:lnTo>
                    <a:lnTo>
                      <a:pt x="1154" y="1347"/>
                    </a:lnTo>
                    <a:lnTo>
                      <a:pt x="1154" y="1349"/>
                    </a:lnTo>
                    <a:lnTo>
                      <a:pt x="1152" y="1349"/>
                    </a:lnTo>
                    <a:lnTo>
                      <a:pt x="1151" y="1347"/>
                    </a:lnTo>
                    <a:lnTo>
                      <a:pt x="1151" y="1345"/>
                    </a:lnTo>
                    <a:lnTo>
                      <a:pt x="1149" y="1345"/>
                    </a:lnTo>
                    <a:lnTo>
                      <a:pt x="1149" y="1344"/>
                    </a:lnTo>
                    <a:lnTo>
                      <a:pt x="1151" y="1344"/>
                    </a:lnTo>
                    <a:lnTo>
                      <a:pt x="1151" y="1342"/>
                    </a:lnTo>
                    <a:lnTo>
                      <a:pt x="1152" y="1342"/>
                    </a:lnTo>
                    <a:lnTo>
                      <a:pt x="1151" y="1342"/>
                    </a:lnTo>
                    <a:lnTo>
                      <a:pt x="1151" y="1340"/>
                    </a:lnTo>
                    <a:lnTo>
                      <a:pt x="1151" y="1339"/>
                    </a:lnTo>
                    <a:lnTo>
                      <a:pt x="1151" y="1340"/>
                    </a:lnTo>
                    <a:lnTo>
                      <a:pt x="1149" y="1342"/>
                    </a:lnTo>
                    <a:lnTo>
                      <a:pt x="1147" y="1342"/>
                    </a:lnTo>
                    <a:lnTo>
                      <a:pt x="1147" y="1344"/>
                    </a:lnTo>
                    <a:lnTo>
                      <a:pt x="1145" y="1344"/>
                    </a:lnTo>
                    <a:lnTo>
                      <a:pt x="1144" y="1344"/>
                    </a:lnTo>
                    <a:lnTo>
                      <a:pt x="1144" y="1345"/>
                    </a:lnTo>
                    <a:lnTo>
                      <a:pt x="1144" y="1347"/>
                    </a:lnTo>
                    <a:lnTo>
                      <a:pt x="1142" y="1347"/>
                    </a:lnTo>
                    <a:lnTo>
                      <a:pt x="1142" y="1345"/>
                    </a:lnTo>
                    <a:lnTo>
                      <a:pt x="1142" y="1344"/>
                    </a:lnTo>
                    <a:lnTo>
                      <a:pt x="1140" y="1344"/>
                    </a:lnTo>
                    <a:lnTo>
                      <a:pt x="1140" y="1342"/>
                    </a:lnTo>
                    <a:lnTo>
                      <a:pt x="1142" y="1342"/>
                    </a:lnTo>
                    <a:lnTo>
                      <a:pt x="1144" y="1340"/>
                    </a:lnTo>
                    <a:lnTo>
                      <a:pt x="1145" y="1340"/>
                    </a:lnTo>
                    <a:lnTo>
                      <a:pt x="1145" y="1339"/>
                    </a:lnTo>
                    <a:lnTo>
                      <a:pt x="1145" y="1340"/>
                    </a:lnTo>
                    <a:lnTo>
                      <a:pt x="1145" y="1339"/>
                    </a:lnTo>
                    <a:lnTo>
                      <a:pt x="1144" y="1339"/>
                    </a:lnTo>
                    <a:lnTo>
                      <a:pt x="1144" y="1337"/>
                    </a:lnTo>
                    <a:lnTo>
                      <a:pt x="1142" y="1337"/>
                    </a:lnTo>
                    <a:lnTo>
                      <a:pt x="1144" y="1337"/>
                    </a:lnTo>
                    <a:lnTo>
                      <a:pt x="1142" y="1335"/>
                    </a:lnTo>
                    <a:lnTo>
                      <a:pt x="1144" y="1335"/>
                    </a:lnTo>
                    <a:lnTo>
                      <a:pt x="1144" y="1333"/>
                    </a:lnTo>
                    <a:lnTo>
                      <a:pt x="1145" y="1333"/>
                    </a:lnTo>
                    <a:lnTo>
                      <a:pt x="1147" y="1333"/>
                    </a:lnTo>
                    <a:lnTo>
                      <a:pt x="1147" y="1335"/>
                    </a:lnTo>
                    <a:lnTo>
                      <a:pt x="1147" y="1333"/>
                    </a:lnTo>
                    <a:lnTo>
                      <a:pt x="1147" y="1332"/>
                    </a:lnTo>
                    <a:lnTo>
                      <a:pt x="1147" y="1333"/>
                    </a:lnTo>
                    <a:close/>
                    <a:moveTo>
                      <a:pt x="1193" y="1085"/>
                    </a:moveTo>
                    <a:lnTo>
                      <a:pt x="1195" y="1085"/>
                    </a:lnTo>
                    <a:lnTo>
                      <a:pt x="1196" y="1085"/>
                    </a:lnTo>
                    <a:lnTo>
                      <a:pt x="1195" y="1085"/>
                    </a:lnTo>
                    <a:lnTo>
                      <a:pt x="1196" y="1085"/>
                    </a:lnTo>
                    <a:lnTo>
                      <a:pt x="1198" y="1085"/>
                    </a:lnTo>
                    <a:lnTo>
                      <a:pt x="1200" y="1087"/>
                    </a:lnTo>
                    <a:lnTo>
                      <a:pt x="1202" y="1088"/>
                    </a:lnTo>
                    <a:lnTo>
                      <a:pt x="1200" y="1088"/>
                    </a:lnTo>
                    <a:lnTo>
                      <a:pt x="1202" y="1088"/>
                    </a:lnTo>
                    <a:lnTo>
                      <a:pt x="1202" y="1090"/>
                    </a:lnTo>
                    <a:lnTo>
                      <a:pt x="1200" y="1090"/>
                    </a:lnTo>
                    <a:lnTo>
                      <a:pt x="1198" y="1090"/>
                    </a:lnTo>
                    <a:lnTo>
                      <a:pt x="1196" y="1090"/>
                    </a:lnTo>
                    <a:lnTo>
                      <a:pt x="1196" y="1088"/>
                    </a:lnTo>
                    <a:lnTo>
                      <a:pt x="1198" y="1088"/>
                    </a:lnTo>
                    <a:lnTo>
                      <a:pt x="1196" y="1088"/>
                    </a:lnTo>
                    <a:lnTo>
                      <a:pt x="1196" y="1090"/>
                    </a:lnTo>
                    <a:lnTo>
                      <a:pt x="1196" y="1092"/>
                    </a:lnTo>
                    <a:lnTo>
                      <a:pt x="1195" y="1092"/>
                    </a:lnTo>
                    <a:lnTo>
                      <a:pt x="1195" y="1094"/>
                    </a:lnTo>
                    <a:lnTo>
                      <a:pt x="1193" y="1094"/>
                    </a:lnTo>
                    <a:lnTo>
                      <a:pt x="1191" y="1094"/>
                    </a:lnTo>
                    <a:lnTo>
                      <a:pt x="1190" y="1094"/>
                    </a:lnTo>
                    <a:lnTo>
                      <a:pt x="1190" y="1095"/>
                    </a:lnTo>
                    <a:lnTo>
                      <a:pt x="1188" y="1095"/>
                    </a:lnTo>
                    <a:lnTo>
                      <a:pt x="1186" y="1095"/>
                    </a:lnTo>
                    <a:lnTo>
                      <a:pt x="1185" y="1094"/>
                    </a:lnTo>
                    <a:lnTo>
                      <a:pt x="1185" y="1092"/>
                    </a:lnTo>
                    <a:lnTo>
                      <a:pt x="1185" y="1090"/>
                    </a:lnTo>
                    <a:lnTo>
                      <a:pt x="1186" y="1090"/>
                    </a:lnTo>
                    <a:lnTo>
                      <a:pt x="1188" y="1090"/>
                    </a:lnTo>
                    <a:lnTo>
                      <a:pt x="1188" y="1092"/>
                    </a:lnTo>
                    <a:lnTo>
                      <a:pt x="1190" y="1090"/>
                    </a:lnTo>
                    <a:lnTo>
                      <a:pt x="1188" y="1092"/>
                    </a:lnTo>
                    <a:lnTo>
                      <a:pt x="1190" y="1092"/>
                    </a:lnTo>
                    <a:lnTo>
                      <a:pt x="1191" y="1092"/>
                    </a:lnTo>
                    <a:lnTo>
                      <a:pt x="1193" y="1092"/>
                    </a:lnTo>
                    <a:lnTo>
                      <a:pt x="1191" y="1092"/>
                    </a:lnTo>
                    <a:lnTo>
                      <a:pt x="1190" y="1092"/>
                    </a:lnTo>
                    <a:lnTo>
                      <a:pt x="1190" y="1090"/>
                    </a:lnTo>
                    <a:lnTo>
                      <a:pt x="1188" y="1090"/>
                    </a:lnTo>
                    <a:lnTo>
                      <a:pt x="1186" y="1090"/>
                    </a:lnTo>
                    <a:lnTo>
                      <a:pt x="1185" y="1090"/>
                    </a:lnTo>
                    <a:lnTo>
                      <a:pt x="1183" y="1090"/>
                    </a:lnTo>
                    <a:lnTo>
                      <a:pt x="1183" y="1088"/>
                    </a:lnTo>
                    <a:lnTo>
                      <a:pt x="1183" y="1087"/>
                    </a:lnTo>
                    <a:lnTo>
                      <a:pt x="1185" y="1087"/>
                    </a:lnTo>
                    <a:lnTo>
                      <a:pt x="1186" y="1087"/>
                    </a:lnTo>
                    <a:lnTo>
                      <a:pt x="1186" y="1085"/>
                    </a:lnTo>
                    <a:lnTo>
                      <a:pt x="1188" y="1085"/>
                    </a:lnTo>
                    <a:lnTo>
                      <a:pt x="1190" y="1085"/>
                    </a:lnTo>
                    <a:lnTo>
                      <a:pt x="1191" y="1085"/>
                    </a:lnTo>
                    <a:lnTo>
                      <a:pt x="1193" y="1085"/>
                    </a:lnTo>
                    <a:close/>
                    <a:moveTo>
                      <a:pt x="1176" y="1418"/>
                    </a:moveTo>
                    <a:lnTo>
                      <a:pt x="1178" y="1418"/>
                    </a:lnTo>
                    <a:lnTo>
                      <a:pt x="1178" y="1420"/>
                    </a:lnTo>
                    <a:lnTo>
                      <a:pt x="1179" y="1422"/>
                    </a:lnTo>
                    <a:lnTo>
                      <a:pt x="1179" y="1424"/>
                    </a:lnTo>
                    <a:lnTo>
                      <a:pt x="1178" y="1424"/>
                    </a:lnTo>
                    <a:lnTo>
                      <a:pt x="1178" y="1422"/>
                    </a:lnTo>
                    <a:lnTo>
                      <a:pt x="1179" y="1422"/>
                    </a:lnTo>
                    <a:lnTo>
                      <a:pt x="1178" y="1420"/>
                    </a:lnTo>
                    <a:lnTo>
                      <a:pt x="1178" y="1422"/>
                    </a:lnTo>
                    <a:lnTo>
                      <a:pt x="1178" y="1424"/>
                    </a:lnTo>
                    <a:lnTo>
                      <a:pt x="1178" y="1425"/>
                    </a:lnTo>
                    <a:lnTo>
                      <a:pt x="1178" y="1424"/>
                    </a:lnTo>
                    <a:lnTo>
                      <a:pt x="1176" y="1422"/>
                    </a:lnTo>
                    <a:lnTo>
                      <a:pt x="1174" y="1422"/>
                    </a:lnTo>
                    <a:lnTo>
                      <a:pt x="1174" y="1420"/>
                    </a:lnTo>
                    <a:lnTo>
                      <a:pt x="1174" y="1422"/>
                    </a:lnTo>
                    <a:lnTo>
                      <a:pt x="1176" y="1422"/>
                    </a:lnTo>
                    <a:lnTo>
                      <a:pt x="1176" y="1424"/>
                    </a:lnTo>
                    <a:lnTo>
                      <a:pt x="1178" y="1424"/>
                    </a:lnTo>
                    <a:lnTo>
                      <a:pt x="1176" y="1425"/>
                    </a:lnTo>
                    <a:lnTo>
                      <a:pt x="1178" y="1425"/>
                    </a:lnTo>
                    <a:lnTo>
                      <a:pt x="1178" y="1427"/>
                    </a:lnTo>
                    <a:lnTo>
                      <a:pt x="1178" y="1425"/>
                    </a:lnTo>
                    <a:lnTo>
                      <a:pt x="1178" y="1427"/>
                    </a:lnTo>
                    <a:lnTo>
                      <a:pt x="1178" y="1429"/>
                    </a:lnTo>
                    <a:lnTo>
                      <a:pt x="1176" y="1429"/>
                    </a:lnTo>
                    <a:lnTo>
                      <a:pt x="1176" y="1430"/>
                    </a:lnTo>
                    <a:lnTo>
                      <a:pt x="1176" y="1429"/>
                    </a:lnTo>
                    <a:lnTo>
                      <a:pt x="1174" y="1429"/>
                    </a:lnTo>
                    <a:lnTo>
                      <a:pt x="1176" y="1427"/>
                    </a:lnTo>
                    <a:lnTo>
                      <a:pt x="1174" y="1427"/>
                    </a:lnTo>
                    <a:lnTo>
                      <a:pt x="1174" y="1425"/>
                    </a:lnTo>
                    <a:lnTo>
                      <a:pt x="1174" y="1424"/>
                    </a:lnTo>
                    <a:lnTo>
                      <a:pt x="1173" y="1425"/>
                    </a:lnTo>
                    <a:lnTo>
                      <a:pt x="1173" y="1424"/>
                    </a:lnTo>
                    <a:lnTo>
                      <a:pt x="1171" y="1424"/>
                    </a:lnTo>
                    <a:lnTo>
                      <a:pt x="1173" y="1425"/>
                    </a:lnTo>
                    <a:lnTo>
                      <a:pt x="1173" y="1427"/>
                    </a:lnTo>
                    <a:lnTo>
                      <a:pt x="1171" y="1429"/>
                    </a:lnTo>
                    <a:lnTo>
                      <a:pt x="1171" y="1427"/>
                    </a:lnTo>
                    <a:lnTo>
                      <a:pt x="1171" y="1429"/>
                    </a:lnTo>
                    <a:lnTo>
                      <a:pt x="1171" y="1430"/>
                    </a:lnTo>
                    <a:lnTo>
                      <a:pt x="1171" y="1429"/>
                    </a:lnTo>
                    <a:lnTo>
                      <a:pt x="1169" y="1429"/>
                    </a:lnTo>
                    <a:lnTo>
                      <a:pt x="1169" y="1430"/>
                    </a:lnTo>
                    <a:lnTo>
                      <a:pt x="1171" y="1430"/>
                    </a:lnTo>
                    <a:lnTo>
                      <a:pt x="1169" y="1432"/>
                    </a:lnTo>
                    <a:lnTo>
                      <a:pt x="1168" y="1432"/>
                    </a:lnTo>
                    <a:lnTo>
                      <a:pt x="1168" y="1430"/>
                    </a:lnTo>
                    <a:lnTo>
                      <a:pt x="1168" y="1432"/>
                    </a:lnTo>
                    <a:lnTo>
                      <a:pt x="1166" y="1432"/>
                    </a:lnTo>
                    <a:lnTo>
                      <a:pt x="1168" y="1432"/>
                    </a:lnTo>
                    <a:lnTo>
                      <a:pt x="1166" y="1432"/>
                    </a:lnTo>
                    <a:lnTo>
                      <a:pt x="1166" y="1430"/>
                    </a:lnTo>
                    <a:lnTo>
                      <a:pt x="1166" y="1432"/>
                    </a:lnTo>
                    <a:lnTo>
                      <a:pt x="1164" y="1432"/>
                    </a:lnTo>
                    <a:lnTo>
                      <a:pt x="1164" y="1430"/>
                    </a:lnTo>
                    <a:lnTo>
                      <a:pt x="1164" y="1432"/>
                    </a:lnTo>
                    <a:lnTo>
                      <a:pt x="1164" y="1434"/>
                    </a:lnTo>
                    <a:lnTo>
                      <a:pt x="1162" y="1434"/>
                    </a:lnTo>
                    <a:lnTo>
                      <a:pt x="1161" y="1434"/>
                    </a:lnTo>
                    <a:lnTo>
                      <a:pt x="1162" y="1432"/>
                    </a:lnTo>
                    <a:lnTo>
                      <a:pt x="1161" y="1432"/>
                    </a:lnTo>
                    <a:lnTo>
                      <a:pt x="1162" y="1432"/>
                    </a:lnTo>
                    <a:lnTo>
                      <a:pt x="1161" y="1430"/>
                    </a:lnTo>
                    <a:lnTo>
                      <a:pt x="1162" y="1430"/>
                    </a:lnTo>
                    <a:lnTo>
                      <a:pt x="1164" y="1430"/>
                    </a:lnTo>
                    <a:lnTo>
                      <a:pt x="1164" y="1429"/>
                    </a:lnTo>
                    <a:lnTo>
                      <a:pt x="1166" y="1429"/>
                    </a:lnTo>
                    <a:lnTo>
                      <a:pt x="1168" y="1427"/>
                    </a:lnTo>
                    <a:lnTo>
                      <a:pt x="1169" y="1425"/>
                    </a:lnTo>
                    <a:lnTo>
                      <a:pt x="1168" y="1425"/>
                    </a:lnTo>
                    <a:lnTo>
                      <a:pt x="1168" y="1427"/>
                    </a:lnTo>
                    <a:lnTo>
                      <a:pt x="1168" y="1425"/>
                    </a:lnTo>
                    <a:lnTo>
                      <a:pt x="1168" y="1427"/>
                    </a:lnTo>
                    <a:lnTo>
                      <a:pt x="1166" y="1427"/>
                    </a:lnTo>
                    <a:lnTo>
                      <a:pt x="1164" y="1429"/>
                    </a:lnTo>
                    <a:lnTo>
                      <a:pt x="1164" y="1427"/>
                    </a:lnTo>
                    <a:lnTo>
                      <a:pt x="1162" y="1425"/>
                    </a:lnTo>
                    <a:lnTo>
                      <a:pt x="1164" y="1425"/>
                    </a:lnTo>
                    <a:lnTo>
                      <a:pt x="1164" y="1424"/>
                    </a:lnTo>
                    <a:lnTo>
                      <a:pt x="1166" y="1424"/>
                    </a:lnTo>
                    <a:lnTo>
                      <a:pt x="1166" y="1422"/>
                    </a:lnTo>
                    <a:lnTo>
                      <a:pt x="1168" y="1422"/>
                    </a:lnTo>
                    <a:lnTo>
                      <a:pt x="1168" y="1424"/>
                    </a:lnTo>
                    <a:lnTo>
                      <a:pt x="1168" y="1422"/>
                    </a:lnTo>
                    <a:lnTo>
                      <a:pt x="1168" y="1424"/>
                    </a:lnTo>
                    <a:lnTo>
                      <a:pt x="1168" y="1422"/>
                    </a:lnTo>
                    <a:lnTo>
                      <a:pt x="1169" y="1424"/>
                    </a:lnTo>
                    <a:lnTo>
                      <a:pt x="1169" y="1422"/>
                    </a:lnTo>
                    <a:lnTo>
                      <a:pt x="1168" y="1422"/>
                    </a:lnTo>
                    <a:lnTo>
                      <a:pt x="1168" y="1420"/>
                    </a:lnTo>
                    <a:lnTo>
                      <a:pt x="1169" y="1420"/>
                    </a:lnTo>
                    <a:lnTo>
                      <a:pt x="1171" y="1420"/>
                    </a:lnTo>
                    <a:lnTo>
                      <a:pt x="1169" y="1420"/>
                    </a:lnTo>
                    <a:lnTo>
                      <a:pt x="1169" y="1418"/>
                    </a:lnTo>
                    <a:lnTo>
                      <a:pt x="1171" y="1418"/>
                    </a:lnTo>
                    <a:lnTo>
                      <a:pt x="1171" y="1420"/>
                    </a:lnTo>
                    <a:lnTo>
                      <a:pt x="1171" y="1418"/>
                    </a:lnTo>
                    <a:lnTo>
                      <a:pt x="1173" y="1418"/>
                    </a:lnTo>
                    <a:lnTo>
                      <a:pt x="1174" y="1418"/>
                    </a:lnTo>
                    <a:lnTo>
                      <a:pt x="1176" y="1418"/>
                    </a:lnTo>
                    <a:close/>
                    <a:moveTo>
                      <a:pt x="1151" y="1379"/>
                    </a:moveTo>
                    <a:lnTo>
                      <a:pt x="1151" y="1381"/>
                    </a:lnTo>
                    <a:lnTo>
                      <a:pt x="1151" y="1379"/>
                    </a:lnTo>
                    <a:lnTo>
                      <a:pt x="1152" y="1379"/>
                    </a:lnTo>
                    <a:lnTo>
                      <a:pt x="1154" y="1379"/>
                    </a:lnTo>
                    <a:lnTo>
                      <a:pt x="1152" y="1381"/>
                    </a:lnTo>
                    <a:lnTo>
                      <a:pt x="1152" y="1383"/>
                    </a:lnTo>
                    <a:lnTo>
                      <a:pt x="1152" y="1381"/>
                    </a:lnTo>
                    <a:lnTo>
                      <a:pt x="1154" y="1381"/>
                    </a:lnTo>
                    <a:lnTo>
                      <a:pt x="1156" y="1381"/>
                    </a:lnTo>
                    <a:lnTo>
                      <a:pt x="1157" y="1381"/>
                    </a:lnTo>
                    <a:lnTo>
                      <a:pt x="1159" y="1381"/>
                    </a:lnTo>
                    <a:lnTo>
                      <a:pt x="1161" y="1381"/>
                    </a:lnTo>
                    <a:lnTo>
                      <a:pt x="1161" y="1383"/>
                    </a:lnTo>
                    <a:lnTo>
                      <a:pt x="1159" y="1383"/>
                    </a:lnTo>
                    <a:lnTo>
                      <a:pt x="1157" y="1384"/>
                    </a:lnTo>
                    <a:lnTo>
                      <a:pt x="1157" y="1383"/>
                    </a:lnTo>
                    <a:lnTo>
                      <a:pt x="1157" y="1384"/>
                    </a:lnTo>
                    <a:lnTo>
                      <a:pt x="1156" y="1384"/>
                    </a:lnTo>
                    <a:lnTo>
                      <a:pt x="1157" y="1386"/>
                    </a:lnTo>
                    <a:lnTo>
                      <a:pt x="1156" y="1386"/>
                    </a:lnTo>
                    <a:lnTo>
                      <a:pt x="1156" y="1388"/>
                    </a:lnTo>
                    <a:lnTo>
                      <a:pt x="1156" y="1386"/>
                    </a:lnTo>
                    <a:lnTo>
                      <a:pt x="1154" y="1386"/>
                    </a:lnTo>
                    <a:lnTo>
                      <a:pt x="1152" y="1384"/>
                    </a:lnTo>
                    <a:lnTo>
                      <a:pt x="1154" y="1383"/>
                    </a:lnTo>
                    <a:lnTo>
                      <a:pt x="1152" y="1384"/>
                    </a:lnTo>
                    <a:lnTo>
                      <a:pt x="1152" y="1386"/>
                    </a:lnTo>
                    <a:lnTo>
                      <a:pt x="1154" y="1388"/>
                    </a:lnTo>
                    <a:lnTo>
                      <a:pt x="1156" y="1388"/>
                    </a:lnTo>
                    <a:lnTo>
                      <a:pt x="1154" y="1390"/>
                    </a:lnTo>
                    <a:lnTo>
                      <a:pt x="1152" y="1390"/>
                    </a:lnTo>
                    <a:lnTo>
                      <a:pt x="1152" y="1388"/>
                    </a:lnTo>
                    <a:lnTo>
                      <a:pt x="1152" y="1390"/>
                    </a:lnTo>
                    <a:lnTo>
                      <a:pt x="1154" y="1390"/>
                    </a:lnTo>
                    <a:lnTo>
                      <a:pt x="1156" y="1390"/>
                    </a:lnTo>
                    <a:lnTo>
                      <a:pt x="1154" y="1391"/>
                    </a:lnTo>
                    <a:lnTo>
                      <a:pt x="1152" y="1391"/>
                    </a:lnTo>
                    <a:lnTo>
                      <a:pt x="1154" y="1391"/>
                    </a:lnTo>
                    <a:lnTo>
                      <a:pt x="1154" y="1393"/>
                    </a:lnTo>
                    <a:lnTo>
                      <a:pt x="1152" y="1393"/>
                    </a:lnTo>
                    <a:lnTo>
                      <a:pt x="1154" y="1393"/>
                    </a:lnTo>
                    <a:lnTo>
                      <a:pt x="1154" y="1395"/>
                    </a:lnTo>
                    <a:lnTo>
                      <a:pt x="1154" y="1396"/>
                    </a:lnTo>
                    <a:lnTo>
                      <a:pt x="1152" y="1398"/>
                    </a:lnTo>
                    <a:lnTo>
                      <a:pt x="1152" y="1396"/>
                    </a:lnTo>
                    <a:lnTo>
                      <a:pt x="1152" y="1398"/>
                    </a:lnTo>
                    <a:lnTo>
                      <a:pt x="1152" y="1396"/>
                    </a:lnTo>
                    <a:lnTo>
                      <a:pt x="1152" y="1395"/>
                    </a:lnTo>
                    <a:lnTo>
                      <a:pt x="1152" y="1396"/>
                    </a:lnTo>
                    <a:lnTo>
                      <a:pt x="1151" y="1396"/>
                    </a:lnTo>
                    <a:lnTo>
                      <a:pt x="1149" y="1396"/>
                    </a:lnTo>
                    <a:lnTo>
                      <a:pt x="1149" y="1395"/>
                    </a:lnTo>
                    <a:lnTo>
                      <a:pt x="1147" y="1395"/>
                    </a:lnTo>
                    <a:lnTo>
                      <a:pt x="1149" y="1395"/>
                    </a:lnTo>
                    <a:lnTo>
                      <a:pt x="1147" y="1395"/>
                    </a:lnTo>
                    <a:lnTo>
                      <a:pt x="1149" y="1393"/>
                    </a:lnTo>
                    <a:lnTo>
                      <a:pt x="1147" y="1393"/>
                    </a:lnTo>
                    <a:lnTo>
                      <a:pt x="1147" y="1391"/>
                    </a:lnTo>
                    <a:lnTo>
                      <a:pt x="1149" y="1391"/>
                    </a:lnTo>
                    <a:lnTo>
                      <a:pt x="1151" y="1391"/>
                    </a:lnTo>
                    <a:lnTo>
                      <a:pt x="1149" y="1391"/>
                    </a:lnTo>
                    <a:lnTo>
                      <a:pt x="1149" y="1390"/>
                    </a:lnTo>
                    <a:lnTo>
                      <a:pt x="1147" y="1391"/>
                    </a:lnTo>
                    <a:lnTo>
                      <a:pt x="1147" y="1390"/>
                    </a:lnTo>
                    <a:lnTo>
                      <a:pt x="1145" y="1390"/>
                    </a:lnTo>
                    <a:lnTo>
                      <a:pt x="1147" y="1388"/>
                    </a:lnTo>
                    <a:lnTo>
                      <a:pt x="1147" y="1390"/>
                    </a:lnTo>
                    <a:lnTo>
                      <a:pt x="1149" y="1390"/>
                    </a:lnTo>
                    <a:lnTo>
                      <a:pt x="1147" y="1388"/>
                    </a:lnTo>
                    <a:lnTo>
                      <a:pt x="1147" y="1386"/>
                    </a:lnTo>
                    <a:lnTo>
                      <a:pt x="1149" y="1386"/>
                    </a:lnTo>
                    <a:lnTo>
                      <a:pt x="1147" y="1386"/>
                    </a:lnTo>
                    <a:lnTo>
                      <a:pt x="1149" y="1386"/>
                    </a:lnTo>
                    <a:lnTo>
                      <a:pt x="1151" y="1388"/>
                    </a:lnTo>
                    <a:lnTo>
                      <a:pt x="1151" y="1386"/>
                    </a:lnTo>
                    <a:lnTo>
                      <a:pt x="1149" y="1386"/>
                    </a:lnTo>
                    <a:lnTo>
                      <a:pt x="1151" y="1386"/>
                    </a:lnTo>
                    <a:lnTo>
                      <a:pt x="1151" y="1384"/>
                    </a:lnTo>
                    <a:lnTo>
                      <a:pt x="1149" y="1386"/>
                    </a:lnTo>
                    <a:lnTo>
                      <a:pt x="1149" y="1384"/>
                    </a:lnTo>
                    <a:lnTo>
                      <a:pt x="1147" y="1383"/>
                    </a:lnTo>
                    <a:lnTo>
                      <a:pt x="1147" y="1381"/>
                    </a:lnTo>
                    <a:lnTo>
                      <a:pt x="1147" y="1379"/>
                    </a:lnTo>
                    <a:lnTo>
                      <a:pt x="1149" y="1381"/>
                    </a:lnTo>
                    <a:lnTo>
                      <a:pt x="1149" y="1379"/>
                    </a:lnTo>
                    <a:lnTo>
                      <a:pt x="1147" y="1379"/>
                    </a:lnTo>
                    <a:lnTo>
                      <a:pt x="1149" y="1379"/>
                    </a:lnTo>
                    <a:lnTo>
                      <a:pt x="1151" y="1379"/>
                    </a:lnTo>
                    <a:close/>
                    <a:moveTo>
                      <a:pt x="1147" y="1293"/>
                    </a:moveTo>
                    <a:lnTo>
                      <a:pt x="1149" y="1293"/>
                    </a:lnTo>
                    <a:lnTo>
                      <a:pt x="1147" y="1294"/>
                    </a:lnTo>
                    <a:lnTo>
                      <a:pt x="1147" y="1296"/>
                    </a:lnTo>
                    <a:lnTo>
                      <a:pt x="1145" y="1296"/>
                    </a:lnTo>
                    <a:lnTo>
                      <a:pt x="1147" y="1296"/>
                    </a:lnTo>
                    <a:lnTo>
                      <a:pt x="1147" y="1294"/>
                    </a:lnTo>
                    <a:lnTo>
                      <a:pt x="1149" y="1294"/>
                    </a:lnTo>
                    <a:lnTo>
                      <a:pt x="1149" y="1293"/>
                    </a:lnTo>
                    <a:lnTo>
                      <a:pt x="1151" y="1293"/>
                    </a:lnTo>
                    <a:lnTo>
                      <a:pt x="1151" y="1294"/>
                    </a:lnTo>
                    <a:lnTo>
                      <a:pt x="1149" y="1294"/>
                    </a:lnTo>
                    <a:lnTo>
                      <a:pt x="1149" y="1296"/>
                    </a:lnTo>
                    <a:lnTo>
                      <a:pt x="1151" y="1294"/>
                    </a:lnTo>
                    <a:lnTo>
                      <a:pt x="1151" y="1296"/>
                    </a:lnTo>
                    <a:lnTo>
                      <a:pt x="1152" y="1296"/>
                    </a:lnTo>
                    <a:lnTo>
                      <a:pt x="1152" y="1298"/>
                    </a:lnTo>
                    <a:lnTo>
                      <a:pt x="1152" y="1296"/>
                    </a:lnTo>
                    <a:lnTo>
                      <a:pt x="1152" y="1294"/>
                    </a:lnTo>
                    <a:lnTo>
                      <a:pt x="1151" y="1294"/>
                    </a:lnTo>
                    <a:lnTo>
                      <a:pt x="1152" y="1293"/>
                    </a:lnTo>
                    <a:lnTo>
                      <a:pt x="1151" y="1294"/>
                    </a:lnTo>
                    <a:lnTo>
                      <a:pt x="1152" y="1293"/>
                    </a:lnTo>
                    <a:lnTo>
                      <a:pt x="1154" y="1294"/>
                    </a:lnTo>
                    <a:lnTo>
                      <a:pt x="1156" y="1294"/>
                    </a:lnTo>
                    <a:lnTo>
                      <a:pt x="1156" y="1296"/>
                    </a:lnTo>
                    <a:lnTo>
                      <a:pt x="1156" y="1298"/>
                    </a:lnTo>
                    <a:lnTo>
                      <a:pt x="1156" y="1299"/>
                    </a:lnTo>
                    <a:lnTo>
                      <a:pt x="1156" y="1301"/>
                    </a:lnTo>
                    <a:lnTo>
                      <a:pt x="1157" y="1301"/>
                    </a:lnTo>
                    <a:lnTo>
                      <a:pt x="1157" y="1303"/>
                    </a:lnTo>
                    <a:lnTo>
                      <a:pt x="1157" y="1305"/>
                    </a:lnTo>
                    <a:lnTo>
                      <a:pt x="1156" y="1305"/>
                    </a:lnTo>
                    <a:lnTo>
                      <a:pt x="1156" y="1306"/>
                    </a:lnTo>
                    <a:lnTo>
                      <a:pt x="1156" y="1305"/>
                    </a:lnTo>
                    <a:lnTo>
                      <a:pt x="1154" y="1306"/>
                    </a:lnTo>
                    <a:lnTo>
                      <a:pt x="1154" y="1305"/>
                    </a:lnTo>
                    <a:lnTo>
                      <a:pt x="1154" y="1303"/>
                    </a:lnTo>
                    <a:lnTo>
                      <a:pt x="1154" y="1301"/>
                    </a:lnTo>
                    <a:lnTo>
                      <a:pt x="1154" y="1299"/>
                    </a:lnTo>
                    <a:lnTo>
                      <a:pt x="1154" y="1298"/>
                    </a:lnTo>
                    <a:lnTo>
                      <a:pt x="1152" y="1299"/>
                    </a:lnTo>
                    <a:lnTo>
                      <a:pt x="1151" y="1299"/>
                    </a:lnTo>
                    <a:lnTo>
                      <a:pt x="1152" y="1298"/>
                    </a:lnTo>
                    <a:lnTo>
                      <a:pt x="1151" y="1299"/>
                    </a:lnTo>
                    <a:lnTo>
                      <a:pt x="1151" y="1301"/>
                    </a:lnTo>
                    <a:lnTo>
                      <a:pt x="1149" y="1301"/>
                    </a:lnTo>
                    <a:lnTo>
                      <a:pt x="1149" y="1303"/>
                    </a:lnTo>
                    <a:lnTo>
                      <a:pt x="1147" y="1305"/>
                    </a:lnTo>
                    <a:lnTo>
                      <a:pt x="1145" y="1303"/>
                    </a:lnTo>
                    <a:lnTo>
                      <a:pt x="1144" y="1301"/>
                    </a:lnTo>
                    <a:lnTo>
                      <a:pt x="1145" y="1301"/>
                    </a:lnTo>
                    <a:lnTo>
                      <a:pt x="1147" y="1299"/>
                    </a:lnTo>
                    <a:lnTo>
                      <a:pt x="1147" y="1301"/>
                    </a:lnTo>
                    <a:lnTo>
                      <a:pt x="1147" y="1299"/>
                    </a:lnTo>
                    <a:lnTo>
                      <a:pt x="1149" y="1299"/>
                    </a:lnTo>
                    <a:lnTo>
                      <a:pt x="1147" y="1299"/>
                    </a:lnTo>
                    <a:lnTo>
                      <a:pt x="1147" y="1298"/>
                    </a:lnTo>
                    <a:lnTo>
                      <a:pt x="1147" y="1299"/>
                    </a:lnTo>
                    <a:lnTo>
                      <a:pt x="1145" y="1299"/>
                    </a:lnTo>
                    <a:lnTo>
                      <a:pt x="1145" y="1301"/>
                    </a:lnTo>
                    <a:lnTo>
                      <a:pt x="1144" y="1299"/>
                    </a:lnTo>
                    <a:lnTo>
                      <a:pt x="1142" y="1299"/>
                    </a:lnTo>
                    <a:lnTo>
                      <a:pt x="1142" y="1298"/>
                    </a:lnTo>
                    <a:lnTo>
                      <a:pt x="1142" y="1299"/>
                    </a:lnTo>
                    <a:lnTo>
                      <a:pt x="1142" y="1298"/>
                    </a:lnTo>
                    <a:lnTo>
                      <a:pt x="1142" y="1296"/>
                    </a:lnTo>
                    <a:lnTo>
                      <a:pt x="1142" y="1294"/>
                    </a:lnTo>
                    <a:lnTo>
                      <a:pt x="1144" y="1293"/>
                    </a:lnTo>
                    <a:lnTo>
                      <a:pt x="1145" y="1294"/>
                    </a:lnTo>
                    <a:lnTo>
                      <a:pt x="1144" y="1293"/>
                    </a:lnTo>
                    <a:lnTo>
                      <a:pt x="1145" y="1293"/>
                    </a:lnTo>
                    <a:lnTo>
                      <a:pt x="1144" y="1293"/>
                    </a:lnTo>
                    <a:lnTo>
                      <a:pt x="1145" y="1293"/>
                    </a:lnTo>
                    <a:lnTo>
                      <a:pt x="1145" y="1291"/>
                    </a:lnTo>
                    <a:lnTo>
                      <a:pt x="1147" y="1293"/>
                    </a:lnTo>
                    <a:close/>
                    <a:moveTo>
                      <a:pt x="1168" y="1442"/>
                    </a:moveTo>
                    <a:lnTo>
                      <a:pt x="1169" y="1442"/>
                    </a:lnTo>
                    <a:lnTo>
                      <a:pt x="1171" y="1442"/>
                    </a:lnTo>
                    <a:lnTo>
                      <a:pt x="1171" y="1444"/>
                    </a:lnTo>
                    <a:lnTo>
                      <a:pt x="1169" y="1444"/>
                    </a:lnTo>
                    <a:lnTo>
                      <a:pt x="1171" y="1444"/>
                    </a:lnTo>
                    <a:lnTo>
                      <a:pt x="1169" y="1446"/>
                    </a:lnTo>
                    <a:lnTo>
                      <a:pt x="1171" y="1446"/>
                    </a:lnTo>
                    <a:lnTo>
                      <a:pt x="1171" y="1447"/>
                    </a:lnTo>
                    <a:lnTo>
                      <a:pt x="1169" y="1447"/>
                    </a:lnTo>
                    <a:lnTo>
                      <a:pt x="1169" y="1449"/>
                    </a:lnTo>
                    <a:lnTo>
                      <a:pt x="1169" y="1447"/>
                    </a:lnTo>
                    <a:lnTo>
                      <a:pt x="1171" y="1447"/>
                    </a:lnTo>
                    <a:lnTo>
                      <a:pt x="1171" y="1449"/>
                    </a:lnTo>
                    <a:lnTo>
                      <a:pt x="1171" y="1451"/>
                    </a:lnTo>
                    <a:lnTo>
                      <a:pt x="1169" y="1451"/>
                    </a:lnTo>
                    <a:lnTo>
                      <a:pt x="1171" y="1451"/>
                    </a:lnTo>
                    <a:lnTo>
                      <a:pt x="1171" y="1453"/>
                    </a:lnTo>
                    <a:lnTo>
                      <a:pt x="1171" y="1454"/>
                    </a:lnTo>
                    <a:lnTo>
                      <a:pt x="1169" y="1454"/>
                    </a:lnTo>
                    <a:lnTo>
                      <a:pt x="1169" y="1456"/>
                    </a:lnTo>
                    <a:lnTo>
                      <a:pt x="1169" y="1458"/>
                    </a:lnTo>
                    <a:lnTo>
                      <a:pt x="1169" y="1459"/>
                    </a:lnTo>
                    <a:lnTo>
                      <a:pt x="1168" y="1459"/>
                    </a:lnTo>
                    <a:lnTo>
                      <a:pt x="1169" y="1459"/>
                    </a:lnTo>
                    <a:lnTo>
                      <a:pt x="1169" y="1461"/>
                    </a:lnTo>
                    <a:lnTo>
                      <a:pt x="1168" y="1461"/>
                    </a:lnTo>
                    <a:lnTo>
                      <a:pt x="1169" y="1461"/>
                    </a:lnTo>
                    <a:lnTo>
                      <a:pt x="1168" y="1461"/>
                    </a:lnTo>
                    <a:lnTo>
                      <a:pt x="1168" y="1463"/>
                    </a:lnTo>
                    <a:lnTo>
                      <a:pt x="1166" y="1463"/>
                    </a:lnTo>
                    <a:lnTo>
                      <a:pt x="1168" y="1463"/>
                    </a:lnTo>
                    <a:lnTo>
                      <a:pt x="1168" y="1464"/>
                    </a:lnTo>
                    <a:lnTo>
                      <a:pt x="1166" y="1464"/>
                    </a:lnTo>
                    <a:lnTo>
                      <a:pt x="1168" y="1466"/>
                    </a:lnTo>
                    <a:lnTo>
                      <a:pt x="1166" y="1468"/>
                    </a:lnTo>
                    <a:lnTo>
                      <a:pt x="1164" y="1468"/>
                    </a:lnTo>
                    <a:lnTo>
                      <a:pt x="1166" y="1470"/>
                    </a:lnTo>
                    <a:lnTo>
                      <a:pt x="1166" y="1468"/>
                    </a:lnTo>
                    <a:lnTo>
                      <a:pt x="1166" y="1470"/>
                    </a:lnTo>
                    <a:lnTo>
                      <a:pt x="1164" y="1470"/>
                    </a:lnTo>
                    <a:lnTo>
                      <a:pt x="1164" y="1468"/>
                    </a:lnTo>
                    <a:lnTo>
                      <a:pt x="1166" y="1466"/>
                    </a:lnTo>
                    <a:lnTo>
                      <a:pt x="1164" y="1468"/>
                    </a:lnTo>
                    <a:lnTo>
                      <a:pt x="1164" y="1470"/>
                    </a:lnTo>
                    <a:lnTo>
                      <a:pt x="1162" y="1470"/>
                    </a:lnTo>
                    <a:lnTo>
                      <a:pt x="1162" y="1468"/>
                    </a:lnTo>
                    <a:lnTo>
                      <a:pt x="1164" y="1468"/>
                    </a:lnTo>
                    <a:lnTo>
                      <a:pt x="1164" y="1466"/>
                    </a:lnTo>
                    <a:lnTo>
                      <a:pt x="1164" y="1464"/>
                    </a:lnTo>
                    <a:lnTo>
                      <a:pt x="1164" y="1466"/>
                    </a:lnTo>
                    <a:lnTo>
                      <a:pt x="1162" y="1466"/>
                    </a:lnTo>
                    <a:lnTo>
                      <a:pt x="1164" y="1464"/>
                    </a:lnTo>
                    <a:lnTo>
                      <a:pt x="1162" y="1464"/>
                    </a:lnTo>
                    <a:lnTo>
                      <a:pt x="1162" y="1466"/>
                    </a:lnTo>
                    <a:lnTo>
                      <a:pt x="1162" y="1464"/>
                    </a:lnTo>
                    <a:lnTo>
                      <a:pt x="1161" y="1464"/>
                    </a:lnTo>
                    <a:lnTo>
                      <a:pt x="1161" y="1463"/>
                    </a:lnTo>
                    <a:lnTo>
                      <a:pt x="1161" y="1461"/>
                    </a:lnTo>
                    <a:lnTo>
                      <a:pt x="1162" y="1461"/>
                    </a:lnTo>
                    <a:lnTo>
                      <a:pt x="1164" y="1459"/>
                    </a:lnTo>
                    <a:lnTo>
                      <a:pt x="1162" y="1459"/>
                    </a:lnTo>
                    <a:lnTo>
                      <a:pt x="1162" y="1458"/>
                    </a:lnTo>
                    <a:lnTo>
                      <a:pt x="1162" y="1456"/>
                    </a:lnTo>
                    <a:lnTo>
                      <a:pt x="1164" y="1456"/>
                    </a:lnTo>
                    <a:lnTo>
                      <a:pt x="1164" y="1454"/>
                    </a:lnTo>
                    <a:lnTo>
                      <a:pt x="1164" y="1453"/>
                    </a:lnTo>
                    <a:lnTo>
                      <a:pt x="1164" y="1451"/>
                    </a:lnTo>
                    <a:lnTo>
                      <a:pt x="1166" y="1453"/>
                    </a:lnTo>
                    <a:lnTo>
                      <a:pt x="1164" y="1453"/>
                    </a:lnTo>
                    <a:lnTo>
                      <a:pt x="1166" y="1454"/>
                    </a:lnTo>
                    <a:lnTo>
                      <a:pt x="1166" y="1456"/>
                    </a:lnTo>
                    <a:lnTo>
                      <a:pt x="1166" y="1454"/>
                    </a:lnTo>
                    <a:lnTo>
                      <a:pt x="1166" y="1456"/>
                    </a:lnTo>
                    <a:lnTo>
                      <a:pt x="1164" y="1458"/>
                    </a:lnTo>
                    <a:lnTo>
                      <a:pt x="1166" y="1458"/>
                    </a:lnTo>
                    <a:lnTo>
                      <a:pt x="1166" y="1456"/>
                    </a:lnTo>
                    <a:lnTo>
                      <a:pt x="1166" y="1458"/>
                    </a:lnTo>
                    <a:lnTo>
                      <a:pt x="1166" y="1456"/>
                    </a:lnTo>
                    <a:lnTo>
                      <a:pt x="1168" y="1454"/>
                    </a:lnTo>
                    <a:lnTo>
                      <a:pt x="1168" y="1456"/>
                    </a:lnTo>
                    <a:lnTo>
                      <a:pt x="1168" y="1458"/>
                    </a:lnTo>
                    <a:lnTo>
                      <a:pt x="1168" y="1459"/>
                    </a:lnTo>
                    <a:lnTo>
                      <a:pt x="1168" y="1458"/>
                    </a:lnTo>
                    <a:lnTo>
                      <a:pt x="1168" y="1456"/>
                    </a:lnTo>
                    <a:lnTo>
                      <a:pt x="1168" y="1454"/>
                    </a:lnTo>
                    <a:lnTo>
                      <a:pt x="1169" y="1454"/>
                    </a:lnTo>
                    <a:lnTo>
                      <a:pt x="1169" y="1453"/>
                    </a:lnTo>
                    <a:lnTo>
                      <a:pt x="1168" y="1454"/>
                    </a:lnTo>
                    <a:lnTo>
                      <a:pt x="1168" y="1453"/>
                    </a:lnTo>
                    <a:lnTo>
                      <a:pt x="1168" y="1451"/>
                    </a:lnTo>
                    <a:lnTo>
                      <a:pt x="1168" y="1453"/>
                    </a:lnTo>
                    <a:lnTo>
                      <a:pt x="1168" y="1451"/>
                    </a:lnTo>
                    <a:lnTo>
                      <a:pt x="1166" y="1451"/>
                    </a:lnTo>
                    <a:lnTo>
                      <a:pt x="1168" y="1449"/>
                    </a:lnTo>
                    <a:lnTo>
                      <a:pt x="1169" y="1449"/>
                    </a:lnTo>
                    <a:lnTo>
                      <a:pt x="1168" y="1447"/>
                    </a:lnTo>
                    <a:lnTo>
                      <a:pt x="1166" y="1446"/>
                    </a:lnTo>
                    <a:lnTo>
                      <a:pt x="1166" y="1444"/>
                    </a:lnTo>
                    <a:lnTo>
                      <a:pt x="1168" y="1444"/>
                    </a:lnTo>
                    <a:lnTo>
                      <a:pt x="1166" y="1444"/>
                    </a:lnTo>
                    <a:lnTo>
                      <a:pt x="1164" y="1444"/>
                    </a:lnTo>
                    <a:lnTo>
                      <a:pt x="1166" y="1442"/>
                    </a:lnTo>
                    <a:lnTo>
                      <a:pt x="1168" y="1441"/>
                    </a:lnTo>
                    <a:lnTo>
                      <a:pt x="1168" y="1442"/>
                    </a:lnTo>
                    <a:close/>
                    <a:moveTo>
                      <a:pt x="1188" y="1468"/>
                    </a:moveTo>
                    <a:lnTo>
                      <a:pt x="1190" y="1468"/>
                    </a:lnTo>
                    <a:lnTo>
                      <a:pt x="1190" y="1470"/>
                    </a:lnTo>
                    <a:lnTo>
                      <a:pt x="1191" y="1470"/>
                    </a:lnTo>
                    <a:lnTo>
                      <a:pt x="1191" y="1471"/>
                    </a:lnTo>
                    <a:lnTo>
                      <a:pt x="1193" y="1471"/>
                    </a:lnTo>
                    <a:lnTo>
                      <a:pt x="1193" y="1473"/>
                    </a:lnTo>
                    <a:lnTo>
                      <a:pt x="1195" y="1473"/>
                    </a:lnTo>
                    <a:lnTo>
                      <a:pt x="1195" y="1475"/>
                    </a:lnTo>
                    <a:lnTo>
                      <a:pt x="1196" y="1476"/>
                    </a:lnTo>
                    <a:lnTo>
                      <a:pt x="1196" y="1478"/>
                    </a:lnTo>
                    <a:lnTo>
                      <a:pt x="1198" y="1480"/>
                    </a:lnTo>
                    <a:lnTo>
                      <a:pt x="1196" y="1478"/>
                    </a:lnTo>
                    <a:lnTo>
                      <a:pt x="1198" y="1478"/>
                    </a:lnTo>
                    <a:lnTo>
                      <a:pt x="1198" y="1480"/>
                    </a:lnTo>
                    <a:lnTo>
                      <a:pt x="1200" y="1480"/>
                    </a:lnTo>
                    <a:lnTo>
                      <a:pt x="1200" y="1481"/>
                    </a:lnTo>
                    <a:lnTo>
                      <a:pt x="1198" y="1481"/>
                    </a:lnTo>
                    <a:lnTo>
                      <a:pt x="1198" y="1480"/>
                    </a:lnTo>
                    <a:lnTo>
                      <a:pt x="1196" y="1480"/>
                    </a:lnTo>
                    <a:lnTo>
                      <a:pt x="1198" y="1481"/>
                    </a:lnTo>
                    <a:lnTo>
                      <a:pt x="1198" y="1483"/>
                    </a:lnTo>
                    <a:lnTo>
                      <a:pt x="1196" y="1483"/>
                    </a:lnTo>
                    <a:lnTo>
                      <a:pt x="1196" y="1481"/>
                    </a:lnTo>
                    <a:lnTo>
                      <a:pt x="1195" y="1481"/>
                    </a:lnTo>
                    <a:lnTo>
                      <a:pt x="1195" y="1480"/>
                    </a:lnTo>
                    <a:lnTo>
                      <a:pt x="1196" y="1481"/>
                    </a:lnTo>
                    <a:lnTo>
                      <a:pt x="1196" y="1483"/>
                    </a:lnTo>
                    <a:lnTo>
                      <a:pt x="1195" y="1481"/>
                    </a:lnTo>
                    <a:lnTo>
                      <a:pt x="1196" y="1483"/>
                    </a:lnTo>
                    <a:lnTo>
                      <a:pt x="1195" y="1485"/>
                    </a:lnTo>
                    <a:lnTo>
                      <a:pt x="1195" y="1483"/>
                    </a:lnTo>
                    <a:lnTo>
                      <a:pt x="1193" y="1485"/>
                    </a:lnTo>
                    <a:lnTo>
                      <a:pt x="1191" y="1485"/>
                    </a:lnTo>
                    <a:lnTo>
                      <a:pt x="1191" y="1483"/>
                    </a:lnTo>
                    <a:lnTo>
                      <a:pt x="1191" y="1485"/>
                    </a:lnTo>
                    <a:lnTo>
                      <a:pt x="1190" y="1485"/>
                    </a:lnTo>
                    <a:lnTo>
                      <a:pt x="1191" y="1483"/>
                    </a:lnTo>
                    <a:lnTo>
                      <a:pt x="1190" y="1481"/>
                    </a:lnTo>
                    <a:lnTo>
                      <a:pt x="1191" y="1481"/>
                    </a:lnTo>
                    <a:lnTo>
                      <a:pt x="1191" y="1480"/>
                    </a:lnTo>
                    <a:lnTo>
                      <a:pt x="1193" y="1480"/>
                    </a:lnTo>
                    <a:lnTo>
                      <a:pt x="1191" y="1480"/>
                    </a:lnTo>
                    <a:lnTo>
                      <a:pt x="1191" y="1481"/>
                    </a:lnTo>
                    <a:lnTo>
                      <a:pt x="1190" y="1481"/>
                    </a:lnTo>
                    <a:lnTo>
                      <a:pt x="1188" y="1481"/>
                    </a:lnTo>
                    <a:lnTo>
                      <a:pt x="1188" y="1483"/>
                    </a:lnTo>
                    <a:lnTo>
                      <a:pt x="1188" y="1481"/>
                    </a:lnTo>
                    <a:lnTo>
                      <a:pt x="1188" y="1480"/>
                    </a:lnTo>
                    <a:lnTo>
                      <a:pt x="1190" y="1480"/>
                    </a:lnTo>
                    <a:lnTo>
                      <a:pt x="1191" y="1480"/>
                    </a:lnTo>
                    <a:lnTo>
                      <a:pt x="1191" y="1478"/>
                    </a:lnTo>
                    <a:lnTo>
                      <a:pt x="1191" y="1480"/>
                    </a:lnTo>
                    <a:lnTo>
                      <a:pt x="1190" y="1478"/>
                    </a:lnTo>
                    <a:lnTo>
                      <a:pt x="1190" y="1476"/>
                    </a:lnTo>
                    <a:lnTo>
                      <a:pt x="1190" y="1475"/>
                    </a:lnTo>
                    <a:lnTo>
                      <a:pt x="1191" y="1475"/>
                    </a:lnTo>
                    <a:lnTo>
                      <a:pt x="1191" y="1476"/>
                    </a:lnTo>
                    <a:lnTo>
                      <a:pt x="1191" y="1475"/>
                    </a:lnTo>
                    <a:lnTo>
                      <a:pt x="1191" y="1473"/>
                    </a:lnTo>
                    <a:lnTo>
                      <a:pt x="1190" y="1475"/>
                    </a:lnTo>
                    <a:lnTo>
                      <a:pt x="1190" y="1473"/>
                    </a:lnTo>
                    <a:lnTo>
                      <a:pt x="1188" y="1473"/>
                    </a:lnTo>
                    <a:lnTo>
                      <a:pt x="1190" y="1473"/>
                    </a:lnTo>
                    <a:lnTo>
                      <a:pt x="1188" y="1473"/>
                    </a:lnTo>
                    <a:lnTo>
                      <a:pt x="1186" y="1473"/>
                    </a:lnTo>
                    <a:lnTo>
                      <a:pt x="1186" y="1475"/>
                    </a:lnTo>
                    <a:lnTo>
                      <a:pt x="1185" y="1473"/>
                    </a:lnTo>
                    <a:lnTo>
                      <a:pt x="1185" y="1471"/>
                    </a:lnTo>
                    <a:lnTo>
                      <a:pt x="1183" y="1473"/>
                    </a:lnTo>
                    <a:lnTo>
                      <a:pt x="1181" y="1473"/>
                    </a:lnTo>
                    <a:lnTo>
                      <a:pt x="1181" y="1471"/>
                    </a:lnTo>
                    <a:lnTo>
                      <a:pt x="1183" y="1470"/>
                    </a:lnTo>
                    <a:lnTo>
                      <a:pt x="1183" y="1471"/>
                    </a:lnTo>
                    <a:lnTo>
                      <a:pt x="1185" y="1471"/>
                    </a:lnTo>
                    <a:lnTo>
                      <a:pt x="1185" y="1473"/>
                    </a:lnTo>
                    <a:lnTo>
                      <a:pt x="1186" y="1473"/>
                    </a:lnTo>
                    <a:lnTo>
                      <a:pt x="1185" y="1473"/>
                    </a:lnTo>
                    <a:lnTo>
                      <a:pt x="1186" y="1473"/>
                    </a:lnTo>
                    <a:lnTo>
                      <a:pt x="1186" y="1471"/>
                    </a:lnTo>
                    <a:lnTo>
                      <a:pt x="1185" y="1471"/>
                    </a:lnTo>
                    <a:lnTo>
                      <a:pt x="1183" y="1471"/>
                    </a:lnTo>
                    <a:lnTo>
                      <a:pt x="1183" y="1470"/>
                    </a:lnTo>
                    <a:lnTo>
                      <a:pt x="1185" y="1470"/>
                    </a:lnTo>
                    <a:lnTo>
                      <a:pt x="1185" y="1468"/>
                    </a:lnTo>
                    <a:lnTo>
                      <a:pt x="1186" y="1468"/>
                    </a:lnTo>
                    <a:lnTo>
                      <a:pt x="1188" y="1468"/>
                    </a:lnTo>
                    <a:close/>
                    <a:moveTo>
                      <a:pt x="1195" y="1437"/>
                    </a:moveTo>
                    <a:lnTo>
                      <a:pt x="1195" y="1439"/>
                    </a:lnTo>
                    <a:lnTo>
                      <a:pt x="1193" y="1437"/>
                    </a:lnTo>
                    <a:lnTo>
                      <a:pt x="1195" y="1439"/>
                    </a:lnTo>
                    <a:lnTo>
                      <a:pt x="1195" y="1441"/>
                    </a:lnTo>
                    <a:lnTo>
                      <a:pt x="1196" y="1441"/>
                    </a:lnTo>
                    <a:lnTo>
                      <a:pt x="1195" y="1442"/>
                    </a:lnTo>
                    <a:lnTo>
                      <a:pt x="1196" y="1442"/>
                    </a:lnTo>
                    <a:lnTo>
                      <a:pt x="1196" y="1444"/>
                    </a:lnTo>
                    <a:lnTo>
                      <a:pt x="1196" y="1446"/>
                    </a:lnTo>
                    <a:lnTo>
                      <a:pt x="1195" y="1446"/>
                    </a:lnTo>
                    <a:lnTo>
                      <a:pt x="1196" y="1447"/>
                    </a:lnTo>
                    <a:lnTo>
                      <a:pt x="1198" y="1447"/>
                    </a:lnTo>
                    <a:lnTo>
                      <a:pt x="1198" y="1446"/>
                    </a:lnTo>
                    <a:lnTo>
                      <a:pt x="1198" y="1447"/>
                    </a:lnTo>
                    <a:lnTo>
                      <a:pt x="1198" y="1449"/>
                    </a:lnTo>
                    <a:lnTo>
                      <a:pt x="1200" y="1449"/>
                    </a:lnTo>
                    <a:lnTo>
                      <a:pt x="1198" y="1451"/>
                    </a:lnTo>
                    <a:lnTo>
                      <a:pt x="1200" y="1451"/>
                    </a:lnTo>
                    <a:lnTo>
                      <a:pt x="1202" y="1453"/>
                    </a:lnTo>
                    <a:lnTo>
                      <a:pt x="1203" y="1454"/>
                    </a:lnTo>
                    <a:lnTo>
                      <a:pt x="1203" y="1456"/>
                    </a:lnTo>
                    <a:lnTo>
                      <a:pt x="1203" y="1458"/>
                    </a:lnTo>
                    <a:lnTo>
                      <a:pt x="1205" y="1458"/>
                    </a:lnTo>
                    <a:lnTo>
                      <a:pt x="1205" y="1459"/>
                    </a:lnTo>
                    <a:lnTo>
                      <a:pt x="1207" y="1461"/>
                    </a:lnTo>
                    <a:lnTo>
                      <a:pt x="1207" y="1463"/>
                    </a:lnTo>
                    <a:lnTo>
                      <a:pt x="1205" y="1463"/>
                    </a:lnTo>
                    <a:lnTo>
                      <a:pt x="1203" y="1463"/>
                    </a:lnTo>
                    <a:lnTo>
                      <a:pt x="1203" y="1461"/>
                    </a:lnTo>
                    <a:lnTo>
                      <a:pt x="1202" y="1459"/>
                    </a:lnTo>
                    <a:lnTo>
                      <a:pt x="1202" y="1458"/>
                    </a:lnTo>
                    <a:lnTo>
                      <a:pt x="1203" y="1458"/>
                    </a:lnTo>
                    <a:lnTo>
                      <a:pt x="1202" y="1458"/>
                    </a:lnTo>
                    <a:lnTo>
                      <a:pt x="1200" y="1458"/>
                    </a:lnTo>
                    <a:lnTo>
                      <a:pt x="1202" y="1458"/>
                    </a:lnTo>
                    <a:lnTo>
                      <a:pt x="1200" y="1456"/>
                    </a:lnTo>
                    <a:lnTo>
                      <a:pt x="1202" y="1456"/>
                    </a:lnTo>
                    <a:lnTo>
                      <a:pt x="1200" y="1456"/>
                    </a:lnTo>
                    <a:lnTo>
                      <a:pt x="1198" y="1456"/>
                    </a:lnTo>
                    <a:lnTo>
                      <a:pt x="1198" y="1454"/>
                    </a:lnTo>
                    <a:lnTo>
                      <a:pt x="1198" y="1453"/>
                    </a:lnTo>
                    <a:lnTo>
                      <a:pt x="1196" y="1453"/>
                    </a:lnTo>
                    <a:lnTo>
                      <a:pt x="1198" y="1453"/>
                    </a:lnTo>
                    <a:lnTo>
                      <a:pt x="1198" y="1451"/>
                    </a:lnTo>
                    <a:lnTo>
                      <a:pt x="1198" y="1453"/>
                    </a:lnTo>
                    <a:lnTo>
                      <a:pt x="1196" y="1451"/>
                    </a:lnTo>
                    <a:lnTo>
                      <a:pt x="1195" y="1451"/>
                    </a:lnTo>
                    <a:lnTo>
                      <a:pt x="1195" y="1453"/>
                    </a:lnTo>
                    <a:lnTo>
                      <a:pt x="1195" y="1451"/>
                    </a:lnTo>
                    <a:lnTo>
                      <a:pt x="1196" y="1451"/>
                    </a:lnTo>
                    <a:lnTo>
                      <a:pt x="1195" y="1451"/>
                    </a:lnTo>
                    <a:lnTo>
                      <a:pt x="1193" y="1451"/>
                    </a:lnTo>
                    <a:lnTo>
                      <a:pt x="1193" y="1449"/>
                    </a:lnTo>
                    <a:lnTo>
                      <a:pt x="1191" y="1449"/>
                    </a:lnTo>
                    <a:lnTo>
                      <a:pt x="1191" y="1447"/>
                    </a:lnTo>
                    <a:lnTo>
                      <a:pt x="1190" y="1447"/>
                    </a:lnTo>
                    <a:lnTo>
                      <a:pt x="1188" y="1447"/>
                    </a:lnTo>
                    <a:lnTo>
                      <a:pt x="1190" y="1447"/>
                    </a:lnTo>
                    <a:lnTo>
                      <a:pt x="1190" y="1446"/>
                    </a:lnTo>
                    <a:lnTo>
                      <a:pt x="1188" y="1446"/>
                    </a:lnTo>
                    <a:lnTo>
                      <a:pt x="1188" y="1444"/>
                    </a:lnTo>
                    <a:lnTo>
                      <a:pt x="1190" y="1444"/>
                    </a:lnTo>
                    <a:lnTo>
                      <a:pt x="1191" y="1446"/>
                    </a:lnTo>
                    <a:lnTo>
                      <a:pt x="1191" y="1444"/>
                    </a:lnTo>
                    <a:lnTo>
                      <a:pt x="1190" y="1444"/>
                    </a:lnTo>
                    <a:lnTo>
                      <a:pt x="1191" y="1444"/>
                    </a:lnTo>
                    <a:lnTo>
                      <a:pt x="1190" y="1442"/>
                    </a:lnTo>
                    <a:lnTo>
                      <a:pt x="1191" y="1444"/>
                    </a:lnTo>
                    <a:lnTo>
                      <a:pt x="1193" y="1444"/>
                    </a:lnTo>
                    <a:lnTo>
                      <a:pt x="1191" y="1444"/>
                    </a:lnTo>
                    <a:lnTo>
                      <a:pt x="1191" y="1442"/>
                    </a:lnTo>
                    <a:lnTo>
                      <a:pt x="1193" y="1442"/>
                    </a:lnTo>
                    <a:lnTo>
                      <a:pt x="1191" y="1442"/>
                    </a:lnTo>
                    <a:lnTo>
                      <a:pt x="1191" y="1441"/>
                    </a:lnTo>
                    <a:lnTo>
                      <a:pt x="1191" y="1439"/>
                    </a:lnTo>
                    <a:lnTo>
                      <a:pt x="1193" y="1441"/>
                    </a:lnTo>
                    <a:lnTo>
                      <a:pt x="1191" y="1439"/>
                    </a:lnTo>
                    <a:lnTo>
                      <a:pt x="1193" y="1439"/>
                    </a:lnTo>
                    <a:lnTo>
                      <a:pt x="1193" y="1441"/>
                    </a:lnTo>
                    <a:lnTo>
                      <a:pt x="1195" y="1441"/>
                    </a:lnTo>
                    <a:lnTo>
                      <a:pt x="1193" y="1441"/>
                    </a:lnTo>
                    <a:lnTo>
                      <a:pt x="1195" y="1441"/>
                    </a:lnTo>
                    <a:lnTo>
                      <a:pt x="1193" y="1439"/>
                    </a:lnTo>
                    <a:lnTo>
                      <a:pt x="1193" y="1437"/>
                    </a:lnTo>
                    <a:lnTo>
                      <a:pt x="1195" y="1437"/>
                    </a:lnTo>
                    <a:lnTo>
                      <a:pt x="1195" y="1435"/>
                    </a:lnTo>
                    <a:lnTo>
                      <a:pt x="1195" y="1437"/>
                    </a:lnTo>
                    <a:close/>
                    <a:moveTo>
                      <a:pt x="1183" y="1126"/>
                    </a:moveTo>
                    <a:lnTo>
                      <a:pt x="1185" y="1126"/>
                    </a:lnTo>
                    <a:lnTo>
                      <a:pt x="1183" y="1126"/>
                    </a:lnTo>
                    <a:lnTo>
                      <a:pt x="1185" y="1126"/>
                    </a:lnTo>
                    <a:lnTo>
                      <a:pt x="1186" y="1126"/>
                    </a:lnTo>
                    <a:lnTo>
                      <a:pt x="1186" y="1128"/>
                    </a:lnTo>
                    <a:lnTo>
                      <a:pt x="1188" y="1128"/>
                    </a:lnTo>
                    <a:lnTo>
                      <a:pt x="1186" y="1129"/>
                    </a:lnTo>
                    <a:lnTo>
                      <a:pt x="1185" y="1129"/>
                    </a:lnTo>
                    <a:lnTo>
                      <a:pt x="1186" y="1129"/>
                    </a:lnTo>
                    <a:lnTo>
                      <a:pt x="1188" y="1128"/>
                    </a:lnTo>
                    <a:lnTo>
                      <a:pt x="1188" y="1129"/>
                    </a:lnTo>
                    <a:lnTo>
                      <a:pt x="1190" y="1131"/>
                    </a:lnTo>
                    <a:lnTo>
                      <a:pt x="1188" y="1131"/>
                    </a:lnTo>
                    <a:lnTo>
                      <a:pt x="1186" y="1131"/>
                    </a:lnTo>
                    <a:lnTo>
                      <a:pt x="1188" y="1131"/>
                    </a:lnTo>
                    <a:lnTo>
                      <a:pt x="1186" y="1131"/>
                    </a:lnTo>
                    <a:lnTo>
                      <a:pt x="1185" y="1131"/>
                    </a:lnTo>
                    <a:lnTo>
                      <a:pt x="1186" y="1131"/>
                    </a:lnTo>
                    <a:lnTo>
                      <a:pt x="1186" y="1133"/>
                    </a:lnTo>
                    <a:lnTo>
                      <a:pt x="1188" y="1131"/>
                    </a:lnTo>
                    <a:lnTo>
                      <a:pt x="1190" y="1131"/>
                    </a:lnTo>
                    <a:lnTo>
                      <a:pt x="1190" y="1133"/>
                    </a:lnTo>
                    <a:lnTo>
                      <a:pt x="1190" y="1134"/>
                    </a:lnTo>
                    <a:lnTo>
                      <a:pt x="1190" y="1136"/>
                    </a:lnTo>
                    <a:lnTo>
                      <a:pt x="1190" y="1138"/>
                    </a:lnTo>
                    <a:lnTo>
                      <a:pt x="1188" y="1138"/>
                    </a:lnTo>
                    <a:lnTo>
                      <a:pt x="1186" y="1138"/>
                    </a:lnTo>
                    <a:lnTo>
                      <a:pt x="1185" y="1138"/>
                    </a:lnTo>
                    <a:lnTo>
                      <a:pt x="1185" y="1136"/>
                    </a:lnTo>
                    <a:lnTo>
                      <a:pt x="1185" y="1138"/>
                    </a:lnTo>
                    <a:lnTo>
                      <a:pt x="1186" y="1138"/>
                    </a:lnTo>
                    <a:lnTo>
                      <a:pt x="1185" y="1138"/>
                    </a:lnTo>
                    <a:lnTo>
                      <a:pt x="1183" y="1138"/>
                    </a:lnTo>
                    <a:lnTo>
                      <a:pt x="1181" y="1138"/>
                    </a:lnTo>
                    <a:lnTo>
                      <a:pt x="1183" y="1138"/>
                    </a:lnTo>
                    <a:lnTo>
                      <a:pt x="1185" y="1138"/>
                    </a:lnTo>
                    <a:lnTo>
                      <a:pt x="1186" y="1138"/>
                    </a:lnTo>
                    <a:lnTo>
                      <a:pt x="1186" y="1140"/>
                    </a:lnTo>
                    <a:lnTo>
                      <a:pt x="1185" y="1140"/>
                    </a:lnTo>
                    <a:lnTo>
                      <a:pt x="1183" y="1140"/>
                    </a:lnTo>
                    <a:lnTo>
                      <a:pt x="1185" y="1140"/>
                    </a:lnTo>
                    <a:lnTo>
                      <a:pt x="1185" y="1141"/>
                    </a:lnTo>
                    <a:lnTo>
                      <a:pt x="1183" y="1141"/>
                    </a:lnTo>
                    <a:lnTo>
                      <a:pt x="1181" y="1141"/>
                    </a:lnTo>
                    <a:lnTo>
                      <a:pt x="1179" y="1140"/>
                    </a:lnTo>
                    <a:lnTo>
                      <a:pt x="1181" y="1140"/>
                    </a:lnTo>
                    <a:lnTo>
                      <a:pt x="1181" y="1138"/>
                    </a:lnTo>
                    <a:lnTo>
                      <a:pt x="1181" y="1136"/>
                    </a:lnTo>
                    <a:lnTo>
                      <a:pt x="1181" y="1134"/>
                    </a:lnTo>
                    <a:lnTo>
                      <a:pt x="1179" y="1134"/>
                    </a:lnTo>
                    <a:lnTo>
                      <a:pt x="1179" y="1133"/>
                    </a:lnTo>
                    <a:lnTo>
                      <a:pt x="1181" y="1133"/>
                    </a:lnTo>
                    <a:lnTo>
                      <a:pt x="1179" y="1134"/>
                    </a:lnTo>
                    <a:lnTo>
                      <a:pt x="1181" y="1133"/>
                    </a:lnTo>
                    <a:lnTo>
                      <a:pt x="1181" y="1134"/>
                    </a:lnTo>
                    <a:lnTo>
                      <a:pt x="1183" y="1133"/>
                    </a:lnTo>
                    <a:lnTo>
                      <a:pt x="1181" y="1133"/>
                    </a:lnTo>
                    <a:lnTo>
                      <a:pt x="1181" y="1131"/>
                    </a:lnTo>
                    <a:lnTo>
                      <a:pt x="1181" y="1129"/>
                    </a:lnTo>
                    <a:lnTo>
                      <a:pt x="1181" y="1128"/>
                    </a:lnTo>
                    <a:lnTo>
                      <a:pt x="1183" y="1128"/>
                    </a:lnTo>
                    <a:lnTo>
                      <a:pt x="1183" y="1126"/>
                    </a:lnTo>
                    <a:close/>
                    <a:moveTo>
                      <a:pt x="1162" y="1305"/>
                    </a:moveTo>
                    <a:lnTo>
                      <a:pt x="1162" y="1303"/>
                    </a:lnTo>
                    <a:lnTo>
                      <a:pt x="1162" y="1305"/>
                    </a:lnTo>
                    <a:lnTo>
                      <a:pt x="1164" y="1305"/>
                    </a:lnTo>
                    <a:lnTo>
                      <a:pt x="1164" y="1306"/>
                    </a:lnTo>
                    <a:lnTo>
                      <a:pt x="1164" y="1305"/>
                    </a:lnTo>
                    <a:lnTo>
                      <a:pt x="1164" y="1303"/>
                    </a:lnTo>
                    <a:lnTo>
                      <a:pt x="1166" y="1303"/>
                    </a:lnTo>
                    <a:lnTo>
                      <a:pt x="1168" y="1305"/>
                    </a:lnTo>
                    <a:lnTo>
                      <a:pt x="1168" y="1306"/>
                    </a:lnTo>
                    <a:lnTo>
                      <a:pt x="1169" y="1308"/>
                    </a:lnTo>
                    <a:lnTo>
                      <a:pt x="1168" y="1308"/>
                    </a:lnTo>
                    <a:lnTo>
                      <a:pt x="1168" y="1310"/>
                    </a:lnTo>
                    <a:lnTo>
                      <a:pt x="1168" y="1308"/>
                    </a:lnTo>
                    <a:lnTo>
                      <a:pt x="1168" y="1310"/>
                    </a:lnTo>
                    <a:lnTo>
                      <a:pt x="1168" y="1311"/>
                    </a:lnTo>
                    <a:lnTo>
                      <a:pt x="1168" y="1313"/>
                    </a:lnTo>
                    <a:lnTo>
                      <a:pt x="1168" y="1315"/>
                    </a:lnTo>
                    <a:lnTo>
                      <a:pt x="1168" y="1316"/>
                    </a:lnTo>
                    <a:lnTo>
                      <a:pt x="1166" y="1316"/>
                    </a:lnTo>
                    <a:lnTo>
                      <a:pt x="1164" y="1315"/>
                    </a:lnTo>
                    <a:lnTo>
                      <a:pt x="1166" y="1315"/>
                    </a:lnTo>
                    <a:lnTo>
                      <a:pt x="1164" y="1315"/>
                    </a:lnTo>
                    <a:lnTo>
                      <a:pt x="1164" y="1313"/>
                    </a:lnTo>
                    <a:lnTo>
                      <a:pt x="1162" y="1313"/>
                    </a:lnTo>
                    <a:lnTo>
                      <a:pt x="1162" y="1311"/>
                    </a:lnTo>
                    <a:lnTo>
                      <a:pt x="1161" y="1311"/>
                    </a:lnTo>
                    <a:lnTo>
                      <a:pt x="1161" y="1310"/>
                    </a:lnTo>
                    <a:lnTo>
                      <a:pt x="1159" y="1310"/>
                    </a:lnTo>
                    <a:lnTo>
                      <a:pt x="1157" y="1310"/>
                    </a:lnTo>
                    <a:lnTo>
                      <a:pt x="1156" y="1310"/>
                    </a:lnTo>
                    <a:lnTo>
                      <a:pt x="1157" y="1310"/>
                    </a:lnTo>
                    <a:lnTo>
                      <a:pt x="1157" y="1308"/>
                    </a:lnTo>
                    <a:lnTo>
                      <a:pt x="1159" y="1308"/>
                    </a:lnTo>
                    <a:lnTo>
                      <a:pt x="1161" y="1308"/>
                    </a:lnTo>
                    <a:lnTo>
                      <a:pt x="1159" y="1308"/>
                    </a:lnTo>
                    <a:lnTo>
                      <a:pt x="1159" y="1306"/>
                    </a:lnTo>
                    <a:lnTo>
                      <a:pt x="1157" y="1308"/>
                    </a:lnTo>
                    <a:lnTo>
                      <a:pt x="1156" y="1310"/>
                    </a:lnTo>
                    <a:lnTo>
                      <a:pt x="1156" y="1308"/>
                    </a:lnTo>
                    <a:lnTo>
                      <a:pt x="1156" y="1306"/>
                    </a:lnTo>
                    <a:lnTo>
                      <a:pt x="1157" y="1306"/>
                    </a:lnTo>
                    <a:lnTo>
                      <a:pt x="1157" y="1305"/>
                    </a:lnTo>
                    <a:lnTo>
                      <a:pt x="1159" y="1305"/>
                    </a:lnTo>
                    <a:lnTo>
                      <a:pt x="1159" y="1303"/>
                    </a:lnTo>
                    <a:lnTo>
                      <a:pt x="1159" y="1305"/>
                    </a:lnTo>
                    <a:lnTo>
                      <a:pt x="1159" y="1303"/>
                    </a:lnTo>
                    <a:lnTo>
                      <a:pt x="1161" y="1303"/>
                    </a:lnTo>
                    <a:lnTo>
                      <a:pt x="1161" y="1305"/>
                    </a:lnTo>
                    <a:lnTo>
                      <a:pt x="1161" y="1303"/>
                    </a:lnTo>
                    <a:lnTo>
                      <a:pt x="1159" y="1303"/>
                    </a:lnTo>
                    <a:lnTo>
                      <a:pt x="1159" y="1301"/>
                    </a:lnTo>
                    <a:lnTo>
                      <a:pt x="1161" y="1301"/>
                    </a:lnTo>
                    <a:lnTo>
                      <a:pt x="1161" y="1303"/>
                    </a:lnTo>
                    <a:lnTo>
                      <a:pt x="1162" y="1303"/>
                    </a:lnTo>
                    <a:lnTo>
                      <a:pt x="1162" y="1305"/>
                    </a:lnTo>
                    <a:close/>
                    <a:moveTo>
                      <a:pt x="1208" y="1126"/>
                    </a:moveTo>
                    <a:lnTo>
                      <a:pt x="1210" y="1126"/>
                    </a:lnTo>
                    <a:lnTo>
                      <a:pt x="1212" y="1126"/>
                    </a:lnTo>
                    <a:lnTo>
                      <a:pt x="1212" y="1128"/>
                    </a:lnTo>
                    <a:lnTo>
                      <a:pt x="1212" y="1129"/>
                    </a:lnTo>
                    <a:lnTo>
                      <a:pt x="1210" y="1129"/>
                    </a:lnTo>
                    <a:lnTo>
                      <a:pt x="1210" y="1128"/>
                    </a:lnTo>
                    <a:lnTo>
                      <a:pt x="1208" y="1128"/>
                    </a:lnTo>
                    <a:lnTo>
                      <a:pt x="1210" y="1129"/>
                    </a:lnTo>
                    <a:lnTo>
                      <a:pt x="1208" y="1129"/>
                    </a:lnTo>
                    <a:lnTo>
                      <a:pt x="1210" y="1129"/>
                    </a:lnTo>
                    <a:lnTo>
                      <a:pt x="1212" y="1129"/>
                    </a:lnTo>
                    <a:lnTo>
                      <a:pt x="1210" y="1131"/>
                    </a:lnTo>
                    <a:lnTo>
                      <a:pt x="1210" y="1133"/>
                    </a:lnTo>
                    <a:lnTo>
                      <a:pt x="1210" y="1134"/>
                    </a:lnTo>
                    <a:lnTo>
                      <a:pt x="1212" y="1134"/>
                    </a:lnTo>
                    <a:lnTo>
                      <a:pt x="1212" y="1136"/>
                    </a:lnTo>
                    <a:lnTo>
                      <a:pt x="1210" y="1134"/>
                    </a:lnTo>
                    <a:lnTo>
                      <a:pt x="1208" y="1134"/>
                    </a:lnTo>
                    <a:lnTo>
                      <a:pt x="1207" y="1133"/>
                    </a:lnTo>
                    <a:lnTo>
                      <a:pt x="1208" y="1134"/>
                    </a:lnTo>
                    <a:lnTo>
                      <a:pt x="1208" y="1136"/>
                    </a:lnTo>
                    <a:lnTo>
                      <a:pt x="1210" y="1136"/>
                    </a:lnTo>
                    <a:lnTo>
                      <a:pt x="1210" y="1138"/>
                    </a:lnTo>
                    <a:lnTo>
                      <a:pt x="1210" y="1140"/>
                    </a:lnTo>
                    <a:lnTo>
                      <a:pt x="1208" y="1141"/>
                    </a:lnTo>
                    <a:lnTo>
                      <a:pt x="1208" y="1140"/>
                    </a:lnTo>
                    <a:lnTo>
                      <a:pt x="1207" y="1140"/>
                    </a:lnTo>
                    <a:lnTo>
                      <a:pt x="1207" y="1138"/>
                    </a:lnTo>
                    <a:lnTo>
                      <a:pt x="1205" y="1138"/>
                    </a:lnTo>
                    <a:lnTo>
                      <a:pt x="1205" y="1136"/>
                    </a:lnTo>
                    <a:lnTo>
                      <a:pt x="1203" y="1138"/>
                    </a:lnTo>
                    <a:lnTo>
                      <a:pt x="1203" y="1136"/>
                    </a:lnTo>
                    <a:lnTo>
                      <a:pt x="1203" y="1134"/>
                    </a:lnTo>
                    <a:lnTo>
                      <a:pt x="1203" y="1133"/>
                    </a:lnTo>
                    <a:lnTo>
                      <a:pt x="1205" y="1131"/>
                    </a:lnTo>
                    <a:lnTo>
                      <a:pt x="1205" y="1129"/>
                    </a:lnTo>
                    <a:lnTo>
                      <a:pt x="1205" y="1128"/>
                    </a:lnTo>
                    <a:lnTo>
                      <a:pt x="1207" y="1126"/>
                    </a:lnTo>
                    <a:lnTo>
                      <a:pt x="1207" y="1124"/>
                    </a:lnTo>
                    <a:lnTo>
                      <a:pt x="1207" y="1126"/>
                    </a:lnTo>
                    <a:lnTo>
                      <a:pt x="1208" y="1126"/>
                    </a:lnTo>
                    <a:close/>
                    <a:moveTo>
                      <a:pt x="1162" y="1245"/>
                    </a:moveTo>
                    <a:lnTo>
                      <a:pt x="1164" y="1245"/>
                    </a:lnTo>
                    <a:lnTo>
                      <a:pt x="1164" y="1247"/>
                    </a:lnTo>
                    <a:lnTo>
                      <a:pt x="1164" y="1248"/>
                    </a:lnTo>
                    <a:lnTo>
                      <a:pt x="1162" y="1248"/>
                    </a:lnTo>
                    <a:lnTo>
                      <a:pt x="1164" y="1248"/>
                    </a:lnTo>
                    <a:lnTo>
                      <a:pt x="1164" y="1250"/>
                    </a:lnTo>
                    <a:lnTo>
                      <a:pt x="1166" y="1250"/>
                    </a:lnTo>
                    <a:lnTo>
                      <a:pt x="1164" y="1250"/>
                    </a:lnTo>
                    <a:lnTo>
                      <a:pt x="1166" y="1250"/>
                    </a:lnTo>
                    <a:lnTo>
                      <a:pt x="1168" y="1252"/>
                    </a:lnTo>
                    <a:lnTo>
                      <a:pt x="1169" y="1252"/>
                    </a:lnTo>
                    <a:lnTo>
                      <a:pt x="1171" y="1253"/>
                    </a:lnTo>
                    <a:lnTo>
                      <a:pt x="1169" y="1255"/>
                    </a:lnTo>
                    <a:lnTo>
                      <a:pt x="1171" y="1253"/>
                    </a:lnTo>
                    <a:lnTo>
                      <a:pt x="1171" y="1255"/>
                    </a:lnTo>
                    <a:lnTo>
                      <a:pt x="1171" y="1257"/>
                    </a:lnTo>
                    <a:lnTo>
                      <a:pt x="1171" y="1255"/>
                    </a:lnTo>
                    <a:lnTo>
                      <a:pt x="1169" y="1255"/>
                    </a:lnTo>
                    <a:lnTo>
                      <a:pt x="1168" y="1255"/>
                    </a:lnTo>
                    <a:lnTo>
                      <a:pt x="1166" y="1255"/>
                    </a:lnTo>
                    <a:lnTo>
                      <a:pt x="1164" y="1253"/>
                    </a:lnTo>
                    <a:lnTo>
                      <a:pt x="1162" y="1253"/>
                    </a:lnTo>
                    <a:lnTo>
                      <a:pt x="1161" y="1253"/>
                    </a:lnTo>
                    <a:lnTo>
                      <a:pt x="1162" y="1253"/>
                    </a:lnTo>
                    <a:lnTo>
                      <a:pt x="1164" y="1253"/>
                    </a:lnTo>
                    <a:lnTo>
                      <a:pt x="1164" y="1255"/>
                    </a:lnTo>
                    <a:lnTo>
                      <a:pt x="1166" y="1255"/>
                    </a:lnTo>
                    <a:lnTo>
                      <a:pt x="1166" y="1257"/>
                    </a:lnTo>
                    <a:lnTo>
                      <a:pt x="1166" y="1255"/>
                    </a:lnTo>
                    <a:lnTo>
                      <a:pt x="1168" y="1257"/>
                    </a:lnTo>
                    <a:lnTo>
                      <a:pt x="1169" y="1257"/>
                    </a:lnTo>
                    <a:lnTo>
                      <a:pt x="1169" y="1259"/>
                    </a:lnTo>
                    <a:lnTo>
                      <a:pt x="1168" y="1260"/>
                    </a:lnTo>
                    <a:lnTo>
                      <a:pt x="1168" y="1259"/>
                    </a:lnTo>
                    <a:lnTo>
                      <a:pt x="1168" y="1257"/>
                    </a:lnTo>
                    <a:lnTo>
                      <a:pt x="1166" y="1257"/>
                    </a:lnTo>
                    <a:lnTo>
                      <a:pt x="1164" y="1257"/>
                    </a:lnTo>
                    <a:lnTo>
                      <a:pt x="1164" y="1255"/>
                    </a:lnTo>
                    <a:lnTo>
                      <a:pt x="1162" y="1255"/>
                    </a:lnTo>
                    <a:lnTo>
                      <a:pt x="1161" y="1255"/>
                    </a:lnTo>
                    <a:lnTo>
                      <a:pt x="1159" y="1255"/>
                    </a:lnTo>
                    <a:lnTo>
                      <a:pt x="1159" y="1253"/>
                    </a:lnTo>
                    <a:lnTo>
                      <a:pt x="1159" y="1255"/>
                    </a:lnTo>
                    <a:lnTo>
                      <a:pt x="1159" y="1253"/>
                    </a:lnTo>
                    <a:lnTo>
                      <a:pt x="1161" y="1253"/>
                    </a:lnTo>
                    <a:lnTo>
                      <a:pt x="1159" y="1253"/>
                    </a:lnTo>
                    <a:lnTo>
                      <a:pt x="1161" y="1253"/>
                    </a:lnTo>
                    <a:lnTo>
                      <a:pt x="1161" y="1252"/>
                    </a:lnTo>
                    <a:lnTo>
                      <a:pt x="1159" y="1252"/>
                    </a:lnTo>
                    <a:lnTo>
                      <a:pt x="1161" y="1252"/>
                    </a:lnTo>
                    <a:lnTo>
                      <a:pt x="1162" y="1252"/>
                    </a:lnTo>
                    <a:lnTo>
                      <a:pt x="1161" y="1252"/>
                    </a:lnTo>
                    <a:lnTo>
                      <a:pt x="1162" y="1250"/>
                    </a:lnTo>
                    <a:lnTo>
                      <a:pt x="1162" y="1252"/>
                    </a:lnTo>
                    <a:lnTo>
                      <a:pt x="1164" y="1252"/>
                    </a:lnTo>
                    <a:lnTo>
                      <a:pt x="1164" y="1250"/>
                    </a:lnTo>
                    <a:lnTo>
                      <a:pt x="1162" y="1250"/>
                    </a:lnTo>
                    <a:lnTo>
                      <a:pt x="1161" y="1250"/>
                    </a:lnTo>
                    <a:lnTo>
                      <a:pt x="1159" y="1250"/>
                    </a:lnTo>
                    <a:lnTo>
                      <a:pt x="1161" y="1252"/>
                    </a:lnTo>
                    <a:lnTo>
                      <a:pt x="1159" y="1252"/>
                    </a:lnTo>
                    <a:lnTo>
                      <a:pt x="1157" y="1252"/>
                    </a:lnTo>
                    <a:lnTo>
                      <a:pt x="1156" y="1252"/>
                    </a:lnTo>
                    <a:lnTo>
                      <a:pt x="1156" y="1253"/>
                    </a:lnTo>
                    <a:lnTo>
                      <a:pt x="1156" y="1252"/>
                    </a:lnTo>
                    <a:lnTo>
                      <a:pt x="1157" y="1250"/>
                    </a:lnTo>
                    <a:lnTo>
                      <a:pt x="1159" y="1250"/>
                    </a:lnTo>
                    <a:lnTo>
                      <a:pt x="1159" y="1248"/>
                    </a:lnTo>
                    <a:lnTo>
                      <a:pt x="1157" y="1250"/>
                    </a:lnTo>
                    <a:lnTo>
                      <a:pt x="1159" y="1250"/>
                    </a:lnTo>
                    <a:lnTo>
                      <a:pt x="1157" y="1250"/>
                    </a:lnTo>
                    <a:lnTo>
                      <a:pt x="1156" y="1250"/>
                    </a:lnTo>
                    <a:lnTo>
                      <a:pt x="1157" y="1250"/>
                    </a:lnTo>
                    <a:lnTo>
                      <a:pt x="1157" y="1248"/>
                    </a:lnTo>
                    <a:lnTo>
                      <a:pt x="1159" y="1248"/>
                    </a:lnTo>
                    <a:lnTo>
                      <a:pt x="1157" y="1248"/>
                    </a:lnTo>
                    <a:lnTo>
                      <a:pt x="1159" y="1248"/>
                    </a:lnTo>
                    <a:lnTo>
                      <a:pt x="1161" y="1248"/>
                    </a:lnTo>
                    <a:lnTo>
                      <a:pt x="1161" y="1247"/>
                    </a:lnTo>
                    <a:lnTo>
                      <a:pt x="1162" y="1247"/>
                    </a:lnTo>
                    <a:lnTo>
                      <a:pt x="1162" y="1245"/>
                    </a:lnTo>
                    <a:close/>
                    <a:moveTo>
                      <a:pt x="1159" y="1420"/>
                    </a:moveTo>
                    <a:lnTo>
                      <a:pt x="1159" y="1422"/>
                    </a:lnTo>
                    <a:lnTo>
                      <a:pt x="1159" y="1424"/>
                    </a:lnTo>
                    <a:lnTo>
                      <a:pt x="1159" y="1425"/>
                    </a:lnTo>
                    <a:lnTo>
                      <a:pt x="1157" y="1425"/>
                    </a:lnTo>
                    <a:lnTo>
                      <a:pt x="1159" y="1427"/>
                    </a:lnTo>
                    <a:lnTo>
                      <a:pt x="1157" y="1427"/>
                    </a:lnTo>
                    <a:lnTo>
                      <a:pt x="1157" y="1429"/>
                    </a:lnTo>
                    <a:lnTo>
                      <a:pt x="1159" y="1429"/>
                    </a:lnTo>
                    <a:lnTo>
                      <a:pt x="1157" y="1427"/>
                    </a:lnTo>
                    <a:lnTo>
                      <a:pt x="1159" y="1425"/>
                    </a:lnTo>
                    <a:lnTo>
                      <a:pt x="1159" y="1424"/>
                    </a:lnTo>
                    <a:lnTo>
                      <a:pt x="1161" y="1424"/>
                    </a:lnTo>
                    <a:lnTo>
                      <a:pt x="1161" y="1425"/>
                    </a:lnTo>
                    <a:lnTo>
                      <a:pt x="1162" y="1425"/>
                    </a:lnTo>
                    <a:lnTo>
                      <a:pt x="1162" y="1427"/>
                    </a:lnTo>
                    <a:lnTo>
                      <a:pt x="1162" y="1429"/>
                    </a:lnTo>
                    <a:lnTo>
                      <a:pt x="1162" y="1427"/>
                    </a:lnTo>
                    <a:lnTo>
                      <a:pt x="1161" y="1427"/>
                    </a:lnTo>
                    <a:lnTo>
                      <a:pt x="1162" y="1429"/>
                    </a:lnTo>
                    <a:lnTo>
                      <a:pt x="1162" y="1430"/>
                    </a:lnTo>
                    <a:lnTo>
                      <a:pt x="1161" y="1429"/>
                    </a:lnTo>
                    <a:lnTo>
                      <a:pt x="1161" y="1427"/>
                    </a:lnTo>
                    <a:lnTo>
                      <a:pt x="1161" y="1429"/>
                    </a:lnTo>
                    <a:lnTo>
                      <a:pt x="1161" y="1430"/>
                    </a:lnTo>
                    <a:lnTo>
                      <a:pt x="1161" y="1429"/>
                    </a:lnTo>
                    <a:lnTo>
                      <a:pt x="1161" y="1430"/>
                    </a:lnTo>
                    <a:lnTo>
                      <a:pt x="1159" y="1432"/>
                    </a:lnTo>
                    <a:lnTo>
                      <a:pt x="1159" y="1430"/>
                    </a:lnTo>
                    <a:lnTo>
                      <a:pt x="1159" y="1432"/>
                    </a:lnTo>
                    <a:lnTo>
                      <a:pt x="1159" y="1434"/>
                    </a:lnTo>
                    <a:lnTo>
                      <a:pt x="1159" y="1432"/>
                    </a:lnTo>
                    <a:lnTo>
                      <a:pt x="1157" y="1432"/>
                    </a:lnTo>
                    <a:lnTo>
                      <a:pt x="1159" y="1430"/>
                    </a:lnTo>
                    <a:lnTo>
                      <a:pt x="1157" y="1430"/>
                    </a:lnTo>
                    <a:lnTo>
                      <a:pt x="1157" y="1432"/>
                    </a:lnTo>
                    <a:lnTo>
                      <a:pt x="1157" y="1434"/>
                    </a:lnTo>
                    <a:lnTo>
                      <a:pt x="1157" y="1435"/>
                    </a:lnTo>
                    <a:lnTo>
                      <a:pt x="1157" y="1437"/>
                    </a:lnTo>
                    <a:lnTo>
                      <a:pt x="1157" y="1439"/>
                    </a:lnTo>
                    <a:lnTo>
                      <a:pt x="1157" y="1441"/>
                    </a:lnTo>
                    <a:lnTo>
                      <a:pt x="1156" y="1439"/>
                    </a:lnTo>
                    <a:lnTo>
                      <a:pt x="1156" y="1437"/>
                    </a:lnTo>
                    <a:lnTo>
                      <a:pt x="1156" y="1439"/>
                    </a:lnTo>
                    <a:lnTo>
                      <a:pt x="1156" y="1441"/>
                    </a:lnTo>
                    <a:lnTo>
                      <a:pt x="1156" y="1442"/>
                    </a:lnTo>
                    <a:lnTo>
                      <a:pt x="1154" y="1441"/>
                    </a:lnTo>
                    <a:lnTo>
                      <a:pt x="1152" y="1442"/>
                    </a:lnTo>
                    <a:lnTo>
                      <a:pt x="1152" y="1441"/>
                    </a:lnTo>
                    <a:lnTo>
                      <a:pt x="1151" y="1441"/>
                    </a:lnTo>
                    <a:lnTo>
                      <a:pt x="1151" y="1439"/>
                    </a:lnTo>
                    <a:lnTo>
                      <a:pt x="1152" y="1439"/>
                    </a:lnTo>
                    <a:lnTo>
                      <a:pt x="1152" y="1437"/>
                    </a:lnTo>
                    <a:lnTo>
                      <a:pt x="1151" y="1437"/>
                    </a:lnTo>
                    <a:lnTo>
                      <a:pt x="1152" y="1435"/>
                    </a:lnTo>
                    <a:lnTo>
                      <a:pt x="1152" y="1437"/>
                    </a:lnTo>
                    <a:lnTo>
                      <a:pt x="1152" y="1435"/>
                    </a:lnTo>
                    <a:lnTo>
                      <a:pt x="1154" y="1435"/>
                    </a:lnTo>
                    <a:lnTo>
                      <a:pt x="1154" y="1434"/>
                    </a:lnTo>
                    <a:lnTo>
                      <a:pt x="1154" y="1435"/>
                    </a:lnTo>
                    <a:lnTo>
                      <a:pt x="1156" y="1434"/>
                    </a:lnTo>
                    <a:lnTo>
                      <a:pt x="1156" y="1432"/>
                    </a:lnTo>
                    <a:lnTo>
                      <a:pt x="1154" y="1432"/>
                    </a:lnTo>
                    <a:lnTo>
                      <a:pt x="1156" y="1430"/>
                    </a:lnTo>
                    <a:lnTo>
                      <a:pt x="1156" y="1429"/>
                    </a:lnTo>
                    <a:lnTo>
                      <a:pt x="1157" y="1429"/>
                    </a:lnTo>
                    <a:lnTo>
                      <a:pt x="1157" y="1427"/>
                    </a:lnTo>
                    <a:lnTo>
                      <a:pt x="1156" y="1427"/>
                    </a:lnTo>
                    <a:lnTo>
                      <a:pt x="1156" y="1425"/>
                    </a:lnTo>
                    <a:lnTo>
                      <a:pt x="1156" y="1424"/>
                    </a:lnTo>
                    <a:lnTo>
                      <a:pt x="1157" y="1424"/>
                    </a:lnTo>
                    <a:lnTo>
                      <a:pt x="1157" y="1422"/>
                    </a:lnTo>
                    <a:lnTo>
                      <a:pt x="1159" y="1420"/>
                    </a:lnTo>
                    <a:close/>
                    <a:moveTo>
                      <a:pt x="1154" y="1303"/>
                    </a:moveTo>
                    <a:lnTo>
                      <a:pt x="1152" y="1303"/>
                    </a:lnTo>
                    <a:lnTo>
                      <a:pt x="1151" y="1303"/>
                    </a:lnTo>
                    <a:lnTo>
                      <a:pt x="1152" y="1305"/>
                    </a:lnTo>
                    <a:lnTo>
                      <a:pt x="1152" y="1303"/>
                    </a:lnTo>
                    <a:lnTo>
                      <a:pt x="1154" y="1303"/>
                    </a:lnTo>
                    <a:lnTo>
                      <a:pt x="1154" y="1305"/>
                    </a:lnTo>
                    <a:lnTo>
                      <a:pt x="1154" y="1306"/>
                    </a:lnTo>
                    <a:lnTo>
                      <a:pt x="1154" y="1308"/>
                    </a:lnTo>
                    <a:lnTo>
                      <a:pt x="1152" y="1308"/>
                    </a:lnTo>
                    <a:lnTo>
                      <a:pt x="1152" y="1310"/>
                    </a:lnTo>
                    <a:lnTo>
                      <a:pt x="1152" y="1308"/>
                    </a:lnTo>
                    <a:lnTo>
                      <a:pt x="1151" y="1308"/>
                    </a:lnTo>
                    <a:lnTo>
                      <a:pt x="1151" y="1310"/>
                    </a:lnTo>
                    <a:lnTo>
                      <a:pt x="1151" y="1311"/>
                    </a:lnTo>
                    <a:lnTo>
                      <a:pt x="1149" y="1311"/>
                    </a:lnTo>
                    <a:lnTo>
                      <a:pt x="1151" y="1310"/>
                    </a:lnTo>
                    <a:lnTo>
                      <a:pt x="1149" y="1310"/>
                    </a:lnTo>
                    <a:lnTo>
                      <a:pt x="1151" y="1308"/>
                    </a:lnTo>
                    <a:lnTo>
                      <a:pt x="1149" y="1310"/>
                    </a:lnTo>
                    <a:lnTo>
                      <a:pt x="1149" y="1311"/>
                    </a:lnTo>
                    <a:lnTo>
                      <a:pt x="1149" y="1310"/>
                    </a:lnTo>
                    <a:lnTo>
                      <a:pt x="1149" y="1311"/>
                    </a:lnTo>
                    <a:lnTo>
                      <a:pt x="1147" y="1310"/>
                    </a:lnTo>
                    <a:lnTo>
                      <a:pt x="1149" y="1311"/>
                    </a:lnTo>
                    <a:lnTo>
                      <a:pt x="1147" y="1311"/>
                    </a:lnTo>
                    <a:lnTo>
                      <a:pt x="1147" y="1313"/>
                    </a:lnTo>
                    <a:lnTo>
                      <a:pt x="1149" y="1313"/>
                    </a:lnTo>
                    <a:lnTo>
                      <a:pt x="1147" y="1315"/>
                    </a:lnTo>
                    <a:lnTo>
                      <a:pt x="1145" y="1315"/>
                    </a:lnTo>
                    <a:lnTo>
                      <a:pt x="1144" y="1315"/>
                    </a:lnTo>
                    <a:lnTo>
                      <a:pt x="1144" y="1313"/>
                    </a:lnTo>
                    <a:lnTo>
                      <a:pt x="1142" y="1315"/>
                    </a:lnTo>
                    <a:lnTo>
                      <a:pt x="1142" y="1313"/>
                    </a:lnTo>
                    <a:lnTo>
                      <a:pt x="1142" y="1311"/>
                    </a:lnTo>
                    <a:lnTo>
                      <a:pt x="1142" y="1313"/>
                    </a:lnTo>
                    <a:lnTo>
                      <a:pt x="1144" y="1313"/>
                    </a:lnTo>
                    <a:lnTo>
                      <a:pt x="1142" y="1311"/>
                    </a:lnTo>
                    <a:lnTo>
                      <a:pt x="1144" y="1311"/>
                    </a:lnTo>
                    <a:lnTo>
                      <a:pt x="1142" y="1311"/>
                    </a:lnTo>
                    <a:lnTo>
                      <a:pt x="1142" y="1310"/>
                    </a:lnTo>
                    <a:lnTo>
                      <a:pt x="1144" y="1308"/>
                    </a:lnTo>
                    <a:lnTo>
                      <a:pt x="1145" y="1306"/>
                    </a:lnTo>
                    <a:lnTo>
                      <a:pt x="1145" y="1308"/>
                    </a:lnTo>
                    <a:lnTo>
                      <a:pt x="1144" y="1310"/>
                    </a:lnTo>
                    <a:lnTo>
                      <a:pt x="1144" y="1311"/>
                    </a:lnTo>
                    <a:lnTo>
                      <a:pt x="1144" y="1310"/>
                    </a:lnTo>
                    <a:lnTo>
                      <a:pt x="1145" y="1310"/>
                    </a:lnTo>
                    <a:lnTo>
                      <a:pt x="1145" y="1308"/>
                    </a:lnTo>
                    <a:lnTo>
                      <a:pt x="1147" y="1308"/>
                    </a:lnTo>
                    <a:lnTo>
                      <a:pt x="1145" y="1308"/>
                    </a:lnTo>
                    <a:lnTo>
                      <a:pt x="1145" y="1306"/>
                    </a:lnTo>
                    <a:lnTo>
                      <a:pt x="1147" y="1306"/>
                    </a:lnTo>
                    <a:lnTo>
                      <a:pt x="1149" y="1305"/>
                    </a:lnTo>
                    <a:lnTo>
                      <a:pt x="1149" y="1306"/>
                    </a:lnTo>
                    <a:lnTo>
                      <a:pt x="1149" y="1305"/>
                    </a:lnTo>
                    <a:lnTo>
                      <a:pt x="1151" y="1305"/>
                    </a:lnTo>
                    <a:lnTo>
                      <a:pt x="1149" y="1305"/>
                    </a:lnTo>
                    <a:lnTo>
                      <a:pt x="1149" y="1303"/>
                    </a:lnTo>
                    <a:lnTo>
                      <a:pt x="1151" y="1301"/>
                    </a:lnTo>
                    <a:lnTo>
                      <a:pt x="1151" y="1299"/>
                    </a:lnTo>
                    <a:lnTo>
                      <a:pt x="1152" y="1299"/>
                    </a:lnTo>
                    <a:lnTo>
                      <a:pt x="1152" y="1301"/>
                    </a:lnTo>
                    <a:lnTo>
                      <a:pt x="1154" y="1301"/>
                    </a:lnTo>
                    <a:lnTo>
                      <a:pt x="1154" y="1303"/>
                    </a:lnTo>
                    <a:close/>
                    <a:moveTo>
                      <a:pt x="1212" y="1539"/>
                    </a:moveTo>
                    <a:lnTo>
                      <a:pt x="1212" y="1541"/>
                    </a:lnTo>
                    <a:lnTo>
                      <a:pt x="1213" y="1541"/>
                    </a:lnTo>
                    <a:lnTo>
                      <a:pt x="1213" y="1539"/>
                    </a:lnTo>
                    <a:lnTo>
                      <a:pt x="1215" y="1539"/>
                    </a:lnTo>
                    <a:lnTo>
                      <a:pt x="1217" y="1539"/>
                    </a:lnTo>
                    <a:lnTo>
                      <a:pt x="1217" y="1541"/>
                    </a:lnTo>
                    <a:lnTo>
                      <a:pt x="1219" y="1543"/>
                    </a:lnTo>
                    <a:lnTo>
                      <a:pt x="1217" y="1543"/>
                    </a:lnTo>
                    <a:lnTo>
                      <a:pt x="1217" y="1541"/>
                    </a:lnTo>
                    <a:lnTo>
                      <a:pt x="1217" y="1543"/>
                    </a:lnTo>
                    <a:lnTo>
                      <a:pt x="1215" y="1543"/>
                    </a:lnTo>
                    <a:lnTo>
                      <a:pt x="1215" y="1544"/>
                    </a:lnTo>
                    <a:lnTo>
                      <a:pt x="1213" y="1544"/>
                    </a:lnTo>
                    <a:lnTo>
                      <a:pt x="1213" y="1546"/>
                    </a:lnTo>
                    <a:lnTo>
                      <a:pt x="1215" y="1546"/>
                    </a:lnTo>
                    <a:lnTo>
                      <a:pt x="1213" y="1544"/>
                    </a:lnTo>
                    <a:lnTo>
                      <a:pt x="1215" y="1544"/>
                    </a:lnTo>
                    <a:lnTo>
                      <a:pt x="1217" y="1546"/>
                    </a:lnTo>
                    <a:lnTo>
                      <a:pt x="1217" y="1548"/>
                    </a:lnTo>
                    <a:lnTo>
                      <a:pt x="1219" y="1548"/>
                    </a:lnTo>
                    <a:lnTo>
                      <a:pt x="1217" y="1548"/>
                    </a:lnTo>
                    <a:lnTo>
                      <a:pt x="1219" y="1549"/>
                    </a:lnTo>
                    <a:lnTo>
                      <a:pt x="1217" y="1548"/>
                    </a:lnTo>
                    <a:lnTo>
                      <a:pt x="1217" y="1549"/>
                    </a:lnTo>
                    <a:lnTo>
                      <a:pt x="1219" y="1549"/>
                    </a:lnTo>
                    <a:lnTo>
                      <a:pt x="1219" y="1551"/>
                    </a:lnTo>
                    <a:lnTo>
                      <a:pt x="1217" y="1551"/>
                    </a:lnTo>
                    <a:lnTo>
                      <a:pt x="1215" y="1549"/>
                    </a:lnTo>
                    <a:lnTo>
                      <a:pt x="1215" y="1551"/>
                    </a:lnTo>
                    <a:lnTo>
                      <a:pt x="1213" y="1551"/>
                    </a:lnTo>
                    <a:lnTo>
                      <a:pt x="1213" y="1549"/>
                    </a:lnTo>
                    <a:lnTo>
                      <a:pt x="1212" y="1548"/>
                    </a:lnTo>
                    <a:lnTo>
                      <a:pt x="1213" y="1549"/>
                    </a:lnTo>
                    <a:lnTo>
                      <a:pt x="1212" y="1549"/>
                    </a:lnTo>
                    <a:lnTo>
                      <a:pt x="1213" y="1551"/>
                    </a:lnTo>
                    <a:lnTo>
                      <a:pt x="1212" y="1551"/>
                    </a:lnTo>
                    <a:lnTo>
                      <a:pt x="1210" y="1551"/>
                    </a:lnTo>
                    <a:lnTo>
                      <a:pt x="1212" y="1549"/>
                    </a:lnTo>
                    <a:lnTo>
                      <a:pt x="1210" y="1549"/>
                    </a:lnTo>
                    <a:lnTo>
                      <a:pt x="1212" y="1549"/>
                    </a:lnTo>
                    <a:lnTo>
                      <a:pt x="1210" y="1549"/>
                    </a:lnTo>
                    <a:lnTo>
                      <a:pt x="1208" y="1548"/>
                    </a:lnTo>
                    <a:lnTo>
                      <a:pt x="1208" y="1549"/>
                    </a:lnTo>
                    <a:lnTo>
                      <a:pt x="1210" y="1549"/>
                    </a:lnTo>
                    <a:lnTo>
                      <a:pt x="1208" y="1549"/>
                    </a:lnTo>
                    <a:lnTo>
                      <a:pt x="1207" y="1548"/>
                    </a:lnTo>
                    <a:lnTo>
                      <a:pt x="1208" y="1546"/>
                    </a:lnTo>
                    <a:lnTo>
                      <a:pt x="1207" y="1546"/>
                    </a:lnTo>
                    <a:lnTo>
                      <a:pt x="1205" y="1548"/>
                    </a:lnTo>
                    <a:lnTo>
                      <a:pt x="1205" y="1546"/>
                    </a:lnTo>
                    <a:lnTo>
                      <a:pt x="1205" y="1544"/>
                    </a:lnTo>
                    <a:lnTo>
                      <a:pt x="1203" y="1544"/>
                    </a:lnTo>
                    <a:lnTo>
                      <a:pt x="1205" y="1544"/>
                    </a:lnTo>
                    <a:lnTo>
                      <a:pt x="1203" y="1544"/>
                    </a:lnTo>
                    <a:lnTo>
                      <a:pt x="1203" y="1543"/>
                    </a:lnTo>
                    <a:lnTo>
                      <a:pt x="1203" y="1541"/>
                    </a:lnTo>
                    <a:lnTo>
                      <a:pt x="1205" y="1543"/>
                    </a:lnTo>
                    <a:lnTo>
                      <a:pt x="1207" y="1544"/>
                    </a:lnTo>
                    <a:lnTo>
                      <a:pt x="1207" y="1546"/>
                    </a:lnTo>
                    <a:lnTo>
                      <a:pt x="1207" y="1544"/>
                    </a:lnTo>
                    <a:lnTo>
                      <a:pt x="1207" y="1546"/>
                    </a:lnTo>
                    <a:lnTo>
                      <a:pt x="1208" y="1546"/>
                    </a:lnTo>
                    <a:lnTo>
                      <a:pt x="1208" y="1544"/>
                    </a:lnTo>
                    <a:lnTo>
                      <a:pt x="1208" y="1546"/>
                    </a:lnTo>
                    <a:lnTo>
                      <a:pt x="1210" y="1546"/>
                    </a:lnTo>
                    <a:lnTo>
                      <a:pt x="1212" y="1546"/>
                    </a:lnTo>
                    <a:lnTo>
                      <a:pt x="1210" y="1548"/>
                    </a:lnTo>
                    <a:lnTo>
                      <a:pt x="1212" y="1548"/>
                    </a:lnTo>
                    <a:lnTo>
                      <a:pt x="1213" y="1548"/>
                    </a:lnTo>
                    <a:lnTo>
                      <a:pt x="1213" y="1549"/>
                    </a:lnTo>
                    <a:lnTo>
                      <a:pt x="1215" y="1549"/>
                    </a:lnTo>
                    <a:lnTo>
                      <a:pt x="1213" y="1548"/>
                    </a:lnTo>
                    <a:lnTo>
                      <a:pt x="1212" y="1548"/>
                    </a:lnTo>
                    <a:lnTo>
                      <a:pt x="1212" y="1546"/>
                    </a:lnTo>
                    <a:lnTo>
                      <a:pt x="1210" y="1546"/>
                    </a:lnTo>
                    <a:lnTo>
                      <a:pt x="1210" y="1544"/>
                    </a:lnTo>
                    <a:lnTo>
                      <a:pt x="1208" y="1544"/>
                    </a:lnTo>
                    <a:lnTo>
                      <a:pt x="1208" y="1543"/>
                    </a:lnTo>
                    <a:lnTo>
                      <a:pt x="1210" y="1544"/>
                    </a:lnTo>
                    <a:lnTo>
                      <a:pt x="1210" y="1543"/>
                    </a:lnTo>
                    <a:lnTo>
                      <a:pt x="1212" y="1544"/>
                    </a:lnTo>
                    <a:lnTo>
                      <a:pt x="1213" y="1544"/>
                    </a:lnTo>
                    <a:lnTo>
                      <a:pt x="1212" y="1543"/>
                    </a:lnTo>
                    <a:lnTo>
                      <a:pt x="1213" y="1543"/>
                    </a:lnTo>
                    <a:lnTo>
                      <a:pt x="1212" y="1543"/>
                    </a:lnTo>
                    <a:lnTo>
                      <a:pt x="1210" y="1543"/>
                    </a:lnTo>
                    <a:lnTo>
                      <a:pt x="1210" y="1541"/>
                    </a:lnTo>
                    <a:lnTo>
                      <a:pt x="1210" y="1539"/>
                    </a:lnTo>
                    <a:lnTo>
                      <a:pt x="1212" y="1539"/>
                    </a:lnTo>
                    <a:close/>
                    <a:moveTo>
                      <a:pt x="1191" y="1097"/>
                    </a:moveTo>
                    <a:lnTo>
                      <a:pt x="1193" y="1099"/>
                    </a:lnTo>
                    <a:lnTo>
                      <a:pt x="1195" y="1099"/>
                    </a:lnTo>
                    <a:lnTo>
                      <a:pt x="1196" y="1099"/>
                    </a:lnTo>
                    <a:lnTo>
                      <a:pt x="1198" y="1099"/>
                    </a:lnTo>
                    <a:lnTo>
                      <a:pt x="1198" y="1100"/>
                    </a:lnTo>
                    <a:lnTo>
                      <a:pt x="1200" y="1102"/>
                    </a:lnTo>
                    <a:lnTo>
                      <a:pt x="1200" y="1104"/>
                    </a:lnTo>
                    <a:lnTo>
                      <a:pt x="1198" y="1104"/>
                    </a:lnTo>
                    <a:lnTo>
                      <a:pt x="1196" y="1104"/>
                    </a:lnTo>
                    <a:lnTo>
                      <a:pt x="1195" y="1104"/>
                    </a:lnTo>
                    <a:lnTo>
                      <a:pt x="1195" y="1102"/>
                    </a:lnTo>
                    <a:lnTo>
                      <a:pt x="1195" y="1104"/>
                    </a:lnTo>
                    <a:lnTo>
                      <a:pt x="1193" y="1102"/>
                    </a:lnTo>
                    <a:lnTo>
                      <a:pt x="1195" y="1102"/>
                    </a:lnTo>
                    <a:lnTo>
                      <a:pt x="1195" y="1104"/>
                    </a:lnTo>
                    <a:lnTo>
                      <a:pt x="1195" y="1105"/>
                    </a:lnTo>
                    <a:lnTo>
                      <a:pt x="1193" y="1104"/>
                    </a:lnTo>
                    <a:lnTo>
                      <a:pt x="1193" y="1105"/>
                    </a:lnTo>
                    <a:lnTo>
                      <a:pt x="1191" y="1105"/>
                    </a:lnTo>
                    <a:lnTo>
                      <a:pt x="1191" y="1104"/>
                    </a:lnTo>
                    <a:lnTo>
                      <a:pt x="1190" y="1104"/>
                    </a:lnTo>
                    <a:lnTo>
                      <a:pt x="1190" y="1105"/>
                    </a:lnTo>
                    <a:lnTo>
                      <a:pt x="1188" y="1105"/>
                    </a:lnTo>
                    <a:lnTo>
                      <a:pt x="1186" y="1105"/>
                    </a:lnTo>
                    <a:lnTo>
                      <a:pt x="1185" y="1105"/>
                    </a:lnTo>
                    <a:lnTo>
                      <a:pt x="1185" y="1104"/>
                    </a:lnTo>
                    <a:lnTo>
                      <a:pt x="1183" y="1104"/>
                    </a:lnTo>
                    <a:lnTo>
                      <a:pt x="1185" y="1104"/>
                    </a:lnTo>
                    <a:lnTo>
                      <a:pt x="1186" y="1102"/>
                    </a:lnTo>
                    <a:lnTo>
                      <a:pt x="1188" y="1100"/>
                    </a:lnTo>
                    <a:lnTo>
                      <a:pt x="1188" y="1099"/>
                    </a:lnTo>
                    <a:lnTo>
                      <a:pt x="1190" y="1099"/>
                    </a:lnTo>
                    <a:lnTo>
                      <a:pt x="1191" y="1097"/>
                    </a:lnTo>
                    <a:close/>
                    <a:moveTo>
                      <a:pt x="1174" y="1449"/>
                    </a:moveTo>
                    <a:lnTo>
                      <a:pt x="1174" y="1451"/>
                    </a:lnTo>
                    <a:lnTo>
                      <a:pt x="1174" y="1453"/>
                    </a:lnTo>
                    <a:lnTo>
                      <a:pt x="1176" y="1453"/>
                    </a:lnTo>
                    <a:lnTo>
                      <a:pt x="1174" y="1453"/>
                    </a:lnTo>
                    <a:lnTo>
                      <a:pt x="1174" y="1454"/>
                    </a:lnTo>
                    <a:lnTo>
                      <a:pt x="1173" y="1454"/>
                    </a:lnTo>
                    <a:lnTo>
                      <a:pt x="1173" y="1456"/>
                    </a:lnTo>
                    <a:lnTo>
                      <a:pt x="1174" y="1456"/>
                    </a:lnTo>
                    <a:lnTo>
                      <a:pt x="1174" y="1454"/>
                    </a:lnTo>
                    <a:lnTo>
                      <a:pt x="1176" y="1454"/>
                    </a:lnTo>
                    <a:lnTo>
                      <a:pt x="1176" y="1453"/>
                    </a:lnTo>
                    <a:lnTo>
                      <a:pt x="1176" y="1454"/>
                    </a:lnTo>
                    <a:lnTo>
                      <a:pt x="1176" y="1456"/>
                    </a:lnTo>
                    <a:lnTo>
                      <a:pt x="1176" y="1454"/>
                    </a:lnTo>
                    <a:lnTo>
                      <a:pt x="1176" y="1453"/>
                    </a:lnTo>
                    <a:lnTo>
                      <a:pt x="1176" y="1454"/>
                    </a:lnTo>
                    <a:lnTo>
                      <a:pt x="1176" y="1456"/>
                    </a:lnTo>
                    <a:lnTo>
                      <a:pt x="1176" y="1458"/>
                    </a:lnTo>
                    <a:lnTo>
                      <a:pt x="1174" y="1458"/>
                    </a:lnTo>
                    <a:lnTo>
                      <a:pt x="1173" y="1458"/>
                    </a:lnTo>
                    <a:lnTo>
                      <a:pt x="1174" y="1459"/>
                    </a:lnTo>
                    <a:lnTo>
                      <a:pt x="1173" y="1461"/>
                    </a:lnTo>
                    <a:lnTo>
                      <a:pt x="1173" y="1463"/>
                    </a:lnTo>
                    <a:lnTo>
                      <a:pt x="1173" y="1461"/>
                    </a:lnTo>
                    <a:lnTo>
                      <a:pt x="1173" y="1463"/>
                    </a:lnTo>
                    <a:lnTo>
                      <a:pt x="1173" y="1461"/>
                    </a:lnTo>
                    <a:lnTo>
                      <a:pt x="1174" y="1461"/>
                    </a:lnTo>
                    <a:lnTo>
                      <a:pt x="1174" y="1463"/>
                    </a:lnTo>
                    <a:lnTo>
                      <a:pt x="1173" y="1463"/>
                    </a:lnTo>
                    <a:lnTo>
                      <a:pt x="1173" y="1464"/>
                    </a:lnTo>
                    <a:lnTo>
                      <a:pt x="1173" y="1466"/>
                    </a:lnTo>
                    <a:lnTo>
                      <a:pt x="1173" y="1464"/>
                    </a:lnTo>
                    <a:lnTo>
                      <a:pt x="1171" y="1466"/>
                    </a:lnTo>
                    <a:lnTo>
                      <a:pt x="1173" y="1466"/>
                    </a:lnTo>
                    <a:lnTo>
                      <a:pt x="1171" y="1466"/>
                    </a:lnTo>
                    <a:lnTo>
                      <a:pt x="1171" y="1468"/>
                    </a:lnTo>
                    <a:lnTo>
                      <a:pt x="1169" y="1468"/>
                    </a:lnTo>
                    <a:lnTo>
                      <a:pt x="1169" y="1470"/>
                    </a:lnTo>
                    <a:lnTo>
                      <a:pt x="1169" y="1471"/>
                    </a:lnTo>
                    <a:lnTo>
                      <a:pt x="1168" y="1471"/>
                    </a:lnTo>
                    <a:lnTo>
                      <a:pt x="1168" y="1470"/>
                    </a:lnTo>
                    <a:lnTo>
                      <a:pt x="1166" y="1470"/>
                    </a:lnTo>
                    <a:lnTo>
                      <a:pt x="1168" y="1468"/>
                    </a:lnTo>
                    <a:lnTo>
                      <a:pt x="1168" y="1466"/>
                    </a:lnTo>
                    <a:lnTo>
                      <a:pt x="1169" y="1466"/>
                    </a:lnTo>
                    <a:lnTo>
                      <a:pt x="1169" y="1464"/>
                    </a:lnTo>
                    <a:lnTo>
                      <a:pt x="1171" y="1464"/>
                    </a:lnTo>
                    <a:lnTo>
                      <a:pt x="1169" y="1464"/>
                    </a:lnTo>
                    <a:lnTo>
                      <a:pt x="1169" y="1463"/>
                    </a:lnTo>
                    <a:lnTo>
                      <a:pt x="1169" y="1464"/>
                    </a:lnTo>
                    <a:lnTo>
                      <a:pt x="1168" y="1464"/>
                    </a:lnTo>
                    <a:lnTo>
                      <a:pt x="1169" y="1464"/>
                    </a:lnTo>
                    <a:lnTo>
                      <a:pt x="1168" y="1464"/>
                    </a:lnTo>
                    <a:lnTo>
                      <a:pt x="1169" y="1463"/>
                    </a:lnTo>
                    <a:lnTo>
                      <a:pt x="1169" y="1461"/>
                    </a:lnTo>
                    <a:lnTo>
                      <a:pt x="1171" y="1459"/>
                    </a:lnTo>
                    <a:lnTo>
                      <a:pt x="1169" y="1461"/>
                    </a:lnTo>
                    <a:lnTo>
                      <a:pt x="1169" y="1459"/>
                    </a:lnTo>
                    <a:lnTo>
                      <a:pt x="1169" y="1458"/>
                    </a:lnTo>
                    <a:lnTo>
                      <a:pt x="1171" y="1458"/>
                    </a:lnTo>
                    <a:lnTo>
                      <a:pt x="1171" y="1456"/>
                    </a:lnTo>
                    <a:lnTo>
                      <a:pt x="1171" y="1454"/>
                    </a:lnTo>
                    <a:lnTo>
                      <a:pt x="1171" y="1453"/>
                    </a:lnTo>
                    <a:lnTo>
                      <a:pt x="1173" y="1454"/>
                    </a:lnTo>
                    <a:lnTo>
                      <a:pt x="1173" y="1453"/>
                    </a:lnTo>
                    <a:lnTo>
                      <a:pt x="1173" y="1454"/>
                    </a:lnTo>
                    <a:lnTo>
                      <a:pt x="1173" y="1453"/>
                    </a:lnTo>
                    <a:lnTo>
                      <a:pt x="1173" y="1454"/>
                    </a:lnTo>
                    <a:lnTo>
                      <a:pt x="1173" y="1453"/>
                    </a:lnTo>
                    <a:lnTo>
                      <a:pt x="1171" y="1453"/>
                    </a:lnTo>
                    <a:lnTo>
                      <a:pt x="1173" y="1451"/>
                    </a:lnTo>
                    <a:lnTo>
                      <a:pt x="1174" y="1449"/>
                    </a:lnTo>
                    <a:close/>
                    <a:moveTo>
                      <a:pt x="1186" y="1075"/>
                    </a:moveTo>
                    <a:lnTo>
                      <a:pt x="1188" y="1075"/>
                    </a:lnTo>
                    <a:lnTo>
                      <a:pt x="1188" y="1077"/>
                    </a:lnTo>
                    <a:lnTo>
                      <a:pt x="1190" y="1078"/>
                    </a:lnTo>
                    <a:lnTo>
                      <a:pt x="1190" y="1080"/>
                    </a:lnTo>
                    <a:lnTo>
                      <a:pt x="1188" y="1080"/>
                    </a:lnTo>
                    <a:lnTo>
                      <a:pt x="1186" y="1080"/>
                    </a:lnTo>
                    <a:lnTo>
                      <a:pt x="1185" y="1080"/>
                    </a:lnTo>
                    <a:lnTo>
                      <a:pt x="1186" y="1080"/>
                    </a:lnTo>
                    <a:lnTo>
                      <a:pt x="1188" y="1080"/>
                    </a:lnTo>
                    <a:lnTo>
                      <a:pt x="1190" y="1080"/>
                    </a:lnTo>
                    <a:lnTo>
                      <a:pt x="1190" y="1078"/>
                    </a:lnTo>
                    <a:lnTo>
                      <a:pt x="1191" y="1080"/>
                    </a:lnTo>
                    <a:lnTo>
                      <a:pt x="1191" y="1082"/>
                    </a:lnTo>
                    <a:lnTo>
                      <a:pt x="1191" y="1080"/>
                    </a:lnTo>
                    <a:lnTo>
                      <a:pt x="1191" y="1082"/>
                    </a:lnTo>
                    <a:lnTo>
                      <a:pt x="1193" y="1083"/>
                    </a:lnTo>
                    <a:lnTo>
                      <a:pt x="1191" y="1083"/>
                    </a:lnTo>
                    <a:lnTo>
                      <a:pt x="1190" y="1083"/>
                    </a:lnTo>
                    <a:lnTo>
                      <a:pt x="1188" y="1083"/>
                    </a:lnTo>
                    <a:lnTo>
                      <a:pt x="1186" y="1083"/>
                    </a:lnTo>
                    <a:lnTo>
                      <a:pt x="1185" y="1083"/>
                    </a:lnTo>
                    <a:lnTo>
                      <a:pt x="1185" y="1082"/>
                    </a:lnTo>
                    <a:lnTo>
                      <a:pt x="1185" y="1080"/>
                    </a:lnTo>
                    <a:lnTo>
                      <a:pt x="1183" y="1080"/>
                    </a:lnTo>
                    <a:lnTo>
                      <a:pt x="1181" y="1080"/>
                    </a:lnTo>
                    <a:lnTo>
                      <a:pt x="1183" y="1080"/>
                    </a:lnTo>
                    <a:lnTo>
                      <a:pt x="1183" y="1082"/>
                    </a:lnTo>
                    <a:lnTo>
                      <a:pt x="1185" y="1083"/>
                    </a:lnTo>
                    <a:lnTo>
                      <a:pt x="1183" y="1083"/>
                    </a:lnTo>
                    <a:lnTo>
                      <a:pt x="1183" y="1082"/>
                    </a:lnTo>
                    <a:lnTo>
                      <a:pt x="1183" y="1083"/>
                    </a:lnTo>
                    <a:lnTo>
                      <a:pt x="1183" y="1082"/>
                    </a:lnTo>
                    <a:lnTo>
                      <a:pt x="1183" y="1083"/>
                    </a:lnTo>
                    <a:lnTo>
                      <a:pt x="1183" y="1082"/>
                    </a:lnTo>
                    <a:lnTo>
                      <a:pt x="1181" y="1082"/>
                    </a:lnTo>
                    <a:lnTo>
                      <a:pt x="1179" y="1082"/>
                    </a:lnTo>
                    <a:lnTo>
                      <a:pt x="1178" y="1080"/>
                    </a:lnTo>
                    <a:lnTo>
                      <a:pt x="1178" y="1078"/>
                    </a:lnTo>
                    <a:lnTo>
                      <a:pt x="1179" y="1077"/>
                    </a:lnTo>
                    <a:lnTo>
                      <a:pt x="1181" y="1077"/>
                    </a:lnTo>
                    <a:lnTo>
                      <a:pt x="1183" y="1077"/>
                    </a:lnTo>
                    <a:lnTo>
                      <a:pt x="1183" y="1078"/>
                    </a:lnTo>
                    <a:lnTo>
                      <a:pt x="1185" y="1077"/>
                    </a:lnTo>
                    <a:lnTo>
                      <a:pt x="1186" y="1075"/>
                    </a:lnTo>
                    <a:close/>
                    <a:moveTo>
                      <a:pt x="1169" y="1390"/>
                    </a:moveTo>
                    <a:lnTo>
                      <a:pt x="1169" y="1391"/>
                    </a:lnTo>
                    <a:lnTo>
                      <a:pt x="1171" y="1390"/>
                    </a:lnTo>
                    <a:lnTo>
                      <a:pt x="1171" y="1391"/>
                    </a:lnTo>
                    <a:lnTo>
                      <a:pt x="1173" y="1391"/>
                    </a:lnTo>
                    <a:lnTo>
                      <a:pt x="1171" y="1393"/>
                    </a:lnTo>
                    <a:lnTo>
                      <a:pt x="1171" y="1391"/>
                    </a:lnTo>
                    <a:lnTo>
                      <a:pt x="1171" y="1393"/>
                    </a:lnTo>
                    <a:lnTo>
                      <a:pt x="1171" y="1395"/>
                    </a:lnTo>
                    <a:lnTo>
                      <a:pt x="1169" y="1393"/>
                    </a:lnTo>
                    <a:lnTo>
                      <a:pt x="1169" y="1395"/>
                    </a:lnTo>
                    <a:lnTo>
                      <a:pt x="1171" y="1395"/>
                    </a:lnTo>
                    <a:lnTo>
                      <a:pt x="1169" y="1395"/>
                    </a:lnTo>
                    <a:lnTo>
                      <a:pt x="1171" y="1396"/>
                    </a:lnTo>
                    <a:lnTo>
                      <a:pt x="1171" y="1395"/>
                    </a:lnTo>
                    <a:lnTo>
                      <a:pt x="1173" y="1396"/>
                    </a:lnTo>
                    <a:lnTo>
                      <a:pt x="1173" y="1398"/>
                    </a:lnTo>
                    <a:lnTo>
                      <a:pt x="1171" y="1398"/>
                    </a:lnTo>
                    <a:lnTo>
                      <a:pt x="1169" y="1398"/>
                    </a:lnTo>
                    <a:lnTo>
                      <a:pt x="1171" y="1398"/>
                    </a:lnTo>
                    <a:lnTo>
                      <a:pt x="1173" y="1398"/>
                    </a:lnTo>
                    <a:lnTo>
                      <a:pt x="1171" y="1400"/>
                    </a:lnTo>
                    <a:lnTo>
                      <a:pt x="1173" y="1400"/>
                    </a:lnTo>
                    <a:lnTo>
                      <a:pt x="1173" y="1401"/>
                    </a:lnTo>
                    <a:lnTo>
                      <a:pt x="1173" y="1400"/>
                    </a:lnTo>
                    <a:lnTo>
                      <a:pt x="1173" y="1398"/>
                    </a:lnTo>
                    <a:lnTo>
                      <a:pt x="1173" y="1396"/>
                    </a:lnTo>
                    <a:lnTo>
                      <a:pt x="1174" y="1398"/>
                    </a:lnTo>
                    <a:lnTo>
                      <a:pt x="1174" y="1400"/>
                    </a:lnTo>
                    <a:lnTo>
                      <a:pt x="1174" y="1401"/>
                    </a:lnTo>
                    <a:lnTo>
                      <a:pt x="1173" y="1401"/>
                    </a:lnTo>
                    <a:lnTo>
                      <a:pt x="1173" y="1403"/>
                    </a:lnTo>
                    <a:lnTo>
                      <a:pt x="1171" y="1403"/>
                    </a:lnTo>
                    <a:lnTo>
                      <a:pt x="1171" y="1401"/>
                    </a:lnTo>
                    <a:lnTo>
                      <a:pt x="1169" y="1401"/>
                    </a:lnTo>
                    <a:lnTo>
                      <a:pt x="1168" y="1401"/>
                    </a:lnTo>
                    <a:lnTo>
                      <a:pt x="1166" y="1400"/>
                    </a:lnTo>
                    <a:lnTo>
                      <a:pt x="1168" y="1400"/>
                    </a:lnTo>
                    <a:lnTo>
                      <a:pt x="1166" y="1400"/>
                    </a:lnTo>
                    <a:lnTo>
                      <a:pt x="1164" y="1400"/>
                    </a:lnTo>
                    <a:lnTo>
                      <a:pt x="1164" y="1398"/>
                    </a:lnTo>
                    <a:lnTo>
                      <a:pt x="1166" y="1398"/>
                    </a:lnTo>
                    <a:lnTo>
                      <a:pt x="1168" y="1400"/>
                    </a:lnTo>
                    <a:lnTo>
                      <a:pt x="1166" y="1398"/>
                    </a:lnTo>
                    <a:lnTo>
                      <a:pt x="1168" y="1398"/>
                    </a:lnTo>
                    <a:lnTo>
                      <a:pt x="1166" y="1398"/>
                    </a:lnTo>
                    <a:lnTo>
                      <a:pt x="1168" y="1398"/>
                    </a:lnTo>
                    <a:lnTo>
                      <a:pt x="1166" y="1398"/>
                    </a:lnTo>
                    <a:lnTo>
                      <a:pt x="1164" y="1396"/>
                    </a:lnTo>
                    <a:lnTo>
                      <a:pt x="1166" y="1396"/>
                    </a:lnTo>
                    <a:lnTo>
                      <a:pt x="1166" y="1398"/>
                    </a:lnTo>
                    <a:lnTo>
                      <a:pt x="1168" y="1398"/>
                    </a:lnTo>
                    <a:lnTo>
                      <a:pt x="1168" y="1396"/>
                    </a:lnTo>
                    <a:lnTo>
                      <a:pt x="1166" y="1396"/>
                    </a:lnTo>
                    <a:lnTo>
                      <a:pt x="1164" y="1396"/>
                    </a:lnTo>
                    <a:lnTo>
                      <a:pt x="1164" y="1395"/>
                    </a:lnTo>
                    <a:lnTo>
                      <a:pt x="1166" y="1396"/>
                    </a:lnTo>
                    <a:lnTo>
                      <a:pt x="1168" y="1396"/>
                    </a:lnTo>
                    <a:lnTo>
                      <a:pt x="1166" y="1396"/>
                    </a:lnTo>
                    <a:lnTo>
                      <a:pt x="1166" y="1395"/>
                    </a:lnTo>
                    <a:lnTo>
                      <a:pt x="1164" y="1395"/>
                    </a:lnTo>
                    <a:lnTo>
                      <a:pt x="1166" y="1395"/>
                    </a:lnTo>
                    <a:lnTo>
                      <a:pt x="1164" y="1395"/>
                    </a:lnTo>
                    <a:lnTo>
                      <a:pt x="1164" y="1393"/>
                    </a:lnTo>
                    <a:lnTo>
                      <a:pt x="1166" y="1393"/>
                    </a:lnTo>
                    <a:lnTo>
                      <a:pt x="1168" y="1393"/>
                    </a:lnTo>
                    <a:lnTo>
                      <a:pt x="1168" y="1395"/>
                    </a:lnTo>
                    <a:lnTo>
                      <a:pt x="1166" y="1393"/>
                    </a:lnTo>
                    <a:lnTo>
                      <a:pt x="1168" y="1395"/>
                    </a:lnTo>
                    <a:lnTo>
                      <a:pt x="1169" y="1393"/>
                    </a:lnTo>
                    <a:lnTo>
                      <a:pt x="1168" y="1393"/>
                    </a:lnTo>
                    <a:lnTo>
                      <a:pt x="1168" y="1391"/>
                    </a:lnTo>
                    <a:lnTo>
                      <a:pt x="1166" y="1391"/>
                    </a:lnTo>
                    <a:lnTo>
                      <a:pt x="1164" y="1391"/>
                    </a:lnTo>
                    <a:lnTo>
                      <a:pt x="1164" y="1390"/>
                    </a:lnTo>
                    <a:lnTo>
                      <a:pt x="1166" y="1391"/>
                    </a:lnTo>
                    <a:lnTo>
                      <a:pt x="1166" y="1390"/>
                    </a:lnTo>
                    <a:lnTo>
                      <a:pt x="1168" y="1390"/>
                    </a:lnTo>
                    <a:lnTo>
                      <a:pt x="1168" y="1391"/>
                    </a:lnTo>
                    <a:lnTo>
                      <a:pt x="1169" y="1391"/>
                    </a:lnTo>
                    <a:lnTo>
                      <a:pt x="1169" y="1393"/>
                    </a:lnTo>
                    <a:lnTo>
                      <a:pt x="1169" y="1391"/>
                    </a:lnTo>
                    <a:lnTo>
                      <a:pt x="1168" y="1390"/>
                    </a:lnTo>
                    <a:lnTo>
                      <a:pt x="1169" y="1390"/>
                    </a:lnTo>
                    <a:close/>
                    <a:moveTo>
                      <a:pt x="1195" y="1114"/>
                    </a:moveTo>
                    <a:lnTo>
                      <a:pt x="1196" y="1114"/>
                    </a:lnTo>
                    <a:lnTo>
                      <a:pt x="1195" y="1114"/>
                    </a:lnTo>
                    <a:lnTo>
                      <a:pt x="1196" y="1116"/>
                    </a:lnTo>
                    <a:lnTo>
                      <a:pt x="1196" y="1117"/>
                    </a:lnTo>
                    <a:lnTo>
                      <a:pt x="1198" y="1117"/>
                    </a:lnTo>
                    <a:lnTo>
                      <a:pt x="1200" y="1117"/>
                    </a:lnTo>
                    <a:lnTo>
                      <a:pt x="1202" y="1116"/>
                    </a:lnTo>
                    <a:lnTo>
                      <a:pt x="1203" y="1116"/>
                    </a:lnTo>
                    <a:lnTo>
                      <a:pt x="1203" y="1117"/>
                    </a:lnTo>
                    <a:lnTo>
                      <a:pt x="1203" y="1119"/>
                    </a:lnTo>
                    <a:lnTo>
                      <a:pt x="1205" y="1119"/>
                    </a:lnTo>
                    <a:lnTo>
                      <a:pt x="1205" y="1121"/>
                    </a:lnTo>
                    <a:lnTo>
                      <a:pt x="1205" y="1122"/>
                    </a:lnTo>
                    <a:lnTo>
                      <a:pt x="1203" y="1121"/>
                    </a:lnTo>
                    <a:lnTo>
                      <a:pt x="1203" y="1122"/>
                    </a:lnTo>
                    <a:lnTo>
                      <a:pt x="1203" y="1121"/>
                    </a:lnTo>
                    <a:lnTo>
                      <a:pt x="1202" y="1122"/>
                    </a:lnTo>
                    <a:lnTo>
                      <a:pt x="1202" y="1121"/>
                    </a:lnTo>
                    <a:lnTo>
                      <a:pt x="1200" y="1121"/>
                    </a:lnTo>
                    <a:lnTo>
                      <a:pt x="1200" y="1122"/>
                    </a:lnTo>
                    <a:lnTo>
                      <a:pt x="1198" y="1122"/>
                    </a:lnTo>
                    <a:lnTo>
                      <a:pt x="1200" y="1121"/>
                    </a:lnTo>
                    <a:lnTo>
                      <a:pt x="1198" y="1122"/>
                    </a:lnTo>
                    <a:lnTo>
                      <a:pt x="1196" y="1122"/>
                    </a:lnTo>
                    <a:lnTo>
                      <a:pt x="1196" y="1121"/>
                    </a:lnTo>
                    <a:lnTo>
                      <a:pt x="1195" y="1121"/>
                    </a:lnTo>
                    <a:lnTo>
                      <a:pt x="1193" y="1121"/>
                    </a:lnTo>
                    <a:lnTo>
                      <a:pt x="1193" y="1119"/>
                    </a:lnTo>
                    <a:lnTo>
                      <a:pt x="1193" y="1121"/>
                    </a:lnTo>
                    <a:lnTo>
                      <a:pt x="1193" y="1122"/>
                    </a:lnTo>
                    <a:lnTo>
                      <a:pt x="1193" y="1121"/>
                    </a:lnTo>
                    <a:lnTo>
                      <a:pt x="1193" y="1119"/>
                    </a:lnTo>
                    <a:lnTo>
                      <a:pt x="1191" y="1121"/>
                    </a:lnTo>
                    <a:lnTo>
                      <a:pt x="1193" y="1119"/>
                    </a:lnTo>
                    <a:lnTo>
                      <a:pt x="1191" y="1119"/>
                    </a:lnTo>
                    <a:lnTo>
                      <a:pt x="1191" y="1117"/>
                    </a:lnTo>
                    <a:lnTo>
                      <a:pt x="1191" y="1116"/>
                    </a:lnTo>
                    <a:lnTo>
                      <a:pt x="1191" y="1114"/>
                    </a:lnTo>
                    <a:lnTo>
                      <a:pt x="1193" y="1116"/>
                    </a:lnTo>
                    <a:lnTo>
                      <a:pt x="1195" y="1114"/>
                    </a:lnTo>
                    <a:close/>
                    <a:moveTo>
                      <a:pt x="1288" y="1623"/>
                    </a:moveTo>
                    <a:lnTo>
                      <a:pt x="1290" y="1623"/>
                    </a:lnTo>
                    <a:lnTo>
                      <a:pt x="1292" y="1623"/>
                    </a:lnTo>
                    <a:lnTo>
                      <a:pt x="1290" y="1623"/>
                    </a:lnTo>
                    <a:lnTo>
                      <a:pt x="1292" y="1621"/>
                    </a:lnTo>
                    <a:lnTo>
                      <a:pt x="1292" y="1623"/>
                    </a:lnTo>
                    <a:lnTo>
                      <a:pt x="1293" y="1623"/>
                    </a:lnTo>
                    <a:lnTo>
                      <a:pt x="1293" y="1624"/>
                    </a:lnTo>
                    <a:lnTo>
                      <a:pt x="1293" y="1623"/>
                    </a:lnTo>
                    <a:lnTo>
                      <a:pt x="1293" y="1624"/>
                    </a:lnTo>
                    <a:lnTo>
                      <a:pt x="1295" y="1624"/>
                    </a:lnTo>
                    <a:lnTo>
                      <a:pt x="1295" y="1626"/>
                    </a:lnTo>
                    <a:lnTo>
                      <a:pt x="1297" y="1624"/>
                    </a:lnTo>
                    <a:lnTo>
                      <a:pt x="1298" y="1624"/>
                    </a:lnTo>
                    <a:lnTo>
                      <a:pt x="1297" y="1624"/>
                    </a:lnTo>
                    <a:lnTo>
                      <a:pt x="1297" y="1626"/>
                    </a:lnTo>
                    <a:lnTo>
                      <a:pt x="1298" y="1626"/>
                    </a:lnTo>
                    <a:lnTo>
                      <a:pt x="1300" y="1626"/>
                    </a:lnTo>
                    <a:lnTo>
                      <a:pt x="1298" y="1628"/>
                    </a:lnTo>
                    <a:lnTo>
                      <a:pt x="1297" y="1628"/>
                    </a:lnTo>
                    <a:lnTo>
                      <a:pt x="1298" y="1628"/>
                    </a:lnTo>
                    <a:lnTo>
                      <a:pt x="1300" y="1628"/>
                    </a:lnTo>
                    <a:lnTo>
                      <a:pt x="1298" y="1629"/>
                    </a:lnTo>
                    <a:lnTo>
                      <a:pt x="1298" y="1628"/>
                    </a:lnTo>
                    <a:lnTo>
                      <a:pt x="1297" y="1628"/>
                    </a:lnTo>
                    <a:lnTo>
                      <a:pt x="1297" y="1629"/>
                    </a:lnTo>
                    <a:lnTo>
                      <a:pt x="1295" y="1629"/>
                    </a:lnTo>
                    <a:lnTo>
                      <a:pt x="1293" y="1629"/>
                    </a:lnTo>
                    <a:lnTo>
                      <a:pt x="1293" y="1628"/>
                    </a:lnTo>
                    <a:lnTo>
                      <a:pt x="1292" y="1629"/>
                    </a:lnTo>
                    <a:lnTo>
                      <a:pt x="1292" y="1628"/>
                    </a:lnTo>
                    <a:lnTo>
                      <a:pt x="1293" y="1628"/>
                    </a:lnTo>
                    <a:lnTo>
                      <a:pt x="1295" y="1626"/>
                    </a:lnTo>
                    <a:lnTo>
                      <a:pt x="1293" y="1626"/>
                    </a:lnTo>
                    <a:lnTo>
                      <a:pt x="1292" y="1626"/>
                    </a:lnTo>
                    <a:lnTo>
                      <a:pt x="1292" y="1628"/>
                    </a:lnTo>
                    <a:lnTo>
                      <a:pt x="1292" y="1626"/>
                    </a:lnTo>
                    <a:lnTo>
                      <a:pt x="1292" y="1628"/>
                    </a:lnTo>
                    <a:lnTo>
                      <a:pt x="1290" y="1628"/>
                    </a:lnTo>
                    <a:lnTo>
                      <a:pt x="1290" y="1626"/>
                    </a:lnTo>
                    <a:lnTo>
                      <a:pt x="1290" y="1624"/>
                    </a:lnTo>
                    <a:lnTo>
                      <a:pt x="1292" y="1624"/>
                    </a:lnTo>
                    <a:lnTo>
                      <a:pt x="1290" y="1624"/>
                    </a:lnTo>
                    <a:lnTo>
                      <a:pt x="1288" y="1626"/>
                    </a:lnTo>
                    <a:lnTo>
                      <a:pt x="1288" y="1624"/>
                    </a:lnTo>
                    <a:lnTo>
                      <a:pt x="1287" y="1624"/>
                    </a:lnTo>
                    <a:lnTo>
                      <a:pt x="1288" y="1624"/>
                    </a:lnTo>
                    <a:lnTo>
                      <a:pt x="1288" y="1626"/>
                    </a:lnTo>
                    <a:lnTo>
                      <a:pt x="1287" y="1626"/>
                    </a:lnTo>
                    <a:lnTo>
                      <a:pt x="1287" y="1628"/>
                    </a:lnTo>
                    <a:lnTo>
                      <a:pt x="1285" y="1628"/>
                    </a:lnTo>
                    <a:lnTo>
                      <a:pt x="1287" y="1629"/>
                    </a:lnTo>
                    <a:lnTo>
                      <a:pt x="1285" y="1629"/>
                    </a:lnTo>
                    <a:lnTo>
                      <a:pt x="1285" y="1628"/>
                    </a:lnTo>
                    <a:lnTo>
                      <a:pt x="1285" y="1626"/>
                    </a:lnTo>
                    <a:lnTo>
                      <a:pt x="1285" y="1628"/>
                    </a:lnTo>
                    <a:lnTo>
                      <a:pt x="1283" y="1628"/>
                    </a:lnTo>
                    <a:lnTo>
                      <a:pt x="1283" y="1629"/>
                    </a:lnTo>
                    <a:lnTo>
                      <a:pt x="1281" y="1629"/>
                    </a:lnTo>
                    <a:lnTo>
                      <a:pt x="1281" y="1628"/>
                    </a:lnTo>
                    <a:lnTo>
                      <a:pt x="1283" y="1626"/>
                    </a:lnTo>
                    <a:lnTo>
                      <a:pt x="1281" y="1626"/>
                    </a:lnTo>
                    <a:lnTo>
                      <a:pt x="1281" y="1624"/>
                    </a:lnTo>
                    <a:lnTo>
                      <a:pt x="1283" y="1624"/>
                    </a:lnTo>
                    <a:lnTo>
                      <a:pt x="1283" y="1623"/>
                    </a:lnTo>
                    <a:lnTo>
                      <a:pt x="1283" y="1621"/>
                    </a:lnTo>
                    <a:lnTo>
                      <a:pt x="1285" y="1623"/>
                    </a:lnTo>
                    <a:lnTo>
                      <a:pt x="1285" y="1621"/>
                    </a:lnTo>
                    <a:lnTo>
                      <a:pt x="1287" y="1623"/>
                    </a:lnTo>
                    <a:lnTo>
                      <a:pt x="1288" y="1623"/>
                    </a:lnTo>
                    <a:lnTo>
                      <a:pt x="1287" y="1621"/>
                    </a:lnTo>
                    <a:lnTo>
                      <a:pt x="1288" y="1623"/>
                    </a:lnTo>
                    <a:close/>
                    <a:moveTo>
                      <a:pt x="1207" y="1082"/>
                    </a:moveTo>
                    <a:lnTo>
                      <a:pt x="1208" y="1083"/>
                    </a:lnTo>
                    <a:lnTo>
                      <a:pt x="1210" y="1083"/>
                    </a:lnTo>
                    <a:lnTo>
                      <a:pt x="1208" y="1085"/>
                    </a:lnTo>
                    <a:lnTo>
                      <a:pt x="1208" y="1083"/>
                    </a:lnTo>
                    <a:lnTo>
                      <a:pt x="1207" y="1083"/>
                    </a:lnTo>
                    <a:lnTo>
                      <a:pt x="1208" y="1083"/>
                    </a:lnTo>
                    <a:lnTo>
                      <a:pt x="1208" y="1085"/>
                    </a:lnTo>
                    <a:lnTo>
                      <a:pt x="1210" y="1085"/>
                    </a:lnTo>
                    <a:lnTo>
                      <a:pt x="1210" y="1087"/>
                    </a:lnTo>
                    <a:lnTo>
                      <a:pt x="1208" y="1087"/>
                    </a:lnTo>
                    <a:lnTo>
                      <a:pt x="1210" y="1088"/>
                    </a:lnTo>
                    <a:lnTo>
                      <a:pt x="1208" y="1088"/>
                    </a:lnTo>
                    <a:lnTo>
                      <a:pt x="1208" y="1090"/>
                    </a:lnTo>
                    <a:lnTo>
                      <a:pt x="1207" y="1090"/>
                    </a:lnTo>
                    <a:lnTo>
                      <a:pt x="1207" y="1092"/>
                    </a:lnTo>
                    <a:lnTo>
                      <a:pt x="1207" y="1090"/>
                    </a:lnTo>
                    <a:lnTo>
                      <a:pt x="1208" y="1090"/>
                    </a:lnTo>
                    <a:lnTo>
                      <a:pt x="1208" y="1088"/>
                    </a:lnTo>
                    <a:lnTo>
                      <a:pt x="1210" y="1088"/>
                    </a:lnTo>
                    <a:lnTo>
                      <a:pt x="1210" y="1090"/>
                    </a:lnTo>
                    <a:lnTo>
                      <a:pt x="1212" y="1090"/>
                    </a:lnTo>
                    <a:lnTo>
                      <a:pt x="1210" y="1090"/>
                    </a:lnTo>
                    <a:lnTo>
                      <a:pt x="1210" y="1092"/>
                    </a:lnTo>
                    <a:lnTo>
                      <a:pt x="1210" y="1090"/>
                    </a:lnTo>
                    <a:lnTo>
                      <a:pt x="1210" y="1092"/>
                    </a:lnTo>
                    <a:lnTo>
                      <a:pt x="1210" y="1090"/>
                    </a:lnTo>
                    <a:lnTo>
                      <a:pt x="1208" y="1092"/>
                    </a:lnTo>
                    <a:lnTo>
                      <a:pt x="1207" y="1092"/>
                    </a:lnTo>
                    <a:lnTo>
                      <a:pt x="1205" y="1092"/>
                    </a:lnTo>
                    <a:lnTo>
                      <a:pt x="1205" y="1090"/>
                    </a:lnTo>
                    <a:lnTo>
                      <a:pt x="1203" y="1090"/>
                    </a:lnTo>
                    <a:lnTo>
                      <a:pt x="1203" y="1088"/>
                    </a:lnTo>
                    <a:lnTo>
                      <a:pt x="1202" y="1088"/>
                    </a:lnTo>
                    <a:lnTo>
                      <a:pt x="1202" y="1087"/>
                    </a:lnTo>
                    <a:lnTo>
                      <a:pt x="1200" y="1085"/>
                    </a:lnTo>
                    <a:lnTo>
                      <a:pt x="1202" y="1085"/>
                    </a:lnTo>
                    <a:lnTo>
                      <a:pt x="1203" y="1087"/>
                    </a:lnTo>
                    <a:lnTo>
                      <a:pt x="1203" y="1088"/>
                    </a:lnTo>
                    <a:lnTo>
                      <a:pt x="1203" y="1087"/>
                    </a:lnTo>
                    <a:lnTo>
                      <a:pt x="1203" y="1085"/>
                    </a:lnTo>
                    <a:lnTo>
                      <a:pt x="1203" y="1083"/>
                    </a:lnTo>
                    <a:lnTo>
                      <a:pt x="1205" y="1083"/>
                    </a:lnTo>
                    <a:lnTo>
                      <a:pt x="1205" y="1082"/>
                    </a:lnTo>
                    <a:lnTo>
                      <a:pt x="1205" y="1083"/>
                    </a:lnTo>
                    <a:lnTo>
                      <a:pt x="1207" y="1082"/>
                    </a:lnTo>
                    <a:close/>
                    <a:moveTo>
                      <a:pt x="1207" y="1145"/>
                    </a:moveTo>
                    <a:lnTo>
                      <a:pt x="1207" y="1146"/>
                    </a:lnTo>
                    <a:lnTo>
                      <a:pt x="1208" y="1146"/>
                    </a:lnTo>
                    <a:lnTo>
                      <a:pt x="1208" y="1148"/>
                    </a:lnTo>
                    <a:lnTo>
                      <a:pt x="1207" y="1148"/>
                    </a:lnTo>
                    <a:lnTo>
                      <a:pt x="1208" y="1148"/>
                    </a:lnTo>
                    <a:lnTo>
                      <a:pt x="1208" y="1150"/>
                    </a:lnTo>
                    <a:lnTo>
                      <a:pt x="1207" y="1150"/>
                    </a:lnTo>
                    <a:lnTo>
                      <a:pt x="1208" y="1150"/>
                    </a:lnTo>
                    <a:lnTo>
                      <a:pt x="1208" y="1151"/>
                    </a:lnTo>
                    <a:lnTo>
                      <a:pt x="1207" y="1151"/>
                    </a:lnTo>
                    <a:lnTo>
                      <a:pt x="1208" y="1153"/>
                    </a:lnTo>
                    <a:lnTo>
                      <a:pt x="1207" y="1155"/>
                    </a:lnTo>
                    <a:lnTo>
                      <a:pt x="1205" y="1153"/>
                    </a:lnTo>
                    <a:lnTo>
                      <a:pt x="1203" y="1153"/>
                    </a:lnTo>
                    <a:lnTo>
                      <a:pt x="1203" y="1151"/>
                    </a:lnTo>
                    <a:lnTo>
                      <a:pt x="1203" y="1150"/>
                    </a:lnTo>
                    <a:lnTo>
                      <a:pt x="1205" y="1148"/>
                    </a:lnTo>
                    <a:lnTo>
                      <a:pt x="1207" y="1148"/>
                    </a:lnTo>
                    <a:lnTo>
                      <a:pt x="1205" y="1150"/>
                    </a:lnTo>
                    <a:lnTo>
                      <a:pt x="1207" y="1150"/>
                    </a:lnTo>
                    <a:lnTo>
                      <a:pt x="1205" y="1148"/>
                    </a:lnTo>
                    <a:lnTo>
                      <a:pt x="1207" y="1148"/>
                    </a:lnTo>
                    <a:lnTo>
                      <a:pt x="1207" y="1146"/>
                    </a:lnTo>
                    <a:lnTo>
                      <a:pt x="1205" y="1146"/>
                    </a:lnTo>
                    <a:lnTo>
                      <a:pt x="1203" y="1146"/>
                    </a:lnTo>
                    <a:lnTo>
                      <a:pt x="1203" y="1148"/>
                    </a:lnTo>
                    <a:lnTo>
                      <a:pt x="1205" y="1148"/>
                    </a:lnTo>
                    <a:lnTo>
                      <a:pt x="1203" y="1148"/>
                    </a:lnTo>
                    <a:lnTo>
                      <a:pt x="1203" y="1150"/>
                    </a:lnTo>
                    <a:lnTo>
                      <a:pt x="1202" y="1148"/>
                    </a:lnTo>
                    <a:lnTo>
                      <a:pt x="1202" y="1150"/>
                    </a:lnTo>
                    <a:lnTo>
                      <a:pt x="1203" y="1150"/>
                    </a:lnTo>
                    <a:lnTo>
                      <a:pt x="1203" y="1151"/>
                    </a:lnTo>
                    <a:lnTo>
                      <a:pt x="1202" y="1151"/>
                    </a:lnTo>
                    <a:lnTo>
                      <a:pt x="1200" y="1151"/>
                    </a:lnTo>
                    <a:lnTo>
                      <a:pt x="1200" y="1150"/>
                    </a:lnTo>
                    <a:lnTo>
                      <a:pt x="1198" y="1150"/>
                    </a:lnTo>
                    <a:lnTo>
                      <a:pt x="1200" y="1150"/>
                    </a:lnTo>
                    <a:lnTo>
                      <a:pt x="1200" y="1148"/>
                    </a:lnTo>
                    <a:lnTo>
                      <a:pt x="1200" y="1146"/>
                    </a:lnTo>
                    <a:lnTo>
                      <a:pt x="1202" y="1146"/>
                    </a:lnTo>
                    <a:lnTo>
                      <a:pt x="1203" y="1146"/>
                    </a:lnTo>
                    <a:lnTo>
                      <a:pt x="1205" y="1145"/>
                    </a:lnTo>
                    <a:lnTo>
                      <a:pt x="1203" y="1145"/>
                    </a:lnTo>
                    <a:lnTo>
                      <a:pt x="1205" y="1145"/>
                    </a:lnTo>
                    <a:lnTo>
                      <a:pt x="1205" y="1143"/>
                    </a:lnTo>
                    <a:lnTo>
                      <a:pt x="1207" y="1143"/>
                    </a:lnTo>
                    <a:lnTo>
                      <a:pt x="1207" y="1145"/>
                    </a:lnTo>
                    <a:close/>
                    <a:moveTo>
                      <a:pt x="1196" y="1065"/>
                    </a:moveTo>
                    <a:lnTo>
                      <a:pt x="1196" y="1066"/>
                    </a:lnTo>
                    <a:lnTo>
                      <a:pt x="1198" y="1066"/>
                    </a:lnTo>
                    <a:lnTo>
                      <a:pt x="1200" y="1066"/>
                    </a:lnTo>
                    <a:lnTo>
                      <a:pt x="1200" y="1068"/>
                    </a:lnTo>
                    <a:lnTo>
                      <a:pt x="1202" y="1068"/>
                    </a:lnTo>
                    <a:lnTo>
                      <a:pt x="1200" y="1068"/>
                    </a:lnTo>
                    <a:lnTo>
                      <a:pt x="1198" y="1068"/>
                    </a:lnTo>
                    <a:lnTo>
                      <a:pt x="1198" y="1070"/>
                    </a:lnTo>
                    <a:lnTo>
                      <a:pt x="1196" y="1068"/>
                    </a:lnTo>
                    <a:lnTo>
                      <a:pt x="1195" y="1068"/>
                    </a:lnTo>
                    <a:lnTo>
                      <a:pt x="1196" y="1070"/>
                    </a:lnTo>
                    <a:lnTo>
                      <a:pt x="1198" y="1071"/>
                    </a:lnTo>
                    <a:lnTo>
                      <a:pt x="1196" y="1070"/>
                    </a:lnTo>
                    <a:lnTo>
                      <a:pt x="1198" y="1070"/>
                    </a:lnTo>
                    <a:lnTo>
                      <a:pt x="1200" y="1071"/>
                    </a:lnTo>
                    <a:lnTo>
                      <a:pt x="1202" y="1071"/>
                    </a:lnTo>
                    <a:lnTo>
                      <a:pt x="1202" y="1070"/>
                    </a:lnTo>
                    <a:lnTo>
                      <a:pt x="1203" y="1070"/>
                    </a:lnTo>
                    <a:lnTo>
                      <a:pt x="1203" y="1071"/>
                    </a:lnTo>
                    <a:lnTo>
                      <a:pt x="1205" y="1071"/>
                    </a:lnTo>
                    <a:lnTo>
                      <a:pt x="1205" y="1073"/>
                    </a:lnTo>
                    <a:lnTo>
                      <a:pt x="1203" y="1073"/>
                    </a:lnTo>
                    <a:lnTo>
                      <a:pt x="1202" y="1073"/>
                    </a:lnTo>
                    <a:lnTo>
                      <a:pt x="1200" y="1073"/>
                    </a:lnTo>
                    <a:lnTo>
                      <a:pt x="1200" y="1071"/>
                    </a:lnTo>
                    <a:lnTo>
                      <a:pt x="1200" y="1073"/>
                    </a:lnTo>
                    <a:lnTo>
                      <a:pt x="1198" y="1073"/>
                    </a:lnTo>
                    <a:lnTo>
                      <a:pt x="1198" y="1071"/>
                    </a:lnTo>
                    <a:lnTo>
                      <a:pt x="1198" y="1073"/>
                    </a:lnTo>
                    <a:lnTo>
                      <a:pt x="1196" y="1073"/>
                    </a:lnTo>
                    <a:lnTo>
                      <a:pt x="1196" y="1071"/>
                    </a:lnTo>
                    <a:lnTo>
                      <a:pt x="1196" y="1073"/>
                    </a:lnTo>
                    <a:lnTo>
                      <a:pt x="1196" y="1071"/>
                    </a:lnTo>
                    <a:lnTo>
                      <a:pt x="1195" y="1071"/>
                    </a:lnTo>
                    <a:lnTo>
                      <a:pt x="1193" y="1070"/>
                    </a:lnTo>
                    <a:lnTo>
                      <a:pt x="1195" y="1068"/>
                    </a:lnTo>
                    <a:lnTo>
                      <a:pt x="1193" y="1068"/>
                    </a:lnTo>
                    <a:lnTo>
                      <a:pt x="1193" y="1066"/>
                    </a:lnTo>
                    <a:lnTo>
                      <a:pt x="1193" y="1065"/>
                    </a:lnTo>
                    <a:lnTo>
                      <a:pt x="1195" y="1065"/>
                    </a:lnTo>
                    <a:lnTo>
                      <a:pt x="1195" y="1063"/>
                    </a:lnTo>
                    <a:lnTo>
                      <a:pt x="1196" y="1063"/>
                    </a:lnTo>
                    <a:lnTo>
                      <a:pt x="1196" y="1065"/>
                    </a:lnTo>
                    <a:close/>
                    <a:moveTo>
                      <a:pt x="1254" y="1578"/>
                    </a:moveTo>
                    <a:lnTo>
                      <a:pt x="1254" y="1580"/>
                    </a:lnTo>
                    <a:lnTo>
                      <a:pt x="1254" y="1578"/>
                    </a:lnTo>
                    <a:lnTo>
                      <a:pt x="1256" y="1580"/>
                    </a:lnTo>
                    <a:lnTo>
                      <a:pt x="1254" y="1582"/>
                    </a:lnTo>
                    <a:lnTo>
                      <a:pt x="1256" y="1580"/>
                    </a:lnTo>
                    <a:lnTo>
                      <a:pt x="1256" y="1582"/>
                    </a:lnTo>
                    <a:lnTo>
                      <a:pt x="1258" y="1582"/>
                    </a:lnTo>
                    <a:lnTo>
                      <a:pt x="1256" y="1582"/>
                    </a:lnTo>
                    <a:lnTo>
                      <a:pt x="1256" y="1583"/>
                    </a:lnTo>
                    <a:lnTo>
                      <a:pt x="1254" y="1582"/>
                    </a:lnTo>
                    <a:lnTo>
                      <a:pt x="1254" y="1583"/>
                    </a:lnTo>
                    <a:lnTo>
                      <a:pt x="1254" y="1585"/>
                    </a:lnTo>
                    <a:lnTo>
                      <a:pt x="1254" y="1587"/>
                    </a:lnTo>
                    <a:lnTo>
                      <a:pt x="1253" y="1585"/>
                    </a:lnTo>
                    <a:lnTo>
                      <a:pt x="1253" y="1587"/>
                    </a:lnTo>
                    <a:lnTo>
                      <a:pt x="1254" y="1587"/>
                    </a:lnTo>
                    <a:lnTo>
                      <a:pt x="1253" y="1589"/>
                    </a:lnTo>
                    <a:lnTo>
                      <a:pt x="1251" y="1589"/>
                    </a:lnTo>
                    <a:lnTo>
                      <a:pt x="1251" y="1587"/>
                    </a:lnTo>
                    <a:lnTo>
                      <a:pt x="1249" y="1587"/>
                    </a:lnTo>
                    <a:lnTo>
                      <a:pt x="1251" y="1587"/>
                    </a:lnTo>
                    <a:lnTo>
                      <a:pt x="1249" y="1589"/>
                    </a:lnTo>
                    <a:lnTo>
                      <a:pt x="1251" y="1589"/>
                    </a:lnTo>
                    <a:lnTo>
                      <a:pt x="1253" y="1590"/>
                    </a:lnTo>
                    <a:lnTo>
                      <a:pt x="1251" y="1590"/>
                    </a:lnTo>
                    <a:lnTo>
                      <a:pt x="1249" y="1589"/>
                    </a:lnTo>
                    <a:lnTo>
                      <a:pt x="1249" y="1590"/>
                    </a:lnTo>
                    <a:lnTo>
                      <a:pt x="1247" y="1590"/>
                    </a:lnTo>
                    <a:lnTo>
                      <a:pt x="1247" y="1589"/>
                    </a:lnTo>
                    <a:lnTo>
                      <a:pt x="1246" y="1589"/>
                    </a:lnTo>
                    <a:lnTo>
                      <a:pt x="1247" y="1587"/>
                    </a:lnTo>
                    <a:lnTo>
                      <a:pt x="1247" y="1589"/>
                    </a:lnTo>
                    <a:lnTo>
                      <a:pt x="1247" y="1587"/>
                    </a:lnTo>
                    <a:lnTo>
                      <a:pt x="1246" y="1587"/>
                    </a:lnTo>
                    <a:lnTo>
                      <a:pt x="1247" y="1585"/>
                    </a:lnTo>
                    <a:lnTo>
                      <a:pt x="1249" y="1585"/>
                    </a:lnTo>
                    <a:lnTo>
                      <a:pt x="1251" y="1585"/>
                    </a:lnTo>
                    <a:lnTo>
                      <a:pt x="1249" y="1585"/>
                    </a:lnTo>
                    <a:lnTo>
                      <a:pt x="1249" y="1583"/>
                    </a:lnTo>
                    <a:lnTo>
                      <a:pt x="1251" y="1585"/>
                    </a:lnTo>
                    <a:lnTo>
                      <a:pt x="1251" y="1583"/>
                    </a:lnTo>
                    <a:lnTo>
                      <a:pt x="1253" y="1583"/>
                    </a:lnTo>
                    <a:lnTo>
                      <a:pt x="1253" y="1582"/>
                    </a:lnTo>
                    <a:lnTo>
                      <a:pt x="1251" y="1583"/>
                    </a:lnTo>
                    <a:lnTo>
                      <a:pt x="1249" y="1583"/>
                    </a:lnTo>
                    <a:lnTo>
                      <a:pt x="1249" y="1582"/>
                    </a:lnTo>
                    <a:lnTo>
                      <a:pt x="1251" y="1582"/>
                    </a:lnTo>
                    <a:lnTo>
                      <a:pt x="1251" y="1580"/>
                    </a:lnTo>
                    <a:lnTo>
                      <a:pt x="1249" y="1580"/>
                    </a:lnTo>
                    <a:lnTo>
                      <a:pt x="1249" y="1578"/>
                    </a:lnTo>
                    <a:lnTo>
                      <a:pt x="1251" y="1578"/>
                    </a:lnTo>
                    <a:lnTo>
                      <a:pt x="1253" y="1578"/>
                    </a:lnTo>
                    <a:lnTo>
                      <a:pt x="1253" y="1577"/>
                    </a:lnTo>
                    <a:lnTo>
                      <a:pt x="1254" y="1578"/>
                    </a:lnTo>
                    <a:close/>
                    <a:moveTo>
                      <a:pt x="1421" y="1667"/>
                    </a:moveTo>
                    <a:lnTo>
                      <a:pt x="1419" y="1669"/>
                    </a:lnTo>
                    <a:lnTo>
                      <a:pt x="1421" y="1669"/>
                    </a:lnTo>
                    <a:lnTo>
                      <a:pt x="1419" y="1670"/>
                    </a:lnTo>
                    <a:lnTo>
                      <a:pt x="1421" y="1670"/>
                    </a:lnTo>
                    <a:lnTo>
                      <a:pt x="1419" y="1672"/>
                    </a:lnTo>
                    <a:lnTo>
                      <a:pt x="1421" y="1672"/>
                    </a:lnTo>
                    <a:lnTo>
                      <a:pt x="1419" y="1674"/>
                    </a:lnTo>
                    <a:lnTo>
                      <a:pt x="1421" y="1675"/>
                    </a:lnTo>
                    <a:lnTo>
                      <a:pt x="1421" y="1674"/>
                    </a:lnTo>
                    <a:lnTo>
                      <a:pt x="1423" y="1674"/>
                    </a:lnTo>
                    <a:lnTo>
                      <a:pt x="1424" y="1675"/>
                    </a:lnTo>
                    <a:lnTo>
                      <a:pt x="1423" y="1675"/>
                    </a:lnTo>
                    <a:lnTo>
                      <a:pt x="1423" y="1677"/>
                    </a:lnTo>
                    <a:lnTo>
                      <a:pt x="1424" y="1677"/>
                    </a:lnTo>
                    <a:lnTo>
                      <a:pt x="1424" y="1679"/>
                    </a:lnTo>
                    <a:lnTo>
                      <a:pt x="1423" y="1679"/>
                    </a:lnTo>
                    <a:lnTo>
                      <a:pt x="1421" y="1680"/>
                    </a:lnTo>
                    <a:lnTo>
                      <a:pt x="1421" y="1679"/>
                    </a:lnTo>
                    <a:lnTo>
                      <a:pt x="1421" y="1677"/>
                    </a:lnTo>
                    <a:lnTo>
                      <a:pt x="1419" y="1679"/>
                    </a:lnTo>
                    <a:lnTo>
                      <a:pt x="1419" y="1677"/>
                    </a:lnTo>
                    <a:lnTo>
                      <a:pt x="1417" y="1679"/>
                    </a:lnTo>
                    <a:lnTo>
                      <a:pt x="1417" y="1677"/>
                    </a:lnTo>
                    <a:lnTo>
                      <a:pt x="1416" y="1677"/>
                    </a:lnTo>
                    <a:lnTo>
                      <a:pt x="1414" y="1677"/>
                    </a:lnTo>
                    <a:lnTo>
                      <a:pt x="1414" y="1675"/>
                    </a:lnTo>
                    <a:lnTo>
                      <a:pt x="1412" y="1675"/>
                    </a:lnTo>
                    <a:lnTo>
                      <a:pt x="1414" y="1675"/>
                    </a:lnTo>
                    <a:lnTo>
                      <a:pt x="1416" y="1675"/>
                    </a:lnTo>
                    <a:lnTo>
                      <a:pt x="1414" y="1675"/>
                    </a:lnTo>
                    <a:lnTo>
                      <a:pt x="1414" y="1674"/>
                    </a:lnTo>
                    <a:lnTo>
                      <a:pt x="1412" y="1672"/>
                    </a:lnTo>
                    <a:lnTo>
                      <a:pt x="1414" y="1672"/>
                    </a:lnTo>
                    <a:lnTo>
                      <a:pt x="1414" y="1670"/>
                    </a:lnTo>
                    <a:lnTo>
                      <a:pt x="1416" y="1670"/>
                    </a:lnTo>
                    <a:lnTo>
                      <a:pt x="1416" y="1672"/>
                    </a:lnTo>
                    <a:lnTo>
                      <a:pt x="1417" y="1672"/>
                    </a:lnTo>
                    <a:lnTo>
                      <a:pt x="1417" y="1674"/>
                    </a:lnTo>
                    <a:lnTo>
                      <a:pt x="1417" y="1675"/>
                    </a:lnTo>
                    <a:lnTo>
                      <a:pt x="1419" y="1675"/>
                    </a:lnTo>
                    <a:lnTo>
                      <a:pt x="1419" y="1674"/>
                    </a:lnTo>
                    <a:lnTo>
                      <a:pt x="1419" y="1672"/>
                    </a:lnTo>
                    <a:lnTo>
                      <a:pt x="1417" y="1672"/>
                    </a:lnTo>
                    <a:lnTo>
                      <a:pt x="1417" y="1670"/>
                    </a:lnTo>
                    <a:lnTo>
                      <a:pt x="1417" y="1669"/>
                    </a:lnTo>
                    <a:lnTo>
                      <a:pt x="1416" y="1669"/>
                    </a:lnTo>
                    <a:lnTo>
                      <a:pt x="1417" y="1667"/>
                    </a:lnTo>
                    <a:lnTo>
                      <a:pt x="1419" y="1667"/>
                    </a:lnTo>
                    <a:lnTo>
                      <a:pt x="1419" y="1665"/>
                    </a:lnTo>
                    <a:lnTo>
                      <a:pt x="1421" y="1665"/>
                    </a:lnTo>
                    <a:lnTo>
                      <a:pt x="1421" y="1667"/>
                    </a:lnTo>
                    <a:close/>
                    <a:moveTo>
                      <a:pt x="1198" y="1131"/>
                    </a:moveTo>
                    <a:lnTo>
                      <a:pt x="1196" y="1131"/>
                    </a:lnTo>
                    <a:lnTo>
                      <a:pt x="1198" y="1131"/>
                    </a:lnTo>
                    <a:lnTo>
                      <a:pt x="1200" y="1131"/>
                    </a:lnTo>
                    <a:lnTo>
                      <a:pt x="1200" y="1133"/>
                    </a:lnTo>
                    <a:lnTo>
                      <a:pt x="1202" y="1133"/>
                    </a:lnTo>
                    <a:lnTo>
                      <a:pt x="1202" y="1134"/>
                    </a:lnTo>
                    <a:lnTo>
                      <a:pt x="1200" y="1134"/>
                    </a:lnTo>
                    <a:lnTo>
                      <a:pt x="1202" y="1136"/>
                    </a:lnTo>
                    <a:lnTo>
                      <a:pt x="1200" y="1136"/>
                    </a:lnTo>
                    <a:lnTo>
                      <a:pt x="1200" y="1138"/>
                    </a:lnTo>
                    <a:lnTo>
                      <a:pt x="1198" y="1140"/>
                    </a:lnTo>
                    <a:lnTo>
                      <a:pt x="1196" y="1140"/>
                    </a:lnTo>
                    <a:lnTo>
                      <a:pt x="1195" y="1140"/>
                    </a:lnTo>
                    <a:lnTo>
                      <a:pt x="1195" y="1138"/>
                    </a:lnTo>
                    <a:lnTo>
                      <a:pt x="1195" y="1136"/>
                    </a:lnTo>
                    <a:lnTo>
                      <a:pt x="1195" y="1134"/>
                    </a:lnTo>
                    <a:lnTo>
                      <a:pt x="1193" y="1134"/>
                    </a:lnTo>
                    <a:lnTo>
                      <a:pt x="1193" y="1133"/>
                    </a:lnTo>
                    <a:lnTo>
                      <a:pt x="1195" y="1133"/>
                    </a:lnTo>
                    <a:lnTo>
                      <a:pt x="1195" y="1131"/>
                    </a:lnTo>
                    <a:lnTo>
                      <a:pt x="1196" y="1131"/>
                    </a:lnTo>
                    <a:lnTo>
                      <a:pt x="1196" y="1129"/>
                    </a:lnTo>
                    <a:lnTo>
                      <a:pt x="1198" y="1131"/>
                    </a:lnTo>
                    <a:close/>
                    <a:moveTo>
                      <a:pt x="1202" y="1153"/>
                    </a:moveTo>
                    <a:lnTo>
                      <a:pt x="1203" y="1153"/>
                    </a:lnTo>
                    <a:lnTo>
                      <a:pt x="1205" y="1155"/>
                    </a:lnTo>
                    <a:lnTo>
                      <a:pt x="1203" y="1155"/>
                    </a:lnTo>
                    <a:lnTo>
                      <a:pt x="1203" y="1157"/>
                    </a:lnTo>
                    <a:lnTo>
                      <a:pt x="1205" y="1155"/>
                    </a:lnTo>
                    <a:lnTo>
                      <a:pt x="1207" y="1155"/>
                    </a:lnTo>
                    <a:lnTo>
                      <a:pt x="1208" y="1157"/>
                    </a:lnTo>
                    <a:lnTo>
                      <a:pt x="1208" y="1158"/>
                    </a:lnTo>
                    <a:lnTo>
                      <a:pt x="1207" y="1158"/>
                    </a:lnTo>
                    <a:lnTo>
                      <a:pt x="1207" y="1160"/>
                    </a:lnTo>
                    <a:lnTo>
                      <a:pt x="1207" y="1162"/>
                    </a:lnTo>
                    <a:lnTo>
                      <a:pt x="1205" y="1163"/>
                    </a:lnTo>
                    <a:lnTo>
                      <a:pt x="1205" y="1162"/>
                    </a:lnTo>
                    <a:lnTo>
                      <a:pt x="1203" y="1162"/>
                    </a:lnTo>
                    <a:lnTo>
                      <a:pt x="1202" y="1160"/>
                    </a:lnTo>
                    <a:lnTo>
                      <a:pt x="1203" y="1160"/>
                    </a:lnTo>
                    <a:lnTo>
                      <a:pt x="1205" y="1160"/>
                    </a:lnTo>
                    <a:lnTo>
                      <a:pt x="1203" y="1160"/>
                    </a:lnTo>
                    <a:lnTo>
                      <a:pt x="1202" y="1160"/>
                    </a:lnTo>
                    <a:lnTo>
                      <a:pt x="1202" y="1158"/>
                    </a:lnTo>
                    <a:lnTo>
                      <a:pt x="1202" y="1157"/>
                    </a:lnTo>
                    <a:lnTo>
                      <a:pt x="1200" y="1157"/>
                    </a:lnTo>
                    <a:lnTo>
                      <a:pt x="1198" y="1157"/>
                    </a:lnTo>
                    <a:lnTo>
                      <a:pt x="1200" y="1157"/>
                    </a:lnTo>
                    <a:lnTo>
                      <a:pt x="1200" y="1155"/>
                    </a:lnTo>
                    <a:lnTo>
                      <a:pt x="1200" y="1153"/>
                    </a:lnTo>
                    <a:lnTo>
                      <a:pt x="1202" y="1153"/>
                    </a:lnTo>
                    <a:close/>
                    <a:moveTo>
                      <a:pt x="1179" y="1257"/>
                    </a:moveTo>
                    <a:lnTo>
                      <a:pt x="1179" y="1259"/>
                    </a:lnTo>
                    <a:lnTo>
                      <a:pt x="1181" y="1259"/>
                    </a:lnTo>
                    <a:lnTo>
                      <a:pt x="1183" y="1260"/>
                    </a:lnTo>
                    <a:lnTo>
                      <a:pt x="1183" y="1262"/>
                    </a:lnTo>
                    <a:lnTo>
                      <a:pt x="1185" y="1262"/>
                    </a:lnTo>
                    <a:lnTo>
                      <a:pt x="1185" y="1264"/>
                    </a:lnTo>
                    <a:lnTo>
                      <a:pt x="1186" y="1265"/>
                    </a:lnTo>
                    <a:lnTo>
                      <a:pt x="1185" y="1265"/>
                    </a:lnTo>
                    <a:lnTo>
                      <a:pt x="1185" y="1267"/>
                    </a:lnTo>
                    <a:lnTo>
                      <a:pt x="1183" y="1267"/>
                    </a:lnTo>
                    <a:lnTo>
                      <a:pt x="1183" y="1269"/>
                    </a:lnTo>
                    <a:lnTo>
                      <a:pt x="1181" y="1269"/>
                    </a:lnTo>
                    <a:lnTo>
                      <a:pt x="1179" y="1269"/>
                    </a:lnTo>
                    <a:lnTo>
                      <a:pt x="1179" y="1267"/>
                    </a:lnTo>
                    <a:lnTo>
                      <a:pt x="1179" y="1265"/>
                    </a:lnTo>
                    <a:lnTo>
                      <a:pt x="1181" y="1265"/>
                    </a:lnTo>
                    <a:lnTo>
                      <a:pt x="1179" y="1265"/>
                    </a:lnTo>
                    <a:lnTo>
                      <a:pt x="1179" y="1264"/>
                    </a:lnTo>
                    <a:lnTo>
                      <a:pt x="1181" y="1262"/>
                    </a:lnTo>
                    <a:lnTo>
                      <a:pt x="1183" y="1260"/>
                    </a:lnTo>
                    <a:lnTo>
                      <a:pt x="1181" y="1260"/>
                    </a:lnTo>
                    <a:lnTo>
                      <a:pt x="1181" y="1262"/>
                    </a:lnTo>
                    <a:lnTo>
                      <a:pt x="1179" y="1262"/>
                    </a:lnTo>
                    <a:lnTo>
                      <a:pt x="1179" y="1264"/>
                    </a:lnTo>
                    <a:lnTo>
                      <a:pt x="1179" y="1265"/>
                    </a:lnTo>
                    <a:lnTo>
                      <a:pt x="1178" y="1265"/>
                    </a:lnTo>
                    <a:lnTo>
                      <a:pt x="1178" y="1264"/>
                    </a:lnTo>
                    <a:lnTo>
                      <a:pt x="1178" y="1262"/>
                    </a:lnTo>
                    <a:lnTo>
                      <a:pt x="1178" y="1260"/>
                    </a:lnTo>
                    <a:lnTo>
                      <a:pt x="1179" y="1260"/>
                    </a:lnTo>
                    <a:lnTo>
                      <a:pt x="1178" y="1260"/>
                    </a:lnTo>
                    <a:lnTo>
                      <a:pt x="1178" y="1259"/>
                    </a:lnTo>
                    <a:lnTo>
                      <a:pt x="1178" y="1260"/>
                    </a:lnTo>
                    <a:lnTo>
                      <a:pt x="1178" y="1259"/>
                    </a:lnTo>
                    <a:lnTo>
                      <a:pt x="1179" y="1259"/>
                    </a:lnTo>
                    <a:lnTo>
                      <a:pt x="1181" y="1259"/>
                    </a:lnTo>
                    <a:lnTo>
                      <a:pt x="1179" y="1259"/>
                    </a:lnTo>
                    <a:lnTo>
                      <a:pt x="1179" y="1257"/>
                    </a:lnTo>
                    <a:lnTo>
                      <a:pt x="1178" y="1257"/>
                    </a:lnTo>
                    <a:lnTo>
                      <a:pt x="1179" y="1257"/>
                    </a:lnTo>
                    <a:close/>
                    <a:moveTo>
                      <a:pt x="1196" y="1126"/>
                    </a:moveTo>
                    <a:lnTo>
                      <a:pt x="1198" y="1126"/>
                    </a:lnTo>
                    <a:lnTo>
                      <a:pt x="1200" y="1126"/>
                    </a:lnTo>
                    <a:lnTo>
                      <a:pt x="1200" y="1128"/>
                    </a:lnTo>
                    <a:lnTo>
                      <a:pt x="1202" y="1126"/>
                    </a:lnTo>
                    <a:lnTo>
                      <a:pt x="1202" y="1128"/>
                    </a:lnTo>
                    <a:lnTo>
                      <a:pt x="1202" y="1126"/>
                    </a:lnTo>
                    <a:lnTo>
                      <a:pt x="1203" y="1126"/>
                    </a:lnTo>
                    <a:lnTo>
                      <a:pt x="1203" y="1128"/>
                    </a:lnTo>
                    <a:lnTo>
                      <a:pt x="1203" y="1129"/>
                    </a:lnTo>
                    <a:lnTo>
                      <a:pt x="1202" y="1131"/>
                    </a:lnTo>
                    <a:lnTo>
                      <a:pt x="1202" y="1133"/>
                    </a:lnTo>
                    <a:lnTo>
                      <a:pt x="1200" y="1131"/>
                    </a:lnTo>
                    <a:lnTo>
                      <a:pt x="1200" y="1129"/>
                    </a:lnTo>
                    <a:lnTo>
                      <a:pt x="1200" y="1131"/>
                    </a:lnTo>
                    <a:lnTo>
                      <a:pt x="1198" y="1131"/>
                    </a:lnTo>
                    <a:lnTo>
                      <a:pt x="1198" y="1129"/>
                    </a:lnTo>
                    <a:lnTo>
                      <a:pt x="1196" y="1129"/>
                    </a:lnTo>
                    <a:lnTo>
                      <a:pt x="1195" y="1129"/>
                    </a:lnTo>
                    <a:lnTo>
                      <a:pt x="1195" y="1131"/>
                    </a:lnTo>
                    <a:lnTo>
                      <a:pt x="1193" y="1131"/>
                    </a:lnTo>
                    <a:lnTo>
                      <a:pt x="1193" y="1133"/>
                    </a:lnTo>
                    <a:lnTo>
                      <a:pt x="1191" y="1131"/>
                    </a:lnTo>
                    <a:lnTo>
                      <a:pt x="1193" y="1131"/>
                    </a:lnTo>
                    <a:lnTo>
                      <a:pt x="1193" y="1129"/>
                    </a:lnTo>
                    <a:lnTo>
                      <a:pt x="1195" y="1129"/>
                    </a:lnTo>
                    <a:lnTo>
                      <a:pt x="1193" y="1129"/>
                    </a:lnTo>
                    <a:lnTo>
                      <a:pt x="1193" y="1128"/>
                    </a:lnTo>
                    <a:lnTo>
                      <a:pt x="1195" y="1126"/>
                    </a:lnTo>
                    <a:lnTo>
                      <a:pt x="1196" y="1126"/>
                    </a:lnTo>
                    <a:lnTo>
                      <a:pt x="1198" y="1126"/>
                    </a:lnTo>
                    <a:lnTo>
                      <a:pt x="1196" y="1126"/>
                    </a:lnTo>
                    <a:lnTo>
                      <a:pt x="1195" y="1126"/>
                    </a:lnTo>
                    <a:lnTo>
                      <a:pt x="1195" y="1124"/>
                    </a:lnTo>
                    <a:lnTo>
                      <a:pt x="1196" y="1126"/>
                    </a:lnTo>
                    <a:close/>
                    <a:moveTo>
                      <a:pt x="1156" y="1291"/>
                    </a:moveTo>
                    <a:lnTo>
                      <a:pt x="1157" y="1291"/>
                    </a:lnTo>
                    <a:lnTo>
                      <a:pt x="1157" y="1293"/>
                    </a:lnTo>
                    <a:lnTo>
                      <a:pt x="1159" y="1293"/>
                    </a:lnTo>
                    <a:lnTo>
                      <a:pt x="1161" y="1293"/>
                    </a:lnTo>
                    <a:lnTo>
                      <a:pt x="1161" y="1294"/>
                    </a:lnTo>
                    <a:lnTo>
                      <a:pt x="1161" y="1296"/>
                    </a:lnTo>
                    <a:lnTo>
                      <a:pt x="1162" y="1296"/>
                    </a:lnTo>
                    <a:lnTo>
                      <a:pt x="1162" y="1298"/>
                    </a:lnTo>
                    <a:lnTo>
                      <a:pt x="1161" y="1296"/>
                    </a:lnTo>
                    <a:lnTo>
                      <a:pt x="1161" y="1298"/>
                    </a:lnTo>
                    <a:lnTo>
                      <a:pt x="1159" y="1296"/>
                    </a:lnTo>
                    <a:lnTo>
                      <a:pt x="1159" y="1298"/>
                    </a:lnTo>
                    <a:lnTo>
                      <a:pt x="1161" y="1298"/>
                    </a:lnTo>
                    <a:lnTo>
                      <a:pt x="1162" y="1299"/>
                    </a:lnTo>
                    <a:lnTo>
                      <a:pt x="1161" y="1299"/>
                    </a:lnTo>
                    <a:lnTo>
                      <a:pt x="1159" y="1301"/>
                    </a:lnTo>
                    <a:lnTo>
                      <a:pt x="1157" y="1301"/>
                    </a:lnTo>
                    <a:lnTo>
                      <a:pt x="1157" y="1303"/>
                    </a:lnTo>
                    <a:lnTo>
                      <a:pt x="1157" y="1301"/>
                    </a:lnTo>
                    <a:lnTo>
                      <a:pt x="1157" y="1299"/>
                    </a:lnTo>
                    <a:lnTo>
                      <a:pt x="1156" y="1299"/>
                    </a:lnTo>
                    <a:lnTo>
                      <a:pt x="1156" y="1298"/>
                    </a:lnTo>
                    <a:lnTo>
                      <a:pt x="1156" y="1296"/>
                    </a:lnTo>
                    <a:lnTo>
                      <a:pt x="1156" y="1294"/>
                    </a:lnTo>
                    <a:lnTo>
                      <a:pt x="1157" y="1296"/>
                    </a:lnTo>
                    <a:lnTo>
                      <a:pt x="1156" y="1294"/>
                    </a:lnTo>
                    <a:lnTo>
                      <a:pt x="1154" y="1294"/>
                    </a:lnTo>
                    <a:lnTo>
                      <a:pt x="1154" y="1293"/>
                    </a:lnTo>
                    <a:lnTo>
                      <a:pt x="1154" y="1291"/>
                    </a:lnTo>
                    <a:lnTo>
                      <a:pt x="1156" y="1291"/>
                    </a:lnTo>
                    <a:close/>
                    <a:moveTo>
                      <a:pt x="1202" y="1046"/>
                    </a:moveTo>
                    <a:lnTo>
                      <a:pt x="1202" y="1048"/>
                    </a:lnTo>
                    <a:lnTo>
                      <a:pt x="1203" y="1048"/>
                    </a:lnTo>
                    <a:lnTo>
                      <a:pt x="1203" y="1049"/>
                    </a:lnTo>
                    <a:lnTo>
                      <a:pt x="1202" y="1049"/>
                    </a:lnTo>
                    <a:lnTo>
                      <a:pt x="1200" y="1049"/>
                    </a:lnTo>
                    <a:lnTo>
                      <a:pt x="1200" y="1051"/>
                    </a:lnTo>
                    <a:lnTo>
                      <a:pt x="1198" y="1049"/>
                    </a:lnTo>
                    <a:lnTo>
                      <a:pt x="1198" y="1051"/>
                    </a:lnTo>
                    <a:lnTo>
                      <a:pt x="1200" y="1051"/>
                    </a:lnTo>
                    <a:lnTo>
                      <a:pt x="1200" y="1053"/>
                    </a:lnTo>
                    <a:lnTo>
                      <a:pt x="1202" y="1053"/>
                    </a:lnTo>
                    <a:lnTo>
                      <a:pt x="1200" y="1053"/>
                    </a:lnTo>
                    <a:lnTo>
                      <a:pt x="1200" y="1054"/>
                    </a:lnTo>
                    <a:lnTo>
                      <a:pt x="1198" y="1054"/>
                    </a:lnTo>
                    <a:lnTo>
                      <a:pt x="1196" y="1054"/>
                    </a:lnTo>
                    <a:lnTo>
                      <a:pt x="1196" y="1053"/>
                    </a:lnTo>
                    <a:lnTo>
                      <a:pt x="1196" y="1051"/>
                    </a:lnTo>
                    <a:lnTo>
                      <a:pt x="1196" y="1053"/>
                    </a:lnTo>
                    <a:lnTo>
                      <a:pt x="1195" y="1053"/>
                    </a:lnTo>
                    <a:lnTo>
                      <a:pt x="1193" y="1053"/>
                    </a:lnTo>
                    <a:lnTo>
                      <a:pt x="1193" y="1051"/>
                    </a:lnTo>
                    <a:lnTo>
                      <a:pt x="1191" y="1051"/>
                    </a:lnTo>
                    <a:lnTo>
                      <a:pt x="1191" y="1049"/>
                    </a:lnTo>
                    <a:lnTo>
                      <a:pt x="1191" y="1048"/>
                    </a:lnTo>
                    <a:lnTo>
                      <a:pt x="1193" y="1048"/>
                    </a:lnTo>
                    <a:lnTo>
                      <a:pt x="1195" y="1048"/>
                    </a:lnTo>
                    <a:lnTo>
                      <a:pt x="1196" y="1049"/>
                    </a:lnTo>
                    <a:lnTo>
                      <a:pt x="1198" y="1049"/>
                    </a:lnTo>
                    <a:lnTo>
                      <a:pt x="1200" y="1049"/>
                    </a:lnTo>
                    <a:lnTo>
                      <a:pt x="1200" y="1048"/>
                    </a:lnTo>
                    <a:lnTo>
                      <a:pt x="1202" y="1048"/>
                    </a:lnTo>
                    <a:lnTo>
                      <a:pt x="1202" y="1046"/>
                    </a:lnTo>
                    <a:close/>
                    <a:moveTo>
                      <a:pt x="1185" y="1325"/>
                    </a:moveTo>
                    <a:lnTo>
                      <a:pt x="1186" y="1327"/>
                    </a:lnTo>
                    <a:lnTo>
                      <a:pt x="1186" y="1328"/>
                    </a:lnTo>
                    <a:lnTo>
                      <a:pt x="1188" y="1328"/>
                    </a:lnTo>
                    <a:lnTo>
                      <a:pt x="1188" y="1330"/>
                    </a:lnTo>
                    <a:lnTo>
                      <a:pt x="1188" y="1332"/>
                    </a:lnTo>
                    <a:lnTo>
                      <a:pt x="1188" y="1333"/>
                    </a:lnTo>
                    <a:lnTo>
                      <a:pt x="1186" y="1333"/>
                    </a:lnTo>
                    <a:lnTo>
                      <a:pt x="1185" y="1333"/>
                    </a:lnTo>
                    <a:lnTo>
                      <a:pt x="1185" y="1335"/>
                    </a:lnTo>
                    <a:lnTo>
                      <a:pt x="1183" y="1335"/>
                    </a:lnTo>
                    <a:lnTo>
                      <a:pt x="1183" y="1333"/>
                    </a:lnTo>
                    <a:lnTo>
                      <a:pt x="1181" y="1333"/>
                    </a:lnTo>
                    <a:lnTo>
                      <a:pt x="1183" y="1333"/>
                    </a:lnTo>
                    <a:lnTo>
                      <a:pt x="1183" y="1332"/>
                    </a:lnTo>
                    <a:lnTo>
                      <a:pt x="1183" y="1330"/>
                    </a:lnTo>
                    <a:lnTo>
                      <a:pt x="1181" y="1328"/>
                    </a:lnTo>
                    <a:lnTo>
                      <a:pt x="1181" y="1327"/>
                    </a:lnTo>
                    <a:lnTo>
                      <a:pt x="1183" y="1327"/>
                    </a:lnTo>
                    <a:lnTo>
                      <a:pt x="1183" y="1325"/>
                    </a:lnTo>
                    <a:lnTo>
                      <a:pt x="1183" y="1323"/>
                    </a:lnTo>
                    <a:lnTo>
                      <a:pt x="1185" y="1325"/>
                    </a:lnTo>
                    <a:close/>
                    <a:moveTo>
                      <a:pt x="1169" y="1242"/>
                    </a:moveTo>
                    <a:lnTo>
                      <a:pt x="1171" y="1242"/>
                    </a:lnTo>
                    <a:lnTo>
                      <a:pt x="1171" y="1243"/>
                    </a:lnTo>
                    <a:lnTo>
                      <a:pt x="1171" y="1245"/>
                    </a:lnTo>
                    <a:lnTo>
                      <a:pt x="1171" y="1247"/>
                    </a:lnTo>
                    <a:lnTo>
                      <a:pt x="1169" y="1247"/>
                    </a:lnTo>
                    <a:lnTo>
                      <a:pt x="1169" y="1245"/>
                    </a:lnTo>
                    <a:lnTo>
                      <a:pt x="1169" y="1247"/>
                    </a:lnTo>
                    <a:lnTo>
                      <a:pt x="1169" y="1248"/>
                    </a:lnTo>
                    <a:lnTo>
                      <a:pt x="1168" y="1248"/>
                    </a:lnTo>
                    <a:lnTo>
                      <a:pt x="1169" y="1248"/>
                    </a:lnTo>
                    <a:lnTo>
                      <a:pt x="1171" y="1248"/>
                    </a:lnTo>
                    <a:lnTo>
                      <a:pt x="1171" y="1250"/>
                    </a:lnTo>
                    <a:lnTo>
                      <a:pt x="1171" y="1252"/>
                    </a:lnTo>
                    <a:lnTo>
                      <a:pt x="1169" y="1252"/>
                    </a:lnTo>
                    <a:lnTo>
                      <a:pt x="1168" y="1252"/>
                    </a:lnTo>
                    <a:lnTo>
                      <a:pt x="1168" y="1250"/>
                    </a:lnTo>
                    <a:lnTo>
                      <a:pt x="1166" y="1250"/>
                    </a:lnTo>
                    <a:lnTo>
                      <a:pt x="1164" y="1250"/>
                    </a:lnTo>
                    <a:lnTo>
                      <a:pt x="1164" y="1248"/>
                    </a:lnTo>
                    <a:lnTo>
                      <a:pt x="1164" y="1247"/>
                    </a:lnTo>
                    <a:lnTo>
                      <a:pt x="1166" y="1248"/>
                    </a:lnTo>
                    <a:lnTo>
                      <a:pt x="1168" y="1248"/>
                    </a:lnTo>
                    <a:lnTo>
                      <a:pt x="1166" y="1248"/>
                    </a:lnTo>
                    <a:lnTo>
                      <a:pt x="1164" y="1247"/>
                    </a:lnTo>
                    <a:lnTo>
                      <a:pt x="1166" y="1247"/>
                    </a:lnTo>
                    <a:lnTo>
                      <a:pt x="1164" y="1245"/>
                    </a:lnTo>
                    <a:lnTo>
                      <a:pt x="1166" y="1245"/>
                    </a:lnTo>
                    <a:lnTo>
                      <a:pt x="1166" y="1243"/>
                    </a:lnTo>
                    <a:lnTo>
                      <a:pt x="1168" y="1245"/>
                    </a:lnTo>
                    <a:lnTo>
                      <a:pt x="1168" y="1243"/>
                    </a:lnTo>
                    <a:lnTo>
                      <a:pt x="1168" y="1245"/>
                    </a:lnTo>
                    <a:lnTo>
                      <a:pt x="1168" y="1243"/>
                    </a:lnTo>
                    <a:lnTo>
                      <a:pt x="1169" y="1243"/>
                    </a:lnTo>
                    <a:lnTo>
                      <a:pt x="1168" y="1243"/>
                    </a:lnTo>
                    <a:lnTo>
                      <a:pt x="1166" y="1242"/>
                    </a:lnTo>
                    <a:lnTo>
                      <a:pt x="1168" y="1242"/>
                    </a:lnTo>
                    <a:lnTo>
                      <a:pt x="1169" y="1242"/>
                    </a:lnTo>
                    <a:close/>
                    <a:moveTo>
                      <a:pt x="1162" y="1286"/>
                    </a:moveTo>
                    <a:lnTo>
                      <a:pt x="1162" y="1288"/>
                    </a:lnTo>
                    <a:lnTo>
                      <a:pt x="1162" y="1289"/>
                    </a:lnTo>
                    <a:lnTo>
                      <a:pt x="1162" y="1291"/>
                    </a:lnTo>
                    <a:lnTo>
                      <a:pt x="1161" y="1291"/>
                    </a:lnTo>
                    <a:lnTo>
                      <a:pt x="1161" y="1293"/>
                    </a:lnTo>
                    <a:lnTo>
                      <a:pt x="1161" y="1294"/>
                    </a:lnTo>
                    <a:lnTo>
                      <a:pt x="1159" y="1293"/>
                    </a:lnTo>
                    <a:lnTo>
                      <a:pt x="1157" y="1291"/>
                    </a:lnTo>
                    <a:lnTo>
                      <a:pt x="1156" y="1291"/>
                    </a:lnTo>
                    <a:lnTo>
                      <a:pt x="1156" y="1289"/>
                    </a:lnTo>
                    <a:lnTo>
                      <a:pt x="1156" y="1291"/>
                    </a:lnTo>
                    <a:lnTo>
                      <a:pt x="1156" y="1289"/>
                    </a:lnTo>
                    <a:lnTo>
                      <a:pt x="1157" y="1288"/>
                    </a:lnTo>
                    <a:lnTo>
                      <a:pt x="1159" y="1288"/>
                    </a:lnTo>
                    <a:lnTo>
                      <a:pt x="1159" y="1289"/>
                    </a:lnTo>
                    <a:lnTo>
                      <a:pt x="1159" y="1288"/>
                    </a:lnTo>
                    <a:lnTo>
                      <a:pt x="1157" y="1288"/>
                    </a:lnTo>
                    <a:lnTo>
                      <a:pt x="1159" y="1286"/>
                    </a:lnTo>
                    <a:lnTo>
                      <a:pt x="1161" y="1284"/>
                    </a:lnTo>
                    <a:lnTo>
                      <a:pt x="1161" y="1282"/>
                    </a:lnTo>
                    <a:lnTo>
                      <a:pt x="1162" y="1282"/>
                    </a:lnTo>
                    <a:lnTo>
                      <a:pt x="1162" y="1284"/>
                    </a:lnTo>
                    <a:lnTo>
                      <a:pt x="1162" y="1286"/>
                    </a:lnTo>
                    <a:close/>
                    <a:moveTo>
                      <a:pt x="1188" y="1265"/>
                    </a:moveTo>
                    <a:lnTo>
                      <a:pt x="1188" y="1267"/>
                    </a:lnTo>
                    <a:lnTo>
                      <a:pt x="1188" y="1269"/>
                    </a:lnTo>
                    <a:lnTo>
                      <a:pt x="1190" y="1270"/>
                    </a:lnTo>
                    <a:lnTo>
                      <a:pt x="1188" y="1270"/>
                    </a:lnTo>
                    <a:lnTo>
                      <a:pt x="1190" y="1270"/>
                    </a:lnTo>
                    <a:lnTo>
                      <a:pt x="1190" y="1272"/>
                    </a:lnTo>
                    <a:lnTo>
                      <a:pt x="1191" y="1274"/>
                    </a:lnTo>
                    <a:lnTo>
                      <a:pt x="1190" y="1276"/>
                    </a:lnTo>
                    <a:lnTo>
                      <a:pt x="1188" y="1276"/>
                    </a:lnTo>
                    <a:lnTo>
                      <a:pt x="1188" y="1274"/>
                    </a:lnTo>
                    <a:lnTo>
                      <a:pt x="1186" y="1274"/>
                    </a:lnTo>
                    <a:lnTo>
                      <a:pt x="1188" y="1274"/>
                    </a:lnTo>
                    <a:lnTo>
                      <a:pt x="1188" y="1272"/>
                    </a:lnTo>
                    <a:lnTo>
                      <a:pt x="1186" y="1272"/>
                    </a:lnTo>
                    <a:lnTo>
                      <a:pt x="1185" y="1272"/>
                    </a:lnTo>
                    <a:lnTo>
                      <a:pt x="1183" y="1270"/>
                    </a:lnTo>
                    <a:lnTo>
                      <a:pt x="1181" y="1270"/>
                    </a:lnTo>
                    <a:lnTo>
                      <a:pt x="1181" y="1269"/>
                    </a:lnTo>
                    <a:lnTo>
                      <a:pt x="1183" y="1269"/>
                    </a:lnTo>
                    <a:lnTo>
                      <a:pt x="1185" y="1269"/>
                    </a:lnTo>
                    <a:lnTo>
                      <a:pt x="1185" y="1270"/>
                    </a:lnTo>
                    <a:lnTo>
                      <a:pt x="1186" y="1270"/>
                    </a:lnTo>
                    <a:lnTo>
                      <a:pt x="1188" y="1272"/>
                    </a:lnTo>
                    <a:lnTo>
                      <a:pt x="1186" y="1270"/>
                    </a:lnTo>
                    <a:lnTo>
                      <a:pt x="1185" y="1269"/>
                    </a:lnTo>
                    <a:lnTo>
                      <a:pt x="1185" y="1267"/>
                    </a:lnTo>
                    <a:lnTo>
                      <a:pt x="1186" y="1265"/>
                    </a:lnTo>
                    <a:lnTo>
                      <a:pt x="1188" y="1265"/>
                    </a:lnTo>
                    <a:close/>
                    <a:moveTo>
                      <a:pt x="1186" y="1403"/>
                    </a:moveTo>
                    <a:lnTo>
                      <a:pt x="1186" y="1405"/>
                    </a:lnTo>
                    <a:lnTo>
                      <a:pt x="1188" y="1407"/>
                    </a:lnTo>
                    <a:lnTo>
                      <a:pt x="1188" y="1408"/>
                    </a:lnTo>
                    <a:lnTo>
                      <a:pt x="1188" y="1410"/>
                    </a:lnTo>
                    <a:lnTo>
                      <a:pt x="1188" y="1412"/>
                    </a:lnTo>
                    <a:lnTo>
                      <a:pt x="1190" y="1412"/>
                    </a:lnTo>
                    <a:lnTo>
                      <a:pt x="1190" y="1413"/>
                    </a:lnTo>
                    <a:lnTo>
                      <a:pt x="1190" y="1415"/>
                    </a:lnTo>
                    <a:lnTo>
                      <a:pt x="1190" y="1417"/>
                    </a:lnTo>
                    <a:lnTo>
                      <a:pt x="1191" y="1418"/>
                    </a:lnTo>
                    <a:lnTo>
                      <a:pt x="1190" y="1418"/>
                    </a:lnTo>
                    <a:lnTo>
                      <a:pt x="1190" y="1420"/>
                    </a:lnTo>
                    <a:lnTo>
                      <a:pt x="1188" y="1420"/>
                    </a:lnTo>
                    <a:lnTo>
                      <a:pt x="1188" y="1422"/>
                    </a:lnTo>
                    <a:lnTo>
                      <a:pt x="1188" y="1420"/>
                    </a:lnTo>
                    <a:lnTo>
                      <a:pt x="1188" y="1418"/>
                    </a:lnTo>
                    <a:lnTo>
                      <a:pt x="1188" y="1417"/>
                    </a:lnTo>
                    <a:lnTo>
                      <a:pt x="1186" y="1415"/>
                    </a:lnTo>
                    <a:lnTo>
                      <a:pt x="1188" y="1415"/>
                    </a:lnTo>
                    <a:lnTo>
                      <a:pt x="1186" y="1413"/>
                    </a:lnTo>
                    <a:lnTo>
                      <a:pt x="1186" y="1412"/>
                    </a:lnTo>
                    <a:lnTo>
                      <a:pt x="1186" y="1410"/>
                    </a:lnTo>
                    <a:lnTo>
                      <a:pt x="1186" y="1408"/>
                    </a:lnTo>
                    <a:lnTo>
                      <a:pt x="1185" y="1407"/>
                    </a:lnTo>
                    <a:lnTo>
                      <a:pt x="1186" y="1407"/>
                    </a:lnTo>
                    <a:lnTo>
                      <a:pt x="1185" y="1407"/>
                    </a:lnTo>
                    <a:lnTo>
                      <a:pt x="1186" y="1407"/>
                    </a:lnTo>
                    <a:lnTo>
                      <a:pt x="1186" y="1405"/>
                    </a:lnTo>
                    <a:lnTo>
                      <a:pt x="1185" y="1405"/>
                    </a:lnTo>
                    <a:lnTo>
                      <a:pt x="1185" y="1403"/>
                    </a:lnTo>
                    <a:lnTo>
                      <a:pt x="1186" y="1403"/>
                    </a:lnTo>
                    <a:close/>
                    <a:moveTo>
                      <a:pt x="1185" y="1112"/>
                    </a:moveTo>
                    <a:lnTo>
                      <a:pt x="1186" y="1114"/>
                    </a:lnTo>
                    <a:lnTo>
                      <a:pt x="1188" y="1114"/>
                    </a:lnTo>
                    <a:lnTo>
                      <a:pt x="1188" y="1116"/>
                    </a:lnTo>
                    <a:lnTo>
                      <a:pt x="1188" y="1114"/>
                    </a:lnTo>
                    <a:lnTo>
                      <a:pt x="1190" y="1114"/>
                    </a:lnTo>
                    <a:lnTo>
                      <a:pt x="1190" y="1116"/>
                    </a:lnTo>
                    <a:lnTo>
                      <a:pt x="1190" y="1117"/>
                    </a:lnTo>
                    <a:lnTo>
                      <a:pt x="1188" y="1117"/>
                    </a:lnTo>
                    <a:lnTo>
                      <a:pt x="1190" y="1117"/>
                    </a:lnTo>
                    <a:lnTo>
                      <a:pt x="1190" y="1119"/>
                    </a:lnTo>
                    <a:lnTo>
                      <a:pt x="1190" y="1121"/>
                    </a:lnTo>
                    <a:lnTo>
                      <a:pt x="1188" y="1121"/>
                    </a:lnTo>
                    <a:lnTo>
                      <a:pt x="1188" y="1119"/>
                    </a:lnTo>
                    <a:lnTo>
                      <a:pt x="1188" y="1117"/>
                    </a:lnTo>
                    <a:lnTo>
                      <a:pt x="1188" y="1116"/>
                    </a:lnTo>
                    <a:lnTo>
                      <a:pt x="1188" y="1114"/>
                    </a:lnTo>
                    <a:lnTo>
                      <a:pt x="1186" y="1116"/>
                    </a:lnTo>
                    <a:lnTo>
                      <a:pt x="1188" y="1117"/>
                    </a:lnTo>
                    <a:lnTo>
                      <a:pt x="1186" y="1117"/>
                    </a:lnTo>
                    <a:lnTo>
                      <a:pt x="1186" y="1116"/>
                    </a:lnTo>
                    <a:lnTo>
                      <a:pt x="1186" y="1117"/>
                    </a:lnTo>
                    <a:lnTo>
                      <a:pt x="1186" y="1119"/>
                    </a:lnTo>
                    <a:lnTo>
                      <a:pt x="1186" y="1121"/>
                    </a:lnTo>
                    <a:lnTo>
                      <a:pt x="1186" y="1119"/>
                    </a:lnTo>
                    <a:lnTo>
                      <a:pt x="1185" y="1119"/>
                    </a:lnTo>
                    <a:lnTo>
                      <a:pt x="1185" y="1117"/>
                    </a:lnTo>
                    <a:lnTo>
                      <a:pt x="1183" y="1117"/>
                    </a:lnTo>
                    <a:lnTo>
                      <a:pt x="1183" y="1116"/>
                    </a:lnTo>
                    <a:lnTo>
                      <a:pt x="1183" y="1114"/>
                    </a:lnTo>
                    <a:lnTo>
                      <a:pt x="1183" y="1112"/>
                    </a:lnTo>
                    <a:lnTo>
                      <a:pt x="1185" y="1112"/>
                    </a:lnTo>
                    <a:close/>
                    <a:moveTo>
                      <a:pt x="1161" y="1235"/>
                    </a:moveTo>
                    <a:lnTo>
                      <a:pt x="1159" y="1236"/>
                    </a:lnTo>
                    <a:lnTo>
                      <a:pt x="1161" y="1236"/>
                    </a:lnTo>
                    <a:lnTo>
                      <a:pt x="1161" y="1238"/>
                    </a:lnTo>
                    <a:lnTo>
                      <a:pt x="1159" y="1240"/>
                    </a:lnTo>
                    <a:lnTo>
                      <a:pt x="1157" y="1240"/>
                    </a:lnTo>
                    <a:lnTo>
                      <a:pt x="1159" y="1240"/>
                    </a:lnTo>
                    <a:lnTo>
                      <a:pt x="1161" y="1240"/>
                    </a:lnTo>
                    <a:lnTo>
                      <a:pt x="1162" y="1240"/>
                    </a:lnTo>
                    <a:lnTo>
                      <a:pt x="1162" y="1242"/>
                    </a:lnTo>
                    <a:lnTo>
                      <a:pt x="1161" y="1242"/>
                    </a:lnTo>
                    <a:lnTo>
                      <a:pt x="1161" y="1243"/>
                    </a:lnTo>
                    <a:lnTo>
                      <a:pt x="1159" y="1243"/>
                    </a:lnTo>
                    <a:lnTo>
                      <a:pt x="1157" y="1243"/>
                    </a:lnTo>
                    <a:lnTo>
                      <a:pt x="1157" y="1242"/>
                    </a:lnTo>
                    <a:lnTo>
                      <a:pt x="1156" y="1240"/>
                    </a:lnTo>
                    <a:lnTo>
                      <a:pt x="1156" y="1242"/>
                    </a:lnTo>
                    <a:lnTo>
                      <a:pt x="1157" y="1243"/>
                    </a:lnTo>
                    <a:lnTo>
                      <a:pt x="1156" y="1243"/>
                    </a:lnTo>
                    <a:lnTo>
                      <a:pt x="1156" y="1242"/>
                    </a:lnTo>
                    <a:lnTo>
                      <a:pt x="1156" y="1240"/>
                    </a:lnTo>
                    <a:lnTo>
                      <a:pt x="1154" y="1240"/>
                    </a:lnTo>
                    <a:lnTo>
                      <a:pt x="1152" y="1240"/>
                    </a:lnTo>
                    <a:lnTo>
                      <a:pt x="1151" y="1240"/>
                    </a:lnTo>
                    <a:lnTo>
                      <a:pt x="1151" y="1242"/>
                    </a:lnTo>
                    <a:lnTo>
                      <a:pt x="1151" y="1240"/>
                    </a:lnTo>
                    <a:lnTo>
                      <a:pt x="1151" y="1238"/>
                    </a:lnTo>
                    <a:lnTo>
                      <a:pt x="1152" y="1238"/>
                    </a:lnTo>
                    <a:lnTo>
                      <a:pt x="1152" y="1236"/>
                    </a:lnTo>
                    <a:lnTo>
                      <a:pt x="1152" y="1238"/>
                    </a:lnTo>
                    <a:lnTo>
                      <a:pt x="1154" y="1236"/>
                    </a:lnTo>
                    <a:lnTo>
                      <a:pt x="1154" y="1238"/>
                    </a:lnTo>
                    <a:lnTo>
                      <a:pt x="1154" y="1240"/>
                    </a:lnTo>
                    <a:lnTo>
                      <a:pt x="1154" y="1238"/>
                    </a:lnTo>
                    <a:lnTo>
                      <a:pt x="1156" y="1238"/>
                    </a:lnTo>
                    <a:lnTo>
                      <a:pt x="1157" y="1238"/>
                    </a:lnTo>
                    <a:lnTo>
                      <a:pt x="1157" y="1236"/>
                    </a:lnTo>
                    <a:lnTo>
                      <a:pt x="1159" y="1236"/>
                    </a:lnTo>
                    <a:lnTo>
                      <a:pt x="1157" y="1236"/>
                    </a:lnTo>
                    <a:lnTo>
                      <a:pt x="1159" y="1235"/>
                    </a:lnTo>
                    <a:lnTo>
                      <a:pt x="1161" y="1235"/>
                    </a:lnTo>
                    <a:close/>
                    <a:moveTo>
                      <a:pt x="1234" y="1456"/>
                    </a:moveTo>
                    <a:lnTo>
                      <a:pt x="1234" y="1458"/>
                    </a:lnTo>
                    <a:lnTo>
                      <a:pt x="1232" y="1458"/>
                    </a:lnTo>
                    <a:lnTo>
                      <a:pt x="1232" y="1459"/>
                    </a:lnTo>
                    <a:lnTo>
                      <a:pt x="1232" y="1461"/>
                    </a:lnTo>
                    <a:lnTo>
                      <a:pt x="1230" y="1461"/>
                    </a:lnTo>
                    <a:lnTo>
                      <a:pt x="1230" y="1463"/>
                    </a:lnTo>
                    <a:lnTo>
                      <a:pt x="1230" y="1464"/>
                    </a:lnTo>
                    <a:lnTo>
                      <a:pt x="1229" y="1464"/>
                    </a:lnTo>
                    <a:lnTo>
                      <a:pt x="1229" y="1466"/>
                    </a:lnTo>
                    <a:lnTo>
                      <a:pt x="1227" y="1466"/>
                    </a:lnTo>
                    <a:lnTo>
                      <a:pt x="1225" y="1466"/>
                    </a:lnTo>
                    <a:lnTo>
                      <a:pt x="1225" y="1464"/>
                    </a:lnTo>
                    <a:lnTo>
                      <a:pt x="1225" y="1463"/>
                    </a:lnTo>
                    <a:lnTo>
                      <a:pt x="1225" y="1461"/>
                    </a:lnTo>
                    <a:lnTo>
                      <a:pt x="1227" y="1461"/>
                    </a:lnTo>
                    <a:lnTo>
                      <a:pt x="1227" y="1459"/>
                    </a:lnTo>
                    <a:lnTo>
                      <a:pt x="1229" y="1458"/>
                    </a:lnTo>
                    <a:lnTo>
                      <a:pt x="1230" y="1458"/>
                    </a:lnTo>
                    <a:lnTo>
                      <a:pt x="1230" y="1456"/>
                    </a:lnTo>
                    <a:lnTo>
                      <a:pt x="1232" y="1456"/>
                    </a:lnTo>
                    <a:lnTo>
                      <a:pt x="1234" y="1456"/>
                    </a:lnTo>
                    <a:lnTo>
                      <a:pt x="1234" y="1454"/>
                    </a:lnTo>
                    <a:lnTo>
                      <a:pt x="1234" y="1456"/>
                    </a:lnTo>
                    <a:close/>
                    <a:moveTo>
                      <a:pt x="1183" y="1117"/>
                    </a:moveTo>
                    <a:lnTo>
                      <a:pt x="1185" y="1117"/>
                    </a:lnTo>
                    <a:lnTo>
                      <a:pt x="1185" y="1119"/>
                    </a:lnTo>
                    <a:lnTo>
                      <a:pt x="1186" y="1119"/>
                    </a:lnTo>
                    <a:lnTo>
                      <a:pt x="1186" y="1121"/>
                    </a:lnTo>
                    <a:lnTo>
                      <a:pt x="1186" y="1122"/>
                    </a:lnTo>
                    <a:lnTo>
                      <a:pt x="1188" y="1124"/>
                    </a:lnTo>
                    <a:lnTo>
                      <a:pt x="1186" y="1124"/>
                    </a:lnTo>
                    <a:lnTo>
                      <a:pt x="1185" y="1124"/>
                    </a:lnTo>
                    <a:lnTo>
                      <a:pt x="1183" y="1124"/>
                    </a:lnTo>
                    <a:lnTo>
                      <a:pt x="1183" y="1122"/>
                    </a:lnTo>
                    <a:lnTo>
                      <a:pt x="1181" y="1122"/>
                    </a:lnTo>
                    <a:lnTo>
                      <a:pt x="1179" y="1122"/>
                    </a:lnTo>
                    <a:lnTo>
                      <a:pt x="1179" y="1121"/>
                    </a:lnTo>
                    <a:lnTo>
                      <a:pt x="1179" y="1119"/>
                    </a:lnTo>
                    <a:lnTo>
                      <a:pt x="1181" y="1117"/>
                    </a:lnTo>
                    <a:lnTo>
                      <a:pt x="1183" y="1117"/>
                    </a:lnTo>
                    <a:close/>
                    <a:moveTo>
                      <a:pt x="1173" y="1373"/>
                    </a:moveTo>
                    <a:lnTo>
                      <a:pt x="1174" y="1373"/>
                    </a:lnTo>
                    <a:lnTo>
                      <a:pt x="1174" y="1374"/>
                    </a:lnTo>
                    <a:lnTo>
                      <a:pt x="1176" y="1374"/>
                    </a:lnTo>
                    <a:lnTo>
                      <a:pt x="1178" y="1374"/>
                    </a:lnTo>
                    <a:lnTo>
                      <a:pt x="1176" y="1374"/>
                    </a:lnTo>
                    <a:lnTo>
                      <a:pt x="1178" y="1374"/>
                    </a:lnTo>
                    <a:lnTo>
                      <a:pt x="1178" y="1376"/>
                    </a:lnTo>
                    <a:lnTo>
                      <a:pt x="1176" y="1376"/>
                    </a:lnTo>
                    <a:lnTo>
                      <a:pt x="1176" y="1378"/>
                    </a:lnTo>
                    <a:lnTo>
                      <a:pt x="1176" y="1376"/>
                    </a:lnTo>
                    <a:lnTo>
                      <a:pt x="1176" y="1378"/>
                    </a:lnTo>
                    <a:lnTo>
                      <a:pt x="1174" y="1378"/>
                    </a:lnTo>
                    <a:lnTo>
                      <a:pt x="1174" y="1379"/>
                    </a:lnTo>
                    <a:lnTo>
                      <a:pt x="1173" y="1379"/>
                    </a:lnTo>
                    <a:lnTo>
                      <a:pt x="1173" y="1381"/>
                    </a:lnTo>
                    <a:lnTo>
                      <a:pt x="1171" y="1381"/>
                    </a:lnTo>
                    <a:lnTo>
                      <a:pt x="1169" y="1379"/>
                    </a:lnTo>
                    <a:lnTo>
                      <a:pt x="1171" y="1379"/>
                    </a:lnTo>
                    <a:lnTo>
                      <a:pt x="1171" y="1378"/>
                    </a:lnTo>
                    <a:lnTo>
                      <a:pt x="1171" y="1379"/>
                    </a:lnTo>
                    <a:lnTo>
                      <a:pt x="1171" y="1378"/>
                    </a:lnTo>
                    <a:lnTo>
                      <a:pt x="1171" y="1376"/>
                    </a:lnTo>
                    <a:lnTo>
                      <a:pt x="1171" y="1378"/>
                    </a:lnTo>
                    <a:lnTo>
                      <a:pt x="1169" y="1378"/>
                    </a:lnTo>
                    <a:lnTo>
                      <a:pt x="1169" y="1376"/>
                    </a:lnTo>
                    <a:lnTo>
                      <a:pt x="1171" y="1376"/>
                    </a:lnTo>
                    <a:lnTo>
                      <a:pt x="1171" y="1374"/>
                    </a:lnTo>
                    <a:lnTo>
                      <a:pt x="1173" y="1374"/>
                    </a:lnTo>
                    <a:lnTo>
                      <a:pt x="1173" y="1373"/>
                    </a:lnTo>
                    <a:close/>
                    <a:moveTo>
                      <a:pt x="1436" y="1645"/>
                    </a:moveTo>
                    <a:lnTo>
                      <a:pt x="1438" y="1645"/>
                    </a:lnTo>
                    <a:lnTo>
                      <a:pt x="1438" y="1646"/>
                    </a:lnTo>
                    <a:lnTo>
                      <a:pt x="1438" y="1648"/>
                    </a:lnTo>
                    <a:lnTo>
                      <a:pt x="1438" y="1650"/>
                    </a:lnTo>
                    <a:lnTo>
                      <a:pt x="1438" y="1652"/>
                    </a:lnTo>
                    <a:lnTo>
                      <a:pt x="1436" y="1652"/>
                    </a:lnTo>
                    <a:lnTo>
                      <a:pt x="1438" y="1653"/>
                    </a:lnTo>
                    <a:lnTo>
                      <a:pt x="1436" y="1652"/>
                    </a:lnTo>
                    <a:lnTo>
                      <a:pt x="1436" y="1653"/>
                    </a:lnTo>
                    <a:lnTo>
                      <a:pt x="1434" y="1653"/>
                    </a:lnTo>
                    <a:lnTo>
                      <a:pt x="1433" y="1653"/>
                    </a:lnTo>
                    <a:lnTo>
                      <a:pt x="1431" y="1653"/>
                    </a:lnTo>
                    <a:lnTo>
                      <a:pt x="1431" y="1652"/>
                    </a:lnTo>
                    <a:lnTo>
                      <a:pt x="1431" y="1650"/>
                    </a:lnTo>
                    <a:lnTo>
                      <a:pt x="1431" y="1648"/>
                    </a:lnTo>
                    <a:lnTo>
                      <a:pt x="1433" y="1646"/>
                    </a:lnTo>
                    <a:lnTo>
                      <a:pt x="1434" y="1645"/>
                    </a:lnTo>
                    <a:lnTo>
                      <a:pt x="1436" y="1645"/>
                    </a:lnTo>
                    <a:close/>
                    <a:moveTo>
                      <a:pt x="1171" y="1036"/>
                    </a:moveTo>
                    <a:lnTo>
                      <a:pt x="1173" y="1036"/>
                    </a:lnTo>
                    <a:lnTo>
                      <a:pt x="1174" y="1036"/>
                    </a:lnTo>
                    <a:lnTo>
                      <a:pt x="1176" y="1037"/>
                    </a:lnTo>
                    <a:lnTo>
                      <a:pt x="1176" y="1039"/>
                    </a:lnTo>
                    <a:lnTo>
                      <a:pt x="1178" y="1039"/>
                    </a:lnTo>
                    <a:lnTo>
                      <a:pt x="1176" y="1039"/>
                    </a:lnTo>
                    <a:lnTo>
                      <a:pt x="1176" y="1041"/>
                    </a:lnTo>
                    <a:lnTo>
                      <a:pt x="1174" y="1041"/>
                    </a:lnTo>
                    <a:lnTo>
                      <a:pt x="1173" y="1041"/>
                    </a:lnTo>
                    <a:lnTo>
                      <a:pt x="1171" y="1041"/>
                    </a:lnTo>
                    <a:lnTo>
                      <a:pt x="1171" y="1043"/>
                    </a:lnTo>
                    <a:lnTo>
                      <a:pt x="1169" y="1041"/>
                    </a:lnTo>
                    <a:lnTo>
                      <a:pt x="1169" y="1039"/>
                    </a:lnTo>
                    <a:lnTo>
                      <a:pt x="1169" y="1037"/>
                    </a:lnTo>
                    <a:lnTo>
                      <a:pt x="1168" y="1037"/>
                    </a:lnTo>
                    <a:lnTo>
                      <a:pt x="1169" y="1037"/>
                    </a:lnTo>
                    <a:lnTo>
                      <a:pt x="1168" y="1036"/>
                    </a:lnTo>
                    <a:lnTo>
                      <a:pt x="1169" y="1037"/>
                    </a:lnTo>
                    <a:lnTo>
                      <a:pt x="1171" y="1037"/>
                    </a:lnTo>
                    <a:lnTo>
                      <a:pt x="1171" y="1036"/>
                    </a:lnTo>
                    <a:lnTo>
                      <a:pt x="1171" y="1034"/>
                    </a:lnTo>
                    <a:lnTo>
                      <a:pt x="1171" y="1036"/>
                    </a:lnTo>
                    <a:close/>
                    <a:moveTo>
                      <a:pt x="1195" y="1420"/>
                    </a:moveTo>
                    <a:lnTo>
                      <a:pt x="1196" y="1420"/>
                    </a:lnTo>
                    <a:lnTo>
                      <a:pt x="1198" y="1420"/>
                    </a:lnTo>
                    <a:lnTo>
                      <a:pt x="1198" y="1422"/>
                    </a:lnTo>
                    <a:lnTo>
                      <a:pt x="1198" y="1424"/>
                    </a:lnTo>
                    <a:lnTo>
                      <a:pt x="1198" y="1425"/>
                    </a:lnTo>
                    <a:lnTo>
                      <a:pt x="1196" y="1424"/>
                    </a:lnTo>
                    <a:lnTo>
                      <a:pt x="1196" y="1425"/>
                    </a:lnTo>
                    <a:lnTo>
                      <a:pt x="1198" y="1427"/>
                    </a:lnTo>
                    <a:lnTo>
                      <a:pt x="1196" y="1427"/>
                    </a:lnTo>
                    <a:lnTo>
                      <a:pt x="1195" y="1429"/>
                    </a:lnTo>
                    <a:lnTo>
                      <a:pt x="1195" y="1427"/>
                    </a:lnTo>
                    <a:lnTo>
                      <a:pt x="1193" y="1425"/>
                    </a:lnTo>
                    <a:lnTo>
                      <a:pt x="1193" y="1424"/>
                    </a:lnTo>
                    <a:lnTo>
                      <a:pt x="1193" y="1425"/>
                    </a:lnTo>
                    <a:lnTo>
                      <a:pt x="1193" y="1424"/>
                    </a:lnTo>
                    <a:lnTo>
                      <a:pt x="1193" y="1422"/>
                    </a:lnTo>
                    <a:lnTo>
                      <a:pt x="1193" y="1420"/>
                    </a:lnTo>
                    <a:lnTo>
                      <a:pt x="1195" y="1420"/>
                    </a:lnTo>
                    <a:close/>
                    <a:moveTo>
                      <a:pt x="1412" y="1680"/>
                    </a:moveTo>
                    <a:lnTo>
                      <a:pt x="1414" y="1680"/>
                    </a:lnTo>
                    <a:lnTo>
                      <a:pt x="1416" y="1682"/>
                    </a:lnTo>
                    <a:lnTo>
                      <a:pt x="1414" y="1682"/>
                    </a:lnTo>
                    <a:lnTo>
                      <a:pt x="1414" y="1684"/>
                    </a:lnTo>
                    <a:lnTo>
                      <a:pt x="1412" y="1684"/>
                    </a:lnTo>
                    <a:lnTo>
                      <a:pt x="1414" y="1684"/>
                    </a:lnTo>
                    <a:lnTo>
                      <a:pt x="1414" y="1686"/>
                    </a:lnTo>
                    <a:lnTo>
                      <a:pt x="1412" y="1686"/>
                    </a:lnTo>
                    <a:lnTo>
                      <a:pt x="1412" y="1684"/>
                    </a:lnTo>
                    <a:lnTo>
                      <a:pt x="1412" y="1686"/>
                    </a:lnTo>
                    <a:lnTo>
                      <a:pt x="1411" y="1687"/>
                    </a:lnTo>
                    <a:lnTo>
                      <a:pt x="1411" y="1686"/>
                    </a:lnTo>
                    <a:lnTo>
                      <a:pt x="1411" y="1684"/>
                    </a:lnTo>
                    <a:lnTo>
                      <a:pt x="1412" y="1684"/>
                    </a:lnTo>
                    <a:lnTo>
                      <a:pt x="1411" y="1682"/>
                    </a:lnTo>
                    <a:lnTo>
                      <a:pt x="1411" y="1684"/>
                    </a:lnTo>
                    <a:lnTo>
                      <a:pt x="1409" y="1684"/>
                    </a:lnTo>
                    <a:lnTo>
                      <a:pt x="1409" y="1686"/>
                    </a:lnTo>
                    <a:lnTo>
                      <a:pt x="1407" y="1686"/>
                    </a:lnTo>
                    <a:lnTo>
                      <a:pt x="1407" y="1684"/>
                    </a:lnTo>
                    <a:lnTo>
                      <a:pt x="1407" y="1682"/>
                    </a:lnTo>
                    <a:lnTo>
                      <a:pt x="1407" y="1684"/>
                    </a:lnTo>
                    <a:lnTo>
                      <a:pt x="1406" y="1684"/>
                    </a:lnTo>
                    <a:lnTo>
                      <a:pt x="1406" y="1686"/>
                    </a:lnTo>
                    <a:lnTo>
                      <a:pt x="1404" y="1686"/>
                    </a:lnTo>
                    <a:lnTo>
                      <a:pt x="1404" y="1684"/>
                    </a:lnTo>
                    <a:lnTo>
                      <a:pt x="1404" y="1686"/>
                    </a:lnTo>
                    <a:lnTo>
                      <a:pt x="1402" y="1686"/>
                    </a:lnTo>
                    <a:lnTo>
                      <a:pt x="1402" y="1684"/>
                    </a:lnTo>
                    <a:lnTo>
                      <a:pt x="1402" y="1682"/>
                    </a:lnTo>
                    <a:lnTo>
                      <a:pt x="1402" y="1680"/>
                    </a:lnTo>
                    <a:lnTo>
                      <a:pt x="1404" y="1682"/>
                    </a:lnTo>
                    <a:lnTo>
                      <a:pt x="1404" y="1680"/>
                    </a:lnTo>
                    <a:lnTo>
                      <a:pt x="1406" y="1680"/>
                    </a:lnTo>
                    <a:lnTo>
                      <a:pt x="1406" y="1682"/>
                    </a:lnTo>
                    <a:lnTo>
                      <a:pt x="1406" y="1680"/>
                    </a:lnTo>
                    <a:lnTo>
                      <a:pt x="1407" y="1682"/>
                    </a:lnTo>
                    <a:lnTo>
                      <a:pt x="1409" y="1680"/>
                    </a:lnTo>
                    <a:lnTo>
                      <a:pt x="1409" y="1682"/>
                    </a:lnTo>
                    <a:lnTo>
                      <a:pt x="1411" y="1680"/>
                    </a:lnTo>
                    <a:lnTo>
                      <a:pt x="1411" y="1682"/>
                    </a:lnTo>
                    <a:lnTo>
                      <a:pt x="1411" y="1680"/>
                    </a:lnTo>
                    <a:lnTo>
                      <a:pt x="1412" y="1682"/>
                    </a:lnTo>
                    <a:lnTo>
                      <a:pt x="1414" y="1680"/>
                    </a:lnTo>
                    <a:lnTo>
                      <a:pt x="1412" y="1680"/>
                    </a:lnTo>
                    <a:lnTo>
                      <a:pt x="1412" y="1679"/>
                    </a:lnTo>
                    <a:lnTo>
                      <a:pt x="1412" y="1680"/>
                    </a:lnTo>
                    <a:close/>
                    <a:moveTo>
                      <a:pt x="1162" y="1446"/>
                    </a:moveTo>
                    <a:lnTo>
                      <a:pt x="1164" y="1447"/>
                    </a:lnTo>
                    <a:lnTo>
                      <a:pt x="1162" y="1449"/>
                    </a:lnTo>
                    <a:lnTo>
                      <a:pt x="1164" y="1449"/>
                    </a:lnTo>
                    <a:lnTo>
                      <a:pt x="1162" y="1451"/>
                    </a:lnTo>
                    <a:lnTo>
                      <a:pt x="1164" y="1451"/>
                    </a:lnTo>
                    <a:lnTo>
                      <a:pt x="1164" y="1453"/>
                    </a:lnTo>
                    <a:lnTo>
                      <a:pt x="1162" y="1453"/>
                    </a:lnTo>
                    <a:lnTo>
                      <a:pt x="1162" y="1454"/>
                    </a:lnTo>
                    <a:lnTo>
                      <a:pt x="1162" y="1456"/>
                    </a:lnTo>
                    <a:lnTo>
                      <a:pt x="1161" y="1456"/>
                    </a:lnTo>
                    <a:lnTo>
                      <a:pt x="1161" y="1458"/>
                    </a:lnTo>
                    <a:lnTo>
                      <a:pt x="1159" y="1458"/>
                    </a:lnTo>
                    <a:lnTo>
                      <a:pt x="1159" y="1456"/>
                    </a:lnTo>
                    <a:lnTo>
                      <a:pt x="1161" y="1454"/>
                    </a:lnTo>
                    <a:lnTo>
                      <a:pt x="1161" y="1453"/>
                    </a:lnTo>
                    <a:lnTo>
                      <a:pt x="1159" y="1453"/>
                    </a:lnTo>
                    <a:lnTo>
                      <a:pt x="1159" y="1451"/>
                    </a:lnTo>
                    <a:lnTo>
                      <a:pt x="1161" y="1451"/>
                    </a:lnTo>
                    <a:lnTo>
                      <a:pt x="1159" y="1449"/>
                    </a:lnTo>
                    <a:lnTo>
                      <a:pt x="1161" y="1447"/>
                    </a:lnTo>
                    <a:lnTo>
                      <a:pt x="1161" y="1449"/>
                    </a:lnTo>
                    <a:lnTo>
                      <a:pt x="1161" y="1447"/>
                    </a:lnTo>
                    <a:lnTo>
                      <a:pt x="1162" y="1447"/>
                    </a:lnTo>
                    <a:lnTo>
                      <a:pt x="1162" y="1446"/>
                    </a:lnTo>
                    <a:close/>
                    <a:moveTo>
                      <a:pt x="1312" y="1623"/>
                    </a:moveTo>
                    <a:lnTo>
                      <a:pt x="1314" y="1623"/>
                    </a:lnTo>
                    <a:lnTo>
                      <a:pt x="1315" y="1623"/>
                    </a:lnTo>
                    <a:lnTo>
                      <a:pt x="1317" y="1623"/>
                    </a:lnTo>
                    <a:lnTo>
                      <a:pt x="1315" y="1624"/>
                    </a:lnTo>
                    <a:lnTo>
                      <a:pt x="1317" y="1624"/>
                    </a:lnTo>
                    <a:lnTo>
                      <a:pt x="1319" y="1624"/>
                    </a:lnTo>
                    <a:lnTo>
                      <a:pt x="1317" y="1626"/>
                    </a:lnTo>
                    <a:lnTo>
                      <a:pt x="1315" y="1626"/>
                    </a:lnTo>
                    <a:lnTo>
                      <a:pt x="1314" y="1626"/>
                    </a:lnTo>
                    <a:lnTo>
                      <a:pt x="1314" y="1628"/>
                    </a:lnTo>
                    <a:lnTo>
                      <a:pt x="1312" y="1626"/>
                    </a:lnTo>
                    <a:lnTo>
                      <a:pt x="1312" y="1628"/>
                    </a:lnTo>
                    <a:lnTo>
                      <a:pt x="1310" y="1628"/>
                    </a:lnTo>
                    <a:lnTo>
                      <a:pt x="1310" y="1626"/>
                    </a:lnTo>
                    <a:lnTo>
                      <a:pt x="1309" y="1628"/>
                    </a:lnTo>
                    <a:lnTo>
                      <a:pt x="1309" y="1626"/>
                    </a:lnTo>
                    <a:lnTo>
                      <a:pt x="1307" y="1624"/>
                    </a:lnTo>
                    <a:lnTo>
                      <a:pt x="1307" y="1626"/>
                    </a:lnTo>
                    <a:lnTo>
                      <a:pt x="1305" y="1626"/>
                    </a:lnTo>
                    <a:lnTo>
                      <a:pt x="1305" y="1624"/>
                    </a:lnTo>
                    <a:lnTo>
                      <a:pt x="1307" y="1624"/>
                    </a:lnTo>
                    <a:lnTo>
                      <a:pt x="1307" y="1623"/>
                    </a:lnTo>
                    <a:lnTo>
                      <a:pt x="1309" y="1623"/>
                    </a:lnTo>
                    <a:lnTo>
                      <a:pt x="1309" y="1624"/>
                    </a:lnTo>
                    <a:lnTo>
                      <a:pt x="1310" y="1623"/>
                    </a:lnTo>
                    <a:lnTo>
                      <a:pt x="1312" y="1623"/>
                    </a:lnTo>
                    <a:close/>
                    <a:moveTo>
                      <a:pt x="1179" y="1133"/>
                    </a:moveTo>
                    <a:lnTo>
                      <a:pt x="1179" y="1134"/>
                    </a:lnTo>
                    <a:lnTo>
                      <a:pt x="1178" y="1134"/>
                    </a:lnTo>
                    <a:lnTo>
                      <a:pt x="1178" y="1136"/>
                    </a:lnTo>
                    <a:lnTo>
                      <a:pt x="1178" y="1138"/>
                    </a:lnTo>
                    <a:lnTo>
                      <a:pt x="1178" y="1140"/>
                    </a:lnTo>
                    <a:lnTo>
                      <a:pt x="1176" y="1141"/>
                    </a:lnTo>
                    <a:lnTo>
                      <a:pt x="1176" y="1140"/>
                    </a:lnTo>
                    <a:lnTo>
                      <a:pt x="1174" y="1141"/>
                    </a:lnTo>
                    <a:lnTo>
                      <a:pt x="1173" y="1140"/>
                    </a:lnTo>
                    <a:lnTo>
                      <a:pt x="1174" y="1140"/>
                    </a:lnTo>
                    <a:lnTo>
                      <a:pt x="1173" y="1140"/>
                    </a:lnTo>
                    <a:lnTo>
                      <a:pt x="1173" y="1138"/>
                    </a:lnTo>
                    <a:lnTo>
                      <a:pt x="1174" y="1136"/>
                    </a:lnTo>
                    <a:lnTo>
                      <a:pt x="1174" y="1134"/>
                    </a:lnTo>
                    <a:lnTo>
                      <a:pt x="1176" y="1133"/>
                    </a:lnTo>
                    <a:lnTo>
                      <a:pt x="1178" y="1133"/>
                    </a:lnTo>
                    <a:lnTo>
                      <a:pt x="1179" y="1133"/>
                    </a:lnTo>
                    <a:close/>
                    <a:moveTo>
                      <a:pt x="1166" y="1473"/>
                    </a:moveTo>
                    <a:lnTo>
                      <a:pt x="1168" y="1473"/>
                    </a:lnTo>
                    <a:lnTo>
                      <a:pt x="1169" y="1473"/>
                    </a:lnTo>
                    <a:lnTo>
                      <a:pt x="1169" y="1475"/>
                    </a:lnTo>
                    <a:lnTo>
                      <a:pt x="1171" y="1475"/>
                    </a:lnTo>
                    <a:lnTo>
                      <a:pt x="1171" y="1476"/>
                    </a:lnTo>
                    <a:lnTo>
                      <a:pt x="1173" y="1476"/>
                    </a:lnTo>
                    <a:lnTo>
                      <a:pt x="1174" y="1475"/>
                    </a:lnTo>
                    <a:lnTo>
                      <a:pt x="1176" y="1473"/>
                    </a:lnTo>
                    <a:lnTo>
                      <a:pt x="1176" y="1475"/>
                    </a:lnTo>
                    <a:lnTo>
                      <a:pt x="1176" y="1476"/>
                    </a:lnTo>
                    <a:lnTo>
                      <a:pt x="1174" y="1476"/>
                    </a:lnTo>
                    <a:lnTo>
                      <a:pt x="1176" y="1478"/>
                    </a:lnTo>
                    <a:lnTo>
                      <a:pt x="1174" y="1478"/>
                    </a:lnTo>
                    <a:lnTo>
                      <a:pt x="1176" y="1480"/>
                    </a:lnTo>
                    <a:lnTo>
                      <a:pt x="1174" y="1480"/>
                    </a:lnTo>
                    <a:lnTo>
                      <a:pt x="1173" y="1478"/>
                    </a:lnTo>
                    <a:lnTo>
                      <a:pt x="1173" y="1480"/>
                    </a:lnTo>
                    <a:lnTo>
                      <a:pt x="1174" y="1480"/>
                    </a:lnTo>
                    <a:lnTo>
                      <a:pt x="1173" y="1480"/>
                    </a:lnTo>
                    <a:lnTo>
                      <a:pt x="1171" y="1480"/>
                    </a:lnTo>
                    <a:lnTo>
                      <a:pt x="1169" y="1480"/>
                    </a:lnTo>
                    <a:lnTo>
                      <a:pt x="1171" y="1478"/>
                    </a:lnTo>
                    <a:lnTo>
                      <a:pt x="1169" y="1478"/>
                    </a:lnTo>
                    <a:lnTo>
                      <a:pt x="1171" y="1476"/>
                    </a:lnTo>
                    <a:lnTo>
                      <a:pt x="1169" y="1476"/>
                    </a:lnTo>
                    <a:lnTo>
                      <a:pt x="1168" y="1476"/>
                    </a:lnTo>
                    <a:lnTo>
                      <a:pt x="1166" y="1475"/>
                    </a:lnTo>
                    <a:lnTo>
                      <a:pt x="1166" y="1473"/>
                    </a:lnTo>
                    <a:close/>
                    <a:moveTo>
                      <a:pt x="1178" y="1459"/>
                    </a:moveTo>
                    <a:lnTo>
                      <a:pt x="1179" y="1459"/>
                    </a:lnTo>
                    <a:lnTo>
                      <a:pt x="1181" y="1459"/>
                    </a:lnTo>
                    <a:lnTo>
                      <a:pt x="1181" y="1461"/>
                    </a:lnTo>
                    <a:lnTo>
                      <a:pt x="1179" y="1461"/>
                    </a:lnTo>
                    <a:lnTo>
                      <a:pt x="1181" y="1461"/>
                    </a:lnTo>
                    <a:lnTo>
                      <a:pt x="1179" y="1463"/>
                    </a:lnTo>
                    <a:lnTo>
                      <a:pt x="1179" y="1464"/>
                    </a:lnTo>
                    <a:lnTo>
                      <a:pt x="1178" y="1464"/>
                    </a:lnTo>
                    <a:lnTo>
                      <a:pt x="1178" y="1466"/>
                    </a:lnTo>
                    <a:lnTo>
                      <a:pt x="1176" y="1464"/>
                    </a:lnTo>
                    <a:lnTo>
                      <a:pt x="1176" y="1466"/>
                    </a:lnTo>
                    <a:lnTo>
                      <a:pt x="1176" y="1464"/>
                    </a:lnTo>
                    <a:lnTo>
                      <a:pt x="1176" y="1463"/>
                    </a:lnTo>
                    <a:lnTo>
                      <a:pt x="1176" y="1464"/>
                    </a:lnTo>
                    <a:lnTo>
                      <a:pt x="1174" y="1464"/>
                    </a:lnTo>
                    <a:lnTo>
                      <a:pt x="1176" y="1464"/>
                    </a:lnTo>
                    <a:lnTo>
                      <a:pt x="1176" y="1466"/>
                    </a:lnTo>
                    <a:lnTo>
                      <a:pt x="1174" y="1466"/>
                    </a:lnTo>
                    <a:lnTo>
                      <a:pt x="1174" y="1468"/>
                    </a:lnTo>
                    <a:lnTo>
                      <a:pt x="1174" y="1466"/>
                    </a:lnTo>
                    <a:lnTo>
                      <a:pt x="1173" y="1468"/>
                    </a:lnTo>
                    <a:lnTo>
                      <a:pt x="1173" y="1466"/>
                    </a:lnTo>
                    <a:lnTo>
                      <a:pt x="1173" y="1464"/>
                    </a:lnTo>
                    <a:lnTo>
                      <a:pt x="1174" y="1463"/>
                    </a:lnTo>
                    <a:lnTo>
                      <a:pt x="1176" y="1461"/>
                    </a:lnTo>
                    <a:lnTo>
                      <a:pt x="1176" y="1463"/>
                    </a:lnTo>
                    <a:lnTo>
                      <a:pt x="1178" y="1463"/>
                    </a:lnTo>
                    <a:lnTo>
                      <a:pt x="1176" y="1461"/>
                    </a:lnTo>
                    <a:lnTo>
                      <a:pt x="1178" y="1459"/>
                    </a:lnTo>
                    <a:lnTo>
                      <a:pt x="1178" y="1458"/>
                    </a:lnTo>
                    <a:lnTo>
                      <a:pt x="1178" y="1459"/>
                    </a:lnTo>
                    <a:close/>
                    <a:moveTo>
                      <a:pt x="1202" y="1094"/>
                    </a:moveTo>
                    <a:lnTo>
                      <a:pt x="1203" y="1094"/>
                    </a:lnTo>
                    <a:lnTo>
                      <a:pt x="1203" y="1095"/>
                    </a:lnTo>
                    <a:lnTo>
                      <a:pt x="1203" y="1097"/>
                    </a:lnTo>
                    <a:lnTo>
                      <a:pt x="1205" y="1099"/>
                    </a:lnTo>
                    <a:lnTo>
                      <a:pt x="1205" y="1100"/>
                    </a:lnTo>
                    <a:lnTo>
                      <a:pt x="1203" y="1100"/>
                    </a:lnTo>
                    <a:lnTo>
                      <a:pt x="1205" y="1100"/>
                    </a:lnTo>
                    <a:lnTo>
                      <a:pt x="1205" y="1102"/>
                    </a:lnTo>
                    <a:lnTo>
                      <a:pt x="1203" y="1102"/>
                    </a:lnTo>
                    <a:lnTo>
                      <a:pt x="1202" y="1102"/>
                    </a:lnTo>
                    <a:lnTo>
                      <a:pt x="1202" y="1100"/>
                    </a:lnTo>
                    <a:lnTo>
                      <a:pt x="1200" y="1100"/>
                    </a:lnTo>
                    <a:lnTo>
                      <a:pt x="1200" y="1099"/>
                    </a:lnTo>
                    <a:lnTo>
                      <a:pt x="1200" y="1097"/>
                    </a:lnTo>
                    <a:lnTo>
                      <a:pt x="1200" y="1099"/>
                    </a:lnTo>
                    <a:lnTo>
                      <a:pt x="1202" y="1099"/>
                    </a:lnTo>
                    <a:lnTo>
                      <a:pt x="1203" y="1099"/>
                    </a:lnTo>
                    <a:lnTo>
                      <a:pt x="1202" y="1099"/>
                    </a:lnTo>
                    <a:lnTo>
                      <a:pt x="1202" y="1097"/>
                    </a:lnTo>
                    <a:lnTo>
                      <a:pt x="1200" y="1097"/>
                    </a:lnTo>
                    <a:lnTo>
                      <a:pt x="1200" y="1095"/>
                    </a:lnTo>
                    <a:lnTo>
                      <a:pt x="1200" y="1094"/>
                    </a:lnTo>
                    <a:lnTo>
                      <a:pt x="1202" y="1094"/>
                    </a:lnTo>
                    <a:close/>
                    <a:moveTo>
                      <a:pt x="1195" y="1140"/>
                    </a:moveTo>
                    <a:lnTo>
                      <a:pt x="1196" y="1140"/>
                    </a:lnTo>
                    <a:lnTo>
                      <a:pt x="1198" y="1141"/>
                    </a:lnTo>
                    <a:lnTo>
                      <a:pt x="1200" y="1140"/>
                    </a:lnTo>
                    <a:lnTo>
                      <a:pt x="1200" y="1141"/>
                    </a:lnTo>
                    <a:lnTo>
                      <a:pt x="1198" y="1141"/>
                    </a:lnTo>
                    <a:lnTo>
                      <a:pt x="1198" y="1143"/>
                    </a:lnTo>
                    <a:lnTo>
                      <a:pt x="1198" y="1145"/>
                    </a:lnTo>
                    <a:lnTo>
                      <a:pt x="1198" y="1146"/>
                    </a:lnTo>
                    <a:lnTo>
                      <a:pt x="1198" y="1148"/>
                    </a:lnTo>
                    <a:lnTo>
                      <a:pt x="1196" y="1150"/>
                    </a:lnTo>
                    <a:lnTo>
                      <a:pt x="1196" y="1148"/>
                    </a:lnTo>
                    <a:lnTo>
                      <a:pt x="1196" y="1146"/>
                    </a:lnTo>
                    <a:lnTo>
                      <a:pt x="1196" y="1145"/>
                    </a:lnTo>
                    <a:lnTo>
                      <a:pt x="1195" y="1146"/>
                    </a:lnTo>
                    <a:lnTo>
                      <a:pt x="1195" y="1145"/>
                    </a:lnTo>
                    <a:lnTo>
                      <a:pt x="1195" y="1143"/>
                    </a:lnTo>
                    <a:lnTo>
                      <a:pt x="1195" y="1145"/>
                    </a:lnTo>
                    <a:lnTo>
                      <a:pt x="1193" y="1143"/>
                    </a:lnTo>
                    <a:lnTo>
                      <a:pt x="1193" y="1141"/>
                    </a:lnTo>
                    <a:lnTo>
                      <a:pt x="1195" y="1141"/>
                    </a:lnTo>
                    <a:lnTo>
                      <a:pt x="1195" y="1140"/>
                    </a:lnTo>
                    <a:close/>
                    <a:moveTo>
                      <a:pt x="1219" y="1575"/>
                    </a:moveTo>
                    <a:lnTo>
                      <a:pt x="1217" y="1575"/>
                    </a:lnTo>
                    <a:lnTo>
                      <a:pt x="1217" y="1577"/>
                    </a:lnTo>
                    <a:lnTo>
                      <a:pt x="1219" y="1575"/>
                    </a:lnTo>
                    <a:lnTo>
                      <a:pt x="1220" y="1575"/>
                    </a:lnTo>
                    <a:lnTo>
                      <a:pt x="1219" y="1577"/>
                    </a:lnTo>
                    <a:lnTo>
                      <a:pt x="1220" y="1577"/>
                    </a:lnTo>
                    <a:lnTo>
                      <a:pt x="1220" y="1578"/>
                    </a:lnTo>
                    <a:lnTo>
                      <a:pt x="1219" y="1578"/>
                    </a:lnTo>
                    <a:lnTo>
                      <a:pt x="1220" y="1578"/>
                    </a:lnTo>
                    <a:lnTo>
                      <a:pt x="1220" y="1577"/>
                    </a:lnTo>
                    <a:lnTo>
                      <a:pt x="1222" y="1577"/>
                    </a:lnTo>
                    <a:lnTo>
                      <a:pt x="1222" y="1578"/>
                    </a:lnTo>
                    <a:lnTo>
                      <a:pt x="1222" y="1580"/>
                    </a:lnTo>
                    <a:lnTo>
                      <a:pt x="1222" y="1578"/>
                    </a:lnTo>
                    <a:lnTo>
                      <a:pt x="1224" y="1578"/>
                    </a:lnTo>
                    <a:lnTo>
                      <a:pt x="1224" y="1580"/>
                    </a:lnTo>
                    <a:lnTo>
                      <a:pt x="1222" y="1580"/>
                    </a:lnTo>
                    <a:lnTo>
                      <a:pt x="1224" y="1580"/>
                    </a:lnTo>
                    <a:lnTo>
                      <a:pt x="1222" y="1582"/>
                    </a:lnTo>
                    <a:lnTo>
                      <a:pt x="1222" y="1580"/>
                    </a:lnTo>
                    <a:lnTo>
                      <a:pt x="1222" y="1582"/>
                    </a:lnTo>
                    <a:lnTo>
                      <a:pt x="1220" y="1580"/>
                    </a:lnTo>
                    <a:lnTo>
                      <a:pt x="1220" y="1578"/>
                    </a:lnTo>
                    <a:lnTo>
                      <a:pt x="1220" y="1580"/>
                    </a:lnTo>
                    <a:lnTo>
                      <a:pt x="1220" y="1582"/>
                    </a:lnTo>
                    <a:lnTo>
                      <a:pt x="1220" y="1583"/>
                    </a:lnTo>
                    <a:lnTo>
                      <a:pt x="1220" y="1582"/>
                    </a:lnTo>
                    <a:lnTo>
                      <a:pt x="1219" y="1582"/>
                    </a:lnTo>
                    <a:lnTo>
                      <a:pt x="1217" y="1582"/>
                    </a:lnTo>
                    <a:lnTo>
                      <a:pt x="1219" y="1582"/>
                    </a:lnTo>
                    <a:lnTo>
                      <a:pt x="1219" y="1580"/>
                    </a:lnTo>
                    <a:lnTo>
                      <a:pt x="1219" y="1578"/>
                    </a:lnTo>
                    <a:lnTo>
                      <a:pt x="1217" y="1578"/>
                    </a:lnTo>
                    <a:lnTo>
                      <a:pt x="1217" y="1580"/>
                    </a:lnTo>
                    <a:lnTo>
                      <a:pt x="1215" y="1578"/>
                    </a:lnTo>
                    <a:lnTo>
                      <a:pt x="1213" y="1578"/>
                    </a:lnTo>
                    <a:lnTo>
                      <a:pt x="1215" y="1578"/>
                    </a:lnTo>
                    <a:lnTo>
                      <a:pt x="1215" y="1577"/>
                    </a:lnTo>
                    <a:lnTo>
                      <a:pt x="1215" y="1575"/>
                    </a:lnTo>
                    <a:lnTo>
                      <a:pt x="1217" y="1577"/>
                    </a:lnTo>
                    <a:lnTo>
                      <a:pt x="1217" y="1575"/>
                    </a:lnTo>
                    <a:lnTo>
                      <a:pt x="1217" y="1573"/>
                    </a:lnTo>
                    <a:lnTo>
                      <a:pt x="1219" y="1575"/>
                    </a:lnTo>
                    <a:close/>
                    <a:moveTo>
                      <a:pt x="1191" y="1422"/>
                    </a:moveTo>
                    <a:lnTo>
                      <a:pt x="1191" y="1424"/>
                    </a:lnTo>
                    <a:lnTo>
                      <a:pt x="1191" y="1425"/>
                    </a:lnTo>
                    <a:lnTo>
                      <a:pt x="1191" y="1427"/>
                    </a:lnTo>
                    <a:lnTo>
                      <a:pt x="1193" y="1427"/>
                    </a:lnTo>
                    <a:lnTo>
                      <a:pt x="1191" y="1427"/>
                    </a:lnTo>
                    <a:lnTo>
                      <a:pt x="1191" y="1429"/>
                    </a:lnTo>
                    <a:lnTo>
                      <a:pt x="1191" y="1427"/>
                    </a:lnTo>
                    <a:lnTo>
                      <a:pt x="1193" y="1429"/>
                    </a:lnTo>
                    <a:lnTo>
                      <a:pt x="1193" y="1430"/>
                    </a:lnTo>
                    <a:lnTo>
                      <a:pt x="1193" y="1432"/>
                    </a:lnTo>
                    <a:lnTo>
                      <a:pt x="1191" y="1430"/>
                    </a:lnTo>
                    <a:lnTo>
                      <a:pt x="1191" y="1432"/>
                    </a:lnTo>
                    <a:lnTo>
                      <a:pt x="1191" y="1430"/>
                    </a:lnTo>
                    <a:lnTo>
                      <a:pt x="1190" y="1432"/>
                    </a:lnTo>
                    <a:lnTo>
                      <a:pt x="1190" y="1430"/>
                    </a:lnTo>
                    <a:lnTo>
                      <a:pt x="1188" y="1430"/>
                    </a:lnTo>
                    <a:lnTo>
                      <a:pt x="1188" y="1429"/>
                    </a:lnTo>
                    <a:lnTo>
                      <a:pt x="1190" y="1429"/>
                    </a:lnTo>
                    <a:lnTo>
                      <a:pt x="1188" y="1427"/>
                    </a:lnTo>
                    <a:lnTo>
                      <a:pt x="1188" y="1425"/>
                    </a:lnTo>
                    <a:lnTo>
                      <a:pt x="1188" y="1424"/>
                    </a:lnTo>
                    <a:lnTo>
                      <a:pt x="1190" y="1424"/>
                    </a:lnTo>
                    <a:lnTo>
                      <a:pt x="1191" y="1422"/>
                    </a:lnTo>
                    <a:close/>
                    <a:moveTo>
                      <a:pt x="1159" y="1094"/>
                    </a:moveTo>
                    <a:lnTo>
                      <a:pt x="1159" y="1095"/>
                    </a:lnTo>
                    <a:lnTo>
                      <a:pt x="1161" y="1095"/>
                    </a:lnTo>
                    <a:lnTo>
                      <a:pt x="1161" y="1097"/>
                    </a:lnTo>
                    <a:lnTo>
                      <a:pt x="1162" y="1097"/>
                    </a:lnTo>
                    <a:lnTo>
                      <a:pt x="1161" y="1099"/>
                    </a:lnTo>
                    <a:lnTo>
                      <a:pt x="1161" y="1100"/>
                    </a:lnTo>
                    <a:lnTo>
                      <a:pt x="1159" y="1100"/>
                    </a:lnTo>
                    <a:lnTo>
                      <a:pt x="1157" y="1100"/>
                    </a:lnTo>
                    <a:lnTo>
                      <a:pt x="1157" y="1099"/>
                    </a:lnTo>
                    <a:lnTo>
                      <a:pt x="1157" y="1097"/>
                    </a:lnTo>
                    <a:lnTo>
                      <a:pt x="1156" y="1097"/>
                    </a:lnTo>
                    <a:lnTo>
                      <a:pt x="1156" y="1095"/>
                    </a:lnTo>
                    <a:lnTo>
                      <a:pt x="1157" y="1095"/>
                    </a:lnTo>
                    <a:lnTo>
                      <a:pt x="1157" y="1094"/>
                    </a:lnTo>
                    <a:lnTo>
                      <a:pt x="1159" y="1094"/>
                    </a:lnTo>
                    <a:close/>
                    <a:moveTo>
                      <a:pt x="1448" y="1643"/>
                    </a:moveTo>
                    <a:lnTo>
                      <a:pt x="1450" y="1643"/>
                    </a:lnTo>
                    <a:lnTo>
                      <a:pt x="1451" y="1643"/>
                    </a:lnTo>
                    <a:lnTo>
                      <a:pt x="1451" y="1645"/>
                    </a:lnTo>
                    <a:lnTo>
                      <a:pt x="1450" y="1645"/>
                    </a:lnTo>
                    <a:lnTo>
                      <a:pt x="1450" y="1646"/>
                    </a:lnTo>
                    <a:lnTo>
                      <a:pt x="1448" y="1648"/>
                    </a:lnTo>
                    <a:lnTo>
                      <a:pt x="1450" y="1648"/>
                    </a:lnTo>
                    <a:lnTo>
                      <a:pt x="1448" y="1648"/>
                    </a:lnTo>
                    <a:lnTo>
                      <a:pt x="1446" y="1648"/>
                    </a:lnTo>
                    <a:lnTo>
                      <a:pt x="1446" y="1650"/>
                    </a:lnTo>
                    <a:lnTo>
                      <a:pt x="1445" y="1648"/>
                    </a:lnTo>
                    <a:lnTo>
                      <a:pt x="1445" y="1650"/>
                    </a:lnTo>
                    <a:lnTo>
                      <a:pt x="1445" y="1648"/>
                    </a:lnTo>
                    <a:lnTo>
                      <a:pt x="1445" y="1646"/>
                    </a:lnTo>
                    <a:lnTo>
                      <a:pt x="1445" y="1645"/>
                    </a:lnTo>
                    <a:lnTo>
                      <a:pt x="1446" y="1643"/>
                    </a:lnTo>
                    <a:lnTo>
                      <a:pt x="1448" y="1643"/>
                    </a:lnTo>
                    <a:close/>
                    <a:moveTo>
                      <a:pt x="1181" y="1272"/>
                    </a:moveTo>
                    <a:lnTo>
                      <a:pt x="1183" y="1272"/>
                    </a:lnTo>
                    <a:lnTo>
                      <a:pt x="1185" y="1272"/>
                    </a:lnTo>
                    <a:lnTo>
                      <a:pt x="1185" y="1274"/>
                    </a:lnTo>
                    <a:lnTo>
                      <a:pt x="1186" y="1274"/>
                    </a:lnTo>
                    <a:lnTo>
                      <a:pt x="1188" y="1274"/>
                    </a:lnTo>
                    <a:lnTo>
                      <a:pt x="1188" y="1276"/>
                    </a:lnTo>
                    <a:lnTo>
                      <a:pt x="1188" y="1277"/>
                    </a:lnTo>
                    <a:lnTo>
                      <a:pt x="1186" y="1277"/>
                    </a:lnTo>
                    <a:lnTo>
                      <a:pt x="1185" y="1277"/>
                    </a:lnTo>
                    <a:lnTo>
                      <a:pt x="1185" y="1279"/>
                    </a:lnTo>
                    <a:lnTo>
                      <a:pt x="1183" y="1277"/>
                    </a:lnTo>
                    <a:lnTo>
                      <a:pt x="1183" y="1276"/>
                    </a:lnTo>
                    <a:lnTo>
                      <a:pt x="1181" y="1274"/>
                    </a:lnTo>
                    <a:lnTo>
                      <a:pt x="1181" y="1272"/>
                    </a:lnTo>
                    <a:lnTo>
                      <a:pt x="1181" y="1270"/>
                    </a:lnTo>
                    <a:lnTo>
                      <a:pt x="1181" y="1272"/>
                    </a:lnTo>
                    <a:close/>
                    <a:moveTo>
                      <a:pt x="1181" y="1090"/>
                    </a:moveTo>
                    <a:lnTo>
                      <a:pt x="1183" y="1092"/>
                    </a:lnTo>
                    <a:lnTo>
                      <a:pt x="1183" y="1094"/>
                    </a:lnTo>
                    <a:lnTo>
                      <a:pt x="1185" y="1094"/>
                    </a:lnTo>
                    <a:lnTo>
                      <a:pt x="1185" y="1095"/>
                    </a:lnTo>
                    <a:lnTo>
                      <a:pt x="1186" y="1095"/>
                    </a:lnTo>
                    <a:lnTo>
                      <a:pt x="1186" y="1097"/>
                    </a:lnTo>
                    <a:lnTo>
                      <a:pt x="1185" y="1097"/>
                    </a:lnTo>
                    <a:lnTo>
                      <a:pt x="1183" y="1097"/>
                    </a:lnTo>
                    <a:lnTo>
                      <a:pt x="1181" y="1097"/>
                    </a:lnTo>
                    <a:lnTo>
                      <a:pt x="1181" y="1095"/>
                    </a:lnTo>
                    <a:lnTo>
                      <a:pt x="1179" y="1095"/>
                    </a:lnTo>
                    <a:lnTo>
                      <a:pt x="1179" y="1094"/>
                    </a:lnTo>
                    <a:lnTo>
                      <a:pt x="1178" y="1092"/>
                    </a:lnTo>
                    <a:lnTo>
                      <a:pt x="1179" y="1092"/>
                    </a:lnTo>
                    <a:lnTo>
                      <a:pt x="1179" y="1090"/>
                    </a:lnTo>
                    <a:lnTo>
                      <a:pt x="1179" y="1092"/>
                    </a:lnTo>
                    <a:lnTo>
                      <a:pt x="1181" y="1092"/>
                    </a:lnTo>
                    <a:lnTo>
                      <a:pt x="1181" y="1090"/>
                    </a:lnTo>
                    <a:close/>
                    <a:moveTo>
                      <a:pt x="1191" y="1077"/>
                    </a:moveTo>
                    <a:lnTo>
                      <a:pt x="1193" y="1078"/>
                    </a:lnTo>
                    <a:lnTo>
                      <a:pt x="1195" y="1078"/>
                    </a:lnTo>
                    <a:lnTo>
                      <a:pt x="1196" y="1078"/>
                    </a:lnTo>
                    <a:lnTo>
                      <a:pt x="1198" y="1078"/>
                    </a:lnTo>
                    <a:lnTo>
                      <a:pt x="1198" y="1080"/>
                    </a:lnTo>
                    <a:lnTo>
                      <a:pt x="1200" y="1082"/>
                    </a:lnTo>
                    <a:lnTo>
                      <a:pt x="1198" y="1082"/>
                    </a:lnTo>
                    <a:lnTo>
                      <a:pt x="1198" y="1083"/>
                    </a:lnTo>
                    <a:lnTo>
                      <a:pt x="1196" y="1083"/>
                    </a:lnTo>
                    <a:lnTo>
                      <a:pt x="1195" y="1083"/>
                    </a:lnTo>
                    <a:lnTo>
                      <a:pt x="1193" y="1083"/>
                    </a:lnTo>
                    <a:lnTo>
                      <a:pt x="1193" y="1082"/>
                    </a:lnTo>
                    <a:lnTo>
                      <a:pt x="1191" y="1082"/>
                    </a:lnTo>
                    <a:lnTo>
                      <a:pt x="1191" y="1080"/>
                    </a:lnTo>
                    <a:lnTo>
                      <a:pt x="1193" y="1080"/>
                    </a:lnTo>
                    <a:lnTo>
                      <a:pt x="1195" y="1080"/>
                    </a:lnTo>
                    <a:lnTo>
                      <a:pt x="1196" y="1080"/>
                    </a:lnTo>
                    <a:lnTo>
                      <a:pt x="1196" y="1082"/>
                    </a:lnTo>
                    <a:lnTo>
                      <a:pt x="1195" y="1082"/>
                    </a:lnTo>
                    <a:lnTo>
                      <a:pt x="1193" y="1082"/>
                    </a:lnTo>
                    <a:lnTo>
                      <a:pt x="1195" y="1082"/>
                    </a:lnTo>
                    <a:lnTo>
                      <a:pt x="1196" y="1082"/>
                    </a:lnTo>
                    <a:lnTo>
                      <a:pt x="1198" y="1082"/>
                    </a:lnTo>
                    <a:lnTo>
                      <a:pt x="1196" y="1082"/>
                    </a:lnTo>
                    <a:lnTo>
                      <a:pt x="1198" y="1080"/>
                    </a:lnTo>
                    <a:lnTo>
                      <a:pt x="1196" y="1080"/>
                    </a:lnTo>
                    <a:lnTo>
                      <a:pt x="1195" y="1080"/>
                    </a:lnTo>
                    <a:lnTo>
                      <a:pt x="1193" y="1080"/>
                    </a:lnTo>
                    <a:lnTo>
                      <a:pt x="1191" y="1080"/>
                    </a:lnTo>
                    <a:lnTo>
                      <a:pt x="1191" y="1078"/>
                    </a:lnTo>
                    <a:lnTo>
                      <a:pt x="1193" y="1078"/>
                    </a:lnTo>
                    <a:lnTo>
                      <a:pt x="1191" y="1078"/>
                    </a:lnTo>
                    <a:lnTo>
                      <a:pt x="1190" y="1077"/>
                    </a:lnTo>
                    <a:lnTo>
                      <a:pt x="1191" y="1077"/>
                    </a:lnTo>
                    <a:close/>
                    <a:moveTo>
                      <a:pt x="1327" y="1628"/>
                    </a:moveTo>
                    <a:lnTo>
                      <a:pt x="1329" y="1628"/>
                    </a:lnTo>
                    <a:lnTo>
                      <a:pt x="1329" y="1629"/>
                    </a:lnTo>
                    <a:lnTo>
                      <a:pt x="1327" y="1629"/>
                    </a:lnTo>
                    <a:lnTo>
                      <a:pt x="1329" y="1629"/>
                    </a:lnTo>
                    <a:lnTo>
                      <a:pt x="1331" y="1628"/>
                    </a:lnTo>
                    <a:lnTo>
                      <a:pt x="1332" y="1629"/>
                    </a:lnTo>
                    <a:lnTo>
                      <a:pt x="1332" y="1631"/>
                    </a:lnTo>
                    <a:lnTo>
                      <a:pt x="1331" y="1633"/>
                    </a:lnTo>
                    <a:lnTo>
                      <a:pt x="1329" y="1633"/>
                    </a:lnTo>
                    <a:lnTo>
                      <a:pt x="1331" y="1631"/>
                    </a:lnTo>
                    <a:lnTo>
                      <a:pt x="1331" y="1629"/>
                    </a:lnTo>
                    <a:lnTo>
                      <a:pt x="1329" y="1631"/>
                    </a:lnTo>
                    <a:lnTo>
                      <a:pt x="1329" y="1633"/>
                    </a:lnTo>
                    <a:lnTo>
                      <a:pt x="1327" y="1635"/>
                    </a:lnTo>
                    <a:lnTo>
                      <a:pt x="1327" y="1633"/>
                    </a:lnTo>
                    <a:lnTo>
                      <a:pt x="1326" y="1635"/>
                    </a:lnTo>
                    <a:lnTo>
                      <a:pt x="1326" y="1633"/>
                    </a:lnTo>
                    <a:lnTo>
                      <a:pt x="1326" y="1635"/>
                    </a:lnTo>
                    <a:lnTo>
                      <a:pt x="1324" y="1635"/>
                    </a:lnTo>
                    <a:lnTo>
                      <a:pt x="1324" y="1633"/>
                    </a:lnTo>
                    <a:lnTo>
                      <a:pt x="1326" y="1631"/>
                    </a:lnTo>
                    <a:lnTo>
                      <a:pt x="1324" y="1631"/>
                    </a:lnTo>
                    <a:lnTo>
                      <a:pt x="1326" y="1631"/>
                    </a:lnTo>
                    <a:lnTo>
                      <a:pt x="1327" y="1631"/>
                    </a:lnTo>
                    <a:lnTo>
                      <a:pt x="1327" y="1629"/>
                    </a:lnTo>
                    <a:lnTo>
                      <a:pt x="1326" y="1629"/>
                    </a:lnTo>
                    <a:lnTo>
                      <a:pt x="1327" y="1629"/>
                    </a:lnTo>
                    <a:lnTo>
                      <a:pt x="1326" y="1629"/>
                    </a:lnTo>
                    <a:lnTo>
                      <a:pt x="1324" y="1629"/>
                    </a:lnTo>
                    <a:lnTo>
                      <a:pt x="1326" y="1628"/>
                    </a:lnTo>
                    <a:lnTo>
                      <a:pt x="1327" y="1628"/>
                    </a:lnTo>
                    <a:close/>
                    <a:moveTo>
                      <a:pt x="1191" y="1269"/>
                    </a:moveTo>
                    <a:lnTo>
                      <a:pt x="1193" y="1270"/>
                    </a:lnTo>
                    <a:lnTo>
                      <a:pt x="1195" y="1272"/>
                    </a:lnTo>
                    <a:lnTo>
                      <a:pt x="1196" y="1272"/>
                    </a:lnTo>
                    <a:lnTo>
                      <a:pt x="1196" y="1274"/>
                    </a:lnTo>
                    <a:lnTo>
                      <a:pt x="1196" y="1276"/>
                    </a:lnTo>
                    <a:lnTo>
                      <a:pt x="1196" y="1277"/>
                    </a:lnTo>
                    <a:lnTo>
                      <a:pt x="1195" y="1276"/>
                    </a:lnTo>
                    <a:lnTo>
                      <a:pt x="1193" y="1276"/>
                    </a:lnTo>
                    <a:lnTo>
                      <a:pt x="1193" y="1274"/>
                    </a:lnTo>
                    <a:lnTo>
                      <a:pt x="1191" y="1274"/>
                    </a:lnTo>
                    <a:lnTo>
                      <a:pt x="1191" y="1272"/>
                    </a:lnTo>
                    <a:lnTo>
                      <a:pt x="1190" y="1272"/>
                    </a:lnTo>
                    <a:lnTo>
                      <a:pt x="1190" y="1270"/>
                    </a:lnTo>
                    <a:lnTo>
                      <a:pt x="1190" y="1269"/>
                    </a:lnTo>
                    <a:lnTo>
                      <a:pt x="1191" y="1269"/>
                    </a:lnTo>
                    <a:close/>
                    <a:moveTo>
                      <a:pt x="1195" y="1121"/>
                    </a:moveTo>
                    <a:lnTo>
                      <a:pt x="1196" y="1121"/>
                    </a:lnTo>
                    <a:lnTo>
                      <a:pt x="1196" y="1122"/>
                    </a:lnTo>
                    <a:lnTo>
                      <a:pt x="1196" y="1124"/>
                    </a:lnTo>
                    <a:lnTo>
                      <a:pt x="1195" y="1124"/>
                    </a:lnTo>
                    <a:lnTo>
                      <a:pt x="1196" y="1124"/>
                    </a:lnTo>
                    <a:lnTo>
                      <a:pt x="1196" y="1122"/>
                    </a:lnTo>
                    <a:lnTo>
                      <a:pt x="1198" y="1122"/>
                    </a:lnTo>
                    <a:lnTo>
                      <a:pt x="1200" y="1122"/>
                    </a:lnTo>
                    <a:lnTo>
                      <a:pt x="1202" y="1122"/>
                    </a:lnTo>
                    <a:lnTo>
                      <a:pt x="1203" y="1122"/>
                    </a:lnTo>
                    <a:lnTo>
                      <a:pt x="1203" y="1124"/>
                    </a:lnTo>
                    <a:lnTo>
                      <a:pt x="1202" y="1124"/>
                    </a:lnTo>
                    <a:lnTo>
                      <a:pt x="1202" y="1126"/>
                    </a:lnTo>
                    <a:lnTo>
                      <a:pt x="1200" y="1126"/>
                    </a:lnTo>
                    <a:lnTo>
                      <a:pt x="1198" y="1126"/>
                    </a:lnTo>
                    <a:lnTo>
                      <a:pt x="1198" y="1124"/>
                    </a:lnTo>
                    <a:lnTo>
                      <a:pt x="1198" y="1126"/>
                    </a:lnTo>
                    <a:lnTo>
                      <a:pt x="1198" y="1124"/>
                    </a:lnTo>
                    <a:lnTo>
                      <a:pt x="1196" y="1124"/>
                    </a:lnTo>
                    <a:lnTo>
                      <a:pt x="1195" y="1124"/>
                    </a:lnTo>
                    <a:lnTo>
                      <a:pt x="1195" y="1122"/>
                    </a:lnTo>
                    <a:lnTo>
                      <a:pt x="1193" y="1122"/>
                    </a:lnTo>
                    <a:lnTo>
                      <a:pt x="1193" y="1121"/>
                    </a:lnTo>
                    <a:lnTo>
                      <a:pt x="1195" y="1121"/>
                    </a:lnTo>
                    <a:close/>
                    <a:moveTo>
                      <a:pt x="1225" y="1051"/>
                    </a:moveTo>
                    <a:lnTo>
                      <a:pt x="1225" y="1053"/>
                    </a:lnTo>
                    <a:lnTo>
                      <a:pt x="1225" y="1054"/>
                    </a:lnTo>
                    <a:lnTo>
                      <a:pt x="1225" y="1056"/>
                    </a:lnTo>
                    <a:lnTo>
                      <a:pt x="1225" y="1058"/>
                    </a:lnTo>
                    <a:lnTo>
                      <a:pt x="1224" y="1058"/>
                    </a:lnTo>
                    <a:lnTo>
                      <a:pt x="1222" y="1058"/>
                    </a:lnTo>
                    <a:lnTo>
                      <a:pt x="1222" y="1056"/>
                    </a:lnTo>
                    <a:lnTo>
                      <a:pt x="1220" y="1056"/>
                    </a:lnTo>
                    <a:lnTo>
                      <a:pt x="1222" y="1054"/>
                    </a:lnTo>
                    <a:lnTo>
                      <a:pt x="1222" y="1053"/>
                    </a:lnTo>
                    <a:lnTo>
                      <a:pt x="1224" y="1053"/>
                    </a:lnTo>
                    <a:lnTo>
                      <a:pt x="1225" y="1051"/>
                    </a:lnTo>
                    <a:close/>
                    <a:moveTo>
                      <a:pt x="1203" y="1422"/>
                    </a:moveTo>
                    <a:lnTo>
                      <a:pt x="1205" y="1422"/>
                    </a:lnTo>
                    <a:lnTo>
                      <a:pt x="1205" y="1424"/>
                    </a:lnTo>
                    <a:lnTo>
                      <a:pt x="1205" y="1425"/>
                    </a:lnTo>
                    <a:lnTo>
                      <a:pt x="1205" y="1427"/>
                    </a:lnTo>
                    <a:lnTo>
                      <a:pt x="1205" y="1429"/>
                    </a:lnTo>
                    <a:lnTo>
                      <a:pt x="1205" y="1427"/>
                    </a:lnTo>
                    <a:lnTo>
                      <a:pt x="1203" y="1427"/>
                    </a:lnTo>
                    <a:lnTo>
                      <a:pt x="1202" y="1427"/>
                    </a:lnTo>
                    <a:lnTo>
                      <a:pt x="1200" y="1427"/>
                    </a:lnTo>
                    <a:lnTo>
                      <a:pt x="1200" y="1425"/>
                    </a:lnTo>
                    <a:lnTo>
                      <a:pt x="1202" y="1425"/>
                    </a:lnTo>
                    <a:lnTo>
                      <a:pt x="1203" y="1425"/>
                    </a:lnTo>
                    <a:lnTo>
                      <a:pt x="1203" y="1424"/>
                    </a:lnTo>
                    <a:lnTo>
                      <a:pt x="1202" y="1425"/>
                    </a:lnTo>
                    <a:lnTo>
                      <a:pt x="1200" y="1425"/>
                    </a:lnTo>
                    <a:lnTo>
                      <a:pt x="1200" y="1424"/>
                    </a:lnTo>
                    <a:lnTo>
                      <a:pt x="1200" y="1422"/>
                    </a:lnTo>
                    <a:lnTo>
                      <a:pt x="1202" y="1422"/>
                    </a:lnTo>
                    <a:lnTo>
                      <a:pt x="1202" y="1420"/>
                    </a:lnTo>
                    <a:lnTo>
                      <a:pt x="1203" y="1420"/>
                    </a:lnTo>
                    <a:lnTo>
                      <a:pt x="1203" y="1422"/>
                    </a:lnTo>
                    <a:close/>
                    <a:moveTo>
                      <a:pt x="3" y="349"/>
                    </a:moveTo>
                    <a:lnTo>
                      <a:pt x="5" y="349"/>
                    </a:lnTo>
                    <a:lnTo>
                      <a:pt x="5" y="350"/>
                    </a:lnTo>
                    <a:lnTo>
                      <a:pt x="7" y="350"/>
                    </a:lnTo>
                    <a:lnTo>
                      <a:pt x="7" y="352"/>
                    </a:lnTo>
                    <a:lnTo>
                      <a:pt x="5" y="352"/>
                    </a:lnTo>
                    <a:lnTo>
                      <a:pt x="3" y="352"/>
                    </a:lnTo>
                    <a:lnTo>
                      <a:pt x="3" y="354"/>
                    </a:lnTo>
                    <a:lnTo>
                      <a:pt x="1" y="354"/>
                    </a:lnTo>
                    <a:lnTo>
                      <a:pt x="0" y="354"/>
                    </a:lnTo>
                    <a:lnTo>
                      <a:pt x="0" y="352"/>
                    </a:lnTo>
                    <a:lnTo>
                      <a:pt x="1" y="352"/>
                    </a:lnTo>
                    <a:lnTo>
                      <a:pt x="1" y="350"/>
                    </a:lnTo>
                    <a:lnTo>
                      <a:pt x="1" y="349"/>
                    </a:lnTo>
                    <a:lnTo>
                      <a:pt x="3" y="349"/>
                    </a:lnTo>
                    <a:close/>
                    <a:moveTo>
                      <a:pt x="1208" y="1054"/>
                    </a:moveTo>
                    <a:lnTo>
                      <a:pt x="1208" y="1056"/>
                    </a:lnTo>
                    <a:lnTo>
                      <a:pt x="1210" y="1056"/>
                    </a:lnTo>
                    <a:lnTo>
                      <a:pt x="1210" y="1058"/>
                    </a:lnTo>
                    <a:lnTo>
                      <a:pt x="1208" y="1058"/>
                    </a:lnTo>
                    <a:lnTo>
                      <a:pt x="1208" y="1060"/>
                    </a:lnTo>
                    <a:lnTo>
                      <a:pt x="1210" y="1060"/>
                    </a:lnTo>
                    <a:lnTo>
                      <a:pt x="1210" y="1061"/>
                    </a:lnTo>
                    <a:lnTo>
                      <a:pt x="1210" y="1063"/>
                    </a:lnTo>
                    <a:lnTo>
                      <a:pt x="1208" y="1063"/>
                    </a:lnTo>
                    <a:lnTo>
                      <a:pt x="1208" y="1061"/>
                    </a:lnTo>
                    <a:lnTo>
                      <a:pt x="1208" y="1060"/>
                    </a:lnTo>
                    <a:lnTo>
                      <a:pt x="1208" y="1061"/>
                    </a:lnTo>
                    <a:lnTo>
                      <a:pt x="1208" y="1060"/>
                    </a:lnTo>
                    <a:lnTo>
                      <a:pt x="1207" y="1060"/>
                    </a:lnTo>
                    <a:lnTo>
                      <a:pt x="1207" y="1058"/>
                    </a:lnTo>
                    <a:lnTo>
                      <a:pt x="1205" y="1058"/>
                    </a:lnTo>
                    <a:lnTo>
                      <a:pt x="1205" y="1056"/>
                    </a:lnTo>
                    <a:lnTo>
                      <a:pt x="1207" y="1054"/>
                    </a:lnTo>
                    <a:lnTo>
                      <a:pt x="1208" y="1054"/>
                    </a:lnTo>
                    <a:close/>
                    <a:moveTo>
                      <a:pt x="1321" y="1577"/>
                    </a:moveTo>
                    <a:lnTo>
                      <a:pt x="1322" y="1578"/>
                    </a:lnTo>
                    <a:lnTo>
                      <a:pt x="1321" y="1580"/>
                    </a:lnTo>
                    <a:lnTo>
                      <a:pt x="1321" y="1582"/>
                    </a:lnTo>
                    <a:lnTo>
                      <a:pt x="1321" y="1583"/>
                    </a:lnTo>
                    <a:lnTo>
                      <a:pt x="1319" y="1583"/>
                    </a:lnTo>
                    <a:lnTo>
                      <a:pt x="1317" y="1582"/>
                    </a:lnTo>
                    <a:lnTo>
                      <a:pt x="1315" y="1582"/>
                    </a:lnTo>
                    <a:lnTo>
                      <a:pt x="1315" y="1580"/>
                    </a:lnTo>
                    <a:lnTo>
                      <a:pt x="1314" y="1578"/>
                    </a:lnTo>
                    <a:lnTo>
                      <a:pt x="1315" y="1578"/>
                    </a:lnTo>
                    <a:lnTo>
                      <a:pt x="1317" y="1578"/>
                    </a:lnTo>
                    <a:lnTo>
                      <a:pt x="1319" y="1578"/>
                    </a:lnTo>
                    <a:lnTo>
                      <a:pt x="1321" y="1577"/>
                    </a:lnTo>
                    <a:close/>
                    <a:moveTo>
                      <a:pt x="1164" y="1282"/>
                    </a:moveTo>
                    <a:lnTo>
                      <a:pt x="1164" y="1284"/>
                    </a:lnTo>
                    <a:lnTo>
                      <a:pt x="1166" y="1284"/>
                    </a:lnTo>
                    <a:lnTo>
                      <a:pt x="1168" y="1284"/>
                    </a:lnTo>
                    <a:lnTo>
                      <a:pt x="1169" y="1284"/>
                    </a:lnTo>
                    <a:lnTo>
                      <a:pt x="1171" y="1284"/>
                    </a:lnTo>
                    <a:lnTo>
                      <a:pt x="1171" y="1286"/>
                    </a:lnTo>
                    <a:lnTo>
                      <a:pt x="1169" y="1286"/>
                    </a:lnTo>
                    <a:lnTo>
                      <a:pt x="1168" y="1286"/>
                    </a:lnTo>
                    <a:lnTo>
                      <a:pt x="1168" y="1288"/>
                    </a:lnTo>
                    <a:lnTo>
                      <a:pt x="1166" y="1288"/>
                    </a:lnTo>
                    <a:lnTo>
                      <a:pt x="1166" y="1289"/>
                    </a:lnTo>
                    <a:lnTo>
                      <a:pt x="1164" y="1289"/>
                    </a:lnTo>
                    <a:lnTo>
                      <a:pt x="1162" y="1289"/>
                    </a:lnTo>
                    <a:lnTo>
                      <a:pt x="1162" y="1288"/>
                    </a:lnTo>
                    <a:lnTo>
                      <a:pt x="1164" y="1288"/>
                    </a:lnTo>
                    <a:lnTo>
                      <a:pt x="1164" y="1286"/>
                    </a:lnTo>
                    <a:lnTo>
                      <a:pt x="1166" y="1286"/>
                    </a:lnTo>
                    <a:lnTo>
                      <a:pt x="1166" y="1288"/>
                    </a:lnTo>
                    <a:lnTo>
                      <a:pt x="1166" y="1286"/>
                    </a:lnTo>
                    <a:lnTo>
                      <a:pt x="1168" y="1288"/>
                    </a:lnTo>
                    <a:lnTo>
                      <a:pt x="1168" y="1286"/>
                    </a:lnTo>
                    <a:lnTo>
                      <a:pt x="1166" y="1286"/>
                    </a:lnTo>
                    <a:lnTo>
                      <a:pt x="1164" y="1286"/>
                    </a:lnTo>
                    <a:lnTo>
                      <a:pt x="1164" y="1284"/>
                    </a:lnTo>
                    <a:lnTo>
                      <a:pt x="1164" y="1282"/>
                    </a:lnTo>
                    <a:close/>
                    <a:moveTo>
                      <a:pt x="1222" y="1563"/>
                    </a:moveTo>
                    <a:lnTo>
                      <a:pt x="1224" y="1563"/>
                    </a:lnTo>
                    <a:lnTo>
                      <a:pt x="1225" y="1563"/>
                    </a:lnTo>
                    <a:lnTo>
                      <a:pt x="1227" y="1563"/>
                    </a:lnTo>
                    <a:lnTo>
                      <a:pt x="1227" y="1565"/>
                    </a:lnTo>
                    <a:lnTo>
                      <a:pt x="1227" y="1566"/>
                    </a:lnTo>
                    <a:lnTo>
                      <a:pt x="1227" y="1568"/>
                    </a:lnTo>
                    <a:lnTo>
                      <a:pt x="1227" y="1566"/>
                    </a:lnTo>
                    <a:lnTo>
                      <a:pt x="1225" y="1568"/>
                    </a:lnTo>
                    <a:lnTo>
                      <a:pt x="1224" y="1568"/>
                    </a:lnTo>
                    <a:lnTo>
                      <a:pt x="1224" y="1570"/>
                    </a:lnTo>
                    <a:lnTo>
                      <a:pt x="1225" y="1568"/>
                    </a:lnTo>
                    <a:lnTo>
                      <a:pt x="1225" y="1570"/>
                    </a:lnTo>
                    <a:lnTo>
                      <a:pt x="1224" y="1570"/>
                    </a:lnTo>
                    <a:lnTo>
                      <a:pt x="1222" y="1568"/>
                    </a:lnTo>
                    <a:lnTo>
                      <a:pt x="1224" y="1568"/>
                    </a:lnTo>
                    <a:lnTo>
                      <a:pt x="1222" y="1568"/>
                    </a:lnTo>
                    <a:lnTo>
                      <a:pt x="1222" y="1566"/>
                    </a:lnTo>
                    <a:lnTo>
                      <a:pt x="1224" y="1568"/>
                    </a:lnTo>
                    <a:lnTo>
                      <a:pt x="1224" y="1566"/>
                    </a:lnTo>
                    <a:lnTo>
                      <a:pt x="1224" y="1565"/>
                    </a:lnTo>
                    <a:lnTo>
                      <a:pt x="1224" y="1566"/>
                    </a:lnTo>
                    <a:lnTo>
                      <a:pt x="1222" y="1566"/>
                    </a:lnTo>
                    <a:lnTo>
                      <a:pt x="1224" y="1565"/>
                    </a:lnTo>
                    <a:lnTo>
                      <a:pt x="1222" y="1566"/>
                    </a:lnTo>
                    <a:lnTo>
                      <a:pt x="1220" y="1566"/>
                    </a:lnTo>
                    <a:lnTo>
                      <a:pt x="1220" y="1565"/>
                    </a:lnTo>
                    <a:lnTo>
                      <a:pt x="1220" y="1566"/>
                    </a:lnTo>
                    <a:lnTo>
                      <a:pt x="1220" y="1565"/>
                    </a:lnTo>
                    <a:lnTo>
                      <a:pt x="1222" y="1565"/>
                    </a:lnTo>
                    <a:lnTo>
                      <a:pt x="1224" y="1565"/>
                    </a:lnTo>
                    <a:lnTo>
                      <a:pt x="1222" y="1565"/>
                    </a:lnTo>
                    <a:lnTo>
                      <a:pt x="1220" y="1565"/>
                    </a:lnTo>
                    <a:lnTo>
                      <a:pt x="1222" y="1563"/>
                    </a:lnTo>
                    <a:lnTo>
                      <a:pt x="1220" y="1565"/>
                    </a:lnTo>
                    <a:lnTo>
                      <a:pt x="1220" y="1563"/>
                    </a:lnTo>
                    <a:lnTo>
                      <a:pt x="1222" y="1563"/>
                    </a:lnTo>
                    <a:close/>
                    <a:moveTo>
                      <a:pt x="1186" y="1202"/>
                    </a:moveTo>
                    <a:lnTo>
                      <a:pt x="1188" y="1204"/>
                    </a:lnTo>
                    <a:lnTo>
                      <a:pt x="1186" y="1206"/>
                    </a:lnTo>
                    <a:lnTo>
                      <a:pt x="1185" y="1208"/>
                    </a:lnTo>
                    <a:lnTo>
                      <a:pt x="1183" y="1208"/>
                    </a:lnTo>
                    <a:lnTo>
                      <a:pt x="1183" y="1209"/>
                    </a:lnTo>
                    <a:lnTo>
                      <a:pt x="1181" y="1209"/>
                    </a:lnTo>
                    <a:lnTo>
                      <a:pt x="1181" y="1208"/>
                    </a:lnTo>
                    <a:lnTo>
                      <a:pt x="1181" y="1206"/>
                    </a:lnTo>
                    <a:lnTo>
                      <a:pt x="1181" y="1204"/>
                    </a:lnTo>
                    <a:lnTo>
                      <a:pt x="1183" y="1204"/>
                    </a:lnTo>
                    <a:lnTo>
                      <a:pt x="1185" y="1204"/>
                    </a:lnTo>
                    <a:lnTo>
                      <a:pt x="1185" y="1202"/>
                    </a:lnTo>
                    <a:lnTo>
                      <a:pt x="1186" y="1202"/>
                    </a:lnTo>
                    <a:close/>
                    <a:moveTo>
                      <a:pt x="1210" y="983"/>
                    </a:moveTo>
                    <a:lnTo>
                      <a:pt x="1212" y="983"/>
                    </a:lnTo>
                    <a:lnTo>
                      <a:pt x="1213" y="983"/>
                    </a:lnTo>
                    <a:lnTo>
                      <a:pt x="1212" y="983"/>
                    </a:lnTo>
                    <a:lnTo>
                      <a:pt x="1212" y="985"/>
                    </a:lnTo>
                    <a:lnTo>
                      <a:pt x="1213" y="985"/>
                    </a:lnTo>
                    <a:lnTo>
                      <a:pt x="1213" y="986"/>
                    </a:lnTo>
                    <a:lnTo>
                      <a:pt x="1215" y="986"/>
                    </a:lnTo>
                    <a:lnTo>
                      <a:pt x="1215" y="988"/>
                    </a:lnTo>
                    <a:lnTo>
                      <a:pt x="1217" y="988"/>
                    </a:lnTo>
                    <a:lnTo>
                      <a:pt x="1217" y="990"/>
                    </a:lnTo>
                    <a:lnTo>
                      <a:pt x="1217" y="992"/>
                    </a:lnTo>
                    <a:lnTo>
                      <a:pt x="1215" y="992"/>
                    </a:lnTo>
                    <a:lnTo>
                      <a:pt x="1215" y="990"/>
                    </a:lnTo>
                    <a:lnTo>
                      <a:pt x="1217" y="990"/>
                    </a:lnTo>
                    <a:lnTo>
                      <a:pt x="1215" y="990"/>
                    </a:lnTo>
                    <a:lnTo>
                      <a:pt x="1215" y="988"/>
                    </a:lnTo>
                    <a:lnTo>
                      <a:pt x="1213" y="988"/>
                    </a:lnTo>
                    <a:lnTo>
                      <a:pt x="1212" y="986"/>
                    </a:lnTo>
                    <a:lnTo>
                      <a:pt x="1210" y="986"/>
                    </a:lnTo>
                    <a:lnTo>
                      <a:pt x="1208" y="986"/>
                    </a:lnTo>
                    <a:lnTo>
                      <a:pt x="1208" y="985"/>
                    </a:lnTo>
                    <a:lnTo>
                      <a:pt x="1210" y="985"/>
                    </a:lnTo>
                    <a:lnTo>
                      <a:pt x="1208" y="985"/>
                    </a:lnTo>
                    <a:lnTo>
                      <a:pt x="1208" y="983"/>
                    </a:lnTo>
                    <a:lnTo>
                      <a:pt x="1210" y="981"/>
                    </a:lnTo>
                    <a:lnTo>
                      <a:pt x="1210" y="983"/>
                    </a:lnTo>
                    <a:close/>
                    <a:moveTo>
                      <a:pt x="1176" y="1087"/>
                    </a:moveTo>
                    <a:lnTo>
                      <a:pt x="1178" y="1087"/>
                    </a:lnTo>
                    <a:lnTo>
                      <a:pt x="1178" y="1085"/>
                    </a:lnTo>
                    <a:lnTo>
                      <a:pt x="1178" y="1087"/>
                    </a:lnTo>
                    <a:lnTo>
                      <a:pt x="1179" y="1087"/>
                    </a:lnTo>
                    <a:lnTo>
                      <a:pt x="1181" y="1087"/>
                    </a:lnTo>
                    <a:lnTo>
                      <a:pt x="1181" y="1088"/>
                    </a:lnTo>
                    <a:lnTo>
                      <a:pt x="1181" y="1090"/>
                    </a:lnTo>
                    <a:lnTo>
                      <a:pt x="1179" y="1090"/>
                    </a:lnTo>
                    <a:lnTo>
                      <a:pt x="1178" y="1090"/>
                    </a:lnTo>
                    <a:lnTo>
                      <a:pt x="1176" y="1088"/>
                    </a:lnTo>
                    <a:lnTo>
                      <a:pt x="1176" y="1090"/>
                    </a:lnTo>
                    <a:lnTo>
                      <a:pt x="1174" y="1088"/>
                    </a:lnTo>
                    <a:lnTo>
                      <a:pt x="1173" y="1088"/>
                    </a:lnTo>
                    <a:lnTo>
                      <a:pt x="1174" y="1088"/>
                    </a:lnTo>
                    <a:lnTo>
                      <a:pt x="1174" y="1087"/>
                    </a:lnTo>
                    <a:lnTo>
                      <a:pt x="1176" y="1087"/>
                    </a:lnTo>
                    <a:lnTo>
                      <a:pt x="1176" y="1085"/>
                    </a:lnTo>
                    <a:lnTo>
                      <a:pt x="1176" y="1087"/>
                    </a:lnTo>
                    <a:close/>
                    <a:moveTo>
                      <a:pt x="1195" y="1071"/>
                    </a:moveTo>
                    <a:lnTo>
                      <a:pt x="1196" y="1073"/>
                    </a:lnTo>
                    <a:lnTo>
                      <a:pt x="1198" y="1073"/>
                    </a:lnTo>
                    <a:lnTo>
                      <a:pt x="1200" y="1073"/>
                    </a:lnTo>
                    <a:lnTo>
                      <a:pt x="1200" y="1075"/>
                    </a:lnTo>
                    <a:lnTo>
                      <a:pt x="1200" y="1077"/>
                    </a:lnTo>
                    <a:lnTo>
                      <a:pt x="1200" y="1078"/>
                    </a:lnTo>
                    <a:lnTo>
                      <a:pt x="1198" y="1078"/>
                    </a:lnTo>
                    <a:lnTo>
                      <a:pt x="1198" y="1077"/>
                    </a:lnTo>
                    <a:lnTo>
                      <a:pt x="1196" y="1077"/>
                    </a:lnTo>
                    <a:lnTo>
                      <a:pt x="1195" y="1077"/>
                    </a:lnTo>
                    <a:lnTo>
                      <a:pt x="1195" y="1075"/>
                    </a:lnTo>
                    <a:lnTo>
                      <a:pt x="1193" y="1073"/>
                    </a:lnTo>
                    <a:lnTo>
                      <a:pt x="1193" y="1071"/>
                    </a:lnTo>
                    <a:lnTo>
                      <a:pt x="1195" y="1071"/>
                    </a:lnTo>
                    <a:close/>
                    <a:moveTo>
                      <a:pt x="1185" y="1107"/>
                    </a:moveTo>
                    <a:lnTo>
                      <a:pt x="1186" y="1107"/>
                    </a:lnTo>
                    <a:lnTo>
                      <a:pt x="1186" y="1109"/>
                    </a:lnTo>
                    <a:lnTo>
                      <a:pt x="1188" y="1109"/>
                    </a:lnTo>
                    <a:lnTo>
                      <a:pt x="1188" y="1111"/>
                    </a:lnTo>
                    <a:lnTo>
                      <a:pt x="1188" y="1112"/>
                    </a:lnTo>
                    <a:lnTo>
                      <a:pt x="1186" y="1112"/>
                    </a:lnTo>
                    <a:lnTo>
                      <a:pt x="1186" y="1111"/>
                    </a:lnTo>
                    <a:lnTo>
                      <a:pt x="1186" y="1112"/>
                    </a:lnTo>
                    <a:lnTo>
                      <a:pt x="1185" y="1111"/>
                    </a:lnTo>
                    <a:lnTo>
                      <a:pt x="1185" y="1112"/>
                    </a:lnTo>
                    <a:lnTo>
                      <a:pt x="1185" y="1111"/>
                    </a:lnTo>
                    <a:lnTo>
                      <a:pt x="1183" y="1111"/>
                    </a:lnTo>
                    <a:lnTo>
                      <a:pt x="1183" y="1109"/>
                    </a:lnTo>
                    <a:lnTo>
                      <a:pt x="1183" y="1107"/>
                    </a:lnTo>
                    <a:lnTo>
                      <a:pt x="1183" y="1105"/>
                    </a:lnTo>
                    <a:lnTo>
                      <a:pt x="1185" y="1107"/>
                    </a:lnTo>
                    <a:close/>
                    <a:moveTo>
                      <a:pt x="1188" y="1138"/>
                    </a:moveTo>
                    <a:lnTo>
                      <a:pt x="1190" y="1140"/>
                    </a:lnTo>
                    <a:lnTo>
                      <a:pt x="1188" y="1140"/>
                    </a:lnTo>
                    <a:lnTo>
                      <a:pt x="1188" y="1141"/>
                    </a:lnTo>
                    <a:lnTo>
                      <a:pt x="1186" y="1141"/>
                    </a:lnTo>
                    <a:lnTo>
                      <a:pt x="1188" y="1141"/>
                    </a:lnTo>
                    <a:lnTo>
                      <a:pt x="1190" y="1141"/>
                    </a:lnTo>
                    <a:lnTo>
                      <a:pt x="1190" y="1140"/>
                    </a:lnTo>
                    <a:lnTo>
                      <a:pt x="1191" y="1140"/>
                    </a:lnTo>
                    <a:lnTo>
                      <a:pt x="1191" y="1141"/>
                    </a:lnTo>
                    <a:lnTo>
                      <a:pt x="1191" y="1140"/>
                    </a:lnTo>
                    <a:lnTo>
                      <a:pt x="1191" y="1141"/>
                    </a:lnTo>
                    <a:lnTo>
                      <a:pt x="1193" y="1141"/>
                    </a:lnTo>
                    <a:lnTo>
                      <a:pt x="1191" y="1141"/>
                    </a:lnTo>
                    <a:lnTo>
                      <a:pt x="1193" y="1143"/>
                    </a:lnTo>
                    <a:lnTo>
                      <a:pt x="1191" y="1143"/>
                    </a:lnTo>
                    <a:lnTo>
                      <a:pt x="1190" y="1143"/>
                    </a:lnTo>
                    <a:lnTo>
                      <a:pt x="1188" y="1143"/>
                    </a:lnTo>
                    <a:lnTo>
                      <a:pt x="1188" y="1145"/>
                    </a:lnTo>
                    <a:lnTo>
                      <a:pt x="1186" y="1143"/>
                    </a:lnTo>
                    <a:lnTo>
                      <a:pt x="1186" y="1141"/>
                    </a:lnTo>
                    <a:lnTo>
                      <a:pt x="1185" y="1141"/>
                    </a:lnTo>
                    <a:lnTo>
                      <a:pt x="1186" y="1140"/>
                    </a:lnTo>
                    <a:lnTo>
                      <a:pt x="1186" y="1138"/>
                    </a:lnTo>
                    <a:lnTo>
                      <a:pt x="1188" y="1138"/>
                    </a:lnTo>
                    <a:close/>
                    <a:moveTo>
                      <a:pt x="1162" y="1390"/>
                    </a:moveTo>
                    <a:lnTo>
                      <a:pt x="1164" y="1391"/>
                    </a:lnTo>
                    <a:lnTo>
                      <a:pt x="1162" y="1391"/>
                    </a:lnTo>
                    <a:lnTo>
                      <a:pt x="1164" y="1393"/>
                    </a:lnTo>
                    <a:lnTo>
                      <a:pt x="1162" y="1393"/>
                    </a:lnTo>
                    <a:lnTo>
                      <a:pt x="1164" y="1395"/>
                    </a:lnTo>
                    <a:lnTo>
                      <a:pt x="1162" y="1395"/>
                    </a:lnTo>
                    <a:lnTo>
                      <a:pt x="1164" y="1395"/>
                    </a:lnTo>
                    <a:lnTo>
                      <a:pt x="1162" y="1395"/>
                    </a:lnTo>
                    <a:lnTo>
                      <a:pt x="1164" y="1396"/>
                    </a:lnTo>
                    <a:lnTo>
                      <a:pt x="1162" y="1396"/>
                    </a:lnTo>
                    <a:lnTo>
                      <a:pt x="1164" y="1396"/>
                    </a:lnTo>
                    <a:lnTo>
                      <a:pt x="1162" y="1398"/>
                    </a:lnTo>
                    <a:lnTo>
                      <a:pt x="1162" y="1396"/>
                    </a:lnTo>
                    <a:lnTo>
                      <a:pt x="1161" y="1396"/>
                    </a:lnTo>
                    <a:lnTo>
                      <a:pt x="1161" y="1395"/>
                    </a:lnTo>
                    <a:lnTo>
                      <a:pt x="1159" y="1393"/>
                    </a:lnTo>
                    <a:lnTo>
                      <a:pt x="1161" y="1391"/>
                    </a:lnTo>
                    <a:lnTo>
                      <a:pt x="1161" y="1393"/>
                    </a:lnTo>
                    <a:lnTo>
                      <a:pt x="1161" y="1391"/>
                    </a:lnTo>
                    <a:lnTo>
                      <a:pt x="1161" y="1390"/>
                    </a:lnTo>
                    <a:lnTo>
                      <a:pt x="1162" y="1390"/>
                    </a:lnTo>
                    <a:lnTo>
                      <a:pt x="1162" y="1388"/>
                    </a:lnTo>
                    <a:lnTo>
                      <a:pt x="1162" y="1390"/>
                    </a:lnTo>
                    <a:lnTo>
                      <a:pt x="1162" y="1391"/>
                    </a:lnTo>
                    <a:lnTo>
                      <a:pt x="1162" y="1390"/>
                    </a:lnTo>
                    <a:lnTo>
                      <a:pt x="1164" y="1388"/>
                    </a:lnTo>
                    <a:lnTo>
                      <a:pt x="1164" y="1390"/>
                    </a:lnTo>
                    <a:lnTo>
                      <a:pt x="1162" y="1390"/>
                    </a:lnTo>
                    <a:close/>
                    <a:moveTo>
                      <a:pt x="1431" y="1631"/>
                    </a:moveTo>
                    <a:lnTo>
                      <a:pt x="1433" y="1633"/>
                    </a:lnTo>
                    <a:lnTo>
                      <a:pt x="1434" y="1633"/>
                    </a:lnTo>
                    <a:lnTo>
                      <a:pt x="1436" y="1633"/>
                    </a:lnTo>
                    <a:lnTo>
                      <a:pt x="1436" y="1635"/>
                    </a:lnTo>
                    <a:lnTo>
                      <a:pt x="1438" y="1635"/>
                    </a:lnTo>
                    <a:lnTo>
                      <a:pt x="1438" y="1636"/>
                    </a:lnTo>
                    <a:lnTo>
                      <a:pt x="1438" y="1638"/>
                    </a:lnTo>
                    <a:lnTo>
                      <a:pt x="1440" y="1640"/>
                    </a:lnTo>
                    <a:lnTo>
                      <a:pt x="1438" y="1640"/>
                    </a:lnTo>
                    <a:lnTo>
                      <a:pt x="1436" y="1638"/>
                    </a:lnTo>
                    <a:lnTo>
                      <a:pt x="1434" y="1636"/>
                    </a:lnTo>
                    <a:lnTo>
                      <a:pt x="1433" y="1635"/>
                    </a:lnTo>
                    <a:lnTo>
                      <a:pt x="1431" y="1635"/>
                    </a:lnTo>
                    <a:lnTo>
                      <a:pt x="1431" y="1633"/>
                    </a:lnTo>
                    <a:lnTo>
                      <a:pt x="1431" y="1631"/>
                    </a:lnTo>
                    <a:close/>
                    <a:moveTo>
                      <a:pt x="1196" y="1094"/>
                    </a:moveTo>
                    <a:lnTo>
                      <a:pt x="1198" y="1094"/>
                    </a:lnTo>
                    <a:lnTo>
                      <a:pt x="1198" y="1095"/>
                    </a:lnTo>
                    <a:lnTo>
                      <a:pt x="1198" y="1097"/>
                    </a:lnTo>
                    <a:lnTo>
                      <a:pt x="1196" y="1097"/>
                    </a:lnTo>
                    <a:lnTo>
                      <a:pt x="1198" y="1097"/>
                    </a:lnTo>
                    <a:lnTo>
                      <a:pt x="1196" y="1097"/>
                    </a:lnTo>
                    <a:lnTo>
                      <a:pt x="1195" y="1097"/>
                    </a:lnTo>
                    <a:lnTo>
                      <a:pt x="1193" y="1097"/>
                    </a:lnTo>
                    <a:lnTo>
                      <a:pt x="1191" y="1097"/>
                    </a:lnTo>
                    <a:lnTo>
                      <a:pt x="1191" y="1095"/>
                    </a:lnTo>
                    <a:lnTo>
                      <a:pt x="1190" y="1095"/>
                    </a:lnTo>
                    <a:lnTo>
                      <a:pt x="1191" y="1095"/>
                    </a:lnTo>
                    <a:lnTo>
                      <a:pt x="1193" y="1095"/>
                    </a:lnTo>
                    <a:lnTo>
                      <a:pt x="1195" y="1094"/>
                    </a:lnTo>
                    <a:lnTo>
                      <a:pt x="1196" y="1094"/>
                    </a:lnTo>
                    <a:close/>
                    <a:moveTo>
                      <a:pt x="1178" y="1468"/>
                    </a:moveTo>
                    <a:lnTo>
                      <a:pt x="1176" y="1468"/>
                    </a:lnTo>
                    <a:lnTo>
                      <a:pt x="1176" y="1470"/>
                    </a:lnTo>
                    <a:lnTo>
                      <a:pt x="1174" y="1470"/>
                    </a:lnTo>
                    <a:lnTo>
                      <a:pt x="1176" y="1470"/>
                    </a:lnTo>
                    <a:lnTo>
                      <a:pt x="1174" y="1471"/>
                    </a:lnTo>
                    <a:lnTo>
                      <a:pt x="1176" y="1471"/>
                    </a:lnTo>
                    <a:lnTo>
                      <a:pt x="1174" y="1473"/>
                    </a:lnTo>
                    <a:lnTo>
                      <a:pt x="1174" y="1471"/>
                    </a:lnTo>
                    <a:lnTo>
                      <a:pt x="1173" y="1473"/>
                    </a:lnTo>
                    <a:lnTo>
                      <a:pt x="1173" y="1471"/>
                    </a:lnTo>
                    <a:lnTo>
                      <a:pt x="1173" y="1473"/>
                    </a:lnTo>
                    <a:lnTo>
                      <a:pt x="1174" y="1473"/>
                    </a:lnTo>
                    <a:lnTo>
                      <a:pt x="1173" y="1473"/>
                    </a:lnTo>
                    <a:lnTo>
                      <a:pt x="1171" y="1475"/>
                    </a:lnTo>
                    <a:lnTo>
                      <a:pt x="1171" y="1473"/>
                    </a:lnTo>
                    <a:lnTo>
                      <a:pt x="1171" y="1471"/>
                    </a:lnTo>
                    <a:lnTo>
                      <a:pt x="1169" y="1471"/>
                    </a:lnTo>
                    <a:lnTo>
                      <a:pt x="1171" y="1471"/>
                    </a:lnTo>
                    <a:lnTo>
                      <a:pt x="1171" y="1470"/>
                    </a:lnTo>
                    <a:lnTo>
                      <a:pt x="1173" y="1470"/>
                    </a:lnTo>
                    <a:lnTo>
                      <a:pt x="1174" y="1468"/>
                    </a:lnTo>
                    <a:lnTo>
                      <a:pt x="1176" y="1468"/>
                    </a:lnTo>
                    <a:lnTo>
                      <a:pt x="1176" y="1466"/>
                    </a:lnTo>
                    <a:lnTo>
                      <a:pt x="1178" y="1468"/>
                    </a:lnTo>
                    <a:close/>
                    <a:moveTo>
                      <a:pt x="1210" y="1092"/>
                    </a:moveTo>
                    <a:lnTo>
                      <a:pt x="1210" y="1094"/>
                    </a:lnTo>
                    <a:lnTo>
                      <a:pt x="1210" y="1095"/>
                    </a:lnTo>
                    <a:lnTo>
                      <a:pt x="1210" y="1097"/>
                    </a:lnTo>
                    <a:lnTo>
                      <a:pt x="1208" y="1097"/>
                    </a:lnTo>
                    <a:lnTo>
                      <a:pt x="1207" y="1097"/>
                    </a:lnTo>
                    <a:lnTo>
                      <a:pt x="1207" y="1095"/>
                    </a:lnTo>
                    <a:lnTo>
                      <a:pt x="1205" y="1095"/>
                    </a:lnTo>
                    <a:lnTo>
                      <a:pt x="1205" y="1094"/>
                    </a:lnTo>
                    <a:lnTo>
                      <a:pt x="1205" y="1092"/>
                    </a:lnTo>
                    <a:lnTo>
                      <a:pt x="1207" y="1094"/>
                    </a:lnTo>
                    <a:lnTo>
                      <a:pt x="1207" y="1092"/>
                    </a:lnTo>
                    <a:lnTo>
                      <a:pt x="1208" y="1092"/>
                    </a:lnTo>
                    <a:lnTo>
                      <a:pt x="1210" y="1092"/>
                    </a:lnTo>
                    <a:close/>
                    <a:moveTo>
                      <a:pt x="1161" y="1235"/>
                    </a:moveTo>
                    <a:lnTo>
                      <a:pt x="1162" y="1235"/>
                    </a:lnTo>
                    <a:lnTo>
                      <a:pt x="1164" y="1235"/>
                    </a:lnTo>
                    <a:lnTo>
                      <a:pt x="1164" y="1236"/>
                    </a:lnTo>
                    <a:lnTo>
                      <a:pt x="1164" y="1238"/>
                    </a:lnTo>
                    <a:lnTo>
                      <a:pt x="1164" y="1236"/>
                    </a:lnTo>
                    <a:lnTo>
                      <a:pt x="1164" y="1235"/>
                    </a:lnTo>
                    <a:lnTo>
                      <a:pt x="1164" y="1236"/>
                    </a:lnTo>
                    <a:lnTo>
                      <a:pt x="1166" y="1236"/>
                    </a:lnTo>
                    <a:lnTo>
                      <a:pt x="1166" y="1238"/>
                    </a:lnTo>
                    <a:lnTo>
                      <a:pt x="1168" y="1238"/>
                    </a:lnTo>
                    <a:lnTo>
                      <a:pt x="1168" y="1240"/>
                    </a:lnTo>
                    <a:lnTo>
                      <a:pt x="1166" y="1240"/>
                    </a:lnTo>
                    <a:lnTo>
                      <a:pt x="1166" y="1238"/>
                    </a:lnTo>
                    <a:lnTo>
                      <a:pt x="1166" y="1240"/>
                    </a:lnTo>
                    <a:lnTo>
                      <a:pt x="1164" y="1240"/>
                    </a:lnTo>
                    <a:lnTo>
                      <a:pt x="1162" y="1240"/>
                    </a:lnTo>
                    <a:lnTo>
                      <a:pt x="1162" y="1238"/>
                    </a:lnTo>
                    <a:lnTo>
                      <a:pt x="1161" y="1238"/>
                    </a:lnTo>
                    <a:lnTo>
                      <a:pt x="1161" y="1236"/>
                    </a:lnTo>
                    <a:lnTo>
                      <a:pt x="1161" y="1235"/>
                    </a:lnTo>
                    <a:close/>
                    <a:moveTo>
                      <a:pt x="1249" y="1592"/>
                    </a:moveTo>
                    <a:lnTo>
                      <a:pt x="1251" y="1592"/>
                    </a:lnTo>
                    <a:lnTo>
                      <a:pt x="1251" y="1594"/>
                    </a:lnTo>
                    <a:lnTo>
                      <a:pt x="1253" y="1594"/>
                    </a:lnTo>
                    <a:lnTo>
                      <a:pt x="1254" y="1594"/>
                    </a:lnTo>
                    <a:lnTo>
                      <a:pt x="1253" y="1594"/>
                    </a:lnTo>
                    <a:lnTo>
                      <a:pt x="1253" y="1595"/>
                    </a:lnTo>
                    <a:lnTo>
                      <a:pt x="1251" y="1594"/>
                    </a:lnTo>
                    <a:lnTo>
                      <a:pt x="1251" y="1595"/>
                    </a:lnTo>
                    <a:lnTo>
                      <a:pt x="1253" y="1595"/>
                    </a:lnTo>
                    <a:lnTo>
                      <a:pt x="1253" y="1597"/>
                    </a:lnTo>
                    <a:lnTo>
                      <a:pt x="1251" y="1597"/>
                    </a:lnTo>
                    <a:lnTo>
                      <a:pt x="1251" y="1595"/>
                    </a:lnTo>
                    <a:lnTo>
                      <a:pt x="1249" y="1595"/>
                    </a:lnTo>
                    <a:lnTo>
                      <a:pt x="1249" y="1597"/>
                    </a:lnTo>
                    <a:lnTo>
                      <a:pt x="1249" y="1599"/>
                    </a:lnTo>
                    <a:lnTo>
                      <a:pt x="1247" y="1600"/>
                    </a:lnTo>
                    <a:lnTo>
                      <a:pt x="1247" y="1599"/>
                    </a:lnTo>
                    <a:lnTo>
                      <a:pt x="1247" y="1597"/>
                    </a:lnTo>
                    <a:lnTo>
                      <a:pt x="1246" y="1597"/>
                    </a:lnTo>
                    <a:lnTo>
                      <a:pt x="1246" y="1595"/>
                    </a:lnTo>
                    <a:lnTo>
                      <a:pt x="1246" y="1594"/>
                    </a:lnTo>
                    <a:lnTo>
                      <a:pt x="1247" y="1595"/>
                    </a:lnTo>
                    <a:lnTo>
                      <a:pt x="1246" y="1594"/>
                    </a:lnTo>
                    <a:lnTo>
                      <a:pt x="1247" y="1594"/>
                    </a:lnTo>
                    <a:lnTo>
                      <a:pt x="1249" y="1594"/>
                    </a:lnTo>
                    <a:lnTo>
                      <a:pt x="1249" y="1592"/>
                    </a:lnTo>
                    <a:close/>
                    <a:moveTo>
                      <a:pt x="1198" y="1061"/>
                    </a:moveTo>
                    <a:lnTo>
                      <a:pt x="1200" y="1061"/>
                    </a:lnTo>
                    <a:lnTo>
                      <a:pt x="1200" y="1063"/>
                    </a:lnTo>
                    <a:lnTo>
                      <a:pt x="1202" y="1063"/>
                    </a:lnTo>
                    <a:lnTo>
                      <a:pt x="1200" y="1065"/>
                    </a:lnTo>
                    <a:lnTo>
                      <a:pt x="1202" y="1065"/>
                    </a:lnTo>
                    <a:lnTo>
                      <a:pt x="1203" y="1066"/>
                    </a:lnTo>
                    <a:lnTo>
                      <a:pt x="1202" y="1065"/>
                    </a:lnTo>
                    <a:lnTo>
                      <a:pt x="1203" y="1065"/>
                    </a:lnTo>
                    <a:lnTo>
                      <a:pt x="1203" y="1066"/>
                    </a:lnTo>
                    <a:lnTo>
                      <a:pt x="1202" y="1066"/>
                    </a:lnTo>
                    <a:lnTo>
                      <a:pt x="1200" y="1066"/>
                    </a:lnTo>
                    <a:lnTo>
                      <a:pt x="1198" y="1066"/>
                    </a:lnTo>
                    <a:lnTo>
                      <a:pt x="1196" y="1065"/>
                    </a:lnTo>
                    <a:lnTo>
                      <a:pt x="1196" y="1063"/>
                    </a:lnTo>
                    <a:lnTo>
                      <a:pt x="1198" y="1063"/>
                    </a:lnTo>
                    <a:lnTo>
                      <a:pt x="1198" y="1061"/>
                    </a:lnTo>
                    <a:close/>
                    <a:moveTo>
                      <a:pt x="1198" y="1442"/>
                    </a:moveTo>
                    <a:lnTo>
                      <a:pt x="1200" y="1442"/>
                    </a:lnTo>
                    <a:lnTo>
                      <a:pt x="1200" y="1444"/>
                    </a:lnTo>
                    <a:lnTo>
                      <a:pt x="1200" y="1446"/>
                    </a:lnTo>
                    <a:lnTo>
                      <a:pt x="1202" y="1444"/>
                    </a:lnTo>
                    <a:lnTo>
                      <a:pt x="1202" y="1446"/>
                    </a:lnTo>
                    <a:lnTo>
                      <a:pt x="1202" y="1447"/>
                    </a:lnTo>
                    <a:lnTo>
                      <a:pt x="1202" y="1449"/>
                    </a:lnTo>
                    <a:lnTo>
                      <a:pt x="1202" y="1447"/>
                    </a:lnTo>
                    <a:lnTo>
                      <a:pt x="1203" y="1447"/>
                    </a:lnTo>
                    <a:lnTo>
                      <a:pt x="1202" y="1447"/>
                    </a:lnTo>
                    <a:lnTo>
                      <a:pt x="1203" y="1446"/>
                    </a:lnTo>
                    <a:lnTo>
                      <a:pt x="1203" y="1447"/>
                    </a:lnTo>
                    <a:lnTo>
                      <a:pt x="1205" y="1449"/>
                    </a:lnTo>
                    <a:lnTo>
                      <a:pt x="1205" y="1451"/>
                    </a:lnTo>
                    <a:lnTo>
                      <a:pt x="1203" y="1449"/>
                    </a:lnTo>
                    <a:lnTo>
                      <a:pt x="1203" y="1451"/>
                    </a:lnTo>
                    <a:lnTo>
                      <a:pt x="1203" y="1453"/>
                    </a:lnTo>
                    <a:lnTo>
                      <a:pt x="1202" y="1451"/>
                    </a:lnTo>
                    <a:lnTo>
                      <a:pt x="1202" y="1449"/>
                    </a:lnTo>
                    <a:lnTo>
                      <a:pt x="1200" y="1449"/>
                    </a:lnTo>
                    <a:lnTo>
                      <a:pt x="1202" y="1447"/>
                    </a:lnTo>
                    <a:lnTo>
                      <a:pt x="1200" y="1449"/>
                    </a:lnTo>
                    <a:lnTo>
                      <a:pt x="1200" y="1447"/>
                    </a:lnTo>
                    <a:lnTo>
                      <a:pt x="1200" y="1446"/>
                    </a:lnTo>
                    <a:lnTo>
                      <a:pt x="1200" y="1447"/>
                    </a:lnTo>
                    <a:lnTo>
                      <a:pt x="1200" y="1446"/>
                    </a:lnTo>
                    <a:lnTo>
                      <a:pt x="1198" y="1446"/>
                    </a:lnTo>
                    <a:lnTo>
                      <a:pt x="1198" y="1444"/>
                    </a:lnTo>
                    <a:lnTo>
                      <a:pt x="1198" y="1442"/>
                    </a:lnTo>
                    <a:close/>
                    <a:moveTo>
                      <a:pt x="1263" y="1565"/>
                    </a:moveTo>
                    <a:lnTo>
                      <a:pt x="1261" y="1566"/>
                    </a:lnTo>
                    <a:lnTo>
                      <a:pt x="1261" y="1568"/>
                    </a:lnTo>
                    <a:lnTo>
                      <a:pt x="1261" y="1566"/>
                    </a:lnTo>
                    <a:lnTo>
                      <a:pt x="1261" y="1568"/>
                    </a:lnTo>
                    <a:lnTo>
                      <a:pt x="1261" y="1570"/>
                    </a:lnTo>
                    <a:lnTo>
                      <a:pt x="1259" y="1570"/>
                    </a:lnTo>
                    <a:lnTo>
                      <a:pt x="1261" y="1570"/>
                    </a:lnTo>
                    <a:lnTo>
                      <a:pt x="1261" y="1568"/>
                    </a:lnTo>
                    <a:lnTo>
                      <a:pt x="1263" y="1570"/>
                    </a:lnTo>
                    <a:lnTo>
                      <a:pt x="1261" y="1570"/>
                    </a:lnTo>
                    <a:lnTo>
                      <a:pt x="1261" y="1572"/>
                    </a:lnTo>
                    <a:lnTo>
                      <a:pt x="1261" y="1570"/>
                    </a:lnTo>
                    <a:lnTo>
                      <a:pt x="1259" y="1570"/>
                    </a:lnTo>
                    <a:lnTo>
                      <a:pt x="1259" y="1568"/>
                    </a:lnTo>
                    <a:lnTo>
                      <a:pt x="1258" y="1568"/>
                    </a:lnTo>
                    <a:lnTo>
                      <a:pt x="1256" y="1568"/>
                    </a:lnTo>
                    <a:lnTo>
                      <a:pt x="1256" y="1566"/>
                    </a:lnTo>
                    <a:lnTo>
                      <a:pt x="1258" y="1566"/>
                    </a:lnTo>
                    <a:lnTo>
                      <a:pt x="1258" y="1565"/>
                    </a:lnTo>
                    <a:lnTo>
                      <a:pt x="1259" y="1565"/>
                    </a:lnTo>
                    <a:lnTo>
                      <a:pt x="1261" y="1563"/>
                    </a:lnTo>
                    <a:lnTo>
                      <a:pt x="1263" y="1565"/>
                    </a:lnTo>
                    <a:close/>
                    <a:moveTo>
                      <a:pt x="1166" y="1413"/>
                    </a:moveTo>
                    <a:lnTo>
                      <a:pt x="1168" y="1413"/>
                    </a:lnTo>
                    <a:lnTo>
                      <a:pt x="1168" y="1415"/>
                    </a:lnTo>
                    <a:lnTo>
                      <a:pt x="1169" y="1413"/>
                    </a:lnTo>
                    <a:lnTo>
                      <a:pt x="1169" y="1415"/>
                    </a:lnTo>
                    <a:lnTo>
                      <a:pt x="1168" y="1417"/>
                    </a:lnTo>
                    <a:lnTo>
                      <a:pt x="1166" y="1417"/>
                    </a:lnTo>
                    <a:lnTo>
                      <a:pt x="1164" y="1415"/>
                    </a:lnTo>
                    <a:lnTo>
                      <a:pt x="1164" y="1417"/>
                    </a:lnTo>
                    <a:lnTo>
                      <a:pt x="1162" y="1417"/>
                    </a:lnTo>
                    <a:lnTo>
                      <a:pt x="1162" y="1415"/>
                    </a:lnTo>
                    <a:lnTo>
                      <a:pt x="1162" y="1413"/>
                    </a:lnTo>
                    <a:lnTo>
                      <a:pt x="1164" y="1413"/>
                    </a:lnTo>
                    <a:lnTo>
                      <a:pt x="1166" y="1413"/>
                    </a:lnTo>
                    <a:lnTo>
                      <a:pt x="1166" y="1415"/>
                    </a:lnTo>
                    <a:lnTo>
                      <a:pt x="1166" y="1413"/>
                    </a:lnTo>
                    <a:lnTo>
                      <a:pt x="1164" y="1413"/>
                    </a:lnTo>
                    <a:lnTo>
                      <a:pt x="1164" y="1412"/>
                    </a:lnTo>
                    <a:lnTo>
                      <a:pt x="1166" y="1413"/>
                    </a:lnTo>
                    <a:close/>
                    <a:moveTo>
                      <a:pt x="1183" y="1126"/>
                    </a:moveTo>
                    <a:lnTo>
                      <a:pt x="1181" y="1126"/>
                    </a:lnTo>
                    <a:lnTo>
                      <a:pt x="1181" y="1128"/>
                    </a:lnTo>
                    <a:lnTo>
                      <a:pt x="1181" y="1129"/>
                    </a:lnTo>
                    <a:lnTo>
                      <a:pt x="1181" y="1131"/>
                    </a:lnTo>
                    <a:lnTo>
                      <a:pt x="1181" y="1133"/>
                    </a:lnTo>
                    <a:lnTo>
                      <a:pt x="1179" y="1133"/>
                    </a:lnTo>
                    <a:lnTo>
                      <a:pt x="1179" y="1131"/>
                    </a:lnTo>
                    <a:lnTo>
                      <a:pt x="1178" y="1131"/>
                    </a:lnTo>
                    <a:lnTo>
                      <a:pt x="1178" y="1129"/>
                    </a:lnTo>
                    <a:lnTo>
                      <a:pt x="1178" y="1128"/>
                    </a:lnTo>
                    <a:lnTo>
                      <a:pt x="1179" y="1128"/>
                    </a:lnTo>
                    <a:lnTo>
                      <a:pt x="1179" y="1126"/>
                    </a:lnTo>
                    <a:lnTo>
                      <a:pt x="1181" y="1126"/>
                    </a:lnTo>
                    <a:lnTo>
                      <a:pt x="1183" y="1126"/>
                    </a:lnTo>
                    <a:close/>
                    <a:moveTo>
                      <a:pt x="1142" y="1301"/>
                    </a:moveTo>
                    <a:lnTo>
                      <a:pt x="1144" y="1303"/>
                    </a:lnTo>
                    <a:lnTo>
                      <a:pt x="1145" y="1303"/>
                    </a:lnTo>
                    <a:lnTo>
                      <a:pt x="1145" y="1305"/>
                    </a:lnTo>
                    <a:lnTo>
                      <a:pt x="1147" y="1305"/>
                    </a:lnTo>
                    <a:lnTo>
                      <a:pt x="1147" y="1306"/>
                    </a:lnTo>
                    <a:lnTo>
                      <a:pt x="1145" y="1306"/>
                    </a:lnTo>
                    <a:lnTo>
                      <a:pt x="1145" y="1305"/>
                    </a:lnTo>
                    <a:lnTo>
                      <a:pt x="1145" y="1306"/>
                    </a:lnTo>
                    <a:lnTo>
                      <a:pt x="1144" y="1305"/>
                    </a:lnTo>
                    <a:lnTo>
                      <a:pt x="1144" y="1306"/>
                    </a:lnTo>
                    <a:lnTo>
                      <a:pt x="1142" y="1305"/>
                    </a:lnTo>
                    <a:lnTo>
                      <a:pt x="1142" y="1303"/>
                    </a:lnTo>
                    <a:lnTo>
                      <a:pt x="1140" y="1303"/>
                    </a:lnTo>
                    <a:lnTo>
                      <a:pt x="1139" y="1303"/>
                    </a:lnTo>
                    <a:lnTo>
                      <a:pt x="1140" y="1301"/>
                    </a:lnTo>
                    <a:lnTo>
                      <a:pt x="1142" y="1301"/>
                    </a:lnTo>
                    <a:close/>
                    <a:moveTo>
                      <a:pt x="1210" y="990"/>
                    </a:moveTo>
                    <a:lnTo>
                      <a:pt x="1210" y="992"/>
                    </a:lnTo>
                    <a:lnTo>
                      <a:pt x="1210" y="993"/>
                    </a:lnTo>
                    <a:lnTo>
                      <a:pt x="1210" y="995"/>
                    </a:lnTo>
                    <a:lnTo>
                      <a:pt x="1212" y="997"/>
                    </a:lnTo>
                    <a:lnTo>
                      <a:pt x="1212" y="995"/>
                    </a:lnTo>
                    <a:lnTo>
                      <a:pt x="1212" y="997"/>
                    </a:lnTo>
                    <a:lnTo>
                      <a:pt x="1210" y="997"/>
                    </a:lnTo>
                    <a:lnTo>
                      <a:pt x="1210" y="995"/>
                    </a:lnTo>
                    <a:lnTo>
                      <a:pt x="1208" y="995"/>
                    </a:lnTo>
                    <a:lnTo>
                      <a:pt x="1208" y="993"/>
                    </a:lnTo>
                    <a:lnTo>
                      <a:pt x="1207" y="993"/>
                    </a:lnTo>
                    <a:lnTo>
                      <a:pt x="1207" y="995"/>
                    </a:lnTo>
                    <a:lnTo>
                      <a:pt x="1205" y="993"/>
                    </a:lnTo>
                    <a:lnTo>
                      <a:pt x="1205" y="992"/>
                    </a:lnTo>
                    <a:lnTo>
                      <a:pt x="1207" y="992"/>
                    </a:lnTo>
                    <a:lnTo>
                      <a:pt x="1208" y="992"/>
                    </a:lnTo>
                    <a:lnTo>
                      <a:pt x="1210" y="992"/>
                    </a:lnTo>
                    <a:lnTo>
                      <a:pt x="1210" y="990"/>
                    </a:lnTo>
                    <a:close/>
                    <a:moveTo>
                      <a:pt x="1202" y="1524"/>
                    </a:moveTo>
                    <a:lnTo>
                      <a:pt x="1202" y="1526"/>
                    </a:lnTo>
                    <a:lnTo>
                      <a:pt x="1202" y="1527"/>
                    </a:lnTo>
                    <a:lnTo>
                      <a:pt x="1203" y="1527"/>
                    </a:lnTo>
                    <a:lnTo>
                      <a:pt x="1203" y="1529"/>
                    </a:lnTo>
                    <a:lnTo>
                      <a:pt x="1205" y="1529"/>
                    </a:lnTo>
                    <a:lnTo>
                      <a:pt x="1203" y="1529"/>
                    </a:lnTo>
                    <a:lnTo>
                      <a:pt x="1203" y="1531"/>
                    </a:lnTo>
                    <a:lnTo>
                      <a:pt x="1202" y="1529"/>
                    </a:lnTo>
                    <a:lnTo>
                      <a:pt x="1202" y="1527"/>
                    </a:lnTo>
                    <a:lnTo>
                      <a:pt x="1200" y="1527"/>
                    </a:lnTo>
                    <a:lnTo>
                      <a:pt x="1200" y="1526"/>
                    </a:lnTo>
                    <a:lnTo>
                      <a:pt x="1200" y="1527"/>
                    </a:lnTo>
                    <a:lnTo>
                      <a:pt x="1198" y="1527"/>
                    </a:lnTo>
                    <a:lnTo>
                      <a:pt x="1198" y="1526"/>
                    </a:lnTo>
                    <a:lnTo>
                      <a:pt x="1198" y="1524"/>
                    </a:lnTo>
                    <a:lnTo>
                      <a:pt x="1200" y="1524"/>
                    </a:lnTo>
                    <a:lnTo>
                      <a:pt x="1202" y="1524"/>
                    </a:lnTo>
                    <a:close/>
                    <a:moveTo>
                      <a:pt x="1176" y="1413"/>
                    </a:moveTo>
                    <a:lnTo>
                      <a:pt x="1176" y="1415"/>
                    </a:lnTo>
                    <a:lnTo>
                      <a:pt x="1178" y="1417"/>
                    </a:lnTo>
                    <a:lnTo>
                      <a:pt x="1176" y="1417"/>
                    </a:lnTo>
                    <a:lnTo>
                      <a:pt x="1174" y="1417"/>
                    </a:lnTo>
                    <a:lnTo>
                      <a:pt x="1174" y="1418"/>
                    </a:lnTo>
                    <a:lnTo>
                      <a:pt x="1173" y="1418"/>
                    </a:lnTo>
                    <a:lnTo>
                      <a:pt x="1173" y="1417"/>
                    </a:lnTo>
                    <a:lnTo>
                      <a:pt x="1171" y="1417"/>
                    </a:lnTo>
                    <a:lnTo>
                      <a:pt x="1171" y="1415"/>
                    </a:lnTo>
                    <a:lnTo>
                      <a:pt x="1173" y="1415"/>
                    </a:lnTo>
                    <a:lnTo>
                      <a:pt x="1171" y="1415"/>
                    </a:lnTo>
                    <a:lnTo>
                      <a:pt x="1173" y="1415"/>
                    </a:lnTo>
                    <a:lnTo>
                      <a:pt x="1174" y="1415"/>
                    </a:lnTo>
                    <a:lnTo>
                      <a:pt x="1174" y="1413"/>
                    </a:lnTo>
                    <a:lnTo>
                      <a:pt x="1176" y="1413"/>
                    </a:lnTo>
                    <a:lnTo>
                      <a:pt x="1176" y="1412"/>
                    </a:lnTo>
                    <a:lnTo>
                      <a:pt x="1176" y="1413"/>
                    </a:lnTo>
                    <a:close/>
                    <a:moveTo>
                      <a:pt x="1186" y="1068"/>
                    </a:moveTo>
                    <a:lnTo>
                      <a:pt x="1188" y="1070"/>
                    </a:lnTo>
                    <a:lnTo>
                      <a:pt x="1188" y="1071"/>
                    </a:lnTo>
                    <a:lnTo>
                      <a:pt x="1186" y="1071"/>
                    </a:lnTo>
                    <a:lnTo>
                      <a:pt x="1185" y="1071"/>
                    </a:lnTo>
                    <a:lnTo>
                      <a:pt x="1183" y="1070"/>
                    </a:lnTo>
                    <a:lnTo>
                      <a:pt x="1183" y="1068"/>
                    </a:lnTo>
                    <a:lnTo>
                      <a:pt x="1185" y="1068"/>
                    </a:lnTo>
                    <a:lnTo>
                      <a:pt x="1186" y="1068"/>
                    </a:lnTo>
                    <a:close/>
                    <a:moveTo>
                      <a:pt x="1205" y="1548"/>
                    </a:moveTo>
                    <a:lnTo>
                      <a:pt x="1207" y="1548"/>
                    </a:lnTo>
                    <a:lnTo>
                      <a:pt x="1207" y="1549"/>
                    </a:lnTo>
                    <a:lnTo>
                      <a:pt x="1208" y="1549"/>
                    </a:lnTo>
                    <a:lnTo>
                      <a:pt x="1207" y="1549"/>
                    </a:lnTo>
                    <a:lnTo>
                      <a:pt x="1208" y="1549"/>
                    </a:lnTo>
                    <a:lnTo>
                      <a:pt x="1208" y="1551"/>
                    </a:lnTo>
                    <a:lnTo>
                      <a:pt x="1207" y="1551"/>
                    </a:lnTo>
                    <a:lnTo>
                      <a:pt x="1205" y="1551"/>
                    </a:lnTo>
                    <a:lnTo>
                      <a:pt x="1205" y="1549"/>
                    </a:lnTo>
                    <a:lnTo>
                      <a:pt x="1203" y="1548"/>
                    </a:lnTo>
                    <a:lnTo>
                      <a:pt x="1203" y="1549"/>
                    </a:lnTo>
                    <a:lnTo>
                      <a:pt x="1203" y="1551"/>
                    </a:lnTo>
                    <a:lnTo>
                      <a:pt x="1202" y="1551"/>
                    </a:lnTo>
                    <a:lnTo>
                      <a:pt x="1203" y="1549"/>
                    </a:lnTo>
                    <a:lnTo>
                      <a:pt x="1202" y="1549"/>
                    </a:lnTo>
                    <a:lnTo>
                      <a:pt x="1200" y="1549"/>
                    </a:lnTo>
                    <a:lnTo>
                      <a:pt x="1200" y="1548"/>
                    </a:lnTo>
                    <a:lnTo>
                      <a:pt x="1202" y="1548"/>
                    </a:lnTo>
                    <a:lnTo>
                      <a:pt x="1203" y="1549"/>
                    </a:lnTo>
                    <a:lnTo>
                      <a:pt x="1202" y="1548"/>
                    </a:lnTo>
                    <a:lnTo>
                      <a:pt x="1203" y="1548"/>
                    </a:lnTo>
                    <a:lnTo>
                      <a:pt x="1203" y="1546"/>
                    </a:lnTo>
                    <a:lnTo>
                      <a:pt x="1205" y="1546"/>
                    </a:lnTo>
                    <a:lnTo>
                      <a:pt x="1205" y="1548"/>
                    </a:lnTo>
                    <a:close/>
                    <a:moveTo>
                      <a:pt x="1229" y="1558"/>
                    </a:moveTo>
                    <a:lnTo>
                      <a:pt x="1230" y="1558"/>
                    </a:lnTo>
                    <a:lnTo>
                      <a:pt x="1232" y="1560"/>
                    </a:lnTo>
                    <a:lnTo>
                      <a:pt x="1234" y="1560"/>
                    </a:lnTo>
                    <a:lnTo>
                      <a:pt x="1234" y="1561"/>
                    </a:lnTo>
                    <a:lnTo>
                      <a:pt x="1232" y="1560"/>
                    </a:lnTo>
                    <a:lnTo>
                      <a:pt x="1232" y="1561"/>
                    </a:lnTo>
                    <a:lnTo>
                      <a:pt x="1232" y="1560"/>
                    </a:lnTo>
                    <a:lnTo>
                      <a:pt x="1230" y="1561"/>
                    </a:lnTo>
                    <a:lnTo>
                      <a:pt x="1229" y="1561"/>
                    </a:lnTo>
                    <a:lnTo>
                      <a:pt x="1227" y="1561"/>
                    </a:lnTo>
                    <a:lnTo>
                      <a:pt x="1225" y="1561"/>
                    </a:lnTo>
                    <a:lnTo>
                      <a:pt x="1227" y="1560"/>
                    </a:lnTo>
                    <a:lnTo>
                      <a:pt x="1229" y="1560"/>
                    </a:lnTo>
                    <a:lnTo>
                      <a:pt x="1229" y="1561"/>
                    </a:lnTo>
                    <a:lnTo>
                      <a:pt x="1229" y="1560"/>
                    </a:lnTo>
                    <a:lnTo>
                      <a:pt x="1227" y="1560"/>
                    </a:lnTo>
                    <a:lnTo>
                      <a:pt x="1229" y="1558"/>
                    </a:lnTo>
                    <a:lnTo>
                      <a:pt x="1227" y="1558"/>
                    </a:lnTo>
                    <a:lnTo>
                      <a:pt x="1229" y="1558"/>
                    </a:lnTo>
                    <a:close/>
                    <a:moveTo>
                      <a:pt x="1411" y="1662"/>
                    </a:moveTo>
                    <a:lnTo>
                      <a:pt x="1412" y="1663"/>
                    </a:lnTo>
                    <a:lnTo>
                      <a:pt x="1412" y="1665"/>
                    </a:lnTo>
                    <a:lnTo>
                      <a:pt x="1412" y="1667"/>
                    </a:lnTo>
                    <a:lnTo>
                      <a:pt x="1414" y="1667"/>
                    </a:lnTo>
                    <a:lnTo>
                      <a:pt x="1414" y="1669"/>
                    </a:lnTo>
                    <a:lnTo>
                      <a:pt x="1412" y="1669"/>
                    </a:lnTo>
                    <a:lnTo>
                      <a:pt x="1412" y="1667"/>
                    </a:lnTo>
                    <a:lnTo>
                      <a:pt x="1411" y="1667"/>
                    </a:lnTo>
                    <a:lnTo>
                      <a:pt x="1411" y="1669"/>
                    </a:lnTo>
                    <a:lnTo>
                      <a:pt x="1409" y="1669"/>
                    </a:lnTo>
                    <a:lnTo>
                      <a:pt x="1407" y="1669"/>
                    </a:lnTo>
                    <a:lnTo>
                      <a:pt x="1409" y="1667"/>
                    </a:lnTo>
                    <a:lnTo>
                      <a:pt x="1409" y="1665"/>
                    </a:lnTo>
                    <a:lnTo>
                      <a:pt x="1411" y="1667"/>
                    </a:lnTo>
                    <a:lnTo>
                      <a:pt x="1409" y="1665"/>
                    </a:lnTo>
                    <a:lnTo>
                      <a:pt x="1409" y="1663"/>
                    </a:lnTo>
                    <a:lnTo>
                      <a:pt x="1409" y="1662"/>
                    </a:lnTo>
                    <a:lnTo>
                      <a:pt x="1411" y="1662"/>
                    </a:lnTo>
                    <a:close/>
                    <a:moveTo>
                      <a:pt x="1207" y="1245"/>
                    </a:moveTo>
                    <a:lnTo>
                      <a:pt x="1208" y="1245"/>
                    </a:lnTo>
                    <a:lnTo>
                      <a:pt x="1208" y="1247"/>
                    </a:lnTo>
                    <a:lnTo>
                      <a:pt x="1208" y="1248"/>
                    </a:lnTo>
                    <a:lnTo>
                      <a:pt x="1208" y="1250"/>
                    </a:lnTo>
                    <a:lnTo>
                      <a:pt x="1208" y="1252"/>
                    </a:lnTo>
                    <a:lnTo>
                      <a:pt x="1207" y="1252"/>
                    </a:lnTo>
                    <a:lnTo>
                      <a:pt x="1208" y="1250"/>
                    </a:lnTo>
                    <a:lnTo>
                      <a:pt x="1207" y="1250"/>
                    </a:lnTo>
                    <a:lnTo>
                      <a:pt x="1205" y="1250"/>
                    </a:lnTo>
                    <a:lnTo>
                      <a:pt x="1205" y="1248"/>
                    </a:lnTo>
                    <a:lnTo>
                      <a:pt x="1207" y="1248"/>
                    </a:lnTo>
                    <a:lnTo>
                      <a:pt x="1205" y="1248"/>
                    </a:lnTo>
                    <a:lnTo>
                      <a:pt x="1205" y="1247"/>
                    </a:lnTo>
                    <a:lnTo>
                      <a:pt x="1205" y="1245"/>
                    </a:lnTo>
                    <a:lnTo>
                      <a:pt x="1207" y="1245"/>
                    </a:lnTo>
                    <a:close/>
                    <a:moveTo>
                      <a:pt x="1156" y="1311"/>
                    </a:moveTo>
                    <a:lnTo>
                      <a:pt x="1157" y="1311"/>
                    </a:lnTo>
                    <a:lnTo>
                      <a:pt x="1157" y="1313"/>
                    </a:lnTo>
                    <a:lnTo>
                      <a:pt x="1159" y="1313"/>
                    </a:lnTo>
                    <a:lnTo>
                      <a:pt x="1159" y="1311"/>
                    </a:lnTo>
                    <a:lnTo>
                      <a:pt x="1161" y="1313"/>
                    </a:lnTo>
                    <a:lnTo>
                      <a:pt x="1159" y="1313"/>
                    </a:lnTo>
                    <a:lnTo>
                      <a:pt x="1161" y="1315"/>
                    </a:lnTo>
                    <a:lnTo>
                      <a:pt x="1159" y="1315"/>
                    </a:lnTo>
                    <a:lnTo>
                      <a:pt x="1157" y="1315"/>
                    </a:lnTo>
                    <a:lnTo>
                      <a:pt x="1156" y="1315"/>
                    </a:lnTo>
                    <a:lnTo>
                      <a:pt x="1156" y="1313"/>
                    </a:lnTo>
                    <a:lnTo>
                      <a:pt x="1156" y="1311"/>
                    </a:lnTo>
                    <a:close/>
                    <a:moveTo>
                      <a:pt x="1193" y="1531"/>
                    </a:moveTo>
                    <a:lnTo>
                      <a:pt x="1193" y="1532"/>
                    </a:lnTo>
                    <a:lnTo>
                      <a:pt x="1195" y="1532"/>
                    </a:lnTo>
                    <a:lnTo>
                      <a:pt x="1193" y="1534"/>
                    </a:lnTo>
                    <a:lnTo>
                      <a:pt x="1193" y="1536"/>
                    </a:lnTo>
                    <a:lnTo>
                      <a:pt x="1191" y="1536"/>
                    </a:lnTo>
                    <a:lnTo>
                      <a:pt x="1190" y="1536"/>
                    </a:lnTo>
                    <a:lnTo>
                      <a:pt x="1190" y="1538"/>
                    </a:lnTo>
                    <a:lnTo>
                      <a:pt x="1188" y="1538"/>
                    </a:lnTo>
                    <a:lnTo>
                      <a:pt x="1188" y="1536"/>
                    </a:lnTo>
                    <a:lnTo>
                      <a:pt x="1186" y="1536"/>
                    </a:lnTo>
                    <a:lnTo>
                      <a:pt x="1188" y="1534"/>
                    </a:lnTo>
                    <a:lnTo>
                      <a:pt x="1190" y="1534"/>
                    </a:lnTo>
                    <a:lnTo>
                      <a:pt x="1190" y="1532"/>
                    </a:lnTo>
                    <a:lnTo>
                      <a:pt x="1191" y="1532"/>
                    </a:lnTo>
                    <a:lnTo>
                      <a:pt x="1193" y="1531"/>
                    </a:lnTo>
                    <a:close/>
                    <a:moveTo>
                      <a:pt x="1169" y="1083"/>
                    </a:moveTo>
                    <a:lnTo>
                      <a:pt x="1171" y="1083"/>
                    </a:lnTo>
                    <a:lnTo>
                      <a:pt x="1173" y="1085"/>
                    </a:lnTo>
                    <a:lnTo>
                      <a:pt x="1171" y="1085"/>
                    </a:lnTo>
                    <a:lnTo>
                      <a:pt x="1173" y="1087"/>
                    </a:lnTo>
                    <a:lnTo>
                      <a:pt x="1171" y="1087"/>
                    </a:lnTo>
                    <a:lnTo>
                      <a:pt x="1173" y="1088"/>
                    </a:lnTo>
                    <a:lnTo>
                      <a:pt x="1171" y="1088"/>
                    </a:lnTo>
                    <a:lnTo>
                      <a:pt x="1169" y="1088"/>
                    </a:lnTo>
                    <a:lnTo>
                      <a:pt x="1169" y="1087"/>
                    </a:lnTo>
                    <a:lnTo>
                      <a:pt x="1169" y="1085"/>
                    </a:lnTo>
                    <a:lnTo>
                      <a:pt x="1169" y="1083"/>
                    </a:lnTo>
                    <a:close/>
                    <a:moveTo>
                      <a:pt x="1423" y="1680"/>
                    </a:moveTo>
                    <a:lnTo>
                      <a:pt x="1424" y="1682"/>
                    </a:lnTo>
                    <a:lnTo>
                      <a:pt x="1426" y="1684"/>
                    </a:lnTo>
                    <a:lnTo>
                      <a:pt x="1426" y="1686"/>
                    </a:lnTo>
                    <a:lnTo>
                      <a:pt x="1424" y="1686"/>
                    </a:lnTo>
                    <a:lnTo>
                      <a:pt x="1423" y="1684"/>
                    </a:lnTo>
                    <a:lnTo>
                      <a:pt x="1421" y="1684"/>
                    </a:lnTo>
                    <a:lnTo>
                      <a:pt x="1421" y="1682"/>
                    </a:lnTo>
                    <a:lnTo>
                      <a:pt x="1421" y="1680"/>
                    </a:lnTo>
                    <a:lnTo>
                      <a:pt x="1419" y="1682"/>
                    </a:lnTo>
                    <a:lnTo>
                      <a:pt x="1417" y="1680"/>
                    </a:lnTo>
                    <a:lnTo>
                      <a:pt x="1419" y="1680"/>
                    </a:lnTo>
                    <a:lnTo>
                      <a:pt x="1421" y="1680"/>
                    </a:lnTo>
                    <a:lnTo>
                      <a:pt x="1423" y="1680"/>
                    </a:lnTo>
                    <a:close/>
                    <a:moveTo>
                      <a:pt x="1251" y="1549"/>
                    </a:moveTo>
                    <a:lnTo>
                      <a:pt x="1249" y="1549"/>
                    </a:lnTo>
                    <a:lnTo>
                      <a:pt x="1251" y="1549"/>
                    </a:lnTo>
                    <a:lnTo>
                      <a:pt x="1251" y="1551"/>
                    </a:lnTo>
                    <a:lnTo>
                      <a:pt x="1253" y="1551"/>
                    </a:lnTo>
                    <a:lnTo>
                      <a:pt x="1254" y="1551"/>
                    </a:lnTo>
                    <a:lnTo>
                      <a:pt x="1253" y="1553"/>
                    </a:lnTo>
                    <a:lnTo>
                      <a:pt x="1254" y="1553"/>
                    </a:lnTo>
                    <a:lnTo>
                      <a:pt x="1256" y="1555"/>
                    </a:lnTo>
                    <a:lnTo>
                      <a:pt x="1254" y="1555"/>
                    </a:lnTo>
                    <a:lnTo>
                      <a:pt x="1254" y="1556"/>
                    </a:lnTo>
                    <a:lnTo>
                      <a:pt x="1253" y="1555"/>
                    </a:lnTo>
                    <a:lnTo>
                      <a:pt x="1251" y="1555"/>
                    </a:lnTo>
                    <a:lnTo>
                      <a:pt x="1251" y="1553"/>
                    </a:lnTo>
                    <a:lnTo>
                      <a:pt x="1249" y="1553"/>
                    </a:lnTo>
                    <a:lnTo>
                      <a:pt x="1249" y="1551"/>
                    </a:lnTo>
                    <a:lnTo>
                      <a:pt x="1249" y="1549"/>
                    </a:lnTo>
                    <a:lnTo>
                      <a:pt x="1251" y="1549"/>
                    </a:lnTo>
                    <a:close/>
                    <a:moveTo>
                      <a:pt x="1332" y="1652"/>
                    </a:moveTo>
                    <a:lnTo>
                      <a:pt x="1334" y="1652"/>
                    </a:lnTo>
                    <a:lnTo>
                      <a:pt x="1332" y="1653"/>
                    </a:lnTo>
                    <a:lnTo>
                      <a:pt x="1331" y="1653"/>
                    </a:lnTo>
                    <a:lnTo>
                      <a:pt x="1332" y="1653"/>
                    </a:lnTo>
                    <a:lnTo>
                      <a:pt x="1332" y="1655"/>
                    </a:lnTo>
                    <a:lnTo>
                      <a:pt x="1331" y="1655"/>
                    </a:lnTo>
                    <a:lnTo>
                      <a:pt x="1331" y="1657"/>
                    </a:lnTo>
                    <a:lnTo>
                      <a:pt x="1329" y="1657"/>
                    </a:lnTo>
                    <a:lnTo>
                      <a:pt x="1331" y="1655"/>
                    </a:lnTo>
                    <a:lnTo>
                      <a:pt x="1329" y="1655"/>
                    </a:lnTo>
                    <a:lnTo>
                      <a:pt x="1329" y="1653"/>
                    </a:lnTo>
                    <a:lnTo>
                      <a:pt x="1327" y="1653"/>
                    </a:lnTo>
                    <a:lnTo>
                      <a:pt x="1326" y="1653"/>
                    </a:lnTo>
                    <a:lnTo>
                      <a:pt x="1327" y="1652"/>
                    </a:lnTo>
                    <a:lnTo>
                      <a:pt x="1326" y="1652"/>
                    </a:lnTo>
                    <a:lnTo>
                      <a:pt x="1327" y="1652"/>
                    </a:lnTo>
                    <a:lnTo>
                      <a:pt x="1329" y="1652"/>
                    </a:lnTo>
                    <a:lnTo>
                      <a:pt x="1329" y="1653"/>
                    </a:lnTo>
                    <a:lnTo>
                      <a:pt x="1331" y="1653"/>
                    </a:lnTo>
                    <a:lnTo>
                      <a:pt x="1331" y="1652"/>
                    </a:lnTo>
                    <a:lnTo>
                      <a:pt x="1332" y="1652"/>
                    </a:lnTo>
                    <a:close/>
                    <a:moveTo>
                      <a:pt x="1339" y="1655"/>
                    </a:moveTo>
                    <a:lnTo>
                      <a:pt x="1341" y="1655"/>
                    </a:lnTo>
                    <a:lnTo>
                      <a:pt x="1343" y="1655"/>
                    </a:lnTo>
                    <a:lnTo>
                      <a:pt x="1343" y="1657"/>
                    </a:lnTo>
                    <a:lnTo>
                      <a:pt x="1344" y="1657"/>
                    </a:lnTo>
                    <a:lnTo>
                      <a:pt x="1343" y="1658"/>
                    </a:lnTo>
                    <a:lnTo>
                      <a:pt x="1343" y="1657"/>
                    </a:lnTo>
                    <a:lnTo>
                      <a:pt x="1341" y="1657"/>
                    </a:lnTo>
                    <a:lnTo>
                      <a:pt x="1343" y="1658"/>
                    </a:lnTo>
                    <a:lnTo>
                      <a:pt x="1341" y="1658"/>
                    </a:lnTo>
                    <a:lnTo>
                      <a:pt x="1343" y="1658"/>
                    </a:lnTo>
                    <a:lnTo>
                      <a:pt x="1343" y="1660"/>
                    </a:lnTo>
                    <a:lnTo>
                      <a:pt x="1341" y="1658"/>
                    </a:lnTo>
                    <a:lnTo>
                      <a:pt x="1341" y="1660"/>
                    </a:lnTo>
                    <a:lnTo>
                      <a:pt x="1341" y="1658"/>
                    </a:lnTo>
                    <a:lnTo>
                      <a:pt x="1341" y="1660"/>
                    </a:lnTo>
                    <a:lnTo>
                      <a:pt x="1339" y="1658"/>
                    </a:lnTo>
                    <a:lnTo>
                      <a:pt x="1339" y="1660"/>
                    </a:lnTo>
                    <a:lnTo>
                      <a:pt x="1338" y="1660"/>
                    </a:lnTo>
                    <a:lnTo>
                      <a:pt x="1338" y="1658"/>
                    </a:lnTo>
                    <a:lnTo>
                      <a:pt x="1339" y="1658"/>
                    </a:lnTo>
                    <a:lnTo>
                      <a:pt x="1339" y="1657"/>
                    </a:lnTo>
                    <a:lnTo>
                      <a:pt x="1339" y="1655"/>
                    </a:lnTo>
                    <a:close/>
                    <a:moveTo>
                      <a:pt x="1212" y="1007"/>
                    </a:moveTo>
                    <a:lnTo>
                      <a:pt x="1213" y="1007"/>
                    </a:lnTo>
                    <a:lnTo>
                      <a:pt x="1215" y="1009"/>
                    </a:lnTo>
                    <a:lnTo>
                      <a:pt x="1217" y="1009"/>
                    </a:lnTo>
                    <a:lnTo>
                      <a:pt x="1217" y="1010"/>
                    </a:lnTo>
                    <a:lnTo>
                      <a:pt x="1219" y="1010"/>
                    </a:lnTo>
                    <a:lnTo>
                      <a:pt x="1219" y="1012"/>
                    </a:lnTo>
                    <a:lnTo>
                      <a:pt x="1219" y="1010"/>
                    </a:lnTo>
                    <a:lnTo>
                      <a:pt x="1217" y="1010"/>
                    </a:lnTo>
                    <a:lnTo>
                      <a:pt x="1215" y="1010"/>
                    </a:lnTo>
                    <a:lnTo>
                      <a:pt x="1213" y="1010"/>
                    </a:lnTo>
                    <a:lnTo>
                      <a:pt x="1213" y="1009"/>
                    </a:lnTo>
                    <a:lnTo>
                      <a:pt x="1212" y="1009"/>
                    </a:lnTo>
                    <a:lnTo>
                      <a:pt x="1210" y="1009"/>
                    </a:lnTo>
                    <a:lnTo>
                      <a:pt x="1210" y="1007"/>
                    </a:lnTo>
                    <a:lnTo>
                      <a:pt x="1212" y="1007"/>
                    </a:lnTo>
                    <a:close/>
                    <a:moveTo>
                      <a:pt x="1263" y="1609"/>
                    </a:moveTo>
                    <a:lnTo>
                      <a:pt x="1264" y="1611"/>
                    </a:lnTo>
                    <a:lnTo>
                      <a:pt x="1264" y="1612"/>
                    </a:lnTo>
                    <a:lnTo>
                      <a:pt x="1266" y="1612"/>
                    </a:lnTo>
                    <a:lnTo>
                      <a:pt x="1266" y="1614"/>
                    </a:lnTo>
                    <a:lnTo>
                      <a:pt x="1266" y="1612"/>
                    </a:lnTo>
                    <a:lnTo>
                      <a:pt x="1266" y="1614"/>
                    </a:lnTo>
                    <a:lnTo>
                      <a:pt x="1268" y="1614"/>
                    </a:lnTo>
                    <a:lnTo>
                      <a:pt x="1266" y="1614"/>
                    </a:lnTo>
                    <a:lnTo>
                      <a:pt x="1266" y="1616"/>
                    </a:lnTo>
                    <a:lnTo>
                      <a:pt x="1266" y="1618"/>
                    </a:lnTo>
                    <a:lnTo>
                      <a:pt x="1266" y="1616"/>
                    </a:lnTo>
                    <a:lnTo>
                      <a:pt x="1264" y="1616"/>
                    </a:lnTo>
                    <a:lnTo>
                      <a:pt x="1264" y="1614"/>
                    </a:lnTo>
                    <a:lnTo>
                      <a:pt x="1264" y="1612"/>
                    </a:lnTo>
                    <a:lnTo>
                      <a:pt x="1263" y="1614"/>
                    </a:lnTo>
                    <a:lnTo>
                      <a:pt x="1263" y="1612"/>
                    </a:lnTo>
                    <a:lnTo>
                      <a:pt x="1263" y="1611"/>
                    </a:lnTo>
                    <a:lnTo>
                      <a:pt x="1263" y="1612"/>
                    </a:lnTo>
                    <a:lnTo>
                      <a:pt x="1261" y="1612"/>
                    </a:lnTo>
                    <a:lnTo>
                      <a:pt x="1261" y="1611"/>
                    </a:lnTo>
                    <a:lnTo>
                      <a:pt x="1263" y="1609"/>
                    </a:lnTo>
                    <a:close/>
                    <a:moveTo>
                      <a:pt x="1168" y="1417"/>
                    </a:moveTo>
                    <a:lnTo>
                      <a:pt x="1169" y="1417"/>
                    </a:lnTo>
                    <a:lnTo>
                      <a:pt x="1169" y="1418"/>
                    </a:lnTo>
                    <a:lnTo>
                      <a:pt x="1168" y="1420"/>
                    </a:lnTo>
                    <a:lnTo>
                      <a:pt x="1166" y="1420"/>
                    </a:lnTo>
                    <a:lnTo>
                      <a:pt x="1168" y="1418"/>
                    </a:lnTo>
                    <a:lnTo>
                      <a:pt x="1166" y="1418"/>
                    </a:lnTo>
                    <a:lnTo>
                      <a:pt x="1164" y="1418"/>
                    </a:lnTo>
                    <a:lnTo>
                      <a:pt x="1164" y="1420"/>
                    </a:lnTo>
                    <a:lnTo>
                      <a:pt x="1162" y="1420"/>
                    </a:lnTo>
                    <a:lnTo>
                      <a:pt x="1162" y="1418"/>
                    </a:lnTo>
                    <a:lnTo>
                      <a:pt x="1164" y="1417"/>
                    </a:lnTo>
                    <a:lnTo>
                      <a:pt x="1166" y="1417"/>
                    </a:lnTo>
                    <a:lnTo>
                      <a:pt x="1168" y="1417"/>
                    </a:lnTo>
                    <a:close/>
                    <a:moveTo>
                      <a:pt x="1203" y="1075"/>
                    </a:moveTo>
                    <a:lnTo>
                      <a:pt x="1203" y="1077"/>
                    </a:lnTo>
                    <a:lnTo>
                      <a:pt x="1202" y="1077"/>
                    </a:lnTo>
                    <a:lnTo>
                      <a:pt x="1200" y="1078"/>
                    </a:lnTo>
                    <a:lnTo>
                      <a:pt x="1202" y="1077"/>
                    </a:lnTo>
                    <a:lnTo>
                      <a:pt x="1203" y="1077"/>
                    </a:lnTo>
                    <a:lnTo>
                      <a:pt x="1202" y="1078"/>
                    </a:lnTo>
                    <a:lnTo>
                      <a:pt x="1203" y="1077"/>
                    </a:lnTo>
                    <a:lnTo>
                      <a:pt x="1205" y="1077"/>
                    </a:lnTo>
                    <a:lnTo>
                      <a:pt x="1205" y="1078"/>
                    </a:lnTo>
                    <a:lnTo>
                      <a:pt x="1203" y="1078"/>
                    </a:lnTo>
                    <a:lnTo>
                      <a:pt x="1202" y="1078"/>
                    </a:lnTo>
                    <a:lnTo>
                      <a:pt x="1200" y="1078"/>
                    </a:lnTo>
                    <a:lnTo>
                      <a:pt x="1200" y="1077"/>
                    </a:lnTo>
                    <a:lnTo>
                      <a:pt x="1202" y="1075"/>
                    </a:lnTo>
                    <a:lnTo>
                      <a:pt x="1203" y="1075"/>
                    </a:lnTo>
                    <a:close/>
                    <a:moveTo>
                      <a:pt x="1222" y="1071"/>
                    </a:moveTo>
                    <a:lnTo>
                      <a:pt x="1222" y="1073"/>
                    </a:lnTo>
                    <a:lnTo>
                      <a:pt x="1224" y="1071"/>
                    </a:lnTo>
                    <a:lnTo>
                      <a:pt x="1224" y="1073"/>
                    </a:lnTo>
                    <a:lnTo>
                      <a:pt x="1225" y="1075"/>
                    </a:lnTo>
                    <a:lnTo>
                      <a:pt x="1224" y="1075"/>
                    </a:lnTo>
                    <a:lnTo>
                      <a:pt x="1222" y="1075"/>
                    </a:lnTo>
                    <a:lnTo>
                      <a:pt x="1220" y="1075"/>
                    </a:lnTo>
                    <a:lnTo>
                      <a:pt x="1220" y="1073"/>
                    </a:lnTo>
                    <a:lnTo>
                      <a:pt x="1222" y="1071"/>
                    </a:lnTo>
                    <a:close/>
                    <a:moveTo>
                      <a:pt x="1229" y="954"/>
                    </a:moveTo>
                    <a:lnTo>
                      <a:pt x="1229" y="956"/>
                    </a:lnTo>
                    <a:lnTo>
                      <a:pt x="1230" y="956"/>
                    </a:lnTo>
                    <a:lnTo>
                      <a:pt x="1230" y="957"/>
                    </a:lnTo>
                    <a:lnTo>
                      <a:pt x="1230" y="959"/>
                    </a:lnTo>
                    <a:lnTo>
                      <a:pt x="1229" y="957"/>
                    </a:lnTo>
                    <a:lnTo>
                      <a:pt x="1227" y="957"/>
                    </a:lnTo>
                    <a:lnTo>
                      <a:pt x="1227" y="956"/>
                    </a:lnTo>
                    <a:lnTo>
                      <a:pt x="1225" y="956"/>
                    </a:lnTo>
                    <a:lnTo>
                      <a:pt x="1227" y="956"/>
                    </a:lnTo>
                    <a:lnTo>
                      <a:pt x="1229" y="956"/>
                    </a:lnTo>
                    <a:lnTo>
                      <a:pt x="1227" y="956"/>
                    </a:lnTo>
                    <a:lnTo>
                      <a:pt x="1227" y="954"/>
                    </a:lnTo>
                    <a:lnTo>
                      <a:pt x="1227" y="952"/>
                    </a:lnTo>
                    <a:lnTo>
                      <a:pt x="1227" y="954"/>
                    </a:lnTo>
                    <a:lnTo>
                      <a:pt x="1227" y="952"/>
                    </a:lnTo>
                    <a:lnTo>
                      <a:pt x="1229" y="952"/>
                    </a:lnTo>
                    <a:lnTo>
                      <a:pt x="1229" y="954"/>
                    </a:lnTo>
                    <a:close/>
                    <a:moveTo>
                      <a:pt x="1208" y="1073"/>
                    </a:moveTo>
                    <a:lnTo>
                      <a:pt x="1208" y="1075"/>
                    </a:lnTo>
                    <a:lnTo>
                      <a:pt x="1207" y="1075"/>
                    </a:lnTo>
                    <a:lnTo>
                      <a:pt x="1207" y="1077"/>
                    </a:lnTo>
                    <a:lnTo>
                      <a:pt x="1208" y="1077"/>
                    </a:lnTo>
                    <a:lnTo>
                      <a:pt x="1208" y="1078"/>
                    </a:lnTo>
                    <a:lnTo>
                      <a:pt x="1207" y="1078"/>
                    </a:lnTo>
                    <a:lnTo>
                      <a:pt x="1205" y="1077"/>
                    </a:lnTo>
                    <a:lnTo>
                      <a:pt x="1205" y="1075"/>
                    </a:lnTo>
                    <a:lnTo>
                      <a:pt x="1203" y="1075"/>
                    </a:lnTo>
                    <a:lnTo>
                      <a:pt x="1205" y="1075"/>
                    </a:lnTo>
                    <a:lnTo>
                      <a:pt x="1207" y="1073"/>
                    </a:lnTo>
                    <a:lnTo>
                      <a:pt x="1207" y="1075"/>
                    </a:lnTo>
                    <a:lnTo>
                      <a:pt x="1208" y="1075"/>
                    </a:lnTo>
                    <a:lnTo>
                      <a:pt x="1207" y="1073"/>
                    </a:lnTo>
                    <a:lnTo>
                      <a:pt x="1208" y="1073"/>
                    </a:lnTo>
                    <a:close/>
                    <a:moveTo>
                      <a:pt x="1166" y="1420"/>
                    </a:moveTo>
                    <a:lnTo>
                      <a:pt x="1168" y="1422"/>
                    </a:lnTo>
                    <a:lnTo>
                      <a:pt x="1166" y="1422"/>
                    </a:lnTo>
                    <a:lnTo>
                      <a:pt x="1166" y="1424"/>
                    </a:lnTo>
                    <a:lnTo>
                      <a:pt x="1164" y="1424"/>
                    </a:lnTo>
                    <a:lnTo>
                      <a:pt x="1162" y="1424"/>
                    </a:lnTo>
                    <a:lnTo>
                      <a:pt x="1162" y="1425"/>
                    </a:lnTo>
                    <a:lnTo>
                      <a:pt x="1162" y="1424"/>
                    </a:lnTo>
                    <a:lnTo>
                      <a:pt x="1161" y="1424"/>
                    </a:lnTo>
                    <a:lnTo>
                      <a:pt x="1161" y="1422"/>
                    </a:lnTo>
                    <a:lnTo>
                      <a:pt x="1162" y="1422"/>
                    </a:lnTo>
                    <a:lnTo>
                      <a:pt x="1164" y="1422"/>
                    </a:lnTo>
                    <a:lnTo>
                      <a:pt x="1162" y="1422"/>
                    </a:lnTo>
                    <a:lnTo>
                      <a:pt x="1164" y="1420"/>
                    </a:lnTo>
                    <a:lnTo>
                      <a:pt x="1164" y="1422"/>
                    </a:lnTo>
                    <a:lnTo>
                      <a:pt x="1164" y="1420"/>
                    </a:lnTo>
                    <a:lnTo>
                      <a:pt x="1166" y="1420"/>
                    </a:lnTo>
                    <a:close/>
                    <a:moveTo>
                      <a:pt x="1247" y="968"/>
                    </a:moveTo>
                    <a:lnTo>
                      <a:pt x="1247" y="969"/>
                    </a:lnTo>
                    <a:lnTo>
                      <a:pt x="1247" y="971"/>
                    </a:lnTo>
                    <a:lnTo>
                      <a:pt x="1247" y="973"/>
                    </a:lnTo>
                    <a:lnTo>
                      <a:pt x="1246" y="973"/>
                    </a:lnTo>
                    <a:lnTo>
                      <a:pt x="1246" y="971"/>
                    </a:lnTo>
                    <a:lnTo>
                      <a:pt x="1244" y="971"/>
                    </a:lnTo>
                    <a:lnTo>
                      <a:pt x="1242" y="971"/>
                    </a:lnTo>
                    <a:lnTo>
                      <a:pt x="1244" y="969"/>
                    </a:lnTo>
                    <a:lnTo>
                      <a:pt x="1244" y="968"/>
                    </a:lnTo>
                    <a:lnTo>
                      <a:pt x="1246" y="968"/>
                    </a:lnTo>
                    <a:lnTo>
                      <a:pt x="1244" y="969"/>
                    </a:lnTo>
                    <a:lnTo>
                      <a:pt x="1246" y="968"/>
                    </a:lnTo>
                    <a:lnTo>
                      <a:pt x="1247" y="968"/>
                    </a:lnTo>
                    <a:close/>
                    <a:moveTo>
                      <a:pt x="1188" y="1099"/>
                    </a:moveTo>
                    <a:lnTo>
                      <a:pt x="1186" y="1100"/>
                    </a:lnTo>
                    <a:lnTo>
                      <a:pt x="1186" y="1102"/>
                    </a:lnTo>
                    <a:lnTo>
                      <a:pt x="1185" y="1102"/>
                    </a:lnTo>
                    <a:lnTo>
                      <a:pt x="1183" y="1102"/>
                    </a:lnTo>
                    <a:lnTo>
                      <a:pt x="1181" y="1100"/>
                    </a:lnTo>
                    <a:lnTo>
                      <a:pt x="1181" y="1099"/>
                    </a:lnTo>
                    <a:lnTo>
                      <a:pt x="1183" y="1100"/>
                    </a:lnTo>
                    <a:lnTo>
                      <a:pt x="1185" y="1100"/>
                    </a:lnTo>
                    <a:lnTo>
                      <a:pt x="1186" y="1099"/>
                    </a:lnTo>
                    <a:lnTo>
                      <a:pt x="1186" y="1100"/>
                    </a:lnTo>
                    <a:lnTo>
                      <a:pt x="1186" y="1099"/>
                    </a:lnTo>
                    <a:lnTo>
                      <a:pt x="1188" y="1099"/>
                    </a:lnTo>
                    <a:close/>
                    <a:moveTo>
                      <a:pt x="1169" y="1133"/>
                    </a:moveTo>
                    <a:lnTo>
                      <a:pt x="1169" y="1134"/>
                    </a:lnTo>
                    <a:lnTo>
                      <a:pt x="1171" y="1134"/>
                    </a:lnTo>
                    <a:lnTo>
                      <a:pt x="1169" y="1134"/>
                    </a:lnTo>
                    <a:lnTo>
                      <a:pt x="1168" y="1134"/>
                    </a:lnTo>
                    <a:lnTo>
                      <a:pt x="1169" y="1134"/>
                    </a:lnTo>
                    <a:lnTo>
                      <a:pt x="1171" y="1134"/>
                    </a:lnTo>
                    <a:lnTo>
                      <a:pt x="1171" y="1136"/>
                    </a:lnTo>
                    <a:lnTo>
                      <a:pt x="1171" y="1138"/>
                    </a:lnTo>
                    <a:lnTo>
                      <a:pt x="1171" y="1140"/>
                    </a:lnTo>
                    <a:lnTo>
                      <a:pt x="1171" y="1138"/>
                    </a:lnTo>
                    <a:lnTo>
                      <a:pt x="1169" y="1138"/>
                    </a:lnTo>
                    <a:lnTo>
                      <a:pt x="1169" y="1136"/>
                    </a:lnTo>
                    <a:lnTo>
                      <a:pt x="1168" y="1136"/>
                    </a:lnTo>
                    <a:lnTo>
                      <a:pt x="1168" y="1134"/>
                    </a:lnTo>
                    <a:lnTo>
                      <a:pt x="1168" y="1133"/>
                    </a:lnTo>
                    <a:lnTo>
                      <a:pt x="1169" y="1133"/>
                    </a:lnTo>
                    <a:close/>
                    <a:moveTo>
                      <a:pt x="1185" y="1240"/>
                    </a:moveTo>
                    <a:lnTo>
                      <a:pt x="1185" y="1242"/>
                    </a:lnTo>
                    <a:lnTo>
                      <a:pt x="1183" y="1242"/>
                    </a:lnTo>
                    <a:lnTo>
                      <a:pt x="1183" y="1243"/>
                    </a:lnTo>
                    <a:lnTo>
                      <a:pt x="1181" y="1243"/>
                    </a:lnTo>
                    <a:lnTo>
                      <a:pt x="1181" y="1245"/>
                    </a:lnTo>
                    <a:lnTo>
                      <a:pt x="1179" y="1245"/>
                    </a:lnTo>
                    <a:lnTo>
                      <a:pt x="1179" y="1243"/>
                    </a:lnTo>
                    <a:lnTo>
                      <a:pt x="1181" y="1243"/>
                    </a:lnTo>
                    <a:lnTo>
                      <a:pt x="1181" y="1242"/>
                    </a:lnTo>
                    <a:lnTo>
                      <a:pt x="1181" y="1240"/>
                    </a:lnTo>
                    <a:lnTo>
                      <a:pt x="1183" y="1240"/>
                    </a:lnTo>
                    <a:lnTo>
                      <a:pt x="1185" y="1240"/>
                    </a:lnTo>
                    <a:close/>
                    <a:moveTo>
                      <a:pt x="1205" y="1026"/>
                    </a:moveTo>
                    <a:lnTo>
                      <a:pt x="1207" y="1026"/>
                    </a:lnTo>
                    <a:lnTo>
                      <a:pt x="1207" y="1027"/>
                    </a:lnTo>
                    <a:lnTo>
                      <a:pt x="1208" y="1027"/>
                    </a:lnTo>
                    <a:lnTo>
                      <a:pt x="1207" y="1027"/>
                    </a:lnTo>
                    <a:lnTo>
                      <a:pt x="1207" y="1029"/>
                    </a:lnTo>
                    <a:lnTo>
                      <a:pt x="1205" y="1029"/>
                    </a:lnTo>
                    <a:lnTo>
                      <a:pt x="1205" y="1027"/>
                    </a:lnTo>
                    <a:lnTo>
                      <a:pt x="1203" y="1029"/>
                    </a:lnTo>
                    <a:lnTo>
                      <a:pt x="1203" y="1027"/>
                    </a:lnTo>
                    <a:lnTo>
                      <a:pt x="1203" y="1026"/>
                    </a:lnTo>
                    <a:lnTo>
                      <a:pt x="1205" y="1026"/>
                    </a:lnTo>
                    <a:close/>
                    <a:moveTo>
                      <a:pt x="1154" y="1282"/>
                    </a:moveTo>
                    <a:lnTo>
                      <a:pt x="1156" y="1284"/>
                    </a:lnTo>
                    <a:lnTo>
                      <a:pt x="1156" y="1286"/>
                    </a:lnTo>
                    <a:lnTo>
                      <a:pt x="1156" y="1288"/>
                    </a:lnTo>
                    <a:lnTo>
                      <a:pt x="1154" y="1288"/>
                    </a:lnTo>
                    <a:lnTo>
                      <a:pt x="1154" y="1286"/>
                    </a:lnTo>
                    <a:lnTo>
                      <a:pt x="1154" y="1288"/>
                    </a:lnTo>
                    <a:lnTo>
                      <a:pt x="1152" y="1288"/>
                    </a:lnTo>
                    <a:lnTo>
                      <a:pt x="1154" y="1286"/>
                    </a:lnTo>
                    <a:lnTo>
                      <a:pt x="1152" y="1286"/>
                    </a:lnTo>
                    <a:lnTo>
                      <a:pt x="1152" y="1288"/>
                    </a:lnTo>
                    <a:lnTo>
                      <a:pt x="1151" y="1288"/>
                    </a:lnTo>
                    <a:lnTo>
                      <a:pt x="1152" y="1286"/>
                    </a:lnTo>
                    <a:lnTo>
                      <a:pt x="1152" y="1284"/>
                    </a:lnTo>
                    <a:lnTo>
                      <a:pt x="1154" y="1284"/>
                    </a:lnTo>
                    <a:lnTo>
                      <a:pt x="1154" y="1282"/>
                    </a:lnTo>
                    <a:close/>
                    <a:moveTo>
                      <a:pt x="1193" y="1071"/>
                    </a:moveTo>
                    <a:lnTo>
                      <a:pt x="1193" y="1073"/>
                    </a:lnTo>
                    <a:lnTo>
                      <a:pt x="1193" y="1075"/>
                    </a:lnTo>
                    <a:lnTo>
                      <a:pt x="1193" y="1077"/>
                    </a:lnTo>
                    <a:lnTo>
                      <a:pt x="1191" y="1077"/>
                    </a:lnTo>
                    <a:lnTo>
                      <a:pt x="1191" y="1075"/>
                    </a:lnTo>
                    <a:lnTo>
                      <a:pt x="1190" y="1075"/>
                    </a:lnTo>
                    <a:lnTo>
                      <a:pt x="1191" y="1073"/>
                    </a:lnTo>
                    <a:lnTo>
                      <a:pt x="1191" y="1071"/>
                    </a:lnTo>
                    <a:lnTo>
                      <a:pt x="1193" y="1071"/>
                    </a:lnTo>
                    <a:close/>
                    <a:moveTo>
                      <a:pt x="1176" y="1381"/>
                    </a:moveTo>
                    <a:lnTo>
                      <a:pt x="1176" y="1383"/>
                    </a:lnTo>
                    <a:lnTo>
                      <a:pt x="1176" y="1384"/>
                    </a:lnTo>
                    <a:lnTo>
                      <a:pt x="1176" y="1386"/>
                    </a:lnTo>
                    <a:lnTo>
                      <a:pt x="1174" y="1386"/>
                    </a:lnTo>
                    <a:lnTo>
                      <a:pt x="1173" y="1386"/>
                    </a:lnTo>
                    <a:lnTo>
                      <a:pt x="1174" y="1386"/>
                    </a:lnTo>
                    <a:lnTo>
                      <a:pt x="1174" y="1384"/>
                    </a:lnTo>
                    <a:lnTo>
                      <a:pt x="1174" y="1383"/>
                    </a:lnTo>
                    <a:lnTo>
                      <a:pt x="1173" y="1384"/>
                    </a:lnTo>
                    <a:lnTo>
                      <a:pt x="1174" y="1383"/>
                    </a:lnTo>
                    <a:lnTo>
                      <a:pt x="1173" y="1383"/>
                    </a:lnTo>
                    <a:lnTo>
                      <a:pt x="1174" y="1381"/>
                    </a:lnTo>
                    <a:lnTo>
                      <a:pt x="1176" y="1381"/>
                    </a:lnTo>
                    <a:close/>
                    <a:moveTo>
                      <a:pt x="1253" y="1597"/>
                    </a:moveTo>
                    <a:lnTo>
                      <a:pt x="1254" y="1597"/>
                    </a:lnTo>
                    <a:lnTo>
                      <a:pt x="1254" y="1599"/>
                    </a:lnTo>
                    <a:lnTo>
                      <a:pt x="1256" y="1597"/>
                    </a:lnTo>
                    <a:lnTo>
                      <a:pt x="1254" y="1599"/>
                    </a:lnTo>
                    <a:lnTo>
                      <a:pt x="1256" y="1599"/>
                    </a:lnTo>
                    <a:lnTo>
                      <a:pt x="1256" y="1600"/>
                    </a:lnTo>
                    <a:lnTo>
                      <a:pt x="1254" y="1602"/>
                    </a:lnTo>
                    <a:lnTo>
                      <a:pt x="1254" y="1600"/>
                    </a:lnTo>
                    <a:lnTo>
                      <a:pt x="1254" y="1599"/>
                    </a:lnTo>
                    <a:lnTo>
                      <a:pt x="1254" y="1600"/>
                    </a:lnTo>
                    <a:lnTo>
                      <a:pt x="1253" y="1602"/>
                    </a:lnTo>
                    <a:lnTo>
                      <a:pt x="1253" y="1600"/>
                    </a:lnTo>
                    <a:lnTo>
                      <a:pt x="1251" y="1599"/>
                    </a:lnTo>
                    <a:lnTo>
                      <a:pt x="1251" y="1597"/>
                    </a:lnTo>
                    <a:lnTo>
                      <a:pt x="1253" y="1597"/>
                    </a:lnTo>
                    <a:close/>
                    <a:moveTo>
                      <a:pt x="1414" y="1669"/>
                    </a:moveTo>
                    <a:lnTo>
                      <a:pt x="1414" y="1670"/>
                    </a:lnTo>
                    <a:lnTo>
                      <a:pt x="1412" y="1670"/>
                    </a:lnTo>
                    <a:lnTo>
                      <a:pt x="1412" y="1672"/>
                    </a:lnTo>
                    <a:lnTo>
                      <a:pt x="1412" y="1674"/>
                    </a:lnTo>
                    <a:lnTo>
                      <a:pt x="1412" y="1672"/>
                    </a:lnTo>
                    <a:lnTo>
                      <a:pt x="1411" y="1674"/>
                    </a:lnTo>
                    <a:lnTo>
                      <a:pt x="1409" y="1674"/>
                    </a:lnTo>
                    <a:lnTo>
                      <a:pt x="1411" y="1674"/>
                    </a:lnTo>
                    <a:lnTo>
                      <a:pt x="1409" y="1672"/>
                    </a:lnTo>
                    <a:lnTo>
                      <a:pt x="1411" y="1672"/>
                    </a:lnTo>
                    <a:lnTo>
                      <a:pt x="1411" y="1670"/>
                    </a:lnTo>
                    <a:lnTo>
                      <a:pt x="1412" y="1670"/>
                    </a:lnTo>
                    <a:lnTo>
                      <a:pt x="1411" y="1670"/>
                    </a:lnTo>
                    <a:lnTo>
                      <a:pt x="1411" y="1669"/>
                    </a:lnTo>
                    <a:lnTo>
                      <a:pt x="1412" y="1667"/>
                    </a:lnTo>
                    <a:lnTo>
                      <a:pt x="1412" y="1669"/>
                    </a:lnTo>
                    <a:lnTo>
                      <a:pt x="1414" y="1669"/>
                    </a:lnTo>
                    <a:close/>
                    <a:moveTo>
                      <a:pt x="1205" y="1049"/>
                    </a:moveTo>
                    <a:lnTo>
                      <a:pt x="1205" y="1051"/>
                    </a:lnTo>
                    <a:lnTo>
                      <a:pt x="1205" y="1053"/>
                    </a:lnTo>
                    <a:lnTo>
                      <a:pt x="1205" y="1051"/>
                    </a:lnTo>
                    <a:lnTo>
                      <a:pt x="1205" y="1053"/>
                    </a:lnTo>
                    <a:lnTo>
                      <a:pt x="1203" y="1053"/>
                    </a:lnTo>
                    <a:lnTo>
                      <a:pt x="1202" y="1053"/>
                    </a:lnTo>
                    <a:lnTo>
                      <a:pt x="1202" y="1051"/>
                    </a:lnTo>
                    <a:lnTo>
                      <a:pt x="1200" y="1051"/>
                    </a:lnTo>
                    <a:lnTo>
                      <a:pt x="1202" y="1049"/>
                    </a:lnTo>
                    <a:lnTo>
                      <a:pt x="1202" y="1051"/>
                    </a:lnTo>
                    <a:lnTo>
                      <a:pt x="1203" y="1049"/>
                    </a:lnTo>
                    <a:lnTo>
                      <a:pt x="1203" y="1051"/>
                    </a:lnTo>
                    <a:lnTo>
                      <a:pt x="1203" y="1049"/>
                    </a:lnTo>
                    <a:lnTo>
                      <a:pt x="1205" y="1049"/>
                    </a:lnTo>
                    <a:close/>
                    <a:moveTo>
                      <a:pt x="1217" y="1551"/>
                    </a:moveTo>
                    <a:lnTo>
                      <a:pt x="1219" y="1551"/>
                    </a:lnTo>
                    <a:lnTo>
                      <a:pt x="1220" y="1553"/>
                    </a:lnTo>
                    <a:lnTo>
                      <a:pt x="1222" y="1555"/>
                    </a:lnTo>
                    <a:lnTo>
                      <a:pt x="1220" y="1555"/>
                    </a:lnTo>
                    <a:lnTo>
                      <a:pt x="1222" y="1555"/>
                    </a:lnTo>
                    <a:lnTo>
                      <a:pt x="1220" y="1555"/>
                    </a:lnTo>
                    <a:lnTo>
                      <a:pt x="1219" y="1553"/>
                    </a:lnTo>
                    <a:lnTo>
                      <a:pt x="1217" y="1551"/>
                    </a:lnTo>
                    <a:lnTo>
                      <a:pt x="1219" y="1553"/>
                    </a:lnTo>
                    <a:lnTo>
                      <a:pt x="1217" y="1553"/>
                    </a:lnTo>
                    <a:lnTo>
                      <a:pt x="1215" y="1553"/>
                    </a:lnTo>
                    <a:lnTo>
                      <a:pt x="1215" y="1555"/>
                    </a:lnTo>
                    <a:lnTo>
                      <a:pt x="1213" y="1553"/>
                    </a:lnTo>
                    <a:lnTo>
                      <a:pt x="1215" y="1553"/>
                    </a:lnTo>
                    <a:lnTo>
                      <a:pt x="1215" y="1551"/>
                    </a:lnTo>
                    <a:lnTo>
                      <a:pt x="1217" y="1551"/>
                    </a:lnTo>
                    <a:close/>
                    <a:moveTo>
                      <a:pt x="1361" y="1653"/>
                    </a:moveTo>
                    <a:lnTo>
                      <a:pt x="1361" y="1655"/>
                    </a:lnTo>
                    <a:lnTo>
                      <a:pt x="1363" y="1655"/>
                    </a:lnTo>
                    <a:lnTo>
                      <a:pt x="1363" y="1657"/>
                    </a:lnTo>
                    <a:lnTo>
                      <a:pt x="1361" y="1657"/>
                    </a:lnTo>
                    <a:lnTo>
                      <a:pt x="1363" y="1657"/>
                    </a:lnTo>
                    <a:lnTo>
                      <a:pt x="1365" y="1657"/>
                    </a:lnTo>
                    <a:lnTo>
                      <a:pt x="1365" y="1658"/>
                    </a:lnTo>
                    <a:lnTo>
                      <a:pt x="1366" y="1658"/>
                    </a:lnTo>
                    <a:lnTo>
                      <a:pt x="1366" y="1660"/>
                    </a:lnTo>
                    <a:lnTo>
                      <a:pt x="1365" y="1660"/>
                    </a:lnTo>
                    <a:lnTo>
                      <a:pt x="1365" y="1658"/>
                    </a:lnTo>
                    <a:lnTo>
                      <a:pt x="1363" y="1658"/>
                    </a:lnTo>
                    <a:lnTo>
                      <a:pt x="1363" y="1657"/>
                    </a:lnTo>
                    <a:lnTo>
                      <a:pt x="1361" y="1657"/>
                    </a:lnTo>
                    <a:lnTo>
                      <a:pt x="1361" y="1655"/>
                    </a:lnTo>
                    <a:lnTo>
                      <a:pt x="1360" y="1653"/>
                    </a:lnTo>
                    <a:lnTo>
                      <a:pt x="1358" y="1653"/>
                    </a:lnTo>
                    <a:lnTo>
                      <a:pt x="1360" y="1652"/>
                    </a:lnTo>
                    <a:lnTo>
                      <a:pt x="1361" y="1653"/>
                    </a:lnTo>
                    <a:close/>
                    <a:moveTo>
                      <a:pt x="1171" y="1247"/>
                    </a:moveTo>
                    <a:lnTo>
                      <a:pt x="1173" y="1248"/>
                    </a:lnTo>
                    <a:lnTo>
                      <a:pt x="1173" y="1250"/>
                    </a:lnTo>
                    <a:lnTo>
                      <a:pt x="1173" y="1252"/>
                    </a:lnTo>
                    <a:lnTo>
                      <a:pt x="1173" y="1253"/>
                    </a:lnTo>
                    <a:lnTo>
                      <a:pt x="1171" y="1252"/>
                    </a:lnTo>
                    <a:lnTo>
                      <a:pt x="1173" y="1253"/>
                    </a:lnTo>
                    <a:lnTo>
                      <a:pt x="1173" y="1252"/>
                    </a:lnTo>
                    <a:lnTo>
                      <a:pt x="1171" y="1252"/>
                    </a:lnTo>
                    <a:lnTo>
                      <a:pt x="1171" y="1250"/>
                    </a:lnTo>
                    <a:lnTo>
                      <a:pt x="1171" y="1248"/>
                    </a:lnTo>
                    <a:lnTo>
                      <a:pt x="1171" y="1247"/>
                    </a:lnTo>
                    <a:close/>
                    <a:moveTo>
                      <a:pt x="1370" y="1646"/>
                    </a:moveTo>
                    <a:lnTo>
                      <a:pt x="1370" y="1648"/>
                    </a:lnTo>
                    <a:lnTo>
                      <a:pt x="1368" y="1650"/>
                    </a:lnTo>
                    <a:lnTo>
                      <a:pt x="1370" y="1650"/>
                    </a:lnTo>
                    <a:lnTo>
                      <a:pt x="1368" y="1652"/>
                    </a:lnTo>
                    <a:lnTo>
                      <a:pt x="1368" y="1653"/>
                    </a:lnTo>
                    <a:lnTo>
                      <a:pt x="1366" y="1653"/>
                    </a:lnTo>
                    <a:lnTo>
                      <a:pt x="1368" y="1653"/>
                    </a:lnTo>
                    <a:lnTo>
                      <a:pt x="1366" y="1653"/>
                    </a:lnTo>
                    <a:lnTo>
                      <a:pt x="1366" y="1652"/>
                    </a:lnTo>
                    <a:lnTo>
                      <a:pt x="1366" y="1650"/>
                    </a:lnTo>
                    <a:lnTo>
                      <a:pt x="1368" y="1648"/>
                    </a:lnTo>
                    <a:lnTo>
                      <a:pt x="1368" y="1646"/>
                    </a:lnTo>
                    <a:lnTo>
                      <a:pt x="1370" y="1646"/>
                    </a:lnTo>
                    <a:close/>
                    <a:moveTo>
                      <a:pt x="1346" y="1658"/>
                    </a:moveTo>
                    <a:lnTo>
                      <a:pt x="1348" y="1658"/>
                    </a:lnTo>
                    <a:lnTo>
                      <a:pt x="1348" y="1660"/>
                    </a:lnTo>
                    <a:lnTo>
                      <a:pt x="1349" y="1660"/>
                    </a:lnTo>
                    <a:lnTo>
                      <a:pt x="1349" y="1662"/>
                    </a:lnTo>
                    <a:lnTo>
                      <a:pt x="1348" y="1663"/>
                    </a:lnTo>
                    <a:lnTo>
                      <a:pt x="1348" y="1662"/>
                    </a:lnTo>
                    <a:lnTo>
                      <a:pt x="1348" y="1660"/>
                    </a:lnTo>
                    <a:lnTo>
                      <a:pt x="1346" y="1660"/>
                    </a:lnTo>
                    <a:lnTo>
                      <a:pt x="1344" y="1660"/>
                    </a:lnTo>
                    <a:lnTo>
                      <a:pt x="1346" y="1658"/>
                    </a:lnTo>
                    <a:lnTo>
                      <a:pt x="1344" y="1658"/>
                    </a:lnTo>
                    <a:lnTo>
                      <a:pt x="1344" y="1657"/>
                    </a:lnTo>
                    <a:lnTo>
                      <a:pt x="1346" y="1658"/>
                    </a:lnTo>
                    <a:close/>
                    <a:moveTo>
                      <a:pt x="1179" y="1140"/>
                    </a:moveTo>
                    <a:lnTo>
                      <a:pt x="1179" y="1141"/>
                    </a:lnTo>
                    <a:lnTo>
                      <a:pt x="1181" y="1141"/>
                    </a:lnTo>
                    <a:lnTo>
                      <a:pt x="1181" y="1143"/>
                    </a:lnTo>
                    <a:lnTo>
                      <a:pt x="1179" y="1145"/>
                    </a:lnTo>
                    <a:lnTo>
                      <a:pt x="1179" y="1143"/>
                    </a:lnTo>
                    <a:lnTo>
                      <a:pt x="1178" y="1143"/>
                    </a:lnTo>
                    <a:lnTo>
                      <a:pt x="1176" y="1143"/>
                    </a:lnTo>
                    <a:lnTo>
                      <a:pt x="1178" y="1143"/>
                    </a:lnTo>
                    <a:lnTo>
                      <a:pt x="1178" y="1141"/>
                    </a:lnTo>
                    <a:lnTo>
                      <a:pt x="1178" y="1140"/>
                    </a:lnTo>
                    <a:lnTo>
                      <a:pt x="1179" y="1140"/>
                    </a:lnTo>
                    <a:close/>
                    <a:moveTo>
                      <a:pt x="1205" y="1453"/>
                    </a:moveTo>
                    <a:lnTo>
                      <a:pt x="1205" y="1454"/>
                    </a:lnTo>
                    <a:lnTo>
                      <a:pt x="1207" y="1454"/>
                    </a:lnTo>
                    <a:lnTo>
                      <a:pt x="1207" y="1456"/>
                    </a:lnTo>
                    <a:lnTo>
                      <a:pt x="1207" y="1458"/>
                    </a:lnTo>
                    <a:lnTo>
                      <a:pt x="1207" y="1459"/>
                    </a:lnTo>
                    <a:lnTo>
                      <a:pt x="1205" y="1458"/>
                    </a:lnTo>
                    <a:lnTo>
                      <a:pt x="1205" y="1456"/>
                    </a:lnTo>
                    <a:lnTo>
                      <a:pt x="1203" y="1456"/>
                    </a:lnTo>
                    <a:lnTo>
                      <a:pt x="1203" y="1454"/>
                    </a:lnTo>
                    <a:lnTo>
                      <a:pt x="1203" y="1453"/>
                    </a:lnTo>
                    <a:lnTo>
                      <a:pt x="1205" y="1453"/>
                    </a:lnTo>
                    <a:close/>
                    <a:moveTo>
                      <a:pt x="1429" y="1680"/>
                    </a:moveTo>
                    <a:lnTo>
                      <a:pt x="1429" y="1682"/>
                    </a:lnTo>
                    <a:lnTo>
                      <a:pt x="1428" y="1682"/>
                    </a:lnTo>
                    <a:lnTo>
                      <a:pt x="1429" y="1684"/>
                    </a:lnTo>
                    <a:lnTo>
                      <a:pt x="1429" y="1686"/>
                    </a:lnTo>
                    <a:lnTo>
                      <a:pt x="1431" y="1686"/>
                    </a:lnTo>
                    <a:lnTo>
                      <a:pt x="1429" y="1687"/>
                    </a:lnTo>
                    <a:lnTo>
                      <a:pt x="1429" y="1686"/>
                    </a:lnTo>
                    <a:lnTo>
                      <a:pt x="1428" y="1686"/>
                    </a:lnTo>
                    <a:lnTo>
                      <a:pt x="1426" y="1686"/>
                    </a:lnTo>
                    <a:lnTo>
                      <a:pt x="1426" y="1684"/>
                    </a:lnTo>
                    <a:lnTo>
                      <a:pt x="1428" y="1682"/>
                    </a:lnTo>
                    <a:lnTo>
                      <a:pt x="1429" y="1680"/>
                    </a:lnTo>
                    <a:close/>
                    <a:moveTo>
                      <a:pt x="1186" y="1073"/>
                    </a:moveTo>
                    <a:lnTo>
                      <a:pt x="1188" y="1073"/>
                    </a:lnTo>
                    <a:lnTo>
                      <a:pt x="1188" y="1075"/>
                    </a:lnTo>
                    <a:lnTo>
                      <a:pt x="1186" y="1075"/>
                    </a:lnTo>
                    <a:lnTo>
                      <a:pt x="1185" y="1075"/>
                    </a:lnTo>
                    <a:lnTo>
                      <a:pt x="1183" y="1075"/>
                    </a:lnTo>
                    <a:lnTo>
                      <a:pt x="1183" y="1077"/>
                    </a:lnTo>
                    <a:lnTo>
                      <a:pt x="1181" y="1075"/>
                    </a:lnTo>
                    <a:lnTo>
                      <a:pt x="1183" y="1075"/>
                    </a:lnTo>
                    <a:lnTo>
                      <a:pt x="1183" y="1073"/>
                    </a:lnTo>
                    <a:lnTo>
                      <a:pt x="1183" y="1075"/>
                    </a:lnTo>
                    <a:lnTo>
                      <a:pt x="1185" y="1075"/>
                    </a:lnTo>
                    <a:lnTo>
                      <a:pt x="1183" y="1073"/>
                    </a:lnTo>
                    <a:lnTo>
                      <a:pt x="1185" y="1073"/>
                    </a:lnTo>
                    <a:lnTo>
                      <a:pt x="1185" y="1071"/>
                    </a:lnTo>
                    <a:lnTo>
                      <a:pt x="1186" y="1073"/>
                    </a:lnTo>
                    <a:close/>
                    <a:moveTo>
                      <a:pt x="1202" y="1485"/>
                    </a:moveTo>
                    <a:lnTo>
                      <a:pt x="1202" y="1487"/>
                    </a:lnTo>
                    <a:lnTo>
                      <a:pt x="1200" y="1487"/>
                    </a:lnTo>
                    <a:lnTo>
                      <a:pt x="1200" y="1488"/>
                    </a:lnTo>
                    <a:lnTo>
                      <a:pt x="1198" y="1488"/>
                    </a:lnTo>
                    <a:lnTo>
                      <a:pt x="1196" y="1488"/>
                    </a:lnTo>
                    <a:lnTo>
                      <a:pt x="1198" y="1487"/>
                    </a:lnTo>
                    <a:lnTo>
                      <a:pt x="1198" y="1485"/>
                    </a:lnTo>
                    <a:lnTo>
                      <a:pt x="1200" y="1485"/>
                    </a:lnTo>
                    <a:lnTo>
                      <a:pt x="1202" y="1485"/>
                    </a:lnTo>
                    <a:close/>
                    <a:moveTo>
                      <a:pt x="1179" y="1242"/>
                    </a:moveTo>
                    <a:lnTo>
                      <a:pt x="1179" y="1243"/>
                    </a:lnTo>
                    <a:lnTo>
                      <a:pt x="1178" y="1243"/>
                    </a:lnTo>
                    <a:lnTo>
                      <a:pt x="1178" y="1245"/>
                    </a:lnTo>
                    <a:lnTo>
                      <a:pt x="1176" y="1245"/>
                    </a:lnTo>
                    <a:lnTo>
                      <a:pt x="1176" y="1243"/>
                    </a:lnTo>
                    <a:lnTo>
                      <a:pt x="1176" y="1242"/>
                    </a:lnTo>
                    <a:lnTo>
                      <a:pt x="1178" y="1242"/>
                    </a:lnTo>
                    <a:lnTo>
                      <a:pt x="1179" y="1242"/>
                    </a:lnTo>
                    <a:close/>
                    <a:moveTo>
                      <a:pt x="1196" y="1526"/>
                    </a:moveTo>
                    <a:lnTo>
                      <a:pt x="1198" y="1526"/>
                    </a:lnTo>
                    <a:lnTo>
                      <a:pt x="1196" y="1527"/>
                    </a:lnTo>
                    <a:lnTo>
                      <a:pt x="1198" y="1527"/>
                    </a:lnTo>
                    <a:lnTo>
                      <a:pt x="1200" y="1529"/>
                    </a:lnTo>
                    <a:lnTo>
                      <a:pt x="1200" y="1531"/>
                    </a:lnTo>
                    <a:lnTo>
                      <a:pt x="1200" y="1529"/>
                    </a:lnTo>
                    <a:lnTo>
                      <a:pt x="1198" y="1529"/>
                    </a:lnTo>
                    <a:lnTo>
                      <a:pt x="1198" y="1527"/>
                    </a:lnTo>
                    <a:lnTo>
                      <a:pt x="1198" y="1529"/>
                    </a:lnTo>
                    <a:lnTo>
                      <a:pt x="1196" y="1529"/>
                    </a:lnTo>
                    <a:lnTo>
                      <a:pt x="1196" y="1527"/>
                    </a:lnTo>
                    <a:lnTo>
                      <a:pt x="1195" y="1527"/>
                    </a:lnTo>
                    <a:lnTo>
                      <a:pt x="1195" y="1529"/>
                    </a:lnTo>
                    <a:lnTo>
                      <a:pt x="1195" y="1527"/>
                    </a:lnTo>
                    <a:lnTo>
                      <a:pt x="1193" y="1526"/>
                    </a:lnTo>
                    <a:lnTo>
                      <a:pt x="1195" y="1526"/>
                    </a:lnTo>
                    <a:lnTo>
                      <a:pt x="1196" y="1526"/>
                    </a:lnTo>
                    <a:close/>
                    <a:moveTo>
                      <a:pt x="1166" y="1435"/>
                    </a:moveTo>
                    <a:lnTo>
                      <a:pt x="1166" y="1437"/>
                    </a:lnTo>
                    <a:lnTo>
                      <a:pt x="1164" y="1437"/>
                    </a:lnTo>
                    <a:lnTo>
                      <a:pt x="1166" y="1437"/>
                    </a:lnTo>
                    <a:lnTo>
                      <a:pt x="1164" y="1437"/>
                    </a:lnTo>
                    <a:lnTo>
                      <a:pt x="1164" y="1435"/>
                    </a:lnTo>
                    <a:lnTo>
                      <a:pt x="1164" y="1437"/>
                    </a:lnTo>
                    <a:lnTo>
                      <a:pt x="1162" y="1437"/>
                    </a:lnTo>
                    <a:lnTo>
                      <a:pt x="1162" y="1435"/>
                    </a:lnTo>
                    <a:lnTo>
                      <a:pt x="1162" y="1434"/>
                    </a:lnTo>
                    <a:lnTo>
                      <a:pt x="1164" y="1434"/>
                    </a:lnTo>
                    <a:lnTo>
                      <a:pt x="1166" y="1432"/>
                    </a:lnTo>
                    <a:lnTo>
                      <a:pt x="1166" y="1434"/>
                    </a:lnTo>
                    <a:lnTo>
                      <a:pt x="1166" y="1435"/>
                    </a:lnTo>
                    <a:close/>
                    <a:moveTo>
                      <a:pt x="1217" y="1107"/>
                    </a:moveTo>
                    <a:lnTo>
                      <a:pt x="1217" y="1109"/>
                    </a:lnTo>
                    <a:lnTo>
                      <a:pt x="1219" y="1111"/>
                    </a:lnTo>
                    <a:lnTo>
                      <a:pt x="1219" y="1112"/>
                    </a:lnTo>
                    <a:lnTo>
                      <a:pt x="1217" y="1112"/>
                    </a:lnTo>
                    <a:lnTo>
                      <a:pt x="1215" y="1111"/>
                    </a:lnTo>
                    <a:lnTo>
                      <a:pt x="1215" y="1109"/>
                    </a:lnTo>
                    <a:lnTo>
                      <a:pt x="1215" y="1111"/>
                    </a:lnTo>
                    <a:lnTo>
                      <a:pt x="1215" y="1109"/>
                    </a:lnTo>
                    <a:lnTo>
                      <a:pt x="1215" y="1107"/>
                    </a:lnTo>
                    <a:lnTo>
                      <a:pt x="1217" y="1107"/>
                    </a:lnTo>
                    <a:close/>
                    <a:moveTo>
                      <a:pt x="1202" y="1141"/>
                    </a:moveTo>
                    <a:lnTo>
                      <a:pt x="1203" y="1141"/>
                    </a:lnTo>
                    <a:lnTo>
                      <a:pt x="1203" y="1143"/>
                    </a:lnTo>
                    <a:lnTo>
                      <a:pt x="1205" y="1143"/>
                    </a:lnTo>
                    <a:lnTo>
                      <a:pt x="1203" y="1143"/>
                    </a:lnTo>
                    <a:lnTo>
                      <a:pt x="1203" y="1145"/>
                    </a:lnTo>
                    <a:lnTo>
                      <a:pt x="1202" y="1145"/>
                    </a:lnTo>
                    <a:lnTo>
                      <a:pt x="1200" y="1145"/>
                    </a:lnTo>
                    <a:lnTo>
                      <a:pt x="1202" y="1143"/>
                    </a:lnTo>
                    <a:lnTo>
                      <a:pt x="1200" y="1145"/>
                    </a:lnTo>
                    <a:lnTo>
                      <a:pt x="1200" y="1143"/>
                    </a:lnTo>
                    <a:lnTo>
                      <a:pt x="1202" y="1141"/>
                    </a:lnTo>
                    <a:close/>
                    <a:moveTo>
                      <a:pt x="1168" y="1407"/>
                    </a:moveTo>
                    <a:lnTo>
                      <a:pt x="1169" y="1407"/>
                    </a:lnTo>
                    <a:lnTo>
                      <a:pt x="1168" y="1408"/>
                    </a:lnTo>
                    <a:lnTo>
                      <a:pt x="1166" y="1408"/>
                    </a:lnTo>
                    <a:lnTo>
                      <a:pt x="1166" y="1410"/>
                    </a:lnTo>
                    <a:lnTo>
                      <a:pt x="1164" y="1412"/>
                    </a:lnTo>
                    <a:lnTo>
                      <a:pt x="1164" y="1410"/>
                    </a:lnTo>
                    <a:lnTo>
                      <a:pt x="1166" y="1410"/>
                    </a:lnTo>
                    <a:lnTo>
                      <a:pt x="1166" y="1408"/>
                    </a:lnTo>
                    <a:lnTo>
                      <a:pt x="1164" y="1408"/>
                    </a:lnTo>
                    <a:lnTo>
                      <a:pt x="1166" y="1408"/>
                    </a:lnTo>
                    <a:lnTo>
                      <a:pt x="1166" y="1407"/>
                    </a:lnTo>
                    <a:lnTo>
                      <a:pt x="1168" y="1407"/>
                    </a:lnTo>
                    <a:close/>
                    <a:moveTo>
                      <a:pt x="965" y="610"/>
                    </a:moveTo>
                    <a:lnTo>
                      <a:pt x="969" y="610"/>
                    </a:lnTo>
                    <a:lnTo>
                      <a:pt x="969" y="614"/>
                    </a:lnTo>
                    <a:lnTo>
                      <a:pt x="965" y="614"/>
                    </a:lnTo>
                    <a:lnTo>
                      <a:pt x="965" y="610"/>
                    </a:lnTo>
                    <a:close/>
                    <a:moveTo>
                      <a:pt x="1229" y="1071"/>
                    </a:moveTo>
                    <a:lnTo>
                      <a:pt x="1230" y="1071"/>
                    </a:lnTo>
                    <a:lnTo>
                      <a:pt x="1230" y="1073"/>
                    </a:lnTo>
                    <a:lnTo>
                      <a:pt x="1229" y="1073"/>
                    </a:lnTo>
                    <a:lnTo>
                      <a:pt x="1229" y="1075"/>
                    </a:lnTo>
                    <a:lnTo>
                      <a:pt x="1227" y="1075"/>
                    </a:lnTo>
                    <a:lnTo>
                      <a:pt x="1227" y="1073"/>
                    </a:lnTo>
                    <a:lnTo>
                      <a:pt x="1227" y="1075"/>
                    </a:lnTo>
                    <a:lnTo>
                      <a:pt x="1225" y="1075"/>
                    </a:lnTo>
                    <a:lnTo>
                      <a:pt x="1225" y="1073"/>
                    </a:lnTo>
                    <a:lnTo>
                      <a:pt x="1227" y="1073"/>
                    </a:lnTo>
                    <a:lnTo>
                      <a:pt x="1227" y="1071"/>
                    </a:lnTo>
                    <a:lnTo>
                      <a:pt x="1229" y="1071"/>
                    </a:lnTo>
                    <a:close/>
                    <a:moveTo>
                      <a:pt x="1174" y="1242"/>
                    </a:moveTo>
                    <a:lnTo>
                      <a:pt x="1174" y="1243"/>
                    </a:lnTo>
                    <a:lnTo>
                      <a:pt x="1176" y="1245"/>
                    </a:lnTo>
                    <a:lnTo>
                      <a:pt x="1174" y="1245"/>
                    </a:lnTo>
                    <a:lnTo>
                      <a:pt x="1173" y="1245"/>
                    </a:lnTo>
                    <a:lnTo>
                      <a:pt x="1174" y="1245"/>
                    </a:lnTo>
                    <a:lnTo>
                      <a:pt x="1173" y="1245"/>
                    </a:lnTo>
                    <a:lnTo>
                      <a:pt x="1173" y="1243"/>
                    </a:lnTo>
                    <a:lnTo>
                      <a:pt x="1173" y="1242"/>
                    </a:lnTo>
                    <a:lnTo>
                      <a:pt x="1174" y="1242"/>
                    </a:lnTo>
                    <a:close/>
                    <a:moveTo>
                      <a:pt x="1198" y="803"/>
                    </a:moveTo>
                    <a:lnTo>
                      <a:pt x="1200" y="803"/>
                    </a:lnTo>
                    <a:lnTo>
                      <a:pt x="1200" y="804"/>
                    </a:lnTo>
                    <a:lnTo>
                      <a:pt x="1202" y="804"/>
                    </a:lnTo>
                    <a:lnTo>
                      <a:pt x="1200" y="804"/>
                    </a:lnTo>
                    <a:lnTo>
                      <a:pt x="1202" y="804"/>
                    </a:lnTo>
                    <a:lnTo>
                      <a:pt x="1200" y="804"/>
                    </a:lnTo>
                    <a:lnTo>
                      <a:pt x="1200" y="806"/>
                    </a:lnTo>
                    <a:lnTo>
                      <a:pt x="1198" y="806"/>
                    </a:lnTo>
                    <a:lnTo>
                      <a:pt x="1198" y="804"/>
                    </a:lnTo>
                    <a:lnTo>
                      <a:pt x="1198" y="803"/>
                    </a:lnTo>
                    <a:lnTo>
                      <a:pt x="1198" y="801"/>
                    </a:lnTo>
                    <a:lnTo>
                      <a:pt x="1198" y="803"/>
                    </a:lnTo>
                    <a:close/>
                    <a:moveTo>
                      <a:pt x="1178" y="1453"/>
                    </a:moveTo>
                    <a:lnTo>
                      <a:pt x="1178" y="1454"/>
                    </a:lnTo>
                    <a:lnTo>
                      <a:pt x="1178" y="1456"/>
                    </a:lnTo>
                    <a:lnTo>
                      <a:pt x="1178" y="1454"/>
                    </a:lnTo>
                    <a:lnTo>
                      <a:pt x="1178" y="1456"/>
                    </a:lnTo>
                    <a:lnTo>
                      <a:pt x="1176" y="1458"/>
                    </a:lnTo>
                    <a:lnTo>
                      <a:pt x="1178" y="1458"/>
                    </a:lnTo>
                    <a:lnTo>
                      <a:pt x="1178" y="1456"/>
                    </a:lnTo>
                    <a:lnTo>
                      <a:pt x="1178" y="1458"/>
                    </a:lnTo>
                    <a:lnTo>
                      <a:pt x="1176" y="1458"/>
                    </a:lnTo>
                    <a:lnTo>
                      <a:pt x="1176" y="1459"/>
                    </a:lnTo>
                    <a:lnTo>
                      <a:pt x="1174" y="1459"/>
                    </a:lnTo>
                    <a:lnTo>
                      <a:pt x="1174" y="1458"/>
                    </a:lnTo>
                    <a:lnTo>
                      <a:pt x="1176" y="1458"/>
                    </a:lnTo>
                    <a:lnTo>
                      <a:pt x="1176" y="1456"/>
                    </a:lnTo>
                    <a:lnTo>
                      <a:pt x="1176" y="1454"/>
                    </a:lnTo>
                    <a:lnTo>
                      <a:pt x="1178" y="1454"/>
                    </a:lnTo>
                    <a:lnTo>
                      <a:pt x="1178" y="1453"/>
                    </a:lnTo>
                    <a:close/>
                    <a:moveTo>
                      <a:pt x="1208" y="1068"/>
                    </a:moveTo>
                    <a:lnTo>
                      <a:pt x="1208" y="1070"/>
                    </a:lnTo>
                    <a:lnTo>
                      <a:pt x="1207" y="1071"/>
                    </a:lnTo>
                    <a:lnTo>
                      <a:pt x="1205" y="1071"/>
                    </a:lnTo>
                    <a:lnTo>
                      <a:pt x="1205" y="1070"/>
                    </a:lnTo>
                    <a:lnTo>
                      <a:pt x="1205" y="1068"/>
                    </a:lnTo>
                    <a:lnTo>
                      <a:pt x="1207" y="1070"/>
                    </a:lnTo>
                    <a:lnTo>
                      <a:pt x="1207" y="1068"/>
                    </a:lnTo>
                    <a:lnTo>
                      <a:pt x="1208" y="1068"/>
                    </a:lnTo>
                    <a:close/>
                    <a:moveTo>
                      <a:pt x="1278" y="1614"/>
                    </a:moveTo>
                    <a:lnTo>
                      <a:pt x="1278" y="1616"/>
                    </a:lnTo>
                    <a:lnTo>
                      <a:pt x="1280" y="1616"/>
                    </a:lnTo>
                    <a:lnTo>
                      <a:pt x="1278" y="1618"/>
                    </a:lnTo>
                    <a:lnTo>
                      <a:pt x="1276" y="1619"/>
                    </a:lnTo>
                    <a:lnTo>
                      <a:pt x="1276" y="1618"/>
                    </a:lnTo>
                    <a:lnTo>
                      <a:pt x="1276" y="1616"/>
                    </a:lnTo>
                    <a:lnTo>
                      <a:pt x="1275" y="1616"/>
                    </a:lnTo>
                    <a:lnTo>
                      <a:pt x="1276" y="1616"/>
                    </a:lnTo>
                    <a:lnTo>
                      <a:pt x="1276" y="1614"/>
                    </a:lnTo>
                    <a:lnTo>
                      <a:pt x="1278" y="1614"/>
                    </a:lnTo>
                    <a:close/>
                    <a:moveTo>
                      <a:pt x="1174" y="1369"/>
                    </a:moveTo>
                    <a:lnTo>
                      <a:pt x="1176" y="1369"/>
                    </a:lnTo>
                    <a:lnTo>
                      <a:pt x="1178" y="1369"/>
                    </a:lnTo>
                    <a:lnTo>
                      <a:pt x="1176" y="1371"/>
                    </a:lnTo>
                    <a:lnTo>
                      <a:pt x="1176" y="1369"/>
                    </a:lnTo>
                    <a:lnTo>
                      <a:pt x="1176" y="1371"/>
                    </a:lnTo>
                    <a:lnTo>
                      <a:pt x="1174" y="1371"/>
                    </a:lnTo>
                    <a:lnTo>
                      <a:pt x="1173" y="1371"/>
                    </a:lnTo>
                    <a:lnTo>
                      <a:pt x="1171" y="1371"/>
                    </a:lnTo>
                    <a:lnTo>
                      <a:pt x="1171" y="1369"/>
                    </a:lnTo>
                    <a:lnTo>
                      <a:pt x="1173" y="1369"/>
                    </a:lnTo>
                    <a:lnTo>
                      <a:pt x="1174" y="1369"/>
                    </a:lnTo>
                    <a:lnTo>
                      <a:pt x="1174" y="1371"/>
                    </a:lnTo>
                    <a:lnTo>
                      <a:pt x="1174" y="1369"/>
                    </a:lnTo>
                    <a:close/>
                    <a:moveTo>
                      <a:pt x="1200" y="1054"/>
                    </a:moveTo>
                    <a:lnTo>
                      <a:pt x="1202" y="1054"/>
                    </a:lnTo>
                    <a:lnTo>
                      <a:pt x="1203" y="1054"/>
                    </a:lnTo>
                    <a:lnTo>
                      <a:pt x="1203" y="1056"/>
                    </a:lnTo>
                    <a:lnTo>
                      <a:pt x="1202" y="1056"/>
                    </a:lnTo>
                    <a:lnTo>
                      <a:pt x="1200" y="1056"/>
                    </a:lnTo>
                    <a:lnTo>
                      <a:pt x="1198" y="1054"/>
                    </a:lnTo>
                    <a:lnTo>
                      <a:pt x="1200" y="1054"/>
                    </a:lnTo>
                    <a:close/>
                    <a:moveTo>
                      <a:pt x="1292" y="1629"/>
                    </a:moveTo>
                    <a:lnTo>
                      <a:pt x="1292" y="1631"/>
                    </a:lnTo>
                    <a:lnTo>
                      <a:pt x="1290" y="1631"/>
                    </a:lnTo>
                    <a:lnTo>
                      <a:pt x="1290" y="1633"/>
                    </a:lnTo>
                    <a:lnTo>
                      <a:pt x="1290" y="1635"/>
                    </a:lnTo>
                    <a:lnTo>
                      <a:pt x="1290" y="1633"/>
                    </a:lnTo>
                    <a:lnTo>
                      <a:pt x="1288" y="1633"/>
                    </a:lnTo>
                    <a:lnTo>
                      <a:pt x="1288" y="1631"/>
                    </a:lnTo>
                    <a:lnTo>
                      <a:pt x="1288" y="1629"/>
                    </a:lnTo>
                    <a:lnTo>
                      <a:pt x="1290" y="1629"/>
                    </a:lnTo>
                    <a:lnTo>
                      <a:pt x="1292" y="1629"/>
                    </a:lnTo>
                    <a:close/>
                    <a:moveTo>
                      <a:pt x="1251" y="1502"/>
                    </a:moveTo>
                    <a:lnTo>
                      <a:pt x="1251" y="1504"/>
                    </a:lnTo>
                    <a:lnTo>
                      <a:pt x="1249" y="1505"/>
                    </a:lnTo>
                    <a:lnTo>
                      <a:pt x="1247" y="1505"/>
                    </a:lnTo>
                    <a:lnTo>
                      <a:pt x="1247" y="1504"/>
                    </a:lnTo>
                    <a:lnTo>
                      <a:pt x="1247" y="1505"/>
                    </a:lnTo>
                    <a:lnTo>
                      <a:pt x="1247" y="1504"/>
                    </a:lnTo>
                    <a:lnTo>
                      <a:pt x="1247" y="1502"/>
                    </a:lnTo>
                    <a:lnTo>
                      <a:pt x="1249" y="1502"/>
                    </a:lnTo>
                    <a:lnTo>
                      <a:pt x="1251" y="1502"/>
                    </a:lnTo>
                    <a:close/>
                    <a:moveTo>
                      <a:pt x="1258" y="1595"/>
                    </a:moveTo>
                    <a:lnTo>
                      <a:pt x="1259" y="1595"/>
                    </a:lnTo>
                    <a:lnTo>
                      <a:pt x="1259" y="1597"/>
                    </a:lnTo>
                    <a:lnTo>
                      <a:pt x="1259" y="1595"/>
                    </a:lnTo>
                    <a:lnTo>
                      <a:pt x="1259" y="1597"/>
                    </a:lnTo>
                    <a:lnTo>
                      <a:pt x="1261" y="1597"/>
                    </a:lnTo>
                    <a:lnTo>
                      <a:pt x="1259" y="1599"/>
                    </a:lnTo>
                    <a:lnTo>
                      <a:pt x="1259" y="1597"/>
                    </a:lnTo>
                    <a:lnTo>
                      <a:pt x="1259" y="1599"/>
                    </a:lnTo>
                    <a:lnTo>
                      <a:pt x="1258" y="1599"/>
                    </a:lnTo>
                    <a:lnTo>
                      <a:pt x="1258" y="1597"/>
                    </a:lnTo>
                    <a:lnTo>
                      <a:pt x="1258" y="1599"/>
                    </a:lnTo>
                    <a:lnTo>
                      <a:pt x="1258" y="1597"/>
                    </a:lnTo>
                    <a:lnTo>
                      <a:pt x="1259" y="1597"/>
                    </a:lnTo>
                    <a:lnTo>
                      <a:pt x="1258" y="1597"/>
                    </a:lnTo>
                    <a:lnTo>
                      <a:pt x="1256" y="1597"/>
                    </a:lnTo>
                    <a:lnTo>
                      <a:pt x="1256" y="1595"/>
                    </a:lnTo>
                    <a:lnTo>
                      <a:pt x="1258" y="1595"/>
                    </a:lnTo>
                    <a:close/>
                    <a:moveTo>
                      <a:pt x="1145" y="1325"/>
                    </a:moveTo>
                    <a:lnTo>
                      <a:pt x="1147" y="1327"/>
                    </a:lnTo>
                    <a:lnTo>
                      <a:pt x="1147" y="1328"/>
                    </a:lnTo>
                    <a:lnTo>
                      <a:pt x="1147" y="1330"/>
                    </a:lnTo>
                    <a:lnTo>
                      <a:pt x="1147" y="1328"/>
                    </a:lnTo>
                    <a:lnTo>
                      <a:pt x="1145" y="1328"/>
                    </a:lnTo>
                    <a:lnTo>
                      <a:pt x="1145" y="1327"/>
                    </a:lnTo>
                    <a:lnTo>
                      <a:pt x="1144" y="1327"/>
                    </a:lnTo>
                    <a:lnTo>
                      <a:pt x="1144" y="1325"/>
                    </a:lnTo>
                    <a:lnTo>
                      <a:pt x="1145" y="1325"/>
                    </a:lnTo>
                    <a:lnTo>
                      <a:pt x="1145" y="1327"/>
                    </a:lnTo>
                    <a:lnTo>
                      <a:pt x="1145" y="1325"/>
                    </a:lnTo>
                    <a:close/>
                    <a:moveTo>
                      <a:pt x="1310" y="1509"/>
                    </a:moveTo>
                    <a:lnTo>
                      <a:pt x="1309" y="1509"/>
                    </a:lnTo>
                    <a:lnTo>
                      <a:pt x="1309" y="1510"/>
                    </a:lnTo>
                    <a:lnTo>
                      <a:pt x="1307" y="1512"/>
                    </a:lnTo>
                    <a:lnTo>
                      <a:pt x="1305" y="1512"/>
                    </a:lnTo>
                    <a:lnTo>
                      <a:pt x="1305" y="1510"/>
                    </a:lnTo>
                    <a:lnTo>
                      <a:pt x="1307" y="1510"/>
                    </a:lnTo>
                    <a:lnTo>
                      <a:pt x="1309" y="1509"/>
                    </a:lnTo>
                    <a:lnTo>
                      <a:pt x="1310" y="1509"/>
                    </a:lnTo>
                    <a:close/>
                    <a:moveTo>
                      <a:pt x="1275" y="1590"/>
                    </a:moveTo>
                    <a:lnTo>
                      <a:pt x="1276" y="1592"/>
                    </a:lnTo>
                    <a:lnTo>
                      <a:pt x="1276" y="1594"/>
                    </a:lnTo>
                    <a:lnTo>
                      <a:pt x="1276" y="1592"/>
                    </a:lnTo>
                    <a:lnTo>
                      <a:pt x="1275" y="1594"/>
                    </a:lnTo>
                    <a:lnTo>
                      <a:pt x="1273" y="1592"/>
                    </a:lnTo>
                    <a:lnTo>
                      <a:pt x="1271" y="1592"/>
                    </a:lnTo>
                    <a:lnTo>
                      <a:pt x="1271" y="1590"/>
                    </a:lnTo>
                    <a:lnTo>
                      <a:pt x="1273" y="1590"/>
                    </a:lnTo>
                    <a:lnTo>
                      <a:pt x="1275" y="1590"/>
                    </a:lnTo>
                    <a:close/>
                    <a:moveTo>
                      <a:pt x="1390" y="1641"/>
                    </a:moveTo>
                    <a:lnTo>
                      <a:pt x="1390" y="1643"/>
                    </a:lnTo>
                    <a:lnTo>
                      <a:pt x="1392" y="1643"/>
                    </a:lnTo>
                    <a:lnTo>
                      <a:pt x="1392" y="1645"/>
                    </a:lnTo>
                    <a:lnTo>
                      <a:pt x="1390" y="1645"/>
                    </a:lnTo>
                    <a:lnTo>
                      <a:pt x="1389" y="1645"/>
                    </a:lnTo>
                    <a:lnTo>
                      <a:pt x="1389" y="1643"/>
                    </a:lnTo>
                    <a:lnTo>
                      <a:pt x="1387" y="1643"/>
                    </a:lnTo>
                    <a:lnTo>
                      <a:pt x="1389" y="1641"/>
                    </a:lnTo>
                    <a:lnTo>
                      <a:pt x="1390" y="1641"/>
                    </a:lnTo>
                    <a:close/>
                    <a:moveTo>
                      <a:pt x="1230" y="998"/>
                    </a:moveTo>
                    <a:lnTo>
                      <a:pt x="1232" y="998"/>
                    </a:lnTo>
                    <a:lnTo>
                      <a:pt x="1232" y="997"/>
                    </a:lnTo>
                    <a:lnTo>
                      <a:pt x="1232" y="998"/>
                    </a:lnTo>
                    <a:lnTo>
                      <a:pt x="1232" y="1000"/>
                    </a:lnTo>
                    <a:lnTo>
                      <a:pt x="1232" y="998"/>
                    </a:lnTo>
                    <a:lnTo>
                      <a:pt x="1230" y="998"/>
                    </a:lnTo>
                    <a:lnTo>
                      <a:pt x="1230" y="1000"/>
                    </a:lnTo>
                    <a:lnTo>
                      <a:pt x="1232" y="1000"/>
                    </a:lnTo>
                    <a:lnTo>
                      <a:pt x="1232" y="1002"/>
                    </a:lnTo>
                    <a:lnTo>
                      <a:pt x="1232" y="1000"/>
                    </a:lnTo>
                    <a:lnTo>
                      <a:pt x="1232" y="1002"/>
                    </a:lnTo>
                    <a:lnTo>
                      <a:pt x="1230" y="1002"/>
                    </a:lnTo>
                    <a:lnTo>
                      <a:pt x="1230" y="1000"/>
                    </a:lnTo>
                    <a:lnTo>
                      <a:pt x="1230" y="998"/>
                    </a:lnTo>
                    <a:lnTo>
                      <a:pt x="1229" y="998"/>
                    </a:lnTo>
                    <a:lnTo>
                      <a:pt x="1229" y="997"/>
                    </a:lnTo>
                    <a:lnTo>
                      <a:pt x="1230" y="997"/>
                    </a:lnTo>
                    <a:lnTo>
                      <a:pt x="1230" y="998"/>
                    </a:lnTo>
                    <a:close/>
                    <a:moveTo>
                      <a:pt x="1229" y="976"/>
                    </a:moveTo>
                    <a:lnTo>
                      <a:pt x="1229" y="978"/>
                    </a:lnTo>
                    <a:lnTo>
                      <a:pt x="1227" y="978"/>
                    </a:lnTo>
                    <a:lnTo>
                      <a:pt x="1227" y="980"/>
                    </a:lnTo>
                    <a:lnTo>
                      <a:pt x="1225" y="980"/>
                    </a:lnTo>
                    <a:lnTo>
                      <a:pt x="1225" y="978"/>
                    </a:lnTo>
                    <a:lnTo>
                      <a:pt x="1224" y="978"/>
                    </a:lnTo>
                    <a:lnTo>
                      <a:pt x="1225" y="976"/>
                    </a:lnTo>
                    <a:lnTo>
                      <a:pt x="1225" y="978"/>
                    </a:lnTo>
                    <a:lnTo>
                      <a:pt x="1227" y="978"/>
                    </a:lnTo>
                    <a:lnTo>
                      <a:pt x="1225" y="976"/>
                    </a:lnTo>
                    <a:lnTo>
                      <a:pt x="1225" y="978"/>
                    </a:lnTo>
                    <a:lnTo>
                      <a:pt x="1225" y="976"/>
                    </a:lnTo>
                    <a:lnTo>
                      <a:pt x="1227" y="976"/>
                    </a:lnTo>
                    <a:lnTo>
                      <a:pt x="1229" y="976"/>
                    </a:lnTo>
                    <a:close/>
                    <a:moveTo>
                      <a:pt x="1203" y="1138"/>
                    </a:moveTo>
                    <a:lnTo>
                      <a:pt x="1205" y="1138"/>
                    </a:lnTo>
                    <a:lnTo>
                      <a:pt x="1205" y="1140"/>
                    </a:lnTo>
                    <a:lnTo>
                      <a:pt x="1207" y="1140"/>
                    </a:lnTo>
                    <a:lnTo>
                      <a:pt x="1207" y="1141"/>
                    </a:lnTo>
                    <a:lnTo>
                      <a:pt x="1205" y="1141"/>
                    </a:lnTo>
                    <a:lnTo>
                      <a:pt x="1203" y="1140"/>
                    </a:lnTo>
                    <a:lnTo>
                      <a:pt x="1203" y="1138"/>
                    </a:lnTo>
                    <a:lnTo>
                      <a:pt x="1203" y="1136"/>
                    </a:lnTo>
                    <a:lnTo>
                      <a:pt x="1203" y="1138"/>
                    </a:lnTo>
                    <a:close/>
                    <a:moveTo>
                      <a:pt x="1200" y="1470"/>
                    </a:moveTo>
                    <a:lnTo>
                      <a:pt x="1200" y="1471"/>
                    </a:lnTo>
                    <a:lnTo>
                      <a:pt x="1202" y="1471"/>
                    </a:lnTo>
                    <a:lnTo>
                      <a:pt x="1203" y="1471"/>
                    </a:lnTo>
                    <a:lnTo>
                      <a:pt x="1203" y="1473"/>
                    </a:lnTo>
                    <a:lnTo>
                      <a:pt x="1203" y="1475"/>
                    </a:lnTo>
                    <a:lnTo>
                      <a:pt x="1202" y="1475"/>
                    </a:lnTo>
                    <a:lnTo>
                      <a:pt x="1202" y="1473"/>
                    </a:lnTo>
                    <a:lnTo>
                      <a:pt x="1200" y="1473"/>
                    </a:lnTo>
                    <a:lnTo>
                      <a:pt x="1200" y="1471"/>
                    </a:lnTo>
                    <a:lnTo>
                      <a:pt x="1198" y="1471"/>
                    </a:lnTo>
                    <a:lnTo>
                      <a:pt x="1198" y="1470"/>
                    </a:lnTo>
                    <a:lnTo>
                      <a:pt x="1200" y="1470"/>
                    </a:lnTo>
                    <a:close/>
                    <a:moveTo>
                      <a:pt x="1033" y="605"/>
                    </a:moveTo>
                    <a:lnTo>
                      <a:pt x="1033" y="607"/>
                    </a:lnTo>
                    <a:lnTo>
                      <a:pt x="1035" y="607"/>
                    </a:lnTo>
                    <a:lnTo>
                      <a:pt x="1035" y="609"/>
                    </a:lnTo>
                    <a:lnTo>
                      <a:pt x="1035" y="607"/>
                    </a:lnTo>
                    <a:lnTo>
                      <a:pt x="1033" y="607"/>
                    </a:lnTo>
                    <a:lnTo>
                      <a:pt x="1032" y="607"/>
                    </a:lnTo>
                    <a:lnTo>
                      <a:pt x="1030" y="607"/>
                    </a:lnTo>
                    <a:lnTo>
                      <a:pt x="1030" y="609"/>
                    </a:lnTo>
                    <a:lnTo>
                      <a:pt x="1030" y="607"/>
                    </a:lnTo>
                    <a:lnTo>
                      <a:pt x="1032" y="607"/>
                    </a:lnTo>
                    <a:lnTo>
                      <a:pt x="1032" y="605"/>
                    </a:lnTo>
                    <a:lnTo>
                      <a:pt x="1033" y="605"/>
                    </a:lnTo>
                    <a:close/>
                    <a:moveTo>
                      <a:pt x="1174" y="1427"/>
                    </a:moveTo>
                    <a:lnTo>
                      <a:pt x="1173" y="1427"/>
                    </a:lnTo>
                    <a:lnTo>
                      <a:pt x="1174" y="1429"/>
                    </a:lnTo>
                    <a:lnTo>
                      <a:pt x="1173" y="1430"/>
                    </a:lnTo>
                    <a:lnTo>
                      <a:pt x="1173" y="1432"/>
                    </a:lnTo>
                    <a:lnTo>
                      <a:pt x="1171" y="1432"/>
                    </a:lnTo>
                    <a:lnTo>
                      <a:pt x="1171" y="1430"/>
                    </a:lnTo>
                    <a:lnTo>
                      <a:pt x="1173" y="1429"/>
                    </a:lnTo>
                    <a:lnTo>
                      <a:pt x="1173" y="1427"/>
                    </a:lnTo>
                    <a:lnTo>
                      <a:pt x="1173" y="1425"/>
                    </a:lnTo>
                    <a:lnTo>
                      <a:pt x="1174" y="1427"/>
                    </a:lnTo>
                    <a:close/>
                    <a:moveTo>
                      <a:pt x="1193" y="1068"/>
                    </a:moveTo>
                    <a:lnTo>
                      <a:pt x="1193" y="1070"/>
                    </a:lnTo>
                    <a:lnTo>
                      <a:pt x="1193" y="1071"/>
                    </a:lnTo>
                    <a:lnTo>
                      <a:pt x="1191" y="1071"/>
                    </a:lnTo>
                    <a:lnTo>
                      <a:pt x="1190" y="1070"/>
                    </a:lnTo>
                    <a:lnTo>
                      <a:pt x="1190" y="1068"/>
                    </a:lnTo>
                    <a:lnTo>
                      <a:pt x="1191" y="1070"/>
                    </a:lnTo>
                    <a:lnTo>
                      <a:pt x="1191" y="1068"/>
                    </a:lnTo>
                    <a:lnTo>
                      <a:pt x="1193" y="1068"/>
                    </a:lnTo>
                    <a:close/>
                    <a:moveTo>
                      <a:pt x="1273" y="1611"/>
                    </a:moveTo>
                    <a:lnTo>
                      <a:pt x="1273" y="1612"/>
                    </a:lnTo>
                    <a:lnTo>
                      <a:pt x="1275" y="1612"/>
                    </a:lnTo>
                    <a:lnTo>
                      <a:pt x="1275" y="1614"/>
                    </a:lnTo>
                    <a:lnTo>
                      <a:pt x="1273" y="1614"/>
                    </a:lnTo>
                    <a:lnTo>
                      <a:pt x="1273" y="1616"/>
                    </a:lnTo>
                    <a:lnTo>
                      <a:pt x="1271" y="1614"/>
                    </a:lnTo>
                    <a:lnTo>
                      <a:pt x="1271" y="1616"/>
                    </a:lnTo>
                    <a:lnTo>
                      <a:pt x="1271" y="1614"/>
                    </a:lnTo>
                    <a:lnTo>
                      <a:pt x="1270" y="1614"/>
                    </a:lnTo>
                    <a:lnTo>
                      <a:pt x="1271" y="1614"/>
                    </a:lnTo>
                    <a:lnTo>
                      <a:pt x="1273" y="1614"/>
                    </a:lnTo>
                    <a:lnTo>
                      <a:pt x="1271" y="1614"/>
                    </a:lnTo>
                    <a:lnTo>
                      <a:pt x="1271" y="1612"/>
                    </a:lnTo>
                    <a:lnTo>
                      <a:pt x="1271" y="1611"/>
                    </a:lnTo>
                    <a:lnTo>
                      <a:pt x="1273" y="1611"/>
                    </a:lnTo>
                    <a:close/>
                    <a:moveTo>
                      <a:pt x="1162" y="1376"/>
                    </a:moveTo>
                    <a:lnTo>
                      <a:pt x="1161" y="1376"/>
                    </a:lnTo>
                    <a:lnTo>
                      <a:pt x="1162" y="1376"/>
                    </a:lnTo>
                    <a:lnTo>
                      <a:pt x="1162" y="1378"/>
                    </a:lnTo>
                    <a:lnTo>
                      <a:pt x="1162" y="1379"/>
                    </a:lnTo>
                    <a:lnTo>
                      <a:pt x="1161" y="1379"/>
                    </a:lnTo>
                    <a:lnTo>
                      <a:pt x="1159" y="1379"/>
                    </a:lnTo>
                    <a:lnTo>
                      <a:pt x="1159" y="1378"/>
                    </a:lnTo>
                    <a:lnTo>
                      <a:pt x="1161" y="1376"/>
                    </a:lnTo>
                    <a:lnTo>
                      <a:pt x="1161" y="1378"/>
                    </a:lnTo>
                    <a:lnTo>
                      <a:pt x="1161" y="1376"/>
                    </a:lnTo>
                    <a:lnTo>
                      <a:pt x="1162" y="1376"/>
                    </a:lnTo>
                    <a:close/>
                    <a:moveTo>
                      <a:pt x="1213" y="1119"/>
                    </a:moveTo>
                    <a:lnTo>
                      <a:pt x="1215" y="1121"/>
                    </a:lnTo>
                    <a:lnTo>
                      <a:pt x="1213" y="1122"/>
                    </a:lnTo>
                    <a:lnTo>
                      <a:pt x="1212" y="1121"/>
                    </a:lnTo>
                    <a:lnTo>
                      <a:pt x="1210" y="1121"/>
                    </a:lnTo>
                    <a:lnTo>
                      <a:pt x="1210" y="1122"/>
                    </a:lnTo>
                    <a:lnTo>
                      <a:pt x="1210" y="1121"/>
                    </a:lnTo>
                    <a:lnTo>
                      <a:pt x="1212" y="1119"/>
                    </a:lnTo>
                    <a:lnTo>
                      <a:pt x="1213" y="1119"/>
                    </a:lnTo>
                    <a:close/>
                    <a:moveTo>
                      <a:pt x="1178" y="1112"/>
                    </a:moveTo>
                    <a:lnTo>
                      <a:pt x="1179" y="1112"/>
                    </a:lnTo>
                    <a:lnTo>
                      <a:pt x="1179" y="1116"/>
                    </a:lnTo>
                    <a:lnTo>
                      <a:pt x="1178" y="1116"/>
                    </a:lnTo>
                    <a:lnTo>
                      <a:pt x="1178" y="1112"/>
                    </a:lnTo>
                    <a:close/>
                    <a:moveTo>
                      <a:pt x="1232" y="949"/>
                    </a:moveTo>
                    <a:lnTo>
                      <a:pt x="1234" y="951"/>
                    </a:lnTo>
                    <a:lnTo>
                      <a:pt x="1232" y="951"/>
                    </a:lnTo>
                    <a:lnTo>
                      <a:pt x="1234" y="951"/>
                    </a:lnTo>
                    <a:lnTo>
                      <a:pt x="1232" y="951"/>
                    </a:lnTo>
                    <a:lnTo>
                      <a:pt x="1230" y="951"/>
                    </a:lnTo>
                    <a:lnTo>
                      <a:pt x="1232" y="952"/>
                    </a:lnTo>
                    <a:lnTo>
                      <a:pt x="1230" y="952"/>
                    </a:lnTo>
                    <a:lnTo>
                      <a:pt x="1230" y="951"/>
                    </a:lnTo>
                    <a:lnTo>
                      <a:pt x="1230" y="949"/>
                    </a:lnTo>
                    <a:lnTo>
                      <a:pt x="1232" y="949"/>
                    </a:lnTo>
                    <a:close/>
                    <a:moveTo>
                      <a:pt x="1176" y="1481"/>
                    </a:moveTo>
                    <a:lnTo>
                      <a:pt x="1176" y="1483"/>
                    </a:lnTo>
                    <a:lnTo>
                      <a:pt x="1174" y="1483"/>
                    </a:lnTo>
                    <a:lnTo>
                      <a:pt x="1173" y="1483"/>
                    </a:lnTo>
                    <a:lnTo>
                      <a:pt x="1173" y="1481"/>
                    </a:lnTo>
                    <a:lnTo>
                      <a:pt x="1173" y="1483"/>
                    </a:lnTo>
                    <a:lnTo>
                      <a:pt x="1174" y="1481"/>
                    </a:lnTo>
                    <a:lnTo>
                      <a:pt x="1176" y="1481"/>
                    </a:lnTo>
                    <a:close/>
                    <a:moveTo>
                      <a:pt x="1185" y="1063"/>
                    </a:moveTo>
                    <a:lnTo>
                      <a:pt x="1186" y="1063"/>
                    </a:lnTo>
                    <a:lnTo>
                      <a:pt x="1188" y="1063"/>
                    </a:lnTo>
                    <a:lnTo>
                      <a:pt x="1188" y="1065"/>
                    </a:lnTo>
                    <a:lnTo>
                      <a:pt x="1186" y="1065"/>
                    </a:lnTo>
                    <a:lnTo>
                      <a:pt x="1185" y="1066"/>
                    </a:lnTo>
                    <a:lnTo>
                      <a:pt x="1185" y="1065"/>
                    </a:lnTo>
                    <a:lnTo>
                      <a:pt x="1186" y="1065"/>
                    </a:lnTo>
                    <a:lnTo>
                      <a:pt x="1185" y="1065"/>
                    </a:lnTo>
                    <a:lnTo>
                      <a:pt x="1185" y="1063"/>
                    </a:lnTo>
                    <a:close/>
                    <a:moveTo>
                      <a:pt x="1244" y="1582"/>
                    </a:moveTo>
                    <a:lnTo>
                      <a:pt x="1246" y="1582"/>
                    </a:lnTo>
                    <a:lnTo>
                      <a:pt x="1244" y="1583"/>
                    </a:lnTo>
                    <a:lnTo>
                      <a:pt x="1242" y="1583"/>
                    </a:lnTo>
                    <a:lnTo>
                      <a:pt x="1242" y="1582"/>
                    </a:lnTo>
                    <a:lnTo>
                      <a:pt x="1241" y="1582"/>
                    </a:lnTo>
                    <a:lnTo>
                      <a:pt x="1241" y="1580"/>
                    </a:lnTo>
                    <a:lnTo>
                      <a:pt x="1242" y="1582"/>
                    </a:lnTo>
                    <a:lnTo>
                      <a:pt x="1242" y="1580"/>
                    </a:lnTo>
                    <a:lnTo>
                      <a:pt x="1244" y="1582"/>
                    </a:lnTo>
                    <a:close/>
                    <a:moveTo>
                      <a:pt x="1212" y="1116"/>
                    </a:moveTo>
                    <a:lnTo>
                      <a:pt x="1213" y="1116"/>
                    </a:lnTo>
                    <a:lnTo>
                      <a:pt x="1213" y="1117"/>
                    </a:lnTo>
                    <a:lnTo>
                      <a:pt x="1213" y="1119"/>
                    </a:lnTo>
                    <a:lnTo>
                      <a:pt x="1212" y="1119"/>
                    </a:lnTo>
                    <a:lnTo>
                      <a:pt x="1210" y="1119"/>
                    </a:lnTo>
                    <a:lnTo>
                      <a:pt x="1210" y="1117"/>
                    </a:lnTo>
                    <a:lnTo>
                      <a:pt x="1212" y="1117"/>
                    </a:lnTo>
                    <a:lnTo>
                      <a:pt x="1212" y="1116"/>
                    </a:lnTo>
                    <a:close/>
                    <a:moveTo>
                      <a:pt x="1145" y="1264"/>
                    </a:moveTo>
                    <a:lnTo>
                      <a:pt x="1149" y="1264"/>
                    </a:lnTo>
                    <a:lnTo>
                      <a:pt x="1149" y="1269"/>
                    </a:lnTo>
                    <a:lnTo>
                      <a:pt x="1145" y="1269"/>
                    </a:lnTo>
                    <a:lnTo>
                      <a:pt x="1145" y="1264"/>
                    </a:lnTo>
                    <a:close/>
                    <a:moveTo>
                      <a:pt x="1176" y="1475"/>
                    </a:moveTo>
                    <a:lnTo>
                      <a:pt x="1178" y="1475"/>
                    </a:lnTo>
                    <a:lnTo>
                      <a:pt x="1178" y="1480"/>
                    </a:lnTo>
                    <a:lnTo>
                      <a:pt x="1176" y="1480"/>
                    </a:lnTo>
                    <a:lnTo>
                      <a:pt x="1176" y="1475"/>
                    </a:lnTo>
                    <a:close/>
                    <a:moveTo>
                      <a:pt x="1151" y="1289"/>
                    </a:moveTo>
                    <a:lnTo>
                      <a:pt x="1152" y="1289"/>
                    </a:lnTo>
                    <a:lnTo>
                      <a:pt x="1151" y="1291"/>
                    </a:lnTo>
                    <a:lnTo>
                      <a:pt x="1149" y="1291"/>
                    </a:lnTo>
                    <a:lnTo>
                      <a:pt x="1147" y="1293"/>
                    </a:lnTo>
                    <a:lnTo>
                      <a:pt x="1147" y="1291"/>
                    </a:lnTo>
                    <a:lnTo>
                      <a:pt x="1149" y="1291"/>
                    </a:lnTo>
                    <a:lnTo>
                      <a:pt x="1149" y="1289"/>
                    </a:lnTo>
                    <a:lnTo>
                      <a:pt x="1151" y="1289"/>
                    </a:lnTo>
                    <a:close/>
                    <a:moveTo>
                      <a:pt x="1178" y="1247"/>
                    </a:moveTo>
                    <a:lnTo>
                      <a:pt x="1179" y="1247"/>
                    </a:lnTo>
                    <a:lnTo>
                      <a:pt x="1178" y="1248"/>
                    </a:lnTo>
                    <a:lnTo>
                      <a:pt x="1176" y="1250"/>
                    </a:lnTo>
                    <a:lnTo>
                      <a:pt x="1176" y="1248"/>
                    </a:lnTo>
                    <a:lnTo>
                      <a:pt x="1176" y="1247"/>
                    </a:lnTo>
                    <a:lnTo>
                      <a:pt x="1178" y="1247"/>
                    </a:lnTo>
                    <a:close/>
                    <a:moveTo>
                      <a:pt x="1162" y="1301"/>
                    </a:moveTo>
                    <a:lnTo>
                      <a:pt x="1164" y="1301"/>
                    </a:lnTo>
                    <a:lnTo>
                      <a:pt x="1164" y="1303"/>
                    </a:lnTo>
                    <a:lnTo>
                      <a:pt x="1162" y="1303"/>
                    </a:lnTo>
                    <a:lnTo>
                      <a:pt x="1164" y="1303"/>
                    </a:lnTo>
                    <a:lnTo>
                      <a:pt x="1164" y="1305"/>
                    </a:lnTo>
                    <a:lnTo>
                      <a:pt x="1162" y="1303"/>
                    </a:lnTo>
                    <a:lnTo>
                      <a:pt x="1161" y="1303"/>
                    </a:lnTo>
                    <a:lnTo>
                      <a:pt x="1161" y="1301"/>
                    </a:lnTo>
                    <a:lnTo>
                      <a:pt x="1162" y="1301"/>
                    </a:lnTo>
                    <a:close/>
                    <a:moveTo>
                      <a:pt x="1423" y="1687"/>
                    </a:moveTo>
                    <a:lnTo>
                      <a:pt x="1424" y="1687"/>
                    </a:lnTo>
                    <a:lnTo>
                      <a:pt x="1424" y="1689"/>
                    </a:lnTo>
                    <a:lnTo>
                      <a:pt x="1426" y="1691"/>
                    </a:lnTo>
                    <a:lnTo>
                      <a:pt x="1424" y="1689"/>
                    </a:lnTo>
                    <a:lnTo>
                      <a:pt x="1424" y="1691"/>
                    </a:lnTo>
                    <a:lnTo>
                      <a:pt x="1423" y="1691"/>
                    </a:lnTo>
                    <a:lnTo>
                      <a:pt x="1423" y="1689"/>
                    </a:lnTo>
                    <a:lnTo>
                      <a:pt x="1421" y="1687"/>
                    </a:lnTo>
                    <a:lnTo>
                      <a:pt x="1421" y="1689"/>
                    </a:lnTo>
                    <a:lnTo>
                      <a:pt x="1421" y="1687"/>
                    </a:lnTo>
                    <a:lnTo>
                      <a:pt x="1423" y="1687"/>
                    </a:lnTo>
                    <a:close/>
                    <a:moveTo>
                      <a:pt x="1212" y="1061"/>
                    </a:moveTo>
                    <a:lnTo>
                      <a:pt x="1215" y="1061"/>
                    </a:lnTo>
                    <a:lnTo>
                      <a:pt x="1215" y="1065"/>
                    </a:lnTo>
                    <a:lnTo>
                      <a:pt x="1212" y="1065"/>
                    </a:lnTo>
                    <a:lnTo>
                      <a:pt x="1212" y="1061"/>
                    </a:lnTo>
                    <a:close/>
                    <a:moveTo>
                      <a:pt x="1331" y="1635"/>
                    </a:moveTo>
                    <a:lnTo>
                      <a:pt x="1331" y="1636"/>
                    </a:lnTo>
                    <a:lnTo>
                      <a:pt x="1329" y="1636"/>
                    </a:lnTo>
                    <a:lnTo>
                      <a:pt x="1329" y="1638"/>
                    </a:lnTo>
                    <a:lnTo>
                      <a:pt x="1327" y="1636"/>
                    </a:lnTo>
                    <a:lnTo>
                      <a:pt x="1329" y="1635"/>
                    </a:lnTo>
                    <a:lnTo>
                      <a:pt x="1331" y="1635"/>
                    </a:lnTo>
                    <a:lnTo>
                      <a:pt x="1332" y="1633"/>
                    </a:lnTo>
                    <a:lnTo>
                      <a:pt x="1331" y="1635"/>
                    </a:lnTo>
                    <a:close/>
                    <a:moveTo>
                      <a:pt x="1256" y="1587"/>
                    </a:moveTo>
                    <a:lnTo>
                      <a:pt x="1259" y="1587"/>
                    </a:lnTo>
                    <a:lnTo>
                      <a:pt x="1259" y="1592"/>
                    </a:lnTo>
                    <a:lnTo>
                      <a:pt x="1256" y="1592"/>
                    </a:lnTo>
                    <a:lnTo>
                      <a:pt x="1256" y="1587"/>
                    </a:lnTo>
                    <a:close/>
                    <a:moveTo>
                      <a:pt x="1208" y="1077"/>
                    </a:moveTo>
                    <a:lnTo>
                      <a:pt x="1212" y="1077"/>
                    </a:lnTo>
                    <a:lnTo>
                      <a:pt x="1212" y="1080"/>
                    </a:lnTo>
                    <a:lnTo>
                      <a:pt x="1208" y="1080"/>
                    </a:lnTo>
                    <a:lnTo>
                      <a:pt x="1208" y="1077"/>
                    </a:lnTo>
                    <a:close/>
                    <a:moveTo>
                      <a:pt x="1375" y="1663"/>
                    </a:moveTo>
                    <a:lnTo>
                      <a:pt x="1377" y="1663"/>
                    </a:lnTo>
                    <a:lnTo>
                      <a:pt x="1377" y="1665"/>
                    </a:lnTo>
                    <a:lnTo>
                      <a:pt x="1378" y="1665"/>
                    </a:lnTo>
                    <a:lnTo>
                      <a:pt x="1378" y="1667"/>
                    </a:lnTo>
                    <a:lnTo>
                      <a:pt x="1377" y="1667"/>
                    </a:lnTo>
                    <a:lnTo>
                      <a:pt x="1377" y="1665"/>
                    </a:lnTo>
                    <a:lnTo>
                      <a:pt x="1375" y="1665"/>
                    </a:lnTo>
                    <a:lnTo>
                      <a:pt x="1375" y="1663"/>
                    </a:lnTo>
                    <a:lnTo>
                      <a:pt x="1373" y="1663"/>
                    </a:lnTo>
                    <a:lnTo>
                      <a:pt x="1375" y="1663"/>
                    </a:lnTo>
                    <a:close/>
                    <a:moveTo>
                      <a:pt x="1185" y="1061"/>
                    </a:moveTo>
                    <a:lnTo>
                      <a:pt x="1186" y="1061"/>
                    </a:lnTo>
                    <a:lnTo>
                      <a:pt x="1188" y="1061"/>
                    </a:lnTo>
                    <a:lnTo>
                      <a:pt x="1190" y="1063"/>
                    </a:lnTo>
                    <a:lnTo>
                      <a:pt x="1188" y="1063"/>
                    </a:lnTo>
                    <a:lnTo>
                      <a:pt x="1186" y="1063"/>
                    </a:lnTo>
                    <a:lnTo>
                      <a:pt x="1185" y="1063"/>
                    </a:lnTo>
                    <a:lnTo>
                      <a:pt x="1185" y="1061"/>
                    </a:lnTo>
                    <a:close/>
                    <a:moveTo>
                      <a:pt x="1208" y="1080"/>
                    </a:moveTo>
                    <a:lnTo>
                      <a:pt x="1210" y="1082"/>
                    </a:lnTo>
                    <a:lnTo>
                      <a:pt x="1208" y="1082"/>
                    </a:lnTo>
                    <a:lnTo>
                      <a:pt x="1207" y="1082"/>
                    </a:lnTo>
                    <a:lnTo>
                      <a:pt x="1207" y="1080"/>
                    </a:lnTo>
                    <a:lnTo>
                      <a:pt x="1208" y="1082"/>
                    </a:lnTo>
                    <a:lnTo>
                      <a:pt x="1208" y="1080"/>
                    </a:lnTo>
                    <a:lnTo>
                      <a:pt x="1207" y="1080"/>
                    </a:lnTo>
                    <a:lnTo>
                      <a:pt x="1208" y="1080"/>
                    </a:lnTo>
                    <a:close/>
                    <a:moveTo>
                      <a:pt x="1193" y="1493"/>
                    </a:moveTo>
                    <a:lnTo>
                      <a:pt x="1193" y="1495"/>
                    </a:lnTo>
                    <a:lnTo>
                      <a:pt x="1195" y="1493"/>
                    </a:lnTo>
                    <a:lnTo>
                      <a:pt x="1195" y="1495"/>
                    </a:lnTo>
                    <a:lnTo>
                      <a:pt x="1193" y="1495"/>
                    </a:lnTo>
                    <a:lnTo>
                      <a:pt x="1193" y="1497"/>
                    </a:lnTo>
                    <a:lnTo>
                      <a:pt x="1191" y="1495"/>
                    </a:lnTo>
                    <a:lnTo>
                      <a:pt x="1191" y="1497"/>
                    </a:lnTo>
                    <a:lnTo>
                      <a:pt x="1191" y="1495"/>
                    </a:lnTo>
                    <a:lnTo>
                      <a:pt x="1190" y="1495"/>
                    </a:lnTo>
                    <a:lnTo>
                      <a:pt x="1191" y="1495"/>
                    </a:lnTo>
                    <a:lnTo>
                      <a:pt x="1191" y="1493"/>
                    </a:lnTo>
                    <a:lnTo>
                      <a:pt x="1191" y="1495"/>
                    </a:lnTo>
                    <a:lnTo>
                      <a:pt x="1191" y="1493"/>
                    </a:lnTo>
                    <a:lnTo>
                      <a:pt x="1191" y="1495"/>
                    </a:lnTo>
                    <a:lnTo>
                      <a:pt x="1193" y="1493"/>
                    </a:lnTo>
                    <a:close/>
                    <a:moveTo>
                      <a:pt x="1161" y="1247"/>
                    </a:moveTo>
                    <a:lnTo>
                      <a:pt x="1159" y="1247"/>
                    </a:lnTo>
                    <a:lnTo>
                      <a:pt x="1159" y="1248"/>
                    </a:lnTo>
                    <a:lnTo>
                      <a:pt x="1157" y="1248"/>
                    </a:lnTo>
                    <a:lnTo>
                      <a:pt x="1156" y="1250"/>
                    </a:lnTo>
                    <a:lnTo>
                      <a:pt x="1156" y="1248"/>
                    </a:lnTo>
                    <a:lnTo>
                      <a:pt x="1156" y="1250"/>
                    </a:lnTo>
                    <a:lnTo>
                      <a:pt x="1154" y="1250"/>
                    </a:lnTo>
                    <a:lnTo>
                      <a:pt x="1156" y="1250"/>
                    </a:lnTo>
                    <a:lnTo>
                      <a:pt x="1154" y="1250"/>
                    </a:lnTo>
                    <a:lnTo>
                      <a:pt x="1156" y="1250"/>
                    </a:lnTo>
                    <a:lnTo>
                      <a:pt x="1156" y="1248"/>
                    </a:lnTo>
                    <a:lnTo>
                      <a:pt x="1157" y="1247"/>
                    </a:lnTo>
                    <a:lnTo>
                      <a:pt x="1157" y="1248"/>
                    </a:lnTo>
                    <a:lnTo>
                      <a:pt x="1157" y="1247"/>
                    </a:lnTo>
                    <a:lnTo>
                      <a:pt x="1159" y="1247"/>
                    </a:lnTo>
                    <a:lnTo>
                      <a:pt x="1161" y="1245"/>
                    </a:lnTo>
                    <a:lnTo>
                      <a:pt x="1161" y="1247"/>
                    </a:lnTo>
                    <a:close/>
                    <a:moveTo>
                      <a:pt x="1195" y="1063"/>
                    </a:moveTo>
                    <a:lnTo>
                      <a:pt x="1193" y="1065"/>
                    </a:lnTo>
                    <a:lnTo>
                      <a:pt x="1191" y="1065"/>
                    </a:lnTo>
                    <a:lnTo>
                      <a:pt x="1191" y="1063"/>
                    </a:lnTo>
                    <a:lnTo>
                      <a:pt x="1193" y="1063"/>
                    </a:lnTo>
                    <a:lnTo>
                      <a:pt x="1195" y="1063"/>
                    </a:lnTo>
                    <a:close/>
                    <a:moveTo>
                      <a:pt x="1196" y="1466"/>
                    </a:moveTo>
                    <a:lnTo>
                      <a:pt x="1198" y="1466"/>
                    </a:lnTo>
                    <a:lnTo>
                      <a:pt x="1198" y="1468"/>
                    </a:lnTo>
                    <a:lnTo>
                      <a:pt x="1200" y="1468"/>
                    </a:lnTo>
                    <a:lnTo>
                      <a:pt x="1198" y="1468"/>
                    </a:lnTo>
                    <a:lnTo>
                      <a:pt x="1198" y="1470"/>
                    </a:lnTo>
                    <a:lnTo>
                      <a:pt x="1198" y="1468"/>
                    </a:lnTo>
                    <a:lnTo>
                      <a:pt x="1196" y="1470"/>
                    </a:lnTo>
                    <a:lnTo>
                      <a:pt x="1196" y="1468"/>
                    </a:lnTo>
                    <a:lnTo>
                      <a:pt x="1195" y="1466"/>
                    </a:lnTo>
                    <a:lnTo>
                      <a:pt x="1196" y="1466"/>
                    </a:lnTo>
                    <a:close/>
                    <a:moveTo>
                      <a:pt x="1213" y="1515"/>
                    </a:moveTo>
                    <a:lnTo>
                      <a:pt x="1212" y="1515"/>
                    </a:lnTo>
                    <a:lnTo>
                      <a:pt x="1212" y="1517"/>
                    </a:lnTo>
                    <a:lnTo>
                      <a:pt x="1210" y="1517"/>
                    </a:lnTo>
                    <a:lnTo>
                      <a:pt x="1212" y="1515"/>
                    </a:lnTo>
                    <a:lnTo>
                      <a:pt x="1210" y="1515"/>
                    </a:lnTo>
                    <a:lnTo>
                      <a:pt x="1210" y="1514"/>
                    </a:lnTo>
                    <a:lnTo>
                      <a:pt x="1212" y="1514"/>
                    </a:lnTo>
                    <a:lnTo>
                      <a:pt x="1210" y="1514"/>
                    </a:lnTo>
                    <a:lnTo>
                      <a:pt x="1212" y="1514"/>
                    </a:lnTo>
                    <a:lnTo>
                      <a:pt x="1213" y="1514"/>
                    </a:lnTo>
                    <a:lnTo>
                      <a:pt x="1213" y="1515"/>
                    </a:lnTo>
                    <a:close/>
                    <a:moveTo>
                      <a:pt x="1378" y="1660"/>
                    </a:moveTo>
                    <a:lnTo>
                      <a:pt x="1378" y="1662"/>
                    </a:lnTo>
                    <a:lnTo>
                      <a:pt x="1378" y="1660"/>
                    </a:lnTo>
                    <a:lnTo>
                      <a:pt x="1380" y="1662"/>
                    </a:lnTo>
                    <a:lnTo>
                      <a:pt x="1378" y="1662"/>
                    </a:lnTo>
                    <a:lnTo>
                      <a:pt x="1378" y="1663"/>
                    </a:lnTo>
                    <a:lnTo>
                      <a:pt x="1377" y="1663"/>
                    </a:lnTo>
                    <a:lnTo>
                      <a:pt x="1377" y="1662"/>
                    </a:lnTo>
                    <a:lnTo>
                      <a:pt x="1378" y="1662"/>
                    </a:lnTo>
                    <a:lnTo>
                      <a:pt x="1377" y="1662"/>
                    </a:lnTo>
                    <a:lnTo>
                      <a:pt x="1375" y="1662"/>
                    </a:lnTo>
                    <a:lnTo>
                      <a:pt x="1375" y="1660"/>
                    </a:lnTo>
                    <a:lnTo>
                      <a:pt x="1377" y="1660"/>
                    </a:lnTo>
                    <a:lnTo>
                      <a:pt x="1378" y="1660"/>
                    </a:lnTo>
                    <a:close/>
                    <a:moveTo>
                      <a:pt x="1263" y="1604"/>
                    </a:moveTo>
                    <a:lnTo>
                      <a:pt x="1263" y="1606"/>
                    </a:lnTo>
                    <a:lnTo>
                      <a:pt x="1264" y="1606"/>
                    </a:lnTo>
                    <a:lnTo>
                      <a:pt x="1264" y="1607"/>
                    </a:lnTo>
                    <a:lnTo>
                      <a:pt x="1266" y="1607"/>
                    </a:lnTo>
                    <a:lnTo>
                      <a:pt x="1264" y="1607"/>
                    </a:lnTo>
                    <a:lnTo>
                      <a:pt x="1263" y="1607"/>
                    </a:lnTo>
                    <a:lnTo>
                      <a:pt x="1261" y="1606"/>
                    </a:lnTo>
                    <a:lnTo>
                      <a:pt x="1263" y="1604"/>
                    </a:lnTo>
                    <a:close/>
                    <a:moveTo>
                      <a:pt x="1173" y="1359"/>
                    </a:moveTo>
                    <a:lnTo>
                      <a:pt x="1174" y="1359"/>
                    </a:lnTo>
                    <a:lnTo>
                      <a:pt x="1173" y="1361"/>
                    </a:lnTo>
                    <a:lnTo>
                      <a:pt x="1171" y="1361"/>
                    </a:lnTo>
                    <a:lnTo>
                      <a:pt x="1171" y="1359"/>
                    </a:lnTo>
                    <a:lnTo>
                      <a:pt x="1173" y="1359"/>
                    </a:lnTo>
                    <a:close/>
                    <a:moveTo>
                      <a:pt x="1363" y="1665"/>
                    </a:moveTo>
                    <a:lnTo>
                      <a:pt x="1366" y="1665"/>
                    </a:lnTo>
                    <a:lnTo>
                      <a:pt x="1366" y="1672"/>
                    </a:lnTo>
                    <a:lnTo>
                      <a:pt x="1363" y="1672"/>
                    </a:lnTo>
                    <a:lnTo>
                      <a:pt x="1363" y="1665"/>
                    </a:lnTo>
                    <a:close/>
                    <a:moveTo>
                      <a:pt x="1253" y="1590"/>
                    </a:moveTo>
                    <a:lnTo>
                      <a:pt x="1256" y="1590"/>
                    </a:lnTo>
                    <a:lnTo>
                      <a:pt x="1256" y="1594"/>
                    </a:lnTo>
                    <a:lnTo>
                      <a:pt x="1253" y="1594"/>
                    </a:lnTo>
                    <a:lnTo>
                      <a:pt x="1253" y="1590"/>
                    </a:lnTo>
                    <a:close/>
                    <a:moveTo>
                      <a:pt x="1217" y="971"/>
                    </a:moveTo>
                    <a:lnTo>
                      <a:pt x="1219" y="971"/>
                    </a:lnTo>
                    <a:lnTo>
                      <a:pt x="1219" y="973"/>
                    </a:lnTo>
                    <a:lnTo>
                      <a:pt x="1217" y="973"/>
                    </a:lnTo>
                    <a:lnTo>
                      <a:pt x="1217" y="971"/>
                    </a:lnTo>
                    <a:lnTo>
                      <a:pt x="1215" y="971"/>
                    </a:lnTo>
                    <a:lnTo>
                      <a:pt x="1217" y="969"/>
                    </a:lnTo>
                    <a:lnTo>
                      <a:pt x="1217" y="971"/>
                    </a:lnTo>
                    <a:close/>
                    <a:moveTo>
                      <a:pt x="1203" y="1473"/>
                    </a:moveTo>
                    <a:lnTo>
                      <a:pt x="1207" y="1473"/>
                    </a:lnTo>
                    <a:lnTo>
                      <a:pt x="1207" y="1478"/>
                    </a:lnTo>
                    <a:lnTo>
                      <a:pt x="1203" y="1478"/>
                    </a:lnTo>
                    <a:lnTo>
                      <a:pt x="1203" y="1473"/>
                    </a:lnTo>
                    <a:close/>
                    <a:moveTo>
                      <a:pt x="1232" y="1600"/>
                    </a:moveTo>
                    <a:lnTo>
                      <a:pt x="1230" y="1602"/>
                    </a:lnTo>
                    <a:lnTo>
                      <a:pt x="1229" y="1602"/>
                    </a:lnTo>
                    <a:lnTo>
                      <a:pt x="1227" y="1602"/>
                    </a:lnTo>
                    <a:lnTo>
                      <a:pt x="1227" y="1600"/>
                    </a:lnTo>
                    <a:lnTo>
                      <a:pt x="1229" y="1600"/>
                    </a:lnTo>
                    <a:lnTo>
                      <a:pt x="1230" y="1600"/>
                    </a:lnTo>
                    <a:lnTo>
                      <a:pt x="1232" y="1600"/>
                    </a:lnTo>
                    <a:close/>
                    <a:moveTo>
                      <a:pt x="1331" y="1633"/>
                    </a:moveTo>
                    <a:lnTo>
                      <a:pt x="1334" y="1633"/>
                    </a:lnTo>
                    <a:lnTo>
                      <a:pt x="1334" y="1636"/>
                    </a:lnTo>
                    <a:lnTo>
                      <a:pt x="1331" y="1636"/>
                    </a:lnTo>
                    <a:lnTo>
                      <a:pt x="1331" y="1633"/>
                    </a:lnTo>
                    <a:close/>
                    <a:moveTo>
                      <a:pt x="1263" y="1589"/>
                    </a:moveTo>
                    <a:lnTo>
                      <a:pt x="1264" y="1589"/>
                    </a:lnTo>
                    <a:lnTo>
                      <a:pt x="1264" y="1590"/>
                    </a:lnTo>
                    <a:lnTo>
                      <a:pt x="1263" y="1590"/>
                    </a:lnTo>
                    <a:lnTo>
                      <a:pt x="1264" y="1590"/>
                    </a:lnTo>
                    <a:lnTo>
                      <a:pt x="1263" y="1590"/>
                    </a:lnTo>
                    <a:lnTo>
                      <a:pt x="1261" y="1590"/>
                    </a:lnTo>
                    <a:lnTo>
                      <a:pt x="1261" y="1589"/>
                    </a:lnTo>
                    <a:lnTo>
                      <a:pt x="1263" y="1589"/>
                    </a:lnTo>
                    <a:close/>
                    <a:moveTo>
                      <a:pt x="1181" y="1464"/>
                    </a:moveTo>
                    <a:lnTo>
                      <a:pt x="1179" y="1466"/>
                    </a:lnTo>
                    <a:lnTo>
                      <a:pt x="1178" y="1466"/>
                    </a:lnTo>
                    <a:lnTo>
                      <a:pt x="1178" y="1468"/>
                    </a:lnTo>
                    <a:lnTo>
                      <a:pt x="1178" y="1466"/>
                    </a:lnTo>
                    <a:lnTo>
                      <a:pt x="1178" y="1464"/>
                    </a:lnTo>
                    <a:lnTo>
                      <a:pt x="1179" y="1464"/>
                    </a:lnTo>
                    <a:lnTo>
                      <a:pt x="1181" y="1463"/>
                    </a:lnTo>
                    <a:lnTo>
                      <a:pt x="1181" y="1464"/>
                    </a:lnTo>
                    <a:close/>
                    <a:moveTo>
                      <a:pt x="1327" y="1645"/>
                    </a:moveTo>
                    <a:lnTo>
                      <a:pt x="1329" y="1645"/>
                    </a:lnTo>
                    <a:lnTo>
                      <a:pt x="1329" y="1646"/>
                    </a:lnTo>
                    <a:lnTo>
                      <a:pt x="1331" y="1646"/>
                    </a:lnTo>
                    <a:lnTo>
                      <a:pt x="1329" y="1646"/>
                    </a:lnTo>
                    <a:lnTo>
                      <a:pt x="1329" y="1648"/>
                    </a:lnTo>
                    <a:lnTo>
                      <a:pt x="1331" y="1648"/>
                    </a:lnTo>
                    <a:lnTo>
                      <a:pt x="1332" y="1648"/>
                    </a:lnTo>
                    <a:lnTo>
                      <a:pt x="1331" y="1648"/>
                    </a:lnTo>
                    <a:lnTo>
                      <a:pt x="1329" y="1648"/>
                    </a:lnTo>
                    <a:lnTo>
                      <a:pt x="1327" y="1648"/>
                    </a:lnTo>
                    <a:lnTo>
                      <a:pt x="1329" y="1646"/>
                    </a:lnTo>
                    <a:lnTo>
                      <a:pt x="1327" y="1646"/>
                    </a:lnTo>
                    <a:lnTo>
                      <a:pt x="1327" y="1645"/>
                    </a:lnTo>
                    <a:close/>
                    <a:moveTo>
                      <a:pt x="1217" y="1500"/>
                    </a:moveTo>
                    <a:lnTo>
                      <a:pt x="1219" y="1500"/>
                    </a:lnTo>
                    <a:lnTo>
                      <a:pt x="1219" y="1502"/>
                    </a:lnTo>
                    <a:lnTo>
                      <a:pt x="1217" y="1502"/>
                    </a:lnTo>
                    <a:lnTo>
                      <a:pt x="1215" y="1502"/>
                    </a:lnTo>
                    <a:lnTo>
                      <a:pt x="1217" y="1502"/>
                    </a:lnTo>
                    <a:lnTo>
                      <a:pt x="1215" y="1502"/>
                    </a:lnTo>
                    <a:lnTo>
                      <a:pt x="1217" y="1500"/>
                    </a:lnTo>
                    <a:lnTo>
                      <a:pt x="1219" y="1498"/>
                    </a:lnTo>
                    <a:lnTo>
                      <a:pt x="1219" y="1500"/>
                    </a:lnTo>
                    <a:lnTo>
                      <a:pt x="1217" y="1500"/>
                    </a:lnTo>
                    <a:close/>
                    <a:moveTo>
                      <a:pt x="1171" y="1446"/>
                    </a:moveTo>
                    <a:lnTo>
                      <a:pt x="1174" y="1446"/>
                    </a:lnTo>
                    <a:lnTo>
                      <a:pt x="1174" y="1451"/>
                    </a:lnTo>
                    <a:lnTo>
                      <a:pt x="1171" y="1451"/>
                    </a:lnTo>
                    <a:lnTo>
                      <a:pt x="1171" y="1446"/>
                    </a:lnTo>
                    <a:close/>
                    <a:moveTo>
                      <a:pt x="1190" y="1119"/>
                    </a:moveTo>
                    <a:lnTo>
                      <a:pt x="1191" y="1119"/>
                    </a:lnTo>
                    <a:lnTo>
                      <a:pt x="1191" y="1122"/>
                    </a:lnTo>
                    <a:lnTo>
                      <a:pt x="1190" y="1122"/>
                    </a:lnTo>
                    <a:lnTo>
                      <a:pt x="1190" y="1119"/>
                    </a:lnTo>
                    <a:close/>
                    <a:moveTo>
                      <a:pt x="1222" y="1570"/>
                    </a:moveTo>
                    <a:lnTo>
                      <a:pt x="1224" y="1570"/>
                    </a:lnTo>
                    <a:lnTo>
                      <a:pt x="1224" y="1572"/>
                    </a:lnTo>
                    <a:lnTo>
                      <a:pt x="1222" y="1572"/>
                    </a:lnTo>
                    <a:lnTo>
                      <a:pt x="1222" y="1570"/>
                    </a:lnTo>
                    <a:lnTo>
                      <a:pt x="1220" y="1572"/>
                    </a:lnTo>
                    <a:lnTo>
                      <a:pt x="1220" y="1570"/>
                    </a:lnTo>
                    <a:lnTo>
                      <a:pt x="1222" y="1570"/>
                    </a:lnTo>
                    <a:close/>
                    <a:moveTo>
                      <a:pt x="1205" y="1019"/>
                    </a:moveTo>
                    <a:lnTo>
                      <a:pt x="1208" y="1019"/>
                    </a:lnTo>
                    <a:lnTo>
                      <a:pt x="1208" y="1022"/>
                    </a:lnTo>
                    <a:lnTo>
                      <a:pt x="1205" y="1022"/>
                    </a:lnTo>
                    <a:lnTo>
                      <a:pt x="1205" y="1019"/>
                    </a:lnTo>
                    <a:close/>
                    <a:moveTo>
                      <a:pt x="1164" y="1366"/>
                    </a:moveTo>
                    <a:lnTo>
                      <a:pt x="1168" y="1366"/>
                    </a:lnTo>
                    <a:lnTo>
                      <a:pt x="1168" y="1371"/>
                    </a:lnTo>
                    <a:lnTo>
                      <a:pt x="1164" y="1371"/>
                    </a:lnTo>
                    <a:lnTo>
                      <a:pt x="1164" y="1366"/>
                    </a:lnTo>
                    <a:close/>
                    <a:moveTo>
                      <a:pt x="1191" y="1498"/>
                    </a:moveTo>
                    <a:lnTo>
                      <a:pt x="1193" y="1498"/>
                    </a:lnTo>
                    <a:lnTo>
                      <a:pt x="1193" y="1500"/>
                    </a:lnTo>
                    <a:lnTo>
                      <a:pt x="1191" y="1502"/>
                    </a:lnTo>
                    <a:lnTo>
                      <a:pt x="1191" y="1500"/>
                    </a:lnTo>
                    <a:lnTo>
                      <a:pt x="1193" y="1500"/>
                    </a:lnTo>
                    <a:lnTo>
                      <a:pt x="1191" y="1500"/>
                    </a:lnTo>
                    <a:lnTo>
                      <a:pt x="1191" y="1498"/>
                    </a:lnTo>
                    <a:lnTo>
                      <a:pt x="1190" y="1498"/>
                    </a:lnTo>
                    <a:lnTo>
                      <a:pt x="1190" y="1497"/>
                    </a:lnTo>
                    <a:lnTo>
                      <a:pt x="1191" y="1497"/>
                    </a:lnTo>
                    <a:lnTo>
                      <a:pt x="1191" y="1498"/>
                    </a:lnTo>
                    <a:close/>
                    <a:moveTo>
                      <a:pt x="1186" y="1060"/>
                    </a:moveTo>
                    <a:lnTo>
                      <a:pt x="1188" y="1061"/>
                    </a:lnTo>
                    <a:lnTo>
                      <a:pt x="1188" y="1060"/>
                    </a:lnTo>
                    <a:lnTo>
                      <a:pt x="1190" y="1061"/>
                    </a:lnTo>
                    <a:lnTo>
                      <a:pt x="1191" y="1061"/>
                    </a:lnTo>
                    <a:lnTo>
                      <a:pt x="1190" y="1061"/>
                    </a:lnTo>
                    <a:lnTo>
                      <a:pt x="1188" y="1061"/>
                    </a:lnTo>
                    <a:lnTo>
                      <a:pt x="1186" y="1061"/>
                    </a:lnTo>
                    <a:lnTo>
                      <a:pt x="1185" y="1061"/>
                    </a:lnTo>
                    <a:lnTo>
                      <a:pt x="1185" y="1060"/>
                    </a:lnTo>
                    <a:lnTo>
                      <a:pt x="1186" y="1060"/>
                    </a:lnTo>
                    <a:close/>
                    <a:moveTo>
                      <a:pt x="1191" y="1449"/>
                    </a:moveTo>
                    <a:lnTo>
                      <a:pt x="1193" y="1451"/>
                    </a:lnTo>
                    <a:lnTo>
                      <a:pt x="1195" y="1451"/>
                    </a:lnTo>
                    <a:lnTo>
                      <a:pt x="1196" y="1453"/>
                    </a:lnTo>
                    <a:lnTo>
                      <a:pt x="1195" y="1453"/>
                    </a:lnTo>
                    <a:lnTo>
                      <a:pt x="1195" y="1454"/>
                    </a:lnTo>
                    <a:lnTo>
                      <a:pt x="1193" y="1453"/>
                    </a:lnTo>
                    <a:lnTo>
                      <a:pt x="1195" y="1453"/>
                    </a:lnTo>
                    <a:lnTo>
                      <a:pt x="1193" y="1453"/>
                    </a:lnTo>
                    <a:lnTo>
                      <a:pt x="1193" y="1451"/>
                    </a:lnTo>
                    <a:lnTo>
                      <a:pt x="1191" y="1451"/>
                    </a:lnTo>
                    <a:lnTo>
                      <a:pt x="1191" y="1449"/>
                    </a:lnTo>
                    <a:lnTo>
                      <a:pt x="1191" y="1451"/>
                    </a:lnTo>
                    <a:lnTo>
                      <a:pt x="1191" y="1449"/>
                    </a:lnTo>
                    <a:close/>
                    <a:moveTo>
                      <a:pt x="1215" y="993"/>
                    </a:moveTo>
                    <a:lnTo>
                      <a:pt x="1213" y="995"/>
                    </a:lnTo>
                    <a:lnTo>
                      <a:pt x="1213" y="993"/>
                    </a:lnTo>
                    <a:lnTo>
                      <a:pt x="1212" y="995"/>
                    </a:lnTo>
                    <a:lnTo>
                      <a:pt x="1212" y="993"/>
                    </a:lnTo>
                    <a:lnTo>
                      <a:pt x="1213" y="993"/>
                    </a:lnTo>
                    <a:lnTo>
                      <a:pt x="1213" y="992"/>
                    </a:lnTo>
                    <a:lnTo>
                      <a:pt x="1215" y="993"/>
                    </a:lnTo>
                    <a:close/>
                    <a:moveTo>
                      <a:pt x="1426" y="1677"/>
                    </a:moveTo>
                    <a:lnTo>
                      <a:pt x="1428" y="1677"/>
                    </a:lnTo>
                    <a:lnTo>
                      <a:pt x="1428" y="1679"/>
                    </a:lnTo>
                    <a:lnTo>
                      <a:pt x="1426" y="1679"/>
                    </a:lnTo>
                    <a:lnTo>
                      <a:pt x="1426" y="1680"/>
                    </a:lnTo>
                    <a:lnTo>
                      <a:pt x="1424" y="1680"/>
                    </a:lnTo>
                    <a:lnTo>
                      <a:pt x="1424" y="1679"/>
                    </a:lnTo>
                    <a:lnTo>
                      <a:pt x="1426" y="1677"/>
                    </a:lnTo>
                    <a:close/>
                    <a:moveTo>
                      <a:pt x="1213" y="747"/>
                    </a:moveTo>
                    <a:lnTo>
                      <a:pt x="1213" y="748"/>
                    </a:lnTo>
                    <a:lnTo>
                      <a:pt x="1213" y="747"/>
                    </a:lnTo>
                    <a:lnTo>
                      <a:pt x="1212" y="748"/>
                    </a:lnTo>
                    <a:lnTo>
                      <a:pt x="1212" y="747"/>
                    </a:lnTo>
                    <a:lnTo>
                      <a:pt x="1212" y="745"/>
                    </a:lnTo>
                    <a:lnTo>
                      <a:pt x="1212" y="747"/>
                    </a:lnTo>
                    <a:lnTo>
                      <a:pt x="1213" y="747"/>
                    </a:lnTo>
                    <a:close/>
                    <a:moveTo>
                      <a:pt x="1220" y="993"/>
                    </a:moveTo>
                    <a:lnTo>
                      <a:pt x="1222" y="993"/>
                    </a:lnTo>
                    <a:lnTo>
                      <a:pt x="1222" y="995"/>
                    </a:lnTo>
                    <a:lnTo>
                      <a:pt x="1220" y="995"/>
                    </a:lnTo>
                    <a:lnTo>
                      <a:pt x="1219" y="993"/>
                    </a:lnTo>
                    <a:lnTo>
                      <a:pt x="1220" y="993"/>
                    </a:lnTo>
                    <a:close/>
                    <a:moveTo>
                      <a:pt x="1168" y="1259"/>
                    </a:moveTo>
                    <a:lnTo>
                      <a:pt x="1171" y="1259"/>
                    </a:lnTo>
                    <a:lnTo>
                      <a:pt x="1171" y="1262"/>
                    </a:lnTo>
                    <a:lnTo>
                      <a:pt x="1168" y="1262"/>
                    </a:lnTo>
                    <a:lnTo>
                      <a:pt x="1168" y="1259"/>
                    </a:lnTo>
                    <a:close/>
                    <a:moveTo>
                      <a:pt x="1159" y="1252"/>
                    </a:moveTo>
                    <a:lnTo>
                      <a:pt x="1161" y="1253"/>
                    </a:lnTo>
                    <a:lnTo>
                      <a:pt x="1159" y="1253"/>
                    </a:lnTo>
                    <a:lnTo>
                      <a:pt x="1157" y="1255"/>
                    </a:lnTo>
                    <a:lnTo>
                      <a:pt x="1157" y="1253"/>
                    </a:lnTo>
                    <a:lnTo>
                      <a:pt x="1159" y="1253"/>
                    </a:lnTo>
                    <a:lnTo>
                      <a:pt x="1157" y="1253"/>
                    </a:lnTo>
                    <a:lnTo>
                      <a:pt x="1156" y="1253"/>
                    </a:lnTo>
                    <a:lnTo>
                      <a:pt x="1157" y="1253"/>
                    </a:lnTo>
                    <a:lnTo>
                      <a:pt x="1159" y="1252"/>
                    </a:lnTo>
                    <a:close/>
                    <a:moveTo>
                      <a:pt x="1290" y="1575"/>
                    </a:moveTo>
                    <a:lnTo>
                      <a:pt x="1292" y="1575"/>
                    </a:lnTo>
                    <a:lnTo>
                      <a:pt x="1292" y="1580"/>
                    </a:lnTo>
                    <a:lnTo>
                      <a:pt x="1290" y="1580"/>
                    </a:lnTo>
                    <a:lnTo>
                      <a:pt x="1290" y="1575"/>
                    </a:lnTo>
                    <a:close/>
                    <a:moveTo>
                      <a:pt x="1290" y="1629"/>
                    </a:moveTo>
                    <a:lnTo>
                      <a:pt x="1293" y="1629"/>
                    </a:lnTo>
                    <a:lnTo>
                      <a:pt x="1293" y="1635"/>
                    </a:lnTo>
                    <a:lnTo>
                      <a:pt x="1290" y="1635"/>
                    </a:lnTo>
                    <a:lnTo>
                      <a:pt x="1290" y="1629"/>
                    </a:lnTo>
                    <a:close/>
                    <a:moveTo>
                      <a:pt x="1161" y="1245"/>
                    </a:moveTo>
                    <a:lnTo>
                      <a:pt x="1159" y="1247"/>
                    </a:lnTo>
                    <a:lnTo>
                      <a:pt x="1157" y="1247"/>
                    </a:lnTo>
                    <a:lnTo>
                      <a:pt x="1157" y="1245"/>
                    </a:lnTo>
                    <a:lnTo>
                      <a:pt x="1159" y="1245"/>
                    </a:lnTo>
                    <a:lnTo>
                      <a:pt x="1157" y="1245"/>
                    </a:lnTo>
                    <a:lnTo>
                      <a:pt x="1159" y="1245"/>
                    </a:lnTo>
                    <a:lnTo>
                      <a:pt x="1161" y="1245"/>
                    </a:lnTo>
                    <a:lnTo>
                      <a:pt x="1161" y="1243"/>
                    </a:lnTo>
                    <a:lnTo>
                      <a:pt x="1161" y="1245"/>
                    </a:lnTo>
                    <a:close/>
                    <a:moveTo>
                      <a:pt x="1210" y="1017"/>
                    </a:moveTo>
                    <a:lnTo>
                      <a:pt x="1213" y="1017"/>
                    </a:lnTo>
                    <a:lnTo>
                      <a:pt x="1213" y="1020"/>
                    </a:lnTo>
                    <a:lnTo>
                      <a:pt x="1210" y="1020"/>
                    </a:lnTo>
                    <a:lnTo>
                      <a:pt x="1210" y="1017"/>
                    </a:lnTo>
                    <a:close/>
                    <a:moveTo>
                      <a:pt x="1200" y="1085"/>
                    </a:moveTo>
                    <a:lnTo>
                      <a:pt x="1200" y="1087"/>
                    </a:lnTo>
                    <a:lnTo>
                      <a:pt x="1198" y="1085"/>
                    </a:lnTo>
                    <a:lnTo>
                      <a:pt x="1196" y="1085"/>
                    </a:lnTo>
                    <a:lnTo>
                      <a:pt x="1198" y="1085"/>
                    </a:lnTo>
                    <a:lnTo>
                      <a:pt x="1200" y="1083"/>
                    </a:lnTo>
                    <a:lnTo>
                      <a:pt x="1200" y="1085"/>
                    </a:lnTo>
                    <a:close/>
                    <a:moveTo>
                      <a:pt x="1210" y="1253"/>
                    </a:moveTo>
                    <a:lnTo>
                      <a:pt x="1210" y="1255"/>
                    </a:lnTo>
                    <a:lnTo>
                      <a:pt x="1212" y="1255"/>
                    </a:lnTo>
                    <a:lnTo>
                      <a:pt x="1212" y="1257"/>
                    </a:lnTo>
                    <a:lnTo>
                      <a:pt x="1210" y="1255"/>
                    </a:lnTo>
                    <a:lnTo>
                      <a:pt x="1208" y="1255"/>
                    </a:lnTo>
                    <a:lnTo>
                      <a:pt x="1208" y="1253"/>
                    </a:lnTo>
                    <a:lnTo>
                      <a:pt x="1210" y="1253"/>
                    </a:lnTo>
                    <a:close/>
                    <a:moveTo>
                      <a:pt x="1156" y="1187"/>
                    </a:moveTo>
                    <a:lnTo>
                      <a:pt x="1157" y="1189"/>
                    </a:lnTo>
                    <a:lnTo>
                      <a:pt x="1159" y="1191"/>
                    </a:lnTo>
                    <a:lnTo>
                      <a:pt x="1157" y="1191"/>
                    </a:lnTo>
                    <a:lnTo>
                      <a:pt x="1156" y="1189"/>
                    </a:lnTo>
                    <a:lnTo>
                      <a:pt x="1154" y="1189"/>
                    </a:lnTo>
                    <a:lnTo>
                      <a:pt x="1156" y="1187"/>
                    </a:lnTo>
                    <a:close/>
                    <a:moveTo>
                      <a:pt x="1219" y="1119"/>
                    </a:moveTo>
                    <a:lnTo>
                      <a:pt x="1217" y="1121"/>
                    </a:lnTo>
                    <a:lnTo>
                      <a:pt x="1215" y="1121"/>
                    </a:lnTo>
                    <a:lnTo>
                      <a:pt x="1217" y="1119"/>
                    </a:lnTo>
                    <a:lnTo>
                      <a:pt x="1215" y="1119"/>
                    </a:lnTo>
                    <a:lnTo>
                      <a:pt x="1217" y="1119"/>
                    </a:lnTo>
                    <a:lnTo>
                      <a:pt x="1219" y="1119"/>
                    </a:lnTo>
                    <a:close/>
                    <a:moveTo>
                      <a:pt x="1210" y="1242"/>
                    </a:moveTo>
                    <a:lnTo>
                      <a:pt x="1210" y="1243"/>
                    </a:lnTo>
                    <a:lnTo>
                      <a:pt x="1208" y="1243"/>
                    </a:lnTo>
                    <a:lnTo>
                      <a:pt x="1207" y="1243"/>
                    </a:lnTo>
                    <a:lnTo>
                      <a:pt x="1207" y="1242"/>
                    </a:lnTo>
                    <a:lnTo>
                      <a:pt x="1208" y="1242"/>
                    </a:lnTo>
                    <a:lnTo>
                      <a:pt x="1210" y="1242"/>
                    </a:lnTo>
                    <a:close/>
                    <a:moveTo>
                      <a:pt x="1151" y="1291"/>
                    </a:moveTo>
                    <a:lnTo>
                      <a:pt x="1154" y="1291"/>
                    </a:lnTo>
                    <a:lnTo>
                      <a:pt x="1154" y="1294"/>
                    </a:lnTo>
                    <a:lnTo>
                      <a:pt x="1151" y="1294"/>
                    </a:lnTo>
                    <a:lnTo>
                      <a:pt x="1151" y="1291"/>
                    </a:lnTo>
                    <a:close/>
                    <a:moveTo>
                      <a:pt x="1164" y="1476"/>
                    </a:moveTo>
                    <a:lnTo>
                      <a:pt x="1168" y="1476"/>
                    </a:lnTo>
                    <a:lnTo>
                      <a:pt x="1168" y="1480"/>
                    </a:lnTo>
                    <a:lnTo>
                      <a:pt x="1164" y="1480"/>
                    </a:lnTo>
                    <a:lnTo>
                      <a:pt x="1164" y="1476"/>
                    </a:lnTo>
                    <a:close/>
                    <a:moveTo>
                      <a:pt x="1188" y="1475"/>
                    </a:moveTo>
                    <a:lnTo>
                      <a:pt x="1188" y="1476"/>
                    </a:lnTo>
                    <a:lnTo>
                      <a:pt x="1186" y="1476"/>
                    </a:lnTo>
                    <a:lnTo>
                      <a:pt x="1186" y="1475"/>
                    </a:lnTo>
                    <a:lnTo>
                      <a:pt x="1188" y="1475"/>
                    </a:lnTo>
                    <a:lnTo>
                      <a:pt x="1186" y="1475"/>
                    </a:lnTo>
                    <a:lnTo>
                      <a:pt x="1185" y="1475"/>
                    </a:lnTo>
                    <a:lnTo>
                      <a:pt x="1186" y="1475"/>
                    </a:lnTo>
                    <a:lnTo>
                      <a:pt x="1188" y="1473"/>
                    </a:lnTo>
                    <a:lnTo>
                      <a:pt x="1190" y="1475"/>
                    </a:lnTo>
                    <a:lnTo>
                      <a:pt x="1188" y="1475"/>
                    </a:lnTo>
                    <a:close/>
                    <a:moveTo>
                      <a:pt x="1186" y="1119"/>
                    </a:moveTo>
                    <a:lnTo>
                      <a:pt x="1188" y="1119"/>
                    </a:lnTo>
                    <a:lnTo>
                      <a:pt x="1188" y="1124"/>
                    </a:lnTo>
                    <a:lnTo>
                      <a:pt x="1186" y="1124"/>
                    </a:lnTo>
                    <a:lnTo>
                      <a:pt x="1186" y="1119"/>
                    </a:lnTo>
                    <a:close/>
                    <a:moveTo>
                      <a:pt x="1326" y="1648"/>
                    </a:moveTo>
                    <a:lnTo>
                      <a:pt x="1327" y="1650"/>
                    </a:lnTo>
                    <a:lnTo>
                      <a:pt x="1329" y="1650"/>
                    </a:lnTo>
                    <a:lnTo>
                      <a:pt x="1327" y="1650"/>
                    </a:lnTo>
                    <a:lnTo>
                      <a:pt x="1326" y="1650"/>
                    </a:lnTo>
                    <a:lnTo>
                      <a:pt x="1324" y="1650"/>
                    </a:lnTo>
                    <a:lnTo>
                      <a:pt x="1324" y="1648"/>
                    </a:lnTo>
                    <a:lnTo>
                      <a:pt x="1326" y="1648"/>
                    </a:lnTo>
                    <a:close/>
                    <a:moveTo>
                      <a:pt x="1205" y="1065"/>
                    </a:moveTo>
                    <a:lnTo>
                      <a:pt x="1208" y="1065"/>
                    </a:lnTo>
                    <a:lnTo>
                      <a:pt x="1208" y="1066"/>
                    </a:lnTo>
                    <a:lnTo>
                      <a:pt x="1205" y="1066"/>
                    </a:lnTo>
                    <a:lnTo>
                      <a:pt x="1205" y="1065"/>
                    </a:lnTo>
                    <a:close/>
                    <a:moveTo>
                      <a:pt x="1198" y="1068"/>
                    </a:moveTo>
                    <a:lnTo>
                      <a:pt x="1202" y="1068"/>
                    </a:lnTo>
                    <a:lnTo>
                      <a:pt x="1202" y="1071"/>
                    </a:lnTo>
                    <a:lnTo>
                      <a:pt x="1198" y="1071"/>
                    </a:lnTo>
                    <a:lnTo>
                      <a:pt x="1198" y="1068"/>
                    </a:lnTo>
                    <a:close/>
                    <a:moveTo>
                      <a:pt x="1210" y="1022"/>
                    </a:moveTo>
                    <a:lnTo>
                      <a:pt x="1210" y="1024"/>
                    </a:lnTo>
                    <a:lnTo>
                      <a:pt x="1210" y="1022"/>
                    </a:lnTo>
                    <a:lnTo>
                      <a:pt x="1208" y="1022"/>
                    </a:lnTo>
                    <a:lnTo>
                      <a:pt x="1208" y="1020"/>
                    </a:lnTo>
                    <a:lnTo>
                      <a:pt x="1208" y="1019"/>
                    </a:lnTo>
                    <a:lnTo>
                      <a:pt x="1210" y="1019"/>
                    </a:lnTo>
                    <a:lnTo>
                      <a:pt x="1210" y="1020"/>
                    </a:lnTo>
                    <a:lnTo>
                      <a:pt x="1210" y="1022"/>
                    </a:lnTo>
                    <a:close/>
                    <a:moveTo>
                      <a:pt x="1178" y="1383"/>
                    </a:moveTo>
                    <a:lnTo>
                      <a:pt x="1181" y="1383"/>
                    </a:lnTo>
                    <a:lnTo>
                      <a:pt x="1181" y="1386"/>
                    </a:lnTo>
                    <a:lnTo>
                      <a:pt x="1178" y="1386"/>
                    </a:lnTo>
                    <a:lnTo>
                      <a:pt x="1178" y="1383"/>
                    </a:lnTo>
                    <a:close/>
                    <a:moveTo>
                      <a:pt x="1205" y="1104"/>
                    </a:moveTo>
                    <a:lnTo>
                      <a:pt x="1208" y="1104"/>
                    </a:lnTo>
                    <a:lnTo>
                      <a:pt x="1208" y="1107"/>
                    </a:lnTo>
                    <a:lnTo>
                      <a:pt x="1205" y="1107"/>
                    </a:lnTo>
                    <a:lnTo>
                      <a:pt x="1205" y="1104"/>
                    </a:lnTo>
                    <a:close/>
                    <a:moveTo>
                      <a:pt x="1205" y="1053"/>
                    </a:moveTo>
                    <a:lnTo>
                      <a:pt x="1203" y="1054"/>
                    </a:lnTo>
                    <a:lnTo>
                      <a:pt x="1202" y="1054"/>
                    </a:lnTo>
                    <a:lnTo>
                      <a:pt x="1202" y="1053"/>
                    </a:lnTo>
                    <a:lnTo>
                      <a:pt x="1203" y="1053"/>
                    </a:lnTo>
                    <a:lnTo>
                      <a:pt x="1205" y="1053"/>
                    </a:lnTo>
                    <a:close/>
                    <a:moveTo>
                      <a:pt x="1191" y="1396"/>
                    </a:moveTo>
                    <a:lnTo>
                      <a:pt x="1193" y="1396"/>
                    </a:lnTo>
                    <a:lnTo>
                      <a:pt x="1193" y="1400"/>
                    </a:lnTo>
                    <a:lnTo>
                      <a:pt x="1191" y="1400"/>
                    </a:lnTo>
                    <a:lnTo>
                      <a:pt x="1191" y="1396"/>
                    </a:lnTo>
                    <a:close/>
                    <a:moveTo>
                      <a:pt x="1224" y="1556"/>
                    </a:moveTo>
                    <a:lnTo>
                      <a:pt x="1224" y="1558"/>
                    </a:lnTo>
                    <a:lnTo>
                      <a:pt x="1224" y="1556"/>
                    </a:lnTo>
                    <a:lnTo>
                      <a:pt x="1224" y="1558"/>
                    </a:lnTo>
                    <a:lnTo>
                      <a:pt x="1222" y="1558"/>
                    </a:lnTo>
                    <a:lnTo>
                      <a:pt x="1220" y="1558"/>
                    </a:lnTo>
                    <a:lnTo>
                      <a:pt x="1222" y="1558"/>
                    </a:lnTo>
                    <a:lnTo>
                      <a:pt x="1224" y="1556"/>
                    </a:lnTo>
                    <a:lnTo>
                      <a:pt x="1222" y="1558"/>
                    </a:lnTo>
                    <a:lnTo>
                      <a:pt x="1220" y="1558"/>
                    </a:lnTo>
                    <a:lnTo>
                      <a:pt x="1222" y="1556"/>
                    </a:lnTo>
                    <a:lnTo>
                      <a:pt x="1224" y="1556"/>
                    </a:lnTo>
                    <a:close/>
                    <a:moveTo>
                      <a:pt x="1356" y="1663"/>
                    </a:moveTo>
                    <a:lnTo>
                      <a:pt x="1358" y="1663"/>
                    </a:lnTo>
                    <a:lnTo>
                      <a:pt x="1356" y="1665"/>
                    </a:lnTo>
                    <a:lnTo>
                      <a:pt x="1355" y="1665"/>
                    </a:lnTo>
                    <a:lnTo>
                      <a:pt x="1356" y="1667"/>
                    </a:lnTo>
                    <a:lnTo>
                      <a:pt x="1355" y="1665"/>
                    </a:lnTo>
                    <a:lnTo>
                      <a:pt x="1355" y="1663"/>
                    </a:lnTo>
                    <a:lnTo>
                      <a:pt x="1356" y="1663"/>
                    </a:lnTo>
                    <a:close/>
                    <a:moveTo>
                      <a:pt x="1183" y="1464"/>
                    </a:moveTo>
                    <a:lnTo>
                      <a:pt x="1186" y="1464"/>
                    </a:lnTo>
                    <a:lnTo>
                      <a:pt x="1186" y="1468"/>
                    </a:lnTo>
                    <a:lnTo>
                      <a:pt x="1183" y="1468"/>
                    </a:lnTo>
                    <a:lnTo>
                      <a:pt x="1183" y="1464"/>
                    </a:lnTo>
                    <a:close/>
                    <a:moveTo>
                      <a:pt x="1268" y="1614"/>
                    </a:moveTo>
                    <a:lnTo>
                      <a:pt x="1271" y="1614"/>
                    </a:lnTo>
                    <a:lnTo>
                      <a:pt x="1271" y="1619"/>
                    </a:lnTo>
                    <a:lnTo>
                      <a:pt x="1268" y="1619"/>
                    </a:lnTo>
                    <a:lnTo>
                      <a:pt x="1268" y="1614"/>
                    </a:lnTo>
                    <a:close/>
                    <a:moveTo>
                      <a:pt x="1202" y="1544"/>
                    </a:moveTo>
                    <a:lnTo>
                      <a:pt x="1203" y="1544"/>
                    </a:lnTo>
                    <a:lnTo>
                      <a:pt x="1203" y="1546"/>
                    </a:lnTo>
                    <a:lnTo>
                      <a:pt x="1202" y="1546"/>
                    </a:lnTo>
                    <a:lnTo>
                      <a:pt x="1202" y="1544"/>
                    </a:lnTo>
                    <a:close/>
                    <a:moveTo>
                      <a:pt x="1176" y="1487"/>
                    </a:moveTo>
                    <a:lnTo>
                      <a:pt x="1179" y="1487"/>
                    </a:lnTo>
                    <a:lnTo>
                      <a:pt x="1179" y="1488"/>
                    </a:lnTo>
                    <a:lnTo>
                      <a:pt x="1176" y="1488"/>
                    </a:lnTo>
                    <a:lnTo>
                      <a:pt x="1176" y="1487"/>
                    </a:lnTo>
                    <a:close/>
                    <a:moveTo>
                      <a:pt x="1181" y="1328"/>
                    </a:moveTo>
                    <a:lnTo>
                      <a:pt x="1183" y="1328"/>
                    </a:lnTo>
                    <a:lnTo>
                      <a:pt x="1183" y="1333"/>
                    </a:lnTo>
                    <a:lnTo>
                      <a:pt x="1181" y="1333"/>
                    </a:lnTo>
                    <a:lnTo>
                      <a:pt x="1181" y="1328"/>
                    </a:lnTo>
                    <a:close/>
                    <a:moveTo>
                      <a:pt x="1200" y="1080"/>
                    </a:moveTo>
                    <a:lnTo>
                      <a:pt x="1202" y="1080"/>
                    </a:lnTo>
                    <a:lnTo>
                      <a:pt x="1202" y="1082"/>
                    </a:lnTo>
                    <a:lnTo>
                      <a:pt x="1200" y="1082"/>
                    </a:lnTo>
                    <a:lnTo>
                      <a:pt x="1200" y="1080"/>
                    </a:lnTo>
                    <a:close/>
                    <a:moveTo>
                      <a:pt x="1171" y="1252"/>
                    </a:moveTo>
                    <a:lnTo>
                      <a:pt x="1173" y="1252"/>
                    </a:lnTo>
                    <a:lnTo>
                      <a:pt x="1173" y="1257"/>
                    </a:lnTo>
                    <a:lnTo>
                      <a:pt x="1171" y="1257"/>
                    </a:lnTo>
                    <a:lnTo>
                      <a:pt x="1171" y="1252"/>
                    </a:lnTo>
                    <a:close/>
                    <a:moveTo>
                      <a:pt x="1217" y="1082"/>
                    </a:moveTo>
                    <a:lnTo>
                      <a:pt x="1220" y="1082"/>
                    </a:lnTo>
                    <a:lnTo>
                      <a:pt x="1220" y="1085"/>
                    </a:lnTo>
                    <a:lnTo>
                      <a:pt x="1217" y="1085"/>
                    </a:lnTo>
                    <a:lnTo>
                      <a:pt x="1217" y="1082"/>
                    </a:lnTo>
                    <a:close/>
                    <a:moveTo>
                      <a:pt x="1162" y="1407"/>
                    </a:moveTo>
                    <a:lnTo>
                      <a:pt x="1164" y="1407"/>
                    </a:lnTo>
                    <a:lnTo>
                      <a:pt x="1162" y="1408"/>
                    </a:lnTo>
                    <a:lnTo>
                      <a:pt x="1161" y="1408"/>
                    </a:lnTo>
                    <a:lnTo>
                      <a:pt x="1161" y="1407"/>
                    </a:lnTo>
                    <a:lnTo>
                      <a:pt x="1162" y="1407"/>
                    </a:lnTo>
                    <a:close/>
                    <a:moveTo>
                      <a:pt x="1149" y="1373"/>
                    </a:moveTo>
                    <a:lnTo>
                      <a:pt x="1152" y="1373"/>
                    </a:lnTo>
                    <a:lnTo>
                      <a:pt x="1152" y="1376"/>
                    </a:lnTo>
                    <a:lnTo>
                      <a:pt x="1149" y="1376"/>
                    </a:lnTo>
                    <a:lnTo>
                      <a:pt x="1149" y="1373"/>
                    </a:lnTo>
                    <a:close/>
                    <a:moveTo>
                      <a:pt x="1217" y="985"/>
                    </a:moveTo>
                    <a:lnTo>
                      <a:pt x="1220" y="985"/>
                    </a:lnTo>
                    <a:lnTo>
                      <a:pt x="1220" y="986"/>
                    </a:lnTo>
                    <a:lnTo>
                      <a:pt x="1217" y="986"/>
                    </a:lnTo>
                    <a:lnTo>
                      <a:pt x="1217" y="985"/>
                    </a:lnTo>
                    <a:close/>
                    <a:moveTo>
                      <a:pt x="1161" y="1356"/>
                    </a:moveTo>
                    <a:lnTo>
                      <a:pt x="1162" y="1356"/>
                    </a:lnTo>
                    <a:lnTo>
                      <a:pt x="1162" y="1361"/>
                    </a:lnTo>
                    <a:lnTo>
                      <a:pt x="1161" y="1361"/>
                    </a:lnTo>
                    <a:lnTo>
                      <a:pt x="1161" y="1356"/>
                    </a:lnTo>
                    <a:close/>
                    <a:moveTo>
                      <a:pt x="1154" y="1364"/>
                    </a:moveTo>
                    <a:lnTo>
                      <a:pt x="1157" y="1364"/>
                    </a:lnTo>
                    <a:lnTo>
                      <a:pt x="1157" y="1367"/>
                    </a:lnTo>
                    <a:lnTo>
                      <a:pt x="1154" y="1367"/>
                    </a:lnTo>
                    <a:lnTo>
                      <a:pt x="1154" y="1364"/>
                    </a:lnTo>
                    <a:close/>
                    <a:moveTo>
                      <a:pt x="1365" y="1650"/>
                    </a:moveTo>
                    <a:lnTo>
                      <a:pt x="1366" y="1650"/>
                    </a:lnTo>
                    <a:lnTo>
                      <a:pt x="1366" y="1653"/>
                    </a:lnTo>
                    <a:lnTo>
                      <a:pt x="1365" y="1653"/>
                    </a:lnTo>
                    <a:lnTo>
                      <a:pt x="1365" y="1650"/>
                    </a:lnTo>
                    <a:close/>
                    <a:moveTo>
                      <a:pt x="1246" y="1590"/>
                    </a:moveTo>
                    <a:lnTo>
                      <a:pt x="1246" y="1589"/>
                    </a:lnTo>
                    <a:lnTo>
                      <a:pt x="1247" y="1590"/>
                    </a:lnTo>
                    <a:lnTo>
                      <a:pt x="1249" y="1592"/>
                    </a:lnTo>
                    <a:lnTo>
                      <a:pt x="1247" y="1592"/>
                    </a:lnTo>
                    <a:lnTo>
                      <a:pt x="1247" y="1590"/>
                    </a:lnTo>
                    <a:lnTo>
                      <a:pt x="1246" y="1590"/>
                    </a:lnTo>
                    <a:lnTo>
                      <a:pt x="1244" y="1590"/>
                    </a:lnTo>
                    <a:lnTo>
                      <a:pt x="1246" y="1590"/>
                    </a:lnTo>
                    <a:lnTo>
                      <a:pt x="1246" y="1589"/>
                    </a:lnTo>
                    <a:lnTo>
                      <a:pt x="1246" y="1590"/>
                    </a:lnTo>
                    <a:close/>
                    <a:moveTo>
                      <a:pt x="1202" y="1090"/>
                    </a:moveTo>
                    <a:lnTo>
                      <a:pt x="1203" y="1092"/>
                    </a:lnTo>
                    <a:lnTo>
                      <a:pt x="1202" y="1092"/>
                    </a:lnTo>
                    <a:lnTo>
                      <a:pt x="1200" y="1092"/>
                    </a:lnTo>
                    <a:lnTo>
                      <a:pt x="1198" y="1092"/>
                    </a:lnTo>
                    <a:lnTo>
                      <a:pt x="1200" y="1092"/>
                    </a:lnTo>
                    <a:lnTo>
                      <a:pt x="1200" y="1090"/>
                    </a:lnTo>
                    <a:lnTo>
                      <a:pt x="1202" y="1090"/>
                    </a:lnTo>
                    <a:close/>
                    <a:moveTo>
                      <a:pt x="1185" y="1524"/>
                    </a:moveTo>
                    <a:lnTo>
                      <a:pt x="1186" y="1524"/>
                    </a:lnTo>
                    <a:lnTo>
                      <a:pt x="1186" y="1527"/>
                    </a:lnTo>
                    <a:lnTo>
                      <a:pt x="1185" y="1527"/>
                    </a:lnTo>
                    <a:lnTo>
                      <a:pt x="1185" y="1524"/>
                    </a:lnTo>
                    <a:close/>
                    <a:moveTo>
                      <a:pt x="1210" y="1058"/>
                    </a:moveTo>
                    <a:lnTo>
                      <a:pt x="1212" y="1058"/>
                    </a:lnTo>
                    <a:lnTo>
                      <a:pt x="1212" y="1061"/>
                    </a:lnTo>
                    <a:lnTo>
                      <a:pt x="1210" y="1061"/>
                    </a:lnTo>
                    <a:lnTo>
                      <a:pt x="1210" y="1058"/>
                    </a:lnTo>
                    <a:close/>
                    <a:moveTo>
                      <a:pt x="1246" y="964"/>
                    </a:moveTo>
                    <a:lnTo>
                      <a:pt x="1247" y="964"/>
                    </a:lnTo>
                    <a:lnTo>
                      <a:pt x="1247" y="968"/>
                    </a:lnTo>
                    <a:lnTo>
                      <a:pt x="1246" y="968"/>
                    </a:lnTo>
                    <a:lnTo>
                      <a:pt x="1246" y="964"/>
                    </a:lnTo>
                    <a:close/>
                    <a:moveTo>
                      <a:pt x="1186" y="1027"/>
                    </a:moveTo>
                    <a:lnTo>
                      <a:pt x="1188" y="1027"/>
                    </a:lnTo>
                    <a:lnTo>
                      <a:pt x="1188" y="1031"/>
                    </a:lnTo>
                    <a:lnTo>
                      <a:pt x="1186" y="1031"/>
                    </a:lnTo>
                    <a:lnTo>
                      <a:pt x="1186" y="1027"/>
                    </a:lnTo>
                    <a:close/>
                    <a:moveTo>
                      <a:pt x="1144" y="1322"/>
                    </a:moveTo>
                    <a:lnTo>
                      <a:pt x="1147" y="1322"/>
                    </a:lnTo>
                    <a:lnTo>
                      <a:pt x="1147" y="1325"/>
                    </a:lnTo>
                    <a:lnTo>
                      <a:pt x="1144" y="1325"/>
                    </a:lnTo>
                    <a:lnTo>
                      <a:pt x="1144" y="1322"/>
                    </a:lnTo>
                    <a:close/>
                    <a:moveTo>
                      <a:pt x="1202" y="1536"/>
                    </a:moveTo>
                    <a:lnTo>
                      <a:pt x="1202" y="1538"/>
                    </a:lnTo>
                    <a:lnTo>
                      <a:pt x="1202" y="1536"/>
                    </a:lnTo>
                    <a:lnTo>
                      <a:pt x="1203" y="1538"/>
                    </a:lnTo>
                    <a:lnTo>
                      <a:pt x="1202" y="1538"/>
                    </a:lnTo>
                    <a:lnTo>
                      <a:pt x="1200" y="1536"/>
                    </a:lnTo>
                    <a:lnTo>
                      <a:pt x="1202" y="1536"/>
                    </a:lnTo>
                    <a:close/>
                    <a:moveTo>
                      <a:pt x="1368" y="1663"/>
                    </a:moveTo>
                    <a:lnTo>
                      <a:pt x="1372" y="1663"/>
                    </a:lnTo>
                    <a:lnTo>
                      <a:pt x="1372" y="1665"/>
                    </a:lnTo>
                    <a:lnTo>
                      <a:pt x="1368" y="1665"/>
                    </a:lnTo>
                    <a:lnTo>
                      <a:pt x="1368" y="1663"/>
                    </a:lnTo>
                    <a:close/>
                    <a:moveTo>
                      <a:pt x="1307" y="1640"/>
                    </a:moveTo>
                    <a:lnTo>
                      <a:pt x="1310" y="1640"/>
                    </a:lnTo>
                    <a:lnTo>
                      <a:pt x="1310" y="1643"/>
                    </a:lnTo>
                    <a:lnTo>
                      <a:pt x="1307" y="1643"/>
                    </a:lnTo>
                    <a:lnTo>
                      <a:pt x="1307" y="1640"/>
                    </a:lnTo>
                    <a:close/>
                    <a:moveTo>
                      <a:pt x="1188" y="1058"/>
                    </a:moveTo>
                    <a:lnTo>
                      <a:pt x="1190" y="1058"/>
                    </a:lnTo>
                    <a:lnTo>
                      <a:pt x="1191" y="1058"/>
                    </a:lnTo>
                    <a:lnTo>
                      <a:pt x="1190" y="1060"/>
                    </a:lnTo>
                    <a:lnTo>
                      <a:pt x="1188" y="1060"/>
                    </a:lnTo>
                    <a:lnTo>
                      <a:pt x="1186" y="1058"/>
                    </a:lnTo>
                    <a:lnTo>
                      <a:pt x="1188" y="1058"/>
                    </a:lnTo>
                    <a:close/>
                    <a:moveTo>
                      <a:pt x="1178" y="1485"/>
                    </a:moveTo>
                    <a:lnTo>
                      <a:pt x="1181" y="1485"/>
                    </a:lnTo>
                    <a:lnTo>
                      <a:pt x="1181" y="1487"/>
                    </a:lnTo>
                    <a:lnTo>
                      <a:pt x="1178" y="1487"/>
                    </a:lnTo>
                    <a:lnTo>
                      <a:pt x="1178" y="1485"/>
                    </a:lnTo>
                    <a:close/>
                    <a:moveTo>
                      <a:pt x="1210" y="1551"/>
                    </a:moveTo>
                    <a:lnTo>
                      <a:pt x="1213" y="1551"/>
                    </a:lnTo>
                    <a:lnTo>
                      <a:pt x="1213" y="1555"/>
                    </a:lnTo>
                    <a:lnTo>
                      <a:pt x="1210" y="1555"/>
                    </a:lnTo>
                    <a:lnTo>
                      <a:pt x="1210" y="1551"/>
                    </a:lnTo>
                    <a:close/>
                    <a:moveTo>
                      <a:pt x="1360" y="1667"/>
                    </a:moveTo>
                    <a:lnTo>
                      <a:pt x="1361" y="1667"/>
                    </a:lnTo>
                    <a:lnTo>
                      <a:pt x="1361" y="1670"/>
                    </a:lnTo>
                    <a:lnTo>
                      <a:pt x="1360" y="1670"/>
                    </a:lnTo>
                    <a:lnTo>
                      <a:pt x="1360" y="1667"/>
                    </a:lnTo>
                    <a:close/>
                    <a:moveTo>
                      <a:pt x="1210" y="1242"/>
                    </a:moveTo>
                    <a:lnTo>
                      <a:pt x="1213" y="1242"/>
                    </a:lnTo>
                    <a:lnTo>
                      <a:pt x="1213" y="1245"/>
                    </a:lnTo>
                    <a:lnTo>
                      <a:pt x="1210" y="1245"/>
                    </a:lnTo>
                    <a:lnTo>
                      <a:pt x="1210" y="1242"/>
                    </a:lnTo>
                    <a:close/>
                    <a:moveTo>
                      <a:pt x="1200" y="1541"/>
                    </a:moveTo>
                    <a:lnTo>
                      <a:pt x="1203" y="1541"/>
                    </a:lnTo>
                    <a:lnTo>
                      <a:pt x="1203" y="1543"/>
                    </a:lnTo>
                    <a:lnTo>
                      <a:pt x="1200" y="1543"/>
                    </a:lnTo>
                    <a:lnTo>
                      <a:pt x="1200" y="1541"/>
                    </a:lnTo>
                    <a:close/>
                    <a:moveTo>
                      <a:pt x="1151" y="1330"/>
                    </a:moveTo>
                    <a:lnTo>
                      <a:pt x="1154" y="1330"/>
                    </a:lnTo>
                    <a:lnTo>
                      <a:pt x="1154" y="1333"/>
                    </a:lnTo>
                    <a:lnTo>
                      <a:pt x="1151" y="1333"/>
                    </a:lnTo>
                    <a:lnTo>
                      <a:pt x="1151" y="1330"/>
                    </a:lnTo>
                    <a:close/>
                    <a:moveTo>
                      <a:pt x="1205" y="1080"/>
                    </a:moveTo>
                    <a:lnTo>
                      <a:pt x="1207" y="1080"/>
                    </a:lnTo>
                    <a:lnTo>
                      <a:pt x="1207" y="1082"/>
                    </a:lnTo>
                    <a:lnTo>
                      <a:pt x="1205" y="1082"/>
                    </a:lnTo>
                    <a:lnTo>
                      <a:pt x="1205" y="1080"/>
                    </a:lnTo>
                    <a:close/>
                    <a:moveTo>
                      <a:pt x="1225" y="1580"/>
                    </a:moveTo>
                    <a:lnTo>
                      <a:pt x="1227" y="1580"/>
                    </a:lnTo>
                    <a:lnTo>
                      <a:pt x="1227" y="1583"/>
                    </a:lnTo>
                    <a:lnTo>
                      <a:pt x="1225" y="1583"/>
                    </a:lnTo>
                    <a:lnTo>
                      <a:pt x="1225" y="1580"/>
                    </a:lnTo>
                    <a:close/>
                    <a:moveTo>
                      <a:pt x="1195" y="1146"/>
                    </a:moveTo>
                    <a:lnTo>
                      <a:pt x="1195" y="1148"/>
                    </a:lnTo>
                    <a:lnTo>
                      <a:pt x="1193" y="1148"/>
                    </a:lnTo>
                    <a:lnTo>
                      <a:pt x="1191" y="1146"/>
                    </a:lnTo>
                    <a:lnTo>
                      <a:pt x="1193" y="1146"/>
                    </a:lnTo>
                    <a:lnTo>
                      <a:pt x="1195" y="1146"/>
                    </a:lnTo>
                    <a:close/>
                    <a:moveTo>
                      <a:pt x="1290" y="1616"/>
                    </a:moveTo>
                    <a:lnTo>
                      <a:pt x="1288" y="1618"/>
                    </a:lnTo>
                    <a:lnTo>
                      <a:pt x="1287" y="1616"/>
                    </a:lnTo>
                    <a:lnTo>
                      <a:pt x="1288" y="1616"/>
                    </a:lnTo>
                    <a:lnTo>
                      <a:pt x="1290" y="1616"/>
                    </a:lnTo>
                    <a:lnTo>
                      <a:pt x="1288" y="1616"/>
                    </a:lnTo>
                    <a:lnTo>
                      <a:pt x="1290" y="1616"/>
                    </a:lnTo>
                    <a:close/>
                    <a:moveTo>
                      <a:pt x="1171" y="1366"/>
                    </a:moveTo>
                    <a:lnTo>
                      <a:pt x="1174" y="1366"/>
                    </a:lnTo>
                    <a:lnTo>
                      <a:pt x="1174" y="1369"/>
                    </a:lnTo>
                    <a:lnTo>
                      <a:pt x="1171" y="1369"/>
                    </a:lnTo>
                    <a:lnTo>
                      <a:pt x="1171" y="1366"/>
                    </a:lnTo>
                    <a:close/>
                    <a:moveTo>
                      <a:pt x="1176" y="1447"/>
                    </a:moveTo>
                    <a:lnTo>
                      <a:pt x="1178" y="1447"/>
                    </a:lnTo>
                    <a:lnTo>
                      <a:pt x="1178" y="1451"/>
                    </a:lnTo>
                    <a:lnTo>
                      <a:pt x="1176" y="1451"/>
                    </a:lnTo>
                    <a:lnTo>
                      <a:pt x="1176" y="1447"/>
                    </a:lnTo>
                    <a:close/>
                    <a:moveTo>
                      <a:pt x="1198" y="1157"/>
                    </a:moveTo>
                    <a:lnTo>
                      <a:pt x="1200" y="1157"/>
                    </a:lnTo>
                    <a:lnTo>
                      <a:pt x="1200" y="1158"/>
                    </a:lnTo>
                    <a:lnTo>
                      <a:pt x="1198" y="1158"/>
                    </a:lnTo>
                    <a:lnTo>
                      <a:pt x="1198" y="1157"/>
                    </a:lnTo>
                    <a:close/>
                    <a:moveTo>
                      <a:pt x="1312" y="1633"/>
                    </a:moveTo>
                    <a:lnTo>
                      <a:pt x="1314" y="1633"/>
                    </a:lnTo>
                    <a:lnTo>
                      <a:pt x="1314" y="1635"/>
                    </a:lnTo>
                    <a:lnTo>
                      <a:pt x="1314" y="1633"/>
                    </a:lnTo>
                    <a:lnTo>
                      <a:pt x="1312" y="1633"/>
                    </a:lnTo>
                    <a:lnTo>
                      <a:pt x="1314" y="1635"/>
                    </a:lnTo>
                    <a:lnTo>
                      <a:pt x="1312" y="1635"/>
                    </a:lnTo>
                    <a:lnTo>
                      <a:pt x="1310" y="1635"/>
                    </a:lnTo>
                    <a:lnTo>
                      <a:pt x="1310" y="1633"/>
                    </a:lnTo>
                    <a:lnTo>
                      <a:pt x="1312" y="1633"/>
                    </a:lnTo>
                    <a:close/>
                    <a:moveTo>
                      <a:pt x="1186" y="1279"/>
                    </a:moveTo>
                    <a:lnTo>
                      <a:pt x="1185" y="1279"/>
                    </a:lnTo>
                    <a:lnTo>
                      <a:pt x="1185" y="1281"/>
                    </a:lnTo>
                    <a:lnTo>
                      <a:pt x="1183" y="1281"/>
                    </a:lnTo>
                    <a:lnTo>
                      <a:pt x="1183" y="1279"/>
                    </a:lnTo>
                    <a:lnTo>
                      <a:pt x="1185" y="1279"/>
                    </a:lnTo>
                    <a:lnTo>
                      <a:pt x="1183" y="1279"/>
                    </a:lnTo>
                    <a:lnTo>
                      <a:pt x="1185" y="1279"/>
                    </a:lnTo>
                    <a:lnTo>
                      <a:pt x="1186" y="1277"/>
                    </a:lnTo>
                    <a:lnTo>
                      <a:pt x="1188" y="1277"/>
                    </a:lnTo>
                    <a:lnTo>
                      <a:pt x="1186" y="1279"/>
                    </a:lnTo>
                    <a:close/>
                    <a:moveTo>
                      <a:pt x="1156" y="1185"/>
                    </a:moveTo>
                    <a:lnTo>
                      <a:pt x="1157" y="1185"/>
                    </a:lnTo>
                    <a:lnTo>
                      <a:pt x="1157" y="1189"/>
                    </a:lnTo>
                    <a:lnTo>
                      <a:pt x="1156" y="1189"/>
                    </a:lnTo>
                    <a:lnTo>
                      <a:pt x="1156" y="1185"/>
                    </a:lnTo>
                    <a:close/>
                    <a:moveTo>
                      <a:pt x="1183" y="1476"/>
                    </a:moveTo>
                    <a:lnTo>
                      <a:pt x="1186" y="1476"/>
                    </a:lnTo>
                    <a:lnTo>
                      <a:pt x="1186" y="1478"/>
                    </a:lnTo>
                    <a:lnTo>
                      <a:pt x="1183" y="1478"/>
                    </a:lnTo>
                    <a:lnTo>
                      <a:pt x="1183" y="1476"/>
                    </a:lnTo>
                    <a:close/>
                    <a:moveTo>
                      <a:pt x="1217" y="1500"/>
                    </a:moveTo>
                    <a:lnTo>
                      <a:pt x="1219" y="1500"/>
                    </a:lnTo>
                    <a:lnTo>
                      <a:pt x="1219" y="1504"/>
                    </a:lnTo>
                    <a:lnTo>
                      <a:pt x="1217" y="1504"/>
                    </a:lnTo>
                    <a:lnTo>
                      <a:pt x="1217" y="1500"/>
                    </a:lnTo>
                    <a:close/>
                    <a:moveTo>
                      <a:pt x="1213" y="1556"/>
                    </a:moveTo>
                    <a:lnTo>
                      <a:pt x="1215" y="1556"/>
                    </a:lnTo>
                    <a:lnTo>
                      <a:pt x="1215" y="1558"/>
                    </a:lnTo>
                    <a:lnTo>
                      <a:pt x="1213" y="1558"/>
                    </a:lnTo>
                    <a:lnTo>
                      <a:pt x="1213" y="1556"/>
                    </a:lnTo>
                    <a:close/>
                    <a:moveTo>
                      <a:pt x="1315" y="1633"/>
                    </a:moveTo>
                    <a:lnTo>
                      <a:pt x="1319" y="1633"/>
                    </a:lnTo>
                    <a:lnTo>
                      <a:pt x="1319" y="1636"/>
                    </a:lnTo>
                    <a:lnTo>
                      <a:pt x="1315" y="1636"/>
                    </a:lnTo>
                    <a:lnTo>
                      <a:pt x="1315" y="1633"/>
                    </a:lnTo>
                    <a:close/>
                    <a:moveTo>
                      <a:pt x="1229" y="1585"/>
                    </a:moveTo>
                    <a:lnTo>
                      <a:pt x="1232" y="1585"/>
                    </a:lnTo>
                    <a:lnTo>
                      <a:pt x="1232" y="1587"/>
                    </a:lnTo>
                    <a:lnTo>
                      <a:pt x="1229" y="1587"/>
                    </a:lnTo>
                    <a:lnTo>
                      <a:pt x="1229" y="1585"/>
                    </a:lnTo>
                    <a:close/>
                    <a:moveTo>
                      <a:pt x="1378" y="1662"/>
                    </a:moveTo>
                    <a:lnTo>
                      <a:pt x="1382" y="1662"/>
                    </a:lnTo>
                    <a:lnTo>
                      <a:pt x="1382" y="1667"/>
                    </a:lnTo>
                    <a:lnTo>
                      <a:pt x="1378" y="1667"/>
                    </a:lnTo>
                    <a:lnTo>
                      <a:pt x="1378" y="1662"/>
                    </a:lnTo>
                    <a:close/>
                    <a:moveTo>
                      <a:pt x="1227" y="992"/>
                    </a:moveTo>
                    <a:lnTo>
                      <a:pt x="1230" y="992"/>
                    </a:lnTo>
                    <a:lnTo>
                      <a:pt x="1230" y="995"/>
                    </a:lnTo>
                    <a:lnTo>
                      <a:pt x="1227" y="995"/>
                    </a:lnTo>
                    <a:lnTo>
                      <a:pt x="1227" y="992"/>
                    </a:lnTo>
                    <a:close/>
                    <a:moveTo>
                      <a:pt x="1166" y="1432"/>
                    </a:moveTo>
                    <a:lnTo>
                      <a:pt x="1168" y="1432"/>
                    </a:lnTo>
                    <a:lnTo>
                      <a:pt x="1168" y="1435"/>
                    </a:lnTo>
                    <a:lnTo>
                      <a:pt x="1166" y="1435"/>
                    </a:lnTo>
                    <a:lnTo>
                      <a:pt x="1166" y="1432"/>
                    </a:lnTo>
                    <a:close/>
                    <a:moveTo>
                      <a:pt x="1241" y="1587"/>
                    </a:moveTo>
                    <a:lnTo>
                      <a:pt x="1242" y="1587"/>
                    </a:lnTo>
                    <a:lnTo>
                      <a:pt x="1242" y="1590"/>
                    </a:lnTo>
                    <a:lnTo>
                      <a:pt x="1241" y="1590"/>
                    </a:lnTo>
                    <a:lnTo>
                      <a:pt x="1241" y="1587"/>
                    </a:lnTo>
                    <a:close/>
                    <a:moveTo>
                      <a:pt x="1179" y="1136"/>
                    </a:moveTo>
                    <a:lnTo>
                      <a:pt x="1181" y="1136"/>
                    </a:lnTo>
                    <a:lnTo>
                      <a:pt x="1181" y="1140"/>
                    </a:lnTo>
                    <a:lnTo>
                      <a:pt x="1179" y="1140"/>
                    </a:lnTo>
                    <a:lnTo>
                      <a:pt x="1179" y="1136"/>
                    </a:lnTo>
                    <a:close/>
                    <a:moveTo>
                      <a:pt x="1220" y="978"/>
                    </a:moveTo>
                    <a:lnTo>
                      <a:pt x="1222" y="978"/>
                    </a:lnTo>
                    <a:lnTo>
                      <a:pt x="1222" y="980"/>
                    </a:lnTo>
                    <a:lnTo>
                      <a:pt x="1220" y="980"/>
                    </a:lnTo>
                    <a:lnTo>
                      <a:pt x="1220" y="978"/>
                    </a:lnTo>
                    <a:close/>
                    <a:moveTo>
                      <a:pt x="1215" y="1505"/>
                    </a:moveTo>
                    <a:lnTo>
                      <a:pt x="1217" y="1505"/>
                    </a:lnTo>
                    <a:lnTo>
                      <a:pt x="1215" y="1507"/>
                    </a:lnTo>
                    <a:lnTo>
                      <a:pt x="1215" y="1505"/>
                    </a:lnTo>
                    <a:lnTo>
                      <a:pt x="1215" y="1507"/>
                    </a:lnTo>
                    <a:lnTo>
                      <a:pt x="1213" y="1505"/>
                    </a:lnTo>
                    <a:lnTo>
                      <a:pt x="1212" y="1505"/>
                    </a:lnTo>
                    <a:lnTo>
                      <a:pt x="1213" y="1505"/>
                    </a:lnTo>
                    <a:lnTo>
                      <a:pt x="1215" y="1505"/>
                    </a:lnTo>
                    <a:lnTo>
                      <a:pt x="1215" y="1507"/>
                    </a:lnTo>
                    <a:lnTo>
                      <a:pt x="1215" y="1505"/>
                    </a:lnTo>
                    <a:close/>
                    <a:moveTo>
                      <a:pt x="1389" y="1633"/>
                    </a:moveTo>
                    <a:lnTo>
                      <a:pt x="1392" y="1633"/>
                    </a:lnTo>
                    <a:lnTo>
                      <a:pt x="1392" y="1635"/>
                    </a:lnTo>
                    <a:lnTo>
                      <a:pt x="1389" y="1635"/>
                    </a:lnTo>
                    <a:lnTo>
                      <a:pt x="1389" y="1633"/>
                    </a:lnTo>
                    <a:close/>
                    <a:moveTo>
                      <a:pt x="1275" y="1597"/>
                    </a:moveTo>
                    <a:lnTo>
                      <a:pt x="1276" y="1597"/>
                    </a:lnTo>
                    <a:lnTo>
                      <a:pt x="1276" y="1600"/>
                    </a:lnTo>
                    <a:lnTo>
                      <a:pt x="1275" y="1600"/>
                    </a:lnTo>
                    <a:lnTo>
                      <a:pt x="1275" y="1597"/>
                    </a:lnTo>
                    <a:close/>
                    <a:moveTo>
                      <a:pt x="1399" y="1645"/>
                    </a:moveTo>
                    <a:lnTo>
                      <a:pt x="1402" y="1645"/>
                    </a:lnTo>
                    <a:lnTo>
                      <a:pt x="1402" y="1648"/>
                    </a:lnTo>
                    <a:lnTo>
                      <a:pt x="1399" y="1648"/>
                    </a:lnTo>
                    <a:lnTo>
                      <a:pt x="1399" y="1645"/>
                    </a:lnTo>
                    <a:close/>
                    <a:moveTo>
                      <a:pt x="1178" y="1138"/>
                    </a:moveTo>
                    <a:lnTo>
                      <a:pt x="1179" y="1138"/>
                    </a:lnTo>
                    <a:lnTo>
                      <a:pt x="1179" y="1141"/>
                    </a:lnTo>
                    <a:lnTo>
                      <a:pt x="1178" y="1141"/>
                    </a:lnTo>
                    <a:lnTo>
                      <a:pt x="1178" y="1138"/>
                    </a:lnTo>
                    <a:close/>
                    <a:moveTo>
                      <a:pt x="1229" y="944"/>
                    </a:moveTo>
                    <a:lnTo>
                      <a:pt x="1232" y="944"/>
                    </a:lnTo>
                    <a:lnTo>
                      <a:pt x="1232" y="946"/>
                    </a:lnTo>
                    <a:lnTo>
                      <a:pt x="1229" y="946"/>
                    </a:lnTo>
                    <a:lnTo>
                      <a:pt x="1229" y="944"/>
                    </a:lnTo>
                    <a:close/>
                    <a:moveTo>
                      <a:pt x="1183" y="1427"/>
                    </a:moveTo>
                    <a:lnTo>
                      <a:pt x="1186" y="1427"/>
                    </a:lnTo>
                    <a:lnTo>
                      <a:pt x="1186" y="1429"/>
                    </a:lnTo>
                    <a:lnTo>
                      <a:pt x="1183" y="1429"/>
                    </a:lnTo>
                    <a:lnTo>
                      <a:pt x="1183" y="1427"/>
                    </a:lnTo>
                    <a:close/>
                    <a:moveTo>
                      <a:pt x="1196" y="1150"/>
                    </a:moveTo>
                    <a:lnTo>
                      <a:pt x="1198" y="1150"/>
                    </a:lnTo>
                    <a:lnTo>
                      <a:pt x="1198" y="1153"/>
                    </a:lnTo>
                    <a:lnTo>
                      <a:pt x="1196" y="1153"/>
                    </a:lnTo>
                    <a:lnTo>
                      <a:pt x="1196" y="1150"/>
                    </a:lnTo>
                    <a:close/>
                    <a:moveTo>
                      <a:pt x="1169" y="1417"/>
                    </a:moveTo>
                    <a:lnTo>
                      <a:pt x="1171" y="1417"/>
                    </a:lnTo>
                    <a:lnTo>
                      <a:pt x="1171" y="1418"/>
                    </a:lnTo>
                    <a:lnTo>
                      <a:pt x="1169" y="1418"/>
                    </a:lnTo>
                    <a:lnTo>
                      <a:pt x="1169" y="1417"/>
                    </a:lnTo>
                    <a:close/>
                    <a:moveTo>
                      <a:pt x="1188" y="1066"/>
                    </a:moveTo>
                    <a:lnTo>
                      <a:pt x="1188" y="1068"/>
                    </a:lnTo>
                    <a:lnTo>
                      <a:pt x="1190" y="1068"/>
                    </a:lnTo>
                    <a:lnTo>
                      <a:pt x="1188" y="1068"/>
                    </a:lnTo>
                    <a:lnTo>
                      <a:pt x="1186" y="1066"/>
                    </a:lnTo>
                    <a:lnTo>
                      <a:pt x="1188" y="1066"/>
                    </a:lnTo>
                    <a:close/>
                    <a:moveTo>
                      <a:pt x="1171" y="1475"/>
                    </a:moveTo>
                    <a:lnTo>
                      <a:pt x="1173" y="1475"/>
                    </a:lnTo>
                    <a:lnTo>
                      <a:pt x="1173" y="1476"/>
                    </a:lnTo>
                    <a:lnTo>
                      <a:pt x="1171" y="1476"/>
                    </a:lnTo>
                    <a:lnTo>
                      <a:pt x="1171" y="1475"/>
                    </a:lnTo>
                    <a:close/>
                    <a:moveTo>
                      <a:pt x="1224" y="1071"/>
                    </a:moveTo>
                    <a:lnTo>
                      <a:pt x="1227" y="1071"/>
                    </a:lnTo>
                    <a:lnTo>
                      <a:pt x="1227" y="1073"/>
                    </a:lnTo>
                    <a:lnTo>
                      <a:pt x="1224" y="1073"/>
                    </a:lnTo>
                    <a:lnTo>
                      <a:pt x="1224" y="1071"/>
                    </a:lnTo>
                    <a:close/>
                    <a:moveTo>
                      <a:pt x="1185" y="1262"/>
                    </a:moveTo>
                    <a:lnTo>
                      <a:pt x="1188" y="1262"/>
                    </a:lnTo>
                    <a:lnTo>
                      <a:pt x="1188" y="1265"/>
                    </a:lnTo>
                    <a:lnTo>
                      <a:pt x="1185" y="1265"/>
                    </a:lnTo>
                    <a:lnTo>
                      <a:pt x="1185" y="1262"/>
                    </a:lnTo>
                    <a:close/>
                    <a:moveTo>
                      <a:pt x="1188" y="1128"/>
                    </a:moveTo>
                    <a:lnTo>
                      <a:pt x="1191" y="1128"/>
                    </a:lnTo>
                    <a:lnTo>
                      <a:pt x="1191" y="1131"/>
                    </a:lnTo>
                    <a:lnTo>
                      <a:pt x="1188" y="1131"/>
                    </a:lnTo>
                    <a:lnTo>
                      <a:pt x="1188" y="1128"/>
                    </a:lnTo>
                    <a:close/>
                    <a:moveTo>
                      <a:pt x="1202" y="1080"/>
                    </a:moveTo>
                    <a:lnTo>
                      <a:pt x="1205" y="1080"/>
                    </a:lnTo>
                    <a:lnTo>
                      <a:pt x="1205" y="1082"/>
                    </a:lnTo>
                    <a:lnTo>
                      <a:pt x="1202" y="1082"/>
                    </a:lnTo>
                    <a:lnTo>
                      <a:pt x="1202" y="1080"/>
                    </a:lnTo>
                    <a:close/>
                    <a:moveTo>
                      <a:pt x="1185" y="1141"/>
                    </a:moveTo>
                    <a:lnTo>
                      <a:pt x="1185" y="1143"/>
                    </a:lnTo>
                    <a:lnTo>
                      <a:pt x="1183" y="1143"/>
                    </a:lnTo>
                    <a:lnTo>
                      <a:pt x="1181" y="1143"/>
                    </a:lnTo>
                    <a:lnTo>
                      <a:pt x="1183" y="1143"/>
                    </a:lnTo>
                    <a:lnTo>
                      <a:pt x="1185" y="1141"/>
                    </a:lnTo>
                    <a:close/>
                    <a:moveTo>
                      <a:pt x="1276" y="1612"/>
                    </a:moveTo>
                    <a:lnTo>
                      <a:pt x="1280" y="1612"/>
                    </a:lnTo>
                    <a:lnTo>
                      <a:pt x="1280" y="1614"/>
                    </a:lnTo>
                    <a:lnTo>
                      <a:pt x="1276" y="1614"/>
                    </a:lnTo>
                    <a:lnTo>
                      <a:pt x="1276" y="1612"/>
                    </a:lnTo>
                    <a:close/>
                    <a:moveTo>
                      <a:pt x="1208" y="1502"/>
                    </a:moveTo>
                    <a:lnTo>
                      <a:pt x="1210" y="1502"/>
                    </a:lnTo>
                    <a:lnTo>
                      <a:pt x="1210" y="1505"/>
                    </a:lnTo>
                    <a:lnTo>
                      <a:pt x="1208" y="1505"/>
                    </a:lnTo>
                    <a:lnTo>
                      <a:pt x="1208" y="1502"/>
                    </a:lnTo>
                    <a:close/>
                    <a:moveTo>
                      <a:pt x="1219" y="1538"/>
                    </a:moveTo>
                    <a:lnTo>
                      <a:pt x="1222" y="1538"/>
                    </a:lnTo>
                    <a:lnTo>
                      <a:pt x="1222" y="1541"/>
                    </a:lnTo>
                    <a:lnTo>
                      <a:pt x="1219" y="1541"/>
                    </a:lnTo>
                    <a:lnTo>
                      <a:pt x="1219" y="1538"/>
                    </a:lnTo>
                    <a:close/>
                    <a:moveTo>
                      <a:pt x="1373" y="1641"/>
                    </a:moveTo>
                    <a:lnTo>
                      <a:pt x="1375" y="1641"/>
                    </a:lnTo>
                    <a:lnTo>
                      <a:pt x="1375" y="1643"/>
                    </a:lnTo>
                    <a:lnTo>
                      <a:pt x="1373" y="1643"/>
                    </a:lnTo>
                    <a:lnTo>
                      <a:pt x="1373" y="1641"/>
                    </a:lnTo>
                    <a:lnTo>
                      <a:pt x="1372" y="1641"/>
                    </a:lnTo>
                    <a:lnTo>
                      <a:pt x="1373" y="1641"/>
                    </a:lnTo>
                    <a:close/>
                    <a:moveTo>
                      <a:pt x="1198" y="1485"/>
                    </a:moveTo>
                    <a:lnTo>
                      <a:pt x="1196" y="1485"/>
                    </a:lnTo>
                    <a:lnTo>
                      <a:pt x="1195" y="1487"/>
                    </a:lnTo>
                    <a:lnTo>
                      <a:pt x="1193" y="1487"/>
                    </a:lnTo>
                    <a:lnTo>
                      <a:pt x="1195" y="1485"/>
                    </a:lnTo>
                    <a:lnTo>
                      <a:pt x="1196" y="1485"/>
                    </a:lnTo>
                    <a:lnTo>
                      <a:pt x="1198" y="1485"/>
                    </a:lnTo>
                    <a:close/>
                    <a:moveTo>
                      <a:pt x="1161" y="1243"/>
                    </a:moveTo>
                    <a:lnTo>
                      <a:pt x="1162" y="1243"/>
                    </a:lnTo>
                    <a:lnTo>
                      <a:pt x="1162" y="1247"/>
                    </a:lnTo>
                    <a:lnTo>
                      <a:pt x="1161" y="1247"/>
                    </a:lnTo>
                    <a:lnTo>
                      <a:pt x="1161" y="1243"/>
                    </a:lnTo>
                    <a:close/>
                    <a:moveTo>
                      <a:pt x="1178" y="1478"/>
                    </a:moveTo>
                    <a:lnTo>
                      <a:pt x="1179" y="1478"/>
                    </a:lnTo>
                    <a:lnTo>
                      <a:pt x="1179" y="1481"/>
                    </a:lnTo>
                    <a:lnTo>
                      <a:pt x="1178" y="1481"/>
                    </a:lnTo>
                    <a:lnTo>
                      <a:pt x="1178" y="1478"/>
                    </a:lnTo>
                    <a:close/>
                    <a:moveTo>
                      <a:pt x="1181" y="1437"/>
                    </a:moveTo>
                    <a:lnTo>
                      <a:pt x="1185" y="1437"/>
                    </a:lnTo>
                    <a:lnTo>
                      <a:pt x="1185" y="1439"/>
                    </a:lnTo>
                    <a:lnTo>
                      <a:pt x="1181" y="1439"/>
                    </a:lnTo>
                    <a:lnTo>
                      <a:pt x="1181" y="1437"/>
                    </a:lnTo>
                    <a:close/>
                    <a:moveTo>
                      <a:pt x="1168" y="1432"/>
                    </a:moveTo>
                    <a:lnTo>
                      <a:pt x="1171" y="1432"/>
                    </a:lnTo>
                    <a:lnTo>
                      <a:pt x="1171" y="1434"/>
                    </a:lnTo>
                    <a:lnTo>
                      <a:pt x="1168" y="1434"/>
                    </a:lnTo>
                    <a:lnTo>
                      <a:pt x="1168" y="1432"/>
                    </a:lnTo>
                    <a:close/>
                    <a:moveTo>
                      <a:pt x="1219" y="983"/>
                    </a:moveTo>
                    <a:lnTo>
                      <a:pt x="1220" y="983"/>
                    </a:lnTo>
                    <a:lnTo>
                      <a:pt x="1220" y="985"/>
                    </a:lnTo>
                    <a:lnTo>
                      <a:pt x="1219" y="985"/>
                    </a:lnTo>
                    <a:lnTo>
                      <a:pt x="1219" y="983"/>
                    </a:lnTo>
                    <a:close/>
                    <a:moveTo>
                      <a:pt x="1249" y="1599"/>
                    </a:moveTo>
                    <a:lnTo>
                      <a:pt x="1251" y="1599"/>
                    </a:lnTo>
                    <a:lnTo>
                      <a:pt x="1251" y="1600"/>
                    </a:lnTo>
                    <a:lnTo>
                      <a:pt x="1249" y="1600"/>
                    </a:lnTo>
                    <a:lnTo>
                      <a:pt x="1249" y="1599"/>
                    </a:lnTo>
                    <a:close/>
                    <a:moveTo>
                      <a:pt x="1179" y="1134"/>
                    </a:moveTo>
                    <a:lnTo>
                      <a:pt x="1179" y="1138"/>
                    </a:lnTo>
                    <a:lnTo>
                      <a:pt x="1179" y="1134"/>
                    </a:lnTo>
                    <a:close/>
                    <a:moveTo>
                      <a:pt x="1174" y="1367"/>
                    </a:moveTo>
                    <a:lnTo>
                      <a:pt x="1178" y="1367"/>
                    </a:lnTo>
                    <a:lnTo>
                      <a:pt x="1178" y="1369"/>
                    </a:lnTo>
                    <a:lnTo>
                      <a:pt x="1174" y="1369"/>
                    </a:lnTo>
                    <a:lnTo>
                      <a:pt x="1174" y="1367"/>
                    </a:lnTo>
                    <a:close/>
                    <a:moveTo>
                      <a:pt x="1188" y="1056"/>
                    </a:moveTo>
                    <a:lnTo>
                      <a:pt x="1191" y="1056"/>
                    </a:lnTo>
                    <a:lnTo>
                      <a:pt x="1191" y="1058"/>
                    </a:lnTo>
                    <a:lnTo>
                      <a:pt x="1188" y="1058"/>
                    </a:lnTo>
                    <a:lnTo>
                      <a:pt x="1188" y="1056"/>
                    </a:lnTo>
                    <a:close/>
                    <a:moveTo>
                      <a:pt x="1241" y="1495"/>
                    </a:moveTo>
                    <a:lnTo>
                      <a:pt x="1244" y="1495"/>
                    </a:lnTo>
                    <a:lnTo>
                      <a:pt x="1244" y="1497"/>
                    </a:lnTo>
                    <a:lnTo>
                      <a:pt x="1241" y="1497"/>
                    </a:lnTo>
                    <a:lnTo>
                      <a:pt x="1241" y="1495"/>
                    </a:lnTo>
                    <a:close/>
                    <a:moveTo>
                      <a:pt x="1208" y="1539"/>
                    </a:moveTo>
                    <a:lnTo>
                      <a:pt x="1208" y="1538"/>
                    </a:lnTo>
                    <a:lnTo>
                      <a:pt x="1210" y="1539"/>
                    </a:lnTo>
                    <a:lnTo>
                      <a:pt x="1208" y="1539"/>
                    </a:lnTo>
                    <a:lnTo>
                      <a:pt x="1207" y="1539"/>
                    </a:lnTo>
                    <a:lnTo>
                      <a:pt x="1207" y="1538"/>
                    </a:lnTo>
                    <a:lnTo>
                      <a:pt x="1208" y="1539"/>
                    </a:lnTo>
                    <a:close/>
                    <a:moveTo>
                      <a:pt x="1222" y="1556"/>
                    </a:moveTo>
                    <a:lnTo>
                      <a:pt x="1225" y="1556"/>
                    </a:lnTo>
                    <a:lnTo>
                      <a:pt x="1225" y="1560"/>
                    </a:lnTo>
                    <a:lnTo>
                      <a:pt x="1222" y="1560"/>
                    </a:lnTo>
                    <a:lnTo>
                      <a:pt x="1222" y="1556"/>
                    </a:lnTo>
                    <a:close/>
                    <a:moveTo>
                      <a:pt x="1186" y="1526"/>
                    </a:moveTo>
                    <a:lnTo>
                      <a:pt x="1188" y="1526"/>
                    </a:lnTo>
                    <a:lnTo>
                      <a:pt x="1188" y="1529"/>
                    </a:lnTo>
                    <a:lnTo>
                      <a:pt x="1186" y="1529"/>
                    </a:lnTo>
                    <a:lnTo>
                      <a:pt x="1186" y="1526"/>
                    </a:lnTo>
                    <a:close/>
                    <a:moveTo>
                      <a:pt x="1259" y="1597"/>
                    </a:moveTo>
                    <a:lnTo>
                      <a:pt x="1261" y="1597"/>
                    </a:lnTo>
                    <a:lnTo>
                      <a:pt x="1261" y="1600"/>
                    </a:lnTo>
                    <a:lnTo>
                      <a:pt x="1259" y="1600"/>
                    </a:lnTo>
                    <a:lnTo>
                      <a:pt x="1259" y="1597"/>
                    </a:lnTo>
                    <a:close/>
                    <a:moveTo>
                      <a:pt x="1321" y="1631"/>
                    </a:moveTo>
                    <a:lnTo>
                      <a:pt x="1322" y="1631"/>
                    </a:lnTo>
                    <a:lnTo>
                      <a:pt x="1322" y="1633"/>
                    </a:lnTo>
                    <a:lnTo>
                      <a:pt x="1321" y="1633"/>
                    </a:lnTo>
                    <a:lnTo>
                      <a:pt x="1321" y="1631"/>
                    </a:lnTo>
                    <a:close/>
                    <a:moveTo>
                      <a:pt x="1207" y="1539"/>
                    </a:moveTo>
                    <a:lnTo>
                      <a:pt x="1208" y="1539"/>
                    </a:lnTo>
                    <a:lnTo>
                      <a:pt x="1208" y="1541"/>
                    </a:lnTo>
                    <a:lnTo>
                      <a:pt x="1207" y="1541"/>
                    </a:lnTo>
                    <a:lnTo>
                      <a:pt x="1207" y="1539"/>
                    </a:lnTo>
                    <a:close/>
                    <a:moveTo>
                      <a:pt x="1188" y="1208"/>
                    </a:moveTo>
                    <a:lnTo>
                      <a:pt x="1191" y="1208"/>
                    </a:lnTo>
                    <a:lnTo>
                      <a:pt x="1191" y="1211"/>
                    </a:lnTo>
                    <a:lnTo>
                      <a:pt x="1188" y="1211"/>
                    </a:lnTo>
                    <a:lnTo>
                      <a:pt x="1188" y="1208"/>
                    </a:lnTo>
                    <a:close/>
                    <a:moveTo>
                      <a:pt x="1151" y="1327"/>
                    </a:moveTo>
                    <a:lnTo>
                      <a:pt x="1152" y="1327"/>
                    </a:lnTo>
                    <a:lnTo>
                      <a:pt x="1152" y="1330"/>
                    </a:lnTo>
                    <a:lnTo>
                      <a:pt x="1151" y="1330"/>
                    </a:lnTo>
                    <a:lnTo>
                      <a:pt x="1151" y="1327"/>
                    </a:lnTo>
                    <a:close/>
                    <a:moveTo>
                      <a:pt x="1179" y="1444"/>
                    </a:moveTo>
                    <a:lnTo>
                      <a:pt x="1181" y="1444"/>
                    </a:lnTo>
                    <a:lnTo>
                      <a:pt x="1181" y="1446"/>
                    </a:lnTo>
                    <a:lnTo>
                      <a:pt x="1179" y="1446"/>
                    </a:lnTo>
                    <a:lnTo>
                      <a:pt x="1178" y="1444"/>
                    </a:lnTo>
                    <a:lnTo>
                      <a:pt x="1179" y="1444"/>
                    </a:lnTo>
                    <a:close/>
                    <a:moveTo>
                      <a:pt x="1178" y="1480"/>
                    </a:moveTo>
                    <a:lnTo>
                      <a:pt x="1181" y="1480"/>
                    </a:lnTo>
                    <a:lnTo>
                      <a:pt x="1181" y="1483"/>
                    </a:lnTo>
                    <a:lnTo>
                      <a:pt x="1178" y="1483"/>
                    </a:lnTo>
                    <a:lnTo>
                      <a:pt x="1178" y="1480"/>
                    </a:lnTo>
                    <a:close/>
                    <a:moveTo>
                      <a:pt x="1213" y="1104"/>
                    </a:moveTo>
                    <a:lnTo>
                      <a:pt x="1215" y="1104"/>
                    </a:lnTo>
                    <a:lnTo>
                      <a:pt x="1215" y="1107"/>
                    </a:lnTo>
                    <a:lnTo>
                      <a:pt x="1213" y="1107"/>
                    </a:lnTo>
                    <a:lnTo>
                      <a:pt x="1213" y="1104"/>
                    </a:lnTo>
                    <a:close/>
                    <a:moveTo>
                      <a:pt x="1202" y="1510"/>
                    </a:moveTo>
                    <a:lnTo>
                      <a:pt x="1203" y="1510"/>
                    </a:lnTo>
                    <a:lnTo>
                      <a:pt x="1203" y="1512"/>
                    </a:lnTo>
                    <a:lnTo>
                      <a:pt x="1202" y="1512"/>
                    </a:lnTo>
                    <a:lnTo>
                      <a:pt x="1202" y="1510"/>
                    </a:lnTo>
                    <a:close/>
                    <a:moveTo>
                      <a:pt x="1212" y="990"/>
                    </a:moveTo>
                    <a:lnTo>
                      <a:pt x="1213" y="990"/>
                    </a:lnTo>
                    <a:lnTo>
                      <a:pt x="1213" y="992"/>
                    </a:lnTo>
                    <a:lnTo>
                      <a:pt x="1212" y="992"/>
                    </a:lnTo>
                    <a:lnTo>
                      <a:pt x="1212" y="990"/>
                    </a:lnTo>
                    <a:close/>
                    <a:moveTo>
                      <a:pt x="1254" y="1493"/>
                    </a:moveTo>
                    <a:lnTo>
                      <a:pt x="1256" y="1493"/>
                    </a:lnTo>
                    <a:lnTo>
                      <a:pt x="1256" y="1497"/>
                    </a:lnTo>
                    <a:lnTo>
                      <a:pt x="1254" y="1497"/>
                    </a:lnTo>
                    <a:lnTo>
                      <a:pt x="1254" y="1493"/>
                    </a:lnTo>
                    <a:close/>
                    <a:moveTo>
                      <a:pt x="1222" y="990"/>
                    </a:moveTo>
                    <a:lnTo>
                      <a:pt x="1224" y="990"/>
                    </a:lnTo>
                    <a:lnTo>
                      <a:pt x="1224" y="993"/>
                    </a:lnTo>
                    <a:lnTo>
                      <a:pt x="1222" y="993"/>
                    </a:lnTo>
                    <a:lnTo>
                      <a:pt x="1222" y="990"/>
                    </a:lnTo>
                    <a:close/>
                    <a:moveTo>
                      <a:pt x="1382" y="1640"/>
                    </a:moveTo>
                    <a:lnTo>
                      <a:pt x="1385" y="1640"/>
                    </a:lnTo>
                    <a:lnTo>
                      <a:pt x="1385" y="1641"/>
                    </a:lnTo>
                    <a:lnTo>
                      <a:pt x="1382" y="1641"/>
                    </a:lnTo>
                    <a:lnTo>
                      <a:pt x="1382" y="1640"/>
                    </a:lnTo>
                    <a:close/>
                    <a:moveTo>
                      <a:pt x="1181" y="1492"/>
                    </a:moveTo>
                    <a:lnTo>
                      <a:pt x="1185" y="1492"/>
                    </a:lnTo>
                    <a:lnTo>
                      <a:pt x="1185" y="1493"/>
                    </a:lnTo>
                    <a:lnTo>
                      <a:pt x="1181" y="1493"/>
                    </a:lnTo>
                    <a:lnTo>
                      <a:pt x="1181" y="1492"/>
                    </a:lnTo>
                    <a:close/>
                    <a:moveTo>
                      <a:pt x="1217" y="1538"/>
                    </a:moveTo>
                    <a:lnTo>
                      <a:pt x="1220" y="1538"/>
                    </a:lnTo>
                    <a:lnTo>
                      <a:pt x="1220" y="1539"/>
                    </a:lnTo>
                    <a:lnTo>
                      <a:pt x="1217" y="1539"/>
                    </a:lnTo>
                    <a:lnTo>
                      <a:pt x="1217" y="1538"/>
                    </a:lnTo>
                    <a:close/>
                    <a:moveTo>
                      <a:pt x="1219" y="1566"/>
                    </a:moveTo>
                    <a:lnTo>
                      <a:pt x="1220" y="1566"/>
                    </a:lnTo>
                    <a:lnTo>
                      <a:pt x="1220" y="1568"/>
                    </a:lnTo>
                    <a:lnTo>
                      <a:pt x="1219" y="1568"/>
                    </a:lnTo>
                    <a:lnTo>
                      <a:pt x="1219" y="1566"/>
                    </a:lnTo>
                    <a:close/>
                    <a:moveTo>
                      <a:pt x="1200" y="1073"/>
                    </a:moveTo>
                    <a:lnTo>
                      <a:pt x="1202" y="1073"/>
                    </a:lnTo>
                    <a:lnTo>
                      <a:pt x="1202" y="1077"/>
                    </a:lnTo>
                    <a:lnTo>
                      <a:pt x="1200" y="1077"/>
                    </a:lnTo>
                    <a:lnTo>
                      <a:pt x="1200" y="1073"/>
                    </a:lnTo>
                    <a:close/>
                    <a:moveTo>
                      <a:pt x="1176" y="1439"/>
                    </a:moveTo>
                    <a:lnTo>
                      <a:pt x="1178" y="1439"/>
                    </a:lnTo>
                    <a:lnTo>
                      <a:pt x="1178" y="1441"/>
                    </a:lnTo>
                    <a:lnTo>
                      <a:pt x="1176" y="1441"/>
                    </a:lnTo>
                    <a:lnTo>
                      <a:pt x="1176" y="1439"/>
                    </a:lnTo>
                    <a:close/>
                    <a:moveTo>
                      <a:pt x="1336" y="1653"/>
                    </a:moveTo>
                    <a:lnTo>
                      <a:pt x="1339" y="1653"/>
                    </a:lnTo>
                    <a:lnTo>
                      <a:pt x="1339" y="1655"/>
                    </a:lnTo>
                    <a:lnTo>
                      <a:pt x="1336" y="1655"/>
                    </a:lnTo>
                    <a:lnTo>
                      <a:pt x="1336" y="1653"/>
                    </a:lnTo>
                    <a:close/>
                    <a:moveTo>
                      <a:pt x="1147" y="1330"/>
                    </a:moveTo>
                    <a:lnTo>
                      <a:pt x="1149" y="1330"/>
                    </a:lnTo>
                    <a:lnTo>
                      <a:pt x="1149" y="1332"/>
                    </a:lnTo>
                    <a:lnTo>
                      <a:pt x="1147" y="1332"/>
                    </a:lnTo>
                    <a:lnTo>
                      <a:pt x="1147" y="1330"/>
                    </a:lnTo>
                    <a:close/>
                    <a:moveTo>
                      <a:pt x="1205" y="1551"/>
                    </a:moveTo>
                    <a:lnTo>
                      <a:pt x="1207" y="1551"/>
                    </a:lnTo>
                    <a:lnTo>
                      <a:pt x="1207" y="1553"/>
                    </a:lnTo>
                    <a:lnTo>
                      <a:pt x="1205" y="1553"/>
                    </a:lnTo>
                    <a:lnTo>
                      <a:pt x="1205" y="1551"/>
                    </a:lnTo>
                    <a:close/>
                    <a:moveTo>
                      <a:pt x="1186" y="1534"/>
                    </a:moveTo>
                    <a:lnTo>
                      <a:pt x="1188" y="1534"/>
                    </a:lnTo>
                    <a:lnTo>
                      <a:pt x="1188" y="1536"/>
                    </a:lnTo>
                    <a:lnTo>
                      <a:pt x="1186" y="1536"/>
                    </a:lnTo>
                    <a:lnTo>
                      <a:pt x="1186" y="1534"/>
                    </a:lnTo>
                    <a:close/>
                    <a:moveTo>
                      <a:pt x="1169" y="1437"/>
                    </a:moveTo>
                    <a:lnTo>
                      <a:pt x="1173" y="1437"/>
                    </a:lnTo>
                    <a:lnTo>
                      <a:pt x="1173" y="1439"/>
                    </a:lnTo>
                    <a:lnTo>
                      <a:pt x="1169" y="1439"/>
                    </a:lnTo>
                    <a:lnTo>
                      <a:pt x="1169" y="1437"/>
                    </a:lnTo>
                    <a:close/>
                    <a:moveTo>
                      <a:pt x="1202" y="1066"/>
                    </a:moveTo>
                    <a:lnTo>
                      <a:pt x="1203" y="1066"/>
                    </a:lnTo>
                    <a:lnTo>
                      <a:pt x="1203" y="1068"/>
                    </a:lnTo>
                    <a:lnTo>
                      <a:pt x="1202" y="1068"/>
                    </a:lnTo>
                    <a:lnTo>
                      <a:pt x="1202" y="1066"/>
                    </a:lnTo>
                    <a:close/>
                    <a:moveTo>
                      <a:pt x="1264" y="1595"/>
                    </a:moveTo>
                    <a:lnTo>
                      <a:pt x="1268" y="1595"/>
                    </a:lnTo>
                    <a:lnTo>
                      <a:pt x="1268" y="1597"/>
                    </a:lnTo>
                    <a:lnTo>
                      <a:pt x="1264" y="1597"/>
                    </a:lnTo>
                    <a:lnTo>
                      <a:pt x="1264" y="1595"/>
                    </a:lnTo>
                    <a:close/>
                    <a:moveTo>
                      <a:pt x="1220" y="1543"/>
                    </a:moveTo>
                    <a:lnTo>
                      <a:pt x="1222" y="1543"/>
                    </a:lnTo>
                    <a:lnTo>
                      <a:pt x="1222" y="1544"/>
                    </a:lnTo>
                    <a:lnTo>
                      <a:pt x="1220" y="1544"/>
                    </a:lnTo>
                    <a:lnTo>
                      <a:pt x="1220" y="1543"/>
                    </a:lnTo>
                    <a:close/>
                    <a:moveTo>
                      <a:pt x="1191" y="1060"/>
                    </a:moveTo>
                    <a:lnTo>
                      <a:pt x="1195" y="1060"/>
                    </a:lnTo>
                    <a:lnTo>
                      <a:pt x="1195" y="1061"/>
                    </a:lnTo>
                    <a:lnTo>
                      <a:pt x="1191" y="1061"/>
                    </a:lnTo>
                    <a:lnTo>
                      <a:pt x="1191" y="1060"/>
                    </a:lnTo>
                    <a:close/>
                    <a:moveTo>
                      <a:pt x="1179" y="1422"/>
                    </a:moveTo>
                    <a:lnTo>
                      <a:pt x="1181" y="1422"/>
                    </a:lnTo>
                    <a:lnTo>
                      <a:pt x="1181" y="1424"/>
                    </a:lnTo>
                    <a:lnTo>
                      <a:pt x="1179" y="1424"/>
                    </a:lnTo>
                    <a:lnTo>
                      <a:pt x="1179" y="1422"/>
                    </a:lnTo>
                    <a:close/>
                    <a:moveTo>
                      <a:pt x="1183" y="1463"/>
                    </a:moveTo>
                    <a:lnTo>
                      <a:pt x="1185" y="1463"/>
                    </a:lnTo>
                    <a:lnTo>
                      <a:pt x="1185" y="1464"/>
                    </a:lnTo>
                    <a:lnTo>
                      <a:pt x="1183" y="1464"/>
                    </a:lnTo>
                    <a:lnTo>
                      <a:pt x="1183" y="1463"/>
                    </a:lnTo>
                    <a:close/>
                    <a:moveTo>
                      <a:pt x="1397" y="1663"/>
                    </a:moveTo>
                    <a:lnTo>
                      <a:pt x="1400" y="1663"/>
                    </a:lnTo>
                    <a:lnTo>
                      <a:pt x="1400" y="1665"/>
                    </a:lnTo>
                    <a:lnTo>
                      <a:pt x="1397" y="1665"/>
                    </a:lnTo>
                    <a:lnTo>
                      <a:pt x="1397" y="1663"/>
                    </a:lnTo>
                    <a:close/>
                    <a:moveTo>
                      <a:pt x="1190" y="1413"/>
                    </a:moveTo>
                    <a:lnTo>
                      <a:pt x="1191" y="1413"/>
                    </a:lnTo>
                    <a:lnTo>
                      <a:pt x="1191" y="1417"/>
                    </a:lnTo>
                    <a:lnTo>
                      <a:pt x="1190" y="1417"/>
                    </a:lnTo>
                    <a:lnTo>
                      <a:pt x="1190" y="1413"/>
                    </a:lnTo>
                    <a:close/>
                    <a:moveTo>
                      <a:pt x="1208" y="1449"/>
                    </a:moveTo>
                    <a:lnTo>
                      <a:pt x="1210" y="1449"/>
                    </a:lnTo>
                    <a:lnTo>
                      <a:pt x="1210" y="1451"/>
                    </a:lnTo>
                    <a:lnTo>
                      <a:pt x="1208" y="1451"/>
                    </a:lnTo>
                    <a:lnTo>
                      <a:pt x="1208" y="1449"/>
                    </a:lnTo>
                    <a:close/>
                    <a:moveTo>
                      <a:pt x="1222" y="976"/>
                    </a:moveTo>
                    <a:lnTo>
                      <a:pt x="1224" y="976"/>
                    </a:lnTo>
                    <a:lnTo>
                      <a:pt x="1224" y="980"/>
                    </a:lnTo>
                    <a:lnTo>
                      <a:pt x="1222" y="980"/>
                    </a:lnTo>
                    <a:lnTo>
                      <a:pt x="1222" y="976"/>
                    </a:lnTo>
                    <a:close/>
                    <a:moveTo>
                      <a:pt x="1346" y="1662"/>
                    </a:moveTo>
                    <a:lnTo>
                      <a:pt x="1348" y="1662"/>
                    </a:lnTo>
                    <a:lnTo>
                      <a:pt x="1348" y="1663"/>
                    </a:lnTo>
                    <a:lnTo>
                      <a:pt x="1346" y="1663"/>
                    </a:lnTo>
                    <a:lnTo>
                      <a:pt x="1346" y="1662"/>
                    </a:lnTo>
                    <a:close/>
                    <a:moveTo>
                      <a:pt x="1210" y="1063"/>
                    </a:moveTo>
                    <a:lnTo>
                      <a:pt x="1212" y="1063"/>
                    </a:lnTo>
                    <a:lnTo>
                      <a:pt x="1212" y="1065"/>
                    </a:lnTo>
                    <a:lnTo>
                      <a:pt x="1210" y="1065"/>
                    </a:lnTo>
                    <a:lnTo>
                      <a:pt x="1210" y="1063"/>
                    </a:lnTo>
                    <a:close/>
                    <a:moveTo>
                      <a:pt x="1161" y="1349"/>
                    </a:moveTo>
                    <a:lnTo>
                      <a:pt x="1162" y="1349"/>
                    </a:lnTo>
                    <a:lnTo>
                      <a:pt x="1162" y="1350"/>
                    </a:lnTo>
                    <a:lnTo>
                      <a:pt x="1161" y="1350"/>
                    </a:lnTo>
                    <a:lnTo>
                      <a:pt x="1161" y="1349"/>
                    </a:lnTo>
                    <a:close/>
                    <a:moveTo>
                      <a:pt x="1207" y="1529"/>
                    </a:moveTo>
                    <a:lnTo>
                      <a:pt x="1210" y="1529"/>
                    </a:lnTo>
                    <a:lnTo>
                      <a:pt x="1210" y="1532"/>
                    </a:lnTo>
                    <a:lnTo>
                      <a:pt x="1207" y="1532"/>
                    </a:lnTo>
                    <a:lnTo>
                      <a:pt x="1207" y="1529"/>
                    </a:lnTo>
                    <a:close/>
                    <a:moveTo>
                      <a:pt x="1205" y="1541"/>
                    </a:moveTo>
                    <a:lnTo>
                      <a:pt x="1207" y="1541"/>
                    </a:lnTo>
                    <a:lnTo>
                      <a:pt x="1207" y="1543"/>
                    </a:lnTo>
                    <a:lnTo>
                      <a:pt x="1205" y="1543"/>
                    </a:lnTo>
                    <a:lnTo>
                      <a:pt x="1205" y="1541"/>
                    </a:lnTo>
                    <a:close/>
                    <a:moveTo>
                      <a:pt x="1152" y="1257"/>
                    </a:moveTo>
                    <a:lnTo>
                      <a:pt x="1156" y="1257"/>
                    </a:lnTo>
                    <a:lnTo>
                      <a:pt x="1156" y="1259"/>
                    </a:lnTo>
                    <a:lnTo>
                      <a:pt x="1152" y="1259"/>
                    </a:lnTo>
                    <a:lnTo>
                      <a:pt x="1152" y="1257"/>
                    </a:lnTo>
                    <a:close/>
                    <a:moveTo>
                      <a:pt x="1152" y="1310"/>
                    </a:moveTo>
                    <a:lnTo>
                      <a:pt x="1154" y="1310"/>
                    </a:lnTo>
                    <a:lnTo>
                      <a:pt x="1154" y="1311"/>
                    </a:lnTo>
                    <a:lnTo>
                      <a:pt x="1152" y="1311"/>
                    </a:lnTo>
                    <a:lnTo>
                      <a:pt x="1152" y="1310"/>
                    </a:lnTo>
                    <a:close/>
                    <a:moveTo>
                      <a:pt x="1174" y="1478"/>
                    </a:moveTo>
                    <a:lnTo>
                      <a:pt x="1178" y="1478"/>
                    </a:lnTo>
                    <a:lnTo>
                      <a:pt x="1178" y="1481"/>
                    </a:lnTo>
                    <a:lnTo>
                      <a:pt x="1174" y="1481"/>
                    </a:lnTo>
                    <a:lnTo>
                      <a:pt x="1174" y="1478"/>
                    </a:lnTo>
                    <a:close/>
                    <a:moveTo>
                      <a:pt x="1164" y="1332"/>
                    </a:moveTo>
                    <a:lnTo>
                      <a:pt x="1166" y="1332"/>
                    </a:lnTo>
                    <a:lnTo>
                      <a:pt x="1166" y="1335"/>
                    </a:lnTo>
                    <a:lnTo>
                      <a:pt x="1164" y="1335"/>
                    </a:lnTo>
                    <a:lnTo>
                      <a:pt x="1164" y="1332"/>
                    </a:lnTo>
                    <a:close/>
                    <a:moveTo>
                      <a:pt x="1220" y="986"/>
                    </a:moveTo>
                    <a:lnTo>
                      <a:pt x="1222" y="986"/>
                    </a:lnTo>
                    <a:lnTo>
                      <a:pt x="1222" y="988"/>
                    </a:lnTo>
                    <a:lnTo>
                      <a:pt x="1220" y="988"/>
                    </a:lnTo>
                    <a:lnTo>
                      <a:pt x="1220" y="986"/>
                    </a:lnTo>
                    <a:close/>
                    <a:moveTo>
                      <a:pt x="1166" y="1383"/>
                    </a:moveTo>
                    <a:lnTo>
                      <a:pt x="1168" y="1383"/>
                    </a:lnTo>
                    <a:lnTo>
                      <a:pt x="1168" y="1384"/>
                    </a:lnTo>
                    <a:lnTo>
                      <a:pt x="1166" y="1384"/>
                    </a:lnTo>
                    <a:lnTo>
                      <a:pt x="1166" y="1383"/>
                    </a:lnTo>
                    <a:close/>
                    <a:moveTo>
                      <a:pt x="1173" y="1245"/>
                    </a:moveTo>
                    <a:lnTo>
                      <a:pt x="1174" y="1245"/>
                    </a:lnTo>
                    <a:lnTo>
                      <a:pt x="1174" y="1248"/>
                    </a:lnTo>
                    <a:lnTo>
                      <a:pt x="1173" y="1248"/>
                    </a:lnTo>
                    <a:lnTo>
                      <a:pt x="1173" y="1245"/>
                    </a:lnTo>
                    <a:close/>
                    <a:moveTo>
                      <a:pt x="1185" y="1099"/>
                    </a:moveTo>
                    <a:lnTo>
                      <a:pt x="1186" y="1099"/>
                    </a:lnTo>
                    <a:lnTo>
                      <a:pt x="1186" y="1100"/>
                    </a:lnTo>
                    <a:lnTo>
                      <a:pt x="1185" y="1100"/>
                    </a:lnTo>
                    <a:lnTo>
                      <a:pt x="1185" y="1099"/>
                    </a:lnTo>
                    <a:close/>
                    <a:moveTo>
                      <a:pt x="1215" y="981"/>
                    </a:moveTo>
                    <a:lnTo>
                      <a:pt x="1217" y="981"/>
                    </a:lnTo>
                    <a:lnTo>
                      <a:pt x="1217" y="983"/>
                    </a:lnTo>
                    <a:lnTo>
                      <a:pt x="1215" y="983"/>
                    </a:lnTo>
                    <a:lnTo>
                      <a:pt x="1215" y="981"/>
                    </a:lnTo>
                    <a:close/>
                    <a:moveTo>
                      <a:pt x="1154" y="1354"/>
                    </a:moveTo>
                    <a:lnTo>
                      <a:pt x="1154" y="1357"/>
                    </a:lnTo>
                    <a:lnTo>
                      <a:pt x="1154" y="1354"/>
                    </a:lnTo>
                    <a:close/>
                    <a:moveTo>
                      <a:pt x="1276" y="1595"/>
                    </a:moveTo>
                    <a:lnTo>
                      <a:pt x="1280" y="1595"/>
                    </a:lnTo>
                    <a:lnTo>
                      <a:pt x="1280" y="1597"/>
                    </a:lnTo>
                    <a:lnTo>
                      <a:pt x="1276" y="1597"/>
                    </a:lnTo>
                    <a:lnTo>
                      <a:pt x="1276" y="1595"/>
                    </a:lnTo>
                    <a:close/>
                    <a:moveTo>
                      <a:pt x="1190" y="1066"/>
                    </a:moveTo>
                    <a:lnTo>
                      <a:pt x="1191" y="1066"/>
                    </a:lnTo>
                    <a:lnTo>
                      <a:pt x="1190" y="1066"/>
                    </a:lnTo>
                    <a:close/>
                    <a:moveTo>
                      <a:pt x="1292" y="1616"/>
                    </a:moveTo>
                    <a:lnTo>
                      <a:pt x="1293" y="1616"/>
                    </a:lnTo>
                    <a:lnTo>
                      <a:pt x="1293" y="1618"/>
                    </a:lnTo>
                    <a:lnTo>
                      <a:pt x="1292" y="1618"/>
                    </a:lnTo>
                    <a:lnTo>
                      <a:pt x="1292" y="1616"/>
                    </a:lnTo>
                    <a:close/>
                    <a:moveTo>
                      <a:pt x="1149" y="1311"/>
                    </a:moveTo>
                    <a:lnTo>
                      <a:pt x="1151" y="1311"/>
                    </a:lnTo>
                    <a:lnTo>
                      <a:pt x="1151" y="1313"/>
                    </a:lnTo>
                    <a:lnTo>
                      <a:pt x="1149" y="1313"/>
                    </a:lnTo>
                    <a:lnTo>
                      <a:pt x="1149" y="1311"/>
                    </a:lnTo>
                    <a:close/>
                    <a:moveTo>
                      <a:pt x="1203" y="1429"/>
                    </a:moveTo>
                    <a:lnTo>
                      <a:pt x="1205" y="1429"/>
                    </a:lnTo>
                    <a:lnTo>
                      <a:pt x="1205" y="1430"/>
                    </a:lnTo>
                    <a:lnTo>
                      <a:pt x="1203" y="1430"/>
                    </a:lnTo>
                    <a:lnTo>
                      <a:pt x="1203" y="1429"/>
                    </a:lnTo>
                    <a:close/>
                    <a:moveTo>
                      <a:pt x="1246" y="1582"/>
                    </a:moveTo>
                    <a:lnTo>
                      <a:pt x="1247" y="1582"/>
                    </a:lnTo>
                    <a:lnTo>
                      <a:pt x="1247" y="1583"/>
                    </a:lnTo>
                    <a:lnTo>
                      <a:pt x="1246" y="1583"/>
                    </a:lnTo>
                    <a:lnTo>
                      <a:pt x="1246" y="1582"/>
                    </a:lnTo>
                    <a:close/>
                    <a:moveTo>
                      <a:pt x="1149" y="1342"/>
                    </a:moveTo>
                    <a:lnTo>
                      <a:pt x="1151" y="1342"/>
                    </a:lnTo>
                    <a:lnTo>
                      <a:pt x="1151" y="1345"/>
                    </a:lnTo>
                    <a:lnTo>
                      <a:pt x="1149" y="1345"/>
                    </a:lnTo>
                    <a:lnTo>
                      <a:pt x="1149" y="1342"/>
                    </a:lnTo>
                    <a:close/>
                    <a:moveTo>
                      <a:pt x="1203" y="1104"/>
                    </a:moveTo>
                    <a:lnTo>
                      <a:pt x="1205" y="1104"/>
                    </a:lnTo>
                    <a:lnTo>
                      <a:pt x="1205" y="1105"/>
                    </a:lnTo>
                    <a:lnTo>
                      <a:pt x="1203" y="1105"/>
                    </a:lnTo>
                    <a:lnTo>
                      <a:pt x="1203" y="1104"/>
                    </a:lnTo>
                    <a:close/>
                    <a:moveTo>
                      <a:pt x="1213" y="1107"/>
                    </a:moveTo>
                    <a:lnTo>
                      <a:pt x="1215" y="1107"/>
                    </a:lnTo>
                    <a:lnTo>
                      <a:pt x="1215" y="1109"/>
                    </a:lnTo>
                    <a:lnTo>
                      <a:pt x="1213" y="1109"/>
                    </a:lnTo>
                    <a:lnTo>
                      <a:pt x="1213" y="1107"/>
                    </a:lnTo>
                    <a:close/>
                    <a:moveTo>
                      <a:pt x="1183" y="1194"/>
                    </a:moveTo>
                    <a:lnTo>
                      <a:pt x="1185" y="1194"/>
                    </a:lnTo>
                    <a:lnTo>
                      <a:pt x="1185" y="1196"/>
                    </a:lnTo>
                    <a:lnTo>
                      <a:pt x="1183" y="1196"/>
                    </a:lnTo>
                    <a:lnTo>
                      <a:pt x="1183" y="1194"/>
                    </a:lnTo>
                    <a:close/>
                    <a:moveTo>
                      <a:pt x="1368" y="1662"/>
                    </a:moveTo>
                    <a:lnTo>
                      <a:pt x="1370" y="1662"/>
                    </a:lnTo>
                    <a:lnTo>
                      <a:pt x="1370" y="1663"/>
                    </a:lnTo>
                    <a:lnTo>
                      <a:pt x="1368" y="1663"/>
                    </a:lnTo>
                    <a:lnTo>
                      <a:pt x="1368" y="1662"/>
                    </a:lnTo>
                    <a:close/>
                    <a:moveTo>
                      <a:pt x="1329" y="1626"/>
                    </a:moveTo>
                    <a:lnTo>
                      <a:pt x="1331" y="1626"/>
                    </a:lnTo>
                    <a:lnTo>
                      <a:pt x="1329" y="1626"/>
                    </a:lnTo>
                    <a:lnTo>
                      <a:pt x="1331" y="1626"/>
                    </a:lnTo>
                    <a:lnTo>
                      <a:pt x="1329" y="1626"/>
                    </a:lnTo>
                    <a:lnTo>
                      <a:pt x="1327" y="1626"/>
                    </a:lnTo>
                    <a:lnTo>
                      <a:pt x="1329" y="1626"/>
                    </a:lnTo>
                    <a:close/>
                    <a:moveTo>
                      <a:pt x="1219" y="992"/>
                    </a:moveTo>
                    <a:lnTo>
                      <a:pt x="1222" y="992"/>
                    </a:lnTo>
                    <a:lnTo>
                      <a:pt x="1222" y="993"/>
                    </a:lnTo>
                    <a:lnTo>
                      <a:pt x="1219" y="993"/>
                    </a:lnTo>
                    <a:lnTo>
                      <a:pt x="1219" y="992"/>
                    </a:lnTo>
                    <a:close/>
                    <a:moveTo>
                      <a:pt x="1169" y="1388"/>
                    </a:moveTo>
                    <a:lnTo>
                      <a:pt x="1171" y="1388"/>
                    </a:lnTo>
                    <a:lnTo>
                      <a:pt x="1171" y="1390"/>
                    </a:lnTo>
                    <a:lnTo>
                      <a:pt x="1169" y="1390"/>
                    </a:lnTo>
                    <a:lnTo>
                      <a:pt x="1169" y="1388"/>
                    </a:lnTo>
                    <a:close/>
                    <a:moveTo>
                      <a:pt x="1185" y="1476"/>
                    </a:moveTo>
                    <a:lnTo>
                      <a:pt x="1186" y="1476"/>
                    </a:lnTo>
                    <a:lnTo>
                      <a:pt x="1186" y="1478"/>
                    </a:lnTo>
                    <a:lnTo>
                      <a:pt x="1185" y="1478"/>
                    </a:lnTo>
                    <a:lnTo>
                      <a:pt x="1185" y="1476"/>
                    </a:lnTo>
                    <a:close/>
                    <a:moveTo>
                      <a:pt x="1220" y="1058"/>
                    </a:moveTo>
                    <a:lnTo>
                      <a:pt x="1222" y="1058"/>
                    </a:lnTo>
                    <a:lnTo>
                      <a:pt x="1222" y="1060"/>
                    </a:lnTo>
                    <a:lnTo>
                      <a:pt x="1220" y="1060"/>
                    </a:lnTo>
                    <a:lnTo>
                      <a:pt x="1220" y="1058"/>
                    </a:lnTo>
                    <a:close/>
                    <a:moveTo>
                      <a:pt x="1186" y="1476"/>
                    </a:moveTo>
                    <a:lnTo>
                      <a:pt x="1190" y="1476"/>
                    </a:lnTo>
                    <a:lnTo>
                      <a:pt x="1190" y="1478"/>
                    </a:lnTo>
                    <a:lnTo>
                      <a:pt x="1186" y="1478"/>
                    </a:lnTo>
                    <a:lnTo>
                      <a:pt x="1186" y="1476"/>
                    </a:lnTo>
                    <a:close/>
                    <a:moveTo>
                      <a:pt x="1334" y="1653"/>
                    </a:moveTo>
                    <a:lnTo>
                      <a:pt x="1334" y="1657"/>
                    </a:lnTo>
                    <a:lnTo>
                      <a:pt x="1334" y="1653"/>
                    </a:lnTo>
                    <a:close/>
                    <a:moveTo>
                      <a:pt x="1200" y="1141"/>
                    </a:moveTo>
                    <a:lnTo>
                      <a:pt x="1202" y="1141"/>
                    </a:lnTo>
                    <a:lnTo>
                      <a:pt x="1202" y="1143"/>
                    </a:lnTo>
                    <a:lnTo>
                      <a:pt x="1200" y="1143"/>
                    </a:lnTo>
                    <a:lnTo>
                      <a:pt x="1200" y="1141"/>
                    </a:lnTo>
                    <a:close/>
                    <a:moveTo>
                      <a:pt x="1140" y="1306"/>
                    </a:moveTo>
                    <a:lnTo>
                      <a:pt x="1142" y="1306"/>
                    </a:lnTo>
                    <a:lnTo>
                      <a:pt x="1142" y="1310"/>
                    </a:lnTo>
                    <a:lnTo>
                      <a:pt x="1140" y="1310"/>
                    </a:lnTo>
                    <a:lnTo>
                      <a:pt x="1140" y="1306"/>
                    </a:lnTo>
                    <a:close/>
                    <a:moveTo>
                      <a:pt x="1190" y="1524"/>
                    </a:moveTo>
                    <a:lnTo>
                      <a:pt x="1191" y="1524"/>
                    </a:lnTo>
                    <a:lnTo>
                      <a:pt x="1191" y="1526"/>
                    </a:lnTo>
                    <a:lnTo>
                      <a:pt x="1190" y="1526"/>
                    </a:lnTo>
                    <a:lnTo>
                      <a:pt x="1190" y="1524"/>
                    </a:lnTo>
                    <a:close/>
                    <a:moveTo>
                      <a:pt x="1200" y="1060"/>
                    </a:moveTo>
                    <a:lnTo>
                      <a:pt x="1202" y="1060"/>
                    </a:lnTo>
                    <a:lnTo>
                      <a:pt x="1202" y="1061"/>
                    </a:lnTo>
                    <a:lnTo>
                      <a:pt x="1200" y="1061"/>
                    </a:lnTo>
                    <a:lnTo>
                      <a:pt x="1200" y="1060"/>
                    </a:lnTo>
                    <a:close/>
                    <a:moveTo>
                      <a:pt x="1161" y="1298"/>
                    </a:moveTo>
                    <a:lnTo>
                      <a:pt x="1162" y="1298"/>
                    </a:lnTo>
                    <a:lnTo>
                      <a:pt x="1162" y="1299"/>
                    </a:lnTo>
                    <a:lnTo>
                      <a:pt x="1161" y="1299"/>
                    </a:lnTo>
                    <a:lnTo>
                      <a:pt x="1161" y="1298"/>
                    </a:lnTo>
                    <a:close/>
                    <a:moveTo>
                      <a:pt x="1207" y="1492"/>
                    </a:moveTo>
                    <a:lnTo>
                      <a:pt x="1208" y="1492"/>
                    </a:lnTo>
                    <a:lnTo>
                      <a:pt x="1208" y="1493"/>
                    </a:lnTo>
                    <a:lnTo>
                      <a:pt x="1207" y="1493"/>
                    </a:lnTo>
                    <a:lnTo>
                      <a:pt x="1207" y="1492"/>
                    </a:lnTo>
                    <a:close/>
                    <a:moveTo>
                      <a:pt x="1416" y="1680"/>
                    </a:moveTo>
                    <a:lnTo>
                      <a:pt x="1417" y="1680"/>
                    </a:lnTo>
                    <a:lnTo>
                      <a:pt x="1417" y="1682"/>
                    </a:lnTo>
                    <a:lnTo>
                      <a:pt x="1416" y="1682"/>
                    </a:lnTo>
                    <a:lnTo>
                      <a:pt x="1416" y="1680"/>
                    </a:lnTo>
                    <a:close/>
                    <a:moveTo>
                      <a:pt x="1244" y="1502"/>
                    </a:moveTo>
                    <a:lnTo>
                      <a:pt x="1246" y="1502"/>
                    </a:lnTo>
                    <a:lnTo>
                      <a:pt x="1246" y="1504"/>
                    </a:lnTo>
                    <a:lnTo>
                      <a:pt x="1244" y="1504"/>
                    </a:lnTo>
                    <a:lnTo>
                      <a:pt x="1244" y="1502"/>
                    </a:lnTo>
                    <a:close/>
                    <a:moveTo>
                      <a:pt x="1193" y="1124"/>
                    </a:moveTo>
                    <a:lnTo>
                      <a:pt x="1193" y="1126"/>
                    </a:lnTo>
                    <a:lnTo>
                      <a:pt x="1193" y="1124"/>
                    </a:lnTo>
                    <a:close/>
                    <a:moveTo>
                      <a:pt x="1176" y="1117"/>
                    </a:moveTo>
                    <a:lnTo>
                      <a:pt x="1178" y="1117"/>
                    </a:lnTo>
                    <a:lnTo>
                      <a:pt x="1178" y="1119"/>
                    </a:lnTo>
                    <a:lnTo>
                      <a:pt x="1176" y="1119"/>
                    </a:lnTo>
                    <a:lnTo>
                      <a:pt x="1176" y="1117"/>
                    </a:lnTo>
                    <a:close/>
                    <a:moveTo>
                      <a:pt x="1161" y="1160"/>
                    </a:moveTo>
                    <a:lnTo>
                      <a:pt x="1162" y="1160"/>
                    </a:lnTo>
                    <a:lnTo>
                      <a:pt x="1162" y="1162"/>
                    </a:lnTo>
                    <a:lnTo>
                      <a:pt x="1161" y="1162"/>
                    </a:lnTo>
                    <a:lnTo>
                      <a:pt x="1161" y="1160"/>
                    </a:lnTo>
                    <a:close/>
                    <a:moveTo>
                      <a:pt x="1190" y="1060"/>
                    </a:moveTo>
                    <a:lnTo>
                      <a:pt x="1193" y="1060"/>
                    </a:lnTo>
                    <a:lnTo>
                      <a:pt x="1190" y="1060"/>
                    </a:lnTo>
                    <a:close/>
                    <a:moveTo>
                      <a:pt x="1162" y="1405"/>
                    </a:moveTo>
                    <a:lnTo>
                      <a:pt x="1164" y="1405"/>
                    </a:lnTo>
                    <a:lnTo>
                      <a:pt x="1164" y="1407"/>
                    </a:lnTo>
                    <a:lnTo>
                      <a:pt x="1162" y="1407"/>
                    </a:lnTo>
                    <a:lnTo>
                      <a:pt x="1162" y="1405"/>
                    </a:lnTo>
                    <a:close/>
                    <a:moveTo>
                      <a:pt x="1176" y="1470"/>
                    </a:moveTo>
                    <a:lnTo>
                      <a:pt x="1178" y="1470"/>
                    </a:lnTo>
                    <a:lnTo>
                      <a:pt x="1178" y="1471"/>
                    </a:lnTo>
                    <a:lnTo>
                      <a:pt x="1176" y="1471"/>
                    </a:lnTo>
                    <a:lnTo>
                      <a:pt x="1176" y="1470"/>
                    </a:lnTo>
                    <a:close/>
                    <a:moveTo>
                      <a:pt x="1212" y="1105"/>
                    </a:moveTo>
                    <a:lnTo>
                      <a:pt x="1213" y="1105"/>
                    </a:lnTo>
                    <a:lnTo>
                      <a:pt x="1212" y="1105"/>
                    </a:lnTo>
                    <a:close/>
                    <a:moveTo>
                      <a:pt x="1205" y="1097"/>
                    </a:moveTo>
                    <a:lnTo>
                      <a:pt x="1207" y="1097"/>
                    </a:lnTo>
                    <a:lnTo>
                      <a:pt x="1207" y="1099"/>
                    </a:lnTo>
                    <a:lnTo>
                      <a:pt x="1205" y="1099"/>
                    </a:lnTo>
                    <a:lnTo>
                      <a:pt x="1205" y="1097"/>
                    </a:lnTo>
                    <a:close/>
                    <a:moveTo>
                      <a:pt x="1241" y="1592"/>
                    </a:moveTo>
                    <a:lnTo>
                      <a:pt x="1242" y="1592"/>
                    </a:lnTo>
                    <a:lnTo>
                      <a:pt x="1242" y="1594"/>
                    </a:lnTo>
                    <a:lnTo>
                      <a:pt x="1241" y="1594"/>
                    </a:lnTo>
                    <a:lnTo>
                      <a:pt x="1241" y="1592"/>
                    </a:lnTo>
                    <a:close/>
                    <a:moveTo>
                      <a:pt x="1185" y="1461"/>
                    </a:moveTo>
                    <a:lnTo>
                      <a:pt x="1185" y="1463"/>
                    </a:lnTo>
                    <a:lnTo>
                      <a:pt x="1185" y="1461"/>
                    </a:lnTo>
                    <a:close/>
                    <a:moveTo>
                      <a:pt x="1191" y="1122"/>
                    </a:moveTo>
                    <a:lnTo>
                      <a:pt x="1193" y="1122"/>
                    </a:lnTo>
                    <a:lnTo>
                      <a:pt x="1193" y="1124"/>
                    </a:lnTo>
                    <a:lnTo>
                      <a:pt x="1191" y="1124"/>
                    </a:lnTo>
                    <a:lnTo>
                      <a:pt x="1191" y="1122"/>
                    </a:lnTo>
                    <a:close/>
                    <a:moveTo>
                      <a:pt x="1232" y="959"/>
                    </a:moveTo>
                    <a:lnTo>
                      <a:pt x="1234" y="959"/>
                    </a:lnTo>
                    <a:lnTo>
                      <a:pt x="1232" y="959"/>
                    </a:lnTo>
                    <a:close/>
                    <a:moveTo>
                      <a:pt x="1332" y="1590"/>
                    </a:moveTo>
                    <a:lnTo>
                      <a:pt x="1334" y="1590"/>
                    </a:lnTo>
                    <a:lnTo>
                      <a:pt x="1332" y="1590"/>
                    </a:lnTo>
                    <a:close/>
                    <a:moveTo>
                      <a:pt x="1179" y="1488"/>
                    </a:moveTo>
                    <a:lnTo>
                      <a:pt x="1179" y="1490"/>
                    </a:lnTo>
                    <a:lnTo>
                      <a:pt x="1179" y="1488"/>
                    </a:lnTo>
                    <a:close/>
                    <a:moveTo>
                      <a:pt x="1298" y="1621"/>
                    </a:moveTo>
                    <a:lnTo>
                      <a:pt x="1300" y="1621"/>
                    </a:lnTo>
                    <a:lnTo>
                      <a:pt x="1300" y="1624"/>
                    </a:lnTo>
                    <a:lnTo>
                      <a:pt x="1298" y="1624"/>
                    </a:lnTo>
                    <a:lnTo>
                      <a:pt x="1298" y="1621"/>
                    </a:lnTo>
                    <a:close/>
                    <a:moveTo>
                      <a:pt x="1258" y="1558"/>
                    </a:moveTo>
                    <a:lnTo>
                      <a:pt x="1259" y="1558"/>
                    </a:lnTo>
                    <a:lnTo>
                      <a:pt x="1259" y="1560"/>
                    </a:lnTo>
                    <a:lnTo>
                      <a:pt x="1258" y="1560"/>
                    </a:lnTo>
                    <a:lnTo>
                      <a:pt x="1258" y="1558"/>
                    </a:lnTo>
                    <a:close/>
                    <a:moveTo>
                      <a:pt x="1162" y="1376"/>
                    </a:moveTo>
                    <a:lnTo>
                      <a:pt x="1164" y="1376"/>
                    </a:lnTo>
                    <a:lnTo>
                      <a:pt x="1164" y="1378"/>
                    </a:lnTo>
                    <a:lnTo>
                      <a:pt x="1162" y="1378"/>
                    </a:lnTo>
                    <a:lnTo>
                      <a:pt x="1162" y="1376"/>
                    </a:lnTo>
                    <a:close/>
                    <a:moveTo>
                      <a:pt x="1210" y="1490"/>
                    </a:moveTo>
                    <a:lnTo>
                      <a:pt x="1210" y="1492"/>
                    </a:lnTo>
                    <a:lnTo>
                      <a:pt x="1210" y="1490"/>
                    </a:lnTo>
                    <a:close/>
                    <a:moveTo>
                      <a:pt x="1208" y="1553"/>
                    </a:moveTo>
                    <a:lnTo>
                      <a:pt x="1208" y="1556"/>
                    </a:lnTo>
                    <a:lnTo>
                      <a:pt x="1208" y="1553"/>
                    </a:lnTo>
                    <a:close/>
                    <a:moveTo>
                      <a:pt x="1264" y="1595"/>
                    </a:moveTo>
                    <a:lnTo>
                      <a:pt x="1266" y="1595"/>
                    </a:lnTo>
                    <a:lnTo>
                      <a:pt x="1266" y="1597"/>
                    </a:lnTo>
                    <a:lnTo>
                      <a:pt x="1264" y="1597"/>
                    </a:lnTo>
                    <a:lnTo>
                      <a:pt x="1264" y="1595"/>
                    </a:lnTo>
                    <a:close/>
                    <a:moveTo>
                      <a:pt x="1208" y="1478"/>
                    </a:moveTo>
                    <a:lnTo>
                      <a:pt x="1210" y="1478"/>
                    </a:lnTo>
                    <a:lnTo>
                      <a:pt x="1210" y="1480"/>
                    </a:lnTo>
                    <a:lnTo>
                      <a:pt x="1208" y="1480"/>
                    </a:lnTo>
                    <a:lnTo>
                      <a:pt x="1208" y="1478"/>
                    </a:lnTo>
                    <a:close/>
                    <a:moveTo>
                      <a:pt x="1173" y="1408"/>
                    </a:moveTo>
                    <a:lnTo>
                      <a:pt x="1174" y="1408"/>
                    </a:lnTo>
                    <a:lnTo>
                      <a:pt x="1174" y="1410"/>
                    </a:lnTo>
                    <a:lnTo>
                      <a:pt x="1173" y="1410"/>
                    </a:lnTo>
                    <a:lnTo>
                      <a:pt x="1173" y="1408"/>
                    </a:lnTo>
                    <a:close/>
                    <a:moveTo>
                      <a:pt x="1358" y="1650"/>
                    </a:moveTo>
                    <a:lnTo>
                      <a:pt x="1360" y="1650"/>
                    </a:lnTo>
                    <a:lnTo>
                      <a:pt x="1360" y="1652"/>
                    </a:lnTo>
                    <a:lnTo>
                      <a:pt x="1358" y="1652"/>
                    </a:lnTo>
                    <a:lnTo>
                      <a:pt x="1358" y="1650"/>
                    </a:lnTo>
                    <a:close/>
                    <a:moveTo>
                      <a:pt x="1179" y="1276"/>
                    </a:moveTo>
                    <a:lnTo>
                      <a:pt x="1181" y="1276"/>
                    </a:lnTo>
                    <a:lnTo>
                      <a:pt x="1181" y="1277"/>
                    </a:lnTo>
                    <a:lnTo>
                      <a:pt x="1179" y="1277"/>
                    </a:lnTo>
                    <a:lnTo>
                      <a:pt x="1179" y="1276"/>
                    </a:lnTo>
                    <a:close/>
                    <a:moveTo>
                      <a:pt x="1253" y="1572"/>
                    </a:moveTo>
                    <a:lnTo>
                      <a:pt x="1254" y="1572"/>
                    </a:lnTo>
                    <a:lnTo>
                      <a:pt x="1254" y="1575"/>
                    </a:lnTo>
                    <a:lnTo>
                      <a:pt x="1253" y="1575"/>
                    </a:lnTo>
                    <a:lnTo>
                      <a:pt x="1253" y="1572"/>
                    </a:lnTo>
                    <a:close/>
                    <a:moveTo>
                      <a:pt x="1156" y="1245"/>
                    </a:moveTo>
                    <a:lnTo>
                      <a:pt x="1157" y="1245"/>
                    </a:lnTo>
                    <a:lnTo>
                      <a:pt x="1157" y="1247"/>
                    </a:lnTo>
                    <a:lnTo>
                      <a:pt x="1156" y="1247"/>
                    </a:lnTo>
                    <a:lnTo>
                      <a:pt x="1156" y="1245"/>
                    </a:lnTo>
                    <a:close/>
                    <a:moveTo>
                      <a:pt x="1202" y="1243"/>
                    </a:moveTo>
                    <a:lnTo>
                      <a:pt x="1203" y="1243"/>
                    </a:lnTo>
                    <a:lnTo>
                      <a:pt x="1203" y="1245"/>
                    </a:lnTo>
                    <a:lnTo>
                      <a:pt x="1202" y="1245"/>
                    </a:lnTo>
                    <a:lnTo>
                      <a:pt x="1202" y="1243"/>
                    </a:lnTo>
                    <a:close/>
                    <a:moveTo>
                      <a:pt x="1254" y="1573"/>
                    </a:moveTo>
                    <a:lnTo>
                      <a:pt x="1254" y="1577"/>
                    </a:lnTo>
                    <a:lnTo>
                      <a:pt x="1254" y="1573"/>
                    </a:lnTo>
                    <a:close/>
                    <a:moveTo>
                      <a:pt x="1176" y="1119"/>
                    </a:moveTo>
                    <a:lnTo>
                      <a:pt x="1178" y="1119"/>
                    </a:lnTo>
                    <a:lnTo>
                      <a:pt x="1178" y="1121"/>
                    </a:lnTo>
                    <a:lnTo>
                      <a:pt x="1176" y="1121"/>
                    </a:lnTo>
                    <a:lnTo>
                      <a:pt x="1176" y="1119"/>
                    </a:lnTo>
                    <a:close/>
                    <a:moveTo>
                      <a:pt x="1227" y="1582"/>
                    </a:moveTo>
                    <a:lnTo>
                      <a:pt x="1227" y="1585"/>
                    </a:lnTo>
                    <a:lnTo>
                      <a:pt x="1227" y="1582"/>
                    </a:lnTo>
                    <a:close/>
                    <a:moveTo>
                      <a:pt x="1190" y="1483"/>
                    </a:moveTo>
                    <a:lnTo>
                      <a:pt x="1190" y="1485"/>
                    </a:lnTo>
                    <a:lnTo>
                      <a:pt x="1190" y="1483"/>
                    </a:lnTo>
                    <a:close/>
                    <a:moveTo>
                      <a:pt x="1176" y="1197"/>
                    </a:moveTo>
                    <a:lnTo>
                      <a:pt x="1178" y="1197"/>
                    </a:lnTo>
                    <a:lnTo>
                      <a:pt x="1178" y="1199"/>
                    </a:lnTo>
                    <a:lnTo>
                      <a:pt x="1176" y="1199"/>
                    </a:lnTo>
                    <a:lnTo>
                      <a:pt x="1176" y="1197"/>
                    </a:lnTo>
                    <a:close/>
                    <a:moveTo>
                      <a:pt x="1253" y="1498"/>
                    </a:moveTo>
                    <a:lnTo>
                      <a:pt x="1253" y="1500"/>
                    </a:lnTo>
                    <a:lnTo>
                      <a:pt x="1253" y="1498"/>
                    </a:lnTo>
                    <a:close/>
                    <a:moveTo>
                      <a:pt x="1186" y="1384"/>
                    </a:moveTo>
                    <a:lnTo>
                      <a:pt x="1188" y="1384"/>
                    </a:lnTo>
                    <a:lnTo>
                      <a:pt x="1188" y="1386"/>
                    </a:lnTo>
                    <a:lnTo>
                      <a:pt x="1186" y="1386"/>
                    </a:lnTo>
                    <a:lnTo>
                      <a:pt x="1186" y="1384"/>
                    </a:lnTo>
                    <a:close/>
                    <a:moveTo>
                      <a:pt x="1207" y="1071"/>
                    </a:moveTo>
                    <a:lnTo>
                      <a:pt x="1208" y="1071"/>
                    </a:lnTo>
                    <a:lnTo>
                      <a:pt x="1208" y="1073"/>
                    </a:lnTo>
                    <a:lnTo>
                      <a:pt x="1207" y="1073"/>
                    </a:lnTo>
                    <a:lnTo>
                      <a:pt x="1207" y="1071"/>
                    </a:lnTo>
                    <a:close/>
                    <a:moveTo>
                      <a:pt x="1225" y="1575"/>
                    </a:moveTo>
                    <a:lnTo>
                      <a:pt x="1229" y="1575"/>
                    </a:lnTo>
                    <a:lnTo>
                      <a:pt x="1229" y="1577"/>
                    </a:lnTo>
                    <a:lnTo>
                      <a:pt x="1225" y="1577"/>
                    </a:lnTo>
                    <a:lnTo>
                      <a:pt x="1225" y="1575"/>
                    </a:lnTo>
                    <a:close/>
                    <a:moveTo>
                      <a:pt x="1220" y="980"/>
                    </a:moveTo>
                    <a:lnTo>
                      <a:pt x="1222" y="980"/>
                    </a:lnTo>
                    <a:lnTo>
                      <a:pt x="1220" y="980"/>
                    </a:lnTo>
                    <a:close/>
                    <a:moveTo>
                      <a:pt x="1186" y="1191"/>
                    </a:moveTo>
                    <a:lnTo>
                      <a:pt x="1188" y="1191"/>
                    </a:lnTo>
                    <a:lnTo>
                      <a:pt x="1188" y="1192"/>
                    </a:lnTo>
                    <a:lnTo>
                      <a:pt x="1186" y="1192"/>
                    </a:lnTo>
                    <a:lnTo>
                      <a:pt x="1186" y="1191"/>
                    </a:lnTo>
                    <a:close/>
                    <a:moveTo>
                      <a:pt x="1224" y="1580"/>
                    </a:moveTo>
                    <a:lnTo>
                      <a:pt x="1224" y="1582"/>
                    </a:lnTo>
                    <a:lnTo>
                      <a:pt x="1224" y="1580"/>
                    </a:lnTo>
                    <a:close/>
                    <a:moveTo>
                      <a:pt x="1208" y="1553"/>
                    </a:moveTo>
                    <a:lnTo>
                      <a:pt x="1210" y="1553"/>
                    </a:lnTo>
                    <a:lnTo>
                      <a:pt x="1210" y="1555"/>
                    </a:lnTo>
                    <a:lnTo>
                      <a:pt x="1208" y="1555"/>
                    </a:lnTo>
                    <a:lnTo>
                      <a:pt x="1208" y="1553"/>
                    </a:lnTo>
                    <a:close/>
                    <a:moveTo>
                      <a:pt x="1219" y="1524"/>
                    </a:moveTo>
                    <a:lnTo>
                      <a:pt x="1222" y="1524"/>
                    </a:lnTo>
                    <a:lnTo>
                      <a:pt x="1222" y="1526"/>
                    </a:lnTo>
                    <a:lnTo>
                      <a:pt x="1219" y="1526"/>
                    </a:lnTo>
                    <a:lnTo>
                      <a:pt x="1219" y="1524"/>
                    </a:lnTo>
                    <a:close/>
                    <a:moveTo>
                      <a:pt x="1139" y="1310"/>
                    </a:moveTo>
                    <a:lnTo>
                      <a:pt x="1142" y="1310"/>
                    </a:lnTo>
                    <a:lnTo>
                      <a:pt x="1142" y="1311"/>
                    </a:lnTo>
                    <a:lnTo>
                      <a:pt x="1139" y="1311"/>
                    </a:lnTo>
                    <a:lnTo>
                      <a:pt x="1139" y="1310"/>
                    </a:lnTo>
                    <a:close/>
                    <a:moveTo>
                      <a:pt x="1225" y="981"/>
                    </a:moveTo>
                    <a:lnTo>
                      <a:pt x="1227" y="981"/>
                    </a:lnTo>
                    <a:lnTo>
                      <a:pt x="1227" y="983"/>
                    </a:lnTo>
                    <a:lnTo>
                      <a:pt x="1225" y="983"/>
                    </a:lnTo>
                    <a:lnTo>
                      <a:pt x="1225" y="981"/>
                    </a:lnTo>
                    <a:close/>
                    <a:moveTo>
                      <a:pt x="1140" y="1303"/>
                    </a:moveTo>
                    <a:lnTo>
                      <a:pt x="1142" y="1303"/>
                    </a:lnTo>
                    <a:lnTo>
                      <a:pt x="1142" y="1306"/>
                    </a:lnTo>
                    <a:lnTo>
                      <a:pt x="1140" y="1306"/>
                    </a:lnTo>
                    <a:lnTo>
                      <a:pt x="1140" y="1303"/>
                    </a:lnTo>
                    <a:close/>
                    <a:moveTo>
                      <a:pt x="1326" y="1653"/>
                    </a:moveTo>
                    <a:lnTo>
                      <a:pt x="1327" y="1653"/>
                    </a:lnTo>
                    <a:lnTo>
                      <a:pt x="1326" y="1653"/>
                    </a:lnTo>
                    <a:close/>
                    <a:moveTo>
                      <a:pt x="1246" y="1534"/>
                    </a:moveTo>
                    <a:lnTo>
                      <a:pt x="1247" y="1534"/>
                    </a:lnTo>
                    <a:lnTo>
                      <a:pt x="1247" y="1536"/>
                    </a:lnTo>
                    <a:lnTo>
                      <a:pt x="1246" y="1536"/>
                    </a:lnTo>
                    <a:lnTo>
                      <a:pt x="1246" y="1534"/>
                    </a:lnTo>
                    <a:close/>
                    <a:moveTo>
                      <a:pt x="1276" y="1590"/>
                    </a:moveTo>
                    <a:lnTo>
                      <a:pt x="1278" y="1590"/>
                    </a:lnTo>
                    <a:lnTo>
                      <a:pt x="1278" y="1592"/>
                    </a:lnTo>
                    <a:lnTo>
                      <a:pt x="1276" y="1592"/>
                    </a:lnTo>
                    <a:lnTo>
                      <a:pt x="1276" y="1590"/>
                    </a:lnTo>
                    <a:close/>
                    <a:moveTo>
                      <a:pt x="1270" y="1602"/>
                    </a:moveTo>
                    <a:lnTo>
                      <a:pt x="1271" y="1602"/>
                    </a:lnTo>
                    <a:lnTo>
                      <a:pt x="1271" y="1604"/>
                    </a:lnTo>
                    <a:lnTo>
                      <a:pt x="1270" y="1604"/>
                    </a:lnTo>
                    <a:lnTo>
                      <a:pt x="1270" y="1602"/>
                    </a:lnTo>
                    <a:close/>
                    <a:moveTo>
                      <a:pt x="1217" y="1555"/>
                    </a:moveTo>
                    <a:lnTo>
                      <a:pt x="1219" y="1555"/>
                    </a:lnTo>
                    <a:lnTo>
                      <a:pt x="1217" y="1555"/>
                    </a:lnTo>
                    <a:close/>
                    <a:moveTo>
                      <a:pt x="1183" y="1099"/>
                    </a:moveTo>
                    <a:lnTo>
                      <a:pt x="1185" y="1099"/>
                    </a:lnTo>
                    <a:lnTo>
                      <a:pt x="1185" y="1100"/>
                    </a:lnTo>
                    <a:lnTo>
                      <a:pt x="1183" y="1100"/>
                    </a:lnTo>
                    <a:lnTo>
                      <a:pt x="1183" y="1099"/>
                    </a:lnTo>
                    <a:close/>
                    <a:moveTo>
                      <a:pt x="1230" y="1449"/>
                    </a:moveTo>
                    <a:lnTo>
                      <a:pt x="1232" y="1449"/>
                    </a:lnTo>
                    <a:lnTo>
                      <a:pt x="1232" y="1451"/>
                    </a:lnTo>
                    <a:lnTo>
                      <a:pt x="1230" y="1451"/>
                    </a:lnTo>
                    <a:lnTo>
                      <a:pt x="1230" y="1449"/>
                    </a:lnTo>
                    <a:close/>
                    <a:moveTo>
                      <a:pt x="1181" y="1374"/>
                    </a:moveTo>
                    <a:lnTo>
                      <a:pt x="1181" y="1376"/>
                    </a:lnTo>
                    <a:lnTo>
                      <a:pt x="1181" y="1374"/>
                    </a:lnTo>
                    <a:close/>
                    <a:moveTo>
                      <a:pt x="1208" y="1116"/>
                    </a:moveTo>
                    <a:lnTo>
                      <a:pt x="1210" y="1116"/>
                    </a:lnTo>
                    <a:lnTo>
                      <a:pt x="1210" y="1117"/>
                    </a:lnTo>
                    <a:lnTo>
                      <a:pt x="1208" y="1117"/>
                    </a:lnTo>
                    <a:lnTo>
                      <a:pt x="1208" y="1116"/>
                    </a:lnTo>
                    <a:close/>
                    <a:moveTo>
                      <a:pt x="1268" y="1521"/>
                    </a:moveTo>
                    <a:lnTo>
                      <a:pt x="1270" y="1521"/>
                    </a:lnTo>
                    <a:lnTo>
                      <a:pt x="1270" y="1524"/>
                    </a:lnTo>
                    <a:lnTo>
                      <a:pt x="1268" y="1524"/>
                    </a:lnTo>
                    <a:lnTo>
                      <a:pt x="1268" y="1521"/>
                    </a:lnTo>
                    <a:close/>
                    <a:moveTo>
                      <a:pt x="1162" y="1243"/>
                    </a:moveTo>
                    <a:lnTo>
                      <a:pt x="1164" y="1243"/>
                    </a:lnTo>
                    <a:lnTo>
                      <a:pt x="1164" y="1245"/>
                    </a:lnTo>
                    <a:lnTo>
                      <a:pt x="1162" y="1245"/>
                    </a:lnTo>
                    <a:lnTo>
                      <a:pt x="1162" y="1243"/>
                    </a:lnTo>
                    <a:close/>
                    <a:moveTo>
                      <a:pt x="1225" y="959"/>
                    </a:moveTo>
                    <a:lnTo>
                      <a:pt x="1227" y="959"/>
                    </a:lnTo>
                    <a:lnTo>
                      <a:pt x="1227" y="961"/>
                    </a:lnTo>
                    <a:lnTo>
                      <a:pt x="1225" y="961"/>
                    </a:lnTo>
                    <a:lnTo>
                      <a:pt x="1225" y="959"/>
                    </a:lnTo>
                    <a:close/>
                    <a:moveTo>
                      <a:pt x="1179" y="1424"/>
                    </a:moveTo>
                    <a:lnTo>
                      <a:pt x="1181" y="1424"/>
                    </a:lnTo>
                    <a:lnTo>
                      <a:pt x="1181" y="1425"/>
                    </a:lnTo>
                    <a:lnTo>
                      <a:pt x="1179" y="1425"/>
                    </a:lnTo>
                    <a:lnTo>
                      <a:pt x="1179" y="1424"/>
                    </a:lnTo>
                    <a:close/>
                    <a:moveTo>
                      <a:pt x="1154" y="1187"/>
                    </a:moveTo>
                    <a:lnTo>
                      <a:pt x="1156" y="1187"/>
                    </a:lnTo>
                    <a:lnTo>
                      <a:pt x="1154" y="1187"/>
                    </a:lnTo>
                    <a:close/>
                    <a:moveTo>
                      <a:pt x="1217" y="1553"/>
                    </a:moveTo>
                    <a:lnTo>
                      <a:pt x="1220" y="1553"/>
                    </a:lnTo>
                    <a:lnTo>
                      <a:pt x="1220" y="1555"/>
                    </a:lnTo>
                    <a:lnTo>
                      <a:pt x="1217" y="1555"/>
                    </a:lnTo>
                    <a:lnTo>
                      <a:pt x="1217" y="1553"/>
                    </a:lnTo>
                    <a:close/>
                    <a:moveTo>
                      <a:pt x="1164" y="1134"/>
                    </a:moveTo>
                    <a:lnTo>
                      <a:pt x="1166" y="1134"/>
                    </a:lnTo>
                    <a:lnTo>
                      <a:pt x="1166" y="1136"/>
                    </a:lnTo>
                    <a:lnTo>
                      <a:pt x="1164" y="1136"/>
                    </a:lnTo>
                    <a:lnTo>
                      <a:pt x="1164" y="1134"/>
                    </a:lnTo>
                    <a:close/>
                    <a:moveTo>
                      <a:pt x="1224" y="954"/>
                    </a:moveTo>
                    <a:lnTo>
                      <a:pt x="1225" y="954"/>
                    </a:lnTo>
                    <a:lnTo>
                      <a:pt x="1225" y="956"/>
                    </a:lnTo>
                    <a:lnTo>
                      <a:pt x="1224" y="956"/>
                    </a:lnTo>
                    <a:lnTo>
                      <a:pt x="1224" y="954"/>
                    </a:lnTo>
                    <a:close/>
                    <a:moveTo>
                      <a:pt x="1145" y="1252"/>
                    </a:moveTo>
                    <a:lnTo>
                      <a:pt x="1149" y="1252"/>
                    </a:lnTo>
                    <a:lnTo>
                      <a:pt x="1149" y="1253"/>
                    </a:lnTo>
                    <a:lnTo>
                      <a:pt x="1145" y="1253"/>
                    </a:lnTo>
                    <a:lnTo>
                      <a:pt x="1145" y="1252"/>
                    </a:lnTo>
                    <a:close/>
                    <a:moveTo>
                      <a:pt x="1169" y="1415"/>
                    </a:moveTo>
                    <a:lnTo>
                      <a:pt x="1171" y="1415"/>
                    </a:lnTo>
                    <a:lnTo>
                      <a:pt x="1171" y="1417"/>
                    </a:lnTo>
                    <a:lnTo>
                      <a:pt x="1169" y="1417"/>
                    </a:lnTo>
                    <a:lnTo>
                      <a:pt x="1169" y="1415"/>
                    </a:lnTo>
                    <a:close/>
                    <a:moveTo>
                      <a:pt x="1198" y="1427"/>
                    </a:moveTo>
                    <a:lnTo>
                      <a:pt x="1200" y="1427"/>
                    </a:lnTo>
                    <a:lnTo>
                      <a:pt x="1200" y="1429"/>
                    </a:lnTo>
                    <a:lnTo>
                      <a:pt x="1198" y="1429"/>
                    </a:lnTo>
                    <a:lnTo>
                      <a:pt x="1198" y="1427"/>
                    </a:lnTo>
                    <a:close/>
                    <a:moveTo>
                      <a:pt x="1186" y="1485"/>
                    </a:moveTo>
                    <a:lnTo>
                      <a:pt x="1188" y="1485"/>
                    </a:lnTo>
                    <a:lnTo>
                      <a:pt x="1188" y="1487"/>
                    </a:lnTo>
                    <a:lnTo>
                      <a:pt x="1186" y="1487"/>
                    </a:lnTo>
                    <a:lnTo>
                      <a:pt x="1186" y="1485"/>
                    </a:lnTo>
                    <a:close/>
                    <a:moveTo>
                      <a:pt x="1186" y="1459"/>
                    </a:moveTo>
                    <a:lnTo>
                      <a:pt x="1186" y="1461"/>
                    </a:lnTo>
                    <a:lnTo>
                      <a:pt x="1186" y="1459"/>
                    </a:lnTo>
                    <a:close/>
                    <a:moveTo>
                      <a:pt x="1185" y="1461"/>
                    </a:moveTo>
                    <a:lnTo>
                      <a:pt x="1186" y="1461"/>
                    </a:lnTo>
                    <a:lnTo>
                      <a:pt x="1186" y="1463"/>
                    </a:lnTo>
                    <a:lnTo>
                      <a:pt x="1185" y="1463"/>
                    </a:lnTo>
                    <a:lnTo>
                      <a:pt x="1185" y="1461"/>
                    </a:lnTo>
                    <a:close/>
                    <a:moveTo>
                      <a:pt x="1164" y="1242"/>
                    </a:moveTo>
                    <a:lnTo>
                      <a:pt x="1166" y="1242"/>
                    </a:lnTo>
                    <a:lnTo>
                      <a:pt x="1166" y="1243"/>
                    </a:lnTo>
                    <a:lnTo>
                      <a:pt x="1164" y="1243"/>
                    </a:lnTo>
                    <a:lnTo>
                      <a:pt x="1164" y="1242"/>
                    </a:lnTo>
                    <a:close/>
                    <a:moveTo>
                      <a:pt x="1241" y="1493"/>
                    </a:moveTo>
                    <a:lnTo>
                      <a:pt x="1242" y="1493"/>
                    </a:lnTo>
                    <a:lnTo>
                      <a:pt x="1242" y="1495"/>
                    </a:lnTo>
                    <a:lnTo>
                      <a:pt x="1241" y="1495"/>
                    </a:lnTo>
                    <a:lnTo>
                      <a:pt x="1241" y="1493"/>
                    </a:lnTo>
                    <a:close/>
                    <a:moveTo>
                      <a:pt x="1200" y="1250"/>
                    </a:moveTo>
                    <a:lnTo>
                      <a:pt x="1203" y="1250"/>
                    </a:lnTo>
                    <a:lnTo>
                      <a:pt x="1200" y="1250"/>
                    </a:lnTo>
                    <a:close/>
                    <a:moveTo>
                      <a:pt x="1208" y="1065"/>
                    </a:moveTo>
                    <a:lnTo>
                      <a:pt x="1210" y="1065"/>
                    </a:lnTo>
                    <a:lnTo>
                      <a:pt x="1210" y="1066"/>
                    </a:lnTo>
                    <a:lnTo>
                      <a:pt x="1208" y="1066"/>
                    </a:lnTo>
                    <a:lnTo>
                      <a:pt x="1208" y="1065"/>
                    </a:lnTo>
                    <a:close/>
                    <a:moveTo>
                      <a:pt x="1220" y="1555"/>
                    </a:moveTo>
                    <a:lnTo>
                      <a:pt x="1222" y="1555"/>
                    </a:lnTo>
                    <a:lnTo>
                      <a:pt x="1222" y="1556"/>
                    </a:lnTo>
                    <a:lnTo>
                      <a:pt x="1220" y="1556"/>
                    </a:lnTo>
                    <a:lnTo>
                      <a:pt x="1220" y="1555"/>
                    </a:lnTo>
                    <a:close/>
                    <a:moveTo>
                      <a:pt x="1203" y="1532"/>
                    </a:moveTo>
                    <a:lnTo>
                      <a:pt x="1207" y="1532"/>
                    </a:lnTo>
                    <a:lnTo>
                      <a:pt x="1207" y="1534"/>
                    </a:lnTo>
                    <a:lnTo>
                      <a:pt x="1203" y="1534"/>
                    </a:lnTo>
                    <a:lnTo>
                      <a:pt x="1203" y="1532"/>
                    </a:lnTo>
                    <a:close/>
                    <a:moveTo>
                      <a:pt x="1173" y="1391"/>
                    </a:moveTo>
                    <a:lnTo>
                      <a:pt x="1174" y="1391"/>
                    </a:lnTo>
                    <a:lnTo>
                      <a:pt x="1174" y="1393"/>
                    </a:lnTo>
                    <a:lnTo>
                      <a:pt x="1173" y="1393"/>
                    </a:lnTo>
                    <a:lnTo>
                      <a:pt x="1173" y="1391"/>
                    </a:lnTo>
                    <a:close/>
                    <a:moveTo>
                      <a:pt x="1200" y="1442"/>
                    </a:moveTo>
                    <a:lnTo>
                      <a:pt x="1202" y="1442"/>
                    </a:lnTo>
                    <a:lnTo>
                      <a:pt x="1202" y="1444"/>
                    </a:lnTo>
                    <a:lnTo>
                      <a:pt x="1200" y="1444"/>
                    </a:lnTo>
                    <a:lnTo>
                      <a:pt x="1200" y="1442"/>
                    </a:lnTo>
                    <a:close/>
                    <a:moveTo>
                      <a:pt x="1383" y="1663"/>
                    </a:moveTo>
                    <a:lnTo>
                      <a:pt x="1385" y="1663"/>
                    </a:lnTo>
                    <a:lnTo>
                      <a:pt x="1385" y="1665"/>
                    </a:lnTo>
                    <a:lnTo>
                      <a:pt x="1383" y="1665"/>
                    </a:lnTo>
                    <a:lnTo>
                      <a:pt x="1383" y="1663"/>
                    </a:lnTo>
                    <a:close/>
                    <a:moveTo>
                      <a:pt x="1343" y="1657"/>
                    </a:moveTo>
                    <a:lnTo>
                      <a:pt x="1344" y="1657"/>
                    </a:lnTo>
                    <a:lnTo>
                      <a:pt x="1344" y="1660"/>
                    </a:lnTo>
                    <a:lnTo>
                      <a:pt x="1343" y="1660"/>
                    </a:lnTo>
                    <a:lnTo>
                      <a:pt x="1343" y="1657"/>
                    </a:lnTo>
                    <a:close/>
                    <a:moveTo>
                      <a:pt x="1215" y="1105"/>
                    </a:moveTo>
                    <a:lnTo>
                      <a:pt x="1217" y="1105"/>
                    </a:lnTo>
                    <a:lnTo>
                      <a:pt x="1217" y="1109"/>
                    </a:lnTo>
                    <a:lnTo>
                      <a:pt x="1215" y="1109"/>
                    </a:lnTo>
                    <a:lnTo>
                      <a:pt x="1215" y="1105"/>
                    </a:lnTo>
                    <a:close/>
                    <a:moveTo>
                      <a:pt x="1210" y="1071"/>
                    </a:moveTo>
                    <a:lnTo>
                      <a:pt x="1210" y="1073"/>
                    </a:lnTo>
                    <a:lnTo>
                      <a:pt x="1210" y="1071"/>
                    </a:lnTo>
                    <a:close/>
                    <a:moveTo>
                      <a:pt x="1169" y="1481"/>
                    </a:moveTo>
                    <a:lnTo>
                      <a:pt x="1171" y="1481"/>
                    </a:lnTo>
                    <a:lnTo>
                      <a:pt x="1169" y="1481"/>
                    </a:lnTo>
                    <a:close/>
                    <a:moveTo>
                      <a:pt x="1154" y="1306"/>
                    </a:moveTo>
                    <a:lnTo>
                      <a:pt x="1156" y="1306"/>
                    </a:lnTo>
                    <a:lnTo>
                      <a:pt x="1156" y="1310"/>
                    </a:lnTo>
                    <a:lnTo>
                      <a:pt x="1154" y="1310"/>
                    </a:lnTo>
                    <a:lnTo>
                      <a:pt x="1154" y="1306"/>
                    </a:lnTo>
                    <a:close/>
                    <a:moveTo>
                      <a:pt x="1292" y="1577"/>
                    </a:moveTo>
                    <a:lnTo>
                      <a:pt x="1293" y="1577"/>
                    </a:lnTo>
                    <a:lnTo>
                      <a:pt x="1293" y="1578"/>
                    </a:lnTo>
                    <a:lnTo>
                      <a:pt x="1292" y="1578"/>
                    </a:lnTo>
                    <a:lnTo>
                      <a:pt x="1292" y="1577"/>
                    </a:lnTo>
                    <a:close/>
                    <a:moveTo>
                      <a:pt x="1227" y="997"/>
                    </a:moveTo>
                    <a:lnTo>
                      <a:pt x="1229" y="997"/>
                    </a:lnTo>
                    <a:lnTo>
                      <a:pt x="1229" y="998"/>
                    </a:lnTo>
                    <a:lnTo>
                      <a:pt x="1227" y="998"/>
                    </a:lnTo>
                    <a:lnTo>
                      <a:pt x="1227" y="997"/>
                    </a:lnTo>
                    <a:close/>
                    <a:moveTo>
                      <a:pt x="1151" y="1185"/>
                    </a:moveTo>
                    <a:lnTo>
                      <a:pt x="1152" y="1185"/>
                    </a:lnTo>
                    <a:lnTo>
                      <a:pt x="1152" y="1187"/>
                    </a:lnTo>
                    <a:lnTo>
                      <a:pt x="1151" y="1187"/>
                    </a:lnTo>
                    <a:lnTo>
                      <a:pt x="1151" y="1185"/>
                    </a:lnTo>
                    <a:close/>
                    <a:moveTo>
                      <a:pt x="1205" y="1478"/>
                    </a:moveTo>
                    <a:lnTo>
                      <a:pt x="1207" y="1478"/>
                    </a:lnTo>
                    <a:lnTo>
                      <a:pt x="1207" y="1480"/>
                    </a:lnTo>
                    <a:lnTo>
                      <a:pt x="1205" y="1480"/>
                    </a:lnTo>
                    <a:lnTo>
                      <a:pt x="1205" y="1478"/>
                    </a:lnTo>
                    <a:close/>
                    <a:moveTo>
                      <a:pt x="1169" y="1357"/>
                    </a:moveTo>
                    <a:lnTo>
                      <a:pt x="1171" y="1357"/>
                    </a:lnTo>
                    <a:lnTo>
                      <a:pt x="1169" y="1357"/>
                    </a:lnTo>
                    <a:close/>
                    <a:moveTo>
                      <a:pt x="1186" y="1071"/>
                    </a:moveTo>
                    <a:lnTo>
                      <a:pt x="1188" y="1071"/>
                    </a:lnTo>
                    <a:lnTo>
                      <a:pt x="1188" y="1073"/>
                    </a:lnTo>
                    <a:lnTo>
                      <a:pt x="1186" y="1073"/>
                    </a:lnTo>
                    <a:lnTo>
                      <a:pt x="1186" y="1071"/>
                    </a:lnTo>
                    <a:close/>
                    <a:moveTo>
                      <a:pt x="1198" y="1439"/>
                    </a:moveTo>
                    <a:lnTo>
                      <a:pt x="1198" y="1441"/>
                    </a:lnTo>
                    <a:lnTo>
                      <a:pt x="1198" y="1439"/>
                    </a:lnTo>
                    <a:close/>
                    <a:moveTo>
                      <a:pt x="1196" y="1485"/>
                    </a:moveTo>
                    <a:lnTo>
                      <a:pt x="1198" y="1485"/>
                    </a:lnTo>
                    <a:lnTo>
                      <a:pt x="1198" y="1488"/>
                    </a:lnTo>
                    <a:lnTo>
                      <a:pt x="1196" y="1488"/>
                    </a:lnTo>
                    <a:lnTo>
                      <a:pt x="1196" y="1485"/>
                    </a:lnTo>
                    <a:close/>
                    <a:moveTo>
                      <a:pt x="1300" y="1638"/>
                    </a:moveTo>
                    <a:lnTo>
                      <a:pt x="1302" y="1638"/>
                    </a:lnTo>
                    <a:lnTo>
                      <a:pt x="1302" y="1640"/>
                    </a:lnTo>
                    <a:lnTo>
                      <a:pt x="1300" y="1640"/>
                    </a:lnTo>
                    <a:lnTo>
                      <a:pt x="1300" y="1638"/>
                    </a:lnTo>
                    <a:close/>
                    <a:moveTo>
                      <a:pt x="1259" y="1595"/>
                    </a:moveTo>
                    <a:lnTo>
                      <a:pt x="1261" y="1595"/>
                    </a:lnTo>
                    <a:lnTo>
                      <a:pt x="1259" y="1595"/>
                    </a:lnTo>
                    <a:close/>
                    <a:moveTo>
                      <a:pt x="1168" y="1480"/>
                    </a:moveTo>
                    <a:lnTo>
                      <a:pt x="1169" y="1480"/>
                    </a:lnTo>
                    <a:lnTo>
                      <a:pt x="1169" y="1481"/>
                    </a:lnTo>
                    <a:lnTo>
                      <a:pt x="1168" y="1481"/>
                    </a:lnTo>
                    <a:lnTo>
                      <a:pt x="1168" y="1480"/>
                    </a:lnTo>
                    <a:close/>
                    <a:moveTo>
                      <a:pt x="1179" y="1458"/>
                    </a:moveTo>
                    <a:lnTo>
                      <a:pt x="1179" y="1459"/>
                    </a:lnTo>
                    <a:lnTo>
                      <a:pt x="1179" y="1458"/>
                    </a:lnTo>
                    <a:close/>
                    <a:moveTo>
                      <a:pt x="1331" y="1655"/>
                    </a:moveTo>
                    <a:lnTo>
                      <a:pt x="1332" y="1655"/>
                    </a:lnTo>
                    <a:lnTo>
                      <a:pt x="1332" y="1657"/>
                    </a:lnTo>
                    <a:lnTo>
                      <a:pt x="1331" y="1657"/>
                    </a:lnTo>
                    <a:lnTo>
                      <a:pt x="1331" y="1655"/>
                    </a:lnTo>
                    <a:close/>
                    <a:moveTo>
                      <a:pt x="1259" y="1558"/>
                    </a:moveTo>
                    <a:lnTo>
                      <a:pt x="1261" y="1558"/>
                    </a:lnTo>
                    <a:lnTo>
                      <a:pt x="1261" y="1560"/>
                    </a:lnTo>
                    <a:lnTo>
                      <a:pt x="1259" y="1560"/>
                    </a:lnTo>
                    <a:lnTo>
                      <a:pt x="1259" y="1558"/>
                    </a:lnTo>
                    <a:close/>
                    <a:moveTo>
                      <a:pt x="1164" y="1388"/>
                    </a:moveTo>
                    <a:lnTo>
                      <a:pt x="1166" y="1388"/>
                    </a:lnTo>
                    <a:lnTo>
                      <a:pt x="1166" y="1390"/>
                    </a:lnTo>
                    <a:lnTo>
                      <a:pt x="1164" y="1390"/>
                    </a:lnTo>
                    <a:lnTo>
                      <a:pt x="1164" y="1388"/>
                    </a:lnTo>
                    <a:close/>
                    <a:moveTo>
                      <a:pt x="1261" y="1607"/>
                    </a:moveTo>
                    <a:lnTo>
                      <a:pt x="1263" y="1607"/>
                    </a:lnTo>
                    <a:lnTo>
                      <a:pt x="1263" y="1609"/>
                    </a:lnTo>
                    <a:lnTo>
                      <a:pt x="1261" y="1609"/>
                    </a:lnTo>
                    <a:lnTo>
                      <a:pt x="1261" y="1607"/>
                    </a:lnTo>
                    <a:close/>
                    <a:moveTo>
                      <a:pt x="1246" y="1505"/>
                    </a:moveTo>
                    <a:lnTo>
                      <a:pt x="1247" y="1505"/>
                    </a:lnTo>
                    <a:lnTo>
                      <a:pt x="1247" y="1507"/>
                    </a:lnTo>
                    <a:lnTo>
                      <a:pt x="1246" y="1507"/>
                    </a:lnTo>
                    <a:lnTo>
                      <a:pt x="1246" y="1505"/>
                    </a:lnTo>
                    <a:close/>
                    <a:moveTo>
                      <a:pt x="1185" y="1427"/>
                    </a:moveTo>
                    <a:lnTo>
                      <a:pt x="1186" y="1427"/>
                    </a:lnTo>
                    <a:lnTo>
                      <a:pt x="1185" y="1427"/>
                    </a:lnTo>
                    <a:close/>
                    <a:moveTo>
                      <a:pt x="1186" y="1461"/>
                    </a:moveTo>
                    <a:lnTo>
                      <a:pt x="1188" y="1461"/>
                    </a:lnTo>
                    <a:lnTo>
                      <a:pt x="1188" y="1463"/>
                    </a:lnTo>
                    <a:lnTo>
                      <a:pt x="1186" y="1463"/>
                    </a:lnTo>
                    <a:lnTo>
                      <a:pt x="1186" y="1461"/>
                    </a:lnTo>
                    <a:close/>
                    <a:moveTo>
                      <a:pt x="1236" y="995"/>
                    </a:moveTo>
                    <a:lnTo>
                      <a:pt x="1236" y="997"/>
                    </a:lnTo>
                    <a:lnTo>
                      <a:pt x="1236" y="995"/>
                    </a:lnTo>
                    <a:close/>
                    <a:moveTo>
                      <a:pt x="1196" y="1437"/>
                    </a:moveTo>
                    <a:lnTo>
                      <a:pt x="1198" y="1437"/>
                    </a:lnTo>
                    <a:lnTo>
                      <a:pt x="1198" y="1439"/>
                    </a:lnTo>
                    <a:lnTo>
                      <a:pt x="1196" y="1439"/>
                    </a:lnTo>
                    <a:lnTo>
                      <a:pt x="1196" y="1437"/>
                    </a:lnTo>
                    <a:close/>
                    <a:moveTo>
                      <a:pt x="1171" y="1390"/>
                    </a:moveTo>
                    <a:lnTo>
                      <a:pt x="1173" y="1390"/>
                    </a:lnTo>
                    <a:lnTo>
                      <a:pt x="1173" y="1391"/>
                    </a:lnTo>
                    <a:lnTo>
                      <a:pt x="1171" y="1391"/>
                    </a:lnTo>
                    <a:lnTo>
                      <a:pt x="1171" y="1390"/>
                    </a:lnTo>
                    <a:close/>
                    <a:moveTo>
                      <a:pt x="1191" y="1119"/>
                    </a:moveTo>
                    <a:lnTo>
                      <a:pt x="1191" y="1121"/>
                    </a:lnTo>
                    <a:lnTo>
                      <a:pt x="1191" y="1119"/>
                    </a:lnTo>
                    <a:close/>
                    <a:moveTo>
                      <a:pt x="1191" y="1061"/>
                    </a:moveTo>
                    <a:lnTo>
                      <a:pt x="1191" y="1063"/>
                    </a:lnTo>
                    <a:lnTo>
                      <a:pt x="1191" y="1061"/>
                    </a:lnTo>
                    <a:close/>
                    <a:moveTo>
                      <a:pt x="1212" y="1107"/>
                    </a:moveTo>
                    <a:lnTo>
                      <a:pt x="1213" y="1107"/>
                    </a:lnTo>
                    <a:lnTo>
                      <a:pt x="1213" y="1109"/>
                    </a:lnTo>
                    <a:lnTo>
                      <a:pt x="1212" y="1109"/>
                    </a:lnTo>
                    <a:lnTo>
                      <a:pt x="1212" y="1107"/>
                    </a:lnTo>
                    <a:close/>
                    <a:moveTo>
                      <a:pt x="1212" y="1524"/>
                    </a:moveTo>
                    <a:lnTo>
                      <a:pt x="1213" y="1524"/>
                    </a:lnTo>
                    <a:lnTo>
                      <a:pt x="1213" y="1526"/>
                    </a:lnTo>
                    <a:lnTo>
                      <a:pt x="1212" y="1526"/>
                    </a:lnTo>
                    <a:lnTo>
                      <a:pt x="1212" y="1524"/>
                    </a:lnTo>
                    <a:close/>
                    <a:moveTo>
                      <a:pt x="1212" y="1558"/>
                    </a:moveTo>
                    <a:lnTo>
                      <a:pt x="1213" y="1558"/>
                    </a:lnTo>
                    <a:lnTo>
                      <a:pt x="1213" y="1560"/>
                    </a:lnTo>
                    <a:lnTo>
                      <a:pt x="1212" y="1560"/>
                    </a:lnTo>
                    <a:lnTo>
                      <a:pt x="1212" y="1558"/>
                    </a:lnTo>
                    <a:close/>
                    <a:moveTo>
                      <a:pt x="1179" y="1420"/>
                    </a:moveTo>
                    <a:lnTo>
                      <a:pt x="1179" y="1422"/>
                    </a:lnTo>
                    <a:lnTo>
                      <a:pt x="1179" y="1420"/>
                    </a:lnTo>
                    <a:close/>
                    <a:moveTo>
                      <a:pt x="1440" y="1650"/>
                    </a:moveTo>
                    <a:lnTo>
                      <a:pt x="1440" y="1652"/>
                    </a:lnTo>
                    <a:lnTo>
                      <a:pt x="1440" y="1650"/>
                    </a:lnTo>
                    <a:close/>
                    <a:moveTo>
                      <a:pt x="1208" y="1243"/>
                    </a:moveTo>
                    <a:lnTo>
                      <a:pt x="1210" y="1243"/>
                    </a:lnTo>
                    <a:lnTo>
                      <a:pt x="1208" y="1243"/>
                    </a:lnTo>
                    <a:close/>
                    <a:moveTo>
                      <a:pt x="1293" y="1616"/>
                    </a:moveTo>
                    <a:lnTo>
                      <a:pt x="1295" y="1616"/>
                    </a:lnTo>
                    <a:lnTo>
                      <a:pt x="1293" y="1616"/>
                    </a:lnTo>
                    <a:close/>
                    <a:moveTo>
                      <a:pt x="1341" y="1648"/>
                    </a:moveTo>
                    <a:lnTo>
                      <a:pt x="1343" y="1648"/>
                    </a:lnTo>
                    <a:lnTo>
                      <a:pt x="1343" y="1650"/>
                    </a:lnTo>
                    <a:lnTo>
                      <a:pt x="1341" y="1650"/>
                    </a:lnTo>
                    <a:lnTo>
                      <a:pt x="1341" y="1648"/>
                    </a:lnTo>
                    <a:close/>
                    <a:moveTo>
                      <a:pt x="1185" y="1463"/>
                    </a:moveTo>
                    <a:lnTo>
                      <a:pt x="1186" y="1463"/>
                    </a:lnTo>
                    <a:lnTo>
                      <a:pt x="1186" y="1464"/>
                    </a:lnTo>
                    <a:lnTo>
                      <a:pt x="1185" y="1464"/>
                    </a:lnTo>
                    <a:lnTo>
                      <a:pt x="1185" y="1463"/>
                    </a:lnTo>
                    <a:close/>
                    <a:moveTo>
                      <a:pt x="1212" y="1100"/>
                    </a:moveTo>
                    <a:lnTo>
                      <a:pt x="1213" y="1100"/>
                    </a:lnTo>
                    <a:lnTo>
                      <a:pt x="1213" y="1102"/>
                    </a:lnTo>
                    <a:lnTo>
                      <a:pt x="1212" y="1102"/>
                    </a:lnTo>
                    <a:lnTo>
                      <a:pt x="1212" y="1100"/>
                    </a:lnTo>
                    <a:close/>
                    <a:moveTo>
                      <a:pt x="1166" y="1337"/>
                    </a:moveTo>
                    <a:lnTo>
                      <a:pt x="1166" y="1339"/>
                    </a:lnTo>
                    <a:lnTo>
                      <a:pt x="1166" y="1337"/>
                    </a:lnTo>
                    <a:close/>
                    <a:moveTo>
                      <a:pt x="1185" y="1441"/>
                    </a:moveTo>
                    <a:lnTo>
                      <a:pt x="1186" y="1441"/>
                    </a:lnTo>
                    <a:lnTo>
                      <a:pt x="1186" y="1442"/>
                    </a:lnTo>
                    <a:lnTo>
                      <a:pt x="1185" y="1442"/>
                    </a:lnTo>
                    <a:lnTo>
                      <a:pt x="1185" y="1441"/>
                    </a:lnTo>
                    <a:close/>
                    <a:moveTo>
                      <a:pt x="1212" y="1260"/>
                    </a:moveTo>
                    <a:lnTo>
                      <a:pt x="1213" y="1260"/>
                    </a:lnTo>
                    <a:lnTo>
                      <a:pt x="1212" y="1260"/>
                    </a:lnTo>
                    <a:close/>
                    <a:moveTo>
                      <a:pt x="1225" y="956"/>
                    </a:moveTo>
                    <a:lnTo>
                      <a:pt x="1227" y="956"/>
                    </a:lnTo>
                    <a:lnTo>
                      <a:pt x="1227" y="957"/>
                    </a:lnTo>
                    <a:lnTo>
                      <a:pt x="1225" y="957"/>
                    </a:lnTo>
                    <a:lnTo>
                      <a:pt x="1225" y="956"/>
                    </a:lnTo>
                    <a:close/>
                    <a:moveTo>
                      <a:pt x="1270" y="1614"/>
                    </a:moveTo>
                    <a:lnTo>
                      <a:pt x="1271" y="1614"/>
                    </a:lnTo>
                    <a:lnTo>
                      <a:pt x="1270" y="1614"/>
                    </a:lnTo>
                    <a:close/>
                    <a:moveTo>
                      <a:pt x="1326" y="1635"/>
                    </a:moveTo>
                    <a:lnTo>
                      <a:pt x="1327" y="1635"/>
                    </a:lnTo>
                    <a:lnTo>
                      <a:pt x="1326" y="1635"/>
                    </a:lnTo>
                    <a:close/>
                    <a:moveTo>
                      <a:pt x="1159" y="1415"/>
                    </a:moveTo>
                    <a:lnTo>
                      <a:pt x="1159" y="1417"/>
                    </a:lnTo>
                    <a:lnTo>
                      <a:pt x="1159" y="1415"/>
                    </a:lnTo>
                    <a:close/>
                    <a:moveTo>
                      <a:pt x="1196" y="1430"/>
                    </a:moveTo>
                    <a:lnTo>
                      <a:pt x="1198" y="1430"/>
                    </a:lnTo>
                    <a:lnTo>
                      <a:pt x="1198" y="1432"/>
                    </a:lnTo>
                    <a:lnTo>
                      <a:pt x="1196" y="1432"/>
                    </a:lnTo>
                    <a:lnTo>
                      <a:pt x="1196" y="1430"/>
                    </a:lnTo>
                    <a:close/>
                    <a:moveTo>
                      <a:pt x="1208" y="1141"/>
                    </a:moveTo>
                    <a:lnTo>
                      <a:pt x="1208" y="1143"/>
                    </a:lnTo>
                    <a:lnTo>
                      <a:pt x="1208" y="1141"/>
                    </a:lnTo>
                    <a:close/>
                    <a:moveTo>
                      <a:pt x="1263" y="1597"/>
                    </a:moveTo>
                    <a:lnTo>
                      <a:pt x="1264" y="1597"/>
                    </a:lnTo>
                    <a:lnTo>
                      <a:pt x="1264" y="1599"/>
                    </a:lnTo>
                    <a:lnTo>
                      <a:pt x="1263" y="1599"/>
                    </a:lnTo>
                    <a:lnTo>
                      <a:pt x="1263" y="1597"/>
                    </a:lnTo>
                    <a:close/>
                    <a:moveTo>
                      <a:pt x="1225" y="1563"/>
                    </a:moveTo>
                    <a:lnTo>
                      <a:pt x="1227" y="1563"/>
                    </a:lnTo>
                    <a:lnTo>
                      <a:pt x="1225" y="1563"/>
                    </a:lnTo>
                    <a:lnTo>
                      <a:pt x="1224" y="1563"/>
                    </a:lnTo>
                    <a:lnTo>
                      <a:pt x="1225" y="1563"/>
                    </a:lnTo>
                    <a:close/>
                    <a:moveTo>
                      <a:pt x="1256" y="1592"/>
                    </a:moveTo>
                    <a:lnTo>
                      <a:pt x="1258" y="1592"/>
                    </a:lnTo>
                    <a:lnTo>
                      <a:pt x="1258" y="1594"/>
                    </a:lnTo>
                    <a:lnTo>
                      <a:pt x="1256" y="1594"/>
                    </a:lnTo>
                    <a:lnTo>
                      <a:pt x="1256" y="1592"/>
                    </a:lnTo>
                    <a:close/>
                    <a:moveTo>
                      <a:pt x="1203" y="1134"/>
                    </a:moveTo>
                    <a:lnTo>
                      <a:pt x="1203" y="1136"/>
                    </a:lnTo>
                    <a:lnTo>
                      <a:pt x="1203" y="1134"/>
                    </a:lnTo>
                    <a:close/>
                    <a:moveTo>
                      <a:pt x="1205" y="1073"/>
                    </a:moveTo>
                    <a:lnTo>
                      <a:pt x="1207" y="1073"/>
                    </a:lnTo>
                    <a:lnTo>
                      <a:pt x="1205" y="1073"/>
                    </a:lnTo>
                    <a:close/>
                    <a:moveTo>
                      <a:pt x="1229" y="1583"/>
                    </a:moveTo>
                    <a:lnTo>
                      <a:pt x="1230" y="1583"/>
                    </a:lnTo>
                    <a:lnTo>
                      <a:pt x="1230" y="1585"/>
                    </a:lnTo>
                    <a:lnTo>
                      <a:pt x="1229" y="1585"/>
                    </a:lnTo>
                    <a:lnTo>
                      <a:pt x="1229" y="1583"/>
                    </a:lnTo>
                    <a:close/>
                    <a:moveTo>
                      <a:pt x="1287" y="1595"/>
                    </a:moveTo>
                    <a:lnTo>
                      <a:pt x="1288" y="1595"/>
                    </a:lnTo>
                    <a:lnTo>
                      <a:pt x="1288" y="1597"/>
                    </a:lnTo>
                    <a:lnTo>
                      <a:pt x="1287" y="1597"/>
                    </a:lnTo>
                    <a:lnTo>
                      <a:pt x="1287" y="1595"/>
                    </a:lnTo>
                    <a:close/>
                    <a:moveTo>
                      <a:pt x="1230" y="1572"/>
                    </a:moveTo>
                    <a:lnTo>
                      <a:pt x="1232" y="1572"/>
                    </a:lnTo>
                    <a:lnTo>
                      <a:pt x="1232" y="1573"/>
                    </a:lnTo>
                    <a:lnTo>
                      <a:pt x="1230" y="1573"/>
                    </a:lnTo>
                    <a:lnTo>
                      <a:pt x="1230" y="1572"/>
                    </a:lnTo>
                    <a:close/>
                    <a:moveTo>
                      <a:pt x="1297" y="1611"/>
                    </a:moveTo>
                    <a:lnTo>
                      <a:pt x="1297" y="1612"/>
                    </a:lnTo>
                    <a:lnTo>
                      <a:pt x="1297" y="1611"/>
                    </a:lnTo>
                    <a:close/>
                    <a:moveTo>
                      <a:pt x="1230" y="940"/>
                    </a:moveTo>
                    <a:lnTo>
                      <a:pt x="1232" y="940"/>
                    </a:lnTo>
                    <a:lnTo>
                      <a:pt x="1232" y="942"/>
                    </a:lnTo>
                    <a:lnTo>
                      <a:pt x="1230" y="942"/>
                    </a:lnTo>
                    <a:lnTo>
                      <a:pt x="1230" y="940"/>
                    </a:lnTo>
                    <a:close/>
                    <a:moveTo>
                      <a:pt x="1191" y="1461"/>
                    </a:moveTo>
                    <a:lnTo>
                      <a:pt x="1193" y="1461"/>
                    </a:lnTo>
                    <a:lnTo>
                      <a:pt x="1193" y="1463"/>
                    </a:lnTo>
                    <a:lnTo>
                      <a:pt x="1191" y="1463"/>
                    </a:lnTo>
                    <a:lnTo>
                      <a:pt x="1191" y="1461"/>
                    </a:lnTo>
                    <a:close/>
                    <a:moveTo>
                      <a:pt x="1186" y="1424"/>
                    </a:moveTo>
                    <a:lnTo>
                      <a:pt x="1186" y="1425"/>
                    </a:lnTo>
                    <a:lnTo>
                      <a:pt x="1186" y="1424"/>
                    </a:lnTo>
                    <a:close/>
                    <a:moveTo>
                      <a:pt x="1263" y="1614"/>
                    </a:moveTo>
                    <a:lnTo>
                      <a:pt x="1263" y="1616"/>
                    </a:lnTo>
                    <a:lnTo>
                      <a:pt x="1263" y="1614"/>
                    </a:lnTo>
                    <a:close/>
                    <a:moveTo>
                      <a:pt x="1176" y="1468"/>
                    </a:moveTo>
                    <a:lnTo>
                      <a:pt x="1178" y="1468"/>
                    </a:lnTo>
                    <a:lnTo>
                      <a:pt x="1178" y="1470"/>
                    </a:lnTo>
                    <a:lnTo>
                      <a:pt x="1176" y="1470"/>
                    </a:lnTo>
                    <a:lnTo>
                      <a:pt x="1176" y="1468"/>
                    </a:lnTo>
                    <a:close/>
                    <a:moveTo>
                      <a:pt x="1358" y="1646"/>
                    </a:moveTo>
                    <a:lnTo>
                      <a:pt x="1360" y="1646"/>
                    </a:lnTo>
                    <a:lnTo>
                      <a:pt x="1358" y="1646"/>
                    </a:lnTo>
                    <a:close/>
                    <a:moveTo>
                      <a:pt x="1162" y="1143"/>
                    </a:moveTo>
                    <a:lnTo>
                      <a:pt x="1164" y="1143"/>
                    </a:lnTo>
                    <a:lnTo>
                      <a:pt x="1162" y="1143"/>
                    </a:lnTo>
                    <a:close/>
                    <a:moveTo>
                      <a:pt x="1385" y="1662"/>
                    </a:moveTo>
                    <a:lnTo>
                      <a:pt x="1387" y="1662"/>
                    </a:lnTo>
                    <a:lnTo>
                      <a:pt x="1387" y="1663"/>
                    </a:lnTo>
                    <a:lnTo>
                      <a:pt x="1385" y="1663"/>
                    </a:lnTo>
                    <a:lnTo>
                      <a:pt x="1385" y="1662"/>
                    </a:lnTo>
                    <a:close/>
                    <a:moveTo>
                      <a:pt x="1173" y="1240"/>
                    </a:moveTo>
                    <a:lnTo>
                      <a:pt x="1174" y="1240"/>
                    </a:lnTo>
                    <a:lnTo>
                      <a:pt x="1174" y="1242"/>
                    </a:lnTo>
                    <a:lnTo>
                      <a:pt x="1173" y="1242"/>
                    </a:lnTo>
                    <a:lnTo>
                      <a:pt x="1173" y="1240"/>
                    </a:lnTo>
                    <a:close/>
                    <a:moveTo>
                      <a:pt x="1212" y="1111"/>
                    </a:moveTo>
                    <a:lnTo>
                      <a:pt x="1213" y="1111"/>
                    </a:lnTo>
                    <a:lnTo>
                      <a:pt x="1213" y="1112"/>
                    </a:lnTo>
                    <a:lnTo>
                      <a:pt x="1212" y="1112"/>
                    </a:lnTo>
                    <a:lnTo>
                      <a:pt x="1212" y="1111"/>
                    </a:lnTo>
                    <a:close/>
                    <a:moveTo>
                      <a:pt x="1375" y="1663"/>
                    </a:moveTo>
                    <a:lnTo>
                      <a:pt x="1377" y="1663"/>
                    </a:lnTo>
                    <a:lnTo>
                      <a:pt x="1377" y="1665"/>
                    </a:lnTo>
                    <a:lnTo>
                      <a:pt x="1375" y="1665"/>
                    </a:lnTo>
                    <a:lnTo>
                      <a:pt x="1375" y="1663"/>
                    </a:lnTo>
                    <a:close/>
                    <a:moveTo>
                      <a:pt x="1227" y="1572"/>
                    </a:moveTo>
                    <a:lnTo>
                      <a:pt x="1229" y="1572"/>
                    </a:lnTo>
                    <a:lnTo>
                      <a:pt x="1227" y="1572"/>
                    </a:lnTo>
                    <a:close/>
                    <a:moveTo>
                      <a:pt x="1225" y="1577"/>
                    </a:moveTo>
                    <a:lnTo>
                      <a:pt x="1227" y="1577"/>
                    </a:lnTo>
                    <a:lnTo>
                      <a:pt x="1225" y="1577"/>
                    </a:lnTo>
                    <a:close/>
                    <a:moveTo>
                      <a:pt x="1174" y="1100"/>
                    </a:moveTo>
                    <a:lnTo>
                      <a:pt x="1176" y="1100"/>
                    </a:lnTo>
                    <a:lnTo>
                      <a:pt x="1176" y="1102"/>
                    </a:lnTo>
                    <a:lnTo>
                      <a:pt x="1174" y="1102"/>
                    </a:lnTo>
                    <a:lnTo>
                      <a:pt x="1174" y="1100"/>
                    </a:lnTo>
                    <a:close/>
                    <a:moveTo>
                      <a:pt x="1278" y="423"/>
                    </a:moveTo>
                    <a:lnTo>
                      <a:pt x="1278" y="425"/>
                    </a:lnTo>
                    <a:lnTo>
                      <a:pt x="1278" y="423"/>
                    </a:lnTo>
                    <a:close/>
                    <a:moveTo>
                      <a:pt x="1208" y="1124"/>
                    </a:moveTo>
                    <a:lnTo>
                      <a:pt x="1210" y="1124"/>
                    </a:lnTo>
                    <a:lnTo>
                      <a:pt x="1210" y="1126"/>
                    </a:lnTo>
                    <a:lnTo>
                      <a:pt x="1208" y="1126"/>
                    </a:lnTo>
                    <a:lnTo>
                      <a:pt x="1208" y="1124"/>
                    </a:lnTo>
                    <a:close/>
                    <a:moveTo>
                      <a:pt x="1304" y="1638"/>
                    </a:moveTo>
                    <a:lnTo>
                      <a:pt x="1304" y="1640"/>
                    </a:lnTo>
                    <a:lnTo>
                      <a:pt x="1304" y="1638"/>
                    </a:lnTo>
                    <a:close/>
                    <a:moveTo>
                      <a:pt x="1222" y="1066"/>
                    </a:moveTo>
                    <a:lnTo>
                      <a:pt x="1224" y="1066"/>
                    </a:lnTo>
                    <a:lnTo>
                      <a:pt x="1224" y="1068"/>
                    </a:lnTo>
                    <a:lnTo>
                      <a:pt x="1222" y="1068"/>
                    </a:lnTo>
                    <a:lnTo>
                      <a:pt x="1222" y="1066"/>
                    </a:lnTo>
                    <a:close/>
                    <a:moveTo>
                      <a:pt x="1258" y="1568"/>
                    </a:moveTo>
                    <a:lnTo>
                      <a:pt x="1258" y="1570"/>
                    </a:lnTo>
                    <a:lnTo>
                      <a:pt x="1258" y="1568"/>
                    </a:lnTo>
                    <a:close/>
                    <a:moveTo>
                      <a:pt x="1174" y="1117"/>
                    </a:moveTo>
                    <a:lnTo>
                      <a:pt x="1176" y="1117"/>
                    </a:lnTo>
                    <a:lnTo>
                      <a:pt x="1176" y="1119"/>
                    </a:lnTo>
                    <a:lnTo>
                      <a:pt x="1174" y="1119"/>
                    </a:lnTo>
                    <a:lnTo>
                      <a:pt x="1174" y="1117"/>
                    </a:lnTo>
                    <a:close/>
                    <a:moveTo>
                      <a:pt x="1185" y="1400"/>
                    </a:moveTo>
                    <a:lnTo>
                      <a:pt x="1185" y="1401"/>
                    </a:lnTo>
                    <a:lnTo>
                      <a:pt x="1185" y="1400"/>
                    </a:lnTo>
                    <a:close/>
                    <a:moveTo>
                      <a:pt x="1213" y="1519"/>
                    </a:moveTo>
                    <a:lnTo>
                      <a:pt x="1215" y="1519"/>
                    </a:lnTo>
                    <a:lnTo>
                      <a:pt x="1215" y="1521"/>
                    </a:lnTo>
                    <a:lnTo>
                      <a:pt x="1213" y="1521"/>
                    </a:lnTo>
                    <a:lnTo>
                      <a:pt x="1213" y="1519"/>
                    </a:lnTo>
                    <a:close/>
                    <a:moveTo>
                      <a:pt x="1219" y="1543"/>
                    </a:moveTo>
                    <a:lnTo>
                      <a:pt x="1220" y="1543"/>
                    </a:lnTo>
                    <a:lnTo>
                      <a:pt x="1220" y="1544"/>
                    </a:lnTo>
                    <a:lnTo>
                      <a:pt x="1219" y="1544"/>
                    </a:lnTo>
                    <a:lnTo>
                      <a:pt x="1219" y="1543"/>
                    </a:lnTo>
                    <a:close/>
                    <a:moveTo>
                      <a:pt x="1205" y="1066"/>
                    </a:moveTo>
                    <a:lnTo>
                      <a:pt x="1205" y="1068"/>
                    </a:lnTo>
                    <a:lnTo>
                      <a:pt x="1205" y="1066"/>
                    </a:lnTo>
                    <a:close/>
                    <a:moveTo>
                      <a:pt x="1191" y="1126"/>
                    </a:moveTo>
                    <a:lnTo>
                      <a:pt x="1193" y="1126"/>
                    </a:lnTo>
                    <a:lnTo>
                      <a:pt x="1193" y="1128"/>
                    </a:lnTo>
                    <a:lnTo>
                      <a:pt x="1191" y="1128"/>
                    </a:lnTo>
                    <a:lnTo>
                      <a:pt x="1191" y="1126"/>
                    </a:lnTo>
                    <a:close/>
                    <a:moveTo>
                      <a:pt x="1176" y="1441"/>
                    </a:moveTo>
                    <a:lnTo>
                      <a:pt x="1179" y="1441"/>
                    </a:lnTo>
                    <a:lnTo>
                      <a:pt x="1179" y="1442"/>
                    </a:lnTo>
                    <a:lnTo>
                      <a:pt x="1176" y="1442"/>
                    </a:lnTo>
                    <a:lnTo>
                      <a:pt x="1176" y="1441"/>
                    </a:lnTo>
                    <a:close/>
                    <a:moveTo>
                      <a:pt x="1227" y="730"/>
                    </a:moveTo>
                    <a:lnTo>
                      <a:pt x="1229" y="730"/>
                    </a:lnTo>
                    <a:lnTo>
                      <a:pt x="1229" y="731"/>
                    </a:lnTo>
                    <a:lnTo>
                      <a:pt x="1227" y="731"/>
                    </a:lnTo>
                    <a:lnTo>
                      <a:pt x="1227" y="730"/>
                    </a:lnTo>
                    <a:close/>
                    <a:moveTo>
                      <a:pt x="1195" y="1048"/>
                    </a:moveTo>
                    <a:lnTo>
                      <a:pt x="1196" y="1048"/>
                    </a:lnTo>
                    <a:lnTo>
                      <a:pt x="1195" y="1048"/>
                    </a:lnTo>
                    <a:close/>
                    <a:moveTo>
                      <a:pt x="1207" y="1060"/>
                    </a:moveTo>
                    <a:lnTo>
                      <a:pt x="1208" y="1060"/>
                    </a:lnTo>
                    <a:lnTo>
                      <a:pt x="1208" y="1061"/>
                    </a:lnTo>
                    <a:lnTo>
                      <a:pt x="1207" y="1061"/>
                    </a:lnTo>
                    <a:lnTo>
                      <a:pt x="1207" y="1060"/>
                    </a:lnTo>
                    <a:close/>
                    <a:moveTo>
                      <a:pt x="1207" y="1102"/>
                    </a:moveTo>
                    <a:lnTo>
                      <a:pt x="1208" y="1102"/>
                    </a:lnTo>
                    <a:lnTo>
                      <a:pt x="1208" y="1104"/>
                    </a:lnTo>
                    <a:lnTo>
                      <a:pt x="1207" y="1104"/>
                    </a:lnTo>
                    <a:lnTo>
                      <a:pt x="1207" y="1102"/>
                    </a:lnTo>
                    <a:close/>
                    <a:moveTo>
                      <a:pt x="1166" y="1136"/>
                    </a:moveTo>
                    <a:lnTo>
                      <a:pt x="1168" y="1136"/>
                    </a:lnTo>
                    <a:lnTo>
                      <a:pt x="1168" y="1138"/>
                    </a:lnTo>
                    <a:lnTo>
                      <a:pt x="1166" y="1138"/>
                    </a:lnTo>
                    <a:lnTo>
                      <a:pt x="1166" y="1136"/>
                    </a:lnTo>
                    <a:close/>
                    <a:moveTo>
                      <a:pt x="1178" y="1277"/>
                    </a:moveTo>
                    <a:lnTo>
                      <a:pt x="1178" y="1281"/>
                    </a:lnTo>
                    <a:lnTo>
                      <a:pt x="1178" y="1277"/>
                    </a:lnTo>
                    <a:close/>
                    <a:moveTo>
                      <a:pt x="1188" y="1483"/>
                    </a:moveTo>
                    <a:lnTo>
                      <a:pt x="1190" y="1483"/>
                    </a:lnTo>
                    <a:lnTo>
                      <a:pt x="1188" y="1483"/>
                    </a:lnTo>
                    <a:close/>
                    <a:moveTo>
                      <a:pt x="1178" y="1373"/>
                    </a:moveTo>
                    <a:lnTo>
                      <a:pt x="1178" y="1374"/>
                    </a:lnTo>
                    <a:lnTo>
                      <a:pt x="1178" y="1373"/>
                    </a:lnTo>
                    <a:close/>
                    <a:moveTo>
                      <a:pt x="1389" y="1663"/>
                    </a:moveTo>
                    <a:lnTo>
                      <a:pt x="1389" y="1665"/>
                    </a:lnTo>
                    <a:lnTo>
                      <a:pt x="1389" y="1663"/>
                    </a:lnTo>
                    <a:close/>
                    <a:moveTo>
                      <a:pt x="1417" y="1684"/>
                    </a:moveTo>
                    <a:lnTo>
                      <a:pt x="1419" y="1684"/>
                    </a:lnTo>
                    <a:lnTo>
                      <a:pt x="1419" y="1686"/>
                    </a:lnTo>
                    <a:lnTo>
                      <a:pt x="1417" y="1686"/>
                    </a:lnTo>
                    <a:lnTo>
                      <a:pt x="1417" y="1684"/>
                    </a:lnTo>
                    <a:close/>
                    <a:moveTo>
                      <a:pt x="1181" y="1481"/>
                    </a:moveTo>
                    <a:lnTo>
                      <a:pt x="1183" y="1481"/>
                    </a:lnTo>
                    <a:lnTo>
                      <a:pt x="1181" y="1481"/>
                    </a:lnTo>
                    <a:close/>
                    <a:moveTo>
                      <a:pt x="1213" y="1070"/>
                    </a:moveTo>
                    <a:lnTo>
                      <a:pt x="1213" y="1071"/>
                    </a:lnTo>
                    <a:lnTo>
                      <a:pt x="1213" y="1070"/>
                    </a:lnTo>
                    <a:close/>
                    <a:moveTo>
                      <a:pt x="1225" y="1570"/>
                    </a:moveTo>
                    <a:lnTo>
                      <a:pt x="1227" y="1570"/>
                    </a:lnTo>
                    <a:lnTo>
                      <a:pt x="1225" y="1570"/>
                    </a:lnTo>
                    <a:close/>
                    <a:moveTo>
                      <a:pt x="1145" y="1332"/>
                    </a:moveTo>
                    <a:lnTo>
                      <a:pt x="1145" y="1333"/>
                    </a:lnTo>
                    <a:lnTo>
                      <a:pt x="1145" y="1332"/>
                    </a:lnTo>
                    <a:close/>
                    <a:moveTo>
                      <a:pt x="1236" y="1075"/>
                    </a:moveTo>
                    <a:lnTo>
                      <a:pt x="1237" y="1075"/>
                    </a:lnTo>
                    <a:lnTo>
                      <a:pt x="1237" y="1077"/>
                    </a:lnTo>
                    <a:lnTo>
                      <a:pt x="1236" y="1077"/>
                    </a:lnTo>
                    <a:lnTo>
                      <a:pt x="1236" y="1075"/>
                    </a:lnTo>
                    <a:close/>
                    <a:moveTo>
                      <a:pt x="1164" y="1332"/>
                    </a:moveTo>
                    <a:lnTo>
                      <a:pt x="1166" y="1332"/>
                    </a:lnTo>
                    <a:lnTo>
                      <a:pt x="1166" y="1333"/>
                    </a:lnTo>
                    <a:lnTo>
                      <a:pt x="1164" y="1333"/>
                    </a:lnTo>
                    <a:lnTo>
                      <a:pt x="1164" y="1332"/>
                    </a:lnTo>
                    <a:close/>
                    <a:moveTo>
                      <a:pt x="1162" y="1357"/>
                    </a:moveTo>
                    <a:lnTo>
                      <a:pt x="1162" y="1359"/>
                    </a:lnTo>
                    <a:lnTo>
                      <a:pt x="1162" y="1357"/>
                    </a:lnTo>
                    <a:close/>
                    <a:moveTo>
                      <a:pt x="1280" y="1614"/>
                    </a:moveTo>
                    <a:lnTo>
                      <a:pt x="1281" y="1614"/>
                    </a:lnTo>
                    <a:lnTo>
                      <a:pt x="1281" y="1616"/>
                    </a:lnTo>
                    <a:lnTo>
                      <a:pt x="1280" y="1616"/>
                    </a:lnTo>
                    <a:lnTo>
                      <a:pt x="1280" y="1614"/>
                    </a:lnTo>
                    <a:close/>
                    <a:moveTo>
                      <a:pt x="1185" y="1458"/>
                    </a:moveTo>
                    <a:lnTo>
                      <a:pt x="1186" y="1458"/>
                    </a:lnTo>
                    <a:lnTo>
                      <a:pt x="1186" y="1459"/>
                    </a:lnTo>
                    <a:lnTo>
                      <a:pt x="1185" y="1459"/>
                    </a:lnTo>
                    <a:lnTo>
                      <a:pt x="1185" y="1458"/>
                    </a:lnTo>
                    <a:close/>
                    <a:moveTo>
                      <a:pt x="1321" y="1583"/>
                    </a:moveTo>
                    <a:lnTo>
                      <a:pt x="1322" y="1583"/>
                    </a:lnTo>
                    <a:lnTo>
                      <a:pt x="1322" y="1585"/>
                    </a:lnTo>
                    <a:lnTo>
                      <a:pt x="1321" y="1585"/>
                    </a:lnTo>
                    <a:lnTo>
                      <a:pt x="1321" y="1583"/>
                    </a:lnTo>
                    <a:close/>
                    <a:moveTo>
                      <a:pt x="1219" y="1471"/>
                    </a:moveTo>
                    <a:lnTo>
                      <a:pt x="1220" y="1471"/>
                    </a:lnTo>
                    <a:lnTo>
                      <a:pt x="1220" y="1473"/>
                    </a:lnTo>
                    <a:lnTo>
                      <a:pt x="1219" y="1473"/>
                    </a:lnTo>
                    <a:lnTo>
                      <a:pt x="1219" y="1471"/>
                    </a:lnTo>
                    <a:close/>
                    <a:moveTo>
                      <a:pt x="1188" y="1463"/>
                    </a:moveTo>
                    <a:lnTo>
                      <a:pt x="1190" y="1463"/>
                    </a:lnTo>
                    <a:lnTo>
                      <a:pt x="1188" y="1463"/>
                    </a:lnTo>
                    <a:close/>
                    <a:moveTo>
                      <a:pt x="1249" y="1597"/>
                    </a:moveTo>
                    <a:lnTo>
                      <a:pt x="1251" y="1597"/>
                    </a:lnTo>
                    <a:lnTo>
                      <a:pt x="1251" y="1599"/>
                    </a:lnTo>
                    <a:lnTo>
                      <a:pt x="1249" y="1599"/>
                    </a:lnTo>
                    <a:lnTo>
                      <a:pt x="1249" y="1597"/>
                    </a:lnTo>
                    <a:close/>
                    <a:moveTo>
                      <a:pt x="1332" y="1645"/>
                    </a:moveTo>
                    <a:lnTo>
                      <a:pt x="1334" y="1645"/>
                    </a:lnTo>
                    <a:lnTo>
                      <a:pt x="1334" y="1646"/>
                    </a:lnTo>
                    <a:lnTo>
                      <a:pt x="1332" y="1646"/>
                    </a:lnTo>
                    <a:lnTo>
                      <a:pt x="1332" y="1645"/>
                    </a:lnTo>
                    <a:close/>
                    <a:moveTo>
                      <a:pt x="1142" y="1306"/>
                    </a:moveTo>
                    <a:lnTo>
                      <a:pt x="1142" y="1310"/>
                    </a:lnTo>
                    <a:lnTo>
                      <a:pt x="1142" y="1306"/>
                    </a:lnTo>
                    <a:close/>
                    <a:moveTo>
                      <a:pt x="1181" y="1492"/>
                    </a:moveTo>
                    <a:lnTo>
                      <a:pt x="1181" y="1493"/>
                    </a:lnTo>
                    <a:lnTo>
                      <a:pt x="1181" y="1492"/>
                    </a:lnTo>
                    <a:close/>
                    <a:moveTo>
                      <a:pt x="1159" y="1434"/>
                    </a:moveTo>
                    <a:lnTo>
                      <a:pt x="1159" y="1435"/>
                    </a:lnTo>
                    <a:lnTo>
                      <a:pt x="1159" y="1434"/>
                    </a:lnTo>
                    <a:close/>
                    <a:moveTo>
                      <a:pt x="1232" y="1582"/>
                    </a:moveTo>
                    <a:lnTo>
                      <a:pt x="1234" y="1582"/>
                    </a:lnTo>
                    <a:lnTo>
                      <a:pt x="1234" y="1583"/>
                    </a:lnTo>
                    <a:lnTo>
                      <a:pt x="1232" y="1583"/>
                    </a:lnTo>
                    <a:lnTo>
                      <a:pt x="1232" y="1582"/>
                    </a:lnTo>
                    <a:close/>
                    <a:moveTo>
                      <a:pt x="1212" y="1112"/>
                    </a:moveTo>
                    <a:lnTo>
                      <a:pt x="1213" y="1112"/>
                    </a:lnTo>
                    <a:lnTo>
                      <a:pt x="1213" y="1114"/>
                    </a:lnTo>
                    <a:lnTo>
                      <a:pt x="1212" y="1114"/>
                    </a:lnTo>
                    <a:lnTo>
                      <a:pt x="1212" y="1112"/>
                    </a:lnTo>
                    <a:close/>
                    <a:moveTo>
                      <a:pt x="1210" y="1504"/>
                    </a:moveTo>
                    <a:lnTo>
                      <a:pt x="1213" y="1504"/>
                    </a:lnTo>
                    <a:lnTo>
                      <a:pt x="1210" y="1504"/>
                    </a:lnTo>
                    <a:close/>
                    <a:moveTo>
                      <a:pt x="1181" y="1490"/>
                    </a:moveTo>
                    <a:lnTo>
                      <a:pt x="1183" y="1490"/>
                    </a:lnTo>
                    <a:lnTo>
                      <a:pt x="1183" y="1492"/>
                    </a:lnTo>
                    <a:lnTo>
                      <a:pt x="1181" y="1492"/>
                    </a:lnTo>
                    <a:lnTo>
                      <a:pt x="1181" y="1490"/>
                    </a:lnTo>
                    <a:close/>
                    <a:moveTo>
                      <a:pt x="1234" y="1124"/>
                    </a:moveTo>
                    <a:lnTo>
                      <a:pt x="1236" y="1124"/>
                    </a:lnTo>
                    <a:lnTo>
                      <a:pt x="1236" y="1126"/>
                    </a:lnTo>
                    <a:lnTo>
                      <a:pt x="1234" y="1126"/>
                    </a:lnTo>
                    <a:lnTo>
                      <a:pt x="1234" y="1124"/>
                    </a:lnTo>
                    <a:close/>
                    <a:moveTo>
                      <a:pt x="1261" y="1590"/>
                    </a:moveTo>
                    <a:lnTo>
                      <a:pt x="1261" y="1592"/>
                    </a:lnTo>
                    <a:lnTo>
                      <a:pt x="1261" y="1590"/>
                    </a:lnTo>
                    <a:close/>
                    <a:moveTo>
                      <a:pt x="1149" y="1376"/>
                    </a:moveTo>
                    <a:lnTo>
                      <a:pt x="1151" y="1376"/>
                    </a:lnTo>
                    <a:lnTo>
                      <a:pt x="1151" y="1378"/>
                    </a:lnTo>
                    <a:lnTo>
                      <a:pt x="1149" y="1378"/>
                    </a:lnTo>
                    <a:lnTo>
                      <a:pt x="1149" y="1376"/>
                    </a:lnTo>
                    <a:close/>
                    <a:moveTo>
                      <a:pt x="1183" y="1459"/>
                    </a:moveTo>
                    <a:lnTo>
                      <a:pt x="1185" y="1459"/>
                    </a:lnTo>
                    <a:lnTo>
                      <a:pt x="1185" y="1461"/>
                    </a:lnTo>
                    <a:lnTo>
                      <a:pt x="1183" y="1461"/>
                    </a:lnTo>
                    <a:lnTo>
                      <a:pt x="1183" y="1459"/>
                    </a:lnTo>
                    <a:close/>
                    <a:moveTo>
                      <a:pt x="1198" y="1424"/>
                    </a:moveTo>
                    <a:lnTo>
                      <a:pt x="1200" y="1424"/>
                    </a:lnTo>
                    <a:lnTo>
                      <a:pt x="1200" y="1425"/>
                    </a:lnTo>
                    <a:lnTo>
                      <a:pt x="1198" y="1425"/>
                    </a:lnTo>
                    <a:lnTo>
                      <a:pt x="1198" y="1424"/>
                    </a:lnTo>
                    <a:close/>
                    <a:moveTo>
                      <a:pt x="1208" y="1490"/>
                    </a:moveTo>
                    <a:lnTo>
                      <a:pt x="1208" y="1492"/>
                    </a:lnTo>
                    <a:lnTo>
                      <a:pt x="1208" y="1490"/>
                    </a:lnTo>
                    <a:close/>
                    <a:moveTo>
                      <a:pt x="1205" y="1058"/>
                    </a:moveTo>
                    <a:lnTo>
                      <a:pt x="1205" y="1060"/>
                    </a:lnTo>
                    <a:lnTo>
                      <a:pt x="1205" y="1058"/>
                    </a:lnTo>
                    <a:close/>
                    <a:moveTo>
                      <a:pt x="1281" y="1595"/>
                    </a:moveTo>
                    <a:lnTo>
                      <a:pt x="1283" y="1595"/>
                    </a:lnTo>
                    <a:lnTo>
                      <a:pt x="1281" y="1595"/>
                    </a:lnTo>
                    <a:close/>
                    <a:moveTo>
                      <a:pt x="1229" y="1570"/>
                    </a:moveTo>
                    <a:lnTo>
                      <a:pt x="1232" y="1570"/>
                    </a:lnTo>
                    <a:lnTo>
                      <a:pt x="1232" y="1572"/>
                    </a:lnTo>
                    <a:lnTo>
                      <a:pt x="1229" y="1572"/>
                    </a:lnTo>
                    <a:lnTo>
                      <a:pt x="1229" y="1570"/>
                    </a:lnTo>
                    <a:close/>
                    <a:moveTo>
                      <a:pt x="1181" y="1376"/>
                    </a:moveTo>
                    <a:lnTo>
                      <a:pt x="1183" y="1376"/>
                    </a:lnTo>
                    <a:lnTo>
                      <a:pt x="1181" y="1376"/>
                    </a:lnTo>
                    <a:close/>
                    <a:moveTo>
                      <a:pt x="1191" y="1233"/>
                    </a:moveTo>
                    <a:lnTo>
                      <a:pt x="1193" y="1233"/>
                    </a:lnTo>
                    <a:lnTo>
                      <a:pt x="1191" y="1233"/>
                    </a:lnTo>
                    <a:close/>
                    <a:moveTo>
                      <a:pt x="1215" y="983"/>
                    </a:moveTo>
                    <a:lnTo>
                      <a:pt x="1215" y="985"/>
                    </a:lnTo>
                    <a:lnTo>
                      <a:pt x="1215" y="983"/>
                    </a:lnTo>
                    <a:close/>
                    <a:moveTo>
                      <a:pt x="1208" y="1097"/>
                    </a:moveTo>
                    <a:lnTo>
                      <a:pt x="1208" y="1099"/>
                    </a:lnTo>
                    <a:lnTo>
                      <a:pt x="1208" y="1097"/>
                    </a:lnTo>
                    <a:close/>
                    <a:moveTo>
                      <a:pt x="1183" y="1495"/>
                    </a:moveTo>
                    <a:lnTo>
                      <a:pt x="1185" y="1495"/>
                    </a:lnTo>
                    <a:lnTo>
                      <a:pt x="1185" y="1497"/>
                    </a:lnTo>
                    <a:lnTo>
                      <a:pt x="1183" y="1497"/>
                    </a:lnTo>
                    <a:lnTo>
                      <a:pt x="1183" y="1495"/>
                    </a:lnTo>
                    <a:close/>
                    <a:moveTo>
                      <a:pt x="1183" y="1475"/>
                    </a:moveTo>
                    <a:lnTo>
                      <a:pt x="1185" y="1475"/>
                    </a:lnTo>
                    <a:lnTo>
                      <a:pt x="1183" y="1475"/>
                    </a:lnTo>
                    <a:close/>
                    <a:moveTo>
                      <a:pt x="1225" y="1570"/>
                    </a:moveTo>
                    <a:lnTo>
                      <a:pt x="1227" y="1570"/>
                    </a:lnTo>
                    <a:lnTo>
                      <a:pt x="1227" y="1572"/>
                    </a:lnTo>
                    <a:lnTo>
                      <a:pt x="1225" y="1572"/>
                    </a:lnTo>
                    <a:lnTo>
                      <a:pt x="1225" y="1570"/>
                    </a:lnTo>
                    <a:close/>
                    <a:moveTo>
                      <a:pt x="1259" y="1600"/>
                    </a:moveTo>
                    <a:lnTo>
                      <a:pt x="1259" y="1602"/>
                    </a:lnTo>
                    <a:lnTo>
                      <a:pt x="1259" y="1600"/>
                    </a:lnTo>
                    <a:close/>
                    <a:moveTo>
                      <a:pt x="1210" y="1124"/>
                    </a:moveTo>
                    <a:lnTo>
                      <a:pt x="1212" y="1124"/>
                    </a:lnTo>
                    <a:lnTo>
                      <a:pt x="1210" y="1124"/>
                    </a:lnTo>
                    <a:close/>
                    <a:moveTo>
                      <a:pt x="1183" y="1427"/>
                    </a:moveTo>
                    <a:lnTo>
                      <a:pt x="1185" y="1427"/>
                    </a:lnTo>
                    <a:lnTo>
                      <a:pt x="1183" y="1427"/>
                    </a:lnTo>
                    <a:close/>
                    <a:moveTo>
                      <a:pt x="1188" y="1097"/>
                    </a:moveTo>
                    <a:lnTo>
                      <a:pt x="1190" y="1097"/>
                    </a:lnTo>
                    <a:lnTo>
                      <a:pt x="1188" y="1097"/>
                    </a:lnTo>
                    <a:close/>
                    <a:moveTo>
                      <a:pt x="1188" y="1463"/>
                    </a:moveTo>
                    <a:lnTo>
                      <a:pt x="1190" y="1463"/>
                    </a:lnTo>
                    <a:lnTo>
                      <a:pt x="1190" y="1464"/>
                    </a:lnTo>
                    <a:lnTo>
                      <a:pt x="1188" y="1464"/>
                    </a:lnTo>
                    <a:lnTo>
                      <a:pt x="1188" y="1463"/>
                    </a:lnTo>
                    <a:close/>
                    <a:moveTo>
                      <a:pt x="1179" y="1257"/>
                    </a:moveTo>
                    <a:lnTo>
                      <a:pt x="1181" y="1257"/>
                    </a:lnTo>
                    <a:lnTo>
                      <a:pt x="1179" y="1257"/>
                    </a:lnTo>
                    <a:close/>
                    <a:moveTo>
                      <a:pt x="1181" y="1116"/>
                    </a:moveTo>
                    <a:lnTo>
                      <a:pt x="1181" y="1117"/>
                    </a:lnTo>
                    <a:lnTo>
                      <a:pt x="1181" y="1116"/>
                    </a:lnTo>
                    <a:close/>
                    <a:moveTo>
                      <a:pt x="1162" y="1160"/>
                    </a:moveTo>
                    <a:lnTo>
                      <a:pt x="1164" y="1160"/>
                    </a:lnTo>
                    <a:lnTo>
                      <a:pt x="1164" y="1162"/>
                    </a:lnTo>
                    <a:lnTo>
                      <a:pt x="1162" y="1162"/>
                    </a:lnTo>
                    <a:lnTo>
                      <a:pt x="1162" y="1160"/>
                    </a:lnTo>
                    <a:close/>
                    <a:moveTo>
                      <a:pt x="1181" y="1099"/>
                    </a:moveTo>
                    <a:lnTo>
                      <a:pt x="1183" y="1099"/>
                    </a:lnTo>
                    <a:lnTo>
                      <a:pt x="1181" y="1099"/>
                    </a:lnTo>
                    <a:close/>
                    <a:moveTo>
                      <a:pt x="1144" y="1306"/>
                    </a:moveTo>
                    <a:lnTo>
                      <a:pt x="1144" y="1308"/>
                    </a:lnTo>
                    <a:lnTo>
                      <a:pt x="1144" y="1306"/>
                    </a:lnTo>
                    <a:close/>
                    <a:moveTo>
                      <a:pt x="1185" y="1066"/>
                    </a:moveTo>
                    <a:lnTo>
                      <a:pt x="1186" y="1066"/>
                    </a:lnTo>
                    <a:lnTo>
                      <a:pt x="1185" y="1066"/>
                    </a:lnTo>
                    <a:close/>
                    <a:moveTo>
                      <a:pt x="1208" y="1075"/>
                    </a:moveTo>
                    <a:lnTo>
                      <a:pt x="1208" y="1077"/>
                    </a:lnTo>
                    <a:lnTo>
                      <a:pt x="1208" y="1075"/>
                    </a:lnTo>
                    <a:close/>
                    <a:moveTo>
                      <a:pt x="1239" y="1456"/>
                    </a:moveTo>
                    <a:lnTo>
                      <a:pt x="1241" y="1456"/>
                    </a:lnTo>
                    <a:lnTo>
                      <a:pt x="1241" y="1458"/>
                    </a:lnTo>
                    <a:lnTo>
                      <a:pt x="1239" y="1458"/>
                    </a:lnTo>
                    <a:lnTo>
                      <a:pt x="1239" y="1456"/>
                    </a:lnTo>
                    <a:close/>
                    <a:moveTo>
                      <a:pt x="1193" y="1464"/>
                    </a:moveTo>
                    <a:lnTo>
                      <a:pt x="1193" y="1466"/>
                    </a:lnTo>
                    <a:lnTo>
                      <a:pt x="1193" y="1464"/>
                    </a:lnTo>
                    <a:close/>
                    <a:moveTo>
                      <a:pt x="1166" y="1344"/>
                    </a:moveTo>
                    <a:lnTo>
                      <a:pt x="1168" y="1344"/>
                    </a:lnTo>
                    <a:lnTo>
                      <a:pt x="1168" y="1345"/>
                    </a:lnTo>
                    <a:lnTo>
                      <a:pt x="1166" y="1345"/>
                    </a:lnTo>
                    <a:lnTo>
                      <a:pt x="1166" y="1344"/>
                    </a:lnTo>
                    <a:close/>
                    <a:moveTo>
                      <a:pt x="1237" y="1582"/>
                    </a:moveTo>
                    <a:lnTo>
                      <a:pt x="1239" y="1582"/>
                    </a:lnTo>
                    <a:lnTo>
                      <a:pt x="1239" y="1583"/>
                    </a:lnTo>
                    <a:lnTo>
                      <a:pt x="1237" y="1583"/>
                    </a:lnTo>
                    <a:lnTo>
                      <a:pt x="1237" y="1582"/>
                    </a:lnTo>
                    <a:close/>
                    <a:moveTo>
                      <a:pt x="1200" y="1522"/>
                    </a:moveTo>
                    <a:lnTo>
                      <a:pt x="1202" y="1522"/>
                    </a:lnTo>
                    <a:lnTo>
                      <a:pt x="1202" y="1524"/>
                    </a:lnTo>
                    <a:lnTo>
                      <a:pt x="1200" y="1524"/>
                    </a:lnTo>
                    <a:lnTo>
                      <a:pt x="1200" y="1522"/>
                    </a:lnTo>
                    <a:close/>
                    <a:moveTo>
                      <a:pt x="1247" y="951"/>
                    </a:moveTo>
                    <a:lnTo>
                      <a:pt x="1249" y="951"/>
                    </a:lnTo>
                    <a:lnTo>
                      <a:pt x="1247" y="951"/>
                    </a:lnTo>
                    <a:close/>
                    <a:moveTo>
                      <a:pt x="1281" y="1597"/>
                    </a:moveTo>
                    <a:lnTo>
                      <a:pt x="1283" y="1597"/>
                    </a:lnTo>
                    <a:lnTo>
                      <a:pt x="1283" y="1599"/>
                    </a:lnTo>
                    <a:lnTo>
                      <a:pt x="1281" y="1599"/>
                    </a:lnTo>
                    <a:lnTo>
                      <a:pt x="1281" y="1597"/>
                    </a:lnTo>
                    <a:close/>
                    <a:moveTo>
                      <a:pt x="1288" y="1621"/>
                    </a:moveTo>
                    <a:lnTo>
                      <a:pt x="1290" y="1621"/>
                    </a:lnTo>
                    <a:lnTo>
                      <a:pt x="1288" y="1621"/>
                    </a:lnTo>
                    <a:close/>
                    <a:moveTo>
                      <a:pt x="1329" y="1648"/>
                    </a:moveTo>
                    <a:lnTo>
                      <a:pt x="1331" y="1648"/>
                    </a:lnTo>
                    <a:lnTo>
                      <a:pt x="1329" y="1648"/>
                    </a:lnTo>
                    <a:close/>
                    <a:moveTo>
                      <a:pt x="1261" y="1587"/>
                    </a:moveTo>
                    <a:lnTo>
                      <a:pt x="1263" y="1587"/>
                    </a:lnTo>
                    <a:lnTo>
                      <a:pt x="1261" y="1587"/>
                    </a:lnTo>
                    <a:close/>
                    <a:moveTo>
                      <a:pt x="1152" y="1185"/>
                    </a:moveTo>
                    <a:lnTo>
                      <a:pt x="1154" y="1185"/>
                    </a:lnTo>
                    <a:lnTo>
                      <a:pt x="1154" y="1187"/>
                    </a:lnTo>
                    <a:lnTo>
                      <a:pt x="1152" y="1187"/>
                    </a:lnTo>
                    <a:lnTo>
                      <a:pt x="1152" y="1185"/>
                    </a:lnTo>
                    <a:close/>
                    <a:moveTo>
                      <a:pt x="1193" y="1492"/>
                    </a:moveTo>
                    <a:lnTo>
                      <a:pt x="1195" y="1492"/>
                    </a:lnTo>
                    <a:lnTo>
                      <a:pt x="1193" y="1492"/>
                    </a:lnTo>
                    <a:close/>
                    <a:moveTo>
                      <a:pt x="1183" y="1425"/>
                    </a:moveTo>
                    <a:lnTo>
                      <a:pt x="1185" y="1425"/>
                    </a:lnTo>
                    <a:lnTo>
                      <a:pt x="1185" y="1427"/>
                    </a:lnTo>
                    <a:lnTo>
                      <a:pt x="1183" y="1427"/>
                    </a:lnTo>
                    <a:lnTo>
                      <a:pt x="1183" y="1425"/>
                    </a:lnTo>
                    <a:close/>
                    <a:moveTo>
                      <a:pt x="1164" y="1396"/>
                    </a:moveTo>
                    <a:lnTo>
                      <a:pt x="1164" y="1398"/>
                    </a:lnTo>
                    <a:lnTo>
                      <a:pt x="1164" y="1396"/>
                    </a:lnTo>
                    <a:close/>
                    <a:moveTo>
                      <a:pt x="1220" y="1526"/>
                    </a:moveTo>
                    <a:lnTo>
                      <a:pt x="1222" y="1526"/>
                    </a:lnTo>
                    <a:lnTo>
                      <a:pt x="1222" y="1527"/>
                    </a:lnTo>
                    <a:lnTo>
                      <a:pt x="1220" y="1527"/>
                    </a:lnTo>
                    <a:lnTo>
                      <a:pt x="1220" y="1526"/>
                    </a:lnTo>
                    <a:close/>
                    <a:moveTo>
                      <a:pt x="1178" y="1517"/>
                    </a:moveTo>
                    <a:lnTo>
                      <a:pt x="1179" y="1517"/>
                    </a:lnTo>
                    <a:lnTo>
                      <a:pt x="1178" y="1517"/>
                    </a:lnTo>
                    <a:close/>
                    <a:moveTo>
                      <a:pt x="1159" y="1356"/>
                    </a:moveTo>
                    <a:lnTo>
                      <a:pt x="1161" y="1356"/>
                    </a:lnTo>
                    <a:lnTo>
                      <a:pt x="1159" y="1356"/>
                    </a:lnTo>
                    <a:close/>
                    <a:moveTo>
                      <a:pt x="1159" y="1390"/>
                    </a:moveTo>
                    <a:lnTo>
                      <a:pt x="1161" y="1390"/>
                    </a:lnTo>
                    <a:lnTo>
                      <a:pt x="1159" y="1390"/>
                    </a:lnTo>
                    <a:close/>
                    <a:moveTo>
                      <a:pt x="1176" y="1386"/>
                    </a:moveTo>
                    <a:lnTo>
                      <a:pt x="1178" y="1386"/>
                    </a:lnTo>
                    <a:lnTo>
                      <a:pt x="1176" y="1386"/>
                    </a:lnTo>
                    <a:close/>
                    <a:moveTo>
                      <a:pt x="1438" y="1680"/>
                    </a:moveTo>
                    <a:lnTo>
                      <a:pt x="1440" y="1680"/>
                    </a:lnTo>
                    <a:lnTo>
                      <a:pt x="1440" y="1682"/>
                    </a:lnTo>
                    <a:lnTo>
                      <a:pt x="1438" y="1682"/>
                    </a:lnTo>
                    <a:lnTo>
                      <a:pt x="1438" y="1680"/>
                    </a:lnTo>
                    <a:close/>
                    <a:moveTo>
                      <a:pt x="1193" y="1140"/>
                    </a:moveTo>
                    <a:lnTo>
                      <a:pt x="1195" y="1140"/>
                    </a:lnTo>
                    <a:lnTo>
                      <a:pt x="1195" y="1141"/>
                    </a:lnTo>
                    <a:lnTo>
                      <a:pt x="1193" y="1141"/>
                    </a:lnTo>
                    <a:lnTo>
                      <a:pt x="1193" y="1140"/>
                    </a:lnTo>
                    <a:close/>
                    <a:moveTo>
                      <a:pt x="1159" y="1420"/>
                    </a:moveTo>
                    <a:lnTo>
                      <a:pt x="1159" y="1422"/>
                    </a:lnTo>
                    <a:lnTo>
                      <a:pt x="1159" y="1420"/>
                    </a:lnTo>
                    <a:close/>
                    <a:moveTo>
                      <a:pt x="1365" y="1660"/>
                    </a:moveTo>
                    <a:lnTo>
                      <a:pt x="1366" y="1660"/>
                    </a:lnTo>
                    <a:lnTo>
                      <a:pt x="1365" y="1660"/>
                    </a:lnTo>
                    <a:close/>
                    <a:moveTo>
                      <a:pt x="1205" y="1500"/>
                    </a:moveTo>
                    <a:lnTo>
                      <a:pt x="1207" y="1500"/>
                    </a:lnTo>
                    <a:lnTo>
                      <a:pt x="1207" y="1502"/>
                    </a:lnTo>
                    <a:lnTo>
                      <a:pt x="1205" y="1502"/>
                    </a:lnTo>
                    <a:lnTo>
                      <a:pt x="1205" y="1500"/>
                    </a:lnTo>
                    <a:close/>
                    <a:moveTo>
                      <a:pt x="1208" y="1053"/>
                    </a:moveTo>
                    <a:lnTo>
                      <a:pt x="1208" y="1054"/>
                    </a:lnTo>
                    <a:lnTo>
                      <a:pt x="1208" y="1053"/>
                    </a:lnTo>
                    <a:close/>
                    <a:moveTo>
                      <a:pt x="1179" y="1425"/>
                    </a:moveTo>
                    <a:lnTo>
                      <a:pt x="1179" y="1427"/>
                    </a:lnTo>
                    <a:lnTo>
                      <a:pt x="1179" y="1425"/>
                    </a:lnTo>
                    <a:close/>
                    <a:moveTo>
                      <a:pt x="1268" y="1597"/>
                    </a:moveTo>
                    <a:lnTo>
                      <a:pt x="1270" y="1597"/>
                    </a:lnTo>
                    <a:lnTo>
                      <a:pt x="1270" y="1599"/>
                    </a:lnTo>
                    <a:lnTo>
                      <a:pt x="1268" y="1599"/>
                    </a:lnTo>
                    <a:lnTo>
                      <a:pt x="1268" y="1597"/>
                    </a:lnTo>
                    <a:close/>
                    <a:moveTo>
                      <a:pt x="1220" y="1560"/>
                    </a:moveTo>
                    <a:lnTo>
                      <a:pt x="1222" y="1560"/>
                    </a:lnTo>
                    <a:lnTo>
                      <a:pt x="1220" y="1560"/>
                    </a:lnTo>
                    <a:close/>
                    <a:moveTo>
                      <a:pt x="1229" y="1570"/>
                    </a:moveTo>
                    <a:lnTo>
                      <a:pt x="1230" y="1570"/>
                    </a:lnTo>
                    <a:lnTo>
                      <a:pt x="1230" y="1572"/>
                    </a:lnTo>
                    <a:lnTo>
                      <a:pt x="1229" y="1572"/>
                    </a:lnTo>
                    <a:lnTo>
                      <a:pt x="1229" y="1570"/>
                    </a:lnTo>
                    <a:close/>
                    <a:moveTo>
                      <a:pt x="1176" y="1245"/>
                    </a:moveTo>
                    <a:lnTo>
                      <a:pt x="1178" y="1245"/>
                    </a:lnTo>
                    <a:lnTo>
                      <a:pt x="1178" y="1247"/>
                    </a:lnTo>
                    <a:lnTo>
                      <a:pt x="1176" y="1247"/>
                    </a:lnTo>
                    <a:lnTo>
                      <a:pt x="1176" y="1245"/>
                    </a:lnTo>
                    <a:close/>
                    <a:moveTo>
                      <a:pt x="1203" y="1549"/>
                    </a:moveTo>
                    <a:lnTo>
                      <a:pt x="1205" y="1549"/>
                    </a:lnTo>
                    <a:lnTo>
                      <a:pt x="1205" y="1551"/>
                    </a:lnTo>
                    <a:lnTo>
                      <a:pt x="1203" y="1551"/>
                    </a:lnTo>
                    <a:lnTo>
                      <a:pt x="1203" y="1549"/>
                    </a:lnTo>
                    <a:close/>
                    <a:moveTo>
                      <a:pt x="1205" y="1095"/>
                    </a:moveTo>
                    <a:lnTo>
                      <a:pt x="1205" y="1097"/>
                    </a:lnTo>
                    <a:lnTo>
                      <a:pt x="1205" y="1095"/>
                    </a:lnTo>
                    <a:close/>
                    <a:moveTo>
                      <a:pt x="1224" y="976"/>
                    </a:moveTo>
                    <a:lnTo>
                      <a:pt x="1225" y="976"/>
                    </a:lnTo>
                    <a:lnTo>
                      <a:pt x="1225" y="978"/>
                    </a:lnTo>
                    <a:lnTo>
                      <a:pt x="1224" y="978"/>
                    </a:lnTo>
                    <a:lnTo>
                      <a:pt x="1224" y="976"/>
                    </a:lnTo>
                    <a:close/>
                    <a:moveTo>
                      <a:pt x="1390" y="1645"/>
                    </a:moveTo>
                    <a:lnTo>
                      <a:pt x="1392" y="1645"/>
                    </a:lnTo>
                    <a:lnTo>
                      <a:pt x="1392" y="1646"/>
                    </a:lnTo>
                    <a:lnTo>
                      <a:pt x="1390" y="1646"/>
                    </a:lnTo>
                    <a:lnTo>
                      <a:pt x="1390" y="1645"/>
                    </a:lnTo>
                    <a:close/>
                    <a:moveTo>
                      <a:pt x="1205" y="1119"/>
                    </a:moveTo>
                    <a:lnTo>
                      <a:pt x="1207" y="1119"/>
                    </a:lnTo>
                    <a:lnTo>
                      <a:pt x="1205" y="1119"/>
                    </a:lnTo>
                    <a:close/>
                    <a:moveTo>
                      <a:pt x="1200" y="1248"/>
                    </a:moveTo>
                    <a:lnTo>
                      <a:pt x="1202" y="1248"/>
                    </a:lnTo>
                    <a:lnTo>
                      <a:pt x="1202" y="1250"/>
                    </a:lnTo>
                    <a:lnTo>
                      <a:pt x="1200" y="1250"/>
                    </a:lnTo>
                    <a:lnTo>
                      <a:pt x="1200" y="1248"/>
                    </a:lnTo>
                    <a:close/>
                    <a:moveTo>
                      <a:pt x="1395" y="1655"/>
                    </a:moveTo>
                    <a:lnTo>
                      <a:pt x="1397" y="1655"/>
                    </a:lnTo>
                    <a:lnTo>
                      <a:pt x="1397" y="1657"/>
                    </a:lnTo>
                    <a:lnTo>
                      <a:pt x="1395" y="1657"/>
                    </a:lnTo>
                    <a:lnTo>
                      <a:pt x="1395" y="1655"/>
                    </a:lnTo>
                    <a:close/>
                    <a:moveTo>
                      <a:pt x="1159" y="1349"/>
                    </a:moveTo>
                    <a:lnTo>
                      <a:pt x="1161" y="1349"/>
                    </a:lnTo>
                    <a:lnTo>
                      <a:pt x="1159" y="1349"/>
                    </a:lnTo>
                    <a:close/>
                    <a:moveTo>
                      <a:pt x="1198" y="1437"/>
                    </a:moveTo>
                    <a:lnTo>
                      <a:pt x="1198" y="1439"/>
                    </a:lnTo>
                    <a:lnTo>
                      <a:pt x="1198" y="1437"/>
                    </a:lnTo>
                    <a:close/>
                    <a:moveTo>
                      <a:pt x="1217" y="1561"/>
                    </a:moveTo>
                    <a:lnTo>
                      <a:pt x="1219" y="1561"/>
                    </a:lnTo>
                    <a:lnTo>
                      <a:pt x="1217" y="1561"/>
                    </a:lnTo>
                    <a:close/>
                    <a:moveTo>
                      <a:pt x="1174" y="1446"/>
                    </a:moveTo>
                    <a:lnTo>
                      <a:pt x="1174" y="1447"/>
                    </a:lnTo>
                    <a:lnTo>
                      <a:pt x="1174" y="1446"/>
                    </a:lnTo>
                    <a:close/>
                    <a:moveTo>
                      <a:pt x="1185" y="1063"/>
                    </a:moveTo>
                    <a:lnTo>
                      <a:pt x="1185" y="1065"/>
                    </a:lnTo>
                    <a:lnTo>
                      <a:pt x="1185" y="1063"/>
                    </a:lnTo>
                    <a:close/>
                    <a:moveTo>
                      <a:pt x="1368" y="1669"/>
                    </a:moveTo>
                    <a:lnTo>
                      <a:pt x="1368" y="1670"/>
                    </a:lnTo>
                    <a:lnTo>
                      <a:pt x="1368" y="1669"/>
                    </a:lnTo>
                    <a:close/>
                    <a:moveTo>
                      <a:pt x="1196" y="1488"/>
                    </a:moveTo>
                    <a:lnTo>
                      <a:pt x="1198" y="1488"/>
                    </a:lnTo>
                    <a:lnTo>
                      <a:pt x="1198" y="1490"/>
                    </a:lnTo>
                    <a:lnTo>
                      <a:pt x="1196" y="1490"/>
                    </a:lnTo>
                    <a:lnTo>
                      <a:pt x="1196" y="1488"/>
                    </a:lnTo>
                    <a:close/>
                    <a:moveTo>
                      <a:pt x="1156" y="1362"/>
                    </a:moveTo>
                    <a:lnTo>
                      <a:pt x="1156" y="1364"/>
                    </a:lnTo>
                    <a:lnTo>
                      <a:pt x="1156" y="1362"/>
                    </a:lnTo>
                    <a:close/>
                    <a:moveTo>
                      <a:pt x="1207" y="1155"/>
                    </a:moveTo>
                    <a:lnTo>
                      <a:pt x="1208" y="1155"/>
                    </a:lnTo>
                    <a:lnTo>
                      <a:pt x="1207" y="1155"/>
                    </a:lnTo>
                    <a:close/>
                    <a:moveTo>
                      <a:pt x="1224" y="956"/>
                    </a:moveTo>
                    <a:lnTo>
                      <a:pt x="1225" y="956"/>
                    </a:lnTo>
                    <a:lnTo>
                      <a:pt x="1225" y="957"/>
                    </a:lnTo>
                    <a:lnTo>
                      <a:pt x="1224" y="957"/>
                    </a:lnTo>
                    <a:lnTo>
                      <a:pt x="1224" y="956"/>
                    </a:lnTo>
                    <a:close/>
                    <a:moveTo>
                      <a:pt x="1196" y="1453"/>
                    </a:moveTo>
                    <a:lnTo>
                      <a:pt x="1198" y="1453"/>
                    </a:lnTo>
                    <a:lnTo>
                      <a:pt x="1198" y="1454"/>
                    </a:lnTo>
                    <a:lnTo>
                      <a:pt x="1196" y="1454"/>
                    </a:lnTo>
                    <a:lnTo>
                      <a:pt x="1196" y="1453"/>
                    </a:lnTo>
                    <a:close/>
                    <a:moveTo>
                      <a:pt x="1193" y="1487"/>
                    </a:moveTo>
                    <a:lnTo>
                      <a:pt x="1193" y="1488"/>
                    </a:lnTo>
                    <a:lnTo>
                      <a:pt x="1193" y="1487"/>
                    </a:lnTo>
                    <a:close/>
                    <a:moveTo>
                      <a:pt x="1191" y="1140"/>
                    </a:moveTo>
                    <a:lnTo>
                      <a:pt x="1193" y="1140"/>
                    </a:lnTo>
                    <a:lnTo>
                      <a:pt x="1191" y="1140"/>
                    </a:lnTo>
                    <a:close/>
                    <a:moveTo>
                      <a:pt x="1222" y="1568"/>
                    </a:moveTo>
                    <a:lnTo>
                      <a:pt x="1224" y="1568"/>
                    </a:lnTo>
                    <a:lnTo>
                      <a:pt x="1222" y="1568"/>
                    </a:lnTo>
                    <a:close/>
                    <a:moveTo>
                      <a:pt x="1220" y="1071"/>
                    </a:moveTo>
                    <a:lnTo>
                      <a:pt x="1220" y="1073"/>
                    </a:lnTo>
                    <a:lnTo>
                      <a:pt x="1220" y="1071"/>
                    </a:lnTo>
                    <a:close/>
                    <a:moveTo>
                      <a:pt x="1440" y="1665"/>
                    </a:moveTo>
                    <a:lnTo>
                      <a:pt x="1440" y="1667"/>
                    </a:lnTo>
                    <a:lnTo>
                      <a:pt x="1440" y="1665"/>
                    </a:lnTo>
                    <a:close/>
                    <a:moveTo>
                      <a:pt x="1149" y="1328"/>
                    </a:moveTo>
                    <a:lnTo>
                      <a:pt x="1149" y="1330"/>
                    </a:lnTo>
                    <a:lnTo>
                      <a:pt x="1149" y="1328"/>
                    </a:lnTo>
                    <a:close/>
                    <a:moveTo>
                      <a:pt x="1188" y="1485"/>
                    </a:moveTo>
                    <a:lnTo>
                      <a:pt x="1188" y="1487"/>
                    </a:lnTo>
                    <a:lnTo>
                      <a:pt x="1188" y="1485"/>
                    </a:lnTo>
                    <a:close/>
                    <a:moveTo>
                      <a:pt x="1174" y="1102"/>
                    </a:moveTo>
                    <a:lnTo>
                      <a:pt x="1176" y="1102"/>
                    </a:lnTo>
                    <a:lnTo>
                      <a:pt x="1176" y="1104"/>
                    </a:lnTo>
                    <a:lnTo>
                      <a:pt x="1174" y="1104"/>
                    </a:lnTo>
                    <a:lnTo>
                      <a:pt x="1174" y="1102"/>
                    </a:lnTo>
                    <a:close/>
                    <a:moveTo>
                      <a:pt x="1389" y="1628"/>
                    </a:moveTo>
                    <a:lnTo>
                      <a:pt x="1390" y="1628"/>
                    </a:lnTo>
                    <a:lnTo>
                      <a:pt x="1389" y="1628"/>
                    </a:lnTo>
                    <a:close/>
                    <a:moveTo>
                      <a:pt x="1220" y="1060"/>
                    </a:moveTo>
                    <a:lnTo>
                      <a:pt x="1222" y="1060"/>
                    </a:lnTo>
                    <a:lnTo>
                      <a:pt x="1222" y="1061"/>
                    </a:lnTo>
                    <a:lnTo>
                      <a:pt x="1220" y="1061"/>
                    </a:lnTo>
                    <a:lnTo>
                      <a:pt x="1220" y="1060"/>
                    </a:lnTo>
                    <a:close/>
                    <a:moveTo>
                      <a:pt x="1225" y="1556"/>
                    </a:moveTo>
                    <a:lnTo>
                      <a:pt x="1225" y="1558"/>
                    </a:lnTo>
                    <a:lnTo>
                      <a:pt x="1225" y="1556"/>
                    </a:lnTo>
                    <a:close/>
                    <a:moveTo>
                      <a:pt x="1190" y="1097"/>
                    </a:moveTo>
                    <a:lnTo>
                      <a:pt x="1190" y="1099"/>
                    </a:lnTo>
                    <a:lnTo>
                      <a:pt x="1190" y="1097"/>
                    </a:lnTo>
                    <a:close/>
                    <a:moveTo>
                      <a:pt x="1188" y="1487"/>
                    </a:moveTo>
                    <a:lnTo>
                      <a:pt x="1190" y="1487"/>
                    </a:lnTo>
                    <a:lnTo>
                      <a:pt x="1190" y="1488"/>
                    </a:lnTo>
                    <a:lnTo>
                      <a:pt x="1188" y="1488"/>
                    </a:lnTo>
                    <a:lnTo>
                      <a:pt x="1188" y="1487"/>
                    </a:lnTo>
                    <a:close/>
                    <a:moveTo>
                      <a:pt x="1196" y="1092"/>
                    </a:moveTo>
                    <a:lnTo>
                      <a:pt x="1198" y="1092"/>
                    </a:lnTo>
                    <a:lnTo>
                      <a:pt x="1196" y="1092"/>
                    </a:lnTo>
                    <a:close/>
                    <a:moveTo>
                      <a:pt x="1166" y="1236"/>
                    </a:moveTo>
                    <a:lnTo>
                      <a:pt x="1168" y="1236"/>
                    </a:lnTo>
                    <a:lnTo>
                      <a:pt x="1166" y="1236"/>
                    </a:lnTo>
                    <a:close/>
                    <a:moveTo>
                      <a:pt x="1181" y="1473"/>
                    </a:moveTo>
                    <a:lnTo>
                      <a:pt x="1183" y="1473"/>
                    </a:lnTo>
                    <a:lnTo>
                      <a:pt x="1183" y="1475"/>
                    </a:lnTo>
                    <a:lnTo>
                      <a:pt x="1181" y="1475"/>
                    </a:lnTo>
                    <a:lnTo>
                      <a:pt x="1181" y="1473"/>
                    </a:lnTo>
                    <a:close/>
                    <a:moveTo>
                      <a:pt x="1152" y="1187"/>
                    </a:moveTo>
                    <a:lnTo>
                      <a:pt x="1154" y="1187"/>
                    </a:lnTo>
                    <a:lnTo>
                      <a:pt x="1152" y="1187"/>
                    </a:lnTo>
                    <a:close/>
                    <a:moveTo>
                      <a:pt x="1219" y="1583"/>
                    </a:moveTo>
                    <a:lnTo>
                      <a:pt x="1220" y="1583"/>
                    </a:lnTo>
                    <a:lnTo>
                      <a:pt x="1220" y="1585"/>
                    </a:lnTo>
                    <a:lnTo>
                      <a:pt x="1219" y="1585"/>
                    </a:lnTo>
                    <a:lnTo>
                      <a:pt x="1219" y="1583"/>
                    </a:lnTo>
                    <a:close/>
                    <a:moveTo>
                      <a:pt x="1162" y="1240"/>
                    </a:moveTo>
                    <a:lnTo>
                      <a:pt x="1164" y="1240"/>
                    </a:lnTo>
                    <a:lnTo>
                      <a:pt x="1164" y="1242"/>
                    </a:lnTo>
                    <a:lnTo>
                      <a:pt x="1162" y="1242"/>
                    </a:lnTo>
                    <a:lnTo>
                      <a:pt x="1162" y="1240"/>
                    </a:lnTo>
                    <a:close/>
                    <a:moveTo>
                      <a:pt x="1237" y="1590"/>
                    </a:moveTo>
                    <a:lnTo>
                      <a:pt x="1237" y="1592"/>
                    </a:lnTo>
                    <a:lnTo>
                      <a:pt x="1237" y="1590"/>
                    </a:lnTo>
                    <a:close/>
                    <a:moveTo>
                      <a:pt x="1239" y="1582"/>
                    </a:moveTo>
                    <a:lnTo>
                      <a:pt x="1241" y="1582"/>
                    </a:lnTo>
                    <a:lnTo>
                      <a:pt x="1241" y="1583"/>
                    </a:lnTo>
                    <a:lnTo>
                      <a:pt x="1239" y="1583"/>
                    </a:lnTo>
                    <a:lnTo>
                      <a:pt x="1239" y="1582"/>
                    </a:lnTo>
                    <a:close/>
                    <a:moveTo>
                      <a:pt x="1190" y="1485"/>
                    </a:moveTo>
                    <a:lnTo>
                      <a:pt x="1191" y="1485"/>
                    </a:lnTo>
                    <a:lnTo>
                      <a:pt x="1191" y="1487"/>
                    </a:lnTo>
                    <a:lnTo>
                      <a:pt x="1190" y="1487"/>
                    </a:lnTo>
                    <a:lnTo>
                      <a:pt x="1190" y="1485"/>
                    </a:lnTo>
                    <a:close/>
                    <a:moveTo>
                      <a:pt x="1220" y="1541"/>
                    </a:moveTo>
                    <a:lnTo>
                      <a:pt x="1224" y="1541"/>
                    </a:lnTo>
                    <a:lnTo>
                      <a:pt x="1224" y="1543"/>
                    </a:lnTo>
                    <a:lnTo>
                      <a:pt x="1220" y="1543"/>
                    </a:lnTo>
                    <a:lnTo>
                      <a:pt x="1220" y="1541"/>
                    </a:lnTo>
                    <a:close/>
                    <a:moveTo>
                      <a:pt x="1183" y="1483"/>
                    </a:moveTo>
                    <a:lnTo>
                      <a:pt x="1185" y="1483"/>
                    </a:lnTo>
                    <a:lnTo>
                      <a:pt x="1183" y="1483"/>
                    </a:lnTo>
                    <a:close/>
                    <a:moveTo>
                      <a:pt x="1210" y="1560"/>
                    </a:moveTo>
                    <a:lnTo>
                      <a:pt x="1212" y="1560"/>
                    </a:lnTo>
                    <a:lnTo>
                      <a:pt x="1210" y="1560"/>
                    </a:lnTo>
                    <a:close/>
                    <a:moveTo>
                      <a:pt x="1205" y="1119"/>
                    </a:moveTo>
                    <a:lnTo>
                      <a:pt x="1205" y="1121"/>
                    </a:lnTo>
                    <a:lnTo>
                      <a:pt x="1205" y="1119"/>
                    </a:lnTo>
                    <a:close/>
                    <a:moveTo>
                      <a:pt x="1280" y="432"/>
                    </a:moveTo>
                    <a:lnTo>
                      <a:pt x="1280" y="434"/>
                    </a:lnTo>
                    <a:lnTo>
                      <a:pt x="1280" y="432"/>
                    </a:lnTo>
                    <a:close/>
                    <a:moveTo>
                      <a:pt x="1171" y="1381"/>
                    </a:moveTo>
                    <a:lnTo>
                      <a:pt x="1173" y="1381"/>
                    </a:lnTo>
                    <a:lnTo>
                      <a:pt x="1171" y="1381"/>
                    </a:lnTo>
                    <a:close/>
                    <a:moveTo>
                      <a:pt x="1219" y="956"/>
                    </a:moveTo>
                    <a:lnTo>
                      <a:pt x="1219" y="957"/>
                    </a:lnTo>
                    <a:lnTo>
                      <a:pt x="1219" y="956"/>
                    </a:lnTo>
                    <a:close/>
                    <a:moveTo>
                      <a:pt x="1229" y="1566"/>
                    </a:moveTo>
                    <a:lnTo>
                      <a:pt x="1230" y="1566"/>
                    </a:lnTo>
                    <a:lnTo>
                      <a:pt x="1229" y="1566"/>
                    </a:lnTo>
                    <a:close/>
                    <a:moveTo>
                      <a:pt x="1280" y="1595"/>
                    </a:moveTo>
                    <a:lnTo>
                      <a:pt x="1281" y="1595"/>
                    </a:lnTo>
                    <a:lnTo>
                      <a:pt x="1281" y="1597"/>
                    </a:lnTo>
                    <a:lnTo>
                      <a:pt x="1280" y="1597"/>
                    </a:lnTo>
                    <a:lnTo>
                      <a:pt x="1280" y="1595"/>
                    </a:lnTo>
                    <a:close/>
                    <a:moveTo>
                      <a:pt x="1219" y="1556"/>
                    </a:moveTo>
                    <a:lnTo>
                      <a:pt x="1222" y="1556"/>
                    </a:lnTo>
                    <a:lnTo>
                      <a:pt x="1219" y="1556"/>
                    </a:lnTo>
                    <a:close/>
                    <a:moveTo>
                      <a:pt x="1360" y="1648"/>
                    </a:moveTo>
                    <a:lnTo>
                      <a:pt x="1361" y="1648"/>
                    </a:lnTo>
                    <a:lnTo>
                      <a:pt x="1361" y="1650"/>
                    </a:lnTo>
                    <a:lnTo>
                      <a:pt x="1360" y="1650"/>
                    </a:lnTo>
                    <a:lnTo>
                      <a:pt x="1360" y="1648"/>
                    </a:lnTo>
                    <a:close/>
                    <a:moveTo>
                      <a:pt x="1254" y="1595"/>
                    </a:moveTo>
                    <a:lnTo>
                      <a:pt x="1254" y="1597"/>
                    </a:lnTo>
                    <a:lnTo>
                      <a:pt x="1254" y="1595"/>
                    </a:lnTo>
                    <a:close/>
                    <a:moveTo>
                      <a:pt x="1154" y="1243"/>
                    </a:moveTo>
                    <a:lnTo>
                      <a:pt x="1156" y="1243"/>
                    </a:lnTo>
                    <a:lnTo>
                      <a:pt x="1156" y="1245"/>
                    </a:lnTo>
                    <a:lnTo>
                      <a:pt x="1154" y="1245"/>
                    </a:lnTo>
                    <a:lnTo>
                      <a:pt x="1154" y="1243"/>
                    </a:lnTo>
                    <a:close/>
                    <a:moveTo>
                      <a:pt x="1205" y="1094"/>
                    </a:moveTo>
                    <a:lnTo>
                      <a:pt x="1205" y="1095"/>
                    </a:lnTo>
                    <a:lnTo>
                      <a:pt x="1205" y="1094"/>
                    </a:lnTo>
                    <a:close/>
                    <a:moveTo>
                      <a:pt x="1188" y="1276"/>
                    </a:moveTo>
                    <a:lnTo>
                      <a:pt x="1190" y="1276"/>
                    </a:lnTo>
                    <a:lnTo>
                      <a:pt x="1190" y="1277"/>
                    </a:lnTo>
                    <a:lnTo>
                      <a:pt x="1188" y="1277"/>
                    </a:lnTo>
                    <a:lnTo>
                      <a:pt x="1188" y="1276"/>
                    </a:lnTo>
                    <a:close/>
                    <a:moveTo>
                      <a:pt x="1159" y="1388"/>
                    </a:moveTo>
                    <a:lnTo>
                      <a:pt x="1161" y="1388"/>
                    </a:lnTo>
                    <a:lnTo>
                      <a:pt x="1161" y="1390"/>
                    </a:lnTo>
                    <a:lnTo>
                      <a:pt x="1159" y="1390"/>
                    </a:lnTo>
                    <a:lnTo>
                      <a:pt x="1159" y="1388"/>
                    </a:lnTo>
                    <a:close/>
                    <a:moveTo>
                      <a:pt x="1205" y="1250"/>
                    </a:moveTo>
                    <a:lnTo>
                      <a:pt x="1207" y="1250"/>
                    </a:lnTo>
                    <a:lnTo>
                      <a:pt x="1207" y="1252"/>
                    </a:lnTo>
                    <a:lnTo>
                      <a:pt x="1205" y="1252"/>
                    </a:lnTo>
                    <a:lnTo>
                      <a:pt x="1205" y="1250"/>
                    </a:lnTo>
                    <a:close/>
                    <a:moveTo>
                      <a:pt x="1166" y="1242"/>
                    </a:moveTo>
                    <a:lnTo>
                      <a:pt x="1166" y="1243"/>
                    </a:lnTo>
                    <a:lnTo>
                      <a:pt x="1166" y="1242"/>
                    </a:lnTo>
                    <a:close/>
                    <a:moveTo>
                      <a:pt x="1263" y="1590"/>
                    </a:moveTo>
                    <a:lnTo>
                      <a:pt x="1264" y="1590"/>
                    </a:lnTo>
                    <a:lnTo>
                      <a:pt x="1264" y="1592"/>
                    </a:lnTo>
                    <a:lnTo>
                      <a:pt x="1263" y="1592"/>
                    </a:lnTo>
                    <a:lnTo>
                      <a:pt x="1263" y="1590"/>
                    </a:lnTo>
                    <a:close/>
                    <a:moveTo>
                      <a:pt x="1321" y="1626"/>
                    </a:moveTo>
                    <a:lnTo>
                      <a:pt x="1322" y="1626"/>
                    </a:lnTo>
                    <a:lnTo>
                      <a:pt x="1321" y="1626"/>
                    </a:lnTo>
                    <a:close/>
                    <a:moveTo>
                      <a:pt x="1176" y="1432"/>
                    </a:moveTo>
                    <a:lnTo>
                      <a:pt x="1178" y="1432"/>
                    </a:lnTo>
                    <a:lnTo>
                      <a:pt x="1176" y="1432"/>
                    </a:lnTo>
                    <a:close/>
                    <a:moveTo>
                      <a:pt x="1220" y="1556"/>
                    </a:moveTo>
                    <a:lnTo>
                      <a:pt x="1220" y="1558"/>
                    </a:lnTo>
                    <a:lnTo>
                      <a:pt x="1220" y="1556"/>
                    </a:lnTo>
                    <a:close/>
                    <a:moveTo>
                      <a:pt x="1202" y="1058"/>
                    </a:moveTo>
                    <a:lnTo>
                      <a:pt x="1203" y="1058"/>
                    </a:lnTo>
                    <a:lnTo>
                      <a:pt x="1203" y="1060"/>
                    </a:lnTo>
                    <a:lnTo>
                      <a:pt x="1202" y="1060"/>
                    </a:lnTo>
                    <a:lnTo>
                      <a:pt x="1202" y="1058"/>
                    </a:lnTo>
                    <a:close/>
                    <a:moveTo>
                      <a:pt x="1339" y="1660"/>
                    </a:moveTo>
                    <a:lnTo>
                      <a:pt x="1339" y="1662"/>
                    </a:lnTo>
                    <a:lnTo>
                      <a:pt x="1339" y="1660"/>
                    </a:lnTo>
                    <a:close/>
                    <a:moveTo>
                      <a:pt x="1205" y="1122"/>
                    </a:moveTo>
                    <a:lnTo>
                      <a:pt x="1205" y="1124"/>
                    </a:lnTo>
                    <a:lnTo>
                      <a:pt x="1205" y="1122"/>
                    </a:lnTo>
                    <a:close/>
                    <a:moveTo>
                      <a:pt x="1295" y="1616"/>
                    </a:moveTo>
                    <a:lnTo>
                      <a:pt x="1297" y="1616"/>
                    </a:lnTo>
                    <a:lnTo>
                      <a:pt x="1297" y="1618"/>
                    </a:lnTo>
                    <a:lnTo>
                      <a:pt x="1295" y="1618"/>
                    </a:lnTo>
                    <a:lnTo>
                      <a:pt x="1295" y="1616"/>
                    </a:lnTo>
                    <a:close/>
                    <a:moveTo>
                      <a:pt x="1326" y="1650"/>
                    </a:moveTo>
                    <a:lnTo>
                      <a:pt x="1327" y="1650"/>
                    </a:lnTo>
                    <a:lnTo>
                      <a:pt x="1327" y="1652"/>
                    </a:lnTo>
                    <a:lnTo>
                      <a:pt x="1326" y="1652"/>
                    </a:lnTo>
                    <a:lnTo>
                      <a:pt x="1326" y="1650"/>
                    </a:lnTo>
                    <a:close/>
                    <a:moveTo>
                      <a:pt x="1169" y="1434"/>
                    </a:moveTo>
                    <a:lnTo>
                      <a:pt x="1171" y="1434"/>
                    </a:lnTo>
                    <a:lnTo>
                      <a:pt x="1169" y="1434"/>
                    </a:lnTo>
                    <a:close/>
                    <a:moveTo>
                      <a:pt x="1251" y="1597"/>
                    </a:moveTo>
                    <a:lnTo>
                      <a:pt x="1251" y="1599"/>
                    </a:lnTo>
                    <a:lnTo>
                      <a:pt x="1251" y="1597"/>
                    </a:lnTo>
                    <a:close/>
                    <a:moveTo>
                      <a:pt x="1159" y="1349"/>
                    </a:moveTo>
                    <a:lnTo>
                      <a:pt x="1161" y="1349"/>
                    </a:lnTo>
                    <a:lnTo>
                      <a:pt x="1159" y="1349"/>
                    </a:lnTo>
                    <a:close/>
                    <a:moveTo>
                      <a:pt x="1227" y="1583"/>
                    </a:moveTo>
                    <a:lnTo>
                      <a:pt x="1229" y="1583"/>
                    </a:lnTo>
                    <a:lnTo>
                      <a:pt x="1227" y="1583"/>
                    </a:lnTo>
                    <a:close/>
                    <a:moveTo>
                      <a:pt x="1219" y="1524"/>
                    </a:moveTo>
                    <a:lnTo>
                      <a:pt x="1220" y="1524"/>
                    </a:lnTo>
                    <a:lnTo>
                      <a:pt x="1220" y="1526"/>
                    </a:lnTo>
                    <a:lnTo>
                      <a:pt x="1219" y="1526"/>
                    </a:lnTo>
                    <a:lnTo>
                      <a:pt x="1219" y="1524"/>
                    </a:lnTo>
                    <a:close/>
                    <a:moveTo>
                      <a:pt x="1188" y="1447"/>
                    </a:moveTo>
                    <a:lnTo>
                      <a:pt x="1190" y="1447"/>
                    </a:lnTo>
                    <a:lnTo>
                      <a:pt x="1190" y="1449"/>
                    </a:lnTo>
                    <a:lnTo>
                      <a:pt x="1188" y="1449"/>
                    </a:lnTo>
                    <a:lnTo>
                      <a:pt x="1188" y="1447"/>
                    </a:lnTo>
                    <a:close/>
                    <a:moveTo>
                      <a:pt x="1154" y="1185"/>
                    </a:moveTo>
                    <a:lnTo>
                      <a:pt x="1156" y="1185"/>
                    </a:lnTo>
                    <a:lnTo>
                      <a:pt x="1156" y="1187"/>
                    </a:lnTo>
                    <a:lnTo>
                      <a:pt x="1154" y="1187"/>
                    </a:lnTo>
                    <a:lnTo>
                      <a:pt x="1154" y="1185"/>
                    </a:lnTo>
                    <a:close/>
                    <a:moveTo>
                      <a:pt x="1149" y="1332"/>
                    </a:moveTo>
                    <a:lnTo>
                      <a:pt x="1151" y="1332"/>
                    </a:lnTo>
                    <a:lnTo>
                      <a:pt x="1149" y="1332"/>
                    </a:lnTo>
                    <a:close/>
                    <a:moveTo>
                      <a:pt x="1385" y="1662"/>
                    </a:moveTo>
                    <a:lnTo>
                      <a:pt x="1385" y="1663"/>
                    </a:lnTo>
                    <a:lnTo>
                      <a:pt x="1385" y="1662"/>
                    </a:lnTo>
                    <a:close/>
                    <a:moveTo>
                      <a:pt x="1186" y="1485"/>
                    </a:moveTo>
                    <a:lnTo>
                      <a:pt x="1188" y="1485"/>
                    </a:lnTo>
                    <a:lnTo>
                      <a:pt x="1186" y="1485"/>
                    </a:lnTo>
                    <a:close/>
                    <a:moveTo>
                      <a:pt x="1181" y="1459"/>
                    </a:moveTo>
                    <a:lnTo>
                      <a:pt x="1181" y="1461"/>
                    </a:lnTo>
                    <a:lnTo>
                      <a:pt x="1181" y="1459"/>
                    </a:lnTo>
                    <a:close/>
                    <a:moveTo>
                      <a:pt x="1361" y="1670"/>
                    </a:moveTo>
                    <a:lnTo>
                      <a:pt x="1363" y="1670"/>
                    </a:lnTo>
                    <a:lnTo>
                      <a:pt x="1361" y="1670"/>
                    </a:lnTo>
                    <a:close/>
                    <a:moveTo>
                      <a:pt x="1210" y="1090"/>
                    </a:moveTo>
                    <a:lnTo>
                      <a:pt x="1212" y="1090"/>
                    </a:lnTo>
                    <a:lnTo>
                      <a:pt x="1212" y="1092"/>
                    </a:lnTo>
                    <a:lnTo>
                      <a:pt x="1210" y="1092"/>
                    </a:lnTo>
                    <a:lnTo>
                      <a:pt x="1210" y="1090"/>
                    </a:lnTo>
                    <a:close/>
                    <a:moveTo>
                      <a:pt x="1183" y="1071"/>
                    </a:moveTo>
                    <a:lnTo>
                      <a:pt x="1183" y="1073"/>
                    </a:lnTo>
                    <a:lnTo>
                      <a:pt x="1183" y="1071"/>
                    </a:lnTo>
                    <a:close/>
                    <a:moveTo>
                      <a:pt x="1205" y="1105"/>
                    </a:moveTo>
                    <a:lnTo>
                      <a:pt x="1207" y="1105"/>
                    </a:lnTo>
                    <a:lnTo>
                      <a:pt x="1205" y="1105"/>
                    </a:lnTo>
                    <a:close/>
                    <a:moveTo>
                      <a:pt x="1258" y="1602"/>
                    </a:moveTo>
                    <a:lnTo>
                      <a:pt x="1259" y="1602"/>
                    </a:lnTo>
                    <a:lnTo>
                      <a:pt x="1258" y="1602"/>
                    </a:lnTo>
                    <a:close/>
                    <a:moveTo>
                      <a:pt x="1220" y="1505"/>
                    </a:moveTo>
                    <a:lnTo>
                      <a:pt x="1222" y="1505"/>
                    </a:lnTo>
                    <a:lnTo>
                      <a:pt x="1222" y="1507"/>
                    </a:lnTo>
                    <a:lnTo>
                      <a:pt x="1220" y="1507"/>
                    </a:lnTo>
                    <a:lnTo>
                      <a:pt x="1220" y="1505"/>
                    </a:lnTo>
                    <a:close/>
                    <a:moveTo>
                      <a:pt x="1186" y="1444"/>
                    </a:moveTo>
                    <a:lnTo>
                      <a:pt x="1188" y="1444"/>
                    </a:lnTo>
                    <a:lnTo>
                      <a:pt x="1186" y="1444"/>
                    </a:lnTo>
                    <a:close/>
                    <a:moveTo>
                      <a:pt x="1404" y="1648"/>
                    </a:moveTo>
                    <a:lnTo>
                      <a:pt x="1406" y="1648"/>
                    </a:lnTo>
                    <a:lnTo>
                      <a:pt x="1404" y="1648"/>
                    </a:lnTo>
                    <a:close/>
                    <a:moveTo>
                      <a:pt x="1378" y="1665"/>
                    </a:moveTo>
                    <a:lnTo>
                      <a:pt x="1380" y="1665"/>
                    </a:lnTo>
                    <a:lnTo>
                      <a:pt x="1378" y="1665"/>
                    </a:lnTo>
                    <a:close/>
                    <a:moveTo>
                      <a:pt x="1343" y="1663"/>
                    </a:moveTo>
                    <a:lnTo>
                      <a:pt x="1344" y="1663"/>
                    </a:lnTo>
                    <a:lnTo>
                      <a:pt x="1344" y="1665"/>
                    </a:lnTo>
                    <a:lnTo>
                      <a:pt x="1343" y="1665"/>
                    </a:lnTo>
                    <a:lnTo>
                      <a:pt x="1343" y="1663"/>
                    </a:lnTo>
                    <a:close/>
                    <a:moveTo>
                      <a:pt x="1414" y="1679"/>
                    </a:moveTo>
                    <a:lnTo>
                      <a:pt x="1416" y="1679"/>
                    </a:lnTo>
                    <a:lnTo>
                      <a:pt x="1416" y="1680"/>
                    </a:lnTo>
                    <a:lnTo>
                      <a:pt x="1414" y="1680"/>
                    </a:lnTo>
                    <a:lnTo>
                      <a:pt x="1414" y="1679"/>
                    </a:lnTo>
                    <a:close/>
                    <a:moveTo>
                      <a:pt x="1220" y="1075"/>
                    </a:moveTo>
                    <a:lnTo>
                      <a:pt x="1220" y="1077"/>
                    </a:lnTo>
                    <a:lnTo>
                      <a:pt x="1220" y="1075"/>
                    </a:lnTo>
                    <a:close/>
                    <a:moveTo>
                      <a:pt x="1222" y="1561"/>
                    </a:moveTo>
                    <a:lnTo>
                      <a:pt x="1224" y="1561"/>
                    </a:lnTo>
                    <a:lnTo>
                      <a:pt x="1222" y="1561"/>
                    </a:lnTo>
                    <a:close/>
                    <a:moveTo>
                      <a:pt x="1176" y="1141"/>
                    </a:moveTo>
                    <a:lnTo>
                      <a:pt x="1178" y="1141"/>
                    </a:lnTo>
                    <a:lnTo>
                      <a:pt x="1178" y="1143"/>
                    </a:lnTo>
                    <a:lnTo>
                      <a:pt x="1176" y="1143"/>
                    </a:lnTo>
                    <a:lnTo>
                      <a:pt x="1176" y="1141"/>
                    </a:lnTo>
                    <a:close/>
                    <a:moveTo>
                      <a:pt x="1356" y="1653"/>
                    </a:moveTo>
                    <a:lnTo>
                      <a:pt x="1358" y="1653"/>
                    </a:lnTo>
                    <a:lnTo>
                      <a:pt x="1358" y="1655"/>
                    </a:lnTo>
                    <a:lnTo>
                      <a:pt x="1356" y="1655"/>
                    </a:lnTo>
                    <a:lnTo>
                      <a:pt x="1356" y="1653"/>
                    </a:lnTo>
                    <a:close/>
                    <a:moveTo>
                      <a:pt x="1213" y="1012"/>
                    </a:moveTo>
                    <a:lnTo>
                      <a:pt x="1215" y="1012"/>
                    </a:lnTo>
                    <a:lnTo>
                      <a:pt x="1215" y="1014"/>
                    </a:lnTo>
                    <a:lnTo>
                      <a:pt x="1213" y="1014"/>
                    </a:lnTo>
                    <a:lnTo>
                      <a:pt x="1213" y="1012"/>
                    </a:lnTo>
                    <a:close/>
                    <a:moveTo>
                      <a:pt x="1139" y="1311"/>
                    </a:moveTo>
                    <a:lnTo>
                      <a:pt x="1140" y="1311"/>
                    </a:lnTo>
                    <a:lnTo>
                      <a:pt x="1140" y="1313"/>
                    </a:lnTo>
                    <a:lnTo>
                      <a:pt x="1139" y="1313"/>
                    </a:lnTo>
                    <a:lnTo>
                      <a:pt x="1139" y="1311"/>
                    </a:lnTo>
                    <a:close/>
                    <a:moveTo>
                      <a:pt x="1215" y="1517"/>
                    </a:moveTo>
                    <a:lnTo>
                      <a:pt x="1217" y="1517"/>
                    </a:lnTo>
                    <a:lnTo>
                      <a:pt x="1215" y="1517"/>
                    </a:lnTo>
                    <a:close/>
                    <a:moveTo>
                      <a:pt x="1178" y="1444"/>
                    </a:moveTo>
                    <a:lnTo>
                      <a:pt x="1179" y="1444"/>
                    </a:lnTo>
                    <a:lnTo>
                      <a:pt x="1178" y="1444"/>
                    </a:lnTo>
                    <a:close/>
                    <a:moveTo>
                      <a:pt x="1188" y="1430"/>
                    </a:moveTo>
                    <a:lnTo>
                      <a:pt x="1190" y="1430"/>
                    </a:lnTo>
                    <a:lnTo>
                      <a:pt x="1188" y="1430"/>
                    </a:lnTo>
                    <a:close/>
                    <a:moveTo>
                      <a:pt x="1203" y="1082"/>
                    </a:moveTo>
                    <a:lnTo>
                      <a:pt x="1205" y="1082"/>
                    </a:lnTo>
                    <a:lnTo>
                      <a:pt x="1203" y="1082"/>
                    </a:lnTo>
                    <a:close/>
                    <a:moveTo>
                      <a:pt x="1225" y="1575"/>
                    </a:moveTo>
                    <a:lnTo>
                      <a:pt x="1227" y="1575"/>
                    </a:lnTo>
                    <a:lnTo>
                      <a:pt x="1225" y="1575"/>
                    </a:lnTo>
                    <a:close/>
                    <a:moveTo>
                      <a:pt x="1258" y="1587"/>
                    </a:moveTo>
                    <a:lnTo>
                      <a:pt x="1258" y="1589"/>
                    </a:lnTo>
                    <a:lnTo>
                      <a:pt x="1258" y="1587"/>
                    </a:lnTo>
                    <a:close/>
                    <a:moveTo>
                      <a:pt x="1183" y="1446"/>
                    </a:moveTo>
                    <a:lnTo>
                      <a:pt x="1185" y="1446"/>
                    </a:lnTo>
                    <a:lnTo>
                      <a:pt x="1185" y="1447"/>
                    </a:lnTo>
                    <a:lnTo>
                      <a:pt x="1183" y="1447"/>
                    </a:lnTo>
                    <a:lnTo>
                      <a:pt x="1183" y="1446"/>
                    </a:lnTo>
                    <a:close/>
                    <a:moveTo>
                      <a:pt x="1142" y="1301"/>
                    </a:moveTo>
                    <a:lnTo>
                      <a:pt x="1144" y="1301"/>
                    </a:lnTo>
                    <a:lnTo>
                      <a:pt x="1142" y="1301"/>
                    </a:lnTo>
                    <a:close/>
                    <a:moveTo>
                      <a:pt x="1185" y="1425"/>
                    </a:moveTo>
                    <a:lnTo>
                      <a:pt x="1186" y="1425"/>
                    </a:lnTo>
                    <a:lnTo>
                      <a:pt x="1185" y="1425"/>
                    </a:lnTo>
                    <a:close/>
                    <a:moveTo>
                      <a:pt x="1283" y="1612"/>
                    </a:moveTo>
                    <a:lnTo>
                      <a:pt x="1283" y="1614"/>
                    </a:lnTo>
                    <a:lnTo>
                      <a:pt x="1283" y="1612"/>
                    </a:lnTo>
                    <a:close/>
                    <a:moveTo>
                      <a:pt x="1191" y="1126"/>
                    </a:moveTo>
                    <a:lnTo>
                      <a:pt x="1191" y="1128"/>
                    </a:lnTo>
                    <a:lnTo>
                      <a:pt x="1191" y="1126"/>
                    </a:lnTo>
                    <a:close/>
                    <a:moveTo>
                      <a:pt x="1261" y="1590"/>
                    </a:moveTo>
                    <a:lnTo>
                      <a:pt x="1261" y="1592"/>
                    </a:lnTo>
                    <a:lnTo>
                      <a:pt x="1261" y="1590"/>
                    </a:lnTo>
                    <a:close/>
                    <a:moveTo>
                      <a:pt x="1190" y="1071"/>
                    </a:moveTo>
                    <a:lnTo>
                      <a:pt x="1190" y="1073"/>
                    </a:lnTo>
                    <a:lnTo>
                      <a:pt x="1190" y="1071"/>
                    </a:lnTo>
                    <a:close/>
                    <a:moveTo>
                      <a:pt x="1193" y="1140"/>
                    </a:moveTo>
                    <a:lnTo>
                      <a:pt x="1195" y="1140"/>
                    </a:lnTo>
                    <a:lnTo>
                      <a:pt x="1195" y="1141"/>
                    </a:lnTo>
                    <a:lnTo>
                      <a:pt x="1193" y="1141"/>
                    </a:lnTo>
                    <a:lnTo>
                      <a:pt x="1193" y="1140"/>
                    </a:lnTo>
                    <a:close/>
                    <a:moveTo>
                      <a:pt x="1360" y="1665"/>
                    </a:moveTo>
                    <a:lnTo>
                      <a:pt x="1361" y="1665"/>
                    </a:lnTo>
                    <a:lnTo>
                      <a:pt x="1360" y="1665"/>
                    </a:lnTo>
                    <a:close/>
                    <a:moveTo>
                      <a:pt x="1213" y="1517"/>
                    </a:moveTo>
                    <a:lnTo>
                      <a:pt x="1213" y="1519"/>
                    </a:lnTo>
                    <a:lnTo>
                      <a:pt x="1213" y="1517"/>
                    </a:lnTo>
                    <a:close/>
                    <a:moveTo>
                      <a:pt x="1229" y="1577"/>
                    </a:moveTo>
                    <a:lnTo>
                      <a:pt x="1230" y="1577"/>
                    </a:lnTo>
                    <a:lnTo>
                      <a:pt x="1229" y="1577"/>
                    </a:lnTo>
                    <a:close/>
                    <a:moveTo>
                      <a:pt x="1169" y="1415"/>
                    </a:moveTo>
                    <a:lnTo>
                      <a:pt x="1171" y="1415"/>
                    </a:lnTo>
                    <a:lnTo>
                      <a:pt x="1169" y="1415"/>
                    </a:lnTo>
                    <a:close/>
                    <a:moveTo>
                      <a:pt x="1219" y="1565"/>
                    </a:moveTo>
                    <a:lnTo>
                      <a:pt x="1220" y="1565"/>
                    </a:lnTo>
                    <a:lnTo>
                      <a:pt x="1219" y="1565"/>
                    </a:lnTo>
                    <a:close/>
                    <a:moveTo>
                      <a:pt x="1142" y="1299"/>
                    </a:moveTo>
                    <a:lnTo>
                      <a:pt x="1144" y="1299"/>
                    </a:lnTo>
                    <a:lnTo>
                      <a:pt x="1142" y="1299"/>
                    </a:lnTo>
                    <a:close/>
                    <a:moveTo>
                      <a:pt x="1273" y="1609"/>
                    </a:moveTo>
                    <a:lnTo>
                      <a:pt x="1275" y="1609"/>
                    </a:lnTo>
                    <a:lnTo>
                      <a:pt x="1275" y="1611"/>
                    </a:lnTo>
                    <a:lnTo>
                      <a:pt x="1273" y="1611"/>
                    </a:lnTo>
                    <a:lnTo>
                      <a:pt x="1273" y="1609"/>
                    </a:lnTo>
                    <a:close/>
                    <a:moveTo>
                      <a:pt x="1217" y="1565"/>
                    </a:moveTo>
                    <a:lnTo>
                      <a:pt x="1219" y="1565"/>
                    </a:lnTo>
                    <a:lnTo>
                      <a:pt x="1217" y="1565"/>
                    </a:lnTo>
                    <a:close/>
                    <a:moveTo>
                      <a:pt x="1183" y="1439"/>
                    </a:moveTo>
                    <a:lnTo>
                      <a:pt x="1185" y="1439"/>
                    </a:lnTo>
                    <a:lnTo>
                      <a:pt x="1185" y="1441"/>
                    </a:lnTo>
                    <a:lnTo>
                      <a:pt x="1183" y="1441"/>
                    </a:lnTo>
                    <a:lnTo>
                      <a:pt x="1183" y="1439"/>
                    </a:lnTo>
                    <a:close/>
                    <a:moveTo>
                      <a:pt x="1361" y="1599"/>
                    </a:moveTo>
                    <a:lnTo>
                      <a:pt x="1363" y="1599"/>
                    </a:lnTo>
                    <a:lnTo>
                      <a:pt x="1363" y="1600"/>
                    </a:lnTo>
                    <a:lnTo>
                      <a:pt x="1361" y="1600"/>
                    </a:lnTo>
                    <a:lnTo>
                      <a:pt x="1361" y="1599"/>
                    </a:lnTo>
                    <a:close/>
                    <a:moveTo>
                      <a:pt x="1219" y="1136"/>
                    </a:moveTo>
                    <a:lnTo>
                      <a:pt x="1220" y="1136"/>
                    </a:lnTo>
                    <a:lnTo>
                      <a:pt x="1219" y="1136"/>
                    </a:lnTo>
                    <a:close/>
                    <a:moveTo>
                      <a:pt x="1232" y="1507"/>
                    </a:moveTo>
                    <a:lnTo>
                      <a:pt x="1234" y="1507"/>
                    </a:lnTo>
                    <a:lnTo>
                      <a:pt x="1232" y="1507"/>
                    </a:lnTo>
                    <a:close/>
                    <a:moveTo>
                      <a:pt x="1358" y="1655"/>
                    </a:moveTo>
                    <a:lnTo>
                      <a:pt x="1360" y="1655"/>
                    </a:lnTo>
                    <a:lnTo>
                      <a:pt x="1360" y="1657"/>
                    </a:lnTo>
                    <a:lnTo>
                      <a:pt x="1358" y="1657"/>
                    </a:lnTo>
                    <a:lnTo>
                      <a:pt x="1358" y="1655"/>
                    </a:lnTo>
                    <a:close/>
                    <a:moveTo>
                      <a:pt x="1151" y="1330"/>
                    </a:moveTo>
                    <a:lnTo>
                      <a:pt x="1152" y="1330"/>
                    </a:lnTo>
                    <a:lnTo>
                      <a:pt x="1152" y="1332"/>
                    </a:lnTo>
                    <a:lnTo>
                      <a:pt x="1151" y="1332"/>
                    </a:lnTo>
                    <a:lnTo>
                      <a:pt x="1151" y="1330"/>
                    </a:lnTo>
                    <a:close/>
                    <a:moveTo>
                      <a:pt x="1200" y="1527"/>
                    </a:moveTo>
                    <a:lnTo>
                      <a:pt x="1202" y="1527"/>
                    </a:lnTo>
                    <a:lnTo>
                      <a:pt x="1202" y="1529"/>
                    </a:lnTo>
                    <a:lnTo>
                      <a:pt x="1200" y="1529"/>
                    </a:lnTo>
                    <a:lnTo>
                      <a:pt x="1200" y="1527"/>
                    </a:lnTo>
                    <a:close/>
                    <a:moveTo>
                      <a:pt x="1215" y="1555"/>
                    </a:moveTo>
                    <a:lnTo>
                      <a:pt x="1217" y="1555"/>
                    </a:lnTo>
                    <a:lnTo>
                      <a:pt x="1215" y="1555"/>
                    </a:lnTo>
                    <a:close/>
                    <a:moveTo>
                      <a:pt x="1295" y="1612"/>
                    </a:moveTo>
                    <a:lnTo>
                      <a:pt x="1295" y="1614"/>
                    </a:lnTo>
                    <a:lnTo>
                      <a:pt x="1295" y="1612"/>
                    </a:lnTo>
                    <a:close/>
                    <a:moveTo>
                      <a:pt x="1222" y="1068"/>
                    </a:moveTo>
                    <a:lnTo>
                      <a:pt x="1224" y="1068"/>
                    </a:lnTo>
                    <a:lnTo>
                      <a:pt x="1224" y="1070"/>
                    </a:lnTo>
                    <a:lnTo>
                      <a:pt x="1222" y="1070"/>
                    </a:lnTo>
                    <a:lnTo>
                      <a:pt x="1222" y="1068"/>
                    </a:lnTo>
                    <a:close/>
                    <a:moveTo>
                      <a:pt x="1344" y="1660"/>
                    </a:moveTo>
                    <a:lnTo>
                      <a:pt x="1346" y="1660"/>
                    </a:lnTo>
                    <a:lnTo>
                      <a:pt x="1346" y="1662"/>
                    </a:lnTo>
                    <a:lnTo>
                      <a:pt x="1344" y="1662"/>
                    </a:lnTo>
                    <a:lnTo>
                      <a:pt x="1344" y="1660"/>
                    </a:lnTo>
                    <a:close/>
                    <a:moveTo>
                      <a:pt x="1207" y="1498"/>
                    </a:moveTo>
                    <a:lnTo>
                      <a:pt x="1208" y="1498"/>
                    </a:lnTo>
                    <a:lnTo>
                      <a:pt x="1208" y="1500"/>
                    </a:lnTo>
                    <a:lnTo>
                      <a:pt x="1207" y="1500"/>
                    </a:lnTo>
                    <a:lnTo>
                      <a:pt x="1207" y="1498"/>
                    </a:lnTo>
                    <a:close/>
                    <a:moveTo>
                      <a:pt x="1171" y="1230"/>
                    </a:moveTo>
                    <a:lnTo>
                      <a:pt x="1173" y="1230"/>
                    </a:lnTo>
                    <a:lnTo>
                      <a:pt x="1173" y="1231"/>
                    </a:lnTo>
                    <a:lnTo>
                      <a:pt x="1171" y="1231"/>
                    </a:lnTo>
                    <a:lnTo>
                      <a:pt x="1171" y="1230"/>
                    </a:lnTo>
                    <a:close/>
                    <a:moveTo>
                      <a:pt x="1151" y="1310"/>
                    </a:moveTo>
                    <a:lnTo>
                      <a:pt x="1152" y="1310"/>
                    </a:lnTo>
                    <a:lnTo>
                      <a:pt x="1151" y="1310"/>
                    </a:lnTo>
                    <a:close/>
                    <a:moveTo>
                      <a:pt x="1246" y="1504"/>
                    </a:moveTo>
                    <a:lnTo>
                      <a:pt x="1246" y="1505"/>
                    </a:lnTo>
                    <a:lnTo>
                      <a:pt x="1246" y="1504"/>
                    </a:lnTo>
                    <a:close/>
                    <a:moveTo>
                      <a:pt x="1254" y="1575"/>
                    </a:moveTo>
                    <a:lnTo>
                      <a:pt x="1256" y="1575"/>
                    </a:lnTo>
                    <a:lnTo>
                      <a:pt x="1254" y="1575"/>
                    </a:lnTo>
                    <a:close/>
                    <a:moveTo>
                      <a:pt x="1198" y="1092"/>
                    </a:moveTo>
                    <a:lnTo>
                      <a:pt x="1200" y="1092"/>
                    </a:lnTo>
                    <a:lnTo>
                      <a:pt x="1198" y="1092"/>
                    </a:lnTo>
                    <a:close/>
                    <a:moveTo>
                      <a:pt x="1191" y="1379"/>
                    </a:moveTo>
                    <a:lnTo>
                      <a:pt x="1193" y="1379"/>
                    </a:lnTo>
                    <a:lnTo>
                      <a:pt x="1191" y="1379"/>
                    </a:lnTo>
                    <a:close/>
                    <a:moveTo>
                      <a:pt x="1154" y="1288"/>
                    </a:moveTo>
                    <a:lnTo>
                      <a:pt x="1154" y="1289"/>
                    </a:lnTo>
                    <a:lnTo>
                      <a:pt x="1154" y="1288"/>
                    </a:lnTo>
                    <a:close/>
                    <a:moveTo>
                      <a:pt x="1173" y="1395"/>
                    </a:moveTo>
                    <a:lnTo>
                      <a:pt x="1174" y="1395"/>
                    </a:lnTo>
                    <a:lnTo>
                      <a:pt x="1173" y="1395"/>
                    </a:lnTo>
                    <a:close/>
                    <a:moveTo>
                      <a:pt x="1219" y="1568"/>
                    </a:moveTo>
                    <a:lnTo>
                      <a:pt x="1219" y="1570"/>
                    </a:lnTo>
                    <a:lnTo>
                      <a:pt x="1219" y="1568"/>
                    </a:lnTo>
                    <a:close/>
                    <a:moveTo>
                      <a:pt x="1200" y="1094"/>
                    </a:moveTo>
                    <a:lnTo>
                      <a:pt x="1202" y="1094"/>
                    </a:lnTo>
                    <a:lnTo>
                      <a:pt x="1200" y="1094"/>
                    </a:lnTo>
                    <a:close/>
                    <a:moveTo>
                      <a:pt x="1205" y="1060"/>
                    </a:moveTo>
                    <a:lnTo>
                      <a:pt x="1207" y="1060"/>
                    </a:lnTo>
                    <a:lnTo>
                      <a:pt x="1207" y="1061"/>
                    </a:lnTo>
                    <a:lnTo>
                      <a:pt x="1205" y="1061"/>
                    </a:lnTo>
                    <a:lnTo>
                      <a:pt x="1205" y="1060"/>
                    </a:lnTo>
                    <a:close/>
                    <a:moveTo>
                      <a:pt x="1215" y="1502"/>
                    </a:moveTo>
                    <a:lnTo>
                      <a:pt x="1217" y="1502"/>
                    </a:lnTo>
                    <a:lnTo>
                      <a:pt x="1217" y="1504"/>
                    </a:lnTo>
                    <a:lnTo>
                      <a:pt x="1215" y="1504"/>
                    </a:lnTo>
                    <a:lnTo>
                      <a:pt x="1215" y="1502"/>
                    </a:lnTo>
                    <a:close/>
                    <a:moveTo>
                      <a:pt x="1254" y="1492"/>
                    </a:moveTo>
                    <a:lnTo>
                      <a:pt x="1254" y="1493"/>
                    </a:lnTo>
                    <a:lnTo>
                      <a:pt x="1254" y="1492"/>
                    </a:lnTo>
                    <a:close/>
                    <a:moveTo>
                      <a:pt x="1174" y="1473"/>
                    </a:moveTo>
                    <a:lnTo>
                      <a:pt x="1174" y="1475"/>
                    </a:lnTo>
                    <a:lnTo>
                      <a:pt x="1174" y="1473"/>
                    </a:lnTo>
                    <a:close/>
                    <a:moveTo>
                      <a:pt x="1298" y="1641"/>
                    </a:moveTo>
                    <a:lnTo>
                      <a:pt x="1300" y="1641"/>
                    </a:lnTo>
                    <a:lnTo>
                      <a:pt x="1298" y="1641"/>
                    </a:lnTo>
                    <a:close/>
                    <a:moveTo>
                      <a:pt x="1207" y="1527"/>
                    </a:moveTo>
                    <a:lnTo>
                      <a:pt x="1207" y="1529"/>
                    </a:lnTo>
                    <a:lnTo>
                      <a:pt x="1207" y="1527"/>
                    </a:lnTo>
                    <a:close/>
                    <a:moveTo>
                      <a:pt x="1421" y="1669"/>
                    </a:moveTo>
                    <a:lnTo>
                      <a:pt x="1423" y="1669"/>
                    </a:lnTo>
                    <a:lnTo>
                      <a:pt x="1421" y="1669"/>
                    </a:lnTo>
                    <a:close/>
                    <a:moveTo>
                      <a:pt x="1263" y="1600"/>
                    </a:moveTo>
                    <a:lnTo>
                      <a:pt x="1264" y="1600"/>
                    </a:lnTo>
                    <a:lnTo>
                      <a:pt x="1264" y="1602"/>
                    </a:lnTo>
                    <a:lnTo>
                      <a:pt x="1263" y="1602"/>
                    </a:lnTo>
                    <a:lnTo>
                      <a:pt x="1263" y="1600"/>
                    </a:lnTo>
                    <a:close/>
                    <a:moveTo>
                      <a:pt x="1222" y="1068"/>
                    </a:moveTo>
                    <a:lnTo>
                      <a:pt x="1224" y="1068"/>
                    </a:lnTo>
                    <a:lnTo>
                      <a:pt x="1224" y="1070"/>
                    </a:lnTo>
                    <a:lnTo>
                      <a:pt x="1222" y="1070"/>
                    </a:lnTo>
                    <a:lnTo>
                      <a:pt x="1222" y="1068"/>
                    </a:lnTo>
                    <a:close/>
                    <a:moveTo>
                      <a:pt x="1181" y="1298"/>
                    </a:moveTo>
                    <a:lnTo>
                      <a:pt x="1183" y="1298"/>
                    </a:lnTo>
                    <a:lnTo>
                      <a:pt x="1181" y="1298"/>
                    </a:lnTo>
                    <a:close/>
                    <a:moveTo>
                      <a:pt x="1195" y="1454"/>
                    </a:moveTo>
                    <a:lnTo>
                      <a:pt x="1196" y="1454"/>
                    </a:lnTo>
                    <a:lnTo>
                      <a:pt x="1195" y="1454"/>
                    </a:lnTo>
                    <a:close/>
                    <a:moveTo>
                      <a:pt x="1181" y="1211"/>
                    </a:moveTo>
                    <a:lnTo>
                      <a:pt x="1183" y="1211"/>
                    </a:lnTo>
                    <a:lnTo>
                      <a:pt x="1181" y="1211"/>
                    </a:lnTo>
                    <a:close/>
                    <a:moveTo>
                      <a:pt x="1147" y="1289"/>
                    </a:moveTo>
                    <a:lnTo>
                      <a:pt x="1149" y="1289"/>
                    </a:lnTo>
                    <a:lnTo>
                      <a:pt x="1147" y="1289"/>
                    </a:lnTo>
                    <a:close/>
                    <a:moveTo>
                      <a:pt x="1183" y="1316"/>
                    </a:moveTo>
                    <a:lnTo>
                      <a:pt x="1183" y="1318"/>
                    </a:lnTo>
                    <a:lnTo>
                      <a:pt x="1183" y="1316"/>
                    </a:lnTo>
                    <a:close/>
                    <a:moveTo>
                      <a:pt x="1232" y="1544"/>
                    </a:moveTo>
                    <a:lnTo>
                      <a:pt x="1234" y="1544"/>
                    </a:lnTo>
                    <a:lnTo>
                      <a:pt x="1234" y="1546"/>
                    </a:lnTo>
                    <a:lnTo>
                      <a:pt x="1232" y="1546"/>
                    </a:lnTo>
                    <a:lnTo>
                      <a:pt x="1232" y="1544"/>
                    </a:lnTo>
                    <a:close/>
                    <a:moveTo>
                      <a:pt x="1185" y="1463"/>
                    </a:moveTo>
                    <a:lnTo>
                      <a:pt x="1186" y="1463"/>
                    </a:lnTo>
                    <a:lnTo>
                      <a:pt x="1186" y="1464"/>
                    </a:lnTo>
                    <a:lnTo>
                      <a:pt x="1185" y="1464"/>
                    </a:lnTo>
                    <a:lnTo>
                      <a:pt x="1185" y="1463"/>
                    </a:lnTo>
                    <a:close/>
                    <a:moveTo>
                      <a:pt x="1178" y="1434"/>
                    </a:moveTo>
                    <a:lnTo>
                      <a:pt x="1179" y="1434"/>
                    </a:lnTo>
                    <a:lnTo>
                      <a:pt x="1178" y="1434"/>
                    </a:lnTo>
                    <a:close/>
                    <a:moveTo>
                      <a:pt x="1162" y="1245"/>
                    </a:moveTo>
                    <a:lnTo>
                      <a:pt x="1162" y="1247"/>
                    </a:lnTo>
                    <a:lnTo>
                      <a:pt x="1162" y="1245"/>
                    </a:lnTo>
                    <a:close/>
                    <a:moveTo>
                      <a:pt x="1229" y="1039"/>
                    </a:moveTo>
                    <a:lnTo>
                      <a:pt x="1229" y="1041"/>
                    </a:lnTo>
                    <a:lnTo>
                      <a:pt x="1229" y="1039"/>
                    </a:lnTo>
                    <a:close/>
                    <a:moveTo>
                      <a:pt x="1183" y="1289"/>
                    </a:moveTo>
                    <a:lnTo>
                      <a:pt x="1185" y="1289"/>
                    </a:lnTo>
                    <a:lnTo>
                      <a:pt x="1183" y="1289"/>
                    </a:lnTo>
                    <a:close/>
                    <a:moveTo>
                      <a:pt x="1402" y="1645"/>
                    </a:moveTo>
                    <a:lnTo>
                      <a:pt x="1402" y="1646"/>
                    </a:lnTo>
                    <a:lnTo>
                      <a:pt x="1402" y="1645"/>
                    </a:lnTo>
                    <a:close/>
                    <a:moveTo>
                      <a:pt x="1213" y="1556"/>
                    </a:moveTo>
                    <a:lnTo>
                      <a:pt x="1215" y="1556"/>
                    </a:lnTo>
                    <a:lnTo>
                      <a:pt x="1213" y="1556"/>
                    </a:lnTo>
                    <a:close/>
                    <a:moveTo>
                      <a:pt x="1191" y="1412"/>
                    </a:moveTo>
                    <a:lnTo>
                      <a:pt x="1191" y="1413"/>
                    </a:lnTo>
                    <a:lnTo>
                      <a:pt x="1191" y="1412"/>
                    </a:lnTo>
                    <a:close/>
                    <a:moveTo>
                      <a:pt x="1179" y="1430"/>
                    </a:moveTo>
                    <a:lnTo>
                      <a:pt x="1181" y="1430"/>
                    </a:lnTo>
                    <a:lnTo>
                      <a:pt x="1179" y="1430"/>
                    </a:lnTo>
                    <a:close/>
                    <a:moveTo>
                      <a:pt x="1183" y="1463"/>
                    </a:moveTo>
                    <a:lnTo>
                      <a:pt x="1185" y="1463"/>
                    </a:lnTo>
                    <a:lnTo>
                      <a:pt x="1183" y="1463"/>
                    </a:lnTo>
                    <a:close/>
                    <a:moveTo>
                      <a:pt x="1152" y="1187"/>
                    </a:moveTo>
                    <a:lnTo>
                      <a:pt x="1154" y="1187"/>
                    </a:lnTo>
                    <a:lnTo>
                      <a:pt x="1152" y="1187"/>
                    </a:lnTo>
                    <a:close/>
                    <a:moveTo>
                      <a:pt x="1358" y="1657"/>
                    </a:moveTo>
                    <a:lnTo>
                      <a:pt x="1360" y="1657"/>
                    </a:lnTo>
                    <a:lnTo>
                      <a:pt x="1358" y="1657"/>
                    </a:lnTo>
                    <a:close/>
                    <a:moveTo>
                      <a:pt x="1178" y="1425"/>
                    </a:moveTo>
                    <a:lnTo>
                      <a:pt x="1179" y="1425"/>
                    </a:lnTo>
                    <a:lnTo>
                      <a:pt x="1179" y="1427"/>
                    </a:lnTo>
                    <a:lnTo>
                      <a:pt x="1178" y="1427"/>
                    </a:lnTo>
                    <a:lnTo>
                      <a:pt x="1178" y="1425"/>
                    </a:lnTo>
                    <a:close/>
                    <a:moveTo>
                      <a:pt x="1154" y="1313"/>
                    </a:moveTo>
                    <a:lnTo>
                      <a:pt x="1156" y="1313"/>
                    </a:lnTo>
                    <a:lnTo>
                      <a:pt x="1154" y="1313"/>
                    </a:lnTo>
                    <a:close/>
                    <a:moveTo>
                      <a:pt x="1185" y="1527"/>
                    </a:moveTo>
                    <a:lnTo>
                      <a:pt x="1185" y="1529"/>
                    </a:lnTo>
                    <a:lnTo>
                      <a:pt x="1185" y="1527"/>
                    </a:lnTo>
                    <a:close/>
                    <a:moveTo>
                      <a:pt x="1380" y="1667"/>
                    </a:moveTo>
                    <a:lnTo>
                      <a:pt x="1382" y="1667"/>
                    </a:lnTo>
                    <a:lnTo>
                      <a:pt x="1380" y="1667"/>
                    </a:lnTo>
                    <a:close/>
                    <a:moveTo>
                      <a:pt x="1205" y="1527"/>
                    </a:moveTo>
                    <a:lnTo>
                      <a:pt x="1207" y="1527"/>
                    </a:lnTo>
                    <a:lnTo>
                      <a:pt x="1207" y="1529"/>
                    </a:lnTo>
                    <a:lnTo>
                      <a:pt x="1205" y="1529"/>
                    </a:lnTo>
                    <a:lnTo>
                      <a:pt x="1205" y="1527"/>
                    </a:lnTo>
                    <a:close/>
                    <a:moveTo>
                      <a:pt x="1397" y="1663"/>
                    </a:moveTo>
                    <a:lnTo>
                      <a:pt x="1397" y="1665"/>
                    </a:lnTo>
                    <a:lnTo>
                      <a:pt x="1397" y="1663"/>
                    </a:lnTo>
                    <a:close/>
                    <a:moveTo>
                      <a:pt x="1358" y="1667"/>
                    </a:moveTo>
                    <a:lnTo>
                      <a:pt x="1360" y="1667"/>
                    </a:lnTo>
                    <a:lnTo>
                      <a:pt x="1358" y="1667"/>
                    </a:lnTo>
                    <a:close/>
                    <a:moveTo>
                      <a:pt x="1190" y="1231"/>
                    </a:moveTo>
                    <a:lnTo>
                      <a:pt x="1191" y="1231"/>
                    </a:lnTo>
                    <a:lnTo>
                      <a:pt x="1190" y="1231"/>
                    </a:lnTo>
                    <a:close/>
                    <a:moveTo>
                      <a:pt x="1168" y="1136"/>
                    </a:moveTo>
                    <a:lnTo>
                      <a:pt x="1169" y="1136"/>
                    </a:lnTo>
                    <a:lnTo>
                      <a:pt x="1169" y="1138"/>
                    </a:lnTo>
                    <a:lnTo>
                      <a:pt x="1168" y="1138"/>
                    </a:lnTo>
                    <a:lnTo>
                      <a:pt x="1168" y="1136"/>
                    </a:lnTo>
                    <a:close/>
                    <a:moveTo>
                      <a:pt x="1183" y="1430"/>
                    </a:moveTo>
                    <a:lnTo>
                      <a:pt x="1185" y="1430"/>
                    </a:lnTo>
                    <a:lnTo>
                      <a:pt x="1183" y="1430"/>
                    </a:lnTo>
                    <a:close/>
                    <a:moveTo>
                      <a:pt x="1220" y="1083"/>
                    </a:moveTo>
                    <a:lnTo>
                      <a:pt x="1220" y="1085"/>
                    </a:lnTo>
                    <a:lnTo>
                      <a:pt x="1220" y="1083"/>
                    </a:lnTo>
                    <a:close/>
                    <a:moveTo>
                      <a:pt x="1183" y="1299"/>
                    </a:moveTo>
                    <a:lnTo>
                      <a:pt x="1183" y="1301"/>
                    </a:lnTo>
                    <a:lnTo>
                      <a:pt x="1183" y="1299"/>
                    </a:lnTo>
                    <a:close/>
                    <a:moveTo>
                      <a:pt x="1254" y="1590"/>
                    </a:moveTo>
                    <a:lnTo>
                      <a:pt x="1256" y="1590"/>
                    </a:lnTo>
                    <a:lnTo>
                      <a:pt x="1254" y="1590"/>
                    </a:lnTo>
                    <a:close/>
                    <a:moveTo>
                      <a:pt x="1222" y="1070"/>
                    </a:moveTo>
                    <a:lnTo>
                      <a:pt x="1224" y="1070"/>
                    </a:lnTo>
                    <a:lnTo>
                      <a:pt x="1222" y="1070"/>
                    </a:lnTo>
                    <a:close/>
                    <a:moveTo>
                      <a:pt x="1161" y="1470"/>
                    </a:moveTo>
                    <a:lnTo>
                      <a:pt x="1162" y="1470"/>
                    </a:lnTo>
                    <a:lnTo>
                      <a:pt x="1161" y="1470"/>
                    </a:lnTo>
                    <a:close/>
                    <a:moveTo>
                      <a:pt x="1343" y="1655"/>
                    </a:moveTo>
                    <a:lnTo>
                      <a:pt x="1344" y="1655"/>
                    </a:lnTo>
                    <a:lnTo>
                      <a:pt x="1343" y="1655"/>
                    </a:lnTo>
                    <a:close/>
                    <a:moveTo>
                      <a:pt x="1171" y="1413"/>
                    </a:moveTo>
                    <a:lnTo>
                      <a:pt x="1173" y="1413"/>
                    </a:lnTo>
                    <a:lnTo>
                      <a:pt x="1173" y="1415"/>
                    </a:lnTo>
                    <a:lnTo>
                      <a:pt x="1171" y="1415"/>
                    </a:lnTo>
                    <a:lnTo>
                      <a:pt x="1171" y="1413"/>
                    </a:lnTo>
                    <a:close/>
                    <a:moveTo>
                      <a:pt x="1169" y="1473"/>
                    </a:moveTo>
                    <a:lnTo>
                      <a:pt x="1169" y="1475"/>
                    </a:lnTo>
                    <a:lnTo>
                      <a:pt x="1169" y="1473"/>
                    </a:lnTo>
                    <a:close/>
                    <a:moveTo>
                      <a:pt x="1159" y="1247"/>
                    </a:moveTo>
                    <a:lnTo>
                      <a:pt x="1161" y="1247"/>
                    </a:lnTo>
                    <a:lnTo>
                      <a:pt x="1161" y="1248"/>
                    </a:lnTo>
                    <a:lnTo>
                      <a:pt x="1159" y="1248"/>
                    </a:lnTo>
                    <a:lnTo>
                      <a:pt x="1159" y="1247"/>
                    </a:lnTo>
                    <a:close/>
                    <a:moveTo>
                      <a:pt x="1154" y="1191"/>
                    </a:moveTo>
                    <a:lnTo>
                      <a:pt x="1156" y="1191"/>
                    </a:lnTo>
                    <a:lnTo>
                      <a:pt x="1154" y="1191"/>
                    </a:lnTo>
                    <a:close/>
                    <a:moveTo>
                      <a:pt x="1186" y="1441"/>
                    </a:moveTo>
                    <a:lnTo>
                      <a:pt x="1186" y="1442"/>
                    </a:lnTo>
                    <a:lnTo>
                      <a:pt x="1186" y="1441"/>
                    </a:lnTo>
                    <a:close/>
                    <a:moveTo>
                      <a:pt x="1152" y="1330"/>
                    </a:moveTo>
                    <a:lnTo>
                      <a:pt x="1154" y="1330"/>
                    </a:lnTo>
                    <a:lnTo>
                      <a:pt x="1152" y="1330"/>
                    </a:lnTo>
                    <a:close/>
                    <a:moveTo>
                      <a:pt x="1173" y="1430"/>
                    </a:moveTo>
                    <a:lnTo>
                      <a:pt x="1174" y="1430"/>
                    </a:lnTo>
                    <a:lnTo>
                      <a:pt x="1174" y="1432"/>
                    </a:lnTo>
                    <a:lnTo>
                      <a:pt x="1173" y="1432"/>
                    </a:lnTo>
                    <a:lnTo>
                      <a:pt x="1173" y="1430"/>
                    </a:lnTo>
                    <a:close/>
                    <a:moveTo>
                      <a:pt x="1242" y="1589"/>
                    </a:moveTo>
                    <a:lnTo>
                      <a:pt x="1242" y="1590"/>
                    </a:lnTo>
                    <a:lnTo>
                      <a:pt x="1242" y="1589"/>
                    </a:lnTo>
                    <a:close/>
                    <a:moveTo>
                      <a:pt x="1144" y="1269"/>
                    </a:moveTo>
                    <a:lnTo>
                      <a:pt x="1144" y="1270"/>
                    </a:lnTo>
                    <a:lnTo>
                      <a:pt x="1144" y="1269"/>
                    </a:lnTo>
                    <a:close/>
                    <a:moveTo>
                      <a:pt x="1193" y="1126"/>
                    </a:moveTo>
                    <a:lnTo>
                      <a:pt x="1193" y="1128"/>
                    </a:lnTo>
                    <a:lnTo>
                      <a:pt x="1193" y="1126"/>
                    </a:lnTo>
                    <a:close/>
                    <a:moveTo>
                      <a:pt x="1270" y="1592"/>
                    </a:moveTo>
                    <a:lnTo>
                      <a:pt x="1271" y="1592"/>
                    </a:lnTo>
                    <a:lnTo>
                      <a:pt x="1270" y="1592"/>
                    </a:lnTo>
                    <a:close/>
                    <a:moveTo>
                      <a:pt x="1210" y="1242"/>
                    </a:moveTo>
                    <a:lnTo>
                      <a:pt x="1212" y="1242"/>
                    </a:lnTo>
                    <a:lnTo>
                      <a:pt x="1210" y="1242"/>
                    </a:lnTo>
                    <a:close/>
                    <a:moveTo>
                      <a:pt x="1203" y="1061"/>
                    </a:moveTo>
                    <a:lnTo>
                      <a:pt x="1205" y="1061"/>
                    </a:lnTo>
                    <a:lnTo>
                      <a:pt x="1203" y="1061"/>
                    </a:lnTo>
                    <a:close/>
                    <a:moveTo>
                      <a:pt x="1185" y="1493"/>
                    </a:moveTo>
                    <a:lnTo>
                      <a:pt x="1185" y="1495"/>
                    </a:lnTo>
                    <a:lnTo>
                      <a:pt x="1185" y="1493"/>
                    </a:lnTo>
                    <a:close/>
                    <a:moveTo>
                      <a:pt x="1208" y="1070"/>
                    </a:moveTo>
                    <a:lnTo>
                      <a:pt x="1210" y="1070"/>
                    </a:lnTo>
                    <a:lnTo>
                      <a:pt x="1210" y="1071"/>
                    </a:lnTo>
                    <a:lnTo>
                      <a:pt x="1208" y="1071"/>
                    </a:lnTo>
                    <a:lnTo>
                      <a:pt x="1208" y="1070"/>
                    </a:lnTo>
                    <a:close/>
                    <a:moveTo>
                      <a:pt x="1157" y="1236"/>
                    </a:moveTo>
                    <a:lnTo>
                      <a:pt x="1157" y="1238"/>
                    </a:lnTo>
                    <a:lnTo>
                      <a:pt x="1157" y="1236"/>
                    </a:lnTo>
                    <a:close/>
                    <a:moveTo>
                      <a:pt x="1207" y="1063"/>
                    </a:moveTo>
                    <a:lnTo>
                      <a:pt x="1207" y="1065"/>
                    </a:lnTo>
                    <a:lnTo>
                      <a:pt x="1207" y="1063"/>
                    </a:lnTo>
                    <a:close/>
                    <a:moveTo>
                      <a:pt x="1205" y="1556"/>
                    </a:moveTo>
                    <a:lnTo>
                      <a:pt x="1207" y="1556"/>
                    </a:lnTo>
                    <a:lnTo>
                      <a:pt x="1205" y="1556"/>
                    </a:lnTo>
                    <a:close/>
                    <a:moveTo>
                      <a:pt x="1419" y="1674"/>
                    </a:moveTo>
                    <a:lnTo>
                      <a:pt x="1421" y="1674"/>
                    </a:lnTo>
                    <a:lnTo>
                      <a:pt x="1419" y="1674"/>
                    </a:lnTo>
                    <a:close/>
                    <a:moveTo>
                      <a:pt x="1300" y="1568"/>
                    </a:moveTo>
                    <a:lnTo>
                      <a:pt x="1302" y="1568"/>
                    </a:lnTo>
                    <a:lnTo>
                      <a:pt x="1300" y="1568"/>
                    </a:lnTo>
                    <a:close/>
                    <a:moveTo>
                      <a:pt x="1207" y="1053"/>
                    </a:moveTo>
                    <a:lnTo>
                      <a:pt x="1207" y="1054"/>
                    </a:lnTo>
                    <a:lnTo>
                      <a:pt x="1207" y="1053"/>
                    </a:lnTo>
                    <a:close/>
                    <a:moveTo>
                      <a:pt x="1297" y="1594"/>
                    </a:moveTo>
                    <a:lnTo>
                      <a:pt x="1298" y="1594"/>
                    </a:lnTo>
                    <a:lnTo>
                      <a:pt x="1297" y="1594"/>
                    </a:lnTo>
                    <a:close/>
                    <a:moveTo>
                      <a:pt x="1319" y="1514"/>
                    </a:moveTo>
                    <a:lnTo>
                      <a:pt x="1321" y="1514"/>
                    </a:lnTo>
                    <a:lnTo>
                      <a:pt x="1321" y="1515"/>
                    </a:lnTo>
                    <a:lnTo>
                      <a:pt x="1319" y="1515"/>
                    </a:lnTo>
                    <a:lnTo>
                      <a:pt x="1319" y="1514"/>
                    </a:lnTo>
                    <a:close/>
                    <a:moveTo>
                      <a:pt x="1191" y="1464"/>
                    </a:moveTo>
                    <a:lnTo>
                      <a:pt x="1193" y="1464"/>
                    </a:lnTo>
                    <a:lnTo>
                      <a:pt x="1191" y="1464"/>
                    </a:lnTo>
                    <a:close/>
                    <a:moveTo>
                      <a:pt x="1219" y="1568"/>
                    </a:moveTo>
                    <a:lnTo>
                      <a:pt x="1220" y="1568"/>
                    </a:lnTo>
                    <a:lnTo>
                      <a:pt x="1220" y="1570"/>
                    </a:lnTo>
                    <a:lnTo>
                      <a:pt x="1219" y="1570"/>
                    </a:lnTo>
                    <a:lnTo>
                      <a:pt x="1219" y="1568"/>
                    </a:lnTo>
                    <a:close/>
                    <a:moveTo>
                      <a:pt x="1203" y="1054"/>
                    </a:moveTo>
                    <a:lnTo>
                      <a:pt x="1205" y="1054"/>
                    </a:lnTo>
                    <a:lnTo>
                      <a:pt x="1203" y="1054"/>
                    </a:lnTo>
                    <a:close/>
                    <a:moveTo>
                      <a:pt x="1360" y="1657"/>
                    </a:moveTo>
                    <a:lnTo>
                      <a:pt x="1360" y="1658"/>
                    </a:lnTo>
                    <a:lnTo>
                      <a:pt x="1360" y="1657"/>
                    </a:lnTo>
                    <a:close/>
                    <a:moveTo>
                      <a:pt x="1234" y="1124"/>
                    </a:moveTo>
                    <a:lnTo>
                      <a:pt x="1236" y="1124"/>
                    </a:lnTo>
                    <a:lnTo>
                      <a:pt x="1236" y="1126"/>
                    </a:lnTo>
                    <a:lnTo>
                      <a:pt x="1234" y="1126"/>
                    </a:lnTo>
                    <a:lnTo>
                      <a:pt x="1234" y="1124"/>
                    </a:lnTo>
                    <a:close/>
                    <a:moveTo>
                      <a:pt x="1322" y="1628"/>
                    </a:moveTo>
                    <a:lnTo>
                      <a:pt x="1322" y="1629"/>
                    </a:lnTo>
                    <a:lnTo>
                      <a:pt x="1322" y="1628"/>
                    </a:lnTo>
                    <a:close/>
                    <a:moveTo>
                      <a:pt x="1215" y="1538"/>
                    </a:moveTo>
                    <a:lnTo>
                      <a:pt x="1217" y="1538"/>
                    </a:lnTo>
                    <a:lnTo>
                      <a:pt x="1215" y="1538"/>
                    </a:lnTo>
                    <a:close/>
                    <a:moveTo>
                      <a:pt x="1200" y="1082"/>
                    </a:moveTo>
                    <a:lnTo>
                      <a:pt x="1200" y="1083"/>
                    </a:lnTo>
                    <a:lnTo>
                      <a:pt x="1200" y="1082"/>
                    </a:lnTo>
                    <a:close/>
                    <a:moveTo>
                      <a:pt x="1188" y="1497"/>
                    </a:moveTo>
                    <a:lnTo>
                      <a:pt x="1190" y="1497"/>
                    </a:lnTo>
                    <a:lnTo>
                      <a:pt x="1188" y="1497"/>
                    </a:lnTo>
                    <a:close/>
                    <a:moveTo>
                      <a:pt x="1213" y="1500"/>
                    </a:moveTo>
                    <a:lnTo>
                      <a:pt x="1215" y="1500"/>
                    </a:lnTo>
                    <a:lnTo>
                      <a:pt x="1213" y="1500"/>
                    </a:lnTo>
                    <a:close/>
                    <a:moveTo>
                      <a:pt x="1310" y="1641"/>
                    </a:moveTo>
                    <a:lnTo>
                      <a:pt x="1310" y="1643"/>
                    </a:lnTo>
                    <a:lnTo>
                      <a:pt x="1310" y="1641"/>
                    </a:lnTo>
                    <a:close/>
                    <a:moveTo>
                      <a:pt x="1171" y="1432"/>
                    </a:moveTo>
                    <a:lnTo>
                      <a:pt x="1173" y="1432"/>
                    </a:lnTo>
                    <a:lnTo>
                      <a:pt x="1171" y="1432"/>
                    </a:lnTo>
                    <a:close/>
                    <a:moveTo>
                      <a:pt x="1208" y="1461"/>
                    </a:moveTo>
                    <a:lnTo>
                      <a:pt x="1208" y="1463"/>
                    </a:lnTo>
                    <a:lnTo>
                      <a:pt x="1208" y="1461"/>
                    </a:lnTo>
                    <a:close/>
                    <a:moveTo>
                      <a:pt x="1232" y="1475"/>
                    </a:moveTo>
                    <a:lnTo>
                      <a:pt x="1232" y="1476"/>
                    </a:lnTo>
                    <a:lnTo>
                      <a:pt x="1232" y="1475"/>
                    </a:lnTo>
                    <a:close/>
                    <a:moveTo>
                      <a:pt x="1229" y="1575"/>
                    </a:moveTo>
                    <a:lnTo>
                      <a:pt x="1229" y="1577"/>
                    </a:lnTo>
                    <a:lnTo>
                      <a:pt x="1229" y="1575"/>
                    </a:lnTo>
                    <a:close/>
                    <a:moveTo>
                      <a:pt x="1183" y="1422"/>
                    </a:moveTo>
                    <a:lnTo>
                      <a:pt x="1185" y="1422"/>
                    </a:lnTo>
                    <a:lnTo>
                      <a:pt x="1185" y="1424"/>
                    </a:lnTo>
                    <a:lnTo>
                      <a:pt x="1183" y="1424"/>
                    </a:lnTo>
                    <a:lnTo>
                      <a:pt x="1183" y="1422"/>
                    </a:lnTo>
                    <a:close/>
                    <a:moveTo>
                      <a:pt x="1169" y="1242"/>
                    </a:moveTo>
                    <a:lnTo>
                      <a:pt x="1171" y="1242"/>
                    </a:lnTo>
                    <a:lnTo>
                      <a:pt x="1169" y="1242"/>
                    </a:lnTo>
                    <a:close/>
                    <a:moveTo>
                      <a:pt x="1162" y="1459"/>
                    </a:moveTo>
                    <a:lnTo>
                      <a:pt x="1162" y="1461"/>
                    </a:lnTo>
                    <a:lnTo>
                      <a:pt x="1162" y="1459"/>
                    </a:lnTo>
                    <a:close/>
                    <a:moveTo>
                      <a:pt x="1329" y="1645"/>
                    </a:moveTo>
                    <a:lnTo>
                      <a:pt x="1331" y="1645"/>
                    </a:lnTo>
                    <a:lnTo>
                      <a:pt x="1329" y="1645"/>
                    </a:lnTo>
                    <a:close/>
                    <a:moveTo>
                      <a:pt x="1178" y="1384"/>
                    </a:moveTo>
                    <a:lnTo>
                      <a:pt x="1178" y="1386"/>
                    </a:lnTo>
                    <a:lnTo>
                      <a:pt x="1178" y="1384"/>
                    </a:lnTo>
                    <a:close/>
                    <a:moveTo>
                      <a:pt x="1298" y="1621"/>
                    </a:moveTo>
                    <a:lnTo>
                      <a:pt x="1300" y="1621"/>
                    </a:lnTo>
                    <a:lnTo>
                      <a:pt x="1298" y="1621"/>
                    </a:lnTo>
                    <a:close/>
                    <a:moveTo>
                      <a:pt x="1188" y="1492"/>
                    </a:moveTo>
                    <a:lnTo>
                      <a:pt x="1190" y="1492"/>
                    </a:lnTo>
                    <a:lnTo>
                      <a:pt x="1188" y="1492"/>
                    </a:lnTo>
                    <a:close/>
                    <a:moveTo>
                      <a:pt x="1140" y="1298"/>
                    </a:moveTo>
                    <a:lnTo>
                      <a:pt x="1140" y="1299"/>
                    </a:lnTo>
                    <a:lnTo>
                      <a:pt x="1140" y="1298"/>
                    </a:lnTo>
                    <a:close/>
                    <a:moveTo>
                      <a:pt x="1208" y="1534"/>
                    </a:moveTo>
                    <a:lnTo>
                      <a:pt x="1210" y="1534"/>
                    </a:lnTo>
                    <a:lnTo>
                      <a:pt x="1210" y="1536"/>
                    </a:lnTo>
                    <a:lnTo>
                      <a:pt x="1208" y="1536"/>
                    </a:lnTo>
                    <a:lnTo>
                      <a:pt x="1208" y="1534"/>
                    </a:lnTo>
                    <a:close/>
                    <a:moveTo>
                      <a:pt x="1196" y="1454"/>
                    </a:moveTo>
                    <a:lnTo>
                      <a:pt x="1198" y="1454"/>
                    </a:lnTo>
                    <a:lnTo>
                      <a:pt x="1196" y="1454"/>
                    </a:lnTo>
                    <a:close/>
                    <a:moveTo>
                      <a:pt x="1154" y="1250"/>
                    </a:moveTo>
                    <a:lnTo>
                      <a:pt x="1154" y="1252"/>
                    </a:lnTo>
                    <a:lnTo>
                      <a:pt x="1154" y="1250"/>
                    </a:lnTo>
                    <a:close/>
                    <a:moveTo>
                      <a:pt x="1193" y="1054"/>
                    </a:moveTo>
                    <a:lnTo>
                      <a:pt x="1195" y="1054"/>
                    </a:lnTo>
                    <a:lnTo>
                      <a:pt x="1193" y="1054"/>
                    </a:lnTo>
                    <a:close/>
                    <a:moveTo>
                      <a:pt x="1414" y="1669"/>
                    </a:moveTo>
                    <a:lnTo>
                      <a:pt x="1416" y="1669"/>
                    </a:lnTo>
                    <a:lnTo>
                      <a:pt x="1414" y="1669"/>
                    </a:lnTo>
                    <a:close/>
                    <a:moveTo>
                      <a:pt x="1287" y="1626"/>
                    </a:moveTo>
                    <a:lnTo>
                      <a:pt x="1287" y="1628"/>
                    </a:lnTo>
                    <a:lnTo>
                      <a:pt x="1287" y="1626"/>
                    </a:lnTo>
                    <a:close/>
                    <a:moveTo>
                      <a:pt x="1196" y="1417"/>
                    </a:moveTo>
                    <a:lnTo>
                      <a:pt x="1198" y="1417"/>
                    </a:lnTo>
                    <a:lnTo>
                      <a:pt x="1198" y="1418"/>
                    </a:lnTo>
                    <a:lnTo>
                      <a:pt x="1196" y="1418"/>
                    </a:lnTo>
                    <a:lnTo>
                      <a:pt x="1196" y="1417"/>
                    </a:lnTo>
                    <a:close/>
                    <a:moveTo>
                      <a:pt x="1191" y="1141"/>
                    </a:moveTo>
                    <a:lnTo>
                      <a:pt x="1193" y="1141"/>
                    </a:lnTo>
                    <a:lnTo>
                      <a:pt x="1191" y="1141"/>
                    </a:lnTo>
                    <a:close/>
                    <a:moveTo>
                      <a:pt x="1207" y="1051"/>
                    </a:moveTo>
                    <a:lnTo>
                      <a:pt x="1208" y="1051"/>
                    </a:lnTo>
                    <a:lnTo>
                      <a:pt x="1207" y="1051"/>
                    </a:lnTo>
                    <a:close/>
                    <a:moveTo>
                      <a:pt x="1202" y="952"/>
                    </a:moveTo>
                    <a:lnTo>
                      <a:pt x="1203" y="952"/>
                    </a:lnTo>
                    <a:lnTo>
                      <a:pt x="1202" y="952"/>
                    </a:lnTo>
                    <a:close/>
                    <a:moveTo>
                      <a:pt x="1212" y="1560"/>
                    </a:moveTo>
                    <a:lnTo>
                      <a:pt x="1213" y="1560"/>
                    </a:lnTo>
                    <a:lnTo>
                      <a:pt x="1212" y="1560"/>
                    </a:lnTo>
                    <a:close/>
                    <a:moveTo>
                      <a:pt x="1168" y="1390"/>
                    </a:moveTo>
                    <a:lnTo>
                      <a:pt x="1168" y="1391"/>
                    </a:lnTo>
                    <a:lnTo>
                      <a:pt x="1168" y="1390"/>
                    </a:lnTo>
                    <a:close/>
                    <a:moveTo>
                      <a:pt x="1186" y="1060"/>
                    </a:moveTo>
                    <a:lnTo>
                      <a:pt x="1188" y="1060"/>
                    </a:lnTo>
                    <a:lnTo>
                      <a:pt x="1186" y="1060"/>
                    </a:lnTo>
                    <a:close/>
                    <a:moveTo>
                      <a:pt x="1169" y="1478"/>
                    </a:moveTo>
                    <a:lnTo>
                      <a:pt x="1169" y="1480"/>
                    </a:lnTo>
                    <a:lnTo>
                      <a:pt x="1169" y="1478"/>
                    </a:lnTo>
                    <a:close/>
                    <a:moveTo>
                      <a:pt x="1297" y="1592"/>
                    </a:moveTo>
                    <a:lnTo>
                      <a:pt x="1298" y="1592"/>
                    </a:lnTo>
                    <a:lnTo>
                      <a:pt x="1297" y="1592"/>
                    </a:lnTo>
                    <a:close/>
                    <a:moveTo>
                      <a:pt x="1324" y="1635"/>
                    </a:moveTo>
                    <a:lnTo>
                      <a:pt x="1326" y="1635"/>
                    </a:lnTo>
                    <a:lnTo>
                      <a:pt x="1324" y="1635"/>
                    </a:lnTo>
                    <a:close/>
                    <a:moveTo>
                      <a:pt x="1176" y="1449"/>
                    </a:moveTo>
                    <a:lnTo>
                      <a:pt x="1176" y="1451"/>
                    </a:lnTo>
                    <a:lnTo>
                      <a:pt x="1176" y="1449"/>
                    </a:lnTo>
                    <a:close/>
                    <a:moveTo>
                      <a:pt x="1181" y="1420"/>
                    </a:moveTo>
                    <a:lnTo>
                      <a:pt x="1181" y="1422"/>
                    </a:lnTo>
                    <a:lnTo>
                      <a:pt x="1181" y="1420"/>
                    </a:lnTo>
                    <a:close/>
                    <a:moveTo>
                      <a:pt x="1176" y="1459"/>
                    </a:moveTo>
                    <a:lnTo>
                      <a:pt x="1176" y="1461"/>
                    </a:lnTo>
                    <a:lnTo>
                      <a:pt x="1176" y="1459"/>
                    </a:lnTo>
                    <a:close/>
                    <a:moveTo>
                      <a:pt x="1225" y="1556"/>
                    </a:moveTo>
                    <a:lnTo>
                      <a:pt x="1225" y="1558"/>
                    </a:lnTo>
                    <a:lnTo>
                      <a:pt x="1225" y="1556"/>
                    </a:lnTo>
                    <a:close/>
                    <a:moveTo>
                      <a:pt x="1281" y="1614"/>
                    </a:moveTo>
                    <a:lnTo>
                      <a:pt x="1281" y="1616"/>
                    </a:lnTo>
                    <a:lnTo>
                      <a:pt x="1281" y="1614"/>
                    </a:lnTo>
                    <a:close/>
                    <a:moveTo>
                      <a:pt x="1370" y="1646"/>
                    </a:moveTo>
                    <a:lnTo>
                      <a:pt x="1372" y="1646"/>
                    </a:lnTo>
                    <a:lnTo>
                      <a:pt x="1372" y="1648"/>
                    </a:lnTo>
                    <a:lnTo>
                      <a:pt x="1370" y="1648"/>
                    </a:lnTo>
                    <a:lnTo>
                      <a:pt x="1370" y="1646"/>
                    </a:lnTo>
                    <a:close/>
                    <a:moveTo>
                      <a:pt x="1416" y="1679"/>
                    </a:moveTo>
                    <a:lnTo>
                      <a:pt x="1416" y="1680"/>
                    </a:lnTo>
                    <a:lnTo>
                      <a:pt x="1416" y="1679"/>
                    </a:lnTo>
                    <a:close/>
                    <a:moveTo>
                      <a:pt x="1169" y="1444"/>
                    </a:moveTo>
                    <a:lnTo>
                      <a:pt x="1171" y="1444"/>
                    </a:lnTo>
                    <a:lnTo>
                      <a:pt x="1169" y="1444"/>
                    </a:lnTo>
                    <a:close/>
                    <a:moveTo>
                      <a:pt x="1370" y="1640"/>
                    </a:moveTo>
                    <a:lnTo>
                      <a:pt x="1372" y="1640"/>
                    </a:lnTo>
                    <a:lnTo>
                      <a:pt x="1372" y="1641"/>
                    </a:lnTo>
                    <a:lnTo>
                      <a:pt x="1370" y="1641"/>
                    </a:lnTo>
                    <a:lnTo>
                      <a:pt x="1370" y="1640"/>
                    </a:lnTo>
                    <a:close/>
                    <a:moveTo>
                      <a:pt x="1181" y="1432"/>
                    </a:moveTo>
                    <a:lnTo>
                      <a:pt x="1183" y="1432"/>
                    </a:lnTo>
                    <a:lnTo>
                      <a:pt x="1181" y="1432"/>
                    </a:lnTo>
                    <a:close/>
                    <a:moveTo>
                      <a:pt x="1222" y="1566"/>
                    </a:moveTo>
                    <a:lnTo>
                      <a:pt x="1222" y="1568"/>
                    </a:lnTo>
                    <a:lnTo>
                      <a:pt x="1222" y="1566"/>
                    </a:lnTo>
                    <a:close/>
                    <a:moveTo>
                      <a:pt x="1154" y="1379"/>
                    </a:moveTo>
                    <a:lnTo>
                      <a:pt x="1156" y="1379"/>
                    </a:lnTo>
                    <a:lnTo>
                      <a:pt x="1154" y="1379"/>
                    </a:lnTo>
                    <a:close/>
                    <a:moveTo>
                      <a:pt x="1237" y="1544"/>
                    </a:moveTo>
                    <a:lnTo>
                      <a:pt x="1239" y="1544"/>
                    </a:lnTo>
                    <a:lnTo>
                      <a:pt x="1239" y="1546"/>
                    </a:lnTo>
                    <a:lnTo>
                      <a:pt x="1237" y="1546"/>
                    </a:lnTo>
                    <a:lnTo>
                      <a:pt x="1237" y="1544"/>
                    </a:lnTo>
                    <a:close/>
                    <a:moveTo>
                      <a:pt x="1321" y="1633"/>
                    </a:moveTo>
                    <a:lnTo>
                      <a:pt x="1322" y="1633"/>
                    </a:lnTo>
                    <a:lnTo>
                      <a:pt x="1322" y="1635"/>
                    </a:lnTo>
                    <a:lnTo>
                      <a:pt x="1321" y="1635"/>
                    </a:lnTo>
                    <a:lnTo>
                      <a:pt x="1321" y="1633"/>
                    </a:lnTo>
                    <a:close/>
                    <a:moveTo>
                      <a:pt x="1157" y="1233"/>
                    </a:moveTo>
                    <a:lnTo>
                      <a:pt x="1157" y="1235"/>
                    </a:lnTo>
                    <a:lnTo>
                      <a:pt x="1157" y="1233"/>
                    </a:lnTo>
                    <a:close/>
                    <a:moveTo>
                      <a:pt x="1193" y="1435"/>
                    </a:moveTo>
                    <a:lnTo>
                      <a:pt x="1195" y="1435"/>
                    </a:lnTo>
                    <a:lnTo>
                      <a:pt x="1193" y="1435"/>
                    </a:lnTo>
                    <a:close/>
                    <a:moveTo>
                      <a:pt x="1247" y="1505"/>
                    </a:moveTo>
                    <a:lnTo>
                      <a:pt x="1247" y="1507"/>
                    </a:lnTo>
                    <a:lnTo>
                      <a:pt x="1247" y="1505"/>
                    </a:lnTo>
                    <a:close/>
                    <a:moveTo>
                      <a:pt x="1210" y="1240"/>
                    </a:moveTo>
                    <a:lnTo>
                      <a:pt x="1212" y="1240"/>
                    </a:lnTo>
                    <a:lnTo>
                      <a:pt x="1212" y="1242"/>
                    </a:lnTo>
                    <a:lnTo>
                      <a:pt x="1210" y="1242"/>
                    </a:lnTo>
                    <a:lnTo>
                      <a:pt x="1210" y="1240"/>
                    </a:lnTo>
                    <a:close/>
                    <a:moveTo>
                      <a:pt x="1285" y="1619"/>
                    </a:moveTo>
                    <a:lnTo>
                      <a:pt x="1285" y="1621"/>
                    </a:lnTo>
                    <a:lnTo>
                      <a:pt x="1285" y="1619"/>
                    </a:lnTo>
                    <a:close/>
                    <a:moveTo>
                      <a:pt x="1207" y="1451"/>
                    </a:moveTo>
                    <a:lnTo>
                      <a:pt x="1207" y="1453"/>
                    </a:lnTo>
                    <a:lnTo>
                      <a:pt x="1207" y="1451"/>
                    </a:lnTo>
                    <a:close/>
                    <a:moveTo>
                      <a:pt x="1178" y="1481"/>
                    </a:moveTo>
                    <a:lnTo>
                      <a:pt x="1178" y="1483"/>
                    </a:lnTo>
                    <a:lnTo>
                      <a:pt x="1178" y="1481"/>
                    </a:lnTo>
                    <a:close/>
                    <a:moveTo>
                      <a:pt x="1213" y="1104"/>
                    </a:moveTo>
                    <a:lnTo>
                      <a:pt x="1213" y="1105"/>
                    </a:lnTo>
                    <a:lnTo>
                      <a:pt x="1213" y="1104"/>
                    </a:lnTo>
                    <a:close/>
                    <a:moveTo>
                      <a:pt x="1190" y="1420"/>
                    </a:moveTo>
                    <a:lnTo>
                      <a:pt x="1190" y="1422"/>
                    </a:lnTo>
                    <a:lnTo>
                      <a:pt x="1190" y="1420"/>
                    </a:lnTo>
                    <a:close/>
                    <a:moveTo>
                      <a:pt x="1195" y="1145"/>
                    </a:moveTo>
                    <a:lnTo>
                      <a:pt x="1195" y="1146"/>
                    </a:lnTo>
                    <a:lnTo>
                      <a:pt x="1195" y="1145"/>
                    </a:lnTo>
                    <a:close/>
                    <a:moveTo>
                      <a:pt x="1195" y="1077"/>
                    </a:moveTo>
                    <a:lnTo>
                      <a:pt x="1196" y="1077"/>
                    </a:lnTo>
                    <a:lnTo>
                      <a:pt x="1195" y="1077"/>
                    </a:lnTo>
                    <a:close/>
                    <a:moveTo>
                      <a:pt x="1200" y="1527"/>
                    </a:moveTo>
                    <a:lnTo>
                      <a:pt x="1200" y="1529"/>
                    </a:lnTo>
                    <a:lnTo>
                      <a:pt x="1200" y="1527"/>
                    </a:lnTo>
                    <a:close/>
                    <a:moveTo>
                      <a:pt x="1219" y="1100"/>
                    </a:moveTo>
                    <a:lnTo>
                      <a:pt x="1219" y="1102"/>
                    </a:lnTo>
                    <a:lnTo>
                      <a:pt x="1219" y="1100"/>
                    </a:lnTo>
                    <a:close/>
                    <a:moveTo>
                      <a:pt x="1198" y="1092"/>
                    </a:moveTo>
                    <a:lnTo>
                      <a:pt x="1198" y="1094"/>
                    </a:lnTo>
                    <a:lnTo>
                      <a:pt x="1198" y="1092"/>
                    </a:lnTo>
                    <a:close/>
                    <a:moveTo>
                      <a:pt x="1229" y="1570"/>
                    </a:moveTo>
                    <a:lnTo>
                      <a:pt x="1230" y="1570"/>
                    </a:lnTo>
                    <a:lnTo>
                      <a:pt x="1229" y="1570"/>
                    </a:lnTo>
                    <a:close/>
                    <a:moveTo>
                      <a:pt x="1229" y="1580"/>
                    </a:moveTo>
                    <a:lnTo>
                      <a:pt x="1230" y="1580"/>
                    </a:lnTo>
                    <a:lnTo>
                      <a:pt x="1230" y="1582"/>
                    </a:lnTo>
                    <a:lnTo>
                      <a:pt x="1229" y="1582"/>
                    </a:lnTo>
                    <a:lnTo>
                      <a:pt x="1229" y="1580"/>
                    </a:lnTo>
                    <a:close/>
                    <a:moveTo>
                      <a:pt x="1169" y="1413"/>
                    </a:moveTo>
                    <a:lnTo>
                      <a:pt x="1171" y="1413"/>
                    </a:lnTo>
                    <a:lnTo>
                      <a:pt x="1169" y="1413"/>
                    </a:lnTo>
                    <a:close/>
                    <a:moveTo>
                      <a:pt x="1178" y="1441"/>
                    </a:moveTo>
                    <a:lnTo>
                      <a:pt x="1179" y="1441"/>
                    </a:lnTo>
                    <a:lnTo>
                      <a:pt x="1178" y="1441"/>
                    </a:lnTo>
                    <a:close/>
                    <a:moveTo>
                      <a:pt x="1161" y="1398"/>
                    </a:moveTo>
                    <a:lnTo>
                      <a:pt x="1162" y="1398"/>
                    </a:lnTo>
                    <a:lnTo>
                      <a:pt x="1161" y="1398"/>
                    </a:lnTo>
                    <a:close/>
                    <a:moveTo>
                      <a:pt x="1217" y="1504"/>
                    </a:moveTo>
                    <a:lnTo>
                      <a:pt x="1219" y="1504"/>
                    </a:lnTo>
                    <a:lnTo>
                      <a:pt x="1219" y="1505"/>
                    </a:lnTo>
                    <a:lnTo>
                      <a:pt x="1217" y="1505"/>
                    </a:lnTo>
                    <a:lnTo>
                      <a:pt x="1217" y="1504"/>
                    </a:lnTo>
                    <a:close/>
                    <a:moveTo>
                      <a:pt x="1183" y="1308"/>
                    </a:moveTo>
                    <a:lnTo>
                      <a:pt x="1183" y="1310"/>
                    </a:lnTo>
                    <a:lnTo>
                      <a:pt x="1183" y="1308"/>
                    </a:lnTo>
                    <a:close/>
                    <a:moveTo>
                      <a:pt x="1161" y="1357"/>
                    </a:moveTo>
                    <a:lnTo>
                      <a:pt x="1162" y="1357"/>
                    </a:lnTo>
                    <a:lnTo>
                      <a:pt x="1161" y="1357"/>
                    </a:lnTo>
                    <a:close/>
                    <a:moveTo>
                      <a:pt x="1176" y="1367"/>
                    </a:moveTo>
                    <a:lnTo>
                      <a:pt x="1178" y="1367"/>
                    </a:lnTo>
                    <a:lnTo>
                      <a:pt x="1176" y="1367"/>
                    </a:lnTo>
                    <a:close/>
                    <a:moveTo>
                      <a:pt x="1305" y="1623"/>
                    </a:moveTo>
                    <a:lnTo>
                      <a:pt x="1307" y="1623"/>
                    </a:lnTo>
                    <a:lnTo>
                      <a:pt x="1307" y="1624"/>
                    </a:lnTo>
                    <a:lnTo>
                      <a:pt x="1305" y="1624"/>
                    </a:lnTo>
                    <a:lnTo>
                      <a:pt x="1305" y="1623"/>
                    </a:lnTo>
                    <a:close/>
                    <a:moveTo>
                      <a:pt x="1149" y="1333"/>
                    </a:moveTo>
                    <a:lnTo>
                      <a:pt x="1151" y="1333"/>
                    </a:lnTo>
                    <a:lnTo>
                      <a:pt x="1149" y="1333"/>
                    </a:lnTo>
                    <a:close/>
                    <a:moveTo>
                      <a:pt x="1213" y="1102"/>
                    </a:moveTo>
                    <a:lnTo>
                      <a:pt x="1213" y="1104"/>
                    </a:lnTo>
                    <a:lnTo>
                      <a:pt x="1213" y="1102"/>
                    </a:lnTo>
                    <a:close/>
                    <a:moveTo>
                      <a:pt x="1154" y="1248"/>
                    </a:moveTo>
                    <a:lnTo>
                      <a:pt x="1156" y="1248"/>
                    </a:lnTo>
                    <a:lnTo>
                      <a:pt x="1154" y="1248"/>
                    </a:lnTo>
                    <a:close/>
                    <a:moveTo>
                      <a:pt x="1358" y="1652"/>
                    </a:moveTo>
                    <a:lnTo>
                      <a:pt x="1358" y="1653"/>
                    </a:lnTo>
                    <a:lnTo>
                      <a:pt x="1358" y="1652"/>
                    </a:lnTo>
                    <a:close/>
                    <a:moveTo>
                      <a:pt x="1259" y="1590"/>
                    </a:moveTo>
                    <a:lnTo>
                      <a:pt x="1259" y="1592"/>
                    </a:lnTo>
                    <a:lnTo>
                      <a:pt x="1259" y="1590"/>
                    </a:lnTo>
                    <a:close/>
                    <a:moveTo>
                      <a:pt x="1266" y="1599"/>
                    </a:moveTo>
                    <a:lnTo>
                      <a:pt x="1266" y="1600"/>
                    </a:lnTo>
                    <a:lnTo>
                      <a:pt x="1266" y="1599"/>
                    </a:lnTo>
                    <a:close/>
                    <a:moveTo>
                      <a:pt x="1188" y="1066"/>
                    </a:moveTo>
                    <a:lnTo>
                      <a:pt x="1188" y="1068"/>
                    </a:lnTo>
                    <a:lnTo>
                      <a:pt x="1188" y="1066"/>
                    </a:lnTo>
                    <a:close/>
                    <a:moveTo>
                      <a:pt x="1154" y="1272"/>
                    </a:moveTo>
                    <a:lnTo>
                      <a:pt x="1156" y="1272"/>
                    </a:lnTo>
                    <a:lnTo>
                      <a:pt x="1156" y="1274"/>
                    </a:lnTo>
                    <a:lnTo>
                      <a:pt x="1154" y="1274"/>
                    </a:lnTo>
                    <a:lnTo>
                      <a:pt x="1154" y="1272"/>
                    </a:lnTo>
                    <a:close/>
                    <a:moveTo>
                      <a:pt x="1309" y="1635"/>
                    </a:moveTo>
                    <a:lnTo>
                      <a:pt x="1310" y="1635"/>
                    </a:lnTo>
                    <a:lnTo>
                      <a:pt x="1309" y="1635"/>
                    </a:lnTo>
                    <a:close/>
                    <a:moveTo>
                      <a:pt x="1220" y="1077"/>
                    </a:moveTo>
                    <a:lnTo>
                      <a:pt x="1222" y="1077"/>
                    </a:lnTo>
                    <a:lnTo>
                      <a:pt x="1220" y="1077"/>
                    </a:lnTo>
                    <a:close/>
                    <a:moveTo>
                      <a:pt x="1205" y="1507"/>
                    </a:moveTo>
                    <a:lnTo>
                      <a:pt x="1207" y="1507"/>
                    </a:lnTo>
                    <a:lnTo>
                      <a:pt x="1205" y="1507"/>
                    </a:lnTo>
                    <a:close/>
                    <a:moveTo>
                      <a:pt x="1229" y="1558"/>
                    </a:moveTo>
                    <a:lnTo>
                      <a:pt x="1230" y="1558"/>
                    </a:lnTo>
                    <a:lnTo>
                      <a:pt x="1229" y="1558"/>
                    </a:lnTo>
                    <a:close/>
                    <a:moveTo>
                      <a:pt x="1198" y="1435"/>
                    </a:moveTo>
                    <a:lnTo>
                      <a:pt x="1198" y="1437"/>
                    </a:lnTo>
                    <a:lnTo>
                      <a:pt x="1198" y="1435"/>
                    </a:lnTo>
                    <a:close/>
                    <a:moveTo>
                      <a:pt x="1271" y="1595"/>
                    </a:moveTo>
                    <a:lnTo>
                      <a:pt x="1273" y="1595"/>
                    </a:lnTo>
                    <a:lnTo>
                      <a:pt x="1271" y="1595"/>
                    </a:lnTo>
                    <a:close/>
                    <a:moveTo>
                      <a:pt x="1186" y="1490"/>
                    </a:moveTo>
                    <a:lnTo>
                      <a:pt x="1188" y="1490"/>
                    </a:lnTo>
                    <a:lnTo>
                      <a:pt x="1186" y="1490"/>
                    </a:lnTo>
                    <a:close/>
                    <a:moveTo>
                      <a:pt x="1246" y="1507"/>
                    </a:moveTo>
                    <a:lnTo>
                      <a:pt x="1247" y="1507"/>
                    </a:lnTo>
                    <a:lnTo>
                      <a:pt x="1247" y="1509"/>
                    </a:lnTo>
                    <a:lnTo>
                      <a:pt x="1246" y="1509"/>
                    </a:lnTo>
                    <a:lnTo>
                      <a:pt x="1246" y="1507"/>
                    </a:lnTo>
                    <a:close/>
                    <a:moveTo>
                      <a:pt x="1368" y="1662"/>
                    </a:moveTo>
                    <a:lnTo>
                      <a:pt x="1370" y="1662"/>
                    </a:lnTo>
                    <a:lnTo>
                      <a:pt x="1368" y="1662"/>
                    </a:lnTo>
                    <a:close/>
                    <a:moveTo>
                      <a:pt x="1220" y="1544"/>
                    </a:moveTo>
                    <a:lnTo>
                      <a:pt x="1222" y="1544"/>
                    </a:lnTo>
                    <a:lnTo>
                      <a:pt x="1220" y="1544"/>
                    </a:lnTo>
                    <a:close/>
                    <a:moveTo>
                      <a:pt x="1162" y="1388"/>
                    </a:moveTo>
                    <a:lnTo>
                      <a:pt x="1164" y="1388"/>
                    </a:lnTo>
                    <a:lnTo>
                      <a:pt x="1162" y="1388"/>
                    </a:lnTo>
                    <a:close/>
                    <a:moveTo>
                      <a:pt x="1210" y="1242"/>
                    </a:moveTo>
                    <a:lnTo>
                      <a:pt x="1210" y="1243"/>
                    </a:lnTo>
                    <a:lnTo>
                      <a:pt x="1210" y="1242"/>
                    </a:lnTo>
                    <a:close/>
                    <a:moveTo>
                      <a:pt x="1196" y="1439"/>
                    </a:moveTo>
                    <a:lnTo>
                      <a:pt x="1198" y="1439"/>
                    </a:lnTo>
                    <a:lnTo>
                      <a:pt x="1198" y="1441"/>
                    </a:lnTo>
                    <a:lnTo>
                      <a:pt x="1196" y="1441"/>
                    </a:lnTo>
                    <a:lnTo>
                      <a:pt x="1196" y="1439"/>
                    </a:lnTo>
                    <a:close/>
                    <a:moveTo>
                      <a:pt x="1205" y="1481"/>
                    </a:moveTo>
                    <a:lnTo>
                      <a:pt x="1207" y="1481"/>
                    </a:lnTo>
                    <a:lnTo>
                      <a:pt x="1205" y="1481"/>
                    </a:lnTo>
                    <a:close/>
                    <a:moveTo>
                      <a:pt x="1190" y="1112"/>
                    </a:moveTo>
                    <a:lnTo>
                      <a:pt x="1191" y="1112"/>
                    </a:lnTo>
                    <a:lnTo>
                      <a:pt x="1191" y="1114"/>
                    </a:lnTo>
                    <a:lnTo>
                      <a:pt x="1190" y="1114"/>
                    </a:lnTo>
                    <a:lnTo>
                      <a:pt x="1190" y="1112"/>
                    </a:lnTo>
                    <a:close/>
                    <a:moveTo>
                      <a:pt x="1210" y="1481"/>
                    </a:moveTo>
                    <a:lnTo>
                      <a:pt x="1210" y="1483"/>
                    </a:lnTo>
                    <a:lnTo>
                      <a:pt x="1210" y="1481"/>
                    </a:lnTo>
                    <a:close/>
                    <a:moveTo>
                      <a:pt x="1312" y="1512"/>
                    </a:moveTo>
                    <a:lnTo>
                      <a:pt x="1312" y="1514"/>
                    </a:lnTo>
                    <a:lnTo>
                      <a:pt x="1312" y="1512"/>
                    </a:lnTo>
                    <a:close/>
                    <a:moveTo>
                      <a:pt x="1380" y="1662"/>
                    </a:moveTo>
                    <a:lnTo>
                      <a:pt x="1382" y="1662"/>
                    </a:lnTo>
                    <a:lnTo>
                      <a:pt x="1380" y="1662"/>
                    </a:lnTo>
                    <a:close/>
                    <a:moveTo>
                      <a:pt x="1210" y="1493"/>
                    </a:moveTo>
                    <a:lnTo>
                      <a:pt x="1212" y="1493"/>
                    </a:lnTo>
                    <a:lnTo>
                      <a:pt x="1210" y="1493"/>
                    </a:lnTo>
                    <a:close/>
                    <a:moveTo>
                      <a:pt x="1207" y="1099"/>
                    </a:moveTo>
                    <a:lnTo>
                      <a:pt x="1207" y="1100"/>
                    </a:lnTo>
                    <a:lnTo>
                      <a:pt x="1207" y="1099"/>
                    </a:lnTo>
                    <a:close/>
                    <a:moveTo>
                      <a:pt x="1154" y="1250"/>
                    </a:moveTo>
                    <a:lnTo>
                      <a:pt x="1156" y="1250"/>
                    </a:lnTo>
                    <a:lnTo>
                      <a:pt x="1154" y="1250"/>
                    </a:lnTo>
                    <a:close/>
                    <a:moveTo>
                      <a:pt x="1219" y="1549"/>
                    </a:moveTo>
                    <a:lnTo>
                      <a:pt x="1220" y="1549"/>
                    </a:lnTo>
                    <a:lnTo>
                      <a:pt x="1220" y="1551"/>
                    </a:lnTo>
                    <a:lnTo>
                      <a:pt x="1219" y="1551"/>
                    </a:lnTo>
                    <a:lnTo>
                      <a:pt x="1219" y="1549"/>
                    </a:lnTo>
                    <a:close/>
                    <a:moveTo>
                      <a:pt x="1210" y="1085"/>
                    </a:moveTo>
                    <a:lnTo>
                      <a:pt x="1210" y="1087"/>
                    </a:lnTo>
                    <a:lnTo>
                      <a:pt x="1210" y="1085"/>
                    </a:lnTo>
                    <a:close/>
                    <a:moveTo>
                      <a:pt x="1159" y="1347"/>
                    </a:moveTo>
                    <a:lnTo>
                      <a:pt x="1159" y="1349"/>
                    </a:lnTo>
                    <a:lnTo>
                      <a:pt x="1159" y="1347"/>
                    </a:lnTo>
                    <a:close/>
                    <a:moveTo>
                      <a:pt x="1219" y="1555"/>
                    </a:moveTo>
                    <a:lnTo>
                      <a:pt x="1220" y="1555"/>
                    </a:lnTo>
                    <a:lnTo>
                      <a:pt x="1219" y="1555"/>
                    </a:lnTo>
                    <a:close/>
                    <a:moveTo>
                      <a:pt x="1230" y="1570"/>
                    </a:moveTo>
                    <a:lnTo>
                      <a:pt x="1232" y="1570"/>
                    </a:lnTo>
                    <a:lnTo>
                      <a:pt x="1230" y="1570"/>
                    </a:lnTo>
                    <a:close/>
                    <a:moveTo>
                      <a:pt x="1144" y="1299"/>
                    </a:moveTo>
                    <a:lnTo>
                      <a:pt x="1144" y="1301"/>
                    </a:lnTo>
                    <a:lnTo>
                      <a:pt x="1144" y="1299"/>
                    </a:lnTo>
                    <a:close/>
                    <a:moveTo>
                      <a:pt x="1394" y="1635"/>
                    </a:moveTo>
                    <a:lnTo>
                      <a:pt x="1394" y="1636"/>
                    </a:lnTo>
                    <a:lnTo>
                      <a:pt x="1394" y="1635"/>
                    </a:lnTo>
                    <a:close/>
                    <a:moveTo>
                      <a:pt x="1236" y="1582"/>
                    </a:moveTo>
                    <a:lnTo>
                      <a:pt x="1236" y="1583"/>
                    </a:lnTo>
                    <a:lnTo>
                      <a:pt x="1236" y="1582"/>
                    </a:lnTo>
                    <a:close/>
                    <a:moveTo>
                      <a:pt x="1207" y="1514"/>
                    </a:moveTo>
                    <a:lnTo>
                      <a:pt x="1208" y="1514"/>
                    </a:lnTo>
                    <a:lnTo>
                      <a:pt x="1207" y="1514"/>
                    </a:lnTo>
                    <a:close/>
                    <a:moveTo>
                      <a:pt x="1220" y="1117"/>
                    </a:moveTo>
                    <a:lnTo>
                      <a:pt x="1222" y="1117"/>
                    </a:lnTo>
                    <a:lnTo>
                      <a:pt x="1220" y="1117"/>
                    </a:lnTo>
                    <a:close/>
                    <a:moveTo>
                      <a:pt x="1229" y="1039"/>
                    </a:moveTo>
                    <a:lnTo>
                      <a:pt x="1230" y="1039"/>
                    </a:lnTo>
                    <a:lnTo>
                      <a:pt x="1230" y="1041"/>
                    </a:lnTo>
                    <a:lnTo>
                      <a:pt x="1229" y="1041"/>
                    </a:lnTo>
                    <a:lnTo>
                      <a:pt x="1229" y="1039"/>
                    </a:lnTo>
                    <a:close/>
                    <a:moveTo>
                      <a:pt x="1178" y="1488"/>
                    </a:moveTo>
                    <a:lnTo>
                      <a:pt x="1179" y="1488"/>
                    </a:lnTo>
                    <a:lnTo>
                      <a:pt x="1179" y="1490"/>
                    </a:lnTo>
                    <a:lnTo>
                      <a:pt x="1178" y="1490"/>
                    </a:lnTo>
                    <a:lnTo>
                      <a:pt x="1178" y="1488"/>
                    </a:lnTo>
                    <a:close/>
                    <a:moveTo>
                      <a:pt x="1173" y="1435"/>
                    </a:moveTo>
                    <a:lnTo>
                      <a:pt x="1174" y="1435"/>
                    </a:lnTo>
                    <a:lnTo>
                      <a:pt x="1174" y="1437"/>
                    </a:lnTo>
                    <a:lnTo>
                      <a:pt x="1173" y="1437"/>
                    </a:lnTo>
                    <a:lnTo>
                      <a:pt x="1173" y="1435"/>
                    </a:lnTo>
                    <a:close/>
                    <a:moveTo>
                      <a:pt x="1202" y="1063"/>
                    </a:moveTo>
                    <a:lnTo>
                      <a:pt x="1203" y="1063"/>
                    </a:lnTo>
                    <a:lnTo>
                      <a:pt x="1202" y="1063"/>
                    </a:lnTo>
                    <a:close/>
                    <a:moveTo>
                      <a:pt x="1154" y="1250"/>
                    </a:moveTo>
                    <a:lnTo>
                      <a:pt x="1154" y="1252"/>
                    </a:lnTo>
                    <a:lnTo>
                      <a:pt x="1154" y="1250"/>
                    </a:lnTo>
                    <a:close/>
                    <a:moveTo>
                      <a:pt x="1178" y="1432"/>
                    </a:moveTo>
                    <a:lnTo>
                      <a:pt x="1179" y="1432"/>
                    </a:lnTo>
                    <a:lnTo>
                      <a:pt x="1178" y="1432"/>
                    </a:lnTo>
                    <a:close/>
                    <a:moveTo>
                      <a:pt x="1188" y="1480"/>
                    </a:moveTo>
                    <a:lnTo>
                      <a:pt x="1190" y="1480"/>
                    </a:lnTo>
                    <a:lnTo>
                      <a:pt x="1188" y="1480"/>
                    </a:lnTo>
                    <a:close/>
                    <a:moveTo>
                      <a:pt x="1360" y="1629"/>
                    </a:moveTo>
                    <a:lnTo>
                      <a:pt x="1361" y="1629"/>
                    </a:lnTo>
                    <a:lnTo>
                      <a:pt x="1361" y="1631"/>
                    </a:lnTo>
                    <a:lnTo>
                      <a:pt x="1360" y="1631"/>
                    </a:lnTo>
                    <a:lnTo>
                      <a:pt x="1360" y="1629"/>
                    </a:lnTo>
                    <a:close/>
                    <a:moveTo>
                      <a:pt x="1181" y="1117"/>
                    </a:moveTo>
                    <a:lnTo>
                      <a:pt x="1183" y="1117"/>
                    </a:lnTo>
                    <a:lnTo>
                      <a:pt x="1181" y="1117"/>
                    </a:lnTo>
                    <a:close/>
                    <a:moveTo>
                      <a:pt x="1346" y="1657"/>
                    </a:moveTo>
                    <a:lnTo>
                      <a:pt x="1348" y="1657"/>
                    </a:lnTo>
                    <a:lnTo>
                      <a:pt x="1348" y="1658"/>
                    </a:lnTo>
                    <a:lnTo>
                      <a:pt x="1346" y="1658"/>
                    </a:lnTo>
                    <a:lnTo>
                      <a:pt x="1346" y="1657"/>
                    </a:lnTo>
                    <a:close/>
                    <a:moveTo>
                      <a:pt x="1145" y="1332"/>
                    </a:moveTo>
                    <a:lnTo>
                      <a:pt x="1147" y="1332"/>
                    </a:lnTo>
                    <a:lnTo>
                      <a:pt x="1147" y="1333"/>
                    </a:lnTo>
                    <a:lnTo>
                      <a:pt x="1145" y="1333"/>
                    </a:lnTo>
                    <a:lnTo>
                      <a:pt x="1145" y="1332"/>
                    </a:lnTo>
                    <a:close/>
                    <a:moveTo>
                      <a:pt x="1215" y="1504"/>
                    </a:moveTo>
                    <a:lnTo>
                      <a:pt x="1217" y="1504"/>
                    </a:lnTo>
                    <a:lnTo>
                      <a:pt x="1215" y="1504"/>
                    </a:lnTo>
                    <a:close/>
                    <a:moveTo>
                      <a:pt x="1149" y="1253"/>
                    </a:moveTo>
                    <a:lnTo>
                      <a:pt x="1151" y="1253"/>
                    </a:lnTo>
                    <a:lnTo>
                      <a:pt x="1149" y="1253"/>
                    </a:lnTo>
                    <a:close/>
                    <a:moveTo>
                      <a:pt x="1329" y="1643"/>
                    </a:moveTo>
                    <a:lnTo>
                      <a:pt x="1331" y="1643"/>
                    </a:lnTo>
                    <a:lnTo>
                      <a:pt x="1329" y="1643"/>
                    </a:lnTo>
                    <a:close/>
                    <a:moveTo>
                      <a:pt x="1193" y="1453"/>
                    </a:moveTo>
                    <a:lnTo>
                      <a:pt x="1193" y="1454"/>
                    </a:lnTo>
                    <a:lnTo>
                      <a:pt x="1193" y="1453"/>
                    </a:lnTo>
                    <a:close/>
                    <a:moveTo>
                      <a:pt x="1203" y="1063"/>
                    </a:moveTo>
                    <a:lnTo>
                      <a:pt x="1203" y="1065"/>
                    </a:lnTo>
                    <a:lnTo>
                      <a:pt x="1203" y="1063"/>
                    </a:lnTo>
                    <a:close/>
                    <a:moveTo>
                      <a:pt x="1310" y="212"/>
                    </a:moveTo>
                    <a:lnTo>
                      <a:pt x="1310" y="214"/>
                    </a:lnTo>
                    <a:lnTo>
                      <a:pt x="1310" y="212"/>
                    </a:lnTo>
                    <a:close/>
                    <a:moveTo>
                      <a:pt x="1361" y="1667"/>
                    </a:moveTo>
                    <a:lnTo>
                      <a:pt x="1363" y="1667"/>
                    </a:lnTo>
                    <a:lnTo>
                      <a:pt x="1361" y="1667"/>
                    </a:lnTo>
                    <a:close/>
                    <a:moveTo>
                      <a:pt x="1166" y="1405"/>
                    </a:moveTo>
                    <a:lnTo>
                      <a:pt x="1168" y="1405"/>
                    </a:lnTo>
                    <a:lnTo>
                      <a:pt x="1168" y="1407"/>
                    </a:lnTo>
                    <a:lnTo>
                      <a:pt x="1166" y="1407"/>
                    </a:lnTo>
                    <a:lnTo>
                      <a:pt x="1166" y="1405"/>
                    </a:lnTo>
                    <a:close/>
                    <a:moveTo>
                      <a:pt x="1215" y="1555"/>
                    </a:moveTo>
                    <a:lnTo>
                      <a:pt x="1217" y="1555"/>
                    </a:lnTo>
                    <a:lnTo>
                      <a:pt x="1215" y="1555"/>
                    </a:lnTo>
                    <a:close/>
                    <a:moveTo>
                      <a:pt x="1191" y="1437"/>
                    </a:moveTo>
                    <a:lnTo>
                      <a:pt x="1193" y="1437"/>
                    </a:lnTo>
                    <a:lnTo>
                      <a:pt x="1191" y="1437"/>
                    </a:lnTo>
                    <a:close/>
                    <a:moveTo>
                      <a:pt x="1251" y="1522"/>
                    </a:moveTo>
                    <a:lnTo>
                      <a:pt x="1253" y="1522"/>
                    </a:lnTo>
                    <a:lnTo>
                      <a:pt x="1251" y="1522"/>
                    </a:lnTo>
                    <a:close/>
                    <a:moveTo>
                      <a:pt x="1207" y="1498"/>
                    </a:moveTo>
                    <a:lnTo>
                      <a:pt x="1208" y="1498"/>
                    </a:lnTo>
                    <a:lnTo>
                      <a:pt x="1208" y="1500"/>
                    </a:lnTo>
                    <a:lnTo>
                      <a:pt x="1207" y="1500"/>
                    </a:lnTo>
                    <a:lnTo>
                      <a:pt x="1207" y="1498"/>
                    </a:lnTo>
                    <a:close/>
                    <a:moveTo>
                      <a:pt x="1186" y="1439"/>
                    </a:moveTo>
                    <a:lnTo>
                      <a:pt x="1186" y="1441"/>
                    </a:lnTo>
                    <a:lnTo>
                      <a:pt x="1186" y="1439"/>
                    </a:lnTo>
                    <a:close/>
                    <a:moveTo>
                      <a:pt x="1176" y="1116"/>
                    </a:moveTo>
                    <a:lnTo>
                      <a:pt x="1178" y="1116"/>
                    </a:lnTo>
                    <a:lnTo>
                      <a:pt x="1176" y="1116"/>
                    </a:lnTo>
                    <a:close/>
                    <a:moveTo>
                      <a:pt x="1188" y="1209"/>
                    </a:moveTo>
                    <a:lnTo>
                      <a:pt x="1190" y="1209"/>
                    </a:lnTo>
                    <a:lnTo>
                      <a:pt x="1188" y="1209"/>
                    </a:lnTo>
                    <a:close/>
                    <a:moveTo>
                      <a:pt x="1159" y="1347"/>
                    </a:moveTo>
                    <a:lnTo>
                      <a:pt x="1161" y="1347"/>
                    </a:lnTo>
                    <a:lnTo>
                      <a:pt x="1159" y="1347"/>
                    </a:lnTo>
                    <a:close/>
                    <a:moveTo>
                      <a:pt x="1215" y="1105"/>
                    </a:moveTo>
                    <a:lnTo>
                      <a:pt x="1215" y="1107"/>
                    </a:lnTo>
                    <a:lnTo>
                      <a:pt x="1215" y="1105"/>
                    </a:lnTo>
                    <a:close/>
                    <a:moveTo>
                      <a:pt x="1162" y="1347"/>
                    </a:moveTo>
                    <a:lnTo>
                      <a:pt x="1164" y="1347"/>
                    </a:lnTo>
                    <a:lnTo>
                      <a:pt x="1162" y="1347"/>
                    </a:lnTo>
                    <a:close/>
                    <a:moveTo>
                      <a:pt x="1210" y="1116"/>
                    </a:moveTo>
                    <a:lnTo>
                      <a:pt x="1212" y="1116"/>
                    </a:lnTo>
                    <a:lnTo>
                      <a:pt x="1210" y="1116"/>
                    </a:lnTo>
                    <a:close/>
                    <a:moveTo>
                      <a:pt x="1259" y="1493"/>
                    </a:moveTo>
                    <a:lnTo>
                      <a:pt x="1261" y="1493"/>
                    </a:lnTo>
                    <a:lnTo>
                      <a:pt x="1259" y="1493"/>
                    </a:lnTo>
                    <a:close/>
                    <a:moveTo>
                      <a:pt x="1207" y="1521"/>
                    </a:moveTo>
                    <a:lnTo>
                      <a:pt x="1208" y="1521"/>
                    </a:lnTo>
                    <a:lnTo>
                      <a:pt x="1208" y="1522"/>
                    </a:lnTo>
                    <a:lnTo>
                      <a:pt x="1207" y="1522"/>
                    </a:lnTo>
                    <a:lnTo>
                      <a:pt x="1207" y="1521"/>
                    </a:lnTo>
                    <a:close/>
                    <a:moveTo>
                      <a:pt x="1212" y="1070"/>
                    </a:moveTo>
                    <a:lnTo>
                      <a:pt x="1212" y="1071"/>
                    </a:lnTo>
                    <a:lnTo>
                      <a:pt x="1212" y="1070"/>
                    </a:lnTo>
                    <a:close/>
                    <a:moveTo>
                      <a:pt x="1190" y="1068"/>
                    </a:moveTo>
                    <a:lnTo>
                      <a:pt x="1191" y="1068"/>
                    </a:lnTo>
                    <a:lnTo>
                      <a:pt x="1190" y="1068"/>
                    </a:lnTo>
                    <a:close/>
                    <a:moveTo>
                      <a:pt x="1213" y="1555"/>
                    </a:moveTo>
                    <a:lnTo>
                      <a:pt x="1215" y="1555"/>
                    </a:lnTo>
                    <a:lnTo>
                      <a:pt x="1215" y="1556"/>
                    </a:lnTo>
                    <a:lnTo>
                      <a:pt x="1213" y="1556"/>
                    </a:lnTo>
                    <a:lnTo>
                      <a:pt x="1213" y="1555"/>
                    </a:lnTo>
                    <a:close/>
                    <a:moveTo>
                      <a:pt x="1212" y="1555"/>
                    </a:moveTo>
                    <a:lnTo>
                      <a:pt x="1213" y="1555"/>
                    </a:lnTo>
                    <a:lnTo>
                      <a:pt x="1212" y="1555"/>
                    </a:lnTo>
                    <a:close/>
                    <a:moveTo>
                      <a:pt x="1212" y="1500"/>
                    </a:moveTo>
                    <a:lnTo>
                      <a:pt x="1212" y="1502"/>
                    </a:lnTo>
                    <a:lnTo>
                      <a:pt x="1212" y="1500"/>
                    </a:lnTo>
                    <a:close/>
                    <a:moveTo>
                      <a:pt x="1156" y="1250"/>
                    </a:moveTo>
                    <a:lnTo>
                      <a:pt x="1156" y="1252"/>
                    </a:lnTo>
                    <a:lnTo>
                      <a:pt x="1156" y="1250"/>
                    </a:lnTo>
                    <a:close/>
                    <a:moveTo>
                      <a:pt x="1205" y="1073"/>
                    </a:moveTo>
                    <a:lnTo>
                      <a:pt x="1207" y="1073"/>
                    </a:lnTo>
                    <a:lnTo>
                      <a:pt x="1207" y="1075"/>
                    </a:lnTo>
                    <a:lnTo>
                      <a:pt x="1205" y="1075"/>
                    </a:lnTo>
                    <a:lnTo>
                      <a:pt x="1205" y="1073"/>
                    </a:lnTo>
                    <a:close/>
                    <a:moveTo>
                      <a:pt x="1208" y="1082"/>
                    </a:moveTo>
                    <a:lnTo>
                      <a:pt x="1210" y="1082"/>
                    </a:lnTo>
                    <a:lnTo>
                      <a:pt x="1208" y="1082"/>
                    </a:lnTo>
                    <a:close/>
                    <a:moveTo>
                      <a:pt x="1169" y="1434"/>
                    </a:moveTo>
                    <a:lnTo>
                      <a:pt x="1171" y="1434"/>
                    </a:lnTo>
                    <a:lnTo>
                      <a:pt x="1171" y="1435"/>
                    </a:lnTo>
                    <a:lnTo>
                      <a:pt x="1169" y="1435"/>
                    </a:lnTo>
                    <a:lnTo>
                      <a:pt x="1169" y="1434"/>
                    </a:lnTo>
                    <a:close/>
                    <a:moveTo>
                      <a:pt x="1191" y="1114"/>
                    </a:moveTo>
                    <a:lnTo>
                      <a:pt x="1191" y="1116"/>
                    </a:lnTo>
                    <a:lnTo>
                      <a:pt x="1191" y="1114"/>
                    </a:lnTo>
                    <a:close/>
                    <a:moveTo>
                      <a:pt x="1178" y="1374"/>
                    </a:moveTo>
                    <a:lnTo>
                      <a:pt x="1178" y="1376"/>
                    </a:lnTo>
                    <a:lnTo>
                      <a:pt x="1178" y="1374"/>
                    </a:lnTo>
                    <a:close/>
                    <a:moveTo>
                      <a:pt x="1208" y="1075"/>
                    </a:moveTo>
                    <a:lnTo>
                      <a:pt x="1210" y="1075"/>
                    </a:lnTo>
                    <a:lnTo>
                      <a:pt x="1208" y="1075"/>
                    </a:lnTo>
                    <a:close/>
                    <a:moveTo>
                      <a:pt x="1205" y="1053"/>
                    </a:moveTo>
                    <a:lnTo>
                      <a:pt x="1205" y="1054"/>
                    </a:lnTo>
                    <a:lnTo>
                      <a:pt x="1205" y="1053"/>
                    </a:lnTo>
                    <a:close/>
                    <a:moveTo>
                      <a:pt x="1186" y="1383"/>
                    </a:moveTo>
                    <a:lnTo>
                      <a:pt x="1186" y="1384"/>
                    </a:lnTo>
                    <a:lnTo>
                      <a:pt x="1186" y="1383"/>
                    </a:lnTo>
                    <a:close/>
                    <a:moveTo>
                      <a:pt x="1169" y="1133"/>
                    </a:moveTo>
                    <a:lnTo>
                      <a:pt x="1171" y="1133"/>
                    </a:lnTo>
                    <a:lnTo>
                      <a:pt x="1171" y="1134"/>
                    </a:lnTo>
                    <a:lnTo>
                      <a:pt x="1169" y="1134"/>
                    </a:lnTo>
                    <a:lnTo>
                      <a:pt x="1169" y="1133"/>
                    </a:lnTo>
                    <a:close/>
                    <a:moveTo>
                      <a:pt x="1383" y="1628"/>
                    </a:moveTo>
                    <a:lnTo>
                      <a:pt x="1383" y="1629"/>
                    </a:lnTo>
                    <a:lnTo>
                      <a:pt x="1383" y="1628"/>
                    </a:lnTo>
                    <a:close/>
                    <a:moveTo>
                      <a:pt x="1232" y="1583"/>
                    </a:moveTo>
                    <a:lnTo>
                      <a:pt x="1234" y="1583"/>
                    </a:lnTo>
                    <a:lnTo>
                      <a:pt x="1232" y="1583"/>
                    </a:lnTo>
                    <a:close/>
                    <a:moveTo>
                      <a:pt x="1353" y="1682"/>
                    </a:moveTo>
                    <a:lnTo>
                      <a:pt x="1355" y="1682"/>
                    </a:lnTo>
                    <a:lnTo>
                      <a:pt x="1353" y="1682"/>
                    </a:lnTo>
                    <a:close/>
                    <a:moveTo>
                      <a:pt x="1185" y="1429"/>
                    </a:moveTo>
                    <a:lnTo>
                      <a:pt x="1185" y="1430"/>
                    </a:lnTo>
                    <a:lnTo>
                      <a:pt x="1185" y="1429"/>
                    </a:lnTo>
                    <a:close/>
                    <a:moveTo>
                      <a:pt x="1205" y="1054"/>
                    </a:moveTo>
                    <a:lnTo>
                      <a:pt x="1207" y="1054"/>
                    </a:lnTo>
                    <a:lnTo>
                      <a:pt x="1205" y="1054"/>
                    </a:lnTo>
                    <a:close/>
                    <a:moveTo>
                      <a:pt x="1283" y="1595"/>
                    </a:moveTo>
                    <a:lnTo>
                      <a:pt x="1283" y="1597"/>
                    </a:lnTo>
                    <a:lnTo>
                      <a:pt x="1283" y="1595"/>
                    </a:lnTo>
                    <a:close/>
                    <a:moveTo>
                      <a:pt x="1185" y="1429"/>
                    </a:moveTo>
                    <a:lnTo>
                      <a:pt x="1186" y="1429"/>
                    </a:lnTo>
                    <a:lnTo>
                      <a:pt x="1186" y="1430"/>
                    </a:lnTo>
                    <a:lnTo>
                      <a:pt x="1185" y="1430"/>
                    </a:lnTo>
                    <a:lnTo>
                      <a:pt x="1185" y="1429"/>
                    </a:lnTo>
                    <a:close/>
                    <a:moveTo>
                      <a:pt x="1220" y="1549"/>
                    </a:moveTo>
                    <a:lnTo>
                      <a:pt x="1220" y="1551"/>
                    </a:lnTo>
                    <a:lnTo>
                      <a:pt x="1220" y="1549"/>
                    </a:lnTo>
                    <a:close/>
                    <a:moveTo>
                      <a:pt x="1174" y="1116"/>
                    </a:moveTo>
                    <a:lnTo>
                      <a:pt x="1174" y="1117"/>
                    </a:lnTo>
                    <a:lnTo>
                      <a:pt x="1174" y="1116"/>
                    </a:lnTo>
                    <a:close/>
                    <a:moveTo>
                      <a:pt x="1314" y="1577"/>
                    </a:moveTo>
                    <a:lnTo>
                      <a:pt x="1315" y="1577"/>
                    </a:lnTo>
                    <a:lnTo>
                      <a:pt x="1314" y="1577"/>
                    </a:lnTo>
                    <a:close/>
                    <a:moveTo>
                      <a:pt x="1207" y="1507"/>
                    </a:moveTo>
                    <a:lnTo>
                      <a:pt x="1208" y="1507"/>
                    </a:lnTo>
                    <a:lnTo>
                      <a:pt x="1207" y="1507"/>
                    </a:lnTo>
                    <a:close/>
                    <a:moveTo>
                      <a:pt x="1380" y="1660"/>
                    </a:moveTo>
                    <a:lnTo>
                      <a:pt x="1380" y="1662"/>
                    </a:lnTo>
                    <a:lnTo>
                      <a:pt x="1380" y="1660"/>
                    </a:lnTo>
                    <a:close/>
                    <a:moveTo>
                      <a:pt x="1224" y="1572"/>
                    </a:moveTo>
                    <a:lnTo>
                      <a:pt x="1225" y="1572"/>
                    </a:lnTo>
                    <a:lnTo>
                      <a:pt x="1224" y="1572"/>
                    </a:lnTo>
                    <a:close/>
                    <a:moveTo>
                      <a:pt x="1331" y="1648"/>
                    </a:moveTo>
                    <a:lnTo>
                      <a:pt x="1332" y="1648"/>
                    </a:lnTo>
                    <a:lnTo>
                      <a:pt x="1331" y="1648"/>
                    </a:lnTo>
                    <a:close/>
                    <a:moveTo>
                      <a:pt x="1198" y="1549"/>
                    </a:moveTo>
                    <a:lnTo>
                      <a:pt x="1200" y="1549"/>
                    </a:lnTo>
                    <a:lnTo>
                      <a:pt x="1198" y="1549"/>
                    </a:lnTo>
                    <a:close/>
                    <a:moveTo>
                      <a:pt x="1174" y="1435"/>
                    </a:moveTo>
                    <a:lnTo>
                      <a:pt x="1174" y="1437"/>
                    </a:lnTo>
                    <a:lnTo>
                      <a:pt x="1174" y="1435"/>
                    </a:lnTo>
                    <a:close/>
                    <a:moveTo>
                      <a:pt x="1176" y="1255"/>
                    </a:moveTo>
                    <a:lnTo>
                      <a:pt x="1178" y="1255"/>
                    </a:lnTo>
                    <a:lnTo>
                      <a:pt x="1176" y="1255"/>
                    </a:lnTo>
                    <a:close/>
                    <a:moveTo>
                      <a:pt x="1156" y="1191"/>
                    </a:moveTo>
                    <a:lnTo>
                      <a:pt x="1157" y="1191"/>
                    </a:lnTo>
                    <a:lnTo>
                      <a:pt x="1156" y="1191"/>
                    </a:lnTo>
                    <a:close/>
                    <a:moveTo>
                      <a:pt x="1208" y="956"/>
                    </a:moveTo>
                    <a:lnTo>
                      <a:pt x="1210" y="956"/>
                    </a:lnTo>
                    <a:lnTo>
                      <a:pt x="1208" y="956"/>
                    </a:lnTo>
                    <a:close/>
                    <a:moveTo>
                      <a:pt x="1220" y="1563"/>
                    </a:moveTo>
                    <a:lnTo>
                      <a:pt x="1222" y="1563"/>
                    </a:lnTo>
                    <a:lnTo>
                      <a:pt x="1220" y="1563"/>
                    </a:lnTo>
                    <a:close/>
                    <a:moveTo>
                      <a:pt x="1207" y="949"/>
                    </a:moveTo>
                    <a:lnTo>
                      <a:pt x="1207" y="951"/>
                    </a:lnTo>
                    <a:lnTo>
                      <a:pt x="1207" y="949"/>
                    </a:lnTo>
                    <a:close/>
                    <a:moveTo>
                      <a:pt x="1220" y="1056"/>
                    </a:moveTo>
                    <a:lnTo>
                      <a:pt x="1222" y="1056"/>
                    </a:lnTo>
                    <a:lnTo>
                      <a:pt x="1222" y="1058"/>
                    </a:lnTo>
                    <a:lnTo>
                      <a:pt x="1220" y="1058"/>
                    </a:lnTo>
                    <a:lnTo>
                      <a:pt x="1220" y="1056"/>
                    </a:lnTo>
                    <a:close/>
                    <a:moveTo>
                      <a:pt x="1232" y="1575"/>
                    </a:moveTo>
                    <a:lnTo>
                      <a:pt x="1234" y="1575"/>
                    </a:lnTo>
                    <a:lnTo>
                      <a:pt x="1232" y="1575"/>
                    </a:lnTo>
                    <a:close/>
                    <a:moveTo>
                      <a:pt x="1378" y="1665"/>
                    </a:moveTo>
                    <a:lnTo>
                      <a:pt x="1378" y="1667"/>
                    </a:lnTo>
                    <a:lnTo>
                      <a:pt x="1378" y="1665"/>
                    </a:lnTo>
                    <a:close/>
                    <a:moveTo>
                      <a:pt x="1227" y="1556"/>
                    </a:moveTo>
                    <a:lnTo>
                      <a:pt x="1229" y="1556"/>
                    </a:lnTo>
                    <a:lnTo>
                      <a:pt x="1229" y="1558"/>
                    </a:lnTo>
                    <a:lnTo>
                      <a:pt x="1227" y="1558"/>
                    </a:lnTo>
                    <a:lnTo>
                      <a:pt x="1227" y="1556"/>
                    </a:lnTo>
                    <a:close/>
                    <a:moveTo>
                      <a:pt x="1229" y="1534"/>
                    </a:moveTo>
                    <a:lnTo>
                      <a:pt x="1229" y="1536"/>
                    </a:lnTo>
                    <a:lnTo>
                      <a:pt x="1229" y="1534"/>
                    </a:lnTo>
                    <a:close/>
                    <a:moveTo>
                      <a:pt x="1183" y="1461"/>
                    </a:moveTo>
                    <a:lnTo>
                      <a:pt x="1185" y="1461"/>
                    </a:lnTo>
                    <a:lnTo>
                      <a:pt x="1185" y="1463"/>
                    </a:lnTo>
                    <a:lnTo>
                      <a:pt x="1183" y="1463"/>
                    </a:lnTo>
                    <a:lnTo>
                      <a:pt x="1183" y="1461"/>
                    </a:lnTo>
                    <a:close/>
                    <a:moveTo>
                      <a:pt x="1183" y="1298"/>
                    </a:moveTo>
                    <a:lnTo>
                      <a:pt x="1183" y="1299"/>
                    </a:lnTo>
                    <a:lnTo>
                      <a:pt x="1183" y="1298"/>
                    </a:lnTo>
                    <a:close/>
                    <a:moveTo>
                      <a:pt x="1227" y="1522"/>
                    </a:moveTo>
                    <a:lnTo>
                      <a:pt x="1229" y="1522"/>
                    </a:lnTo>
                    <a:lnTo>
                      <a:pt x="1229" y="1524"/>
                    </a:lnTo>
                    <a:lnTo>
                      <a:pt x="1227" y="1524"/>
                    </a:lnTo>
                    <a:lnTo>
                      <a:pt x="1227" y="1522"/>
                    </a:lnTo>
                    <a:close/>
                    <a:moveTo>
                      <a:pt x="1203" y="1541"/>
                    </a:moveTo>
                    <a:lnTo>
                      <a:pt x="1205" y="1541"/>
                    </a:lnTo>
                    <a:lnTo>
                      <a:pt x="1203" y="1541"/>
                    </a:lnTo>
                    <a:close/>
                    <a:moveTo>
                      <a:pt x="1256" y="1524"/>
                    </a:moveTo>
                    <a:lnTo>
                      <a:pt x="1256" y="1526"/>
                    </a:lnTo>
                    <a:lnTo>
                      <a:pt x="1256" y="1524"/>
                    </a:lnTo>
                    <a:close/>
                    <a:moveTo>
                      <a:pt x="1307" y="1643"/>
                    </a:moveTo>
                    <a:lnTo>
                      <a:pt x="1307" y="1645"/>
                    </a:lnTo>
                    <a:lnTo>
                      <a:pt x="1307" y="1643"/>
                    </a:lnTo>
                    <a:close/>
                    <a:moveTo>
                      <a:pt x="1210" y="1502"/>
                    </a:moveTo>
                    <a:lnTo>
                      <a:pt x="1212" y="1502"/>
                    </a:lnTo>
                    <a:lnTo>
                      <a:pt x="1210" y="1502"/>
                    </a:lnTo>
                    <a:close/>
                    <a:moveTo>
                      <a:pt x="1179" y="1432"/>
                    </a:moveTo>
                    <a:lnTo>
                      <a:pt x="1179" y="1434"/>
                    </a:lnTo>
                    <a:lnTo>
                      <a:pt x="1179" y="1432"/>
                    </a:lnTo>
                    <a:close/>
                    <a:moveTo>
                      <a:pt x="1365" y="1665"/>
                    </a:moveTo>
                    <a:lnTo>
                      <a:pt x="1365" y="1667"/>
                    </a:lnTo>
                    <a:lnTo>
                      <a:pt x="1365" y="1665"/>
                    </a:lnTo>
                    <a:close/>
                    <a:moveTo>
                      <a:pt x="1234" y="1077"/>
                    </a:moveTo>
                    <a:lnTo>
                      <a:pt x="1234" y="1078"/>
                    </a:lnTo>
                    <a:lnTo>
                      <a:pt x="1234" y="1077"/>
                    </a:lnTo>
                    <a:close/>
                    <a:moveTo>
                      <a:pt x="1173" y="1466"/>
                    </a:moveTo>
                    <a:lnTo>
                      <a:pt x="1173" y="1468"/>
                    </a:lnTo>
                    <a:lnTo>
                      <a:pt x="1173" y="1466"/>
                    </a:lnTo>
                    <a:close/>
                    <a:moveTo>
                      <a:pt x="1220" y="1558"/>
                    </a:moveTo>
                    <a:lnTo>
                      <a:pt x="1220" y="1560"/>
                    </a:lnTo>
                    <a:lnTo>
                      <a:pt x="1220" y="1558"/>
                    </a:lnTo>
                    <a:close/>
                    <a:moveTo>
                      <a:pt x="1300" y="1618"/>
                    </a:moveTo>
                    <a:lnTo>
                      <a:pt x="1300" y="1619"/>
                    </a:lnTo>
                    <a:lnTo>
                      <a:pt x="1300" y="1618"/>
                    </a:lnTo>
                    <a:close/>
                    <a:moveTo>
                      <a:pt x="1230" y="1558"/>
                    </a:moveTo>
                    <a:lnTo>
                      <a:pt x="1232" y="1558"/>
                    </a:lnTo>
                    <a:lnTo>
                      <a:pt x="1230" y="1558"/>
                    </a:lnTo>
                    <a:close/>
                    <a:moveTo>
                      <a:pt x="1212" y="1257"/>
                    </a:moveTo>
                    <a:lnTo>
                      <a:pt x="1212" y="1259"/>
                    </a:lnTo>
                    <a:lnTo>
                      <a:pt x="1212" y="1257"/>
                    </a:lnTo>
                    <a:close/>
                    <a:moveTo>
                      <a:pt x="1210" y="1509"/>
                    </a:moveTo>
                    <a:lnTo>
                      <a:pt x="1212" y="1509"/>
                    </a:lnTo>
                    <a:lnTo>
                      <a:pt x="1210" y="1509"/>
                    </a:lnTo>
                    <a:close/>
                    <a:moveTo>
                      <a:pt x="1219" y="1568"/>
                    </a:moveTo>
                    <a:lnTo>
                      <a:pt x="1220" y="1568"/>
                    </a:lnTo>
                    <a:lnTo>
                      <a:pt x="1219" y="1568"/>
                    </a:lnTo>
                    <a:close/>
                    <a:moveTo>
                      <a:pt x="1186" y="1383"/>
                    </a:moveTo>
                    <a:lnTo>
                      <a:pt x="1188" y="1383"/>
                    </a:lnTo>
                    <a:lnTo>
                      <a:pt x="1186" y="1383"/>
                    </a:lnTo>
                    <a:close/>
                    <a:moveTo>
                      <a:pt x="1183" y="1420"/>
                    </a:moveTo>
                    <a:lnTo>
                      <a:pt x="1185" y="1420"/>
                    </a:lnTo>
                    <a:lnTo>
                      <a:pt x="1183" y="1420"/>
                    </a:lnTo>
                    <a:close/>
                    <a:moveTo>
                      <a:pt x="1200" y="1145"/>
                    </a:moveTo>
                    <a:lnTo>
                      <a:pt x="1200" y="1146"/>
                    </a:lnTo>
                    <a:lnTo>
                      <a:pt x="1200" y="1145"/>
                    </a:lnTo>
                    <a:close/>
                    <a:moveTo>
                      <a:pt x="1205" y="1505"/>
                    </a:moveTo>
                    <a:lnTo>
                      <a:pt x="1205" y="1507"/>
                    </a:lnTo>
                    <a:lnTo>
                      <a:pt x="1205" y="1505"/>
                    </a:lnTo>
                    <a:close/>
                    <a:moveTo>
                      <a:pt x="1232" y="1575"/>
                    </a:moveTo>
                    <a:lnTo>
                      <a:pt x="1234" y="1575"/>
                    </a:lnTo>
                    <a:lnTo>
                      <a:pt x="1232" y="1575"/>
                    </a:lnTo>
                    <a:close/>
                    <a:moveTo>
                      <a:pt x="1234" y="1453"/>
                    </a:moveTo>
                    <a:lnTo>
                      <a:pt x="1234" y="1454"/>
                    </a:lnTo>
                    <a:lnTo>
                      <a:pt x="1234" y="1453"/>
                    </a:lnTo>
                    <a:close/>
                    <a:moveTo>
                      <a:pt x="1242" y="1497"/>
                    </a:moveTo>
                    <a:lnTo>
                      <a:pt x="1244" y="1497"/>
                    </a:lnTo>
                    <a:lnTo>
                      <a:pt x="1244" y="1498"/>
                    </a:lnTo>
                    <a:lnTo>
                      <a:pt x="1242" y="1498"/>
                    </a:lnTo>
                    <a:lnTo>
                      <a:pt x="1242" y="1497"/>
                    </a:lnTo>
                    <a:close/>
                    <a:moveTo>
                      <a:pt x="1219" y="1505"/>
                    </a:moveTo>
                    <a:lnTo>
                      <a:pt x="1220" y="1505"/>
                    </a:lnTo>
                    <a:lnTo>
                      <a:pt x="1219" y="1505"/>
                    </a:lnTo>
                    <a:close/>
                    <a:moveTo>
                      <a:pt x="1191" y="1117"/>
                    </a:moveTo>
                    <a:lnTo>
                      <a:pt x="1191" y="1119"/>
                    </a:lnTo>
                    <a:lnTo>
                      <a:pt x="1191" y="1117"/>
                    </a:lnTo>
                    <a:close/>
                    <a:moveTo>
                      <a:pt x="1166" y="1361"/>
                    </a:moveTo>
                    <a:lnTo>
                      <a:pt x="1166" y="1362"/>
                    </a:lnTo>
                    <a:lnTo>
                      <a:pt x="1166" y="1361"/>
                    </a:lnTo>
                    <a:close/>
                    <a:moveTo>
                      <a:pt x="1147" y="1286"/>
                    </a:moveTo>
                    <a:lnTo>
                      <a:pt x="1149" y="1286"/>
                    </a:lnTo>
                    <a:lnTo>
                      <a:pt x="1147" y="1286"/>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9" name="Freeform 22">
                <a:extLst>
                  <a:ext uri="{FF2B5EF4-FFF2-40B4-BE49-F238E27FC236}">
                    <a16:creationId xmlns:a16="http://schemas.microsoft.com/office/drawing/2014/main" id="{ABB17541-DEE1-3AAC-CA02-947BFF781BB9}"/>
                  </a:ext>
                </a:extLst>
              </p:cNvPr>
              <p:cNvSpPr>
                <a:spLocks noEditPoints="1"/>
              </p:cNvSpPr>
              <p:nvPr/>
            </p:nvSpPr>
            <p:spPr bwMode="auto">
              <a:xfrm>
                <a:off x="5567851" y="2812604"/>
                <a:ext cx="147740" cy="176230"/>
              </a:xfrm>
              <a:custGeom>
                <a:avLst/>
                <a:gdLst>
                  <a:gd name="T0" fmla="*/ 304 w 503"/>
                  <a:gd name="T1" fmla="*/ 93 h 600"/>
                  <a:gd name="T2" fmla="*/ 290 w 503"/>
                  <a:gd name="T3" fmla="*/ 132 h 600"/>
                  <a:gd name="T4" fmla="*/ 301 w 503"/>
                  <a:gd name="T5" fmla="*/ 146 h 600"/>
                  <a:gd name="T6" fmla="*/ 312 w 503"/>
                  <a:gd name="T7" fmla="*/ 187 h 600"/>
                  <a:gd name="T8" fmla="*/ 326 w 503"/>
                  <a:gd name="T9" fmla="*/ 217 h 600"/>
                  <a:gd name="T10" fmla="*/ 365 w 503"/>
                  <a:gd name="T11" fmla="*/ 219 h 600"/>
                  <a:gd name="T12" fmla="*/ 420 w 503"/>
                  <a:gd name="T13" fmla="*/ 251 h 600"/>
                  <a:gd name="T14" fmla="*/ 464 w 503"/>
                  <a:gd name="T15" fmla="*/ 246 h 600"/>
                  <a:gd name="T16" fmla="*/ 476 w 503"/>
                  <a:gd name="T17" fmla="*/ 267 h 600"/>
                  <a:gd name="T18" fmla="*/ 469 w 503"/>
                  <a:gd name="T19" fmla="*/ 301 h 600"/>
                  <a:gd name="T20" fmla="*/ 482 w 503"/>
                  <a:gd name="T21" fmla="*/ 335 h 600"/>
                  <a:gd name="T22" fmla="*/ 482 w 503"/>
                  <a:gd name="T23" fmla="*/ 369 h 600"/>
                  <a:gd name="T24" fmla="*/ 499 w 503"/>
                  <a:gd name="T25" fmla="*/ 401 h 600"/>
                  <a:gd name="T26" fmla="*/ 493 w 503"/>
                  <a:gd name="T27" fmla="*/ 398 h 600"/>
                  <a:gd name="T28" fmla="*/ 469 w 503"/>
                  <a:gd name="T29" fmla="*/ 393 h 600"/>
                  <a:gd name="T30" fmla="*/ 457 w 503"/>
                  <a:gd name="T31" fmla="*/ 398 h 600"/>
                  <a:gd name="T32" fmla="*/ 401 w 503"/>
                  <a:gd name="T33" fmla="*/ 415 h 600"/>
                  <a:gd name="T34" fmla="*/ 426 w 503"/>
                  <a:gd name="T35" fmla="*/ 435 h 600"/>
                  <a:gd name="T36" fmla="*/ 397 w 503"/>
                  <a:gd name="T37" fmla="*/ 437 h 600"/>
                  <a:gd name="T38" fmla="*/ 411 w 503"/>
                  <a:gd name="T39" fmla="*/ 478 h 600"/>
                  <a:gd name="T40" fmla="*/ 411 w 503"/>
                  <a:gd name="T41" fmla="*/ 529 h 600"/>
                  <a:gd name="T42" fmla="*/ 375 w 503"/>
                  <a:gd name="T43" fmla="*/ 587 h 600"/>
                  <a:gd name="T44" fmla="*/ 386 w 503"/>
                  <a:gd name="T45" fmla="*/ 542 h 600"/>
                  <a:gd name="T46" fmla="*/ 358 w 503"/>
                  <a:gd name="T47" fmla="*/ 534 h 600"/>
                  <a:gd name="T48" fmla="*/ 336 w 503"/>
                  <a:gd name="T49" fmla="*/ 530 h 600"/>
                  <a:gd name="T50" fmla="*/ 309 w 503"/>
                  <a:gd name="T51" fmla="*/ 537 h 600"/>
                  <a:gd name="T52" fmla="*/ 292 w 503"/>
                  <a:gd name="T53" fmla="*/ 520 h 600"/>
                  <a:gd name="T54" fmla="*/ 275 w 503"/>
                  <a:gd name="T55" fmla="*/ 502 h 600"/>
                  <a:gd name="T56" fmla="*/ 253 w 503"/>
                  <a:gd name="T57" fmla="*/ 488 h 600"/>
                  <a:gd name="T58" fmla="*/ 238 w 503"/>
                  <a:gd name="T59" fmla="*/ 469 h 600"/>
                  <a:gd name="T60" fmla="*/ 207 w 503"/>
                  <a:gd name="T61" fmla="*/ 457 h 600"/>
                  <a:gd name="T62" fmla="*/ 175 w 503"/>
                  <a:gd name="T63" fmla="*/ 449 h 600"/>
                  <a:gd name="T64" fmla="*/ 144 w 503"/>
                  <a:gd name="T65" fmla="*/ 442 h 600"/>
                  <a:gd name="T66" fmla="*/ 120 w 503"/>
                  <a:gd name="T67" fmla="*/ 425 h 600"/>
                  <a:gd name="T68" fmla="*/ 91 w 503"/>
                  <a:gd name="T69" fmla="*/ 401 h 600"/>
                  <a:gd name="T70" fmla="*/ 107 w 503"/>
                  <a:gd name="T71" fmla="*/ 391 h 600"/>
                  <a:gd name="T72" fmla="*/ 110 w 503"/>
                  <a:gd name="T73" fmla="*/ 369 h 600"/>
                  <a:gd name="T74" fmla="*/ 120 w 503"/>
                  <a:gd name="T75" fmla="*/ 367 h 600"/>
                  <a:gd name="T76" fmla="*/ 136 w 503"/>
                  <a:gd name="T77" fmla="*/ 364 h 600"/>
                  <a:gd name="T78" fmla="*/ 141 w 503"/>
                  <a:gd name="T79" fmla="*/ 347 h 600"/>
                  <a:gd name="T80" fmla="*/ 154 w 503"/>
                  <a:gd name="T81" fmla="*/ 328 h 600"/>
                  <a:gd name="T82" fmla="*/ 149 w 503"/>
                  <a:gd name="T83" fmla="*/ 323 h 600"/>
                  <a:gd name="T84" fmla="*/ 149 w 503"/>
                  <a:gd name="T85" fmla="*/ 303 h 600"/>
                  <a:gd name="T86" fmla="*/ 142 w 503"/>
                  <a:gd name="T87" fmla="*/ 270 h 600"/>
                  <a:gd name="T88" fmla="*/ 146 w 503"/>
                  <a:gd name="T89" fmla="*/ 245 h 600"/>
                  <a:gd name="T90" fmla="*/ 136 w 503"/>
                  <a:gd name="T91" fmla="*/ 223 h 600"/>
                  <a:gd name="T92" fmla="*/ 141 w 503"/>
                  <a:gd name="T93" fmla="*/ 202 h 600"/>
                  <a:gd name="T94" fmla="*/ 148 w 503"/>
                  <a:gd name="T95" fmla="*/ 173 h 600"/>
                  <a:gd name="T96" fmla="*/ 161 w 503"/>
                  <a:gd name="T97" fmla="*/ 178 h 600"/>
                  <a:gd name="T98" fmla="*/ 168 w 503"/>
                  <a:gd name="T99" fmla="*/ 187 h 600"/>
                  <a:gd name="T100" fmla="*/ 180 w 503"/>
                  <a:gd name="T101" fmla="*/ 156 h 600"/>
                  <a:gd name="T102" fmla="*/ 207 w 503"/>
                  <a:gd name="T103" fmla="*/ 136 h 600"/>
                  <a:gd name="T104" fmla="*/ 209 w 503"/>
                  <a:gd name="T105" fmla="*/ 110 h 600"/>
                  <a:gd name="T106" fmla="*/ 212 w 503"/>
                  <a:gd name="T107" fmla="*/ 97 h 600"/>
                  <a:gd name="T108" fmla="*/ 243 w 503"/>
                  <a:gd name="T109" fmla="*/ 83 h 600"/>
                  <a:gd name="T110" fmla="*/ 267 w 503"/>
                  <a:gd name="T111" fmla="*/ 73 h 600"/>
                  <a:gd name="T112" fmla="*/ 304 w 503"/>
                  <a:gd name="T113" fmla="*/ 59 h 600"/>
                  <a:gd name="T114" fmla="*/ 333 w 503"/>
                  <a:gd name="T115" fmla="*/ 41 h 600"/>
                  <a:gd name="T116" fmla="*/ 340 w 503"/>
                  <a:gd name="T117" fmla="*/ 34 h 600"/>
                  <a:gd name="T118" fmla="*/ 350 w 503"/>
                  <a:gd name="T119" fmla="*/ 54 h 600"/>
                  <a:gd name="T120" fmla="*/ 158 w 503"/>
                  <a:gd name="T121" fmla="*/ 325 h 600"/>
                  <a:gd name="T122" fmla="*/ 100 w 503"/>
                  <a:gd name="T123" fmla="*/ 396 h 600"/>
                  <a:gd name="T124" fmla="*/ 142 w 503"/>
                  <a:gd name="T125" fmla="*/ 318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3" h="600">
                    <a:moveTo>
                      <a:pt x="350" y="54"/>
                    </a:moveTo>
                    <a:lnTo>
                      <a:pt x="346" y="56"/>
                    </a:lnTo>
                    <a:lnTo>
                      <a:pt x="341" y="58"/>
                    </a:lnTo>
                    <a:lnTo>
                      <a:pt x="336" y="59"/>
                    </a:lnTo>
                    <a:lnTo>
                      <a:pt x="329" y="61"/>
                    </a:lnTo>
                    <a:lnTo>
                      <a:pt x="329" y="63"/>
                    </a:lnTo>
                    <a:lnTo>
                      <a:pt x="328" y="64"/>
                    </a:lnTo>
                    <a:lnTo>
                      <a:pt x="328" y="66"/>
                    </a:lnTo>
                    <a:lnTo>
                      <a:pt x="326" y="68"/>
                    </a:lnTo>
                    <a:lnTo>
                      <a:pt x="326" y="69"/>
                    </a:lnTo>
                    <a:lnTo>
                      <a:pt x="324" y="69"/>
                    </a:lnTo>
                    <a:lnTo>
                      <a:pt x="324" y="71"/>
                    </a:lnTo>
                    <a:lnTo>
                      <a:pt x="323" y="75"/>
                    </a:lnTo>
                    <a:lnTo>
                      <a:pt x="321" y="78"/>
                    </a:lnTo>
                    <a:lnTo>
                      <a:pt x="319" y="78"/>
                    </a:lnTo>
                    <a:lnTo>
                      <a:pt x="318" y="78"/>
                    </a:lnTo>
                    <a:lnTo>
                      <a:pt x="316" y="78"/>
                    </a:lnTo>
                    <a:lnTo>
                      <a:pt x="314" y="78"/>
                    </a:lnTo>
                    <a:lnTo>
                      <a:pt x="314" y="80"/>
                    </a:lnTo>
                    <a:lnTo>
                      <a:pt x="314" y="78"/>
                    </a:lnTo>
                    <a:lnTo>
                      <a:pt x="312" y="80"/>
                    </a:lnTo>
                    <a:lnTo>
                      <a:pt x="312" y="81"/>
                    </a:lnTo>
                    <a:lnTo>
                      <a:pt x="311" y="83"/>
                    </a:lnTo>
                    <a:lnTo>
                      <a:pt x="311" y="85"/>
                    </a:lnTo>
                    <a:lnTo>
                      <a:pt x="309" y="86"/>
                    </a:lnTo>
                    <a:lnTo>
                      <a:pt x="307" y="86"/>
                    </a:lnTo>
                    <a:lnTo>
                      <a:pt x="306" y="88"/>
                    </a:lnTo>
                    <a:lnTo>
                      <a:pt x="306" y="90"/>
                    </a:lnTo>
                    <a:lnTo>
                      <a:pt x="306" y="92"/>
                    </a:lnTo>
                    <a:lnTo>
                      <a:pt x="304" y="92"/>
                    </a:lnTo>
                    <a:lnTo>
                      <a:pt x="304" y="93"/>
                    </a:lnTo>
                    <a:lnTo>
                      <a:pt x="304" y="95"/>
                    </a:lnTo>
                    <a:lnTo>
                      <a:pt x="304" y="97"/>
                    </a:lnTo>
                    <a:lnTo>
                      <a:pt x="302" y="97"/>
                    </a:lnTo>
                    <a:lnTo>
                      <a:pt x="301" y="98"/>
                    </a:lnTo>
                    <a:lnTo>
                      <a:pt x="301" y="100"/>
                    </a:lnTo>
                    <a:lnTo>
                      <a:pt x="301" y="102"/>
                    </a:lnTo>
                    <a:lnTo>
                      <a:pt x="299" y="102"/>
                    </a:lnTo>
                    <a:lnTo>
                      <a:pt x="299" y="103"/>
                    </a:lnTo>
                    <a:lnTo>
                      <a:pt x="299" y="105"/>
                    </a:lnTo>
                    <a:lnTo>
                      <a:pt x="299" y="107"/>
                    </a:lnTo>
                    <a:lnTo>
                      <a:pt x="299" y="109"/>
                    </a:lnTo>
                    <a:lnTo>
                      <a:pt x="299" y="110"/>
                    </a:lnTo>
                    <a:lnTo>
                      <a:pt x="299" y="112"/>
                    </a:lnTo>
                    <a:lnTo>
                      <a:pt x="297" y="112"/>
                    </a:lnTo>
                    <a:lnTo>
                      <a:pt x="299" y="114"/>
                    </a:lnTo>
                    <a:lnTo>
                      <a:pt x="297" y="114"/>
                    </a:lnTo>
                    <a:lnTo>
                      <a:pt x="297" y="115"/>
                    </a:lnTo>
                    <a:lnTo>
                      <a:pt x="297" y="117"/>
                    </a:lnTo>
                    <a:lnTo>
                      <a:pt x="295" y="117"/>
                    </a:lnTo>
                    <a:lnTo>
                      <a:pt x="295" y="119"/>
                    </a:lnTo>
                    <a:lnTo>
                      <a:pt x="295" y="120"/>
                    </a:lnTo>
                    <a:lnTo>
                      <a:pt x="295" y="122"/>
                    </a:lnTo>
                    <a:lnTo>
                      <a:pt x="297" y="122"/>
                    </a:lnTo>
                    <a:lnTo>
                      <a:pt x="297" y="124"/>
                    </a:lnTo>
                    <a:lnTo>
                      <a:pt x="295" y="124"/>
                    </a:lnTo>
                    <a:lnTo>
                      <a:pt x="295" y="126"/>
                    </a:lnTo>
                    <a:lnTo>
                      <a:pt x="294" y="127"/>
                    </a:lnTo>
                    <a:lnTo>
                      <a:pt x="294" y="129"/>
                    </a:lnTo>
                    <a:lnTo>
                      <a:pt x="292" y="129"/>
                    </a:lnTo>
                    <a:lnTo>
                      <a:pt x="292" y="131"/>
                    </a:lnTo>
                    <a:lnTo>
                      <a:pt x="290" y="132"/>
                    </a:lnTo>
                    <a:lnTo>
                      <a:pt x="290" y="134"/>
                    </a:lnTo>
                    <a:lnTo>
                      <a:pt x="289" y="134"/>
                    </a:lnTo>
                    <a:lnTo>
                      <a:pt x="289" y="136"/>
                    </a:lnTo>
                    <a:lnTo>
                      <a:pt x="289" y="138"/>
                    </a:lnTo>
                    <a:lnTo>
                      <a:pt x="287" y="138"/>
                    </a:lnTo>
                    <a:lnTo>
                      <a:pt x="287" y="139"/>
                    </a:lnTo>
                    <a:lnTo>
                      <a:pt x="285" y="141"/>
                    </a:lnTo>
                    <a:lnTo>
                      <a:pt x="285" y="143"/>
                    </a:lnTo>
                    <a:lnTo>
                      <a:pt x="284" y="143"/>
                    </a:lnTo>
                    <a:lnTo>
                      <a:pt x="284" y="144"/>
                    </a:lnTo>
                    <a:lnTo>
                      <a:pt x="284" y="146"/>
                    </a:lnTo>
                    <a:lnTo>
                      <a:pt x="285" y="146"/>
                    </a:lnTo>
                    <a:lnTo>
                      <a:pt x="287" y="146"/>
                    </a:lnTo>
                    <a:lnTo>
                      <a:pt x="289" y="146"/>
                    </a:lnTo>
                    <a:lnTo>
                      <a:pt x="290" y="144"/>
                    </a:lnTo>
                    <a:lnTo>
                      <a:pt x="292" y="144"/>
                    </a:lnTo>
                    <a:lnTo>
                      <a:pt x="292" y="143"/>
                    </a:lnTo>
                    <a:lnTo>
                      <a:pt x="294" y="143"/>
                    </a:lnTo>
                    <a:lnTo>
                      <a:pt x="295" y="141"/>
                    </a:lnTo>
                    <a:lnTo>
                      <a:pt x="295" y="143"/>
                    </a:lnTo>
                    <a:lnTo>
                      <a:pt x="295" y="144"/>
                    </a:lnTo>
                    <a:lnTo>
                      <a:pt x="295" y="146"/>
                    </a:lnTo>
                    <a:lnTo>
                      <a:pt x="297" y="146"/>
                    </a:lnTo>
                    <a:lnTo>
                      <a:pt x="295" y="146"/>
                    </a:lnTo>
                    <a:lnTo>
                      <a:pt x="295" y="148"/>
                    </a:lnTo>
                    <a:lnTo>
                      <a:pt x="297" y="148"/>
                    </a:lnTo>
                    <a:lnTo>
                      <a:pt x="297" y="149"/>
                    </a:lnTo>
                    <a:lnTo>
                      <a:pt x="297" y="148"/>
                    </a:lnTo>
                    <a:lnTo>
                      <a:pt x="299" y="148"/>
                    </a:lnTo>
                    <a:lnTo>
                      <a:pt x="301" y="148"/>
                    </a:lnTo>
                    <a:lnTo>
                      <a:pt x="301" y="146"/>
                    </a:lnTo>
                    <a:lnTo>
                      <a:pt x="301" y="148"/>
                    </a:lnTo>
                    <a:lnTo>
                      <a:pt x="302" y="148"/>
                    </a:lnTo>
                    <a:lnTo>
                      <a:pt x="302" y="149"/>
                    </a:lnTo>
                    <a:lnTo>
                      <a:pt x="304" y="151"/>
                    </a:lnTo>
                    <a:lnTo>
                      <a:pt x="304" y="153"/>
                    </a:lnTo>
                    <a:lnTo>
                      <a:pt x="304" y="155"/>
                    </a:lnTo>
                    <a:lnTo>
                      <a:pt x="306" y="160"/>
                    </a:lnTo>
                    <a:lnTo>
                      <a:pt x="306" y="163"/>
                    </a:lnTo>
                    <a:lnTo>
                      <a:pt x="307" y="165"/>
                    </a:lnTo>
                    <a:lnTo>
                      <a:pt x="307" y="166"/>
                    </a:lnTo>
                    <a:lnTo>
                      <a:pt x="309" y="166"/>
                    </a:lnTo>
                    <a:lnTo>
                      <a:pt x="309" y="168"/>
                    </a:lnTo>
                    <a:lnTo>
                      <a:pt x="311" y="168"/>
                    </a:lnTo>
                    <a:lnTo>
                      <a:pt x="312" y="170"/>
                    </a:lnTo>
                    <a:lnTo>
                      <a:pt x="312" y="172"/>
                    </a:lnTo>
                    <a:lnTo>
                      <a:pt x="314" y="173"/>
                    </a:lnTo>
                    <a:lnTo>
                      <a:pt x="316" y="173"/>
                    </a:lnTo>
                    <a:lnTo>
                      <a:pt x="316" y="175"/>
                    </a:lnTo>
                    <a:lnTo>
                      <a:pt x="316" y="177"/>
                    </a:lnTo>
                    <a:lnTo>
                      <a:pt x="316" y="178"/>
                    </a:lnTo>
                    <a:lnTo>
                      <a:pt x="316" y="180"/>
                    </a:lnTo>
                    <a:lnTo>
                      <a:pt x="318" y="180"/>
                    </a:lnTo>
                    <a:lnTo>
                      <a:pt x="316" y="180"/>
                    </a:lnTo>
                    <a:lnTo>
                      <a:pt x="316" y="182"/>
                    </a:lnTo>
                    <a:lnTo>
                      <a:pt x="316" y="183"/>
                    </a:lnTo>
                    <a:lnTo>
                      <a:pt x="318" y="183"/>
                    </a:lnTo>
                    <a:lnTo>
                      <a:pt x="318" y="185"/>
                    </a:lnTo>
                    <a:lnTo>
                      <a:pt x="316" y="185"/>
                    </a:lnTo>
                    <a:lnTo>
                      <a:pt x="314" y="185"/>
                    </a:lnTo>
                    <a:lnTo>
                      <a:pt x="314" y="187"/>
                    </a:lnTo>
                    <a:lnTo>
                      <a:pt x="312" y="187"/>
                    </a:lnTo>
                    <a:lnTo>
                      <a:pt x="312" y="189"/>
                    </a:lnTo>
                    <a:lnTo>
                      <a:pt x="312" y="190"/>
                    </a:lnTo>
                    <a:lnTo>
                      <a:pt x="314" y="190"/>
                    </a:lnTo>
                    <a:lnTo>
                      <a:pt x="314" y="192"/>
                    </a:lnTo>
                    <a:lnTo>
                      <a:pt x="312" y="194"/>
                    </a:lnTo>
                    <a:lnTo>
                      <a:pt x="312" y="195"/>
                    </a:lnTo>
                    <a:lnTo>
                      <a:pt x="312" y="197"/>
                    </a:lnTo>
                    <a:lnTo>
                      <a:pt x="312" y="199"/>
                    </a:lnTo>
                    <a:lnTo>
                      <a:pt x="312" y="200"/>
                    </a:lnTo>
                    <a:lnTo>
                      <a:pt x="314" y="200"/>
                    </a:lnTo>
                    <a:lnTo>
                      <a:pt x="314" y="202"/>
                    </a:lnTo>
                    <a:lnTo>
                      <a:pt x="312" y="202"/>
                    </a:lnTo>
                    <a:lnTo>
                      <a:pt x="312" y="204"/>
                    </a:lnTo>
                    <a:lnTo>
                      <a:pt x="314" y="204"/>
                    </a:lnTo>
                    <a:lnTo>
                      <a:pt x="314" y="206"/>
                    </a:lnTo>
                    <a:lnTo>
                      <a:pt x="316" y="206"/>
                    </a:lnTo>
                    <a:lnTo>
                      <a:pt x="316" y="207"/>
                    </a:lnTo>
                    <a:lnTo>
                      <a:pt x="318" y="206"/>
                    </a:lnTo>
                    <a:lnTo>
                      <a:pt x="318" y="207"/>
                    </a:lnTo>
                    <a:lnTo>
                      <a:pt x="319" y="207"/>
                    </a:lnTo>
                    <a:lnTo>
                      <a:pt x="321" y="207"/>
                    </a:lnTo>
                    <a:lnTo>
                      <a:pt x="321" y="206"/>
                    </a:lnTo>
                    <a:lnTo>
                      <a:pt x="323" y="207"/>
                    </a:lnTo>
                    <a:lnTo>
                      <a:pt x="323" y="209"/>
                    </a:lnTo>
                    <a:lnTo>
                      <a:pt x="324" y="209"/>
                    </a:lnTo>
                    <a:lnTo>
                      <a:pt x="323" y="209"/>
                    </a:lnTo>
                    <a:lnTo>
                      <a:pt x="323" y="211"/>
                    </a:lnTo>
                    <a:lnTo>
                      <a:pt x="323" y="212"/>
                    </a:lnTo>
                    <a:lnTo>
                      <a:pt x="324" y="212"/>
                    </a:lnTo>
                    <a:lnTo>
                      <a:pt x="324" y="214"/>
                    </a:lnTo>
                    <a:lnTo>
                      <a:pt x="326" y="217"/>
                    </a:lnTo>
                    <a:lnTo>
                      <a:pt x="328" y="219"/>
                    </a:lnTo>
                    <a:lnTo>
                      <a:pt x="329" y="219"/>
                    </a:lnTo>
                    <a:lnTo>
                      <a:pt x="331" y="219"/>
                    </a:lnTo>
                    <a:lnTo>
                      <a:pt x="333" y="219"/>
                    </a:lnTo>
                    <a:lnTo>
                      <a:pt x="335" y="219"/>
                    </a:lnTo>
                    <a:lnTo>
                      <a:pt x="335" y="217"/>
                    </a:lnTo>
                    <a:lnTo>
                      <a:pt x="336" y="217"/>
                    </a:lnTo>
                    <a:lnTo>
                      <a:pt x="338" y="217"/>
                    </a:lnTo>
                    <a:lnTo>
                      <a:pt x="338" y="219"/>
                    </a:lnTo>
                    <a:lnTo>
                      <a:pt x="340" y="219"/>
                    </a:lnTo>
                    <a:lnTo>
                      <a:pt x="341" y="217"/>
                    </a:lnTo>
                    <a:lnTo>
                      <a:pt x="341" y="219"/>
                    </a:lnTo>
                    <a:lnTo>
                      <a:pt x="343" y="217"/>
                    </a:lnTo>
                    <a:lnTo>
                      <a:pt x="343" y="219"/>
                    </a:lnTo>
                    <a:lnTo>
                      <a:pt x="345" y="219"/>
                    </a:lnTo>
                    <a:lnTo>
                      <a:pt x="346" y="219"/>
                    </a:lnTo>
                    <a:lnTo>
                      <a:pt x="348" y="219"/>
                    </a:lnTo>
                    <a:lnTo>
                      <a:pt x="350" y="219"/>
                    </a:lnTo>
                    <a:lnTo>
                      <a:pt x="352" y="219"/>
                    </a:lnTo>
                    <a:lnTo>
                      <a:pt x="353" y="219"/>
                    </a:lnTo>
                    <a:lnTo>
                      <a:pt x="355" y="219"/>
                    </a:lnTo>
                    <a:lnTo>
                      <a:pt x="357" y="219"/>
                    </a:lnTo>
                    <a:lnTo>
                      <a:pt x="358" y="219"/>
                    </a:lnTo>
                    <a:lnTo>
                      <a:pt x="358" y="221"/>
                    </a:lnTo>
                    <a:lnTo>
                      <a:pt x="360" y="221"/>
                    </a:lnTo>
                    <a:lnTo>
                      <a:pt x="362" y="221"/>
                    </a:lnTo>
                    <a:lnTo>
                      <a:pt x="363" y="221"/>
                    </a:lnTo>
                    <a:lnTo>
                      <a:pt x="363" y="219"/>
                    </a:lnTo>
                    <a:lnTo>
                      <a:pt x="365" y="219"/>
                    </a:lnTo>
                    <a:lnTo>
                      <a:pt x="365" y="217"/>
                    </a:lnTo>
                    <a:lnTo>
                      <a:pt x="365" y="219"/>
                    </a:lnTo>
                    <a:lnTo>
                      <a:pt x="367" y="217"/>
                    </a:lnTo>
                    <a:lnTo>
                      <a:pt x="369" y="217"/>
                    </a:lnTo>
                    <a:lnTo>
                      <a:pt x="370" y="217"/>
                    </a:lnTo>
                    <a:lnTo>
                      <a:pt x="370" y="216"/>
                    </a:lnTo>
                    <a:lnTo>
                      <a:pt x="372" y="217"/>
                    </a:lnTo>
                    <a:lnTo>
                      <a:pt x="374" y="216"/>
                    </a:lnTo>
                    <a:lnTo>
                      <a:pt x="374" y="217"/>
                    </a:lnTo>
                    <a:lnTo>
                      <a:pt x="375" y="217"/>
                    </a:lnTo>
                    <a:lnTo>
                      <a:pt x="377" y="217"/>
                    </a:lnTo>
                    <a:lnTo>
                      <a:pt x="379" y="217"/>
                    </a:lnTo>
                    <a:lnTo>
                      <a:pt x="379" y="219"/>
                    </a:lnTo>
                    <a:lnTo>
                      <a:pt x="380" y="219"/>
                    </a:lnTo>
                    <a:lnTo>
                      <a:pt x="382" y="219"/>
                    </a:lnTo>
                    <a:lnTo>
                      <a:pt x="382" y="221"/>
                    </a:lnTo>
                    <a:lnTo>
                      <a:pt x="384" y="221"/>
                    </a:lnTo>
                    <a:lnTo>
                      <a:pt x="384" y="223"/>
                    </a:lnTo>
                    <a:lnTo>
                      <a:pt x="386" y="223"/>
                    </a:lnTo>
                    <a:lnTo>
                      <a:pt x="387" y="223"/>
                    </a:lnTo>
                    <a:lnTo>
                      <a:pt x="387" y="221"/>
                    </a:lnTo>
                    <a:lnTo>
                      <a:pt x="389" y="221"/>
                    </a:lnTo>
                    <a:lnTo>
                      <a:pt x="391" y="221"/>
                    </a:lnTo>
                    <a:lnTo>
                      <a:pt x="392" y="221"/>
                    </a:lnTo>
                    <a:lnTo>
                      <a:pt x="394" y="223"/>
                    </a:lnTo>
                    <a:lnTo>
                      <a:pt x="397" y="228"/>
                    </a:lnTo>
                    <a:lnTo>
                      <a:pt x="404" y="236"/>
                    </a:lnTo>
                    <a:lnTo>
                      <a:pt x="411" y="243"/>
                    </a:lnTo>
                    <a:lnTo>
                      <a:pt x="411" y="245"/>
                    </a:lnTo>
                    <a:lnTo>
                      <a:pt x="416" y="250"/>
                    </a:lnTo>
                    <a:lnTo>
                      <a:pt x="418" y="250"/>
                    </a:lnTo>
                    <a:lnTo>
                      <a:pt x="420" y="250"/>
                    </a:lnTo>
                    <a:lnTo>
                      <a:pt x="420" y="251"/>
                    </a:lnTo>
                    <a:lnTo>
                      <a:pt x="421" y="251"/>
                    </a:lnTo>
                    <a:lnTo>
                      <a:pt x="423" y="250"/>
                    </a:lnTo>
                    <a:lnTo>
                      <a:pt x="425" y="248"/>
                    </a:lnTo>
                    <a:lnTo>
                      <a:pt x="426" y="248"/>
                    </a:lnTo>
                    <a:lnTo>
                      <a:pt x="426" y="246"/>
                    </a:lnTo>
                    <a:lnTo>
                      <a:pt x="428" y="246"/>
                    </a:lnTo>
                    <a:lnTo>
                      <a:pt x="430" y="246"/>
                    </a:lnTo>
                    <a:lnTo>
                      <a:pt x="430" y="248"/>
                    </a:lnTo>
                    <a:lnTo>
                      <a:pt x="431" y="246"/>
                    </a:lnTo>
                    <a:lnTo>
                      <a:pt x="431" y="248"/>
                    </a:lnTo>
                    <a:lnTo>
                      <a:pt x="433" y="248"/>
                    </a:lnTo>
                    <a:lnTo>
                      <a:pt x="435" y="248"/>
                    </a:lnTo>
                    <a:lnTo>
                      <a:pt x="437" y="248"/>
                    </a:lnTo>
                    <a:lnTo>
                      <a:pt x="438" y="248"/>
                    </a:lnTo>
                    <a:lnTo>
                      <a:pt x="440" y="248"/>
                    </a:lnTo>
                    <a:lnTo>
                      <a:pt x="440" y="250"/>
                    </a:lnTo>
                    <a:lnTo>
                      <a:pt x="442" y="250"/>
                    </a:lnTo>
                    <a:lnTo>
                      <a:pt x="443" y="248"/>
                    </a:lnTo>
                    <a:lnTo>
                      <a:pt x="445" y="248"/>
                    </a:lnTo>
                    <a:lnTo>
                      <a:pt x="447" y="248"/>
                    </a:lnTo>
                    <a:lnTo>
                      <a:pt x="448" y="248"/>
                    </a:lnTo>
                    <a:lnTo>
                      <a:pt x="450" y="248"/>
                    </a:lnTo>
                    <a:lnTo>
                      <a:pt x="452" y="248"/>
                    </a:lnTo>
                    <a:lnTo>
                      <a:pt x="454" y="248"/>
                    </a:lnTo>
                    <a:lnTo>
                      <a:pt x="455" y="248"/>
                    </a:lnTo>
                    <a:lnTo>
                      <a:pt x="455" y="246"/>
                    </a:lnTo>
                    <a:lnTo>
                      <a:pt x="457" y="246"/>
                    </a:lnTo>
                    <a:lnTo>
                      <a:pt x="459" y="246"/>
                    </a:lnTo>
                    <a:lnTo>
                      <a:pt x="460" y="246"/>
                    </a:lnTo>
                    <a:lnTo>
                      <a:pt x="462" y="246"/>
                    </a:lnTo>
                    <a:lnTo>
                      <a:pt x="464" y="246"/>
                    </a:lnTo>
                    <a:lnTo>
                      <a:pt x="465" y="246"/>
                    </a:lnTo>
                    <a:lnTo>
                      <a:pt x="467" y="245"/>
                    </a:lnTo>
                    <a:lnTo>
                      <a:pt x="469" y="243"/>
                    </a:lnTo>
                    <a:lnTo>
                      <a:pt x="471" y="243"/>
                    </a:lnTo>
                    <a:lnTo>
                      <a:pt x="472" y="243"/>
                    </a:lnTo>
                    <a:lnTo>
                      <a:pt x="472" y="245"/>
                    </a:lnTo>
                    <a:lnTo>
                      <a:pt x="472" y="243"/>
                    </a:lnTo>
                    <a:lnTo>
                      <a:pt x="474" y="243"/>
                    </a:lnTo>
                    <a:lnTo>
                      <a:pt x="474" y="245"/>
                    </a:lnTo>
                    <a:lnTo>
                      <a:pt x="476" y="245"/>
                    </a:lnTo>
                    <a:lnTo>
                      <a:pt x="477" y="245"/>
                    </a:lnTo>
                    <a:lnTo>
                      <a:pt x="479" y="245"/>
                    </a:lnTo>
                    <a:lnTo>
                      <a:pt x="481" y="246"/>
                    </a:lnTo>
                    <a:lnTo>
                      <a:pt x="482" y="246"/>
                    </a:lnTo>
                    <a:lnTo>
                      <a:pt x="482" y="248"/>
                    </a:lnTo>
                    <a:lnTo>
                      <a:pt x="481" y="248"/>
                    </a:lnTo>
                    <a:lnTo>
                      <a:pt x="481" y="250"/>
                    </a:lnTo>
                    <a:lnTo>
                      <a:pt x="482" y="251"/>
                    </a:lnTo>
                    <a:lnTo>
                      <a:pt x="482" y="253"/>
                    </a:lnTo>
                    <a:lnTo>
                      <a:pt x="484" y="253"/>
                    </a:lnTo>
                    <a:lnTo>
                      <a:pt x="484" y="255"/>
                    </a:lnTo>
                    <a:lnTo>
                      <a:pt x="482" y="255"/>
                    </a:lnTo>
                    <a:lnTo>
                      <a:pt x="481" y="257"/>
                    </a:lnTo>
                    <a:lnTo>
                      <a:pt x="479" y="257"/>
                    </a:lnTo>
                    <a:lnTo>
                      <a:pt x="479" y="258"/>
                    </a:lnTo>
                    <a:lnTo>
                      <a:pt x="477" y="258"/>
                    </a:lnTo>
                    <a:lnTo>
                      <a:pt x="477" y="260"/>
                    </a:lnTo>
                    <a:lnTo>
                      <a:pt x="477" y="262"/>
                    </a:lnTo>
                    <a:lnTo>
                      <a:pt x="476" y="263"/>
                    </a:lnTo>
                    <a:lnTo>
                      <a:pt x="476" y="265"/>
                    </a:lnTo>
                    <a:lnTo>
                      <a:pt x="476" y="267"/>
                    </a:lnTo>
                    <a:lnTo>
                      <a:pt x="477" y="267"/>
                    </a:lnTo>
                    <a:lnTo>
                      <a:pt x="477" y="268"/>
                    </a:lnTo>
                    <a:lnTo>
                      <a:pt x="477" y="270"/>
                    </a:lnTo>
                    <a:lnTo>
                      <a:pt x="476" y="270"/>
                    </a:lnTo>
                    <a:lnTo>
                      <a:pt x="476" y="272"/>
                    </a:lnTo>
                    <a:lnTo>
                      <a:pt x="474" y="274"/>
                    </a:lnTo>
                    <a:lnTo>
                      <a:pt x="472" y="274"/>
                    </a:lnTo>
                    <a:lnTo>
                      <a:pt x="472" y="275"/>
                    </a:lnTo>
                    <a:lnTo>
                      <a:pt x="471" y="275"/>
                    </a:lnTo>
                    <a:lnTo>
                      <a:pt x="471" y="277"/>
                    </a:lnTo>
                    <a:lnTo>
                      <a:pt x="469" y="277"/>
                    </a:lnTo>
                    <a:lnTo>
                      <a:pt x="469" y="279"/>
                    </a:lnTo>
                    <a:lnTo>
                      <a:pt x="471" y="279"/>
                    </a:lnTo>
                    <a:lnTo>
                      <a:pt x="469" y="280"/>
                    </a:lnTo>
                    <a:lnTo>
                      <a:pt x="469" y="282"/>
                    </a:lnTo>
                    <a:lnTo>
                      <a:pt x="469" y="284"/>
                    </a:lnTo>
                    <a:lnTo>
                      <a:pt x="471" y="285"/>
                    </a:lnTo>
                    <a:lnTo>
                      <a:pt x="469" y="285"/>
                    </a:lnTo>
                    <a:lnTo>
                      <a:pt x="471" y="285"/>
                    </a:lnTo>
                    <a:lnTo>
                      <a:pt x="471" y="287"/>
                    </a:lnTo>
                    <a:lnTo>
                      <a:pt x="471" y="289"/>
                    </a:lnTo>
                    <a:lnTo>
                      <a:pt x="469" y="289"/>
                    </a:lnTo>
                    <a:lnTo>
                      <a:pt x="469" y="291"/>
                    </a:lnTo>
                    <a:lnTo>
                      <a:pt x="469" y="292"/>
                    </a:lnTo>
                    <a:lnTo>
                      <a:pt x="469" y="294"/>
                    </a:lnTo>
                    <a:lnTo>
                      <a:pt x="469" y="296"/>
                    </a:lnTo>
                    <a:lnTo>
                      <a:pt x="471" y="296"/>
                    </a:lnTo>
                    <a:lnTo>
                      <a:pt x="471" y="297"/>
                    </a:lnTo>
                    <a:lnTo>
                      <a:pt x="469" y="297"/>
                    </a:lnTo>
                    <a:lnTo>
                      <a:pt x="469" y="299"/>
                    </a:lnTo>
                    <a:lnTo>
                      <a:pt x="469" y="301"/>
                    </a:lnTo>
                    <a:lnTo>
                      <a:pt x="469" y="303"/>
                    </a:lnTo>
                    <a:lnTo>
                      <a:pt x="469" y="304"/>
                    </a:lnTo>
                    <a:lnTo>
                      <a:pt x="471" y="304"/>
                    </a:lnTo>
                    <a:lnTo>
                      <a:pt x="471" y="306"/>
                    </a:lnTo>
                    <a:lnTo>
                      <a:pt x="471" y="308"/>
                    </a:lnTo>
                    <a:lnTo>
                      <a:pt x="472" y="308"/>
                    </a:lnTo>
                    <a:lnTo>
                      <a:pt x="471" y="308"/>
                    </a:lnTo>
                    <a:lnTo>
                      <a:pt x="471" y="309"/>
                    </a:lnTo>
                    <a:lnTo>
                      <a:pt x="472" y="309"/>
                    </a:lnTo>
                    <a:lnTo>
                      <a:pt x="472" y="311"/>
                    </a:lnTo>
                    <a:lnTo>
                      <a:pt x="471" y="309"/>
                    </a:lnTo>
                    <a:lnTo>
                      <a:pt x="471" y="311"/>
                    </a:lnTo>
                    <a:lnTo>
                      <a:pt x="471" y="313"/>
                    </a:lnTo>
                    <a:lnTo>
                      <a:pt x="471" y="314"/>
                    </a:lnTo>
                    <a:lnTo>
                      <a:pt x="471" y="316"/>
                    </a:lnTo>
                    <a:lnTo>
                      <a:pt x="472" y="316"/>
                    </a:lnTo>
                    <a:lnTo>
                      <a:pt x="472" y="318"/>
                    </a:lnTo>
                    <a:lnTo>
                      <a:pt x="474" y="320"/>
                    </a:lnTo>
                    <a:lnTo>
                      <a:pt x="474" y="321"/>
                    </a:lnTo>
                    <a:lnTo>
                      <a:pt x="474" y="323"/>
                    </a:lnTo>
                    <a:lnTo>
                      <a:pt x="474" y="325"/>
                    </a:lnTo>
                    <a:lnTo>
                      <a:pt x="476" y="325"/>
                    </a:lnTo>
                    <a:lnTo>
                      <a:pt x="476" y="326"/>
                    </a:lnTo>
                    <a:lnTo>
                      <a:pt x="476" y="328"/>
                    </a:lnTo>
                    <a:lnTo>
                      <a:pt x="476" y="330"/>
                    </a:lnTo>
                    <a:lnTo>
                      <a:pt x="477" y="330"/>
                    </a:lnTo>
                    <a:lnTo>
                      <a:pt x="479" y="330"/>
                    </a:lnTo>
                    <a:lnTo>
                      <a:pt x="481" y="330"/>
                    </a:lnTo>
                    <a:lnTo>
                      <a:pt x="481" y="331"/>
                    </a:lnTo>
                    <a:lnTo>
                      <a:pt x="482" y="333"/>
                    </a:lnTo>
                    <a:lnTo>
                      <a:pt x="482" y="335"/>
                    </a:lnTo>
                    <a:lnTo>
                      <a:pt x="482" y="337"/>
                    </a:lnTo>
                    <a:lnTo>
                      <a:pt x="484" y="337"/>
                    </a:lnTo>
                    <a:lnTo>
                      <a:pt x="484" y="338"/>
                    </a:lnTo>
                    <a:lnTo>
                      <a:pt x="484" y="340"/>
                    </a:lnTo>
                    <a:lnTo>
                      <a:pt x="486" y="340"/>
                    </a:lnTo>
                    <a:lnTo>
                      <a:pt x="486" y="342"/>
                    </a:lnTo>
                    <a:lnTo>
                      <a:pt x="488" y="342"/>
                    </a:lnTo>
                    <a:lnTo>
                      <a:pt x="488" y="343"/>
                    </a:lnTo>
                    <a:lnTo>
                      <a:pt x="486" y="343"/>
                    </a:lnTo>
                    <a:lnTo>
                      <a:pt x="486" y="345"/>
                    </a:lnTo>
                    <a:lnTo>
                      <a:pt x="484" y="345"/>
                    </a:lnTo>
                    <a:lnTo>
                      <a:pt x="484" y="347"/>
                    </a:lnTo>
                    <a:lnTo>
                      <a:pt x="482" y="347"/>
                    </a:lnTo>
                    <a:lnTo>
                      <a:pt x="481" y="350"/>
                    </a:lnTo>
                    <a:lnTo>
                      <a:pt x="477" y="352"/>
                    </a:lnTo>
                    <a:lnTo>
                      <a:pt x="474" y="355"/>
                    </a:lnTo>
                    <a:lnTo>
                      <a:pt x="471" y="359"/>
                    </a:lnTo>
                    <a:lnTo>
                      <a:pt x="469" y="360"/>
                    </a:lnTo>
                    <a:lnTo>
                      <a:pt x="469" y="362"/>
                    </a:lnTo>
                    <a:lnTo>
                      <a:pt x="471" y="360"/>
                    </a:lnTo>
                    <a:lnTo>
                      <a:pt x="471" y="362"/>
                    </a:lnTo>
                    <a:lnTo>
                      <a:pt x="472" y="360"/>
                    </a:lnTo>
                    <a:lnTo>
                      <a:pt x="472" y="362"/>
                    </a:lnTo>
                    <a:lnTo>
                      <a:pt x="474" y="362"/>
                    </a:lnTo>
                    <a:lnTo>
                      <a:pt x="476" y="362"/>
                    </a:lnTo>
                    <a:lnTo>
                      <a:pt x="477" y="362"/>
                    </a:lnTo>
                    <a:lnTo>
                      <a:pt x="477" y="364"/>
                    </a:lnTo>
                    <a:lnTo>
                      <a:pt x="479" y="365"/>
                    </a:lnTo>
                    <a:lnTo>
                      <a:pt x="479" y="367"/>
                    </a:lnTo>
                    <a:lnTo>
                      <a:pt x="481" y="367"/>
                    </a:lnTo>
                    <a:lnTo>
                      <a:pt x="482" y="369"/>
                    </a:lnTo>
                    <a:lnTo>
                      <a:pt x="484" y="369"/>
                    </a:lnTo>
                    <a:lnTo>
                      <a:pt x="484" y="371"/>
                    </a:lnTo>
                    <a:lnTo>
                      <a:pt x="486" y="371"/>
                    </a:lnTo>
                    <a:lnTo>
                      <a:pt x="486" y="372"/>
                    </a:lnTo>
                    <a:lnTo>
                      <a:pt x="488" y="374"/>
                    </a:lnTo>
                    <a:lnTo>
                      <a:pt x="489" y="374"/>
                    </a:lnTo>
                    <a:lnTo>
                      <a:pt x="489" y="376"/>
                    </a:lnTo>
                    <a:lnTo>
                      <a:pt x="491" y="376"/>
                    </a:lnTo>
                    <a:lnTo>
                      <a:pt x="491" y="377"/>
                    </a:lnTo>
                    <a:lnTo>
                      <a:pt x="491" y="379"/>
                    </a:lnTo>
                    <a:lnTo>
                      <a:pt x="491" y="381"/>
                    </a:lnTo>
                    <a:lnTo>
                      <a:pt x="489" y="381"/>
                    </a:lnTo>
                    <a:lnTo>
                      <a:pt x="491" y="381"/>
                    </a:lnTo>
                    <a:lnTo>
                      <a:pt x="491" y="382"/>
                    </a:lnTo>
                    <a:lnTo>
                      <a:pt x="491" y="384"/>
                    </a:lnTo>
                    <a:lnTo>
                      <a:pt x="493" y="384"/>
                    </a:lnTo>
                    <a:lnTo>
                      <a:pt x="493" y="386"/>
                    </a:lnTo>
                    <a:lnTo>
                      <a:pt x="493" y="384"/>
                    </a:lnTo>
                    <a:lnTo>
                      <a:pt x="494" y="386"/>
                    </a:lnTo>
                    <a:lnTo>
                      <a:pt x="494" y="388"/>
                    </a:lnTo>
                    <a:lnTo>
                      <a:pt x="494" y="389"/>
                    </a:lnTo>
                    <a:lnTo>
                      <a:pt x="493" y="389"/>
                    </a:lnTo>
                    <a:lnTo>
                      <a:pt x="494" y="391"/>
                    </a:lnTo>
                    <a:lnTo>
                      <a:pt x="496" y="393"/>
                    </a:lnTo>
                    <a:lnTo>
                      <a:pt x="496" y="394"/>
                    </a:lnTo>
                    <a:lnTo>
                      <a:pt x="496" y="396"/>
                    </a:lnTo>
                    <a:lnTo>
                      <a:pt x="496" y="398"/>
                    </a:lnTo>
                    <a:lnTo>
                      <a:pt x="498" y="398"/>
                    </a:lnTo>
                    <a:lnTo>
                      <a:pt x="498" y="399"/>
                    </a:lnTo>
                    <a:lnTo>
                      <a:pt x="498" y="401"/>
                    </a:lnTo>
                    <a:lnTo>
                      <a:pt x="499" y="401"/>
                    </a:lnTo>
                    <a:lnTo>
                      <a:pt x="499" y="403"/>
                    </a:lnTo>
                    <a:lnTo>
                      <a:pt x="499" y="405"/>
                    </a:lnTo>
                    <a:lnTo>
                      <a:pt x="499" y="406"/>
                    </a:lnTo>
                    <a:lnTo>
                      <a:pt x="501" y="406"/>
                    </a:lnTo>
                    <a:lnTo>
                      <a:pt x="501" y="408"/>
                    </a:lnTo>
                    <a:lnTo>
                      <a:pt x="501" y="410"/>
                    </a:lnTo>
                    <a:lnTo>
                      <a:pt x="503" y="410"/>
                    </a:lnTo>
                    <a:lnTo>
                      <a:pt x="503" y="411"/>
                    </a:lnTo>
                    <a:lnTo>
                      <a:pt x="503" y="413"/>
                    </a:lnTo>
                    <a:lnTo>
                      <a:pt x="501" y="413"/>
                    </a:lnTo>
                    <a:lnTo>
                      <a:pt x="501" y="415"/>
                    </a:lnTo>
                    <a:lnTo>
                      <a:pt x="503" y="415"/>
                    </a:lnTo>
                    <a:lnTo>
                      <a:pt x="501" y="416"/>
                    </a:lnTo>
                    <a:lnTo>
                      <a:pt x="496" y="416"/>
                    </a:lnTo>
                    <a:lnTo>
                      <a:pt x="494" y="418"/>
                    </a:lnTo>
                    <a:lnTo>
                      <a:pt x="494" y="416"/>
                    </a:lnTo>
                    <a:lnTo>
                      <a:pt x="494" y="415"/>
                    </a:lnTo>
                    <a:lnTo>
                      <a:pt x="494" y="413"/>
                    </a:lnTo>
                    <a:lnTo>
                      <a:pt x="493" y="413"/>
                    </a:lnTo>
                    <a:lnTo>
                      <a:pt x="493" y="411"/>
                    </a:lnTo>
                    <a:lnTo>
                      <a:pt x="494" y="411"/>
                    </a:lnTo>
                    <a:lnTo>
                      <a:pt x="494" y="410"/>
                    </a:lnTo>
                    <a:lnTo>
                      <a:pt x="494" y="408"/>
                    </a:lnTo>
                    <a:lnTo>
                      <a:pt x="494" y="406"/>
                    </a:lnTo>
                    <a:lnTo>
                      <a:pt x="493" y="406"/>
                    </a:lnTo>
                    <a:lnTo>
                      <a:pt x="493" y="405"/>
                    </a:lnTo>
                    <a:lnTo>
                      <a:pt x="494" y="403"/>
                    </a:lnTo>
                    <a:lnTo>
                      <a:pt x="493" y="403"/>
                    </a:lnTo>
                    <a:lnTo>
                      <a:pt x="493" y="401"/>
                    </a:lnTo>
                    <a:lnTo>
                      <a:pt x="493" y="399"/>
                    </a:lnTo>
                    <a:lnTo>
                      <a:pt x="493" y="398"/>
                    </a:lnTo>
                    <a:lnTo>
                      <a:pt x="493" y="396"/>
                    </a:lnTo>
                    <a:lnTo>
                      <a:pt x="493" y="394"/>
                    </a:lnTo>
                    <a:lnTo>
                      <a:pt x="491" y="394"/>
                    </a:lnTo>
                    <a:lnTo>
                      <a:pt x="489" y="394"/>
                    </a:lnTo>
                    <a:lnTo>
                      <a:pt x="488" y="393"/>
                    </a:lnTo>
                    <a:lnTo>
                      <a:pt x="488" y="391"/>
                    </a:lnTo>
                    <a:lnTo>
                      <a:pt x="486" y="391"/>
                    </a:lnTo>
                    <a:lnTo>
                      <a:pt x="486" y="389"/>
                    </a:lnTo>
                    <a:lnTo>
                      <a:pt x="486" y="388"/>
                    </a:lnTo>
                    <a:lnTo>
                      <a:pt x="486" y="386"/>
                    </a:lnTo>
                    <a:lnTo>
                      <a:pt x="486" y="384"/>
                    </a:lnTo>
                    <a:lnTo>
                      <a:pt x="484" y="384"/>
                    </a:lnTo>
                    <a:lnTo>
                      <a:pt x="484" y="382"/>
                    </a:lnTo>
                    <a:lnTo>
                      <a:pt x="486" y="382"/>
                    </a:lnTo>
                    <a:lnTo>
                      <a:pt x="484" y="382"/>
                    </a:lnTo>
                    <a:lnTo>
                      <a:pt x="484" y="381"/>
                    </a:lnTo>
                    <a:lnTo>
                      <a:pt x="482" y="382"/>
                    </a:lnTo>
                    <a:lnTo>
                      <a:pt x="482" y="384"/>
                    </a:lnTo>
                    <a:lnTo>
                      <a:pt x="481" y="384"/>
                    </a:lnTo>
                    <a:lnTo>
                      <a:pt x="481" y="386"/>
                    </a:lnTo>
                    <a:lnTo>
                      <a:pt x="479" y="386"/>
                    </a:lnTo>
                    <a:lnTo>
                      <a:pt x="479" y="388"/>
                    </a:lnTo>
                    <a:lnTo>
                      <a:pt x="477" y="388"/>
                    </a:lnTo>
                    <a:lnTo>
                      <a:pt x="476" y="388"/>
                    </a:lnTo>
                    <a:lnTo>
                      <a:pt x="474" y="388"/>
                    </a:lnTo>
                    <a:lnTo>
                      <a:pt x="472" y="388"/>
                    </a:lnTo>
                    <a:lnTo>
                      <a:pt x="472" y="389"/>
                    </a:lnTo>
                    <a:lnTo>
                      <a:pt x="471" y="389"/>
                    </a:lnTo>
                    <a:lnTo>
                      <a:pt x="471" y="391"/>
                    </a:lnTo>
                    <a:lnTo>
                      <a:pt x="469" y="391"/>
                    </a:lnTo>
                    <a:lnTo>
                      <a:pt x="469" y="393"/>
                    </a:lnTo>
                    <a:lnTo>
                      <a:pt x="467" y="394"/>
                    </a:lnTo>
                    <a:lnTo>
                      <a:pt x="467" y="396"/>
                    </a:lnTo>
                    <a:lnTo>
                      <a:pt x="465" y="396"/>
                    </a:lnTo>
                    <a:lnTo>
                      <a:pt x="465" y="394"/>
                    </a:lnTo>
                    <a:lnTo>
                      <a:pt x="464" y="394"/>
                    </a:lnTo>
                    <a:lnTo>
                      <a:pt x="464" y="393"/>
                    </a:lnTo>
                    <a:lnTo>
                      <a:pt x="462" y="393"/>
                    </a:lnTo>
                    <a:lnTo>
                      <a:pt x="460" y="393"/>
                    </a:lnTo>
                    <a:lnTo>
                      <a:pt x="460" y="391"/>
                    </a:lnTo>
                    <a:lnTo>
                      <a:pt x="459" y="391"/>
                    </a:lnTo>
                    <a:lnTo>
                      <a:pt x="459" y="389"/>
                    </a:lnTo>
                    <a:lnTo>
                      <a:pt x="459" y="391"/>
                    </a:lnTo>
                    <a:lnTo>
                      <a:pt x="457" y="391"/>
                    </a:lnTo>
                    <a:lnTo>
                      <a:pt x="457" y="389"/>
                    </a:lnTo>
                    <a:lnTo>
                      <a:pt x="457" y="388"/>
                    </a:lnTo>
                    <a:lnTo>
                      <a:pt x="457" y="389"/>
                    </a:lnTo>
                    <a:lnTo>
                      <a:pt x="457" y="391"/>
                    </a:lnTo>
                    <a:lnTo>
                      <a:pt x="455" y="391"/>
                    </a:lnTo>
                    <a:lnTo>
                      <a:pt x="455" y="393"/>
                    </a:lnTo>
                    <a:lnTo>
                      <a:pt x="455" y="394"/>
                    </a:lnTo>
                    <a:lnTo>
                      <a:pt x="454" y="394"/>
                    </a:lnTo>
                    <a:lnTo>
                      <a:pt x="455" y="394"/>
                    </a:lnTo>
                    <a:lnTo>
                      <a:pt x="454" y="394"/>
                    </a:lnTo>
                    <a:lnTo>
                      <a:pt x="455" y="396"/>
                    </a:lnTo>
                    <a:lnTo>
                      <a:pt x="455" y="394"/>
                    </a:lnTo>
                    <a:lnTo>
                      <a:pt x="455" y="396"/>
                    </a:lnTo>
                    <a:lnTo>
                      <a:pt x="455" y="394"/>
                    </a:lnTo>
                    <a:lnTo>
                      <a:pt x="455" y="396"/>
                    </a:lnTo>
                    <a:lnTo>
                      <a:pt x="455" y="398"/>
                    </a:lnTo>
                    <a:lnTo>
                      <a:pt x="455" y="396"/>
                    </a:lnTo>
                    <a:lnTo>
                      <a:pt x="457" y="398"/>
                    </a:lnTo>
                    <a:lnTo>
                      <a:pt x="457" y="396"/>
                    </a:lnTo>
                    <a:lnTo>
                      <a:pt x="457" y="398"/>
                    </a:lnTo>
                    <a:lnTo>
                      <a:pt x="459" y="398"/>
                    </a:lnTo>
                    <a:lnTo>
                      <a:pt x="445" y="398"/>
                    </a:lnTo>
                    <a:lnTo>
                      <a:pt x="435" y="398"/>
                    </a:lnTo>
                    <a:lnTo>
                      <a:pt x="430" y="398"/>
                    </a:lnTo>
                    <a:lnTo>
                      <a:pt x="425" y="398"/>
                    </a:lnTo>
                    <a:lnTo>
                      <a:pt x="420" y="398"/>
                    </a:lnTo>
                    <a:lnTo>
                      <a:pt x="416" y="398"/>
                    </a:lnTo>
                    <a:lnTo>
                      <a:pt x="414" y="398"/>
                    </a:lnTo>
                    <a:lnTo>
                      <a:pt x="413" y="398"/>
                    </a:lnTo>
                    <a:lnTo>
                      <a:pt x="413" y="396"/>
                    </a:lnTo>
                    <a:lnTo>
                      <a:pt x="411" y="398"/>
                    </a:lnTo>
                    <a:lnTo>
                      <a:pt x="409" y="398"/>
                    </a:lnTo>
                    <a:lnTo>
                      <a:pt x="409" y="399"/>
                    </a:lnTo>
                    <a:lnTo>
                      <a:pt x="408" y="398"/>
                    </a:lnTo>
                    <a:lnTo>
                      <a:pt x="408" y="399"/>
                    </a:lnTo>
                    <a:lnTo>
                      <a:pt x="408" y="398"/>
                    </a:lnTo>
                    <a:lnTo>
                      <a:pt x="408" y="399"/>
                    </a:lnTo>
                    <a:lnTo>
                      <a:pt x="408" y="398"/>
                    </a:lnTo>
                    <a:lnTo>
                      <a:pt x="406" y="398"/>
                    </a:lnTo>
                    <a:lnTo>
                      <a:pt x="404" y="398"/>
                    </a:lnTo>
                    <a:lnTo>
                      <a:pt x="404" y="399"/>
                    </a:lnTo>
                    <a:lnTo>
                      <a:pt x="403" y="399"/>
                    </a:lnTo>
                    <a:lnTo>
                      <a:pt x="401" y="399"/>
                    </a:lnTo>
                    <a:lnTo>
                      <a:pt x="401" y="401"/>
                    </a:lnTo>
                    <a:lnTo>
                      <a:pt x="401" y="405"/>
                    </a:lnTo>
                    <a:lnTo>
                      <a:pt x="401" y="408"/>
                    </a:lnTo>
                    <a:lnTo>
                      <a:pt x="401" y="411"/>
                    </a:lnTo>
                    <a:lnTo>
                      <a:pt x="401" y="413"/>
                    </a:lnTo>
                    <a:lnTo>
                      <a:pt x="401" y="415"/>
                    </a:lnTo>
                    <a:lnTo>
                      <a:pt x="401" y="418"/>
                    </a:lnTo>
                    <a:lnTo>
                      <a:pt x="401" y="420"/>
                    </a:lnTo>
                    <a:lnTo>
                      <a:pt x="403" y="420"/>
                    </a:lnTo>
                    <a:lnTo>
                      <a:pt x="403" y="422"/>
                    </a:lnTo>
                    <a:lnTo>
                      <a:pt x="403" y="420"/>
                    </a:lnTo>
                    <a:lnTo>
                      <a:pt x="404" y="420"/>
                    </a:lnTo>
                    <a:lnTo>
                      <a:pt x="406" y="420"/>
                    </a:lnTo>
                    <a:lnTo>
                      <a:pt x="408" y="420"/>
                    </a:lnTo>
                    <a:lnTo>
                      <a:pt x="409" y="420"/>
                    </a:lnTo>
                    <a:lnTo>
                      <a:pt x="411" y="420"/>
                    </a:lnTo>
                    <a:lnTo>
                      <a:pt x="413" y="420"/>
                    </a:lnTo>
                    <a:lnTo>
                      <a:pt x="414" y="420"/>
                    </a:lnTo>
                    <a:lnTo>
                      <a:pt x="416" y="422"/>
                    </a:lnTo>
                    <a:lnTo>
                      <a:pt x="418" y="420"/>
                    </a:lnTo>
                    <a:lnTo>
                      <a:pt x="420" y="420"/>
                    </a:lnTo>
                    <a:lnTo>
                      <a:pt x="420" y="422"/>
                    </a:lnTo>
                    <a:lnTo>
                      <a:pt x="421" y="422"/>
                    </a:lnTo>
                    <a:lnTo>
                      <a:pt x="423" y="422"/>
                    </a:lnTo>
                    <a:lnTo>
                      <a:pt x="423" y="423"/>
                    </a:lnTo>
                    <a:lnTo>
                      <a:pt x="423" y="425"/>
                    </a:lnTo>
                    <a:lnTo>
                      <a:pt x="425" y="425"/>
                    </a:lnTo>
                    <a:lnTo>
                      <a:pt x="423" y="425"/>
                    </a:lnTo>
                    <a:lnTo>
                      <a:pt x="423" y="427"/>
                    </a:lnTo>
                    <a:lnTo>
                      <a:pt x="425" y="427"/>
                    </a:lnTo>
                    <a:lnTo>
                      <a:pt x="425" y="428"/>
                    </a:lnTo>
                    <a:lnTo>
                      <a:pt x="425" y="430"/>
                    </a:lnTo>
                    <a:lnTo>
                      <a:pt x="425" y="432"/>
                    </a:lnTo>
                    <a:lnTo>
                      <a:pt x="423" y="432"/>
                    </a:lnTo>
                    <a:lnTo>
                      <a:pt x="425" y="433"/>
                    </a:lnTo>
                    <a:lnTo>
                      <a:pt x="426" y="433"/>
                    </a:lnTo>
                    <a:lnTo>
                      <a:pt x="426" y="435"/>
                    </a:lnTo>
                    <a:lnTo>
                      <a:pt x="425" y="435"/>
                    </a:lnTo>
                    <a:lnTo>
                      <a:pt x="423" y="435"/>
                    </a:lnTo>
                    <a:lnTo>
                      <a:pt x="423" y="437"/>
                    </a:lnTo>
                    <a:lnTo>
                      <a:pt x="421" y="437"/>
                    </a:lnTo>
                    <a:lnTo>
                      <a:pt x="420" y="437"/>
                    </a:lnTo>
                    <a:lnTo>
                      <a:pt x="420" y="435"/>
                    </a:lnTo>
                    <a:lnTo>
                      <a:pt x="418" y="435"/>
                    </a:lnTo>
                    <a:lnTo>
                      <a:pt x="418" y="437"/>
                    </a:lnTo>
                    <a:lnTo>
                      <a:pt x="418" y="435"/>
                    </a:lnTo>
                    <a:lnTo>
                      <a:pt x="416" y="435"/>
                    </a:lnTo>
                    <a:lnTo>
                      <a:pt x="416" y="433"/>
                    </a:lnTo>
                    <a:lnTo>
                      <a:pt x="414" y="432"/>
                    </a:lnTo>
                    <a:lnTo>
                      <a:pt x="413" y="432"/>
                    </a:lnTo>
                    <a:lnTo>
                      <a:pt x="413" y="433"/>
                    </a:lnTo>
                    <a:lnTo>
                      <a:pt x="411" y="433"/>
                    </a:lnTo>
                    <a:lnTo>
                      <a:pt x="411" y="435"/>
                    </a:lnTo>
                    <a:lnTo>
                      <a:pt x="409" y="435"/>
                    </a:lnTo>
                    <a:lnTo>
                      <a:pt x="409" y="437"/>
                    </a:lnTo>
                    <a:lnTo>
                      <a:pt x="409" y="435"/>
                    </a:lnTo>
                    <a:lnTo>
                      <a:pt x="408" y="435"/>
                    </a:lnTo>
                    <a:lnTo>
                      <a:pt x="408" y="433"/>
                    </a:lnTo>
                    <a:lnTo>
                      <a:pt x="406" y="435"/>
                    </a:lnTo>
                    <a:lnTo>
                      <a:pt x="406" y="437"/>
                    </a:lnTo>
                    <a:lnTo>
                      <a:pt x="404" y="435"/>
                    </a:lnTo>
                    <a:lnTo>
                      <a:pt x="404" y="437"/>
                    </a:lnTo>
                    <a:lnTo>
                      <a:pt x="403" y="437"/>
                    </a:lnTo>
                    <a:lnTo>
                      <a:pt x="401" y="437"/>
                    </a:lnTo>
                    <a:lnTo>
                      <a:pt x="399" y="437"/>
                    </a:lnTo>
                    <a:lnTo>
                      <a:pt x="399" y="439"/>
                    </a:lnTo>
                    <a:lnTo>
                      <a:pt x="397" y="439"/>
                    </a:lnTo>
                    <a:lnTo>
                      <a:pt x="397" y="437"/>
                    </a:lnTo>
                    <a:lnTo>
                      <a:pt x="396" y="437"/>
                    </a:lnTo>
                    <a:lnTo>
                      <a:pt x="396" y="439"/>
                    </a:lnTo>
                    <a:lnTo>
                      <a:pt x="394" y="439"/>
                    </a:lnTo>
                    <a:lnTo>
                      <a:pt x="394" y="440"/>
                    </a:lnTo>
                    <a:lnTo>
                      <a:pt x="394" y="444"/>
                    </a:lnTo>
                    <a:lnTo>
                      <a:pt x="394" y="445"/>
                    </a:lnTo>
                    <a:lnTo>
                      <a:pt x="394" y="447"/>
                    </a:lnTo>
                    <a:lnTo>
                      <a:pt x="394" y="449"/>
                    </a:lnTo>
                    <a:lnTo>
                      <a:pt x="394" y="451"/>
                    </a:lnTo>
                    <a:lnTo>
                      <a:pt x="394" y="454"/>
                    </a:lnTo>
                    <a:lnTo>
                      <a:pt x="394" y="457"/>
                    </a:lnTo>
                    <a:lnTo>
                      <a:pt x="394" y="461"/>
                    </a:lnTo>
                    <a:lnTo>
                      <a:pt x="396" y="461"/>
                    </a:lnTo>
                    <a:lnTo>
                      <a:pt x="396" y="462"/>
                    </a:lnTo>
                    <a:lnTo>
                      <a:pt x="396" y="464"/>
                    </a:lnTo>
                    <a:lnTo>
                      <a:pt x="397" y="466"/>
                    </a:lnTo>
                    <a:lnTo>
                      <a:pt x="397" y="468"/>
                    </a:lnTo>
                    <a:lnTo>
                      <a:pt x="399" y="468"/>
                    </a:lnTo>
                    <a:lnTo>
                      <a:pt x="399" y="469"/>
                    </a:lnTo>
                    <a:lnTo>
                      <a:pt x="401" y="468"/>
                    </a:lnTo>
                    <a:lnTo>
                      <a:pt x="403" y="469"/>
                    </a:lnTo>
                    <a:lnTo>
                      <a:pt x="403" y="471"/>
                    </a:lnTo>
                    <a:lnTo>
                      <a:pt x="404" y="471"/>
                    </a:lnTo>
                    <a:lnTo>
                      <a:pt x="406" y="473"/>
                    </a:lnTo>
                    <a:lnTo>
                      <a:pt x="408" y="473"/>
                    </a:lnTo>
                    <a:lnTo>
                      <a:pt x="408" y="474"/>
                    </a:lnTo>
                    <a:lnTo>
                      <a:pt x="409" y="473"/>
                    </a:lnTo>
                    <a:lnTo>
                      <a:pt x="409" y="474"/>
                    </a:lnTo>
                    <a:lnTo>
                      <a:pt x="409" y="476"/>
                    </a:lnTo>
                    <a:lnTo>
                      <a:pt x="409" y="478"/>
                    </a:lnTo>
                    <a:lnTo>
                      <a:pt x="411" y="478"/>
                    </a:lnTo>
                    <a:lnTo>
                      <a:pt x="411" y="479"/>
                    </a:lnTo>
                    <a:lnTo>
                      <a:pt x="409" y="479"/>
                    </a:lnTo>
                    <a:lnTo>
                      <a:pt x="409" y="481"/>
                    </a:lnTo>
                    <a:lnTo>
                      <a:pt x="409" y="483"/>
                    </a:lnTo>
                    <a:lnTo>
                      <a:pt x="411" y="483"/>
                    </a:lnTo>
                    <a:lnTo>
                      <a:pt x="409" y="483"/>
                    </a:lnTo>
                    <a:lnTo>
                      <a:pt x="411" y="485"/>
                    </a:lnTo>
                    <a:lnTo>
                      <a:pt x="411" y="486"/>
                    </a:lnTo>
                    <a:lnTo>
                      <a:pt x="413" y="486"/>
                    </a:lnTo>
                    <a:lnTo>
                      <a:pt x="413" y="488"/>
                    </a:lnTo>
                    <a:lnTo>
                      <a:pt x="413" y="490"/>
                    </a:lnTo>
                    <a:lnTo>
                      <a:pt x="413" y="488"/>
                    </a:lnTo>
                    <a:lnTo>
                      <a:pt x="414" y="490"/>
                    </a:lnTo>
                    <a:lnTo>
                      <a:pt x="416" y="491"/>
                    </a:lnTo>
                    <a:lnTo>
                      <a:pt x="414" y="491"/>
                    </a:lnTo>
                    <a:lnTo>
                      <a:pt x="416" y="491"/>
                    </a:lnTo>
                    <a:lnTo>
                      <a:pt x="416" y="493"/>
                    </a:lnTo>
                    <a:lnTo>
                      <a:pt x="416" y="495"/>
                    </a:lnTo>
                    <a:lnTo>
                      <a:pt x="416" y="496"/>
                    </a:lnTo>
                    <a:lnTo>
                      <a:pt x="416" y="498"/>
                    </a:lnTo>
                    <a:lnTo>
                      <a:pt x="416" y="500"/>
                    </a:lnTo>
                    <a:lnTo>
                      <a:pt x="416" y="502"/>
                    </a:lnTo>
                    <a:lnTo>
                      <a:pt x="416" y="503"/>
                    </a:lnTo>
                    <a:lnTo>
                      <a:pt x="414" y="505"/>
                    </a:lnTo>
                    <a:lnTo>
                      <a:pt x="416" y="505"/>
                    </a:lnTo>
                    <a:lnTo>
                      <a:pt x="416" y="507"/>
                    </a:lnTo>
                    <a:lnTo>
                      <a:pt x="414" y="507"/>
                    </a:lnTo>
                    <a:lnTo>
                      <a:pt x="414" y="508"/>
                    </a:lnTo>
                    <a:lnTo>
                      <a:pt x="413" y="517"/>
                    </a:lnTo>
                    <a:lnTo>
                      <a:pt x="413" y="524"/>
                    </a:lnTo>
                    <a:lnTo>
                      <a:pt x="411" y="529"/>
                    </a:lnTo>
                    <a:lnTo>
                      <a:pt x="409" y="534"/>
                    </a:lnTo>
                    <a:lnTo>
                      <a:pt x="409" y="539"/>
                    </a:lnTo>
                    <a:lnTo>
                      <a:pt x="406" y="554"/>
                    </a:lnTo>
                    <a:lnTo>
                      <a:pt x="406" y="558"/>
                    </a:lnTo>
                    <a:lnTo>
                      <a:pt x="403" y="581"/>
                    </a:lnTo>
                    <a:lnTo>
                      <a:pt x="401" y="590"/>
                    </a:lnTo>
                    <a:lnTo>
                      <a:pt x="399" y="600"/>
                    </a:lnTo>
                    <a:lnTo>
                      <a:pt x="397" y="600"/>
                    </a:lnTo>
                    <a:lnTo>
                      <a:pt x="397" y="598"/>
                    </a:lnTo>
                    <a:lnTo>
                      <a:pt x="396" y="598"/>
                    </a:lnTo>
                    <a:lnTo>
                      <a:pt x="396" y="597"/>
                    </a:lnTo>
                    <a:lnTo>
                      <a:pt x="394" y="597"/>
                    </a:lnTo>
                    <a:lnTo>
                      <a:pt x="394" y="595"/>
                    </a:lnTo>
                    <a:lnTo>
                      <a:pt x="392" y="593"/>
                    </a:lnTo>
                    <a:lnTo>
                      <a:pt x="391" y="593"/>
                    </a:lnTo>
                    <a:lnTo>
                      <a:pt x="391" y="592"/>
                    </a:lnTo>
                    <a:lnTo>
                      <a:pt x="391" y="590"/>
                    </a:lnTo>
                    <a:lnTo>
                      <a:pt x="389" y="590"/>
                    </a:lnTo>
                    <a:lnTo>
                      <a:pt x="389" y="588"/>
                    </a:lnTo>
                    <a:lnTo>
                      <a:pt x="387" y="588"/>
                    </a:lnTo>
                    <a:lnTo>
                      <a:pt x="387" y="587"/>
                    </a:lnTo>
                    <a:lnTo>
                      <a:pt x="386" y="587"/>
                    </a:lnTo>
                    <a:lnTo>
                      <a:pt x="386" y="585"/>
                    </a:lnTo>
                    <a:lnTo>
                      <a:pt x="384" y="585"/>
                    </a:lnTo>
                    <a:lnTo>
                      <a:pt x="384" y="587"/>
                    </a:lnTo>
                    <a:lnTo>
                      <a:pt x="382" y="587"/>
                    </a:lnTo>
                    <a:lnTo>
                      <a:pt x="380" y="587"/>
                    </a:lnTo>
                    <a:lnTo>
                      <a:pt x="380" y="588"/>
                    </a:lnTo>
                    <a:lnTo>
                      <a:pt x="379" y="588"/>
                    </a:lnTo>
                    <a:lnTo>
                      <a:pt x="377" y="587"/>
                    </a:lnTo>
                    <a:lnTo>
                      <a:pt x="375" y="587"/>
                    </a:lnTo>
                    <a:lnTo>
                      <a:pt x="374" y="587"/>
                    </a:lnTo>
                    <a:lnTo>
                      <a:pt x="374" y="585"/>
                    </a:lnTo>
                    <a:lnTo>
                      <a:pt x="372" y="585"/>
                    </a:lnTo>
                    <a:lnTo>
                      <a:pt x="374" y="581"/>
                    </a:lnTo>
                    <a:lnTo>
                      <a:pt x="375" y="581"/>
                    </a:lnTo>
                    <a:lnTo>
                      <a:pt x="377" y="576"/>
                    </a:lnTo>
                    <a:lnTo>
                      <a:pt x="379" y="573"/>
                    </a:lnTo>
                    <a:lnTo>
                      <a:pt x="380" y="573"/>
                    </a:lnTo>
                    <a:lnTo>
                      <a:pt x="382" y="570"/>
                    </a:lnTo>
                    <a:lnTo>
                      <a:pt x="384" y="566"/>
                    </a:lnTo>
                    <a:lnTo>
                      <a:pt x="386" y="564"/>
                    </a:lnTo>
                    <a:lnTo>
                      <a:pt x="386" y="563"/>
                    </a:lnTo>
                    <a:lnTo>
                      <a:pt x="387" y="561"/>
                    </a:lnTo>
                    <a:lnTo>
                      <a:pt x="391" y="556"/>
                    </a:lnTo>
                    <a:lnTo>
                      <a:pt x="392" y="554"/>
                    </a:lnTo>
                    <a:lnTo>
                      <a:pt x="394" y="551"/>
                    </a:lnTo>
                    <a:lnTo>
                      <a:pt x="394" y="549"/>
                    </a:lnTo>
                    <a:lnTo>
                      <a:pt x="394" y="547"/>
                    </a:lnTo>
                    <a:lnTo>
                      <a:pt x="394" y="546"/>
                    </a:lnTo>
                    <a:lnTo>
                      <a:pt x="392" y="547"/>
                    </a:lnTo>
                    <a:lnTo>
                      <a:pt x="391" y="547"/>
                    </a:lnTo>
                    <a:lnTo>
                      <a:pt x="391" y="546"/>
                    </a:lnTo>
                    <a:lnTo>
                      <a:pt x="389" y="546"/>
                    </a:lnTo>
                    <a:lnTo>
                      <a:pt x="389" y="547"/>
                    </a:lnTo>
                    <a:lnTo>
                      <a:pt x="389" y="546"/>
                    </a:lnTo>
                    <a:lnTo>
                      <a:pt x="389" y="544"/>
                    </a:lnTo>
                    <a:lnTo>
                      <a:pt x="387" y="542"/>
                    </a:lnTo>
                    <a:lnTo>
                      <a:pt x="386" y="544"/>
                    </a:lnTo>
                    <a:lnTo>
                      <a:pt x="384" y="544"/>
                    </a:lnTo>
                    <a:lnTo>
                      <a:pt x="384" y="542"/>
                    </a:lnTo>
                    <a:lnTo>
                      <a:pt x="386" y="542"/>
                    </a:lnTo>
                    <a:lnTo>
                      <a:pt x="386" y="541"/>
                    </a:lnTo>
                    <a:lnTo>
                      <a:pt x="384" y="541"/>
                    </a:lnTo>
                    <a:lnTo>
                      <a:pt x="382" y="542"/>
                    </a:lnTo>
                    <a:lnTo>
                      <a:pt x="380" y="542"/>
                    </a:lnTo>
                    <a:lnTo>
                      <a:pt x="380" y="541"/>
                    </a:lnTo>
                    <a:lnTo>
                      <a:pt x="380" y="539"/>
                    </a:lnTo>
                    <a:lnTo>
                      <a:pt x="380" y="541"/>
                    </a:lnTo>
                    <a:lnTo>
                      <a:pt x="379" y="541"/>
                    </a:lnTo>
                    <a:lnTo>
                      <a:pt x="379" y="539"/>
                    </a:lnTo>
                    <a:lnTo>
                      <a:pt x="377" y="539"/>
                    </a:lnTo>
                    <a:lnTo>
                      <a:pt x="377" y="541"/>
                    </a:lnTo>
                    <a:lnTo>
                      <a:pt x="375" y="541"/>
                    </a:lnTo>
                    <a:lnTo>
                      <a:pt x="375" y="539"/>
                    </a:lnTo>
                    <a:lnTo>
                      <a:pt x="375" y="537"/>
                    </a:lnTo>
                    <a:lnTo>
                      <a:pt x="374" y="539"/>
                    </a:lnTo>
                    <a:lnTo>
                      <a:pt x="374" y="537"/>
                    </a:lnTo>
                    <a:lnTo>
                      <a:pt x="374" y="536"/>
                    </a:lnTo>
                    <a:lnTo>
                      <a:pt x="372" y="536"/>
                    </a:lnTo>
                    <a:lnTo>
                      <a:pt x="370" y="536"/>
                    </a:lnTo>
                    <a:lnTo>
                      <a:pt x="370" y="534"/>
                    </a:lnTo>
                    <a:lnTo>
                      <a:pt x="369" y="534"/>
                    </a:lnTo>
                    <a:lnTo>
                      <a:pt x="367" y="534"/>
                    </a:lnTo>
                    <a:lnTo>
                      <a:pt x="367" y="532"/>
                    </a:lnTo>
                    <a:lnTo>
                      <a:pt x="365" y="532"/>
                    </a:lnTo>
                    <a:lnTo>
                      <a:pt x="363" y="532"/>
                    </a:lnTo>
                    <a:lnTo>
                      <a:pt x="362" y="532"/>
                    </a:lnTo>
                    <a:lnTo>
                      <a:pt x="362" y="534"/>
                    </a:lnTo>
                    <a:lnTo>
                      <a:pt x="363" y="534"/>
                    </a:lnTo>
                    <a:lnTo>
                      <a:pt x="362" y="534"/>
                    </a:lnTo>
                    <a:lnTo>
                      <a:pt x="360" y="534"/>
                    </a:lnTo>
                    <a:lnTo>
                      <a:pt x="358" y="534"/>
                    </a:lnTo>
                    <a:lnTo>
                      <a:pt x="358" y="536"/>
                    </a:lnTo>
                    <a:lnTo>
                      <a:pt x="357" y="536"/>
                    </a:lnTo>
                    <a:lnTo>
                      <a:pt x="357" y="537"/>
                    </a:lnTo>
                    <a:lnTo>
                      <a:pt x="355" y="537"/>
                    </a:lnTo>
                    <a:lnTo>
                      <a:pt x="355" y="536"/>
                    </a:lnTo>
                    <a:lnTo>
                      <a:pt x="353" y="536"/>
                    </a:lnTo>
                    <a:lnTo>
                      <a:pt x="353" y="537"/>
                    </a:lnTo>
                    <a:lnTo>
                      <a:pt x="353" y="536"/>
                    </a:lnTo>
                    <a:lnTo>
                      <a:pt x="352" y="536"/>
                    </a:lnTo>
                    <a:lnTo>
                      <a:pt x="352" y="537"/>
                    </a:lnTo>
                    <a:lnTo>
                      <a:pt x="350" y="537"/>
                    </a:lnTo>
                    <a:lnTo>
                      <a:pt x="350" y="539"/>
                    </a:lnTo>
                    <a:lnTo>
                      <a:pt x="348" y="537"/>
                    </a:lnTo>
                    <a:lnTo>
                      <a:pt x="350" y="537"/>
                    </a:lnTo>
                    <a:lnTo>
                      <a:pt x="350" y="536"/>
                    </a:lnTo>
                    <a:lnTo>
                      <a:pt x="348" y="536"/>
                    </a:lnTo>
                    <a:lnTo>
                      <a:pt x="348" y="534"/>
                    </a:lnTo>
                    <a:lnTo>
                      <a:pt x="346" y="534"/>
                    </a:lnTo>
                    <a:lnTo>
                      <a:pt x="346" y="536"/>
                    </a:lnTo>
                    <a:lnTo>
                      <a:pt x="345" y="536"/>
                    </a:lnTo>
                    <a:lnTo>
                      <a:pt x="345" y="534"/>
                    </a:lnTo>
                    <a:lnTo>
                      <a:pt x="345" y="532"/>
                    </a:lnTo>
                    <a:lnTo>
                      <a:pt x="343" y="532"/>
                    </a:lnTo>
                    <a:lnTo>
                      <a:pt x="341" y="532"/>
                    </a:lnTo>
                    <a:lnTo>
                      <a:pt x="341" y="530"/>
                    </a:lnTo>
                    <a:lnTo>
                      <a:pt x="340" y="530"/>
                    </a:lnTo>
                    <a:lnTo>
                      <a:pt x="340" y="532"/>
                    </a:lnTo>
                    <a:lnTo>
                      <a:pt x="338" y="532"/>
                    </a:lnTo>
                    <a:lnTo>
                      <a:pt x="338" y="530"/>
                    </a:lnTo>
                    <a:lnTo>
                      <a:pt x="338" y="529"/>
                    </a:lnTo>
                    <a:lnTo>
                      <a:pt x="336" y="530"/>
                    </a:lnTo>
                    <a:lnTo>
                      <a:pt x="335" y="532"/>
                    </a:lnTo>
                    <a:lnTo>
                      <a:pt x="335" y="530"/>
                    </a:lnTo>
                    <a:lnTo>
                      <a:pt x="335" y="532"/>
                    </a:lnTo>
                    <a:lnTo>
                      <a:pt x="333" y="532"/>
                    </a:lnTo>
                    <a:lnTo>
                      <a:pt x="333" y="534"/>
                    </a:lnTo>
                    <a:lnTo>
                      <a:pt x="333" y="536"/>
                    </a:lnTo>
                    <a:lnTo>
                      <a:pt x="331" y="536"/>
                    </a:lnTo>
                    <a:lnTo>
                      <a:pt x="331" y="537"/>
                    </a:lnTo>
                    <a:lnTo>
                      <a:pt x="329" y="537"/>
                    </a:lnTo>
                    <a:lnTo>
                      <a:pt x="328" y="537"/>
                    </a:lnTo>
                    <a:lnTo>
                      <a:pt x="328" y="536"/>
                    </a:lnTo>
                    <a:lnTo>
                      <a:pt x="326" y="536"/>
                    </a:lnTo>
                    <a:lnTo>
                      <a:pt x="326" y="537"/>
                    </a:lnTo>
                    <a:lnTo>
                      <a:pt x="324" y="537"/>
                    </a:lnTo>
                    <a:lnTo>
                      <a:pt x="324" y="539"/>
                    </a:lnTo>
                    <a:lnTo>
                      <a:pt x="324" y="541"/>
                    </a:lnTo>
                    <a:lnTo>
                      <a:pt x="323" y="541"/>
                    </a:lnTo>
                    <a:lnTo>
                      <a:pt x="323" y="539"/>
                    </a:lnTo>
                    <a:lnTo>
                      <a:pt x="321" y="539"/>
                    </a:lnTo>
                    <a:lnTo>
                      <a:pt x="319" y="539"/>
                    </a:lnTo>
                    <a:lnTo>
                      <a:pt x="319" y="541"/>
                    </a:lnTo>
                    <a:lnTo>
                      <a:pt x="319" y="539"/>
                    </a:lnTo>
                    <a:lnTo>
                      <a:pt x="319" y="541"/>
                    </a:lnTo>
                    <a:lnTo>
                      <a:pt x="318" y="541"/>
                    </a:lnTo>
                    <a:lnTo>
                      <a:pt x="316" y="541"/>
                    </a:lnTo>
                    <a:lnTo>
                      <a:pt x="316" y="539"/>
                    </a:lnTo>
                    <a:lnTo>
                      <a:pt x="314" y="539"/>
                    </a:lnTo>
                    <a:lnTo>
                      <a:pt x="312" y="539"/>
                    </a:lnTo>
                    <a:lnTo>
                      <a:pt x="311" y="539"/>
                    </a:lnTo>
                    <a:lnTo>
                      <a:pt x="311" y="537"/>
                    </a:lnTo>
                    <a:lnTo>
                      <a:pt x="309" y="537"/>
                    </a:lnTo>
                    <a:lnTo>
                      <a:pt x="307" y="537"/>
                    </a:lnTo>
                    <a:lnTo>
                      <a:pt x="307" y="539"/>
                    </a:lnTo>
                    <a:lnTo>
                      <a:pt x="306" y="539"/>
                    </a:lnTo>
                    <a:lnTo>
                      <a:pt x="304" y="537"/>
                    </a:lnTo>
                    <a:lnTo>
                      <a:pt x="304" y="539"/>
                    </a:lnTo>
                    <a:lnTo>
                      <a:pt x="304" y="537"/>
                    </a:lnTo>
                    <a:lnTo>
                      <a:pt x="302" y="537"/>
                    </a:lnTo>
                    <a:lnTo>
                      <a:pt x="302" y="539"/>
                    </a:lnTo>
                    <a:lnTo>
                      <a:pt x="301" y="539"/>
                    </a:lnTo>
                    <a:lnTo>
                      <a:pt x="299" y="539"/>
                    </a:lnTo>
                    <a:lnTo>
                      <a:pt x="297" y="539"/>
                    </a:lnTo>
                    <a:lnTo>
                      <a:pt x="297" y="537"/>
                    </a:lnTo>
                    <a:lnTo>
                      <a:pt x="295" y="537"/>
                    </a:lnTo>
                    <a:lnTo>
                      <a:pt x="295" y="536"/>
                    </a:lnTo>
                    <a:lnTo>
                      <a:pt x="295" y="537"/>
                    </a:lnTo>
                    <a:lnTo>
                      <a:pt x="294" y="536"/>
                    </a:lnTo>
                    <a:lnTo>
                      <a:pt x="292" y="537"/>
                    </a:lnTo>
                    <a:lnTo>
                      <a:pt x="292" y="536"/>
                    </a:lnTo>
                    <a:lnTo>
                      <a:pt x="290" y="536"/>
                    </a:lnTo>
                    <a:lnTo>
                      <a:pt x="290" y="534"/>
                    </a:lnTo>
                    <a:lnTo>
                      <a:pt x="289" y="532"/>
                    </a:lnTo>
                    <a:lnTo>
                      <a:pt x="289" y="530"/>
                    </a:lnTo>
                    <a:lnTo>
                      <a:pt x="290" y="530"/>
                    </a:lnTo>
                    <a:lnTo>
                      <a:pt x="290" y="529"/>
                    </a:lnTo>
                    <a:lnTo>
                      <a:pt x="292" y="529"/>
                    </a:lnTo>
                    <a:lnTo>
                      <a:pt x="292" y="527"/>
                    </a:lnTo>
                    <a:lnTo>
                      <a:pt x="292" y="525"/>
                    </a:lnTo>
                    <a:lnTo>
                      <a:pt x="290" y="525"/>
                    </a:lnTo>
                    <a:lnTo>
                      <a:pt x="290" y="524"/>
                    </a:lnTo>
                    <a:lnTo>
                      <a:pt x="290" y="522"/>
                    </a:lnTo>
                    <a:lnTo>
                      <a:pt x="292" y="520"/>
                    </a:lnTo>
                    <a:lnTo>
                      <a:pt x="290" y="520"/>
                    </a:lnTo>
                    <a:lnTo>
                      <a:pt x="290" y="519"/>
                    </a:lnTo>
                    <a:lnTo>
                      <a:pt x="289" y="517"/>
                    </a:lnTo>
                    <a:lnTo>
                      <a:pt x="287" y="515"/>
                    </a:lnTo>
                    <a:lnTo>
                      <a:pt x="287" y="517"/>
                    </a:lnTo>
                    <a:lnTo>
                      <a:pt x="287" y="519"/>
                    </a:lnTo>
                    <a:lnTo>
                      <a:pt x="287" y="517"/>
                    </a:lnTo>
                    <a:lnTo>
                      <a:pt x="285" y="517"/>
                    </a:lnTo>
                    <a:lnTo>
                      <a:pt x="285" y="519"/>
                    </a:lnTo>
                    <a:lnTo>
                      <a:pt x="284" y="519"/>
                    </a:lnTo>
                    <a:lnTo>
                      <a:pt x="284" y="517"/>
                    </a:lnTo>
                    <a:lnTo>
                      <a:pt x="282" y="517"/>
                    </a:lnTo>
                    <a:lnTo>
                      <a:pt x="280" y="517"/>
                    </a:lnTo>
                    <a:lnTo>
                      <a:pt x="280" y="515"/>
                    </a:lnTo>
                    <a:lnTo>
                      <a:pt x="278" y="515"/>
                    </a:lnTo>
                    <a:lnTo>
                      <a:pt x="277" y="515"/>
                    </a:lnTo>
                    <a:lnTo>
                      <a:pt x="277" y="513"/>
                    </a:lnTo>
                    <a:lnTo>
                      <a:pt x="278" y="513"/>
                    </a:lnTo>
                    <a:lnTo>
                      <a:pt x="278" y="512"/>
                    </a:lnTo>
                    <a:lnTo>
                      <a:pt x="278" y="510"/>
                    </a:lnTo>
                    <a:lnTo>
                      <a:pt x="280" y="510"/>
                    </a:lnTo>
                    <a:lnTo>
                      <a:pt x="278" y="510"/>
                    </a:lnTo>
                    <a:lnTo>
                      <a:pt x="278" y="508"/>
                    </a:lnTo>
                    <a:lnTo>
                      <a:pt x="278" y="507"/>
                    </a:lnTo>
                    <a:lnTo>
                      <a:pt x="277" y="507"/>
                    </a:lnTo>
                    <a:lnTo>
                      <a:pt x="277" y="505"/>
                    </a:lnTo>
                    <a:lnTo>
                      <a:pt x="275" y="505"/>
                    </a:lnTo>
                    <a:lnTo>
                      <a:pt x="277" y="505"/>
                    </a:lnTo>
                    <a:lnTo>
                      <a:pt x="277" y="503"/>
                    </a:lnTo>
                    <a:lnTo>
                      <a:pt x="275" y="503"/>
                    </a:lnTo>
                    <a:lnTo>
                      <a:pt x="275" y="502"/>
                    </a:lnTo>
                    <a:lnTo>
                      <a:pt x="273" y="500"/>
                    </a:lnTo>
                    <a:lnTo>
                      <a:pt x="272" y="498"/>
                    </a:lnTo>
                    <a:lnTo>
                      <a:pt x="272" y="500"/>
                    </a:lnTo>
                    <a:lnTo>
                      <a:pt x="270" y="498"/>
                    </a:lnTo>
                    <a:lnTo>
                      <a:pt x="270" y="500"/>
                    </a:lnTo>
                    <a:lnTo>
                      <a:pt x="268" y="500"/>
                    </a:lnTo>
                    <a:lnTo>
                      <a:pt x="268" y="498"/>
                    </a:lnTo>
                    <a:lnTo>
                      <a:pt x="268" y="500"/>
                    </a:lnTo>
                    <a:lnTo>
                      <a:pt x="267" y="498"/>
                    </a:lnTo>
                    <a:lnTo>
                      <a:pt x="265" y="498"/>
                    </a:lnTo>
                    <a:lnTo>
                      <a:pt x="265" y="496"/>
                    </a:lnTo>
                    <a:lnTo>
                      <a:pt x="265" y="495"/>
                    </a:lnTo>
                    <a:lnTo>
                      <a:pt x="263" y="495"/>
                    </a:lnTo>
                    <a:lnTo>
                      <a:pt x="263" y="493"/>
                    </a:lnTo>
                    <a:lnTo>
                      <a:pt x="261" y="493"/>
                    </a:lnTo>
                    <a:lnTo>
                      <a:pt x="261" y="495"/>
                    </a:lnTo>
                    <a:lnTo>
                      <a:pt x="261" y="493"/>
                    </a:lnTo>
                    <a:lnTo>
                      <a:pt x="260" y="493"/>
                    </a:lnTo>
                    <a:lnTo>
                      <a:pt x="260" y="491"/>
                    </a:lnTo>
                    <a:lnTo>
                      <a:pt x="261" y="491"/>
                    </a:lnTo>
                    <a:lnTo>
                      <a:pt x="260" y="491"/>
                    </a:lnTo>
                    <a:lnTo>
                      <a:pt x="260" y="493"/>
                    </a:lnTo>
                    <a:lnTo>
                      <a:pt x="258" y="493"/>
                    </a:lnTo>
                    <a:lnTo>
                      <a:pt x="258" y="491"/>
                    </a:lnTo>
                    <a:lnTo>
                      <a:pt x="256" y="491"/>
                    </a:lnTo>
                    <a:lnTo>
                      <a:pt x="255" y="491"/>
                    </a:lnTo>
                    <a:lnTo>
                      <a:pt x="253" y="491"/>
                    </a:lnTo>
                    <a:lnTo>
                      <a:pt x="253" y="490"/>
                    </a:lnTo>
                    <a:lnTo>
                      <a:pt x="251" y="490"/>
                    </a:lnTo>
                    <a:lnTo>
                      <a:pt x="253" y="490"/>
                    </a:lnTo>
                    <a:lnTo>
                      <a:pt x="253" y="488"/>
                    </a:lnTo>
                    <a:lnTo>
                      <a:pt x="251" y="488"/>
                    </a:lnTo>
                    <a:lnTo>
                      <a:pt x="251" y="486"/>
                    </a:lnTo>
                    <a:lnTo>
                      <a:pt x="251" y="488"/>
                    </a:lnTo>
                    <a:lnTo>
                      <a:pt x="251" y="486"/>
                    </a:lnTo>
                    <a:lnTo>
                      <a:pt x="253" y="486"/>
                    </a:lnTo>
                    <a:lnTo>
                      <a:pt x="251" y="486"/>
                    </a:lnTo>
                    <a:lnTo>
                      <a:pt x="253" y="485"/>
                    </a:lnTo>
                    <a:lnTo>
                      <a:pt x="251" y="485"/>
                    </a:lnTo>
                    <a:lnTo>
                      <a:pt x="251" y="483"/>
                    </a:lnTo>
                    <a:lnTo>
                      <a:pt x="250" y="483"/>
                    </a:lnTo>
                    <a:lnTo>
                      <a:pt x="250" y="481"/>
                    </a:lnTo>
                    <a:lnTo>
                      <a:pt x="248" y="481"/>
                    </a:lnTo>
                    <a:lnTo>
                      <a:pt x="250" y="481"/>
                    </a:lnTo>
                    <a:lnTo>
                      <a:pt x="250" y="479"/>
                    </a:lnTo>
                    <a:lnTo>
                      <a:pt x="248" y="479"/>
                    </a:lnTo>
                    <a:lnTo>
                      <a:pt x="250" y="478"/>
                    </a:lnTo>
                    <a:lnTo>
                      <a:pt x="248" y="478"/>
                    </a:lnTo>
                    <a:lnTo>
                      <a:pt x="248" y="476"/>
                    </a:lnTo>
                    <a:lnTo>
                      <a:pt x="248" y="474"/>
                    </a:lnTo>
                    <a:lnTo>
                      <a:pt x="248" y="476"/>
                    </a:lnTo>
                    <a:lnTo>
                      <a:pt x="246" y="476"/>
                    </a:lnTo>
                    <a:lnTo>
                      <a:pt x="246" y="474"/>
                    </a:lnTo>
                    <a:lnTo>
                      <a:pt x="248" y="474"/>
                    </a:lnTo>
                    <a:lnTo>
                      <a:pt x="246" y="474"/>
                    </a:lnTo>
                    <a:lnTo>
                      <a:pt x="246" y="473"/>
                    </a:lnTo>
                    <a:lnTo>
                      <a:pt x="244" y="473"/>
                    </a:lnTo>
                    <a:lnTo>
                      <a:pt x="243" y="473"/>
                    </a:lnTo>
                    <a:lnTo>
                      <a:pt x="243" y="471"/>
                    </a:lnTo>
                    <a:lnTo>
                      <a:pt x="241" y="469"/>
                    </a:lnTo>
                    <a:lnTo>
                      <a:pt x="239" y="469"/>
                    </a:lnTo>
                    <a:lnTo>
                      <a:pt x="238" y="469"/>
                    </a:lnTo>
                    <a:lnTo>
                      <a:pt x="238" y="468"/>
                    </a:lnTo>
                    <a:lnTo>
                      <a:pt x="238" y="469"/>
                    </a:lnTo>
                    <a:lnTo>
                      <a:pt x="236" y="469"/>
                    </a:lnTo>
                    <a:lnTo>
                      <a:pt x="236" y="468"/>
                    </a:lnTo>
                    <a:lnTo>
                      <a:pt x="236" y="466"/>
                    </a:lnTo>
                    <a:lnTo>
                      <a:pt x="236" y="464"/>
                    </a:lnTo>
                    <a:lnTo>
                      <a:pt x="234" y="464"/>
                    </a:lnTo>
                    <a:lnTo>
                      <a:pt x="234" y="462"/>
                    </a:lnTo>
                    <a:lnTo>
                      <a:pt x="234" y="464"/>
                    </a:lnTo>
                    <a:lnTo>
                      <a:pt x="233" y="464"/>
                    </a:lnTo>
                    <a:lnTo>
                      <a:pt x="231" y="466"/>
                    </a:lnTo>
                    <a:lnTo>
                      <a:pt x="231" y="464"/>
                    </a:lnTo>
                    <a:lnTo>
                      <a:pt x="229" y="464"/>
                    </a:lnTo>
                    <a:lnTo>
                      <a:pt x="229" y="462"/>
                    </a:lnTo>
                    <a:lnTo>
                      <a:pt x="227" y="462"/>
                    </a:lnTo>
                    <a:lnTo>
                      <a:pt x="226" y="461"/>
                    </a:lnTo>
                    <a:lnTo>
                      <a:pt x="224" y="459"/>
                    </a:lnTo>
                    <a:lnTo>
                      <a:pt x="222" y="459"/>
                    </a:lnTo>
                    <a:lnTo>
                      <a:pt x="221" y="459"/>
                    </a:lnTo>
                    <a:lnTo>
                      <a:pt x="221" y="457"/>
                    </a:lnTo>
                    <a:lnTo>
                      <a:pt x="221" y="459"/>
                    </a:lnTo>
                    <a:lnTo>
                      <a:pt x="219" y="461"/>
                    </a:lnTo>
                    <a:lnTo>
                      <a:pt x="217" y="461"/>
                    </a:lnTo>
                    <a:lnTo>
                      <a:pt x="216" y="461"/>
                    </a:lnTo>
                    <a:lnTo>
                      <a:pt x="214" y="461"/>
                    </a:lnTo>
                    <a:lnTo>
                      <a:pt x="214" y="459"/>
                    </a:lnTo>
                    <a:lnTo>
                      <a:pt x="212" y="459"/>
                    </a:lnTo>
                    <a:lnTo>
                      <a:pt x="210" y="459"/>
                    </a:lnTo>
                    <a:lnTo>
                      <a:pt x="210" y="457"/>
                    </a:lnTo>
                    <a:lnTo>
                      <a:pt x="209" y="457"/>
                    </a:lnTo>
                    <a:lnTo>
                      <a:pt x="207" y="457"/>
                    </a:lnTo>
                    <a:lnTo>
                      <a:pt x="207" y="456"/>
                    </a:lnTo>
                    <a:lnTo>
                      <a:pt x="205" y="456"/>
                    </a:lnTo>
                    <a:lnTo>
                      <a:pt x="204" y="456"/>
                    </a:lnTo>
                    <a:lnTo>
                      <a:pt x="202" y="456"/>
                    </a:lnTo>
                    <a:lnTo>
                      <a:pt x="200" y="456"/>
                    </a:lnTo>
                    <a:lnTo>
                      <a:pt x="200" y="454"/>
                    </a:lnTo>
                    <a:lnTo>
                      <a:pt x="199" y="454"/>
                    </a:lnTo>
                    <a:lnTo>
                      <a:pt x="199" y="452"/>
                    </a:lnTo>
                    <a:lnTo>
                      <a:pt x="197" y="452"/>
                    </a:lnTo>
                    <a:lnTo>
                      <a:pt x="197" y="451"/>
                    </a:lnTo>
                    <a:lnTo>
                      <a:pt x="195" y="451"/>
                    </a:lnTo>
                    <a:lnTo>
                      <a:pt x="195" y="449"/>
                    </a:lnTo>
                    <a:lnTo>
                      <a:pt x="193" y="449"/>
                    </a:lnTo>
                    <a:lnTo>
                      <a:pt x="193" y="447"/>
                    </a:lnTo>
                    <a:lnTo>
                      <a:pt x="192" y="447"/>
                    </a:lnTo>
                    <a:lnTo>
                      <a:pt x="192" y="445"/>
                    </a:lnTo>
                    <a:lnTo>
                      <a:pt x="190" y="445"/>
                    </a:lnTo>
                    <a:lnTo>
                      <a:pt x="190" y="444"/>
                    </a:lnTo>
                    <a:lnTo>
                      <a:pt x="188" y="444"/>
                    </a:lnTo>
                    <a:lnTo>
                      <a:pt x="187" y="444"/>
                    </a:lnTo>
                    <a:lnTo>
                      <a:pt x="185" y="444"/>
                    </a:lnTo>
                    <a:lnTo>
                      <a:pt x="185" y="442"/>
                    </a:lnTo>
                    <a:lnTo>
                      <a:pt x="183" y="442"/>
                    </a:lnTo>
                    <a:lnTo>
                      <a:pt x="183" y="444"/>
                    </a:lnTo>
                    <a:lnTo>
                      <a:pt x="182" y="444"/>
                    </a:lnTo>
                    <a:lnTo>
                      <a:pt x="180" y="444"/>
                    </a:lnTo>
                    <a:lnTo>
                      <a:pt x="180" y="445"/>
                    </a:lnTo>
                    <a:lnTo>
                      <a:pt x="180" y="449"/>
                    </a:lnTo>
                    <a:lnTo>
                      <a:pt x="178" y="449"/>
                    </a:lnTo>
                    <a:lnTo>
                      <a:pt x="176" y="449"/>
                    </a:lnTo>
                    <a:lnTo>
                      <a:pt x="175" y="449"/>
                    </a:lnTo>
                    <a:lnTo>
                      <a:pt x="173" y="449"/>
                    </a:lnTo>
                    <a:lnTo>
                      <a:pt x="171" y="449"/>
                    </a:lnTo>
                    <a:lnTo>
                      <a:pt x="171" y="447"/>
                    </a:lnTo>
                    <a:lnTo>
                      <a:pt x="170" y="447"/>
                    </a:lnTo>
                    <a:lnTo>
                      <a:pt x="168" y="447"/>
                    </a:lnTo>
                    <a:lnTo>
                      <a:pt x="168" y="449"/>
                    </a:lnTo>
                    <a:lnTo>
                      <a:pt x="166" y="447"/>
                    </a:lnTo>
                    <a:lnTo>
                      <a:pt x="166" y="449"/>
                    </a:lnTo>
                    <a:lnTo>
                      <a:pt x="166" y="447"/>
                    </a:lnTo>
                    <a:lnTo>
                      <a:pt x="166" y="449"/>
                    </a:lnTo>
                    <a:lnTo>
                      <a:pt x="165" y="449"/>
                    </a:lnTo>
                    <a:lnTo>
                      <a:pt x="163" y="449"/>
                    </a:lnTo>
                    <a:lnTo>
                      <a:pt x="163" y="447"/>
                    </a:lnTo>
                    <a:lnTo>
                      <a:pt x="161" y="447"/>
                    </a:lnTo>
                    <a:lnTo>
                      <a:pt x="159" y="447"/>
                    </a:lnTo>
                    <a:lnTo>
                      <a:pt x="158" y="447"/>
                    </a:lnTo>
                    <a:lnTo>
                      <a:pt x="158" y="445"/>
                    </a:lnTo>
                    <a:lnTo>
                      <a:pt x="156" y="445"/>
                    </a:lnTo>
                    <a:lnTo>
                      <a:pt x="156" y="444"/>
                    </a:lnTo>
                    <a:lnTo>
                      <a:pt x="154" y="444"/>
                    </a:lnTo>
                    <a:lnTo>
                      <a:pt x="153" y="444"/>
                    </a:lnTo>
                    <a:lnTo>
                      <a:pt x="153" y="445"/>
                    </a:lnTo>
                    <a:lnTo>
                      <a:pt x="153" y="444"/>
                    </a:lnTo>
                    <a:lnTo>
                      <a:pt x="151" y="445"/>
                    </a:lnTo>
                    <a:lnTo>
                      <a:pt x="151" y="444"/>
                    </a:lnTo>
                    <a:lnTo>
                      <a:pt x="151" y="445"/>
                    </a:lnTo>
                    <a:lnTo>
                      <a:pt x="149" y="444"/>
                    </a:lnTo>
                    <a:lnTo>
                      <a:pt x="148" y="444"/>
                    </a:lnTo>
                    <a:lnTo>
                      <a:pt x="146" y="444"/>
                    </a:lnTo>
                    <a:lnTo>
                      <a:pt x="146" y="442"/>
                    </a:lnTo>
                    <a:lnTo>
                      <a:pt x="144" y="442"/>
                    </a:lnTo>
                    <a:lnTo>
                      <a:pt x="142" y="444"/>
                    </a:lnTo>
                    <a:lnTo>
                      <a:pt x="142" y="442"/>
                    </a:lnTo>
                    <a:lnTo>
                      <a:pt x="142" y="440"/>
                    </a:lnTo>
                    <a:lnTo>
                      <a:pt x="142" y="439"/>
                    </a:lnTo>
                    <a:lnTo>
                      <a:pt x="142" y="437"/>
                    </a:lnTo>
                    <a:lnTo>
                      <a:pt x="144" y="437"/>
                    </a:lnTo>
                    <a:lnTo>
                      <a:pt x="144" y="435"/>
                    </a:lnTo>
                    <a:lnTo>
                      <a:pt x="142" y="435"/>
                    </a:lnTo>
                    <a:lnTo>
                      <a:pt x="141" y="435"/>
                    </a:lnTo>
                    <a:lnTo>
                      <a:pt x="141" y="433"/>
                    </a:lnTo>
                    <a:lnTo>
                      <a:pt x="139" y="433"/>
                    </a:lnTo>
                    <a:lnTo>
                      <a:pt x="137" y="433"/>
                    </a:lnTo>
                    <a:lnTo>
                      <a:pt x="137" y="432"/>
                    </a:lnTo>
                    <a:lnTo>
                      <a:pt x="136" y="432"/>
                    </a:lnTo>
                    <a:lnTo>
                      <a:pt x="137" y="432"/>
                    </a:lnTo>
                    <a:lnTo>
                      <a:pt x="137" y="430"/>
                    </a:lnTo>
                    <a:lnTo>
                      <a:pt x="137" y="428"/>
                    </a:lnTo>
                    <a:lnTo>
                      <a:pt x="136" y="428"/>
                    </a:lnTo>
                    <a:lnTo>
                      <a:pt x="134" y="428"/>
                    </a:lnTo>
                    <a:lnTo>
                      <a:pt x="132" y="428"/>
                    </a:lnTo>
                    <a:lnTo>
                      <a:pt x="132" y="430"/>
                    </a:lnTo>
                    <a:lnTo>
                      <a:pt x="131" y="430"/>
                    </a:lnTo>
                    <a:lnTo>
                      <a:pt x="129" y="430"/>
                    </a:lnTo>
                    <a:lnTo>
                      <a:pt x="129" y="428"/>
                    </a:lnTo>
                    <a:lnTo>
                      <a:pt x="127" y="428"/>
                    </a:lnTo>
                    <a:lnTo>
                      <a:pt x="125" y="428"/>
                    </a:lnTo>
                    <a:lnTo>
                      <a:pt x="125" y="427"/>
                    </a:lnTo>
                    <a:lnTo>
                      <a:pt x="124" y="427"/>
                    </a:lnTo>
                    <a:lnTo>
                      <a:pt x="122" y="427"/>
                    </a:lnTo>
                    <a:lnTo>
                      <a:pt x="122" y="425"/>
                    </a:lnTo>
                    <a:lnTo>
                      <a:pt x="120" y="425"/>
                    </a:lnTo>
                    <a:lnTo>
                      <a:pt x="119" y="425"/>
                    </a:lnTo>
                    <a:lnTo>
                      <a:pt x="120" y="423"/>
                    </a:lnTo>
                    <a:lnTo>
                      <a:pt x="119" y="423"/>
                    </a:lnTo>
                    <a:lnTo>
                      <a:pt x="119" y="422"/>
                    </a:lnTo>
                    <a:lnTo>
                      <a:pt x="117" y="422"/>
                    </a:lnTo>
                    <a:lnTo>
                      <a:pt x="117" y="420"/>
                    </a:lnTo>
                    <a:lnTo>
                      <a:pt x="117" y="418"/>
                    </a:lnTo>
                    <a:lnTo>
                      <a:pt x="115" y="416"/>
                    </a:lnTo>
                    <a:lnTo>
                      <a:pt x="114" y="416"/>
                    </a:lnTo>
                    <a:lnTo>
                      <a:pt x="114" y="418"/>
                    </a:lnTo>
                    <a:lnTo>
                      <a:pt x="112" y="418"/>
                    </a:lnTo>
                    <a:lnTo>
                      <a:pt x="112" y="416"/>
                    </a:lnTo>
                    <a:lnTo>
                      <a:pt x="110" y="416"/>
                    </a:lnTo>
                    <a:lnTo>
                      <a:pt x="108" y="416"/>
                    </a:lnTo>
                    <a:lnTo>
                      <a:pt x="108" y="415"/>
                    </a:lnTo>
                    <a:lnTo>
                      <a:pt x="107" y="415"/>
                    </a:lnTo>
                    <a:lnTo>
                      <a:pt x="105" y="415"/>
                    </a:lnTo>
                    <a:lnTo>
                      <a:pt x="105" y="413"/>
                    </a:lnTo>
                    <a:lnTo>
                      <a:pt x="103" y="413"/>
                    </a:lnTo>
                    <a:lnTo>
                      <a:pt x="103" y="411"/>
                    </a:lnTo>
                    <a:lnTo>
                      <a:pt x="102" y="411"/>
                    </a:lnTo>
                    <a:lnTo>
                      <a:pt x="102" y="410"/>
                    </a:lnTo>
                    <a:lnTo>
                      <a:pt x="100" y="410"/>
                    </a:lnTo>
                    <a:lnTo>
                      <a:pt x="98" y="408"/>
                    </a:lnTo>
                    <a:lnTo>
                      <a:pt x="98" y="406"/>
                    </a:lnTo>
                    <a:lnTo>
                      <a:pt x="97" y="406"/>
                    </a:lnTo>
                    <a:lnTo>
                      <a:pt x="97" y="405"/>
                    </a:lnTo>
                    <a:lnTo>
                      <a:pt x="95" y="405"/>
                    </a:lnTo>
                    <a:lnTo>
                      <a:pt x="95" y="403"/>
                    </a:lnTo>
                    <a:lnTo>
                      <a:pt x="93" y="403"/>
                    </a:lnTo>
                    <a:lnTo>
                      <a:pt x="91" y="401"/>
                    </a:lnTo>
                    <a:lnTo>
                      <a:pt x="93" y="401"/>
                    </a:lnTo>
                    <a:lnTo>
                      <a:pt x="91" y="401"/>
                    </a:lnTo>
                    <a:lnTo>
                      <a:pt x="93" y="401"/>
                    </a:lnTo>
                    <a:lnTo>
                      <a:pt x="93" y="399"/>
                    </a:lnTo>
                    <a:lnTo>
                      <a:pt x="95" y="399"/>
                    </a:lnTo>
                    <a:lnTo>
                      <a:pt x="95" y="398"/>
                    </a:lnTo>
                    <a:lnTo>
                      <a:pt x="97" y="398"/>
                    </a:lnTo>
                    <a:lnTo>
                      <a:pt x="97" y="396"/>
                    </a:lnTo>
                    <a:lnTo>
                      <a:pt x="98" y="396"/>
                    </a:lnTo>
                    <a:lnTo>
                      <a:pt x="98" y="394"/>
                    </a:lnTo>
                    <a:lnTo>
                      <a:pt x="98" y="396"/>
                    </a:lnTo>
                    <a:lnTo>
                      <a:pt x="100" y="396"/>
                    </a:lnTo>
                    <a:lnTo>
                      <a:pt x="102" y="396"/>
                    </a:lnTo>
                    <a:lnTo>
                      <a:pt x="102" y="398"/>
                    </a:lnTo>
                    <a:lnTo>
                      <a:pt x="102" y="396"/>
                    </a:lnTo>
                    <a:lnTo>
                      <a:pt x="103" y="398"/>
                    </a:lnTo>
                    <a:lnTo>
                      <a:pt x="103" y="396"/>
                    </a:lnTo>
                    <a:lnTo>
                      <a:pt x="103" y="398"/>
                    </a:lnTo>
                    <a:lnTo>
                      <a:pt x="103" y="396"/>
                    </a:lnTo>
                    <a:lnTo>
                      <a:pt x="105" y="396"/>
                    </a:lnTo>
                    <a:lnTo>
                      <a:pt x="107" y="396"/>
                    </a:lnTo>
                    <a:lnTo>
                      <a:pt x="105" y="396"/>
                    </a:lnTo>
                    <a:lnTo>
                      <a:pt x="107" y="398"/>
                    </a:lnTo>
                    <a:lnTo>
                      <a:pt x="107" y="396"/>
                    </a:lnTo>
                    <a:lnTo>
                      <a:pt x="108" y="396"/>
                    </a:lnTo>
                    <a:lnTo>
                      <a:pt x="108" y="394"/>
                    </a:lnTo>
                    <a:lnTo>
                      <a:pt x="108" y="393"/>
                    </a:lnTo>
                    <a:lnTo>
                      <a:pt x="107" y="393"/>
                    </a:lnTo>
                    <a:lnTo>
                      <a:pt x="107" y="391"/>
                    </a:lnTo>
                    <a:lnTo>
                      <a:pt x="105" y="391"/>
                    </a:lnTo>
                    <a:lnTo>
                      <a:pt x="107" y="391"/>
                    </a:lnTo>
                    <a:lnTo>
                      <a:pt x="105" y="389"/>
                    </a:lnTo>
                    <a:lnTo>
                      <a:pt x="103" y="391"/>
                    </a:lnTo>
                    <a:lnTo>
                      <a:pt x="103" y="389"/>
                    </a:lnTo>
                    <a:lnTo>
                      <a:pt x="103" y="388"/>
                    </a:lnTo>
                    <a:lnTo>
                      <a:pt x="103" y="386"/>
                    </a:lnTo>
                    <a:lnTo>
                      <a:pt x="102" y="386"/>
                    </a:lnTo>
                    <a:lnTo>
                      <a:pt x="102" y="384"/>
                    </a:lnTo>
                    <a:lnTo>
                      <a:pt x="102" y="382"/>
                    </a:lnTo>
                    <a:lnTo>
                      <a:pt x="103" y="382"/>
                    </a:lnTo>
                    <a:lnTo>
                      <a:pt x="103" y="381"/>
                    </a:lnTo>
                    <a:lnTo>
                      <a:pt x="105" y="381"/>
                    </a:lnTo>
                    <a:lnTo>
                      <a:pt x="103" y="381"/>
                    </a:lnTo>
                    <a:lnTo>
                      <a:pt x="103" y="379"/>
                    </a:lnTo>
                    <a:lnTo>
                      <a:pt x="105" y="379"/>
                    </a:lnTo>
                    <a:lnTo>
                      <a:pt x="105" y="377"/>
                    </a:lnTo>
                    <a:lnTo>
                      <a:pt x="105" y="376"/>
                    </a:lnTo>
                    <a:lnTo>
                      <a:pt x="107" y="376"/>
                    </a:lnTo>
                    <a:lnTo>
                      <a:pt x="107" y="374"/>
                    </a:lnTo>
                    <a:lnTo>
                      <a:pt x="108" y="374"/>
                    </a:lnTo>
                    <a:lnTo>
                      <a:pt x="107" y="374"/>
                    </a:lnTo>
                    <a:lnTo>
                      <a:pt x="108" y="374"/>
                    </a:lnTo>
                    <a:lnTo>
                      <a:pt x="107" y="374"/>
                    </a:lnTo>
                    <a:lnTo>
                      <a:pt x="108" y="372"/>
                    </a:lnTo>
                    <a:lnTo>
                      <a:pt x="110" y="374"/>
                    </a:lnTo>
                    <a:lnTo>
                      <a:pt x="110" y="372"/>
                    </a:lnTo>
                    <a:lnTo>
                      <a:pt x="108" y="372"/>
                    </a:lnTo>
                    <a:lnTo>
                      <a:pt x="110" y="371"/>
                    </a:lnTo>
                    <a:lnTo>
                      <a:pt x="112" y="372"/>
                    </a:lnTo>
                    <a:lnTo>
                      <a:pt x="112" y="371"/>
                    </a:lnTo>
                    <a:lnTo>
                      <a:pt x="110" y="371"/>
                    </a:lnTo>
                    <a:lnTo>
                      <a:pt x="110" y="369"/>
                    </a:lnTo>
                    <a:lnTo>
                      <a:pt x="112" y="369"/>
                    </a:lnTo>
                    <a:lnTo>
                      <a:pt x="112" y="371"/>
                    </a:lnTo>
                    <a:lnTo>
                      <a:pt x="114" y="371"/>
                    </a:lnTo>
                    <a:lnTo>
                      <a:pt x="114" y="372"/>
                    </a:lnTo>
                    <a:lnTo>
                      <a:pt x="114" y="371"/>
                    </a:lnTo>
                    <a:lnTo>
                      <a:pt x="115" y="371"/>
                    </a:lnTo>
                    <a:lnTo>
                      <a:pt x="114" y="371"/>
                    </a:lnTo>
                    <a:lnTo>
                      <a:pt x="114" y="369"/>
                    </a:lnTo>
                    <a:lnTo>
                      <a:pt x="114" y="367"/>
                    </a:lnTo>
                    <a:lnTo>
                      <a:pt x="115" y="367"/>
                    </a:lnTo>
                    <a:lnTo>
                      <a:pt x="115" y="369"/>
                    </a:lnTo>
                    <a:lnTo>
                      <a:pt x="115" y="371"/>
                    </a:lnTo>
                    <a:lnTo>
                      <a:pt x="117" y="371"/>
                    </a:lnTo>
                    <a:lnTo>
                      <a:pt x="115" y="369"/>
                    </a:lnTo>
                    <a:lnTo>
                      <a:pt x="117" y="371"/>
                    </a:lnTo>
                    <a:lnTo>
                      <a:pt x="119" y="372"/>
                    </a:lnTo>
                    <a:lnTo>
                      <a:pt x="119" y="371"/>
                    </a:lnTo>
                    <a:lnTo>
                      <a:pt x="117" y="371"/>
                    </a:lnTo>
                    <a:lnTo>
                      <a:pt x="117" y="369"/>
                    </a:lnTo>
                    <a:lnTo>
                      <a:pt x="115" y="367"/>
                    </a:lnTo>
                    <a:lnTo>
                      <a:pt x="117" y="367"/>
                    </a:lnTo>
                    <a:lnTo>
                      <a:pt x="119" y="367"/>
                    </a:lnTo>
                    <a:lnTo>
                      <a:pt x="119" y="369"/>
                    </a:lnTo>
                    <a:lnTo>
                      <a:pt x="120" y="369"/>
                    </a:lnTo>
                    <a:lnTo>
                      <a:pt x="120" y="367"/>
                    </a:lnTo>
                    <a:lnTo>
                      <a:pt x="119" y="367"/>
                    </a:lnTo>
                    <a:lnTo>
                      <a:pt x="120" y="367"/>
                    </a:lnTo>
                    <a:lnTo>
                      <a:pt x="120" y="365"/>
                    </a:lnTo>
                    <a:lnTo>
                      <a:pt x="122" y="365"/>
                    </a:lnTo>
                    <a:lnTo>
                      <a:pt x="122" y="367"/>
                    </a:lnTo>
                    <a:lnTo>
                      <a:pt x="120" y="367"/>
                    </a:lnTo>
                    <a:lnTo>
                      <a:pt x="120" y="369"/>
                    </a:lnTo>
                    <a:lnTo>
                      <a:pt x="120" y="371"/>
                    </a:lnTo>
                    <a:lnTo>
                      <a:pt x="122" y="371"/>
                    </a:lnTo>
                    <a:lnTo>
                      <a:pt x="122" y="369"/>
                    </a:lnTo>
                    <a:lnTo>
                      <a:pt x="122" y="367"/>
                    </a:lnTo>
                    <a:lnTo>
                      <a:pt x="122" y="369"/>
                    </a:lnTo>
                    <a:lnTo>
                      <a:pt x="124" y="369"/>
                    </a:lnTo>
                    <a:lnTo>
                      <a:pt x="122" y="369"/>
                    </a:lnTo>
                    <a:lnTo>
                      <a:pt x="122" y="367"/>
                    </a:lnTo>
                    <a:lnTo>
                      <a:pt x="124" y="367"/>
                    </a:lnTo>
                    <a:lnTo>
                      <a:pt x="124" y="369"/>
                    </a:lnTo>
                    <a:lnTo>
                      <a:pt x="125" y="367"/>
                    </a:lnTo>
                    <a:lnTo>
                      <a:pt x="127" y="367"/>
                    </a:lnTo>
                    <a:lnTo>
                      <a:pt x="129" y="369"/>
                    </a:lnTo>
                    <a:lnTo>
                      <a:pt x="129" y="367"/>
                    </a:lnTo>
                    <a:lnTo>
                      <a:pt x="129" y="369"/>
                    </a:lnTo>
                    <a:lnTo>
                      <a:pt x="129" y="367"/>
                    </a:lnTo>
                    <a:lnTo>
                      <a:pt x="129" y="365"/>
                    </a:lnTo>
                    <a:lnTo>
                      <a:pt x="131" y="365"/>
                    </a:lnTo>
                    <a:lnTo>
                      <a:pt x="131" y="367"/>
                    </a:lnTo>
                    <a:lnTo>
                      <a:pt x="131" y="365"/>
                    </a:lnTo>
                    <a:lnTo>
                      <a:pt x="132" y="365"/>
                    </a:lnTo>
                    <a:lnTo>
                      <a:pt x="132" y="367"/>
                    </a:lnTo>
                    <a:lnTo>
                      <a:pt x="134" y="367"/>
                    </a:lnTo>
                    <a:lnTo>
                      <a:pt x="134" y="365"/>
                    </a:lnTo>
                    <a:lnTo>
                      <a:pt x="132" y="365"/>
                    </a:lnTo>
                    <a:lnTo>
                      <a:pt x="132" y="364"/>
                    </a:lnTo>
                    <a:lnTo>
                      <a:pt x="134" y="364"/>
                    </a:lnTo>
                    <a:lnTo>
                      <a:pt x="136" y="364"/>
                    </a:lnTo>
                    <a:lnTo>
                      <a:pt x="136" y="362"/>
                    </a:lnTo>
                    <a:lnTo>
                      <a:pt x="136" y="364"/>
                    </a:lnTo>
                    <a:lnTo>
                      <a:pt x="136" y="362"/>
                    </a:lnTo>
                    <a:lnTo>
                      <a:pt x="134" y="362"/>
                    </a:lnTo>
                    <a:lnTo>
                      <a:pt x="136" y="362"/>
                    </a:lnTo>
                    <a:lnTo>
                      <a:pt x="136" y="360"/>
                    </a:lnTo>
                    <a:lnTo>
                      <a:pt x="137" y="360"/>
                    </a:lnTo>
                    <a:lnTo>
                      <a:pt x="137" y="359"/>
                    </a:lnTo>
                    <a:lnTo>
                      <a:pt x="136" y="359"/>
                    </a:lnTo>
                    <a:lnTo>
                      <a:pt x="137" y="359"/>
                    </a:lnTo>
                    <a:lnTo>
                      <a:pt x="137" y="357"/>
                    </a:lnTo>
                    <a:lnTo>
                      <a:pt x="137" y="359"/>
                    </a:lnTo>
                    <a:lnTo>
                      <a:pt x="137" y="357"/>
                    </a:lnTo>
                    <a:lnTo>
                      <a:pt x="137" y="355"/>
                    </a:lnTo>
                    <a:lnTo>
                      <a:pt x="136" y="357"/>
                    </a:lnTo>
                    <a:lnTo>
                      <a:pt x="137" y="355"/>
                    </a:lnTo>
                    <a:lnTo>
                      <a:pt x="137" y="354"/>
                    </a:lnTo>
                    <a:lnTo>
                      <a:pt x="137" y="355"/>
                    </a:lnTo>
                    <a:lnTo>
                      <a:pt x="137" y="354"/>
                    </a:lnTo>
                    <a:lnTo>
                      <a:pt x="139" y="354"/>
                    </a:lnTo>
                    <a:lnTo>
                      <a:pt x="139" y="352"/>
                    </a:lnTo>
                    <a:lnTo>
                      <a:pt x="141" y="350"/>
                    </a:lnTo>
                    <a:lnTo>
                      <a:pt x="141" y="352"/>
                    </a:lnTo>
                    <a:lnTo>
                      <a:pt x="141" y="350"/>
                    </a:lnTo>
                    <a:lnTo>
                      <a:pt x="141" y="348"/>
                    </a:lnTo>
                    <a:lnTo>
                      <a:pt x="142" y="348"/>
                    </a:lnTo>
                    <a:lnTo>
                      <a:pt x="144" y="348"/>
                    </a:lnTo>
                    <a:lnTo>
                      <a:pt x="142" y="348"/>
                    </a:lnTo>
                    <a:lnTo>
                      <a:pt x="144" y="348"/>
                    </a:lnTo>
                    <a:lnTo>
                      <a:pt x="142" y="348"/>
                    </a:lnTo>
                    <a:lnTo>
                      <a:pt x="142" y="347"/>
                    </a:lnTo>
                    <a:lnTo>
                      <a:pt x="142" y="348"/>
                    </a:lnTo>
                    <a:lnTo>
                      <a:pt x="141" y="347"/>
                    </a:lnTo>
                    <a:lnTo>
                      <a:pt x="142" y="347"/>
                    </a:lnTo>
                    <a:lnTo>
                      <a:pt x="142" y="345"/>
                    </a:lnTo>
                    <a:lnTo>
                      <a:pt x="144" y="345"/>
                    </a:lnTo>
                    <a:lnTo>
                      <a:pt x="144" y="343"/>
                    </a:lnTo>
                    <a:lnTo>
                      <a:pt x="146" y="343"/>
                    </a:lnTo>
                    <a:lnTo>
                      <a:pt x="146" y="342"/>
                    </a:lnTo>
                    <a:lnTo>
                      <a:pt x="148" y="342"/>
                    </a:lnTo>
                    <a:lnTo>
                      <a:pt x="148" y="340"/>
                    </a:lnTo>
                    <a:lnTo>
                      <a:pt x="148" y="342"/>
                    </a:lnTo>
                    <a:lnTo>
                      <a:pt x="149" y="342"/>
                    </a:lnTo>
                    <a:lnTo>
                      <a:pt x="149" y="340"/>
                    </a:lnTo>
                    <a:lnTo>
                      <a:pt x="148" y="340"/>
                    </a:lnTo>
                    <a:lnTo>
                      <a:pt x="148" y="338"/>
                    </a:lnTo>
                    <a:lnTo>
                      <a:pt x="149" y="338"/>
                    </a:lnTo>
                    <a:lnTo>
                      <a:pt x="151" y="338"/>
                    </a:lnTo>
                    <a:lnTo>
                      <a:pt x="149" y="338"/>
                    </a:lnTo>
                    <a:lnTo>
                      <a:pt x="151" y="338"/>
                    </a:lnTo>
                    <a:lnTo>
                      <a:pt x="149" y="338"/>
                    </a:lnTo>
                    <a:lnTo>
                      <a:pt x="149" y="337"/>
                    </a:lnTo>
                    <a:lnTo>
                      <a:pt x="151" y="337"/>
                    </a:lnTo>
                    <a:lnTo>
                      <a:pt x="153" y="337"/>
                    </a:lnTo>
                    <a:lnTo>
                      <a:pt x="153" y="335"/>
                    </a:lnTo>
                    <a:lnTo>
                      <a:pt x="154" y="333"/>
                    </a:lnTo>
                    <a:lnTo>
                      <a:pt x="154" y="331"/>
                    </a:lnTo>
                    <a:lnTo>
                      <a:pt x="153" y="331"/>
                    </a:lnTo>
                    <a:lnTo>
                      <a:pt x="153" y="330"/>
                    </a:lnTo>
                    <a:lnTo>
                      <a:pt x="154" y="330"/>
                    </a:lnTo>
                    <a:lnTo>
                      <a:pt x="156" y="330"/>
                    </a:lnTo>
                    <a:lnTo>
                      <a:pt x="154" y="330"/>
                    </a:lnTo>
                    <a:lnTo>
                      <a:pt x="156" y="328"/>
                    </a:lnTo>
                    <a:lnTo>
                      <a:pt x="154" y="328"/>
                    </a:lnTo>
                    <a:lnTo>
                      <a:pt x="156" y="328"/>
                    </a:lnTo>
                    <a:lnTo>
                      <a:pt x="156" y="326"/>
                    </a:lnTo>
                    <a:lnTo>
                      <a:pt x="158" y="326"/>
                    </a:lnTo>
                    <a:lnTo>
                      <a:pt x="158" y="325"/>
                    </a:lnTo>
                    <a:lnTo>
                      <a:pt x="159" y="326"/>
                    </a:lnTo>
                    <a:lnTo>
                      <a:pt x="158" y="325"/>
                    </a:lnTo>
                    <a:lnTo>
                      <a:pt x="156" y="325"/>
                    </a:lnTo>
                    <a:lnTo>
                      <a:pt x="156" y="326"/>
                    </a:lnTo>
                    <a:lnTo>
                      <a:pt x="154" y="326"/>
                    </a:lnTo>
                    <a:lnTo>
                      <a:pt x="154" y="328"/>
                    </a:lnTo>
                    <a:lnTo>
                      <a:pt x="153" y="326"/>
                    </a:lnTo>
                    <a:lnTo>
                      <a:pt x="153" y="328"/>
                    </a:lnTo>
                    <a:lnTo>
                      <a:pt x="151" y="328"/>
                    </a:lnTo>
                    <a:lnTo>
                      <a:pt x="151" y="326"/>
                    </a:lnTo>
                    <a:lnTo>
                      <a:pt x="149" y="326"/>
                    </a:lnTo>
                    <a:lnTo>
                      <a:pt x="151" y="326"/>
                    </a:lnTo>
                    <a:lnTo>
                      <a:pt x="151" y="325"/>
                    </a:lnTo>
                    <a:lnTo>
                      <a:pt x="149" y="325"/>
                    </a:lnTo>
                    <a:lnTo>
                      <a:pt x="149" y="323"/>
                    </a:lnTo>
                    <a:lnTo>
                      <a:pt x="151" y="323"/>
                    </a:lnTo>
                    <a:lnTo>
                      <a:pt x="153" y="323"/>
                    </a:lnTo>
                    <a:lnTo>
                      <a:pt x="151" y="321"/>
                    </a:lnTo>
                    <a:lnTo>
                      <a:pt x="153" y="323"/>
                    </a:lnTo>
                    <a:lnTo>
                      <a:pt x="153" y="321"/>
                    </a:lnTo>
                    <a:lnTo>
                      <a:pt x="153" y="320"/>
                    </a:lnTo>
                    <a:lnTo>
                      <a:pt x="154" y="320"/>
                    </a:lnTo>
                    <a:lnTo>
                      <a:pt x="153" y="320"/>
                    </a:lnTo>
                    <a:lnTo>
                      <a:pt x="151" y="320"/>
                    </a:lnTo>
                    <a:lnTo>
                      <a:pt x="149" y="320"/>
                    </a:lnTo>
                    <a:lnTo>
                      <a:pt x="149" y="321"/>
                    </a:lnTo>
                    <a:lnTo>
                      <a:pt x="149" y="323"/>
                    </a:lnTo>
                    <a:lnTo>
                      <a:pt x="148" y="325"/>
                    </a:lnTo>
                    <a:lnTo>
                      <a:pt x="148" y="323"/>
                    </a:lnTo>
                    <a:lnTo>
                      <a:pt x="148" y="321"/>
                    </a:lnTo>
                    <a:lnTo>
                      <a:pt x="146" y="323"/>
                    </a:lnTo>
                    <a:lnTo>
                      <a:pt x="146" y="321"/>
                    </a:lnTo>
                    <a:lnTo>
                      <a:pt x="146" y="320"/>
                    </a:lnTo>
                    <a:lnTo>
                      <a:pt x="144" y="320"/>
                    </a:lnTo>
                    <a:lnTo>
                      <a:pt x="142" y="318"/>
                    </a:lnTo>
                    <a:lnTo>
                      <a:pt x="144" y="318"/>
                    </a:lnTo>
                    <a:lnTo>
                      <a:pt x="144" y="316"/>
                    </a:lnTo>
                    <a:lnTo>
                      <a:pt x="146" y="316"/>
                    </a:lnTo>
                    <a:lnTo>
                      <a:pt x="144" y="316"/>
                    </a:lnTo>
                    <a:lnTo>
                      <a:pt x="142" y="316"/>
                    </a:lnTo>
                    <a:lnTo>
                      <a:pt x="142" y="318"/>
                    </a:lnTo>
                    <a:lnTo>
                      <a:pt x="142" y="316"/>
                    </a:lnTo>
                    <a:lnTo>
                      <a:pt x="142" y="314"/>
                    </a:lnTo>
                    <a:lnTo>
                      <a:pt x="142" y="313"/>
                    </a:lnTo>
                    <a:lnTo>
                      <a:pt x="142" y="311"/>
                    </a:lnTo>
                    <a:lnTo>
                      <a:pt x="144" y="311"/>
                    </a:lnTo>
                    <a:lnTo>
                      <a:pt x="142" y="311"/>
                    </a:lnTo>
                    <a:lnTo>
                      <a:pt x="144" y="313"/>
                    </a:lnTo>
                    <a:lnTo>
                      <a:pt x="142" y="313"/>
                    </a:lnTo>
                    <a:lnTo>
                      <a:pt x="144" y="313"/>
                    </a:lnTo>
                    <a:lnTo>
                      <a:pt x="146" y="313"/>
                    </a:lnTo>
                    <a:lnTo>
                      <a:pt x="146" y="311"/>
                    </a:lnTo>
                    <a:lnTo>
                      <a:pt x="146" y="309"/>
                    </a:lnTo>
                    <a:lnTo>
                      <a:pt x="148" y="309"/>
                    </a:lnTo>
                    <a:lnTo>
                      <a:pt x="148" y="308"/>
                    </a:lnTo>
                    <a:lnTo>
                      <a:pt x="148" y="306"/>
                    </a:lnTo>
                    <a:lnTo>
                      <a:pt x="149" y="304"/>
                    </a:lnTo>
                    <a:lnTo>
                      <a:pt x="149" y="303"/>
                    </a:lnTo>
                    <a:lnTo>
                      <a:pt x="149" y="301"/>
                    </a:lnTo>
                    <a:lnTo>
                      <a:pt x="149" y="299"/>
                    </a:lnTo>
                    <a:lnTo>
                      <a:pt x="149" y="297"/>
                    </a:lnTo>
                    <a:lnTo>
                      <a:pt x="149" y="296"/>
                    </a:lnTo>
                    <a:lnTo>
                      <a:pt x="149" y="297"/>
                    </a:lnTo>
                    <a:lnTo>
                      <a:pt x="151" y="297"/>
                    </a:lnTo>
                    <a:lnTo>
                      <a:pt x="149" y="296"/>
                    </a:lnTo>
                    <a:lnTo>
                      <a:pt x="148" y="296"/>
                    </a:lnTo>
                    <a:lnTo>
                      <a:pt x="149" y="294"/>
                    </a:lnTo>
                    <a:lnTo>
                      <a:pt x="148" y="294"/>
                    </a:lnTo>
                    <a:lnTo>
                      <a:pt x="148" y="292"/>
                    </a:lnTo>
                    <a:lnTo>
                      <a:pt x="148" y="291"/>
                    </a:lnTo>
                    <a:lnTo>
                      <a:pt x="148" y="289"/>
                    </a:lnTo>
                    <a:lnTo>
                      <a:pt x="148" y="287"/>
                    </a:lnTo>
                    <a:lnTo>
                      <a:pt x="148" y="285"/>
                    </a:lnTo>
                    <a:lnTo>
                      <a:pt x="148" y="284"/>
                    </a:lnTo>
                    <a:lnTo>
                      <a:pt x="148" y="282"/>
                    </a:lnTo>
                    <a:lnTo>
                      <a:pt x="148" y="284"/>
                    </a:lnTo>
                    <a:lnTo>
                      <a:pt x="148" y="282"/>
                    </a:lnTo>
                    <a:lnTo>
                      <a:pt x="146" y="282"/>
                    </a:lnTo>
                    <a:lnTo>
                      <a:pt x="148" y="280"/>
                    </a:lnTo>
                    <a:lnTo>
                      <a:pt x="148" y="279"/>
                    </a:lnTo>
                    <a:lnTo>
                      <a:pt x="148" y="277"/>
                    </a:lnTo>
                    <a:lnTo>
                      <a:pt x="146" y="277"/>
                    </a:lnTo>
                    <a:lnTo>
                      <a:pt x="148" y="275"/>
                    </a:lnTo>
                    <a:lnTo>
                      <a:pt x="146" y="275"/>
                    </a:lnTo>
                    <a:lnTo>
                      <a:pt x="146" y="274"/>
                    </a:lnTo>
                    <a:lnTo>
                      <a:pt x="146" y="272"/>
                    </a:lnTo>
                    <a:lnTo>
                      <a:pt x="144" y="272"/>
                    </a:lnTo>
                    <a:lnTo>
                      <a:pt x="142" y="272"/>
                    </a:lnTo>
                    <a:lnTo>
                      <a:pt x="142" y="270"/>
                    </a:lnTo>
                    <a:lnTo>
                      <a:pt x="142" y="268"/>
                    </a:lnTo>
                    <a:lnTo>
                      <a:pt x="144" y="267"/>
                    </a:lnTo>
                    <a:lnTo>
                      <a:pt x="146" y="267"/>
                    </a:lnTo>
                    <a:lnTo>
                      <a:pt x="148" y="267"/>
                    </a:lnTo>
                    <a:lnTo>
                      <a:pt x="149" y="267"/>
                    </a:lnTo>
                    <a:lnTo>
                      <a:pt x="149" y="265"/>
                    </a:lnTo>
                    <a:lnTo>
                      <a:pt x="151" y="265"/>
                    </a:lnTo>
                    <a:lnTo>
                      <a:pt x="151" y="263"/>
                    </a:lnTo>
                    <a:lnTo>
                      <a:pt x="151" y="262"/>
                    </a:lnTo>
                    <a:lnTo>
                      <a:pt x="153" y="262"/>
                    </a:lnTo>
                    <a:lnTo>
                      <a:pt x="151" y="262"/>
                    </a:lnTo>
                    <a:lnTo>
                      <a:pt x="151" y="260"/>
                    </a:lnTo>
                    <a:lnTo>
                      <a:pt x="151" y="258"/>
                    </a:lnTo>
                    <a:lnTo>
                      <a:pt x="151" y="260"/>
                    </a:lnTo>
                    <a:lnTo>
                      <a:pt x="149" y="258"/>
                    </a:lnTo>
                    <a:lnTo>
                      <a:pt x="149" y="257"/>
                    </a:lnTo>
                    <a:lnTo>
                      <a:pt x="149" y="255"/>
                    </a:lnTo>
                    <a:lnTo>
                      <a:pt x="149" y="253"/>
                    </a:lnTo>
                    <a:lnTo>
                      <a:pt x="148" y="253"/>
                    </a:lnTo>
                    <a:lnTo>
                      <a:pt x="148" y="251"/>
                    </a:lnTo>
                    <a:lnTo>
                      <a:pt x="148" y="253"/>
                    </a:lnTo>
                    <a:lnTo>
                      <a:pt x="148" y="251"/>
                    </a:lnTo>
                    <a:lnTo>
                      <a:pt x="146" y="251"/>
                    </a:lnTo>
                    <a:lnTo>
                      <a:pt x="146" y="250"/>
                    </a:lnTo>
                    <a:lnTo>
                      <a:pt x="144" y="250"/>
                    </a:lnTo>
                    <a:lnTo>
                      <a:pt x="144" y="248"/>
                    </a:lnTo>
                    <a:lnTo>
                      <a:pt x="144" y="246"/>
                    </a:lnTo>
                    <a:lnTo>
                      <a:pt x="144" y="245"/>
                    </a:lnTo>
                    <a:lnTo>
                      <a:pt x="144" y="243"/>
                    </a:lnTo>
                    <a:lnTo>
                      <a:pt x="144" y="245"/>
                    </a:lnTo>
                    <a:lnTo>
                      <a:pt x="146" y="245"/>
                    </a:lnTo>
                    <a:lnTo>
                      <a:pt x="146" y="246"/>
                    </a:lnTo>
                    <a:lnTo>
                      <a:pt x="146" y="245"/>
                    </a:lnTo>
                    <a:lnTo>
                      <a:pt x="148" y="245"/>
                    </a:lnTo>
                    <a:lnTo>
                      <a:pt x="148" y="243"/>
                    </a:lnTo>
                    <a:lnTo>
                      <a:pt x="148" y="241"/>
                    </a:lnTo>
                    <a:lnTo>
                      <a:pt x="146" y="241"/>
                    </a:lnTo>
                    <a:lnTo>
                      <a:pt x="148" y="240"/>
                    </a:lnTo>
                    <a:lnTo>
                      <a:pt x="148" y="241"/>
                    </a:lnTo>
                    <a:lnTo>
                      <a:pt x="148" y="240"/>
                    </a:lnTo>
                    <a:lnTo>
                      <a:pt x="148" y="238"/>
                    </a:lnTo>
                    <a:lnTo>
                      <a:pt x="148" y="236"/>
                    </a:lnTo>
                    <a:lnTo>
                      <a:pt x="149" y="236"/>
                    </a:lnTo>
                    <a:lnTo>
                      <a:pt x="149" y="234"/>
                    </a:lnTo>
                    <a:lnTo>
                      <a:pt x="148" y="234"/>
                    </a:lnTo>
                    <a:lnTo>
                      <a:pt x="148" y="233"/>
                    </a:lnTo>
                    <a:lnTo>
                      <a:pt x="146" y="233"/>
                    </a:lnTo>
                    <a:lnTo>
                      <a:pt x="146" y="231"/>
                    </a:lnTo>
                    <a:lnTo>
                      <a:pt x="146" y="229"/>
                    </a:lnTo>
                    <a:lnTo>
                      <a:pt x="144" y="229"/>
                    </a:lnTo>
                    <a:lnTo>
                      <a:pt x="142" y="231"/>
                    </a:lnTo>
                    <a:lnTo>
                      <a:pt x="142" y="229"/>
                    </a:lnTo>
                    <a:lnTo>
                      <a:pt x="141" y="229"/>
                    </a:lnTo>
                    <a:lnTo>
                      <a:pt x="141" y="228"/>
                    </a:lnTo>
                    <a:lnTo>
                      <a:pt x="141" y="226"/>
                    </a:lnTo>
                    <a:lnTo>
                      <a:pt x="139" y="226"/>
                    </a:lnTo>
                    <a:lnTo>
                      <a:pt x="139" y="224"/>
                    </a:lnTo>
                    <a:lnTo>
                      <a:pt x="137" y="224"/>
                    </a:lnTo>
                    <a:lnTo>
                      <a:pt x="137" y="226"/>
                    </a:lnTo>
                    <a:lnTo>
                      <a:pt x="136" y="226"/>
                    </a:lnTo>
                    <a:lnTo>
                      <a:pt x="136" y="224"/>
                    </a:lnTo>
                    <a:lnTo>
                      <a:pt x="136" y="223"/>
                    </a:lnTo>
                    <a:lnTo>
                      <a:pt x="137" y="223"/>
                    </a:lnTo>
                    <a:lnTo>
                      <a:pt x="136" y="223"/>
                    </a:lnTo>
                    <a:lnTo>
                      <a:pt x="137" y="221"/>
                    </a:lnTo>
                    <a:lnTo>
                      <a:pt x="137" y="219"/>
                    </a:lnTo>
                    <a:lnTo>
                      <a:pt x="136" y="217"/>
                    </a:lnTo>
                    <a:lnTo>
                      <a:pt x="134" y="217"/>
                    </a:lnTo>
                    <a:lnTo>
                      <a:pt x="134" y="216"/>
                    </a:lnTo>
                    <a:lnTo>
                      <a:pt x="134" y="214"/>
                    </a:lnTo>
                    <a:lnTo>
                      <a:pt x="132" y="216"/>
                    </a:lnTo>
                    <a:lnTo>
                      <a:pt x="132" y="214"/>
                    </a:lnTo>
                    <a:lnTo>
                      <a:pt x="131" y="214"/>
                    </a:lnTo>
                    <a:lnTo>
                      <a:pt x="131" y="212"/>
                    </a:lnTo>
                    <a:lnTo>
                      <a:pt x="131" y="209"/>
                    </a:lnTo>
                    <a:lnTo>
                      <a:pt x="131" y="207"/>
                    </a:lnTo>
                    <a:lnTo>
                      <a:pt x="132" y="204"/>
                    </a:lnTo>
                    <a:lnTo>
                      <a:pt x="134" y="204"/>
                    </a:lnTo>
                    <a:lnTo>
                      <a:pt x="136" y="204"/>
                    </a:lnTo>
                    <a:lnTo>
                      <a:pt x="136" y="202"/>
                    </a:lnTo>
                    <a:lnTo>
                      <a:pt x="136" y="200"/>
                    </a:lnTo>
                    <a:lnTo>
                      <a:pt x="136" y="199"/>
                    </a:lnTo>
                    <a:lnTo>
                      <a:pt x="134" y="199"/>
                    </a:lnTo>
                    <a:lnTo>
                      <a:pt x="136" y="199"/>
                    </a:lnTo>
                    <a:lnTo>
                      <a:pt x="134" y="197"/>
                    </a:lnTo>
                    <a:lnTo>
                      <a:pt x="136" y="197"/>
                    </a:lnTo>
                    <a:lnTo>
                      <a:pt x="136" y="195"/>
                    </a:lnTo>
                    <a:lnTo>
                      <a:pt x="136" y="197"/>
                    </a:lnTo>
                    <a:lnTo>
                      <a:pt x="137" y="197"/>
                    </a:lnTo>
                    <a:lnTo>
                      <a:pt x="139" y="199"/>
                    </a:lnTo>
                    <a:lnTo>
                      <a:pt x="139" y="200"/>
                    </a:lnTo>
                    <a:lnTo>
                      <a:pt x="139" y="202"/>
                    </a:lnTo>
                    <a:lnTo>
                      <a:pt x="141" y="202"/>
                    </a:lnTo>
                    <a:lnTo>
                      <a:pt x="142" y="202"/>
                    </a:lnTo>
                    <a:lnTo>
                      <a:pt x="142" y="200"/>
                    </a:lnTo>
                    <a:lnTo>
                      <a:pt x="144" y="200"/>
                    </a:lnTo>
                    <a:lnTo>
                      <a:pt x="144" y="199"/>
                    </a:lnTo>
                    <a:lnTo>
                      <a:pt x="144" y="197"/>
                    </a:lnTo>
                    <a:lnTo>
                      <a:pt x="146" y="197"/>
                    </a:lnTo>
                    <a:lnTo>
                      <a:pt x="146" y="195"/>
                    </a:lnTo>
                    <a:lnTo>
                      <a:pt x="146" y="194"/>
                    </a:lnTo>
                    <a:lnTo>
                      <a:pt x="148" y="194"/>
                    </a:lnTo>
                    <a:lnTo>
                      <a:pt x="146" y="194"/>
                    </a:lnTo>
                    <a:lnTo>
                      <a:pt x="148" y="194"/>
                    </a:lnTo>
                    <a:lnTo>
                      <a:pt x="149" y="194"/>
                    </a:lnTo>
                    <a:lnTo>
                      <a:pt x="148" y="192"/>
                    </a:lnTo>
                    <a:lnTo>
                      <a:pt x="148" y="190"/>
                    </a:lnTo>
                    <a:lnTo>
                      <a:pt x="149" y="190"/>
                    </a:lnTo>
                    <a:lnTo>
                      <a:pt x="149" y="189"/>
                    </a:lnTo>
                    <a:lnTo>
                      <a:pt x="151" y="189"/>
                    </a:lnTo>
                    <a:lnTo>
                      <a:pt x="153" y="189"/>
                    </a:lnTo>
                    <a:lnTo>
                      <a:pt x="154" y="189"/>
                    </a:lnTo>
                    <a:lnTo>
                      <a:pt x="154" y="187"/>
                    </a:lnTo>
                    <a:lnTo>
                      <a:pt x="156" y="187"/>
                    </a:lnTo>
                    <a:lnTo>
                      <a:pt x="154" y="187"/>
                    </a:lnTo>
                    <a:lnTo>
                      <a:pt x="153" y="185"/>
                    </a:lnTo>
                    <a:lnTo>
                      <a:pt x="153" y="183"/>
                    </a:lnTo>
                    <a:lnTo>
                      <a:pt x="153" y="182"/>
                    </a:lnTo>
                    <a:lnTo>
                      <a:pt x="151" y="180"/>
                    </a:lnTo>
                    <a:lnTo>
                      <a:pt x="151" y="178"/>
                    </a:lnTo>
                    <a:lnTo>
                      <a:pt x="151" y="177"/>
                    </a:lnTo>
                    <a:lnTo>
                      <a:pt x="149" y="177"/>
                    </a:lnTo>
                    <a:lnTo>
                      <a:pt x="148" y="175"/>
                    </a:lnTo>
                    <a:lnTo>
                      <a:pt x="148" y="173"/>
                    </a:lnTo>
                    <a:lnTo>
                      <a:pt x="148" y="172"/>
                    </a:lnTo>
                    <a:lnTo>
                      <a:pt x="146" y="170"/>
                    </a:lnTo>
                    <a:lnTo>
                      <a:pt x="144" y="170"/>
                    </a:lnTo>
                    <a:lnTo>
                      <a:pt x="144" y="168"/>
                    </a:lnTo>
                    <a:lnTo>
                      <a:pt x="146" y="168"/>
                    </a:lnTo>
                    <a:lnTo>
                      <a:pt x="146" y="166"/>
                    </a:lnTo>
                    <a:lnTo>
                      <a:pt x="144" y="166"/>
                    </a:lnTo>
                    <a:lnTo>
                      <a:pt x="146" y="166"/>
                    </a:lnTo>
                    <a:lnTo>
                      <a:pt x="146" y="165"/>
                    </a:lnTo>
                    <a:lnTo>
                      <a:pt x="146" y="163"/>
                    </a:lnTo>
                    <a:lnTo>
                      <a:pt x="148" y="163"/>
                    </a:lnTo>
                    <a:lnTo>
                      <a:pt x="148" y="165"/>
                    </a:lnTo>
                    <a:lnTo>
                      <a:pt x="148" y="163"/>
                    </a:lnTo>
                    <a:lnTo>
                      <a:pt x="149" y="165"/>
                    </a:lnTo>
                    <a:lnTo>
                      <a:pt x="149" y="166"/>
                    </a:lnTo>
                    <a:lnTo>
                      <a:pt x="151" y="166"/>
                    </a:lnTo>
                    <a:lnTo>
                      <a:pt x="151" y="168"/>
                    </a:lnTo>
                    <a:lnTo>
                      <a:pt x="151" y="170"/>
                    </a:lnTo>
                    <a:lnTo>
                      <a:pt x="153" y="170"/>
                    </a:lnTo>
                    <a:lnTo>
                      <a:pt x="154" y="172"/>
                    </a:lnTo>
                    <a:lnTo>
                      <a:pt x="156" y="172"/>
                    </a:lnTo>
                    <a:lnTo>
                      <a:pt x="156" y="173"/>
                    </a:lnTo>
                    <a:lnTo>
                      <a:pt x="158" y="175"/>
                    </a:lnTo>
                    <a:lnTo>
                      <a:pt x="158" y="177"/>
                    </a:lnTo>
                    <a:lnTo>
                      <a:pt x="159" y="177"/>
                    </a:lnTo>
                    <a:lnTo>
                      <a:pt x="161" y="177"/>
                    </a:lnTo>
                    <a:lnTo>
                      <a:pt x="161" y="178"/>
                    </a:lnTo>
                    <a:lnTo>
                      <a:pt x="161" y="180"/>
                    </a:lnTo>
                    <a:lnTo>
                      <a:pt x="163" y="180"/>
                    </a:lnTo>
                    <a:lnTo>
                      <a:pt x="163" y="178"/>
                    </a:lnTo>
                    <a:lnTo>
                      <a:pt x="161" y="178"/>
                    </a:lnTo>
                    <a:lnTo>
                      <a:pt x="163" y="178"/>
                    </a:lnTo>
                    <a:lnTo>
                      <a:pt x="163" y="180"/>
                    </a:lnTo>
                    <a:lnTo>
                      <a:pt x="163" y="178"/>
                    </a:lnTo>
                    <a:lnTo>
                      <a:pt x="163" y="180"/>
                    </a:lnTo>
                    <a:lnTo>
                      <a:pt x="161" y="180"/>
                    </a:lnTo>
                    <a:lnTo>
                      <a:pt x="161" y="182"/>
                    </a:lnTo>
                    <a:lnTo>
                      <a:pt x="163" y="182"/>
                    </a:lnTo>
                    <a:lnTo>
                      <a:pt x="163" y="183"/>
                    </a:lnTo>
                    <a:lnTo>
                      <a:pt x="163" y="182"/>
                    </a:lnTo>
                    <a:lnTo>
                      <a:pt x="165" y="182"/>
                    </a:lnTo>
                    <a:lnTo>
                      <a:pt x="163" y="182"/>
                    </a:lnTo>
                    <a:lnTo>
                      <a:pt x="165" y="182"/>
                    </a:lnTo>
                    <a:lnTo>
                      <a:pt x="166" y="182"/>
                    </a:lnTo>
                    <a:lnTo>
                      <a:pt x="165" y="182"/>
                    </a:lnTo>
                    <a:lnTo>
                      <a:pt x="165" y="183"/>
                    </a:lnTo>
                    <a:lnTo>
                      <a:pt x="166" y="183"/>
                    </a:lnTo>
                    <a:lnTo>
                      <a:pt x="165" y="183"/>
                    </a:lnTo>
                    <a:lnTo>
                      <a:pt x="166" y="183"/>
                    </a:lnTo>
                    <a:lnTo>
                      <a:pt x="166" y="185"/>
                    </a:lnTo>
                    <a:lnTo>
                      <a:pt x="165" y="183"/>
                    </a:lnTo>
                    <a:lnTo>
                      <a:pt x="165" y="185"/>
                    </a:lnTo>
                    <a:lnTo>
                      <a:pt x="166" y="185"/>
                    </a:lnTo>
                    <a:lnTo>
                      <a:pt x="165" y="185"/>
                    </a:lnTo>
                    <a:lnTo>
                      <a:pt x="165" y="183"/>
                    </a:lnTo>
                    <a:lnTo>
                      <a:pt x="163" y="185"/>
                    </a:lnTo>
                    <a:lnTo>
                      <a:pt x="163" y="187"/>
                    </a:lnTo>
                    <a:lnTo>
                      <a:pt x="163" y="189"/>
                    </a:lnTo>
                    <a:lnTo>
                      <a:pt x="165" y="189"/>
                    </a:lnTo>
                    <a:lnTo>
                      <a:pt x="166" y="189"/>
                    </a:lnTo>
                    <a:lnTo>
                      <a:pt x="168" y="189"/>
                    </a:lnTo>
                    <a:lnTo>
                      <a:pt x="168" y="187"/>
                    </a:lnTo>
                    <a:lnTo>
                      <a:pt x="170" y="187"/>
                    </a:lnTo>
                    <a:lnTo>
                      <a:pt x="168" y="185"/>
                    </a:lnTo>
                    <a:lnTo>
                      <a:pt x="170" y="185"/>
                    </a:lnTo>
                    <a:lnTo>
                      <a:pt x="170" y="183"/>
                    </a:lnTo>
                    <a:lnTo>
                      <a:pt x="168" y="183"/>
                    </a:lnTo>
                    <a:lnTo>
                      <a:pt x="168" y="182"/>
                    </a:lnTo>
                    <a:lnTo>
                      <a:pt x="168" y="180"/>
                    </a:lnTo>
                    <a:lnTo>
                      <a:pt x="168" y="178"/>
                    </a:lnTo>
                    <a:lnTo>
                      <a:pt x="168" y="177"/>
                    </a:lnTo>
                    <a:lnTo>
                      <a:pt x="168" y="175"/>
                    </a:lnTo>
                    <a:lnTo>
                      <a:pt x="168" y="173"/>
                    </a:lnTo>
                    <a:lnTo>
                      <a:pt x="168" y="172"/>
                    </a:lnTo>
                    <a:lnTo>
                      <a:pt x="166" y="172"/>
                    </a:lnTo>
                    <a:lnTo>
                      <a:pt x="166" y="170"/>
                    </a:lnTo>
                    <a:lnTo>
                      <a:pt x="166" y="168"/>
                    </a:lnTo>
                    <a:lnTo>
                      <a:pt x="165" y="168"/>
                    </a:lnTo>
                    <a:lnTo>
                      <a:pt x="163" y="168"/>
                    </a:lnTo>
                    <a:lnTo>
                      <a:pt x="163" y="166"/>
                    </a:lnTo>
                    <a:lnTo>
                      <a:pt x="165" y="165"/>
                    </a:lnTo>
                    <a:lnTo>
                      <a:pt x="166" y="165"/>
                    </a:lnTo>
                    <a:lnTo>
                      <a:pt x="168" y="165"/>
                    </a:lnTo>
                    <a:lnTo>
                      <a:pt x="170" y="163"/>
                    </a:lnTo>
                    <a:lnTo>
                      <a:pt x="171" y="163"/>
                    </a:lnTo>
                    <a:lnTo>
                      <a:pt x="173" y="163"/>
                    </a:lnTo>
                    <a:lnTo>
                      <a:pt x="171" y="161"/>
                    </a:lnTo>
                    <a:lnTo>
                      <a:pt x="173" y="161"/>
                    </a:lnTo>
                    <a:lnTo>
                      <a:pt x="175" y="160"/>
                    </a:lnTo>
                    <a:lnTo>
                      <a:pt x="176" y="160"/>
                    </a:lnTo>
                    <a:lnTo>
                      <a:pt x="176" y="158"/>
                    </a:lnTo>
                    <a:lnTo>
                      <a:pt x="178" y="158"/>
                    </a:lnTo>
                    <a:lnTo>
                      <a:pt x="180" y="156"/>
                    </a:lnTo>
                    <a:lnTo>
                      <a:pt x="180" y="155"/>
                    </a:lnTo>
                    <a:lnTo>
                      <a:pt x="182" y="155"/>
                    </a:lnTo>
                    <a:lnTo>
                      <a:pt x="183" y="155"/>
                    </a:lnTo>
                    <a:lnTo>
                      <a:pt x="183" y="153"/>
                    </a:lnTo>
                    <a:lnTo>
                      <a:pt x="185" y="153"/>
                    </a:lnTo>
                    <a:lnTo>
                      <a:pt x="185" y="151"/>
                    </a:lnTo>
                    <a:lnTo>
                      <a:pt x="185" y="149"/>
                    </a:lnTo>
                    <a:lnTo>
                      <a:pt x="187" y="149"/>
                    </a:lnTo>
                    <a:lnTo>
                      <a:pt x="187" y="148"/>
                    </a:lnTo>
                    <a:lnTo>
                      <a:pt x="188" y="146"/>
                    </a:lnTo>
                    <a:lnTo>
                      <a:pt x="188" y="144"/>
                    </a:lnTo>
                    <a:lnTo>
                      <a:pt x="188" y="143"/>
                    </a:lnTo>
                    <a:lnTo>
                      <a:pt x="190" y="143"/>
                    </a:lnTo>
                    <a:lnTo>
                      <a:pt x="190" y="141"/>
                    </a:lnTo>
                    <a:lnTo>
                      <a:pt x="192" y="139"/>
                    </a:lnTo>
                    <a:lnTo>
                      <a:pt x="193" y="139"/>
                    </a:lnTo>
                    <a:lnTo>
                      <a:pt x="195" y="139"/>
                    </a:lnTo>
                    <a:lnTo>
                      <a:pt x="195" y="138"/>
                    </a:lnTo>
                    <a:lnTo>
                      <a:pt x="195" y="136"/>
                    </a:lnTo>
                    <a:lnTo>
                      <a:pt x="195" y="138"/>
                    </a:lnTo>
                    <a:lnTo>
                      <a:pt x="195" y="136"/>
                    </a:lnTo>
                    <a:lnTo>
                      <a:pt x="197" y="136"/>
                    </a:lnTo>
                    <a:lnTo>
                      <a:pt x="197" y="138"/>
                    </a:lnTo>
                    <a:lnTo>
                      <a:pt x="199" y="138"/>
                    </a:lnTo>
                    <a:lnTo>
                      <a:pt x="200" y="138"/>
                    </a:lnTo>
                    <a:lnTo>
                      <a:pt x="199" y="138"/>
                    </a:lnTo>
                    <a:lnTo>
                      <a:pt x="200" y="138"/>
                    </a:lnTo>
                    <a:lnTo>
                      <a:pt x="202" y="138"/>
                    </a:lnTo>
                    <a:lnTo>
                      <a:pt x="204" y="138"/>
                    </a:lnTo>
                    <a:lnTo>
                      <a:pt x="205" y="138"/>
                    </a:lnTo>
                    <a:lnTo>
                      <a:pt x="207" y="136"/>
                    </a:lnTo>
                    <a:lnTo>
                      <a:pt x="207" y="134"/>
                    </a:lnTo>
                    <a:lnTo>
                      <a:pt x="209" y="132"/>
                    </a:lnTo>
                    <a:lnTo>
                      <a:pt x="209" y="131"/>
                    </a:lnTo>
                    <a:lnTo>
                      <a:pt x="207" y="129"/>
                    </a:lnTo>
                    <a:lnTo>
                      <a:pt x="207" y="127"/>
                    </a:lnTo>
                    <a:lnTo>
                      <a:pt x="205" y="127"/>
                    </a:lnTo>
                    <a:lnTo>
                      <a:pt x="204" y="127"/>
                    </a:lnTo>
                    <a:lnTo>
                      <a:pt x="205" y="127"/>
                    </a:lnTo>
                    <a:lnTo>
                      <a:pt x="205" y="126"/>
                    </a:lnTo>
                    <a:lnTo>
                      <a:pt x="207" y="124"/>
                    </a:lnTo>
                    <a:lnTo>
                      <a:pt x="207" y="122"/>
                    </a:lnTo>
                    <a:lnTo>
                      <a:pt x="207" y="120"/>
                    </a:lnTo>
                    <a:lnTo>
                      <a:pt x="207" y="119"/>
                    </a:lnTo>
                    <a:lnTo>
                      <a:pt x="209" y="119"/>
                    </a:lnTo>
                    <a:lnTo>
                      <a:pt x="207" y="117"/>
                    </a:lnTo>
                    <a:lnTo>
                      <a:pt x="209" y="117"/>
                    </a:lnTo>
                    <a:lnTo>
                      <a:pt x="209" y="115"/>
                    </a:lnTo>
                    <a:lnTo>
                      <a:pt x="209" y="114"/>
                    </a:lnTo>
                    <a:lnTo>
                      <a:pt x="207" y="114"/>
                    </a:lnTo>
                    <a:lnTo>
                      <a:pt x="209" y="114"/>
                    </a:lnTo>
                    <a:lnTo>
                      <a:pt x="209" y="112"/>
                    </a:lnTo>
                    <a:lnTo>
                      <a:pt x="210" y="112"/>
                    </a:lnTo>
                    <a:lnTo>
                      <a:pt x="209" y="112"/>
                    </a:lnTo>
                    <a:lnTo>
                      <a:pt x="209" y="110"/>
                    </a:lnTo>
                    <a:lnTo>
                      <a:pt x="209" y="112"/>
                    </a:lnTo>
                    <a:lnTo>
                      <a:pt x="210" y="112"/>
                    </a:lnTo>
                    <a:lnTo>
                      <a:pt x="210" y="110"/>
                    </a:lnTo>
                    <a:lnTo>
                      <a:pt x="209" y="110"/>
                    </a:lnTo>
                    <a:lnTo>
                      <a:pt x="210" y="109"/>
                    </a:lnTo>
                    <a:lnTo>
                      <a:pt x="209" y="109"/>
                    </a:lnTo>
                    <a:lnTo>
                      <a:pt x="209" y="110"/>
                    </a:lnTo>
                    <a:lnTo>
                      <a:pt x="207" y="110"/>
                    </a:lnTo>
                    <a:lnTo>
                      <a:pt x="205" y="112"/>
                    </a:lnTo>
                    <a:lnTo>
                      <a:pt x="205" y="110"/>
                    </a:lnTo>
                    <a:lnTo>
                      <a:pt x="205" y="112"/>
                    </a:lnTo>
                    <a:lnTo>
                      <a:pt x="204" y="114"/>
                    </a:lnTo>
                    <a:lnTo>
                      <a:pt x="204" y="112"/>
                    </a:lnTo>
                    <a:lnTo>
                      <a:pt x="205" y="112"/>
                    </a:lnTo>
                    <a:lnTo>
                      <a:pt x="205" y="110"/>
                    </a:lnTo>
                    <a:lnTo>
                      <a:pt x="207" y="110"/>
                    </a:lnTo>
                    <a:lnTo>
                      <a:pt x="207" y="109"/>
                    </a:lnTo>
                    <a:lnTo>
                      <a:pt x="207" y="110"/>
                    </a:lnTo>
                    <a:lnTo>
                      <a:pt x="207" y="109"/>
                    </a:lnTo>
                    <a:lnTo>
                      <a:pt x="207" y="107"/>
                    </a:lnTo>
                    <a:lnTo>
                      <a:pt x="209" y="107"/>
                    </a:lnTo>
                    <a:lnTo>
                      <a:pt x="207" y="109"/>
                    </a:lnTo>
                    <a:lnTo>
                      <a:pt x="209" y="109"/>
                    </a:lnTo>
                    <a:lnTo>
                      <a:pt x="210" y="107"/>
                    </a:lnTo>
                    <a:lnTo>
                      <a:pt x="210" y="105"/>
                    </a:lnTo>
                    <a:lnTo>
                      <a:pt x="210" y="103"/>
                    </a:lnTo>
                    <a:lnTo>
                      <a:pt x="209" y="103"/>
                    </a:lnTo>
                    <a:lnTo>
                      <a:pt x="210" y="103"/>
                    </a:lnTo>
                    <a:lnTo>
                      <a:pt x="209" y="103"/>
                    </a:lnTo>
                    <a:lnTo>
                      <a:pt x="209" y="102"/>
                    </a:lnTo>
                    <a:lnTo>
                      <a:pt x="210" y="102"/>
                    </a:lnTo>
                    <a:lnTo>
                      <a:pt x="210" y="103"/>
                    </a:lnTo>
                    <a:lnTo>
                      <a:pt x="212" y="103"/>
                    </a:lnTo>
                    <a:lnTo>
                      <a:pt x="210" y="102"/>
                    </a:lnTo>
                    <a:lnTo>
                      <a:pt x="212" y="100"/>
                    </a:lnTo>
                    <a:lnTo>
                      <a:pt x="210" y="100"/>
                    </a:lnTo>
                    <a:lnTo>
                      <a:pt x="210" y="98"/>
                    </a:lnTo>
                    <a:lnTo>
                      <a:pt x="212" y="97"/>
                    </a:lnTo>
                    <a:lnTo>
                      <a:pt x="212" y="95"/>
                    </a:lnTo>
                    <a:lnTo>
                      <a:pt x="214" y="95"/>
                    </a:lnTo>
                    <a:lnTo>
                      <a:pt x="214" y="93"/>
                    </a:lnTo>
                    <a:lnTo>
                      <a:pt x="216" y="93"/>
                    </a:lnTo>
                    <a:lnTo>
                      <a:pt x="217" y="93"/>
                    </a:lnTo>
                    <a:lnTo>
                      <a:pt x="219" y="93"/>
                    </a:lnTo>
                    <a:lnTo>
                      <a:pt x="219" y="92"/>
                    </a:lnTo>
                    <a:lnTo>
                      <a:pt x="219" y="90"/>
                    </a:lnTo>
                    <a:lnTo>
                      <a:pt x="221" y="90"/>
                    </a:lnTo>
                    <a:lnTo>
                      <a:pt x="221" y="88"/>
                    </a:lnTo>
                    <a:lnTo>
                      <a:pt x="222" y="88"/>
                    </a:lnTo>
                    <a:lnTo>
                      <a:pt x="224" y="88"/>
                    </a:lnTo>
                    <a:lnTo>
                      <a:pt x="224" y="86"/>
                    </a:lnTo>
                    <a:lnTo>
                      <a:pt x="226" y="86"/>
                    </a:lnTo>
                    <a:lnTo>
                      <a:pt x="226" y="85"/>
                    </a:lnTo>
                    <a:lnTo>
                      <a:pt x="227" y="85"/>
                    </a:lnTo>
                    <a:lnTo>
                      <a:pt x="227" y="83"/>
                    </a:lnTo>
                    <a:lnTo>
                      <a:pt x="229" y="83"/>
                    </a:lnTo>
                    <a:lnTo>
                      <a:pt x="227" y="83"/>
                    </a:lnTo>
                    <a:lnTo>
                      <a:pt x="229" y="83"/>
                    </a:lnTo>
                    <a:lnTo>
                      <a:pt x="231" y="81"/>
                    </a:lnTo>
                    <a:lnTo>
                      <a:pt x="233" y="81"/>
                    </a:lnTo>
                    <a:lnTo>
                      <a:pt x="233" y="80"/>
                    </a:lnTo>
                    <a:lnTo>
                      <a:pt x="234" y="80"/>
                    </a:lnTo>
                    <a:lnTo>
                      <a:pt x="236" y="80"/>
                    </a:lnTo>
                    <a:lnTo>
                      <a:pt x="236" y="81"/>
                    </a:lnTo>
                    <a:lnTo>
                      <a:pt x="238" y="81"/>
                    </a:lnTo>
                    <a:lnTo>
                      <a:pt x="239" y="81"/>
                    </a:lnTo>
                    <a:lnTo>
                      <a:pt x="239" y="83"/>
                    </a:lnTo>
                    <a:lnTo>
                      <a:pt x="241" y="83"/>
                    </a:lnTo>
                    <a:lnTo>
                      <a:pt x="243" y="83"/>
                    </a:lnTo>
                    <a:lnTo>
                      <a:pt x="244" y="83"/>
                    </a:lnTo>
                    <a:lnTo>
                      <a:pt x="246" y="83"/>
                    </a:lnTo>
                    <a:lnTo>
                      <a:pt x="248" y="83"/>
                    </a:lnTo>
                    <a:lnTo>
                      <a:pt x="250" y="83"/>
                    </a:lnTo>
                    <a:lnTo>
                      <a:pt x="251" y="83"/>
                    </a:lnTo>
                    <a:lnTo>
                      <a:pt x="253" y="83"/>
                    </a:lnTo>
                    <a:lnTo>
                      <a:pt x="253" y="81"/>
                    </a:lnTo>
                    <a:lnTo>
                      <a:pt x="255" y="81"/>
                    </a:lnTo>
                    <a:lnTo>
                      <a:pt x="255" y="80"/>
                    </a:lnTo>
                    <a:lnTo>
                      <a:pt x="253" y="80"/>
                    </a:lnTo>
                    <a:lnTo>
                      <a:pt x="253" y="78"/>
                    </a:lnTo>
                    <a:lnTo>
                      <a:pt x="253" y="76"/>
                    </a:lnTo>
                    <a:lnTo>
                      <a:pt x="253" y="75"/>
                    </a:lnTo>
                    <a:lnTo>
                      <a:pt x="255" y="75"/>
                    </a:lnTo>
                    <a:lnTo>
                      <a:pt x="253" y="75"/>
                    </a:lnTo>
                    <a:lnTo>
                      <a:pt x="255" y="75"/>
                    </a:lnTo>
                    <a:lnTo>
                      <a:pt x="255" y="73"/>
                    </a:lnTo>
                    <a:lnTo>
                      <a:pt x="256" y="73"/>
                    </a:lnTo>
                    <a:lnTo>
                      <a:pt x="256" y="71"/>
                    </a:lnTo>
                    <a:lnTo>
                      <a:pt x="256" y="73"/>
                    </a:lnTo>
                    <a:lnTo>
                      <a:pt x="256" y="71"/>
                    </a:lnTo>
                    <a:lnTo>
                      <a:pt x="258" y="73"/>
                    </a:lnTo>
                    <a:lnTo>
                      <a:pt x="258" y="71"/>
                    </a:lnTo>
                    <a:lnTo>
                      <a:pt x="258" y="73"/>
                    </a:lnTo>
                    <a:lnTo>
                      <a:pt x="258" y="71"/>
                    </a:lnTo>
                    <a:lnTo>
                      <a:pt x="260" y="71"/>
                    </a:lnTo>
                    <a:lnTo>
                      <a:pt x="261" y="71"/>
                    </a:lnTo>
                    <a:lnTo>
                      <a:pt x="263" y="71"/>
                    </a:lnTo>
                    <a:lnTo>
                      <a:pt x="263" y="73"/>
                    </a:lnTo>
                    <a:lnTo>
                      <a:pt x="265" y="73"/>
                    </a:lnTo>
                    <a:lnTo>
                      <a:pt x="267" y="73"/>
                    </a:lnTo>
                    <a:lnTo>
                      <a:pt x="267" y="75"/>
                    </a:lnTo>
                    <a:lnTo>
                      <a:pt x="268" y="75"/>
                    </a:lnTo>
                    <a:lnTo>
                      <a:pt x="270" y="75"/>
                    </a:lnTo>
                    <a:lnTo>
                      <a:pt x="272" y="75"/>
                    </a:lnTo>
                    <a:lnTo>
                      <a:pt x="273" y="75"/>
                    </a:lnTo>
                    <a:lnTo>
                      <a:pt x="275" y="75"/>
                    </a:lnTo>
                    <a:lnTo>
                      <a:pt x="277" y="75"/>
                    </a:lnTo>
                    <a:lnTo>
                      <a:pt x="278" y="75"/>
                    </a:lnTo>
                    <a:lnTo>
                      <a:pt x="280" y="75"/>
                    </a:lnTo>
                    <a:lnTo>
                      <a:pt x="282" y="75"/>
                    </a:lnTo>
                    <a:lnTo>
                      <a:pt x="284" y="75"/>
                    </a:lnTo>
                    <a:lnTo>
                      <a:pt x="284" y="73"/>
                    </a:lnTo>
                    <a:lnTo>
                      <a:pt x="285" y="73"/>
                    </a:lnTo>
                    <a:lnTo>
                      <a:pt x="287" y="73"/>
                    </a:lnTo>
                    <a:lnTo>
                      <a:pt x="287" y="71"/>
                    </a:lnTo>
                    <a:lnTo>
                      <a:pt x="289" y="71"/>
                    </a:lnTo>
                    <a:lnTo>
                      <a:pt x="289" y="69"/>
                    </a:lnTo>
                    <a:lnTo>
                      <a:pt x="290" y="69"/>
                    </a:lnTo>
                    <a:lnTo>
                      <a:pt x="292" y="69"/>
                    </a:lnTo>
                    <a:lnTo>
                      <a:pt x="292" y="68"/>
                    </a:lnTo>
                    <a:lnTo>
                      <a:pt x="294" y="66"/>
                    </a:lnTo>
                    <a:lnTo>
                      <a:pt x="295" y="66"/>
                    </a:lnTo>
                    <a:lnTo>
                      <a:pt x="295" y="64"/>
                    </a:lnTo>
                    <a:lnTo>
                      <a:pt x="297" y="64"/>
                    </a:lnTo>
                    <a:lnTo>
                      <a:pt x="299" y="64"/>
                    </a:lnTo>
                    <a:lnTo>
                      <a:pt x="299" y="63"/>
                    </a:lnTo>
                    <a:lnTo>
                      <a:pt x="301" y="63"/>
                    </a:lnTo>
                    <a:lnTo>
                      <a:pt x="301" y="61"/>
                    </a:lnTo>
                    <a:lnTo>
                      <a:pt x="302" y="61"/>
                    </a:lnTo>
                    <a:lnTo>
                      <a:pt x="302" y="59"/>
                    </a:lnTo>
                    <a:lnTo>
                      <a:pt x="304" y="59"/>
                    </a:lnTo>
                    <a:lnTo>
                      <a:pt x="306" y="59"/>
                    </a:lnTo>
                    <a:lnTo>
                      <a:pt x="307" y="58"/>
                    </a:lnTo>
                    <a:lnTo>
                      <a:pt x="309" y="58"/>
                    </a:lnTo>
                    <a:lnTo>
                      <a:pt x="311" y="58"/>
                    </a:lnTo>
                    <a:lnTo>
                      <a:pt x="311" y="56"/>
                    </a:lnTo>
                    <a:lnTo>
                      <a:pt x="312" y="56"/>
                    </a:lnTo>
                    <a:lnTo>
                      <a:pt x="314" y="56"/>
                    </a:lnTo>
                    <a:lnTo>
                      <a:pt x="316" y="56"/>
                    </a:lnTo>
                    <a:lnTo>
                      <a:pt x="316" y="54"/>
                    </a:lnTo>
                    <a:lnTo>
                      <a:pt x="318" y="54"/>
                    </a:lnTo>
                    <a:lnTo>
                      <a:pt x="319" y="54"/>
                    </a:lnTo>
                    <a:lnTo>
                      <a:pt x="319" y="52"/>
                    </a:lnTo>
                    <a:lnTo>
                      <a:pt x="321" y="52"/>
                    </a:lnTo>
                    <a:lnTo>
                      <a:pt x="321" y="51"/>
                    </a:lnTo>
                    <a:lnTo>
                      <a:pt x="323" y="49"/>
                    </a:lnTo>
                    <a:lnTo>
                      <a:pt x="323" y="47"/>
                    </a:lnTo>
                    <a:lnTo>
                      <a:pt x="324" y="46"/>
                    </a:lnTo>
                    <a:lnTo>
                      <a:pt x="324" y="44"/>
                    </a:lnTo>
                    <a:lnTo>
                      <a:pt x="324" y="42"/>
                    </a:lnTo>
                    <a:lnTo>
                      <a:pt x="323" y="42"/>
                    </a:lnTo>
                    <a:lnTo>
                      <a:pt x="323" y="41"/>
                    </a:lnTo>
                    <a:lnTo>
                      <a:pt x="324" y="41"/>
                    </a:lnTo>
                    <a:lnTo>
                      <a:pt x="326" y="41"/>
                    </a:lnTo>
                    <a:lnTo>
                      <a:pt x="328" y="41"/>
                    </a:lnTo>
                    <a:lnTo>
                      <a:pt x="329" y="41"/>
                    </a:lnTo>
                    <a:lnTo>
                      <a:pt x="329" y="42"/>
                    </a:lnTo>
                    <a:lnTo>
                      <a:pt x="329" y="44"/>
                    </a:lnTo>
                    <a:lnTo>
                      <a:pt x="331" y="44"/>
                    </a:lnTo>
                    <a:lnTo>
                      <a:pt x="331" y="42"/>
                    </a:lnTo>
                    <a:lnTo>
                      <a:pt x="333" y="42"/>
                    </a:lnTo>
                    <a:lnTo>
                      <a:pt x="333" y="41"/>
                    </a:lnTo>
                    <a:lnTo>
                      <a:pt x="333" y="39"/>
                    </a:lnTo>
                    <a:lnTo>
                      <a:pt x="333" y="41"/>
                    </a:lnTo>
                    <a:lnTo>
                      <a:pt x="333" y="39"/>
                    </a:lnTo>
                    <a:lnTo>
                      <a:pt x="331" y="39"/>
                    </a:lnTo>
                    <a:lnTo>
                      <a:pt x="333" y="39"/>
                    </a:lnTo>
                    <a:lnTo>
                      <a:pt x="331" y="39"/>
                    </a:lnTo>
                    <a:lnTo>
                      <a:pt x="329" y="39"/>
                    </a:lnTo>
                    <a:lnTo>
                      <a:pt x="331" y="39"/>
                    </a:lnTo>
                    <a:lnTo>
                      <a:pt x="333" y="37"/>
                    </a:lnTo>
                    <a:lnTo>
                      <a:pt x="333" y="35"/>
                    </a:lnTo>
                    <a:lnTo>
                      <a:pt x="335" y="37"/>
                    </a:lnTo>
                    <a:lnTo>
                      <a:pt x="335" y="35"/>
                    </a:lnTo>
                    <a:lnTo>
                      <a:pt x="335" y="37"/>
                    </a:lnTo>
                    <a:lnTo>
                      <a:pt x="336" y="39"/>
                    </a:lnTo>
                    <a:lnTo>
                      <a:pt x="336" y="37"/>
                    </a:lnTo>
                    <a:lnTo>
                      <a:pt x="338" y="37"/>
                    </a:lnTo>
                    <a:lnTo>
                      <a:pt x="338" y="35"/>
                    </a:lnTo>
                    <a:lnTo>
                      <a:pt x="336" y="35"/>
                    </a:lnTo>
                    <a:lnTo>
                      <a:pt x="338" y="35"/>
                    </a:lnTo>
                    <a:lnTo>
                      <a:pt x="338" y="34"/>
                    </a:lnTo>
                    <a:lnTo>
                      <a:pt x="338" y="35"/>
                    </a:lnTo>
                    <a:lnTo>
                      <a:pt x="340" y="35"/>
                    </a:lnTo>
                    <a:lnTo>
                      <a:pt x="338" y="35"/>
                    </a:lnTo>
                    <a:lnTo>
                      <a:pt x="340" y="35"/>
                    </a:lnTo>
                    <a:lnTo>
                      <a:pt x="341" y="35"/>
                    </a:lnTo>
                    <a:lnTo>
                      <a:pt x="341" y="34"/>
                    </a:lnTo>
                    <a:lnTo>
                      <a:pt x="340" y="34"/>
                    </a:lnTo>
                    <a:lnTo>
                      <a:pt x="341" y="34"/>
                    </a:lnTo>
                    <a:lnTo>
                      <a:pt x="340" y="34"/>
                    </a:lnTo>
                    <a:lnTo>
                      <a:pt x="338" y="34"/>
                    </a:lnTo>
                    <a:lnTo>
                      <a:pt x="340" y="34"/>
                    </a:lnTo>
                    <a:lnTo>
                      <a:pt x="340" y="32"/>
                    </a:lnTo>
                    <a:lnTo>
                      <a:pt x="341" y="34"/>
                    </a:lnTo>
                    <a:lnTo>
                      <a:pt x="343" y="34"/>
                    </a:lnTo>
                    <a:lnTo>
                      <a:pt x="345" y="34"/>
                    </a:lnTo>
                    <a:lnTo>
                      <a:pt x="346" y="34"/>
                    </a:lnTo>
                    <a:lnTo>
                      <a:pt x="346" y="35"/>
                    </a:lnTo>
                    <a:lnTo>
                      <a:pt x="348" y="35"/>
                    </a:lnTo>
                    <a:lnTo>
                      <a:pt x="350" y="35"/>
                    </a:lnTo>
                    <a:lnTo>
                      <a:pt x="352" y="35"/>
                    </a:lnTo>
                    <a:lnTo>
                      <a:pt x="352" y="37"/>
                    </a:lnTo>
                    <a:lnTo>
                      <a:pt x="352" y="35"/>
                    </a:lnTo>
                    <a:lnTo>
                      <a:pt x="352" y="37"/>
                    </a:lnTo>
                    <a:lnTo>
                      <a:pt x="353" y="37"/>
                    </a:lnTo>
                    <a:lnTo>
                      <a:pt x="355" y="37"/>
                    </a:lnTo>
                    <a:lnTo>
                      <a:pt x="355" y="39"/>
                    </a:lnTo>
                    <a:lnTo>
                      <a:pt x="355" y="41"/>
                    </a:lnTo>
                    <a:lnTo>
                      <a:pt x="357" y="41"/>
                    </a:lnTo>
                    <a:lnTo>
                      <a:pt x="357" y="42"/>
                    </a:lnTo>
                    <a:lnTo>
                      <a:pt x="357" y="44"/>
                    </a:lnTo>
                    <a:lnTo>
                      <a:pt x="358" y="44"/>
                    </a:lnTo>
                    <a:lnTo>
                      <a:pt x="358" y="46"/>
                    </a:lnTo>
                    <a:lnTo>
                      <a:pt x="358" y="47"/>
                    </a:lnTo>
                    <a:lnTo>
                      <a:pt x="358" y="49"/>
                    </a:lnTo>
                    <a:lnTo>
                      <a:pt x="357" y="49"/>
                    </a:lnTo>
                    <a:lnTo>
                      <a:pt x="355" y="49"/>
                    </a:lnTo>
                    <a:lnTo>
                      <a:pt x="355" y="51"/>
                    </a:lnTo>
                    <a:lnTo>
                      <a:pt x="353" y="51"/>
                    </a:lnTo>
                    <a:lnTo>
                      <a:pt x="353" y="52"/>
                    </a:lnTo>
                    <a:lnTo>
                      <a:pt x="352" y="52"/>
                    </a:lnTo>
                    <a:lnTo>
                      <a:pt x="352" y="54"/>
                    </a:lnTo>
                    <a:lnTo>
                      <a:pt x="350" y="54"/>
                    </a:lnTo>
                    <a:close/>
                    <a:moveTo>
                      <a:pt x="1" y="29"/>
                    </a:moveTo>
                    <a:lnTo>
                      <a:pt x="1" y="30"/>
                    </a:lnTo>
                    <a:lnTo>
                      <a:pt x="1" y="32"/>
                    </a:lnTo>
                    <a:lnTo>
                      <a:pt x="0" y="32"/>
                    </a:lnTo>
                    <a:lnTo>
                      <a:pt x="0" y="30"/>
                    </a:lnTo>
                    <a:lnTo>
                      <a:pt x="0" y="29"/>
                    </a:lnTo>
                    <a:lnTo>
                      <a:pt x="1" y="29"/>
                    </a:lnTo>
                    <a:close/>
                    <a:moveTo>
                      <a:pt x="12" y="1"/>
                    </a:moveTo>
                    <a:lnTo>
                      <a:pt x="13" y="1"/>
                    </a:lnTo>
                    <a:lnTo>
                      <a:pt x="13" y="3"/>
                    </a:lnTo>
                    <a:lnTo>
                      <a:pt x="12" y="3"/>
                    </a:lnTo>
                    <a:lnTo>
                      <a:pt x="12" y="1"/>
                    </a:lnTo>
                    <a:close/>
                    <a:moveTo>
                      <a:pt x="207" y="105"/>
                    </a:moveTo>
                    <a:lnTo>
                      <a:pt x="209" y="105"/>
                    </a:lnTo>
                    <a:lnTo>
                      <a:pt x="209" y="107"/>
                    </a:lnTo>
                    <a:lnTo>
                      <a:pt x="207" y="107"/>
                    </a:lnTo>
                    <a:lnTo>
                      <a:pt x="207" y="105"/>
                    </a:lnTo>
                    <a:close/>
                    <a:moveTo>
                      <a:pt x="119" y="355"/>
                    </a:moveTo>
                    <a:lnTo>
                      <a:pt x="120" y="355"/>
                    </a:lnTo>
                    <a:lnTo>
                      <a:pt x="120" y="357"/>
                    </a:lnTo>
                    <a:lnTo>
                      <a:pt x="119" y="357"/>
                    </a:lnTo>
                    <a:lnTo>
                      <a:pt x="119" y="355"/>
                    </a:lnTo>
                    <a:close/>
                    <a:moveTo>
                      <a:pt x="154" y="328"/>
                    </a:moveTo>
                    <a:lnTo>
                      <a:pt x="154" y="330"/>
                    </a:lnTo>
                    <a:lnTo>
                      <a:pt x="154" y="328"/>
                    </a:lnTo>
                    <a:close/>
                    <a:moveTo>
                      <a:pt x="100" y="394"/>
                    </a:moveTo>
                    <a:lnTo>
                      <a:pt x="102" y="394"/>
                    </a:lnTo>
                    <a:lnTo>
                      <a:pt x="102" y="396"/>
                    </a:lnTo>
                    <a:lnTo>
                      <a:pt x="100" y="396"/>
                    </a:lnTo>
                    <a:lnTo>
                      <a:pt x="100" y="394"/>
                    </a:lnTo>
                    <a:close/>
                    <a:moveTo>
                      <a:pt x="158" y="325"/>
                    </a:moveTo>
                    <a:lnTo>
                      <a:pt x="158" y="326"/>
                    </a:lnTo>
                    <a:lnTo>
                      <a:pt x="158" y="325"/>
                    </a:lnTo>
                    <a:close/>
                    <a:moveTo>
                      <a:pt x="93" y="403"/>
                    </a:moveTo>
                    <a:lnTo>
                      <a:pt x="95" y="403"/>
                    </a:lnTo>
                    <a:lnTo>
                      <a:pt x="95" y="405"/>
                    </a:lnTo>
                    <a:lnTo>
                      <a:pt x="93" y="405"/>
                    </a:lnTo>
                    <a:lnTo>
                      <a:pt x="93" y="403"/>
                    </a:lnTo>
                    <a:close/>
                    <a:moveTo>
                      <a:pt x="199" y="124"/>
                    </a:moveTo>
                    <a:lnTo>
                      <a:pt x="200" y="124"/>
                    </a:lnTo>
                    <a:lnTo>
                      <a:pt x="199" y="124"/>
                    </a:lnTo>
                    <a:close/>
                    <a:moveTo>
                      <a:pt x="187" y="138"/>
                    </a:moveTo>
                    <a:lnTo>
                      <a:pt x="188" y="138"/>
                    </a:lnTo>
                    <a:lnTo>
                      <a:pt x="188" y="139"/>
                    </a:lnTo>
                    <a:lnTo>
                      <a:pt x="187" y="139"/>
                    </a:lnTo>
                    <a:lnTo>
                      <a:pt x="187" y="138"/>
                    </a:lnTo>
                    <a:close/>
                    <a:moveTo>
                      <a:pt x="156" y="325"/>
                    </a:moveTo>
                    <a:lnTo>
                      <a:pt x="156" y="326"/>
                    </a:lnTo>
                    <a:lnTo>
                      <a:pt x="156" y="325"/>
                    </a:lnTo>
                    <a:close/>
                    <a:moveTo>
                      <a:pt x="202" y="110"/>
                    </a:moveTo>
                    <a:lnTo>
                      <a:pt x="204" y="110"/>
                    </a:lnTo>
                    <a:lnTo>
                      <a:pt x="204" y="112"/>
                    </a:lnTo>
                    <a:lnTo>
                      <a:pt x="202" y="112"/>
                    </a:lnTo>
                    <a:lnTo>
                      <a:pt x="202" y="110"/>
                    </a:lnTo>
                    <a:close/>
                    <a:moveTo>
                      <a:pt x="144" y="311"/>
                    </a:moveTo>
                    <a:lnTo>
                      <a:pt x="146" y="311"/>
                    </a:lnTo>
                    <a:lnTo>
                      <a:pt x="144" y="311"/>
                    </a:lnTo>
                    <a:close/>
                    <a:moveTo>
                      <a:pt x="210" y="100"/>
                    </a:moveTo>
                    <a:lnTo>
                      <a:pt x="210" y="102"/>
                    </a:lnTo>
                    <a:lnTo>
                      <a:pt x="210" y="100"/>
                    </a:lnTo>
                    <a:close/>
                    <a:moveTo>
                      <a:pt x="98" y="396"/>
                    </a:moveTo>
                    <a:lnTo>
                      <a:pt x="100" y="396"/>
                    </a:lnTo>
                    <a:lnTo>
                      <a:pt x="98" y="396"/>
                    </a:lnTo>
                    <a:close/>
                    <a:moveTo>
                      <a:pt x="209" y="103"/>
                    </a:moveTo>
                    <a:lnTo>
                      <a:pt x="210" y="103"/>
                    </a:lnTo>
                    <a:lnTo>
                      <a:pt x="209" y="103"/>
                    </a:lnTo>
                    <a:close/>
                    <a:moveTo>
                      <a:pt x="108" y="372"/>
                    </a:moveTo>
                    <a:lnTo>
                      <a:pt x="110" y="372"/>
                    </a:lnTo>
                    <a:lnTo>
                      <a:pt x="108" y="372"/>
                    </a:lnTo>
                    <a:close/>
                    <a:moveTo>
                      <a:pt x="105" y="377"/>
                    </a:moveTo>
                    <a:lnTo>
                      <a:pt x="105" y="379"/>
                    </a:lnTo>
                    <a:lnTo>
                      <a:pt x="105" y="377"/>
                    </a:lnTo>
                    <a:close/>
                    <a:moveTo>
                      <a:pt x="12" y="0"/>
                    </a:moveTo>
                    <a:lnTo>
                      <a:pt x="13" y="0"/>
                    </a:lnTo>
                    <a:lnTo>
                      <a:pt x="13" y="1"/>
                    </a:lnTo>
                    <a:lnTo>
                      <a:pt x="12" y="1"/>
                    </a:lnTo>
                    <a:lnTo>
                      <a:pt x="12" y="0"/>
                    </a:lnTo>
                    <a:close/>
                    <a:moveTo>
                      <a:pt x="146" y="311"/>
                    </a:moveTo>
                    <a:lnTo>
                      <a:pt x="146" y="313"/>
                    </a:lnTo>
                    <a:lnTo>
                      <a:pt x="146" y="311"/>
                    </a:lnTo>
                    <a:close/>
                    <a:moveTo>
                      <a:pt x="255" y="71"/>
                    </a:moveTo>
                    <a:lnTo>
                      <a:pt x="255" y="73"/>
                    </a:lnTo>
                    <a:lnTo>
                      <a:pt x="255" y="71"/>
                    </a:lnTo>
                    <a:close/>
                    <a:moveTo>
                      <a:pt x="148" y="308"/>
                    </a:moveTo>
                    <a:lnTo>
                      <a:pt x="148" y="309"/>
                    </a:lnTo>
                    <a:lnTo>
                      <a:pt x="148" y="308"/>
                    </a:lnTo>
                    <a:close/>
                    <a:moveTo>
                      <a:pt x="142" y="316"/>
                    </a:moveTo>
                    <a:lnTo>
                      <a:pt x="144" y="316"/>
                    </a:lnTo>
                    <a:lnTo>
                      <a:pt x="142" y="316"/>
                    </a:lnTo>
                    <a:close/>
                    <a:moveTo>
                      <a:pt x="142" y="316"/>
                    </a:moveTo>
                    <a:lnTo>
                      <a:pt x="144" y="316"/>
                    </a:lnTo>
                    <a:lnTo>
                      <a:pt x="144" y="318"/>
                    </a:lnTo>
                    <a:lnTo>
                      <a:pt x="142" y="318"/>
                    </a:lnTo>
                    <a:lnTo>
                      <a:pt x="142" y="316"/>
                    </a:lnTo>
                    <a:close/>
                    <a:moveTo>
                      <a:pt x="122" y="369"/>
                    </a:moveTo>
                    <a:lnTo>
                      <a:pt x="122" y="371"/>
                    </a:lnTo>
                    <a:lnTo>
                      <a:pt x="122" y="36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9" name="Freeform 25">
                <a:extLst>
                  <a:ext uri="{FF2B5EF4-FFF2-40B4-BE49-F238E27FC236}">
                    <a16:creationId xmlns:a16="http://schemas.microsoft.com/office/drawing/2014/main" id="{DB597224-442D-052D-EE50-E81C4E47BA4F}"/>
                  </a:ext>
                </a:extLst>
              </p:cNvPr>
              <p:cNvSpPr>
                <a:spLocks/>
              </p:cNvSpPr>
              <p:nvPr/>
            </p:nvSpPr>
            <p:spPr bwMode="auto">
              <a:xfrm>
                <a:off x="5692680" y="2822884"/>
                <a:ext cx="3819" cy="3526"/>
              </a:xfrm>
              <a:custGeom>
                <a:avLst/>
                <a:gdLst>
                  <a:gd name="T0" fmla="*/ 1 w 13"/>
                  <a:gd name="T1" fmla="*/ 0 h 12"/>
                  <a:gd name="T2" fmla="*/ 3 w 13"/>
                  <a:gd name="T3" fmla="*/ 2 h 12"/>
                  <a:gd name="T4" fmla="*/ 3 w 13"/>
                  <a:gd name="T5" fmla="*/ 4 h 12"/>
                  <a:gd name="T6" fmla="*/ 5 w 13"/>
                  <a:gd name="T7" fmla="*/ 6 h 12"/>
                  <a:gd name="T8" fmla="*/ 5 w 13"/>
                  <a:gd name="T9" fmla="*/ 7 h 12"/>
                  <a:gd name="T10" fmla="*/ 6 w 13"/>
                  <a:gd name="T11" fmla="*/ 7 h 12"/>
                  <a:gd name="T12" fmla="*/ 8 w 13"/>
                  <a:gd name="T13" fmla="*/ 7 h 12"/>
                  <a:gd name="T14" fmla="*/ 10 w 13"/>
                  <a:gd name="T15" fmla="*/ 7 h 12"/>
                  <a:gd name="T16" fmla="*/ 12 w 13"/>
                  <a:gd name="T17" fmla="*/ 9 h 12"/>
                  <a:gd name="T18" fmla="*/ 12 w 13"/>
                  <a:gd name="T19" fmla="*/ 11 h 12"/>
                  <a:gd name="T20" fmla="*/ 13 w 13"/>
                  <a:gd name="T21" fmla="*/ 11 h 12"/>
                  <a:gd name="T22" fmla="*/ 13 w 13"/>
                  <a:gd name="T23" fmla="*/ 12 h 12"/>
                  <a:gd name="T24" fmla="*/ 12 w 13"/>
                  <a:gd name="T25" fmla="*/ 12 h 12"/>
                  <a:gd name="T26" fmla="*/ 10 w 13"/>
                  <a:gd name="T27" fmla="*/ 12 h 12"/>
                  <a:gd name="T28" fmla="*/ 10 w 13"/>
                  <a:gd name="T29" fmla="*/ 11 h 12"/>
                  <a:gd name="T30" fmla="*/ 8 w 13"/>
                  <a:gd name="T31" fmla="*/ 11 h 12"/>
                  <a:gd name="T32" fmla="*/ 6 w 13"/>
                  <a:gd name="T33" fmla="*/ 11 h 12"/>
                  <a:gd name="T34" fmla="*/ 6 w 13"/>
                  <a:gd name="T35" fmla="*/ 9 h 12"/>
                  <a:gd name="T36" fmla="*/ 5 w 13"/>
                  <a:gd name="T37" fmla="*/ 9 h 12"/>
                  <a:gd name="T38" fmla="*/ 5 w 13"/>
                  <a:gd name="T39" fmla="*/ 7 h 12"/>
                  <a:gd name="T40" fmla="*/ 3 w 13"/>
                  <a:gd name="T41" fmla="*/ 7 h 12"/>
                  <a:gd name="T42" fmla="*/ 1 w 13"/>
                  <a:gd name="T43" fmla="*/ 7 h 12"/>
                  <a:gd name="T44" fmla="*/ 1 w 13"/>
                  <a:gd name="T45" fmla="*/ 6 h 12"/>
                  <a:gd name="T46" fmla="*/ 1 w 13"/>
                  <a:gd name="T47" fmla="*/ 4 h 12"/>
                  <a:gd name="T48" fmla="*/ 0 w 13"/>
                  <a:gd name="T49" fmla="*/ 4 h 12"/>
                  <a:gd name="T50" fmla="*/ 0 w 13"/>
                  <a:gd name="T51" fmla="*/ 2 h 12"/>
                  <a:gd name="T52" fmla="*/ 0 w 13"/>
                  <a:gd name="T53" fmla="*/ 0 h 12"/>
                  <a:gd name="T54" fmla="*/ 1 w 13"/>
                  <a:gd name="T5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 h="12">
                    <a:moveTo>
                      <a:pt x="1" y="0"/>
                    </a:moveTo>
                    <a:lnTo>
                      <a:pt x="3" y="2"/>
                    </a:lnTo>
                    <a:lnTo>
                      <a:pt x="3" y="4"/>
                    </a:lnTo>
                    <a:lnTo>
                      <a:pt x="5" y="6"/>
                    </a:lnTo>
                    <a:lnTo>
                      <a:pt x="5" y="7"/>
                    </a:lnTo>
                    <a:lnTo>
                      <a:pt x="6" y="7"/>
                    </a:lnTo>
                    <a:lnTo>
                      <a:pt x="8" y="7"/>
                    </a:lnTo>
                    <a:lnTo>
                      <a:pt x="10" y="7"/>
                    </a:lnTo>
                    <a:lnTo>
                      <a:pt x="12" y="9"/>
                    </a:lnTo>
                    <a:lnTo>
                      <a:pt x="12" y="11"/>
                    </a:lnTo>
                    <a:lnTo>
                      <a:pt x="13" y="11"/>
                    </a:lnTo>
                    <a:lnTo>
                      <a:pt x="13" y="12"/>
                    </a:lnTo>
                    <a:lnTo>
                      <a:pt x="12" y="12"/>
                    </a:lnTo>
                    <a:lnTo>
                      <a:pt x="10" y="12"/>
                    </a:lnTo>
                    <a:lnTo>
                      <a:pt x="10" y="11"/>
                    </a:lnTo>
                    <a:lnTo>
                      <a:pt x="8" y="11"/>
                    </a:lnTo>
                    <a:lnTo>
                      <a:pt x="6" y="11"/>
                    </a:lnTo>
                    <a:lnTo>
                      <a:pt x="6" y="9"/>
                    </a:lnTo>
                    <a:lnTo>
                      <a:pt x="5" y="9"/>
                    </a:lnTo>
                    <a:lnTo>
                      <a:pt x="5" y="7"/>
                    </a:lnTo>
                    <a:lnTo>
                      <a:pt x="3" y="7"/>
                    </a:lnTo>
                    <a:lnTo>
                      <a:pt x="1" y="7"/>
                    </a:lnTo>
                    <a:lnTo>
                      <a:pt x="1" y="6"/>
                    </a:lnTo>
                    <a:lnTo>
                      <a:pt x="1" y="4"/>
                    </a:lnTo>
                    <a:lnTo>
                      <a:pt x="0" y="4"/>
                    </a:lnTo>
                    <a:lnTo>
                      <a:pt x="0" y="2"/>
                    </a:lnTo>
                    <a:lnTo>
                      <a:pt x="0" y="0"/>
                    </a:lnTo>
                    <a:lnTo>
                      <a:pt x="1"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0" name="Freeform 28">
                <a:extLst>
                  <a:ext uri="{FF2B5EF4-FFF2-40B4-BE49-F238E27FC236}">
                    <a16:creationId xmlns:a16="http://schemas.microsoft.com/office/drawing/2014/main" id="{F5A9AA68-C170-F391-7866-4F1BE1AA6604}"/>
                  </a:ext>
                </a:extLst>
              </p:cNvPr>
              <p:cNvSpPr>
                <a:spLocks noEditPoints="1"/>
              </p:cNvSpPr>
              <p:nvPr/>
            </p:nvSpPr>
            <p:spPr bwMode="auto">
              <a:xfrm>
                <a:off x="5469451" y="2932442"/>
                <a:ext cx="163308" cy="64030"/>
              </a:xfrm>
              <a:custGeom>
                <a:avLst/>
                <a:gdLst>
                  <a:gd name="T0" fmla="*/ 549 w 556"/>
                  <a:gd name="T1" fmla="*/ 61 h 218"/>
                  <a:gd name="T2" fmla="*/ 554 w 556"/>
                  <a:gd name="T3" fmla="*/ 78 h 218"/>
                  <a:gd name="T4" fmla="*/ 540 w 556"/>
                  <a:gd name="T5" fmla="*/ 104 h 218"/>
                  <a:gd name="T6" fmla="*/ 489 w 556"/>
                  <a:gd name="T7" fmla="*/ 143 h 218"/>
                  <a:gd name="T8" fmla="*/ 454 w 556"/>
                  <a:gd name="T9" fmla="*/ 167 h 218"/>
                  <a:gd name="T10" fmla="*/ 447 w 556"/>
                  <a:gd name="T11" fmla="*/ 177 h 218"/>
                  <a:gd name="T12" fmla="*/ 440 w 556"/>
                  <a:gd name="T13" fmla="*/ 197 h 218"/>
                  <a:gd name="T14" fmla="*/ 428 w 556"/>
                  <a:gd name="T15" fmla="*/ 216 h 218"/>
                  <a:gd name="T16" fmla="*/ 409 w 556"/>
                  <a:gd name="T17" fmla="*/ 202 h 218"/>
                  <a:gd name="T18" fmla="*/ 387 w 556"/>
                  <a:gd name="T19" fmla="*/ 196 h 218"/>
                  <a:gd name="T20" fmla="*/ 382 w 556"/>
                  <a:gd name="T21" fmla="*/ 192 h 218"/>
                  <a:gd name="T22" fmla="*/ 389 w 556"/>
                  <a:gd name="T23" fmla="*/ 179 h 218"/>
                  <a:gd name="T24" fmla="*/ 392 w 556"/>
                  <a:gd name="T25" fmla="*/ 160 h 218"/>
                  <a:gd name="T26" fmla="*/ 401 w 556"/>
                  <a:gd name="T27" fmla="*/ 138 h 218"/>
                  <a:gd name="T28" fmla="*/ 399 w 556"/>
                  <a:gd name="T29" fmla="*/ 126 h 218"/>
                  <a:gd name="T30" fmla="*/ 398 w 556"/>
                  <a:gd name="T31" fmla="*/ 128 h 218"/>
                  <a:gd name="T32" fmla="*/ 389 w 556"/>
                  <a:gd name="T33" fmla="*/ 136 h 218"/>
                  <a:gd name="T34" fmla="*/ 370 w 556"/>
                  <a:gd name="T35" fmla="*/ 129 h 218"/>
                  <a:gd name="T36" fmla="*/ 369 w 556"/>
                  <a:gd name="T37" fmla="*/ 119 h 218"/>
                  <a:gd name="T38" fmla="*/ 369 w 556"/>
                  <a:gd name="T39" fmla="*/ 94 h 218"/>
                  <a:gd name="T40" fmla="*/ 374 w 556"/>
                  <a:gd name="T41" fmla="*/ 80 h 218"/>
                  <a:gd name="T42" fmla="*/ 379 w 556"/>
                  <a:gd name="T43" fmla="*/ 66 h 218"/>
                  <a:gd name="T44" fmla="*/ 391 w 556"/>
                  <a:gd name="T45" fmla="*/ 49 h 218"/>
                  <a:gd name="T46" fmla="*/ 394 w 556"/>
                  <a:gd name="T47" fmla="*/ 36 h 218"/>
                  <a:gd name="T48" fmla="*/ 398 w 556"/>
                  <a:gd name="T49" fmla="*/ 20 h 218"/>
                  <a:gd name="T50" fmla="*/ 425 w 556"/>
                  <a:gd name="T51" fmla="*/ 10 h 218"/>
                  <a:gd name="T52" fmla="*/ 435 w 556"/>
                  <a:gd name="T53" fmla="*/ 5 h 218"/>
                  <a:gd name="T54" fmla="*/ 447 w 556"/>
                  <a:gd name="T55" fmla="*/ 8 h 218"/>
                  <a:gd name="T56" fmla="*/ 464 w 556"/>
                  <a:gd name="T57" fmla="*/ 20 h 218"/>
                  <a:gd name="T58" fmla="*/ 477 w 556"/>
                  <a:gd name="T59" fmla="*/ 29 h 218"/>
                  <a:gd name="T60" fmla="*/ 493 w 556"/>
                  <a:gd name="T61" fmla="*/ 37 h 218"/>
                  <a:gd name="T62" fmla="*/ 513 w 556"/>
                  <a:gd name="T63" fmla="*/ 41 h 218"/>
                  <a:gd name="T64" fmla="*/ 532 w 556"/>
                  <a:gd name="T65" fmla="*/ 43 h 218"/>
                  <a:gd name="T66" fmla="*/ 554 w 556"/>
                  <a:gd name="T67" fmla="*/ 53 h 218"/>
                  <a:gd name="T68" fmla="*/ 24 w 556"/>
                  <a:gd name="T69" fmla="*/ 65 h 218"/>
                  <a:gd name="T70" fmla="*/ 25 w 556"/>
                  <a:gd name="T71" fmla="*/ 82 h 218"/>
                  <a:gd name="T72" fmla="*/ 5 w 556"/>
                  <a:gd name="T73" fmla="*/ 78 h 218"/>
                  <a:gd name="T74" fmla="*/ 15 w 556"/>
                  <a:gd name="T75" fmla="*/ 63 h 218"/>
                  <a:gd name="T76" fmla="*/ 5 w 556"/>
                  <a:gd name="T77" fmla="*/ 48 h 218"/>
                  <a:gd name="T78" fmla="*/ 44 w 556"/>
                  <a:gd name="T79" fmla="*/ 75 h 218"/>
                  <a:gd name="T80" fmla="*/ 46 w 556"/>
                  <a:gd name="T81" fmla="*/ 65 h 218"/>
                  <a:gd name="T82" fmla="*/ 389 w 556"/>
                  <a:gd name="T83" fmla="*/ 148 h 218"/>
                  <a:gd name="T84" fmla="*/ 8 w 556"/>
                  <a:gd name="T85" fmla="*/ 58 h 218"/>
                  <a:gd name="T86" fmla="*/ 7 w 556"/>
                  <a:gd name="T87" fmla="*/ 58 h 218"/>
                  <a:gd name="T88" fmla="*/ 30 w 556"/>
                  <a:gd name="T89" fmla="*/ 54 h 218"/>
                  <a:gd name="T90" fmla="*/ 71 w 556"/>
                  <a:gd name="T91" fmla="*/ 78 h 218"/>
                  <a:gd name="T92" fmla="*/ 41 w 556"/>
                  <a:gd name="T93" fmla="*/ 90 h 218"/>
                  <a:gd name="T94" fmla="*/ 399 w 556"/>
                  <a:gd name="T95" fmla="*/ 136 h 218"/>
                  <a:gd name="T96" fmla="*/ 391 w 556"/>
                  <a:gd name="T97" fmla="*/ 136 h 218"/>
                  <a:gd name="T98" fmla="*/ 403 w 556"/>
                  <a:gd name="T99" fmla="*/ 138 h 218"/>
                  <a:gd name="T100" fmla="*/ 428 w 556"/>
                  <a:gd name="T101" fmla="*/ 5 h 218"/>
                  <a:gd name="T102" fmla="*/ 66 w 556"/>
                  <a:gd name="T103" fmla="*/ 95 h 218"/>
                  <a:gd name="T104" fmla="*/ 391 w 556"/>
                  <a:gd name="T105" fmla="*/ 145 h 218"/>
                  <a:gd name="T106" fmla="*/ 394 w 556"/>
                  <a:gd name="T107" fmla="*/ 124 h 218"/>
                  <a:gd name="T108" fmla="*/ 394 w 556"/>
                  <a:gd name="T109" fmla="*/ 138 h 218"/>
                  <a:gd name="T110" fmla="*/ 392 w 556"/>
                  <a:gd name="T111" fmla="*/ 129 h 218"/>
                  <a:gd name="T112" fmla="*/ 387 w 556"/>
                  <a:gd name="T113" fmla="*/ 162 h 218"/>
                  <a:gd name="T114" fmla="*/ 392 w 556"/>
                  <a:gd name="T115" fmla="*/ 36 h 218"/>
                  <a:gd name="T116" fmla="*/ 394 w 556"/>
                  <a:gd name="T117" fmla="*/ 129 h 218"/>
                  <a:gd name="T118" fmla="*/ 396 w 556"/>
                  <a:gd name="T119" fmla="*/ 131 h 218"/>
                  <a:gd name="T120" fmla="*/ 399 w 556"/>
                  <a:gd name="T121" fmla="*/ 134 h 218"/>
                  <a:gd name="T122" fmla="*/ 387 w 556"/>
                  <a:gd name="T123" fmla="*/ 139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56" h="218">
                    <a:moveTo>
                      <a:pt x="554" y="53"/>
                    </a:moveTo>
                    <a:lnTo>
                      <a:pt x="552" y="54"/>
                    </a:lnTo>
                    <a:lnTo>
                      <a:pt x="551" y="54"/>
                    </a:lnTo>
                    <a:lnTo>
                      <a:pt x="549" y="54"/>
                    </a:lnTo>
                    <a:lnTo>
                      <a:pt x="547" y="54"/>
                    </a:lnTo>
                    <a:lnTo>
                      <a:pt x="547" y="53"/>
                    </a:lnTo>
                    <a:lnTo>
                      <a:pt x="545" y="53"/>
                    </a:lnTo>
                    <a:lnTo>
                      <a:pt x="544" y="53"/>
                    </a:lnTo>
                    <a:lnTo>
                      <a:pt x="542" y="53"/>
                    </a:lnTo>
                    <a:lnTo>
                      <a:pt x="542" y="54"/>
                    </a:lnTo>
                    <a:lnTo>
                      <a:pt x="544" y="54"/>
                    </a:lnTo>
                    <a:lnTo>
                      <a:pt x="544" y="56"/>
                    </a:lnTo>
                    <a:lnTo>
                      <a:pt x="545" y="56"/>
                    </a:lnTo>
                    <a:lnTo>
                      <a:pt x="547" y="58"/>
                    </a:lnTo>
                    <a:lnTo>
                      <a:pt x="545" y="58"/>
                    </a:lnTo>
                    <a:lnTo>
                      <a:pt x="547" y="58"/>
                    </a:lnTo>
                    <a:lnTo>
                      <a:pt x="547" y="60"/>
                    </a:lnTo>
                    <a:lnTo>
                      <a:pt x="547" y="61"/>
                    </a:lnTo>
                    <a:lnTo>
                      <a:pt x="549" y="61"/>
                    </a:lnTo>
                    <a:lnTo>
                      <a:pt x="549" y="63"/>
                    </a:lnTo>
                    <a:lnTo>
                      <a:pt x="551" y="65"/>
                    </a:lnTo>
                    <a:lnTo>
                      <a:pt x="552" y="65"/>
                    </a:lnTo>
                    <a:lnTo>
                      <a:pt x="552" y="66"/>
                    </a:lnTo>
                    <a:lnTo>
                      <a:pt x="554" y="66"/>
                    </a:lnTo>
                    <a:lnTo>
                      <a:pt x="554" y="68"/>
                    </a:lnTo>
                    <a:lnTo>
                      <a:pt x="556" y="68"/>
                    </a:lnTo>
                    <a:lnTo>
                      <a:pt x="554" y="68"/>
                    </a:lnTo>
                    <a:lnTo>
                      <a:pt x="554" y="70"/>
                    </a:lnTo>
                    <a:lnTo>
                      <a:pt x="556" y="70"/>
                    </a:lnTo>
                    <a:lnTo>
                      <a:pt x="554" y="71"/>
                    </a:lnTo>
                    <a:lnTo>
                      <a:pt x="554" y="70"/>
                    </a:lnTo>
                    <a:lnTo>
                      <a:pt x="554" y="71"/>
                    </a:lnTo>
                    <a:lnTo>
                      <a:pt x="554" y="70"/>
                    </a:lnTo>
                    <a:lnTo>
                      <a:pt x="554" y="71"/>
                    </a:lnTo>
                    <a:lnTo>
                      <a:pt x="554" y="73"/>
                    </a:lnTo>
                    <a:lnTo>
                      <a:pt x="554" y="75"/>
                    </a:lnTo>
                    <a:lnTo>
                      <a:pt x="554" y="77"/>
                    </a:lnTo>
                    <a:lnTo>
                      <a:pt x="554" y="78"/>
                    </a:lnTo>
                    <a:lnTo>
                      <a:pt x="556" y="78"/>
                    </a:lnTo>
                    <a:lnTo>
                      <a:pt x="556" y="80"/>
                    </a:lnTo>
                    <a:lnTo>
                      <a:pt x="554" y="80"/>
                    </a:lnTo>
                    <a:lnTo>
                      <a:pt x="556" y="82"/>
                    </a:lnTo>
                    <a:lnTo>
                      <a:pt x="554" y="82"/>
                    </a:lnTo>
                    <a:lnTo>
                      <a:pt x="552" y="82"/>
                    </a:lnTo>
                    <a:lnTo>
                      <a:pt x="551" y="82"/>
                    </a:lnTo>
                    <a:lnTo>
                      <a:pt x="551" y="80"/>
                    </a:lnTo>
                    <a:lnTo>
                      <a:pt x="549" y="80"/>
                    </a:lnTo>
                    <a:lnTo>
                      <a:pt x="549" y="82"/>
                    </a:lnTo>
                    <a:lnTo>
                      <a:pt x="547" y="88"/>
                    </a:lnTo>
                    <a:lnTo>
                      <a:pt x="547" y="90"/>
                    </a:lnTo>
                    <a:lnTo>
                      <a:pt x="545" y="97"/>
                    </a:lnTo>
                    <a:lnTo>
                      <a:pt x="544" y="99"/>
                    </a:lnTo>
                    <a:lnTo>
                      <a:pt x="544" y="100"/>
                    </a:lnTo>
                    <a:lnTo>
                      <a:pt x="544" y="102"/>
                    </a:lnTo>
                    <a:lnTo>
                      <a:pt x="542" y="100"/>
                    </a:lnTo>
                    <a:lnTo>
                      <a:pt x="542" y="102"/>
                    </a:lnTo>
                    <a:lnTo>
                      <a:pt x="540" y="104"/>
                    </a:lnTo>
                    <a:lnTo>
                      <a:pt x="539" y="107"/>
                    </a:lnTo>
                    <a:lnTo>
                      <a:pt x="535" y="109"/>
                    </a:lnTo>
                    <a:lnTo>
                      <a:pt x="535" y="111"/>
                    </a:lnTo>
                    <a:lnTo>
                      <a:pt x="532" y="114"/>
                    </a:lnTo>
                    <a:lnTo>
                      <a:pt x="528" y="119"/>
                    </a:lnTo>
                    <a:lnTo>
                      <a:pt x="527" y="121"/>
                    </a:lnTo>
                    <a:lnTo>
                      <a:pt x="527" y="122"/>
                    </a:lnTo>
                    <a:lnTo>
                      <a:pt x="523" y="124"/>
                    </a:lnTo>
                    <a:lnTo>
                      <a:pt x="518" y="128"/>
                    </a:lnTo>
                    <a:lnTo>
                      <a:pt x="515" y="129"/>
                    </a:lnTo>
                    <a:lnTo>
                      <a:pt x="513" y="131"/>
                    </a:lnTo>
                    <a:lnTo>
                      <a:pt x="511" y="134"/>
                    </a:lnTo>
                    <a:lnTo>
                      <a:pt x="510" y="134"/>
                    </a:lnTo>
                    <a:lnTo>
                      <a:pt x="508" y="136"/>
                    </a:lnTo>
                    <a:lnTo>
                      <a:pt x="506" y="136"/>
                    </a:lnTo>
                    <a:lnTo>
                      <a:pt x="505" y="138"/>
                    </a:lnTo>
                    <a:lnTo>
                      <a:pt x="503" y="138"/>
                    </a:lnTo>
                    <a:lnTo>
                      <a:pt x="501" y="138"/>
                    </a:lnTo>
                    <a:lnTo>
                      <a:pt x="489" y="143"/>
                    </a:lnTo>
                    <a:lnTo>
                      <a:pt x="476" y="148"/>
                    </a:lnTo>
                    <a:lnTo>
                      <a:pt x="471" y="148"/>
                    </a:lnTo>
                    <a:lnTo>
                      <a:pt x="467" y="150"/>
                    </a:lnTo>
                    <a:lnTo>
                      <a:pt x="464" y="153"/>
                    </a:lnTo>
                    <a:lnTo>
                      <a:pt x="462" y="153"/>
                    </a:lnTo>
                    <a:lnTo>
                      <a:pt x="462" y="155"/>
                    </a:lnTo>
                    <a:lnTo>
                      <a:pt x="460" y="155"/>
                    </a:lnTo>
                    <a:lnTo>
                      <a:pt x="460" y="156"/>
                    </a:lnTo>
                    <a:lnTo>
                      <a:pt x="459" y="156"/>
                    </a:lnTo>
                    <a:lnTo>
                      <a:pt x="459" y="158"/>
                    </a:lnTo>
                    <a:lnTo>
                      <a:pt x="457" y="160"/>
                    </a:lnTo>
                    <a:lnTo>
                      <a:pt x="457" y="162"/>
                    </a:lnTo>
                    <a:lnTo>
                      <a:pt x="455" y="162"/>
                    </a:lnTo>
                    <a:lnTo>
                      <a:pt x="455" y="163"/>
                    </a:lnTo>
                    <a:lnTo>
                      <a:pt x="455" y="165"/>
                    </a:lnTo>
                    <a:lnTo>
                      <a:pt x="457" y="165"/>
                    </a:lnTo>
                    <a:lnTo>
                      <a:pt x="457" y="167"/>
                    </a:lnTo>
                    <a:lnTo>
                      <a:pt x="455" y="167"/>
                    </a:lnTo>
                    <a:lnTo>
                      <a:pt x="454" y="167"/>
                    </a:lnTo>
                    <a:lnTo>
                      <a:pt x="454" y="165"/>
                    </a:lnTo>
                    <a:lnTo>
                      <a:pt x="454" y="163"/>
                    </a:lnTo>
                    <a:lnTo>
                      <a:pt x="452" y="163"/>
                    </a:lnTo>
                    <a:lnTo>
                      <a:pt x="450" y="163"/>
                    </a:lnTo>
                    <a:lnTo>
                      <a:pt x="449" y="163"/>
                    </a:lnTo>
                    <a:lnTo>
                      <a:pt x="450" y="163"/>
                    </a:lnTo>
                    <a:lnTo>
                      <a:pt x="449" y="163"/>
                    </a:lnTo>
                    <a:lnTo>
                      <a:pt x="450" y="165"/>
                    </a:lnTo>
                    <a:lnTo>
                      <a:pt x="449" y="165"/>
                    </a:lnTo>
                    <a:lnTo>
                      <a:pt x="449" y="167"/>
                    </a:lnTo>
                    <a:lnTo>
                      <a:pt x="449" y="168"/>
                    </a:lnTo>
                    <a:lnTo>
                      <a:pt x="449" y="170"/>
                    </a:lnTo>
                    <a:lnTo>
                      <a:pt x="449" y="172"/>
                    </a:lnTo>
                    <a:lnTo>
                      <a:pt x="447" y="172"/>
                    </a:lnTo>
                    <a:lnTo>
                      <a:pt x="449" y="172"/>
                    </a:lnTo>
                    <a:lnTo>
                      <a:pt x="449" y="173"/>
                    </a:lnTo>
                    <a:lnTo>
                      <a:pt x="447" y="173"/>
                    </a:lnTo>
                    <a:lnTo>
                      <a:pt x="447" y="175"/>
                    </a:lnTo>
                    <a:lnTo>
                      <a:pt x="447" y="177"/>
                    </a:lnTo>
                    <a:lnTo>
                      <a:pt x="447" y="179"/>
                    </a:lnTo>
                    <a:lnTo>
                      <a:pt x="445" y="179"/>
                    </a:lnTo>
                    <a:lnTo>
                      <a:pt x="445" y="180"/>
                    </a:lnTo>
                    <a:lnTo>
                      <a:pt x="445" y="182"/>
                    </a:lnTo>
                    <a:lnTo>
                      <a:pt x="443" y="182"/>
                    </a:lnTo>
                    <a:lnTo>
                      <a:pt x="443" y="184"/>
                    </a:lnTo>
                    <a:lnTo>
                      <a:pt x="442" y="184"/>
                    </a:lnTo>
                    <a:lnTo>
                      <a:pt x="442" y="185"/>
                    </a:lnTo>
                    <a:lnTo>
                      <a:pt x="443" y="185"/>
                    </a:lnTo>
                    <a:lnTo>
                      <a:pt x="443" y="187"/>
                    </a:lnTo>
                    <a:lnTo>
                      <a:pt x="442" y="187"/>
                    </a:lnTo>
                    <a:lnTo>
                      <a:pt x="442" y="189"/>
                    </a:lnTo>
                    <a:lnTo>
                      <a:pt x="442" y="190"/>
                    </a:lnTo>
                    <a:lnTo>
                      <a:pt x="440" y="190"/>
                    </a:lnTo>
                    <a:lnTo>
                      <a:pt x="440" y="192"/>
                    </a:lnTo>
                    <a:lnTo>
                      <a:pt x="442" y="192"/>
                    </a:lnTo>
                    <a:lnTo>
                      <a:pt x="440" y="194"/>
                    </a:lnTo>
                    <a:lnTo>
                      <a:pt x="440" y="196"/>
                    </a:lnTo>
                    <a:lnTo>
                      <a:pt x="440" y="197"/>
                    </a:lnTo>
                    <a:lnTo>
                      <a:pt x="442" y="199"/>
                    </a:lnTo>
                    <a:lnTo>
                      <a:pt x="440" y="199"/>
                    </a:lnTo>
                    <a:lnTo>
                      <a:pt x="440" y="201"/>
                    </a:lnTo>
                    <a:lnTo>
                      <a:pt x="438" y="202"/>
                    </a:lnTo>
                    <a:lnTo>
                      <a:pt x="438" y="204"/>
                    </a:lnTo>
                    <a:lnTo>
                      <a:pt x="437" y="206"/>
                    </a:lnTo>
                    <a:lnTo>
                      <a:pt x="435" y="206"/>
                    </a:lnTo>
                    <a:lnTo>
                      <a:pt x="433" y="206"/>
                    </a:lnTo>
                    <a:lnTo>
                      <a:pt x="432" y="208"/>
                    </a:lnTo>
                    <a:lnTo>
                      <a:pt x="432" y="209"/>
                    </a:lnTo>
                    <a:lnTo>
                      <a:pt x="432" y="211"/>
                    </a:lnTo>
                    <a:lnTo>
                      <a:pt x="430" y="211"/>
                    </a:lnTo>
                    <a:lnTo>
                      <a:pt x="432" y="211"/>
                    </a:lnTo>
                    <a:lnTo>
                      <a:pt x="432" y="213"/>
                    </a:lnTo>
                    <a:lnTo>
                      <a:pt x="430" y="213"/>
                    </a:lnTo>
                    <a:lnTo>
                      <a:pt x="432" y="214"/>
                    </a:lnTo>
                    <a:lnTo>
                      <a:pt x="430" y="214"/>
                    </a:lnTo>
                    <a:lnTo>
                      <a:pt x="428" y="214"/>
                    </a:lnTo>
                    <a:lnTo>
                      <a:pt x="428" y="216"/>
                    </a:lnTo>
                    <a:lnTo>
                      <a:pt x="428" y="218"/>
                    </a:lnTo>
                    <a:lnTo>
                      <a:pt x="426" y="218"/>
                    </a:lnTo>
                    <a:lnTo>
                      <a:pt x="425" y="218"/>
                    </a:lnTo>
                    <a:lnTo>
                      <a:pt x="423" y="218"/>
                    </a:lnTo>
                    <a:lnTo>
                      <a:pt x="423" y="216"/>
                    </a:lnTo>
                    <a:lnTo>
                      <a:pt x="421" y="216"/>
                    </a:lnTo>
                    <a:lnTo>
                      <a:pt x="420" y="216"/>
                    </a:lnTo>
                    <a:lnTo>
                      <a:pt x="418" y="216"/>
                    </a:lnTo>
                    <a:lnTo>
                      <a:pt x="418" y="214"/>
                    </a:lnTo>
                    <a:lnTo>
                      <a:pt x="416" y="214"/>
                    </a:lnTo>
                    <a:lnTo>
                      <a:pt x="415" y="213"/>
                    </a:lnTo>
                    <a:lnTo>
                      <a:pt x="413" y="211"/>
                    </a:lnTo>
                    <a:lnTo>
                      <a:pt x="413" y="209"/>
                    </a:lnTo>
                    <a:lnTo>
                      <a:pt x="413" y="208"/>
                    </a:lnTo>
                    <a:lnTo>
                      <a:pt x="411" y="206"/>
                    </a:lnTo>
                    <a:lnTo>
                      <a:pt x="411" y="204"/>
                    </a:lnTo>
                    <a:lnTo>
                      <a:pt x="411" y="202"/>
                    </a:lnTo>
                    <a:lnTo>
                      <a:pt x="409" y="201"/>
                    </a:lnTo>
                    <a:lnTo>
                      <a:pt x="409" y="202"/>
                    </a:lnTo>
                    <a:lnTo>
                      <a:pt x="409" y="201"/>
                    </a:lnTo>
                    <a:lnTo>
                      <a:pt x="408" y="201"/>
                    </a:lnTo>
                    <a:lnTo>
                      <a:pt x="408" y="199"/>
                    </a:lnTo>
                    <a:lnTo>
                      <a:pt x="406" y="199"/>
                    </a:lnTo>
                    <a:lnTo>
                      <a:pt x="404" y="199"/>
                    </a:lnTo>
                    <a:lnTo>
                      <a:pt x="404" y="201"/>
                    </a:lnTo>
                    <a:lnTo>
                      <a:pt x="403" y="201"/>
                    </a:lnTo>
                    <a:lnTo>
                      <a:pt x="401" y="201"/>
                    </a:lnTo>
                    <a:lnTo>
                      <a:pt x="399" y="201"/>
                    </a:lnTo>
                    <a:lnTo>
                      <a:pt x="399" y="199"/>
                    </a:lnTo>
                    <a:lnTo>
                      <a:pt x="398" y="197"/>
                    </a:lnTo>
                    <a:lnTo>
                      <a:pt x="396" y="197"/>
                    </a:lnTo>
                    <a:lnTo>
                      <a:pt x="394" y="197"/>
                    </a:lnTo>
                    <a:lnTo>
                      <a:pt x="392" y="196"/>
                    </a:lnTo>
                    <a:lnTo>
                      <a:pt x="392" y="194"/>
                    </a:lnTo>
                    <a:lnTo>
                      <a:pt x="391" y="194"/>
                    </a:lnTo>
                    <a:lnTo>
                      <a:pt x="389" y="194"/>
                    </a:lnTo>
                    <a:lnTo>
                      <a:pt x="387" y="194"/>
                    </a:lnTo>
                    <a:lnTo>
                      <a:pt x="387" y="196"/>
                    </a:lnTo>
                    <a:lnTo>
                      <a:pt x="386" y="196"/>
                    </a:lnTo>
                    <a:lnTo>
                      <a:pt x="386" y="197"/>
                    </a:lnTo>
                    <a:lnTo>
                      <a:pt x="384" y="197"/>
                    </a:lnTo>
                    <a:lnTo>
                      <a:pt x="384" y="199"/>
                    </a:lnTo>
                    <a:lnTo>
                      <a:pt x="382" y="199"/>
                    </a:lnTo>
                    <a:lnTo>
                      <a:pt x="382" y="201"/>
                    </a:lnTo>
                    <a:lnTo>
                      <a:pt x="381" y="201"/>
                    </a:lnTo>
                    <a:lnTo>
                      <a:pt x="379" y="199"/>
                    </a:lnTo>
                    <a:lnTo>
                      <a:pt x="379" y="201"/>
                    </a:lnTo>
                    <a:lnTo>
                      <a:pt x="379" y="199"/>
                    </a:lnTo>
                    <a:lnTo>
                      <a:pt x="379" y="197"/>
                    </a:lnTo>
                    <a:lnTo>
                      <a:pt x="379" y="196"/>
                    </a:lnTo>
                    <a:lnTo>
                      <a:pt x="381" y="196"/>
                    </a:lnTo>
                    <a:lnTo>
                      <a:pt x="381" y="194"/>
                    </a:lnTo>
                    <a:lnTo>
                      <a:pt x="382" y="192"/>
                    </a:lnTo>
                    <a:lnTo>
                      <a:pt x="382" y="190"/>
                    </a:lnTo>
                    <a:lnTo>
                      <a:pt x="384" y="190"/>
                    </a:lnTo>
                    <a:lnTo>
                      <a:pt x="382" y="190"/>
                    </a:lnTo>
                    <a:lnTo>
                      <a:pt x="382" y="192"/>
                    </a:lnTo>
                    <a:lnTo>
                      <a:pt x="381" y="190"/>
                    </a:lnTo>
                    <a:lnTo>
                      <a:pt x="381" y="192"/>
                    </a:lnTo>
                    <a:lnTo>
                      <a:pt x="379" y="190"/>
                    </a:lnTo>
                    <a:lnTo>
                      <a:pt x="379" y="189"/>
                    </a:lnTo>
                    <a:lnTo>
                      <a:pt x="377" y="189"/>
                    </a:lnTo>
                    <a:lnTo>
                      <a:pt x="379" y="187"/>
                    </a:lnTo>
                    <a:lnTo>
                      <a:pt x="377" y="187"/>
                    </a:lnTo>
                    <a:lnTo>
                      <a:pt x="377" y="185"/>
                    </a:lnTo>
                    <a:lnTo>
                      <a:pt x="379" y="185"/>
                    </a:lnTo>
                    <a:lnTo>
                      <a:pt x="379" y="184"/>
                    </a:lnTo>
                    <a:lnTo>
                      <a:pt x="381" y="184"/>
                    </a:lnTo>
                    <a:lnTo>
                      <a:pt x="382" y="184"/>
                    </a:lnTo>
                    <a:lnTo>
                      <a:pt x="384" y="185"/>
                    </a:lnTo>
                    <a:lnTo>
                      <a:pt x="384" y="184"/>
                    </a:lnTo>
                    <a:lnTo>
                      <a:pt x="386" y="184"/>
                    </a:lnTo>
                    <a:lnTo>
                      <a:pt x="386" y="182"/>
                    </a:lnTo>
                    <a:lnTo>
                      <a:pt x="387" y="182"/>
                    </a:lnTo>
                    <a:lnTo>
                      <a:pt x="389" y="180"/>
                    </a:lnTo>
                    <a:lnTo>
                      <a:pt x="389" y="179"/>
                    </a:lnTo>
                    <a:lnTo>
                      <a:pt x="389" y="177"/>
                    </a:lnTo>
                    <a:lnTo>
                      <a:pt x="387" y="177"/>
                    </a:lnTo>
                    <a:lnTo>
                      <a:pt x="387" y="175"/>
                    </a:lnTo>
                    <a:lnTo>
                      <a:pt x="387" y="173"/>
                    </a:lnTo>
                    <a:lnTo>
                      <a:pt x="387" y="172"/>
                    </a:lnTo>
                    <a:lnTo>
                      <a:pt x="387" y="170"/>
                    </a:lnTo>
                    <a:lnTo>
                      <a:pt x="386" y="170"/>
                    </a:lnTo>
                    <a:lnTo>
                      <a:pt x="387" y="168"/>
                    </a:lnTo>
                    <a:lnTo>
                      <a:pt x="386" y="168"/>
                    </a:lnTo>
                    <a:lnTo>
                      <a:pt x="386" y="167"/>
                    </a:lnTo>
                    <a:lnTo>
                      <a:pt x="386" y="165"/>
                    </a:lnTo>
                    <a:lnTo>
                      <a:pt x="387" y="165"/>
                    </a:lnTo>
                    <a:lnTo>
                      <a:pt x="389" y="165"/>
                    </a:lnTo>
                    <a:lnTo>
                      <a:pt x="391" y="165"/>
                    </a:lnTo>
                    <a:lnTo>
                      <a:pt x="392" y="163"/>
                    </a:lnTo>
                    <a:lnTo>
                      <a:pt x="392" y="162"/>
                    </a:lnTo>
                    <a:lnTo>
                      <a:pt x="392" y="163"/>
                    </a:lnTo>
                    <a:lnTo>
                      <a:pt x="392" y="162"/>
                    </a:lnTo>
                    <a:lnTo>
                      <a:pt x="392" y="160"/>
                    </a:lnTo>
                    <a:lnTo>
                      <a:pt x="394" y="160"/>
                    </a:lnTo>
                    <a:lnTo>
                      <a:pt x="394" y="158"/>
                    </a:lnTo>
                    <a:lnTo>
                      <a:pt x="394" y="156"/>
                    </a:lnTo>
                    <a:lnTo>
                      <a:pt x="396" y="156"/>
                    </a:lnTo>
                    <a:lnTo>
                      <a:pt x="398" y="155"/>
                    </a:lnTo>
                    <a:lnTo>
                      <a:pt x="398" y="153"/>
                    </a:lnTo>
                    <a:lnTo>
                      <a:pt x="398" y="151"/>
                    </a:lnTo>
                    <a:lnTo>
                      <a:pt x="398" y="153"/>
                    </a:lnTo>
                    <a:lnTo>
                      <a:pt x="398" y="151"/>
                    </a:lnTo>
                    <a:lnTo>
                      <a:pt x="399" y="151"/>
                    </a:lnTo>
                    <a:lnTo>
                      <a:pt x="399" y="150"/>
                    </a:lnTo>
                    <a:lnTo>
                      <a:pt x="399" y="148"/>
                    </a:lnTo>
                    <a:lnTo>
                      <a:pt x="399" y="146"/>
                    </a:lnTo>
                    <a:lnTo>
                      <a:pt x="399" y="145"/>
                    </a:lnTo>
                    <a:lnTo>
                      <a:pt x="399" y="143"/>
                    </a:lnTo>
                    <a:lnTo>
                      <a:pt x="401" y="143"/>
                    </a:lnTo>
                    <a:lnTo>
                      <a:pt x="401" y="141"/>
                    </a:lnTo>
                    <a:lnTo>
                      <a:pt x="401" y="139"/>
                    </a:lnTo>
                    <a:lnTo>
                      <a:pt x="401" y="138"/>
                    </a:lnTo>
                    <a:lnTo>
                      <a:pt x="403" y="138"/>
                    </a:lnTo>
                    <a:lnTo>
                      <a:pt x="403" y="136"/>
                    </a:lnTo>
                    <a:lnTo>
                      <a:pt x="403" y="134"/>
                    </a:lnTo>
                    <a:lnTo>
                      <a:pt x="403" y="133"/>
                    </a:lnTo>
                    <a:lnTo>
                      <a:pt x="403" y="134"/>
                    </a:lnTo>
                    <a:lnTo>
                      <a:pt x="403" y="133"/>
                    </a:lnTo>
                    <a:lnTo>
                      <a:pt x="401" y="134"/>
                    </a:lnTo>
                    <a:lnTo>
                      <a:pt x="401" y="133"/>
                    </a:lnTo>
                    <a:lnTo>
                      <a:pt x="401" y="131"/>
                    </a:lnTo>
                    <a:lnTo>
                      <a:pt x="399" y="131"/>
                    </a:lnTo>
                    <a:lnTo>
                      <a:pt x="399" y="129"/>
                    </a:lnTo>
                    <a:lnTo>
                      <a:pt x="399" y="128"/>
                    </a:lnTo>
                    <a:lnTo>
                      <a:pt x="399" y="126"/>
                    </a:lnTo>
                    <a:lnTo>
                      <a:pt x="399" y="124"/>
                    </a:lnTo>
                    <a:lnTo>
                      <a:pt x="399" y="122"/>
                    </a:lnTo>
                    <a:lnTo>
                      <a:pt x="398" y="122"/>
                    </a:lnTo>
                    <a:lnTo>
                      <a:pt x="398" y="124"/>
                    </a:lnTo>
                    <a:lnTo>
                      <a:pt x="398" y="126"/>
                    </a:lnTo>
                    <a:lnTo>
                      <a:pt x="399" y="126"/>
                    </a:lnTo>
                    <a:lnTo>
                      <a:pt x="399" y="128"/>
                    </a:lnTo>
                    <a:lnTo>
                      <a:pt x="399" y="129"/>
                    </a:lnTo>
                    <a:lnTo>
                      <a:pt x="399" y="131"/>
                    </a:lnTo>
                    <a:lnTo>
                      <a:pt x="398" y="131"/>
                    </a:lnTo>
                    <a:lnTo>
                      <a:pt x="398" y="133"/>
                    </a:lnTo>
                    <a:lnTo>
                      <a:pt x="398" y="134"/>
                    </a:lnTo>
                    <a:lnTo>
                      <a:pt x="398" y="136"/>
                    </a:lnTo>
                    <a:lnTo>
                      <a:pt x="396" y="136"/>
                    </a:lnTo>
                    <a:lnTo>
                      <a:pt x="396" y="134"/>
                    </a:lnTo>
                    <a:lnTo>
                      <a:pt x="394" y="134"/>
                    </a:lnTo>
                    <a:lnTo>
                      <a:pt x="396" y="134"/>
                    </a:lnTo>
                    <a:lnTo>
                      <a:pt x="396" y="133"/>
                    </a:lnTo>
                    <a:lnTo>
                      <a:pt x="398" y="133"/>
                    </a:lnTo>
                    <a:lnTo>
                      <a:pt x="398" y="131"/>
                    </a:lnTo>
                    <a:lnTo>
                      <a:pt x="398" y="129"/>
                    </a:lnTo>
                    <a:lnTo>
                      <a:pt x="396" y="129"/>
                    </a:lnTo>
                    <a:lnTo>
                      <a:pt x="398" y="128"/>
                    </a:lnTo>
                    <a:lnTo>
                      <a:pt x="396" y="128"/>
                    </a:lnTo>
                    <a:lnTo>
                      <a:pt x="398" y="128"/>
                    </a:lnTo>
                    <a:lnTo>
                      <a:pt x="396" y="126"/>
                    </a:lnTo>
                    <a:lnTo>
                      <a:pt x="398" y="126"/>
                    </a:lnTo>
                    <a:lnTo>
                      <a:pt x="396" y="126"/>
                    </a:lnTo>
                    <a:lnTo>
                      <a:pt x="396" y="124"/>
                    </a:lnTo>
                    <a:lnTo>
                      <a:pt x="394" y="124"/>
                    </a:lnTo>
                    <a:lnTo>
                      <a:pt x="394" y="126"/>
                    </a:lnTo>
                    <a:lnTo>
                      <a:pt x="394" y="128"/>
                    </a:lnTo>
                    <a:lnTo>
                      <a:pt x="396" y="128"/>
                    </a:lnTo>
                    <a:lnTo>
                      <a:pt x="394" y="128"/>
                    </a:lnTo>
                    <a:lnTo>
                      <a:pt x="392" y="128"/>
                    </a:lnTo>
                    <a:lnTo>
                      <a:pt x="392" y="129"/>
                    </a:lnTo>
                    <a:lnTo>
                      <a:pt x="391" y="129"/>
                    </a:lnTo>
                    <a:lnTo>
                      <a:pt x="391" y="131"/>
                    </a:lnTo>
                    <a:lnTo>
                      <a:pt x="391" y="133"/>
                    </a:lnTo>
                    <a:lnTo>
                      <a:pt x="391" y="134"/>
                    </a:lnTo>
                    <a:lnTo>
                      <a:pt x="389" y="134"/>
                    </a:lnTo>
                    <a:lnTo>
                      <a:pt x="389" y="136"/>
                    </a:lnTo>
                    <a:lnTo>
                      <a:pt x="387" y="134"/>
                    </a:lnTo>
                    <a:lnTo>
                      <a:pt x="389" y="136"/>
                    </a:lnTo>
                    <a:lnTo>
                      <a:pt x="387" y="136"/>
                    </a:lnTo>
                    <a:lnTo>
                      <a:pt x="386" y="138"/>
                    </a:lnTo>
                    <a:lnTo>
                      <a:pt x="384" y="138"/>
                    </a:lnTo>
                    <a:lnTo>
                      <a:pt x="386" y="138"/>
                    </a:lnTo>
                    <a:lnTo>
                      <a:pt x="386" y="139"/>
                    </a:lnTo>
                    <a:lnTo>
                      <a:pt x="386" y="141"/>
                    </a:lnTo>
                    <a:lnTo>
                      <a:pt x="384" y="141"/>
                    </a:lnTo>
                    <a:lnTo>
                      <a:pt x="382" y="139"/>
                    </a:lnTo>
                    <a:lnTo>
                      <a:pt x="381" y="139"/>
                    </a:lnTo>
                    <a:lnTo>
                      <a:pt x="381" y="138"/>
                    </a:lnTo>
                    <a:lnTo>
                      <a:pt x="379" y="138"/>
                    </a:lnTo>
                    <a:lnTo>
                      <a:pt x="377" y="138"/>
                    </a:lnTo>
                    <a:lnTo>
                      <a:pt x="377" y="136"/>
                    </a:lnTo>
                    <a:lnTo>
                      <a:pt x="376" y="134"/>
                    </a:lnTo>
                    <a:lnTo>
                      <a:pt x="376" y="133"/>
                    </a:lnTo>
                    <a:lnTo>
                      <a:pt x="374" y="133"/>
                    </a:lnTo>
                    <a:lnTo>
                      <a:pt x="372" y="131"/>
                    </a:lnTo>
                    <a:lnTo>
                      <a:pt x="370" y="131"/>
                    </a:lnTo>
                    <a:lnTo>
                      <a:pt x="370" y="129"/>
                    </a:lnTo>
                    <a:lnTo>
                      <a:pt x="369" y="129"/>
                    </a:lnTo>
                    <a:lnTo>
                      <a:pt x="367" y="129"/>
                    </a:lnTo>
                    <a:lnTo>
                      <a:pt x="365" y="128"/>
                    </a:lnTo>
                    <a:lnTo>
                      <a:pt x="364" y="128"/>
                    </a:lnTo>
                    <a:lnTo>
                      <a:pt x="364" y="126"/>
                    </a:lnTo>
                    <a:lnTo>
                      <a:pt x="362" y="126"/>
                    </a:lnTo>
                    <a:lnTo>
                      <a:pt x="362" y="124"/>
                    </a:lnTo>
                    <a:lnTo>
                      <a:pt x="360" y="124"/>
                    </a:lnTo>
                    <a:lnTo>
                      <a:pt x="360" y="122"/>
                    </a:lnTo>
                    <a:lnTo>
                      <a:pt x="360" y="124"/>
                    </a:lnTo>
                    <a:lnTo>
                      <a:pt x="362" y="122"/>
                    </a:lnTo>
                    <a:lnTo>
                      <a:pt x="362" y="124"/>
                    </a:lnTo>
                    <a:lnTo>
                      <a:pt x="364" y="124"/>
                    </a:lnTo>
                    <a:lnTo>
                      <a:pt x="364" y="122"/>
                    </a:lnTo>
                    <a:lnTo>
                      <a:pt x="365" y="122"/>
                    </a:lnTo>
                    <a:lnTo>
                      <a:pt x="367" y="122"/>
                    </a:lnTo>
                    <a:lnTo>
                      <a:pt x="367" y="121"/>
                    </a:lnTo>
                    <a:lnTo>
                      <a:pt x="369" y="121"/>
                    </a:lnTo>
                    <a:lnTo>
                      <a:pt x="369" y="119"/>
                    </a:lnTo>
                    <a:lnTo>
                      <a:pt x="369" y="117"/>
                    </a:lnTo>
                    <a:lnTo>
                      <a:pt x="369" y="116"/>
                    </a:lnTo>
                    <a:lnTo>
                      <a:pt x="369" y="114"/>
                    </a:lnTo>
                    <a:lnTo>
                      <a:pt x="369" y="112"/>
                    </a:lnTo>
                    <a:lnTo>
                      <a:pt x="369" y="111"/>
                    </a:lnTo>
                    <a:lnTo>
                      <a:pt x="369" y="109"/>
                    </a:lnTo>
                    <a:lnTo>
                      <a:pt x="367" y="109"/>
                    </a:lnTo>
                    <a:lnTo>
                      <a:pt x="367" y="107"/>
                    </a:lnTo>
                    <a:lnTo>
                      <a:pt x="367" y="105"/>
                    </a:lnTo>
                    <a:lnTo>
                      <a:pt x="365" y="105"/>
                    </a:lnTo>
                    <a:lnTo>
                      <a:pt x="365" y="104"/>
                    </a:lnTo>
                    <a:lnTo>
                      <a:pt x="365" y="102"/>
                    </a:lnTo>
                    <a:lnTo>
                      <a:pt x="367" y="102"/>
                    </a:lnTo>
                    <a:lnTo>
                      <a:pt x="367" y="100"/>
                    </a:lnTo>
                    <a:lnTo>
                      <a:pt x="367" y="99"/>
                    </a:lnTo>
                    <a:lnTo>
                      <a:pt x="369" y="99"/>
                    </a:lnTo>
                    <a:lnTo>
                      <a:pt x="369" y="97"/>
                    </a:lnTo>
                    <a:lnTo>
                      <a:pt x="369" y="95"/>
                    </a:lnTo>
                    <a:lnTo>
                      <a:pt x="369" y="94"/>
                    </a:lnTo>
                    <a:lnTo>
                      <a:pt x="367" y="92"/>
                    </a:lnTo>
                    <a:lnTo>
                      <a:pt x="367" y="90"/>
                    </a:lnTo>
                    <a:lnTo>
                      <a:pt x="365" y="90"/>
                    </a:lnTo>
                    <a:lnTo>
                      <a:pt x="365" y="88"/>
                    </a:lnTo>
                    <a:lnTo>
                      <a:pt x="364" y="88"/>
                    </a:lnTo>
                    <a:lnTo>
                      <a:pt x="364" y="87"/>
                    </a:lnTo>
                    <a:lnTo>
                      <a:pt x="364" y="85"/>
                    </a:lnTo>
                    <a:lnTo>
                      <a:pt x="364" y="83"/>
                    </a:lnTo>
                    <a:lnTo>
                      <a:pt x="365" y="83"/>
                    </a:lnTo>
                    <a:lnTo>
                      <a:pt x="365" y="82"/>
                    </a:lnTo>
                    <a:lnTo>
                      <a:pt x="367" y="82"/>
                    </a:lnTo>
                    <a:lnTo>
                      <a:pt x="369" y="80"/>
                    </a:lnTo>
                    <a:lnTo>
                      <a:pt x="369" y="82"/>
                    </a:lnTo>
                    <a:lnTo>
                      <a:pt x="370" y="82"/>
                    </a:lnTo>
                    <a:lnTo>
                      <a:pt x="370" y="80"/>
                    </a:lnTo>
                    <a:lnTo>
                      <a:pt x="372" y="80"/>
                    </a:lnTo>
                    <a:lnTo>
                      <a:pt x="372" y="82"/>
                    </a:lnTo>
                    <a:lnTo>
                      <a:pt x="372" y="80"/>
                    </a:lnTo>
                    <a:lnTo>
                      <a:pt x="374" y="80"/>
                    </a:lnTo>
                    <a:lnTo>
                      <a:pt x="376" y="80"/>
                    </a:lnTo>
                    <a:lnTo>
                      <a:pt x="376" y="78"/>
                    </a:lnTo>
                    <a:lnTo>
                      <a:pt x="376" y="77"/>
                    </a:lnTo>
                    <a:lnTo>
                      <a:pt x="376" y="75"/>
                    </a:lnTo>
                    <a:lnTo>
                      <a:pt x="377" y="75"/>
                    </a:lnTo>
                    <a:lnTo>
                      <a:pt x="377" y="73"/>
                    </a:lnTo>
                    <a:lnTo>
                      <a:pt x="377" y="71"/>
                    </a:lnTo>
                    <a:lnTo>
                      <a:pt x="377" y="70"/>
                    </a:lnTo>
                    <a:lnTo>
                      <a:pt x="379" y="70"/>
                    </a:lnTo>
                    <a:lnTo>
                      <a:pt x="381" y="71"/>
                    </a:lnTo>
                    <a:lnTo>
                      <a:pt x="382" y="71"/>
                    </a:lnTo>
                    <a:lnTo>
                      <a:pt x="384" y="71"/>
                    </a:lnTo>
                    <a:lnTo>
                      <a:pt x="382" y="71"/>
                    </a:lnTo>
                    <a:lnTo>
                      <a:pt x="382" y="70"/>
                    </a:lnTo>
                    <a:lnTo>
                      <a:pt x="381" y="71"/>
                    </a:lnTo>
                    <a:lnTo>
                      <a:pt x="381" y="70"/>
                    </a:lnTo>
                    <a:lnTo>
                      <a:pt x="381" y="68"/>
                    </a:lnTo>
                    <a:lnTo>
                      <a:pt x="379" y="68"/>
                    </a:lnTo>
                    <a:lnTo>
                      <a:pt x="379" y="66"/>
                    </a:lnTo>
                    <a:lnTo>
                      <a:pt x="379" y="65"/>
                    </a:lnTo>
                    <a:lnTo>
                      <a:pt x="377" y="65"/>
                    </a:lnTo>
                    <a:lnTo>
                      <a:pt x="377" y="63"/>
                    </a:lnTo>
                    <a:lnTo>
                      <a:pt x="377" y="61"/>
                    </a:lnTo>
                    <a:lnTo>
                      <a:pt x="379" y="61"/>
                    </a:lnTo>
                    <a:lnTo>
                      <a:pt x="379" y="60"/>
                    </a:lnTo>
                    <a:lnTo>
                      <a:pt x="381" y="60"/>
                    </a:lnTo>
                    <a:lnTo>
                      <a:pt x="381" y="58"/>
                    </a:lnTo>
                    <a:lnTo>
                      <a:pt x="381" y="56"/>
                    </a:lnTo>
                    <a:lnTo>
                      <a:pt x="382" y="56"/>
                    </a:lnTo>
                    <a:lnTo>
                      <a:pt x="382" y="54"/>
                    </a:lnTo>
                    <a:lnTo>
                      <a:pt x="384" y="54"/>
                    </a:lnTo>
                    <a:lnTo>
                      <a:pt x="386" y="54"/>
                    </a:lnTo>
                    <a:lnTo>
                      <a:pt x="386" y="53"/>
                    </a:lnTo>
                    <a:lnTo>
                      <a:pt x="387" y="53"/>
                    </a:lnTo>
                    <a:lnTo>
                      <a:pt x="387" y="51"/>
                    </a:lnTo>
                    <a:lnTo>
                      <a:pt x="389" y="51"/>
                    </a:lnTo>
                    <a:lnTo>
                      <a:pt x="389" y="49"/>
                    </a:lnTo>
                    <a:lnTo>
                      <a:pt x="391" y="49"/>
                    </a:lnTo>
                    <a:lnTo>
                      <a:pt x="391" y="48"/>
                    </a:lnTo>
                    <a:lnTo>
                      <a:pt x="392" y="46"/>
                    </a:lnTo>
                    <a:lnTo>
                      <a:pt x="392" y="44"/>
                    </a:lnTo>
                    <a:lnTo>
                      <a:pt x="392" y="43"/>
                    </a:lnTo>
                    <a:lnTo>
                      <a:pt x="392" y="41"/>
                    </a:lnTo>
                    <a:lnTo>
                      <a:pt x="392" y="39"/>
                    </a:lnTo>
                    <a:lnTo>
                      <a:pt x="392" y="37"/>
                    </a:lnTo>
                    <a:lnTo>
                      <a:pt x="392" y="36"/>
                    </a:lnTo>
                    <a:lnTo>
                      <a:pt x="392" y="37"/>
                    </a:lnTo>
                    <a:lnTo>
                      <a:pt x="394" y="37"/>
                    </a:lnTo>
                    <a:lnTo>
                      <a:pt x="394" y="39"/>
                    </a:lnTo>
                    <a:lnTo>
                      <a:pt x="394" y="41"/>
                    </a:lnTo>
                    <a:lnTo>
                      <a:pt x="394" y="43"/>
                    </a:lnTo>
                    <a:lnTo>
                      <a:pt x="396" y="43"/>
                    </a:lnTo>
                    <a:lnTo>
                      <a:pt x="396" y="41"/>
                    </a:lnTo>
                    <a:lnTo>
                      <a:pt x="396" y="39"/>
                    </a:lnTo>
                    <a:lnTo>
                      <a:pt x="394" y="39"/>
                    </a:lnTo>
                    <a:lnTo>
                      <a:pt x="394" y="37"/>
                    </a:lnTo>
                    <a:lnTo>
                      <a:pt x="394" y="36"/>
                    </a:lnTo>
                    <a:lnTo>
                      <a:pt x="392" y="36"/>
                    </a:lnTo>
                    <a:lnTo>
                      <a:pt x="392" y="34"/>
                    </a:lnTo>
                    <a:lnTo>
                      <a:pt x="392" y="32"/>
                    </a:lnTo>
                    <a:lnTo>
                      <a:pt x="394" y="31"/>
                    </a:lnTo>
                    <a:lnTo>
                      <a:pt x="394" y="29"/>
                    </a:lnTo>
                    <a:lnTo>
                      <a:pt x="392" y="29"/>
                    </a:lnTo>
                    <a:lnTo>
                      <a:pt x="392" y="27"/>
                    </a:lnTo>
                    <a:lnTo>
                      <a:pt x="391" y="27"/>
                    </a:lnTo>
                    <a:lnTo>
                      <a:pt x="391" y="25"/>
                    </a:lnTo>
                    <a:lnTo>
                      <a:pt x="391" y="24"/>
                    </a:lnTo>
                    <a:lnTo>
                      <a:pt x="391" y="22"/>
                    </a:lnTo>
                    <a:lnTo>
                      <a:pt x="392" y="22"/>
                    </a:lnTo>
                    <a:lnTo>
                      <a:pt x="392" y="20"/>
                    </a:lnTo>
                    <a:lnTo>
                      <a:pt x="394" y="22"/>
                    </a:lnTo>
                    <a:lnTo>
                      <a:pt x="394" y="20"/>
                    </a:lnTo>
                    <a:lnTo>
                      <a:pt x="396" y="20"/>
                    </a:lnTo>
                    <a:lnTo>
                      <a:pt x="398" y="20"/>
                    </a:lnTo>
                    <a:lnTo>
                      <a:pt x="398" y="19"/>
                    </a:lnTo>
                    <a:lnTo>
                      <a:pt x="398" y="20"/>
                    </a:lnTo>
                    <a:lnTo>
                      <a:pt x="399" y="19"/>
                    </a:lnTo>
                    <a:lnTo>
                      <a:pt x="401" y="19"/>
                    </a:lnTo>
                    <a:lnTo>
                      <a:pt x="401" y="17"/>
                    </a:lnTo>
                    <a:lnTo>
                      <a:pt x="403" y="17"/>
                    </a:lnTo>
                    <a:lnTo>
                      <a:pt x="404" y="15"/>
                    </a:lnTo>
                    <a:lnTo>
                      <a:pt x="406" y="15"/>
                    </a:lnTo>
                    <a:lnTo>
                      <a:pt x="408" y="15"/>
                    </a:lnTo>
                    <a:lnTo>
                      <a:pt x="409" y="15"/>
                    </a:lnTo>
                    <a:lnTo>
                      <a:pt x="411" y="14"/>
                    </a:lnTo>
                    <a:lnTo>
                      <a:pt x="413" y="14"/>
                    </a:lnTo>
                    <a:lnTo>
                      <a:pt x="413" y="12"/>
                    </a:lnTo>
                    <a:lnTo>
                      <a:pt x="415" y="12"/>
                    </a:lnTo>
                    <a:lnTo>
                      <a:pt x="416" y="12"/>
                    </a:lnTo>
                    <a:lnTo>
                      <a:pt x="418" y="12"/>
                    </a:lnTo>
                    <a:lnTo>
                      <a:pt x="420" y="12"/>
                    </a:lnTo>
                    <a:lnTo>
                      <a:pt x="421" y="12"/>
                    </a:lnTo>
                    <a:lnTo>
                      <a:pt x="423" y="12"/>
                    </a:lnTo>
                    <a:lnTo>
                      <a:pt x="423" y="10"/>
                    </a:lnTo>
                    <a:lnTo>
                      <a:pt x="425" y="10"/>
                    </a:lnTo>
                    <a:lnTo>
                      <a:pt x="425" y="8"/>
                    </a:lnTo>
                    <a:lnTo>
                      <a:pt x="426" y="7"/>
                    </a:lnTo>
                    <a:lnTo>
                      <a:pt x="426" y="8"/>
                    </a:lnTo>
                    <a:lnTo>
                      <a:pt x="428" y="10"/>
                    </a:lnTo>
                    <a:lnTo>
                      <a:pt x="428" y="12"/>
                    </a:lnTo>
                    <a:lnTo>
                      <a:pt x="428" y="10"/>
                    </a:lnTo>
                    <a:lnTo>
                      <a:pt x="430" y="10"/>
                    </a:lnTo>
                    <a:lnTo>
                      <a:pt x="428" y="10"/>
                    </a:lnTo>
                    <a:lnTo>
                      <a:pt x="430" y="10"/>
                    </a:lnTo>
                    <a:lnTo>
                      <a:pt x="430" y="8"/>
                    </a:lnTo>
                    <a:lnTo>
                      <a:pt x="428" y="8"/>
                    </a:lnTo>
                    <a:lnTo>
                      <a:pt x="430" y="8"/>
                    </a:lnTo>
                    <a:lnTo>
                      <a:pt x="428" y="8"/>
                    </a:lnTo>
                    <a:lnTo>
                      <a:pt x="428" y="7"/>
                    </a:lnTo>
                    <a:lnTo>
                      <a:pt x="430" y="7"/>
                    </a:lnTo>
                    <a:lnTo>
                      <a:pt x="432" y="7"/>
                    </a:lnTo>
                    <a:lnTo>
                      <a:pt x="432" y="5"/>
                    </a:lnTo>
                    <a:lnTo>
                      <a:pt x="433" y="5"/>
                    </a:lnTo>
                    <a:lnTo>
                      <a:pt x="435" y="5"/>
                    </a:lnTo>
                    <a:lnTo>
                      <a:pt x="433" y="5"/>
                    </a:lnTo>
                    <a:lnTo>
                      <a:pt x="432" y="5"/>
                    </a:lnTo>
                    <a:lnTo>
                      <a:pt x="432" y="3"/>
                    </a:lnTo>
                    <a:lnTo>
                      <a:pt x="433" y="2"/>
                    </a:lnTo>
                    <a:lnTo>
                      <a:pt x="433" y="3"/>
                    </a:lnTo>
                    <a:lnTo>
                      <a:pt x="433" y="2"/>
                    </a:lnTo>
                    <a:lnTo>
                      <a:pt x="433" y="0"/>
                    </a:lnTo>
                    <a:lnTo>
                      <a:pt x="435" y="2"/>
                    </a:lnTo>
                    <a:lnTo>
                      <a:pt x="437" y="2"/>
                    </a:lnTo>
                    <a:lnTo>
                      <a:pt x="437" y="3"/>
                    </a:lnTo>
                    <a:lnTo>
                      <a:pt x="438" y="3"/>
                    </a:lnTo>
                    <a:lnTo>
                      <a:pt x="438" y="5"/>
                    </a:lnTo>
                    <a:lnTo>
                      <a:pt x="440" y="5"/>
                    </a:lnTo>
                    <a:lnTo>
                      <a:pt x="440" y="7"/>
                    </a:lnTo>
                    <a:lnTo>
                      <a:pt x="442" y="7"/>
                    </a:lnTo>
                    <a:lnTo>
                      <a:pt x="443" y="7"/>
                    </a:lnTo>
                    <a:lnTo>
                      <a:pt x="443" y="8"/>
                    </a:lnTo>
                    <a:lnTo>
                      <a:pt x="445" y="8"/>
                    </a:lnTo>
                    <a:lnTo>
                      <a:pt x="447" y="8"/>
                    </a:lnTo>
                    <a:lnTo>
                      <a:pt x="447" y="10"/>
                    </a:lnTo>
                    <a:lnTo>
                      <a:pt x="449" y="10"/>
                    </a:lnTo>
                    <a:lnTo>
                      <a:pt x="449" y="8"/>
                    </a:lnTo>
                    <a:lnTo>
                      <a:pt x="450" y="8"/>
                    </a:lnTo>
                    <a:lnTo>
                      <a:pt x="452" y="10"/>
                    </a:lnTo>
                    <a:lnTo>
                      <a:pt x="452" y="12"/>
                    </a:lnTo>
                    <a:lnTo>
                      <a:pt x="452" y="14"/>
                    </a:lnTo>
                    <a:lnTo>
                      <a:pt x="454" y="14"/>
                    </a:lnTo>
                    <a:lnTo>
                      <a:pt x="454" y="15"/>
                    </a:lnTo>
                    <a:lnTo>
                      <a:pt x="455" y="15"/>
                    </a:lnTo>
                    <a:lnTo>
                      <a:pt x="454" y="17"/>
                    </a:lnTo>
                    <a:lnTo>
                      <a:pt x="455" y="17"/>
                    </a:lnTo>
                    <a:lnTo>
                      <a:pt x="457" y="17"/>
                    </a:lnTo>
                    <a:lnTo>
                      <a:pt x="457" y="19"/>
                    </a:lnTo>
                    <a:lnTo>
                      <a:pt x="459" y="19"/>
                    </a:lnTo>
                    <a:lnTo>
                      <a:pt x="460" y="19"/>
                    </a:lnTo>
                    <a:lnTo>
                      <a:pt x="460" y="20"/>
                    </a:lnTo>
                    <a:lnTo>
                      <a:pt x="462" y="20"/>
                    </a:lnTo>
                    <a:lnTo>
                      <a:pt x="464" y="20"/>
                    </a:lnTo>
                    <a:lnTo>
                      <a:pt x="464" y="22"/>
                    </a:lnTo>
                    <a:lnTo>
                      <a:pt x="466" y="22"/>
                    </a:lnTo>
                    <a:lnTo>
                      <a:pt x="467" y="22"/>
                    </a:lnTo>
                    <a:lnTo>
                      <a:pt x="467" y="20"/>
                    </a:lnTo>
                    <a:lnTo>
                      <a:pt x="469" y="20"/>
                    </a:lnTo>
                    <a:lnTo>
                      <a:pt x="471" y="20"/>
                    </a:lnTo>
                    <a:lnTo>
                      <a:pt x="472" y="20"/>
                    </a:lnTo>
                    <a:lnTo>
                      <a:pt x="472" y="22"/>
                    </a:lnTo>
                    <a:lnTo>
                      <a:pt x="472" y="24"/>
                    </a:lnTo>
                    <a:lnTo>
                      <a:pt x="471" y="24"/>
                    </a:lnTo>
                    <a:lnTo>
                      <a:pt x="472" y="24"/>
                    </a:lnTo>
                    <a:lnTo>
                      <a:pt x="472" y="25"/>
                    </a:lnTo>
                    <a:lnTo>
                      <a:pt x="474" y="25"/>
                    </a:lnTo>
                    <a:lnTo>
                      <a:pt x="476" y="25"/>
                    </a:lnTo>
                    <a:lnTo>
                      <a:pt x="476" y="27"/>
                    </a:lnTo>
                    <a:lnTo>
                      <a:pt x="477" y="27"/>
                    </a:lnTo>
                    <a:lnTo>
                      <a:pt x="479" y="27"/>
                    </a:lnTo>
                    <a:lnTo>
                      <a:pt x="479" y="29"/>
                    </a:lnTo>
                    <a:lnTo>
                      <a:pt x="477" y="29"/>
                    </a:lnTo>
                    <a:lnTo>
                      <a:pt x="477" y="31"/>
                    </a:lnTo>
                    <a:lnTo>
                      <a:pt x="477" y="32"/>
                    </a:lnTo>
                    <a:lnTo>
                      <a:pt x="477" y="34"/>
                    </a:lnTo>
                    <a:lnTo>
                      <a:pt x="477" y="36"/>
                    </a:lnTo>
                    <a:lnTo>
                      <a:pt x="479" y="34"/>
                    </a:lnTo>
                    <a:lnTo>
                      <a:pt x="481" y="34"/>
                    </a:lnTo>
                    <a:lnTo>
                      <a:pt x="481" y="36"/>
                    </a:lnTo>
                    <a:lnTo>
                      <a:pt x="483" y="36"/>
                    </a:lnTo>
                    <a:lnTo>
                      <a:pt x="484" y="36"/>
                    </a:lnTo>
                    <a:lnTo>
                      <a:pt x="486" y="37"/>
                    </a:lnTo>
                    <a:lnTo>
                      <a:pt x="486" y="36"/>
                    </a:lnTo>
                    <a:lnTo>
                      <a:pt x="486" y="37"/>
                    </a:lnTo>
                    <a:lnTo>
                      <a:pt x="488" y="36"/>
                    </a:lnTo>
                    <a:lnTo>
                      <a:pt x="488" y="37"/>
                    </a:lnTo>
                    <a:lnTo>
                      <a:pt x="488" y="36"/>
                    </a:lnTo>
                    <a:lnTo>
                      <a:pt x="489" y="36"/>
                    </a:lnTo>
                    <a:lnTo>
                      <a:pt x="491" y="36"/>
                    </a:lnTo>
                    <a:lnTo>
                      <a:pt x="491" y="37"/>
                    </a:lnTo>
                    <a:lnTo>
                      <a:pt x="493" y="37"/>
                    </a:lnTo>
                    <a:lnTo>
                      <a:pt x="493" y="39"/>
                    </a:lnTo>
                    <a:lnTo>
                      <a:pt x="494" y="39"/>
                    </a:lnTo>
                    <a:lnTo>
                      <a:pt x="496" y="39"/>
                    </a:lnTo>
                    <a:lnTo>
                      <a:pt x="498" y="39"/>
                    </a:lnTo>
                    <a:lnTo>
                      <a:pt x="498" y="41"/>
                    </a:lnTo>
                    <a:lnTo>
                      <a:pt x="500" y="41"/>
                    </a:lnTo>
                    <a:lnTo>
                      <a:pt x="501" y="41"/>
                    </a:lnTo>
                    <a:lnTo>
                      <a:pt x="501" y="39"/>
                    </a:lnTo>
                    <a:lnTo>
                      <a:pt x="501" y="41"/>
                    </a:lnTo>
                    <a:lnTo>
                      <a:pt x="501" y="39"/>
                    </a:lnTo>
                    <a:lnTo>
                      <a:pt x="503" y="41"/>
                    </a:lnTo>
                    <a:lnTo>
                      <a:pt x="503" y="39"/>
                    </a:lnTo>
                    <a:lnTo>
                      <a:pt x="505" y="39"/>
                    </a:lnTo>
                    <a:lnTo>
                      <a:pt x="506" y="39"/>
                    </a:lnTo>
                    <a:lnTo>
                      <a:pt x="506" y="41"/>
                    </a:lnTo>
                    <a:lnTo>
                      <a:pt x="508" y="41"/>
                    </a:lnTo>
                    <a:lnTo>
                      <a:pt x="510" y="41"/>
                    </a:lnTo>
                    <a:lnTo>
                      <a:pt x="511" y="41"/>
                    </a:lnTo>
                    <a:lnTo>
                      <a:pt x="513" y="41"/>
                    </a:lnTo>
                    <a:lnTo>
                      <a:pt x="515" y="41"/>
                    </a:lnTo>
                    <a:lnTo>
                      <a:pt x="515" y="37"/>
                    </a:lnTo>
                    <a:lnTo>
                      <a:pt x="515" y="36"/>
                    </a:lnTo>
                    <a:lnTo>
                      <a:pt x="517" y="36"/>
                    </a:lnTo>
                    <a:lnTo>
                      <a:pt x="518" y="36"/>
                    </a:lnTo>
                    <a:lnTo>
                      <a:pt x="518" y="34"/>
                    </a:lnTo>
                    <a:lnTo>
                      <a:pt x="520" y="34"/>
                    </a:lnTo>
                    <a:lnTo>
                      <a:pt x="520" y="36"/>
                    </a:lnTo>
                    <a:lnTo>
                      <a:pt x="522" y="36"/>
                    </a:lnTo>
                    <a:lnTo>
                      <a:pt x="523" y="36"/>
                    </a:lnTo>
                    <a:lnTo>
                      <a:pt x="525" y="36"/>
                    </a:lnTo>
                    <a:lnTo>
                      <a:pt x="525" y="37"/>
                    </a:lnTo>
                    <a:lnTo>
                      <a:pt x="527" y="37"/>
                    </a:lnTo>
                    <a:lnTo>
                      <a:pt x="527" y="39"/>
                    </a:lnTo>
                    <a:lnTo>
                      <a:pt x="528" y="39"/>
                    </a:lnTo>
                    <a:lnTo>
                      <a:pt x="528" y="41"/>
                    </a:lnTo>
                    <a:lnTo>
                      <a:pt x="530" y="41"/>
                    </a:lnTo>
                    <a:lnTo>
                      <a:pt x="530" y="43"/>
                    </a:lnTo>
                    <a:lnTo>
                      <a:pt x="532" y="43"/>
                    </a:lnTo>
                    <a:lnTo>
                      <a:pt x="532" y="44"/>
                    </a:lnTo>
                    <a:lnTo>
                      <a:pt x="534" y="44"/>
                    </a:lnTo>
                    <a:lnTo>
                      <a:pt x="534" y="46"/>
                    </a:lnTo>
                    <a:lnTo>
                      <a:pt x="535" y="46"/>
                    </a:lnTo>
                    <a:lnTo>
                      <a:pt x="535" y="48"/>
                    </a:lnTo>
                    <a:lnTo>
                      <a:pt x="537" y="48"/>
                    </a:lnTo>
                    <a:lnTo>
                      <a:pt x="539" y="48"/>
                    </a:lnTo>
                    <a:lnTo>
                      <a:pt x="540" y="48"/>
                    </a:lnTo>
                    <a:lnTo>
                      <a:pt x="542" y="48"/>
                    </a:lnTo>
                    <a:lnTo>
                      <a:pt x="542" y="49"/>
                    </a:lnTo>
                    <a:lnTo>
                      <a:pt x="544" y="49"/>
                    </a:lnTo>
                    <a:lnTo>
                      <a:pt x="545" y="49"/>
                    </a:lnTo>
                    <a:lnTo>
                      <a:pt x="545" y="51"/>
                    </a:lnTo>
                    <a:lnTo>
                      <a:pt x="547" y="51"/>
                    </a:lnTo>
                    <a:lnTo>
                      <a:pt x="549" y="51"/>
                    </a:lnTo>
                    <a:lnTo>
                      <a:pt x="549" y="53"/>
                    </a:lnTo>
                    <a:lnTo>
                      <a:pt x="551" y="53"/>
                    </a:lnTo>
                    <a:lnTo>
                      <a:pt x="552" y="53"/>
                    </a:lnTo>
                    <a:lnTo>
                      <a:pt x="554" y="53"/>
                    </a:lnTo>
                    <a:close/>
                    <a:moveTo>
                      <a:pt x="12" y="44"/>
                    </a:moveTo>
                    <a:lnTo>
                      <a:pt x="12" y="46"/>
                    </a:lnTo>
                    <a:lnTo>
                      <a:pt x="13" y="46"/>
                    </a:lnTo>
                    <a:lnTo>
                      <a:pt x="13" y="48"/>
                    </a:lnTo>
                    <a:lnTo>
                      <a:pt x="15" y="49"/>
                    </a:lnTo>
                    <a:lnTo>
                      <a:pt x="17" y="51"/>
                    </a:lnTo>
                    <a:lnTo>
                      <a:pt x="15" y="51"/>
                    </a:lnTo>
                    <a:lnTo>
                      <a:pt x="17" y="51"/>
                    </a:lnTo>
                    <a:lnTo>
                      <a:pt x="17" y="53"/>
                    </a:lnTo>
                    <a:lnTo>
                      <a:pt x="17" y="54"/>
                    </a:lnTo>
                    <a:lnTo>
                      <a:pt x="17" y="56"/>
                    </a:lnTo>
                    <a:lnTo>
                      <a:pt x="17" y="58"/>
                    </a:lnTo>
                    <a:lnTo>
                      <a:pt x="19" y="58"/>
                    </a:lnTo>
                    <a:lnTo>
                      <a:pt x="19" y="60"/>
                    </a:lnTo>
                    <a:lnTo>
                      <a:pt x="20" y="60"/>
                    </a:lnTo>
                    <a:lnTo>
                      <a:pt x="20" y="61"/>
                    </a:lnTo>
                    <a:lnTo>
                      <a:pt x="22" y="61"/>
                    </a:lnTo>
                    <a:lnTo>
                      <a:pt x="24" y="63"/>
                    </a:lnTo>
                    <a:lnTo>
                      <a:pt x="24" y="65"/>
                    </a:lnTo>
                    <a:lnTo>
                      <a:pt x="25" y="65"/>
                    </a:lnTo>
                    <a:lnTo>
                      <a:pt x="24" y="66"/>
                    </a:lnTo>
                    <a:lnTo>
                      <a:pt x="24" y="68"/>
                    </a:lnTo>
                    <a:lnTo>
                      <a:pt x="24" y="70"/>
                    </a:lnTo>
                    <a:lnTo>
                      <a:pt x="25" y="70"/>
                    </a:lnTo>
                    <a:lnTo>
                      <a:pt x="27" y="70"/>
                    </a:lnTo>
                    <a:lnTo>
                      <a:pt x="27" y="71"/>
                    </a:lnTo>
                    <a:lnTo>
                      <a:pt x="29" y="71"/>
                    </a:lnTo>
                    <a:lnTo>
                      <a:pt x="27" y="73"/>
                    </a:lnTo>
                    <a:lnTo>
                      <a:pt x="29" y="73"/>
                    </a:lnTo>
                    <a:lnTo>
                      <a:pt x="30" y="73"/>
                    </a:lnTo>
                    <a:lnTo>
                      <a:pt x="30" y="75"/>
                    </a:lnTo>
                    <a:lnTo>
                      <a:pt x="29" y="75"/>
                    </a:lnTo>
                    <a:lnTo>
                      <a:pt x="29" y="77"/>
                    </a:lnTo>
                    <a:lnTo>
                      <a:pt x="29" y="78"/>
                    </a:lnTo>
                    <a:lnTo>
                      <a:pt x="27" y="78"/>
                    </a:lnTo>
                    <a:lnTo>
                      <a:pt x="27" y="80"/>
                    </a:lnTo>
                    <a:lnTo>
                      <a:pt x="25" y="80"/>
                    </a:lnTo>
                    <a:lnTo>
                      <a:pt x="25" y="82"/>
                    </a:lnTo>
                    <a:lnTo>
                      <a:pt x="24" y="82"/>
                    </a:lnTo>
                    <a:lnTo>
                      <a:pt x="22" y="82"/>
                    </a:lnTo>
                    <a:lnTo>
                      <a:pt x="20" y="83"/>
                    </a:lnTo>
                    <a:lnTo>
                      <a:pt x="19" y="83"/>
                    </a:lnTo>
                    <a:lnTo>
                      <a:pt x="17" y="83"/>
                    </a:lnTo>
                    <a:lnTo>
                      <a:pt x="17" y="85"/>
                    </a:lnTo>
                    <a:lnTo>
                      <a:pt x="17" y="83"/>
                    </a:lnTo>
                    <a:lnTo>
                      <a:pt x="17" y="85"/>
                    </a:lnTo>
                    <a:lnTo>
                      <a:pt x="15" y="85"/>
                    </a:lnTo>
                    <a:lnTo>
                      <a:pt x="15" y="83"/>
                    </a:lnTo>
                    <a:lnTo>
                      <a:pt x="13" y="83"/>
                    </a:lnTo>
                    <a:lnTo>
                      <a:pt x="12" y="83"/>
                    </a:lnTo>
                    <a:lnTo>
                      <a:pt x="10" y="83"/>
                    </a:lnTo>
                    <a:lnTo>
                      <a:pt x="8" y="83"/>
                    </a:lnTo>
                    <a:lnTo>
                      <a:pt x="8" y="82"/>
                    </a:lnTo>
                    <a:lnTo>
                      <a:pt x="7" y="82"/>
                    </a:lnTo>
                    <a:lnTo>
                      <a:pt x="7" y="80"/>
                    </a:lnTo>
                    <a:lnTo>
                      <a:pt x="5" y="80"/>
                    </a:lnTo>
                    <a:lnTo>
                      <a:pt x="5" y="78"/>
                    </a:lnTo>
                    <a:lnTo>
                      <a:pt x="7" y="77"/>
                    </a:lnTo>
                    <a:lnTo>
                      <a:pt x="8" y="77"/>
                    </a:lnTo>
                    <a:lnTo>
                      <a:pt x="8" y="75"/>
                    </a:lnTo>
                    <a:lnTo>
                      <a:pt x="10" y="75"/>
                    </a:lnTo>
                    <a:lnTo>
                      <a:pt x="10" y="73"/>
                    </a:lnTo>
                    <a:lnTo>
                      <a:pt x="12" y="73"/>
                    </a:lnTo>
                    <a:lnTo>
                      <a:pt x="12" y="71"/>
                    </a:lnTo>
                    <a:lnTo>
                      <a:pt x="12" y="73"/>
                    </a:lnTo>
                    <a:lnTo>
                      <a:pt x="13" y="71"/>
                    </a:lnTo>
                    <a:lnTo>
                      <a:pt x="15" y="71"/>
                    </a:lnTo>
                    <a:lnTo>
                      <a:pt x="17" y="71"/>
                    </a:lnTo>
                    <a:lnTo>
                      <a:pt x="19" y="71"/>
                    </a:lnTo>
                    <a:lnTo>
                      <a:pt x="19" y="70"/>
                    </a:lnTo>
                    <a:lnTo>
                      <a:pt x="20" y="70"/>
                    </a:lnTo>
                    <a:lnTo>
                      <a:pt x="19" y="68"/>
                    </a:lnTo>
                    <a:lnTo>
                      <a:pt x="17" y="66"/>
                    </a:lnTo>
                    <a:lnTo>
                      <a:pt x="15" y="66"/>
                    </a:lnTo>
                    <a:lnTo>
                      <a:pt x="15" y="65"/>
                    </a:lnTo>
                    <a:lnTo>
                      <a:pt x="15" y="63"/>
                    </a:lnTo>
                    <a:lnTo>
                      <a:pt x="13" y="61"/>
                    </a:lnTo>
                    <a:lnTo>
                      <a:pt x="12" y="61"/>
                    </a:lnTo>
                    <a:lnTo>
                      <a:pt x="12" y="60"/>
                    </a:lnTo>
                    <a:lnTo>
                      <a:pt x="10" y="60"/>
                    </a:lnTo>
                    <a:lnTo>
                      <a:pt x="10" y="58"/>
                    </a:lnTo>
                    <a:lnTo>
                      <a:pt x="8" y="56"/>
                    </a:lnTo>
                    <a:lnTo>
                      <a:pt x="10" y="56"/>
                    </a:lnTo>
                    <a:lnTo>
                      <a:pt x="10" y="54"/>
                    </a:lnTo>
                    <a:lnTo>
                      <a:pt x="8" y="54"/>
                    </a:lnTo>
                    <a:lnTo>
                      <a:pt x="8" y="53"/>
                    </a:lnTo>
                    <a:lnTo>
                      <a:pt x="8" y="51"/>
                    </a:lnTo>
                    <a:lnTo>
                      <a:pt x="8" y="49"/>
                    </a:lnTo>
                    <a:lnTo>
                      <a:pt x="7" y="49"/>
                    </a:lnTo>
                    <a:lnTo>
                      <a:pt x="5" y="49"/>
                    </a:lnTo>
                    <a:lnTo>
                      <a:pt x="5" y="51"/>
                    </a:lnTo>
                    <a:lnTo>
                      <a:pt x="3" y="51"/>
                    </a:lnTo>
                    <a:lnTo>
                      <a:pt x="3" y="49"/>
                    </a:lnTo>
                    <a:lnTo>
                      <a:pt x="3" y="48"/>
                    </a:lnTo>
                    <a:lnTo>
                      <a:pt x="5" y="48"/>
                    </a:lnTo>
                    <a:lnTo>
                      <a:pt x="5" y="46"/>
                    </a:lnTo>
                    <a:lnTo>
                      <a:pt x="7" y="46"/>
                    </a:lnTo>
                    <a:lnTo>
                      <a:pt x="8" y="46"/>
                    </a:lnTo>
                    <a:lnTo>
                      <a:pt x="8" y="44"/>
                    </a:lnTo>
                    <a:lnTo>
                      <a:pt x="10" y="44"/>
                    </a:lnTo>
                    <a:lnTo>
                      <a:pt x="12" y="44"/>
                    </a:lnTo>
                    <a:close/>
                    <a:moveTo>
                      <a:pt x="47" y="66"/>
                    </a:moveTo>
                    <a:lnTo>
                      <a:pt x="49" y="66"/>
                    </a:lnTo>
                    <a:lnTo>
                      <a:pt x="49" y="68"/>
                    </a:lnTo>
                    <a:lnTo>
                      <a:pt x="51" y="68"/>
                    </a:lnTo>
                    <a:lnTo>
                      <a:pt x="51" y="70"/>
                    </a:lnTo>
                    <a:lnTo>
                      <a:pt x="49" y="71"/>
                    </a:lnTo>
                    <a:lnTo>
                      <a:pt x="51" y="71"/>
                    </a:lnTo>
                    <a:lnTo>
                      <a:pt x="49" y="71"/>
                    </a:lnTo>
                    <a:lnTo>
                      <a:pt x="49" y="73"/>
                    </a:lnTo>
                    <a:lnTo>
                      <a:pt x="47" y="75"/>
                    </a:lnTo>
                    <a:lnTo>
                      <a:pt x="46" y="73"/>
                    </a:lnTo>
                    <a:lnTo>
                      <a:pt x="46" y="75"/>
                    </a:lnTo>
                    <a:lnTo>
                      <a:pt x="44" y="75"/>
                    </a:lnTo>
                    <a:lnTo>
                      <a:pt x="42" y="75"/>
                    </a:lnTo>
                    <a:lnTo>
                      <a:pt x="41" y="75"/>
                    </a:lnTo>
                    <a:lnTo>
                      <a:pt x="41" y="73"/>
                    </a:lnTo>
                    <a:lnTo>
                      <a:pt x="39" y="73"/>
                    </a:lnTo>
                    <a:lnTo>
                      <a:pt x="39" y="71"/>
                    </a:lnTo>
                    <a:lnTo>
                      <a:pt x="37" y="71"/>
                    </a:lnTo>
                    <a:lnTo>
                      <a:pt x="39" y="71"/>
                    </a:lnTo>
                    <a:lnTo>
                      <a:pt x="37" y="71"/>
                    </a:lnTo>
                    <a:lnTo>
                      <a:pt x="37" y="70"/>
                    </a:lnTo>
                    <a:lnTo>
                      <a:pt x="39" y="70"/>
                    </a:lnTo>
                    <a:lnTo>
                      <a:pt x="37" y="70"/>
                    </a:lnTo>
                    <a:lnTo>
                      <a:pt x="39" y="68"/>
                    </a:lnTo>
                    <a:lnTo>
                      <a:pt x="39" y="66"/>
                    </a:lnTo>
                    <a:lnTo>
                      <a:pt x="41" y="66"/>
                    </a:lnTo>
                    <a:lnTo>
                      <a:pt x="42" y="66"/>
                    </a:lnTo>
                    <a:lnTo>
                      <a:pt x="44" y="66"/>
                    </a:lnTo>
                    <a:lnTo>
                      <a:pt x="46" y="65"/>
                    </a:lnTo>
                    <a:lnTo>
                      <a:pt x="46" y="66"/>
                    </a:lnTo>
                    <a:lnTo>
                      <a:pt x="46" y="65"/>
                    </a:lnTo>
                    <a:lnTo>
                      <a:pt x="46" y="66"/>
                    </a:lnTo>
                    <a:lnTo>
                      <a:pt x="47" y="65"/>
                    </a:lnTo>
                    <a:lnTo>
                      <a:pt x="47" y="66"/>
                    </a:lnTo>
                    <a:close/>
                    <a:moveTo>
                      <a:pt x="392" y="139"/>
                    </a:moveTo>
                    <a:lnTo>
                      <a:pt x="394" y="139"/>
                    </a:lnTo>
                    <a:lnTo>
                      <a:pt x="394" y="141"/>
                    </a:lnTo>
                    <a:lnTo>
                      <a:pt x="396" y="141"/>
                    </a:lnTo>
                    <a:lnTo>
                      <a:pt x="398" y="141"/>
                    </a:lnTo>
                    <a:lnTo>
                      <a:pt x="398" y="143"/>
                    </a:lnTo>
                    <a:lnTo>
                      <a:pt x="396" y="143"/>
                    </a:lnTo>
                    <a:lnTo>
                      <a:pt x="394" y="143"/>
                    </a:lnTo>
                    <a:lnTo>
                      <a:pt x="394" y="145"/>
                    </a:lnTo>
                    <a:lnTo>
                      <a:pt x="392" y="145"/>
                    </a:lnTo>
                    <a:lnTo>
                      <a:pt x="392" y="146"/>
                    </a:lnTo>
                    <a:lnTo>
                      <a:pt x="392" y="145"/>
                    </a:lnTo>
                    <a:lnTo>
                      <a:pt x="391" y="145"/>
                    </a:lnTo>
                    <a:lnTo>
                      <a:pt x="389" y="145"/>
                    </a:lnTo>
                    <a:lnTo>
                      <a:pt x="389" y="146"/>
                    </a:lnTo>
                    <a:lnTo>
                      <a:pt x="389" y="148"/>
                    </a:lnTo>
                    <a:lnTo>
                      <a:pt x="391" y="148"/>
                    </a:lnTo>
                    <a:lnTo>
                      <a:pt x="391" y="150"/>
                    </a:lnTo>
                    <a:lnTo>
                      <a:pt x="389" y="150"/>
                    </a:lnTo>
                    <a:lnTo>
                      <a:pt x="389" y="151"/>
                    </a:lnTo>
                    <a:lnTo>
                      <a:pt x="387" y="151"/>
                    </a:lnTo>
                    <a:lnTo>
                      <a:pt x="386" y="151"/>
                    </a:lnTo>
                    <a:lnTo>
                      <a:pt x="384" y="150"/>
                    </a:lnTo>
                    <a:lnTo>
                      <a:pt x="386" y="148"/>
                    </a:lnTo>
                    <a:lnTo>
                      <a:pt x="386" y="146"/>
                    </a:lnTo>
                    <a:lnTo>
                      <a:pt x="386" y="145"/>
                    </a:lnTo>
                    <a:lnTo>
                      <a:pt x="386" y="143"/>
                    </a:lnTo>
                    <a:lnTo>
                      <a:pt x="386" y="141"/>
                    </a:lnTo>
                    <a:lnTo>
                      <a:pt x="387" y="141"/>
                    </a:lnTo>
                    <a:lnTo>
                      <a:pt x="389" y="141"/>
                    </a:lnTo>
                    <a:lnTo>
                      <a:pt x="389" y="139"/>
                    </a:lnTo>
                    <a:lnTo>
                      <a:pt x="391" y="139"/>
                    </a:lnTo>
                    <a:lnTo>
                      <a:pt x="392" y="139"/>
                    </a:lnTo>
                    <a:close/>
                    <a:moveTo>
                      <a:pt x="7" y="58"/>
                    </a:moveTo>
                    <a:lnTo>
                      <a:pt x="8" y="58"/>
                    </a:lnTo>
                    <a:lnTo>
                      <a:pt x="8" y="60"/>
                    </a:lnTo>
                    <a:lnTo>
                      <a:pt x="10" y="60"/>
                    </a:lnTo>
                    <a:lnTo>
                      <a:pt x="10" y="61"/>
                    </a:lnTo>
                    <a:lnTo>
                      <a:pt x="10" y="63"/>
                    </a:lnTo>
                    <a:lnTo>
                      <a:pt x="10" y="65"/>
                    </a:lnTo>
                    <a:lnTo>
                      <a:pt x="8" y="65"/>
                    </a:lnTo>
                    <a:lnTo>
                      <a:pt x="8" y="66"/>
                    </a:lnTo>
                    <a:lnTo>
                      <a:pt x="7" y="66"/>
                    </a:lnTo>
                    <a:lnTo>
                      <a:pt x="5" y="66"/>
                    </a:lnTo>
                    <a:lnTo>
                      <a:pt x="3" y="65"/>
                    </a:lnTo>
                    <a:lnTo>
                      <a:pt x="2" y="65"/>
                    </a:lnTo>
                    <a:lnTo>
                      <a:pt x="2" y="63"/>
                    </a:lnTo>
                    <a:lnTo>
                      <a:pt x="0" y="63"/>
                    </a:lnTo>
                    <a:lnTo>
                      <a:pt x="0" y="61"/>
                    </a:lnTo>
                    <a:lnTo>
                      <a:pt x="0" y="60"/>
                    </a:lnTo>
                    <a:lnTo>
                      <a:pt x="2" y="60"/>
                    </a:lnTo>
                    <a:lnTo>
                      <a:pt x="3" y="60"/>
                    </a:lnTo>
                    <a:lnTo>
                      <a:pt x="5" y="58"/>
                    </a:lnTo>
                    <a:lnTo>
                      <a:pt x="7" y="58"/>
                    </a:lnTo>
                    <a:close/>
                    <a:moveTo>
                      <a:pt x="30" y="54"/>
                    </a:moveTo>
                    <a:lnTo>
                      <a:pt x="32" y="54"/>
                    </a:lnTo>
                    <a:lnTo>
                      <a:pt x="34" y="56"/>
                    </a:lnTo>
                    <a:lnTo>
                      <a:pt x="36" y="56"/>
                    </a:lnTo>
                    <a:lnTo>
                      <a:pt x="37" y="56"/>
                    </a:lnTo>
                    <a:lnTo>
                      <a:pt x="37" y="58"/>
                    </a:lnTo>
                    <a:lnTo>
                      <a:pt x="37" y="60"/>
                    </a:lnTo>
                    <a:lnTo>
                      <a:pt x="37" y="61"/>
                    </a:lnTo>
                    <a:lnTo>
                      <a:pt x="36" y="61"/>
                    </a:lnTo>
                    <a:lnTo>
                      <a:pt x="34" y="61"/>
                    </a:lnTo>
                    <a:lnTo>
                      <a:pt x="32" y="61"/>
                    </a:lnTo>
                    <a:lnTo>
                      <a:pt x="30" y="61"/>
                    </a:lnTo>
                    <a:lnTo>
                      <a:pt x="30" y="60"/>
                    </a:lnTo>
                    <a:lnTo>
                      <a:pt x="29" y="60"/>
                    </a:lnTo>
                    <a:lnTo>
                      <a:pt x="27" y="58"/>
                    </a:lnTo>
                    <a:lnTo>
                      <a:pt x="27" y="56"/>
                    </a:lnTo>
                    <a:lnTo>
                      <a:pt x="29" y="56"/>
                    </a:lnTo>
                    <a:lnTo>
                      <a:pt x="29" y="54"/>
                    </a:lnTo>
                    <a:lnTo>
                      <a:pt x="30" y="54"/>
                    </a:lnTo>
                    <a:close/>
                    <a:moveTo>
                      <a:pt x="78" y="71"/>
                    </a:moveTo>
                    <a:lnTo>
                      <a:pt x="80" y="71"/>
                    </a:lnTo>
                    <a:lnTo>
                      <a:pt x="80" y="73"/>
                    </a:lnTo>
                    <a:lnTo>
                      <a:pt x="81" y="73"/>
                    </a:lnTo>
                    <a:lnTo>
                      <a:pt x="81" y="71"/>
                    </a:lnTo>
                    <a:lnTo>
                      <a:pt x="81" y="73"/>
                    </a:lnTo>
                    <a:lnTo>
                      <a:pt x="81" y="75"/>
                    </a:lnTo>
                    <a:lnTo>
                      <a:pt x="80" y="75"/>
                    </a:lnTo>
                    <a:lnTo>
                      <a:pt x="80" y="77"/>
                    </a:lnTo>
                    <a:lnTo>
                      <a:pt x="78" y="77"/>
                    </a:lnTo>
                    <a:lnTo>
                      <a:pt x="78" y="78"/>
                    </a:lnTo>
                    <a:lnTo>
                      <a:pt x="76" y="80"/>
                    </a:lnTo>
                    <a:lnTo>
                      <a:pt x="75" y="80"/>
                    </a:lnTo>
                    <a:lnTo>
                      <a:pt x="73" y="80"/>
                    </a:lnTo>
                    <a:lnTo>
                      <a:pt x="73" y="82"/>
                    </a:lnTo>
                    <a:lnTo>
                      <a:pt x="71" y="82"/>
                    </a:lnTo>
                    <a:lnTo>
                      <a:pt x="70" y="80"/>
                    </a:lnTo>
                    <a:lnTo>
                      <a:pt x="70" y="78"/>
                    </a:lnTo>
                    <a:lnTo>
                      <a:pt x="71" y="78"/>
                    </a:lnTo>
                    <a:lnTo>
                      <a:pt x="71" y="77"/>
                    </a:lnTo>
                    <a:lnTo>
                      <a:pt x="73" y="77"/>
                    </a:lnTo>
                    <a:lnTo>
                      <a:pt x="75" y="77"/>
                    </a:lnTo>
                    <a:lnTo>
                      <a:pt x="75" y="75"/>
                    </a:lnTo>
                    <a:lnTo>
                      <a:pt x="75" y="73"/>
                    </a:lnTo>
                    <a:lnTo>
                      <a:pt x="76" y="73"/>
                    </a:lnTo>
                    <a:lnTo>
                      <a:pt x="78" y="73"/>
                    </a:lnTo>
                    <a:lnTo>
                      <a:pt x="78" y="71"/>
                    </a:lnTo>
                    <a:close/>
                    <a:moveTo>
                      <a:pt x="42" y="90"/>
                    </a:moveTo>
                    <a:lnTo>
                      <a:pt x="44" y="92"/>
                    </a:lnTo>
                    <a:lnTo>
                      <a:pt x="44" y="94"/>
                    </a:lnTo>
                    <a:lnTo>
                      <a:pt x="42" y="94"/>
                    </a:lnTo>
                    <a:lnTo>
                      <a:pt x="42" y="95"/>
                    </a:lnTo>
                    <a:lnTo>
                      <a:pt x="41" y="95"/>
                    </a:lnTo>
                    <a:lnTo>
                      <a:pt x="41" y="94"/>
                    </a:lnTo>
                    <a:lnTo>
                      <a:pt x="39" y="94"/>
                    </a:lnTo>
                    <a:lnTo>
                      <a:pt x="39" y="92"/>
                    </a:lnTo>
                    <a:lnTo>
                      <a:pt x="41" y="92"/>
                    </a:lnTo>
                    <a:lnTo>
                      <a:pt x="41" y="90"/>
                    </a:lnTo>
                    <a:lnTo>
                      <a:pt x="42" y="90"/>
                    </a:lnTo>
                    <a:close/>
                    <a:moveTo>
                      <a:pt x="41" y="36"/>
                    </a:moveTo>
                    <a:lnTo>
                      <a:pt x="42" y="37"/>
                    </a:lnTo>
                    <a:lnTo>
                      <a:pt x="42" y="39"/>
                    </a:lnTo>
                    <a:lnTo>
                      <a:pt x="41" y="39"/>
                    </a:lnTo>
                    <a:lnTo>
                      <a:pt x="39" y="39"/>
                    </a:lnTo>
                    <a:lnTo>
                      <a:pt x="39" y="37"/>
                    </a:lnTo>
                    <a:lnTo>
                      <a:pt x="37" y="37"/>
                    </a:lnTo>
                    <a:lnTo>
                      <a:pt x="39" y="36"/>
                    </a:lnTo>
                    <a:lnTo>
                      <a:pt x="41" y="36"/>
                    </a:lnTo>
                    <a:close/>
                    <a:moveTo>
                      <a:pt x="399" y="138"/>
                    </a:moveTo>
                    <a:lnTo>
                      <a:pt x="399" y="139"/>
                    </a:lnTo>
                    <a:lnTo>
                      <a:pt x="398" y="139"/>
                    </a:lnTo>
                    <a:lnTo>
                      <a:pt x="398" y="138"/>
                    </a:lnTo>
                    <a:lnTo>
                      <a:pt x="398" y="136"/>
                    </a:lnTo>
                    <a:lnTo>
                      <a:pt x="398" y="134"/>
                    </a:lnTo>
                    <a:lnTo>
                      <a:pt x="399" y="133"/>
                    </a:lnTo>
                    <a:lnTo>
                      <a:pt x="399" y="134"/>
                    </a:lnTo>
                    <a:lnTo>
                      <a:pt x="399" y="136"/>
                    </a:lnTo>
                    <a:lnTo>
                      <a:pt x="399" y="138"/>
                    </a:lnTo>
                    <a:close/>
                    <a:moveTo>
                      <a:pt x="432" y="3"/>
                    </a:moveTo>
                    <a:lnTo>
                      <a:pt x="432" y="5"/>
                    </a:lnTo>
                    <a:lnTo>
                      <a:pt x="432" y="7"/>
                    </a:lnTo>
                    <a:lnTo>
                      <a:pt x="430" y="7"/>
                    </a:lnTo>
                    <a:lnTo>
                      <a:pt x="428" y="7"/>
                    </a:lnTo>
                    <a:lnTo>
                      <a:pt x="430" y="5"/>
                    </a:lnTo>
                    <a:lnTo>
                      <a:pt x="428" y="5"/>
                    </a:lnTo>
                    <a:lnTo>
                      <a:pt x="428" y="3"/>
                    </a:lnTo>
                    <a:lnTo>
                      <a:pt x="430" y="3"/>
                    </a:lnTo>
                    <a:lnTo>
                      <a:pt x="430" y="2"/>
                    </a:lnTo>
                    <a:lnTo>
                      <a:pt x="432" y="2"/>
                    </a:lnTo>
                    <a:lnTo>
                      <a:pt x="432" y="3"/>
                    </a:lnTo>
                    <a:close/>
                    <a:moveTo>
                      <a:pt x="394" y="134"/>
                    </a:moveTo>
                    <a:lnTo>
                      <a:pt x="396" y="134"/>
                    </a:lnTo>
                    <a:lnTo>
                      <a:pt x="396" y="136"/>
                    </a:lnTo>
                    <a:lnTo>
                      <a:pt x="394" y="136"/>
                    </a:lnTo>
                    <a:lnTo>
                      <a:pt x="392" y="136"/>
                    </a:lnTo>
                    <a:lnTo>
                      <a:pt x="391" y="136"/>
                    </a:lnTo>
                    <a:lnTo>
                      <a:pt x="392" y="136"/>
                    </a:lnTo>
                    <a:lnTo>
                      <a:pt x="392" y="134"/>
                    </a:lnTo>
                    <a:lnTo>
                      <a:pt x="392" y="133"/>
                    </a:lnTo>
                    <a:lnTo>
                      <a:pt x="394" y="133"/>
                    </a:lnTo>
                    <a:lnTo>
                      <a:pt x="394" y="134"/>
                    </a:lnTo>
                    <a:close/>
                    <a:moveTo>
                      <a:pt x="391" y="162"/>
                    </a:moveTo>
                    <a:lnTo>
                      <a:pt x="391" y="163"/>
                    </a:lnTo>
                    <a:lnTo>
                      <a:pt x="391" y="165"/>
                    </a:lnTo>
                    <a:lnTo>
                      <a:pt x="391" y="163"/>
                    </a:lnTo>
                    <a:lnTo>
                      <a:pt x="389" y="163"/>
                    </a:lnTo>
                    <a:lnTo>
                      <a:pt x="389" y="165"/>
                    </a:lnTo>
                    <a:lnTo>
                      <a:pt x="387" y="163"/>
                    </a:lnTo>
                    <a:lnTo>
                      <a:pt x="386" y="162"/>
                    </a:lnTo>
                    <a:lnTo>
                      <a:pt x="387" y="162"/>
                    </a:lnTo>
                    <a:lnTo>
                      <a:pt x="387" y="163"/>
                    </a:lnTo>
                    <a:lnTo>
                      <a:pt x="389" y="163"/>
                    </a:lnTo>
                    <a:lnTo>
                      <a:pt x="389" y="162"/>
                    </a:lnTo>
                    <a:lnTo>
                      <a:pt x="391" y="162"/>
                    </a:lnTo>
                    <a:close/>
                    <a:moveTo>
                      <a:pt x="403" y="138"/>
                    </a:moveTo>
                    <a:lnTo>
                      <a:pt x="401" y="138"/>
                    </a:lnTo>
                    <a:lnTo>
                      <a:pt x="401" y="136"/>
                    </a:lnTo>
                    <a:lnTo>
                      <a:pt x="401" y="134"/>
                    </a:lnTo>
                    <a:lnTo>
                      <a:pt x="403" y="134"/>
                    </a:lnTo>
                    <a:lnTo>
                      <a:pt x="403" y="136"/>
                    </a:lnTo>
                    <a:lnTo>
                      <a:pt x="403" y="138"/>
                    </a:lnTo>
                    <a:close/>
                    <a:moveTo>
                      <a:pt x="428" y="7"/>
                    </a:moveTo>
                    <a:lnTo>
                      <a:pt x="428" y="8"/>
                    </a:lnTo>
                    <a:lnTo>
                      <a:pt x="430" y="8"/>
                    </a:lnTo>
                    <a:lnTo>
                      <a:pt x="428" y="8"/>
                    </a:lnTo>
                    <a:lnTo>
                      <a:pt x="430" y="8"/>
                    </a:lnTo>
                    <a:lnTo>
                      <a:pt x="430" y="10"/>
                    </a:lnTo>
                    <a:lnTo>
                      <a:pt x="428" y="10"/>
                    </a:lnTo>
                    <a:lnTo>
                      <a:pt x="430" y="10"/>
                    </a:lnTo>
                    <a:lnTo>
                      <a:pt x="428" y="10"/>
                    </a:lnTo>
                    <a:lnTo>
                      <a:pt x="428" y="8"/>
                    </a:lnTo>
                    <a:lnTo>
                      <a:pt x="426" y="8"/>
                    </a:lnTo>
                    <a:lnTo>
                      <a:pt x="426" y="7"/>
                    </a:lnTo>
                    <a:lnTo>
                      <a:pt x="428" y="5"/>
                    </a:lnTo>
                    <a:lnTo>
                      <a:pt x="428" y="7"/>
                    </a:lnTo>
                    <a:close/>
                    <a:moveTo>
                      <a:pt x="392" y="160"/>
                    </a:moveTo>
                    <a:lnTo>
                      <a:pt x="392" y="162"/>
                    </a:lnTo>
                    <a:lnTo>
                      <a:pt x="392" y="163"/>
                    </a:lnTo>
                    <a:lnTo>
                      <a:pt x="391" y="163"/>
                    </a:lnTo>
                    <a:lnTo>
                      <a:pt x="391" y="162"/>
                    </a:lnTo>
                    <a:lnTo>
                      <a:pt x="391" y="160"/>
                    </a:lnTo>
                    <a:lnTo>
                      <a:pt x="392" y="160"/>
                    </a:lnTo>
                    <a:close/>
                    <a:moveTo>
                      <a:pt x="66" y="95"/>
                    </a:moveTo>
                    <a:lnTo>
                      <a:pt x="68" y="94"/>
                    </a:lnTo>
                    <a:lnTo>
                      <a:pt x="68" y="95"/>
                    </a:lnTo>
                    <a:lnTo>
                      <a:pt x="70" y="95"/>
                    </a:lnTo>
                    <a:lnTo>
                      <a:pt x="70" y="97"/>
                    </a:lnTo>
                    <a:lnTo>
                      <a:pt x="68" y="97"/>
                    </a:lnTo>
                    <a:lnTo>
                      <a:pt x="66" y="95"/>
                    </a:lnTo>
                    <a:lnTo>
                      <a:pt x="64" y="95"/>
                    </a:lnTo>
                    <a:lnTo>
                      <a:pt x="66" y="95"/>
                    </a:lnTo>
                    <a:lnTo>
                      <a:pt x="66" y="94"/>
                    </a:lnTo>
                    <a:lnTo>
                      <a:pt x="66" y="95"/>
                    </a:lnTo>
                    <a:close/>
                    <a:moveTo>
                      <a:pt x="30" y="27"/>
                    </a:moveTo>
                    <a:lnTo>
                      <a:pt x="32" y="29"/>
                    </a:lnTo>
                    <a:lnTo>
                      <a:pt x="32" y="31"/>
                    </a:lnTo>
                    <a:lnTo>
                      <a:pt x="30" y="31"/>
                    </a:lnTo>
                    <a:lnTo>
                      <a:pt x="30" y="29"/>
                    </a:lnTo>
                    <a:lnTo>
                      <a:pt x="30" y="27"/>
                    </a:lnTo>
                    <a:close/>
                    <a:moveTo>
                      <a:pt x="394" y="131"/>
                    </a:moveTo>
                    <a:lnTo>
                      <a:pt x="396" y="131"/>
                    </a:lnTo>
                    <a:lnTo>
                      <a:pt x="396" y="133"/>
                    </a:lnTo>
                    <a:lnTo>
                      <a:pt x="396" y="134"/>
                    </a:lnTo>
                    <a:lnTo>
                      <a:pt x="394" y="133"/>
                    </a:lnTo>
                    <a:lnTo>
                      <a:pt x="392" y="133"/>
                    </a:lnTo>
                    <a:lnTo>
                      <a:pt x="392" y="131"/>
                    </a:lnTo>
                    <a:lnTo>
                      <a:pt x="394" y="131"/>
                    </a:lnTo>
                    <a:close/>
                    <a:moveTo>
                      <a:pt x="391" y="145"/>
                    </a:moveTo>
                    <a:lnTo>
                      <a:pt x="392" y="145"/>
                    </a:lnTo>
                    <a:lnTo>
                      <a:pt x="392" y="148"/>
                    </a:lnTo>
                    <a:lnTo>
                      <a:pt x="391" y="148"/>
                    </a:lnTo>
                    <a:lnTo>
                      <a:pt x="391" y="145"/>
                    </a:lnTo>
                    <a:close/>
                    <a:moveTo>
                      <a:pt x="401" y="134"/>
                    </a:moveTo>
                    <a:lnTo>
                      <a:pt x="399" y="134"/>
                    </a:lnTo>
                    <a:lnTo>
                      <a:pt x="399" y="133"/>
                    </a:lnTo>
                    <a:lnTo>
                      <a:pt x="399" y="131"/>
                    </a:lnTo>
                    <a:lnTo>
                      <a:pt x="401" y="131"/>
                    </a:lnTo>
                    <a:lnTo>
                      <a:pt x="401" y="133"/>
                    </a:lnTo>
                    <a:lnTo>
                      <a:pt x="401" y="134"/>
                    </a:lnTo>
                    <a:close/>
                    <a:moveTo>
                      <a:pt x="386" y="162"/>
                    </a:moveTo>
                    <a:lnTo>
                      <a:pt x="386" y="163"/>
                    </a:lnTo>
                    <a:lnTo>
                      <a:pt x="387" y="163"/>
                    </a:lnTo>
                    <a:lnTo>
                      <a:pt x="387" y="165"/>
                    </a:lnTo>
                    <a:lnTo>
                      <a:pt x="386" y="165"/>
                    </a:lnTo>
                    <a:lnTo>
                      <a:pt x="386" y="163"/>
                    </a:lnTo>
                    <a:lnTo>
                      <a:pt x="386" y="162"/>
                    </a:lnTo>
                    <a:close/>
                    <a:moveTo>
                      <a:pt x="394" y="124"/>
                    </a:moveTo>
                    <a:lnTo>
                      <a:pt x="396" y="124"/>
                    </a:lnTo>
                    <a:lnTo>
                      <a:pt x="396" y="128"/>
                    </a:lnTo>
                    <a:lnTo>
                      <a:pt x="394" y="128"/>
                    </a:lnTo>
                    <a:lnTo>
                      <a:pt x="394" y="124"/>
                    </a:lnTo>
                    <a:close/>
                    <a:moveTo>
                      <a:pt x="432" y="0"/>
                    </a:moveTo>
                    <a:lnTo>
                      <a:pt x="433" y="0"/>
                    </a:lnTo>
                    <a:lnTo>
                      <a:pt x="433" y="2"/>
                    </a:lnTo>
                    <a:lnTo>
                      <a:pt x="432" y="2"/>
                    </a:lnTo>
                    <a:lnTo>
                      <a:pt x="432" y="0"/>
                    </a:lnTo>
                    <a:close/>
                    <a:moveTo>
                      <a:pt x="391" y="156"/>
                    </a:moveTo>
                    <a:lnTo>
                      <a:pt x="394" y="156"/>
                    </a:lnTo>
                    <a:lnTo>
                      <a:pt x="394" y="160"/>
                    </a:lnTo>
                    <a:lnTo>
                      <a:pt x="391" y="160"/>
                    </a:lnTo>
                    <a:lnTo>
                      <a:pt x="391" y="156"/>
                    </a:lnTo>
                    <a:close/>
                    <a:moveTo>
                      <a:pt x="46" y="63"/>
                    </a:moveTo>
                    <a:lnTo>
                      <a:pt x="47" y="63"/>
                    </a:lnTo>
                    <a:lnTo>
                      <a:pt x="47" y="65"/>
                    </a:lnTo>
                    <a:lnTo>
                      <a:pt x="46" y="65"/>
                    </a:lnTo>
                    <a:lnTo>
                      <a:pt x="46" y="63"/>
                    </a:lnTo>
                    <a:close/>
                    <a:moveTo>
                      <a:pt x="53" y="77"/>
                    </a:moveTo>
                    <a:lnTo>
                      <a:pt x="56" y="77"/>
                    </a:lnTo>
                    <a:lnTo>
                      <a:pt x="53" y="77"/>
                    </a:lnTo>
                    <a:close/>
                    <a:moveTo>
                      <a:pt x="394" y="138"/>
                    </a:moveTo>
                    <a:lnTo>
                      <a:pt x="396" y="138"/>
                    </a:lnTo>
                    <a:lnTo>
                      <a:pt x="396" y="139"/>
                    </a:lnTo>
                    <a:lnTo>
                      <a:pt x="394" y="139"/>
                    </a:lnTo>
                    <a:lnTo>
                      <a:pt x="394" y="138"/>
                    </a:lnTo>
                    <a:close/>
                    <a:moveTo>
                      <a:pt x="398" y="122"/>
                    </a:moveTo>
                    <a:lnTo>
                      <a:pt x="399" y="122"/>
                    </a:lnTo>
                    <a:lnTo>
                      <a:pt x="399" y="124"/>
                    </a:lnTo>
                    <a:lnTo>
                      <a:pt x="398" y="124"/>
                    </a:lnTo>
                    <a:lnTo>
                      <a:pt x="398" y="122"/>
                    </a:lnTo>
                    <a:close/>
                    <a:moveTo>
                      <a:pt x="384" y="162"/>
                    </a:moveTo>
                    <a:lnTo>
                      <a:pt x="386" y="162"/>
                    </a:lnTo>
                    <a:lnTo>
                      <a:pt x="386" y="165"/>
                    </a:lnTo>
                    <a:lnTo>
                      <a:pt x="384" y="165"/>
                    </a:lnTo>
                    <a:lnTo>
                      <a:pt x="384" y="162"/>
                    </a:lnTo>
                    <a:close/>
                    <a:moveTo>
                      <a:pt x="394" y="131"/>
                    </a:moveTo>
                    <a:lnTo>
                      <a:pt x="396" y="131"/>
                    </a:lnTo>
                    <a:lnTo>
                      <a:pt x="394" y="131"/>
                    </a:lnTo>
                    <a:close/>
                    <a:moveTo>
                      <a:pt x="391" y="129"/>
                    </a:moveTo>
                    <a:lnTo>
                      <a:pt x="392" y="129"/>
                    </a:lnTo>
                    <a:lnTo>
                      <a:pt x="392" y="133"/>
                    </a:lnTo>
                    <a:lnTo>
                      <a:pt x="391" y="133"/>
                    </a:lnTo>
                    <a:lnTo>
                      <a:pt x="391" y="129"/>
                    </a:lnTo>
                    <a:close/>
                    <a:moveTo>
                      <a:pt x="34" y="68"/>
                    </a:moveTo>
                    <a:lnTo>
                      <a:pt x="34" y="70"/>
                    </a:lnTo>
                    <a:lnTo>
                      <a:pt x="34" y="68"/>
                    </a:lnTo>
                    <a:close/>
                    <a:moveTo>
                      <a:pt x="392" y="129"/>
                    </a:moveTo>
                    <a:lnTo>
                      <a:pt x="394" y="129"/>
                    </a:lnTo>
                    <a:lnTo>
                      <a:pt x="394" y="131"/>
                    </a:lnTo>
                    <a:lnTo>
                      <a:pt x="392" y="131"/>
                    </a:lnTo>
                    <a:lnTo>
                      <a:pt x="392" y="129"/>
                    </a:lnTo>
                    <a:close/>
                    <a:moveTo>
                      <a:pt x="396" y="128"/>
                    </a:moveTo>
                    <a:lnTo>
                      <a:pt x="396" y="129"/>
                    </a:lnTo>
                    <a:lnTo>
                      <a:pt x="396" y="128"/>
                    </a:lnTo>
                    <a:close/>
                    <a:moveTo>
                      <a:pt x="387" y="162"/>
                    </a:moveTo>
                    <a:lnTo>
                      <a:pt x="389" y="162"/>
                    </a:lnTo>
                    <a:lnTo>
                      <a:pt x="389" y="163"/>
                    </a:lnTo>
                    <a:lnTo>
                      <a:pt x="387" y="163"/>
                    </a:lnTo>
                    <a:lnTo>
                      <a:pt x="387" y="162"/>
                    </a:lnTo>
                    <a:close/>
                    <a:moveTo>
                      <a:pt x="396" y="131"/>
                    </a:moveTo>
                    <a:lnTo>
                      <a:pt x="398" y="131"/>
                    </a:lnTo>
                    <a:lnTo>
                      <a:pt x="398" y="133"/>
                    </a:lnTo>
                    <a:lnTo>
                      <a:pt x="396" y="133"/>
                    </a:lnTo>
                    <a:lnTo>
                      <a:pt x="396" y="131"/>
                    </a:lnTo>
                    <a:close/>
                    <a:moveTo>
                      <a:pt x="392" y="136"/>
                    </a:moveTo>
                    <a:lnTo>
                      <a:pt x="396" y="136"/>
                    </a:lnTo>
                    <a:lnTo>
                      <a:pt x="396" y="138"/>
                    </a:lnTo>
                    <a:lnTo>
                      <a:pt x="392" y="138"/>
                    </a:lnTo>
                    <a:lnTo>
                      <a:pt x="392" y="136"/>
                    </a:lnTo>
                    <a:close/>
                    <a:moveTo>
                      <a:pt x="58" y="37"/>
                    </a:moveTo>
                    <a:lnTo>
                      <a:pt x="58" y="39"/>
                    </a:lnTo>
                    <a:lnTo>
                      <a:pt x="58" y="37"/>
                    </a:lnTo>
                    <a:close/>
                    <a:moveTo>
                      <a:pt x="394" y="128"/>
                    </a:moveTo>
                    <a:lnTo>
                      <a:pt x="396" y="128"/>
                    </a:lnTo>
                    <a:lnTo>
                      <a:pt x="396" y="129"/>
                    </a:lnTo>
                    <a:lnTo>
                      <a:pt x="394" y="129"/>
                    </a:lnTo>
                    <a:lnTo>
                      <a:pt x="394" y="128"/>
                    </a:lnTo>
                    <a:close/>
                    <a:moveTo>
                      <a:pt x="392" y="36"/>
                    </a:moveTo>
                    <a:lnTo>
                      <a:pt x="394" y="36"/>
                    </a:lnTo>
                    <a:lnTo>
                      <a:pt x="392" y="36"/>
                    </a:lnTo>
                    <a:close/>
                    <a:moveTo>
                      <a:pt x="394" y="41"/>
                    </a:moveTo>
                    <a:lnTo>
                      <a:pt x="396" y="41"/>
                    </a:lnTo>
                    <a:lnTo>
                      <a:pt x="396" y="43"/>
                    </a:lnTo>
                    <a:lnTo>
                      <a:pt x="394" y="43"/>
                    </a:lnTo>
                    <a:lnTo>
                      <a:pt x="394" y="41"/>
                    </a:lnTo>
                    <a:close/>
                    <a:moveTo>
                      <a:pt x="392" y="136"/>
                    </a:moveTo>
                    <a:lnTo>
                      <a:pt x="392" y="138"/>
                    </a:lnTo>
                    <a:lnTo>
                      <a:pt x="392" y="136"/>
                    </a:lnTo>
                    <a:close/>
                    <a:moveTo>
                      <a:pt x="391" y="146"/>
                    </a:moveTo>
                    <a:lnTo>
                      <a:pt x="391" y="148"/>
                    </a:lnTo>
                    <a:lnTo>
                      <a:pt x="391" y="146"/>
                    </a:lnTo>
                    <a:close/>
                    <a:moveTo>
                      <a:pt x="396" y="129"/>
                    </a:moveTo>
                    <a:lnTo>
                      <a:pt x="398" y="129"/>
                    </a:lnTo>
                    <a:lnTo>
                      <a:pt x="398" y="131"/>
                    </a:lnTo>
                    <a:lnTo>
                      <a:pt x="396" y="131"/>
                    </a:lnTo>
                    <a:lnTo>
                      <a:pt x="396" y="129"/>
                    </a:lnTo>
                    <a:close/>
                    <a:moveTo>
                      <a:pt x="394" y="129"/>
                    </a:moveTo>
                    <a:lnTo>
                      <a:pt x="396" y="129"/>
                    </a:lnTo>
                    <a:lnTo>
                      <a:pt x="396" y="131"/>
                    </a:lnTo>
                    <a:lnTo>
                      <a:pt x="394" y="131"/>
                    </a:lnTo>
                    <a:lnTo>
                      <a:pt x="394" y="129"/>
                    </a:lnTo>
                    <a:close/>
                    <a:moveTo>
                      <a:pt x="391" y="146"/>
                    </a:moveTo>
                    <a:lnTo>
                      <a:pt x="391" y="148"/>
                    </a:lnTo>
                    <a:lnTo>
                      <a:pt x="391" y="146"/>
                    </a:lnTo>
                    <a:close/>
                    <a:moveTo>
                      <a:pt x="389" y="145"/>
                    </a:moveTo>
                    <a:lnTo>
                      <a:pt x="391" y="145"/>
                    </a:lnTo>
                    <a:lnTo>
                      <a:pt x="391" y="146"/>
                    </a:lnTo>
                    <a:lnTo>
                      <a:pt x="389" y="146"/>
                    </a:lnTo>
                    <a:lnTo>
                      <a:pt x="389" y="145"/>
                    </a:lnTo>
                    <a:close/>
                    <a:moveTo>
                      <a:pt x="357" y="92"/>
                    </a:moveTo>
                    <a:lnTo>
                      <a:pt x="359" y="92"/>
                    </a:lnTo>
                    <a:lnTo>
                      <a:pt x="357" y="92"/>
                    </a:lnTo>
                    <a:close/>
                    <a:moveTo>
                      <a:pt x="389" y="145"/>
                    </a:moveTo>
                    <a:lnTo>
                      <a:pt x="389" y="146"/>
                    </a:lnTo>
                    <a:lnTo>
                      <a:pt x="389" y="145"/>
                    </a:lnTo>
                    <a:close/>
                    <a:moveTo>
                      <a:pt x="396" y="131"/>
                    </a:moveTo>
                    <a:lnTo>
                      <a:pt x="398" y="131"/>
                    </a:lnTo>
                    <a:lnTo>
                      <a:pt x="396" y="131"/>
                    </a:lnTo>
                    <a:close/>
                    <a:moveTo>
                      <a:pt x="433" y="0"/>
                    </a:moveTo>
                    <a:lnTo>
                      <a:pt x="433" y="2"/>
                    </a:lnTo>
                    <a:lnTo>
                      <a:pt x="433" y="0"/>
                    </a:lnTo>
                    <a:close/>
                    <a:moveTo>
                      <a:pt x="391" y="34"/>
                    </a:moveTo>
                    <a:lnTo>
                      <a:pt x="392" y="34"/>
                    </a:lnTo>
                    <a:lnTo>
                      <a:pt x="391" y="34"/>
                    </a:lnTo>
                    <a:close/>
                    <a:moveTo>
                      <a:pt x="396" y="129"/>
                    </a:moveTo>
                    <a:lnTo>
                      <a:pt x="398" y="129"/>
                    </a:lnTo>
                    <a:lnTo>
                      <a:pt x="396" y="129"/>
                    </a:lnTo>
                    <a:close/>
                    <a:moveTo>
                      <a:pt x="391" y="134"/>
                    </a:moveTo>
                    <a:lnTo>
                      <a:pt x="392" y="134"/>
                    </a:lnTo>
                    <a:lnTo>
                      <a:pt x="392" y="136"/>
                    </a:lnTo>
                    <a:lnTo>
                      <a:pt x="391" y="136"/>
                    </a:lnTo>
                    <a:lnTo>
                      <a:pt x="391" y="134"/>
                    </a:lnTo>
                    <a:close/>
                    <a:moveTo>
                      <a:pt x="399" y="134"/>
                    </a:moveTo>
                    <a:lnTo>
                      <a:pt x="401" y="134"/>
                    </a:lnTo>
                    <a:lnTo>
                      <a:pt x="399" y="134"/>
                    </a:lnTo>
                    <a:close/>
                    <a:moveTo>
                      <a:pt x="428" y="8"/>
                    </a:moveTo>
                    <a:lnTo>
                      <a:pt x="428" y="10"/>
                    </a:lnTo>
                    <a:lnTo>
                      <a:pt x="428" y="8"/>
                    </a:lnTo>
                    <a:close/>
                    <a:moveTo>
                      <a:pt x="386" y="163"/>
                    </a:moveTo>
                    <a:lnTo>
                      <a:pt x="386" y="165"/>
                    </a:lnTo>
                    <a:lnTo>
                      <a:pt x="386" y="163"/>
                    </a:lnTo>
                    <a:close/>
                    <a:moveTo>
                      <a:pt x="46" y="61"/>
                    </a:moveTo>
                    <a:lnTo>
                      <a:pt x="47" y="61"/>
                    </a:lnTo>
                    <a:lnTo>
                      <a:pt x="47" y="63"/>
                    </a:lnTo>
                    <a:lnTo>
                      <a:pt x="46" y="63"/>
                    </a:lnTo>
                    <a:lnTo>
                      <a:pt x="46" y="61"/>
                    </a:lnTo>
                    <a:close/>
                    <a:moveTo>
                      <a:pt x="396" y="129"/>
                    </a:moveTo>
                    <a:lnTo>
                      <a:pt x="396" y="131"/>
                    </a:lnTo>
                    <a:lnTo>
                      <a:pt x="396" y="129"/>
                    </a:lnTo>
                    <a:close/>
                    <a:moveTo>
                      <a:pt x="433" y="0"/>
                    </a:moveTo>
                    <a:lnTo>
                      <a:pt x="433" y="2"/>
                    </a:lnTo>
                    <a:lnTo>
                      <a:pt x="433" y="0"/>
                    </a:lnTo>
                    <a:close/>
                    <a:moveTo>
                      <a:pt x="387" y="138"/>
                    </a:moveTo>
                    <a:lnTo>
                      <a:pt x="387" y="139"/>
                    </a:lnTo>
                    <a:lnTo>
                      <a:pt x="387" y="138"/>
                    </a:lnTo>
                    <a:close/>
                    <a:moveTo>
                      <a:pt x="396" y="128"/>
                    </a:moveTo>
                    <a:lnTo>
                      <a:pt x="396" y="129"/>
                    </a:lnTo>
                    <a:lnTo>
                      <a:pt x="396" y="128"/>
                    </a:lnTo>
                    <a:close/>
                    <a:moveTo>
                      <a:pt x="386" y="165"/>
                    </a:moveTo>
                    <a:lnTo>
                      <a:pt x="387" y="165"/>
                    </a:lnTo>
                    <a:lnTo>
                      <a:pt x="386" y="165"/>
                    </a:lnTo>
                    <a:close/>
                    <a:moveTo>
                      <a:pt x="384" y="163"/>
                    </a:moveTo>
                    <a:lnTo>
                      <a:pt x="386" y="163"/>
                    </a:lnTo>
                    <a:lnTo>
                      <a:pt x="384" y="16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5" name="Freeform 30">
                <a:extLst>
                  <a:ext uri="{FF2B5EF4-FFF2-40B4-BE49-F238E27FC236}">
                    <a16:creationId xmlns:a16="http://schemas.microsoft.com/office/drawing/2014/main" id="{41ACF91B-6F42-C8E4-FBF3-A3FE18193B8B}"/>
                  </a:ext>
                </a:extLst>
              </p:cNvPr>
              <p:cNvSpPr>
                <a:spLocks noEditPoints="1"/>
              </p:cNvSpPr>
              <p:nvPr/>
            </p:nvSpPr>
            <p:spPr bwMode="auto">
              <a:xfrm>
                <a:off x="5769926" y="3536912"/>
                <a:ext cx="36127" cy="23204"/>
              </a:xfrm>
              <a:custGeom>
                <a:avLst/>
                <a:gdLst>
                  <a:gd name="T0" fmla="*/ 102 w 123"/>
                  <a:gd name="T1" fmla="*/ 21 h 79"/>
                  <a:gd name="T2" fmla="*/ 92 w 123"/>
                  <a:gd name="T3" fmla="*/ 24 h 79"/>
                  <a:gd name="T4" fmla="*/ 102 w 123"/>
                  <a:gd name="T5" fmla="*/ 33 h 79"/>
                  <a:gd name="T6" fmla="*/ 107 w 123"/>
                  <a:gd name="T7" fmla="*/ 27 h 79"/>
                  <a:gd name="T8" fmla="*/ 117 w 123"/>
                  <a:gd name="T9" fmla="*/ 21 h 79"/>
                  <a:gd name="T10" fmla="*/ 112 w 123"/>
                  <a:gd name="T11" fmla="*/ 29 h 79"/>
                  <a:gd name="T12" fmla="*/ 116 w 123"/>
                  <a:gd name="T13" fmla="*/ 36 h 79"/>
                  <a:gd name="T14" fmla="*/ 114 w 123"/>
                  <a:gd name="T15" fmla="*/ 39 h 79"/>
                  <a:gd name="T16" fmla="*/ 106 w 123"/>
                  <a:gd name="T17" fmla="*/ 43 h 79"/>
                  <a:gd name="T18" fmla="*/ 97 w 123"/>
                  <a:gd name="T19" fmla="*/ 50 h 79"/>
                  <a:gd name="T20" fmla="*/ 80 w 123"/>
                  <a:gd name="T21" fmla="*/ 43 h 79"/>
                  <a:gd name="T22" fmla="*/ 87 w 123"/>
                  <a:gd name="T23" fmla="*/ 51 h 79"/>
                  <a:gd name="T24" fmla="*/ 87 w 123"/>
                  <a:gd name="T25" fmla="*/ 56 h 79"/>
                  <a:gd name="T26" fmla="*/ 68 w 123"/>
                  <a:gd name="T27" fmla="*/ 55 h 79"/>
                  <a:gd name="T28" fmla="*/ 77 w 123"/>
                  <a:gd name="T29" fmla="*/ 62 h 79"/>
                  <a:gd name="T30" fmla="*/ 66 w 123"/>
                  <a:gd name="T31" fmla="*/ 60 h 79"/>
                  <a:gd name="T32" fmla="*/ 66 w 123"/>
                  <a:gd name="T33" fmla="*/ 70 h 79"/>
                  <a:gd name="T34" fmla="*/ 58 w 123"/>
                  <a:gd name="T35" fmla="*/ 65 h 79"/>
                  <a:gd name="T36" fmla="*/ 61 w 123"/>
                  <a:gd name="T37" fmla="*/ 53 h 79"/>
                  <a:gd name="T38" fmla="*/ 65 w 123"/>
                  <a:gd name="T39" fmla="*/ 46 h 79"/>
                  <a:gd name="T40" fmla="*/ 78 w 123"/>
                  <a:gd name="T41" fmla="*/ 43 h 79"/>
                  <a:gd name="T42" fmla="*/ 75 w 123"/>
                  <a:gd name="T43" fmla="*/ 27 h 79"/>
                  <a:gd name="T44" fmla="*/ 77 w 123"/>
                  <a:gd name="T45" fmla="*/ 22 h 79"/>
                  <a:gd name="T46" fmla="*/ 70 w 123"/>
                  <a:gd name="T47" fmla="*/ 24 h 79"/>
                  <a:gd name="T48" fmla="*/ 66 w 123"/>
                  <a:gd name="T49" fmla="*/ 33 h 79"/>
                  <a:gd name="T50" fmla="*/ 55 w 123"/>
                  <a:gd name="T51" fmla="*/ 43 h 79"/>
                  <a:gd name="T52" fmla="*/ 41 w 123"/>
                  <a:gd name="T53" fmla="*/ 55 h 79"/>
                  <a:gd name="T54" fmla="*/ 38 w 123"/>
                  <a:gd name="T55" fmla="*/ 58 h 79"/>
                  <a:gd name="T56" fmla="*/ 31 w 123"/>
                  <a:gd name="T57" fmla="*/ 62 h 79"/>
                  <a:gd name="T58" fmla="*/ 22 w 123"/>
                  <a:gd name="T59" fmla="*/ 65 h 79"/>
                  <a:gd name="T60" fmla="*/ 21 w 123"/>
                  <a:gd name="T61" fmla="*/ 63 h 79"/>
                  <a:gd name="T62" fmla="*/ 19 w 123"/>
                  <a:gd name="T63" fmla="*/ 56 h 79"/>
                  <a:gd name="T64" fmla="*/ 22 w 123"/>
                  <a:gd name="T65" fmla="*/ 56 h 79"/>
                  <a:gd name="T66" fmla="*/ 29 w 123"/>
                  <a:gd name="T67" fmla="*/ 51 h 79"/>
                  <a:gd name="T68" fmla="*/ 32 w 123"/>
                  <a:gd name="T69" fmla="*/ 45 h 79"/>
                  <a:gd name="T70" fmla="*/ 36 w 123"/>
                  <a:gd name="T71" fmla="*/ 39 h 79"/>
                  <a:gd name="T72" fmla="*/ 34 w 123"/>
                  <a:gd name="T73" fmla="*/ 36 h 79"/>
                  <a:gd name="T74" fmla="*/ 34 w 123"/>
                  <a:gd name="T75" fmla="*/ 29 h 79"/>
                  <a:gd name="T76" fmla="*/ 24 w 123"/>
                  <a:gd name="T77" fmla="*/ 19 h 79"/>
                  <a:gd name="T78" fmla="*/ 43 w 123"/>
                  <a:gd name="T79" fmla="*/ 22 h 79"/>
                  <a:gd name="T80" fmla="*/ 51 w 123"/>
                  <a:gd name="T81" fmla="*/ 22 h 79"/>
                  <a:gd name="T82" fmla="*/ 63 w 123"/>
                  <a:gd name="T83" fmla="*/ 24 h 79"/>
                  <a:gd name="T84" fmla="*/ 15 w 123"/>
                  <a:gd name="T85" fmla="*/ 50 h 79"/>
                  <a:gd name="T86" fmla="*/ 14 w 123"/>
                  <a:gd name="T87" fmla="*/ 43 h 79"/>
                  <a:gd name="T88" fmla="*/ 43 w 123"/>
                  <a:gd name="T89" fmla="*/ 17 h 79"/>
                  <a:gd name="T90" fmla="*/ 34 w 123"/>
                  <a:gd name="T91" fmla="*/ 14 h 79"/>
                  <a:gd name="T92" fmla="*/ 55 w 123"/>
                  <a:gd name="T93" fmla="*/ 16 h 79"/>
                  <a:gd name="T94" fmla="*/ 99 w 123"/>
                  <a:gd name="T95" fmla="*/ 53 h 79"/>
                  <a:gd name="T96" fmla="*/ 48 w 123"/>
                  <a:gd name="T97" fmla="*/ 19 h 79"/>
                  <a:gd name="T98" fmla="*/ 55 w 123"/>
                  <a:gd name="T99" fmla="*/ 73 h 79"/>
                  <a:gd name="T100" fmla="*/ 4 w 123"/>
                  <a:gd name="T101" fmla="*/ 38 h 79"/>
                  <a:gd name="T102" fmla="*/ 53 w 123"/>
                  <a:gd name="T103" fmla="*/ 17 h 79"/>
                  <a:gd name="T104" fmla="*/ 58 w 123"/>
                  <a:gd name="T105" fmla="*/ 41 h 79"/>
                  <a:gd name="T106" fmla="*/ 56 w 123"/>
                  <a:gd name="T107" fmla="*/ 22 h 79"/>
                  <a:gd name="T108" fmla="*/ 60 w 123"/>
                  <a:gd name="T109" fmla="*/ 19 h 79"/>
                  <a:gd name="T110" fmla="*/ 17 w 123"/>
                  <a:gd name="T111" fmla="*/ 10 h 79"/>
                  <a:gd name="T112" fmla="*/ 17 w 123"/>
                  <a:gd name="T113" fmla="*/ 5 h 79"/>
                  <a:gd name="T114" fmla="*/ 17 w 123"/>
                  <a:gd name="T115" fmla="*/ 7 h 79"/>
                  <a:gd name="T116" fmla="*/ 21 w 123"/>
                  <a:gd name="T117" fmla="*/ 26 h 79"/>
                  <a:gd name="T118" fmla="*/ 17 w 123"/>
                  <a:gd name="T119" fmla="*/ 31 h 79"/>
                  <a:gd name="T120" fmla="*/ 41 w 123"/>
                  <a:gd name="T121" fmla="*/ 22 h 79"/>
                  <a:gd name="T122" fmla="*/ 29 w 123"/>
                  <a:gd name="T123" fmla="*/ 17 h 79"/>
                  <a:gd name="T124" fmla="*/ 55 w 123"/>
                  <a:gd name="T125" fmla="*/ 4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3" h="79">
                    <a:moveTo>
                      <a:pt x="80" y="12"/>
                    </a:moveTo>
                    <a:lnTo>
                      <a:pt x="82" y="12"/>
                    </a:lnTo>
                    <a:lnTo>
                      <a:pt x="82" y="14"/>
                    </a:lnTo>
                    <a:lnTo>
                      <a:pt x="83" y="14"/>
                    </a:lnTo>
                    <a:lnTo>
                      <a:pt x="83" y="16"/>
                    </a:lnTo>
                    <a:lnTo>
                      <a:pt x="85" y="16"/>
                    </a:lnTo>
                    <a:lnTo>
                      <a:pt x="87" y="16"/>
                    </a:lnTo>
                    <a:lnTo>
                      <a:pt x="87" y="17"/>
                    </a:lnTo>
                    <a:lnTo>
                      <a:pt x="89" y="17"/>
                    </a:lnTo>
                    <a:lnTo>
                      <a:pt x="90" y="17"/>
                    </a:lnTo>
                    <a:lnTo>
                      <a:pt x="92" y="17"/>
                    </a:lnTo>
                    <a:lnTo>
                      <a:pt x="92" y="19"/>
                    </a:lnTo>
                    <a:lnTo>
                      <a:pt x="94" y="19"/>
                    </a:lnTo>
                    <a:lnTo>
                      <a:pt x="94" y="17"/>
                    </a:lnTo>
                    <a:lnTo>
                      <a:pt x="92" y="19"/>
                    </a:lnTo>
                    <a:lnTo>
                      <a:pt x="92" y="17"/>
                    </a:lnTo>
                    <a:lnTo>
                      <a:pt x="94" y="16"/>
                    </a:lnTo>
                    <a:lnTo>
                      <a:pt x="95" y="16"/>
                    </a:lnTo>
                    <a:lnTo>
                      <a:pt x="97" y="16"/>
                    </a:lnTo>
                    <a:lnTo>
                      <a:pt x="97" y="17"/>
                    </a:lnTo>
                    <a:lnTo>
                      <a:pt x="99" y="17"/>
                    </a:lnTo>
                    <a:lnTo>
                      <a:pt x="100" y="17"/>
                    </a:lnTo>
                    <a:lnTo>
                      <a:pt x="100" y="19"/>
                    </a:lnTo>
                    <a:lnTo>
                      <a:pt x="102" y="19"/>
                    </a:lnTo>
                    <a:lnTo>
                      <a:pt x="102" y="21"/>
                    </a:lnTo>
                    <a:lnTo>
                      <a:pt x="100" y="21"/>
                    </a:lnTo>
                    <a:lnTo>
                      <a:pt x="102" y="21"/>
                    </a:lnTo>
                    <a:lnTo>
                      <a:pt x="102" y="22"/>
                    </a:lnTo>
                    <a:lnTo>
                      <a:pt x="100" y="22"/>
                    </a:lnTo>
                    <a:lnTo>
                      <a:pt x="102" y="22"/>
                    </a:lnTo>
                    <a:lnTo>
                      <a:pt x="102" y="24"/>
                    </a:lnTo>
                    <a:lnTo>
                      <a:pt x="100" y="24"/>
                    </a:lnTo>
                    <a:lnTo>
                      <a:pt x="100" y="22"/>
                    </a:lnTo>
                    <a:lnTo>
                      <a:pt x="100" y="24"/>
                    </a:lnTo>
                    <a:lnTo>
                      <a:pt x="99" y="24"/>
                    </a:lnTo>
                    <a:lnTo>
                      <a:pt x="97" y="24"/>
                    </a:lnTo>
                    <a:lnTo>
                      <a:pt x="97" y="22"/>
                    </a:lnTo>
                    <a:lnTo>
                      <a:pt x="97" y="21"/>
                    </a:lnTo>
                    <a:lnTo>
                      <a:pt x="97" y="22"/>
                    </a:lnTo>
                    <a:lnTo>
                      <a:pt x="95" y="22"/>
                    </a:lnTo>
                    <a:lnTo>
                      <a:pt x="95" y="21"/>
                    </a:lnTo>
                    <a:lnTo>
                      <a:pt x="97" y="21"/>
                    </a:lnTo>
                    <a:lnTo>
                      <a:pt x="95" y="21"/>
                    </a:lnTo>
                    <a:lnTo>
                      <a:pt x="95" y="22"/>
                    </a:lnTo>
                    <a:lnTo>
                      <a:pt x="94" y="22"/>
                    </a:lnTo>
                    <a:lnTo>
                      <a:pt x="94" y="24"/>
                    </a:lnTo>
                    <a:lnTo>
                      <a:pt x="94" y="22"/>
                    </a:lnTo>
                    <a:lnTo>
                      <a:pt x="95" y="22"/>
                    </a:lnTo>
                    <a:lnTo>
                      <a:pt x="94" y="24"/>
                    </a:lnTo>
                    <a:lnTo>
                      <a:pt x="92" y="24"/>
                    </a:lnTo>
                    <a:lnTo>
                      <a:pt x="94" y="24"/>
                    </a:lnTo>
                    <a:lnTo>
                      <a:pt x="95" y="22"/>
                    </a:lnTo>
                    <a:lnTo>
                      <a:pt x="95" y="24"/>
                    </a:lnTo>
                    <a:lnTo>
                      <a:pt x="95" y="22"/>
                    </a:lnTo>
                    <a:lnTo>
                      <a:pt x="97" y="24"/>
                    </a:lnTo>
                    <a:lnTo>
                      <a:pt x="95" y="24"/>
                    </a:lnTo>
                    <a:lnTo>
                      <a:pt x="95" y="26"/>
                    </a:lnTo>
                    <a:lnTo>
                      <a:pt x="95" y="27"/>
                    </a:lnTo>
                    <a:lnTo>
                      <a:pt x="95" y="26"/>
                    </a:lnTo>
                    <a:lnTo>
                      <a:pt x="97" y="24"/>
                    </a:lnTo>
                    <a:lnTo>
                      <a:pt x="97" y="26"/>
                    </a:lnTo>
                    <a:lnTo>
                      <a:pt x="99" y="26"/>
                    </a:lnTo>
                    <a:lnTo>
                      <a:pt x="99" y="24"/>
                    </a:lnTo>
                    <a:lnTo>
                      <a:pt x="99" y="26"/>
                    </a:lnTo>
                    <a:lnTo>
                      <a:pt x="99" y="27"/>
                    </a:lnTo>
                    <a:lnTo>
                      <a:pt x="99" y="29"/>
                    </a:lnTo>
                    <a:lnTo>
                      <a:pt x="100" y="27"/>
                    </a:lnTo>
                    <a:lnTo>
                      <a:pt x="100" y="29"/>
                    </a:lnTo>
                    <a:lnTo>
                      <a:pt x="100" y="31"/>
                    </a:lnTo>
                    <a:lnTo>
                      <a:pt x="100" y="29"/>
                    </a:lnTo>
                    <a:lnTo>
                      <a:pt x="102" y="31"/>
                    </a:lnTo>
                    <a:lnTo>
                      <a:pt x="102" y="29"/>
                    </a:lnTo>
                    <a:lnTo>
                      <a:pt x="104" y="29"/>
                    </a:lnTo>
                    <a:lnTo>
                      <a:pt x="104" y="31"/>
                    </a:lnTo>
                    <a:lnTo>
                      <a:pt x="102" y="33"/>
                    </a:lnTo>
                    <a:lnTo>
                      <a:pt x="104" y="33"/>
                    </a:lnTo>
                    <a:lnTo>
                      <a:pt x="106" y="33"/>
                    </a:lnTo>
                    <a:lnTo>
                      <a:pt x="104" y="33"/>
                    </a:lnTo>
                    <a:lnTo>
                      <a:pt x="104" y="34"/>
                    </a:lnTo>
                    <a:lnTo>
                      <a:pt x="106" y="34"/>
                    </a:lnTo>
                    <a:lnTo>
                      <a:pt x="104" y="34"/>
                    </a:lnTo>
                    <a:lnTo>
                      <a:pt x="106" y="34"/>
                    </a:lnTo>
                    <a:lnTo>
                      <a:pt x="106" y="33"/>
                    </a:lnTo>
                    <a:lnTo>
                      <a:pt x="106" y="34"/>
                    </a:lnTo>
                    <a:lnTo>
                      <a:pt x="106" y="36"/>
                    </a:lnTo>
                    <a:lnTo>
                      <a:pt x="106" y="34"/>
                    </a:lnTo>
                    <a:lnTo>
                      <a:pt x="107" y="34"/>
                    </a:lnTo>
                    <a:lnTo>
                      <a:pt x="106" y="34"/>
                    </a:lnTo>
                    <a:lnTo>
                      <a:pt x="106" y="33"/>
                    </a:lnTo>
                    <a:lnTo>
                      <a:pt x="104" y="33"/>
                    </a:lnTo>
                    <a:lnTo>
                      <a:pt x="106" y="31"/>
                    </a:lnTo>
                    <a:lnTo>
                      <a:pt x="107" y="33"/>
                    </a:lnTo>
                    <a:lnTo>
                      <a:pt x="109" y="33"/>
                    </a:lnTo>
                    <a:lnTo>
                      <a:pt x="107" y="33"/>
                    </a:lnTo>
                    <a:lnTo>
                      <a:pt x="106" y="31"/>
                    </a:lnTo>
                    <a:lnTo>
                      <a:pt x="107" y="31"/>
                    </a:lnTo>
                    <a:lnTo>
                      <a:pt x="106" y="31"/>
                    </a:lnTo>
                    <a:lnTo>
                      <a:pt x="104" y="29"/>
                    </a:lnTo>
                    <a:lnTo>
                      <a:pt x="106" y="29"/>
                    </a:lnTo>
                    <a:lnTo>
                      <a:pt x="107" y="27"/>
                    </a:lnTo>
                    <a:lnTo>
                      <a:pt x="106" y="27"/>
                    </a:lnTo>
                    <a:lnTo>
                      <a:pt x="106" y="29"/>
                    </a:lnTo>
                    <a:lnTo>
                      <a:pt x="104" y="29"/>
                    </a:lnTo>
                    <a:lnTo>
                      <a:pt x="104" y="27"/>
                    </a:lnTo>
                    <a:lnTo>
                      <a:pt x="104" y="26"/>
                    </a:lnTo>
                    <a:lnTo>
                      <a:pt x="102" y="27"/>
                    </a:lnTo>
                    <a:lnTo>
                      <a:pt x="100" y="27"/>
                    </a:lnTo>
                    <a:lnTo>
                      <a:pt x="100" y="26"/>
                    </a:lnTo>
                    <a:lnTo>
                      <a:pt x="102" y="26"/>
                    </a:lnTo>
                    <a:lnTo>
                      <a:pt x="100" y="26"/>
                    </a:lnTo>
                    <a:lnTo>
                      <a:pt x="102" y="26"/>
                    </a:lnTo>
                    <a:lnTo>
                      <a:pt x="102" y="24"/>
                    </a:lnTo>
                    <a:lnTo>
                      <a:pt x="104" y="22"/>
                    </a:lnTo>
                    <a:lnTo>
                      <a:pt x="104" y="21"/>
                    </a:lnTo>
                    <a:lnTo>
                      <a:pt x="106" y="21"/>
                    </a:lnTo>
                    <a:lnTo>
                      <a:pt x="107" y="21"/>
                    </a:lnTo>
                    <a:lnTo>
                      <a:pt x="109" y="21"/>
                    </a:lnTo>
                    <a:lnTo>
                      <a:pt x="111" y="21"/>
                    </a:lnTo>
                    <a:lnTo>
                      <a:pt x="111" y="19"/>
                    </a:lnTo>
                    <a:lnTo>
                      <a:pt x="111" y="21"/>
                    </a:lnTo>
                    <a:lnTo>
                      <a:pt x="112" y="21"/>
                    </a:lnTo>
                    <a:lnTo>
                      <a:pt x="114" y="19"/>
                    </a:lnTo>
                    <a:lnTo>
                      <a:pt x="116" y="19"/>
                    </a:lnTo>
                    <a:lnTo>
                      <a:pt x="116" y="21"/>
                    </a:lnTo>
                    <a:lnTo>
                      <a:pt x="117" y="21"/>
                    </a:lnTo>
                    <a:lnTo>
                      <a:pt x="117" y="22"/>
                    </a:lnTo>
                    <a:lnTo>
                      <a:pt x="119" y="24"/>
                    </a:lnTo>
                    <a:lnTo>
                      <a:pt x="119" y="26"/>
                    </a:lnTo>
                    <a:lnTo>
                      <a:pt x="121" y="26"/>
                    </a:lnTo>
                    <a:lnTo>
                      <a:pt x="121" y="27"/>
                    </a:lnTo>
                    <a:lnTo>
                      <a:pt x="123" y="27"/>
                    </a:lnTo>
                    <a:lnTo>
                      <a:pt x="121" y="27"/>
                    </a:lnTo>
                    <a:lnTo>
                      <a:pt x="119" y="27"/>
                    </a:lnTo>
                    <a:lnTo>
                      <a:pt x="117" y="26"/>
                    </a:lnTo>
                    <a:lnTo>
                      <a:pt x="119" y="26"/>
                    </a:lnTo>
                    <a:lnTo>
                      <a:pt x="117" y="26"/>
                    </a:lnTo>
                    <a:lnTo>
                      <a:pt x="117" y="27"/>
                    </a:lnTo>
                    <a:lnTo>
                      <a:pt x="119" y="27"/>
                    </a:lnTo>
                    <a:lnTo>
                      <a:pt x="121" y="27"/>
                    </a:lnTo>
                    <a:lnTo>
                      <a:pt x="121" y="29"/>
                    </a:lnTo>
                    <a:lnTo>
                      <a:pt x="119" y="29"/>
                    </a:lnTo>
                    <a:lnTo>
                      <a:pt x="117" y="29"/>
                    </a:lnTo>
                    <a:lnTo>
                      <a:pt x="116" y="29"/>
                    </a:lnTo>
                    <a:lnTo>
                      <a:pt x="114" y="29"/>
                    </a:lnTo>
                    <a:lnTo>
                      <a:pt x="114" y="27"/>
                    </a:lnTo>
                    <a:lnTo>
                      <a:pt x="112" y="27"/>
                    </a:lnTo>
                    <a:lnTo>
                      <a:pt x="112" y="26"/>
                    </a:lnTo>
                    <a:lnTo>
                      <a:pt x="111" y="26"/>
                    </a:lnTo>
                    <a:lnTo>
                      <a:pt x="112" y="27"/>
                    </a:lnTo>
                    <a:lnTo>
                      <a:pt x="112" y="29"/>
                    </a:lnTo>
                    <a:lnTo>
                      <a:pt x="111" y="27"/>
                    </a:lnTo>
                    <a:lnTo>
                      <a:pt x="109" y="27"/>
                    </a:lnTo>
                    <a:lnTo>
                      <a:pt x="111" y="29"/>
                    </a:lnTo>
                    <a:lnTo>
                      <a:pt x="109" y="27"/>
                    </a:lnTo>
                    <a:lnTo>
                      <a:pt x="109" y="29"/>
                    </a:lnTo>
                    <a:lnTo>
                      <a:pt x="107" y="29"/>
                    </a:lnTo>
                    <a:lnTo>
                      <a:pt x="109" y="29"/>
                    </a:lnTo>
                    <a:lnTo>
                      <a:pt x="109" y="31"/>
                    </a:lnTo>
                    <a:lnTo>
                      <a:pt x="111" y="31"/>
                    </a:lnTo>
                    <a:lnTo>
                      <a:pt x="109" y="31"/>
                    </a:lnTo>
                    <a:lnTo>
                      <a:pt x="111" y="31"/>
                    </a:lnTo>
                    <a:lnTo>
                      <a:pt x="112" y="31"/>
                    </a:lnTo>
                    <a:lnTo>
                      <a:pt x="114" y="31"/>
                    </a:lnTo>
                    <a:lnTo>
                      <a:pt x="116" y="33"/>
                    </a:lnTo>
                    <a:lnTo>
                      <a:pt x="117" y="33"/>
                    </a:lnTo>
                    <a:lnTo>
                      <a:pt x="119" y="33"/>
                    </a:lnTo>
                    <a:lnTo>
                      <a:pt x="121" y="33"/>
                    </a:lnTo>
                    <a:lnTo>
                      <a:pt x="121" y="34"/>
                    </a:lnTo>
                    <a:lnTo>
                      <a:pt x="123" y="34"/>
                    </a:lnTo>
                    <a:lnTo>
                      <a:pt x="121" y="34"/>
                    </a:lnTo>
                    <a:lnTo>
                      <a:pt x="121" y="36"/>
                    </a:lnTo>
                    <a:lnTo>
                      <a:pt x="119" y="34"/>
                    </a:lnTo>
                    <a:lnTo>
                      <a:pt x="119" y="36"/>
                    </a:lnTo>
                    <a:lnTo>
                      <a:pt x="117" y="36"/>
                    </a:lnTo>
                    <a:lnTo>
                      <a:pt x="116" y="36"/>
                    </a:lnTo>
                    <a:lnTo>
                      <a:pt x="116" y="34"/>
                    </a:lnTo>
                    <a:lnTo>
                      <a:pt x="114" y="34"/>
                    </a:lnTo>
                    <a:lnTo>
                      <a:pt x="116" y="34"/>
                    </a:lnTo>
                    <a:lnTo>
                      <a:pt x="116" y="36"/>
                    </a:lnTo>
                    <a:lnTo>
                      <a:pt x="117" y="36"/>
                    </a:lnTo>
                    <a:lnTo>
                      <a:pt x="116" y="36"/>
                    </a:lnTo>
                    <a:lnTo>
                      <a:pt x="117" y="36"/>
                    </a:lnTo>
                    <a:lnTo>
                      <a:pt x="119" y="36"/>
                    </a:lnTo>
                    <a:lnTo>
                      <a:pt x="117" y="36"/>
                    </a:lnTo>
                    <a:lnTo>
                      <a:pt x="116" y="36"/>
                    </a:lnTo>
                    <a:lnTo>
                      <a:pt x="117" y="38"/>
                    </a:lnTo>
                    <a:lnTo>
                      <a:pt x="119" y="38"/>
                    </a:lnTo>
                    <a:lnTo>
                      <a:pt x="119" y="36"/>
                    </a:lnTo>
                    <a:lnTo>
                      <a:pt x="121" y="36"/>
                    </a:lnTo>
                    <a:lnTo>
                      <a:pt x="123" y="36"/>
                    </a:lnTo>
                    <a:lnTo>
                      <a:pt x="123" y="38"/>
                    </a:lnTo>
                    <a:lnTo>
                      <a:pt x="121" y="38"/>
                    </a:lnTo>
                    <a:lnTo>
                      <a:pt x="119" y="38"/>
                    </a:lnTo>
                    <a:lnTo>
                      <a:pt x="119" y="39"/>
                    </a:lnTo>
                    <a:lnTo>
                      <a:pt x="119" y="38"/>
                    </a:lnTo>
                    <a:lnTo>
                      <a:pt x="117" y="39"/>
                    </a:lnTo>
                    <a:lnTo>
                      <a:pt x="116" y="39"/>
                    </a:lnTo>
                    <a:lnTo>
                      <a:pt x="114" y="39"/>
                    </a:lnTo>
                    <a:lnTo>
                      <a:pt x="112" y="39"/>
                    </a:lnTo>
                    <a:lnTo>
                      <a:pt x="114" y="39"/>
                    </a:lnTo>
                    <a:lnTo>
                      <a:pt x="116" y="39"/>
                    </a:lnTo>
                    <a:lnTo>
                      <a:pt x="117" y="39"/>
                    </a:lnTo>
                    <a:lnTo>
                      <a:pt x="119" y="39"/>
                    </a:lnTo>
                    <a:lnTo>
                      <a:pt x="117" y="39"/>
                    </a:lnTo>
                    <a:lnTo>
                      <a:pt x="116" y="39"/>
                    </a:lnTo>
                    <a:lnTo>
                      <a:pt x="114" y="41"/>
                    </a:lnTo>
                    <a:lnTo>
                      <a:pt x="112" y="41"/>
                    </a:lnTo>
                    <a:lnTo>
                      <a:pt x="111" y="41"/>
                    </a:lnTo>
                    <a:lnTo>
                      <a:pt x="109" y="41"/>
                    </a:lnTo>
                    <a:lnTo>
                      <a:pt x="107" y="41"/>
                    </a:lnTo>
                    <a:lnTo>
                      <a:pt x="109" y="39"/>
                    </a:lnTo>
                    <a:lnTo>
                      <a:pt x="107" y="39"/>
                    </a:lnTo>
                    <a:lnTo>
                      <a:pt x="107" y="41"/>
                    </a:lnTo>
                    <a:lnTo>
                      <a:pt x="106" y="41"/>
                    </a:lnTo>
                    <a:lnTo>
                      <a:pt x="104" y="39"/>
                    </a:lnTo>
                    <a:lnTo>
                      <a:pt x="104" y="41"/>
                    </a:lnTo>
                    <a:lnTo>
                      <a:pt x="104" y="39"/>
                    </a:lnTo>
                    <a:lnTo>
                      <a:pt x="104" y="41"/>
                    </a:lnTo>
                    <a:lnTo>
                      <a:pt x="106" y="41"/>
                    </a:lnTo>
                    <a:lnTo>
                      <a:pt x="107" y="41"/>
                    </a:lnTo>
                    <a:lnTo>
                      <a:pt x="106" y="43"/>
                    </a:lnTo>
                    <a:lnTo>
                      <a:pt x="107" y="41"/>
                    </a:lnTo>
                    <a:lnTo>
                      <a:pt x="109" y="43"/>
                    </a:lnTo>
                    <a:lnTo>
                      <a:pt x="107" y="43"/>
                    </a:lnTo>
                    <a:lnTo>
                      <a:pt x="106" y="43"/>
                    </a:lnTo>
                    <a:lnTo>
                      <a:pt x="104" y="43"/>
                    </a:lnTo>
                    <a:lnTo>
                      <a:pt x="104" y="45"/>
                    </a:lnTo>
                    <a:lnTo>
                      <a:pt x="102" y="45"/>
                    </a:lnTo>
                    <a:lnTo>
                      <a:pt x="100" y="45"/>
                    </a:lnTo>
                    <a:lnTo>
                      <a:pt x="102" y="45"/>
                    </a:lnTo>
                    <a:lnTo>
                      <a:pt x="104" y="45"/>
                    </a:lnTo>
                    <a:lnTo>
                      <a:pt x="104" y="43"/>
                    </a:lnTo>
                    <a:lnTo>
                      <a:pt x="106" y="43"/>
                    </a:lnTo>
                    <a:lnTo>
                      <a:pt x="106" y="45"/>
                    </a:lnTo>
                    <a:lnTo>
                      <a:pt x="107" y="45"/>
                    </a:lnTo>
                    <a:lnTo>
                      <a:pt x="106" y="45"/>
                    </a:lnTo>
                    <a:lnTo>
                      <a:pt x="106" y="46"/>
                    </a:lnTo>
                    <a:lnTo>
                      <a:pt x="104" y="46"/>
                    </a:lnTo>
                    <a:lnTo>
                      <a:pt x="106" y="46"/>
                    </a:lnTo>
                    <a:lnTo>
                      <a:pt x="104" y="46"/>
                    </a:lnTo>
                    <a:lnTo>
                      <a:pt x="102" y="46"/>
                    </a:lnTo>
                    <a:lnTo>
                      <a:pt x="102" y="48"/>
                    </a:lnTo>
                    <a:lnTo>
                      <a:pt x="104" y="48"/>
                    </a:lnTo>
                    <a:lnTo>
                      <a:pt x="102" y="48"/>
                    </a:lnTo>
                    <a:lnTo>
                      <a:pt x="100" y="48"/>
                    </a:lnTo>
                    <a:lnTo>
                      <a:pt x="100" y="50"/>
                    </a:lnTo>
                    <a:lnTo>
                      <a:pt x="99" y="50"/>
                    </a:lnTo>
                    <a:lnTo>
                      <a:pt x="100" y="50"/>
                    </a:lnTo>
                    <a:lnTo>
                      <a:pt x="99" y="50"/>
                    </a:lnTo>
                    <a:lnTo>
                      <a:pt x="97" y="50"/>
                    </a:lnTo>
                    <a:lnTo>
                      <a:pt x="97" y="48"/>
                    </a:lnTo>
                    <a:lnTo>
                      <a:pt x="99" y="50"/>
                    </a:lnTo>
                    <a:lnTo>
                      <a:pt x="100" y="50"/>
                    </a:lnTo>
                    <a:lnTo>
                      <a:pt x="99" y="48"/>
                    </a:lnTo>
                    <a:lnTo>
                      <a:pt x="100" y="48"/>
                    </a:lnTo>
                    <a:lnTo>
                      <a:pt x="99" y="48"/>
                    </a:lnTo>
                    <a:lnTo>
                      <a:pt x="97" y="48"/>
                    </a:lnTo>
                    <a:lnTo>
                      <a:pt x="95" y="48"/>
                    </a:lnTo>
                    <a:lnTo>
                      <a:pt x="94" y="48"/>
                    </a:lnTo>
                    <a:lnTo>
                      <a:pt x="94" y="50"/>
                    </a:lnTo>
                    <a:lnTo>
                      <a:pt x="94" y="48"/>
                    </a:lnTo>
                    <a:lnTo>
                      <a:pt x="92" y="48"/>
                    </a:lnTo>
                    <a:lnTo>
                      <a:pt x="90" y="48"/>
                    </a:lnTo>
                    <a:lnTo>
                      <a:pt x="92" y="48"/>
                    </a:lnTo>
                    <a:lnTo>
                      <a:pt x="90" y="48"/>
                    </a:lnTo>
                    <a:lnTo>
                      <a:pt x="89" y="48"/>
                    </a:lnTo>
                    <a:lnTo>
                      <a:pt x="87" y="48"/>
                    </a:lnTo>
                    <a:lnTo>
                      <a:pt x="85" y="46"/>
                    </a:lnTo>
                    <a:lnTo>
                      <a:pt x="83" y="45"/>
                    </a:lnTo>
                    <a:lnTo>
                      <a:pt x="83" y="46"/>
                    </a:lnTo>
                    <a:lnTo>
                      <a:pt x="85" y="46"/>
                    </a:lnTo>
                    <a:lnTo>
                      <a:pt x="83" y="46"/>
                    </a:lnTo>
                    <a:lnTo>
                      <a:pt x="82" y="45"/>
                    </a:lnTo>
                    <a:lnTo>
                      <a:pt x="82" y="43"/>
                    </a:lnTo>
                    <a:lnTo>
                      <a:pt x="80" y="43"/>
                    </a:lnTo>
                    <a:lnTo>
                      <a:pt x="82" y="43"/>
                    </a:lnTo>
                    <a:lnTo>
                      <a:pt x="80" y="45"/>
                    </a:lnTo>
                    <a:lnTo>
                      <a:pt x="80" y="46"/>
                    </a:lnTo>
                    <a:lnTo>
                      <a:pt x="78" y="46"/>
                    </a:lnTo>
                    <a:lnTo>
                      <a:pt x="77" y="46"/>
                    </a:lnTo>
                    <a:lnTo>
                      <a:pt x="77" y="45"/>
                    </a:lnTo>
                    <a:lnTo>
                      <a:pt x="75" y="45"/>
                    </a:lnTo>
                    <a:lnTo>
                      <a:pt x="77" y="46"/>
                    </a:lnTo>
                    <a:lnTo>
                      <a:pt x="75" y="48"/>
                    </a:lnTo>
                    <a:lnTo>
                      <a:pt x="77" y="46"/>
                    </a:lnTo>
                    <a:lnTo>
                      <a:pt x="78" y="46"/>
                    </a:lnTo>
                    <a:lnTo>
                      <a:pt x="78" y="48"/>
                    </a:lnTo>
                    <a:lnTo>
                      <a:pt x="80" y="46"/>
                    </a:lnTo>
                    <a:lnTo>
                      <a:pt x="82" y="46"/>
                    </a:lnTo>
                    <a:lnTo>
                      <a:pt x="82" y="48"/>
                    </a:lnTo>
                    <a:lnTo>
                      <a:pt x="83" y="48"/>
                    </a:lnTo>
                    <a:lnTo>
                      <a:pt x="85" y="50"/>
                    </a:lnTo>
                    <a:lnTo>
                      <a:pt x="87" y="50"/>
                    </a:lnTo>
                    <a:lnTo>
                      <a:pt x="87" y="51"/>
                    </a:lnTo>
                    <a:lnTo>
                      <a:pt x="85" y="50"/>
                    </a:lnTo>
                    <a:lnTo>
                      <a:pt x="83" y="50"/>
                    </a:lnTo>
                    <a:lnTo>
                      <a:pt x="85" y="50"/>
                    </a:lnTo>
                    <a:lnTo>
                      <a:pt x="85" y="51"/>
                    </a:lnTo>
                    <a:lnTo>
                      <a:pt x="85" y="50"/>
                    </a:lnTo>
                    <a:lnTo>
                      <a:pt x="87" y="51"/>
                    </a:lnTo>
                    <a:lnTo>
                      <a:pt x="87" y="53"/>
                    </a:lnTo>
                    <a:lnTo>
                      <a:pt x="87" y="51"/>
                    </a:lnTo>
                    <a:lnTo>
                      <a:pt x="89" y="51"/>
                    </a:lnTo>
                    <a:lnTo>
                      <a:pt x="90" y="51"/>
                    </a:lnTo>
                    <a:lnTo>
                      <a:pt x="90" y="53"/>
                    </a:lnTo>
                    <a:lnTo>
                      <a:pt x="90" y="51"/>
                    </a:lnTo>
                    <a:lnTo>
                      <a:pt x="92" y="53"/>
                    </a:lnTo>
                    <a:lnTo>
                      <a:pt x="92" y="51"/>
                    </a:lnTo>
                    <a:lnTo>
                      <a:pt x="92" y="53"/>
                    </a:lnTo>
                    <a:lnTo>
                      <a:pt x="94" y="53"/>
                    </a:lnTo>
                    <a:lnTo>
                      <a:pt x="92" y="55"/>
                    </a:lnTo>
                    <a:lnTo>
                      <a:pt x="94" y="55"/>
                    </a:lnTo>
                    <a:lnTo>
                      <a:pt x="92" y="55"/>
                    </a:lnTo>
                    <a:lnTo>
                      <a:pt x="90" y="55"/>
                    </a:lnTo>
                    <a:lnTo>
                      <a:pt x="92" y="56"/>
                    </a:lnTo>
                    <a:lnTo>
                      <a:pt x="90" y="56"/>
                    </a:lnTo>
                    <a:lnTo>
                      <a:pt x="90" y="58"/>
                    </a:lnTo>
                    <a:lnTo>
                      <a:pt x="92" y="58"/>
                    </a:lnTo>
                    <a:lnTo>
                      <a:pt x="92" y="60"/>
                    </a:lnTo>
                    <a:lnTo>
                      <a:pt x="90" y="62"/>
                    </a:lnTo>
                    <a:lnTo>
                      <a:pt x="90" y="60"/>
                    </a:lnTo>
                    <a:lnTo>
                      <a:pt x="90" y="58"/>
                    </a:lnTo>
                    <a:lnTo>
                      <a:pt x="89" y="58"/>
                    </a:lnTo>
                    <a:lnTo>
                      <a:pt x="89" y="56"/>
                    </a:lnTo>
                    <a:lnTo>
                      <a:pt x="87" y="56"/>
                    </a:lnTo>
                    <a:lnTo>
                      <a:pt x="85" y="56"/>
                    </a:lnTo>
                    <a:lnTo>
                      <a:pt x="83" y="56"/>
                    </a:lnTo>
                    <a:lnTo>
                      <a:pt x="83" y="58"/>
                    </a:lnTo>
                    <a:lnTo>
                      <a:pt x="82" y="58"/>
                    </a:lnTo>
                    <a:lnTo>
                      <a:pt x="82" y="60"/>
                    </a:lnTo>
                    <a:lnTo>
                      <a:pt x="82" y="58"/>
                    </a:lnTo>
                    <a:lnTo>
                      <a:pt x="82" y="56"/>
                    </a:lnTo>
                    <a:lnTo>
                      <a:pt x="80" y="58"/>
                    </a:lnTo>
                    <a:lnTo>
                      <a:pt x="80" y="60"/>
                    </a:lnTo>
                    <a:lnTo>
                      <a:pt x="80" y="58"/>
                    </a:lnTo>
                    <a:lnTo>
                      <a:pt x="80" y="56"/>
                    </a:lnTo>
                    <a:lnTo>
                      <a:pt x="78" y="56"/>
                    </a:lnTo>
                    <a:lnTo>
                      <a:pt x="78" y="55"/>
                    </a:lnTo>
                    <a:lnTo>
                      <a:pt x="78" y="56"/>
                    </a:lnTo>
                    <a:lnTo>
                      <a:pt x="77" y="56"/>
                    </a:lnTo>
                    <a:lnTo>
                      <a:pt x="77" y="55"/>
                    </a:lnTo>
                    <a:lnTo>
                      <a:pt x="75" y="55"/>
                    </a:lnTo>
                    <a:lnTo>
                      <a:pt x="75" y="53"/>
                    </a:lnTo>
                    <a:lnTo>
                      <a:pt x="73" y="53"/>
                    </a:lnTo>
                    <a:lnTo>
                      <a:pt x="75" y="53"/>
                    </a:lnTo>
                    <a:lnTo>
                      <a:pt x="73" y="55"/>
                    </a:lnTo>
                    <a:lnTo>
                      <a:pt x="72" y="55"/>
                    </a:lnTo>
                    <a:lnTo>
                      <a:pt x="72" y="53"/>
                    </a:lnTo>
                    <a:lnTo>
                      <a:pt x="70" y="55"/>
                    </a:lnTo>
                    <a:lnTo>
                      <a:pt x="68" y="55"/>
                    </a:lnTo>
                    <a:lnTo>
                      <a:pt x="70" y="55"/>
                    </a:lnTo>
                    <a:lnTo>
                      <a:pt x="72" y="55"/>
                    </a:lnTo>
                    <a:lnTo>
                      <a:pt x="73" y="55"/>
                    </a:lnTo>
                    <a:lnTo>
                      <a:pt x="73" y="56"/>
                    </a:lnTo>
                    <a:lnTo>
                      <a:pt x="72" y="56"/>
                    </a:lnTo>
                    <a:lnTo>
                      <a:pt x="73" y="56"/>
                    </a:lnTo>
                    <a:lnTo>
                      <a:pt x="73" y="58"/>
                    </a:lnTo>
                    <a:lnTo>
                      <a:pt x="75" y="56"/>
                    </a:lnTo>
                    <a:lnTo>
                      <a:pt x="75" y="58"/>
                    </a:lnTo>
                    <a:lnTo>
                      <a:pt x="77" y="58"/>
                    </a:lnTo>
                    <a:lnTo>
                      <a:pt x="75" y="58"/>
                    </a:lnTo>
                    <a:lnTo>
                      <a:pt x="73" y="60"/>
                    </a:lnTo>
                    <a:lnTo>
                      <a:pt x="75" y="60"/>
                    </a:lnTo>
                    <a:lnTo>
                      <a:pt x="77" y="60"/>
                    </a:lnTo>
                    <a:lnTo>
                      <a:pt x="77" y="62"/>
                    </a:lnTo>
                    <a:lnTo>
                      <a:pt x="75" y="60"/>
                    </a:lnTo>
                    <a:lnTo>
                      <a:pt x="75" y="62"/>
                    </a:lnTo>
                    <a:lnTo>
                      <a:pt x="73" y="62"/>
                    </a:lnTo>
                    <a:lnTo>
                      <a:pt x="75" y="62"/>
                    </a:lnTo>
                    <a:lnTo>
                      <a:pt x="75" y="63"/>
                    </a:lnTo>
                    <a:lnTo>
                      <a:pt x="75" y="62"/>
                    </a:lnTo>
                    <a:lnTo>
                      <a:pt x="77" y="62"/>
                    </a:lnTo>
                    <a:lnTo>
                      <a:pt x="75" y="63"/>
                    </a:lnTo>
                    <a:lnTo>
                      <a:pt x="77" y="63"/>
                    </a:lnTo>
                    <a:lnTo>
                      <a:pt x="77" y="62"/>
                    </a:lnTo>
                    <a:lnTo>
                      <a:pt x="78" y="62"/>
                    </a:lnTo>
                    <a:lnTo>
                      <a:pt x="78" y="63"/>
                    </a:lnTo>
                    <a:lnTo>
                      <a:pt x="77" y="63"/>
                    </a:lnTo>
                    <a:lnTo>
                      <a:pt x="78" y="63"/>
                    </a:lnTo>
                    <a:lnTo>
                      <a:pt x="77" y="63"/>
                    </a:lnTo>
                    <a:lnTo>
                      <a:pt x="77" y="65"/>
                    </a:lnTo>
                    <a:lnTo>
                      <a:pt x="78" y="65"/>
                    </a:lnTo>
                    <a:lnTo>
                      <a:pt x="78" y="67"/>
                    </a:lnTo>
                    <a:lnTo>
                      <a:pt x="78" y="68"/>
                    </a:lnTo>
                    <a:lnTo>
                      <a:pt x="77" y="67"/>
                    </a:lnTo>
                    <a:lnTo>
                      <a:pt x="75" y="67"/>
                    </a:lnTo>
                    <a:lnTo>
                      <a:pt x="75" y="65"/>
                    </a:lnTo>
                    <a:lnTo>
                      <a:pt x="73" y="65"/>
                    </a:lnTo>
                    <a:lnTo>
                      <a:pt x="72" y="67"/>
                    </a:lnTo>
                    <a:lnTo>
                      <a:pt x="72" y="65"/>
                    </a:lnTo>
                    <a:lnTo>
                      <a:pt x="72" y="63"/>
                    </a:lnTo>
                    <a:lnTo>
                      <a:pt x="70" y="63"/>
                    </a:lnTo>
                    <a:lnTo>
                      <a:pt x="68" y="63"/>
                    </a:lnTo>
                    <a:lnTo>
                      <a:pt x="70" y="63"/>
                    </a:lnTo>
                    <a:lnTo>
                      <a:pt x="70" y="62"/>
                    </a:lnTo>
                    <a:lnTo>
                      <a:pt x="68" y="63"/>
                    </a:lnTo>
                    <a:lnTo>
                      <a:pt x="68" y="62"/>
                    </a:lnTo>
                    <a:lnTo>
                      <a:pt x="68" y="63"/>
                    </a:lnTo>
                    <a:lnTo>
                      <a:pt x="68" y="62"/>
                    </a:lnTo>
                    <a:lnTo>
                      <a:pt x="66" y="60"/>
                    </a:lnTo>
                    <a:lnTo>
                      <a:pt x="66" y="62"/>
                    </a:lnTo>
                    <a:lnTo>
                      <a:pt x="66" y="60"/>
                    </a:lnTo>
                    <a:lnTo>
                      <a:pt x="66" y="62"/>
                    </a:lnTo>
                    <a:lnTo>
                      <a:pt x="66" y="63"/>
                    </a:lnTo>
                    <a:lnTo>
                      <a:pt x="65" y="63"/>
                    </a:lnTo>
                    <a:lnTo>
                      <a:pt x="65" y="62"/>
                    </a:lnTo>
                    <a:lnTo>
                      <a:pt x="63" y="63"/>
                    </a:lnTo>
                    <a:lnTo>
                      <a:pt x="65" y="63"/>
                    </a:lnTo>
                    <a:lnTo>
                      <a:pt x="66" y="63"/>
                    </a:lnTo>
                    <a:lnTo>
                      <a:pt x="66" y="65"/>
                    </a:lnTo>
                    <a:lnTo>
                      <a:pt x="65" y="63"/>
                    </a:lnTo>
                    <a:lnTo>
                      <a:pt x="65" y="65"/>
                    </a:lnTo>
                    <a:lnTo>
                      <a:pt x="65" y="67"/>
                    </a:lnTo>
                    <a:lnTo>
                      <a:pt x="65" y="65"/>
                    </a:lnTo>
                    <a:lnTo>
                      <a:pt x="66" y="65"/>
                    </a:lnTo>
                    <a:lnTo>
                      <a:pt x="65" y="67"/>
                    </a:lnTo>
                    <a:lnTo>
                      <a:pt x="66" y="65"/>
                    </a:lnTo>
                    <a:lnTo>
                      <a:pt x="68" y="65"/>
                    </a:lnTo>
                    <a:lnTo>
                      <a:pt x="68" y="67"/>
                    </a:lnTo>
                    <a:lnTo>
                      <a:pt x="66" y="67"/>
                    </a:lnTo>
                    <a:lnTo>
                      <a:pt x="68" y="67"/>
                    </a:lnTo>
                    <a:lnTo>
                      <a:pt x="68" y="68"/>
                    </a:lnTo>
                    <a:lnTo>
                      <a:pt x="66" y="68"/>
                    </a:lnTo>
                    <a:lnTo>
                      <a:pt x="65" y="70"/>
                    </a:lnTo>
                    <a:lnTo>
                      <a:pt x="66" y="70"/>
                    </a:lnTo>
                    <a:lnTo>
                      <a:pt x="66" y="68"/>
                    </a:lnTo>
                    <a:lnTo>
                      <a:pt x="68" y="68"/>
                    </a:lnTo>
                    <a:lnTo>
                      <a:pt x="68" y="70"/>
                    </a:lnTo>
                    <a:lnTo>
                      <a:pt x="66" y="70"/>
                    </a:lnTo>
                    <a:lnTo>
                      <a:pt x="66" y="72"/>
                    </a:lnTo>
                    <a:lnTo>
                      <a:pt x="68" y="72"/>
                    </a:lnTo>
                    <a:lnTo>
                      <a:pt x="68" y="73"/>
                    </a:lnTo>
                    <a:lnTo>
                      <a:pt x="70" y="72"/>
                    </a:lnTo>
                    <a:lnTo>
                      <a:pt x="70" y="73"/>
                    </a:lnTo>
                    <a:lnTo>
                      <a:pt x="68" y="73"/>
                    </a:lnTo>
                    <a:lnTo>
                      <a:pt x="66" y="73"/>
                    </a:lnTo>
                    <a:lnTo>
                      <a:pt x="66" y="72"/>
                    </a:lnTo>
                    <a:lnTo>
                      <a:pt x="65" y="72"/>
                    </a:lnTo>
                    <a:lnTo>
                      <a:pt x="65" y="70"/>
                    </a:lnTo>
                    <a:lnTo>
                      <a:pt x="63" y="70"/>
                    </a:lnTo>
                    <a:lnTo>
                      <a:pt x="63" y="72"/>
                    </a:lnTo>
                    <a:lnTo>
                      <a:pt x="63" y="70"/>
                    </a:lnTo>
                    <a:lnTo>
                      <a:pt x="63" y="68"/>
                    </a:lnTo>
                    <a:lnTo>
                      <a:pt x="63" y="67"/>
                    </a:lnTo>
                    <a:lnTo>
                      <a:pt x="61" y="68"/>
                    </a:lnTo>
                    <a:lnTo>
                      <a:pt x="60" y="68"/>
                    </a:lnTo>
                    <a:lnTo>
                      <a:pt x="60" y="67"/>
                    </a:lnTo>
                    <a:lnTo>
                      <a:pt x="61" y="65"/>
                    </a:lnTo>
                    <a:lnTo>
                      <a:pt x="60" y="65"/>
                    </a:lnTo>
                    <a:lnTo>
                      <a:pt x="58" y="65"/>
                    </a:lnTo>
                    <a:lnTo>
                      <a:pt x="58" y="63"/>
                    </a:lnTo>
                    <a:lnTo>
                      <a:pt x="56" y="62"/>
                    </a:lnTo>
                    <a:lnTo>
                      <a:pt x="55" y="62"/>
                    </a:lnTo>
                    <a:lnTo>
                      <a:pt x="56" y="60"/>
                    </a:lnTo>
                    <a:lnTo>
                      <a:pt x="55" y="60"/>
                    </a:lnTo>
                    <a:lnTo>
                      <a:pt x="56" y="60"/>
                    </a:lnTo>
                    <a:lnTo>
                      <a:pt x="58" y="60"/>
                    </a:lnTo>
                    <a:lnTo>
                      <a:pt x="58" y="62"/>
                    </a:lnTo>
                    <a:lnTo>
                      <a:pt x="60" y="60"/>
                    </a:lnTo>
                    <a:lnTo>
                      <a:pt x="58" y="60"/>
                    </a:lnTo>
                    <a:lnTo>
                      <a:pt x="58" y="58"/>
                    </a:lnTo>
                    <a:lnTo>
                      <a:pt x="60" y="60"/>
                    </a:lnTo>
                    <a:lnTo>
                      <a:pt x="60" y="58"/>
                    </a:lnTo>
                    <a:lnTo>
                      <a:pt x="61" y="58"/>
                    </a:lnTo>
                    <a:lnTo>
                      <a:pt x="60" y="56"/>
                    </a:lnTo>
                    <a:lnTo>
                      <a:pt x="58" y="56"/>
                    </a:lnTo>
                    <a:lnTo>
                      <a:pt x="60" y="55"/>
                    </a:lnTo>
                    <a:lnTo>
                      <a:pt x="58" y="55"/>
                    </a:lnTo>
                    <a:lnTo>
                      <a:pt x="60" y="53"/>
                    </a:lnTo>
                    <a:lnTo>
                      <a:pt x="60" y="55"/>
                    </a:lnTo>
                    <a:lnTo>
                      <a:pt x="61" y="55"/>
                    </a:lnTo>
                    <a:lnTo>
                      <a:pt x="60" y="53"/>
                    </a:lnTo>
                    <a:lnTo>
                      <a:pt x="58" y="53"/>
                    </a:lnTo>
                    <a:lnTo>
                      <a:pt x="60" y="53"/>
                    </a:lnTo>
                    <a:lnTo>
                      <a:pt x="61" y="53"/>
                    </a:lnTo>
                    <a:lnTo>
                      <a:pt x="61" y="51"/>
                    </a:lnTo>
                    <a:lnTo>
                      <a:pt x="61" y="53"/>
                    </a:lnTo>
                    <a:lnTo>
                      <a:pt x="61" y="51"/>
                    </a:lnTo>
                    <a:lnTo>
                      <a:pt x="60" y="51"/>
                    </a:lnTo>
                    <a:lnTo>
                      <a:pt x="58" y="51"/>
                    </a:lnTo>
                    <a:lnTo>
                      <a:pt x="60" y="51"/>
                    </a:lnTo>
                    <a:lnTo>
                      <a:pt x="60" y="50"/>
                    </a:lnTo>
                    <a:lnTo>
                      <a:pt x="60" y="48"/>
                    </a:lnTo>
                    <a:lnTo>
                      <a:pt x="60" y="50"/>
                    </a:lnTo>
                    <a:lnTo>
                      <a:pt x="61" y="50"/>
                    </a:lnTo>
                    <a:lnTo>
                      <a:pt x="61" y="51"/>
                    </a:lnTo>
                    <a:lnTo>
                      <a:pt x="63" y="50"/>
                    </a:lnTo>
                    <a:lnTo>
                      <a:pt x="61" y="50"/>
                    </a:lnTo>
                    <a:lnTo>
                      <a:pt x="61" y="48"/>
                    </a:lnTo>
                    <a:lnTo>
                      <a:pt x="61" y="46"/>
                    </a:lnTo>
                    <a:lnTo>
                      <a:pt x="61" y="48"/>
                    </a:lnTo>
                    <a:lnTo>
                      <a:pt x="63" y="48"/>
                    </a:lnTo>
                    <a:lnTo>
                      <a:pt x="65" y="48"/>
                    </a:lnTo>
                    <a:lnTo>
                      <a:pt x="63" y="48"/>
                    </a:lnTo>
                    <a:lnTo>
                      <a:pt x="65" y="46"/>
                    </a:lnTo>
                    <a:lnTo>
                      <a:pt x="63" y="46"/>
                    </a:lnTo>
                    <a:lnTo>
                      <a:pt x="61" y="46"/>
                    </a:lnTo>
                    <a:lnTo>
                      <a:pt x="63" y="45"/>
                    </a:lnTo>
                    <a:lnTo>
                      <a:pt x="65" y="45"/>
                    </a:lnTo>
                    <a:lnTo>
                      <a:pt x="65" y="46"/>
                    </a:lnTo>
                    <a:lnTo>
                      <a:pt x="65" y="45"/>
                    </a:lnTo>
                    <a:lnTo>
                      <a:pt x="66" y="43"/>
                    </a:lnTo>
                    <a:lnTo>
                      <a:pt x="65" y="45"/>
                    </a:lnTo>
                    <a:lnTo>
                      <a:pt x="66" y="45"/>
                    </a:lnTo>
                    <a:lnTo>
                      <a:pt x="66" y="46"/>
                    </a:lnTo>
                    <a:lnTo>
                      <a:pt x="66" y="45"/>
                    </a:lnTo>
                    <a:lnTo>
                      <a:pt x="68" y="45"/>
                    </a:lnTo>
                    <a:lnTo>
                      <a:pt x="68" y="43"/>
                    </a:lnTo>
                    <a:lnTo>
                      <a:pt x="70" y="43"/>
                    </a:lnTo>
                    <a:lnTo>
                      <a:pt x="70" y="41"/>
                    </a:lnTo>
                    <a:lnTo>
                      <a:pt x="70" y="39"/>
                    </a:lnTo>
                    <a:lnTo>
                      <a:pt x="72" y="41"/>
                    </a:lnTo>
                    <a:lnTo>
                      <a:pt x="72" y="39"/>
                    </a:lnTo>
                    <a:lnTo>
                      <a:pt x="72" y="38"/>
                    </a:lnTo>
                    <a:lnTo>
                      <a:pt x="72" y="39"/>
                    </a:lnTo>
                    <a:lnTo>
                      <a:pt x="72" y="41"/>
                    </a:lnTo>
                    <a:lnTo>
                      <a:pt x="72" y="39"/>
                    </a:lnTo>
                    <a:lnTo>
                      <a:pt x="73" y="39"/>
                    </a:lnTo>
                    <a:lnTo>
                      <a:pt x="75" y="38"/>
                    </a:lnTo>
                    <a:lnTo>
                      <a:pt x="77" y="38"/>
                    </a:lnTo>
                    <a:lnTo>
                      <a:pt x="78" y="38"/>
                    </a:lnTo>
                    <a:lnTo>
                      <a:pt x="78" y="39"/>
                    </a:lnTo>
                    <a:lnTo>
                      <a:pt x="78" y="41"/>
                    </a:lnTo>
                    <a:lnTo>
                      <a:pt x="77" y="43"/>
                    </a:lnTo>
                    <a:lnTo>
                      <a:pt x="78" y="43"/>
                    </a:lnTo>
                    <a:lnTo>
                      <a:pt x="78" y="45"/>
                    </a:lnTo>
                    <a:lnTo>
                      <a:pt x="80" y="43"/>
                    </a:lnTo>
                    <a:lnTo>
                      <a:pt x="82" y="41"/>
                    </a:lnTo>
                    <a:lnTo>
                      <a:pt x="80" y="41"/>
                    </a:lnTo>
                    <a:lnTo>
                      <a:pt x="80" y="43"/>
                    </a:lnTo>
                    <a:lnTo>
                      <a:pt x="80" y="41"/>
                    </a:lnTo>
                    <a:lnTo>
                      <a:pt x="80" y="39"/>
                    </a:lnTo>
                    <a:lnTo>
                      <a:pt x="80" y="38"/>
                    </a:lnTo>
                    <a:lnTo>
                      <a:pt x="78" y="38"/>
                    </a:lnTo>
                    <a:lnTo>
                      <a:pt x="78" y="36"/>
                    </a:lnTo>
                    <a:lnTo>
                      <a:pt x="80" y="36"/>
                    </a:lnTo>
                    <a:lnTo>
                      <a:pt x="78" y="36"/>
                    </a:lnTo>
                    <a:lnTo>
                      <a:pt x="78" y="34"/>
                    </a:lnTo>
                    <a:lnTo>
                      <a:pt x="80" y="36"/>
                    </a:lnTo>
                    <a:lnTo>
                      <a:pt x="78" y="34"/>
                    </a:lnTo>
                    <a:lnTo>
                      <a:pt x="77" y="34"/>
                    </a:lnTo>
                    <a:lnTo>
                      <a:pt x="77" y="33"/>
                    </a:lnTo>
                    <a:lnTo>
                      <a:pt x="75" y="33"/>
                    </a:lnTo>
                    <a:lnTo>
                      <a:pt x="73" y="33"/>
                    </a:lnTo>
                    <a:lnTo>
                      <a:pt x="73" y="31"/>
                    </a:lnTo>
                    <a:lnTo>
                      <a:pt x="75" y="31"/>
                    </a:lnTo>
                    <a:lnTo>
                      <a:pt x="75" y="29"/>
                    </a:lnTo>
                    <a:lnTo>
                      <a:pt x="75" y="27"/>
                    </a:lnTo>
                    <a:lnTo>
                      <a:pt x="75" y="26"/>
                    </a:lnTo>
                    <a:lnTo>
                      <a:pt x="75" y="27"/>
                    </a:lnTo>
                    <a:lnTo>
                      <a:pt x="77" y="27"/>
                    </a:lnTo>
                    <a:lnTo>
                      <a:pt x="77" y="29"/>
                    </a:lnTo>
                    <a:lnTo>
                      <a:pt x="77" y="31"/>
                    </a:lnTo>
                    <a:lnTo>
                      <a:pt x="78" y="31"/>
                    </a:lnTo>
                    <a:lnTo>
                      <a:pt x="78" y="33"/>
                    </a:lnTo>
                    <a:lnTo>
                      <a:pt x="78" y="31"/>
                    </a:lnTo>
                    <a:lnTo>
                      <a:pt x="78" y="29"/>
                    </a:lnTo>
                    <a:lnTo>
                      <a:pt x="77" y="27"/>
                    </a:lnTo>
                    <a:lnTo>
                      <a:pt x="78" y="27"/>
                    </a:lnTo>
                    <a:lnTo>
                      <a:pt x="80" y="27"/>
                    </a:lnTo>
                    <a:lnTo>
                      <a:pt x="82" y="27"/>
                    </a:lnTo>
                    <a:lnTo>
                      <a:pt x="82" y="29"/>
                    </a:lnTo>
                    <a:lnTo>
                      <a:pt x="82" y="27"/>
                    </a:lnTo>
                    <a:lnTo>
                      <a:pt x="83" y="27"/>
                    </a:lnTo>
                    <a:lnTo>
                      <a:pt x="85" y="27"/>
                    </a:lnTo>
                    <a:lnTo>
                      <a:pt x="83" y="27"/>
                    </a:lnTo>
                    <a:lnTo>
                      <a:pt x="82" y="27"/>
                    </a:lnTo>
                    <a:lnTo>
                      <a:pt x="80" y="27"/>
                    </a:lnTo>
                    <a:lnTo>
                      <a:pt x="78" y="26"/>
                    </a:lnTo>
                    <a:lnTo>
                      <a:pt x="77" y="26"/>
                    </a:lnTo>
                    <a:lnTo>
                      <a:pt x="77" y="24"/>
                    </a:lnTo>
                    <a:lnTo>
                      <a:pt x="75" y="26"/>
                    </a:lnTo>
                    <a:lnTo>
                      <a:pt x="75" y="24"/>
                    </a:lnTo>
                    <a:lnTo>
                      <a:pt x="75" y="22"/>
                    </a:lnTo>
                    <a:lnTo>
                      <a:pt x="77" y="22"/>
                    </a:lnTo>
                    <a:lnTo>
                      <a:pt x="78" y="22"/>
                    </a:lnTo>
                    <a:lnTo>
                      <a:pt x="80" y="22"/>
                    </a:lnTo>
                    <a:lnTo>
                      <a:pt x="80" y="24"/>
                    </a:lnTo>
                    <a:lnTo>
                      <a:pt x="80" y="22"/>
                    </a:lnTo>
                    <a:lnTo>
                      <a:pt x="78" y="22"/>
                    </a:lnTo>
                    <a:lnTo>
                      <a:pt x="80" y="22"/>
                    </a:lnTo>
                    <a:lnTo>
                      <a:pt x="80" y="21"/>
                    </a:lnTo>
                    <a:lnTo>
                      <a:pt x="82" y="21"/>
                    </a:lnTo>
                    <a:lnTo>
                      <a:pt x="83" y="21"/>
                    </a:lnTo>
                    <a:lnTo>
                      <a:pt x="83" y="19"/>
                    </a:lnTo>
                    <a:lnTo>
                      <a:pt x="83" y="17"/>
                    </a:lnTo>
                    <a:lnTo>
                      <a:pt x="82" y="17"/>
                    </a:lnTo>
                    <a:lnTo>
                      <a:pt x="82" y="16"/>
                    </a:lnTo>
                    <a:lnTo>
                      <a:pt x="82" y="14"/>
                    </a:lnTo>
                    <a:lnTo>
                      <a:pt x="80" y="14"/>
                    </a:lnTo>
                    <a:lnTo>
                      <a:pt x="82" y="14"/>
                    </a:lnTo>
                    <a:lnTo>
                      <a:pt x="80" y="12"/>
                    </a:lnTo>
                    <a:close/>
                    <a:moveTo>
                      <a:pt x="66" y="19"/>
                    </a:moveTo>
                    <a:lnTo>
                      <a:pt x="68" y="19"/>
                    </a:lnTo>
                    <a:lnTo>
                      <a:pt x="70" y="21"/>
                    </a:lnTo>
                    <a:lnTo>
                      <a:pt x="72" y="21"/>
                    </a:lnTo>
                    <a:lnTo>
                      <a:pt x="73" y="21"/>
                    </a:lnTo>
                    <a:lnTo>
                      <a:pt x="72" y="22"/>
                    </a:lnTo>
                    <a:lnTo>
                      <a:pt x="70" y="22"/>
                    </a:lnTo>
                    <a:lnTo>
                      <a:pt x="70" y="24"/>
                    </a:lnTo>
                    <a:lnTo>
                      <a:pt x="72" y="24"/>
                    </a:lnTo>
                    <a:lnTo>
                      <a:pt x="73" y="22"/>
                    </a:lnTo>
                    <a:lnTo>
                      <a:pt x="72" y="24"/>
                    </a:lnTo>
                    <a:lnTo>
                      <a:pt x="70" y="26"/>
                    </a:lnTo>
                    <a:lnTo>
                      <a:pt x="70" y="27"/>
                    </a:lnTo>
                    <a:lnTo>
                      <a:pt x="68" y="27"/>
                    </a:lnTo>
                    <a:lnTo>
                      <a:pt x="68" y="26"/>
                    </a:lnTo>
                    <a:lnTo>
                      <a:pt x="66" y="26"/>
                    </a:lnTo>
                    <a:lnTo>
                      <a:pt x="68" y="27"/>
                    </a:lnTo>
                    <a:lnTo>
                      <a:pt x="66" y="26"/>
                    </a:lnTo>
                    <a:lnTo>
                      <a:pt x="66" y="27"/>
                    </a:lnTo>
                    <a:lnTo>
                      <a:pt x="65" y="27"/>
                    </a:lnTo>
                    <a:lnTo>
                      <a:pt x="63" y="27"/>
                    </a:lnTo>
                    <a:lnTo>
                      <a:pt x="65" y="27"/>
                    </a:lnTo>
                    <a:lnTo>
                      <a:pt x="66" y="27"/>
                    </a:lnTo>
                    <a:lnTo>
                      <a:pt x="68" y="27"/>
                    </a:lnTo>
                    <a:lnTo>
                      <a:pt x="66" y="27"/>
                    </a:lnTo>
                    <a:lnTo>
                      <a:pt x="66" y="29"/>
                    </a:lnTo>
                    <a:lnTo>
                      <a:pt x="66" y="27"/>
                    </a:lnTo>
                    <a:lnTo>
                      <a:pt x="66" y="29"/>
                    </a:lnTo>
                    <a:lnTo>
                      <a:pt x="68" y="27"/>
                    </a:lnTo>
                    <a:lnTo>
                      <a:pt x="68" y="29"/>
                    </a:lnTo>
                    <a:lnTo>
                      <a:pt x="66" y="29"/>
                    </a:lnTo>
                    <a:lnTo>
                      <a:pt x="66" y="31"/>
                    </a:lnTo>
                    <a:lnTo>
                      <a:pt x="66" y="33"/>
                    </a:lnTo>
                    <a:lnTo>
                      <a:pt x="65" y="33"/>
                    </a:lnTo>
                    <a:lnTo>
                      <a:pt x="65" y="34"/>
                    </a:lnTo>
                    <a:lnTo>
                      <a:pt x="63" y="34"/>
                    </a:lnTo>
                    <a:lnTo>
                      <a:pt x="63" y="33"/>
                    </a:lnTo>
                    <a:lnTo>
                      <a:pt x="65" y="31"/>
                    </a:lnTo>
                    <a:lnTo>
                      <a:pt x="63" y="33"/>
                    </a:lnTo>
                    <a:lnTo>
                      <a:pt x="63" y="34"/>
                    </a:lnTo>
                    <a:lnTo>
                      <a:pt x="61" y="34"/>
                    </a:lnTo>
                    <a:lnTo>
                      <a:pt x="63" y="33"/>
                    </a:lnTo>
                    <a:lnTo>
                      <a:pt x="61" y="33"/>
                    </a:lnTo>
                    <a:lnTo>
                      <a:pt x="61" y="34"/>
                    </a:lnTo>
                    <a:lnTo>
                      <a:pt x="60" y="34"/>
                    </a:lnTo>
                    <a:lnTo>
                      <a:pt x="60" y="36"/>
                    </a:lnTo>
                    <a:lnTo>
                      <a:pt x="61" y="34"/>
                    </a:lnTo>
                    <a:lnTo>
                      <a:pt x="61" y="36"/>
                    </a:lnTo>
                    <a:lnTo>
                      <a:pt x="60" y="36"/>
                    </a:lnTo>
                    <a:lnTo>
                      <a:pt x="60" y="38"/>
                    </a:lnTo>
                    <a:lnTo>
                      <a:pt x="60" y="39"/>
                    </a:lnTo>
                    <a:lnTo>
                      <a:pt x="58" y="39"/>
                    </a:lnTo>
                    <a:lnTo>
                      <a:pt x="56" y="39"/>
                    </a:lnTo>
                    <a:lnTo>
                      <a:pt x="58" y="39"/>
                    </a:lnTo>
                    <a:lnTo>
                      <a:pt x="58" y="41"/>
                    </a:lnTo>
                    <a:lnTo>
                      <a:pt x="56" y="41"/>
                    </a:lnTo>
                    <a:lnTo>
                      <a:pt x="56" y="43"/>
                    </a:lnTo>
                    <a:lnTo>
                      <a:pt x="55" y="43"/>
                    </a:lnTo>
                    <a:lnTo>
                      <a:pt x="53" y="45"/>
                    </a:lnTo>
                    <a:lnTo>
                      <a:pt x="55" y="45"/>
                    </a:lnTo>
                    <a:lnTo>
                      <a:pt x="53" y="45"/>
                    </a:lnTo>
                    <a:lnTo>
                      <a:pt x="53" y="46"/>
                    </a:lnTo>
                    <a:lnTo>
                      <a:pt x="51" y="48"/>
                    </a:lnTo>
                    <a:lnTo>
                      <a:pt x="51" y="50"/>
                    </a:lnTo>
                    <a:lnTo>
                      <a:pt x="51" y="51"/>
                    </a:lnTo>
                    <a:lnTo>
                      <a:pt x="49" y="51"/>
                    </a:lnTo>
                    <a:lnTo>
                      <a:pt x="49" y="53"/>
                    </a:lnTo>
                    <a:lnTo>
                      <a:pt x="48" y="51"/>
                    </a:lnTo>
                    <a:lnTo>
                      <a:pt x="48" y="53"/>
                    </a:lnTo>
                    <a:lnTo>
                      <a:pt x="46" y="53"/>
                    </a:lnTo>
                    <a:lnTo>
                      <a:pt x="46" y="55"/>
                    </a:lnTo>
                    <a:lnTo>
                      <a:pt x="44" y="53"/>
                    </a:lnTo>
                    <a:lnTo>
                      <a:pt x="46" y="53"/>
                    </a:lnTo>
                    <a:lnTo>
                      <a:pt x="44" y="51"/>
                    </a:lnTo>
                    <a:lnTo>
                      <a:pt x="46" y="51"/>
                    </a:lnTo>
                    <a:lnTo>
                      <a:pt x="44" y="53"/>
                    </a:lnTo>
                    <a:lnTo>
                      <a:pt x="43" y="51"/>
                    </a:lnTo>
                    <a:lnTo>
                      <a:pt x="44" y="51"/>
                    </a:lnTo>
                    <a:lnTo>
                      <a:pt x="43" y="50"/>
                    </a:lnTo>
                    <a:lnTo>
                      <a:pt x="43" y="51"/>
                    </a:lnTo>
                    <a:lnTo>
                      <a:pt x="43" y="53"/>
                    </a:lnTo>
                    <a:lnTo>
                      <a:pt x="43" y="55"/>
                    </a:lnTo>
                    <a:lnTo>
                      <a:pt x="41" y="55"/>
                    </a:lnTo>
                    <a:lnTo>
                      <a:pt x="39" y="55"/>
                    </a:lnTo>
                    <a:lnTo>
                      <a:pt x="38" y="55"/>
                    </a:lnTo>
                    <a:lnTo>
                      <a:pt x="39" y="53"/>
                    </a:lnTo>
                    <a:lnTo>
                      <a:pt x="38" y="53"/>
                    </a:lnTo>
                    <a:lnTo>
                      <a:pt x="39" y="53"/>
                    </a:lnTo>
                    <a:lnTo>
                      <a:pt x="38" y="53"/>
                    </a:lnTo>
                    <a:lnTo>
                      <a:pt x="39" y="51"/>
                    </a:lnTo>
                    <a:lnTo>
                      <a:pt x="38" y="53"/>
                    </a:lnTo>
                    <a:lnTo>
                      <a:pt x="36" y="53"/>
                    </a:lnTo>
                    <a:lnTo>
                      <a:pt x="36" y="55"/>
                    </a:lnTo>
                    <a:lnTo>
                      <a:pt x="34" y="53"/>
                    </a:lnTo>
                    <a:lnTo>
                      <a:pt x="34" y="51"/>
                    </a:lnTo>
                    <a:lnTo>
                      <a:pt x="36" y="51"/>
                    </a:lnTo>
                    <a:lnTo>
                      <a:pt x="36" y="50"/>
                    </a:lnTo>
                    <a:lnTo>
                      <a:pt x="34" y="50"/>
                    </a:lnTo>
                    <a:lnTo>
                      <a:pt x="34" y="51"/>
                    </a:lnTo>
                    <a:lnTo>
                      <a:pt x="32" y="50"/>
                    </a:lnTo>
                    <a:lnTo>
                      <a:pt x="34" y="51"/>
                    </a:lnTo>
                    <a:lnTo>
                      <a:pt x="34" y="53"/>
                    </a:lnTo>
                    <a:lnTo>
                      <a:pt x="34" y="55"/>
                    </a:lnTo>
                    <a:lnTo>
                      <a:pt x="34" y="53"/>
                    </a:lnTo>
                    <a:lnTo>
                      <a:pt x="36" y="55"/>
                    </a:lnTo>
                    <a:lnTo>
                      <a:pt x="36" y="56"/>
                    </a:lnTo>
                    <a:lnTo>
                      <a:pt x="36" y="58"/>
                    </a:lnTo>
                    <a:lnTo>
                      <a:pt x="38" y="58"/>
                    </a:lnTo>
                    <a:lnTo>
                      <a:pt x="38" y="56"/>
                    </a:lnTo>
                    <a:lnTo>
                      <a:pt x="38" y="55"/>
                    </a:lnTo>
                    <a:lnTo>
                      <a:pt x="38" y="56"/>
                    </a:lnTo>
                    <a:lnTo>
                      <a:pt x="38" y="58"/>
                    </a:lnTo>
                    <a:lnTo>
                      <a:pt x="36" y="60"/>
                    </a:lnTo>
                    <a:lnTo>
                      <a:pt x="36" y="62"/>
                    </a:lnTo>
                    <a:lnTo>
                      <a:pt x="34" y="62"/>
                    </a:lnTo>
                    <a:lnTo>
                      <a:pt x="34" y="63"/>
                    </a:lnTo>
                    <a:lnTo>
                      <a:pt x="32" y="62"/>
                    </a:lnTo>
                    <a:lnTo>
                      <a:pt x="32" y="60"/>
                    </a:lnTo>
                    <a:lnTo>
                      <a:pt x="34" y="60"/>
                    </a:lnTo>
                    <a:lnTo>
                      <a:pt x="32" y="60"/>
                    </a:lnTo>
                    <a:lnTo>
                      <a:pt x="32" y="58"/>
                    </a:lnTo>
                    <a:lnTo>
                      <a:pt x="32" y="60"/>
                    </a:lnTo>
                    <a:lnTo>
                      <a:pt x="32" y="62"/>
                    </a:lnTo>
                    <a:lnTo>
                      <a:pt x="32" y="60"/>
                    </a:lnTo>
                    <a:lnTo>
                      <a:pt x="31" y="60"/>
                    </a:lnTo>
                    <a:lnTo>
                      <a:pt x="29" y="60"/>
                    </a:lnTo>
                    <a:lnTo>
                      <a:pt x="31" y="60"/>
                    </a:lnTo>
                    <a:lnTo>
                      <a:pt x="32" y="62"/>
                    </a:lnTo>
                    <a:lnTo>
                      <a:pt x="32" y="63"/>
                    </a:lnTo>
                    <a:lnTo>
                      <a:pt x="34" y="63"/>
                    </a:lnTo>
                    <a:lnTo>
                      <a:pt x="32" y="63"/>
                    </a:lnTo>
                    <a:lnTo>
                      <a:pt x="32" y="62"/>
                    </a:lnTo>
                    <a:lnTo>
                      <a:pt x="31" y="62"/>
                    </a:lnTo>
                    <a:lnTo>
                      <a:pt x="31" y="63"/>
                    </a:lnTo>
                    <a:lnTo>
                      <a:pt x="29" y="63"/>
                    </a:lnTo>
                    <a:lnTo>
                      <a:pt x="29" y="62"/>
                    </a:lnTo>
                    <a:lnTo>
                      <a:pt x="29" y="63"/>
                    </a:lnTo>
                    <a:lnTo>
                      <a:pt x="27" y="62"/>
                    </a:lnTo>
                    <a:lnTo>
                      <a:pt x="27" y="60"/>
                    </a:lnTo>
                    <a:lnTo>
                      <a:pt x="26" y="62"/>
                    </a:lnTo>
                    <a:lnTo>
                      <a:pt x="27" y="62"/>
                    </a:lnTo>
                    <a:lnTo>
                      <a:pt x="26" y="62"/>
                    </a:lnTo>
                    <a:lnTo>
                      <a:pt x="26" y="63"/>
                    </a:lnTo>
                    <a:lnTo>
                      <a:pt x="27" y="62"/>
                    </a:lnTo>
                    <a:lnTo>
                      <a:pt x="27" y="63"/>
                    </a:lnTo>
                    <a:lnTo>
                      <a:pt x="29" y="63"/>
                    </a:lnTo>
                    <a:lnTo>
                      <a:pt x="29" y="65"/>
                    </a:lnTo>
                    <a:lnTo>
                      <a:pt x="27" y="65"/>
                    </a:lnTo>
                    <a:lnTo>
                      <a:pt x="29" y="65"/>
                    </a:lnTo>
                    <a:lnTo>
                      <a:pt x="27" y="67"/>
                    </a:lnTo>
                    <a:lnTo>
                      <a:pt x="26" y="67"/>
                    </a:lnTo>
                    <a:lnTo>
                      <a:pt x="26" y="68"/>
                    </a:lnTo>
                    <a:lnTo>
                      <a:pt x="24" y="67"/>
                    </a:lnTo>
                    <a:lnTo>
                      <a:pt x="26" y="68"/>
                    </a:lnTo>
                    <a:lnTo>
                      <a:pt x="24" y="68"/>
                    </a:lnTo>
                    <a:lnTo>
                      <a:pt x="22" y="67"/>
                    </a:lnTo>
                    <a:lnTo>
                      <a:pt x="24" y="67"/>
                    </a:lnTo>
                    <a:lnTo>
                      <a:pt x="22" y="65"/>
                    </a:lnTo>
                    <a:lnTo>
                      <a:pt x="24" y="65"/>
                    </a:lnTo>
                    <a:lnTo>
                      <a:pt x="24" y="63"/>
                    </a:lnTo>
                    <a:lnTo>
                      <a:pt x="22" y="65"/>
                    </a:lnTo>
                    <a:lnTo>
                      <a:pt x="22" y="63"/>
                    </a:lnTo>
                    <a:lnTo>
                      <a:pt x="24" y="63"/>
                    </a:lnTo>
                    <a:lnTo>
                      <a:pt x="22" y="63"/>
                    </a:lnTo>
                    <a:lnTo>
                      <a:pt x="22" y="62"/>
                    </a:lnTo>
                    <a:lnTo>
                      <a:pt x="21" y="63"/>
                    </a:lnTo>
                    <a:lnTo>
                      <a:pt x="21" y="62"/>
                    </a:lnTo>
                    <a:lnTo>
                      <a:pt x="22" y="62"/>
                    </a:lnTo>
                    <a:lnTo>
                      <a:pt x="24" y="62"/>
                    </a:lnTo>
                    <a:lnTo>
                      <a:pt x="22" y="62"/>
                    </a:lnTo>
                    <a:lnTo>
                      <a:pt x="22" y="60"/>
                    </a:lnTo>
                    <a:lnTo>
                      <a:pt x="21" y="60"/>
                    </a:lnTo>
                    <a:lnTo>
                      <a:pt x="21" y="62"/>
                    </a:lnTo>
                    <a:lnTo>
                      <a:pt x="21" y="60"/>
                    </a:lnTo>
                    <a:lnTo>
                      <a:pt x="19" y="60"/>
                    </a:lnTo>
                    <a:lnTo>
                      <a:pt x="17" y="60"/>
                    </a:lnTo>
                    <a:lnTo>
                      <a:pt x="17" y="62"/>
                    </a:lnTo>
                    <a:lnTo>
                      <a:pt x="19" y="62"/>
                    </a:lnTo>
                    <a:lnTo>
                      <a:pt x="19" y="63"/>
                    </a:lnTo>
                    <a:lnTo>
                      <a:pt x="21" y="63"/>
                    </a:lnTo>
                    <a:lnTo>
                      <a:pt x="22" y="63"/>
                    </a:lnTo>
                    <a:lnTo>
                      <a:pt x="22" y="65"/>
                    </a:lnTo>
                    <a:lnTo>
                      <a:pt x="21" y="63"/>
                    </a:lnTo>
                    <a:lnTo>
                      <a:pt x="21" y="65"/>
                    </a:lnTo>
                    <a:lnTo>
                      <a:pt x="21" y="63"/>
                    </a:lnTo>
                    <a:lnTo>
                      <a:pt x="19" y="65"/>
                    </a:lnTo>
                    <a:lnTo>
                      <a:pt x="17" y="63"/>
                    </a:lnTo>
                    <a:lnTo>
                      <a:pt x="19" y="62"/>
                    </a:lnTo>
                    <a:lnTo>
                      <a:pt x="17" y="62"/>
                    </a:lnTo>
                    <a:lnTo>
                      <a:pt x="15" y="60"/>
                    </a:lnTo>
                    <a:lnTo>
                      <a:pt x="14" y="60"/>
                    </a:lnTo>
                    <a:lnTo>
                      <a:pt x="14" y="58"/>
                    </a:lnTo>
                    <a:lnTo>
                      <a:pt x="12" y="58"/>
                    </a:lnTo>
                    <a:lnTo>
                      <a:pt x="12" y="56"/>
                    </a:lnTo>
                    <a:lnTo>
                      <a:pt x="10" y="56"/>
                    </a:lnTo>
                    <a:lnTo>
                      <a:pt x="12" y="58"/>
                    </a:lnTo>
                    <a:lnTo>
                      <a:pt x="10" y="58"/>
                    </a:lnTo>
                    <a:lnTo>
                      <a:pt x="10" y="56"/>
                    </a:lnTo>
                    <a:lnTo>
                      <a:pt x="10" y="55"/>
                    </a:lnTo>
                    <a:lnTo>
                      <a:pt x="9" y="55"/>
                    </a:lnTo>
                    <a:lnTo>
                      <a:pt x="10" y="55"/>
                    </a:lnTo>
                    <a:lnTo>
                      <a:pt x="12" y="55"/>
                    </a:lnTo>
                    <a:lnTo>
                      <a:pt x="12" y="56"/>
                    </a:lnTo>
                    <a:lnTo>
                      <a:pt x="14" y="56"/>
                    </a:lnTo>
                    <a:lnTo>
                      <a:pt x="15" y="56"/>
                    </a:lnTo>
                    <a:lnTo>
                      <a:pt x="15" y="58"/>
                    </a:lnTo>
                    <a:lnTo>
                      <a:pt x="17" y="58"/>
                    </a:lnTo>
                    <a:lnTo>
                      <a:pt x="19" y="56"/>
                    </a:lnTo>
                    <a:lnTo>
                      <a:pt x="17" y="58"/>
                    </a:lnTo>
                    <a:lnTo>
                      <a:pt x="15" y="58"/>
                    </a:lnTo>
                    <a:lnTo>
                      <a:pt x="15" y="56"/>
                    </a:lnTo>
                    <a:lnTo>
                      <a:pt x="15" y="55"/>
                    </a:lnTo>
                    <a:lnTo>
                      <a:pt x="17" y="56"/>
                    </a:lnTo>
                    <a:lnTo>
                      <a:pt x="19" y="56"/>
                    </a:lnTo>
                    <a:lnTo>
                      <a:pt x="19" y="55"/>
                    </a:lnTo>
                    <a:lnTo>
                      <a:pt x="21" y="55"/>
                    </a:lnTo>
                    <a:lnTo>
                      <a:pt x="21" y="53"/>
                    </a:lnTo>
                    <a:lnTo>
                      <a:pt x="19" y="53"/>
                    </a:lnTo>
                    <a:lnTo>
                      <a:pt x="17" y="55"/>
                    </a:lnTo>
                    <a:lnTo>
                      <a:pt x="17" y="53"/>
                    </a:lnTo>
                    <a:lnTo>
                      <a:pt x="17" y="51"/>
                    </a:lnTo>
                    <a:lnTo>
                      <a:pt x="19" y="51"/>
                    </a:lnTo>
                    <a:lnTo>
                      <a:pt x="21" y="51"/>
                    </a:lnTo>
                    <a:lnTo>
                      <a:pt x="21" y="53"/>
                    </a:lnTo>
                    <a:lnTo>
                      <a:pt x="21" y="51"/>
                    </a:lnTo>
                    <a:lnTo>
                      <a:pt x="22" y="51"/>
                    </a:lnTo>
                    <a:lnTo>
                      <a:pt x="21" y="53"/>
                    </a:lnTo>
                    <a:lnTo>
                      <a:pt x="22" y="53"/>
                    </a:lnTo>
                    <a:lnTo>
                      <a:pt x="21" y="55"/>
                    </a:lnTo>
                    <a:lnTo>
                      <a:pt x="22" y="55"/>
                    </a:lnTo>
                    <a:lnTo>
                      <a:pt x="22" y="53"/>
                    </a:lnTo>
                    <a:lnTo>
                      <a:pt x="22" y="55"/>
                    </a:lnTo>
                    <a:lnTo>
                      <a:pt x="22" y="56"/>
                    </a:lnTo>
                    <a:lnTo>
                      <a:pt x="24" y="56"/>
                    </a:lnTo>
                    <a:lnTo>
                      <a:pt x="22" y="56"/>
                    </a:lnTo>
                    <a:lnTo>
                      <a:pt x="24" y="55"/>
                    </a:lnTo>
                    <a:lnTo>
                      <a:pt x="22" y="55"/>
                    </a:lnTo>
                    <a:lnTo>
                      <a:pt x="24" y="55"/>
                    </a:lnTo>
                    <a:lnTo>
                      <a:pt x="24" y="53"/>
                    </a:lnTo>
                    <a:lnTo>
                      <a:pt x="22" y="53"/>
                    </a:lnTo>
                    <a:lnTo>
                      <a:pt x="24" y="53"/>
                    </a:lnTo>
                    <a:lnTo>
                      <a:pt x="26" y="53"/>
                    </a:lnTo>
                    <a:lnTo>
                      <a:pt x="26" y="55"/>
                    </a:lnTo>
                    <a:lnTo>
                      <a:pt x="27" y="55"/>
                    </a:lnTo>
                    <a:lnTo>
                      <a:pt x="26" y="55"/>
                    </a:lnTo>
                    <a:lnTo>
                      <a:pt x="26" y="53"/>
                    </a:lnTo>
                    <a:lnTo>
                      <a:pt x="27" y="55"/>
                    </a:lnTo>
                    <a:lnTo>
                      <a:pt x="29" y="55"/>
                    </a:lnTo>
                    <a:lnTo>
                      <a:pt x="27" y="55"/>
                    </a:lnTo>
                    <a:lnTo>
                      <a:pt x="27" y="53"/>
                    </a:lnTo>
                    <a:lnTo>
                      <a:pt x="29" y="53"/>
                    </a:lnTo>
                    <a:lnTo>
                      <a:pt x="31" y="53"/>
                    </a:lnTo>
                    <a:lnTo>
                      <a:pt x="31" y="51"/>
                    </a:lnTo>
                    <a:lnTo>
                      <a:pt x="32" y="51"/>
                    </a:lnTo>
                    <a:lnTo>
                      <a:pt x="32" y="50"/>
                    </a:lnTo>
                    <a:lnTo>
                      <a:pt x="31" y="50"/>
                    </a:lnTo>
                    <a:lnTo>
                      <a:pt x="31" y="51"/>
                    </a:lnTo>
                    <a:lnTo>
                      <a:pt x="29" y="51"/>
                    </a:lnTo>
                    <a:lnTo>
                      <a:pt x="27" y="51"/>
                    </a:lnTo>
                    <a:lnTo>
                      <a:pt x="27" y="50"/>
                    </a:lnTo>
                    <a:lnTo>
                      <a:pt x="26" y="50"/>
                    </a:lnTo>
                    <a:lnTo>
                      <a:pt x="24" y="50"/>
                    </a:lnTo>
                    <a:lnTo>
                      <a:pt x="26" y="50"/>
                    </a:lnTo>
                    <a:lnTo>
                      <a:pt x="27" y="50"/>
                    </a:lnTo>
                    <a:lnTo>
                      <a:pt x="27" y="51"/>
                    </a:lnTo>
                    <a:lnTo>
                      <a:pt x="27" y="50"/>
                    </a:lnTo>
                    <a:lnTo>
                      <a:pt x="29" y="50"/>
                    </a:lnTo>
                    <a:lnTo>
                      <a:pt x="29" y="48"/>
                    </a:lnTo>
                    <a:lnTo>
                      <a:pt x="31" y="48"/>
                    </a:lnTo>
                    <a:lnTo>
                      <a:pt x="31" y="46"/>
                    </a:lnTo>
                    <a:lnTo>
                      <a:pt x="29" y="46"/>
                    </a:lnTo>
                    <a:lnTo>
                      <a:pt x="31" y="46"/>
                    </a:lnTo>
                    <a:lnTo>
                      <a:pt x="31" y="45"/>
                    </a:lnTo>
                    <a:lnTo>
                      <a:pt x="29" y="45"/>
                    </a:lnTo>
                    <a:lnTo>
                      <a:pt x="31" y="45"/>
                    </a:lnTo>
                    <a:lnTo>
                      <a:pt x="29" y="43"/>
                    </a:lnTo>
                    <a:lnTo>
                      <a:pt x="31" y="43"/>
                    </a:lnTo>
                    <a:lnTo>
                      <a:pt x="31" y="41"/>
                    </a:lnTo>
                    <a:lnTo>
                      <a:pt x="32" y="41"/>
                    </a:lnTo>
                    <a:lnTo>
                      <a:pt x="31" y="43"/>
                    </a:lnTo>
                    <a:lnTo>
                      <a:pt x="32" y="41"/>
                    </a:lnTo>
                    <a:lnTo>
                      <a:pt x="32" y="43"/>
                    </a:lnTo>
                    <a:lnTo>
                      <a:pt x="32" y="45"/>
                    </a:lnTo>
                    <a:lnTo>
                      <a:pt x="32" y="43"/>
                    </a:lnTo>
                    <a:lnTo>
                      <a:pt x="34" y="45"/>
                    </a:lnTo>
                    <a:lnTo>
                      <a:pt x="32" y="45"/>
                    </a:lnTo>
                    <a:lnTo>
                      <a:pt x="32" y="46"/>
                    </a:lnTo>
                    <a:lnTo>
                      <a:pt x="34" y="46"/>
                    </a:lnTo>
                    <a:lnTo>
                      <a:pt x="34" y="48"/>
                    </a:lnTo>
                    <a:lnTo>
                      <a:pt x="34" y="46"/>
                    </a:lnTo>
                    <a:lnTo>
                      <a:pt x="34" y="45"/>
                    </a:lnTo>
                    <a:lnTo>
                      <a:pt x="36" y="45"/>
                    </a:lnTo>
                    <a:lnTo>
                      <a:pt x="34" y="43"/>
                    </a:lnTo>
                    <a:lnTo>
                      <a:pt x="36" y="43"/>
                    </a:lnTo>
                    <a:lnTo>
                      <a:pt x="36" y="41"/>
                    </a:lnTo>
                    <a:lnTo>
                      <a:pt x="34" y="41"/>
                    </a:lnTo>
                    <a:lnTo>
                      <a:pt x="36" y="41"/>
                    </a:lnTo>
                    <a:lnTo>
                      <a:pt x="38" y="39"/>
                    </a:lnTo>
                    <a:lnTo>
                      <a:pt x="36" y="41"/>
                    </a:lnTo>
                    <a:lnTo>
                      <a:pt x="38" y="41"/>
                    </a:lnTo>
                    <a:lnTo>
                      <a:pt x="38" y="43"/>
                    </a:lnTo>
                    <a:lnTo>
                      <a:pt x="38" y="41"/>
                    </a:lnTo>
                    <a:lnTo>
                      <a:pt x="39" y="43"/>
                    </a:lnTo>
                    <a:lnTo>
                      <a:pt x="39" y="41"/>
                    </a:lnTo>
                    <a:lnTo>
                      <a:pt x="39" y="39"/>
                    </a:lnTo>
                    <a:lnTo>
                      <a:pt x="39" y="38"/>
                    </a:lnTo>
                    <a:lnTo>
                      <a:pt x="38" y="38"/>
                    </a:lnTo>
                    <a:lnTo>
                      <a:pt x="36" y="39"/>
                    </a:lnTo>
                    <a:lnTo>
                      <a:pt x="36" y="38"/>
                    </a:lnTo>
                    <a:lnTo>
                      <a:pt x="34" y="38"/>
                    </a:lnTo>
                    <a:lnTo>
                      <a:pt x="32" y="38"/>
                    </a:lnTo>
                    <a:lnTo>
                      <a:pt x="32" y="39"/>
                    </a:lnTo>
                    <a:lnTo>
                      <a:pt x="34" y="41"/>
                    </a:lnTo>
                    <a:lnTo>
                      <a:pt x="32" y="39"/>
                    </a:lnTo>
                    <a:lnTo>
                      <a:pt x="31" y="41"/>
                    </a:lnTo>
                    <a:lnTo>
                      <a:pt x="29" y="41"/>
                    </a:lnTo>
                    <a:lnTo>
                      <a:pt x="27" y="41"/>
                    </a:lnTo>
                    <a:lnTo>
                      <a:pt x="27" y="43"/>
                    </a:lnTo>
                    <a:lnTo>
                      <a:pt x="26" y="41"/>
                    </a:lnTo>
                    <a:lnTo>
                      <a:pt x="27" y="41"/>
                    </a:lnTo>
                    <a:lnTo>
                      <a:pt x="26" y="41"/>
                    </a:lnTo>
                    <a:lnTo>
                      <a:pt x="24" y="39"/>
                    </a:lnTo>
                    <a:lnTo>
                      <a:pt x="24" y="38"/>
                    </a:lnTo>
                    <a:lnTo>
                      <a:pt x="24" y="36"/>
                    </a:lnTo>
                    <a:lnTo>
                      <a:pt x="26" y="36"/>
                    </a:lnTo>
                    <a:lnTo>
                      <a:pt x="26" y="38"/>
                    </a:lnTo>
                    <a:lnTo>
                      <a:pt x="26" y="36"/>
                    </a:lnTo>
                    <a:lnTo>
                      <a:pt x="26" y="38"/>
                    </a:lnTo>
                    <a:lnTo>
                      <a:pt x="27" y="38"/>
                    </a:lnTo>
                    <a:lnTo>
                      <a:pt x="29" y="38"/>
                    </a:lnTo>
                    <a:lnTo>
                      <a:pt x="31" y="38"/>
                    </a:lnTo>
                    <a:lnTo>
                      <a:pt x="32" y="36"/>
                    </a:lnTo>
                    <a:lnTo>
                      <a:pt x="34" y="36"/>
                    </a:lnTo>
                    <a:lnTo>
                      <a:pt x="36" y="36"/>
                    </a:lnTo>
                    <a:lnTo>
                      <a:pt x="38" y="36"/>
                    </a:lnTo>
                    <a:lnTo>
                      <a:pt x="38" y="34"/>
                    </a:lnTo>
                    <a:lnTo>
                      <a:pt x="39" y="36"/>
                    </a:lnTo>
                    <a:lnTo>
                      <a:pt x="39" y="38"/>
                    </a:lnTo>
                    <a:lnTo>
                      <a:pt x="41" y="38"/>
                    </a:lnTo>
                    <a:lnTo>
                      <a:pt x="43" y="38"/>
                    </a:lnTo>
                    <a:lnTo>
                      <a:pt x="43" y="39"/>
                    </a:lnTo>
                    <a:lnTo>
                      <a:pt x="43" y="38"/>
                    </a:lnTo>
                    <a:lnTo>
                      <a:pt x="44" y="39"/>
                    </a:lnTo>
                    <a:lnTo>
                      <a:pt x="46" y="39"/>
                    </a:lnTo>
                    <a:lnTo>
                      <a:pt x="44" y="39"/>
                    </a:lnTo>
                    <a:lnTo>
                      <a:pt x="43" y="38"/>
                    </a:lnTo>
                    <a:lnTo>
                      <a:pt x="43" y="36"/>
                    </a:lnTo>
                    <a:lnTo>
                      <a:pt x="41" y="36"/>
                    </a:lnTo>
                    <a:lnTo>
                      <a:pt x="39" y="36"/>
                    </a:lnTo>
                    <a:lnTo>
                      <a:pt x="39" y="34"/>
                    </a:lnTo>
                    <a:lnTo>
                      <a:pt x="38" y="34"/>
                    </a:lnTo>
                    <a:lnTo>
                      <a:pt x="38" y="33"/>
                    </a:lnTo>
                    <a:lnTo>
                      <a:pt x="36" y="33"/>
                    </a:lnTo>
                    <a:lnTo>
                      <a:pt x="36" y="31"/>
                    </a:lnTo>
                    <a:lnTo>
                      <a:pt x="38" y="31"/>
                    </a:lnTo>
                    <a:lnTo>
                      <a:pt x="36" y="31"/>
                    </a:lnTo>
                    <a:lnTo>
                      <a:pt x="36" y="29"/>
                    </a:lnTo>
                    <a:lnTo>
                      <a:pt x="34" y="29"/>
                    </a:lnTo>
                    <a:lnTo>
                      <a:pt x="36" y="29"/>
                    </a:lnTo>
                    <a:lnTo>
                      <a:pt x="36" y="31"/>
                    </a:lnTo>
                    <a:lnTo>
                      <a:pt x="34" y="31"/>
                    </a:lnTo>
                    <a:lnTo>
                      <a:pt x="32" y="31"/>
                    </a:lnTo>
                    <a:lnTo>
                      <a:pt x="32" y="29"/>
                    </a:lnTo>
                    <a:lnTo>
                      <a:pt x="31" y="29"/>
                    </a:lnTo>
                    <a:lnTo>
                      <a:pt x="29" y="29"/>
                    </a:lnTo>
                    <a:lnTo>
                      <a:pt x="29" y="27"/>
                    </a:lnTo>
                    <a:lnTo>
                      <a:pt x="29" y="29"/>
                    </a:lnTo>
                    <a:lnTo>
                      <a:pt x="29" y="27"/>
                    </a:lnTo>
                    <a:lnTo>
                      <a:pt x="29" y="26"/>
                    </a:lnTo>
                    <a:lnTo>
                      <a:pt x="31" y="26"/>
                    </a:lnTo>
                    <a:lnTo>
                      <a:pt x="32" y="27"/>
                    </a:lnTo>
                    <a:lnTo>
                      <a:pt x="32" y="26"/>
                    </a:lnTo>
                    <a:lnTo>
                      <a:pt x="31" y="24"/>
                    </a:lnTo>
                    <a:lnTo>
                      <a:pt x="31" y="22"/>
                    </a:lnTo>
                    <a:lnTo>
                      <a:pt x="29" y="24"/>
                    </a:lnTo>
                    <a:lnTo>
                      <a:pt x="27" y="24"/>
                    </a:lnTo>
                    <a:lnTo>
                      <a:pt x="26" y="24"/>
                    </a:lnTo>
                    <a:lnTo>
                      <a:pt x="26" y="22"/>
                    </a:lnTo>
                    <a:lnTo>
                      <a:pt x="24" y="22"/>
                    </a:lnTo>
                    <a:lnTo>
                      <a:pt x="24" y="21"/>
                    </a:lnTo>
                    <a:lnTo>
                      <a:pt x="24" y="19"/>
                    </a:lnTo>
                    <a:lnTo>
                      <a:pt x="26" y="19"/>
                    </a:lnTo>
                    <a:lnTo>
                      <a:pt x="24" y="19"/>
                    </a:lnTo>
                    <a:lnTo>
                      <a:pt x="24" y="17"/>
                    </a:lnTo>
                    <a:lnTo>
                      <a:pt x="26" y="19"/>
                    </a:lnTo>
                    <a:lnTo>
                      <a:pt x="27" y="19"/>
                    </a:lnTo>
                    <a:lnTo>
                      <a:pt x="29" y="21"/>
                    </a:lnTo>
                    <a:lnTo>
                      <a:pt x="31" y="21"/>
                    </a:lnTo>
                    <a:lnTo>
                      <a:pt x="31" y="22"/>
                    </a:lnTo>
                    <a:lnTo>
                      <a:pt x="31" y="21"/>
                    </a:lnTo>
                    <a:lnTo>
                      <a:pt x="31" y="22"/>
                    </a:lnTo>
                    <a:lnTo>
                      <a:pt x="32" y="22"/>
                    </a:lnTo>
                    <a:lnTo>
                      <a:pt x="32" y="24"/>
                    </a:lnTo>
                    <a:lnTo>
                      <a:pt x="34" y="24"/>
                    </a:lnTo>
                    <a:lnTo>
                      <a:pt x="36" y="26"/>
                    </a:lnTo>
                    <a:lnTo>
                      <a:pt x="38" y="26"/>
                    </a:lnTo>
                    <a:lnTo>
                      <a:pt x="39" y="26"/>
                    </a:lnTo>
                    <a:lnTo>
                      <a:pt x="41" y="26"/>
                    </a:lnTo>
                    <a:lnTo>
                      <a:pt x="41" y="27"/>
                    </a:lnTo>
                    <a:lnTo>
                      <a:pt x="41" y="26"/>
                    </a:lnTo>
                    <a:lnTo>
                      <a:pt x="43" y="27"/>
                    </a:lnTo>
                    <a:lnTo>
                      <a:pt x="43" y="26"/>
                    </a:lnTo>
                    <a:lnTo>
                      <a:pt x="44" y="26"/>
                    </a:lnTo>
                    <a:lnTo>
                      <a:pt x="46" y="26"/>
                    </a:lnTo>
                    <a:lnTo>
                      <a:pt x="46" y="24"/>
                    </a:lnTo>
                    <a:lnTo>
                      <a:pt x="44" y="24"/>
                    </a:lnTo>
                    <a:lnTo>
                      <a:pt x="43" y="24"/>
                    </a:lnTo>
                    <a:lnTo>
                      <a:pt x="43" y="22"/>
                    </a:lnTo>
                    <a:lnTo>
                      <a:pt x="44" y="22"/>
                    </a:lnTo>
                    <a:lnTo>
                      <a:pt x="44" y="21"/>
                    </a:lnTo>
                    <a:lnTo>
                      <a:pt x="46" y="21"/>
                    </a:lnTo>
                    <a:lnTo>
                      <a:pt x="44" y="21"/>
                    </a:lnTo>
                    <a:lnTo>
                      <a:pt x="44" y="22"/>
                    </a:lnTo>
                    <a:lnTo>
                      <a:pt x="46" y="22"/>
                    </a:lnTo>
                    <a:lnTo>
                      <a:pt x="48" y="21"/>
                    </a:lnTo>
                    <a:lnTo>
                      <a:pt x="49" y="21"/>
                    </a:lnTo>
                    <a:lnTo>
                      <a:pt x="51" y="21"/>
                    </a:lnTo>
                    <a:lnTo>
                      <a:pt x="49" y="21"/>
                    </a:lnTo>
                    <a:lnTo>
                      <a:pt x="49" y="22"/>
                    </a:lnTo>
                    <a:lnTo>
                      <a:pt x="49" y="21"/>
                    </a:lnTo>
                    <a:lnTo>
                      <a:pt x="51" y="21"/>
                    </a:lnTo>
                    <a:lnTo>
                      <a:pt x="53" y="21"/>
                    </a:lnTo>
                    <a:lnTo>
                      <a:pt x="51" y="21"/>
                    </a:lnTo>
                    <a:lnTo>
                      <a:pt x="51" y="22"/>
                    </a:lnTo>
                    <a:lnTo>
                      <a:pt x="49" y="22"/>
                    </a:lnTo>
                    <a:lnTo>
                      <a:pt x="51" y="22"/>
                    </a:lnTo>
                    <a:lnTo>
                      <a:pt x="53" y="22"/>
                    </a:lnTo>
                    <a:lnTo>
                      <a:pt x="55" y="21"/>
                    </a:lnTo>
                    <a:lnTo>
                      <a:pt x="55" y="22"/>
                    </a:lnTo>
                    <a:lnTo>
                      <a:pt x="53" y="22"/>
                    </a:lnTo>
                    <a:lnTo>
                      <a:pt x="53" y="24"/>
                    </a:lnTo>
                    <a:lnTo>
                      <a:pt x="53" y="22"/>
                    </a:lnTo>
                    <a:lnTo>
                      <a:pt x="51" y="22"/>
                    </a:lnTo>
                    <a:lnTo>
                      <a:pt x="53" y="24"/>
                    </a:lnTo>
                    <a:lnTo>
                      <a:pt x="51" y="24"/>
                    </a:lnTo>
                    <a:lnTo>
                      <a:pt x="53" y="24"/>
                    </a:lnTo>
                    <a:lnTo>
                      <a:pt x="55" y="24"/>
                    </a:lnTo>
                    <a:lnTo>
                      <a:pt x="56" y="24"/>
                    </a:lnTo>
                    <a:lnTo>
                      <a:pt x="58" y="22"/>
                    </a:lnTo>
                    <a:lnTo>
                      <a:pt x="58" y="24"/>
                    </a:lnTo>
                    <a:lnTo>
                      <a:pt x="58" y="26"/>
                    </a:lnTo>
                    <a:lnTo>
                      <a:pt x="58" y="24"/>
                    </a:lnTo>
                    <a:lnTo>
                      <a:pt x="58" y="22"/>
                    </a:lnTo>
                    <a:lnTo>
                      <a:pt x="60" y="24"/>
                    </a:lnTo>
                    <a:lnTo>
                      <a:pt x="60" y="22"/>
                    </a:lnTo>
                    <a:lnTo>
                      <a:pt x="61" y="22"/>
                    </a:lnTo>
                    <a:lnTo>
                      <a:pt x="61" y="21"/>
                    </a:lnTo>
                    <a:lnTo>
                      <a:pt x="63" y="21"/>
                    </a:lnTo>
                    <a:lnTo>
                      <a:pt x="63" y="22"/>
                    </a:lnTo>
                    <a:lnTo>
                      <a:pt x="61" y="22"/>
                    </a:lnTo>
                    <a:lnTo>
                      <a:pt x="61" y="24"/>
                    </a:lnTo>
                    <a:lnTo>
                      <a:pt x="61" y="22"/>
                    </a:lnTo>
                    <a:lnTo>
                      <a:pt x="61" y="24"/>
                    </a:lnTo>
                    <a:lnTo>
                      <a:pt x="60" y="24"/>
                    </a:lnTo>
                    <a:lnTo>
                      <a:pt x="61" y="24"/>
                    </a:lnTo>
                    <a:lnTo>
                      <a:pt x="61" y="26"/>
                    </a:lnTo>
                    <a:lnTo>
                      <a:pt x="61" y="24"/>
                    </a:lnTo>
                    <a:lnTo>
                      <a:pt x="63" y="24"/>
                    </a:lnTo>
                    <a:lnTo>
                      <a:pt x="65" y="24"/>
                    </a:lnTo>
                    <a:lnTo>
                      <a:pt x="66" y="22"/>
                    </a:lnTo>
                    <a:lnTo>
                      <a:pt x="66" y="24"/>
                    </a:lnTo>
                    <a:lnTo>
                      <a:pt x="66" y="22"/>
                    </a:lnTo>
                    <a:lnTo>
                      <a:pt x="65" y="22"/>
                    </a:lnTo>
                    <a:lnTo>
                      <a:pt x="65" y="21"/>
                    </a:lnTo>
                    <a:lnTo>
                      <a:pt x="63" y="21"/>
                    </a:lnTo>
                    <a:lnTo>
                      <a:pt x="65" y="21"/>
                    </a:lnTo>
                    <a:lnTo>
                      <a:pt x="65" y="19"/>
                    </a:lnTo>
                    <a:lnTo>
                      <a:pt x="66" y="19"/>
                    </a:lnTo>
                    <a:lnTo>
                      <a:pt x="65" y="17"/>
                    </a:lnTo>
                    <a:lnTo>
                      <a:pt x="66" y="17"/>
                    </a:lnTo>
                    <a:lnTo>
                      <a:pt x="66" y="19"/>
                    </a:lnTo>
                    <a:close/>
                    <a:moveTo>
                      <a:pt x="17" y="41"/>
                    </a:moveTo>
                    <a:lnTo>
                      <a:pt x="17" y="43"/>
                    </a:lnTo>
                    <a:lnTo>
                      <a:pt x="17" y="45"/>
                    </a:lnTo>
                    <a:lnTo>
                      <a:pt x="15" y="45"/>
                    </a:lnTo>
                    <a:lnTo>
                      <a:pt x="15" y="46"/>
                    </a:lnTo>
                    <a:lnTo>
                      <a:pt x="15" y="48"/>
                    </a:lnTo>
                    <a:lnTo>
                      <a:pt x="17" y="48"/>
                    </a:lnTo>
                    <a:lnTo>
                      <a:pt x="15" y="48"/>
                    </a:lnTo>
                    <a:lnTo>
                      <a:pt x="15" y="50"/>
                    </a:lnTo>
                    <a:lnTo>
                      <a:pt x="17" y="48"/>
                    </a:lnTo>
                    <a:lnTo>
                      <a:pt x="17" y="50"/>
                    </a:lnTo>
                    <a:lnTo>
                      <a:pt x="15" y="50"/>
                    </a:lnTo>
                    <a:lnTo>
                      <a:pt x="14" y="50"/>
                    </a:lnTo>
                    <a:lnTo>
                      <a:pt x="15" y="51"/>
                    </a:lnTo>
                    <a:lnTo>
                      <a:pt x="14" y="51"/>
                    </a:lnTo>
                    <a:lnTo>
                      <a:pt x="12" y="53"/>
                    </a:lnTo>
                    <a:lnTo>
                      <a:pt x="10" y="51"/>
                    </a:lnTo>
                    <a:lnTo>
                      <a:pt x="10" y="50"/>
                    </a:lnTo>
                    <a:lnTo>
                      <a:pt x="9" y="50"/>
                    </a:lnTo>
                    <a:lnTo>
                      <a:pt x="9" y="48"/>
                    </a:lnTo>
                    <a:lnTo>
                      <a:pt x="7" y="48"/>
                    </a:lnTo>
                    <a:lnTo>
                      <a:pt x="9" y="48"/>
                    </a:lnTo>
                    <a:lnTo>
                      <a:pt x="7" y="48"/>
                    </a:lnTo>
                    <a:lnTo>
                      <a:pt x="7" y="46"/>
                    </a:lnTo>
                    <a:lnTo>
                      <a:pt x="9" y="46"/>
                    </a:lnTo>
                    <a:lnTo>
                      <a:pt x="7" y="46"/>
                    </a:lnTo>
                    <a:lnTo>
                      <a:pt x="7" y="45"/>
                    </a:lnTo>
                    <a:lnTo>
                      <a:pt x="7" y="46"/>
                    </a:lnTo>
                    <a:lnTo>
                      <a:pt x="7" y="45"/>
                    </a:lnTo>
                    <a:lnTo>
                      <a:pt x="9" y="43"/>
                    </a:lnTo>
                    <a:lnTo>
                      <a:pt x="9" y="45"/>
                    </a:lnTo>
                    <a:lnTo>
                      <a:pt x="10" y="45"/>
                    </a:lnTo>
                    <a:lnTo>
                      <a:pt x="10" y="43"/>
                    </a:lnTo>
                    <a:lnTo>
                      <a:pt x="12" y="43"/>
                    </a:lnTo>
                    <a:lnTo>
                      <a:pt x="12" y="41"/>
                    </a:lnTo>
                    <a:lnTo>
                      <a:pt x="12" y="43"/>
                    </a:lnTo>
                    <a:lnTo>
                      <a:pt x="14" y="43"/>
                    </a:lnTo>
                    <a:lnTo>
                      <a:pt x="14" y="45"/>
                    </a:lnTo>
                    <a:lnTo>
                      <a:pt x="12" y="45"/>
                    </a:lnTo>
                    <a:lnTo>
                      <a:pt x="12" y="46"/>
                    </a:lnTo>
                    <a:lnTo>
                      <a:pt x="10" y="46"/>
                    </a:lnTo>
                    <a:lnTo>
                      <a:pt x="10" y="48"/>
                    </a:lnTo>
                    <a:lnTo>
                      <a:pt x="12" y="46"/>
                    </a:lnTo>
                    <a:lnTo>
                      <a:pt x="14" y="46"/>
                    </a:lnTo>
                    <a:lnTo>
                      <a:pt x="14" y="45"/>
                    </a:lnTo>
                    <a:lnTo>
                      <a:pt x="14" y="46"/>
                    </a:lnTo>
                    <a:lnTo>
                      <a:pt x="15" y="45"/>
                    </a:lnTo>
                    <a:lnTo>
                      <a:pt x="15" y="46"/>
                    </a:lnTo>
                    <a:lnTo>
                      <a:pt x="15" y="45"/>
                    </a:lnTo>
                    <a:lnTo>
                      <a:pt x="15" y="43"/>
                    </a:lnTo>
                    <a:lnTo>
                      <a:pt x="15" y="41"/>
                    </a:lnTo>
                    <a:lnTo>
                      <a:pt x="17" y="41"/>
                    </a:lnTo>
                    <a:close/>
                    <a:moveTo>
                      <a:pt x="36" y="14"/>
                    </a:moveTo>
                    <a:lnTo>
                      <a:pt x="38" y="14"/>
                    </a:lnTo>
                    <a:lnTo>
                      <a:pt x="38" y="16"/>
                    </a:lnTo>
                    <a:lnTo>
                      <a:pt x="39" y="16"/>
                    </a:lnTo>
                    <a:lnTo>
                      <a:pt x="39" y="17"/>
                    </a:lnTo>
                    <a:lnTo>
                      <a:pt x="41" y="17"/>
                    </a:lnTo>
                    <a:lnTo>
                      <a:pt x="41" y="16"/>
                    </a:lnTo>
                    <a:lnTo>
                      <a:pt x="43" y="16"/>
                    </a:lnTo>
                    <a:lnTo>
                      <a:pt x="44" y="17"/>
                    </a:lnTo>
                    <a:lnTo>
                      <a:pt x="43" y="17"/>
                    </a:lnTo>
                    <a:lnTo>
                      <a:pt x="44" y="17"/>
                    </a:lnTo>
                    <a:lnTo>
                      <a:pt x="44" y="19"/>
                    </a:lnTo>
                    <a:lnTo>
                      <a:pt x="43" y="19"/>
                    </a:lnTo>
                    <a:lnTo>
                      <a:pt x="43" y="21"/>
                    </a:lnTo>
                    <a:lnTo>
                      <a:pt x="41" y="21"/>
                    </a:lnTo>
                    <a:lnTo>
                      <a:pt x="43" y="21"/>
                    </a:lnTo>
                    <a:lnTo>
                      <a:pt x="41" y="21"/>
                    </a:lnTo>
                    <a:lnTo>
                      <a:pt x="39" y="21"/>
                    </a:lnTo>
                    <a:lnTo>
                      <a:pt x="38" y="21"/>
                    </a:lnTo>
                    <a:lnTo>
                      <a:pt x="38" y="22"/>
                    </a:lnTo>
                    <a:lnTo>
                      <a:pt x="36" y="22"/>
                    </a:lnTo>
                    <a:lnTo>
                      <a:pt x="36" y="21"/>
                    </a:lnTo>
                    <a:lnTo>
                      <a:pt x="36" y="19"/>
                    </a:lnTo>
                    <a:lnTo>
                      <a:pt x="38" y="19"/>
                    </a:lnTo>
                    <a:lnTo>
                      <a:pt x="38" y="17"/>
                    </a:lnTo>
                    <a:lnTo>
                      <a:pt x="39" y="19"/>
                    </a:lnTo>
                    <a:lnTo>
                      <a:pt x="39" y="21"/>
                    </a:lnTo>
                    <a:lnTo>
                      <a:pt x="41" y="21"/>
                    </a:lnTo>
                    <a:lnTo>
                      <a:pt x="41" y="19"/>
                    </a:lnTo>
                    <a:lnTo>
                      <a:pt x="39" y="19"/>
                    </a:lnTo>
                    <a:lnTo>
                      <a:pt x="39" y="17"/>
                    </a:lnTo>
                    <a:lnTo>
                      <a:pt x="38" y="17"/>
                    </a:lnTo>
                    <a:lnTo>
                      <a:pt x="38" y="16"/>
                    </a:lnTo>
                    <a:lnTo>
                      <a:pt x="36" y="16"/>
                    </a:lnTo>
                    <a:lnTo>
                      <a:pt x="34" y="14"/>
                    </a:lnTo>
                    <a:lnTo>
                      <a:pt x="36" y="14"/>
                    </a:lnTo>
                    <a:close/>
                    <a:moveTo>
                      <a:pt x="55" y="14"/>
                    </a:moveTo>
                    <a:lnTo>
                      <a:pt x="56" y="14"/>
                    </a:lnTo>
                    <a:lnTo>
                      <a:pt x="58" y="14"/>
                    </a:lnTo>
                    <a:lnTo>
                      <a:pt x="60" y="14"/>
                    </a:lnTo>
                    <a:lnTo>
                      <a:pt x="60" y="16"/>
                    </a:lnTo>
                    <a:lnTo>
                      <a:pt x="61" y="16"/>
                    </a:lnTo>
                    <a:lnTo>
                      <a:pt x="61" y="14"/>
                    </a:lnTo>
                    <a:lnTo>
                      <a:pt x="61" y="16"/>
                    </a:lnTo>
                    <a:lnTo>
                      <a:pt x="63" y="14"/>
                    </a:lnTo>
                    <a:lnTo>
                      <a:pt x="63" y="16"/>
                    </a:lnTo>
                    <a:lnTo>
                      <a:pt x="65" y="16"/>
                    </a:lnTo>
                    <a:lnTo>
                      <a:pt x="65" y="17"/>
                    </a:lnTo>
                    <a:lnTo>
                      <a:pt x="63" y="17"/>
                    </a:lnTo>
                    <a:lnTo>
                      <a:pt x="63" y="16"/>
                    </a:lnTo>
                    <a:lnTo>
                      <a:pt x="63" y="17"/>
                    </a:lnTo>
                    <a:lnTo>
                      <a:pt x="65" y="19"/>
                    </a:lnTo>
                    <a:lnTo>
                      <a:pt x="63" y="17"/>
                    </a:lnTo>
                    <a:lnTo>
                      <a:pt x="61" y="19"/>
                    </a:lnTo>
                    <a:lnTo>
                      <a:pt x="61" y="17"/>
                    </a:lnTo>
                    <a:lnTo>
                      <a:pt x="61" y="19"/>
                    </a:lnTo>
                    <a:lnTo>
                      <a:pt x="60" y="17"/>
                    </a:lnTo>
                    <a:lnTo>
                      <a:pt x="58" y="16"/>
                    </a:lnTo>
                    <a:lnTo>
                      <a:pt x="56" y="16"/>
                    </a:lnTo>
                    <a:lnTo>
                      <a:pt x="55" y="16"/>
                    </a:lnTo>
                    <a:lnTo>
                      <a:pt x="53" y="16"/>
                    </a:lnTo>
                    <a:lnTo>
                      <a:pt x="53" y="14"/>
                    </a:lnTo>
                    <a:lnTo>
                      <a:pt x="51" y="14"/>
                    </a:lnTo>
                    <a:lnTo>
                      <a:pt x="53" y="14"/>
                    </a:lnTo>
                    <a:lnTo>
                      <a:pt x="55" y="12"/>
                    </a:lnTo>
                    <a:lnTo>
                      <a:pt x="55" y="14"/>
                    </a:lnTo>
                    <a:close/>
                    <a:moveTo>
                      <a:pt x="100" y="53"/>
                    </a:moveTo>
                    <a:lnTo>
                      <a:pt x="99" y="53"/>
                    </a:lnTo>
                    <a:lnTo>
                      <a:pt x="99" y="55"/>
                    </a:lnTo>
                    <a:lnTo>
                      <a:pt x="97" y="55"/>
                    </a:lnTo>
                    <a:lnTo>
                      <a:pt x="99" y="56"/>
                    </a:lnTo>
                    <a:lnTo>
                      <a:pt x="99" y="55"/>
                    </a:lnTo>
                    <a:lnTo>
                      <a:pt x="99" y="56"/>
                    </a:lnTo>
                    <a:lnTo>
                      <a:pt x="99" y="58"/>
                    </a:lnTo>
                    <a:lnTo>
                      <a:pt x="99" y="60"/>
                    </a:lnTo>
                    <a:lnTo>
                      <a:pt x="97" y="60"/>
                    </a:lnTo>
                    <a:lnTo>
                      <a:pt x="99" y="58"/>
                    </a:lnTo>
                    <a:lnTo>
                      <a:pt x="97" y="58"/>
                    </a:lnTo>
                    <a:lnTo>
                      <a:pt x="95" y="56"/>
                    </a:lnTo>
                    <a:lnTo>
                      <a:pt x="95" y="55"/>
                    </a:lnTo>
                    <a:lnTo>
                      <a:pt x="97" y="55"/>
                    </a:lnTo>
                    <a:lnTo>
                      <a:pt x="97" y="53"/>
                    </a:lnTo>
                    <a:lnTo>
                      <a:pt x="97" y="55"/>
                    </a:lnTo>
                    <a:lnTo>
                      <a:pt x="97" y="53"/>
                    </a:lnTo>
                    <a:lnTo>
                      <a:pt x="99" y="53"/>
                    </a:lnTo>
                    <a:lnTo>
                      <a:pt x="99" y="55"/>
                    </a:lnTo>
                    <a:lnTo>
                      <a:pt x="99" y="53"/>
                    </a:lnTo>
                    <a:lnTo>
                      <a:pt x="100" y="53"/>
                    </a:lnTo>
                    <a:close/>
                    <a:moveTo>
                      <a:pt x="53" y="63"/>
                    </a:moveTo>
                    <a:lnTo>
                      <a:pt x="55" y="63"/>
                    </a:lnTo>
                    <a:lnTo>
                      <a:pt x="56" y="63"/>
                    </a:lnTo>
                    <a:lnTo>
                      <a:pt x="56" y="65"/>
                    </a:lnTo>
                    <a:lnTo>
                      <a:pt x="56" y="67"/>
                    </a:lnTo>
                    <a:lnTo>
                      <a:pt x="56" y="68"/>
                    </a:lnTo>
                    <a:lnTo>
                      <a:pt x="55" y="68"/>
                    </a:lnTo>
                    <a:lnTo>
                      <a:pt x="55" y="70"/>
                    </a:lnTo>
                    <a:lnTo>
                      <a:pt x="55" y="68"/>
                    </a:lnTo>
                    <a:lnTo>
                      <a:pt x="55" y="67"/>
                    </a:lnTo>
                    <a:lnTo>
                      <a:pt x="55" y="65"/>
                    </a:lnTo>
                    <a:lnTo>
                      <a:pt x="55" y="67"/>
                    </a:lnTo>
                    <a:lnTo>
                      <a:pt x="55" y="65"/>
                    </a:lnTo>
                    <a:lnTo>
                      <a:pt x="55" y="63"/>
                    </a:lnTo>
                    <a:lnTo>
                      <a:pt x="53" y="63"/>
                    </a:lnTo>
                    <a:lnTo>
                      <a:pt x="53" y="62"/>
                    </a:lnTo>
                    <a:lnTo>
                      <a:pt x="53" y="63"/>
                    </a:lnTo>
                    <a:close/>
                    <a:moveTo>
                      <a:pt x="48" y="16"/>
                    </a:moveTo>
                    <a:lnTo>
                      <a:pt x="48" y="17"/>
                    </a:lnTo>
                    <a:lnTo>
                      <a:pt x="49" y="17"/>
                    </a:lnTo>
                    <a:lnTo>
                      <a:pt x="48" y="17"/>
                    </a:lnTo>
                    <a:lnTo>
                      <a:pt x="48" y="19"/>
                    </a:lnTo>
                    <a:lnTo>
                      <a:pt x="46" y="19"/>
                    </a:lnTo>
                    <a:lnTo>
                      <a:pt x="46" y="17"/>
                    </a:lnTo>
                    <a:lnTo>
                      <a:pt x="44" y="17"/>
                    </a:lnTo>
                    <a:lnTo>
                      <a:pt x="44" y="16"/>
                    </a:lnTo>
                    <a:lnTo>
                      <a:pt x="46" y="16"/>
                    </a:lnTo>
                    <a:lnTo>
                      <a:pt x="48" y="16"/>
                    </a:lnTo>
                    <a:close/>
                    <a:moveTo>
                      <a:pt x="5" y="45"/>
                    </a:moveTo>
                    <a:lnTo>
                      <a:pt x="4" y="45"/>
                    </a:lnTo>
                    <a:lnTo>
                      <a:pt x="4" y="46"/>
                    </a:lnTo>
                    <a:lnTo>
                      <a:pt x="5" y="46"/>
                    </a:lnTo>
                    <a:lnTo>
                      <a:pt x="4" y="48"/>
                    </a:lnTo>
                    <a:lnTo>
                      <a:pt x="4" y="46"/>
                    </a:lnTo>
                    <a:lnTo>
                      <a:pt x="2" y="46"/>
                    </a:lnTo>
                    <a:lnTo>
                      <a:pt x="2" y="45"/>
                    </a:lnTo>
                    <a:lnTo>
                      <a:pt x="0" y="45"/>
                    </a:lnTo>
                    <a:lnTo>
                      <a:pt x="2" y="45"/>
                    </a:lnTo>
                    <a:lnTo>
                      <a:pt x="2" y="43"/>
                    </a:lnTo>
                    <a:lnTo>
                      <a:pt x="2" y="45"/>
                    </a:lnTo>
                    <a:lnTo>
                      <a:pt x="4" y="45"/>
                    </a:lnTo>
                    <a:lnTo>
                      <a:pt x="4" y="43"/>
                    </a:lnTo>
                    <a:lnTo>
                      <a:pt x="5" y="43"/>
                    </a:lnTo>
                    <a:lnTo>
                      <a:pt x="5" y="45"/>
                    </a:lnTo>
                    <a:close/>
                    <a:moveTo>
                      <a:pt x="56" y="72"/>
                    </a:moveTo>
                    <a:lnTo>
                      <a:pt x="55" y="72"/>
                    </a:lnTo>
                    <a:lnTo>
                      <a:pt x="55" y="73"/>
                    </a:lnTo>
                    <a:lnTo>
                      <a:pt x="55" y="75"/>
                    </a:lnTo>
                    <a:lnTo>
                      <a:pt x="53" y="75"/>
                    </a:lnTo>
                    <a:lnTo>
                      <a:pt x="53" y="73"/>
                    </a:lnTo>
                    <a:lnTo>
                      <a:pt x="51" y="73"/>
                    </a:lnTo>
                    <a:lnTo>
                      <a:pt x="53" y="73"/>
                    </a:lnTo>
                    <a:lnTo>
                      <a:pt x="55" y="72"/>
                    </a:lnTo>
                    <a:lnTo>
                      <a:pt x="56" y="70"/>
                    </a:lnTo>
                    <a:lnTo>
                      <a:pt x="56" y="72"/>
                    </a:lnTo>
                    <a:close/>
                    <a:moveTo>
                      <a:pt x="85" y="63"/>
                    </a:moveTo>
                    <a:lnTo>
                      <a:pt x="85" y="65"/>
                    </a:lnTo>
                    <a:lnTo>
                      <a:pt x="83" y="67"/>
                    </a:lnTo>
                    <a:lnTo>
                      <a:pt x="82" y="67"/>
                    </a:lnTo>
                    <a:lnTo>
                      <a:pt x="80" y="67"/>
                    </a:lnTo>
                    <a:lnTo>
                      <a:pt x="82" y="67"/>
                    </a:lnTo>
                    <a:lnTo>
                      <a:pt x="82" y="65"/>
                    </a:lnTo>
                    <a:lnTo>
                      <a:pt x="83" y="67"/>
                    </a:lnTo>
                    <a:lnTo>
                      <a:pt x="85" y="65"/>
                    </a:lnTo>
                    <a:lnTo>
                      <a:pt x="83" y="65"/>
                    </a:lnTo>
                    <a:lnTo>
                      <a:pt x="85" y="65"/>
                    </a:lnTo>
                    <a:lnTo>
                      <a:pt x="83" y="63"/>
                    </a:lnTo>
                    <a:lnTo>
                      <a:pt x="85" y="63"/>
                    </a:lnTo>
                    <a:lnTo>
                      <a:pt x="85" y="62"/>
                    </a:lnTo>
                    <a:lnTo>
                      <a:pt x="85" y="63"/>
                    </a:lnTo>
                    <a:close/>
                    <a:moveTo>
                      <a:pt x="5" y="38"/>
                    </a:moveTo>
                    <a:lnTo>
                      <a:pt x="4" y="38"/>
                    </a:lnTo>
                    <a:lnTo>
                      <a:pt x="2" y="38"/>
                    </a:lnTo>
                    <a:lnTo>
                      <a:pt x="2" y="39"/>
                    </a:lnTo>
                    <a:lnTo>
                      <a:pt x="4" y="39"/>
                    </a:lnTo>
                    <a:lnTo>
                      <a:pt x="2" y="41"/>
                    </a:lnTo>
                    <a:lnTo>
                      <a:pt x="2" y="39"/>
                    </a:lnTo>
                    <a:lnTo>
                      <a:pt x="2" y="38"/>
                    </a:lnTo>
                    <a:lnTo>
                      <a:pt x="0" y="38"/>
                    </a:lnTo>
                    <a:lnTo>
                      <a:pt x="2" y="38"/>
                    </a:lnTo>
                    <a:lnTo>
                      <a:pt x="4" y="38"/>
                    </a:lnTo>
                    <a:lnTo>
                      <a:pt x="4" y="36"/>
                    </a:lnTo>
                    <a:lnTo>
                      <a:pt x="4" y="38"/>
                    </a:lnTo>
                    <a:lnTo>
                      <a:pt x="5" y="38"/>
                    </a:lnTo>
                    <a:close/>
                    <a:moveTo>
                      <a:pt x="55" y="17"/>
                    </a:moveTo>
                    <a:lnTo>
                      <a:pt x="55" y="19"/>
                    </a:lnTo>
                    <a:lnTo>
                      <a:pt x="56" y="19"/>
                    </a:lnTo>
                    <a:lnTo>
                      <a:pt x="58" y="19"/>
                    </a:lnTo>
                    <a:lnTo>
                      <a:pt x="56" y="19"/>
                    </a:lnTo>
                    <a:lnTo>
                      <a:pt x="55" y="19"/>
                    </a:lnTo>
                    <a:lnTo>
                      <a:pt x="55" y="21"/>
                    </a:lnTo>
                    <a:lnTo>
                      <a:pt x="53" y="19"/>
                    </a:lnTo>
                    <a:lnTo>
                      <a:pt x="55" y="19"/>
                    </a:lnTo>
                    <a:lnTo>
                      <a:pt x="53" y="19"/>
                    </a:lnTo>
                    <a:lnTo>
                      <a:pt x="51" y="19"/>
                    </a:lnTo>
                    <a:lnTo>
                      <a:pt x="53" y="19"/>
                    </a:lnTo>
                    <a:lnTo>
                      <a:pt x="53" y="17"/>
                    </a:lnTo>
                    <a:lnTo>
                      <a:pt x="55" y="19"/>
                    </a:lnTo>
                    <a:lnTo>
                      <a:pt x="53" y="17"/>
                    </a:lnTo>
                    <a:lnTo>
                      <a:pt x="55" y="17"/>
                    </a:lnTo>
                    <a:close/>
                    <a:moveTo>
                      <a:pt x="26" y="12"/>
                    </a:moveTo>
                    <a:lnTo>
                      <a:pt x="29" y="12"/>
                    </a:lnTo>
                    <a:lnTo>
                      <a:pt x="29" y="17"/>
                    </a:lnTo>
                    <a:lnTo>
                      <a:pt x="26" y="17"/>
                    </a:lnTo>
                    <a:lnTo>
                      <a:pt x="26" y="12"/>
                    </a:lnTo>
                    <a:close/>
                    <a:moveTo>
                      <a:pt x="17" y="53"/>
                    </a:moveTo>
                    <a:lnTo>
                      <a:pt x="17" y="55"/>
                    </a:lnTo>
                    <a:lnTo>
                      <a:pt x="15" y="55"/>
                    </a:lnTo>
                    <a:lnTo>
                      <a:pt x="14" y="53"/>
                    </a:lnTo>
                    <a:lnTo>
                      <a:pt x="15" y="53"/>
                    </a:lnTo>
                    <a:lnTo>
                      <a:pt x="15" y="51"/>
                    </a:lnTo>
                    <a:lnTo>
                      <a:pt x="17" y="53"/>
                    </a:lnTo>
                    <a:close/>
                    <a:moveTo>
                      <a:pt x="7" y="0"/>
                    </a:moveTo>
                    <a:lnTo>
                      <a:pt x="10" y="0"/>
                    </a:lnTo>
                    <a:lnTo>
                      <a:pt x="10" y="4"/>
                    </a:lnTo>
                    <a:lnTo>
                      <a:pt x="7" y="4"/>
                    </a:lnTo>
                    <a:lnTo>
                      <a:pt x="7" y="0"/>
                    </a:lnTo>
                    <a:close/>
                    <a:moveTo>
                      <a:pt x="58" y="41"/>
                    </a:moveTo>
                    <a:lnTo>
                      <a:pt x="61" y="41"/>
                    </a:lnTo>
                    <a:lnTo>
                      <a:pt x="61" y="43"/>
                    </a:lnTo>
                    <a:lnTo>
                      <a:pt x="58" y="43"/>
                    </a:lnTo>
                    <a:lnTo>
                      <a:pt x="58" y="41"/>
                    </a:lnTo>
                    <a:close/>
                    <a:moveTo>
                      <a:pt x="55" y="50"/>
                    </a:moveTo>
                    <a:lnTo>
                      <a:pt x="56" y="50"/>
                    </a:lnTo>
                    <a:lnTo>
                      <a:pt x="56" y="53"/>
                    </a:lnTo>
                    <a:lnTo>
                      <a:pt x="55" y="53"/>
                    </a:lnTo>
                    <a:lnTo>
                      <a:pt x="55" y="50"/>
                    </a:lnTo>
                    <a:close/>
                    <a:moveTo>
                      <a:pt x="21" y="17"/>
                    </a:moveTo>
                    <a:lnTo>
                      <a:pt x="24" y="17"/>
                    </a:lnTo>
                    <a:lnTo>
                      <a:pt x="24" y="21"/>
                    </a:lnTo>
                    <a:lnTo>
                      <a:pt x="21" y="21"/>
                    </a:lnTo>
                    <a:lnTo>
                      <a:pt x="21" y="17"/>
                    </a:lnTo>
                    <a:close/>
                    <a:moveTo>
                      <a:pt x="55" y="73"/>
                    </a:moveTo>
                    <a:lnTo>
                      <a:pt x="58" y="73"/>
                    </a:lnTo>
                    <a:lnTo>
                      <a:pt x="58" y="75"/>
                    </a:lnTo>
                    <a:lnTo>
                      <a:pt x="55" y="75"/>
                    </a:lnTo>
                    <a:lnTo>
                      <a:pt x="55" y="73"/>
                    </a:lnTo>
                    <a:close/>
                    <a:moveTo>
                      <a:pt x="78" y="79"/>
                    </a:moveTo>
                    <a:lnTo>
                      <a:pt x="77" y="77"/>
                    </a:lnTo>
                    <a:lnTo>
                      <a:pt x="77" y="79"/>
                    </a:lnTo>
                    <a:lnTo>
                      <a:pt x="75" y="79"/>
                    </a:lnTo>
                    <a:lnTo>
                      <a:pt x="75" y="77"/>
                    </a:lnTo>
                    <a:lnTo>
                      <a:pt x="77" y="77"/>
                    </a:lnTo>
                    <a:lnTo>
                      <a:pt x="78" y="79"/>
                    </a:lnTo>
                    <a:close/>
                    <a:moveTo>
                      <a:pt x="55" y="21"/>
                    </a:moveTo>
                    <a:lnTo>
                      <a:pt x="56" y="21"/>
                    </a:lnTo>
                    <a:lnTo>
                      <a:pt x="56" y="22"/>
                    </a:lnTo>
                    <a:lnTo>
                      <a:pt x="55" y="22"/>
                    </a:lnTo>
                    <a:lnTo>
                      <a:pt x="55" y="21"/>
                    </a:lnTo>
                    <a:close/>
                    <a:moveTo>
                      <a:pt x="4" y="0"/>
                    </a:moveTo>
                    <a:lnTo>
                      <a:pt x="7" y="0"/>
                    </a:lnTo>
                    <a:lnTo>
                      <a:pt x="7" y="2"/>
                    </a:lnTo>
                    <a:lnTo>
                      <a:pt x="4" y="2"/>
                    </a:lnTo>
                    <a:lnTo>
                      <a:pt x="4" y="0"/>
                    </a:lnTo>
                    <a:close/>
                    <a:moveTo>
                      <a:pt x="22" y="33"/>
                    </a:moveTo>
                    <a:lnTo>
                      <a:pt x="24" y="33"/>
                    </a:lnTo>
                    <a:lnTo>
                      <a:pt x="24" y="36"/>
                    </a:lnTo>
                    <a:lnTo>
                      <a:pt x="22" y="36"/>
                    </a:lnTo>
                    <a:lnTo>
                      <a:pt x="22" y="33"/>
                    </a:lnTo>
                    <a:close/>
                    <a:moveTo>
                      <a:pt x="19" y="31"/>
                    </a:moveTo>
                    <a:lnTo>
                      <a:pt x="21" y="31"/>
                    </a:lnTo>
                    <a:lnTo>
                      <a:pt x="19" y="31"/>
                    </a:lnTo>
                    <a:close/>
                    <a:moveTo>
                      <a:pt x="55" y="56"/>
                    </a:moveTo>
                    <a:lnTo>
                      <a:pt x="55" y="60"/>
                    </a:lnTo>
                    <a:lnTo>
                      <a:pt x="55" y="56"/>
                    </a:lnTo>
                    <a:close/>
                    <a:moveTo>
                      <a:pt x="55" y="17"/>
                    </a:moveTo>
                    <a:lnTo>
                      <a:pt x="58" y="17"/>
                    </a:lnTo>
                    <a:lnTo>
                      <a:pt x="58" y="19"/>
                    </a:lnTo>
                    <a:lnTo>
                      <a:pt x="55" y="19"/>
                    </a:lnTo>
                    <a:lnTo>
                      <a:pt x="55" y="17"/>
                    </a:lnTo>
                    <a:close/>
                    <a:moveTo>
                      <a:pt x="56" y="19"/>
                    </a:moveTo>
                    <a:lnTo>
                      <a:pt x="60" y="19"/>
                    </a:lnTo>
                    <a:lnTo>
                      <a:pt x="60" y="21"/>
                    </a:lnTo>
                    <a:lnTo>
                      <a:pt x="56" y="21"/>
                    </a:lnTo>
                    <a:lnTo>
                      <a:pt x="56" y="19"/>
                    </a:lnTo>
                    <a:close/>
                    <a:moveTo>
                      <a:pt x="49" y="12"/>
                    </a:moveTo>
                    <a:lnTo>
                      <a:pt x="51" y="12"/>
                    </a:lnTo>
                    <a:lnTo>
                      <a:pt x="51" y="14"/>
                    </a:lnTo>
                    <a:lnTo>
                      <a:pt x="49" y="14"/>
                    </a:lnTo>
                    <a:lnTo>
                      <a:pt x="49" y="12"/>
                    </a:lnTo>
                    <a:close/>
                    <a:moveTo>
                      <a:pt x="29" y="45"/>
                    </a:moveTo>
                    <a:lnTo>
                      <a:pt x="31" y="45"/>
                    </a:lnTo>
                    <a:lnTo>
                      <a:pt x="31" y="46"/>
                    </a:lnTo>
                    <a:lnTo>
                      <a:pt x="29" y="46"/>
                    </a:lnTo>
                    <a:lnTo>
                      <a:pt x="29" y="45"/>
                    </a:lnTo>
                    <a:close/>
                    <a:moveTo>
                      <a:pt x="58" y="21"/>
                    </a:moveTo>
                    <a:lnTo>
                      <a:pt x="60" y="21"/>
                    </a:lnTo>
                    <a:lnTo>
                      <a:pt x="60" y="22"/>
                    </a:lnTo>
                    <a:lnTo>
                      <a:pt x="58" y="22"/>
                    </a:lnTo>
                    <a:lnTo>
                      <a:pt x="58" y="21"/>
                    </a:lnTo>
                    <a:close/>
                    <a:moveTo>
                      <a:pt x="5" y="46"/>
                    </a:moveTo>
                    <a:lnTo>
                      <a:pt x="7" y="46"/>
                    </a:lnTo>
                    <a:lnTo>
                      <a:pt x="7" y="50"/>
                    </a:lnTo>
                    <a:lnTo>
                      <a:pt x="5" y="50"/>
                    </a:lnTo>
                    <a:lnTo>
                      <a:pt x="5" y="46"/>
                    </a:lnTo>
                    <a:close/>
                    <a:moveTo>
                      <a:pt x="14" y="10"/>
                    </a:moveTo>
                    <a:lnTo>
                      <a:pt x="17" y="10"/>
                    </a:lnTo>
                    <a:lnTo>
                      <a:pt x="14" y="10"/>
                    </a:lnTo>
                    <a:close/>
                    <a:moveTo>
                      <a:pt x="92" y="60"/>
                    </a:moveTo>
                    <a:lnTo>
                      <a:pt x="94" y="60"/>
                    </a:lnTo>
                    <a:lnTo>
                      <a:pt x="94" y="62"/>
                    </a:lnTo>
                    <a:lnTo>
                      <a:pt x="92" y="62"/>
                    </a:lnTo>
                    <a:lnTo>
                      <a:pt x="92" y="60"/>
                    </a:lnTo>
                    <a:close/>
                    <a:moveTo>
                      <a:pt x="95" y="53"/>
                    </a:moveTo>
                    <a:lnTo>
                      <a:pt x="99" y="53"/>
                    </a:lnTo>
                    <a:lnTo>
                      <a:pt x="95" y="53"/>
                    </a:lnTo>
                    <a:close/>
                    <a:moveTo>
                      <a:pt x="100" y="53"/>
                    </a:moveTo>
                    <a:lnTo>
                      <a:pt x="102" y="53"/>
                    </a:lnTo>
                    <a:lnTo>
                      <a:pt x="102" y="55"/>
                    </a:lnTo>
                    <a:lnTo>
                      <a:pt x="100" y="55"/>
                    </a:lnTo>
                    <a:lnTo>
                      <a:pt x="100" y="53"/>
                    </a:lnTo>
                    <a:close/>
                    <a:moveTo>
                      <a:pt x="111" y="29"/>
                    </a:moveTo>
                    <a:lnTo>
                      <a:pt x="112" y="29"/>
                    </a:lnTo>
                    <a:lnTo>
                      <a:pt x="112" y="31"/>
                    </a:lnTo>
                    <a:lnTo>
                      <a:pt x="111" y="31"/>
                    </a:lnTo>
                    <a:lnTo>
                      <a:pt x="111" y="29"/>
                    </a:lnTo>
                    <a:close/>
                    <a:moveTo>
                      <a:pt x="31" y="7"/>
                    </a:moveTo>
                    <a:lnTo>
                      <a:pt x="32" y="7"/>
                    </a:lnTo>
                    <a:lnTo>
                      <a:pt x="31" y="7"/>
                    </a:lnTo>
                    <a:close/>
                    <a:moveTo>
                      <a:pt x="15" y="4"/>
                    </a:moveTo>
                    <a:lnTo>
                      <a:pt x="17" y="4"/>
                    </a:lnTo>
                    <a:lnTo>
                      <a:pt x="17" y="5"/>
                    </a:lnTo>
                    <a:lnTo>
                      <a:pt x="15" y="5"/>
                    </a:lnTo>
                    <a:lnTo>
                      <a:pt x="15" y="4"/>
                    </a:lnTo>
                    <a:close/>
                    <a:moveTo>
                      <a:pt x="5" y="48"/>
                    </a:moveTo>
                    <a:lnTo>
                      <a:pt x="7" y="48"/>
                    </a:lnTo>
                    <a:lnTo>
                      <a:pt x="7" y="50"/>
                    </a:lnTo>
                    <a:lnTo>
                      <a:pt x="5" y="50"/>
                    </a:lnTo>
                    <a:lnTo>
                      <a:pt x="5" y="48"/>
                    </a:lnTo>
                    <a:close/>
                    <a:moveTo>
                      <a:pt x="31" y="33"/>
                    </a:moveTo>
                    <a:lnTo>
                      <a:pt x="32" y="33"/>
                    </a:lnTo>
                    <a:lnTo>
                      <a:pt x="32" y="34"/>
                    </a:lnTo>
                    <a:lnTo>
                      <a:pt x="31" y="34"/>
                    </a:lnTo>
                    <a:lnTo>
                      <a:pt x="31" y="33"/>
                    </a:lnTo>
                    <a:close/>
                    <a:moveTo>
                      <a:pt x="56" y="41"/>
                    </a:moveTo>
                    <a:lnTo>
                      <a:pt x="58" y="41"/>
                    </a:lnTo>
                    <a:lnTo>
                      <a:pt x="58" y="43"/>
                    </a:lnTo>
                    <a:lnTo>
                      <a:pt x="56" y="43"/>
                    </a:lnTo>
                    <a:lnTo>
                      <a:pt x="56" y="41"/>
                    </a:lnTo>
                    <a:close/>
                    <a:moveTo>
                      <a:pt x="49" y="19"/>
                    </a:moveTo>
                    <a:lnTo>
                      <a:pt x="51" y="19"/>
                    </a:lnTo>
                    <a:lnTo>
                      <a:pt x="51" y="21"/>
                    </a:lnTo>
                    <a:lnTo>
                      <a:pt x="49" y="21"/>
                    </a:lnTo>
                    <a:lnTo>
                      <a:pt x="49" y="19"/>
                    </a:lnTo>
                    <a:close/>
                    <a:moveTo>
                      <a:pt x="17" y="7"/>
                    </a:moveTo>
                    <a:lnTo>
                      <a:pt x="17" y="9"/>
                    </a:lnTo>
                    <a:lnTo>
                      <a:pt x="17" y="7"/>
                    </a:lnTo>
                    <a:close/>
                    <a:moveTo>
                      <a:pt x="58" y="46"/>
                    </a:moveTo>
                    <a:lnTo>
                      <a:pt x="60" y="46"/>
                    </a:lnTo>
                    <a:lnTo>
                      <a:pt x="60" y="48"/>
                    </a:lnTo>
                    <a:lnTo>
                      <a:pt x="58" y="48"/>
                    </a:lnTo>
                    <a:lnTo>
                      <a:pt x="58" y="46"/>
                    </a:lnTo>
                    <a:close/>
                    <a:moveTo>
                      <a:pt x="5" y="45"/>
                    </a:moveTo>
                    <a:lnTo>
                      <a:pt x="7" y="45"/>
                    </a:lnTo>
                    <a:lnTo>
                      <a:pt x="7" y="46"/>
                    </a:lnTo>
                    <a:lnTo>
                      <a:pt x="5" y="46"/>
                    </a:lnTo>
                    <a:lnTo>
                      <a:pt x="5" y="45"/>
                    </a:lnTo>
                    <a:close/>
                    <a:moveTo>
                      <a:pt x="95" y="48"/>
                    </a:moveTo>
                    <a:lnTo>
                      <a:pt x="95" y="50"/>
                    </a:lnTo>
                    <a:lnTo>
                      <a:pt x="95" y="48"/>
                    </a:lnTo>
                    <a:close/>
                    <a:moveTo>
                      <a:pt x="55" y="21"/>
                    </a:moveTo>
                    <a:lnTo>
                      <a:pt x="56" y="21"/>
                    </a:lnTo>
                    <a:lnTo>
                      <a:pt x="55" y="21"/>
                    </a:lnTo>
                    <a:close/>
                    <a:moveTo>
                      <a:pt x="31" y="65"/>
                    </a:moveTo>
                    <a:lnTo>
                      <a:pt x="32" y="65"/>
                    </a:lnTo>
                    <a:lnTo>
                      <a:pt x="32" y="67"/>
                    </a:lnTo>
                    <a:lnTo>
                      <a:pt x="31" y="67"/>
                    </a:lnTo>
                    <a:lnTo>
                      <a:pt x="31" y="65"/>
                    </a:lnTo>
                    <a:close/>
                    <a:moveTo>
                      <a:pt x="21" y="24"/>
                    </a:moveTo>
                    <a:lnTo>
                      <a:pt x="22" y="24"/>
                    </a:lnTo>
                    <a:lnTo>
                      <a:pt x="22" y="26"/>
                    </a:lnTo>
                    <a:lnTo>
                      <a:pt x="21" y="26"/>
                    </a:lnTo>
                    <a:lnTo>
                      <a:pt x="21" y="24"/>
                    </a:lnTo>
                    <a:close/>
                    <a:moveTo>
                      <a:pt x="10" y="41"/>
                    </a:moveTo>
                    <a:lnTo>
                      <a:pt x="10" y="43"/>
                    </a:lnTo>
                    <a:lnTo>
                      <a:pt x="10" y="41"/>
                    </a:lnTo>
                    <a:close/>
                    <a:moveTo>
                      <a:pt x="89" y="62"/>
                    </a:moveTo>
                    <a:lnTo>
                      <a:pt x="90" y="62"/>
                    </a:lnTo>
                    <a:lnTo>
                      <a:pt x="89" y="62"/>
                    </a:lnTo>
                    <a:close/>
                    <a:moveTo>
                      <a:pt x="106" y="43"/>
                    </a:moveTo>
                    <a:lnTo>
                      <a:pt x="107" y="43"/>
                    </a:lnTo>
                    <a:lnTo>
                      <a:pt x="106" y="43"/>
                    </a:lnTo>
                    <a:close/>
                    <a:moveTo>
                      <a:pt x="29" y="29"/>
                    </a:moveTo>
                    <a:lnTo>
                      <a:pt x="29" y="31"/>
                    </a:lnTo>
                    <a:lnTo>
                      <a:pt x="29" y="29"/>
                    </a:lnTo>
                    <a:close/>
                    <a:moveTo>
                      <a:pt x="78" y="62"/>
                    </a:moveTo>
                    <a:lnTo>
                      <a:pt x="80" y="62"/>
                    </a:lnTo>
                    <a:lnTo>
                      <a:pt x="78" y="62"/>
                    </a:lnTo>
                    <a:close/>
                    <a:moveTo>
                      <a:pt x="61" y="68"/>
                    </a:moveTo>
                    <a:lnTo>
                      <a:pt x="61" y="70"/>
                    </a:lnTo>
                    <a:lnTo>
                      <a:pt x="61" y="68"/>
                    </a:lnTo>
                    <a:close/>
                    <a:moveTo>
                      <a:pt x="97" y="51"/>
                    </a:moveTo>
                    <a:lnTo>
                      <a:pt x="99" y="51"/>
                    </a:lnTo>
                    <a:lnTo>
                      <a:pt x="97" y="51"/>
                    </a:lnTo>
                    <a:close/>
                    <a:moveTo>
                      <a:pt x="15" y="29"/>
                    </a:moveTo>
                    <a:lnTo>
                      <a:pt x="17" y="29"/>
                    </a:lnTo>
                    <a:lnTo>
                      <a:pt x="17" y="31"/>
                    </a:lnTo>
                    <a:lnTo>
                      <a:pt x="15" y="31"/>
                    </a:lnTo>
                    <a:lnTo>
                      <a:pt x="15" y="29"/>
                    </a:lnTo>
                    <a:close/>
                    <a:moveTo>
                      <a:pt x="111" y="43"/>
                    </a:moveTo>
                    <a:lnTo>
                      <a:pt x="112" y="43"/>
                    </a:lnTo>
                    <a:lnTo>
                      <a:pt x="111" y="43"/>
                    </a:lnTo>
                    <a:close/>
                    <a:moveTo>
                      <a:pt x="61" y="39"/>
                    </a:moveTo>
                    <a:lnTo>
                      <a:pt x="63" y="39"/>
                    </a:lnTo>
                    <a:lnTo>
                      <a:pt x="61" y="39"/>
                    </a:lnTo>
                    <a:close/>
                    <a:moveTo>
                      <a:pt x="48" y="10"/>
                    </a:moveTo>
                    <a:lnTo>
                      <a:pt x="49" y="10"/>
                    </a:lnTo>
                    <a:lnTo>
                      <a:pt x="49" y="12"/>
                    </a:lnTo>
                    <a:lnTo>
                      <a:pt x="48" y="12"/>
                    </a:lnTo>
                    <a:lnTo>
                      <a:pt x="48" y="10"/>
                    </a:lnTo>
                    <a:close/>
                    <a:moveTo>
                      <a:pt x="38" y="41"/>
                    </a:moveTo>
                    <a:lnTo>
                      <a:pt x="39" y="41"/>
                    </a:lnTo>
                    <a:lnTo>
                      <a:pt x="38" y="41"/>
                    </a:lnTo>
                    <a:close/>
                    <a:moveTo>
                      <a:pt x="56" y="48"/>
                    </a:moveTo>
                    <a:lnTo>
                      <a:pt x="58" y="48"/>
                    </a:lnTo>
                    <a:lnTo>
                      <a:pt x="56" y="48"/>
                    </a:lnTo>
                    <a:close/>
                    <a:moveTo>
                      <a:pt x="51" y="17"/>
                    </a:moveTo>
                    <a:lnTo>
                      <a:pt x="51" y="19"/>
                    </a:lnTo>
                    <a:lnTo>
                      <a:pt x="51" y="17"/>
                    </a:lnTo>
                    <a:close/>
                    <a:moveTo>
                      <a:pt x="41" y="22"/>
                    </a:moveTo>
                    <a:lnTo>
                      <a:pt x="43" y="22"/>
                    </a:lnTo>
                    <a:lnTo>
                      <a:pt x="41" y="22"/>
                    </a:lnTo>
                    <a:close/>
                    <a:moveTo>
                      <a:pt x="56" y="21"/>
                    </a:moveTo>
                    <a:lnTo>
                      <a:pt x="58" y="21"/>
                    </a:lnTo>
                    <a:lnTo>
                      <a:pt x="56" y="21"/>
                    </a:lnTo>
                    <a:close/>
                    <a:moveTo>
                      <a:pt x="49" y="19"/>
                    </a:moveTo>
                    <a:lnTo>
                      <a:pt x="49" y="21"/>
                    </a:lnTo>
                    <a:lnTo>
                      <a:pt x="49" y="19"/>
                    </a:lnTo>
                    <a:close/>
                    <a:moveTo>
                      <a:pt x="9" y="41"/>
                    </a:moveTo>
                    <a:lnTo>
                      <a:pt x="9" y="43"/>
                    </a:lnTo>
                    <a:lnTo>
                      <a:pt x="9" y="41"/>
                    </a:lnTo>
                    <a:close/>
                    <a:moveTo>
                      <a:pt x="14" y="63"/>
                    </a:moveTo>
                    <a:lnTo>
                      <a:pt x="15" y="63"/>
                    </a:lnTo>
                    <a:lnTo>
                      <a:pt x="14" y="63"/>
                    </a:lnTo>
                    <a:close/>
                    <a:moveTo>
                      <a:pt x="12" y="55"/>
                    </a:moveTo>
                    <a:lnTo>
                      <a:pt x="14" y="55"/>
                    </a:lnTo>
                    <a:lnTo>
                      <a:pt x="12" y="55"/>
                    </a:lnTo>
                    <a:close/>
                    <a:moveTo>
                      <a:pt x="58" y="51"/>
                    </a:moveTo>
                    <a:lnTo>
                      <a:pt x="58" y="53"/>
                    </a:lnTo>
                    <a:lnTo>
                      <a:pt x="58" y="51"/>
                    </a:lnTo>
                    <a:close/>
                    <a:moveTo>
                      <a:pt x="82" y="79"/>
                    </a:moveTo>
                    <a:lnTo>
                      <a:pt x="83" y="79"/>
                    </a:lnTo>
                    <a:lnTo>
                      <a:pt x="82" y="79"/>
                    </a:lnTo>
                    <a:close/>
                    <a:moveTo>
                      <a:pt x="29" y="67"/>
                    </a:moveTo>
                    <a:lnTo>
                      <a:pt x="31" y="67"/>
                    </a:lnTo>
                    <a:lnTo>
                      <a:pt x="29" y="67"/>
                    </a:lnTo>
                    <a:close/>
                    <a:moveTo>
                      <a:pt x="29" y="17"/>
                    </a:moveTo>
                    <a:lnTo>
                      <a:pt x="31" y="17"/>
                    </a:lnTo>
                    <a:lnTo>
                      <a:pt x="29" y="17"/>
                    </a:lnTo>
                    <a:close/>
                    <a:moveTo>
                      <a:pt x="4" y="34"/>
                    </a:moveTo>
                    <a:lnTo>
                      <a:pt x="4" y="36"/>
                    </a:lnTo>
                    <a:lnTo>
                      <a:pt x="4" y="34"/>
                    </a:lnTo>
                    <a:close/>
                    <a:moveTo>
                      <a:pt x="7" y="43"/>
                    </a:moveTo>
                    <a:lnTo>
                      <a:pt x="9" y="43"/>
                    </a:lnTo>
                    <a:lnTo>
                      <a:pt x="7" y="43"/>
                    </a:lnTo>
                    <a:close/>
                    <a:moveTo>
                      <a:pt x="90" y="51"/>
                    </a:moveTo>
                    <a:lnTo>
                      <a:pt x="92" y="51"/>
                    </a:lnTo>
                    <a:lnTo>
                      <a:pt x="90" y="51"/>
                    </a:lnTo>
                    <a:close/>
                    <a:moveTo>
                      <a:pt x="51" y="55"/>
                    </a:moveTo>
                    <a:lnTo>
                      <a:pt x="51" y="56"/>
                    </a:lnTo>
                    <a:lnTo>
                      <a:pt x="51" y="55"/>
                    </a:lnTo>
                    <a:close/>
                    <a:moveTo>
                      <a:pt x="22" y="63"/>
                    </a:moveTo>
                    <a:lnTo>
                      <a:pt x="22" y="65"/>
                    </a:lnTo>
                    <a:lnTo>
                      <a:pt x="22" y="63"/>
                    </a:lnTo>
                    <a:close/>
                    <a:moveTo>
                      <a:pt x="53" y="21"/>
                    </a:moveTo>
                    <a:lnTo>
                      <a:pt x="55" y="21"/>
                    </a:lnTo>
                    <a:lnTo>
                      <a:pt x="53" y="21"/>
                    </a:lnTo>
                    <a:close/>
                    <a:moveTo>
                      <a:pt x="87" y="51"/>
                    </a:moveTo>
                    <a:lnTo>
                      <a:pt x="89" y="51"/>
                    </a:lnTo>
                    <a:lnTo>
                      <a:pt x="87" y="51"/>
                    </a:lnTo>
                    <a:close/>
                    <a:moveTo>
                      <a:pt x="53" y="45"/>
                    </a:moveTo>
                    <a:lnTo>
                      <a:pt x="55" y="45"/>
                    </a:lnTo>
                    <a:lnTo>
                      <a:pt x="55" y="46"/>
                    </a:lnTo>
                    <a:lnTo>
                      <a:pt x="53" y="46"/>
                    </a:lnTo>
                    <a:lnTo>
                      <a:pt x="53" y="45"/>
                    </a:lnTo>
                    <a:close/>
                    <a:moveTo>
                      <a:pt x="87" y="48"/>
                    </a:moveTo>
                    <a:lnTo>
                      <a:pt x="87" y="50"/>
                    </a:lnTo>
                    <a:lnTo>
                      <a:pt x="87" y="4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6" name="Freeform 31">
                <a:extLst>
                  <a:ext uri="{FF2B5EF4-FFF2-40B4-BE49-F238E27FC236}">
                    <a16:creationId xmlns:a16="http://schemas.microsoft.com/office/drawing/2014/main" id="{24F8747F-DACF-ADF6-8DC0-67FCE93DA038}"/>
                  </a:ext>
                </a:extLst>
              </p:cNvPr>
              <p:cNvSpPr>
                <a:spLocks noEditPoints="1"/>
              </p:cNvSpPr>
              <p:nvPr/>
            </p:nvSpPr>
            <p:spPr bwMode="auto">
              <a:xfrm>
                <a:off x="5837483" y="2889558"/>
                <a:ext cx="28784" cy="36422"/>
              </a:xfrm>
              <a:custGeom>
                <a:avLst/>
                <a:gdLst>
                  <a:gd name="T0" fmla="*/ 95 w 98"/>
                  <a:gd name="T1" fmla="*/ 59 h 124"/>
                  <a:gd name="T2" fmla="*/ 90 w 98"/>
                  <a:gd name="T3" fmla="*/ 66 h 124"/>
                  <a:gd name="T4" fmla="*/ 86 w 98"/>
                  <a:gd name="T5" fmla="*/ 73 h 124"/>
                  <a:gd name="T6" fmla="*/ 83 w 98"/>
                  <a:gd name="T7" fmla="*/ 78 h 124"/>
                  <a:gd name="T8" fmla="*/ 80 w 98"/>
                  <a:gd name="T9" fmla="*/ 83 h 124"/>
                  <a:gd name="T10" fmla="*/ 76 w 98"/>
                  <a:gd name="T11" fmla="*/ 88 h 124"/>
                  <a:gd name="T12" fmla="*/ 73 w 98"/>
                  <a:gd name="T13" fmla="*/ 93 h 124"/>
                  <a:gd name="T14" fmla="*/ 71 w 98"/>
                  <a:gd name="T15" fmla="*/ 100 h 124"/>
                  <a:gd name="T16" fmla="*/ 68 w 98"/>
                  <a:gd name="T17" fmla="*/ 105 h 124"/>
                  <a:gd name="T18" fmla="*/ 66 w 98"/>
                  <a:gd name="T19" fmla="*/ 112 h 124"/>
                  <a:gd name="T20" fmla="*/ 64 w 98"/>
                  <a:gd name="T21" fmla="*/ 115 h 124"/>
                  <a:gd name="T22" fmla="*/ 57 w 98"/>
                  <a:gd name="T23" fmla="*/ 119 h 124"/>
                  <a:gd name="T24" fmla="*/ 52 w 98"/>
                  <a:gd name="T25" fmla="*/ 122 h 124"/>
                  <a:gd name="T26" fmla="*/ 47 w 98"/>
                  <a:gd name="T27" fmla="*/ 120 h 124"/>
                  <a:gd name="T28" fmla="*/ 42 w 98"/>
                  <a:gd name="T29" fmla="*/ 117 h 124"/>
                  <a:gd name="T30" fmla="*/ 34 w 98"/>
                  <a:gd name="T31" fmla="*/ 119 h 124"/>
                  <a:gd name="T32" fmla="*/ 27 w 98"/>
                  <a:gd name="T33" fmla="*/ 117 h 124"/>
                  <a:gd name="T34" fmla="*/ 25 w 98"/>
                  <a:gd name="T35" fmla="*/ 117 h 124"/>
                  <a:gd name="T36" fmla="*/ 20 w 98"/>
                  <a:gd name="T37" fmla="*/ 117 h 124"/>
                  <a:gd name="T38" fmla="*/ 15 w 98"/>
                  <a:gd name="T39" fmla="*/ 120 h 124"/>
                  <a:gd name="T40" fmla="*/ 12 w 98"/>
                  <a:gd name="T41" fmla="*/ 122 h 124"/>
                  <a:gd name="T42" fmla="*/ 5 w 98"/>
                  <a:gd name="T43" fmla="*/ 120 h 124"/>
                  <a:gd name="T44" fmla="*/ 0 w 98"/>
                  <a:gd name="T45" fmla="*/ 117 h 124"/>
                  <a:gd name="T46" fmla="*/ 3 w 98"/>
                  <a:gd name="T47" fmla="*/ 114 h 124"/>
                  <a:gd name="T48" fmla="*/ 6 w 98"/>
                  <a:gd name="T49" fmla="*/ 109 h 124"/>
                  <a:gd name="T50" fmla="*/ 10 w 98"/>
                  <a:gd name="T51" fmla="*/ 103 h 124"/>
                  <a:gd name="T52" fmla="*/ 12 w 98"/>
                  <a:gd name="T53" fmla="*/ 97 h 124"/>
                  <a:gd name="T54" fmla="*/ 12 w 98"/>
                  <a:gd name="T55" fmla="*/ 93 h 124"/>
                  <a:gd name="T56" fmla="*/ 12 w 98"/>
                  <a:gd name="T57" fmla="*/ 88 h 124"/>
                  <a:gd name="T58" fmla="*/ 15 w 98"/>
                  <a:gd name="T59" fmla="*/ 83 h 124"/>
                  <a:gd name="T60" fmla="*/ 18 w 98"/>
                  <a:gd name="T61" fmla="*/ 78 h 124"/>
                  <a:gd name="T62" fmla="*/ 17 w 98"/>
                  <a:gd name="T63" fmla="*/ 71 h 124"/>
                  <a:gd name="T64" fmla="*/ 15 w 98"/>
                  <a:gd name="T65" fmla="*/ 68 h 124"/>
                  <a:gd name="T66" fmla="*/ 10 w 98"/>
                  <a:gd name="T67" fmla="*/ 64 h 124"/>
                  <a:gd name="T68" fmla="*/ 6 w 98"/>
                  <a:gd name="T69" fmla="*/ 59 h 124"/>
                  <a:gd name="T70" fmla="*/ 6 w 98"/>
                  <a:gd name="T71" fmla="*/ 54 h 124"/>
                  <a:gd name="T72" fmla="*/ 5 w 98"/>
                  <a:gd name="T73" fmla="*/ 47 h 124"/>
                  <a:gd name="T74" fmla="*/ 3 w 98"/>
                  <a:gd name="T75" fmla="*/ 41 h 124"/>
                  <a:gd name="T76" fmla="*/ 3 w 98"/>
                  <a:gd name="T77" fmla="*/ 35 h 124"/>
                  <a:gd name="T78" fmla="*/ 3 w 98"/>
                  <a:gd name="T79" fmla="*/ 29 h 124"/>
                  <a:gd name="T80" fmla="*/ 6 w 98"/>
                  <a:gd name="T81" fmla="*/ 22 h 124"/>
                  <a:gd name="T82" fmla="*/ 10 w 98"/>
                  <a:gd name="T83" fmla="*/ 15 h 124"/>
                  <a:gd name="T84" fmla="*/ 15 w 98"/>
                  <a:gd name="T85" fmla="*/ 10 h 124"/>
                  <a:gd name="T86" fmla="*/ 18 w 98"/>
                  <a:gd name="T87" fmla="*/ 5 h 124"/>
                  <a:gd name="T88" fmla="*/ 22 w 98"/>
                  <a:gd name="T89" fmla="*/ 1 h 124"/>
                  <a:gd name="T90" fmla="*/ 29 w 98"/>
                  <a:gd name="T91" fmla="*/ 3 h 124"/>
                  <a:gd name="T92" fmla="*/ 34 w 98"/>
                  <a:gd name="T93" fmla="*/ 6 h 124"/>
                  <a:gd name="T94" fmla="*/ 40 w 98"/>
                  <a:gd name="T95" fmla="*/ 8 h 124"/>
                  <a:gd name="T96" fmla="*/ 44 w 98"/>
                  <a:gd name="T97" fmla="*/ 6 h 124"/>
                  <a:gd name="T98" fmla="*/ 51 w 98"/>
                  <a:gd name="T99" fmla="*/ 10 h 124"/>
                  <a:gd name="T100" fmla="*/ 56 w 98"/>
                  <a:gd name="T101" fmla="*/ 12 h 124"/>
                  <a:gd name="T102" fmla="*/ 59 w 98"/>
                  <a:gd name="T103" fmla="*/ 17 h 124"/>
                  <a:gd name="T104" fmla="*/ 66 w 98"/>
                  <a:gd name="T105" fmla="*/ 22 h 124"/>
                  <a:gd name="T106" fmla="*/ 71 w 98"/>
                  <a:gd name="T107" fmla="*/ 27 h 124"/>
                  <a:gd name="T108" fmla="*/ 74 w 98"/>
                  <a:gd name="T109" fmla="*/ 29 h 124"/>
                  <a:gd name="T110" fmla="*/ 76 w 98"/>
                  <a:gd name="T111" fmla="*/ 29 h 124"/>
                  <a:gd name="T112" fmla="*/ 80 w 98"/>
                  <a:gd name="T113" fmla="*/ 30 h 124"/>
                  <a:gd name="T114" fmla="*/ 85 w 98"/>
                  <a:gd name="T115" fmla="*/ 35 h 124"/>
                  <a:gd name="T116" fmla="*/ 88 w 98"/>
                  <a:gd name="T117" fmla="*/ 37 h 124"/>
                  <a:gd name="T118" fmla="*/ 93 w 98"/>
                  <a:gd name="T119" fmla="*/ 41 h 124"/>
                  <a:gd name="T120" fmla="*/ 95 w 98"/>
                  <a:gd name="T121" fmla="*/ 47 h 124"/>
                  <a:gd name="T122" fmla="*/ 97 w 98"/>
                  <a:gd name="T123" fmla="*/ 51 h 124"/>
                  <a:gd name="T124" fmla="*/ 22 w 98"/>
                  <a:gd name="T125"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8" h="124">
                    <a:moveTo>
                      <a:pt x="98" y="56"/>
                    </a:moveTo>
                    <a:lnTo>
                      <a:pt x="98" y="58"/>
                    </a:lnTo>
                    <a:lnTo>
                      <a:pt x="97" y="58"/>
                    </a:lnTo>
                    <a:lnTo>
                      <a:pt x="97" y="59"/>
                    </a:lnTo>
                    <a:lnTo>
                      <a:pt x="95" y="59"/>
                    </a:lnTo>
                    <a:lnTo>
                      <a:pt x="93" y="61"/>
                    </a:lnTo>
                    <a:lnTo>
                      <a:pt x="93" y="63"/>
                    </a:lnTo>
                    <a:lnTo>
                      <a:pt x="93" y="64"/>
                    </a:lnTo>
                    <a:lnTo>
                      <a:pt x="91" y="64"/>
                    </a:lnTo>
                    <a:lnTo>
                      <a:pt x="90" y="66"/>
                    </a:lnTo>
                    <a:lnTo>
                      <a:pt x="88" y="68"/>
                    </a:lnTo>
                    <a:lnTo>
                      <a:pt x="88" y="69"/>
                    </a:lnTo>
                    <a:lnTo>
                      <a:pt x="86" y="69"/>
                    </a:lnTo>
                    <a:lnTo>
                      <a:pt x="86" y="71"/>
                    </a:lnTo>
                    <a:lnTo>
                      <a:pt x="86" y="73"/>
                    </a:lnTo>
                    <a:lnTo>
                      <a:pt x="85" y="73"/>
                    </a:lnTo>
                    <a:lnTo>
                      <a:pt x="85" y="75"/>
                    </a:lnTo>
                    <a:lnTo>
                      <a:pt x="85" y="76"/>
                    </a:lnTo>
                    <a:lnTo>
                      <a:pt x="83" y="76"/>
                    </a:lnTo>
                    <a:lnTo>
                      <a:pt x="83" y="78"/>
                    </a:lnTo>
                    <a:lnTo>
                      <a:pt x="81" y="78"/>
                    </a:lnTo>
                    <a:lnTo>
                      <a:pt x="81" y="80"/>
                    </a:lnTo>
                    <a:lnTo>
                      <a:pt x="81" y="81"/>
                    </a:lnTo>
                    <a:lnTo>
                      <a:pt x="80" y="81"/>
                    </a:lnTo>
                    <a:lnTo>
                      <a:pt x="80" y="83"/>
                    </a:lnTo>
                    <a:lnTo>
                      <a:pt x="80" y="85"/>
                    </a:lnTo>
                    <a:lnTo>
                      <a:pt x="78" y="85"/>
                    </a:lnTo>
                    <a:lnTo>
                      <a:pt x="76" y="85"/>
                    </a:lnTo>
                    <a:lnTo>
                      <a:pt x="76" y="86"/>
                    </a:lnTo>
                    <a:lnTo>
                      <a:pt x="76" y="88"/>
                    </a:lnTo>
                    <a:lnTo>
                      <a:pt x="74" y="88"/>
                    </a:lnTo>
                    <a:lnTo>
                      <a:pt x="74" y="90"/>
                    </a:lnTo>
                    <a:lnTo>
                      <a:pt x="74" y="92"/>
                    </a:lnTo>
                    <a:lnTo>
                      <a:pt x="74" y="93"/>
                    </a:lnTo>
                    <a:lnTo>
                      <a:pt x="73" y="93"/>
                    </a:lnTo>
                    <a:lnTo>
                      <a:pt x="73" y="95"/>
                    </a:lnTo>
                    <a:lnTo>
                      <a:pt x="73" y="97"/>
                    </a:lnTo>
                    <a:lnTo>
                      <a:pt x="71" y="97"/>
                    </a:lnTo>
                    <a:lnTo>
                      <a:pt x="71" y="98"/>
                    </a:lnTo>
                    <a:lnTo>
                      <a:pt x="71" y="100"/>
                    </a:lnTo>
                    <a:lnTo>
                      <a:pt x="69" y="100"/>
                    </a:lnTo>
                    <a:lnTo>
                      <a:pt x="69" y="102"/>
                    </a:lnTo>
                    <a:lnTo>
                      <a:pt x="69" y="103"/>
                    </a:lnTo>
                    <a:lnTo>
                      <a:pt x="68" y="103"/>
                    </a:lnTo>
                    <a:lnTo>
                      <a:pt x="68" y="105"/>
                    </a:lnTo>
                    <a:lnTo>
                      <a:pt x="68" y="107"/>
                    </a:lnTo>
                    <a:lnTo>
                      <a:pt x="68" y="109"/>
                    </a:lnTo>
                    <a:lnTo>
                      <a:pt x="68" y="110"/>
                    </a:lnTo>
                    <a:lnTo>
                      <a:pt x="66" y="110"/>
                    </a:lnTo>
                    <a:lnTo>
                      <a:pt x="66" y="112"/>
                    </a:lnTo>
                    <a:lnTo>
                      <a:pt x="64" y="112"/>
                    </a:lnTo>
                    <a:lnTo>
                      <a:pt x="66" y="112"/>
                    </a:lnTo>
                    <a:lnTo>
                      <a:pt x="64" y="112"/>
                    </a:lnTo>
                    <a:lnTo>
                      <a:pt x="64" y="114"/>
                    </a:lnTo>
                    <a:lnTo>
                      <a:pt x="64" y="115"/>
                    </a:lnTo>
                    <a:lnTo>
                      <a:pt x="63" y="115"/>
                    </a:lnTo>
                    <a:lnTo>
                      <a:pt x="61" y="115"/>
                    </a:lnTo>
                    <a:lnTo>
                      <a:pt x="59" y="117"/>
                    </a:lnTo>
                    <a:lnTo>
                      <a:pt x="57" y="117"/>
                    </a:lnTo>
                    <a:lnTo>
                      <a:pt x="57" y="119"/>
                    </a:lnTo>
                    <a:lnTo>
                      <a:pt x="56" y="119"/>
                    </a:lnTo>
                    <a:lnTo>
                      <a:pt x="56" y="120"/>
                    </a:lnTo>
                    <a:lnTo>
                      <a:pt x="54" y="120"/>
                    </a:lnTo>
                    <a:lnTo>
                      <a:pt x="54" y="122"/>
                    </a:lnTo>
                    <a:lnTo>
                      <a:pt x="52" y="122"/>
                    </a:lnTo>
                    <a:lnTo>
                      <a:pt x="52" y="120"/>
                    </a:lnTo>
                    <a:lnTo>
                      <a:pt x="51" y="120"/>
                    </a:lnTo>
                    <a:lnTo>
                      <a:pt x="49" y="120"/>
                    </a:lnTo>
                    <a:lnTo>
                      <a:pt x="49" y="119"/>
                    </a:lnTo>
                    <a:lnTo>
                      <a:pt x="47" y="120"/>
                    </a:lnTo>
                    <a:lnTo>
                      <a:pt x="46" y="120"/>
                    </a:lnTo>
                    <a:lnTo>
                      <a:pt x="44" y="120"/>
                    </a:lnTo>
                    <a:lnTo>
                      <a:pt x="44" y="119"/>
                    </a:lnTo>
                    <a:lnTo>
                      <a:pt x="44" y="117"/>
                    </a:lnTo>
                    <a:lnTo>
                      <a:pt x="42" y="117"/>
                    </a:lnTo>
                    <a:lnTo>
                      <a:pt x="40" y="117"/>
                    </a:lnTo>
                    <a:lnTo>
                      <a:pt x="39" y="117"/>
                    </a:lnTo>
                    <a:lnTo>
                      <a:pt x="37" y="117"/>
                    </a:lnTo>
                    <a:lnTo>
                      <a:pt x="35" y="119"/>
                    </a:lnTo>
                    <a:lnTo>
                      <a:pt x="34" y="119"/>
                    </a:lnTo>
                    <a:lnTo>
                      <a:pt x="32" y="119"/>
                    </a:lnTo>
                    <a:lnTo>
                      <a:pt x="32" y="117"/>
                    </a:lnTo>
                    <a:lnTo>
                      <a:pt x="30" y="117"/>
                    </a:lnTo>
                    <a:lnTo>
                      <a:pt x="29" y="117"/>
                    </a:lnTo>
                    <a:lnTo>
                      <a:pt x="27" y="117"/>
                    </a:lnTo>
                    <a:lnTo>
                      <a:pt x="27" y="115"/>
                    </a:lnTo>
                    <a:lnTo>
                      <a:pt x="25" y="115"/>
                    </a:lnTo>
                    <a:lnTo>
                      <a:pt x="23" y="115"/>
                    </a:lnTo>
                    <a:lnTo>
                      <a:pt x="23" y="117"/>
                    </a:lnTo>
                    <a:lnTo>
                      <a:pt x="25" y="117"/>
                    </a:lnTo>
                    <a:lnTo>
                      <a:pt x="23" y="117"/>
                    </a:lnTo>
                    <a:lnTo>
                      <a:pt x="22" y="117"/>
                    </a:lnTo>
                    <a:lnTo>
                      <a:pt x="22" y="119"/>
                    </a:lnTo>
                    <a:lnTo>
                      <a:pt x="20" y="119"/>
                    </a:lnTo>
                    <a:lnTo>
                      <a:pt x="20" y="117"/>
                    </a:lnTo>
                    <a:lnTo>
                      <a:pt x="20" y="119"/>
                    </a:lnTo>
                    <a:lnTo>
                      <a:pt x="20" y="120"/>
                    </a:lnTo>
                    <a:lnTo>
                      <a:pt x="18" y="120"/>
                    </a:lnTo>
                    <a:lnTo>
                      <a:pt x="17" y="120"/>
                    </a:lnTo>
                    <a:lnTo>
                      <a:pt x="15" y="120"/>
                    </a:lnTo>
                    <a:lnTo>
                      <a:pt x="15" y="122"/>
                    </a:lnTo>
                    <a:lnTo>
                      <a:pt x="15" y="124"/>
                    </a:lnTo>
                    <a:lnTo>
                      <a:pt x="13" y="124"/>
                    </a:lnTo>
                    <a:lnTo>
                      <a:pt x="13" y="122"/>
                    </a:lnTo>
                    <a:lnTo>
                      <a:pt x="12" y="122"/>
                    </a:lnTo>
                    <a:lnTo>
                      <a:pt x="10" y="122"/>
                    </a:lnTo>
                    <a:lnTo>
                      <a:pt x="8" y="122"/>
                    </a:lnTo>
                    <a:lnTo>
                      <a:pt x="6" y="122"/>
                    </a:lnTo>
                    <a:lnTo>
                      <a:pt x="6" y="120"/>
                    </a:lnTo>
                    <a:lnTo>
                      <a:pt x="5" y="120"/>
                    </a:lnTo>
                    <a:lnTo>
                      <a:pt x="3" y="120"/>
                    </a:lnTo>
                    <a:lnTo>
                      <a:pt x="1" y="119"/>
                    </a:lnTo>
                    <a:lnTo>
                      <a:pt x="0" y="119"/>
                    </a:lnTo>
                    <a:lnTo>
                      <a:pt x="1" y="117"/>
                    </a:lnTo>
                    <a:lnTo>
                      <a:pt x="0" y="117"/>
                    </a:lnTo>
                    <a:lnTo>
                      <a:pt x="1" y="115"/>
                    </a:lnTo>
                    <a:lnTo>
                      <a:pt x="1" y="117"/>
                    </a:lnTo>
                    <a:lnTo>
                      <a:pt x="1" y="115"/>
                    </a:lnTo>
                    <a:lnTo>
                      <a:pt x="1" y="114"/>
                    </a:lnTo>
                    <a:lnTo>
                      <a:pt x="3" y="114"/>
                    </a:lnTo>
                    <a:lnTo>
                      <a:pt x="3" y="112"/>
                    </a:lnTo>
                    <a:lnTo>
                      <a:pt x="5" y="112"/>
                    </a:lnTo>
                    <a:lnTo>
                      <a:pt x="5" y="110"/>
                    </a:lnTo>
                    <a:lnTo>
                      <a:pt x="6" y="110"/>
                    </a:lnTo>
                    <a:lnTo>
                      <a:pt x="6" y="109"/>
                    </a:lnTo>
                    <a:lnTo>
                      <a:pt x="6" y="107"/>
                    </a:lnTo>
                    <a:lnTo>
                      <a:pt x="8" y="107"/>
                    </a:lnTo>
                    <a:lnTo>
                      <a:pt x="8" y="105"/>
                    </a:lnTo>
                    <a:lnTo>
                      <a:pt x="8" y="103"/>
                    </a:lnTo>
                    <a:lnTo>
                      <a:pt x="10" y="103"/>
                    </a:lnTo>
                    <a:lnTo>
                      <a:pt x="10" y="102"/>
                    </a:lnTo>
                    <a:lnTo>
                      <a:pt x="12" y="102"/>
                    </a:lnTo>
                    <a:lnTo>
                      <a:pt x="12" y="100"/>
                    </a:lnTo>
                    <a:lnTo>
                      <a:pt x="12" y="98"/>
                    </a:lnTo>
                    <a:lnTo>
                      <a:pt x="12" y="97"/>
                    </a:lnTo>
                    <a:lnTo>
                      <a:pt x="12" y="95"/>
                    </a:lnTo>
                    <a:lnTo>
                      <a:pt x="13" y="95"/>
                    </a:lnTo>
                    <a:lnTo>
                      <a:pt x="12" y="93"/>
                    </a:lnTo>
                    <a:lnTo>
                      <a:pt x="13" y="93"/>
                    </a:lnTo>
                    <a:lnTo>
                      <a:pt x="12" y="93"/>
                    </a:lnTo>
                    <a:lnTo>
                      <a:pt x="12" y="92"/>
                    </a:lnTo>
                    <a:lnTo>
                      <a:pt x="12" y="90"/>
                    </a:lnTo>
                    <a:lnTo>
                      <a:pt x="12" y="88"/>
                    </a:lnTo>
                    <a:lnTo>
                      <a:pt x="12" y="90"/>
                    </a:lnTo>
                    <a:lnTo>
                      <a:pt x="12" y="88"/>
                    </a:lnTo>
                    <a:lnTo>
                      <a:pt x="12" y="86"/>
                    </a:lnTo>
                    <a:lnTo>
                      <a:pt x="13" y="86"/>
                    </a:lnTo>
                    <a:lnTo>
                      <a:pt x="13" y="85"/>
                    </a:lnTo>
                    <a:lnTo>
                      <a:pt x="13" y="83"/>
                    </a:lnTo>
                    <a:lnTo>
                      <a:pt x="15" y="83"/>
                    </a:lnTo>
                    <a:lnTo>
                      <a:pt x="17" y="83"/>
                    </a:lnTo>
                    <a:lnTo>
                      <a:pt x="17" y="81"/>
                    </a:lnTo>
                    <a:lnTo>
                      <a:pt x="17" y="80"/>
                    </a:lnTo>
                    <a:lnTo>
                      <a:pt x="18" y="80"/>
                    </a:lnTo>
                    <a:lnTo>
                      <a:pt x="18" y="78"/>
                    </a:lnTo>
                    <a:lnTo>
                      <a:pt x="18" y="76"/>
                    </a:lnTo>
                    <a:lnTo>
                      <a:pt x="18" y="75"/>
                    </a:lnTo>
                    <a:lnTo>
                      <a:pt x="18" y="73"/>
                    </a:lnTo>
                    <a:lnTo>
                      <a:pt x="18" y="71"/>
                    </a:lnTo>
                    <a:lnTo>
                      <a:pt x="17" y="71"/>
                    </a:lnTo>
                    <a:lnTo>
                      <a:pt x="17" y="73"/>
                    </a:lnTo>
                    <a:lnTo>
                      <a:pt x="17" y="71"/>
                    </a:lnTo>
                    <a:lnTo>
                      <a:pt x="15" y="71"/>
                    </a:lnTo>
                    <a:lnTo>
                      <a:pt x="15" y="69"/>
                    </a:lnTo>
                    <a:lnTo>
                      <a:pt x="15" y="68"/>
                    </a:lnTo>
                    <a:lnTo>
                      <a:pt x="15" y="66"/>
                    </a:lnTo>
                    <a:lnTo>
                      <a:pt x="13" y="66"/>
                    </a:lnTo>
                    <a:lnTo>
                      <a:pt x="12" y="66"/>
                    </a:lnTo>
                    <a:lnTo>
                      <a:pt x="12" y="64"/>
                    </a:lnTo>
                    <a:lnTo>
                      <a:pt x="10" y="64"/>
                    </a:lnTo>
                    <a:lnTo>
                      <a:pt x="10" y="63"/>
                    </a:lnTo>
                    <a:lnTo>
                      <a:pt x="8" y="63"/>
                    </a:lnTo>
                    <a:lnTo>
                      <a:pt x="8" y="61"/>
                    </a:lnTo>
                    <a:lnTo>
                      <a:pt x="8" y="59"/>
                    </a:lnTo>
                    <a:lnTo>
                      <a:pt x="6" y="59"/>
                    </a:lnTo>
                    <a:lnTo>
                      <a:pt x="6" y="58"/>
                    </a:lnTo>
                    <a:lnTo>
                      <a:pt x="6" y="56"/>
                    </a:lnTo>
                    <a:lnTo>
                      <a:pt x="8" y="56"/>
                    </a:lnTo>
                    <a:lnTo>
                      <a:pt x="8" y="54"/>
                    </a:lnTo>
                    <a:lnTo>
                      <a:pt x="6" y="54"/>
                    </a:lnTo>
                    <a:lnTo>
                      <a:pt x="5" y="54"/>
                    </a:lnTo>
                    <a:lnTo>
                      <a:pt x="5" y="52"/>
                    </a:lnTo>
                    <a:lnTo>
                      <a:pt x="5" y="51"/>
                    </a:lnTo>
                    <a:lnTo>
                      <a:pt x="5" y="49"/>
                    </a:lnTo>
                    <a:lnTo>
                      <a:pt x="5" y="47"/>
                    </a:lnTo>
                    <a:lnTo>
                      <a:pt x="3" y="47"/>
                    </a:lnTo>
                    <a:lnTo>
                      <a:pt x="3" y="46"/>
                    </a:lnTo>
                    <a:lnTo>
                      <a:pt x="3" y="44"/>
                    </a:lnTo>
                    <a:lnTo>
                      <a:pt x="3" y="42"/>
                    </a:lnTo>
                    <a:lnTo>
                      <a:pt x="3" y="41"/>
                    </a:lnTo>
                    <a:lnTo>
                      <a:pt x="5" y="41"/>
                    </a:lnTo>
                    <a:lnTo>
                      <a:pt x="5" y="39"/>
                    </a:lnTo>
                    <a:lnTo>
                      <a:pt x="3" y="39"/>
                    </a:lnTo>
                    <a:lnTo>
                      <a:pt x="3" y="37"/>
                    </a:lnTo>
                    <a:lnTo>
                      <a:pt x="3" y="35"/>
                    </a:lnTo>
                    <a:lnTo>
                      <a:pt x="3" y="34"/>
                    </a:lnTo>
                    <a:lnTo>
                      <a:pt x="3" y="32"/>
                    </a:lnTo>
                    <a:lnTo>
                      <a:pt x="3" y="30"/>
                    </a:lnTo>
                    <a:lnTo>
                      <a:pt x="1" y="29"/>
                    </a:lnTo>
                    <a:lnTo>
                      <a:pt x="3" y="29"/>
                    </a:lnTo>
                    <a:lnTo>
                      <a:pt x="3" y="27"/>
                    </a:lnTo>
                    <a:lnTo>
                      <a:pt x="3" y="25"/>
                    </a:lnTo>
                    <a:lnTo>
                      <a:pt x="5" y="23"/>
                    </a:lnTo>
                    <a:lnTo>
                      <a:pt x="5" y="22"/>
                    </a:lnTo>
                    <a:lnTo>
                      <a:pt x="6" y="22"/>
                    </a:lnTo>
                    <a:lnTo>
                      <a:pt x="6" y="20"/>
                    </a:lnTo>
                    <a:lnTo>
                      <a:pt x="8" y="18"/>
                    </a:lnTo>
                    <a:lnTo>
                      <a:pt x="8" y="17"/>
                    </a:lnTo>
                    <a:lnTo>
                      <a:pt x="10" y="17"/>
                    </a:lnTo>
                    <a:lnTo>
                      <a:pt x="10" y="15"/>
                    </a:lnTo>
                    <a:lnTo>
                      <a:pt x="12" y="15"/>
                    </a:lnTo>
                    <a:lnTo>
                      <a:pt x="13" y="13"/>
                    </a:lnTo>
                    <a:lnTo>
                      <a:pt x="13" y="12"/>
                    </a:lnTo>
                    <a:lnTo>
                      <a:pt x="15" y="12"/>
                    </a:lnTo>
                    <a:lnTo>
                      <a:pt x="15" y="10"/>
                    </a:lnTo>
                    <a:lnTo>
                      <a:pt x="17" y="10"/>
                    </a:lnTo>
                    <a:lnTo>
                      <a:pt x="17" y="8"/>
                    </a:lnTo>
                    <a:lnTo>
                      <a:pt x="18" y="8"/>
                    </a:lnTo>
                    <a:lnTo>
                      <a:pt x="18" y="6"/>
                    </a:lnTo>
                    <a:lnTo>
                      <a:pt x="18" y="5"/>
                    </a:lnTo>
                    <a:lnTo>
                      <a:pt x="18" y="3"/>
                    </a:lnTo>
                    <a:lnTo>
                      <a:pt x="18" y="1"/>
                    </a:lnTo>
                    <a:lnTo>
                      <a:pt x="20" y="1"/>
                    </a:lnTo>
                    <a:lnTo>
                      <a:pt x="20" y="0"/>
                    </a:lnTo>
                    <a:lnTo>
                      <a:pt x="22" y="1"/>
                    </a:lnTo>
                    <a:lnTo>
                      <a:pt x="23" y="1"/>
                    </a:lnTo>
                    <a:lnTo>
                      <a:pt x="25" y="1"/>
                    </a:lnTo>
                    <a:lnTo>
                      <a:pt x="27" y="1"/>
                    </a:lnTo>
                    <a:lnTo>
                      <a:pt x="27" y="3"/>
                    </a:lnTo>
                    <a:lnTo>
                      <a:pt x="29" y="3"/>
                    </a:lnTo>
                    <a:lnTo>
                      <a:pt x="30" y="3"/>
                    </a:lnTo>
                    <a:lnTo>
                      <a:pt x="30" y="5"/>
                    </a:lnTo>
                    <a:lnTo>
                      <a:pt x="32" y="5"/>
                    </a:lnTo>
                    <a:lnTo>
                      <a:pt x="34" y="5"/>
                    </a:lnTo>
                    <a:lnTo>
                      <a:pt x="34" y="6"/>
                    </a:lnTo>
                    <a:lnTo>
                      <a:pt x="35" y="6"/>
                    </a:lnTo>
                    <a:lnTo>
                      <a:pt x="37" y="6"/>
                    </a:lnTo>
                    <a:lnTo>
                      <a:pt x="39" y="6"/>
                    </a:lnTo>
                    <a:lnTo>
                      <a:pt x="40" y="6"/>
                    </a:lnTo>
                    <a:lnTo>
                      <a:pt x="40" y="8"/>
                    </a:lnTo>
                    <a:lnTo>
                      <a:pt x="42" y="8"/>
                    </a:lnTo>
                    <a:lnTo>
                      <a:pt x="44" y="8"/>
                    </a:lnTo>
                    <a:lnTo>
                      <a:pt x="42" y="8"/>
                    </a:lnTo>
                    <a:lnTo>
                      <a:pt x="42" y="6"/>
                    </a:lnTo>
                    <a:lnTo>
                      <a:pt x="44" y="6"/>
                    </a:lnTo>
                    <a:lnTo>
                      <a:pt x="44" y="8"/>
                    </a:lnTo>
                    <a:lnTo>
                      <a:pt x="46" y="8"/>
                    </a:lnTo>
                    <a:lnTo>
                      <a:pt x="47" y="8"/>
                    </a:lnTo>
                    <a:lnTo>
                      <a:pt x="49" y="10"/>
                    </a:lnTo>
                    <a:lnTo>
                      <a:pt x="51" y="10"/>
                    </a:lnTo>
                    <a:lnTo>
                      <a:pt x="52" y="12"/>
                    </a:lnTo>
                    <a:lnTo>
                      <a:pt x="52" y="10"/>
                    </a:lnTo>
                    <a:lnTo>
                      <a:pt x="54" y="10"/>
                    </a:lnTo>
                    <a:lnTo>
                      <a:pt x="54" y="12"/>
                    </a:lnTo>
                    <a:lnTo>
                      <a:pt x="56" y="12"/>
                    </a:lnTo>
                    <a:lnTo>
                      <a:pt x="56" y="13"/>
                    </a:lnTo>
                    <a:lnTo>
                      <a:pt x="57" y="13"/>
                    </a:lnTo>
                    <a:lnTo>
                      <a:pt x="57" y="15"/>
                    </a:lnTo>
                    <a:lnTo>
                      <a:pt x="59" y="15"/>
                    </a:lnTo>
                    <a:lnTo>
                      <a:pt x="59" y="17"/>
                    </a:lnTo>
                    <a:lnTo>
                      <a:pt x="61" y="17"/>
                    </a:lnTo>
                    <a:lnTo>
                      <a:pt x="61" y="18"/>
                    </a:lnTo>
                    <a:lnTo>
                      <a:pt x="63" y="18"/>
                    </a:lnTo>
                    <a:lnTo>
                      <a:pt x="64" y="20"/>
                    </a:lnTo>
                    <a:lnTo>
                      <a:pt x="66" y="22"/>
                    </a:lnTo>
                    <a:lnTo>
                      <a:pt x="68" y="23"/>
                    </a:lnTo>
                    <a:lnTo>
                      <a:pt x="69" y="23"/>
                    </a:lnTo>
                    <a:lnTo>
                      <a:pt x="69" y="25"/>
                    </a:lnTo>
                    <a:lnTo>
                      <a:pt x="71" y="25"/>
                    </a:lnTo>
                    <a:lnTo>
                      <a:pt x="71" y="27"/>
                    </a:lnTo>
                    <a:lnTo>
                      <a:pt x="73" y="27"/>
                    </a:lnTo>
                    <a:lnTo>
                      <a:pt x="73" y="29"/>
                    </a:lnTo>
                    <a:lnTo>
                      <a:pt x="74" y="29"/>
                    </a:lnTo>
                    <a:lnTo>
                      <a:pt x="73" y="29"/>
                    </a:lnTo>
                    <a:lnTo>
                      <a:pt x="74" y="29"/>
                    </a:lnTo>
                    <a:lnTo>
                      <a:pt x="74" y="27"/>
                    </a:lnTo>
                    <a:lnTo>
                      <a:pt x="76" y="27"/>
                    </a:lnTo>
                    <a:lnTo>
                      <a:pt x="76" y="29"/>
                    </a:lnTo>
                    <a:lnTo>
                      <a:pt x="78" y="29"/>
                    </a:lnTo>
                    <a:lnTo>
                      <a:pt x="76" y="29"/>
                    </a:lnTo>
                    <a:lnTo>
                      <a:pt x="78" y="30"/>
                    </a:lnTo>
                    <a:lnTo>
                      <a:pt x="76" y="30"/>
                    </a:lnTo>
                    <a:lnTo>
                      <a:pt x="78" y="32"/>
                    </a:lnTo>
                    <a:lnTo>
                      <a:pt x="78" y="30"/>
                    </a:lnTo>
                    <a:lnTo>
                      <a:pt x="80" y="30"/>
                    </a:lnTo>
                    <a:lnTo>
                      <a:pt x="80" y="32"/>
                    </a:lnTo>
                    <a:lnTo>
                      <a:pt x="81" y="32"/>
                    </a:lnTo>
                    <a:lnTo>
                      <a:pt x="81" y="34"/>
                    </a:lnTo>
                    <a:lnTo>
                      <a:pt x="83" y="34"/>
                    </a:lnTo>
                    <a:lnTo>
                      <a:pt x="85" y="35"/>
                    </a:lnTo>
                    <a:lnTo>
                      <a:pt x="86" y="35"/>
                    </a:lnTo>
                    <a:lnTo>
                      <a:pt x="86" y="37"/>
                    </a:lnTo>
                    <a:lnTo>
                      <a:pt x="86" y="39"/>
                    </a:lnTo>
                    <a:lnTo>
                      <a:pt x="88" y="39"/>
                    </a:lnTo>
                    <a:lnTo>
                      <a:pt x="88" y="37"/>
                    </a:lnTo>
                    <a:lnTo>
                      <a:pt x="90" y="37"/>
                    </a:lnTo>
                    <a:lnTo>
                      <a:pt x="91" y="37"/>
                    </a:lnTo>
                    <a:lnTo>
                      <a:pt x="91" y="39"/>
                    </a:lnTo>
                    <a:lnTo>
                      <a:pt x="93" y="39"/>
                    </a:lnTo>
                    <a:lnTo>
                      <a:pt x="93" y="41"/>
                    </a:lnTo>
                    <a:lnTo>
                      <a:pt x="93" y="42"/>
                    </a:lnTo>
                    <a:lnTo>
                      <a:pt x="93" y="44"/>
                    </a:lnTo>
                    <a:lnTo>
                      <a:pt x="95" y="44"/>
                    </a:lnTo>
                    <a:lnTo>
                      <a:pt x="95" y="46"/>
                    </a:lnTo>
                    <a:lnTo>
                      <a:pt x="95" y="47"/>
                    </a:lnTo>
                    <a:lnTo>
                      <a:pt x="97" y="46"/>
                    </a:lnTo>
                    <a:lnTo>
                      <a:pt x="95" y="47"/>
                    </a:lnTo>
                    <a:lnTo>
                      <a:pt x="95" y="49"/>
                    </a:lnTo>
                    <a:lnTo>
                      <a:pt x="97" y="49"/>
                    </a:lnTo>
                    <a:lnTo>
                      <a:pt x="97" y="51"/>
                    </a:lnTo>
                    <a:lnTo>
                      <a:pt x="97" y="52"/>
                    </a:lnTo>
                    <a:lnTo>
                      <a:pt x="98" y="52"/>
                    </a:lnTo>
                    <a:lnTo>
                      <a:pt x="98" y="54"/>
                    </a:lnTo>
                    <a:lnTo>
                      <a:pt x="98" y="56"/>
                    </a:lnTo>
                    <a:close/>
                    <a:moveTo>
                      <a:pt x="22" y="0"/>
                    </a:moveTo>
                    <a:lnTo>
                      <a:pt x="23" y="0"/>
                    </a:lnTo>
                    <a:lnTo>
                      <a:pt x="23" y="1"/>
                    </a:lnTo>
                    <a:lnTo>
                      <a:pt x="22" y="1"/>
                    </a:lnTo>
                    <a:lnTo>
                      <a:pt x="22"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2" name="Freeform 32">
                <a:extLst>
                  <a:ext uri="{FF2B5EF4-FFF2-40B4-BE49-F238E27FC236}">
                    <a16:creationId xmlns:a16="http://schemas.microsoft.com/office/drawing/2014/main" id="{06672731-41A3-3FF1-75F2-190314A020FB}"/>
                  </a:ext>
                </a:extLst>
              </p:cNvPr>
              <p:cNvSpPr>
                <a:spLocks noEditPoints="1"/>
              </p:cNvSpPr>
              <p:nvPr/>
            </p:nvSpPr>
            <p:spPr bwMode="auto">
              <a:xfrm>
                <a:off x="5765520" y="2821415"/>
                <a:ext cx="3819" cy="5581"/>
              </a:xfrm>
              <a:custGeom>
                <a:avLst/>
                <a:gdLst>
                  <a:gd name="T0" fmla="*/ 5 w 13"/>
                  <a:gd name="T1" fmla="*/ 11 h 19"/>
                  <a:gd name="T2" fmla="*/ 7 w 13"/>
                  <a:gd name="T3" fmla="*/ 11 h 19"/>
                  <a:gd name="T4" fmla="*/ 7 w 13"/>
                  <a:gd name="T5" fmla="*/ 12 h 19"/>
                  <a:gd name="T6" fmla="*/ 7 w 13"/>
                  <a:gd name="T7" fmla="*/ 14 h 19"/>
                  <a:gd name="T8" fmla="*/ 7 w 13"/>
                  <a:gd name="T9" fmla="*/ 16 h 19"/>
                  <a:gd name="T10" fmla="*/ 5 w 13"/>
                  <a:gd name="T11" fmla="*/ 17 h 19"/>
                  <a:gd name="T12" fmla="*/ 3 w 13"/>
                  <a:gd name="T13" fmla="*/ 17 h 19"/>
                  <a:gd name="T14" fmla="*/ 3 w 13"/>
                  <a:gd name="T15" fmla="*/ 19 h 19"/>
                  <a:gd name="T16" fmla="*/ 3 w 13"/>
                  <a:gd name="T17" fmla="*/ 17 h 19"/>
                  <a:gd name="T18" fmla="*/ 3 w 13"/>
                  <a:gd name="T19" fmla="*/ 19 h 19"/>
                  <a:gd name="T20" fmla="*/ 3 w 13"/>
                  <a:gd name="T21" fmla="*/ 17 h 19"/>
                  <a:gd name="T22" fmla="*/ 3 w 13"/>
                  <a:gd name="T23" fmla="*/ 19 h 19"/>
                  <a:gd name="T24" fmla="*/ 2 w 13"/>
                  <a:gd name="T25" fmla="*/ 17 h 19"/>
                  <a:gd name="T26" fmla="*/ 2 w 13"/>
                  <a:gd name="T27" fmla="*/ 19 h 19"/>
                  <a:gd name="T28" fmla="*/ 0 w 13"/>
                  <a:gd name="T29" fmla="*/ 19 h 19"/>
                  <a:gd name="T30" fmla="*/ 2 w 13"/>
                  <a:gd name="T31" fmla="*/ 17 h 19"/>
                  <a:gd name="T32" fmla="*/ 2 w 13"/>
                  <a:gd name="T33" fmla="*/ 16 h 19"/>
                  <a:gd name="T34" fmla="*/ 2 w 13"/>
                  <a:gd name="T35" fmla="*/ 14 h 19"/>
                  <a:gd name="T36" fmla="*/ 3 w 13"/>
                  <a:gd name="T37" fmla="*/ 12 h 19"/>
                  <a:gd name="T38" fmla="*/ 3 w 13"/>
                  <a:gd name="T39" fmla="*/ 11 h 19"/>
                  <a:gd name="T40" fmla="*/ 5 w 13"/>
                  <a:gd name="T41" fmla="*/ 11 h 19"/>
                  <a:gd name="T42" fmla="*/ 10 w 13"/>
                  <a:gd name="T43" fmla="*/ 0 h 19"/>
                  <a:gd name="T44" fmla="*/ 13 w 13"/>
                  <a:gd name="T45" fmla="*/ 0 h 19"/>
                  <a:gd name="T46" fmla="*/ 13 w 13"/>
                  <a:gd name="T47" fmla="*/ 4 h 19"/>
                  <a:gd name="T48" fmla="*/ 10 w 13"/>
                  <a:gd name="T49" fmla="*/ 4 h 19"/>
                  <a:gd name="T50" fmla="*/ 10 w 13"/>
                  <a:gd name="T51" fmla="*/ 0 h 19"/>
                  <a:gd name="T52" fmla="*/ 7 w 13"/>
                  <a:gd name="T53" fmla="*/ 7 h 19"/>
                  <a:gd name="T54" fmla="*/ 7 w 13"/>
                  <a:gd name="T55" fmla="*/ 9 h 19"/>
                  <a:gd name="T56" fmla="*/ 7 w 13"/>
                  <a:gd name="T57" fmla="*/ 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 h="19">
                    <a:moveTo>
                      <a:pt x="5" y="11"/>
                    </a:moveTo>
                    <a:lnTo>
                      <a:pt x="7" y="11"/>
                    </a:lnTo>
                    <a:lnTo>
                      <a:pt x="7" y="12"/>
                    </a:lnTo>
                    <a:lnTo>
                      <a:pt x="7" y="14"/>
                    </a:lnTo>
                    <a:lnTo>
                      <a:pt x="7" y="16"/>
                    </a:lnTo>
                    <a:lnTo>
                      <a:pt x="5" y="17"/>
                    </a:lnTo>
                    <a:lnTo>
                      <a:pt x="3" y="17"/>
                    </a:lnTo>
                    <a:lnTo>
                      <a:pt x="3" y="19"/>
                    </a:lnTo>
                    <a:lnTo>
                      <a:pt x="3" y="17"/>
                    </a:lnTo>
                    <a:lnTo>
                      <a:pt x="3" y="19"/>
                    </a:lnTo>
                    <a:lnTo>
                      <a:pt x="3" y="17"/>
                    </a:lnTo>
                    <a:lnTo>
                      <a:pt x="3" y="19"/>
                    </a:lnTo>
                    <a:lnTo>
                      <a:pt x="2" y="17"/>
                    </a:lnTo>
                    <a:lnTo>
                      <a:pt x="2" y="19"/>
                    </a:lnTo>
                    <a:lnTo>
                      <a:pt x="0" y="19"/>
                    </a:lnTo>
                    <a:lnTo>
                      <a:pt x="2" y="17"/>
                    </a:lnTo>
                    <a:lnTo>
                      <a:pt x="2" y="16"/>
                    </a:lnTo>
                    <a:lnTo>
                      <a:pt x="2" y="14"/>
                    </a:lnTo>
                    <a:lnTo>
                      <a:pt x="3" y="12"/>
                    </a:lnTo>
                    <a:lnTo>
                      <a:pt x="3" y="11"/>
                    </a:lnTo>
                    <a:lnTo>
                      <a:pt x="5" y="11"/>
                    </a:lnTo>
                    <a:close/>
                    <a:moveTo>
                      <a:pt x="10" y="0"/>
                    </a:moveTo>
                    <a:lnTo>
                      <a:pt x="13" y="0"/>
                    </a:lnTo>
                    <a:lnTo>
                      <a:pt x="13" y="4"/>
                    </a:lnTo>
                    <a:lnTo>
                      <a:pt x="10" y="4"/>
                    </a:lnTo>
                    <a:lnTo>
                      <a:pt x="10" y="0"/>
                    </a:lnTo>
                    <a:close/>
                    <a:moveTo>
                      <a:pt x="7" y="7"/>
                    </a:moveTo>
                    <a:lnTo>
                      <a:pt x="7" y="9"/>
                    </a:lnTo>
                    <a:lnTo>
                      <a:pt x="7" y="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8" name="Freeform 35">
                <a:extLst>
                  <a:ext uri="{FF2B5EF4-FFF2-40B4-BE49-F238E27FC236}">
                    <a16:creationId xmlns:a16="http://schemas.microsoft.com/office/drawing/2014/main" id="{2C2C04CE-0F63-47A7-AC2F-3E7C6D314921}"/>
                  </a:ext>
                </a:extLst>
              </p:cNvPr>
              <p:cNvSpPr>
                <a:spLocks noEditPoints="1"/>
              </p:cNvSpPr>
              <p:nvPr/>
            </p:nvSpPr>
            <p:spPr bwMode="auto">
              <a:xfrm>
                <a:off x="5769340" y="2861949"/>
                <a:ext cx="42589" cy="72842"/>
              </a:xfrm>
              <a:custGeom>
                <a:avLst/>
                <a:gdLst>
                  <a:gd name="T0" fmla="*/ 140 w 145"/>
                  <a:gd name="T1" fmla="*/ 112 h 248"/>
                  <a:gd name="T2" fmla="*/ 138 w 145"/>
                  <a:gd name="T3" fmla="*/ 117 h 248"/>
                  <a:gd name="T4" fmla="*/ 128 w 145"/>
                  <a:gd name="T5" fmla="*/ 119 h 248"/>
                  <a:gd name="T6" fmla="*/ 118 w 145"/>
                  <a:gd name="T7" fmla="*/ 128 h 248"/>
                  <a:gd name="T8" fmla="*/ 116 w 145"/>
                  <a:gd name="T9" fmla="*/ 140 h 248"/>
                  <a:gd name="T10" fmla="*/ 114 w 145"/>
                  <a:gd name="T11" fmla="*/ 153 h 248"/>
                  <a:gd name="T12" fmla="*/ 123 w 145"/>
                  <a:gd name="T13" fmla="*/ 165 h 248"/>
                  <a:gd name="T14" fmla="*/ 128 w 145"/>
                  <a:gd name="T15" fmla="*/ 177 h 248"/>
                  <a:gd name="T16" fmla="*/ 133 w 145"/>
                  <a:gd name="T17" fmla="*/ 192 h 248"/>
                  <a:gd name="T18" fmla="*/ 128 w 145"/>
                  <a:gd name="T19" fmla="*/ 199 h 248"/>
                  <a:gd name="T20" fmla="*/ 119 w 145"/>
                  <a:gd name="T21" fmla="*/ 206 h 248"/>
                  <a:gd name="T22" fmla="*/ 118 w 145"/>
                  <a:gd name="T23" fmla="*/ 214 h 248"/>
                  <a:gd name="T24" fmla="*/ 118 w 145"/>
                  <a:gd name="T25" fmla="*/ 226 h 248"/>
                  <a:gd name="T26" fmla="*/ 106 w 145"/>
                  <a:gd name="T27" fmla="*/ 231 h 248"/>
                  <a:gd name="T28" fmla="*/ 99 w 145"/>
                  <a:gd name="T29" fmla="*/ 240 h 248"/>
                  <a:gd name="T30" fmla="*/ 94 w 145"/>
                  <a:gd name="T31" fmla="*/ 245 h 248"/>
                  <a:gd name="T32" fmla="*/ 84 w 145"/>
                  <a:gd name="T33" fmla="*/ 245 h 248"/>
                  <a:gd name="T34" fmla="*/ 70 w 145"/>
                  <a:gd name="T35" fmla="*/ 238 h 248"/>
                  <a:gd name="T36" fmla="*/ 62 w 145"/>
                  <a:gd name="T37" fmla="*/ 231 h 248"/>
                  <a:gd name="T38" fmla="*/ 57 w 145"/>
                  <a:gd name="T39" fmla="*/ 220 h 248"/>
                  <a:gd name="T40" fmla="*/ 51 w 145"/>
                  <a:gd name="T41" fmla="*/ 208 h 248"/>
                  <a:gd name="T42" fmla="*/ 48 w 145"/>
                  <a:gd name="T43" fmla="*/ 192 h 248"/>
                  <a:gd name="T44" fmla="*/ 51 w 145"/>
                  <a:gd name="T45" fmla="*/ 180 h 248"/>
                  <a:gd name="T46" fmla="*/ 53 w 145"/>
                  <a:gd name="T47" fmla="*/ 172 h 248"/>
                  <a:gd name="T48" fmla="*/ 58 w 145"/>
                  <a:gd name="T49" fmla="*/ 162 h 248"/>
                  <a:gd name="T50" fmla="*/ 60 w 145"/>
                  <a:gd name="T51" fmla="*/ 152 h 248"/>
                  <a:gd name="T52" fmla="*/ 57 w 145"/>
                  <a:gd name="T53" fmla="*/ 141 h 248"/>
                  <a:gd name="T54" fmla="*/ 46 w 145"/>
                  <a:gd name="T55" fmla="*/ 138 h 248"/>
                  <a:gd name="T56" fmla="*/ 46 w 145"/>
                  <a:gd name="T57" fmla="*/ 128 h 248"/>
                  <a:gd name="T58" fmla="*/ 43 w 145"/>
                  <a:gd name="T59" fmla="*/ 112 h 248"/>
                  <a:gd name="T60" fmla="*/ 31 w 145"/>
                  <a:gd name="T61" fmla="*/ 112 h 248"/>
                  <a:gd name="T62" fmla="*/ 0 w 145"/>
                  <a:gd name="T63" fmla="*/ 89 h 248"/>
                  <a:gd name="T64" fmla="*/ 9 w 145"/>
                  <a:gd name="T65" fmla="*/ 77 h 248"/>
                  <a:gd name="T66" fmla="*/ 7 w 145"/>
                  <a:gd name="T67" fmla="*/ 66 h 248"/>
                  <a:gd name="T68" fmla="*/ 16 w 145"/>
                  <a:gd name="T69" fmla="*/ 61 h 248"/>
                  <a:gd name="T70" fmla="*/ 24 w 145"/>
                  <a:gd name="T71" fmla="*/ 58 h 248"/>
                  <a:gd name="T72" fmla="*/ 36 w 145"/>
                  <a:gd name="T73" fmla="*/ 51 h 248"/>
                  <a:gd name="T74" fmla="*/ 29 w 145"/>
                  <a:gd name="T75" fmla="*/ 46 h 248"/>
                  <a:gd name="T76" fmla="*/ 26 w 145"/>
                  <a:gd name="T77" fmla="*/ 32 h 248"/>
                  <a:gd name="T78" fmla="*/ 38 w 145"/>
                  <a:gd name="T79" fmla="*/ 22 h 248"/>
                  <a:gd name="T80" fmla="*/ 50 w 145"/>
                  <a:gd name="T81" fmla="*/ 10 h 248"/>
                  <a:gd name="T82" fmla="*/ 53 w 145"/>
                  <a:gd name="T83" fmla="*/ 5 h 248"/>
                  <a:gd name="T84" fmla="*/ 63 w 145"/>
                  <a:gd name="T85" fmla="*/ 9 h 248"/>
                  <a:gd name="T86" fmla="*/ 79 w 145"/>
                  <a:gd name="T87" fmla="*/ 17 h 248"/>
                  <a:gd name="T88" fmla="*/ 91 w 145"/>
                  <a:gd name="T89" fmla="*/ 32 h 248"/>
                  <a:gd name="T90" fmla="*/ 99 w 145"/>
                  <a:gd name="T91" fmla="*/ 44 h 248"/>
                  <a:gd name="T92" fmla="*/ 96 w 145"/>
                  <a:gd name="T93" fmla="*/ 61 h 248"/>
                  <a:gd name="T94" fmla="*/ 94 w 145"/>
                  <a:gd name="T95" fmla="*/ 73 h 248"/>
                  <a:gd name="T96" fmla="*/ 97 w 145"/>
                  <a:gd name="T97" fmla="*/ 61 h 248"/>
                  <a:gd name="T98" fmla="*/ 111 w 145"/>
                  <a:gd name="T99" fmla="*/ 58 h 248"/>
                  <a:gd name="T100" fmla="*/ 125 w 145"/>
                  <a:gd name="T101" fmla="*/ 66 h 248"/>
                  <a:gd name="T102" fmla="*/ 135 w 145"/>
                  <a:gd name="T103" fmla="*/ 75 h 248"/>
                  <a:gd name="T104" fmla="*/ 145 w 145"/>
                  <a:gd name="T105" fmla="*/ 87 h 248"/>
                  <a:gd name="T106" fmla="*/ 99 w 145"/>
                  <a:gd name="T107" fmla="*/ 56 h 248"/>
                  <a:gd name="T108" fmla="*/ 102 w 145"/>
                  <a:gd name="T109" fmla="*/ 53 h 248"/>
                  <a:gd name="T110" fmla="*/ 101 w 145"/>
                  <a:gd name="T111" fmla="*/ 53 h 248"/>
                  <a:gd name="T112" fmla="*/ 99 w 145"/>
                  <a:gd name="T113" fmla="*/ 49 h 248"/>
                  <a:gd name="T114" fmla="*/ 97 w 145"/>
                  <a:gd name="T115" fmla="*/ 53 h 248"/>
                  <a:gd name="T116" fmla="*/ 97 w 145"/>
                  <a:gd name="T117" fmla="*/ 60 h 248"/>
                  <a:gd name="T118" fmla="*/ 94 w 145"/>
                  <a:gd name="T119" fmla="*/ 6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5" h="248">
                    <a:moveTo>
                      <a:pt x="143" y="97"/>
                    </a:moveTo>
                    <a:lnTo>
                      <a:pt x="143" y="99"/>
                    </a:lnTo>
                    <a:lnTo>
                      <a:pt x="142" y="100"/>
                    </a:lnTo>
                    <a:lnTo>
                      <a:pt x="142" y="102"/>
                    </a:lnTo>
                    <a:lnTo>
                      <a:pt x="140" y="104"/>
                    </a:lnTo>
                    <a:lnTo>
                      <a:pt x="140" y="106"/>
                    </a:lnTo>
                    <a:lnTo>
                      <a:pt x="140" y="107"/>
                    </a:lnTo>
                    <a:lnTo>
                      <a:pt x="138" y="107"/>
                    </a:lnTo>
                    <a:lnTo>
                      <a:pt x="138" y="109"/>
                    </a:lnTo>
                    <a:lnTo>
                      <a:pt x="140" y="109"/>
                    </a:lnTo>
                    <a:lnTo>
                      <a:pt x="140" y="111"/>
                    </a:lnTo>
                    <a:lnTo>
                      <a:pt x="140" y="112"/>
                    </a:lnTo>
                    <a:lnTo>
                      <a:pt x="140" y="111"/>
                    </a:lnTo>
                    <a:lnTo>
                      <a:pt x="142" y="111"/>
                    </a:lnTo>
                    <a:lnTo>
                      <a:pt x="142" y="112"/>
                    </a:lnTo>
                    <a:lnTo>
                      <a:pt x="143" y="112"/>
                    </a:lnTo>
                    <a:lnTo>
                      <a:pt x="143" y="114"/>
                    </a:lnTo>
                    <a:lnTo>
                      <a:pt x="142" y="114"/>
                    </a:lnTo>
                    <a:lnTo>
                      <a:pt x="142" y="116"/>
                    </a:lnTo>
                    <a:lnTo>
                      <a:pt x="142" y="114"/>
                    </a:lnTo>
                    <a:lnTo>
                      <a:pt x="140" y="114"/>
                    </a:lnTo>
                    <a:lnTo>
                      <a:pt x="138" y="114"/>
                    </a:lnTo>
                    <a:lnTo>
                      <a:pt x="138" y="116"/>
                    </a:lnTo>
                    <a:lnTo>
                      <a:pt x="138" y="117"/>
                    </a:lnTo>
                    <a:lnTo>
                      <a:pt x="140" y="117"/>
                    </a:lnTo>
                    <a:lnTo>
                      <a:pt x="140" y="119"/>
                    </a:lnTo>
                    <a:lnTo>
                      <a:pt x="138" y="119"/>
                    </a:lnTo>
                    <a:lnTo>
                      <a:pt x="136" y="119"/>
                    </a:lnTo>
                    <a:lnTo>
                      <a:pt x="135" y="119"/>
                    </a:lnTo>
                    <a:lnTo>
                      <a:pt x="135" y="121"/>
                    </a:lnTo>
                    <a:lnTo>
                      <a:pt x="135" y="119"/>
                    </a:lnTo>
                    <a:lnTo>
                      <a:pt x="133" y="119"/>
                    </a:lnTo>
                    <a:lnTo>
                      <a:pt x="133" y="121"/>
                    </a:lnTo>
                    <a:lnTo>
                      <a:pt x="131" y="119"/>
                    </a:lnTo>
                    <a:lnTo>
                      <a:pt x="130" y="119"/>
                    </a:lnTo>
                    <a:lnTo>
                      <a:pt x="128" y="119"/>
                    </a:lnTo>
                    <a:lnTo>
                      <a:pt x="128" y="121"/>
                    </a:lnTo>
                    <a:lnTo>
                      <a:pt x="126" y="119"/>
                    </a:lnTo>
                    <a:lnTo>
                      <a:pt x="125" y="119"/>
                    </a:lnTo>
                    <a:lnTo>
                      <a:pt x="125" y="121"/>
                    </a:lnTo>
                    <a:lnTo>
                      <a:pt x="123" y="121"/>
                    </a:lnTo>
                    <a:lnTo>
                      <a:pt x="123" y="123"/>
                    </a:lnTo>
                    <a:lnTo>
                      <a:pt x="121" y="123"/>
                    </a:lnTo>
                    <a:lnTo>
                      <a:pt x="119" y="123"/>
                    </a:lnTo>
                    <a:lnTo>
                      <a:pt x="119" y="124"/>
                    </a:lnTo>
                    <a:lnTo>
                      <a:pt x="118" y="124"/>
                    </a:lnTo>
                    <a:lnTo>
                      <a:pt x="118" y="126"/>
                    </a:lnTo>
                    <a:lnTo>
                      <a:pt x="118" y="128"/>
                    </a:lnTo>
                    <a:lnTo>
                      <a:pt x="119" y="128"/>
                    </a:lnTo>
                    <a:lnTo>
                      <a:pt x="119" y="129"/>
                    </a:lnTo>
                    <a:lnTo>
                      <a:pt x="121" y="129"/>
                    </a:lnTo>
                    <a:lnTo>
                      <a:pt x="121" y="131"/>
                    </a:lnTo>
                    <a:lnTo>
                      <a:pt x="121" y="133"/>
                    </a:lnTo>
                    <a:lnTo>
                      <a:pt x="119" y="133"/>
                    </a:lnTo>
                    <a:lnTo>
                      <a:pt x="119" y="135"/>
                    </a:lnTo>
                    <a:lnTo>
                      <a:pt x="119" y="136"/>
                    </a:lnTo>
                    <a:lnTo>
                      <a:pt x="118" y="136"/>
                    </a:lnTo>
                    <a:lnTo>
                      <a:pt x="118" y="138"/>
                    </a:lnTo>
                    <a:lnTo>
                      <a:pt x="118" y="140"/>
                    </a:lnTo>
                    <a:lnTo>
                      <a:pt x="116" y="140"/>
                    </a:lnTo>
                    <a:lnTo>
                      <a:pt x="116" y="141"/>
                    </a:lnTo>
                    <a:lnTo>
                      <a:pt x="118" y="141"/>
                    </a:lnTo>
                    <a:lnTo>
                      <a:pt x="118" y="143"/>
                    </a:lnTo>
                    <a:lnTo>
                      <a:pt x="116" y="143"/>
                    </a:lnTo>
                    <a:lnTo>
                      <a:pt x="116" y="145"/>
                    </a:lnTo>
                    <a:lnTo>
                      <a:pt x="114" y="145"/>
                    </a:lnTo>
                    <a:lnTo>
                      <a:pt x="114" y="146"/>
                    </a:lnTo>
                    <a:lnTo>
                      <a:pt x="114" y="148"/>
                    </a:lnTo>
                    <a:lnTo>
                      <a:pt x="113" y="148"/>
                    </a:lnTo>
                    <a:lnTo>
                      <a:pt x="114" y="150"/>
                    </a:lnTo>
                    <a:lnTo>
                      <a:pt x="114" y="152"/>
                    </a:lnTo>
                    <a:lnTo>
                      <a:pt x="114" y="153"/>
                    </a:lnTo>
                    <a:lnTo>
                      <a:pt x="114" y="155"/>
                    </a:lnTo>
                    <a:lnTo>
                      <a:pt x="116" y="155"/>
                    </a:lnTo>
                    <a:lnTo>
                      <a:pt x="116" y="157"/>
                    </a:lnTo>
                    <a:lnTo>
                      <a:pt x="118" y="157"/>
                    </a:lnTo>
                    <a:lnTo>
                      <a:pt x="118" y="158"/>
                    </a:lnTo>
                    <a:lnTo>
                      <a:pt x="119" y="158"/>
                    </a:lnTo>
                    <a:lnTo>
                      <a:pt x="119" y="160"/>
                    </a:lnTo>
                    <a:lnTo>
                      <a:pt x="119" y="162"/>
                    </a:lnTo>
                    <a:lnTo>
                      <a:pt x="121" y="162"/>
                    </a:lnTo>
                    <a:lnTo>
                      <a:pt x="121" y="163"/>
                    </a:lnTo>
                    <a:lnTo>
                      <a:pt x="121" y="165"/>
                    </a:lnTo>
                    <a:lnTo>
                      <a:pt x="123" y="165"/>
                    </a:lnTo>
                    <a:lnTo>
                      <a:pt x="123" y="167"/>
                    </a:lnTo>
                    <a:lnTo>
                      <a:pt x="125" y="167"/>
                    </a:lnTo>
                    <a:lnTo>
                      <a:pt x="125" y="169"/>
                    </a:lnTo>
                    <a:lnTo>
                      <a:pt x="126" y="169"/>
                    </a:lnTo>
                    <a:lnTo>
                      <a:pt x="128" y="169"/>
                    </a:lnTo>
                    <a:lnTo>
                      <a:pt x="128" y="170"/>
                    </a:lnTo>
                    <a:lnTo>
                      <a:pt x="126" y="170"/>
                    </a:lnTo>
                    <a:lnTo>
                      <a:pt x="126" y="172"/>
                    </a:lnTo>
                    <a:lnTo>
                      <a:pt x="126" y="174"/>
                    </a:lnTo>
                    <a:lnTo>
                      <a:pt x="126" y="175"/>
                    </a:lnTo>
                    <a:lnTo>
                      <a:pt x="128" y="175"/>
                    </a:lnTo>
                    <a:lnTo>
                      <a:pt x="128" y="177"/>
                    </a:lnTo>
                    <a:lnTo>
                      <a:pt x="130" y="177"/>
                    </a:lnTo>
                    <a:lnTo>
                      <a:pt x="128" y="179"/>
                    </a:lnTo>
                    <a:lnTo>
                      <a:pt x="128" y="180"/>
                    </a:lnTo>
                    <a:lnTo>
                      <a:pt x="128" y="182"/>
                    </a:lnTo>
                    <a:lnTo>
                      <a:pt x="128" y="184"/>
                    </a:lnTo>
                    <a:lnTo>
                      <a:pt x="130" y="184"/>
                    </a:lnTo>
                    <a:lnTo>
                      <a:pt x="130" y="186"/>
                    </a:lnTo>
                    <a:lnTo>
                      <a:pt x="131" y="187"/>
                    </a:lnTo>
                    <a:lnTo>
                      <a:pt x="133" y="187"/>
                    </a:lnTo>
                    <a:lnTo>
                      <a:pt x="133" y="189"/>
                    </a:lnTo>
                    <a:lnTo>
                      <a:pt x="133" y="191"/>
                    </a:lnTo>
                    <a:lnTo>
                      <a:pt x="133" y="192"/>
                    </a:lnTo>
                    <a:lnTo>
                      <a:pt x="133" y="191"/>
                    </a:lnTo>
                    <a:lnTo>
                      <a:pt x="133" y="192"/>
                    </a:lnTo>
                    <a:lnTo>
                      <a:pt x="135" y="191"/>
                    </a:lnTo>
                    <a:lnTo>
                      <a:pt x="135" y="192"/>
                    </a:lnTo>
                    <a:lnTo>
                      <a:pt x="135" y="194"/>
                    </a:lnTo>
                    <a:lnTo>
                      <a:pt x="135" y="196"/>
                    </a:lnTo>
                    <a:lnTo>
                      <a:pt x="133" y="196"/>
                    </a:lnTo>
                    <a:lnTo>
                      <a:pt x="133" y="197"/>
                    </a:lnTo>
                    <a:lnTo>
                      <a:pt x="131" y="197"/>
                    </a:lnTo>
                    <a:lnTo>
                      <a:pt x="130" y="197"/>
                    </a:lnTo>
                    <a:lnTo>
                      <a:pt x="130" y="199"/>
                    </a:lnTo>
                    <a:lnTo>
                      <a:pt x="128" y="199"/>
                    </a:lnTo>
                    <a:lnTo>
                      <a:pt x="128" y="197"/>
                    </a:lnTo>
                    <a:lnTo>
                      <a:pt x="128" y="199"/>
                    </a:lnTo>
                    <a:lnTo>
                      <a:pt x="128" y="201"/>
                    </a:lnTo>
                    <a:lnTo>
                      <a:pt x="126" y="199"/>
                    </a:lnTo>
                    <a:lnTo>
                      <a:pt x="126" y="201"/>
                    </a:lnTo>
                    <a:lnTo>
                      <a:pt x="125" y="201"/>
                    </a:lnTo>
                    <a:lnTo>
                      <a:pt x="123" y="201"/>
                    </a:lnTo>
                    <a:lnTo>
                      <a:pt x="123" y="203"/>
                    </a:lnTo>
                    <a:lnTo>
                      <a:pt x="123" y="204"/>
                    </a:lnTo>
                    <a:lnTo>
                      <a:pt x="123" y="206"/>
                    </a:lnTo>
                    <a:lnTo>
                      <a:pt x="121" y="206"/>
                    </a:lnTo>
                    <a:lnTo>
                      <a:pt x="119" y="206"/>
                    </a:lnTo>
                    <a:lnTo>
                      <a:pt x="119" y="208"/>
                    </a:lnTo>
                    <a:lnTo>
                      <a:pt x="118" y="208"/>
                    </a:lnTo>
                    <a:lnTo>
                      <a:pt x="118" y="209"/>
                    </a:lnTo>
                    <a:lnTo>
                      <a:pt x="119" y="209"/>
                    </a:lnTo>
                    <a:lnTo>
                      <a:pt x="119" y="208"/>
                    </a:lnTo>
                    <a:lnTo>
                      <a:pt x="121" y="209"/>
                    </a:lnTo>
                    <a:lnTo>
                      <a:pt x="119" y="209"/>
                    </a:lnTo>
                    <a:lnTo>
                      <a:pt x="119" y="211"/>
                    </a:lnTo>
                    <a:lnTo>
                      <a:pt x="118" y="211"/>
                    </a:lnTo>
                    <a:lnTo>
                      <a:pt x="119" y="213"/>
                    </a:lnTo>
                    <a:lnTo>
                      <a:pt x="118" y="213"/>
                    </a:lnTo>
                    <a:lnTo>
                      <a:pt x="118" y="214"/>
                    </a:lnTo>
                    <a:lnTo>
                      <a:pt x="118" y="216"/>
                    </a:lnTo>
                    <a:lnTo>
                      <a:pt x="119" y="216"/>
                    </a:lnTo>
                    <a:lnTo>
                      <a:pt x="118" y="218"/>
                    </a:lnTo>
                    <a:lnTo>
                      <a:pt x="119" y="218"/>
                    </a:lnTo>
                    <a:lnTo>
                      <a:pt x="118" y="218"/>
                    </a:lnTo>
                    <a:lnTo>
                      <a:pt x="118" y="220"/>
                    </a:lnTo>
                    <a:lnTo>
                      <a:pt x="119" y="220"/>
                    </a:lnTo>
                    <a:lnTo>
                      <a:pt x="118" y="220"/>
                    </a:lnTo>
                    <a:lnTo>
                      <a:pt x="118" y="221"/>
                    </a:lnTo>
                    <a:lnTo>
                      <a:pt x="118" y="223"/>
                    </a:lnTo>
                    <a:lnTo>
                      <a:pt x="118" y="225"/>
                    </a:lnTo>
                    <a:lnTo>
                      <a:pt x="118" y="226"/>
                    </a:lnTo>
                    <a:lnTo>
                      <a:pt x="118" y="228"/>
                    </a:lnTo>
                    <a:lnTo>
                      <a:pt x="116" y="228"/>
                    </a:lnTo>
                    <a:lnTo>
                      <a:pt x="114" y="228"/>
                    </a:lnTo>
                    <a:lnTo>
                      <a:pt x="113" y="228"/>
                    </a:lnTo>
                    <a:lnTo>
                      <a:pt x="111" y="228"/>
                    </a:lnTo>
                    <a:lnTo>
                      <a:pt x="109" y="228"/>
                    </a:lnTo>
                    <a:lnTo>
                      <a:pt x="108" y="228"/>
                    </a:lnTo>
                    <a:lnTo>
                      <a:pt x="108" y="230"/>
                    </a:lnTo>
                    <a:lnTo>
                      <a:pt x="108" y="228"/>
                    </a:lnTo>
                    <a:lnTo>
                      <a:pt x="108" y="230"/>
                    </a:lnTo>
                    <a:lnTo>
                      <a:pt x="108" y="231"/>
                    </a:lnTo>
                    <a:lnTo>
                      <a:pt x="106" y="231"/>
                    </a:lnTo>
                    <a:lnTo>
                      <a:pt x="106" y="233"/>
                    </a:lnTo>
                    <a:lnTo>
                      <a:pt x="104" y="233"/>
                    </a:lnTo>
                    <a:lnTo>
                      <a:pt x="104" y="235"/>
                    </a:lnTo>
                    <a:lnTo>
                      <a:pt x="104" y="237"/>
                    </a:lnTo>
                    <a:lnTo>
                      <a:pt x="102" y="237"/>
                    </a:lnTo>
                    <a:lnTo>
                      <a:pt x="102" y="238"/>
                    </a:lnTo>
                    <a:lnTo>
                      <a:pt x="102" y="240"/>
                    </a:lnTo>
                    <a:lnTo>
                      <a:pt x="101" y="238"/>
                    </a:lnTo>
                    <a:lnTo>
                      <a:pt x="101" y="240"/>
                    </a:lnTo>
                    <a:lnTo>
                      <a:pt x="99" y="240"/>
                    </a:lnTo>
                    <a:lnTo>
                      <a:pt x="97" y="240"/>
                    </a:lnTo>
                    <a:lnTo>
                      <a:pt x="99" y="240"/>
                    </a:lnTo>
                    <a:lnTo>
                      <a:pt x="97" y="242"/>
                    </a:lnTo>
                    <a:lnTo>
                      <a:pt x="99" y="242"/>
                    </a:lnTo>
                    <a:lnTo>
                      <a:pt x="99" y="243"/>
                    </a:lnTo>
                    <a:lnTo>
                      <a:pt x="99" y="245"/>
                    </a:lnTo>
                    <a:lnTo>
                      <a:pt x="99" y="247"/>
                    </a:lnTo>
                    <a:lnTo>
                      <a:pt x="97" y="245"/>
                    </a:lnTo>
                    <a:lnTo>
                      <a:pt x="97" y="247"/>
                    </a:lnTo>
                    <a:lnTo>
                      <a:pt x="97" y="245"/>
                    </a:lnTo>
                    <a:lnTo>
                      <a:pt x="96" y="245"/>
                    </a:lnTo>
                    <a:lnTo>
                      <a:pt x="96" y="247"/>
                    </a:lnTo>
                    <a:lnTo>
                      <a:pt x="96" y="245"/>
                    </a:lnTo>
                    <a:lnTo>
                      <a:pt x="94" y="245"/>
                    </a:lnTo>
                    <a:lnTo>
                      <a:pt x="92" y="245"/>
                    </a:lnTo>
                    <a:lnTo>
                      <a:pt x="91" y="245"/>
                    </a:lnTo>
                    <a:lnTo>
                      <a:pt x="91" y="247"/>
                    </a:lnTo>
                    <a:lnTo>
                      <a:pt x="91" y="248"/>
                    </a:lnTo>
                    <a:lnTo>
                      <a:pt x="89" y="248"/>
                    </a:lnTo>
                    <a:lnTo>
                      <a:pt x="87" y="248"/>
                    </a:lnTo>
                    <a:lnTo>
                      <a:pt x="85" y="248"/>
                    </a:lnTo>
                    <a:lnTo>
                      <a:pt x="85" y="247"/>
                    </a:lnTo>
                    <a:lnTo>
                      <a:pt x="84" y="247"/>
                    </a:lnTo>
                    <a:lnTo>
                      <a:pt x="85" y="247"/>
                    </a:lnTo>
                    <a:lnTo>
                      <a:pt x="85" y="245"/>
                    </a:lnTo>
                    <a:lnTo>
                      <a:pt x="84" y="245"/>
                    </a:lnTo>
                    <a:lnTo>
                      <a:pt x="82" y="245"/>
                    </a:lnTo>
                    <a:lnTo>
                      <a:pt x="82" y="243"/>
                    </a:lnTo>
                    <a:lnTo>
                      <a:pt x="80" y="243"/>
                    </a:lnTo>
                    <a:lnTo>
                      <a:pt x="79" y="243"/>
                    </a:lnTo>
                    <a:lnTo>
                      <a:pt x="77" y="243"/>
                    </a:lnTo>
                    <a:lnTo>
                      <a:pt x="75" y="243"/>
                    </a:lnTo>
                    <a:lnTo>
                      <a:pt x="75" y="242"/>
                    </a:lnTo>
                    <a:lnTo>
                      <a:pt x="74" y="242"/>
                    </a:lnTo>
                    <a:lnTo>
                      <a:pt x="72" y="242"/>
                    </a:lnTo>
                    <a:lnTo>
                      <a:pt x="72" y="240"/>
                    </a:lnTo>
                    <a:lnTo>
                      <a:pt x="70" y="240"/>
                    </a:lnTo>
                    <a:lnTo>
                      <a:pt x="70" y="238"/>
                    </a:lnTo>
                    <a:lnTo>
                      <a:pt x="68" y="238"/>
                    </a:lnTo>
                    <a:lnTo>
                      <a:pt x="68" y="237"/>
                    </a:lnTo>
                    <a:lnTo>
                      <a:pt x="67" y="237"/>
                    </a:lnTo>
                    <a:lnTo>
                      <a:pt x="67" y="235"/>
                    </a:lnTo>
                    <a:lnTo>
                      <a:pt x="65" y="235"/>
                    </a:lnTo>
                    <a:lnTo>
                      <a:pt x="65" y="233"/>
                    </a:lnTo>
                    <a:lnTo>
                      <a:pt x="65" y="231"/>
                    </a:lnTo>
                    <a:lnTo>
                      <a:pt x="65" y="233"/>
                    </a:lnTo>
                    <a:lnTo>
                      <a:pt x="63" y="231"/>
                    </a:lnTo>
                    <a:lnTo>
                      <a:pt x="63" y="230"/>
                    </a:lnTo>
                    <a:lnTo>
                      <a:pt x="62" y="230"/>
                    </a:lnTo>
                    <a:lnTo>
                      <a:pt x="62" y="231"/>
                    </a:lnTo>
                    <a:lnTo>
                      <a:pt x="60" y="231"/>
                    </a:lnTo>
                    <a:lnTo>
                      <a:pt x="60" y="230"/>
                    </a:lnTo>
                    <a:lnTo>
                      <a:pt x="58" y="230"/>
                    </a:lnTo>
                    <a:lnTo>
                      <a:pt x="58" y="228"/>
                    </a:lnTo>
                    <a:lnTo>
                      <a:pt x="60" y="228"/>
                    </a:lnTo>
                    <a:lnTo>
                      <a:pt x="60" y="226"/>
                    </a:lnTo>
                    <a:lnTo>
                      <a:pt x="58" y="226"/>
                    </a:lnTo>
                    <a:lnTo>
                      <a:pt x="57" y="226"/>
                    </a:lnTo>
                    <a:lnTo>
                      <a:pt x="57" y="225"/>
                    </a:lnTo>
                    <a:lnTo>
                      <a:pt x="57" y="223"/>
                    </a:lnTo>
                    <a:lnTo>
                      <a:pt x="57" y="221"/>
                    </a:lnTo>
                    <a:lnTo>
                      <a:pt x="57" y="220"/>
                    </a:lnTo>
                    <a:lnTo>
                      <a:pt x="57" y="218"/>
                    </a:lnTo>
                    <a:lnTo>
                      <a:pt x="57" y="216"/>
                    </a:lnTo>
                    <a:lnTo>
                      <a:pt x="57" y="214"/>
                    </a:lnTo>
                    <a:lnTo>
                      <a:pt x="57" y="213"/>
                    </a:lnTo>
                    <a:lnTo>
                      <a:pt x="57" y="211"/>
                    </a:lnTo>
                    <a:lnTo>
                      <a:pt x="55" y="211"/>
                    </a:lnTo>
                    <a:lnTo>
                      <a:pt x="53" y="211"/>
                    </a:lnTo>
                    <a:lnTo>
                      <a:pt x="53" y="209"/>
                    </a:lnTo>
                    <a:lnTo>
                      <a:pt x="53" y="211"/>
                    </a:lnTo>
                    <a:lnTo>
                      <a:pt x="53" y="209"/>
                    </a:lnTo>
                    <a:lnTo>
                      <a:pt x="51" y="209"/>
                    </a:lnTo>
                    <a:lnTo>
                      <a:pt x="51" y="208"/>
                    </a:lnTo>
                    <a:lnTo>
                      <a:pt x="51" y="206"/>
                    </a:lnTo>
                    <a:lnTo>
                      <a:pt x="51" y="204"/>
                    </a:lnTo>
                    <a:lnTo>
                      <a:pt x="50" y="204"/>
                    </a:lnTo>
                    <a:lnTo>
                      <a:pt x="50" y="203"/>
                    </a:lnTo>
                    <a:lnTo>
                      <a:pt x="50" y="201"/>
                    </a:lnTo>
                    <a:lnTo>
                      <a:pt x="48" y="201"/>
                    </a:lnTo>
                    <a:lnTo>
                      <a:pt x="50" y="201"/>
                    </a:lnTo>
                    <a:lnTo>
                      <a:pt x="48" y="199"/>
                    </a:lnTo>
                    <a:lnTo>
                      <a:pt x="48" y="197"/>
                    </a:lnTo>
                    <a:lnTo>
                      <a:pt x="48" y="196"/>
                    </a:lnTo>
                    <a:lnTo>
                      <a:pt x="48" y="194"/>
                    </a:lnTo>
                    <a:lnTo>
                      <a:pt x="48" y="192"/>
                    </a:lnTo>
                    <a:lnTo>
                      <a:pt x="48" y="191"/>
                    </a:lnTo>
                    <a:lnTo>
                      <a:pt x="48" y="189"/>
                    </a:lnTo>
                    <a:lnTo>
                      <a:pt x="50" y="189"/>
                    </a:lnTo>
                    <a:lnTo>
                      <a:pt x="50" y="187"/>
                    </a:lnTo>
                    <a:lnTo>
                      <a:pt x="50" y="186"/>
                    </a:lnTo>
                    <a:lnTo>
                      <a:pt x="50" y="184"/>
                    </a:lnTo>
                    <a:lnTo>
                      <a:pt x="51" y="184"/>
                    </a:lnTo>
                    <a:lnTo>
                      <a:pt x="50" y="184"/>
                    </a:lnTo>
                    <a:lnTo>
                      <a:pt x="51" y="182"/>
                    </a:lnTo>
                    <a:lnTo>
                      <a:pt x="50" y="182"/>
                    </a:lnTo>
                    <a:lnTo>
                      <a:pt x="51" y="182"/>
                    </a:lnTo>
                    <a:lnTo>
                      <a:pt x="51" y="180"/>
                    </a:lnTo>
                    <a:lnTo>
                      <a:pt x="51" y="179"/>
                    </a:lnTo>
                    <a:lnTo>
                      <a:pt x="53" y="179"/>
                    </a:lnTo>
                    <a:lnTo>
                      <a:pt x="53" y="177"/>
                    </a:lnTo>
                    <a:lnTo>
                      <a:pt x="53" y="175"/>
                    </a:lnTo>
                    <a:lnTo>
                      <a:pt x="55" y="175"/>
                    </a:lnTo>
                    <a:lnTo>
                      <a:pt x="55" y="174"/>
                    </a:lnTo>
                    <a:lnTo>
                      <a:pt x="53" y="174"/>
                    </a:lnTo>
                    <a:lnTo>
                      <a:pt x="55" y="174"/>
                    </a:lnTo>
                    <a:lnTo>
                      <a:pt x="53" y="174"/>
                    </a:lnTo>
                    <a:lnTo>
                      <a:pt x="53" y="172"/>
                    </a:lnTo>
                    <a:lnTo>
                      <a:pt x="55" y="172"/>
                    </a:lnTo>
                    <a:lnTo>
                      <a:pt x="53" y="172"/>
                    </a:lnTo>
                    <a:lnTo>
                      <a:pt x="55" y="170"/>
                    </a:lnTo>
                    <a:lnTo>
                      <a:pt x="53" y="170"/>
                    </a:lnTo>
                    <a:lnTo>
                      <a:pt x="53" y="169"/>
                    </a:lnTo>
                    <a:lnTo>
                      <a:pt x="51" y="169"/>
                    </a:lnTo>
                    <a:lnTo>
                      <a:pt x="53" y="169"/>
                    </a:lnTo>
                    <a:lnTo>
                      <a:pt x="51" y="169"/>
                    </a:lnTo>
                    <a:lnTo>
                      <a:pt x="53" y="169"/>
                    </a:lnTo>
                    <a:lnTo>
                      <a:pt x="53" y="167"/>
                    </a:lnTo>
                    <a:lnTo>
                      <a:pt x="55" y="167"/>
                    </a:lnTo>
                    <a:lnTo>
                      <a:pt x="57" y="165"/>
                    </a:lnTo>
                    <a:lnTo>
                      <a:pt x="58" y="163"/>
                    </a:lnTo>
                    <a:lnTo>
                      <a:pt x="58" y="162"/>
                    </a:lnTo>
                    <a:lnTo>
                      <a:pt x="60" y="162"/>
                    </a:lnTo>
                    <a:lnTo>
                      <a:pt x="60" y="160"/>
                    </a:lnTo>
                    <a:lnTo>
                      <a:pt x="60" y="162"/>
                    </a:lnTo>
                    <a:lnTo>
                      <a:pt x="60" y="160"/>
                    </a:lnTo>
                    <a:lnTo>
                      <a:pt x="62" y="160"/>
                    </a:lnTo>
                    <a:lnTo>
                      <a:pt x="62" y="158"/>
                    </a:lnTo>
                    <a:lnTo>
                      <a:pt x="62" y="157"/>
                    </a:lnTo>
                    <a:lnTo>
                      <a:pt x="63" y="157"/>
                    </a:lnTo>
                    <a:lnTo>
                      <a:pt x="63" y="155"/>
                    </a:lnTo>
                    <a:lnTo>
                      <a:pt x="62" y="155"/>
                    </a:lnTo>
                    <a:lnTo>
                      <a:pt x="62" y="153"/>
                    </a:lnTo>
                    <a:lnTo>
                      <a:pt x="60" y="152"/>
                    </a:lnTo>
                    <a:lnTo>
                      <a:pt x="60" y="150"/>
                    </a:lnTo>
                    <a:lnTo>
                      <a:pt x="60" y="148"/>
                    </a:lnTo>
                    <a:lnTo>
                      <a:pt x="58" y="148"/>
                    </a:lnTo>
                    <a:lnTo>
                      <a:pt x="57" y="148"/>
                    </a:lnTo>
                    <a:lnTo>
                      <a:pt x="57" y="146"/>
                    </a:lnTo>
                    <a:lnTo>
                      <a:pt x="57" y="145"/>
                    </a:lnTo>
                    <a:lnTo>
                      <a:pt x="58" y="145"/>
                    </a:lnTo>
                    <a:lnTo>
                      <a:pt x="57" y="145"/>
                    </a:lnTo>
                    <a:lnTo>
                      <a:pt x="57" y="143"/>
                    </a:lnTo>
                    <a:lnTo>
                      <a:pt x="58" y="143"/>
                    </a:lnTo>
                    <a:lnTo>
                      <a:pt x="58" y="141"/>
                    </a:lnTo>
                    <a:lnTo>
                      <a:pt x="57" y="141"/>
                    </a:lnTo>
                    <a:lnTo>
                      <a:pt x="57" y="140"/>
                    </a:lnTo>
                    <a:lnTo>
                      <a:pt x="55" y="138"/>
                    </a:lnTo>
                    <a:lnTo>
                      <a:pt x="53" y="138"/>
                    </a:lnTo>
                    <a:lnTo>
                      <a:pt x="51" y="138"/>
                    </a:lnTo>
                    <a:lnTo>
                      <a:pt x="53" y="138"/>
                    </a:lnTo>
                    <a:lnTo>
                      <a:pt x="51" y="138"/>
                    </a:lnTo>
                    <a:lnTo>
                      <a:pt x="50" y="138"/>
                    </a:lnTo>
                    <a:lnTo>
                      <a:pt x="50" y="136"/>
                    </a:lnTo>
                    <a:lnTo>
                      <a:pt x="48" y="136"/>
                    </a:lnTo>
                    <a:lnTo>
                      <a:pt x="48" y="138"/>
                    </a:lnTo>
                    <a:lnTo>
                      <a:pt x="48" y="136"/>
                    </a:lnTo>
                    <a:lnTo>
                      <a:pt x="46" y="138"/>
                    </a:lnTo>
                    <a:lnTo>
                      <a:pt x="46" y="136"/>
                    </a:lnTo>
                    <a:lnTo>
                      <a:pt x="45" y="136"/>
                    </a:lnTo>
                    <a:lnTo>
                      <a:pt x="46" y="136"/>
                    </a:lnTo>
                    <a:lnTo>
                      <a:pt x="45" y="136"/>
                    </a:lnTo>
                    <a:lnTo>
                      <a:pt x="43" y="136"/>
                    </a:lnTo>
                    <a:lnTo>
                      <a:pt x="43" y="135"/>
                    </a:lnTo>
                    <a:lnTo>
                      <a:pt x="43" y="133"/>
                    </a:lnTo>
                    <a:lnTo>
                      <a:pt x="45" y="133"/>
                    </a:lnTo>
                    <a:lnTo>
                      <a:pt x="45" y="131"/>
                    </a:lnTo>
                    <a:lnTo>
                      <a:pt x="46" y="131"/>
                    </a:lnTo>
                    <a:lnTo>
                      <a:pt x="46" y="129"/>
                    </a:lnTo>
                    <a:lnTo>
                      <a:pt x="46" y="128"/>
                    </a:lnTo>
                    <a:lnTo>
                      <a:pt x="46" y="126"/>
                    </a:lnTo>
                    <a:lnTo>
                      <a:pt x="48" y="124"/>
                    </a:lnTo>
                    <a:lnTo>
                      <a:pt x="48" y="123"/>
                    </a:lnTo>
                    <a:lnTo>
                      <a:pt x="48" y="121"/>
                    </a:lnTo>
                    <a:lnTo>
                      <a:pt x="48" y="119"/>
                    </a:lnTo>
                    <a:lnTo>
                      <a:pt x="48" y="117"/>
                    </a:lnTo>
                    <a:lnTo>
                      <a:pt x="46" y="117"/>
                    </a:lnTo>
                    <a:lnTo>
                      <a:pt x="46" y="116"/>
                    </a:lnTo>
                    <a:lnTo>
                      <a:pt x="45" y="116"/>
                    </a:lnTo>
                    <a:lnTo>
                      <a:pt x="45" y="114"/>
                    </a:lnTo>
                    <a:lnTo>
                      <a:pt x="45" y="112"/>
                    </a:lnTo>
                    <a:lnTo>
                      <a:pt x="43" y="112"/>
                    </a:lnTo>
                    <a:lnTo>
                      <a:pt x="43" y="111"/>
                    </a:lnTo>
                    <a:lnTo>
                      <a:pt x="43" y="112"/>
                    </a:lnTo>
                    <a:lnTo>
                      <a:pt x="41" y="112"/>
                    </a:lnTo>
                    <a:lnTo>
                      <a:pt x="41" y="111"/>
                    </a:lnTo>
                    <a:lnTo>
                      <a:pt x="40" y="111"/>
                    </a:lnTo>
                    <a:lnTo>
                      <a:pt x="38" y="112"/>
                    </a:lnTo>
                    <a:lnTo>
                      <a:pt x="36" y="112"/>
                    </a:lnTo>
                    <a:lnTo>
                      <a:pt x="34" y="112"/>
                    </a:lnTo>
                    <a:lnTo>
                      <a:pt x="33" y="112"/>
                    </a:lnTo>
                    <a:lnTo>
                      <a:pt x="33" y="114"/>
                    </a:lnTo>
                    <a:lnTo>
                      <a:pt x="33" y="112"/>
                    </a:lnTo>
                    <a:lnTo>
                      <a:pt x="31" y="112"/>
                    </a:lnTo>
                    <a:lnTo>
                      <a:pt x="29" y="112"/>
                    </a:lnTo>
                    <a:lnTo>
                      <a:pt x="28" y="112"/>
                    </a:lnTo>
                    <a:lnTo>
                      <a:pt x="26" y="112"/>
                    </a:lnTo>
                    <a:lnTo>
                      <a:pt x="24" y="112"/>
                    </a:lnTo>
                    <a:lnTo>
                      <a:pt x="23" y="112"/>
                    </a:lnTo>
                    <a:lnTo>
                      <a:pt x="21" y="111"/>
                    </a:lnTo>
                    <a:lnTo>
                      <a:pt x="19" y="109"/>
                    </a:lnTo>
                    <a:lnTo>
                      <a:pt x="12" y="102"/>
                    </a:lnTo>
                    <a:lnTo>
                      <a:pt x="11" y="97"/>
                    </a:lnTo>
                    <a:lnTo>
                      <a:pt x="7" y="95"/>
                    </a:lnTo>
                    <a:lnTo>
                      <a:pt x="2" y="90"/>
                    </a:lnTo>
                    <a:lnTo>
                      <a:pt x="0" y="89"/>
                    </a:lnTo>
                    <a:lnTo>
                      <a:pt x="0" y="87"/>
                    </a:lnTo>
                    <a:lnTo>
                      <a:pt x="2" y="87"/>
                    </a:lnTo>
                    <a:lnTo>
                      <a:pt x="2" y="85"/>
                    </a:lnTo>
                    <a:lnTo>
                      <a:pt x="4" y="85"/>
                    </a:lnTo>
                    <a:lnTo>
                      <a:pt x="4" y="83"/>
                    </a:lnTo>
                    <a:lnTo>
                      <a:pt x="6" y="82"/>
                    </a:lnTo>
                    <a:lnTo>
                      <a:pt x="7" y="82"/>
                    </a:lnTo>
                    <a:lnTo>
                      <a:pt x="7" y="80"/>
                    </a:lnTo>
                    <a:lnTo>
                      <a:pt x="9" y="80"/>
                    </a:lnTo>
                    <a:lnTo>
                      <a:pt x="11" y="78"/>
                    </a:lnTo>
                    <a:lnTo>
                      <a:pt x="9" y="78"/>
                    </a:lnTo>
                    <a:lnTo>
                      <a:pt x="9" y="77"/>
                    </a:lnTo>
                    <a:lnTo>
                      <a:pt x="11" y="77"/>
                    </a:lnTo>
                    <a:lnTo>
                      <a:pt x="9" y="77"/>
                    </a:lnTo>
                    <a:lnTo>
                      <a:pt x="9" y="75"/>
                    </a:lnTo>
                    <a:lnTo>
                      <a:pt x="7" y="75"/>
                    </a:lnTo>
                    <a:lnTo>
                      <a:pt x="9" y="75"/>
                    </a:lnTo>
                    <a:lnTo>
                      <a:pt x="9" y="73"/>
                    </a:lnTo>
                    <a:lnTo>
                      <a:pt x="9" y="72"/>
                    </a:lnTo>
                    <a:lnTo>
                      <a:pt x="9" y="70"/>
                    </a:lnTo>
                    <a:lnTo>
                      <a:pt x="7" y="70"/>
                    </a:lnTo>
                    <a:lnTo>
                      <a:pt x="9" y="68"/>
                    </a:lnTo>
                    <a:lnTo>
                      <a:pt x="7" y="68"/>
                    </a:lnTo>
                    <a:lnTo>
                      <a:pt x="7" y="66"/>
                    </a:lnTo>
                    <a:lnTo>
                      <a:pt x="6" y="66"/>
                    </a:lnTo>
                    <a:lnTo>
                      <a:pt x="7" y="66"/>
                    </a:lnTo>
                    <a:lnTo>
                      <a:pt x="6" y="66"/>
                    </a:lnTo>
                    <a:lnTo>
                      <a:pt x="7" y="66"/>
                    </a:lnTo>
                    <a:lnTo>
                      <a:pt x="7" y="65"/>
                    </a:lnTo>
                    <a:lnTo>
                      <a:pt x="7" y="63"/>
                    </a:lnTo>
                    <a:lnTo>
                      <a:pt x="9" y="63"/>
                    </a:lnTo>
                    <a:lnTo>
                      <a:pt x="9" y="61"/>
                    </a:lnTo>
                    <a:lnTo>
                      <a:pt x="11" y="61"/>
                    </a:lnTo>
                    <a:lnTo>
                      <a:pt x="12" y="61"/>
                    </a:lnTo>
                    <a:lnTo>
                      <a:pt x="14" y="61"/>
                    </a:lnTo>
                    <a:lnTo>
                      <a:pt x="16" y="61"/>
                    </a:lnTo>
                    <a:lnTo>
                      <a:pt x="17" y="60"/>
                    </a:lnTo>
                    <a:lnTo>
                      <a:pt x="16" y="60"/>
                    </a:lnTo>
                    <a:lnTo>
                      <a:pt x="16" y="58"/>
                    </a:lnTo>
                    <a:lnTo>
                      <a:pt x="17" y="58"/>
                    </a:lnTo>
                    <a:lnTo>
                      <a:pt x="17" y="60"/>
                    </a:lnTo>
                    <a:lnTo>
                      <a:pt x="19" y="60"/>
                    </a:lnTo>
                    <a:lnTo>
                      <a:pt x="21" y="60"/>
                    </a:lnTo>
                    <a:lnTo>
                      <a:pt x="21" y="58"/>
                    </a:lnTo>
                    <a:lnTo>
                      <a:pt x="21" y="60"/>
                    </a:lnTo>
                    <a:lnTo>
                      <a:pt x="23" y="60"/>
                    </a:lnTo>
                    <a:lnTo>
                      <a:pt x="24" y="60"/>
                    </a:lnTo>
                    <a:lnTo>
                      <a:pt x="24" y="58"/>
                    </a:lnTo>
                    <a:lnTo>
                      <a:pt x="26" y="58"/>
                    </a:lnTo>
                    <a:lnTo>
                      <a:pt x="28" y="58"/>
                    </a:lnTo>
                    <a:lnTo>
                      <a:pt x="28" y="56"/>
                    </a:lnTo>
                    <a:lnTo>
                      <a:pt x="29" y="56"/>
                    </a:lnTo>
                    <a:lnTo>
                      <a:pt x="31" y="56"/>
                    </a:lnTo>
                    <a:lnTo>
                      <a:pt x="31" y="55"/>
                    </a:lnTo>
                    <a:lnTo>
                      <a:pt x="33" y="55"/>
                    </a:lnTo>
                    <a:lnTo>
                      <a:pt x="34" y="53"/>
                    </a:lnTo>
                    <a:lnTo>
                      <a:pt x="34" y="55"/>
                    </a:lnTo>
                    <a:lnTo>
                      <a:pt x="34" y="53"/>
                    </a:lnTo>
                    <a:lnTo>
                      <a:pt x="36" y="53"/>
                    </a:lnTo>
                    <a:lnTo>
                      <a:pt x="36" y="51"/>
                    </a:lnTo>
                    <a:lnTo>
                      <a:pt x="36" y="49"/>
                    </a:lnTo>
                    <a:lnTo>
                      <a:pt x="36" y="48"/>
                    </a:lnTo>
                    <a:lnTo>
                      <a:pt x="36" y="46"/>
                    </a:lnTo>
                    <a:lnTo>
                      <a:pt x="34" y="46"/>
                    </a:lnTo>
                    <a:lnTo>
                      <a:pt x="33" y="46"/>
                    </a:lnTo>
                    <a:lnTo>
                      <a:pt x="33" y="44"/>
                    </a:lnTo>
                    <a:lnTo>
                      <a:pt x="33" y="46"/>
                    </a:lnTo>
                    <a:lnTo>
                      <a:pt x="31" y="44"/>
                    </a:lnTo>
                    <a:lnTo>
                      <a:pt x="31" y="46"/>
                    </a:lnTo>
                    <a:lnTo>
                      <a:pt x="29" y="46"/>
                    </a:lnTo>
                    <a:lnTo>
                      <a:pt x="29" y="48"/>
                    </a:lnTo>
                    <a:lnTo>
                      <a:pt x="29" y="46"/>
                    </a:lnTo>
                    <a:lnTo>
                      <a:pt x="28" y="46"/>
                    </a:lnTo>
                    <a:lnTo>
                      <a:pt x="28" y="44"/>
                    </a:lnTo>
                    <a:lnTo>
                      <a:pt x="26" y="44"/>
                    </a:lnTo>
                    <a:lnTo>
                      <a:pt x="26" y="43"/>
                    </a:lnTo>
                    <a:lnTo>
                      <a:pt x="28" y="43"/>
                    </a:lnTo>
                    <a:lnTo>
                      <a:pt x="28" y="41"/>
                    </a:lnTo>
                    <a:lnTo>
                      <a:pt x="28" y="39"/>
                    </a:lnTo>
                    <a:lnTo>
                      <a:pt x="26" y="39"/>
                    </a:lnTo>
                    <a:lnTo>
                      <a:pt x="26" y="38"/>
                    </a:lnTo>
                    <a:lnTo>
                      <a:pt x="26" y="36"/>
                    </a:lnTo>
                    <a:lnTo>
                      <a:pt x="26" y="34"/>
                    </a:lnTo>
                    <a:lnTo>
                      <a:pt x="26" y="32"/>
                    </a:lnTo>
                    <a:lnTo>
                      <a:pt x="26" y="31"/>
                    </a:lnTo>
                    <a:lnTo>
                      <a:pt x="28" y="31"/>
                    </a:lnTo>
                    <a:lnTo>
                      <a:pt x="28" y="29"/>
                    </a:lnTo>
                    <a:lnTo>
                      <a:pt x="28" y="27"/>
                    </a:lnTo>
                    <a:lnTo>
                      <a:pt x="29" y="26"/>
                    </a:lnTo>
                    <a:lnTo>
                      <a:pt x="29" y="24"/>
                    </a:lnTo>
                    <a:lnTo>
                      <a:pt x="31" y="24"/>
                    </a:lnTo>
                    <a:lnTo>
                      <a:pt x="33" y="24"/>
                    </a:lnTo>
                    <a:lnTo>
                      <a:pt x="34" y="24"/>
                    </a:lnTo>
                    <a:lnTo>
                      <a:pt x="36" y="24"/>
                    </a:lnTo>
                    <a:lnTo>
                      <a:pt x="36" y="22"/>
                    </a:lnTo>
                    <a:lnTo>
                      <a:pt x="38" y="22"/>
                    </a:lnTo>
                    <a:lnTo>
                      <a:pt x="40" y="21"/>
                    </a:lnTo>
                    <a:lnTo>
                      <a:pt x="40" y="19"/>
                    </a:lnTo>
                    <a:lnTo>
                      <a:pt x="41" y="19"/>
                    </a:lnTo>
                    <a:lnTo>
                      <a:pt x="43" y="19"/>
                    </a:lnTo>
                    <a:lnTo>
                      <a:pt x="43" y="17"/>
                    </a:lnTo>
                    <a:lnTo>
                      <a:pt x="45" y="17"/>
                    </a:lnTo>
                    <a:lnTo>
                      <a:pt x="46" y="17"/>
                    </a:lnTo>
                    <a:lnTo>
                      <a:pt x="46" y="15"/>
                    </a:lnTo>
                    <a:lnTo>
                      <a:pt x="48" y="15"/>
                    </a:lnTo>
                    <a:lnTo>
                      <a:pt x="48" y="14"/>
                    </a:lnTo>
                    <a:lnTo>
                      <a:pt x="48" y="12"/>
                    </a:lnTo>
                    <a:lnTo>
                      <a:pt x="50" y="10"/>
                    </a:lnTo>
                    <a:lnTo>
                      <a:pt x="53" y="10"/>
                    </a:lnTo>
                    <a:lnTo>
                      <a:pt x="53" y="9"/>
                    </a:lnTo>
                    <a:lnTo>
                      <a:pt x="55" y="9"/>
                    </a:lnTo>
                    <a:lnTo>
                      <a:pt x="53" y="7"/>
                    </a:lnTo>
                    <a:lnTo>
                      <a:pt x="51" y="4"/>
                    </a:lnTo>
                    <a:lnTo>
                      <a:pt x="50" y="2"/>
                    </a:lnTo>
                    <a:lnTo>
                      <a:pt x="48" y="0"/>
                    </a:lnTo>
                    <a:lnTo>
                      <a:pt x="50" y="0"/>
                    </a:lnTo>
                    <a:lnTo>
                      <a:pt x="50" y="2"/>
                    </a:lnTo>
                    <a:lnTo>
                      <a:pt x="51" y="2"/>
                    </a:lnTo>
                    <a:lnTo>
                      <a:pt x="51" y="4"/>
                    </a:lnTo>
                    <a:lnTo>
                      <a:pt x="53" y="5"/>
                    </a:lnTo>
                    <a:lnTo>
                      <a:pt x="55" y="5"/>
                    </a:lnTo>
                    <a:lnTo>
                      <a:pt x="57" y="5"/>
                    </a:lnTo>
                    <a:lnTo>
                      <a:pt x="55" y="5"/>
                    </a:lnTo>
                    <a:lnTo>
                      <a:pt x="55" y="4"/>
                    </a:lnTo>
                    <a:lnTo>
                      <a:pt x="57" y="4"/>
                    </a:lnTo>
                    <a:lnTo>
                      <a:pt x="57" y="5"/>
                    </a:lnTo>
                    <a:lnTo>
                      <a:pt x="58" y="5"/>
                    </a:lnTo>
                    <a:lnTo>
                      <a:pt x="60" y="5"/>
                    </a:lnTo>
                    <a:lnTo>
                      <a:pt x="60" y="7"/>
                    </a:lnTo>
                    <a:lnTo>
                      <a:pt x="62" y="7"/>
                    </a:lnTo>
                    <a:lnTo>
                      <a:pt x="62" y="9"/>
                    </a:lnTo>
                    <a:lnTo>
                      <a:pt x="63" y="9"/>
                    </a:lnTo>
                    <a:lnTo>
                      <a:pt x="65" y="9"/>
                    </a:lnTo>
                    <a:lnTo>
                      <a:pt x="65" y="10"/>
                    </a:lnTo>
                    <a:lnTo>
                      <a:pt x="67" y="10"/>
                    </a:lnTo>
                    <a:lnTo>
                      <a:pt x="68" y="10"/>
                    </a:lnTo>
                    <a:lnTo>
                      <a:pt x="68" y="12"/>
                    </a:lnTo>
                    <a:lnTo>
                      <a:pt x="70" y="12"/>
                    </a:lnTo>
                    <a:lnTo>
                      <a:pt x="72" y="14"/>
                    </a:lnTo>
                    <a:lnTo>
                      <a:pt x="74" y="14"/>
                    </a:lnTo>
                    <a:lnTo>
                      <a:pt x="75" y="15"/>
                    </a:lnTo>
                    <a:lnTo>
                      <a:pt x="77" y="15"/>
                    </a:lnTo>
                    <a:lnTo>
                      <a:pt x="77" y="17"/>
                    </a:lnTo>
                    <a:lnTo>
                      <a:pt x="79" y="17"/>
                    </a:lnTo>
                    <a:lnTo>
                      <a:pt x="79" y="19"/>
                    </a:lnTo>
                    <a:lnTo>
                      <a:pt x="80" y="21"/>
                    </a:lnTo>
                    <a:lnTo>
                      <a:pt x="82" y="21"/>
                    </a:lnTo>
                    <a:lnTo>
                      <a:pt x="82" y="22"/>
                    </a:lnTo>
                    <a:lnTo>
                      <a:pt x="84" y="24"/>
                    </a:lnTo>
                    <a:lnTo>
                      <a:pt x="85" y="26"/>
                    </a:lnTo>
                    <a:lnTo>
                      <a:pt x="87" y="27"/>
                    </a:lnTo>
                    <a:lnTo>
                      <a:pt x="89" y="27"/>
                    </a:lnTo>
                    <a:lnTo>
                      <a:pt x="89" y="29"/>
                    </a:lnTo>
                    <a:lnTo>
                      <a:pt x="89" y="31"/>
                    </a:lnTo>
                    <a:lnTo>
                      <a:pt x="91" y="31"/>
                    </a:lnTo>
                    <a:lnTo>
                      <a:pt x="91" y="32"/>
                    </a:lnTo>
                    <a:lnTo>
                      <a:pt x="91" y="31"/>
                    </a:lnTo>
                    <a:lnTo>
                      <a:pt x="92" y="31"/>
                    </a:lnTo>
                    <a:lnTo>
                      <a:pt x="92" y="32"/>
                    </a:lnTo>
                    <a:lnTo>
                      <a:pt x="94" y="32"/>
                    </a:lnTo>
                    <a:lnTo>
                      <a:pt x="94" y="34"/>
                    </a:lnTo>
                    <a:lnTo>
                      <a:pt x="96" y="36"/>
                    </a:lnTo>
                    <a:lnTo>
                      <a:pt x="97" y="38"/>
                    </a:lnTo>
                    <a:lnTo>
                      <a:pt x="97" y="39"/>
                    </a:lnTo>
                    <a:lnTo>
                      <a:pt x="99" y="39"/>
                    </a:lnTo>
                    <a:lnTo>
                      <a:pt x="99" y="41"/>
                    </a:lnTo>
                    <a:lnTo>
                      <a:pt x="99" y="43"/>
                    </a:lnTo>
                    <a:lnTo>
                      <a:pt x="99" y="44"/>
                    </a:lnTo>
                    <a:lnTo>
                      <a:pt x="99" y="46"/>
                    </a:lnTo>
                    <a:lnTo>
                      <a:pt x="99" y="48"/>
                    </a:lnTo>
                    <a:lnTo>
                      <a:pt x="99" y="49"/>
                    </a:lnTo>
                    <a:lnTo>
                      <a:pt x="99" y="51"/>
                    </a:lnTo>
                    <a:lnTo>
                      <a:pt x="99" y="53"/>
                    </a:lnTo>
                    <a:lnTo>
                      <a:pt x="97" y="53"/>
                    </a:lnTo>
                    <a:lnTo>
                      <a:pt x="97" y="55"/>
                    </a:lnTo>
                    <a:lnTo>
                      <a:pt x="96" y="55"/>
                    </a:lnTo>
                    <a:lnTo>
                      <a:pt x="96" y="56"/>
                    </a:lnTo>
                    <a:lnTo>
                      <a:pt x="96" y="58"/>
                    </a:lnTo>
                    <a:lnTo>
                      <a:pt x="96" y="60"/>
                    </a:lnTo>
                    <a:lnTo>
                      <a:pt x="96" y="61"/>
                    </a:lnTo>
                    <a:lnTo>
                      <a:pt x="94" y="61"/>
                    </a:lnTo>
                    <a:lnTo>
                      <a:pt x="94" y="63"/>
                    </a:lnTo>
                    <a:lnTo>
                      <a:pt x="94" y="65"/>
                    </a:lnTo>
                    <a:lnTo>
                      <a:pt x="94" y="66"/>
                    </a:lnTo>
                    <a:lnTo>
                      <a:pt x="94" y="68"/>
                    </a:lnTo>
                    <a:lnTo>
                      <a:pt x="94" y="70"/>
                    </a:lnTo>
                    <a:lnTo>
                      <a:pt x="94" y="72"/>
                    </a:lnTo>
                    <a:lnTo>
                      <a:pt x="92" y="72"/>
                    </a:lnTo>
                    <a:lnTo>
                      <a:pt x="92" y="73"/>
                    </a:lnTo>
                    <a:lnTo>
                      <a:pt x="91" y="73"/>
                    </a:lnTo>
                    <a:lnTo>
                      <a:pt x="92" y="73"/>
                    </a:lnTo>
                    <a:lnTo>
                      <a:pt x="94" y="73"/>
                    </a:lnTo>
                    <a:lnTo>
                      <a:pt x="94" y="72"/>
                    </a:lnTo>
                    <a:lnTo>
                      <a:pt x="94" y="73"/>
                    </a:lnTo>
                    <a:lnTo>
                      <a:pt x="96" y="75"/>
                    </a:lnTo>
                    <a:lnTo>
                      <a:pt x="96" y="73"/>
                    </a:lnTo>
                    <a:lnTo>
                      <a:pt x="96" y="72"/>
                    </a:lnTo>
                    <a:lnTo>
                      <a:pt x="96" y="70"/>
                    </a:lnTo>
                    <a:lnTo>
                      <a:pt x="96" y="68"/>
                    </a:lnTo>
                    <a:lnTo>
                      <a:pt x="96" y="66"/>
                    </a:lnTo>
                    <a:lnTo>
                      <a:pt x="96" y="65"/>
                    </a:lnTo>
                    <a:lnTo>
                      <a:pt x="96" y="63"/>
                    </a:lnTo>
                    <a:lnTo>
                      <a:pt x="97" y="63"/>
                    </a:lnTo>
                    <a:lnTo>
                      <a:pt x="97" y="61"/>
                    </a:lnTo>
                    <a:lnTo>
                      <a:pt x="97" y="60"/>
                    </a:lnTo>
                    <a:lnTo>
                      <a:pt x="99" y="60"/>
                    </a:lnTo>
                    <a:lnTo>
                      <a:pt x="99" y="58"/>
                    </a:lnTo>
                    <a:lnTo>
                      <a:pt x="101" y="58"/>
                    </a:lnTo>
                    <a:lnTo>
                      <a:pt x="101" y="56"/>
                    </a:lnTo>
                    <a:lnTo>
                      <a:pt x="102" y="56"/>
                    </a:lnTo>
                    <a:lnTo>
                      <a:pt x="104" y="56"/>
                    </a:lnTo>
                    <a:lnTo>
                      <a:pt x="106" y="56"/>
                    </a:lnTo>
                    <a:lnTo>
                      <a:pt x="108" y="56"/>
                    </a:lnTo>
                    <a:lnTo>
                      <a:pt x="108" y="58"/>
                    </a:lnTo>
                    <a:lnTo>
                      <a:pt x="109" y="58"/>
                    </a:lnTo>
                    <a:lnTo>
                      <a:pt x="111" y="58"/>
                    </a:lnTo>
                    <a:lnTo>
                      <a:pt x="113" y="58"/>
                    </a:lnTo>
                    <a:lnTo>
                      <a:pt x="114" y="58"/>
                    </a:lnTo>
                    <a:lnTo>
                      <a:pt x="114" y="60"/>
                    </a:lnTo>
                    <a:lnTo>
                      <a:pt x="116" y="60"/>
                    </a:lnTo>
                    <a:lnTo>
                      <a:pt x="116" y="61"/>
                    </a:lnTo>
                    <a:lnTo>
                      <a:pt x="118" y="61"/>
                    </a:lnTo>
                    <a:lnTo>
                      <a:pt x="119" y="61"/>
                    </a:lnTo>
                    <a:lnTo>
                      <a:pt x="119" y="63"/>
                    </a:lnTo>
                    <a:lnTo>
                      <a:pt x="121" y="63"/>
                    </a:lnTo>
                    <a:lnTo>
                      <a:pt x="121" y="65"/>
                    </a:lnTo>
                    <a:lnTo>
                      <a:pt x="123" y="66"/>
                    </a:lnTo>
                    <a:lnTo>
                      <a:pt x="125" y="66"/>
                    </a:lnTo>
                    <a:lnTo>
                      <a:pt x="125" y="68"/>
                    </a:lnTo>
                    <a:lnTo>
                      <a:pt x="126" y="68"/>
                    </a:lnTo>
                    <a:lnTo>
                      <a:pt x="126" y="70"/>
                    </a:lnTo>
                    <a:lnTo>
                      <a:pt x="128" y="70"/>
                    </a:lnTo>
                    <a:lnTo>
                      <a:pt x="128" y="72"/>
                    </a:lnTo>
                    <a:lnTo>
                      <a:pt x="130" y="72"/>
                    </a:lnTo>
                    <a:lnTo>
                      <a:pt x="130" y="73"/>
                    </a:lnTo>
                    <a:lnTo>
                      <a:pt x="130" y="75"/>
                    </a:lnTo>
                    <a:lnTo>
                      <a:pt x="131" y="77"/>
                    </a:lnTo>
                    <a:lnTo>
                      <a:pt x="131" y="75"/>
                    </a:lnTo>
                    <a:lnTo>
                      <a:pt x="133" y="75"/>
                    </a:lnTo>
                    <a:lnTo>
                      <a:pt x="135" y="75"/>
                    </a:lnTo>
                    <a:lnTo>
                      <a:pt x="136" y="75"/>
                    </a:lnTo>
                    <a:lnTo>
                      <a:pt x="136" y="77"/>
                    </a:lnTo>
                    <a:lnTo>
                      <a:pt x="138" y="77"/>
                    </a:lnTo>
                    <a:lnTo>
                      <a:pt x="140" y="78"/>
                    </a:lnTo>
                    <a:lnTo>
                      <a:pt x="142" y="80"/>
                    </a:lnTo>
                    <a:lnTo>
                      <a:pt x="142" y="82"/>
                    </a:lnTo>
                    <a:lnTo>
                      <a:pt x="143" y="82"/>
                    </a:lnTo>
                    <a:lnTo>
                      <a:pt x="143" y="83"/>
                    </a:lnTo>
                    <a:lnTo>
                      <a:pt x="143" y="85"/>
                    </a:lnTo>
                    <a:lnTo>
                      <a:pt x="145" y="87"/>
                    </a:lnTo>
                    <a:lnTo>
                      <a:pt x="143" y="87"/>
                    </a:lnTo>
                    <a:lnTo>
                      <a:pt x="145" y="87"/>
                    </a:lnTo>
                    <a:lnTo>
                      <a:pt x="145" y="89"/>
                    </a:lnTo>
                    <a:lnTo>
                      <a:pt x="145" y="90"/>
                    </a:lnTo>
                    <a:lnTo>
                      <a:pt x="143" y="90"/>
                    </a:lnTo>
                    <a:lnTo>
                      <a:pt x="143" y="92"/>
                    </a:lnTo>
                    <a:lnTo>
                      <a:pt x="143" y="94"/>
                    </a:lnTo>
                    <a:lnTo>
                      <a:pt x="143" y="95"/>
                    </a:lnTo>
                    <a:lnTo>
                      <a:pt x="143" y="97"/>
                    </a:lnTo>
                    <a:close/>
                    <a:moveTo>
                      <a:pt x="96" y="61"/>
                    </a:moveTo>
                    <a:lnTo>
                      <a:pt x="96" y="60"/>
                    </a:lnTo>
                    <a:lnTo>
                      <a:pt x="97" y="58"/>
                    </a:lnTo>
                    <a:lnTo>
                      <a:pt x="97" y="56"/>
                    </a:lnTo>
                    <a:lnTo>
                      <a:pt x="99" y="56"/>
                    </a:lnTo>
                    <a:lnTo>
                      <a:pt x="97" y="58"/>
                    </a:lnTo>
                    <a:lnTo>
                      <a:pt x="97" y="60"/>
                    </a:lnTo>
                    <a:lnTo>
                      <a:pt x="96" y="60"/>
                    </a:lnTo>
                    <a:lnTo>
                      <a:pt x="96" y="61"/>
                    </a:lnTo>
                    <a:close/>
                    <a:moveTo>
                      <a:pt x="97" y="56"/>
                    </a:moveTo>
                    <a:lnTo>
                      <a:pt x="97" y="55"/>
                    </a:lnTo>
                    <a:lnTo>
                      <a:pt x="99" y="55"/>
                    </a:lnTo>
                    <a:lnTo>
                      <a:pt x="99" y="53"/>
                    </a:lnTo>
                    <a:lnTo>
                      <a:pt x="101" y="53"/>
                    </a:lnTo>
                    <a:lnTo>
                      <a:pt x="101" y="51"/>
                    </a:lnTo>
                    <a:lnTo>
                      <a:pt x="101" y="53"/>
                    </a:lnTo>
                    <a:lnTo>
                      <a:pt x="102" y="53"/>
                    </a:lnTo>
                    <a:lnTo>
                      <a:pt x="101" y="53"/>
                    </a:lnTo>
                    <a:lnTo>
                      <a:pt x="99" y="55"/>
                    </a:lnTo>
                    <a:lnTo>
                      <a:pt x="97" y="56"/>
                    </a:lnTo>
                    <a:close/>
                    <a:moveTo>
                      <a:pt x="102" y="53"/>
                    </a:moveTo>
                    <a:lnTo>
                      <a:pt x="104" y="53"/>
                    </a:lnTo>
                    <a:lnTo>
                      <a:pt x="102" y="55"/>
                    </a:lnTo>
                    <a:lnTo>
                      <a:pt x="101" y="55"/>
                    </a:lnTo>
                    <a:lnTo>
                      <a:pt x="101" y="56"/>
                    </a:lnTo>
                    <a:lnTo>
                      <a:pt x="99" y="56"/>
                    </a:lnTo>
                    <a:lnTo>
                      <a:pt x="99" y="55"/>
                    </a:lnTo>
                    <a:lnTo>
                      <a:pt x="101" y="55"/>
                    </a:lnTo>
                    <a:lnTo>
                      <a:pt x="101" y="53"/>
                    </a:lnTo>
                    <a:lnTo>
                      <a:pt x="102" y="53"/>
                    </a:lnTo>
                    <a:close/>
                    <a:moveTo>
                      <a:pt x="96" y="58"/>
                    </a:moveTo>
                    <a:lnTo>
                      <a:pt x="96" y="56"/>
                    </a:lnTo>
                    <a:lnTo>
                      <a:pt x="97" y="55"/>
                    </a:lnTo>
                    <a:lnTo>
                      <a:pt x="99" y="55"/>
                    </a:lnTo>
                    <a:lnTo>
                      <a:pt x="97" y="55"/>
                    </a:lnTo>
                    <a:lnTo>
                      <a:pt x="97" y="56"/>
                    </a:lnTo>
                    <a:lnTo>
                      <a:pt x="96" y="56"/>
                    </a:lnTo>
                    <a:lnTo>
                      <a:pt x="96" y="58"/>
                    </a:lnTo>
                    <a:close/>
                    <a:moveTo>
                      <a:pt x="99" y="49"/>
                    </a:moveTo>
                    <a:lnTo>
                      <a:pt x="99" y="51"/>
                    </a:lnTo>
                    <a:lnTo>
                      <a:pt x="99" y="49"/>
                    </a:lnTo>
                    <a:close/>
                    <a:moveTo>
                      <a:pt x="97" y="60"/>
                    </a:moveTo>
                    <a:lnTo>
                      <a:pt x="97" y="61"/>
                    </a:lnTo>
                    <a:lnTo>
                      <a:pt x="97" y="60"/>
                    </a:lnTo>
                    <a:close/>
                    <a:moveTo>
                      <a:pt x="96" y="56"/>
                    </a:moveTo>
                    <a:lnTo>
                      <a:pt x="97" y="56"/>
                    </a:lnTo>
                    <a:lnTo>
                      <a:pt x="97" y="58"/>
                    </a:lnTo>
                    <a:lnTo>
                      <a:pt x="96" y="58"/>
                    </a:lnTo>
                    <a:lnTo>
                      <a:pt x="96" y="56"/>
                    </a:lnTo>
                    <a:close/>
                    <a:moveTo>
                      <a:pt x="96" y="58"/>
                    </a:moveTo>
                    <a:lnTo>
                      <a:pt x="96" y="60"/>
                    </a:lnTo>
                    <a:lnTo>
                      <a:pt x="96" y="58"/>
                    </a:lnTo>
                    <a:close/>
                    <a:moveTo>
                      <a:pt x="97" y="53"/>
                    </a:moveTo>
                    <a:lnTo>
                      <a:pt x="97" y="55"/>
                    </a:lnTo>
                    <a:lnTo>
                      <a:pt x="97" y="53"/>
                    </a:lnTo>
                    <a:close/>
                    <a:moveTo>
                      <a:pt x="96" y="61"/>
                    </a:moveTo>
                    <a:lnTo>
                      <a:pt x="97" y="61"/>
                    </a:lnTo>
                    <a:lnTo>
                      <a:pt x="96" y="61"/>
                    </a:lnTo>
                    <a:close/>
                    <a:moveTo>
                      <a:pt x="96" y="56"/>
                    </a:moveTo>
                    <a:lnTo>
                      <a:pt x="96" y="58"/>
                    </a:lnTo>
                    <a:lnTo>
                      <a:pt x="96" y="56"/>
                    </a:lnTo>
                    <a:close/>
                    <a:moveTo>
                      <a:pt x="96" y="63"/>
                    </a:moveTo>
                    <a:lnTo>
                      <a:pt x="96" y="65"/>
                    </a:lnTo>
                    <a:lnTo>
                      <a:pt x="96" y="63"/>
                    </a:lnTo>
                    <a:close/>
                    <a:moveTo>
                      <a:pt x="97" y="60"/>
                    </a:moveTo>
                    <a:lnTo>
                      <a:pt x="97" y="61"/>
                    </a:lnTo>
                    <a:lnTo>
                      <a:pt x="97" y="60"/>
                    </a:lnTo>
                    <a:close/>
                    <a:moveTo>
                      <a:pt x="96" y="73"/>
                    </a:moveTo>
                    <a:lnTo>
                      <a:pt x="96" y="75"/>
                    </a:lnTo>
                    <a:lnTo>
                      <a:pt x="96" y="73"/>
                    </a:lnTo>
                    <a:close/>
                    <a:moveTo>
                      <a:pt x="96" y="63"/>
                    </a:moveTo>
                    <a:lnTo>
                      <a:pt x="96" y="65"/>
                    </a:lnTo>
                    <a:lnTo>
                      <a:pt x="96" y="63"/>
                    </a:lnTo>
                    <a:close/>
                    <a:moveTo>
                      <a:pt x="94" y="61"/>
                    </a:moveTo>
                    <a:lnTo>
                      <a:pt x="96" y="61"/>
                    </a:lnTo>
                    <a:lnTo>
                      <a:pt x="96" y="63"/>
                    </a:lnTo>
                    <a:lnTo>
                      <a:pt x="94" y="63"/>
                    </a:lnTo>
                    <a:lnTo>
                      <a:pt x="94" y="61"/>
                    </a:lnTo>
                    <a:close/>
                    <a:moveTo>
                      <a:pt x="96" y="60"/>
                    </a:moveTo>
                    <a:lnTo>
                      <a:pt x="96" y="61"/>
                    </a:lnTo>
                    <a:lnTo>
                      <a:pt x="96" y="60"/>
                    </a:lnTo>
                    <a:close/>
                    <a:moveTo>
                      <a:pt x="96" y="58"/>
                    </a:moveTo>
                    <a:lnTo>
                      <a:pt x="96" y="60"/>
                    </a:lnTo>
                    <a:lnTo>
                      <a:pt x="96" y="58"/>
                    </a:lnTo>
                    <a:close/>
                    <a:moveTo>
                      <a:pt x="94" y="66"/>
                    </a:moveTo>
                    <a:lnTo>
                      <a:pt x="94" y="68"/>
                    </a:lnTo>
                    <a:lnTo>
                      <a:pt x="94" y="66"/>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9" name="Freeform 36">
                <a:extLst>
                  <a:ext uri="{FF2B5EF4-FFF2-40B4-BE49-F238E27FC236}">
                    <a16:creationId xmlns:a16="http://schemas.microsoft.com/office/drawing/2014/main" id="{EFEAD6DC-6A40-04FA-D7ED-5689BFD4B298}"/>
                  </a:ext>
                </a:extLst>
              </p:cNvPr>
              <p:cNvSpPr>
                <a:spLocks/>
              </p:cNvSpPr>
              <p:nvPr/>
            </p:nvSpPr>
            <p:spPr bwMode="auto">
              <a:xfrm>
                <a:off x="5799886" y="2913056"/>
                <a:ext cx="17917" cy="18798"/>
              </a:xfrm>
              <a:custGeom>
                <a:avLst/>
                <a:gdLst>
                  <a:gd name="T0" fmla="*/ 56 w 61"/>
                  <a:gd name="T1" fmla="*/ 49 h 64"/>
                  <a:gd name="T2" fmla="*/ 53 w 61"/>
                  <a:gd name="T3" fmla="*/ 51 h 64"/>
                  <a:gd name="T4" fmla="*/ 49 w 61"/>
                  <a:gd name="T5" fmla="*/ 51 h 64"/>
                  <a:gd name="T6" fmla="*/ 44 w 61"/>
                  <a:gd name="T7" fmla="*/ 51 h 64"/>
                  <a:gd name="T8" fmla="*/ 41 w 61"/>
                  <a:gd name="T9" fmla="*/ 47 h 64"/>
                  <a:gd name="T10" fmla="*/ 38 w 61"/>
                  <a:gd name="T11" fmla="*/ 47 h 64"/>
                  <a:gd name="T12" fmla="*/ 34 w 61"/>
                  <a:gd name="T13" fmla="*/ 47 h 64"/>
                  <a:gd name="T14" fmla="*/ 32 w 61"/>
                  <a:gd name="T15" fmla="*/ 49 h 64"/>
                  <a:gd name="T16" fmla="*/ 31 w 61"/>
                  <a:gd name="T17" fmla="*/ 52 h 64"/>
                  <a:gd name="T18" fmla="*/ 27 w 61"/>
                  <a:gd name="T19" fmla="*/ 57 h 64"/>
                  <a:gd name="T20" fmla="*/ 21 w 61"/>
                  <a:gd name="T21" fmla="*/ 57 h 64"/>
                  <a:gd name="T22" fmla="*/ 19 w 61"/>
                  <a:gd name="T23" fmla="*/ 57 h 64"/>
                  <a:gd name="T24" fmla="*/ 15 w 61"/>
                  <a:gd name="T25" fmla="*/ 59 h 64"/>
                  <a:gd name="T26" fmla="*/ 12 w 61"/>
                  <a:gd name="T27" fmla="*/ 59 h 64"/>
                  <a:gd name="T28" fmla="*/ 12 w 61"/>
                  <a:gd name="T29" fmla="*/ 63 h 64"/>
                  <a:gd name="T30" fmla="*/ 9 w 61"/>
                  <a:gd name="T31" fmla="*/ 64 h 64"/>
                  <a:gd name="T32" fmla="*/ 5 w 61"/>
                  <a:gd name="T33" fmla="*/ 63 h 64"/>
                  <a:gd name="T34" fmla="*/ 2 w 61"/>
                  <a:gd name="T35" fmla="*/ 63 h 64"/>
                  <a:gd name="T36" fmla="*/ 2 w 61"/>
                  <a:gd name="T37" fmla="*/ 59 h 64"/>
                  <a:gd name="T38" fmla="*/ 4 w 61"/>
                  <a:gd name="T39" fmla="*/ 54 h 64"/>
                  <a:gd name="T40" fmla="*/ 7 w 61"/>
                  <a:gd name="T41" fmla="*/ 54 h 64"/>
                  <a:gd name="T42" fmla="*/ 14 w 61"/>
                  <a:gd name="T43" fmla="*/ 54 h 64"/>
                  <a:gd name="T44" fmla="*/ 14 w 61"/>
                  <a:gd name="T45" fmla="*/ 47 h 64"/>
                  <a:gd name="T46" fmla="*/ 14 w 61"/>
                  <a:gd name="T47" fmla="*/ 44 h 64"/>
                  <a:gd name="T48" fmla="*/ 14 w 61"/>
                  <a:gd name="T49" fmla="*/ 42 h 64"/>
                  <a:gd name="T50" fmla="*/ 14 w 61"/>
                  <a:gd name="T51" fmla="*/ 37 h 64"/>
                  <a:gd name="T52" fmla="*/ 15 w 61"/>
                  <a:gd name="T53" fmla="*/ 34 h 64"/>
                  <a:gd name="T54" fmla="*/ 15 w 61"/>
                  <a:gd name="T55" fmla="*/ 34 h 64"/>
                  <a:gd name="T56" fmla="*/ 19 w 61"/>
                  <a:gd name="T57" fmla="*/ 30 h 64"/>
                  <a:gd name="T58" fmla="*/ 22 w 61"/>
                  <a:gd name="T59" fmla="*/ 27 h 64"/>
                  <a:gd name="T60" fmla="*/ 24 w 61"/>
                  <a:gd name="T61" fmla="*/ 23 h 64"/>
                  <a:gd name="T62" fmla="*/ 27 w 61"/>
                  <a:gd name="T63" fmla="*/ 23 h 64"/>
                  <a:gd name="T64" fmla="*/ 31 w 61"/>
                  <a:gd name="T65" fmla="*/ 20 h 64"/>
                  <a:gd name="T66" fmla="*/ 29 w 61"/>
                  <a:gd name="T67" fmla="*/ 17 h 64"/>
                  <a:gd name="T68" fmla="*/ 29 w 61"/>
                  <a:gd name="T69" fmla="*/ 13 h 64"/>
                  <a:gd name="T70" fmla="*/ 24 w 61"/>
                  <a:gd name="T71" fmla="*/ 10 h 64"/>
                  <a:gd name="T72" fmla="*/ 26 w 61"/>
                  <a:gd name="T73" fmla="*/ 3 h 64"/>
                  <a:gd name="T74" fmla="*/ 27 w 61"/>
                  <a:gd name="T75" fmla="*/ 1 h 64"/>
                  <a:gd name="T76" fmla="*/ 31 w 61"/>
                  <a:gd name="T77" fmla="*/ 1 h 64"/>
                  <a:gd name="T78" fmla="*/ 36 w 61"/>
                  <a:gd name="T79" fmla="*/ 1 h 64"/>
                  <a:gd name="T80" fmla="*/ 34 w 61"/>
                  <a:gd name="T81" fmla="*/ 3 h 64"/>
                  <a:gd name="T82" fmla="*/ 34 w 61"/>
                  <a:gd name="T83" fmla="*/ 8 h 64"/>
                  <a:gd name="T84" fmla="*/ 38 w 61"/>
                  <a:gd name="T85" fmla="*/ 8 h 64"/>
                  <a:gd name="T86" fmla="*/ 38 w 61"/>
                  <a:gd name="T87" fmla="*/ 12 h 64"/>
                  <a:gd name="T88" fmla="*/ 38 w 61"/>
                  <a:gd name="T89" fmla="*/ 15 h 64"/>
                  <a:gd name="T90" fmla="*/ 38 w 61"/>
                  <a:gd name="T91" fmla="*/ 18 h 64"/>
                  <a:gd name="T92" fmla="*/ 39 w 61"/>
                  <a:gd name="T93" fmla="*/ 20 h 64"/>
                  <a:gd name="T94" fmla="*/ 41 w 61"/>
                  <a:gd name="T95" fmla="*/ 22 h 64"/>
                  <a:gd name="T96" fmla="*/ 44 w 61"/>
                  <a:gd name="T97" fmla="*/ 27 h 64"/>
                  <a:gd name="T98" fmla="*/ 48 w 61"/>
                  <a:gd name="T99" fmla="*/ 30 h 64"/>
                  <a:gd name="T100" fmla="*/ 48 w 61"/>
                  <a:gd name="T101" fmla="*/ 34 h 64"/>
                  <a:gd name="T102" fmla="*/ 51 w 61"/>
                  <a:gd name="T103" fmla="*/ 39 h 64"/>
                  <a:gd name="T104" fmla="*/ 53 w 61"/>
                  <a:gd name="T105" fmla="*/ 44 h 64"/>
                  <a:gd name="T106" fmla="*/ 56 w 61"/>
                  <a:gd name="T107" fmla="*/ 47 h 64"/>
                  <a:gd name="T108" fmla="*/ 61 w 61"/>
                  <a:gd name="T109" fmla="*/ 4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 h="64">
                    <a:moveTo>
                      <a:pt x="61" y="49"/>
                    </a:moveTo>
                    <a:lnTo>
                      <a:pt x="60" y="51"/>
                    </a:lnTo>
                    <a:lnTo>
                      <a:pt x="58" y="49"/>
                    </a:lnTo>
                    <a:lnTo>
                      <a:pt x="56" y="49"/>
                    </a:lnTo>
                    <a:lnTo>
                      <a:pt x="56" y="51"/>
                    </a:lnTo>
                    <a:lnTo>
                      <a:pt x="55" y="51"/>
                    </a:lnTo>
                    <a:lnTo>
                      <a:pt x="55" y="49"/>
                    </a:lnTo>
                    <a:lnTo>
                      <a:pt x="53" y="51"/>
                    </a:lnTo>
                    <a:lnTo>
                      <a:pt x="53" y="52"/>
                    </a:lnTo>
                    <a:lnTo>
                      <a:pt x="51" y="52"/>
                    </a:lnTo>
                    <a:lnTo>
                      <a:pt x="51" y="51"/>
                    </a:lnTo>
                    <a:lnTo>
                      <a:pt x="49" y="51"/>
                    </a:lnTo>
                    <a:lnTo>
                      <a:pt x="48" y="51"/>
                    </a:lnTo>
                    <a:lnTo>
                      <a:pt x="48" y="49"/>
                    </a:lnTo>
                    <a:lnTo>
                      <a:pt x="46" y="51"/>
                    </a:lnTo>
                    <a:lnTo>
                      <a:pt x="44" y="51"/>
                    </a:lnTo>
                    <a:lnTo>
                      <a:pt x="44" y="49"/>
                    </a:lnTo>
                    <a:lnTo>
                      <a:pt x="43" y="49"/>
                    </a:lnTo>
                    <a:lnTo>
                      <a:pt x="43" y="47"/>
                    </a:lnTo>
                    <a:lnTo>
                      <a:pt x="41" y="47"/>
                    </a:lnTo>
                    <a:lnTo>
                      <a:pt x="41" y="46"/>
                    </a:lnTo>
                    <a:lnTo>
                      <a:pt x="41" y="47"/>
                    </a:lnTo>
                    <a:lnTo>
                      <a:pt x="39" y="47"/>
                    </a:lnTo>
                    <a:lnTo>
                      <a:pt x="38" y="47"/>
                    </a:lnTo>
                    <a:lnTo>
                      <a:pt x="38" y="49"/>
                    </a:lnTo>
                    <a:lnTo>
                      <a:pt x="36" y="49"/>
                    </a:lnTo>
                    <a:lnTo>
                      <a:pt x="36" y="47"/>
                    </a:lnTo>
                    <a:lnTo>
                      <a:pt x="34" y="47"/>
                    </a:lnTo>
                    <a:lnTo>
                      <a:pt x="32" y="47"/>
                    </a:lnTo>
                    <a:lnTo>
                      <a:pt x="32" y="49"/>
                    </a:lnTo>
                    <a:lnTo>
                      <a:pt x="32" y="51"/>
                    </a:lnTo>
                    <a:lnTo>
                      <a:pt x="32" y="49"/>
                    </a:lnTo>
                    <a:lnTo>
                      <a:pt x="31" y="51"/>
                    </a:lnTo>
                    <a:lnTo>
                      <a:pt x="31" y="52"/>
                    </a:lnTo>
                    <a:lnTo>
                      <a:pt x="29" y="52"/>
                    </a:lnTo>
                    <a:lnTo>
                      <a:pt x="31" y="52"/>
                    </a:lnTo>
                    <a:lnTo>
                      <a:pt x="29" y="54"/>
                    </a:lnTo>
                    <a:lnTo>
                      <a:pt x="27" y="54"/>
                    </a:lnTo>
                    <a:lnTo>
                      <a:pt x="27" y="56"/>
                    </a:lnTo>
                    <a:lnTo>
                      <a:pt x="27" y="57"/>
                    </a:lnTo>
                    <a:lnTo>
                      <a:pt x="26" y="57"/>
                    </a:lnTo>
                    <a:lnTo>
                      <a:pt x="24" y="57"/>
                    </a:lnTo>
                    <a:lnTo>
                      <a:pt x="22" y="57"/>
                    </a:lnTo>
                    <a:lnTo>
                      <a:pt x="21" y="57"/>
                    </a:lnTo>
                    <a:lnTo>
                      <a:pt x="21" y="56"/>
                    </a:lnTo>
                    <a:lnTo>
                      <a:pt x="21" y="57"/>
                    </a:lnTo>
                    <a:lnTo>
                      <a:pt x="21" y="56"/>
                    </a:lnTo>
                    <a:lnTo>
                      <a:pt x="19" y="57"/>
                    </a:lnTo>
                    <a:lnTo>
                      <a:pt x="19" y="56"/>
                    </a:lnTo>
                    <a:lnTo>
                      <a:pt x="19" y="57"/>
                    </a:lnTo>
                    <a:lnTo>
                      <a:pt x="17" y="57"/>
                    </a:lnTo>
                    <a:lnTo>
                      <a:pt x="15" y="59"/>
                    </a:lnTo>
                    <a:lnTo>
                      <a:pt x="15" y="57"/>
                    </a:lnTo>
                    <a:lnTo>
                      <a:pt x="15" y="59"/>
                    </a:lnTo>
                    <a:lnTo>
                      <a:pt x="14" y="59"/>
                    </a:lnTo>
                    <a:lnTo>
                      <a:pt x="12" y="59"/>
                    </a:lnTo>
                    <a:lnTo>
                      <a:pt x="10" y="59"/>
                    </a:lnTo>
                    <a:lnTo>
                      <a:pt x="12" y="59"/>
                    </a:lnTo>
                    <a:lnTo>
                      <a:pt x="12" y="61"/>
                    </a:lnTo>
                    <a:lnTo>
                      <a:pt x="12" y="63"/>
                    </a:lnTo>
                    <a:lnTo>
                      <a:pt x="10" y="63"/>
                    </a:lnTo>
                    <a:lnTo>
                      <a:pt x="10" y="64"/>
                    </a:lnTo>
                    <a:lnTo>
                      <a:pt x="9" y="63"/>
                    </a:lnTo>
                    <a:lnTo>
                      <a:pt x="9" y="64"/>
                    </a:lnTo>
                    <a:lnTo>
                      <a:pt x="7" y="64"/>
                    </a:lnTo>
                    <a:lnTo>
                      <a:pt x="5" y="64"/>
                    </a:lnTo>
                    <a:lnTo>
                      <a:pt x="7" y="64"/>
                    </a:lnTo>
                    <a:lnTo>
                      <a:pt x="5" y="63"/>
                    </a:lnTo>
                    <a:lnTo>
                      <a:pt x="4" y="63"/>
                    </a:lnTo>
                    <a:lnTo>
                      <a:pt x="2" y="63"/>
                    </a:lnTo>
                    <a:lnTo>
                      <a:pt x="2" y="61"/>
                    </a:lnTo>
                    <a:lnTo>
                      <a:pt x="2" y="63"/>
                    </a:lnTo>
                    <a:lnTo>
                      <a:pt x="0" y="63"/>
                    </a:lnTo>
                    <a:lnTo>
                      <a:pt x="0" y="61"/>
                    </a:lnTo>
                    <a:lnTo>
                      <a:pt x="0" y="59"/>
                    </a:lnTo>
                    <a:lnTo>
                      <a:pt x="2" y="59"/>
                    </a:lnTo>
                    <a:lnTo>
                      <a:pt x="2" y="57"/>
                    </a:lnTo>
                    <a:lnTo>
                      <a:pt x="4" y="57"/>
                    </a:lnTo>
                    <a:lnTo>
                      <a:pt x="4" y="56"/>
                    </a:lnTo>
                    <a:lnTo>
                      <a:pt x="4" y="54"/>
                    </a:lnTo>
                    <a:lnTo>
                      <a:pt x="4" y="56"/>
                    </a:lnTo>
                    <a:lnTo>
                      <a:pt x="4" y="54"/>
                    </a:lnTo>
                    <a:lnTo>
                      <a:pt x="5" y="54"/>
                    </a:lnTo>
                    <a:lnTo>
                      <a:pt x="7" y="54"/>
                    </a:lnTo>
                    <a:lnTo>
                      <a:pt x="9" y="54"/>
                    </a:lnTo>
                    <a:lnTo>
                      <a:pt x="10" y="54"/>
                    </a:lnTo>
                    <a:lnTo>
                      <a:pt x="12" y="54"/>
                    </a:lnTo>
                    <a:lnTo>
                      <a:pt x="14" y="54"/>
                    </a:lnTo>
                    <a:lnTo>
                      <a:pt x="14" y="52"/>
                    </a:lnTo>
                    <a:lnTo>
                      <a:pt x="14" y="51"/>
                    </a:lnTo>
                    <a:lnTo>
                      <a:pt x="14" y="49"/>
                    </a:lnTo>
                    <a:lnTo>
                      <a:pt x="14" y="47"/>
                    </a:lnTo>
                    <a:lnTo>
                      <a:pt x="14" y="46"/>
                    </a:lnTo>
                    <a:lnTo>
                      <a:pt x="15" y="46"/>
                    </a:lnTo>
                    <a:lnTo>
                      <a:pt x="14" y="46"/>
                    </a:lnTo>
                    <a:lnTo>
                      <a:pt x="14" y="44"/>
                    </a:lnTo>
                    <a:lnTo>
                      <a:pt x="15" y="44"/>
                    </a:lnTo>
                    <a:lnTo>
                      <a:pt x="14" y="44"/>
                    </a:lnTo>
                    <a:lnTo>
                      <a:pt x="15" y="42"/>
                    </a:lnTo>
                    <a:lnTo>
                      <a:pt x="14" y="42"/>
                    </a:lnTo>
                    <a:lnTo>
                      <a:pt x="14" y="40"/>
                    </a:lnTo>
                    <a:lnTo>
                      <a:pt x="14" y="39"/>
                    </a:lnTo>
                    <a:lnTo>
                      <a:pt x="15" y="39"/>
                    </a:lnTo>
                    <a:lnTo>
                      <a:pt x="14" y="37"/>
                    </a:lnTo>
                    <a:lnTo>
                      <a:pt x="15" y="37"/>
                    </a:lnTo>
                    <a:lnTo>
                      <a:pt x="15" y="35"/>
                    </a:lnTo>
                    <a:lnTo>
                      <a:pt x="17" y="35"/>
                    </a:lnTo>
                    <a:lnTo>
                      <a:pt x="15" y="34"/>
                    </a:lnTo>
                    <a:lnTo>
                      <a:pt x="15" y="35"/>
                    </a:lnTo>
                    <a:lnTo>
                      <a:pt x="14" y="35"/>
                    </a:lnTo>
                    <a:lnTo>
                      <a:pt x="14" y="34"/>
                    </a:lnTo>
                    <a:lnTo>
                      <a:pt x="15" y="34"/>
                    </a:lnTo>
                    <a:lnTo>
                      <a:pt x="15" y="32"/>
                    </a:lnTo>
                    <a:lnTo>
                      <a:pt x="17" y="32"/>
                    </a:lnTo>
                    <a:lnTo>
                      <a:pt x="19" y="32"/>
                    </a:lnTo>
                    <a:lnTo>
                      <a:pt x="19" y="30"/>
                    </a:lnTo>
                    <a:lnTo>
                      <a:pt x="19" y="29"/>
                    </a:lnTo>
                    <a:lnTo>
                      <a:pt x="19" y="27"/>
                    </a:lnTo>
                    <a:lnTo>
                      <a:pt x="21" y="27"/>
                    </a:lnTo>
                    <a:lnTo>
                      <a:pt x="22" y="27"/>
                    </a:lnTo>
                    <a:lnTo>
                      <a:pt x="22" y="25"/>
                    </a:lnTo>
                    <a:lnTo>
                      <a:pt x="24" y="27"/>
                    </a:lnTo>
                    <a:lnTo>
                      <a:pt x="24" y="25"/>
                    </a:lnTo>
                    <a:lnTo>
                      <a:pt x="24" y="23"/>
                    </a:lnTo>
                    <a:lnTo>
                      <a:pt x="24" y="25"/>
                    </a:lnTo>
                    <a:lnTo>
                      <a:pt x="26" y="25"/>
                    </a:lnTo>
                    <a:lnTo>
                      <a:pt x="26" y="23"/>
                    </a:lnTo>
                    <a:lnTo>
                      <a:pt x="27" y="23"/>
                    </a:lnTo>
                    <a:lnTo>
                      <a:pt x="29" y="23"/>
                    </a:lnTo>
                    <a:lnTo>
                      <a:pt x="29" y="22"/>
                    </a:lnTo>
                    <a:lnTo>
                      <a:pt x="31" y="22"/>
                    </a:lnTo>
                    <a:lnTo>
                      <a:pt x="31" y="20"/>
                    </a:lnTo>
                    <a:lnTo>
                      <a:pt x="31" y="18"/>
                    </a:lnTo>
                    <a:lnTo>
                      <a:pt x="31" y="17"/>
                    </a:lnTo>
                    <a:lnTo>
                      <a:pt x="29" y="18"/>
                    </a:lnTo>
                    <a:lnTo>
                      <a:pt x="29" y="17"/>
                    </a:lnTo>
                    <a:lnTo>
                      <a:pt x="29" y="18"/>
                    </a:lnTo>
                    <a:lnTo>
                      <a:pt x="29" y="17"/>
                    </a:lnTo>
                    <a:lnTo>
                      <a:pt x="29" y="15"/>
                    </a:lnTo>
                    <a:lnTo>
                      <a:pt x="29" y="13"/>
                    </a:lnTo>
                    <a:lnTo>
                      <a:pt x="27" y="13"/>
                    </a:lnTo>
                    <a:lnTo>
                      <a:pt x="26" y="12"/>
                    </a:lnTo>
                    <a:lnTo>
                      <a:pt x="26" y="10"/>
                    </a:lnTo>
                    <a:lnTo>
                      <a:pt x="24" y="10"/>
                    </a:lnTo>
                    <a:lnTo>
                      <a:pt x="24" y="8"/>
                    </a:lnTo>
                    <a:lnTo>
                      <a:pt x="24" y="6"/>
                    </a:lnTo>
                    <a:lnTo>
                      <a:pt x="24" y="5"/>
                    </a:lnTo>
                    <a:lnTo>
                      <a:pt x="26" y="3"/>
                    </a:lnTo>
                    <a:lnTo>
                      <a:pt x="24" y="3"/>
                    </a:lnTo>
                    <a:lnTo>
                      <a:pt x="24" y="1"/>
                    </a:lnTo>
                    <a:lnTo>
                      <a:pt x="26" y="1"/>
                    </a:lnTo>
                    <a:lnTo>
                      <a:pt x="27" y="1"/>
                    </a:lnTo>
                    <a:lnTo>
                      <a:pt x="29" y="1"/>
                    </a:lnTo>
                    <a:lnTo>
                      <a:pt x="31" y="1"/>
                    </a:lnTo>
                    <a:lnTo>
                      <a:pt x="31" y="0"/>
                    </a:lnTo>
                    <a:lnTo>
                      <a:pt x="31" y="1"/>
                    </a:lnTo>
                    <a:lnTo>
                      <a:pt x="32" y="1"/>
                    </a:lnTo>
                    <a:lnTo>
                      <a:pt x="34" y="1"/>
                    </a:lnTo>
                    <a:lnTo>
                      <a:pt x="34" y="0"/>
                    </a:lnTo>
                    <a:lnTo>
                      <a:pt x="36" y="1"/>
                    </a:lnTo>
                    <a:lnTo>
                      <a:pt x="34" y="1"/>
                    </a:lnTo>
                    <a:lnTo>
                      <a:pt x="36" y="1"/>
                    </a:lnTo>
                    <a:lnTo>
                      <a:pt x="36" y="3"/>
                    </a:lnTo>
                    <a:lnTo>
                      <a:pt x="34" y="3"/>
                    </a:lnTo>
                    <a:lnTo>
                      <a:pt x="36" y="5"/>
                    </a:lnTo>
                    <a:lnTo>
                      <a:pt x="36" y="6"/>
                    </a:lnTo>
                    <a:lnTo>
                      <a:pt x="34" y="6"/>
                    </a:lnTo>
                    <a:lnTo>
                      <a:pt x="34" y="8"/>
                    </a:lnTo>
                    <a:lnTo>
                      <a:pt x="36" y="8"/>
                    </a:lnTo>
                    <a:lnTo>
                      <a:pt x="36" y="10"/>
                    </a:lnTo>
                    <a:lnTo>
                      <a:pt x="36" y="8"/>
                    </a:lnTo>
                    <a:lnTo>
                      <a:pt x="38" y="8"/>
                    </a:lnTo>
                    <a:lnTo>
                      <a:pt x="38" y="10"/>
                    </a:lnTo>
                    <a:lnTo>
                      <a:pt x="36" y="10"/>
                    </a:lnTo>
                    <a:lnTo>
                      <a:pt x="38" y="10"/>
                    </a:lnTo>
                    <a:lnTo>
                      <a:pt x="38" y="12"/>
                    </a:lnTo>
                    <a:lnTo>
                      <a:pt x="39" y="12"/>
                    </a:lnTo>
                    <a:lnTo>
                      <a:pt x="39" y="13"/>
                    </a:lnTo>
                    <a:lnTo>
                      <a:pt x="38" y="13"/>
                    </a:lnTo>
                    <a:lnTo>
                      <a:pt x="38" y="15"/>
                    </a:lnTo>
                    <a:lnTo>
                      <a:pt x="39" y="15"/>
                    </a:lnTo>
                    <a:lnTo>
                      <a:pt x="39" y="17"/>
                    </a:lnTo>
                    <a:lnTo>
                      <a:pt x="38" y="17"/>
                    </a:lnTo>
                    <a:lnTo>
                      <a:pt x="38" y="18"/>
                    </a:lnTo>
                    <a:lnTo>
                      <a:pt x="39" y="18"/>
                    </a:lnTo>
                    <a:lnTo>
                      <a:pt x="38" y="18"/>
                    </a:lnTo>
                    <a:lnTo>
                      <a:pt x="38" y="20"/>
                    </a:lnTo>
                    <a:lnTo>
                      <a:pt x="39" y="20"/>
                    </a:lnTo>
                    <a:lnTo>
                      <a:pt x="41" y="20"/>
                    </a:lnTo>
                    <a:lnTo>
                      <a:pt x="41" y="22"/>
                    </a:lnTo>
                    <a:lnTo>
                      <a:pt x="43" y="22"/>
                    </a:lnTo>
                    <a:lnTo>
                      <a:pt x="41" y="22"/>
                    </a:lnTo>
                    <a:lnTo>
                      <a:pt x="43" y="23"/>
                    </a:lnTo>
                    <a:lnTo>
                      <a:pt x="43" y="25"/>
                    </a:lnTo>
                    <a:lnTo>
                      <a:pt x="44" y="25"/>
                    </a:lnTo>
                    <a:lnTo>
                      <a:pt x="44" y="27"/>
                    </a:lnTo>
                    <a:lnTo>
                      <a:pt x="44" y="29"/>
                    </a:lnTo>
                    <a:lnTo>
                      <a:pt x="46" y="29"/>
                    </a:lnTo>
                    <a:lnTo>
                      <a:pt x="46" y="30"/>
                    </a:lnTo>
                    <a:lnTo>
                      <a:pt x="48" y="30"/>
                    </a:lnTo>
                    <a:lnTo>
                      <a:pt x="48" y="32"/>
                    </a:lnTo>
                    <a:lnTo>
                      <a:pt x="46" y="32"/>
                    </a:lnTo>
                    <a:lnTo>
                      <a:pt x="48" y="32"/>
                    </a:lnTo>
                    <a:lnTo>
                      <a:pt x="48" y="34"/>
                    </a:lnTo>
                    <a:lnTo>
                      <a:pt x="48" y="35"/>
                    </a:lnTo>
                    <a:lnTo>
                      <a:pt x="49" y="35"/>
                    </a:lnTo>
                    <a:lnTo>
                      <a:pt x="49" y="37"/>
                    </a:lnTo>
                    <a:lnTo>
                      <a:pt x="51" y="39"/>
                    </a:lnTo>
                    <a:lnTo>
                      <a:pt x="51" y="40"/>
                    </a:lnTo>
                    <a:lnTo>
                      <a:pt x="53" y="40"/>
                    </a:lnTo>
                    <a:lnTo>
                      <a:pt x="53" y="42"/>
                    </a:lnTo>
                    <a:lnTo>
                      <a:pt x="53" y="44"/>
                    </a:lnTo>
                    <a:lnTo>
                      <a:pt x="55" y="44"/>
                    </a:lnTo>
                    <a:lnTo>
                      <a:pt x="55" y="46"/>
                    </a:lnTo>
                    <a:lnTo>
                      <a:pt x="56" y="46"/>
                    </a:lnTo>
                    <a:lnTo>
                      <a:pt x="56" y="47"/>
                    </a:lnTo>
                    <a:lnTo>
                      <a:pt x="58" y="47"/>
                    </a:lnTo>
                    <a:lnTo>
                      <a:pt x="60" y="47"/>
                    </a:lnTo>
                    <a:lnTo>
                      <a:pt x="61" y="47"/>
                    </a:lnTo>
                    <a:lnTo>
                      <a:pt x="61" y="4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38" name="Freeform 45">
                <a:extLst>
                  <a:ext uri="{FF2B5EF4-FFF2-40B4-BE49-F238E27FC236}">
                    <a16:creationId xmlns:a16="http://schemas.microsoft.com/office/drawing/2014/main" id="{FEA9E46C-7852-9660-BEAC-C0AF94303B46}"/>
                  </a:ext>
                </a:extLst>
              </p:cNvPr>
              <p:cNvSpPr>
                <a:spLocks/>
              </p:cNvSpPr>
              <p:nvPr/>
            </p:nvSpPr>
            <p:spPr bwMode="auto">
              <a:xfrm>
                <a:off x="5757004" y="3141861"/>
                <a:ext cx="83416" cy="89878"/>
              </a:xfrm>
              <a:custGeom>
                <a:avLst/>
                <a:gdLst>
                  <a:gd name="T0" fmla="*/ 155 w 284"/>
                  <a:gd name="T1" fmla="*/ 39 h 306"/>
                  <a:gd name="T2" fmla="*/ 158 w 284"/>
                  <a:gd name="T3" fmla="*/ 51 h 306"/>
                  <a:gd name="T4" fmla="*/ 161 w 284"/>
                  <a:gd name="T5" fmla="*/ 58 h 306"/>
                  <a:gd name="T6" fmla="*/ 161 w 284"/>
                  <a:gd name="T7" fmla="*/ 68 h 306"/>
                  <a:gd name="T8" fmla="*/ 160 w 284"/>
                  <a:gd name="T9" fmla="*/ 80 h 306"/>
                  <a:gd name="T10" fmla="*/ 158 w 284"/>
                  <a:gd name="T11" fmla="*/ 92 h 306"/>
                  <a:gd name="T12" fmla="*/ 158 w 284"/>
                  <a:gd name="T13" fmla="*/ 100 h 306"/>
                  <a:gd name="T14" fmla="*/ 167 w 284"/>
                  <a:gd name="T15" fmla="*/ 102 h 306"/>
                  <a:gd name="T16" fmla="*/ 178 w 284"/>
                  <a:gd name="T17" fmla="*/ 107 h 306"/>
                  <a:gd name="T18" fmla="*/ 189 w 284"/>
                  <a:gd name="T19" fmla="*/ 107 h 306"/>
                  <a:gd name="T20" fmla="*/ 201 w 284"/>
                  <a:gd name="T21" fmla="*/ 105 h 306"/>
                  <a:gd name="T22" fmla="*/ 207 w 284"/>
                  <a:gd name="T23" fmla="*/ 103 h 306"/>
                  <a:gd name="T24" fmla="*/ 216 w 284"/>
                  <a:gd name="T25" fmla="*/ 105 h 306"/>
                  <a:gd name="T26" fmla="*/ 226 w 284"/>
                  <a:gd name="T27" fmla="*/ 109 h 306"/>
                  <a:gd name="T28" fmla="*/ 235 w 284"/>
                  <a:gd name="T29" fmla="*/ 117 h 306"/>
                  <a:gd name="T30" fmla="*/ 236 w 284"/>
                  <a:gd name="T31" fmla="*/ 131 h 306"/>
                  <a:gd name="T32" fmla="*/ 240 w 284"/>
                  <a:gd name="T33" fmla="*/ 143 h 306"/>
                  <a:gd name="T34" fmla="*/ 241 w 284"/>
                  <a:gd name="T35" fmla="*/ 156 h 306"/>
                  <a:gd name="T36" fmla="*/ 243 w 284"/>
                  <a:gd name="T37" fmla="*/ 166 h 306"/>
                  <a:gd name="T38" fmla="*/ 253 w 284"/>
                  <a:gd name="T39" fmla="*/ 170 h 306"/>
                  <a:gd name="T40" fmla="*/ 263 w 284"/>
                  <a:gd name="T41" fmla="*/ 166 h 306"/>
                  <a:gd name="T42" fmla="*/ 277 w 284"/>
                  <a:gd name="T43" fmla="*/ 166 h 306"/>
                  <a:gd name="T44" fmla="*/ 282 w 284"/>
                  <a:gd name="T45" fmla="*/ 180 h 306"/>
                  <a:gd name="T46" fmla="*/ 282 w 284"/>
                  <a:gd name="T47" fmla="*/ 195 h 306"/>
                  <a:gd name="T48" fmla="*/ 277 w 284"/>
                  <a:gd name="T49" fmla="*/ 212 h 306"/>
                  <a:gd name="T50" fmla="*/ 272 w 284"/>
                  <a:gd name="T51" fmla="*/ 229 h 306"/>
                  <a:gd name="T52" fmla="*/ 272 w 284"/>
                  <a:gd name="T53" fmla="*/ 245 h 306"/>
                  <a:gd name="T54" fmla="*/ 270 w 284"/>
                  <a:gd name="T55" fmla="*/ 257 h 306"/>
                  <a:gd name="T56" fmla="*/ 265 w 284"/>
                  <a:gd name="T57" fmla="*/ 270 h 306"/>
                  <a:gd name="T58" fmla="*/ 253 w 284"/>
                  <a:gd name="T59" fmla="*/ 280 h 306"/>
                  <a:gd name="T60" fmla="*/ 240 w 284"/>
                  <a:gd name="T61" fmla="*/ 287 h 306"/>
                  <a:gd name="T62" fmla="*/ 236 w 284"/>
                  <a:gd name="T63" fmla="*/ 297 h 306"/>
                  <a:gd name="T64" fmla="*/ 223 w 284"/>
                  <a:gd name="T65" fmla="*/ 296 h 306"/>
                  <a:gd name="T66" fmla="*/ 212 w 284"/>
                  <a:gd name="T67" fmla="*/ 304 h 306"/>
                  <a:gd name="T68" fmla="*/ 199 w 284"/>
                  <a:gd name="T69" fmla="*/ 303 h 306"/>
                  <a:gd name="T70" fmla="*/ 185 w 284"/>
                  <a:gd name="T71" fmla="*/ 301 h 306"/>
                  <a:gd name="T72" fmla="*/ 170 w 284"/>
                  <a:gd name="T73" fmla="*/ 297 h 306"/>
                  <a:gd name="T74" fmla="*/ 153 w 284"/>
                  <a:gd name="T75" fmla="*/ 294 h 306"/>
                  <a:gd name="T76" fmla="*/ 136 w 284"/>
                  <a:gd name="T77" fmla="*/ 296 h 306"/>
                  <a:gd name="T78" fmla="*/ 139 w 284"/>
                  <a:gd name="T79" fmla="*/ 287 h 306"/>
                  <a:gd name="T80" fmla="*/ 144 w 284"/>
                  <a:gd name="T81" fmla="*/ 280 h 306"/>
                  <a:gd name="T82" fmla="*/ 151 w 284"/>
                  <a:gd name="T83" fmla="*/ 270 h 306"/>
                  <a:gd name="T84" fmla="*/ 151 w 284"/>
                  <a:gd name="T85" fmla="*/ 260 h 306"/>
                  <a:gd name="T86" fmla="*/ 156 w 284"/>
                  <a:gd name="T87" fmla="*/ 250 h 306"/>
                  <a:gd name="T88" fmla="*/ 163 w 284"/>
                  <a:gd name="T89" fmla="*/ 240 h 306"/>
                  <a:gd name="T90" fmla="*/ 168 w 284"/>
                  <a:gd name="T91" fmla="*/ 231 h 306"/>
                  <a:gd name="T92" fmla="*/ 167 w 284"/>
                  <a:gd name="T93" fmla="*/ 221 h 306"/>
                  <a:gd name="T94" fmla="*/ 161 w 284"/>
                  <a:gd name="T95" fmla="*/ 211 h 306"/>
                  <a:gd name="T96" fmla="*/ 153 w 284"/>
                  <a:gd name="T97" fmla="*/ 207 h 306"/>
                  <a:gd name="T98" fmla="*/ 143 w 284"/>
                  <a:gd name="T99" fmla="*/ 204 h 306"/>
                  <a:gd name="T100" fmla="*/ 129 w 284"/>
                  <a:gd name="T101" fmla="*/ 199 h 306"/>
                  <a:gd name="T102" fmla="*/ 114 w 284"/>
                  <a:gd name="T103" fmla="*/ 190 h 306"/>
                  <a:gd name="T104" fmla="*/ 83 w 284"/>
                  <a:gd name="T105" fmla="*/ 173 h 306"/>
                  <a:gd name="T106" fmla="*/ 68 w 284"/>
                  <a:gd name="T107" fmla="*/ 168 h 306"/>
                  <a:gd name="T108" fmla="*/ 54 w 284"/>
                  <a:gd name="T109" fmla="*/ 161 h 306"/>
                  <a:gd name="T110" fmla="*/ 46 w 284"/>
                  <a:gd name="T111" fmla="*/ 151 h 306"/>
                  <a:gd name="T112" fmla="*/ 34 w 284"/>
                  <a:gd name="T113" fmla="*/ 144 h 306"/>
                  <a:gd name="T114" fmla="*/ 22 w 284"/>
                  <a:gd name="T115" fmla="*/ 136 h 306"/>
                  <a:gd name="T116" fmla="*/ 14 w 284"/>
                  <a:gd name="T117" fmla="*/ 122 h 306"/>
                  <a:gd name="T118" fmla="*/ 10 w 284"/>
                  <a:gd name="T119" fmla="*/ 115 h 306"/>
                  <a:gd name="T120" fmla="*/ 0 w 284"/>
                  <a:gd name="T121" fmla="*/ 109 h 306"/>
                  <a:gd name="T122" fmla="*/ 25 w 284"/>
                  <a:gd name="T123" fmla="*/ 27 h 306"/>
                  <a:gd name="T124" fmla="*/ 151 w 284"/>
                  <a:gd name="T125" fmla="*/ 2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4" h="306">
                    <a:moveTo>
                      <a:pt x="151" y="32"/>
                    </a:moveTo>
                    <a:lnTo>
                      <a:pt x="153" y="32"/>
                    </a:lnTo>
                    <a:lnTo>
                      <a:pt x="153" y="34"/>
                    </a:lnTo>
                    <a:lnTo>
                      <a:pt x="151" y="34"/>
                    </a:lnTo>
                    <a:lnTo>
                      <a:pt x="151" y="35"/>
                    </a:lnTo>
                    <a:lnTo>
                      <a:pt x="153" y="35"/>
                    </a:lnTo>
                    <a:lnTo>
                      <a:pt x="153" y="34"/>
                    </a:lnTo>
                    <a:lnTo>
                      <a:pt x="155" y="35"/>
                    </a:lnTo>
                    <a:lnTo>
                      <a:pt x="153" y="37"/>
                    </a:lnTo>
                    <a:lnTo>
                      <a:pt x="155" y="37"/>
                    </a:lnTo>
                    <a:lnTo>
                      <a:pt x="155" y="39"/>
                    </a:lnTo>
                    <a:lnTo>
                      <a:pt x="156" y="41"/>
                    </a:lnTo>
                    <a:lnTo>
                      <a:pt x="158" y="41"/>
                    </a:lnTo>
                    <a:lnTo>
                      <a:pt x="158" y="42"/>
                    </a:lnTo>
                    <a:lnTo>
                      <a:pt x="156" y="42"/>
                    </a:lnTo>
                    <a:lnTo>
                      <a:pt x="156" y="44"/>
                    </a:lnTo>
                    <a:lnTo>
                      <a:pt x="156" y="46"/>
                    </a:lnTo>
                    <a:lnTo>
                      <a:pt x="158" y="46"/>
                    </a:lnTo>
                    <a:lnTo>
                      <a:pt x="156" y="47"/>
                    </a:lnTo>
                    <a:lnTo>
                      <a:pt x="158" y="47"/>
                    </a:lnTo>
                    <a:lnTo>
                      <a:pt x="158" y="49"/>
                    </a:lnTo>
                    <a:lnTo>
                      <a:pt x="158" y="51"/>
                    </a:lnTo>
                    <a:lnTo>
                      <a:pt x="160" y="51"/>
                    </a:lnTo>
                    <a:lnTo>
                      <a:pt x="160" y="49"/>
                    </a:lnTo>
                    <a:lnTo>
                      <a:pt x="160" y="51"/>
                    </a:lnTo>
                    <a:lnTo>
                      <a:pt x="161" y="51"/>
                    </a:lnTo>
                    <a:lnTo>
                      <a:pt x="161" y="52"/>
                    </a:lnTo>
                    <a:lnTo>
                      <a:pt x="160" y="52"/>
                    </a:lnTo>
                    <a:lnTo>
                      <a:pt x="158" y="54"/>
                    </a:lnTo>
                    <a:lnTo>
                      <a:pt x="160" y="54"/>
                    </a:lnTo>
                    <a:lnTo>
                      <a:pt x="161" y="54"/>
                    </a:lnTo>
                    <a:lnTo>
                      <a:pt x="161" y="56"/>
                    </a:lnTo>
                    <a:lnTo>
                      <a:pt x="161" y="58"/>
                    </a:lnTo>
                    <a:lnTo>
                      <a:pt x="160" y="58"/>
                    </a:lnTo>
                    <a:lnTo>
                      <a:pt x="161" y="58"/>
                    </a:lnTo>
                    <a:lnTo>
                      <a:pt x="161" y="59"/>
                    </a:lnTo>
                    <a:lnTo>
                      <a:pt x="163" y="59"/>
                    </a:lnTo>
                    <a:lnTo>
                      <a:pt x="163" y="61"/>
                    </a:lnTo>
                    <a:lnTo>
                      <a:pt x="163" y="63"/>
                    </a:lnTo>
                    <a:lnTo>
                      <a:pt x="161" y="63"/>
                    </a:lnTo>
                    <a:lnTo>
                      <a:pt x="161" y="64"/>
                    </a:lnTo>
                    <a:lnTo>
                      <a:pt x="163" y="64"/>
                    </a:lnTo>
                    <a:lnTo>
                      <a:pt x="161" y="66"/>
                    </a:lnTo>
                    <a:lnTo>
                      <a:pt x="161" y="68"/>
                    </a:lnTo>
                    <a:lnTo>
                      <a:pt x="163" y="68"/>
                    </a:lnTo>
                    <a:lnTo>
                      <a:pt x="163" y="69"/>
                    </a:lnTo>
                    <a:lnTo>
                      <a:pt x="161" y="69"/>
                    </a:lnTo>
                    <a:lnTo>
                      <a:pt x="161" y="71"/>
                    </a:lnTo>
                    <a:lnTo>
                      <a:pt x="160" y="71"/>
                    </a:lnTo>
                    <a:lnTo>
                      <a:pt x="161" y="73"/>
                    </a:lnTo>
                    <a:lnTo>
                      <a:pt x="161" y="75"/>
                    </a:lnTo>
                    <a:lnTo>
                      <a:pt x="161" y="76"/>
                    </a:lnTo>
                    <a:lnTo>
                      <a:pt x="160" y="76"/>
                    </a:lnTo>
                    <a:lnTo>
                      <a:pt x="160" y="78"/>
                    </a:lnTo>
                    <a:lnTo>
                      <a:pt x="160" y="80"/>
                    </a:lnTo>
                    <a:lnTo>
                      <a:pt x="158" y="80"/>
                    </a:lnTo>
                    <a:lnTo>
                      <a:pt x="158" y="81"/>
                    </a:lnTo>
                    <a:lnTo>
                      <a:pt x="160" y="81"/>
                    </a:lnTo>
                    <a:lnTo>
                      <a:pt x="160" y="83"/>
                    </a:lnTo>
                    <a:lnTo>
                      <a:pt x="160" y="85"/>
                    </a:lnTo>
                    <a:lnTo>
                      <a:pt x="160" y="86"/>
                    </a:lnTo>
                    <a:lnTo>
                      <a:pt x="161" y="86"/>
                    </a:lnTo>
                    <a:lnTo>
                      <a:pt x="160" y="88"/>
                    </a:lnTo>
                    <a:lnTo>
                      <a:pt x="160" y="90"/>
                    </a:lnTo>
                    <a:lnTo>
                      <a:pt x="160" y="92"/>
                    </a:lnTo>
                    <a:lnTo>
                      <a:pt x="158" y="92"/>
                    </a:lnTo>
                    <a:lnTo>
                      <a:pt x="158" y="93"/>
                    </a:lnTo>
                    <a:lnTo>
                      <a:pt x="160" y="93"/>
                    </a:lnTo>
                    <a:lnTo>
                      <a:pt x="160" y="95"/>
                    </a:lnTo>
                    <a:lnTo>
                      <a:pt x="160" y="97"/>
                    </a:lnTo>
                    <a:lnTo>
                      <a:pt x="158" y="97"/>
                    </a:lnTo>
                    <a:lnTo>
                      <a:pt x="158" y="98"/>
                    </a:lnTo>
                    <a:lnTo>
                      <a:pt x="156" y="98"/>
                    </a:lnTo>
                    <a:lnTo>
                      <a:pt x="156" y="100"/>
                    </a:lnTo>
                    <a:lnTo>
                      <a:pt x="158" y="100"/>
                    </a:lnTo>
                    <a:lnTo>
                      <a:pt x="158" y="102"/>
                    </a:lnTo>
                    <a:lnTo>
                      <a:pt x="158" y="100"/>
                    </a:lnTo>
                    <a:lnTo>
                      <a:pt x="160" y="100"/>
                    </a:lnTo>
                    <a:lnTo>
                      <a:pt x="160" y="102"/>
                    </a:lnTo>
                    <a:lnTo>
                      <a:pt x="161" y="102"/>
                    </a:lnTo>
                    <a:lnTo>
                      <a:pt x="161" y="103"/>
                    </a:lnTo>
                    <a:lnTo>
                      <a:pt x="161" y="102"/>
                    </a:lnTo>
                    <a:lnTo>
                      <a:pt x="163" y="102"/>
                    </a:lnTo>
                    <a:lnTo>
                      <a:pt x="163" y="103"/>
                    </a:lnTo>
                    <a:lnTo>
                      <a:pt x="165" y="102"/>
                    </a:lnTo>
                    <a:lnTo>
                      <a:pt x="165" y="103"/>
                    </a:lnTo>
                    <a:lnTo>
                      <a:pt x="167" y="103"/>
                    </a:lnTo>
                    <a:lnTo>
                      <a:pt x="167" y="102"/>
                    </a:lnTo>
                    <a:lnTo>
                      <a:pt x="168" y="102"/>
                    </a:lnTo>
                    <a:lnTo>
                      <a:pt x="170" y="102"/>
                    </a:lnTo>
                    <a:lnTo>
                      <a:pt x="170" y="103"/>
                    </a:lnTo>
                    <a:lnTo>
                      <a:pt x="172" y="103"/>
                    </a:lnTo>
                    <a:lnTo>
                      <a:pt x="173" y="105"/>
                    </a:lnTo>
                    <a:lnTo>
                      <a:pt x="173" y="103"/>
                    </a:lnTo>
                    <a:lnTo>
                      <a:pt x="173" y="105"/>
                    </a:lnTo>
                    <a:lnTo>
                      <a:pt x="175" y="105"/>
                    </a:lnTo>
                    <a:lnTo>
                      <a:pt x="177" y="105"/>
                    </a:lnTo>
                    <a:lnTo>
                      <a:pt x="178" y="105"/>
                    </a:lnTo>
                    <a:lnTo>
                      <a:pt x="178" y="107"/>
                    </a:lnTo>
                    <a:lnTo>
                      <a:pt x="178" y="105"/>
                    </a:lnTo>
                    <a:lnTo>
                      <a:pt x="180" y="107"/>
                    </a:lnTo>
                    <a:lnTo>
                      <a:pt x="182" y="105"/>
                    </a:lnTo>
                    <a:lnTo>
                      <a:pt x="182" y="107"/>
                    </a:lnTo>
                    <a:lnTo>
                      <a:pt x="184" y="107"/>
                    </a:lnTo>
                    <a:lnTo>
                      <a:pt x="184" y="105"/>
                    </a:lnTo>
                    <a:lnTo>
                      <a:pt x="185" y="105"/>
                    </a:lnTo>
                    <a:lnTo>
                      <a:pt x="185" y="107"/>
                    </a:lnTo>
                    <a:lnTo>
                      <a:pt x="187" y="105"/>
                    </a:lnTo>
                    <a:lnTo>
                      <a:pt x="187" y="107"/>
                    </a:lnTo>
                    <a:lnTo>
                      <a:pt x="189" y="107"/>
                    </a:lnTo>
                    <a:lnTo>
                      <a:pt x="190" y="107"/>
                    </a:lnTo>
                    <a:lnTo>
                      <a:pt x="190" y="105"/>
                    </a:lnTo>
                    <a:lnTo>
                      <a:pt x="192" y="107"/>
                    </a:lnTo>
                    <a:lnTo>
                      <a:pt x="194" y="107"/>
                    </a:lnTo>
                    <a:lnTo>
                      <a:pt x="195" y="107"/>
                    </a:lnTo>
                    <a:lnTo>
                      <a:pt x="195" y="109"/>
                    </a:lnTo>
                    <a:lnTo>
                      <a:pt x="197" y="109"/>
                    </a:lnTo>
                    <a:lnTo>
                      <a:pt x="197" y="107"/>
                    </a:lnTo>
                    <a:lnTo>
                      <a:pt x="199" y="107"/>
                    </a:lnTo>
                    <a:lnTo>
                      <a:pt x="201" y="107"/>
                    </a:lnTo>
                    <a:lnTo>
                      <a:pt x="201" y="105"/>
                    </a:lnTo>
                    <a:lnTo>
                      <a:pt x="202" y="105"/>
                    </a:lnTo>
                    <a:lnTo>
                      <a:pt x="202" y="107"/>
                    </a:lnTo>
                    <a:lnTo>
                      <a:pt x="204" y="107"/>
                    </a:lnTo>
                    <a:lnTo>
                      <a:pt x="202" y="107"/>
                    </a:lnTo>
                    <a:lnTo>
                      <a:pt x="204" y="107"/>
                    </a:lnTo>
                    <a:lnTo>
                      <a:pt x="204" y="105"/>
                    </a:lnTo>
                    <a:lnTo>
                      <a:pt x="206" y="105"/>
                    </a:lnTo>
                    <a:lnTo>
                      <a:pt x="206" y="103"/>
                    </a:lnTo>
                    <a:lnTo>
                      <a:pt x="207" y="103"/>
                    </a:lnTo>
                    <a:lnTo>
                      <a:pt x="206" y="103"/>
                    </a:lnTo>
                    <a:lnTo>
                      <a:pt x="207" y="103"/>
                    </a:lnTo>
                    <a:lnTo>
                      <a:pt x="207" y="102"/>
                    </a:lnTo>
                    <a:lnTo>
                      <a:pt x="209" y="102"/>
                    </a:lnTo>
                    <a:lnTo>
                      <a:pt x="209" y="100"/>
                    </a:lnTo>
                    <a:lnTo>
                      <a:pt x="211" y="102"/>
                    </a:lnTo>
                    <a:lnTo>
                      <a:pt x="211" y="100"/>
                    </a:lnTo>
                    <a:lnTo>
                      <a:pt x="211" y="102"/>
                    </a:lnTo>
                    <a:lnTo>
                      <a:pt x="212" y="102"/>
                    </a:lnTo>
                    <a:lnTo>
                      <a:pt x="212" y="103"/>
                    </a:lnTo>
                    <a:lnTo>
                      <a:pt x="212" y="105"/>
                    </a:lnTo>
                    <a:lnTo>
                      <a:pt x="214" y="105"/>
                    </a:lnTo>
                    <a:lnTo>
                      <a:pt x="216" y="105"/>
                    </a:lnTo>
                    <a:lnTo>
                      <a:pt x="216" y="107"/>
                    </a:lnTo>
                    <a:lnTo>
                      <a:pt x="218" y="107"/>
                    </a:lnTo>
                    <a:lnTo>
                      <a:pt x="218" y="109"/>
                    </a:lnTo>
                    <a:lnTo>
                      <a:pt x="218" y="107"/>
                    </a:lnTo>
                    <a:lnTo>
                      <a:pt x="219" y="109"/>
                    </a:lnTo>
                    <a:lnTo>
                      <a:pt x="221" y="109"/>
                    </a:lnTo>
                    <a:lnTo>
                      <a:pt x="221" y="107"/>
                    </a:lnTo>
                    <a:lnTo>
                      <a:pt x="221" y="109"/>
                    </a:lnTo>
                    <a:lnTo>
                      <a:pt x="223" y="109"/>
                    </a:lnTo>
                    <a:lnTo>
                      <a:pt x="224" y="109"/>
                    </a:lnTo>
                    <a:lnTo>
                      <a:pt x="226" y="109"/>
                    </a:lnTo>
                    <a:lnTo>
                      <a:pt x="228" y="109"/>
                    </a:lnTo>
                    <a:lnTo>
                      <a:pt x="229" y="109"/>
                    </a:lnTo>
                    <a:lnTo>
                      <a:pt x="231" y="110"/>
                    </a:lnTo>
                    <a:lnTo>
                      <a:pt x="231" y="112"/>
                    </a:lnTo>
                    <a:lnTo>
                      <a:pt x="233" y="112"/>
                    </a:lnTo>
                    <a:lnTo>
                      <a:pt x="233" y="114"/>
                    </a:lnTo>
                    <a:lnTo>
                      <a:pt x="235" y="114"/>
                    </a:lnTo>
                    <a:lnTo>
                      <a:pt x="233" y="114"/>
                    </a:lnTo>
                    <a:lnTo>
                      <a:pt x="233" y="115"/>
                    </a:lnTo>
                    <a:lnTo>
                      <a:pt x="233" y="117"/>
                    </a:lnTo>
                    <a:lnTo>
                      <a:pt x="235" y="117"/>
                    </a:lnTo>
                    <a:lnTo>
                      <a:pt x="235" y="119"/>
                    </a:lnTo>
                    <a:lnTo>
                      <a:pt x="236" y="119"/>
                    </a:lnTo>
                    <a:lnTo>
                      <a:pt x="236" y="121"/>
                    </a:lnTo>
                    <a:lnTo>
                      <a:pt x="238" y="121"/>
                    </a:lnTo>
                    <a:lnTo>
                      <a:pt x="238" y="122"/>
                    </a:lnTo>
                    <a:lnTo>
                      <a:pt x="238" y="124"/>
                    </a:lnTo>
                    <a:lnTo>
                      <a:pt x="238" y="126"/>
                    </a:lnTo>
                    <a:lnTo>
                      <a:pt x="236" y="126"/>
                    </a:lnTo>
                    <a:lnTo>
                      <a:pt x="236" y="127"/>
                    </a:lnTo>
                    <a:lnTo>
                      <a:pt x="236" y="129"/>
                    </a:lnTo>
                    <a:lnTo>
                      <a:pt x="236" y="131"/>
                    </a:lnTo>
                    <a:lnTo>
                      <a:pt x="236" y="132"/>
                    </a:lnTo>
                    <a:lnTo>
                      <a:pt x="238" y="134"/>
                    </a:lnTo>
                    <a:lnTo>
                      <a:pt x="236" y="136"/>
                    </a:lnTo>
                    <a:lnTo>
                      <a:pt x="238" y="136"/>
                    </a:lnTo>
                    <a:lnTo>
                      <a:pt x="238" y="138"/>
                    </a:lnTo>
                    <a:lnTo>
                      <a:pt x="238" y="139"/>
                    </a:lnTo>
                    <a:lnTo>
                      <a:pt x="240" y="139"/>
                    </a:lnTo>
                    <a:lnTo>
                      <a:pt x="240" y="141"/>
                    </a:lnTo>
                    <a:lnTo>
                      <a:pt x="241" y="141"/>
                    </a:lnTo>
                    <a:lnTo>
                      <a:pt x="241" y="143"/>
                    </a:lnTo>
                    <a:lnTo>
                      <a:pt x="240" y="143"/>
                    </a:lnTo>
                    <a:lnTo>
                      <a:pt x="240" y="144"/>
                    </a:lnTo>
                    <a:lnTo>
                      <a:pt x="241" y="144"/>
                    </a:lnTo>
                    <a:lnTo>
                      <a:pt x="240" y="144"/>
                    </a:lnTo>
                    <a:lnTo>
                      <a:pt x="240" y="146"/>
                    </a:lnTo>
                    <a:lnTo>
                      <a:pt x="241" y="148"/>
                    </a:lnTo>
                    <a:lnTo>
                      <a:pt x="241" y="149"/>
                    </a:lnTo>
                    <a:lnTo>
                      <a:pt x="240" y="151"/>
                    </a:lnTo>
                    <a:lnTo>
                      <a:pt x="240" y="153"/>
                    </a:lnTo>
                    <a:lnTo>
                      <a:pt x="240" y="155"/>
                    </a:lnTo>
                    <a:lnTo>
                      <a:pt x="241" y="155"/>
                    </a:lnTo>
                    <a:lnTo>
                      <a:pt x="241" y="156"/>
                    </a:lnTo>
                    <a:lnTo>
                      <a:pt x="240" y="156"/>
                    </a:lnTo>
                    <a:lnTo>
                      <a:pt x="240" y="158"/>
                    </a:lnTo>
                    <a:lnTo>
                      <a:pt x="241" y="158"/>
                    </a:lnTo>
                    <a:lnTo>
                      <a:pt x="243" y="158"/>
                    </a:lnTo>
                    <a:lnTo>
                      <a:pt x="243" y="160"/>
                    </a:lnTo>
                    <a:lnTo>
                      <a:pt x="243" y="161"/>
                    </a:lnTo>
                    <a:lnTo>
                      <a:pt x="243" y="163"/>
                    </a:lnTo>
                    <a:lnTo>
                      <a:pt x="245" y="163"/>
                    </a:lnTo>
                    <a:lnTo>
                      <a:pt x="243" y="163"/>
                    </a:lnTo>
                    <a:lnTo>
                      <a:pt x="243" y="165"/>
                    </a:lnTo>
                    <a:lnTo>
                      <a:pt x="243" y="166"/>
                    </a:lnTo>
                    <a:lnTo>
                      <a:pt x="243" y="168"/>
                    </a:lnTo>
                    <a:lnTo>
                      <a:pt x="245" y="168"/>
                    </a:lnTo>
                    <a:lnTo>
                      <a:pt x="245" y="170"/>
                    </a:lnTo>
                    <a:lnTo>
                      <a:pt x="246" y="170"/>
                    </a:lnTo>
                    <a:lnTo>
                      <a:pt x="246" y="172"/>
                    </a:lnTo>
                    <a:lnTo>
                      <a:pt x="248" y="170"/>
                    </a:lnTo>
                    <a:lnTo>
                      <a:pt x="250" y="170"/>
                    </a:lnTo>
                    <a:lnTo>
                      <a:pt x="250" y="172"/>
                    </a:lnTo>
                    <a:lnTo>
                      <a:pt x="252" y="172"/>
                    </a:lnTo>
                    <a:lnTo>
                      <a:pt x="253" y="172"/>
                    </a:lnTo>
                    <a:lnTo>
                      <a:pt x="253" y="170"/>
                    </a:lnTo>
                    <a:lnTo>
                      <a:pt x="253" y="172"/>
                    </a:lnTo>
                    <a:lnTo>
                      <a:pt x="255" y="170"/>
                    </a:lnTo>
                    <a:lnTo>
                      <a:pt x="257" y="170"/>
                    </a:lnTo>
                    <a:lnTo>
                      <a:pt x="257" y="172"/>
                    </a:lnTo>
                    <a:lnTo>
                      <a:pt x="257" y="170"/>
                    </a:lnTo>
                    <a:lnTo>
                      <a:pt x="258" y="170"/>
                    </a:lnTo>
                    <a:lnTo>
                      <a:pt x="260" y="170"/>
                    </a:lnTo>
                    <a:lnTo>
                      <a:pt x="262" y="170"/>
                    </a:lnTo>
                    <a:lnTo>
                      <a:pt x="262" y="168"/>
                    </a:lnTo>
                    <a:lnTo>
                      <a:pt x="263" y="168"/>
                    </a:lnTo>
                    <a:lnTo>
                      <a:pt x="263" y="166"/>
                    </a:lnTo>
                    <a:lnTo>
                      <a:pt x="265" y="166"/>
                    </a:lnTo>
                    <a:lnTo>
                      <a:pt x="267" y="166"/>
                    </a:lnTo>
                    <a:lnTo>
                      <a:pt x="269" y="166"/>
                    </a:lnTo>
                    <a:lnTo>
                      <a:pt x="269" y="165"/>
                    </a:lnTo>
                    <a:lnTo>
                      <a:pt x="270" y="165"/>
                    </a:lnTo>
                    <a:lnTo>
                      <a:pt x="272" y="165"/>
                    </a:lnTo>
                    <a:lnTo>
                      <a:pt x="272" y="166"/>
                    </a:lnTo>
                    <a:lnTo>
                      <a:pt x="272" y="165"/>
                    </a:lnTo>
                    <a:lnTo>
                      <a:pt x="274" y="166"/>
                    </a:lnTo>
                    <a:lnTo>
                      <a:pt x="275" y="166"/>
                    </a:lnTo>
                    <a:lnTo>
                      <a:pt x="277" y="166"/>
                    </a:lnTo>
                    <a:lnTo>
                      <a:pt x="277" y="168"/>
                    </a:lnTo>
                    <a:lnTo>
                      <a:pt x="279" y="170"/>
                    </a:lnTo>
                    <a:lnTo>
                      <a:pt x="280" y="172"/>
                    </a:lnTo>
                    <a:lnTo>
                      <a:pt x="282" y="172"/>
                    </a:lnTo>
                    <a:lnTo>
                      <a:pt x="282" y="173"/>
                    </a:lnTo>
                    <a:lnTo>
                      <a:pt x="282" y="175"/>
                    </a:lnTo>
                    <a:lnTo>
                      <a:pt x="280" y="175"/>
                    </a:lnTo>
                    <a:lnTo>
                      <a:pt x="280" y="177"/>
                    </a:lnTo>
                    <a:lnTo>
                      <a:pt x="280" y="178"/>
                    </a:lnTo>
                    <a:lnTo>
                      <a:pt x="280" y="180"/>
                    </a:lnTo>
                    <a:lnTo>
                      <a:pt x="282" y="180"/>
                    </a:lnTo>
                    <a:lnTo>
                      <a:pt x="282" y="182"/>
                    </a:lnTo>
                    <a:lnTo>
                      <a:pt x="284" y="183"/>
                    </a:lnTo>
                    <a:lnTo>
                      <a:pt x="284" y="185"/>
                    </a:lnTo>
                    <a:lnTo>
                      <a:pt x="282" y="187"/>
                    </a:lnTo>
                    <a:lnTo>
                      <a:pt x="282" y="189"/>
                    </a:lnTo>
                    <a:lnTo>
                      <a:pt x="280" y="189"/>
                    </a:lnTo>
                    <a:lnTo>
                      <a:pt x="280" y="190"/>
                    </a:lnTo>
                    <a:lnTo>
                      <a:pt x="280" y="192"/>
                    </a:lnTo>
                    <a:lnTo>
                      <a:pt x="282" y="192"/>
                    </a:lnTo>
                    <a:lnTo>
                      <a:pt x="282" y="194"/>
                    </a:lnTo>
                    <a:lnTo>
                      <a:pt x="282" y="195"/>
                    </a:lnTo>
                    <a:lnTo>
                      <a:pt x="280" y="195"/>
                    </a:lnTo>
                    <a:lnTo>
                      <a:pt x="280" y="197"/>
                    </a:lnTo>
                    <a:lnTo>
                      <a:pt x="280" y="199"/>
                    </a:lnTo>
                    <a:lnTo>
                      <a:pt x="279" y="200"/>
                    </a:lnTo>
                    <a:lnTo>
                      <a:pt x="279" y="202"/>
                    </a:lnTo>
                    <a:lnTo>
                      <a:pt x="279" y="204"/>
                    </a:lnTo>
                    <a:lnTo>
                      <a:pt x="277" y="206"/>
                    </a:lnTo>
                    <a:lnTo>
                      <a:pt x="277" y="207"/>
                    </a:lnTo>
                    <a:lnTo>
                      <a:pt x="277" y="209"/>
                    </a:lnTo>
                    <a:lnTo>
                      <a:pt x="277" y="211"/>
                    </a:lnTo>
                    <a:lnTo>
                      <a:pt x="277" y="212"/>
                    </a:lnTo>
                    <a:lnTo>
                      <a:pt x="277" y="214"/>
                    </a:lnTo>
                    <a:lnTo>
                      <a:pt x="277" y="216"/>
                    </a:lnTo>
                    <a:lnTo>
                      <a:pt x="275" y="217"/>
                    </a:lnTo>
                    <a:lnTo>
                      <a:pt x="275" y="219"/>
                    </a:lnTo>
                    <a:lnTo>
                      <a:pt x="274" y="221"/>
                    </a:lnTo>
                    <a:lnTo>
                      <a:pt x="274" y="223"/>
                    </a:lnTo>
                    <a:lnTo>
                      <a:pt x="272" y="223"/>
                    </a:lnTo>
                    <a:lnTo>
                      <a:pt x="272" y="224"/>
                    </a:lnTo>
                    <a:lnTo>
                      <a:pt x="272" y="226"/>
                    </a:lnTo>
                    <a:lnTo>
                      <a:pt x="272" y="228"/>
                    </a:lnTo>
                    <a:lnTo>
                      <a:pt x="272" y="229"/>
                    </a:lnTo>
                    <a:lnTo>
                      <a:pt x="272" y="231"/>
                    </a:lnTo>
                    <a:lnTo>
                      <a:pt x="272" y="233"/>
                    </a:lnTo>
                    <a:lnTo>
                      <a:pt x="270" y="233"/>
                    </a:lnTo>
                    <a:lnTo>
                      <a:pt x="270" y="234"/>
                    </a:lnTo>
                    <a:lnTo>
                      <a:pt x="270" y="236"/>
                    </a:lnTo>
                    <a:lnTo>
                      <a:pt x="270" y="238"/>
                    </a:lnTo>
                    <a:lnTo>
                      <a:pt x="272" y="238"/>
                    </a:lnTo>
                    <a:lnTo>
                      <a:pt x="272" y="240"/>
                    </a:lnTo>
                    <a:lnTo>
                      <a:pt x="272" y="241"/>
                    </a:lnTo>
                    <a:lnTo>
                      <a:pt x="272" y="243"/>
                    </a:lnTo>
                    <a:lnTo>
                      <a:pt x="272" y="245"/>
                    </a:lnTo>
                    <a:lnTo>
                      <a:pt x="270" y="245"/>
                    </a:lnTo>
                    <a:lnTo>
                      <a:pt x="269" y="246"/>
                    </a:lnTo>
                    <a:lnTo>
                      <a:pt x="270" y="248"/>
                    </a:lnTo>
                    <a:lnTo>
                      <a:pt x="270" y="250"/>
                    </a:lnTo>
                    <a:lnTo>
                      <a:pt x="270" y="251"/>
                    </a:lnTo>
                    <a:lnTo>
                      <a:pt x="270" y="253"/>
                    </a:lnTo>
                    <a:lnTo>
                      <a:pt x="272" y="253"/>
                    </a:lnTo>
                    <a:lnTo>
                      <a:pt x="272" y="255"/>
                    </a:lnTo>
                    <a:lnTo>
                      <a:pt x="270" y="255"/>
                    </a:lnTo>
                    <a:lnTo>
                      <a:pt x="269" y="255"/>
                    </a:lnTo>
                    <a:lnTo>
                      <a:pt x="270" y="257"/>
                    </a:lnTo>
                    <a:lnTo>
                      <a:pt x="270" y="258"/>
                    </a:lnTo>
                    <a:lnTo>
                      <a:pt x="269" y="258"/>
                    </a:lnTo>
                    <a:lnTo>
                      <a:pt x="269" y="260"/>
                    </a:lnTo>
                    <a:lnTo>
                      <a:pt x="269" y="262"/>
                    </a:lnTo>
                    <a:lnTo>
                      <a:pt x="269" y="263"/>
                    </a:lnTo>
                    <a:lnTo>
                      <a:pt x="267" y="263"/>
                    </a:lnTo>
                    <a:lnTo>
                      <a:pt x="267" y="265"/>
                    </a:lnTo>
                    <a:lnTo>
                      <a:pt x="265" y="265"/>
                    </a:lnTo>
                    <a:lnTo>
                      <a:pt x="265" y="267"/>
                    </a:lnTo>
                    <a:lnTo>
                      <a:pt x="265" y="268"/>
                    </a:lnTo>
                    <a:lnTo>
                      <a:pt x="265" y="270"/>
                    </a:lnTo>
                    <a:lnTo>
                      <a:pt x="263" y="272"/>
                    </a:lnTo>
                    <a:lnTo>
                      <a:pt x="263" y="270"/>
                    </a:lnTo>
                    <a:lnTo>
                      <a:pt x="262" y="270"/>
                    </a:lnTo>
                    <a:lnTo>
                      <a:pt x="260" y="272"/>
                    </a:lnTo>
                    <a:lnTo>
                      <a:pt x="260" y="274"/>
                    </a:lnTo>
                    <a:lnTo>
                      <a:pt x="260" y="275"/>
                    </a:lnTo>
                    <a:lnTo>
                      <a:pt x="258" y="275"/>
                    </a:lnTo>
                    <a:lnTo>
                      <a:pt x="257" y="275"/>
                    </a:lnTo>
                    <a:lnTo>
                      <a:pt x="255" y="277"/>
                    </a:lnTo>
                    <a:lnTo>
                      <a:pt x="253" y="279"/>
                    </a:lnTo>
                    <a:lnTo>
                      <a:pt x="253" y="280"/>
                    </a:lnTo>
                    <a:lnTo>
                      <a:pt x="253" y="282"/>
                    </a:lnTo>
                    <a:lnTo>
                      <a:pt x="252" y="282"/>
                    </a:lnTo>
                    <a:lnTo>
                      <a:pt x="250" y="280"/>
                    </a:lnTo>
                    <a:lnTo>
                      <a:pt x="248" y="282"/>
                    </a:lnTo>
                    <a:lnTo>
                      <a:pt x="246" y="282"/>
                    </a:lnTo>
                    <a:lnTo>
                      <a:pt x="245" y="284"/>
                    </a:lnTo>
                    <a:lnTo>
                      <a:pt x="243" y="284"/>
                    </a:lnTo>
                    <a:lnTo>
                      <a:pt x="243" y="286"/>
                    </a:lnTo>
                    <a:lnTo>
                      <a:pt x="243" y="287"/>
                    </a:lnTo>
                    <a:lnTo>
                      <a:pt x="241" y="287"/>
                    </a:lnTo>
                    <a:lnTo>
                      <a:pt x="240" y="287"/>
                    </a:lnTo>
                    <a:lnTo>
                      <a:pt x="240" y="289"/>
                    </a:lnTo>
                    <a:lnTo>
                      <a:pt x="240" y="291"/>
                    </a:lnTo>
                    <a:lnTo>
                      <a:pt x="238" y="289"/>
                    </a:lnTo>
                    <a:lnTo>
                      <a:pt x="238" y="291"/>
                    </a:lnTo>
                    <a:lnTo>
                      <a:pt x="238" y="292"/>
                    </a:lnTo>
                    <a:lnTo>
                      <a:pt x="240" y="292"/>
                    </a:lnTo>
                    <a:lnTo>
                      <a:pt x="240" y="294"/>
                    </a:lnTo>
                    <a:lnTo>
                      <a:pt x="238" y="294"/>
                    </a:lnTo>
                    <a:lnTo>
                      <a:pt x="238" y="296"/>
                    </a:lnTo>
                    <a:lnTo>
                      <a:pt x="238" y="297"/>
                    </a:lnTo>
                    <a:lnTo>
                      <a:pt x="236" y="297"/>
                    </a:lnTo>
                    <a:lnTo>
                      <a:pt x="235" y="297"/>
                    </a:lnTo>
                    <a:lnTo>
                      <a:pt x="235" y="299"/>
                    </a:lnTo>
                    <a:lnTo>
                      <a:pt x="233" y="301"/>
                    </a:lnTo>
                    <a:lnTo>
                      <a:pt x="231" y="301"/>
                    </a:lnTo>
                    <a:lnTo>
                      <a:pt x="231" y="299"/>
                    </a:lnTo>
                    <a:lnTo>
                      <a:pt x="229" y="299"/>
                    </a:lnTo>
                    <a:lnTo>
                      <a:pt x="229" y="297"/>
                    </a:lnTo>
                    <a:lnTo>
                      <a:pt x="228" y="296"/>
                    </a:lnTo>
                    <a:lnTo>
                      <a:pt x="226" y="297"/>
                    </a:lnTo>
                    <a:lnTo>
                      <a:pt x="224" y="296"/>
                    </a:lnTo>
                    <a:lnTo>
                      <a:pt x="223" y="296"/>
                    </a:lnTo>
                    <a:lnTo>
                      <a:pt x="221" y="296"/>
                    </a:lnTo>
                    <a:lnTo>
                      <a:pt x="219" y="296"/>
                    </a:lnTo>
                    <a:lnTo>
                      <a:pt x="218" y="297"/>
                    </a:lnTo>
                    <a:lnTo>
                      <a:pt x="218" y="299"/>
                    </a:lnTo>
                    <a:lnTo>
                      <a:pt x="216" y="299"/>
                    </a:lnTo>
                    <a:lnTo>
                      <a:pt x="214" y="299"/>
                    </a:lnTo>
                    <a:lnTo>
                      <a:pt x="214" y="301"/>
                    </a:lnTo>
                    <a:lnTo>
                      <a:pt x="216" y="301"/>
                    </a:lnTo>
                    <a:lnTo>
                      <a:pt x="214" y="303"/>
                    </a:lnTo>
                    <a:lnTo>
                      <a:pt x="214" y="304"/>
                    </a:lnTo>
                    <a:lnTo>
                      <a:pt x="212" y="304"/>
                    </a:lnTo>
                    <a:lnTo>
                      <a:pt x="212" y="306"/>
                    </a:lnTo>
                    <a:lnTo>
                      <a:pt x="209" y="304"/>
                    </a:lnTo>
                    <a:lnTo>
                      <a:pt x="209" y="303"/>
                    </a:lnTo>
                    <a:lnTo>
                      <a:pt x="207" y="303"/>
                    </a:lnTo>
                    <a:lnTo>
                      <a:pt x="207" y="301"/>
                    </a:lnTo>
                    <a:lnTo>
                      <a:pt x="206" y="301"/>
                    </a:lnTo>
                    <a:lnTo>
                      <a:pt x="204" y="301"/>
                    </a:lnTo>
                    <a:lnTo>
                      <a:pt x="202" y="301"/>
                    </a:lnTo>
                    <a:lnTo>
                      <a:pt x="201" y="301"/>
                    </a:lnTo>
                    <a:lnTo>
                      <a:pt x="201" y="303"/>
                    </a:lnTo>
                    <a:lnTo>
                      <a:pt x="199" y="303"/>
                    </a:lnTo>
                    <a:lnTo>
                      <a:pt x="197" y="301"/>
                    </a:lnTo>
                    <a:lnTo>
                      <a:pt x="195" y="301"/>
                    </a:lnTo>
                    <a:lnTo>
                      <a:pt x="195" y="299"/>
                    </a:lnTo>
                    <a:lnTo>
                      <a:pt x="194" y="299"/>
                    </a:lnTo>
                    <a:lnTo>
                      <a:pt x="192" y="299"/>
                    </a:lnTo>
                    <a:lnTo>
                      <a:pt x="192" y="301"/>
                    </a:lnTo>
                    <a:lnTo>
                      <a:pt x="190" y="301"/>
                    </a:lnTo>
                    <a:lnTo>
                      <a:pt x="190" y="303"/>
                    </a:lnTo>
                    <a:lnTo>
                      <a:pt x="189" y="303"/>
                    </a:lnTo>
                    <a:lnTo>
                      <a:pt x="187" y="303"/>
                    </a:lnTo>
                    <a:lnTo>
                      <a:pt x="185" y="301"/>
                    </a:lnTo>
                    <a:lnTo>
                      <a:pt x="184" y="301"/>
                    </a:lnTo>
                    <a:lnTo>
                      <a:pt x="182" y="301"/>
                    </a:lnTo>
                    <a:lnTo>
                      <a:pt x="180" y="299"/>
                    </a:lnTo>
                    <a:lnTo>
                      <a:pt x="178" y="299"/>
                    </a:lnTo>
                    <a:lnTo>
                      <a:pt x="177" y="299"/>
                    </a:lnTo>
                    <a:lnTo>
                      <a:pt x="177" y="301"/>
                    </a:lnTo>
                    <a:lnTo>
                      <a:pt x="175" y="301"/>
                    </a:lnTo>
                    <a:lnTo>
                      <a:pt x="173" y="301"/>
                    </a:lnTo>
                    <a:lnTo>
                      <a:pt x="173" y="299"/>
                    </a:lnTo>
                    <a:lnTo>
                      <a:pt x="172" y="299"/>
                    </a:lnTo>
                    <a:lnTo>
                      <a:pt x="170" y="297"/>
                    </a:lnTo>
                    <a:lnTo>
                      <a:pt x="168" y="297"/>
                    </a:lnTo>
                    <a:lnTo>
                      <a:pt x="168" y="296"/>
                    </a:lnTo>
                    <a:lnTo>
                      <a:pt x="167" y="296"/>
                    </a:lnTo>
                    <a:lnTo>
                      <a:pt x="165" y="296"/>
                    </a:lnTo>
                    <a:lnTo>
                      <a:pt x="163" y="296"/>
                    </a:lnTo>
                    <a:lnTo>
                      <a:pt x="161" y="294"/>
                    </a:lnTo>
                    <a:lnTo>
                      <a:pt x="160" y="294"/>
                    </a:lnTo>
                    <a:lnTo>
                      <a:pt x="158" y="294"/>
                    </a:lnTo>
                    <a:lnTo>
                      <a:pt x="156" y="294"/>
                    </a:lnTo>
                    <a:lnTo>
                      <a:pt x="155" y="294"/>
                    </a:lnTo>
                    <a:lnTo>
                      <a:pt x="153" y="294"/>
                    </a:lnTo>
                    <a:lnTo>
                      <a:pt x="151" y="294"/>
                    </a:lnTo>
                    <a:lnTo>
                      <a:pt x="150" y="294"/>
                    </a:lnTo>
                    <a:lnTo>
                      <a:pt x="148" y="294"/>
                    </a:lnTo>
                    <a:lnTo>
                      <a:pt x="146" y="294"/>
                    </a:lnTo>
                    <a:lnTo>
                      <a:pt x="144" y="294"/>
                    </a:lnTo>
                    <a:lnTo>
                      <a:pt x="143" y="294"/>
                    </a:lnTo>
                    <a:lnTo>
                      <a:pt x="141" y="294"/>
                    </a:lnTo>
                    <a:lnTo>
                      <a:pt x="139" y="294"/>
                    </a:lnTo>
                    <a:lnTo>
                      <a:pt x="138" y="294"/>
                    </a:lnTo>
                    <a:lnTo>
                      <a:pt x="138" y="296"/>
                    </a:lnTo>
                    <a:lnTo>
                      <a:pt x="136" y="296"/>
                    </a:lnTo>
                    <a:lnTo>
                      <a:pt x="136" y="294"/>
                    </a:lnTo>
                    <a:lnTo>
                      <a:pt x="138" y="294"/>
                    </a:lnTo>
                    <a:lnTo>
                      <a:pt x="138" y="292"/>
                    </a:lnTo>
                    <a:lnTo>
                      <a:pt x="136" y="292"/>
                    </a:lnTo>
                    <a:lnTo>
                      <a:pt x="136" y="291"/>
                    </a:lnTo>
                    <a:lnTo>
                      <a:pt x="134" y="291"/>
                    </a:lnTo>
                    <a:lnTo>
                      <a:pt x="134" y="289"/>
                    </a:lnTo>
                    <a:lnTo>
                      <a:pt x="136" y="289"/>
                    </a:lnTo>
                    <a:lnTo>
                      <a:pt x="136" y="287"/>
                    </a:lnTo>
                    <a:lnTo>
                      <a:pt x="138" y="287"/>
                    </a:lnTo>
                    <a:lnTo>
                      <a:pt x="139" y="287"/>
                    </a:lnTo>
                    <a:lnTo>
                      <a:pt x="138" y="287"/>
                    </a:lnTo>
                    <a:lnTo>
                      <a:pt x="139" y="286"/>
                    </a:lnTo>
                    <a:lnTo>
                      <a:pt x="138" y="286"/>
                    </a:lnTo>
                    <a:lnTo>
                      <a:pt x="139" y="286"/>
                    </a:lnTo>
                    <a:lnTo>
                      <a:pt x="141" y="286"/>
                    </a:lnTo>
                    <a:lnTo>
                      <a:pt x="139" y="284"/>
                    </a:lnTo>
                    <a:lnTo>
                      <a:pt x="141" y="284"/>
                    </a:lnTo>
                    <a:lnTo>
                      <a:pt x="141" y="282"/>
                    </a:lnTo>
                    <a:lnTo>
                      <a:pt x="141" y="280"/>
                    </a:lnTo>
                    <a:lnTo>
                      <a:pt x="143" y="280"/>
                    </a:lnTo>
                    <a:lnTo>
                      <a:pt x="144" y="280"/>
                    </a:lnTo>
                    <a:lnTo>
                      <a:pt x="144" y="279"/>
                    </a:lnTo>
                    <a:lnTo>
                      <a:pt x="146" y="279"/>
                    </a:lnTo>
                    <a:lnTo>
                      <a:pt x="146" y="277"/>
                    </a:lnTo>
                    <a:lnTo>
                      <a:pt x="146" y="275"/>
                    </a:lnTo>
                    <a:lnTo>
                      <a:pt x="148" y="275"/>
                    </a:lnTo>
                    <a:lnTo>
                      <a:pt x="148" y="274"/>
                    </a:lnTo>
                    <a:lnTo>
                      <a:pt x="150" y="274"/>
                    </a:lnTo>
                    <a:lnTo>
                      <a:pt x="148" y="272"/>
                    </a:lnTo>
                    <a:lnTo>
                      <a:pt x="148" y="270"/>
                    </a:lnTo>
                    <a:lnTo>
                      <a:pt x="150" y="270"/>
                    </a:lnTo>
                    <a:lnTo>
                      <a:pt x="151" y="270"/>
                    </a:lnTo>
                    <a:lnTo>
                      <a:pt x="150" y="268"/>
                    </a:lnTo>
                    <a:lnTo>
                      <a:pt x="151" y="268"/>
                    </a:lnTo>
                    <a:lnTo>
                      <a:pt x="151" y="267"/>
                    </a:lnTo>
                    <a:lnTo>
                      <a:pt x="150" y="267"/>
                    </a:lnTo>
                    <a:lnTo>
                      <a:pt x="150" y="265"/>
                    </a:lnTo>
                    <a:lnTo>
                      <a:pt x="150" y="263"/>
                    </a:lnTo>
                    <a:lnTo>
                      <a:pt x="151" y="263"/>
                    </a:lnTo>
                    <a:lnTo>
                      <a:pt x="151" y="262"/>
                    </a:lnTo>
                    <a:lnTo>
                      <a:pt x="150" y="262"/>
                    </a:lnTo>
                    <a:lnTo>
                      <a:pt x="150" y="260"/>
                    </a:lnTo>
                    <a:lnTo>
                      <a:pt x="151" y="260"/>
                    </a:lnTo>
                    <a:lnTo>
                      <a:pt x="151" y="258"/>
                    </a:lnTo>
                    <a:lnTo>
                      <a:pt x="151" y="257"/>
                    </a:lnTo>
                    <a:lnTo>
                      <a:pt x="151" y="255"/>
                    </a:lnTo>
                    <a:lnTo>
                      <a:pt x="153" y="255"/>
                    </a:lnTo>
                    <a:lnTo>
                      <a:pt x="153" y="253"/>
                    </a:lnTo>
                    <a:lnTo>
                      <a:pt x="151" y="253"/>
                    </a:lnTo>
                    <a:lnTo>
                      <a:pt x="153" y="253"/>
                    </a:lnTo>
                    <a:lnTo>
                      <a:pt x="153" y="251"/>
                    </a:lnTo>
                    <a:lnTo>
                      <a:pt x="155" y="251"/>
                    </a:lnTo>
                    <a:lnTo>
                      <a:pt x="155" y="250"/>
                    </a:lnTo>
                    <a:lnTo>
                      <a:pt x="156" y="250"/>
                    </a:lnTo>
                    <a:lnTo>
                      <a:pt x="158" y="250"/>
                    </a:lnTo>
                    <a:lnTo>
                      <a:pt x="158" y="248"/>
                    </a:lnTo>
                    <a:lnTo>
                      <a:pt x="160" y="248"/>
                    </a:lnTo>
                    <a:lnTo>
                      <a:pt x="160" y="246"/>
                    </a:lnTo>
                    <a:lnTo>
                      <a:pt x="161" y="246"/>
                    </a:lnTo>
                    <a:lnTo>
                      <a:pt x="161" y="245"/>
                    </a:lnTo>
                    <a:lnTo>
                      <a:pt x="161" y="243"/>
                    </a:lnTo>
                    <a:lnTo>
                      <a:pt x="163" y="243"/>
                    </a:lnTo>
                    <a:lnTo>
                      <a:pt x="161" y="241"/>
                    </a:lnTo>
                    <a:lnTo>
                      <a:pt x="161" y="240"/>
                    </a:lnTo>
                    <a:lnTo>
                      <a:pt x="163" y="240"/>
                    </a:lnTo>
                    <a:lnTo>
                      <a:pt x="165" y="240"/>
                    </a:lnTo>
                    <a:lnTo>
                      <a:pt x="165" y="238"/>
                    </a:lnTo>
                    <a:lnTo>
                      <a:pt x="163" y="238"/>
                    </a:lnTo>
                    <a:lnTo>
                      <a:pt x="163" y="236"/>
                    </a:lnTo>
                    <a:lnTo>
                      <a:pt x="165" y="236"/>
                    </a:lnTo>
                    <a:lnTo>
                      <a:pt x="167" y="236"/>
                    </a:lnTo>
                    <a:lnTo>
                      <a:pt x="167" y="234"/>
                    </a:lnTo>
                    <a:lnTo>
                      <a:pt x="165" y="234"/>
                    </a:lnTo>
                    <a:lnTo>
                      <a:pt x="167" y="233"/>
                    </a:lnTo>
                    <a:lnTo>
                      <a:pt x="168" y="233"/>
                    </a:lnTo>
                    <a:lnTo>
                      <a:pt x="168" y="231"/>
                    </a:lnTo>
                    <a:lnTo>
                      <a:pt x="170" y="231"/>
                    </a:lnTo>
                    <a:lnTo>
                      <a:pt x="170" y="229"/>
                    </a:lnTo>
                    <a:lnTo>
                      <a:pt x="172" y="229"/>
                    </a:lnTo>
                    <a:lnTo>
                      <a:pt x="172" y="228"/>
                    </a:lnTo>
                    <a:lnTo>
                      <a:pt x="172" y="226"/>
                    </a:lnTo>
                    <a:lnTo>
                      <a:pt x="172" y="224"/>
                    </a:lnTo>
                    <a:lnTo>
                      <a:pt x="172" y="223"/>
                    </a:lnTo>
                    <a:lnTo>
                      <a:pt x="170" y="223"/>
                    </a:lnTo>
                    <a:lnTo>
                      <a:pt x="168" y="223"/>
                    </a:lnTo>
                    <a:lnTo>
                      <a:pt x="168" y="221"/>
                    </a:lnTo>
                    <a:lnTo>
                      <a:pt x="167" y="221"/>
                    </a:lnTo>
                    <a:lnTo>
                      <a:pt x="167" y="219"/>
                    </a:lnTo>
                    <a:lnTo>
                      <a:pt x="168" y="219"/>
                    </a:lnTo>
                    <a:lnTo>
                      <a:pt x="167" y="219"/>
                    </a:lnTo>
                    <a:lnTo>
                      <a:pt x="167" y="217"/>
                    </a:lnTo>
                    <a:lnTo>
                      <a:pt x="165" y="216"/>
                    </a:lnTo>
                    <a:lnTo>
                      <a:pt x="167" y="216"/>
                    </a:lnTo>
                    <a:lnTo>
                      <a:pt x="165" y="216"/>
                    </a:lnTo>
                    <a:lnTo>
                      <a:pt x="165" y="214"/>
                    </a:lnTo>
                    <a:lnTo>
                      <a:pt x="163" y="214"/>
                    </a:lnTo>
                    <a:lnTo>
                      <a:pt x="163" y="212"/>
                    </a:lnTo>
                    <a:lnTo>
                      <a:pt x="161" y="211"/>
                    </a:lnTo>
                    <a:lnTo>
                      <a:pt x="160" y="211"/>
                    </a:lnTo>
                    <a:lnTo>
                      <a:pt x="158" y="211"/>
                    </a:lnTo>
                    <a:lnTo>
                      <a:pt x="156" y="209"/>
                    </a:lnTo>
                    <a:lnTo>
                      <a:pt x="156" y="211"/>
                    </a:lnTo>
                    <a:lnTo>
                      <a:pt x="156" y="209"/>
                    </a:lnTo>
                    <a:lnTo>
                      <a:pt x="156" y="211"/>
                    </a:lnTo>
                    <a:lnTo>
                      <a:pt x="156" y="209"/>
                    </a:lnTo>
                    <a:lnTo>
                      <a:pt x="155" y="211"/>
                    </a:lnTo>
                    <a:lnTo>
                      <a:pt x="155" y="209"/>
                    </a:lnTo>
                    <a:lnTo>
                      <a:pt x="153" y="209"/>
                    </a:lnTo>
                    <a:lnTo>
                      <a:pt x="153" y="207"/>
                    </a:lnTo>
                    <a:lnTo>
                      <a:pt x="151" y="207"/>
                    </a:lnTo>
                    <a:lnTo>
                      <a:pt x="150" y="206"/>
                    </a:lnTo>
                    <a:lnTo>
                      <a:pt x="148" y="206"/>
                    </a:lnTo>
                    <a:lnTo>
                      <a:pt x="148" y="207"/>
                    </a:lnTo>
                    <a:lnTo>
                      <a:pt x="146" y="207"/>
                    </a:lnTo>
                    <a:lnTo>
                      <a:pt x="146" y="209"/>
                    </a:lnTo>
                    <a:lnTo>
                      <a:pt x="146" y="207"/>
                    </a:lnTo>
                    <a:lnTo>
                      <a:pt x="144" y="207"/>
                    </a:lnTo>
                    <a:lnTo>
                      <a:pt x="144" y="206"/>
                    </a:lnTo>
                    <a:lnTo>
                      <a:pt x="143" y="206"/>
                    </a:lnTo>
                    <a:lnTo>
                      <a:pt x="143" y="204"/>
                    </a:lnTo>
                    <a:lnTo>
                      <a:pt x="141" y="204"/>
                    </a:lnTo>
                    <a:lnTo>
                      <a:pt x="141" y="202"/>
                    </a:lnTo>
                    <a:lnTo>
                      <a:pt x="139" y="202"/>
                    </a:lnTo>
                    <a:lnTo>
                      <a:pt x="138" y="202"/>
                    </a:lnTo>
                    <a:lnTo>
                      <a:pt x="136" y="202"/>
                    </a:lnTo>
                    <a:lnTo>
                      <a:pt x="134" y="202"/>
                    </a:lnTo>
                    <a:lnTo>
                      <a:pt x="134" y="200"/>
                    </a:lnTo>
                    <a:lnTo>
                      <a:pt x="133" y="200"/>
                    </a:lnTo>
                    <a:lnTo>
                      <a:pt x="131" y="200"/>
                    </a:lnTo>
                    <a:lnTo>
                      <a:pt x="129" y="200"/>
                    </a:lnTo>
                    <a:lnTo>
                      <a:pt x="129" y="199"/>
                    </a:lnTo>
                    <a:lnTo>
                      <a:pt x="127" y="199"/>
                    </a:lnTo>
                    <a:lnTo>
                      <a:pt x="127" y="197"/>
                    </a:lnTo>
                    <a:lnTo>
                      <a:pt x="126" y="197"/>
                    </a:lnTo>
                    <a:lnTo>
                      <a:pt x="124" y="195"/>
                    </a:lnTo>
                    <a:lnTo>
                      <a:pt x="122" y="195"/>
                    </a:lnTo>
                    <a:lnTo>
                      <a:pt x="121" y="194"/>
                    </a:lnTo>
                    <a:lnTo>
                      <a:pt x="119" y="194"/>
                    </a:lnTo>
                    <a:lnTo>
                      <a:pt x="117" y="192"/>
                    </a:lnTo>
                    <a:lnTo>
                      <a:pt x="116" y="192"/>
                    </a:lnTo>
                    <a:lnTo>
                      <a:pt x="116" y="190"/>
                    </a:lnTo>
                    <a:lnTo>
                      <a:pt x="114" y="190"/>
                    </a:lnTo>
                    <a:lnTo>
                      <a:pt x="112" y="189"/>
                    </a:lnTo>
                    <a:lnTo>
                      <a:pt x="110" y="187"/>
                    </a:lnTo>
                    <a:lnTo>
                      <a:pt x="109" y="187"/>
                    </a:lnTo>
                    <a:lnTo>
                      <a:pt x="109" y="185"/>
                    </a:lnTo>
                    <a:lnTo>
                      <a:pt x="107" y="183"/>
                    </a:lnTo>
                    <a:lnTo>
                      <a:pt x="104" y="182"/>
                    </a:lnTo>
                    <a:lnTo>
                      <a:pt x="97" y="177"/>
                    </a:lnTo>
                    <a:lnTo>
                      <a:pt x="88" y="172"/>
                    </a:lnTo>
                    <a:lnTo>
                      <a:pt x="87" y="172"/>
                    </a:lnTo>
                    <a:lnTo>
                      <a:pt x="85" y="173"/>
                    </a:lnTo>
                    <a:lnTo>
                      <a:pt x="83" y="173"/>
                    </a:lnTo>
                    <a:lnTo>
                      <a:pt x="82" y="173"/>
                    </a:lnTo>
                    <a:lnTo>
                      <a:pt x="80" y="173"/>
                    </a:lnTo>
                    <a:lnTo>
                      <a:pt x="78" y="172"/>
                    </a:lnTo>
                    <a:lnTo>
                      <a:pt x="76" y="172"/>
                    </a:lnTo>
                    <a:lnTo>
                      <a:pt x="76" y="170"/>
                    </a:lnTo>
                    <a:lnTo>
                      <a:pt x="75" y="170"/>
                    </a:lnTo>
                    <a:lnTo>
                      <a:pt x="73" y="170"/>
                    </a:lnTo>
                    <a:lnTo>
                      <a:pt x="71" y="170"/>
                    </a:lnTo>
                    <a:lnTo>
                      <a:pt x="70" y="170"/>
                    </a:lnTo>
                    <a:lnTo>
                      <a:pt x="70" y="168"/>
                    </a:lnTo>
                    <a:lnTo>
                      <a:pt x="68" y="168"/>
                    </a:lnTo>
                    <a:lnTo>
                      <a:pt x="66" y="168"/>
                    </a:lnTo>
                    <a:lnTo>
                      <a:pt x="66" y="166"/>
                    </a:lnTo>
                    <a:lnTo>
                      <a:pt x="65" y="166"/>
                    </a:lnTo>
                    <a:lnTo>
                      <a:pt x="63" y="166"/>
                    </a:lnTo>
                    <a:lnTo>
                      <a:pt x="61" y="166"/>
                    </a:lnTo>
                    <a:lnTo>
                      <a:pt x="59" y="165"/>
                    </a:lnTo>
                    <a:lnTo>
                      <a:pt x="58" y="163"/>
                    </a:lnTo>
                    <a:lnTo>
                      <a:pt x="58" y="165"/>
                    </a:lnTo>
                    <a:lnTo>
                      <a:pt x="56" y="165"/>
                    </a:lnTo>
                    <a:lnTo>
                      <a:pt x="56" y="163"/>
                    </a:lnTo>
                    <a:lnTo>
                      <a:pt x="54" y="161"/>
                    </a:lnTo>
                    <a:lnTo>
                      <a:pt x="54" y="160"/>
                    </a:lnTo>
                    <a:lnTo>
                      <a:pt x="53" y="160"/>
                    </a:lnTo>
                    <a:lnTo>
                      <a:pt x="53" y="158"/>
                    </a:lnTo>
                    <a:lnTo>
                      <a:pt x="53" y="156"/>
                    </a:lnTo>
                    <a:lnTo>
                      <a:pt x="51" y="156"/>
                    </a:lnTo>
                    <a:lnTo>
                      <a:pt x="51" y="155"/>
                    </a:lnTo>
                    <a:lnTo>
                      <a:pt x="49" y="155"/>
                    </a:lnTo>
                    <a:lnTo>
                      <a:pt x="48" y="155"/>
                    </a:lnTo>
                    <a:lnTo>
                      <a:pt x="48" y="153"/>
                    </a:lnTo>
                    <a:lnTo>
                      <a:pt x="46" y="153"/>
                    </a:lnTo>
                    <a:lnTo>
                      <a:pt x="46" y="151"/>
                    </a:lnTo>
                    <a:lnTo>
                      <a:pt x="44" y="151"/>
                    </a:lnTo>
                    <a:lnTo>
                      <a:pt x="42" y="151"/>
                    </a:lnTo>
                    <a:lnTo>
                      <a:pt x="41" y="151"/>
                    </a:lnTo>
                    <a:lnTo>
                      <a:pt x="41" y="149"/>
                    </a:lnTo>
                    <a:lnTo>
                      <a:pt x="39" y="149"/>
                    </a:lnTo>
                    <a:lnTo>
                      <a:pt x="39" y="148"/>
                    </a:lnTo>
                    <a:lnTo>
                      <a:pt x="37" y="148"/>
                    </a:lnTo>
                    <a:lnTo>
                      <a:pt x="37" y="146"/>
                    </a:lnTo>
                    <a:lnTo>
                      <a:pt x="36" y="146"/>
                    </a:lnTo>
                    <a:lnTo>
                      <a:pt x="36" y="144"/>
                    </a:lnTo>
                    <a:lnTo>
                      <a:pt x="34" y="144"/>
                    </a:lnTo>
                    <a:lnTo>
                      <a:pt x="32" y="144"/>
                    </a:lnTo>
                    <a:lnTo>
                      <a:pt x="32" y="143"/>
                    </a:lnTo>
                    <a:lnTo>
                      <a:pt x="31" y="143"/>
                    </a:lnTo>
                    <a:lnTo>
                      <a:pt x="31" y="141"/>
                    </a:lnTo>
                    <a:lnTo>
                      <a:pt x="29" y="141"/>
                    </a:lnTo>
                    <a:lnTo>
                      <a:pt x="29" y="139"/>
                    </a:lnTo>
                    <a:lnTo>
                      <a:pt x="27" y="139"/>
                    </a:lnTo>
                    <a:lnTo>
                      <a:pt x="27" y="138"/>
                    </a:lnTo>
                    <a:lnTo>
                      <a:pt x="25" y="138"/>
                    </a:lnTo>
                    <a:lnTo>
                      <a:pt x="24" y="136"/>
                    </a:lnTo>
                    <a:lnTo>
                      <a:pt x="22" y="136"/>
                    </a:lnTo>
                    <a:lnTo>
                      <a:pt x="22" y="134"/>
                    </a:lnTo>
                    <a:lnTo>
                      <a:pt x="20" y="134"/>
                    </a:lnTo>
                    <a:lnTo>
                      <a:pt x="20" y="132"/>
                    </a:lnTo>
                    <a:lnTo>
                      <a:pt x="19" y="131"/>
                    </a:lnTo>
                    <a:lnTo>
                      <a:pt x="19" y="129"/>
                    </a:lnTo>
                    <a:lnTo>
                      <a:pt x="17" y="127"/>
                    </a:lnTo>
                    <a:lnTo>
                      <a:pt x="15" y="126"/>
                    </a:lnTo>
                    <a:lnTo>
                      <a:pt x="15" y="124"/>
                    </a:lnTo>
                    <a:lnTo>
                      <a:pt x="15" y="122"/>
                    </a:lnTo>
                    <a:lnTo>
                      <a:pt x="15" y="121"/>
                    </a:lnTo>
                    <a:lnTo>
                      <a:pt x="14" y="122"/>
                    </a:lnTo>
                    <a:lnTo>
                      <a:pt x="14" y="121"/>
                    </a:lnTo>
                    <a:lnTo>
                      <a:pt x="14" y="119"/>
                    </a:lnTo>
                    <a:lnTo>
                      <a:pt x="15" y="119"/>
                    </a:lnTo>
                    <a:lnTo>
                      <a:pt x="14" y="119"/>
                    </a:lnTo>
                    <a:lnTo>
                      <a:pt x="15" y="117"/>
                    </a:lnTo>
                    <a:lnTo>
                      <a:pt x="14" y="117"/>
                    </a:lnTo>
                    <a:lnTo>
                      <a:pt x="12" y="117"/>
                    </a:lnTo>
                    <a:lnTo>
                      <a:pt x="12" y="115"/>
                    </a:lnTo>
                    <a:lnTo>
                      <a:pt x="10" y="115"/>
                    </a:lnTo>
                    <a:lnTo>
                      <a:pt x="12" y="115"/>
                    </a:lnTo>
                    <a:lnTo>
                      <a:pt x="10" y="115"/>
                    </a:lnTo>
                    <a:lnTo>
                      <a:pt x="10" y="114"/>
                    </a:lnTo>
                    <a:lnTo>
                      <a:pt x="10" y="115"/>
                    </a:lnTo>
                    <a:lnTo>
                      <a:pt x="10" y="114"/>
                    </a:lnTo>
                    <a:lnTo>
                      <a:pt x="8" y="114"/>
                    </a:lnTo>
                    <a:lnTo>
                      <a:pt x="7" y="114"/>
                    </a:lnTo>
                    <a:lnTo>
                      <a:pt x="7" y="112"/>
                    </a:lnTo>
                    <a:lnTo>
                      <a:pt x="5" y="112"/>
                    </a:lnTo>
                    <a:lnTo>
                      <a:pt x="3" y="112"/>
                    </a:lnTo>
                    <a:lnTo>
                      <a:pt x="3" y="110"/>
                    </a:lnTo>
                    <a:lnTo>
                      <a:pt x="2" y="109"/>
                    </a:lnTo>
                    <a:lnTo>
                      <a:pt x="0" y="109"/>
                    </a:lnTo>
                    <a:lnTo>
                      <a:pt x="2" y="109"/>
                    </a:lnTo>
                    <a:lnTo>
                      <a:pt x="2" y="107"/>
                    </a:lnTo>
                    <a:lnTo>
                      <a:pt x="0" y="107"/>
                    </a:lnTo>
                    <a:lnTo>
                      <a:pt x="3" y="95"/>
                    </a:lnTo>
                    <a:lnTo>
                      <a:pt x="7" y="86"/>
                    </a:lnTo>
                    <a:lnTo>
                      <a:pt x="14" y="64"/>
                    </a:lnTo>
                    <a:lnTo>
                      <a:pt x="14" y="61"/>
                    </a:lnTo>
                    <a:lnTo>
                      <a:pt x="14" y="46"/>
                    </a:lnTo>
                    <a:lnTo>
                      <a:pt x="15" y="42"/>
                    </a:lnTo>
                    <a:lnTo>
                      <a:pt x="25" y="29"/>
                    </a:lnTo>
                    <a:lnTo>
                      <a:pt x="25" y="27"/>
                    </a:lnTo>
                    <a:lnTo>
                      <a:pt x="31" y="13"/>
                    </a:lnTo>
                    <a:lnTo>
                      <a:pt x="32" y="13"/>
                    </a:lnTo>
                    <a:lnTo>
                      <a:pt x="70" y="7"/>
                    </a:lnTo>
                    <a:lnTo>
                      <a:pt x="90" y="0"/>
                    </a:lnTo>
                    <a:lnTo>
                      <a:pt x="122" y="0"/>
                    </a:lnTo>
                    <a:lnTo>
                      <a:pt x="139" y="12"/>
                    </a:lnTo>
                    <a:lnTo>
                      <a:pt x="143" y="13"/>
                    </a:lnTo>
                    <a:lnTo>
                      <a:pt x="151" y="20"/>
                    </a:lnTo>
                    <a:lnTo>
                      <a:pt x="150" y="22"/>
                    </a:lnTo>
                    <a:lnTo>
                      <a:pt x="151" y="22"/>
                    </a:lnTo>
                    <a:lnTo>
                      <a:pt x="151" y="24"/>
                    </a:lnTo>
                    <a:lnTo>
                      <a:pt x="150" y="24"/>
                    </a:lnTo>
                    <a:lnTo>
                      <a:pt x="151" y="24"/>
                    </a:lnTo>
                    <a:lnTo>
                      <a:pt x="151" y="25"/>
                    </a:lnTo>
                    <a:lnTo>
                      <a:pt x="151" y="27"/>
                    </a:lnTo>
                    <a:lnTo>
                      <a:pt x="151" y="29"/>
                    </a:lnTo>
                    <a:lnTo>
                      <a:pt x="153" y="29"/>
                    </a:lnTo>
                    <a:lnTo>
                      <a:pt x="153" y="30"/>
                    </a:lnTo>
                    <a:lnTo>
                      <a:pt x="151" y="30"/>
                    </a:lnTo>
                    <a:lnTo>
                      <a:pt x="151" y="3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41" name="Freeform 46">
                <a:extLst>
                  <a:ext uri="{FF2B5EF4-FFF2-40B4-BE49-F238E27FC236}">
                    <a16:creationId xmlns:a16="http://schemas.microsoft.com/office/drawing/2014/main" id="{12792B0A-5B7A-C755-177A-E86EA3952555}"/>
                  </a:ext>
                </a:extLst>
              </p:cNvPr>
              <p:cNvSpPr>
                <a:spLocks noEditPoints="1"/>
              </p:cNvSpPr>
              <p:nvPr/>
            </p:nvSpPr>
            <p:spPr bwMode="auto">
              <a:xfrm>
                <a:off x="5571662" y="2946832"/>
                <a:ext cx="126005" cy="185043"/>
              </a:xfrm>
              <a:custGeom>
                <a:avLst/>
                <a:gdLst>
                  <a:gd name="T0" fmla="*/ 367 w 429"/>
                  <a:gd name="T1" fmla="*/ 141 h 630"/>
                  <a:gd name="T2" fmla="*/ 347 w 429"/>
                  <a:gd name="T3" fmla="*/ 148 h 630"/>
                  <a:gd name="T4" fmla="*/ 323 w 429"/>
                  <a:gd name="T5" fmla="*/ 152 h 630"/>
                  <a:gd name="T6" fmla="*/ 299 w 429"/>
                  <a:gd name="T7" fmla="*/ 165 h 630"/>
                  <a:gd name="T8" fmla="*/ 284 w 429"/>
                  <a:gd name="T9" fmla="*/ 189 h 630"/>
                  <a:gd name="T10" fmla="*/ 276 w 429"/>
                  <a:gd name="T11" fmla="*/ 213 h 630"/>
                  <a:gd name="T12" fmla="*/ 259 w 429"/>
                  <a:gd name="T13" fmla="*/ 230 h 630"/>
                  <a:gd name="T14" fmla="*/ 259 w 429"/>
                  <a:gd name="T15" fmla="*/ 262 h 630"/>
                  <a:gd name="T16" fmla="*/ 272 w 429"/>
                  <a:gd name="T17" fmla="*/ 293 h 630"/>
                  <a:gd name="T18" fmla="*/ 294 w 429"/>
                  <a:gd name="T19" fmla="*/ 320 h 630"/>
                  <a:gd name="T20" fmla="*/ 310 w 429"/>
                  <a:gd name="T21" fmla="*/ 337 h 630"/>
                  <a:gd name="T22" fmla="*/ 357 w 429"/>
                  <a:gd name="T23" fmla="*/ 327 h 630"/>
                  <a:gd name="T24" fmla="*/ 364 w 429"/>
                  <a:gd name="T25" fmla="*/ 332 h 630"/>
                  <a:gd name="T26" fmla="*/ 376 w 429"/>
                  <a:gd name="T27" fmla="*/ 376 h 630"/>
                  <a:gd name="T28" fmla="*/ 408 w 429"/>
                  <a:gd name="T29" fmla="*/ 388 h 630"/>
                  <a:gd name="T30" fmla="*/ 427 w 429"/>
                  <a:gd name="T31" fmla="*/ 432 h 630"/>
                  <a:gd name="T32" fmla="*/ 420 w 429"/>
                  <a:gd name="T33" fmla="*/ 461 h 630"/>
                  <a:gd name="T34" fmla="*/ 417 w 429"/>
                  <a:gd name="T35" fmla="*/ 487 h 630"/>
                  <a:gd name="T36" fmla="*/ 408 w 429"/>
                  <a:gd name="T37" fmla="*/ 516 h 630"/>
                  <a:gd name="T38" fmla="*/ 413 w 429"/>
                  <a:gd name="T39" fmla="*/ 555 h 630"/>
                  <a:gd name="T40" fmla="*/ 403 w 429"/>
                  <a:gd name="T41" fmla="*/ 584 h 630"/>
                  <a:gd name="T42" fmla="*/ 388 w 429"/>
                  <a:gd name="T43" fmla="*/ 609 h 630"/>
                  <a:gd name="T44" fmla="*/ 366 w 429"/>
                  <a:gd name="T45" fmla="*/ 628 h 630"/>
                  <a:gd name="T46" fmla="*/ 339 w 429"/>
                  <a:gd name="T47" fmla="*/ 606 h 630"/>
                  <a:gd name="T48" fmla="*/ 313 w 429"/>
                  <a:gd name="T49" fmla="*/ 582 h 630"/>
                  <a:gd name="T50" fmla="*/ 281 w 429"/>
                  <a:gd name="T51" fmla="*/ 565 h 630"/>
                  <a:gd name="T52" fmla="*/ 248 w 429"/>
                  <a:gd name="T53" fmla="*/ 550 h 630"/>
                  <a:gd name="T54" fmla="*/ 216 w 429"/>
                  <a:gd name="T55" fmla="*/ 529 h 630"/>
                  <a:gd name="T56" fmla="*/ 194 w 429"/>
                  <a:gd name="T57" fmla="*/ 507 h 630"/>
                  <a:gd name="T58" fmla="*/ 172 w 429"/>
                  <a:gd name="T59" fmla="*/ 482 h 630"/>
                  <a:gd name="T60" fmla="*/ 172 w 429"/>
                  <a:gd name="T61" fmla="*/ 470 h 630"/>
                  <a:gd name="T62" fmla="*/ 160 w 429"/>
                  <a:gd name="T63" fmla="*/ 436 h 630"/>
                  <a:gd name="T64" fmla="*/ 141 w 429"/>
                  <a:gd name="T65" fmla="*/ 410 h 630"/>
                  <a:gd name="T66" fmla="*/ 126 w 429"/>
                  <a:gd name="T67" fmla="*/ 381 h 630"/>
                  <a:gd name="T68" fmla="*/ 112 w 429"/>
                  <a:gd name="T69" fmla="*/ 352 h 630"/>
                  <a:gd name="T70" fmla="*/ 99 w 429"/>
                  <a:gd name="T71" fmla="*/ 317 h 630"/>
                  <a:gd name="T72" fmla="*/ 87 w 429"/>
                  <a:gd name="T73" fmla="*/ 298 h 630"/>
                  <a:gd name="T74" fmla="*/ 67 w 429"/>
                  <a:gd name="T75" fmla="*/ 266 h 630"/>
                  <a:gd name="T76" fmla="*/ 46 w 429"/>
                  <a:gd name="T77" fmla="*/ 230 h 630"/>
                  <a:gd name="T78" fmla="*/ 9 w 429"/>
                  <a:gd name="T79" fmla="*/ 204 h 630"/>
                  <a:gd name="T80" fmla="*/ 5 w 429"/>
                  <a:gd name="T81" fmla="*/ 177 h 630"/>
                  <a:gd name="T82" fmla="*/ 4 w 429"/>
                  <a:gd name="T83" fmla="*/ 145 h 630"/>
                  <a:gd name="T84" fmla="*/ 31 w 429"/>
                  <a:gd name="T85" fmla="*/ 119 h 630"/>
                  <a:gd name="T86" fmla="*/ 29 w 429"/>
                  <a:gd name="T87" fmla="*/ 136 h 630"/>
                  <a:gd name="T88" fmla="*/ 39 w 429"/>
                  <a:gd name="T89" fmla="*/ 145 h 630"/>
                  <a:gd name="T90" fmla="*/ 70 w 429"/>
                  <a:gd name="T91" fmla="*/ 165 h 630"/>
                  <a:gd name="T92" fmla="*/ 92 w 429"/>
                  <a:gd name="T93" fmla="*/ 148 h 630"/>
                  <a:gd name="T94" fmla="*/ 101 w 429"/>
                  <a:gd name="T95" fmla="*/ 118 h 630"/>
                  <a:gd name="T96" fmla="*/ 128 w 429"/>
                  <a:gd name="T97" fmla="*/ 99 h 630"/>
                  <a:gd name="T98" fmla="*/ 199 w 429"/>
                  <a:gd name="T99" fmla="*/ 39 h 630"/>
                  <a:gd name="T100" fmla="*/ 203 w 429"/>
                  <a:gd name="T101" fmla="*/ 16 h 630"/>
                  <a:gd name="T102" fmla="*/ 216 w 429"/>
                  <a:gd name="T103" fmla="*/ 5 h 630"/>
                  <a:gd name="T104" fmla="*/ 235 w 429"/>
                  <a:gd name="T105" fmla="*/ 21 h 630"/>
                  <a:gd name="T106" fmla="*/ 248 w 429"/>
                  <a:gd name="T107" fmla="*/ 34 h 630"/>
                  <a:gd name="T108" fmla="*/ 265 w 429"/>
                  <a:gd name="T109" fmla="*/ 51 h 630"/>
                  <a:gd name="T110" fmla="*/ 279 w 429"/>
                  <a:gd name="T111" fmla="*/ 70 h 630"/>
                  <a:gd name="T112" fmla="*/ 298 w 429"/>
                  <a:gd name="T113" fmla="*/ 82 h 630"/>
                  <a:gd name="T114" fmla="*/ 322 w 429"/>
                  <a:gd name="T115" fmla="*/ 75 h 630"/>
                  <a:gd name="T116" fmla="*/ 342 w 429"/>
                  <a:gd name="T117" fmla="*/ 80 h 630"/>
                  <a:gd name="T118" fmla="*/ 367 w 429"/>
                  <a:gd name="T119" fmla="*/ 84 h 630"/>
                  <a:gd name="T120" fmla="*/ 371 w 429"/>
                  <a:gd name="T121" fmla="*/ 109 h 630"/>
                  <a:gd name="T122" fmla="*/ 381 w 429"/>
                  <a:gd name="T123" fmla="*/ 138 h 630"/>
                  <a:gd name="T124" fmla="*/ 36 w 429"/>
                  <a:gd name="T125" fmla="*/ 116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9" h="630">
                    <a:moveTo>
                      <a:pt x="384" y="143"/>
                    </a:moveTo>
                    <a:lnTo>
                      <a:pt x="384" y="145"/>
                    </a:lnTo>
                    <a:lnTo>
                      <a:pt x="384" y="147"/>
                    </a:lnTo>
                    <a:lnTo>
                      <a:pt x="384" y="148"/>
                    </a:lnTo>
                    <a:lnTo>
                      <a:pt x="383" y="148"/>
                    </a:lnTo>
                    <a:lnTo>
                      <a:pt x="381" y="147"/>
                    </a:lnTo>
                    <a:lnTo>
                      <a:pt x="381" y="145"/>
                    </a:lnTo>
                    <a:lnTo>
                      <a:pt x="379" y="145"/>
                    </a:lnTo>
                    <a:lnTo>
                      <a:pt x="379" y="143"/>
                    </a:lnTo>
                    <a:lnTo>
                      <a:pt x="379" y="145"/>
                    </a:lnTo>
                    <a:lnTo>
                      <a:pt x="378" y="145"/>
                    </a:lnTo>
                    <a:lnTo>
                      <a:pt x="378" y="147"/>
                    </a:lnTo>
                    <a:lnTo>
                      <a:pt x="376" y="147"/>
                    </a:lnTo>
                    <a:lnTo>
                      <a:pt x="376" y="145"/>
                    </a:lnTo>
                    <a:lnTo>
                      <a:pt x="376" y="147"/>
                    </a:lnTo>
                    <a:lnTo>
                      <a:pt x="374" y="145"/>
                    </a:lnTo>
                    <a:lnTo>
                      <a:pt x="373" y="143"/>
                    </a:lnTo>
                    <a:lnTo>
                      <a:pt x="374" y="143"/>
                    </a:lnTo>
                    <a:lnTo>
                      <a:pt x="374" y="141"/>
                    </a:lnTo>
                    <a:lnTo>
                      <a:pt x="373" y="140"/>
                    </a:lnTo>
                    <a:lnTo>
                      <a:pt x="373" y="141"/>
                    </a:lnTo>
                    <a:lnTo>
                      <a:pt x="371" y="141"/>
                    </a:lnTo>
                    <a:lnTo>
                      <a:pt x="371" y="140"/>
                    </a:lnTo>
                    <a:lnTo>
                      <a:pt x="369" y="140"/>
                    </a:lnTo>
                    <a:lnTo>
                      <a:pt x="367" y="140"/>
                    </a:lnTo>
                    <a:lnTo>
                      <a:pt x="369" y="140"/>
                    </a:lnTo>
                    <a:lnTo>
                      <a:pt x="367" y="140"/>
                    </a:lnTo>
                    <a:lnTo>
                      <a:pt x="367" y="141"/>
                    </a:lnTo>
                    <a:lnTo>
                      <a:pt x="367" y="140"/>
                    </a:lnTo>
                    <a:lnTo>
                      <a:pt x="367" y="141"/>
                    </a:lnTo>
                    <a:lnTo>
                      <a:pt x="366" y="141"/>
                    </a:lnTo>
                    <a:lnTo>
                      <a:pt x="366" y="140"/>
                    </a:lnTo>
                    <a:lnTo>
                      <a:pt x="364" y="140"/>
                    </a:lnTo>
                    <a:lnTo>
                      <a:pt x="366" y="140"/>
                    </a:lnTo>
                    <a:lnTo>
                      <a:pt x="364" y="141"/>
                    </a:lnTo>
                    <a:lnTo>
                      <a:pt x="362" y="141"/>
                    </a:lnTo>
                    <a:lnTo>
                      <a:pt x="362" y="140"/>
                    </a:lnTo>
                    <a:lnTo>
                      <a:pt x="361" y="140"/>
                    </a:lnTo>
                    <a:lnTo>
                      <a:pt x="361" y="141"/>
                    </a:lnTo>
                    <a:lnTo>
                      <a:pt x="359" y="141"/>
                    </a:lnTo>
                    <a:lnTo>
                      <a:pt x="357" y="140"/>
                    </a:lnTo>
                    <a:lnTo>
                      <a:pt x="357" y="141"/>
                    </a:lnTo>
                    <a:lnTo>
                      <a:pt x="356" y="141"/>
                    </a:lnTo>
                    <a:lnTo>
                      <a:pt x="356" y="143"/>
                    </a:lnTo>
                    <a:lnTo>
                      <a:pt x="354" y="143"/>
                    </a:lnTo>
                    <a:lnTo>
                      <a:pt x="354" y="145"/>
                    </a:lnTo>
                    <a:lnTo>
                      <a:pt x="354" y="147"/>
                    </a:lnTo>
                    <a:lnTo>
                      <a:pt x="352" y="147"/>
                    </a:lnTo>
                    <a:lnTo>
                      <a:pt x="352" y="148"/>
                    </a:lnTo>
                    <a:lnTo>
                      <a:pt x="350" y="148"/>
                    </a:lnTo>
                    <a:lnTo>
                      <a:pt x="350" y="147"/>
                    </a:lnTo>
                    <a:lnTo>
                      <a:pt x="349" y="147"/>
                    </a:lnTo>
                    <a:lnTo>
                      <a:pt x="350" y="147"/>
                    </a:lnTo>
                    <a:lnTo>
                      <a:pt x="350" y="148"/>
                    </a:lnTo>
                    <a:lnTo>
                      <a:pt x="349" y="148"/>
                    </a:lnTo>
                    <a:lnTo>
                      <a:pt x="347" y="148"/>
                    </a:lnTo>
                    <a:lnTo>
                      <a:pt x="345" y="148"/>
                    </a:lnTo>
                    <a:lnTo>
                      <a:pt x="344" y="148"/>
                    </a:lnTo>
                    <a:lnTo>
                      <a:pt x="344" y="150"/>
                    </a:lnTo>
                    <a:lnTo>
                      <a:pt x="342" y="148"/>
                    </a:lnTo>
                    <a:lnTo>
                      <a:pt x="340" y="148"/>
                    </a:lnTo>
                    <a:lnTo>
                      <a:pt x="340" y="150"/>
                    </a:lnTo>
                    <a:lnTo>
                      <a:pt x="339" y="150"/>
                    </a:lnTo>
                    <a:lnTo>
                      <a:pt x="339" y="148"/>
                    </a:lnTo>
                    <a:lnTo>
                      <a:pt x="339" y="150"/>
                    </a:lnTo>
                    <a:lnTo>
                      <a:pt x="337" y="150"/>
                    </a:lnTo>
                    <a:lnTo>
                      <a:pt x="335" y="150"/>
                    </a:lnTo>
                    <a:lnTo>
                      <a:pt x="335" y="152"/>
                    </a:lnTo>
                    <a:lnTo>
                      <a:pt x="335" y="150"/>
                    </a:lnTo>
                    <a:lnTo>
                      <a:pt x="333" y="150"/>
                    </a:lnTo>
                    <a:lnTo>
                      <a:pt x="332" y="150"/>
                    </a:lnTo>
                    <a:lnTo>
                      <a:pt x="333" y="152"/>
                    </a:lnTo>
                    <a:lnTo>
                      <a:pt x="332" y="152"/>
                    </a:lnTo>
                    <a:lnTo>
                      <a:pt x="332" y="150"/>
                    </a:lnTo>
                    <a:lnTo>
                      <a:pt x="332" y="152"/>
                    </a:lnTo>
                    <a:lnTo>
                      <a:pt x="330" y="152"/>
                    </a:lnTo>
                    <a:lnTo>
                      <a:pt x="330" y="153"/>
                    </a:lnTo>
                    <a:lnTo>
                      <a:pt x="328" y="153"/>
                    </a:lnTo>
                    <a:lnTo>
                      <a:pt x="328" y="152"/>
                    </a:lnTo>
                    <a:lnTo>
                      <a:pt x="327" y="152"/>
                    </a:lnTo>
                    <a:lnTo>
                      <a:pt x="325" y="152"/>
                    </a:lnTo>
                    <a:lnTo>
                      <a:pt x="323" y="152"/>
                    </a:lnTo>
                    <a:lnTo>
                      <a:pt x="325" y="152"/>
                    </a:lnTo>
                    <a:lnTo>
                      <a:pt x="323" y="152"/>
                    </a:lnTo>
                    <a:lnTo>
                      <a:pt x="322" y="152"/>
                    </a:lnTo>
                    <a:lnTo>
                      <a:pt x="320" y="152"/>
                    </a:lnTo>
                    <a:lnTo>
                      <a:pt x="320" y="153"/>
                    </a:lnTo>
                    <a:lnTo>
                      <a:pt x="320" y="152"/>
                    </a:lnTo>
                    <a:lnTo>
                      <a:pt x="318" y="152"/>
                    </a:lnTo>
                    <a:lnTo>
                      <a:pt x="320" y="153"/>
                    </a:lnTo>
                    <a:lnTo>
                      <a:pt x="318" y="153"/>
                    </a:lnTo>
                    <a:lnTo>
                      <a:pt x="318" y="155"/>
                    </a:lnTo>
                    <a:lnTo>
                      <a:pt x="316" y="155"/>
                    </a:lnTo>
                    <a:lnTo>
                      <a:pt x="316" y="157"/>
                    </a:lnTo>
                    <a:lnTo>
                      <a:pt x="315" y="157"/>
                    </a:lnTo>
                    <a:lnTo>
                      <a:pt x="313" y="157"/>
                    </a:lnTo>
                    <a:lnTo>
                      <a:pt x="313" y="159"/>
                    </a:lnTo>
                    <a:lnTo>
                      <a:pt x="311" y="159"/>
                    </a:lnTo>
                    <a:lnTo>
                      <a:pt x="311" y="160"/>
                    </a:lnTo>
                    <a:lnTo>
                      <a:pt x="311" y="159"/>
                    </a:lnTo>
                    <a:lnTo>
                      <a:pt x="310" y="160"/>
                    </a:lnTo>
                    <a:lnTo>
                      <a:pt x="308" y="160"/>
                    </a:lnTo>
                    <a:lnTo>
                      <a:pt x="308" y="162"/>
                    </a:lnTo>
                    <a:lnTo>
                      <a:pt x="306" y="160"/>
                    </a:lnTo>
                    <a:lnTo>
                      <a:pt x="308" y="162"/>
                    </a:lnTo>
                    <a:lnTo>
                      <a:pt x="306" y="162"/>
                    </a:lnTo>
                    <a:lnTo>
                      <a:pt x="305" y="162"/>
                    </a:lnTo>
                    <a:lnTo>
                      <a:pt x="303" y="162"/>
                    </a:lnTo>
                    <a:lnTo>
                      <a:pt x="303" y="164"/>
                    </a:lnTo>
                    <a:lnTo>
                      <a:pt x="303" y="165"/>
                    </a:lnTo>
                    <a:lnTo>
                      <a:pt x="301" y="165"/>
                    </a:lnTo>
                    <a:lnTo>
                      <a:pt x="299" y="165"/>
                    </a:lnTo>
                    <a:lnTo>
                      <a:pt x="301" y="165"/>
                    </a:lnTo>
                    <a:lnTo>
                      <a:pt x="299" y="167"/>
                    </a:lnTo>
                    <a:lnTo>
                      <a:pt x="298" y="167"/>
                    </a:lnTo>
                    <a:lnTo>
                      <a:pt x="296" y="169"/>
                    </a:lnTo>
                    <a:lnTo>
                      <a:pt x="294" y="169"/>
                    </a:lnTo>
                    <a:lnTo>
                      <a:pt x="296" y="169"/>
                    </a:lnTo>
                    <a:lnTo>
                      <a:pt x="294" y="169"/>
                    </a:lnTo>
                    <a:lnTo>
                      <a:pt x="296" y="170"/>
                    </a:lnTo>
                    <a:lnTo>
                      <a:pt x="294" y="170"/>
                    </a:lnTo>
                    <a:lnTo>
                      <a:pt x="293" y="170"/>
                    </a:lnTo>
                    <a:lnTo>
                      <a:pt x="291" y="170"/>
                    </a:lnTo>
                    <a:lnTo>
                      <a:pt x="291" y="172"/>
                    </a:lnTo>
                    <a:lnTo>
                      <a:pt x="289" y="172"/>
                    </a:lnTo>
                    <a:lnTo>
                      <a:pt x="288" y="172"/>
                    </a:lnTo>
                    <a:lnTo>
                      <a:pt x="288" y="174"/>
                    </a:lnTo>
                    <a:lnTo>
                      <a:pt x="286" y="174"/>
                    </a:lnTo>
                    <a:lnTo>
                      <a:pt x="286" y="176"/>
                    </a:lnTo>
                    <a:lnTo>
                      <a:pt x="286" y="177"/>
                    </a:lnTo>
                    <a:lnTo>
                      <a:pt x="286" y="179"/>
                    </a:lnTo>
                    <a:lnTo>
                      <a:pt x="286" y="181"/>
                    </a:lnTo>
                    <a:lnTo>
                      <a:pt x="286" y="182"/>
                    </a:lnTo>
                    <a:lnTo>
                      <a:pt x="284" y="182"/>
                    </a:lnTo>
                    <a:lnTo>
                      <a:pt x="284" y="184"/>
                    </a:lnTo>
                    <a:lnTo>
                      <a:pt x="284" y="186"/>
                    </a:lnTo>
                    <a:lnTo>
                      <a:pt x="282" y="186"/>
                    </a:lnTo>
                    <a:lnTo>
                      <a:pt x="284" y="186"/>
                    </a:lnTo>
                    <a:lnTo>
                      <a:pt x="284" y="187"/>
                    </a:lnTo>
                    <a:lnTo>
                      <a:pt x="284" y="189"/>
                    </a:lnTo>
                    <a:lnTo>
                      <a:pt x="282" y="189"/>
                    </a:lnTo>
                    <a:lnTo>
                      <a:pt x="282" y="191"/>
                    </a:lnTo>
                    <a:lnTo>
                      <a:pt x="284" y="191"/>
                    </a:lnTo>
                    <a:lnTo>
                      <a:pt x="282" y="191"/>
                    </a:lnTo>
                    <a:lnTo>
                      <a:pt x="282" y="193"/>
                    </a:lnTo>
                    <a:lnTo>
                      <a:pt x="282" y="194"/>
                    </a:lnTo>
                    <a:lnTo>
                      <a:pt x="281" y="194"/>
                    </a:lnTo>
                    <a:lnTo>
                      <a:pt x="281" y="196"/>
                    </a:lnTo>
                    <a:lnTo>
                      <a:pt x="279" y="196"/>
                    </a:lnTo>
                    <a:lnTo>
                      <a:pt x="279" y="198"/>
                    </a:lnTo>
                    <a:lnTo>
                      <a:pt x="277" y="198"/>
                    </a:lnTo>
                    <a:lnTo>
                      <a:pt x="277" y="199"/>
                    </a:lnTo>
                    <a:lnTo>
                      <a:pt x="276" y="199"/>
                    </a:lnTo>
                    <a:lnTo>
                      <a:pt x="276" y="201"/>
                    </a:lnTo>
                    <a:lnTo>
                      <a:pt x="276" y="203"/>
                    </a:lnTo>
                    <a:lnTo>
                      <a:pt x="274" y="203"/>
                    </a:lnTo>
                    <a:lnTo>
                      <a:pt x="276" y="204"/>
                    </a:lnTo>
                    <a:lnTo>
                      <a:pt x="274" y="203"/>
                    </a:lnTo>
                    <a:lnTo>
                      <a:pt x="274" y="204"/>
                    </a:lnTo>
                    <a:lnTo>
                      <a:pt x="274" y="206"/>
                    </a:lnTo>
                    <a:lnTo>
                      <a:pt x="274" y="208"/>
                    </a:lnTo>
                    <a:lnTo>
                      <a:pt x="274" y="210"/>
                    </a:lnTo>
                    <a:lnTo>
                      <a:pt x="276" y="210"/>
                    </a:lnTo>
                    <a:lnTo>
                      <a:pt x="274" y="210"/>
                    </a:lnTo>
                    <a:lnTo>
                      <a:pt x="276" y="210"/>
                    </a:lnTo>
                    <a:lnTo>
                      <a:pt x="276" y="211"/>
                    </a:lnTo>
                    <a:lnTo>
                      <a:pt x="277" y="213"/>
                    </a:lnTo>
                    <a:lnTo>
                      <a:pt x="276" y="213"/>
                    </a:lnTo>
                    <a:lnTo>
                      <a:pt x="277" y="213"/>
                    </a:lnTo>
                    <a:lnTo>
                      <a:pt x="277" y="215"/>
                    </a:lnTo>
                    <a:lnTo>
                      <a:pt x="277" y="216"/>
                    </a:lnTo>
                    <a:lnTo>
                      <a:pt x="279" y="216"/>
                    </a:lnTo>
                    <a:lnTo>
                      <a:pt x="277" y="218"/>
                    </a:lnTo>
                    <a:lnTo>
                      <a:pt x="279" y="218"/>
                    </a:lnTo>
                    <a:lnTo>
                      <a:pt x="277" y="218"/>
                    </a:lnTo>
                    <a:lnTo>
                      <a:pt x="277" y="220"/>
                    </a:lnTo>
                    <a:lnTo>
                      <a:pt x="277" y="221"/>
                    </a:lnTo>
                    <a:lnTo>
                      <a:pt x="276" y="220"/>
                    </a:lnTo>
                    <a:lnTo>
                      <a:pt x="276" y="221"/>
                    </a:lnTo>
                    <a:lnTo>
                      <a:pt x="276" y="223"/>
                    </a:lnTo>
                    <a:lnTo>
                      <a:pt x="274" y="221"/>
                    </a:lnTo>
                    <a:lnTo>
                      <a:pt x="274" y="223"/>
                    </a:lnTo>
                    <a:lnTo>
                      <a:pt x="272" y="223"/>
                    </a:lnTo>
                    <a:lnTo>
                      <a:pt x="271" y="223"/>
                    </a:lnTo>
                    <a:lnTo>
                      <a:pt x="269" y="223"/>
                    </a:lnTo>
                    <a:lnTo>
                      <a:pt x="269" y="225"/>
                    </a:lnTo>
                    <a:lnTo>
                      <a:pt x="267" y="225"/>
                    </a:lnTo>
                    <a:lnTo>
                      <a:pt x="265" y="225"/>
                    </a:lnTo>
                    <a:lnTo>
                      <a:pt x="265" y="227"/>
                    </a:lnTo>
                    <a:lnTo>
                      <a:pt x="265" y="225"/>
                    </a:lnTo>
                    <a:lnTo>
                      <a:pt x="264" y="227"/>
                    </a:lnTo>
                    <a:lnTo>
                      <a:pt x="264" y="228"/>
                    </a:lnTo>
                    <a:lnTo>
                      <a:pt x="262" y="228"/>
                    </a:lnTo>
                    <a:lnTo>
                      <a:pt x="260" y="228"/>
                    </a:lnTo>
                    <a:lnTo>
                      <a:pt x="260" y="230"/>
                    </a:lnTo>
                    <a:lnTo>
                      <a:pt x="259" y="230"/>
                    </a:lnTo>
                    <a:lnTo>
                      <a:pt x="259" y="232"/>
                    </a:lnTo>
                    <a:lnTo>
                      <a:pt x="257" y="232"/>
                    </a:lnTo>
                    <a:lnTo>
                      <a:pt x="257" y="233"/>
                    </a:lnTo>
                    <a:lnTo>
                      <a:pt x="257" y="235"/>
                    </a:lnTo>
                    <a:lnTo>
                      <a:pt x="257" y="237"/>
                    </a:lnTo>
                    <a:lnTo>
                      <a:pt x="257" y="238"/>
                    </a:lnTo>
                    <a:lnTo>
                      <a:pt x="255" y="240"/>
                    </a:lnTo>
                    <a:lnTo>
                      <a:pt x="257" y="244"/>
                    </a:lnTo>
                    <a:lnTo>
                      <a:pt x="259" y="245"/>
                    </a:lnTo>
                    <a:lnTo>
                      <a:pt x="259" y="247"/>
                    </a:lnTo>
                    <a:lnTo>
                      <a:pt x="257" y="247"/>
                    </a:lnTo>
                    <a:lnTo>
                      <a:pt x="257" y="249"/>
                    </a:lnTo>
                    <a:lnTo>
                      <a:pt x="255" y="249"/>
                    </a:lnTo>
                    <a:lnTo>
                      <a:pt x="254" y="249"/>
                    </a:lnTo>
                    <a:lnTo>
                      <a:pt x="252" y="250"/>
                    </a:lnTo>
                    <a:lnTo>
                      <a:pt x="250" y="249"/>
                    </a:lnTo>
                    <a:lnTo>
                      <a:pt x="250" y="252"/>
                    </a:lnTo>
                    <a:lnTo>
                      <a:pt x="250" y="254"/>
                    </a:lnTo>
                    <a:lnTo>
                      <a:pt x="250" y="255"/>
                    </a:lnTo>
                    <a:lnTo>
                      <a:pt x="248" y="255"/>
                    </a:lnTo>
                    <a:lnTo>
                      <a:pt x="250" y="257"/>
                    </a:lnTo>
                    <a:lnTo>
                      <a:pt x="252" y="259"/>
                    </a:lnTo>
                    <a:lnTo>
                      <a:pt x="254" y="259"/>
                    </a:lnTo>
                    <a:lnTo>
                      <a:pt x="254" y="261"/>
                    </a:lnTo>
                    <a:lnTo>
                      <a:pt x="255" y="261"/>
                    </a:lnTo>
                    <a:lnTo>
                      <a:pt x="255" y="262"/>
                    </a:lnTo>
                    <a:lnTo>
                      <a:pt x="257" y="262"/>
                    </a:lnTo>
                    <a:lnTo>
                      <a:pt x="259" y="262"/>
                    </a:lnTo>
                    <a:lnTo>
                      <a:pt x="259" y="264"/>
                    </a:lnTo>
                    <a:lnTo>
                      <a:pt x="259" y="266"/>
                    </a:lnTo>
                    <a:lnTo>
                      <a:pt x="257" y="267"/>
                    </a:lnTo>
                    <a:lnTo>
                      <a:pt x="257" y="266"/>
                    </a:lnTo>
                    <a:lnTo>
                      <a:pt x="257" y="267"/>
                    </a:lnTo>
                    <a:lnTo>
                      <a:pt x="255" y="267"/>
                    </a:lnTo>
                    <a:lnTo>
                      <a:pt x="257" y="267"/>
                    </a:lnTo>
                    <a:lnTo>
                      <a:pt x="257" y="269"/>
                    </a:lnTo>
                    <a:lnTo>
                      <a:pt x="259" y="269"/>
                    </a:lnTo>
                    <a:lnTo>
                      <a:pt x="259" y="271"/>
                    </a:lnTo>
                    <a:lnTo>
                      <a:pt x="260" y="271"/>
                    </a:lnTo>
                    <a:lnTo>
                      <a:pt x="260" y="272"/>
                    </a:lnTo>
                    <a:lnTo>
                      <a:pt x="262" y="274"/>
                    </a:lnTo>
                    <a:lnTo>
                      <a:pt x="262" y="276"/>
                    </a:lnTo>
                    <a:lnTo>
                      <a:pt x="262" y="278"/>
                    </a:lnTo>
                    <a:lnTo>
                      <a:pt x="264" y="279"/>
                    </a:lnTo>
                    <a:lnTo>
                      <a:pt x="264" y="281"/>
                    </a:lnTo>
                    <a:lnTo>
                      <a:pt x="264" y="283"/>
                    </a:lnTo>
                    <a:lnTo>
                      <a:pt x="265" y="284"/>
                    </a:lnTo>
                    <a:lnTo>
                      <a:pt x="267" y="284"/>
                    </a:lnTo>
                    <a:lnTo>
                      <a:pt x="269" y="284"/>
                    </a:lnTo>
                    <a:lnTo>
                      <a:pt x="269" y="286"/>
                    </a:lnTo>
                    <a:lnTo>
                      <a:pt x="269" y="288"/>
                    </a:lnTo>
                    <a:lnTo>
                      <a:pt x="271" y="288"/>
                    </a:lnTo>
                    <a:lnTo>
                      <a:pt x="271" y="289"/>
                    </a:lnTo>
                    <a:lnTo>
                      <a:pt x="271" y="291"/>
                    </a:lnTo>
                    <a:lnTo>
                      <a:pt x="271" y="293"/>
                    </a:lnTo>
                    <a:lnTo>
                      <a:pt x="272" y="293"/>
                    </a:lnTo>
                    <a:lnTo>
                      <a:pt x="272" y="295"/>
                    </a:lnTo>
                    <a:lnTo>
                      <a:pt x="274" y="295"/>
                    </a:lnTo>
                    <a:lnTo>
                      <a:pt x="276" y="295"/>
                    </a:lnTo>
                    <a:lnTo>
                      <a:pt x="277" y="295"/>
                    </a:lnTo>
                    <a:lnTo>
                      <a:pt x="277" y="296"/>
                    </a:lnTo>
                    <a:lnTo>
                      <a:pt x="277" y="298"/>
                    </a:lnTo>
                    <a:lnTo>
                      <a:pt x="279" y="300"/>
                    </a:lnTo>
                    <a:lnTo>
                      <a:pt x="281" y="301"/>
                    </a:lnTo>
                    <a:lnTo>
                      <a:pt x="282" y="303"/>
                    </a:lnTo>
                    <a:lnTo>
                      <a:pt x="282" y="305"/>
                    </a:lnTo>
                    <a:lnTo>
                      <a:pt x="284" y="305"/>
                    </a:lnTo>
                    <a:lnTo>
                      <a:pt x="284" y="307"/>
                    </a:lnTo>
                    <a:lnTo>
                      <a:pt x="284" y="308"/>
                    </a:lnTo>
                    <a:lnTo>
                      <a:pt x="284" y="310"/>
                    </a:lnTo>
                    <a:lnTo>
                      <a:pt x="282" y="310"/>
                    </a:lnTo>
                    <a:lnTo>
                      <a:pt x="281" y="312"/>
                    </a:lnTo>
                    <a:lnTo>
                      <a:pt x="282" y="312"/>
                    </a:lnTo>
                    <a:lnTo>
                      <a:pt x="281" y="313"/>
                    </a:lnTo>
                    <a:lnTo>
                      <a:pt x="279" y="313"/>
                    </a:lnTo>
                    <a:lnTo>
                      <a:pt x="279" y="315"/>
                    </a:lnTo>
                    <a:lnTo>
                      <a:pt x="277" y="317"/>
                    </a:lnTo>
                    <a:lnTo>
                      <a:pt x="276" y="317"/>
                    </a:lnTo>
                    <a:lnTo>
                      <a:pt x="276" y="318"/>
                    </a:lnTo>
                    <a:lnTo>
                      <a:pt x="284" y="318"/>
                    </a:lnTo>
                    <a:lnTo>
                      <a:pt x="291" y="318"/>
                    </a:lnTo>
                    <a:lnTo>
                      <a:pt x="291" y="320"/>
                    </a:lnTo>
                    <a:lnTo>
                      <a:pt x="293" y="320"/>
                    </a:lnTo>
                    <a:lnTo>
                      <a:pt x="294" y="320"/>
                    </a:lnTo>
                    <a:lnTo>
                      <a:pt x="296" y="320"/>
                    </a:lnTo>
                    <a:lnTo>
                      <a:pt x="296" y="322"/>
                    </a:lnTo>
                    <a:lnTo>
                      <a:pt x="298" y="322"/>
                    </a:lnTo>
                    <a:lnTo>
                      <a:pt x="299" y="322"/>
                    </a:lnTo>
                    <a:lnTo>
                      <a:pt x="301" y="322"/>
                    </a:lnTo>
                    <a:lnTo>
                      <a:pt x="303" y="322"/>
                    </a:lnTo>
                    <a:lnTo>
                      <a:pt x="305" y="322"/>
                    </a:lnTo>
                    <a:lnTo>
                      <a:pt x="305" y="324"/>
                    </a:lnTo>
                    <a:lnTo>
                      <a:pt x="306" y="324"/>
                    </a:lnTo>
                    <a:lnTo>
                      <a:pt x="306" y="325"/>
                    </a:lnTo>
                    <a:lnTo>
                      <a:pt x="306" y="327"/>
                    </a:lnTo>
                    <a:lnTo>
                      <a:pt x="308" y="327"/>
                    </a:lnTo>
                    <a:lnTo>
                      <a:pt x="306" y="327"/>
                    </a:lnTo>
                    <a:lnTo>
                      <a:pt x="308" y="327"/>
                    </a:lnTo>
                    <a:lnTo>
                      <a:pt x="308" y="329"/>
                    </a:lnTo>
                    <a:lnTo>
                      <a:pt x="306" y="329"/>
                    </a:lnTo>
                    <a:lnTo>
                      <a:pt x="308" y="330"/>
                    </a:lnTo>
                    <a:lnTo>
                      <a:pt x="306" y="330"/>
                    </a:lnTo>
                    <a:lnTo>
                      <a:pt x="308" y="330"/>
                    </a:lnTo>
                    <a:lnTo>
                      <a:pt x="308" y="332"/>
                    </a:lnTo>
                    <a:lnTo>
                      <a:pt x="310" y="332"/>
                    </a:lnTo>
                    <a:lnTo>
                      <a:pt x="311" y="332"/>
                    </a:lnTo>
                    <a:lnTo>
                      <a:pt x="310" y="334"/>
                    </a:lnTo>
                    <a:lnTo>
                      <a:pt x="311" y="334"/>
                    </a:lnTo>
                    <a:lnTo>
                      <a:pt x="310" y="334"/>
                    </a:lnTo>
                    <a:lnTo>
                      <a:pt x="311" y="335"/>
                    </a:lnTo>
                    <a:lnTo>
                      <a:pt x="310" y="335"/>
                    </a:lnTo>
                    <a:lnTo>
                      <a:pt x="310" y="337"/>
                    </a:lnTo>
                    <a:lnTo>
                      <a:pt x="311" y="339"/>
                    </a:lnTo>
                    <a:lnTo>
                      <a:pt x="310" y="339"/>
                    </a:lnTo>
                    <a:lnTo>
                      <a:pt x="315" y="339"/>
                    </a:lnTo>
                    <a:lnTo>
                      <a:pt x="318" y="339"/>
                    </a:lnTo>
                    <a:lnTo>
                      <a:pt x="322" y="339"/>
                    </a:lnTo>
                    <a:lnTo>
                      <a:pt x="325" y="339"/>
                    </a:lnTo>
                    <a:lnTo>
                      <a:pt x="328" y="339"/>
                    </a:lnTo>
                    <a:lnTo>
                      <a:pt x="332" y="339"/>
                    </a:lnTo>
                    <a:lnTo>
                      <a:pt x="333" y="339"/>
                    </a:lnTo>
                    <a:lnTo>
                      <a:pt x="337" y="339"/>
                    </a:lnTo>
                    <a:lnTo>
                      <a:pt x="339" y="339"/>
                    </a:lnTo>
                    <a:lnTo>
                      <a:pt x="340" y="339"/>
                    </a:lnTo>
                    <a:lnTo>
                      <a:pt x="342" y="339"/>
                    </a:lnTo>
                    <a:lnTo>
                      <a:pt x="342" y="337"/>
                    </a:lnTo>
                    <a:lnTo>
                      <a:pt x="344" y="337"/>
                    </a:lnTo>
                    <a:lnTo>
                      <a:pt x="344" y="335"/>
                    </a:lnTo>
                    <a:lnTo>
                      <a:pt x="345" y="335"/>
                    </a:lnTo>
                    <a:lnTo>
                      <a:pt x="345" y="334"/>
                    </a:lnTo>
                    <a:lnTo>
                      <a:pt x="347" y="334"/>
                    </a:lnTo>
                    <a:lnTo>
                      <a:pt x="349" y="334"/>
                    </a:lnTo>
                    <a:lnTo>
                      <a:pt x="350" y="334"/>
                    </a:lnTo>
                    <a:lnTo>
                      <a:pt x="350" y="332"/>
                    </a:lnTo>
                    <a:lnTo>
                      <a:pt x="350" y="330"/>
                    </a:lnTo>
                    <a:lnTo>
                      <a:pt x="352" y="330"/>
                    </a:lnTo>
                    <a:lnTo>
                      <a:pt x="354" y="329"/>
                    </a:lnTo>
                    <a:lnTo>
                      <a:pt x="354" y="327"/>
                    </a:lnTo>
                    <a:lnTo>
                      <a:pt x="356" y="327"/>
                    </a:lnTo>
                    <a:lnTo>
                      <a:pt x="357" y="327"/>
                    </a:lnTo>
                    <a:lnTo>
                      <a:pt x="357" y="325"/>
                    </a:lnTo>
                    <a:lnTo>
                      <a:pt x="357" y="324"/>
                    </a:lnTo>
                    <a:lnTo>
                      <a:pt x="359" y="325"/>
                    </a:lnTo>
                    <a:lnTo>
                      <a:pt x="359" y="324"/>
                    </a:lnTo>
                    <a:lnTo>
                      <a:pt x="361" y="324"/>
                    </a:lnTo>
                    <a:lnTo>
                      <a:pt x="361" y="322"/>
                    </a:lnTo>
                    <a:lnTo>
                      <a:pt x="362" y="322"/>
                    </a:lnTo>
                    <a:lnTo>
                      <a:pt x="362" y="320"/>
                    </a:lnTo>
                    <a:lnTo>
                      <a:pt x="364" y="320"/>
                    </a:lnTo>
                    <a:lnTo>
                      <a:pt x="366" y="320"/>
                    </a:lnTo>
                    <a:lnTo>
                      <a:pt x="366" y="322"/>
                    </a:lnTo>
                    <a:lnTo>
                      <a:pt x="366" y="324"/>
                    </a:lnTo>
                    <a:lnTo>
                      <a:pt x="364" y="324"/>
                    </a:lnTo>
                    <a:lnTo>
                      <a:pt x="366" y="324"/>
                    </a:lnTo>
                    <a:lnTo>
                      <a:pt x="364" y="324"/>
                    </a:lnTo>
                    <a:lnTo>
                      <a:pt x="364" y="325"/>
                    </a:lnTo>
                    <a:lnTo>
                      <a:pt x="364" y="324"/>
                    </a:lnTo>
                    <a:lnTo>
                      <a:pt x="364" y="325"/>
                    </a:lnTo>
                    <a:lnTo>
                      <a:pt x="364" y="324"/>
                    </a:lnTo>
                    <a:lnTo>
                      <a:pt x="362" y="324"/>
                    </a:lnTo>
                    <a:lnTo>
                      <a:pt x="364" y="325"/>
                    </a:lnTo>
                    <a:lnTo>
                      <a:pt x="362" y="325"/>
                    </a:lnTo>
                    <a:lnTo>
                      <a:pt x="364" y="327"/>
                    </a:lnTo>
                    <a:lnTo>
                      <a:pt x="364" y="329"/>
                    </a:lnTo>
                    <a:lnTo>
                      <a:pt x="366" y="329"/>
                    </a:lnTo>
                    <a:lnTo>
                      <a:pt x="366" y="330"/>
                    </a:lnTo>
                    <a:lnTo>
                      <a:pt x="366" y="332"/>
                    </a:lnTo>
                    <a:lnTo>
                      <a:pt x="364" y="332"/>
                    </a:lnTo>
                    <a:lnTo>
                      <a:pt x="362" y="332"/>
                    </a:lnTo>
                    <a:lnTo>
                      <a:pt x="362" y="334"/>
                    </a:lnTo>
                    <a:lnTo>
                      <a:pt x="362" y="335"/>
                    </a:lnTo>
                    <a:lnTo>
                      <a:pt x="362" y="339"/>
                    </a:lnTo>
                    <a:lnTo>
                      <a:pt x="362" y="341"/>
                    </a:lnTo>
                    <a:lnTo>
                      <a:pt x="362" y="342"/>
                    </a:lnTo>
                    <a:lnTo>
                      <a:pt x="362" y="344"/>
                    </a:lnTo>
                    <a:lnTo>
                      <a:pt x="362" y="346"/>
                    </a:lnTo>
                    <a:lnTo>
                      <a:pt x="362" y="347"/>
                    </a:lnTo>
                    <a:lnTo>
                      <a:pt x="362" y="351"/>
                    </a:lnTo>
                    <a:lnTo>
                      <a:pt x="362" y="352"/>
                    </a:lnTo>
                    <a:lnTo>
                      <a:pt x="362" y="354"/>
                    </a:lnTo>
                    <a:lnTo>
                      <a:pt x="362" y="356"/>
                    </a:lnTo>
                    <a:lnTo>
                      <a:pt x="362" y="359"/>
                    </a:lnTo>
                    <a:lnTo>
                      <a:pt x="362" y="361"/>
                    </a:lnTo>
                    <a:lnTo>
                      <a:pt x="362" y="364"/>
                    </a:lnTo>
                    <a:lnTo>
                      <a:pt x="362" y="373"/>
                    </a:lnTo>
                    <a:lnTo>
                      <a:pt x="366" y="371"/>
                    </a:lnTo>
                    <a:lnTo>
                      <a:pt x="367" y="373"/>
                    </a:lnTo>
                    <a:lnTo>
                      <a:pt x="369" y="375"/>
                    </a:lnTo>
                    <a:lnTo>
                      <a:pt x="371" y="375"/>
                    </a:lnTo>
                    <a:lnTo>
                      <a:pt x="371" y="376"/>
                    </a:lnTo>
                    <a:lnTo>
                      <a:pt x="373" y="376"/>
                    </a:lnTo>
                    <a:lnTo>
                      <a:pt x="374" y="376"/>
                    </a:lnTo>
                    <a:lnTo>
                      <a:pt x="374" y="375"/>
                    </a:lnTo>
                    <a:lnTo>
                      <a:pt x="376" y="376"/>
                    </a:lnTo>
                    <a:lnTo>
                      <a:pt x="376" y="375"/>
                    </a:lnTo>
                    <a:lnTo>
                      <a:pt x="376" y="376"/>
                    </a:lnTo>
                    <a:lnTo>
                      <a:pt x="378" y="375"/>
                    </a:lnTo>
                    <a:lnTo>
                      <a:pt x="379" y="375"/>
                    </a:lnTo>
                    <a:lnTo>
                      <a:pt x="379" y="373"/>
                    </a:lnTo>
                    <a:lnTo>
                      <a:pt x="381" y="373"/>
                    </a:lnTo>
                    <a:lnTo>
                      <a:pt x="383" y="373"/>
                    </a:lnTo>
                    <a:lnTo>
                      <a:pt x="383" y="371"/>
                    </a:lnTo>
                    <a:lnTo>
                      <a:pt x="384" y="373"/>
                    </a:lnTo>
                    <a:lnTo>
                      <a:pt x="384" y="371"/>
                    </a:lnTo>
                    <a:lnTo>
                      <a:pt x="386" y="371"/>
                    </a:lnTo>
                    <a:lnTo>
                      <a:pt x="388" y="371"/>
                    </a:lnTo>
                    <a:lnTo>
                      <a:pt x="390" y="371"/>
                    </a:lnTo>
                    <a:lnTo>
                      <a:pt x="391" y="371"/>
                    </a:lnTo>
                    <a:lnTo>
                      <a:pt x="391" y="373"/>
                    </a:lnTo>
                    <a:lnTo>
                      <a:pt x="393" y="373"/>
                    </a:lnTo>
                    <a:lnTo>
                      <a:pt x="395" y="373"/>
                    </a:lnTo>
                    <a:lnTo>
                      <a:pt x="396" y="373"/>
                    </a:lnTo>
                    <a:lnTo>
                      <a:pt x="396" y="371"/>
                    </a:lnTo>
                    <a:lnTo>
                      <a:pt x="396" y="373"/>
                    </a:lnTo>
                    <a:lnTo>
                      <a:pt x="396" y="371"/>
                    </a:lnTo>
                    <a:lnTo>
                      <a:pt x="398" y="371"/>
                    </a:lnTo>
                    <a:lnTo>
                      <a:pt x="398" y="373"/>
                    </a:lnTo>
                    <a:lnTo>
                      <a:pt x="400" y="375"/>
                    </a:lnTo>
                    <a:lnTo>
                      <a:pt x="401" y="378"/>
                    </a:lnTo>
                    <a:lnTo>
                      <a:pt x="401" y="380"/>
                    </a:lnTo>
                    <a:lnTo>
                      <a:pt x="403" y="381"/>
                    </a:lnTo>
                    <a:lnTo>
                      <a:pt x="405" y="383"/>
                    </a:lnTo>
                    <a:lnTo>
                      <a:pt x="407" y="385"/>
                    </a:lnTo>
                    <a:lnTo>
                      <a:pt x="408" y="388"/>
                    </a:lnTo>
                    <a:lnTo>
                      <a:pt x="408" y="390"/>
                    </a:lnTo>
                    <a:lnTo>
                      <a:pt x="410" y="390"/>
                    </a:lnTo>
                    <a:lnTo>
                      <a:pt x="410" y="393"/>
                    </a:lnTo>
                    <a:lnTo>
                      <a:pt x="413" y="395"/>
                    </a:lnTo>
                    <a:lnTo>
                      <a:pt x="413" y="397"/>
                    </a:lnTo>
                    <a:lnTo>
                      <a:pt x="415" y="398"/>
                    </a:lnTo>
                    <a:lnTo>
                      <a:pt x="415" y="402"/>
                    </a:lnTo>
                    <a:lnTo>
                      <a:pt x="417" y="403"/>
                    </a:lnTo>
                    <a:lnTo>
                      <a:pt x="418" y="405"/>
                    </a:lnTo>
                    <a:lnTo>
                      <a:pt x="418" y="407"/>
                    </a:lnTo>
                    <a:lnTo>
                      <a:pt x="420" y="409"/>
                    </a:lnTo>
                    <a:lnTo>
                      <a:pt x="420" y="410"/>
                    </a:lnTo>
                    <a:lnTo>
                      <a:pt x="422" y="414"/>
                    </a:lnTo>
                    <a:lnTo>
                      <a:pt x="424" y="415"/>
                    </a:lnTo>
                    <a:lnTo>
                      <a:pt x="427" y="422"/>
                    </a:lnTo>
                    <a:lnTo>
                      <a:pt x="429" y="426"/>
                    </a:lnTo>
                    <a:lnTo>
                      <a:pt x="429" y="427"/>
                    </a:lnTo>
                    <a:lnTo>
                      <a:pt x="429" y="426"/>
                    </a:lnTo>
                    <a:lnTo>
                      <a:pt x="427" y="426"/>
                    </a:lnTo>
                    <a:lnTo>
                      <a:pt x="429" y="426"/>
                    </a:lnTo>
                    <a:lnTo>
                      <a:pt x="429" y="427"/>
                    </a:lnTo>
                    <a:lnTo>
                      <a:pt x="427" y="427"/>
                    </a:lnTo>
                    <a:lnTo>
                      <a:pt x="427" y="429"/>
                    </a:lnTo>
                    <a:lnTo>
                      <a:pt x="425" y="429"/>
                    </a:lnTo>
                    <a:lnTo>
                      <a:pt x="425" y="431"/>
                    </a:lnTo>
                    <a:lnTo>
                      <a:pt x="427" y="432"/>
                    </a:lnTo>
                    <a:lnTo>
                      <a:pt x="425" y="432"/>
                    </a:lnTo>
                    <a:lnTo>
                      <a:pt x="427" y="432"/>
                    </a:lnTo>
                    <a:lnTo>
                      <a:pt x="425" y="432"/>
                    </a:lnTo>
                    <a:lnTo>
                      <a:pt x="427" y="432"/>
                    </a:lnTo>
                    <a:lnTo>
                      <a:pt x="425" y="432"/>
                    </a:lnTo>
                    <a:lnTo>
                      <a:pt x="425" y="434"/>
                    </a:lnTo>
                    <a:lnTo>
                      <a:pt x="424" y="434"/>
                    </a:lnTo>
                    <a:lnTo>
                      <a:pt x="424" y="436"/>
                    </a:lnTo>
                    <a:lnTo>
                      <a:pt x="422" y="436"/>
                    </a:lnTo>
                    <a:lnTo>
                      <a:pt x="424" y="437"/>
                    </a:lnTo>
                    <a:lnTo>
                      <a:pt x="422" y="437"/>
                    </a:lnTo>
                    <a:lnTo>
                      <a:pt x="422" y="439"/>
                    </a:lnTo>
                    <a:lnTo>
                      <a:pt x="422" y="441"/>
                    </a:lnTo>
                    <a:lnTo>
                      <a:pt x="420" y="441"/>
                    </a:lnTo>
                    <a:lnTo>
                      <a:pt x="422" y="443"/>
                    </a:lnTo>
                    <a:lnTo>
                      <a:pt x="422" y="441"/>
                    </a:lnTo>
                    <a:lnTo>
                      <a:pt x="422" y="443"/>
                    </a:lnTo>
                    <a:lnTo>
                      <a:pt x="422" y="444"/>
                    </a:lnTo>
                    <a:lnTo>
                      <a:pt x="422" y="446"/>
                    </a:lnTo>
                    <a:lnTo>
                      <a:pt x="422" y="448"/>
                    </a:lnTo>
                    <a:lnTo>
                      <a:pt x="422" y="449"/>
                    </a:lnTo>
                    <a:lnTo>
                      <a:pt x="422" y="451"/>
                    </a:lnTo>
                    <a:lnTo>
                      <a:pt x="422" y="453"/>
                    </a:lnTo>
                    <a:lnTo>
                      <a:pt x="422" y="454"/>
                    </a:lnTo>
                    <a:lnTo>
                      <a:pt x="420" y="454"/>
                    </a:lnTo>
                    <a:lnTo>
                      <a:pt x="422" y="454"/>
                    </a:lnTo>
                    <a:lnTo>
                      <a:pt x="420" y="456"/>
                    </a:lnTo>
                    <a:lnTo>
                      <a:pt x="420" y="458"/>
                    </a:lnTo>
                    <a:lnTo>
                      <a:pt x="420" y="460"/>
                    </a:lnTo>
                    <a:lnTo>
                      <a:pt x="420" y="461"/>
                    </a:lnTo>
                    <a:lnTo>
                      <a:pt x="418" y="461"/>
                    </a:lnTo>
                    <a:lnTo>
                      <a:pt x="418" y="463"/>
                    </a:lnTo>
                    <a:lnTo>
                      <a:pt x="418" y="465"/>
                    </a:lnTo>
                    <a:lnTo>
                      <a:pt x="417" y="465"/>
                    </a:lnTo>
                    <a:lnTo>
                      <a:pt x="415" y="465"/>
                    </a:lnTo>
                    <a:lnTo>
                      <a:pt x="415" y="466"/>
                    </a:lnTo>
                    <a:lnTo>
                      <a:pt x="415" y="468"/>
                    </a:lnTo>
                    <a:lnTo>
                      <a:pt x="417" y="468"/>
                    </a:lnTo>
                    <a:lnTo>
                      <a:pt x="417" y="470"/>
                    </a:lnTo>
                    <a:lnTo>
                      <a:pt x="417" y="472"/>
                    </a:lnTo>
                    <a:lnTo>
                      <a:pt x="417" y="473"/>
                    </a:lnTo>
                    <a:lnTo>
                      <a:pt x="418" y="473"/>
                    </a:lnTo>
                    <a:lnTo>
                      <a:pt x="417" y="475"/>
                    </a:lnTo>
                    <a:lnTo>
                      <a:pt x="418" y="475"/>
                    </a:lnTo>
                    <a:lnTo>
                      <a:pt x="418" y="477"/>
                    </a:lnTo>
                    <a:lnTo>
                      <a:pt x="418" y="478"/>
                    </a:lnTo>
                    <a:lnTo>
                      <a:pt x="420" y="478"/>
                    </a:lnTo>
                    <a:lnTo>
                      <a:pt x="420" y="480"/>
                    </a:lnTo>
                    <a:lnTo>
                      <a:pt x="422" y="480"/>
                    </a:lnTo>
                    <a:lnTo>
                      <a:pt x="422" y="482"/>
                    </a:lnTo>
                    <a:lnTo>
                      <a:pt x="422" y="483"/>
                    </a:lnTo>
                    <a:lnTo>
                      <a:pt x="422" y="485"/>
                    </a:lnTo>
                    <a:lnTo>
                      <a:pt x="424" y="485"/>
                    </a:lnTo>
                    <a:lnTo>
                      <a:pt x="422" y="485"/>
                    </a:lnTo>
                    <a:lnTo>
                      <a:pt x="420" y="485"/>
                    </a:lnTo>
                    <a:lnTo>
                      <a:pt x="418" y="485"/>
                    </a:lnTo>
                    <a:lnTo>
                      <a:pt x="417" y="485"/>
                    </a:lnTo>
                    <a:lnTo>
                      <a:pt x="417" y="487"/>
                    </a:lnTo>
                    <a:lnTo>
                      <a:pt x="417" y="489"/>
                    </a:lnTo>
                    <a:lnTo>
                      <a:pt x="417" y="490"/>
                    </a:lnTo>
                    <a:lnTo>
                      <a:pt x="417" y="492"/>
                    </a:lnTo>
                    <a:lnTo>
                      <a:pt x="415" y="492"/>
                    </a:lnTo>
                    <a:lnTo>
                      <a:pt x="415" y="494"/>
                    </a:lnTo>
                    <a:lnTo>
                      <a:pt x="413" y="494"/>
                    </a:lnTo>
                    <a:lnTo>
                      <a:pt x="413" y="495"/>
                    </a:lnTo>
                    <a:lnTo>
                      <a:pt x="412" y="495"/>
                    </a:lnTo>
                    <a:lnTo>
                      <a:pt x="412" y="497"/>
                    </a:lnTo>
                    <a:lnTo>
                      <a:pt x="412" y="499"/>
                    </a:lnTo>
                    <a:lnTo>
                      <a:pt x="410" y="497"/>
                    </a:lnTo>
                    <a:lnTo>
                      <a:pt x="410" y="499"/>
                    </a:lnTo>
                    <a:lnTo>
                      <a:pt x="410" y="500"/>
                    </a:lnTo>
                    <a:lnTo>
                      <a:pt x="408" y="500"/>
                    </a:lnTo>
                    <a:lnTo>
                      <a:pt x="408" y="502"/>
                    </a:lnTo>
                    <a:lnTo>
                      <a:pt x="410" y="504"/>
                    </a:lnTo>
                    <a:lnTo>
                      <a:pt x="408" y="504"/>
                    </a:lnTo>
                    <a:lnTo>
                      <a:pt x="407" y="504"/>
                    </a:lnTo>
                    <a:lnTo>
                      <a:pt x="407" y="506"/>
                    </a:lnTo>
                    <a:lnTo>
                      <a:pt x="405" y="506"/>
                    </a:lnTo>
                    <a:lnTo>
                      <a:pt x="405" y="507"/>
                    </a:lnTo>
                    <a:lnTo>
                      <a:pt x="405" y="509"/>
                    </a:lnTo>
                    <a:lnTo>
                      <a:pt x="405" y="511"/>
                    </a:lnTo>
                    <a:lnTo>
                      <a:pt x="405" y="512"/>
                    </a:lnTo>
                    <a:lnTo>
                      <a:pt x="407" y="512"/>
                    </a:lnTo>
                    <a:lnTo>
                      <a:pt x="407" y="514"/>
                    </a:lnTo>
                    <a:lnTo>
                      <a:pt x="407" y="516"/>
                    </a:lnTo>
                    <a:lnTo>
                      <a:pt x="408" y="516"/>
                    </a:lnTo>
                    <a:lnTo>
                      <a:pt x="408" y="517"/>
                    </a:lnTo>
                    <a:lnTo>
                      <a:pt x="408" y="516"/>
                    </a:lnTo>
                    <a:lnTo>
                      <a:pt x="410" y="517"/>
                    </a:lnTo>
                    <a:lnTo>
                      <a:pt x="412" y="519"/>
                    </a:lnTo>
                    <a:lnTo>
                      <a:pt x="412" y="521"/>
                    </a:lnTo>
                    <a:lnTo>
                      <a:pt x="413" y="521"/>
                    </a:lnTo>
                    <a:lnTo>
                      <a:pt x="412" y="521"/>
                    </a:lnTo>
                    <a:lnTo>
                      <a:pt x="412" y="523"/>
                    </a:lnTo>
                    <a:lnTo>
                      <a:pt x="412" y="521"/>
                    </a:lnTo>
                    <a:lnTo>
                      <a:pt x="412" y="523"/>
                    </a:lnTo>
                    <a:lnTo>
                      <a:pt x="410" y="523"/>
                    </a:lnTo>
                    <a:lnTo>
                      <a:pt x="410" y="524"/>
                    </a:lnTo>
                    <a:lnTo>
                      <a:pt x="408" y="526"/>
                    </a:lnTo>
                    <a:lnTo>
                      <a:pt x="408" y="528"/>
                    </a:lnTo>
                    <a:lnTo>
                      <a:pt x="410" y="528"/>
                    </a:lnTo>
                    <a:lnTo>
                      <a:pt x="408" y="528"/>
                    </a:lnTo>
                    <a:lnTo>
                      <a:pt x="408" y="529"/>
                    </a:lnTo>
                    <a:lnTo>
                      <a:pt x="407" y="528"/>
                    </a:lnTo>
                    <a:lnTo>
                      <a:pt x="407" y="529"/>
                    </a:lnTo>
                    <a:lnTo>
                      <a:pt x="407" y="531"/>
                    </a:lnTo>
                    <a:lnTo>
                      <a:pt x="403" y="534"/>
                    </a:lnTo>
                    <a:lnTo>
                      <a:pt x="405" y="538"/>
                    </a:lnTo>
                    <a:lnTo>
                      <a:pt x="405" y="540"/>
                    </a:lnTo>
                    <a:lnTo>
                      <a:pt x="407" y="543"/>
                    </a:lnTo>
                    <a:lnTo>
                      <a:pt x="407" y="548"/>
                    </a:lnTo>
                    <a:lnTo>
                      <a:pt x="408" y="553"/>
                    </a:lnTo>
                    <a:lnTo>
                      <a:pt x="410" y="553"/>
                    </a:lnTo>
                    <a:lnTo>
                      <a:pt x="413" y="555"/>
                    </a:lnTo>
                    <a:lnTo>
                      <a:pt x="415" y="555"/>
                    </a:lnTo>
                    <a:lnTo>
                      <a:pt x="417" y="555"/>
                    </a:lnTo>
                    <a:lnTo>
                      <a:pt x="418" y="555"/>
                    </a:lnTo>
                    <a:lnTo>
                      <a:pt x="420" y="557"/>
                    </a:lnTo>
                    <a:lnTo>
                      <a:pt x="422" y="557"/>
                    </a:lnTo>
                    <a:lnTo>
                      <a:pt x="424" y="558"/>
                    </a:lnTo>
                    <a:lnTo>
                      <a:pt x="424" y="560"/>
                    </a:lnTo>
                    <a:lnTo>
                      <a:pt x="418" y="563"/>
                    </a:lnTo>
                    <a:lnTo>
                      <a:pt x="417" y="563"/>
                    </a:lnTo>
                    <a:lnTo>
                      <a:pt x="417" y="565"/>
                    </a:lnTo>
                    <a:lnTo>
                      <a:pt x="415" y="567"/>
                    </a:lnTo>
                    <a:lnTo>
                      <a:pt x="415" y="568"/>
                    </a:lnTo>
                    <a:lnTo>
                      <a:pt x="417" y="568"/>
                    </a:lnTo>
                    <a:lnTo>
                      <a:pt x="417" y="570"/>
                    </a:lnTo>
                    <a:lnTo>
                      <a:pt x="417" y="572"/>
                    </a:lnTo>
                    <a:lnTo>
                      <a:pt x="415" y="572"/>
                    </a:lnTo>
                    <a:lnTo>
                      <a:pt x="413" y="572"/>
                    </a:lnTo>
                    <a:lnTo>
                      <a:pt x="412" y="574"/>
                    </a:lnTo>
                    <a:lnTo>
                      <a:pt x="412" y="575"/>
                    </a:lnTo>
                    <a:lnTo>
                      <a:pt x="410" y="575"/>
                    </a:lnTo>
                    <a:lnTo>
                      <a:pt x="410" y="577"/>
                    </a:lnTo>
                    <a:lnTo>
                      <a:pt x="408" y="577"/>
                    </a:lnTo>
                    <a:lnTo>
                      <a:pt x="408" y="579"/>
                    </a:lnTo>
                    <a:lnTo>
                      <a:pt x="407" y="579"/>
                    </a:lnTo>
                    <a:lnTo>
                      <a:pt x="407" y="580"/>
                    </a:lnTo>
                    <a:lnTo>
                      <a:pt x="407" y="582"/>
                    </a:lnTo>
                    <a:lnTo>
                      <a:pt x="405" y="582"/>
                    </a:lnTo>
                    <a:lnTo>
                      <a:pt x="403" y="584"/>
                    </a:lnTo>
                    <a:lnTo>
                      <a:pt x="405" y="584"/>
                    </a:lnTo>
                    <a:lnTo>
                      <a:pt x="405" y="585"/>
                    </a:lnTo>
                    <a:lnTo>
                      <a:pt x="403" y="585"/>
                    </a:lnTo>
                    <a:lnTo>
                      <a:pt x="403" y="587"/>
                    </a:lnTo>
                    <a:lnTo>
                      <a:pt x="401" y="587"/>
                    </a:lnTo>
                    <a:lnTo>
                      <a:pt x="401" y="585"/>
                    </a:lnTo>
                    <a:lnTo>
                      <a:pt x="400" y="587"/>
                    </a:lnTo>
                    <a:lnTo>
                      <a:pt x="400" y="589"/>
                    </a:lnTo>
                    <a:lnTo>
                      <a:pt x="398" y="589"/>
                    </a:lnTo>
                    <a:lnTo>
                      <a:pt x="398" y="591"/>
                    </a:lnTo>
                    <a:lnTo>
                      <a:pt x="396" y="591"/>
                    </a:lnTo>
                    <a:lnTo>
                      <a:pt x="396" y="592"/>
                    </a:lnTo>
                    <a:lnTo>
                      <a:pt x="395" y="592"/>
                    </a:lnTo>
                    <a:lnTo>
                      <a:pt x="396" y="592"/>
                    </a:lnTo>
                    <a:lnTo>
                      <a:pt x="398" y="592"/>
                    </a:lnTo>
                    <a:lnTo>
                      <a:pt x="400" y="596"/>
                    </a:lnTo>
                    <a:lnTo>
                      <a:pt x="401" y="596"/>
                    </a:lnTo>
                    <a:lnTo>
                      <a:pt x="401" y="597"/>
                    </a:lnTo>
                    <a:lnTo>
                      <a:pt x="401" y="599"/>
                    </a:lnTo>
                    <a:lnTo>
                      <a:pt x="401" y="601"/>
                    </a:lnTo>
                    <a:lnTo>
                      <a:pt x="398" y="602"/>
                    </a:lnTo>
                    <a:lnTo>
                      <a:pt x="396" y="604"/>
                    </a:lnTo>
                    <a:lnTo>
                      <a:pt x="395" y="606"/>
                    </a:lnTo>
                    <a:lnTo>
                      <a:pt x="393" y="606"/>
                    </a:lnTo>
                    <a:lnTo>
                      <a:pt x="391" y="606"/>
                    </a:lnTo>
                    <a:lnTo>
                      <a:pt x="390" y="606"/>
                    </a:lnTo>
                    <a:lnTo>
                      <a:pt x="390" y="608"/>
                    </a:lnTo>
                    <a:lnTo>
                      <a:pt x="388" y="609"/>
                    </a:lnTo>
                    <a:lnTo>
                      <a:pt x="390" y="609"/>
                    </a:lnTo>
                    <a:lnTo>
                      <a:pt x="390" y="611"/>
                    </a:lnTo>
                    <a:lnTo>
                      <a:pt x="390" y="613"/>
                    </a:lnTo>
                    <a:lnTo>
                      <a:pt x="391" y="613"/>
                    </a:lnTo>
                    <a:lnTo>
                      <a:pt x="390" y="614"/>
                    </a:lnTo>
                    <a:lnTo>
                      <a:pt x="391" y="614"/>
                    </a:lnTo>
                    <a:lnTo>
                      <a:pt x="391" y="616"/>
                    </a:lnTo>
                    <a:lnTo>
                      <a:pt x="391" y="618"/>
                    </a:lnTo>
                    <a:lnTo>
                      <a:pt x="391" y="619"/>
                    </a:lnTo>
                    <a:lnTo>
                      <a:pt x="391" y="621"/>
                    </a:lnTo>
                    <a:lnTo>
                      <a:pt x="391" y="623"/>
                    </a:lnTo>
                    <a:lnTo>
                      <a:pt x="390" y="623"/>
                    </a:lnTo>
                    <a:lnTo>
                      <a:pt x="388" y="625"/>
                    </a:lnTo>
                    <a:lnTo>
                      <a:pt x="386" y="625"/>
                    </a:lnTo>
                    <a:lnTo>
                      <a:pt x="386" y="626"/>
                    </a:lnTo>
                    <a:lnTo>
                      <a:pt x="384" y="626"/>
                    </a:lnTo>
                    <a:lnTo>
                      <a:pt x="383" y="626"/>
                    </a:lnTo>
                    <a:lnTo>
                      <a:pt x="383" y="628"/>
                    </a:lnTo>
                    <a:lnTo>
                      <a:pt x="381" y="628"/>
                    </a:lnTo>
                    <a:lnTo>
                      <a:pt x="379" y="630"/>
                    </a:lnTo>
                    <a:lnTo>
                      <a:pt x="378" y="630"/>
                    </a:lnTo>
                    <a:lnTo>
                      <a:pt x="376" y="630"/>
                    </a:lnTo>
                    <a:lnTo>
                      <a:pt x="374" y="630"/>
                    </a:lnTo>
                    <a:lnTo>
                      <a:pt x="373" y="630"/>
                    </a:lnTo>
                    <a:lnTo>
                      <a:pt x="371" y="630"/>
                    </a:lnTo>
                    <a:lnTo>
                      <a:pt x="369" y="630"/>
                    </a:lnTo>
                    <a:lnTo>
                      <a:pt x="367" y="628"/>
                    </a:lnTo>
                    <a:lnTo>
                      <a:pt x="366" y="628"/>
                    </a:lnTo>
                    <a:lnTo>
                      <a:pt x="366" y="626"/>
                    </a:lnTo>
                    <a:lnTo>
                      <a:pt x="364" y="626"/>
                    </a:lnTo>
                    <a:lnTo>
                      <a:pt x="362" y="625"/>
                    </a:lnTo>
                    <a:lnTo>
                      <a:pt x="361" y="625"/>
                    </a:lnTo>
                    <a:lnTo>
                      <a:pt x="361" y="623"/>
                    </a:lnTo>
                    <a:lnTo>
                      <a:pt x="359" y="623"/>
                    </a:lnTo>
                    <a:lnTo>
                      <a:pt x="359" y="621"/>
                    </a:lnTo>
                    <a:lnTo>
                      <a:pt x="357" y="621"/>
                    </a:lnTo>
                    <a:lnTo>
                      <a:pt x="357" y="619"/>
                    </a:lnTo>
                    <a:lnTo>
                      <a:pt x="356" y="619"/>
                    </a:lnTo>
                    <a:lnTo>
                      <a:pt x="354" y="619"/>
                    </a:lnTo>
                    <a:lnTo>
                      <a:pt x="354" y="618"/>
                    </a:lnTo>
                    <a:lnTo>
                      <a:pt x="354" y="616"/>
                    </a:lnTo>
                    <a:lnTo>
                      <a:pt x="352" y="616"/>
                    </a:lnTo>
                    <a:lnTo>
                      <a:pt x="350" y="614"/>
                    </a:lnTo>
                    <a:lnTo>
                      <a:pt x="349" y="614"/>
                    </a:lnTo>
                    <a:lnTo>
                      <a:pt x="347" y="614"/>
                    </a:lnTo>
                    <a:lnTo>
                      <a:pt x="347" y="613"/>
                    </a:lnTo>
                    <a:lnTo>
                      <a:pt x="347" y="614"/>
                    </a:lnTo>
                    <a:lnTo>
                      <a:pt x="347" y="613"/>
                    </a:lnTo>
                    <a:lnTo>
                      <a:pt x="345" y="613"/>
                    </a:lnTo>
                    <a:lnTo>
                      <a:pt x="345" y="611"/>
                    </a:lnTo>
                    <a:lnTo>
                      <a:pt x="344" y="611"/>
                    </a:lnTo>
                    <a:lnTo>
                      <a:pt x="342" y="609"/>
                    </a:lnTo>
                    <a:lnTo>
                      <a:pt x="339" y="608"/>
                    </a:lnTo>
                    <a:lnTo>
                      <a:pt x="337" y="608"/>
                    </a:lnTo>
                    <a:lnTo>
                      <a:pt x="337" y="606"/>
                    </a:lnTo>
                    <a:lnTo>
                      <a:pt x="339" y="606"/>
                    </a:lnTo>
                    <a:lnTo>
                      <a:pt x="339" y="604"/>
                    </a:lnTo>
                    <a:lnTo>
                      <a:pt x="337" y="604"/>
                    </a:lnTo>
                    <a:lnTo>
                      <a:pt x="337" y="602"/>
                    </a:lnTo>
                    <a:lnTo>
                      <a:pt x="337" y="601"/>
                    </a:lnTo>
                    <a:lnTo>
                      <a:pt x="337" y="599"/>
                    </a:lnTo>
                    <a:lnTo>
                      <a:pt x="337" y="597"/>
                    </a:lnTo>
                    <a:lnTo>
                      <a:pt x="337" y="596"/>
                    </a:lnTo>
                    <a:lnTo>
                      <a:pt x="335" y="596"/>
                    </a:lnTo>
                    <a:lnTo>
                      <a:pt x="335" y="594"/>
                    </a:lnTo>
                    <a:lnTo>
                      <a:pt x="333" y="594"/>
                    </a:lnTo>
                    <a:lnTo>
                      <a:pt x="333" y="592"/>
                    </a:lnTo>
                    <a:lnTo>
                      <a:pt x="332" y="592"/>
                    </a:lnTo>
                    <a:lnTo>
                      <a:pt x="330" y="592"/>
                    </a:lnTo>
                    <a:lnTo>
                      <a:pt x="330" y="591"/>
                    </a:lnTo>
                    <a:lnTo>
                      <a:pt x="328" y="591"/>
                    </a:lnTo>
                    <a:lnTo>
                      <a:pt x="327" y="591"/>
                    </a:lnTo>
                    <a:lnTo>
                      <a:pt x="325" y="591"/>
                    </a:lnTo>
                    <a:lnTo>
                      <a:pt x="325" y="589"/>
                    </a:lnTo>
                    <a:lnTo>
                      <a:pt x="323" y="589"/>
                    </a:lnTo>
                    <a:lnTo>
                      <a:pt x="322" y="589"/>
                    </a:lnTo>
                    <a:lnTo>
                      <a:pt x="320" y="587"/>
                    </a:lnTo>
                    <a:lnTo>
                      <a:pt x="318" y="587"/>
                    </a:lnTo>
                    <a:lnTo>
                      <a:pt x="318" y="585"/>
                    </a:lnTo>
                    <a:lnTo>
                      <a:pt x="316" y="584"/>
                    </a:lnTo>
                    <a:lnTo>
                      <a:pt x="315" y="584"/>
                    </a:lnTo>
                    <a:lnTo>
                      <a:pt x="313" y="584"/>
                    </a:lnTo>
                    <a:lnTo>
                      <a:pt x="311" y="584"/>
                    </a:lnTo>
                    <a:lnTo>
                      <a:pt x="313" y="582"/>
                    </a:lnTo>
                    <a:lnTo>
                      <a:pt x="311" y="582"/>
                    </a:lnTo>
                    <a:lnTo>
                      <a:pt x="311" y="580"/>
                    </a:lnTo>
                    <a:lnTo>
                      <a:pt x="310" y="580"/>
                    </a:lnTo>
                    <a:lnTo>
                      <a:pt x="310" y="579"/>
                    </a:lnTo>
                    <a:lnTo>
                      <a:pt x="308" y="579"/>
                    </a:lnTo>
                    <a:lnTo>
                      <a:pt x="306" y="579"/>
                    </a:lnTo>
                    <a:lnTo>
                      <a:pt x="306" y="577"/>
                    </a:lnTo>
                    <a:lnTo>
                      <a:pt x="305" y="575"/>
                    </a:lnTo>
                    <a:lnTo>
                      <a:pt x="305" y="574"/>
                    </a:lnTo>
                    <a:lnTo>
                      <a:pt x="303" y="574"/>
                    </a:lnTo>
                    <a:lnTo>
                      <a:pt x="301" y="574"/>
                    </a:lnTo>
                    <a:lnTo>
                      <a:pt x="301" y="572"/>
                    </a:lnTo>
                    <a:lnTo>
                      <a:pt x="299" y="572"/>
                    </a:lnTo>
                    <a:lnTo>
                      <a:pt x="298" y="572"/>
                    </a:lnTo>
                    <a:lnTo>
                      <a:pt x="296" y="572"/>
                    </a:lnTo>
                    <a:lnTo>
                      <a:pt x="296" y="570"/>
                    </a:lnTo>
                    <a:lnTo>
                      <a:pt x="294" y="570"/>
                    </a:lnTo>
                    <a:lnTo>
                      <a:pt x="293" y="570"/>
                    </a:lnTo>
                    <a:lnTo>
                      <a:pt x="291" y="570"/>
                    </a:lnTo>
                    <a:lnTo>
                      <a:pt x="289" y="570"/>
                    </a:lnTo>
                    <a:lnTo>
                      <a:pt x="289" y="568"/>
                    </a:lnTo>
                    <a:lnTo>
                      <a:pt x="288" y="568"/>
                    </a:lnTo>
                    <a:lnTo>
                      <a:pt x="288" y="567"/>
                    </a:lnTo>
                    <a:lnTo>
                      <a:pt x="286" y="567"/>
                    </a:lnTo>
                    <a:lnTo>
                      <a:pt x="286" y="565"/>
                    </a:lnTo>
                    <a:lnTo>
                      <a:pt x="284" y="565"/>
                    </a:lnTo>
                    <a:lnTo>
                      <a:pt x="282" y="565"/>
                    </a:lnTo>
                    <a:lnTo>
                      <a:pt x="281" y="565"/>
                    </a:lnTo>
                    <a:lnTo>
                      <a:pt x="279" y="565"/>
                    </a:lnTo>
                    <a:lnTo>
                      <a:pt x="279" y="563"/>
                    </a:lnTo>
                    <a:lnTo>
                      <a:pt x="277" y="563"/>
                    </a:lnTo>
                    <a:lnTo>
                      <a:pt x="277" y="562"/>
                    </a:lnTo>
                    <a:lnTo>
                      <a:pt x="276" y="562"/>
                    </a:lnTo>
                    <a:lnTo>
                      <a:pt x="274" y="562"/>
                    </a:lnTo>
                    <a:lnTo>
                      <a:pt x="272" y="562"/>
                    </a:lnTo>
                    <a:lnTo>
                      <a:pt x="272" y="560"/>
                    </a:lnTo>
                    <a:lnTo>
                      <a:pt x="271" y="560"/>
                    </a:lnTo>
                    <a:lnTo>
                      <a:pt x="271" y="558"/>
                    </a:lnTo>
                    <a:lnTo>
                      <a:pt x="269" y="558"/>
                    </a:lnTo>
                    <a:lnTo>
                      <a:pt x="267" y="558"/>
                    </a:lnTo>
                    <a:lnTo>
                      <a:pt x="267" y="557"/>
                    </a:lnTo>
                    <a:lnTo>
                      <a:pt x="265" y="557"/>
                    </a:lnTo>
                    <a:lnTo>
                      <a:pt x="264" y="557"/>
                    </a:lnTo>
                    <a:lnTo>
                      <a:pt x="262" y="557"/>
                    </a:lnTo>
                    <a:lnTo>
                      <a:pt x="260" y="555"/>
                    </a:lnTo>
                    <a:lnTo>
                      <a:pt x="259" y="555"/>
                    </a:lnTo>
                    <a:lnTo>
                      <a:pt x="259" y="557"/>
                    </a:lnTo>
                    <a:lnTo>
                      <a:pt x="259" y="555"/>
                    </a:lnTo>
                    <a:lnTo>
                      <a:pt x="257" y="555"/>
                    </a:lnTo>
                    <a:lnTo>
                      <a:pt x="257" y="553"/>
                    </a:lnTo>
                    <a:lnTo>
                      <a:pt x="255" y="553"/>
                    </a:lnTo>
                    <a:lnTo>
                      <a:pt x="254" y="553"/>
                    </a:lnTo>
                    <a:lnTo>
                      <a:pt x="254" y="551"/>
                    </a:lnTo>
                    <a:lnTo>
                      <a:pt x="252" y="551"/>
                    </a:lnTo>
                    <a:lnTo>
                      <a:pt x="250" y="550"/>
                    </a:lnTo>
                    <a:lnTo>
                      <a:pt x="248" y="550"/>
                    </a:lnTo>
                    <a:lnTo>
                      <a:pt x="248" y="548"/>
                    </a:lnTo>
                    <a:lnTo>
                      <a:pt x="247" y="548"/>
                    </a:lnTo>
                    <a:lnTo>
                      <a:pt x="247" y="546"/>
                    </a:lnTo>
                    <a:lnTo>
                      <a:pt x="245" y="545"/>
                    </a:lnTo>
                    <a:lnTo>
                      <a:pt x="243" y="545"/>
                    </a:lnTo>
                    <a:lnTo>
                      <a:pt x="242" y="543"/>
                    </a:lnTo>
                    <a:lnTo>
                      <a:pt x="240" y="543"/>
                    </a:lnTo>
                    <a:lnTo>
                      <a:pt x="240" y="541"/>
                    </a:lnTo>
                    <a:lnTo>
                      <a:pt x="238" y="541"/>
                    </a:lnTo>
                    <a:lnTo>
                      <a:pt x="237" y="541"/>
                    </a:lnTo>
                    <a:lnTo>
                      <a:pt x="235" y="541"/>
                    </a:lnTo>
                    <a:lnTo>
                      <a:pt x="233" y="541"/>
                    </a:lnTo>
                    <a:lnTo>
                      <a:pt x="233" y="540"/>
                    </a:lnTo>
                    <a:lnTo>
                      <a:pt x="233" y="538"/>
                    </a:lnTo>
                    <a:lnTo>
                      <a:pt x="231" y="538"/>
                    </a:lnTo>
                    <a:lnTo>
                      <a:pt x="230" y="536"/>
                    </a:lnTo>
                    <a:lnTo>
                      <a:pt x="228" y="536"/>
                    </a:lnTo>
                    <a:lnTo>
                      <a:pt x="226" y="536"/>
                    </a:lnTo>
                    <a:lnTo>
                      <a:pt x="226" y="534"/>
                    </a:lnTo>
                    <a:lnTo>
                      <a:pt x="225" y="534"/>
                    </a:lnTo>
                    <a:lnTo>
                      <a:pt x="223" y="534"/>
                    </a:lnTo>
                    <a:lnTo>
                      <a:pt x="223" y="533"/>
                    </a:lnTo>
                    <a:lnTo>
                      <a:pt x="221" y="533"/>
                    </a:lnTo>
                    <a:lnTo>
                      <a:pt x="220" y="533"/>
                    </a:lnTo>
                    <a:lnTo>
                      <a:pt x="220" y="531"/>
                    </a:lnTo>
                    <a:lnTo>
                      <a:pt x="218" y="531"/>
                    </a:lnTo>
                    <a:lnTo>
                      <a:pt x="218" y="529"/>
                    </a:lnTo>
                    <a:lnTo>
                      <a:pt x="216" y="529"/>
                    </a:lnTo>
                    <a:lnTo>
                      <a:pt x="214" y="529"/>
                    </a:lnTo>
                    <a:lnTo>
                      <a:pt x="213" y="528"/>
                    </a:lnTo>
                    <a:lnTo>
                      <a:pt x="211" y="528"/>
                    </a:lnTo>
                    <a:lnTo>
                      <a:pt x="211" y="526"/>
                    </a:lnTo>
                    <a:lnTo>
                      <a:pt x="209" y="526"/>
                    </a:lnTo>
                    <a:lnTo>
                      <a:pt x="208" y="526"/>
                    </a:lnTo>
                    <a:lnTo>
                      <a:pt x="208" y="524"/>
                    </a:lnTo>
                    <a:lnTo>
                      <a:pt x="209" y="524"/>
                    </a:lnTo>
                    <a:lnTo>
                      <a:pt x="209" y="523"/>
                    </a:lnTo>
                    <a:lnTo>
                      <a:pt x="208" y="523"/>
                    </a:lnTo>
                    <a:lnTo>
                      <a:pt x="206" y="523"/>
                    </a:lnTo>
                    <a:lnTo>
                      <a:pt x="206" y="521"/>
                    </a:lnTo>
                    <a:lnTo>
                      <a:pt x="208" y="521"/>
                    </a:lnTo>
                    <a:lnTo>
                      <a:pt x="208" y="519"/>
                    </a:lnTo>
                    <a:lnTo>
                      <a:pt x="206" y="519"/>
                    </a:lnTo>
                    <a:lnTo>
                      <a:pt x="206" y="517"/>
                    </a:lnTo>
                    <a:lnTo>
                      <a:pt x="204" y="517"/>
                    </a:lnTo>
                    <a:lnTo>
                      <a:pt x="203" y="517"/>
                    </a:lnTo>
                    <a:lnTo>
                      <a:pt x="201" y="516"/>
                    </a:lnTo>
                    <a:lnTo>
                      <a:pt x="201" y="514"/>
                    </a:lnTo>
                    <a:lnTo>
                      <a:pt x="199" y="514"/>
                    </a:lnTo>
                    <a:lnTo>
                      <a:pt x="199" y="512"/>
                    </a:lnTo>
                    <a:lnTo>
                      <a:pt x="197" y="512"/>
                    </a:lnTo>
                    <a:lnTo>
                      <a:pt x="197" y="511"/>
                    </a:lnTo>
                    <a:lnTo>
                      <a:pt x="197" y="509"/>
                    </a:lnTo>
                    <a:lnTo>
                      <a:pt x="196" y="509"/>
                    </a:lnTo>
                    <a:lnTo>
                      <a:pt x="196" y="507"/>
                    </a:lnTo>
                    <a:lnTo>
                      <a:pt x="194" y="507"/>
                    </a:lnTo>
                    <a:lnTo>
                      <a:pt x="192" y="506"/>
                    </a:lnTo>
                    <a:lnTo>
                      <a:pt x="191" y="506"/>
                    </a:lnTo>
                    <a:lnTo>
                      <a:pt x="189" y="506"/>
                    </a:lnTo>
                    <a:lnTo>
                      <a:pt x="189" y="504"/>
                    </a:lnTo>
                    <a:lnTo>
                      <a:pt x="187" y="504"/>
                    </a:lnTo>
                    <a:lnTo>
                      <a:pt x="187" y="502"/>
                    </a:lnTo>
                    <a:lnTo>
                      <a:pt x="186" y="502"/>
                    </a:lnTo>
                    <a:lnTo>
                      <a:pt x="186" y="500"/>
                    </a:lnTo>
                    <a:lnTo>
                      <a:pt x="184" y="500"/>
                    </a:lnTo>
                    <a:lnTo>
                      <a:pt x="184" y="499"/>
                    </a:lnTo>
                    <a:lnTo>
                      <a:pt x="184" y="497"/>
                    </a:lnTo>
                    <a:lnTo>
                      <a:pt x="182" y="497"/>
                    </a:lnTo>
                    <a:lnTo>
                      <a:pt x="182" y="495"/>
                    </a:lnTo>
                    <a:lnTo>
                      <a:pt x="182" y="494"/>
                    </a:lnTo>
                    <a:lnTo>
                      <a:pt x="180" y="494"/>
                    </a:lnTo>
                    <a:lnTo>
                      <a:pt x="180" y="492"/>
                    </a:lnTo>
                    <a:lnTo>
                      <a:pt x="179" y="492"/>
                    </a:lnTo>
                    <a:lnTo>
                      <a:pt x="179" y="490"/>
                    </a:lnTo>
                    <a:lnTo>
                      <a:pt x="177" y="490"/>
                    </a:lnTo>
                    <a:lnTo>
                      <a:pt x="175" y="490"/>
                    </a:lnTo>
                    <a:lnTo>
                      <a:pt x="175" y="489"/>
                    </a:lnTo>
                    <a:lnTo>
                      <a:pt x="177" y="489"/>
                    </a:lnTo>
                    <a:lnTo>
                      <a:pt x="177" y="487"/>
                    </a:lnTo>
                    <a:lnTo>
                      <a:pt x="175" y="485"/>
                    </a:lnTo>
                    <a:lnTo>
                      <a:pt x="174" y="485"/>
                    </a:lnTo>
                    <a:lnTo>
                      <a:pt x="174" y="483"/>
                    </a:lnTo>
                    <a:lnTo>
                      <a:pt x="172" y="483"/>
                    </a:lnTo>
                    <a:lnTo>
                      <a:pt x="172" y="482"/>
                    </a:lnTo>
                    <a:lnTo>
                      <a:pt x="172" y="483"/>
                    </a:lnTo>
                    <a:lnTo>
                      <a:pt x="172" y="485"/>
                    </a:lnTo>
                    <a:lnTo>
                      <a:pt x="172" y="483"/>
                    </a:lnTo>
                    <a:lnTo>
                      <a:pt x="170" y="483"/>
                    </a:lnTo>
                    <a:lnTo>
                      <a:pt x="172" y="483"/>
                    </a:lnTo>
                    <a:lnTo>
                      <a:pt x="170" y="482"/>
                    </a:lnTo>
                    <a:lnTo>
                      <a:pt x="172" y="482"/>
                    </a:lnTo>
                    <a:lnTo>
                      <a:pt x="170" y="480"/>
                    </a:lnTo>
                    <a:lnTo>
                      <a:pt x="172" y="480"/>
                    </a:lnTo>
                    <a:lnTo>
                      <a:pt x="172" y="478"/>
                    </a:lnTo>
                    <a:lnTo>
                      <a:pt x="170" y="477"/>
                    </a:lnTo>
                    <a:lnTo>
                      <a:pt x="172" y="477"/>
                    </a:lnTo>
                    <a:lnTo>
                      <a:pt x="172" y="475"/>
                    </a:lnTo>
                    <a:lnTo>
                      <a:pt x="170" y="475"/>
                    </a:lnTo>
                    <a:lnTo>
                      <a:pt x="172" y="475"/>
                    </a:lnTo>
                    <a:lnTo>
                      <a:pt x="170" y="473"/>
                    </a:lnTo>
                    <a:lnTo>
                      <a:pt x="170" y="475"/>
                    </a:lnTo>
                    <a:lnTo>
                      <a:pt x="169" y="475"/>
                    </a:lnTo>
                    <a:lnTo>
                      <a:pt x="167" y="475"/>
                    </a:lnTo>
                    <a:lnTo>
                      <a:pt x="167" y="473"/>
                    </a:lnTo>
                    <a:lnTo>
                      <a:pt x="169" y="472"/>
                    </a:lnTo>
                    <a:lnTo>
                      <a:pt x="169" y="470"/>
                    </a:lnTo>
                    <a:lnTo>
                      <a:pt x="170" y="470"/>
                    </a:lnTo>
                    <a:lnTo>
                      <a:pt x="170" y="472"/>
                    </a:lnTo>
                    <a:lnTo>
                      <a:pt x="172" y="472"/>
                    </a:lnTo>
                    <a:lnTo>
                      <a:pt x="172" y="473"/>
                    </a:lnTo>
                    <a:lnTo>
                      <a:pt x="172" y="472"/>
                    </a:lnTo>
                    <a:lnTo>
                      <a:pt x="172" y="470"/>
                    </a:lnTo>
                    <a:lnTo>
                      <a:pt x="174" y="468"/>
                    </a:lnTo>
                    <a:lnTo>
                      <a:pt x="174" y="466"/>
                    </a:lnTo>
                    <a:lnTo>
                      <a:pt x="174" y="465"/>
                    </a:lnTo>
                    <a:lnTo>
                      <a:pt x="174" y="463"/>
                    </a:lnTo>
                    <a:lnTo>
                      <a:pt x="174" y="461"/>
                    </a:lnTo>
                    <a:lnTo>
                      <a:pt x="174" y="460"/>
                    </a:lnTo>
                    <a:lnTo>
                      <a:pt x="174" y="458"/>
                    </a:lnTo>
                    <a:lnTo>
                      <a:pt x="174" y="456"/>
                    </a:lnTo>
                    <a:lnTo>
                      <a:pt x="174" y="454"/>
                    </a:lnTo>
                    <a:lnTo>
                      <a:pt x="172" y="454"/>
                    </a:lnTo>
                    <a:lnTo>
                      <a:pt x="172" y="453"/>
                    </a:lnTo>
                    <a:lnTo>
                      <a:pt x="170" y="453"/>
                    </a:lnTo>
                    <a:lnTo>
                      <a:pt x="170" y="451"/>
                    </a:lnTo>
                    <a:lnTo>
                      <a:pt x="169" y="449"/>
                    </a:lnTo>
                    <a:lnTo>
                      <a:pt x="169" y="448"/>
                    </a:lnTo>
                    <a:lnTo>
                      <a:pt x="167" y="448"/>
                    </a:lnTo>
                    <a:lnTo>
                      <a:pt x="167" y="446"/>
                    </a:lnTo>
                    <a:lnTo>
                      <a:pt x="165" y="446"/>
                    </a:lnTo>
                    <a:lnTo>
                      <a:pt x="165" y="444"/>
                    </a:lnTo>
                    <a:lnTo>
                      <a:pt x="163" y="444"/>
                    </a:lnTo>
                    <a:lnTo>
                      <a:pt x="165" y="443"/>
                    </a:lnTo>
                    <a:lnTo>
                      <a:pt x="163" y="443"/>
                    </a:lnTo>
                    <a:lnTo>
                      <a:pt x="163" y="441"/>
                    </a:lnTo>
                    <a:lnTo>
                      <a:pt x="163" y="439"/>
                    </a:lnTo>
                    <a:lnTo>
                      <a:pt x="163" y="437"/>
                    </a:lnTo>
                    <a:lnTo>
                      <a:pt x="162" y="437"/>
                    </a:lnTo>
                    <a:lnTo>
                      <a:pt x="162" y="436"/>
                    </a:lnTo>
                    <a:lnTo>
                      <a:pt x="160" y="436"/>
                    </a:lnTo>
                    <a:lnTo>
                      <a:pt x="160" y="434"/>
                    </a:lnTo>
                    <a:lnTo>
                      <a:pt x="160" y="432"/>
                    </a:lnTo>
                    <a:lnTo>
                      <a:pt x="158" y="432"/>
                    </a:lnTo>
                    <a:lnTo>
                      <a:pt x="158" y="431"/>
                    </a:lnTo>
                    <a:lnTo>
                      <a:pt x="158" y="429"/>
                    </a:lnTo>
                    <a:lnTo>
                      <a:pt x="157" y="429"/>
                    </a:lnTo>
                    <a:lnTo>
                      <a:pt x="157" y="427"/>
                    </a:lnTo>
                    <a:lnTo>
                      <a:pt x="155" y="427"/>
                    </a:lnTo>
                    <a:lnTo>
                      <a:pt x="155" y="426"/>
                    </a:lnTo>
                    <a:lnTo>
                      <a:pt x="153" y="426"/>
                    </a:lnTo>
                    <a:lnTo>
                      <a:pt x="153" y="424"/>
                    </a:lnTo>
                    <a:lnTo>
                      <a:pt x="155" y="424"/>
                    </a:lnTo>
                    <a:lnTo>
                      <a:pt x="155" y="422"/>
                    </a:lnTo>
                    <a:lnTo>
                      <a:pt x="153" y="422"/>
                    </a:lnTo>
                    <a:lnTo>
                      <a:pt x="153" y="420"/>
                    </a:lnTo>
                    <a:lnTo>
                      <a:pt x="153" y="419"/>
                    </a:lnTo>
                    <a:lnTo>
                      <a:pt x="152" y="419"/>
                    </a:lnTo>
                    <a:lnTo>
                      <a:pt x="150" y="417"/>
                    </a:lnTo>
                    <a:lnTo>
                      <a:pt x="148" y="417"/>
                    </a:lnTo>
                    <a:lnTo>
                      <a:pt x="148" y="415"/>
                    </a:lnTo>
                    <a:lnTo>
                      <a:pt x="146" y="415"/>
                    </a:lnTo>
                    <a:lnTo>
                      <a:pt x="146" y="414"/>
                    </a:lnTo>
                    <a:lnTo>
                      <a:pt x="146" y="412"/>
                    </a:lnTo>
                    <a:lnTo>
                      <a:pt x="145" y="412"/>
                    </a:lnTo>
                    <a:lnTo>
                      <a:pt x="143" y="410"/>
                    </a:lnTo>
                    <a:lnTo>
                      <a:pt x="141" y="410"/>
                    </a:lnTo>
                    <a:lnTo>
                      <a:pt x="141" y="409"/>
                    </a:lnTo>
                    <a:lnTo>
                      <a:pt x="141" y="410"/>
                    </a:lnTo>
                    <a:lnTo>
                      <a:pt x="141" y="409"/>
                    </a:lnTo>
                    <a:lnTo>
                      <a:pt x="143" y="409"/>
                    </a:lnTo>
                    <a:lnTo>
                      <a:pt x="143" y="407"/>
                    </a:lnTo>
                    <a:lnTo>
                      <a:pt x="143" y="405"/>
                    </a:lnTo>
                    <a:lnTo>
                      <a:pt x="141" y="405"/>
                    </a:lnTo>
                    <a:lnTo>
                      <a:pt x="141" y="403"/>
                    </a:lnTo>
                    <a:lnTo>
                      <a:pt x="141" y="402"/>
                    </a:lnTo>
                    <a:lnTo>
                      <a:pt x="141" y="400"/>
                    </a:lnTo>
                    <a:lnTo>
                      <a:pt x="140" y="400"/>
                    </a:lnTo>
                    <a:lnTo>
                      <a:pt x="141" y="400"/>
                    </a:lnTo>
                    <a:lnTo>
                      <a:pt x="141" y="398"/>
                    </a:lnTo>
                    <a:lnTo>
                      <a:pt x="140" y="398"/>
                    </a:lnTo>
                    <a:lnTo>
                      <a:pt x="140" y="397"/>
                    </a:lnTo>
                    <a:lnTo>
                      <a:pt x="140" y="395"/>
                    </a:lnTo>
                    <a:lnTo>
                      <a:pt x="138" y="395"/>
                    </a:lnTo>
                    <a:lnTo>
                      <a:pt x="138" y="393"/>
                    </a:lnTo>
                    <a:lnTo>
                      <a:pt x="136" y="392"/>
                    </a:lnTo>
                    <a:lnTo>
                      <a:pt x="136" y="390"/>
                    </a:lnTo>
                    <a:lnTo>
                      <a:pt x="135" y="390"/>
                    </a:lnTo>
                    <a:lnTo>
                      <a:pt x="133" y="388"/>
                    </a:lnTo>
                    <a:lnTo>
                      <a:pt x="129" y="386"/>
                    </a:lnTo>
                    <a:lnTo>
                      <a:pt x="128" y="385"/>
                    </a:lnTo>
                    <a:lnTo>
                      <a:pt x="126" y="385"/>
                    </a:lnTo>
                    <a:lnTo>
                      <a:pt x="124" y="385"/>
                    </a:lnTo>
                    <a:lnTo>
                      <a:pt x="124" y="383"/>
                    </a:lnTo>
                    <a:lnTo>
                      <a:pt x="126" y="383"/>
                    </a:lnTo>
                    <a:lnTo>
                      <a:pt x="124" y="383"/>
                    </a:lnTo>
                    <a:lnTo>
                      <a:pt x="126" y="381"/>
                    </a:lnTo>
                    <a:lnTo>
                      <a:pt x="124" y="381"/>
                    </a:lnTo>
                    <a:lnTo>
                      <a:pt x="126" y="381"/>
                    </a:lnTo>
                    <a:lnTo>
                      <a:pt x="128" y="380"/>
                    </a:lnTo>
                    <a:lnTo>
                      <a:pt x="126" y="380"/>
                    </a:lnTo>
                    <a:lnTo>
                      <a:pt x="126" y="378"/>
                    </a:lnTo>
                    <a:lnTo>
                      <a:pt x="126" y="376"/>
                    </a:lnTo>
                    <a:lnTo>
                      <a:pt x="126" y="375"/>
                    </a:lnTo>
                    <a:lnTo>
                      <a:pt x="124" y="375"/>
                    </a:lnTo>
                    <a:lnTo>
                      <a:pt x="124" y="373"/>
                    </a:lnTo>
                    <a:lnTo>
                      <a:pt x="124" y="371"/>
                    </a:lnTo>
                    <a:lnTo>
                      <a:pt x="124" y="369"/>
                    </a:lnTo>
                    <a:lnTo>
                      <a:pt x="123" y="369"/>
                    </a:lnTo>
                    <a:lnTo>
                      <a:pt x="123" y="368"/>
                    </a:lnTo>
                    <a:lnTo>
                      <a:pt x="121" y="368"/>
                    </a:lnTo>
                    <a:lnTo>
                      <a:pt x="123" y="366"/>
                    </a:lnTo>
                    <a:lnTo>
                      <a:pt x="121" y="366"/>
                    </a:lnTo>
                    <a:lnTo>
                      <a:pt x="121" y="364"/>
                    </a:lnTo>
                    <a:lnTo>
                      <a:pt x="119" y="364"/>
                    </a:lnTo>
                    <a:lnTo>
                      <a:pt x="119" y="363"/>
                    </a:lnTo>
                    <a:lnTo>
                      <a:pt x="118" y="363"/>
                    </a:lnTo>
                    <a:lnTo>
                      <a:pt x="118" y="361"/>
                    </a:lnTo>
                    <a:lnTo>
                      <a:pt x="118" y="359"/>
                    </a:lnTo>
                    <a:lnTo>
                      <a:pt x="116" y="359"/>
                    </a:lnTo>
                    <a:lnTo>
                      <a:pt x="116" y="358"/>
                    </a:lnTo>
                    <a:lnTo>
                      <a:pt x="114" y="356"/>
                    </a:lnTo>
                    <a:lnTo>
                      <a:pt x="114" y="354"/>
                    </a:lnTo>
                    <a:lnTo>
                      <a:pt x="112" y="354"/>
                    </a:lnTo>
                    <a:lnTo>
                      <a:pt x="112" y="352"/>
                    </a:lnTo>
                    <a:lnTo>
                      <a:pt x="112" y="351"/>
                    </a:lnTo>
                    <a:lnTo>
                      <a:pt x="111" y="351"/>
                    </a:lnTo>
                    <a:lnTo>
                      <a:pt x="111" y="349"/>
                    </a:lnTo>
                    <a:lnTo>
                      <a:pt x="111" y="347"/>
                    </a:lnTo>
                    <a:lnTo>
                      <a:pt x="109" y="346"/>
                    </a:lnTo>
                    <a:lnTo>
                      <a:pt x="107" y="344"/>
                    </a:lnTo>
                    <a:lnTo>
                      <a:pt x="107" y="342"/>
                    </a:lnTo>
                    <a:lnTo>
                      <a:pt x="107" y="341"/>
                    </a:lnTo>
                    <a:lnTo>
                      <a:pt x="107" y="339"/>
                    </a:lnTo>
                    <a:lnTo>
                      <a:pt x="106" y="339"/>
                    </a:lnTo>
                    <a:lnTo>
                      <a:pt x="106" y="337"/>
                    </a:lnTo>
                    <a:lnTo>
                      <a:pt x="106" y="335"/>
                    </a:lnTo>
                    <a:lnTo>
                      <a:pt x="106" y="334"/>
                    </a:lnTo>
                    <a:lnTo>
                      <a:pt x="106" y="332"/>
                    </a:lnTo>
                    <a:lnTo>
                      <a:pt x="104" y="330"/>
                    </a:lnTo>
                    <a:lnTo>
                      <a:pt x="104" y="329"/>
                    </a:lnTo>
                    <a:lnTo>
                      <a:pt x="102" y="329"/>
                    </a:lnTo>
                    <a:lnTo>
                      <a:pt x="102" y="327"/>
                    </a:lnTo>
                    <a:lnTo>
                      <a:pt x="101" y="327"/>
                    </a:lnTo>
                    <a:lnTo>
                      <a:pt x="101" y="325"/>
                    </a:lnTo>
                    <a:lnTo>
                      <a:pt x="101" y="324"/>
                    </a:lnTo>
                    <a:lnTo>
                      <a:pt x="101" y="322"/>
                    </a:lnTo>
                    <a:lnTo>
                      <a:pt x="99" y="322"/>
                    </a:lnTo>
                    <a:lnTo>
                      <a:pt x="101" y="322"/>
                    </a:lnTo>
                    <a:lnTo>
                      <a:pt x="101" y="320"/>
                    </a:lnTo>
                    <a:lnTo>
                      <a:pt x="99" y="320"/>
                    </a:lnTo>
                    <a:lnTo>
                      <a:pt x="99" y="318"/>
                    </a:lnTo>
                    <a:lnTo>
                      <a:pt x="99" y="317"/>
                    </a:lnTo>
                    <a:lnTo>
                      <a:pt x="97" y="317"/>
                    </a:lnTo>
                    <a:lnTo>
                      <a:pt x="97" y="315"/>
                    </a:lnTo>
                    <a:lnTo>
                      <a:pt x="95" y="315"/>
                    </a:lnTo>
                    <a:lnTo>
                      <a:pt x="95" y="313"/>
                    </a:lnTo>
                    <a:lnTo>
                      <a:pt x="97" y="313"/>
                    </a:lnTo>
                    <a:lnTo>
                      <a:pt x="97" y="312"/>
                    </a:lnTo>
                    <a:lnTo>
                      <a:pt x="95" y="312"/>
                    </a:lnTo>
                    <a:lnTo>
                      <a:pt x="94" y="312"/>
                    </a:lnTo>
                    <a:lnTo>
                      <a:pt x="94" y="313"/>
                    </a:lnTo>
                    <a:lnTo>
                      <a:pt x="94" y="312"/>
                    </a:lnTo>
                    <a:lnTo>
                      <a:pt x="92" y="312"/>
                    </a:lnTo>
                    <a:lnTo>
                      <a:pt x="92" y="310"/>
                    </a:lnTo>
                    <a:lnTo>
                      <a:pt x="94" y="312"/>
                    </a:lnTo>
                    <a:lnTo>
                      <a:pt x="94" y="310"/>
                    </a:lnTo>
                    <a:lnTo>
                      <a:pt x="94" y="312"/>
                    </a:lnTo>
                    <a:lnTo>
                      <a:pt x="94" y="310"/>
                    </a:lnTo>
                    <a:lnTo>
                      <a:pt x="94" y="308"/>
                    </a:lnTo>
                    <a:lnTo>
                      <a:pt x="92" y="308"/>
                    </a:lnTo>
                    <a:lnTo>
                      <a:pt x="92" y="307"/>
                    </a:lnTo>
                    <a:lnTo>
                      <a:pt x="92" y="305"/>
                    </a:lnTo>
                    <a:lnTo>
                      <a:pt x="90" y="305"/>
                    </a:lnTo>
                    <a:lnTo>
                      <a:pt x="92" y="305"/>
                    </a:lnTo>
                    <a:lnTo>
                      <a:pt x="92" y="303"/>
                    </a:lnTo>
                    <a:lnTo>
                      <a:pt x="90" y="301"/>
                    </a:lnTo>
                    <a:lnTo>
                      <a:pt x="90" y="300"/>
                    </a:lnTo>
                    <a:lnTo>
                      <a:pt x="89" y="300"/>
                    </a:lnTo>
                    <a:lnTo>
                      <a:pt x="89" y="298"/>
                    </a:lnTo>
                    <a:lnTo>
                      <a:pt x="87" y="298"/>
                    </a:lnTo>
                    <a:lnTo>
                      <a:pt x="87" y="296"/>
                    </a:lnTo>
                    <a:lnTo>
                      <a:pt x="89" y="296"/>
                    </a:lnTo>
                    <a:lnTo>
                      <a:pt x="89" y="295"/>
                    </a:lnTo>
                    <a:lnTo>
                      <a:pt x="89" y="293"/>
                    </a:lnTo>
                    <a:lnTo>
                      <a:pt x="87" y="291"/>
                    </a:lnTo>
                    <a:lnTo>
                      <a:pt x="87" y="289"/>
                    </a:lnTo>
                    <a:lnTo>
                      <a:pt x="85" y="289"/>
                    </a:lnTo>
                    <a:lnTo>
                      <a:pt x="85" y="288"/>
                    </a:lnTo>
                    <a:lnTo>
                      <a:pt x="84" y="288"/>
                    </a:lnTo>
                    <a:lnTo>
                      <a:pt x="82" y="286"/>
                    </a:lnTo>
                    <a:lnTo>
                      <a:pt x="84" y="284"/>
                    </a:lnTo>
                    <a:lnTo>
                      <a:pt x="84" y="283"/>
                    </a:lnTo>
                    <a:lnTo>
                      <a:pt x="82" y="283"/>
                    </a:lnTo>
                    <a:lnTo>
                      <a:pt x="82" y="281"/>
                    </a:lnTo>
                    <a:lnTo>
                      <a:pt x="80" y="281"/>
                    </a:lnTo>
                    <a:lnTo>
                      <a:pt x="80" y="279"/>
                    </a:lnTo>
                    <a:lnTo>
                      <a:pt x="80" y="278"/>
                    </a:lnTo>
                    <a:lnTo>
                      <a:pt x="78" y="278"/>
                    </a:lnTo>
                    <a:lnTo>
                      <a:pt x="78" y="276"/>
                    </a:lnTo>
                    <a:lnTo>
                      <a:pt x="77" y="276"/>
                    </a:lnTo>
                    <a:lnTo>
                      <a:pt x="77" y="274"/>
                    </a:lnTo>
                    <a:lnTo>
                      <a:pt x="75" y="274"/>
                    </a:lnTo>
                    <a:lnTo>
                      <a:pt x="75" y="272"/>
                    </a:lnTo>
                    <a:lnTo>
                      <a:pt x="73" y="271"/>
                    </a:lnTo>
                    <a:lnTo>
                      <a:pt x="72" y="271"/>
                    </a:lnTo>
                    <a:lnTo>
                      <a:pt x="70" y="269"/>
                    </a:lnTo>
                    <a:lnTo>
                      <a:pt x="68" y="267"/>
                    </a:lnTo>
                    <a:lnTo>
                      <a:pt x="67" y="266"/>
                    </a:lnTo>
                    <a:lnTo>
                      <a:pt x="67" y="264"/>
                    </a:lnTo>
                    <a:lnTo>
                      <a:pt x="65" y="262"/>
                    </a:lnTo>
                    <a:lnTo>
                      <a:pt x="63" y="261"/>
                    </a:lnTo>
                    <a:lnTo>
                      <a:pt x="65" y="261"/>
                    </a:lnTo>
                    <a:lnTo>
                      <a:pt x="65" y="259"/>
                    </a:lnTo>
                    <a:lnTo>
                      <a:pt x="63" y="257"/>
                    </a:lnTo>
                    <a:lnTo>
                      <a:pt x="63" y="255"/>
                    </a:lnTo>
                    <a:lnTo>
                      <a:pt x="61" y="255"/>
                    </a:lnTo>
                    <a:lnTo>
                      <a:pt x="61" y="254"/>
                    </a:lnTo>
                    <a:lnTo>
                      <a:pt x="60" y="254"/>
                    </a:lnTo>
                    <a:lnTo>
                      <a:pt x="60" y="252"/>
                    </a:lnTo>
                    <a:lnTo>
                      <a:pt x="60" y="250"/>
                    </a:lnTo>
                    <a:lnTo>
                      <a:pt x="60" y="249"/>
                    </a:lnTo>
                    <a:lnTo>
                      <a:pt x="60" y="247"/>
                    </a:lnTo>
                    <a:lnTo>
                      <a:pt x="58" y="245"/>
                    </a:lnTo>
                    <a:lnTo>
                      <a:pt x="56" y="244"/>
                    </a:lnTo>
                    <a:lnTo>
                      <a:pt x="56" y="242"/>
                    </a:lnTo>
                    <a:lnTo>
                      <a:pt x="56" y="240"/>
                    </a:lnTo>
                    <a:lnTo>
                      <a:pt x="55" y="240"/>
                    </a:lnTo>
                    <a:lnTo>
                      <a:pt x="55" y="238"/>
                    </a:lnTo>
                    <a:lnTo>
                      <a:pt x="53" y="237"/>
                    </a:lnTo>
                    <a:lnTo>
                      <a:pt x="51" y="235"/>
                    </a:lnTo>
                    <a:lnTo>
                      <a:pt x="50" y="235"/>
                    </a:lnTo>
                    <a:lnTo>
                      <a:pt x="50" y="233"/>
                    </a:lnTo>
                    <a:lnTo>
                      <a:pt x="48" y="233"/>
                    </a:lnTo>
                    <a:lnTo>
                      <a:pt x="48" y="232"/>
                    </a:lnTo>
                    <a:lnTo>
                      <a:pt x="48" y="230"/>
                    </a:lnTo>
                    <a:lnTo>
                      <a:pt x="46" y="230"/>
                    </a:lnTo>
                    <a:lnTo>
                      <a:pt x="46" y="228"/>
                    </a:lnTo>
                    <a:lnTo>
                      <a:pt x="44" y="227"/>
                    </a:lnTo>
                    <a:lnTo>
                      <a:pt x="43" y="227"/>
                    </a:lnTo>
                    <a:lnTo>
                      <a:pt x="41" y="225"/>
                    </a:lnTo>
                    <a:lnTo>
                      <a:pt x="41" y="223"/>
                    </a:lnTo>
                    <a:lnTo>
                      <a:pt x="39" y="223"/>
                    </a:lnTo>
                    <a:lnTo>
                      <a:pt x="38" y="223"/>
                    </a:lnTo>
                    <a:lnTo>
                      <a:pt x="38" y="221"/>
                    </a:lnTo>
                    <a:lnTo>
                      <a:pt x="36" y="221"/>
                    </a:lnTo>
                    <a:lnTo>
                      <a:pt x="34" y="220"/>
                    </a:lnTo>
                    <a:lnTo>
                      <a:pt x="33" y="220"/>
                    </a:lnTo>
                    <a:lnTo>
                      <a:pt x="31" y="218"/>
                    </a:lnTo>
                    <a:lnTo>
                      <a:pt x="29" y="218"/>
                    </a:lnTo>
                    <a:lnTo>
                      <a:pt x="28" y="216"/>
                    </a:lnTo>
                    <a:lnTo>
                      <a:pt x="26" y="216"/>
                    </a:lnTo>
                    <a:lnTo>
                      <a:pt x="24" y="216"/>
                    </a:lnTo>
                    <a:lnTo>
                      <a:pt x="24" y="215"/>
                    </a:lnTo>
                    <a:lnTo>
                      <a:pt x="22" y="215"/>
                    </a:lnTo>
                    <a:lnTo>
                      <a:pt x="21" y="213"/>
                    </a:lnTo>
                    <a:lnTo>
                      <a:pt x="19" y="213"/>
                    </a:lnTo>
                    <a:lnTo>
                      <a:pt x="17" y="211"/>
                    </a:lnTo>
                    <a:lnTo>
                      <a:pt x="16" y="210"/>
                    </a:lnTo>
                    <a:lnTo>
                      <a:pt x="14" y="210"/>
                    </a:lnTo>
                    <a:lnTo>
                      <a:pt x="14" y="208"/>
                    </a:lnTo>
                    <a:lnTo>
                      <a:pt x="12" y="208"/>
                    </a:lnTo>
                    <a:lnTo>
                      <a:pt x="11" y="206"/>
                    </a:lnTo>
                    <a:lnTo>
                      <a:pt x="9" y="206"/>
                    </a:lnTo>
                    <a:lnTo>
                      <a:pt x="9" y="204"/>
                    </a:lnTo>
                    <a:lnTo>
                      <a:pt x="7" y="204"/>
                    </a:lnTo>
                    <a:lnTo>
                      <a:pt x="7" y="203"/>
                    </a:lnTo>
                    <a:lnTo>
                      <a:pt x="7" y="201"/>
                    </a:lnTo>
                    <a:lnTo>
                      <a:pt x="7" y="199"/>
                    </a:lnTo>
                    <a:lnTo>
                      <a:pt x="7" y="198"/>
                    </a:lnTo>
                    <a:lnTo>
                      <a:pt x="9" y="198"/>
                    </a:lnTo>
                    <a:lnTo>
                      <a:pt x="9" y="196"/>
                    </a:lnTo>
                    <a:lnTo>
                      <a:pt x="11" y="196"/>
                    </a:lnTo>
                    <a:lnTo>
                      <a:pt x="11" y="198"/>
                    </a:lnTo>
                    <a:lnTo>
                      <a:pt x="12" y="198"/>
                    </a:lnTo>
                    <a:lnTo>
                      <a:pt x="14" y="198"/>
                    </a:lnTo>
                    <a:lnTo>
                      <a:pt x="16" y="198"/>
                    </a:lnTo>
                    <a:lnTo>
                      <a:pt x="16" y="196"/>
                    </a:lnTo>
                    <a:lnTo>
                      <a:pt x="17" y="194"/>
                    </a:lnTo>
                    <a:lnTo>
                      <a:pt x="17" y="193"/>
                    </a:lnTo>
                    <a:lnTo>
                      <a:pt x="17" y="191"/>
                    </a:lnTo>
                    <a:lnTo>
                      <a:pt x="17" y="189"/>
                    </a:lnTo>
                    <a:lnTo>
                      <a:pt x="16" y="189"/>
                    </a:lnTo>
                    <a:lnTo>
                      <a:pt x="16" y="187"/>
                    </a:lnTo>
                    <a:lnTo>
                      <a:pt x="16" y="186"/>
                    </a:lnTo>
                    <a:lnTo>
                      <a:pt x="14" y="184"/>
                    </a:lnTo>
                    <a:lnTo>
                      <a:pt x="12" y="182"/>
                    </a:lnTo>
                    <a:lnTo>
                      <a:pt x="11" y="181"/>
                    </a:lnTo>
                    <a:lnTo>
                      <a:pt x="11" y="179"/>
                    </a:lnTo>
                    <a:lnTo>
                      <a:pt x="9" y="179"/>
                    </a:lnTo>
                    <a:lnTo>
                      <a:pt x="7" y="179"/>
                    </a:lnTo>
                    <a:lnTo>
                      <a:pt x="7" y="177"/>
                    </a:lnTo>
                    <a:lnTo>
                      <a:pt x="5" y="177"/>
                    </a:lnTo>
                    <a:lnTo>
                      <a:pt x="5" y="176"/>
                    </a:lnTo>
                    <a:lnTo>
                      <a:pt x="7" y="176"/>
                    </a:lnTo>
                    <a:lnTo>
                      <a:pt x="7" y="174"/>
                    </a:lnTo>
                    <a:lnTo>
                      <a:pt x="5" y="174"/>
                    </a:lnTo>
                    <a:lnTo>
                      <a:pt x="7" y="174"/>
                    </a:lnTo>
                    <a:lnTo>
                      <a:pt x="7" y="172"/>
                    </a:lnTo>
                    <a:lnTo>
                      <a:pt x="5" y="172"/>
                    </a:lnTo>
                    <a:lnTo>
                      <a:pt x="7" y="172"/>
                    </a:lnTo>
                    <a:lnTo>
                      <a:pt x="9" y="172"/>
                    </a:lnTo>
                    <a:lnTo>
                      <a:pt x="11" y="170"/>
                    </a:lnTo>
                    <a:lnTo>
                      <a:pt x="11" y="169"/>
                    </a:lnTo>
                    <a:lnTo>
                      <a:pt x="9" y="169"/>
                    </a:lnTo>
                    <a:lnTo>
                      <a:pt x="9" y="167"/>
                    </a:lnTo>
                    <a:lnTo>
                      <a:pt x="7" y="165"/>
                    </a:lnTo>
                    <a:lnTo>
                      <a:pt x="5" y="164"/>
                    </a:lnTo>
                    <a:lnTo>
                      <a:pt x="5" y="162"/>
                    </a:lnTo>
                    <a:lnTo>
                      <a:pt x="4" y="162"/>
                    </a:lnTo>
                    <a:lnTo>
                      <a:pt x="2" y="159"/>
                    </a:lnTo>
                    <a:lnTo>
                      <a:pt x="0" y="159"/>
                    </a:lnTo>
                    <a:lnTo>
                      <a:pt x="2" y="157"/>
                    </a:lnTo>
                    <a:lnTo>
                      <a:pt x="2" y="155"/>
                    </a:lnTo>
                    <a:lnTo>
                      <a:pt x="2" y="153"/>
                    </a:lnTo>
                    <a:lnTo>
                      <a:pt x="2" y="152"/>
                    </a:lnTo>
                    <a:lnTo>
                      <a:pt x="2" y="150"/>
                    </a:lnTo>
                    <a:lnTo>
                      <a:pt x="4" y="150"/>
                    </a:lnTo>
                    <a:lnTo>
                      <a:pt x="4" y="148"/>
                    </a:lnTo>
                    <a:lnTo>
                      <a:pt x="4" y="147"/>
                    </a:lnTo>
                    <a:lnTo>
                      <a:pt x="4" y="145"/>
                    </a:lnTo>
                    <a:lnTo>
                      <a:pt x="4" y="143"/>
                    </a:lnTo>
                    <a:lnTo>
                      <a:pt x="5" y="143"/>
                    </a:lnTo>
                    <a:lnTo>
                      <a:pt x="7" y="141"/>
                    </a:lnTo>
                    <a:lnTo>
                      <a:pt x="9" y="140"/>
                    </a:lnTo>
                    <a:lnTo>
                      <a:pt x="9" y="138"/>
                    </a:lnTo>
                    <a:lnTo>
                      <a:pt x="11" y="138"/>
                    </a:lnTo>
                    <a:lnTo>
                      <a:pt x="11" y="136"/>
                    </a:lnTo>
                    <a:lnTo>
                      <a:pt x="12" y="136"/>
                    </a:lnTo>
                    <a:lnTo>
                      <a:pt x="12" y="135"/>
                    </a:lnTo>
                    <a:lnTo>
                      <a:pt x="14" y="133"/>
                    </a:lnTo>
                    <a:lnTo>
                      <a:pt x="16" y="131"/>
                    </a:lnTo>
                    <a:lnTo>
                      <a:pt x="17" y="131"/>
                    </a:lnTo>
                    <a:lnTo>
                      <a:pt x="17" y="130"/>
                    </a:lnTo>
                    <a:lnTo>
                      <a:pt x="19" y="128"/>
                    </a:lnTo>
                    <a:lnTo>
                      <a:pt x="19" y="126"/>
                    </a:lnTo>
                    <a:lnTo>
                      <a:pt x="21" y="126"/>
                    </a:lnTo>
                    <a:lnTo>
                      <a:pt x="21" y="124"/>
                    </a:lnTo>
                    <a:lnTo>
                      <a:pt x="22" y="124"/>
                    </a:lnTo>
                    <a:lnTo>
                      <a:pt x="24" y="124"/>
                    </a:lnTo>
                    <a:lnTo>
                      <a:pt x="24" y="123"/>
                    </a:lnTo>
                    <a:lnTo>
                      <a:pt x="26" y="123"/>
                    </a:lnTo>
                    <a:lnTo>
                      <a:pt x="28" y="121"/>
                    </a:lnTo>
                    <a:lnTo>
                      <a:pt x="28" y="119"/>
                    </a:lnTo>
                    <a:lnTo>
                      <a:pt x="29" y="119"/>
                    </a:lnTo>
                    <a:lnTo>
                      <a:pt x="29" y="118"/>
                    </a:lnTo>
                    <a:lnTo>
                      <a:pt x="31" y="118"/>
                    </a:lnTo>
                    <a:lnTo>
                      <a:pt x="33" y="118"/>
                    </a:lnTo>
                    <a:lnTo>
                      <a:pt x="31" y="119"/>
                    </a:lnTo>
                    <a:lnTo>
                      <a:pt x="33" y="118"/>
                    </a:lnTo>
                    <a:lnTo>
                      <a:pt x="34" y="118"/>
                    </a:lnTo>
                    <a:lnTo>
                      <a:pt x="34" y="116"/>
                    </a:lnTo>
                    <a:lnTo>
                      <a:pt x="36" y="114"/>
                    </a:lnTo>
                    <a:lnTo>
                      <a:pt x="36" y="116"/>
                    </a:lnTo>
                    <a:lnTo>
                      <a:pt x="38" y="116"/>
                    </a:lnTo>
                    <a:lnTo>
                      <a:pt x="38" y="118"/>
                    </a:lnTo>
                    <a:lnTo>
                      <a:pt x="38" y="119"/>
                    </a:lnTo>
                    <a:lnTo>
                      <a:pt x="39" y="119"/>
                    </a:lnTo>
                    <a:lnTo>
                      <a:pt x="38" y="121"/>
                    </a:lnTo>
                    <a:lnTo>
                      <a:pt x="39" y="121"/>
                    </a:lnTo>
                    <a:lnTo>
                      <a:pt x="39" y="123"/>
                    </a:lnTo>
                    <a:lnTo>
                      <a:pt x="39" y="124"/>
                    </a:lnTo>
                    <a:lnTo>
                      <a:pt x="39" y="126"/>
                    </a:lnTo>
                    <a:lnTo>
                      <a:pt x="39" y="128"/>
                    </a:lnTo>
                    <a:lnTo>
                      <a:pt x="41" y="128"/>
                    </a:lnTo>
                    <a:lnTo>
                      <a:pt x="41" y="130"/>
                    </a:lnTo>
                    <a:lnTo>
                      <a:pt x="41" y="131"/>
                    </a:lnTo>
                    <a:lnTo>
                      <a:pt x="39" y="133"/>
                    </a:lnTo>
                    <a:lnTo>
                      <a:pt x="38" y="133"/>
                    </a:lnTo>
                    <a:lnTo>
                      <a:pt x="38" y="135"/>
                    </a:lnTo>
                    <a:lnTo>
                      <a:pt x="36" y="135"/>
                    </a:lnTo>
                    <a:lnTo>
                      <a:pt x="36" y="136"/>
                    </a:lnTo>
                    <a:lnTo>
                      <a:pt x="34" y="135"/>
                    </a:lnTo>
                    <a:lnTo>
                      <a:pt x="33" y="135"/>
                    </a:lnTo>
                    <a:lnTo>
                      <a:pt x="31" y="135"/>
                    </a:lnTo>
                    <a:lnTo>
                      <a:pt x="31" y="136"/>
                    </a:lnTo>
                    <a:lnTo>
                      <a:pt x="29" y="136"/>
                    </a:lnTo>
                    <a:lnTo>
                      <a:pt x="29" y="138"/>
                    </a:lnTo>
                    <a:lnTo>
                      <a:pt x="31" y="138"/>
                    </a:lnTo>
                    <a:lnTo>
                      <a:pt x="29" y="140"/>
                    </a:lnTo>
                    <a:lnTo>
                      <a:pt x="31" y="140"/>
                    </a:lnTo>
                    <a:lnTo>
                      <a:pt x="31" y="141"/>
                    </a:lnTo>
                    <a:lnTo>
                      <a:pt x="33" y="143"/>
                    </a:lnTo>
                    <a:lnTo>
                      <a:pt x="33" y="141"/>
                    </a:lnTo>
                    <a:lnTo>
                      <a:pt x="34" y="143"/>
                    </a:lnTo>
                    <a:lnTo>
                      <a:pt x="34" y="141"/>
                    </a:lnTo>
                    <a:lnTo>
                      <a:pt x="36" y="141"/>
                    </a:lnTo>
                    <a:lnTo>
                      <a:pt x="34" y="141"/>
                    </a:lnTo>
                    <a:lnTo>
                      <a:pt x="34" y="143"/>
                    </a:lnTo>
                    <a:lnTo>
                      <a:pt x="33" y="145"/>
                    </a:lnTo>
                    <a:lnTo>
                      <a:pt x="33" y="147"/>
                    </a:lnTo>
                    <a:lnTo>
                      <a:pt x="31" y="147"/>
                    </a:lnTo>
                    <a:lnTo>
                      <a:pt x="31" y="148"/>
                    </a:lnTo>
                    <a:lnTo>
                      <a:pt x="31" y="150"/>
                    </a:lnTo>
                    <a:lnTo>
                      <a:pt x="31" y="152"/>
                    </a:lnTo>
                    <a:lnTo>
                      <a:pt x="31" y="150"/>
                    </a:lnTo>
                    <a:lnTo>
                      <a:pt x="33" y="152"/>
                    </a:lnTo>
                    <a:lnTo>
                      <a:pt x="34" y="152"/>
                    </a:lnTo>
                    <a:lnTo>
                      <a:pt x="34" y="150"/>
                    </a:lnTo>
                    <a:lnTo>
                      <a:pt x="36" y="150"/>
                    </a:lnTo>
                    <a:lnTo>
                      <a:pt x="36" y="148"/>
                    </a:lnTo>
                    <a:lnTo>
                      <a:pt x="38" y="148"/>
                    </a:lnTo>
                    <a:lnTo>
                      <a:pt x="38" y="147"/>
                    </a:lnTo>
                    <a:lnTo>
                      <a:pt x="39" y="147"/>
                    </a:lnTo>
                    <a:lnTo>
                      <a:pt x="39" y="145"/>
                    </a:lnTo>
                    <a:lnTo>
                      <a:pt x="41" y="145"/>
                    </a:lnTo>
                    <a:lnTo>
                      <a:pt x="43" y="145"/>
                    </a:lnTo>
                    <a:lnTo>
                      <a:pt x="44" y="145"/>
                    </a:lnTo>
                    <a:lnTo>
                      <a:pt x="44" y="147"/>
                    </a:lnTo>
                    <a:lnTo>
                      <a:pt x="46" y="148"/>
                    </a:lnTo>
                    <a:lnTo>
                      <a:pt x="48" y="148"/>
                    </a:lnTo>
                    <a:lnTo>
                      <a:pt x="50" y="148"/>
                    </a:lnTo>
                    <a:lnTo>
                      <a:pt x="51" y="150"/>
                    </a:lnTo>
                    <a:lnTo>
                      <a:pt x="51" y="152"/>
                    </a:lnTo>
                    <a:lnTo>
                      <a:pt x="53" y="152"/>
                    </a:lnTo>
                    <a:lnTo>
                      <a:pt x="55" y="152"/>
                    </a:lnTo>
                    <a:lnTo>
                      <a:pt x="56" y="152"/>
                    </a:lnTo>
                    <a:lnTo>
                      <a:pt x="56" y="150"/>
                    </a:lnTo>
                    <a:lnTo>
                      <a:pt x="58" y="150"/>
                    </a:lnTo>
                    <a:lnTo>
                      <a:pt x="60" y="150"/>
                    </a:lnTo>
                    <a:lnTo>
                      <a:pt x="60" y="152"/>
                    </a:lnTo>
                    <a:lnTo>
                      <a:pt x="61" y="152"/>
                    </a:lnTo>
                    <a:lnTo>
                      <a:pt x="61" y="153"/>
                    </a:lnTo>
                    <a:lnTo>
                      <a:pt x="61" y="152"/>
                    </a:lnTo>
                    <a:lnTo>
                      <a:pt x="63" y="153"/>
                    </a:lnTo>
                    <a:lnTo>
                      <a:pt x="63" y="155"/>
                    </a:lnTo>
                    <a:lnTo>
                      <a:pt x="63" y="157"/>
                    </a:lnTo>
                    <a:lnTo>
                      <a:pt x="65" y="159"/>
                    </a:lnTo>
                    <a:lnTo>
                      <a:pt x="65" y="160"/>
                    </a:lnTo>
                    <a:lnTo>
                      <a:pt x="65" y="162"/>
                    </a:lnTo>
                    <a:lnTo>
                      <a:pt x="67" y="164"/>
                    </a:lnTo>
                    <a:lnTo>
                      <a:pt x="68" y="165"/>
                    </a:lnTo>
                    <a:lnTo>
                      <a:pt x="70" y="165"/>
                    </a:lnTo>
                    <a:lnTo>
                      <a:pt x="70" y="167"/>
                    </a:lnTo>
                    <a:lnTo>
                      <a:pt x="72" y="167"/>
                    </a:lnTo>
                    <a:lnTo>
                      <a:pt x="73" y="167"/>
                    </a:lnTo>
                    <a:lnTo>
                      <a:pt x="75" y="167"/>
                    </a:lnTo>
                    <a:lnTo>
                      <a:pt x="75" y="169"/>
                    </a:lnTo>
                    <a:lnTo>
                      <a:pt x="77" y="169"/>
                    </a:lnTo>
                    <a:lnTo>
                      <a:pt x="78" y="169"/>
                    </a:lnTo>
                    <a:lnTo>
                      <a:pt x="80" y="169"/>
                    </a:lnTo>
                    <a:lnTo>
                      <a:pt x="80" y="167"/>
                    </a:lnTo>
                    <a:lnTo>
                      <a:pt x="80" y="165"/>
                    </a:lnTo>
                    <a:lnTo>
                      <a:pt x="82" y="165"/>
                    </a:lnTo>
                    <a:lnTo>
                      <a:pt x="84" y="165"/>
                    </a:lnTo>
                    <a:lnTo>
                      <a:pt x="82" y="164"/>
                    </a:lnTo>
                    <a:lnTo>
                      <a:pt x="84" y="164"/>
                    </a:lnTo>
                    <a:lnTo>
                      <a:pt x="84" y="162"/>
                    </a:lnTo>
                    <a:lnTo>
                      <a:pt x="82" y="162"/>
                    </a:lnTo>
                    <a:lnTo>
                      <a:pt x="84" y="162"/>
                    </a:lnTo>
                    <a:lnTo>
                      <a:pt x="84" y="160"/>
                    </a:lnTo>
                    <a:lnTo>
                      <a:pt x="84" y="159"/>
                    </a:lnTo>
                    <a:lnTo>
                      <a:pt x="85" y="157"/>
                    </a:lnTo>
                    <a:lnTo>
                      <a:pt x="87" y="157"/>
                    </a:lnTo>
                    <a:lnTo>
                      <a:pt x="89" y="157"/>
                    </a:lnTo>
                    <a:lnTo>
                      <a:pt x="90" y="155"/>
                    </a:lnTo>
                    <a:lnTo>
                      <a:pt x="90" y="153"/>
                    </a:lnTo>
                    <a:lnTo>
                      <a:pt x="92" y="152"/>
                    </a:lnTo>
                    <a:lnTo>
                      <a:pt x="92" y="150"/>
                    </a:lnTo>
                    <a:lnTo>
                      <a:pt x="94" y="150"/>
                    </a:lnTo>
                    <a:lnTo>
                      <a:pt x="92" y="148"/>
                    </a:lnTo>
                    <a:lnTo>
                      <a:pt x="92" y="147"/>
                    </a:lnTo>
                    <a:lnTo>
                      <a:pt x="92" y="145"/>
                    </a:lnTo>
                    <a:lnTo>
                      <a:pt x="94" y="143"/>
                    </a:lnTo>
                    <a:lnTo>
                      <a:pt x="92" y="143"/>
                    </a:lnTo>
                    <a:lnTo>
                      <a:pt x="92" y="141"/>
                    </a:lnTo>
                    <a:lnTo>
                      <a:pt x="94" y="141"/>
                    </a:lnTo>
                    <a:lnTo>
                      <a:pt x="94" y="140"/>
                    </a:lnTo>
                    <a:lnTo>
                      <a:pt x="94" y="138"/>
                    </a:lnTo>
                    <a:lnTo>
                      <a:pt x="95" y="138"/>
                    </a:lnTo>
                    <a:lnTo>
                      <a:pt x="95" y="136"/>
                    </a:lnTo>
                    <a:lnTo>
                      <a:pt x="94" y="136"/>
                    </a:lnTo>
                    <a:lnTo>
                      <a:pt x="94" y="135"/>
                    </a:lnTo>
                    <a:lnTo>
                      <a:pt x="95" y="135"/>
                    </a:lnTo>
                    <a:lnTo>
                      <a:pt x="95" y="133"/>
                    </a:lnTo>
                    <a:lnTo>
                      <a:pt x="97" y="133"/>
                    </a:lnTo>
                    <a:lnTo>
                      <a:pt x="97" y="131"/>
                    </a:lnTo>
                    <a:lnTo>
                      <a:pt x="97" y="130"/>
                    </a:lnTo>
                    <a:lnTo>
                      <a:pt x="99" y="130"/>
                    </a:lnTo>
                    <a:lnTo>
                      <a:pt x="99" y="128"/>
                    </a:lnTo>
                    <a:lnTo>
                      <a:pt x="99" y="126"/>
                    </a:lnTo>
                    <a:lnTo>
                      <a:pt x="99" y="124"/>
                    </a:lnTo>
                    <a:lnTo>
                      <a:pt x="101" y="124"/>
                    </a:lnTo>
                    <a:lnTo>
                      <a:pt x="101" y="123"/>
                    </a:lnTo>
                    <a:lnTo>
                      <a:pt x="99" y="123"/>
                    </a:lnTo>
                    <a:lnTo>
                      <a:pt x="101" y="123"/>
                    </a:lnTo>
                    <a:lnTo>
                      <a:pt x="101" y="121"/>
                    </a:lnTo>
                    <a:lnTo>
                      <a:pt x="101" y="119"/>
                    </a:lnTo>
                    <a:lnTo>
                      <a:pt x="101" y="118"/>
                    </a:lnTo>
                    <a:lnTo>
                      <a:pt x="101" y="116"/>
                    </a:lnTo>
                    <a:lnTo>
                      <a:pt x="102" y="116"/>
                    </a:lnTo>
                    <a:lnTo>
                      <a:pt x="101" y="114"/>
                    </a:lnTo>
                    <a:lnTo>
                      <a:pt x="102" y="114"/>
                    </a:lnTo>
                    <a:lnTo>
                      <a:pt x="101" y="114"/>
                    </a:lnTo>
                    <a:lnTo>
                      <a:pt x="102" y="114"/>
                    </a:lnTo>
                    <a:lnTo>
                      <a:pt x="104" y="114"/>
                    </a:lnTo>
                    <a:lnTo>
                      <a:pt x="106" y="114"/>
                    </a:lnTo>
                    <a:lnTo>
                      <a:pt x="106" y="116"/>
                    </a:lnTo>
                    <a:lnTo>
                      <a:pt x="106" y="118"/>
                    </a:lnTo>
                    <a:lnTo>
                      <a:pt x="107" y="118"/>
                    </a:lnTo>
                    <a:lnTo>
                      <a:pt x="109" y="118"/>
                    </a:lnTo>
                    <a:lnTo>
                      <a:pt x="109" y="116"/>
                    </a:lnTo>
                    <a:lnTo>
                      <a:pt x="107" y="116"/>
                    </a:lnTo>
                    <a:lnTo>
                      <a:pt x="107" y="114"/>
                    </a:lnTo>
                    <a:lnTo>
                      <a:pt x="107" y="113"/>
                    </a:lnTo>
                    <a:lnTo>
                      <a:pt x="109" y="113"/>
                    </a:lnTo>
                    <a:lnTo>
                      <a:pt x="109" y="111"/>
                    </a:lnTo>
                    <a:lnTo>
                      <a:pt x="111" y="109"/>
                    </a:lnTo>
                    <a:lnTo>
                      <a:pt x="111" y="107"/>
                    </a:lnTo>
                    <a:lnTo>
                      <a:pt x="112" y="107"/>
                    </a:lnTo>
                    <a:lnTo>
                      <a:pt x="112" y="106"/>
                    </a:lnTo>
                    <a:lnTo>
                      <a:pt x="114" y="106"/>
                    </a:lnTo>
                    <a:lnTo>
                      <a:pt x="114" y="104"/>
                    </a:lnTo>
                    <a:lnTo>
                      <a:pt x="116" y="104"/>
                    </a:lnTo>
                    <a:lnTo>
                      <a:pt x="119" y="101"/>
                    </a:lnTo>
                    <a:lnTo>
                      <a:pt x="123" y="99"/>
                    </a:lnTo>
                    <a:lnTo>
                      <a:pt x="128" y="99"/>
                    </a:lnTo>
                    <a:lnTo>
                      <a:pt x="141" y="94"/>
                    </a:lnTo>
                    <a:lnTo>
                      <a:pt x="153" y="89"/>
                    </a:lnTo>
                    <a:lnTo>
                      <a:pt x="155" y="89"/>
                    </a:lnTo>
                    <a:lnTo>
                      <a:pt x="157" y="89"/>
                    </a:lnTo>
                    <a:lnTo>
                      <a:pt x="158" y="87"/>
                    </a:lnTo>
                    <a:lnTo>
                      <a:pt x="160" y="87"/>
                    </a:lnTo>
                    <a:lnTo>
                      <a:pt x="162" y="85"/>
                    </a:lnTo>
                    <a:lnTo>
                      <a:pt x="163" y="85"/>
                    </a:lnTo>
                    <a:lnTo>
                      <a:pt x="165" y="82"/>
                    </a:lnTo>
                    <a:lnTo>
                      <a:pt x="167" y="80"/>
                    </a:lnTo>
                    <a:lnTo>
                      <a:pt x="170" y="79"/>
                    </a:lnTo>
                    <a:lnTo>
                      <a:pt x="175" y="75"/>
                    </a:lnTo>
                    <a:lnTo>
                      <a:pt x="179" y="73"/>
                    </a:lnTo>
                    <a:lnTo>
                      <a:pt x="179" y="72"/>
                    </a:lnTo>
                    <a:lnTo>
                      <a:pt x="180" y="70"/>
                    </a:lnTo>
                    <a:lnTo>
                      <a:pt x="184" y="65"/>
                    </a:lnTo>
                    <a:lnTo>
                      <a:pt x="187" y="62"/>
                    </a:lnTo>
                    <a:lnTo>
                      <a:pt x="187" y="60"/>
                    </a:lnTo>
                    <a:lnTo>
                      <a:pt x="191" y="58"/>
                    </a:lnTo>
                    <a:lnTo>
                      <a:pt x="192" y="55"/>
                    </a:lnTo>
                    <a:lnTo>
                      <a:pt x="194" y="53"/>
                    </a:lnTo>
                    <a:lnTo>
                      <a:pt x="194" y="51"/>
                    </a:lnTo>
                    <a:lnTo>
                      <a:pt x="196" y="53"/>
                    </a:lnTo>
                    <a:lnTo>
                      <a:pt x="196" y="51"/>
                    </a:lnTo>
                    <a:lnTo>
                      <a:pt x="196" y="50"/>
                    </a:lnTo>
                    <a:lnTo>
                      <a:pt x="197" y="48"/>
                    </a:lnTo>
                    <a:lnTo>
                      <a:pt x="199" y="41"/>
                    </a:lnTo>
                    <a:lnTo>
                      <a:pt x="199" y="39"/>
                    </a:lnTo>
                    <a:lnTo>
                      <a:pt x="201" y="33"/>
                    </a:lnTo>
                    <a:lnTo>
                      <a:pt x="201" y="31"/>
                    </a:lnTo>
                    <a:lnTo>
                      <a:pt x="203" y="31"/>
                    </a:lnTo>
                    <a:lnTo>
                      <a:pt x="203" y="33"/>
                    </a:lnTo>
                    <a:lnTo>
                      <a:pt x="204" y="33"/>
                    </a:lnTo>
                    <a:lnTo>
                      <a:pt x="206" y="33"/>
                    </a:lnTo>
                    <a:lnTo>
                      <a:pt x="208" y="33"/>
                    </a:lnTo>
                    <a:lnTo>
                      <a:pt x="206" y="31"/>
                    </a:lnTo>
                    <a:lnTo>
                      <a:pt x="208" y="31"/>
                    </a:lnTo>
                    <a:lnTo>
                      <a:pt x="208" y="29"/>
                    </a:lnTo>
                    <a:lnTo>
                      <a:pt x="206" y="29"/>
                    </a:lnTo>
                    <a:lnTo>
                      <a:pt x="206" y="28"/>
                    </a:lnTo>
                    <a:lnTo>
                      <a:pt x="206" y="26"/>
                    </a:lnTo>
                    <a:lnTo>
                      <a:pt x="206" y="24"/>
                    </a:lnTo>
                    <a:lnTo>
                      <a:pt x="206" y="22"/>
                    </a:lnTo>
                    <a:lnTo>
                      <a:pt x="206" y="21"/>
                    </a:lnTo>
                    <a:lnTo>
                      <a:pt x="206" y="22"/>
                    </a:lnTo>
                    <a:lnTo>
                      <a:pt x="206" y="21"/>
                    </a:lnTo>
                    <a:lnTo>
                      <a:pt x="206" y="22"/>
                    </a:lnTo>
                    <a:lnTo>
                      <a:pt x="208" y="21"/>
                    </a:lnTo>
                    <a:lnTo>
                      <a:pt x="206" y="21"/>
                    </a:lnTo>
                    <a:lnTo>
                      <a:pt x="206" y="19"/>
                    </a:lnTo>
                    <a:lnTo>
                      <a:pt x="208" y="19"/>
                    </a:lnTo>
                    <a:lnTo>
                      <a:pt x="206" y="19"/>
                    </a:lnTo>
                    <a:lnTo>
                      <a:pt x="206" y="17"/>
                    </a:lnTo>
                    <a:lnTo>
                      <a:pt x="204" y="17"/>
                    </a:lnTo>
                    <a:lnTo>
                      <a:pt x="204" y="16"/>
                    </a:lnTo>
                    <a:lnTo>
                      <a:pt x="203" y="16"/>
                    </a:lnTo>
                    <a:lnTo>
                      <a:pt x="201" y="14"/>
                    </a:lnTo>
                    <a:lnTo>
                      <a:pt x="201" y="12"/>
                    </a:lnTo>
                    <a:lnTo>
                      <a:pt x="199" y="12"/>
                    </a:lnTo>
                    <a:lnTo>
                      <a:pt x="199" y="11"/>
                    </a:lnTo>
                    <a:lnTo>
                      <a:pt x="199" y="9"/>
                    </a:lnTo>
                    <a:lnTo>
                      <a:pt x="197" y="9"/>
                    </a:lnTo>
                    <a:lnTo>
                      <a:pt x="199" y="9"/>
                    </a:lnTo>
                    <a:lnTo>
                      <a:pt x="197" y="7"/>
                    </a:lnTo>
                    <a:lnTo>
                      <a:pt x="196" y="7"/>
                    </a:lnTo>
                    <a:lnTo>
                      <a:pt x="196" y="5"/>
                    </a:lnTo>
                    <a:lnTo>
                      <a:pt x="194" y="5"/>
                    </a:lnTo>
                    <a:lnTo>
                      <a:pt x="194" y="4"/>
                    </a:lnTo>
                    <a:lnTo>
                      <a:pt x="196" y="4"/>
                    </a:lnTo>
                    <a:lnTo>
                      <a:pt x="197" y="4"/>
                    </a:lnTo>
                    <a:lnTo>
                      <a:pt x="199" y="4"/>
                    </a:lnTo>
                    <a:lnTo>
                      <a:pt x="199" y="5"/>
                    </a:lnTo>
                    <a:lnTo>
                      <a:pt x="201" y="5"/>
                    </a:lnTo>
                    <a:lnTo>
                      <a:pt x="203" y="5"/>
                    </a:lnTo>
                    <a:lnTo>
                      <a:pt x="204" y="5"/>
                    </a:lnTo>
                    <a:lnTo>
                      <a:pt x="206" y="4"/>
                    </a:lnTo>
                    <a:lnTo>
                      <a:pt x="208" y="2"/>
                    </a:lnTo>
                    <a:lnTo>
                      <a:pt x="208" y="0"/>
                    </a:lnTo>
                    <a:lnTo>
                      <a:pt x="208" y="2"/>
                    </a:lnTo>
                    <a:lnTo>
                      <a:pt x="209" y="2"/>
                    </a:lnTo>
                    <a:lnTo>
                      <a:pt x="211" y="2"/>
                    </a:lnTo>
                    <a:lnTo>
                      <a:pt x="213" y="4"/>
                    </a:lnTo>
                    <a:lnTo>
                      <a:pt x="214" y="5"/>
                    </a:lnTo>
                    <a:lnTo>
                      <a:pt x="216" y="5"/>
                    </a:lnTo>
                    <a:lnTo>
                      <a:pt x="216" y="7"/>
                    </a:lnTo>
                    <a:lnTo>
                      <a:pt x="218" y="7"/>
                    </a:lnTo>
                    <a:lnTo>
                      <a:pt x="218" y="9"/>
                    </a:lnTo>
                    <a:lnTo>
                      <a:pt x="220" y="7"/>
                    </a:lnTo>
                    <a:lnTo>
                      <a:pt x="221" y="7"/>
                    </a:lnTo>
                    <a:lnTo>
                      <a:pt x="221" y="5"/>
                    </a:lnTo>
                    <a:lnTo>
                      <a:pt x="221" y="7"/>
                    </a:lnTo>
                    <a:lnTo>
                      <a:pt x="223" y="7"/>
                    </a:lnTo>
                    <a:lnTo>
                      <a:pt x="223" y="9"/>
                    </a:lnTo>
                    <a:lnTo>
                      <a:pt x="223" y="11"/>
                    </a:lnTo>
                    <a:lnTo>
                      <a:pt x="223" y="12"/>
                    </a:lnTo>
                    <a:lnTo>
                      <a:pt x="225" y="12"/>
                    </a:lnTo>
                    <a:lnTo>
                      <a:pt x="225" y="11"/>
                    </a:lnTo>
                    <a:lnTo>
                      <a:pt x="225" y="12"/>
                    </a:lnTo>
                    <a:lnTo>
                      <a:pt x="226" y="12"/>
                    </a:lnTo>
                    <a:lnTo>
                      <a:pt x="228" y="12"/>
                    </a:lnTo>
                    <a:lnTo>
                      <a:pt x="230" y="14"/>
                    </a:lnTo>
                    <a:lnTo>
                      <a:pt x="230" y="16"/>
                    </a:lnTo>
                    <a:lnTo>
                      <a:pt x="231" y="16"/>
                    </a:lnTo>
                    <a:lnTo>
                      <a:pt x="233" y="16"/>
                    </a:lnTo>
                    <a:lnTo>
                      <a:pt x="233" y="17"/>
                    </a:lnTo>
                    <a:lnTo>
                      <a:pt x="235" y="17"/>
                    </a:lnTo>
                    <a:lnTo>
                      <a:pt x="233" y="17"/>
                    </a:lnTo>
                    <a:lnTo>
                      <a:pt x="233" y="19"/>
                    </a:lnTo>
                    <a:lnTo>
                      <a:pt x="235" y="19"/>
                    </a:lnTo>
                    <a:lnTo>
                      <a:pt x="235" y="17"/>
                    </a:lnTo>
                    <a:lnTo>
                      <a:pt x="235" y="19"/>
                    </a:lnTo>
                    <a:lnTo>
                      <a:pt x="235" y="21"/>
                    </a:lnTo>
                    <a:lnTo>
                      <a:pt x="237" y="21"/>
                    </a:lnTo>
                    <a:lnTo>
                      <a:pt x="235" y="22"/>
                    </a:lnTo>
                    <a:lnTo>
                      <a:pt x="237" y="22"/>
                    </a:lnTo>
                    <a:lnTo>
                      <a:pt x="237" y="24"/>
                    </a:lnTo>
                    <a:lnTo>
                      <a:pt x="235" y="24"/>
                    </a:lnTo>
                    <a:lnTo>
                      <a:pt x="237" y="24"/>
                    </a:lnTo>
                    <a:lnTo>
                      <a:pt x="237" y="26"/>
                    </a:lnTo>
                    <a:lnTo>
                      <a:pt x="238" y="26"/>
                    </a:lnTo>
                    <a:lnTo>
                      <a:pt x="238" y="28"/>
                    </a:lnTo>
                    <a:lnTo>
                      <a:pt x="240" y="28"/>
                    </a:lnTo>
                    <a:lnTo>
                      <a:pt x="238" y="29"/>
                    </a:lnTo>
                    <a:lnTo>
                      <a:pt x="240" y="29"/>
                    </a:lnTo>
                    <a:lnTo>
                      <a:pt x="238" y="29"/>
                    </a:lnTo>
                    <a:lnTo>
                      <a:pt x="238" y="31"/>
                    </a:lnTo>
                    <a:lnTo>
                      <a:pt x="238" y="29"/>
                    </a:lnTo>
                    <a:lnTo>
                      <a:pt x="238" y="31"/>
                    </a:lnTo>
                    <a:lnTo>
                      <a:pt x="240" y="31"/>
                    </a:lnTo>
                    <a:lnTo>
                      <a:pt x="240" y="33"/>
                    </a:lnTo>
                    <a:lnTo>
                      <a:pt x="238" y="33"/>
                    </a:lnTo>
                    <a:lnTo>
                      <a:pt x="240" y="33"/>
                    </a:lnTo>
                    <a:lnTo>
                      <a:pt x="240" y="34"/>
                    </a:lnTo>
                    <a:lnTo>
                      <a:pt x="242" y="34"/>
                    </a:lnTo>
                    <a:lnTo>
                      <a:pt x="243" y="34"/>
                    </a:lnTo>
                    <a:lnTo>
                      <a:pt x="245" y="34"/>
                    </a:lnTo>
                    <a:lnTo>
                      <a:pt x="245" y="36"/>
                    </a:lnTo>
                    <a:lnTo>
                      <a:pt x="247" y="36"/>
                    </a:lnTo>
                    <a:lnTo>
                      <a:pt x="247" y="34"/>
                    </a:lnTo>
                    <a:lnTo>
                      <a:pt x="248" y="34"/>
                    </a:lnTo>
                    <a:lnTo>
                      <a:pt x="247" y="34"/>
                    </a:lnTo>
                    <a:lnTo>
                      <a:pt x="247" y="36"/>
                    </a:lnTo>
                    <a:lnTo>
                      <a:pt x="248" y="36"/>
                    </a:lnTo>
                    <a:lnTo>
                      <a:pt x="248" y="38"/>
                    </a:lnTo>
                    <a:lnTo>
                      <a:pt x="248" y="36"/>
                    </a:lnTo>
                    <a:lnTo>
                      <a:pt x="250" y="36"/>
                    </a:lnTo>
                    <a:lnTo>
                      <a:pt x="250" y="38"/>
                    </a:lnTo>
                    <a:lnTo>
                      <a:pt x="252" y="38"/>
                    </a:lnTo>
                    <a:lnTo>
                      <a:pt x="252" y="39"/>
                    </a:lnTo>
                    <a:lnTo>
                      <a:pt x="252" y="41"/>
                    </a:lnTo>
                    <a:lnTo>
                      <a:pt x="254" y="41"/>
                    </a:lnTo>
                    <a:lnTo>
                      <a:pt x="255" y="43"/>
                    </a:lnTo>
                    <a:lnTo>
                      <a:pt x="255" y="41"/>
                    </a:lnTo>
                    <a:lnTo>
                      <a:pt x="255" y="43"/>
                    </a:lnTo>
                    <a:lnTo>
                      <a:pt x="257" y="43"/>
                    </a:lnTo>
                    <a:lnTo>
                      <a:pt x="257" y="41"/>
                    </a:lnTo>
                    <a:lnTo>
                      <a:pt x="259" y="43"/>
                    </a:lnTo>
                    <a:lnTo>
                      <a:pt x="259" y="41"/>
                    </a:lnTo>
                    <a:lnTo>
                      <a:pt x="260" y="43"/>
                    </a:lnTo>
                    <a:lnTo>
                      <a:pt x="262" y="45"/>
                    </a:lnTo>
                    <a:lnTo>
                      <a:pt x="262" y="46"/>
                    </a:lnTo>
                    <a:lnTo>
                      <a:pt x="264" y="46"/>
                    </a:lnTo>
                    <a:lnTo>
                      <a:pt x="264" y="48"/>
                    </a:lnTo>
                    <a:lnTo>
                      <a:pt x="262" y="48"/>
                    </a:lnTo>
                    <a:lnTo>
                      <a:pt x="264" y="48"/>
                    </a:lnTo>
                    <a:lnTo>
                      <a:pt x="264" y="50"/>
                    </a:lnTo>
                    <a:lnTo>
                      <a:pt x="265" y="50"/>
                    </a:lnTo>
                    <a:lnTo>
                      <a:pt x="265" y="51"/>
                    </a:lnTo>
                    <a:lnTo>
                      <a:pt x="265" y="53"/>
                    </a:lnTo>
                    <a:lnTo>
                      <a:pt x="267" y="53"/>
                    </a:lnTo>
                    <a:lnTo>
                      <a:pt x="265" y="53"/>
                    </a:lnTo>
                    <a:lnTo>
                      <a:pt x="265" y="55"/>
                    </a:lnTo>
                    <a:lnTo>
                      <a:pt x="265" y="56"/>
                    </a:lnTo>
                    <a:lnTo>
                      <a:pt x="264" y="56"/>
                    </a:lnTo>
                    <a:lnTo>
                      <a:pt x="264" y="58"/>
                    </a:lnTo>
                    <a:lnTo>
                      <a:pt x="265" y="58"/>
                    </a:lnTo>
                    <a:lnTo>
                      <a:pt x="267" y="58"/>
                    </a:lnTo>
                    <a:lnTo>
                      <a:pt x="267" y="60"/>
                    </a:lnTo>
                    <a:lnTo>
                      <a:pt x="269" y="60"/>
                    </a:lnTo>
                    <a:lnTo>
                      <a:pt x="271" y="60"/>
                    </a:lnTo>
                    <a:lnTo>
                      <a:pt x="271" y="62"/>
                    </a:lnTo>
                    <a:lnTo>
                      <a:pt x="272" y="62"/>
                    </a:lnTo>
                    <a:lnTo>
                      <a:pt x="272" y="60"/>
                    </a:lnTo>
                    <a:lnTo>
                      <a:pt x="274" y="60"/>
                    </a:lnTo>
                    <a:lnTo>
                      <a:pt x="274" y="62"/>
                    </a:lnTo>
                    <a:lnTo>
                      <a:pt x="274" y="60"/>
                    </a:lnTo>
                    <a:lnTo>
                      <a:pt x="274" y="58"/>
                    </a:lnTo>
                    <a:lnTo>
                      <a:pt x="276" y="60"/>
                    </a:lnTo>
                    <a:lnTo>
                      <a:pt x="277" y="62"/>
                    </a:lnTo>
                    <a:lnTo>
                      <a:pt x="277" y="63"/>
                    </a:lnTo>
                    <a:lnTo>
                      <a:pt x="279" y="63"/>
                    </a:lnTo>
                    <a:lnTo>
                      <a:pt x="277" y="65"/>
                    </a:lnTo>
                    <a:lnTo>
                      <a:pt x="277" y="67"/>
                    </a:lnTo>
                    <a:lnTo>
                      <a:pt x="277" y="68"/>
                    </a:lnTo>
                    <a:lnTo>
                      <a:pt x="279" y="68"/>
                    </a:lnTo>
                    <a:lnTo>
                      <a:pt x="279" y="70"/>
                    </a:lnTo>
                    <a:lnTo>
                      <a:pt x="279" y="72"/>
                    </a:lnTo>
                    <a:lnTo>
                      <a:pt x="277" y="72"/>
                    </a:lnTo>
                    <a:lnTo>
                      <a:pt x="277" y="73"/>
                    </a:lnTo>
                    <a:lnTo>
                      <a:pt x="276" y="73"/>
                    </a:lnTo>
                    <a:lnTo>
                      <a:pt x="276" y="75"/>
                    </a:lnTo>
                    <a:lnTo>
                      <a:pt x="277" y="77"/>
                    </a:lnTo>
                    <a:lnTo>
                      <a:pt x="277" y="79"/>
                    </a:lnTo>
                    <a:lnTo>
                      <a:pt x="279" y="79"/>
                    </a:lnTo>
                    <a:lnTo>
                      <a:pt x="279" y="80"/>
                    </a:lnTo>
                    <a:lnTo>
                      <a:pt x="281" y="79"/>
                    </a:lnTo>
                    <a:lnTo>
                      <a:pt x="282" y="80"/>
                    </a:lnTo>
                    <a:lnTo>
                      <a:pt x="282" y="79"/>
                    </a:lnTo>
                    <a:lnTo>
                      <a:pt x="282" y="80"/>
                    </a:lnTo>
                    <a:lnTo>
                      <a:pt x="284" y="80"/>
                    </a:lnTo>
                    <a:lnTo>
                      <a:pt x="284" y="82"/>
                    </a:lnTo>
                    <a:lnTo>
                      <a:pt x="286" y="82"/>
                    </a:lnTo>
                    <a:lnTo>
                      <a:pt x="288" y="82"/>
                    </a:lnTo>
                    <a:lnTo>
                      <a:pt x="289" y="82"/>
                    </a:lnTo>
                    <a:lnTo>
                      <a:pt x="289" y="80"/>
                    </a:lnTo>
                    <a:lnTo>
                      <a:pt x="291" y="80"/>
                    </a:lnTo>
                    <a:lnTo>
                      <a:pt x="291" y="82"/>
                    </a:lnTo>
                    <a:lnTo>
                      <a:pt x="291" y="80"/>
                    </a:lnTo>
                    <a:lnTo>
                      <a:pt x="293" y="82"/>
                    </a:lnTo>
                    <a:lnTo>
                      <a:pt x="294" y="82"/>
                    </a:lnTo>
                    <a:lnTo>
                      <a:pt x="294" y="80"/>
                    </a:lnTo>
                    <a:lnTo>
                      <a:pt x="296" y="80"/>
                    </a:lnTo>
                    <a:lnTo>
                      <a:pt x="298" y="80"/>
                    </a:lnTo>
                    <a:lnTo>
                      <a:pt x="298" y="82"/>
                    </a:lnTo>
                    <a:lnTo>
                      <a:pt x="299" y="82"/>
                    </a:lnTo>
                    <a:lnTo>
                      <a:pt x="301" y="82"/>
                    </a:lnTo>
                    <a:lnTo>
                      <a:pt x="303" y="82"/>
                    </a:lnTo>
                    <a:lnTo>
                      <a:pt x="303" y="84"/>
                    </a:lnTo>
                    <a:lnTo>
                      <a:pt x="305" y="84"/>
                    </a:lnTo>
                    <a:lnTo>
                      <a:pt x="306" y="84"/>
                    </a:lnTo>
                    <a:lnTo>
                      <a:pt x="306" y="82"/>
                    </a:lnTo>
                    <a:lnTo>
                      <a:pt x="306" y="84"/>
                    </a:lnTo>
                    <a:lnTo>
                      <a:pt x="306" y="82"/>
                    </a:lnTo>
                    <a:lnTo>
                      <a:pt x="308" y="82"/>
                    </a:lnTo>
                    <a:lnTo>
                      <a:pt x="310" y="82"/>
                    </a:lnTo>
                    <a:lnTo>
                      <a:pt x="310" y="84"/>
                    </a:lnTo>
                    <a:lnTo>
                      <a:pt x="311" y="84"/>
                    </a:lnTo>
                    <a:lnTo>
                      <a:pt x="311" y="82"/>
                    </a:lnTo>
                    <a:lnTo>
                      <a:pt x="311" y="80"/>
                    </a:lnTo>
                    <a:lnTo>
                      <a:pt x="313" y="80"/>
                    </a:lnTo>
                    <a:lnTo>
                      <a:pt x="313" y="79"/>
                    </a:lnTo>
                    <a:lnTo>
                      <a:pt x="315" y="79"/>
                    </a:lnTo>
                    <a:lnTo>
                      <a:pt x="315" y="80"/>
                    </a:lnTo>
                    <a:lnTo>
                      <a:pt x="316" y="80"/>
                    </a:lnTo>
                    <a:lnTo>
                      <a:pt x="318" y="80"/>
                    </a:lnTo>
                    <a:lnTo>
                      <a:pt x="318" y="79"/>
                    </a:lnTo>
                    <a:lnTo>
                      <a:pt x="320" y="79"/>
                    </a:lnTo>
                    <a:lnTo>
                      <a:pt x="320" y="77"/>
                    </a:lnTo>
                    <a:lnTo>
                      <a:pt x="320" y="75"/>
                    </a:lnTo>
                    <a:lnTo>
                      <a:pt x="322" y="75"/>
                    </a:lnTo>
                    <a:lnTo>
                      <a:pt x="322" y="73"/>
                    </a:lnTo>
                    <a:lnTo>
                      <a:pt x="322" y="75"/>
                    </a:lnTo>
                    <a:lnTo>
                      <a:pt x="323" y="73"/>
                    </a:lnTo>
                    <a:lnTo>
                      <a:pt x="325" y="72"/>
                    </a:lnTo>
                    <a:lnTo>
                      <a:pt x="325" y="73"/>
                    </a:lnTo>
                    <a:lnTo>
                      <a:pt x="325" y="75"/>
                    </a:lnTo>
                    <a:lnTo>
                      <a:pt x="327" y="75"/>
                    </a:lnTo>
                    <a:lnTo>
                      <a:pt x="327" y="73"/>
                    </a:lnTo>
                    <a:lnTo>
                      <a:pt x="328" y="73"/>
                    </a:lnTo>
                    <a:lnTo>
                      <a:pt x="328" y="75"/>
                    </a:lnTo>
                    <a:lnTo>
                      <a:pt x="330" y="75"/>
                    </a:lnTo>
                    <a:lnTo>
                      <a:pt x="332" y="75"/>
                    </a:lnTo>
                    <a:lnTo>
                      <a:pt x="332" y="77"/>
                    </a:lnTo>
                    <a:lnTo>
                      <a:pt x="332" y="79"/>
                    </a:lnTo>
                    <a:lnTo>
                      <a:pt x="333" y="79"/>
                    </a:lnTo>
                    <a:lnTo>
                      <a:pt x="333" y="77"/>
                    </a:lnTo>
                    <a:lnTo>
                      <a:pt x="335" y="77"/>
                    </a:lnTo>
                    <a:lnTo>
                      <a:pt x="335" y="79"/>
                    </a:lnTo>
                    <a:lnTo>
                      <a:pt x="337" y="79"/>
                    </a:lnTo>
                    <a:lnTo>
                      <a:pt x="337" y="80"/>
                    </a:lnTo>
                    <a:lnTo>
                      <a:pt x="335" y="80"/>
                    </a:lnTo>
                    <a:lnTo>
                      <a:pt x="337" y="82"/>
                    </a:lnTo>
                    <a:lnTo>
                      <a:pt x="337" y="80"/>
                    </a:lnTo>
                    <a:lnTo>
                      <a:pt x="339" y="80"/>
                    </a:lnTo>
                    <a:lnTo>
                      <a:pt x="339" y="79"/>
                    </a:lnTo>
                    <a:lnTo>
                      <a:pt x="340" y="79"/>
                    </a:lnTo>
                    <a:lnTo>
                      <a:pt x="340" y="80"/>
                    </a:lnTo>
                    <a:lnTo>
                      <a:pt x="340" y="79"/>
                    </a:lnTo>
                    <a:lnTo>
                      <a:pt x="342" y="79"/>
                    </a:lnTo>
                    <a:lnTo>
                      <a:pt x="342" y="80"/>
                    </a:lnTo>
                    <a:lnTo>
                      <a:pt x="344" y="80"/>
                    </a:lnTo>
                    <a:lnTo>
                      <a:pt x="344" y="79"/>
                    </a:lnTo>
                    <a:lnTo>
                      <a:pt x="345" y="79"/>
                    </a:lnTo>
                    <a:lnTo>
                      <a:pt x="345" y="77"/>
                    </a:lnTo>
                    <a:lnTo>
                      <a:pt x="347" y="77"/>
                    </a:lnTo>
                    <a:lnTo>
                      <a:pt x="349" y="77"/>
                    </a:lnTo>
                    <a:lnTo>
                      <a:pt x="350" y="77"/>
                    </a:lnTo>
                    <a:lnTo>
                      <a:pt x="349" y="77"/>
                    </a:lnTo>
                    <a:lnTo>
                      <a:pt x="349" y="75"/>
                    </a:lnTo>
                    <a:lnTo>
                      <a:pt x="350" y="75"/>
                    </a:lnTo>
                    <a:lnTo>
                      <a:pt x="352" y="75"/>
                    </a:lnTo>
                    <a:lnTo>
                      <a:pt x="354" y="75"/>
                    </a:lnTo>
                    <a:lnTo>
                      <a:pt x="354" y="77"/>
                    </a:lnTo>
                    <a:lnTo>
                      <a:pt x="356" y="77"/>
                    </a:lnTo>
                    <a:lnTo>
                      <a:pt x="357" y="77"/>
                    </a:lnTo>
                    <a:lnTo>
                      <a:pt x="357" y="79"/>
                    </a:lnTo>
                    <a:lnTo>
                      <a:pt x="359" y="79"/>
                    </a:lnTo>
                    <a:lnTo>
                      <a:pt x="361" y="79"/>
                    </a:lnTo>
                    <a:lnTo>
                      <a:pt x="361" y="80"/>
                    </a:lnTo>
                    <a:lnTo>
                      <a:pt x="361" y="82"/>
                    </a:lnTo>
                    <a:lnTo>
                      <a:pt x="362" y="80"/>
                    </a:lnTo>
                    <a:lnTo>
                      <a:pt x="362" y="82"/>
                    </a:lnTo>
                    <a:lnTo>
                      <a:pt x="362" y="84"/>
                    </a:lnTo>
                    <a:lnTo>
                      <a:pt x="364" y="84"/>
                    </a:lnTo>
                    <a:lnTo>
                      <a:pt x="364" y="82"/>
                    </a:lnTo>
                    <a:lnTo>
                      <a:pt x="366" y="82"/>
                    </a:lnTo>
                    <a:lnTo>
                      <a:pt x="366" y="84"/>
                    </a:lnTo>
                    <a:lnTo>
                      <a:pt x="367" y="84"/>
                    </a:lnTo>
                    <a:lnTo>
                      <a:pt x="367" y="82"/>
                    </a:lnTo>
                    <a:lnTo>
                      <a:pt x="367" y="84"/>
                    </a:lnTo>
                    <a:lnTo>
                      <a:pt x="367" y="85"/>
                    </a:lnTo>
                    <a:lnTo>
                      <a:pt x="369" y="85"/>
                    </a:lnTo>
                    <a:lnTo>
                      <a:pt x="371" y="84"/>
                    </a:lnTo>
                    <a:lnTo>
                      <a:pt x="373" y="84"/>
                    </a:lnTo>
                    <a:lnTo>
                      <a:pt x="373" y="85"/>
                    </a:lnTo>
                    <a:lnTo>
                      <a:pt x="371" y="85"/>
                    </a:lnTo>
                    <a:lnTo>
                      <a:pt x="371" y="87"/>
                    </a:lnTo>
                    <a:lnTo>
                      <a:pt x="373" y="87"/>
                    </a:lnTo>
                    <a:lnTo>
                      <a:pt x="374" y="85"/>
                    </a:lnTo>
                    <a:lnTo>
                      <a:pt x="376" y="87"/>
                    </a:lnTo>
                    <a:lnTo>
                      <a:pt x="376" y="89"/>
                    </a:lnTo>
                    <a:lnTo>
                      <a:pt x="376" y="90"/>
                    </a:lnTo>
                    <a:lnTo>
                      <a:pt x="376" y="89"/>
                    </a:lnTo>
                    <a:lnTo>
                      <a:pt x="378" y="89"/>
                    </a:lnTo>
                    <a:lnTo>
                      <a:pt x="378" y="90"/>
                    </a:lnTo>
                    <a:lnTo>
                      <a:pt x="379" y="90"/>
                    </a:lnTo>
                    <a:lnTo>
                      <a:pt x="381" y="89"/>
                    </a:lnTo>
                    <a:lnTo>
                      <a:pt x="381" y="90"/>
                    </a:lnTo>
                    <a:lnTo>
                      <a:pt x="381" y="92"/>
                    </a:lnTo>
                    <a:lnTo>
                      <a:pt x="381" y="94"/>
                    </a:lnTo>
                    <a:lnTo>
                      <a:pt x="379" y="97"/>
                    </a:lnTo>
                    <a:lnTo>
                      <a:pt x="378" y="99"/>
                    </a:lnTo>
                    <a:lnTo>
                      <a:pt x="374" y="104"/>
                    </a:lnTo>
                    <a:lnTo>
                      <a:pt x="373" y="106"/>
                    </a:lnTo>
                    <a:lnTo>
                      <a:pt x="373" y="107"/>
                    </a:lnTo>
                    <a:lnTo>
                      <a:pt x="371" y="109"/>
                    </a:lnTo>
                    <a:lnTo>
                      <a:pt x="369" y="113"/>
                    </a:lnTo>
                    <a:lnTo>
                      <a:pt x="367" y="116"/>
                    </a:lnTo>
                    <a:lnTo>
                      <a:pt x="366" y="116"/>
                    </a:lnTo>
                    <a:lnTo>
                      <a:pt x="364" y="119"/>
                    </a:lnTo>
                    <a:lnTo>
                      <a:pt x="362" y="124"/>
                    </a:lnTo>
                    <a:lnTo>
                      <a:pt x="361" y="124"/>
                    </a:lnTo>
                    <a:lnTo>
                      <a:pt x="359" y="128"/>
                    </a:lnTo>
                    <a:lnTo>
                      <a:pt x="361" y="128"/>
                    </a:lnTo>
                    <a:lnTo>
                      <a:pt x="361" y="130"/>
                    </a:lnTo>
                    <a:lnTo>
                      <a:pt x="362" y="130"/>
                    </a:lnTo>
                    <a:lnTo>
                      <a:pt x="364" y="130"/>
                    </a:lnTo>
                    <a:lnTo>
                      <a:pt x="366" y="131"/>
                    </a:lnTo>
                    <a:lnTo>
                      <a:pt x="367" y="131"/>
                    </a:lnTo>
                    <a:lnTo>
                      <a:pt x="367" y="130"/>
                    </a:lnTo>
                    <a:lnTo>
                      <a:pt x="369" y="130"/>
                    </a:lnTo>
                    <a:lnTo>
                      <a:pt x="371" y="130"/>
                    </a:lnTo>
                    <a:lnTo>
                      <a:pt x="371" y="128"/>
                    </a:lnTo>
                    <a:lnTo>
                      <a:pt x="373" y="128"/>
                    </a:lnTo>
                    <a:lnTo>
                      <a:pt x="373" y="130"/>
                    </a:lnTo>
                    <a:lnTo>
                      <a:pt x="374" y="130"/>
                    </a:lnTo>
                    <a:lnTo>
                      <a:pt x="374" y="131"/>
                    </a:lnTo>
                    <a:lnTo>
                      <a:pt x="376" y="131"/>
                    </a:lnTo>
                    <a:lnTo>
                      <a:pt x="376" y="133"/>
                    </a:lnTo>
                    <a:lnTo>
                      <a:pt x="378" y="133"/>
                    </a:lnTo>
                    <a:lnTo>
                      <a:pt x="378" y="135"/>
                    </a:lnTo>
                    <a:lnTo>
                      <a:pt x="378" y="136"/>
                    </a:lnTo>
                    <a:lnTo>
                      <a:pt x="379" y="136"/>
                    </a:lnTo>
                    <a:lnTo>
                      <a:pt x="381" y="138"/>
                    </a:lnTo>
                    <a:lnTo>
                      <a:pt x="381" y="140"/>
                    </a:lnTo>
                    <a:lnTo>
                      <a:pt x="383" y="140"/>
                    </a:lnTo>
                    <a:lnTo>
                      <a:pt x="383" y="141"/>
                    </a:lnTo>
                    <a:lnTo>
                      <a:pt x="384" y="141"/>
                    </a:lnTo>
                    <a:lnTo>
                      <a:pt x="384" y="143"/>
                    </a:lnTo>
                    <a:close/>
                    <a:moveTo>
                      <a:pt x="138" y="410"/>
                    </a:moveTo>
                    <a:lnTo>
                      <a:pt x="141" y="410"/>
                    </a:lnTo>
                    <a:lnTo>
                      <a:pt x="141" y="412"/>
                    </a:lnTo>
                    <a:lnTo>
                      <a:pt x="138" y="412"/>
                    </a:lnTo>
                    <a:lnTo>
                      <a:pt x="138" y="410"/>
                    </a:lnTo>
                    <a:close/>
                    <a:moveTo>
                      <a:pt x="16" y="216"/>
                    </a:moveTo>
                    <a:lnTo>
                      <a:pt x="17" y="216"/>
                    </a:lnTo>
                    <a:lnTo>
                      <a:pt x="17" y="220"/>
                    </a:lnTo>
                    <a:lnTo>
                      <a:pt x="16" y="220"/>
                    </a:lnTo>
                    <a:lnTo>
                      <a:pt x="16" y="216"/>
                    </a:lnTo>
                    <a:close/>
                    <a:moveTo>
                      <a:pt x="174" y="487"/>
                    </a:moveTo>
                    <a:lnTo>
                      <a:pt x="175" y="487"/>
                    </a:lnTo>
                    <a:lnTo>
                      <a:pt x="175" y="489"/>
                    </a:lnTo>
                    <a:lnTo>
                      <a:pt x="174" y="489"/>
                    </a:lnTo>
                    <a:lnTo>
                      <a:pt x="174" y="487"/>
                    </a:lnTo>
                    <a:close/>
                    <a:moveTo>
                      <a:pt x="165" y="472"/>
                    </a:moveTo>
                    <a:lnTo>
                      <a:pt x="167" y="472"/>
                    </a:lnTo>
                    <a:lnTo>
                      <a:pt x="167" y="473"/>
                    </a:lnTo>
                    <a:lnTo>
                      <a:pt x="165" y="473"/>
                    </a:lnTo>
                    <a:lnTo>
                      <a:pt x="165" y="472"/>
                    </a:lnTo>
                    <a:close/>
                    <a:moveTo>
                      <a:pt x="36" y="116"/>
                    </a:moveTo>
                    <a:lnTo>
                      <a:pt x="38" y="116"/>
                    </a:lnTo>
                    <a:lnTo>
                      <a:pt x="36" y="116"/>
                    </a:lnTo>
                    <a:close/>
                  </a:path>
                </a:pathLst>
              </a:custGeom>
              <a:solidFill>
                <a:schemeClr val="accent1"/>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4" name="Freeform 52">
                <a:extLst>
                  <a:ext uri="{FF2B5EF4-FFF2-40B4-BE49-F238E27FC236}">
                    <a16:creationId xmlns:a16="http://schemas.microsoft.com/office/drawing/2014/main" id="{1B66D035-6CE8-AE7C-64FF-C9A61FD464A2}"/>
                  </a:ext>
                </a:extLst>
              </p:cNvPr>
              <p:cNvSpPr>
                <a:spLocks noEditPoints="1"/>
              </p:cNvSpPr>
              <p:nvPr/>
            </p:nvSpPr>
            <p:spPr bwMode="auto">
              <a:xfrm>
                <a:off x="5769041" y="2812899"/>
                <a:ext cx="3526" cy="8224"/>
              </a:xfrm>
              <a:custGeom>
                <a:avLst/>
                <a:gdLst>
                  <a:gd name="T0" fmla="*/ 10 w 12"/>
                  <a:gd name="T1" fmla="*/ 0 h 28"/>
                  <a:gd name="T2" fmla="*/ 12 w 12"/>
                  <a:gd name="T3" fmla="*/ 2 h 28"/>
                  <a:gd name="T4" fmla="*/ 12 w 12"/>
                  <a:gd name="T5" fmla="*/ 4 h 28"/>
                  <a:gd name="T6" fmla="*/ 12 w 12"/>
                  <a:gd name="T7" fmla="*/ 6 h 28"/>
                  <a:gd name="T8" fmla="*/ 10 w 12"/>
                  <a:gd name="T9" fmla="*/ 6 h 28"/>
                  <a:gd name="T10" fmla="*/ 10 w 12"/>
                  <a:gd name="T11" fmla="*/ 7 h 28"/>
                  <a:gd name="T12" fmla="*/ 10 w 12"/>
                  <a:gd name="T13" fmla="*/ 9 h 28"/>
                  <a:gd name="T14" fmla="*/ 8 w 12"/>
                  <a:gd name="T15" fmla="*/ 9 h 28"/>
                  <a:gd name="T16" fmla="*/ 7 w 12"/>
                  <a:gd name="T17" fmla="*/ 9 h 28"/>
                  <a:gd name="T18" fmla="*/ 7 w 12"/>
                  <a:gd name="T19" fmla="*/ 7 h 28"/>
                  <a:gd name="T20" fmla="*/ 5 w 12"/>
                  <a:gd name="T21" fmla="*/ 6 h 28"/>
                  <a:gd name="T22" fmla="*/ 5 w 12"/>
                  <a:gd name="T23" fmla="*/ 4 h 28"/>
                  <a:gd name="T24" fmla="*/ 7 w 12"/>
                  <a:gd name="T25" fmla="*/ 4 h 28"/>
                  <a:gd name="T26" fmla="*/ 7 w 12"/>
                  <a:gd name="T27" fmla="*/ 2 h 28"/>
                  <a:gd name="T28" fmla="*/ 8 w 12"/>
                  <a:gd name="T29" fmla="*/ 0 h 28"/>
                  <a:gd name="T30" fmla="*/ 10 w 12"/>
                  <a:gd name="T31" fmla="*/ 0 h 28"/>
                  <a:gd name="T32" fmla="*/ 5 w 12"/>
                  <a:gd name="T33" fmla="*/ 11 h 28"/>
                  <a:gd name="T34" fmla="*/ 8 w 12"/>
                  <a:gd name="T35" fmla="*/ 11 h 28"/>
                  <a:gd name="T36" fmla="*/ 8 w 12"/>
                  <a:gd name="T37" fmla="*/ 14 h 28"/>
                  <a:gd name="T38" fmla="*/ 5 w 12"/>
                  <a:gd name="T39" fmla="*/ 14 h 28"/>
                  <a:gd name="T40" fmla="*/ 5 w 12"/>
                  <a:gd name="T41" fmla="*/ 11 h 28"/>
                  <a:gd name="T42" fmla="*/ 0 w 12"/>
                  <a:gd name="T43" fmla="*/ 26 h 28"/>
                  <a:gd name="T44" fmla="*/ 1 w 12"/>
                  <a:gd name="T45" fmla="*/ 26 h 28"/>
                  <a:gd name="T46" fmla="*/ 1 w 12"/>
                  <a:gd name="T47" fmla="*/ 28 h 28"/>
                  <a:gd name="T48" fmla="*/ 0 w 12"/>
                  <a:gd name="T49" fmla="*/ 28 h 28"/>
                  <a:gd name="T50" fmla="*/ 0 w 12"/>
                  <a:gd name="T51" fmla="*/ 26 h 28"/>
                  <a:gd name="T52" fmla="*/ 3 w 12"/>
                  <a:gd name="T53" fmla="*/ 23 h 28"/>
                  <a:gd name="T54" fmla="*/ 5 w 12"/>
                  <a:gd name="T55" fmla="*/ 23 h 28"/>
                  <a:gd name="T56" fmla="*/ 5 w 12"/>
                  <a:gd name="T57" fmla="*/ 24 h 28"/>
                  <a:gd name="T58" fmla="*/ 3 w 12"/>
                  <a:gd name="T59" fmla="*/ 24 h 28"/>
                  <a:gd name="T60" fmla="*/ 3 w 12"/>
                  <a:gd name="T61" fmla="*/ 23 h 28"/>
                  <a:gd name="T62" fmla="*/ 8 w 12"/>
                  <a:gd name="T63" fmla="*/ 17 h 28"/>
                  <a:gd name="T64" fmla="*/ 10 w 12"/>
                  <a:gd name="T65" fmla="*/ 17 h 28"/>
                  <a:gd name="T66" fmla="*/ 8 w 12"/>
                  <a:gd name="T67" fmla="*/ 17 h 28"/>
                  <a:gd name="T68" fmla="*/ 1 w 12"/>
                  <a:gd name="T69" fmla="*/ 24 h 28"/>
                  <a:gd name="T70" fmla="*/ 1 w 12"/>
                  <a:gd name="T71" fmla="*/ 26 h 28"/>
                  <a:gd name="T72" fmla="*/ 1 w 12"/>
                  <a:gd name="T73" fmla="*/ 24 h 28"/>
                  <a:gd name="T74" fmla="*/ 10 w 12"/>
                  <a:gd name="T75" fmla="*/ 14 h 28"/>
                  <a:gd name="T76" fmla="*/ 10 w 12"/>
                  <a:gd name="T77" fmla="*/ 16 h 28"/>
                  <a:gd name="T78" fmla="*/ 10 w 12"/>
                  <a:gd name="T79"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 h="28">
                    <a:moveTo>
                      <a:pt x="10" y="0"/>
                    </a:moveTo>
                    <a:lnTo>
                      <a:pt x="12" y="2"/>
                    </a:lnTo>
                    <a:lnTo>
                      <a:pt x="12" y="4"/>
                    </a:lnTo>
                    <a:lnTo>
                      <a:pt x="12" y="6"/>
                    </a:lnTo>
                    <a:lnTo>
                      <a:pt x="10" y="6"/>
                    </a:lnTo>
                    <a:lnTo>
                      <a:pt x="10" y="7"/>
                    </a:lnTo>
                    <a:lnTo>
                      <a:pt x="10" y="9"/>
                    </a:lnTo>
                    <a:lnTo>
                      <a:pt x="8" y="9"/>
                    </a:lnTo>
                    <a:lnTo>
                      <a:pt x="7" y="9"/>
                    </a:lnTo>
                    <a:lnTo>
                      <a:pt x="7" y="7"/>
                    </a:lnTo>
                    <a:lnTo>
                      <a:pt x="5" y="6"/>
                    </a:lnTo>
                    <a:lnTo>
                      <a:pt x="5" y="4"/>
                    </a:lnTo>
                    <a:lnTo>
                      <a:pt x="7" y="4"/>
                    </a:lnTo>
                    <a:lnTo>
                      <a:pt x="7" y="2"/>
                    </a:lnTo>
                    <a:lnTo>
                      <a:pt x="8" y="0"/>
                    </a:lnTo>
                    <a:lnTo>
                      <a:pt x="10" y="0"/>
                    </a:lnTo>
                    <a:close/>
                    <a:moveTo>
                      <a:pt x="5" y="11"/>
                    </a:moveTo>
                    <a:lnTo>
                      <a:pt x="8" y="11"/>
                    </a:lnTo>
                    <a:lnTo>
                      <a:pt x="8" y="14"/>
                    </a:lnTo>
                    <a:lnTo>
                      <a:pt x="5" y="14"/>
                    </a:lnTo>
                    <a:lnTo>
                      <a:pt x="5" y="11"/>
                    </a:lnTo>
                    <a:close/>
                    <a:moveTo>
                      <a:pt x="0" y="26"/>
                    </a:moveTo>
                    <a:lnTo>
                      <a:pt x="1" y="26"/>
                    </a:lnTo>
                    <a:lnTo>
                      <a:pt x="1" y="28"/>
                    </a:lnTo>
                    <a:lnTo>
                      <a:pt x="0" y="28"/>
                    </a:lnTo>
                    <a:lnTo>
                      <a:pt x="0" y="26"/>
                    </a:lnTo>
                    <a:close/>
                    <a:moveTo>
                      <a:pt x="3" y="23"/>
                    </a:moveTo>
                    <a:lnTo>
                      <a:pt x="5" y="23"/>
                    </a:lnTo>
                    <a:lnTo>
                      <a:pt x="5" y="24"/>
                    </a:lnTo>
                    <a:lnTo>
                      <a:pt x="3" y="24"/>
                    </a:lnTo>
                    <a:lnTo>
                      <a:pt x="3" y="23"/>
                    </a:lnTo>
                    <a:close/>
                    <a:moveTo>
                      <a:pt x="8" y="17"/>
                    </a:moveTo>
                    <a:lnTo>
                      <a:pt x="10" y="17"/>
                    </a:lnTo>
                    <a:lnTo>
                      <a:pt x="8" y="17"/>
                    </a:lnTo>
                    <a:close/>
                    <a:moveTo>
                      <a:pt x="1" y="24"/>
                    </a:moveTo>
                    <a:lnTo>
                      <a:pt x="1" y="26"/>
                    </a:lnTo>
                    <a:lnTo>
                      <a:pt x="1" y="24"/>
                    </a:lnTo>
                    <a:close/>
                    <a:moveTo>
                      <a:pt x="10" y="14"/>
                    </a:moveTo>
                    <a:lnTo>
                      <a:pt x="10" y="16"/>
                    </a:lnTo>
                    <a:lnTo>
                      <a:pt x="10" y="1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6" name="Freeform 54">
                <a:extLst>
                  <a:ext uri="{FF2B5EF4-FFF2-40B4-BE49-F238E27FC236}">
                    <a16:creationId xmlns:a16="http://schemas.microsoft.com/office/drawing/2014/main" id="{8890AFAC-519C-3C24-CD06-1EC964D53C98}"/>
                  </a:ext>
                </a:extLst>
              </p:cNvPr>
              <p:cNvSpPr>
                <a:spLocks noEditPoints="1"/>
              </p:cNvSpPr>
              <p:nvPr/>
            </p:nvSpPr>
            <p:spPr bwMode="auto">
              <a:xfrm>
                <a:off x="5802525" y="2886916"/>
                <a:ext cx="40239" cy="41415"/>
              </a:xfrm>
              <a:custGeom>
                <a:avLst/>
                <a:gdLst>
                  <a:gd name="T0" fmla="*/ 134 w 137"/>
                  <a:gd name="T1" fmla="*/ 19 h 141"/>
                  <a:gd name="T2" fmla="*/ 127 w 137"/>
                  <a:gd name="T3" fmla="*/ 27 h 141"/>
                  <a:gd name="T4" fmla="*/ 120 w 137"/>
                  <a:gd name="T5" fmla="*/ 38 h 141"/>
                  <a:gd name="T6" fmla="*/ 124 w 137"/>
                  <a:gd name="T7" fmla="*/ 50 h 141"/>
                  <a:gd name="T8" fmla="*/ 124 w 137"/>
                  <a:gd name="T9" fmla="*/ 60 h 141"/>
                  <a:gd name="T10" fmla="*/ 125 w 137"/>
                  <a:gd name="T11" fmla="*/ 68 h 141"/>
                  <a:gd name="T12" fmla="*/ 132 w 137"/>
                  <a:gd name="T13" fmla="*/ 75 h 141"/>
                  <a:gd name="T14" fmla="*/ 137 w 137"/>
                  <a:gd name="T15" fmla="*/ 80 h 141"/>
                  <a:gd name="T16" fmla="*/ 136 w 137"/>
                  <a:gd name="T17" fmla="*/ 92 h 141"/>
                  <a:gd name="T18" fmla="*/ 131 w 137"/>
                  <a:gd name="T19" fmla="*/ 97 h 141"/>
                  <a:gd name="T20" fmla="*/ 131 w 137"/>
                  <a:gd name="T21" fmla="*/ 106 h 141"/>
                  <a:gd name="T22" fmla="*/ 127 w 137"/>
                  <a:gd name="T23" fmla="*/ 116 h 141"/>
                  <a:gd name="T24" fmla="*/ 120 w 137"/>
                  <a:gd name="T25" fmla="*/ 123 h 141"/>
                  <a:gd name="T26" fmla="*/ 117 w 137"/>
                  <a:gd name="T27" fmla="*/ 126 h 141"/>
                  <a:gd name="T28" fmla="*/ 108 w 137"/>
                  <a:gd name="T29" fmla="*/ 121 h 141"/>
                  <a:gd name="T30" fmla="*/ 102 w 137"/>
                  <a:gd name="T31" fmla="*/ 118 h 141"/>
                  <a:gd name="T32" fmla="*/ 93 w 137"/>
                  <a:gd name="T33" fmla="*/ 119 h 141"/>
                  <a:gd name="T34" fmla="*/ 85 w 137"/>
                  <a:gd name="T35" fmla="*/ 121 h 141"/>
                  <a:gd name="T36" fmla="*/ 78 w 137"/>
                  <a:gd name="T37" fmla="*/ 121 h 141"/>
                  <a:gd name="T38" fmla="*/ 69 w 137"/>
                  <a:gd name="T39" fmla="*/ 119 h 141"/>
                  <a:gd name="T40" fmla="*/ 66 w 137"/>
                  <a:gd name="T41" fmla="*/ 124 h 141"/>
                  <a:gd name="T42" fmla="*/ 71 w 137"/>
                  <a:gd name="T43" fmla="*/ 131 h 141"/>
                  <a:gd name="T44" fmla="*/ 71 w 137"/>
                  <a:gd name="T45" fmla="*/ 141 h 141"/>
                  <a:gd name="T46" fmla="*/ 59 w 137"/>
                  <a:gd name="T47" fmla="*/ 138 h 141"/>
                  <a:gd name="T48" fmla="*/ 51 w 137"/>
                  <a:gd name="T49" fmla="*/ 136 h 141"/>
                  <a:gd name="T50" fmla="*/ 44 w 137"/>
                  <a:gd name="T51" fmla="*/ 129 h 141"/>
                  <a:gd name="T52" fmla="*/ 37 w 137"/>
                  <a:gd name="T53" fmla="*/ 121 h 141"/>
                  <a:gd name="T54" fmla="*/ 34 w 137"/>
                  <a:gd name="T55" fmla="*/ 114 h 141"/>
                  <a:gd name="T56" fmla="*/ 29 w 137"/>
                  <a:gd name="T57" fmla="*/ 107 h 141"/>
                  <a:gd name="T58" fmla="*/ 30 w 137"/>
                  <a:gd name="T59" fmla="*/ 102 h 141"/>
                  <a:gd name="T60" fmla="*/ 27 w 137"/>
                  <a:gd name="T61" fmla="*/ 99 h 141"/>
                  <a:gd name="T62" fmla="*/ 27 w 137"/>
                  <a:gd name="T63" fmla="*/ 90 h 141"/>
                  <a:gd name="T64" fmla="*/ 22 w 137"/>
                  <a:gd name="T65" fmla="*/ 90 h 141"/>
                  <a:gd name="T66" fmla="*/ 13 w 137"/>
                  <a:gd name="T67" fmla="*/ 85 h 141"/>
                  <a:gd name="T68" fmla="*/ 8 w 137"/>
                  <a:gd name="T69" fmla="*/ 80 h 141"/>
                  <a:gd name="T70" fmla="*/ 3 w 137"/>
                  <a:gd name="T71" fmla="*/ 72 h 141"/>
                  <a:gd name="T72" fmla="*/ 1 w 137"/>
                  <a:gd name="T73" fmla="*/ 61 h 141"/>
                  <a:gd name="T74" fmla="*/ 5 w 137"/>
                  <a:gd name="T75" fmla="*/ 55 h 141"/>
                  <a:gd name="T76" fmla="*/ 8 w 137"/>
                  <a:gd name="T77" fmla="*/ 44 h 141"/>
                  <a:gd name="T78" fmla="*/ 8 w 137"/>
                  <a:gd name="T79" fmla="*/ 38 h 141"/>
                  <a:gd name="T80" fmla="*/ 17 w 137"/>
                  <a:gd name="T81" fmla="*/ 34 h 141"/>
                  <a:gd name="T82" fmla="*/ 25 w 137"/>
                  <a:gd name="T83" fmla="*/ 34 h 141"/>
                  <a:gd name="T84" fmla="*/ 29 w 137"/>
                  <a:gd name="T85" fmla="*/ 31 h 141"/>
                  <a:gd name="T86" fmla="*/ 27 w 137"/>
                  <a:gd name="T87" fmla="*/ 26 h 141"/>
                  <a:gd name="T88" fmla="*/ 29 w 137"/>
                  <a:gd name="T89" fmla="*/ 15 h 141"/>
                  <a:gd name="T90" fmla="*/ 34 w 137"/>
                  <a:gd name="T91" fmla="*/ 4 h 141"/>
                  <a:gd name="T92" fmla="*/ 42 w 137"/>
                  <a:gd name="T93" fmla="*/ 2 h 141"/>
                  <a:gd name="T94" fmla="*/ 54 w 137"/>
                  <a:gd name="T95" fmla="*/ 4 h 141"/>
                  <a:gd name="T96" fmla="*/ 66 w 137"/>
                  <a:gd name="T97" fmla="*/ 7 h 141"/>
                  <a:gd name="T98" fmla="*/ 73 w 137"/>
                  <a:gd name="T99" fmla="*/ 2 h 141"/>
                  <a:gd name="T100" fmla="*/ 86 w 137"/>
                  <a:gd name="T101" fmla="*/ 2 h 141"/>
                  <a:gd name="T102" fmla="*/ 98 w 137"/>
                  <a:gd name="T103" fmla="*/ 4 h 141"/>
                  <a:gd name="T104" fmla="*/ 100 w 137"/>
                  <a:gd name="T105" fmla="*/ 2 h 141"/>
                  <a:gd name="T106" fmla="*/ 112 w 137"/>
                  <a:gd name="T107" fmla="*/ 2 h 141"/>
                  <a:gd name="T108" fmla="*/ 124 w 137"/>
                  <a:gd name="T109" fmla="*/ 4 h 141"/>
                  <a:gd name="T110" fmla="*/ 136 w 137"/>
                  <a:gd name="T111" fmla="*/ 5 h 141"/>
                  <a:gd name="T112" fmla="*/ 34 w 137"/>
                  <a:gd name="T113" fmla="*/ 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7" h="141">
                    <a:moveTo>
                      <a:pt x="137" y="10"/>
                    </a:moveTo>
                    <a:lnTo>
                      <a:pt x="137" y="12"/>
                    </a:lnTo>
                    <a:lnTo>
                      <a:pt x="137" y="14"/>
                    </a:lnTo>
                    <a:lnTo>
                      <a:pt x="137" y="15"/>
                    </a:lnTo>
                    <a:lnTo>
                      <a:pt x="137" y="17"/>
                    </a:lnTo>
                    <a:lnTo>
                      <a:pt x="136" y="17"/>
                    </a:lnTo>
                    <a:lnTo>
                      <a:pt x="136" y="19"/>
                    </a:lnTo>
                    <a:lnTo>
                      <a:pt x="134" y="19"/>
                    </a:lnTo>
                    <a:lnTo>
                      <a:pt x="134" y="21"/>
                    </a:lnTo>
                    <a:lnTo>
                      <a:pt x="132" y="21"/>
                    </a:lnTo>
                    <a:lnTo>
                      <a:pt x="132" y="22"/>
                    </a:lnTo>
                    <a:lnTo>
                      <a:pt x="131" y="24"/>
                    </a:lnTo>
                    <a:lnTo>
                      <a:pt x="129" y="24"/>
                    </a:lnTo>
                    <a:lnTo>
                      <a:pt x="129" y="26"/>
                    </a:lnTo>
                    <a:lnTo>
                      <a:pt x="127" y="26"/>
                    </a:lnTo>
                    <a:lnTo>
                      <a:pt x="127" y="27"/>
                    </a:lnTo>
                    <a:lnTo>
                      <a:pt x="125" y="29"/>
                    </a:lnTo>
                    <a:lnTo>
                      <a:pt x="125" y="31"/>
                    </a:lnTo>
                    <a:lnTo>
                      <a:pt x="124" y="31"/>
                    </a:lnTo>
                    <a:lnTo>
                      <a:pt x="124" y="32"/>
                    </a:lnTo>
                    <a:lnTo>
                      <a:pt x="122" y="34"/>
                    </a:lnTo>
                    <a:lnTo>
                      <a:pt x="122" y="36"/>
                    </a:lnTo>
                    <a:lnTo>
                      <a:pt x="122" y="38"/>
                    </a:lnTo>
                    <a:lnTo>
                      <a:pt x="120" y="38"/>
                    </a:lnTo>
                    <a:lnTo>
                      <a:pt x="122" y="39"/>
                    </a:lnTo>
                    <a:lnTo>
                      <a:pt x="122" y="41"/>
                    </a:lnTo>
                    <a:lnTo>
                      <a:pt x="122" y="43"/>
                    </a:lnTo>
                    <a:lnTo>
                      <a:pt x="122" y="44"/>
                    </a:lnTo>
                    <a:lnTo>
                      <a:pt x="122" y="46"/>
                    </a:lnTo>
                    <a:lnTo>
                      <a:pt x="122" y="48"/>
                    </a:lnTo>
                    <a:lnTo>
                      <a:pt x="124" y="48"/>
                    </a:lnTo>
                    <a:lnTo>
                      <a:pt x="124" y="50"/>
                    </a:lnTo>
                    <a:lnTo>
                      <a:pt x="122" y="50"/>
                    </a:lnTo>
                    <a:lnTo>
                      <a:pt x="122" y="51"/>
                    </a:lnTo>
                    <a:lnTo>
                      <a:pt x="122" y="53"/>
                    </a:lnTo>
                    <a:lnTo>
                      <a:pt x="122" y="55"/>
                    </a:lnTo>
                    <a:lnTo>
                      <a:pt x="122" y="56"/>
                    </a:lnTo>
                    <a:lnTo>
                      <a:pt x="124" y="56"/>
                    </a:lnTo>
                    <a:lnTo>
                      <a:pt x="124" y="58"/>
                    </a:lnTo>
                    <a:lnTo>
                      <a:pt x="124" y="60"/>
                    </a:lnTo>
                    <a:lnTo>
                      <a:pt x="124" y="61"/>
                    </a:lnTo>
                    <a:lnTo>
                      <a:pt x="124" y="63"/>
                    </a:lnTo>
                    <a:lnTo>
                      <a:pt x="125" y="63"/>
                    </a:lnTo>
                    <a:lnTo>
                      <a:pt x="127" y="63"/>
                    </a:lnTo>
                    <a:lnTo>
                      <a:pt x="127" y="65"/>
                    </a:lnTo>
                    <a:lnTo>
                      <a:pt x="125" y="65"/>
                    </a:lnTo>
                    <a:lnTo>
                      <a:pt x="125" y="67"/>
                    </a:lnTo>
                    <a:lnTo>
                      <a:pt x="125" y="68"/>
                    </a:lnTo>
                    <a:lnTo>
                      <a:pt x="127" y="68"/>
                    </a:lnTo>
                    <a:lnTo>
                      <a:pt x="127" y="70"/>
                    </a:lnTo>
                    <a:lnTo>
                      <a:pt x="127" y="72"/>
                    </a:lnTo>
                    <a:lnTo>
                      <a:pt x="129" y="72"/>
                    </a:lnTo>
                    <a:lnTo>
                      <a:pt x="129" y="73"/>
                    </a:lnTo>
                    <a:lnTo>
                      <a:pt x="131" y="73"/>
                    </a:lnTo>
                    <a:lnTo>
                      <a:pt x="131" y="75"/>
                    </a:lnTo>
                    <a:lnTo>
                      <a:pt x="132" y="75"/>
                    </a:lnTo>
                    <a:lnTo>
                      <a:pt x="134" y="75"/>
                    </a:lnTo>
                    <a:lnTo>
                      <a:pt x="134" y="77"/>
                    </a:lnTo>
                    <a:lnTo>
                      <a:pt x="134" y="78"/>
                    </a:lnTo>
                    <a:lnTo>
                      <a:pt x="134" y="80"/>
                    </a:lnTo>
                    <a:lnTo>
                      <a:pt x="136" y="80"/>
                    </a:lnTo>
                    <a:lnTo>
                      <a:pt x="136" y="82"/>
                    </a:lnTo>
                    <a:lnTo>
                      <a:pt x="136" y="80"/>
                    </a:lnTo>
                    <a:lnTo>
                      <a:pt x="137" y="80"/>
                    </a:lnTo>
                    <a:lnTo>
                      <a:pt x="137" y="82"/>
                    </a:lnTo>
                    <a:lnTo>
                      <a:pt x="137" y="84"/>
                    </a:lnTo>
                    <a:lnTo>
                      <a:pt x="137" y="85"/>
                    </a:lnTo>
                    <a:lnTo>
                      <a:pt x="137" y="87"/>
                    </a:lnTo>
                    <a:lnTo>
                      <a:pt x="137" y="89"/>
                    </a:lnTo>
                    <a:lnTo>
                      <a:pt x="136" y="89"/>
                    </a:lnTo>
                    <a:lnTo>
                      <a:pt x="136" y="90"/>
                    </a:lnTo>
                    <a:lnTo>
                      <a:pt x="136" y="92"/>
                    </a:lnTo>
                    <a:lnTo>
                      <a:pt x="134" y="92"/>
                    </a:lnTo>
                    <a:lnTo>
                      <a:pt x="132" y="92"/>
                    </a:lnTo>
                    <a:lnTo>
                      <a:pt x="132" y="94"/>
                    </a:lnTo>
                    <a:lnTo>
                      <a:pt x="132" y="95"/>
                    </a:lnTo>
                    <a:lnTo>
                      <a:pt x="131" y="95"/>
                    </a:lnTo>
                    <a:lnTo>
                      <a:pt x="131" y="97"/>
                    </a:lnTo>
                    <a:lnTo>
                      <a:pt x="131" y="99"/>
                    </a:lnTo>
                    <a:lnTo>
                      <a:pt x="131" y="97"/>
                    </a:lnTo>
                    <a:lnTo>
                      <a:pt x="131" y="99"/>
                    </a:lnTo>
                    <a:lnTo>
                      <a:pt x="131" y="101"/>
                    </a:lnTo>
                    <a:lnTo>
                      <a:pt x="131" y="102"/>
                    </a:lnTo>
                    <a:lnTo>
                      <a:pt x="132" y="102"/>
                    </a:lnTo>
                    <a:lnTo>
                      <a:pt x="131" y="102"/>
                    </a:lnTo>
                    <a:lnTo>
                      <a:pt x="132" y="104"/>
                    </a:lnTo>
                    <a:lnTo>
                      <a:pt x="131" y="104"/>
                    </a:lnTo>
                    <a:lnTo>
                      <a:pt x="131" y="106"/>
                    </a:lnTo>
                    <a:lnTo>
                      <a:pt x="131" y="107"/>
                    </a:lnTo>
                    <a:lnTo>
                      <a:pt x="131" y="109"/>
                    </a:lnTo>
                    <a:lnTo>
                      <a:pt x="131" y="111"/>
                    </a:lnTo>
                    <a:lnTo>
                      <a:pt x="129" y="111"/>
                    </a:lnTo>
                    <a:lnTo>
                      <a:pt x="129" y="112"/>
                    </a:lnTo>
                    <a:lnTo>
                      <a:pt x="127" y="112"/>
                    </a:lnTo>
                    <a:lnTo>
                      <a:pt x="127" y="114"/>
                    </a:lnTo>
                    <a:lnTo>
                      <a:pt x="127" y="116"/>
                    </a:lnTo>
                    <a:lnTo>
                      <a:pt x="125" y="116"/>
                    </a:lnTo>
                    <a:lnTo>
                      <a:pt x="125" y="118"/>
                    </a:lnTo>
                    <a:lnTo>
                      <a:pt x="125" y="119"/>
                    </a:lnTo>
                    <a:lnTo>
                      <a:pt x="124" y="119"/>
                    </a:lnTo>
                    <a:lnTo>
                      <a:pt x="124" y="121"/>
                    </a:lnTo>
                    <a:lnTo>
                      <a:pt x="122" y="121"/>
                    </a:lnTo>
                    <a:lnTo>
                      <a:pt x="122" y="123"/>
                    </a:lnTo>
                    <a:lnTo>
                      <a:pt x="120" y="123"/>
                    </a:lnTo>
                    <a:lnTo>
                      <a:pt x="120" y="124"/>
                    </a:lnTo>
                    <a:lnTo>
                      <a:pt x="120" y="126"/>
                    </a:lnTo>
                    <a:lnTo>
                      <a:pt x="120" y="124"/>
                    </a:lnTo>
                    <a:lnTo>
                      <a:pt x="119" y="126"/>
                    </a:lnTo>
                    <a:lnTo>
                      <a:pt x="120" y="126"/>
                    </a:lnTo>
                    <a:lnTo>
                      <a:pt x="119" y="128"/>
                    </a:lnTo>
                    <a:lnTo>
                      <a:pt x="119" y="126"/>
                    </a:lnTo>
                    <a:lnTo>
                      <a:pt x="117" y="126"/>
                    </a:lnTo>
                    <a:lnTo>
                      <a:pt x="117" y="124"/>
                    </a:lnTo>
                    <a:lnTo>
                      <a:pt x="115" y="124"/>
                    </a:lnTo>
                    <a:lnTo>
                      <a:pt x="114" y="124"/>
                    </a:lnTo>
                    <a:lnTo>
                      <a:pt x="114" y="123"/>
                    </a:lnTo>
                    <a:lnTo>
                      <a:pt x="114" y="121"/>
                    </a:lnTo>
                    <a:lnTo>
                      <a:pt x="112" y="121"/>
                    </a:lnTo>
                    <a:lnTo>
                      <a:pt x="110" y="121"/>
                    </a:lnTo>
                    <a:lnTo>
                      <a:pt x="108" y="121"/>
                    </a:lnTo>
                    <a:lnTo>
                      <a:pt x="107" y="121"/>
                    </a:lnTo>
                    <a:lnTo>
                      <a:pt x="107" y="119"/>
                    </a:lnTo>
                    <a:lnTo>
                      <a:pt x="105" y="119"/>
                    </a:lnTo>
                    <a:lnTo>
                      <a:pt x="105" y="118"/>
                    </a:lnTo>
                    <a:lnTo>
                      <a:pt x="105" y="116"/>
                    </a:lnTo>
                    <a:lnTo>
                      <a:pt x="103" y="116"/>
                    </a:lnTo>
                    <a:lnTo>
                      <a:pt x="103" y="118"/>
                    </a:lnTo>
                    <a:lnTo>
                      <a:pt x="102" y="118"/>
                    </a:lnTo>
                    <a:lnTo>
                      <a:pt x="100" y="118"/>
                    </a:lnTo>
                    <a:lnTo>
                      <a:pt x="100" y="119"/>
                    </a:lnTo>
                    <a:lnTo>
                      <a:pt x="100" y="118"/>
                    </a:lnTo>
                    <a:lnTo>
                      <a:pt x="98" y="118"/>
                    </a:lnTo>
                    <a:lnTo>
                      <a:pt x="97" y="118"/>
                    </a:lnTo>
                    <a:lnTo>
                      <a:pt x="97" y="119"/>
                    </a:lnTo>
                    <a:lnTo>
                      <a:pt x="95" y="119"/>
                    </a:lnTo>
                    <a:lnTo>
                      <a:pt x="93" y="119"/>
                    </a:lnTo>
                    <a:lnTo>
                      <a:pt x="91" y="119"/>
                    </a:lnTo>
                    <a:lnTo>
                      <a:pt x="91" y="121"/>
                    </a:lnTo>
                    <a:lnTo>
                      <a:pt x="91" y="123"/>
                    </a:lnTo>
                    <a:lnTo>
                      <a:pt x="90" y="123"/>
                    </a:lnTo>
                    <a:lnTo>
                      <a:pt x="90" y="121"/>
                    </a:lnTo>
                    <a:lnTo>
                      <a:pt x="88" y="121"/>
                    </a:lnTo>
                    <a:lnTo>
                      <a:pt x="86" y="121"/>
                    </a:lnTo>
                    <a:lnTo>
                      <a:pt x="85" y="121"/>
                    </a:lnTo>
                    <a:lnTo>
                      <a:pt x="85" y="123"/>
                    </a:lnTo>
                    <a:lnTo>
                      <a:pt x="85" y="121"/>
                    </a:lnTo>
                    <a:lnTo>
                      <a:pt x="83" y="121"/>
                    </a:lnTo>
                    <a:lnTo>
                      <a:pt x="83" y="123"/>
                    </a:lnTo>
                    <a:lnTo>
                      <a:pt x="81" y="123"/>
                    </a:lnTo>
                    <a:lnTo>
                      <a:pt x="80" y="123"/>
                    </a:lnTo>
                    <a:lnTo>
                      <a:pt x="78" y="123"/>
                    </a:lnTo>
                    <a:lnTo>
                      <a:pt x="78" y="121"/>
                    </a:lnTo>
                    <a:lnTo>
                      <a:pt x="76" y="121"/>
                    </a:lnTo>
                    <a:lnTo>
                      <a:pt x="74" y="121"/>
                    </a:lnTo>
                    <a:lnTo>
                      <a:pt x="74" y="119"/>
                    </a:lnTo>
                    <a:lnTo>
                      <a:pt x="73" y="119"/>
                    </a:lnTo>
                    <a:lnTo>
                      <a:pt x="73" y="118"/>
                    </a:lnTo>
                    <a:lnTo>
                      <a:pt x="71" y="118"/>
                    </a:lnTo>
                    <a:lnTo>
                      <a:pt x="71" y="119"/>
                    </a:lnTo>
                    <a:lnTo>
                      <a:pt x="69" y="119"/>
                    </a:lnTo>
                    <a:lnTo>
                      <a:pt x="71" y="119"/>
                    </a:lnTo>
                    <a:lnTo>
                      <a:pt x="69" y="119"/>
                    </a:lnTo>
                    <a:lnTo>
                      <a:pt x="69" y="121"/>
                    </a:lnTo>
                    <a:lnTo>
                      <a:pt x="69" y="123"/>
                    </a:lnTo>
                    <a:lnTo>
                      <a:pt x="68" y="124"/>
                    </a:lnTo>
                    <a:lnTo>
                      <a:pt x="69" y="124"/>
                    </a:lnTo>
                    <a:lnTo>
                      <a:pt x="68" y="124"/>
                    </a:lnTo>
                    <a:lnTo>
                      <a:pt x="66" y="124"/>
                    </a:lnTo>
                    <a:lnTo>
                      <a:pt x="66" y="126"/>
                    </a:lnTo>
                    <a:lnTo>
                      <a:pt x="64" y="128"/>
                    </a:lnTo>
                    <a:lnTo>
                      <a:pt x="66" y="128"/>
                    </a:lnTo>
                    <a:lnTo>
                      <a:pt x="68" y="128"/>
                    </a:lnTo>
                    <a:lnTo>
                      <a:pt x="68" y="129"/>
                    </a:lnTo>
                    <a:lnTo>
                      <a:pt x="68" y="131"/>
                    </a:lnTo>
                    <a:lnTo>
                      <a:pt x="69" y="131"/>
                    </a:lnTo>
                    <a:lnTo>
                      <a:pt x="71" y="131"/>
                    </a:lnTo>
                    <a:lnTo>
                      <a:pt x="71" y="133"/>
                    </a:lnTo>
                    <a:lnTo>
                      <a:pt x="73" y="133"/>
                    </a:lnTo>
                    <a:lnTo>
                      <a:pt x="73" y="135"/>
                    </a:lnTo>
                    <a:lnTo>
                      <a:pt x="73" y="136"/>
                    </a:lnTo>
                    <a:lnTo>
                      <a:pt x="71" y="136"/>
                    </a:lnTo>
                    <a:lnTo>
                      <a:pt x="73" y="138"/>
                    </a:lnTo>
                    <a:lnTo>
                      <a:pt x="73" y="140"/>
                    </a:lnTo>
                    <a:lnTo>
                      <a:pt x="71" y="141"/>
                    </a:lnTo>
                    <a:lnTo>
                      <a:pt x="69" y="141"/>
                    </a:lnTo>
                    <a:lnTo>
                      <a:pt x="68" y="141"/>
                    </a:lnTo>
                    <a:lnTo>
                      <a:pt x="66" y="141"/>
                    </a:lnTo>
                    <a:lnTo>
                      <a:pt x="64" y="140"/>
                    </a:lnTo>
                    <a:lnTo>
                      <a:pt x="63" y="140"/>
                    </a:lnTo>
                    <a:lnTo>
                      <a:pt x="61" y="140"/>
                    </a:lnTo>
                    <a:lnTo>
                      <a:pt x="59" y="140"/>
                    </a:lnTo>
                    <a:lnTo>
                      <a:pt x="59" y="138"/>
                    </a:lnTo>
                    <a:lnTo>
                      <a:pt x="57" y="138"/>
                    </a:lnTo>
                    <a:lnTo>
                      <a:pt x="56" y="138"/>
                    </a:lnTo>
                    <a:lnTo>
                      <a:pt x="56" y="140"/>
                    </a:lnTo>
                    <a:lnTo>
                      <a:pt x="56" y="138"/>
                    </a:lnTo>
                    <a:lnTo>
                      <a:pt x="54" y="138"/>
                    </a:lnTo>
                    <a:lnTo>
                      <a:pt x="52" y="138"/>
                    </a:lnTo>
                    <a:lnTo>
                      <a:pt x="52" y="136"/>
                    </a:lnTo>
                    <a:lnTo>
                      <a:pt x="51" y="136"/>
                    </a:lnTo>
                    <a:lnTo>
                      <a:pt x="49" y="136"/>
                    </a:lnTo>
                    <a:lnTo>
                      <a:pt x="47" y="136"/>
                    </a:lnTo>
                    <a:lnTo>
                      <a:pt x="47" y="135"/>
                    </a:lnTo>
                    <a:lnTo>
                      <a:pt x="46" y="135"/>
                    </a:lnTo>
                    <a:lnTo>
                      <a:pt x="46" y="133"/>
                    </a:lnTo>
                    <a:lnTo>
                      <a:pt x="44" y="133"/>
                    </a:lnTo>
                    <a:lnTo>
                      <a:pt x="44" y="131"/>
                    </a:lnTo>
                    <a:lnTo>
                      <a:pt x="44" y="129"/>
                    </a:lnTo>
                    <a:lnTo>
                      <a:pt x="42" y="129"/>
                    </a:lnTo>
                    <a:lnTo>
                      <a:pt x="42" y="128"/>
                    </a:lnTo>
                    <a:lnTo>
                      <a:pt x="40" y="126"/>
                    </a:lnTo>
                    <a:lnTo>
                      <a:pt x="40" y="124"/>
                    </a:lnTo>
                    <a:lnTo>
                      <a:pt x="39" y="124"/>
                    </a:lnTo>
                    <a:lnTo>
                      <a:pt x="39" y="123"/>
                    </a:lnTo>
                    <a:lnTo>
                      <a:pt x="39" y="121"/>
                    </a:lnTo>
                    <a:lnTo>
                      <a:pt x="37" y="121"/>
                    </a:lnTo>
                    <a:lnTo>
                      <a:pt x="39" y="121"/>
                    </a:lnTo>
                    <a:lnTo>
                      <a:pt x="39" y="119"/>
                    </a:lnTo>
                    <a:lnTo>
                      <a:pt x="37" y="119"/>
                    </a:lnTo>
                    <a:lnTo>
                      <a:pt x="37" y="118"/>
                    </a:lnTo>
                    <a:lnTo>
                      <a:pt x="35" y="118"/>
                    </a:lnTo>
                    <a:lnTo>
                      <a:pt x="35" y="116"/>
                    </a:lnTo>
                    <a:lnTo>
                      <a:pt x="35" y="114"/>
                    </a:lnTo>
                    <a:lnTo>
                      <a:pt x="34" y="114"/>
                    </a:lnTo>
                    <a:lnTo>
                      <a:pt x="34" y="112"/>
                    </a:lnTo>
                    <a:lnTo>
                      <a:pt x="32" y="111"/>
                    </a:lnTo>
                    <a:lnTo>
                      <a:pt x="34" y="111"/>
                    </a:lnTo>
                    <a:lnTo>
                      <a:pt x="32" y="111"/>
                    </a:lnTo>
                    <a:lnTo>
                      <a:pt x="32" y="109"/>
                    </a:lnTo>
                    <a:lnTo>
                      <a:pt x="30" y="109"/>
                    </a:lnTo>
                    <a:lnTo>
                      <a:pt x="29" y="109"/>
                    </a:lnTo>
                    <a:lnTo>
                      <a:pt x="29" y="107"/>
                    </a:lnTo>
                    <a:lnTo>
                      <a:pt x="30" y="107"/>
                    </a:lnTo>
                    <a:lnTo>
                      <a:pt x="29" y="107"/>
                    </a:lnTo>
                    <a:lnTo>
                      <a:pt x="29" y="106"/>
                    </a:lnTo>
                    <a:lnTo>
                      <a:pt x="30" y="106"/>
                    </a:lnTo>
                    <a:lnTo>
                      <a:pt x="30" y="104"/>
                    </a:lnTo>
                    <a:lnTo>
                      <a:pt x="29" y="104"/>
                    </a:lnTo>
                    <a:lnTo>
                      <a:pt x="29" y="102"/>
                    </a:lnTo>
                    <a:lnTo>
                      <a:pt x="30" y="102"/>
                    </a:lnTo>
                    <a:lnTo>
                      <a:pt x="30" y="101"/>
                    </a:lnTo>
                    <a:lnTo>
                      <a:pt x="29" y="101"/>
                    </a:lnTo>
                    <a:lnTo>
                      <a:pt x="29" y="99"/>
                    </a:lnTo>
                    <a:lnTo>
                      <a:pt x="27" y="99"/>
                    </a:lnTo>
                    <a:lnTo>
                      <a:pt x="29" y="99"/>
                    </a:lnTo>
                    <a:lnTo>
                      <a:pt x="29" y="97"/>
                    </a:lnTo>
                    <a:lnTo>
                      <a:pt x="27" y="97"/>
                    </a:lnTo>
                    <a:lnTo>
                      <a:pt x="27" y="99"/>
                    </a:lnTo>
                    <a:lnTo>
                      <a:pt x="27" y="97"/>
                    </a:lnTo>
                    <a:lnTo>
                      <a:pt x="25" y="97"/>
                    </a:lnTo>
                    <a:lnTo>
                      <a:pt x="25" y="95"/>
                    </a:lnTo>
                    <a:lnTo>
                      <a:pt x="27" y="95"/>
                    </a:lnTo>
                    <a:lnTo>
                      <a:pt x="27" y="94"/>
                    </a:lnTo>
                    <a:lnTo>
                      <a:pt x="25" y="92"/>
                    </a:lnTo>
                    <a:lnTo>
                      <a:pt x="27" y="92"/>
                    </a:lnTo>
                    <a:lnTo>
                      <a:pt x="27" y="90"/>
                    </a:lnTo>
                    <a:lnTo>
                      <a:pt x="25" y="90"/>
                    </a:lnTo>
                    <a:lnTo>
                      <a:pt x="27" y="90"/>
                    </a:lnTo>
                    <a:lnTo>
                      <a:pt x="25" y="89"/>
                    </a:lnTo>
                    <a:lnTo>
                      <a:pt x="25" y="90"/>
                    </a:lnTo>
                    <a:lnTo>
                      <a:pt x="23" y="90"/>
                    </a:lnTo>
                    <a:lnTo>
                      <a:pt x="22" y="90"/>
                    </a:lnTo>
                    <a:lnTo>
                      <a:pt x="22" y="89"/>
                    </a:lnTo>
                    <a:lnTo>
                      <a:pt x="22" y="90"/>
                    </a:lnTo>
                    <a:lnTo>
                      <a:pt x="20" y="90"/>
                    </a:lnTo>
                    <a:lnTo>
                      <a:pt x="18" y="90"/>
                    </a:lnTo>
                    <a:lnTo>
                      <a:pt x="17" y="90"/>
                    </a:lnTo>
                    <a:lnTo>
                      <a:pt x="15" y="90"/>
                    </a:lnTo>
                    <a:lnTo>
                      <a:pt x="13" y="90"/>
                    </a:lnTo>
                    <a:lnTo>
                      <a:pt x="13" y="89"/>
                    </a:lnTo>
                    <a:lnTo>
                      <a:pt x="13" y="87"/>
                    </a:lnTo>
                    <a:lnTo>
                      <a:pt x="13" y="85"/>
                    </a:lnTo>
                    <a:lnTo>
                      <a:pt x="15" y="85"/>
                    </a:lnTo>
                    <a:lnTo>
                      <a:pt x="15" y="84"/>
                    </a:lnTo>
                    <a:lnTo>
                      <a:pt x="13" y="84"/>
                    </a:lnTo>
                    <a:lnTo>
                      <a:pt x="12" y="84"/>
                    </a:lnTo>
                    <a:lnTo>
                      <a:pt x="12" y="82"/>
                    </a:lnTo>
                    <a:lnTo>
                      <a:pt x="10" y="82"/>
                    </a:lnTo>
                    <a:lnTo>
                      <a:pt x="10" y="80"/>
                    </a:lnTo>
                    <a:lnTo>
                      <a:pt x="8" y="80"/>
                    </a:lnTo>
                    <a:lnTo>
                      <a:pt x="8" y="78"/>
                    </a:lnTo>
                    <a:lnTo>
                      <a:pt x="8" y="77"/>
                    </a:lnTo>
                    <a:lnTo>
                      <a:pt x="6" y="77"/>
                    </a:lnTo>
                    <a:lnTo>
                      <a:pt x="6" y="75"/>
                    </a:lnTo>
                    <a:lnTo>
                      <a:pt x="6" y="73"/>
                    </a:lnTo>
                    <a:lnTo>
                      <a:pt x="5" y="73"/>
                    </a:lnTo>
                    <a:lnTo>
                      <a:pt x="5" y="72"/>
                    </a:lnTo>
                    <a:lnTo>
                      <a:pt x="3" y="72"/>
                    </a:lnTo>
                    <a:lnTo>
                      <a:pt x="3" y="70"/>
                    </a:lnTo>
                    <a:lnTo>
                      <a:pt x="1" y="70"/>
                    </a:lnTo>
                    <a:lnTo>
                      <a:pt x="1" y="68"/>
                    </a:lnTo>
                    <a:lnTo>
                      <a:pt x="1" y="67"/>
                    </a:lnTo>
                    <a:lnTo>
                      <a:pt x="1" y="65"/>
                    </a:lnTo>
                    <a:lnTo>
                      <a:pt x="0" y="63"/>
                    </a:lnTo>
                    <a:lnTo>
                      <a:pt x="1" y="63"/>
                    </a:lnTo>
                    <a:lnTo>
                      <a:pt x="1" y="61"/>
                    </a:lnTo>
                    <a:lnTo>
                      <a:pt x="1" y="60"/>
                    </a:lnTo>
                    <a:lnTo>
                      <a:pt x="3" y="60"/>
                    </a:lnTo>
                    <a:lnTo>
                      <a:pt x="3" y="58"/>
                    </a:lnTo>
                    <a:lnTo>
                      <a:pt x="5" y="58"/>
                    </a:lnTo>
                    <a:lnTo>
                      <a:pt x="5" y="56"/>
                    </a:lnTo>
                    <a:lnTo>
                      <a:pt x="3" y="56"/>
                    </a:lnTo>
                    <a:lnTo>
                      <a:pt x="3" y="55"/>
                    </a:lnTo>
                    <a:lnTo>
                      <a:pt x="5" y="55"/>
                    </a:lnTo>
                    <a:lnTo>
                      <a:pt x="5" y="53"/>
                    </a:lnTo>
                    <a:lnTo>
                      <a:pt x="5" y="51"/>
                    </a:lnTo>
                    <a:lnTo>
                      <a:pt x="6" y="51"/>
                    </a:lnTo>
                    <a:lnTo>
                      <a:pt x="6" y="50"/>
                    </a:lnTo>
                    <a:lnTo>
                      <a:pt x="6" y="48"/>
                    </a:lnTo>
                    <a:lnTo>
                      <a:pt x="8" y="48"/>
                    </a:lnTo>
                    <a:lnTo>
                      <a:pt x="8" y="46"/>
                    </a:lnTo>
                    <a:lnTo>
                      <a:pt x="8" y="44"/>
                    </a:lnTo>
                    <a:lnTo>
                      <a:pt x="6" y="44"/>
                    </a:lnTo>
                    <a:lnTo>
                      <a:pt x="6" y="43"/>
                    </a:lnTo>
                    <a:lnTo>
                      <a:pt x="5" y="43"/>
                    </a:lnTo>
                    <a:lnTo>
                      <a:pt x="5" y="41"/>
                    </a:lnTo>
                    <a:lnTo>
                      <a:pt x="5" y="39"/>
                    </a:lnTo>
                    <a:lnTo>
                      <a:pt x="6" y="39"/>
                    </a:lnTo>
                    <a:lnTo>
                      <a:pt x="6" y="38"/>
                    </a:lnTo>
                    <a:lnTo>
                      <a:pt x="8" y="38"/>
                    </a:lnTo>
                    <a:lnTo>
                      <a:pt x="10" y="38"/>
                    </a:lnTo>
                    <a:lnTo>
                      <a:pt x="10" y="36"/>
                    </a:lnTo>
                    <a:lnTo>
                      <a:pt x="12" y="36"/>
                    </a:lnTo>
                    <a:lnTo>
                      <a:pt x="12" y="34"/>
                    </a:lnTo>
                    <a:lnTo>
                      <a:pt x="13" y="34"/>
                    </a:lnTo>
                    <a:lnTo>
                      <a:pt x="15" y="36"/>
                    </a:lnTo>
                    <a:lnTo>
                      <a:pt x="15" y="34"/>
                    </a:lnTo>
                    <a:lnTo>
                      <a:pt x="17" y="34"/>
                    </a:lnTo>
                    <a:lnTo>
                      <a:pt x="18" y="34"/>
                    </a:lnTo>
                    <a:lnTo>
                      <a:pt x="20" y="36"/>
                    </a:lnTo>
                    <a:lnTo>
                      <a:pt x="20" y="34"/>
                    </a:lnTo>
                    <a:lnTo>
                      <a:pt x="22" y="34"/>
                    </a:lnTo>
                    <a:lnTo>
                      <a:pt x="22" y="36"/>
                    </a:lnTo>
                    <a:lnTo>
                      <a:pt x="22" y="34"/>
                    </a:lnTo>
                    <a:lnTo>
                      <a:pt x="23" y="34"/>
                    </a:lnTo>
                    <a:lnTo>
                      <a:pt x="25" y="34"/>
                    </a:lnTo>
                    <a:lnTo>
                      <a:pt x="27" y="34"/>
                    </a:lnTo>
                    <a:lnTo>
                      <a:pt x="27" y="32"/>
                    </a:lnTo>
                    <a:lnTo>
                      <a:pt x="25" y="32"/>
                    </a:lnTo>
                    <a:lnTo>
                      <a:pt x="25" y="31"/>
                    </a:lnTo>
                    <a:lnTo>
                      <a:pt x="25" y="29"/>
                    </a:lnTo>
                    <a:lnTo>
                      <a:pt x="27" y="29"/>
                    </a:lnTo>
                    <a:lnTo>
                      <a:pt x="29" y="29"/>
                    </a:lnTo>
                    <a:lnTo>
                      <a:pt x="29" y="31"/>
                    </a:lnTo>
                    <a:lnTo>
                      <a:pt x="29" y="29"/>
                    </a:lnTo>
                    <a:lnTo>
                      <a:pt x="30" y="29"/>
                    </a:lnTo>
                    <a:lnTo>
                      <a:pt x="30" y="27"/>
                    </a:lnTo>
                    <a:lnTo>
                      <a:pt x="29" y="27"/>
                    </a:lnTo>
                    <a:lnTo>
                      <a:pt x="29" y="26"/>
                    </a:lnTo>
                    <a:lnTo>
                      <a:pt x="27" y="26"/>
                    </a:lnTo>
                    <a:lnTo>
                      <a:pt x="27" y="27"/>
                    </a:lnTo>
                    <a:lnTo>
                      <a:pt x="27" y="26"/>
                    </a:lnTo>
                    <a:lnTo>
                      <a:pt x="27" y="24"/>
                    </a:lnTo>
                    <a:lnTo>
                      <a:pt x="25" y="24"/>
                    </a:lnTo>
                    <a:lnTo>
                      <a:pt x="25" y="22"/>
                    </a:lnTo>
                    <a:lnTo>
                      <a:pt x="27" y="22"/>
                    </a:lnTo>
                    <a:lnTo>
                      <a:pt x="27" y="21"/>
                    </a:lnTo>
                    <a:lnTo>
                      <a:pt x="27" y="19"/>
                    </a:lnTo>
                    <a:lnTo>
                      <a:pt x="29" y="17"/>
                    </a:lnTo>
                    <a:lnTo>
                      <a:pt x="29" y="15"/>
                    </a:lnTo>
                    <a:lnTo>
                      <a:pt x="30" y="14"/>
                    </a:lnTo>
                    <a:lnTo>
                      <a:pt x="30" y="12"/>
                    </a:lnTo>
                    <a:lnTo>
                      <a:pt x="32" y="12"/>
                    </a:lnTo>
                    <a:lnTo>
                      <a:pt x="32" y="10"/>
                    </a:lnTo>
                    <a:lnTo>
                      <a:pt x="32" y="9"/>
                    </a:lnTo>
                    <a:lnTo>
                      <a:pt x="32" y="7"/>
                    </a:lnTo>
                    <a:lnTo>
                      <a:pt x="34" y="5"/>
                    </a:lnTo>
                    <a:lnTo>
                      <a:pt x="34" y="4"/>
                    </a:lnTo>
                    <a:lnTo>
                      <a:pt x="34" y="2"/>
                    </a:lnTo>
                    <a:lnTo>
                      <a:pt x="35" y="2"/>
                    </a:lnTo>
                    <a:lnTo>
                      <a:pt x="37" y="2"/>
                    </a:lnTo>
                    <a:lnTo>
                      <a:pt x="37" y="0"/>
                    </a:lnTo>
                    <a:lnTo>
                      <a:pt x="39" y="0"/>
                    </a:lnTo>
                    <a:lnTo>
                      <a:pt x="39" y="2"/>
                    </a:lnTo>
                    <a:lnTo>
                      <a:pt x="40" y="2"/>
                    </a:lnTo>
                    <a:lnTo>
                      <a:pt x="42" y="2"/>
                    </a:lnTo>
                    <a:lnTo>
                      <a:pt x="44" y="2"/>
                    </a:lnTo>
                    <a:lnTo>
                      <a:pt x="46" y="2"/>
                    </a:lnTo>
                    <a:lnTo>
                      <a:pt x="47" y="2"/>
                    </a:lnTo>
                    <a:lnTo>
                      <a:pt x="49" y="2"/>
                    </a:lnTo>
                    <a:lnTo>
                      <a:pt x="49" y="4"/>
                    </a:lnTo>
                    <a:lnTo>
                      <a:pt x="51" y="4"/>
                    </a:lnTo>
                    <a:lnTo>
                      <a:pt x="52" y="4"/>
                    </a:lnTo>
                    <a:lnTo>
                      <a:pt x="54" y="4"/>
                    </a:lnTo>
                    <a:lnTo>
                      <a:pt x="56" y="4"/>
                    </a:lnTo>
                    <a:lnTo>
                      <a:pt x="57" y="4"/>
                    </a:lnTo>
                    <a:lnTo>
                      <a:pt x="59" y="5"/>
                    </a:lnTo>
                    <a:lnTo>
                      <a:pt x="61" y="5"/>
                    </a:lnTo>
                    <a:lnTo>
                      <a:pt x="63" y="5"/>
                    </a:lnTo>
                    <a:lnTo>
                      <a:pt x="64" y="5"/>
                    </a:lnTo>
                    <a:lnTo>
                      <a:pt x="66" y="5"/>
                    </a:lnTo>
                    <a:lnTo>
                      <a:pt x="66" y="7"/>
                    </a:lnTo>
                    <a:lnTo>
                      <a:pt x="68" y="7"/>
                    </a:lnTo>
                    <a:lnTo>
                      <a:pt x="69" y="7"/>
                    </a:lnTo>
                    <a:lnTo>
                      <a:pt x="71" y="7"/>
                    </a:lnTo>
                    <a:lnTo>
                      <a:pt x="73" y="7"/>
                    </a:lnTo>
                    <a:lnTo>
                      <a:pt x="71" y="5"/>
                    </a:lnTo>
                    <a:lnTo>
                      <a:pt x="71" y="4"/>
                    </a:lnTo>
                    <a:lnTo>
                      <a:pt x="73" y="4"/>
                    </a:lnTo>
                    <a:lnTo>
                      <a:pt x="73" y="2"/>
                    </a:lnTo>
                    <a:lnTo>
                      <a:pt x="74" y="2"/>
                    </a:lnTo>
                    <a:lnTo>
                      <a:pt x="76" y="2"/>
                    </a:lnTo>
                    <a:lnTo>
                      <a:pt x="78" y="2"/>
                    </a:lnTo>
                    <a:lnTo>
                      <a:pt x="80" y="2"/>
                    </a:lnTo>
                    <a:lnTo>
                      <a:pt x="81" y="2"/>
                    </a:lnTo>
                    <a:lnTo>
                      <a:pt x="83" y="0"/>
                    </a:lnTo>
                    <a:lnTo>
                      <a:pt x="85" y="2"/>
                    </a:lnTo>
                    <a:lnTo>
                      <a:pt x="86" y="2"/>
                    </a:lnTo>
                    <a:lnTo>
                      <a:pt x="88" y="2"/>
                    </a:lnTo>
                    <a:lnTo>
                      <a:pt x="90" y="2"/>
                    </a:lnTo>
                    <a:lnTo>
                      <a:pt x="91" y="2"/>
                    </a:lnTo>
                    <a:lnTo>
                      <a:pt x="93" y="2"/>
                    </a:lnTo>
                    <a:lnTo>
                      <a:pt x="93" y="4"/>
                    </a:lnTo>
                    <a:lnTo>
                      <a:pt x="95" y="4"/>
                    </a:lnTo>
                    <a:lnTo>
                      <a:pt x="97" y="4"/>
                    </a:lnTo>
                    <a:lnTo>
                      <a:pt x="98" y="4"/>
                    </a:lnTo>
                    <a:lnTo>
                      <a:pt x="100" y="5"/>
                    </a:lnTo>
                    <a:lnTo>
                      <a:pt x="102" y="5"/>
                    </a:lnTo>
                    <a:lnTo>
                      <a:pt x="103" y="5"/>
                    </a:lnTo>
                    <a:lnTo>
                      <a:pt x="102" y="4"/>
                    </a:lnTo>
                    <a:lnTo>
                      <a:pt x="100" y="4"/>
                    </a:lnTo>
                    <a:lnTo>
                      <a:pt x="98" y="4"/>
                    </a:lnTo>
                    <a:lnTo>
                      <a:pt x="98" y="2"/>
                    </a:lnTo>
                    <a:lnTo>
                      <a:pt x="100" y="2"/>
                    </a:lnTo>
                    <a:lnTo>
                      <a:pt x="102" y="2"/>
                    </a:lnTo>
                    <a:lnTo>
                      <a:pt x="103" y="0"/>
                    </a:lnTo>
                    <a:lnTo>
                      <a:pt x="103" y="2"/>
                    </a:lnTo>
                    <a:lnTo>
                      <a:pt x="105" y="2"/>
                    </a:lnTo>
                    <a:lnTo>
                      <a:pt x="107" y="2"/>
                    </a:lnTo>
                    <a:lnTo>
                      <a:pt x="108" y="2"/>
                    </a:lnTo>
                    <a:lnTo>
                      <a:pt x="110" y="2"/>
                    </a:lnTo>
                    <a:lnTo>
                      <a:pt x="112" y="2"/>
                    </a:lnTo>
                    <a:lnTo>
                      <a:pt x="114" y="2"/>
                    </a:lnTo>
                    <a:lnTo>
                      <a:pt x="115" y="2"/>
                    </a:lnTo>
                    <a:lnTo>
                      <a:pt x="117" y="2"/>
                    </a:lnTo>
                    <a:lnTo>
                      <a:pt x="119" y="2"/>
                    </a:lnTo>
                    <a:lnTo>
                      <a:pt x="120" y="2"/>
                    </a:lnTo>
                    <a:lnTo>
                      <a:pt x="120" y="4"/>
                    </a:lnTo>
                    <a:lnTo>
                      <a:pt x="122" y="4"/>
                    </a:lnTo>
                    <a:lnTo>
                      <a:pt x="124" y="4"/>
                    </a:lnTo>
                    <a:lnTo>
                      <a:pt x="125" y="4"/>
                    </a:lnTo>
                    <a:lnTo>
                      <a:pt x="127" y="4"/>
                    </a:lnTo>
                    <a:lnTo>
                      <a:pt x="129" y="4"/>
                    </a:lnTo>
                    <a:lnTo>
                      <a:pt x="129" y="5"/>
                    </a:lnTo>
                    <a:lnTo>
                      <a:pt x="131" y="5"/>
                    </a:lnTo>
                    <a:lnTo>
                      <a:pt x="132" y="5"/>
                    </a:lnTo>
                    <a:lnTo>
                      <a:pt x="134" y="5"/>
                    </a:lnTo>
                    <a:lnTo>
                      <a:pt x="136" y="5"/>
                    </a:lnTo>
                    <a:lnTo>
                      <a:pt x="136" y="7"/>
                    </a:lnTo>
                    <a:lnTo>
                      <a:pt x="137" y="7"/>
                    </a:lnTo>
                    <a:lnTo>
                      <a:pt x="137" y="9"/>
                    </a:lnTo>
                    <a:lnTo>
                      <a:pt x="137" y="10"/>
                    </a:lnTo>
                    <a:close/>
                    <a:moveTo>
                      <a:pt x="32" y="9"/>
                    </a:moveTo>
                    <a:lnTo>
                      <a:pt x="32" y="7"/>
                    </a:lnTo>
                    <a:lnTo>
                      <a:pt x="32" y="5"/>
                    </a:lnTo>
                    <a:lnTo>
                      <a:pt x="34" y="4"/>
                    </a:lnTo>
                    <a:lnTo>
                      <a:pt x="34" y="5"/>
                    </a:lnTo>
                    <a:lnTo>
                      <a:pt x="32" y="7"/>
                    </a:lnTo>
                    <a:lnTo>
                      <a:pt x="32" y="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7" name="Freeform 55">
                <a:extLst>
                  <a:ext uri="{FF2B5EF4-FFF2-40B4-BE49-F238E27FC236}">
                    <a16:creationId xmlns:a16="http://schemas.microsoft.com/office/drawing/2014/main" id="{058881AD-BEFA-0335-69BF-A8B5B4DEA6FC}"/>
                  </a:ext>
                </a:extLst>
              </p:cNvPr>
              <p:cNvSpPr>
                <a:spLocks noEditPoints="1"/>
              </p:cNvSpPr>
              <p:nvPr/>
            </p:nvSpPr>
            <p:spPr bwMode="auto">
              <a:xfrm>
                <a:off x="5764341" y="2833458"/>
                <a:ext cx="13512" cy="12925"/>
              </a:xfrm>
              <a:custGeom>
                <a:avLst/>
                <a:gdLst>
                  <a:gd name="T0" fmla="*/ 34 w 46"/>
                  <a:gd name="T1" fmla="*/ 17 h 44"/>
                  <a:gd name="T2" fmla="*/ 33 w 46"/>
                  <a:gd name="T3" fmla="*/ 21 h 44"/>
                  <a:gd name="T4" fmla="*/ 29 w 46"/>
                  <a:gd name="T5" fmla="*/ 22 h 44"/>
                  <a:gd name="T6" fmla="*/ 31 w 46"/>
                  <a:gd name="T7" fmla="*/ 26 h 44"/>
                  <a:gd name="T8" fmla="*/ 29 w 46"/>
                  <a:gd name="T9" fmla="*/ 29 h 44"/>
                  <a:gd name="T10" fmla="*/ 31 w 46"/>
                  <a:gd name="T11" fmla="*/ 32 h 44"/>
                  <a:gd name="T12" fmla="*/ 31 w 46"/>
                  <a:gd name="T13" fmla="*/ 36 h 44"/>
                  <a:gd name="T14" fmla="*/ 31 w 46"/>
                  <a:gd name="T15" fmla="*/ 41 h 44"/>
                  <a:gd name="T16" fmla="*/ 28 w 46"/>
                  <a:gd name="T17" fmla="*/ 43 h 44"/>
                  <a:gd name="T18" fmla="*/ 24 w 46"/>
                  <a:gd name="T19" fmla="*/ 44 h 44"/>
                  <a:gd name="T20" fmla="*/ 23 w 46"/>
                  <a:gd name="T21" fmla="*/ 44 h 44"/>
                  <a:gd name="T22" fmla="*/ 19 w 46"/>
                  <a:gd name="T23" fmla="*/ 44 h 44"/>
                  <a:gd name="T24" fmla="*/ 14 w 46"/>
                  <a:gd name="T25" fmla="*/ 44 h 44"/>
                  <a:gd name="T26" fmla="*/ 9 w 46"/>
                  <a:gd name="T27" fmla="*/ 44 h 44"/>
                  <a:gd name="T28" fmla="*/ 6 w 46"/>
                  <a:gd name="T29" fmla="*/ 43 h 44"/>
                  <a:gd name="T30" fmla="*/ 4 w 46"/>
                  <a:gd name="T31" fmla="*/ 43 h 44"/>
                  <a:gd name="T32" fmla="*/ 0 w 46"/>
                  <a:gd name="T33" fmla="*/ 44 h 44"/>
                  <a:gd name="T34" fmla="*/ 4 w 46"/>
                  <a:gd name="T35" fmla="*/ 43 h 44"/>
                  <a:gd name="T36" fmla="*/ 7 w 46"/>
                  <a:gd name="T37" fmla="*/ 41 h 44"/>
                  <a:gd name="T38" fmla="*/ 9 w 46"/>
                  <a:gd name="T39" fmla="*/ 38 h 44"/>
                  <a:gd name="T40" fmla="*/ 12 w 46"/>
                  <a:gd name="T41" fmla="*/ 38 h 44"/>
                  <a:gd name="T42" fmla="*/ 16 w 46"/>
                  <a:gd name="T43" fmla="*/ 36 h 44"/>
                  <a:gd name="T44" fmla="*/ 14 w 46"/>
                  <a:gd name="T45" fmla="*/ 32 h 44"/>
                  <a:gd name="T46" fmla="*/ 16 w 46"/>
                  <a:gd name="T47" fmla="*/ 27 h 44"/>
                  <a:gd name="T48" fmla="*/ 12 w 46"/>
                  <a:gd name="T49" fmla="*/ 24 h 44"/>
                  <a:gd name="T50" fmla="*/ 9 w 46"/>
                  <a:gd name="T51" fmla="*/ 24 h 44"/>
                  <a:gd name="T52" fmla="*/ 11 w 46"/>
                  <a:gd name="T53" fmla="*/ 21 h 44"/>
                  <a:gd name="T54" fmla="*/ 16 w 46"/>
                  <a:gd name="T55" fmla="*/ 19 h 44"/>
                  <a:gd name="T56" fmla="*/ 19 w 46"/>
                  <a:gd name="T57" fmla="*/ 19 h 44"/>
                  <a:gd name="T58" fmla="*/ 24 w 46"/>
                  <a:gd name="T59" fmla="*/ 19 h 44"/>
                  <a:gd name="T60" fmla="*/ 29 w 46"/>
                  <a:gd name="T61" fmla="*/ 17 h 44"/>
                  <a:gd name="T62" fmla="*/ 46 w 46"/>
                  <a:gd name="T63" fmla="*/ 2 h 44"/>
                  <a:gd name="T64" fmla="*/ 45 w 46"/>
                  <a:gd name="T65" fmla="*/ 5 h 44"/>
                  <a:gd name="T66" fmla="*/ 41 w 46"/>
                  <a:gd name="T67" fmla="*/ 7 h 44"/>
                  <a:gd name="T68" fmla="*/ 38 w 46"/>
                  <a:gd name="T69" fmla="*/ 7 h 44"/>
                  <a:gd name="T70" fmla="*/ 38 w 46"/>
                  <a:gd name="T71" fmla="*/ 7 h 44"/>
                  <a:gd name="T72" fmla="*/ 38 w 46"/>
                  <a:gd name="T73" fmla="*/ 4 h 44"/>
                  <a:gd name="T74" fmla="*/ 41 w 46"/>
                  <a:gd name="T75" fmla="*/ 2 h 44"/>
                  <a:gd name="T76" fmla="*/ 45 w 46"/>
                  <a:gd name="T77" fmla="*/ 0 h 44"/>
                  <a:gd name="T78" fmla="*/ 7 w 46"/>
                  <a:gd name="T79" fmla="*/ 22 h 44"/>
                  <a:gd name="T80" fmla="*/ 6 w 46"/>
                  <a:gd name="T81" fmla="*/ 22 h 44"/>
                  <a:gd name="T82" fmla="*/ 6 w 46"/>
                  <a:gd name="T83"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6" h="44">
                    <a:moveTo>
                      <a:pt x="31" y="17"/>
                    </a:moveTo>
                    <a:lnTo>
                      <a:pt x="33" y="17"/>
                    </a:lnTo>
                    <a:lnTo>
                      <a:pt x="34" y="17"/>
                    </a:lnTo>
                    <a:lnTo>
                      <a:pt x="34" y="19"/>
                    </a:lnTo>
                    <a:lnTo>
                      <a:pt x="33" y="19"/>
                    </a:lnTo>
                    <a:lnTo>
                      <a:pt x="33" y="21"/>
                    </a:lnTo>
                    <a:lnTo>
                      <a:pt x="31" y="21"/>
                    </a:lnTo>
                    <a:lnTo>
                      <a:pt x="31" y="22"/>
                    </a:lnTo>
                    <a:lnTo>
                      <a:pt x="29" y="22"/>
                    </a:lnTo>
                    <a:lnTo>
                      <a:pt x="29" y="24"/>
                    </a:lnTo>
                    <a:lnTo>
                      <a:pt x="29" y="26"/>
                    </a:lnTo>
                    <a:lnTo>
                      <a:pt x="31" y="26"/>
                    </a:lnTo>
                    <a:lnTo>
                      <a:pt x="31" y="27"/>
                    </a:lnTo>
                    <a:lnTo>
                      <a:pt x="31" y="29"/>
                    </a:lnTo>
                    <a:lnTo>
                      <a:pt x="29" y="29"/>
                    </a:lnTo>
                    <a:lnTo>
                      <a:pt x="29" y="31"/>
                    </a:lnTo>
                    <a:lnTo>
                      <a:pt x="29" y="32"/>
                    </a:lnTo>
                    <a:lnTo>
                      <a:pt x="31" y="32"/>
                    </a:lnTo>
                    <a:lnTo>
                      <a:pt x="31" y="34"/>
                    </a:lnTo>
                    <a:lnTo>
                      <a:pt x="33" y="34"/>
                    </a:lnTo>
                    <a:lnTo>
                      <a:pt x="31" y="36"/>
                    </a:lnTo>
                    <a:lnTo>
                      <a:pt x="31" y="38"/>
                    </a:lnTo>
                    <a:lnTo>
                      <a:pt x="31" y="39"/>
                    </a:lnTo>
                    <a:lnTo>
                      <a:pt x="31" y="41"/>
                    </a:lnTo>
                    <a:lnTo>
                      <a:pt x="29" y="41"/>
                    </a:lnTo>
                    <a:lnTo>
                      <a:pt x="29" y="43"/>
                    </a:lnTo>
                    <a:lnTo>
                      <a:pt x="28" y="43"/>
                    </a:lnTo>
                    <a:lnTo>
                      <a:pt x="26" y="43"/>
                    </a:lnTo>
                    <a:lnTo>
                      <a:pt x="26" y="44"/>
                    </a:lnTo>
                    <a:lnTo>
                      <a:pt x="24" y="44"/>
                    </a:lnTo>
                    <a:lnTo>
                      <a:pt x="23" y="44"/>
                    </a:lnTo>
                    <a:lnTo>
                      <a:pt x="23" y="43"/>
                    </a:lnTo>
                    <a:lnTo>
                      <a:pt x="23" y="44"/>
                    </a:lnTo>
                    <a:lnTo>
                      <a:pt x="21" y="43"/>
                    </a:lnTo>
                    <a:lnTo>
                      <a:pt x="21" y="44"/>
                    </a:lnTo>
                    <a:lnTo>
                      <a:pt x="19" y="44"/>
                    </a:lnTo>
                    <a:lnTo>
                      <a:pt x="17" y="44"/>
                    </a:lnTo>
                    <a:lnTo>
                      <a:pt x="16" y="44"/>
                    </a:lnTo>
                    <a:lnTo>
                      <a:pt x="14" y="44"/>
                    </a:lnTo>
                    <a:lnTo>
                      <a:pt x="12" y="44"/>
                    </a:lnTo>
                    <a:lnTo>
                      <a:pt x="11" y="44"/>
                    </a:lnTo>
                    <a:lnTo>
                      <a:pt x="9" y="44"/>
                    </a:lnTo>
                    <a:lnTo>
                      <a:pt x="7" y="44"/>
                    </a:lnTo>
                    <a:lnTo>
                      <a:pt x="7" y="43"/>
                    </a:lnTo>
                    <a:lnTo>
                      <a:pt x="6" y="43"/>
                    </a:lnTo>
                    <a:lnTo>
                      <a:pt x="6" y="44"/>
                    </a:lnTo>
                    <a:lnTo>
                      <a:pt x="4" y="44"/>
                    </a:lnTo>
                    <a:lnTo>
                      <a:pt x="4" y="43"/>
                    </a:lnTo>
                    <a:lnTo>
                      <a:pt x="4" y="44"/>
                    </a:lnTo>
                    <a:lnTo>
                      <a:pt x="2" y="44"/>
                    </a:lnTo>
                    <a:lnTo>
                      <a:pt x="0" y="44"/>
                    </a:lnTo>
                    <a:lnTo>
                      <a:pt x="0" y="43"/>
                    </a:lnTo>
                    <a:lnTo>
                      <a:pt x="2" y="43"/>
                    </a:lnTo>
                    <a:lnTo>
                      <a:pt x="4" y="43"/>
                    </a:lnTo>
                    <a:lnTo>
                      <a:pt x="4" y="41"/>
                    </a:lnTo>
                    <a:lnTo>
                      <a:pt x="6" y="41"/>
                    </a:lnTo>
                    <a:lnTo>
                      <a:pt x="7" y="41"/>
                    </a:lnTo>
                    <a:lnTo>
                      <a:pt x="7" y="39"/>
                    </a:lnTo>
                    <a:lnTo>
                      <a:pt x="9" y="39"/>
                    </a:lnTo>
                    <a:lnTo>
                      <a:pt x="9" y="38"/>
                    </a:lnTo>
                    <a:lnTo>
                      <a:pt x="11" y="38"/>
                    </a:lnTo>
                    <a:lnTo>
                      <a:pt x="12" y="39"/>
                    </a:lnTo>
                    <a:lnTo>
                      <a:pt x="12" y="38"/>
                    </a:lnTo>
                    <a:lnTo>
                      <a:pt x="14" y="38"/>
                    </a:lnTo>
                    <a:lnTo>
                      <a:pt x="16" y="38"/>
                    </a:lnTo>
                    <a:lnTo>
                      <a:pt x="16" y="36"/>
                    </a:lnTo>
                    <a:lnTo>
                      <a:pt x="16" y="34"/>
                    </a:lnTo>
                    <a:lnTo>
                      <a:pt x="14" y="34"/>
                    </a:lnTo>
                    <a:lnTo>
                      <a:pt x="14" y="32"/>
                    </a:lnTo>
                    <a:lnTo>
                      <a:pt x="14" y="31"/>
                    </a:lnTo>
                    <a:lnTo>
                      <a:pt x="16" y="29"/>
                    </a:lnTo>
                    <a:lnTo>
                      <a:pt x="16" y="27"/>
                    </a:lnTo>
                    <a:lnTo>
                      <a:pt x="14" y="26"/>
                    </a:lnTo>
                    <a:lnTo>
                      <a:pt x="14" y="24"/>
                    </a:lnTo>
                    <a:lnTo>
                      <a:pt x="12" y="24"/>
                    </a:lnTo>
                    <a:lnTo>
                      <a:pt x="11" y="22"/>
                    </a:lnTo>
                    <a:lnTo>
                      <a:pt x="11" y="24"/>
                    </a:lnTo>
                    <a:lnTo>
                      <a:pt x="9" y="24"/>
                    </a:lnTo>
                    <a:lnTo>
                      <a:pt x="9" y="22"/>
                    </a:lnTo>
                    <a:lnTo>
                      <a:pt x="9" y="21"/>
                    </a:lnTo>
                    <a:lnTo>
                      <a:pt x="11" y="21"/>
                    </a:lnTo>
                    <a:lnTo>
                      <a:pt x="12" y="21"/>
                    </a:lnTo>
                    <a:lnTo>
                      <a:pt x="14" y="21"/>
                    </a:lnTo>
                    <a:lnTo>
                      <a:pt x="16" y="19"/>
                    </a:lnTo>
                    <a:lnTo>
                      <a:pt x="16" y="21"/>
                    </a:lnTo>
                    <a:lnTo>
                      <a:pt x="17" y="19"/>
                    </a:lnTo>
                    <a:lnTo>
                      <a:pt x="19" y="19"/>
                    </a:lnTo>
                    <a:lnTo>
                      <a:pt x="21" y="19"/>
                    </a:lnTo>
                    <a:lnTo>
                      <a:pt x="23" y="19"/>
                    </a:lnTo>
                    <a:lnTo>
                      <a:pt x="24" y="19"/>
                    </a:lnTo>
                    <a:lnTo>
                      <a:pt x="26" y="19"/>
                    </a:lnTo>
                    <a:lnTo>
                      <a:pt x="28" y="19"/>
                    </a:lnTo>
                    <a:lnTo>
                      <a:pt x="29" y="17"/>
                    </a:lnTo>
                    <a:lnTo>
                      <a:pt x="31" y="17"/>
                    </a:lnTo>
                    <a:close/>
                    <a:moveTo>
                      <a:pt x="46" y="0"/>
                    </a:moveTo>
                    <a:lnTo>
                      <a:pt x="46" y="2"/>
                    </a:lnTo>
                    <a:lnTo>
                      <a:pt x="46" y="4"/>
                    </a:lnTo>
                    <a:lnTo>
                      <a:pt x="45" y="4"/>
                    </a:lnTo>
                    <a:lnTo>
                      <a:pt x="45" y="5"/>
                    </a:lnTo>
                    <a:lnTo>
                      <a:pt x="43" y="5"/>
                    </a:lnTo>
                    <a:lnTo>
                      <a:pt x="41" y="5"/>
                    </a:lnTo>
                    <a:lnTo>
                      <a:pt x="41" y="7"/>
                    </a:lnTo>
                    <a:lnTo>
                      <a:pt x="40" y="5"/>
                    </a:lnTo>
                    <a:lnTo>
                      <a:pt x="40" y="7"/>
                    </a:lnTo>
                    <a:lnTo>
                      <a:pt x="38" y="7"/>
                    </a:lnTo>
                    <a:lnTo>
                      <a:pt x="36" y="7"/>
                    </a:lnTo>
                    <a:lnTo>
                      <a:pt x="36" y="5"/>
                    </a:lnTo>
                    <a:lnTo>
                      <a:pt x="38" y="7"/>
                    </a:lnTo>
                    <a:lnTo>
                      <a:pt x="36" y="5"/>
                    </a:lnTo>
                    <a:lnTo>
                      <a:pt x="38" y="5"/>
                    </a:lnTo>
                    <a:lnTo>
                      <a:pt x="38" y="4"/>
                    </a:lnTo>
                    <a:lnTo>
                      <a:pt x="40" y="4"/>
                    </a:lnTo>
                    <a:lnTo>
                      <a:pt x="41" y="4"/>
                    </a:lnTo>
                    <a:lnTo>
                      <a:pt x="41" y="2"/>
                    </a:lnTo>
                    <a:lnTo>
                      <a:pt x="43" y="2"/>
                    </a:lnTo>
                    <a:lnTo>
                      <a:pt x="45" y="2"/>
                    </a:lnTo>
                    <a:lnTo>
                      <a:pt x="45" y="0"/>
                    </a:lnTo>
                    <a:lnTo>
                      <a:pt x="46" y="2"/>
                    </a:lnTo>
                    <a:lnTo>
                      <a:pt x="46" y="0"/>
                    </a:lnTo>
                    <a:close/>
                    <a:moveTo>
                      <a:pt x="7" y="22"/>
                    </a:moveTo>
                    <a:lnTo>
                      <a:pt x="9" y="22"/>
                    </a:lnTo>
                    <a:lnTo>
                      <a:pt x="7" y="22"/>
                    </a:lnTo>
                    <a:close/>
                    <a:moveTo>
                      <a:pt x="6" y="22"/>
                    </a:moveTo>
                    <a:lnTo>
                      <a:pt x="6" y="24"/>
                    </a:lnTo>
                    <a:lnTo>
                      <a:pt x="6" y="22"/>
                    </a:lnTo>
                    <a:close/>
                    <a:moveTo>
                      <a:pt x="6" y="22"/>
                    </a:moveTo>
                    <a:lnTo>
                      <a:pt x="7" y="22"/>
                    </a:lnTo>
                    <a:lnTo>
                      <a:pt x="6" y="2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9" name="Freeform 57">
                <a:extLst>
                  <a:ext uri="{FF2B5EF4-FFF2-40B4-BE49-F238E27FC236}">
                    <a16:creationId xmlns:a16="http://schemas.microsoft.com/office/drawing/2014/main" id="{77F6F645-CED9-0C71-FBF4-B8875F1EEAC5}"/>
                  </a:ext>
                </a:extLst>
              </p:cNvPr>
              <p:cNvSpPr>
                <a:spLocks noEditPoints="1"/>
              </p:cNvSpPr>
              <p:nvPr/>
            </p:nvSpPr>
            <p:spPr bwMode="auto">
              <a:xfrm>
                <a:off x="5798423" y="3260229"/>
                <a:ext cx="53457" cy="57570"/>
              </a:xfrm>
              <a:custGeom>
                <a:avLst/>
                <a:gdLst>
                  <a:gd name="T0" fmla="*/ 167 w 182"/>
                  <a:gd name="T1" fmla="*/ 153 h 196"/>
                  <a:gd name="T2" fmla="*/ 162 w 182"/>
                  <a:gd name="T3" fmla="*/ 163 h 196"/>
                  <a:gd name="T4" fmla="*/ 156 w 182"/>
                  <a:gd name="T5" fmla="*/ 172 h 196"/>
                  <a:gd name="T6" fmla="*/ 146 w 182"/>
                  <a:gd name="T7" fmla="*/ 182 h 196"/>
                  <a:gd name="T8" fmla="*/ 134 w 182"/>
                  <a:gd name="T9" fmla="*/ 187 h 196"/>
                  <a:gd name="T10" fmla="*/ 128 w 182"/>
                  <a:gd name="T11" fmla="*/ 190 h 196"/>
                  <a:gd name="T12" fmla="*/ 117 w 182"/>
                  <a:gd name="T13" fmla="*/ 192 h 196"/>
                  <a:gd name="T14" fmla="*/ 107 w 182"/>
                  <a:gd name="T15" fmla="*/ 192 h 196"/>
                  <a:gd name="T16" fmla="*/ 100 w 182"/>
                  <a:gd name="T17" fmla="*/ 187 h 196"/>
                  <a:gd name="T18" fmla="*/ 87 w 182"/>
                  <a:gd name="T19" fmla="*/ 189 h 196"/>
                  <a:gd name="T20" fmla="*/ 78 w 182"/>
                  <a:gd name="T21" fmla="*/ 192 h 196"/>
                  <a:gd name="T22" fmla="*/ 70 w 182"/>
                  <a:gd name="T23" fmla="*/ 189 h 196"/>
                  <a:gd name="T24" fmla="*/ 63 w 182"/>
                  <a:gd name="T25" fmla="*/ 185 h 196"/>
                  <a:gd name="T26" fmla="*/ 53 w 182"/>
                  <a:gd name="T27" fmla="*/ 180 h 196"/>
                  <a:gd name="T28" fmla="*/ 44 w 182"/>
                  <a:gd name="T29" fmla="*/ 173 h 196"/>
                  <a:gd name="T30" fmla="*/ 32 w 182"/>
                  <a:gd name="T31" fmla="*/ 173 h 196"/>
                  <a:gd name="T32" fmla="*/ 24 w 182"/>
                  <a:gd name="T33" fmla="*/ 173 h 196"/>
                  <a:gd name="T34" fmla="*/ 19 w 182"/>
                  <a:gd name="T35" fmla="*/ 168 h 196"/>
                  <a:gd name="T36" fmla="*/ 9 w 182"/>
                  <a:gd name="T37" fmla="*/ 161 h 196"/>
                  <a:gd name="T38" fmla="*/ 2 w 182"/>
                  <a:gd name="T39" fmla="*/ 151 h 196"/>
                  <a:gd name="T40" fmla="*/ 0 w 182"/>
                  <a:gd name="T41" fmla="*/ 134 h 196"/>
                  <a:gd name="T42" fmla="*/ 5 w 182"/>
                  <a:gd name="T43" fmla="*/ 119 h 196"/>
                  <a:gd name="T44" fmla="*/ 14 w 182"/>
                  <a:gd name="T45" fmla="*/ 112 h 196"/>
                  <a:gd name="T46" fmla="*/ 10 w 182"/>
                  <a:gd name="T47" fmla="*/ 100 h 196"/>
                  <a:gd name="T48" fmla="*/ 10 w 182"/>
                  <a:gd name="T49" fmla="*/ 90 h 196"/>
                  <a:gd name="T50" fmla="*/ 10 w 182"/>
                  <a:gd name="T51" fmla="*/ 82 h 196"/>
                  <a:gd name="T52" fmla="*/ 10 w 182"/>
                  <a:gd name="T53" fmla="*/ 70 h 196"/>
                  <a:gd name="T54" fmla="*/ 17 w 182"/>
                  <a:gd name="T55" fmla="*/ 56 h 196"/>
                  <a:gd name="T56" fmla="*/ 17 w 182"/>
                  <a:gd name="T57" fmla="*/ 48 h 196"/>
                  <a:gd name="T58" fmla="*/ 20 w 182"/>
                  <a:gd name="T59" fmla="*/ 36 h 196"/>
                  <a:gd name="T60" fmla="*/ 22 w 182"/>
                  <a:gd name="T61" fmla="*/ 25 h 196"/>
                  <a:gd name="T62" fmla="*/ 22 w 182"/>
                  <a:gd name="T63" fmla="*/ 13 h 196"/>
                  <a:gd name="T64" fmla="*/ 29 w 182"/>
                  <a:gd name="T65" fmla="*/ 5 h 196"/>
                  <a:gd name="T66" fmla="*/ 34 w 182"/>
                  <a:gd name="T67" fmla="*/ 7 h 196"/>
                  <a:gd name="T68" fmla="*/ 41 w 182"/>
                  <a:gd name="T69" fmla="*/ 7 h 196"/>
                  <a:gd name="T70" fmla="*/ 51 w 182"/>
                  <a:gd name="T71" fmla="*/ 0 h 196"/>
                  <a:gd name="T72" fmla="*/ 61 w 182"/>
                  <a:gd name="T73" fmla="*/ 5 h 196"/>
                  <a:gd name="T74" fmla="*/ 66 w 182"/>
                  <a:gd name="T75" fmla="*/ 10 h 196"/>
                  <a:gd name="T76" fmla="*/ 70 w 182"/>
                  <a:gd name="T77" fmla="*/ 15 h 196"/>
                  <a:gd name="T78" fmla="*/ 77 w 182"/>
                  <a:gd name="T79" fmla="*/ 19 h 196"/>
                  <a:gd name="T80" fmla="*/ 82 w 182"/>
                  <a:gd name="T81" fmla="*/ 25 h 196"/>
                  <a:gd name="T82" fmla="*/ 88 w 182"/>
                  <a:gd name="T83" fmla="*/ 36 h 196"/>
                  <a:gd name="T84" fmla="*/ 95 w 182"/>
                  <a:gd name="T85" fmla="*/ 34 h 196"/>
                  <a:gd name="T86" fmla="*/ 100 w 182"/>
                  <a:gd name="T87" fmla="*/ 32 h 196"/>
                  <a:gd name="T88" fmla="*/ 105 w 182"/>
                  <a:gd name="T89" fmla="*/ 39 h 196"/>
                  <a:gd name="T90" fmla="*/ 109 w 182"/>
                  <a:gd name="T91" fmla="*/ 46 h 196"/>
                  <a:gd name="T92" fmla="*/ 117 w 182"/>
                  <a:gd name="T93" fmla="*/ 48 h 196"/>
                  <a:gd name="T94" fmla="*/ 124 w 182"/>
                  <a:gd name="T95" fmla="*/ 53 h 196"/>
                  <a:gd name="T96" fmla="*/ 134 w 182"/>
                  <a:gd name="T97" fmla="*/ 56 h 196"/>
                  <a:gd name="T98" fmla="*/ 143 w 182"/>
                  <a:gd name="T99" fmla="*/ 68 h 196"/>
                  <a:gd name="T100" fmla="*/ 151 w 182"/>
                  <a:gd name="T101" fmla="*/ 71 h 196"/>
                  <a:gd name="T102" fmla="*/ 158 w 182"/>
                  <a:gd name="T103" fmla="*/ 78 h 196"/>
                  <a:gd name="T104" fmla="*/ 162 w 182"/>
                  <a:gd name="T105" fmla="*/ 85 h 196"/>
                  <a:gd name="T106" fmla="*/ 168 w 182"/>
                  <a:gd name="T107" fmla="*/ 93 h 196"/>
                  <a:gd name="T108" fmla="*/ 175 w 182"/>
                  <a:gd name="T109" fmla="*/ 99 h 196"/>
                  <a:gd name="T110" fmla="*/ 179 w 182"/>
                  <a:gd name="T111" fmla="*/ 105 h 196"/>
                  <a:gd name="T112" fmla="*/ 170 w 182"/>
                  <a:gd name="T113" fmla="*/ 119 h 196"/>
                  <a:gd name="T114" fmla="*/ 168 w 182"/>
                  <a:gd name="T115" fmla="*/ 129 h 196"/>
                  <a:gd name="T116" fmla="*/ 168 w 182"/>
                  <a:gd name="T117" fmla="*/ 143 h 196"/>
                  <a:gd name="T118" fmla="*/ 71 w 182"/>
                  <a:gd name="T119" fmla="*/ 187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2" h="196">
                    <a:moveTo>
                      <a:pt x="172" y="144"/>
                    </a:moveTo>
                    <a:lnTo>
                      <a:pt x="172" y="146"/>
                    </a:lnTo>
                    <a:lnTo>
                      <a:pt x="170" y="146"/>
                    </a:lnTo>
                    <a:lnTo>
                      <a:pt x="170" y="148"/>
                    </a:lnTo>
                    <a:lnTo>
                      <a:pt x="168" y="150"/>
                    </a:lnTo>
                    <a:lnTo>
                      <a:pt x="168" y="151"/>
                    </a:lnTo>
                    <a:lnTo>
                      <a:pt x="168" y="153"/>
                    </a:lnTo>
                    <a:lnTo>
                      <a:pt x="167" y="153"/>
                    </a:lnTo>
                    <a:lnTo>
                      <a:pt x="167" y="155"/>
                    </a:lnTo>
                    <a:lnTo>
                      <a:pt x="167" y="156"/>
                    </a:lnTo>
                    <a:lnTo>
                      <a:pt x="167" y="158"/>
                    </a:lnTo>
                    <a:lnTo>
                      <a:pt x="165" y="158"/>
                    </a:lnTo>
                    <a:lnTo>
                      <a:pt x="163" y="160"/>
                    </a:lnTo>
                    <a:lnTo>
                      <a:pt x="163" y="161"/>
                    </a:lnTo>
                    <a:lnTo>
                      <a:pt x="162" y="161"/>
                    </a:lnTo>
                    <a:lnTo>
                      <a:pt x="162" y="163"/>
                    </a:lnTo>
                    <a:lnTo>
                      <a:pt x="160" y="163"/>
                    </a:lnTo>
                    <a:lnTo>
                      <a:pt x="160" y="165"/>
                    </a:lnTo>
                    <a:lnTo>
                      <a:pt x="158" y="167"/>
                    </a:lnTo>
                    <a:lnTo>
                      <a:pt x="158" y="168"/>
                    </a:lnTo>
                    <a:lnTo>
                      <a:pt x="160" y="170"/>
                    </a:lnTo>
                    <a:lnTo>
                      <a:pt x="158" y="170"/>
                    </a:lnTo>
                    <a:lnTo>
                      <a:pt x="158" y="172"/>
                    </a:lnTo>
                    <a:lnTo>
                      <a:pt x="156" y="172"/>
                    </a:lnTo>
                    <a:lnTo>
                      <a:pt x="155" y="173"/>
                    </a:lnTo>
                    <a:lnTo>
                      <a:pt x="153" y="173"/>
                    </a:lnTo>
                    <a:lnTo>
                      <a:pt x="151" y="175"/>
                    </a:lnTo>
                    <a:lnTo>
                      <a:pt x="150" y="177"/>
                    </a:lnTo>
                    <a:lnTo>
                      <a:pt x="148" y="178"/>
                    </a:lnTo>
                    <a:lnTo>
                      <a:pt x="148" y="180"/>
                    </a:lnTo>
                    <a:lnTo>
                      <a:pt x="146" y="180"/>
                    </a:lnTo>
                    <a:lnTo>
                      <a:pt x="146" y="182"/>
                    </a:lnTo>
                    <a:lnTo>
                      <a:pt x="145" y="182"/>
                    </a:lnTo>
                    <a:lnTo>
                      <a:pt x="143" y="182"/>
                    </a:lnTo>
                    <a:lnTo>
                      <a:pt x="141" y="184"/>
                    </a:lnTo>
                    <a:lnTo>
                      <a:pt x="139" y="184"/>
                    </a:lnTo>
                    <a:lnTo>
                      <a:pt x="139" y="185"/>
                    </a:lnTo>
                    <a:lnTo>
                      <a:pt x="138" y="185"/>
                    </a:lnTo>
                    <a:lnTo>
                      <a:pt x="136" y="185"/>
                    </a:lnTo>
                    <a:lnTo>
                      <a:pt x="134" y="187"/>
                    </a:lnTo>
                    <a:lnTo>
                      <a:pt x="133" y="187"/>
                    </a:lnTo>
                    <a:lnTo>
                      <a:pt x="133" y="189"/>
                    </a:lnTo>
                    <a:lnTo>
                      <a:pt x="131" y="189"/>
                    </a:lnTo>
                    <a:lnTo>
                      <a:pt x="129" y="189"/>
                    </a:lnTo>
                    <a:lnTo>
                      <a:pt x="129" y="190"/>
                    </a:lnTo>
                    <a:lnTo>
                      <a:pt x="129" y="189"/>
                    </a:lnTo>
                    <a:lnTo>
                      <a:pt x="129" y="190"/>
                    </a:lnTo>
                    <a:lnTo>
                      <a:pt x="128" y="190"/>
                    </a:lnTo>
                    <a:lnTo>
                      <a:pt x="126" y="190"/>
                    </a:lnTo>
                    <a:lnTo>
                      <a:pt x="124" y="192"/>
                    </a:lnTo>
                    <a:lnTo>
                      <a:pt x="122" y="192"/>
                    </a:lnTo>
                    <a:lnTo>
                      <a:pt x="121" y="194"/>
                    </a:lnTo>
                    <a:lnTo>
                      <a:pt x="119" y="196"/>
                    </a:lnTo>
                    <a:lnTo>
                      <a:pt x="119" y="194"/>
                    </a:lnTo>
                    <a:lnTo>
                      <a:pt x="119" y="192"/>
                    </a:lnTo>
                    <a:lnTo>
                      <a:pt x="117" y="192"/>
                    </a:lnTo>
                    <a:lnTo>
                      <a:pt x="116" y="192"/>
                    </a:lnTo>
                    <a:lnTo>
                      <a:pt x="116" y="190"/>
                    </a:lnTo>
                    <a:lnTo>
                      <a:pt x="114" y="190"/>
                    </a:lnTo>
                    <a:lnTo>
                      <a:pt x="112" y="190"/>
                    </a:lnTo>
                    <a:lnTo>
                      <a:pt x="112" y="192"/>
                    </a:lnTo>
                    <a:lnTo>
                      <a:pt x="111" y="192"/>
                    </a:lnTo>
                    <a:lnTo>
                      <a:pt x="109" y="192"/>
                    </a:lnTo>
                    <a:lnTo>
                      <a:pt x="107" y="192"/>
                    </a:lnTo>
                    <a:lnTo>
                      <a:pt x="109" y="190"/>
                    </a:lnTo>
                    <a:lnTo>
                      <a:pt x="107" y="190"/>
                    </a:lnTo>
                    <a:lnTo>
                      <a:pt x="107" y="189"/>
                    </a:lnTo>
                    <a:lnTo>
                      <a:pt x="105" y="189"/>
                    </a:lnTo>
                    <a:lnTo>
                      <a:pt x="104" y="189"/>
                    </a:lnTo>
                    <a:lnTo>
                      <a:pt x="104" y="187"/>
                    </a:lnTo>
                    <a:lnTo>
                      <a:pt x="102" y="187"/>
                    </a:lnTo>
                    <a:lnTo>
                      <a:pt x="100" y="187"/>
                    </a:lnTo>
                    <a:lnTo>
                      <a:pt x="99" y="187"/>
                    </a:lnTo>
                    <a:lnTo>
                      <a:pt x="97" y="187"/>
                    </a:lnTo>
                    <a:lnTo>
                      <a:pt x="95" y="187"/>
                    </a:lnTo>
                    <a:lnTo>
                      <a:pt x="94" y="187"/>
                    </a:lnTo>
                    <a:lnTo>
                      <a:pt x="92" y="187"/>
                    </a:lnTo>
                    <a:lnTo>
                      <a:pt x="90" y="187"/>
                    </a:lnTo>
                    <a:lnTo>
                      <a:pt x="88" y="187"/>
                    </a:lnTo>
                    <a:lnTo>
                      <a:pt x="87" y="189"/>
                    </a:lnTo>
                    <a:lnTo>
                      <a:pt x="85" y="189"/>
                    </a:lnTo>
                    <a:lnTo>
                      <a:pt x="85" y="190"/>
                    </a:lnTo>
                    <a:lnTo>
                      <a:pt x="83" y="190"/>
                    </a:lnTo>
                    <a:lnTo>
                      <a:pt x="82" y="192"/>
                    </a:lnTo>
                    <a:lnTo>
                      <a:pt x="80" y="192"/>
                    </a:lnTo>
                    <a:lnTo>
                      <a:pt x="78" y="192"/>
                    </a:lnTo>
                    <a:lnTo>
                      <a:pt x="78" y="194"/>
                    </a:lnTo>
                    <a:lnTo>
                      <a:pt x="78" y="192"/>
                    </a:lnTo>
                    <a:lnTo>
                      <a:pt x="77" y="192"/>
                    </a:lnTo>
                    <a:lnTo>
                      <a:pt x="77" y="190"/>
                    </a:lnTo>
                    <a:lnTo>
                      <a:pt x="75" y="190"/>
                    </a:lnTo>
                    <a:lnTo>
                      <a:pt x="75" y="192"/>
                    </a:lnTo>
                    <a:lnTo>
                      <a:pt x="73" y="192"/>
                    </a:lnTo>
                    <a:lnTo>
                      <a:pt x="71" y="190"/>
                    </a:lnTo>
                    <a:lnTo>
                      <a:pt x="70" y="190"/>
                    </a:lnTo>
                    <a:lnTo>
                      <a:pt x="70" y="189"/>
                    </a:lnTo>
                    <a:lnTo>
                      <a:pt x="71" y="187"/>
                    </a:lnTo>
                    <a:lnTo>
                      <a:pt x="70" y="187"/>
                    </a:lnTo>
                    <a:lnTo>
                      <a:pt x="70" y="185"/>
                    </a:lnTo>
                    <a:lnTo>
                      <a:pt x="68" y="185"/>
                    </a:lnTo>
                    <a:lnTo>
                      <a:pt x="66" y="185"/>
                    </a:lnTo>
                    <a:lnTo>
                      <a:pt x="65" y="187"/>
                    </a:lnTo>
                    <a:lnTo>
                      <a:pt x="65" y="185"/>
                    </a:lnTo>
                    <a:lnTo>
                      <a:pt x="63" y="185"/>
                    </a:lnTo>
                    <a:lnTo>
                      <a:pt x="61" y="185"/>
                    </a:lnTo>
                    <a:lnTo>
                      <a:pt x="61" y="184"/>
                    </a:lnTo>
                    <a:lnTo>
                      <a:pt x="60" y="184"/>
                    </a:lnTo>
                    <a:lnTo>
                      <a:pt x="58" y="184"/>
                    </a:lnTo>
                    <a:lnTo>
                      <a:pt x="56" y="184"/>
                    </a:lnTo>
                    <a:lnTo>
                      <a:pt x="54" y="182"/>
                    </a:lnTo>
                    <a:lnTo>
                      <a:pt x="53" y="182"/>
                    </a:lnTo>
                    <a:lnTo>
                      <a:pt x="53" y="180"/>
                    </a:lnTo>
                    <a:lnTo>
                      <a:pt x="51" y="180"/>
                    </a:lnTo>
                    <a:lnTo>
                      <a:pt x="51" y="178"/>
                    </a:lnTo>
                    <a:lnTo>
                      <a:pt x="49" y="177"/>
                    </a:lnTo>
                    <a:lnTo>
                      <a:pt x="48" y="177"/>
                    </a:lnTo>
                    <a:lnTo>
                      <a:pt x="48" y="175"/>
                    </a:lnTo>
                    <a:lnTo>
                      <a:pt x="46" y="175"/>
                    </a:lnTo>
                    <a:lnTo>
                      <a:pt x="46" y="173"/>
                    </a:lnTo>
                    <a:lnTo>
                      <a:pt x="44" y="173"/>
                    </a:lnTo>
                    <a:lnTo>
                      <a:pt x="43" y="173"/>
                    </a:lnTo>
                    <a:lnTo>
                      <a:pt x="41" y="173"/>
                    </a:lnTo>
                    <a:lnTo>
                      <a:pt x="39" y="173"/>
                    </a:lnTo>
                    <a:lnTo>
                      <a:pt x="37" y="173"/>
                    </a:lnTo>
                    <a:lnTo>
                      <a:pt x="37" y="172"/>
                    </a:lnTo>
                    <a:lnTo>
                      <a:pt x="36" y="173"/>
                    </a:lnTo>
                    <a:lnTo>
                      <a:pt x="34" y="173"/>
                    </a:lnTo>
                    <a:lnTo>
                      <a:pt x="32" y="173"/>
                    </a:lnTo>
                    <a:lnTo>
                      <a:pt x="31" y="173"/>
                    </a:lnTo>
                    <a:lnTo>
                      <a:pt x="31" y="172"/>
                    </a:lnTo>
                    <a:lnTo>
                      <a:pt x="29" y="173"/>
                    </a:lnTo>
                    <a:lnTo>
                      <a:pt x="27" y="173"/>
                    </a:lnTo>
                    <a:lnTo>
                      <a:pt x="26" y="173"/>
                    </a:lnTo>
                    <a:lnTo>
                      <a:pt x="24" y="173"/>
                    </a:lnTo>
                    <a:lnTo>
                      <a:pt x="24" y="175"/>
                    </a:lnTo>
                    <a:lnTo>
                      <a:pt x="24" y="173"/>
                    </a:lnTo>
                    <a:lnTo>
                      <a:pt x="22" y="175"/>
                    </a:lnTo>
                    <a:lnTo>
                      <a:pt x="20" y="175"/>
                    </a:lnTo>
                    <a:lnTo>
                      <a:pt x="22" y="173"/>
                    </a:lnTo>
                    <a:lnTo>
                      <a:pt x="20" y="173"/>
                    </a:lnTo>
                    <a:lnTo>
                      <a:pt x="20" y="172"/>
                    </a:lnTo>
                    <a:lnTo>
                      <a:pt x="20" y="170"/>
                    </a:lnTo>
                    <a:lnTo>
                      <a:pt x="19" y="170"/>
                    </a:lnTo>
                    <a:lnTo>
                      <a:pt x="19" y="168"/>
                    </a:lnTo>
                    <a:lnTo>
                      <a:pt x="17" y="168"/>
                    </a:lnTo>
                    <a:lnTo>
                      <a:pt x="17" y="167"/>
                    </a:lnTo>
                    <a:lnTo>
                      <a:pt x="15" y="165"/>
                    </a:lnTo>
                    <a:lnTo>
                      <a:pt x="14" y="165"/>
                    </a:lnTo>
                    <a:lnTo>
                      <a:pt x="14" y="163"/>
                    </a:lnTo>
                    <a:lnTo>
                      <a:pt x="12" y="161"/>
                    </a:lnTo>
                    <a:lnTo>
                      <a:pt x="10" y="161"/>
                    </a:lnTo>
                    <a:lnTo>
                      <a:pt x="9" y="161"/>
                    </a:lnTo>
                    <a:lnTo>
                      <a:pt x="9" y="160"/>
                    </a:lnTo>
                    <a:lnTo>
                      <a:pt x="9" y="158"/>
                    </a:lnTo>
                    <a:lnTo>
                      <a:pt x="7" y="156"/>
                    </a:lnTo>
                    <a:lnTo>
                      <a:pt x="7" y="155"/>
                    </a:lnTo>
                    <a:lnTo>
                      <a:pt x="5" y="155"/>
                    </a:lnTo>
                    <a:lnTo>
                      <a:pt x="5" y="153"/>
                    </a:lnTo>
                    <a:lnTo>
                      <a:pt x="3" y="153"/>
                    </a:lnTo>
                    <a:lnTo>
                      <a:pt x="2" y="151"/>
                    </a:lnTo>
                    <a:lnTo>
                      <a:pt x="2" y="150"/>
                    </a:lnTo>
                    <a:lnTo>
                      <a:pt x="2" y="148"/>
                    </a:lnTo>
                    <a:lnTo>
                      <a:pt x="2" y="146"/>
                    </a:lnTo>
                    <a:lnTo>
                      <a:pt x="0" y="144"/>
                    </a:lnTo>
                    <a:lnTo>
                      <a:pt x="0" y="143"/>
                    </a:lnTo>
                    <a:lnTo>
                      <a:pt x="0" y="138"/>
                    </a:lnTo>
                    <a:lnTo>
                      <a:pt x="0" y="136"/>
                    </a:lnTo>
                    <a:lnTo>
                      <a:pt x="0" y="134"/>
                    </a:lnTo>
                    <a:lnTo>
                      <a:pt x="0" y="131"/>
                    </a:lnTo>
                    <a:lnTo>
                      <a:pt x="2" y="129"/>
                    </a:lnTo>
                    <a:lnTo>
                      <a:pt x="2" y="127"/>
                    </a:lnTo>
                    <a:lnTo>
                      <a:pt x="3" y="127"/>
                    </a:lnTo>
                    <a:lnTo>
                      <a:pt x="3" y="126"/>
                    </a:lnTo>
                    <a:lnTo>
                      <a:pt x="3" y="121"/>
                    </a:lnTo>
                    <a:lnTo>
                      <a:pt x="3" y="119"/>
                    </a:lnTo>
                    <a:lnTo>
                      <a:pt x="5" y="119"/>
                    </a:lnTo>
                    <a:lnTo>
                      <a:pt x="7" y="119"/>
                    </a:lnTo>
                    <a:lnTo>
                      <a:pt x="9" y="119"/>
                    </a:lnTo>
                    <a:lnTo>
                      <a:pt x="10" y="117"/>
                    </a:lnTo>
                    <a:lnTo>
                      <a:pt x="12" y="117"/>
                    </a:lnTo>
                    <a:lnTo>
                      <a:pt x="12" y="116"/>
                    </a:lnTo>
                    <a:lnTo>
                      <a:pt x="14" y="116"/>
                    </a:lnTo>
                    <a:lnTo>
                      <a:pt x="14" y="114"/>
                    </a:lnTo>
                    <a:lnTo>
                      <a:pt x="14" y="112"/>
                    </a:lnTo>
                    <a:lnTo>
                      <a:pt x="12" y="110"/>
                    </a:lnTo>
                    <a:lnTo>
                      <a:pt x="12" y="109"/>
                    </a:lnTo>
                    <a:lnTo>
                      <a:pt x="12" y="107"/>
                    </a:lnTo>
                    <a:lnTo>
                      <a:pt x="12" y="105"/>
                    </a:lnTo>
                    <a:lnTo>
                      <a:pt x="12" y="104"/>
                    </a:lnTo>
                    <a:lnTo>
                      <a:pt x="12" y="102"/>
                    </a:lnTo>
                    <a:lnTo>
                      <a:pt x="12" y="100"/>
                    </a:lnTo>
                    <a:lnTo>
                      <a:pt x="10" y="100"/>
                    </a:lnTo>
                    <a:lnTo>
                      <a:pt x="12" y="100"/>
                    </a:lnTo>
                    <a:lnTo>
                      <a:pt x="10" y="99"/>
                    </a:lnTo>
                    <a:lnTo>
                      <a:pt x="10" y="97"/>
                    </a:lnTo>
                    <a:lnTo>
                      <a:pt x="10" y="95"/>
                    </a:lnTo>
                    <a:lnTo>
                      <a:pt x="10" y="93"/>
                    </a:lnTo>
                    <a:lnTo>
                      <a:pt x="9" y="93"/>
                    </a:lnTo>
                    <a:lnTo>
                      <a:pt x="10" y="92"/>
                    </a:lnTo>
                    <a:lnTo>
                      <a:pt x="10" y="90"/>
                    </a:lnTo>
                    <a:lnTo>
                      <a:pt x="10" y="88"/>
                    </a:lnTo>
                    <a:lnTo>
                      <a:pt x="12" y="88"/>
                    </a:lnTo>
                    <a:lnTo>
                      <a:pt x="12" y="87"/>
                    </a:lnTo>
                    <a:lnTo>
                      <a:pt x="14" y="87"/>
                    </a:lnTo>
                    <a:lnTo>
                      <a:pt x="14" y="85"/>
                    </a:lnTo>
                    <a:lnTo>
                      <a:pt x="12" y="85"/>
                    </a:lnTo>
                    <a:lnTo>
                      <a:pt x="12" y="83"/>
                    </a:lnTo>
                    <a:lnTo>
                      <a:pt x="10" y="82"/>
                    </a:lnTo>
                    <a:lnTo>
                      <a:pt x="10" y="80"/>
                    </a:lnTo>
                    <a:lnTo>
                      <a:pt x="10" y="78"/>
                    </a:lnTo>
                    <a:lnTo>
                      <a:pt x="12" y="78"/>
                    </a:lnTo>
                    <a:lnTo>
                      <a:pt x="12" y="76"/>
                    </a:lnTo>
                    <a:lnTo>
                      <a:pt x="12" y="75"/>
                    </a:lnTo>
                    <a:lnTo>
                      <a:pt x="10" y="73"/>
                    </a:lnTo>
                    <a:lnTo>
                      <a:pt x="10" y="71"/>
                    </a:lnTo>
                    <a:lnTo>
                      <a:pt x="10" y="70"/>
                    </a:lnTo>
                    <a:lnTo>
                      <a:pt x="10" y="68"/>
                    </a:lnTo>
                    <a:lnTo>
                      <a:pt x="12" y="68"/>
                    </a:lnTo>
                    <a:lnTo>
                      <a:pt x="14" y="68"/>
                    </a:lnTo>
                    <a:lnTo>
                      <a:pt x="15" y="65"/>
                    </a:lnTo>
                    <a:lnTo>
                      <a:pt x="15" y="63"/>
                    </a:lnTo>
                    <a:lnTo>
                      <a:pt x="17" y="59"/>
                    </a:lnTo>
                    <a:lnTo>
                      <a:pt x="17" y="58"/>
                    </a:lnTo>
                    <a:lnTo>
                      <a:pt x="17" y="56"/>
                    </a:lnTo>
                    <a:lnTo>
                      <a:pt x="15" y="56"/>
                    </a:lnTo>
                    <a:lnTo>
                      <a:pt x="15" y="54"/>
                    </a:lnTo>
                    <a:lnTo>
                      <a:pt x="14" y="54"/>
                    </a:lnTo>
                    <a:lnTo>
                      <a:pt x="14" y="53"/>
                    </a:lnTo>
                    <a:lnTo>
                      <a:pt x="15" y="51"/>
                    </a:lnTo>
                    <a:lnTo>
                      <a:pt x="17" y="51"/>
                    </a:lnTo>
                    <a:lnTo>
                      <a:pt x="17" y="49"/>
                    </a:lnTo>
                    <a:lnTo>
                      <a:pt x="17" y="48"/>
                    </a:lnTo>
                    <a:lnTo>
                      <a:pt x="19" y="46"/>
                    </a:lnTo>
                    <a:lnTo>
                      <a:pt x="19" y="44"/>
                    </a:lnTo>
                    <a:lnTo>
                      <a:pt x="19" y="42"/>
                    </a:lnTo>
                    <a:lnTo>
                      <a:pt x="19" y="41"/>
                    </a:lnTo>
                    <a:lnTo>
                      <a:pt x="19" y="39"/>
                    </a:lnTo>
                    <a:lnTo>
                      <a:pt x="20" y="39"/>
                    </a:lnTo>
                    <a:lnTo>
                      <a:pt x="20" y="37"/>
                    </a:lnTo>
                    <a:lnTo>
                      <a:pt x="20" y="36"/>
                    </a:lnTo>
                    <a:lnTo>
                      <a:pt x="20" y="34"/>
                    </a:lnTo>
                    <a:lnTo>
                      <a:pt x="19" y="34"/>
                    </a:lnTo>
                    <a:lnTo>
                      <a:pt x="19" y="32"/>
                    </a:lnTo>
                    <a:lnTo>
                      <a:pt x="20" y="32"/>
                    </a:lnTo>
                    <a:lnTo>
                      <a:pt x="22" y="32"/>
                    </a:lnTo>
                    <a:lnTo>
                      <a:pt x="22" y="31"/>
                    </a:lnTo>
                    <a:lnTo>
                      <a:pt x="22" y="27"/>
                    </a:lnTo>
                    <a:lnTo>
                      <a:pt x="22" y="25"/>
                    </a:lnTo>
                    <a:lnTo>
                      <a:pt x="22" y="24"/>
                    </a:lnTo>
                    <a:lnTo>
                      <a:pt x="22" y="22"/>
                    </a:lnTo>
                    <a:lnTo>
                      <a:pt x="22" y="20"/>
                    </a:lnTo>
                    <a:lnTo>
                      <a:pt x="20" y="19"/>
                    </a:lnTo>
                    <a:lnTo>
                      <a:pt x="20" y="17"/>
                    </a:lnTo>
                    <a:lnTo>
                      <a:pt x="20" y="15"/>
                    </a:lnTo>
                    <a:lnTo>
                      <a:pt x="20" y="13"/>
                    </a:lnTo>
                    <a:lnTo>
                      <a:pt x="22" y="13"/>
                    </a:lnTo>
                    <a:lnTo>
                      <a:pt x="24" y="13"/>
                    </a:lnTo>
                    <a:lnTo>
                      <a:pt x="24" y="12"/>
                    </a:lnTo>
                    <a:lnTo>
                      <a:pt x="26" y="12"/>
                    </a:lnTo>
                    <a:lnTo>
                      <a:pt x="27" y="10"/>
                    </a:lnTo>
                    <a:lnTo>
                      <a:pt x="29" y="10"/>
                    </a:lnTo>
                    <a:lnTo>
                      <a:pt x="29" y="8"/>
                    </a:lnTo>
                    <a:lnTo>
                      <a:pt x="29" y="7"/>
                    </a:lnTo>
                    <a:lnTo>
                      <a:pt x="29" y="5"/>
                    </a:lnTo>
                    <a:lnTo>
                      <a:pt x="29" y="3"/>
                    </a:lnTo>
                    <a:lnTo>
                      <a:pt x="27" y="3"/>
                    </a:lnTo>
                    <a:lnTo>
                      <a:pt x="29" y="3"/>
                    </a:lnTo>
                    <a:lnTo>
                      <a:pt x="31" y="3"/>
                    </a:lnTo>
                    <a:lnTo>
                      <a:pt x="31" y="5"/>
                    </a:lnTo>
                    <a:lnTo>
                      <a:pt x="31" y="7"/>
                    </a:lnTo>
                    <a:lnTo>
                      <a:pt x="32" y="7"/>
                    </a:lnTo>
                    <a:lnTo>
                      <a:pt x="34" y="7"/>
                    </a:lnTo>
                    <a:lnTo>
                      <a:pt x="36" y="7"/>
                    </a:lnTo>
                    <a:lnTo>
                      <a:pt x="36" y="8"/>
                    </a:lnTo>
                    <a:lnTo>
                      <a:pt x="37" y="8"/>
                    </a:lnTo>
                    <a:lnTo>
                      <a:pt x="37" y="7"/>
                    </a:lnTo>
                    <a:lnTo>
                      <a:pt x="39" y="7"/>
                    </a:lnTo>
                    <a:lnTo>
                      <a:pt x="39" y="5"/>
                    </a:lnTo>
                    <a:lnTo>
                      <a:pt x="39" y="7"/>
                    </a:lnTo>
                    <a:lnTo>
                      <a:pt x="41" y="7"/>
                    </a:lnTo>
                    <a:lnTo>
                      <a:pt x="43" y="7"/>
                    </a:lnTo>
                    <a:lnTo>
                      <a:pt x="44" y="5"/>
                    </a:lnTo>
                    <a:lnTo>
                      <a:pt x="44" y="3"/>
                    </a:lnTo>
                    <a:lnTo>
                      <a:pt x="46" y="2"/>
                    </a:lnTo>
                    <a:lnTo>
                      <a:pt x="46" y="0"/>
                    </a:lnTo>
                    <a:lnTo>
                      <a:pt x="48" y="0"/>
                    </a:lnTo>
                    <a:lnTo>
                      <a:pt x="49" y="0"/>
                    </a:lnTo>
                    <a:lnTo>
                      <a:pt x="51" y="0"/>
                    </a:lnTo>
                    <a:lnTo>
                      <a:pt x="53" y="0"/>
                    </a:lnTo>
                    <a:lnTo>
                      <a:pt x="54" y="0"/>
                    </a:lnTo>
                    <a:lnTo>
                      <a:pt x="56" y="0"/>
                    </a:lnTo>
                    <a:lnTo>
                      <a:pt x="58" y="0"/>
                    </a:lnTo>
                    <a:lnTo>
                      <a:pt x="58" y="2"/>
                    </a:lnTo>
                    <a:lnTo>
                      <a:pt x="60" y="3"/>
                    </a:lnTo>
                    <a:lnTo>
                      <a:pt x="61" y="3"/>
                    </a:lnTo>
                    <a:lnTo>
                      <a:pt x="61" y="5"/>
                    </a:lnTo>
                    <a:lnTo>
                      <a:pt x="63" y="5"/>
                    </a:lnTo>
                    <a:lnTo>
                      <a:pt x="63" y="7"/>
                    </a:lnTo>
                    <a:lnTo>
                      <a:pt x="65" y="7"/>
                    </a:lnTo>
                    <a:lnTo>
                      <a:pt x="65" y="8"/>
                    </a:lnTo>
                    <a:lnTo>
                      <a:pt x="66" y="8"/>
                    </a:lnTo>
                    <a:lnTo>
                      <a:pt x="65" y="8"/>
                    </a:lnTo>
                    <a:lnTo>
                      <a:pt x="65" y="10"/>
                    </a:lnTo>
                    <a:lnTo>
                      <a:pt x="66" y="10"/>
                    </a:lnTo>
                    <a:lnTo>
                      <a:pt x="66" y="12"/>
                    </a:lnTo>
                    <a:lnTo>
                      <a:pt x="68" y="12"/>
                    </a:lnTo>
                    <a:lnTo>
                      <a:pt x="68" y="10"/>
                    </a:lnTo>
                    <a:lnTo>
                      <a:pt x="68" y="12"/>
                    </a:lnTo>
                    <a:lnTo>
                      <a:pt x="70" y="13"/>
                    </a:lnTo>
                    <a:lnTo>
                      <a:pt x="70" y="12"/>
                    </a:lnTo>
                    <a:lnTo>
                      <a:pt x="70" y="13"/>
                    </a:lnTo>
                    <a:lnTo>
                      <a:pt x="70" y="15"/>
                    </a:lnTo>
                    <a:lnTo>
                      <a:pt x="71" y="15"/>
                    </a:lnTo>
                    <a:lnTo>
                      <a:pt x="73" y="15"/>
                    </a:lnTo>
                    <a:lnTo>
                      <a:pt x="73" y="17"/>
                    </a:lnTo>
                    <a:lnTo>
                      <a:pt x="75" y="17"/>
                    </a:lnTo>
                    <a:lnTo>
                      <a:pt x="75" y="19"/>
                    </a:lnTo>
                    <a:lnTo>
                      <a:pt x="77" y="19"/>
                    </a:lnTo>
                    <a:lnTo>
                      <a:pt x="77" y="20"/>
                    </a:lnTo>
                    <a:lnTo>
                      <a:pt x="77" y="19"/>
                    </a:lnTo>
                    <a:lnTo>
                      <a:pt x="78" y="20"/>
                    </a:lnTo>
                    <a:lnTo>
                      <a:pt x="78" y="22"/>
                    </a:lnTo>
                    <a:lnTo>
                      <a:pt x="78" y="24"/>
                    </a:lnTo>
                    <a:lnTo>
                      <a:pt x="80" y="24"/>
                    </a:lnTo>
                    <a:lnTo>
                      <a:pt x="80" y="25"/>
                    </a:lnTo>
                    <a:lnTo>
                      <a:pt x="80" y="24"/>
                    </a:lnTo>
                    <a:lnTo>
                      <a:pt x="80" y="25"/>
                    </a:lnTo>
                    <a:lnTo>
                      <a:pt x="82" y="25"/>
                    </a:lnTo>
                    <a:lnTo>
                      <a:pt x="83" y="27"/>
                    </a:lnTo>
                    <a:lnTo>
                      <a:pt x="83" y="29"/>
                    </a:lnTo>
                    <a:lnTo>
                      <a:pt x="85" y="31"/>
                    </a:lnTo>
                    <a:lnTo>
                      <a:pt x="85" y="32"/>
                    </a:lnTo>
                    <a:lnTo>
                      <a:pt x="87" y="32"/>
                    </a:lnTo>
                    <a:lnTo>
                      <a:pt x="87" y="34"/>
                    </a:lnTo>
                    <a:lnTo>
                      <a:pt x="88" y="34"/>
                    </a:lnTo>
                    <a:lnTo>
                      <a:pt x="88" y="36"/>
                    </a:lnTo>
                    <a:lnTo>
                      <a:pt x="90" y="36"/>
                    </a:lnTo>
                    <a:lnTo>
                      <a:pt x="92" y="36"/>
                    </a:lnTo>
                    <a:lnTo>
                      <a:pt x="92" y="34"/>
                    </a:lnTo>
                    <a:lnTo>
                      <a:pt x="94" y="34"/>
                    </a:lnTo>
                    <a:lnTo>
                      <a:pt x="94" y="32"/>
                    </a:lnTo>
                    <a:lnTo>
                      <a:pt x="94" y="34"/>
                    </a:lnTo>
                    <a:lnTo>
                      <a:pt x="94" y="32"/>
                    </a:lnTo>
                    <a:lnTo>
                      <a:pt x="95" y="34"/>
                    </a:lnTo>
                    <a:lnTo>
                      <a:pt x="95" y="32"/>
                    </a:lnTo>
                    <a:lnTo>
                      <a:pt x="95" y="31"/>
                    </a:lnTo>
                    <a:lnTo>
                      <a:pt x="95" y="29"/>
                    </a:lnTo>
                    <a:lnTo>
                      <a:pt x="97" y="29"/>
                    </a:lnTo>
                    <a:lnTo>
                      <a:pt x="99" y="29"/>
                    </a:lnTo>
                    <a:lnTo>
                      <a:pt x="99" y="31"/>
                    </a:lnTo>
                    <a:lnTo>
                      <a:pt x="100" y="31"/>
                    </a:lnTo>
                    <a:lnTo>
                      <a:pt x="100" y="32"/>
                    </a:lnTo>
                    <a:lnTo>
                      <a:pt x="102" y="32"/>
                    </a:lnTo>
                    <a:lnTo>
                      <a:pt x="102" y="34"/>
                    </a:lnTo>
                    <a:lnTo>
                      <a:pt x="104" y="34"/>
                    </a:lnTo>
                    <a:lnTo>
                      <a:pt x="102" y="36"/>
                    </a:lnTo>
                    <a:lnTo>
                      <a:pt x="104" y="36"/>
                    </a:lnTo>
                    <a:lnTo>
                      <a:pt x="105" y="36"/>
                    </a:lnTo>
                    <a:lnTo>
                      <a:pt x="105" y="37"/>
                    </a:lnTo>
                    <a:lnTo>
                      <a:pt x="105" y="39"/>
                    </a:lnTo>
                    <a:lnTo>
                      <a:pt x="107" y="39"/>
                    </a:lnTo>
                    <a:lnTo>
                      <a:pt x="105" y="41"/>
                    </a:lnTo>
                    <a:lnTo>
                      <a:pt x="107" y="41"/>
                    </a:lnTo>
                    <a:lnTo>
                      <a:pt x="109" y="42"/>
                    </a:lnTo>
                    <a:lnTo>
                      <a:pt x="107" y="42"/>
                    </a:lnTo>
                    <a:lnTo>
                      <a:pt x="109" y="42"/>
                    </a:lnTo>
                    <a:lnTo>
                      <a:pt x="109" y="44"/>
                    </a:lnTo>
                    <a:lnTo>
                      <a:pt x="109" y="46"/>
                    </a:lnTo>
                    <a:lnTo>
                      <a:pt x="111" y="46"/>
                    </a:lnTo>
                    <a:lnTo>
                      <a:pt x="112" y="46"/>
                    </a:lnTo>
                    <a:lnTo>
                      <a:pt x="112" y="48"/>
                    </a:lnTo>
                    <a:lnTo>
                      <a:pt x="114" y="48"/>
                    </a:lnTo>
                    <a:lnTo>
                      <a:pt x="116" y="48"/>
                    </a:lnTo>
                    <a:lnTo>
                      <a:pt x="116" y="46"/>
                    </a:lnTo>
                    <a:lnTo>
                      <a:pt x="117" y="46"/>
                    </a:lnTo>
                    <a:lnTo>
                      <a:pt x="117" y="48"/>
                    </a:lnTo>
                    <a:lnTo>
                      <a:pt x="119" y="48"/>
                    </a:lnTo>
                    <a:lnTo>
                      <a:pt x="119" y="49"/>
                    </a:lnTo>
                    <a:lnTo>
                      <a:pt x="119" y="51"/>
                    </a:lnTo>
                    <a:lnTo>
                      <a:pt x="121" y="51"/>
                    </a:lnTo>
                    <a:lnTo>
                      <a:pt x="121" y="49"/>
                    </a:lnTo>
                    <a:lnTo>
                      <a:pt x="122" y="51"/>
                    </a:lnTo>
                    <a:lnTo>
                      <a:pt x="122" y="53"/>
                    </a:lnTo>
                    <a:lnTo>
                      <a:pt x="124" y="53"/>
                    </a:lnTo>
                    <a:lnTo>
                      <a:pt x="126" y="53"/>
                    </a:lnTo>
                    <a:lnTo>
                      <a:pt x="126" y="51"/>
                    </a:lnTo>
                    <a:lnTo>
                      <a:pt x="128" y="53"/>
                    </a:lnTo>
                    <a:lnTo>
                      <a:pt x="129" y="53"/>
                    </a:lnTo>
                    <a:lnTo>
                      <a:pt x="131" y="53"/>
                    </a:lnTo>
                    <a:lnTo>
                      <a:pt x="133" y="54"/>
                    </a:lnTo>
                    <a:lnTo>
                      <a:pt x="134" y="54"/>
                    </a:lnTo>
                    <a:lnTo>
                      <a:pt x="134" y="56"/>
                    </a:lnTo>
                    <a:lnTo>
                      <a:pt x="134" y="58"/>
                    </a:lnTo>
                    <a:lnTo>
                      <a:pt x="136" y="58"/>
                    </a:lnTo>
                    <a:lnTo>
                      <a:pt x="136" y="59"/>
                    </a:lnTo>
                    <a:lnTo>
                      <a:pt x="136" y="61"/>
                    </a:lnTo>
                    <a:lnTo>
                      <a:pt x="139" y="65"/>
                    </a:lnTo>
                    <a:lnTo>
                      <a:pt x="141" y="66"/>
                    </a:lnTo>
                    <a:lnTo>
                      <a:pt x="143" y="66"/>
                    </a:lnTo>
                    <a:lnTo>
                      <a:pt x="143" y="68"/>
                    </a:lnTo>
                    <a:lnTo>
                      <a:pt x="145" y="68"/>
                    </a:lnTo>
                    <a:lnTo>
                      <a:pt x="145" y="70"/>
                    </a:lnTo>
                    <a:lnTo>
                      <a:pt x="146" y="70"/>
                    </a:lnTo>
                    <a:lnTo>
                      <a:pt x="146" y="71"/>
                    </a:lnTo>
                    <a:lnTo>
                      <a:pt x="148" y="71"/>
                    </a:lnTo>
                    <a:lnTo>
                      <a:pt x="150" y="71"/>
                    </a:lnTo>
                    <a:lnTo>
                      <a:pt x="150" y="70"/>
                    </a:lnTo>
                    <a:lnTo>
                      <a:pt x="151" y="71"/>
                    </a:lnTo>
                    <a:lnTo>
                      <a:pt x="153" y="71"/>
                    </a:lnTo>
                    <a:lnTo>
                      <a:pt x="151" y="71"/>
                    </a:lnTo>
                    <a:lnTo>
                      <a:pt x="153" y="73"/>
                    </a:lnTo>
                    <a:lnTo>
                      <a:pt x="155" y="73"/>
                    </a:lnTo>
                    <a:lnTo>
                      <a:pt x="155" y="75"/>
                    </a:lnTo>
                    <a:lnTo>
                      <a:pt x="156" y="75"/>
                    </a:lnTo>
                    <a:lnTo>
                      <a:pt x="156" y="76"/>
                    </a:lnTo>
                    <a:lnTo>
                      <a:pt x="158" y="78"/>
                    </a:lnTo>
                    <a:lnTo>
                      <a:pt x="158" y="76"/>
                    </a:lnTo>
                    <a:lnTo>
                      <a:pt x="160" y="78"/>
                    </a:lnTo>
                    <a:lnTo>
                      <a:pt x="160" y="80"/>
                    </a:lnTo>
                    <a:lnTo>
                      <a:pt x="162" y="80"/>
                    </a:lnTo>
                    <a:lnTo>
                      <a:pt x="160" y="82"/>
                    </a:lnTo>
                    <a:lnTo>
                      <a:pt x="162" y="82"/>
                    </a:lnTo>
                    <a:lnTo>
                      <a:pt x="162" y="83"/>
                    </a:lnTo>
                    <a:lnTo>
                      <a:pt x="162" y="85"/>
                    </a:lnTo>
                    <a:lnTo>
                      <a:pt x="163" y="85"/>
                    </a:lnTo>
                    <a:lnTo>
                      <a:pt x="163" y="87"/>
                    </a:lnTo>
                    <a:lnTo>
                      <a:pt x="163" y="88"/>
                    </a:lnTo>
                    <a:lnTo>
                      <a:pt x="163" y="90"/>
                    </a:lnTo>
                    <a:lnTo>
                      <a:pt x="165" y="90"/>
                    </a:lnTo>
                    <a:lnTo>
                      <a:pt x="165" y="92"/>
                    </a:lnTo>
                    <a:lnTo>
                      <a:pt x="167" y="93"/>
                    </a:lnTo>
                    <a:lnTo>
                      <a:pt x="168" y="93"/>
                    </a:lnTo>
                    <a:lnTo>
                      <a:pt x="170" y="93"/>
                    </a:lnTo>
                    <a:lnTo>
                      <a:pt x="170" y="95"/>
                    </a:lnTo>
                    <a:lnTo>
                      <a:pt x="170" y="97"/>
                    </a:lnTo>
                    <a:lnTo>
                      <a:pt x="172" y="97"/>
                    </a:lnTo>
                    <a:lnTo>
                      <a:pt x="172" y="99"/>
                    </a:lnTo>
                    <a:lnTo>
                      <a:pt x="172" y="97"/>
                    </a:lnTo>
                    <a:lnTo>
                      <a:pt x="173" y="99"/>
                    </a:lnTo>
                    <a:lnTo>
                      <a:pt x="175" y="99"/>
                    </a:lnTo>
                    <a:lnTo>
                      <a:pt x="177" y="99"/>
                    </a:lnTo>
                    <a:lnTo>
                      <a:pt x="177" y="100"/>
                    </a:lnTo>
                    <a:lnTo>
                      <a:pt x="179" y="100"/>
                    </a:lnTo>
                    <a:lnTo>
                      <a:pt x="179" y="102"/>
                    </a:lnTo>
                    <a:lnTo>
                      <a:pt x="182" y="104"/>
                    </a:lnTo>
                    <a:lnTo>
                      <a:pt x="180" y="104"/>
                    </a:lnTo>
                    <a:lnTo>
                      <a:pt x="180" y="105"/>
                    </a:lnTo>
                    <a:lnTo>
                      <a:pt x="179" y="105"/>
                    </a:lnTo>
                    <a:lnTo>
                      <a:pt x="177" y="107"/>
                    </a:lnTo>
                    <a:lnTo>
                      <a:pt x="177" y="109"/>
                    </a:lnTo>
                    <a:lnTo>
                      <a:pt x="175" y="109"/>
                    </a:lnTo>
                    <a:lnTo>
                      <a:pt x="175" y="110"/>
                    </a:lnTo>
                    <a:lnTo>
                      <a:pt x="175" y="112"/>
                    </a:lnTo>
                    <a:lnTo>
                      <a:pt x="175" y="114"/>
                    </a:lnTo>
                    <a:lnTo>
                      <a:pt x="173" y="114"/>
                    </a:lnTo>
                    <a:lnTo>
                      <a:pt x="170" y="119"/>
                    </a:lnTo>
                    <a:lnTo>
                      <a:pt x="168" y="119"/>
                    </a:lnTo>
                    <a:lnTo>
                      <a:pt x="168" y="121"/>
                    </a:lnTo>
                    <a:lnTo>
                      <a:pt x="168" y="122"/>
                    </a:lnTo>
                    <a:lnTo>
                      <a:pt x="167" y="122"/>
                    </a:lnTo>
                    <a:lnTo>
                      <a:pt x="167" y="124"/>
                    </a:lnTo>
                    <a:lnTo>
                      <a:pt x="167" y="126"/>
                    </a:lnTo>
                    <a:lnTo>
                      <a:pt x="167" y="127"/>
                    </a:lnTo>
                    <a:lnTo>
                      <a:pt x="168" y="129"/>
                    </a:lnTo>
                    <a:lnTo>
                      <a:pt x="168" y="131"/>
                    </a:lnTo>
                    <a:lnTo>
                      <a:pt x="168" y="134"/>
                    </a:lnTo>
                    <a:lnTo>
                      <a:pt x="167" y="136"/>
                    </a:lnTo>
                    <a:lnTo>
                      <a:pt x="167" y="138"/>
                    </a:lnTo>
                    <a:lnTo>
                      <a:pt x="167" y="139"/>
                    </a:lnTo>
                    <a:lnTo>
                      <a:pt x="167" y="141"/>
                    </a:lnTo>
                    <a:lnTo>
                      <a:pt x="167" y="143"/>
                    </a:lnTo>
                    <a:lnTo>
                      <a:pt x="168" y="143"/>
                    </a:lnTo>
                    <a:lnTo>
                      <a:pt x="170" y="143"/>
                    </a:lnTo>
                    <a:lnTo>
                      <a:pt x="170" y="144"/>
                    </a:lnTo>
                    <a:lnTo>
                      <a:pt x="172" y="144"/>
                    </a:lnTo>
                    <a:close/>
                    <a:moveTo>
                      <a:pt x="3" y="153"/>
                    </a:moveTo>
                    <a:lnTo>
                      <a:pt x="3" y="155"/>
                    </a:lnTo>
                    <a:lnTo>
                      <a:pt x="3" y="153"/>
                    </a:lnTo>
                    <a:close/>
                    <a:moveTo>
                      <a:pt x="70" y="187"/>
                    </a:moveTo>
                    <a:lnTo>
                      <a:pt x="71" y="187"/>
                    </a:lnTo>
                    <a:lnTo>
                      <a:pt x="70" y="187"/>
                    </a:lnTo>
                    <a:close/>
                    <a:moveTo>
                      <a:pt x="5" y="156"/>
                    </a:moveTo>
                    <a:lnTo>
                      <a:pt x="5" y="158"/>
                    </a:lnTo>
                    <a:lnTo>
                      <a:pt x="5" y="156"/>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81" name="Freeform 59">
                <a:extLst>
                  <a:ext uri="{FF2B5EF4-FFF2-40B4-BE49-F238E27FC236}">
                    <a16:creationId xmlns:a16="http://schemas.microsoft.com/office/drawing/2014/main" id="{F09156C3-02AF-7424-2C52-BFDF736C2126}"/>
                  </a:ext>
                </a:extLst>
              </p:cNvPr>
              <p:cNvSpPr>
                <a:spLocks noEditPoints="1"/>
              </p:cNvSpPr>
              <p:nvPr/>
            </p:nvSpPr>
            <p:spPr bwMode="auto">
              <a:xfrm>
                <a:off x="5651260" y="2824952"/>
                <a:ext cx="134228" cy="115431"/>
              </a:xfrm>
              <a:custGeom>
                <a:avLst/>
                <a:gdLst>
                  <a:gd name="T0" fmla="*/ 428 w 457"/>
                  <a:gd name="T1" fmla="*/ 157 h 393"/>
                  <a:gd name="T2" fmla="*/ 433 w 457"/>
                  <a:gd name="T3" fmla="*/ 181 h 393"/>
                  <a:gd name="T4" fmla="*/ 409 w 457"/>
                  <a:gd name="T5" fmla="*/ 194 h 393"/>
                  <a:gd name="T6" fmla="*/ 426 w 457"/>
                  <a:gd name="T7" fmla="*/ 238 h 393"/>
                  <a:gd name="T8" fmla="*/ 408 w 457"/>
                  <a:gd name="T9" fmla="*/ 262 h 393"/>
                  <a:gd name="T10" fmla="*/ 380 w 457"/>
                  <a:gd name="T11" fmla="*/ 276 h 393"/>
                  <a:gd name="T12" fmla="*/ 357 w 457"/>
                  <a:gd name="T13" fmla="*/ 286 h 393"/>
                  <a:gd name="T14" fmla="*/ 333 w 457"/>
                  <a:gd name="T15" fmla="*/ 281 h 393"/>
                  <a:gd name="T16" fmla="*/ 311 w 457"/>
                  <a:gd name="T17" fmla="*/ 279 h 393"/>
                  <a:gd name="T18" fmla="*/ 292 w 457"/>
                  <a:gd name="T19" fmla="*/ 279 h 393"/>
                  <a:gd name="T20" fmla="*/ 312 w 457"/>
                  <a:gd name="T21" fmla="*/ 317 h 393"/>
                  <a:gd name="T22" fmla="*/ 336 w 457"/>
                  <a:gd name="T23" fmla="*/ 334 h 393"/>
                  <a:gd name="T24" fmla="*/ 312 w 457"/>
                  <a:gd name="T25" fmla="*/ 352 h 393"/>
                  <a:gd name="T26" fmla="*/ 292 w 457"/>
                  <a:gd name="T27" fmla="*/ 371 h 393"/>
                  <a:gd name="T28" fmla="*/ 270 w 457"/>
                  <a:gd name="T29" fmla="*/ 383 h 393"/>
                  <a:gd name="T30" fmla="*/ 249 w 457"/>
                  <a:gd name="T31" fmla="*/ 385 h 393"/>
                  <a:gd name="T32" fmla="*/ 212 w 457"/>
                  <a:gd name="T33" fmla="*/ 352 h 393"/>
                  <a:gd name="T34" fmla="*/ 192 w 457"/>
                  <a:gd name="T35" fmla="*/ 320 h 393"/>
                  <a:gd name="T36" fmla="*/ 192 w 457"/>
                  <a:gd name="T37" fmla="*/ 288 h 393"/>
                  <a:gd name="T38" fmla="*/ 185 w 457"/>
                  <a:gd name="T39" fmla="*/ 252 h 393"/>
                  <a:gd name="T40" fmla="*/ 195 w 457"/>
                  <a:gd name="T41" fmla="*/ 216 h 393"/>
                  <a:gd name="T42" fmla="*/ 171 w 457"/>
                  <a:gd name="T43" fmla="*/ 206 h 393"/>
                  <a:gd name="T44" fmla="*/ 120 w 457"/>
                  <a:gd name="T45" fmla="*/ 194 h 393"/>
                  <a:gd name="T46" fmla="*/ 76 w 457"/>
                  <a:gd name="T47" fmla="*/ 179 h 393"/>
                  <a:gd name="T48" fmla="*/ 40 w 457"/>
                  <a:gd name="T49" fmla="*/ 167 h 393"/>
                  <a:gd name="T50" fmla="*/ 32 w 457"/>
                  <a:gd name="T51" fmla="*/ 141 h 393"/>
                  <a:gd name="T52" fmla="*/ 11 w 457"/>
                  <a:gd name="T53" fmla="*/ 106 h 393"/>
                  <a:gd name="T54" fmla="*/ 11 w 457"/>
                  <a:gd name="T55" fmla="*/ 82 h 393"/>
                  <a:gd name="T56" fmla="*/ 25 w 457"/>
                  <a:gd name="T57" fmla="*/ 44 h 393"/>
                  <a:gd name="T58" fmla="*/ 64 w 457"/>
                  <a:gd name="T59" fmla="*/ 16 h 393"/>
                  <a:gd name="T60" fmla="*/ 57 w 457"/>
                  <a:gd name="T61" fmla="*/ 41 h 393"/>
                  <a:gd name="T62" fmla="*/ 49 w 457"/>
                  <a:gd name="T63" fmla="*/ 72 h 393"/>
                  <a:gd name="T64" fmla="*/ 47 w 457"/>
                  <a:gd name="T65" fmla="*/ 97 h 393"/>
                  <a:gd name="T66" fmla="*/ 62 w 457"/>
                  <a:gd name="T67" fmla="*/ 107 h 393"/>
                  <a:gd name="T68" fmla="*/ 71 w 457"/>
                  <a:gd name="T69" fmla="*/ 77 h 393"/>
                  <a:gd name="T70" fmla="*/ 62 w 457"/>
                  <a:gd name="T71" fmla="*/ 44 h 393"/>
                  <a:gd name="T72" fmla="*/ 96 w 457"/>
                  <a:gd name="T73" fmla="*/ 31 h 393"/>
                  <a:gd name="T74" fmla="*/ 113 w 457"/>
                  <a:gd name="T75" fmla="*/ 24 h 393"/>
                  <a:gd name="T76" fmla="*/ 105 w 457"/>
                  <a:gd name="T77" fmla="*/ 19 h 393"/>
                  <a:gd name="T78" fmla="*/ 119 w 457"/>
                  <a:gd name="T79" fmla="*/ 9 h 393"/>
                  <a:gd name="T80" fmla="*/ 153 w 457"/>
                  <a:gd name="T81" fmla="*/ 27 h 393"/>
                  <a:gd name="T82" fmla="*/ 170 w 457"/>
                  <a:gd name="T83" fmla="*/ 48 h 393"/>
                  <a:gd name="T84" fmla="*/ 200 w 457"/>
                  <a:gd name="T85" fmla="*/ 56 h 393"/>
                  <a:gd name="T86" fmla="*/ 244 w 457"/>
                  <a:gd name="T87" fmla="*/ 56 h 393"/>
                  <a:gd name="T88" fmla="*/ 282 w 457"/>
                  <a:gd name="T89" fmla="*/ 73 h 393"/>
                  <a:gd name="T90" fmla="*/ 307 w 457"/>
                  <a:gd name="T91" fmla="*/ 61 h 393"/>
                  <a:gd name="T92" fmla="*/ 311 w 457"/>
                  <a:gd name="T93" fmla="*/ 56 h 393"/>
                  <a:gd name="T94" fmla="*/ 329 w 457"/>
                  <a:gd name="T95" fmla="*/ 53 h 393"/>
                  <a:gd name="T96" fmla="*/ 370 w 457"/>
                  <a:gd name="T97" fmla="*/ 51 h 393"/>
                  <a:gd name="T98" fmla="*/ 363 w 457"/>
                  <a:gd name="T99" fmla="*/ 56 h 393"/>
                  <a:gd name="T100" fmla="*/ 370 w 457"/>
                  <a:gd name="T101" fmla="*/ 78 h 393"/>
                  <a:gd name="T102" fmla="*/ 399 w 457"/>
                  <a:gd name="T103" fmla="*/ 82 h 393"/>
                  <a:gd name="T104" fmla="*/ 419 w 457"/>
                  <a:gd name="T105" fmla="*/ 101 h 393"/>
                  <a:gd name="T106" fmla="*/ 423 w 457"/>
                  <a:gd name="T107" fmla="*/ 116 h 393"/>
                  <a:gd name="T108" fmla="*/ 436 w 457"/>
                  <a:gd name="T109" fmla="*/ 124 h 393"/>
                  <a:gd name="T110" fmla="*/ 311 w 457"/>
                  <a:gd name="T111" fmla="*/ 44 h 393"/>
                  <a:gd name="T112" fmla="*/ 309 w 457"/>
                  <a:gd name="T113" fmla="*/ 39 h 393"/>
                  <a:gd name="T114" fmla="*/ 295 w 457"/>
                  <a:gd name="T115" fmla="*/ 10 h 393"/>
                  <a:gd name="T116" fmla="*/ 226 w 457"/>
                  <a:gd name="T117" fmla="*/ 14 h 393"/>
                  <a:gd name="T118" fmla="*/ 221 w 457"/>
                  <a:gd name="T119" fmla="*/ 10 h 393"/>
                  <a:gd name="T120" fmla="*/ 302 w 457"/>
                  <a:gd name="T121" fmla="*/ 63 h 393"/>
                  <a:gd name="T122" fmla="*/ 190 w 457"/>
                  <a:gd name="T123" fmla="*/ 7 h 393"/>
                  <a:gd name="T124" fmla="*/ 219 w 457"/>
                  <a:gd name="T125"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7" h="393">
                    <a:moveTo>
                      <a:pt x="450" y="126"/>
                    </a:moveTo>
                    <a:lnTo>
                      <a:pt x="452" y="128"/>
                    </a:lnTo>
                    <a:lnTo>
                      <a:pt x="453" y="130"/>
                    </a:lnTo>
                    <a:lnTo>
                      <a:pt x="455" y="133"/>
                    </a:lnTo>
                    <a:lnTo>
                      <a:pt x="457" y="135"/>
                    </a:lnTo>
                    <a:lnTo>
                      <a:pt x="455" y="135"/>
                    </a:lnTo>
                    <a:lnTo>
                      <a:pt x="455" y="136"/>
                    </a:lnTo>
                    <a:lnTo>
                      <a:pt x="452" y="136"/>
                    </a:lnTo>
                    <a:lnTo>
                      <a:pt x="450" y="138"/>
                    </a:lnTo>
                    <a:lnTo>
                      <a:pt x="450" y="140"/>
                    </a:lnTo>
                    <a:lnTo>
                      <a:pt x="450" y="141"/>
                    </a:lnTo>
                    <a:lnTo>
                      <a:pt x="448" y="141"/>
                    </a:lnTo>
                    <a:lnTo>
                      <a:pt x="448" y="143"/>
                    </a:lnTo>
                    <a:lnTo>
                      <a:pt x="447" y="143"/>
                    </a:lnTo>
                    <a:lnTo>
                      <a:pt x="445" y="143"/>
                    </a:lnTo>
                    <a:lnTo>
                      <a:pt x="445" y="145"/>
                    </a:lnTo>
                    <a:lnTo>
                      <a:pt x="443" y="145"/>
                    </a:lnTo>
                    <a:lnTo>
                      <a:pt x="442" y="145"/>
                    </a:lnTo>
                    <a:lnTo>
                      <a:pt x="442" y="147"/>
                    </a:lnTo>
                    <a:lnTo>
                      <a:pt x="440" y="148"/>
                    </a:lnTo>
                    <a:lnTo>
                      <a:pt x="438" y="148"/>
                    </a:lnTo>
                    <a:lnTo>
                      <a:pt x="438" y="150"/>
                    </a:lnTo>
                    <a:lnTo>
                      <a:pt x="436" y="150"/>
                    </a:lnTo>
                    <a:lnTo>
                      <a:pt x="435" y="150"/>
                    </a:lnTo>
                    <a:lnTo>
                      <a:pt x="433" y="150"/>
                    </a:lnTo>
                    <a:lnTo>
                      <a:pt x="431" y="150"/>
                    </a:lnTo>
                    <a:lnTo>
                      <a:pt x="431" y="152"/>
                    </a:lnTo>
                    <a:lnTo>
                      <a:pt x="430" y="153"/>
                    </a:lnTo>
                    <a:lnTo>
                      <a:pt x="430" y="155"/>
                    </a:lnTo>
                    <a:lnTo>
                      <a:pt x="430" y="157"/>
                    </a:lnTo>
                    <a:lnTo>
                      <a:pt x="428" y="157"/>
                    </a:lnTo>
                    <a:lnTo>
                      <a:pt x="428" y="158"/>
                    </a:lnTo>
                    <a:lnTo>
                      <a:pt x="428" y="160"/>
                    </a:lnTo>
                    <a:lnTo>
                      <a:pt x="428" y="162"/>
                    </a:lnTo>
                    <a:lnTo>
                      <a:pt x="428" y="164"/>
                    </a:lnTo>
                    <a:lnTo>
                      <a:pt x="428" y="165"/>
                    </a:lnTo>
                    <a:lnTo>
                      <a:pt x="430" y="165"/>
                    </a:lnTo>
                    <a:lnTo>
                      <a:pt x="430" y="167"/>
                    </a:lnTo>
                    <a:lnTo>
                      <a:pt x="430" y="169"/>
                    </a:lnTo>
                    <a:lnTo>
                      <a:pt x="428" y="169"/>
                    </a:lnTo>
                    <a:lnTo>
                      <a:pt x="428" y="170"/>
                    </a:lnTo>
                    <a:lnTo>
                      <a:pt x="430" y="170"/>
                    </a:lnTo>
                    <a:lnTo>
                      <a:pt x="430" y="172"/>
                    </a:lnTo>
                    <a:lnTo>
                      <a:pt x="431" y="172"/>
                    </a:lnTo>
                    <a:lnTo>
                      <a:pt x="431" y="174"/>
                    </a:lnTo>
                    <a:lnTo>
                      <a:pt x="431" y="172"/>
                    </a:lnTo>
                    <a:lnTo>
                      <a:pt x="433" y="172"/>
                    </a:lnTo>
                    <a:lnTo>
                      <a:pt x="433" y="170"/>
                    </a:lnTo>
                    <a:lnTo>
                      <a:pt x="435" y="172"/>
                    </a:lnTo>
                    <a:lnTo>
                      <a:pt x="435" y="170"/>
                    </a:lnTo>
                    <a:lnTo>
                      <a:pt x="435" y="172"/>
                    </a:lnTo>
                    <a:lnTo>
                      <a:pt x="436" y="172"/>
                    </a:lnTo>
                    <a:lnTo>
                      <a:pt x="438" y="172"/>
                    </a:lnTo>
                    <a:lnTo>
                      <a:pt x="438" y="174"/>
                    </a:lnTo>
                    <a:lnTo>
                      <a:pt x="438" y="175"/>
                    </a:lnTo>
                    <a:lnTo>
                      <a:pt x="438" y="177"/>
                    </a:lnTo>
                    <a:lnTo>
                      <a:pt x="438" y="179"/>
                    </a:lnTo>
                    <a:lnTo>
                      <a:pt x="436" y="179"/>
                    </a:lnTo>
                    <a:lnTo>
                      <a:pt x="436" y="181"/>
                    </a:lnTo>
                    <a:lnTo>
                      <a:pt x="436" y="179"/>
                    </a:lnTo>
                    <a:lnTo>
                      <a:pt x="435" y="181"/>
                    </a:lnTo>
                    <a:lnTo>
                      <a:pt x="433" y="181"/>
                    </a:lnTo>
                    <a:lnTo>
                      <a:pt x="433" y="182"/>
                    </a:lnTo>
                    <a:lnTo>
                      <a:pt x="431" y="182"/>
                    </a:lnTo>
                    <a:lnTo>
                      <a:pt x="430" y="182"/>
                    </a:lnTo>
                    <a:lnTo>
                      <a:pt x="430" y="184"/>
                    </a:lnTo>
                    <a:lnTo>
                      <a:pt x="428" y="184"/>
                    </a:lnTo>
                    <a:lnTo>
                      <a:pt x="426" y="184"/>
                    </a:lnTo>
                    <a:lnTo>
                      <a:pt x="426" y="186"/>
                    </a:lnTo>
                    <a:lnTo>
                      <a:pt x="425" y="186"/>
                    </a:lnTo>
                    <a:lnTo>
                      <a:pt x="423" y="186"/>
                    </a:lnTo>
                    <a:lnTo>
                      <a:pt x="423" y="184"/>
                    </a:lnTo>
                    <a:lnTo>
                      <a:pt x="423" y="186"/>
                    </a:lnTo>
                    <a:lnTo>
                      <a:pt x="421" y="186"/>
                    </a:lnTo>
                    <a:lnTo>
                      <a:pt x="419" y="186"/>
                    </a:lnTo>
                    <a:lnTo>
                      <a:pt x="419" y="184"/>
                    </a:lnTo>
                    <a:lnTo>
                      <a:pt x="418" y="184"/>
                    </a:lnTo>
                    <a:lnTo>
                      <a:pt x="418" y="186"/>
                    </a:lnTo>
                    <a:lnTo>
                      <a:pt x="419" y="186"/>
                    </a:lnTo>
                    <a:lnTo>
                      <a:pt x="418" y="187"/>
                    </a:lnTo>
                    <a:lnTo>
                      <a:pt x="416" y="187"/>
                    </a:lnTo>
                    <a:lnTo>
                      <a:pt x="414" y="187"/>
                    </a:lnTo>
                    <a:lnTo>
                      <a:pt x="413" y="187"/>
                    </a:lnTo>
                    <a:lnTo>
                      <a:pt x="411" y="187"/>
                    </a:lnTo>
                    <a:lnTo>
                      <a:pt x="411" y="189"/>
                    </a:lnTo>
                    <a:lnTo>
                      <a:pt x="409" y="189"/>
                    </a:lnTo>
                    <a:lnTo>
                      <a:pt x="409" y="191"/>
                    </a:lnTo>
                    <a:lnTo>
                      <a:pt x="409" y="192"/>
                    </a:lnTo>
                    <a:lnTo>
                      <a:pt x="408" y="192"/>
                    </a:lnTo>
                    <a:lnTo>
                      <a:pt x="409" y="192"/>
                    </a:lnTo>
                    <a:lnTo>
                      <a:pt x="408" y="192"/>
                    </a:lnTo>
                    <a:lnTo>
                      <a:pt x="409" y="192"/>
                    </a:lnTo>
                    <a:lnTo>
                      <a:pt x="409" y="194"/>
                    </a:lnTo>
                    <a:lnTo>
                      <a:pt x="411" y="194"/>
                    </a:lnTo>
                    <a:lnTo>
                      <a:pt x="409" y="196"/>
                    </a:lnTo>
                    <a:lnTo>
                      <a:pt x="411" y="196"/>
                    </a:lnTo>
                    <a:lnTo>
                      <a:pt x="411" y="198"/>
                    </a:lnTo>
                    <a:lnTo>
                      <a:pt x="411" y="199"/>
                    </a:lnTo>
                    <a:lnTo>
                      <a:pt x="411" y="201"/>
                    </a:lnTo>
                    <a:lnTo>
                      <a:pt x="409" y="201"/>
                    </a:lnTo>
                    <a:lnTo>
                      <a:pt x="411" y="201"/>
                    </a:lnTo>
                    <a:lnTo>
                      <a:pt x="411" y="203"/>
                    </a:lnTo>
                    <a:lnTo>
                      <a:pt x="413" y="203"/>
                    </a:lnTo>
                    <a:lnTo>
                      <a:pt x="411" y="203"/>
                    </a:lnTo>
                    <a:lnTo>
                      <a:pt x="411" y="204"/>
                    </a:lnTo>
                    <a:lnTo>
                      <a:pt x="413" y="204"/>
                    </a:lnTo>
                    <a:lnTo>
                      <a:pt x="411" y="206"/>
                    </a:lnTo>
                    <a:lnTo>
                      <a:pt x="409" y="206"/>
                    </a:lnTo>
                    <a:lnTo>
                      <a:pt x="409" y="208"/>
                    </a:lnTo>
                    <a:lnTo>
                      <a:pt x="408" y="208"/>
                    </a:lnTo>
                    <a:lnTo>
                      <a:pt x="406" y="209"/>
                    </a:lnTo>
                    <a:lnTo>
                      <a:pt x="406" y="211"/>
                    </a:lnTo>
                    <a:lnTo>
                      <a:pt x="404" y="211"/>
                    </a:lnTo>
                    <a:lnTo>
                      <a:pt x="404" y="213"/>
                    </a:lnTo>
                    <a:lnTo>
                      <a:pt x="402" y="213"/>
                    </a:lnTo>
                    <a:lnTo>
                      <a:pt x="402" y="215"/>
                    </a:lnTo>
                    <a:lnTo>
                      <a:pt x="404" y="216"/>
                    </a:lnTo>
                    <a:lnTo>
                      <a:pt x="409" y="221"/>
                    </a:lnTo>
                    <a:lnTo>
                      <a:pt x="413" y="223"/>
                    </a:lnTo>
                    <a:lnTo>
                      <a:pt x="414" y="228"/>
                    </a:lnTo>
                    <a:lnTo>
                      <a:pt x="421" y="235"/>
                    </a:lnTo>
                    <a:lnTo>
                      <a:pt x="423" y="237"/>
                    </a:lnTo>
                    <a:lnTo>
                      <a:pt x="425" y="238"/>
                    </a:lnTo>
                    <a:lnTo>
                      <a:pt x="426" y="238"/>
                    </a:lnTo>
                    <a:lnTo>
                      <a:pt x="426" y="240"/>
                    </a:lnTo>
                    <a:lnTo>
                      <a:pt x="428" y="240"/>
                    </a:lnTo>
                    <a:lnTo>
                      <a:pt x="428" y="242"/>
                    </a:lnTo>
                    <a:lnTo>
                      <a:pt x="428" y="243"/>
                    </a:lnTo>
                    <a:lnTo>
                      <a:pt x="428" y="245"/>
                    </a:lnTo>
                    <a:lnTo>
                      <a:pt x="430" y="245"/>
                    </a:lnTo>
                    <a:lnTo>
                      <a:pt x="430" y="247"/>
                    </a:lnTo>
                    <a:lnTo>
                      <a:pt x="430" y="249"/>
                    </a:lnTo>
                    <a:lnTo>
                      <a:pt x="428" y="249"/>
                    </a:lnTo>
                    <a:lnTo>
                      <a:pt x="428" y="250"/>
                    </a:lnTo>
                    <a:lnTo>
                      <a:pt x="426" y="250"/>
                    </a:lnTo>
                    <a:lnTo>
                      <a:pt x="426" y="252"/>
                    </a:lnTo>
                    <a:lnTo>
                      <a:pt x="425" y="252"/>
                    </a:lnTo>
                    <a:lnTo>
                      <a:pt x="425" y="254"/>
                    </a:lnTo>
                    <a:lnTo>
                      <a:pt x="423" y="254"/>
                    </a:lnTo>
                    <a:lnTo>
                      <a:pt x="423" y="255"/>
                    </a:lnTo>
                    <a:lnTo>
                      <a:pt x="421" y="255"/>
                    </a:lnTo>
                    <a:lnTo>
                      <a:pt x="419" y="255"/>
                    </a:lnTo>
                    <a:lnTo>
                      <a:pt x="419" y="257"/>
                    </a:lnTo>
                    <a:lnTo>
                      <a:pt x="418" y="257"/>
                    </a:lnTo>
                    <a:lnTo>
                      <a:pt x="418" y="259"/>
                    </a:lnTo>
                    <a:lnTo>
                      <a:pt x="418" y="261"/>
                    </a:lnTo>
                    <a:lnTo>
                      <a:pt x="416" y="261"/>
                    </a:lnTo>
                    <a:lnTo>
                      <a:pt x="416" y="262"/>
                    </a:lnTo>
                    <a:lnTo>
                      <a:pt x="414" y="262"/>
                    </a:lnTo>
                    <a:lnTo>
                      <a:pt x="413" y="262"/>
                    </a:lnTo>
                    <a:lnTo>
                      <a:pt x="411" y="262"/>
                    </a:lnTo>
                    <a:lnTo>
                      <a:pt x="411" y="264"/>
                    </a:lnTo>
                    <a:lnTo>
                      <a:pt x="411" y="262"/>
                    </a:lnTo>
                    <a:lnTo>
                      <a:pt x="409" y="262"/>
                    </a:lnTo>
                    <a:lnTo>
                      <a:pt x="408" y="262"/>
                    </a:lnTo>
                    <a:lnTo>
                      <a:pt x="406" y="262"/>
                    </a:lnTo>
                    <a:lnTo>
                      <a:pt x="404" y="262"/>
                    </a:lnTo>
                    <a:lnTo>
                      <a:pt x="406" y="262"/>
                    </a:lnTo>
                    <a:lnTo>
                      <a:pt x="406" y="264"/>
                    </a:lnTo>
                    <a:lnTo>
                      <a:pt x="406" y="266"/>
                    </a:lnTo>
                    <a:lnTo>
                      <a:pt x="404" y="266"/>
                    </a:lnTo>
                    <a:lnTo>
                      <a:pt x="402" y="266"/>
                    </a:lnTo>
                    <a:lnTo>
                      <a:pt x="401" y="266"/>
                    </a:lnTo>
                    <a:lnTo>
                      <a:pt x="399" y="266"/>
                    </a:lnTo>
                    <a:lnTo>
                      <a:pt x="399" y="267"/>
                    </a:lnTo>
                    <a:lnTo>
                      <a:pt x="399" y="269"/>
                    </a:lnTo>
                    <a:lnTo>
                      <a:pt x="399" y="271"/>
                    </a:lnTo>
                    <a:lnTo>
                      <a:pt x="397" y="271"/>
                    </a:lnTo>
                    <a:lnTo>
                      <a:pt x="396" y="271"/>
                    </a:lnTo>
                    <a:lnTo>
                      <a:pt x="394" y="271"/>
                    </a:lnTo>
                    <a:lnTo>
                      <a:pt x="394" y="272"/>
                    </a:lnTo>
                    <a:lnTo>
                      <a:pt x="394" y="271"/>
                    </a:lnTo>
                    <a:lnTo>
                      <a:pt x="392" y="271"/>
                    </a:lnTo>
                    <a:lnTo>
                      <a:pt x="391" y="271"/>
                    </a:lnTo>
                    <a:lnTo>
                      <a:pt x="391" y="272"/>
                    </a:lnTo>
                    <a:lnTo>
                      <a:pt x="389" y="272"/>
                    </a:lnTo>
                    <a:lnTo>
                      <a:pt x="389" y="274"/>
                    </a:lnTo>
                    <a:lnTo>
                      <a:pt x="387" y="274"/>
                    </a:lnTo>
                    <a:lnTo>
                      <a:pt x="385" y="274"/>
                    </a:lnTo>
                    <a:lnTo>
                      <a:pt x="385" y="276"/>
                    </a:lnTo>
                    <a:lnTo>
                      <a:pt x="384" y="276"/>
                    </a:lnTo>
                    <a:lnTo>
                      <a:pt x="384" y="274"/>
                    </a:lnTo>
                    <a:lnTo>
                      <a:pt x="382" y="274"/>
                    </a:lnTo>
                    <a:lnTo>
                      <a:pt x="380" y="274"/>
                    </a:lnTo>
                    <a:lnTo>
                      <a:pt x="379" y="274"/>
                    </a:lnTo>
                    <a:lnTo>
                      <a:pt x="380" y="276"/>
                    </a:lnTo>
                    <a:lnTo>
                      <a:pt x="379" y="276"/>
                    </a:lnTo>
                    <a:lnTo>
                      <a:pt x="377" y="278"/>
                    </a:lnTo>
                    <a:lnTo>
                      <a:pt x="377" y="276"/>
                    </a:lnTo>
                    <a:lnTo>
                      <a:pt x="375" y="276"/>
                    </a:lnTo>
                    <a:lnTo>
                      <a:pt x="374" y="276"/>
                    </a:lnTo>
                    <a:lnTo>
                      <a:pt x="372" y="274"/>
                    </a:lnTo>
                    <a:lnTo>
                      <a:pt x="372" y="276"/>
                    </a:lnTo>
                    <a:lnTo>
                      <a:pt x="372" y="274"/>
                    </a:lnTo>
                    <a:lnTo>
                      <a:pt x="372" y="276"/>
                    </a:lnTo>
                    <a:lnTo>
                      <a:pt x="370" y="274"/>
                    </a:lnTo>
                    <a:lnTo>
                      <a:pt x="368" y="274"/>
                    </a:lnTo>
                    <a:lnTo>
                      <a:pt x="367" y="274"/>
                    </a:lnTo>
                    <a:lnTo>
                      <a:pt x="367" y="276"/>
                    </a:lnTo>
                    <a:lnTo>
                      <a:pt x="365" y="274"/>
                    </a:lnTo>
                    <a:lnTo>
                      <a:pt x="365" y="276"/>
                    </a:lnTo>
                    <a:lnTo>
                      <a:pt x="363" y="276"/>
                    </a:lnTo>
                    <a:lnTo>
                      <a:pt x="363" y="278"/>
                    </a:lnTo>
                    <a:lnTo>
                      <a:pt x="363" y="279"/>
                    </a:lnTo>
                    <a:lnTo>
                      <a:pt x="362" y="279"/>
                    </a:lnTo>
                    <a:lnTo>
                      <a:pt x="362" y="278"/>
                    </a:lnTo>
                    <a:lnTo>
                      <a:pt x="360" y="278"/>
                    </a:lnTo>
                    <a:lnTo>
                      <a:pt x="360" y="279"/>
                    </a:lnTo>
                    <a:lnTo>
                      <a:pt x="360" y="278"/>
                    </a:lnTo>
                    <a:lnTo>
                      <a:pt x="358" y="279"/>
                    </a:lnTo>
                    <a:lnTo>
                      <a:pt x="357" y="278"/>
                    </a:lnTo>
                    <a:lnTo>
                      <a:pt x="357" y="279"/>
                    </a:lnTo>
                    <a:lnTo>
                      <a:pt x="357" y="281"/>
                    </a:lnTo>
                    <a:lnTo>
                      <a:pt x="357" y="283"/>
                    </a:lnTo>
                    <a:lnTo>
                      <a:pt x="355" y="283"/>
                    </a:lnTo>
                    <a:lnTo>
                      <a:pt x="357" y="284"/>
                    </a:lnTo>
                    <a:lnTo>
                      <a:pt x="357" y="286"/>
                    </a:lnTo>
                    <a:lnTo>
                      <a:pt x="358" y="286"/>
                    </a:lnTo>
                    <a:lnTo>
                      <a:pt x="357" y="286"/>
                    </a:lnTo>
                    <a:lnTo>
                      <a:pt x="358" y="288"/>
                    </a:lnTo>
                    <a:lnTo>
                      <a:pt x="357" y="288"/>
                    </a:lnTo>
                    <a:lnTo>
                      <a:pt x="358" y="289"/>
                    </a:lnTo>
                    <a:lnTo>
                      <a:pt x="357" y="289"/>
                    </a:lnTo>
                    <a:lnTo>
                      <a:pt x="357" y="291"/>
                    </a:lnTo>
                    <a:lnTo>
                      <a:pt x="357" y="289"/>
                    </a:lnTo>
                    <a:lnTo>
                      <a:pt x="355" y="289"/>
                    </a:lnTo>
                    <a:lnTo>
                      <a:pt x="355" y="288"/>
                    </a:lnTo>
                    <a:lnTo>
                      <a:pt x="353" y="289"/>
                    </a:lnTo>
                    <a:lnTo>
                      <a:pt x="351" y="291"/>
                    </a:lnTo>
                    <a:lnTo>
                      <a:pt x="351" y="293"/>
                    </a:lnTo>
                    <a:lnTo>
                      <a:pt x="350" y="293"/>
                    </a:lnTo>
                    <a:lnTo>
                      <a:pt x="348" y="293"/>
                    </a:lnTo>
                    <a:lnTo>
                      <a:pt x="348" y="291"/>
                    </a:lnTo>
                    <a:lnTo>
                      <a:pt x="346" y="291"/>
                    </a:lnTo>
                    <a:lnTo>
                      <a:pt x="346" y="289"/>
                    </a:lnTo>
                    <a:lnTo>
                      <a:pt x="346" y="288"/>
                    </a:lnTo>
                    <a:lnTo>
                      <a:pt x="345" y="288"/>
                    </a:lnTo>
                    <a:lnTo>
                      <a:pt x="345" y="286"/>
                    </a:lnTo>
                    <a:lnTo>
                      <a:pt x="343" y="286"/>
                    </a:lnTo>
                    <a:lnTo>
                      <a:pt x="341" y="286"/>
                    </a:lnTo>
                    <a:lnTo>
                      <a:pt x="341" y="284"/>
                    </a:lnTo>
                    <a:lnTo>
                      <a:pt x="341" y="283"/>
                    </a:lnTo>
                    <a:lnTo>
                      <a:pt x="341" y="281"/>
                    </a:lnTo>
                    <a:lnTo>
                      <a:pt x="340" y="281"/>
                    </a:lnTo>
                    <a:lnTo>
                      <a:pt x="338" y="281"/>
                    </a:lnTo>
                    <a:lnTo>
                      <a:pt x="336" y="281"/>
                    </a:lnTo>
                    <a:lnTo>
                      <a:pt x="334" y="281"/>
                    </a:lnTo>
                    <a:lnTo>
                      <a:pt x="333" y="281"/>
                    </a:lnTo>
                    <a:lnTo>
                      <a:pt x="334" y="281"/>
                    </a:lnTo>
                    <a:lnTo>
                      <a:pt x="334" y="283"/>
                    </a:lnTo>
                    <a:lnTo>
                      <a:pt x="334" y="284"/>
                    </a:lnTo>
                    <a:lnTo>
                      <a:pt x="333" y="284"/>
                    </a:lnTo>
                    <a:lnTo>
                      <a:pt x="331" y="284"/>
                    </a:lnTo>
                    <a:lnTo>
                      <a:pt x="329" y="284"/>
                    </a:lnTo>
                    <a:lnTo>
                      <a:pt x="329" y="283"/>
                    </a:lnTo>
                    <a:lnTo>
                      <a:pt x="329" y="284"/>
                    </a:lnTo>
                    <a:lnTo>
                      <a:pt x="328" y="283"/>
                    </a:lnTo>
                    <a:lnTo>
                      <a:pt x="329" y="283"/>
                    </a:lnTo>
                    <a:lnTo>
                      <a:pt x="328" y="283"/>
                    </a:lnTo>
                    <a:lnTo>
                      <a:pt x="328" y="281"/>
                    </a:lnTo>
                    <a:lnTo>
                      <a:pt x="326" y="281"/>
                    </a:lnTo>
                    <a:lnTo>
                      <a:pt x="326" y="279"/>
                    </a:lnTo>
                    <a:lnTo>
                      <a:pt x="324" y="281"/>
                    </a:lnTo>
                    <a:lnTo>
                      <a:pt x="326" y="283"/>
                    </a:lnTo>
                    <a:lnTo>
                      <a:pt x="324" y="283"/>
                    </a:lnTo>
                    <a:lnTo>
                      <a:pt x="323" y="281"/>
                    </a:lnTo>
                    <a:lnTo>
                      <a:pt x="323" y="283"/>
                    </a:lnTo>
                    <a:lnTo>
                      <a:pt x="321" y="283"/>
                    </a:lnTo>
                    <a:lnTo>
                      <a:pt x="321" y="281"/>
                    </a:lnTo>
                    <a:lnTo>
                      <a:pt x="319" y="281"/>
                    </a:lnTo>
                    <a:lnTo>
                      <a:pt x="319" y="283"/>
                    </a:lnTo>
                    <a:lnTo>
                      <a:pt x="317" y="283"/>
                    </a:lnTo>
                    <a:lnTo>
                      <a:pt x="316" y="283"/>
                    </a:lnTo>
                    <a:lnTo>
                      <a:pt x="316" y="284"/>
                    </a:lnTo>
                    <a:lnTo>
                      <a:pt x="316" y="283"/>
                    </a:lnTo>
                    <a:lnTo>
                      <a:pt x="314" y="283"/>
                    </a:lnTo>
                    <a:lnTo>
                      <a:pt x="312" y="281"/>
                    </a:lnTo>
                    <a:lnTo>
                      <a:pt x="312" y="279"/>
                    </a:lnTo>
                    <a:lnTo>
                      <a:pt x="311" y="279"/>
                    </a:lnTo>
                    <a:lnTo>
                      <a:pt x="312" y="278"/>
                    </a:lnTo>
                    <a:lnTo>
                      <a:pt x="311" y="278"/>
                    </a:lnTo>
                    <a:lnTo>
                      <a:pt x="311" y="276"/>
                    </a:lnTo>
                    <a:lnTo>
                      <a:pt x="309" y="276"/>
                    </a:lnTo>
                    <a:lnTo>
                      <a:pt x="307" y="276"/>
                    </a:lnTo>
                    <a:lnTo>
                      <a:pt x="306" y="276"/>
                    </a:lnTo>
                    <a:lnTo>
                      <a:pt x="306" y="274"/>
                    </a:lnTo>
                    <a:lnTo>
                      <a:pt x="304" y="276"/>
                    </a:lnTo>
                    <a:lnTo>
                      <a:pt x="302" y="276"/>
                    </a:lnTo>
                    <a:lnTo>
                      <a:pt x="302" y="274"/>
                    </a:lnTo>
                    <a:lnTo>
                      <a:pt x="300" y="276"/>
                    </a:lnTo>
                    <a:lnTo>
                      <a:pt x="300" y="274"/>
                    </a:lnTo>
                    <a:lnTo>
                      <a:pt x="300" y="276"/>
                    </a:lnTo>
                    <a:lnTo>
                      <a:pt x="299" y="276"/>
                    </a:lnTo>
                    <a:lnTo>
                      <a:pt x="297" y="276"/>
                    </a:lnTo>
                    <a:lnTo>
                      <a:pt x="295" y="276"/>
                    </a:lnTo>
                    <a:lnTo>
                      <a:pt x="294" y="276"/>
                    </a:lnTo>
                    <a:lnTo>
                      <a:pt x="294" y="274"/>
                    </a:lnTo>
                    <a:lnTo>
                      <a:pt x="292" y="272"/>
                    </a:lnTo>
                    <a:lnTo>
                      <a:pt x="292" y="271"/>
                    </a:lnTo>
                    <a:lnTo>
                      <a:pt x="290" y="271"/>
                    </a:lnTo>
                    <a:lnTo>
                      <a:pt x="289" y="271"/>
                    </a:lnTo>
                    <a:lnTo>
                      <a:pt x="287" y="271"/>
                    </a:lnTo>
                    <a:lnTo>
                      <a:pt x="287" y="272"/>
                    </a:lnTo>
                    <a:lnTo>
                      <a:pt x="287" y="274"/>
                    </a:lnTo>
                    <a:lnTo>
                      <a:pt x="289" y="274"/>
                    </a:lnTo>
                    <a:lnTo>
                      <a:pt x="289" y="276"/>
                    </a:lnTo>
                    <a:lnTo>
                      <a:pt x="290" y="276"/>
                    </a:lnTo>
                    <a:lnTo>
                      <a:pt x="290" y="278"/>
                    </a:lnTo>
                    <a:lnTo>
                      <a:pt x="292" y="278"/>
                    </a:lnTo>
                    <a:lnTo>
                      <a:pt x="292" y="279"/>
                    </a:lnTo>
                    <a:lnTo>
                      <a:pt x="294" y="281"/>
                    </a:lnTo>
                    <a:lnTo>
                      <a:pt x="295" y="283"/>
                    </a:lnTo>
                    <a:lnTo>
                      <a:pt x="295" y="284"/>
                    </a:lnTo>
                    <a:lnTo>
                      <a:pt x="297" y="284"/>
                    </a:lnTo>
                    <a:lnTo>
                      <a:pt x="297" y="286"/>
                    </a:lnTo>
                    <a:lnTo>
                      <a:pt x="299" y="286"/>
                    </a:lnTo>
                    <a:lnTo>
                      <a:pt x="299" y="288"/>
                    </a:lnTo>
                    <a:lnTo>
                      <a:pt x="300" y="288"/>
                    </a:lnTo>
                    <a:lnTo>
                      <a:pt x="302" y="288"/>
                    </a:lnTo>
                    <a:lnTo>
                      <a:pt x="304" y="288"/>
                    </a:lnTo>
                    <a:lnTo>
                      <a:pt x="304" y="289"/>
                    </a:lnTo>
                    <a:lnTo>
                      <a:pt x="306" y="289"/>
                    </a:lnTo>
                    <a:lnTo>
                      <a:pt x="306" y="291"/>
                    </a:lnTo>
                    <a:lnTo>
                      <a:pt x="307" y="293"/>
                    </a:lnTo>
                    <a:lnTo>
                      <a:pt x="309" y="295"/>
                    </a:lnTo>
                    <a:lnTo>
                      <a:pt x="309" y="296"/>
                    </a:lnTo>
                    <a:lnTo>
                      <a:pt x="307" y="298"/>
                    </a:lnTo>
                    <a:lnTo>
                      <a:pt x="306" y="300"/>
                    </a:lnTo>
                    <a:lnTo>
                      <a:pt x="307" y="300"/>
                    </a:lnTo>
                    <a:lnTo>
                      <a:pt x="307" y="301"/>
                    </a:lnTo>
                    <a:lnTo>
                      <a:pt x="307" y="303"/>
                    </a:lnTo>
                    <a:lnTo>
                      <a:pt x="307" y="305"/>
                    </a:lnTo>
                    <a:lnTo>
                      <a:pt x="307" y="306"/>
                    </a:lnTo>
                    <a:lnTo>
                      <a:pt x="307" y="308"/>
                    </a:lnTo>
                    <a:lnTo>
                      <a:pt x="307" y="310"/>
                    </a:lnTo>
                    <a:lnTo>
                      <a:pt x="309" y="312"/>
                    </a:lnTo>
                    <a:lnTo>
                      <a:pt x="309" y="313"/>
                    </a:lnTo>
                    <a:lnTo>
                      <a:pt x="311" y="313"/>
                    </a:lnTo>
                    <a:lnTo>
                      <a:pt x="311" y="315"/>
                    </a:lnTo>
                    <a:lnTo>
                      <a:pt x="312" y="315"/>
                    </a:lnTo>
                    <a:lnTo>
                      <a:pt x="312" y="317"/>
                    </a:lnTo>
                    <a:lnTo>
                      <a:pt x="312" y="318"/>
                    </a:lnTo>
                    <a:lnTo>
                      <a:pt x="314" y="320"/>
                    </a:lnTo>
                    <a:lnTo>
                      <a:pt x="314" y="322"/>
                    </a:lnTo>
                    <a:lnTo>
                      <a:pt x="316" y="322"/>
                    </a:lnTo>
                    <a:lnTo>
                      <a:pt x="314" y="322"/>
                    </a:lnTo>
                    <a:lnTo>
                      <a:pt x="316" y="323"/>
                    </a:lnTo>
                    <a:lnTo>
                      <a:pt x="314" y="323"/>
                    </a:lnTo>
                    <a:lnTo>
                      <a:pt x="316" y="323"/>
                    </a:lnTo>
                    <a:lnTo>
                      <a:pt x="316" y="325"/>
                    </a:lnTo>
                    <a:lnTo>
                      <a:pt x="314" y="325"/>
                    </a:lnTo>
                    <a:lnTo>
                      <a:pt x="314" y="327"/>
                    </a:lnTo>
                    <a:lnTo>
                      <a:pt x="314" y="329"/>
                    </a:lnTo>
                    <a:lnTo>
                      <a:pt x="312" y="329"/>
                    </a:lnTo>
                    <a:lnTo>
                      <a:pt x="312" y="330"/>
                    </a:lnTo>
                    <a:lnTo>
                      <a:pt x="314" y="330"/>
                    </a:lnTo>
                    <a:lnTo>
                      <a:pt x="314" y="332"/>
                    </a:lnTo>
                    <a:lnTo>
                      <a:pt x="314" y="330"/>
                    </a:lnTo>
                    <a:lnTo>
                      <a:pt x="316" y="332"/>
                    </a:lnTo>
                    <a:lnTo>
                      <a:pt x="317" y="332"/>
                    </a:lnTo>
                    <a:lnTo>
                      <a:pt x="319" y="332"/>
                    </a:lnTo>
                    <a:lnTo>
                      <a:pt x="321" y="334"/>
                    </a:lnTo>
                    <a:lnTo>
                      <a:pt x="323" y="334"/>
                    </a:lnTo>
                    <a:lnTo>
                      <a:pt x="324" y="334"/>
                    </a:lnTo>
                    <a:lnTo>
                      <a:pt x="326" y="334"/>
                    </a:lnTo>
                    <a:lnTo>
                      <a:pt x="328" y="334"/>
                    </a:lnTo>
                    <a:lnTo>
                      <a:pt x="329" y="334"/>
                    </a:lnTo>
                    <a:lnTo>
                      <a:pt x="331" y="334"/>
                    </a:lnTo>
                    <a:lnTo>
                      <a:pt x="333" y="332"/>
                    </a:lnTo>
                    <a:lnTo>
                      <a:pt x="334" y="332"/>
                    </a:lnTo>
                    <a:lnTo>
                      <a:pt x="336" y="332"/>
                    </a:lnTo>
                    <a:lnTo>
                      <a:pt x="336" y="334"/>
                    </a:lnTo>
                    <a:lnTo>
                      <a:pt x="336" y="335"/>
                    </a:lnTo>
                    <a:lnTo>
                      <a:pt x="336" y="337"/>
                    </a:lnTo>
                    <a:lnTo>
                      <a:pt x="336" y="339"/>
                    </a:lnTo>
                    <a:lnTo>
                      <a:pt x="336" y="340"/>
                    </a:lnTo>
                    <a:lnTo>
                      <a:pt x="334" y="340"/>
                    </a:lnTo>
                    <a:lnTo>
                      <a:pt x="336" y="340"/>
                    </a:lnTo>
                    <a:lnTo>
                      <a:pt x="334" y="342"/>
                    </a:lnTo>
                    <a:lnTo>
                      <a:pt x="333" y="344"/>
                    </a:lnTo>
                    <a:lnTo>
                      <a:pt x="333" y="342"/>
                    </a:lnTo>
                    <a:lnTo>
                      <a:pt x="333" y="344"/>
                    </a:lnTo>
                    <a:lnTo>
                      <a:pt x="331" y="344"/>
                    </a:lnTo>
                    <a:lnTo>
                      <a:pt x="331" y="342"/>
                    </a:lnTo>
                    <a:lnTo>
                      <a:pt x="329" y="342"/>
                    </a:lnTo>
                    <a:lnTo>
                      <a:pt x="329" y="344"/>
                    </a:lnTo>
                    <a:lnTo>
                      <a:pt x="328" y="344"/>
                    </a:lnTo>
                    <a:lnTo>
                      <a:pt x="328" y="346"/>
                    </a:lnTo>
                    <a:lnTo>
                      <a:pt x="326" y="346"/>
                    </a:lnTo>
                    <a:lnTo>
                      <a:pt x="326" y="347"/>
                    </a:lnTo>
                    <a:lnTo>
                      <a:pt x="324" y="346"/>
                    </a:lnTo>
                    <a:lnTo>
                      <a:pt x="324" y="347"/>
                    </a:lnTo>
                    <a:lnTo>
                      <a:pt x="323" y="347"/>
                    </a:lnTo>
                    <a:lnTo>
                      <a:pt x="321" y="347"/>
                    </a:lnTo>
                    <a:lnTo>
                      <a:pt x="321" y="349"/>
                    </a:lnTo>
                    <a:lnTo>
                      <a:pt x="319" y="347"/>
                    </a:lnTo>
                    <a:lnTo>
                      <a:pt x="317" y="347"/>
                    </a:lnTo>
                    <a:lnTo>
                      <a:pt x="316" y="347"/>
                    </a:lnTo>
                    <a:lnTo>
                      <a:pt x="314" y="347"/>
                    </a:lnTo>
                    <a:lnTo>
                      <a:pt x="314" y="349"/>
                    </a:lnTo>
                    <a:lnTo>
                      <a:pt x="312" y="349"/>
                    </a:lnTo>
                    <a:lnTo>
                      <a:pt x="312" y="351"/>
                    </a:lnTo>
                    <a:lnTo>
                      <a:pt x="312" y="352"/>
                    </a:lnTo>
                    <a:lnTo>
                      <a:pt x="312" y="354"/>
                    </a:lnTo>
                    <a:lnTo>
                      <a:pt x="312" y="356"/>
                    </a:lnTo>
                    <a:lnTo>
                      <a:pt x="312" y="357"/>
                    </a:lnTo>
                    <a:lnTo>
                      <a:pt x="312" y="359"/>
                    </a:lnTo>
                    <a:lnTo>
                      <a:pt x="312" y="361"/>
                    </a:lnTo>
                    <a:lnTo>
                      <a:pt x="311" y="361"/>
                    </a:lnTo>
                    <a:lnTo>
                      <a:pt x="309" y="361"/>
                    </a:lnTo>
                    <a:lnTo>
                      <a:pt x="309" y="363"/>
                    </a:lnTo>
                    <a:lnTo>
                      <a:pt x="309" y="364"/>
                    </a:lnTo>
                    <a:lnTo>
                      <a:pt x="307" y="364"/>
                    </a:lnTo>
                    <a:lnTo>
                      <a:pt x="306" y="364"/>
                    </a:lnTo>
                    <a:lnTo>
                      <a:pt x="304" y="366"/>
                    </a:lnTo>
                    <a:lnTo>
                      <a:pt x="304" y="368"/>
                    </a:lnTo>
                    <a:lnTo>
                      <a:pt x="304" y="369"/>
                    </a:lnTo>
                    <a:lnTo>
                      <a:pt x="302" y="368"/>
                    </a:lnTo>
                    <a:lnTo>
                      <a:pt x="300" y="368"/>
                    </a:lnTo>
                    <a:lnTo>
                      <a:pt x="302" y="368"/>
                    </a:lnTo>
                    <a:lnTo>
                      <a:pt x="302" y="366"/>
                    </a:lnTo>
                    <a:lnTo>
                      <a:pt x="302" y="364"/>
                    </a:lnTo>
                    <a:lnTo>
                      <a:pt x="302" y="363"/>
                    </a:lnTo>
                    <a:lnTo>
                      <a:pt x="302" y="364"/>
                    </a:lnTo>
                    <a:lnTo>
                      <a:pt x="302" y="363"/>
                    </a:lnTo>
                    <a:lnTo>
                      <a:pt x="300" y="364"/>
                    </a:lnTo>
                    <a:lnTo>
                      <a:pt x="299" y="364"/>
                    </a:lnTo>
                    <a:lnTo>
                      <a:pt x="299" y="366"/>
                    </a:lnTo>
                    <a:lnTo>
                      <a:pt x="297" y="366"/>
                    </a:lnTo>
                    <a:lnTo>
                      <a:pt x="295" y="368"/>
                    </a:lnTo>
                    <a:lnTo>
                      <a:pt x="295" y="369"/>
                    </a:lnTo>
                    <a:lnTo>
                      <a:pt x="294" y="369"/>
                    </a:lnTo>
                    <a:lnTo>
                      <a:pt x="294" y="371"/>
                    </a:lnTo>
                    <a:lnTo>
                      <a:pt x="292" y="371"/>
                    </a:lnTo>
                    <a:lnTo>
                      <a:pt x="290" y="371"/>
                    </a:lnTo>
                    <a:lnTo>
                      <a:pt x="290" y="373"/>
                    </a:lnTo>
                    <a:lnTo>
                      <a:pt x="289" y="373"/>
                    </a:lnTo>
                    <a:lnTo>
                      <a:pt x="289" y="371"/>
                    </a:lnTo>
                    <a:lnTo>
                      <a:pt x="287" y="371"/>
                    </a:lnTo>
                    <a:lnTo>
                      <a:pt x="285" y="371"/>
                    </a:lnTo>
                    <a:lnTo>
                      <a:pt x="287" y="373"/>
                    </a:lnTo>
                    <a:lnTo>
                      <a:pt x="285" y="373"/>
                    </a:lnTo>
                    <a:lnTo>
                      <a:pt x="283" y="373"/>
                    </a:lnTo>
                    <a:lnTo>
                      <a:pt x="283" y="374"/>
                    </a:lnTo>
                    <a:lnTo>
                      <a:pt x="283" y="373"/>
                    </a:lnTo>
                    <a:lnTo>
                      <a:pt x="282" y="373"/>
                    </a:lnTo>
                    <a:lnTo>
                      <a:pt x="282" y="374"/>
                    </a:lnTo>
                    <a:lnTo>
                      <a:pt x="282" y="376"/>
                    </a:lnTo>
                    <a:lnTo>
                      <a:pt x="280" y="376"/>
                    </a:lnTo>
                    <a:lnTo>
                      <a:pt x="280" y="378"/>
                    </a:lnTo>
                    <a:lnTo>
                      <a:pt x="278" y="378"/>
                    </a:lnTo>
                    <a:lnTo>
                      <a:pt x="278" y="376"/>
                    </a:lnTo>
                    <a:lnTo>
                      <a:pt x="277" y="376"/>
                    </a:lnTo>
                    <a:lnTo>
                      <a:pt x="275" y="376"/>
                    </a:lnTo>
                    <a:lnTo>
                      <a:pt x="277" y="378"/>
                    </a:lnTo>
                    <a:lnTo>
                      <a:pt x="275" y="378"/>
                    </a:lnTo>
                    <a:lnTo>
                      <a:pt x="275" y="380"/>
                    </a:lnTo>
                    <a:lnTo>
                      <a:pt x="277" y="381"/>
                    </a:lnTo>
                    <a:lnTo>
                      <a:pt x="275" y="381"/>
                    </a:lnTo>
                    <a:lnTo>
                      <a:pt x="275" y="383"/>
                    </a:lnTo>
                    <a:lnTo>
                      <a:pt x="275" y="385"/>
                    </a:lnTo>
                    <a:lnTo>
                      <a:pt x="273" y="385"/>
                    </a:lnTo>
                    <a:lnTo>
                      <a:pt x="273" y="383"/>
                    </a:lnTo>
                    <a:lnTo>
                      <a:pt x="272" y="383"/>
                    </a:lnTo>
                    <a:lnTo>
                      <a:pt x="270" y="383"/>
                    </a:lnTo>
                    <a:lnTo>
                      <a:pt x="270" y="385"/>
                    </a:lnTo>
                    <a:lnTo>
                      <a:pt x="268" y="385"/>
                    </a:lnTo>
                    <a:lnTo>
                      <a:pt x="270" y="385"/>
                    </a:lnTo>
                    <a:lnTo>
                      <a:pt x="268" y="386"/>
                    </a:lnTo>
                    <a:lnTo>
                      <a:pt x="266" y="388"/>
                    </a:lnTo>
                    <a:lnTo>
                      <a:pt x="268" y="388"/>
                    </a:lnTo>
                    <a:lnTo>
                      <a:pt x="268" y="390"/>
                    </a:lnTo>
                    <a:lnTo>
                      <a:pt x="266" y="390"/>
                    </a:lnTo>
                    <a:lnTo>
                      <a:pt x="266" y="391"/>
                    </a:lnTo>
                    <a:lnTo>
                      <a:pt x="265" y="391"/>
                    </a:lnTo>
                    <a:lnTo>
                      <a:pt x="263" y="391"/>
                    </a:lnTo>
                    <a:lnTo>
                      <a:pt x="263" y="393"/>
                    </a:lnTo>
                    <a:lnTo>
                      <a:pt x="261" y="391"/>
                    </a:lnTo>
                    <a:lnTo>
                      <a:pt x="261" y="390"/>
                    </a:lnTo>
                    <a:lnTo>
                      <a:pt x="263" y="388"/>
                    </a:lnTo>
                    <a:lnTo>
                      <a:pt x="263" y="386"/>
                    </a:lnTo>
                    <a:lnTo>
                      <a:pt x="265" y="386"/>
                    </a:lnTo>
                    <a:lnTo>
                      <a:pt x="265" y="385"/>
                    </a:lnTo>
                    <a:lnTo>
                      <a:pt x="263" y="385"/>
                    </a:lnTo>
                    <a:lnTo>
                      <a:pt x="263" y="383"/>
                    </a:lnTo>
                    <a:lnTo>
                      <a:pt x="263" y="381"/>
                    </a:lnTo>
                    <a:lnTo>
                      <a:pt x="261" y="381"/>
                    </a:lnTo>
                    <a:lnTo>
                      <a:pt x="260" y="381"/>
                    </a:lnTo>
                    <a:lnTo>
                      <a:pt x="258" y="381"/>
                    </a:lnTo>
                    <a:lnTo>
                      <a:pt x="256" y="381"/>
                    </a:lnTo>
                    <a:lnTo>
                      <a:pt x="255" y="381"/>
                    </a:lnTo>
                    <a:lnTo>
                      <a:pt x="255" y="383"/>
                    </a:lnTo>
                    <a:lnTo>
                      <a:pt x="253" y="383"/>
                    </a:lnTo>
                    <a:lnTo>
                      <a:pt x="251" y="383"/>
                    </a:lnTo>
                    <a:lnTo>
                      <a:pt x="251" y="385"/>
                    </a:lnTo>
                    <a:lnTo>
                      <a:pt x="249" y="385"/>
                    </a:lnTo>
                    <a:lnTo>
                      <a:pt x="249" y="386"/>
                    </a:lnTo>
                    <a:lnTo>
                      <a:pt x="248" y="386"/>
                    </a:lnTo>
                    <a:lnTo>
                      <a:pt x="248" y="388"/>
                    </a:lnTo>
                    <a:lnTo>
                      <a:pt x="246" y="388"/>
                    </a:lnTo>
                    <a:lnTo>
                      <a:pt x="244" y="388"/>
                    </a:lnTo>
                    <a:lnTo>
                      <a:pt x="244" y="390"/>
                    </a:lnTo>
                    <a:lnTo>
                      <a:pt x="243" y="390"/>
                    </a:lnTo>
                    <a:lnTo>
                      <a:pt x="241" y="390"/>
                    </a:lnTo>
                    <a:lnTo>
                      <a:pt x="241" y="388"/>
                    </a:lnTo>
                    <a:lnTo>
                      <a:pt x="239" y="388"/>
                    </a:lnTo>
                    <a:lnTo>
                      <a:pt x="238" y="390"/>
                    </a:lnTo>
                    <a:lnTo>
                      <a:pt x="236" y="390"/>
                    </a:lnTo>
                    <a:lnTo>
                      <a:pt x="219" y="373"/>
                    </a:lnTo>
                    <a:lnTo>
                      <a:pt x="217" y="373"/>
                    </a:lnTo>
                    <a:lnTo>
                      <a:pt x="217" y="371"/>
                    </a:lnTo>
                    <a:lnTo>
                      <a:pt x="219" y="371"/>
                    </a:lnTo>
                    <a:lnTo>
                      <a:pt x="219" y="369"/>
                    </a:lnTo>
                    <a:lnTo>
                      <a:pt x="219" y="368"/>
                    </a:lnTo>
                    <a:lnTo>
                      <a:pt x="217" y="368"/>
                    </a:lnTo>
                    <a:lnTo>
                      <a:pt x="217" y="366"/>
                    </a:lnTo>
                    <a:lnTo>
                      <a:pt x="217" y="364"/>
                    </a:lnTo>
                    <a:lnTo>
                      <a:pt x="215" y="364"/>
                    </a:lnTo>
                    <a:lnTo>
                      <a:pt x="215" y="363"/>
                    </a:lnTo>
                    <a:lnTo>
                      <a:pt x="215" y="361"/>
                    </a:lnTo>
                    <a:lnTo>
                      <a:pt x="215" y="359"/>
                    </a:lnTo>
                    <a:lnTo>
                      <a:pt x="214" y="359"/>
                    </a:lnTo>
                    <a:lnTo>
                      <a:pt x="214" y="357"/>
                    </a:lnTo>
                    <a:lnTo>
                      <a:pt x="214" y="356"/>
                    </a:lnTo>
                    <a:lnTo>
                      <a:pt x="212" y="356"/>
                    </a:lnTo>
                    <a:lnTo>
                      <a:pt x="212" y="354"/>
                    </a:lnTo>
                    <a:lnTo>
                      <a:pt x="212" y="352"/>
                    </a:lnTo>
                    <a:lnTo>
                      <a:pt x="212" y="351"/>
                    </a:lnTo>
                    <a:lnTo>
                      <a:pt x="210" y="349"/>
                    </a:lnTo>
                    <a:lnTo>
                      <a:pt x="209" y="347"/>
                    </a:lnTo>
                    <a:lnTo>
                      <a:pt x="210" y="347"/>
                    </a:lnTo>
                    <a:lnTo>
                      <a:pt x="210" y="346"/>
                    </a:lnTo>
                    <a:lnTo>
                      <a:pt x="210" y="344"/>
                    </a:lnTo>
                    <a:lnTo>
                      <a:pt x="209" y="342"/>
                    </a:lnTo>
                    <a:lnTo>
                      <a:pt x="209" y="344"/>
                    </a:lnTo>
                    <a:lnTo>
                      <a:pt x="209" y="342"/>
                    </a:lnTo>
                    <a:lnTo>
                      <a:pt x="207" y="342"/>
                    </a:lnTo>
                    <a:lnTo>
                      <a:pt x="207" y="340"/>
                    </a:lnTo>
                    <a:lnTo>
                      <a:pt x="207" y="339"/>
                    </a:lnTo>
                    <a:lnTo>
                      <a:pt x="205" y="339"/>
                    </a:lnTo>
                    <a:lnTo>
                      <a:pt x="207" y="339"/>
                    </a:lnTo>
                    <a:lnTo>
                      <a:pt x="207" y="337"/>
                    </a:lnTo>
                    <a:lnTo>
                      <a:pt x="207" y="335"/>
                    </a:lnTo>
                    <a:lnTo>
                      <a:pt x="207" y="334"/>
                    </a:lnTo>
                    <a:lnTo>
                      <a:pt x="205" y="334"/>
                    </a:lnTo>
                    <a:lnTo>
                      <a:pt x="205" y="332"/>
                    </a:lnTo>
                    <a:lnTo>
                      <a:pt x="204" y="332"/>
                    </a:lnTo>
                    <a:lnTo>
                      <a:pt x="202" y="330"/>
                    </a:lnTo>
                    <a:lnTo>
                      <a:pt x="202" y="329"/>
                    </a:lnTo>
                    <a:lnTo>
                      <a:pt x="200" y="329"/>
                    </a:lnTo>
                    <a:lnTo>
                      <a:pt x="200" y="327"/>
                    </a:lnTo>
                    <a:lnTo>
                      <a:pt x="198" y="327"/>
                    </a:lnTo>
                    <a:lnTo>
                      <a:pt x="197" y="325"/>
                    </a:lnTo>
                    <a:lnTo>
                      <a:pt x="195" y="325"/>
                    </a:lnTo>
                    <a:lnTo>
                      <a:pt x="195" y="323"/>
                    </a:lnTo>
                    <a:lnTo>
                      <a:pt x="193" y="322"/>
                    </a:lnTo>
                    <a:lnTo>
                      <a:pt x="193" y="320"/>
                    </a:lnTo>
                    <a:lnTo>
                      <a:pt x="192" y="320"/>
                    </a:lnTo>
                    <a:lnTo>
                      <a:pt x="190" y="320"/>
                    </a:lnTo>
                    <a:lnTo>
                      <a:pt x="188" y="320"/>
                    </a:lnTo>
                    <a:lnTo>
                      <a:pt x="188" y="318"/>
                    </a:lnTo>
                    <a:lnTo>
                      <a:pt x="187" y="320"/>
                    </a:lnTo>
                    <a:lnTo>
                      <a:pt x="187" y="318"/>
                    </a:lnTo>
                    <a:lnTo>
                      <a:pt x="185" y="320"/>
                    </a:lnTo>
                    <a:lnTo>
                      <a:pt x="185" y="318"/>
                    </a:lnTo>
                    <a:lnTo>
                      <a:pt x="187" y="317"/>
                    </a:lnTo>
                    <a:lnTo>
                      <a:pt x="190" y="313"/>
                    </a:lnTo>
                    <a:lnTo>
                      <a:pt x="193" y="310"/>
                    </a:lnTo>
                    <a:lnTo>
                      <a:pt x="197" y="308"/>
                    </a:lnTo>
                    <a:lnTo>
                      <a:pt x="198" y="305"/>
                    </a:lnTo>
                    <a:lnTo>
                      <a:pt x="200" y="305"/>
                    </a:lnTo>
                    <a:lnTo>
                      <a:pt x="200" y="303"/>
                    </a:lnTo>
                    <a:lnTo>
                      <a:pt x="202" y="303"/>
                    </a:lnTo>
                    <a:lnTo>
                      <a:pt x="202" y="301"/>
                    </a:lnTo>
                    <a:lnTo>
                      <a:pt x="204" y="301"/>
                    </a:lnTo>
                    <a:lnTo>
                      <a:pt x="204" y="300"/>
                    </a:lnTo>
                    <a:lnTo>
                      <a:pt x="202" y="300"/>
                    </a:lnTo>
                    <a:lnTo>
                      <a:pt x="202" y="298"/>
                    </a:lnTo>
                    <a:lnTo>
                      <a:pt x="200" y="298"/>
                    </a:lnTo>
                    <a:lnTo>
                      <a:pt x="200" y="296"/>
                    </a:lnTo>
                    <a:lnTo>
                      <a:pt x="200" y="295"/>
                    </a:lnTo>
                    <a:lnTo>
                      <a:pt x="198" y="295"/>
                    </a:lnTo>
                    <a:lnTo>
                      <a:pt x="198" y="293"/>
                    </a:lnTo>
                    <a:lnTo>
                      <a:pt x="198" y="291"/>
                    </a:lnTo>
                    <a:lnTo>
                      <a:pt x="197" y="289"/>
                    </a:lnTo>
                    <a:lnTo>
                      <a:pt x="197" y="288"/>
                    </a:lnTo>
                    <a:lnTo>
                      <a:pt x="195" y="288"/>
                    </a:lnTo>
                    <a:lnTo>
                      <a:pt x="193" y="288"/>
                    </a:lnTo>
                    <a:lnTo>
                      <a:pt x="192" y="288"/>
                    </a:lnTo>
                    <a:lnTo>
                      <a:pt x="192" y="286"/>
                    </a:lnTo>
                    <a:lnTo>
                      <a:pt x="192" y="284"/>
                    </a:lnTo>
                    <a:lnTo>
                      <a:pt x="192" y="283"/>
                    </a:lnTo>
                    <a:lnTo>
                      <a:pt x="190" y="283"/>
                    </a:lnTo>
                    <a:lnTo>
                      <a:pt x="190" y="281"/>
                    </a:lnTo>
                    <a:lnTo>
                      <a:pt x="190" y="279"/>
                    </a:lnTo>
                    <a:lnTo>
                      <a:pt x="190" y="278"/>
                    </a:lnTo>
                    <a:lnTo>
                      <a:pt x="188" y="276"/>
                    </a:lnTo>
                    <a:lnTo>
                      <a:pt x="188" y="274"/>
                    </a:lnTo>
                    <a:lnTo>
                      <a:pt x="187" y="274"/>
                    </a:lnTo>
                    <a:lnTo>
                      <a:pt x="187" y="272"/>
                    </a:lnTo>
                    <a:lnTo>
                      <a:pt x="187" y="271"/>
                    </a:lnTo>
                    <a:lnTo>
                      <a:pt x="187" y="269"/>
                    </a:lnTo>
                    <a:lnTo>
                      <a:pt x="187" y="267"/>
                    </a:lnTo>
                    <a:lnTo>
                      <a:pt x="188" y="269"/>
                    </a:lnTo>
                    <a:lnTo>
                      <a:pt x="188" y="267"/>
                    </a:lnTo>
                    <a:lnTo>
                      <a:pt x="187" y="267"/>
                    </a:lnTo>
                    <a:lnTo>
                      <a:pt x="187" y="266"/>
                    </a:lnTo>
                    <a:lnTo>
                      <a:pt x="188" y="266"/>
                    </a:lnTo>
                    <a:lnTo>
                      <a:pt x="187" y="266"/>
                    </a:lnTo>
                    <a:lnTo>
                      <a:pt x="187" y="264"/>
                    </a:lnTo>
                    <a:lnTo>
                      <a:pt x="187" y="262"/>
                    </a:lnTo>
                    <a:lnTo>
                      <a:pt x="185" y="262"/>
                    </a:lnTo>
                    <a:lnTo>
                      <a:pt x="185" y="261"/>
                    </a:lnTo>
                    <a:lnTo>
                      <a:pt x="185" y="259"/>
                    </a:lnTo>
                    <a:lnTo>
                      <a:pt x="185" y="257"/>
                    </a:lnTo>
                    <a:lnTo>
                      <a:pt x="185" y="255"/>
                    </a:lnTo>
                    <a:lnTo>
                      <a:pt x="187" y="255"/>
                    </a:lnTo>
                    <a:lnTo>
                      <a:pt x="187" y="254"/>
                    </a:lnTo>
                    <a:lnTo>
                      <a:pt x="185" y="254"/>
                    </a:lnTo>
                    <a:lnTo>
                      <a:pt x="185" y="252"/>
                    </a:lnTo>
                    <a:lnTo>
                      <a:pt x="185" y="250"/>
                    </a:lnTo>
                    <a:lnTo>
                      <a:pt x="185" y="249"/>
                    </a:lnTo>
                    <a:lnTo>
                      <a:pt x="185" y="247"/>
                    </a:lnTo>
                    <a:lnTo>
                      <a:pt x="187" y="247"/>
                    </a:lnTo>
                    <a:lnTo>
                      <a:pt x="187" y="245"/>
                    </a:lnTo>
                    <a:lnTo>
                      <a:pt x="187" y="243"/>
                    </a:lnTo>
                    <a:lnTo>
                      <a:pt x="185" y="243"/>
                    </a:lnTo>
                    <a:lnTo>
                      <a:pt x="187" y="243"/>
                    </a:lnTo>
                    <a:lnTo>
                      <a:pt x="185" y="242"/>
                    </a:lnTo>
                    <a:lnTo>
                      <a:pt x="185" y="240"/>
                    </a:lnTo>
                    <a:lnTo>
                      <a:pt x="185" y="238"/>
                    </a:lnTo>
                    <a:lnTo>
                      <a:pt x="187" y="237"/>
                    </a:lnTo>
                    <a:lnTo>
                      <a:pt x="185" y="237"/>
                    </a:lnTo>
                    <a:lnTo>
                      <a:pt x="185" y="235"/>
                    </a:lnTo>
                    <a:lnTo>
                      <a:pt x="187" y="235"/>
                    </a:lnTo>
                    <a:lnTo>
                      <a:pt x="187" y="233"/>
                    </a:lnTo>
                    <a:lnTo>
                      <a:pt x="188" y="233"/>
                    </a:lnTo>
                    <a:lnTo>
                      <a:pt x="188" y="232"/>
                    </a:lnTo>
                    <a:lnTo>
                      <a:pt x="190" y="232"/>
                    </a:lnTo>
                    <a:lnTo>
                      <a:pt x="192" y="230"/>
                    </a:lnTo>
                    <a:lnTo>
                      <a:pt x="192" y="228"/>
                    </a:lnTo>
                    <a:lnTo>
                      <a:pt x="193" y="228"/>
                    </a:lnTo>
                    <a:lnTo>
                      <a:pt x="193" y="226"/>
                    </a:lnTo>
                    <a:lnTo>
                      <a:pt x="193" y="225"/>
                    </a:lnTo>
                    <a:lnTo>
                      <a:pt x="192" y="225"/>
                    </a:lnTo>
                    <a:lnTo>
                      <a:pt x="192" y="223"/>
                    </a:lnTo>
                    <a:lnTo>
                      <a:pt x="192" y="221"/>
                    </a:lnTo>
                    <a:lnTo>
                      <a:pt x="193" y="220"/>
                    </a:lnTo>
                    <a:lnTo>
                      <a:pt x="193" y="218"/>
                    </a:lnTo>
                    <a:lnTo>
                      <a:pt x="193" y="216"/>
                    </a:lnTo>
                    <a:lnTo>
                      <a:pt x="195" y="216"/>
                    </a:lnTo>
                    <a:lnTo>
                      <a:pt x="195" y="215"/>
                    </a:lnTo>
                    <a:lnTo>
                      <a:pt x="197" y="215"/>
                    </a:lnTo>
                    <a:lnTo>
                      <a:pt x="198" y="213"/>
                    </a:lnTo>
                    <a:lnTo>
                      <a:pt x="200" y="213"/>
                    </a:lnTo>
                    <a:lnTo>
                      <a:pt x="200" y="211"/>
                    </a:lnTo>
                    <a:lnTo>
                      <a:pt x="198" y="211"/>
                    </a:lnTo>
                    <a:lnTo>
                      <a:pt x="198" y="209"/>
                    </a:lnTo>
                    <a:lnTo>
                      <a:pt x="197" y="208"/>
                    </a:lnTo>
                    <a:lnTo>
                      <a:pt x="197" y="206"/>
                    </a:lnTo>
                    <a:lnTo>
                      <a:pt x="198" y="206"/>
                    </a:lnTo>
                    <a:lnTo>
                      <a:pt x="198" y="204"/>
                    </a:lnTo>
                    <a:lnTo>
                      <a:pt x="197" y="204"/>
                    </a:lnTo>
                    <a:lnTo>
                      <a:pt x="195" y="203"/>
                    </a:lnTo>
                    <a:lnTo>
                      <a:pt x="193" y="203"/>
                    </a:lnTo>
                    <a:lnTo>
                      <a:pt x="192" y="203"/>
                    </a:lnTo>
                    <a:lnTo>
                      <a:pt x="190" y="203"/>
                    </a:lnTo>
                    <a:lnTo>
                      <a:pt x="190" y="201"/>
                    </a:lnTo>
                    <a:lnTo>
                      <a:pt x="188" y="201"/>
                    </a:lnTo>
                    <a:lnTo>
                      <a:pt x="188" y="203"/>
                    </a:lnTo>
                    <a:lnTo>
                      <a:pt x="188" y="201"/>
                    </a:lnTo>
                    <a:lnTo>
                      <a:pt x="187" y="201"/>
                    </a:lnTo>
                    <a:lnTo>
                      <a:pt x="185" y="201"/>
                    </a:lnTo>
                    <a:lnTo>
                      <a:pt x="183" y="203"/>
                    </a:lnTo>
                    <a:lnTo>
                      <a:pt x="181" y="204"/>
                    </a:lnTo>
                    <a:lnTo>
                      <a:pt x="180" y="204"/>
                    </a:lnTo>
                    <a:lnTo>
                      <a:pt x="178" y="204"/>
                    </a:lnTo>
                    <a:lnTo>
                      <a:pt x="176" y="204"/>
                    </a:lnTo>
                    <a:lnTo>
                      <a:pt x="175" y="204"/>
                    </a:lnTo>
                    <a:lnTo>
                      <a:pt x="173" y="204"/>
                    </a:lnTo>
                    <a:lnTo>
                      <a:pt x="171" y="204"/>
                    </a:lnTo>
                    <a:lnTo>
                      <a:pt x="171" y="206"/>
                    </a:lnTo>
                    <a:lnTo>
                      <a:pt x="170" y="206"/>
                    </a:lnTo>
                    <a:lnTo>
                      <a:pt x="168" y="206"/>
                    </a:lnTo>
                    <a:lnTo>
                      <a:pt x="166" y="206"/>
                    </a:lnTo>
                    <a:lnTo>
                      <a:pt x="164" y="206"/>
                    </a:lnTo>
                    <a:lnTo>
                      <a:pt x="163" y="206"/>
                    </a:lnTo>
                    <a:lnTo>
                      <a:pt x="161" y="206"/>
                    </a:lnTo>
                    <a:lnTo>
                      <a:pt x="159" y="206"/>
                    </a:lnTo>
                    <a:lnTo>
                      <a:pt x="158" y="208"/>
                    </a:lnTo>
                    <a:lnTo>
                      <a:pt x="156" y="208"/>
                    </a:lnTo>
                    <a:lnTo>
                      <a:pt x="156" y="206"/>
                    </a:lnTo>
                    <a:lnTo>
                      <a:pt x="154" y="206"/>
                    </a:lnTo>
                    <a:lnTo>
                      <a:pt x="153" y="206"/>
                    </a:lnTo>
                    <a:lnTo>
                      <a:pt x="151" y="206"/>
                    </a:lnTo>
                    <a:lnTo>
                      <a:pt x="149" y="206"/>
                    </a:lnTo>
                    <a:lnTo>
                      <a:pt x="147" y="206"/>
                    </a:lnTo>
                    <a:lnTo>
                      <a:pt x="147" y="204"/>
                    </a:lnTo>
                    <a:lnTo>
                      <a:pt x="146" y="206"/>
                    </a:lnTo>
                    <a:lnTo>
                      <a:pt x="146" y="204"/>
                    </a:lnTo>
                    <a:lnTo>
                      <a:pt x="144" y="204"/>
                    </a:lnTo>
                    <a:lnTo>
                      <a:pt x="142" y="204"/>
                    </a:lnTo>
                    <a:lnTo>
                      <a:pt x="142" y="206"/>
                    </a:lnTo>
                    <a:lnTo>
                      <a:pt x="141" y="206"/>
                    </a:lnTo>
                    <a:lnTo>
                      <a:pt x="139" y="208"/>
                    </a:lnTo>
                    <a:lnTo>
                      <a:pt x="137" y="209"/>
                    </a:lnTo>
                    <a:lnTo>
                      <a:pt x="136" y="209"/>
                    </a:lnTo>
                    <a:lnTo>
                      <a:pt x="136" y="208"/>
                    </a:lnTo>
                    <a:lnTo>
                      <a:pt x="134" y="208"/>
                    </a:lnTo>
                    <a:lnTo>
                      <a:pt x="132" y="208"/>
                    </a:lnTo>
                    <a:lnTo>
                      <a:pt x="127" y="203"/>
                    </a:lnTo>
                    <a:lnTo>
                      <a:pt x="127" y="201"/>
                    </a:lnTo>
                    <a:lnTo>
                      <a:pt x="120" y="194"/>
                    </a:lnTo>
                    <a:lnTo>
                      <a:pt x="113" y="186"/>
                    </a:lnTo>
                    <a:lnTo>
                      <a:pt x="110" y="181"/>
                    </a:lnTo>
                    <a:lnTo>
                      <a:pt x="108" y="179"/>
                    </a:lnTo>
                    <a:lnTo>
                      <a:pt x="107" y="179"/>
                    </a:lnTo>
                    <a:lnTo>
                      <a:pt x="105" y="179"/>
                    </a:lnTo>
                    <a:lnTo>
                      <a:pt x="103" y="179"/>
                    </a:lnTo>
                    <a:lnTo>
                      <a:pt x="103" y="181"/>
                    </a:lnTo>
                    <a:lnTo>
                      <a:pt x="102" y="181"/>
                    </a:lnTo>
                    <a:lnTo>
                      <a:pt x="100" y="181"/>
                    </a:lnTo>
                    <a:lnTo>
                      <a:pt x="100" y="179"/>
                    </a:lnTo>
                    <a:lnTo>
                      <a:pt x="98" y="179"/>
                    </a:lnTo>
                    <a:lnTo>
                      <a:pt x="98" y="177"/>
                    </a:lnTo>
                    <a:lnTo>
                      <a:pt x="96" y="177"/>
                    </a:lnTo>
                    <a:lnTo>
                      <a:pt x="95" y="177"/>
                    </a:lnTo>
                    <a:lnTo>
                      <a:pt x="95" y="175"/>
                    </a:lnTo>
                    <a:lnTo>
                      <a:pt x="93" y="175"/>
                    </a:lnTo>
                    <a:lnTo>
                      <a:pt x="91" y="175"/>
                    </a:lnTo>
                    <a:lnTo>
                      <a:pt x="90" y="175"/>
                    </a:lnTo>
                    <a:lnTo>
                      <a:pt x="90" y="174"/>
                    </a:lnTo>
                    <a:lnTo>
                      <a:pt x="88" y="175"/>
                    </a:lnTo>
                    <a:lnTo>
                      <a:pt x="86" y="174"/>
                    </a:lnTo>
                    <a:lnTo>
                      <a:pt x="86" y="175"/>
                    </a:lnTo>
                    <a:lnTo>
                      <a:pt x="85" y="175"/>
                    </a:lnTo>
                    <a:lnTo>
                      <a:pt x="83" y="175"/>
                    </a:lnTo>
                    <a:lnTo>
                      <a:pt x="81" y="177"/>
                    </a:lnTo>
                    <a:lnTo>
                      <a:pt x="81" y="175"/>
                    </a:lnTo>
                    <a:lnTo>
                      <a:pt x="81" y="177"/>
                    </a:lnTo>
                    <a:lnTo>
                      <a:pt x="79" y="177"/>
                    </a:lnTo>
                    <a:lnTo>
                      <a:pt x="79" y="179"/>
                    </a:lnTo>
                    <a:lnTo>
                      <a:pt x="78" y="179"/>
                    </a:lnTo>
                    <a:lnTo>
                      <a:pt x="76" y="179"/>
                    </a:lnTo>
                    <a:lnTo>
                      <a:pt x="74" y="179"/>
                    </a:lnTo>
                    <a:lnTo>
                      <a:pt x="74" y="177"/>
                    </a:lnTo>
                    <a:lnTo>
                      <a:pt x="73" y="177"/>
                    </a:lnTo>
                    <a:lnTo>
                      <a:pt x="71" y="177"/>
                    </a:lnTo>
                    <a:lnTo>
                      <a:pt x="69" y="177"/>
                    </a:lnTo>
                    <a:lnTo>
                      <a:pt x="68" y="177"/>
                    </a:lnTo>
                    <a:lnTo>
                      <a:pt x="66" y="177"/>
                    </a:lnTo>
                    <a:lnTo>
                      <a:pt x="64" y="177"/>
                    </a:lnTo>
                    <a:lnTo>
                      <a:pt x="62" y="177"/>
                    </a:lnTo>
                    <a:lnTo>
                      <a:pt x="61" y="177"/>
                    </a:lnTo>
                    <a:lnTo>
                      <a:pt x="59" y="177"/>
                    </a:lnTo>
                    <a:lnTo>
                      <a:pt x="59" y="175"/>
                    </a:lnTo>
                    <a:lnTo>
                      <a:pt x="57" y="177"/>
                    </a:lnTo>
                    <a:lnTo>
                      <a:pt x="57" y="175"/>
                    </a:lnTo>
                    <a:lnTo>
                      <a:pt x="56" y="177"/>
                    </a:lnTo>
                    <a:lnTo>
                      <a:pt x="54" y="177"/>
                    </a:lnTo>
                    <a:lnTo>
                      <a:pt x="54" y="175"/>
                    </a:lnTo>
                    <a:lnTo>
                      <a:pt x="52" y="175"/>
                    </a:lnTo>
                    <a:lnTo>
                      <a:pt x="51" y="175"/>
                    </a:lnTo>
                    <a:lnTo>
                      <a:pt x="51" y="177"/>
                    </a:lnTo>
                    <a:lnTo>
                      <a:pt x="49" y="177"/>
                    </a:lnTo>
                    <a:lnTo>
                      <a:pt x="47" y="177"/>
                    </a:lnTo>
                    <a:lnTo>
                      <a:pt x="45" y="177"/>
                    </a:lnTo>
                    <a:lnTo>
                      <a:pt x="44" y="177"/>
                    </a:lnTo>
                    <a:lnTo>
                      <a:pt x="42" y="175"/>
                    </a:lnTo>
                    <a:lnTo>
                      <a:pt x="40" y="172"/>
                    </a:lnTo>
                    <a:lnTo>
                      <a:pt x="40" y="170"/>
                    </a:lnTo>
                    <a:lnTo>
                      <a:pt x="39" y="170"/>
                    </a:lnTo>
                    <a:lnTo>
                      <a:pt x="39" y="169"/>
                    </a:lnTo>
                    <a:lnTo>
                      <a:pt x="39" y="167"/>
                    </a:lnTo>
                    <a:lnTo>
                      <a:pt x="40" y="167"/>
                    </a:lnTo>
                    <a:lnTo>
                      <a:pt x="39" y="167"/>
                    </a:lnTo>
                    <a:lnTo>
                      <a:pt x="39" y="165"/>
                    </a:lnTo>
                    <a:lnTo>
                      <a:pt x="37" y="164"/>
                    </a:lnTo>
                    <a:lnTo>
                      <a:pt x="37" y="165"/>
                    </a:lnTo>
                    <a:lnTo>
                      <a:pt x="35" y="165"/>
                    </a:lnTo>
                    <a:lnTo>
                      <a:pt x="34" y="165"/>
                    </a:lnTo>
                    <a:lnTo>
                      <a:pt x="34" y="164"/>
                    </a:lnTo>
                    <a:lnTo>
                      <a:pt x="32" y="165"/>
                    </a:lnTo>
                    <a:lnTo>
                      <a:pt x="32" y="164"/>
                    </a:lnTo>
                    <a:lnTo>
                      <a:pt x="30" y="164"/>
                    </a:lnTo>
                    <a:lnTo>
                      <a:pt x="30" y="162"/>
                    </a:lnTo>
                    <a:lnTo>
                      <a:pt x="28" y="162"/>
                    </a:lnTo>
                    <a:lnTo>
                      <a:pt x="28" y="160"/>
                    </a:lnTo>
                    <a:lnTo>
                      <a:pt x="30" y="160"/>
                    </a:lnTo>
                    <a:lnTo>
                      <a:pt x="30" y="158"/>
                    </a:lnTo>
                    <a:lnTo>
                      <a:pt x="28" y="158"/>
                    </a:lnTo>
                    <a:lnTo>
                      <a:pt x="28" y="157"/>
                    </a:lnTo>
                    <a:lnTo>
                      <a:pt x="28" y="155"/>
                    </a:lnTo>
                    <a:lnTo>
                      <a:pt x="28" y="153"/>
                    </a:lnTo>
                    <a:lnTo>
                      <a:pt x="28" y="152"/>
                    </a:lnTo>
                    <a:lnTo>
                      <a:pt x="30" y="150"/>
                    </a:lnTo>
                    <a:lnTo>
                      <a:pt x="30" y="148"/>
                    </a:lnTo>
                    <a:lnTo>
                      <a:pt x="28" y="148"/>
                    </a:lnTo>
                    <a:lnTo>
                      <a:pt x="28" y="147"/>
                    </a:lnTo>
                    <a:lnTo>
                      <a:pt x="28" y="145"/>
                    </a:lnTo>
                    <a:lnTo>
                      <a:pt x="30" y="145"/>
                    </a:lnTo>
                    <a:lnTo>
                      <a:pt x="30" y="143"/>
                    </a:lnTo>
                    <a:lnTo>
                      <a:pt x="32" y="143"/>
                    </a:lnTo>
                    <a:lnTo>
                      <a:pt x="34" y="143"/>
                    </a:lnTo>
                    <a:lnTo>
                      <a:pt x="34" y="141"/>
                    </a:lnTo>
                    <a:lnTo>
                      <a:pt x="32" y="141"/>
                    </a:lnTo>
                    <a:lnTo>
                      <a:pt x="32" y="140"/>
                    </a:lnTo>
                    <a:lnTo>
                      <a:pt x="32" y="138"/>
                    </a:lnTo>
                    <a:lnTo>
                      <a:pt x="34" y="138"/>
                    </a:lnTo>
                    <a:lnTo>
                      <a:pt x="32" y="138"/>
                    </a:lnTo>
                    <a:lnTo>
                      <a:pt x="32" y="136"/>
                    </a:lnTo>
                    <a:lnTo>
                      <a:pt x="32" y="135"/>
                    </a:lnTo>
                    <a:lnTo>
                      <a:pt x="32" y="133"/>
                    </a:lnTo>
                    <a:lnTo>
                      <a:pt x="32" y="131"/>
                    </a:lnTo>
                    <a:lnTo>
                      <a:pt x="30" y="131"/>
                    </a:lnTo>
                    <a:lnTo>
                      <a:pt x="28" y="130"/>
                    </a:lnTo>
                    <a:lnTo>
                      <a:pt x="28" y="128"/>
                    </a:lnTo>
                    <a:lnTo>
                      <a:pt x="27" y="126"/>
                    </a:lnTo>
                    <a:lnTo>
                      <a:pt x="25" y="126"/>
                    </a:lnTo>
                    <a:lnTo>
                      <a:pt x="25" y="124"/>
                    </a:lnTo>
                    <a:lnTo>
                      <a:pt x="23" y="124"/>
                    </a:lnTo>
                    <a:lnTo>
                      <a:pt x="23" y="123"/>
                    </a:lnTo>
                    <a:lnTo>
                      <a:pt x="22" y="121"/>
                    </a:lnTo>
                    <a:lnTo>
                      <a:pt x="22" y="118"/>
                    </a:lnTo>
                    <a:lnTo>
                      <a:pt x="20" y="113"/>
                    </a:lnTo>
                    <a:lnTo>
                      <a:pt x="20" y="111"/>
                    </a:lnTo>
                    <a:lnTo>
                      <a:pt x="20" y="109"/>
                    </a:lnTo>
                    <a:lnTo>
                      <a:pt x="18" y="107"/>
                    </a:lnTo>
                    <a:lnTo>
                      <a:pt x="18" y="106"/>
                    </a:lnTo>
                    <a:lnTo>
                      <a:pt x="17" y="106"/>
                    </a:lnTo>
                    <a:lnTo>
                      <a:pt x="17" y="104"/>
                    </a:lnTo>
                    <a:lnTo>
                      <a:pt x="17" y="106"/>
                    </a:lnTo>
                    <a:lnTo>
                      <a:pt x="15" y="106"/>
                    </a:lnTo>
                    <a:lnTo>
                      <a:pt x="13" y="106"/>
                    </a:lnTo>
                    <a:lnTo>
                      <a:pt x="13" y="107"/>
                    </a:lnTo>
                    <a:lnTo>
                      <a:pt x="13" y="106"/>
                    </a:lnTo>
                    <a:lnTo>
                      <a:pt x="11" y="106"/>
                    </a:lnTo>
                    <a:lnTo>
                      <a:pt x="11" y="104"/>
                    </a:lnTo>
                    <a:lnTo>
                      <a:pt x="13" y="104"/>
                    </a:lnTo>
                    <a:lnTo>
                      <a:pt x="11" y="104"/>
                    </a:lnTo>
                    <a:lnTo>
                      <a:pt x="11" y="102"/>
                    </a:lnTo>
                    <a:lnTo>
                      <a:pt x="11" y="101"/>
                    </a:lnTo>
                    <a:lnTo>
                      <a:pt x="11" y="99"/>
                    </a:lnTo>
                    <a:lnTo>
                      <a:pt x="10" y="101"/>
                    </a:lnTo>
                    <a:lnTo>
                      <a:pt x="8" y="101"/>
                    </a:lnTo>
                    <a:lnTo>
                      <a:pt x="8" y="102"/>
                    </a:lnTo>
                    <a:lnTo>
                      <a:pt x="6" y="102"/>
                    </a:lnTo>
                    <a:lnTo>
                      <a:pt x="5" y="104"/>
                    </a:lnTo>
                    <a:lnTo>
                      <a:pt x="3" y="104"/>
                    </a:lnTo>
                    <a:lnTo>
                      <a:pt x="1" y="104"/>
                    </a:lnTo>
                    <a:lnTo>
                      <a:pt x="0" y="104"/>
                    </a:lnTo>
                    <a:lnTo>
                      <a:pt x="0" y="102"/>
                    </a:lnTo>
                    <a:lnTo>
                      <a:pt x="0" y="101"/>
                    </a:lnTo>
                    <a:lnTo>
                      <a:pt x="1" y="101"/>
                    </a:lnTo>
                    <a:lnTo>
                      <a:pt x="1" y="99"/>
                    </a:lnTo>
                    <a:lnTo>
                      <a:pt x="3" y="97"/>
                    </a:lnTo>
                    <a:lnTo>
                      <a:pt x="3" y="96"/>
                    </a:lnTo>
                    <a:lnTo>
                      <a:pt x="5" y="96"/>
                    </a:lnTo>
                    <a:lnTo>
                      <a:pt x="5" y="94"/>
                    </a:lnTo>
                    <a:lnTo>
                      <a:pt x="5" y="92"/>
                    </a:lnTo>
                    <a:lnTo>
                      <a:pt x="6" y="92"/>
                    </a:lnTo>
                    <a:lnTo>
                      <a:pt x="6" y="90"/>
                    </a:lnTo>
                    <a:lnTo>
                      <a:pt x="8" y="89"/>
                    </a:lnTo>
                    <a:lnTo>
                      <a:pt x="8" y="87"/>
                    </a:lnTo>
                    <a:lnTo>
                      <a:pt x="10" y="87"/>
                    </a:lnTo>
                    <a:lnTo>
                      <a:pt x="10" y="85"/>
                    </a:lnTo>
                    <a:lnTo>
                      <a:pt x="11" y="84"/>
                    </a:lnTo>
                    <a:lnTo>
                      <a:pt x="11" y="82"/>
                    </a:lnTo>
                    <a:lnTo>
                      <a:pt x="13" y="82"/>
                    </a:lnTo>
                    <a:lnTo>
                      <a:pt x="13" y="80"/>
                    </a:lnTo>
                    <a:lnTo>
                      <a:pt x="11" y="80"/>
                    </a:lnTo>
                    <a:lnTo>
                      <a:pt x="11" y="78"/>
                    </a:lnTo>
                    <a:lnTo>
                      <a:pt x="11" y="77"/>
                    </a:lnTo>
                    <a:lnTo>
                      <a:pt x="11" y="75"/>
                    </a:lnTo>
                    <a:lnTo>
                      <a:pt x="13" y="75"/>
                    </a:lnTo>
                    <a:lnTo>
                      <a:pt x="13" y="73"/>
                    </a:lnTo>
                    <a:lnTo>
                      <a:pt x="13" y="72"/>
                    </a:lnTo>
                    <a:lnTo>
                      <a:pt x="15" y="72"/>
                    </a:lnTo>
                    <a:lnTo>
                      <a:pt x="13" y="70"/>
                    </a:lnTo>
                    <a:lnTo>
                      <a:pt x="15" y="70"/>
                    </a:lnTo>
                    <a:lnTo>
                      <a:pt x="15" y="68"/>
                    </a:lnTo>
                    <a:lnTo>
                      <a:pt x="15" y="67"/>
                    </a:lnTo>
                    <a:lnTo>
                      <a:pt x="15" y="65"/>
                    </a:lnTo>
                    <a:lnTo>
                      <a:pt x="15" y="63"/>
                    </a:lnTo>
                    <a:lnTo>
                      <a:pt x="15" y="61"/>
                    </a:lnTo>
                    <a:lnTo>
                      <a:pt x="15" y="60"/>
                    </a:lnTo>
                    <a:lnTo>
                      <a:pt x="17" y="60"/>
                    </a:lnTo>
                    <a:lnTo>
                      <a:pt x="17" y="58"/>
                    </a:lnTo>
                    <a:lnTo>
                      <a:pt x="17" y="56"/>
                    </a:lnTo>
                    <a:lnTo>
                      <a:pt x="18" y="55"/>
                    </a:lnTo>
                    <a:lnTo>
                      <a:pt x="20" y="55"/>
                    </a:lnTo>
                    <a:lnTo>
                      <a:pt x="20" y="53"/>
                    </a:lnTo>
                    <a:lnTo>
                      <a:pt x="20" y="51"/>
                    </a:lnTo>
                    <a:lnTo>
                      <a:pt x="20" y="50"/>
                    </a:lnTo>
                    <a:lnTo>
                      <a:pt x="22" y="50"/>
                    </a:lnTo>
                    <a:lnTo>
                      <a:pt x="22" y="48"/>
                    </a:lnTo>
                    <a:lnTo>
                      <a:pt x="22" y="46"/>
                    </a:lnTo>
                    <a:lnTo>
                      <a:pt x="23" y="44"/>
                    </a:lnTo>
                    <a:lnTo>
                      <a:pt x="25" y="44"/>
                    </a:lnTo>
                    <a:lnTo>
                      <a:pt x="27" y="43"/>
                    </a:lnTo>
                    <a:lnTo>
                      <a:pt x="27" y="41"/>
                    </a:lnTo>
                    <a:lnTo>
                      <a:pt x="28" y="39"/>
                    </a:lnTo>
                    <a:lnTo>
                      <a:pt x="28" y="38"/>
                    </a:lnTo>
                    <a:lnTo>
                      <a:pt x="30" y="36"/>
                    </a:lnTo>
                    <a:lnTo>
                      <a:pt x="30" y="38"/>
                    </a:lnTo>
                    <a:lnTo>
                      <a:pt x="30" y="36"/>
                    </a:lnTo>
                    <a:lnTo>
                      <a:pt x="32" y="36"/>
                    </a:lnTo>
                    <a:lnTo>
                      <a:pt x="34" y="36"/>
                    </a:lnTo>
                    <a:lnTo>
                      <a:pt x="35" y="36"/>
                    </a:lnTo>
                    <a:lnTo>
                      <a:pt x="37" y="36"/>
                    </a:lnTo>
                    <a:lnTo>
                      <a:pt x="39" y="33"/>
                    </a:lnTo>
                    <a:lnTo>
                      <a:pt x="40" y="29"/>
                    </a:lnTo>
                    <a:lnTo>
                      <a:pt x="40" y="27"/>
                    </a:lnTo>
                    <a:lnTo>
                      <a:pt x="42" y="27"/>
                    </a:lnTo>
                    <a:lnTo>
                      <a:pt x="42" y="26"/>
                    </a:lnTo>
                    <a:lnTo>
                      <a:pt x="44" y="24"/>
                    </a:lnTo>
                    <a:lnTo>
                      <a:pt x="44" y="22"/>
                    </a:lnTo>
                    <a:lnTo>
                      <a:pt x="45" y="21"/>
                    </a:lnTo>
                    <a:lnTo>
                      <a:pt x="45" y="19"/>
                    </a:lnTo>
                    <a:lnTo>
                      <a:pt x="52" y="17"/>
                    </a:lnTo>
                    <a:lnTo>
                      <a:pt x="57" y="16"/>
                    </a:lnTo>
                    <a:lnTo>
                      <a:pt x="62" y="14"/>
                    </a:lnTo>
                    <a:lnTo>
                      <a:pt x="66" y="12"/>
                    </a:lnTo>
                    <a:lnTo>
                      <a:pt x="66" y="14"/>
                    </a:lnTo>
                    <a:lnTo>
                      <a:pt x="66" y="12"/>
                    </a:lnTo>
                    <a:lnTo>
                      <a:pt x="68" y="12"/>
                    </a:lnTo>
                    <a:lnTo>
                      <a:pt x="68" y="14"/>
                    </a:lnTo>
                    <a:lnTo>
                      <a:pt x="66" y="14"/>
                    </a:lnTo>
                    <a:lnTo>
                      <a:pt x="66" y="16"/>
                    </a:lnTo>
                    <a:lnTo>
                      <a:pt x="64" y="16"/>
                    </a:lnTo>
                    <a:lnTo>
                      <a:pt x="62" y="17"/>
                    </a:lnTo>
                    <a:lnTo>
                      <a:pt x="61" y="17"/>
                    </a:lnTo>
                    <a:lnTo>
                      <a:pt x="59" y="17"/>
                    </a:lnTo>
                    <a:lnTo>
                      <a:pt x="57" y="17"/>
                    </a:lnTo>
                    <a:lnTo>
                      <a:pt x="56" y="17"/>
                    </a:lnTo>
                    <a:lnTo>
                      <a:pt x="54" y="19"/>
                    </a:lnTo>
                    <a:lnTo>
                      <a:pt x="52" y="19"/>
                    </a:lnTo>
                    <a:lnTo>
                      <a:pt x="51" y="19"/>
                    </a:lnTo>
                    <a:lnTo>
                      <a:pt x="49" y="19"/>
                    </a:lnTo>
                    <a:lnTo>
                      <a:pt x="49" y="21"/>
                    </a:lnTo>
                    <a:lnTo>
                      <a:pt x="47" y="21"/>
                    </a:lnTo>
                    <a:lnTo>
                      <a:pt x="45" y="21"/>
                    </a:lnTo>
                    <a:lnTo>
                      <a:pt x="45" y="22"/>
                    </a:lnTo>
                    <a:lnTo>
                      <a:pt x="45" y="24"/>
                    </a:lnTo>
                    <a:lnTo>
                      <a:pt x="45" y="26"/>
                    </a:lnTo>
                    <a:lnTo>
                      <a:pt x="45" y="27"/>
                    </a:lnTo>
                    <a:lnTo>
                      <a:pt x="47" y="27"/>
                    </a:lnTo>
                    <a:lnTo>
                      <a:pt x="47" y="29"/>
                    </a:lnTo>
                    <a:lnTo>
                      <a:pt x="47" y="31"/>
                    </a:lnTo>
                    <a:lnTo>
                      <a:pt x="49" y="33"/>
                    </a:lnTo>
                    <a:lnTo>
                      <a:pt x="49" y="34"/>
                    </a:lnTo>
                    <a:lnTo>
                      <a:pt x="51" y="34"/>
                    </a:lnTo>
                    <a:lnTo>
                      <a:pt x="51" y="36"/>
                    </a:lnTo>
                    <a:lnTo>
                      <a:pt x="52" y="38"/>
                    </a:lnTo>
                    <a:lnTo>
                      <a:pt x="54" y="38"/>
                    </a:lnTo>
                    <a:lnTo>
                      <a:pt x="54" y="39"/>
                    </a:lnTo>
                    <a:lnTo>
                      <a:pt x="56" y="39"/>
                    </a:lnTo>
                    <a:lnTo>
                      <a:pt x="56" y="41"/>
                    </a:lnTo>
                    <a:lnTo>
                      <a:pt x="57" y="41"/>
                    </a:lnTo>
                    <a:lnTo>
                      <a:pt x="57" y="43"/>
                    </a:lnTo>
                    <a:lnTo>
                      <a:pt x="57" y="41"/>
                    </a:lnTo>
                    <a:lnTo>
                      <a:pt x="56" y="41"/>
                    </a:lnTo>
                    <a:lnTo>
                      <a:pt x="54" y="41"/>
                    </a:lnTo>
                    <a:lnTo>
                      <a:pt x="52" y="41"/>
                    </a:lnTo>
                    <a:lnTo>
                      <a:pt x="54" y="43"/>
                    </a:lnTo>
                    <a:lnTo>
                      <a:pt x="54" y="44"/>
                    </a:lnTo>
                    <a:lnTo>
                      <a:pt x="54" y="46"/>
                    </a:lnTo>
                    <a:lnTo>
                      <a:pt x="56" y="46"/>
                    </a:lnTo>
                    <a:lnTo>
                      <a:pt x="56" y="48"/>
                    </a:lnTo>
                    <a:lnTo>
                      <a:pt x="56" y="50"/>
                    </a:lnTo>
                    <a:lnTo>
                      <a:pt x="57" y="50"/>
                    </a:lnTo>
                    <a:lnTo>
                      <a:pt x="56" y="50"/>
                    </a:lnTo>
                    <a:lnTo>
                      <a:pt x="57" y="50"/>
                    </a:lnTo>
                    <a:lnTo>
                      <a:pt x="59" y="51"/>
                    </a:lnTo>
                    <a:lnTo>
                      <a:pt x="59" y="53"/>
                    </a:lnTo>
                    <a:lnTo>
                      <a:pt x="57" y="53"/>
                    </a:lnTo>
                    <a:lnTo>
                      <a:pt x="57" y="55"/>
                    </a:lnTo>
                    <a:lnTo>
                      <a:pt x="57" y="56"/>
                    </a:lnTo>
                    <a:lnTo>
                      <a:pt x="57" y="58"/>
                    </a:lnTo>
                    <a:lnTo>
                      <a:pt x="57" y="60"/>
                    </a:lnTo>
                    <a:lnTo>
                      <a:pt x="56" y="60"/>
                    </a:lnTo>
                    <a:lnTo>
                      <a:pt x="56" y="61"/>
                    </a:lnTo>
                    <a:lnTo>
                      <a:pt x="54" y="61"/>
                    </a:lnTo>
                    <a:lnTo>
                      <a:pt x="54" y="63"/>
                    </a:lnTo>
                    <a:lnTo>
                      <a:pt x="52" y="63"/>
                    </a:lnTo>
                    <a:lnTo>
                      <a:pt x="52" y="65"/>
                    </a:lnTo>
                    <a:lnTo>
                      <a:pt x="51" y="65"/>
                    </a:lnTo>
                    <a:lnTo>
                      <a:pt x="51" y="67"/>
                    </a:lnTo>
                    <a:lnTo>
                      <a:pt x="51" y="68"/>
                    </a:lnTo>
                    <a:lnTo>
                      <a:pt x="49" y="68"/>
                    </a:lnTo>
                    <a:lnTo>
                      <a:pt x="49" y="70"/>
                    </a:lnTo>
                    <a:lnTo>
                      <a:pt x="49" y="72"/>
                    </a:lnTo>
                    <a:lnTo>
                      <a:pt x="47" y="72"/>
                    </a:lnTo>
                    <a:lnTo>
                      <a:pt x="45" y="72"/>
                    </a:lnTo>
                    <a:lnTo>
                      <a:pt x="45" y="73"/>
                    </a:lnTo>
                    <a:lnTo>
                      <a:pt x="45" y="75"/>
                    </a:lnTo>
                    <a:lnTo>
                      <a:pt x="44" y="75"/>
                    </a:lnTo>
                    <a:lnTo>
                      <a:pt x="44" y="77"/>
                    </a:lnTo>
                    <a:lnTo>
                      <a:pt x="44" y="78"/>
                    </a:lnTo>
                    <a:lnTo>
                      <a:pt x="42" y="78"/>
                    </a:lnTo>
                    <a:lnTo>
                      <a:pt x="42" y="80"/>
                    </a:lnTo>
                    <a:lnTo>
                      <a:pt x="40" y="80"/>
                    </a:lnTo>
                    <a:lnTo>
                      <a:pt x="40" y="82"/>
                    </a:lnTo>
                    <a:lnTo>
                      <a:pt x="40" y="84"/>
                    </a:lnTo>
                    <a:lnTo>
                      <a:pt x="42" y="84"/>
                    </a:lnTo>
                    <a:lnTo>
                      <a:pt x="42" y="85"/>
                    </a:lnTo>
                    <a:lnTo>
                      <a:pt x="44" y="85"/>
                    </a:lnTo>
                    <a:lnTo>
                      <a:pt x="44" y="87"/>
                    </a:lnTo>
                    <a:lnTo>
                      <a:pt x="45" y="87"/>
                    </a:lnTo>
                    <a:lnTo>
                      <a:pt x="45" y="89"/>
                    </a:lnTo>
                    <a:lnTo>
                      <a:pt x="45" y="90"/>
                    </a:lnTo>
                    <a:lnTo>
                      <a:pt x="45" y="89"/>
                    </a:lnTo>
                    <a:lnTo>
                      <a:pt x="45" y="90"/>
                    </a:lnTo>
                    <a:lnTo>
                      <a:pt x="44" y="90"/>
                    </a:lnTo>
                    <a:lnTo>
                      <a:pt x="45" y="90"/>
                    </a:lnTo>
                    <a:lnTo>
                      <a:pt x="45" y="92"/>
                    </a:lnTo>
                    <a:lnTo>
                      <a:pt x="47" y="92"/>
                    </a:lnTo>
                    <a:lnTo>
                      <a:pt x="47" y="94"/>
                    </a:lnTo>
                    <a:lnTo>
                      <a:pt x="49" y="94"/>
                    </a:lnTo>
                    <a:lnTo>
                      <a:pt x="51" y="96"/>
                    </a:lnTo>
                    <a:lnTo>
                      <a:pt x="49" y="96"/>
                    </a:lnTo>
                    <a:lnTo>
                      <a:pt x="47" y="96"/>
                    </a:lnTo>
                    <a:lnTo>
                      <a:pt x="47" y="97"/>
                    </a:lnTo>
                    <a:lnTo>
                      <a:pt x="49" y="97"/>
                    </a:lnTo>
                    <a:lnTo>
                      <a:pt x="49" y="96"/>
                    </a:lnTo>
                    <a:lnTo>
                      <a:pt x="51" y="96"/>
                    </a:lnTo>
                    <a:lnTo>
                      <a:pt x="51" y="97"/>
                    </a:lnTo>
                    <a:lnTo>
                      <a:pt x="52" y="97"/>
                    </a:lnTo>
                    <a:lnTo>
                      <a:pt x="52" y="96"/>
                    </a:lnTo>
                    <a:lnTo>
                      <a:pt x="52" y="97"/>
                    </a:lnTo>
                    <a:lnTo>
                      <a:pt x="54" y="97"/>
                    </a:lnTo>
                    <a:lnTo>
                      <a:pt x="54" y="96"/>
                    </a:lnTo>
                    <a:lnTo>
                      <a:pt x="54" y="97"/>
                    </a:lnTo>
                    <a:lnTo>
                      <a:pt x="54" y="99"/>
                    </a:lnTo>
                    <a:lnTo>
                      <a:pt x="54" y="101"/>
                    </a:lnTo>
                    <a:lnTo>
                      <a:pt x="52" y="101"/>
                    </a:lnTo>
                    <a:lnTo>
                      <a:pt x="51" y="102"/>
                    </a:lnTo>
                    <a:lnTo>
                      <a:pt x="52" y="102"/>
                    </a:lnTo>
                    <a:lnTo>
                      <a:pt x="54" y="102"/>
                    </a:lnTo>
                    <a:lnTo>
                      <a:pt x="52" y="102"/>
                    </a:lnTo>
                    <a:lnTo>
                      <a:pt x="54" y="102"/>
                    </a:lnTo>
                    <a:lnTo>
                      <a:pt x="54" y="104"/>
                    </a:lnTo>
                    <a:lnTo>
                      <a:pt x="54" y="106"/>
                    </a:lnTo>
                    <a:lnTo>
                      <a:pt x="52" y="106"/>
                    </a:lnTo>
                    <a:lnTo>
                      <a:pt x="54" y="106"/>
                    </a:lnTo>
                    <a:lnTo>
                      <a:pt x="54" y="107"/>
                    </a:lnTo>
                    <a:lnTo>
                      <a:pt x="56" y="107"/>
                    </a:lnTo>
                    <a:lnTo>
                      <a:pt x="57" y="107"/>
                    </a:lnTo>
                    <a:lnTo>
                      <a:pt x="57" y="109"/>
                    </a:lnTo>
                    <a:lnTo>
                      <a:pt x="59" y="109"/>
                    </a:lnTo>
                    <a:lnTo>
                      <a:pt x="59" y="107"/>
                    </a:lnTo>
                    <a:lnTo>
                      <a:pt x="61" y="109"/>
                    </a:lnTo>
                    <a:lnTo>
                      <a:pt x="61" y="107"/>
                    </a:lnTo>
                    <a:lnTo>
                      <a:pt x="62" y="107"/>
                    </a:lnTo>
                    <a:lnTo>
                      <a:pt x="64" y="107"/>
                    </a:lnTo>
                    <a:lnTo>
                      <a:pt x="66" y="107"/>
                    </a:lnTo>
                    <a:lnTo>
                      <a:pt x="68" y="107"/>
                    </a:lnTo>
                    <a:lnTo>
                      <a:pt x="68" y="106"/>
                    </a:lnTo>
                    <a:lnTo>
                      <a:pt x="69" y="106"/>
                    </a:lnTo>
                    <a:lnTo>
                      <a:pt x="69" y="104"/>
                    </a:lnTo>
                    <a:lnTo>
                      <a:pt x="71" y="104"/>
                    </a:lnTo>
                    <a:lnTo>
                      <a:pt x="71" y="102"/>
                    </a:lnTo>
                    <a:lnTo>
                      <a:pt x="73" y="102"/>
                    </a:lnTo>
                    <a:lnTo>
                      <a:pt x="73" y="101"/>
                    </a:lnTo>
                    <a:lnTo>
                      <a:pt x="74" y="101"/>
                    </a:lnTo>
                    <a:lnTo>
                      <a:pt x="74" y="99"/>
                    </a:lnTo>
                    <a:lnTo>
                      <a:pt x="76" y="99"/>
                    </a:lnTo>
                    <a:lnTo>
                      <a:pt x="76" y="97"/>
                    </a:lnTo>
                    <a:lnTo>
                      <a:pt x="76" y="96"/>
                    </a:lnTo>
                    <a:lnTo>
                      <a:pt x="76" y="94"/>
                    </a:lnTo>
                    <a:lnTo>
                      <a:pt x="76" y="92"/>
                    </a:lnTo>
                    <a:lnTo>
                      <a:pt x="76" y="90"/>
                    </a:lnTo>
                    <a:lnTo>
                      <a:pt x="76" y="89"/>
                    </a:lnTo>
                    <a:lnTo>
                      <a:pt x="76" y="87"/>
                    </a:lnTo>
                    <a:lnTo>
                      <a:pt x="78" y="87"/>
                    </a:lnTo>
                    <a:lnTo>
                      <a:pt x="76" y="85"/>
                    </a:lnTo>
                    <a:lnTo>
                      <a:pt x="78" y="85"/>
                    </a:lnTo>
                    <a:lnTo>
                      <a:pt x="78" y="84"/>
                    </a:lnTo>
                    <a:lnTo>
                      <a:pt x="76" y="84"/>
                    </a:lnTo>
                    <a:lnTo>
                      <a:pt x="76" y="82"/>
                    </a:lnTo>
                    <a:lnTo>
                      <a:pt x="76" y="80"/>
                    </a:lnTo>
                    <a:lnTo>
                      <a:pt x="74" y="78"/>
                    </a:lnTo>
                    <a:lnTo>
                      <a:pt x="74" y="77"/>
                    </a:lnTo>
                    <a:lnTo>
                      <a:pt x="73" y="77"/>
                    </a:lnTo>
                    <a:lnTo>
                      <a:pt x="71" y="77"/>
                    </a:lnTo>
                    <a:lnTo>
                      <a:pt x="71" y="75"/>
                    </a:lnTo>
                    <a:lnTo>
                      <a:pt x="71" y="73"/>
                    </a:lnTo>
                    <a:lnTo>
                      <a:pt x="71" y="72"/>
                    </a:lnTo>
                    <a:lnTo>
                      <a:pt x="69" y="72"/>
                    </a:lnTo>
                    <a:lnTo>
                      <a:pt x="69" y="70"/>
                    </a:lnTo>
                    <a:lnTo>
                      <a:pt x="68" y="68"/>
                    </a:lnTo>
                    <a:lnTo>
                      <a:pt x="66" y="68"/>
                    </a:lnTo>
                    <a:lnTo>
                      <a:pt x="66" y="67"/>
                    </a:lnTo>
                    <a:lnTo>
                      <a:pt x="66" y="65"/>
                    </a:lnTo>
                    <a:lnTo>
                      <a:pt x="64" y="65"/>
                    </a:lnTo>
                    <a:lnTo>
                      <a:pt x="64" y="63"/>
                    </a:lnTo>
                    <a:lnTo>
                      <a:pt x="62" y="63"/>
                    </a:lnTo>
                    <a:lnTo>
                      <a:pt x="62" y="61"/>
                    </a:lnTo>
                    <a:lnTo>
                      <a:pt x="62" y="60"/>
                    </a:lnTo>
                    <a:lnTo>
                      <a:pt x="62" y="58"/>
                    </a:lnTo>
                    <a:lnTo>
                      <a:pt x="61" y="58"/>
                    </a:lnTo>
                    <a:lnTo>
                      <a:pt x="61" y="56"/>
                    </a:lnTo>
                    <a:lnTo>
                      <a:pt x="61" y="55"/>
                    </a:lnTo>
                    <a:lnTo>
                      <a:pt x="62" y="55"/>
                    </a:lnTo>
                    <a:lnTo>
                      <a:pt x="61" y="55"/>
                    </a:lnTo>
                    <a:lnTo>
                      <a:pt x="61" y="53"/>
                    </a:lnTo>
                    <a:lnTo>
                      <a:pt x="61" y="51"/>
                    </a:lnTo>
                    <a:lnTo>
                      <a:pt x="61" y="50"/>
                    </a:lnTo>
                    <a:lnTo>
                      <a:pt x="59" y="50"/>
                    </a:lnTo>
                    <a:lnTo>
                      <a:pt x="59" y="48"/>
                    </a:lnTo>
                    <a:lnTo>
                      <a:pt x="61" y="48"/>
                    </a:lnTo>
                    <a:lnTo>
                      <a:pt x="62" y="48"/>
                    </a:lnTo>
                    <a:lnTo>
                      <a:pt x="64" y="48"/>
                    </a:lnTo>
                    <a:lnTo>
                      <a:pt x="64" y="46"/>
                    </a:lnTo>
                    <a:lnTo>
                      <a:pt x="64" y="44"/>
                    </a:lnTo>
                    <a:lnTo>
                      <a:pt x="62" y="44"/>
                    </a:lnTo>
                    <a:lnTo>
                      <a:pt x="62" y="43"/>
                    </a:lnTo>
                    <a:lnTo>
                      <a:pt x="64" y="43"/>
                    </a:lnTo>
                    <a:lnTo>
                      <a:pt x="64" y="44"/>
                    </a:lnTo>
                    <a:lnTo>
                      <a:pt x="64" y="43"/>
                    </a:lnTo>
                    <a:lnTo>
                      <a:pt x="62" y="43"/>
                    </a:lnTo>
                    <a:lnTo>
                      <a:pt x="64" y="43"/>
                    </a:lnTo>
                    <a:lnTo>
                      <a:pt x="66" y="43"/>
                    </a:lnTo>
                    <a:lnTo>
                      <a:pt x="68" y="43"/>
                    </a:lnTo>
                    <a:lnTo>
                      <a:pt x="69" y="43"/>
                    </a:lnTo>
                    <a:lnTo>
                      <a:pt x="69" y="41"/>
                    </a:lnTo>
                    <a:lnTo>
                      <a:pt x="71" y="41"/>
                    </a:lnTo>
                    <a:lnTo>
                      <a:pt x="73" y="41"/>
                    </a:lnTo>
                    <a:lnTo>
                      <a:pt x="73" y="39"/>
                    </a:lnTo>
                    <a:lnTo>
                      <a:pt x="74" y="39"/>
                    </a:lnTo>
                    <a:lnTo>
                      <a:pt x="76" y="39"/>
                    </a:lnTo>
                    <a:lnTo>
                      <a:pt x="76" y="38"/>
                    </a:lnTo>
                    <a:lnTo>
                      <a:pt x="78" y="38"/>
                    </a:lnTo>
                    <a:lnTo>
                      <a:pt x="79" y="38"/>
                    </a:lnTo>
                    <a:lnTo>
                      <a:pt x="79" y="36"/>
                    </a:lnTo>
                    <a:lnTo>
                      <a:pt x="81" y="36"/>
                    </a:lnTo>
                    <a:lnTo>
                      <a:pt x="83" y="36"/>
                    </a:lnTo>
                    <a:lnTo>
                      <a:pt x="83" y="34"/>
                    </a:lnTo>
                    <a:lnTo>
                      <a:pt x="85" y="34"/>
                    </a:lnTo>
                    <a:lnTo>
                      <a:pt x="86" y="34"/>
                    </a:lnTo>
                    <a:lnTo>
                      <a:pt x="88" y="34"/>
                    </a:lnTo>
                    <a:lnTo>
                      <a:pt x="88" y="33"/>
                    </a:lnTo>
                    <a:lnTo>
                      <a:pt x="90" y="33"/>
                    </a:lnTo>
                    <a:lnTo>
                      <a:pt x="91" y="33"/>
                    </a:lnTo>
                    <a:lnTo>
                      <a:pt x="93" y="33"/>
                    </a:lnTo>
                    <a:lnTo>
                      <a:pt x="95" y="33"/>
                    </a:lnTo>
                    <a:lnTo>
                      <a:pt x="96" y="31"/>
                    </a:lnTo>
                    <a:lnTo>
                      <a:pt x="95" y="33"/>
                    </a:lnTo>
                    <a:lnTo>
                      <a:pt x="95" y="31"/>
                    </a:lnTo>
                    <a:lnTo>
                      <a:pt x="96" y="31"/>
                    </a:lnTo>
                    <a:lnTo>
                      <a:pt x="98" y="31"/>
                    </a:lnTo>
                    <a:lnTo>
                      <a:pt x="100" y="31"/>
                    </a:lnTo>
                    <a:lnTo>
                      <a:pt x="102" y="31"/>
                    </a:lnTo>
                    <a:lnTo>
                      <a:pt x="102" y="29"/>
                    </a:lnTo>
                    <a:lnTo>
                      <a:pt x="103" y="29"/>
                    </a:lnTo>
                    <a:lnTo>
                      <a:pt x="105" y="29"/>
                    </a:lnTo>
                    <a:lnTo>
                      <a:pt x="107" y="29"/>
                    </a:lnTo>
                    <a:lnTo>
                      <a:pt x="107" y="27"/>
                    </a:lnTo>
                    <a:lnTo>
                      <a:pt x="107" y="26"/>
                    </a:lnTo>
                    <a:lnTo>
                      <a:pt x="108" y="26"/>
                    </a:lnTo>
                    <a:lnTo>
                      <a:pt x="107" y="26"/>
                    </a:lnTo>
                    <a:lnTo>
                      <a:pt x="108" y="26"/>
                    </a:lnTo>
                    <a:lnTo>
                      <a:pt x="110" y="26"/>
                    </a:lnTo>
                    <a:lnTo>
                      <a:pt x="110" y="24"/>
                    </a:lnTo>
                    <a:lnTo>
                      <a:pt x="112" y="24"/>
                    </a:lnTo>
                    <a:lnTo>
                      <a:pt x="110" y="24"/>
                    </a:lnTo>
                    <a:lnTo>
                      <a:pt x="110" y="22"/>
                    </a:lnTo>
                    <a:lnTo>
                      <a:pt x="108" y="22"/>
                    </a:lnTo>
                    <a:lnTo>
                      <a:pt x="110" y="22"/>
                    </a:lnTo>
                    <a:lnTo>
                      <a:pt x="108" y="22"/>
                    </a:lnTo>
                    <a:lnTo>
                      <a:pt x="110" y="22"/>
                    </a:lnTo>
                    <a:lnTo>
                      <a:pt x="110" y="24"/>
                    </a:lnTo>
                    <a:lnTo>
                      <a:pt x="112" y="24"/>
                    </a:lnTo>
                    <a:lnTo>
                      <a:pt x="112" y="22"/>
                    </a:lnTo>
                    <a:lnTo>
                      <a:pt x="112" y="24"/>
                    </a:lnTo>
                    <a:lnTo>
                      <a:pt x="113" y="24"/>
                    </a:lnTo>
                    <a:lnTo>
                      <a:pt x="113" y="22"/>
                    </a:lnTo>
                    <a:lnTo>
                      <a:pt x="113" y="24"/>
                    </a:lnTo>
                    <a:lnTo>
                      <a:pt x="115" y="22"/>
                    </a:lnTo>
                    <a:lnTo>
                      <a:pt x="115" y="24"/>
                    </a:lnTo>
                    <a:lnTo>
                      <a:pt x="117" y="24"/>
                    </a:lnTo>
                    <a:lnTo>
                      <a:pt x="117" y="26"/>
                    </a:lnTo>
                    <a:lnTo>
                      <a:pt x="119" y="26"/>
                    </a:lnTo>
                    <a:lnTo>
                      <a:pt x="120" y="26"/>
                    </a:lnTo>
                    <a:lnTo>
                      <a:pt x="120" y="24"/>
                    </a:lnTo>
                    <a:lnTo>
                      <a:pt x="122" y="24"/>
                    </a:lnTo>
                    <a:lnTo>
                      <a:pt x="120" y="22"/>
                    </a:lnTo>
                    <a:lnTo>
                      <a:pt x="120" y="21"/>
                    </a:lnTo>
                    <a:lnTo>
                      <a:pt x="120" y="19"/>
                    </a:lnTo>
                    <a:lnTo>
                      <a:pt x="119" y="19"/>
                    </a:lnTo>
                    <a:lnTo>
                      <a:pt x="119" y="17"/>
                    </a:lnTo>
                    <a:lnTo>
                      <a:pt x="117" y="17"/>
                    </a:lnTo>
                    <a:lnTo>
                      <a:pt x="117" y="19"/>
                    </a:lnTo>
                    <a:lnTo>
                      <a:pt x="117" y="17"/>
                    </a:lnTo>
                    <a:lnTo>
                      <a:pt x="115" y="17"/>
                    </a:lnTo>
                    <a:lnTo>
                      <a:pt x="115" y="19"/>
                    </a:lnTo>
                    <a:lnTo>
                      <a:pt x="113" y="19"/>
                    </a:lnTo>
                    <a:lnTo>
                      <a:pt x="115" y="19"/>
                    </a:lnTo>
                    <a:lnTo>
                      <a:pt x="113" y="17"/>
                    </a:lnTo>
                    <a:lnTo>
                      <a:pt x="113" y="19"/>
                    </a:lnTo>
                    <a:lnTo>
                      <a:pt x="113" y="17"/>
                    </a:lnTo>
                    <a:lnTo>
                      <a:pt x="113" y="19"/>
                    </a:lnTo>
                    <a:lnTo>
                      <a:pt x="112" y="19"/>
                    </a:lnTo>
                    <a:lnTo>
                      <a:pt x="110" y="19"/>
                    </a:lnTo>
                    <a:lnTo>
                      <a:pt x="108" y="19"/>
                    </a:lnTo>
                    <a:lnTo>
                      <a:pt x="107" y="19"/>
                    </a:lnTo>
                    <a:lnTo>
                      <a:pt x="107" y="21"/>
                    </a:lnTo>
                    <a:lnTo>
                      <a:pt x="105" y="21"/>
                    </a:lnTo>
                    <a:lnTo>
                      <a:pt x="105" y="19"/>
                    </a:lnTo>
                    <a:lnTo>
                      <a:pt x="105" y="17"/>
                    </a:lnTo>
                    <a:lnTo>
                      <a:pt x="105" y="16"/>
                    </a:lnTo>
                    <a:lnTo>
                      <a:pt x="105" y="17"/>
                    </a:lnTo>
                    <a:lnTo>
                      <a:pt x="105" y="16"/>
                    </a:lnTo>
                    <a:lnTo>
                      <a:pt x="105" y="14"/>
                    </a:lnTo>
                    <a:lnTo>
                      <a:pt x="105" y="16"/>
                    </a:lnTo>
                    <a:lnTo>
                      <a:pt x="103" y="14"/>
                    </a:lnTo>
                    <a:lnTo>
                      <a:pt x="103" y="12"/>
                    </a:lnTo>
                    <a:lnTo>
                      <a:pt x="102" y="12"/>
                    </a:lnTo>
                    <a:lnTo>
                      <a:pt x="103" y="10"/>
                    </a:lnTo>
                    <a:lnTo>
                      <a:pt x="102" y="10"/>
                    </a:lnTo>
                    <a:lnTo>
                      <a:pt x="103" y="9"/>
                    </a:lnTo>
                    <a:lnTo>
                      <a:pt x="103" y="7"/>
                    </a:lnTo>
                    <a:lnTo>
                      <a:pt x="105" y="5"/>
                    </a:lnTo>
                    <a:lnTo>
                      <a:pt x="105" y="4"/>
                    </a:lnTo>
                    <a:lnTo>
                      <a:pt x="107" y="4"/>
                    </a:lnTo>
                    <a:lnTo>
                      <a:pt x="107" y="2"/>
                    </a:lnTo>
                    <a:lnTo>
                      <a:pt x="108" y="2"/>
                    </a:lnTo>
                    <a:lnTo>
                      <a:pt x="110" y="0"/>
                    </a:lnTo>
                    <a:lnTo>
                      <a:pt x="112" y="0"/>
                    </a:lnTo>
                    <a:lnTo>
                      <a:pt x="113" y="0"/>
                    </a:lnTo>
                    <a:lnTo>
                      <a:pt x="115" y="0"/>
                    </a:lnTo>
                    <a:lnTo>
                      <a:pt x="115" y="2"/>
                    </a:lnTo>
                    <a:lnTo>
                      <a:pt x="117" y="2"/>
                    </a:lnTo>
                    <a:lnTo>
                      <a:pt x="117" y="4"/>
                    </a:lnTo>
                    <a:lnTo>
                      <a:pt x="117" y="5"/>
                    </a:lnTo>
                    <a:lnTo>
                      <a:pt x="117" y="7"/>
                    </a:lnTo>
                    <a:lnTo>
                      <a:pt x="117" y="5"/>
                    </a:lnTo>
                    <a:lnTo>
                      <a:pt x="119" y="5"/>
                    </a:lnTo>
                    <a:lnTo>
                      <a:pt x="119" y="7"/>
                    </a:lnTo>
                    <a:lnTo>
                      <a:pt x="119" y="9"/>
                    </a:lnTo>
                    <a:lnTo>
                      <a:pt x="119" y="10"/>
                    </a:lnTo>
                    <a:lnTo>
                      <a:pt x="119" y="12"/>
                    </a:lnTo>
                    <a:lnTo>
                      <a:pt x="119" y="14"/>
                    </a:lnTo>
                    <a:lnTo>
                      <a:pt x="120" y="16"/>
                    </a:lnTo>
                    <a:lnTo>
                      <a:pt x="120" y="17"/>
                    </a:lnTo>
                    <a:lnTo>
                      <a:pt x="122" y="19"/>
                    </a:lnTo>
                    <a:lnTo>
                      <a:pt x="122" y="21"/>
                    </a:lnTo>
                    <a:lnTo>
                      <a:pt x="122" y="22"/>
                    </a:lnTo>
                    <a:lnTo>
                      <a:pt x="124" y="22"/>
                    </a:lnTo>
                    <a:lnTo>
                      <a:pt x="124" y="24"/>
                    </a:lnTo>
                    <a:lnTo>
                      <a:pt x="125" y="24"/>
                    </a:lnTo>
                    <a:lnTo>
                      <a:pt x="125" y="26"/>
                    </a:lnTo>
                    <a:lnTo>
                      <a:pt x="127" y="26"/>
                    </a:lnTo>
                    <a:lnTo>
                      <a:pt x="127" y="24"/>
                    </a:lnTo>
                    <a:lnTo>
                      <a:pt x="129" y="24"/>
                    </a:lnTo>
                    <a:lnTo>
                      <a:pt x="130" y="24"/>
                    </a:lnTo>
                    <a:lnTo>
                      <a:pt x="132" y="24"/>
                    </a:lnTo>
                    <a:lnTo>
                      <a:pt x="134" y="24"/>
                    </a:lnTo>
                    <a:lnTo>
                      <a:pt x="136" y="24"/>
                    </a:lnTo>
                    <a:lnTo>
                      <a:pt x="136" y="22"/>
                    </a:lnTo>
                    <a:lnTo>
                      <a:pt x="137" y="22"/>
                    </a:lnTo>
                    <a:lnTo>
                      <a:pt x="139" y="24"/>
                    </a:lnTo>
                    <a:lnTo>
                      <a:pt x="141" y="24"/>
                    </a:lnTo>
                    <a:lnTo>
                      <a:pt x="142" y="24"/>
                    </a:lnTo>
                    <a:lnTo>
                      <a:pt x="144" y="26"/>
                    </a:lnTo>
                    <a:lnTo>
                      <a:pt x="146" y="26"/>
                    </a:lnTo>
                    <a:lnTo>
                      <a:pt x="147" y="26"/>
                    </a:lnTo>
                    <a:lnTo>
                      <a:pt x="149" y="26"/>
                    </a:lnTo>
                    <a:lnTo>
                      <a:pt x="151" y="26"/>
                    </a:lnTo>
                    <a:lnTo>
                      <a:pt x="153" y="26"/>
                    </a:lnTo>
                    <a:lnTo>
                      <a:pt x="153" y="27"/>
                    </a:lnTo>
                    <a:lnTo>
                      <a:pt x="154" y="27"/>
                    </a:lnTo>
                    <a:lnTo>
                      <a:pt x="154" y="29"/>
                    </a:lnTo>
                    <a:lnTo>
                      <a:pt x="156" y="29"/>
                    </a:lnTo>
                    <a:lnTo>
                      <a:pt x="158" y="29"/>
                    </a:lnTo>
                    <a:lnTo>
                      <a:pt x="158" y="31"/>
                    </a:lnTo>
                    <a:lnTo>
                      <a:pt x="159" y="31"/>
                    </a:lnTo>
                    <a:lnTo>
                      <a:pt x="161" y="31"/>
                    </a:lnTo>
                    <a:lnTo>
                      <a:pt x="161" y="33"/>
                    </a:lnTo>
                    <a:lnTo>
                      <a:pt x="163" y="33"/>
                    </a:lnTo>
                    <a:lnTo>
                      <a:pt x="163" y="34"/>
                    </a:lnTo>
                    <a:lnTo>
                      <a:pt x="164" y="34"/>
                    </a:lnTo>
                    <a:lnTo>
                      <a:pt x="166" y="34"/>
                    </a:lnTo>
                    <a:lnTo>
                      <a:pt x="166" y="36"/>
                    </a:lnTo>
                    <a:lnTo>
                      <a:pt x="168" y="38"/>
                    </a:lnTo>
                    <a:lnTo>
                      <a:pt x="168" y="39"/>
                    </a:lnTo>
                    <a:lnTo>
                      <a:pt x="170" y="39"/>
                    </a:lnTo>
                    <a:lnTo>
                      <a:pt x="170" y="41"/>
                    </a:lnTo>
                    <a:lnTo>
                      <a:pt x="170" y="43"/>
                    </a:lnTo>
                    <a:lnTo>
                      <a:pt x="171" y="43"/>
                    </a:lnTo>
                    <a:lnTo>
                      <a:pt x="171" y="44"/>
                    </a:lnTo>
                    <a:lnTo>
                      <a:pt x="170" y="44"/>
                    </a:lnTo>
                    <a:lnTo>
                      <a:pt x="170" y="43"/>
                    </a:lnTo>
                    <a:lnTo>
                      <a:pt x="168" y="43"/>
                    </a:lnTo>
                    <a:lnTo>
                      <a:pt x="168" y="44"/>
                    </a:lnTo>
                    <a:lnTo>
                      <a:pt x="170" y="44"/>
                    </a:lnTo>
                    <a:lnTo>
                      <a:pt x="171" y="44"/>
                    </a:lnTo>
                    <a:lnTo>
                      <a:pt x="173" y="44"/>
                    </a:lnTo>
                    <a:lnTo>
                      <a:pt x="173" y="46"/>
                    </a:lnTo>
                    <a:lnTo>
                      <a:pt x="171" y="46"/>
                    </a:lnTo>
                    <a:lnTo>
                      <a:pt x="170" y="46"/>
                    </a:lnTo>
                    <a:lnTo>
                      <a:pt x="170" y="48"/>
                    </a:lnTo>
                    <a:lnTo>
                      <a:pt x="170" y="50"/>
                    </a:lnTo>
                    <a:lnTo>
                      <a:pt x="170" y="51"/>
                    </a:lnTo>
                    <a:lnTo>
                      <a:pt x="170" y="53"/>
                    </a:lnTo>
                    <a:lnTo>
                      <a:pt x="171" y="53"/>
                    </a:lnTo>
                    <a:lnTo>
                      <a:pt x="171" y="55"/>
                    </a:lnTo>
                    <a:lnTo>
                      <a:pt x="171" y="56"/>
                    </a:lnTo>
                    <a:lnTo>
                      <a:pt x="173" y="56"/>
                    </a:lnTo>
                    <a:lnTo>
                      <a:pt x="173" y="58"/>
                    </a:lnTo>
                    <a:lnTo>
                      <a:pt x="175" y="58"/>
                    </a:lnTo>
                    <a:lnTo>
                      <a:pt x="176" y="58"/>
                    </a:lnTo>
                    <a:lnTo>
                      <a:pt x="178" y="58"/>
                    </a:lnTo>
                    <a:lnTo>
                      <a:pt x="178" y="60"/>
                    </a:lnTo>
                    <a:lnTo>
                      <a:pt x="180" y="60"/>
                    </a:lnTo>
                    <a:lnTo>
                      <a:pt x="180" y="58"/>
                    </a:lnTo>
                    <a:lnTo>
                      <a:pt x="180" y="60"/>
                    </a:lnTo>
                    <a:lnTo>
                      <a:pt x="180" y="58"/>
                    </a:lnTo>
                    <a:lnTo>
                      <a:pt x="181" y="60"/>
                    </a:lnTo>
                    <a:lnTo>
                      <a:pt x="183" y="60"/>
                    </a:lnTo>
                    <a:lnTo>
                      <a:pt x="185" y="60"/>
                    </a:lnTo>
                    <a:lnTo>
                      <a:pt x="187" y="58"/>
                    </a:lnTo>
                    <a:lnTo>
                      <a:pt x="187" y="60"/>
                    </a:lnTo>
                    <a:lnTo>
                      <a:pt x="187" y="58"/>
                    </a:lnTo>
                    <a:lnTo>
                      <a:pt x="188" y="58"/>
                    </a:lnTo>
                    <a:lnTo>
                      <a:pt x="190" y="58"/>
                    </a:lnTo>
                    <a:lnTo>
                      <a:pt x="192" y="58"/>
                    </a:lnTo>
                    <a:lnTo>
                      <a:pt x="193" y="58"/>
                    </a:lnTo>
                    <a:lnTo>
                      <a:pt x="195" y="58"/>
                    </a:lnTo>
                    <a:lnTo>
                      <a:pt x="197" y="58"/>
                    </a:lnTo>
                    <a:lnTo>
                      <a:pt x="197" y="56"/>
                    </a:lnTo>
                    <a:lnTo>
                      <a:pt x="198" y="56"/>
                    </a:lnTo>
                    <a:lnTo>
                      <a:pt x="200" y="56"/>
                    </a:lnTo>
                    <a:lnTo>
                      <a:pt x="202" y="56"/>
                    </a:lnTo>
                    <a:lnTo>
                      <a:pt x="204" y="56"/>
                    </a:lnTo>
                    <a:lnTo>
                      <a:pt x="205" y="56"/>
                    </a:lnTo>
                    <a:lnTo>
                      <a:pt x="207" y="56"/>
                    </a:lnTo>
                    <a:lnTo>
                      <a:pt x="209" y="56"/>
                    </a:lnTo>
                    <a:lnTo>
                      <a:pt x="210" y="55"/>
                    </a:lnTo>
                    <a:lnTo>
                      <a:pt x="212" y="55"/>
                    </a:lnTo>
                    <a:lnTo>
                      <a:pt x="214" y="55"/>
                    </a:lnTo>
                    <a:lnTo>
                      <a:pt x="215" y="55"/>
                    </a:lnTo>
                    <a:lnTo>
                      <a:pt x="217" y="55"/>
                    </a:lnTo>
                    <a:lnTo>
                      <a:pt x="219" y="55"/>
                    </a:lnTo>
                    <a:lnTo>
                      <a:pt x="221" y="55"/>
                    </a:lnTo>
                    <a:lnTo>
                      <a:pt x="222" y="55"/>
                    </a:lnTo>
                    <a:lnTo>
                      <a:pt x="224" y="55"/>
                    </a:lnTo>
                    <a:lnTo>
                      <a:pt x="226" y="55"/>
                    </a:lnTo>
                    <a:lnTo>
                      <a:pt x="227" y="55"/>
                    </a:lnTo>
                    <a:lnTo>
                      <a:pt x="227" y="53"/>
                    </a:lnTo>
                    <a:lnTo>
                      <a:pt x="229" y="55"/>
                    </a:lnTo>
                    <a:lnTo>
                      <a:pt x="229" y="53"/>
                    </a:lnTo>
                    <a:lnTo>
                      <a:pt x="231" y="53"/>
                    </a:lnTo>
                    <a:lnTo>
                      <a:pt x="232" y="53"/>
                    </a:lnTo>
                    <a:lnTo>
                      <a:pt x="232" y="55"/>
                    </a:lnTo>
                    <a:lnTo>
                      <a:pt x="234" y="53"/>
                    </a:lnTo>
                    <a:lnTo>
                      <a:pt x="234" y="55"/>
                    </a:lnTo>
                    <a:lnTo>
                      <a:pt x="236" y="55"/>
                    </a:lnTo>
                    <a:lnTo>
                      <a:pt x="238" y="53"/>
                    </a:lnTo>
                    <a:lnTo>
                      <a:pt x="239" y="53"/>
                    </a:lnTo>
                    <a:lnTo>
                      <a:pt x="241" y="55"/>
                    </a:lnTo>
                    <a:lnTo>
                      <a:pt x="243" y="55"/>
                    </a:lnTo>
                    <a:lnTo>
                      <a:pt x="244" y="55"/>
                    </a:lnTo>
                    <a:lnTo>
                      <a:pt x="244" y="56"/>
                    </a:lnTo>
                    <a:lnTo>
                      <a:pt x="244" y="55"/>
                    </a:lnTo>
                    <a:lnTo>
                      <a:pt x="246" y="56"/>
                    </a:lnTo>
                    <a:lnTo>
                      <a:pt x="244" y="56"/>
                    </a:lnTo>
                    <a:lnTo>
                      <a:pt x="243" y="56"/>
                    </a:lnTo>
                    <a:lnTo>
                      <a:pt x="244" y="56"/>
                    </a:lnTo>
                    <a:lnTo>
                      <a:pt x="243" y="58"/>
                    </a:lnTo>
                    <a:lnTo>
                      <a:pt x="244" y="58"/>
                    </a:lnTo>
                    <a:lnTo>
                      <a:pt x="244" y="60"/>
                    </a:lnTo>
                    <a:lnTo>
                      <a:pt x="246" y="60"/>
                    </a:lnTo>
                    <a:lnTo>
                      <a:pt x="246" y="61"/>
                    </a:lnTo>
                    <a:lnTo>
                      <a:pt x="248" y="61"/>
                    </a:lnTo>
                    <a:lnTo>
                      <a:pt x="248" y="63"/>
                    </a:lnTo>
                    <a:lnTo>
                      <a:pt x="249" y="63"/>
                    </a:lnTo>
                    <a:lnTo>
                      <a:pt x="251" y="65"/>
                    </a:lnTo>
                    <a:lnTo>
                      <a:pt x="253" y="65"/>
                    </a:lnTo>
                    <a:lnTo>
                      <a:pt x="255" y="67"/>
                    </a:lnTo>
                    <a:lnTo>
                      <a:pt x="256" y="67"/>
                    </a:lnTo>
                    <a:lnTo>
                      <a:pt x="258" y="68"/>
                    </a:lnTo>
                    <a:lnTo>
                      <a:pt x="260" y="68"/>
                    </a:lnTo>
                    <a:lnTo>
                      <a:pt x="263" y="70"/>
                    </a:lnTo>
                    <a:lnTo>
                      <a:pt x="265" y="70"/>
                    </a:lnTo>
                    <a:lnTo>
                      <a:pt x="266" y="70"/>
                    </a:lnTo>
                    <a:lnTo>
                      <a:pt x="268" y="72"/>
                    </a:lnTo>
                    <a:lnTo>
                      <a:pt x="270" y="72"/>
                    </a:lnTo>
                    <a:lnTo>
                      <a:pt x="272" y="72"/>
                    </a:lnTo>
                    <a:lnTo>
                      <a:pt x="273" y="72"/>
                    </a:lnTo>
                    <a:lnTo>
                      <a:pt x="275" y="72"/>
                    </a:lnTo>
                    <a:lnTo>
                      <a:pt x="277" y="73"/>
                    </a:lnTo>
                    <a:lnTo>
                      <a:pt x="278" y="73"/>
                    </a:lnTo>
                    <a:lnTo>
                      <a:pt x="280" y="73"/>
                    </a:lnTo>
                    <a:lnTo>
                      <a:pt x="282" y="73"/>
                    </a:lnTo>
                    <a:lnTo>
                      <a:pt x="282" y="72"/>
                    </a:lnTo>
                    <a:lnTo>
                      <a:pt x="283" y="72"/>
                    </a:lnTo>
                    <a:lnTo>
                      <a:pt x="285" y="72"/>
                    </a:lnTo>
                    <a:lnTo>
                      <a:pt x="287" y="72"/>
                    </a:lnTo>
                    <a:lnTo>
                      <a:pt x="289" y="72"/>
                    </a:lnTo>
                    <a:lnTo>
                      <a:pt x="290" y="72"/>
                    </a:lnTo>
                    <a:lnTo>
                      <a:pt x="290" y="70"/>
                    </a:lnTo>
                    <a:lnTo>
                      <a:pt x="292" y="68"/>
                    </a:lnTo>
                    <a:lnTo>
                      <a:pt x="290" y="68"/>
                    </a:lnTo>
                    <a:lnTo>
                      <a:pt x="292" y="68"/>
                    </a:lnTo>
                    <a:lnTo>
                      <a:pt x="294" y="68"/>
                    </a:lnTo>
                    <a:lnTo>
                      <a:pt x="294" y="67"/>
                    </a:lnTo>
                    <a:lnTo>
                      <a:pt x="295" y="67"/>
                    </a:lnTo>
                    <a:lnTo>
                      <a:pt x="297" y="67"/>
                    </a:lnTo>
                    <a:lnTo>
                      <a:pt x="299" y="67"/>
                    </a:lnTo>
                    <a:lnTo>
                      <a:pt x="300" y="67"/>
                    </a:lnTo>
                    <a:lnTo>
                      <a:pt x="300" y="65"/>
                    </a:lnTo>
                    <a:lnTo>
                      <a:pt x="302" y="65"/>
                    </a:lnTo>
                    <a:lnTo>
                      <a:pt x="300" y="65"/>
                    </a:lnTo>
                    <a:lnTo>
                      <a:pt x="299" y="65"/>
                    </a:lnTo>
                    <a:lnTo>
                      <a:pt x="300" y="65"/>
                    </a:lnTo>
                    <a:lnTo>
                      <a:pt x="300" y="63"/>
                    </a:lnTo>
                    <a:lnTo>
                      <a:pt x="302" y="63"/>
                    </a:lnTo>
                    <a:lnTo>
                      <a:pt x="302" y="61"/>
                    </a:lnTo>
                    <a:lnTo>
                      <a:pt x="304" y="61"/>
                    </a:lnTo>
                    <a:lnTo>
                      <a:pt x="304" y="63"/>
                    </a:lnTo>
                    <a:lnTo>
                      <a:pt x="302" y="63"/>
                    </a:lnTo>
                    <a:lnTo>
                      <a:pt x="304" y="63"/>
                    </a:lnTo>
                    <a:lnTo>
                      <a:pt x="304" y="61"/>
                    </a:lnTo>
                    <a:lnTo>
                      <a:pt x="306" y="61"/>
                    </a:lnTo>
                    <a:lnTo>
                      <a:pt x="307" y="61"/>
                    </a:lnTo>
                    <a:lnTo>
                      <a:pt x="309" y="60"/>
                    </a:lnTo>
                    <a:lnTo>
                      <a:pt x="309" y="58"/>
                    </a:lnTo>
                    <a:lnTo>
                      <a:pt x="309" y="60"/>
                    </a:lnTo>
                    <a:lnTo>
                      <a:pt x="311" y="60"/>
                    </a:lnTo>
                    <a:lnTo>
                      <a:pt x="312" y="60"/>
                    </a:lnTo>
                    <a:lnTo>
                      <a:pt x="314" y="60"/>
                    </a:lnTo>
                    <a:lnTo>
                      <a:pt x="316" y="60"/>
                    </a:lnTo>
                    <a:lnTo>
                      <a:pt x="317" y="60"/>
                    </a:lnTo>
                    <a:lnTo>
                      <a:pt x="319" y="60"/>
                    </a:lnTo>
                    <a:lnTo>
                      <a:pt x="321" y="60"/>
                    </a:lnTo>
                    <a:lnTo>
                      <a:pt x="323" y="60"/>
                    </a:lnTo>
                    <a:lnTo>
                      <a:pt x="324" y="60"/>
                    </a:lnTo>
                    <a:lnTo>
                      <a:pt x="326" y="60"/>
                    </a:lnTo>
                    <a:lnTo>
                      <a:pt x="326" y="58"/>
                    </a:lnTo>
                    <a:lnTo>
                      <a:pt x="324" y="58"/>
                    </a:lnTo>
                    <a:lnTo>
                      <a:pt x="323" y="58"/>
                    </a:lnTo>
                    <a:lnTo>
                      <a:pt x="321" y="56"/>
                    </a:lnTo>
                    <a:lnTo>
                      <a:pt x="319" y="56"/>
                    </a:lnTo>
                    <a:lnTo>
                      <a:pt x="317" y="56"/>
                    </a:lnTo>
                    <a:lnTo>
                      <a:pt x="316" y="56"/>
                    </a:lnTo>
                    <a:lnTo>
                      <a:pt x="316" y="55"/>
                    </a:lnTo>
                    <a:lnTo>
                      <a:pt x="316" y="56"/>
                    </a:lnTo>
                    <a:lnTo>
                      <a:pt x="314" y="55"/>
                    </a:lnTo>
                    <a:lnTo>
                      <a:pt x="314" y="56"/>
                    </a:lnTo>
                    <a:lnTo>
                      <a:pt x="314" y="55"/>
                    </a:lnTo>
                    <a:lnTo>
                      <a:pt x="314" y="56"/>
                    </a:lnTo>
                    <a:lnTo>
                      <a:pt x="312" y="55"/>
                    </a:lnTo>
                    <a:lnTo>
                      <a:pt x="314" y="55"/>
                    </a:lnTo>
                    <a:lnTo>
                      <a:pt x="312" y="55"/>
                    </a:lnTo>
                    <a:lnTo>
                      <a:pt x="312" y="56"/>
                    </a:lnTo>
                    <a:lnTo>
                      <a:pt x="311" y="56"/>
                    </a:lnTo>
                    <a:lnTo>
                      <a:pt x="311" y="55"/>
                    </a:lnTo>
                    <a:lnTo>
                      <a:pt x="309" y="56"/>
                    </a:lnTo>
                    <a:lnTo>
                      <a:pt x="307" y="56"/>
                    </a:lnTo>
                    <a:lnTo>
                      <a:pt x="307" y="58"/>
                    </a:lnTo>
                    <a:lnTo>
                      <a:pt x="306" y="56"/>
                    </a:lnTo>
                    <a:lnTo>
                      <a:pt x="306" y="55"/>
                    </a:lnTo>
                    <a:lnTo>
                      <a:pt x="306" y="53"/>
                    </a:lnTo>
                    <a:lnTo>
                      <a:pt x="307" y="53"/>
                    </a:lnTo>
                    <a:lnTo>
                      <a:pt x="309" y="53"/>
                    </a:lnTo>
                    <a:lnTo>
                      <a:pt x="309" y="55"/>
                    </a:lnTo>
                    <a:lnTo>
                      <a:pt x="309" y="53"/>
                    </a:lnTo>
                    <a:lnTo>
                      <a:pt x="309" y="55"/>
                    </a:lnTo>
                    <a:lnTo>
                      <a:pt x="311" y="55"/>
                    </a:lnTo>
                    <a:lnTo>
                      <a:pt x="311" y="53"/>
                    </a:lnTo>
                    <a:lnTo>
                      <a:pt x="312" y="53"/>
                    </a:lnTo>
                    <a:lnTo>
                      <a:pt x="314" y="53"/>
                    </a:lnTo>
                    <a:lnTo>
                      <a:pt x="316" y="53"/>
                    </a:lnTo>
                    <a:lnTo>
                      <a:pt x="317" y="55"/>
                    </a:lnTo>
                    <a:lnTo>
                      <a:pt x="317" y="53"/>
                    </a:lnTo>
                    <a:lnTo>
                      <a:pt x="319" y="53"/>
                    </a:lnTo>
                    <a:lnTo>
                      <a:pt x="321" y="53"/>
                    </a:lnTo>
                    <a:lnTo>
                      <a:pt x="323" y="53"/>
                    </a:lnTo>
                    <a:lnTo>
                      <a:pt x="321" y="51"/>
                    </a:lnTo>
                    <a:lnTo>
                      <a:pt x="321" y="53"/>
                    </a:lnTo>
                    <a:lnTo>
                      <a:pt x="321" y="51"/>
                    </a:lnTo>
                    <a:lnTo>
                      <a:pt x="323" y="51"/>
                    </a:lnTo>
                    <a:lnTo>
                      <a:pt x="323" y="53"/>
                    </a:lnTo>
                    <a:lnTo>
                      <a:pt x="324" y="53"/>
                    </a:lnTo>
                    <a:lnTo>
                      <a:pt x="326" y="53"/>
                    </a:lnTo>
                    <a:lnTo>
                      <a:pt x="328" y="53"/>
                    </a:lnTo>
                    <a:lnTo>
                      <a:pt x="329" y="53"/>
                    </a:lnTo>
                    <a:lnTo>
                      <a:pt x="331" y="55"/>
                    </a:lnTo>
                    <a:lnTo>
                      <a:pt x="331" y="53"/>
                    </a:lnTo>
                    <a:lnTo>
                      <a:pt x="333" y="53"/>
                    </a:lnTo>
                    <a:lnTo>
                      <a:pt x="334" y="53"/>
                    </a:lnTo>
                    <a:lnTo>
                      <a:pt x="334" y="51"/>
                    </a:lnTo>
                    <a:lnTo>
                      <a:pt x="336" y="51"/>
                    </a:lnTo>
                    <a:lnTo>
                      <a:pt x="336" y="53"/>
                    </a:lnTo>
                    <a:lnTo>
                      <a:pt x="338" y="53"/>
                    </a:lnTo>
                    <a:lnTo>
                      <a:pt x="338" y="51"/>
                    </a:lnTo>
                    <a:lnTo>
                      <a:pt x="338" y="53"/>
                    </a:lnTo>
                    <a:lnTo>
                      <a:pt x="340" y="53"/>
                    </a:lnTo>
                    <a:lnTo>
                      <a:pt x="341" y="53"/>
                    </a:lnTo>
                    <a:lnTo>
                      <a:pt x="341" y="51"/>
                    </a:lnTo>
                    <a:lnTo>
                      <a:pt x="343" y="51"/>
                    </a:lnTo>
                    <a:lnTo>
                      <a:pt x="345" y="51"/>
                    </a:lnTo>
                    <a:lnTo>
                      <a:pt x="346" y="51"/>
                    </a:lnTo>
                    <a:lnTo>
                      <a:pt x="348" y="51"/>
                    </a:lnTo>
                    <a:lnTo>
                      <a:pt x="350" y="51"/>
                    </a:lnTo>
                    <a:lnTo>
                      <a:pt x="351" y="51"/>
                    </a:lnTo>
                    <a:lnTo>
                      <a:pt x="353" y="51"/>
                    </a:lnTo>
                    <a:lnTo>
                      <a:pt x="355" y="51"/>
                    </a:lnTo>
                    <a:lnTo>
                      <a:pt x="355" y="50"/>
                    </a:lnTo>
                    <a:lnTo>
                      <a:pt x="357" y="50"/>
                    </a:lnTo>
                    <a:lnTo>
                      <a:pt x="358" y="50"/>
                    </a:lnTo>
                    <a:lnTo>
                      <a:pt x="360" y="50"/>
                    </a:lnTo>
                    <a:lnTo>
                      <a:pt x="362" y="50"/>
                    </a:lnTo>
                    <a:lnTo>
                      <a:pt x="363" y="50"/>
                    </a:lnTo>
                    <a:lnTo>
                      <a:pt x="365" y="50"/>
                    </a:lnTo>
                    <a:lnTo>
                      <a:pt x="367" y="51"/>
                    </a:lnTo>
                    <a:lnTo>
                      <a:pt x="368" y="51"/>
                    </a:lnTo>
                    <a:lnTo>
                      <a:pt x="370" y="51"/>
                    </a:lnTo>
                    <a:lnTo>
                      <a:pt x="372" y="51"/>
                    </a:lnTo>
                    <a:lnTo>
                      <a:pt x="374" y="51"/>
                    </a:lnTo>
                    <a:lnTo>
                      <a:pt x="375" y="51"/>
                    </a:lnTo>
                    <a:lnTo>
                      <a:pt x="377" y="51"/>
                    </a:lnTo>
                    <a:lnTo>
                      <a:pt x="379" y="51"/>
                    </a:lnTo>
                    <a:lnTo>
                      <a:pt x="380" y="51"/>
                    </a:lnTo>
                    <a:lnTo>
                      <a:pt x="382" y="51"/>
                    </a:lnTo>
                    <a:lnTo>
                      <a:pt x="384" y="51"/>
                    </a:lnTo>
                    <a:lnTo>
                      <a:pt x="385" y="51"/>
                    </a:lnTo>
                    <a:lnTo>
                      <a:pt x="385" y="50"/>
                    </a:lnTo>
                    <a:lnTo>
                      <a:pt x="387" y="50"/>
                    </a:lnTo>
                    <a:lnTo>
                      <a:pt x="387" y="51"/>
                    </a:lnTo>
                    <a:lnTo>
                      <a:pt x="385" y="51"/>
                    </a:lnTo>
                    <a:lnTo>
                      <a:pt x="385" y="53"/>
                    </a:lnTo>
                    <a:lnTo>
                      <a:pt x="385" y="51"/>
                    </a:lnTo>
                    <a:lnTo>
                      <a:pt x="385" y="53"/>
                    </a:lnTo>
                    <a:lnTo>
                      <a:pt x="384" y="53"/>
                    </a:lnTo>
                    <a:lnTo>
                      <a:pt x="382" y="53"/>
                    </a:lnTo>
                    <a:lnTo>
                      <a:pt x="380" y="53"/>
                    </a:lnTo>
                    <a:lnTo>
                      <a:pt x="379" y="53"/>
                    </a:lnTo>
                    <a:lnTo>
                      <a:pt x="377" y="53"/>
                    </a:lnTo>
                    <a:lnTo>
                      <a:pt x="375" y="53"/>
                    </a:lnTo>
                    <a:lnTo>
                      <a:pt x="374" y="53"/>
                    </a:lnTo>
                    <a:lnTo>
                      <a:pt x="374" y="55"/>
                    </a:lnTo>
                    <a:lnTo>
                      <a:pt x="372" y="55"/>
                    </a:lnTo>
                    <a:lnTo>
                      <a:pt x="372" y="56"/>
                    </a:lnTo>
                    <a:lnTo>
                      <a:pt x="370" y="56"/>
                    </a:lnTo>
                    <a:lnTo>
                      <a:pt x="368" y="56"/>
                    </a:lnTo>
                    <a:lnTo>
                      <a:pt x="367" y="56"/>
                    </a:lnTo>
                    <a:lnTo>
                      <a:pt x="365" y="56"/>
                    </a:lnTo>
                    <a:lnTo>
                      <a:pt x="363" y="56"/>
                    </a:lnTo>
                    <a:lnTo>
                      <a:pt x="362" y="56"/>
                    </a:lnTo>
                    <a:lnTo>
                      <a:pt x="360" y="56"/>
                    </a:lnTo>
                    <a:lnTo>
                      <a:pt x="358" y="56"/>
                    </a:lnTo>
                    <a:lnTo>
                      <a:pt x="357" y="56"/>
                    </a:lnTo>
                    <a:lnTo>
                      <a:pt x="355" y="56"/>
                    </a:lnTo>
                    <a:lnTo>
                      <a:pt x="353" y="58"/>
                    </a:lnTo>
                    <a:lnTo>
                      <a:pt x="355" y="58"/>
                    </a:lnTo>
                    <a:lnTo>
                      <a:pt x="357" y="58"/>
                    </a:lnTo>
                    <a:lnTo>
                      <a:pt x="357" y="60"/>
                    </a:lnTo>
                    <a:lnTo>
                      <a:pt x="358" y="60"/>
                    </a:lnTo>
                    <a:lnTo>
                      <a:pt x="358" y="61"/>
                    </a:lnTo>
                    <a:lnTo>
                      <a:pt x="360" y="63"/>
                    </a:lnTo>
                    <a:lnTo>
                      <a:pt x="360" y="65"/>
                    </a:lnTo>
                    <a:lnTo>
                      <a:pt x="360" y="67"/>
                    </a:lnTo>
                    <a:lnTo>
                      <a:pt x="360" y="68"/>
                    </a:lnTo>
                    <a:lnTo>
                      <a:pt x="360" y="70"/>
                    </a:lnTo>
                    <a:lnTo>
                      <a:pt x="362" y="70"/>
                    </a:lnTo>
                    <a:lnTo>
                      <a:pt x="362" y="68"/>
                    </a:lnTo>
                    <a:lnTo>
                      <a:pt x="362" y="67"/>
                    </a:lnTo>
                    <a:lnTo>
                      <a:pt x="363" y="68"/>
                    </a:lnTo>
                    <a:lnTo>
                      <a:pt x="365" y="68"/>
                    </a:lnTo>
                    <a:lnTo>
                      <a:pt x="365" y="70"/>
                    </a:lnTo>
                    <a:lnTo>
                      <a:pt x="367" y="70"/>
                    </a:lnTo>
                    <a:lnTo>
                      <a:pt x="367" y="72"/>
                    </a:lnTo>
                    <a:lnTo>
                      <a:pt x="367" y="73"/>
                    </a:lnTo>
                    <a:lnTo>
                      <a:pt x="367" y="75"/>
                    </a:lnTo>
                    <a:lnTo>
                      <a:pt x="368" y="75"/>
                    </a:lnTo>
                    <a:lnTo>
                      <a:pt x="368" y="77"/>
                    </a:lnTo>
                    <a:lnTo>
                      <a:pt x="367" y="77"/>
                    </a:lnTo>
                    <a:lnTo>
                      <a:pt x="368" y="78"/>
                    </a:lnTo>
                    <a:lnTo>
                      <a:pt x="370" y="78"/>
                    </a:lnTo>
                    <a:lnTo>
                      <a:pt x="370" y="80"/>
                    </a:lnTo>
                    <a:lnTo>
                      <a:pt x="370" y="78"/>
                    </a:lnTo>
                    <a:lnTo>
                      <a:pt x="372" y="78"/>
                    </a:lnTo>
                    <a:lnTo>
                      <a:pt x="370" y="77"/>
                    </a:lnTo>
                    <a:lnTo>
                      <a:pt x="372" y="77"/>
                    </a:lnTo>
                    <a:lnTo>
                      <a:pt x="374" y="77"/>
                    </a:lnTo>
                    <a:lnTo>
                      <a:pt x="375" y="75"/>
                    </a:lnTo>
                    <a:lnTo>
                      <a:pt x="377" y="75"/>
                    </a:lnTo>
                    <a:lnTo>
                      <a:pt x="379" y="75"/>
                    </a:lnTo>
                    <a:lnTo>
                      <a:pt x="380" y="77"/>
                    </a:lnTo>
                    <a:lnTo>
                      <a:pt x="382" y="77"/>
                    </a:lnTo>
                    <a:lnTo>
                      <a:pt x="382" y="78"/>
                    </a:lnTo>
                    <a:lnTo>
                      <a:pt x="384" y="78"/>
                    </a:lnTo>
                    <a:lnTo>
                      <a:pt x="385" y="80"/>
                    </a:lnTo>
                    <a:lnTo>
                      <a:pt x="385" y="82"/>
                    </a:lnTo>
                    <a:lnTo>
                      <a:pt x="387" y="82"/>
                    </a:lnTo>
                    <a:lnTo>
                      <a:pt x="389" y="82"/>
                    </a:lnTo>
                    <a:lnTo>
                      <a:pt x="391" y="82"/>
                    </a:lnTo>
                    <a:lnTo>
                      <a:pt x="392" y="82"/>
                    </a:lnTo>
                    <a:lnTo>
                      <a:pt x="394" y="82"/>
                    </a:lnTo>
                    <a:lnTo>
                      <a:pt x="396" y="82"/>
                    </a:lnTo>
                    <a:lnTo>
                      <a:pt x="394" y="82"/>
                    </a:lnTo>
                    <a:lnTo>
                      <a:pt x="396" y="82"/>
                    </a:lnTo>
                    <a:lnTo>
                      <a:pt x="396" y="80"/>
                    </a:lnTo>
                    <a:lnTo>
                      <a:pt x="394" y="80"/>
                    </a:lnTo>
                    <a:lnTo>
                      <a:pt x="396" y="80"/>
                    </a:lnTo>
                    <a:lnTo>
                      <a:pt x="394" y="80"/>
                    </a:lnTo>
                    <a:lnTo>
                      <a:pt x="394" y="78"/>
                    </a:lnTo>
                    <a:lnTo>
                      <a:pt x="396" y="80"/>
                    </a:lnTo>
                    <a:lnTo>
                      <a:pt x="397" y="80"/>
                    </a:lnTo>
                    <a:lnTo>
                      <a:pt x="399" y="82"/>
                    </a:lnTo>
                    <a:lnTo>
                      <a:pt x="401" y="82"/>
                    </a:lnTo>
                    <a:lnTo>
                      <a:pt x="401" y="84"/>
                    </a:lnTo>
                    <a:lnTo>
                      <a:pt x="401" y="82"/>
                    </a:lnTo>
                    <a:lnTo>
                      <a:pt x="399" y="82"/>
                    </a:lnTo>
                    <a:lnTo>
                      <a:pt x="399" y="80"/>
                    </a:lnTo>
                    <a:lnTo>
                      <a:pt x="399" y="82"/>
                    </a:lnTo>
                    <a:lnTo>
                      <a:pt x="401" y="82"/>
                    </a:lnTo>
                    <a:lnTo>
                      <a:pt x="402" y="82"/>
                    </a:lnTo>
                    <a:lnTo>
                      <a:pt x="402" y="84"/>
                    </a:lnTo>
                    <a:lnTo>
                      <a:pt x="404" y="84"/>
                    </a:lnTo>
                    <a:lnTo>
                      <a:pt x="404" y="85"/>
                    </a:lnTo>
                    <a:lnTo>
                      <a:pt x="406" y="85"/>
                    </a:lnTo>
                    <a:lnTo>
                      <a:pt x="406" y="87"/>
                    </a:lnTo>
                    <a:lnTo>
                      <a:pt x="408" y="87"/>
                    </a:lnTo>
                    <a:lnTo>
                      <a:pt x="408" y="89"/>
                    </a:lnTo>
                    <a:lnTo>
                      <a:pt x="409" y="89"/>
                    </a:lnTo>
                    <a:lnTo>
                      <a:pt x="411" y="90"/>
                    </a:lnTo>
                    <a:lnTo>
                      <a:pt x="413" y="90"/>
                    </a:lnTo>
                    <a:lnTo>
                      <a:pt x="414" y="90"/>
                    </a:lnTo>
                    <a:lnTo>
                      <a:pt x="416" y="90"/>
                    </a:lnTo>
                    <a:lnTo>
                      <a:pt x="416" y="92"/>
                    </a:lnTo>
                    <a:lnTo>
                      <a:pt x="418" y="92"/>
                    </a:lnTo>
                    <a:lnTo>
                      <a:pt x="419" y="94"/>
                    </a:lnTo>
                    <a:lnTo>
                      <a:pt x="421" y="94"/>
                    </a:lnTo>
                    <a:lnTo>
                      <a:pt x="421" y="96"/>
                    </a:lnTo>
                    <a:lnTo>
                      <a:pt x="423" y="96"/>
                    </a:lnTo>
                    <a:lnTo>
                      <a:pt x="423" y="97"/>
                    </a:lnTo>
                    <a:lnTo>
                      <a:pt x="423" y="99"/>
                    </a:lnTo>
                    <a:lnTo>
                      <a:pt x="423" y="101"/>
                    </a:lnTo>
                    <a:lnTo>
                      <a:pt x="421" y="101"/>
                    </a:lnTo>
                    <a:lnTo>
                      <a:pt x="419" y="101"/>
                    </a:lnTo>
                    <a:lnTo>
                      <a:pt x="419" y="102"/>
                    </a:lnTo>
                    <a:lnTo>
                      <a:pt x="418" y="102"/>
                    </a:lnTo>
                    <a:lnTo>
                      <a:pt x="418" y="104"/>
                    </a:lnTo>
                    <a:lnTo>
                      <a:pt x="419" y="104"/>
                    </a:lnTo>
                    <a:lnTo>
                      <a:pt x="419" y="102"/>
                    </a:lnTo>
                    <a:lnTo>
                      <a:pt x="421" y="102"/>
                    </a:lnTo>
                    <a:lnTo>
                      <a:pt x="423" y="102"/>
                    </a:lnTo>
                    <a:lnTo>
                      <a:pt x="425" y="102"/>
                    </a:lnTo>
                    <a:lnTo>
                      <a:pt x="425" y="104"/>
                    </a:lnTo>
                    <a:lnTo>
                      <a:pt x="423" y="104"/>
                    </a:lnTo>
                    <a:lnTo>
                      <a:pt x="425" y="104"/>
                    </a:lnTo>
                    <a:lnTo>
                      <a:pt x="425" y="106"/>
                    </a:lnTo>
                    <a:lnTo>
                      <a:pt x="423" y="106"/>
                    </a:lnTo>
                    <a:lnTo>
                      <a:pt x="423" y="107"/>
                    </a:lnTo>
                    <a:lnTo>
                      <a:pt x="425" y="107"/>
                    </a:lnTo>
                    <a:lnTo>
                      <a:pt x="423" y="107"/>
                    </a:lnTo>
                    <a:lnTo>
                      <a:pt x="423" y="109"/>
                    </a:lnTo>
                    <a:lnTo>
                      <a:pt x="423" y="111"/>
                    </a:lnTo>
                    <a:lnTo>
                      <a:pt x="421" y="111"/>
                    </a:lnTo>
                    <a:lnTo>
                      <a:pt x="421" y="109"/>
                    </a:lnTo>
                    <a:lnTo>
                      <a:pt x="421" y="111"/>
                    </a:lnTo>
                    <a:lnTo>
                      <a:pt x="423" y="111"/>
                    </a:lnTo>
                    <a:lnTo>
                      <a:pt x="425" y="111"/>
                    </a:lnTo>
                    <a:lnTo>
                      <a:pt x="423" y="111"/>
                    </a:lnTo>
                    <a:lnTo>
                      <a:pt x="423" y="113"/>
                    </a:lnTo>
                    <a:lnTo>
                      <a:pt x="421" y="113"/>
                    </a:lnTo>
                    <a:lnTo>
                      <a:pt x="421" y="114"/>
                    </a:lnTo>
                    <a:lnTo>
                      <a:pt x="423" y="114"/>
                    </a:lnTo>
                    <a:lnTo>
                      <a:pt x="425" y="114"/>
                    </a:lnTo>
                    <a:lnTo>
                      <a:pt x="423" y="114"/>
                    </a:lnTo>
                    <a:lnTo>
                      <a:pt x="423" y="116"/>
                    </a:lnTo>
                    <a:lnTo>
                      <a:pt x="425" y="116"/>
                    </a:lnTo>
                    <a:lnTo>
                      <a:pt x="426" y="116"/>
                    </a:lnTo>
                    <a:lnTo>
                      <a:pt x="426" y="118"/>
                    </a:lnTo>
                    <a:lnTo>
                      <a:pt x="425" y="118"/>
                    </a:lnTo>
                    <a:lnTo>
                      <a:pt x="425" y="119"/>
                    </a:lnTo>
                    <a:lnTo>
                      <a:pt x="423" y="119"/>
                    </a:lnTo>
                    <a:lnTo>
                      <a:pt x="423" y="121"/>
                    </a:lnTo>
                    <a:lnTo>
                      <a:pt x="421" y="121"/>
                    </a:lnTo>
                    <a:lnTo>
                      <a:pt x="419" y="121"/>
                    </a:lnTo>
                    <a:lnTo>
                      <a:pt x="419" y="123"/>
                    </a:lnTo>
                    <a:lnTo>
                      <a:pt x="418" y="123"/>
                    </a:lnTo>
                    <a:lnTo>
                      <a:pt x="416" y="123"/>
                    </a:lnTo>
                    <a:lnTo>
                      <a:pt x="416" y="124"/>
                    </a:lnTo>
                    <a:lnTo>
                      <a:pt x="414" y="126"/>
                    </a:lnTo>
                    <a:lnTo>
                      <a:pt x="416" y="126"/>
                    </a:lnTo>
                    <a:lnTo>
                      <a:pt x="416" y="124"/>
                    </a:lnTo>
                    <a:lnTo>
                      <a:pt x="418" y="124"/>
                    </a:lnTo>
                    <a:lnTo>
                      <a:pt x="419" y="123"/>
                    </a:lnTo>
                    <a:lnTo>
                      <a:pt x="421" y="124"/>
                    </a:lnTo>
                    <a:lnTo>
                      <a:pt x="423" y="124"/>
                    </a:lnTo>
                    <a:lnTo>
                      <a:pt x="425" y="123"/>
                    </a:lnTo>
                    <a:lnTo>
                      <a:pt x="426" y="123"/>
                    </a:lnTo>
                    <a:lnTo>
                      <a:pt x="426" y="124"/>
                    </a:lnTo>
                    <a:lnTo>
                      <a:pt x="428" y="124"/>
                    </a:lnTo>
                    <a:lnTo>
                      <a:pt x="430" y="124"/>
                    </a:lnTo>
                    <a:lnTo>
                      <a:pt x="430" y="126"/>
                    </a:lnTo>
                    <a:lnTo>
                      <a:pt x="431" y="126"/>
                    </a:lnTo>
                    <a:lnTo>
                      <a:pt x="433" y="126"/>
                    </a:lnTo>
                    <a:lnTo>
                      <a:pt x="435" y="126"/>
                    </a:lnTo>
                    <a:lnTo>
                      <a:pt x="435" y="124"/>
                    </a:lnTo>
                    <a:lnTo>
                      <a:pt x="436" y="124"/>
                    </a:lnTo>
                    <a:lnTo>
                      <a:pt x="435" y="123"/>
                    </a:lnTo>
                    <a:lnTo>
                      <a:pt x="436" y="123"/>
                    </a:lnTo>
                    <a:lnTo>
                      <a:pt x="438" y="123"/>
                    </a:lnTo>
                    <a:lnTo>
                      <a:pt x="440" y="123"/>
                    </a:lnTo>
                    <a:lnTo>
                      <a:pt x="442" y="123"/>
                    </a:lnTo>
                    <a:lnTo>
                      <a:pt x="443" y="123"/>
                    </a:lnTo>
                    <a:lnTo>
                      <a:pt x="445" y="123"/>
                    </a:lnTo>
                    <a:lnTo>
                      <a:pt x="447" y="123"/>
                    </a:lnTo>
                    <a:lnTo>
                      <a:pt x="447" y="124"/>
                    </a:lnTo>
                    <a:lnTo>
                      <a:pt x="448" y="124"/>
                    </a:lnTo>
                    <a:lnTo>
                      <a:pt x="450" y="124"/>
                    </a:lnTo>
                    <a:lnTo>
                      <a:pt x="450" y="126"/>
                    </a:lnTo>
                    <a:close/>
                    <a:moveTo>
                      <a:pt x="321" y="38"/>
                    </a:moveTo>
                    <a:lnTo>
                      <a:pt x="321" y="39"/>
                    </a:lnTo>
                    <a:lnTo>
                      <a:pt x="321" y="41"/>
                    </a:lnTo>
                    <a:lnTo>
                      <a:pt x="323" y="41"/>
                    </a:lnTo>
                    <a:lnTo>
                      <a:pt x="321" y="41"/>
                    </a:lnTo>
                    <a:lnTo>
                      <a:pt x="321" y="43"/>
                    </a:lnTo>
                    <a:lnTo>
                      <a:pt x="319" y="43"/>
                    </a:lnTo>
                    <a:lnTo>
                      <a:pt x="319" y="44"/>
                    </a:lnTo>
                    <a:lnTo>
                      <a:pt x="317" y="44"/>
                    </a:lnTo>
                    <a:lnTo>
                      <a:pt x="316" y="43"/>
                    </a:lnTo>
                    <a:lnTo>
                      <a:pt x="317" y="44"/>
                    </a:lnTo>
                    <a:lnTo>
                      <a:pt x="316" y="44"/>
                    </a:lnTo>
                    <a:lnTo>
                      <a:pt x="317" y="44"/>
                    </a:lnTo>
                    <a:lnTo>
                      <a:pt x="316" y="44"/>
                    </a:lnTo>
                    <a:lnTo>
                      <a:pt x="314" y="44"/>
                    </a:lnTo>
                    <a:lnTo>
                      <a:pt x="314" y="46"/>
                    </a:lnTo>
                    <a:lnTo>
                      <a:pt x="312" y="46"/>
                    </a:lnTo>
                    <a:lnTo>
                      <a:pt x="312" y="44"/>
                    </a:lnTo>
                    <a:lnTo>
                      <a:pt x="311" y="44"/>
                    </a:lnTo>
                    <a:lnTo>
                      <a:pt x="311" y="43"/>
                    </a:lnTo>
                    <a:lnTo>
                      <a:pt x="311" y="44"/>
                    </a:lnTo>
                    <a:lnTo>
                      <a:pt x="311" y="43"/>
                    </a:lnTo>
                    <a:lnTo>
                      <a:pt x="309" y="43"/>
                    </a:lnTo>
                    <a:lnTo>
                      <a:pt x="309" y="41"/>
                    </a:lnTo>
                    <a:lnTo>
                      <a:pt x="311" y="41"/>
                    </a:lnTo>
                    <a:lnTo>
                      <a:pt x="311" y="43"/>
                    </a:lnTo>
                    <a:lnTo>
                      <a:pt x="311" y="41"/>
                    </a:lnTo>
                    <a:lnTo>
                      <a:pt x="311" y="43"/>
                    </a:lnTo>
                    <a:lnTo>
                      <a:pt x="312" y="41"/>
                    </a:lnTo>
                    <a:lnTo>
                      <a:pt x="314" y="43"/>
                    </a:lnTo>
                    <a:lnTo>
                      <a:pt x="314" y="41"/>
                    </a:lnTo>
                    <a:lnTo>
                      <a:pt x="312" y="41"/>
                    </a:lnTo>
                    <a:lnTo>
                      <a:pt x="311" y="41"/>
                    </a:lnTo>
                    <a:lnTo>
                      <a:pt x="309" y="41"/>
                    </a:lnTo>
                    <a:lnTo>
                      <a:pt x="309" y="43"/>
                    </a:lnTo>
                    <a:lnTo>
                      <a:pt x="307" y="43"/>
                    </a:lnTo>
                    <a:lnTo>
                      <a:pt x="306" y="43"/>
                    </a:lnTo>
                    <a:lnTo>
                      <a:pt x="304" y="43"/>
                    </a:lnTo>
                    <a:lnTo>
                      <a:pt x="302" y="43"/>
                    </a:lnTo>
                    <a:lnTo>
                      <a:pt x="300" y="43"/>
                    </a:lnTo>
                    <a:lnTo>
                      <a:pt x="300" y="41"/>
                    </a:lnTo>
                    <a:lnTo>
                      <a:pt x="302" y="41"/>
                    </a:lnTo>
                    <a:lnTo>
                      <a:pt x="302" y="39"/>
                    </a:lnTo>
                    <a:lnTo>
                      <a:pt x="304" y="39"/>
                    </a:lnTo>
                    <a:lnTo>
                      <a:pt x="306" y="39"/>
                    </a:lnTo>
                    <a:lnTo>
                      <a:pt x="307" y="38"/>
                    </a:lnTo>
                    <a:lnTo>
                      <a:pt x="309" y="38"/>
                    </a:lnTo>
                    <a:lnTo>
                      <a:pt x="309" y="39"/>
                    </a:lnTo>
                    <a:lnTo>
                      <a:pt x="307" y="39"/>
                    </a:lnTo>
                    <a:lnTo>
                      <a:pt x="309" y="39"/>
                    </a:lnTo>
                    <a:lnTo>
                      <a:pt x="309" y="41"/>
                    </a:lnTo>
                    <a:lnTo>
                      <a:pt x="311" y="41"/>
                    </a:lnTo>
                    <a:lnTo>
                      <a:pt x="312" y="41"/>
                    </a:lnTo>
                    <a:lnTo>
                      <a:pt x="314" y="41"/>
                    </a:lnTo>
                    <a:lnTo>
                      <a:pt x="314" y="39"/>
                    </a:lnTo>
                    <a:lnTo>
                      <a:pt x="316" y="39"/>
                    </a:lnTo>
                    <a:lnTo>
                      <a:pt x="316" y="38"/>
                    </a:lnTo>
                    <a:lnTo>
                      <a:pt x="317" y="38"/>
                    </a:lnTo>
                    <a:lnTo>
                      <a:pt x="317" y="36"/>
                    </a:lnTo>
                    <a:lnTo>
                      <a:pt x="319" y="36"/>
                    </a:lnTo>
                    <a:lnTo>
                      <a:pt x="319" y="34"/>
                    </a:lnTo>
                    <a:lnTo>
                      <a:pt x="319" y="36"/>
                    </a:lnTo>
                    <a:lnTo>
                      <a:pt x="321" y="36"/>
                    </a:lnTo>
                    <a:lnTo>
                      <a:pt x="321" y="38"/>
                    </a:lnTo>
                    <a:close/>
                    <a:moveTo>
                      <a:pt x="272" y="43"/>
                    </a:moveTo>
                    <a:lnTo>
                      <a:pt x="273" y="43"/>
                    </a:lnTo>
                    <a:lnTo>
                      <a:pt x="275" y="43"/>
                    </a:lnTo>
                    <a:lnTo>
                      <a:pt x="275" y="44"/>
                    </a:lnTo>
                    <a:lnTo>
                      <a:pt x="273" y="44"/>
                    </a:lnTo>
                    <a:lnTo>
                      <a:pt x="272" y="44"/>
                    </a:lnTo>
                    <a:lnTo>
                      <a:pt x="270" y="44"/>
                    </a:lnTo>
                    <a:lnTo>
                      <a:pt x="268" y="44"/>
                    </a:lnTo>
                    <a:lnTo>
                      <a:pt x="266" y="44"/>
                    </a:lnTo>
                    <a:lnTo>
                      <a:pt x="266" y="43"/>
                    </a:lnTo>
                    <a:lnTo>
                      <a:pt x="268" y="43"/>
                    </a:lnTo>
                    <a:lnTo>
                      <a:pt x="268" y="41"/>
                    </a:lnTo>
                    <a:lnTo>
                      <a:pt x="270" y="41"/>
                    </a:lnTo>
                    <a:lnTo>
                      <a:pt x="272" y="41"/>
                    </a:lnTo>
                    <a:lnTo>
                      <a:pt x="272" y="43"/>
                    </a:lnTo>
                    <a:close/>
                    <a:moveTo>
                      <a:pt x="294" y="10"/>
                    </a:moveTo>
                    <a:lnTo>
                      <a:pt x="295" y="10"/>
                    </a:lnTo>
                    <a:lnTo>
                      <a:pt x="295" y="14"/>
                    </a:lnTo>
                    <a:lnTo>
                      <a:pt x="294" y="14"/>
                    </a:lnTo>
                    <a:lnTo>
                      <a:pt x="294" y="10"/>
                    </a:lnTo>
                    <a:close/>
                    <a:moveTo>
                      <a:pt x="316" y="48"/>
                    </a:moveTo>
                    <a:lnTo>
                      <a:pt x="317" y="48"/>
                    </a:lnTo>
                    <a:lnTo>
                      <a:pt x="319" y="50"/>
                    </a:lnTo>
                    <a:lnTo>
                      <a:pt x="317" y="50"/>
                    </a:lnTo>
                    <a:lnTo>
                      <a:pt x="316" y="50"/>
                    </a:lnTo>
                    <a:lnTo>
                      <a:pt x="317" y="50"/>
                    </a:lnTo>
                    <a:lnTo>
                      <a:pt x="316" y="50"/>
                    </a:lnTo>
                    <a:lnTo>
                      <a:pt x="314" y="48"/>
                    </a:lnTo>
                    <a:lnTo>
                      <a:pt x="316" y="48"/>
                    </a:lnTo>
                    <a:close/>
                    <a:moveTo>
                      <a:pt x="244" y="14"/>
                    </a:moveTo>
                    <a:lnTo>
                      <a:pt x="243" y="14"/>
                    </a:lnTo>
                    <a:lnTo>
                      <a:pt x="241" y="14"/>
                    </a:lnTo>
                    <a:lnTo>
                      <a:pt x="241" y="12"/>
                    </a:lnTo>
                    <a:lnTo>
                      <a:pt x="243" y="12"/>
                    </a:lnTo>
                    <a:lnTo>
                      <a:pt x="244" y="14"/>
                    </a:lnTo>
                    <a:close/>
                    <a:moveTo>
                      <a:pt x="307" y="46"/>
                    </a:moveTo>
                    <a:lnTo>
                      <a:pt x="311" y="46"/>
                    </a:lnTo>
                    <a:lnTo>
                      <a:pt x="311" y="48"/>
                    </a:lnTo>
                    <a:lnTo>
                      <a:pt x="307" y="48"/>
                    </a:lnTo>
                    <a:lnTo>
                      <a:pt x="307" y="46"/>
                    </a:lnTo>
                    <a:close/>
                    <a:moveTo>
                      <a:pt x="227" y="14"/>
                    </a:moveTo>
                    <a:lnTo>
                      <a:pt x="227" y="16"/>
                    </a:lnTo>
                    <a:lnTo>
                      <a:pt x="226" y="16"/>
                    </a:lnTo>
                    <a:lnTo>
                      <a:pt x="224" y="16"/>
                    </a:lnTo>
                    <a:lnTo>
                      <a:pt x="224" y="14"/>
                    </a:lnTo>
                    <a:lnTo>
                      <a:pt x="224" y="16"/>
                    </a:lnTo>
                    <a:lnTo>
                      <a:pt x="226" y="16"/>
                    </a:lnTo>
                    <a:lnTo>
                      <a:pt x="226" y="14"/>
                    </a:lnTo>
                    <a:lnTo>
                      <a:pt x="227" y="14"/>
                    </a:lnTo>
                    <a:lnTo>
                      <a:pt x="226" y="12"/>
                    </a:lnTo>
                    <a:lnTo>
                      <a:pt x="227" y="14"/>
                    </a:lnTo>
                    <a:close/>
                    <a:moveTo>
                      <a:pt x="59" y="41"/>
                    </a:moveTo>
                    <a:lnTo>
                      <a:pt x="61" y="41"/>
                    </a:lnTo>
                    <a:lnTo>
                      <a:pt x="61" y="43"/>
                    </a:lnTo>
                    <a:lnTo>
                      <a:pt x="59" y="43"/>
                    </a:lnTo>
                    <a:lnTo>
                      <a:pt x="59" y="41"/>
                    </a:lnTo>
                    <a:close/>
                    <a:moveTo>
                      <a:pt x="292" y="65"/>
                    </a:moveTo>
                    <a:lnTo>
                      <a:pt x="294" y="65"/>
                    </a:lnTo>
                    <a:lnTo>
                      <a:pt x="294" y="67"/>
                    </a:lnTo>
                    <a:lnTo>
                      <a:pt x="292" y="67"/>
                    </a:lnTo>
                    <a:lnTo>
                      <a:pt x="292" y="65"/>
                    </a:lnTo>
                    <a:close/>
                    <a:moveTo>
                      <a:pt x="289" y="65"/>
                    </a:moveTo>
                    <a:lnTo>
                      <a:pt x="290" y="65"/>
                    </a:lnTo>
                    <a:lnTo>
                      <a:pt x="290" y="67"/>
                    </a:lnTo>
                    <a:lnTo>
                      <a:pt x="289" y="67"/>
                    </a:lnTo>
                    <a:lnTo>
                      <a:pt x="289" y="65"/>
                    </a:lnTo>
                    <a:close/>
                    <a:moveTo>
                      <a:pt x="57" y="41"/>
                    </a:moveTo>
                    <a:lnTo>
                      <a:pt x="57" y="43"/>
                    </a:lnTo>
                    <a:lnTo>
                      <a:pt x="57" y="41"/>
                    </a:lnTo>
                    <a:close/>
                    <a:moveTo>
                      <a:pt x="56" y="43"/>
                    </a:moveTo>
                    <a:lnTo>
                      <a:pt x="57" y="43"/>
                    </a:lnTo>
                    <a:lnTo>
                      <a:pt x="56" y="43"/>
                    </a:lnTo>
                    <a:close/>
                    <a:moveTo>
                      <a:pt x="300" y="61"/>
                    </a:moveTo>
                    <a:lnTo>
                      <a:pt x="300" y="63"/>
                    </a:lnTo>
                    <a:lnTo>
                      <a:pt x="300" y="61"/>
                    </a:lnTo>
                    <a:close/>
                    <a:moveTo>
                      <a:pt x="345" y="27"/>
                    </a:moveTo>
                    <a:lnTo>
                      <a:pt x="345" y="29"/>
                    </a:lnTo>
                    <a:lnTo>
                      <a:pt x="345" y="27"/>
                    </a:lnTo>
                    <a:close/>
                    <a:moveTo>
                      <a:pt x="221" y="10"/>
                    </a:moveTo>
                    <a:lnTo>
                      <a:pt x="221" y="12"/>
                    </a:lnTo>
                    <a:lnTo>
                      <a:pt x="222" y="12"/>
                    </a:lnTo>
                    <a:lnTo>
                      <a:pt x="224" y="10"/>
                    </a:lnTo>
                    <a:lnTo>
                      <a:pt x="224" y="12"/>
                    </a:lnTo>
                    <a:lnTo>
                      <a:pt x="222" y="12"/>
                    </a:lnTo>
                    <a:lnTo>
                      <a:pt x="221" y="12"/>
                    </a:lnTo>
                    <a:lnTo>
                      <a:pt x="221" y="10"/>
                    </a:lnTo>
                    <a:lnTo>
                      <a:pt x="219" y="10"/>
                    </a:lnTo>
                    <a:lnTo>
                      <a:pt x="221" y="10"/>
                    </a:lnTo>
                    <a:close/>
                    <a:moveTo>
                      <a:pt x="299" y="63"/>
                    </a:moveTo>
                    <a:lnTo>
                      <a:pt x="300" y="63"/>
                    </a:lnTo>
                    <a:lnTo>
                      <a:pt x="299" y="63"/>
                    </a:lnTo>
                    <a:close/>
                    <a:moveTo>
                      <a:pt x="170" y="46"/>
                    </a:moveTo>
                    <a:lnTo>
                      <a:pt x="170" y="48"/>
                    </a:lnTo>
                    <a:lnTo>
                      <a:pt x="170" y="46"/>
                    </a:lnTo>
                    <a:close/>
                    <a:moveTo>
                      <a:pt x="243" y="10"/>
                    </a:moveTo>
                    <a:lnTo>
                      <a:pt x="244" y="10"/>
                    </a:lnTo>
                    <a:lnTo>
                      <a:pt x="244" y="12"/>
                    </a:lnTo>
                    <a:lnTo>
                      <a:pt x="243" y="12"/>
                    </a:lnTo>
                    <a:lnTo>
                      <a:pt x="243" y="10"/>
                    </a:lnTo>
                    <a:close/>
                    <a:moveTo>
                      <a:pt x="282" y="70"/>
                    </a:moveTo>
                    <a:lnTo>
                      <a:pt x="283" y="70"/>
                    </a:lnTo>
                    <a:lnTo>
                      <a:pt x="282" y="70"/>
                    </a:lnTo>
                    <a:close/>
                    <a:moveTo>
                      <a:pt x="227" y="12"/>
                    </a:moveTo>
                    <a:lnTo>
                      <a:pt x="227" y="14"/>
                    </a:lnTo>
                    <a:lnTo>
                      <a:pt x="227" y="12"/>
                    </a:lnTo>
                    <a:close/>
                    <a:moveTo>
                      <a:pt x="224" y="9"/>
                    </a:moveTo>
                    <a:lnTo>
                      <a:pt x="226" y="9"/>
                    </a:lnTo>
                    <a:lnTo>
                      <a:pt x="224" y="9"/>
                    </a:lnTo>
                    <a:close/>
                    <a:moveTo>
                      <a:pt x="300" y="63"/>
                    </a:moveTo>
                    <a:lnTo>
                      <a:pt x="302" y="63"/>
                    </a:lnTo>
                    <a:lnTo>
                      <a:pt x="300" y="63"/>
                    </a:lnTo>
                    <a:close/>
                    <a:moveTo>
                      <a:pt x="226" y="10"/>
                    </a:moveTo>
                    <a:lnTo>
                      <a:pt x="227" y="10"/>
                    </a:lnTo>
                    <a:lnTo>
                      <a:pt x="227" y="12"/>
                    </a:lnTo>
                    <a:lnTo>
                      <a:pt x="226" y="12"/>
                    </a:lnTo>
                    <a:lnTo>
                      <a:pt x="226" y="10"/>
                    </a:lnTo>
                    <a:close/>
                    <a:moveTo>
                      <a:pt x="59" y="43"/>
                    </a:moveTo>
                    <a:lnTo>
                      <a:pt x="59" y="44"/>
                    </a:lnTo>
                    <a:lnTo>
                      <a:pt x="59" y="43"/>
                    </a:lnTo>
                    <a:close/>
                    <a:moveTo>
                      <a:pt x="170" y="46"/>
                    </a:moveTo>
                    <a:lnTo>
                      <a:pt x="171" y="46"/>
                    </a:lnTo>
                    <a:lnTo>
                      <a:pt x="171" y="48"/>
                    </a:lnTo>
                    <a:lnTo>
                      <a:pt x="170" y="48"/>
                    </a:lnTo>
                    <a:lnTo>
                      <a:pt x="170" y="46"/>
                    </a:lnTo>
                    <a:close/>
                    <a:moveTo>
                      <a:pt x="222" y="14"/>
                    </a:moveTo>
                    <a:lnTo>
                      <a:pt x="222" y="16"/>
                    </a:lnTo>
                    <a:lnTo>
                      <a:pt x="221" y="16"/>
                    </a:lnTo>
                    <a:lnTo>
                      <a:pt x="219" y="16"/>
                    </a:lnTo>
                    <a:lnTo>
                      <a:pt x="221" y="16"/>
                    </a:lnTo>
                    <a:lnTo>
                      <a:pt x="222" y="16"/>
                    </a:lnTo>
                    <a:lnTo>
                      <a:pt x="222" y="14"/>
                    </a:lnTo>
                    <a:close/>
                    <a:moveTo>
                      <a:pt x="295" y="67"/>
                    </a:moveTo>
                    <a:lnTo>
                      <a:pt x="297" y="67"/>
                    </a:lnTo>
                    <a:lnTo>
                      <a:pt x="295" y="67"/>
                    </a:lnTo>
                    <a:close/>
                    <a:moveTo>
                      <a:pt x="171" y="46"/>
                    </a:moveTo>
                    <a:lnTo>
                      <a:pt x="171" y="48"/>
                    </a:lnTo>
                    <a:lnTo>
                      <a:pt x="171" y="46"/>
                    </a:lnTo>
                    <a:close/>
                    <a:moveTo>
                      <a:pt x="61" y="43"/>
                    </a:moveTo>
                    <a:lnTo>
                      <a:pt x="62" y="43"/>
                    </a:lnTo>
                    <a:lnTo>
                      <a:pt x="61" y="43"/>
                    </a:lnTo>
                    <a:close/>
                    <a:moveTo>
                      <a:pt x="190" y="7"/>
                    </a:moveTo>
                    <a:lnTo>
                      <a:pt x="192" y="7"/>
                    </a:lnTo>
                    <a:lnTo>
                      <a:pt x="190" y="7"/>
                    </a:lnTo>
                    <a:close/>
                    <a:moveTo>
                      <a:pt x="294" y="65"/>
                    </a:moveTo>
                    <a:lnTo>
                      <a:pt x="295" y="65"/>
                    </a:lnTo>
                    <a:lnTo>
                      <a:pt x="294" y="65"/>
                    </a:lnTo>
                    <a:close/>
                    <a:moveTo>
                      <a:pt x="297" y="63"/>
                    </a:moveTo>
                    <a:lnTo>
                      <a:pt x="299" y="63"/>
                    </a:lnTo>
                    <a:lnTo>
                      <a:pt x="297" y="63"/>
                    </a:lnTo>
                    <a:close/>
                    <a:moveTo>
                      <a:pt x="224" y="10"/>
                    </a:moveTo>
                    <a:lnTo>
                      <a:pt x="224" y="12"/>
                    </a:lnTo>
                    <a:lnTo>
                      <a:pt x="224" y="10"/>
                    </a:lnTo>
                    <a:close/>
                    <a:moveTo>
                      <a:pt x="345" y="27"/>
                    </a:moveTo>
                    <a:lnTo>
                      <a:pt x="346" y="27"/>
                    </a:lnTo>
                    <a:lnTo>
                      <a:pt x="345" y="27"/>
                    </a:lnTo>
                    <a:close/>
                    <a:moveTo>
                      <a:pt x="170" y="46"/>
                    </a:moveTo>
                    <a:lnTo>
                      <a:pt x="170" y="48"/>
                    </a:lnTo>
                    <a:lnTo>
                      <a:pt x="170" y="46"/>
                    </a:lnTo>
                    <a:close/>
                    <a:moveTo>
                      <a:pt x="198" y="9"/>
                    </a:moveTo>
                    <a:lnTo>
                      <a:pt x="200" y="9"/>
                    </a:lnTo>
                    <a:lnTo>
                      <a:pt x="198" y="9"/>
                    </a:lnTo>
                    <a:close/>
                    <a:moveTo>
                      <a:pt x="170" y="46"/>
                    </a:moveTo>
                    <a:lnTo>
                      <a:pt x="171" y="46"/>
                    </a:lnTo>
                    <a:lnTo>
                      <a:pt x="170" y="46"/>
                    </a:lnTo>
                    <a:close/>
                    <a:moveTo>
                      <a:pt x="171" y="46"/>
                    </a:moveTo>
                    <a:lnTo>
                      <a:pt x="173" y="46"/>
                    </a:lnTo>
                    <a:lnTo>
                      <a:pt x="171" y="46"/>
                    </a:lnTo>
                    <a:close/>
                    <a:moveTo>
                      <a:pt x="226" y="7"/>
                    </a:moveTo>
                    <a:lnTo>
                      <a:pt x="226" y="9"/>
                    </a:lnTo>
                    <a:lnTo>
                      <a:pt x="226" y="7"/>
                    </a:lnTo>
                    <a:close/>
                    <a:moveTo>
                      <a:pt x="217" y="10"/>
                    </a:moveTo>
                    <a:lnTo>
                      <a:pt x="219" y="10"/>
                    </a:lnTo>
                    <a:lnTo>
                      <a:pt x="217" y="10"/>
                    </a:lnTo>
                    <a:close/>
                    <a:moveTo>
                      <a:pt x="272" y="44"/>
                    </a:moveTo>
                    <a:lnTo>
                      <a:pt x="273" y="44"/>
                    </a:lnTo>
                    <a:lnTo>
                      <a:pt x="272" y="4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 name="Oval 7">
                <a:extLst>
                  <a:ext uri="{FF2B5EF4-FFF2-40B4-BE49-F238E27FC236}">
                    <a16:creationId xmlns:a16="http://schemas.microsoft.com/office/drawing/2014/main" id="{8F930C40-5995-C619-16DF-F8884C1A0BD1}"/>
                  </a:ext>
                </a:extLst>
              </p:cNvPr>
              <p:cNvSpPr/>
              <p:nvPr/>
            </p:nvSpPr>
            <p:spPr>
              <a:xfrm>
                <a:off x="3957324" y="2842086"/>
                <a:ext cx="1229355" cy="620442"/>
              </a:xfrm>
              <a:prstGeom prst="ellipse">
                <a:avLst/>
              </a:prstGeom>
              <a:solidFill>
                <a:srgbClr val="F7F7F7"/>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 name="Freeform 46">
                <a:extLst>
                  <a:ext uri="{FF2B5EF4-FFF2-40B4-BE49-F238E27FC236}">
                    <a16:creationId xmlns:a16="http://schemas.microsoft.com/office/drawing/2014/main" id="{B5CC830C-B137-6407-1317-08EA63C419E1}"/>
                  </a:ext>
                </a:extLst>
              </p:cNvPr>
              <p:cNvSpPr>
                <a:spLocks noEditPoints="1"/>
              </p:cNvSpPr>
              <p:nvPr/>
            </p:nvSpPr>
            <p:spPr bwMode="auto">
              <a:xfrm>
                <a:off x="4346672" y="2861949"/>
                <a:ext cx="386984" cy="568298"/>
              </a:xfrm>
              <a:custGeom>
                <a:avLst/>
                <a:gdLst>
                  <a:gd name="T0" fmla="*/ 367 w 429"/>
                  <a:gd name="T1" fmla="*/ 141 h 630"/>
                  <a:gd name="T2" fmla="*/ 347 w 429"/>
                  <a:gd name="T3" fmla="*/ 148 h 630"/>
                  <a:gd name="T4" fmla="*/ 323 w 429"/>
                  <a:gd name="T5" fmla="*/ 152 h 630"/>
                  <a:gd name="T6" fmla="*/ 299 w 429"/>
                  <a:gd name="T7" fmla="*/ 165 h 630"/>
                  <a:gd name="T8" fmla="*/ 284 w 429"/>
                  <a:gd name="T9" fmla="*/ 189 h 630"/>
                  <a:gd name="T10" fmla="*/ 276 w 429"/>
                  <a:gd name="T11" fmla="*/ 213 h 630"/>
                  <a:gd name="T12" fmla="*/ 259 w 429"/>
                  <a:gd name="T13" fmla="*/ 230 h 630"/>
                  <a:gd name="T14" fmla="*/ 259 w 429"/>
                  <a:gd name="T15" fmla="*/ 262 h 630"/>
                  <a:gd name="T16" fmla="*/ 272 w 429"/>
                  <a:gd name="T17" fmla="*/ 293 h 630"/>
                  <a:gd name="T18" fmla="*/ 294 w 429"/>
                  <a:gd name="T19" fmla="*/ 320 h 630"/>
                  <a:gd name="T20" fmla="*/ 310 w 429"/>
                  <a:gd name="T21" fmla="*/ 337 h 630"/>
                  <a:gd name="T22" fmla="*/ 357 w 429"/>
                  <a:gd name="T23" fmla="*/ 327 h 630"/>
                  <a:gd name="T24" fmla="*/ 364 w 429"/>
                  <a:gd name="T25" fmla="*/ 332 h 630"/>
                  <a:gd name="T26" fmla="*/ 376 w 429"/>
                  <a:gd name="T27" fmla="*/ 376 h 630"/>
                  <a:gd name="T28" fmla="*/ 408 w 429"/>
                  <a:gd name="T29" fmla="*/ 388 h 630"/>
                  <a:gd name="T30" fmla="*/ 427 w 429"/>
                  <a:gd name="T31" fmla="*/ 432 h 630"/>
                  <a:gd name="T32" fmla="*/ 420 w 429"/>
                  <a:gd name="T33" fmla="*/ 461 h 630"/>
                  <a:gd name="T34" fmla="*/ 417 w 429"/>
                  <a:gd name="T35" fmla="*/ 487 h 630"/>
                  <a:gd name="T36" fmla="*/ 408 w 429"/>
                  <a:gd name="T37" fmla="*/ 516 h 630"/>
                  <a:gd name="T38" fmla="*/ 413 w 429"/>
                  <a:gd name="T39" fmla="*/ 555 h 630"/>
                  <a:gd name="T40" fmla="*/ 403 w 429"/>
                  <a:gd name="T41" fmla="*/ 584 h 630"/>
                  <a:gd name="T42" fmla="*/ 388 w 429"/>
                  <a:gd name="T43" fmla="*/ 609 h 630"/>
                  <a:gd name="T44" fmla="*/ 366 w 429"/>
                  <a:gd name="T45" fmla="*/ 628 h 630"/>
                  <a:gd name="T46" fmla="*/ 339 w 429"/>
                  <a:gd name="T47" fmla="*/ 606 h 630"/>
                  <a:gd name="T48" fmla="*/ 313 w 429"/>
                  <a:gd name="T49" fmla="*/ 582 h 630"/>
                  <a:gd name="T50" fmla="*/ 281 w 429"/>
                  <a:gd name="T51" fmla="*/ 565 h 630"/>
                  <a:gd name="T52" fmla="*/ 248 w 429"/>
                  <a:gd name="T53" fmla="*/ 550 h 630"/>
                  <a:gd name="T54" fmla="*/ 216 w 429"/>
                  <a:gd name="T55" fmla="*/ 529 h 630"/>
                  <a:gd name="T56" fmla="*/ 194 w 429"/>
                  <a:gd name="T57" fmla="*/ 507 h 630"/>
                  <a:gd name="T58" fmla="*/ 172 w 429"/>
                  <a:gd name="T59" fmla="*/ 482 h 630"/>
                  <a:gd name="T60" fmla="*/ 172 w 429"/>
                  <a:gd name="T61" fmla="*/ 470 h 630"/>
                  <a:gd name="T62" fmla="*/ 160 w 429"/>
                  <a:gd name="T63" fmla="*/ 436 h 630"/>
                  <a:gd name="T64" fmla="*/ 141 w 429"/>
                  <a:gd name="T65" fmla="*/ 410 h 630"/>
                  <a:gd name="T66" fmla="*/ 126 w 429"/>
                  <a:gd name="T67" fmla="*/ 381 h 630"/>
                  <a:gd name="T68" fmla="*/ 112 w 429"/>
                  <a:gd name="T69" fmla="*/ 352 h 630"/>
                  <a:gd name="T70" fmla="*/ 99 w 429"/>
                  <a:gd name="T71" fmla="*/ 317 h 630"/>
                  <a:gd name="T72" fmla="*/ 87 w 429"/>
                  <a:gd name="T73" fmla="*/ 298 h 630"/>
                  <a:gd name="T74" fmla="*/ 67 w 429"/>
                  <a:gd name="T75" fmla="*/ 266 h 630"/>
                  <a:gd name="T76" fmla="*/ 46 w 429"/>
                  <a:gd name="T77" fmla="*/ 230 h 630"/>
                  <a:gd name="T78" fmla="*/ 9 w 429"/>
                  <a:gd name="T79" fmla="*/ 204 h 630"/>
                  <a:gd name="T80" fmla="*/ 5 w 429"/>
                  <a:gd name="T81" fmla="*/ 177 h 630"/>
                  <a:gd name="T82" fmla="*/ 4 w 429"/>
                  <a:gd name="T83" fmla="*/ 145 h 630"/>
                  <a:gd name="T84" fmla="*/ 31 w 429"/>
                  <a:gd name="T85" fmla="*/ 119 h 630"/>
                  <a:gd name="T86" fmla="*/ 29 w 429"/>
                  <a:gd name="T87" fmla="*/ 136 h 630"/>
                  <a:gd name="T88" fmla="*/ 39 w 429"/>
                  <a:gd name="T89" fmla="*/ 145 h 630"/>
                  <a:gd name="T90" fmla="*/ 70 w 429"/>
                  <a:gd name="T91" fmla="*/ 165 h 630"/>
                  <a:gd name="T92" fmla="*/ 92 w 429"/>
                  <a:gd name="T93" fmla="*/ 148 h 630"/>
                  <a:gd name="T94" fmla="*/ 101 w 429"/>
                  <a:gd name="T95" fmla="*/ 118 h 630"/>
                  <a:gd name="T96" fmla="*/ 128 w 429"/>
                  <a:gd name="T97" fmla="*/ 99 h 630"/>
                  <a:gd name="T98" fmla="*/ 199 w 429"/>
                  <a:gd name="T99" fmla="*/ 39 h 630"/>
                  <a:gd name="T100" fmla="*/ 203 w 429"/>
                  <a:gd name="T101" fmla="*/ 16 h 630"/>
                  <a:gd name="T102" fmla="*/ 216 w 429"/>
                  <a:gd name="T103" fmla="*/ 5 h 630"/>
                  <a:gd name="T104" fmla="*/ 235 w 429"/>
                  <a:gd name="T105" fmla="*/ 21 h 630"/>
                  <a:gd name="T106" fmla="*/ 248 w 429"/>
                  <a:gd name="T107" fmla="*/ 34 h 630"/>
                  <a:gd name="T108" fmla="*/ 265 w 429"/>
                  <a:gd name="T109" fmla="*/ 51 h 630"/>
                  <a:gd name="T110" fmla="*/ 279 w 429"/>
                  <a:gd name="T111" fmla="*/ 70 h 630"/>
                  <a:gd name="T112" fmla="*/ 298 w 429"/>
                  <a:gd name="T113" fmla="*/ 82 h 630"/>
                  <a:gd name="T114" fmla="*/ 322 w 429"/>
                  <a:gd name="T115" fmla="*/ 75 h 630"/>
                  <a:gd name="T116" fmla="*/ 342 w 429"/>
                  <a:gd name="T117" fmla="*/ 80 h 630"/>
                  <a:gd name="T118" fmla="*/ 367 w 429"/>
                  <a:gd name="T119" fmla="*/ 84 h 630"/>
                  <a:gd name="T120" fmla="*/ 371 w 429"/>
                  <a:gd name="T121" fmla="*/ 109 h 630"/>
                  <a:gd name="T122" fmla="*/ 381 w 429"/>
                  <a:gd name="T123" fmla="*/ 138 h 630"/>
                  <a:gd name="T124" fmla="*/ 36 w 429"/>
                  <a:gd name="T125" fmla="*/ 116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9" h="630">
                    <a:moveTo>
                      <a:pt x="384" y="143"/>
                    </a:moveTo>
                    <a:lnTo>
                      <a:pt x="384" y="145"/>
                    </a:lnTo>
                    <a:lnTo>
                      <a:pt x="384" y="147"/>
                    </a:lnTo>
                    <a:lnTo>
                      <a:pt x="384" y="148"/>
                    </a:lnTo>
                    <a:lnTo>
                      <a:pt x="383" y="148"/>
                    </a:lnTo>
                    <a:lnTo>
                      <a:pt x="381" y="147"/>
                    </a:lnTo>
                    <a:lnTo>
                      <a:pt x="381" y="145"/>
                    </a:lnTo>
                    <a:lnTo>
                      <a:pt x="379" y="145"/>
                    </a:lnTo>
                    <a:lnTo>
                      <a:pt x="379" y="143"/>
                    </a:lnTo>
                    <a:lnTo>
                      <a:pt x="379" y="145"/>
                    </a:lnTo>
                    <a:lnTo>
                      <a:pt x="378" y="145"/>
                    </a:lnTo>
                    <a:lnTo>
                      <a:pt x="378" y="147"/>
                    </a:lnTo>
                    <a:lnTo>
                      <a:pt x="376" y="147"/>
                    </a:lnTo>
                    <a:lnTo>
                      <a:pt x="376" y="145"/>
                    </a:lnTo>
                    <a:lnTo>
                      <a:pt x="376" y="147"/>
                    </a:lnTo>
                    <a:lnTo>
                      <a:pt x="374" y="145"/>
                    </a:lnTo>
                    <a:lnTo>
                      <a:pt x="373" y="143"/>
                    </a:lnTo>
                    <a:lnTo>
                      <a:pt x="374" y="143"/>
                    </a:lnTo>
                    <a:lnTo>
                      <a:pt x="374" y="141"/>
                    </a:lnTo>
                    <a:lnTo>
                      <a:pt x="373" y="140"/>
                    </a:lnTo>
                    <a:lnTo>
                      <a:pt x="373" y="141"/>
                    </a:lnTo>
                    <a:lnTo>
                      <a:pt x="371" y="141"/>
                    </a:lnTo>
                    <a:lnTo>
                      <a:pt x="371" y="140"/>
                    </a:lnTo>
                    <a:lnTo>
                      <a:pt x="369" y="140"/>
                    </a:lnTo>
                    <a:lnTo>
                      <a:pt x="367" y="140"/>
                    </a:lnTo>
                    <a:lnTo>
                      <a:pt x="369" y="140"/>
                    </a:lnTo>
                    <a:lnTo>
                      <a:pt x="367" y="140"/>
                    </a:lnTo>
                    <a:lnTo>
                      <a:pt x="367" y="141"/>
                    </a:lnTo>
                    <a:lnTo>
                      <a:pt x="367" y="140"/>
                    </a:lnTo>
                    <a:lnTo>
                      <a:pt x="367" y="141"/>
                    </a:lnTo>
                    <a:lnTo>
                      <a:pt x="366" y="141"/>
                    </a:lnTo>
                    <a:lnTo>
                      <a:pt x="366" y="140"/>
                    </a:lnTo>
                    <a:lnTo>
                      <a:pt x="364" y="140"/>
                    </a:lnTo>
                    <a:lnTo>
                      <a:pt x="366" y="140"/>
                    </a:lnTo>
                    <a:lnTo>
                      <a:pt x="364" y="141"/>
                    </a:lnTo>
                    <a:lnTo>
                      <a:pt x="362" y="141"/>
                    </a:lnTo>
                    <a:lnTo>
                      <a:pt x="362" y="140"/>
                    </a:lnTo>
                    <a:lnTo>
                      <a:pt x="361" y="140"/>
                    </a:lnTo>
                    <a:lnTo>
                      <a:pt x="361" y="141"/>
                    </a:lnTo>
                    <a:lnTo>
                      <a:pt x="359" y="141"/>
                    </a:lnTo>
                    <a:lnTo>
                      <a:pt x="357" y="140"/>
                    </a:lnTo>
                    <a:lnTo>
                      <a:pt x="357" y="141"/>
                    </a:lnTo>
                    <a:lnTo>
                      <a:pt x="356" y="141"/>
                    </a:lnTo>
                    <a:lnTo>
                      <a:pt x="356" y="143"/>
                    </a:lnTo>
                    <a:lnTo>
                      <a:pt x="354" y="143"/>
                    </a:lnTo>
                    <a:lnTo>
                      <a:pt x="354" y="145"/>
                    </a:lnTo>
                    <a:lnTo>
                      <a:pt x="354" y="147"/>
                    </a:lnTo>
                    <a:lnTo>
                      <a:pt x="352" y="147"/>
                    </a:lnTo>
                    <a:lnTo>
                      <a:pt x="352" y="148"/>
                    </a:lnTo>
                    <a:lnTo>
                      <a:pt x="350" y="148"/>
                    </a:lnTo>
                    <a:lnTo>
                      <a:pt x="350" y="147"/>
                    </a:lnTo>
                    <a:lnTo>
                      <a:pt x="349" y="147"/>
                    </a:lnTo>
                    <a:lnTo>
                      <a:pt x="350" y="147"/>
                    </a:lnTo>
                    <a:lnTo>
                      <a:pt x="350" y="148"/>
                    </a:lnTo>
                    <a:lnTo>
                      <a:pt x="349" y="148"/>
                    </a:lnTo>
                    <a:lnTo>
                      <a:pt x="347" y="148"/>
                    </a:lnTo>
                    <a:lnTo>
                      <a:pt x="345" y="148"/>
                    </a:lnTo>
                    <a:lnTo>
                      <a:pt x="344" y="148"/>
                    </a:lnTo>
                    <a:lnTo>
                      <a:pt x="344" y="150"/>
                    </a:lnTo>
                    <a:lnTo>
                      <a:pt x="342" y="148"/>
                    </a:lnTo>
                    <a:lnTo>
                      <a:pt x="340" y="148"/>
                    </a:lnTo>
                    <a:lnTo>
                      <a:pt x="340" y="150"/>
                    </a:lnTo>
                    <a:lnTo>
                      <a:pt x="339" y="150"/>
                    </a:lnTo>
                    <a:lnTo>
                      <a:pt x="339" y="148"/>
                    </a:lnTo>
                    <a:lnTo>
                      <a:pt x="339" y="150"/>
                    </a:lnTo>
                    <a:lnTo>
                      <a:pt x="337" y="150"/>
                    </a:lnTo>
                    <a:lnTo>
                      <a:pt x="335" y="150"/>
                    </a:lnTo>
                    <a:lnTo>
                      <a:pt x="335" y="152"/>
                    </a:lnTo>
                    <a:lnTo>
                      <a:pt x="335" y="150"/>
                    </a:lnTo>
                    <a:lnTo>
                      <a:pt x="333" y="150"/>
                    </a:lnTo>
                    <a:lnTo>
                      <a:pt x="332" y="150"/>
                    </a:lnTo>
                    <a:lnTo>
                      <a:pt x="333" y="152"/>
                    </a:lnTo>
                    <a:lnTo>
                      <a:pt x="332" y="152"/>
                    </a:lnTo>
                    <a:lnTo>
                      <a:pt x="332" y="150"/>
                    </a:lnTo>
                    <a:lnTo>
                      <a:pt x="332" y="152"/>
                    </a:lnTo>
                    <a:lnTo>
                      <a:pt x="330" y="152"/>
                    </a:lnTo>
                    <a:lnTo>
                      <a:pt x="330" y="153"/>
                    </a:lnTo>
                    <a:lnTo>
                      <a:pt x="328" y="153"/>
                    </a:lnTo>
                    <a:lnTo>
                      <a:pt x="328" y="152"/>
                    </a:lnTo>
                    <a:lnTo>
                      <a:pt x="327" y="152"/>
                    </a:lnTo>
                    <a:lnTo>
                      <a:pt x="325" y="152"/>
                    </a:lnTo>
                    <a:lnTo>
                      <a:pt x="323" y="152"/>
                    </a:lnTo>
                    <a:lnTo>
                      <a:pt x="325" y="152"/>
                    </a:lnTo>
                    <a:lnTo>
                      <a:pt x="323" y="152"/>
                    </a:lnTo>
                    <a:lnTo>
                      <a:pt x="322" y="152"/>
                    </a:lnTo>
                    <a:lnTo>
                      <a:pt x="320" y="152"/>
                    </a:lnTo>
                    <a:lnTo>
                      <a:pt x="320" y="153"/>
                    </a:lnTo>
                    <a:lnTo>
                      <a:pt x="320" y="152"/>
                    </a:lnTo>
                    <a:lnTo>
                      <a:pt x="318" y="152"/>
                    </a:lnTo>
                    <a:lnTo>
                      <a:pt x="320" y="153"/>
                    </a:lnTo>
                    <a:lnTo>
                      <a:pt x="318" y="153"/>
                    </a:lnTo>
                    <a:lnTo>
                      <a:pt x="318" y="155"/>
                    </a:lnTo>
                    <a:lnTo>
                      <a:pt x="316" y="155"/>
                    </a:lnTo>
                    <a:lnTo>
                      <a:pt x="316" y="157"/>
                    </a:lnTo>
                    <a:lnTo>
                      <a:pt x="315" y="157"/>
                    </a:lnTo>
                    <a:lnTo>
                      <a:pt x="313" y="157"/>
                    </a:lnTo>
                    <a:lnTo>
                      <a:pt x="313" y="159"/>
                    </a:lnTo>
                    <a:lnTo>
                      <a:pt x="311" y="159"/>
                    </a:lnTo>
                    <a:lnTo>
                      <a:pt x="311" y="160"/>
                    </a:lnTo>
                    <a:lnTo>
                      <a:pt x="311" y="159"/>
                    </a:lnTo>
                    <a:lnTo>
                      <a:pt x="310" y="160"/>
                    </a:lnTo>
                    <a:lnTo>
                      <a:pt x="308" y="160"/>
                    </a:lnTo>
                    <a:lnTo>
                      <a:pt x="308" y="162"/>
                    </a:lnTo>
                    <a:lnTo>
                      <a:pt x="306" y="160"/>
                    </a:lnTo>
                    <a:lnTo>
                      <a:pt x="308" y="162"/>
                    </a:lnTo>
                    <a:lnTo>
                      <a:pt x="306" y="162"/>
                    </a:lnTo>
                    <a:lnTo>
                      <a:pt x="305" y="162"/>
                    </a:lnTo>
                    <a:lnTo>
                      <a:pt x="303" y="162"/>
                    </a:lnTo>
                    <a:lnTo>
                      <a:pt x="303" y="164"/>
                    </a:lnTo>
                    <a:lnTo>
                      <a:pt x="303" y="165"/>
                    </a:lnTo>
                    <a:lnTo>
                      <a:pt x="301" y="165"/>
                    </a:lnTo>
                    <a:lnTo>
                      <a:pt x="299" y="165"/>
                    </a:lnTo>
                    <a:lnTo>
                      <a:pt x="301" y="165"/>
                    </a:lnTo>
                    <a:lnTo>
                      <a:pt x="299" y="167"/>
                    </a:lnTo>
                    <a:lnTo>
                      <a:pt x="298" y="167"/>
                    </a:lnTo>
                    <a:lnTo>
                      <a:pt x="296" y="169"/>
                    </a:lnTo>
                    <a:lnTo>
                      <a:pt x="294" y="169"/>
                    </a:lnTo>
                    <a:lnTo>
                      <a:pt x="296" y="169"/>
                    </a:lnTo>
                    <a:lnTo>
                      <a:pt x="294" y="169"/>
                    </a:lnTo>
                    <a:lnTo>
                      <a:pt x="296" y="170"/>
                    </a:lnTo>
                    <a:lnTo>
                      <a:pt x="294" y="170"/>
                    </a:lnTo>
                    <a:lnTo>
                      <a:pt x="293" y="170"/>
                    </a:lnTo>
                    <a:lnTo>
                      <a:pt x="291" y="170"/>
                    </a:lnTo>
                    <a:lnTo>
                      <a:pt x="291" y="172"/>
                    </a:lnTo>
                    <a:lnTo>
                      <a:pt x="289" y="172"/>
                    </a:lnTo>
                    <a:lnTo>
                      <a:pt x="288" y="172"/>
                    </a:lnTo>
                    <a:lnTo>
                      <a:pt x="288" y="174"/>
                    </a:lnTo>
                    <a:lnTo>
                      <a:pt x="286" y="174"/>
                    </a:lnTo>
                    <a:lnTo>
                      <a:pt x="286" y="176"/>
                    </a:lnTo>
                    <a:lnTo>
                      <a:pt x="286" y="177"/>
                    </a:lnTo>
                    <a:lnTo>
                      <a:pt x="286" y="179"/>
                    </a:lnTo>
                    <a:lnTo>
                      <a:pt x="286" y="181"/>
                    </a:lnTo>
                    <a:lnTo>
                      <a:pt x="286" y="182"/>
                    </a:lnTo>
                    <a:lnTo>
                      <a:pt x="284" y="182"/>
                    </a:lnTo>
                    <a:lnTo>
                      <a:pt x="284" y="184"/>
                    </a:lnTo>
                    <a:lnTo>
                      <a:pt x="284" y="186"/>
                    </a:lnTo>
                    <a:lnTo>
                      <a:pt x="282" y="186"/>
                    </a:lnTo>
                    <a:lnTo>
                      <a:pt x="284" y="186"/>
                    </a:lnTo>
                    <a:lnTo>
                      <a:pt x="284" y="187"/>
                    </a:lnTo>
                    <a:lnTo>
                      <a:pt x="284" y="189"/>
                    </a:lnTo>
                    <a:lnTo>
                      <a:pt x="282" y="189"/>
                    </a:lnTo>
                    <a:lnTo>
                      <a:pt x="282" y="191"/>
                    </a:lnTo>
                    <a:lnTo>
                      <a:pt x="284" y="191"/>
                    </a:lnTo>
                    <a:lnTo>
                      <a:pt x="282" y="191"/>
                    </a:lnTo>
                    <a:lnTo>
                      <a:pt x="282" y="193"/>
                    </a:lnTo>
                    <a:lnTo>
                      <a:pt x="282" y="194"/>
                    </a:lnTo>
                    <a:lnTo>
                      <a:pt x="281" y="194"/>
                    </a:lnTo>
                    <a:lnTo>
                      <a:pt x="281" y="196"/>
                    </a:lnTo>
                    <a:lnTo>
                      <a:pt x="279" y="196"/>
                    </a:lnTo>
                    <a:lnTo>
                      <a:pt x="279" y="198"/>
                    </a:lnTo>
                    <a:lnTo>
                      <a:pt x="277" y="198"/>
                    </a:lnTo>
                    <a:lnTo>
                      <a:pt x="277" y="199"/>
                    </a:lnTo>
                    <a:lnTo>
                      <a:pt x="276" y="199"/>
                    </a:lnTo>
                    <a:lnTo>
                      <a:pt x="276" y="201"/>
                    </a:lnTo>
                    <a:lnTo>
                      <a:pt x="276" y="203"/>
                    </a:lnTo>
                    <a:lnTo>
                      <a:pt x="274" y="203"/>
                    </a:lnTo>
                    <a:lnTo>
                      <a:pt x="276" y="204"/>
                    </a:lnTo>
                    <a:lnTo>
                      <a:pt x="274" y="203"/>
                    </a:lnTo>
                    <a:lnTo>
                      <a:pt x="274" y="204"/>
                    </a:lnTo>
                    <a:lnTo>
                      <a:pt x="274" y="206"/>
                    </a:lnTo>
                    <a:lnTo>
                      <a:pt x="274" y="208"/>
                    </a:lnTo>
                    <a:lnTo>
                      <a:pt x="274" y="210"/>
                    </a:lnTo>
                    <a:lnTo>
                      <a:pt x="276" y="210"/>
                    </a:lnTo>
                    <a:lnTo>
                      <a:pt x="274" y="210"/>
                    </a:lnTo>
                    <a:lnTo>
                      <a:pt x="276" y="210"/>
                    </a:lnTo>
                    <a:lnTo>
                      <a:pt x="276" y="211"/>
                    </a:lnTo>
                    <a:lnTo>
                      <a:pt x="277" y="213"/>
                    </a:lnTo>
                    <a:lnTo>
                      <a:pt x="276" y="213"/>
                    </a:lnTo>
                    <a:lnTo>
                      <a:pt x="277" y="213"/>
                    </a:lnTo>
                    <a:lnTo>
                      <a:pt x="277" y="215"/>
                    </a:lnTo>
                    <a:lnTo>
                      <a:pt x="277" y="216"/>
                    </a:lnTo>
                    <a:lnTo>
                      <a:pt x="279" y="216"/>
                    </a:lnTo>
                    <a:lnTo>
                      <a:pt x="277" y="218"/>
                    </a:lnTo>
                    <a:lnTo>
                      <a:pt x="279" y="218"/>
                    </a:lnTo>
                    <a:lnTo>
                      <a:pt x="277" y="218"/>
                    </a:lnTo>
                    <a:lnTo>
                      <a:pt x="277" y="220"/>
                    </a:lnTo>
                    <a:lnTo>
                      <a:pt x="277" y="221"/>
                    </a:lnTo>
                    <a:lnTo>
                      <a:pt x="276" y="220"/>
                    </a:lnTo>
                    <a:lnTo>
                      <a:pt x="276" y="221"/>
                    </a:lnTo>
                    <a:lnTo>
                      <a:pt x="276" y="223"/>
                    </a:lnTo>
                    <a:lnTo>
                      <a:pt x="274" y="221"/>
                    </a:lnTo>
                    <a:lnTo>
                      <a:pt x="274" y="223"/>
                    </a:lnTo>
                    <a:lnTo>
                      <a:pt x="272" y="223"/>
                    </a:lnTo>
                    <a:lnTo>
                      <a:pt x="271" y="223"/>
                    </a:lnTo>
                    <a:lnTo>
                      <a:pt x="269" y="223"/>
                    </a:lnTo>
                    <a:lnTo>
                      <a:pt x="269" y="225"/>
                    </a:lnTo>
                    <a:lnTo>
                      <a:pt x="267" y="225"/>
                    </a:lnTo>
                    <a:lnTo>
                      <a:pt x="265" y="225"/>
                    </a:lnTo>
                    <a:lnTo>
                      <a:pt x="265" y="227"/>
                    </a:lnTo>
                    <a:lnTo>
                      <a:pt x="265" y="225"/>
                    </a:lnTo>
                    <a:lnTo>
                      <a:pt x="264" y="227"/>
                    </a:lnTo>
                    <a:lnTo>
                      <a:pt x="264" y="228"/>
                    </a:lnTo>
                    <a:lnTo>
                      <a:pt x="262" y="228"/>
                    </a:lnTo>
                    <a:lnTo>
                      <a:pt x="260" y="228"/>
                    </a:lnTo>
                    <a:lnTo>
                      <a:pt x="260" y="230"/>
                    </a:lnTo>
                    <a:lnTo>
                      <a:pt x="259" y="230"/>
                    </a:lnTo>
                    <a:lnTo>
                      <a:pt x="259" y="232"/>
                    </a:lnTo>
                    <a:lnTo>
                      <a:pt x="257" y="232"/>
                    </a:lnTo>
                    <a:lnTo>
                      <a:pt x="257" y="233"/>
                    </a:lnTo>
                    <a:lnTo>
                      <a:pt x="257" y="235"/>
                    </a:lnTo>
                    <a:lnTo>
                      <a:pt x="257" y="237"/>
                    </a:lnTo>
                    <a:lnTo>
                      <a:pt x="257" y="238"/>
                    </a:lnTo>
                    <a:lnTo>
                      <a:pt x="255" y="240"/>
                    </a:lnTo>
                    <a:lnTo>
                      <a:pt x="257" y="244"/>
                    </a:lnTo>
                    <a:lnTo>
                      <a:pt x="259" y="245"/>
                    </a:lnTo>
                    <a:lnTo>
                      <a:pt x="259" y="247"/>
                    </a:lnTo>
                    <a:lnTo>
                      <a:pt x="257" y="247"/>
                    </a:lnTo>
                    <a:lnTo>
                      <a:pt x="257" y="249"/>
                    </a:lnTo>
                    <a:lnTo>
                      <a:pt x="255" y="249"/>
                    </a:lnTo>
                    <a:lnTo>
                      <a:pt x="254" y="249"/>
                    </a:lnTo>
                    <a:lnTo>
                      <a:pt x="252" y="250"/>
                    </a:lnTo>
                    <a:lnTo>
                      <a:pt x="250" y="249"/>
                    </a:lnTo>
                    <a:lnTo>
                      <a:pt x="250" y="252"/>
                    </a:lnTo>
                    <a:lnTo>
                      <a:pt x="250" y="254"/>
                    </a:lnTo>
                    <a:lnTo>
                      <a:pt x="250" y="255"/>
                    </a:lnTo>
                    <a:lnTo>
                      <a:pt x="248" y="255"/>
                    </a:lnTo>
                    <a:lnTo>
                      <a:pt x="250" y="257"/>
                    </a:lnTo>
                    <a:lnTo>
                      <a:pt x="252" y="259"/>
                    </a:lnTo>
                    <a:lnTo>
                      <a:pt x="254" y="259"/>
                    </a:lnTo>
                    <a:lnTo>
                      <a:pt x="254" y="261"/>
                    </a:lnTo>
                    <a:lnTo>
                      <a:pt x="255" y="261"/>
                    </a:lnTo>
                    <a:lnTo>
                      <a:pt x="255" y="262"/>
                    </a:lnTo>
                    <a:lnTo>
                      <a:pt x="257" y="262"/>
                    </a:lnTo>
                    <a:lnTo>
                      <a:pt x="259" y="262"/>
                    </a:lnTo>
                    <a:lnTo>
                      <a:pt x="259" y="264"/>
                    </a:lnTo>
                    <a:lnTo>
                      <a:pt x="259" y="266"/>
                    </a:lnTo>
                    <a:lnTo>
                      <a:pt x="257" y="267"/>
                    </a:lnTo>
                    <a:lnTo>
                      <a:pt x="257" y="266"/>
                    </a:lnTo>
                    <a:lnTo>
                      <a:pt x="257" y="267"/>
                    </a:lnTo>
                    <a:lnTo>
                      <a:pt x="255" y="267"/>
                    </a:lnTo>
                    <a:lnTo>
                      <a:pt x="257" y="267"/>
                    </a:lnTo>
                    <a:lnTo>
                      <a:pt x="257" y="269"/>
                    </a:lnTo>
                    <a:lnTo>
                      <a:pt x="259" y="269"/>
                    </a:lnTo>
                    <a:lnTo>
                      <a:pt x="259" y="271"/>
                    </a:lnTo>
                    <a:lnTo>
                      <a:pt x="260" y="271"/>
                    </a:lnTo>
                    <a:lnTo>
                      <a:pt x="260" y="272"/>
                    </a:lnTo>
                    <a:lnTo>
                      <a:pt x="262" y="274"/>
                    </a:lnTo>
                    <a:lnTo>
                      <a:pt x="262" y="276"/>
                    </a:lnTo>
                    <a:lnTo>
                      <a:pt x="262" y="278"/>
                    </a:lnTo>
                    <a:lnTo>
                      <a:pt x="264" y="279"/>
                    </a:lnTo>
                    <a:lnTo>
                      <a:pt x="264" y="281"/>
                    </a:lnTo>
                    <a:lnTo>
                      <a:pt x="264" y="283"/>
                    </a:lnTo>
                    <a:lnTo>
                      <a:pt x="265" y="284"/>
                    </a:lnTo>
                    <a:lnTo>
                      <a:pt x="267" y="284"/>
                    </a:lnTo>
                    <a:lnTo>
                      <a:pt x="269" y="284"/>
                    </a:lnTo>
                    <a:lnTo>
                      <a:pt x="269" y="286"/>
                    </a:lnTo>
                    <a:lnTo>
                      <a:pt x="269" y="288"/>
                    </a:lnTo>
                    <a:lnTo>
                      <a:pt x="271" y="288"/>
                    </a:lnTo>
                    <a:lnTo>
                      <a:pt x="271" y="289"/>
                    </a:lnTo>
                    <a:lnTo>
                      <a:pt x="271" y="291"/>
                    </a:lnTo>
                    <a:lnTo>
                      <a:pt x="271" y="293"/>
                    </a:lnTo>
                    <a:lnTo>
                      <a:pt x="272" y="293"/>
                    </a:lnTo>
                    <a:lnTo>
                      <a:pt x="272" y="295"/>
                    </a:lnTo>
                    <a:lnTo>
                      <a:pt x="274" y="295"/>
                    </a:lnTo>
                    <a:lnTo>
                      <a:pt x="276" y="295"/>
                    </a:lnTo>
                    <a:lnTo>
                      <a:pt x="277" y="295"/>
                    </a:lnTo>
                    <a:lnTo>
                      <a:pt x="277" y="296"/>
                    </a:lnTo>
                    <a:lnTo>
                      <a:pt x="277" y="298"/>
                    </a:lnTo>
                    <a:lnTo>
                      <a:pt x="279" y="300"/>
                    </a:lnTo>
                    <a:lnTo>
                      <a:pt x="281" y="301"/>
                    </a:lnTo>
                    <a:lnTo>
                      <a:pt x="282" y="303"/>
                    </a:lnTo>
                    <a:lnTo>
                      <a:pt x="282" y="305"/>
                    </a:lnTo>
                    <a:lnTo>
                      <a:pt x="284" y="305"/>
                    </a:lnTo>
                    <a:lnTo>
                      <a:pt x="284" y="307"/>
                    </a:lnTo>
                    <a:lnTo>
                      <a:pt x="284" y="308"/>
                    </a:lnTo>
                    <a:lnTo>
                      <a:pt x="284" y="310"/>
                    </a:lnTo>
                    <a:lnTo>
                      <a:pt x="282" y="310"/>
                    </a:lnTo>
                    <a:lnTo>
                      <a:pt x="281" y="312"/>
                    </a:lnTo>
                    <a:lnTo>
                      <a:pt x="282" y="312"/>
                    </a:lnTo>
                    <a:lnTo>
                      <a:pt x="281" y="313"/>
                    </a:lnTo>
                    <a:lnTo>
                      <a:pt x="279" y="313"/>
                    </a:lnTo>
                    <a:lnTo>
                      <a:pt x="279" y="315"/>
                    </a:lnTo>
                    <a:lnTo>
                      <a:pt x="277" y="317"/>
                    </a:lnTo>
                    <a:lnTo>
                      <a:pt x="276" y="317"/>
                    </a:lnTo>
                    <a:lnTo>
                      <a:pt x="276" y="318"/>
                    </a:lnTo>
                    <a:lnTo>
                      <a:pt x="284" y="318"/>
                    </a:lnTo>
                    <a:lnTo>
                      <a:pt x="291" y="318"/>
                    </a:lnTo>
                    <a:lnTo>
                      <a:pt x="291" y="320"/>
                    </a:lnTo>
                    <a:lnTo>
                      <a:pt x="293" y="320"/>
                    </a:lnTo>
                    <a:lnTo>
                      <a:pt x="294" y="320"/>
                    </a:lnTo>
                    <a:lnTo>
                      <a:pt x="296" y="320"/>
                    </a:lnTo>
                    <a:lnTo>
                      <a:pt x="296" y="322"/>
                    </a:lnTo>
                    <a:lnTo>
                      <a:pt x="298" y="322"/>
                    </a:lnTo>
                    <a:lnTo>
                      <a:pt x="299" y="322"/>
                    </a:lnTo>
                    <a:lnTo>
                      <a:pt x="301" y="322"/>
                    </a:lnTo>
                    <a:lnTo>
                      <a:pt x="303" y="322"/>
                    </a:lnTo>
                    <a:lnTo>
                      <a:pt x="305" y="322"/>
                    </a:lnTo>
                    <a:lnTo>
                      <a:pt x="305" y="324"/>
                    </a:lnTo>
                    <a:lnTo>
                      <a:pt x="306" y="324"/>
                    </a:lnTo>
                    <a:lnTo>
                      <a:pt x="306" y="325"/>
                    </a:lnTo>
                    <a:lnTo>
                      <a:pt x="306" y="327"/>
                    </a:lnTo>
                    <a:lnTo>
                      <a:pt x="308" y="327"/>
                    </a:lnTo>
                    <a:lnTo>
                      <a:pt x="306" y="327"/>
                    </a:lnTo>
                    <a:lnTo>
                      <a:pt x="308" y="327"/>
                    </a:lnTo>
                    <a:lnTo>
                      <a:pt x="308" y="329"/>
                    </a:lnTo>
                    <a:lnTo>
                      <a:pt x="306" y="329"/>
                    </a:lnTo>
                    <a:lnTo>
                      <a:pt x="308" y="330"/>
                    </a:lnTo>
                    <a:lnTo>
                      <a:pt x="306" y="330"/>
                    </a:lnTo>
                    <a:lnTo>
                      <a:pt x="308" y="330"/>
                    </a:lnTo>
                    <a:lnTo>
                      <a:pt x="308" y="332"/>
                    </a:lnTo>
                    <a:lnTo>
                      <a:pt x="310" y="332"/>
                    </a:lnTo>
                    <a:lnTo>
                      <a:pt x="311" y="332"/>
                    </a:lnTo>
                    <a:lnTo>
                      <a:pt x="310" y="334"/>
                    </a:lnTo>
                    <a:lnTo>
                      <a:pt x="311" y="334"/>
                    </a:lnTo>
                    <a:lnTo>
                      <a:pt x="310" y="334"/>
                    </a:lnTo>
                    <a:lnTo>
                      <a:pt x="311" y="335"/>
                    </a:lnTo>
                    <a:lnTo>
                      <a:pt x="310" y="335"/>
                    </a:lnTo>
                    <a:lnTo>
                      <a:pt x="310" y="337"/>
                    </a:lnTo>
                    <a:lnTo>
                      <a:pt x="311" y="339"/>
                    </a:lnTo>
                    <a:lnTo>
                      <a:pt x="310" y="339"/>
                    </a:lnTo>
                    <a:lnTo>
                      <a:pt x="315" y="339"/>
                    </a:lnTo>
                    <a:lnTo>
                      <a:pt x="318" y="339"/>
                    </a:lnTo>
                    <a:lnTo>
                      <a:pt x="322" y="339"/>
                    </a:lnTo>
                    <a:lnTo>
                      <a:pt x="325" y="339"/>
                    </a:lnTo>
                    <a:lnTo>
                      <a:pt x="328" y="339"/>
                    </a:lnTo>
                    <a:lnTo>
                      <a:pt x="332" y="339"/>
                    </a:lnTo>
                    <a:lnTo>
                      <a:pt x="333" y="339"/>
                    </a:lnTo>
                    <a:lnTo>
                      <a:pt x="337" y="339"/>
                    </a:lnTo>
                    <a:lnTo>
                      <a:pt x="339" y="339"/>
                    </a:lnTo>
                    <a:lnTo>
                      <a:pt x="340" y="339"/>
                    </a:lnTo>
                    <a:lnTo>
                      <a:pt x="342" y="339"/>
                    </a:lnTo>
                    <a:lnTo>
                      <a:pt x="342" y="337"/>
                    </a:lnTo>
                    <a:lnTo>
                      <a:pt x="344" y="337"/>
                    </a:lnTo>
                    <a:lnTo>
                      <a:pt x="344" y="335"/>
                    </a:lnTo>
                    <a:lnTo>
                      <a:pt x="345" y="335"/>
                    </a:lnTo>
                    <a:lnTo>
                      <a:pt x="345" y="334"/>
                    </a:lnTo>
                    <a:lnTo>
                      <a:pt x="347" y="334"/>
                    </a:lnTo>
                    <a:lnTo>
                      <a:pt x="349" y="334"/>
                    </a:lnTo>
                    <a:lnTo>
                      <a:pt x="350" y="334"/>
                    </a:lnTo>
                    <a:lnTo>
                      <a:pt x="350" y="332"/>
                    </a:lnTo>
                    <a:lnTo>
                      <a:pt x="350" y="330"/>
                    </a:lnTo>
                    <a:lnTo>
                      <a:pt x="352" y="330"/>
                    </a:lnTo>
                    <a:lnTo>
                      <a:pt x="354" y="329"/>
                    </a:lnTo>
                    <a:lnTo>
                      <a:pt x="354" y="327"/>
                    </a:lnTo>
                    <a:lnTo>
                      <a:pt x="356" y="327"/>
                    </a:lnTo>
                    <a:lnTo>
                      <a:pt x="357" y="327"/>
                    </a:lnTo>
                    <a:lnTo>
                      <a:pt x="357" y="325"/>
                    </a:lnTo>
                    <a:lnTo>
                      <a:pt x="357" y="324"/>
                    </a:lnTo>
                    <a:lnTo>
                      <a:pt x="359" y="325"/>
                    </a:lnTo>
                    <a:lnTo>
                      <a:pt x="359" y="324"/>
                    </a:lnTo>
                    <a:lnTo>
                      <a:pt x="361" y="324"/>
                    </a:lnTo>
                    <a:lnTo>
                      <a:pt x="361" y="322"/>
                    </a:lnTo>
                    <a:lnTo>
                      <a:pt x="362" y="322"/>
                    </a:lnTo>
                    <a:lnTo>
                      <a:pt x="362" y="320"/>
                    </a:lnTo>
                    <a:lnTo>
                      <a:pt x="364" y="320"/>
                    </a:lnTo>
                    <a:lnTo>
                      <a:pt x="366" y="320"/>
                    </a:lnTo>
                    <a:lnTo>
                      <a:pt x="366" y="322"/>
                    </a:lnTo>
                    <a:lnTo>
                      <a:pt x="366" y="324"/>
                    </a:lnTo>
                    <a:lnTo>
                      <a:pt x="364" y="324"/>
                    </a:lnTo>
                    <a:lnTo>
                      <a:pt x="366" y="324"/>
                    </a:lnTo>
                    <a:lnTo>
                      <a:pt x="364" y="324"/>
                    </a:lnTo>
                    <a:lnTo>
                      <a:pt x="364" y="325"/>
                    </a:lnTo>
                    <a:lnTo>
                      <a:pt x="364" y="324"/>
                    </a:lnTo>
                    <a:lnTo>
                      <a:pt x="364" y="325"/>
                    </a:lnTo>
                    <a:lnTo>
                      <a:pt x="364" y="324"/>
                    </a:lnTo>
                    <a:lnTo>
                      <a:pt x="362" y="324"/>
                    </a:lnTo>
                    <a:lnTo>
                      <a:pt x="364" y="325"/>
                    </a:lnTo>
                    <a:lnTo>
                      <a:pt x="362" y="325"/>
                    </a:lnTo>
                    <a:lnTo>
                      <a:pt x="364" y="327"/>
                    </a:lnTo>
                    <a:lnTo>
                      <a:pt x="364" y="329"/>
                    </a:lnTo>
                    <a:lnTo>
                      <a:pt x="366" y="329"/>
                    </a:lnTo>
                    <a:lnTo>
                      <a:pt x="366" y="330"/>
                    </a:lnTo>
                    <a:lnTo>
                      <a:pt x="366" y="332"/>
                    </a:lnTo>
                    <a:lnTo>
                      <a:pt x="364" y="332"/>
                    </a:lnTo>
                    <a:lnTo>
                      <a:pt x="362" y="332"/>
                    </a:lnTo>
                    <a:lnTo>
                      <a:pt x="362" y="334"/>
                    </a:lnTo>
                    <a:lnTo>
                      <a:pt x="362" y="335"/>
                    </a:lnTo>
                    <a:lnTo>
                      <a:pt x="362" y="339"/>
                    </a:lnTo>
                    <a:lnTo>
                      <a:pt x="362" y="341"/>
                    </a:lnTo>
                    <a:lnTo>
                      <a:pt x="362" y="342"/>
                    </a:lnTo>
                    <a:lnTo>
                      <a:pt x="362" y="344"/>
                    </a:lnTo>
                    <a:lnTo>
                      <a:pt x="362" y="346"/>
                    </a:lnTo>
                    <a:lnTo>
                      <a:pt x="362" y="347"/>
                    </a:lnTo>
                    <a:lnTo>
                      <a:pt x="362" y="351"/>
                    </a:lnTo>
                    <a:lnTo>
                      <a:pt x="362" y="352"/>
                    </a:lnTo>
                    <a:lnTo>
                      <a:pt x="362" y="354"/>
                    </a:lnTo>
                    <a:lnTo>
                      <a:pt x="362" y="356"/>
                    </a:lnTo>
                    <a:lnTo>
                      <a:pt x="362" y="359"/>
                    </a:lnTo>
                    <a:lnTo>
                      <a:pt x="362" y="361"/>
                    </a:lnTo>
                    <a:lnTo>
                      <a:pt x="362" y="364"/>
                    </a:lnTo>
                    <a:lnTo>
                      <a:pt x="362" y="373"/>
                    </a:lnTo>
                    <a:lnTo>
                      <a:pt x="366" y="371"/>
                    </a:lnTo>
                    <a:lnTo>
                      <a:pt x="367" y="373"/>
                    </a:lnTo>
                    <a:lnTo>
                      <a:pt x="369" y="375"/>
                    </a:lnTo>
                    <a:lnTo>
                      <a:pt x="371" y="375"/>
                    </a:lnTo>
                    <a:lnTo>
                      <a:pt x="371" y="376"/>
                    </a:lnTo>
                    <a:lnTo>
                      <a:pt x="373" y="376"/>
                    </a:lnTo>
                    <a:lnTo>
                      <a:pt x="374" y="376"/>
                    </a:lnTo>
                    <a:lnTo>
                      <a:pt x="374" y="375"/>
                    </a:lnTo>
                    <a:lnTo>
                      <a:pt x="376" y="376"/>
                    </a:lnTo>
                    <a:lnTo>
                      <a:pt x="376" y="375"/>
                    </a:lnTo>
                    <a:lnTo>
                      <a:pt x="376" y="376"/>
                    </a:lnTo>
                    <a:lnTo>
                      <a:pt x="378" y="375"/>
                    </a:lnTo>
                    <a:lnTo>
                      <a:pt x="379" y="375"/>
                    </a:lnTo>
                    <a:lnTo>
                      <a:pt x="379" y="373"/>
                    </a:lnTo>
                    <a:lnTo>
                      <a:pt x="381" y="373"/>
                    </a:lnTo>
                    <a:lnTo>
                      <a:pt x="383" y="373"/>
                    </a:lnTo>
                    <a:lnTo>
                      <a:pt x="383" y="371"/>
                    </a:lnTo>
                    <a:lnTo>
                      <a:pt x="384" y="373"/>
                    </a:lnTo>
                    <a:lnTo>
                      <a:pt x="384" y="371"/>
                    </a:lnTo>
                    <a:lnTo>
                      <a:pt x="386" y="371"/>
                    </a:lnTo>
                    <a:lnTo>
                      <a:pt x="388" y="371"/>
                    </a:lnTo>
                    <a:lnTo>
                      <a:pt x="390" y="371"/>
                    </a:lnTo>
                    <a:lnTo>
                      <a:pt x="391" y="371"/>
                    </a:lnTo>
                    <a:lnTo>
                      <a:pt x="391" y="373"/>
                    </a:lnTo>
                    <a:lnTo>
                      <a:pt x="393" y="373"/>
                    </a:lnTo>
                    <a:lnTo>
                      <a:pt x="395" y="373"/>
                    </a:lnTo>
                    <a:lnTo>
                      <a:pt x="396" y="373"/>
                    </a:lnTo>
                    <a:lnTo>
                      <a:pt x="396" y="371"/>
                    </a:lnTo>
                    <a:lnTo>
                      <a:pt x="396" y="373"/>
                    </a:lnTo>
                    <a:lnTo>
                      <a:pt x="396" y="371"/>
                    </a:lnTo>
                    <a:lnTo>
                      <a:pt x="398" y="371"/>
                    </a:lnTo>
                    <a:lnTo>
                      <a:pt x="398" y="373"/>
                    </a:lnTo>
                    <a:lnTo>
                      <a:pt x="400" y="375"/>
                    </a:lnTo>
                    <a:lnTo>
                      <a:pt x="401" y="378"/>
                    </a:lnTo>
                    <a:lnTo>
                      <a:pt x="401" y="380"/>
                    </a:lnTo>
                    <a:lnTo>
                      <a:pt x="403" y="381"/>
                    </a:lnTo>
                    <a:lnTo>
                      <a:pt x="405" y="383"/>
                    </a:lnTo>
                    <a:lnTo>
                      <a:pt x="407" y="385"/>
                    </a:lnTo>
                    <a:lnTo>
                      <a:pt x="408" y="388"/>
                    </a:lnTo>
                    <a:lnTo>
                      <a:pt x="408" y="390"/>
                    </a:lnTo>
                    <a:lnTo>
                      <a:pt x="410" y="390"/>
                    </a:lnTo>
                    <a:lnTo>
                      <a:pt x="410" y="393"/>
                    </a:lnTo>
                    <a:lnTo>
                      <a:pt x="413" y="395"/>
                    </a:lnTo>
                    <a:lnTo>
                      <a:pt x="413" y="397"/>
                    </a:lnTo>
                    <a:lnTo>
                      <a:pt x="415" y="398"/>
                    </a:lnTo>
                    <a:lnTo>
                      <a:pt x="415" y="402"/>
                    </a:lnTo>
                    <a:lnTo>
                      <a:pt x="417" y="403"/>
                    </a:lnTo>
                    <a:lnTo>
                      <a:pt x="418" y="405"/>
                    </a:lnTo>
                    <a:lnTo>
                      <a:pt x="418" y="407"/>
                    </a:lnTo>
                    <a:lnTo>
                      <a:pt x="420" y="409"/>
                    </a:lnTo>
                    <a:lnTo>
                      <a:pt x="420" y="410"/>
                    </a:lnTo>
                    <a:lnTo>
                      <a:pt x="422" y="414"/>
                    </a:lnTo>
                    <a:lnTo>
                      <a:pt x="424" y="415"/>
                    </a:lnTo>
                    <a:lnTo>
                      <a:pt x="427" y="422"/>
                    </a:lnTo>
                    <a:lnTo>
                      <a:pt x="429" y="426"/>
                    </a:lnTo>
                    <a:lnTo>
                      <a:pt x="429" y="427"/>
                    </a:lnTo>
                    <a:lnTo>
                      <a:pt x="429" y="426"/>
                    </a:lnTo>
                    <a:lnTo>
                      <a:pt x="427" y="426"/>
                    </a:lnTo>
                    <a:lnTo>
                      <a:pt x="429" y="426"/>
                    </a:lnTo>
                    <a:lnTo>
                      <a:pt x="429" y="427"/>
                    </a:lnTo>
                    <a:lnTo>
                      <a:pt x="427" y="427"/>
                    </a:lnTo>
                    <a:lnTo>
                      <a:pt x="427" y="429"/>
                    </a:lnTo>
                    <a:lnTo>
                      <a:pt x="425" y="429"/>
                    </a:lnTo>
                    <a:lnTo>
                      <a:pt x="425" y="431"/>
                    </a:lnTo>
                    <a:lnTo>
                      <a:pt x="427" y="432"/>
                    </a:lnTo>
                    <a:lnTo>
                      <a:pt x="425" y="432"/>
                    </a:lnTo>
                    <a:lnTo>
                      <a:pt x="427" y="432"/>
                    </a:lnTo>
                    <a:lnTo>
                      <a:pt x="425" y="432"/>
                    </a:lnTo>
                    <a:lnTo>
                      <a:pt x="427" y="432"/>
                    </a:lnTo>
                    <a:lnTo>
                      <a:pt x="425" y="432"/>
                    </a:lnTo>
                    <a:lnTo>
                      <a:pt x="425" y="434"/>
                    </a:lnTo>
                    <a:lnTo>
                      <a:pt x="424" y="434"/>
                    </a:lnTo>
                    <a:lnTo>
                      <a:pt x="424" y="436"/>
                    </a:lnTo>
                    <a:lnTo>
                      <a:pt x="422" y="436"/>
                    </a:lnTo>
                    <a:lnTo>
                      <a:pt x="424" y="437"/>
                    </a:lnTo>
                    <a:lnTo>
                      <a:pt x="422" y="437"/>
                    </a:lnTo>
                    <a:lnTo>
                      <a:pt x="422" y="439"/>
                    </a:lnTo>
                    <a:lnTo>
                      <a:pt x="422" y="441"/>
                    </a:lnTo>
                    <a:lnTo>
                      <a:pt x="420" y="441"/>
                    </a:lnTo>
                    <a:lnTo>
                      <a:pt x="422" y="443"/>
                    </a:lnTo>
                    <a:lnTo>
                      <a:pt x="422" y="441"/>
                    </a:lnTo>
                    <a:lnTo>
                      <a:pt x="422" y="443"/>
                    </a:lnTo>
                    <a:lnTo>
                      <a:pt x="422" y="444"/>
                    </a:lnTo>
                    <a:lnTo>
                      <a:pt x="422" y="446"/>
                    </a:lnTo>
                    <a:lnTo>
                      <a:pt x="422" y="448"/>
                    </a:lnTo>
                    <a:lnTo>
                      <a:pt x="422" y="449"/>
                    </a:lnTo>
                    <a:lnTo>
                      <a:pt x="422" y="451"/>
                    </a:lnTo>
                    <a:lnTo>
                      <a:pt x="422" y="453"/>
                    </a:lnTo>
                    <a:lnTo>
                      <a:pt x="422" y="454"/>
                    </a:lnTo>
                    <a:lnTo>
                      <a:pt x="420" y="454"/>
                    </a:lnTo>
                    <a:lnTo>
                      <a:pt x="422" y="454"/>
                    </a:lnTo>
                    <a:lnTo>
                      <a:pt x="420" y="456"/>
                    </a:lnTo>
                    <a:lnTo>
                      <a:pt x="420" y="458"/>
                    </a:lnTo>
                    <a:lnTo>
                      <a:pt x="420" y="460"/>
                    </a:lnTo>
                    <a:lnTo>
                      <a:pt x="420" y="461"/>
                    </a:lnTo>
                    <a:lnTo>
                      <a:pt x="418" y="461"/>
                    </a:lnTo>
                    <a:lnTo>
                      <a:pt x="418" y="463"/>
                    </a:lnTo>
                    <a:lnTo>
                      <a:pt x="418" y="465"/>
                    </a:lnTo>
                    <a:lnTo>
                      <a:pt x="417" y="465"/>
                    </a:lnTo>
                    <a:lnTo>
                      <a:pt x="415" y="465"/>
                    </a:lnTo>
                    <a:lnTo>
                      <a:pt x="415" y="466"/>
                    </a:lnTo>
                    <a:lnTo>
                      <a:pt x="415" y="468"/>
                    </a:lnTo>
                    <a:lnTo>
                      <a:pt x="417" y="468"/>
                    </a:lnTo>
                    <a:lnTo>
                      <a:pt x="417" y="470"/>
                    </a:lnTo>
                    <a:lnTo>
                      <a:pt x="417" y="472"/>
                    </a:lnTo>
                    <a:lnTo>
                      <a:pt x="417" y="473"/>
                    </a:lnTo>
                    <a:lnTo>
                      <a:pt x="418" y="473"/>
                    </a:lnTo>
                    <a:lnTo>
                      <a:pt x="417" y="475"/>
                    </a:lnTo>
                    <a:lnTo>
                      <a:pt x="418" y="475"/>
                    </a:lnTo>
                    <a:lnTo>
                      <a:pt x="418" y="477"/>
                    </a:lnTo>
                    <a:lnTo>
                      <a:pt x="418" y="478"/>
                    </a:lnTo>
                    <a:lnTo>
                      <a:pt x="420" y="478"/>
                    </a:lnTo>
                    <a:lnTo>
                      <a:pt x="420" y="480"/>
                    </a:lnTo>
                    <a:lnTo>
                      <a:pt x="422" y="480"/>
                    </a:lnTo>
                    <a:lnTo>
                      <a:pt x="422" y="482"/>
                    </a:lnTo>
                    <a:lnTo>
                      <a:pt x="422" y="483"/>
                    </a:lnTo>
                    <a:lnTo>
                      <a:pt x="422" y="485"/>
                    </a:lnTo>
                    <a:lnTo>
                      <a:pt x="424" y="485"/>
                    </a:lnTo>
                    <a:lnTo>
                      <a:pt x="422" y="485"/>
                    </a:lnTo>
                    <a:lnTo>
                      <a:pt x="420" y="485"/>
                    </a:lnTo>
                    <a:lnTo>
                      <a:pt x="418" y="485"/>
                    </a:lnTo>
                    <a:lnTo>
                      <a:pt x="417" y="485"/>
                    </a:lnTo>
                    <a:lnTo>
                      <a:pt x="417" y="487"/>
                    </a:lnTo>
                    <a:lnTo>
                      <a:pt x="417" y="489"/>
                    </a:lnTo>
                    <a:lnTo>
                      <a:pt x="417" y="490"/>
                    </a:lnTo>
                    <a:lnTo>
                      <a:pt x="417" y="492"/>
                    </a:lnTo>
                    <a:lnTo>
                      <a:pt x="415" y="492"/>
                    </a:lnTo>
                    <a:lnTo>
                      <a:pt x="415" y="494"/>
                    </a:lnTo>
                    <a:lnTo>
                      <a:pt x="413" y="494"/>
                    </a:lnTo>
                    <a:lnTo>
                      <a:pt x="413" y="495"/>
                    </a:lnTo>
                    <a:lnTo>
                      <a:pt x="412" y="495"/>
                    </a:lnTo>
                    <a:lnTo>
                      <a:pt x="412" y="497"/>
                    </a:lnTo>
                    <a:lnTo>
                      <a:pt x="412" y="499"/>
                    </a:lnTo>
                    <a:lnTo>
                      <a:pt x="410" y="497"/>
                    </a:lnTo>
                    <a:lnTo>
                      <a:pt x="410" y="499"/>
                    </a:lnTo>
                    <a:lnTo>
                      <a:pt x="410" y="500"/>
                    </a:lnTo>
                    <a:lnTo>
                      <a:pt x="408" y="500"/>
                    </a:lnTo>
                    <a:lnTo>
                      <a:pt x="408" y="502"/>
                    </a:lnTo>
                    <a:lnTo>
                      <a:pt x="410" y="504"/>
                    </a:lnTo>
                    <a:lnTo>
                      <a:pt x="408" y="504"/>
                    </a:lnTo>
                    <a:lnTo>
                      <a:pt x="407" y="504"/>
                    </a:lnTo>
                    <a:lnTo>
                      <a:pt x="407" y="506"/>
                    </a:lnTo>
                    <a:lnTo>
                      <a:pt x="405" y="506"/>
                    </a:lnTo>
                    <a:lnTo>
                      <a:pt x="405" y="507"/>
                    </a:lnTo>
                    <a:lnTo>
                      <a:pt x="405" y="509"/>
                    </a:lnTo>
                    <a:lnTo>
                      <a:pt x="405" y="511"/>
                    </a:lnTo>
                    <a:lnTo>
                      <a:pt x="405" y="512"/>
                    </a:lnTo>
                    <a:lnTo>
                      <a:pt x="407" y="512"/>
                    </a:lnTo>
                    <a:lnTo>
                      <a:pt x="407" y="514"/>
                    </a:lnTo>
                    <a:lnTo>
                      <a:pt x="407" y="516"/>
                    </a:lnTo>
                    <a:lnTo>
                      <a:pt x="408" y="516"/>
                    </a:lnTo>
                    <a:lnTo>
                      <a:pt x="408" y="517"/>
                    </a:lnTo>
                    <a:lnTo>
                      <a:pt x="408" y="516"/>
                    </a:lnTo>
                    <a:lnTo>
                      <a:pt x="410" y="517"/>
                    </a:lnTo>
                    <a:lnTo>
                      <a:pt x="412" y="519"/>
                    </a:lnTo>
                    <a:lnTo>
                      <a:pt x="412" y="521"/>
                    </a:lnTo>
                    <a:lnTo>
                      <a:pt x="413" y="521"/>
                    </a:lnTo>
                    <a:lnTo>
                      <a:pt x="412" y="521"/>
                    </a:lnTo>
                    <a:lnTo>
                      <a:pt x="412" y="523"/>
                    </a:lnTo>
                    <a:lnTo>
                      <a:pt x="412" y="521"/>
                    </a:lnTo>
                    <a:lnTo>
                      <a:pt x="412" y="523"/>
                    </a:lnTo>
                    <a:lnTo>
                      <a:pt x="410" y="523"/>
                    </a:lnTo>
                    <a:lnTo>
                      <a:pt x="410" y="524"/>
                    </a:lnTo>
                    <a:lnTo>
                      <a:pt x="408" y="526"/>
                    </a:lnTo>
                    <a:lnTo>
                      <a:pt x="408" y="528"/>
                    </a:lnTo>
                    <a:lnTo>
                      <a:pt x="410" y="528"/>
                    </a:lnTo>
                    <a:lnTo>
                      <a:pt x="408" y="528"/>
                    </a:lnTo>
                    <a:lnTo>
                      <a:pt x="408" y="529"/>
                    </a:lnTo>
                    <a:lnTo>
                      <a:pt x="407" y="528"/>
                    </a:lnTo>
                    <a:lnTo>
                      <a:pt x="407" y="529"/>
                    </a:lnTo>
                    <a:lnTo>
                      <a:pt x="407" y="531"/>
                    </a:lnTo>
                    <a:lnTo>
                      <a:pt x="403" y="534"/>
                    </a:lnTo>
                    <a:lnTo>
                      <a:pt x="405" y="538"/>
                    </a:lnTo>
                    <a:lnTo>
                      <a:pt x="405" y="540"/>
                    </a:lnTo>
                    <a:lnTo>
                      <a:pt x="407" y="543"/>
                    </a:lnTo>
                    <a:lnTo>
                      <a:pt x="407" y="548"/>
                    </a:lnTo>
                    <a:lnTo>
                      <a:pt x="408" y="553"/>
                    </a:lnTo>
                    <a:lnTo>
                      <a:pt x="410" y="553"/>
                    </a:lnTo>
                    <a:lnTo>
                      <a:pt x="413" y="555"/>
                    </a:lnTo>
                    <a:lnTo>
                      <a:pt x="415" y="555"/>
                    </a:lnTo>
                    <a:lnTo>
                      <a:pt x="417" y="555"/>
                    </a:lnTo>
                    <a:lnTo>
                      <a:pt x="418" y="555"/>
                    </a:lnTo>
                    <a:lnTo>
                      <a:pt x="420" y="557"/>
                    </a:lnTo>
                    <a:lnTo>
                      <a:pt x="422" y="557"/>
                    </a:lnTo>
                    <a:lnTo>
                      <a:pt x="424" y="558"/>
                    </a:lnTo>
                    <a:lnTo>
                      <a:pt x="424" y="560"/>
                    </a:lnTo>
                    <a:lnTo>
                      <a:pt x="418" y="563"/>
                    </a:lnTo>
                    <a:lnTo>
                      <a:pt x="417" y="563"/>
                    </a:lnTo>
                    <a:lnTo>
                      <a:pt x="417" y="565"/>
                    </a:lnTo>
                    <a:lnTo>
                      <a:pt x="415" y="567"/>
                    </a:lnTo>
                    <a:lnTo>
                      <a:pt x="415" y="568"/>
                    </a:lnTo>
                    <a:lnTo>
                      <a:pt x="417" y="568"/>
                    </a:lnTo>
                    <a:lnTo>
                      <a:pt x="417" y="570"/>
                    </a:lnTo>
                    <a:lnTo>
                      <a:pt x="417" y="572"/>
                    </a:lnTo>
                    <a:lnTo>
                      <a:pt x="415" y="572"/>
                    </a:lnTo>
                    <a:lnTo>
                      <a:pt x="413" y="572"/>
                    </a:lnTo>
                    <a:lnTo>
                      <a:pt x="412" y="574"/>
                    </a:lnTo>
                    <a:lnTo>
                      <a:pt x="412" y="575"/>
                    </a:lnTo>
                    <a:lnTo>
                      <a:pt x="410" y="575"/>
                    </a:lnTo>
                    <a:lnTo>
                      <a:pt x="410" y="577"/>
                    </a:lnTo>
                    <a:lnTo>
                      <a:pt x="408" y="577"/>
                    </a:lnTo>
                    <a:lnTo>
                      <a:pt x="408" y="579"/>
                    </a:lnTo>
                    <a:lnTo>
                      <a:pt x="407" y="579"/>
                    </a:lnTo>
                    <a:lnTo>
                      <a:pt x="407" y="580"/>
                    </a:lnTo>
                    <a:lnTo>
                      <a:pt x="407" y="582"/>
                    </a:lnTo>
                    <a:lnTo>
                      <a:pt x="405" y="582"/>
                    </a:lnTo>
                    <a:lnTo>
                      <a:pt x="403" y="584"/>
                    </a:lnTo>
                    <a:lnTo>
                      <a:pt x="405" y="584"/>
                    </a:lnTo>
                    <a:lnTo>
                      <a:pt x="405" y="585"/>
                    </a:lnTo>
                    <a:lnTo>
                      <a:pt x="403" y="585"/>
                    </a:lnTo>
                    <a:lnTo>
                      <a:pt x="403" y="587"/>
                    </a:lnTo>
                    <a:lnTo>
                      <a:pt x="401" y="587"/>
                    </a:lnTo>
                    <a:lnTo>
                      <a:pt x="401" y="585"/>
                    </a:lnTo>
                    <a:lnTo>
                      <a:pt x="400" y="587"/>
                    </a:lnTo>
                    <a:lnTo>
                      <a:pt x="400" y="589"/>
                    </a:lnTo>
                    <a:lnTo>
                      <a:pt x="398" y="589"/>
                    </a:lnTo>
                    <a:lnTo>
                      <a:pt x="398" y="591"/>
                    </a:lnTo>
                    <a:lnTo>
                      <a:pt x="396" y="591"/>
                    </a:lnTo>
                    <a:lnTo>
                      <a:pt x="396" y="592"/>
                    </a:lnTo>
                    <a:lnTo>
                      <a:pt x="395" y="592"/>
                    </a:lnTo>
                    <a:lnTo>
                      <a:pt x="396" y="592"/>
                    </a:lnTo>
                    <a:lnTo>
                      <a:pt x="398" y="592"/>
                    </a:lnTo>
                    <a:lnTo>
                      <a:pt x="400" y="596"/>
                    </a:lnTo>
                    <a:lnTo>
                      <a:pt x="401" y="596"/>
                    </a:lnTo>
                    <a:lnTo>
                      <a:pt x="401" y="597"/>
                    </a:lnTo>
                    <a:lnTo>
                      <a:pt x="401" y="599"/>
                    </a:lnTo>
                    <a:lnTo>
                      <a:pt x="401" y="601"/>
                    </a:lnTo>
                    <a:lnTo>
                      <a:pt x="398" y="602"/>
                    </a:lnTo>
                    <a:lnTo>
                      <a:pt x="396" y="604"/>
                    </a:lnTo>
                    <a:lnTo>
                      <a:pt x="395" y="606"/>
                    </a:lnTo>
                    <a:lnTo>
                      <a:pt x="393" y="606"/>
                    </a:lnTo>
                    <a:lnTo>
                      <a:pt x="391" y="606"/>
                    </a:lnTo>
                    <a:lnTo>
                      <a:pt x="390" y="606"/>
                    </a:lnTo>
                    <a:lnTo>
                      <a:pt x="390" y="608"/>
                    </a:lnTo>
                    <a:lnTo>
                      <a:pt x="388" y="609"/>
                    </a:lnTo>
                    <a:lnTo>
                      <a:pt x="390" y="609"/>
                    </a:lnTo>
                    <a:lnTo>
                      <a:pt x="390" y="611"/>
                    </a:lnTo>
                    <a:lnTo>
                      <a:pt x="390" y="613"/>
                    </a:lnTo>
                    <a:lnTo>
                      <a:pt x="391" y="613"/>
                    </a:lnTo>
                    <a:lnTo>
                      <a:pt x="390" y="614"/>
                    </a:lnTo>
                    <a:lnTo>
                      <a:pt x="391" y="614"/>
                    </a:lnTo>
                    <a:lnTo>
                      <a:pt x="391" y="616"/>
                    </a:lnTo>
                    <a:lnTo>
                      <a:pt x="391" y="618"/>
                    </a:lnTo>
                    <a:lnTo>
                      <a:pt x="391" y="619"/>
                    </a:lnTo>
                    <a:lnTo>
                      <a:pt x="391" y="621"/>
                    </a:lnTo>
                    <a:lnTo>
                      <a:pt x="391" y="623"/>
                    </a:lnTo>
                    <a:lnTo>
                      <a:pt x="390" y="623"/>
                    </a:lnTo>
                    <a:lnTo>
                      <a:pt x="388" y="625"/>
                    </a:lnTo>
                    <a:lnTo>
                      <a:pt x="386" y="625"/>
                    </a:lnTo>
                    <a:lnTo>
                      <a:pt x="386" y="626"/>
                    </a:lnTo>
                    <a:lnTo>
                      <a:pt x="384" y="626"/>
                    </a:lnTo>
                    <a:lnTo>
                      <a:pt x="383" y="626"/>
                    </a:lnTo>
                    <a:lnTo>
                      <a:pt x="383" y="628"/>
                    </a:lnTo>
                    <a:lnTo>
                      <a:pt x="381" y="628"/>
                    </a:lnTo>
                    <a:lnTo>
                      <a:pt x="379" y="630"/>
                    </a:lnTo>
                    <a:lnTo>
                      <a:pt x="378" y="630"/>
                    </a:lnTo>
                    <a:lnTo>
                      <a:pt x="376" y="630"/>
                    </a:lnTo>
                    <a:lnTo>
                      <a:pt x="374" y="630"/>
                    </a:lnTo>
                    <a:lnTo>
                      <a:pt x="373" y="630"/>
                    </a:lnTo>
                    <a:lnTo>
                      <a:pt x="371" y="630"/>
                    </a:lnTo>
                    <a:lnTo>
                      <a:pt x="369" y="630"/>
                    </a:lnTo>
                    <a:lnTo>
                      <a:pt x="367" y="628"/>
                    </a:lnTo>
                    <a:lnTo>
                      <a:pt x="366" y="628"/>
                    </a:lnTo>
                    <a:lnTo>
                      <a:pt x="366" y="626"/>
                    </a:lnTo>
                    <a:lnTo>
                      <a:pt x="364" y="626"/>
                    </a:lnTo>
                    <a:lnTo>
                      <a:pt x="362" y="625"/>
                    </a:lnTo>
                    <a:lnTo>
                      <a:pt x="361" y="625"/>
                    </a:lnTo>
                    <a:lnTo>
                      <a:pt x="361" y="623"/>
                    </a:lnTo>
                    <a:lnTo>
                      <a:pt x="359" y="623"/>
                    </a:lnTo>
                    <a:lnTo>
                      <a:pt x="359" y="621"/>
                    </a:lnTo>
                    <a:lnTo>
                      <a:pt x="357" y="621"/>
                    </a:lnTo>
                    <a:lnTo>
                      <a:pt x="357" y="619"/>
                    </a:lnTo>
                    <a:lnTo>
                      <a:pt x="356" y="619"/>
                    </a:lnTo>
                    <a:lnTo>
                      <a:pt x="354" y="619"/>
                    </a:lnTo>
                    <a:lnTo>
                      <a:pt x="354" y="618"/>
                    </a:lnTo>
                    <a:lnTo>
                      <a:pt x="354" y="616"/>
                    </a:lnTo>
                    <a:lnTo>
                      <a:pt x="352" y="616"/>
                    </a:lnTo>
                    <a:lnTo>
                      <a:pt x="350" y="614"/>
                    </a:lnTo>
                    <a:lnTo>
                      <a:pt x="349" y="614"/>
                    </a:lnTo>
                    <a:lnTo>
                      <a:pt x="347" y="614"/>
                    </a:lnTo>
                    <a:lnTo>
                      <a:pt x="347" y="613"/>
                    </a:lnTo>
                    <a:lnTo>
                      <a:pt x="347" y="614"/>
                    </a:lnTo>
                    <a:lnTo>
                      <a:pt x="347" y="613"/>
                    </a:lnTo>
                    <a:lnTo>
                      <a:pt x="345" y="613"/>
                    </a:lnTo>
                    <a:lnTo>
                      <a:pt x="345" y="611"/>
                    </a:lnTo>
                    <a:lnTo>
                      <a:pt x="344" y="611"/>
                    </a:lnTo>
                    <a:lnTo>
                      <a:pt x="342" y="609"/>
                    </a:lnTo>
                    <a:lnTo>
                      <a:pt x="339" y="608"/>
                    </a:lnTo>
                    <a:lnTo>
                      <a:pt x="337" y="608"/>
                    </a:lnTo>
                    <a:lnTo>
                      <a:pt x="337" y="606"/>
                    </a:lnTo>
                    <a:lnTo>
                      <a:pt x="339" y="606"/>
                    </a:lnTo>
                    <a:lnTo>
                      <a:pt x="339" y="604"/>
                    </a:lnTo>
                    <a:lnTo>
                      <a:pt x="337" y="604"/>
                    </a:lnTo>
                    <a:lnTo>
                      <a:pt x="337" y="602"/>
                    </a:lnTo>
                    <a:lnTo>
                      <a:pt x="337" y="601"/>
                    </a:lnTo>
                    <a:lnTo>
                      <a:pt x="337" y="599"/>
                    </a:lnTo>
                    <a:lnTo>
                      <a:pt x="337" y="597"/>
                    </a:lnTo>
                    <a:lnTo>
                      <a:pt x="337" y="596"/>
                    </a:lnTo>
                    <a:lnTo>
                      <a:pt x="335" y="596"/>
                    </a:lnTo>
                    <a:lnTo>
                      <a:pt x="335" y="594"/>
                    </a:lnTo>
                    <a:lnTo>
                      <a:pt x="333" y="594"/>
                    </a:lnTo>
                    <a:lnTo>
                      <a:pt x="333" y="592"/>
                    </a:lnTo>
                    <a:lnTo>
                      <a:pt x="332" y="592"/>
                    </a:lnTo>
                    <a:lnTo>
                      <a:pt x="330" y="592"/>
                    </a:lnTo>
                    <a:lnTo>
                      <a:pt x="330" y="591"/>
                    </a:lnTo>
                    <a:lnTo>
                      <a:pt x="328" y="591"/>
                    </a:lnTo>
                    <a:lnTo>
                      <a:pt x="327" y="591"/>
                    </a:lnTo>
                    <a:lnTo>
                      <a:pt x="325" y="591"/>
                    </a:lnTo>
                    <a:lnTo>
                      <a:pt x="325" y="589"/>
                    </a:lnTo>
                    <a:lnTo>
                      <a:pt x="323" y="589"/>
                    </a:lnTo>
                    <a:lnTo>
                      <a:pt x="322" y="589"/>
                    </a:lnTo>
                    <a:lnTo>
                      <a:pt x="320" y="587"/>
                    </a:lnTo>
                    <a:lnTo>
                      <a:pt x="318" y="587"/>
                    </a:lnTo>
                    <a:lnTo>
                      <a:pt x="318" y="585"/>
                    </a:lnTo>
                    <a:lnTo>
                      <a:pt x="316" y="584"/>
                    </a:lnTo>
                    <a:lnTo>
                      <a:pt x="315" y="584"/>
                    </a:lnTo>
                    <a:lnTo>
                      <a:pt x="313" y="584"/>
                    </a:lnTo>
                    <a:lnTo>
                      <a:pt x="311" y="584"/>
                    </a:lnTo>
                    <a:lnTo>
                      <a:pt x="313" y="582"/>
                    </a:lnTo>
                    <a:lnTo>
                      <a:pt x="311" y="582"/>
                    </a:lnTo>
                    <a:lnTo>
                      <a:pt x="311" y="580"/>
                    </a:lnTo>
                    <a:lnTo>
                      <a:pt x="310" y="580"/>
                    </a:lnTo>
                    <a:lnTo>
                      <a:pt x="310" y="579"/>
                    </a:lnTo>
                    <a:lnTo>
                      <a:pt x="308" y="579"/>
                    </a:lnTo>
                    <a:lnTo>
                      <a:pt x="306" y="579"/>
                    </a:lnTo>
                    <a:lnTo>
                      <a:pt x="306" y="577"/>
                    </a:lnTo>
                    <a:lnTo>
                      <a:pt x="305" y="575"/>
                    </a:lnTo>
                    <a:lnTo>
                      <a:pt x="305" y="574"/>
                    </a:lnTo>
                    <a:lnTo>
                      <a:pt x="303" y="574"/>
                    </a:lnTo>
                    <a:lnTo>
                      <a:pt x="301" y="574"/>
                    </a:lnTo>
                    <a:lnTo>
                      <a:pt x="301" y="572"/>
                    </a:lnTo>
                    <a:lnTo>
                      <a:pt x="299" y="572"/>
                    </a:lnTo>
                    <a:lnTo>
                      <a:pt x="298" y="572"/>
                    </a:lnTo>
                    <a:lnTo>
                      <a:pt x="296" y="572"/>
                    </a:lnTo>
                    <a:lnTo>
                      <a:pt x="296" y="570"/>
                    </a:lnTo>
                    <a:lnTo>
                      <a:pt x="294" y="570"/>
                    </a:lnTo>
                    <a:lnTo>
                      <a:pt x="293" y="570"/>
                    </a:lnTo>
                    <a:lnTo>
                      <a:pt x="291" y="570"/>
                    </a:lnTo>
                    <a:lnTo>
                      <a:pt x="289" y="570"/>
                    </a:lnTo>
                    <a:lnTo>
                      <a:pt x="289" y="568"/>
                    </a:lnTo>
                    <a:lnTo>
                      <a:pt x="288" y="568"/>
                    </a:lnTo>
                    <a:lnTo>
                      <a:pt x="288" y="567"/>
                    </a:lnTo>
                    <a:lnTo>
                      <a:pt x="286" y="567"/>
                    </a:lnTo>
                    <a:lnTo>
                      <a:pt x="286" y="565"/>
                    </a:lnTo>
                    <a:lnTo>
                      <a:pt x="284" y="565"/>
                    </a:lnTo>
                    <a:lnTo>
                      <a:pt x="282" y="565"/>
                    </a:lnTo>
                    <a:lnTo>
                      <a:pt x="281" y="565"/>
                    </a:lnTo>
                    <a:lnTo>
                      <a:pt x="279" y="565"/>
                    </a:lnTo>
                    <a:lnTo>
                      <a:pt x="279" y="563"/>
                    </a:lnTo>
                    <a:lnTo>
                      <a:pt x="277" y="563"/>
                    </a:lnTo>
                    <a:lnTo>
                      <a:pt x="277" y="562"/>
                    </a:lnTo>
                    <a:lnTo>
                      <a:pt x="276" y="562"/>
                    </a:lnTo>
                    <a:lnTo>
                      <a:pt x="274" y="562"/>
                    </a:lnTo>
                    <a:lnTo>
                      <a:pt x="272" y="562"/>
                    </a:lnTo>
                    <a:lnTo>
                      <a:pt x="272" y="560"/>
                    </a:lnTo>
                    <a:lnTo>
                      <a:pt x="271" y="560"/>
                    </a:lnTo>
                    <a:lnTo>
                      <a:pt x="271" y="558"/>
                    </a:lnTo>
                    <a:lnTo>
                      <a:pt x="269" y="558"/>
                    </a:lnTo>
                    <a:lnTo>
                      <a:pt x="267" y="558"/>
                    </a:lnTo>
                    <a:lnTo>
                      <a:pt x="267" y="557"/>
                    </a:lnTo>
                    <a:lnTo>
                      <a:pt x="265" y="557"/>
                    </a:lnTo>
                    <a:lnTo>
                      <a:pt x="264" y="557"/>
                    </a:lnTo>
                    <a:lnTo>
                      <a:pt x="262" y="557"/>
                    </a:lnTo>
                    <a:lnTo>
                      <a:pt x="260" y="555"/>
                    </a:lnTo>
                    <a:lnTo>
                      <a:pt x="259" y="555"/>
                    </a:lnTo>
                    <a:lnTo>
                      <a:pt x="259" y="557"/>
                    </a:lnTo>
                    <a:lnTo>
                      <a:pt x="259" y="555"/>
                    </a:lnTo>
                    <a:lnTo>
                      <a:pt x="257" y="555"/>
                    </a:lnTo>
                    <a:lnTo>
                      <a:pt x="257" y="553"/>
                    </a:lnTo>
                    <a:lnTo>
                      <a:pt x="255" y="553"/>
                    </a:lnTo>
                    <a:lnTo>
                      <a:pt x="254" y="553"/>
                    </a:lnTo>
                    <a:lnTo>
                      <a:pt x="254" y="551"/>
                    </a:lnTo>
                    <a:lnTo>
                      <a:pt x="252" y="551"/>
                    </a:lnTo>
                    <a:lnTo>
                      <a:pt x="250" y="550"/>
                    </a:lnTo>
                    <a:lnTo>
                      <a:pt x="248" y="550"/>
                    </a:lnTo>
                    <a:lnTo>
                      <a:pt x="248" y="548"/>
                    </a:lnTo>
                    <a:lnTo>
                      <a:pt x="247" y="548"/>
                    </a:lnTo>
                    <a:lnTo>
                      <a:pt x="247" y="546"/>
                    </a:lnTo>
                    <a:lnTo>
                      <a:pt x="245" y="545"/>
                    </a:lnTo>
                    <a:lnTo>
                      <a:pt x="243" y="545"/>
                    </a:lnTo>
                    <a:lnTo>
                      <a:pt x="242" y="543"/>
                    </a:lnTo>
                    <a:lnTo>
                      <a:pt x="240" y="543"/>
                    </a:lnTo>
                    <a:lnTo>
                      <a:pt x="240" y="541"/>
                    </a:lnTo>
                    <a:lnTo>
                      <a:pt x="238" y="541"/>
                    </a:lnTo>
                    <a:lnTo>
                      <a:pt x="237" y="541"/>
                    </a:lnTo>
                    <a:lnTo>
                      <a:pt x="235" y="541"/>
                    </a:lnTo>
                    <a:lnTo>
                      <a:pt x="233" y="541"/>
                    </a:lnTo>
                    <a:lnTo>
                      <a:pt x="233" y="540"/>
                    </a:lnTo>
                    <a:lnTo>
                      <a:pt x="233" y="538"/>
                    </a:lnTo>
                    <a:lnTo>
                      <a:pt x="231" y="538"/>
                    </a:lnTo>
                    <a:lnTo>
                      <a:pt x="230" y="536"/>
                    </a:lnTo>
                    <a:lnTo>
                      <a:pt x="228" y="536"/>
                    </a:lnTo>
                    <a:lnTo>
                      <a:pt x="226" y="536"/>
                    </a:lnTo>
                    <a:lnTo>
                      <a:pt x="226" y="534"/>
                    </a:lnTo>
                    <a:lnTo>
                      <a:pt x="225" y="534"/>
                    </a:lnTo>
                    <a:lnTo>
                      <a:pt x="223" y="534"/>
                    </a:lnTo>
                    <a:lnTo>
                      <a:pt x="223" y="533"/>
                    </a:lnTo>
                    <a:lnTo>
                      <a:pt x="221" y="533"/>
                    </a:lnTo>
                    <a:lnTo>
                      <a:pt x="220" y="533"/>
                    </a:lnTo>
                    <a:lnTo>
                      <a:pt x="220" y="531"/>
                    </a:lnTo>
                    <a:lnTo>
                      <a:pt x="218" y="531"/>
                    </a:lnTo>
                    <a:lnTo>
                      <a:pt x="218" y="529"/>
                    </a:lnTo>
                    <a:lnTo>
                      <a:pt x="216" y="529"/>
                    </a:lnTo>
                    <a:lnTo>
                      <a:pt x="214" y="529"/>
                    </a:lnTo>
                    <a:lnTo>
                      <a:pt x="213" y="528"/>
                    </a:lnTo>
                    <a:lnTo>
                      <a:pt x="211" y="528"/>
                    </a:lnTo>
                    <a:lnTo>
                      <a:pt x="211" y="526"/>
                    </a:lnTo>
                    <a:lnTo>
                      <a:pt x="209" y="526"/>
                    </a:lnTo>
                    <a:lnTo>
                      <a:pt x="208" y="526"/>
                    </a:lnTo>
                    <a:lnTo>
                      <a:pt x="208" y="524"/>
                    </a:lnTo>
                    <a:lnTo>
                      <a:pt x="209" y="524"/>
                    </a:lnTo>
                    <a:lnTo>
                      <a:pt x="209" y="523"/>
                    </a:lnTo>
                    <a:lnTo>
                      <a:pt x="208" y="523"/>
                    </a:lnTo>
                    <a:lnTo>
                      <a:pt x="206" y="523"/>
                    </a:lnTo>
                    <a:lnTo>
                      <a:pt x="206" y="521"/>
                    </a:lnTo>
                    <a:lnTo>
                      <a:pt x="208" y="521"/>
                    </a:lnTo>
                    <a:lnTo>
                      <a:pt x="208" y="519"/>
                    </a:lnTo>
                    <a:lnTo>
                      <a:pt x="206" y="519"/>
                    </a:lnTo>
                    <a:lnTo>
                      <a:pt x="206" y="517"/>
                    </a:lnTo>
                    <a:lnTo>
                      <a:pt x="204" y="517"/>
                    </a:lnTo>
                    <a:lnTo>
                      <a:pt x="203" y="517"/>
                    </a:lnTo>
                    <a:lnTo>
                      <a:pt x="201" y="516"/>
                    </a:lnTo>
                    <a:lnTo>
                      <a:pt x="201" y="514"/>
                    </a:lnTo>
                    <a:lnTo>
                      <a:pt x="199" y="514"/>
                    </a:lnTo>
                    <a:lnTo>
                      <a:pt x="199" y="512"/>
                    </a:lnTo>
                    <a:lnTo>
                      <a:pt x="197" y="512"/>
                    </a:lnTo>
                    <a:lnTo>
                      <a:pt x="197" y="511"/>
                    </a:lnTo>
                    <a:lnTo>
                      <a:pt x="197" y="509"/>
                    </a:lnTo>
                    <a:lnTo>
                      <a:pt x="196" y="509"/>
                    </a:lnTo>
                    <a:lnTo>
                      <a:pt x="196" y="507"/>
                    </a:lnTo>
                    <a:lnTo>
                      <a:pt x="194" y="507"/>
                    </a:lnTo>
                    <a:lnTo>
                      <a:pt x="192" y="506"/>
                    </a:lnTo>
                    <a:lnTo>
                      <a:pt x="191" y="506"/>
                    </a:lnTo>
                    <a:lnTo>
                      <a:pt x="189" y="506"/>
                    </a:lnTo>
                    <a:lnTo>
                      <a:pt x="189" y="504"/>
                    </a:lnTo>
                    <a:lnTo>
                      <a:pt x="187" y="504"/>
                    </a:lnTo>
                    <a:lnTo>
                      <a:pt x="187" y="502"/>
                    </a:lnTo>
                    <a:lnTo>
                      <a:pt x="186" y="502"/>
                    </a:lnTo>
                    <a:lnTo>
                      <a:pt x="186" y="500"/>
                    </a:lnTo>
                    <a:lnTo>
                      <a:pt x="184" y="500"/>
                    </a:lnTo>
                    <a:lnTo>
                      <a:pt x="184" y="499"/>
                    </a:lnTo>
                    <a:lnTo>
                      <a:pt x="184" y="497"/>
                    </a:lnTo>
                    <a:lnTo>
                      <a:pt x="182" y="497"/>
                    </a:lnTo>
                    <a:lnTo>
                      <a:pt x="182" y="495"/>
                    </a:lnTo>
                    <a:lnTo>
                      <a:pt x="182" y="494"/>
                    </a:lnTo>
                    <a:lnTo>
                      <a:pt x="180" y="494"/>
                    </a:lnTo>
                    <a:lnTo>
                      <a:pt x="180" y="492"/>
                    </a:lnTo>
                    <a:lnTo>
                      <a:pt x="179" y="492"/>
                    </a:lnTo>
                    <a:lnTo>
                      <a:pt x="179" y="490"/>
                    </a:lnTo>
                    <a:lnTo>
                      <a:pt x="177" y="490"/>
                    </a:lnTo>
                    <a:lnTo>
                      <a:pt x="175" y="490"/>
                    </a:lnTo>
                    <a:lnTo>
                      <a:pt x="175" y="489"/>
                    </a:lnTo>
                    <a:lnTo>
                      <a:pt x="177" y="489"/>
                    </a:lnTo>
                    <a:lnTo>
                      <a:pt x="177" y="487"/>
                    </a:lnTo>
                    <a:lnTo>
                      <a:pt x="175" y="485"/>
                    </a:lnTo>
                    <a:lnTo>
                      <a:pt x="174" y="485"/>
                    </a:lnTo>
                    <a:lnTo>
                      <a:pt x="174" y="483"/>
                    </a:lnTo>
                    <a:lnTo>
                      <a:pt x="172" y="483"/>
                    </a:lnTo>
                    <a:lnTo>
                      <a:pt x="172" y="482"/>
                    </a:lnTo>
                    <a:lnTo>
                      <a:pt x="172" y="483"/>
                    </a:lnTo>
                    <a:lnTo>
                      <a:pt x="172" y="485"/>
                    </a:lnTo>
                    <a:lnTo>
                      <a:pt x="172" y="483"/>
                    </a:lnTo>
                    <a:lnTo>
                      <a:pt x="170" y="483"/>
                    </a:lnTo>
                    <a:lnTo>
                      <a:pt x="172" y="483"/>
                    </a:lnTo>
                    <a:lnTo>
                      <a:pt x="170" y="482"/>
                    </a:lnTo>
                    <a:lnTo>
                      <a:pt x="172" y="482"/>
                    </a:lnTo>
                    <a:lnTo>
                      <a:pt x="170" y="480"/>
                    </a:lnTo>
                    <a:lnTo>
                      <a:pt x="172" y="480"/>
                    </a:lnTo>
                    <a:lnTo>
                      <a:pt x="172" y="478"/>
                    </a:lnTo>
                    <a:lnTo>
                      <a:pt x="170" y="477"/>
                    </a:lnTo>
                    <a:lnTo>
                      <a:pt x="172" y="477"/>
                    </a:lnTo>
                    <a:lnTo>
                      <a:pt x="172" y="475"/>
                    </a:lnTo>
                    <a:lnTo>
                      <a:pt x="170" y="475"/>
                    </a:lnTo>
                    <a:lnTo>
                      <a:pt x="172" y="475"/>
                    </a:lnTo>
                    <a:lnTo>
                      <a:pt x="170" y="473"/>
                    </a:lnTo>
                    <a:lnTo>
                      <a:pt x="170" y="475"/>
                    </a:lnTo>
                    <a:lnTo>
                      <a:pt x="169" y="475"/>
                    </a:lnTo>
                    <a:lnTo>
                      <a:pt x="167" y="475"/>
                    </a:lnTo>
                    <a:lnTo>
                      <a:pt x="167" y="473"/>
                    </a:lnTo>
                    <a:lnTo>
                      <a:pt x="169" y="472"/>
                    </a:lnTo>
                    <a:lnTo>
                      <a:pt x="169" y="470"/>
                    </a:lnTo>
                    <a:lnTo>
                      <a:pt x="170" y="470"/>
                    </a:lnTo>
                    <a:lnTo>
                      <a:pt x="170" y="472"/>
                    </a:lnTo>
                    <a:lnTo>
                      <a:pt x="172" y="472"/>
                    </a:lnTo>
                    <a:lnTo>
                      <a:pt x="172" y="473"/>
                    </a:lnTo>
                    <a:lnTo>
                      <a:pt x="172" y="472"/>
                    </a:lnTo>
                    <a:lnTo>
                      <a:pt x="172" y="470"/>
                    </a:lnTo>
                    <a:lnTo>
                      <a:pt x="174" y="468"/>
                    </a:lnTo>
                    <a:lnTo>
                      <a:pt x="174" y="466"/>
                    </a:lnTo>
                    <a:lnTo>
                      <a:pt x="174" y="465"/>
                    </a:lnTo>
                    <a:lnTo>
                      <a:pt x="174" y="463"/>
                    </a:lnTo>
                    <a:lnTo>
                      <a:pt x="174" y="461"/>
                    </a:lnTo>
                    <a:lnTo>
                      <a:pt x="174" y="460"/>
                    </a:lnTo>
                    <a:lnTo>
                      <a:pt x="174" y="458"/>
                    </a:lnTo>
                    <a:lnTo>
                      <a:pt x="174" y="456"/>
                    </a:lnTo>
                    <a:lnTo>
                      <a:pt x="174" y="454"/>
                    </a:lnTo>
                    <a:lnTo>
                      <a:pt x="172" y="454"/>
                    </a:lnTo>
                    <a:lnTo>
                      <a:pt x="172" y="453"/>
                    </a:lnTo>
                    <a:lnTo>
                      <a:pt x="170" y="453"/>
                    </a:lnTo>
                    <a:lnTo>
                      <a:pt x="170" y="451"/>
                    </a:lnTo>
                    <a:lnTo>
                      <a:pt x="169" y="449"/>
                    </a:lnTo>
                    <a:lnTo>
                      <a:pt x="169" y="448"/>
                    </a:lnTo>
                    <a:lnTo>
                      <a:pt x="167" y="448"/>
                    </a:lnTo>
                    <a:lnTo>
                      <a:pt x="167" y="446"/>
                    </a:lnTo>
                    <a:lnTo>
                      <a:pt x="165" y="446"/>
                    </a:lnTo>
                    <a:lnTo>
                      <a:pt x="165" y="444"/>
                    </a:lnTo>
                    <a:lnTo>
                      <a:pt x="163" y="444"/>
                    </a:lnTo>
                    <a:lnTo>
                      <a:pt x="165" y="443"/>
                    </a:lnTo>
                    <a:lnTo>
                      <a:pt x="163" y="443"/>
                    </a:lnTo>
                    <a:lnTo>
                      <a:pt x="163" y="441"/>
                    </a:lnTo>
                    <a:lnTo>
                      <a:pt x="163" y="439"/>
                    </a:lnTo>
                    <a:lnTo>
                      <a:pt x="163" y="437"/>
                    </a:lnTo>
                    <a:lnTo>
                      <a:pt x="162" y="437"/>
                    </a:lnTo>
                    <a:lnTo>
                      <a:pt x="162" y="436"/>
                    </a:lnTo>
                    <a:lnTo>
                      <a:pt x="160" y="436"/>
                    </a:lnTo>
                    <a:lnTo>
                      <a:pt x="160" y="434"/>
                    </a:lnTo>
                    <a:lnTo>
                      <a:pt x="160" y="432"/>
                    </a:lnTo>
                    <a:lnTo>
                      <a:pt x="158" y="432"/>
                    </a:lnTo>
                    <a:lnTo>
                      <a:pt x="158" y="431"/>
                    </a:lnTo>
                    <a:lnTo>
                      <a:pt x="158" y="429"/>
                    </a:lnTo>
                    <a:lnTo>
                      <a:pt x="157" y="429"/>
                    </a:lnTo>
                    <a:lnTo>
                      <a:pt x="157" y="427"/>
                    </a:lnTo>
                    <a:lnTo>
                      <a:pt x="155" y="427"/>
                    </a:lnTo>
                    <a:lnTo>
                      <a:pt x="155" y="426"/>
                    </a:lnTo>
                    <a:lnTo>
                      <a:pt x="153" y="426"/>
                    </a:lnTo>
                    <a:lnTo>
                      <a:pt x="153" y="424"/>
                    </a:lnTo>
                    <a:lnTo>
                      <a:pt x="155" y="424"/>
                    </a:lnTo>
                    <a:lnTo>
                      <a:pt x="155" y="422"/>
                    </a:lnTo>
                    <a:lnTo>
                      <a:pt x="153" y="422"/>
                    </a:lnTo>
                    <a:lnTo>
                      <a:pt x="153" y="420"/>
                    </a:lnTo>
                    <a:lnTo>
                      <a:pt x="153" y="419"/>
                    </a:lnTo>
                    <a:lnTo>
                      <a:pt x="152" y="419"/>
                    </a:lnTo>
                    <a:lnTo>
                      <a:pt x="150" y="417"/>
                    </a:lnTo>
                    <a:lnTo>
                      <a:pt x="148" y="417"/>
                    </a:lnTo>
                    <a:lnTo>
                      <a:pt x="148" y="415"/>
                    </a:lnTo>
                    <a:lnTo>
                      <a:pt x="146" y="415"/>
                    </a:lnTo>
                    <a:lnTo>
                      <a:pt x="146" y="414"/>
                    </a:lnTo>
                    <a:lnTo>
                      <a:pt x="146" y="412"/>
                    </a:lnTo>
                    <a:lnTo>
                      <a:pt x="145" y="412"/>
                    </a:lnTo>
                    <a:lnTo>
                      <a:pt x="143" y="410"/>
                    </a:lnTo>
                    <a:lnTo>
                      <a:pt x="141" y="410"/>
                    </a:lnTo>
                    <a:lnTo>
                      <a:pt x="141" y="409"/>
                    </a:lnTo>
                    <a:lnTo>
                      <a:pt x="141" y="410"/>
                    </a:lnTo>
                    <a:lnTo>
                      <a:pt x="141" y="409"/>
                    </a:lnTo>
                    <a:lnTo>
                      <a:pt x="143" y="409"/>
                    </a:lnTo>
                    <a:lnTo>
                      <a:pt x="143" y="407"/>
                    </a:lnTo>
                    <a:lnTo>
                      <a:pt x="143" y="405"/>
                    </a:lnTo>
                    <a:lnTo>
                      <a:pt x="141" y="405"/>
                    </a:lnTo>
                    <a:lnTo>
                      <a:pt x="141" y="403"/>
                    </a:lnTo>
                    <a:lnTo>
                      <a:pt x="141" y="402"/>
                    </a:lnTo>
                    <a:lnTo>
                      <a:pt x="141" y="400"/>
                    </a:lnTo>
                    <a:lnTo>
                      <a:pt x="140" y="400"/>
                    </a:lnTo>
                    <a:lnTo>
                      <a:pt x="141" y="400"/>
                    </a:lnTo>
                    <a:lnTo>
                      <a:pt x="141" y="398"/>
                    </a:lnTo>
                    <a:lnTo>
                      <a:pt x="140" y="398"/>
                    </a:lnTo>
                    <a:lnTo>
                      <a:pt x="140" y="397"/>
                    </a:lnTo>
                    <a:lnTo>
                      <a:pt x="140" y="395"/>
                    </a:lnTo>
                    <a:lnTo>
                      <a:pt x="138" y="395"/>
                    </a:lnTo>
                    <a:lnTo>
                      <a:pt x="138" y="393"/>
                    </a:lnTo>
                    <a:lnTo>
                      <a:pt x="136" y="392"/>
                    </a:lnTo>
                    <a:lnTo>
                      <a:pt x="136" y="390"/>
                    </a:lnTo>
                    <a:lnTo>
                      <a:pt x="135" y="390"/>
                    </a:lnTo>
                    <a:lnTo>
                      <a:pt x="133" y="388"/>
                    </a:lnTo>
                    <a:lnTo>
                      <a:pt x="129" y="386"/>
                    </a:lnTo>
                    <a:lnTo>
                      <a:pt x="128" y="385"/>
                    </a:lnTo>
                    <a:lnTo>
                      <a:pt x="126" y="385"/>
                    </a:lnTo>
                    <a:lnTo>
                      <a:pt x="124" y="385"/>
                    </a:lnTo>
                    <a:lnTo>
                      <a:pt x="124" y="383"/>
                    </a:lnTo>
                    <a:lnTo>
                      <a:pt x="126" y="383"/>
                    </a:lnTo>
                    <a:lnTo>
                      <a:pt x="124" y="383"/>
                    </a:lnTo>
                    <a:lnTo>
                      <a:pt x="126" y="381"/>
                    </a:lnTo>
                    <a:lnTo>
                      <a:pt x="124" y="381"/>
                    </a:lnTo>
                    <a:lnTo>
                      <a:pt x="126" y="381"/>
                    </a:lnTo>
                    <a:lnTo>
                      <a:pt x="128" y="380"/>
                    </a:lnTo>
                    <a:lnTo>
                      <a:pt x="126" y="380"/>
                    </a:lnTo>
                    <a:lnTo>
                      <a:pt x="126" y="378"/>
                    </a:lnTo>
                    <a:lnTo>
                      <a:pt x="126" y="376"/>
                    </a:lnTo>
                    <a:lnTo>
                      <a:pt x="126" y="375"/>
                    </a:lnTo>
                    <a:lnTo>
                      <a:pt x="124" y="375"/>
                    </a:lnTo>
                    <a:lnTo>
                      <a:pt x="124" y="373"/>
                    </a:lnTo>
                    <a:lnTo>
                      <a:pt x="124" y="371"/>
                    </a:lnTo>
                    <a:lnTo>
                      <a:pt x="124" y="369"/>
                    </a:lnTo>
                    <a:lnTo>
                      <a:pt x="123" y="369"/>
                    </a:lnTo>
                    <a:lnTo>
                      <a:pt x="123" y="368"/>
                    </a:lnTo>
                    <a:lnTo>
                      <a:pt x="121" y="368"/>
                    </a:lnTo>
                    <a:lnTo>
                      <a:pt x="123" y="366"/>
                    </a:lnTo>
                    <a:lnTo>
                      <a:pt x="121" y="366"/>
                    </a:lnTo>
                    <a:lnTo>
                      <a:pt x="121" y="364"/>
                    </a:lnTo>
                    <a:lnTo>
                      <a:pt x="119" y="364"/>
                    </a:lnTo>
                    <a:lnTo>
                      <a:pt x="119" y="363"/>
                    </a:lnTo>
                    <a:lnTo>
                      <a:pt x="118" y="363"/>
                    </a:lnTo>
                    <a:lnTo>
                      <a:pt x="118" y="361"/>
                    </a:lnTo>
                    <a:lnTo>
                      <a:pt x="118" y="359"/>
                    </a:lnTo>
                    <a:lnTo>
                      <a:pt x="116" y="359"/>
                    </a:lnTo>
                    <a:lnTo>
                      <a:pt x="116" y="358"/>
                    </a:lnTo>
                    <a:lnTo>
                      <a:pt x="114" y="356"/>
                    </a:lnTo>
                    <a:lnTo>
                      <a:pt x="114" y="354"/>
                    </a:lnTo>
                    <a:lnTo>
                      <a:pt x="112" y="354"/>
                    </a:lnTo>
                    <a:lnTo>
                      <a:pt x="112" y="352"/>
                    </a:lnTo>
                    <a:lnTo>
                      <a:pt x="112" y="351"/>
                    </a:lnTo>
                    <a:lnTo>
                      <a:pt x="111" y="351"/>
                    </a:lnTo>
                    <a:lnTo>
                      <a:pt x="111" y="349"/>
                    </a:lnTo>
                    <a:lnTo>
                      <a:pt x="111" y="347"/>
                    </a:lnTo>
                    <a:lnTo>
                      <a:pt x="109" y="346"/>
                    </a:lnTo>
                    <a:lnTo>
                      <a:pt x="107" y="344"/>
                    </a:lnTo>
                    <a:lnTo>
                      <a:pt x="107" y="342"/>
                    </a:lnTo>
                    <a:lnTo>
                      <a:pt x="107" y="341"/>
                    </a:lnTo>
                    <a:lnTo>
                      <a:pt x="107" y="339"/>
                    </a:lnTo>
                    <a:lnTo>
                      <a:pt x="106" y="339"/>
                    </a:lnTo>
                    <a:lnTo>
                      <a:pt x="106" y="337"/>
                    </a:lnTo>
                    <a:lnTo>
                      <a:pt x="106" y="335"/>
                    </a:lnTo>
                    <a:lnTo>
                      <a:pt x="106" y="334"/>
                    </a:lnTo>
                    <a:lnTo>
                      <a:pt x="106" y="332"/>
                    </a:lnTo>
                    <a:lnTo>
                      <a:pt x="104" y="330"/>
                    </a:lnTo>
                    <a:lnTo>
                      <a:pt x="104" y="329"/>
                    </a:lnTo>
                    <a:lnTo>
                      <a:pt x="102" y="329"/>
                    </a:lnTo>
                    <a:lnTo>
                      <a:pt x="102" y="327"/>
                    </a:lnTo>
                    <a:lnTo>
                      <a:pt x="101" y="327"/>
                    </a:lnTo>
                    <a:lnTo>
                      <a:pt x="101" y="325"/>
                    </a:lnTo>
                    <a:lnTo>
                      <a:pt x="101" y="324"/>
                    </a:lnTo>
                    <a:lnTo>
                      <a:pt x="101" y="322"/>
                    </a:lnTo>
                    <a:lnTo>
                      <a:pt x="99" y="322"/>
                    </a:lnTo>
                    <a:lnTo>
                      <a:pt x="101" y="322"/>
                    </a:lnTo>
                    <a:lnTo>
                      <a:pt x="101" y="320"/>
                    </a:lnTo>
                    <a:lnTo>
                      <a:pt x="99" y="320"/>
                    </a:lnTo>
                    <a:lnTo>
                      <a:pt x="99" y="318"/>
                    </a:lnTo>
                    <a:lnTo>
                      <a:pt x="99" y="317"/>
                    </a:lnTo>
                    <a:lnTo>
                      <a:pt x="97" y="317"/>
                    </a:lnTo>
                    <a:lnTo>
                      <a:pt x="97" y="315"/>
                    </a:lnTo>
                    <a:lnTo>
                      <a:pt x="95" y="315"/>
                    </a:lnTo>
                    <a:lnTo>
                      <a:pt x="95" y="313"/>
                    </a:lnTo>
                    <a:lnTo>
                      <a:pt x="97" y="313"/>
                    </a:lnTo>
                    <a:lnTo>
                      <a:pt x="97" y="312"/>
                    </a:lnTo>
                    <a:lnTo>
                      <a:pt x="95" y="312"/>
                    </a:lnTo>
                    <a:lnTo>
                      <a:pt x="94" y="312"/>
                    </a:lnTo>
                    <a:lnTo>
                      <a:pt x="94" y="313"/>
                    </a:lnTo>
                    <a:lnTo>
                      <a:pt x="94" y="312"/>
                    </a:lnTo>
                    <a:lnTo>
                      <a:pt x="92" y="312"/>
                    </a:lnTo>
                    <a:lnTo>
                      <a:pt x="92" y="310"/>
                    </a:lnTo>
                    <a:lnTo>
                      <a:pt x="94" y="312"/>
                    </a:lnTo>
                    <a:lnTo>
                      <a:pt x="94" y="310"/>
                    </a:lnTo>
                    <a:lnTo>
                      <a:pt x="94" y="312"/>
                    </a:lnTo>
                    <a:lnTo>
                      <a:pt x="94" y="310"/>
                    </a:lnTo>
                    <a:lnTo>
                      <a:pt x="94" y="308"/>
                    </a:lnTo>
                    <a:lnTo>
                      <a:pt x="92" y="308"/>
                    </a:lnTo>
                    <a:lnTo>
                      <a:pt x="92" y="307"/>
                    </a:lnTo>
                    <a:lnTo>
                      <a:pt x="92" y="305"/>
                    </a:lnTo>
                    <a:lnTo>
                      <a:pt x="90" y="305"/>
                    </a:lnTo>
                    <a:lnTo>
                      <a:pt x="92" y="305"/>
                    </a:lnTo>
                    <a:lnTo>
                      <a:pt x="92" y="303"/>
                    </a:lnTo>
                    <a:lnTo>
                      <a:pt x="90" y="301"/>
                    </a:lnTo>
                    <a:lnTo>
                      <a:pt x="90" y="300"/>
                    </a:lnTo>
                    <a:lnTo>
                      <a:pt x="89" y="300"/>
                    </a:lnTo>
                    <a:lnTo>
                      <a:pt x="89" y="298"/>
                    </a:lnTo>
                    <a:lnTo>
                      <a:pt x="87" y="298"/>
                    </a:lnTo>
                    <a:lnTo>
                      <a:pt x="87" y="296"/>
                    </a:lnTo>
                    <a:lnTo>
                      <a:pt x="89" y="296"/>
                    </a:lnTo>
                    <a:lnTo>
                      <a:pt x="89" y="295"/>
                    </a:lnTo>
                    <a:lnTo>
                      <a:pt x="89" y="293"/>
                    </a:lnTo>
                    <a:lnTo>
                      <a:pt x="87" y="291"/>
                    </a:lnTo>
                    <a:lnTo>
                      <a:pt x="87" y="289"/>
                    </a:lnTo>
                    <a:lnTo>
                      <a:pt x="85" y="289"/>
                    </a:lnTo>
                    <a:lnTo>
                      <a:pt x="85" y="288"/>
                    </a:lnTo>
                    <a:lnTo>
                      <a:pt x="84" y="288"/>
                    </a:lnTo>
                    <a:lnTo>
                      <a:pt x="82" y="286"/>
                    </a:lnTo>
                    <a:lnTo>
                      <a:pt x="84" y="284"/>
                    </a:lnTo>
                    <a:lnTo>
                      <a:pt x="84" y="283"/>
                    </a:lnTo>
                    <a:lnTo>
                      <a:pt x="82" y="283"/>
                    </a:lnTo>
                    <a:lnTo>
                      <a:pt x="82" y="281"/>
                    </a:lnTo>
                    <a:lnTo>
                      <a:pt x="80" y="281"/>
                    </a:lnTo>
                    <a:lnTo>
                      <a:pt x="80" y="279"/>
                    </a:lnTo>
                    <a:lnTo>
                      <a:pt x="80" y="278"/>
                    </a:lnTo>
                    <a:lnTo>
                      <a:pt x="78" y="278"/>
                    </a:lnTo>
                    <a:lnTo>
                      <a:pt x="78" y="276"/>
                    </a:lnTo>
                    <a:lnTo>
                      <a:pt x="77" y="276"/>
                    </a:lnTo>
                    <a:lnTo>
                      <a:pt x="77" y="274"/>
                    </a:lnTo>
                    <a:lnTo>
                      <a:pt x="75" y="274"/>
                    </a:lnTo>
                    <a:lnTo>
                      <a:pt x="75" y="272"/>
                    </a:lnTo>
                    <a:lnTo>
                      <a:pt x="73" y="271"/>
                    </a:lnTo>
                    <a:lnTo>
                      <a:pt x="72" y="271"/>
                    </a:lnTo>
                    <a:lnTo>
                      <a:pt x="70" y="269"/>
                    </a:lnTo>
                    <a:lnTo>
                      <a:pt x="68" y="267"/>
                    </a:lnTo>
                    <a:lnTo>
                      <a:pt x="67" y="266"/>
                    </a:lnTo>
                    <a:lnTo>
                      <a:pt x="67" y="264"/>
                    </a:lnTo>
                    <a:lnTo>
                      <a:pt x="65" y="262"/>
                    </a:lnTo>
                    <a:lnTo>
                      <a:pt x="63" y="261"/>
                    </a:lnTo>
                    <a:lnTo>
                      <a:pt x="65" y="261"/>
                    </a:lnTo>
                    <a:lnTo>
                      <a:pt x="65" y="259"/>
                    </a:lnTo>
                    <a:lnTo>
                      <a:pt x="63" y="257"/>
                    </a:lnTo>
                    <a:lnTo>
                      <a:pt x="63" y="255"/>
                    </a:lnTo>
                    <a:lnTo>
                      <a:pt x="61" y="255"/>
                    </a:lnTo>
                    <a:lnTo>
                      <a:pt x="61" y="254"/>
                    </a:lnTo>
                    <a:lnTo>
                      <a:pt x="60" y="254"/>
                    </a:lnTo>
                    <a:lnTo>
                      <a:pt x="60" y="252"/>
                    </a:lnTo>
                    <a:lnTo>
                      <a:pt x="60" y="250"/>
                    </a:lnTo>
                    <a:lnTo>
                      <a:pt x="60" y="249"/>
                    </a:lnTo>
                    <a:lnTo>
                      <a:pt x="60" y="247"/>
                    </a:lnTo>
                    <a:lnTo>
                      <a:pt x="58" y="245"/>
                    </a:lnTo>
                    <a:lnTo>
                      <a:pt x="56" y="244"/>
                    </a:lnTo>
                    <a:lnTo>
                      <a:pt x="56" y="242"/>
                    </a:lnTo>
                    <a:lnTo>
                      <a:pt x="56" y="240"/>
                    </a:lnTo>
                    <a:lnTo>
                      <a:pt x="55" y="240"/>
                    </a:lnTo>
                    <a:lnTo>
                      <a:pt x="55" y="238"/>
                    </a:lnTo>
                    <a:lnTo>
                      <a:pt x="53" y="237"/>
                    </a:lnTo>
                    <a:lnTo>
                      <a:pt x="51" y="235"/>
                    </a:lnTo>
                    <a:lnTo>
                      <a:pt x="50" y="235"/>
                    </a:lnTo>
                    <a:lnTo>
                      <a:pt x="50" y="233"/>
                    </a:lnTo>
                    <a:lnTo>
                      <a:pt x="48" y="233"/>
                    </a:lnTo>
                    <a:lnTo>
                      <a:pt x="48" y="232"/>
                    </a:lnTo>
                    <a:lnTo>
                      <a:pt x="48" y="230"/>
                    </a:lnTo>
                    <a:lnTo>
                      <a:pt x="46" y="230"/>
                    </a:lnTo>
                    <a:lnTo>
                      <a:pt x="46" y="228"/>
                    </a:lnTo>
                    <a:lnTo>
                      <a:pt x="44" y="227"/>
                    </a:lnTo>
                    <a:lnTo>
                      <a:pt x="43" y="227"/>
                    </a:lnTo>
                    <a:lnTo>
                      <a:pt x="41" y="225"/>
                    </a:lnTo>
                    <a:lnTo>
                      <a:pt x="41" y="223"/>
                    </a:lnTo>
                    <a:lnTo>
                      <a:pt x="39" y="223"/>
                    </a:lnTo>
                    <a:lnTo>
                      <a:pt x="38" y="223"/>
                    </a:lnTo>
                    <a:lnTo>
                      <a:pt x="38" y="221"/>
                    </a:lnTo>
                    <a:lnTo>
                      <a:pt x="36" y="221"/>
                    </a:lnTo>
                    <a:lnTo>
                      <a:pt x="34" y="220"/>
                    </a:lnTo>
                    <a:lnTo>
                      <a:pt x="33" y="220"/>
                    </a:lnTo>
                    <a:lnTo>
                      <a:pt x="31" y="218"/>
                    </a:lnTo>
                    <a:lnTo>
                      <a:pt x="29" y="218"/>
                    </a:lnTo>
                    <a:lnTo>
                      <a:pt x="28" y="216"/>
                    </a:lnTo>
                    <a:lnTo>
                      <a:pt x="26" y="216"/>
                    </a:lnTo>
                    <a:lnTo>
                      <a:pt x="24" y="216"/>
                    </a:lnTo>
                    <a:lnTo>
                      <a:pt x="24" y="215"/>
                    </a:lnTo>
                    <a:lnTo>
                      <a:pt x="22" y="215"/>
                    </a:lnTo>
                    <a:lnTo>
                      <a:pt x="21" y="213"/>
                    </a:lnTo>
                    <a:lnTo>
                      <a:pt x="19" y="213"/>
                    </a:lnTo>
                    <a:lnTo>
                      <a:pt x="17" y="211"/>
                    </a:lnTo>
                    <a:lnTo>
                      <a:pt x="16" y="210"/>
                    </a:lnTo>
                    <a:lnTo>
                      <a:pt x="14" y="210"/>
                    </a:lnTo>
                    <a:lnTo>
                      <a:pt x="14" y="208"/>
                    </a:lnTo>
                    <a:lnTo>
                      <a:pt x="12" y="208"/>
                    </a:lnTo>
                    <a:lnTo>
                      <a:pt x="11" y="206"/>
                    </a:lnTo>
                    <a:lnTo>
                      <a:pt x="9" y="206"/>
                    </a:lnTo>
                    <a:lnTo>
                      <a:pt x="9" y="204"/>
                    </a:lnTo>
                    <a:lnTo>
                      <a:pt x="7" y="204"/>
                    </a:lnTo>
                    <a:lnTo>
                      <a:pt x="7" y="203"/>
                    </a:lnTo>
                    <a:lnTo>
                      <a:pt x="7" y="201"/>
                    </a:lnTo>
                    <a:lnTo>
                      <a:pt x="7" y="199"/>
                    </a:lnTo>
                    <a:lnTo>
                      <a:pt x="7" y="198"/>
                    </a:lnTo>
                    <a:lnTo>
                      <a:pt x="9" y="198"/>
                    </a:lnTo>
                    <a:lnTo>
                      <a:pt x="9" y="196"/>
                    </a:lnTo>
                    <a:lnTo>
                      <a:pt x="11" y="196"/>
                    </a:lnTo>
                    <a:lnTo>
                      <a:pt x="11" y="198"/>
                    </a:lnTo>
                    <a:lnTo>
                      <a:pt x="12" y="198"/>
                    </a:lnTo>
                    <a:lnTo>
                      <a:pt x="14" y="198"/>
                    </a:lnTo>
                    <a:lnTo>
                      <a:pt x="16" y="198"/>
                    </a:lnTo>
                    <a:lnTo>
                      <a:pt x="16" y="196"/>
                    </a:lnTo>
                    <a:lnTo>
                      <a:pt x="17" y="194"/>
                    </a:lnTo>
                    <a:lnTo>
                      <a:pt x="17" y="193"/>
                    </a:lnTo>
                    <a:lnTo>
                      <a:pt x="17" y="191"/>
                    </a:lnTo>
                    <a:lnTo>
                      <a:pt x="17" y="189"/>
                    </a:lnTo>
                    <a:lnTo>
                      <a:pt x="16" y="189"/>
                    </a:lnTo>
                    <a:lnTo>
                      <a:pt x="16" y="187"/>
                    </a:lnTo>
                    <a:lnTo>
                      <a:pt x="16" y="186"/>
                    </a:lnTo>
                    <a:lnTo>
                      <a:pt x="14" y="184"/>
                    </a:lnTo>
                    <a:lnTo>
                      <a:pt x="12" y="182"/>
                    </a:lnTo>
                    <a:lnTo>
                      <a:pt x="11" y="181"/>
                    </a:lnTo>
                    <a:lnTo>
                      <a:pt x="11" y="179"/>
                    </a:lnTo>
                    <a:lnTo>
                      <a:pt x="9" y="179"/>
                    </a:lnTo>
                    <a:lnTo>
                      <a:pt x="7" y="179"/>
                    </a:lnTo>
                    <a:lnTo>
                      <a:pt x="7" y="177"/>
                    </a:lnTo>
                    <a:lnTo>
                      <a:pt x="5" y="177"/>
                    </a:lnTo>
                    <a:lnTo>
                      <a:pt x="5" y="176"/>
                    </a:lnTo>
                    <a:lnTo>
                      <a:pt x="7" y="176"/>
                    </a:lnTo>
                    <a:lnTo>
                      <a:pt x="7" y="174"/>
                    </a:lnTo>
                    <a:lnTo>
                      <a:pt x="5" y="174"/>
                    </a:lnTo>
                    <a:lnTo>
                      <a:pt x="7" y="174"/>
                    </a:lnTo>
                    <a:lnTo>
                      <a:pt x="7" y="172"/>
                    </a:lnTo>
                    <a:lnTo>
                      <a:pt x="5" y="172"/>
                    </a:lnTo>
                    <a:lnTo>
                      <a:pt x="7" y="172"/>
                    </a:lnTo>
                    <a:lnTo>
                      <a:pt x="9" y="172"/>
                    </a:lnTo>
                    <a:lnTo>
                      <a:pt x="11" y="170"/>
                    </a:lnTo>
                    <a:lnTo>
                      <a:pt x="11" y="169"/>
                    </a:lnTo>
                    <a:lnTo>
                      <a:pt x="9" y="169"/>
                    </a:lnTo>
                    <a:lnTo>
                      <a:pt x="9" y="167"/>
                    </a:lnTo>
                    <a:lnTo>
                      <a:pt x="7" y="165"/>
                    </a:lnTo>
                    <a:lnTo>
                      <a:pt x="5" y="164"/>
                    </a:lnTo>
                    <a:lnTo>
                      <a:pt x="5" y="162"/>
                    </a:lnTo>
                    <a:lnTo>
                      <a:pt x="4" y="162"/>
                    </a:lnTo>
                    <a:lnTo>
                      <a:pt x="2" y="159"/>
                    </a:lnTo>
                    <a:lnTo>
                      <a:pt x="0" y="159"/>
                    </a:lnTo>
                    <a:lnTo>
                      <a:pt x="2" y="157"/>
                    </a:lnTo>
                    <a:lnTo>
                      <a:pt x="2" y="155"/>
                    </a:lnTo>
                    <a:lnTo>
                      <a:pt x="2" y="153"/>
                    </a:lnTo>
                    <a:lnTo>
                      <a:pt x="2" y="152"/>
                    </a:lnTo>
                    <a:lnTo>
                      <a:pt x="2" y="150"/>
                    </a:lnTo>
                    <a:lnTo>
                      <a:pt x="4" y="150"/>
                    </a:lnTo>
                    <a:lnTo>
                      <a:pt x="4" y="148"/>
                    </a:lnTo>
                    <a:lnTo>
                      <a:pt x="4" y="147"/>
                    </a:lnTo>
                    <a:lnTo>
                      <a:pt x="4" y="145"/>
                    </a:lnTo>
                    <a:lnTo>
                      <a:pt x="4" y="143"/>
                    </a:lnTo>
                    <a:lnTo>
                      <a:pt x="5" y="143"/>
                    </a:lnTo>
                    <a:lnTo>
                      <a:pt x="7" y="141"/>
                    </a:lnTo>
                    <a:lnTo>
                      <a:pt x="9" y="140"/>
                    </a:lnTo>
                    <a:lnTo>
                      <a:pt x="9" y="138"/>
                    </a:lnTo>
                    <a:lnTo>
                      <a:pt x="11" y="138"/>
                    </a:lnTo>
                    <a:lnTo>
                      <a:pt x="11" y="136"/>
                    </a:lnTo>
                    <a:lnTo>
                      <a:pt x="12" y="136"/>
                    </a:lnTo>
                    <a:lnTo>
                      <a:pt x="12" y="135"/>
                    </a:lnTo>
                    <a:lnTo>
                      <a:pt x="14" y="133"/>
                    </a:lnTo>
                    <a:lnTo>
                      <a:pt x="16" y="131"/>
                    </a:lnTo>
                    <a:lnTo>
                      <a:pt x="17" y="131"/>
                    </a:lnTo>
                    <a:lnTo>
                      <a:pt x="17" y="130"/>
                    </a:lnTo>
                    <a:lnTo>
                      <a:pt x="19" y="128"/>
                    </a:lnTo>
                    <a:lnTo>
                      <a:pt x="19" y="126"/>
                    </a:lnTo>
                    <a:lnTo>
                      <a:pt x="21" y="126"/>
                    </a:lnTo>
                    <a:lnTo>
                      <a:pt x="21" y="124"/>
                    </a:lnTo>
                    <a:lnTo>
                      <a:pt x="22" y="124"/>
                    </a:lnTo>
                    <a:lnTo>
                      <a:pt x="24" y="124"/>
                    </a:lnTo>
                    <a:lnTo>
                      <a:pt x="24" y="123"/>
                    </a:lnTo>
                    <a:lnTo>
                      <a:pt x="26" y="123"/>
                    </a:lnTo>
                    <a:lnTo>
                      <a:pt x="28" y="121"/>
                    </a:lnTo>
                    <a:lnTo>
                      <a:pt x="28" y="119"/>
                    </a:lnTo>
                    <a:lnTo>
                      <a:pt x="29" y="119"/>
                    </a:lnTo>
                    <a:lnTo>
                      <a:pt x="29" y="118"/>
                    </a:lnTo>
                    <a:lnTo>
                      <a:pt x="31" y="118"/>
                    </a:lnTo>
                    <a:lnTo>
                      <a:pt x="33" y="118"/>
                    </a:lnTo>
                    <a:lnTo>
                      <a:pt x="31" y="119"/>
                    </a:lnTo>
                    <a:lnTo>
                      <a:pt x="33" y="118"/>
                    </a:lnTo>
                    <a:lnTo>
                      <a:pt x="34" y="118"/>
                    </a:lnTo>
                    <a:lnTo>
                      <a:pt x="34" y="116"/>
                    </a:lnTo>
                    <a:lnTo>
                      <a:pt x="36" y="114"/>
                    </a:lnTo>
                    <a:lnTo>
                      <a:pt x="36" y="116"/>
                    </a:lnTo>
                    <a:lnTo>
                      <a:pt x="38" y="116"/>
                    </a:lnTo>
                    <a:lnTo>
                      <a:pt x="38" y="118"/>
                    </a:lnTo>
                    <a:lnTo>
                      <a:pt x="38" y="119"/>
                    </a:lnTo>
                    <a:lnTo>
                      <a:pt x="39" y="119"/>
                    </a:lnTo>
                    <a:lnTo>
                      <a:pt x="38" y="121"/>
                    </a:lnTo>
                    <a:lnTo>
                      <a:pt x="39" y="121"/>
                    </a:lnTo>
                    <a:lnTo>
                      <a:pt x="39" y="123"/>
                    </a:lnTo>
                    <a:lnTo>
                      <a:pt x="39" y="124"/>
                    </a:lnTo>
                    <a:lnTo>
                      <a:pt x="39" y="126"/>
                    </a:lnTo>
                    <a:lnTo>
                      <a:pt x="39" y="128"/>
                    </a:lnTo>
                    <a:lnTo>
                      <a:pt x="41" y="128"/>
                    </a:lnTo>
                    <a:lnTo>
                      <a:pt x="41" y="130"/>
                    </a:lnTo>
                    <a:lnTo>
                      <a:pt x="41" y="131"/>
                    </a:lnTo>
                    <a:lnTo>
                      <a:pt x="39" y="133"/>
                    </a:lnTo>
                    <a:lnTo>
                      <a:pt x="38" y="133"/>
                    </a:lnTo>
                    <a:lnTo>
                      <a:pt x="38" y="135"/>
                    </a:lnTo>
                    <a:lnTo>
                      <a:pt x="36" y="135"/>
                    </a:lnTo>
                    <a:lnTo>
                      <a:pt x="36" y="136"/>
                    </a:lnTo>
                    <a:lnTo>
                      <a:pt x="34" y="135"/>
                    </a:lnTo>
                    <a:lnTo>
                      <a:pt x="33" y="135"/>
                    </a:lnTo>
                    <a:lnTo>
                      <a:pt x="31" y="135"/>
                    </a:lnTo>
                    <a:lnTo>
                      <a:pt x="31" y="136"/>
                    </a:lnTo>
                    <a:lnTo>
                      <a:pt x="29" y="136"/>
                    </a:lnTo>
                    <a:lnTo>
                      <a:pt x="29" y="138"/>
                    </a:lnTo>
                    <a:lnTo>
                      <a:pt x="31" y="138"/>
                    </a:lnTo>
                    <a:lnTo>
                      <a:pt x="29" y="140"/>
                    </a:lnTo>
                    <a:lnTo>
                      <a:pt x="31" y="140"/>
                    </a:lnTo>
                    <a:lnTo>
                      <a:pt x="31" y="141"/>
                    </a:lnTo>
                    <a:lnTo>
                      <a:pt x="33" y="143"/>
                    </a:lnTo>
                    <a:lnTo>
                      <a:pt x="33" y="141"/>
                    </a:lnTo>
                    <a:lnTo>
                      <a:pt x="34" y="143"/>
                    </a:lnTo>
                    <a:lnTo>
                      <a:pt x="34" y="141"/>
                    </a:lnTo>
                    <a:lnTo>
                      <a:pt x="36" y="141"/>
                    </a:lnTo>
                    <a:lnTo>
                      <a:pt x="34" y="141"/>
                    </a:lnTo>
                    <a:lnTo>
                      <a:pt x="34" y="143"/>
                    </a:lnTo>
                    <a:lnTo>
                      <a:pt x="33" y="145"/>
                    </a:lnTo>
                    <a:lnTo>
                      <a:pt x="33" y="147"/>
                    </a:lnTo>
                    <a:lnTo>
                      <a:pt x="31" y="147"/>
                    </a:lnTo>
                    <a:lnTo>
                      <a:pt x="31" y="148"/>
                    </a:lnTo>
                    <a:lnTo>
                      <a:pt x="31" y="150"/>
                    </a:lnTo>
                    <a:lnTo>
                      <a:pt x="31" y="152"/>
                    </a:lnTo>
                    <a:lnTo>
                      <a:pt x="31" y="150"/>
                    </a:lnTo>
                    <a:lnTo>
                      <a:pt x="33" y="152"/>
                    </a:lnTo>
                    <a:lnTo>
                      <a:pt x="34" y="152"/>
                    </a:lnTo>
                    <a:lnTo>
                      <a:pt x="34" y="150"/>
                    </a:lnTo>
                    <a:lnTo>
                      <a:pt x="36" y="150"/>
                    </a:lnTo>
                    <a:lnTo>
                      <a:pt x="36" y="148"/>
                    </a:lnTo>
                    <a:lnTo>
                      <a:pt x="38" y="148"/>
                    </a:lnTo>
                    <a:lnTo>
                      <a:pt x="38" y="147"/>
                    </a:lnTo>
                    <a:lnTo>
                      <a:pt x="39" y="147"/>
                    </a:lnTo>
                    <a:lnTo>
                      <a:pt x="39" y="145"/>
                    </a:lnTo>
                    <a:lnTo>
                      <a:pt x="41" y="145"/>
                    </a:lnTo>
                    <a:lnTo>
                      <a:pt x="43" y="145"/>
                    </a:lnTo>
                    <a:lnTo>
                      <a:pt x="44" y="145"/>
                    </a:lnTo>
                    <a:lnTo>
                      <a:pt x="44" y="147"/>
                    </a:lnTo>
                    <a:lnTo>
                      <a:pt x="46" y="148"/>
                    </a:lnTo>
                    <a:lnTo>
                      <a:pt x="48" y="148"/>
                    </a:lnTo>
                    <a:lnTo>
                      <a:pt x="50" y="148"/>
                    </a:lnTo>
                    <a:lnTo>
                      <a:pt x="51" y="150"/>
                    </a:lnTo>
                    <a:lnTo>
                      <a:pt x="51" y="152"/>
                    </a:lnTo>
                    <a:lnTo>
                      <a:pt x="53" y="152"/>
                    </a:lnTo>
                    <a:lnTo>
                      <a:pt x="55" y="152"/>
                    </a:lnTo>
                    <a:lnTo>
                      <a:pt x="56" y="152"/>
                    </a:lnTo>
                    <a:lnTo>
                      <a:pt x="56" y="150"/>
                    </a:lnTo>
                    <a:lnTo>
                      <a:pt x="58" y="150"/>
                    </a:lnTo>
                    <a:lnTo>
                      <a:pt x="60" y="150"/>
                    </a:lnTo>
                    <a:lnTo>
                      <a:pt x="60" y="152"/>
                    </a:lnTo>
                    <a:lnTo>
                      <a:pt x="61" y="152"/>
                    </a:lnTo>
                    <a:lnTo>
                      <a:pt x="61" y="153"/>
                    </a:lnTo>
                    <a:lnTo>
                      <a:pt x="61" y="152"/>
                    </a:lnTo>
                    <a:lnTo>
                      <a:pt x="63" y="153"/>
                    </a:lnTo>
                    <a:lnTo>
                      <a:pt x="63" y="155"/>
                    </a:lnTo>
                    <a:lnTo>
                      <a:pt x="63" y="157"/>
                    </a:lnTo>
                    <a:lnTo>
                      <a:pt x="65" y="159"/>
                    </a:lnTo>
                    <a:lnTo>
                      <a:pt x="65" y="160"/>
                    </a:lnTo>
                    <a:lnTo>
                      <a:pt x="65" y="162"/>
                    </a:lnTo>
                    <a:lnTo>
                      <a:pt x="67" y="164"/>
                    </a:lnTo>
                    <a:lnTo>
                      <a:pt x="68" y="165"/>
                    </a:lnTo>
                    <a:lnTo>
                      <a:pt x="70" y="165"/>
                    </a:lnTo>
                    <a:lnTo>
                      <a:pt x="70" y="167"/>
                    </a:lnTo>
                    <a:lnTo>
                      <a:pt x="72" y="167"/>
                    </a:lnTo>
                    <a:lnTo>
                      <a:pt x="73" y="167"/>
                    </a:lnTo>
                    <a:lnTo>
                      <a:pt x="75" y="167"/>
                    </a:lnTo>
                    <a:lnTo>
                      <a:pt x="75" y="169"/>
                    </a:lnTo>
                    <a:lnTo>
                      <a:pt x="77" y="169"/>
                    </a:lnTo>
                    <a:lnTo>
                      <a:pt x="78" y="169"/>
                    </a:lnTo>
                    <a:lnTo>
                      <a:pt x="80" y="169"/>
                    </a:lnTo>
                    <a:lnTo>
                      <a:pt x="80" y="167"/>
                    </a:lnTo>
                    <a:lnTo>
                      <a:pt x="80" y="165"/>
                    </a:lnTo>
                    <a:lnTo>
                      <a:pt x="82" y="165"/>
                    </a:lnTo>
                    <a:lnTo>
                      <a:pt x="84" y="165"/>
                    </a:lnTo>
                    <a:lnTo>
                      <a:pt x="82" y="164"/>
                    </a:lnTo>
                    <a:lnTo>
                      <a:pt x="84" y="164"/>
                    </a:lnTo>
                    <a:lnTo>
                      <a:pt x="84" y="162"/>
                    </a:lnTo>
                    <a:lnTo>
                      <a:pt x="82" y="162"/>
                    </a:lnTo>
                    <a:lnTo>
                      <a:pt x="84" y="162"/>
                    </a:lnTo>
                    <a:lnTo>
                      <a:pt x="84" y="160"/>
                    </a:lnTo>
                    <a:lnTo>
                      <a:pt x="84" y="159"/>
                    </a:lnTo>
                    <a:lnTo>
                      <a:pt x="85" y="157"/>
                    </a:lnTo>
                    <a:lnTo>
                      <a:pt x="87" y="157"/>
                    </a:lnTo>
                    <a:lnTo>
                      <a:pt x="89" y="157"/>
                    </a:lnTo>
                    <a:lnTo>
                      <a:pt x="90" y="155"/>
                    </a:lnTo>
                    <a:lnTo>
                      <a:pt x="90" y="153"/>
                    </a:lnTo>
                    <a:lnTo>
                      <a:pt x="92" y="152"/>
                    </a:lnTo>
                    <a:lnTo>
                      <a:pt x="92" y="150"/>
                    </a:lnTo>
                    <a:lnTo>
                      <a:pt x="94" y="150"/>
                    </a:lnTo>
                    <a:lnTo>
                      <a:pt x="92" y="148"/>
                    </a:lnTo>
                    <a:lnTo>
                      <a:pt x="92" y="147"/>
                    </a:lnTo>
                    <a:lnTo>
                      <a:pt x="92" y="145"/>
                    </a:lnTo>
                    <a:lnTo>
                      <a:pt x="94" y="143"/>
                    </a:lnTo>
                    <a:lnTo>
                      <a:pt x="92" y="143"/>
                    </a:lnTo>
                    <a:lnTo>
                      <a:pt x="92" y="141"/>
                    </a:lnTo>
                    <a:lnTo>
                      <a:pt x="94" y="141"/>
                    </a:lnTo>
                    <a:lnTo>
                      <a:pt x="94" y="140"/>
                    </a:lnTo>
                    <a:lnTo>
                      <a:pt x="94" y="138"/>
                    </a:lnTo>
                    <a:lnTo>
                      <a:pt x="95" y="138"/>
                    </a:lnTo>
                    <a:lnTo>
                      <a:pt x="95" y="136"/>
                    </a:lnTo>
                    <a:lnTo>
                      <a:pt x="94" y="136"/>
                    </a:lnTo>
                    <a:lnTo>
                      <a:pt x="94" y="135"/>
                    </a:lnTo>
                    <a:lnTo>
                      <a:pt x="95" y="135"/>
                    </a:lnTo>
                    <a:lnTo>
                      <a:pt x="95" y="133"/>
                    </a:lnTo>
                    <a:lnTo>
                      <a:pt x="97" y="133"/>
                    </a:lnTo>
                    <a:lnTo>
                      <a:pt x="97" y="131"/>
                    </a:lnTo>
                    <a:lnTo>
                      <a:pt x="97" y="130"/>
                    </a:lnTo>
                    <a:lnTo>
                      <a:pt x="99" y="130"/>
                    </a:lnTo>
                    <a:lnTo>
                      <a:pt x="99" y="128"/>
                    </a:lnTo>
                    <a:lnTo>
                      <a:pt x="99" y="126"/>
                    </a:lnTo>
                    <a:lnTo>
                      <a:pt x="99" y="124"/>
                    </a:lnTo>
                    <a:lnTo>
                      <a:pt x="101" y="124"/>
                    </a:lnTo>
                    <a:lnTo>
                      <a:pt x="101" y="123"/>
                    </a:lnTo>
                    <a:lnTo>
                      <a:pt x="99" y="123"/>
                    </a:lnTo>
                    <a:lnTo>
                      <a:pt x="101" y="123"/>
                    </a:lnTo>
                    <a:lnTo>
                      <a:pt x="101" y="121"/>
                    </a:lnTo>
                    <a:lnTo>
                      <a:pt x="101" y="119"/>
                    </a:lnTo>
                    <a:lnTo>
                      <a:pt x="101" y="118"/>
                    </a:lnTo>
                    <a:lnTo>
                      <a:pt x="101" y="116"/>
                    </a:lnTo>
                    <a:lnTo>
                      <a:pt x="102" y="116"/>
                    </a:lnTo>
                    <a:lnTo>
                      <a:pt x="101" y="114"/>
                    </a:lnTo>
                    <a:lnTo>
                      <a:pt x="102" y="114"/>
                    </a:lnTo>
                    <a:lnTo>
                      <a:pt x="101" y="114"/>
                    </a:lnTo>
                    <a:lnTo>
                      <a:pt x="102" y="114"/>
                    </a:lnTo>
                    <a:lnTo>
                      <a:pt x="104" y="114"/>
                    </a:lnTo>
                    <a:lnTo>
                      <a:pt x="106" y="114"/>
                    </a:lnTo>
                    <a:lnTo>
                      <a:pt x="106" y="116"/>
                    </a:lnTo>
                    <a:lnTo>
                      <a:pt x="106" y="118"/>
                    </a:lnTo>
                    <a:lnTo>
                      <a:pt x="107" y="118"/>
                    </a:lnTo>
                    <a:lnTo>
                      <a:pt x="109" y="118"/>
                    </a:lnTo>
                    <a:lnTo>
                      <a:pt x="109" y="116"/>
                    </a:lnTo>
                    <a:lnTo>
                      <a:pt x="107" y="116"/>
                    </a:lnTo>
                    <a:lnTo>
                      <a:pt x="107" y="114"/>
                    </a:lnTo>
                    <a:lnTo>
                      <a:pt x="107" y="113"/>
                    </a:lnTo>
                    <a:lnTo>
                      <a:pt x="109" y="113"/>
                    </a:lnTo>
                    <a:lnTo>
                      <a:pt x="109" y="111"/>
                    </a:lnTo>
                    <a:lnTo>
                      <a:pt x="111" y="109"/>
                    </a:lnTo>
                    <a:lnTo>
                      <a:pt x="111" y="107"/>
                    </a:lnTo>
                    <a:lnTo>
                      <a:pt x="112" y="107"/>
                    </a:lnTo>
                    <a:lnTo>
                      <a:pt x="112" y="106"/>
                    </a:lnTo>
                    <a:lnTo>
                      <a:pt x="114" y="106"/>
                    </a:lnTo>
                    <a:lnTo>
                      <a:pt x="114" y="104"/>
                    </a:lnTo>
                    <a:lnTo>
                      <a:pt x="116" y="104"/>
                    </a:lnTo>
                    <a:lnTo>
                      <a:pt x="119" y="101"/>
                    </a:lnTo>
                    <a:lnTo>
                      <a:pt x="123" y="99"/>
                    </a:lnTo>
                    <a:lnTo>
                      <a:pt x="128" y="99"/>
                    </a:lnTo>
                    <a:lnTo>
                      <a:pt x="141" y="94"/>
                    </a:lnTo>
                    <a:lnTo>
                      <a:pt x="153" y="89"/>
                    </a:lnTo>
                    <a:lnTo>
                      <a:pt x="155" y="89"/>
                    </a:lnTo>
                    <a:lnTo>
                      <a:pt x="157" y="89"/>
                    </a:lnTo>
                    <a:lnTo>
                      <a:pt x="158" y="87"/>
                    </a:lnTo>
                    <a:lnTo>
                      <a:pt x="160" y="87"/>
                    </a:lnTo>
                    <a:lnTo>
                      <a:pt x="162" y="85"/>
                    </a:lnTo>
                    <a:lnTo>
                      <a:pt x="163" y="85"/>
                    </a:lnTo>
                    <a:lnTo>
                      <a:pt x="165" y="82"/>
                    </a:lnTo>
                    <a:lnTo>
                      <a:pt x="167" y="80"/>
                    </a:lnTo>
                    <a:lnTo>
                      <a:pt x="170" y="79"/>
                    </a:lnTo>
                    <a:lnTo>
                      <a:pt x="175" y="75"/>
                    </a:lnTo>
                    <a:lnTo>
                      <a:pt x="179" y="73"/>
                    </a:lnTo>
                    <a:lnTo>
                      <a:pt x="179" y="72"/>
                    </a:lnTo>
                    <a:lnTo>
                      <a:pt x="180" y="70"/>
                    </a:lnTo>
                    <a:lnTo>
                      <a:pt x="184" y="65"/>
                    </a:lnTo>
                    <a:lnTo>
                      <a:pt x="187" y="62"/>
                    </a:lnTo>
                    <a:lnTo>
                      <a:pt x="187" y="60"/>
                    </a:lnTo>
                    <a:lnTo>
                      <a:pt x="191" y="58"/>
                    </a:lnTo>
                    <a:lnTo>
                      <a:pt x="192" y="55"/>
                    </a:lnTo>
                    <a:lnTo>
                      <a:pt x="194" y="53"/>
                    </a:lnTo>
                    <a:lnTo>
                      <a:pt x="194" y="51"/>
                    </a:lnTo>
                    <a:lnTo>
                      <a:pt x="196" y="53"/>
                    </a:lnTo>
                    <a:lnTo>
                      <a:pt x="196" y="51"/>
                    </a:lnTo>
                    <a:lnTo>
                      <a:pt x="196" y="50"/>
                    </a:lnTo>
                    <a:lnTo>
                      <a:pt x="197" y="48"/>
                    </a:lnTo>
                    <a:lnTo>
                      <a:pt x="199" y="41"/>
                    </a:lnTo>
                    <a:lnTo>
                      <a:pt x="199" y="39"/>
                    </a:lnTo>
                    <a:lnTo>
                      <a:pt x="201" y="33"/>
                    </a:lnTo>
                    <a:lnTo>
                      <a:pt x="201" y="31"/>
                    </a:lnTo>
                    <a:lnTo>
                      <a:pt x="203" y="31"/>
                    </a:lnTo>
                    <a:lnTo>
                      <a:pt x="203" y="33"/>
                    </a:lnTo>
                    <a:lnTo>
                      <a:pt x="204" y="33"/>
                    </a:lnTo>
                    <a:lnTo>
                      <a:pt x="206" y="33"/>
                    </a:lnTo>
                    <a:lnTo>
                      <a:pt x="208" y="33"/>
                    </a:lnTo>
                    <a:lnTo>
                      <a:pt x="206" y="31"/>
                    </a:lnTo>
                    <a:lnTo>
                      <a:pt x="208" y="31"/>
                    </a:lnTo>
                    <a:lnTo>
                      <a:pt x="208" y="29"/>
                    </a:lnTo>
                    <a:lnTo>
                      <a:pt x="206" y="29"/>
                    </a:lnTo>
                    <a:lnTo>
                      <a:pt x="206" y="28"/>
                    </a:lnTo>
                    <a:lnTo>
                      <a:pt x="206" y="26"/>
                    </a:lnTo>
                    <a:lnTo>
                      <a:pt x="206" y="24"/>
                    </a:lnTo>
                    <a:lnTo>
                      <a:pt x="206" y="22"/>
                    </a:lnTo>
                    <a:lnTo>
                      <a:pt x="206" y="21"/>
                    </a:lnTo>
                    <a:lnTo>
                      <a:pt x="206" y="22"/>
                    </a:lnTo>
                    <a:lnTo>
                      <a:pt x="206" y="21"/>
                    </a:lnTo>
                    <a:lnTo>
                      <a:pt x="206" y="22"/>
                    </a:lnTo>
                    <a:lnTo>
                      <a:pt x="208" y="21"/>
                    </a:lnTo>
                    <a:lnTo>
                      <a:pt x="206" y="21"/>
                    </a:lnTo>
                    <a:lnTo>
                      <a:pt x="206" y="19"/>
                    </a:lnTo>
                    <a:lnTo>
                      <a:pt x="208" y="19"/>
                    </a:lnTo>
                    <a:lnTo>
                      <a:pt x="206" y="19"/>
                    </a:lnTo>
                    <a:lnTo>
                      <a:pt x="206" y="17"/>
                    </a:lnTo>
                    <a:lnTo>
                      <a:pt x="204" y="17"/>
                    </a:lnTo>
                    <a:lnTo>
                      <a:pt x="204" y="16"/>
                    </a:lnTo>
                    <a:lnTo>
                      <a:pt x="203" y="16"/>
                    </a:lnTo>
                    <a:lnTo>
                      <a:pt x="201" y="14"/>
                    </a:lnTo>
                    <a:lnTo>
                      <a:pt x="201" y="12"/>
                    </a:lnTo>
                    <a:lnTo>
                      <a:pt x="199" y="12"/>
                    </a:lnTo>
                    <a:lnTo>
                      <a:pt x="199" y="11"/>
                    </a:lnTo>
                    <a:lnTo>
                      <a:pt x="199" y="9"/>
                    </a:lnTo>
                    <a:lnTo>
                      <a:pt x="197" y="9"/>
                    </a:lnTo>
                    <a:lnTo>
                      <a:pt x="199" y="9"/>
                    </a:lnTo>
                    <a:lnTo>
                      <a:pt x="197" y="7"/>
                    </a:lnTo>
                    <a:lnTo>
                      <a:pt x="196" y="7"/>
                    </a:lnTo>
                    <a:lnTo>
                      <a:pt x="196" y="5"/>
                    </a:lnTo>
                    <a:lnTo>
                      <a:pt x="194" y="5"/>
                    </a:lnTo>
                    <a:lnTo>
                      <a:pt x="194" y="4"/>
                    </a:lnTo>
                    <a:lnTo>
                      <a:pt x="196" y="4"/>
                    </a:lnTo>
                    <a:lnTo>
                      <a:pt x="197" y="4"/>
                    </a:lnTo>
                    <a:lnTo>
                      <a:pt x="199" y="4"/>
                    </a:lnTo>
                    <a:lnTo>
                      <a:pt x="199" y="5"/>
                    </a:lnTo>
                    <a:lnTo>
                      <a:pt x="201" y="5"/>
                    </a:lnTo>
                    <a:lnTo>
                      <a:pt x="203" y="5"/>
                    </a:lnTo>
                    <a:lnTo>
                      <a:pt x="204" y="5"/>
                    </a:lnTo>
                    <a:lnTo>
                      <a:pt x="206" y="4"/>
                    </a:lnTo>
                    <a:lnTo>
                      <a:pt x="208" y="2"/>
                    </a:lnTo>
                    <a:lnTo>
                      <a:pt x="208" y="0"/>
                    </a:lnTo>
                    <a:lnTo>
                      <a:pt x="208" y="2"/>
                    </a:lnTo>
                    <a:lnTo>
                      <a:pt x="209" y="2"/>
                    </a:lnTo>
                    <a:lnTo>
                      <a:pt x="211" y="2"/>
                    </a:lnTo>
                    <a:lnTo>
                      <a:pt x="213" y="4"/>
                    </a:lnTo>
                    <a:lnTo>
                      <a:pt x="214" y="5"/>
                    </a:lnTo>
                    <a:lnTo>
                      <a:pt x="216" y="5"/>
                    </a:lnTo>
                    <a:lnTo>
                      <a:pt x="216" y="7"/>
                    </a:lnTo>
                    <a:lnTo>
                      <a:pt x="218" y="7"/>
                    </a:lnTo>
                    <a:lnTo>
                      <a:pt x="218" y="9"/>
                    </a:lnTo>
                    <a:lnTo>
                      <a:pt x="220" y="7"/>
                    </a:lnTo>
                    <a:lnTo>
                      <a:pt x="221" y="7"/>
                    </a:lnTo>
                    <a:lnTo>
                      <a:pt x="221" y="5"/>
                    </a:lnTo>
                    <a:lnTo>
                      <a:pt x="221" y="7"/>
                    </a:lnTo>
                    <a:lnTo>
                      <a:pt x="223" y="7"/>
                    </a:lnTo>
                    <a:lnTo>
                      <a:pt x="223" y="9"/>
                    </a:lnTo>
                    <a:lnTo>
                      <a:pt x="223" y="11"/>
                    </a:lnTo>
                    <a:lnTo>
                      <a:pt x="223" y="12"/>
                    </a:lnTo>
                    <a:lnTo>
                      <a:pt x="225" y="12"/>
                    </a:lnTo>
                    <a:lnTo>
                      <a:pt x="225" y="11"/>
                    </a:lnTo>
                    <a:lnTo>
                      <a:pt x="225" y="12"/>
                    </a:lnTo>
                    <a:lnTo>
                      <a:pt x="226" y="12"/>
                    </a:lnTo>
                    <a:lnTo>
                      <a:pt x="228" y="12"/>
                    </a:lnTo>
                    <a:lnTo>
                      <a:pt x="230" y="14"/>
                    </a:lnTo>
                    <a:lnTo>
                      <a:pt x="230" y="16"/>
                    </a:lnTo>
                    <a:lnTo>
                      <a:pt x="231" y="16"/>
                    </a:lnTo>
                    <a:lnTo>
                      <a:pt x="233" y="16"/>
                    </a:lnTo>
                    <a:lnTo>
                      <a:pt x="233" y="17"/>
                    </a:lnTo>
                    <a:lnTo>
                      <a:pt x="235" y="17"/>
                    </a:lnTo>
                    <a:lnTo>
                      <a:pt x="233" y="17"/>
                    </a:lnTo>
                    <a:lnTo>
                      <a:pt x="233" y="19"/>
                    </a:lnTo>
                    <a:lnTo>
                      <a:pt x="235" y="19"/>
                    </a:lnTo>
                    <a:lnTo>
                      <a:pt x="235" y="17"/>
                    </a:lnTo>
                    <a:lnTo>
                      <a:pt x="235" y="19"/>
                    </a:lnTo>
                    <a:lnTo>
                      <a:pt x="235" y="21"/>
                    </a:lnTo>
                    <a:lnTo>
                      <a:pt x="237" y="21"/>
                    </a:lnTo>
                    <a:lnTo>
                      <a:pt x="235" y="22"/>
                    </a:lnTo>
                    <a:lnTo>
                      <a:pt x="237" y="22"/>
                    </a:lnTo>
                    <a:lnTo>
                      <a:pt x="237" y="24"/>
                    </a:lnTo>
                    <a:lnTo>
                      <a:pt x="235" y="24"/>
                    </a:lnTo>
                    <a:lnTo>
                      <a:pt x="237" y="24"/>
                    </a:lnTo>
                    <a:lnTo>
                      <a:pt x="237" y="26"/>
                    </a:lnTo>
                    <a:lnTo>
                      <a:pt x="238" y="26"/>
                    </a:lnTo>
                    <a:lnTo>
                      <a:pt x="238" y="28"/>
                    </a:lnTo>
                    <a:lnTo>
                      <a:pt x="240" y="28"/>
                    </a:lnTo>
                    <a:lnTo>
                      <a:pt x="238" y="29"/>
                    </a:lnTo>
                    <a:lnTo>
                      <a:pt x="240" y="29"/>
                    </a:lnTo>
                    <a:lnTo>
                      <a:pt x="238" y="29"/>
                    </a:lnTo>
                    <a:lnTo>
                      <a:pt x="238" y="31"/>
                    </a:lnTo>
                    <a:lnTo>
                      <a:pt x="238" y="29"/>
                    </a:lnTo>
                    <a:lnTo>
                      <a:pt x="238" y="31"/>
                    </a:lnTo>
                    <a:lnTo>
                      <a:pt x="240" y="31"/>
                    </a:lnTo>
                    <a:lnTo>
                      <a:pt x="240" y="33"/>
                    </a:lnTo>
                    <a:lnTo>
                      <a:pt x="238" y="33"/>
                    </a:lnTo>
                    <a:lnTo>
                      <a:pt x="240" y="33"/>
                    </a:lnTo>
                    <a:lnTo>
                      <a:pt x="240" y="34"/>
                    </a:lnTo>
                    <a:lnTo>
                      <a:pt x="242" y="34"/>
                    </a:lnTo>
                    <a:lnTo>
                      <a:pt x="243" y="34"/>
                    </a:lnTo>
                    <a:lnTo>
                      <a:pt x="245" y="34"/>
                    </a:lnTo>
                    <a:lnTo>
                      <a:pt x="245" y="36"/>
                    </a:lnTo>
                    <a:lnTo>
                      <a:pt x="247" y="36"/>
                    </a:lnTo>
                    <a:lnTo>
                      <a:pt x="247" y="34"/>
                    </a:lnTo>
                    <a:lnTo>
                      <a:pt x="248" y="34"/>
                    </a:lnTo>
                    <a:lnTo>
                      <a:pt x="247" y="34"/>
                    </a:lnTo>
                    <a:lnTo>
                      <a:pt x="247" y="36"/>
                    </a:lnTo>
                    <a:lnTo>
                      <a:pt x="248" y="36"/>
                    </a:lnTo>
                    <a:lnTo>
                      <a:pt x="248" y="38"/>
                    </a:lnTo>
                    <a:lnTo>
                      <a:pt x="248" y="36"/>
                    </a:lnTo>
                    <a:lnTo>
                      <a:pt x="250" y="36"/>
                    </a:lnTo>
                    <a:lnTo>
                      <a:pt x="250" y="38"/>
                    </a:lnTo>
                    <a:lnTo>
                      <a:pt x="252" y="38"/>
                    </a:lnTo>
                    <a:lnTo>
                      <a:pt x="252" y="39"/>
                    </a:lnTo>
                    <a:lnTo>
                      <a:pt x="252" y="41"/>
                    </a:lnTo>
                    <a:lnTo>
                      <a:pt x="254" y="41"/>
                    </a:lnTo>
                    <a:lnTo>
                      <a:pt x="255" y="43"/>
                    </a:lnTo>
                    <a:lnTo>
                      <a:pt x="255" y="41"/>
                    </a:lnTo>
                    <a:lnTo>
                      <a:pt x="255" y="43"/>
                    </a:lnTo>
                    <a:lnTo>
                      <a:pt x="257" y="43"/>
                    </a:lnTo>
                    <a:lnTo>
                      <a:pt x="257" y="41"/>
                    </a:lnTo>
                    <a:lnTo>
                      <a:pt x="259" y="43"/>
                    </a:lnTo>
                    <a:lnTo>
                      <a:pt x="259" y="41"/>
                    </a:lnTo>
                    <a:lnTo>
                      <a:pt x="260" y="43"/>
                    </a:lnTo>
                    <a:lnTo>
                      <a:pt x="262" y="45"/>
                    </a:lnTo>
                    <a:lnTo>
                      <a:pt x="262" y="46"/>
                    </a:lnTo>
                    <a:lnTo>
                      <a:pt x="264" y="46"/>
                    </a:lnTo>
                    <a:lnTo>
                      <a:pt x="264" y="48"/>
                    </a:lnTo>
                    <a:lnTo>
                      <a:pt x="262" y="48"/>
                    </a:lnTo>
                    <a:lnTo>
                      <a:pt x="264" y="48"/>
                    </a:lnTo>
                    <a:lnTo>
                      <a:pt x="264" y="50"/>
                    </a:lnTo>
                    <a:lnTo>
                      <a:pt x="265" y="50"/>
                    </a:lnTo>
                    <a:lnTo>
                      <a:pt x="265" y="51"/>
                    </a:lnTo>
                    <a:lnTo>
                      <a:pt x="265" y="53"/>
                    </a:lnTo>
                    <a:lnTo>
                      <a:pt x="267" y="53"/>
                    </a:lnTo>
                    <a:lnTo>
                      <a:pt x="265" y="53"/>
                    </a:lnTo>
                    <a:lnTo>
                      <a:pt x="265" y="55"/>
                    </a:lnTo>
                    <a:lnTo>
                      <a:pt x="265" y="56"/>
                    </a:lnTo>
                    <a:lnTo>
                      <a:pt x="264" y="56"/>
                    </a:lnTo>
                    <a:lnTo>
                      <a:pt x="264" y="58"/>
                    </a:lnTo>
                    <a:lnTo>
                      <a:pt x="265" y="58"/>
                    </a:lnTo>
                    <a:lnTo>
                      <a:pt x="267" y="58"/>
                    </a:lnTo>
                    <a:lnTo>
                      <a:pt x="267" y="60"/>
                    </a:lnTo>
                    <a:lnTo>
                      <a:pt x="269" y="60"/>
                    </a:lnTo>
                    <a:lnTo>
                      <a:pt x="271" y="60"/>
                    </a:lnTo>
                    <a:lnTo>
                      <a:pt x="271" y="62"/>
                    </a:lnTo>
                    <a:lnTo>
                      <a:pt x="272" y="62"/>
                    </a:lnTo>
                    <a:lnTo>
                      <a:pt x="272" y="60"/>
                    </a:lnTo>
                    <a:lnTo>
                      <a:pt x="274" y="60"/>
                    </a:lnTo>
                    <a:lnTo>
                      <a:pt x="274" y="62"/>
                    </a:lnTo>
                    <a:lnTo>
                      <a:pt x="274" y="60"/>
                    </a:lnTo>
                    <a:lnTo>
                      <a:pt x="274" y="58"/>
                    </a:lnTo>
                    <a:lnTo>
                      <a:pt x="276" y="60"/>
                    </a:lnTo>
                    <a:lnTo>
                      <a:pt x="277" y="62"/>
                    </a:lnTo>
                    <a:lnTo>
                      <a:pt x="277" y="63"/>
                    </a:lnTo>
                    <a:lnTo>
                      <a:pt x="279" y="63"/>
                    </a:lnTo>
                    <a:lnTo>
                      <a:pt x="277" y="65"/>
                    </a:lnTo>
                    <a:lnTo>
                      <a:pt x="277" y="67"/>
                    </a:lnTo>
                    <a:lnTo>
                      <a:pt x="277" y="68"/>
                    </a:lnTo>
                    <a:lnTo>
                      <a:pt x="279" y="68"/>
                    </a:lnTo>
                    <a:lnTo>
                      <a:pt x="279" y="70"/>
                    </a:lnTo>
                    <a:lnTo>
                      <a:pt x="279" y="72"/>
                    </a:lnTo>
                    <a:lnTo>
                      <a:pt x="277" y="72"/>
                    </a:lnTo>
                    <a:lnTo>
                      <a:pt x="277" y="73"/>
                    </a:lnTo>
                    <a:lnTo>
                      <a:pt x="276" y="73"/>
                    </a:lnTo>
                    <a:lnTo>
                      <a:pt x="276" y="75"/>
                    </a:lnTo>
                    <a:lnTo>
                      <a:pt x="277" y="77"/>
                    </a:lnTo>
                    <a:lnTo>
                      <a:pt x="277" y="79"/>
                    </a:lnTo>
                    <a:lnTo>
                      <a:pt x="279" y="79"/>
                    </a:lnTo>
                    <a:lnTo>
                      <a:pt x="279" y="80"/>
                    </a:lnTo>
                    <a:lnTo>
                      <a:pt x="281" y="79"/>
                    </a:lnTo>
                    <a:lnTo>
                      <a:pt x="282" y="80"/>
                    </a:lnTo>
                    <a:lnTo>
                      <a:pt x="282" y="79"/>
                    </a:lnTo>
                    <a:lnTo>
                      <a:pt x="282" y="80"/>
                    </a:lnTo>
                    <a:lnTo>
                      <a:pt x="284" y="80"/>
                    </a:lnTo>
                    <a:lnTo>
                      <a:pt x="284" y="82"/>
                    </a:lnTo>
                    <a:lnTo>
                      <a:pt x="286" y="82"/>
                    </a:lnTo>
                    <a:lnTo>
                      <a:pt x="288" y="82"/>
                    </a:lnTo>
                    <a:lnTo>
                      <a:pt x="289" y="82"/>
                    </a:lnTo>
                    <a:lnTo>
                      <a:pt x="289" y="80"/>
                    </a:lnTo>
                    <a:lnTo>
                      <a:pt x="291" y="80"/>
                    </a:lnTo>
                    <a:lnTo>
                      <a:pt x="291" y="82"/>
                    </a:lnTo>
                    <a:lnTo>
                      <a:pt x="291" y="80"/>
                    </a:lnTo>
                    <a:lnTo>
                      <a:pt x="293" y="82"/>
                    </a:lnTo>
                    <a:lnTo>
                      <a:pt x="294" y="82"/>
                    </a:lnTo>
                    <a:lnTo>
                      <a:pt x="294" y="80"/>
                    </a:lnTo>
                    <a:lnTo>
                      <a:pt x="296" y="80"/>
                    </a:lnTo>
                    <a:lnTo>
                      <a:pt x="298" y="80"/>
                    </a:lnTo>
                    <a:lnTo>
                      <a:pt x="298" y="82"/>
                    </a:lnTo>
                    <a:lnTo>
                      <a:pt x="299" y="82"/>
                    </a:lnTo>
                    <a:lnTo>
                      <a:pt x="301" y="82"/>
                    </a:lnTo>
                    <a:lnTo>
                      <a:pt x="303" y="82"/>
                    </a:lnTo>
                    <a:lnTo>
                      <a:pt x="303" y="84"/>
                    </a:lnTo>
                    <a:lnTo>
                      <a:pt x="305" y="84"/>
                    </a:lnTo>
                    <a:lnTo>
                      <a:pt x="306" y="84"/>
                    </a:lnTo>
                    <a:lnTo>
                      <a:pt x="306" y="82"/>
                    </a:lnTo>
                    <a:lnTo>
                      <a:pt x="306" y="84"/>
                    </a:lnTo>
                    <a:lnTo>
                      <a:pt x="306" y="82"/>
                    </a:lnTo>
                    <a:lnTo>
                      <a:pt x="308" y="82"/>
                    </a:lnTo>
                    <a:lnTo>
                      <a:pt x="310" y="82"/>
                    </a:lnTo>
                    <a:lnTo>
                      <a:pt x="310" y="84"/>
                    </a:lnTo>
                    <a:lnTo>
                      <a:pt x="311" y="84"/>
                    </a:lnTo>
                    <a:lnTo>
                      <a:pt x="311" y="82"/>
                    </a:lnTo>
                    <a:lnTo>
                      <a:pt x="311" y="80"/>
                    </a:lnTo>
                    <a:lnTo>
                      <a:pt x="313" y="80"/>
                    </a:lnTo>
                    <a:lnTo>
                      <a:pt x="313" y="79"/>
                    </a:lnTo>
                    <a:lnTo>
                      <a:pt x="315" y="79"/>
                    </a:lnTo>
                    <a:lnTo>
                      <a:pt x="315" y="80"/>
                    </a:lnTo>
                    <a:lnTo>
                      <a:pt x="316" y="80"/>
                    </a:lnTo>
                    <a:lnTo>
                      <a:pt x="318" y="80"/>
                    </a:lnTo>
                    <a:lnTo>
                      <a:pt x="318" y="79"/>
                    </a:lnTo>
                    <a:lnTo>
                      <a:pt x="320" y="79"/>
                    </a:lnTo>
                    <a:lnTo>
                      <a:pt x="320" y="77"/>
                    </a:lnTo>
                    <a:lnTo>
                      <a:pt x="320" y="75"/>
                    </a:lnTo>
                    <a:lnTo>
                      <a:pt x="322" y="75"/>
                    </a:lnTo>
                    <a:lnTo>
                      <a:pt x="322" y="73"/>
                    </a:lnTo>
                    <a:lnTo>
                      <a:pt x="322" y="75"/>
                    </a:lnTo>
                    <a:lnTo>
                      <a:pt x="323" y="73"/>
                    </a:lnTo>
                    <a:lnTo>
                      <a:pt x="325" y="72"/>
                    </a:lnTo>
                    <a:lnTo>
                      <a:pt x="325" y="73"/>
                    </a:lnTo>
                    <a:lnTo>
                      <a:pt x="325" y="75"/>
                    </a:lnTo>
                    <a:lnTo>
                      <a:pt x="327" y="75"/>
                    </a:lnTo>
                    <a:lnTo>
                      <a:pt x="327" y="73"/>
                    </a:lnTo>
                    <a:lnTo>
                      <a:pt x="328" y="73"/>
                    </a:lnTo>
                    <a:lnTo>
                      <a:pt x="328" y="75"/>
                    </a:lnTo>
                    <a:lnTo>
                      <a:pt x="330" y="75"/>
                    </a:lnTo>
                    <a:lnTo>
                      <a:pt x="332" y="75"/>
                    </a:lnTo>
                    <a:lnTo>
                      <a:pt x="332" y="77"/>
                    </a:lnTo>
                    <a:lnTo>
                      <a:pt x="332" y="79"/>
                    </a:lnTo>
                    <a:lnTo>
                      <a:pt x="333" y="79"/>
                    </a:lnTo>
                    <a:lnTo>
                      <a:pt x="333" y="77"/>
                    </a:lnTo>
                    <a:lnTo>
                      <a:pt x="335" y="77"/>
                    </a:lnTo>
                    <a:lnTo>
                      <a:pt x="335" y="79"/>
                    </a:lnTo>
                    <a:lnTo>
                      <a:pt x="337" y="79"/>
                    </a:lnTo>
                    <a:lnTo>
                      <a:pt x="337" y="80"/>
                    </a:lnTo>
                    <a:lnTo>
                      <a:pt x="335" y="80"/>
                    </a:lnTo>
                    <a:lnTo>
                      <a:pt x="337" y="82"/>
                    </a:lnTo>
                    <a:lnTo>
                      <a:pt x="337" y="80"/>
                    </a:lnTo>
                    <a:lnTo>
                      <a:pt x="339" y="80"/>
                    </a:lnTo>
                    <a:lnTo>
                      <a:pt x="339" y="79"/>
                    </a:lnTo>
                    <a:lnTo>
                      <a:pt x="340" y="79"/>
                    </a:lnTo>
                    <a:lnTo>
                      <a:pt x="340" y="80"/>
                    </a:lnTo>
                    <a:lnTo>
                      <a:pt x="340" y="79"/>
                    </a:lnTo>
                    <a:lnTo>
                      <a:pt x="342" y="79"/>
                    </a:lnTo>
                    <a:lnTo>
                      <a:pt x="342" y="80"/>
                    </a:lnTo>
                    <a:lnTo>
                      <a:pt x="344" y="80"/>
                    </a:lnTo>
                    <a:lnTo>
                      <a:pt x="344" y="79"/>
                    </a:lnTo>
                    <a:lnTo>
                      <a:pt x="345" y="79"/>
                    </a:lnTo>
                    <a:lnTo>
                      <a:pt x="345" y="77"/>
                    </a:lnTo>
                    <a:lnTo>
                      <a:pt x="347" y="77"/>
                    </a:lnTo>
                    <a:lnTo>
                      <a:pt x="349" y="77"/>
                    </a:lnTo>
                    <a:lnTo>
                      <a:pt x="350" y="77"/>
                    </a:lnTo>
                    <a:lnTo>
                      <a:pt x="349" y="77"/>
                    </a:lnTo>
                    <a:lnTo>
                      <a:pt x="349" y="75"/>
                    </a:lnTo>
                    <a:lnTo>
                      <a:pt x="350" y="75"/>
                    </a:lnTo>
                    <a:lnTo>
                      <a:pt x="352" y="75"/>
                    </a:lnTo>
                    <a:lnTo>
                      <a:pt x="354" y="75"/>
                    </a:lnTo>
                    <a:lnTo>
                      <a:pt x="354" y="77"/>
                    </a:lnTo>
                    <a:lnTo>
                      <a:pt x="356" y="77"/>
                    </a:lnTo>
                    <a:lnTo>
                      <a:pt x="357" y="77"/>
                    </a:lnTo>
                    <a:lnTo>
                      <a:pt x="357" y="79"/>
                    </a:lnTo>
                    <a:lnTo>
                      <a:pt x="359" y="79"/>
                    </a:lnTo>
                    <a:lnTo>
                      <a:pt x="361" y="79"/>
                    </a:lnTo>
                    <a:lnTo>
                      <a:pt x="361" y="80"/>
                    </a:lnTo>
                    <a:lnTo>
                      <a:pt x="361" y="82"/>
                    </a:lnTo>
                    <a:lnTo>
                      <a:pt x="362" y="80"/>
                    </a:lnTo>
                    <a:lnTo>
                      <a:pt x="362" y="82"/>
                    </a:lnTo>
                    <a:lnTo>
                      <a:pt x="362" y="84"/>
                    </a:lnTo>
                    <a:lnTo>
                      <a:pt x="364" y="84"/>
                    </a:lnTo>
                    <a:lnTo>
                      <a:pt x="364" y="82"/>
                    </a:lnTo>
                    <a:lnTo>
                      <a:pt x="366" y="82"/>
                    </a:lnTo>
                    <a:lnTo>
                      <a:pt x="366" y="84"/>
                    </a:lnTo>
                    <a:lnTo>
                      <a:pt x="367" y="84"/>
                    </a:lnTo>
                    <a:lnTo>
                      <a:pt x="367" y="82"/>
                    </a:lnTo>
                    <a:lnTo>
                      <a:pt x="367" y="84"/>
                    </a:lnTo>
                    <a:lnTo>
                      <a:pt x="367" y="85"/>
                    </a:lnTo>
                    <a:lnTo>
                      <a:pt x="369" y="85"/>
                    </a:lnTo>
                    <a:lnTo>
                      <a:pt x="371" y="84"/>
                    </a:lnTo>
                    <a:lnTo>
                      <a:pt x="373" y="84"/>
                    </a:lnTo>
                    <a:lnTo>
                      <a:pt x="373" y="85"/>
                    </a:lnTo>
                    <a:lnTo>
                      <a:pt x="371" y="85"/>
                    </a:lnTo>
                    <a:lnTo>
                      <a:pt x="371" y="87"/>
                    </a:lnTo>
                    <a:lnTo>
                      <a:pt x="373" y="87"/>
                    </a:lnTo>
                    <a:lnTo>
                      <a:pt x="374" y="85"/>
                    </a:lnTo>
                    <a:lnTo>
                      <a:pt x="376" y="87"/>
                    </a:lnTo>
                    <a:lnTo>
                      <a:pt x="376" y="89"/>
                    </a:lnTo>
                    <a:lnTo>
                      <a:pt x="376" y="90"/>
                    </a:lnTo>
                    <a:lnTo>
                      <a:pt x="376" y="89"/>
                    </a:lnTo>
                    <a:lnTo>
                      <a:pt x="378" y="89"/>
                    </a:lnTo>
                    <a:lnTo>
                      <a:pt x="378" y="90"/>
                    </a:lnTo>
                    <a:lnTo>
                      <a:pt x="379" y="90"/>
                    </a:lnTo>
                    <a:lnTo>
                      <a:pt x="381" y="89"/>
                    </a:lnTo>
                    <a:lnTo>
                      <a:pt x="381" y="90"/>
                    </a:lnTo>
                    <a:lnTo>
                      <a:pt x="381" y="92"/>
                    </a:lnTo>
                    <a:lnTo>
                      <a:pt x="381" y="94"/>
                    </a:lnTo>
                    <a:lnTo>
                      <a:pt x="379" y="97"/>
                    </a:lnTo>
                    <a:lnTo>
                      <a:pt x="378" y="99"/>
                    </a:lnTo>
                    <a:lnTo>
                      <a:pt x="374" y="104"/>
                    </a:lnTo>
                    <a:lnTo>
                      <a:pt x="373" y="106"/>
                    </a:lnTo>
                    <a:lnTo>
                      <a:pt x="373" y="107"/>
                    </a:lnTo>
                    <a:lnTo>
                      <a:pt x="371" y="109"/>
                    </a:lnTo>
                    <a:lnTo>
                      <a:pt x="369" y="113"/>
                    </a:lnTo>
                    <a:lnTo>
                      <a:pt x="367" y="116"/>
                    </a:lnTo>
                    <a:lnTo>
                      <a:pt x="366" y="116"/>
                    </a:lnTo>
                    <a:lnTo>
                      <a:pt x="364" y="119"/>
                    </a:lnTo>
                    <a:lnTo>
                      <a:pt x="362" y="124"/>
                    </a:lnTo>
                    <a:lnTo>
                      <a:pt x="361" y="124"/>
                    </a:lnTo>
                    <a:lnTo>
                      <a:pt x="359" y="128"/>
                    </a:lnTo>
                    <a:lnTo>
                      <a:pt x="361" y="128"/>
                    </a:lnTo>
                    <a:lnTo>
                      <a:pt x="361" y="130"/>
                    </a:lnTo>
                    <a:lnTo>
                      <a:pt x="362" y="130"/>
                    </a:lnTo>
                    <a:lnTo>
                      <a:pt x="364" y="130"/>
                    </a:lnTo>
                    <a:lnTo>
                      <a:pt x="366" y="131"/>
                    </a:lnTo>
                    <a:lnTo>
                      <a:pt x="367" y="131"/>
                    </a:lnTo>
                    <a:lnTo>
                      <a:pt x="367" y="130"/>
                    </a:lnTo>
                    <a:lnTo>
                      <a:pt x="369" y="130"/>
                    </a:lnTo>
                    <a:lnTo>
                      <a:pt x="371" y="130"/>
                    </a:lnTo>
                    <a:lnTo>
                      <a:pt x="371" y="128"/>
                    </a:lnTo>
                    <a:lnTo>
                      <a:pt x="373" y="128"/>
                    </a:lnTo>
                    <a:lnTo>
                      <a:pt x="373" y="130"/>
                    </a:lnTo>
                    <a:lnTo>
                      <a:pt x="374" y="130"/>
                    </a:lnTo>
                    <a:lnTo>
                      <a:pt x="374" y="131"/>
                    </a:lnTo>
                    <a:lnTo>
                      <a:pt x="376" y="131"/>
                    </a:lnTo>
                    <a:lnTo>
                      <a:pt x="376" y="133"/>
                    </a:lnTo>
                    <a:lnTo>
                      <a:pt x="378" y="133"/>
                    </a:lnTo>
                    <a:lnTo>
                      <a:pt x="378" y="135"/>
                    </a:lnTo>
                    <a:lnTo>
                      <a:pt x="378" y="136"/>
                    </a:lnTo>
                    <a:lnTo>
                      <a:pt x="379" y="136"/>
                    </a:lnTo>
                    <a:lnTo>
                      <a:pt x="381" y="138"/>
                    </a:lnTo>
                    <a:lnTo>
                      <a:pt x="381" y="140"/>
                    </a:lnTo>
                    <a:lnTo>
                      <a:pt x="383" y="140"/>
                    </a:lnTo>
                    <a:lnTo>
                      <a:pt x="383" y="141"/>
                    </a:lnTo>
                    <a:lnTo>
                      <a:pt x="384" y="141"/>
                    </a:lnTo>
                    <a:lnTo>
                      <a:pt x="384" y="143"/>
                    </a:lnTo>
                    <a:close/>
                    <a:moveTo>
                      <a:pt x="138" y="410"/>
                    </a:moveTo>
                    <a:lnTo>
                      <a:pt x="141" y="410"/>
                    </a:lnTo>
                    <a:lnTo>
                      <a:pt x="141" y="412"/>
                    </a:lnTo>
                    <a:lnTo>
                      <a:pt x="138" y="412"/>
                    </a:lnTo>
                    <a:lnTo>
                      <a:pt x="138" y="410"/>
                    </a:lnTo>
                    <a:close/>
                    <a:moveTo>
                      <a:pt x="16" y="216"/>
                    </a:moveTo>
                    <a:lnTo>
                      <a:pt x="17" y="216"/>
                    </a:lnTo>
                    <a:lnTo>
                      <a:pt x="17" y="220"/>
                    </a:lnTo>
                    <a:lnTo>
                      <a:pt x="16" y="220"/>
                    </a:lnTo>
                    <a:lnTo>
                      <a:pt x="16" y="216"/>
                    </a:lnTo>
                    <a:close/>
                    <a:moveTo>
                      <a:pt x="174" y="487"/>
                    </a:moveTo>
                    <a:lnTo>
                      <a:pt x="175" y="487"/>
                    </a:lnTo>
                    <a:lnTo>
                      <a:pt x="175" y="489"/>
                    </a:lnTo>
                    <a:lnTo>
                      <a:pt x="174" y="489"/>
                    </a:lnTo>
                    <a:lnTo>
                      <a:pt x="174" y="487"/>
                    </a:lnTo>
                    <a:close/>
                    <a:moveTo>
                      <a:pt x="165" y="472"/>
                    </a:moveTo>
                    <a:lnTo>
                      <a:pt x="167" y="472"/>
                    </a:lnTo>
                    <a:lnTo>
                      <a:pt x="167" y="473"/>
                    </a:lnTo>
                    <a:lnTo>
                      <a:pt x="165" y="473"/>
                    </a:lnTo>
                    <a:lnTo>
                      <a:pt x="165" y="472"/>
                    </a:lnTo>
                    <a:close/>
                    <a:moveTo>
                      <a:pt x="36" y="116"/>
                    </a:moveTo>
                    <a:lnTo>
                      <a:pt x="38" y="116"/>
                    </a:lnTo>
                    <a:lnTo>
                      <a:pt x="36" y="116"/>
                    </a:lnTo>
                    <a:close/>
                  </a:path>
                </a:pathLst>
              </a:custGeom>
              <a:solidFill>
                <a:schemeClr val="accent1"/>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grpSp>
      <p:pic>
        <p:nvPicPr>
          <p:cNvPr id="102" name="Picture 10">
            <a:extLst>
              <a:ext uri="{FF2B5EF4-FFF2-40B4-BE49-F238E27FC236}">
                <a16:creationId xmlns:a16="http://schemas.microsoft.com/office/drawing/2014/main" id="{CB0B98FE-6E31-D4E9-D488-BF1309FB9E47}"/>
              </a:ext>
            </a:extLst>
          </p:cNvPr>
          <p:cNvPicPr>
            <a:picLocks noChangeAspect="1" noChangeArrowheads="1"/>
          </p:cNvPicPr>
          <p:nvPr/>
        </p:nvPicPr>
        <p:blipFill rotWithShape="1">
          <a:blip r:embed="rId74" cstate="screen">
            <a:extLst>
              <a:ext uri="{28A0092B-C50C-407E-A947-70E740481C1C}">
                <a14:useLocalDpi xmlns:a14="http://schemas.microsoft.com/office/drawing/2010/main"/>
              </a:ext>
            </a:extLst>
          </a:blip>
          <a:srcRect l="13223" t="33704" r="11201" b="35957"/>
          <a:stretch/>
        </p:blipFill>
        <p:spPr bwMode="auto">
          <a:xfrm>
            <a:off x="7243989" y="2452771"/>
            <a:ext cx="796688" cy="166593"/>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02">
            <a:extLst>
              <a:ext uri="{FF2B5EF4-FFF2-40B4-BE49-F238E27FC236}">
                <a16:creationId xmlns:a16="http://schemas.microsoft.com/office/drawing/2014/main" id="{5D1434EA-127B-8C4B-00DB-3FF6C545ABB1}"/>
              </a:ext>
            </a:extLst>
          </p:cNvPr>
          <p:cNvPicPr>
            <a:picLocks noChangeAspect="1"/>
          </p:cNvPicPr>
          <p:nvPr>
            <p:custDataLst>
              <p:tags r:id="rId61"/>
            </p:custDataLst>
          </p:nvPr>
        </p:nvPicPr>
        <p:blipFill>
          <a:blip r:embed="rId75" cstate="screen">
            <a:extLst>
              <a:ext uri="{28A0092B-C50C-407E-A947-70E740481C1C}">
                <a14:useLocalDpi xmlns:a14="http://schemas.microsoft.com/office/drawing/2010/main"/>
              </a:ext>
            </a:extLst>
          </a:blip>
          <a:stretch>
            <a:fillRect/>
          </a:stretch>
        </p:blipFill>
        <p:spPr>
          <a:xfrm>
            <a:off x="7390805" y="2857381"/>
            <a:ext cx="357466" cy="186204"/>
          </a:xfrm>
          <a:prstGeom prst="rect">
            <a:avLst/>
          </a:prstGeom>
        </p:spPr>
      </p:pic>
      <p:pic>
        <p:nvPicPr>
          <p:cNvPr id="104" name="Picture 103">
            <a:extLst>
              <a:ext uri="{FF2B5EF4-FFF2-40B4-BE49-F238E27FC236}">
                <a16:creationId xmlns:a16="http://schemas.microsoft.com/office/drawing/2014/main" id="{27D04496-C5BF-7E04-63E7-33DDB00E6B33}"/>
              </a:ext>
            </a:extLst>
          </p:cNvPr>
          <p:cNvPicPr>
            <a:picLocks noChangeAspect="1"/>
          </p:cNvPicPr>
          <p:nvPr>
            <p:custDataLst>
              <p:tags r:id="rId62"/>
            </p:custDataLst>
          </p:nvPr>
        </p:nvPicPr>
        <p:blipFill>
          <a:blip r:embed="rId76" cstate="screen">
            <a:extLst>
              <a:ext uri="{28A0092B-C50C-407E-A947-70E740481C1C}">
                <a14:useLocalDpi xmlns:a14="http://schemas.microsoft.com/office/drawing/2010/main"/>
              </a:ext>
            </a:extLst>
          </a:blip>
          <a:stretch>
            <a:fillRect/>
          </a:stretch>
        </p:blipFill>
        <p:spPr>
          <a:xfrm>
            <a:off x="7367284" y="2638588"/>
            <a:ext cx="380987" cy="195971"/>
          </a:xfrm>
          <a:prstGeom prst="rect">
            <a:avLst/>
          </a:prstGeom>
        </p:spPr>
      </p:pic>
    </p:spTree>
    <p:extLst>
      <p:ext uri="{BB962C8B-B14F-4D97-AF65-F5344CB8AC3E}">
        <p14:creationId xmlns:p14="http://schemas.microsoft.com/office/powerpoint/2010/main" val="3830777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 hidden="1">
            <a:extLst>
              <a:ext uri="{FF2B5EF4-FFF2-40B4-BE49-F238E27FC236}">
                <a16:creationId xmlns:a16="http://schemas.microsoft.com/office/drawing/2014/main" id="{578D55DE-3BB1-3BCB-BC1B-44EF337F1908}"/>
              </a:ext>
            </a:extLst>
          </p:cNvPr>
          <p:cNvGraphicFramePr>
            <a:graphicFrameLocks noChangeAspect="1"/>
          </p:cNvGraphicFramePr>
          <p:nvPr>
            <p:custDataLst>
              <p:tags r:id="rId1"/>
            </p:custDataLst>
            <p:extLst>
              <p:ext uri="{D42A27DB-BD31-4B8C-83A1-F6EECF244321}">
                <p14:modId xmlns:p14="http://schemas.microsoft.com/office/powerpoint/2010/main" val="2565932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6" imgW="395" imgH="396" progId="TCLayout.ActiveDocument.1">
                  <p:embed/>
                </p:oleObj>
              </mc:Choice>
              <mc:Fallback>
                <p:oleObj name="think-cell Slide" r:id="rId66" imgW="395" imgH="396" progId="TCLayout.ActiveDocument.1">
                  <p:embed/>
                  <p:pic>
                    <p:nvPicPr>
                      <p:cNvPr id="15" name="Object 1" hidden="1">
                        <a:extLst>
                          <a:ext uri="{FF2B5EF4-FFF2-40B4-BE49-F238E27FC236}">
                            <a16:creationId xmlns:a16="http://schemas.microsoft.com/office/drawing/2014/main" id="{578D55DE-3BB1-3BCB-BC1B-44EF337F1908}"/>
                          </a:ext>
                        </a:extLst>
                      </p:cNvPr>
                      <p:cNvPicPr/>
                      <p:nvPr/>
                    </p:nvPicPr>
                    <p:blipFill>
                      <a:blip r:embed="rId67"/>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idx="4294967295"/>
          </p:nvPr>
        </p:nvSpPr>
        <p:spPr>
          <a:xfrm>
            <a:off x="262527" y="236449"/>
            <a:ext cx="9166496" cy="830997"/>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ctr" anchorCtr="0">
            <a:spAutoFit/>
          </a:bodyPr>
          <a:lstStyle/>
          <a:p>
            <a:r>
              <a:rPr lang="en-CA" sz="2400" dirty="0"/>
              <a:t>Gold is much smaller than copper in Chile, but the country has sizeable undeveloped gold deposits and growth potential</a:t>
            </a:r>
          </a:p>
        </p:txBody>
      </p:sp>
      <p:sp>
        <p:nvSpPr>
          <p:cNvPr id="51" name="5. Source">
            <a:extLst>
              <a:ext uri="{FF2B5EF4-FFF2-40B4-BE49-F238E27FC236}">
                <a16:creationId xmlns:a16="http://schemas.microsoft.com/office/drawing/2014/main" id="{FEA89F67-585A-557F-A85D-1AAFAD031886}"/>
              </a:ext>
            </a:extLst>
          </p:cNvPr>
          <p:cNvSpPr txBox="1"/>
          <p:nvPr>
            <p:custDataLst>
              <p:tags r:id="rId2"/>
            </p:custDataLst>
          </p:nvPr>
        </p:nvSpPr>
        <p:spPr>
          <a:xfrm>
            <a:off x="346356"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ource: CIA World Factbook, World Bank WDI, IMF (WEO), Oxford Economics, </a:t>
            </a:r>
            <a:r>
              <a:rPr kumimoji="0" lang="en-US" sz="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MineSpans</a:t>
            </a: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en-US" sz="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Dentos</a:t>
            </a: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Global Mining Guide, </a:t>
            </a:r>
            <a:r>
              <a:rPr kumimoji="0" lang="en-US" sz="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Lexology</a:t>
            </a: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press search</a:t>
            </a:r>
          </a:p>
        </p:txBody>
      </p:sp>
      <p:cxnSp>
        <p:nvCxnSpPr>
          <p:cNvPr id="34" name="Straight Connector 33">
            <a:extLst>
              <a:ext uri="{FF2B5EF4-FFF2-40B4-BE49-F238E27FC236}">
                <a16:creationId xmlns:a16="http://schemas.microsoft.com/office/drawing/2014/main" id="{EB3C492B-2B23-BBB8-FD5D-B1EF650D1AA8}"/>
              </a:ext>
            </a:extLst>
          </p:cNvPr>
          <p:cNvCxnSpPr>
            <a:cxnSpLocks/>
          </p:cNvCxnSpPr>
          <p:nvPr>
            <p:custDataLst>
              <p:tags r:id="rId3"/>
            </p:custDataLst>
          </p:nvPr>
        </p:nvCxnSpPr>
        <p:spPr>
          <a:xfrm>
            <a:off x="346074" y="4335002"/>
            <a:ext cx="5524265" cy="0"/>
          </a:xfrm>
          <a:prstGeom prst="line">
            <a:avLst/>
          </a:prstGeom>
          <a:ln w="6350">
            <a:solidFill>
              <a:srgbClr val="757575"/>
            </a:solidFill>
            <a:prstDash val="soli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D80A1D05-FAF3-BED8-FD5C-2BE9D20B7596}"/>
              </a:ext>
            </a:extLst>
          </p:cNvPr>
          <p:cNvCxnSpPr>
            <a:cxnSpLocks/>
          </p:cNvCxnSpPr>
          <p:nvPr>
            <p:custDataLst>
              <p:tags r:id="rId4"/>
            </p:custDataLst>
          </p:nvPr>
        </p:nvCxnSpPr>
        <p:spPr>
          <a:xfrm>
            <a:off x="346074" y="2407364"/>
            <a:ext cx="5524265" cy="0"/>
          </a:xfrm>
          <a:prstGeom prst="line">
            <a:avLst/>
          </a:prstGeom>
          <a:ln w="6350">
            <a:solidFill>
              <a:srgbClr val="757575"/>
            </a:solidFill>
            <a:prstDash val="soli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E48FF427-B204-0939-2F10-F61E62D6A4AB}"/>
              </a:ext>
            </a:extLst>
          </p:cNvPr>
          <p:cNvCxnSpPr>
            <a:cxnSpLocks/>
          </p:cNvCxnSpPr>
          <p:nvPr>
            <p:custDataLst>
              <p:tags r:id="rId5"/>
            </p:custDataLst>
          </p:nvPr>
        </p:nvCxnSpPr>
        <p:spPr>
          <a:xfrm>
            <a:off x="346074" y="3509613"/>
            <a:ext cx="5524265" cy="0"/>
          </a:xfrm>
          <a:prstGeom prst="line">
            <a:avLst/>
          </a:prstGeom>
          <a:ln w="6350">
            <a:solidFill>
              <a:srgbClr val="757575"/>
            </a:solidFill>
            <a:prstDash val="soli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64A3520-D2D9-CE31-EF86-4AF475BF887E}"/>
              </a:ext>
            </a:extLst>
          </p:cNvPr>
          <p:cNvCxnSpPr>
            <a:cxnSpLocks/>
          </p:cNvCxnSpPr>
          <p:nvPr>
            <p:custDataLst>
              <p:tags r:id="rId6"/>
            </p:custDataLst>
          </p:nvPr>
        </p:nvCxnSpPr>
        <p:spPr>
          <a:xfrm>
            <a:off x="6197600" y="3128633"/>
            <a:ext cx="5689601" cy="0"/>
          </a:xfrm>
          <a:prstGeom prst="line">
            <a:avLst/>
          </a:prstGeom>
          <a:ln w="6350">
            <a:solidFill>
              <a:srgbClr val="757575"/>
            </a:solidFill>
            <a:prstDash val="solid"/>
          </a:ln>
        </p:spPr>
        <p:style>
          <a:lnRef idx="1">
            <a:schemeClr val="accent1"/>
          </a:lnRef>
          <a:fillRef idx="0">
            <a:schemeClr val="accent1"/>
          </a:fillRef>
          <a:effectRef idx="0">
            <a:schemeClr val="accent1"/>
          </a:effectRef>
          <a:fontRef idx="minor">
            <a:schemeClr val="tx1"/>
          </a:fontRef>
        </p:style>
      </p:cxnSp>
      <p:sp>
        <p:nvSpPr>
          <p:cNvPr id="42" name="Rectangle 8">
            <a:extLst>
              <a:ext uri="{FF2B5EF4-FFF2-40B4-BE49-F238E27FC236}">
                <a16:creationId xmlns:a16="http://schemas.microsoft.com/office/drawing/2014/main" id="{EF0C4F77-5819-4FF8-28E6-3CC6E87DC0F5}"/>
              </a:ext>
            </a:extLst>
          </p:cNvPr>
          <p:cNvSpPr txBox="1">
            <a:spLocks/>
          </p:cNvSpPr>
          <p:nvPr>
            <p:custDataLst>
              <p:tags r:id="rId7"/>
            </p:custDataLst>
          </p:nvPr>
        </p:nvSpPr>
        <p:spPr>
          <a:xfrm>
            <a:off x="6197598" y="3188945"/>
            <a:ext cx="896621" cy="1801067"/>
          </a:xfrm>
          <a:prstGeom prst="rect">
            <a:avLst/>
          </a:prstGeom>
          <a:solidFill>
            <a:schemeClr val="accent1"/>
          </a:solidFill>
          <a:ln w="9525">
            <a:noFill/>
            <a:miter lim="800000"/>
            <a:headEnd/>
            <a:tailEnd/>
          </a:ln>
          <a:effectLst/>
        </p:spPr>
        <p:txBody>
          <a:bodyPr vert="horz" wrap="square" lIns="36576" tIns="76200" rIns="36576" bIns="76200" numCol="1" anchor="ctr" anchorCtr="0" compatLnSpc="1">
            <a:prstTxWarp prst="textNoShape">
              <a:avLst/>
            </a:prstTxWarp>
            <a:noAutofit/>
          </a:bodyPr>
          <a:lstStyle>
            <a:defPPr>
              <a:defRPr lang="en-US"/>
            </a:defPPr>
            <a:lvl1pPr marL="0" lvl="0" indent="0" defTabSz="913526" eaLnBrk="1" hangingPunct="1">
              <a:buClr>
                <a:schemeClr val="tx2"/>
              </a:buClr>
              <a:defRPr sz="1000" b="1"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Fiscal and regulatory terms relevant to gold industry</a:t>
            </a:r>
            <a:endParaRPr kumimoji="0" lang="en-CA"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endParaRPr>
          </a:p>
        </p:txBody>
      </p:sp>
      <p:sp>
        <p:nvSpPr>
          <p:cNvPr id="93" name="TextBox 92">
            <a:extLst>
              <a:ext uri="{FF2B5EF4-FFF2-40B4-BE49-F238E27FC236}">
                <a16:creationId xmlns:a16="http://schemas.microsoft.com/office/drawing/2014/main" id="{973EABFE-AA29-2CE1-B02E-CAAF3B875086}"/>
              </a:ext>
            </a:extLst>
          </p:cNvPr>
          <p:cNvSpPr txBox="1">
            <a:spLocks/>
          </p:cNvSpPr>
          <p:nvPr/>
        </p:nvSpPr>
        <p:spPr>
          <a:xfrm>
            <a:off x="7174991" y="3188945"/>
            <a:ext cx="4712209" cy="180106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The Chilean mining regime is based on a civil legal system and is regulated by three fundamental statutes: (i) the </a:t>
            </a: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Political Constitution of the Republic of Chile, </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which establishes the overall legislation for the mining activity; (ii) </a:t>
            </a: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Constitutional Organic Law on Mining Concessions</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and (iii) </a:t>
            </a: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Chilean Mining Code</a:t>
            </a:r>
          </a:p>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In Chile, companies are charged with a </a:t>
            </a: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Corporate Income Tax (CIT) at the rate of 27% in</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the case of the Partially Integrated Regime or 25% in the Small and Medium Companies Regime (which will be at a rate of 10%for fiscal years 2020, 2021 and 2022). </a:t>
            </a:r>
          </a:p>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The final owners also must pay </a:t>
            </a: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Personal Income Tax </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a:t>
            </a:r>
            <a:r>
              <a:rPr kumimoji="0" lang="en-US" sz="9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Impuesto</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Global </a:t>
            </a:r>
            <a:r>
              <a:rPr kumimoji="0" lang="en-US" sz="9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Complementario</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for Chilean individual residents) at a progressive rate </a:t>
            </a: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ranging from 0-40%</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or </a:t>
            </a: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Withholding Tax </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a:t>
            </a:r>
            <a:r>
              <a:rPr kumimoji="0" lang="en-US" sz="9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Impuesto</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a:t>
            </a:r>
            <a:r>
              <a:rPr kumimoji="0" lang="en-US" sz="9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Adicional</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for non-residents) </a:t>
            </a: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at a 35% fixed rate. </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In both cases, the Corporate Income Tax paid by the company is creditable against these final taxes.</a:t>
            </a:r>
          </a:p>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The mining industry also has </a:t>
            </a: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a specific tax (additional to CIT)</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which is </a:t>
            </a: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profit-based (0-14%)</a:t>
            </a:r>
          </a:p>
        </p:txBody>
      </p:sp>
      <p:grpSp>
        <p:nvGrpSpPr>
          <p:cNvPr id="57" name="Group 56">
            <a:extLst>
              <a:ext uri="{FF2B5EF4-FFF2-40B4-BE49-F238E27FC236}">
                <a16:creationId xmlns:a16="http://schemas.microsoft.com/office/drawing/2014/main" id="{7C62C636-3AE3-94D4-F6A5-A05052B34E0A}"/>
              </a:ext>
            </a:extLst>
          </p:cNvPr>
          <p:cNvGrpSpPr/>
          <p:nvPr/>
        </p:nvGrpSpPr>
        <p:grpSpPr>
          <a:xfrm>
            <a:off x="346075" y="3618431"/>
            <a:ext cx="5361781" cy="607753"/>
            <a:chOff x="346075" y="3738544"/>
            <a:chExt cx="5361781" cy="607753"/>
          </a:xfrm>
        </p:grpSpPr>
        <p:sp>
          <p:nvSpPr>
            <p:cNvPr id="33" name="Rectangle 8">
              <a:extLst>
                <a:ext uri="{FF2B5EF4-FFF2-40B4-BE49-F238E27FC236}">
                  <a16:creationId xmlns:a16="http://schemas.microsoft.com/office/drawing/2014/main" id="{CB027349-3B9C-8384-4834-48368D61E2E8}"/>
                </a:ext>
              </a:extLst>
            </p:cNvPr>
            <p:cNvSpPr txBox="1">
              <a:spLocks/>
            </p:cNvSpPr>
            <p:nvPr>
              <p:custDataLst>
                <p:tags r:id="rId63"/>
              </p:custDataLst>
            </p:nvPr>
          </p:nvSpPr>
          <p:spPr>
            <a:xfrm>
              <a:off x="346075" y="3738544"/>
              <a:ext cx="1194435" cy="606315"/>
            </a:xfrm>
            <a:prstGeom prst="rect">
              <a:avLst/>
            </a:prstGeom>
            <a:solidFill>
              <a:schemeClr val="accent1"/>
            </a:solidFill>
            <a:ln w="9525">
              <a:noFill/>
              <a:miter lim="800000"/>
              <a:headEnd/>
              <a:tailEnd/>
            </a:ln>
            <a:effectLst/>
          </p:spPr>
          <p:txBody>
            <a:bodyPr vert="horz" wrap="square" lIns="36576" tIns="76200" rIns="36576" bIns="76200" numCol="1" anchor="ctr" anchorCtr="0" compatLnSpc="1">
              <a:prstTxWarp prst="textNoShape">
                <a:avLst/>
              </a:prstTxWarp>
              <a:noAutofit/>
            </a:bodyPr>
            <a:lstStyle>
              <a:defPPr>
                <a:defRPr lang="en-US"/>
              </a:defPPr>
              <a:lvl1pPr marL="0" lvl="0" indent="0" defTabSz="913526" eaLnBrk="1" hangingPunct="1">
                <a:buClr>
                  <a:schemeClr val="tx2"/>
                </a:buClr>
                <a:defRPr sz="1000" b="1"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Comparable opera-</a:t>
              </a:r>
              <a:r>
                <a:rPr kumimoji="0" lang="en-US" sz="1000" b="1" i="0" u="none" strike="noStrike" kern="1200" cap="none" spc="0" normalizeH="0" baseline="0" noProof="0" dirty="0" err="1">
                  <a:ln>
                    <a:noFill/>
                  </a:ln>
                  <a:solidFill>
                    <a:srgbClr val="FFFFFF"/>
                  </a:solidFill>
                  <a:effectLst/>
                  <a:uLnTx/>
                  <a:uFillTx/>
                  <a:latin typeface="Calibri" panose="020F0502020204030204" pitchFamily="34" charset="0"/>
                  <a:ea typeface="ＭＳ Ｐゴシック"/>
                  <a:cs typeface="Calibri" panose="020F0502020204030204" pitchFamily="34" charset="0"/>
                </a:rPr>
                <a:t>tional</a:t>
              </a: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 environments</a:t>
              </a:r>
              <a:endParaRPr kumimoji="0" lang="en-CA"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endParaRPr>
            </a:p>
          </p:txBody>
        </p:sp>
        <p:sp>
          <p:nvSpPr>
            <p:cNvPr id="91" name="TextBox 90">
              <a:extLst>
                <a:ext uri="{FF2B5EF4-FFF2-40B4-BE49-F238E27FC236}">
                  <a16:creationId xmlns:a16="http://schemas.microsoft.com/office/drawing/2014/main" id="{BEE782B9-C50C-7145-E203-58E3D3C475B7}"/>
                </a:ext>
              </a:extLst>
            </p:cNvPr>
            <p:cNvSpPr txBox="1">
              <a:spLocks/>
            </p:cNvSpPr>
            <p:nvPr/>
          </p:nvSpPr>
          <p:spPr>
            <a:xfrm>
              <a:off x="1615440" y="3738545"/>
              <a:ext cx="4092416" cy="60775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Brazil – presence of traditional mining hubs and a long history of mining investments</a:t>
              </a:r>
            </a:p>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Peru – areas with presence of sensitive environmental regions with traditional communities</a:t>
              </a:r>
            </a:p>
          </p:txBody>
        </p:sp>
      </p:grpSp>
      <p:grpSp>
        <p:nvGrpSpPr>
          <p:cNvPr id="61" name="Group 60">
            <a:extLst>
              <a:ext uri="{FF2B5EF4-FFF2-40B4-BE49-F238E27FC236}">
                <a16:creationId xmlns:a16="http://schemas.microsoft.com/office/drawing/2014/main" id="{7EA182A7-EB5B-E7E2-7FBB-0B36DB0A9141}"/>
              </a:ext>
            </a:extLst>
          </p:cNvPr>
          <p:cNvGrpSpPr/>
          <p:nvPr/>
        </p:nvGrpSpPr>
        <p:grpSpPr>
          <a:xfrm>
            <a:off x="346075" y="4443820"/>
            <a:ext cx="5361782" cy="558166"/>
            <a:chOff x="346075" y="4451294"/>
            <a:chExt cx="5361782" cy="558166"/>
          </a:xfrm>
        </p:grpSpPr>
        <p:sp>
          <p:nvSpPr>
            <p:cNvPr id="41" name="Rectangle 8">
              <a:extLst>
                <a:ext uri="{FF2B5EF4-FFF2-40B4-BE49-F238E27FC236}">
                  <a16:creationId xmlns:a16="http://schemas.microsoft.com/office/drawing/2014/main" id="{EA08B892-A175-5A1E-4459-FB7C21FBFBD3}"/>
                </a:ext>
              </a:extLst>
            </p:cNvPr>
            <p:cNvSpPr txBox="1">
              <a:spLocks/>
            </p:cNvSpPr>
            <p:nvPr>
              <p:custDataLst>
                <p:tags r:id="rId62"/>
              </p:custDataLst>
            </p:nvPr>
          </p:nvSpPr>
          <p:spPr>
            <a:xfrm>
              <a:off x="346075" y="4451294"/>
              <a:ext cx="1194435" cy="538718"/>
            </a:xfrm>
            <a:prstGeom prst="rect">
              <a:avLst/>
            </a:prstGeom>
            <a:solidFill>
              <a:schemeClr val="accent1"/>
            </a:solidFill>
            <a:ln w="9525">
              <a:noFill/>
              <a:miter lim="800000"/>
              <a:headEnd/>
              <a:tailEnd/>
            </a:ln>
            <a:effectLst/>
          </p:spPr>
          <p:txBody>
            <a:bodyPr vert="horz" wrap="square" lIns="36576" tIns="76200" rIns="36576" bIns="76200" numCol="1" anchor="ctr"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Other relevant factors</a:t>
              </a:r>
              <a:endParaRPr kumimoji="0" lang="en-CA"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endParaRPr>
            </a:p>
          </p:txBody>
        </p:sp>
        <p:sp>
          <p:nvSpPr>
            <p:cNvPr id="92" name="TextBox 91">
              <a:extLst>
                <a:ext uri="{FF2B5EF4-FFF2-40B4-BE49-F238E27FC236}">
                  <a16:creationId xmlns:a16="http://schemas.microsoft.com/office/drawing/2014/main" id="{234F2287-030E-8A2F-7325-FADEC940D7CA}"/>
                </a:ext>
              </a:extLst>
            </p:cNvPr>
            <p:cNvSpPr txBox="1">
              <a:spLocks/>
            </p:cNvSpPr>
            <p:nvPr/>
          </p:nvSpPr>
          <p:spPr>
            <a:xfrm>
              <a:off x="1615441" y="4451294"/>
              <a:ext cx="4092416" cy="55816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Chile is the largest producer of copper globally, and the copper industry tends to draw much more attention of the public and government than then gold industry</a:t>
              </a:r>
            </a:p>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In 2023, the Chilean government announced the intention to nationalize the country’s lithium industry</a:t>
              </a:r>
              <a:endPar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endParaRPr>
            </a:p>
          </p:txBody>
        </p:sp>
      </p:grpSp>
      <p:grpSp>
        <p:nvGrpSpPr>
          <p:cNvPr id="47" name="Group 46">
            <a:extLst>
              <a:ext uri="{FF2B5EF4-FFF2-40B4-BE49-F238E27FC236}">
                <a16:creationId xmlns:a16="http://schemas.microsoft.com/office/drawing/2014/main" id="{AB8BD4E2-8977-C9CC-460D-3E340AEE3F9A}"/>
              </a:ext>
            </a:extLst>
          </p:cNvPr>
          <p:cNvGrpSpPr/>
          <p:nvPr/>
        </p:nvGrpSpPr>
        <p:grpSpPr>
          <a:xfrm>
            <a:off x="346075" y="1425034"/>
            <a:ext cx="5524265" cy="873512"/>
            <a:chOff x="346075" y="1742180"/>
            <a:chExt cx="5524265" cy="873512"/>
          </a:xfrm>
        </p:grpSpPr>
        <p:sp>
          <p:nvSpPr>
            <p:cNvPr id="46" name="Rectangle 8">
              <a:extLst>
                <a:ext uri="{FF2B5EF4-FFF2-40B4-BE49-F238E27FC236}">
                  <a16:creationId xmlns:a16="http://schemas.microsoft.com/office/drawing/2014/main" id="{DF62B165-B198-85FE-915A-1686D3ACAA0E}"/>
                </a:ext>
              </a:extLst>
            </p:cNvPr>
            <p:cNvSpPr txBox="1">
              <a:spLocks/>
            </p:cNvSpPr>
            <p:nvPr>
              <p:custDataLst>
                <p:tags r:id="rId61"/>
              </p:custDataLst>
            </p:nvPr>
          </p:nvSpPr>
          <p:spPr>
            <a:xfrm>
              <a:off x="346075" y="1742180"/>
              <a:ext cx="1194435" cy="873512"/>
            </a:xfrm>
            <a:prstGeom prst="rect">
              <a:avLst/>
            </a:prstGeom>
            <a:solidFill>
              <a:schemeClr val="accent1"/>
            </a:solidFill>
            <a:ln w="9525">
              <a:noFill/>
              <a:miter lim="800000"/>
              <a:headEnd/>
              <a:tailEnd/>
            </a:ln>
            <a:effectLst/>
          </p:spPr>
          <p:txBody>
            <a:bodyPr vert="horz" wrap="square" lIns="36576" tIns="76200" rIns="36576" bIns="76200" numCol="1" anchor="ctr"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Government overview and key stakeholders</a:t>
              </a:r>
              <a:endParaRPr kumimoji="0" lang="en-CA"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endParaRPr>
            </a:p>
          </p:txBody>
        </p:sp>
        <p:sp>
          <p:nvSpPr>
            <p:cNvPr id="132" name="TextBox 131">
              <a:extLst>
                <a:ext uri="{FF2B5EF4-FFF2-40B4-BE49-F238E27FC236}">
                  <a16:creationId xmlns:a16="http://schemas.microsoft.com/office/drawing/2014/main" id="{92FF2AEE-7746-7067-2EA0-26A153EB1600}"/>
                </a:ext>
              </a:extLst>
            </p:cNvPr>
            <p:cNvSpPr txBox="1">
              <a:spLocks/>
            </p:cNvSpPr>
            <p:nvPr/>
          </p:nvSpPr>
          <p:spPr>
            <a:xfrm>
              <a:off x="1615442" y="1887603"/>
              <a:ext cx="913446" cy="13652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Parliament type:</a:t>
              </a:r>
            </a:p>
          </p:txBody>
        </p:sp>
        <p:sp>
          <p:nvSpPr>
            <p:cNvPr id="133" name="TextBox 132">
              <a:extLst>
                <a:ext uri="{FF2B5EF4-FFF2-40B4-BE49-F238E27FC236}">
                  <a16:creationId xmlns:a16="http://schemas.microsoft.com/office/drawing/2014/main" id="{045FCAF2-5034-7D0C-CAC2-3B228E3769BA}"/>
                </a:ext>
              </a:extLst>
            </p:cNvPr>
            <p:cNvSpPr txBox="1">
              <a:spLocks/>
            </p:cNvSpPr>
            <p:nvPr/>
          </p:nvSpPr>
          <p:spPr>
            <a:xfrm>
              <a:off x="2600326" y="1887603"/>
              <a:ext cx="3270014"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bicameral National Congress</a:t>
              </a:r>
              <a:endPar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endParaRPr>
            </a:p>
          </p:txBody>
        </p:sp>
        <p:sp>
          <p:nvSpPr>
            <p:cNvPr id="128" name="TextBox 127">
              <a:extLst>
                <a:ext uri="{FF2B5EF4-FFF2-40B4-BE49-F238E27FC236}">
                  <a16:creationId xmlns:a16="http://schemas.microsoft.com/office/drawing/2014/main" id="{08BB0351-7469-B33B-7341-A6C5B691B92D}"/>
                </a:ext>
              </a:extLst>
            </p:cNvPr>
            <p:cNvSpPr txBox="1">
              <a:spLocks/>
            </p:cNvSpPr>
            <p:nvPr/>
          </p:nvSpPr>
          <p:spPr>
            <a:xfrm>
              <a:off x="1615442" y="1742180"/>
              <a:ext cx="913446" cy="13652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Government type:</a:t>
              </a:r>
            </a:p>
          </p:txBody>
        </p:sp>
        <p:sp>
          <p:nvSpPr>
            <p:cNvPr id="129" name="TextBox 128">
              <a:extLst>
                <a:ext uri="{FF2B5EF4-FFF2-40B4-BE49-F238E27FC236}">
                  <a16:creationId xmlns:a16="http://schemas.microsoft.com/office/drawing/2014/main" id="{1591AFA9-25E4-06CF-CED4-57D391FB4D61}"/>
                </a:ext>
              </a:extLst>
            </p:cNvPr>
            <p:cNvSpPr txBox="1">
              <a:spLocks/>
            </p:cNvSpPr>
            <p:nvPr/>
          </p:nvSpPr>
          <p:spPr>
            <a:xfrm>
              <a:off x="2600326" y="1742180"/>
              <a:ext cx="3270014" cy="13652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Democracy</a:t>
              </a:r>
            </a:p>
          </p:txBody>
        </p:sp>
        <p:sp>
          <p:nvSpPr>
            <p:cNvPr id="135" name="TextBox 134">
              <a:extLst>
                <a:ext uri="{FF2B5EF4-FFF2-40B4-BE49-F238E27FC236}">
                  <a16:creationId xmlns:a16="http://schemas.microsoft.com/office/drawing/2014/main" id="{8FC8F185-8320-ED7C-8C9C-C417ECD7A218}"/>
                </a:ext>
              </a:extLst>
            </p:cNvPr>
            <p:cNvSpPr txBox="1">
              <a:spLocks/>
            </p:cNvSpPr>
            <p:nvPr/>
          </p:nvSpPr>
          <p:spPr>
            <a:xfrm>
              <a:off x="1615442" y="2035000"/>
              <a:ext cx="913446" cy="13493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President:</a:t>
              </a:r>
            </a:p>
          </p:txBody>
        </p:sp>
        <p:sp>
          <p:nvSpPr>
            <p:cNvPr id="136" name="TextBox 135">
              <a:extLst>
                <a:ext uri="{FF2B5EF4-FFF2-40B4-BE49-F238E27FC236}">
                  <a16:creationId xmlns:a16="http://schemas.microsoft.com/office/drawing/2014/main" id="{286FD3F8-A9FB-E0FA-11D2-E82BA030CF9B}"/>
                </a:ext>
              </a:extLst>
            </p:cNvPr>
            <p:cNvSpPr txBox="1">
              <a:spLocks/>
            </p:cNvSpPr>
            <p:nvPr/>
          </p:nvSpPr>
          <p:spPr>
            <a:xfrm>
              <a:off x="2600326" y="2035000"/>
              <a:ext cx="3270014" cy="138499"/>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s-PE"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Gabriel </a:t>
              </a:r>
              <a:r>
                <a:rPr kumimoji="0" lang="es-PE" sz="9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Boric</a:t>
              </a:r>
              <a:r>
                <a:rPr kumimoji="0" lang="es-PE"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a:t>
              </a:r>
              <a:r>
                <a:rPr kumimoji="0" lang="es-E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a:t>
              </a:r>
              <a:r>
                <a:rPr kumimoji="0" lang="es-ES" sz="9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since</a:t>
              </a:r>
              <a:r>
                <a:rPr kumimoji="0" lang="es-E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2021)</a:t>
              </a:r>
              <a:endPar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endParaRPr>
            </a:p>
          </p:txBody>
        </p:sp>
        <p:sp>
          <p:nvSpPr>
            <p:cNvPr id="139" name="TextBox 138">
              <a:extLst>
                <a:ext uri="{FF2B5EF4-FFF2-40B4-BE49-F238E27FC236}">
                  <a16:creationId xmlns:a16="http://schemas.microsoft.com/office/drawing/2014/main" id="{CC8673C0-B27B-4146-B381-90AA05457754}"/>
                </a:ext>
              </a:extLst>
            </p:cNvPr>
            <p:cNvSpPr txBox="1">
              <a:spLocks/>
            </p:cNvSpPr>
            <p:nvPr/>
          </p:nvSpPr>
          <p:spPr>
            <a:xfrm>
              <a:off x="1615442" y="2182397"/>
              <a:ext cx="913446"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Next election:</a:t>
              </a:r>
            </a:p>
          </p:txBody>
        </p:sp>
        <p:sp>
          <p:nvSpPr>
            <p:cNvPr id="140" name="TextBox 139">
              <a:extLst>
                <a:ext uri="{FF2B5EF4-FFF2-40B4-BE49-F238E27FC236}">
                  <a16:creationId xmlns:a16="http://schemas.microsoft.com/office/drawing/2014/main" id="{3ED62777-DDCE-5F21-D331-4AEE1668ECF3}"/>
                </a:ext>
              </a:extLst>
            </p:cNvPr>
            <p:cNvSpPr txBox="1">
              <a:spLocks/>
            </p:cNvSpPr>
            <p:nvPr/>
          </p:nvSpPr>
          <p:spPr>
            <a:xfrm>
              <a:off x="2600326" y="2182397"/>
              <a:ext cx="3270014"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2025</a:t>
              </a:r>
            </a:p>
          </p:txBody>
        </p:sp>
        <p:sp>
          <p:nvSpPr>
            <p:cNvPr id="143" name="TextBox 142">
              <a:extLst>
                <a:ext uri="{FF2B5EF4-FFF2-40B4-BE49-F238E27FC236}">
                  <a16:creationId xmlns:a16="http://schemas.microsoft.com/office/drawing/2014/main" id="{CA777830-90B0-AC47-B276-1B852CEBD625}"/>
                </a:ext>
              </a:extLst>
            </p:cNvPr>
            <p:cNvSpPr txBox="1">
              <a:spLocks/>
            </p:cNvSpPr>
            <p:nvPr/>
          </p:nvSpPr>
          <p:spPr>
            <a:xfrm>
              <a:off x="1615442" y="2329794"/>
              <a:ext cx="913446" cy="13493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Mining ministry:</a:t>
              </a:r>
            </a:p>
          </p:txBody>
        </p:sp>
        <p:sp>
          <p:nvSpPr>
            <p:cNvPr id="144" name="TextBox 143">
              <a:extLst>
                <a:ext uri="{FF2B5EF4-FFF2-40B4-BE49-F238E27FC236}">
                  <a16:creationId xmlns:a16="http://schemas.microsoft.com/office/drawing/2014/main" id="{0F6E1B82-5A40-B08E-4FCB-69D6C6C2E0A8}"/>
                </a:ext>
              </a:extLst>
            </p:cNvPr>
            <p:cNvSpPr txBox="1">
              <a:spLocks/>
            </p:cNvSpPr>
            <p:nvPr/>
          </p:nvSpPr>
          <p:spPr>
            <a:xfrm>
              <a:off x="2600326" y="2329794"/>
              <a:ext cx="3270014"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Ministry of Mines and Energy</a:t>
              </a:r>
            </a:p>
          </p:txBody>
        </p:sp>
        <p:sp>
          <p:nvSpPr>
            <p:cNvPr id="146" name="TextBox 145">
              <a:extLst>
                <a:ext uri="{FF2B5EF4-FFF2-40B4-BE49-F238E27FC236}">
                  <a16:creationId xmlns:a16="http://schemas.microsoft.com/office/drawing/2014/main" id="{C9C2C543-5312-BA95-CE37-7BA9D157C26F}"/>
                </a:ext>
              </a:extLst>
            </p:cNvPr>
            <p:cNvSpPr txBox="1">
              <a:spLocks/>
            </p:cNvSpPr>
            <p:nvPr/>
          </p:nvSpPr>
          <p:spPr>
            <a:xfrm>
              <a:off x="1615442" y="2477193"/>
              <a:ext cx="913446" cy="13493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Affiliations:</a:t>
              </a:r>
            </a:p>
          </p:txBody>
        </p:sp>
        <p:sp>
          <p:nvSpPr>
            <p:cNvPr id="147" name="TextBox 146">
              <a:extLst>
                <a:ext uri="{FF2B5EF4-FFF2-40B4-BE49-F238E27FC236}">
                  <a16:creationId xmlns:a16="http://schemas.microsoft.com/office/drawing/2014/main" id="{7343889F-A382-98A9-7730-3C431ABAD8B5}"/>
                </a:ext>
              </a:extLst>
            </p:cNvPr>
            <p:cNvSpPr txBox="1">
              <a:spLocks/>
            </p:cNvSpPr>
            <p:nvPr/>
          </p:nvSpPr>
          <p:spPr>
            <a:xfrm>
              <a:off x="2600326" y="2477193"/>
              <a:ext cx="3270014"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APEC, CAN (associate), WTO, IFC, OAS, UN, Mercosur (associate)</a:t>
              </a:r>
            </a:p>
          </p:txBody>
        </p:sp>
      </p:grpSp>
      <p:cxnSp>
        <p:nvCxnSpPr>
          <p:cNvPr id="112" name="Straight Connector 111">
            <a:extLst>
              <a:ext uri="{FF2B5EF4-FFF2-40B4-BE49-F238E27FC236}">
                <a16:creationId xmlns:a16="http://schemas.microsoft.com/office/drawing/2014/main" id="{5F66926C-576E-AABA-7FC9-3DE28A7C9518}"/>
              </a:ext>
            </a:extLst>
          </p:cNvPr>
          <p:cNvCxnSpPr>
            <a:cxnSpLocks/>
          </p:cNvCxnSpPr>
          <p:nvPr/>
        </p:nvCxnSpPr>
        <p:spPr>
          <a:xfrm>
            <a:off x="6033969" y="1370014"/>
            <a:ext cx="0" cy="4991101"/>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 name="Rectangle 5">
            <a:extLst>
              <a:ext uri="{FF2B5EF4-FFF2-40B4-BE49-F238E27FC236}">
                <a16:creationId xmlns:a16="http://schemas.microsoft.com/office/drawing/2014/main" id="{18C89DB0-878D-FFE4-29D4-9099729BAA00}"/>
              </a:ext>
            </a:extLst>
          </p:cNvPr>
          <p:cNvSpPr txBox="1">
            <a:spLocks/>
          </p:cNvSpPr>
          <p:nvPr>
            <p:custDataLst>
              <p:tags r:id="rId8"/>
            </p:custDataLst>
          </p:nvPr>
        </p:nvSpPr>
        <p:spPr>
          <a:xfrm>
            <a:off x="346074" y="5064759"/>
            <a:ext cx="5524265" cy="1296355"/>
          </a:xfrm>
          <a:prstGeom prst="rect">
            <a:avLst/>
          </a:prstGeom>
          <a:noFill/>
          <a:ln w="6350">
            <a:solidFill>
              <a:schemeClr val="accent1"/>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C9A319"/>
              </a:buClr>
              <a:buSzTx/>
              <a:buFontTx/>
              <a:buNone/>
              <a:tabLst/>
              <a:defRPr/>
            </a:pPr>
            <a:endParaRPr kumimoji="0" lang="en-CA" sz="1200" b="0" i="0" u="none" strike="noStrike" kern="1200" cap="none" spc="0" normalizeH="0" baseline="0" noProof="0" dirty="0">
              <a:ln>
                <a:noFill/>
              </a:ln>
              <a:solidFill>
                <a:srgbClr val="FF0000"/>
              </a:solidFill>
              <a:effectLst/>
              <a:uLnTx/>
              <a:uFillTx/>
              <a:latin typeface="Calibri" panose="020F0502020204030204" pitchFamily="34" charset="0"/>
              <a:ea typeface="ＭＳ Ｐゴシック"/>
              <a:cs typeface="Calibri" panose="020F0502020204030204" pitchFamily="34" charset="0"/>
            </a:endParaRPr>
          </a:p>
        </p:txBody>
      </p:sp>
      <p:sp>
        <p:nvSpPr>
          <p:cNvPr id="9" name="Rectangle 5">
            <a:extLst>
              <a:ext uri="{FF2B5EF4-FFF2-40B4-BE49-F238E27FC236}">
                <a16:creationId xmlns:a16="http://schemas.microsoft.com/office/drawing/2014/main" id="{9CC717D2-F54E-DE23-6B20-6378BC00F840}"/>
              </a:ext>
            </a:extLst>
          </p:cNvPr>
          <p:cNvSpPr txBox="1">
            <a:spLocks/>
          </p:cNvSpPr>
          <p:nvPr>
            <p:custDataLst>
              <p:tags r:id="rId9"/>
            </p:custDataLst>
          </p:nvPr>
        </p:nvSpPr>
        <p:spPr>
          <a:xfrm>
            <a:off x="6197600" y="5064759"/>
            <a:ext cx="5689601" cy="1296355"/>
          </a:xfrm>
          <a:prstGeom prst="rect">
            <a:avLst/>
          </a:prstGeom>
          <a:noFill/>
          <a:ln w="6350">
            <a:solidFill>
              <a:schemeClr val="accent1"/>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C9A319"/>
              </a:buClr>
              <a:buSzTx/>
              <a:buFontTx/>
              <a:buNone/>
              <a:tabLst/>
              <a:defRPr/>
            </a:pPr>
            <a:endParaRPr kumimoji="0" lang="en-CA" sz="1200" b="0" i="0" u="none" strike="noStrike" kern="1200" cap="none" spc="0" normalizeH="0" baseline="0" noProof="0" dirty="0">
              <a:ln>
                <a:noFill/>
              </a:ln>
              <a:solidFill>
                <a:srgbClr val="FF0000"/>
              </a:solidFill>
              <a:effectLst/>
              <a:uLnTx/>
              <a:uFillTx/>
              <a:latin typeface="Calibri" panose="020F0502020204030204" pitchFamily="34" charset="0"/>
              <a:ea typeface="ＭＳ Ｐゴシック"/>
              <a:cs typeface="Calibri" panose="020F0502020204030204" pitchFamily="34" charset="0"/>
            </a:endParaRPr>
          </a:p>
        </p:txBody>
      </p:sp>
      <p:sp>
        <p:nvSpPr>
          <p:cNvPr id="10" name="AutoShape 250">
            <a:extLst>
              <a:ext uri="{FF2B5EF4-FFF2-40B4-BE49-F238E27FC236}">
                <a16:creationId xmlns:a16="http://schemas.microsoft.com/office/drawing/2014/main" id="{05119A4F-7C11-9FEE-34F2-112D0C75F132}"/>
              </a:ext>
            </a:extLst>
          </p:cNvPr>
          <p:cNvSpPr>
            <a:spLocks noChangeArrowheads="1"/>
          </p:cNvSpPr>
          <p:nvPr/>
        </p:nvSpPr>
        <p:spPr bwMode="auto">
          <a:xfrm>
            <a:off x="429449" y="5337175"/>
            <a:ext cx="5195032" cy="153888"/>
          </a:xfrm>
          <a:prstGeom prst="leftRightArrow">
            <a:avLst>
              <a:gd name="adj1" fmla="val 100000"/>
              <a:gd name="adj2" fmla="val 0"/>
            </a:avLst>
          </a:prstGeom>
          <a:noFill/>
          <a:ln w="9525">
            <a:noFill/>
            <a:miter lim="800000"/>
            <a:headEnd/>
            <a:tailEnd/>
          </a:ln>
          <a:effectLst/>
        </p:spPr>
        <p:txBody>
          <a:bodyPr vert="horz" wrap="square" lIns="0" tIns="0" rIns="0" bIns="0" numCol="1" anchor="ctr" anchorCtr="0" compatLnSpc="1">
            <a:prstTxWarp prst="textNoShape">
              <a:avLst/>
            </a:prstTxWarp>
            <a:spAutoFit/>
          </a:body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Contribution of mining to national GDP, </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a:t>
            </a:r>
          </a:p>
        </p:txBody>
      </p:sp>
      <p:sp>
        <p:nvSpPr>
          <p:cNvPr id="13" name="Rectangle 8">
            <a:extLst>
              <a:ext uri="{FF2B5EF4-FFF2-40B4-BE49-F238E27FC236}">
                <a16:creationId xmlns:a16="http://schemas.microsoft.com/office/drawing/2014/main" id="{B07FC199-360C-974C-EF20-1F816E02F11A}"/>
              </a:ext>
            </a:extLst>
          </p:cNvPr>
          <p:cNvSpPr txBox="1">
            <a:spLocks/>
          </p:cNvSpPr>
          <p:nvPr>
            <p:custDataLst>
              <p:tags r:id="rId10"/>
            </p:custDataLst>
          </p:nvPr>
        </p:nvSpPr>
        <p:spPr>
          <a:xfrm>
            <a:off x="428225" y="5110807"/>
            <a:ext cx="5275663" cy="184666"/>
          </a:xfrm>
          <a:prstGeom prst="rect">
            <a:avLst/>
          </a:prstGeom>
          <a:noFill/>
          <a:ln w="9525">
            <a:noFill/>
            <a:miter lim="800000"/>
            <a:headEnd/>
            <a:tailEnd/>
          </a:ln>
          <a:effectLst/>
        </p:spPr>
        <p:txBody>
          <a:bodyPr vert="horz" wrap="square" lIns="0" tIns="0" rIns="0" bIns="0" numCol="1" anchor="ctr"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Mining corresponds to ~7% of the country’s GDP, minor share for gold</a:t>
            </a:r>
            <a:endParaRPr kumimoji="0" lang="en-CA" sz="12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25" name="Rectangle 8">
            <a:extLst>
              <a:ext uri="{FF2B5EF4-FFF2-40B4-BE49-F238E27FC236}">
                <a16:creationId xmlns:a16="http://schemas.microsoft.com/office/drawing/2014/main" id="{B6C705F5-6843-416F-990A-2DE0067927C8}"/>
              </a:ext>
            </a:extLst>
          </p:cNvPr>
          <p:cNvSpPr txBox="1">
            <a:spLocks/>
          </p:cNvSpPr>
          <p:nvPr>
            <p:custDataLst>
              <p:tags r:id="rId11"/>
            </p:custDataLst>
          </p:nvPr>
        </p:nvSpPr>
        <p:spPr>
          <a:xfrm>
            <a:off x="6312992" y="5114359"/>
            <a:ext cx="5744216" cy="184666"/>
          </a:xfrm>
          <a:prstGeom prst="rect">
            <a:avLst/>
          </a:prstGeom>
          <a:noFill/>
          <a:ln w="9525">
            <a:noFill/>
            <a:miter lim="800000"/>
            <a:headEnd/>
            <a:tailEnd/>
          </a:ln>
          <a:effectLst/>
        </p:spPr>
        <p:txBody>
          <a:bodyPr vert="horz" wrap="square" lIns="0" tIns="0" rIns="0" bIns="0" numCol="1" anchor="ctr"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CA" sz="12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Most of the gold is produced in Antofagasta and Atacama </a:t>
            </a:r>
          </a:p>
        </p:txBody>
      </p:sp>
      <p:sp>
        <p:nvSpPr>
          <p:cNvPr id="26" name="Rectangle 25">
            <a:extLst>
              <a:ext uri="{FF2B5EF4-FFF2-40B4-BE49-F238E27FC236}">
                <a16:creationId xmlns:a16="http://schemas.microsoft.com/office/drawing/2014/main" id="{8153BFA0-ED1B-D90A-7281-186BCCA8734C}"/>
              </a:ext>
            </a:extLst>
          </p:cNvPr>
          <p:cNvSpPr/>
          <p:nvPr>
            <p:custDataLst>
              <p:tags r:id="rId12"/>
            </p:custDataLst>
          </p:nvPr>
        </p:nvSpPr>
        <p:spPr bwMode="auto">
          <a:xfrm>
            <a:off x="3868739" y="5346700"/>
            <a:ext cx="123825" cy="123825"/>
          </a:xfrm>
          <a:prstGeom prst="rect">
            <a:avLst/>
          </a:prstGeom>
          <a:solidFill>
            <a:schemeClr val="accent3"/>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pt-BR" sz="1600" b="0" i="0" u="none" strike="noStrike" kern="1200" cap="none" spc="0" normalizeH="0" baseline="0" noProof="0" dirty="0" err="1">
              <a:ln>
                <a:noFill/>
              </a:ln>
              <a:solidFill>
                <a:srgbClr val="FFFFFF"/>
              </a:solidFill>
              <a:effectLst/>
              <a:uLnTx/>
              <a:uFillTx/>
              <a:latin typeface="Calibri" panose="020F0502020204030204" pitchFamily="34" charset="0"/>
              <a:ea typeface="+mn-ea"/>
              <a:cs typeface="+mn-cs"/>
            </a:endParaRPr>
          </a:p>
        </p:txBody>
      </p:sp>
      <p:sp>
        <p:nvSpPr>
          <p:cNvPr id="40" name="Rectangle 39">
            <a:extLst>
              <a:ext uri="{FF2B5EF4-FFF2-40B4-BE49-F238E27FC236}">
                <a16:creationId xmlns:a16="http://schemas.microsoft.com/office/drawing/2014/main" id="{ABFFE11A-18BF-8CDA-8C47-AFC4D074282E}"/>
              </a:ext>
            </a:extLst>
          </p:cNvPr>
          <p:cNvSpPr/>
          <p:nvPr>
            <p:custDataLst>
              <p:tags r:id="rId13"/>
            </p:custDataLst>
          </p:nvPr>
        </p:nvSpPr>
        <p:spPr bwMode="auto">
          <a:xfrm>
            <a:off x="4710114" y="5346700"/>
            <a:ext cx="123825" cy="123825"/>
          </a:xfrm>
          <a:prstGeom prst="rect">
            <a:avLst/>
          </a:prstGeom>
          <a:solidFill>
            <a:schemeClr val="accent1"/>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pt-BR" sz="1600" b="0" i="0" u="none" strike="noStrike" kern="1200" cap="none" spc="0" normalizeH="0" baseline="0" noProof="0" dirty="0" err="1">
              <a:ln>
                <a:noFill/>
              </a:ln>
              <a:solidFill>
                <a:srgbClr val="FFFFFF"/>
              </a:solidFill>
              <a:effectLst/>
              <a:uLnTx/>
              <a:uFillTx/>
              <a:latin typeface="Calibri" panose="020F0502020204030204" pitchFamily="34" charset="0"/>
              <a:ea typeface="+mn-ea"/>
              <a:cs typeface="+mn-cs"/>
            </a:endParaRPr>
          </a:p>
        </p:txBody>
      </p:sp>
      <p:sp>
        <p:nvSpPr>
          <p:cNvPr id="44" name="Text Placeholder 2">
            <a:extLst>
              <a:ext uri="{FF2B5EF4-FFF2-40B4-BE49-F238E27FC236}">
                <a16:creationId xmlns:a16="http://schemas.microsoft.com/office/drawing/2014/main" id="{9460A1D7-D3E8-0A62-CBB5-226D67100E47}"/>
              </a:ext>
            </a:extLst>
          </p:cNvPr>
          <p:cNvSpPr>
            <a:spLocks noGrp="1"/>
          </p:cNvSpPr>
          <p:nvPr>
            <p:custDataLst>
              <p:tags r:id="rId14"/>
            </p:custDataLst>
          </p:nvPr>
        </p:nvSpPr>
        <p:spPr bwMode="auto">
          <a:xfrm>
            <a:off x="4043363" y="5345113"/>
            <a:ext cx="5651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CFD9687A-E157-48A4-B000-F980DBB88AEF}" type="datetime'G''o''''''''''''''''''ld'''' m''ini''''''''''''n''g'''">
              <a:rPr kumimoji="0" lang="pt-BR" altLang="en-US" sz="900" b="0" i="0" u="none" strike="noStrike" kern="1200" cap="none" spc="0" normalizeH="0" baseline="0" noProof="0" smtClean="0">
                <a:ln>
                  <a:noFill/>
                </a:ln>
                <a:solidFill>
                  <a:srgbClr val="000000"/>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Gold mining</a:t>
            </a:fld>
            <a:endParaRPr kumimoji="0" lang="pt-BR" sz="9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endParaRPr>
          </a:p>
        </p:txBody>
      </p:sp>
      <p:sp>
        <p:nvSpPr>
          <p:cNvPr id="45" name="Text Placeholder 2">
            <a:extLst>
              <a:ext uri="{FF2B5EF4-FFF2-40B4-BE49-F238E27FC236}">
                <a16:creationId xmlns:a16="http://schemas.microsoft.com/office/drawing/2014/main" id="{8E145F4B-153E-0965-5F7E-EB23AB5430C9}"/>
              </a:ext>
            </a:extLst>
          </p:cNvPr>
          <p:cNvSpPr>
            <a:spLocks noGrp="1"/>
          </p:cNvSpPr>
          <p:nvPr>
            <p:custDataLst>
              <p:tags r:id="rId15"/>
            </p:custDataLst>
          </p:nvPr>
        </p:nvSpPr>
        <p:spPr bwMode="auto">
          <a:xfrm>
            <a:off x="4884738" y="5345113"/>
            <a:ext cx="6175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1E82F7BC-63FB-44EB-99DD-3F4C92115308}" type="datetime'''O''''''''''the''''''''''''''''r mi''''n''''i''''''''n''g'">
              <a:rPr kumimoji="0" lang="pt-BR" altLang="en-US" sz="900" b="0" i="0" u="none" strike="noStrike" kern="1200" cap="none" spc="0" normalizeH="0" baseline="0" noProof="0" smtClean="0">
                <a:ln>
                  <a:noFill/>
                </a:ln>
                <a:solidFill>
                  <a:srgbClr val="000000"/>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Other mining</a:t>
            </a:fld>
            <a:endParaRPr kumimoji="0" lang="pt-BR" sz="9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endParaRPr>
          </a:p>
        </p:txBody>
      </p:sp>
      <p:graphicFrame>
        <p:nvGraphicFramePr>
          <p:cNvPr id="27" name="Chart 26">
            <a:extLst>
              <a:ext uri="{FF2B5EF4-FFF2-40B4-BE49-F238E27FC236}">
                <a16:creationId xmlns:a16="http://schemas.microsoft.com/office/drawing/2014/main" id="{BE1473D4-6060-D5FE-B669-0ED251595F97}"/>
              </a:ext>
            </a:extLst>
          </p:cNvPr>
          <p:cNvGraphicFramePr/>
          <p:nvPr>
            <p:custDataLst>
              <p:tags r:id="rId16"/>
            </p:custDataLst>
          </p:nvPr>
        </p:nvGraphicFramePr>
        <p:xfrm>
          <a:off x="344488" y="5683250"/>
          <a:ext cx="5359400" cy="523875"/>
        </p:xfrm>
        <a:graphic>
          <a:graphicData uri="http://schemas.openxmlformats.org/drawingml/2006/chart">
            <c:chart xmlns:c="http://schemas.openxmlformats.org/drawingml/2006/chart" xmlns:r="http://schemas.openxmlformats.org/officeDocument/2006/relationships" r:id="rId68"/>
          </a:graphicData>
        </a:graphic>
      </p:graphicFrame>
      <p:sp>
        <p:nvSpPr>
          <p:cNvPr id="59" name="Text Placeholder 2">
            <a:extLst>
              <a:ext uri="{FF2B5EF4-FFF2-40B4-BE49-F238E27FC236}">
                <a16:creationId xmlns:a16="http://schemas.microsoft.com/office/drawing/2014/main" id="{6C0CF079-AEAB-F335-31EE-168BE0B31FEC}"/>
              </a:ext>
            </a:extLst>
          </p:cNvPr>
          <p:cNvSpPr>
            <a:spLocks noGrp="1"/>
          </p:cNvSpPr>
          <p:nvPr>
            <p:custDataLst>
              <p:tags r:id="rId17"/>
            </p:custDataLst>
          </p:nvPr>
        </p:nvSpPr>
        <p:spPr bwMode="gray">
          <a:xfrm>
            <a:off x="847725" y="5702300"/>
            <a:ext cx="196850" cy="152400"/>
          </a:xfrm>
          <a:prstGeom prst="rect">
            <a:avLst/>
          </a:prstGeom>
          <a:solidFill>
            <a:schemeClr val="accent3"/>
          </a:solidFill>
          <a:ln>
            <a:noFill/>
          </a:ln>
          <a:effec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13EF16DD-E9B2-4561-96C9-D6100CBB380B}" type="datetime'''''''''''''''''''''''''''0''''''''.''''''''''2'''''''''''''">
              <a:rPr kumimoji="0" lang="pt-BR" altLang="en-US" sz="1000" b="0" i="0" u="none" strike="noStrike" kern="1200" cap="none" spc="0" normalizeH="0" baseline="0" noProof="0" smtClean="0">
                <a:ln>
                  <a:noFill/>
                </a:ln>
                <a:solidFill>
                  <a:srgbClr val="FFFFFF"/>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0.2</a:t>
            </a:fld>
            <a:endParaRPr kumimoji="0" lang="pt-BR" sz="1000" b="0"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endParaRPr>
          </a:p>
        </p:txBody>
      </p:sp>
      <p:sp>
        <p:nvSpPr>
          <p:cNvPr id="69" name="Text Placeholder 2">
            <a:extLst>
              <a:ext uri="{FF2B5EF4-FFF2-40B4-BE49-F238E27FC236}">
                <a16:creationId xmlns:a16="http://schemas.microsoft.com/office/drawing/2014/main" id="{757A9A4F-4961-86FC-AC9D-3FC11F38A742}"/>
              </a:ext>
            </a:extLst>
          </p:cNvPr>
          <p:cNvSpPr>
            <a:spLocks noGrp="1"/>
          </p:cNvSpPr>
          <p:nvPr>
            <p:custDataLst>
              <p:tags r:id="rId18"/>
            </p:custDataLst>
          </p:nvPr>
        </p:nvSpPr>
        <p:spPr bwMode="auto">
          <a:xfrm>
            <a:off x="809625" y="6167438"/>
            <a:ext cx="2730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0E1A8222-B5A6-48E4-8A6D-84CBC8B66705}" type="datetime'''''''''''2''''''''''''''''''''''''''''''''0''''18'''''''''''">
              <a:rPr kumimoji="0" lang="pt-BR" altLang="en-US" sz="1000" b="0" i="0" u="none" strike="noStrike" kern="1200" cap="none" spc="0" normalizeH="0" baseline="0" noProof="0" smtClean="0">
                <a:ln>
                  <a:noFill/>
                </a:ln>
                <a:solidFill>
                  <a:srgbClr val="000000"/>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18</a:t>
            </a:fld>
            <a:endParaRPr kumimoji="0" lang="pt-BR" sz="10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endParaRPr>
          </a:p>
        </p:txBody>
      </p:sp>
      <p:sp>
        <p:nvSpPr>
          <p:cNvPr id="70" name="Text Placeholder 2">
            <a:extLst>
              <a:ext uri="{FF2B5EF4-FFF2-40B4-BE49-F238E27FC236}">
                <a16:creationId xmlns:a16="http://schemas.microsoft.com/office/drawing/2014/main" id="{C829FA39-DA6F-82FF-D66D-3F5CB6E6D328}"/>
              </a:ext>
            </a:extLst>
          </p:cNvPr>
          <p:cNvSpPr>
            <a:spLocks noGrp="1"/>
          </p:cNvSpPr>
          <p:nvPr>
            <p:custDataLst>
              <p:tags r:id="rId19"/>
            </p:custDataLst>
          </p:nvPr>
        </p:nvSpPr>
        <p:spPr bwMode="gray">
          <a:xfrm>
            <a:off x="1885950" y="5719763"/>
            <a:ext cx="196850" cy="152400"/>
          </a:xfrm>
          <a:prstGeom prst="rect">
            <a:avLst/>
          </a:prstGeom>
          <a:solidFill>
            <a:schemeClr val="accent3"/>
          </a:solidFill>
          <a:ln>
            <a:noFill/>
          </a:ln>
          <a:effec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2C310485-1446-495D-BFD1-3EFC06FA0175}" type="datetime'''''''''''''''''''''''''''0''''''.''''''''''''''''''''3'''''">
              <a:rPr kumimoji="0" lang="pt-BR" altLang="en-US" sz="1000" b="0" i="0" u="none" strike="noStrike" kern="1200" cap="none" spc="0" normalizeH="0" baseline="0" noProof="0" smtClean="0">
                <a:ln>
                  <a:noFill/>
                </a:ln>
                <a:solidFill>
                  <a:srgbClr val="FFFFFF"/>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0.3</a:t>
            </a:fld>
            <a:endParaRPr kumimoji="0" lang="pt-BR" sz="1000" b="0"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endParaRPr>
          </a:p>
        </p:txBody>
      </p:sp>
      <p:sp>
        <p:nvSpPr>
          <p:cNvPr id="63" name="Text Placeholder 2">
            <a:extLst>
              <a:ext uri="{FF2B5EF4-FFF2-40B4-BE49-F238E27FC236}">
                <a16:creationId xmlns:a16="http://schemas.microsoft.com/office/drawing/2014/main" id="{02DBBEF8-168D-E242-2E5A-68ED86AFBF3C}"/>
              </a:ext>
            </a:extLst>
          </p:cNvPr>
          <p:cNvSpPr>
            <a:spLocks noGrp="1"/>
          </p:cNvSpPr>
          <p:nvPr>
            <p:custDataLst>
              <p:tags r:id="rId20"/>
            </p:custDataLst>
          </p:nvPr>
        </p:nvSpPr>
        <p:spPr bwMode="auto">
          <a:xfrm>
            <a:off x="1912938" y="6167438"/>
            <a:ext cx="1428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D45D1B56-59A3-4A92-A416-1532367D4132}" type="datetime'''''19'''''''''''''''''''''''''''''''''''">
              <a:rPr kumimoji="0" lang="pt-BR" altLang="en-US" sz="1000" b="0" i="0" u="none" strike="noStrike" kern="1200" cap="none" spc="0" normalizeH="0" baseline="0" noProof="0" smtClean="0">
                <a:ln>
                  <a:noFill/>
                </a:ln>
                <a:solidFill>
                  <a:srgbClr val="000000"/>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19</a:t>
            </a:fld>
            <a:endParaRPr kumimoji="0" lang="pt-BR" sz="10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endParaRPr>
          </a:p>
        </p:txBody>
      </p:sp>
      <p:sp>
        <p:nvSpPr>
          <p:cNvPr id="58" name="Text Placeholder 2">
            <a:extLst>
              <a:ext uri="{FF2B5EF4-FFF2-40B4-BE49-F238E27FC236}">
                <a16:creationId xmlns:a16="http://schemas.microsoft.com/office/drawing/2014/main" id="{1AF98142-D5AA-16D6-D447-D014221F0DBE}"/>
              </a:ext>
            </a:extLst>
          </p:cNvPr>
          <p:cNvSpPr>
            <a:spLocks noGrp="1"/>
          </p:cNvSpPr>
          <p:nvPr>
            <p:custDataLst>
              <p:tags r:id="rId21"/>
            </p:custDataLst>
          </p:nvPr>
        </p:nvSpPr>
        <p:spPr bwMode="gray">
          <a:xfrm>
            <a:off x="2925763" y="5695950"/>
            <a:ext cx="196850" cy="152400"/>
          </a:xfrm>
          <a:prstGeom prst="rect">
            <a:avLst/>
          </a:prstGeom>
          <a:solidFill>
            <a:schemeClr val="accent3"/>
          </a:solidFill>
          <a:ln>
            <a:noFill/>
          </a:ln>
          <a:effec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91D03A11-E1A0-4083-942B-697935868CE9}" type="datetime'''''''''''''''''0''.''''''''''''''''''3'''''''''''">
              <a:rPr kumimoji="0" lang="pt-BR" altLang="en-US" sz="1000" b="0" i="0" u="none" strike="noStrike" kern="1200" cap="none" spc="0" normalizeH="0" baseline="0" noProof="0" smtClean="0">
                <a:ln>
                  <a:noFill/>
                </a:ln>
                <a:solidFill>
                  <a:srgbClr val="FFFFFF"/>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0.3</a:t>
            </a:fld>
            <a:endParaRPr kumimoji="0" lang="pt-BR" sz="1000" b="0"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endParaRPr>
          </a:p>
        </p:txBody>
      </p:sp>
      <p:sp>
        <p:nvSpPr>
          <p:cNvPr id="53" name="Text Placeholder 2">
            <a:extLst>
              <a:ext uri="{FF2B5EF4-FFF2-40B4-BE49-F238E27FC236}">
                <a16:creationId xmlns:a16="http://schemas.microsoft.com/office/drawing/2014/main" id="{76EF615D-74F3-82BB-467C-58CE260C02BC}"/>
              </a:ext>
            </a:extLst>
          </p:cNvPr>
          <p:cNvSpPr>
            <a:spLocks noGrp="1"/>
          </p:cNvSpPr>
          <p:nvPr>
            <p:custDataLst>
              <p:tags r:id="rId22"/>
            </p:custDataLst>
          </p:nvPr>
        </p:nvSpPr>
        <p:spPr bwMode="auto">
          <a:xfrm>
            <a:off x="2952750" y="6167438"/>
            <a:ext cx="1428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F17FD67C-2897-4C72-ABAC-8FD7B2ACCD16}" type="datetime'''''''''''2''''''''''''''''''''0'''''''''''''''">
              <a:rPr kumimoji="0" lang="pt-BR" altLang="en-US" sz="1000" b="0" i="0" u="none" strike="noStrike" kern="1200" cap="none" spc="0" normalizeH="0" baseline="0" noProof="0" smtClean="0">
                <a:ln>
                  <a:noFill/>
                </a:ln>
                <a:solidFill>
                  <a:srgbClr val="000000"/>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a:t>
            </a:fld>
            <a:endParaRPr kumimoji="0" lang="pt-BR" sz="10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endParaRPr>
          </a:p>
        </p:txBody>
      </p:sp>
      <p:sp>
        <p:nvSpPr>
          <p:cNvPr id="71" name="Text Placeholder 2">
            <a:extLst>
              <a:ext uri="{FF2B5EF4-FFF2-40B4-BE49-F238E27FC236}">
                <a16:creationId xmlns:a16="http://schemas.microsoft.com/office/drawing/2014/main" id="{C99CCD94-9E83-4771-0290-AD731B6B2FE0}"/>
              </a:ext>
            </a:extLst>
          </p:cNvPr>
          <p:cNvSpPr>
            <a:spLocks noGrp="1"/>
          </p:cNvSpPr>
          <p:nvPr>
            <p:custDataLst>
              <p:tags r:id="rId23"/>
            </p:custDataLst>
          </p:nvPr>
        </p:nvSpPr>
        <p:spPr bwMode="gray">
          <a:xfrm>
            <a:off x="3963988" y="5735638"/>
            <a:ext cx="196850" cy="152400"/>
          </a:xfrm>
          <a:prstGeom prst="rect">
            <a:avLst/>
          </a:prstGeom>
          <a:solidFill>
            <a:schemeClr val="accent3"/>
          </a:solidFill>
          <a:ln>
            <a:noFill/>
          </a:ln>
          <a:effec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C4E989F6-551D-4DE1-B707-8712DF37E1BC}" type="datetime'''''''''''''''''''''''''''0''.''''''''''''''''''''''''2'">
              <a:rPr kumimoji="0" lang="pt-BR" altLang="en-US" sz="1000" b="0" i="0" u="none" strike="noStrike" kern="1200" cap="none" spc="0" normalizeH="0" baseline="0" noProof="0" smtClean="0">
                <a:ln>
                  <a:noFill/>
                </a:ln>
                <a:solidFill>
                  <a:srgbClr val="FFFFFF"/>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0.2</a:t>
            </a:fld>
            <a:endParaRPr kumimoji="0" lang="pt-BR" sz="1000" b="0"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endParaRPr>
          </a:p>
        </p:txBody>
      </p:sp>
      <p:sp>
        <p:nvSpPr>
          <p:cNvPr id="73" name="Text Placeholder 2">
            <a:extLst>
              <a:ext uri="{FF2B5EF4-FFF2-40B4-BE49-F238E27FC236}">
                <a16:creationId xmlns:a16="http://schemas.microsoft.com/office/drawing/2014/main" id="{605BFAE5-9BA1-A9F6-5551-448877CBADB0}"/>
              </a:ext>
            </a:extLst>
          </p:cNvPr>
          <p:cNvSpPr>
            <a:spLocks noGrp="1"/>
          </p:cNvSpPr>
          <p:nvPr>
            <p:custDataLst>
              <p:tags r:id="rId24"/>
            </p:custDataLst>
          </p:nvPr>
        </p:nvSpPr>
        <p:spPr bwMode="auto">
          <a:xfrm>
            <a:off x="3990975" y="6167438"/>
            <a:ext cx="1428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5C738A93-CA81-43BE-9B8D-28CD29A68858}" type="datetime'''''''''''2''''''''''''1'''''''''''''''''''">
              <a:rPr kumimoji="0" lang="pt-BR" altLang="en-US" sz="1000" b="0" i="0" u="none" strike="noStrike" kern="1200" cap="none" spc="0" normalizeH="0" baseline="0" noProof="0" smtClean="0">
                <a:ln>
                  <a:noFill/>
                </a:ln>
                <a:solidFill>
                  <a:srgbClr val="000000"/>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1</a:t>
            </a:fld>
            <a:endParaRPr kumimoji="0" lang="pt-BR" sz="10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endParaRPr>
          </a:p>
        </p:txBody>
      </p:sp>
      <p:sp>
        <p:nvSpPr>
          <p:cNvPr id="60" name="Text Placeholder 2">
            <a:extLst>
              <a:ext uri="{FF2B5EF4-FFF2-40B4-BE49-F238E27FC236}">
                <a16:creationId xmlns:a16="http://schemas.microsoft.com/office/drawing/2014/main" id="{6952D2D0-679B-EE0F-6565-C08EC8F9EDCD}"/>
              </a:ext>
            </a:extLst>
          </p:cNvPr>
          <p:cNvSpPr>
            <a:spLocks noGrp="1"/>
          </p:cNvSpPr>
          <p:nvPr>
            <p:custDataLst>
              <p:tags r:id="rId25"/>
            </p:custDataLst>
          </p:nvPr>
        </p:nvSpPr>
        <p:spPr bwMode="gray">
          <a:xfrm>
            <a:off x="5003800" y="5735638"/>
            <a:ext cx="196850" cy="152400"/>
          </a:xfrm>
          <a:prstGeom prst="rect">
            <a:avLst/>
          </a:prstGeom>
          <a:solidFill>
            <a:schemeClr val="accent3"/>
          </a:solidFill>
          <a:ln>
            <a:noFill/>
          </a:ln>
          <a:effec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8B23AAEA-7753-4FB6-AD9C-B82EBAA0572A}" type="datetime'''0''''''''''''''''''''.''''''''''''''''''''''1'''''">
              <a:rPr kumimoji="0" lang="pt-BR" altLang="en-US" sz="1000" b="0" i="0" u="none" strike="noStrike" kern="1200" cap="none" spc="0" normalizeH="0" baseline="0" noProof="0" smtClean="0">
                <a:ln>
                  <a:noFill/>
                </a:ln>
                <a:solidFill>
                  <a:srgbClr val="FFFFFF"/>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0.1</a:t>
            </a:fld>
            <a:endParaRPr kumimoji="0" lang="pt-BR" sz="1000" b="0"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endParaRPr>
          </a:p>
        </p:txBody>
      </p:sp>
      <p:sp>
        <p:nvSpPr>
          <p:cNvPr id="74" name="Text Placeholder 2">
            <a:extLst>
              <a:ext uri="{FF2B5EF4-FFF2-40B4-BE49-F238E27FC236}">
                <a16:creationId xmlns:a16="http://schemas.microsoft.com/office/drawing/2014/main" id="{5C8AB9D4-23A4-6267-D72E-5D4D2B621013}"/>
              </a:ext>
            </a:extLst>
          </p:cNvPr>
          <p:cNvSpPr>
            <a:spLocks noGrp="1"/>
          </p:cNvSpPr>
          <p:nvPr>
            <p:custDataLst>
              <p:tags r:id="rId26"/>
            </p:custDataLst>
          </p:nvPr>
        </p:nvSpPr>
        <p:spPr bwMode="auto">
          <a:xfrm>
            <a:off x="4965700" y="6167438"/>
            <a:ext cx="2730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6D39530B-660B-42DB-924D-3270D7ADF377}" type="datetime'''''''2''''''''''''0''''''''''''''''''''2''2'">
              <a:rPr kumimoji="0" lang="pt-BR" altLang="en-US" sz="1000" b="0" i="0" u="none" strike="noStrike" kern="1200" cap="none" spc="0" normalizeH="0" baseline="0" noProof="0" smtClean="0">
                <a:ln>
                  <a:noFill/>
                </a:ln>
                <a:solidFill>
                  <a:srgbClr val="000000"/>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22</a:t>
            </a:fld>
            <a:endParaRPr kumimoji="0" lang="pt-BR" sz="10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endParaRPr>
          </a:p>
        </p:txBody>
      </p:sp>
      <p:sp>
        <p:nvSpPr>
          <p:cNvPr id="75" name="Text Placeholder 2">
            <a:extLst>
              <a:ext uri="{FF2B5EF4-FFF2-40B4-BE49-F238E27FC236}">
                <a16:creationId xmlns:a16="http://schemas.microsoft.com/office/drawing/2014/main" id="{3840D0A7-DF95-D46A-2B66-05FCC06B4C39}"/>
              </a:ext>
            </a:extLst>
          </p:cNvPr>
          <p:cNvSpPr>
            <a:spLocks noGrp="1"/>
          </p:cNvSpPr>
          <p:nvPr>
            <p:custDataLst>
              <p:tags r:id="rId27"/>
            </p:custDataLst>
          </p:nvPr>
        </p:nvSpPr>
        <p:spPr bwMode="gray">
          <a:xfrm>
            <a:off x="847725" y="5565775"/>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3B975C70-051A-4963-AAC1-A80CCB075FD7}" type="datetime'7.''''''''''''''''5'''''">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7.5</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76" name="Text Placeholder 2">
            <a:extLst>
              <a:ext uri="{FF2B5EF4-FFF2-40B4-BE49-F238E27FC236}">
                <a16:creationId xmlns:a16="http://schemas.microsoft.com/office/drawing/2014/main" id="{F28CD8A8-D0B5-7272-A332-3D0B8FC3049F}"/>
              </a:ext>
            </a:extLst>
          </p:cNvPr>
          <p:cNvSpPr>
            <a:spLocks noGrp="1"/>
          </p:cNvSpPr>
          <p:nvPr>
            <p:custDataLst>
              <p:tags r:id="rId28"/>
            </p:custDataLst>
          </p:nvPr>
        </p:nvSpPr>
        <p:spPr bwMode="gray">
          <a:xfrm>
            <a:off x="1885950" y="5583238"/>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9581061C-2955-42A0-A70A-797CA42EAD68}" type="datetime'7''''''''''''''''''''''''.''''''''''''''2'''''''''''''''">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7.2</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80" name="Text Placeholder 2">
            <a:extLst>
              <a:ext uri="{FF2B5EF4-FFF2-40B4-BE49-F238E27FC236}">
                <a16:creationId xmlns:a16="http://schemas.microsoft.com/office/drawing/2014/main" id="{F20754C6-CD75-473F-403A-8DC50C254EF8}"/>
              </a:ext>
            </a:extLst>
          </p:cNvPr>
          <p:cNvSpPr>
            <a:spLocks noGrp="1"/>
          </p:cNvSpPr>
          <p:nvPr>
            <p:custDataLst>
              <p:tags r:id="rId29"/>
            </p:custDataLst>
          </p:nvPr>
        </p:nvSpPr>
        <p:spPr bwMode="gray">
          <a:xfrm>
            <a:off x="2925763" y="5559425"/>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ED72DE25-428E-48E9-ACBA-05326F0AAFCA}" type="datetime'''''7''''''''''''''''''''''''.''''''7'''''''''''''''''''''">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7.7</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81" name="Text Placeholder 2">
            <a:extLst>
              <a:ext uri="{FF2B5EF4-FFF2-40B4-BE49-F238E27FC236}">
                <a16:creationId xmlns:a16="http://schemas.microsoft.com/office/drawing/2014/main" id="{042D86B2-CB3F-91E5-0C90-E7D2EA216A8A}"/>
              </a:ext>
            </a:extLst>
          </p:cNvPr>
          <p:cNvSpPr>
            <a:spLocks noGrp="1"/>
          </p:cNvSpPr>
          <p:nvPr>
            <p:custDataLst>
              <p:tags r:id="rId30"/>
            </p:custDataLst>
          </p:nvPr>
        </p:nvSpPr>
        <p:spPr bwMode="gray">
          <a:xfrm>
            <a:off x="3963988" y="5599113"/>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4EF14FF1-ACC8-44E9-B192-74D345E5F1E1}" type="datetime'''''''''''''''''''''''''''''''''''''6''.''''8'''''''''''''''''">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6.8</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82" name="Text Placeholder 2">
            <a:extLst>
              <a:ext uri="{FF2B5EF4-FFF2-40B4-BE49-F238E27FC236}">
                <a16:creationId xmlns:a16="http://schemas.microsoft.com/office/drawing/2014/main" id="{A714BA8C-ECE0-E1FC-A46C-D62216F2F495}"/>
              </a:ext>
            </a:extLst>
          </p:cNvPr>
          <p:cNvSpPr>
            <a:spLocks noGrp="1"/>
          </p:cNvSpPr>
          <p:nvPr>
            <p:custDataLst>
              <p:tags r:id="rId31"/>
            </p:custDataLst>
          </p:nvPr>
        </p:nvSpPr>
        <p:spPr bwMode="gray">
          <a:xfrm>
            <a:off x="5003800" y="5599113"/>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EF797DBE-CF45-4BAD-8AC8-4E0761F3FECD}" type="datetime'''''''''''''''''''''''''''6.''''''''''''''''8'''''''''''''">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6.8</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5" name="Text Placeholder 2">
            <a:extLst>
              <a:ext uri="{FF2B5EF4-FFF2-40B4-BE49-F238E27FC236}">
                <a16:creationId xmlns:a16="http://schemas.microsoft.com/office/drawing/2014/main" id="{B946D9DD-DA0A-BE42-839C-B2B1D503385A}"/>
              </a:ext>
            </a:extLst>
          </p:cNvPr>
          <p:cNvSpPr>
            <a:spLocks noGrp="1"/>
          </p:cNvSpPr>
          <p:nvPr>
            <p:custDataLst>
              <p:tags r:id="rId32"/>
            </p:custDataLst>
          </p:nvPr>
        </p:nvSpPr>
        <p:spPr bwMode="gray">
          <a:xfrm>
            <a:off x="847725" y="5878513"/>
            <a:ext cx="196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lnSpc>
                <a:spcPct val="100000"/>
              </a:lnSpc>
              <a:spcBef>
                <a:spcPct val="0"/>
              </a:spcBef>
              <a:spcAft>
                <a:spcPct val="0"/>
              </a:spcAft>
              <a:buNone/>
            </a:pPr>
            <a:fld id="{7872ADF9-0471-4B7B-A20C-D50F532FABEC}" type="datetime'''''''''''''''''''''''''7''''.''''3'''''''''">
              <a:rPr lang="pt-BR" altLang="en-US" sz="1000" smtClean="0">
                <a:solidFill>
                  <a:srgbClr val="FFFFFF"/>
                </a:solidFill>
                <a:effectLst/>
                <a:cs typeface="Calibri" panose="020F0502020204030204" pitchFamily="34" charset="0"/>
              </a:rPr>
              <a:pPr marL="0" lvl="0" indent="0" algn="ctr">
                <a:lnSpc>
                  <a:spcPct val="100000"/>
                </a:lnSpc>
                <a:spcBef>
                  <a:spcPct val="0"/>
                </a:spcBef>
                <a:spcAft>
                  <a:spcPct val="0"/>
                </a:spcAft>
                <a:buNone/>
              </a:pPr>
              <a:t>7.3</a:t>
            </a:fld>
            <a:endParaRPr lang="pt-BR" sz="1000" dirty="0">
              <a:solidFill>
                <a:srgbClr val="FFFFFF"/>
              </a:solidFill>
              <a:cs typeface="Calibri" panose="020F0502020204030204" pitchFamily="34" charset="0"/>
            </a:endParaRPr>
          </a:p>
        </p:txBody>
      </p:sp>
      <p:sp>
        <p:nvSpPr>
          <p:cNvPr id="6" name="Text Placeholder 2">
            <a:extLst>
              <a:ext uri="{FF2B5EF4-FFF2-40B4-BE49-F238E27FC236}">
                <a16:creationId xmlns:a16="http://schemas.microsoft.com/office/drawing/2014/main" id="{B946D9DD-DA0A-BE42-839C-B2B1D503385A}"/>
              </a:ext>
            </a:extLst>
          </p:cNvPr>
          <p:cNvSpPr>
            <a:spLocks noGrp="1"/>
          </p:cNvSpPr>
          <p:nvPr>
            <p:custDataLst>
              <p:tags r:id="rId33"/>
            </p:custDataLst>
          </p:nvPr>
        </p:nvSpPr>
        <p:spPr bwMode="gray">
          <a:xfrm>
            <a:off x="1885950" y="5886450"/>
            <a:ext cx="196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lnSpc>
                <a:spcPct val="100000"/>
              </a:lnSpc>
              <a:spcBef>
                <a:spcPct val="0"/>
              </a:spcBef>
              <a:spcAft>
                <a:spcPct val="0"/>
              </a:spcAft>
              <a:buNone/>
            </a:pPr>
            <a:fld id="{5BFB4FC4-1B32-477F-974B-2124BC7E5D62}" type="datetime'''''''''''6''''''''.9'''''''''''''''''''''''''">
              <a:rPr lang="pt-BR" altLang="en-US" sz="1000" smtClean="0">
                <a:solidFill>
                  <a:schemeClr val="bg1"/>
                </a:solidFill>
                <a:effectLst/>
                <a:cs typeface="Calibri" panose="020F0502020204030204" pitchFamily="34" charset="0"/>
              </a:rPr>
              <a:pPr marL="0" lvl="0" indent="0" algn="ctr">
                <a:lnSpc>
                  <a:spcPct val="100000"/>
                </a:lnSpc>
                <a:spcBef>
                  <a:spcPct val="0"/>
                </a:spcBef>
                <a:spcAft>
                  <a:spcPct val="0"/>
                </a:spcAft>
                <a:buNone/>
              </a:pPr>
              <a:t>6.9</a:t>
            </a:fld>
            <a:endParaRPr lang="pt-BR" sz="1000" dirty="0">
              <a:solidFill>
                <a:schemeClr val="bg1"/>
              </a:solidFill>
              <a:cs typeface="Calibri" panose="020F0502020204030204" pitchFamily="34" charset="0"/>
            </a:endParaRPr>
          </a:p>
        </p:txBody>
      </p:sp>
      <p:sp>
        <p:nvSpPr>
          <p:cNvPr id="7" name="Text Placeholder 2">
            <a:extLst>
              <a:ext uri="{FF2B5EF4-FFF2-40B4-BE49-F238E27FC236}">
                <a16:creationId xmlns:a16="http://schemas.microsoft.com/office/drawing/2014/main" id="{B946D9DD-DA0A-BE42-839C-B2B1D503385A}"/>
              </a:ext>
            </a:extLst>
          </p:cNvPr>
          <p:cNvSpPr>
            <a:spLocks noGrp="1"/>
          </p:cNvSpPr>
          <p:nvPr>
            <p:custDataLst>
              <p:tags r:id="rId34"/>
            </p:custDataLst>
          </p:nvPr>
        </p:nvSpPr>
        <p:spPr bwMode="gray">
          <a:xfrm>
            <a:off x="2925763" y="5875338"/>
            <a:ext cx="196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lnSpc>
                <a:spcPct val="100000"/>
              </a:lnSpc>
              <a:spcBef>
                <a:spcPct val="0"/>
              </a:spcBef>
              <a:spcAft>
                <a:spcPct val="0"/>
              </a:spcAft>
              <a:buNone/>
            </a:pPr>
            <a:fld id="{44669E04-DFA4-48BF-8838-2A2C27FF60DF}" type="datetime'''''''7''''''''''''''.''''''4'''''''''''''''''''">
              <a:rPr lang="pt-BR" altLang="en-US" sz="1000" smtClean="0">
                <a:solidFill>
                  <a:srgbClr val="FFFFFF"/>
                </a:solidFill>
                <a:effectLst/>
                <a:cs typeface="Calibri" panose="020F0502020204030204" pitchFamily="34" charset="0"/>
              </a:rPr>
              <a:pPr marL="0" lvl="0" indent="0" algn="ctr">
                <a:lnSpc>
                  <a:spcPct val="100000"/>
                </a:lnSpc>
                <a:spcBef>
                  <a:spcPct val="0"/>
                </a:spcBef>
                <a:spcAft>
                  <a:spcPct val="0"/>
                </a:spcAft>
                <a:buNone/>
              </a:pPr>
              <a:t>7.4</a:t>
            </a:fld>
            <a:endParaRPr lang="pt-BR" sz="1000" dirty="0">
              <a:solidFill>
                <a:srgbClr val="FFFFFF"/>
              </a:solidFill>
              <a:cs typeface="Calibri" panose="020F0502020204030204" pitchFamily="34" charset="0"/>
            </a:endParaRPr>
          </a:p>
        </p:txBody>
      </p:sp>
      <p:sp>
        <p:nvSpPr>
          <p:cNvPr id="23" name="Text Placeholder 2">
            <a:extLst>
              <a:ext uri="{FF2B5EF4-FFF2-40B4-BE49-F238E27FC236}">
                <a16:creationId xmlns:a16="http://schemas.microsoft.com/office/drawing/2014/main" id="{B946D9DD-DA0A-BE42-839C-B2B1D503385A}"/>
              </a:ext>
            </a:extLst>
          </p:cNvPr>
          <p:cNvSpPr>
            <a:spLocks noGrp="1"/>
          </p:cNvSpPr>
          <p:nvPr>
            <p:custDataLst>
              <p:tags r:id="rId35"/>
            </p:custDataLst>
          </p:nvPr>
        </p:nvSpPr>
        <p:spPr bwMode="gray">
          <a:xfrm>
            <a:off x="3963988" y="5894388"/>
            <a:ext cx="196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lnSpc>
                <a:spcPct val="100000"/>
              </a:lnSpc>
              <a:spcBef>
                <a:spcPct val="0"/>
              </a:spcBef>
              <a:spcAft>
                <a:spcPct val="0"/>
              </a:spcAft>
              <a:buNone/>
            </a:pPr>
            <a:fld id="{F749883F-DFED-471E-856E-89E2F9A41349}" type="datetime'''6''''''''''''''''''''.''''''6'''''''''''''''''''''''''''''">
              <a:rPr lang="pt-BR" altLang="en-US" sz="1000" smtClean="0">
                <a:solidFill>
                  <a:srgbClr val="FFFFFF"/>
                </a:solidFill>
                <a:effectLst/>
                <a:cs typeface="Calibri" panose="020F0502020204030204" pitchFamily="34" charset="0"/>
              </a:rPr>
              <a:pPr marL="0" lvl="0" indent="0" algn="ctr">
                <a:lnSpc>
                  <a:spcPct val="100000"/>
                </a:lnSpc>
                <a:spcBef>
                  <a:spcPct val="0"/>
                </a:spcBef>
                <a:spcAft>
                  <a:spcPct val="0"/>
                </a:spcAft>
                <a:buNone/>
              </a:pPr>
              <a:t>6.6</a:t>
            </a:fld>
            <a:endParaRPr lang="pt-BR" sz="1000" dirty="0">
              <a:solidFill>
                <a:srgbClr val="FFFFFF"/>
              </a:solidFill>
              <a:cs typeface="Calibri" panose="020F0502020204030204" pitchFamily="34" charset="0"/>
            </a:endParaRPr>
          </a:p>
        </p:txBody>
      </p:sp>
      <p:sp>
        <p:nvSpPr>
          <p:cNvPr id="24" name="Text Placeholder 2">
            <a:extLst>
              <a:ext uri="{FF2B5EF4-FFF2-40B4-BE49-F238E27FC236}">
                <a16:creationId xmlns:a16="http://schemas.microsoft.com/office/drawing/2014/main" id="{B946D9DD-DA0A-BE42-839C-B2B1D503385A}"/>
              </a:ext>
            </a:extLst>
          </p:cNvPr>
          <p:cNvSpPr>
            <a:spLocks noGrp="1"/>
          </p:cNvSpPr>
          <p:nvPr>
            <p:custDataLst>
              <p:tags r:id="rId36"/>
            </p:custDataLst>
          </p:nvPr>
        </p:nvSpPr>
        <p:spPr bwMode="gray">
          <a:xfrm>
            <a:off x="5003800" y="5892800"/>
            <a:ext cx="196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lnSpc>
                <a:spcPct val="100000"/>
              </a:lnSpc>
              <a:spcBef>
                <a:spcPct val="0"/>
              </a:spcBef>
              <a:spcAft>
                <a:spcPct val="0"/>
              </a:spcAft>
              <a:buNone/>
            </a:pPr>
            <a:fld id="{651A9AB2-77A8-43F6-BB8D-859C51BBEBF0}" type="datetime'''''''''''6''''.''6'''''''''''''''''''''''''''">
              <a:rPr lang="pt-BR" altLang="en-US" sz="1000" smtClean="0">
                <a:solidFill>
                  <a:srgbClr val="FFFFFF"/>
                </a:solidFill>
                <a:effectLst/>
                <a:cs typeface="Calibri" panose="020F0502020204030204" pitchFamily="34" charset="0"/>
              </a:rPr>
              <a:pPr marL="0" lvl="0" indent="0" algn="ctr">
                <a:lnSpc>
                  <a:spcPct val="100000"/>
                </a:lnSpc>
                <a:spcBef>
                  <a:spcPct val="0"/>
                </a:spcBef>
                <a:spcAft>
                  <a:spcPct val="0"/>
                </a:spcAft>
                <a:buNone/>
              </a:pPr>
              <a:t>6.6</a:t>
            </a:fld>
            <a:endParaRPr lang="pt-BR" sz="1000" dirty="0">
              <a:solidFill>
                <a:srgbClr val="FFFFFF"/>
              </a:solidFill>
              <a:cs typeface="Calibri" panose="020F0502020204030204" pitchFamily="34" charset="0"/>
            </a:endParaRPr>
          </a:p>
        </p:txBody>
      </p:sp>
      <p:sp>
        <p:nvSpPr>
          <p:cNvPr id="83" name="AutoShape 250">
            <a:extLst>
              <a:ext uri="{FF2B5EF4-FFF2-40B4-BE49-F238E27FC236}">
                <a16:creationId xmlns:a16="http://schemas.microsoft.com/office/drawing/2014/main" id="{34C397C2-5ACE-3836-3F12-BDB033F456CB}"/>
              </a:ext>
            </a:extLst>
          </p:cNvPr>
          <p:cNvSpPr>
            <a:spLocks noChangeArrowheads="1"/>
          </p:cNvSpPr>
          <p:nvPr/>
        </p:nvSpPr>
        <p:spPr bwMode="auto">
          <a:xfrm>
            <a:off x="6300402" y="5337175"/>
            <a:ext cx="5483996" cy="153888"/>
          </a:xfrm>
          <a:prstGeom prst="leftRightArrow">
            <a:avLst>
              <a:gd name="adj1" fmla="val 100000"/>
              <a:gd name="adj2" fmla="val 0"/>
            </a:avLst>
          </a:prstGeom>
          <a:noFill/>
          <a:ln w="9525">
            <a:noFill/>
            <a:miter lim="800000"/>
            <a:headEnd/>
            <a:tailEnd/>
          </a:ln>
          <a:effectLst/>
        </p:spPr>
        <p:txBody>
          <a:bodyPr vert="horz" wrap="square" lIns="0" tIns="0" rIns="0" bIns="0" numCol="1" anchor="ctr" anchorCtr="0" compatLnSpc="1">
            <a:prstTxWarp prst="textNoShape">
              <a:avLst/>
            </a:prstTxWarp>
            <a:spAutoFit/>
          </a:body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Gold production by state (2022), </a:t>
            </a: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a:cs typeface="Calibri" panose="020F0502020204030204" pitchFamily="34" charset="0"/>
              </a:rPr>
              <a:t>koz</a:t>
            </a:r>
            <a:endPar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cxnSp>
        <p:nvCxnSpPr>
          <p:cNvPr id="84" name="Straight Connector 83">
            <a:extLst>
              <a:ext uri="{FF2B5EF4-FFF2-40B4-BE49-F238E27FC236}">
                <a16:creationId xmlns:a16="http://schemas.microsoft.com/office/drawing/2014/main" id="{37DA0B7D-399E-EC7E-6E84-A1570D119940}"/>
              </a:ext>
            </a:extLst>
          </p:cNvPr>
          <p:cNvCxnSpPr/>
          <p:nvPr>
            <p:custDataLst>
              <p:tags r:id="rId37"/>
            </p:custDataLst>
          </p:nvPr>
        </p:nvCxnSpPr>
        <p:spPr bwMode="auto">
          <a:xfrm>
            <a:off x="7004050" y="6062663"/>
            <a:ext cx="39528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5" name="Straight Connector 84">
            <a:extLst>
              <a:ext uri="{FF2B5EF4-FFF2-40B4-BE49-F238E27FC236}">
                <a16:creationId xmlns:a16="http://schemas.microsoft.com/office/drawing/2014/main" id="{3BB4D743-9DBB-C39A-0953-23149ACC0F3F}"/>
              </a:ext>
            </a:extLst>
          </p:cNvPr>
          <p:cNvCxnSpPr/>
          <p:nvPr>
            <p:custDataLst>
              <p:tags r:id="rId38"/>
            </p:custDataLst>
          </p:nvPr>
        </p:nvCxnSpPr>
        <p:spPr bwMode="auto">
          <a:xfrm>
            <a:off x="7894638" y="5813425"/>
            <a:ext cx="3937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6" name="Straight Connector 85">
            <a:extLst>
              <a:ext uri="{FF2B5EF4-FFF2-40B4-BE49-F238E27FC236}">
                <a16:creationId xmlns:a16="http://schemas.microsoft.com/office/drawing/2014/main" id="{732C727C-538F-B904-0729-1544F1F47AB4}"/>
              </a:ext>
            </a:extLst>
          </p:cNvPr>
          <p:cNvCxnSpPr/>
          <p:nvPr>
            <p:custDataLst>
              <p:tags r:id="rId39"/>
            </p:custDataLst>
          </p:nvPr>
        </p:nvCxnSpPr>
        <p:spPr bwMode="auto">
          <a:xfrm>
            <a:off x="8783638" y="5584825"/>
            <a:ext cx="39528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8" name="Straight Connector 87">
            <a:extLst>
              <a:ext uri="{FF2B5EF4-FFF2-40B4-BE49-F238E27FC236}">
                <a16:creationId xmlns:a16="http://schemas.microsoft.com/office/drawing/2014/main" id="{1C938B14-246C-FC55-49FF-2367D93637F1}"/>
              </a:ext>
            </a:extLst>
          </p:cNvPr>
          <p:cNvCxnSpPr/>
          <p:nvPr>
            <p:custDataLst>
              <p:tags r:id="rId40"/>
            </p:custDataLst>
          </p:nvPr>
        </p:nvCxnSpPr>
        <p:spPr bwMode="auto">
          <a:xfrm>
            <a:off x="9674225" y="5537200"/>
            <a:ext cx="39528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7" name="Straight Connector 86">
            <a:extLst>
              <a:ext uri="{FF2B5EF4-FFF2-40B4-BE49-F238E27FC236}">
                <a16:creationId xmlns:a16="http://schemas.microsoft.com/office/drawing/2014/main" id="{D3413014-8170-3D21-7E58-B62706719A73}"/>
              </a:ext>
            </a:extLst>
          </p:cNvPr>
          <p:cNvCxnSpPr/>
          <p:nvPr>
            <p:custDataLst>
              <p:tags r:id="rId41"/>
            </p:custDataLst>
          </p:nvPr>
        </p:nvCxnSpPr>
        <p:spPr bwMode="auto">
          <a:xfrm>
            <a:off x="10564813" y="5491163"/>
            <a:ext cx="3937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54" name="Chart 53">
            <a:extLst>
              <a:ext uri="{FF2B5EF4-FFF2-40B4-BE49-F238E27FC236}">
                <a16:creationId xmlns:a16="http://schemas.microsoft.com/office/drawing/2014/main" id="{CDF46F2B-0DAE-5F11-BA8C-E3A34C162B55}"/>
              </a:ext>
            </a:extLst>
          </p:cNvPr>
          <p:cNvGraphicFramePr/>
          <p:nvPr>
            <p:custDataLst>
              <p:tags r:id="rId42"/>
            </p:custDataLst>
          </p:nvPr>
        </p:nvGraphicFramePr>
        <p:xfrm>
          <a:off x="6229350" y="5265738"/>
          <a:ext cx="5505450" cy="1084262"/>
        </p:xfrm>
        <a:graphic>
          <a:graphicData uri="http://schemas.openxmlformats.org/drawingml/2006/chart">
            <c:chart xmlns:c="http://schemas.openxmlformats.org/drawingml/2006/chart" xmlns:r="http://schemas.openxmlformats.org/officeDocument/2006/relationships" r:id="rId69"/>
          </a:graphicData>
        </a:graphic>
      </p:graphicFrame>
      <p:sp>
        <p:nvSpPr>
          <p:cNvPr id="97" name="Text Placeholder 2">
            <a:extLst>
              <a:ext uri="{FF2B5EF4-FFF2-40B4-BE49-F238E27FC236}">
                <a16:creationId xmlns:a16="http://schemas.microsoft.com/office/drawing/2014/main" id="{B74BE842-2E14-19F7-70DC-E61CC2033077}"/>
              </a:ext>
            </a:extLst>
          </p:cNvPr>
          <p:cNvSpPr>
            <a:spLocks noGrp="1"/>
          </p:cNvSpPr>
          <p:nvPr>
            <p:custDataLst>
              <p:tags r:id="rId43"/>
            </p:custDataLst>
          </p:nvPr>
        </p:nvSpPr>
        <p:spPr bwMode="auto">
          <a:xfrm>
            <a:off x="6254750" y="6167438"/>
            <a:ext cx="1004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6574EF3C-A565-4538-A7DE-10296BBC5C5F}" type="datetime'''''O''''t''h''''''''e''''''rs/u''''''n''''''''speci''fied'">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Others/unspecified</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mn-cs"/>
            </a:endParaRPr>
          </a:p>
        </p:txBody>
      </p:sp>
      <p:sp>
        <p:nvSpPr>
          <p:cNvPr id="90" name="Text Placeholder 2">
            <a:extLst>
              <a:ext uri="{FF2B5EF4-FFF2-40B4-BE49-F238E27FC236}">
                <a16:creationId xmlns:a16="http://schemas.microsoft.com/office/drawing/2014/main" id="{AD8D64EF-4EBE-51AB-EBA3-9326283638E9}"/>
              </a:ext>
            </a:extLst>
          </p:cNvPr>
          <p:cNvSpPr>
            <a:spLocks noGrp="1"/>
          </p:cNvSpPr>
          <p:nvPr>
            <p:custDataLst>
              <p:tags r:id="rId44"/>
            </p:custDataLst>
          </p:nvPr>
        </p:nvSpPr>
        <p:spPr bwMode="auto">
          <a:xfrm>
            <a:off x="7331075" y="6167438"/>
            <a:ext cx="6334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D0D271D7-261A-4A86-B697-A3327C06BCD8}" type="datetime'''''An''''''to''''''fa''''''''''''g''as''''''''''''t''a'''">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Antofagasta</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mn-cs"/>
            </a:endParaRPr>
          </a:p>
        </p:txBody>
      </p:sp>
      <p:sp>
        <p:nvSpPr>
          <p:cNvPr id="107" name="Text Placeholder 2">
            <a:extLst>
              <a:ext uri="{FF2B5EF4-FFF2-40B4-BE49-F238E27FC236}">
                <a16:creationId xmlns:a16="http://schemas.microsoft.com/office/drawing/2014/main" id="{F2339228-06B1-40AD-ABDE-4A7480A79ED3}"/>
              </a:ext>
            </a:extLst>
          </p:cNvPr>
          <p:cNvSpPr>
            <a:spLocks noGrp="1"/>
          </p:cNvSpPr>
          <p:nvPr>
            <p:custDataLst>
              <p:tags r:id="rId45"/>
            </p:custDataLst>
          </p:nvPr>
        </p:nvSpPr>
        <p:spPr bwMode="auto">
          <a:xfrm>
            <a:off x="8304213" y="6167438"/>
            <a:ext cx="4651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B26070CA-3DC5-42D7-8532-B26C7DA6CD57}" type="datetime'Ata''''''''''''''''''c''''a''''m''''''''''''''a'''''''''''''''">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Atacama</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mn-cs"/>
            </a:endParaRPr>
          </a:p>
        </p:txBody>
      </p:sp>
      <p:sp>
        <p:nvSpPr>
          <p:cNvPr id="113" name="Text Placeholder 2">
            <a:extLst>
              <a:ext uri="{FF2B5EF4-FFF2-40B4-BE49-F238E27FC236}">
                <a16:creationId xmlns:a16="http://schemas.microsoft.com/office/drawing/2014/main" id="{625A58FC-E2C5-8E6D-9137-A7BDF5830EDD}"/>
              </a:ext>
            </a:extLst>
          </p:cNvPr>
          <p:cNvSpPr>
            <a:spLocks noGrp="1"/>
          </p:cNvSpPr>
          <p:nvPr>
            <p:custDataLst>
              <p:tags r:id="rId46"/>
            </p:custDataLst>
          </p:nvPr>
        </p:nvSpPr>
        <p:spPr bwMode="gray">
          <a:xfrm>
            <a:off x="9344025" y="5492750"/>
            <a:ext cx="165100" cy="136525"/>
          </a:xfrm>
          <a:prstGeom prst="rect">
            <a:avLst/>
          </a:prstGeom>
          <a:solidFill>
            <a:schemeClr val="accent1"/>
          </a:solidFill>
          <a:ln>
            <a:noFill/>
          </a:ln>
          <a:effec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44CF5377-2D09-4477-A2E0-647528E36337}" type="datetime'''''''''''''''''''8''''6'''''''''''''''''''''''">
              <a:rPr kumimoji="0" lang="pt-BR" altLang="en-US" sz="10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86</a:t>
            </a:fld>
            <a:endParaRPr kumimoji="0" lang="pt-BR" sz="10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6" name="Text Placeholder 2">
            <a:extLst>
              <a:ext uri="{FF2B5EF4-FFF2-40B4-BE49-F238E27FC236}">
                <a16:creationId xmlns:a16="http://schemas.microsoft.com/office/drawing/2014/main" id="{CC75883C-CF41-E77D-62C0-5FE7A329ADA0}"/>
              </a:ext>
            </a:extLst>
          </p:cNvPr>
          <p:cNvSpPr>
            <a:spLocks noGrp="1"/>
          </p:cNvSpPr>
          <p:nvPr>
            <p:custDataLst>
              <p:tags r:id="rId47"/>
            </p:custDataLst>
          </p:nvPr>
        </p:nvSpPr>
        <p:spPr bwMode="auto">
          <a:xfrm>
            <a:off x="9186863" y="6167438"/>
            <a:ext cx="481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CD7FA40C-4CB9-4347-A137-FCBF2FE6A80A}" type="datetime'''''T''''''''''a''''''''r''''''''''a''pa''''''''''c''a'''">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Tarapaca</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mn-cs"/>
            </a:endParaRPr>
          </a:p>
        </p:txBody>
      </p:sp>
      <p:sp>
        <p:nvSpPr>
          <p:cNvPr id="32" name="Text Placeholder 2">
            <a:extLst>
              <a:ext uri="{FF2B5EF4-FFF2-40B4-BE49-F238E27FC236}">
                <a16:creationId xmlns:a16="http://schemas.microsoft.com/office/drawing/2014/main" id="{B946D9DD-DA0A-BE42-839C-B2B1D503385A}"/>
              </a:ext>
            </a:extLst>
          </p:cNvPr>
          <p:cNvSpPr>
            <a:spLocks noGrp="1"/>
          </p:cNvSpPr>
          <p:nvPr>
            <p:custDataLst>
              <p:tags r:id="rId48"/>
            </p:custDataLst>
          </p:nvPr>
        </p:nvSpPr>
        <p:spPr bwMode="gray">
          <a:xfrm>
            <a:off x="10234613" y="5445126"/>
            <a:ext cx="165100" cy="136525"/>
          </a:xfrm>
          <a:prstGeom prst="rect">
            <a:avLst/>
          </a:prstGeom>
          <a:solidFill>
            <a:schemeClr val="accent1"/>
          </a:solidFill>
          <a:ln>
            <a:noFill/>
          </a:ln>
          <a:effec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88058571-31A2-4B43-ADB6-2805DBE00C58}" type="datetime'''''8''''''''''''''''''''''''''''''''''''''''''2'''">
              <a:rPr kumimoji="0" lang="pt-BR" altLang="en-US" sz="10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82</a:t>
            </a:fld>
            <a:endParaRPr kumimoji="0" lang="pt-BR" sz="10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11" name="Text Placeholder 2">
            <a:extLst>
              <a:ext uri="{FF2B5EF4-FFF2-40B4-BE49-F238E27FC236}">
                <a16:creationId xmlns:a16="http://schemas.microsoft.com/office/drawing/2014/main" id="{92E5946F-C9A8-4437-BEDE-979F80BF6991}"/>
              </a:ext>
            </a:extLst>
          </p:cNvPr>
          <p:cNvSpPr>
            <a:spLocks noGrp="1"/>
          </p:cNvSpPr>
          <p:nvPr>
            <p:custDataLst>
              <p:tags r:id="rId49"/>
            </p:custDataLst>
          </p:nvPr>
        </p:nvSpPr>
        <p:spPr bwMode="auto">
          <a:xfrm>
            <a:off x="10088563" y="6167438"/>
            <a:ext cx="4572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BB309B2E-3E55-47AB-8BD2-0CEAB1BFE30F}" type="datetime'''''''Sa''n''t''''''''''''''''i''''''''''''''ago'">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Santiago</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mn-cs"/>
            </a:endParaRPr>
          </a:p>
        </p:txBody>
      </p:sp>
      <p:sp>
        <p:nvSpPr>
          <p:cNvPr id="108" name="Text Placeholder 2">
            <a:extLst>
              <a:ext uri="{FF2B5EF4-FFF2-40B4-BE49-F238E27FC236}">
                <a16:creationId xmlns:a16="http://schemas.microsoft.com/office/drawing/2014/main" id="{EFBE1035-2122-3130-17FC-E15C241D8387}"/>
              </a:ext>
            </a:extLst>
          </p:cNvPr>
          <p:cNvSpPr>
            <a:spLocks noGrp="1"/>
          </p:cNvSpPr>
          <p:nvPr>
            <p:custDataLst>
              <p:tags r:id="rId50"/>
            </p:custDataLst>
          </p:nvPr>
        </p:nvSpPr>
        <p:spPr bwMode="auto">
          <a:xfrm>
            <a:off x="11069638" y="6167438"/>
            <a:ext cx="2730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AC5636C0-30CA-415B-9682-0BB278DAEE02}" type="datetime'''''''''T''''''''''''''''''''''o''''''''t''a''''l'''">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Total</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mn-cs"/>
            </a:endParaRPr>
          </a:p>
        </p:txBody>
      </p:sp>
      <p:sp>
        <p:nvSpPr>
          <p:cNvPr id="52" name="Text Placeholder 2">
            <a:extLst>
              <a:ext uri="{FF2B5EF4-FFF2-40B4-BE49-F238E27FC236}">
                <a16:creationId xmlns:a16="http://schemas.microsoft.com/office/drawing/2014/main" id="{B946D9DD-DA0A-BE42-839C-B2B1D503385A}"/>
              </a:ext>
            </a:extLst>
          </p:cNvPr>
          <p:cNvSpPr>
            <a:spLocks noGrp="1"/>
          </p:cNvSpPr>
          <p:nvPr>
            <p:custDataLst>
              <p:tags r:id="rId51"/>
            </p:custDataLst>
          </p:nvPr>
        </p:nvSpPr>
        <p:spPr bwMode="gray">
          <a:xfrm>
            <a:off x="11042650" y="5329239"/>
            <a:ext cx="3270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4671FD4-CD9F-43F8-88E3-C03E1A7AA014}" type="datetime'1'',''''''1''''''''''''''''''''''4''8'''''''''">
              <a:rPr lang="pt-BR" altLang="en-US" sz="1000" smtClean="0">
                <a:effectLst/>
              </a:rPr>
              <a:pPr marL="0" lvl="0" indent="0" algn="ctr">
                <a:spcBef>
                  <a:spcPct val="0"/>
                </a:spcBef>
                <a:spcAft>
                  <a:spcPct val="0"/>
                </a:spcAft>
                <a:buNone/>
              </a:pPr>
              <a:t>1,148</a:t>
            </a:fld>
            <a:endParaRPr lang="pt-BR" sz="1000" dirty="0"/>
          </a:p>
        </p:txBody>
      </p:sp>
      <p:sp>
        <p:nvSpPr>
          <p:cNvPr id="1024" name="Rectangle 8">
            <a:extLst>
              <a:ext uri="{FF2B5EF4-FFF2-40B4-BE49-F238E27FC236}">
                <a16:creationId xmlns:a16="http://schemas.microsoft.com/office/drawing/2014/main" id="{A3F78508-A964-0314-D537-B58AC27C34DF}"/>
              </a:ext>
            </a:extLst>
          </p:cNvPr>
          <p:cNvSpPr txBox="1">
            <a:spLocks/>
          </p:cNvSpPr>
          <p:nvPr>
            <p:custDataLst>
              <p:tags r:id="rId52"/>
            </p:custDataLst>
          </p:nvPr>
        </p:nvSpPr>
        <p:spPr>
          <a:xfrm>
            <a:off x="6197599" y="1425034"/>
            <a:ext cx="896621" cy="1643286"/>
          </a:xfrm>
          <a:prstGeom prst="rect">
            <a:avLst/>
          </a:prstGeom>
          <a:solidFill>
            <a:schemeClr val="accent1"/>
          </a:solidFill>
          <a:ln w="9525">
            <a:noFill/>
            <a:miter lim="800000"/>
            <a:headEnd/>
            <a:tailEnd/>
          </a:ln>
          <a:effectLst/>
        </p:spPr>
        <p:txBody>
          <a:bodyPr vert="horz" wrap="square" lIns="36576" tIns="76200" rIns="36576" bIns="76200" numCol="1" anchor="ctr"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Gold industry context</a:t>
            </a:r>
            <a:endParaRPr kumimoji="0" lang="en-CA"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endParaRPr>
          </a:p>
        </p:txBody>
      </p:sp>
      <p:sp>
        <p:nvSpPr>
          <p:cNvPr id="1025" name="TextBox 1024">
            <a:extLst>
              <a:ext uri="{FF2B5EF4-FFF2-40B4-BE49-F238E27FC236}">
                <a16:creationId xmlns:a16="http://schemas.microsoft.com/office/drawing/2014/main" id="{DAD314E2-AD5F-2097-3D88-678F0CCF4CBE}"/>
              </a:ext>
            </a:extLst>
          </p:cNvPr>
          <p:cNvSpPr txBox="1">
            <a:spLocks/>
          </p:cNvSpPr>
          <p:nvPr/>
        </p:nvSpPr>
        <p:spPr>
          <a:xfrm>
            <a:off x="7171817" y="1370013"/>
            <a:ext cx="4712209" cy="66941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5425"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Chile is the largest copper producer globally but only the ~30</a:t>
            </a:r>
            <a:r>
              <a:rPr kumimoji="0" lang="en-US" sz="900" b="0" i="0" u="none" strike="noStrike" kern="1200" cap="none" spc="0" normalizeH="0" baseline="3000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th</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largest gold producer – making it a secondary industry in the country; most of Chile’s gold production comes from copper mines, as a by-product – such as Centinela, </a:t>
            </a:r>
            <a:r>
              <a:rPr kumimoji="0" lang="en-US" sz="9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Escondida</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and Candelaria</a:t>
            </a:r>
          </a:p>
          <a:p>
            <a:pPr marL="228600" marR="0" lvl="1" indent="-225425"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However, Chile has large undeveloped gold deposits – such as Norte Abierto and Lobo-</a:t>
            </a:r>
            <a:r>
              <a:rPr kumimoji="0" lang="en-US" sz="9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Marte</a:t>
            </a:r>
            <a:endPar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endParaRPr>
          </a:p>
        </p:txBody>
      </p:sp>
      <p:sp>
        <p:nvSpPr>
          <p:cNvPr id="1026" name="TextBox 1025">
            <a:extLst>
              <a:ext uri="{FF2B5EF4-FFF2-40B4-BE49-F238E27FC236}">
                <a16:creationId xmlns:a16="http://schemas.microsoft.com/office/drawing/2014/main" id="{1E4E2C97-85F2-E614-DACB-CADA4522D9BA}"/>
              </a:ext>
            </a:extLst>
          </p:cNvPr>
          <p:cNvSpPr txBox="1">
            <a:spLocks/>
          </p:cNvSpPr>
          <p:nvPr/>
        </p:nvSpPr>
        <p:spPr>
          <a:xfrm>
            <a:off x="7254089" y="2056924"/>
            <a:ext cx="4554013" cy="153888"/>
          </a:xfrm>
          <a:prstGeom prst="rect">
            <a:avLst/>
          </a:prstGeom>
          <a:noFill/>
          <a:ln w="9525">
            <a:noFill/>
            <a:miter lim="800000"/>
            <a:headEnd/>
            <a:tailEnd/>
          </a:ln>
          <a:effectLst/>
        </p:spPr>
        <p:txBody>
          <a:bodyPr vert="horz" wrap="square" lIns="0" tIns="0" rIns="0" bIns="0" numCol="1" anchor="ctr"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C9A319"/>
              </a:buClr>
              <a:buSzTx/>
              <a:buFontTx/>
              <a:buNone/>
              <a:tabLst/>
              <a:defRPr/>
            </a:pPr>
            <a:r>
              <a:rPr kumimoji="0" lang="en-CA" sz="10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Largest gold mines by production </a:t>
            </a:r>
          </a:p>
        </p:txBody>
      </p:sp>
      <p:cxnSp>
        <p:nvCxnSpPr>
          <p:cNvPr id="1028" name="Straight Connector 1027">
            <a:extLst>
              <a:ext uri="{FF2B5EF4-FFF2-40B4-BE49-F238E27FC236}">
                <a16:creationId xmlns:a16="http://schemas.microsoft.com/office/drawing/2014/main" id="{FF0B593C-D848-9FB4-A4F6-0E12D9A887D3}"/>
              </a:ext>
            </a:extLst>
          </p:cNvPr>
          <p:cNvCxnSpPr>
            <a:cxnSpLocks/>
          </p:cNvCxnSpPr>
          <p:nvPr>
            <p:custDataLst>
              <p:tags r:id="rId53"/>
            </p:custDataLst>
          </p:nvPr>
        </p:nvCxnSpPr>
        <p:spPr>
          <a:xfrm>
            <a:off x="8710559" y="2434531"/>
            <a:ext cx="784899" cy="0"/>
          </a:xfrm>
          <a:prstGeom prst="line">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sp>
        <p:nvSpPr>
          <p:cNvPr id="1029" name="TextBox 1028">
            <a:extLst>
              <a:ext uri="{FF2B5EF4-FFF2-40B4-BE49-F238E27FC236}">
                <a16:creationId xmlns:a16="http://schemas.microsoft.com/office/drawing/2014/main" id="{482CA360-9D79-17B5-9ADF-D4357DEB7783}"/>
              </a:ext>
            </a:extLst>
          </p:cNvPr>
          <p:cNvSpPr txBox="1">
            <a:spLocks/>
          </p:cNvSpPr>
          <p:nvPr/>
        </p:nvSpPr>
        <p:spPr>
          <a:xfrm>
            <a:off x="8710559" y="2272432"/>
            <a:ext cx="401691" cy="1384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Mine</a:t>
            </a:r>
          </a:p>
        </p:txBody>
      </p:sp>
      <p:cxnSp>
        <p:nvCxnSpPr>
          <p:cNvPr id="1030" name="Straight Connector 1029">
            <a:extLst>
              <a:ext uri="{FF2B5EF4-FFF2-40B4-BE49-F238E27FC236}">
                <a16:creationId xmlns:a16="http://schemas.microsoft.com/office/drawing/2014/main" id="{58FAC8FE-427B-945B-18CE-2D531EF1CB05}"/>
              </a:ext>
            </a:extLst>
          </p:cNvPr>
          <p:cNvCxnSpPr>
            <a:cxnSpLocks/>
          </p:cNvCxnSpPr>
          <p:nvPr>
            <p:custDataLst>
              <p:tags r:id="rId54"/>
            </p:custDataLst>
          </p:nvPr>
        </p:nvCxnSpPr>
        <p:spPr>
          <a:xfrm>
            <a:off x="9703779" y="2434531"/>
            <a:ext cx="797529" cy="0"/>
          </a:xfrm>
          <a:prstGeom prst="line">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sp>
        <p:nvSpPr>
          <p:cNvPr id="1031" name="TextBox 1030">
            <a:extLst>
              <a:ext uri="{FF2B5EF4-FFF2-40B4-BE49-F238E27FC236}">
                <a16:creationId xmlns:a16="http://schemas.microsoft.com/office/drawing/2014/main" id="{DA9AE0B7-F515-5E02-EE91-A9C47C13156C}"/>
              </a:ext>
            </a:extLst>
          </p:cNvPr>
          <p:cNvSpPr txBox="1">
            <a:spLocks/>
          </p:cNvSpPr>
          <p:nvPr/>
        </p:nvSpPr>
        <p:spPr>
          <a:xfrm>
            <a:off x="9703779" y="2261907"/>
            <a:ext cx="797529" cy="1384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Output</a:t>
            </a: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oz / year</a:t>
            </a:r>
          </a:p>
        </p:txBody>
      </p:sp>
      <p:cxnSp>
        <p:nvCxnSpPr>
          <p:cNvPr id="1032" name="Straight Connector 1031">
            <a:extLst>
              <a:ext uri="{FF2B5EF4-FFF2-40B4-BE49-F238E27FC236}">
                <a16:creationId xmlns:a16="http://schemas.microsoft.com/office/drawing/2014/main" id="{B7C007AA-56BB-619C-F2A8-85C273755624}"/>
              </a:ext>
            </a:extLst>
          </p:cNvPr>
          <p:cNvCxnSpPr>
            <a:cxnSpLocks/>
          </p:cNvCxnSpPr>
          <p:nvPr>
            <p:custDataLst>
              <p:tags r:id="rId55"/>
            </p:custDataLst>
          </p:nvPr>
        </p:nvCxnSpPr>
        <p:spPr>
          <a:xfrm>
            <a:off x="10683198" y="2434531"/>
            <a:ext cx="1124902" cy="0"/>
          </a:xfrm>
          <a:prstGeom prst="line">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sp>
        <p:nvSpPr>
          <p:cNvPr id="1035" name="TextBox 1034">
            <a:extLst>
              <a:ext uri="{FF2B5EF4-FFF2-40B4-BE49-F238E27FC236}">
                <a16:creationId xmlns:a16="http://schemas.microsoft.com/office/drawing/2014/main" id="{1E4CD653-A35E-0DCD-6A78-C2E1878AC761}"/>
              </a:ext>
            </a:extLst>
          </p:cNvPr>
          <p:cNvSpPr txBox="1">
            <a:spLocks/>
          </p:cNvSpPr>
          <p:nvPr/>
        </p:nvSpPr>
        <p:spPr>
          <a:xfrm>
            <a:off x="10683198" y="2260923"/>
            <a:ext cx="1124902" cy="1384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Date of first production</a:t>
            </a:r>
          </a:p>
        </p:txBody>
      </p:sp>
      <p:cxnSp>
        <p:nvCxnSpPr>
          <p:cNvPr id="1036" name="Straight Connector 1035">
            <a:extLst>
              <a:ext uri="{FF2B5EF4-FFF2-40B4-BE49-F238E27FC236}">
                <a16:creationId xmlns:a16="http://schemas.microsoft.com/office/drawing/2014/main" id="{20C0DD8D-3E62-EAEC-AD24-6B42F5A37BCA}"/>
              </a:ext>
            </a:extLst>
          </p:cNvPr>
          <p:cNvCxnSpPr>
            <a:cxnSpLocks/>
          </p:cNvCxnSpPr>
          <p:nvPr>
            <p:custDataLst>
              <p:tags r:id="rId56"/>
            </p:custDataLst>
          </p:nvPr>
        </p:nvCxnSpPr>
        <p:spPr>
          <a:xfrm>
            <a:off x="7254089" y="2626833"/>
            <a:ext cx="4554013" cy="0"/>
          </a:xfrm>
          <a:prstGeom prst="line">
            <a:avLst/>
          </a:prstGeom>
          <a:ln w="6350">
            <a:solidFill>
              <a:srgbClr val="757575"/>
            </a:solidFill>
            <a:prstDash val="solid"/>
          </a:ln>
        </p:spPr>
        <p:style>
          <a:lnRef idx="1">
            <a:schemeClr val="accent1"/>
          </a:lnRef>
          <a:fillRef idx="0">
            <a:schemeClr val="accent1"/>
          </a:fillRef>
          <a:effectRef idx="0">
            <a:schemeClr val="accent1"/>
          </a:effectRef>
          <a:fontRef idx="minor">
            <a:schemeClr val="tx1"/>
          </a:fontRef>
        </p:style>
      </p:cxnSp>
      <p:sp>
        <p:nvSpPr>
          <p:cNvPr id="1037" name="TextBox 1036">
            <a:extLst>
              <a:ext uri="{FF2B5EF4-FFF2-40B4-BE49-F238E27FC236}">
                <a16:creationId xmlns:a16="http://schemas.microsoft.com/office/drawing/2014/main" id="{55A506C1-33E5-6199-554D-45AAA2FC19BF}"/>
              </a:ext>
            </a:extLst>
          </p:cNvPr>
          <p:cNvSpPr txBox="1">
            <a:spLocks/>
          </p:cNvSpPr>
          <p:nvPr/>
        </p:nvSpPr>
        <p:spPr>
          <a:xfrm>
            <a:off x="7254089" y="2280157"/>
            <a:ext cx="1248149" cy="1384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Company</a:t>
            </a:r>
          </a:p>
        </p:txBody>
      </p:sp>
      <p:sp>
        <p:nvSpPr>
          <p:cNvPr id="1038" name="TextBox 1037">
            <a:extLst>
              <a:ext uri="{FF2B5EF4-FFF2-40B4-BE49-F238E27FC236}">
                <a16:creationId xmlns:a16="http://schemas.microsoft.com/office/drawing/2014/main" id="{3CDE89D9-6FA6-CBBA-BD5F-E04EA230D579}"/>
              </a:ext>
            </a:extLst>
          </p:cNvPr>
          <p:cNvSpPr txBox="1">
            <a:spLocks/>
          </p:cNvSpPr>
          <p:nvPr/>
        </p:nvSpPr>
        <p:spPr>
          <a:xfrm>
            <a:off x="8710560" y="2482214"/>
            <a:ext cx="664862" cy="12906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Salares Norte</a:t>
            </a:r>
          </a:p>
        </p:txBody>
      </p:sp>
      <p:sp>
        <p:nvSpPr>
          <p:cNvPr id="1039" name="TextBox 1038">
            <a:extLst>
              <a:ext uri="{FF2B5EF4-FFF2-40B4-BE49-F238E27FC236}">
                <a16:creationId xmlns:a16="http://schemas.microsoft.com/office/drawing/2014/main" id="{A4920BEE-2966-562A-5E1C-6303979D945F}"/>
              </a:ext>
            </a:extLst>
          </p:cNvPr>
          <p:cNvSpPr txBox="1">
            <a:spLocks/>
          </p:cNvSpPr>
          <p:nvPr/>
        </p:nvSpPr>
        <p:spPr>
          <a:xfrm>
            <a:off x="9704901" y="2482214"/>
            <a:ext cx="796688" cy="13512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299</a:t>
            </a:r>
          </a:p>
        </p:txBody>
      </p:sp>
      <p:sp>
        <p:nvSpPr>
          <p:cNvPr id="1040" name="TextBox 1039">
            <a:extLst>
              <a:ext uri="{FF2B5EF4-FFF2-40B4-BE49-F238E27FC236}">
                <a16:creationId xmlns:a16="http://schemas.microsoft.com/office/drawing/2014/main" id="{979CE3AE-03C8-53BF-EC59-82861F799DD9}"/>
              </a:ext>
            </a:extLst>
          </p:cNvPr>
          <p:cNvSpPr txBox="1">
            <a:spLocks/>
          </p:cNvSpPr>
          <p:nvPr/>
        </p:nvSpPr>
        <p:spPr>
          <a:xfrm>
            <a:off x="10682552" y="2482214"/>
            <a:ext cx="899848" cy="13715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2023</a:t>
            </a:r>
          </a:p>
        </p:txBody>
      </p:sp>
      <p:sp>
        <p:nvSpPr>
          <p:cNvPr id="1041" name="TextBox 1040">
            <a:extLst>
              <a:ext uri="{FF2B5EF4-FFF2-40B4-BE49-F238E27FC236}">
                <a16:creationId xmlns:a16="http://schemas.microsoft.com/office/drawing/2014/main" id="{7AB8DAED-410A-1785-BA6A-54FA0D33E14A}"/>
              </a:ext>
            </a:extLst>
          </p:cNvPr>
          <p:cNvSpPr txBox="1">
            <a:spLocks/>
          </p:cNvSpPr>
          <p:nvPr/>
        </p:nvSpPr>
        <p:spPr>
          <a:xfrm>
            <a:off x="8710559" y="2675061"/>
            <a:ext cx="784899" cy="13512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La Coipa phase 7</a:t>
            </a:r>
          </a:p>
        </p:txBody>
      </p:sp>
      <p:sp>
        <p:nvSpPr>
          <p:cNvPr id="1042" name="TextBox 1041">
            <a:extLst>
              <a:ext uri="{FF2B5EF4-FFF2-40B4-BE49-F238E27FC236}">
                <a16:creationId xmlns:a16="http://schemas.microsoft.com/office/drawing/2014/main" id="{2F0723F8-8636-5C2B-6250-520F196B1975}"/>
              </a:ext>
            </a:extLst>
          </p:cNvPr>
          <p:cNvSpPr txBox="1">
            <a:spLocks/>
          </p:cNvSpPr>
          <p:nvPr/>
        </p:nvSpPr>
        <p:spPr>
          <a:xfrm>
            <a:off x="9704901" y="2675061"/>
            <a:ext cx="796688" cy="13512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240</a:t>
            </a:r>
          </a:p>
        </p:txBody>
      </p:sp>
      <p:sp>
        <p:nvSpPr>
          <p:cNvPr id="1043" name="TextBox 1042">
            <a:extLst>
              <a:ext uri="{FF2B5EF4-FFF2-40B4-BE49-F238E27FC236}">
                <a16:creationId xmlns:a16="http://schemas.microsoft.com/office/drawing/2014/main" id="{6781E4CB-4C92-17B9-973F-766FAD006728}"/>
              </a:ext>
            </a:extLst>
          </p:cNvPr>
          <p:cNvSpPr txBox="1">
            <a:spLocks/>
          </p:cNvSpPr>
          <p:nvPr/>
        </p:nvSpPr>
        <p:spPr>
          <a:xfrm>
            <a:off x="10682552" y="2675061"/>
            <a:ext cx="1125550" cy="13512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2022</a:t>
            </a:r>
          </a:p>
        </p:txBody>
      </p:sp>
      <p:cxnSp>
        <p:nvCxnSpPr>
          <p:cNvPr id="1044" name="Straight Connector 1043">
            <a:extLst>
              <a:ext uri="{FF2B5EF4-FFF2-40B4-BE49-F238E27FC236}">
                <a16:creationId xmlns:a16="http://schemas.microsoft.com/office/drawing/2014/main" id="{F6C248A5-3840-C9CD-27E4-804CF784D90E}"/>
              </a:ext>
            </a:extLst>
          </p:cNvPr>
          <p:cNvCxnSpPr>
            <a:cxnSpLocks/>
          </p:cNvCxnSpPr>
          <p:nvPr>
            <p:custDataLst>
              <p:tags r:id="rId57"/>
            </p:custDataLst>
          </p:nvPr>
        </p:nvCxnSpPr>
        <p:spPr>
          <a:xfrm>
            <a:off x="7254089" y="2434531"/>
            <a:ext cx="1248149" cy="0"/>
          </a:xfrm>
          <a:prstGeom prst="line">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sp>
        <p:nvSpPr>
          <p:cNvPr id="1045" name="TextBox 1044">
            <a:extLst>
              <a:ext uri="{FF2B5EF4-FFF2-40B4-BE49-F238E27FC236}">
                <a16:creationId xmlns:a16="http://schemas.microsoft.com/office/drawing/2014/main" id="{0F70E0E6-7F12-F8E3-2C93-0FE87EC65599}"/>
              </a:ext>
            </a:extLst>
          </p:cNvPr>
          <p:cNvSpPr txBox="1">
            <a:spLocks/>
          </p:cNvSpPr>
          <p:nvPr/>
        </p:nvSpPr>
        <p:spPr>
          <a:xfrm>
            <a:off x="8710559" y="2889546"/>
            <a:ext cx="784899" cy="13512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El Penon</a:t>
            </a:r>
          </a:p>
        </p:txBody>
      </p:sp>
      <p:cxnSp>
        <p:nvCxnSpPr>
          <p:cNvPr id="1047" name="Straight Connector 1046">
            <a:extLst>
              <a:ext uri="{FF2B5EF4-FFF2-40B4-BE49-F238E27FC236}">
                <a16:creationId xmlns:a16="http://schemas.microsoft.com/office/drawing/2014/main" id="{E6F1B657-E941-F2D9-BB7D-5A399E512644}"/>
              </a:ext>
            </a:extLst>
          </p:cNvPr>
          <p:cNvCxnSpPr>
            <a:cxnSpLocks/>
          </p:cNvCxnSpPr>
          <p:nvPr>
            <p:custDataLst>
              <p:tags r:id="rId58"/>
            </p:custDataLst>
          </p:nvPr>
        </p:nvCxnSpPr>
        <p:spPr>
          <a:xfrm>
            <a:off x="7254089" y="2830809"/>
            <a:ext cx="4554013" cy="0"/>
          </a:xfrm>
          <a:prstGeom prst="line">
            <a:avLst/>
          </a:prstGeom>
          <a:ln w="6350">
            <a:solidFill>
              <a:srgbClr val="757575"/>
            </a:solidFill>
            <a:prstDash val="solid"/>
          </a:ln>
        </p:spPr>
        <p:style>
          <a:lnRef idx="1">
            <a:schemeClr val="accent1"/>
          </a:lnRef>
          <a:fillRef idx="0">
            <a:schemeClr val="accent1"/>
          </a:fillRef>
          <a:effectRef idx="0">
            <a:schemeClr val="accent1"/>
          </a:effectRef>
          <a:fontRef idx="minor">
            <a:schemeClr val="tx1"/>
          </a:fontRef>
        </p:style>
      </p:cxnSp>
      <p:sp>
        <p:nvSpPr>
          <p:cNvPr id="1052" name="TextBox 1051">
            <a:extLst>
              <a:ext uri="{FF2B5EF4-FFF2-40B4-BE49-F238E27FC236}">
                <a16:creationId xmlns:a16="http://schemas.microsoft.com/office/drawing/2014/main" id="{BFA83F51-2CB3-C5BF-5DF7-C6EFC7EA480C}"/>
              </a:ext>
            </a:extLst>
          </p:cNvPr>
          <p:cNvSpPr txBox="1">
            <a:spLocks/>
          </p:cNvSpPr>
          <p:nvPr/>
        </p:nvSpPr>
        <p:spPr>
          <a:xfrm>
            <a:off x="9704901" y="2879267"/>
            <a:ext cx="796688" cy="13512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194</a:t>
            </a:r>
          </a:p>
        </p:txBody>
      </p:sp>
      <p:pic>
        <p:nvPicPr>
          <p:cNvPr id="1054" name="Picture 6">
            <a:extLst>
              <a:ext uri="{FF2B5EF4-FFF2-40B4-BE49-F238E27FC236}">
                <a16:creationId xmlns:a16="http://schemas.microsoft.com/office/drawing/2014/main" id="{15640388-0FF7-DEF7-76EE-FF265DEC520A}"/>
              </a:ext>
            </a:extLst>
          </p:cNvPr>
          <p:cNvPicPr>
            <a:picLocks noChangeAspect="1" noChangeArrowheads="1"/>
          </p:cNvPicPr>
          <p:nvPr/>
        </p:nvPicPr>
        <p:blipFill>
          <a:blip r:embed="rId70">
            <a:extLst>
              <a:ext uri="{28A0092B-C50C-407E-A947-70E740481C1C}">
                <a14:useLocalDpi xmlns:a14="http://schemas.microsoft.com/office/drawing/2010/main"/>
              </a:ext>
            </a:extLst>
          </a:blip>
          <a:srcRect/>
          <a:stretch>
            <a:fillRect/>
          </a:stretch>
        </p:blipFill>
        <p:spPr bwMode="auto">
          <a:xfrm>
            <a:off x="7254089" y="2863276"/>
            <a:ext cx="802831" cy="161916"/>
          </a:xfrm>
          <a:prstGeom prst="rect">
            <a:avLst/>
          </a:prstGeom>
          <a:noFill/>
          <a:extLst>
            <a:ext uri="{909E8E84-426E-40DD-AFC4-6F175D3DCCD1}">
              <a14:hiddenFill xmlns:a14="http://schemas.microsoft.com/office/drawing/2010/main">
                <a:solidFill>
                  <a:srgbClr val="FFFFFF"/>
                </a:solidFill>
              </a14:hiddenFill>
            </a:ext>
          </a:extLst>
        </p:spPr>
      </p:pic>
      <p:sp>
        <p:nvSpPr>
          <p:cNvPr id="1055" name="Rectangle 1054">
            <a:extLst>
              <a:ext uri="{FF2B5EF4-FFF2-40B4-BE49-F238E27FC236}">
                <a16:creationId xmlns:a16="http://schemas.microsoft.com/office/drawing/2014/main" id="{F7B0F23C-8F86-927D-0684-1B9FFDBF2FF1}"/>
              </a:ext>
            </a:extLst>
          </p:cNvPr>
          <p:cNvSpPr>
            <a:spLocks/>
          </p:cNvSpPr>
          <p:nvPr/>
        </p:nvSpPr>
        <p:spPr>
          <a:xfrm>
            <a:off x="7174991" y="2234624"/>
            <a:ext cx="4712207" cy="833697"/>
          </a:xfrm>
          <a:prstGeom prst="rect">
            <a:avLst/>
          </a:prstGeom>
          <a:no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CA" sz="1400" b="0" i="0" u="none" strike="noStrike" kern="1200" cap="none" spc="0" normalizeH="0" baseline="0" noProof="0" dirty="0" err="1">
              <a:ln>
                <a:noFill/>
              </a:ln>
              <a:solidFill>
                <a:srgbClr val="2A516C"/>
              </a:solidFill>
              <a:effectLst/>
              <a:uLnTx/>
              <a:uFillTx/>
              <a:latin typeface="Calibri" panose="020F0502020204030204" pitchFamily="34" charset="0"/>
              <a:ea typeface="ＭＳ Ｐゴシック"/>
              <a:cs typeface="Calibri" panose="020F0502020204030204" pitchFamily="34" charset="0"/>
            </a:endParaRPr>
          </a:p>
        </p:txBody>
      </p:sp>
      <p:sp>
        <p:nvSpPr>
          <p:cNvPr id="1056" name="TextBox 1055">
            <a:extLst>
              <a:ext uri="{FF2B5EF4-FFF2-40B4-BE49-F238E27FC236}">
                <a16:creationId xmlns:a16="http://schemas.microsoft.com/office/drawing/2014/main" id="{7F9AD6BC-E650-7D16-2477-8F96CA86DA2C}"/>
              </a:ext>
            </a:extLst>
          </p:cNvPr>
          <p:cNvSpPr txBox="1">
            <a:spLocks/>
          </p:cNvSpPr>
          <p:nvPr/>
        </p:nvSpPr>
        <p:spPr>
          <a:xfrm>
            <a:off x="10682552" y="2879111"/>
            <a:ext cx="1125550" cy="13512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1999</a:t>
            </a:r>
          </a:p>
        </p:txBody>
      </p:sp>
      <p:grpSp>
        <p:nvGrpSpPr>
          <p:cNvPr id="56" name="Group 55">
            <a:extLst>
              <a:ext uri="{FF2B5EF4-FFF2-40B4-BE49-F238E27FC236}">
                <a16:creationId xmlns:a16="http://schemas.microsoft.com/office/drawing/2014/main" id="{C1969BD4-DF6B-D9A3-A9FA-A8EEC7B165EE}"/>
              </a:ext>
            </a:extLst>
          </p:cNvPr>
          <p:cNvGrpSpPr/>
          <p:nvPr/>
        </p:nvGrpSpPr>
        <p:grpSpPr>
          <a:xfrm>
            <a:off x="346075" y="2516182"/>
            <a:ext cx="5524265" cy="884613"/>
            <a:chOff x="346075" y="2734812"/>
            <a:chExt cx="5524265" cy="884613"/>
          </a:xfrm>
        </p:grpSpPr>
        <p:sp>
          <p:nvSpPr>
            <p:cNvPr id="43" name="Rectangle 8">
              <a:extLst>
                <a:ext uri="{FF2B5EF4-FFF2-40B4-BE49-F238E27FC236}">
                  <a16:creationId xmlns:a16="http://schemas.microsoft.com/office/drawing/2014/main" id="{F8D474FE-B311-2170-5018-2B21548A87C7}"/>
                </a:ext>
              </a:extLst>
            </p:cNvPr>
            <p:cNvSpPr txBox="1">
              <a:spLocks/>
            </p:cNvSpPr>
            <p:nvPr>
              <p:custDataLst>
                <p:tags r:id="rId60"/>
              </p:custDataLst>
            </p:nvPr>
          </p:nvSpPr>
          <p:spPr>
            <a:xfrm>
              <a:off x="346075" y="2734812"/>
              <a:ext cx="1194435" cy="884613"/>
            </a:xfrm>
            <a:prstGeom prst="rect">
              <a:avLst/>
            </a:prstGeom>
            <a:solidFill>
              <a:schemeClr val="accent1"/>
            </a:solidFill>
            <a:ln w="9525">
              <a:noFill/>
              <a:miter lim="800000"/>
              <a:headEnd/>
              <a:tailEnd/>
            </a:ln>
            <a:effectLst/>
          </p:spPr>
          <p:txBody>
            <a:bodyPr vert="horz" wrap="square" lIns="36576" tIns="76200" rIns="36576" bIns="76200" numCol="1" anchor="ctr"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Country overview</a:t>
              </a:r>
              <a:endParaRPr kumimoji="0" lang="en-CA"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endParaRPr>
            </a:p>
          </p:txBody>
        </p:sp>
        <p:grpSp>
          <p:nvGrpSpPr>
            <p:cNvPr id="117" name="Group 116">
              <a:extLst>
                <a:ext uri="{FF2B5EF4-FFF2-40B4-BE49-F238E27FC236}">
                  <a16:creationId xmlns:a16="http://schemas.microsoft.com/office/drawing/2014/main" id="{0D700741-E291-821A-8C10-BB317B1AF13D}"/>
                </a:ext>
              </a:extLst>
            </p:cNvPr>
            <p:cNvGrpSpPr/>
            <p:nvPr/>
          </p:nvGrpSpPr>
          <p:grpSpPr>
            <a:xfrm>
              <a:off x="1615442" y="2734812"/>
              <a:ext cx="4254898" cy="138499"/>
              <a:chOff x="1615442" y="2734812"/>
              <a:chExt cx="4254898" cy="138499"/>
            </a:xfrm>
          </p:grpSpPr>
          <p:sp>
            <p:nvSpPr>
              <p:cNvPr id="149" name="TextBox 148">
                <a:extLst>
                  <a:ext uri="{FF2B5EF4-FFF2-40B4-BE49-F238E27FC236}">
                    <a16:creationId xmlns:a16="http://schemas.microsoft.com/office/drawing/2014/main" id="{AE99F63B-9356-119E-2124-9025192EC592}"/>
                  </a:ext>
                </a:extLst>
              </p:cNvPr>
              <p:cNvSpPr txBox="1">
                <a:spLocks/>
              </p:cNvSpPr>
              <p:nvPr/>
            </p:nvSpPr>
            <p:spPr>
              <a:xfrm>
                <a:off x="1615442" y="2734812"/>
                <a:ext cx="913446" cy="13493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Population:</a:t>
                </a:r>
              </a:p>
            </p:txBody>
          </p:sp>
          <p:sp>
            <p:nvSpPr>
              <p:cNvPr id="150" name="TextBox 149">
                <a:extLst>
                  <a:ext uri="{FF2B5EF4-FFF2-40B4-BE49-F238E27FC236}">
                    <a16:creationId xmlns:a16="http://schemas.microsoft.com/office/drawing/2014/main" id="{AB7C5F20-D7EE-1CF5-FE7D-7AAB651A0DE7}"/>
                  </a:ext>
                </a:extLst>
              </p:cNvPr>
              <p:cNvSpPr txBox="1">
                <a:spLocks/>
              </p:cNvSpPr>
              <p:nvPr/>
            </p:nvSpPr>
            <p:spPr>
              <a:xfrm>
                <a:off x="2600326" y="2734812"/>
                <a:ext cx="3270014" cy="138499"/>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19 M</a:t>
                </a:r>
              </a:p>
            </p:txBody>
          </p:sp>
        </p:grpSp>
        <p:grpSp>
          <p:nvGrpSpPr>
            <p:cNvPr id="118" name="Group 117">
              <a:extLst>
                <a:ext uri="{FF2B5EF4-FFF2-40B4-BE49-F238E27FC236}">
                  <a16:creationId xmlns:a16="http://schemas.microsoft.com/office/drawing/2014/main" id="{75D92D83-F78D-2A33-183E-21E55BE40F5E}"/>
                </a:ext>
              </a:extLst>
            </p:cNvPr>
            <p:cNvGrpSpPr/>
            <p:nvPr/>
          </p:nvGrpSpPr>
          <p:grpSpPr>
            <a:xfrm>
              <a:off x="1615442" y="2884747"/>
              <a:ext cx="4254898" cy="134938"/>
              <a:chOff x="1615442" y="2884747"/>
              <a:chExt cx="4254898" cy="134938"/>
            </a:xfrm>
          </p:grpSpPr>
          <p:sp>
            <p:nvSpPr>
              <p:cNvPr id="152" name="TextBox 151">
                <a:extLst>
                  <a:ext uri="{FF2B5EF4-FFF2-40B4-BE49-F238E27FC236}">
                    <a16:creationId xmlns:a16="http://schemas.microsoft.com/office/drawing/2014/main" id="{313CD90E-654F-4BD9-14E0-95192A35D357}"/>
                  </a:ext>
                </a:extLst>
              </p:cNvPr>
              <p:cNvSpPr txBox="1">
                <a:spLocks/>
              </p:cNvSpPr>
              <p:nvPr/>
            </p:nvSpPr>
            <p:spPr>
              <a:xfrm>
                <a:off x="1615442" y="2884747"/>
                <a:ext cx="913446" cy="13493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Language:</a:t>
                </a:r>
              </a:p>
            </p:txBody>
          </p:sp>
          <p:sp>
            <p:nvSpPr>
              <p:cNvPr id="153" name="TextBox 152">
                <a:extLst>
                  <a:ext uri="{FF2B5EF4-FFF2-40B4-BE49-F238E27FC236}">
                    <a16:creationId xmlns:a16="http://schemas.microsoft.com/office/drawing/2014/main" id="{E254005B-DA49-EDF3-48A6-CCA356330855}"/>
                  </a:ext>
                </a:extLst>
              </p:cNvPr>
              <p:cNvSpPr txBox="1">
                <a:spLocks/>
              </p:cNvSpPr>
              <p:nvPr/>
            </p:nvSpPr>
            <p:spPr>
              <a:xfrm>
                <a:off x="2600326" y="2884747"/>
                <a:ext cx="3270014" cy="134938"/>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Spanish</a:t>
                </a:r>
              </a:p>
            </p:txBody>
          </p:sp>
        </p:grpSp>
        <p:grpSp>
          <p:nvGrpSpPr>
            <p:cNvPr id="119" name="Group 118">
              <a:extLst>
                <a:ext uri="{FF2B5EF4-FFF2-40B4-BE49-F238E27FC236}">
                  <a16:creationId xmlns:a16="http://schemas.microsoft.com/office/drawing/2014/main" id="{E3276519-0FBA-B8DD-DEB5-94D4112A275E}"/>
                </a:ext>
              </a:extLst>
            </p:cNvPr>
            <p:cNvGrpSpPr/>
            <p:nvPr/>
          </p:nvGrpSpPr>
          <p:grpSpPr>
            <a:xfrm>
              <a:off x="1615442" y="3031121"/>
              <a:ext cx="4254898" cy="138499"/>
              <a:chOff x="1615442" y="3031121"/>
              <a:chExt cx="4254898" cy="138499"/>
            </a:xfrm>
          </p:grpSpPr>
          <p:sp>
            <p:nvSpPr>
              <p:cNvPr id="155" name="TextBox 154">
                <a:extLst>
                  <a:ext uri="{FF2B5EF4-FFF2-40B4-BE49-F238E27FC236}">
                    <a16:creationId xmlns:a16="http://schemas.microsoft.com/office/drawing/2014/main" id="{E1CEF0DF-2075-199B-7D67-0C756649C778}"/>
                  </a:ext>
                </a:extLst>
              </p:cNvPr>
              <p:cNvSpPr txBox="1">
                <a:spLocks/>
              </p:cNvSpPr>
              <p:nvPr/>
            </p:nvSpPr>
            <p:spPr>
              <a:xfrm>
                <a:off x="1615442" y="3031121"/>
                <a:ext cx="913446" cy="13493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Currency:</a:t>
                </a:r>
              </a:p>
            </p:txBody>
          </p:sp>
          <p:sp>
            <p:nvSpPr>
              <p:cNvPr id="156" name="TextBox 155">
                <a:extLst>
                  <a:ext uri="{FF2B5EF4-FFF2-40B4-BE49-F238E27FC236}">
                    <a16:creationId xmlns:a16="http://schemas.microsoft.com/office/drawing/2014/main" id="{E8E68DDD-ED49-C541-1AE5-B7EEC7DC9112}"/>
                  </a:ext>
                </a:extLst>
              </p:cNvPr>
              <p:cNvSpPr txBox="1">
                <a:spLocks/>
              </p:cNvSpPr>
              <p:nvPr/>
            </p:nvSpPr>
            <p:spPr>
              <a:xfrm>
                <a:off x="2600326" y="3031121"/>
                <a:ext cx="3270014" cy="138499"/>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Chilean peso (CLP)</a:t>
                </a:r>
              </a:p>
            </p:txBody>
          </p:sp>
        </p:grpSp>
        <p:grpSp>
          <p:nvGrpSpPr>
            <p:cNvPr id="120" name="Group 119">
              <a:extLst>
                <a:ext uri="{FF2B5EF4-FFF2-40B4-BE49-F238E27FC236}">
                  <a16:creationId xmlns:a16="http://schemas.microsoft.com/office/drawing/2014/main" id="{35AFA302-D84E-EE58-CF86-DF61DA597128}"/>
                </a:ext>
              </a:extLst>
            </p:cNvPr>
            <p:cNvGrpSpPr/>
            <p:nvPr/>
          </p:nvGrpSpPr>
          <p:grpSpPr>
            <a:xfrm>
              <a:off x="1615442" y="3181056"/>
              <a:ext cx="4254898" cy="138499"/>
              <a:chOff x="1615442" y="3181056"/>
              <a:chExt cx="4254898" cy="138499"/>
            </a:xfrm>
          </p:grpSpPr>
          <p:sp>
            <p:nvSpPr>
              <p:cNvPr id="159" name="TextBox 158">
                <a:extLst>
                  <a:ext uri="{FF2B5EF4-FFF2-40B4-BE49-F238E27FC236}">
                    <a16:creationId xmlns:a16="http://schemas.microsoft.com/office/drawing/2014/main" id="{E77F8775-5EF5-5DA0-F571-01185669986D}"/>
                  </a:ext>
                </a:extLst>
              </p:cNvPr>
              <p:cNvSpPr txBox="1">
                <a:spLocks/>
              </p:cNvSpPr>
              <p:nvPr/>
            </p:nvSpPr>
            <p:spPr>
              <a:xfrm>
                <a:off x="1615442" y="3181056"/>
                <a:ext cx="913446"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Exchange rate:</a:t>
                </a:r>
              </a:p>
            </p:txBody>
          </p:sp>
          <p:sp>
            <p:nvSpPr>
              <p:cNvPr id="160" name="TextBox 159">
                <a:extLst>
                  <a:ext uri="{FF2B5EF4-FFF2-40B4-BE49-F238E27FC236}">
                    <a16:creationId xmlns:a16="http://schemas.microsoft.com/office/drawing/2014/main" id="{8D2084E0-1F0A-EA53-2101-573D4A0B7D35}"/>
                  </a:ext>
                </a:extLst>
              </p:cNvPr>
              <p:cNvSpPr txBox="1">
                <a:spLocks/>
              </p:cNvSpPr>
              <p:nvPr/>
            </p:nvSpPr>
            <p:spPr>
              <a:xfrm>
                <a:off x="2600326" y="3181056"/>
                <a:ext cx="3270014" cy="138499"/>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1 USD = 943.40 CLP</a:t>
                </a:r>
              </a:p>
            </p:txBody>
          </p:sp>
        </p:grpSp>
        <p:grpSp>
          <p:nvGrpSpPr>
            <p:cNvPr id="122" name="Group 121">
              <a:extLst>
                <a:ext uri="{FF2B5EF4-FFF2-40B4-BE49-F238E27FC236}">
                  <a16:creationId xmlns:a16="http://schemas.microsoft.com/office/drawing/2014/main" id="{1B8844CB-0FC0-9D73-DA72-21471BD615A7}"/>
                </a:ext>
              </a:extLst>
            </p:cNvPr>
            <p:cNvGrpSpPr/>
            <p:nvPr/>
          </p:nvGrpSpPr>
          <p:grpSpPr>
            <a:xfrm>
              <a:off x="1615442" y="3330991"/>
              <a:ext cx="4254898" cy="138499"/>
              <a:chOff x="1615442" y="3330991"/>
              <a:chExt cx="4254898" cy="138499"/>
            </a:xfrm>
          </p:grpSpPr>
          <p:sp>
            <p:nvSpPr>
              <p:cNvPr id="162" name="TextBox 161">
                <a:extLst>
                  <a:ext uri="{FF2B5EF4-FFF2-40B4-BE49-F238E27FC236}">
                    <a16:creationId xmlns:a16="http://schemas.microsoft.com/office/drawing/2014/main" id="{76B76856-C654-E263-B4BA-6F7F2F92C6D5}"/>
                  </a:ext>
                </a:extLst>
              </p:cNvPr>
              <p:cNvSpPr txBox="1">
                <a:spLocks/>
              </p:cNvSpPr>
              <p:nvPr/>
            </p:nvSpPr>
            <p:spPr>
              <a:xfrm>
                <a:off x="1615442" y="3330991"/>
                <a:ext cx="913446" cy="13652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Unemployment:</a:t>
                </a:r>
              </a:p>
            </p:txBody>
          </p:sp>
          <p:sp>
            <p:nvSpPr>
              <p:cNvPr id="163" name="TextBox 162">
                <a:extLst>
                  <a:ext uri="{FF2B5EF4-FFF2-40B4-BE49-F238E27FC236}">
                    <a16:creationId xmlns:a16="http://schemas.microsoft.com/office/drawing/2014/main" id="{5056F202-CE90-6AAF-63E3-548B804AE4F1}"/>
                  </a:ext>
                </a:extLst>
              </p:cNvPr>
              <p:cNvSpPr txBox="1">
                <a:spLocks/>
              </p:cNvSpPr>
              <p:nvPr/>
            </p:nvSpPr>
            <p:spPr>
              <a:xfrm>
                <a:off x="2600326" y="3330991"/>
                <a:ext cx="3270014" cy="138499"/>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7.78% (2022)</a:t>
                </a:r>
              </a:p>
            </p:txBody>
          </p:sp>
        </p:grpSp>
        <p:grpSp>
          <p:nvGrpSpPr>
            <p:cNvPr id="121" name="Group 120">
              <a:extLst>
                <a:ext uri="{FF2B5EF4-FFF2-40B4-BE49-F238E27FC236}">
                  <a16:creationId xmlns:a16="http://schemas.microsoft.com/office/drawing/2014/main" id="{6996271A-FA53-38D8-C9B4-8E1C1D06E063}"/>
                </a:ext>
              </a:extLst>
            </p:cNvPr>
            <p:cNvGrpSpPr/>
            <p:nvPr/>
          </p:nvGrpSpPr>
          <p:grpSpPr>
            <a:xfrm>
              <a:off x="1615442" y="3480926"/>
              <a:ext cx="4254898" cy="138499"/>
              <a:chOff x="1615442" y="3480926"/>
              <a:chExt cx="4254898" cy="138499"/>
            </a:xfrm>
          </p:grpSpPr>
          <p:sp>
            <p:nvSpPr>
              <p:cNvPr id="165" name="TextBox 164">
                <a:extLst>
                  <a:ext uri="{FF2B5EF4-FFF2-40B4-BE49-F238E27FC236}">
                    <a16:creationId xmlns:a16="http://schemas.microsoft.com/office/drawing/2014/main" id="{444C5EFD-7B02-49E1-5490-7F10EC8CD8AC}"/>
                  </a:ext>
                </a:extLst>
              </p:cNvPr>
              <p:cNvSpPr txBox="1">
                <a:spLocks/>
              </p:cNvSpPr>
              <p:nvPr/>
            </p:nvSpPr>
            <p:spPr>
              <a:xfrm>
                <a:off x="1615442" y="3480926"/>
                <a:ext cx="913446"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Inflation (CPI):</a:t>
                </a:r>
              </a:p>
            </p:txBody>
          </p:sp>
          <p:sp>
            <p:nvSpPr>
              <p:cNvPr id="166" name="TextBox 165">
                <a:extLst>
                  <a:ext uri="{FF2B5EF4-FFF2-40B4-BE49-F238E27FC236}">
                    <a16:creationId xmlns:a16="http://schemas.microsoft.com/office/drawing/2014/main" id="{0740A040-C3E7-6D3E-153A-B12C72258648}"/>
                  </a:ext>
                </a:extLst>
              </p:cNvPr>
              <p:cNvSpPr txBox="1">
                <a:spLocks/>
              </p:cNvSpPr>
              <p:nvPr/>
            </p:nvSpPr>
            <p:spPr>
              <a:xfrm>
                <a:off x="2600326" y="3480926"/>
                <a:ext cx="3270014" cy="138499"/>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4.4% (2022)</a:t>
                </a:r>
              </a:p>
            </p:txBody>
          </p:sp>
        </p:grpSp>
        <p:grpSp>
          <p:nvGrpSpPr>
            <p:cNvPr id="30" name="Group 29">
              <a:extLst>
                <a:ext uri="{FF2B5EF4-FFF2-40B4-BE49-F238E27FC236}">
                  <a16:creationId xmlns:a16="http://schemas.microsoft.com/office/drawing/2014/main" id="{01DCF41D-C81B-9E91-E9BE-BB08DC5EDC92}"/>
                </a:ext>
              </a:extLst>
            </p:cNvPr>
            <p:cNvGrpSpPr/>
            <p:nvPr/>
          </p:nvGrpSpPr>
          <p:grpSpPr>
            <a:xfrm>
              <a:off x="3740224" y="2751667"/>
              <a:ext cx="2130116" cy="850903"/>
              <a:chOff x="3957324" y="2769132"/>
              <a:chExt cx="2130116" cy="850903"/>
            </a:xfrm>
          </p:grpSpPr>
          <p:sp>
            <p:nvSpPr>
              <p:cNvPr id="16" name="Freeform: Shape 15">
                <a:extLst>
                  <a:ext uri="{FF2B5EF4-FFF2-40B4-BE49-F238E27FC236}">
                    <a16:creationId xmlns:a16="http://schemas.microsoft.com/office/drawing/2014/main" id="{F9B5D8D3-C6A0-E8FB-9318-5C03935D715E}"/>
                  </a:ext>
                </a:extLst>
              </p:cNvPr>
              <p:cNvSpPr/>
              <p:nvPr/>
            </p:nvSpPr>
            <p:spPr>
              <a:xfrm flipV="1">
                <a:off x="4503493" y="2919106"/>
                <a:ext cx="1186750" cy="529625"/>
              </a:xfrm>
              <a:custGeom>
                <a:avLst/>
                <a:gdLst>
                  <a:gd name="connsiteX0" fmla="*/ 1013460 w 1018540"/>
                  <a:gd name="connsiteY0" fmla="*/ 88900 h 624840"/>
                  <a:gd name="connsiteX1" fmla="*/ 0 w 1018540"/>
                  <a:gd name="connsiteY1" fmla="*/ 0 h 624840"/>
                  <a:gd name="connsiteX2" fmla="*/ 0 w 1018540"/>
                  <a:gd name="connsiteY2" fmla="*/ 624840 h 624840"/>
                  <a:gd name="connsiteX3" fmla="*/ 1018540 w 1018540"/>
                  <a:gd name="connsiteY3" fmla="*/ 147320 h 624840"/>
                  <a:gd name="connsiteX4" fmla="*/ 1013460 w 1018540"/>
                  <a:gd name="connsiteY4" fmla="*/ 88900 h 624840"/>
                  <a:gd name="connsiteX0" fmla="*/ 1013460 w 1018540"/>
                  <a:gd name="connsiteY0" fmla="*/ 88900 h 501015"/>
                  <a:gd name="connsiteX1" fmla="*/ 0 w 1018540"/>
                  <a:gd name="connsiteY1" fmla="*/ 0 h 501015"/>
                  <a:gd name="connsiteX2" fmla="*/ 470535 w 1018540"/>
                  <a:gd name="connsiteY2" fmla="*/ 501015 h 501015"/>
                  <a:gd name="connsiteX3" fmla="*/ 1018540 w 1018540"/>
                  <a:gd name="connsiteY3" fmla="*/ 147320 h 501015"/>
                  <a:gd name="connsiteX4" fmla="*/ 1013460 w 1018540"/>
                  <a:gd name="connsiteY4" fmla="*/ 88900 h 501015"/>
                  <a:gd name="connsiteX0" fmla="*/ 691515 w 696595"/>
                  <a:gd name="connsiteY0" fmla="*/ 41275 h 453390"/>
                  <a:gd name="connsiteX1" fmla="*/ 0 w 696595"/>
                  <a:gd name="connsiteY1" fmla="*/ 0 h 453390"/>
                  <a:gd name="connsiteX2" fmla="*/ 148590 w 696595"/>
                  <a:gd name="connsiteY2" fmla="*/ 453390 h 453390"/>
                  <a:gd name="connsiteX3" fmla="*/ 696595 w 696595"/>
                  <a:gd name="connsiteY3" fmla="*/ 99695 h 453390"/>
                  <a:gd name="connsiteX4" fmla="*/ 691515 w 696595"/>
                  <a:gd name="connsiteY4" fmla="*/ 41275 h 453390"/>
                  <a:gd name="connsiteX0" fmla="*/ 691515 w 692785"/>
                  <a:gd name="connsiteY0" fmla="*/ 41275 h 453390"/>
                  <a:gd name="connsiteX1" fmla="*/ 0 w 692785"/>
                  <a:gd name="connsiteY1" fmla="*/ 0 h 453390"/>
                  <a:gd name="connsiteX2" fmla="*/ 148590 w 692785"/>
                  <a:gd name="connsiteY2" fmla="*/ 453390 h 453390"/>
                  <a:gd name="connsiteX3" fmla="*/ 692785 w 692785"/>
                  <a:gd name="connsiteY3" fmla="*/ 76835 h 453390"/>
                  <a:gd name="connsiteX4" fmla="*/ 691515 w 692785"/>
                  <a:gd name="connsiteY4" fmla="*/ 41275 h 453390"/>
                  <a:gd name="connsiteX0" fmla="*/ 874395 w 875665"/>
                  <a:gd name="connsiteY0" fmla="*/ 79375 h 491490"/>
                  <a:gd name="connsiteX1" fmla="*/ 0 w 875665"/>
                  <a:gd name="connsiteY1" fmla="*/ 0 h 491490"/>
                  <a:gd name="connsiteX2" fmla="*/ 331470 w 875665"/>
                  <a:gd name="connsiteY2" fmla="*/ 491490 h 491490"/>
                  <a:gd name="connsiteX3" fmla="*/ 875665 w 875665"/>
                  <a:gd name="connsiteY3" fmla="*/ 114935 h 491490"/>
                  <a:gd name="connsiteX4" fmla="*/ 874395 w 875665"/>
                  <a:gd name="connsiteY4" fmla="*/ 79375 h 491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5665" h="491490">
                    <a:moveTo>
                      <a:pt x="874395" y="79375"/>
                    </a:moveTo>
                    <a:lnTo>
                      <a:pt x="0" y="0"/>
                    </a:lnTo>
                    <a:lnTo>
                      <a:pt x="331470" y="491490"/>
                    </a:lnTo>
                    <a:lnTo>
                      <a:pt x="875665" y="114935"/>
                    </a:lnTo>
                    <a:cubicBezTo>
                      <a:pt x="875242" y="103082"/>
                      <a:pt x="874818" y="91228"/>
                      <a:pt x="874395" y="79375"/>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Freeform 11">
                <a:extLst>
                  <a:ext uri="{FF2B5EF4-FFF2-40B4-BE49-F238E27FC236}">
                    <a16:creationId xmlns:a16="http://schemas.microsoft.com/office/drawing/2014/main" id="{ED43C623-77B2-0000-B9F1-AF0F22E61AA1}"/>
                  </a:ext>
                </a:extLst>
              </p:cNvPr>
              <p:cNvSpPr>
                <a:spLocks noEditPoints="1"/>
              </p:cNvSpPr>
              <p:nvPr/>
            </p:nvSpPr>
            <p:spPr bwMode="auto">
              <a:xfrm>
                <a:off x="5648622" y="3168297"/>
                <a:ext cx="197672" cy="435584"/>
              </a:xfrm>
              <a:custGeom>
                <a:avLst/>
                <a:gdLst>
                  <a:gd name="T0" fmla="*/ 418 w 673"/>
                  <a:gd name="T1" fmla="*/ 65 h 1483"/>
                  <a:gd name="T2" fmla="*/ 512 w 673"/>
                  <a:gd name="T3" fmla="*/ 116 h 1483"/>
                  <a:gd name="T4" fmla="*/ 527 w 673"/>
                  <a:gd name="T5" fmla="*/ 158 h 1483"/>
                  <a:gd name="T6" fmla="*/ 513 w 673"/>
                  <a:gd name="T7" fmla="*/ 204 h 1483"/>
                  <a:gd name="T8" fmla="*/ 597 w 673"/>
                  <a:gd name="T9" fmla="*/ 206 h 1483"/>
                  <a:gd name="T10" fmla="*/ 641 w 673"/>
                  <a:gd name="T11" fmla="*/ 155 h 1483"/>
                  <a:gd name="T12" fmla="*/ 668 w 673"/>
                  <a:gd name="T13" fmla="*/ 155 h 1483"/>
                  <a:gd name="T14" fmla="*/ 658 w 673"/>
                  <a:gd name="T15" fmla="*/ 204 h 1483"/>
                  <a:gd name="T16" fmla="*/ 614 w 673"/>
                  <a:gd name="T17" fmla="*/ 233 h 1483"/>
                  <a:gd name="T18" fmla="*/ 566 w 673"/>
                  <a:gd name="T19" fmla="*/ 287 h 1483"/>
                  <a:gd name="T20" fmla="*/ 529 w 673"/>
                  <a:gd name="T21" fmla="*/ 357 h 1483"/>
                  <a:gd name="T22" fmla="*/ 512 w 673"/>
                  <a:gd name="T23" fmla="*/ 440 h 1483"/>
                  <a:gd name="T24" fmla="*/ 530 w 673"/>
                  <a:gd name="T25" fmla="*/ 502 h 1483"/>
                  <a:gd name="T26" fmla="*/ 566 w 673"/>
                  <a:gd name="T27" fmla="*/ 565 h 1483"/>
                  <a:gd name="T28" fmla="*/ 532 w 673"/>
                  <a:gd name="T29" fmla="*/ 648 h 1483"/>
                  <a:gd name="T30" fmla="*/ 430 w 673"/>
                  <a:gd name="T31" fmla="*/ 677 h 1483"/>
                  <a:gd name="T32" fmla="*/ 384 w 673"/>
                  <a:gd name="T33" fmla="*/ 691 h 1483"/>
                  <a:gd name="T34" fmla="*/ 376 w 673"/>
                  <a:gd name="T35" fmla="*/ 738 h 1483"/>
                  <a:gd name="T36" fmla="*/ 320 w 673"/>
                  <a:gd name="T37" fmla="*/ 767 h 1483"/>
                  <a:gd name="T38" fmla="*/ 286 w 673"/>
                  <a:gd name="T39" fmla="*/ 774 h 1483"/>
                  <a:gd name="T40" fmla="*/ 309 w 673"/>
                  <a:gd name="T41" fmla="*/ 832 h 1483"/>
                  <a:gd name="T42" fmla="*/ 330 w 673"/>
                  <a:gd name="T43" fmla="*/ 849 h 1483"/>
                  <a:gd name="T44" fmla="*/ 311 w 673"/>
                  <a:gd name="T45" fmla="*/ 856 h 1483"/>
                  <a:gd name="T46" fmla="*/ 281 w 673"/>
                  <a:gd name="T47" fmla="*/ 920 h 1483"/>
                  <a:gd name="T48" fmla="*/ 248 w 673"/>
                  <a:gd name="T49" fmla="*/ 952 h 1483"/>
                  <a:gd name="T50" fmla="*/ 202 w 673"/>
                  <a:gd name="T51" fmla="*/ 1002 h 1483"/>
                  <a:gd name="T52" fmla="*/ 265 w 673"/>
                  <a:gd name="T53" fmla="*/ 1065 h 1483"/>
                  <a:gd name="T54" fmla="*/ 235 w 673"/>
                  <a:gd name="T55" fmla="*/ 1121 h 1483"/>
                  <a:gd name="T56" fmla="*/ 192 w 673"/>
                  <a:gd name="T57" fmla="*/ 1203 h 1483"/>
                  <a:gd name="T58" fmla="*/ 155 w 673"/>
                  <a:gd name="T59" fmla="*/ 1279 h 1483"/>
                  <a:gd name="T60" fmla="*/ 56 w 673"/>
                  <a:gd name="T61" fmla="*/ 1308 h 1483"/>
                  <a:gd name="T62" fmla="*/ 43 w 673"/>
                  <a:gd name="T63" fmla="*/ 1242 h 1483"/>
                  <a:gd name="T64" fmla="*/ 2 w 673"/>
                  <a:gd name="T65" fmla="*/ 1201 h 1483"/>
                  <a:gd name="T66" fmla="*/ 36 w 673"/>
                  <a:gd name="T67" fmla="*/ 1131 h 1483"/>
                  <a:gd name="T68" fmla="*/ 43 w 673"/>
                  <a:gd name="T69" fmla="*/ 1072 h 1483"/>
                  <a:gd name="T70" fmla="*/ 60 w 673"/>
                  <a:gd name="T71" fmla="*/ 1009 h 1483"/>
                  <a:gd name="T72" fmla="*/ 66 w 673"/>
                  <a:gd name="T73" fmla="*/ 951 h 1483"/>
                  <a:gd name="T74" fmla="*/ 85 w 673"/>
                  <a:gd name="T75" fmla="*/ 929 h 1483"/>
                  <a:gd name="T76" fmla="*/ 68 w 673"/>
                  <a:gd name="T77" fmla="*/ 886 h 1483"/>
                  <a:gd name="T78" fmla="*/ 53 w 673"/>
                  <a:gd name="T79" fmla="*/ 830 h 1483"/>
                  <a:gd name="T80" fmla="*/ 58 w 673"/>
                  <a:gd name="T81" fmla="*/ 774 h 1483"/>
                  <a:gd name="T82" fmla="*/ 65 w 673"/>
                  <a:gd name="T83" fmla="*/ 716 h 1483"/>
                  <a:gd name="T84" fmla="*/ 90 w 673"/>
                  <a:gd name="T85" fmla="*/ 663 h 1483"/>
                  <a:gd name="T86" fmla="*/ 83 w 673"/>
                  <a:gd name="T87" fmla="*/ 597 h 1483"/>
                  <a:gd name="T88" fmla="*/ 107 w 673"/>
                  <a:gd name="T89" fmla="*/ 554 h 1483"/>
                  <a:gd name="T90" fmla="*/ 119 w 673"/>
                  <a:gd name="T91" fmla="*/ 486 h 1483"/>
                  <a:gd name="T92" fmla="*/ 121 w 673"/>
                  <a:gd name="T93" fmla="*/ 427 h 1483"/>
                  <a:gd name="T94" fmla="*/ 104 w 673"/>
                  <a:gd name="T95" fmla="*/ 354 h 1483"/>
                  <a:gd name="T96" fmla="*/ 126 w 673"/>
                  <a:gd name="T97" fmla="*/ 304 h 1483"/>
                  <a:gd name="T98" fmla="*/ 138 w 673"/>
                  <a:gd name="T99" fmla="*/ 243 h 1483"/>
                  <a:gd name="T100" fmla="*/ 175 w 673"/>
                  <a:gd name="T101" fmla="*/ 196 h 1483"/>
                  <a:gd name="T102" fmla="*/ 170 w 673"/>
                  <a:gd name="T103" fmla="*/ 110 h 1483"/>
                  <a:gd name="T104" fmla="*/ 253 w 673"/>
                  <a:gd name="T105" fmla="*/ 2 h 1483"/>
                  <a:gd name="T106" fmla="*/ 315 w 673"/>
                  <a:gd name="T107" fmla="*/ 32 h 1483"/>
                  <a:gd name="T108" fmla="*/ 180 w 673"/>
                  <a:gd name="T109" fmla="*/ 1362 h 1483"/>
                  <a:gd name="T110" fmla="*/ 213 w 673"/>
                  <a:gd name="T111" fmla="*/ 1425 h 1483"/>
                  <a:gd name="T112" fmla="*/ 282 w 673"/>
                  <a:gd name="T113" fmla="*/ 1466 h 1483"/>
                  <a:gd name="T114" fmla="*/ 223 w 673"/>
                  <a:gd name="T115" fmla="*/ 1475 h 1483"/>
                  <a:gd name="T116" fmla="*/ 320 w 673"/>
                  <a:gd name="T117" fmla="*/ 1465 h 1483"/>
                  <a:gd name="T118" fmla="*/ 301 w 673"/>
                  <a:gd name="T119" fmla="*/ 1466 h 1483"/>
                  <a:gd name="T120" fmla="*/ 206 w 673"/>
                  <a:gd name="T121" fmla="*/ 1473 h 1483"/>
                  <a:gd name="T122" fmla="*/ 269 w 673"/>
                  <a:gd name="T123" fmla="*/ 954 h 1483"/>
                  <a:gd name="T124" fmla="*/ 383 w 673"/>
                  <a:gd name="T125" fmla="*/ 721 h 1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73" h="1483">
                    <a:moveTo>
                      <a:pt x="369" y="17"/>
                    </a:moveTo>
                    <a:lnTo>
                      <a:pt x="371" y="17"/>
                    </a:lnTo>
                    <a:lnTo>
                      <a:pt x="371" y="19"/>
                    </a:lnTo>
                    <a:lnTo>
                      <a:pt x="369" y="19"/>
                    </a:lnTo>
                    <a:lnTo>
                      <a:pt x="371" y="19"/>
                    </a:lnTo>
                    <a:lnTo>
                      <a:pt x="372" y="20"/>
                    </a:lnTo>
                    <a:lnTo>
                      <a:pt x="372" y="22"/>
                    </a:lnTo>
                    <a:lnTo>
                      <a:pt x="374" y="22"/>
                    </a:lnTo>
                    <a:lnTo>
                      <a:pt x="376" y="22"/>
                    </a:lnTo>
                    <a:lnTo>
                      <a:pt x="376" y="24"/>
                    </a:lnTo>
                    <a:lnTo>
                      <a:pt x="377" y="24"/>
                    </a:lnTo>
                    <a:lnTo>
                      <a:pt x="379" y="24"/>
                    </a:lnTo>
                    <a:lnTo>
                      <a:pt x="379" y="25"/>
                    </a:lnTo>
                    <a:lnTo>
                      <a:pt x="379" y="24"/>
                    </a:lnTo>
                    <a:lnTo>
                      <a:pt x="379" y="25"/>
                    </a:lnTo>
                    <a:lnTo>
                      <a:pt x="381" y="25"/>
                    </a:lnTo>
                    <a:lnTo>
                      <a:pt x="379" y="25"/>
                    </a:lnTo>
                    <a:lnTo>
                      <a:pt x="381" y="25"/>
                    </a:lnTo>
                    <a:lnTo>
                      <a:pt x="381" y="27"/>
                    </a:lnTo>
                    <a:lnTo>
                      <a:pt x="383" y="27"/>
                    </a:lnTo>
                    <a:lnTo>
                      <a:pt x="384" y="27"/>
                    </a:lnTo>
                    <a:lnTo>
                      <a:pt x="383" y="29"/>
                    </a:lnTo>
                    <a:lnTo>
                      <a:pt x="384" y="29"/>
                    </a:lnTo>
                    <a:lnTo>
                      <a:pt x="383" y="29"/>
                    </a:lnTo>
                    <a:lnTo>
                      <a:pt x="383" y="31"/>
                    </a:lnTo>
                    <a:lnTo>
                      <a:pt x="383" y="32"/>
                    </a:lnTo>
                    <a:lnTo>
                      <a:pt x="384" y="31"/>
                    </a:lnTo>
                    <a:lnTo>
                      <a:pt x="384" y="32"/>
                    </a:lnTo>
                    <a:lnTo>
                      <a:pt x="384" y="34"/>
                    </a:lnTo>
                    <a:lnTo>
                      <a:pt x="384" y="36"/>
                    </a:lnTo>
                    <a:lnTo>
                      <a:pt x="386" y="37"/>
                    </a:lnTo>
                    <a:lnTo>
                      <a:pt x="388" y="39"/>
                    </a:lnTo>
                    <a:lnTo>
                      <a:pt x="388" y="41"/>
                    </a:lnTo>
                    <a:lnTo>
                      <a:pt x="389" y="42"/>
                    </a:lnTo>
                    <a:lnTo>
                      <a:pt x="389" y="44"/>
                    </a:lnTo>
                    <a:lnTo>
                      <a:pt x="391" y="44"/>
                    </a:lnTo>
                    <a:lnTo>
                      <a:pt x="391" y="46"/>
                    </a:lnTo>
                    <a:lnTo>
                      <a:pt x="393" y="46"/>
                    </a:lnTo>
                    <a:lnTo>
                      <a:pt x="394" y="48"/>
                    </a:lnTo>
                    <a:lnTo>
                      <a:pt x="396" y="48"/>
                    </a:lnTo>
                    <a:lnTo>
                      <a:pt x="396" y="49"/>
                    </a:lnTo>
                    <a:lnTo>
                      <a:pt x="398" y="49"/>
                    </a:lnTo>
                    <a:lnTo>
                      <a:pt x="398" y="51"/>
                    </a:lnTo>
                    <a:lnTo>
                      <a:pt x="400" y="51"/>
                    </a:lnTo>
                    <a:lnTo>
                      <a:pt x="400" y="53"/>
                    </a:lnTo>
                    <a:lnTo>
                      <a:pt x="401" y="53"/>
                    </a:lnTo>
                    <a:lnTo>
                      <a:pt x="401" y="54"/>
                    </a:lnTo>
                    <a:lnTo>
                      <a:pt x="403" y="54"/>
                    </a:lnTo>
                    <a:lnTo>
                      <a:pt x="405" y="54"/>
                    </a:lnTo>
                    <a:lnTo>
                      <a:pt x="405" y="56"/>
                    </a:lnTo>
                    <a:lnTo>
                      <a:pt x="406" y="56"/>
                    </a:lnTo>
                    <a:lnTo>
                      <a:pt x="406" y="58"/>
                    </a:lnTo>
                    <a:lnTo>
                      <a:pt x="408" y="58"/>
                    </a:lnTo>
                    <a:lnTo>
                      <a:pt x="408" y="59"/>
                    </a:lnTo>
                    <a:lnTo>
                      <a:pt x="410" y="59"/>
                    </a:lnTo>
                    <a:lnTo>
                      <a:pt x="410" y="61"/>
                    </a:lnTo>
                    <a:lnTo>
                      <a:pt x="411" y="61"/>
                    </a:lnTo>
                    <a:lnTo>
                      <a:pt x="413" y="61"/>
                    </a:lnTo>
                    <a:lnTo>
                      <a:pt x="415" y="61"/>
                    </a:lnTo>
                    <a:lnTo>
                      <a:pt x="415" y="63"/>
                    </a:lnTo>
                    <a:lnTo>
                      <a:pt x="417" y="63"/>
                    </a:lnTo>
                    <a:lnTo>
                      <a:pt x="417" y="65"/>
                    </a:lnTo>
                    <a:lnTo>
                      <a:pt x="418" y="65"/>
                    </a:lnTo>
                    <a:lnTo>
                      <a:pt x="420" y="65"/>
                    </a:lnTo>
                    <a:lnTo>
                      <a:pt x="420" y="66"/>
                    </a:lnTo>
                    <a:lnTo>
                      <a:pt x="422" y="66"/>
                    </a:lnTo>
                    <a:lnTo>
                      <a:pt x="422" y="68"/>
                    </a:lnTo>
                    <a:lnTo>
                      <a:pt x="422" y="70"/>
                    </a:lnTo>
                    <a:lnTo>
                      <a:pt x="423" y="70"/>
                    </a:lnTo>
                    <a:lnTo>
                      <a:pt x="423" y="71"/>
                    </a:lnTo>
                    <a:lnTo>
                      <a:pt x="425" y="73"/>
                    </a:lnTo>
                    <a:lnTo>
                      <a:pt x="425" y="75"/>
                    </a:lnTo>
                    <a:lnTo>
                      <a:pt x="427" y="75"/>
                    </a:lnTo>
                    <a:lnTo>
                      <a:pt x="427" y="73"/>
                    </a:lnTo>
                    <a:lnTo>
                      <a:pt x="428" y="75"/>
                    </a:lnTo>
                    <a:lnTo>
                      <a:pt x="430" y="76"/>
                    </a:lnTo>
                    <a:lnTo>
                      <a:pt x="432" y="76"/>
                    </a:lnTo>
                    <a:lnTo>
                      <a:pt x="434" y="76"/>
                    </a:lnTo>
                    <a:lnTo>
                      <a:pt x="435" y="76"/>
                    </a:lnTo>
                    <a:lnTo>
                      <a:pt x="435" y="78"/>
                    </a:lnTo>
                    <a:lnTo>
                      <a:pt x="437" y="78"/>
                    </a:lnTo>
                    <a:lnTo>
                      <a:pt x="439" y="78"/>
                    </a:lnTo>
                    <a:lnTo>
                      <a:pt x="439" y="80"/>
                    </a:lnTo>
                    <a:lnTo>
                      <a:pt x="440" y="80"/>
                    </a:lnTo>
                    <a:lnTo>
                      <a:pt x="442" y="80"/>
                    </a:lnTo>
                    <a:lnTo>
                      <a:pt x="444" y="80"/>
                    </a:lnTo>
                    <a:lnTo>
                      <a:pt x="445" y="80"/>
                    </a:lnTo>
                    <a:lnTo>
                      <a:pt x="445" y="82"/>
                    </a:lnTo>
                    <a:lnTo>
                      <a:pt x="447" y="82"/>
                    </a:lnTo>
                    <a:lnTo>
                      <a:pt x="449" y="83"/>
                    </a:lnTo>
                    <a:lnTo>
                      <a:pt x="451" y="83"/>
                    </a:lnTo>
                    <a:lnTo>
                      <a:pt x="452" y="83"/>
                    </a:lnTo>
                    <a:lnTo>
                      <a:pt x="454" y="83"/>
                    </a:lnTo>
                    <a:lnTo>
                      <a:pt x="456" y="82"/>
                    </a:lnTo>
                    <a:lnTo>
                      <a:pt x="457" y="82"/>
                    </a:lnTo>
                    <a:lnTo>
                      <a:pt x="466" y="87"/>
                    </a:lnTo>
                    <a:lnTo>
                      <a:pt x="473" y="92"/>
                    </a:lnTo>
                    <a:lnTo>
                      <a:pt x="476" y="93"/>
                    </a:lnTo>
                    <a:lnTo>
                      <a:pt x="478" y="95"/>
                    </a:lnTo>
                    <a:lnTo>
                      <a:pt x="478" y="97"/>
                    </a:lnTo>
                    <a:lnTo>
                      <a:pt x="479" y="97"/>
                    </a:lnTo>
                    <a:lnTo>
                      <a:pt x="481" y="99"/>
                    </a:lnTo>
                    <a:lnTo>
                      <a:pt x="483" y="100"/>
                    </a:lnTo>
                    <a:lnTo>
                      <a:pt x="485" y="100"/>
                    </a:lnTo>
                    <a:lnTo>
                      <a:pt x="485" y="102"/>
                    </a:lnTo>
                    <a:lnTo>
                      <a:pt x="486" y="102"/>
                    </a:lnTo>
                    <a:lnTo>
                      <a:pt x="488" y="104"/>
                    </a:lnTo>
                    <a:lnTo>
                      <a:pt x="490" y="104"/>
                    </a:lnTo>
                    <a:lnTo>
                      <a:pt x="491" y="105"/>
                    </a:lnTo>
                    <a:lnTo>
                      <a:pt x="493" y="105"/>
                    </a:lnTo>
                    <a:lnTo>
                      <a:pt x="495" y="107"/>
                    </a:lnTo>
                    <a:lnTo>
                      <a:pt x="496" y="107"/>
                    </a:lnTo>
                    <a:lnTo>
                      <a:pt x="496" y="109"/>
                    </a:lnTo>
                    <a:lnTo>
                      <a:pt x="498" y="109"/>
                    </a:lnTo>
                    <a:lnTo>
                      <a:pt x="498" y="110"/>
                    </a:lnTo>
                    <a:lnTo>
                      <a:pt x="500" y="110"/>
                    </a:lnTo>
                    <a:lnTo>
                      <a:pt x="502" y="110"/>
                    </a:lnTo>
                    <a:lnTo>
                      <a:pt x="503" y="110"/>
                    </a:lnTo>
                    <a:lnTo>
                      <a:pt x="503" y="112"/>
                    </a:lnTo>
                    <a:lnTo>
                      <a:pt x="505" y="112"/>
                    </a:lnTo>
                    <a:lnTo>
                      <a:pt x="507" y="112"/>
                    </a:lnTo>
                    <a:lnTo>
                      <a:pt x="508" y="112"/>
                    </a:lnTo>
                    <a:lnTo>
                      <a:pt x="510" y="112"/>
                    </a:lnTo>
                    <a:lnTo>
                      <a:pt x="510" y="114"/>
                    </a:lnTo>
                    <a:lnTo>
                      <a:pt x="512" y="114"/>
                    </a:lnTo>
                    <a:lnTo>
                      <a:pt x="512" y="116"/>
                    </a:lnTo>
                    <a:lnTo>
                      <a:pt x="513" y="116"/>
                    </a:lnTo>
                    <a:lnTo>
                      <a:pt x="513" y="117"/>
                    </a:lnTo>
                    <a:lnTo>
                      <a:pt x="515" y="117"/>
                    </a:lnTo>
                    <a:lnTo>
                      <a:pt x="515" y="119"/>
                    </a:lnTo>
                    <a:lnTo>
                      <a:pt x="515" y="117"/>
                    </a:lnTo>
                    <a:lnTo>
                      <a:pt x="517" y="117"/>
                    </a:lnTo>
                    <a:lnTo>
                      <a:pt x="517" y="116"/>
                    </a:lnTo>
                    <a:lnTo>
                      <a:pt x="519" y="116"/>
                    </a:lnTo>
                    <a:lnTo>
                      <a:pt x="520" y="117"/>
                    </a:lnTo>
                    <a:lnTo>
                      <a:pt x="522" y="117"/>
                    </a:lnTo>
                    <a:lnTo>
                      <a:pt x="522" y="119"/>
                    </a:lnTo>
                    <a:lnTo>
                      <a:pt x="524" y="119"/>
                    </a:lnTo>
                    <a:lnTo>
                      <a:pt x="524" y="121"/>
                    </a:lnTo>
                    <a:lnTo>
                      <a:pt x="525" y="119"/>
                    </a:lnTo>
                    <a:lnTo>
                      <a:pt x="525" y="121"/>
                    </a:lnTo>
                    <a:lnTo>
                      <a:pt x="525" y="119"/>
                    </a:lnTo>
                    <a:lnTo>
                      <a:pt x="525" y="121"/>
                    </a:lnTo>
                    <a:lnTo>
                      <a:pt x="525" y="119"/>
                    </a:lnTo>
                    <a:lnTo>
                      <a:pt x="527" y="121"/>
                    </a:lnTo>
                    <a:lnTo>
                      <a:pt x="529" y="121"/>
                    </a:lnTo>
                    <a:lnTo>
                      <a:pt x="530" y="121"/>
                    </a:lnTo>
                    <a:lnTo>
                      <a:pt x="532" y="122"/>
                    </a:lnTo>
                    <a:lnTo>
                      <a:pt x="532" y="124"/>
                    </a:lnTo>
                    <a:lnTo>
                      <a:pt x="534" y="124"/>
                    </a:lnTo>
                    <a:lnTo>
                      <a:pt x="534" y="126"/>
                    </a:lnTo>
                    <a:lnTo>
                      <a:pt x="536" y="126"/>
                    </a:lnTo>
                    <a:lnTo>
                      <a:pt x="534" y="126"/>
                    </a:lnTo>
                    <a:lnTo>
                      <a:pt x="536" y="127"/>
                    </a:lnTo>
                    <a:lnTo>
                      <a:pt x="536" y="129"/>
                    </a:lnTo>
                    <a:lnTo>
                      <a:pt x="537" y="129"/>
                    </a:lnTo>
                    <a:lnTo>
                      <a:pt x="536" y="129"/>
                    </a:lnTo>
                    <a:lnTo>
                      <a:pt x="536" y="131"/>
                    </a:lnTo>
                    <a:lnTo>
                      <a:pt x="537" y="131"/>
                    </a:lnTo>
                    <a:lnTo>
                      <a:pt x="537" y="133"/>
                    </a:lnTo>
                    <a:lnTo>
                      <a:pt x="539" y="133"/>
                    </a:lnTo>
                    <a:lnTo>
                      <a:pt x="541" y="133"/>
                    </a:lnTo>
                    <a:lnTo>
                      <a:pt x="541" y="134"/>
                    </a:lnTo>
                    <a:lnTo>
                      <a:pt x="541" y="136"/>
                    </a:lnTo>
                    <a:lnTo>
                      <a:pt x="541" y="138"/>
                    </a:lnTo>
                    <a:lnTo>
                      <a:pt x="541" y="139"/>
                    </a:lnTo>
                    <a:lnTo>
                      <a:pt x="539" y="139"/>
                    </a:lnTo>
                    <a:lnTo>
                      <a:pt x="539" y="141"/>
                    </a:lnTo>
                    <a:lnTo>
                      <a:pt x="537" y="141"/>
                    </a:lnTo>
                    <a:lnTo>
                      <a:pt x="537" y="143"/>
                    </a:lnTo>
                    <a:lnTo>
                      <a:pt x="536" y="143"/>
                    </a:lnTo>
                    <a:lnTo>
                      <a:pt x="534" y="144"/>
                    </a:lnTo>
                    <a:lnTo>
                      <a:pt x="536" y="144"/>
                    </a:lnTo>
                    <a:lnTo>
                      <a:pt x="536" y="146"/>
                    </a:lnTo>
                    <a:lnTo>
                      <a:pt x="534" y="146"/>
                    </a:lnTo>
                    <a:lnTo>
                      <a:pt x="532" y="146"/>
                    </a:lnTo>
                    <a:lnTo>
                      <a:pt x="532" y="148"/>
                    </a:lnTo>
                    <a:lnTo>
                      <a:pt x="534" y="148"/>
                    </a:lnTo>
                    <a:lnTo>
                      <a:pt x="534" y="150"/>
                    </a:lnTo>
                    <a:lnTo>
                      <a:pt x="532" y="150"/>
                    </a:lnTo>
                    <a:lnTo>
                      <a:pt x="530" y="150"/>
                    </a:lnTo>
                    <a:lnTo>
                      <a:pt x="530" y="151"/>
                    </a:lnTo>
                    <a:lnTo>
                      <a:pt x="532" y="153"/>
                    </a:lnTo>
                    <a:lnTo>
                      <a:pt x="530" y="153"/>
                    </a:lnTo>
                    <a:lnTo>
                      <a:pt x="530" y="155"/>
                    </a:lnTo>
                    <a:lnTo>
                      <a:pt x="530" y="156"/>
                    </a:lnTo>
                    <a:lnTo>
                      <a:pt x="529" y="156"/>
                    </a:lnTo>
                    <a:lnTo>
                      <a:pt x="529" y="158"/>
                    </a:lnTo>
                    <a:lnTo>
                      <a:pt x="527" y="158"/>
                    </a:lnTo>
                    <a:lnTo>
                      <a:pt x="527" y="160"/>
                    </a:lnTo>
                    <a:lnTo>
                      <a:pt x="525" y="160"/>
                    </a:lnTo>
                    <a:lnTo>
                      <a:pt x="524" y="160"/>
                    </a:lnTo>
                    <a:lnTo>
                      <a:pt x="524" y="161"/>
                    </a:lnTo>
                    <a:lnTo>
                      <a:pt x="522" y="161"/>
                    </a:lnTo>
                    <a:lnTo>
                      <a:pt x="522" y="163"/>
                    </a:lnTo>
                    <a:lnTo>
                      <a:pt x="520" y="163"/>
                    </a:lnTo>
                    <a:lnTo>
                      <a:pt x="522" y="163"/>
                    </a:lnTo>
                    <a:lnTo>
                      <a:pt x="522" y="165"/>
                    </a:lnTo>
                    <a:lnTo>
                      <a:pt x="520" y="165"/>
                    </a:lnTo>
                    <a:lnTo>
                      <a:pt x="520" y="167"/>
                    </a:lnTo>
                    <a:lnTo>
                      <a:pt x="520" y="168"/>
                    </a:lnTo>
                    <a:lnTo>
                      <a:pt x="520" y="170"/>
                    </a:lnTo>
                    <a:lnTo>
                      <a:pt x="519" y="170"/>
                    </a:lnTo>
                    <a:lnTo>
                      <a:pt x="519" y="172"/>
                    </a:lnTo>
                    <a:lnTo>
                      <a:pt x="520" y="172"/>
                    </a:lnTo>
                    <a:lnTo>
                      <a:pt x="520" y="173"/>
                    </a:lnTo>
                    <a:lnTo>
                      <a:pt x="519" y="173"/>
                    </a:lnTo>
                    <a:lnTo>
                      <a:pt x="519" y="175"/>
                    </a:lnTo>
                    <a:lnTo>
                      <a:pt x="519" y="177"/>
                    </a:lnTo>
                    <a:lnTo>
                      <a:pt x="520" y="177"/>
                    </a:lnTo>
                    <a:lnTo>
                      <a:pt x="520" y="178"/>
                    </a:lnTo>
                    <a:lnTo>
                      <a:pt x="519" y="178"/>
                    </a:lnTo>
                    <a:lnTo>
                      <a:pt x="520" y="180"/>
                    </a:lnTo>
                    <a:lnTo>
                      <a:pt x="519" y="180"/>
                    </a:lnTo>
                    <a:lnTo>
                      <a:pt x="517" y="180"/>
                    </a:lnTo>
                    <a:lnTo>
                      <a:pt x="517" y="182"/>
                    </a:lnTo>
                    <a:lnTo>
                      <a:pt x="519" y="184"/>
                    </a:lnTo>
                    <a:lnTo>
                      <a:pt x="517" y="184"/>
                    </a:lnTo>
                    <a:lnTo>
                      <a:pt x="517" y="185"/>
                    </a:lnTo>
                    <a:lnTo>
                      <a:pt x="515" y="185"/>
                    </a:lnTo>
                    <a:lnTo>
                      <a:pt x="515" y="187"/>
                    </a:lnTo>
                    <a:lnTo>
                      <a:pt x="515" y="189"/>
                    </a:lnTo>
                    <a:lnTo>
                      <a:pt x="513" y="189"/>
                    </a:lnTo>
                    <a:lnTo>
                      <a:pt x="513" y="190"/>
                    </a:lnTo>
                    <a:lnTo>
                      <a:pt x="512" y="190"/>
                    </a:lnTo>
                    <a:lnTo>
                      <a:pt x="510" y="190"/>
                    </a:lnTo>
                    <a:lnTo>
                      <a:pt x="510" y="192"/>
                    </a:lnTo>
                    <a:lnTo>
                      <a:pt x="510" y="194"/>
                    </a:lnTo>
                    <a:lnTo>
                      <a:pt x="508" y="194"/>
                    </a:lnTo>
                    <a:lnTo>
                      <a:pt x="510" y="196"/>
                    </a:lnTo>
                    <a:lnTo>
                      <a:pt x="508" y="196"/>
                    </a:lnTo>
                    <a:lnTo>
                      <a:pt x="507" y="196"/>
                    </a:lnTo>
                    <a:lnTo>
                      <a:pt x="508" y="196"/>
                    </a:lnTo>
                    <a:lnTo>
                      <a:pt x="507" y="197"/>
                    </a:lnTo>
                    <a:lnTo>
                      <a:pt x="508" y="197"/>
                    </a:lnTo>
                    <a:lnTo>
                      <a:pt x="507" y="197"/>
                    </a:lnTo>
                    <a:lnTo>
                      <a:pt x="505" y="197"/>
                    </a:lnTo>
                    <a:lnTo>
                      <a:pt x="505" y="199"/>
                    </a:lnTo>
                    <a:lnTo>
                      <a:pt x="503" y="199"/>
                    </a:lnTo>
                    <a:lnTo>
                      <a:pt x="503" y="201"/>
                    </a:lnTo>
                    <a:lnTo>
                      <a:pt x="505" y="201"/>
                    </a:lnTo>
                    <a:lnTo>
                      <a:pt x="505" y="202"/>
                    </a:lnTo>
                    <a:lnTo>
                      <a:pt x="507" y="202"/>
                    </a:lnTo>
                    <a:lnTo>
                      <a:pt x="507" y="204"/>
                    </a:lnTo>
                    <a:lnTo>
                      <a:pt x="505" y="204"/>
                    </a:lnTo>
                    <a:lnTo>
                      <a:pt x="505" y="206"/>
                    </a:lnTo>
                    <a:lnTo>
                      <a:pt x="507" y="206"/>
                    </a:lnTo>
                    <a:lnTo>
                      <a:pt x="507" y="204"/>
                    </a:lnTo>
                    <a:lnTo>
                      <a:pt x="508" y="204"/>
                    </a:lnTo>
                    <a:lnTo>
                      <a:pt x="510" y="204"/>
                    </a:lnTo>
                    <a:lnTo>
                      <a:pt x="512" y="204"/>
                    </a:lnTo>
                    <a:lnTo>
                      <a:pt x="513" y="204"/>
                    </a:lnTo>
                    <a:lnTo>
                      <a:pt x="515" y="204"/>
                    </a:lnTo>
                    <a:lnTo>
                      <a:pt x="517" y="204"/>
                    </a:lnTo>
                    <a:lnTo>
                      <a:pt x="519" y="204"/>
                    </a:lnTo>
                    <a:lnTo>
                      <a:pt x="520" y="204"/>
                    </a:lnTo>
                    <a:lnTo>
                      <a:pt x="522" y="204"/>
                    </a:lnTo>
                    <a:lnTo>
                      <a:pt x="524" y="204"/>
                    </a:lnTo>
                    <a:lnTo>
                      <a:pt x="525" y="204"/>
                    </a:lnTo>
                    <a:lnTo>
                      <a:pt x="527" y="204"/>
                    </a:lnTo>
                    <a:lnTo>
                      <a:pt x="529" y="204"/>
                    </a:lnTo>
                    <a:lnTo>
                      <a:pt x="530" y="204"/>
                    </a:lnTo>
                    <a:lnTo>
                      <a:pt x="532" y="206"/>
                    </a:lnTo>
                    <a:lnTo>
                      <a:pt x="534" y="206"/>
                    </a:lnTo>
                    <a:lnTo>
                      <a:pt x="536" y="206"/>
                    </a:lnTo>
                    <a:lnTo>
                      <a:pt x="537" y="206"/>
                    </a:lnTo>
                    <a:lnTo>
                      <a:pt x="537" y="207"/>
                    </a:lnTo>
                    <a:lnTo>
                      <a:pt x="539" y="207"/>
                    </a:lnTo>
                    <a:lnTo>
                      <a:pt x="541" y="209"/>
                    </a:lnTo>
                    <a:lnTo>
                      <a:pt x="542" y="209"/>
                    </a:lnTo>
                    <a:lnTo>
                      <a:pt x="542" y="211"/>
                    </a:lnTo>
                    <a:lnTo>
                      <a:pt x="544" y="211"/>
                    </a:lnTo>
                    <a:lnTo>
                      <a:pt x="546" y="211"/>
                    </a:lnTo>
                    <a:lnTo>
                      <a:pt x="546" y="209"/>
                    </a:lnTo>
                    <a:lnTo>
                      <a:pt x="547" y="209"/>
                    </a:lnTo>
                    <a:lnTo>
                      <a:pt x="549" y="209"/>
                    </a:lnTo>
                    <a:lnTo>
                      <a:pt x="551" y="211"/>
                    </a:lnTo>
                    <a:lnTo>
                      <a:pt x="553" y="211"/>
                    </a:lnTo>
                    <a:lnTo>
                      <a:pt x="554" y="211"/>
                    </a:lnTo>
                    <a:lnTo>
                      <a:pt x="556" y="213"/>
                    </a:lnTo>
                    <a:lnTo>
                      <a:pt x="558" y="213"/>
                    </a:lnTo>
                    <a:lnTo>
                      <a:pt x="559" y="213"/>
                    </a:lnTo>
                    <a:lnTo>
                      <a:pt x="559" y="211"/>
                    </a:lnTo>
                    <a:lnTo>
                      <a:pt x="561" y="211"/>
                    </a:lnTo>
                    <a:lnTo>
                      <a:pt x="561" y="209"/>
                    </a:lnTo>
                    <a:lnTo>
                      <a:pt x="563" y="209"/>
                    </a:lnTo>
                    <a:lnTo>
                      <a:pt x="564" y="209"/>
                    </a:lnTo>
                    <a:lnTo>
                      <a:pt x="564" y="211"/>
                    </a:lnTo>
                    <a:lnTo>
                      <a:pt x="566" y="211"/>
                    </a:lnTo>
                    <a:lnTo>
                      <a:pt x="568" y="213"/>
                    </a:lnTo>
                    <a:lnTo>
                      <a:pt x="570" y="213"/>
                    </a:lnTo>
                    <a:lnTo>
                      <a:pt x="570" y="211"/>
                    </a:lnTo>
                    <a:lnTo>
                      <a:pt x="571" y="211"/>
                    </a:lnTo>
                    <a:lnTo>
                      <a:pt x="573" y="211"/>
                    </a:lnTo>
                    <a:lnTo>
                      <a:pt x="575" y="211"/>
                    </a:lnTo>
                    <a:lnTo>
                      <a:pt x="576" y="211"/>
                    </a:lnTo>
                    <a:lnTo>
                      <a:pt x="576" y="213"/>
                    </a:lnTo>
                    <a:lnTo>
                      <a:pt x="578" y="213"/>
                    </a:lnTo>
                    <a:lnTo>
                      <a:pt x="578" y="214"/>
                    </a:lnTo>
                    <a:lnTo>
                      <a:pt x="581" y="216"/>
                    </a:lnTo>
                    <a:lnTo>
                      <a:pt x="581" y="214"/>
                    </a:lnTo>
                    <a:lnTo>
                      <a:pt x="583" y="214"/>
                    </a:lnTo>
                    <a:lnTo>
                      <a:pt x="583" y="213"/>
                    </a:lnTo>
                    <a:lnTo>
                      <a:pt x="585" y="211"/>
                    </a:lnTo>
                    <a:lnTo>
                      <a:pt x="583" y="211"/>
                    </a:lnTo>
                    <a:lnTo>
                      <a:pt x="583" y="209"/>
                    </a:lnTo>
                    <a:lnTo>
                      <a:pt x="585" y="209"/>
                    </a:lnTo>
                    <a:lnTo>
                      <a:pt x="587" y="209"/>
                    </a:lnTo>
                    <a:lnTo>
                      <a:pt x="587" y="207"/>
                    </a:lnTo>
                    <a:lnTo>
                      <a:pt x="588" y="206"/>
                    </a:lnTo>
                    <a:lnTo>
                      <a:pt x="590" y="206"/>
                    </a:lnTo>
                    <a:lnTo>
                      <a:pt x="592" y="206"/>
                    </a:lnTo>
                    <a:lnTo>
                      <a:pt x="593" y="206"/>
                    </a:lnTo>
                    <a:lnTo>
                      <a:pt x="595" y="207"/>
                    </a:lnTo>
                    <a:lnTo>
                      <a:pt x="597" y="206"/>
                    </a:lnTo>
                    <a:lnTo>
                      <a:pt x="598" y="207"/>
                    </a:lnTo>
                    <a:lnTo>
                      <a:pt x="598" y="209"/>
                    </a:lnTo>
                    <a:lnTo>
                      <a:pt x="600" y="209"/>
                    </a:lnTo>
                    <a:lnTo>
                      <a:pt x="600" y="211"/>
                    </a:lnTo>
                    <a:lnTo>
                      <a:pt x="602" y="211"/>
                    </a:lnTo>
                    <a:lnTo>
                      <a:pt x="604" y="209"/>
                    </a:lnTo>
                    <a:lnTo>
                      <a:pt x="604" y="207"/>
                    </a:lnTo>
                    <a:lnTo>
                      <a:pt x="605" y="207"/>
                    </a:lnTo>
                    <a:lnTo>
                      <a:pt x="607" y="207"/>
                    </a:lnTo>
                    <a:lnTo>
                      <a:pt x="607" y="206"/>
                    </a:lnTo>
                    <a:lnTo>
                      <a:pt x="607" y="204"/>
                    </a:lnTo>
                    <a:lnTo>
                      <a:pt x="609" y="204"/>
                    </a:lnTo>
                    <a:lnTo>
                      <a:pt x="609" y="202"/>
                    </a:lnTo>
                    <a:lnTo>
                      <a:pt x="607" y="202"/>
                    </a:lnTo>
                    <a:lnTo>
                      <a:pt x="607" y="201"/>
                    </a:lnTo>
                    <a:lnTo>
                      <a:pt x="607" y="199"/>
                    </a:lnTo>
                    <a:lnTo>
                      <a:pt x="609" y="201"/>
                    </a:lnTo>
                    <a:lnTo>
                      <a:pt x="609" y="199"/>
                    </a:lnTo>
                    <a:lnTo>
                      <a:pt x="609" y="197"/>
                    </a:lnTo>
                    <a:lnTo>
                      <a:pt x="610" y="197"/>
                    </a:lnTo>
                    <a:lnTo>
                      <a:pt x="612" y="197"/>
                    </a:lnTo>
                    <a:lnTo>
                      <a:pt x="612" y="196"/>
                    </a:lnTo>
                    <a:lnTo>
                      <a:pt x="612" y="194"/>
                    </a:lnTo>
                    <a:lnTo>
                      <a:pt x="614" y="194"/>
                    </a:lnTo>
                    <a:lnTo>
                      <a:pt x="615" y="192"/>
                    </a:lnTo>
                    <a:lnTo>
                      <a:pt x="617" y="192"/>
                    </a:lnTo>
                    <a:lnTo>
                      <a:pt x="619" y="190"/>
                    </a:lnTo>
                    <a:lnTo>
                      <a:pt x="621" y="192"/>
                    </a:lnTo>
                    <a:lnTo>
                      <a:pt x="622" y="192"/>
                    </a:lnTo>
                    <a:lnTo>
                      <a:pt x="622" y="190"/>
                    </a:lnTo>
                    <a:lnTo>
                      <a:pt x="622" y="189"/>
                    </a:lnTo>
                    <a:lnTo>
                      <a:pt x="624" y="187"/>
                    </a:lnTo>
                    <a:lnTo>
                      <a:pt x="626" y="185"/>
                    </a:lnTo>
                    <a:lnTo>
                      <a:pt x="627" y="185"/>
                    </a:lnTo>
                    <a:lnTo>
                      <a:pt x="629" y="185"/>
                    </a:lnTo>
                    <a:lnTo>
                      <a:pt x="629" y="184"/>
                    </a:lnTo>
                    <a:lnTo>
                      <a:pt x="629" y="182"/>
                    </a:lnTo>
                    <a:lnTo>
                      <a:pt x="631" y="180"/>
                    </a:lnTo>
                    <a:lnTo>
                      <a:pt x="632" y="180"/>
                    </a:lnTo>
                    <a:lnTo>
                      <a:pt x="632" y="182"/>
                    </a:lnTo>
                    <a:lnTo>
                      <a:pt x="634" y="180"/>
                    </a:lnTo>
                    <a:lnTo>
                      <a:pt x="634" y="178"/>
                    </a:lnTo>
                    <a:lnTo>
                      <a:pt x="634" y="177"/>
                    </a:lnTo>
                    <a:lnTo>
                      <a:pt x="634" y="175"/>
                    </a:lnTo>
                    <a:lnTo>
                      <a:pt x="636" y="175"/>
                    </a:lnTo>
                    <a:lnTo>
                      <a:pt x="636" y="173"/>
                    </a:lnTo>
                    <a:lnTo>
                      <a:pt x="638" y="173"/>
                    </a:lnTo>
                    <a:lnTo>
                      <a:pt x="638" y="172"/>
                    </a:lnTo>
                    <a:lnTo>
                      <a:pt x="638" y="170"/>
                    </a:lnTo>
                    <a:lnTo>
                      <a:pt x="638" y="168"/>
                    </a:lnTo>
                    <a:lnTo>
                      <a:pt x="639" y="168"/>
                    </a:lnTo>
                    <a:lnTo>
                      <a:pt x="639" y="167"/>
                    </a:lnTo>
                    <a:lnTo>
                      <a:pt x="638" y="165"/>
                    </a:lnTo>
                    <a:lnTo>
                      <a:pt x="639" y="165"/>
                    </a:lnTo>
                    <a:lnTo>
                      <a:pt x="641" y="165"/>
                    </a:lnTo>
                    <a:lnTo>
                      <a:pt x="641" y="163"/>
                    </a:lnTo>
                    <a:lnTo>
                      <a:pt x="639" y="163"/>
                    </a:lnTo>
                    <a:lnTo>
                      <a:pt x="639" y="161"/>
                    </a:lnTo>
                    <a:lnTo>
                      <a:pt x="639" y="160"/>
                    </a:lnTo>
                    <a:lnTo>
                      <a:pt x="639" y="158"/>
                    </a:lnTo>
                    <a:lnTo>
                      <a:pt x="638" y="156"/>
                    </a:lnTo>
                    <a:lnTo>
                      <a:pt x="639" y="155"/>
                    </a:lnTo>
                    <a:lnTo>
                      <a:pt x="641" y="155"/>
                    </a:lnTo>
                    <a:lnTo>
                      <a:pt x="641" y="153"/>
                    </a:lnTo>
                    <a:lnTo>
                      <a:pt x="641" y="151"/>
                    </a:lnTo>
                    <a:lnTo>
                      <a:pt x="641" y="150"/>
                    </a:lnTo>
                    <a:lnTo>
                      <a:pt x="641" y="148"/>
                    </a:lnTo>
                    <a:lnTo>
                      <a:pt x="639" y="148"/>
                    </a:lnTo>
                    <a:lnTo>
                      <a:pt x="639" y="146"/>
                    </a:lnTo>
                    <a:lnTo>
                      <a:pt x="639" y="144"/>
                    </a:lnTo>
                    <a:lnTo>
                      <a:pt x="639" y="143"/>
                    </a:lnTo>
                    <a:lnTo>
                      <a:pt x="641" y="143"/>
                    </a:lnTo>
                    <a:lnTo>
                      <a:pt x="641" y="141"/>
                    </a:lnTo>
                    <a:lnTo>
                      <a:pt x="643" y="141"/>
                    </a:lnTo>
                    <a:lnTo>
                      <a:pt x="643" y="139"/>
                    </a:lnTo>
                    <a:lnTo>
                      <a:pt x="643" y="141"/>
                    </a:lnTo>
                    <a:lnTo>
                      <a:pt x="644" y="141"/>
                    </a:lnTo>
                    <a:lnTo>
                      <a:pt x="646" y="143"/>
                    </a:lnTo>
                    <a:lnTo>
                      <a:pt x="646" y="144"/>
                    </a:lnTo>
                    <a:lnTo>
                      <a:pt x="648" y="144"/>
                    </a:lnTo>
                    <a:lnTo>
                      <a:pt x="646" y="143"/>
                    </a:lnTo>
                    <a:lnTo>
                      <a:pt x="648" y="143"/>
                    </a:lnTo>
                    <a:lnTo>
                      <a:pt x="648" y="141"/>
                    </a:lnTo>
                    <a:lnTo>
                      <a:pt x="649" y="141"/>
                    </a:lnTo>
                    <a:lnTo>
                      <a:pt x="649" y="139"/>
                    </a:lnTo>
                    <a:lnTo>
                      <a:pt x="651" y="139"/>
                    </a:lnTo>
                    <a:lnTo>
                      <a:pt x="653" y="141"/>
                    </a:lnTo>
                    <a:lnTo>
                      <a:pt x="653" y="139"/>
                    </a:lnTo>
                    <a:lnTo>
                      <a:pt x="655" y="139"/>
                    </a:lnTo>
                    <a:lnTo>
                      <a:pt x="655" y="138"/>
                    </a:lnTo>
                    <a:lnTo>
                      <a:pt x="656" y="138"/>
                    </a:lnTo>
                    <a:lnTo>
                      <a:pt x="658" y="136"/>
                    </a:lnTo>
                    <a:lnTo>
                      <a:pt x="658" y="138"/>
                    </a:lnTo>
                    <a:lnTo>
                      <a:pt x="658" y="139"/>
                    </a:lnTo>
                    <a:lnTo>
                      <a:pt x="656" y="139"/>
                    </a:lnTo>
                    <a:lnTo>
                      <a:pt x="658" y="141"/>
                    </a:lnTo>
                    <a:lnTo>
                      <a:pt x="658" y="139"/>
                    </a:lnTo>
                    <a:lnTo>
                      <a:pt x="660" y="139"/>
                    </a:lnTo>
                    <a:lnTo>
                      <a:pt x="661" y="139"/>
                    </a:lnTo>
                    <a:lnTo>
                      <a:pt x="661" y="141"/>
                    </a:lnTo>
                    <a:lnTo>
                      <a:pt x="663" y="141"/>
                    </a:lnTo>
                    <a:lnTo>
                      <a:pt x="661" y="141"/>
                    </a:lnTo>
                    <a:lnTo>
                      <a:pt x="663" y="141"/>
                    </a:lnTo>
                    <a:lnTo>
                      <a:pt x="663" y="143"/>
                    </a:lnTo>
                    <a:lnTo>
                      <a:pt x="663" y="141"/>
                    </a:lnTo>
                    <a:lnTo>
                      <a:pt x="665" y="141"/>
                    </a:lnTo>
                    <a:lnTo>
                      <a:pt x="665" y="143"/>
                    </a:lnTo>
                    <a:lnTo>
                      <a:pt x="665" y="141"/>
                    </a:lnTo>
                    <a:lnTo>
                      <a:pt x="665" y="143"/>
                    </a:lnTo>
                    <a:lnTo>
                      <a:pt x="666" y="143"/>
                    </a:lnTo>
                    <a:lnTo>
                      <a:pt x="666" y="144"/>
                    </a:lnTo>
                    <a:lnTo>
                      <a:pt x="665" y="144"/>
                    </a:lnTo>
                    <a:lnTo>
                      <a:pt x="666" y="144"/>
                    </a:lnTo>
                    <a:lnTo>
                      <a:pt x="665" y="144"/>
                    </a:lnTo>
                    <a:lnTo>
                      <a:pt x="666" y="144"/>
                    </a:lnTo>
                    <a:lnTo>
                      <a:pt x="666" y="146"/>
                    </a:lnTo>
                    <a:lnTo>
                      <a:pt x="666" y="148"/>
                    </a:lnTo>
                    <a:lnTo>
                      <a:pt x="668" y="150"/>
                    </a:lnTo>
                    <a:lnTo>
                      <a:pt x="666" y="150"/>
                    </a:lnTo>
                    <a:lnTo>
                      <a:pt x="666" y="151"/>
                    </a:lnTo>
                    <a:lnTo>
                      <a:pt x="668" y="151"/>
                    </a:lnTo>
                    <a:lnTo>
                      <a:pt x="666" y="153"/>
                    </a:lnTo>
                    <a:lnTo>
                      <a:pt x="668" y="153"/>
                    </a:lnTo>
                    <a:lnTo>
                      <a:pt x="666" y="153"/>
                    </a:lnTo>
                    <a:lnTo>
                      <a:pt x="666" y="155"/>
                    </a:lnTo>
                    <a:lnTo>
                      <a:pt x="668" y="155"/>
                    </a:lnTo>
                    <a:lnTo>
                      <a:pt x="668" y="156"/>
                    </a:lnTo>
                    <a:lnTo>
                      <a:pt x="670" y="158"/>
                    </a:lnTo>
                    <a:lnTo>
                      <a:pt x="670" y="160"/>
                    </a:lnTo>
                    <a:lnTo>
                      <a:pt x="672" y="161"/>
                    </a:lnTo>
                    <a:lnTo>
                      <a:pt x="673" y="163"/>
                    </a:lnTo>
                    <a:lnTo>
                      <a:pt x="673" y="165"/>
                    </a:lnTo>
                    <a:lnTo>
                      <a:pt x="673" y="167"/>
                    </a:lnTo>
                    <a:lnTo>
                      <a:pt x="673" y="168"/>
                    </a:lnTo>
                    <a:lnTo>
                      <a:pt x="672" y="168"/>
                    </a:lnTo>
                    <a:lnTo>
                      <a:pt x="672" y="170"/>
                    </a:lnTo>
                    <a:lnTo>
                      <a:pt x="672" y="172"/>
                    </a:lnTo>
                    <a:lnTo>
                      <a:pt x="672" y="173"/>
                    </a:lnTo>
                    <a:lnTo>
                      <a:pt x="672" y="175"/>
                    </a:lnTo>
                    <a:lnTo>
                      <a:pt x="670" y="175"/>
                    </a:lnTo>
                    <a:lnTo>
                      <a:pt x="672" y="175"/>
                    </a:lnTo>
                    <a:lnTo>
                      <a:pt x="670" y="177"/>
                    </a:lnTo>
                    <a:lnTo>
                      <a:pt x="672" y="177"/>
                    </a:lnTo>
                    <a:lnTo>
                      <a:pt x="670" y="177"/>
                    </a:lnTo>
                    <a:lnTo>
                      <a:pt x="670" y="178"/>
                    </a:lnTo>
                    <a:lnTo>
                      <a:pt x="670" y="180"/>
                    </a:lnTo>
                    <a:lnTo>
                      <a:pt x="672" y="180"/>
                    </a:lnTo>
                    <a:lnTo>
                      <a:pt x="670" y="182"/>
                    </a:lnTo>
                    <a:lnTo>
                      <a:pt x="672" y="182"/>
                    </a:lnTo>
                    <a:lnTo>
                      <a:pt x="670" y="182"/>
                    </a:lnTo>
                    <a:lnTo>
                      <a:pt x="670" y="184"/>
                    </a:lnTo>
                    <a:lnTo>
                      <a:pt x="670" y="182"/>
                    </a:lnTo>
                    <a:lnTo>
                      <a:pt x="670" y="184"/>
                    </a:lnTo>
                    <a:lnTo>
                      <a:pt x="672" y="184"/>
                    </a:lnTo>
                    <a:lnTo>
                      <a:pt x="670" y="185"/>
                    </a:lnTo>
                    <a:lnTo>
                      <a:pt x="672" y="185"/>
                    </a:lnTo>
                    <a:lnTo>
                      <a:pt x="672" y="187"/>
                    </a:lnTo>
                    <a:lnTo>
                      <a:pt x="673" y="189"/>
                    </a:lnTo>
                    <a:lnTo>
                      <a:pt x="672" y="189"/>
                    </a:lnTo>
                    <a:lnTo>
                      <a:pt x="672" y="190"/>
                    </a:lnTo>
                    <a:lnTo>
                      <a:pt x="672" y="192"/>
                    </a:lnTo>
                    <a:lnTo>
                      <a:pt x="672" y="190"/>
                    </a:lnTo>
                    <a:lnTo>
                      <a:pt x="672" y="192"/>
                    </a:lnTo>
                    <a:lnTo>
                      <a:pt x="670" y="192"/>
                    </a:lnTo>
                    <a:lnTo>
                      <a:pt x="672" y="194"/>
                    </a:lnTo>
                    <a:lnTo>
                      <a:pt x="670" y="194"/>
                    </a:lnTo>
                    <a:lnTo>
                      <a:pt x="670" y="196"/>
                    </a:lnTo>
                    <a:lnTo>
                      <a:pt x="668" y="194"/>
                    </a:lnTo>
                    <a:lnTo>
                      <a:pt x="668" y="196"/>
                    </a:lnTo>
                    <a:lnTo>
                      <a:pt x="670" y="196"/>
                    </a:lnTo>
                    <a:lnTo>
                      <a:pt x="668" y="196"/>
                    </a:lnTo>
                    <a:lnTo>
                      <a:pt x="668" y="197"/>
                    </a:lnTo>
                    <a:lnTo>
                      <a:pt x="668" y="196"/>
                    </a:lnTo>
                    <a:lnTo>
                      <a:pt x="668" y="197"/>
                    </a:lnTo>
                    <a:lnTo>
                      <a:pt x="668" y="199"/>
                    </a:lnTo>
                    <a:lnTo>
                      <a:pt x="666" y="199"/>
                    </a:lnTo>
                    <a:lnTo>
                      <a:pt x="668" y="199"/>
                    </a:lnTo>
                    <a:lnTo>
                      <a:pt x="666" y="199"/>
                    </a:lnTo>
                    <a:lnTo>
                      <a:pt x="666" y="201"/>
                    </a:lnTo>
                    <a:lnTo>
                      <a:pt x="666" y="199"/>
                    </a:lnTo>
                    <a:lnTo>
                      <a:pt x="665" y="199"/>
                    </a:lnTo>
                    <a:lnTo>
                      <a:pt x="665" y="201"/>
                    </a:lnTo>
                    <a:lnTo>
                      <a:pt x="663" y="199"/>
                    </a:lnTo>
                    <a:lnTo>
                      <a:pt x="663" y="201"/>
                    </a:lnTo>
                    <a:lnTo>
                      <a:pt x="661" y="201"/>
                    </a:lnTo>
                    <a:lnTo>
                      <a:pt x="661" y="202"/>
                    </a:lnTo>
                    <a:lnTo>
                      <a:pt x="660" y="202"/>
                    </a:lnTo>
                    <a:lnTo>
                      <a:pt x="660" y="204"/>
                    </a:lnTo>
                    <a:lnTo>
                      <a:pt x="658" y="204"/>
                    </a:lnTo>
                    <a:lnTo>
                      <a:pt x="658" y="206"/>
                    </a:lnTo>
                    <a:lnTo>
                      <a:pt x="656" y="206"/>
                    </a:lnTo>
                    <a:lnTo>
                      <a:pt x="656" y="204"/>
                    </a:lnTo>
                    <a:lnTo>
                      <a:pt x="655" y="204"/>
                    </a:lnTo>
                    <a:lnTo>
                      <a:pt x="655" y="206"/>
                    </a:lnTo>
                    <a:lnTo>
                      <a:pt x="655" y="207"/>
                    </a:lnTo>
                    <a:lnTo>
                      <a:pt x="653" y="209"/>
                    </a:lnTo>
                    <a:lnTo>
                      <a:pt x="653" y="211"/>
                    </a:lnTo>
                    <a:lnTo>
                      <a:pt x="651" y="211"/>
                    </a:lnTo>
                    <a:lnTo>
                      <a:pt x="651" y="209"/>
                    </a:lnTo>
                    <a:lnTo>
                      <a:pt x="649" y="209"/>
                    </a:lnTo>
                    <a:lnTo>
                      <a:pt x="649" y="211"/>
                    </a:lnTo>
                    <a:lnTo>
                      <a:pt x="648" y="211"/>
                    </a:lnTo>
                    <a:lnTo>
                      <a:pt x="648" y="209"/>
                    </a:lnTo>
                    <a:lnTo>
                      <a:pt x="646" y="209"/>
                    </a:lnTo>
                    <a:lnTo>
                      <a:pt x="646" y="211"/>
                    </a:lnTo>
                    <a:lnTo>
                      <a:pt x="646" y="213"/>
                    </a:lnTo>
                    <a:lnTo>
                      <a:pt x="644" y="213"/>
                    </a:lnTo>
                    <a:lnTo>
                      <a:pt x="643" y="213"/>
                    </a:lnTo>
                    <a:lnTo>
                      <a:pt x="643" y="211"/>
                    </a:lnTo>
                    <a:lnTo>
                      <a:pt x="641" y="211"/>
                    </a:lnTo>
                    <a:lnTo>
                      <a:pt x="641" y="213"/>
                    </a:lnTo>
                    <a:lnTo>
                      <a:pt x="641" y="214"/>
                    </a:lnTo>
                    <a:lnTo>
                      <a:pt x="639" y="214"/>
                    </a:lnTo>
                    <a:lnTo>
                      <a:pt x="639" y="213"/>
                    </a:lnTo>
                    <a:lnTo>
                      <a:pt x="638" y="213"/>
                    </a:lnTo>
                    <a:lnTo>
                      <a:pt x="638" y="214"/>
                    </a:lnTo>
                    <a:lnTo>
                      <a:pt x="639" y="214"/>
                    </a:lnTo>
                    <a:lnTo>
                      <a:pt x="638" y="216"/>
                    </a:lnTo>
                    <a:lnTo>
                      <a:pt x="638" y="214"/>
                    </a:lnTo>
                    <a:lnTo>
                      <a:pt x="636" y="214"/>
                    </a:lnTo>
                    <a:lnTo>
                      <a:pt x="636" y="216"/>
                    </a:lnTo>
                    <a:lnTo>
                      <a:pt x="634" y="216"/>
                    </a:lnTo>
                    <a:lnTo>
                      <a:pt x="634" y="214"/>
                    </a:lnTo>
                    <a:lnTo>
                      <a:pt x="632" y="216"/>
                    </a:lnTo>
                    <a:lnTo>
                      <a:pt x="632" y="218"/>
                    </a:lnTo>
                    <a:lnTo>
                      <a:pt x="631" y="218"/>
                    </a:lnTo>
                    <a:lnTo>
                      <a:pt x="631" y="219"/>
                    </a:lnTo>
                    <a:lnTo>
                      <a:pt x="631" y="221"/>
                    </a:lnTo>
                    <a:lnTo>
                      <a:pt x="631" y="223"/>
                    </a:lnTo>
                    <a:lnTo>
                      <a:pt x="629" y="223"/>
                    </a:lnTo>
                    <a:lnTo>
                      <a:pt x="627" y="223"/>
                    </a:lnTo>
                    <a:lnTo>
                      <a:pt x="627" y="224"/>
                    </a:lnTo>
                    <a:lnTo>
                      <a:pt x="626" y="223"/>
                    </a:lnTo>
                    <a:lnTo>
                      <a:pt x="624" y="223"/>
                    </a:lnTo>
                    <a:lnTo>
                      <a:pt x="624" y="224"/>
                    </a:lnTo>
                    <a:lnTo>
                      <a:pt x="626" y="224"/>
                    </a:lnTo>
                    <a:lnTo>
                      <a:pt x="627" y="224"/>
                    </a:lnTo>
                    <a:lnTo>
                      <a:pt x="626" y="226"/>
                    </a:lnTo>
                    <a:lnTo>
                      <a:pt x="624" y="226"/>
                    </a:lnTo>
                    <a:lnTo>
                      <a:pt x="624" y="228"/>
                    </a:lnTo>
                    <a:lnTo>
                      <a:pt x="622" y="228"/>
                    </a:lnTo>
                    <a:lnTo>
                      <a:pt x="622" y="226"/>
                    </a:lnTo>
                    <a:lnTo>
                      <a:pt x="621" y="226"/>
                    </a:lnTo>
                    <a:lnTo>
                      <a:pt x="621" y="228"/>
                    </a:lnTo>
                    <a:lnTo>
                      <a:pt x="619" y="228"/>
                    </a:lnTo>
                    <a:lnTo>
                      <a:pt x="619" y="230"/>
                    </a:lnTo>
                    <a:lnTo>
                      <a:pt x="617" y="228"/>
                    </a:lnTo>
                    <a:lnTo>
                      <a:pt x="615" y="230"/>
                    </a:lnTo>
                    <a:lnTo>
                      <a:pt x="615" y="231"/>
                    </a:lnTo>
                    <a:lnTo>
                      <a:pt x="614" y="231"/>
                    </a:lnTo>
                    <a:lnTo>
                      <a:pt x="615" y="233"/>
                    </a:lnTo>
                    <a:lnTo>
                      <a:pt x="614" y="233"/>
                    </a:lnTo>
                    <a:lnTo>
                      <a:pt x="612" y="235"/>
                    </a:lnTo>
                    <a:lnTo>
                      <a:pt x="610" y="235"/>
                    </a:lnTo>
                    <a:lnTo>
                      <a:pt x="610" y="236"/>
                    </a:lnTo>
                    <a:lnTo>
                      <a:pt x="609" y="236"/>
                    </a:lnTo>
                    <a:lnTo>
                      <a:pt x="609" y="238"/>
                    </a:lnTo>
                    <a:lnTo>
                      <a:pt x="607" y="238"/>
                    </a:lnTo>
                    <a:lnTo>
                      <a:pt x="607" y="236"/>
                    </a:lnTo>
                    <a:lnTo>
                      <a:pt x="607" y="238"/>
                    </a:lnTo>
                    <a:lnTo>
                      <a:pt x="605" y="238"/>
                    </a:lnTo>
                    <a:lnTo>
                      <a:pt x="605" y="240"/>
                    </a:lnTo>
                    <a:lnTo>
                      <a:pt x="604" y="240"/>
                    </a:lnTo>
                    <a:lnTo>
                      <a:pt x="602" y="240"/>
                    </a:lnTo>
                    <a:lnTo>
                      <a:pt x="602" y="241"/>
                    </a:lnTo>
                    <a:lnTo>
                      <a:pt x="602" y="243"/>
                    </a:lnTo>
                    <a:lnTo>
                      <a:pt x="604" y="243"/>
                    </a:lnTo>
                    <a:lnTo>
                      <a:pt x="605" y="243"/>
                    </a:lnTo>
                    <a:lnTo>
                      <a:pt x="605" y="245"/>
                    </a:lnTo>
                    <a:lnTo>
                      <a:pt x="604" y="247"/>
                    </a:lnTo>
                    <a:lnTo>
                      <a:pt x="604" y="248"/>
                    </a:lnTo>
                    <a:lnTo>
                      <a:pt x="604" y="247"/>
                    </a:lnTo>
                    <a:lnTo>
                      <a:pt x="602" y="245"/>
                    </a:lnTo>
                    <a:lnTo>
                      <a:pt x="600" y="245"/>
                    </a:lnTo>
                    <a:lnTo>
                      <a:pt x="598" y="245"/>
                    </a:lnTo>
                    <a:lnTo>
                      <a:pt x="597" y="247"/>
                    </a:lnTo>
                    <a:lnTo>
                      <a:pt x="597" y="248"/>
                    </a:lnTo>
                    <a:lnTo>
                      <a:pt x="598" y="250"/>
                    </a:lnTo>
                    <a:lnTo>
                      <a:pt x="597" y="250"/>
                    </a:lnTo>
                    <a:lnTo>
                      <a:pt x="595" y="250"/>
                    </a:lnTo>
                    <a:lnTo>
                      <a:pt x="593" y="250"/>
                    </a:lnTo>
                    <a:lnTo>
                      <a:pt x="593" y="252"/>
                    </a:lnTo>
                    <a:lnTo>
                      <a:pt x="593" y="253"/>
                    </a:lnTo>
                    <a:lnTo>
                      <a:pt x="593" y="255"/>
                    </a:lnTo>
                    <a:lnTo>
                      <a:pt x="592" y="255"/>
                    </a:lnTo>
                    <a:lnTo>
                      <a:pt x="592" y="257"/>
                    </a:lnTo>
                    <a:lnTo>
                      <a:pt x="590" y="257"/>
                    </a:lnTo>
                    <a:lnTo>
                      <a:pt x="590" y="258"/>
                    </a:lnTo>
                    <a:lnTo>
                      <a:pt x="588" y="258"/>
                    </a:lnTo>
                    <a:lnTo>
                      <a:pt x="588" y="260"/>
                    </a:lnTo>
                    <a:lnTo>
                      <a:pt x="587" y="262"/>
                    </a:lnTo>
                    <a:lnTo>
                      <a:pt x="585" y="262"/>
                    </a:lnTo>
                    <a:lnTo>
                      <a:pt x="583" y="262"/>
                    </a:lnTo>
                    <a:lnTo>
                      <a:pt x="583" y="264"/>
                    </a:lnTo>
                    <a:lnTo>
                      <a:pt x="583" y="265"/>
                    </a:lnTo>
                    <a:lnTo>
                      <a:pt x="583" y="267"/>
                    </a:lnTo>
                    <a:lnTo>
                      <a:pt x="581" y="267"/>
                    </a:lnTo>
                    <a:lnTo>
                      <a:pt x="581" y="269"/>
                    </a:lnTo>
                    <a:lnTo>
                      <a:pt x="580" y="269"/>
                    </a:lnTo>
                    <a:lnTo>
                      <a:pt x="580" y="270"/>
                    </a:lnTo>
                    <a:lnTo>
                      <a:pt x="580" y="272"/>
                    </a:lnTo>
                    <a:lnTo>
                      <a:pt x="580" y="274"/>
                    </a:lnTo>
                    <a:lnTo>
                      <a:pt x="576" y="274"/>
                    </a:lnTo>
                    <a:lnTo>
                      <a:pt x="575" y="274"/>
                    </a:lnTo>
                    <a:lnTo>
                      <a:pt x="575" y="275"/>
                    </a:lnTo>
                    <a:lnTo>
                      <a:pt x="573" y="275"/>
                    </a:lnTo>
                    <a:lnTo>
                      <a:pt x="573" y="277"/>
                    </a:lnTo>
                    <a:lnTo>
                      <a:pt x="571" y="277"/>
                    </a:lnTo>
                    <a:lnTo>
                      <a:pt x="571" y="279"/>
                    </a:lnTo>
                    <a:lnTo>
                      <a:pt x="571" y="281"/>
                    </a:lnTo>
                    <a:lnTo>
                      <a:pt x="570" y="284"/>
                    </a:lnTo>
                    <a:lnTo>
                      <a:pt x="568" y="284"/>
                    </a:lnTo>
                    <a:lnTo>
                      <a:pt x="568" y="286"/>
                    </a:lnTo>
                    <a:lnTo>
                      <a:pt x="568" y="287"/>
                    </a:lnTo>
                    <a:lnTo>
                      <a:pt x="566" y="287"/>
                    </a:lnTo>
                    <a:lnTo>
                      <a:pt x="566" y="289"/>
                    </a:lnTo>
                    <a:lnTo>
                      <a:pt x="564" y="289"/>
                    </a:lnTo>
                    <a:lnTo>
                      <a:pt x="564" y="291"/>
                    </a:lnTo>
                    <a:lnTo>
                      <a:pt x="563" y="291"/>
                    </a:lnTo>
                    <a:lnTo>
                      <a:pt x="563" y="292"/>
                    </a:lnTo>
                    <a:lnTo>
                      <a:pt x="561" y="292"/>
                    </a:lnTo>
                    <a:lnTo>
                      <a:pt x="561" y="294"/>
                    </a:lnTo>
                    <a:lnTo>
                      <a:pt x="561" y="296"/>
                    </a:lnTo>
                    <a:lnTo>
                      <a:pt x="559" y="296"/>
                    </a:lnTo>
                    <a:lnTo>
                      <a:pt x="559" y="298"/>
                    </a:lnTo>
                    <a:lnTo>
                      <a:pt x="558" y="298"/>
                    </a:lnTo>
                    <a:lnTo>
                      <a:pt x="558" y="299"/>
                    </a:lnTo>
                    <a:lnTo>
                      <a:pt x="556" y="299"/>
                    </a:lnTo>
                    <a:lnTo>
                      <a:pt x="554" y="301"/>
                    </a:lnTo>
                    <a:lnTo>
                      <a:pt x="553" y="299"/>
                    </a:lnTo>
                    <a:lnTo>
                      <a:pt x="553" y="301"/>
                    </a:lnTo>
                    <a:lnTo>
                      <a:pt x="551" y="301"/>
                    </a:lnTo>
                    <a:lnTo>
                      <a:pt x="549" y="303"/>
                    </a:lnTo>
                    <a:lnTo>
                      <a:pt x="549" y="304"/>
                    </a:lnTo>
                    <a:lnTo>
                      <a:pt x="549" y="306"/>
                    </a:lnTo>
                    <a:lnTo>
                      <a:pt x="549" y="308"/>
                    </a:lnTo>
                    <a:lnTo>
                      <a:pt x="549" y="309"/>
                    </a:lnTo>
                    <a:lnTo>
                      <a:pt x="547" y="309"/>
                    </a:lnTo>
                    <a:lnTo>
                      <a:pt x="546" y="309"/>
                    </a:lnTo>
                    <a:lnTo>
                      <a:pt x="546" y="311"/>
                    </a:lnTo>
                    <a:lnTo>
                      <a:pt x="544" y="311"/>
                    </a:lnTo>
                    <a:lnTo>
                      <a:pt x="544" y="313"/>
                    </a:lnTo>
                    <a:lnTo>
                      <a:pt x="542" y="315"/>
                    </a:lnTo>
                    <a:lnTo>
                      <a:pt x="541" y="316"/>
                    </a:lnTo>
                    <a:lnTo>
                      <a:pt x="539" y="316"/>
                    </a:lnTo>
                    <a:lnTo>
                      <a:pt x="537" y="316"/>
                    </a:lnTo>
                    <a:lnTo>
                      <a:pt x="539" y="316"/>
                    </a:lnTo>
                    <a:lnTo>
                      <a:pt x="539" y="318"/>
                    </a:lnTo>
                    <a:lnTo>
                      <a:pt x="539" y="320"/>
                    </a:lnTo>
                    <a:lnTo>
                      <a:pt x="539" y="321"/>
                    </a:lnTo>
                    <a:lnTo>
                      <a:pt x="539" y="323"/>
                    </a:lnTo>
                    <a:lnTo>
                      <a:pt x="537" y="323"/>
                    </a:lnTo>
                    <a:lnTo>
                      <a:pt x="536" y="325"/>
                    </a:lnTo>
                    <a:lnTo>
                      <a:pt x="534" y="325"/>
                    </a:lnTo>
                    <a:lnTo>
                      <a:pt x="534" y="326"/>
                    </a:lnTo>
                    <a:lnTo>
                      <a:pt x="532" y="326"/>
                    </a:lnTo>
                    <a:lnTo>
                      <a:pt x="530" y="326"/>
                    </a:lnTo>
                    <a:lnTo>
                      <a:pt x="530" y="328"/>
                    </a:lnTo>
                    <a:lnTo>
                      <a:pt x="530" y="330"/>
                    </a:lnTo>
                    <a:lnTo>
                      <a:pt x="530" y="332"/>
                    </a:lnTo>
                    <a:lnTo>
                      <a:pt x="532" y="333"/>
                    </a:lnTo>
                    <a:lnTo>
                      <a:pt x="532" y="335"/>
                    </a:lnTo>
                    <a:lnTo>
                      <a:pt x="532" y="337"/>
                    </a:lnTo>
                    <a:lnTo>
                      <a:pt x="532" y="338"/>
                    </a:lnTo>
                    <a:lnTo>
                      <a:pt x="532" y="340"/>
                    </a:lnTo>
                    <a:lnTo>
                      <a:pt x="532" y="344"/>
                    </a:lnTo>
                    <a:lnTo>
                      <a:pt x="532" y="345"/>
                    </a:lnTo>
                    <a:lnTo>
                      <a:pt x="530" y="345"/>
                    </a:lnTo>
                    <a:lnTo>
                      <a:pt x="529" y="345"/>
                    </a:lnTo>
                    <a:lnTo>
                      <a:pt x="529" y="347"/>
                    </a:lnTo>
                    <a:lnTo>
                      <a:pt x="530" y="347"/>
                    </a:lnTo>
                    <a:lnTo>
                      <a:pt x="530" y="349"/>
                    </a:lnTo>
                    <a:lnTo>
                      <a:pt x="530" y="350"/>
                    </a:lnTo>
                    <a:lnTo>
                      <a:pt x="530" y="352"/>
                    </a:lnTo>
                    <a:lnTo>
                      <a:pt x="529" y="352"/>
                    </a:lnTo>
                    <a:lnTo>
                      <a:pt x="529" y="354"/>
                    </a:lnTo>
                    <a:lnTo>
                      <a:pt x="529" y="355"/>
                    </a:lnTo>
                    <a:lnTo>
                      <a:pt x="529" y="357"/>
                    </a:lnTo>
                    <a:lnTo>
                      <a:pt x="529" y="359"/>
                    </a:lnTo>
                    <a:lnTo>
                      <a:pt x="527" y="361"/>
                    </a:lnTo>
                    <a:lnTo>
                      <a:pt x="527" y="362"/>
                    </a:lnTo>
                    <a:lnTo>
                      <a:pt x="527" y="364"/>
                    </a:lnTo>
                    <a:lnTo>
                      <a:pt x="525" y="364"/>
                    </a:lnTo>
                    <a:lnTo>
                      <a:pt x="524" y="366"/>
                    </a:lnTo>
                    <a:lnTo>
                      <a:pt x="524" y="367"/>
                    </a:lnTo>
                    <a:lnTo>
                      <a:pt x="525" y="367"/>
                    </a:lnTo>
                    <a:lnTo>
                      <a:pt x="525" y="369"/>
                    </a:lnTo>
                    <a:lnTo>
                      <a:pt x="527" y="369"/>
                    </a:lnTo>
                    <a:lnTo>
                      <a:pt x="527" y="371"/>
                    </a:lnTo>
                    <a:lnTo>
                      <a:pt x="527" y="372"/>
                    </a:lnTo>
                    <a:lnTo>
                      <a:pt x="525" y="376"/>
                    </a:lnTo>
                    <a:lnTo>
                      <a:pt x="525" y="378"/>
                    </a:lnTo>
                    <a:lnTo>
                      <a:pt x="524" y="381"/>
                    </a:lnTo>
                    <a:lnTo>
                      <a:pt x="522" y="381"/>
                    </a:lnTo>
                    <a:lnTo>
                      <a:pt x="520" y="381"/>
                    </a:lnTo>
                    <a:lnTo>
                      <a:pt x="520" y="383"/>
                    </a:lnTo>
                    <a:lnTo>
                      <a:pt x="520" y="384"/>
                    </a:lnTo>
                    <a:lnTo>
                      <a:pt x="520" y="386"/>
                    </a:lnTo>
                    <a:lnTo>
                      <a:pt x="522" y="388"/>
                    </a:lnTo>
                    <a:lnTo>
                      <a:pt x="522" y="389"/>
                    </a:lnTo>
                    <a:lnTo>
                      <a:pt x="522" y="391"/>
                    </a:lnTo>
                    <a:lnTo>
                      <a:pt x="520" y="391"/>
                    </a:lnTo>
                    <a:lnTo>
                      <a:pt x="520" y="393"/>
                    </a:lnTo>
                    <a:lnTo>
                      <a:pt x="520" y="395"/>
                    </a:lnTo>
                    <a:lnTo>
                      <a:pt x="522" y="396"/>
                    </a:lnTo>
                    <a:lnTo>
                      <a:pt x="522" y="398"/>
                    </a:lnTo>
                    <a:lnTo>
                      <a:pt x="524" y="398"/>
                    </a:lnTo>
                    <a:lnTo>
                      <a:pt x="524" y="400"/>
                    </a:lnTo>
                    <a:lnTo>
                      <a:pt x="522" y="400"/>
                    </a:lnTo>
                    <a:lnTo>
                      <a:pt x="522" y="401"/>
                    </a:lnTo>
                    <a:lnTo>
                      <a:pt x="520" y="401"/>
                    </a:lnTo>
                    <a:lnTo>
                      <a:pt x="520" y="403"/>
                    </a:lnTo>
                    <a:lnTo>
                      <a:pt x="520" y="405"/>
                    </a:lnTo>
                    <a:lnTo>
                      <a:pt x="519" y="406"/>
                    </a:lnTo>
                    <a:lnTo>
                      <a:pt x="520" y="406"/>
                    </a:lnTo>
                    <a:lnTo>
                      <a:pt x="520" y="408"/>
                    </a:lnTo>
                    <a:lnTo>
                      <a:pt x="520" y="410"/>
                    </a:lnTo>
                    <a:lnTo>
                      <a:pt x="520" y="412"/>
                    </a:lnTo>
                    <a:lnTo>
                      <a:pt x="522" y="413"/>
                    </a:lnTo>
                    <a:lnTo>
                      <a:pt x="520" y="413"/>
                    </a:lnTo>
                    <a:lnTo>
                      <a:pt x="522" y="413"/>
                    </a:lnTo>
                    <a:lnTo>
                      <a:pt x="522" y="415"/>
                    </a:lnTo>
                    <a:lnTo>
                      <a:pt x="522" y="417"/>
                    </a:lnTo>
                    <a:lnTo>
                      <a:pt x="522" y="418"/>
                    </a:lnTo>
                    <a:lnTo>
                      <a:pt x="522" y="420"/>
                    </a:lnTo>
                    <a:lnTo>
                      <a:pt x="522" y="422"/>
                    </a:lnTo>
                    <a:lnTo>
                      <a:pt x="522" y="423"/>
                    </a:lnTo>
                    <a:lnTo>
                      <a:pt x="524" y="425"/>
                    </a:lnTo>
                    <a:lnTo>
                      <a:pt x="524" y="427"/>
                    </a:lnTo>
                    <a:lnTo>
                      <a:pt x="524" y="429"/>
                    </a:lnTo>
                    <a:lnTo>
                      <a:pt x="522" y="429"/>
                    </a:lnTo>
                    <a:lnTo>
                      <a:pt x="522" y="430"/>
                    </a:lnTo>
                    <a:lnTo>
                      <a:pt x="520" y="430"/>
                    </a:lnTo>
                    <a:lnTo>
                      <a:pt x="519" y="432"/>
                    </a:lnTo>
                    <a:lnTo>
                      <a:pt x="517" y="432"/>
                    </a:lnTo>
                    <a:lnTo>
                      <a:pt x="515" y="432"/>
                    </a:lnTo>
                    <a:lnTo>
                      <a:pt x="513" y="432"/>
                    </a:lnTo>
                    <a:lnTo>
                      <a:pt x="513" y="434"/>
                    </a:lnTo>
                    <a:lnTo>
                      <a:pt x="513" y="439"/>
                    </a:lnTo>
                    <a:lnTo>
                      <a:pt x="513" y="440"/>
                    </a:lnTo>
                    <a:lnTo>
                      <a:pt x="512" y="440"/>
                    </a:lnTo>
                    <a:lnTo>
                      <a:pt x="512" y="442"/>
                    </a:lnTo>
                    <a:lnTo>
                      <a:pt x="510" y="444"/>
                    </a:lnTo>
                    <a:lnTo>
                      <a:pt x="510" y="447"/>
                    </a:lnTo>
                    <a:lnTo>
                      <a:pt x="510" y="449"/>
                    </a:lnTo>
                    <a:lnTo>
                      <a:pt x="510" y="451"/>
                    </a:lnTo>
                    <a:lnTo>
                      <a:pt x="510" y="456"/>
                    </a:lnTo>
                    <a:lnTo>
                      <a:pt x="510" y="457"/>
                    </a:lnTo>
                    <a:lnTo>
                      <a:pt x="512" y="459"/>
                    </a:lnTo>
                    <a:lnTo>
                      <a:pt x="512" y="461"/>
                    </a:lnTo>
                    <a:lnTo>
                      <a:pt x="512" y="463"/>
                    </a:lnTo>
                    <a:lnTo>
                      <a:pt x="512" y="464"/>
                    </a:lnTo>
                    <a:lnTo>
                      <a:pt x="512" y="466"/>
                    </a:lnTo>
                    <a:lnTo>
                      <a:pt x="512" y="468"/>
                    </a:lnTo>
                    <a:lnTo>
                      <a:pt x="513" y="469"/>
                    </a:lnTo>
                    <a:lnTo>
                      <a:pt x="515" y="469"/>
                    </a:lnTo>
                    <a:lnTo>
                      <a:pt x="513" y="469"/>
                    </a:lnTo>
                    <a:lnTo>
                      <a:pt x="513" y="471"/>
                    </a:lnTo>
                    <a:lnTo>
                      <a:pt x="513" y="473"/>
                    </a:lnTo>
                    <a:lnTo>
                      <a:pt x="513" y="474"/>
                    </a:lnTo>
                    <a:lnTo>
                      <a:pt x="513" y="476"/>
                    </a:lnTo>
                    <a:lnTo>
                      <a:pt x="513" y="478"/>
                    </a:lnTo>
                    <a:lnTo>
                      <a:pt x="512" y="480"/>
                    </a:lnTo>
                    <a:lnTo>
                      <a:pt x="510" y="480"/>
                    </a:lnTo>
                    <a:lnTo>
                      <a:pt x="510" y="481"/>
                    </a:lnTo>
                    <a:lnTo>
                      <a:pt x="512" y="481"/>
                    </a:lnTo>
                    <a:lnTo>
                      <a:pt x="512" y="483"/>
                    </a:lnTo>
                    <a:lnTo>
                      <a:pt x="512" y="485"/>
                    </a:lnTo>
                    <a:lnTo>
                      <a:pt x="510" y="483"/>
                    </a:lnTo>
                    <a:lnTo>
                      <a:pt x="510" y="485"/>
                    </a:lnTo>
                    <a:lnTo>
                      <a:pt x="510" y="486"/>
                    </a:lnTo>
                    <a:lnTo>
                      <a:pt x="508" y="486"/>
                    </a:lnTo>
                    <a:lnTo>
                      <a:pt x="508" y="485"/>
                    </a:lnTo>
                    <a:lnTo>
                      <a:pt x="507" y="485"/>
                    </a:lnTo>
                    <a:lnTo>
                      <a:pt x="507" y="486"/>
                    </a:lnTo>
                    <a:lnTo>
                      <a:pt x="508" y="486"/>
                    </a:lnTo>
                    <a:lnTo>
                      <a:pt x="510" y="486"/>
                    </a:lnTo>
                    <a:lnTo>
                      <a:pt x="510" y="488"/>
                    </a:lnTo>
                    <a:lnTo>
                      <a:pt x="510" y="490"/>
                    </a:lnTo>
                    <a:lnTo>
                      <a:pt x="512" y="490"/>
                    </a:lnTo>
                    <a:lnTo>
                      <a:pt x="510" y="490"/>
                    </a:lnTo>
                    <a:lnTo>
                      <a:pt x="512" y="490"/>
                    </a:lnTo>
                    <a:lnTo>
                      <a:pt x="512" y="491"/>
                    </a:lnTo>
                    <a:lnTo>
                      <a:pt x="513" y="491"/>
                    </a:lnTo>
                    <a:lnTo>
                      <a:pt x="513" y="493"/>
                    </a:lnTo>
                    <a:lnTo>
                      <a:pt x="515" y="495"/>
                    </a:lnTo>
                    <a:lnTo>
                      <a:pt x="515" y="493"/>
                    </a:lnTo>
                    <a:lnTo>
                      <a:pt x="515" y="495"/>
                    </a:lnTo>
                    <a:lnTo>
                      <a:pt x="517" y="495"/>
                    </a:lnTo>
                    <a:lnTo>
                      <a:pt x="517" y="497"/>
                    </a:lnTo>
                    <a:lnTo>
                      <a:pt x="519" y="497"/>
                    </a:lnTo>
                    <a:lnTo>
                      <a:pt x="519" y="498"/>
                    </a:lnTo>
                    <a:lnTo>
                      <a:pt x="520" y="498"/>
                    </a:lnTo>
                    <a:lnTo>
                      <a:pt x="522" y="498"/>
                    </a:lnTo>
                    <a:lnTo>
                      <a:pt x="524" y="498"/>
                    </a:lnTo>
                    <a:lnTo>
                      <a:pt x="524" y="500"/>
                    </a:lnTo>
                    <a:lnTo>
                      <a:pt x="525" y="500"/>
                    </a:lnTo>
                    <a:lnTo>
                      <a:pt x="527" y="500"/>
                    </a:lnTo>
                    <a:lnTo>
                      <a:pt x="527" y="502"/>
                    </a:lnTo>
                    <a:lnTo>
                      <a:pt x="529" y="502"/>
                    </a:lnTo>
                    <a:lnTo>
                      <a:pt x="529" y="503"/>
                    </a:lnTo>
                    <a:lnTo>
                      <a:pt x="529" y="502"/>
                    </a:lnTo>
                    <a:lnTo>
                      <a:pt x="530" y="503"/>
                    </a:lnTo>
                    <a:lnTo>
                      <a:pt x="530" y="502"/>
                    </a:lnTo>
                    <a:lnTo>
                      <a:pt x="532" y="503"/>
                    </a:lnTo>
                    <a:lnTo>
                      <a:pt x="534" y="505"/>
                    </a:lnTo>
                    <a:lnTo>
                      <a:pt x="536" y="505"/>
                    </a:lnTo>
                    <a:lnTo>
                      <a:pt x="536" y="507"/>
                    </a:lnTo>
                    <a:lnTo>
                      <a:pt x="537" y="507"/>
                    </a:lnTo>
                    <a:lnTo>
                      <a:pt x="539" y="507"/>
                    </a:lnTo>
                    <a:lnTo>
                      <a:pt x="539" y="509"/>
                    </a:lnTo>
                    <a:lnTo>
                      <a:pt x="541" y="509"/>
                    </a:lnTo>
                    <a:lnTo>
                      <a:pt x="542" y="510"/>
                    </a:lnTo>
                    <a:lnTo>
                      <a:pt x="544" y="510"/>
                    </a:lnTo>
                    <a:lnTo>
                      <a:pt x="544" y="512"/>
                    </a:lnTo>
                    <a:lnTo>
                      <a:pt x="546" y="512"/>
                    </a:lnTo>
                    <a:lnTo>
                      <a:pt x="546" y="514"/>
                    </a:lnTo>
                    <a:lnTo>
                      <a:pt x="547" y="514"/>
                    </a:lnTo>
                    <a:lnTo>
                      <a:pt x="547" y="515"/>
                    </a:lnTo>
                    <a:lnTo>
                      <a:pt x="549" y="515"/>
                    </a:lnTo>
                    <a:lnTo>
                      <a:pt x="549" y="517"/>
                    </a:lnTo>
                    <a:lnTo>
                      <a:pt x="551" y="517"/>
                    </a:lnTo>
                    <a:lnTo>
                      <a:pt x="551" y="519"/>
                    </a:lnTo>
                    <a:lnTo>
                      <a:pt x="553" y="520"/>
                    </a:lnTo>
                    <a:lnTo>
                      <a:pt x="553" y="522"/>
                    </a:lnTo>
                    <a:lnTo>
                      <a:pt x="554" y="522"/>
                    </a:lnTo>
                    <a:lnTo>
                      <a:pt x="554" y="524"/>
                    </a:lnTo>
                    <a:lnTo>
                      <a:pt x="554" y="526"/>
                    </a:lnTo>
                    <a:lnTo>
                      <a:pt x="556" y="526"/>
                    </a:lnTo>
                    <a:lnTo>
                      <a:pt x="556" y="527"/>
                    </a:lnTo>
                    <a:lnTo>
                      <a:pt x="556" y="529"/>
                    </a:lnTo>
                    <a:lnTo>
                      <a:pt x="554" y="529"/>
                    </a:lnTo>
                    <a:lnTo>
                      <a:pt x="554" y="531"/>
                    </a:lnTo>
                    <a:lnTo>
                      <a:pt x="553" y="531"/>
                    </a:lnTo>
                    <a:lnTo>
                      <a:pt x="553" y="532"/>
                    </a:lnTo>
                    <a:lnTo>
                      <a:pt x="551" y="534"/>
                    </a:lnTo>
                    <a:lnTo>
                      <a:pt x="551" y="536"/>
                    </a:lnTo>
                    <a:lnTo>
                      <a:pt x="549" y="537"/>
                    </a:lnTo>
                    <a:lnTo>
                      <a:pt x="549" y="539"/>
                    </a:lnTo>
                    <a:lnTo>
                      <a:pt x="547" y="539"/>
                    </a:lnTo>
                    <a:lnTo>
                      <a:pt x="549" y="539"/>
                    </a:lnTo>
                    <a:lnTo>
                      <a:pt x="547" y="539"/>
                    </a:lnTo>
                    <a:lnTo>
                      <a:pt x="547" y="541"/>
                    </a:lnTo>
                    <a:lnTo>
                      <a:pt x="547" y="543"/>
                    </a:lnTo>
                    <a:lnTo>
                      <a:pt x="547" y="544"/>
                    </a:lnTo>
                    <a:lnTo>
                      <a:pt x="547" y="546"/>
                    </a:lnTo>
                    <a:lnTo>
                      <a:pt x="547" y="548"/>
                    </a:lnTo>
                    <a:lnTo>
                      <a:pt x="547" y="549"/>
                    </a:lnTo>
                    <a:lnTo>
                      <a:pt x="547" y="551"/>
                    </a:lnTo>
                    <a:lnTo>
                      <a:pt x="549" y="551"/>
                    </a:lnTo>
                    <a:lnTo>
                      <a:pt x="549" y="553"/>
                    </a:lnTo>
                    <a:lnTo>
                      <a:pt x="549" y="554"/>
                    </a:lnTo>
                    <a:lnTo>
                      <a:pt x="551" y="554"/>
                    </a:lnTo>
                    <a:lnTo>
                      <a:pt x="551" y="556"/>
                    </a:lnTo>
                    <a:lnTo>
                      <a:pt x="551" y="558"/>
                    </a:lnTo>
                    <a:lnTo>
                      <a:pt x="553" y="558"/>
                    </a:lnTo>
                    <a:lnTo>
                      <a:pt x="553" y="560"/>
                    </a:lnTo>
                    <a:lnTo>
                      <a:pt x="554" y="560"/>
                    </a:lnTo>
                    <a:lnTo>
                      <a:pt x="554" y="561"/>
                    </a:lnTo>
                    <a:lnTo>
                      <a:pt x="556" y="561"/>
                    </a:lnTo>
                    <a:lnTo>
                      <a:pt x="556" y="563"/>
                    </a:lnTo>
                    <a:lnTo>
                      <a:pt x="558" y="563"/>
                    </a:lnTo>
                    <a:lnTo>
                      <a:pt x="559" y="565"/>
                    </a:lnTo>
                    <a:lnTo>
                      <a:pt x="561" y="565"/>
                    </a:lnTo>
                    <a:lnTo>
                      <a:pt x="563" y="565"/>
                    </a:lnTo>
                    <a:lnTo>
                      <a:pt x="564" y="565"/>
                    </a:lnTo>
                    <a:lnTo>
                      <a:pt x="566" y="565"/>
                    </a:lnTo>
                    <a:lnTo>
                      <a:pt x="568" y="565"/>
                    </a:lnTo>
                    <a:lnTo>
                      <a:pt x="568" y="563"/>
                    </a:lnTo>
                    <a:lnTo>
                      <a:pt x="570" y="563"/>
                    </a:lnTo>
                    <a:lnTo>
                      <a:pt x="570" y="565"/>
                    </a:lnTo>
                    <a:lnTo>
                      <a:pt x="570" y="566"/>
                    </a:lnTo>
                    <a:lnTo>
                      <a:pt x="570" y="568"/>
                    </a:lnTo>
                    <a:lnTo>
                      <a:pt x="571" y="571"/>
                    </a:lnTo>
                    <a:lnTo>
                      <a:pt x="571" y="573"/>
                    </a:lnTo>
                    <a:lnTo>
                      <a:pt x="571" y="575"/>
                    </a:lnTo>
                    <a:lnTo>
                      <a:pt x="571" y="577"/>
                    </a:lnTo>
                    <a:lnTo>
                      <a:pt x="571" y="578"/>
                    </a:lnTo>
                    <a:lnTo>
                      <a:pt x="571" y="580"/>
                    </a:lnTo>
                    <a:lnTo>
                      <a:pt x="571" y="582"/>
                    </a:lnTo>
                    <a:lnTo>
                      <a:pt x="571" y="583"/>
                    </a:lnTo>
                    <a:lnTo>
                      <a:pt x="571" y="585"/>
                    </a:lnTo>
                    <a:lnTo>
                      <a:pt x="571" y="587"/>
                    </a:lnTo>
                    <a:lnTo>
                      <a:pt x="571" y="588"/>
                    </a:lnTo>
                    <a:lnTo>
                      <a:pt x="570" y="590"/>
                    </a:lnTo>
                    <a:lnTo>
                      <a:pt x="568" y="592"/>
                    </a:lnTo>
                    <a:lnTo>
                      <a:pt x="568" y="594"/>
                    </a:lnTo>
                    <a:lnTo>
                      <a:pt x="566" y="595"/>
                    </a:lnTo>
                    <a:lnTo>
                      <a:pt x="566" y="597"/>
                    </a:lnTo>
                    <a:lnTo>
                      <a:pt x="564" y="599"/>
                    </a:lnTo>
                    <a:lnTo>
                      <a:pt x="563" y="600"/>
                    </a:lnTo>
                    <a:lnTo>
                      <a:pt x="563" y="602"/>
                    </a:lnTo>
                    <a:lnTo>
                      <a:pt x="561" y="604"/>
                    </a:lnTo>
                    <a:lnTo>
                      <a:pt x="561" y="605"/>
                    </a:lnTo>
                    <a:lnTo>
                      <a:pt x="559" y="605"/>
                    </a:lnTo>
                    <a:lnTo>
                      <a:pt x="559" y="607"/>
                    </a:lnTo>
                    <a:lnTo>
                      <a:pt x="558" y="609"/>
                    </a:lnTo>
                    <a:lnTo>
                      <a:pt x="558" y="611"/>
                    </a:lnTo>
                    <a:lnTo>
                      <a:pt x="558" y="612"/>
                    </a:lnTo>
                    <a:lnTo>
                      <a:pt x="556" y="612"/>
                    </a:lnTo>
                    <a:lnTo>
                      <a:pt x="556" y="614"/>
                    </a:lnTo>
                    <a:lnTo>
                      <a:pt x="554" y="614"/>
                    </a:lnTo>
                    <a:lnTo>
                      <a:pt x="554" y="616"/>
                    </a:lnTo>
                    <a:lnTo>
                      <a:pt x="553" y="617"/>
                    </a:lnTo>
                    <a:lnTo>
                      <a:pt x="551" y="619"/>
                    </a:lnTo>
                    <a:lnTo>
                      <a:pt x="549" y="621"/>
                    </a:lnTo>
                    <a:lnTo>
                      <a:pt x="547" y="622"/>
                    </a:lnTo>
                    <a:lnTo>
                      <a:pt x="546" y="624"/>
                    </a:lnTo>
                    <a:lnTo>
                      <a:pt x="546" y="626"/>
                    </a:lnTo>
                    <a:lnTo>
                      <a:pt x="544" y="626"/>
                    </a:lnTo>
                    <a:lnTo>
                      <a:pt x="544" y="628"/>
                    </a:lnTo>
                    <a:lnTo>
                      <a:pt x="542" y="629"/>
                    </a:lnTo>
                    <a:lnTo>
                      <a:pt x="542" y="631"/>
                    </a:lnTo>
                    <a:lnTo>
                      <a:pt x="542" y="633"/>
                    </a:lnTo>
                    <a:lnTo>
                      <a:pt x="542" y="634"/>
                    </a:lnTo>
                    <a:lnTo>
                      <a:pt x="542" y="636"/>
                    </a:lnTo>
                    <a:lnTo>
                      <a:pt x="542" y="638"/>
                    </a:lnTo>
                    <a:lnTo>
                      <a:pt x="542" y="636"/>
                    </a:lnTo>
                    <a:lnTo>
                      <a:pt x="542" y="638"/>
                    </a:lnTo>
                    <a:lnTo>
                      <a:pt x="542" y="639"/>
                    </a:lnTo>
                    <a:lnTo>
                      <a:pt x="541" y="639"/>
                    </a:lnTo>
                    <a:lnTo>
                      <a:pt x="539" y="641"/>
                    </a:lnTo>
                    <a:lnTo>
                      <a:pt x="539" y="643"/>
                    </a:lnTo>
                    <a:lnTo>
                      <a:pt x="537" y="643"/>
                    </a:lnTo>
                    <a:lnTo>
                      <a:pt x="537" y="645"/>
                    </a:lnTo>
                    <a:lnTo>
                      <a:pt x="536" y="645"/>
                    </a:lnTo>
                    <a:lnTo>
                      <a:pt x="534" y="645"/>
                    </a:lnTo>
                    <a:lnTo>
                      <a:pt x="534" y="646"/>
                    </a:lnTo>
                    <a:lnTo>
                      <a:pt x="532" y="646"/>
                    </a:lnTo>
                    <a:lnTo>
                      <a:pt x="532" y="648"/>
                    </a:lnTo>
                    <a:lnTo>
                      <a:pt x="530" y="648"/>
                    </a:lnTo>
                    <a:lnTo>
                      <a:pt x="529" y="648"/>
                    </a:lnTo>
                    <a:lnTo>
                      <a:pt x="527" y="650"/>
                    </a:lnTo>
                    <a:lnTo>
                      <a:pt x="525" y="650"/>
                    </a:lnTo>
                    <a:lnTo>
                      <a:pt x="525" y="651"/>
                    </a:lnTo>
                    <a:lnTo>
                      <a:pt x="524" y="651"/>
                    </a:lnTo>
                    <a:lnTo>
                      <a:pt x="522" y="653"/>
                    </a:lnTo>
                    <a:lnTo>
                      <a:pt x="520" y="653"/>
                    </a:lnTo>
                    <a:lnTo>
                      <a:pt x="519" y="655"/>
                    </a:lnTo>
                    <a:lnTo>
                      <a:pt x="517" y="655"/>
                    </a:lnTo>
                    <a:lnTo>
                      <a:pt x="515" y="655"/>
                    </a:lnTo>
                    <a:lnTo>
                      <a:pt x="515" y="656"/>
                    </a:lnTo>
                    <a:lnTo>
                      <a:pt x="513" y="656"/>
                    </a:lnTo>
                    <a:lnTo>
                      <a:pt x="512" y="656"/>
                    </a:lnTo>
                    <a:lnTo>
                      <a:pt x="510" y="658"/>
                    </a:lnTo>
                    <a:lnTo>
                      <a:pt x="508" y="658"/>
                    </a:lnTo>
                    <a:lnTo>
                      <a:pt x="507" y="658"/>
                    </a:lnTo>
                    <a:lnTo>
                      <a:pt x="507" y="660"/>
                    </a:lnTo>
                    <a:lnTo>
                      <a:pt x="505" y="660"/>
                    </a:lnTo>
                    <a:lnTo>
                      <a:pt x="503" y="660"/>
                    </a:lnTo>
                    <a:lnTo>
                      <a:pt x="502" y="660"/>
                    </a:lnTo>
                    <a:lnTo>
                      <a:pt x="500" y="662"/>
                    </a:lnTo>
                    <a:lnTo>
                      <a:pt x="498" y="662"/>
                    </a:lnTo>
                    <a:lnTo>
                      <a:pt x="496" y="663"/>
                    </a:lnTo>
                    <a:lnTo>
                      <a:pt x="495" y="663"/>
                    </a:lnTo>
                    <a:lnTo>
                      <a:pt x="493" y="663"/>
                    </a:lnTo>
                    <a:lnTo>
                      <a:pt x="491" y="665"/>
                    </a:lnTo>
                    <a:lnTo>
                      <a:pt x="490" y="665"/>
                    </a:lnTo>
                    <a:lnTo>
                      <a:pt x="488" y="665"/>
                    </a:lnTo>
                    <a:lnTo>
                      <a:pt x="486" y="665"/>
                    </a:lnTo>
                    <a:lnTo>
                      <a:pt x="485" y="667"/>
                    </a:lnTo>
                    <a:lnTo>
                      <a:pt x="483" y="667"/>
                    </a:lnTo>
                    <a:lnTo>
                      <a:pt x="481" y="667"/>
                    </a:lnTo>
                    <a:lnTo>
                      <a:pt x="479" y="667"/>
                    </a:lnTo>
                    <a:lnTo>
                      <a:pt x="479" y="668"/>
                    </a:lnTo>
                    <a:lnTo>
                      <a:pt x="478" y="668"/>
                    </a:lnTo>
                    <a:lnTo>
                      <a:pt x="476" y="668"/>
                    </a:lnTo>
                    <a:lnTo>
                      <a:pt x="474" y="668"/>
                    </a:lnTo>
                    <a:lnTo>
                      <a:pt x="473" y="668"/>
                    </a:lnTo>
                    <a:lnTo>
                      <a:pt x="471" y="668"/>
                    </a:lnTo>
                    <a:lnTo>
                      <a:pt x="469" y="670"/>
                    </a:lnTo>
                    <a:lnTo>
                      <a:pt x="468" y="670"/>
                    </a:lnTo>
                    <a:lnTo>
                      <a:pt x="466" y="670"/>
                    </a:lnTo>
                    <a:lnTo>
                      <a:pt x="464" y="672"/>
                    </a:lnTo>
                    <a:lnTo>
                      <a:pt x="462" y="672"/>
                    </a:lnTo>
                    <a:lnTo>
                      <a:pt x="461" y="672"/>
                    </a:lnTo>
                    <a:lnTo>
                      <a:pt x="459" y="672"/>
                    </a:lnTo>
                    <a:lnTo>
                      <a:pt x="457" y="672"/>
                    </a:lnTo>
                    <a:lnTo>
                      <a:pt x="456" y="672"/>
                    </a:lnTo>
                    <a:lnTo>
                      <a:pt x="454" y="672"/>
                    </a:lnTo>
                    <a:lnTo>
                      <a:pt x="454" y="674"/>
                    </a:lnTo>
                    <a:lnTo>
                      <a:pt x="452" y="674"/>
                    </a:lnTo>
                    <a:lnTo>
                      <a:pt x="449" y="674"/>
                    </a:lnTo>
                    <a:lnTo>
                      <a:pt x="447" y="674"/>
                    </a:lnTo>
                    <a:lnTo>
                      <a:pt x="445" y="675"/>
                    </a:lnTo>
                    <a:lnTo>
                      <a:pt x="444" y="675"/>
                    </a:lnTo>
                    <a:lnTo>
                      <a:pt x="442" y="675"/>
                    </a:lnTo>
                    <a:lnTo>
                      <a:pt x="440" y="675"/>
                    </a:lnTo>
                    <a:lnTo>
                      <a:pt x="439" y="675"/>
                    </a:lnTo>
                    <a:lnTo>
                      <a:pt x="435" y="677"/>
                    </a:lnTo>
                    <a:lnTo>
                      <a:pt x="434" y="677"/>
                    </a:lnTo>
                    <a:lnTo>
                      <a:pt x="432" y="677"/>
                    </a:lnTo>
                    <a:lnTo>
                      <a:pt x="430" y="677"/>
                    </a:lnTo>
                    <a:lnTo>
                      <a:pt x="428" y="677"/>
                    </a:lnTo>
                    <a:lnTo>
                      <a:pt x="427" y="677"/>
                    </a:lnTo>
                    <a:lnTo>
                      <a:pt x="425" y="677"/>
                    </a:lnTo>
                    <a:lnTo>
                      <a:pt x="423" y="679"/>
                    </a:lnTo>
                    <a:lnTo>
                      <a:pt x="422" y="679"/>
                    </a:lnTo>
                    <a:lnTo>
                      <a:pt x="420" y="679"/>
                    </a:lnTo>
                    <a:lnTo>
                      <a:pt x="418" y="679"/>
                    </a:lnTo>
                    <a:lnTo>
                      <a:pt x="417" y="679"/>
                    </a:lnTo>
                    <a:lnTo>
                      <a:pt x="415" y="679"/>
                    </a:lnTo>
                    <a:lnTo>
                      <a:pt x="411" y="679"/>
                    </a:lnTo>
                    <a:lnTo>
                      <a:pt x="410" y="679"/>
                    </a:lnTo>
                    <a:lnTo>
                      <a:pt x="408" y="679"/>
                    </a:lnTo>
                    <a:lnTo>
                      <a:pt x="406" y="679"/>
                    </a:lnTo>
                    <a:lnTo>
                      <a:pt x="405" y="679"/>
                    </a:lnTo>
                    <a:lnTo>
                      <a:pt x="403" y="679"/>
                    </a:lnTo>
                    <a:lnTo>
                      <a:pt x="401" y="677"/>
                    </a:lnTo>
                    <a:lnTo>
                      <a:pt x="400" y="677"/>
                    </a:lnTo>
                    <a:lnTo>
                      <a:pt x="398" y="679"/>
                    </a:lnTo>
                    <a:lnTo>
                      <a:pt x="396" y="677"/>
                    </a:lnTo>
                    <a:lnTo>
                      <a:pt x="394" y="677"/>
                    </a:lnTo>
                    <a:lnTo>
                      <a:pt x="393" y="677"/>
                    </a:lnTo>
                    <a:lnTo>
                      <a:pt x="393" y="675"/>
                    </a:lnTo>
                    <a:lnTo>
                      <a:pt x="391" y="675"/>
                    </a:lnTo>
                    <a:lnTo>
                      <a:pt x="389" y="675"/>
                    </a:lnTo>
                    <a:lnTo>
                      <a:pt x="389" y="674"/>
                    </a:lnTo>
                    <a:lnTo>
                      <a:pt x="388" y="674"/>
                    </a:lnTo>
                    <a:lnTo>
                      <a:pt x="388" y="672"/>
                    </a:lnTo>
                    <a:lnTo>
                      <a:pt x="386" y="670"/>
                    </a:lnTo>
                    <a:lnTo>
                      <a:pt x="384" y="670"/>
                    </a:lnTo>
                    <a:lnTo>
                      <a:pt x="383" y="668"/>
                    </a:lnTo>
                    <a:lnTo>
                      <a:pt x="383" y="670"/>
                    </a:lnTo>
                    <a:lnTo>
                      <a:pt x="381" y="668"/>
                    </a:lnTo>
                    <a:lnTo>
                      <a:pt x="379" y="668"/>
                    </a:lnTo>
                    <a:lnTo>
                      <a:pt x="381" y="668"/>
                    </a:lnTo>
                    <a:lnTo>
                      <a:pt x="381" y="670"/>
                    </a:lnTo>
                    <a:lnTo>
                      <a:pt x="379" y="670"/>
                    </a:lnTo>
                    <a:lnTo>
                      <a:pt x="379" y="672"/>
                    </a:lnTo>
                    <a:lnTo>
                      <a:pt x="381" y="670"/>
                    </a:lnTo>
                    <a:lnTo>
                      <a:pt x="381" y="672"/>
                    </a:lnTo>
                    <a:lnTo>
                      <a:pt x="383" y="672"/>
                    </a:lnTo>
                    <a:lnTo>
                      <a:pt x="381" y="672"/>
                    </a:lnTo>
                    <a:lnTo>
                      <a:pt x="379" y="672"/>
                    </a:lnTo>
                    <a:lnTo>
                      <a:pt x="379" y="674"/>
                    </a:lnTo>
                    <a:lnTo>
                      <a:pt x="381" y="674"/>
                    </a:lnTo>
                    <a:lnTo>
                      <a:pt x="379" y="675"/>
                    </a:lnTo>
                    <a:lnTo>
                      <a:pt x="379" y="677"/>
                    </a:lnTo>
                    <a:lnTo>
                      <a:pt x="381" y="677"/>
                    </a:lnTo>
                    <a:lnTo>
                      <a:pt x="383" y="677"/>
                    </a:lnTo>
                    <a:lnTo>
                      <a:pt x="384" y="677"/>
                    </a:lnTo>
                    <a:lnTo>
                      <a:pt x="386" y="679"/>
                    </a:lnTo>
                    <a:lnTo>
                      <a:pt x="384" y="679"/>
                    </a:lnTo>
                    <a:lnTo>
                      <a:pt x="383" y="680"/>
                    </a:lnTo>
                    <a:lnTo>
                      <a:pt x="381" y="680"/>
                    </a:lnTo>
                    <a:lnTo>
                      <a:pt x="381" y="682"/>
                    </a:lnTo>
                    <a:lnTo>
                      <a:pt x="381" y="684"/>
                    </a:lnTo>
                    <a:lnTo>
                      <a:pt x="381" y="685"/>
                    </a:lnTo>
                    <a:lnTo>
                      <a:pt x="381" y="687"/>
                    </a:lnTo>
                    <a:lnTo>
                      <a:pt x="381" y="689"/>
                    </a:lnTo>
                    <a:lnTo>
                      <a:pt x="383" y="689"/>
                    </a:lnTo>
                    <a:lnTo>
                      <a:pt x="381" y="689"/>
                    </a:lnTo>
                    <a:lnTo>
                      <a:pt x="381" y="691"/>
                    </a:lnTo>
                    <a:lnTo>
                      <a:pt x="383" y="691"/>
                    </a:lnTo>
                    <a:lnTo>
                      <a:pt x="384" y="691"/>
                    </a:lnTo>
                    <a:lnTo>
                      <a:pt x="386" y="691"/>
                    </a:lnTo>
                    <a:lnTo>
                      <a:pt x="388" y="691"/>
                    </a:lnTo>
                    <a:lnTo>
                      <a:pt x="388" y="692"/>
                    </a:lnTo>
                    <a:lnTo>
                      <a:pt x="389" y="692"/>
                    </a:lnTo>
                    <a:lnTo>
                      <a:pt x="389" y="694"/>
                    </a:lnTo>
                    <a:lnTo>
                      <a:pt x="391" y="694"/>
                    </a:lnTo>
                    <a:lnTo>
                      <a:pt x="391" y="696"/>
                    </a:lnTo>
                    <a:lnTo>
                      <a:pt x="391" y="697"/>
                    </a:lnTo>
                    <a:lnTo>
                      <a:pt x="389" y="696"/>
                    </a:lnTo>
                    <a:lnTo>
                      <a:pt x="388" y="696"/>
                    </a:lnTo>
                    <a:lnTo>
                      <a:pt x="388" y="694"/>
                    </a:lnTo>
                    <a:lnTo>
                      <a:pt x="386" y="694"/>
                    </a:lnTo>
                    <a:lnTo>
                      <a:pt x="386" y="692"/>
                    </a:lnTo>
                    <a:lnTo>
                      <a:pt x="384" y="691"/>
                    </a:lnTo>
                    <a:lnTo>
                      <a:pt x="384" y="692"/>
                    </a:lnTo>
                    <a:lnTo>
                      <a:pt x="384" y="691"/>
                    </a:lnTo>
                    <a:lnTo>
                      <a:pt x="383" y="692"/>
                    </a:lnTo>
                    <a:lnTo>
                      <a:pt x="384" y="692"/>
                    </a:lnTo>
                    <a:lnTo>
                      <a:pt x="384" y="694"/>
                    </a:lnTo>
                    <a:lnTo>
                      <a:pt x="386" y="694"/>
                    </a:lnTo>
                    <a:lnTo>
                      <a:pt x="386" y="696"/>
                    </a:lnTo>
                    <a:lnTo>
                      <a:pt x="388" y="696"/>
                    </a:lnTo>
                    <a:lnTo>
                      <a:pt x="388" y="697"/>
                    </a:lnTo>
                    <a:lnTo>
                      <a:pt x="389" y="697"/>
                    </a:lnTo>
                    <a:lnTo>
                      <a:pt x="389" y="699"/>
                    </a:lnTo>
                    <a:lnTo>
                      <a:pt x="389" y="701"/>
                    </a:lnTo>
                    <a:lnTo>
                      <a:pt x="389" y="702"/>
                    </a:lnTo>
                    <a:lnTo>
                      <a:pt x="388" y="702"/>
                    </a:lnTo>
                    <a:lnTo>
                      <a:pt x="388" y="704"/>
                    </a:lnTo>
                    <a:lnTo>
                      <a:pt x="388" y="706"/>
                    </a:lnTo>
                    <a:lnTo>
                      <a:pt x="388" y="708"/>
                    </a:lnTo>
                    <a:lnTo>
                      <a:pt x="388" y="709"/>
                    </a:lnTo>
                    <a:lnTo>
                      <a:pt x="388" y="711"/>
                    </a:lnTo>
                    <a:lnTo>
                      <a:pt x="388" y="713"/>
                    </a:lnTo>
                    <a:lnTo>
                      <a:pt x="388" y="714"/>
                    </a:lnTo>
                    <a:lnTo>
                      <a:pt x="388" y="716"/>
                    </a:lnTo>
                    <a:lnTo>
                      <a:pt x="388" y="718"/>
                    </a:lnTo>
                    <a:lnTo>
                      <a:pt x="386" y="718"/>
                    </a:lnTo>
                    <a:lnTo>
                      <a:pt x="386" y="716"/>
                    </a:lnTo>
                    <a:lnTo>
                      <a:pt x="384" y="716"/>
                    </a:lnTo>
                    <a:lnTo>
                      <a:pt x="384" y="718"/>
                    </a:lnTo>
                    <a:lnTo>
                      <a:pt x="383" y="718"/>
                    </a:lnTo>
                    <a:lnTo>
                      <a:pt x="383" y="716"/>
                    </a:lnTo>
                    <a:lnTo>
                      <a:pt x="381" y="716"/>
                    </a:lnTo>
                    <a:lnTo>
                      <a:pt x="381" y="718"/>
                    </a:lnTo>
                    <a:lnTo>
                      <a:pt x="381" y="719"/>
                    </a:lnTo>
                    <a:lnTo>
                      <a:pt x="381" y="721"/>
                    </a:lnTo>
                    <a:lnTo>
                      <a:pt x="381" y="723"/>
                    </a:lnTo>
                    <a:lnTo>
                      <a:pt x="379" y="723"/>
                    </a:lnTo>
                    <a:lnTo>
                      <a:pt x="379" y="725"/>
                    </a:lnTo>
                    <a:lnTo>
                      <a:pt x="379" y="726"/>
                    </a:lnTo>
                    <a:lnTo>
                      <a:pt x="379" y="728"/>
                    </a:lnTo>
                    <a:lnTo>
                      <a:pt x="381" y="728"/>
                    </a:lnTo>
                    <a:lnTo>
                      <a:pt x="381" y="730"/>
                    </a:lnTo>
                    <a:lnTo>
                      <a:pt x="379" y="730"/>
                    </a:lnTo>
                    <a:lnTo>
                      <a:pt x="379" y="731"/>
                    </a:lnTo>
                    <a:lnTo>
                      <a:pt x="377" y="731"/>
                    </a:lnTo>
                    <a:lnTo>
                      <a:pt x="377" y="733"/>
                    </a:lnTo>
                    <a:lnTo>
                      <a:pt x="376" y="733"/>
                    </a:lnTo>
                    <a:lnTo>
                      <a:pt x="376" y="735"/>
                    </a:lnTo>
                    <a:lnTo>
                      <a:pt x="374" y="735"/>
                    </a:lnTo>
                    <a:lnTo>
                      <a:pt x="374" y="736"/>
                    </a:lnTo>
                    <a:lnTo>
                      <a:pt x="376" y="738"/>
                    </a:lnTo>
                    <a:lnTo>
                      <a:pt x="376" y="740"/>
                    </a:lnTo>
                    <a:lnTo>
                      <a:pt x="376" y="742"/>
                    </a:lnTo>
                    <a:lnTo>
                      <a:pt x="377" y="742"/>
                    </a:lnTo>
                    <a:lnTo>
                      <a:pt x="377" y="743"/>
                    </a:lnTo>
                    <a:lnTo>
                      <a:pt x="379" y="743"/>
                    </a:lnTo>
                    <a:lnTo>
                      <a:pt x="381" y="745"/>
                    </a:lnTo>
                    <a:lnTo>
                      <a:pt x="383" y="747"/>
                    </a:lnTo>
                    <a:lnTo>
                      <a:pt x="384" y="747"/>
                    </a:lnTo>
                    <a:lnTo>
                      <a:pt x="384" y="748"/>
                    </a:lnTo>
                    <a:lnTo>
                      <a:pt x="386" y="748"/>
                    </a:lnTo>
                    <a:lnTo>
                      <a:pt x="386" y="750"/>
                    </a:lnTo>
                    <a:lnTo>
                      <a:pt x="384" y="752"/>
                    </a:lnTo>
                    <a:lnTo>
                      <a:pt x="383" y="753"/>
                    </a:lnTo>
                    <a:lnTo>
                      <a:pt x="383" y="755"/>
                    </a:lnTo>
                    <a:lnTo>
                      <a:pt x="383" y="757"/>
                    </a:lnTo>
                    <a:lnTo>
                      <a:pt x="381" y="759"/>
                    </a:lnTo>
                    <a:lnTo>
                      <a:pt x="381" y="760"/>
                    </a:lnTo>
                    <a:lnTo>
                      <a:pt x="379" y="762"/>
                    </a:lnTo>
                    <a:lnTo>
                      <a:pt x="377" y="762"/>
                    </a:lnTo>
                    <a:lnTo>
                      <a:pt x="377" y="764"/>
                    </a:lnTo>
                    <a:lnTo>
                      <a:pt x="376" y="764"/>
                    </a:lnTo>
                    <a:lnTo>
                      <a:pt x="374" y="764"/>
                    </a:lnTo>
                    <a:lnTo>
                      <a:pt x="372" y="764"/>
                    </a:lnTo>
                    <a:lnTo>
                      <a:pt x="372" y="765"/>
                    </a:lnTo>
                    <a:lnTo>
                      <a:pt x="371" y="765"/>
                    </a:lnTo>
                    <a:lnTo>
                      <a:pt x="369" y="767"/>
                    </a:lnTo>
                    <a:lnTo>
                      <a:pt x="367" y="767"/>
                    </a:lnTo>
                    <a:lnTo>
                      <a:pt x="367" y="769"/>
                    </a:lnTo>
                    <a:lnTo>
                      <a:pt x="366" y="769"/>
                    </a:lnTo>
                    <a:lnTo>
                      <a:pt x="366" y="767"/>
                    </a:lnTo>
                    <a:lnTo>
                      <a:pt x="364" y="767"/>
                    </a:lnTo>
                    <a:lnTo>
                      <a:pt x="364" y="769"/>
                    </a:lnTo>
                    <a:lnTo>
                      <a:pt x="362" y="769"/>
                    </a:lnTo>
                    <a:lnTo>
                      <a:pt x="362" y="770"/>
                    </a:lnTo>
                    <a:lnTo>
                      <a:pt x="360" y="770"/>
                    </a:lnTo>
                    <a:lnTo>
                      <a:pt x="359" y="770"/>
                    </a:lnTo>
                    <a:lnTo>
                      <a:pt x="357" y="772"/>
                    </a:lnTo>
                    <a:lnTo>
                      <a:pt x="355" y="772"/>
                    </a:lnTo>
                    <a:lnTo>
                      <a:pt x="355" y="774"/>
                    </a:lnTo>
                    <a:lnTo>
                      <a:pt x="354" y="774"/>
                    </a:lnTo>
                    <a:lnTo>
                      <a:pt x="352" y="774"/>
                    </a:lnTo>
                    <a:lnTo>
                      <a:pt x="350" y="774"/>
                    </a:lnTo>
                    <a:lnTo>
                      <a:pt x="349" y="774"/>
                    </a:lnTo>
                    <a:lnTo>
                      <a:pt x="347" y="774"/>
                    </a:lnTo>
                    <a:lnTo>
                      <a:pt x="345" y="774"/>
                    </a:lnTo>
                    <a:lnTo>
                      <a:pt x="343" y="774"/>
                    </a:lnTo>
                    <a:lnTo>
                      <a:pt x="342" y="774"/>
                    </a:lnTo>
                    <a:lnTo>
                      <a:pt x="340" y="774"/>
                    </a:lnTo>
                    <a:lnTo>
                      <a:pt x="338" y="774"/>
                    </a:lnTo>
                    <a:lnTo>
                      <a:pt x="337" y="774"/>
                    </a:lnTo>
                    <a:lnTo>
                      <a:pt x="335" y="774"/>
                    </a:lnTo>
                    <a:lnTo>
                      <a:pt x="333" y="774"/>
                    </a:lnTo>
                    <a:lnTo>
                      <a:pt x="332" y="774"/>
                    </a:lnTo>
                    <a:lnTo>
                      <a:pt x="330" y="774"/>
                    </a:lnTo>
                    <a:lnTo>
                      <a:pt x="330" y="772"/>
                    </a:lnTo>
                    <a:lnTo>
                      <a:pt x="328" y="772"/>
                    </a:lnTo>
                    <a:lnTo>
                      <a:pt x="326" y="772"/>
                    </a:lnTo>
                    <a:lnTo>
                      <a:pt x="326" y="770"/>
                    </a:lnTo>
                    <a:lnTo>
                      <a:pt x="325" y="769"/>
                    </a:lnTo>
                    <a:lnTo>
                      <a:pt x="323" y="769"/>
                    </a:lnTo>
                    <a:lnTo>
                      <a:pt x="321" y="769"/>
                    </a:lnTo>
                    <a:lnTo>
                      <a:pt x="321" y="767"/>
                    </a:lnTo>
                    <a:lnTo>
                      <a:pt x="320" y="767"/>
                    </a:lnTo>
                    <a:lnTo>
                      <a:pt x="321" y="767"/>
                    </a:lnTo>
                    <a:lnTo>
                      <a:pt x="321" y="765"/>
                    </a:lnTo>
                    <a:lnTo>
                      <a:pt x="320" y="765"/>
                    </a:lnTo>
                    <a:lnTo>
                      <a:pt x="320" y="767"/>
                    </a:lnTo>
                    <a:lnTo>
                      <a:pt x="318" y="767"/>
                    </a:lnTo>
                    <a:lnTo>
                      <a:pt x="316" y="767"/>
                    </a:lnTo>
                    <a:lnTo>
                      <a:pt x="315" y="765"/>
                    </a:lnTo>
                    <a:lnTo>
                      <a:pt x="313" y="765"/>
                    </a:lnTo>
                    <a:lnTo>
                      <a:pt x="313" y="764"/>
                    </a:lnTo>
                    <a:lnTo>
                      <a:pt x="311" y="764"/>
                    </a:lnTo>
                    <a:lnTo>
                      <a:pt x="309" y="762"/>
                    </a:lnTo>
                    <a:lnTo>
                      <a:pt x="308" y="762"/>
                    </a:lnTo>
                    <a:lnTo>
                      <a:pt x="306" y="760"/>
                    </a:lnTo>
                    <a:lnTo>
                      <a:pt x="304" y="760"/>
                    </a:lnTo>
                    <a:lnTo>
                      <a:pt x="303" y="760"/>
                    </a:lnTo>
                    <a:lnTo>
                      <a:pt x="301" y="759"/>
                    </a:lnTo>
                    <a:lnTo>
                      <a:pt x="299" y="759"/>
                    </a:lnTo>
                    <a:lnTo>
                      <a:pt x="298" y="759"/>
                    </a:lnTo>
                    <a:lnTo>
                      <a:pt x="296" y="759"/>
                    </a:lnTo>
                    <a:lnTo>
                      <a:pt x="294" y="759"/>
                    </a:lnTo>
                    <a:lnTo>
                      <a:pt x="292" y="759"/>
                    </a:lnTo>
                    <a:lnTo>
                      <a:pt x="294" y="757"/>
                    </a:lnTo>
                    <a:lnTo>
                      <a:pt x="296" y="757"/>
                    </a:lnTo>
                    <a:lnTo>
                      <a:pt x="298" y="757"/>
                    </a:lnTo>
                    <a:lnTo>
                      <a:pt x="298" y="759"/>
                    </a:lnTo>
                    <a:lnTo>
                      <a:pt x="299" y="757"/>
                    </a:lnTo>
                    <a:lnTo>
                      <a:pt x="298" y="757"/>
                    </a:lnTo>
                    <a:lnTo>
                      <a:pt x="299" y="757"/>
                    </a:lnTo>
                    <a:lnTo>
                      <a:pt x="298" y="757"/>
                    </a:lnTo>
                    <a:lnTo>
                      <a:pt x="296" y="757"/>
                    </a:lnTo>
                    <a:lnTo>
                      <a:pt x="298" y="755"/>
                    </a:lnTo>
                    <a:lnTo>
                      <a:pt x="296" y="755"/>
                    </a:lnTo>
                    <a:lnTo>
                      <a:pt x="298" y="755"/>
                    </a:lnTo>
                    <a:lnTo>
                      <a:pt x="296" y="755"/>
                    </a:lnTo>
                    <a:lnTo>
                      <a:pt x="296" y="753"/>
                    </a:lnTo>
                    <a:lnTo>
                      <a:pt x="294" y="753"/>
                    </a:lnTo>
                    <a:lnTo>
                      <a:pt x="292" y="753"/>
                    </a:lnTo>
                    <a:lnTo>
                      <a:pt x="291" y="753"/>
                    </a:lnTo>
                    <a:lnTo>
                      <a:pt x="292" y="753"/>
                    </a:lnTo>
                    <a:lnTo>
                      <a:pt x="291" y="753"/>
                    </a:lnTo>
                    <a:lnTo>
                      <a:pt x="291" y="755"/>
                    </a:lnTo>
                    <a:lnTo>
                      <a:pt x="292" y="753"/>
                    </a:lnTo>
                    <a:lnTo>
                      <a:pt x="292" y="755"/>
                    </a:lnTo>
                    <a:lnTo>
                      <a:pt x="294" y="755"/>
                    </a:lnTo>
                    <a:lnTo>
                      <a:pt x="292" y="755"/>
                    </a:lnTo>
                    <a:lnTo>
                      <a:pt x="291" y="755"/>
                    </a:lnTo>
                    <a:lnTo>
                      <a:pt x="289" y="755"/>
                    </a:lnTo>
                    <a:lnTo>
                      <a:pt x="289" y="757"/>
                    </a:lnTo>
                    <a:lnTo>
                      <a:pt x="287" y="757"/>
                    </a:lnTo>
                    <a:lnTo>
                      <a:pt x="287" y="759"/>
                    </a:lnTo>
                    <a:lnTo>
                      <a:pt x="286" y="759"/>
                    </a:lnTo>
                    <a:lnTo>
                      <a:pt x="286" y="760"/>
                    </a:lnTo>
                    <a:lnTo>
                      <a:pt x="286" y="762"/>
                    </a:lnTo>
                    <a:lnTo>
                      <a:pt x="284" y="764"/>
                    </a:lnTo>
                    <a:lnTo>
                      <a:pt x="284" y="765"/>
                    </a:lnTo>
                    <a:lnTo>
                      <a:pt x="284" y="767"/>
                    </a:lnTo>
                    <a:lnTo>
                      <a:pt x="284" y="769"/>
                    </a:lnTo>
                    <a:lnTo>
                      <a:pt x="284" y="770"/>
                    </a:lnTo>
                    <a:lnTo>
                      <a:pt x="286" y="770"/>
                    </a:lnTo>
                    <a:lnTo>
                      <a:pt x="286" y="772"/>
                    </a:lnTo>
                    <a:lnTo>
                      <a:pt x="286" y="774"/>
                    </a:lnTo>
                    <a:lnTo>
                      <a:pt x="284" y="774"/>
                    </a:lnTo>
                    <a:lnTo>
                      <a:pt x="286" y="774"/>
                    </a:lnTo>
                    <a:lnTo>
                      <a:pt x="286" y="776"/>
                    </a:lnTo>
                    <a:lnTo>
                      <a:pt x="286" y="777"/>
                    </a:lnTo>
                    <a:lnTo>
                      <a:pt x="286" y="779"/>
                    </a:lnTo>
                    <a:lnTo>
                      <a:pt x="286" y="781"/>
                    </a:lnTo>
                    <a:lnTo>
                      <a:pt x="287" y="781"/>
                    </a:lnTo>
                    <a:lnTo>
                      <a:pt x="287" y="782"/>
                    </a:lnTo>
                    <a:lnTo>
                      <a:pt x="287" y="784"/>
                    </a:lnTo>
                    <a:lnTo>
                      <a:pt x="287" y="786"/>
                    </a:lnTo>
                    <a:lnTo>
                      <a:pt x="289" y="787"/>
                    </a:lnTo>
                    <a:lnTo>
                      <a:pt x="291" y="789"/>
                    </a:lnTo>
                    <a:lnTo>
                      <a:pt x="291" y="791"/>
                    </a:lnTo>
                    <a:lnTo>
                      <a:pt x="289" y="791"/>
                    </a:lnTo>
                    <a:lnTo>
                      <a:pt x="291" y="793"/>
                    </a:lnTo>
                    <a:lnTo>
                      <a:pt x="289" y="793"/>
                    </a:lnTo>
                    <a:lnTo>
                      <a:pt x="289" y="794"/>
                    </a:lnTo>
                    <a:lnTo>
                      <a:pt x="289" y="796"/>
                    </a:lnTo>
                    <a:lnTo>
                      <a:pt x="289" y="798"/>
                    </a:lnTo>
                    <a:lnTo>
                      <a:pt x="289" y="799"/>
                    </a:lnTo>
                    <a:lnTo>
                      <a:pt x="289" y="801"/>
                    </a:lnTo>
                    <a:lnTo>
                      <a:pt x="291" y="801"/>
                    </a:lnTo>
                    <a:lnTo>
                      <a:pt x="289" y="801"/>
                    </a:lnTo>
                    <a:lnTo>
                      <a:pt x="289" y="803"/>
                    </a:lnTo>
                    <a:lnTo>
                      <a:pt x="289" y="804"/>
                    </a:lnTo>
                    <a:lnTo>
                      <a:pt x="289" y="806"/>
                    </a:lnTo>
                    <a:lnTo>
                      <a:pt x="287" y="806"/>
                    </a:lnTo>
                    <a:lnTo>
                      <a:pt x="287" y="808"/>
                    </a:lnTo>
                    <a:lnTo>
                      <a:pt x="287" y="810"/>
                    </a:lnTo>
                    <a:lnTo>
                      <a:pt x="287" y="811"/>
                    </a:lnTo>
                    <a:lnTo>
                      <a:pt x="287" y="813"/>
                    </a:lnTo>
                    <a:lnTo>
                      <a:pt x="289" y="815"/>
                    </a:lnTo>
                    <a:lnTo>
                      <a:pt x="289" y="816"/>
                    </a:lnTo>
                    <a:lnTo>
                      <a:pt x="291" y="816"/>
                    </a:lnTo>
                    <a:lnTo>
                      <a:pt x="291" y="818"/>
                    </a:lnTo>
                    <a:lnTo>
                      <a:pt x="292" y="818"/>
                    </a:lnTo>
                    <a:lnTo>
                      <a:pt x="292" y="820"/>
                    </a:lnTo>
                    <a:lnTo>
                      <a:pt x="294" y="820"/>
                    </a:lnTo>
                    <a:lnTo>
                      <a:pt x="296" y="820"/>
                    </a:lnTo>
                    <a:lnTo>
                      <a:pt x="298" y="820"/>
                    </a:lnTo>
                    <a:lnTo>
                      <a:pt x="298" y="822"/>
                    </a:lnTo>
                    <a:lnTo>
                      <a:pt x="299" y="822"/>
                    </a:lnTo>
                    <a:lnTo>
                      <a:pt x="301" y="822"/>
                    </a:lnTo>
                    <a:lnTo>
                      <a:pt x="303" y="822"/>
                    </a:lnTo>
                    <a:lnTo>
                      <a:pt x="304" y="822"/>
                    </a:lnTo>
                    <a:lnTo>
                      <a:pt x="306" y="822"/>
                    </a:lnTo>
                    <a:lnTo>
                      <a:pt x="306" y="823"/>
                    </a:lnTo>
                    <a:lnTo>
                      <a:pt x="306" y="822"/>
                    </a:lnTo>
                    <a:lnTo>
                      <a:pt x="308" y="823"/>
                    </a:lnTo>
                    <a:lnTo>
                      <a:pt x="306" y="823"/>
                    </a:lnTo>
                    <a:lnTo>
                      <a:pt x="306" y="825"/>
                    </a:lnTo>
                    <a:lnTo>
                      <a:pt x="304" y="825"/>
                    </a:lnTo>
                    <a:lnTo>
                      <a:pt x="304" y="827"/>
                    </a:lnTo>
                    <a:lnTo>
                      <a:pt x="304" y="828"/>
                    </a:lnTo>
                    <a:lnTo>
                      <a:pt x="303" y="830"/>
                    </a:lnTo>
                    <a:lnTo>
                      <a:pt x="303" y="832"/>
                    </a:lnTo>
                    <a:lnTo>
                      <a:pt x="304" y="832"/>
                    </a:lnTo>
                    <a:lnTo>
                      <a:pt x="304" y="830"/>
                    </a:lnTo>
                    <a:lnTo>
                      <a:pt x="304" y="832"/>
                    </a:lnTo>
                    <a:lnTo>
                      <a:pt x="306" y="830"/>
                    </a:lnTo>
                    <a:lnTo>
                      <a:pt x="306" y="832"/>
                    </a:lnTo>
                    <a:lnTo>
                      <a:pt x="308" y="832"/>
                    </a:lnTo>
                    <a:lnTo>
                      <a:pt x="308" y="830"/>
                    </a:lnTo>
                    <a:lnTo>
                      <a:pt x="308" y="832"/>
                    </a:lnTo>
                    <a:lnTo>
                      <a:pt x="309" y="832"/>
                    </a:lnTo>
                    <a:lnTo>
                      <a:pt x="311" y="832"/>
                    </a:lnTo>
                    <a:lnTo>
                      <a:pt x="311" y="830"/>
                    </a:lnTo>
                    <a:lnTo>
                      <a:pt x="311" y="832"/>
                    </a:lnTo>
                    <a:lnTo>
                      <a:pt x="313" y="830"/>
                    </a:lnTo>
                    <a:lnTo>
                      <a:pt x="315" y="830"/>
                    </a:lnTo>
                    <a:lnTo>
                      <a:pt x="316" y="830"/>
                    </a:lnTo>
                    <a:lnTo>
                      <a:pt x="318" y="830"/>
                    </a:lnTo>
                    <a:lnTo>
                      <a:pt x="320" y="832"/>
                    </a:lnTo>
                    <a:lnTo>
                      <a:pt x="320" y="830"/>
                    </a:lnTo>
                    <a:lnTo>
                      <a:pt x="321" y="830"/>
                    </a:lnTo>
                    <a:lnTo>
                      <a:pt x="321" y="828"/>
                    </a:lnTo>
                    <a:lnTo>
                      <a:pt x="323" y="828"/>
                    </a:lnTo>
                    <a:lnTo>
                      <a:pt x="321" y="827"/>
                    </a:lnTo>
                    <a:lnTo>
                      <a:pt x="323" y="827"/>
                    </a:lnTo>
                    <a:lnTo>
                      <a:pt x="321" y="825"/>
                    </a:lnTo>
                    <a:lnTo>
                      <a:pt x="321" y="823"/>
                    </a:lnTo>
                    <a:lnTo>
                      <a:pt x="320" y="823"/>
                    </a:lnTo>
                    <a:lnTo>
                      <a:pt x="318" y="823"/>
                    </a:lnTo>
                    <a:lnTo>
                      <a:pt x="316" y="823"/>
                    </a:lnTo>
                    <a:lnTo>
                      <a:pt x="316" y="822"/>
                    </a:lnTo>
                    <a:lnTo>
                      <a:pt x="315" y="823"/>
                    </a:lnTo>
                    <a:lnTo>
                      <a:pt x="313" y="823"/>
                    </a:lnTo>
                    <a:lnTo>
                      <a:pt x="311" y="823"/>
                    </a:lnTo>
                    <a:lnTo>
                      <a:pt x="311" y="822"/>
                    </a:lnTo>
                    <a:lnTo>
                      <a:pt x="313" y="822"/>
                    </a:lnTo>
                    <a:lnTo>
                      <a:pt x="316" y="822"/>
                    </a:lnTo>
                    <a:lnTo>
                      <a:pt x="318" y="820"/>
                    </a:lnTo>
                    <a:lnTo>
                      <a:pt x="320" y="820"/>
                    </a:lnTo>
                    <a:lnTo>
                      <a:pt x="321" y="820"/>
                    </a:lnTo>
                    <a:lnTo>
                      <a:pt x="323" y="820"/>
                    </a:lnTo>
                    <a:lnTo>
                      <a:pt x="323" y="818"/>
                    </a:lnTo>
                    <a:lnTo>
                      <a:pt x="325" y="818"/>
                    </a:lnTo>
                    <a:lnTo>
                      <a:pt x="325" y="816"/>
                    </a:lnTo>
                    <a:lnTo>
                      <a:pt x="326" y="816"/>
                    </a:lnTo>
                    <a:lnTo>
                      <a:pt x="328" y="816"/>
                    </a:lnTo>
                    <a:lnTo>
                      <a:pt x="328" y="815"/>
                    </a:lnTo>
                    <a:lnTo>
                      <a:pt x="330" y="815"/>
                    </a:lnTo>
                    <a:lnTo>
                      <a:pt x="332" y="815"/>
                    </a:lnTo>
                    <a:lnTo>
                      <a:pt x="333" y="816"/>
                    </a:lnTo>
                    <a:lnTo>
                      <a:pt x="333" y="818"/>
                    </a:lnTo>
                    <a:lnTo>
                      <a:pt x="333" y="820"/>
                    </a:lnTo>
                    <a:lnTo>
                      <a:pt x="335" y="822"/>
                    </a:lnTo>
                    <a:lnTo>
                      <a:pt x="335" y="823"/>
                    </a:lnTo>
                    <a:lnTo>
                      <a:pt x="337" y="825"/>
                    </a:lnTo>
                    <a:lnTo>
                      <a:pt x="337" y="827"/>
                    </a:lnTo>
                    <a:lnTo>
                      <a:pt x="337" y="828"/>
                    </a:lnTo>
                    <a:lnTo>
                      <a:pt x="337" y="830"/>
                    </a:lnTo>
                    <a:lnTo>
                      <a:pt x="337" y="832"/>
                    </a:lnTo>
                    <a:lnTo>
                      <a:pt x="337" y="833"/>
                    </a:lnTo>
                    <a:lnTo>
                      <a:pt x="337" y="835"/>
                    </a:lnTo>
                    <a:lnTo>
                      <a:pt x="337" y="837"/>
                    </a:lnTo>
                    <a:lnTo>
                      <a:pt x="338" y="837"/>
                    </a:lnTo>
                    <a:lnTo>
                      <a:pt x="338" y="839"/>
                    </a:lnTo>
                    <a:lnTo>
                      <a:pt x="338" y="840"/>
                    </a:lnTo>
                    <a:lnTo>
                      <a:pt x="337" y="840"/>
                    </a:lnTo>
                    <a:lnTo>
                      <a:pt x="337" y="842"/>
                    </a:lnTo>
                    <a:lnTo>
                      <a:pt x="337" y="844"/>
                    </a:lnTo>
                    <a:lnTo>
                      <a:pt x="337" y="845"/>
                    </a:lnTo>
                    <a:lnTo>
                      <a:pt x="337" y="847"/>
                    </a:lnTo>
                    <a:lnTo>
                      <a:pt x="335" y="847"/>
                    </a:lnTo>
                    <a:lnTo>
                      <a:pt x="333" y="849"/>
                    </a:lnTo>
                    <a:lnTo>
                      <a:pt x="332" y="849"/>
                    </a:lnTo>
                    <a:lnTo>
                      <a:pt x="330" y="849"/>
                    </a:lnTo>
                    <a:lnTo>
                      <a:pt x="328" y="849"/>
                    </a:lnTo>
                    <a:lnTo>
                      <a:pt x="328" y="850"/>
                    </a:lnTo>
                    <a:lnTo>
                      <a:pt x="326" y="850"/>
                    </a:lnTo>
                    <a:lnTo>
                      <a:pt x="325" y="850"/>
                    </a:lnTo>
                    <a:lnTo>
                      <a:pt x="323" y="850"/>
                    </a:lnTo>
                    <a:lnTo>
                      <a:pt x="321" y="850"/>
                    </a:lnTo>
                    <a:lnTo>
                      <a:pt x="321" y="852"/>
                    </a:lnTo>
                    <a:lnTo>
                      <a:pt x="320" y="852"/>
                    </a:lnTo>
                    <a:lnTo>
                      <a:pt x="318" y="850"/>
                    </a:lnTo>
                    <a:lnTo>
                      <a:pt x="316" y="849"/>
                    </a:lnTo>
                    <a:lnTo>
                      <a:pt x="316" y="847"/>
                    </a:lnTo>
                    <a:lnTo>
                      <a:pt x="315" y="847"/>
                    </a:lnTo>
                    <a:lnTo>
                      <a:pt x="315" y="845"/>
                    </a:lnTo>
                    <a:lnTo>
                      <a:pt x="316" y="844"/>
                    </a:lnTo>
                    <a:lnTo>
                      <a:pt x="315" y="842"/>
                    </a:lnTo>
                    <a:lnTo>
                      <a:pt x="316" y="842"/>
                    </a:lnTo>
                    <a:lnTo>
                      <a:pt x="316" y="840"/>
                    </a:lnTo>
                    <a:lnTo>
                      <a:pt x="315" y="840"/>
                    </a:lnTo>
                    <a:lnTo>
                      <a:pt x="315" y="839"/>
                    </a:lnTo>
                    <a:lnTo>
                      <a:pt x="313" y="839"/>
                    </a:lnTo>
                    <a:lnTo>
                      <a:pt x="313" y="837"/>
                    </a:lnTo>
                    <a:lnTo>
                      <a:pt x="311" y="837"/>
                    </a:lnTo>
                    <a:lnTo>
                      <a:pt x="311" y="835"/>
                    </a:lnTo>
                    <a:lnTo>
                      <a:pt x="309" y="835"/>
                    </a:lnTo>
                    <a:lnTo>
                      <a:pt x="308" y="835"/>
                    </a:lnTo>
                    <a:lnTo>
                      <a:pt x="306" y="835"/>
                    </a:lnTo>
                    <a:lnTo>
                      <a:pt x="306" y="833"/>
                    </a:lnTo>
                    <a:lnTo>
                      <a:pt x="304" y="833"/>
                    </a:lnTo>
                    <a:lnTo>
                      <a:pt x="303" y="835"/>
                    </a:lnTo>
                    <a:lnTo>
                      <a:pt x="301" y="835"/>
                    </a:lnTo>
                    <a:lnTo>
                      <a:pt x="299" y="835"/>
                    </a:lnTo>
                    <a:lnTo>
                      <a:pt x="299" y="837"/>
                    </a:lnTo>
                    <a:lnTo>
                      <a:pt x="298" y="837"/>
                    </a:lnTo>
                    <a:lnTo>
                      <a:pt x="298" y="839"/>
                    </a:lnTo>
                    <a:lnTo>
                      <a:pt x="296" y="839"/>
                    </a:lnTo>
                    <a:lnTo>
                      <a:pt x="296" y="840"/>
                    </a:lnTo>
                    <a:lnTo>
                      <a:pt x="294" y="840"/>
                    </a:lnTo>
                    <a:lnTo>
                      <a:pt x="292" y="840"/>
                    </a:lnTo>
                    <a:lnTo>
                      <a:pt x="291" y="840"/>
                    </a:lnTo>
                    <a:lnTo>
                      <a:pt x="291" y="842"/>
                    </a:lnTo>
                    <a:lnTo>
                      <a:pt x="291" y="844"/>
                    </a:lnTo>
                    <a:lnTo>
                      <a:pt x="289" y="844"/>
                    </a:lnTo>
                    <a:lnTo>
                      <a:pt x="289" y="845"/>
                    </a:lnTo>
                    <a:lnTo>
                      <a:pt x="289" y="847"/>
                    </a:lnTo>
                    <a:lnTo>
                      <a:pt x="291" y="847"/>
                    </a:lnTo>
                    <a:lnTo>
                      <a:pt x="291" y="849"/>
                    </a:lnTo>
                    <a:lnTo>
                      <a:pt x="291" y="847"/>
                    </a:lnTo>
                    <a:lnTo>
                      <a:pt x="292" y="847"/>
                    </a:lnTo>
                    <a:lnTo>
                      <a:pt x="292" y="849"/>
                    </a:lnTo>
                    <a:lnTo>
                      <a:pt x="294" y="849"/>
                    </a:lnTo>
                    <a:lnTo>
                      <a:pt x="294" y="850"/>
                    </a:lnTo>
                    <a:lnTo>
                      <a:pt x="296" y="850"/>
                    </a:lnTo>
                    <a:lnTo>
                      <a:pt x="298" y="850"/>
                    </a:lnTo>
                    <a:lnTo>
                      <a:pt x="299" y="852"/>
                    </a:lnTo>
                    <a:lnTo>
                      <a:pt x="301" y="852"/>
                    </a:lnTo>
                    <a:lnTo>
                      <a:pt x="301" y="854"/>
                    </a:lnTo>
                    <a:lnTo>
                      <a:pt x="303" y="854"/>
                    </a:lnTo>
                    <a:lnTo>
                      <a:pt x="304" y="854"/>
                    </a:lnTo>
                    <a:lnTo>
                      <a:pt x="306" y="854"/>
                    </a:lnTo>
                    <a:lnTo>
                      <a:pt x="306" y="856"/>
                    </a:lnTo>
                    <a:lnTo>
                      <a:pt x="308" y="856"/>
                    </a:lnTo>
                    <a:lnTo>
                      <a:pt x="309" y="856"/>
                    </a:lnTo>
                    <a:lnTo>
                      <a:pt x="311" y="856"/>
                    </a:lnTo>
                    <a:lnTo>
                      <a:pt x="313" y="854"/>
                    </a:lnTo>
                    <a:lnTo>
                      <a:pt x="313" y="856"/>
                    </a:lnTo>
                    <a:lnTo>
                      <a:pt x="313" y="857"/>
                    </a:lnTo>
                    <a:lnTo>
                      <a:pt x="311" y="857"/>
                    </a:lnTo>
                    <a:lnTo>
                      <a:pt x="311" y="859"/>
                    </a:lnTo>
                    <a:lnTo>
                      <a:pt x="309" y="859"/>
                    </a:lnTo>
                    <a:lnTo>
                      <a:pt x="309" y="861"/>
                    </a:lnTo>
                    <a:lnTo>
                      <a:pt x="308" y="861"/>
                    </a:lnTo>
                    <a:lnTo>
                      <a:pt x="306" y="861"/>
                    </a:lnTo>
                    <a:lnTo>
                      <a:pt x="304" y="862"/>
                    </a:lnTo>
                    <a:lnTo>
                      <a:pt x="303" y="862"/>
                    </a:lnTo>
                    <a:lnTo>
                      <a:pt x="301" y="864"/>
                    </a:lnTo>
                    <a:lnTo>
                      <a:pt x="298" y="864"/>
                    </a:lnTo>
                    <a:lnTo>
                      <a:pt x="294" y="866"/>
                    </a:lnTo>
                    <a:lnTo>
                      <a:pt x="294" y="867"/>
                    </a:lnTo>
                    <a:lnTo>
                      <a:pt x="291" y="869"/>
                    </a:lnTo>
                    <a:lnTo>
                      <a:pt x="289" y="871"/>
                    </a:lnTo>
                    <a:lnTo>
                      <a:pt x="289" y="873"/>
                    </a:lnTo>
                    <a:lnTo>
                      <a:pt x="287" y="874"/>
                    </a:lnTo>
                    <a:lnTo>
                      <a:pt x="289" y="874"/>
                    </a:lnTo>
                    <a:lnTo>
                      <a:pt x="289" y="876"/>
                    </a:lnTo>
                    <a:lnTo>
                      <a:pt x="287" y="876"/>
                    </a:lnTo>
                    <a:lnTo>
                      <a:pt x="287" y="878"/>
                    </a:lnTo>
                    <a:lnTo>
                      <a:pt x="286" y="878"/>
                    </a:lnTo>
                    <a:lnTo>
                      <a:pt x="286" y="879"/>
                    </a:lnTo>
                    <a:lnTo>
                      <a:pt x="284" y="879"/>
                    </a:lnTo>
                    <a:lnTo>
                      <a:pt x="284" y="881"/>
                    </a:lnTo>
                    <a:lnTo>
                      <a:pt x="284" y="883"/>
                    </a:lnTo>
                    <a:lnTo>
                      <a:pt x="282" y="883"/>
                    </a:lnTo>
                    <a:lnTo>
                      <a:pt x="282" y="884"/>
                    </a:lnTo>
                    <a:lnTo>
                      <a:pt x="281" y="884"/>
                    </a:lnTo>
                    <a:lnTo>
                      <a:pt x="281" y="886"/>
                    </a:lnTo>
                    <a:lnTo>
                      <a:pt x="279" y="886"/>
                    </a:lnTo>
                    <a:lnTo>
                      <a:pt x="279" y="888"/>
                    </a:lnTo>
                    <a:lnTo>
                      <a:pt x="279" y="890"/>
                    </a:lnTo>
                    <a:lnTo>
                      <a:pt x="279" y="891"/>
                    </a:lnTo>
                    <a:lnTo>
                      <a:pt x="279" y="893"/>
                    </a:lnTo>
                    <a:lnTo>
                      <a:pt x="279" y="895"/>
                    </a:lnTo>
                    <a:lnTo>
                      <a:pt x="279" y="896"/>
                    </a:lnTo>
                    <a:lnTo>
                      <a:pt x="279" y="898"/>
                    </a:lnTo>
                    <a:lnTo>
                      <a:pt x="279" y="900"/>
                    </a:lnTo>
                    <a:lnTo>
                      <a:pt x="281" y="900"/>
                    </a:lnTo>
                    <a:lnTo>
                      <a:pt x="281" y="901"/>
                    </a:lnTo>
                    <a:lnTo>
                      <a:pt x="281" y="903"/>
                    </a:lnTo>
                    <a:lnTo>
                      <a:pt x="282" y="903"/>
                    </a:lnTo>
                    <a:lnTo>
                      <a:pt x="281" y="903"/>
                    </a:lnTo>
                    <a:lnTo>
                      <a:pt x="282" y="905"/>
                    </a:lnTo>
                    <a:lnTo>
                      <a:pt x="282" y="907"/>
                    </a:lnTo>
                    <a:lnTo>
                      <a:pt x="284" y="905"/>
                    </a:lnTo>
                    <a:lnTo>
                      <a:pt x="282" y="907"/>
                    </a:lnTo>
                    <a:lnTo>
                      <a:pt x="282" y="908"/>
                    </a:lnTo>
                    <a:lnTo>
                      <a:pt x="282" y="910"/>
                    </a:lnTo>
                    <a:lnTo>
                      <a:pt x="282" y="912"/>
                    </a:lnTo>
                    <a:lnTo>
                      <a:pt x="281" y="910"/>
                    </a:lnTo>
                    <a:lnTo>
                      <a:pt x="281" y="912"/>
                    </a:lnTo>
                    <a:lnTo>
                      <a:pt x="279" y="912"/>
                    </a:lnTo>
                    <a:lnTo>
                      <a:pt x="279" y="913"/>
                    </a:lnTo>
                    <a:lnTo>
                      <a:pt x="279" y="915"/>
                    </a:lnTo>
                    <a:lnTo>
                      <a:pt x="281" y="915"/>
                    </a:lnTo>
                    <a:lnTo>
                      <a:pt x="281" y="917"/>
                    </a:lnTo>
                    <a:lnTo>
                      <a:pt x="281" y="918"/>
                    </a:lnTo>
                    <a:lnTo>
                      <a:pt x="282" y="918"/>
                    </a:lnTo>
                    <a:lnTo>
                      <a:pt x="281" y="920"/>
                    </a:lnTo>
                    <a:lnTo>
                      <a:pt x="282" y="920"/>
                    </a:lnTo>
                    <a:lnTo>
                      <a:pt x="282" y="922"/>
                    </a:lnTo>
                    <a:lnTo>
                      <a:pt x="281" y="922"/>
                    </a:lnTo>
                    <a:lnTo>
                      <a:pt x="281" y="924"/>
                    </a:lnTo>
                    <a:lnTo>
                      <a:pt x="279" y="924"/>
                    </a:lnTo>
                    <a:lnTo>
                      <a:pt x="279" y="925"/>
                    </a:lnTo>
                    <a:lnTo>
                      <a:pt x="279" y="927"/>
                    </a:lnTo>
                    <a:lnTo>
                      <a:pt x="281" y="927"/>
                    </a:lnTo>
                    <a:lnTo>
                      <a:pt x="281" y="929"/>
                    </a:lnTo>
                    <a:lnTo>
                      <a:pt x="279" y="929"/>
                    </a:lnTo>
                    <a:lnTo>
                      <a:pt x="277" y="929"/>
                    </a:lnTo>
                    <a:lnTo>
                      <a:pt x="277" y="930"/>
                    </a:lnTo>
                    <a:lnTo>
                      <a:pt x="277" y="932"/>
                    </a:lnTo>
                    <a:lnTo>
                      <a:pt x="277" y="930"/>
                    </a:lnTo>
                    <a:lnTo>
                      <a:pt x="277" y="932"/>
                    </a:lnTo>
                    <a:lnTo>
                      <a:pt x="275" y="930"/>
                    </a:lnTo>
                    <a:lnTo>
                      <a:pt x="274" y="930"/>
                    </a:lnTo>
                    <a:lnTo>
                      <a:pt x="274" y="932"/>
                    </a:lnTo>
                    <a:lnTo>
                      <a:pt x="272" y="932"/>
                    </a:lnTo>
                    <a:lnTo>
                      <a:pt x="272" y="934"/>
                    </a:lnTo>
                    <a:lnTo>
                      <a:pt x="270" y="934"/>
                    </a:lnTo>
                    <a:lnTo>
                      <a:pt x="269" y="935"/>
                    </a:lnTo>
                    <a:lnTo>
                      <a:pt x="267" y="937"/>
                    </a:lnTo>
                    <a:lnTo>
                      <a:pt x="267" y="939"/>
                    </a:lnTo>
                    <a:lnTo>
                      <a:pt x="267" y="941"/>
                    </a:lnTo>
                    <a:lnTo>
                      <a:pt x="267" y="942"/>
                    </a:lnTo>
                    <a:lnTo>
                      <a:pt x="265" y="942"/>
                    </a:lnTo>
                    <a:lnTo>
                      <a:pt x="265" y="944"/>
                    </a:lnTo>
                    <a:lnTo>
                      <a:pt x="265" y="946"/>
                    </a:lnTo>
                    <a:lnTo>
                      <a:pt x="267" y="946"/>
                    </a:lnTo>
                    <a:lnTo>
                      <a:pt x="269" y="946"/>
                    </a:lnTo>
                    <a:lnTo>
                      <a:pt x="270" y="947"/>
                    </a:lnTo>
                    <a:lnTo>
                      <a:pt x="270" y="946"/>
                    </a:lnTo>
                    <a:lnTo>
                      <a:pt x="270" y="947"/>
                    </a:lnTo>
                    <a:lnTo>
                      <a:pt x="272" y="947"/>
                    </a:lnTo>
                    <a:lnTo>
                      <a:pt x="272" y="949"/>
                    </a:lnTo>
                    <a:lnTo>
                      <a:pt x="270" y="949"/>
                    </a:lnTo>
                    <a:lnTo>
                      <a:pt x="270" y="951"/>
                    </a:lnTo>
                    <a:lnTo>
                      <a:pt x="269" y="951"/>
                    </a:lnTo>
                    <a:lnTo>
                      <a:pt x="269" y="952"/>
                    </a:lnTo>
                    <a:lnTo>
                      <a:pt x="270" y="952"/>
                    </a:lnTo>
                    <a:lnTo>
                      <a:pt x="269" y="952"/>
                    </a:lnTo>
                    <a:lnTo>
                      <a:pt x="269" y="954"/>
                    </a:lnTo>
                    <a:lnTo>
                      <a:pt x="269" y="952"/>
                    </a:lnTo>
                    <a:lnTo>
                      <a:pt x="267" y="952"/>
                    </a:lnTo>
                    <a:lnTo>
                      <a:pt x="267" y="954"/>
                    </a:lnTo>
                    <a:lnTo>
                      <a:pt x="265" y="952"/>
                    </a:lnTo>
                    <a:lnTo>
                      <a:pt x="264" y="952"/>
                    </a:lnTo>
                    <a:lnTo>
                      <a:pt x="262" y="952"/>
                    </a:lnTo>
                    <a:lnTo>
                      <a:pt x="264" y="952"/>
                    </a:lnTo>
                    <a:lnTo>
                      <a:pt x="262" y="952"/>
                    </a:lnTo>
                    <a:lnTo>
                      <a:pt x="262" y="951"/>
                    </a:lnTo>
                    <a:lnTo>
                      <a:pt x="260" y="951"/>
                    </a:lnTo>
                    <a:lnTo>
                      <a:pt x="260" y="952"/>
                    </a:lnTo>
                    <a:lnTo>
                      <a:pt x="258" y="952"/>
                    </a:lnTo>
                    <a:lnTo>
                      <a:pt x="258" y="954"/>
                    </a:lnTo>
                    <a:lnTo>
                      <a:pt x="257" y="954"/>
                    </a:lnTo>
                    <a:lnTo>
                      <a:pt x="257" y="952"/>
                    </a:lnTo>
                    <a:lnTo>
                      <a:pt x="255" y="951"/>
                    </a:lnTo>
                    <a:lnTo>
                      <a:pt x="253" y="951"/>
                    </a:lnTo>
                    <a:lnTo>
                      <a:pt x="252" y="951"/>
                    </a:lnTo>
                    <a:lnTo>
                      <a:pt x="250" y="951"/>
                    </a:lnTo>
                    <a:lnTo>
                      <a:pt x="248" y="952"/>
                    </a:lnTo>
                    <a:lnTo>
                      <a:pt x="247" y="954"/>
                    </a:lnTo>
                    <a:lnTo>
                      <a:pt x="245" y="954"/>
                    </a:lnTo>
                    <a:lnTo>
                      <a:pt x="245" y="952"/>
                    </a:lnTo>
                    <a:lnTo>
                      <a:pt x="243" y="954"/>
                    </a:lnTo>
                    <a:lnTo>
                      <a:pt x="245" y="954"/>
                    </a:lnTo>
                    <a:lnTo>
                      <a:pt x="243" y="954"/>
                    </a:lnTo>
                    <a:lnTo>
                      <a:pt x="241" y="954"/>
                    </a:lnTo>
                    <a:lnTo>
                      <a:pt x="240" y="954"/>
                    </a:lnTo>
                    <a:lnTo>
                      <a:pt x="240" y="956"/>
                    </a:lnTo>
                    <a:lnTo>
                      <a:pt x="238" y="958"/>
                    </a:lnTo>
                    <a:lnTo>
                      <a:pt x="238" y="959"/>
                    </a:lnTo>
                    <a:lnTo>
                      <a:pt x="240" y="958"/>
                    </a:lnTo>
                    <a:lnTo>
                      <a:pt x="240" y="959"/>
                    </a:lnTo>
                    <a:lnTo>
                      <a:pt x="238" y="959"/>
                    </a:lnTo>
                    <a:lnTo>
                      <a:pt x="238" y="958"/>
                    </a:lnTo>
                    <a:lnTo>
                      <a:pt x="236" y="958"/>
                    </a:lnTo>
                    <a:lnTo>
                      <a:pt x="236" y="959"/>
                    </a:lnTo>
                    <a:lnTo>
                      <a:pt x="238" y="959"/>
                    </a:lnTo>
                    <a:lnTo>
                      <a:pt x="238" y="961"/>
                    </a:lnTo>
                    <a:lnTo>
                      <a:pt x="238" y="963"/>
                    </a:lnTo>
                    <a:lnTo>
                      <a:pt x="238" y="961"/>
                    </a:lnTo>
                    <a:lnTo>
                      <a:pt x="236" y="961"/>
                    </a:lnTo>
                    <a:lnTo>
                      <a:pt x="235" y="961"/>
                    </a:lnTo>
                    <a:lnTo>
                      <a:pt x="233" y="961"/>
                    </a:lnTo>
                    <a:lnTo>
                      <a:pt x="233" y="963"/>
                    </a:lnTo>
                    <a:lnTo>
                      <a:pt x="231" y="963"/>
                    </a:lnTo>
                    <a:lnTo>
                      <a:pt x="230" y="963"/>
                    </a:lnTo>
                    <a:lnTo>
                      <a:pt x="228" y="963"/>
                    </a:lnTo>
                    <a:lnTo>
                      <a:pt x="226" y="963"/>
                    </a:lnTo>
                    <a:lnTo>
                      <a:pt x="224" y="964"/>
                    </a:lnTo>
                    <a:lnTo>
                      <a:pt x="223" y="966"/>
                    </a:lnTo>
                    <a:lnTo>
                      <a:pt x="221" y="966"/>
                    </a:lnTo>
                    <a:lnTo>
                      <a:pt x="221" y="968"/>
                    </a:lnTo>
                    <a:lnTo>
                      <a:pt x="219" y="969"/>
                    </a:lnTo>
                    <a:lnTo>
                      <a:pt x="218" y="971"/>
                    </a:lnTo>
                    <a:lnTo>
                      <a:pt x="218" y="973"/>
                    </a:lnTo>
                    <a:lnTo>
                      <a:pt x="216" y="975"/>
                    </a:lnTo>
                    <a:lnTo>
                      <a:pt x="214" y="976"/>
                    </a:lnTo>
                    <a:lnTo>
                      <a:pt x="214" y="978"/>
                    </a:lnTo>
                    <a:lnTo>
                      <a:pt x="213" y="978"/>
                    </a:lnTo>
                    <a:lnTo>
                      <a:pt x="213" y="980"/>
                    </a:lnTo>
                    <a:lnTo>
                      <a:pt x="211" y="980"/>
                    </a:lnTo>
                    <a:lnTo>
                      <a:pt x="211" y="981"/>
                    </a:lnTo>
                    <a:lnTo>
                      <a:pt x="211" y="983"/>
                    </a:lnTo>
                    <a:lnTo>
                      <a:pt x="211" y="985"/>
                    </a:lnTo>
                    <a:lnTo>
                      <a:pt x="211" y="987"/>
                    </a:lnTo>
                    <a:lnTo>
                      <a:pt x="209" y="987"/>
                    </a:lnTo>
                    <a:lnTo>
                      <a:pt x="211" y="988"/>
                    </a:lnTo>
                    <a:lnTo>
                      <a:pt x="209" y="988"/>
                    </a:lnTo>
                    <a:lnTo>
                      <a:pt x="211" y="990"/>
                    </a:lnTo>
                    <a:lnTo>
                      <a:pt x="209" y="990"/>
                    </a:lnTo>
                    <a:lnTo>
                      <a:pt x="207" y="990"/>
                    </a:lnTo>
                    <a:lnTo>
                      <a:pt x="207" y="992"/>
                    </a:lnTo>
                    <a:lnTo>
                      <a:pt x="206" y="992"/>
                    </a:lnTo>
                    <a:lnTo>
                      <a:pt x="207" y="993"/>
                    </a:lnTo>
                    <a:lnTo>
                      <a:pt x="206" y="993"/>
                    </a:lnTo>
                    <a:lnTo>
                      <a:pt x="206" y="995"/>
                    </a:lnTo>
                    <a:lnTo>
                      <a:pt x="204" y="995"/>
                    </a:lnTo>
                    <a:lnTo>
                      <a:pt x="204" y="997"/>
                    </a:lnTo>
                    <a:lnTo>
                      <a:pt x="204" y="998"/>
                    </a:lnTo>
                    <a:lnTo>
                      <a:pt x="202" y="998"/>
                    </a:lnTo>
                    <a:lnTo>
                      <a:pt x="202" y="1000"/>
                    </a:lnTo>
                    <a:lnTo>
                      <a:pt x="202" y="1002"/>
                    </a:lnTo>
                    <a:lnTo>
                      <a:pt x="201" y="1002"/>
                    </a:lnTo>
                    <a:lnTo>
                      <a:pt x="202" y="1002"/>
                    </a:lnTo>
                    <a:lnTo>
                      <a:pt x="201" y="1004"/>
                    </a:lnTo>
                    <a:lnTo>
                      <a:pt x="201" y="1005"/>
                    </a:lnTo>
                    <a:lnTo>
                      <a:pt x="201" y="1007"/>
                    </a:lnTo>
                    <a:lnTo>
                      <a:pt x="202" y="1009"/>
                    </a:lnTo>
                    <a:lnTo>
                      <a:pt x="202" y="1012"/>
                    </a:lnTo>
                    <a:lnTo>
                      <a:pt x="202" y="1014"/>
                    </a:lnTo>
                    <a:lnTo>
                      <a:pt x="202" y="1015"/>
                    </a:lnTo>
                    <a:lnTo>
                      <a:pt x="204" y="1017"/>
                    </a:lnTo>
                    <a:lnTo>
                      <a:pt x="204" y="1019"/>
                    </a:lnTo>
                    <a:lnTo>
                      <a:pt x="206" y="1021"/>
                    </a:lnTo>
                    <a:lnTo>
                      <a:pt x="206" y="1022"/>
                    </a:lnTo>
                    <a:lnTo>
                      <a:pt x="206" y="1024"/>
                    </a:lnTo>
                    <a:lnTo>
                      <a:pt x="207" y="1024"/>
                    </a:lnTo>
                    <a:lnTo>
                      <a:pt x="207" y="1027"/>
                    </a:lnTo>
                    <a:lnTo>
                      <a:pt x="209" y="1027"/>
                    </a:lnTo>
                    <a:lnTo>
                      <a:pt x="209" y="1029"/>
                    </a:lnTo>
                    <a:lnTo>
                      <a:pt x="211" y="1029"/>
                    </a:lnTo>
                    <a:lnTo>
                      <a:pt x="211" y="1031"/>
                    </a:lnTo>
                    <a:lnTo>
                      <a:pt x="213" y="1031"/>
                    </a:lnTo>
                    <a:lnTo>
                      <a:pt x="214" y="1031"/>
                    </a:lnTo>
                    <a:lnTo>
                      <a:pt x="214" y="1032"/>
                    </a:lnTo>
                    <a:lnTo>
                      <a:pt x="216" y="1032"/>
                    </a:lnTo>
                    <a:lnTo>
                      <a:pt x="218" y="1034"/>
                    </a:lnTo>
                    <a:lnTo>
                      <a:pt x="219" y="1036"/>
                    </a:lnTo>
                    <a:lnTo>
                      <a:pt x="219" y="1038"/>
                    </a:lnTo>
                    <a:lnTo>
                      <a:pt x="221" y="1038"/>
                    </a:lnTo>
                    <a:lnTo>
                      <a:pt x="221" y="1039"/>
                    </a:lnTo>
                    <a:lnTo>
                      <a:pt x="223" y="1041"/>
                    </a:lnTo>
                    <a:lnTo>
                      <a:pt x="224" y="1043"/>
                    </a:lnTo>
                    <a:lnTo>
                      <a:pt x="226" y="1044"/>
                    </a:lnTo>
                    <a:lnTo>
                      <a:pt x="228" y="1046"/>
                    </a:lnTo>
                    <a:lnTo>
                      <a:pt x="228" y="1048"/>
                    </a:lnTo>
                    <a:lnTo>
                      <a:pt x="230" y="1048"/>
                    </a:lnTo>
                    <a:lnTo>
                      <a:pt x="230" y="1049"/>
                    </a:lnTo>
                    <a:lnTo>
                      <a:pt x="231" y="1049"/>
                    </a:lnTo>
                    <a:lnTo>
                      <a:pt x="233" y="1049"/>
                    </a:lnTo>
                    <a:lnTo>
                      <a:pt x="235" y="1051"/>
                    </a:lnTo>
                    <a:lnTo>
                      <a:pt x="236" y="1051"/>
                    </a:lnTo>
                    <a:lnTo>
                      <a:pt x="238" y="1051"/>
                    </a:lnTo>
                    <a:lnTo>
                      <a:pt x="240" y="1051"/>
                    </a:lnTo>
                    <a:lnTo>
                      <a:pt x="241" y="1051"/>
                    </a:lnTo>
                    <a:lnTo>
                      <a:pt x="243" y="1051"/>
                    </a:lnTo>
                    <a:lnTo>
                      <a:pt x="245" y="1051"/>
                    </a:lnTo>
                    <a:lnTo>
                      <a:pt x="245" y="1053"/>
                    </a:lnTo>
                    <a:lnTo>
                      <a:pt x="247" y="1053"/>
                    </a:lnTo>
                    <a:lnTo>
                      <a:pt x="248" y="1053"/>
                    </a:lnTo>
                    <a:lnTo>
                      <a:pt x="250" y="1053"/>
                    </a:lnTo>
                    <a:lnTo>
                      <a:pt x="252" y="1053"/>
                    </a:lnTo>
                    <a:lnTo>
                      <a:pt x="253" y="1053"/>
                    </a:lnTo>
                    <a:lnTo>
                      <a:pt x="255" y="1053"/>
                    </a:lnTo>
                    <a:lnTo>
                      <a:pt x="257" y="1053"/>
                    </a:lnTo>
                    <a:lnTo>
                      <a:pt x="258" y="1053"/>
                    </a:lnTo>
                    <a:lnTo>
                      <a:pt x="260" y="1053"/>
                    </a:lnTo>
                    <a:lnTo>
                      <a:pt x="262" y="1055"/>
                    </a:lnTo>
                    <a:lnTo>
                      <a:pt x="262" y="1056"/>
                    </a:lnTo>
                    <a:lnTo>
                      <a:pt x="264" y="1056"/>
                    </a:lnTo>
                    <a:lnTo>
                      <a:pt x="265" y="1058"/>
                    </a:lnTo>
                    <a:lnTo>
                      <a:pt x="265" y="1060"/>
                    </a:lnTo>
                    <a:lnTo>
                      <a:pt x="265" y="1061"/>
                    </a:lnTo>
                    <a:lnTo>
                      <a:pt x="265" y="1063"/>
                    </a:lnTo>
                    <a:lnTo>
                      <a:pt x="265" y="1065"/>
                    </a:lnTo>
                    <a:lnTo>
                      <a:pt x="265" y="1066"/>
                    </a:lnTo>
                    <a:lnTo>
                      <a:pt x="265" y="1068"/>
                    </a:lnTo>
                    <a:lnTo>
                      <a:pt x="265" y="1070"/>
                    </a:lnTo>
                    <a:lnTo>
                      <a:pt x="265" y="1072"/>
                    </a:lnTo>
                    <a:lnTo>
                      <a:pt x="265" y="1073"/>
                    </a:lnTo>
                    <a:lnTo>
                      <a:pt x="265" y="1075"/>
                    </a:lnTo>
                    <a:lnTo>
                      <a:pt x="265" y="1077"/>
                    </a:lnTo>
                    <a:lnTo>
                      <a:pt x="264" y="1077"/>
                    </a:lnTo>
                    <a:lnTo>
                      <a:pt x="264" y="1078"/>
                    </a:lnTo>
                    <a:lnTo>
                      <a:pt x="264" y="1080"/>
                    </a:lnTo>
                    <a:lnTo>
                      <a:pt x="262" y="1082"/>
                    </a:lnTo>
                    <a:lnTo>
                      <a:pt x="262" y="1083"/>
                    </a:lnTo>
                    <a:lnTo>
                      <a:pt x="262" y="1085"/>
                    </a:lnTo>
                    <a:lnTo>
                      <a:pt x="260" y="1087"/>
                    </a:lnTo>
                    <a:lnTo>
                      <a:pt x="260" y="1089"/>
                    </a:lnTo>
                    <a:lnTo>
                      <a:pt x="260" y="1090"/>
                    </a:lnTo>
                    <a:lnTo>
                      <a:pt x="260" y="1092"/>
                    </a:lnTo>
                    <a:lnTo>
                      <a:pt x="262" y="1092"/>
                    </a:lnTo>
                    <a:lnTo>
                      <a:pt x="262" y="1094"/>
                    </a:lnTo>
                    <a:lnTo>
                      <a:pt x="264" y="1094"/>
                    </a:lnTo>
                    <a:lnTo>
                      <a:pt x="264" y="1095"/>
                    </a:lnTo>
                    <a:lnTo>
                      <a:pt x="262" y="1097"/>
                    </a:lnTo>
                    <a:lnTo>
                      <a:pt x="262" y="1095"/>
                    </a:lnTo>
                    <a:lnTo>
                      <a:pt x="260" y="1095"/>
                    </a:lnTo>
                    <a:lnTo>
                      <a:pt x="258" y="1095"/>
                    </a:lnTo>
                    <a:lnTo>
                      <a:pt x="258" y="1097"/>
                    </a:lnTo>
                    <a:lnTo>
                      <a:pt x="258" y="1099"/>
                    </a:lnTo>
                    <a:lnTo>
                      <a:pt x="258" y="1100"/>
                    </a:lnTo>
                    <a:lnTo>
                      <a:pt x="257" y="1100"/>
                    </a:lnTo>
                    <a:lnTo>
                      <a:pt x="257" y="1102"/>
                    </a:lnTo>
                    <a:lnTo>
                      <a:pt x="258" y="1102"/>
                    </a:lnTo>
                    <a:lnTo>
                      <a:pt x="260" y="1102"/>
                    </a:lnTo>
                    <a:lnTo>
                      <a:pt x="260" y="1104"/>
                    </a:lnTo>
                    <a:lnTo>
                      <a:pt x="258" y="1104"/>
                    </a:lnTo>
                    <a:lnTo>
                      <a:pt x="260" y="1104"/>
                    </a:lnTo>
                    <a:lnTo>
                      <a:pt x="258" y="1104"/>
                    </a:lnTo>
                    <a:lnTo>
                      <a:pt x="257" y="1104"/>
                    </a:lnTo>
                    <a:lnTo>
                      <a:pt x="255" y="1104"/>
                    </a:lnTo>
                    <a:lnTo>
                      <a:pt x="253" y="1104"/>
                    </a:lnTo>
                    <a:lnTo>
                      <a:pt x="252" y="1104"/>
                    </a:lnTo>
                    <a:lnTo>
                      <a:pt x="252" y="1106"/>
                    </a:lnTo>
                    <a:lnTo>
                      <a:pt x="252" y="1107"/>
                    </a:lnTo>
                    <a:lnTo>
                      <a:pt x="250" y="1107"/>
                    </a:lnTo>
                    <a:lnTo>
                      <a:pt x="252" y="1109"/>
                    </a:lnTo>
                    <a:lnTo>
                      <a:pt x="250" y="1109"/>
                    </a:lnTo>
                    <a:lnTo>
                      <a:pt x="248" y="1109"/>
                    </a:lnTo>
                    <a:lnTo>
                      <a:pt x="247" y="1111"/>
                    </a:lnTo>
                    <a:lnTo>
                      <a:pt x="247" y="1112"/>
                    </a:lnTo>
                    <a:lnTo>
                      <a:pt x="245" y="1112"/>
                    </a:lnTo>
                    <a:lnTo>
                      <a:pt x="245" y="1114"/>
                    </a:lnTo>
                    <a:lnTo>
                      <a:pt x="245" y="1116"/>
                    </a:lnTo>
                    <a:lnTo>
                      <a:pt x="245" y="1117"/>
                    </a:lnTo>
                    <a:lnTo>
                      <a:pt x="245" y="1116"/>
                    </a:lnTo>
                    <a:lnTo>
                      <a:pt x="245" y="1117"/>
                    </a:lnTo>
                    <a:lnTo>
                      <a:pt x="243" y="1116"/>
                    </a:lnTo>
                    <a:lnTo>
                      <a:pt x="241" y="1116"/>
                    </a:lnTo>
                    <a:lnTo>
                      <a:pt x="240" y="1117"/>
                    </a:lnTo>
                    <a:lnTo>
                      <a:pt x="240" y="1119"/>
                    </a:lnTo>
                    <a:lnTo>
                      <a:pt x="238" y="1119"/>
                    </a:lnTo>
                    <a:lnTo>
                      <a:pt x="238" y="1121"/>
                    </a:lnTo>
                    <a:lnTo>
                      <a:pt x="238" y="1119"/>
                    </a:lnTo>
                    <a:lnTo>
                      <a:pt x="236" y="1119"/>
                    </a:lnTo>
                    <a:lnTo>
                      <a:pt x="235" y="1121"/>
                    </a:lnTo>
                    <a:lnTo>
                      <a:pt x="233" y="1121"/>
                    </a:lnTo>
                    <a:lnTo>
                      <a:pt x="231" y="1123"/>
                    </a:lnTo>
                    <a:lnTo>
                      <a:pt x="230" y="1124"/>
                    </a:lnTo>
                    <a:lnTo>
                      <a:pt x="228" y="1124"/>
                    </a:lnTo>
                    <a:lnTo>
                      <a:pt x="228" y="1126"/>
                    </a:lnTo>
                    <a:lnTo>
                      <a:pt x="226" y="1128"/>
                    </a:lnTo>
                    <a:lnTo>
                      <a:pt x="226" y="1129"/>
                    </a:lnTo>
                    <a:lnTo>
                      <a:pt x="224" y="1129"/>
                    </a:lnTo>
                    <a:lnTo>
                      <a:pt x="223" y="1129"/>
                    </a:lnTo>
                    <a:lnTo>
                      <a:pt x="221" y="1131"/>
                    </a:lnTo>
                    <a:lnTo>
                      <a:pt x="219" y="1133"/>
                    </a:lnTo>
                    <a:lnTo>
                      <a:pt x="218" y="1133"/>
                    </a:lnTo>
                    <a:lnTo>
                      <a:pt x="218" y="1135"/>
                    </a:lnTo>
                    <a:lnTo>
                      <a:pt x="218" y="1136"/>
                    </a:lnTo>
                    <a:lnTo>
                      <a:pt x="218" y="1138"/>
                    </a:lnTo>
                    <a:lnTo>
                      <a:pt x="216" y="1138"/>
                    </a:lnTo>
                    <a:lnTo>
                      <a:pt x="216" y="1140"/>
                    </a:lnTo>
                    <a:lnTo>
                      <a:pt x="216" y="1141"/>
                    </a:lnTo>
                    <a:lnTo>
                      <a:pt x="214" y="1141"/>
                    </a:lnTo>
                    <a:lnTo>
                      <a:pt x="213" y="1143"/>
                    </a:lnTo>
                    <a:lnTo>
                      <a:pt x="211" y="1143"/>
                    </a:lnTo>
                    <a:lnTo>
                      <a:pt x="209" y="1145"/>
                    </a:lnTo>
                    <a:lnTo>
                      <a:pt x="206" y="1146"/>
                    </a:lnTo>
                    <a:lnTo>
                      <a:pt x="206" y="1148"/>
                    </a:lnTo>
                    <a:lnTo>
                      <a:pt x="204" y="1150"/>
                    </a:lnTo>
                    <a:lnTo>
                      <a:pt x="204" y="1152"/>
                    </a:lnTo>
                    <a:lnTo>
                      <a:pt x="202" y="1152"/>
                    </a:lnTo>
                    <a:lnTo>
                      <a:pt x="202" y="1155"/>
                    </a:lnTo>
                    <a:lnTo>
                      <a:pt x="201" y="1157"/>
                    </a:lnTo>
                    <a:lnTo>
                      <a:pt x="202" y="1158"/>
                    </a:lnTo>
                    <a:lnTo>
                      <a:pt x="201" y="1160"/>
                    </a:lnTo>
                    <a:lnTo>
                      <a:pt x="199" y="1162"/>
                    </a:lnTo>
                    <a:lnTo>
                      <a:pt x="201" y="1162"/>
                    </a:lnTo>
                    <a:lnTo>
                      <a:pt x="199" y="1162"/>
                    </a:lnTo>
                    <a:lnTo>
                      <a:pt x="201" y="1163"/>
                    </a:lnTo>
                    <a:lnTo>
                      <a:pt x="202" y="1162"/>
                    </a:lnTo>
                    <a:lnTo>
                      <a:pt x="202" y="1163"/>
                    </a:lnTo>
                    <a:lnTo>
                      <a:pt x="202" y="1165"/>
                    </a:lnTo>
                    <a:lnTo>
                      <a:pt x="202" y="1167"/>
                    </a:lnTo>
                    <a:lnTo>
                      <a:pt x="201" y="1167"/>
                    </a:lnTo>
                    <a:lnTo>
                      <a:pt x="201" y="1169"/>
                    </a:lnTo>
                    <a:lnTo>
                      <a:pt x="201" y="1170"/>
                    </a:lnTo>
                    <a:lnTo>
                      <a:pt x="201" y="1172"/>
                    </a:lnTo>
                    <a:lnTo>
                      <a:pt x="199" y="1174"/>
                    </a:lnTo>
                    <a:lnTo>
                      <a:pt x="199" y="1175"/>
                    </a:lnTo>
                    <a:lnTo>
                      <a:pt x="199" y="1177"/>
                    </a:lnTo>
                    <a:lnTo>
                      <a:pt x="199" y="1179"/>
                    </a:lnTo>
                    <a:lnTo>
                      <a:pt x="199" y="1180"/>
                    </a:lnTo>
                    <a:lnTo>
                      <a:pt x="199" y="1182"/>
                    </a:lnTo>
                    <a:lnTo>
                      <a:pt x="199" y="1184"/>
                    </a:lnTo>
                    <a:lnTo>
                      <a:pt x="199" y="1186"/>
                    </a:lnTo>
                    <a:lnTo>
                      <a:pt x="199" y="1187"/>
                    </a:lnTo>
                    <a:lnTo>
                      <a:pt x="197" y="1189"/>
                    </a:lnTo>
                    <a:lnTo>
                      <a:pt x="197" y="1191"/>
                    </a:lnTo>
                    <a:lnTo>
                      <a:pt x="197" y="1192"/>
                    </a:lnTo>
                    <a:lnTo>
                      <a:pt x="196" y="1194"/>
                    </a:lnTo>
                    <a:lnTo>
                      <a:pt x="196" y="1196"/>
                    </a:lnTo>
                    <a:lnTo>
                      <a:pt x="196" y="1197"/>
                    </a:lnTo>
                    <a:lnTo>
                      <a:pt x="194" y="1197"/>
                    </a:lnTo>
                    <a:lnTo>
                      <a:pt x="194" y="1199"/>
                    </a:lnTo>
                    <a:lnTo>
                      <a:pt x="194" y="1201"/>
                    </a:lnTo>
                    <a:lnTo>
                      <a:pt x="192" y="1201"/>
                    </a:lnTo>
                    <a:lnTo>
                      <a:pt x="192" y="1203"/>
                    </a:lnTo>
                    <a:lnTo>
                      <a:pt x="190" y="1203"/>
                    </a:lnTo>
                    <a:lnTo>
                      <a:pt x="189" y="1204"/>
                    </a:lnTo>
                    <a:lnTo>
                      <a:pt x="187" y="1204"/>
                    </a:lnTo>
                    <a:lnTo>
                      <a:pt x="187" y="1206"/>
                    </a:lnTo>
                    <a:lnTo>
                      <a:pt x="185" y="1206"/>
                    </a:lnTo>
                    <a:lnTo>
                      <a:pt x="184" y="1208"/>
                    </a:lnTo>
                    <a:lnTo>
                      <a:pt x="182" y="1208"/>
                    </a:lnTo>
                    <a:lnTo>
                      <a:pt x="180" y="1208"/>
                    </a:lnTo>
                    <a:lnTo>
                      <a:pt x="179" y="1208"/>
                    </a:lnTo>
                    <a:lnTo>
                      <a:pt x="177" y="1208"/>
                    </a:lnTo>
                    <a:lnTo>
                      <a:pt x="177" y="1209"/>
                    </a:lnTo>
                    <a:lnTo>
                      <a:pt x="177" y="1211"/>
                    </a:lnTo>
                    <a:lnTo>
                      <a:pt x="175" y="1211"/>
                    </a:lnTo>
                    <a:lnTo>
                      <a:pt x="173" y="1213"/>
                    </a:lnTo>
                    <a:lnTo>
                      <a:pt x="172" y="1213"/>
                    </a:lnTo>
                    <a:lnTo>
                      <a:pt x="170" y="1213"/>
                    </a:lnTo>
                    <a:lnTo>
                      <a:pt x="170" y="1214"/>
                    </a:lnTo>
                    <a:lnTo>
                      <a:pt x="168" y="1214"/>
                    </a:lnTo>
                    <a:lnTo>
                      <a:pt x="167" y="1214"/>
                    </a:lnTo>
                    <a:lnTo>
                      <a:pt x="167" y="1216"/>
                    </a:lnTo>
                    <a:lnTo>
                      <a:pt x="167" y="1214"/>
                    </a:lnTo>
                    <a:lnTo>
                      <a:pt x="167" y="1216"/>
                    </a:lnTo>
                    <a:lnTo>
                      <a:pt x="165" y="1216"/>
                    </a:lnTo>
                    <a:lnTo>
                      <a:pt x="163" y="1216"/>
                    </a:lnTo>
                    <a:lnTo>
                      <a:pt x="162" y="1218"/>
                    </a:lnTo>
                    <a:lnTo>
                      <a:pt x="160" y="1218"/>
                    </a:lnTo>
                    <a:lnTo>
                      <a:pt x="160" y="1220"/>
                    </a:lnTo>
                    <a:lnTo>
                      <a:pt x="158" y="1220"/>
                    </a:lnTo>
                    <a:lnTo>
                      <a:pt x="160" y="1221"/>
                    </a:lnTo>
                    <a:lnTo>
                      <a:pt x="158" y="1221"/>
                    </a:lnTo>
                    <a:lnTo>
                      <a:pt x="156" y="1223"/>
                    </a:lnTo>
                    <a:lnTo>
                      <a:pt x="156" y="1225"/>
                    </a:lnTo>
                    <a:lnTo>
                      <a:pt x="155" y="1225"/>
                    </a:lnTo>
                    <a:lnTo>
                      <a:pt x="155" y="1226"/>
                    </a:lnTo>
                    <a:lnTo>
                      <a:pt x="153" y="1228"/>
                    </a:lnTo>
                    <a:lnTo>
                      <a:pt x="153" y="1230"/>
                    </a:lnTo>
                    <a:lnTo>
                      <a:pt x="153" y="1231"/>
                    </a:lnTo>
                    <a:lnTo>
                      <a:pt x="153" y="1233"/>
                    </a:lnTo>
                    <a:lnTo>
                      <a:pt x="151" y="1233"/>
                    </a:lnTo>
                    <a:lnTo>
                      <a:pt x="151" y="1235"/>
                    </a:lnTo>
                    <a:lnTo>
                      <a:pt x="151" y="1237"/>
                    </a:lnTo>
                    <a:lnTo>
                      <a:pt x="151" y="1238"/>
                    </a:lnTo>
                    <a:lnTo>
                      <a:pt x="150" y="1240"/>
                    </a:lnTo>
                    <a:lnTo>
                      <a:pt x="150" y="1242"/>
                    </a:lnTo>
                    <a:lnTo>
                      <a:pt x="151" y="1243"/>
                    </a:lnTo>
                    <a:lnTo>
                      <a:pt x="151" y="1245"/>
                    </a:lnTo>
                    <a:lnTo>
                      <a:pt x="151" y="1247"/>
                    </a:lnTo>
                    <a:lnTo>
                      <a:pt x="151" y="1248"/>
                    </a:lnTo>
                    <a:lnTo>
                      <a:pt x="150" y="1250"/>
                    </a:lnTo>
                    <a:lnTo>
                      <a:pt x="148" y="1252"/>
                    </a:lnTo>
                    <a:lnTo>
                      <a:pt x="148" y="1254"/>
                    </a:lnTo>
                    <a:lnTo>
                      <a:pt x="150" y="1254"/>
                    </a:lnTo>
                    <a:lnTo>
                      <a:pt x="150" y="1255"/>
                    </a:lnTo>
                    <a:lnTo>
                      <a:pt x="150" y="1257"/>
                    </a:lnTo>
                    <a:lnTo>
                      <a:pt x="150" y="1259"/>
                    </a:lnTo>
                    <a:lnTo>
                      <a:pt x="151" y="1264"/>
                    </a:lnTo>
                    <a:lnTo>
                      <a:pt x="151" y="1265"/>
                    </a:lnTo>
                    <a:lnTo>
                      <a:pt x="153" y="1267"/>
                    </a:lnTo>
                    <a:lnTo>
                      <a:pt x="153" y="1269"/>
                    </a:lnTo>
                    <a:lnTo>
                      <a:pt x="153" y="1271"/>
                    </a:lnTo>
                    <a:lnTo>
                      <a:pt x="155" y="1274"/>
                    </a:lnTo>
                    <a:lnTo>
                      <a:pt x="155" y="1276"/>
                    </a:lnTo>
                    <a:lnTo>
                      <a:pt x="155" y="1279"/>
                    </a:lnTo>
                    <a:lnTo>
                      <a:pt x="156" y="1281"/>
                    </a:lnTo>
                    <a:lnTo>
                      <a:pt x="156" y="1282"/>
                    </a:lnTo>
                    <a:lnTo>
                      <a:pt x="156" y="1284"/>
                    </a:lnTo>
                    <a:lnTo>
                      <a:pt x="156" y="1286"/>
                    </a:lnTo>
                    <a:lnTo>
                      <a:pt x="155" y="1286"/>
                    </a:lnTo>
                    <a:lnTo>
                      <a:pt x="155" y="1288"/>
                    </a:lnTo>
                    <a:lnTo>
                      <a:pt x="156" y="1288"/>
                    </a:lnTo>
                    <a:lnTo>
                      <a:pt x="156" y="1289"/>
                    </a:lnTo>
                    <a:lnTo>
                      <a:pt x="156" y="1291"/>
                    </a:lnTo>
                    <a:lnTo>
                      <a:pt x="158" y="1293"/>
                    </a:lnTo>
                    <a:lnTo>
                      <a:pt x="160" y="1296"/>
                    </a:lnTo>
                    <a:lnTo>
                      <a:pt x="162" y="1300"/>
                    </a:lnTo>
                    <a:lnTo>
                      <a:pt x="163" y="1305"/>
                    </a:lnTo>
                    <a:lnTo>
                      <a:pt x="165" y="1308"/>
                    </a:lnTo>
                    <a:lnTo>
                      <a:pt x="167" y="1310"/>
                    </a:lnTo>
                    <a:lnTo>
                      <a:pt x="168" y="1315"/>
                    </a:lnTo>
                    <a:lnTo>
                      <a:pt x="170" y="1317"/>
                    </a:lnTo>
                    <a:lnTo>
                      <a:pt x="173" y="1322"/>
                    </a:lnTo>
                    <a:lnTo>
                      <a:pt x="175" y="1325"/>
                    </a:lnTo>
                    <a:lnTo>
                      <a:pt x="177" y="1325"/>
                    </a:lnTo>
                    <a:lnTo>
                      <a:pt x="177" y="1327"/>
                    </a:lnTo>
                    <a:lnTo>
                      <a:pt x="177" y="1328"/>
                    </a:lnTo>
                    <a:lnTo>
                      <a:pt x="175" y="1328"/>
                    </a:lnTo>
                    <a:lnTo>
                      <a:pt x="175" y="1330"/>
                    </a:lnTo>
                    <a:lnTo>
                      <a:pt x="175" y="1328"/>
                    </a:lnTo>
                    <a:lnTo>
                      <a:pt x="175" y="1327"/>
                    </a:lnTo>
                    <a:lnTo>
                      <a:pt x="173" y="1327"/>
                    </a:lnTo>
                    <a:lnTo>
                      <a:pt x="172" y="1327"/>
                    </a:lnTo>
                    <a:lnTo>
                      <a:pt x="170" y="1327"/>
                    </a:lnTo>
                    <a:lnTo>
                      <a:pt x="168" y="1327"/>
                    </a:lnTo>
                    <a:lnTo>
                      <a:pt x="168" y="1325"/>
                    </a:lnTo>
                    <a:lnTo>
                      <a:pt x="167" y="1325"/>
                    </a:lnTo>
                    <a:lnTo>
                      <a:pt x="165" y="1325"/>
                    </a:lnTo>
                    <a:lnTo>
                      <a:pt x="163" y="1325"/>
                    </a:lnTo>
                    <a:lnTo>
                      <a:pt x="163" y="1323"/>
                    </a:lnTo>
                    <a:lnTo>
                      <a:pt x="162" y="1323"/>
                    </a:lnTo>
                    <a:lnTo>
                      <a:pt x="158" y="1322"/>
                    </a:lnTo>
                    <a:lnTo>
                      <a:pt x="156" y="1322"/>
                    </a:lnTo>
                    <a:lnTo>
                      <a:pt x="155" y="1320"/>
                    </a:lnTo>
                    <a:lnTo>
                      <a:pt x="153" y="1320"/>
                    </a:lnTo>
                    <a:lnTo>
                      <a:pt x="151" y="1320"/>
                    </a:lnTo>
                    <a:lnTo>
                      <a:pt x="150" y="1318"/>
                    </a:lnTo>
                    <a:lnTo>
                      <a:pt x="148" y="1318"/>
                    </a:lnTo>
                    <a:lnTo>
                      <a:pt x="145" y="1318"/>
                    </a:lnTo>
                    <a:lnTo>
                      <a:pt x="141" y="1318"/>
                    </a:lnTo>
                    <a:lnTo>
                      <a:pt x="139" y="1317"/>
                    </a:lnTo>
                    <a:lnTo>
                      <a:pt x="138" y="1317"/>
                    </a:lnTo>
                    <a:lnTo>
                      <a:pt x="134" y="1315"/>
                    </a:lnTo>
                    <a:lnTo>
                      <a:pt x="131" y="1313"/>
                    </a:lnTo>
                    <a:lnTo>
                      <a:pt x="128" y="1313"/>
                    </a:lnTo>
                    <a:lnTo>
                      <a:pt x="126" y="1311"/>
                    </a:lnTo>
                    <a:lnTo>
                      <a:pt x="124" y="1310"/>
                    </a:lnTo>
                    <a:lnTo>
                      <a:pt x="121" y="1308"/>
                    </a:lnTo>
                    <a:lnTo>
                      <a:pt x="109" y="1310"/>
                    </a:lnTo>
                    <a:lnTo>
                      <a:pt x="104" y="1308"/>
                    </a:lnTo>
                    <a:lnTo>
                      <a:pt x="99" y="1310"/>
                    </a:lnTo>
                    <a:lnTo>
                      <a:pt x="92" y="1308"/>
                    </a:lnTo>
                    <a:lnTo>
                      <a:pt x="78" y="1310"/>
                    </a:lnTo>
                    <a:lnTo>
                      <a:pt x="75" y="1308"/>
                    </a:lnTo>
                    <a:lnTo>
                      <a:pt x="73" y="1308"/>
                    </a:lnTo>
                    <a:lnTo>
                      <a:pt x="65" y="1308"/>
                    </a:lnTo>
                    <a:lnTo>
                      <a:pt x="56" y="1310"/>
                    </a:lnTo>
                    <a:lnTo>
                      <a:pt x="56" y="1308"/>
                    </a:lnTo>
                    <a:lnTo>
                      <a:pt x="54" y="1308"/>
                    </a:lnTo>
                    <a:lnTo>
                      <a:pt x="53" y="1308"/>
                    </a:lnTo>
                    <a:lnTo>
                      <a:pt x="53" y="1306"/>
                    </a:lnTo>
                    <a:lnTo>
                      <a:pt x="54" y="1306"/>
                    </a:lnTo>
                    <a:lnTo>
                      <a:pt x="54" y="1305"/>
                    </a:lnTo>
                    <a:lnTo>
                      <a:pt x="56" y="1305"/>
                    </a:lnTo>
                    <a:lnTo>
                      <a:pt x="56" y="1303"/>
                    </a:lnTo>
                    <a:lnTo>
                      <a:pt x="54" y="1301"/>
                    </a:lnTo>
                    <a:lnTo>
                      <a:pt x="54" y="1300"/>
                    </a:lnTo>
                    <a:lnTo>
                      <a:pt x="53" y="1300"/>
                    </a:lnTo>
                    <a:lnTo>
                      <a:pt x="53" y="1298"/>
                    </a:lnTo>
                    <a:lnTo>
                      <a:pt x="51" y="1298"/>
                    </a:lnTo>
                    <a:lnTo>
                      <a:pt x="51" y="1296"/>
                    </a:lnTo>
                    <a:lnTo>
                      <a:pt x="49" y="1296"/>
                    </a:lnTo>
                    <a:lnTo>
                      <a:pt x="49" y="1294"/>
                    </a:lnTo>
                    <a:lnTo>
                      <a:pt x="48" y="1294"/>
                    </a:lnTo>
                    <a:lnTo>
                      <a:pt x="48" y="1293"/>
                    </a:lnTo>
                    <a:lnTo>
                      <a:pt x="46" y="1293"/>
                    </a:lnTo>
                    <a:lnTo>
                      <a:pt x="44" y="1293"/>
                    </a:lnTo>
                    <a:lnTo>
                      <a:pt x="44" y="1291"/>
                    </a:lnTo>
                    <a:lnTo>
                      <a:pt x="44" y="1289"/>
                    </a:lnTo>
                    <a:lnTo>
                      <a:pt x="43" y="1288"/>
                    </a:lnTo>
                    <a:lnTo>
                      <a:pt x="43" y="1286"/>
                    </a:lnTo>
                    <a:lnTo>
                      <a:pt x="41" y="1286"/>
                    </a:lnTo>
                    <a:lnTo>
                      <a:pt x="39" y="1286"/>
                    </a:lnTo>
                    <a:lnTo>
                      <a:pt x="39" y="1284"/>
                    </a:lnTo>
                    <a:lnTo>
                      <a:pt x="41" y="1282"/>
                    </a:lnTo>
                    <a:lnTo>
                      <a:pt x="39" y="1282"/>
                    </a:lnTo>
                    <a:lnTo>
                      <a:pt x="41" y="1282"/>
                    </a:lnTo>
                    <a:lnTo>
                      <a:pt x="43" y="1282"/>
                    </a:lnTo>
                    <a:lnTo>
                      <a:pt x="43" y="1281"/>
                    </a:lnTo>
                    <a:lnTo>
                      <a:pt x="43" y="1279"/>
                    </a:lnTo>
                    <a:lnTo>
                      <a:pt x="43" y="1277"/>
                    </a:lnTo>
                    <a:lnTo>
                      <a:pt x="43" y="1276"/>
                    </a:lnTo>
                    <a:lnTo>
                      <a:pt x="43" y="1274"/>
                    </a:lnTo>
                    <a:lnTo>
                      <a:pt x="41" y="1272"/>
                    </a:lnTo>
                    <a:lnTo>
                      <a:pt x="43" y="1272"/>
                    </a:lnTo>
                    <a:lnTo>
                      <a:pt x="43" y="1271"/>
                    </a:lnTo>
                    <a:lnTo>
                      <a:pt x="44" y="1271"/>
                    </a:lnTo>
                    <a:lnTo>
                      <a:pt x="44" y="1269"/>
                    </a:lnTo>
                    <a:lnTo>
                      <a:pt x="44" y="1267"/>
                    </a:lnTo>
                    <a:lnTo>
                      <a:pt x="44" y="1265"/>
                    </a:lnTo>
                    <a:lnTo>
                      <a:pt x="43" y="1265"/>
                    </a:lnTo>
                    <a:lnTo>
                      <a:pt x="41" y="1264"/>
                    </a:lnTo>
                    <a:lnTo>
                      <a:pt x="41" y="1262"/>
                    </a:lnTo>
                    <a:lnTo>
                      <a:pt x="41" y="1260"/>
                    </a:lnTo>
                    <a:lnTo>
                      <a:pt x="39" y="1260"/>
                    </a:lnTo>
                    <a:lnTo>
                      <a:pt x="41" y="1259"/>
                    </a:lnTo>
                    <a:lnTo>
                      <a:pt x="41" y="1257"/>
                    </a:lnTo>
                    <a:lnTo>
                      <a:pt x="41" y="1255"/>
                    </a:lnTo>
                    <a:lnTo>
                      <a:pt x="43" y="1255"/>
                    </a:lnTo>
                    <a:lnTo>
                      <a:pt x="43" y="1257"/>
                    </a:lnTo>
                    <a:lnTo>
                      <a:pt x="44" y="1257"/>
                    </a:lnTo>
                    <a:lnTo>
                      <a:pt x="44" y="1255"/>
                    </a:lnTo>
                    <a:lnTo>
                      <a:pt x="44" y="1254"/>
                    </a:lnTo>
                    <a:lnTo>
                      <a:pt x="44" y="1252"/>
                    </a:lnTo>
                    <a:lnTo>
                      <a:pt x="46" y="1250"/>
                    </a:lnTo>
                    <a:lnTo>
                      <a:pt x="46" y="1248"/>
                    </a:lnTo>
                    <a:lnTo>
                      <a:pt x="44" y="1247"/>
                    </a:lnTo>
                    <a:lnTo>
                      <a:pt x="44" y="1245"/>
                    </a:lnTo>
                    <a:lnTo>
                      <a:pt x="44" y="1243"/>
                    </a:lnTo>
                    <a:lnTo>
                      <a:pt x="43" y="1243"/>
                    </a:lnTo>
                    <a:lnTo>
                      <a:pt x="43" y="1242"/>
                    </a:lnTo>
                    <a:lnTo>
                      <a:pt x="43" y="1240"/>
                    </a:lnTo>
                    <a:lnTo>
                      <a:pt x="44" y="1238"/>
                    </a:lnTo>
                    <a:lnTo>
                      <a:pt x="44" y="1237"/>
                    </a:lnTo>
                    <a:lnTo>
                      <a:pt x="43" y="1237"/>
                    </a:lnTo>
                    <a:lnTo>
                      <a:pt x="43" y="1235"/>
                    </a:lnTo>
                    <a:lnTo>
                      <a:pt x="41" y="1235"/>
                    </a:lnTo>
                    <a:lnTo>
                      <a:pt x="39" y="1235"/>
                    </a:lnTo>
                    <a:lnTo>
                      <a:pt x="37" y="1233"/>
                    </a:lnTo>
                    <a:lnTo>
                      <a:pt x="36" y="1235"/>
                    </a:lnTo>
                    <a:lnTo>
                      <a:pt x="34" y="1235"/>
                    </a:lnTo>
                    <a:lnTo>
                      <a:pt x="34" y="1237"/>
                    </a:lnTo>
                    <a:lnTo>
                      <a:pt x="34" y="1238"/>
                    </a:lnTo>
                    <a:lnTo>
                      <a:pt x="32" y="1237"/>
                    </a:lnTo>
                    <a:lnTo>
                      <a:pt x="31" y="1235"/>
                    </a:lnTo>
                    <a:lnTo>
                      <a:pt x="31" y="1237"/>
                    </a:lnTo>
                    <a:lnTo>
                      <a:pt x="29" y="1235"/>
                    </a:lnTo>
                    <a:lnTo>
                      <a:pt x="27" y="1235"/>
                    </a:lnTo>
                    <a:lnTo>
                      <a:pt x="26" y="1237"/>
                    </a:lnTo>
                    <a:lnTo>
                      <a:pt x="24" y="1237"/>
                    </a:lnTo>
                    <a:lnTo>
                      <a:pt x="24" y="1238"/>
                    </a:lnTo>
                    <a:lnTo>
                      <a:pt x="22" y="1238"/>
                    </a:lnTo>
                    <a:lnTo>
                      <a:pt x="22" y="1240"/>
                    </a:lnTo>
                    <a:lnTo>
                      <a:pt x="20" y="1242"/>
                    </a:lnTo>
                    <a:lnTo>
                      <a:pt x="19" y="1242"/>
                    </a:lnTo>
                    <a:lnTo>
                      <a:pt x="17" y="1243"/>
                    </a:lnTo>
                    <a:lnTo>
                      <a:pt x="17" y="1242"/>
                    </a:lnTo>
                    <a:lnTo>
                      <a:pt x="15" y="1243"/>
                    </a:lnTo>
                    <a:lnTo>
                      <a:pt x="14" y="1245"/>
                    </a:lnTo>
                    <a:lnTo>
                      <a:pt x="12" y="1245"/>
                    </a:lnTo>
                    <a:lnTo>
                      <a:pt x="10" y="1245"/>
                    </a:lnTo>
                    <a:lnTo>
                      <a:pt x="10" y="1243"/>
                    </a:lnTo>
                    <a:lnTo>
                      <a:pt x="10" y="1242"/>
                    </a:lnTo>
                    <a:lnTo>
                      <a:pt x="10" y="1240"/>
                    </a:lnTo>
                    <a:lnTo>
                      <a:pt x="12" y="1240"/>
                    </a:lnTo>
                    <a:lnTo>
                      <a:pt x="14" y="1238"/>
                    </a:lnTo>
                    <a:lnTo>
                      <a:pt x="14" y="1237"/>
                    </a:lnTo>
                    <a:lnTo>
                      <a:pt x="12" y="1237"/>
                    </a:lnTo>
                    <a:lnTo>
                      <a:pt x="10" y="1235"/>
                    </a:lnTo>
                    <a:lnTo>
                      <a:pt x="10" y="1233"/>
                    </a:lnTo>
                    <a:lnTo>
                      <a:pt x="10" y="1231"/>
                    </a:lnTo>
                    <a:lnTo>
                      <a:pt x="9" y="1231"/>
                    </a:lnTo>
                    <a:lnTo>
                      <a:pt x="9" y="1230"/>
                    </a:lnTo>
                    <a:lnTo>
                      <a:pt x="7" y="1228"/>
                    </a:lnTo>
                    <a:lnTo>
                      <a:pt x="9" y="1228"/>
                    </a:lnTo>
                    <a:lnTo>
                      <a:pt x="7" y="1226"/>
                    </a:lnTo>
                    <a:lnTo>
                      <a:pt x="5" y="1226"/>
                    </a:lnTo>
                    <a:lnTo>
                      <a:pt x="7" y="1226"/>
                    </a:lnTo>
                    <a:lnTo>
                      <a:pt x="5" y="1225"/>
                    </a:lnTo>
                    <a:lnTo>
                      <a:pt x="3" y="1221"/>
                    </a:lnTo>
                    <a:lnTo>
                      <a:pt x="3" y="1220"/>
                    </a:lnTo>
                    <a:lnTo>
                      <a:pt x="3" y="1218"/>
                    </a:lnTo>
                    <a:lnTo>
                      <a:pt x="2" y="1218"/>
                    </a:lnTo>
                    <a:lnTo>
                      <a:pt x="2" y="1216"/>
                    </a:lnTo>
                    <a:lnTo>
                      <a:pt x="0" y="1214"/>
                    </a:lnTo>
                    <a:lnTo>
                      <a:pt x="2" y="1213"/>
                    </a:lnTo>
                    <a:lnTo>
                      <a:pt x="2" y="1211"/>
                    </a:lnTo>
                    <a:lnTo>
                      <a:pt x="2" y="1209"/>
                    </a:lnTo>
                    <a:lnTo>
                      <a:pt x="2" y="1208"/>
                    </a:lnTo>
                    <a:lnTo>
                      <a:pt x="3" y="1206"/>
                    </a:lnTo>
                    <a:lnTo>
                      <a:pt x="3" y="1204"/>
                    </a:lnTo>
                    <a:lnTo>
                      <a:pt x="2" y="1204"/>
                    </a:lnTo>
                    <a:lnTo>
                      <a:pt x="2" y="1203"/>
                    </a:lnTo>
                    <a:lnTo>
                      <a:pt x="2" y="1201"/>
                    </a:lnTo>
                    <a:lnTo>
                      <a:pt x="3" y="1199"/>
                    </a:lnTo>
                    <a:lnTo>
                      <a:pt x="2" y="1199"/>
                    </a:lnTo>
                    <a:lnTo>
                      <a:pt x="2" y="1197"/>
                    </a:lnTo>
                    <a:lnTo>
                      <a:pt x="2" y="1196"/>
                    </a:lnTo>
                    <a:lnTo>
                      <a:pt x="3" y="1196"/>
                    </a:lnTo>
                    <a:lnTo>
                      <a:pt x="3" y="1194"/>
                    </a:lnTo>
                    <a:lnTo>
                      <a:pt x="3" y="1192"/>
                    </a:lnTo>
                    <a:lnTo>
                      <a:pt x="5" y="1191"/>
                    </a:lnTo>
                    <a:lnTo>
                      <a:pt x="5" y="1189"/>
                    </a:lnTo>
                    <a:lnTo>
                      <a:pt x="3" y="1187"/>
                    </a:lnTo>
                    <a:lnTo>
                      <a:pt x="3" y="1186"/>
                    </a:lnTo>
                    <a:lnTo>
                      <a:pt x="3" y="1184"/>
                    </a:lnTo>
                    <a:lnTo>
                      <a:pt x="3" y="1182"/>
                    </a:lnTo>
                    <a:lnTo>
                      <a:pt x="5" y="1182"/>
                    </a:lnTo>
                    <a:lnTo>
                      <a:pt x="3" y="1180"/>
                    </a:lnTo>
                    <a:lnTo>
                      <a:pt x="3" y="1179"/>
                    </a:lnTo>
                    <a:lnTo>
                      <a:pt x="2" y="1179"/>
                    </a:lnTo>
                    <a:lnTo>
                      <a:pt x="2" y="1177"/>
                    </a:lnTo>
                    <a:lnTo>
                      <a:pt x="2" y="1175"/>
                    </a:lnTo>
                    <a:lnTo>
                      <a:pt x="3" y="1175"/>
                    </a:lnTo>
                    <a:lnTo>
                      <a:pt x="3" y="1174"/>
                    </a:lnTo>
                    <a:lnTo>
                      <a:pt x="3" y="1172"/>
                    </a:lnTo>
                    <a:lnTo>
                      <a:pt x="3" y="1170"/>
                    </a:lnTo>
                    <a:lnTo>
                      <a:pt x="5" y="1170"/>
                    </a:lnTo>
                    <a:lnTo>
                      <a:pt x="5" y="1169"/>
                    </a:lnTo>
                    <a:lnTo>
                      <a:pt x="5" y="1167"/>
                    </a:lnTo>
                    <a:lnTo>
                      <a:pt x="7" y="1165"/>
                    </a:lnTo>
                    <a:lnTo>
                      <a:pt x="5" y="1165"/>
                    </a:lnTo>
                    <a:lnTo>
                      <a:pt x="3" y="1163"/>
                    </a:lnTo>
                    <a:lnTo>
                      <a:pt x="3" y="1162"/>
                    </a:lnTo>
                    <a:lnTo>
                      <a:pt x="3" y="1160"/>
                    </a:lnTo>
                    <a:lnTo>
                      <a:pt x="17" y="1163"/>
                    </a:lnTo>
                    <a:lnTo>
                      <a:pt x="19" y="1163"/>
                    </a:lnTo>
                    <a:lnTo>
                      <a:pt x="17" y="1163"/>
                    </a:lnTo>
                    <a:lnTo>
                      <a:pt x="17" y="1162"/>
                    </a:lnTo>
                    <a:lnTo>
                      <a:pt x="17" y="1163"/>
                    </a:lnTo>
                    <a:lnTo>
                      <a:pt x="15" y="1163"/>
                    </a:lnTo>
                    <a:lnTo>
                      <a:pt x="15" y="1162"/>
                    </a:lnTo>
                    <a:lnTo>
                      <a:pt x="15" y="1160"/>
                    </a:lnTo>
                    <a:lnTo>
                      <a:pt x="15" y="1158"/>
                    </a:lnTo>
                    <a:lnTo>
                      <a:pt x="17" y="1157"/>
                    </a:lnTo>
                    <a:lnTo>
                      <a:pt x="19" y="1155"/>
                    </a:lnTo>
                    <a:lnTo>
                      <a:pt x="19" y="1153"/>
                    </a:lnTo>
                    <a:lnTo>
                      <a:pt x="20" y="1153"/>
                    </a:lnTo>
                    <a:lnTo>
                      <a:pt x="20" y="1152"/>
                    </a:lnTo>
                    <a:lnTo>
                      <a:pt x="20" y="1150"/>
                    </a:lnTo>
                    <a:lnTo>
                      <a:pt x="20" y="1148"/>
                    </a:lnTo>
                    <a:lnTo>
                      <a:pt x="22" y="1148"/>
                    </a:lnTo>
                    <a:lnTo>
                      <a:pt x="22" y="1146"/>
                    </a:lnTo>
                    <a:lnTo>
                      <a:pt x="24" y="1146"/>
                    </a:lnTo>
                    <a:lnTo>
                      <a:pt x="26" y="1148"/>
                    </a:lnTo>
                    <a:lnTo>
                      <a:pt x="27" y="1148"/>
                    </a:lnTo>
                    <a:lnTo>
                      <a:pt x="27" y="1146"/>
                    </a:lnTo>
                    <a:lnTo>
                      <a:pt x="29" y="1145"/>
                    </a:lnTo>
                    <a:lnTo>
                      <a:pt x="31" y="1145"/>
                    </a:lnTo>
                    <a:lnTo>
                      <a:pt x="31" y="1143"/>
                    </a:lnTo>
                    <a:lnTo>
                      <a:pt x="32" y="1141"/>
                    </a:lnTo>
                    <a:lnTo>
                      <a:pt x="34" y="1140"/>
                    </a:lnTo>
                    <a:lnTo>
                      <a:pt x="36" y="1140"/>
                    </a:lnTo>
                    <a:lnTo>
                      <a:pt x="36" y="1138"/>
                    </a:lnTo>
                    <a:lnTo>
                      <a:pt x="36" y="1136"/>
                    </a:lnTo>
                    <a:lnTo>
                      <a:pt x="36" y="1135"/>
                    </a:lnTo>
                    <a:lnTo>
                      <a:pt x="36" y="1131"/>
                    </a:lnTo>
                    <a:lnTo>
                      <a:pt x="34" y="1124"/>
                    </a:lnTo>
                    <a:lnTo>
                      <a:pt x="34" y="1123"/>
                    </a:lnTo>
                    <a:lnTo>
                      <a:pt x="36" y="1123"/>
                    </a:lnTo>
                    <a:lnTo>
                      <a:pt x="36" y="1124"/>
                    </a:lnTo>
                    <a:lnTo>
                      <a:pt x="37" y="1124"/>
                    </a:lnTo>
                    <a:lnTo>
                      <a:pt x="39" y="1124"/>
                    </a:lnTo>
                    <a:lnTo>
                      <a:pt x="41" y="1123"/>
                    </a:lnTo>
                    <a:lnTo>
                      <a:pt x="41" y="1121"/>
                    </a:lnTo>
                    <a:lnTo>
                      <a:pt x="39" y="1121"/>
                    </a:lnTo>
                    <a:lnTo>
                      <a:pt x="39" y="1119"/>
                    </a:lnTo>
                    <a:lnTo>
                      <a:pt x="41" y="1119"/>
                    </a:lnTo>
                    <a:lnTo>
                      <a:pt x="43" y="1117"/>
                    </a:lnTo>
                    <a:lnTo>
                      <a:pt x="41" y="1117"/>
                    </a:lnTo>
                    <a:lnTo>
                      <a:pt x="41" y="1116"/>
                    </a:lnTo>
                    <a:lnTo>
                      <a:pt x="43" y="1116"/>
                    </a:lnTo>
                    <a:lnTo>
                      <a:pt x="43" y="1117"/>
                    </a:lnTo>
                    <a:lnTo>
                      <a:pt x="43" y="1116"/>
                    </a:lnTo>
                    <a:lnTo>
                      <a:pt x="44" y="1117"/>
                    </a:lnTo>
                    <a:lnTo>
                      <a:pt x="44" y="1116"/>
                    </a:lnTo>
                    <a:lnTo>
                      <a:pt x="46" y="1116"/>
                    </a:lnTo>
                    <a:lnTo>
                      <a:pt x="46" y="1114"/>
                    </a:lnTo>
                    <a:lnTo>
                      <a:pt x="44" y="1112"/>
                    </a:lnTo>
                    <a:lnTo>
                      <a:pt x="44" y="1111"/>
                    </a:lnTo>
                    <a:lnTo>
                      <a:pt x="43" y="1111"/>
                    </a:lnTo>
                    <a:lnTo>
                      <a:pt x="43" y="1109"/>
                    </a:lnTo>
                    <a:lnTo>
                      <a:pt x="44" y="1109"/>
                    </a:lnTo>
                    <a:lnTo>
                      <a:pt x="43" y="1107"/>
                    </a:lnTo>
                    <a:lnTo>
                      <a:pt x="44" y="1106"/>
                    </a:lnTo>
                    <a:lnTo>
                      <a:pt x="43" y="1106"/>
                    </a:lnTo>
                    <a:lnTo>
                      <a:pt x="43" y="1104"/>
                    </a:lnTo>
                    <a:lnTo>
                      <a:pt x="41" y="1104"/>
                    </a:lnTo>
                    <a:lnTo>
                      <a:pt x="41" y="1102"/>
                    </a:lnTo>
                    <a:lnTo>
                      <a:pt x="39" y="1102"/>
                    </a:lnTo>
                    <a:lnTo>
                      <a:pt x="39" y="1100"/>
                    </a:lnTo>
                    <a:lnTo>
                      <a:pt x="39" y="1099"/>
                    </a:lnTo>
                    <a:lnTo>
                      <a:pt x="39" y="1097"/>
                    </a:lnTo>
                    <a:lnTo>
                      <a:pt x="37" y="1097"/>
                    </a:lnTo>
                    <a:lnTo>
                      <a:pt x="36" y="1095"/>
                    </a:lnTo>
                    <a:lnTo>
                      <a:pt x="36" y="1094"/>
                    </a:lnTo>
                    <a:lnTo>
                      <a:pt x="37" y="1094"/>
                    </a:lnTo>
                    <a:lnTo>
                      <a:pt x="37" y="1092"/>
                    </a:lnTo>
                    <a:lnTo>
                      <a:pt x="37" y="1090"/>
                    </a:lnTo>
                    <a:lnTo>
                      <a:pt x="37" y="1089"/>
                    </a:lnTo>
                    <a:lnTo>
                      <a:pt x="37" y="1087"/>
                    </a:lnTo>
                    <a:lnTo>
                      <a:pt x="36" y="1087"/>
                    </a:lnTo>
                    <a:lnTo>
                      <a:pt x="36" y="1085"/>
                    </a:lnTo>
                    <a:lnTo>
                      <a:pt x="37" y="1087"/>
                    </a:lnTo>
                    <a:lnTo>
                      <a:pt x="39" y="1087"/>
                    </a:lnTo>
                    <a:lnTo>
                      <a:pt x="41" y="1087"/>
                    </a:lnTo>
                    <a:lnTo>
                      <a:pt x="41" y="1085"/>
                    </a:lnTo>
                    <a:lnTo>
                      <a:pt x="39" y="1085"/>
                    </a:lnTo>
                    <a:lnTo>
                      <a:pt x="39" y="1083"/>
                    </a:lnTo>
                    <a:lnTo>
                      <a:pt x="39" y="1082"/>
                    </a:lnTo>
                    <a:lnTo>
                      <a:pt x="41" y="1082"/>
                    </a:lnTo>
                    <a:lnTo>
                      <a:pt x="41" y="1080"/>
                    </a:lnTo>
                    <a:lnTo>
                      <a:pt x="43" y="1080"/>
                    </a:lnTo>
                    <a:lnTo>
                      <a:pt x="43" y="1078"/>
                    </a:lnTo>
                    <a:lnTo>
                      <a:pt x="43" y="1077"/>
                    </a:lnTo>
                    <a:lnTo>
                      <a:pt x="43" y="1075"/>
                    </a:lnTo>
                    <a:lnTo>
                      <a:pt x="44" y="1075"/>
                    </a:lnTo>
                    <a:lnTo>
                      <a:pt x="44" y="1073"/>
                    </a:lnTo>
                    <a:lnTo>
                      <a:pt x="43" y="1073"/>
                    </a:lnTo>
                    <a:lnTo>
                      <a:pt x="43" y="1072"/>
                    </a:lnTo>
                    <a:lnTo>
                      <a:pt x="43" y="1073"/>
                    </a:lnTo>
                    <a:lnTo>
                      <a:pt x="43" y="1072"/>
                    </a:lnTo>
                    <a:lnTo>
                      <a:pt x="44" y="1072"/>
                    </a:lnTo>
                    <a:lnTo>
                      <a:pt x="44" y="1070"/>
                    </a:lnTo>
                    <a:lnTo>
                      <a:pt x="46" y="1070"/>
                    </a:lnTo>
                    <a:lnTo>
                      <a:pt x="46" y="1068"/>
                    </a:lnTo>
                    <a:lnTo>
                      <a:pt x="48" y="1070"/>
                    </a:lnTo>
                    <a:lnTo>
                      <a:pt x="48" y="1068"/>
                    </a:lnTo>
                    <a:lnTo>
                      <a:pt x="49" y="1066"/>
                    </a:lnTo>
                    <a:lnTo>
                      <a:pt x="49" y="1065"/>
                    </a:lnTo>
                    <a:lnTo>
                      <a:pt x="51" y="1065"/>
                    </a:lnTo>
                    <a:lnTo>
                      <a:pt x="53" y="1065"/>
                    </a:lnTo>
                    <a:lnTo>
                      <a:pt x="53" y="1063"/>
                    </a:lnTo>
                    <a:lnTo>
                      <a:pt x="54" y="1063"/>
                    </a:lnTo>
                    <a:lnTo>
                      <a:pt x="53" y="1061"/>
                    </a:lnTo>
                    <a:lnTo>
                      <a:pt x="54" y="1060"/>
                    </a:lnTo>
                    <a:lnTo>
                      <a:pt x="53" y="1058"/>
                    </a:lnTo>
                    <a:lnTo>
                      <a:pt x="54" y="1060"/>
                    </a:lnTo>
                    <a:lnTo>
                      <a:pt x="56" y="1060"/>
                    </a:lnTo>
                    <a:lnTo>
                      <a:pt x="58" y="1060"/>
                    </a:lnTo>
                    <a:lnTo>
                      <a:pt x="58" y="1058"/>
                    </a:lnTo>
                    <a:lnTo>
                      <a:pt x="58" y="1056"/>
                    </a:lnTo>
                    <a:lnTo>
                      <a:pt x="60" y="1056"/>
                    </a:lnTo>
                    <a:lnTo>
                      <a:pt x="58" y="1056"/>
                    </a:lnTo>
                    <a:lnTo>
                      <a:pt x="58" y="1055"/>
                    </a:lnTo>
                    <a:lnTo>
                      <a:pt x="56" y="1053"/>
                    </a:lnTo>
                    <a:lnTo>
                      <a:pt x="54" y="1053"/>
                    </a:lnTo>
                    <a:lnTo>
                      <a:pt x="56" y="1051"/>
                    </a:lnTo>
                    <a:lnTo>
                      <a:pt x="58" y="1049"/>
                    </a:lnTo>
                    <a:lnTo>
                      <a:pt x="58" y="1048"/>
                    </a:lnTo>
                    <a:lnTo>
                      <a:pt x="56" y="1048"/>
                    </a:lnTo>
                    <a:lnTo>
                      <a:pt x="54" y="1048"/>
                    </a:lnTo>
                    <a:lnTo>
                      <a:pt x="56" y="1046"/>
                    </a:lnTo>
                    <a:lnTo>
                      <a:pt x="54" y="1046"/>
                    </a:lnTo>
                    <a:lnTo>
                      <a:pt x="54" y="1044"/>
                    </a:lnTo>
                    <a:lnTo>
                      <a:pt x="54" y="1043"/>
                    </a:lnTo>
                    <a:lnTo>
                      <a:pt x="56" y="1043"/>
                    </a:lnTo>
                    <a:lnTo>
                      <a:pt x="56" y="1041"/>
                    </a:lnTo>
                    <a:lnTo>
                      <a:pt x="54" y="1039"/>
                    </a:lnTo>
                    <a:lnTo>
                      <a:pt x="56" y="1039"/>
                    </a:lnTo>
                    <a:lnTo>
                      <a:pt x="58" y="1039"/>
                    </a:lnTo>
                    <a:lnTo>
                      <a:pt x="60" y="1039"/>
                    </a:lnTo>
                    <a:lnTo>
                      <a:pt x="60" y="1038"/>
                    </a:lnTo>
                    <a:lnTo>
                      <a:pt x="61" y="1038"/>
                    </a:lnTo>
                    <a:lnTo>
                      <a:pt x="61" y="1036"/>
                    </a:lnTo>
                    <a:lnTo>
                      <a:pt x="63" y="1036"/>
                    </a:lnTo>
                    <a:lnTo>
                      <a:pt x="63" y="1034"/>
                    </a:lnTo>
                    <a:lnTo>
                      <a:pt x="65" y="1034"/>
                    </a:lnTo>
                    <a:lnTo>
                      <a:pt x="66" y="1032"/>
                    </a:lnTo>
                    <a:lnTo>
                      <a:pt x="65" y="1031"/>
                    </a:lnTo>
                    <a:lnTo>
                      <a:pt x="66" y="1031"/>
                    </a:lnTo>
                    <a:lnTo>
                      <a:pt x="65" y="1029"/>
                    </a:lnTo>
                    <a:lnTo>
                      <a:pt x="65" y="1027"/>
                    </a:lnTo>
                    <a:lnTo>
                      <a:pt x="65" y="1026"/>
                    </a:lnTo>
                    <a:lnTo>
                      <a:pt x="65" y="1024"/>
                    </a:lnTo>
                    <a:lnTo>
                      <a:pt x="63" y="1021"/>
                    </a:lnTo>
                    <a:lnTo>
                      <a:pt x="63" y="1017"/>
                    </a:lnTo>
                    <a:lnTo>
                      <a:pt x="63" y="1015"/>
                    </a:lnTo>
                    <a:lnTo>
                      <a:pt x="63" y="1014"/>
                    </a:lnTo>
                    <a:lnTo>
                      <a:pt x="63" y="1012"/>
                    </a:lnTo>
                    <a:lnTo>
                      <a:pt x="61" y="1010"/>
                    </a:lnTo>
                    <a:lnTo>
                      <a:pt x="61" y="1009"/>
                    </a:lnTo>
                    <a:lnTo>
                      <a:pt x="60" y="1009"/>
                    </a:lnTo>
                    <a:lnTo>
                      <a:pt x="58" y="1009"/>
                    </a:lnTo>
                    <a:lnTo>
                      <a:pt x="58" y="1007"/>
                    </a:lnTo>
                    <a:lnTo>
                      <a:pt x="56" y="1007"/>
                    </a:lnTo>
                    <a:lnTo>
                      <a:pt x="58" y="1005"/>
                    </a:lnTo>
                    <a:lnTo>
                      <a:pt x="60" y="1005"/>
                    </a:lnTo>
                    <a:lnTo>
                      <a:pt x="61" y="1005"/>
                    </a:lnTo>
                    <a:lnTo>
                      <a:pt x="61" y="1004"/>
                    </a:lnTo>
                    <a:lnTo>
                      <a:pt x="63" y="1004"/>
                    </a:lnTo>
                    <a:lnTo>
                      <a:pt x="65" y="1004"/>
                    </a:lnTo>
                    <a:lnTo>
                      <a:pt x="65" y="1002"/>
                    </a:lnTo>
                    <a:lnTo>
                      <a:pt x="65" y="1000"/>
                    </a:lnTo>
                    <a:lnTo>
                      <a:pt x="66" y="1000"/>
                    </a:lnTo>
                    <a:lnTo>
                      <a:pt x="66" y="998"/>
                    </a:lnTo>
                    <a:lnTo>
                      <a:pt x="66" y="997"/>
                    </a:lnTo>
                    <a:lnTo>
                      <a:pt x="66" y="995"/>
                    </a:lnTo>
                    <a:lnTo>
                      <a:pt x="65" y="993"/>
                    </a:lnTo>
                    <a:lnTo>
                      <a:pt x="63" y="993"/>
                    </a:lnTo>
                    <a:lnTo>
                      <a:pt x="63" y="992"/>
                    </a:lnTo>
                    <a:lnTo>
                      <a:pt x="63" y="993"/>
                    </a:lnTo>
                    <a:lnTo>
                      <a:pt x="61" y="992"/>
                    </a:lnTo>
                    <a:lnTo>
                      <a:pt x="63" y="990"/>
                    </a:lnTo>
                    <a:lnTo>
                      <a:pt x="61" y="990"/>
                    </a:lnTo>
                    <a:lnTo>
                      <a:pt x="61" y="988"/>
                    </a:lnTo>
                    <a:lnTo>
                      <a:pt x="61" y="987"/>
                    </a:lnTo>
                    <a:lnTo>
                      <a:pt x="61" y="985"/>
                    </a:lnTo>
                    <a:lnTo>
                      <a:pt x="61" y="983"/>
                    </a:lnTo>
                    <a:lnTo>
                      <a:pt x="61" y="981"/>
                    </a:lnTo>
                    <a:lnTo>
                      <a:pt x="63" y="980"/>
                    </a:lnTo>
                    <a:lnTo>
                      <a:pt x="61" y="980"/>
                    </a:lnTo>
                    <a:lnTo>
                      <a:pt x="61" y="978"/>
                    </a:lnTo>
                    <a:lnTo>
                      <a:pt x="63" y="978"/>
                    </a:lnTo>
                    <a:lnTo>
                      <a:pt x="63" y="976"/>
                    </a:lnTo>
                    <a:lnTo>
                      <a:pt x="65" y="976"/>
                    </a:lnTo>
                    <a:lnTo>
                      <a:pt x="66" y="976"/>
                    </a:lnTo>
                    <a:lnTo>
                      <a:pt x="68" y="976"/>
                    </a:lnTo>
                    <a:lnTo>
                      <a:pt x="70" y="976"/>
                    </a:lnTo>
                    <a:lnTo>
                      <a:pt x="70" y="975"/>
                    </a:lnTo>
                    <a:lnTo>
                      <a:pt x="71" y="975"/>
                    </a:lnTo>
                    <a:lnTo>
                      <a:pt x="70" y="973"/>
                    </a:lnTo>
                    <a:lnTo>
                      <a:pt x="70" y="971"/>
                    </a:lnTo>
                    <a:lnTo>
                      <a:pt x="70" y="969"/>
                    </a:lnTo>
                    <a:lnTo>
                      <a:pt x="71" y="969"/>
                    </a:lnTo>
                    <a:lnTo>
                      <a:pt x="73" y="969"/>
                    </a:lnTo>
                    <a:lnTo>
                      <a:pt x="73" y="968"/>
                    </a:lnTo>
                    <a:lnTo>
                      <a:pt x="75" y="968"/>
                    </a:lnTo>
                    <a:lnTo>
                      <a:pt x="77" y="968"/>
                    </a:lnTo>
                    <a:lnTo>
                      <a:pt x="77" y="966"/>
                    </a:lnTo>
                    <a:lnTo>
                      <a:pt x="77" y="964"/>
                    </a:lnTo>
                    <a:lnTo>
                      <a:pt x="75" y="964"/>
                    </a:lnTo>
                    <a:lnTo>
                      <a:pt x="77" y="963"/>
                    </a:lnTo>
                    <a:lnTo>
                      <a:pt x="75" y="963"/>
                    </a:lnTo>
                    <a:lnTo>
                      <a:pt x="75" y="961"/>
                    </a:lnTo>
                    <a:lnTo>
                      <a:pt x="73" y="961"/>
                    </a:lnTo>
                    <a:lnTo>
                      <a:pt x="73" y="959"/>
                    </a:lnTo>
                    <a:lnTo>
                      <a:pt x="71" y="958"/>
                    </a:lnTo>
                    <a:lnTo>
                      <a:pt x="71" y="956"/>
                    </a:lnTo>
                    <a:lnTo>
                      <a:pt x="70" y="956"/>
                    </a:lnTo>
                    <a:lnTo>
                      <a:pt x="70" y="954"/>
                    </a:lnTo>
                    <a:lnTo>
                      <a:pt x="68" y="952"/>
                    </a:lnTo>
                    <a:lnTo>
                      <a:pt x="68" y="951"/>
                    </a:lnTo>
                    <a:lnTo>
                      <a:pt x="70" y="951"/>
                    </a:lnTo>
                    <a:lnTo>
                      <a:pt x="68" y="951"/>
                    </a:lnTo>
                    <a:lnTo>
                      <a:pt x="66" y="951"/>
                    </a:lnTo>
                    <a:lnTo>
                      <a:pt x="66" y="949"/>
                    </a:lnTo>
                    <a:lnTo>
                      <a:pt x="65" y="951"/>
                    </a:lnTo>
                    <a:lnTo>
                      <a:pt x="65" y="949"/>
                    </a:lnTo>
                    <a:lnTo>
                      <a:pt x="63" y="949"/>
                    </a:lnTo>
                    <a:lnTo>
                      <a:pt x="61" y="947"/>
                    </a:lnTo>
                    <a:lnTo>
                      <a:pt x="61" y="949"/>
                    </a:lnTo>
                    <a:lnTo>
                      <a:pt x="60" y="947"/>
                    </a:lnTo>
                    <a:lnTo>
                      <a:pt x="58" y="947"/>
                    </a:lnTo>
                    <a:lnTo>
                      <a:pt x="58" y="949"/>
                    </a:lnTo>
                    <a:lnTo>
                      <a:pt x="56" y="949"/>
                    </a:lnTo>
                    <a:lnTo>
                      <a:pt x="56" y="947"/>
                    </a:lnTo>
                    <a:lnTo>
                      <a:pt x="54" y="947"/>
                    </a:lnTo>
                    <a:lnTo>
                      <a:pt x="53" y="946"/>
                    </a:lnTo>
                    <a:lnTo>
                      <a:pt x="53" y="947"/>
                    </a:lnTo>
                    <a:lnTo>
                      <a:pt x="53" y="946"/>
                    </a:lnTo>
                    <a:lnTo>
                      <a:pt x="51" y="946"/>
                    </a:lnTo>
                    <a:lnTo>
                      <a:pt x="53" y="944"/>
                    </a:lnTo>
                    <a:lnTo>
                      <a:pt x="51" y="944"/>
                    </a:lnTo>
                    <a:lnTo>
                      <a:pt x="53" y="944"/>
                    </a:lnTo>
                    <a:lnTo>
                      <a:pt x="53" y="942"/>
                    </a:lnTo>
                    <a:lnTo>
                      <a:pt x="51" y="942"/>
                    </a:lnTo>
                    <a:lnTo>
                      <a:pt x="51" y="941"/>
                    </a:lnTo>
                    <a:lnTo>
                      <a:pt x="51" y="939"/>
                    </a:lnTo>
                    <a:lnTo>
                      <a:pt x="53" y="941"/>
                    </a:lnTo>
                    <a:lnTo>
                      <a:pt x="54" y="941"/>
                    </a:lnTo>
                    <a:lnTo>
                      <a:pt x="56" y="941"/>
                    </a:lnTo>
                    <a:lnTo>
                      <a:pt x="56" y="942"/>
                    </a:lnTo>
                    <a:lnTo>
                      <a:pt x="56" y="941"/>
                    </a:lnTo>
                    <a:lnTo>
                      <a:pt x="58" y="941"/>
                    </a:lnTo>
                    <a:lnTo>
                      <a:pt x="58" y="942"/>
                    </a:lnTo>
                    <a:lnTo>
                      <a:pt x="60" y="941"/>
                    </a:lnTo>
                    <a:lnTo>
                      <a:pt x="60" y="942"/>
                    </a:lnTo>
                    <a:lnTo>
                      <a:pt x="60" y="941"/>
                    </a:lnTo>
                    <a:lnTo>
                      <a:pt x="61" y="939"/>
                    </a:lnTo>
                    <a:lnTo>
                      <a:pt x="61" y="941"/>
                    </a:lnTo>
                    <a:lnTo>
                      <a:pt x="63" y="941"/>
                    </a:lnTo>
                    <a:lnTo>
                      <a:pt x="65" y="941"/>
                    </a:lnTo>
                    <a:lnTo>
                      <a:pt x="66" y="941"/>
                    </a:lnTo>
                    <a:lnTo>
                      <a:pt x="68" y="941"/>
                    </a:lnTo>
                    <a:lnTo>
                      <a:pt x="68" y="939"/>
                    </a:lnTo>
                    <a:lnTo>
                      <a:pt x="68" y="941"/>
                    </a:lnTo>
                    <a:lnTo>
                      <a:pt x="70" y="939"/>
                    </a:lnTo>
                    <a:lnTo>
                      <a:pt x="71" y="939"/>
                    </a:lnTo>
                    <a:lnTo>
                      <a:pt x="73" y="939"/>
                    </a:lnTo>
                    <a:lnTo>
                      <a:pt x="73" y="941"/>
                    </a:lnTo>
                    <a:lnTo>
                      <a:pt x="75" y="941"/>
                    </a:lnTo>
                    <a:lnTo>
                      <a:pt x="75" y="942"/>
                    </a:lnTo>
                    <a:lnTo>
                      <a:pt x="77" y="942"/>
                    </a:lnTo>
                    <a:lnTo>
                      <a:pt x="78" y="942"/>
                    </a:lnTo>
                    <a:lnTo>
                      <a:pt x="78" y="941"/>
                    </a:lnTo>
                    <a:lnTo>
                      <a:pt x="80" y="941"/>
                    </a:lnTo>
                    <a:lnTo>
                      <a:pt x="80" y="939"/>
                    </a:lnTo>
                    <a:lnTo>
                      <a:pt x="80" y="937"/>
                    </a:lnTo>
                    <a:lnTo>
                      <a:pt x="82" y="935"/>
                    </a:lnTo>
                    <a:lnTo>
                      <a:pt x="80" y="935"/>
                    </a:lnTo>
                    <a:lnTo>
                      <a:pt x="80" y="934"/>
                    </a:lnTo>
                    <a:lnTo>
                      <a:pt x="82" y="932"/>
                    </a:lnTo>
                    <a:lnTo>
                      <a:pt x="80" y="932"/>
                    </a:lnTo>
                    <a:lnTo>
                      <a:pt x="82" y="932"/>
                    </a:lnTo>
                    <a:lnTo>
                      <a:pt x="83" y="932"/>
                    </a:lnTo>
                    <a:lnTo>
                      <a:pt x="85" y="932"/>
                    </a:lnTo>
                    <a:lnTo>
                      <a:pt x="83" y="930"/>
                    </a:lnTo>
                    <a:lnTo>
                      <a:pt x="85" y="929"/>
                    </a:lnTo>
                    <a:lnTo>
                      <a:pt x="83" y="929"/>
                    </a:lnTo>
                    <a:lnTo>
                      <a:pt x="82" y="927"/>
                    </a:lnTo>
                    <a:lnTo>
                      <a:pt x="83" y="927"/>
                    </a:lnTo>
                    <a:lnTo>
                      <a:pt x="83" y="925"/>
                    </a:lnTo>
                    <a:lnTo>
                      <a:pt x="82" y="925"/>
                    </a:lnTo>
                    <a:lnTo>
                      <a:pt x="80" y="924"/>
                    </a:lnTo>
                    <a:lnTo>
                      <a:pt x="80" y="925"/>
                    </a:lnTo>
                    <a:lnTo>
                      <a:pt x="80" y="924"/>
                    </a:lnTo>
                    <a:lnTo>
                      <a:pt x="78" y="924"/>
                    </a:lnTo>
                    <a:lnTo>
                      <a:pt x="77" y="924"/>
                    </a:lnTo>
                    <a:lnTo>
                      <a:pt x="75" y="924"/>
                    </a:lnTo>
                    <a:lnTo>
                      <a:pt x="75" y="922"/>
                    </a:lnTo>
                    <a:lnTo>
                      <a:pt x="73" y="922"/>
                    </a:lnTo>
                    <a:lnTo>
                      <a:pt x="71" y="922"/>
                    </a:lnTo>
                    <a:lnTo>
                      <a:pt x="71" y="924"/>
                    </a:lnTo>
                    <a:lnTo>
                      <a:pt x="70" y="922"/>
                    </a:lnTo>
                    <a:lnTo>
                      <a:pt x="70" y="924"/>
                    </a:lnTo>
                    <a:lnTo>
                      <a:pt x="68" y="924"/>
                    </a:lnTo>
                    <a:lnTo>
                      <a:pt x="66" y="922"/>
                    </a:lnTo>
                    <a:lnTo>
                      <a:pt x="66" y="924"/>
                    </a:lnTo>
                    <a:lnTo>
                      <a:pt x="65" y="924"/>
                    </a:lnTo>
                    <a:lnTo>
                      <a:pt x="65" y="922"/>
                    </a:lnTo>
                    <a:lnTo>
                      <a:pt x="63" y="922"/>
                    </a:lnTo>
                    <a:lnTo>
                      <a:pt x="63" y="924"/>
                    </a:lnTo>
                    <a:lnTo>
                      <a:pt x="61" y="924"/>
                    </a:lnTo>
                    <a:lnTo>
                      <a:pt x="60" y="924"/>
                    </a:lnTo>
                    <a:lnTo>
                      <a:pt x="60" y="922"/>
                    </a:lnTo>
                    <a:lnTo>
                      <a:pt x="60" y="920"/>
                    </a:lnTo>
                    <a:lnTo>
                      <a:pt x="61" y="920"/>
                    </a:lnTo>
                    <a:lnTo>
                      <a:pt x="61" y="918"/>
                    </a:lnTo>
                    <a:lnTo>
                      <a:pt x="60" y="917"/>
                    </a:lnTo>
                    <a:lnTo>
                      <a:pt x="60" y="915"/>
                    </a:lnTo>
                    <a:lnTo>
                      <a:pt x="61" y="913"/>
                    </a:lnTo>
                    <a:lnTo>
                      <a:pt x="60" y="913"/>
                    </a:lnTo>
                    <a:lnTo>
                      <a:pt x="60" y="912"/>
                    </a:lnTo>
                    <a:lnTo>
                      <a:pt x="58" y="910"/>
                    </a:lnTo>
                    <a:lnTo>
                      <a:pt x="60" y="910"/>
                    </a:lnTo>
                    <a:lnTo>
                      <a:pt x="61" y="910"/>
                    </a:lnTo>
                    <a:lnTo>
                      <a:pt x="63" y="908"/>
                    </a:lnTo>
                    <a:lnTo>
                      <a:pt x="63" y="907"/>
                    </a:lnTo>
                    <a:lnTo>
                      <a:pt x="63" y="905"/>
                    </a:lnTo>
                    <a:lnTo>
                      <a:pt x="65" y="905"/>
                    </a:lnTo>
                    <a:lnTo>
                      <a:pt x="65" y="903"/>
                    </a:lnTo>
                    <a:lnTo>
                      <a:pt x="65" y="901"/>
                    </a:lnTo>
                    <a:lnTo>
                      <a:pt x="66" y="901"/>
                    </a:lnTo>
                    <a:lnTo>
                      <a:pt x="65" y="900"/>
                    </a:lnTo>
                    <a:lnTo>
                      <a:pt x="63" y="900"/>
                    </a:lnTo>
                    <a:lnTo>
                      <a:pt x="63" y="898"/>
                    </a:lnTo>
                    <a:lnTo>
                      <a:pt x="63" y="896"/>
                    </a:lnTo>
                    <a:lnTo>
                      <a:pt x="61" y="896"/>
                    </a:lnTo>
                    <a:lnTo>
                      <a:pt x="63" y="896"/>
                    </a:lnTo>
                    <a:lnTo>
                      <a:pt x="61" y="896"/>
                    </a:lnTo>
                    <a:lnTo>
                      <a:pt x="63" y="895"/>
                    </a:lnTo>
                    <a:lnTo>
                      <a:pt x="61" y="895"/>
                    </a:lnTo>
                    <a:lnTo>
                      <a:pt x="63" y="893"/>
                    </a:lnTo>
                    <a:lnTo>
                      <a:pt x="65" y="891"/>
                    </a:lnTo>
                    <a:lnTo>
                      <a:pt x="65" y="890"/>
                    </a:lnTo>
                    <a:lnTo>
                      <a:pt x="66" y="890"/>
                    </a:lnTo>
                    <a:lnTo>
                      <a:pt x="68" y="890"/>
                    </a:lnTo>
                    <a:lnTo>
                      <a:pt x="66" y="890"/>
                    </a:lnTo>
                    <a:lnTo>
                      <a:pt x="68" y="890"/>
                    </a:lnTo>
                    <a:lnTo>
                      <a:pt x="68" y="888"/>
                    </a:lnTo>
                    <a:lnTo>
                      <a:pt x="68" y="886"/>
                    </a:lnTo>
                    <a:lnTo>
                      <a:pt x="66" y="886"/>
                    </a:lnTo>
                    <a:lnTo>
                      <a:pt x="65" y="886"/>
                    </a:lnTo>
                    <a:lnTo>
                      <a:pt x="63" y="886"/>
                    </a:lnTo>
                    <a:lnTo>
                      <a:pt x="63" y="884"/>
                    </a:lnTo>
                    <a:lnTo>
                      <a:pt x="61" y="884"/>
                    </a:lnTo>
                    <a:lnTo>
                      <a:pt x="61" y="883"/>
                    </a:lnTo>
                    <a:lnTo>
                      <a:pt x="60" y="883"/>
                    </a:lnTo>
                    <a:lnTo>
                      <a:pt x="58" y="883"/>
                    </a:lnTo>
                    <a:lnTo>
                      <a:pt x="58" y="881"/>
                    </a:lnTo>
                    <a:lnTo>
                      <a:pt x="60" y="879"/>
                    </a:lnTo>
                    <a:lnTo>
                      <a:pt x="58" y="879"/>
                    </a:lnTo>
                    <a:lnTo>
                      <a:pt x="58" y="878"/>
                    </a:lnTo>
                    <a:lnTo>
                      <a:pt x="58" y="879"/>
                    </a:lnTo>
                    <a:lnTo>
                      <a:pt x="56" y="879"/>
                    </a:lnTo>
                    <a:lnTo>
                      <a:pt x="56" y="878"/>
                    </a:lnTo>
                    <a:lnTo>
                      <a:pt x="56" y="876"/>
                    </a:lnTo>
                    <a:lnTo>
                      <a:pt x="58" y="874"/>
                    </a:lnTo>
                    <a:lnTo>
                      <a:pt x="58" y="873"/>
                    </a:lnTo>
                    <a:lnTo>
                      <a:pt x="56" y="873"/>
                    </a:lnTo>
                    <a:lnTo>
                      <a:pt x="58" y="873"/>
                    </a:lnTo>
                    <a:lnTo>
                      <a:pt x="60" y="873"/>
                    </a:lnTo>
                    <a:lnTo>
                      <a:pt x="61" y="873"/>
                    </a:lnTo>
                    <a:lnTo>
                      <a:pt x="61" y="871"/>
                    </a:lnTo>
                    <a:lnTo>
                      <a:pt x="61" y="873"/>
                    </a:lnTo>
                    <a:lnTo>
                      <a:pt x="63" y="873"/>
                    </a:lnTo>
                    <a:lnTo>
                      <a:pt x="63" y="871"/>
                    </a:lnTo>
                    <a:lnTo>
                      <a:pt x="63" y="869"/>
                    </a:lnTo>
                    <a:lnTo>
                      <a:pt x="61" y="867"/>
                    </a:lnTo>
                    <a:lnTo>
                      <a:pt x="63" y="867"/>
                    </a:lnTo>
                    <a:lnTo>
                      <a:pt x="63" y="866"/>
                    </a:lnTo>
                    <a:lnTo>
                      <a:pt x="61" y="866"/>
                    </a:lnTo>
                    <a:lnTo>
                      <a:pt x="61" y="864"/>
                    </a:lnTo>
                    <a:lnTo>
                      <a:pt x="60" y="864"/>
                    </a:lnTo>
                    <a:lnTo>
                      <a:pt x="58" y="864"/>
                    </a:lnTo>
                    <a:lnTo>
                      <a:pt x="58" y="862"/>
                    </a:lnTo>
                    <a:lnTo>
                      <a:pt x="56" y="862"/>
                    </a:lnTo>
                    <a:lnTo>
                      <a:pt x="56" y="861"/>
                    </a:lnTo>
                    <a:lnTo>
                      <a:pt x="54" y="859"/>
                    </a:lnTo>
                    <a:lnTo>
                      <a:pt x="53" y="859"/>
                    </a:lnTo>
                    <a:lnTo>
                      <a:pt x="53" y="857"/>
                    </a:lnTo>
                    <a:lnTo>
                      <a:pt x="51" y="857"/>
                    </a:lnTo>
                    <a:lnTo>
                      <a:pt x="51" y="856"/>
                    </a:lnTo>
                    <a:lnTo>
                      <a:pt x="49" y="854"/>
                    </a:lnTo>
                    <a:lnTo>
                      <a:pt x="49" y="852"/>
                    </a:lnTo>
                    <a:lnTo>
                      <a:pt x="49" y="850"/>
                    </a:lnTo>
                    <a:lnTo>
                      <a:pt x="49" y="849"/>
                    </a:lnTo>
                    <a:lnTo>
                      <a:pt x="48" y="849"/>
                    </a:lnTo>
                    <a:lnTo>
                      <a:pt x="49" y="849"/>
                    </a:lnTo>
                    <a:lnTo>
                      <a:pt x="49" y="847"/>
                    </a:lnTo>
                    <a:lnTo>
                      <a:pt x="49" y="845"/>
                    </a:lnTo>
                    <a:lnTo>
                      <a:pt x="49" y="844"/>
                    </a:lnTo>
                    <a:lnTo>
                      <a:pt x="48" y="844"/>
                    </a:lnTo>
                    <a:lnTo>
                      <a:pt x="48" y="842"/>
                    </a:lnTo>
                    <a:lnTo>
                      <a:pt x="49" y="842"/>
                    </a:lnTo>
                    <a:lnTo>
                      <a:pt x="49" y="840"/>
                    </a:lnTo>
                    <a:lnTo>
                      <a:pt x="49" y="839"/>
                    </a:lnTo>
                    <a:lnTo>
                      <a:pt x="51" y="839"/>
                    </a:lnTo>
                    <a:lnTo>
                      <a:pt x="51" y="837"/>
                    </a:lnTo>
                    <a:lnTo>
                      <a:pt x="53" y="837"/>
                    </a:lnTo>
                    <a:lnTo>
                      <a:pt x="53" y="835"/>
                    </a:lnTo>
                    <a:lnTo>
                      <a:pt x="53" y="833"/>
                    </a:lnTo>
                    <a:lnTo>
                      <a:pt x="53" y="832"/>
                    </a:lnTo>
                    <a:lnTo>
                      <a:pt x="53" y="830"/>
                    </a:lnTo>
                    <a:lnTo>
                      <a:pt x="51" y="830"/>
                    </a:lnTo>
                    <a:lnTo>
                      <a:pt x="51" y="828"/>
                    </a:lnTo>
                    <a:lnTo>
                      <a:pt x="49" y="830"/>
                    </a:lnTo>
                    <a:lnTo>
                      <a:pt x="49" y="828"/>
                    </a:lnTo>
                    <a:lnTo>
                      <a:pt x="49" y="827"/>
                    </a:lnTo>
                    <a:lnTo>
                      <a:pt x="49" y="825"/>
                    </a:lnTo>
                    <a:lnTo>
                      <a:pt x="48" y="823"/>
                    </a:lnTo>
                    <a:lnTo>
                      <a:pt x="49" y="823"/>
                    </a:lnTo>
                    <a:lnTo>
                      <a:pt x="48" y="822"/>
                    </a:lnTo>
                    <a:lnTo>
                      <a:pt x="48" y="820"/>
                    </a:lnTo>
                    <a:lnTo>
                      <a:pt x="48" y="818"/>
                    </a:lnTo>
                    <a:lnTo>
                      <a:pt x="49" y="818"/>
                    </a:lnTo>
                    <a:lnTo>
                      <a:pt x="51" y="818"/>
                    </a:lnTo>
                    <a:lnTo>
                      <a:pt x="51" y="816"/>
                    </a:lnTo>
                    <a:lnTo>
                      <a:pt x="53" y="816"/>
                    </a:lnTo>
                    <a:lnTo>
                      <a:pt x="53" y="818"/>
                    </a:lnTo>
                    <a:lnTo>
                      <a:pt x="54" y="818"/>
                    </a:lnTo>
                    <a:lnTo>
                      <a:pt x="56" y="820"/>
                    </a:lnTo>
                    <a:lnTo>
                      <a:pt x="58" y="820"/>
                    </a:lnTo>
                    <a:lnTo>
                      <a:pt x="58" y="818"/>
                    </a:lnTo>
                    <a:lnTo>
                      <a:pt x="60" y="818"/>
                    </a:lnTo>
                    <a:lnTo>
                      <a:pt x="60" y="820"/>
                    </a:lnTo>
                    <a:lnTo>
                      <a:pt x="60" y="818"/>
                    </a:lnTo>
                    <a:lnTo>
                      <a:pt x="61" y="818"/>
                    </a:lnTo>
                    <a:lnTo>
                      <a:pt x="63" y="818"/>
                    </a:lnTo>
                    <a:lnTo>
                      <a:pt x="63" y="816"/>
                    </a:lnTo>
                    <a:lnTo>
                      <a:pt x="63" y="815"/>
                    </a:lnTo>
                    <a:lnTo>
                      <a:pt x="63" y="813"/>
                    </a:lnTo>
                    <a:lnTo>
                      <a:pt x="61" y="813"/>
                    </a:lnTo>
                    <a:lnTo>
                      <a:pt x="61" y="811"/>
                    </a:lnTo>
                    <a:lnTo>
                      <a:pt x="61" y="810"/>
                    </a:lnTo>
                    <a:lnTo>
                      <a:pt x="61" y="808"/>
                    </a:lnTo>
                    <a:lnTo>
                      <a:pt x="61" y="806"/>
                    </a:lnTo>
                    <a:lnTo>
                      <a:pt x="61" y="804"/>
                    </a:lnTo>
                    <a:lnTo>
                      <a:pt x="61" y="803"/>
                    </a:lnTo>
                    <a:lnTo>
                      <a:pt x="61" y="801"/>
                    </a:lnTo>
                    <a:lnTo>
                      <a:pt x="61" y="799"/>
                    </a:lnTo>
                    <a:lnTo>
                      <a:pt x="60" y="799"/>
                    </a:lnTo>
                    <a:lnTo>
                      <a:pt x="61" y="798"/>
                    </a:lnTo>
                    <a:lnTo>
                      <a:pt x="60" y="798"/>
                    </a:lnTo>
                    <a:lnTo>
                      <a:pt x="60" y="796"/>
                    </a:lnTo>
                    <a:lnTo>
                      <a:pt x="58" y="796"/>
                    </a:lnTo>
                    <a:lnTo>
                      <a:pt x="58" y="794"/>
                    </a:lnTo>
                    <a:lnTo>
                      <a:pt x="58" y="793"/>
                    </a:lnTo>
                    <a:lnTo>
                      <a:pt x="60" y="793"/>
                    </a:lnTo>
                    <a:lnTo>
                      <a:pt x="60" y="791"/>
                    </a:lnTo>
                    <a:lnTo>
                      <a:pt x="60" y="789"/>
                    </a:lnTo>
                    <a:lnTo>
                      <a:pt x="60" y="787"/>
                    </a:lnTo>
                    <a:lnTo>
                      <a:pt x="60" y="786"/>
                    </a:lnTo>
                    <a:lnTo>
                      <a:pt x="58" y="786"/>
                    </a:lnTo>
                    <a:lnTo>
                      <a:pt x="58" y="784"/>
                    </a:lnTo>
                    <a:lnTo>
                      <a:pt x="58" y="782"/>
                    </a:lnTo>
                    <a:lnTo>
                      <a:pt x="56" y="782"/>
                    </a:lnTo>
                    <a:lnTo>
                      <a:pt x="58" y="782"/>
                    </a:lnTo>
                    <a:lnTo>
                      <a:pt x="58" y="781"/>
                    </a:lnTo>
                    <a:lnTo>
                      <a:pt x="58" y="779"/>
                    </a:lnTo>
                    <a:lnTo>
                      <a:pt x="58" y="777"/>
                    </a:lnTo>
                    <a:lnTo>
                      <a:pt x="60" y="779"/>
                    </a:lnTo>
                    <a:lnTo>
                      <a:pt x="58" y="777"/>
                    </a:lnTo>
                    <a:lnTo>
                      <a:pt x="60" y="777"/>
                    </a:lnTo>
                    <a:lnTo>
                      <a:pt x="58" y="777"/>
                    </a:lnTo>
                    <a:lnTo>
                      <a:pt x="58" y="776"/>
                    </a:lnTo>
                    <a:lnTo>
                      <a:pt x="58" y="774"/>
                    </a:lnTo>
                    <a:lnTo>
                      <a:pt x="60" y="774"/>
                    </a:lnTo>
                    <a:lnTo>
                      <a:pt x="60" y="772"/>
                    </a:lnTo>
                    <a:lnTo>
                      <a:pt x="60" y="770"/>
                    </a:lnTo>
                    <a:lnTo>
                      <a:pt x="60" y="769"/>
                    </a:lnTo>
                    <a:lnTo>
                      <a:pt x="58" y="769"/>
                    </a:lnTo>
                    <a:lnTo>
                      <a:pt x="58" y="767"/>
                    </a:lnTo>
                    <a:lnTo>
                      <a:pt x="58" y="765"/>
                    </a:lnTo>
                    <a:lnTo>
                      <a:pt x="56" y="765"/>
                    </a:lnTo>
                    <a:lnTo>
                      <a:pt x="58" y="765"/>
                    </a:lnTo>
                    <a:lnTo>
                      <a:pt x="58" y="764"/>
                    </a:lnTo>
                    <a:lnTo>
                      <a:pt x="58" y="762"/>
                    </a:lnTo>
                    <a:lnTo>
                      <a:pt x="58" y="760"/>
                    </a:lnTo>
                    <a:lnTo>
                      <a:pt x="58" y="762"/>
                    </a:lnTo>
                    <a:lnTo>
                      <a:pt x="58" y="760"/>
                    </a:lnTo>
                    <a:lnTo>
                      <a:pt x="56" y="760"/>
                    </a:lnTo>
                    <a:lnTo>
                      <a:pt x="56" y="759"/>
                    </a:lnTo>
                    <a:lnTo>
                      <a:pt x="56" y="757"/>
                    </a:lnTo>
                    <a:lnTo>
                      <a:pt x="56" y="755"/>
                    </a:lnTo>
                    <a:lnTo>
                      <a:pt x="54" y="755"/>
                    </a:lnTo>
                    <a:lnTo>
                      <a:pt x="54" y="753"/>
                    </a:lnTo>
                    <a:lnTo>
                      <a:pt x="56" y="753"/>
                    </a:lnTo>
                    <a:lnTo>
                      <a:pt x="58" y="752"/>
                    </a:lnTo>
                    <a:lnTo>
                      <a:pt x="58" y="750"/>
                    </a:lnTo>
                    <a:lnTo>
                      <a:pt x="60" y="750"/>
                    </a:lnTo>
                    <a:lnTo>
                      <a:pt x="60" y="748"/>
                    </a:lnTo>
                    <a:lnTo>
                      <a:pt x="58" y="748"/>
                    </a:lnTo>
                    <a:lnTo>
                      <a:pt x="58" y="747"/>
                    </a:lnTo>
                    <a:lnTo>
                      <a:pt x="60" y="745"/>
                    </a:lnTo>
                    <a:lnTo>
                      <a:pt x="58" y="745"/>
                    </a:lnTo>
                    <a:lnTo>
                      <a:pt x="60" y="743"/>
                    </a:lnTo>
                    <a:lnTo>
                      <a:pt x="60" y="742"/>
                    </a:lnTo>
                    <a:lnTo>
                      <a:pt x="61" y="740"/>
                    </a:lnTo>
                    <a:lnTo>
                      <a:pt x="61" y="742"/>
                    </a:lnTo>
                    <a:lnTo>
                      <a:pt x="61" y="740"/>
                    </a:lnTo>
                    <a:lnTo>
                      <a:pt x="63" y="742"/>
                    </a:lnTo>
                    <a:lnTo>
                      <a:pt x="65" y="740"/>
                    </a:lnTo>
                    <a:lnTo>
                      <a:pt x="65" y="738"/>
                    </a:lnTo>
                    <a:lnTo>
                      <a:pt x="65" y="736"/>
                    </a:lnTo>
                    <a:lnTo>
                      <a:pt x="65" y="735"/>
                    </a:lnTo>
                    <a:lnTo>
                      <a:pt x="63" y="735"/>
                    </a:lnTo>
                    <a:lnTo>
                      <a:pt x="61" y="735"/>
                    </a:lnTo>
                    <a:lnTo>
                      <a:pt x="60" y="733"/>
                    </a:lnTo>
                    <a:lnTo>
                      <a:pt x="61" y="733"/>
                    </a:lnTo>
                    <a:lnTo>
                      <a:pt x="60" y="733"/>
                    </a:lnTo>
                    <a:lnTo>
                      <a:pt x="60" y="731"/>
                    </a:lnTo>
                    <a:lnTo>
                      <a:pt x="61" y="730"/>
                    </a:lnTo>
                    <a:lnTo>
                      <a:pt x="60" y="730"/>
                    </a:lnTo>
                    <a:lnTo>
                      <a:pt x="60" y="728"/>
                    </a:lnTo>
                    <a:lnTo>
                      <a:pt x="61" y="728"/>
                    </a:lnTo>
                    <a:lnTo>
                      <a:pt x="60" y="726"/>
                    </a:lnTo>
                    <a:lnTo>
                      <a:pt x="61" y="726"/>
                    </a:lnTo>
                    <a:lnTo>
                      <a:pt x="63" y="726"/>
                    </a:lnTo>
                    <a:lnTo>
                      <a:pt x="65" y="728"/>
                    </a:lnTo>
                    <a:lnTo>
                      <a:pt x="65" y="726"/>
                    </a:lnTo>
                    <a:lnTo>
                      <a:pt x="65" y="725"/>
                    </a:lnTo>
                    <a:lnTo>
                      <a:pt x="65" y="723"/>
                    </a:lnTo>
                    <a:lnTo>
                      <a:pt x="65" y="721"/>
                    </a:lnTo>
                    <a:lnTo>
                      <a:pt x="66" y="721"/>
                    </a:lnTo>
                    <a:lnTo>
                      <a:pt x="66" y="719"/>
                    </a:lnTo>
                    <a:lnTo>
                      <a:pt x="68" y="719"/>
                    </a:lnTo>
                    <a:lnTo>
                      <a:pt x="68" y="718"/>
                    </a:lnTo>
                    <a:lnTo>
                      <a:pt x="66" y="716"/>
                    </a:lnTo>
                    <a:lnTo>
                      <a:pt x="65" y="716"/>
                    </a:lnTo>
                    <a:lnTo>
                      <a:pt x="65" y="714"/>
                    </a:lnTo>
                    <a:lnTo>
                      <a:pt x="65" y="713"/>
                    </a:lnTo>
                    <a:lnTo>
                      <a:pt x="65" y="711"/>
                    </a:lnTo>
                    <a:lnTo>
                      <a:pt x="63" y="711"/>
                    </a:lnTo>
                    <a:lnTo>
                      <a:pt x="63" y="709"/>
                    </a:lnTo>
                    <a:lnTo>
                      <a:pt x="65" y="709"/>
                    </a:lnTo>
                    <a:lnTo>
                      <a:pt x="63" y="709"/>
                    </a:lnTo>
                    <a:lnTo>
                      <a:pt x="65" y="709"/>
                    </a:lnTo>
                    <a:lnTo>
                      <a:pt x="65" y="708"/>
                    </a:lnTo>
                    <a:lnTo>
                      <a:pt x="63" y="706"/>
                    </a:lnTo>
                    <a:lnTo>
                      <a:pt x="65" y="706"/>
                    </a:lnTo>
                    <a:lnTo>
                      <a:pt x="65" y="704"/>
                    </a:lnTo>
                    <a:lnTo>
                      <a:pt x="65" y="702"/>
                    </a:lnTo>
                    <a:lnTo>
                      <a:pt x="65" y="704"/>
                    </a:lnTo>
                    <a:lnTo>
                      <a:pt x="66" y="704"/>
                    </a:lnTo>
                    <a:lnTo>
                      <a:pt x="66" y="706"/>
                    </a:lnTo>
                    <a:lnTo>
                      <a:pt x="68" y="706"/>
                    </a:lnTo>
                    <a:lnTo>
                      <a:pt x="70" y="706"/>
                    </a:lnTo>
                    <a:lnTo>
                      <a:pt x="71" y="706"/>
                    </a:lnTo>
                    <a:lnTo>
                      <a:pt x="71" y="704"/>
                    </a:lnTo>
                    <a:lnTo>
                      <a:pt x="71" y="702"/>
                    </a:lnTo>
                    <a:lnTo>
                      <a:pt x="70" y="702"/>
                    </a:lnTo>
                    <a:lnTo>
                      <a:pt x="70" y="701"/>
                    </a:lnTo>
                    <a:lnTo>
                      <a:pt x="71" y="699"/>
                    </a:lnTo>
                    <a:lnTo>
                      <a:pt x="71" y="697"/>
                    </a:lnTo>
                    <a:lnTo>
                      <a:pt x="73" y="697"/>
                    </a:lnTo>
                    <a:lnTo>
                      <a:pt x="71" y="697"/>
                    </a:lnTo>
                    <a:lnTo>
                      <a:pt x="73" y="696"/>
                    </a:lnTo>
                    <a:lnTo>
                      <a:pt x="71" y="696"/>
                    </a:lnTo>
                    <a:lnTo>
                      <a:pt x="71" y="694"/>
                    </a:lnTo>
                    <a:lnTo>
                      <a:pt x="73" y="694"/>
                    </a:lnTo>
                    <a:lnTo>
                      <a:pt x="75" y="694"/>
                    </a:lnTo>
                    <a:lnTo>
                      <a:pt x="75" y="692"/>
                    </a:lnTo>
                    <a:lnTo>
                      <a:pt x="75" y="691"/>
                    </a:lnTo>
                    <a:lnTo>
                      <a:pt x="75" y="689"/>
                    </a:lnTo>
                    <a:lnTo>
                      <a:pt x="75" y="687"/>
                    </a:lnTo>
                    <a:lnTo>
                      <a:pt x="73" y="685"/>
                    </a:lnTo>
                    <a:lnTo>
                      <a:pt x="73" y="684"/>
                    </a:lnTo>
                    <a:lnTo>
                      <a:pt x="73" y="682"/>
                    </a:lnTo>
                    <a:lnTo>
                      <a:pt x="73" y="680"/>
                    </a:lnTo>
                    <a:lnTo>
                      <a:pt x="75" y="680"/>
                    </a:lnTo>
                    <a:lnTo>
                      <a:pt x="73" y="680"/>
                    </a:lnTo>
                    <a:lnTo>
                      <a:pt x="73" y="679"/>
                    </a:lnTo>
                    <a:lnTo>
                      <a:pt x="73" y="677"/>
                    </a:lnTo>
                    <a:lnTo>
                      <a:pt x="73" y="675"/>
                    </a:lnTo>
                    <a:lnTo>
                      <a:pt x="75" y="675"/>
                    </a:lnTo>
                    <a:lnTo>
                      <a:pt x="75" y="674"/>
                    </a:lnTo>
                    <a:lnTo>
                      <a:pt x="77" y="674"/>
                    </a:lnTo>
                    <a:lnTo>
                      <a:pt x="78" y="672"/>
                    </a:lnTo>
                    <a:lnTo>
                      <a:pt x="78" y="670"/>
                    </a:lnTo>
                    <a:lnTo>
                      <a:pt x="80" y="670"/>
                    </a:lnTo>
                    <a:lnTo>
                      <a:pt x="82" y="670"/>
                    </a:lnTo>
                    <a:lnTo>
                      <a:pt x="83" y="670"/>
                    </a:lnTo>
                    <a:lnTo>
                      <a:pt x="83" y="668"/>
                    </a:lnTo>
                    <a:lnTo>
                      <a:pt x="85" y="668"/>
                    </a:lnTo>
                    <a:lnTo>
                      <a:pt x="87" y="668"/>
                    </a:lnTo>
                    <a:lnTo>
                      <a:pt x="88" y="668"/>
                    </a:lnTo>
                    <a:lnTo>
                      <a:pt x="90" y="668"/>
                    </a:lnTo>
                    <a:lnTo>
                      <a:pt x="90" y="667"/>
                    </a:lnTo>
                    <a:lnTo>
                      <a:pt x="92" y="667"/>
                    </a:lnTo>
                    <a:lnTo>
                      <a:pt x="92" y="665"/>
                    </a:lnTo>
                    <a:lnTo>
                      <a:pt x="90" y="665"/>
                    </a:lnTo>
                    <a:lnTo>
                      <a:pt x="90" y="663"/>
                    </a:lnTo>
                    <a:lnTo>
                      <a:pt x="92" y="663"/>
                    </a:lnTo>
                    <a:lnTo>
                      <a:pt x="92" y="662"/>
                    </a:lnTo>
                    <a:lnTo>
                      <a:pt x="94" y="662"/>
                    </a:lnTo>
                    <a:lnTo>
                      <a:pt x="94" y="660"/>
                    </a:lnTo>
                    <a:lnTo>
                      <a:pt x="94" y="658"/>
                    </a:lnTo>
                    <a:lnTo>
                      <a:pt x="92" y="658"/>
                    </a:lnTo>
                    <a:lnTo>
                      <a:pt x="92" y="656"/>
                    </a:lnTo>
                    <a:lnTo>
                      <a:pt x="90" y="656"/>
                    </a:lnTo>
                    <a:lnTo>
                      <a:pt x="90" y="655"/>
                    </a:lnTo>
                    <a:lnTo>
                      <a:pt x="88" y="655"/>
                    </a:lnTo>
                    <a:lnTo>
                      <a:pt x="88" y="653"/>
                    </a:lnTo>
                    <a:lnTo>
                      <a:pt x="88" y="651"/>
                    </a:lnTo>
                    <a:lnTo>
                      <a:pt x="87" y="650"/>
                    </a:lnTo>
                    <a:lnTo>
                      <a:pt x="88" y="650"/>
                    </a:lnTo>
                    <a:lnTo>
                      <a:pt x="87" y="650"/>
                    </a:lnTo>
                    <a:lnTo>
                      <a:pt x="87" y="648"/>
                    </a:lnTo>
                    <a:lnTo>
                      <a:pt x="87" y="646"/>
                    </a:lnTo>
                    <a:lnTo>
                      <a:pt x="87" y="645"/>
                    </a:lnTo>
                    <a:lnTo>
                      <a:pt x="88" y="645"/>
                    </a:lnTo>
                    <a:lnTo>
                      <a:pt x="88" y="643"/>
                    </a:lnTo>
                    <a:lnTo>
                      <a:pt x="87" y="641"/>
                    </a:lnTo>
                    <a:lnTo>
                      <a:pt x="85" y="639"/>
                    </a:lnTo>
                    <a:lnTo>
                      <a:pt x="87" y="639"/>
                    </a:lnTo>
                    <a:lnTo>
                      <a:pt x="88" y="639"/>
                    </a:lnTo>
                    <a:lnTo>
                      <a:pt x="87" y="639"/>
                    </a:lnTo>
                    <a:lnTo>
                      <a:pt x="87" y="638"/>
                    </a:lnTo>
                    <a:lnTo>
                      <a:pt x="85" y="638"/>
                    </a:lnTo>
                    <a:lnTo>
                      <a:pt x="85" y="636"/>
                    </a:lnTo>
                    <a:lnTo>
                      <a:pt x="85" y="634"/>
                    </a:lnTo>
                    <a:lnTo>
                      <a:pt x="83" y="633"/>
                    </a:lnTo>
                    <a:lnTo>
                      <a:pt x="83" y="631"/>
                    </a:lnTo>
                    <a:lnTo>
                      <a:pt x="83" y="629"/>
                    </a:lnTo>
                    <a:lnTo>
                      <a:pt x="82" y="629"/>
                    </a:lnTo>
                    <a:lnTo>
                      <a:pt x="82" y="628"/>
                    </a:lnTo>
                    <a:lnTo>
                      <a:pt x="83" y="628"/>
                    </a:lnTo>
                    <a:lnTo>
                      <a:pt x="82" y="628"/>
                    </a:lnTo>
                    <a:lnTo>
                      <a:pt x="82" y="626"/>
                    </a:lnTo>
                    <a:lnTo>
                      <a:pt x="82" y="624"/>
                    </a:lnTo>
                    <a:lnTo>
                      <a:pt x="82" y="622"/>
                    </a:lnTo>
                    <a:lnTo>
                      <a:pt x="80" y="622"/>
                    </a:lnTo>
                    <a:lnTo>
                      <a:pt x="80" y="621"/>
                    </a:lnTo>
                    <a:lnTo>
                      <a:pt x="82" y="619"/>
                    </a:lnTo>
                    <a:lnTo>
                      <a:pt x="83" y="617"/>
                    </a:lnTo>
                    <a:lnTo>
                      <a:pt x="83" y="616"/>
                    </a:lnTo>
                    <a:lnTo>
                      <a:pt x="82" y="616"/>
                    </a:lnTo>
                    <a:lnTo>
                      <a:pt x="83" y="616"/>
                    </a:lnTo>
                    <a:lnTo>
                      <a:pt x="83" y="614"/>
                    </a:lnTo>
                    <a:lnTo>
                      <a:pt x="83" y="612"/>
                    </a:lnTo>
                    <a:lnTo>
                      <a:pt x="83" y="611"/>
                    </a:lnTo>
                    <a:lnTo>
                      <a:pt x="82" y="609"/>
                    </a:lnTo>
                    <a:lnTo>
                      <a:pt x="80" y="609"/>
                    </a:lnTo>
                    <a:lnTo>
                      <a:pt x="82" y="607"/>
                    </a:lnTo>
                    <a:lnTo>
                      <a:pt x="80" y="607"/>
                    </a:lnTo>
                    <a:lnTo>
                      <a:pt x="80" y="605"/>
                    </a:lnTo>
                    <a:lnTo>
                      <a:pt x="80" y="604"/>
                    </a:lnTo>
                    <a:lnTo>
                      <a:pt x="82" y="604"/>
                    </a:lnTo>
                    <a:lnTo>
                      <a:pt x="82" y="602"/>
                    </a:lnTo>
                    <a:lnTo>
                      <a:pt x="83" y="602"/>
                    </a:lnTo>
                    <a:lnTo>
                      <a:pt x="83" y="600"/>
                    </a:lnTo>
                    <a:lnTo>
                      <a:pt x="83" y="599"/>
                    </a:lnTo>
                    <a:lnTo>
                      <a:pt x="85" y="599"/>
                    </a:lnTo>
                    <a:lnTo>
                      <a:pt x="85" y="597"/>
                    </a:lnTo>
                    <a:lnTo>
                      <a:pt x="83" y="597"/>
                    </a:lnTo>
                    <a:lnTo>
                      <a:pt x="83" y="595"/>
                    </a:lnTo>
                    <a:lnTo>
                      <a:pt x="83" y="594"/>
                    </a:lnTo>
                    <a:lnTo>
                      <a:pt x="82" y="594"/>
                    </a:lnTo>
                    <a:lnTo>
                      <a:pt x="82" y="592"/>
                    </a:lnTo>
                    <a:lnTo>
                      <a:pt x="80" y="592"/>
                    </a:lnTo>
                    <a:lnTo>
                      <a:pt x="82" y="592"/>
                    </a:lnTo>
                    <a:lnTo>
                      <a:pt x="83" y="592"/>
                    </a:lnTo>
                    <a:lnTo>
                      <a:pt x="83" y="590"/>
                    </a:lnTo>
                    <a:lnTo>
                      <a:pt x="85" y="590"/>
                    </a:lnTo>
                    <a:lnTo>
                      <a:pt x="83" y="590"/>
                    </a:lnTo>
                    <a:lnTo>
                      <a:pt x="82" y="588"/>
                    </a:lnTo>
                    <a:lnTo>
                      <a:pt x="83" y="588"/>
                    </a:lnTo>
                    <a:lnTo>
                      <a:pt x="83" y="587"/>
                    </a:lnTo>
                    <a:lnTo>
                      <a:pt x="82" y="587"/>
                    </a:lnTo>
                    <a:lnTo>
                      <a:pt x="82" y="585"/>
                    </a:lnTo>
                    <a:lnTo>
                      <a:pt x="83" y="585"/>
                    </a:lnTo>
                    <a:lnTo>
                      <a:pt x="83" y="583"/>
                    </a:lnTo>
                    <a:lnTo>
                      <a:pt x="83" y="582"/>
                    </a:lnTo>
                    <a:lnTo>
                      <a:pt x="83" y="580"/>
                    </a:lnTo>
                    <a:lnTo>
                      <a:pt x="83" y="578"/>
                    </a:lnTo>
                    <a:lnTo>
                      <a:pt x="85" y="578"/>
                    </a:lnTo>
                    <a:lnTo>
                      <a:pt x="85" y="580"/>
                    </a:lnTo>
                    <a:lnTo>
                      <a:pt x="87" y="580"/>
                    </a:lnTo>
                    <a:lnTo>
                      <a:pt x="87" y="578"/>
                    </a:lnTo>
                    <a:lnTo>
                      <a:pt x="87" y="577"/>
                    </a:lnTo>
                    <a:lnTo>
                      <a:pt x="85" y="577"/>
                    </a:lnTo>
                    <a:lnTo>
                      <a:pt x="87" y="575"/>
                    </a:lnTo>
                    <a:lnTo>
                      <a:pt x="85" y="575"/>
                    </a:lnTo>
                    <a:lnTo>
                      <a:pt x="87" y="573"/>
                    </a:lnTo>
                    <a:lnTo>
                      <a:pt x="85" y="573"/>
                    </a:lnTo>
                    <a:lnTo>
                      <a:pt x="87" y="571"/>
                    </a:lnTo>
                    <a:lnTo>
                      <a:pt x="87" y="570"/>
                    </a:lnTo>
                    <a:lnTo>
                      <a:pt x="87" y="571"/>
                    </a:lnTo>
                    <a:lnTo>
                      <a:pt x="88" y="571"/>
                    </a:lnTo>
                    <a:lnTo>
                      <a:pt x="90" y="571"/>
                    </a:lnTo>
                    <a:lnTo>
                      <a:pt x="90" y="570"/>
                    </a:lnTo>
                    <a:lnTo>
                      <a:pt x="92" y="570"/>
                    </a:lnTo>
                    <a:lnTo>
                      <a:pt x="92" y="568"/>
                    </a:lnTo>
                    <a:lnTo>
                      <a:pt x="92" y="566"/>
                    </a:lnTo>
                    <a:lnTo>
                      <a:pt x="92" y="568"/>
                    </a:lnTo>
                    <a:lnTo>
                      <a:pt x="94" y="568"/>
                    </a:lnTo>
                    <a:lnTo>
                      <a:pt x="94" y="566"/>
                    </a:lnTo>
                    <a:lnTo>
                      <a:pt x="94" y="568"/>
                    </a:lnTo>
                    <a:lnTo>
                      <a:pt x="95" y="568"/>
                    </a:lnTo>
                    <a:lnTo>
                      <a:pt x="97" y="568"/>
                    </a:lnTo>
                    <a:lnTo>
                      <a:pt x="99" y="568"/>
                    </a:lnTo>
                    <a:lnTo>
                      <a:pt x="99" y="566"/>
                    </a:lnTo>
                    <a:lnTo>
                      <a:pt x="97" y="566"/>
                    </a:lnTo>
                    <a:lnTo>
                      <a:pt x="97" y="565"/>
                    </a:lnTo>
                    <a:lnTo>
                      <a:pt x="99" y="563"/>
                    </a:lnTo>
                    <a:lnTo>
                      <a:pt x="97" y="561"/>
                    </a:lnTo>
                    <a:lnTo>
                      <a:pt x="99" y="561"/>
                    </a:lnTo>
                    <a:lnTo>
                      <a:pt x="100" y="561"/>
                    </a:lnTo>
                    <a:lnTo>
                      <a:pt x="100" y="560"/>
                    </a:lnTo>
                    <a:lnTo>
                      <a:pt x="100" y="558"/>
                    </a:lnTo>
                    <a:lnTo>
                      <a:pt x="102" y="558"/>
                    </a:lnTo>
                    <a:lnTo>
                      <a:pt x="102" y="556"/>
                    </a:lnTo>
                    <a:lnTo>
                      <a:pt x="104" y="556"/>
                    </a:lnTo>
                    <a:lnTo>
                      <a:pt x="104" y="558"/>
                    </a:lnTo>
                    <a:lnTo>
                      <a:pt x="105" y="558"/>
                    </a:lnTo>
                    <a:lnTo>
                      <a:pt x="107" y="558"/>
                    </a:lnTo>
                    <a:lnTo>
                      <a:pt x="107" y="556"/>
                    </a:lnTo>
                    <a:lnTo>
                      <a:pt x="107" y="554"/>
                    </a:lnTo>
                    <a:lnTo>
                      <a:pt x="107" y="553"/>
                    </a:lnTo>
                    <a:lnTo>
                      <a:pt x="109" y="553"/>
                    </a:lnTo>
                    <a:lnTo>
                      <a:pt x="109" y="551"/>
                    </a:lnTo>
                    <a:lnTo>
                      <a:pt x="109" y="549"/>
                    </a:lnTo>
                    <a:lnTo>
                      <a:pt x="107" y="549"/>
                    </a:lnTo>
                    <a:lnTo>
                      <a:pt x="109" y="548"/>
                    </a:lnTo>
                    <a:lnTo>
                      <a:pt x="107" y="548"/>
                    </a:lnTo>
                    <a:lnTo>
                      <a:pt x="107" y="546"/>
                    </a:lnTo>
                    <a:lnTo>
                      <a:pt x="107" y="544"/>
                    </a:lnTo>
                    <a:lnTo>
                      <a:pt x="109" y="544"/>
                    </a:lnTo>
                    <a:lnTo>
                      <a:pt x="111" y="544"/>
                    </a:lnTo>
                    <a:lnTo>
                      <a:pt x="111" y="543"/>
                    </a:lnTo>
                    <a:lnTo>
                      <a:pt x="109" y="543"/>
                    </a:lnTo>
                    <a:lnTo>
                      <a:pt x="109" y="541"/>
                    </a:lnTo>
                    <a:lnTo>
                      <a:pt x="109" y="539"/>
                    </a:lnTo>
                    <a:lnTo>
                      <a:pt x="109" y="537"/>
                    </a:lnTo>
                    <a:lnTo>
                      <a:pt x="107" y="537"/>
                    </a:lnTo>
                    <a:lnTo>
                      <a:pt x="107" y="536"/>
                    </a:lnTo>
                    <a:lnTo>
                      <a:pt x="109" y="534"/>
                    </a:lnTo>
                    <a:lnTo>
                      <a:pt x="107" y="532"/>
                    </a:lnTo>
                    <a:lnTo>
                      <a:pt x="107" y="531"/>
                    </a:lnTo>
                    <a:lnTo>
                      <a:pt x="109" y="531"/>
                    </a:lnTo>
                    <a:lnTo>
                      <a:pt x="107" y="529"/>
                    </a:lnTo>
                    <a:lnTo>
                      <a:pt x="105" y="529"/>
                    </a:lnTo>
                    <a:lnTo>
                      <a:pt x="107" y="527"/>
                    </a:lnTo>
                    <a:lnTo>
                      <a:pt x="105" y="527"/>
                    </a:lnTo>
                    <a:lnTo>
                      <a:pt x="107" y="526"/>
                    </a:lnTo>
                    <a:lnTo>
                      <a:pt x="105" y="526"/>
                    </a:lnTo>
                    <a:lnTo>
                      <a:pt x="107" y="524"/>
                    </a:lnTo>
                    <a:lnTo>
                      <a:pt x="107" y="522"/>
                    </a:lnTo>
                    <a:lnTo>
                      <a:pt x="105" y="522"/>
                    </a:lnTo>
                    <a:lnTo>
                      <a:pt x="104" y="522"/>
                    </a:lnTo>
                    <a:lnTo>
                      <a:pt x="102" y="522"/>
                    </a:lnTo>
                    <a:lnTo>
                      <a:pt x="102" y="520"/>
                    </a:lnTo>
                    <a:lnTo>
                      <a:pt x="102" y="519"/>
                    </a:lnTo>
                    <a:lnTo>
                      <a:pt x="102" y="517"/>
                    </a:lnTo>
                    <a:lnTo>
                      <a:pt x="104" y="517"/>
                    </a:lnTo>
                    <a:lnTo>
                      <a:pt x="105" y="517"/>
                    </a:lnTo>
                    <a:lnTo>
                      <a:pt x="107" y="517"/>
                    </a:lnTo>
                    <a:lnTo>
                      <a:pt x="109" y="517"/>
                    </a:lnTo>
                    <a:lnTo>
                      <a:pt x="109" y="515"/>
                    </a:lnTo>
                    <a:lnTo>
                      <a:pt x="109" y="514"/>
                    </a:lnTo>
                    <a:lnTo>
                      <a:pt x="109" y="512"/>
                    </a:lnTo>
                    <a:lnTo>
                      <a:pt x="109" y="510"/>
                    </a:lnTo>
                    <a:lnTo>
                      <a:pt x="109" y="509"/>
                    </a:lnTo>
                    <a:lnTo>
                      <a:pt x="111" y="509"/>
                    </a:lnTo>
                    <a:lnTo>
                      <a:pt x="111" y="507"/>
                    </a:lnTo>
                    <a:lnTo>
                      <a:pt x="111" y="505"/>
                    </a:lnTo>
                    <a:lnTo>
                      <a:pt x="112" y="503"/>
                    </a:lnTo>
                    <a:lnTo>
                      <a:pt x="112" y="502"/>
                    </a:lnTo>
                    <a:lnTo>
                      <a:pt x="112" y="500"/>
                    </a:lnTo>
                    <a:lnTo>
                      <a:pt x="111" y="500"/>
                    </a:lnTo>
                    <a:lnTo>
                      <a:pt x="111" y="498"/>
                    </a:lnTo>
                    <a:lnTo>
                      <a:pt x="112" y="498"/>
                    </a:lnTo>
                    <a:lnTo>
                      <a:pt x="112" y="497"/>
                    </a:lnTo>
                    <a:lnTo>
                      <a:pt x="114" y="497"/>
                    </a:lnTo>
                    <a:lnTo>
                      <a:pt x="114" y="495"/>
                    </a:lnTo>
                    <a:lnTo>
                      <a:pt x="114" y="493"/>
                    </a:lnTo>
                    <a:lnTo>
                      <a:pt x="116" y="491"/>
                    </a:lnTo>
                    <a:lnTo>
                      <a:pt x="116" y="490"/>
                    </a:lnTo>
                    <a:lnTo>
                      <a:pt x="117" y="488"/>
                    </a:lnTo>
                    <a:lnTo>
                      <a:pt x="119" y="488"/>
                    </a:lnTo>
                    <a:lnTo>
                      <a:pt x="119" y="486"/>
                    </a:lnTo>
                    <a:lnTo>
                      <a:pt x="121" y="485"/>
                    </a:lnTo>
                    <a:lnTo>
                      <a:pt x="121" y="483"/>
                    </a:lnTo>
                    <a:lnTo>
                      <a:pt x="121" y="481"/>
                    </a:lnTo>
                    <a:lnTo>
                      <a:pt x="121" y="480"/>
                    </a:lnTo>
                    <a:lnTo>
                      <a:pt x="122" y="480"/>
                    </a:lnTo>
                    <a:lnTo>
                      <a:pt x="122" y="478"/>
                    </a:lnTo>
                    <a:lnTo>
                      <a:pt x="122" y="480"/>
                    </a:lnTo>
                    <a:lnTo>
                      <a:pt x="124" y="480"/>
                    </a:lnTo>
                    <a:lnTo>
                      <a:pt x="126" y="480"/>
                    </a:lnTo>
                    <a:lnTo>
                      <a:pt x="126" y="478"/>
                    </a:lnTo>
                    <a:lnTo>
                      <a:pt x="128" y="478"/>
                    </a:lnTo>
                    <a:lnTo>
                      <a:pt x="128" y="476"/>
                    </a:lnTo>
                    <a:lnTo>
                      <a:pt x="128" y="474"/>
                    </a:lnTo>
                    <a:lnTo>
                      <a:pt x="126" y="474"/>
                    </a:lnTo>
                    <a:lnTo>
                      <a:pt x="126" y="473"/>
                    </a:lnTo>
                    <a:lnTo>
                      <a:pt x="128" y="471"/>
                    </a:lnTo>
                    <a:lnTo>
                      <a:pt x="126" y="471"/>
                    </a:lnTo>
                    <a:lnTo>
                      <a:pt x="126" y="469"/>
                    </a:lnTo>
                    <a:lnTo>
                      <a:pt x="128" y="469"/>
                    </a:lnTo>
                    <a:lnTo>
                      <a:pt x="126" y="468"/>
                    </a:lnTo>
                    <a:lnTo>
                      <a:pt x="126" y="466"/>
                    </a:lnTo>
                    <a:lnTo>
                      <a:pt x="126" y="468"/>
                    </a:lnTo>
                    <a:lnTo>
                      <a:pt x="124" y="466"/>
                    </a:lnTo>
                    <a:lnTo>
                      <a:pt x="124" y="464"/>
                    </a:lnTo>
                    <a:lnTo>
                      <a:pt x="126" y="464"/>
                    </a:lnTo>
                    <a:lnTo>
                      <a:pt x="126" y="463"/>
                    </a:lnTo>
                    <a:lnTo>
                      <a:pt x="124" y="463"/>
                    </a:lnTo>
                    <a:lnTo>
                      <a:pt x="124" y="461"/>
                    </a:lnTo>
                    <a:lnTo>
                      <a:pt x="124" y="459"/>
                    </a:lnTo>
                    <a:lnTo>
                      <a:pt x="124" y="457"/>
                    </a:lnTo>
                    <a:lnTo>
                      <a:pt x="126" y="457"/>
                    </a:lnTo>
                    <a:lnTo>
                      <a:pt x="126" y="456"/>
                    </a:lnTo>
                    <a:lnTo>
                      <a:pt x="126" y="454"/>
                    </a:lnTo>
                    <a:lnTo>
                      <a:pt x="126" y="452"/>
                    </a:lnTo>
                    <a:lnTo>
                      <a:pt x="126" y="451"/>
                    </a:lnTo>
                    <a:lnTo>
                      <a:pt x="126" y="449"/>
                    </a:lnTo>
                    <a:lnTo>
                      <a:pt x="128" y="449"/>
                    </a:lnTo>
                    <a:lnTo>
                      <a:pt x="128" y="447"/>
                    </a:lnTo>
                    <a:lnTo>
                      <a:pt x="128" y="446"/>
                    </a:lnTo>
                    <a:lnTo>
                      <a:pt x="128" y="444"/>
                    </a:lnTo>
                    <a:lnTo>
                      <a:pt x="129" y="444"/>
                    </a:lnTo>
                    <a:lnTo>
                      <a:pt x="129" y="442"/>
                    </a:lnTo>
                    <a:lnTo>
                      <a:pt x="129" y="440"/>
                    </a:lnTo>
                    <a:lnTo>
                      <a:pt x="128" y="440"/>
                    </a:lnTo>
                    <a:lnTo>
                      <a:pt x="128" y="439"/>
                    </a:lnTo>
                    <a:lnTo>
                      <a:pt x="126" y="439"/>
                    </a:lnTo>
                    <a:lnTo>
                      <a:pt x="124" y="439"/>
                    </a:lnTo>
                    <a:lnTo>
                      <a:pt x="124" y="437"/>
                    </a:lnTo>
                    <a:lnTo>
                      <a:pt x="124" y="439"/>
                    </a:lnTo>
                    <a:lnTo>
                      <a:pt x="122" y="439"/>
                    </a:lnTo>
                    <a:lnTo>
                      <a:pt x="122" y="440"/>
                    </a:lnTo>
                    <a:lnTo>
                      <a:pt x="121" y="440"/>
                    </a:lnTo>
                    <a:lnTo>
                      <a:pt x="121" y="439"/>
                    </a:lnTo>
                    <a:lnTo>
                      <a:pt x="121" y="437"/>
                    </a:lnTo>
                    <a:lnTo>
                      <a:pt x="119" y="437"/>
                    </a:lnTo>
                    <a:lnTo>
                      <a:pt x="119" y="435"/>
                    </a:lnTo>
                    <a:lnTo>
                      <a:pt x="119" y="434"/>
                    </a:lnTo>
                    <a:lnTo>
                      <a:pt x="119" y="432"/>
                    </a:lnTo>
                    <a:lnTo>
                      <a:pt x="119" y="430"/>
                    </a:lnTo>
                    <a:lnTo>
                      <a:pt x="117" y="430"/>
                    </a:lnTo>
                    <a:lnTo>
                      <a:pt x="119" y="429"/>
                    </a:lnTo>
                    <a:lnTo>
                      <a:pt x="121" y="429"/>
                    </a:lnTo>
                    <a:lnTo>
                      <a:pt x="121" y="427"/>
                    </a:lnTo>
                    <a:lnTo>
                      <a:pt x="122" y="427"/>
                    </a:lnTo>
                    <a:lnTo>
                      <a:pt x="121" y="427"/>
                    </a:lnTo>
                    <a:lnTo>
                      <a:pt x="121" y="425"/>
                    </a:lnTo>
                    <a:lnTo>
                      <a:pt x="121" y="423"/>
                    </a:lnTo>
                    <a:lnTo>
                      <a:pt x="119" y="422"/>
                    </a:lnTo>
                    <a:lnTo>
                      <a:pt x="119" y="420"/>
                    </a:lnTo>
                    <a:lnTo>
                      <a:pt x="117" y="420"/>
                    </a:lnTo>
                    <a:lnTo>
                      <a:pt x="117" y="418"/>
                    </a:lnTo>
                    <a:lnTo>
                      <a:pt x="117" y="417"/>
                    </a:lnTo>
                    <a:lnTo>
                      <a:pt x="116" y="417"/>
                    </a:lnTo>
                    <a:lnTo>
                      <a:pt x="116" y="415"/>
                    </a:lnTo>
                    <a:lnTo>
                      <a:pt x="116" y="413"/>
                    </a:lnTo>
                    <a:lnTo>
                      <a:pt x="116" y="412"/>
                    </a:lnTo>
                    <a:lnTo>
                      <a:pt x="117" y="410"/>
                    </a:lnTo>
                    <a:lnTo>
                      <a:pt x="117" y="408"/>
                    </a:lnTo>
                    <a:lnTo>
                      <a:pt x="116" y="408"/>
                    </a:lnTo>
                    <a:lnTo>
                      <a:pt x="117" y="406"/>
                    </a:lnTo>
                    <a:lnTo>
                      <a:pt x="116" y="406"/>
                    </a:lnTo>
                    <a:lnTo>
                      <a:pt x="114" y="405"/>
                    </a:lnTo>
                    <a:lnTo>
                      <a:pt x="114" y="403"/>
                    </a:lnTo>
                    <a:lnTo>
                      <a:pt x="114" y="401"/>
                    </a:lnTo>
                    <a:lnTo>
                      <a:pt x="114" y="400"/>
                    </a:lnTo>
                    <a:lnTo>
                      <a:pt x="112" y="400"/>
                    </a:lnTo>
                    <a:lnTo>
                      <a:pt x="111" y="398"/>
                    </a:lnTo>
                    <a:lnTo>
                      <a:pt x="111" y="396"/>
                    </a:lnTo>
                    <a:lnTo>
                      <a:pt x="111" y="395"/>
                    </a:lnTo>
                    <a:lnTo>
                      <a:pt x="111" y="393"/>
                    </a:lnTo>
                    <a:lnTo>
                      <a:pt x="111" y="391"/>
                    </a:lnTo>
                    <a:lnTo>
                      <a:pt x="109" y="391"/>
                    </a:lnTo>
                    <a:lnTo>
                      <a:pt x="111" y="391"/>
                    </a:lnTo>
                    <a:lnTo>
                      <a:pt x="109" y="389"/>
                    </a:lnTo>
                    <a:lnTo>
                      <a:pt x="109" y="388"/>
                    </a:lnTo>
                    <a:lnTo>
                      <a:pt x="111" y="389"/>
                    </a:lnTo>
                    <a:lnTo>
                      <a:pt x="112" y="389"/>
                    </a:lnTo>
                    <a:lnTo>
                      <a:pt x="112" y="388"/>
                    </a:lnTo>
                    <a:lnTo>
                      <a:pt x="114" y="386"/>
                    </a:lnTo>
                    <a:lnTo>
                      <a:pt x="114" y="384"/>
                    </a:lnTo>
                    <a:lnTo>
                      <a:pt x="112" y="384"/>
                    </a:lnTo>
                    <a:lnTo>
                      <a:pt x="112" y="383"/>
                    </a:lnTo>
                    <a:lnTo>
                      <a:pt x="111" y="383"/>
                    </a:lnTo>
                    <a:lnTo>
                      <a:pt x="109" y="383"/>
                    </a:lnTo>
                    <a:lnTo>
                      <a:pt x="107" y="383"/>
                    </a:lnTo>
                    <a:lnTo>
                      <a:pt x="105" y="381"/>
                    </a:lnTo>
                    <a:lnTo>
                      <a:pt x="105" y="379"/>
                    </a:lnTo>
                    <a:lnTo>
                      <a:pt x="105" y="378"/>
                    </a:lnTo>
                    <a:lnTo>
                      <a:pt x="105" y="376"/>
                    </a:lnTo>
                    <a:lnTo>
                      <a:pt x="105" y="374"/>
                    </a:lnTo>
                    <a:lnTo>
                      <a:pt x="104" y="374"/>
                    </a:lnTo>
                    <a:lnTo>
                      <a:pt x="104" y="372"/>
                    </a:lnTo>
                    <a:lnTo>
                      <a:pt x="102" y="372"/>
                    </a:lnTo>
                    <a:lnTo>
                      <a:pt x="102" y="371"/>
                    </a:lnTo>
                    <a:lnTo>
                      <a:pt x="102" y="369"/>
                    </a:lnTo>
                    <a:lnTo>
                      <a:pt x="102" y="367"/>
                    </a:lnTo>
                    <a:lnTo>
                      <a:pt x="102" y="366"/>
                    </a:lnTo>
                    <a:lnTo>
                      <a:pt x="102" y="364"/>
                    </a:lnTo>
                    <a:lnTo>
                      <a:pt x="104" y="364"/>
                    </a:lnTo>
                    <a:lnTo>
                      <a:pt x="104" y="362"/>
                    </a:lnTo>
                    <a:lnTo>
                      <a:pt x="104" y="361"/>
                    </a:lnTo>
                    <a:lnTo>
                      <a:pt x="102" y="361"/>
                    </a:lnTo>
                    <a:lnTo>
                      <a:pt x="104" y="359"/>
                    </a:lnTo>
                    <a:lnTo>
                      <a:pt x="104" y="357"/>
                    </a:lnTo>
                    <a:lnTo>
                      <a:pt x="104" y="355"/>
                    </a:lnTo>
                    <a:lnTo>
                      <a:pt x="104" y="354"/>
                    </a:lnTo>
                    <a:lnTo>
                      <a:pt x="104" y="352"/>
                    </a:lnTo>
                    <a:lnTo>
                      <a:pt x="105" y="352"/>
                    </a:lnTo>
                    <a:lnTo>
                      <a:pt x="105" y="350"/>
                    </a:lnTo>
                    <a:lnTo>
                      <a:pt x="105" y="352"/>
                    </a:lnTo>
                    <a:lnTo>
                      <a:pt x="107" y="352"/>
                    </a:lnTo>
                    <a:lnTo>
                      <a:pt x="107" y="354"/>
                    </a:lnTo>
                    <a:lnTo>
                      <a:pt x="107" y="355"/>
                    </a:lnTo>
                    <a:lnTo>
                      <a:pt x="109" y="354"/>
                    </a:lnTo>
                    <a:lnTo>
                      <a:pt x="109" y="352"/>
                    </a:lnTo>
                    <a:lnTo>
                      <a:pt x="109" y="350"/>
                    </a:lnTo>
                    <a:lnTo>
                      <a:pt x="111" y="350"/>
                    </a:lnTo>
                    <a:lnTo>
                      <a:pt x="112" y="350"/>
                    </a:lnTo>
                    <a:lnTo>
                      <a:pt x="112" y="349"/>
                    </a:lnTo>
                    <a:lnTo>
                      <a:pt x="111" y="349"/>
                    </a:lnTo>
                    <a:lnTo>
                      <a:pt x="111" y="347"/>
                    </a:lnTo>
                    <a:lnTo>
                      <a:pt x="111" y="345"/>
                    </a:lnTo>
                    <a:lnTo>
                      <a:pt x="111" y="344"/>
                    </a:lnTo>
                    <a:lnTo>
                      <a:pt x="111" y="342"/>
                    </a:lnTo>
                    <a:lnTo>
                      <a:pt x="112" y="342"/>
                    </a:lnTo>
                    <a:lnTo>
                      <a:pt x="112" y="340"/>
                    </a:lnTo>
                    <a:lnTo>
                      <a:pt x="112" y="338"/>
                    </a:lnTo>
                    <a:lnTo>
                      <a:pt x="112" y="337"/>
                    </a:lnTo>
                    <a:lnTo>
                      <a:pt x="112" y="335"/>
                    </a:lnTo>
                    <a:lnTo>
                      <a:pt x="114" y="335"/>
                    </a:lnTo>
                    <a:lnTo>
                      <a:pt x="112" y="335"/>
                    </a:lnTo>
                    <a:lnTo>
                      <a:pt x="112" y="333"/>
                    </a:lnTo>
                    <a:lnTo>
                      <a:pt x="114" y="333"/>
                    </a:lnTo>
                    <a:lnTo>
                      <a:pt x="114" y="332"/>
                    </a:lnTo>
                    <a:lnTo>
                      <a:pt x="114" y="330"/>
                    </a:lnTo>
                    <a:lnTo>
                      <a:pt x="116" y="328"/>
                    </a:lnTo>
                    <a:lnTo>
                      <a:pt x="114" y="328"/>
                    </a:lnTo>
                    <a:lnTo>
                      <a:pt x="116" y="328"/>
                    </a:lnTo>
                    <a:lnTo>
                      <a:pt x="116" y="326"/>
                    </a:lnTo>
                    <a:lnTo>
                      <a:pt x="117" y="326"/>
                    </a:lnTo>
                    <a:lnTo>
                      <a:pt x="117" y="325"/>
                    </a:lnTo>
                    <a:lnTo>
                      <a:pt x="116" y="323"/>
                    </a:lnTo>
                    <a:lnTo>
                      <a:pt x="117" y="321"/>
                    </a:lnTo>
                    <a:lnTo>
                      <a:pt x="117" y="323"/>
                    </a:lnTo>
                    <a:lnTo>
                      <a:pt x="119" y="323"/>
                    </a:lnTo>
                    <a:lnTo>
                      <a:pt x="119" y="325"/>
                    </a:lnTo>
                    <a:lnTo>
                      <a:pt x="121" y="325"/>
                    </a:lnTo>
                    <a:lnTo>
                      <a:pt x="121" y="323"/>
                    </a:lnTo>
                    <a:lnTo>
                      <a:pt x="122" y="323"/>
                    </a:lnTo>
                    <a:lnTo>
                      <a:pt x="124" y="323"/>
                    </a:lnTo>
                    <a:lnTo>
                      <a:pt x="124" y="321"/>
                    </a:lnTo>
                    <a:lnTo>
                      <a:pt x="124" y="320"/>
                    </a:lnTo>
                    <a:lnTo>
                      <a:pt x="126" y="320"/>
                    </a:lnTo>
                    <a:lnTo>
                      <a:pt x="126" y="318"/>
                    </a:lnTo>
                    <a:lnTo>
                      <a:pt x="126" y="316"/>
                    </a:lnTo>
                    <a:lnTo>
                      <a:pt x="126" y="318"/>
                    </a:lnTo>
                    <a:lnTo>
                      <a:pt x="128" y="318"/>
                    </a:lnTo>
                    <a:lnTo>
                      <a:pt x="128" y="316"/>
                    </a:lnTo>
                    <a:lnTo>
                      <a:pt x="128" y="315"/>
                    </a:lnTo>
                    <a:lnTo>
                      <a:pt x="126" y="315"/>
                    </a:lnTo>
                    <a:lnTo>
                      <a:pt x="126" y="313"/>
                    </a:lnTo>
                    <a:lnTo>
                      <a:pt x="124" y="313"/>
                    </a:lnTo>
                    <a:lnTo>
                      <a:pt x="122" y="313"/>
                    </a:lnTo>
                    <a:lnTo>
                      <a:pt x="122" y="311"/>
                    </a:lnTo>
                    <a:lnTo>
                      <a:pt x="124" y="311"/>
                    </a:lnTo>
                    <a:lnTo>
                      <a:pt x="124" y="309"/>
                    </a:lnTo>
                    <a:lnTo>
                      <a:pt x="124" y="308"/>
                    </a:lnTo>
                    <a:lnTo>
                      <a:pt x="124" y="306"/>
                    </a:lnTo>
                    <a:lnTo>
                      <a:pt x="126" y="304"/>
                    </a:lnTo>
                    <a:lnTo>
                      <a:pt x="124" y="304"/>
                    </a:lnTo>
                    <a:lnTo>
                      <a:pt x="126" y="303"/>
                    </a:lnTo>
                    <a:lnTo>
                      <a:pt x="124" y="303"/>
                    </a:lnTo>
                    <a:lnTo>
                      <a:pt x="124" y="301"/>
                    </a:lnTo>
                    <a:lnTo>
                      <a:pt x="124" y="299"/>
                    </a:lnTo>
                    <a:lnTo>
                      <a:pt x="126" y="299"/>
                    </a:lnTo>
                    <a:lnTo>
                      <a:pt x="126" y="298"/>
                    </a:lnTo>
                    <a:lnTo>
                      <a:pt x="124" y="298"/>
                    </a:lnTo>
                    <a:lnTo>
                      <a:pt x="124" y="296"/>
                    </a:lnTo>
                    <a:lnTo>
                      <a:pt x="122" y="296"/>
                    </a:lnTo>
                    <a:lnTo>
                      <a:pt x="122" y="294"/>
                    </a:lnTo>
                    <a:lnTo>
                      <a:pt x="124" y="294"/>
                    </a:lnTo>
                    <a:lnTo>
                      <a:pt x="122" y="294"/>
                    </a:lnTo>
                    <a:lnTo>
                      <a:pt x="124" y="292"/>
                    </a:lnTo>
                    <a:lnTo>
                      <a:pt x="122" y="292"/>
                    </a:lnTo>
                    <a:lnTo>
                      <a:pt x="124" y="291"/>
                    </a:lnTo>
                    <a:lnTo>
                      <a:pt x="122" y="291"/>
                    </a:lnTo>
                    <a:lnTo>
                      <a:pt x="122" y="289"/>
                    </a:lnTo>
                    <a:lnTo>
                      <a:pt x="122" y="287"/>
                    </a:lnTo>
                    <a:lnTo>
                      <a:pt x="122" y="286"/>
                    </a:lnTo>
                    <a:lnTo>
                      <a:pt x="121" y="286"/>
                    </a:lnTo>
                    <a:lnTo>
                      <a:pt x="121" y="284"/>
                    </a:lnTo>
                    <a:lnTo>
                      <a:pt x="121" y="282"/>
                    </a:lnTo>
                    <a:lnTo>
                      <a:pt x="121" y="281"/>
                    </a:lnTo>
                    <a:lnTo>
                      <a:pt x="122" y="281"/>
                    </a:lnTo>
                    <a:lnTo>
                      <a:pt x="122" y="279"/>
                    </a:lnTo>
                    <a:lnTo>
                      <a:pt x="122" y="277"/>
                    </a:lnTo>
                    <a:lnTo>
                      <a:pt x="124" y="277"/>
                    </a:lnTo>
                    <a:lnTo>
                      <a:pt x="124" y="275"/>
                    </a:lnTo>
                    <a:lnTo>
                      <a:pt x="126" y="275"/>
                    </a:lnTo>
                    <a:lnTo>
                      <a:pt x="128" y="275"/>
                    </a:lnTo>
                    <a:lnTo>
                      <a:pt x="128" y="274"/>
                    </a:lnTo>
                    <a:lnTo>
                      <a:pt x="129" y="274"/>
                    </a:lnTo>
                    <a:lnTo>
                      <a:pt x="128" y="274"/>
                    </a:lnTo>
                    <a:lnTo>
                      <a:pt x="128" y="272"/>
                    </a:lnTo>
                    <a:lnTo>
                      <a:pt x="129" y="272"/>
                    </a:lnTo>
                    <a:lnTo>
                      <a:pt x="128" y="270"/>
                    </a:lnTo>
                    <a:lnTo>
                      <a:pt x="129" y="270"/>
                    </a:lnTo>
                    <a:lnTo>
                      <a:pt x="129" y="269"/>
                    </a:lnTo>
                    <a:lnTo>
                      <a:pt x="129" y="267"/>
                    </a:lnTo>
                    <a:lnTo>
                      <a:pt x="129" y="265"/>
                    </a:lnTo>
                    <a:lnTo>
                      <a:pt x="129" y="264"/>
                    </a:lnTo>
                    <a:lnTo>
                      <a:pt x="131" y="264"/>
                    </a:lnTo>
                    <a:lnTo>
                      <a:pt x="131" y="262"/>
                    </a:lnTo>
                    <a:lnTo>
                      <a:pt x="131" y="260"/>
                    </a:lnTo>
                    <a:lnTo>
                      <a:pt x="131" y="258"/>
                    </a:lnTo>
                    <a:lnTo>
                      <a:pt x="131" y="257"/>
                    </a:lnTo>
                    <a:lnTo>
                      <a:pt x="131" y="255"/>
                    </a:lnTo>
                    <a:lnTo>
                      <a:pt x="133" y="255"/>
                    </a:lnTo>
                    <a:lnTo>
                      <a:pt x="131" y="253"/>
                    </a:lnTo>
                    <a:lnTo>
                      <a:pt x="133" y="253"/>
                    </a:lnTo>
                    <a:lnTo>
                      <a:pt x="133" y="252"/>
                    </a:lnTo>
                    <a:lnTo>
                      <a:pt x="133" y="250"/>
                    </a:lnTo>
                    <a:lnTo>
                      <a:pt x="133" y="248"/>
                    </a:lnTo>
                    <a:lnTo>
                      <a:pt x="134" y="248"/>
                    </a:lnTo>
                    <a:lnTo>
                      <a:pt x="133" y="248"/>
                    </a:lnTo>
                    <a:lnTo>
                      <a:pt x="133" y="247"/>
                    </a:lnTo>
                    <a:lnTo>
                      <a:pt x="134" y="247"/>
                    </a:lnTo>
                    <a:lnTo>
                      <a:pt x="136" y="247"/>
                    </a:lnTo>
                    <a:lnTo>
                      <a:pt x="134" y="245"/>
                    </a:lnTo>
                    <a:lnTo>
                      <a:pt x="136" y="245"/>
                    </a:lnTo>
                    <a:lnTo>
                      <a:pt x="138" y="245"/>
                    </a:lnTo>
                    <a:lnTo>
                      <a:pt x="138" y="243"/>
                    </a:lnTo>
                    <a:lnTo>
                      <a:pt x="138" y="241"/>
                    </a:lnTo>
                    <a:lnTo>
                      <a:pt x="139" y="241"/>
                    </a:lnTo>
                    <a:lnTo>
                      <a:pt x="139" y="240"/>
                    </a:lnTo>
                    <a:lnTo>
                      <a:pt x="139" y="238"/>
                    </a:lnTo>
                    <a:lnTo>
                      <a:pt x="141" y="240"/>
                    </a:lnTo>
                    <a:lnTo>
                      <a:pt x="143" y="240"/>
                    </a:lnTo>
                    <a:lnTo>
                      <a:pt x="143" y="238"/>
                    </a:lnTo>
                    <a:lnTo>
                      <a:pt x="145" y="236"/>
                    </a:lnTo>
                    <a:lnTo>
                      <a:pt x="145" y="235"/>
                    </a:lnTo>
                    <a:lnTo>
                      <a:pt x="146" y="233"/>
                    </a:lnTo>
                    <a:lnTo>
                      <a:pt x="146" y="231"/>
                    </a:lnTo>
                    <a:lnTo>
                      <a:pt x="148" y="230"/>
                    </a:lnTo>
                    <a:lnTo>
                      <a:pt x="150" y="231"/>
                    </a:lnTo>
                    <a:lnTo>
                      <a:pt x="150" y="230"/>
                    </a:lnTo>
                    <a:lnTo>
                      <a:pt x="150" y="228"/>
                    </a:lnTo>
                    <a:lnTo>
                      <a:pt x="151" y="228"/>
                    </a:lnTo>
                    <a:lnTo>
                      <a:pt x="151" y="226"/>
                    </a:lnTo>
                    <a:lnTo>
                      <a:pt x="151" y="224"/>
                    </a:lnTo>
                    <a:lnTo>
                      <a:pt x="151" y="223"/>
                    </a:lnTo>
                    <a:lnTo>
                      <a:pt x="151" y="221"/>
                    </a:lnTo>
                    <a:lnTo>
                      <a:pt x="153" y="221"/>
                    </a:lnTo>
                    <a:lnTo>
                      <a:pt x="153" y="219"/>
                    </a:lnTo>
                    <a:lnTo>
                      <a:pt x="153" y="218"/>
                    </a:lnTo>
                    <a:lnTo>
                      <a:pt x="153" y="216"/>
                    </a:lnTo>
                    <a:lnTo>
                      <a:pt x="155" y="216"/>
                    </a:lnTo>
                    <a:lnTo>
                      <a:pt x="156" y="214"/>
                    </a:lnTo>
                    <a:lnTo>
                      <a:pt x="155" y="214"/>
                    </a:lnTo>
                    <a:lnTo>
                      <a:pt x="156" y="214"/>
                    </a:lnTo>
                    <a:lnTo>
                      <a:pt x="156" y="213"/>
                    </a:lnTo>
                    <a:lnTo>
                      <a:pt x="156" y="211"/>
                    </a:lnTo>
                    <a:lnTo>
                      <a:pt x="155" y="211"/>
                    </a:lnTo>
                    <a:lnTo>
                      <a:pt x="156" y="211"/>
                    </a:lnTo>
                    <a:lnTo>
                      <a:pt x="156" y="209"/>
                    </a:lnTo>
                    <a:lnTo>
                      <a:pt x="156" y="211"/>
                    </a:lnTo>
                    <a:lnTo>
                      <a:pt x="158" y="209"/>
                    </a:lnTo>
                    <a:lnTo>
                      <a:pt x="156" y="209"/>
                    </a:lnTo>
                    <a:lnTo>
                      <a:pt x="158" y="209"/>
                    </a:lnTo>
                    <a:lnTo>
                      <a:pt x="158" y="207"/>
                    </a:lnTo>
                    <a:lnTo>
                      <a:pt x="158" y="206"/>
                    </a:lnTo>
                    <a:lnTo>
                      <a:pt x="160" y="206"/>
                    </a:lnTo>
                    <a:lnTo>
                      <a:pt x="160" y="204"/>
                    </a:lnTo>
                    <a:lnTo>
                      <a:pt x="162" y="204"/>
                    </a:lnTo>
                    <a:lnTo>
                      <a:pt x="160" y="204"/>
                    </a:lnTo>
                    <a:lnTo>
                      <a:pt x="160" y="202"/>
                    </a:lnTo>
                    <a:lnTo>
                      <a:pt x="160" y="201"/>
                    </a:lnTo>
                    <a:lnTo>
                      <a:pt x="160" y="199"/>
                    </a:lnTo>
                    <a:lnTo>
                      <a:pt x="162" y="199"/>
                    </a:lnTo>
                    <a:lnTo>
                      <a:pt x="162" y="197"/>
                    </a:lnTo>
                    <a:lnTo>
                      <a:pt x="163" y="197"/>
                    </a:lnTo>
                    <a:lnTo>
                      <a:pt x="165" y="197"/>
                    </a:lnTo>
                    <a:lnTo>
                      <a:pt x="167" y="197"/>
                    </a:lnTo>
                    <a:lnTo>
                      <a:pt x="167" y="199"/>
                    </a:lnTo>
                    <a:lnTo>
                      <a:pt x="168" y="201"/>
                    </a:lnTo>
                    <a:lnTo>
                      <a:pt x="168" y="199"/>
                    </a:lnTo>
                    <a:lnTo>
                      <a:pt x="170" y="201"/>
                    </a:lnTo>
                    <a:lnTo>
                      <a:pt x="170" y="199"/>
                    </a:lnTo>
                    <a:lnTo>
                      <a:pt x="170" y="197"/>
                    </a:lnTo>
                    <a:lnTo>
                      <a:pt x="172" y="199"/>
                    </a:lnTo>
                    <a:lnTo>
                      <a:pt x="173" y="197"/>
                    </a:lnTo>
                    <a:lnTo>
                      <a:pt x="172" y="196"/>
                    </a:lnTo>
                    <a:lnTo>
                      <a:pt x="173" y="197"/>
                    </a:lnTo>
                    <a:lnTo>
                      <a:pt x="173" y="196"/>
                    </a:lnTo>
                    <a:lnTo>
                      <a:pt x="175" y="196"/>
                    </a:lnTo>
                    <a:lnTo>
                      <a:pt x="177" y="196"/>
                    </a:lnTo>
                    <a:lnTo>
                      <a:pt x="179" y="196"/>
                    </a:lnTo>
                    <a:lnTo>
                      <a:pt x="179" y="194"/>
                    </a:lnTo>
                    <a:lnTo>
                      <a:pt x="179" y="192"/>
                    </a:lnTo>
                    <a:lnTo>
                      <a:pt x="179" y="190"/>
                    </a:lnTo>
                    <a:lnTo>
                      <a:pt x="180" y="190"/>
                    </a:lnTo>
                    <a:lnTo>
                      <a:pt x="179" y="190"/>
                    </a:lnTo>
                    <a:lnTo>
                      <a:pt x="179" y="189"/>
                    </a:lnTo>
                    <a:lnTo>
                      <a:pt x="177" y="187"/>
                    </a:lnTo>
                    <a:lnTo>
                      <a:pt x="177" y="185"/>
                    </a:lnTo>
                    <a:lnTo>
                      <a:pt x="175" y="185"/>
                    </a:lnTo>
                    <a:lnTo>
                      <a:pt x="173" y="182"/>
                    </a:lnTo>
                    <a:lnTo>
                      <a:pt x="173" y="180"/>
                    </a:lnTo>
                    <a:lnTo>
                      <a:pt x="172" y="180"/>
                    </a:lnTo>
                    <a:lnTo>
                      <a:pt x="172" y="178"/>
                    </a:lnTo>
                    <a:lnTo>
                      <a:pt x="170" y="177"/>
                    </a:lnTo>
                    <a:lnTo>
                      <a:pt x="170" y="175"/>
                    </a:lnTo>
                    <a:lnTo>
                      <a:pt x="168" y="173"/>
                    </a:lnTo>
                    <a:lnTo>
                      <a:pt x="168" y="172"/>
                    </a:lnTo>
                    <a:lnTo>
                      <a:pt x="170" y="170"/>
                    </a:lnTo>
                    <a:lnTo>
                      <a:pt x="170" y="167"/>
                    </a:lnTo>
                    <a:lnTo>
                      <a:pt x="172" y="165"/>
                    </a:lnTo>
                    <a:lnTo>
                      <a:pt x="173" y="163"/>
                    </a:lnTo>
                    <a:lnTo>
                      <a:pt x="175" y="163"/>
                    </a:lnTo>
                    <a:lnTo>
                      <a:pt x="175" y="160"/>
                    </a:lnTo>
                    <a:lnTo>
                      <a:pt x="175" y="156"/>
                    </a:lnTo>
                    <a:lnTo>
                      <a:pt x="175" y="155"/>
                    </a:lnTo>
                    <a:lnTo>
                      <a:pt x="173" y="151"/>
                    </a:lnTo>
                    <a:lnTo>
                      <a:pt x="173" y="146"/>
                    </a:lnTo>
                    <a:lnTo>
                      <a:pt x="172" y="144"/>
                    </a:lnTo>
                    <a:lnTo>
                      <a:pt x="172" y="143"/>
                    </a:lnTo>
                    <a:lnTo>
                      <a:pt x="170" y="143"/>
                    </a:lnTo>
                    <a:lnTo>
                      <a:pt x="170" y="141"/>
                    </a:lnTo>
                    <a:lnTo>
                      <a:pt x="172" y="139"/>
                    </a:lnTo>
                    <a:lnTo>
                      <a:pt x="170" y="139"/>
                    </a:lnTo>
                    <a:lnTo>
                      <a:pt x="170" y="138"/>
                    </a:lnTo>
                    <a:lnTo>
                      <a:pt x="170" y="136"/>
                    </a:lnTo>
                    <a:lnTo>
                      <a:pt x="168" y="134"/>
                    </a:lnTo>
                    <a:lnTo>
                      <a:pt x="170" y="134"/>
                    </a:lnTo>
                    <a:lnTo>
                      <a:pt x="170" y="133"/>
                    </a:lnTo>
                    <a:lnTo>
                      <a:pt x="172" y="133"/>
                    </a:lnTo>
                    <a:lnTo>
                      <a:pt x="172" y="131"/>
                    </a:lnTo>
                    <a:lnTo>
                      <a:pt x="170" y="131"/>
                    </a:lnTo>
                    <a:lnTo>
                      <a:pt x="170" y="129"/>
                    </a:lnTo>
                    <a:lnTo>
                      <a:pt x="170" y="127"/>
                    </a:lnTo>
                    <a:lnTo>
                      <a:pt x="172" y="127"/>
                    </a:lnTo>
                    <a:lnTo>
                      <a:pt x="172" y="126"/>
                    </a:lnTo>
                    <a:lnTo>
                      <a:pt x="172" y="124"/>
                    </a:lnTo>
                    <a:lnTo>
                      <a:pt x="173" y="122"/>
                    </a:lnTo>
                    <a:lnTo>
                      <a:pt x="175" y="122"/>
                    </a:lnTo>
                    <a:lnTo>
                      <a:pt x="175" y="124"/>
                    </a:lnTo>
                    <a:lnTo>
                      <a:pt x="175" y="122"/>
                    </a:lnTo>
                    <a:lnTo>
                      <a:pt x="177" y="122"/>
                    </a:lnTo>
                    <a:lnTo>
                      <a:pt x="177" y="121"/>
                    </a:lnTo>
                    <a:lnTo>
                      <a:pt x="177" y="119"/>
                    </a:lnTo>
                    <a:lnTo>
                      <a:pt x="175" y="119"/>
                    </a:lnTo>
                    <a:lnTo>
                      <a:pt x="175" y="117"/>
                    </a:lnTo>
                    <a:lnTo>
                      <a:pt x="173" y="117"/>
                    </a:lnTo>
                    <a:lnTo>
                      <a:pt x="173" y="116"/>
                    </a:lnTo>
                    <a:lnTo>
                      <a:pt x="173" y="114"/>
                    </a:lnTo>
                    <a:lnTo>
                      <a:pt x="172" y="114"/>
                    </a:lnTo>
                    <a:lnTo>
                      <a:pt x="170" y="112"/>
                    </a:lnTo>
                    <a:lnTo>
                      <a:pt x="170" y="110"/>
                    </a:lnTo>
                    <a:lnTo>
                      <a:pt x="170" y="109"/>
                    </a:lnTo>
                    <a:lnTo>
                      <a:pt x="170" y="107"/>
                    </a:lnTo>
                    <a:lnTo>
                      <a:pt x="172" y="107"/>
                    </a:lnTo>
                    <a:lnTo>
                      <a:pt x="172" y="105"/>
                    </a:lnTo>
                    <a:lnTo>
                      <a:pt x="172" y="104"/>
                    </a:lnTo>
                    <a:lnTo>
                      <a:pt x="173" y="104"/>
                    </a:lnTo>
                    <a:lnTo>
                      <a:pt x="173" y="102"/>
                    </a:lnTo>
                    <a:lnTo>
                      <a:pt x="175" y="102"/>
                    </a:lnTo>
                    <a:lnTo>
                      <a:pt x="175" y="100"/>
                    </a:lnTo>
                    <a:lnTo>
                      <a:pt x="175" y="99"/>
                    </a:lnTo>
                    <a:lnTo>
                      <a:pt x="177" y="99"/>
                    </a:lnTo>
                    <a:lnTo>
                      <a:pt x="177" y="100"/>
                    </a:lnTo>
                    <a:lnTo>
                      <a:pt x="179" y="99"/>
                    </a:lnTo>
                    <a:lnTo>
                      <a:pt x="179" y="97"/>
                    </a:lnTo>
                    <a:lnTo>
                      <a:pt x="180" y="97"/>
                    </a:lnTo>
                    <a:lnTo>
                      <a:pt x="180" y="95"/>
                    </a:lnTo>
                    <a:lnTo>
                      <a:pt x="187" y="93"/>
                    </a:lnTo>
                    <a:lnTo>
                      <a:pt x="189" y="92"/>
                    </a:lnTo>
                    <a:lnTo>
                      <a:pt x="190" y="92"/>
                    </a:lnTo>
                    <a:lnTo>
                      <a:pt x="199" y="88"/>
                    </a:lnTo>
                    <a:lnTo>
                      <a:pt x="206" y="85"/>
                    </a:lnTo>
                    <a:lnTo>
                      <a:pt x="211" y="83"/>
                    </a:lnTo>
                    <a:lnTo>
                      <a:pt x="214" y="73"/>
                    </a:lnTo>
                    <a:lnTo>
                      <a:pt x="214" y="71"/>
                    </a:lnTo>
                    <a:lnTo>
                      <a:pt x="218" y="61"/>
                    </a:lnTo>
                    <a:lnTo>
                      <a:pt x="219" y="54"/>
                    </a:lnTo>
                    <a:lnTo>
                      <a:pt x="219" y="53"/>
                    </a:lnTo>
                    <a:lnTo>
                      <a:pt x="223" y="44"/>
                    </a:lnTo>
                    <a:lnTo>
                      <a:pt x="219" y="41"/>
                    </a:lnTo>
                    <a:lnTo>
                      <a:pt x="216" y="37"/>
                    </a:lnTo>
                    <a:lnTo>
                      <a:pt x="218" y="34"/>
                    </a:lnTo>
                    <a:lnTo>
                      <a:pt x="223" y="32"/>
                    </a:lnTo>
                    <a:lnTo>
                      <a:pt x="223" y="31"/>
                    </a:lnTo>
                    <a:lnTo>
                      <a:pt x="221" y="31"/>
                    </a:lnTo>
                    <a:lnTo>
                      <a:pt x="221" y="29"/>
                    </a:lnTo>
                    <a:lnTo>
                      <a:pt x="221" y="27"/>
                    </a:lnTo>
                    <a:lnTo>
                      <a:pt x="223" y="27"/>
                    </a:lnTo>
                    <a:lnTo>
                      <a:pt x="224" y="25"/>
                    </a:lnTo>
                    <a:lnTo>
                      <a:pt x="226" y="25"/>
                    </a:lnTo>
                    <a:lnTo>
                      <a:pt x="230" y="24"/>
                    </a:lnTo>
                    <a:lnTo>
                      <a:pt x="230" y="22"/>
                    </a:lnTo>
                    <a:lnTo>
                      <a:pt x="230" y="20"/>
                    </a:lnTo>
                    <a:lnTo>
                      <a:pt x="231" y="20"/>
                    </a:lnTo>
                    <a:lnTo>
                      <a:pt x="231" y="19"/>
                    </a:lnTo>
                    <a:lnTo>
                      <a:pt x="231" y="17"/>
                    </a:lnTo>
                    <a:lnTo>
                      <a:pt x="233" y="15"/>
                    </a:lnTo>
                    <a:lnTo>
                      <a:pt x="235" y="15"/>
                    </a:lnTo>
                    <a:lnTo>
                      <a:pt x="241" y="13"/>
                    </a:lnTo>
                    <a:lnTo>
                      <a:pt x="245" y="12"/>
                    </a:lnTo>
                    <a:lnTo>
                      <a:pt x="247" y="12"/>
                    </a:lnTo>
                    <a:lnTo>
                      <a:pt x="247" y="10"/>
                    </a:lnTo>
                    <a:lnTo>
                      <a:pt x="247" y="8"/>
                    </a:lnTo>
                    <a:lnTo>
                      <a:pt x="247" y="7"/>
                    </a:lnTo>
                    <a:lnTo>
                      <a:pt x="247" y="5"/>
                    </a:lnTo>
                    <a:lnTo>
                      <a:pt x="248" y="5"/>
                    </a:lnTo>
                    <a:lnTo>
                      <a:pt x="247" y="5"/>
                    </a:lnTo>
                    <a:lnTo>
                      <a:pt x="248" y="5"/>
                    </a:lnTo>
                    <a:lnTo>
                      <a:pt x="248" y="3"/>
                    </a:lnTo>
                    <a:lnTo>
                      <a:pt x="248" y="2"/>
                    </a:lnTo>
                    <a:lnTo>
                      <a:pt x="248" y="0"/>
                    </a:lnTo>
                    <a:lnTo>
                      <a:pt x="250" y="0"/>
                    </a:lnTo>
                    <a:lnTo>
                      <a:pt x="252" y="2"/>
                    </a:lnTo>
                    <a:lnTo>
                      <a:pt x="253" y="2"/>
                    </a:lnTo>
                    <a:lnTo>
                      <a:pt x="255" y="3"/>
                    </a:lnTo>
                    <a:lnTo>
                      <a:pt x="255" y="5"/>
                    </a:lnTo>
                    <a:lnTo>
                      <a:pt x="257" y="5"/>
                    </a:lnTo>
                    <a:lnTo>
                      <a:pt x="258" y="5"/>
                    </a:lnTo>
                    <a:lnTo>
                      <a:pt x="260" y="8"/>
                    </a:lnTo>
                    <a:lnTo>
                      <a:pt x="262" y="10"/>
                    </a:lnTo>
                    <a:lnTo>
                      <a:pt x="264" y="10"/>
                    </a:lnTo>
                    <a:lnTo>
                      <a:pt x="264" y="12"/>
                    </a:lnTo>
                    <a:lnTo>
                      <a:pt x="265" y="12"/>
                    </a:lnTo>
                    <a:lnTo>
                      <a:pt x="267" y="12"/>
                    </a:lnTo>
                    <a:lnTo>
                      <a:pt x="269" y="12"/>
                    </a:lnTo>
                    <a:lnTo>
                      <a:pt x="270" y="12"/>
                    </a:lnTo>
                    <a:lnTo>
                      <a:pt x="270" y="10"/>
                    </a:lnTo>
                    <a:lnTo>
                      <a:pt x="274" y="12"/>
                    </a:lnTo>
                    <a:lnTo>
                      <a:pt x="275" y="12"/>
                    </a:lnTo>
                    <a:lnTo>
                      <a:pt x="277" y="12"/>
                    </a:lnTo>
                    <a:lnTo>
                      <a:pt x="281" y="12"/>
                    </a:lnTo>
                    <a:lnTo>
                      <a:pt x="281" y="10"/>
                    </a:lnTo>
                    <a:lnTo>
                      <a:pt x="281" y="12"/>
                    </a:lnTo>
                    <a:lnTo>
                      <a:pt x="284" y="10"/>
                    </a:lnTo>
                    <a:lnTo>
                      <a:pt x="287" y="10"/>
                    </a:lnTo>
                    <a:lnTo>
                      <a:pt x="289" y="10"/>
                    </a:lnTo>
                    <a:lnTo>
                      <a:pt x="291" y="10"/>
                    </a:lnTo>
                    <a:lnTo>
                      <a:pt x="291" y="12"/>
                    </a:lnTo>
                    <a:lnTo>
                      <a:pt x="292" y="12"/>
                    </a:lnTo>
                    <a:lnTo>
                      <a:pt x="294" y="12"/>
                    </a:lnTo>
                    <a:lnTo>
                      <a:pt x="296" y="13"/>
                    </a:lnTo>
                    <a:lnTo>
                      <a:pt x="298" y="13"/>
                    </a:lnTo>
                    <a:lnTo>
                      <a:pt x="299" y="15"/>
                    </a:lnTo>
                    <a:lnTo>
                      <a:pt x="301" y="15"/>
                    </a:lnTo>
                    <a:lnTo>
                      <a:pt x="303" y="15"/>
                    </a:lnTo>
                    <a:lnTo>
                      <a:pt x="304" y="17"/>
                    </a:lnTo>
                    <a:lnTo>
                      <a:pt x="306" y="17"/>
                    </a:lnTo>
                    <a:lnTo>
                      <a:pt x="306" y="19"/>
                    </a:lnTo>
                    <a:lnTo>
                      <a:pt x="304" y="20"/>
                    </a:lnTo>
                    <a:lnTo>
                      <a:pt x="304" y="22"/>
                    </a:lnTo>
                    <a:lnTo>
                      <a:pt x="306" y="22"/>
                    </a:lnTo>
                    <a:lnTo>
                      <a:pt x="306" y="24"/>
                    </a:lnTo>
                    <a:lnTo>
                      <a:pt x="308" y="24"/>
                    </a:lnTo>
                    <a:lnTo>
                      <a:pt x="308" y="25"/>
                    </a:lnTo>
                    <a:lnTo>
                      <a:pt x="309" y="25"/>
                    </a:lnTo>
                    <a:lnTo>
                      <a:pt x="308" y="27"/>
                    </a:lnTo>
                    <a:lnTo>
                      <a:pt x="309" y="27"/>
                    </a:lnTo>
                    <a:lnTo>
                      <a:pt x="309" y="29"/>
                    </a:lnTo>
                    <a:lnTo>
                      <a:pt x="309" y="31"/>
                    </a:lnTo>
                    <a:lnTo>
                      <a:pt x="309" y="32"/>
                    </a:lnTo>
                    <a:lnTo>
                      <a:pt x="311" y="32"/>
                    </a:lnTo>
                    <a:lnTo>
                      <a:pt x="311" y="34"/>
                    </a:lnTo>
                    <a:lnTo>
                      <a:pt x="309" y="34"/>
                    </a:lnTo>
                    <a:lnTo>
                      <a:pt x="311" y="34"/>
                    </a:lnTo>
                    <a:lnTo>
                      <a:pt x="313" y="36"/>
                    </a:lnTo>
                    <a:lnTo>
                      <a:pt x="313" y="37"/>
                    </a:lnTo>
                    <a:lnTo>
                      <a:pt x="311" y="37"/>
                    </a:lnTo>
                    <a:lnTo>
                      <a:pt x="313" y="37"/>
                    </a:lnTo>
                    <a:lnTo>
                      <a:pt x="313" y="39"/>
                    </a:lnTo>
                    <a:lnTo>
                      <a:pt x="313" y="41"/>
                    </a:lnTo>
                    <a:lnTo>
                      <a:pt x="313" y="39"/>
                    </a:lnTo>
                    <a:lnTo>
                      <a:pt x="315" y="39"/>
                    </a:lnTo>
                    <a:lnTo>
                      <a:pt x="313" y="39"/>
                    </a:lnTo>
                    <a:lnTo>
                      <a:pt x="315" y="37"/>
                    </a:lnTo>
                    <a:lnTo>
                      <a:pt x="315" y="36"/>
                    </a:lnTo>
                    <a:lnTo>
                      <a:pt x="315" y="34"/>
                    </a:lnTo>
                    <a:lnTo>
                      <a:pt x="315" y="32"/>
                    </a:lnTo>
                    <a:lnTo>
                      <a:pt x="315" y="31"/>
                    </a:lnTo>
                    <a:lnTo>
                      <a:pt x="316" y="31"/>
                    </a:lnTo>
                    <a:lnTo>
                      <a:pt x="316" y="29"/>
                    </a:lnTo>
                    <a:lnTo>
                      <a:pt x="315" y="29"/>
                    </a:lnTo>
                    <a:lnTo>
                      <a:pt x="316" y="29"/>
                    </a:lnTo>
                    <a:lnTo>
                      <a:pt x="316" y="27"/>
                    </a:lnTo>
                    <a:lnTo>
                      <a:pt x="316" y="25"/>
                    </a:lnTo>
                    <a:lnTo>
                      <a:pt x="318" y="25"/>
                    </a:lnTo>
                    <a:lnTo>
                      <a:pt x="318" y="24"/>
                    </a:lnTo>
                    <a:lnTo>
                      <a:pt x="320" y="24"/>
                    </a:lnTo>
                    <a:lnTo>
                      <a:pt x="320" y="22"/>
                    </a:lnTo>
                    <a:lnTo>
                      <a:pt x="320" y="20"/>
                    </a:lnTo>
                    <a:lnTo>
                      <a:pt x="321" y="19"/>
                    </a:lnTo>
                    <a:lnTo>
                      <a:pt x="321" y="17"/>
                    </a:lnTo>
                    <a:lnTo>
                      <a:pt x="323" y="17"/>
                    </a:lnTo>
                    <a:lnTo>
                      <a:pt x="323" y="15"/>
                    </a:lnTo>
                    <a:lnTo>
                      <a:pt x="323" y="13"/>
                    </a:lnTo>
                    <a:lnTo>
                      <a:pt x="325" y="12"/>
                    </a:lnTo>
                    <a:lnTo>
                      <a:pt x="323" y="12"/>
                    </a:lnTo>
                    <a:lnTo>
                      <a:pt x="325" y="12"/>
                    </a:lnTo>
                    <a:lnTo>
                      <a:pt x="325" y="10"/>
                    </a:lnTo>
                    <a:lnTo>
                      <a:pt x="325" y="8"/>
                    </a:lnTo>
                    <a:lnTo>
                      <a:pt x="326" y="8"/>
                    </a:lnTo>
                    <a:lnTo>
                      <a:pt x="332" y="8"/>
                    </a:lnTo>
                    <a:lnTo>
                      <a:pt x="333" y="8"/>
                    </a:lnTo>
                    <a:lnTo>
                      <a:pt x="335" y="8"/>
                    </a:lnTo>
                    <a:lnTo>
                      <a:pt x="335" y="10"/>
                    </a:lnTo>
                    <a:lnTo>
                      <a:pt x="335" y="8"/>
                    </a:lnTo>
                    <a:lnTo>
                      <a:pt x="354" y="8"/>
                    </a:lnTo>
                    <a:lnTo>
                      <a:pt x="364" y="8"/>
                    </a:lnTo>
                    <a:lnTo>
                      <a:pt x="364" y="10"/>
                    </a:lnTo>
                    <a:lnTo>
                      <a:pt x="364" y="12"/>
                    </a:lnTo>
                    <a:lnTo>
                      <a:pt x="364" y="13"/>
                    </a:lnTo>
                    <a:lnTo>
                      <a:pt x="366" y="13"/>
                    </a:lnTo>
                    <a:lnTo>
                      <a:pt x="367" y="13"/>
                    </a:lnTo>
                    <a:lnTo>
                      <a:pt x="367" y="15"/>
                    </a:lnTo>
                    <a:lnTo>
                      <a:pt x="369" y="15"/>
                    </a:lnTo>
                    <a:lnTo>
                      <a:pt x="369" y="17"/>
                    </a:lnTo>
                    <a:close/>
                    <a:moveTo>
                      <a:pt x="167" y="1473"/>
                    </a:moveTo>
                    <a:lnTo>
                      <a:pt x="167" y="1468"/>
                    </a:lnTo>
                    <a:lnTo>
                      <a:pt x="167" y="1456"/>
                    </a:lnTo>
                    <a:lnTo>
                      <a:pt x="167" y="1454"/>
                    </a:lnTo>
                    <a:lnTo>
                      <a:pt x="167" y="1453"/>
                    </a:lnTo>
                    <a:lnTo>
                      <a:pt x="167" y="1451"/>
                    </a:lnTo>
                    <a:lnTo>
                      <a:pt x="167" y="1444"/>
                    </a:lnTo>
                    <a:lnTo>
                      <a:pt x="167" y="1442"/>
                    </a:lnTo>
                    <a:lnTo>
                      <a:pt x="167" y="1429"/>
                    </a:lnTo>
                    <a:lnTo>
                      <a:pt x="167" y="1417"/>
                    </a:lnTo>
                    <a:lnTo>
                      <a:pt x="167" y="1410"/>
                    </a:lnTo>
                    <a:lnTo>
                      <a:pt x="168" y="1398"/>
                    </a:lnTo>
                    <a:lnTo>
                      <a:pt x="168" y="1386"/>
                    </a:lnTo>
                    <a:lnTo>
                      <a:pt x="168" y="1383"/>
                    </a:lnTo>
                    <a:lnTo>
                      <a:pt x="168" y="1378"/>
                    </a:lnTo>
                    <a:lnTo>
                      <a:pt x="168" y="1364"/>
                    </a:lnTo>
                    <a:lnTo>
                      <a:pt x="168" y="1347"/>
                    </a:lnTo>
                    <a:lnTo>
                      <a:pt x="168" y="1345"/>
                    </a:lnTo>
                    <a:lnTo>
                      <a:pt x="168" y="1347"/>
                    </a:lnTo>
                    <a:lnTo>
                      <a:pt x="170" y="1349"/>
                    </a:lnTo>
                    <a:lnTo>
                      <a:pt x="173" y="1352"/>
                    </a:lnTo>
                    <a:lnTo>
                      <a:pt x="175" y="1356"/>
                    </a:lnTo>
                    <a:lnTo>
                      <a:pt x="177" y="1359"/>
                    </a:lnTo>
                    <a:lnTo>
                      <a:pt x="179" y="1361"/>
                    </a:lnTo>
                    <a:lnTo>
                      <a:pt x="180" y="1362"/>
                    </a:lnTo>
                    <a:lnTo>
                      <a:pt x="180" y="1366"/>
                    </a:lnTo>
                    <a:lnTo>
                      <a:pt x="180" y="1368"/>
                    </a:lnTo>
                    <a:lnTo>
                      <a:pt x="182" y="1371"/>
                    </a:lnTo>
                    <a:lnTo>
                      <a:pt x="182" y="1373"/>
                    </a:lnTo>
                    <a:lnTo>
                      <a:pt x="182" y="1371"/>
                    </a:lnTo>
                    <a:lnTo>
                      <a:pt x="180" y="1369"/>
                    </a:lnTo>
                    <a:lnTo>
                      <a:pt x="180" y="1368"/>
                    </a:lnTo>
                    <a:lnTo>
                      <a:pt x="180" y="1366"/>
                    </a:lnTo>
                    <a:lnTo>
                      <a:pt x="179" y="1364"/>
                    </a:lnTo>
                    <a:lnTo>
                      <a:pt x="179" y="1366"/>
                    </a:lnTo>
                    <a:lnTo>
                      <a:pt x="177" y="1366"/>
                    </a:lnTo>
                    <a:lnTo>
                      <a:pt x="175" y="1366"/>
                    </a:lnTo>
                    <a:lnTo>
                      <a:pt x="175" y="1368"/>
                    </a:lnTo>
                    <a:lnTo>
                      <a:pt x="173" y="1369"/>
                    </a:lnTo>
                    <a:lnTo>
                      <a:pt x="172" y="1371"/>
                    </a:lnTo>
                    <a:lnTo>
                      <a:pt x="172" y="1373"/>
                    </a:lnTo>
                    <a:lnTo>
                      <a:pt x="170" y="1373"/>
                    </a:lnTo>
                    <a:lnTo>
                      <a:pt x="170" y="1374"/>
                    </a:lnTo>
                    <a:lnTo>
                      <a:pt x="170" y="1376"/>
                    </a:lnTo>
                    <a:lnTo>
                      <a:pt x="170" y="1378"/>
                    </a:lnTo>
                    <a:lnTo>
                      <a:pt x="172" y="1379"/>
                    </a:lnTo>
                    <a:lnTo>
                      <a:pt x="173" y="1381"/>
                    </a:lnTo>
                    <a:lnTo>
                      <a:pt x="175" y="1381"/>
                    </a:lnTo>
                    <a:lnTo>
                      <a:pt x="177" y="1381"/>
                    </a:lnTo>
                    <a:lnTo>
                      <a:pt x="177" y="1383"/>
                    </a:lnTo>
                    <a:lnTo>
                      <a:pt x="179" y="1383"/>
                    </a:lnTo>
                    <a:lnTo>
                      <a:pt x="180" y="1381"/>
                    </a:lnTo>
                    <a:lnTo>
                      <a:pt x="182" y="1381"/>
                    </a:lnTo>
                    <a:lnTo>
                      <a:pt x="182" y="1383"/>
                    </a:lnTo>
                    <a:lnTo>
                      <a:pt x="184" y="1383"/>
                    </a:lnTo>
                    <a:lnTo>
                      <a:pt x="185" y="1385"/>
                    </a:lnTo>
                    <a:lnTo>
                      <a:pt x="185" y="1386"/>
                    </a:lnTo>
                    <a:lnTo>
                      <a:pt x="185" y="1388"/>
                    </a:lnTo>
                    <a:lnTo>
                      <a:pt x="187" y="1390"/>
                    </a:lnTo>
                    <a:lnTo>
                      <a:pt x="187" y="1391"/>
                    </a:lnTo>
                    <a:lnTo>
                      <a:pt x="187" y="1393"/>
                    </a:lnTo>
                    <a:lnTo>
                      <a:pt x="189" y="1395"/>
                    </a:lnTo>
                    <a:lnTo>
                      <a:pt x="189" y="1396"/>
                    </a:lnTo>
                    <a:lnTo>
                      <a:pt x="189" y="1398"/>
                    </a:lnTo>
                    <a:lnTo>
                      <a:pt x="190" y="1398"/>
                    </a:lnTo>
                    <a:lnTo>
                      <a:pt x="190" y="1400"/>
                    </a:lnTo>
                    <a:lnTo>
                      <a:pt x="192" y="1402"/>
                    </a:lnTo>
                    <a:lnTo>
                      <a:pt x="194" y="1403"/>
                    </a:lnTo>
                    <a:lnTo>
                      <a:pt x="194" y="1405"/>
                    </a:lnTo>
                    <a:lnTo>
                      <a:pt x="196" y="1405"/>
                    </a:lnTo>
                    <a:lnTo>
                      <a:pt x="197" y="1407"/>
                    </a:lnTo>
                    <a:lnTo>
                      <a:pt x="199" y="1408"/>
                    </a:lnTo>
                    <a:lnTo>
                      <a:pt x="201" y="1410"/>
                    </a:lnTo>
                    <a:lnTo>
                      <a:pt x="202" y="1412"/>
                    </a:lnTo>
                    <a:lnTo>
                      <a:pt x="204" y="1412"/>
                    </a:lnTo>
                    <a:lnTo>
                      <a:pt x="202" y="1413"/>
                    </a:lnTo>
                    <a:lnTo>
                      <a:pt x="204" y="1415"/>
                    </a:lnTo>
                    <a:lnTo>
                      <a:pt x="204" y="1417"/>
                    </a:lnTo>
                    <a:lnTo>
                      <a:pt x="206" y="1417"/>
                    </a:lnTo>
                    <a:lnTo>
                      <a:pt x="206" y="1419"/>
                    </a:lnTo>
                    <a:lnTo>
                      <a:pt x="207" y="1419"/>
                    </a:lnTo>
                    <a:lnTo>
                      <a:pt x="207" y="1420"/>
                    </a:lnTo>
                    <a:lnTo>
                      <a:pt x="209" y="1420"/>
                    </a:lnTo>
                    <a:lnTo>
                      <a:pt x="209" y="1422"/>
                    </a:lnTo>
                    <a:lnTo>
                      <a:pt x="211" y="1422"/>
                    </a:lnTo>
                    <a:lnTo>
                      <a:pt x="211" y="1424"/>
                    </a:lnTo>
                    <a:lnTo>
                      <a:pt x="213" y="1424"/>
                    </a:lnTo>
                    <a:lnTo>
                      <a:pt x="213" y="1425"/>
                    </a:lnTo>
                    <a:lnTo>
                      <a:pt x="214" y="1425"/>
                    </a:lnTo>
                    <a:lnTo>
                      <a:pt x="216" y="1427"/>
                    </a:lnTo>
                    <a:lnTo>
                      <a:pt x="218" y="1427"/>
                    </a:lnTo>
                    <a:lnTo>
                      <a:pt x="218" y="1429"/>
                    </a:lnTo>
                    <a:lnTo>
                      <a:pt x="219" y="1429"/>
                    </a:lnTo>
                    <a:lnTo>
                      <a:pt x="221" y="1430"/>
                    </a:lnTo>
                    <a:lnTo>
                      <a:pt x="223" y="1430"/>
                    </a:lnTo>
                    <a:lnTo>
                      <a:pt x="224" y="1432"/>
                    </a:lnTo>
                    <a:lnTo>
                      <a:pt x="226" y="1434"/>
                    </a:lnTo>
                    <a:lnTo>
                      <a:pt x="228" y="1434"/>
                    </a:lnTo>
                    <a:lnTo>
                      <a:pt x="230" y="1436"/>
                    </a:lnTo>
                    <a:lnTo>
                      <a:pt x="231" y="1436"/>
                    </a:lnTo>
                    <a:lnTo>
                      <a:pt x="231" y="1437"/>
                    </a:lnTo>
                    <a:lnTo>
                      <a:pt x="233" y="1437"/>
                    </a:lnTo>
                    <a:lnTo>
                      <a:pt x="233" y="1439"/>
                    </a:lnTo>
                    <a:lnTo>
                      <a:pt x="233" y="1441"/>
                    </a:lnTo>
                    <a:lnTo>
                      <a:pt x="235" y="1441"/>
                    </a:lnTo>
                    <a:lnTo>
                      <a:pt x="235" y="1442"/>
                    </a:lnTo>
                    <a:lnTo>
                      <a:pt x="236" y="1442"/>
                    </a:lnTo>
                    <a:lnTo>
                      <a:pt x="236" y="1444"/>
                    </a:lnTo>
                    <a:lnTo>
                      <a:pt x="238" y="1444"/>
                    </a:lnTo>
                    <a:lnTo>
                      <a:pt x="238" y="1446"/>
                    </a:lnTo>
                    <a:lnTo>
                      <a:pt x="240" y="1447"/>
                    </a:lnTo>
                    <a:lnTo>
                      <a:pt x="240" y="1449"/>
                    </a:lnTo>
                    <a:lnTo>
                      <a:pt x="241" y="1449"/>
                    </a:lnTo>
                    <a:lnTo>
                      <a:pt x="243" y="1449"/>
                    </a:lnTo>
                    <a:lnTo>
                      <a:pt x="245" y="1451"/>
                    </a:lnTo>
                    <a:lnTo>
                      <a:pt x="247" y="1451"/>
                    </a:lnTo>
                    <a:lnTo>
                      <a:pt x="248" y="1453"/>
                    </a:lnTo>
                    <a:lnTo>
                      <a:pt x="250" y="1453"/>
                    </a:lnTo>
                    <a:lnTo>
                      <a:pt x="252" y="1454"/>
                    </a:lnTo>
                    <a:lnTo>
                      <a:pt x="253" y="1454"/>
                    </a:lnTo>
                    <a:lnTo>
                      <a:pt x="255" y="1454"/>
                    </a:lnTo>
                    <a:lnTo>
                      <a:pt x="257" y="1456"/>
                    </a:lnTo>
                    <a:lnTo>
                      <a:pt x="258" y="1456"/>
                    </a:lnTo>
                    <a:lnTo>
                      <a:pt x="260" y="1456"/>
                    </a:lnTo>
                    <a:lnTo>
                      <a:pt x="260" y="1458"/>
                    </a:lnTo>
                    <a:lnTo>
                      <a:pt x="262" y="1458"/>
                    </a:lnTo>
                    <a:lnTo>
                      <a:pt x="264" y="1459"/>
                    </a:lnTo>
                    <a:lnTo>
                      <a:pt x="265" y="1459"/>
                    </a:lnTo>
                    <a:lnTo>
                      <a:pt x="267" y="1459"/>
                    </a:lnTo>
                    <a:lnTo>
                      <a:pt x="269" y="1459"/>
                    </a:lnTo>
                    <a:lnTo>
                      <a:pt x="270" y="1459"/>
                    </a:lnTo>
                    <a:lnTo>
                      <a:pt x="272" y="1459"/>
                    </a:lnTo>
                    <a:lnTo>
                      <a:pt x="274" y="1459"/>
                    </a:lnTo>
                    <a:lnTo>
                      <a:pt x="275" y="1458"/>
                    </a:lnTo>
                    <a:lnTo>
                      <a:pt x="275" y="1459"/>
                    </a:lnTo>
                    <a:lnTo>
                      <a:pt x="275" y="1458"/>
                    </a:lnTo>
                    <a:lnTo>
                      <a:pt x="277" y="1458"/>
                    </a:lnTo>
                    <a:lnTo>
                      <a:pt x="279" y="1458"/>
                    </a:lnTo>
                    <a:lnTo>
                      <a:pt x="281" y="1458"/>
                    </a:lnTo>
                    <a:lnTo>
                      <a:pt x="282" y="1458"/>
                    </a:lnTo>
                    <a:lnTo>
                      <a:pt x="282" y="1459"/>
                    </a:lnTo>
                    <a:lnTo>
                      <a:pt x="282" y="1458"/>
                    </a:lnTo>
                    <a:lnTo>
                      <a:pt x="282" y="1459"/>
                    </a:lnTo>
                    <a:lnTo>
                      <a:pt x="284" y="1459"/>
                    </a:lnTo>
                    <a:lnTo>
                      <a:pt x="286" y="1459"/>
                    </a:lnTo>
                    <a:lnTo>
                      <a:pt x="284" y="1461"/>
                    </a:lnTo>
                    <a:lnTo>
                      <a:pt x="284" y="1463"/>
                    </a:lnTo>
                    <a:lnTo>
                      <a:pt x="284" y="1465"/>
                    </a:lnTo>
                    <a:lnTo>
                      <a:pt x="282" y="1465"/>
                    </a:lnTo>
                    <a:lnTo>
                      <a:pt x="284" y="1465"/>
                    </a:lnTo>
                    <a:lnTo>
                      <a:pt x="282" y="1466"/>
                    </a:lnTo>
                    <a:lnTo>
                      <a:pt x="282" y="1468"/>
                    </a:lnTo>
                    <a:lnTo>
                      <a:pt x="281" y="1468"/>
                    </a:lnTo>
                    <a:lnTo>
                      <a:pt x="282" y="1468"/>
                    </a:lnTo>
                    <a:lnTo>
                      <a:pt x="282" y="1470"/>
                    </a:lnTo>
                    <a:lnTo>
                      <a:pt x="281" y="1470"/>
                    </a:lnTo>
                    <a:lnTo>
                      <a:pt x="281" y="1471"/>
                    </a:lnTo>
                    <a:lnTo>
                      <a:pt x="279" y="1471"/>
                    </a:lnTo>
                    <a:lnTo>
                      <a:pt x="279" y="1473"/>
                    </a:lnTo>
                    <a:lnTo>
                      <a:pt x="279" y="1475"/>
                    </a:lnTo>
                    <a:lnTo>
                      <a:pt x="277" y="1476"/>
                    </a:lnTo>
                    <a:lnTo>
                      <a:pt x="275" y="1476"/>
                    </a:lnTo>
                    <a:lnTo>
                      <a:pt x="275" y="1475"/>
                    </a:lnTo>
                    <a:lnTo>
                      <a:pt x="275" y="1473"/>
                    </a:lnTo>
                    <a:lnTo>
                      <a:pt x="274" y="1473"/>
                    </a:lnTo>
                    <a:lnTo>
                      <a:pt x="274" y="1475"/>
                    </a:lnTo>
                    <a:lnTo>
                      <a:pt x="272" y="1476"/>
                    </a:lnTo>
                    <a:lnTo>
                      <a:pt x="270" y="1476"/>
                    </a:lnTo>
                    <a:lnTo>
                      <a:pt x="269" y="1476"/>
                    </a:lnTo>
                    <a:lnTo>
                      <a:pt x="269" y="1478"/>
                    </a:lnTo>
                    <a:lnTo>
                      <a:pt x="267" y="1478"/>
                    </a:lnTo>
                    <a:lnTo>
                      <a:pt x="265" y="1478"/>
                    </a:lnTo>
                    <a:lnTo>
                      <a:pt x="265" y="1476"/>
                    </a:lnTo>
                    <a:lnTo>
                      <a:pt x="265" y="1475"/>
                    </a:lnTo>
                    <a:lnTo>
                      <a:pt x="264" y="1473"/>
                    </a:lnTo>
                    <a:lnTo>
                      <a:pt x="264" y="1475"/>
                    </a:lnTo>
                    <a:lnTo>
                      <a:pt x="262" y="1475"/>
                    </a:lnTo>
                    <a:lnTo>
                      <a:pt x="262" y="1473"/>
                    </a:lnTo>
                    <a:lnTo>
                      <a:pt x="260" y="1473"/>
                    </a:lnTo>
                    <a:lnTo>
                      <a:pt x="258" y="1475"/>
                    </a:lnTo>
                    <a:lnTo>
                      <a:pt x="258" y="1473"/>
                    </a:lnTo>
                    <a:lnTo>
                      <a:pt x="257" y="1473"/>
                    </a:lnTo>
                    <a:lnTo>
                      <a:pt x="257" y="1475"/>
                    </a:lnTo>
                    <a:lnTo>
                      <a:pt x="258" y="1476"/>
                    </a:lnTo>
                    <a:lnTo>
                      <a:pt x="257" y="1478"/>
                    </a:lnTo>
                    <a:lnTo>
                      <a:pt x="255" y="1478"/>
                    </a:lnTo>
                    <a:lnTo>
                      <a:pt x="253" y="1478"/>
                    </a:lnTo>
                    <a:lnTo>
                      <a:pt x="252" y="1478"/>
                    </a:lnTo>
                    <a:lnTo>
                      <a:pt x="250" y="1478"/>
                    </a:lnTo>
                    <a:lnTo>
                      <a:pt x="250" y="1480"/>
                    </a:lnTo>
                    <a:lnTo>
                      <a:pt x="248" y="1478"/>
                    </a:lnTo>
                    <a:lnTo>
                      <a:pt x="247" y="1478"/>
                    </a:lnTo>
                    <a:lnTo>
                      <a:pt x="245" y="1478"/>
                    </a:lnTo>
                    <a:lnTo>
                      <a:pt x="245" y="1480"/>
                    </a:lnTo>
                    <a:lnTo>
                      <a:pt x="243" y="1480"/>
                    </a:lnTo>
                    <a:lnTo>
                      <a:pt x="245" y="1482"/>
                    </a:lnTo>
                    <a:lnTo>
                      <a:pt x="243" y="1482"/>
                    </a:lnTo>
                    <a:lnTo>
                      <a:pt x="241" y="1482"/>
                    </a:lnTo>
                    <a:lnTo>
                      <a:pt x="241" y="1483"/>
                    </a:lnTo>
                    <a:lnTo>
                      <a:pt x="240" y="1482"/>
                    </a:lnTo>
                    <a:lnTo>
                      <a:pt x="238" y="1483"/>
                    </a:lnTo>
                    <a:lnTo>
                      <a:pt x="238" y="1482"/>
                    </a:lnTo>
                    <a:lnTo>
                      <a:pt x="236" y="1482"/>
                    </a:lnTo>
                    <a:lnTo>
                      <a:pt x="235" y="1482"/>
                    </a:lnTo>
                    <a:lnTo>
                      <a:pt x="233" y="1480"/>
                    </a:lnTo>
                    <a:lnTo>
                      <a:pt x="231" y="1480"/>
                    </a:lnTo>
                    <a:lnTo>
                      <a:pt x="231" y="1478"/>
                    </a:lnTo>
                    <a:lnTo>
                      <a:pt x="231" y="1476"/>
                    </a:lnTo>
                    <a:lnTo>
                      <a:pt x="230" y="1476"/>
                    </a:lnTo>
                    <a:lnTo>
                      <a:pt x="228" y="1476"/>
                    </a:lnTo>
                    <a:lnTo>
                      <a:pt x="226" y="1476"/>
                    </a:lnTo>
                    <a:lnTo>
                      <a:pt x="224" y="1476"/>
                    </a:lnTo>
                    <a:lnTo>
                      <a:pt x="224" y="1475"/>
                    </a:lnTo>
                    <a:lnTo>
                      <a:pt x="223" y="1475"/>
                    </a:lnTo>
                    <a:lnTo>
                      <a:pt x="221" y="1475"/>
                    </a:lnTo>
                    <a:lnTo>
                      <a:pt x="219" y="1475"/>
                    </a:lnTo>
                    <a:lnTo>
                      <a:pt x="219" y="1473"/>
                    </a:lnTo>
                    <a:lnTo>
                      <a:pt x="218" y="1473"/>
                    </a:lnTo>
                    <a:lnTo>
                      <a:pt x="216" y="1473"/>
                    </a:lnTo>
                    <a:lnTo>
                      <a:pt x="214" y="1473"/>
                    </a:lnTo>
                    <a:lnTo>
                      <a:pt x="213" y="1473"/>
                    </a:lnTo>
                    <a:lnTo>
                      <a:pt x="213" y="1471"/>
                    </a:lnTo>
                    <a:lnTo>
                      <a:pt x="213" y="1473"/>
                    </a:lnTo>
                    <a:lnTo>
                      <a:pt x="213" y="1471"/>
                    </a:lnTo>
                    <a:lnTo>
                      <a:pt x="213" y="1473"/>
                    </a:lnTo>
                    <a:lnTo>
                      <a:pt x="211" y="1471"/>
                    </a:lnTo>
                    <a:lnTo>
                      <a:pt x="213" y="1473"/>
                    </a:lnTo>
                    <a:lnTo>
                      <a:pt x="211" y="1473"/>
                    </a:lnTo>
                    <a:lnTo>
                      <a:pt x="211" y="1471"/>
                    </a:lnTo>
                    <a:lnTo>
                      <a:pt x="209" y="1471"/>
                    </a:lnTo>
                    <a:lnTo>
                      <a:pt x="211" y="1473"/>
                    </a:lnTo>
                    <a:lnTo>
                      <a:pt x="209" y="1473"/>
                    </a:lnTo>
                    <a:lnTo>
                      <a:pt x="207" y="1473"/>
                    </a:lnTo>
                    <a:lnTo>
                      <a:pt x="207" y="1471"/>
                    </a:lnTo>
                    <a:lnTo>
                      <a:pt x="206" y="1471"/>
                    </a:lnTo>
                    <a:lnTo>
                      <a:pt x="204" y="1471"/>
                    </a:lnTo>
                    <a:lnTo>
                      <a:pt x="202" y="1471"/>
                    </a:lnTo>
                    <a:lnTo>
                      <a:pt x="202" y="1473"/>
                    </a:lnTo>
                    <a:lnTo>
                      <a:pt x="201" y="1473"/>
                    </a:lnTo>
                    <a:lnTo>
                      <a:pt x="199" y="1473"/>
                    </a:lnTo>
                    <a:lnTo>
                      <a:pt x="197" y="1473"/>
                    </a:lnTo>
                    <a:lnTo>
                      <a:pt x="196" y="1471"/>
                    </a:lnTo>
                    <a:lnTo>
                      <a:pt x="194" y="1471"/>
                    </a:lnTo>
                    <a:lnTo>
                      <a:pt x="192" y="1471"/>
                    </a:lnTo>
                    <a:lnTo>
                      <a:pt x="190" y="1471"/>
                    </a:lnTo>
                    <a:lnTo>
                      <a:pt x="189" y="1471"/>
                    </a:lnTo>
                    <a:lnTo>
                      <a:pt x="189" y="1470"/>
                    </a:lnTo>
                    <a:lnTo>
                      <a:pt x="187" y="1471"/>
                    </a:lnTo>
                    <a:lnTo>
                      <a:pt x="187" y="1470"/>
                    </a:lnTo>
                    <a:lnTo>
                      <a:pt x="185" y="1470"/>
                    </a:lnTo>
                    <a:lnTo>
                      <a:pt x="184" y="1470"/>
                    </a:lnTo>
                    <a:lnTo>
                      <a:pt x="182" y="1468"/>
                    </a:lnTo>
                    <a:lnTo>
                      <a:pt x="180" y="1468"/>
                    </a:lnTo>
                    <a:lnTo>
                      <a:pt x="179" y="1468"/>
                    </a:lnTo>
                    <a:lnTo>
                      <a:pt x="179" y="1470"/>
                    </a:lnTo>
                    <a:lnTo>
                      <a:pt x="180" y="1470"/>
                    </a:lnTo>
                    <a:lnTo>
                      <a:pt x="179" y="1470"/>
                    </a:lnTo>
                    <a:lnTo>
                      <a:pt x="177" y="1470"/>
                    </a:lnTo>
                    <a:lnTo>
                      <a:pt x="175" y="1471"/>
                    </a:lnTo>
                    <a:lnTo>
                      <a:pt x="173" y="1471"/>
                    </a:lnTo>
                    <a:lnTo>
                      <a:pt x="172" y="1470"/>
                    </a:lnTo>
                    <a:lnTo>
                      <a:pt x="172" y="1471"/>
                    </a:lnTo>
                    <a:lnTo>
                      <a:pt x="170" y="1471"/>
                    </a:lnTo>
                    <a:lnTo>
                      <a:pt x="172" y="1471"/>
                    </a:lnTo>
                    <a:lnTo>
                      <a:pt x="170" y="1473"/>
                    </a:lnTo>
                    <a:lnTo>
                      <a:pt x="168" y="1473"/>
                    </a:lnTo>
                    <a:lnTo>
                      <a:pt x="167" y="1473"/>
                    </a:lnTo>
                    <a:close/>
                    <a:moveTo>
                      <a:pt x="313" y="1465"/>
                    </a:moveTo>
                    <a:lnTo>
                      <a:pt x="315" y="1463"/>
                    </a:lnTo>
                    <a:lnTo>
                      <a:pt x="315" y="1465"/>
                    </a:lnTo>
                    <a:lnTo>
                      <a:pt x="316" y="1463"/>
                    </a:lnTo>
                    <a:lnTo>
                      <a:pt x="318" y="1465"/>
                    </a:lnTo>
                    <a:lnTo>
                      <a:pt x="318" y="1466"/>
                    </a:lnTo>
                    <a:lnTo>
                      <a:pt x="320" y="1465"/>
                    </a:lnTo>
                    <a:lnTo>
                      <a:pt x="318" y="1465"/>
                    </a:lnTo>
                    <a:lnTo>
                      <a:pt x="318" y="1463"/>
                    </a:lnTo>
                    <a:lnTo>
                      <a:pt x="320" y="1465"/>
                    </a:lnTo>
                    <a:lnTo>
                      <a:pt x="321" y="1465"/>
                    </a:lnTo>
                    <a:lnTo>
                      <a:pt x="321" y="1463"/>
                    </a:lnTo>
                    <a:lnTo>
                      <a:pt x="323" y="1465"/>
                    </a:lnTo>
                    <a:lnTo>
                      <a:pt x="321" y="1466"/>
                    </a:lnTo>
                    <a:lnTo>
                      <a:pt x="323" y="1466"/>
                    </a:lnTo>
                    <a:lnTo>
                      <a:pt x="323" y="1465"/>
                    </a:lnTo>
                    <a:lnTo>
                      <a:pt x="325" y="1465"/>
                    </a:lnTo>
                    <a:lnTo>
                      <a:pt x="326" y="1463"/>
                    </a:lnTo>
                    <a:lnTo>
                      <a:pt x="328" y="1463"/>
                    </a:lnTo>
                    <a:lnTo>
                      <a:pt x="328" y="1465"/>
                    </a:lnTo>
                    <a:lnTo>
                      <a:pt x="330" y="1463"/>
                    </a:lnTo>
                    <a:lnTo>
                      <a:pt x="330" y="1465"/>
                    </a:lnTo>
                    <a:lnTo>
                      <a:pt x="328" y="1466"/>
                    </a:lnTo>
                    <a:lnTo>
                      <a:pt x="328" y="1468"/>
                    </a:lnTo>
                    <a:lnTo>
                      <a:pt x="328" y="1466"/>
                    </a:lnTo>
                    <a:lnTo>
                      <a:pt x="326" y="1466"/>
                    </a:lnTo>
                    <a:lnTo>
                      <a:pt x="326" y="1468"/>
                    </a:lnTo>
                    <a:lnTo>
                      <a:pt x="325" y="1468"/>
                    </a:lnTo>
                    <a:lnTo>
                      <a:pt x="325" y="1466"/>
                    </a:lnTo>
                    <a:lnTo>
                      <a:pt x="323" y="1466"/>
                    </a:lnTo>
                    <a:lnTo>
                      <a:pt x="323" y="1468"/>
                    </a:lnTo>
                    <a:lnTo>
                      <a:pt x="321" y="1468"/>
                    </a:lnTo>
                    <a:lnTo>
                      <a:pt x="321" y="1466"/>
                    </a:lnTo>
                    <a:lnTo>
                      <a:pt x="321" y="1468"/>
                    </a:lnTo>
                    <a:lnTo>
                      <a:pt x="320" y="1468"/>
                    </a:lnTo>
                    <a:lnTo>
                      <a:pt x="320" y="1470"/>
                    </a:lnTo>
                    <a:lnTo>
                      <a:pt x="320" y="1468"/>
                    </a:lnTo>
                    <a:lnTo>
                      <a:pt x="318" y="1470"/>
                    </a:lnTo>
                    <a:lnTo>
                      <a:pt x="316" y="1470"/>
                    </a:lnTo>
                    <a:lnTo>
                      <a:pt x="316" y="1471"/>
                    </a:lnTo>
                    <a:lnTo>
                      <a:pt x="316" y="1470"/>
                    </a:lnTo>
                    <a:lnTo>
                      <a:pt x="316" y="1468"/>
                    </a:lnTo>
                    <a:lnTo>
                      <a:pt x="316" y="1466"/>
                    </a:lnTo>
                    <a:lnTo>
                      <a:pt x="315" y="1468"/>
                    </a:lnTo>
                    <a:lnTo>
                      <a:pt x="315" y="1466"/>
                    </a:lnTo>
                    <a:lnTo>
                      <a:pt x="313" y="1466"/>
                    </a:lnTo>
                    <a:lnTo>
                      <a:pt x="313" y="1468"/>
                    </a:lnTo>
                    <a:lnTo>
                      <a:pt x="313" y="1470"/>
                    </a:lnTo>
                    <a:lnTo>
                      <a:pt x="311" y="1470"/>
                    </a:lnTo>
                    <a:lnTo>
                      <a:pt x="309" y="1471"/>
                    </a:lnTo>
                    <a:lnTo>
                      <a:pt x="308" y="1471"/>
                    </a:lnTo>
                    <a:lnTo>
                      <a:pt x="308" y="1470"/>
                    </a:lnTo>
                    <a:lnTo>
                      <a:pt x="309" y="1470"/>
                    </a:lnTo>
                    <a:lnTo>
                      <a:pt x="308" y="1470"/>
                    </a:lnTo>
                    <a:lnTo>
                      <a:pt x="306" y="1471"/>
                    </a:lnTo>
                    <a:lnTo>
                      <a:pt x="306" y="1473"/>
                    </a:lnTo>
                    <a:lnTo>
                      <a:pt x="304" y="1473"/>
                    </a:lnTo>
                    <a:lnTo>
                      <a:pt x="303" y="1475"/>
                    </a:lnTo>
                    <a:lnTo>
                      <a:pt x="303" y="1473"/>
                    </a:lnTo>
                    <a:lnTo>
                      <a:pt x="301" y="1475"/>
                    </a:lnTo>
                    <a:lnTo>
                      <a:pt x="299" y="1475"/>
                    </a:lnTo>
                    <a:lnTo>
                      <a:pt x="299" y="1473"/>
                    </a:lnTo>
                    <a:lnTo>
                      <a:pt x="301" y="1473"/>
                    </a:lnTo>
                    <a:lnTo>
                      <a:pt x="303" y="1473"/>
                    </a:lnTo>
                    <a:lnTo>
                      <a:pt x="301" y="1471"/>
                    </a:lnTo>
                    <a:lnTo>
                      <a:pt x="301" y="1470"/>
                    </a:lnTo>
                    <a:lnTo>
                      <a:pt x="299" y="1471"/>
                    </a:lnTo>
                    <a:lnTo>
                      <a:pt x="298" y="1470"/>
                    </a:lnTo>
                    <a:lnTo>
                      <a:pt x="299" y="1470"/>
                    </a:lnTo>
                    <a:lnTo>
                      <a:pt x="299" y="1468"/>
                    </a:lnTo>
                    <a:lnTo>
                      <a:pt x="299" y="1466"/>
                    </a:lnTo>
                    <a:lnTo>
                      <a:pt x="301" y="1468"/>
                    </a:lnTo>
                    <a:lnTo>
                      <a:pt x="301" y="1466"/>
                    </a:lnTo>
                    <a:lnTo>
                      <a:pt x="303" y="1466"/>
                    </a:lnTo>
                    <a:lnTo>
                      <a:pt x="303" y="1468"/>
                    </a:lnTo>
                    <a:lnTo>
                      <a:pt x="304" y="1468"/>
                    </a:lnTo>
                    <a:lnTo>
                      <a:pt x="306" y="1468"/>
                    </a:lnTo>
                    <a:lnTo>
                      <a:pt x="306" y="1466"/>
                    </a:lnTo>
                    <a:lnTo>
                      <a:pt x="306" y="1465"/>
                    </a:lnTo>
                    <a:lnTo>
                      <a:pt x="306" y="1463"/>
                    </a:lnTo>
                    <a:lnTo>
                      <a:pt x="306" y="1465"/>
                    </a:lnTo>
                    <a:lnTo>
                      <a:pt x="308" y="1466"/>
                    </a:lnTo>
                    <a:lnTo>
                      <a:pt x="309" y="1465"/>
                    </a:lnTo>
                    <a:lnTo>
                      <a:pt x="309" y="1466"/>
                    </a:lnTo>
                    <a:lnTo>
                      <a:pt x="309" y="1465"/>
                    </a:lnTo>
                    <a:lnTo>
                      <a:pt x="311" y="1465"/>
                    </a:lnTo>
                    <a:lnTo>
                      <a:pt x="311" y="1466"/>
                    </a:lnTo>
                    <a:lnTo>
                      <a:pt x="311" y="1465"/>
                    </a:lnTo>
                    <a:lnTo>
                      <a:pt x="313" y="1463"/>
                    </a:lnTo>
                    <a:lnTo>
                      <a:pt x="313" y="1465"/>
                    </a:lnTo>
                    <a:close/>
                    <a:moveTo>
                      <a:pt x="391" y="682"/>
                    </a:moveTo>
                    <a:lnTo>
                      <a:pt x="393" y="682"/>
                    </a:lnTo>
                    <a:lnTo>
                      <a:pt x="394" y="682"/>
                    </a:lnTo>
                    <a:lnTo>
                      <a:pt x="394" y="684"/>
                    </a:lnTo>
                    <a:lnTo>
                      <a:pt x="396" y="684"/>
                    </a:lnTo>
                    <a:lnTo>
                      <a:pt x="396" y="685"/>
                    </a:lnTo>
                    <a:lnTo>
                      <a:pt x="396" y="687"/>
                    </a:lnTo>
                    <a:lnTo>
                      <a:pt x="396" y="689"/>
                    </a:lnTo>
                    <a:lnTo>
                      <a:pt x="394" y="689"/>
                    </a:lnTo>
                    <a:lnTo>
                      <a:pt x="394" y="687"/>
                    </a:lnTo>
                    <a:lnTo>
                      <a:pt x="393" y="687"/>
                    </a:lnTo>
                    <a:lnTo>
                      <a:pt x="391" y="687"/>
                    </a:lnTo>
                    <a:lnTo>
                      <a:pt x="391" y="685"/>
                    </a:lnTo>
                    <a:lnTo>
                      <a:pt x="389" y="685"/>
                    </a:lnTo>
                    <a:lnTo>
                      <a:pt x="389" y="684"/>
                    </a:lnTo>
                    <a:lnTo>
                      <a:pt x="388" y="684"/>
                    </a:lnTo>
                    <a:lnTo>
                      <a:pt x="388" y="682"/>
                    </a:lnTo>
                    <a:lnTo>
                      <a:pt x="389" y="682"/>
                    </a:lnTo>
                    <a:lnTo>
                      <a:pt x="391" y="682"/>
                    </a:lnTo>
                    <a:close/>
                    <a:moveTo>
                      <a:pt x="388" y="718"/>
                    </a:moveTo>
                    <a:lnTo>
                      <a:pt x="388" y="719"/>
                    </a:lnTo>
                    <a:lnTo>
                      <a:pt x="388" y="721"/>
                    </a:lnTo>
                    <a:lnTo>
                      <a:pt x="386" y="719"/>
                    </a:lnTo>
                    <a:lnTo>
                      <a:pt x="384" y="719"/>
                    </a:lnTo>
                    <a:lnTo>
                      <a:pt x="384" y="718"/>
                    </a:lnTo>
                    <a:lnTo>
                      <a:pt x="386" y="718"/>
                    </a:lnTo>
                    <a:lnTo>
                      <a:pt x="386" y="716"/>
                    </a:lnTo>
                    <a:lnTo>
                      <a:pt x="386" y="718"/>
                    </a:lnTo>
                    <a:lnTo>
                      <a:pt x="388" y="718"/>
                    </a:lnTo>
                    <a:close/>
                    <a:moveTo>
                      <a:pt x="386" y="742"/>
                    </a:moveTo>
                    <a:lnTo>
                      <a:pt x="386" y="743"/>
                    </a:lnTo>
                    <a:lnTo>
                      <a:pt x="386" y="745"/>
                    </a:lnTo>
                    <a:lnTo>
                      <a:pt x="386" y="747"/>
                    </a:lnTo>
                    <a:lnTo>
                      <a:pt x="384" y="745"/>
                    </a:lnTo>
                    <a:lnTo>
                      <a:pt x="383" y="745"/>
                    </a:lnTo>
                    <a:lnTo>
                      <a:pt x="384" y="743"/>
                    </a:lnTo>
                    <a:lnTo>
                      <a:pt x="384" y="742"/>
                    </a:lnTo>
                    <a:lnTo>
                      <a:pt x="386" y="742"/>
                    </a:lnTo>
                    <a:close/>
                    <a:moveTo>
                      <a:pt x="207" y="1473"/>
                    </a:moveTo>
                    <a:lnTo>
                      <a:pt x="209" y="1473"/>
                    </a:lnTo>
                    <a:lnTo>
                      <a:pt x="209" y="1475"/>
                    </a:lnTo>
                    <a:lnTo>
                      <a:pt x="207" y="1473"/>
                    </a:lnTo>
                    <a:lnTo>
                      <a:pt x="206" y="1475"/>
                    </a:lnTo>
                    <a:lnTo>
                      <a:pt x="204" y="1473"/>
                    </a:lnTo>
                    <a:lnTo>
                      <a:pt x="206" y="1471"/>
                    </a:lnTo>
                    <a:lnTo>
                      <a:pt x="206" y="1473"/>
                    </a:lnTo>
                    <a:lnTo>
                      <a:pt x="206" y="1471"/>
                    </a:lnTo>
                    <a:lnTo>
                      <a:pt x="207" y="1471"/>
                    </a:lnTo>
                    <a:lnTo>
                      <a:pt x="207" y="1473"/>
                    </a:lnTo>
                    <a:close/>
                    <a:moveTo>
                      <a:pt x="384" y="738"/>
                    </a:moveTo>
                    <a:lnTo>
                      <a:pt x="386" y="738"/>
                    </a:lnTo>
                    <a:lnTo>
                      <a:pt x="386" y="742"/>
                    </a:lnTo>
                    <a:lnTo>
                      <a:pt x="384" y="742"/>
                    </a:lnTo>
                    <a:lnTo>
                      <a:pt x="384" y="738"/>
                    </a:lnTo>
                    <a:close/>
                    <a:moveTo>
                      <a:pt x="386" y="687"/>
                    </a:moveTo>
                    <a:lnTo>
                      <a:pt x="389" y="687"/>
                    </a:lnTo>
                    <a:lnTo>
                      <a:pt x="389" y="689"/>
                    </a:lnTo>
                    <a:lnTo>
                      <a:pt x="386" y="689"/>
                    </a:lnTo>
                    <a:lnTo>
                      <a:pt x="386" y="687"/>
                    </a:lnTo>
                    <a:close/>
                    <a:moveTo>
                      <a:pt x="389" y="679"/>
                    </a:moveTo>
                    <a:lnTo>
                      <a:pt x="391" y="679"/>
                    </a:lnTo>
                    <a:lnTo>
                      <a:pt x="391" y="680"/>
                    </a:lnTo>
                    <a:lnTo>
                      <a:pt x="389" y="680"/>
                    </a:lnTo>
                    <a:lnTo>
                      <a:pt x="389" y="679"/>
                    </a:lnTo>
                    <a:close/>
                    <a:moveTo>
                      <a:pt x="381" y="672"/>
                    </a:moveTo>
                    <a:lnTo>
                      <a:pt x="383" y="672"/>
                    </a:lnTo>
                    <a:lnTo>
                      <a:pt x="383" y="675"/>
                    </a:lnTo>
                    <a:lnTo>
                      <a:pt x="381" y="675"/>
                    </a:lnTo>
                    <a:lnTo>
                      <a:pt x="381" y="672"/>
                    </a:lnTo>
                    <a:close/>
                    <a:moveTo>
                      <a:pt x="386" y="679"/>
                    </a:moveTo>
                    <a:lnTo>
                      <a:pt x="389" y="679"/>
                    </a:lnTo>
                    <a:lnTo>
                      <a:pt x="389" y="680"/>
                    </a:lnTo>
                    <a:lnTo>
                      <a:pt x="386" y="680"/>
                    </a:lnTo>
                    <a:lnTo>
                      <a:pt x="386" y="679"/>
                    </a:lnTo>
                    <a:close/>
                    <a:moveTo>
                      <a:pt x="386" y="728"/>
                    </a:moveTo>
                    <a:lnTo>
                      <a:pt x="388" y="728"/>
                    </a:lnTo>
                    <a:lnTo>
                      <a:pt x="388" y="731"/>
                    </a:lnTo>
                    <a:lnTo>
                      <a:pt x="386" y="731"/>
                    </a:lnTo>
                    <a:lnTo>
                      <a:pt x="386" y="728"/>
                    </a:lnTo>
                    <a:close/>
                    <a:moveTo>
                      <a:pt x="515" y="476"/>
                    </a:moveTo>
                    <a:lnTo>
                      <a:pt x="517" y="476"/>
                    </a:lnTo>
                    <a:lnTo>
                      <a:pt x="517" y="478"/>
                    </a:lnTo>
                    <a:lnTo>
                      <a:pt x="515" y="478"/>
                    </a:lnTo>
                    <a:lnTo>
                      <a:pt x="515" y="476"/>
                    </a:lnTo>
                    <a:close/>
                    <a:moveTo>
                      <a:pt x="386" y="677"/>
                    </a:moveTo>
                    <a:lnTo>
                      <a:pt x="388" y="677"/>
                    </a:lnTo>
                    <a:lnTo>
                      <a:pt x="388" y="679"/>
                    </a:lnTo>
                    <a:lnTo>
                      <a:pt x="386" y="679"/>
                    </a:lnTo>
                    <a:lnTo>
                      <a:pt x="386" y="677"/>
                    </a:lnTo>
                    <a:close/>
                    <a:moveTo>
                      <a:pt x="381" y="675"/>
                    </a:moveTo>
                    <a:lnTo>
                      <a:pt x="384" y="675"/>
                    </a:lnTo>
                    <a:lnTo>
                      <a:pt x="384" y="677"/>
                    </a:lnTo>
                    <a:lnTo>
                      <a:pt x="381" y="677"/>
                    </a:lnTo>
                    <a:lnTo>
                      <a:pt x="381" y="675"/>
                    </a:lnTo>
                    <a:close/>
                    <a:moveTo>
                      <a:pt x="255" y="956"/>
                    </a:moveTo>
                    <a:lnTo>
                      <a:pt x="257" y="956"/>
                    </a:lnTo>
                    <a:lnTo>
                      <a:pt x="255" y="956"/>
                    </a:lnTo>
                    <a:close/>
                    <a:moveTo>
                      <a:pt x="513" y="493"/>
                    </a:moveTo>
                    <a:lnTo>
                      <a:pt x="515" y="493"/>
                    </a:lnTo>
                    <a:lnTo>
                      <a:pt x="513" y="493"/>
                    </a:lnTo>
                    <a:close/>
                    <a:moveTo>
                      <a:pt x="318" y="1458"/>
                    </a:moveTo>
                    <a:lnTo>
                      <a:pt x="320" y="1458"/>
                    </a:lnTo>
                    <a:lnTo>
                      <a:pt x="320" y="1459"/>
                    </a:lnTo>
                    <a:lnTo>
                      <a:pt x="318" y="1459"/>
                    </a:lnTo>
                    <a:lnTo>
                      <a:pt x="318" y="1458"/>
                    </a:lnTo>
                    <a:close/>
                    <a:moveTo>
                      <a:pt x="269" y="952"/>
                    </a:moveTo>
                    <a:lnTo>
                      <a:pt x="270" y="952"/>
                    </a:lnTo>
                    <a:lnTo>
                      <a:pt x="270" y="954"/>
                    </a:lnTo>
                    <a:lnTo>
                      <a:pt x="269" y="954"/>
                    </a:lnTo>
                    <a:lnTo>
                      <a:pt x="269" y="952"/>
                    </a:lnTo>
                    <a:close/>
                    <a:moveTo>
                      <a:pt x="389" y="689"/>
                    </a:moveTo>
                    <a:lnTo>
                      <a:pt x="391" y="689"/>
                    </a:lnTo>
                    <a:lnTo>
                      <a:pt x="389" y="689"/>
                    </a:lnTo>
                    <a:close/>
                    <a:moveTo>
                      <a:pt x="383" y="718"/>
                    </a:moveTo>
                    <a:lnTo>
                      <a:pt x="384" y="718"/>
                    </a:lnTo>
                    <a:lnTo>
                      <a:pt x="384" y="719"/>
                    </a:lnTo>
                    <a:lnTo>
                      <a:pt x="383" y="719"/>
                    </a:lnTo>
                    <a:lnTo>
                      <a:pt x="383" y="718"/>
                    </a:lnTo>
                    <a:close/>
                    <a:moveTo>
                      <a:pt x="529" y="502"/>
                    </a:moveTo>
                    <a:lnTo>
                      <a:pt x="530" y="502"/>
                    </a:lnTo>
                    <a:lnTo>
                      <a:pt x="530" y="503"/>
                    </a:lnTo>
                    <a:lnTo>
                      <a:pt x="529" y="503"/>
                    </a:lnTo>
                    <a:lnTo>
                      <a:pt x="529" y="502"/>
                    </a:lnTo>
                    <a:close/>
                    <a:moveTo>
                      <a:pt x="515" y="474"/>
                    </a:moveTo>
                    <a:lnTo>
                      <a:pt x="515" y="476"/>
                    </a:lnTo>
                    <a:lnTo>
                      <a:pt x="515" y="474"/>
                    </a:lnTo>
                    <a:close/>
                    <a:moveTo>
                      <a:pt x="381" y="716"/>
                    </a:moveTo>
                    <a:lnTo>
                      <a:pt x="383" y="716"/>
                    </a:lnTo>
                    <a:lnTo>
                      <a:pt x="383" y="718"/>
                    </a:lnTo>
                    <a:lnTo>
                      <a:pt x="381" y="718"/>
                    </a:lnTo>
                    <a:lnTo>
                      <a:pt x="381" y="716"/>
                    </a:lnTo>
                    <a:close/>
                    <a:moveTo>
                      <a:pt x="383" y="674"/>
                    </a:moveTo>
                    <a:lnTo>
                      <a:pt x="384" y="674"/>
                    </a:lnTo>
                    <a:lnTo>
                      <a:pt x="384" y="675"/>
                    </a:lnTo>
                    <a:lnTo>
                      <a:pt x="383" y="675"/>
                    </a:lnTo>
                    <a:lnTo>
                      <a:pt x="383" y="674"/>
                    </a:lnTo>
                    <a:close/>
                    <a:moveTo>
                      <a:pt x="315" y="1459"/>
                    </a:moveTo>
                    <a:lnTo>
                      <a:pt x="315" y="1461"/>
                    </a:lnTo>
                    <a:lnTo>
                      <a:pt x="315" y="1459"/>
                    </a:lnTo>
                    <a:close/>
                    <a:moveTo>
                      <a:pt x="515" y="476"/>
                    </a:moveTo>
                    <a:lnTo>
                      <a:pt x="515" y="478"/>
                    </a:lnTo>
                    <a:lnTo>
                      <a:pt x="515" y="476"/>
                    </a:lnTo>
                    <a:close/>
                    <a:moveTo>
                      <a:pt x="517" y="474"/>
                    </a:moveTo>
                    <a:lnTo>
                      <a:pt x="519" y="474"/>
                    </a:lnTo>
                    <a:lnTo>
                      <a:pt x="519" y="476"/>
                    </a:lnTo>
                    <a:lnTo>
                      <a:pt x="517" y="476"/>
                    </a:lnTo>
                    <a:lnTo>
                      <a:pt x="517" y="474"/>
                    </a:lnTo>
                    <a:close/>
                    <a:moveTo>
                      <a:pt x="383" y="687"/>
                    </a:moveTo>
                    <a:lnTo>
                      <a:pt x="384" y="687"/>
                    </a:lnTo>
                    <a:lnTo>
                      <a:pt x="383" y="687"/>
                    </a:lnTo>
                    <a:close/>
                    <a:moveTo>
                      <a:pt x="257" y="956"/>
                    </a:moveTo>
                    <a:lnTo>
                      <a:pt x="258" y="956"/>
                    </a:lnTo>
                    <a:lnTo>
                      <a:pt x="258" y="958"/>
                    </a:lnTo>
                    <a:lnTo>
                      <a:pt x="257" y="958"/>
                    </a:lnTo>
                    <a:lnTo>
                      <a:pt x="257" y="956"/>
                    </a:lnTo>
                    <a:close/>
                    <a:moveTo>
                      <a:pt x="384" y="675"/>
                    </a:moveTo>
                    <a:lnTo>
                      <a:pt x="386" y="675"/>
                    </a:lnTo>
                    <a:lnTo>
                      <a:pt x="384" y="675"/>
                    </a:lnTo>
                    <a:close/>
                    <a:moveTo>
                      <a:pt x="386" y="723"/>
                    </a:moveTo>
                    <a:lnTo>
                      <a:pt x="388" y="723"/>
                    </a:lnTo>
                    <a:lnTo>
                      <a:pt x="388" y="725"/>
                    </a:lnTo>
                    <a:lnTo>
                      <a:pt x="386" y="725"/>
                    </a:lnTo>
                    <a:lnTo>
                      <a:pt x="386" y="723"/>
                    </a:lnTo>
                    <a:close/>
                    <a:moveTo>
                      <a:pt x="265" y="954"/>
                    </a:moveTo>
                    <a:lnTo>
                      <a:pt x="267" y="954"/>
                    </a:lnTo>
                    <a:lnTo>
                      <a:pt x="265" y="954"/>
                    </a:lnTo>
                    <a:close/>
                    <a:moveTo>
                      <a:pt x="381" y="721"/>
                    </a:moveTo>
                    <a:lnTo>
                      <a:pt x="383" y="721"/>
                    </a:lnTo>
                    <a:lnTo>
                      <a:pt x="381" y="721"/>
                    </a:lnTo>
                    <a:close/>
                    <a:moveTo>
                      <a:pt x="383" y="721"/>
                    </a:moveTo>
                    <a:lnTo>
                      <a:pt x="383" y="723"/>
                    </a:lnTo>
                    <a:lnTo>
                      <a:pt x="383" y="721"/>
                    </a:lnTo>
                    <a:close/>
                    <a:moveTo>
                      <a:pt x="274" y="951"/>
                    </a:moveTo>
                    <a:lnTo>
                      <a:pt x="274" y="952"/>
                    </a:lnTo>
                    <a:lnTo>
                      <a:pt x="274" y="951"/>
                    </a:lnTo>
                    <a:close/>
                    <a:moveTo>
                      <a:pt x="367" y="767"/>
                    </a:moveTo>
                    <a:lnTo>
                      <a:pt x="369" y="767"/>
                    </a:lnTo>
                    <a:lnTo>
                      <a:pt x="367" y="767"/>
                    </a:lnTo>
                    <a:close/>
                    <a:moveTo>
                      <a:pt x="517" y="474"/>
                    </a:moveTo>
                    <a:lnTo>
                      <a:pt x="519" y="474"/>
                    </a:lnTo>
                    <a:lnTo>
                      <a:pt x="517" y="474"/>
                    </a:lnTo>
                    <a:close/>
                    <a:moveTo>
                      <a:pt x="515" y="471"/>
                    </a:moveTo>
                    <a:lnTo>
                      <a:pt x="515" y="473"/>
                    </a:lnTo>
                    <a:lnTo>
                      <a:pt x="515" y="471"/>
                    </a:lnTo>
                    <a:close/>
                    <a:moveTo>
                      <a:pt x="513" y="476"/>
                    </a:moveTo>
                    <a:lnTo>
                      <a:pt x="515" y="476"/>
                    </a:lnTo>
                    <a:lnTo>
                      <a:pt x="513" y="476"/>
                    </a:lnTo>
                    <a:close/>
                    <a:moveTo>
                      <a:pt x="209" y="1473"/>
                    </a:moveTo>
                    <a:lnTo>
                      <a:pt x="209" y="1475"/>
                    </a:lnTo>
                    <a:lnTo>
                      <a:pt x="209" y="1473"/>
                    </a:lnTo>
                    <a:close/>
                    <a:moveTo>
                      <a:pt x="388" y="721"/>
                    </a:moveTo>
                    <a:lnTo>
                      <a:pt x="389" y="721"/>
                    </a:lnTo>
                    <a:lnTo>
                      <a:pt x="389" y="723"/>
                    </a:lnTo>
                    <a:lnTo>
                      <a:pt x="388" y="723"/>
                    </a:lnTo>
                    <a:lnTo>
                      <a:pt x="388" y="721"/>
                    </a:lnTo>
                    <a:close/>
                    <a:moveTo>
                      <a:pt x="384" y="677"/>
                    </a:moveTo>
                    <a:lnTo>
                      <a:pt x="386" y="677"/>
                    </a:lnTo>
                    <a:lnTo>
                      <a:pt x="384" y="677"/>
                    </a:lnTo>
                    <a:close/>
                    <a:moveTo>
                      <a:pt x="394" y="680"/>
                    </a:moveTo>
                    <a:lnTo>
                      <a:pt x="394" y="682"/>
                    </a:lnTo>
                    <a:lnTo>
                      <a:pt x="394" y="680"/>
                    </a:lnTo>
                    <a:close/>
                    <a:moveTo>
                      <a:pt x="512" y="464"/>
                    </a:moveTo>
                    <a:lnTo>
                      <a:pt x="512" y="466"/>
                    </a:lnTo>
                    <a:lnTo>
                      <a:pt x="512" y="46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2" name="Freeform 12">
                <a:extLst>
                  <a:ext uri="{FF2B5EF4-FFF2-40B4-BE49-F238E27FC236}">
                    <a16:creationId xmlns:a16="http://schemas.microsoft.com/office/drawing/2014/main" id="{D0CA2042-1D74-2124-C35A-4E189A90A6EC}"/>
                  </a:ext>
                </a:extLst>
              </p:cNvPr>
              <p:cNvSpPr>
                <a:spLocks noEditPoints="1"/>
              </p:cNvSpPr>
              <p:nvPr/>
            </p:nvSpPr>
            <p:spPr bwMode="auto">
              <a:xfrm>
                <a:off x="5683575" y="2820535"/>
                <a:ext cx="2056" cy="2056"/>
              </a:xfrm>
              <a:custGeom>
                <a:avLst/>
                <a:gdLst>
                  <a:gd name="T0" fmla="*/ 0 w 7"/>
                  <a:gd name="T1" fmla="*/ 0 h 7"/>
                  <a:gd name="T2" fmla="*/ 2 w 7"/>
                  <a:gd name="T3" fmla="*/ 0 h 7"/>
                  <a:gd name="T4" fmla="*/ 2 w 7"/>
                  <a:gd name="T5" fmla="*/ 2 h 7"/>
                  <a:gd name="T6" fmla="*/ 3 w 7"/>
                  <a:gd name="T7" fmla="*/ 2 h 7"/>
                  <a:gd name="T8" fmla="*/ 3 w 7"/>
                  <a:gd name="T9" fmla="*/ 3 h 7"/>
                  <a:gd name="T10" fmla="*/ 5 w 7"/>
                  <a:gd name="T11" fmla="*/ 3 h 7"/>
                  <a:gd name="T12" fmla="*/ 5 w 7"/>
                  <a:gd name="T13" fmla="*/ 5 h 7"/>
                  <a:gd name="T14" fmla="*/ 7 w 7"/>
                  <a:gd name="T15" fmla="*/ 5 h 7"/>
                  <a:gd name="T16" fmla="*/ 7 w 7"/>
                  <a:gd name="T17" fmla="*/ 7 h 7"/>
                  <a:gd name="T18" fmla="*/ 5 w 7"/>
                  <a:gd name="T19" fmla="*/ 7 h 7"/>
                  <a:gd name="T20" fmla="*/ 3 w 7"/>
                  <a:gd name="T21" fmla="*/ 7 h 7"/>
                  <a:gd name="T22" fmla="*/ 3 w 7"/>
                  <a:gd name="T23" fmla="*/ 5 h 7"/>
                  <a:gd name="T24" fmla="*/ 2 w 7"/>
                  <a:gd name="T25" fmla="*/ 5 h 7"/>
                  <a:gd name="T26" fmla="*/ 2 w 7"/>
                  <a:gd name="T27" fmla="*/ 3 h 7"/>
                  <a:gd name="T28" fmla="*/ 0 w 7"/>
                  <a:gd name="T29" fmla="*/ 3 h 7"/>
                  <a:gd name="T30" fmla="*/ 0 w 7"/>
                  <a:gd name="T31" fmla="*/ 2 h 7"/>
                  <a:gd name="T32" fmla="*/ 0 w 7"/>
                  <a:gd name="T33" fmla="*/ 0 h 7"/>
                  <a:gd name="T34" fmla="*/ 2 w 7"/>
                  <a:gd name="T35" fmla="*/ 5 h 7"/>
                  <a:gd name="T36" fmla="*/ 3 w 7"/>
                  <a:gd name="T37" fmla="*/ 5 h 7"/>
                  <a:gd name="T38" fmla="*/ 2 w 7"/>
                  <a:gd name="T3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 h="7">
                    <a:moveTo>
                      <a:pt x="0" y="0"/>
                    </a:moveTo>
                    <a:lnTo>
                      <a:pt x="2" y="0"/>
                    </a:lnTo>
                    <a:lnTo>
                      <a:pt x="2" y="2"/>
                    </a:lnTo>
                    <a:lnTo>
                      <a:pt x="3" y="2"/>
                    </a:lnTo>
                    <a:lnTo>
                      <a:pt x="3" y="3"/>
                    </a:lnTo>
                    <a:lnTo>
                      <a:pt x="5" y="3"/>
                    </a:lnTo>
                    <a:lnTo>
                      <a:pt x="5" y="5"/>
                    </a:lnTo>
                    <a:lnTo>
                      <a:pt x="7" y="5"/>
                    </a:lnTo>
                    <a:lnTo>
                      <a:pt x="7" y="7"/>
                    </a:lnTo>
                    <a:lnTo>
                      <a:pt x="5" y="7"/>
                    </a:lnTo>
                    <a:lnTo>
                      <a:pt x="3" y="7"/>
                    </a:lnTo>
                    <a:lnTo>
                      <a:pt x="3" y="5"/>
                    </a:lnTo>
                    <a:lnTo>
                      <a:pt x="2" y="5"/>
                    </a:lnTo>
                    <a:lnTo>
                      <a:pt x="2" y="3"/>
                    </a:lnTo>
                    <a:lnTo>
                      <a:pt x="0" y="3"/>
                    </a:lnTo>
                    <a:lnTo>
                      <a:pt x="0" y="2"/>
                    </a:lnTo>
                    <a:lnTo>
                      <a:pt x="0" y="0"/>
                    </a:lnTo>
                    <a:close/>
                    <a:moveTo>
                      <a:pt x="2" y="5"/>
                    </a:moveTo>
                    <a:lnTo>
                      <a:pt x="3" y="5"/>
                    </a:lnTo>
                    <a:lnTo>
                      <a:pt x="2" y="5"/>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4" name="Freeform 14">
                <a:extLst>
                  <a:ext uri="{FF2B5EF4-FFF2-40B4-BE49-F238E27FC236}">
                    <a16:creationId xmlns:a16="http://schemas.microsoft.com/office/drawing/2014/main" id="{EE4B53D8-7570-EF59-47F0-6E1A39F2832D}"/>
                  </a:ext>
                </a:extLst>
              </p:cNvPr>
              <p:cNvSpPr>
                <a:spLocks/>
              </p:cNvSpPr>
              <p:nvPr/>
            </p:nvSpPr>
            <p:spPr bwMode="auto">
              <a:xfrm>
                <a:off x="5786963" y="2813485"/>
                <a:ext cx="2056" cy="2644"/>
              </a:xfrm>
              <a:custGeom>
                <a:avLst/>
                <a:gdLst>
                  <a:gd name="T0" fmla="*/ 2 w 7"/>
                  <a:gd name="T1" fmla="*/ 0 h 9"/>
                  <a:gd name="T2" fmla="*/ 2 w 7"/>
                  <a:gd name="T3" fmla="*/ 2 h 9"/>
                  <a:gd name="T4" fmla="*/ 3 w 7"/>
                  <a:gd name="T5" fmla="*/ 2 h 9"/>
                  <a:gd name="T6" fmla="*/ 3 w 7"/>
                  <a:gd name="T7" fmla="*/ 4 h 9"/>
                  <a:gd name="T8" fmla="*/ 5 w 7"/>
                  <a:gd name="T9" fmla="*/ 4 h 9"/>
                  <a:gd name="T10" fmla="*/ 5 w 7"/>
                  <a:gd name="T11" fmla="*/ 5 h 9"/>
                  <a:gd name="T12" fmla="*/ 7 w 7"/>
                  <a:gd name="T13" fmla="*/ 5 h 9"/>
                  <a:gd name="T14" fmla="*/ 7 w 7"/>
                  <a:gd name="T15" fmla="*/ 7 h 9"/>
                  <a:gd name="T16" fmla="*/ 7 w 7"/>
                  <a:gd name="T17" fmla="*/ 9 h 9"/>
                  <a:gd name="T18" fmla="*/ 5 w 7"/>
                  <a:gd name="T19" fmla="*/ 9 h 9"/>
                  <a:gd name="T20" fmla="*/ 3 w 7"/>
                  <a:gd name="T21" fmla="*/ 9 h 9"/>
                  <a:gd name="T22" fmla="*/ 2 w 7"/>
                  <a:gd name="T23" fmla="*/ 9 h 9"/>
                  <a:gd name="T24" fmla="*/ 0 w 7"/>
                  <a:gd name="T25" fmla="*/ 7 h 9"/>
                  <a:gd name="T26" fmla="*/ 0 w 7"/>
                  <a:gd name="T27" fmla="*/ 5 h 9"/>
                  <a:gd name="T28" fmla="*/ 0 w 7"/>
                  <a:gd name="T29" fmla="*/ 4 h 9"/>
                  <a:gd name="T30" fmla="*/ 0 w 7"/>
                  <a:gd name="T31" fmla="*/ 2 h 9"/>
                  <a:gd name="T32" fmla="*/ 0 w 7"/>
                  <a:gd name="T33" fmla="*/ 0 h 9"/>
                  <a:gd name="T34" fmla="*/ 2 w 7"/>
                  <a:gd name="T3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9">
                    <a:moveTo>
                      <a:pt x="2" y="0"/>
                    </a:moveTo>
                    <a:lnTo>
                      <a:pt x="2" y="2"/>
                    </a:lnTo>
                    <a:lnTo>
                      <a:pt x="3" y="2"/>
                    </a:lnTo>
                    <a:lnTo>
                      <a:pt x="3" y="4"/>
                    </a:lnTo>
                    <a:lnTo>
                      <a:pt x="5" y="4"/>
                    </a:lnTo>
                    <a:lnTo>
                      <a:pt x="5" y="5"/>
                    </a:lnTo>
                    <a:lnTo>
                      <a:pt x="7" y="5"/>
                    </a:lnTo>
                    <a:lnTo>
                      <a:pt x="7" y="7"/>
                    </a:lnTo>
                    <a:lnTo>
                      <a:pt x="7" y="9"/>
                    </a:lnTo>
                    <a:lnTo>
                      <a:pt x="5" y="9"/>
                    </a:lnTo>
                    <a:lnTo>
                      <a:pt x="3" y="9"/>
                    </a:lnTo>
                    <a:lnTo>
                      <a:pt x="2" y="9"/>
                    </a:lnTo>
                    <a:lnTo>
                      <a:pt x="0" y="7"/>
                    </a:lnTo>
                    <a:lnTo>
                      <a:pt x="0" y="5"/>
                    </a:lnTo>
                    <a:lnTo>
                      <a:pt x="0" y="4"/>
                    </a:lnTo>
                    <a:lnTo>
                      <a:pt x="0" y="2"/>
                    </a:lnTo>
                    <a:lnTo>
                      <a:pt x="0" y="0"/>
                    </a:lnTo>
                    <a:lnTo>
                      <a:pt x="2"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 name="Freeform 16">
                <a:extLst>
                  <a:ext uri="{FF2B5EF4-FFF2-40B4-BE49-F238E27FC236}">
                    <a16:creationId xmlns:a16="http://schemas.microsoft.com/office/drawing/2014/main" id="{57A9C2A5-739D-4E9A-26A2-CF3307E8F913}"/>
                  </a:ext>
                </a:extLst>
              </p:cNvPr>
              <p:cNvSpPr>
                <a:spLocks/>
              </p:cNvSpPr>
              <p:nvPr/>
            </p:nvSpPr>
            <p:spPr bwMode="auto">
              <a:xfrm>
                <a:off x="5687688" y="3043466"/>
                <a:ext cx="120719" cy="136874"/>
              </a:xfrm>
              <a:custGeom>
                <a:avLst/>
                <a:gdLst>
                  <a:gd name="T0" fmla="*/ 306 w 411"/>
                  <a:gd name="T1" fmla="*/ 342 h 466"/>
                  <a:gd name="T2" fmla="*/ 231 w 411"/>
                  <a:gd name="T3" fmla="*/ 435 h 466"/>
                  <a:gd name="T4" fmla="*/ 188 w 411"/>
                  <a:gd name="T5" fmla="*/ 444 h 466"/>
                  <a:gd name="T6" fmla="*/ 182 w 411"/>
                  <a:gd name="T7" fmla="*/ 464 h 466"/>
                  <a:gd name="T8" fmla="*/ 175 w 411"/>
                  <a:gd name="T9" fmla="*/ 450 h 466"/>
                  <a:gd name="T10" fmla="*/ 156 w 411"/>
                  <a:gd name="T11" fmla="*/ 435 h 466"/>
                  <a:gd name="T12" fmla="*/ 125 w 411"/>
                  <a:gd name="T13" fmla="*/ 430 h 466"/>
                  <a:gd name="T14" fmla="*/ 112 w 411"/>
                  <a:gd name="T15" fmla="*/ 437 h 466"/>
                  <a:gd name="T16" fmla="*/ 85 w 411"/>
                  <a:gd name="T17" fmla="*/ 459 h 466"/>
                  <a:gd name="T18" fmla="*/ 59 w 411"/>
                  <a:gd name="T19" fmla="*/ 452 h 466"/>
                  <a:gd name="T20" fmla="*/ 54 w 411"/>
                  <a:gd name="T21" fmla="*/ 427 h 466"/>
                  <a:gd name="T22" fmla="*/ 42 w 411"/>
                  <a:gd name="T23" fmla="*/ 394 h 466"/>
                  <a:gd name="T24" fmla="*/ 32 w 411"/>
                  <a:gd name="T25" fmla="*/ 379 h 466"/>
                  <a:gd name="T26" fmla="*/ 37 w 411"/>
                  <a:gd name="T27" fmla="*/ 362 h 466"/>
                  <a:gd name="T28" fmla="*/ 37 w 411"/>
                  <a:gd name="T29" fmla="*/ 347 h 466"/>
                  <a:gd name="T30" fmla="*/ 29 w 411"/>
                  <a:gd name="T31" fmla="*/ 328 h 466"/>
                  <a:gd name="T32" fmla="*/ 22 w 411"/>
                  <a:gd name="T33" fmla="*/ 308 h 466"/>
                  <a:gd name="T34" fmla="*/ 18 w 411"/>
                  <a:gd name="T35" fmla="*/ 290 h 466"/>
                  <a:gd name="T36" fmla="*/ 6 w 411"/>
                  <a:gd name="T37" fmla="*/ 267 h 466"/>
                  <a:gd name="T38" fmla="*/ 10 w 411"/>
                  <a:gd name="T39" fmla="*/ 253 h 466"/>
                  <a:gd name="T40" fmla="*/ 22 w 411"/>
                  <a:gd name="T41" fmla="*/ 234 h 466"/>
                  <a:gd name="T42" fmla="*/ 12 w 411"/>
                  <a:gd name="T43" fmla="*/ 200 h 466"/>
                  <a:gd name="T44" fmla="*/ 13 w 411"/>
                  <a:gd name="T45" fmla="*/ 188 h 466"/>
                  <a:gd name="T46" fmla="*/ 15 w 411"/>
                  <a:gd name="T47" fmla="*/ 168 h 466"/>
                  <a:gd name="T48" fmla="*/ 27 w 411"/>
                  <a:gd name="T49" fmla="*/ 154 h 466"/>
                  <a:gd name="T50" fmla="*/ 23 w 411"/>
                  <a:gd name="T51" fmla="*/ 136 h 466"/>
                  <a:gd name="T52" fmla="*/ 27 w 411"/>
                  <a:gd name="T53" fmla="*/ 114 h 466"/>
                  <a:gd name="T54" fmla="*/ 32 w 411"/>
                  <a:gd name="T55" fmla="*/ 100 h 466"/>
                  <a:gd name="T56" fmla="*/ 18 w 411"/>
                  <a:gd name="T57" fmla="*/ 68 h 466"/>
                  <a:gd name="T58" fmla="*/ 6 w 411"/>
                  <a:gd name="T59" fmla="*/ 42 h 466"/>
                  <a:gd name="T60" fmla="*/ 23 w 411"/>
                  <a:gd name="T61" fmla="*/ 44 h 466"/>
                  <a:gd name="T62" fmla="*/ 39 w 411"/>
                  <a:gd name="T63" fmla="*/ 46 h 466"/>
                  <a:gd name="T64" fmla="*/ 54 w 411"/>
                  <a:gd name="T65" fmla="*/ 34 h 466"/>
                  <a:gd name="T66" fmla="*/ 71 w 411"/>
                  <a:gd name="T67" fmla="*/ 27 h 466"/>
                  <a:gd name="T68" fmla="*/ 86 w 411"/>
                  <a:gd name="T69" fmla="*/ 20 h 466"/>
                  <a:gd name="T70" fmla="*/ 103 w 411"/>
                  <a:gd name="T71" fmla="*/ 6 h 466"/>
                  <a:gd name="T72" fmla="*/ 120 w 411"/>
                  <a:gd name="T73" fmla="*/ 3 h 466"/>
                  <a:gd name="T74" fmla="*/ 132 w 411"/>
                  <a:gd name="T75" fmla="*/ 3 h 466"/>
                  <a:gd name="T76" fmla="*/ 141 w 411"/>
                  <a:gd name="T77" fmla="*/ 3 h 466"/>
                  <a:gd name="T78" fmla="*/ 148 w 411"/>
                  <a:gd name="T79" fmla="*/ 13 h 466"/>
                  <a:gd name="T80" fmla="*/ 146 w 411"/>
                  <a:gd name="T81" fmla="*/ 34 h 466"/>
                  <a:gd name="T82" fmla="*/ 146 w 411"/>
                  <a:gd name="T83" fmla="*/ 54 h 466"/>
                  <a:gd name="T84" fmla="*/ 154 w 411"/>
                  <a:gd name="T85" fmla="*/ 69 h 466"/>
                  <a:gd name="T86" fmla="*/ 166 w 411"/>
                  <a:gd name="T87" fmla="*/ 85 h 466"/>
                  <a:gd name="T88" fmla="*/ 175 w 411"/>
                  <a:gd name="T89" fmla="*/ 93 h 466"/>
                  <a:gd name="T90" fmla="*/ 193 w 411"/>
                  <a:gd name="T91" fmla="*/ 97 h 466"/>
                  <a:gd name="T92" fmla="*/ 212 w 411"/>
                  <a:gd name="T93" fmla="*/ 102 h 466"/>
                  <a:gd name="T94" fmla="*/ 226 w 411"/>
                  <a:gd name="T95" fmla="*/ 108 h 466"/>
                  <a:gd name="T96" fmla="*/ 241 w 411"/>
                  <a:gd name="T97" fmla="*/ 117 h 466"/>
                  <a:gd name="T98" fmla="*/ 255 w 411"/>
                  <a:gd name="T99" fmla="*/ 119 h 466"/>
                  <a:gd name="T100" fmla="*/ 268 w 411"/>
                  <a:gd name="T101" fmla="*/ 132 h 466"/>
                  <a:gd name="T102" fmla="*/ 285 w 411"/>
                  <a:gd name="T103" fmla="*/ 132 h 466"/>
                  <a:gd name="T104" fmla="*/ 301 w 411"/>
                  <a:gd name="T105" fmla="*/ 137 h 466"/>
                  <a:gd name="T106" fmla="*/ 309 w 411"/>
                  <a:gd name="T107" fmla="*/ 144 h 466"/>
                  <a:gd name="T108" fmla="*/ 312 w 411"/>
                  <a:gd name="T109" fmla="*/ 165 h 466"/>
                  <a:gd name="T110" fmla="*/ 306 w 411"/>
                  <a:gd name="T111" fmla="*/ 187 h 466"/>
                  <a:gd name="T112" fmla="*/ 343 w 411"/>
                  <a:gd name="T113" fmla="*/ 228 h 466"/>
                  <a:gd name="T114" fmla="*/ 380 w 411"/>
                  <a:gd name="T115" fmla="*/ 233 h 466"/>
                  <a:gd name="T116" fmla="*/ 379 w 411"/>
                  <a:gd name="T117" fmla="*/ 256 h 466"/>
                  <a:gd name="T118" fmla="*/ 396 w 411"/>
                  <a:gd name="T119" fmla="*/ 272 h 466"/>
                  <a:gd name="T120" fmla="*/ 408 w 411"/>
                  <a:gd name="T121" fmla="*/ 294 h 466"/>
                  <a:gd name="T122" fmla="*/ 403 w 411"/>
                  <a:gd name="T123" fmla="*/ 325 h 466"/>
                  <a:gd name="T124" fmla="*/ 392 w 411"/>
                  <a:gd name="T125" fmla="*/ 36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1" h="466">
                    <a:moveTo>
                      <a:pt x="387" y="367"/>
                    </a:moveTo>
                    <a:lnTo>
                      <a:pt x="387" y="365"/>
                    </a:lnTo>
                    <a:lnTo>
                      <a:pt x="389" y="365"/>
                    </a:lnTo>
                    <a:lnTo>
                      <a:pt x="389" y="364"/>
                    </a:lnTo>
                    <a:lnTo>
                      <a:pt x="387" y="364"/>
                    </a:lnTo>
                    <a:lnTo>
                      <a:pt x="387" y="362"/>
                    </a:lnTo>
                    <a:lnTo>
                      <a:pt x="387" y="360"/>
                    </a:lnTo>
                    <a:lnTo>
                      <a:pt x="387" y="359"/>
                    </a:lnTo>
                    <a:lnTo>
                      <a:pt x="386" y="359"/>
                    </a:lnTo>
                    <a:lnTo>
                      <a:pt x="387" y="359"/>
                    </a:lnTo>
                    <a:lnTo>
                      <a:pt x="387" y="357"/>
                    </a:lnTo>
                    <a:lnTo>
                      <a:pt x="386" y="357"/>
                    </a:lnTo>
                    <a:lnTo>
                      <a:pt x="387" y="355"/>
                    </a:lnTo>
                    <a:lnTo>
                      <a:pt x="379" y="348"/>
                    </a:lnTo>
                    <a:lnTo>
                      <a:pt x="375" y="347"/>
                    </a:lnTo>
                    <a:lnTo>
                      <a:pt x="358" y="335"/>
                    </a:lnTo>
                    <a:lnTo>
                      <a:pt x="326" y="335"/>
                    </a:lnTo>
                    <a:lnTo>
                      <a:pt x="306" y="342"/>
                    </a:lnTo>
                    <a:lnTo>
                      <a:pt x="268" y="348"/>
                    </a:lnTo>
                    <a:lnTo>
                      <a:pt x="267" y="348"/>
                    </a:lnTo>
                    <a:lnTo>
                      <a:pt x="261" y="362"/>
                    </a:lnTo>
                    <a:lnTo>
                      <a:pt x="261" y="364"/>
                    </a:lnTo>
                    <a:lnTo>
                      <a:pt x="251" y="377"/>
                    </a:lnTo>
                    <a:lnTo>
                      <a:pt x="250" y="381"/>
                    </a:lnTo>
                    <a:lnTo>
                      <a:pt x="250" y="396"/>
                    </a:lnTo>
                    <a:lnTo>
                      <a:pt x="250" y="399"/>
                    </a:lnTo>
                    <a:lnTo>
                      <a:pt x="243" y="421"/>
                    </a:lnTo>
                    <a:lnTo>
                      <a:pt x="239" y="430"/>
                    </a:lnTo>
                    <a:lnTo>
                      <a:pt x="236" y="442"/>
                    </a:lnTo>
                    <a:lnTo>
                      <a:pt x="236" y="440"/>
                    </a:lnTo>
                    <a:lnTo>
                      <a:pt x="234" y="440"/>
                    </a:lnTo>
                    <a:lnTo>
                      <a:pt x="234" y="438"/>
                    </a:lnTo>
                    <a:lnTo>
                      <a:pt x="233" y="438"/>
                    </a:lnTo>
                    <a:lnTo>
                      <a:pt x="231" y="438"/>
                    </a:lnTo>
                    <a:lnTo>
                      <a:pt x="231" y="437"/>
                    </a:lnTo>
                    <a:lnTo>
                      <a:pt x="231" y="435"/>
                    </a:lnTo>
                    <a:lnTo>
                      <a:pt x="231" y="433"/>
                    </a:lnTo>
                    <a:lnTo>
                      <a:pt x="221" y="433"/>
                    </a:lnTo>
                    <a:lnTo>
                      <a:pt x="202" y="433"/>
                    </a:lnTo>
                    <a:lnTo>
                      <a:pt x="202" y="435"/>
                    </a:lnTo>
                    <a:lnTo>
                      <a:pt x="202" y="433"/>
                    </a:lnTo>
                    <a:lnTo>
                      <a:pt x="200" y="433"/>
                    </a:lnTo>
                    <a:lnTo>
                      <a:pt x="199" y="433"/>
                    </a:lnTo>
                    <a:lnTo>
                      <a:pt x="193" y="433"/>
                    </a:lnTo>
                    <a:lnTo>
                      <a:pt x="192" y="433"/>
                    </a:lnTo>
                    <a:lnTo>
                      <a:pt x="192" y="435"/>
                    </a:lnTo>
                    <a:lnTo>
                      <a:pt x="192" y="437"/>
                    </a:lnTo>
                    <a:lnTo>
                      <a:pt x="190" y="437"/>
                    </a:lnTo>
                    <a:lnTo>
                      <a:pt x="192" y="437"/>
                    </a:lnTo>
                    <a:lnTo>
                      <a:pt x="190" y="438"/>
                    </a:lnTo>
                    <a:lnTo>
                      <a:pt x="190" y="440"/>
                    </a:lnTo>
                    <a:lnTo>
                      <a:pt x="190" y="442"/>
                    </a:lnTo>
                    <a:lnTo>
                      <a:pt x="188" y="442"/>
                    </a:lnTo>
                    <a:lnTo>
                      <a:pt x="188" y="444"/>
                    </a:lnTo>
                    <a:lnTo>
                      <a:pt x="187" y="445"/>
                    </a:lnTo>
                    <a:lnTo>
                      <a:pt x="187" y="447"/>
                    </a:lnTo>
                    <a:lnTo>
                      <a:pt x="187" y="449"/>
                    </a:lnTo>
                    <a:lnTo>
                      <a:pt x="185" y="449"/>
                    </a:lnTo>
                    <a:lnTo>
                      <a:pt x="185" y="450"/>
                    </a:lnTo>
                    <a:lnTo>
                      <a:pt x="183" y="450"/>
                    </a:lnTo>
                    <a:lnTo>
                      <a:pt x="183" y="452"/>
                    </a:lnTo>
                    <a:lnTo>
                      <a:pt x="183" y="454"/>
                    </a:lnTo>
                    <a:lnTo>
                      <a:pt x="182" y="454"/>
                    </a:lnTo>
                    <a:lnTo>
                      <a:pt x="183" y="454"/>
                    </a:lnTo>
                    <a:lnTo>
                      <a:pt x="183" y="456"/>
                    </a:lnTo>
                    <a:lnTo>
                      <a:pt x="182" y="456"/>
                    </a:lnTo>
                    <a:lnTo>
                      <a:pt x="182" y="457"/>
                    </a:lnTo>
                    <a:lnTo>
                      <a:pt x="182" y="459"/>
                    </a:lnTo>
                    <a:lnTo>
                      <a:pt x="182" y="461"/>
                    </a:lnTo>
                    <a:lnTo>
                      <a:pt x="182" y="462"/>
                    </a:lnTo>
                    <a:lnTo>
                      <a:pt x="180" y="464"/>
                    </a:lnTo>
                    <a:lnTo>
                      <a:pt x="182" y="464"/>
                    </a:lnTo>
                    <a:lnTo>
                      <a:pt x="180" y="464"/>
                    </a:lnTo>
                    <a:lnTo>
                      <a:pt x="180" y="466"/>
                    </a:lnTo>
                    <a:lnTo>
                      <a:pt x="180" y="464"/>
                    </a:lnTo>
                    <a:lnTo>
                      <a:pt x="180" y="462"/>
                    </a:lnTo>
                    <a:lnTo>
                      <a:pt x="178" y="462"/>
                    </a:lnTo>
                    <a:lnTo>
                      <a:pt x="180" y="462"/>
                    </a:lnTo>
                    <a:lnTo>
                      <a:pt x="180" y="461"/>
                    </a:lnTo>
                    <a:lnTo>
                      <a:pt x="178" y="459"/>
                    </a:lnTo>
                    <a:lnTo>
                      <a:pt x="176" y="459"/>
                    </a:lnTo>
                    <a:lnTo>
                      <a:pt x="178" y="459"/>
                    </a:lnTo>
                    <a:lnTo>
                      <a:pt x="178" y="457"/>
                    </a:lnTo>
                    <a:lnTo>
                      <a:pt x="176" y="457"/>
                    </a:lnTo>
                    <a:lnTo>
                      <a:pt x="176" y="456"/>
                    </a:lnTo>
                    <a:lnTo>
                      <a:pt x="176" y="454"/>
                    </a:lnTo>
                    <a:lnTo>
                      <a:pt x="176" y="452"/>
                    </a:lnTo>
                    <a:lnTo>
                      <a:pt x="175" y="452"/>
                    </a:lnTo>
                    <a:lnTo>
                      <a:pt x="176" y="450"/>
                    </a:lnTo>
                    <a:lnTo>
                      <a:pt x="175" y="450"/>
                    </a:lnTo>
                    <a:lnTo>
                      <a:pt x="175" y="449"/>
                    </a:lnTo>
                    <a:lnTo>
                      <a:pt x="173" y="449"/>
                    </a:lnTo>
                    <a:lnTo>
                      <a:pt x="173" y="447"/>
                    </a:lnTo>
                    <a:lnTo>
                      <a:pt x="171" y="447"/>
                    </a:lnTo>
                    <a:lnTo>
                      <a:pt x="171" y="445"/>
                    </a:lnTo>
                    <a:lnTo>
                      <a:pt x="173" y="444"/>
                    </a:lnTo>
                    <a:lnTo>
                      <a:pt x="173" y="442"/>
                    </a:lnTo>
                    <a:lnTo>
                      <a:pt x="171" y="442"/>
                    </a:lnTo>
                    <a:lnTo>
                      <a:pt x="170" y="440"/>
                    </a:lnTo>
                    <a:lnTo>
                      <a:pt x="168" y="440"/>
                    </a:lnTo>
                    <a:lnTo>
                      <a:pt x="166" y="440"/>
                    </a:lnTo>
                    <a:lnTo>
                      <a:pt x="165" y="438"/>
                    </a:lnTo>
                    <a:lnTo>
                      <a:pt x="163" y="438"/>
                    </a:lnTo>
                    <a:lnTo>
                      <a:pt x="161" y="437"/>
                    </a:lnTo>
                    <a:lnTo>
                      <a:pt x="159" y="437"/>
                    </a:lnTo>
                    <a:lnTo>
                      <a:pt x="158" y="437"/>
                    </a:lnTo>
                    <a:lnTo>
                      <a:pt x="158" y="435"/>
                    </a:lnTo>
                    <a:lnTo>
                      <a:pt x="156" y="435"/>
                    </a:lnTo>
                    <a:lnTo>
                      <a:pt x="154" y="435"/>
                    </a:lnTo>
                    <a:lnTo>
                      <a:pt x="151" y="435"/>
                    </a:lnTo>
                    <a:lnTo>
                      <a:pt x="148" y="437"/>
                    </a:lnTo>
                    <a:lnTo>
                      <a:pt x="148" y="435"/>
                    </a:lnTo>
                    <a:lnTo>
                      <a:pt x="148" y="437"/>
                    </a:lnTo>
                    <a:lnTo>
                      <a:pt x="144" y="437"/>
                    </a:lnTo>
                    <a:lnTo>
                      <a:pt x="142" y="437"/>
                    </a:lnTo>
                    <a:lnTo>
                      <a:pt x="141" y="437"/>
                    </a:lnTo>
                    <a:lnTo>
                      <a:pt x="137" y="435"/>
                    </a:lnTo>
                    <a:lnTo>
                      <a:pt x="137" y="437"/>
                    </a:lnTo>
                    <a:lnTo>
                      <a:pt x="136" y="437"/>
                    </a:lnTo>
                    <a:lnTo>
                      <a:pt x="134" y="437"/>
                    </a:lnTo>
                    <a:lnTo>
                      <a:pt x="132" y="437"/>
                    </a:lnTo>
                    <a:lnTo>
                      <a:pt x="131" y="437"/>
                    </a:lnTo>
                    <a:lnTo>
                      <a:pt x="131" y="435"/>
                    </a:lnTo>
                    <a:lnTo>
                      <a:pt x="129" y="435"/>
                    </a:lnTo>
                    <a:lnTo>
                      <a:pt x="127" y="433"/>
                    </a:lnTo>
                    <a:lnTo>
                      <a:pt x="125" y="430"/>
                    </a:lnTo>
                    <a:lnTo>
                      <a:pt x="124" y="430"/>
                    </a:lnTo>
                    <a:lnTo>
                      <a:pt x="122" y="430"/>
                    </a:lnTo>
                    <a:lnTo>
                      <a:pt x="122" y="428"/>
                    </a:lnTo>
                    <a:lnTo>
                      <a:pt x="120" y="427"/>
                    </a:lnTo>
                    <a:lnTo>
                      <a:pt x="119" y="427"/>
                    </a:lnTo>
                    <a:lnTo>
                      <a:pt x="117" y="425"/>
                    </a:lnTo>
                    <a:lnTo>
                      <a:pt x="115" y="425"/>
                    </a:lnTo>
                    <a:lnTo>
                      <a:pt x="115" y="427"/>
                    </a:lnTo>
                    <a:lnTo>
                      <a:pt x="115" y="428"/>
                    </a:lnTo>
                    <a:lnTo>
                      <a:pt x="115" y="430"/>
                    </a:lnTo>
                    <a:lnTo>
                      <a:pt x="114" y="430"/>
                    </a:lnTo>
                    <a:lnTo>
                      <a:pt x="115" y="430"/>
                    </a:lnTo>
                    <a:lnTo>
                      <a:pt x="114" y="430"/>
                    </a:lnTo>
                    <a:lnTo>
                      <a:pt x="114" y="432"/>
                    </a:lnTo>
                    <a:lnTo>
                      <a:pt x="114" y="433"/>
                    </a:lnTo>
                    <a:lnTo>
                      <a:pt x="114" y="435"/>
                    </a:lnTo>
                    <a:lnTo>
                      <a:pt x="114" y="437"/>
                    </a:lnTo>
                    <a:lnTo>
                      <a:pt x="112" y="437"/>
                    </a:lnTo>
                    <a:lnTo>
                      <a:pt x="108" y="438"/>
                    </a:lnTo>
                    <a:lnTo>
                      <a:pt x="102" y="440"/>
                    </a:lnTo>
                    <a:lnTo>
                      <a:pt x="100" y="440"/>
                    </a:lnTo>
                    <a:lnTo>
                      <a:pt x="98" y="442"/>
                    </a:lnTo>
                    <a:lnTo>
                      <a:pt x="98" y="444"/>
                    </a:lnTo>
                    <a:lnTo>
                      <a:pt x="98" y="445"/>
                    </a:lnTo>
                    <a:lnTo>
                      <a:pt x="97" y="445"/>
                    </a:lnTo>
                    <a:lnTo>
                      <a:pt x="97" y="447"/>
                    </a:lnTo>
                    <a:lnTo>
                      <a:pt x="97" y="449"/>
                    </a:lnTo>
                    <a:lnTo>
                      <a:pt x="93" y="450"/>
                    </a:lnTo>
                    <a:lnTo>
                      <a:pt x="91" y="450"/>
                    </a:lnTo>
                    <a:lnTo>
                      <a:pt x="90" y="452"/>
                    </a:lnTo>
                    <a:lnTo>
                      <a:pt x="88" y="452"/>
                    </a:lnTo>
                    <a:lnTo>
                      <a:pt x="88" y="454"/>
                    </a:lnTo>
                    <a:lnTo>
                      <a:pt x="88" y="456"/>
                    </a:lnTo>
                    <a:lnTo>
                      <a:pt x="90" y="456"/>
                    </a:lnTo>
                    <a:lnTo>
                      <a:pt x="90" y="457"/>
                    </a:lnTo>
                    <a:lnTo>
                      <a:pt x="85" y="459"/>
                    </a:lnTo>
                    <a:lnTo>
                      <a:pt x="83" y="462"/>
                    </a:lnTo>
                    <a:lnTo>
                      <a:pt x="73" y="466"/>
                    </a:lnTo>
                    <a:lnTo>
                      <a:pt x="71" y="466"/>
                    </a:lnTo>
                    <a:lnTo>
                      <a:pt x="63" y="464"/>
                    </a:lnTo>
                    <a:lnTo>
                      <a:pt x="61" y="464"/>
                    </a:lnTo>
                    <a:lnTo>
                      <a:pt x="59" y="464"/>
                    </a:lnTo>
                    <a:lnTo>
                      <a:pt x="59" y="462"/>
                    </a:lnTo>
                    <a:lnTo>
                      <a:pt x="61" y="461"/>
                    </a:lnTo>
                    <a:lnTo>
                      <a:pt x="59" y="461"/>
                    </a:lnTo>
                    <a:lnTo>
                      <a:pt x="61" y="461"/>
                    </a:lnTo>
                    <a:lnTo>
                      <a:pt x="59" y="459"/>
                    </a:lnTo>
                    <a:lnTo>
                      <a:pt x="61" y="457"/>
                    </a:lnTo>
                    <a:lnTo>
                      <a:pt x="59" y="457"/>
                    </a:lnTo>
                    <a:lnTo>
                      <a:pt x="59" y="456"/>
                    </a:lnTo>
                    <a:lnTo>
                      <a:pt x="61" y="456"/>
                    </a:lnTo>
                    <a:lnTo>
                      <a:pt x="61" y="454"/>
                    </a:lnTo>
                    <a:lnTo>
                      <a:pt x="61" y="452"/>
                    </a:lnTo>
                    <a:lnTo>
                      <a:pt x="59" y="452"/>
                    </a:lnTo>
                    <a:lnTo>
                      <a:pt x="59" y="450"/>
                    </a:lnTo>
                    <a:lnTo>
                      <a:pt x="59" y="449"/>
                    </a:lnTo>
                    <a:lnTo>
                      <a:pt x="59" y="447"/>
                    </a:lnTo>
                    <a:lnTo>
                      <a:pt x="57" y="447"/>
                    </a:lnTo>
                    <a:lnTo>
                      <a:pt x="57" y="445"/>
                    </a:lnTo>
                    <a:lnTo>
                      <a:pt x="57" y="444"/>
                    </a:lnTo>
                    <a:lnTo>
                      <a:pt x="59" y="442"/>
                    </a:lnTo>
                    <a:lnTo>
                      <a:pt x="57" y="442"/>
                    </a:lnTo>
                    <a:lnTo>
                      <a:pt x="59" y="440"/>
                    </a:lnTo>
                    <a:lnTo>
                      <a:pt x="57" y="440"/>
                    </a:lnTo>
                    <a:lnTo>
                      <a:pt x="57" y="438"/>
                    </a:lnTo>
                    <a:lnTo>
                      <a:pt x="57" y="437"/>
                    </a:lnTo>
                    <a:lnTo>
                      <a:pt x="57" y="435"/>
                    </a:lnTo>
                    <a:lnTo>
                      <a:pt x="56" y="435"/>
                    </a:lnTo>
                    <a:lnTo>
                      <a:pt x="56" y="433"/>
                    </a:lnTo>
                    <a:lnTo>
                      <a:pt x="54" y="433"/>
                    </a:lnTo>
                    <a:lnTo>
                      <a:pt x="54" y="432"/>
                    </a:lnTo>
                    <a:lnTo>
                      <a:pt x="54" y="427"/>
                    </a:lnTo>
                    <a:lnTo>
                      <a:pt x="54" y="425"/>
                    </a:lnTo>
                    <a:lnTo>
                      <a:pt x="52" y="423"/>
                    </a:lnTo>
                    <a:lnTo>
                      <a:pt x="52" y="421"/>
                    </a:lnTo>
                    <a:lnTo>
                      <a:pt x="51" y="420"/>
                    </a:lnTo>
                    <a:lnTo>
                      <a:pt x="49" y="418"/>
                    </a:lnTo>
                    <a:lnTo>
                      <a:pt x="49" y="416"/>
                    </a:lnTo>
                    <a:lnTo>
                      <a:pt x="49" y="415"/>
                    </a:lnTo>
                    <a:lnTo>
                      <a:pt x="49" y="413"/>
                    </a:lnTo>
                    <a:lnTo>
                      <a:pt x="49" y="410"/>
                    </a:lnTo>
                    <a:lnTo>
                      <a:pt x="49" y="408"/>
                    </a:lnTo>
                    <a:lnTo>
                      <a:pt x="49" y="406"/>
                    </a:lnTo>
                    <a:lnTo>
                      <a:pt x="46" y="401"/>
                    </a:lnTo>
                    <a:lnTo>
                      <a:pt x="46" y="399"/>
                    </a:lnTo>
                    <a:lnTo>
                      <a:pt x="46" y="398"/>
                    </a:lnTo>
                    <a:lnTo>
                      <a:pt x="44" y="398"/>
                    </a:lnTo>
                    <a:lnTo>
                      <a:pt x="44" y="396"/>
                    </a:lnTo>
                    <a:lnTo>
                      <a:pt x="42" y="396"/>
                    </a:lnTo>
                    <a:lnTo>
                      <a:pt x="42" y="394"/>
                    </a:lnTo>
                    <a:lnTo>
                      <a:pt x="40" y="394"/>
                    </a:lnTo>
                    <a:lnTo>
                      <a:pt x="39" y="394"/>
                    </a:lnTo>
                    <a:lnTo>
                      <a:pt x="37" y="393"/>
                    </a:lnTo>
                    <a:lnTo>
                      <a:pt x="37" y="391"/>
                    </a:lnTo>
                    <a:lnTo>
                      <a:pt x="37" y="389"/>
                    </a:lnTo>
                    <a:lnTo>
                      <a:pt x="37" y="387"/>
                    </a:lnTo>
                    <a:lnTo>
                      <a:pt x="37" y="386"/>
                    </a:lnTo>
                    <a:lnTo>
                      <a:pt x="39" y="386"/>
                    </a:lnTo>
                    <a:lnTo>
                      <a:pt x="39" y="384"/>
                    </a:lnTo>
                    <a:lnTo>
                      <a:pt x="40" y="384"/>
                    </a:lnTo>
                    <a:lnTo>
                      <a:pt x="40" y="382"/>
                    </a:lnTo>
                    <a:lnTo>
                      <a:pt x="39" y="382"/>
                    </a:lnTo>
                    <a:lnTo>
                      <a:pt x="39" y="381"/>
                    </a:lnTo>
                    <a:lnTo>
                      <a:pt x="37" y="381"/>
                    </a:lnTo>
                    <a:lnTo>
                      <a:pt x="35" y="381"/>
                    </a:lnTo>
                    <a:lnTo>
                      <a:pt x="35" y="379"/>
                    </a:lnTo>
                    <a:lnTo>
                      <a:pt x="34" y="379"/>
                    </a:lnTo>
                    <a:lnTo>
                      <a:pt x="32" y="379"/>
                    </a:lnTo>
                    <a:lnTo>
                      <a:pt x="32" y="377"/>
                    </a:lnTo>
                    <a:lnTo>
                      <a:pt x="30" y="377"/>
                    </a:lnTo>
                    <a:lnTo>
                      <a:pt x="30" y="376"/>
                    </a:lnTo>
                    <a:lnTo>
                      <a:pt x="30" y="374"/>
                    </a:lnTo>
                    <a:lnTo>
                      <a:pt x="32" y="374"/>
                    </a:lnTo>
                    <a:lnTo>
                      <a:pt x="34" y="374"/>
                    </a:lnTo>
                    <a:lnTo>
                      <a:pt x="34" y="372"/>
                    </a:lnTo>
                    <a:lnTo>
                      <a:pt x="34" y="370"/>
                    </a:lnTo>
                    <a:lnTo>
                      <a:pt x="32" y="370"/>
                    </a:lnTo>
                    <a:lnTo>
                      <a:pt x="32" y="369"/>
                    </a:lnTo>
                    <a:lnTo>
                      <a:pt x="32" y="367"/>
                    </a:lnTo>
                    <a:lnTo>
                      <a:pt x="32" y="365"/>
                    </a:lnTo>
                    <a:lnTo>
                      <a:pt x="30" y="365"/>
                    </a:lnTo>
                    <a:lnTo>
                      <a:pt x="30" y="364"/>
                    </a:lnTo>
                    <a:lnTo>
                      <a:pt x="32" y="364"/>
                    </a:lnTo>
                    <a:lnTo>
                      <a:pt x="34" y="362"/>
                    </a:lnTo>
                    <a:lnTo>
                      <a:pt x="35" y="362"/>
                    </a:lnTo>
                    <a:lnTo>
                      <a:pt x="37" y="362"/>
                    </a:lnTo>
                    <a:lnTo>
                      <a:pt x="37" y="360"/>
                    </a:lnTo>
                    <a:lnTo>
                      <a:pt x="37" y="359"/>
                    </a:lnTo>
                    <a:lnTo>
                      <a:pt x="39" y="359"/>
                    </a:lnTo>
                    <a:lnTo>
                      <a:pt x="39" y="357"/>
                    </a:lnTo>
                    <a:lnTo>
                      <a:pt x="37" y="357"/>
                    </a:lnTo>
                    <a:lnTo>
                      <a:pt x="37" y="355"/>
                    </a:lnTo>
                    <a:lnTo>
                      <a:pt x="39" y="355"/>
                    </a:lnTo>
                    <a:lnTo>
                      <a:pt x="37" y="355"/>
                    </a:lnTo>
                    <a:lnTo>
                      <a:pt x="35" y="355"/>
                    </a:lnTo>
                    <a:lnTo>
                      <a:pt x="35" y="353"/>
                    </a:lnTo>
                    <a:lnTo>
                      <a:pt x="34" y="352"/>
                    </a:lnTo>
                    <a:lnTo>
                      <a:pt x="32" y="352"/>
                    </a:lnTo>
                    <a:lnTo>
                      <a:pt x="32" y="350"/>
                    </a:lnTo>
                    <a:lnTo>
                      <a:pt x="34" y="350"/>
                    </a:lnTo>
                    <a:lnTo>
                      <a:pt x="35" y="350"/>
                    </a:lnTo>
                    <a:lnTo>
                      <a:pt x="35" y="348"/>
                    </a:lnTo>
                    <a:lnTo>
                      <a:pt x="35" y="347"/>
                    </a:lnTo>
                    <a:lnTo>
                      <a:pt x="37" y="347"/>
                    </a:lnTo>
                    <a:lnTo>
                      <a:pt x="37" y="345"/>
                    </a:lnTo>
                    <a:lnTo>
                      <a:pt x="39" y="345"/>
                    </a:lnTo>
                    <a:lnTo>
                      <a:pt x="39" y="343"/>
                    </a:lnTo>
                    <a:lnTo>
                      <a:pt x="40" y="342"/>
                    </a:lnTo>
                    <a:lnTo>
                      <a:pt x="40" y="340"/>
                    </a:lnTo>
                    <a:lnTo>
                      <a:pt x="40" y="338"/>
                    </a:lnTo>
                    <a:lnTo>
                      <a:pt x="39" y="338"/>
                    </a:lnTo>
                    <a:lnTo>
                      <a:pt x="39" y="336"/>
                    </a:lnTo>
                    <a:lnTo>
                      <a:pt x="37" y="335"/>
                    </a:lnTo>
                    <a:lnTo>
                      <a:pt x="35" y="335"/>
                    </a:lnTo>
                    <a:lnTo>
                      <a:pt x="35" y="333"/>
                    </a:lnTo>
                    <a:lnTo>
                      <a:pt x="34" y="333"/>
                    </a:lnTo>
                    <a:lnTo>
                      <a:pt x="34" y="331"/>
                    </a:lnTo>
                    <a:lnTo>
                      <a:pt x="32" y="331"/>
                    </a:lnTo>
                    <a:lnTo>
                      <a:pt x="32" y="330"/>
                    </a:lnTo>
                    <a:lnTo>
                      <a:pt x="30" y="330"/>
                    </a:lnTo>
                    <a:lnTo>
                      <a:pt x="30" y="328"/>
                    </a:lnTo>
                    <a:lnTo>
                      <a:pt x="29" y="328"/>
                    </a:lnTo>
                    <a:lnTo>
                      <a:pt x="27" y="326"/>
                    </a:lnTo>
                    <a:lnTo>
                      <a:pt x="25" y="326"/>
                    </a:lnTo>
                    <a:lnTo>
                      <a:pt x="25" y="325"/>
                    </a:lnTo>
                    <a:lnTo>
                      <a:pt x="25" y="323"/>
                    </a:lnTo>
                    <a:lnTo>
                      <a:pt x="23" y="323"/>
                    </a:lnTo>
                    <a:lnTo>
                      <a:pt x="23" y="321"/>
                    </a:lnTo>
                    <a:lnTo>
                      <a:pt x="25" y="321"/>
                    </a:lnTo>
                    <a:lnTo>
                      <a:pt x="25" y="319"/>
                    </a:lnTo>
                    <a:lnTo>
                      <a:pt x="23" y="318"/>
                    </a:lnTo>
                    <a:lnTo>
                      <a:pt x="23" y="316"/>
                    </a:lnTo>
                    <a:lnTo>
                      <a:pt x="23" y="314"/>
                    </a:lnTo>
                    <a:lnTo>
                      <a:pt x="22" y="314"/>
                    </a:lnTo>
                    <a:lnTo>
                      <a:pt x="22" y="313"/>
                    </a:lnTo>
                    <a:lnTo>
                      <a:pt x="22" y="311"/>
                    </a:lnTo>
                    <a:lnTo>
                      <a:pt x="20" y="311"/>
                    </a:lnTo>
                    <a:lnTo>
                      <a:pt x="22" y="311"/>
                    </a:lnTo>
                    <a:lnTo>
                      <a:pt x="22" y="309"/>
                    </a:lnTo>
                    <a:lnTo>
                      <a:pt x="22" y="308"/>
                    </a:lnTo>
                    <a:lnTo>
                      <a:pt x="22" y="306"/>
                    </a:lnTo>
                    <a:lnTo>
                      <a:pt x="22" y="304"/>
                    </a:lnTo>
                    <a:lnTo>
                      <a:pt x="20" y="304"/>
                    </a:lnTo>
                    <a:lnTo>
                      <a:pt x="20" y="302"/>
                    </a:lnTo>
                    <a:lnTo>
                      <a:pt x="20" y="301"/>
                    </a:lnTo>
                    <a:lnTo>
                      <a:pt x="20" y="299"/>
                    </a:lnTo>
                    <a:lnTo>
                      <a:pt x="20" y="297"/>
                    </a:lnTo>
                    <a:lnTo>
                      <a:pt x="18" y="297"/>
                    </a:lnTo>
                    <a:lnTo>
                      <a:pt x="18" y="296"/>
                    </a:lnTo>
                    <a:lnTo>
                      <a:pt x="17" y="296"/>
                    </a:lnTo>
                    <a:lnTo>
                      <a:pt x="17" y="294"/>
                    </a:lnTo>
                    <a:lnTo>
                      <a:pt x="18" y="294"/>
                    </a:lnTo>
                    <a:lnTo>
                      <a:pt x="18" y="292"/>
                    </a:lnTo>
                    <a:lnTo>
                      <a:pt x="20" y="292"/>
                    </a:lnTo>
                    <a:lnTo>
                      <a:pt x="18" y="292"/>
                    </a:lnTo>
                    <a:lnTo>
                      <a:pt x="20" y="292"/>
                    </a:lnTo>
                    <a:lnTo>
                      <a:pt x="20" y="290"/>
                    </a:lnTo>
                    <a:lnTo>
                      <a:pt x="18" y="290"/>
                    </a:lnTo>
                    <a:lnTo>
                      <a:pt x="18" y="289"/>
                    </a:lnTo>
                    <a:lnTo>
                      <a:pt x="17" y="289"/>
                    </a:lnTo>
                    <a:lnTo>
                      <a:pt x="15" y="289"/>
                    </a:lnTo>
                    <a:lnTo>
                      <a:pt x="13" y="289"/>
                    </a:lnTo>
                    <a:lnTo>
                      <a:pt x="13" y="287"/>
                    </a:lnTo>
                    <a:lnTo>
                      <a:pt x="12" y="287"/>
                    </a:lnTo>
                    <a:lnTo>
                      <a:pt x="12" y="285"/>
                    </a:lnTo>
                    <a:lnTo>
                      <a:pt x="12" y="284"/>
                    </a:lnTo>
                    <a:lnTo>
                      <a:pt x="12" y="282"/>
                    </a:lnTo>
                    <a:lnTo>
                      <a:pt x="12" y="280"/>
                    </a:lnTo>
                    <a:lnTo>
                      <a:pt x="10" y="280"/>
                    </a:lnTo>
                    <a:lnTo>
                      <a:pt x="10" y="279"/>
                    </a:lnTo>
                    <a:lnTo>
                      <a:pt x="8" y="277"/>
                    </a:lnTo>
                    <a:lnTo>
                      <a:pt x="6" y="275"/>
                    </a:lnTo>
                    <a:lnTo>
                      <a:pt x="6" y="272"/>
                    </a:lnTo>
                    <a:lnTo>
                      <a:pt x="6" y="270"/>
                    </a:lnTo>
                    <a:lnTo>
                      <a:pt x="6" y="268"/>
                    </a:lnTo>
                    <a:lnTo>
                      <a:pt x="6" y="267"/>
                    </a:lnTo>
                    <a:lnTo>
                      <a:pt x="5" y="267"/>
                    </a:lnTo>
                    <a:lnTo>
                      <a:pt x="3" y="263"/>
                    </a:lnTo>
                    <a:lnTo>
                      <a:pt x="1" y="263"/>
                    </a:lnTo>
                    <a:lnTo>
                      <a:pt x="0" y="263"/>
                    </a:lnTo>
                    <a:lnTo>
                      <a:pt x="1" y="263"/>
                    </a:lnTo>
                    <a:lnTo>
                      <a:pt x="1" y="262"/>
                    </a:lnTo>
                    <a:lnTo>
                      <a:pt x="3" y="262"/>
                    </a:lnTo>
                    <a:lnTo>
                      <a:pt x="3" y="260"/>
                    </a:lnTo>
                    <a:lnTo>
                      <a:pt x="5" y="260"/>
                    </a:lnTo>
                    <a:lnTo>
                      <a:pt x="5" y="258"/>
                    </a:lnTo>
                    <a:lnTo>
                      <a:pt x="6" y="256"/>
                    </a:lnTo>
                    <a:lnTo>
                      <a:pt x="6" y="258"/>
                    </a:lnTo>
                    <a:lnTo>
                      <a:pt x="8" y="258"/>
                    </a:lnTo>
                    <a:lnTo>
                      <a:pt x="8" y="256"/>
                    </a:lnTo>
                    <a:lnTo>
                      <a:pt x="10" y="256"/>
                    </a:lnTo>
                    <a:lnTo>
                      <a:pt x="10" y="255"/>
                    </a:lnTo>
                    <a:lnTo>
                      <a:pt x="8" y="255"/>
                    </a:lnTo>
                    <a:lnTo>
                      <a:pt x="10" y="253"/>
                    </a:lnTo>
                    <a:lnTo>
                      <a:pt x="12" y="253"/>
                    </a:lnTo>
                    <a:lnTo>
                      <a:pt x="12" y="251"/>
                    </a:lnTo>
                    <a:lnTo>
                      <a:pt x="12" y="250"/>
                    </a:lnTo>
                    <a:lnTo>
                      <a:pt x="13" y="250"/>
                    </a:lnTo>
                    <a:lnTo>
                      <a:pt x="13" y="248"/>
                    </a:lnTo>
                    <a:lnTo>
                      <a:pt x="15" y="248"/>
                    </a:lnTo>
                    <a:lnTo>
                      <a:pt x="15" y="246"/>
                    </a:lnTo>
                    <a:lnTo>
                      <a:pt x="17" y="246"/>
                    </a:lnTo>
                    <a:lnTo>
                      <a:pt x="17" y="245"/>
                    </a:lnTo>
                    <a:lnTo>
                      <a:pt x="18" y="243"/>
                    </a:lnTo>
                    <a:lnTo>
                      <a:pt x="20" y="243"/>
                    </a:lnTo>
                    <a:lnTo>
                      <a:pt x="22" y="243"/>
                    </a:lnTo>
                    <a:lnTo>
                      <a:pt x="22" y="241"/>
                    </a:lnTo>
                    <a:lnTo>
                      <a:pt x="22" y="239"/>
                    </a:lnTo>
                    <a:lnTo>
                      <a:pt x="20" y="239"/>
                    </a:lnTo>
                    <a:lnTo>
                      <a:pt x="20" y="238"/>
                    </a:lnTo>
                    <a:lnTo>
                      <a:pt x="22" y="236"/>
                    </a:lnTo>
                    <a:lnTo>
                      <a:pt x="22" y="234"/>
                    </a:lnTo>
                    <a:lnTo>
                      <a:pt x="23" y="234"/>
                    </a:lnTo>
                    <a:lnTo>
                      <a:pt x="29" y="231"/>
                    </a:lnTo>
                    <a:lnTo>
                      <a:pt x="29" y="229"/>
                    </a:lnTo>
                    <a:lnTo>
                      <a:pt x="27" y="228"/>
                    </a:lnTo>
                    <a:lnTo>
                      <a:pt x="25" y="228"/>
                    </a:lnTo>
                    <a:lnTo>
                      <a:pt x="23" y="226"/>
                    </a:lnTo>
                    <a:lnTo>
                      <a:pt x="22" y="226"/>
                    </a:lnTo>
                    <a:lnTo>
                      <a:pt x="20" y="226"/>
                    </a:lnTo>
                    <a:lnTo>
                      <a:pt x="18" y="226"/>
                    </a:lnTo>
                    <a:lnTo>
                      <a:pt x="15" y="224"/>
                    </a:lnTo>
                    <a:lnTo>
                      <a:pt x="13" y="224"/>
                    </a:lnTo>
                    <a:lnTo>
                      <a:pt x="12" y="219"/>
                    </a:lnTo>
                    <a:lnTo>
                      <a:pt x="12" y="214"/>
                    </a:lnTo>
                    <a:lnTo>
                      <a:pt x="10" y="211"/>
                    </a:lnTo>
                    <a:lnTo>
                      <a:pt x="10" y="209"/>
                    </a:lnTo>
                    <a:lnTo>
                      <a:pt x="8" y="205"/>
                    </a:lnTo>
                    <a:lnTo>
                      <a:pt x="12" y="202"/>
                    </a:lnTo>
                    <a:lnTo>
                      <a:pt x="12" y="200"/>
                    </a:lnTo>
                    <a:lnTo>
                      <a:pt x="12" y="199"/>
                    </a:lnTo>
                    <a:lnTo>
                      <a:pt x="13" y="200"/>
                    </a:lnTo>
                    <a:lnTo>
                      <a:pt x="13" y="199"/>
                    </a:lnTo>
                    <a:lnTo>
                      <a:pt x="15" y="199"/>
                    </a:lnTo>
                    <a:lnTo>
                      <a:pt x="13" y="199"/>
                    </a:lnTo>
                    <a:lnTo>
                      <a:pt x="13" y="197"/>
                    </a:lnTo>
                    <a:lnTo>
                      <a:pt x="15" y="195"/>
                    </a:lnTo>
                    <a:lnTo>
                      <a:pt x="15" y="194"/>
                    </a:lnTo>
                    <a:lnTo>
                      <a:pt x="17" y="194"/>
                    </a:lnTo>
                    <a:lnTo>
                      <a:pt x="17" y="192"/>
                    </a:lnTo>
                    <a:lnTo>
                      <a:pt x="17" y="194"/>
                    </a:lnTo>
                    <a:lnTo>
                      <a:pt x="17" y="192"/>
                    </a:lnTo>
                    <a:lnTo>
                      <a:pt x="18" y="192"/>
                    </a:lnTo>
                    <a:lnTo>
                      <a:pt x="17" y="192"/>
                    </a:lnTo>
                    <a:lnTo>
                      <a:pt x="17" y="190"/>
                    </a:lnTo>
                    <a:lnTo>
                      <a:pt x="15" y="188"/>
                    </a:lnTo>
                    <a:lnTo>
                      <a:pt x="13" y="187"/>
                    </a:lnTo>
                    <a:lnTo>
                      <a:pt x="13" y="188"/>
                    </a:lnTo>
                    <a:lnTo>
                      <a:pt x="13" y="187"/>
                    </a:lnTo>
                    <a:lnTo>
                      <a:pt x="12" y="187"/>
                    </a:lnTo>
                    <a:lnTo>
                      <a:pt x="12" y="185"/>
                    </a:lnTo>
                    <a:lnTo>
                      <a:pt x="12" y="183"/>
                    </a:lnTo>
                    <a:lnTo>
                      <a:pt x="10" y="183"/>
                    </a:lnTo>
                    <a:lnTo>
                      <a:pt x="10" y="182"/>
                    </a:lnTo>
                    <a:lnTo>
                      <a:pt x="10" y="180"/>
                    </a:lnTo>
                    <a:lnTo>
                      <a:pt x="10" y="178"/>
                    </a:lnTo>
                    <a:lnTo>
                      <a:pt x="10" y="177"/>
                    </a:lnTo>
                    <a:lnTo>
                      <a:pt x="12" y="177"/>
                    </a:lnTo>
                    <a:lnTo>
                      <a:pt x="12" y="175"/>
                    </a:lnTo>
                    <a:lnTo>
                      <a:pt x="13" y="175"/>
                    </a:lnTo>
                    <a:lnTo>
                      <a:pt x="15" y="175"/>
                    </a:lnTo>
                    <a:lnTo>
                      <a:pt x="13" y="173"/>
                    </a:lnTo>
                    <a:lnTo>
                      <a:pt x="13" y="171"/>
                    </a:lnTo>
                    <a:lnTo>
                      <a:pt x="15" y="171"/>
                    </a:lnTo>
                    <a:lnTo>
                      <a:pt x="15" y="170"/>
                    </a:lnTo>
                    <a:lnTo>
                      <a:pt x="15" y="168"/>
                    </a:lnTo>
                    <a:lnTo>
                      <a:pt x="17" y="170"/>
                    </a:lnTo>
                    <a:lnTo>
                      <a:pt x="17" y="168"/>
                    </a:lnTo>
                    <a:lnTo>
                      <a:pt x="17" y="166"/>
                    </a:lnTo>
                    <a:lnTo>
                      <a:pt x="18" y="166"/>
                    </a:lnTo>
                    <a:lnTo>
                      <a:pt x="18" y="165"/>
                    </a:lnTo>
                    <a:lnTo>
                      <a:pt x="20" y="165"/>
                    </a:lnTo>
                    <a:lnTo>
                      <a:pt x="20" y="163"/>
                    </a:lnTo>
                    <a:lnTo>
                      <a:pt x="22" y="163"/>
                    </a:lnTo>
                    <a:lnTo>
                      <a:pt x="22" y="161"/>
                    </a:lnTo>
                    <a:lnTo>
                      <a:pt x="22" y="160"/>
                    </a:lnTo>
                    <a:lnTo>
                      <a:pt x="22" y="158"/>
                    </a:lnTo>
                    <a:lnTo>
                      <a:pt x="22" y="156"/>
                    </a:lnTo>
                    <a:lnTo>
                      <a:pt x="23" y="156"/>
                    </a:lnTo>
                    <a:lnTo>
                      <a:pt x="25" y="156"/>
                    </a:lnTo>
                    <a:lnTo>
                      <a:pt x="27" y="156"/>
                    </a:lnTo>
                    <a:lnTo>
                      <a:pt x="29" y="156"/>
                    </a:lnTo>
                    <a:lnTo>
                      <a:pt x="27" y="156"/>
                    </a:lnTo>
                    <a:lnTo>
                      <a:pt x="27" y="154"/>
                    </a:lnTo>
                    <a:lnTo>
                      <a:pt x="27" y="153"/>
                    </a:lnTo>
                    <a:lnTo>
                      <a:pt x="27" y="151"/>
                    </a:lnTo>
                    <a:lnTo>
                      <a:pt x="25" y="151"/>
                    </a:lnTo>
                    <a:lnTo>
                      <a:pt x="25" y="149"/>
                    </a:lnTo>
                    <a:lnTo>
                      <a:pt x="23" y="149"/>
                    </a:lnTo>
                    <a:lnTo>
                      <a:pt x="23" y="148"/>
                    </a:lnTo>
                    <a:lnTo>
                      <a:pt x="23" y="146"/>
                    </a:lnTo>
                    <a:lnTo>
                      <a:pt x="22" y="146"/>
                    </a:lnTo>
                    <a:lnTo>
                      <a:pt x="23" y="144"/>
                    </a:lnTo>
                    <a:lnTo>
                      <a:pt x="22" y="144"/>
                    </a:lnTo>
                    <a:lnTo>
                      <a:pt x="22" y="143"/>
                    </a:lnTo>
                    <a:lnTo>
                      <a:pt x="22" y="141"/>
                    </a:lnTo>
                    <a:lnTo>
                      <a:pt x="22" y="139"/>
                    </a:lnTo>
                    <a:lnTo>
                      <a:pt x="20" y="139"/>
                    </a:lnTo>
                    <a:lnTo>
                      <a:pt x="20" y="137"/>
                    </a:lnTo>
                    <a:lnTo>
                      <a:pt x="20" y="136"/>
                    </a:lnTo>
                    <a:lnTo>
                      <a:pt x="22" y="136"/>
                    </a:lnTo>
                    <a:lnTo>
                      <a:pt x="23" y="136"/>
                    </a:lnTo>
                    <a:lnTo>
                      <a:pt x="23" y="134"/>
                    </a:lnTo>
                    <a:lnTo>
                      <a:pt x="23" y="132"/>
                    </a:lnTo>
                    <a:lnTo>
                      <a:pt x="25" y="132"/>
                    </a:lnTo>
                    <a:lnTo>
                      <a:pt x="25" y="131"/>
                    </a:lnTo>
                    <a:lnTo>
                      <a:pt x="25" y="129"/>
                    </a:lnTo>
                    <a:lnTo>
                      <a:pt x="25" y="127"/>
                    </a:lnTo>
                    <a:lnTo>
                      <a:pt x="27" y="125"/>
                    </a:lnTo>
                    <a:lnTo>
                      <a:pt x="25" y="125"/>
                    </a:lnTo>
                    <a:lnTo>
                      <a:pt x="27" y="125"/>
                    </a:lnTo>
                    <a:lnTo>
                      <a:pt x="27" y="124"/>
                    </a:lnTo>
                    <a:lnTo>
                      <a:pt x="27" y="122"/>
                    </a:lnTo>
                    <a:lnTo>
                      <a:pt x="27" y="120"/>
                    </a:lnTo>
                    <a:lnTo>
                      <a:pt x="27" y="119"/>
                    </a:lnTo>
                    <a:lnTo>
                      <a:pt x="27" y="117"/>
                    </a:lnTo>
                    <a:lnTo>
                      <a:pt x="27" y="115"/>
                    </a:lnTo>
                    <a:lnTo>
                      <a:pt x="27" y="114"/>
                    </a:lnTo>
                    <a:lnTo>
                      <a:pt x="27" y="112"/>
                    </a:lnTo>
                    <a:lnTo>
                      <a:pt x="27" y="114"/>
                    </a:lnTo>
                    <a:lnTo>
                      <a:pt x="25" y="112"/>
                    </a:lnTo>
                    <a:lnTo>
                      <a:pt x="27" y="112"/>
                    </a:lnTo>
                    <a:lnTo>
                      <a:pt x="27" y="110"/>
                    </a:lnTo>
                    <a:lnTo>
                      <a:pt x="27" y="108"/>
                    </a:lnTo>
                    <a:lnTo>
                      <a:pt x="29" y="108"/>
                    </a:lnTo>
                    <a:lnTo>
                      <a:pt x="27" y="107"/>
                    </a:lnTo>
                    <a:lnTo>
                      <a:pt x="29" y="107"/>
                    </a:lnTo>
                    <a:lnTo>
                      <a:pt x="29" y="105"/>
                    </a:lnTo>
                    <a:lnTo>
                      <a:pt x="30" y="105"/>
                    </a:lnTo>
                    <a:lnTo>
                      <a:pt x="30" y="103"/>
                    </a:lnTo>
                    <a:lnTo>
                      <a:pt x="32" y="103"/>
                    </a:lnTo>
                    <a:lnTo>
                      <a:pt x="30" y="103"/>
                    </a:lnTo>
                    <a:lnTo>
                      <a:pt x="32" y="103"/>
                    </a:lnTo>
                    <a:lnTo>
                      <a:pt x="30" y="103"/>
                    </a:lnTo>
                    <a:lnTo>
                      <a:pt x="32" y="103"/>
                    </a:lnTo>
                    <a:lnTo>
                      <a:pt x="30" y="102"/>
                    </a:lnTo>
                    <a:lnTo>
                      <a:pt x="30" y="100"/>
                    </a:lnTo>
                    <a:lnTo>
                      <a:pt x="32" y="100"/>
                    </a:lnTo>
                    <a:lnTo>
                      <a:pt x="32" y="98"/>
                    </a:lnTo>
                    <a:lnTo>
                      <a:pt x="34" y="98"/>
                    </a:lnTo>
                    <a:lnTo>
                      <a:pt x="34" y="97"/>
                    </a:lnTo>
                    <a:lnTo>
                      <a:pt x="32" y="97"/>
                    </a:lnTo>
                    <a:lnTo>
                      <a:pt x="34" y="97"/>
                    </a:lnTo>
                    <a:lnTo>
                      <a:pt x="34" y="98"/>
                    </a:lnTo>
                    <a:lnTo>
                      <a:pt x="34" y="97"/>
                    </a:lnTo>
                    <a:lnTo>
                      <a:pt x="32" y="93"/>
                    </a:lnTo>
                    <a:lnTo>
                      <a:pt x="29" y="86"/>
                    </a:lnTo>
                    <a:lnTo>
                      <a:pt x="27" y="85"/>
                    </a:lnTo>
                    <a:lnTo>
                      <a:pt x="25" y="81"/>
                    </a:lnTo>
                    <a:lnTo>
                      <a:pt x="25" y="80"/>
                    </a:lnTo>
                    <a:lnTo>
                      <a:pt x="23" y="78"/>
                    </a:lnTo>
                    <a:lnTo>
                      <a:pt x="23" y="76"/>
                    </a:lnTo>
                    <a:lnTo>
                      <a:pt x="22" y="74"/>
                    </a:lnTo>
                    <a:lnTo>
                      <a:pt x="20" y="73"/>
                    </a:lnTo>
                    <a:lnTo>
                      <a:pt x="20" y="69"/>
                    </a:lnTo>
                    <a:lnTo>
                      <a:pt x="18" y="68"/>
                    </a:lnTo>
                    <a:lnTo>
                      <a:pt x="18" y="66"/>
                    </a:lnTo>
                    <a:lnTo>
                      <a:pt x="15" y="64"/>
                    </a:lnTo>
                    <a:lnTo>
                      <a:pt x="15" y="61"/>
                    </a:lnTo>
                    <a:lnTo>
                      <a:pt x="13" y="61"/>
                    </a:lnTo>
                    <a:lnTo>
                      <a:pt x="13" y="59"/>
                    </a:lnTo>
                    <a:lnTo>
                      <a:pt x="12" y="56"/>
                    </a:lnTo>
                    <a:lnTo>
                      <a:pt x="10" y="54"/>
                    </a:lnTo>
                    <a:lnTo>
                      <a:pt x="8" y="52"/>
                    </a:lnTo>
                    <a:lnTo>
                      <a:pt x="6" y="51"/>
                    </a:lnTo>
                    <a:lnTo>
                      <a:pt x="6" y="49"/>
                    </a:lnTo>
                    <a:lnTo>
                      <a:pt x="5" y="46"/>
                    </a:lnTo>
                    <a:lnTo>
                      <a:pt x="3" y="44"/>
                    </a:lnTo>
                    <a:lnTo>
                      <a:pt x="3" y="42"/>
                    </a:lnTo>
                    <a:lnTo>
                      <a:pt x="3" y="44"/>
                    </a:lnTo>
                    <a:lnTo>
                      <a:pt x="3" y="42"/>
                    </a:lnTo>
                    <a:lnTo>
                      <a:pt x="5" y="42"/>
                    </a:lnTo>
                    <a:lnTo>
                      <a:pt x="6" y="44"/>
                    </a:lnTo>
                    <a:lnTo>
                      <a:pt x="6" y="42"/>
                    </a:lnTo>
                    <a:lnTo>
                      <a:pt x="8" y="42"/>
                    </a:lnTo>
                    <a:lnTo>
                      <a:pt x="10" y="44"/>
                    </a:lnTo>
                    <a:lnTo>
                      <a:pt x="10" y="42"/>
                    </a:lnTo>
                    <a:lnTo>
                      <a:pt x="10" y="44"/>
                    </a:lnTo>
                    <a:lnTo>
                      <a:pt x="12" y="42"/>
                    </a:lnTo>
                    <a:lnTo>
                      <a:pt x="13" y="42"/>
                    </a:lnTo>
                    <a:lnTo>
                      <a:pt x="13" y="44"/>
                    </a:lnTo>
                    <a:lnTo>
                      <a:pt x="13" y="42"/>
                    </a:lnTo>
                    <a:lnTo>
                      <a:pt x="15" y="42"/>
                    </a:lnTo>
                    <a:lnTo>
                      <a:pt x="15" y="44"/>
                    </a:lnTo>
                    <a:lnTo>
                      <a:pt x="15" y="42"/>
                    </a:lnTo>
                    <a:lnTo>
                      <a:pt x="17" y="44"/>
                    </a:lnTo>
                    <a:lnTo>
                      <a:pt x="18" y="44"/>
                    </a:lnTo>
                    <a:lnTo>
                      <a:pt x="20" y="44"/>
                    </a:lnTo>
                    <a:lnTo>
                      <a:pt x="22" y="44"/>
                    </a:lnTo>
                    <a:lnTo>
                      <a:pt x="22" y="46"/>
                    </a:lnTo>
                    <a:lnTo>
                      <a:pt x="22" y="44"/>
                    </a:lnTo>
                    <a:lnTo>
                      <a:pt x="23" y="44"/>
                    </a:lnTo>
                    <a:lnTo>
                      <a:pt x="23" y="46"/>
                    </a:lnTo>
                    <a:lnTo>
                      <a:pt x="25" y="46"/>
                    </a:lnTo>
                    <a:lnTo>
                      <a:pt x="27" y="46"/>
                    </a:lnTo>
                    <a:lnTo>
                      <a:pt x="25" y="46"/>
                    </a:lnTo>
                    <a:lnTo>
                      <a:pt x="27" y="46"/>
                    </a:lnTo>
                    <a:lnTo>
                      <a:pt x="27" y="44"/>
                    </a:lnTo>
                    <a:lnTo>
                      <a:pt x="29" y="46"/>
                    </a:lnTo>
                    <a:lnTo>
                      <a:pt x="29" y="44"/>
                    </a:lnTo>
                    <a:lnTo>
                      <a:pt x="29" y="46"/>
                    </a:lnTo>
                    <a:lnTo>
                      <a:pt x="30" y="44"/>
                    </a:lnTo>
                    <a:lnTo>
                      <a:pt x="30" y="46"/>
                    </a:lnTo>
                    <a:lnTo>
                      <a:pt x="30" y="47"/>
                    </a:lnTo>
                    <a:lnTo>
                      <a:pt x="32" y="49"/>
                    </a:lnTo>
                    <a:lnTo>
                      <a:pt x="32" y="51"/>
                    </a:lnTo>
                    <a:lnTo>
                      <a:pt x="37" y="49"/>
                    </a:lnTo>
                    <a:lnTo>
                      <a:pt x="37" y="47"/>
                    </a:lnTo>
                    <a:lnTo>
                      <a:pt x="39" y="47"/>
                    </a:lnTo>
                    <a:lnTo>
                      <a:pt x="39" y="46"/>
                    </a:lnTo>
                    <a:lnTo>
                      <a:pt x="40" y="47"/>
                    </a:lnTo>
                    <a:lnTo>
                      <a:pt x="40" y="46"/>
                    </a:lnTo>
                    <a:lnTo>
                      <a:pt x="42" y="46"/>
                    </a:lnTo>
                    <a:lnTo>
                      <a:pt x="42" y="47"/>
                    </a:lnTo>
                    <a:lnTo>
                      <a:pt x="42" y="46"/>
                    </a:lnTo>
                    <a:lnTo>
                      <a:pt x="44" y="46"/>
                    </a:lnTo>
                    <a:lnTo>
                      <a:pt x="46" y="46"/>
                    </a:lnTo>
                    <a:lnTo>
                      <a:pt x="46" y="44"/>
                    </a:lnTo>
                    <a:lnTo>
                      <a:pt x="47" y="44"/>
                    </a:lnTo>
                    <a:lnTo>
                      <a:pt x="47" y="42"/>
                    </a:lnTo>
                    <a:lnTo>
                      <a:pt x="49" y="42"/>
                    </a:lnTo>
                    <a:lnTo>
                      <a:pt x="49" y="40"/>
                    </a:lnTo>
                    <a:lnTo>
                      <a:pt x="51" y="39"/>
                    </a:lnTo>
                    <a:lnTo>
                      <a:pt x="51" y="37"/>
                    </a:lnTo>
                    <a:lnTo>
                      <a:pt x="52" y="37"/>
                    </a:lnTo>
                    <a:lnTo>
                      <a:pt x="52" y="35"/>
                    </a:lnTo>
                    <a:lnTo>
                      <a:pt x="52" y="34"/>
                    </a:lnTo>
                    <a:lnTo>
                      <a:pt x="54" y="34"/>
                    </a:lnTo>
                    <a:lnTo>
                      <a:pt x="56" y="32"/>
                    </a:lnTo>
                    <a:lnTo>
                      <a:pt x="56" y="34"/>
                    </a:lnTo>
                    <a:lnTo>
                      <a:pt x="57" y="32"/>
                    </a:lnTo>
                    <a:lnTo>
                      <a:pt x="57" y="34"/>
                    </a:lnTo>
                    <a:lnTo>
                      <a:pt x="59" y="32"/>
                    </a:lnTo>
                    <a:lnTo>
                      <a:pt x="61" y="32"/>
                    </a:lnTo>
                    <a:lnTo>
                      <a:pt x="63" y="34"/>
                    </a:lnTo>
                    <a:lnTo>
                      <a:pt x="64" y="34"/>
                    </a:lnTo>
                    <a:lnTo>
                      <a:pt x="64" y="35"/>
                    </a:lnTo>
                    <a:lnTo>
                      <a:pt x="66" y="35"/>
                    </a:lnTo>
                    <a:lnTo>
                      <a:pt x="66" y="34"/>
                    </a:lnTo>
                    <a:lnTo>
                      <a:pt x="66" y="32"/>
                    </a:lnTo>
                    <a:lnTo>
                      <a:pt x="66" y="30"/>
                    </a:lnTo>
                    <a:lnTo>
                      <a:pt x="68" y="32"/>
                    </a:lnTo>
                    <a:lnTo>
                      <a:pt x="68" y="30"/>
                    </a:lnTo>
                    <a:lnTo>
                      <a:pt x="69" y="30"/>
                    </a:lnTo>
                    <a:lnTo>
                      <a:pt x="69" y="29"/>
                    </a:lnTo>
                    <a:lnTo>
                      <a:pt x="71" y="27"/>
                    </a:lnTo>
                    <a:lnTo>
                      <a:pt x="73" y="27"/>
                    </a:lnTo>
                    <a:lnTo>
                      <a:pt x="74" y="25"/>
                    </a:lnTo>
                    <a:lnTo>
                      <a:pt x="74" y="27"/>
                    </a:lnTo>
                    <a:lnTo>
                      <a:pt x="74" y="25"/>
                    </a:lnTo>
                    <a:lnTo>
                      <a:pt x="76" y="25"/>
                    </a:lnTo>
                    <a:lnTo>
                      <a:pt x="76" y="23"/>
                    </a:lnTo>
                    <a:lnTo>
                      <a:pt x="74" y="23"/>
                    </a:lnTo>
                    <a:lnTo>
                      <a:pt x="76" y="23"/>
                    </a:lnTo>
                    <a:lnTo>
                      <a:pt x="78" y="23"/>
                    </a:lnTo>
                    <a:lnTo>
                      <a:pt x="80" y="23"/>
                    </a:lnTo>
                    <a:lnTo>
                      <a:pt x="80" y="22"/>
                    </a:lnTo>
                    <a:lnTo>
                      <a:pt x="78" y="22"/>
                    </a:lnTo>
                    <a:lnTo>
                      <a:pt x="80" y="22"/>
                    </a:lnTo>
                    <a:lnTo>
                      <a:pt x="81" y="22"/>
                    </a:lnTo>
                    <a:lnTo>
                      <a:pt x="83" y="22"/>
                    </a:lnTo>
                    <a:lnTo>
                      <a:pt x="85" y="22"/>
                    </a:lnTo>
                    <a:lnTo>
                      <a:pt x="85" y="20"/>
                    </a:lnTo>
                    <a:lnTo>
                      <a:pt x="86" y="20"/>
                    </a:lnTo>
                    <a:lnTo>
                      <a:pt x="88" y="20"/>
                    </a:lnTo>
                    <a:lnTo>
                      <a:pt x="90" y="18"/>
                    </a:lnTo>
                    <a:lnTo>
                      <a:pt x="90" y="17"/>
                    </a:lnTo>
                    <a:lnTo>
                      <a:pt x="91" y="17"/>
                    </a:lnTo>
                    <a:lnTo>
                      <a:pt x="91" y="15"/>
                    </a:lnTo>
                    <a:lnTo>
                      <a:pt x="93" y="15"/>
                    </a:lnTo>
                    <a:lnTo>
                      <a:pt x="91" y="15"/>
                    </a:lnTo>
                    <a:lnTo>
                      <a:pt x="93" y="15"/>
                    </a:lnTo>
                    <a:lnTo>
                      <a:pt x="93" y="13"/>
                    </a:lnTo>
                    <a:lnTo>
                      <a:pt x="95" y="13"/>
                    </a:lnTo>
                    <a:lnTo>
                      <a:pt x="95" y="12"/>
                    </a:lnTo>
                    <a:lnTo>
                      <a:pt x="97" y="12"/>
                    </a:lnTo>
                    <a:lnTo>
                      <a:pt x="98" y="10"/>
                    </a:lnTo>
                    <a:lnTo>
                      <a:pt x="100" y="10"/>
                    </a:lnTo>
                    <a:lnTo>
                      <a:pt x="100" y="8"/>
                    </a:lnTo>
                    <a:lnTo>
                      <a:pt x="102" y="8"/>
                    </a:lnTo>
                    <a:lnTo>
                      <a:pt x="102" y="6"/>
                    </a:lnTo>
                    <a:lnTo>
                      <a:pt x="103" y="6"/>
                    </a:lnTo>
                    <a:lnTo>
                      <a:pt x="105" y="6"/>
                    </a:lnTo>
                    <a:lnTo>
                      <a:pt x="107" y="6"/>
                    </a:lnTo>
                    <a:lnTo>
                      <a:pt x="108" y="6"/>
                    </a:lnTo>
                    <a:lnTo>
                      <a:pt x="110" y="6"/>
                    </a:lnTo>
                    <a:lnTo>
                      <a:pt x="108" y="6"/>
                    </a:lnTo>
                    <a:lnTo>
                      <a:pt x="110" y="6"/>
                    </a:lnTo>
                    <a:lnTo>
                      <a:pt x="112" y="6"/>
                    </a:lnTo>
                    <a:lnTo>
                      <a:pt x="112" y="5"/>
                    </a:lnTo>
                    <a:lnTo>
                      <a:pt x="114" y="5"/>
                    </a:lnTo>
                    <a:lnTo>
                      <a:pt x="115" y="5"/>
                    </a:lnTo>
                    <a:lnTo>
                      <a:pt x="115" y="3"/>
                    </a:lnTo>
                    <a:lnTo>
                      <a:pt x="115" y="5"/>
                    </a:lnTo>
                    <a:lnTo>
                      <a:pt x="117" y="5"/>
                    </a:lnTo>
                    <a:lnTo>
                      <a:pt x="117" y="3"/>
                    </a:lnTo>
                    <a:lnTo>
                      <a:pt x="119" y="3"/>
                    </a:lnTo>
                    <a:lnTo>
                      <a:pt x="120" y="3"/>
                    </a:lnTo>
                    <a:lnTo>
                      <a:pt x="120" y="5"/>
                    </a:lnTo>
                    <a:lnTo>
                      <a:pt x="120" y="3"/>
                    </a:lnTo>
                    <a:lnTo>
                      <a:pt x="122" y="3"/>
                    </a:lnTo>
                    <a:lnTo>
                      <a:pt x="122" y="5"/>
                    </a:lnTo>
                    <a:lnTo>
                      <a:pt x="122" y="3"/>
                    </a:lnTo>
                    <a:lnTo>
                      <a:pt x="124" y="3"/>
                    </a:lnTo>
                    <a:lnTo>
                      <a:pt x="125" y="3"/>
                    </a:lnTo>
                    <a:lnTo>
                      <a:pt x="125" y="1"/>
                    </a:lnTo>
                    <a:lnTo>
                      <a:pt x="125" y="3"/>
                    </a:lnTo>
                    <a:lnTo>
                      <a:pt x="125" y="1"/>
                    </a:lnTo>
                    <a:lnTo>
                      <a:pt x="127" y="3"/>
                    </a:lnTo>
                    <a:lnTo>
                      <a:pt x="127" y="1"/>
                    </a:lnTo>
                    <a:lnTo>
                      <a:pt x="127" y="3"/>
                    </a:lnTo>
                    <a:lnTo>
                      <a:pt x="129" y="3"/>
                    </a:lnTo>
                    <a:lnTo>
                      <a:pt x="129" y="1"/>
                    </a:lnTo>
                    <a:lnTo>
                      <a:pt x="131" y="1"/>
                    </a:lnTo>
                    <a:lnTo>
                      <a:pt x="129" y="3"/>
                    </a:lnTo>
                    <a:lnTo>
                      <a:pt x="131" y="3"/>
                    </a:lnTo>
                    <a:lnTo>
                      <a:pt x="131" y="1"/>
                    </a:lnTo>
                    <a:lnTo>
                      <a:pt x="132" y="3"/>
                    </a:lnTo>
                    <a:lnTo>
                      <a:pt x="132" y="1"/>
                    </a:lnTo>
                    <a:lnTo>
                      <a:pt x="134" y="1"/>
                    </a:lnTo>
                    <a:lnTo>
                      <a:pt x="134" y="3"/>
                    </a:lnTo>
                    <a:lnTo>
                      <a:pt x="132" y="3"/>
                    </a:lnTo>
                    <a:lnTo>
                      <a:pt x="134" y="3"/>
                    </a:lnTo>
                    <a:lnTo>
                      <a:pt x="132" y="3"/>
                    </a:lnTo>
                    <a:lnTo>
                      <a:pt x="134" y="5"/>
                    </a:lnTo>
                    <a:lnTo>
                      <a:pt x="134" y="3"/>
                    </a:lnTo>
                    <a:lnTo>
                      <a:pt x="136" y="3"/>
                    </a:lnTo>
                    <a:lnTo>
                      <a:pt x="136" y="5"/>
                    </a:lnTo>
                    <a:lnTo>
                      <a:pt x="136" y="3"/>
                    </a:lnTo>
                    <a:lnTo>
                      <a:pt x="136" y="5"/>
                    </a:lnTo>
                    <a:lnTo>
                      <a:pt x="137" y="5"/>
                    </a:lnTo>
                    <a:lnTo>
                      <a:pt x="139" y="5"/>
                    </a:lnTo>
                    <a:lnTo>
                      <a:pt x="137" y="5"/>
                    </a:lnTo>
                    <a:lnTo>
                      <a:pt x="137" y="3"/>
                    </a:lnTo>
                    <a:lnTo>
                      <a:pt x="139" y="3"/>
                    </a:lnTo>
                    <a:lnTo>
                      <a:pt x="141" y="3"/>
                    </a:lnTo>
                    <a:lnTo>
                      <a:pt x="141" y="1"/>
                    </a:lnTo>
                    <a:lnTo>
                      <a:pt x="141" y="0"/>
                    </a:lnTo>
                    <a:lnTo>
                      <a:pt x="141" y="1"/>
                    </a:lnTo>
                    <a:lnTo>
                      <a:pt x="141" y="0"/>
                    </a:lnTo>
                    <a:lnTo>
                      <a:pt x="142" y="0"/>
                    </a:lnTo>
                    <a:lnTo>
                      <a:pt x="144" y="0"/>
                    </a:lnTo>
                    <a:lnTo>
                      <a:pt x="144" y="1"/>
                    </a:lnTo>
                    <a:lnTo>
                      <a:pt x="146" y="1"/>
                    </a:lnTo>
                    <a:lnTo>
                      <a:pt x="146" y="3"/>
                    </a:lnTo>
                    <a:lnTo>
                      <a:pt x="146" y="5"/>
                    </a:lnTo>
                    <a:lnTo>
                      <a:pt x="148" y="5"/>
                    </a:lnTo>
                    <a:lnTo>
                      <a:pt x="148" y="6"/>
                    </a:lnTo>
                    <a:lnTo>
                      <a:pt x="146" y="6"/>
                    </a:lnTo>
                    <a:lnTo>
                      <a:pt x="146" y="8"/>
                    </a:lnTo>
                    <a:lnTo>
                      <a:pt x="146" y="10"/>
                    </a:lnTo>
                    <a:lnTo>
                      <a:pt x="146" y="12"/>
                    </a:lnTo>
                    <a:lnTo>
                      <a:pt x="146" y="13"/>
                    </a:lnTo>
                    <a:lnTo>
                      <a:pt x="148" y="13"/>
                    </a:lnTo>
                    <a:lnTo>
                      <a:pt x="148" y="15"/>
                    </a:lnTo>
                    <a:lnTo>
                      <a:pt x="146" y="17"/>
                    </a:lnTo>
                    <a:lnTo>
                      <a:pt x="148" y="17"/>
                    </a:lnTo>
                    <a:lnTo>
                      <a:pt x="148" y="18"/>
                    </a:lnTo>
                    <a:lnTo>
                      <a:pt x="146" y="18"/>
                    </a:lnTo>
                    <a:lnTo>
                      <a:pt x="146" y="20"/>
                    </a:lnTo>
                    <a:lnTo>
                      <a:pt x="146" y="22"/>
                    </a:lnTo>
                    <a:lnTo>
                      <a:pt x="144" y="22"/>
                    </a:lnTo>
                    <a:lnTo>
                      <a:pt x="144" y="23"/>
                    </a:lnTo>
                    <a:lnTo>
                      <a:pt x="144" y="25"/>
                    </a:lnTo>
                    <a:lnTo>
                      <a:pt x="144" y="27"/>
                    </a:lnTo>
                    <a:lnTo>
                      <a:pt x="142" y="27"/>
                    </a:lnTo>
                    <a:lnTo>
                      <a:pt x="142" y="29"/>
                    </a:lnTo>
                    <a:lnTo>
                      <a:pt x="144" y="29"/>
                    </a:lnTo>
                    <a:lnTo>
                      <a:pt x="144" y="30"/>
                    </a:lnTo>
                    <a:lnTo>
                      <a:pt x="142" y="30"/>
                    </a:lnTo>
                    <a:lnTo>
                      <a:pt x="144" y="32"/>
                    </a:lnTo>
                    <a:lnTo>
                      <a:pt x="146" y="34"/>
                    </a:lnTo>
                    <a:lnTo>
                      <a:pt x="146" y="35"/>
                    </a:lnTo>
                    <a:lnTo>
                      <a:pt x="146" y="37"/>
                    </a:lnTo>
                    <a:lnTo>
                      <a:pt x="146" y="39"/>
                    </a:lnTo>
                    <a:lnTo>
                      <a:pt x="148" y="39"/>
                    </a:lnTo>
                    <a:lnTo>
                      <a:pt x="148" y="40"/>
                    </a:lnTo>
                    <a:lnTo>
                      <a:pt x="148" y="42"/>
                    </a:lnTo>
                    <a:lnTo>
                      <a:pt x="148" y="44"/>
                    </a:lnTo>
                    <a:lnTo>
                      <a:pt x="149" y="44"/>
                    </a:lnTo>
                    <a:lnTo>
                      <a:pt x="148" y="46"/>
                    </a:lnTo>
                    <a:lnTo>
                      <a:pt x="148" y="47"/>
                    </a:lnTo>
                    <a:lnTo>
                      <a:pt x="146" y="49"/>
                    </a:lnTo>
                    <a:lnTo>
                      <a:pt x="144" y="49"/>
                    </a:lnTo>
                    <a:lnTo>
                      <a:pt x="144" y="51"/>
                    </a:lnTo>
                    <a:lnTo>
                      <a:pt x="146" y="51"/>
                    </a:lnTo>
                    <a:lnTo>
                      <a:pt x="146" y="52"/>
                    </a:lnTo>
                    <a:lnTo>
                      <a:pt x="144" y="52"/>
                    </a:lnTo>
                    <a:lnTo>
                      <a:pt x="144" y="54"/>
                    </a:lnTo>
                    <a:lnTo>
                      <a:pt x="146" y="54"/>
                    </a:lnTo>
                    <a:lnTo>
                      <a:pt x="146" y="56"/>
                    </a:lnTo>
                    <a:lnTo>
                      <a:pt x="148" y="56"/>
                    </a:lnTo>
                    <a:lnTo>
                      <a:pt x="146" y="56"/>
                    </a:lnTo>
                    <a:lnTo>
                      <a:pt x="146" y="57"/>
                    </a:lnTo>
                    <a:lnTo>
                      <a:pt x="146" y="59"/>
                    </a:lnTo>
                    <a:lnTo>
                      <a:pt x="146" y="61"/>
                    </a:lnTo>
                    <a:lnTo>
                      <a:pt x="148" y="63"/>
                    </a:lnTo>
                    <a:lnTo>
                      <a:pt x="149" y="63"/>
                    </a:lnTo>
                    <a:lnTo>
                      <a:pt x="149" y="64"/>
                    </a:lnTo>
                    <a:lnTo>
                      <a:pt x="149" y="66"/>
                    </a:lnTo>
                    <a:lnTo>
                      <a:pt x="149" y="68"/>
                    </a:lnTo>
                    <a:lnTo>
                      <a:pt x="148" y="69"/>
                    </a:lnTo>
                    <a:lnTo>
                      <a:pt x="149" y="69"/>
                    </a:lnTo>
                    <a:lnTo>
                      <a:pt x="149" y="71"/>
                    </a:lnTo>
                    <a:lnTo>
                      <a:pt x="151" y="71"/>
                    </a:lnTo>
                    <a:lnTo>
                      <a:pt x="151" y="69"/>
                    </a:lnTo>
                    <a:lnTo>
                      <a:pt x="153" y="69"/>
                    </a:lnTo>
                    <a:lnTo>
                      <a:pt x="154" y="69"/>
                    </a:lnTo>
                    <a:lnTo>
                      <a:pt x="154" y="71"/>
                    </a:lnTo>
                    <a:lnTo>
                      <a:pt x="154" y="73"/>
                    </a:lnTo>
                    <a:lnTo>
                      <a:pt x="154" y="74"/>
                    </a:lnTo>
                    <a:lnTo>
                      <a:pt x="156" y="74"/>
                    </a:lnTo>
                    <a:lnTo>
                      <a:pt x="156" y="76"/>
                    </a:lnTo>
                    <a:lnTo>
                      <a:pt x="156" y="78"/>
                    </a:lnTo>
                    <a:lnTo>
                      <a:pt x="156" y="80"/>
                    </a:lnTo>
                    <a:lnTo>
                      <a:pt x="158" y="80"/>
                    </a:lnTo>
                    <a:lnTo>
                      <a:pt x="159" y="80"/>
                    </a:lnTo>
                    <a:lnTo>
                      <a:pt x="161" y="80"/>
                    </a:lnTo>
                    <a:lnTo>
                      <a:pt x="163" y="80"/>
                    </a:lnTo>
                    <a:lnTo>
                      <a:pt x="163" y="81"/>
                    </a:lnTo>
                    <a:lnTo>
                      <a:pt x="163" y="83"/>
                    </a:lnTo>
                    <a:lnTo>
                      <a:pt x="163" y="81"/>
                    </a:lnTo>
                    <a:lnTo>
                      <a:pt x="165" y="81"/>
                    </a:lnTo>
                    <a:lnTo>
                      <a:pt x="165" y="83"/>
                    </a:lnTo>
                    <a:lnTo>
                      <a:pt x="165" y="85"/>
                    </a:lnTo>
                    <a:lnTo>
                      <a:pt x="166" y="85"/>
                    </a:lnTo>
                    <a:lnTo>
                      <a:pt x="166" y="83"/>
                    </a:lnTo>
                    <a:lnTo>
                      <a:pt x="166" y="81"/>
                    </a:lnTo>
                    <a:lnTo>
                      <a:pt x="166" y="83"/>
                    </a:lnTo>
                    <a:lnTo>
                      <a:pt x="168" y="83"/>
                    </a:lnTo>
                    <a:lnTo>
                      <a:pt x="166" y="83"/>
                    </a:lnTo>
                    <a:lnTo>
                      <a:pt x="166" y="85"/>
                    </a:lnTo>
                    <a:lnTo>
                      <a:pt x="168" y="86"/>
                    </a:lnTo>
                    <a:lnTo>
                      <a:pt x="170" y="86"/>
                    </a:lnTo>
                    <a:lnTo>
                      <a:pt x="171" y="86"/>
                    </a:lnTo>
                    <a:lnTo>
                      <a:pt x="171" y="88"/>
                    </a:lnTo>
                    <a:lnTo>
                      <a:pt x="173" y="88"/>
                    </a:lnTo>
                    <a:lnTo>
                      <a:pt x="173" y="86"/>
                    </a:lnTo>
                    <a:lnTo>
                      <a:pt x="173" y="88"/>
                    </a:lnTo>
                    <a:lnTo>
                      <a:pt x="175" y="88"/>
                    </a:lnTo>
                    <a:lnTo>
                      <a:pt x="175" y="90"/>
                    </a:lnTo>
                    <a:lnTo>
                      <a:pt x="173" y="91"/>
                    </a:lnTo>
                    <a:lnTo>
                      <a:pt x="175" y="91"/>
                    </a:lnTo>
                    <a:lnTo>
                      <a:pt x="175" y="93"/>
                    </a:lnTo>
                    <a:lnTo>
                      <a:pt x="176" y="93"/>
                    </a:lnTo>
                    <a:lnTo>
                      <a:pt x="176" y="95"/>
                    </a:lnTo>
                    <a:lnTo>
                      <a:pt x="178" y="95"/>
                    </a:lnTo>
                    <a:lnTo>
                      <a:pt x="180" y="95"/>
                    </a:lnTo>
                    <a:lnTo>
                      <a:pt x="182" y="95"/>
                    </a:lnTo>
                    <a:lnTo>
                      <a:pt x="180" y="97"/>
                    </a:lnTo>
                    <a:lnTo>
                      <a:pt x="182" y="97"/>
                    </a:lnTo>
                    <a:lnTo>
                      <a:pt x="182" y="95"/>
                    </a:lnTo>
                    <a:lnTo>
                      <a:pt x="183" y="95"/>
                    </a:lnTo>
                    <a:lnTo>
                      <a:pt x="185" y="95"/>
                    </a:lnTo>
                    <a:lnTo>
                      <a:pt x="185" y="97"/>
                    </a:lnTo>
                    <a:lnTo>
                      <a:pt x="187" y="97"/>
                    </a:lnTo>
                    <a:lnTo>
                      <a:pt x="187" y="95"/>
                    </a:lnTo>
                    <a:lnTo>
                      <a:pt x="187" y="97"/>
                    </a:lnTo>
                    <a:lnTo>
                      <a:pt x="188" y="97"/>
                    </a:lnTo>
                    <a:lnTo>
                      <a:pt x="190" y="97"/>
                    </a:lnTo>
                    <a:lnTo>
                      <a:pt x="192" y="97"/>
                    </a:lnTo>
                    <a:lnTo>
                      <a:pt x="193" y="97"/>
                    </a:lnTo>
                    <a:lnTo>
                      <a:pt x="195" y="95"/>
                    </a:lnTo>
                    <a:lnTo>
                      <a:pt x="197" y="95"/>
                    </a:lnTo>
                    <a:lnTo>
                      <a:pt x="199" y="93"/>
                    </a:lnTo>
                    <a:lnTo>
                      <a:pt x="199" y="95"/>
                    </a:lnTo>
                    <a:lnTo>
                      <a:pt x="200" y="95"/>
                    </a:lnTo>
                    <a:lnTo>
                      <a:pt x="202" y="95"/>
                    </a:lnTo>
                    <a:lnTo>
                      <a:pt x="204" y="95"/>
                    </a:lnTo>
                    <a:lnTo>
                      <a:pt x="204" y="97"/>
                    </a:lnTo>
                    <a:lnTo>
                      <a:pt x="205" y="97"/>
                    </a:lnTo>
                    <a:lnTo>
                      <a:pt x="207" y="97"/>
                    </a:lnTo>
                    <a:lnTo>
                      <a:pt x="207" y="98"/>
                    </a:lnTo>
                    <a:lnTo>
                      <a:pt x="209" y="98"/>
                    </a:lnTo>
                    <a:lnTo>
                      <a:pt x="210" y="98"/>
                    </a:lnTo>
                    <a:lnTo>
                      <a:pt x="210" y="100"/>
                    </a:lnTo>
                    <a:lnTo>
                      <a:pt x="209" y="100"/>
                    </a:lnTo>
                    <a:lnTo>
                      <a:pt x="210" y="100"/>
                    </a:lnTo>
                    <a:lnTo>
                      <a:pt x="210" y="102"/>
                    </a:lnTo>
                    <a:lnTo>
                      <a:pt x="212" y="102"/>
                    </a:lnTo>
                    <a:lnTo>
                      <a:pt x="214" y="102"/>
                    </a:lnTo>
                    <a:lnTo>
                      <a:pt x="214" y="103"/>
                    </a:lnTo>
                    <a:lnTo>
                      <a:pt x="216" y="103"/>
                    </a:lnTo>
                    <a:lnTo>
                      <a:pt x="217" y="103"/>
                    </a:lnTo>
                    <a:lnTo>
                      <a:pt x="216" y="102"/>
                    </a:lnTo>
                    <a:lnTo>
                      <a:pt x="217" y="102"/>
                    </a:lnTo>
                    <a:lnTo>
                      <a:pt x="217" y="100"/>
                    </a:lnTo>
                    <a:lnTo>
                      <a:pt x="219" y="102"/>
                    </a:lnTo>
                    <a:lnTo>
                      <a:pt x="219" y="100"/>
                    </a:lnTo>
                    <a:lnTo>
                      <a:pt x="219" y="102"/>
                    </a:lnTo>
                    <a:lnTo>
                      <a:pt x="221" y="102"/>
                    </a:lnTo>
                    <a:lnTo>
                      <a:pt x="221" y="103"/>
                    </a:lnTo>
                    <a:lnTo>
                      <a:pt x="222" y="103"/>
                    </a:lnTo>
                    <a:lnTo>
                      <a:pt x="222" y="105"/>
                    </a:lnTo>
                    <a:lnTo>
                      <a:pt x="224" y="105"/>
                    </a:lnTo>
                    <a:lnTo>
                      <a:pt x="224" y="107"/>
                    </a:lnTo>
                    <a:lnTo>
                      <a:pt x="224" y="108"/>
                    </a:lnTo>
                    <a:lnTo>
                      <a:pt x="226" y="108"/>
                    </a:lnTo>
                    <a:lnTo>
                      <a:pt x="227" y="108"/>
                    </a:lnTo>
                    <a:lnTo>
                      <a:pt x="227" y="110"/>
                    </a:lnTo>
                    <a:lnTo>
                      <a:pt x="229" y="110"/>
                    </a:lnTo>
                    <a:lnTo>
                      <a:pt x="229" y="112"/>
                    </a:lnTo>
                    <a:lnTo>
                      <a:pt x="231" y="112"/>
                    </a:lnTo>
                    <a:lnTo>
                      <a:pt x="231" y="114"/>
                    </a:lnTo>
                    <a:lnTo>
                      <a:pt x="233" y="114"/>
                    </a:lnTo>
                    <a:lnTo>
                      <a:pt x="234" y="115"/>
                    </a:lnTo>
                    <a:lnTo>
                      <a:pt x="234" y="114"/>
                    </a:lnTo>
                    <a:lnTo>
                      <a:pt x="236" y="114"/>
                    </a:lnTo>
                    <a:lnTo>
                      <a:pt x="236" y="112"/>
                    </a:lnTo>
                    <a:lnTo>
                      <a:pt x="236" y="114"/>
                    </a:lnTo>
                    <a:lnTo>
                      <a:pt x="238" y="114"/>
                    </a:lnTo>
                    <a:lnTo>
                      <a:pt x="238" y="115"/>
                    </a:lnTo>
                    <a:lnTo>
                      <a:pt x="239" y="115"/>
                    </a:lnTo>
                    <a:lnTo>
                      <a:pt x="239" y="117"/>
                    </a:lnTo>
                    <a:lnTo>
                      <a:pt x="241" y="115"/>
                    </a:lnTo>
                    <a:lnTo>
                      <a:pt x="241" y="117"/>
                    </a:lnTo>
                    <a:lnTo>
                      <a:pt x="243" y="117"/>
                    </a:lnTo>
                    <a:lnTo>
                      <a:pt x="243" y="115"/>
                    </a:lnTo>
                    <a:lnTo>
                      <a:pt x="243" y="117"/>
                    </a:lnTo>
                    <a:lnTo>
                      <a:pt x="244" y="117"/>
                    </a:lnTo>
                    <a:lnTo>
                      <a:pt x="244" y="119"/>
                    </a:lnTo>
                    <a:lnTo>
                      <a:pt x="244" y="117"/>
                    </a:lnTo>
                    <a:lnTo>
                      <a:pt x="244" y="119"/>
                    </a:lnTo>
                    <a:lnTo>
                      <a:pt x="246" y="119"/>
                    </a:lnTo>
                    <a:lnTo>
                      <a:pt x="248" y="119"/>
                    </a:lnTo>
                    <a:lnTo>
                      <a:pt x="250" y="119"/>
                    </a:lnTo>
                    <a:lnTo>
                      <a:pt x="250" y="117"/>
                    </a:lnTo>
                    <a:lnTo>
                      <a:pt x="251" y="117"/>
                    </a:lnTo>
                    <a:lnTo>
                      <a:pt x="251" y="119"/>
                    </a:lnTo>
                    <a:lnTo>
                      <a:pt x="253" y="119"/>
                    </a:lnTo>
                    <a:lnTo>
                      <a:pt x="251" y="117"/>
                    </a:lnTo>
                    <a:lnTo>
                      <a:pt x="253" y="117"/>
                    </a:lnTo>
                    <a:lnTo>
                      <a:pt x="253" y="119"/>
                    </a:lnTo>
                    <a:lnTo>
                      <a:pt x="255" y="119"/>
                    </a:lnTo>
                    <a:lnTo>
                      <a:pt x="255" y="120"/>
                    </a:lnTo>
                    <a:lnTo>
                      <a:pt x="255" y="122"/>
                    </a:lnTo>
                    <a:lnTo>
                      <a:pt x="255" y="124"/>
                    </a:lnTo>
                    <a:lnTo>
                      <a:pt x="256" y="124"/>
                    </a:lnTo>
                    <a:lnTo>
                      <a:pt x="256" y="125"/>
                    </a:lnTo>
                    <a:lnTo>
                      <a:pt x="258" y="125"/>
                    </a:lnTo>
                    <a:lnTo>
                      <a:pt x="258" y="127"/>
                    </a:lnTo>
                    <a:lnTo>
                      <a:pt x="258" y="125"/>
                    </a:lnTo>
                    <a:lnTo>
                      <a:pt x="260" y="127"/>
                    </a:lnTo>
                    <a:lnTo>
                      <a:pt x="260" y="129"/>
                    </a:lnTo>
                    <a:lnTo>
                      <a:pt x="260" y="127"/>
                    </a:lnTo>
                    <a:lnTo>
                      <a:pt x="261" y="129"/>
                    </a:lnTo>
                    <a:lnTo>
                      <a:pt x="261" y="131"/>
                    </a:lnTo>
                    <a:lnTo>
                      <a:pt x="263" y="131"/>
                    </a:lnTo>
                    <a:lnTo>
                      <a:pt x="263" y="132"/>
                    </a:lnTo>
                    <a:lnTo>
                      <a:pt x="265" y="132"/>
                    </a:lnTo>
                    <a:lnTo>
                      <a:pt x="267" y="132"/>
                    </a:lnTo>
                    <a:lnTo>
                      <a:pt x="268" y="132"/>
                    </a:lnTo>
                    <a:lnTo>
                      <a:pt x="268" y="131"/>
                    </a:lnTo>
                    <a:lnTo>
                      <a:pt x="270" y="131"/>
                    </a:lnTo>
                    <a:lnTo>
                      <a:pt x="270" y="132"/>
                    </a:lnTo>
                    <a:lnTo>
                      <a:pt x="270" y="131"/>
                    </a:lnTo>
                    <a:lnTo>
                      <a:pt x="272" y="132"/>
                    </a:lnTo>
                    <a:lnTo>
                      <a:pt x="272" y="131"/>
                    </a:lnTo>
                    <a:lnTo>
                      <a:pt x="273" y="132"/>
                    </a:lnTo>
                    <a:lnTo>
                      <a:pt x="275" y="132"/>
                    </a:lnTo>
                    <a:lnTo>
                      <a:pt x="277" y="132"/>
                    </a:lnTo>
                    <a:lnTo>
                      <a:pt x="278" y="132"/>
                    </a:lnTo>
                    <a:lnTo>
                      <a:pt x="280" y="132"/>
                    </a:lnTo>
                    <a:lnTo>
                      <a:pt x="280" y="131"/>
                    </a:lnTo>
                    <a:lnTo>
                      <a:pt x="282" y="131"/>
                    </a:lnTo>
                    <a:lnTo>
                      <a:pt x="284" y="131"/>
                    </a:lnTo>
                    <a:lnTo>
                      <a:pt x="284" y="132"/>
                    </a:lnTo>
                    <a:lnTo>
                      <a:pt x="285" y="132"/>
                    </a:lnTo>
                    <a:lnTo>
                      <a:pt x="285" y="131"/>
                    </a:lnTo>
                    <a:lnTo>
                      <a:pt x="285" y="132"/>
                    </a:lnTo>
                    <a:lnTo>
                      <a:pt x="287" y="132"/>
                    </a:lnTo>
                    <a:lnTo>
                      <a:pt x="287" y="131"/>
                    </a:lnTo>
                    <a:lnTo>
                      <a:pt x="287" y="132"/>
                    </a:lnTo>
                    <a:lnTo>
                      <a:pt x="289" y="132"/>
                    </a:lnTo>
                    <a:lnTo>
                      <a:pt x="289" y="131"/>
                    </a:lnTo>
                    <a:lnTo>
                      <a:pt x="290" y="131"/>
                    </a:lnTo>
                    <a:lnTo>
                      <a:pt x="290" y="132"/>
                    </a:lnTo>
                    <a:lnTo>
                      <a:pt x="290" y="131"/>
                    </a:lnTo>
                    <a:lnTo>
                      <a:pt x="292" y="131"/>
                    </a:lnTo>
                    <a:lnTo>
                      <a:pt x="292" y="132"/>
                    </a:lnTo>
                    <a:lnTo>
                      <a:pt x="294" y="132"/>
                    </a:lnTo>
                    <a:lnTo>
                      <a:pt x="295" y="132"/>
                    </a:lnTo>
                    <a:lnTo>
                      <a:pt x="295" y="134"/>
                    </a:lnTo>
                    <a:lnTo>
                      <a:pt x="295" y="136"/>
                    </a:lnTo>
                    <a:lnTo>
                      <a:pt x="297" y="136"/>
                    </a:lnTo>
                    <a:lnTo>
                      <a:pt x="299" y="136"/>
                    </a:lnTo>
                    <a:lnTo>
                      <a:pt x="299" y="137"/>
                    </a:lnTo>
                    <a:lnTo>
                      <a:pt x="301" y="137"/>
                    </a:lnTo>
                    <a:lnTo>
                      <a:pt x="302" y="137"/>
                    </a:lnTo>
                    <a:lnTo>
                      <a:pt x="302" y="139"/>
                    </a:lnTo>
                    <a:lnTo>
                      <a:pt x="302" y="137"/>
                    </a:lnTo>
                    <a:lnTo>
                      <a:pt x="302" y="139"/>
                    </a:lnTo>
                    <a:lnTo>
                      <a:pt x="304" y="139"/>
                    </a:lnTo>
                    <a:lnTo>
                      <a:pt x="306" y="139"/>
                    </a:lnTo>
                    <a:lnTo>
                      <a:pt x="307" y="141"/>
                    </a:lnTo>
                    <a:lnTo>
                      <a:pt x="309" y="141"/>
                    </a:lnTo>
                    <a:lnTo>
                      <a:pt x="311" y="141"/>
                    </a:lnTo>
                    <a:lnTo>
                      <a:pt x="309" y="143"/>
                    </a:lnTo>
                    <a:lnTo>
                      <a:pt x="311" y="143"/>
                    </a:lnTo>
                    <a:lnTo>
                      <a:pt x="309" y="143"/>
                    </a:lnTo>
                    <a:lnTo>
                      <a:pt x="311" y="143"/>
                    </a:lnTo>
                    <a:lnTo>
                      <a:pt x="309" y="143"/>
                    </a:lnTo>
                    <a:lnTo>
                      <a:pt x="309" y="144"/>
                    </a:lnTo>
                    <a:lnTo>
                      <a:pt x="309" y="143"/>
                    </a:lnTo>
                    <a:lnTo>
                      <a:pt x="311" y="144"/>
                    </a:lnTo>
                    <a:lnTo>
                      <a:pt x="309" y="144"/>
                    </a:lnTo>
                    <a:lnTo>
                      <a:pt x="311" y="144"/>
                    </a:lnTo>
                    <a:lnTo>
                      <a:pt x="311" y="146"/>
                    </a:lnTo>
                    <a:lnTo>
                      <a:pt x="311" y="148"/>
                    </a:lnTo>
                    <a:lnTo>
                      <a:pt x="312" y="148"/>
                    </a:lnTo>
                    <a:lnTo>
                      <a:pt x="312" y="149"/>
                    </a:lnTo>
                    <a:lnTo>
                      <a:pt x="311" y="149"/>
                    </a:lnTo>
                    <a:lnTo>
                      <a:pt x="311" y="151"/>
                    </a:lnTo>
                    <a:lnTo>
                      <a:pt x="309" y="151"/>
                    </a:lnTo>
                    <a:lnTo>
                      <a:pt x="309" y="153"/>
                    </a:lnTo>
                    <a:lnTo>
                      <a:pt x="309" y="154"/>
                    </a:lnTo>
                    <a:lnTo>
                      <a:pt x="309" y="156"/>
                    </a:lnTo>
                    <a:lnTo>
                      <a:pt x="311" y="156"/>
                    </a:lnTo>
                    <a:lnTo>
                      <a:pt x="311" y="158"/>
                    </a:lnTo>
                    <a:lnTo>
                      <a:pt x="311" y="160"/>
                    </a:lnTo>
                    <a:lnTo>
                      <a:pt x="311" y="161"/>
                    </a:lnTo>
                    <a:lnTo>
                      <a:pt x="312" y="161"/>
                    </a:lnTo>
                    <a:lnTo>
                      <a:pt x="312" y="163"/>
                    </a:lnTo>
                    <a:lnTo>
                      <a:pt x="312" y="165"/>
                    </a:lnTo>
                    <a:lnTo>
                      <a:pt x="314" y="165"/>
                    </a:lnTo>
                    <a:lnTo>
                      <a:pt x="314" y="166"/>
                    </a:lnTo>
                    <a:lnTo>
                      <a:pt x="314" y="168"/>
                    </a:lnTo>
                    <a:lnTo>
                      <a:pt x="314" y="170"/>
                    </a:lnTo>
                    <a:lnTo>
                      <a:pt x="316" y="170"/>
                    </a:lnTo>
                    <a:lnTo>
                      <a:pt x="316" y="171"/>
                    </a:lnTo>
                    <a:lnTo>
                      <a:pt x="318" y="173"/>
                    </a:lnTo>
                    <a:lnTo>
                      <a:pt x="318" y="175"/>
                    </a:lnTo>
                    <a:lnTo>
                      <a:pt x="318" y="177"/>
                    </a:lnTo>
                    <a:lnTo>
                      <a:pt x="318" y="180"/>
                    </a:lnTo>
                    <a:lnTo>
                      <a:pt x="318" y="182"/>
                    </a:lnTo>
                    <a:lnTo>
                      <a:pt x="318" y="183"/>
                    </a:lnTo>
                    <a:lnTo>
                      <a:pt x="318" y="187"/>
                    </a:lnTo>
                    <a:lnTo>
                      <a:pt x="316" y="187"/>
                    </a:lnTo>
                    <a:lnTo>
                      <a:pt x="314" y="187"/>
                    </a:lnTo>
                    <a:lnTo>
                      <a:pt x="311" y="187"/>
                    </a:lnTo>
                    <a:lnTo>
                      <a:pt x="309" y="187"/>
                    </a:lnTo>
                    <a:lnTo>
                      <a:pt x="306" y="187"/>
                    </a:lnTo>
                    <a:lnTo>
                      <a:pt x="309" y="190"/>
                    </a:lnTo>
                    <a:lnTo>
                      <a:pt x="314" y="195"/>
                    </a:lnTo>
                    <a:lnTo>
                      <a:pt x="316" y="199"/>
                    </a:lnTo>
                    <a:lnTo>
                      <a:pt x="318" y="200"/>
                    </a:lnTo>
                    <a:lnTo>
                      <a:pt x="318" y="202"/>
                    </a:lnTo>
                    <a:lnTo>
                      <a:pt x="318" y="204"/>
                    </a:lnTo>
                    <a:lnTo>
                      <a:pt x="319" y="221"/>
                    </a:lnTo>
                    <a:lnTo>
                      <a:pt x="319" y="224"/>
                    </a:lnTo>
                    <a:lnTo>
                      <a:pt x="319" y="228"/>
                    </a:lnTo>
                    <a:lnTo>
                      <a:pt x="321" y="228"/>
                    </a:lnTo>
                    <a:lnTo>
                      <a:pt x="323" y="228"/>
                    </a:lnTo>
                    <a:lnTo>
                      <a:pt x="324" y="228"/>
                    </a:lnTo>
                    <a:lnTo>
                      <a:pt x="326" y="228"/>
                    </a:lnTo>
                    <a:lnTo>
                      <a:pt x="329" y="228"/>
                    </a:lnTo>
                    <a:lnTo>
                      <a:pt x="331" y="228"/>
                    </a:lnTo>
                    <a:lnTo>
                      <a:pt x="335" y="228"/>
                    </a:lnTo>
                    <a:lnTo>
                      <a:pt x="341" y="228"/>
                    </a:lnTo>
                    <a:lnTo>
                      <a:pt x="343" y="228"/>
                    </a:lnTo>
                    <a:lnTo>
                      <a:pt x="345" y="228"/>
                    </a:lnTo>
                    <a:lnTo>
                      <a:pt x="348" y="228"/>
                    </a:lnTo>
                    <a:lnTo>
                      <a:pt x="352" y="229"/>
                    </a:lnTo>
                    <a:lnTo>
                      <a:pt x="353" y="229"/>
                    </a:lnTo>
                    <a:lnTo>
                      <a:pt x="355" y="229"/>
                    </a:lnTo>
                    <a:lnTo>
                      <a:pt x="360" y="229"/>
                    </a:lnTo>
                    <a:lnTo>
                      <a:pt x="367" y="229"/>
                    </a:lnTo>
                    <a:lnTo>
                      <a:pt x="369" y="229"/>
                    </a:lnTo>
                    <a:lnTo>
                      <a:pt x="370" y="229"/>
                    </a:lnTo>
                    <a:lnTo>
                      <a:pt x="375" y="229"/>
                    </a:lnTo>
                    <a:lnTo>
                      <a:pt x="379" y="229"/>
                    </a:lnTo>
                    <a:lnTo>
                      <a:pt x="380" y="229"/>
                    </a:lnTo>
                    <a:lnTo>
                      <a:pt x="380" y="228"/>
                    </a:lnTo>
                    <a:lnTo>
                      <a:pt x="382" y="228"/>
                    </a:lnTo>
                    <a:lnTo>
                      <a:pt x="382" y="229"/>
                    </a:lnTo>
                    <a:lnTo>
                      <a:pt x="382" y="231"/>
                    </a:lnTo>
                    <a:lnTo>
                      <a:pt x="382" y="233"/>
                    </a:lnTo>
                    <a:lnTo>
                      <a:pt x="380" y="233"/>
                    </a:lnTo>
                    <a:lnTo>
                      <a:pt x="380" y="234"/>
                    </a:lnTo>
                    <a:lnTo>
                      <a:pt x="382" y="234"/>
                    </a:lnTo>
                    <a:lnTo>
                      <a:pt x="382" y="236"/>
                    </a:lnTo>
                    <a:lnTo>
                      <a:pt x="380" y="238"/>
                    </a:lnTo>
                    <a:lnTo>
                      <a:pt x="379" y="238"/>
                    </a:lnTo>
                    <a:lnTo>
                      <a:pt x="379" y="239"/>
                    </a:lnTo>
                    <a:lnTo>
                      <a:pt x="379" y="241"/>
                    </a:lnTo>
                    <a:lnTo>
                      <a:pt x="377" y="241"/>
                    </a:lnTo>
                    <a:lnTo>
                      <a:pt x="377" y="243"/>
                    </a:lnTo>
                    <a:lnTo>
                      <a:pt x="377" y="245"/>
                    </a:lnTo>
                    <a:lnTo>
                      <a:pt x="377" y="246"/>
                    </a:lnTo>
                    <a:lnTo>
                      <a:pt x="377" y="248"/>
                    </a:lnTo>
                    <a:lnTo>
                      <a:pt x="377" y="250"/>
                    </a:lnTo>
                    <a:lnTo>
                      <a:pt x="377" y="251"/>
                    </a:lnTo>
                    <a:lnTo>
                      <a:pt x="377" y="253"/>
                    </a:lnTo>
                    <a:lnTo>
                      <a:pt x="379" y="253"/>
                    </a:lnTo>
                    <a:lnTo>
                      <a:pt x="379" y="255"/>
                    </a:lnTo>
                    <a:lnTo>
                      <a:pt x="379" y="256"/>
                    </a:lnTo>
                    <a:lnTo>
                      <a:pt x="380" y="256"/>
                    </a:lnTo>
                    <a:lnTo>
                      <a:pt x="380" y="258"/>
                    </a:lnTo>
                    <a:lnTo>
                      <a:pt x="380" y="260"/>
                    </a:lnTo>
                    <a:lnTo>
                      <a:pt x="380" y="262"/>
                    </a:lnTo>
                    <a:lnTo>
                      <a:pt x="382" y="262"/>
                    </a:lnTo>
                    <a:lnTo>
                      <a:pt x="382" y="263"/>
                    </a:lnTo>
                    <a:lnTo>
                      <a:pt x="384" y="263"/>
                    </a:lnTo>
                    <a:lnTo>
                      <a:pt x="384" y="265"/>
                    </a:lnTo>
                    <a:lnTo>
                      <a:pt x="384" y="267"/>
                    </a:lnTo>
                    <a:lnTo>
                      <a:pt x="386" y="267"/>
                    </a:lnTo>
                    <a:lnTo>
                      <a:pt x="387" y="267"/>
                    </a:lnTo>
                    <a:lnTo>
                      <a:pt x="389" y="268"/>
                    </a:lnTo>
                    <a:lnTo>
                      <a:pt x="389" y="270"/>
                    </a:lnTo>
                    <a:lnTo>
                      <a:pt x="391" y="270"/>
                    </a:lnTo>
                    <a:lnTo>
                      <a:pt x="392" y="270"/>
                    </a:lnTo>
                    <a:lnTo>
                      <a:pt x="392" y="272"/>
                    </a:lnTo>
                    <a:lnTo>
                      <a:pt x="394" y="272"/>
                    </a:lnTo>
                    <a:lnTo>
                      <a:pt x="396" y="272"/>
                    </a:lnTo>
                    <a:lnTo>
                      <a:pt x="396" y="270"/>
                    </a:lnTo>
                    <a:lnTo>
                      <a:pt x="397" y="270"/>
                    </a:lnTo>
                    <a:lnTo>
                      <a:pt x="399" y="272"/>
                    </a:lnTo>
                    <a:lnTo>
                      <a:pt x="401" y="273"/>
                    </a:lnTo>
                    <a:lnTo>
                      <a:pt x="403" y="273"/>
                    </a:lnTo>
                    <a:lnTo>
                      <a:pt x="401" y="273"/>
                    </a:lnTo>
                    <a:lnTo>
                      <a:pt x="401" y="275"/>
                    </a:lnTo>
                    <a:lnTo>
                      <a:pt x="401" y="277"/>
                    </a:lnTo>
                    <a:lnTo>
                      <a:pt x="401" y="279"/>
                    </a:lnTo>
                    <a:lnTo>
                      <a:pt x="403" y="279"/>
                    </a:lnTo>
                    <a:lnTo>
                      <a:pt x="403" y="280"/>
                    </a:lnTo>
                    <a:lnTo>
                      <a:pt x="404" y="282"/>
                    </a:lnTo>
                    <a:lnTo>
                      <a:pt x="404" y="284"/>
                    </a:lnTo>
                    <a:lnTo>
                      <a:pt x="403" y="284"/>
                    </a:lnTo>
                    <a:lnTo>
                      <a:pt x="406" y="289"/>
                    </a:lnTo>
                    <a:lnTo>
                      <a:pt x="406" y="290"/>
                    </a:lnTo>
                    <a:lnTo>
                      <a:pt x="408" y="292"/>
                    </a:lnTo>
                    <a:lnTo>
                      <a:pt x="408" y="294"/>
                    </a:lnTo>
                    <a:lnTo>
                      <a:pt x="409" y="296"/>
                    </a:lnTo>
                    <a:lnTo>
                      <a:pt x="411" y="296"/>
                    </a:lnTo>
                    <a:lnTo>
                      <a:pt x="411" y="297"/>
                    </a:lnTo>
                    <a:lnTo>
                      <a:pt x="409" y="297"/>
                    </a:lnTo>
                    <a:lnTo>
                      <a:pt x="408" y="297"/>
                    </a:lnTo>
                    <a:lnTo>
                      <a:pt x="408" y="299"/>
                    </a:lnTo>
                    <a:lnTo>
                      <a:pt x="408" y="301"/>
                    </a:lnTo>
                    <a:lnTo>
                      <a:pt x="406" y="308"/>
                    </a:lnTo>
                    <a:lnTo>
                      <a:pt x="404" y="309"/>
                    </a:lnTo>
                    <a:lnTo>
                      <a:pt x="404" y="313"/>
                    </a:lnTo>
                    <a:lnTo>
                      <a:pt x="403" y="314"/>
                    </a:lnTo>
                    <a:lnTo>
                      <a:pt x="403" y="316"/>
                    </a:lnTo>
                    <a:lnTo>
                      <a:pt x="403" y="318"/>
                    </a:lnTo>
                    <a:lnTo>
                      <a:pt x="401" y="319"/>
                    </a:lnTo>
                    <a:lnTo>
                      <a:pt x="401" y="321"/>
                    </a:lnTo>
                    <a:lnTo>
                      <a:pt x="403" y="321"/>
                    </a:lnTo>
                    <a:lnTo>
                      <a:pt x="403" y="323"/>
                    </a:lnTo>
                    <a:lnTo>
                      <a:pt x="403" y="325"/>
                    </a:lnTo>
                    <a:lnTo>
                      <a:pt x="404" y="325"/>
                    </a:lnTo>
                    <a:lnTo>
                      <a:pt x="403" y="325"/>
                    </a:lnTo>
                    <a:lnTo>
                      <a:pt x="403" y="326"/>
                    </a:lnTo>
                    <a:lnTo>
                      <a:pt x="401" y="326"/>
                    </a:lnTo>
                    <a:lnTo>
                      <a:pt x="399" y="330"/>
                    </a:lnTo>
                    <a:lnTo>
                      <a:pt x="397" y="331"/>
                    </a:lnTo>
                    <a:lnTo>
                      <a:pt x="397" y="333"/>
                    </a:lnTo>
                    <a:lnTo>
                      <a:pt x="397" y="335"/>
                    </a:lnTo>
                    <a:lnTo>
                      <a:pt x="394" y="342"/>
                    </a:lnTo>
                    <a:lnTo>
                      <a:pt x="391" y="348"/>
                    </a:lnTo>
                    <a:lnTo>
                      <a:pt x="389" y="352"/>
                    </a:lnTo>
                    <a:lnTo>
                      <a:pt x="394" y="355"/>
                    </a:lnTo>
                    <a:lnTo>
                      <a:pt x="397" y="359"/>
                    </a:lnTo>
                    <a:lnTo>
                      <a:pt x="397" y="360"/>
                    </a:lnTo>
                    <a:lnTo>
                      <a:pt x="397" y="362"/>
                    </a:lnTo>
                    <a:lnTo>
                      <a:pt x="396" y="362"/>
                    </a:lnTo>
                    <a:lnTo>
                      <a:pt x="394" y="362"/>
                    </a:lnTo>
                    <a:lnTo>
                      <a:pt x="392" y="362"/>
                    </a:lnTo>
                    <a:lnTo>
                      <a:pt x="392" y="364"/>
                    </a:lnTo>
                    <a:lnTo>
                      <a:pt x="391" y="364"/>
                    </a:lnTo>
                    <a:lnTo>
                      <a:pt x="391" y="365"/>
                    </a:lnTo>
                    <a:lnTo>
                      <a:pt x="389" y="365"/>
                    </a:lnTo>
                    <a:lnTo>
                      <a:pt x="387" y="36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8" name="Freeform 17">
                <a:extLst>
                  <a:ext uri="{FF2B5EF4-FFF2-40B4-BE49-F238E27FC236}">
                    <a16:creationId xmlns:a16="http://schemas.microsoft.com/office/drawing/2014/main" id="{F891C738-8B7F-A920-D907-FF661EB76FF3}"/>
                  </a:ext>
                </a:extLst>
              </p:cNvPr>
              <p:cNvSpPr>
                <a:spLocks noEditPoints="1"/>
              </p:cNvSpPr>
              <p:nvPr/>
            </p:nvSpPr>
            <p:spPr bwMode="auto">
              <a:xfrm>
                <a:off x="5700022" y="2769132"/>
                <a:ext cx="54044" cy="57276"/>
              </a:xfrm>
              <a:custGeom>
                <a:avLst/>
                <a:gdLst>
                  <a:gd name="T0" fmla="*/ 2 w 184"/>
                  <a:gd name="T1" fmla="*/ 187 h 195"/>
                  <a:gd name="T2" fmla="*/ 4 w 184"/>
                  <a:gd name="T3" fmla="*/ 187 h 195"/>
                  <a:gd name="T4" fmla="*/ 4 w 184"/>
                  <a:gd name="T5" fmla="*/ 189 h 195"/>
                  <a:gd name="T6" fmla="*/ 5 w 184"/>
                  <a:gd name="T7" fmla="*/ 189 h 195"/>
                  <a:gd name="T8" fmla="*/ 7 w 184"/>
                  <a:gd name="T9" fmla="*/ 189 h 195"/>
                  <a:gd name="T10" fmla="*/ 7 w 184"/>
                  <a:gd name="T11" fmla="*/ 190 h 195"/>
                  <a:gd name="T12" fmla="*/ 7 w 184"/>
                  <a:gd name="T13" fmla="*/ 192 h 195"/>
                  <a:gd name="T14" fmla="*/ 7 w 184"/>
                  <a:gd name="T15" fmla="*/ 194 h 195"/>
                  <a:gd name="T16" fmla="*/ 5 w 184"/>
                  <a:gd name="T17" fmla="*/ 192 h 195"/>
                  <a:gd name="T18" fmla="*/ 5 w 184"/>
                  <a:gd name="T19" fmla="*/ 194 h 195"/>
                  <a:gd name="T20" fmla="*/ 7 w 184"/>
                  <a:gd name="T21" fmla="*/ 195 h 195"/>
                  <a:gd name="T22" fmla="*/ 5 w 184"/>
                  <a:gd name="T23" fmla="*/ 195 h 195"/>
                  <a:gd name="T24" fmla="*/ 4 w 184"/>
                  <a:gd name="T25" fmla="*/ 195 h 195"/>
                  <a:gd name="T26" fmla="*/ 4 w 184"/>
                  <a:gd name="T27" fmla="*/ 194 h 195"/>
                  <a:gd name="T28" fmla="*/ 4 w 184"/>
                  <a:gd name="T29" fmla="*/ 192 h 195"/>
                  <a:gd name="T30" fmla="*/ 5 w 184"/>
                  <a:gd name="T31" fmla="*/ 192 h 195"/>
                  <a:gd name="T32" fmla="*/ 4 w 184"/>
                  <a:gd name="T33" fmla="*/ 192 h 195"/>
                  <a:gd name="T34" fmla="*/ 4 w 184"/>
                  <a:gd name="T35" fmla="*/ 190 h 195"/>
                  <a:gd name="T36" fmla="*/ 4 w 184"/>
                  <a:gd name="T37" fmla="*/ 189 h 195"/>
                  <a:gd name="T38" fmla="*/ 2 w 184"/>
                  <a:gd name="T39" fmla="*/ 189 h 195"/>
                  <a:gd name="T40" fmla="*/ 0 w 184"/>
                  <a:gd name="T41" fmla="*/ 189 h 195"/>
                  <a:gd name="T42" fmla="*/ 0 w 184"/>
                  <a:gd name="T43" fmla="*/ 187 h 195"/>
                  <a:gd name="T44" fmla="*/ 0 w 184"/>
                  <a:gd name="T45" fmla="*/ 185 h 195"/>
                  <a:gd name="T46" fmla="*/ 2 w 184"/>
                  <a:gd name="T47" fmla="*/ 187 h 195"/>
                  <a:gd name="T48" fmla="*/ 182 w 184"/>
                  <a:gd name="T49" fmla="*/ 3 h 195"/>
                  <a:gd name="T50" fmla="*/ 184 w 184"/>
                  <a:gd name="T51" fmla="*/ 3 h 195"/>
                  <a:gd name="T52" fmla="*/ 184 w 184"/>
                  <a:gd name="T53" fmla="*/ 5 h 195"/>
                  <a:gd name="T54" fmla="*/ 182 w 184"/>
                  <a:gd name="T55" fmla="*/ 5 h 195"/>
                  <a:gd name="T56" fmla="*/ 182 w 184"/>
                  <a:gd name="T57" fmla="*/ 3 h 195"/>
                  <a:gd name="T58" fmla="*/ 174 w 184"/>
                  <a:gd name="T59" fmla="*/ 0 h 195"/>
                  <a:gd name="T60" fmla="*/ 175 w 184"/>
                  <a:gd name="T61" fmla="*/ 0 h 195"/>
                  <a:gd name="T62" fmla="*/ 174 w 184"/>
                  <a:gd name="T63" fmla="*/ 0 h 195"/>
                  <a:gd name="T64" fmla="*/ 2 w 184"/>
                  <a:gd name="T65" fmla="*/ 190 h 195"/>
                  <a:gd name="T66" fmla="*/ 4 w 184"/>
                  <a:gd name="T67" fmla="*/ 190 h 195"/>
                  <a:gd name="T68" fmla="*/ 4 w 184"/>
                  <a:gd name="T69" fmla="*/ 192 h 195"/>
                  <a:gd name="T70" fmla="*/ 2 w 184"/>
                  <a:gd name="T71" fmla="*/ 192 h 195"/>
                  <a:gd name="T72" fmla="*/ 2 w 184"/>
                  <a:gd name="T73" fmla="*/ 19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4" h="195">
                    <a:moveTo>
                      <a:pt x="2" y="187"/>
                    </a:moveTo>
                    <a:lnTo>
                      <a:pt x="4" y="187"/>
                    </a:lnTo>
                    <a:lnTo>
                      <a:pt x="4" y="189"/>
                    </a:lnTo>
                    <a:lnTo>
                      <a:pt x="5" y="189"/>
                    </a:lnTo>
                    <a:lnTo>
                      <a:pt x="7" y="189"/>
                    </a:lnTo>
                    <a:lnTo>
                      <a:pt x="7" y="190"/>
                    </a:lnTo>
                    <a:lnTo>
                      <a:pt x="7" y="192"/>
                    </a:lnTo>
                    <a:lnTo>
                      <a:pt x="7" y="194"/>
                    </a:lnTo>
                    <a:lnTo>
                      <a:pt x="5" y="192"/>
                    </a:lnTo>
                    <a:lnTo>
                      <a:pt x="5" y="194"/>
                    </a:lnTo>
                    <a:lnTo>
                      <a:pt x="7" y="195"/>
                    </a:lnTo>
                    <a:lnTo>
                      <a:pt x="5" y="195"/>
                    </a:lnTo>
                    <a:lnTo>
                      <a:pt x="4" y="195"/>
                    </a:lnTo>
                    <a:lnTo>
                      <a:pt x="4" y="194"/>
                    </a:lnTo>
                    <a:lnTo>
                      <a:pt x="4" y="192"/>
                    </a:lnTo>
                    <a:lnTo>
                      <a:pt x="5" y="192"/>
                    </a:lnTo>
                    <a:lnTo>
                      <a:pt x="4" y="192"/>
                    </a:lnTo>
                    <a:lnTo>
                      <a:pt x="4" y="190"/>
                    </a:lnTo>
                    <a:lnTo>
                      <a:pt x="4" y="189"/>
                    </a:lnTo>
                    <a:lnTo>
                      <a:pt x="2" y="189"/>
                    </a:lnTo>
                    <a:lnTo>
                      <a:pt x="0" y="189"/>
                    </a:lnTo>
                    <a:lnTo>
                      <a:pt x="0" y="187"/>
                    </a:lnTo>
                    <a:lnTo>
                      <a:pt x="0" y="185"/>
                    </a:lnTo>
                    <a:lnTo>
                      <a:pt x="2" y="187"/>
                    </a:lnTo>
                    <a:close/>
                    <a:moveTo>
                      <a:pt x="182" y="3"/>
                    </a:moveTo>
                    <a:lnTo>
                      <a:pt x="184" y="3"/>
                    </a:lnTo>
                    <a:lnTo>
                      <a:pt x="184" y="5"/>
                    </a:lnTo>
                    <a:lnTo>
                      <a:pt x="182" y="5"/>
                    </a:lnTo>
                    <a:lnTo>
                      <a:pt x="182" y="3"/>
                    </a:lnTo>
                    <a:close/>
                    <a:moveTo>
                      <a:pt x="174" y="0"/>
                    </a:moveTo>
                    <a:lnTo>
                      <a:pt x="175" y="0"/>
                    </a:lnTo>
                    <a:lnTo>
                      <a:pt x="174" y="0"/>
                    </a:lnTo>
                    <a:close/>
                    <a:moveTo>
                      <a:pt x="2" y="190"/>
                    </a:moveTo>
                    <a:lnTo>
                      <a:pt x="4" y="190"/>
                    </a:lnTo>
                    <a:lnTo>
                      <a:pt x="4" y="192"/>
                    </a:lnTo>
                    <a:lnTo>
                      <a:pt x="2" y="192"/>
                    </a:lnTo>
                    <a:lnTo>
                      <a:pt x="2" y="19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9" name="Freeform 18">
                <a:extLst>
                  <a:ext uri="{FF2B5EF4-FFF2-40B4-BE49-F238E27FC236}">
                    <a16:creationId xmlns:a16="http://schemas.microsoft.com/office/drawing/2014/main" id="{4E88C0F6-0275-140C-B363-E9B295EBEBA7}"/>
                  </a:ext>
                </a:extLst>
              </p:cNvPr>
              <p:cNvSpPr>
                <a:spLocks noEditPoints="1"/>
              </p:cNvSpPr>
              <p:nvPr/>
            </p:nvSpPr>
            <p:spPr bwMode="auto">
              <a:xfrm>
                <a:off x="5644513" y="2894550"/>
                <a:ext cx="442927" cy="407976"/>
              </a:xfrm>
              <a:custGeom>
                <a:avLst/>
                <a:gdLst>
                  <a:gd name="T0" fmla="*/ 84 w 1508"/>
                  <a:gd name="T1" fmla="*/ 517 h 1389"/>
                  <a:gd name="T2" fmla="*/ 6 w 1508"/>
                  <a:gd name="T3" fmla="*/ 437 h 1389"/>
                  <a:gd name="T4" fmla="*/ 45 w 1508"/>
                  <a:gd name="T5" fmla="*/ 348 h 1389"/>
                  <a:gd name="T6" fmla="*/ 119 w 1508"/>
                  <a:gd name="T7" fmla="*/ 318 h 1389"/>
                  <a:gd name="T8" fmla="*/ 138 w 1508"/>
                  <a:gd name="T9" fmla="*/ 158 h 1389"/>
                  <a:gd name="T10" fmla="*/ 194 w 1508"/>
                  <a:gd name="T11" fmla="*/ 117 h 1389"/>
                  <a:gd name="T12" fmla="*/ 286 w 1508"/>
                  <a:gd name="T13" fmla="*/ 144 h 1389"/>
                  <a:gd name="T14" fmla="*/ 349 w 1508"/>
                  <a:gd name="T15" fmla="*/ 109 h 1389"/>
                  <a:gd name="T16" fmla="*/ 323 w 1508"/>
                  <a:gd name="T17" fmla="*/ 39 h 1389"/>
                  <a:gd name="T18" fmla="*/ 395 w 1508"/>
                  <a:gd name="T19" fmla="*/ 39 h 1389"/>
                  <a:gd name="T20" fmla="*/ 473 w 1508"/>
                  <a:gd name="T21" fmla="*/ 10 h 1389"/>
                  <a:gd name="T22" fmla="*/ 475 w 1508"/>
                  <a:gd name="T23" fmla="*/ 93 h 1389"/>
                  <a:gd name="T24" fmla="*/ 539 w 1508"/>
                  <a:gd name="T25" fmla="*/ 126 h 1389"/>
                  <a:gd name="T26" fmla="*/ 609 w 1508"/>
                  <a:gd name="T27" fmla="*/ 93 h 1389"/>
                  <a:gd name="T28" fmla="*/ 708 w 1508"/>
                  <a:gd name="T29" fmla="*/ 103 h 1389"/>
                  <a:gd name="T30" fmla="*/ 764 w 1508"/>
                  <a:gd name="T31" fmla="*/ 30 h 1389"/>
                  <a:gd name="T32" fmla="*/ 813 w 1508"/>
                  <a:gd name="T33" fmla="*/ 120 h 1389"/>
                  <a:gd name="T34" fmla="*/ 786 w 1508"/>
                  <a:gd name="T35" fmla="*/ 183 h 1389"/>
                  <a:gd name="T36" fmla="*/ 854 w 1508"/>
                  <a:gd name="T37" fmla="*/ 187 h 1389"/>
                  <a:gd name="T38" fmla="*/ 861 w 1508"/>
                  <a:gd name="T39" fmla="*/ 223 h 1389"/>
                  <a:gd name="T40" fmla="*/ 896 w 1508"/>
                  <a:gd name="T41" fmla="*/ 199 h 1389"/>
                  <a:gd name="T42" fmla="*/ 924 w 1508"/>
                  <a:gd name="T43" fmla="*/ 211 h 1389"/>
                  <a:gd name="T44" fmla="*/ 949 w 1508"/>
                  <a:gd name="T45" fmla="*/ 219 h 1389"/>
                  <a:gd name="T46" fmla="*/ 969 w 1508"/>
                  <a:gd name="T47" fmla="*/ 234 h 1389"/>
                  <a:gd name="T48" fmla="*/ 988 w 1508"/>
                  <a:gd name="T49" fmla="*/ 258 h 1389"/>
                  <a:gd name="T50" fmla="*/ 1012 w 1508"/>
                  <a:gd name="T51" fmla="*/ 263 h 1389"/>
                  <a:gd name="T52" fmla="*/ 1049 w 1508"/>
                  <a:gd name="T53" fmla="*/ 262 h 1389"/>
                  <a:gd name="T54" fmla="*/ 1153 w 1508"/>
                  <a:gd name="T55" fmla="*/ 275 h 1389"/>
                  <a:gd name="T56" fmla="*/ 1264 w 1508"/>
                  <a:gd name="T57" fmla="*/ 350 h 1389"/>
                  <a:gd name="T58" fmla="*/ 1323 w 1508"/>
                  <a:gd name="T59" fmla="*/ 437 h 1389"/>
                  <a:gd name="T60" fmla="*/ 1258 w 1508"/>
                  <a:gd name="T61" fmla="*/ 539 h 1389"/>
                  <a:gd name="T62" fmla="*/ 1192 w 1508"/>
                  <a:gd name="T63" fmla="*/ 607 h 1389"/>
                  <a:gd name="T64" fmla="*/ 1180 w 1508"/>
                  <a:gd name="T65" fmla="*/ 672 h 1389"/>
                  <a:gd name="T66" fmla="*/ 1163 w 1508"/>
                  <a:gd name="T67" fmla="*/ 797 h 1389"/>
                  <a:gd name="T68" fmla="*/ 1117 w 1508"/>
                  <a:gd name="T69" fmla="*/ 908 h 1389"/>
                  <a:gd name="T70" fmla="*/ 1044 w 1508"/>
                  <a:gd name="T71" fmla="*/ 976 h 1389"/>
                  <a:gd name="T72" fmla="*/ 1002 w 1508"/>
                  <a:gd name="T73" fmla="*/ 974 h 1389"/>
                  <a:gd name="T74" fmla="*/ 949 w 1508"/>
                  <a:gd name="T75" fmla="*/ 1005 h 1389"/>
                  <a:gd name="T76" fmla="*/ 859 w 1508"/>
                  <a:gd name="T77" fmla="*/ 1085 h 1389"/>
                  <a:gd name="T78" fmla="*/ 856 w 1508"/>
                  <a:gd name="T79" fmla="*/ 1170 h 1389"/>
                  <a:gd name="T80" fmla="*/ 743 w 1508"/>
                  <a:gd name="T81" fmla="*/ 1320 h 1389"/>
                  <a:gd name="T82" fmla="*/ 687 w 1508"/>
                  <a:gd name="T83" fmla="*/ 1332 h 1389"/>
                  <a:gd name="T84" fmla="*/ 607 w 1508"/>
                  <a:gd name="T85" fmla="*/ 1272 h 1389"/>
                  <a:gd name="T86" fmla="*/ 585 w 1508"/>
                  <a:gd name="T87" fmla="*/ 1213 h 1389"/>
                  <a:gd name="T88" fmla="*/ 653 w 1508"/>
                  <a:gd name="T89" fmla="*/ 1146 h 1389"/>
                  <a:gd name="T90" fmla="*/ 680 w 1508"/>
                  <a:gd name="T91" fmla="*/ 1078 h 1389"/>
                  <a:gd name="T92" fmla="*/ 650 w 1508"/>
                  <a:gd name="T93" fmla="*/ 1008 h 1389"/>
                  <a:gd name="T94" fmla="*/ 594 w 1508"/>
                  <a:gd name="T95" fmla="*/ 944 h 1389"/>
                  <a:gd name="T96" fmla="*/ 546 w 1508"/>
                  <a:gd name="T97" fmla="*/ 905 h 1389"/>
                  <a:gd name="T98" fmla="*/ 543 w 1508"/>
                  <a:gd name="T99" fmla="*/ 779 h 1389"/>
                  <a:gd name="T100" fmla="*/ 456 w 1508"/>
                  <a:gd name="T101" fmla="*/ 663 h 1389"/>
                  <a:gd name="T102" fmla="*/ 391 w 1508"/>
                  <a:gd name="T103" fmla="*/ 624 h 1389"/>
                  <a:gd name="T104" fmla="*/ 312 w 1508"/>
                  <a:gd name="T105" fmla="*/ 588 h 1389"/>
                  <a:gd name="T106" fmla="*/ 281 w 1508"/>
                  <a:gd name="T107" fmla="*/ 510 h 1389"/>
                  <a:gd name="T108" fmla="*/ 203 w 1508"/>
                  <a:gd name="T109" fmla="*/ 539 h 1389"/>
                  <a:gd name="T110" fmla="*/ 930 w 1508"/>
                  <a:gd name="T111" fmla="*/ 209 h 1389"/>
                  <a:gd name="T112" fmla="*/ 781 w 1508"/>
                  <a:gd name="T113" fmla="*/ 177 h 1389"/>
                  <a:gd name="T114" fmla="*/ 818 w 1508"/>
                  <a:gd name="T115" fmla="*/ 173 h 1389"/>
                  <a:gd name="T116" fmla="*/ 793 w 1508"/>
                  <a:gd name="T117" fmla="*/ 168 h 1389"/>
                  <a:gd name="T118" fmla="*/ 990 w 1508"/>
                  <a:gd name="T119" fmla="*/ 285 h 1389"/>
                  <a:gd name="T120" fmla="*/ 986 w 1508"/>
                  <a:gd name="T121" fmla="*/ 228 h 1389"/>
                  <a:gd name="T122" fmla="*/ 1189 w 1508"/>
                  <a:gd name="T123" fmla="*/ 621 h 1389"/>
                  <a:gd name="T124" fmla="*/ 973 w 1508"/>
                  <a:gd name="T125" fmla="*/ 1007 h 1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08" h="1389">
                    <a:moveTo>
                      <a:pt x="150" y="549"/>
                    </a:moveTo>
                    <a:lnTo>
                      <a:pt x="148" y="549"/>
                    </a:lnTo>
                    <a:lnTo>
                      <a:pt x="148" y="551"/>
                    </a:lnTo>
                    <a:lnTo>
                      <a:pt x="148" y="549"/>
                    </a:lnTo>
                    <a:lnTo>
                      <a:pt x="148" y="551"/>
                    </a:lnTo>
                    <a:lnTo>
                      <a:pt x="147" y="551"/>
                    </a:lnTo>
                    <a:lnTo>
                      <a:pt x="145" y="551"/>
                    </a:lnTo>
                    <a:lnTo>
                      <a:pt x="143" y="551"/>
                    </a:lnTo>
                    <a:lnTo>
                      <a:pt x="143" y="549"/>
                    </a:lnTo>
                    <a:lnTo>
                      <a:pt x="142" y="549"/>
                    </a:lnTo>
                    <a:lnTo>
                      <a:pt x="140" y="549"/>
                    </a:lnTo>
                    <a:lnTo>
                      <a:pt x="138" y="549"/>
                    </a:lnTo>
                    <a:lnTo>
                      <a:pt x="136" y="549"/>
                    </a:lnTo>
                    <a:lnTo>
                      <a:pt x="136" y="551"/>
                    </a:lnTo>
                    <a:lnTo>
                      <a:pt x="135" y="549"/>
                    </a:lnTo>
                    <a:lnTo>
                      <a:pt x="135" y="551"/>
                    </a:lnTo>
                    <a:lnTo>
                      <a:pt x="133" y="551"/>
                    </a:lnTo>
                    <a:lnTo>
                      <a:pt x="131" y="551"/>
                    </a:lnTo>
                    <a:lnTo>
                      <a:pt x="131" y="553"/>
                    </a:lnTo>
                    <a:lnTo>
                      <a:pt x="130" y="553"/>
                    </a:lnTo>
                    <a:lnTo>
                      <a:pt x="128" y="554"/>
                    </a:lnTo>
                    <a:lnTo>
                      <a:pt x="128" y="553"/>
                    </a:lnTo>
                    <a:lnTo>
                      <a:pt x="128" y="554"/>
                    </a:lnTo>
                    <a:lnTo>
                      <a:pt x="126" y="553"/>
                    </a:lnTo>
                    <a:lnTo>
                      <a:pt x="126" y="554"/>
                    </a:lnTo>
                    <a:lnTo>
                      <a:pt x="125" y="554"/>
                    </a:lnTo>
                    <a:lnTo>
                      <a:pt x="123" y="554"/>
                    </a:lnTo>
                    <a:lnTo>
                      <a:pt x="123" y="553"/>
                    </a:lnTo>
                    <a:lnTo>
                      <a:pt x="121" y="553"/>
                    </a:lnTo>
                    <a:lnTo>
                      <a:pt x="119" y="551"/>
                    </a:lnTo>
                    <a:lnTo>
                      <a:pt x="118" y="549"/>
                    </a:lnTo>
                    <a:lnTo>
                      <a:pt x="114" y="551"/>
                    </a:lnTo>
                    <a:lnTo>
                      <a:pt x="114" y="542"/>
                    </a:lnTo>
                    <a:lnTo>
                      <a:pt x="114" y="539"/>
                    </a:lnTo>
                    <a:lnTo>
                      <a:pt x="114" y="537"/>
                    </a:lnTo>
                    <a:lnTo>
                      <a:pt x="114" y="534"/>
                    </a:lnTo>
                    <a:lnTo>
                      <a:pt x="114" y="532"/>
                    </a:lnTo>
                    <a:lnTo>
                      <a:pt x="114" y="530"/>
                    </a:lnTo>
                    <a:lnTo>
                      <a:pt x="114" y="529"/>
                    </a:lnTo>
                    <a:lnTo>
                      <a:pt x="114" y="525"/>
                    </a:lnTo>
                    <a:lnTo>
                      <a:pt x="114" y="524"/>
                    </a:lnTo>
                    <a:lnTo>
                      <a:pt x="114" y="522"/>
                    </a:lnTo>
                    <a:lnTo>
                      <a:pt x="114" y="520"/>
                    </a:lnTo>
                    <a:lnTo>
                      <a:pt x="114" y="519"/>
                    </a:lnTo>
                    <a:lnTo>
                      <a:pt x="114" y="517"/>
                    </a:lnTo>
                    <a:lnTo>
                      <a:pt x="114" y="513"/>
                    </a:lnTo>
                    <a:lnTo>
                      <a:pt x="114" y="512"/>
                    </a:lnTo>
                    <a:lnTo>
                      <a:pt x="114" y="510"/>
                    </a:lnTo>
                    <a:lnTo>
                      <a:pt x="116" y="510"/>
                    </a:lnTo>
                    <a:lnTo>
                      <a:pt x="118" y="510"/>
                    </a:lnTo>
                    <a:lnTo>
                      <a:pt x="118" y="508"/>
                    </a:lnTo>
                    <a:lnTo>
                      <a:pt x="118" y="507"/>
                    </a:lnTo>
                    <a:lnTo>
                      <a:pt x="116" y="507"/>
                    </a:lnTo>
                    <a:lnTo>
                      <a:pt x="116" y="505"/>
                    </a:lnTo>
                    <a:lnTo>
                      <a:pt x="114" y="503"/>
                    </a:lnTo>
                    <a:lnTo>
                      <a:pt x="116" y="503"/>
                    </a:lnTo>
                    <a:lnTo>
                      <a:pt x="114" y="502"/>
                    </a:lnTo>
                    <a:lnTo>
                      <a:pt x="116" y="502"/>
                    </a:lnTo>
                    <a:lnTo>
                      <a:pt x="116" y="503"/>
                    </a:lnTo>
                    <a:lnTo>
                      <a:pt x="116" y="502"/>
                    </a:lnTo>
                    <a:lnTo>
                      <a:pt x="116" y="503"/>
                    </a:lnTo>
                    <a:lnTo>
                      <a:pt x="116" y="502"/>
                    </a:lnTo>
                    <a:lnTo>
                      <a:pt x="118" y="502"/>
                    </a:lnTo>
                    <a:lnTo>
                      <a:pt x="116" y="502"/>
                    </a:lnTo>
                    <a:lnTo>
                      <a:pt x="118" y="502"/>
                    </a:lnTo>
                    <a:lnTo>
                      <a:pt x="118" y="500"/>
                    </a:lnTo>
                    <a:lnTo>
                      <a:pt x="118" y="498"/>
                    </a:lnTo>
                    <a:lnTo>
                      <a:pt x="116" y="498"/>
                    </a:lnTo>
                    <a:lnTo>
                      <a:pt x="114" y="498"/>
                    </a:lnTo>
                    <a:lnTo>
                      <a:pt x="114" y="500"/>
                    </a:lnTo>
                    <a:lnTo>
                      <a:pt x="113" y="500"/>
                    </a:lnTo>
                    <a:lnTo>
                      <a:pt x="113" y="502"/>
                    </a:lnTo>
                    <a:lnTo>
                      <a:pt x="111" y="502"/>
                    </a:lnTo>
                    <a:lnTo>
                      <a:pt x="111" y="503"/>
                    </a:lnTo>
                    <a:lnTo>
                      <a:pt x="109" y="502"/>
                    </a:lnTo>
                    <a:lnTo>
                      <a:pt x="109" y="503"/>
                    </a:lnTo>
                    <a:lnTo>
                      <a:pt x="109" y="505"/>
                    </a:lnTo>
                    <a:lnTo>
                      <a:pt x="108" y="505"/>
                    </a:lnTo>
                    <a:lnTo>
                      <a:pt x="106" y="505"/>
                    </a:lnTo>
                    <a:lnTo>
                      <a:pt x="106" y="507"/>
                    </a:lnTo>
                    <a:lnTo>
                      <a:pt x="104" y="508"/>
                    </a:lnTo>
                    <a:lnTo>
                      <a:pt x="102" y="508"/>
                    </a:lnTo>
                    <a:lnTo>
                      <a:pt x="102" y="510"/>
                    </a:lnTo>
                    <a:lnTo>
                      <a:pt x="102" y="512"/>
                    </a:lnTo>
                    <a:lnTo>
                      <a:pt x="101" y="512"/>
                    </a:lnTo>
                    <a:lnTo>
                      <a:pt x="99" y="512"/>
                    </a:lnTo>
                    <a:lnTo>
                      <a:pt x="97" y="512"/>
                    </a:lnTo>
                    <a:lnTo>
                      <a:pt x="97" y="513"/>
                    </a:lnTo>
                    <a:lnTo>
                      <a:pt x="96" y="513"/>
                    </a:lnTo>
                    <a:lnTo>
                      <a:pt x="96" y="515"/>
                    </a:lnTo>
                    <a:lnTo>
                      <a:pt x="94" y="515"/>
                    </a:lnTo>
                    <a:lnTo>
                      <a:pt x="94" y="517"/>
                    </a:lnTo>
                    <a:lnTo>
                      <a:pt x="92" y="517"/>
                    </a:lnTo>
                    <a:lnTo>
                      <a:pt x="91" y="517"/>
                    </a:lnTo>
                    <a:lnTo>
                      <a:pt x="89" y="517"/>
                    </a:lnTo>
                    <a:lnTo>
                      <a:pt x="85" y="517"/>
                    </a:lnTo>
                    <a:lnTo>
                      <a:pt x="84" y="517"/>
                    </a:lnTo>
                    <a:lnTo>
                      <a:pt x="80" y="517"/>
                    </a:lnTo>
                    <a:lnTo>
                      <a:pt x="77" y="517"/>
                    </a:lnTo>
                    <a:lnTo>
                      <a:pt x="74" y="517"/>
                    </a:lnTo>
                    <a:lnTo>
                      <a:pt x="70" y="517"/>
                    </a:lnTo>
                    <a:lnTo>
                      <a:pt x="67" y="517"/>
                    </a:lnTo>
                    <a:lnTo>
                      <a:pt x="62" y="517"/>
                    </a:lnTo>
                    <a:lnTo>
                      <a:pt x="63" y="517"/>
                    </a:lnTo>
                    <a:lnTo>
                      <a:pt x="62" y="515"/>
                    </a:lnTo>
                    <a:lnTo>
                      <a:pt x="62" y="513"/>
                    </a:lnTo>
                    <a:lnTo>
                      <a:pt x="63" y="513"/>
                    </a:lnTo>
                    <a:lnTo>
                      <a:pt x="62" y="512"/>
                    </a:lnTo>
                    <a:lnTo>
                      <a:pt x="63" y="512"/>
                    </a:lnTo>
                    <a:lnTo>
                      <a:pt x="62" y="512"/>
                    </a:lnTo>
                    <a:lnTo>
                      <a:pt x="63" y="510"/>
                    </a:lnTo>
                    <a:lnTo>
                      <a:pt x="62" y="510"/>
                    </a:lnTo>
                    <a:lnTo>
                      <a:pt x="60" y="510"/>
                    </a:lnTo>
                    <a:lnTo>
                      <a:pt x="60" y="508"/>
                    </a:lnTo>
                    <a:lnTo>
                      <a:pt x="58" y="508"/>
                    </a:lnTo>
                    <a:lnTo>
                      <a:pt x="60" y="508"/>
                    </a:lnTo>
                    <a:lnTo>
                      <a:pt x="58" y="507"/>
                    </a:lnTo>
                    <a:lnTo>
                      <a:pt x="60" y="507"/>
                    </a:lnTo>
                    <a:lnTo>
                      <a:pt x="60" y="505"/>
                    </a:lnTo>
                    <a:lnTo>
                      <a:pt x="58" y="505"/>
                    </a:lnTo>
                    <a:lnTo>
                      <a:pt x="60" y="505"/>
                    </a:lnTo>
                    <a:lnTo>
                      <a:pt x="58" y="505"/>
                    </a:lnTo>
                    <a:lnTo>
                      <a:pt x="58" y="503"/>
                    </a:lnTo>
                    <a:lnTo>
                      <a:pt x="58" y="502"/>
                    </a:lnTo>
                    <a:lnTo>
                      <a:pt x="57" y="502"/>
                    </a:lnTo>
                    <a:lnTo>
                      <a:pt x="57" y="500"/>
                    </a:lnTo>
                    <a:lnTo>
                      <a:pt x="55" y="500"/>
                    </a:lnTo>
                    <a:lnTo>
                      <a:pt x="53" y="500"/>
                    </a:lnTo>
                    <a:lnTo>
                      <a:pt x="51" y="500"/>
                    </a:lnTo>
                    <a:lnTo>
                      <a:pt x="50" y="500"/>
                    </a:lnTo>
                    <a:lnTo>
                      <a:pt x="48" y="500"/>
                    </a:lnTo>
                    <a:lnTo>
                      <a:pt x="48" y="498"/>
                    </a:lnTo>
                    <a:lnTo>
                      <a:pt x="46" y="498"/>
                    </a:lnTo>
                    <a:lnTo>
                      <a:pt x="45" y="498"/>
                    </a:lnTo>
                    <a:lnTo>
                      <a:pt x="43" y="498"/>
                    </a:lnTo>
                    <a:lnTo>
                      <a:pt x="43" y="496"/>
                    </a:lnTo>
                    <a:lnTo>
                      <a:pt x="36" y="496"/>
                    </a:lnTo>
                    <a:lnTo>
                      <a:pt x="28" y="496"/>
                    </a:lnTo>
                    <a:lnTo>
                      <a:pt x="28" y="495"/>
                    </a:lnTo>
                    <a:lnTo>
                      <a:pt x="29" y="495"/>
                    </a:lnTo>
                    <a:lnTo>
                      <a:pt x="31" y="493"/>
                    </a:lnTo>
                    <a:lnTo>
                      <a:pt x="31" y="491"/>
                    </a:lnTo>
                    <a:lnTo>
                      <a:pt x="33" y="491"/>
                    </a:lnTo>
                    <a:lnTo>
                      <a:pt x="34" y="490"/>
                    </a:lnTo>
                    <a:lnTo>
                      <a:pt x="33" y="490"/>
                    </a:lnTo>
                    <a:lnTo>
                      <a:pt x="34" y="488"/>
                    </a:lnTo>
                    <a:lnTo>
                      <a:pt x="36" y="488"/>
                    </a:lnTo>
                    <a:lnTo>
                      <a:pt x="36" y="486"/>
                    </a:lnTo>
                    <a:lnTo>
                      <a:pt x="36" y="485"/>
                    </a:lnTo>
                    <a:lnTo>
                      <a:pt x="36" y="483"/>
                    </a:lnTo>
                    <a:lnTo>
                      <a:pt x="34" y="483"/>
                    </a:lnTo>
                    <a:lnTo>
                      <a:pt x="34" y="481"/>
                    </a:lnTo>
                    <a:lnTo>
                      <a:pt x="33" y="479"/>
                    </a:lnTo>
                    <a:lnTo>
                      <a:pt x="31" y="478"/>
                    </a:lnTo>
                    <a:lnTo>
                      <a:pt x="29" y="476"/>
                    </a:lnTo>
                    <a:lnTo>
                      <a:pt x="29" y="474"/>
                    </a:lnTo>
                    <a:lnTo>
                      <a:pt x="29" y="473"/>
                    </a:lnTo>
                    <a:lnTo>
                      <a:pt x="28" y="473"/>
                    </a:lnTo>
                    <a:lnTo>
                      <a:pt x="26" y="473"/>
                    </a:lnTo>
                    <a:lnTo>
                      <a:pt x="24" y="473"/>
                    </a:lnTo>
                    <a:lnTo>
                      <a:pt x="24" y="471"/>
                    </a:lnTo>
                    <a:lnTo>
                      <a:pt x="23" y="471"/>
                    </a:lnTo>
                    <a:lnTo>
                      <a:pt x="23" y="469"/>
                    </a:lnTo>
                    <a:lnTo>
                      <a:pt x="23" y="467"/>
                    </a:lnTo>
                    <a:lnTo>
                      <a:pt x="23" y="466"/>
                    </a:lnTo>
                    <a:lnTo>
                      <a:pt x="21" y="466"/>
                    </a:lnTo>
                    <a:lnTo>
                      <a:pt x="21" y="464"/>
                    </a:lnTo>
                    <a:lnTo>
                      <a:pt x="21" y="462"/>
                    </a:lnTo>
                    <a:lnTo>
                      <a:pt x="19" y="462"/>
                    </a:lnTo>
                    <a:lnTo>
                      <a:pt x="17" y="462"/>
                    </a:lnTo>
                    <a:lnTo>
                      <a:pt x="16" y="461"/>
                    </a:lnTo>
                    <a:lnTo>
                      <a:pt x="16" y="459"/>
                    </a:lnTo>
                    <a:lnTo>
                      <a:pt x="16" y="457"/>
                    </a:lnTo>
                    <a:lnTo>
                      <a:pt x="14" y="456"/>
                    </a:lnTo>
                    <a:lnTo>
                      <a:pt x="14" y="454"/>
                    </a:lnTo>
                    <a:lnTo>
                      <a:pt x="14" y="452"/>
                    </a:lnTo>
                    <a:lnTo>
                      <a:pt x="12" y="450"/>
                    </a:lnTo>
                    <a:lnTo>
                      <a:pt x="12" y="449"/>
                    </a:lnTo>
                    <a:lnTo>
                      <a:pt x="11" y="449"/>
                    </a:lnTo>
                    <a:lnTo>
                      <a:pt x="11" y="447"/>
                    </a:lnTo>
                    <a:lnTo>
                      <a:pt x="9" y="447"/>
                    </a:lnTo>
                    <a:lnTo>
                      <a:pt x="9" y="445"/>
                    </a:lnTo>
                    <a:lnTo>
                      <a:pt x="7" y="445"/>
                    </a:lnTo>
                    <a:lnTo>
                      <a:pt x="9" y="445"/>
                    </a:lnTo>
                    <a:lnTo>
                      <a:pt x="9" y="444"/>
                    </a:lnTo>
                    <a:lnTo>
                      <a:pt x="9" y="445"/>
                    </a:lnTo>
                    <a:lnTo>
                      <a:pt x="11" y="444"/>
                    </a:lnTo>
                    <a:lnTo>
                      <a:pt x="11" y="442"/>
                    </a:lnTo>
                    <a:lnTo>
                      <a:pt x="11" y="440"/>
                    </a:lnTo>
                    <a:lnTo>
                      <a:pt x="9" y="440"/>
                    </a:lnTo>
                    <a:lnTo>
                      <a:pt x="7" y="440"/>
                    </a:lnTo>
                    <a:lnTo>
                      <a:pt x="7" y="439"/>
                    </a:lnTo>
                    <a:lnTo>
                      <a:pt x="6" y="439"/>
                    </a:lnTo>
                    <a:lnTo>
                      <a:pt x="6" y="437"/>
                    </a:lnTo>
                    <a:lnTo>
                      <a:pt x="4" y="437"/>
                    </a:lnTo>
                    <a:lnTo>
                      <a:pt x="2" y="435"/>
                    </a:lnTo>
                    <a:lnTo>
                      <a:pt x="0" y="433"/>
                    </a:lnTo>
                    <a:lnTo>
                      <a:pt x="2" y="433"/>
                    </a:lnTo>
                    <a:lnTo>
                      <a:pt x="2" y="432"/>
                    </a:lnTo>
                    <a:lnTo>
                      <a:pt x="2" y="430"/>
                    </a:lnTo>
                    <a:lnTo>
                      <a:pt x="2" y="427"/>
                    </a:lnTo>
                    <a:lnTo>
                      <a:pt x="4" y="428"/>
                    </a:lnTo>
                    <a:lnTo>
                      <a:pt x="6" y="427"/>
                    </a:lnTo>
                    <a:lnTo>
                      <a:pt x="7" y="427"/>
                    </a:lnTo>
                    <a:lnTo>
                      <a:pt x="9" y="427"/>
                    </a:lnTo>
                    <a:lnTo>
                      <a:pt x="9" y="425"/>
                    </a:lnTo>
                    <a:lnTo>
                      <a:pt x="11" y="425"/>
                    </a:lnTo>
                    <a:lnTo>
                      <a:pt x="11" y="423"/>
                    </a:lnTo>
                    <a:lnTo>
                      <a:pt x="9" y="422"/>
                    </a:lnTo>
                    <a:lnTo>
                      <a:pt x="7" y="418"/>
                    </a:lnTo>
                    <a:lnTo>
                      <a:pt x="9" y="416"/>
                    </a:lnTo>
                    <a:lnTo>
                      <a:pt x="9" y="415"/>
                    </a:lnTo>
                    <a:lnTo>
                      <a:pt x="9" y="413"/>
                    </a:lnTo>
                    <a:lnTo>
                      <a:pt x="9" y="411"/>
                    </a:lnTo>
                    <a:lnTo>
                      <a:pt x="9" y="410"/>
                    </a:lnTo>
                    <a:lnTo>
                      <a:pt x="11" y="410"/>
                    </a:lnTo>
                    <a:lnTo>
                      <a:pt x="11" y="408"/>
                    </a:lnTo>
                    <a:lnTo>
                      <a:pt x="12" y="408"/>
                    </a:lnTo>
                    <a:lnTo>
                      <a:pt x="12" y="406"/>
                    </a:lnTo>
                    <a:lnTo>
                      <a:pt x="14" y="406"/>
                    </a:lnTo>
                    <a:lnTo>
                      <a:pt x="16" y="406"/>
                    </a:lnTo>
                    <a:lnTo>
                      <a:pt x="16" y="405"/>
                    </a:lnTo>
                    <a:lnTo>
                      <a:pt x="17" y="403"/>
                    </a:lnTo>
                    <a:lnTo>
                      <a:pt x="17" y="405"/>
                    </a:lnTo>
                    <a:lnTo>
                      <a:pt x="17" y="403"/>
                    </a:lnTo>
                    <a:lnTo>
                      <a:pt x="19" y="403"/>
                    </a:lnTo>
                    <a:lnTo>
                      <a:pt x="21" y="403"/>
                    </a:lnTo>
                    <a:lnTo>
                      <a:pt x="21" y="401"/>
                    </a:lnTo>
                    <a:lnTo>
                      <a:pt x="23" y="401"/>
                    </a:lnTo>
                    <a:lnTo>
                      <a:pt x="24" y="401"/>
                    </a:lnTo>
                    <a:lnTo>
                      <a:pt x="26" y="401"/>
                    </a:lnTo>
                    <a:lnTo>
                      <a:pt x="26" y="399"/>
                    </a:lnTo>
                    <a:lnTo>
                      <a:pt x="28" y="401"/>
                    </a:lnTo>
                    <a:lnTo>
                      <a:pt x="28" y="399"/>
                    </a:lnTo>
                    <a:lnTo>
                      <a:pt x="28" y="398"/>
                    </a:lnTo>
                    <a:lnTo>
                      <a:pt x="29" y="399"/>
                    </a:lnTo>
                    <a:lnTo>
                      <a:pt x="29" y="398"/>
                    </a:lnTo>
                    <a:lnTo>
                      <a:pt x="29" y="396"/>
                    </a:lnTo>
                    <a:lnTo>
                      <a:pt x="31" y="396"/>
                    </a:lnTo>
                    <a:lnTo>
                      <a:pt x="29" y="396"/>
                    </a:lnTo>
                    <a:lnTo>
                      <a:pt x="31" y="394"/>
                    </a:lnTo>
                    <a:lnTo>
                      <a:pt x="29" y="394"/>
                    </a:lnTo>
                    <a:lnTo>
                      <a:pt x="29" y="393"/>
                    </a:lnTo>
                    <a:lnTo>
                      <a:pt x="29" y="391"/>
                    </a:lnTo>
                    <a:lnTo>
                      <a:pt x="28" y="391"/>
                    </a:lnTo>
                    <a:lnTo>
                      <a:pt x="29" y="391"/>
                    </a:lnTo>
                    <a:lnTo>
                      <a:pt x="28" y="389"/>
                    </a:lnTo>
                    <a:lnTo>
                      <a:pt x="28" y="388"/>
                    </a:lnTo>
                    <a:lnTo>
                      <a:pt x="26" y="388"/>
                    </a:lnTo>
                    <a:lnTo>
                      <a:pt x="28" y="388"/>
                    </a:lnTo>
                    <a:lnTo>
                      <a:pt x="26" y="388"/>
                    </a:lnTo>
                    <a:lnTo>
                      <a:pt x="26" y="386"/>
                    </a:lnTo>
                    <a:lnTo>
                      <a:pt x="26" y="384"/>
                    </a:lnTo>
                    <a:lnTo>
                      <a:pt x="26" y="382"/>
                    </a:lnTo>
                    <a:lnTo>
                      <a:pt x="26" y="381"/>
                    </a:lnTo>
                    <a:lnTo>
                      <a:pt x="28" y="382"/>
                    </a:lnTo>
                    <a:lnTo>
                      <a:pt x="26" y="381"/>
                    </a:lnTo>
                    <a:lnTo>
                      <a:pt x="28" y="381"/>
                    </a:lnTo>
                    <a:lnTo>
                      <a:pt x="28" y="379"/>
                    </a:lnTo>
                    <a:lnTo>
                      <a:pt x="28" y="377"/>
                    </a:lnTo>
                    <a:lnTo>
                      <a:pt x="29" y="377"/>
                    </a:lnTo>
                    <a:lnTo>
                      <a:pt x="29" y="376"/>
                    </a:lnTo>
                    <a:lnTo>
                      <a:pt x="31" y="376"/>
                    </a:lnTo>
                    <a:lnTo>
                      <a:pt x="31" y="374"/>
                    </a:lnTo>
                    <a:lnTo>
                      <a:pt x="33" y="374"/>
                    </a:lnTo>
                    <a:lnTo>
                      <a:pt x="33" y="372"/>
                    </a:lnTo>
                    <a:lnTo>
                      <a:pt x="34" y="372"/>
                    </a:lnTo>
                    <a:lnTo>
                      <a:pt x="34" y="371"/>
                    </a:lnTo>
                    <a:lnTo>
                      <a:pt x="34" y="369"/>
                    </a:lnTo>
                    <a:lnTo>
                      <a:pt x="36" y="369"/>
                    </a:lnTo>
                    <a:lnTo>
                      <a:pt x="34" y="369"/>
                    </a:lnTo>
                    <a:lnTo>
                      <a:pt x="34" y="367"/>
                    </a:lnTo>
                    <a:lnTo>
                      <a:pt x="36" y="367"/>
                    </a:lnTo>
                    <a:lnTo>
                      <a:pt x="36" y="365"/>
                    </a:lnTo>
                    <a:lnTo>
                      <a:pt x="36" y="364"/>
                    </a:lnTo>
                    <a:lnTo>
                      <a:pt x="34" y="364"/>
                    </a:lnTo>
                    <a:lnTo>
                      <a:pt x="36" y="364"/>
                    </a:lnTo>
                    <a:lnTo>
                      <a:pt x="36" y="362"/>
                    </a:lnTo>
                    <a:lnTo>
                      <a:pt x="36" y="360"/>
                    </a:lnTo>
                    <a:lnTo>
                      <a:pt x="38" y="360"/>
                    </a:lnTo>
                    <a:lnTo>
                      <a:pt x="38" y="359"/>
                    </a:lnTo>
                    <a:lnTo>
                      <a:pt x="38" y="357"/>
                    </a:lnTo>
                    <a:lnTo>
                      <a:pt x="38" y="355"/>
                    </a:lnTo>
                    <a:lnTo>
                      <a:pt x="38" y="354"/>
                    </a:lnTo>
                    <a:lnTo>
                      <a:pt x="38" y="352"/>
                    </a:lnTo>
                    <a:lnTo>
                      <a:pt x="40" y="352"/>
                    </a:lnTo>
                    <a:lnTo>
                      <a:pt x="40" y="350"/>
                    </a:lnTo>
                    <a:lnTo>
                      <a:pt x="41" y="350"/>
                    </a:lnTo>
                    <a:lnTo>
                      <a:pt x="43" y="350"/>
                    </a:lnTo>
                    <a:lnTo>
                      <a:pt x="43" y="348"/>
                    </a:lnTo>
                    <a:lnTo>
                      <a:pt x="45" y="348"/>
                    </a:lnTo>
                    <a:lnTo>
                      <a:pt x="46" y="348"/>
                    </a:lnTo>
                    <a:lnTo>
                      <a:pt x="48" y="348"/>
                    </a:lnTo>
                    <a:lnTo>
                      <a:pt x="46" y="347"/>
                    </a:lnTo>
                    <a:lnTo>
                      <a:pt x="48" y="347"/>
                    </a:lnTo>
                    <a:lnTo>
                      <a:pt x="46" y="347"/>
                    </a:lnTo>
                    <a:lnTo>
                      <a:pt x="48" y="347"/>
                    </a:lnTo>
                    <a:lnTo>
                      <a:pt x="50" y="345"/>
                    </a:lnTo>
                    <a:lnTo>
                      <a:pt x="51" y="345"/>
                    </a:lnTo>
                    <a:lnTo>
                      <a:pt x="53" y="343"/>
                    </a:lnTo>
                    <a:lnTo>
                      <a:pt x="51" y="343"/>
                    </a:lnTo>
                    <a:lnTo>
                      <a:pt x="53" y="343"/>
                    </a:lnTo>
                    <a:lnTo>
                      <a:pt x="55" y="343"/>
                    </a:lnTo>
                    <a:lnTo>
                      <a:pt x="55" y="342"/>
                    </a:lnTo>
                    <a:lnTo>
                      <a:pt x="55" y="340"/>
                    </a:lnTo>
                    <a:lnTo>
                      <a:pt x="57" y="340"/>
                    </a:lnTo>
                    <a:lnTo>
                      <a:pt x="58" y="340"/>
                    </a:lnTo>
                    <a:lnTo>
                      <a:pt x="60" y="340"/>
                    </a:lnTo>
                    <a:lnTo>
                      <a:pt x="58" y="338"/>
                    </a:lnTo>
                    <a:lnTo>
                      <a:pt x="60" y="340"/>
                    </a:lnTo>
                    <a:lnTo>
                      <a:pt x="60" y="338"/>
                    </a:lnTo>
                    <a:lnTo>
                      <a:pt x="62" y="338"/>
                    </a:lnTo>
                    <a:lnTo>
                      <a:pt x="63" y="337"/>
                    </a:lnTo>
                    <a:lnTo>
                      <a:pt x="63" y="338"/>
                    </a:lnTo>
                    <a:lnTo>
                      <a:pt x="63" y="337"/>
                    </a:lnTo>
                    <a:lnTo>
                      <a:pt x="65" y="337"/>
                    </a:lnTo>
                    <a:lnTo>
                      <a:pt x="65" y="335"/>
                    </a:lnTo>
                    <a:lnTo>
                      <a:pt x="67" y="335"/>
                    </a:lnTo>
                    <a:lnTo>
                      <a:pt x="68" y="335"/>
                    </a:lnTo>
                    <a:lnTo>
                      <a:pt x="68" y="333"/>
                    </a:lnTo>
                    <a:lnTo>
                      <a:pt x="70" y="333"/>
                    </a:lnTo>
                    <a:lnTo>
                      <a:pt x="70" y="331"/>
                    </a:lnTo>
                    <a:lnTo>
                      <a:pt x="72" y="331"/>
                    </a:lnTo>
                    <a:lnTo>
                      <a:pt x="70" y="330"/>
                    </a:lnTo>
                    <a:lnTo>
                      <a:pt x="72" y="330"/>
                    </a:lnTo>
                    <a:lnTo>
                      <a:pt x="72" y="331"/>
                    </a:lnTo>
                    <a:lnTo>
                      <a:pt x="72" y="330"/>
                    </a:lnTo>
                    <a:lnTo>
                      <a:pt x="74" y="330"/>
                    </a:lnTo>
                    <a:lnTo>
                      <a:pt x="75" y="330"/>
                    </a:lnTo>
                    <a:lnTo>
                      <a:pt x="77" y="330"/>
                    </a:lnTo>
                    <a:lnTo>
                      <a:pt x="75" y="330"/>
                    </a:lnTo>
                    <a:lnTo>
                      <a:pt x="77" y="330"/>
                    </a:lnTo>
                    <a:lnTo>
                      <a:pt x="79" y="330"/>
                    </a:lnTo>
                    <a:lnTo>
                      <a:pt x="80" y="330"/>
                    </a:lnTo>
                    <a:lnTo>
                      <a:pt x="80" y="331"/>
                    </a:lnTo>
                    <a:lnTo>
                      <a:pt x="82" y="331"/>
                    </a:lnTo>
                    <a:lnTo>
                      <a:pt x="82" y="330"/>
                    </a:lnTo>
                    <a:lnTo>
                      <a:pt x="84" y="330"/>
                    </a:lnTo>
                    <a:lnTo>
                      <a:pt x="84" y="328"/>
                    </a:lnTo>
                    <a:lnTo>
                      <a:pt x="84" y="330"/>
                    </a:lnTo>
                    <a:lnTo>
                      <a:pt x="85" y="330"/>
                    </a:lnTo>
                    <a:lnTo>
                      <a:pt x="84" y="328"/>
                    </a:lnTo>
                    <a:lnTo>
                      <a:pt x="85" y="328"/>
                    </a:lnTo>
                    <a:lnTo>
                      <a:pt x="87" y="328"/>
                    </a:lnTo>
                    <a:lnTo>
                      <a:pt x="87" y="330"/>
                    </a:lnTo>
                    <a:lnTo>
                      <a:pt x="87" y="328"/>
                    </a:lnTo>
                    <a:lnTo>
                      <a:pt x="89" y="328"/>
                    </a:lnTo>
                    <a:lnTo>
                      <a:pt x="91" y="328"/>
                    </a:lnTo>
                    <a:lnTo>
                      <a:pt x="91" y="326"/>
                    </a:lnTo>
                    <a:lnTo>
                      <a:pt x="91" y="328"/>
                    </a:lnTo>
                    <a:lnTo>
                      <a:pt x="92" y="328"/>
                    </a:lnTo>
                    <a:lnTo>
                      <a:pt x="92" y="326"/>
                    </a:lnTo>
                    <a:lnTo>
                      <a:pt x="94" y="326"/>
                    </a:lnTo>
                    <a:lnTo>
                      <a:pt x="96" y="328"/>
                    </a:lnTo>
                    <a:lnTo>
                      <a:pt x="96" y="326"/>
                    </a:lnTo>
                    <a:lnTo>
                      <a:pt x="97" y="326"/>
                    </a:lnTo>
                    <a:lnTo>
                      <a:pt x="99" y="326"/>
                    </a:lnTo>
                    <a:lnTo>
                      <a:pt x="101" y="326"/>
                    </a:lnTo>
                    <a:lnTo>
                      <a:pt x="102" y="326"/>
                    </a:lnTo>
                    <a:lnTo>
                      <a:pt x="102" y="325"/>
                    </a:lnTo>
                    <a:lnTo>
                      <a:pt x="101" y="325"/>
                    </a:lnTo>
                    <a:lnTo>
                      <a:pt x="102" y="325"/>
                    </a:lnTo>
                    <a:lnTo>
                      <a:pt x="102" y="326"/>
                    </a:lnTo>
                    <a:lnTo>
                      <a:pt x="104" y="326"/>
                    </a:lnTo>
                    <a:lnTo>
                      <a:pt x="104" y="325"/>
                    </a:lnTo>
                    <a:lnTo>
                      <a:pt x="106" y="325"/>
                    </a:lnTo>
                    <a:lnTo>
                      <a:pt x="106" y="323"/>
                    </a:lnTo>
                    <a:lnTo>
                      <a:pt x="106" y="321"/>
                    </a:lnTo>
                    <a:lnTo>
                      <a:pt x="108" y="321"/>
                    </a:lnTo>
                    <a:lnTo>
                      <a:pt x="108" y="319"/>
                    </a:lnTo>
                    <a:lnTo>
                      <a:pt x="109" y="319"/>
                    </a:lnTo>
                    <a:lnTo>
                      <a:pt x="109" y="318"/>
                    </a:lnTo>
                    <a:lnTo>
                      <a:pt x="111" y="319"/>
                    </a:lnTo>
                    <a:lnTo>
                      <a:pt x="113" y="319"/>
                    </a:lnTo>
                    <a:lnTo>
                      <a:pt x="113" y="318"/>
                    </a:lnTo>
                    <a:lnTo>
                      <a:pt x="114" y="318"/>
                    </a:lnTo>
                    <a:lnTo>
                      <a:pt x="114" y="319"/>
                    </a:lnTo>
                    <a:lnTo>
                      <a:pt x="116" y="319"/>
                    </a:lnTo>
                    <a:lnTo>
                      <a:pt x="118" y="318"/>
                    </a:lnTo>
                    <a:lnTo>
                      <a:pt x="116" y="318"/>
                    </a:lnTo>
                    <a:lnTo>
                      <a:pt x="118" y="318"/>
                    </a:lnTo>
                    <a:lnTo>
                      <a:pt x="118" y="319"/>
                    </a:lnTo>
                    <a:lnTo>
                      <a:pt x="119" y="319"/>
                    </a:lnTo>
                    <a:lnTo>
                      <a:pt x="119" y="318"/>
                    </a:lnTo>
                    <a:lnTo>
                      <a:pt x="119" y="319"/>
                    </a:lnTo>
                    <a:lnTo>
                      <a:pt x="119" y="318"/>
                    </a:lnTo>
                    <a:lnTo>
                      <a:pt x="121" y="318"/>
                    </a:lnTo>
                    <a:lnTo>
                      <a:pt x="119" y="318"/>
                    </a:lnTo>
                    <a:lnTo>
                      <a:pt x="121" y="318"/>
                    </a:lnTo>
                    <a:lnTo>
                      <a:pt x="123" y="318"/>
                    </a:lnTo>
                    <a:lnTo>
                      <a:pt x="123" y="319"/>
                    </a:lnTo>
                    <a:lnTo>
                      <a:pt x="125" y="319"/>
                    </a:lnTo>
                    <a:lnTo>
                      <a:pt x="125" y="318"/>
                    </a:lnTo>
                    <a:lnTo>
                      <a:pt x="126" y="319"/>
                    </a:lnTo>
                    <a:lnTo>
                      <a:pt x="126" y="321"/>
                    </a:lnTo>
                    <a:lnTo>
                      <a:pt x="125" y="321"/>
                    </a:lnTo>
                    <a:lnTo>
                      <a:pt x="126" y="323"/>
                    </a:lnTo>
                    <a:lnTo>
                      <a:pt x="128" y="325"/>
                    </a:lnTo>
                    <a:lnTo>
                      <a:pt x="128" y="323"/>
                    </a:lnTo>
                    <a:lnTo>
                      <a:pt x="128" y="325"/>
                    </a:lnTo>
                    <a:lnTo>
                      <a:pt x="130" y="325"/>
                    </a:lnTo>
                    <a:lnTo>
                      <a:pt x="130" y="323"/>
                    </a:lnTo>
                    <a:lnTo>
                      <a:pt x="131" y="323"/>
                    </a:lnTo>
                    <a:lnTo>
                      <a:pt x="131" y="321"/>
                    </a:lnTo>
                    <a:lnTo>
                      <a:pt x="131" y="323"/>
                    </a:lnTo>
                    <a:lnTo>
                      <a:pt x="133" y="323"/>
                    </a:lnTo>
                    <a:lnTo>
                      <a:pt x="133" y="325"/>
                    </a:lnTo>
                    <a:lnTo>
                      <a:pt x="135" y="326"/>
                    </a:lnTo>
                    <a:lnTo>
                      <a:pt x="136" y="326"/>
                    </a:lnTo>
                    <a:lnTo>
                      <a:pt x="136" y="325"/>
                    </a:lnTo>
                    <a:lnTo>
                      <a:pt x="136" y="323"/>
                    </a:lnTo>
                    <a:lnTo>
                      <a:pt x="136" y="321"/>
                    </a:lnTo>
                    <a:lnTo>
                      <a:pt x="138" y="321"/>
                    </a:lnTo>
                    <a:lnTo>
                      <a:pt x="140" y="311"/>
                    </a:lnTo>
                    <a:lnTo>
                      <a:pt x="142" y="302"/>
                    </a:lnTo>
                    <a:lnTo>
                      <a:pt x="145" y="279"/>
                    </a:lnTo>
                    <a:lnTo>
                      <a:pt x="145" y="275"/>
                    </a:lnTo>
                    <a:lnTo>
                      <a:pt x="148" y="260"/>
                    </a:lnTo>
                    <a:lnTo>
                      <a:pt x="148" y="255"/>
                    </a:lnTo>
                    <a:lnTo>
                      <a:pt x="150" y="250"/>
                    </a:lnTo>
                    <a:lnTo>
                      <a:pt x="152" y="245"/>
                    </a:lnTo>
                    <a:lnTo>
                      <a:pt x="152" y="238"/>
                    </a:lnTo>
                    <a:lnTo>
                      <a:pt x="153" y="229"/>
                    </a:lnTo>
                    <a:lnTo>
                      <a:pt x="153" y="228"/>
                    </a:lnTo>
                    <a:lnTo>
                      <a:pt x="155" y="228"/>
                    </a:lnTo>
                    <a:lnTo>
                      <a:pt x="155" y="226"/>
                    </a:lnTo>
                    <a:lnTo>
                      <a:pt x="153" y="226"/>
                    </a:lnTo>
                    <a:lnTo>
                      <a:pt x="155" y="224"/>
                    </a:lnTo>
                    <a:lnTo>
                      <a:pt x="155" y="223"/>
                    </a:lnTo>
                    <a:lnTo>
                      <a:pt x="155" y="221"/>
                    </a:lnTo>
                    <a:lnTo>
                      <a:pt x="155" y="219"/>
                    </a:lnTo>
                    <a:lnTo>
                      <a:pt x="155" y="217"/>
                    </a:lnTo>
                    <a:lnTo>
                      <a:pt x="155" y="216"/>
                    </a:lnTo>
                    <a:lnTo>
                      <a:pt x="155" y="214"/>
                    </a:lnTo>
                    <a:lnTo>
                      <a:pt x="155" y="212"/>
                    </a:lnTo>
                    <a:lnTo>
                      <a:pt x="153" y="212"/>
                    </a:lnTo>
                    <a:lnTo>
                      <a:pt x="155" y="212"/>
                    </a:lnTo>
                    <a:lnTo>
                      <a:pt x="153" y="211"/>
                    </a:lnTo>
                    <a:lnTo>
                      <a:pt x="152" y="209"/>
                    </a:lnTo>
                    <a:lnTo>
                      <a:pt x="152" y="211"/>
                    </a:lnTo>
                    <a:lnTo>
                      <a:pt x="152" y="209"/>
                    </a:lnTo>
                    <a:lnTo>
                      <a:pt x="152" y="207"/>
                    </a:lnTo>
                    <a:lnTo>
                      <a:pt x="150" y="207"/>
                    </a:lnTo>
                    <a:lnTo>
                      <a:pt x="150" y="206"/>
                    </a:lnTo>
                    <a:lnTo>
                      <a:pt x="148" y="204"/>
                    </a:lnTo>
                    <a:lnTo>
                      <a:pt x="150" y="204"/>
                    </a:lnTo>
                    <a:lnTo>
                      <a:pt x="148" y="204"/>
                    </a:lnTo>
                    <a:lnTo>
                      <a:pt x="148" y="202"/>
                    </a:lnTo>
                    <a:lnTo>
                      <a:pt x="148" y="200"/>
                    </a:lnTo>
                    <a:lnTo>
                      <a:pt x="150" y="200"/>
                    </a:lnTo>
                    <a:lnTo>
                      <a:pt x="150" y="199"/>
                    </a:lnTo>
                    <a:lnTo>
                      <a:pt x="148" y="199"/>
                    </a:lnTo>
                    <a:lnTo>
                      <a:pt x="148" y="197"/>
                    </a:lnTo>
                    <a:lnTo>
                      <a:pt x="148" y="195"/>
                    </a:lnTo>
                    <a:lnTo>
                      <a:pt x="148" y="194"/>
                    </a:lnTo>
                    <a:lnTo>
                      <a:pt x="147" y="195"/>
                    </a:lnTo>
                    <a:lnTo>
                      <a:pt x="147" y="194"/>
                    </a:lnTo>
                    <a:lnTo>
                      <a:pt x="145" y="194"/>
                    </a:lnTo>
                    <a:lnTo>
                      <a:pt x="143" y="192"/>
                    </a:lnTo>
                    <a:lnTo>
                      <a:pt x="142" y="192"/>
                    </a:lnTo>
                    <a:lnTo>
                      <a:pt x="142" y="190"/>
                    </a:lnTo>
                    <a:lnTo>
                      <a:pt x="140" y="189"/>
                    </a:lnTo>
                    <a:lnTo>
                      <a:pt x="138" y="190"/>
                    </a:lnTo>
                    <a:lnTo>
                      <a:pt x="138" y="189"/>
                    </a:lnTo>
                    <a:lnTo>
                      <a:pt x="136" y="189"/>
                    </a:lnTo>
                    <a:lnTo>
                      <a:pt x="136" y="187"/>
                    </a:lnTo>
                    <a:lnTo>
                      <a:pt x="135" y="185"/>
                    </a:lnTo>
                    <a:lnTo>
                      <a:pt x="135" y="183"/>
                    </a:lnTo>
                    <a:lnTo>
                      <a:pt x="135" y="182"/>
                    </a:lnTo>
                    <a:lnTo>
                      <a:pt x="133" y="182"/>
                    </a:lnTo>
                    <a:lnTo>
                      <a:pt x="133" y="178"/>
                    </a:lnTo>
                    <a:lnTo>
                      <a:pt x="133" y="175"/>
                    </a:lnTo>
                    <a:lnTo>
                      <a:pt x="133" y="172"/>
                    </a:lnTo>
                    <a:lnTo>
                      <a:pt x="133" y="170"/>
                    </a:lnTo>
                    <a:lnTo>
                      <a:pt x="133" y="168"/>
                    </a:lnTo>
                    <a:lnTo>
                      <a:pt x="133" y="166"/>
                    </a:lnTo>
                    <a:lnTo>
                      <a:pt x="133" y="165"/>
                    </a:lnTo>
                    <a:lnTo>
                      <a:pt x="133" y="161"/>
                    </a:lnTo>
                    <a:lnTo>
                      <a:pt x="133" y="160"/>
                    </a:lnTo>
                    <a:lnTo>
                      <a:pt x="135" y="160"/>
                    </a:lnTo>
                    <a:lnTo>
                      <a:pt x="135" y="158"/>
                    </a:lnTo>
                    <a:lnTo>
                      <a:pt x="136" y="158"/>
                    </a:lnTo>
                    <a:lnTo>
                      <a:pt x="136" y="160"/>
                    </a:lnTo>
                    <a:lnTo>
                      <a:pt x="138" y="160"/>
                    </a:lnTo>
                    <a:lnTo>
                      <a:pt x="138" y="158"/>
                    </a:lnTo>
                    <a:lnTo>
                      <a:pt x="140" y="158"/>
                    </a:lnTo>
                    <a:lnTo>
                      <a:pt x="142" y="158"/>
                    </a:lnTo>
                    <a:lnTo>
                      <a:pt x="143" y="158"/>
                    </a:lnTo>
                    <a:lnTo>
                      <a:pt x="143" y="156"/>
                    </a:lnTo>
                    <a:lnTo>
                      <a:pt x="145" y="158"/>
                    </a:lnTo>
                    <a:lnTo>
                      <a:pt x="145" y="156"/>
                    </a:lnTo>
                    <a:lnTo>
                      <a:pt x="147" y="154"/>
                    </a:lnTo>
                    <a:lnTo>
                      <a:pt x="147" y="156"/>
                    </a:lnTo>
                    <a:lnTo>
                      <a:pt x="148" y="156"/>
                    </a:lnTo>
                    <a:lnTo>
                      <a:pt x="148" y="158"/>
                    </a:lnTo>
                    <a:lnTo>
                      <a:pt x="148" y="156"/>
                    </a:lnTo>
                    <a:lnTo>
                      <a:pt x="150" y="156"/>
                    </a:lnTo>
                    <a:lnTo>
                      <a:pt x="150" y="154"/>
                    </a:lnTo>
                    <a:lnTo>
                      <a:pt x="152" y="154"/>
                    </a:lnTo>
                    <a:lnTo>
                      <a:pt x="152" y="153"/>
                    </a:lnTo>
                    <a:lnTo>
                      <a:pt x="153" y="153"/>
                    </a:lnTo>
                    <a:lnTo>
                      <a:pt x="155" y="154"/>
                    </a:lnTo>
                    <a:lnTo>
                      <a:pt x="155" y="156"/>
                    </a:lnTo>
                    <a:lnTo>
                      <a:pt x="157" y="156"/>
                    </a:lnTo>
                    <a:lnTo>
                      <a:pt x="157" y="158"/>
                    </a:lnTo>
                    <a:lnTo>
                      <a:pt x="157" y="156"/>
                    </a:lnTo>
                    <a:lnTo>
                      <a:pt x="159" y="156"/>
                    </a:lnTo>
                    <a:lnTo>
                      <a:pt x="159" y="158"/>
                    </a:lnTo>
                    <a:lnTo>
                      <a:pt x="160" y="158"/>
                    </a:lnTo>
                    <a:lnTo>
                      <a:pt x="162" y="158"/>
                    </a:lnTo>
                    <a:lnTo>
                      <a:pt x="162" y="156"/>
                    </a:lnTo>
                    <a:lnTo>
                      <a:pt x="164" y="156"/>
                    </a:lnTo>
                    <a:lnTo>
                      <a:pt x="165" y="156"/>
                    </a:lnTo>
                    <a:lnTo>
                      <a:pt x="165" y="154"/>
                    </a:lnTo>
                    <a:lnTo>
                      <a:pt x="164" y="154"/>
                    </a:lnTo>
                    <a:lnTo>
                      <a:pt x="162" y="153"/>
                    </a:lnTo>
                    <a:lnTo>
                      <a:pt x="164" y="153"/>
                    </a:lnTo>
                    <a:lnTo>
                      <a:pt x="164" y="151"/>
                    </a:lnTo>
                    <a:lnTo>
                      <a:pt x="164" y="149"/>
                    </a:lnTo>
                    <a:lnTo>
                      <a:pt x="164" y="148"/>
                    </a:lnTo>
                    <a:lnTo>
                      <a:pt x="162" y="148"/>
                    </a:lnTo>
                    <a:lnTo>
                      <a:pt x="162" y="146"/>
                    </a:lnTo>
                    <a:lnTo>
                      <a:pt x="164" y="146"/>
                    </a:lnTo>
                    <a:lnTo>
                      <a:pt x="162" y="146"/>
                    </a:lnTo>
                    <a:lnTo>
                      <a:pt x="162" y="144"/>
                    </a:lnTo>
                    <a:lnTo>
                      <a:pt x="162" y="143"/>
                    </a:lnTo>
                    <a:lnTo>
                      <a:pt x="160" y="143"/>
                    </a:lnTo>
                    <a:lnTo>
                      <a:pt x="159" y="143"/>
                    </a:lnTo>
                    <a:lnTo>
                      <a:pt x="159" y="141"/>
                    </a:lnTo>
                    <a:lnTo>
                      <a:pt x="157" y="141"/>
                    </a:lnTo>
                    <a:lnTo>
                      <a:pt x="155" y="143"/>
                    </a:lnTo>
                    <a:lnTo>
                      <a:pt x="153" y="141"/>
                    </a:lnTo>
                    <a:lnTo>
                      <a:pt x="152" y="141"/>
                    </a:lnTo>
                    <a:lnTo>
                      <a:pt x="150" y="141"/>
                    </a:lnTo>
                    <a:lnTo>
                      <a:pt x="148" y="141"/>
                    </a:lnTo>
                    <a:lnTo>
                      <a:pt x="147" y="141"/>
                    </a:lnTo>
                    <a:lnTo>
                      <a:pt x="145" y="141"/>
                    </a:lnTo>
                    <a:lnTo>
                      <a:pt x="143" y="141"/>
                    </a:lnTo>
                    <a:lnTo>
                      <a:pt x="142" y="141"/>
                    </a:lnTo>
                    <a:lnTo>
                      <a:pt x="142" y="143"/>
                    </a:lnTo>
                    <a:lnTo>
                      <a:pt x="142" y="141"/>
                    </a:lnTo>
                    <a:lnTo>
                      <a:pt x="140" y="141"/>
                    </a:lnTo>
                    <a:lnTo>
                      <a:pt x="140" y="139"/>
                    </a:lnTo>
                    <a:lnTo>
                      <a:pt x="140" y="136"/>
                    </a:lnTo>
                    <a:lnTo>
                      <a:pt x="140" y="134"/>
                    </a:lnTo>
                    <a:lnTo>
                      <a:pt x="140" y="132"/>
                    </a:lnTo>
                    <a:lnTo>
                      <a:pt x="140" y="129"/>
                    </a:lnTo>
                    <a:lnTo>
                      <a:pt x="140" y="126"/>
                    </a:lnTo>
                    <a:lnTo>
                      <a:pt x="140" y="122"/>
                    </a:lnTo>
                    <a:lnTo>
                      <a:pt x="140" y="120"/>
                    </a:lnTo>
                    <a:lnTo>
                      <a:pt x="142" y="120"/>
                    </a:lnTo>
                    <a:lnTo>
                      <a:pt x="143" y="120"/>
                    </a:lnTo>
                    <a:lnTo>
                      <a:pt x="143" y="119"/>
                    </a:lnTo>
                    <a:lnTo>
                      <a:pt x="145" y="119"/>
                    </a:lnTo>
                    <a:lnTo>
                      <a:pt x="147" y="119"/>
                    </a:lnTo>
                    <a:lnTo>
                      <a:pt x="147" y="120"/>
                    </a:lnTo>
                    <a:lnTo>
                      <a:pt x="147" y="119"/>
                    </a:lnTo>
                    <a:lnTo>
                      <a:pt x="147" y="120"/>
                    </a:lnTo>
                    <a:lnTo>
                      <a:pt x="147" y="119"/>
                    </a:lnTo>
                    <a:lnTo>
                      <a:pt x="148" y="120"/>
                    </a:lnTo>
                    <a:lnTo>
                      <a:pt x="148" y="119"/>
                    </a:lnTo>
                    <a:lnTo>
                      <a:pt x="150" y="119"/>
                    </a:lnTo>
                    <a:lnTo>
                      <a:pt x="152" y="117"/>
                    </a:lnTo>
                    <a:lnTo>
                      <a:pt x="152" y="119"/>
                    </a:lnTo>
                    <a:lnTo>
                      <a:pt x="153" y="119"/>
                    </a:lnTo>
                    <a:lnTo>
                      <a:pt x="155" y="119"/>
                    </a:lnTo>
                    <a:lnTo>
                      <a:pt x="159" y="119"/>
                    </a:lnTo>
                    <a:lnTo>
                      <a:pt x="164" y="119"/>
                    </a:lnTo>
                    <a:lnTo>
                      <a:pt x="169" y="119"/>
                    </a:lnTo>
                    <a:lnTo>
                      <a:pt x="174" y="119"/>
                    </a:lnTo>
                    <a:lnTo>
                      <a:pt x="184" y="119"/>
                    </a:lnTo>
                    <a:lnTo>
                      <a:pt x="198" y="119"/>
                    </a:lnTo>
                    <a:lnTo>
                      <a:pt x="196" y="119"/>
                    </a:lnTo>
                    <a:lnTo>
                      <a:pt x="196" y="117"/>
                    </a:lnTo>
                    <a:lnTo>
                      <a:pt x="196" y="119"/>
                    </a:lnTo>
                    <a:lnTo>
                      <a:pt x="194" y="117"/>
                    </a:lnTo>
                    <a:lnTo>
                      <a:pt x="194" y="119"/>
                    </a:lnTo>
                    <a:lnTo>
                      <a:pt x="194" y="117"/>
                    </a:lnTo>
                    <a:lnTo>
                      <a:pt x="194" y="115"/>
                    </a:lnTo>
                    <a:lnTo>
                      <a:pt x="194" y="117"/>
                    </a:lnTo>
                    <a:lnTo>
                      <a:pt x="194" y="115"/>
                    </a:lnTo>
                    <a:lnTo>
                      <a:pt x="194" y="117"/>
                    </a:lnTo>
                    <a:lnTo>
                      <a:pt x="193" y="115"/>
                    </a:lnTo>
                    <a:lnTo>
                      <a:pt x="194" y="115"/>
                    </a:lnTo>
                    <a:lnTo>
                      <a:pt x="193" y="115"/>
                    </a:lnTo>
                    <a:lnTo>
                      <a:pt x="194" y="115"/>
                    </a:lnTo>
                    <a:lnTo>
                      <a:pt x="194" y="114"/>
                    </a:lnTo>
                    <a:lnTo>
                      <a:pt x="194" y="112"/>
                    </a:lnTo>
                    <a:lnTo>
                      <a:pt x="196" y="112"/>
                    </a:lnTo>
                    <a:lnTo>
                      <a:pt x="196" y="110"/>
                    </a:lnTo>
                    <a:lnTo>
                      <a:pt x="196" y="109"/>
                    </a:lnTo>
                    <a:lnTo>
                      <a:pt x="196" y="110"/>
                    </a:lnTo>
                    <a:lnTo>
                      <a:pt x="196" y="112"/>
                    </a:lnTo>
                    <a:lnTo>
                      <a:pt x="198" y="112"/>
                    </a:lnTo>
                    <a:lnTo>
                      <a:pt x="198" y="110"/>
                    </a:lnTo>
                    <a:lnTo>
                      <a:pt x="198" y="112"/>
                    </a:lnTo>
                    <a:lnTo>
                      <a:pt x="199" y="112"/>
                    </a:lnTo>
                    <a:lnTo>
                      <a:pt x="199" y="114"/>
                    </a:lnTo>
                    <a:lnTo>
                      <a:pt x="201" y="114"/>
                    </a:lnTo>
                    <a:lnTo>
                      <a:pt x="203" y="114"/>
                    </a:lnTo>
                    <a:lnTo>
                      <a:pt x="203" y="115"/>
                    </a:lnTo>
                    <a:lnTo>
                      <a:pt x="204" y="115"/>
                    </a:lnTo>
                    <a:lnTo>
                      <a:pt x="204" y="117"/>
                    </a:lnTo>
                    <a:lnTo>
                      <a:pt x="206" y="117"/>
                    </a:lnTo>
                    <a:lnTo>
                      <a:pt x="206" y="115"/>
                    </a:lnTo>
                    <a:lnTo>
                      <a:pt x="208" y="114"/>
                    </a:lnTo>
                    <a:lnTo>
                      <a:pt x="208" y="112"/>
                    </a:lnTo>
                    <a:lnTo>
                      <a:pt x="210" y="112"/>
                    </a:lnTo>
                    <a:lnTo>
                      <a:pt x="210" y="110"/>
                    </a:lnTo>
                    <a:lnTo>
                      <a:pt x="211" y="110"/>
                    </a:lnTo>
                    <a:lnTo>
                      <a:pt x="211" y="109"/>
                    </a:lnTo>
                    <a:lnTo>
                      <a:pt x="213" y="109"/>
                    </a:lnTo>
                    <a:lnTo>
                      <a:pt x="215" y="109"/>
                    </a:lnTo>
                    <a:lnTo>
                      <a:pt x="216" y="109"/>
                    </a:lnTo>
                    <a:lnTo>
                      <a:pt x="218" y="109"/>
                    </a:lnTo>
                    <a:lnTo>
                      <a:pt x="218" y="107"/>
                    </a:lnTo>
                    <a:lnTo>
                      <a:pt x="220" y="107"/>
                    </a:lnTo>
                    <a:lnTo>
                      <a:pt x="220" y="105"/>
                    </a:lnTo>
                    <a:lnTo>
                      <a:pt x="221" y="105"/>
                    </a:lnTo>
                    <a:lnTo>
                      <a:pt x="221" y="103"/>
                    </a:lnTo>
                    <a:lnTo>
                      <a:pt x="223" y="102"/>
                    </a:lnTo>
                    <a:lnTo>
                      <a:pt x="223" y="103"/>
                    </a:lnTo>
                    <a:lnTo>
                      <a:pt x="225" y="103"/>
                    </a:lnTo>
                    <a:lnTo>
                      <a:pt x="223" y="103"/>
                    </a:lnTo>
                    <a:lnTo>
                      <a:pt x="223" y="105"/>
                    </a:lnTo>
                    <a:lnTo>
                      <a:pt x="225" y="105"/>
                    </a:lnTo>
                    <a:lnTo>
                      <a:pt x="225" y="107"/>
                    </a:lnTo>
                    <a:lnTo>
                      <a:pt x="225" y="109"/>
                    </a:lnTo>
                    <a:lnTo>
                      <a:pt x="225" y="110"/>
                    </a:lnTo>
                    <a:lnTo>
                      <a:pt x="225" y="112"/>
                    </a:lnTo>
                    <a:lnTo>
                      <a:pt x="227" y="112"/>
                    </a:lnTo>
                    <a:lnTo>
                      <a:pt x="227" y="114"/>
                    </a:lnTo>
                    <a:lnTo>
                      <a:pt x="228" y="115"/>
                    </a:lnTo>
                    <a:lnTo>
                      <a:pt x="230" y="115"/>
                    </a:lnTo>
                    <a:lnTo>
                      <a:pt x="232" y="115"/>
                    </a:lnTo>
                    <a:lnTo>
                      <a:pt x="232" y="117"/>
                    </a:lnTo>
                    <a:lnTo>
                      <a:pt x="232" y="119"/>
                    </a:lnTo>
                    <a:lnTo>
                      <a:pt x="232" y="120"/>
                    </a:lnTo>
                    <a:lnTo>
                      <a:pt x="232" y="122"/>
                    </a:lnTo>
                    <a:lnTo>
                      <a:pt x="232" y="124"/>
                    </a:lnTo>
                    <a:lnTo>
                      <a:pt x="233" y="124"/>
                    </a:lnTo>
                    <a:lnTo>
                      <a:pt x="232" y="126"/>
                    </a:lnTo>
                    <a:lnTo>
                      <a:pt x="232" y="127"/>
                    </a:lnTo>
                    <a:lnTo>
                      <a:pt x="233" y="127"/>
                    </a:lnTo>
                    <a:lnTo>
                      <a:pt x="233" y="129"/>
                    </a:lnTo>
                    <a:lnTo>
                      <a:pt x="233" y="131"/>
                    </a:lnTo>
                    <a:lnTo>
                      <a:pt x="233" y="132"/>
                    </a:lnTo>
                    <a:lnTo>
                      <a:pt x="232" y="132"/>
                    </a:lnTo>
                    <a:lnTo>
                      <a:pt x="232" y="134"/>
                    </a:lnTo>
                    <a:lnTo>
                      <a:pt x="233" y="134"/>
                    </a:lnTo>
                    <a:lnTo>
                      <a:pt x="233" y="136"/>
                    </a:lnTo>
                    <a:lnTo>
                      <a:pt x="233" y="137"/>
                    </a:lnTo>
                    <a:lnTo>
                      <a:pt x="233" y="139"/>
                    </a:lnTo>
                    <a:lnTo>
                      <a:pt x="235" y="137"/>
                    </a:lnTo>
                    <a:lnTo>
                      <a:pt x="240" y="137"/>
                    </a:lnTo>
                    <a:lnTo>
                      <a:pt x="242" y="136"/>
                    </a:lnTo>
                    <a:lnTo>
                      <a:pt x="259" y="153"/>
                    </a:lnTo>
                    <a:lnTo>
                      <a:pt x="261" y="153"/>
                    </a:lnTo>
                    <a:lnTo>
                      <a:pt x="262" y="151"/>
                    </a:lnTo>
                    <a:lnTo>
                      <a:pt x="264" y="151"/>
                    </a:lnTo>
                    <a:lnTo>
                      <a:pt x="264" y="153"/>
                    </a:lnTo>
                    <a:lnTo>
                      <a:pt x="266" y="153"/>
                    </a:lnTo>
                    <a:lnTo>
                      <a:pt x="267" y="153"/>
                    </a:lnTo>
                    <a:lnTo>
                      <a:pt x="267" y="151"/>
                    </a:lnTo>
                    <a:lnTo>
                      <a:pt x="269" y="151"/>
                    </a:lnTo>
                    <a:lnTo>
                      <a:pt x="271" y="151"/>
                    </a:lnTo>
                    <a:lnTo>
                      <a:pt x="271" y="149"/>
                    </a:lnTo>
                    <a:lnTo>
                      <a:pt x="272" y="149"/>
                    </a:lnTo>
                    <a:lnTo>
                      <a:pt x="272" y="148"/>
                    </a:lnTo>
                    <a:lnTo>
                      <a:pt x="274" y="148"/>
                    </a:lnTo>
                    <a:lnTo>
                      <a:pt x="274" y="146"/>
                    </a:lnTo>
                    <a:lnTo>
                      <a:pt x="276" y="146"/>
                    </a:lnTo>
                    <a:lnTo>
                      <a:pt x="278" y="146"/>
                    </a:lnTo>
                    <a:lnTo>
                      <a:pt x="278" y="144"/>
                    </a:lnTo>
                    <a:lnTo>
                      <a:pt x="279" y="144"/>
                    </a:lnTo>
                    <a:lnTo>
                      <a:pt x="281" y="144"/>
                    </a:lnTo>
                    <a:lnTo>
                      <a:pt x="283" y="144"/>
                    </a:lnTo>
                    <a:lnTo>
                      <a:pt x="284" y="144"/>
                    </a:lnTo>
                    <a:lnTo>
                      <a:pt x="286" y="144"/>
                    </a:lnTo>
                    <a:lnTo>
                      <a:pt x="286" y="146"/>
                    </a:lnTo>
                    <a:lnTo>
                      <a:pt x="286" y="148"/>
                    </a:lnTo>
                    <a:lnTo>
                      <a:pt x="288" y="148"/>
                    </a:lnTo>
                    <a:lnTo>
                      <a:pt x="288" y="149"/>
                    </a:lnTo>
                    <a:lnTo>
                      <a:pt x="286" y="149"/>
                    </a:lnTo>
                    <a:lnTo>
                      <a:pt x="286" y="151"/>
                    </a:lnTo>
                    <a:lnTo>
                      <a:pt x="284" y="153"/>
                    </a:lnTo>
                    <a:lnTo>
                      <a:pt x="284" y="154"/>
                    </a:lnTo>
                    <a:lnTo>
                      <a:pt x="286" y="156"/>
                    </a:lnTo>
                    <a:lnTo>
                      <a:pt x="286" y="154"/>
                    </a:lnTo>
                    <a:lnTo>
                      <a:pt x="288" y="154"/>
                    </a:lnTo>
                    <a:lnTo>
                      <a:pt x="289" y="154"/>
                    </a:lnTo>
                    <a:lnTo>
                      <a:pt x="289" y="153"/>
                    </a:lnTo>
                    <a:lnTo>
                      <a:pt x="291" y="153"/>
                    </a:lnTo>
                    <a:lnTo>
                      <a:pt x="291" y="151"/>
                    </a:lnTo>
                    <a:lnTo>
                      <a:pt x="289" y="151"/>
                    </a:lnTo>
                    <a:lnTo>
                      <a:pt x="291" y="149"/>
                    </a:lnTo>
                    <a:lnTo>
                      <a:pt x="293" y="148"/>
                    </a:lnTo>
                    <a:lnTo>
                      <a:pt x="291" y="148"/>
                    </a:lnTo>
                    <a:lnTo>
                      <a:pt x="293" y="148"/>
                    </a:lnTo>
                    <a:lnTo>
                      <a:pt x="293" y="146"/>
                    </a:lnTo>
                    <a:lnTo>
                      <a:pt x="295" y="146"/>
                    </a:lnTo>
                    <a:lnTo>
                      <a:pt x="296" y="146"/>
                    </a:lnTo>
                    <a:lnTo>
                      <a:pt x="296" y="148"/>
                    </a:lnTo>
                    <a:lnTo>
                      <a:pt x="298" y="148"/>
                    </a:lnTo>
                    <a:lnTo>
                      <a:pt x="298" y="146"/>
                    </a:lnTo>
                    <a:lnTo>
                      <a:pt x="298" y="144"/>
                    </a:lnTo>
                    <a:lnTo>
                      <a:pt x="300" y="144"/>
                    </a:lnTo>
                    <a:lnTo>
                      <a:pt x="298" y="143"/>
                    </a:lnTo>
                    <a:lnTo>
                      <a:pt x="298" y="141"/>
                    </a:lnTo>
                    <a:lnTo>
                      <a:pt x="300" y="141"/>
                    </a:lnTo>
                    <a:lnTo>
                      <a:pt x="298" y="139"/>
                    </a:lnTo>
                    <a:lnTo>
                      <a:pt x="300" y="139"/>
                    </a:lnTo>
                    <a:lnTo>
                      <a:pt x="301" y="139"/>
                    </a:lnTo>
                    <a:lnTo>
                      <a:pt x="301" y="141"/>
                    </a:lnTo>
                    <a:lnTo>
                      <a:pt x="303" y="141"/>
                    </a:lnTo>
                    <a:lnTo>
                      <a:pt x="303" y="139"/>
                    </a:lnTo>
                    <a:lnTo>
                      <a:pt x="305" y="139"/>
                    </a:lnTo>
                    <a:lnTo>
                      <a:pt x="305" y="137"/>
                    </a:lnTo>
                    <a:lnTo>
                      <a:pt x="305" y="136"/>
                    </a:lnTo>
                    <a:lnTo>
                      <a:pt x="306" y="136"/>
                    </a:lnTo>
                    <a:lnTo>
                      <a:pt x="306" y="137"/>
                    </a:lnTo>
                    <a:lnTo>
                      <a:pt x="306" y="136"/>
                    </a:lnTo>
                    <a:lnTo>
                      <a:pt x="308" y="136"/>
                    </a:lnTo>
                    <a:lnTo>
                      <a:pt x="310" y="136"/>
                    </a:lnTo>
                    <a:lnTo>
                      <a:pt x="308" y="134"/>
                    </a:lnTo>
                    <a:lnTo>
                      <a:pt x="310" y="134"/>
                    </a:lnTo>
                    <a:lnTo>
                      <a:pt x="312" y="134"/>
                    </a:lnTo>
                    <a:lnTo>
                      <a:pt x="312" y="136"/>
                    </a:lnTo>
                    <a:lnTo>
                      <a:pt x="313" y="136"/>
                    </a:lnTo>
                    <a:lnTo>
                      <a:pt x="313" y="134"/>
                    </a:lnTo>
                    <a:lnTo>
                      <a:pt x="315" y="134"/>
                    </a:lnTo>
                    <a:lnTo>
                      <a:pt x="317" y="134"/>
                    </a:lnTo>
                    <a:lnTo>
                      <a:pt x="317" y="132"/>
                    </a:lnTo>
                    <a:lnTo>
                      <a:pt x="318" y="132"/>
                    </a:lnTo>
                    <a:lnTo>
                      <a:pt x="318" y="131"/>
                    </a:lnTo>
                    <a:lnTo>
                      <a:pt x="320" y="129"/>
                    </a:lnTo>
                    <a:lnTo>
                      <a:pt x="322" y="129"/>
                    </a:lnTo>
                    <a:lnTo>
                      <a:pt x="322" y="127"/>
                    </a:lnTo>
                    <a:lnTo>
                      <a:pt x="323" y="127"/>
                    </a:lnTo>
                    <a:lnTo>
                      <a:pt x="325" y="126"/>
                    </a:lnTo>
                    <a:lnTo>
                      <a:pt x="325" y="127"/>
                    </a:lnTo>
                    <a:lnTo>
                      <a:pt x="325" y="126"/>
                    </a:lnTo>
                    <a:lnTo>
                      <a:pt x="325" y="127"/>
                    </a:lnTo>
                    <a:lnTo>
                      <a:pt x="325" y="129"/>
                    </a:lnTo>
                    <a:lnTo>
                      <a:pt x="325" y="131"/>
                    </a:lnTo>
                    <a:lnTo>
                      <a:pt x="323" y="131"/>
                    </a:lnTo>
                    <a:lnTo>
                      <a:pt x="325" y="131"/>
                    </a:lnTo>
                    <a:lnTo>
                      <a:pt x="327" y="132"/>
                    </a:lnTo>
                    <a:lnTo>
                      <a:pt x="327" y="131"/>
                    </a:lnTo>
                    <a:lnTo>
                      <a:pt x="327" y="129"/>
                    </a:lnTo>
                    <a:lnTo>
                      <a:pt x="329" y="127"/>
                    </a:lnTo>
                    <a:lnTo>
                      <a:pt x="330" y="127"/>
                    </a:lnTo>
                    <a:lnTo>
                      <a:pt x="332" y="127"/>
                    </a:lnTo>
                    <a:lnTo>
                      <a:pt x="332" y="126"/>
                    </a:lnTo>
                    <a:lnTo>
                      <a:pt x="332" y="124"/>
                    </a:lnTo>
                    <a:lnTo>
                      <a:pt x="334" y="124"/>
                    </a:lnTo>
                    <a:lnTo>
                      <a:pt x="335" y="124"/>
                    </a:lnTo>
                    <a:lnTo>
                      <a:pt x="335" y="122"/>
                    </a:lnTo>
                    <a:lnTo>
                      <a:pt x="335" y="120"/>
                    </a:lnTo>
                    <a:lnTo>
                      <a:pt x="335" y="119"/>
                    </a:lnTo>
                    <a:lnTo>
                      <a:pt x="335" y="117"/>
                    </a:lnTo>
                    <a:lnTo>
                      <a:pt x="335" y="115"/>
                    </a:lnTo>
                    <a:lnTo>
                      <a:pt x="335" y="114"/>
                    </a:lnTo>
                    <a:lnTo>
                      <a:pt x="335" y="112"/>
                    </a:lnTo>
                    <a:lnTo>
                      <a:pt x="337" y="112"/>
                    </a:lnTo>
                    <a:lnTo>
                      <a:pt x="337" y="110"/>
                    </a:lnTo>
                    <a:lnTo>
                      <a:pt x="339" y="110"/>
                    </a:lnTo>
                    <a:lnTo>
                      <a:pt x="340" y="110"/>
                    </a:lnTo>
                    <a:lnTo>
                      <a:pt x="342" y="110"/>
                    </a:lnTo>
                    <a:lnTo>
                      <a:pt x="344" y="112"/>
                    </a:lnTo>
                    <a:lnTo>
                      <a:pt x="344" y="110"/>
                    </a:lnTo>
                    <a:lnTo>
                      <a:pt x="346" y="110"/>
                    </a:lnTo>
                    <a:lnTo>
                      <a:pt x="347" y="110"/>
                    </a:lnTo>
                    <a:lnTo>
                      <a:pt x="347" y="109"/>
                    </a:lnTo>
                    <a:lnTo>
                      <a:pt x="349" y="110"/>
                    </a:lnTo>
                    <a:lnTo>
                      <a:pt x="349" y="109"/>
                    </a:lnTo>
                    <a:lnTo>
                      <a:pt x="351" y="109"/>
                    </a:lnTo>
                    <a:lnTo>
                      <a:pt x="351" y="107"/>
                    </a:lnTo>
                    <a:lnTo>
                      <a:pt x="352" y="107"/>
                    </a:lnTo>
                    <a:lnTo>
                      <a:pt x="352" y="105"/>
                    </a:lnTo>
                    <a:lnTo>
                      <a:pt x="354" y="105"/>
                    </a:lnTo>
                    <a:lnTo>
                      <a:pt x="354" y="107"/>
                    </a:lnTo>
                    <a:lnTo>
                      <a:pt x="356" y="107"/>
                    </a:lnTo>
                    <a:lnTo>
                      <a:pt x="356" y="105"/>
                    </a:lnTo>
                    <a:lnTo>
                      <a:pt x="356" y="107"/>
                    </a:lnTo>
                    <a:lnTo>
                      <a:pt x="357" y="105"/>
                    </a:lnTo>
                    <a:lnTo>
                      <a:pt x="359" y="103"/>
                    </a:lnTo>
                    <a:lnTo>
                      <a:pt x="357" y="103"/>
                    </a:lnTo>
                    <a:lnTo>
                      <a:pt x="359" y="103"/>
                    </a:lnTo>
                    <a:lnTo>
                      <a:pt x="359" y="102"/>
                    </a:lnTo>
                    <a:lnTo>
                      <a:pt x="359" y="100"/>
                    </a:lnTo>
                    <a:lnTo>
                      <a:pt x="359" y="98"/>
                    </a:lnTo>
                    <a:lnTo>
                      <a:pt x="359" y="97"/>
                    </a:lnTo>
                    <a:lnTo>
                      <a:pt x="359" y="95"/>
                    </a:lnTo>
                    <a:lnTo>
                      <a:pt x="357" y="95"/>
                    </a:lnTo>
                    <a:lnTo>
                      <a:pt x="356" y="95"/>
                    </a:lnTo>
                    <a:lnTo>
                      <a:pt x="354" y="97"/>
                    </a:lnTo>
                    <a:lnTo>
                      <a:pt x="352" y="97"/>
                    </a:lnTo>
                    <a:lnTo>
                      <a:pt x="351" y="97"/>
                    </a:lnTo>
                    <a:lnTo>
                      <a:pt x="349" y="97"/>
                    </a:lnTo>
                    <a:lnTo>
                      <a:pt x="347" y="97"/>
                    </a:lnTo>
                    <a:lnTo>
                      <a:pt x="346" y="97"/>
                    </a:lnTo>
                    <a:lnTo>
                      <a:pt x="344" y="97"/>
                    </a:lnTo>
                    <a:lnTo>
                      <a:pt x="342" y="95"/>
                    </a:lnTo>
                    <a:lnTo>
                      <a:pt x="340" y="95"/>
                    </a:lnTo>
                    <a:lnTo>
                      <a:pt x="339" y="95"/>
                    </a:lnTo>
                    <a:lnTo>
                      <a:pt x="337" y="93"/>
                    </a:lnTo>
                    <a:lnTo>
                      <a:pt x="337" y="95"/>
                    </a:lnTo>
                    <a:lnTo>
                      <a:pt x="337" y="93"/>
                    </a:lnTo>
                    <a:lnTo>
                      <a:pt x="335" y="93"/>
                    </a:lnTo>
                    <a:lnTo>
                      <a:pt x="335" y="92"/>
                    </a:lnTo>
                    <a:lnTo>
                      <a:pt x="337" y="92"/>
                    </a:lnTo>
                    <a:lnTo>
                      <a:pt x="337" y="90"/>
                    </a:lnTo>
                    <a:lnTo>
                      <a:pt x="337" y="88"/>
                    </a:lnTo>
                    <a:lnTo>
                      <a:pt x="339" y="88"/>
                    </a:lnTo>
                    <a:lnTo>
                      <a:pt x="339" y="86"/>
                    </a:lnTo>
                    <a:lnTo>
                      <a:pt x="337" y="86"/>
                    </a:lnTo>
                    <a:lnTo>
                      <a:pt x="339" y="86"/>
                    </a:lnTo>
                    <a:lnTo>
                      <a:pt x="337" y="85"/>
                    </a:lnTo>
                    <a:lnTo>
                      <a:pt x="339" y="85"/>
                    </a:lnTo>
                    <a:lnTo>
                      <a:pt x="337" y="85"/>
                    </a:lnTo>
                    <a:lnTo>
                      <a:pt x="337" y="83"/>
                    </a:lnTo>
                    <a:lnTo>
                      <a:pt x="335" y="81"/>
                    </a:lnTo>
                    <a:lnTo>
                      <a:pt x="335" y="80"/>
                    </a:lnTo>
                    <a:lnTo>
                      <a:pt x="335" y="78"/>
                    </a:lnTo>
                    <a:lnTo>
                      <a:pt x="334" y="78"/>
                    </a:lnTo>
                    <a:lnTo>
                      <a:pt x="334" y="76"/>
                    </a:lnTo>
                    <a:lnTo>
                      <a:pt x="332" y="76"/>
                    </a:lnTo>
                    <a:lnTo>
                      <a:pt x="332" y="75"/>
                    </a:lnTo>
                    <a:lnTo>
                      <a:pt x="330" y="73"/>
                    </a:lnTo>
                    <a:lnTo>
                      <a:pt x="330" y="71"/>
                    </a:lnTo>
                    <a:lnTo>
                      <a:pt x="330" y="69"/>
                    </a:lnTo>
                    <a:lnTo>
                      <a:pt x="330" y="68"/>
                    </a:lnTo>
                    <a:lnTo>
                      <a:pt x="330" y="66"/>
                    </a:lnTo>
                    <a:lnTo>
                      <a:pt x="330" y="64"/>
                    </a:lnTo>
                    <a:lnTo>
                      <a:pt x="330" y="63"/>
                    </a:lnTo>
                    <a:lnTo>
                      <a:pt x="329" y="63"/>
                    </a:lnTo>
                    <a:lnTo>
                      <a:pt x="330" y="61"/>
                    </a:lnTo>
                    <a:lnTo>
                      <a:pt x="332" y="59"/>
                    </a:lnTo>
                    <a:lnTo>
                      <a:pt x="332" y="58"/>
                    </a:lnTo>
                    <a:lnTo>
                      <a:pt x="330" y="56"/>
                    </a:lnTo>
                    <a:lnTo>
                      <a:pt x="329" y="54"/>
                    </a:lnTo>
                    <a:lnTo>
                      <a:pt x="329" y="52"/>
                    </a:lnTo>
                    <a:lnTo>
                      <a:pt x="327" y="52"/>
                    </a:lnTo>
                    <a:lnTo>
                      <a:pt x="327" y="51"/>
                    </a:lnTo>
                    <a:lnTo>
                      <a:pt x="325" y="51"/>
                    </a:lnTo>
                    <a:lnTo>
                      <a:pt x="323" y="51"/>
                    </a:lnTo>
                    <a:lnTo>
                      <a:pt x="322" y="51"/>
                    </a:lnTo>
                    <a:lnTo>
                      <a:pt x="322" y="49"/>
                    </a:lnTo>
                    <a:lnTo>
                      <a:pt x="320" y="49"/>
                    </a:lnTo>
                    <a:lnTo>
                      <a:pt x="320" y="47"/>
                    </a:lnTo>
                    <a:lnTo>
                      <a:pt x="318" y="47"/>
                    </a:lnTo>
                    <a:lnTo>
                      <a:pt x="318" y="46"/>
                    </a:lnTo>
                    <a:lnTo>
                      <a:pt x="317" y="44"/>
                    </a:lnTo>
                    <a:lnTo>
                      <a:pt x="315" y="42"/>
                    </a:lnTo>
                    <a:lnTo>
                      <a:pt x="315" y="41"/>
                    </a:lnTo>
                    <a:lnTo>
                      <a:pt x="313" y="41"/>
                    </a:lnTo>
                    <a:lnTo>
                      <a:pt x="313" y="39"/>
                    </a:lnTo>
                    <a:lnTo>
                      <a:pt x="312" y="39"/>
                    </a:lnTo>
                    <a:lnTo>
                      <a:pt x="312" y="37"/>
                    </a:lnTo>
                    <a:lnTo>
                      <a:pt x="310" y="37"/>
                    </a:lnTo>
                    <a:lnTo>
                      <a:pt x="310" y="35"/>
                    </a:lnTo>
                    <a:lnTo>
                      <a:pt x="310" y="34"/>
                    </a:lnTo>
                    <a:lnTo>
                      <a:pt x="312" y="34"/>
                    </a:lnTo>
                    <a:lnTo>
                      <a:pt x="313" y="34"/>
                    </a:lnTo>
                    <a:lnTo>
                      <a:pt x="315" y="34"/>
                    </a:lnTo>
                    <a:lnTo>
                      <a:pt x="315" y="35"/>
                    </a:lnTo>
                    <a:lnTo>
                      <a:pt x="317" y="37"/>
                    </a:lnTo>
                    <a:lnTo>
                      <a:pt x="317" y="39"/>
                    </a:lnTo>
                    <a:lnTo>
                      <a:pt x="318" y="39"/>
                    </a:lnTo>
                    <a:lnTo>
                      <a:pt x="320" y="39"/>
                    </a:lnTo>
                    <a:lnTo>
                      <a:pt x="322" y="39"/>
                    </a:lnTo>
                    <a:lnTo>
                      <a:pt x="323" y="39"/>
                    </a:lnTo>
                    <a:lnTo>
                      <a:pt x="323" y="37"/>
                    </a:lnTo>
                    <a:lnTo>
                      <a:pt x="323" y="39"/>
                    </a:lnTo>
                    <a:lnTo>
                      <a:pt x="325" y="37"/>
                    </a:lnTo>
                    <a:lnTo>
                      <a:pt x="325" y="39"/>
                    </a:lnTo>
                    <a:lnTo>
                      <a:pt x="327" y="39"/>
                    </a:lnTo>
                    <a:lnTo>
                      <a:pt x="329" y="37"/>
                    </a:lnTo>
                    <a:lnTo>
                      <a:pt x="329" y="39"/>
                    </a:lnTo>
                    <a:lnTo>
                      <a:pt x="330" y="39"/>
                    </a:lnTo>
                    <a:lnTo>
                      <a:pt x="332" y="39"/>
                    </a:lnTo>
                    <a:lnTo>
                      <a:pt x="334" y="39"/>
                    </a:lnTo>
                    <a:lnTo>
                      <a:pt x="334" y="41"/>
                    </a:lnTo>
                    <a:lnTo>
                      <a:pt x="335" y="41"/>
                    </a:lnTo>
                    <a:lnTo>
                      <a:pt x="334" y="42"/>
                    </a:lnTo>
                    <a:lnTo>
                      <a:pt x="335" y="42"/>
                    </a:lnTo>
                    <a:lnTo>
                      <a:pt x="335" y="44"/>
                    </a:lnTo>
                    <a:lnTo>
                      <a:pt x="337" y="46"/>
                    </a:lnTo>
                    <a:lnTo>
                      <a:pt x="339" y="46"/>
                    </a:lnTo>
                    <a:lnTo>
                      <a:pt x="339" y="47"/>
                    </a:lnTo>
                    <a:lnTo>
                      <a:pt x="339" y="46"/>
                    </a:lnTo>
                    <a:lnTo>
                      <a:pt x="340" y="46"/>
                    </a:lnTo>
                    <a:lnTo>
                      <a:pt x="342" y="46"/>
                    </a:lnTo>
                    <a:lnTo>
                      <a:pt x="342" y="44"/>
                    </a:lnTo>
                    <a:lnTo>
                      <a:pt x="344" y="44"/>
                    </a:lnTo>
                    <a:lnTo>
                      <a:pt x="344" y="46"/>
                    </a:lnTo>
                    <a:lnTo>
                      <a:pt x="346" y="46"/>
                    </a:lnTo>
                    <a:lnTo>
                      <a:pt x="346" y="44"/>
                    </a:lnTo>
                    <a:lnTo>
                      <a:pt x="347" y="46"/>
                    </a:lnTo>
                    <a:lnTo>
                      <a:pt x="349" y="46"/>
                    </a:lnTo>
                    <a:lnTo>
                      <a:pt x="347" y="44"/>
                    </a:lnTo>
                    <a:lnTo>
                      <a:pt x="349" y="42"/>
                    </a:lnTo>
                    <a:lnTo>
                      <a:pt x="349" y="44"/>
                    </a:lnTo>
                    <a:lnTo>
                      <a:pt x="351" y="44"/>
                    </a:lnTo>
                    <a:lnTo>
                      <a:pt x="351" y="46"/>
                    </a:lnTo>
                    <a:lnTo>
                      <a:pt x="352" y="46"/>
                    </a:lnTo>
                    <a:lnTo>
                      <a:pt x="351" y="46"/>
                    </a:lnTo>
                    <a:lnTo>
                      <a:pt x="352" y="47"/>
                    </a:lnTo>
                    <a:lnTo>
                      <a:pt x="352" y="46"/>
                    </a:lnTo>
                    <a:lnTo>
                      <a:pt x="352" y="47"/>
                    </a:lnTo>
                    <a:lnTo>
                      <a:pt x="354" y="47"/>
                    </a:lnTo>
                    <a:lnTo>
                      <a:pt x="356" y="47"/>
                    </a:lnTo>
                    <a:lnTo>
                      <a:pt x="357" y="47"/>
                    </a:lnTo>
                    <a:lnTo>
                      <a:pt x="357" y="46"/>
                    </a:lnTo>
                    <a:lnTo>
                      <a:pt x="357" y="44"/>
                    </a:lnTo>
                    <a:lnTo>
                      <a:pt x="356" y="44"/>
                    </a:lnTo>
                    <a:lnTo>
                      <a:pt x="357" y="44"/>
                    </a:lnTo>
                    <a:lnTo>
                      <a:pt x="359" y="44"/>
                    </a:lnTo>
                    <a:lnTo>
                      <a:pt x="361" y="44"/>
                    </a:lnTo>
                    <a:lnTo>
                      <a:pt x="363" y="44"/>
                    </a:lnTo>
                    <a:lnTo>
                      <a:pt x="364" y="44"/>
                    </a:lnTo>
                    <a:lnTo>
                      <a:pt x="364" y="46"/>
                    </a:lnTo>
                    <a:lnTo>
                      <a:pt x="364" y="47"/>
                    </a:lnTo>
                    <a:lnTo>
                      <a:pt x="364" y="49"/>
                    </a:lnTo>
                    <a:lnTo>
                      <a:pt x="366" y="49"/>
                    </a:lnTo>
                    <a:lnTo>
                      <a:pt x="368" y="49"/>
                    </a:lnTo>
                    <a:lnTo>
                      <a:pt x="368" y="51"/>
                    </a:lnTo>
                    <a:lnTo>
                      <a:pt x="369" y="51"/>
                    </a:lnTo>
                    <a:lnTo>
                      <a:pt x="369" y="52"/>
                    </a:lnTo>
                    <a:lnTo>
                      <a:pt x="369" y="54"/>
                    </a:lnTo>
                    <a:lnTo>
                      <a:pt x="371" y="54"/>
                    </a:lnTo>
                    <a:lnTo>
                      <a:pt x="371" y="56"/>
                    </a:lnTo>
                    <a:lnTo>
                      <a:pt x="373" y="56"/>
                    </a:lnTo>
                    <a:lnTo>
                      <a:pt x="374" y="56"/>
                    </a:lnTo>
                    <a:lnTo>
                      <a:pt x="374" y="54"/>
                    </a:lnTo>
                    <a:lnTo>
                      <a:pt x="376" y="52"/>
                    </a:lnTo>
                    <a:lnTo>
                      <a:pt x="378" y="51"/>
                    </a:lnTo>
                    <a:lnTo>
                      <a:pt x="378" y="52"/>
                    </a:lnTo>
                    <a:lnTo>
                      <a:pt x="380" y="52"/>
                    </a:lnTo>
                    <a:lnTo>
                      <a:pt x="380" y="54"/>
                    </a:lnTo>
                    <a:lnTo>
                      <a:pt x="380" y="52"/>
                    </a:lnTo>
                    <a:lnTo>
                      <a:pt x="381" y="52"/>
                    </a:lnTo>
                    <a:lnTo>
                      <a:pt x="380" y="51"/>
                    </a:lnTo>
                    <a:lnTo>
                      <a:pt x="381" y="51"/>
                    </a:lnTo>
                    <a:lnTo>
                      <a:pt x="380" y="49"/>
                    </a:lnTo>
                    <a:lnTo>
                      <a:pt x="381" y="49"/>
                    </a:lnTo>
                    <a:lnTo>
                      <a:pt x="380" y="49"/>
                    </a:lnTo>
                    <a:lnTo>
                      <a:pt x="380" y="47"/>
                    </a:lnTo>
                    <a:lnTo>
                      <a:pt x="378" y="46"/>
                    </a:lnTo>
                    <a:lnTo>
                      <a:pt x="380" y="46"/>
                    </a:lnTo>
                    <a:lnTo>
                      <a:pt x="380" y="44"/>
                    </a:lnTo>
                    <a:lnTo>
                      <a:pt x="380" y="42"/>
                    </a:lnTo>
                    <a:lnTo>
                      <a:pt x="380" y="41"/>
                    </a:lnTo>
                    <a:lnTo>
                      <a:pt x="381" y="42"/>
                    </a:lnTo>
                    <a:lnTo>
                      <a:pt x="383" y="41"/>
                    </a:lnTo>
                    <a:lnTo>
                      <a:pt x="383" y="42"/>
                    </a:lnTo>
                    <a:lnTo>
                      <a:pt x="383" y="41"/>
                    </a:lnTo>
                    <a:lnTo>
                      <a:pt x="385" y="41"/>
                    </a:lnTo>
                    <a:lnTo>
                      <a:pt x="385" y="42"/>
                    </a:lnTo>
                    <a:lnTo>
                      <a:pt x="386" y="42"/>
                    </a:lnTo>
                    <a:lnTo>
                      <a:pt x="386" y="41"/>
                    </a:lnTo>
                    <a:lnTo>
                      <a:pt x="386" y="39"/>
                    </a:lnTo>
                    <a:lnTo>
                      <a:pt x="388" y="39"/>
                    </a:lnTo>
                    <a:lnTo>
                      <a:pt x="388" y="37"/>
                    </a:lnTo>
                    <a:lnTo>
                      <a:pt x="390" y="39"/>
                    </a:lnTo>
                    <a:lnTo>
                      <a:pt x="390" y="37"/>
                    </a:lnTo>
                    <a:lnTo>
                      <a:pt x="391" y="37"/>
                    </a:lnTo>
                    <a:lnTo>
                      <a:pt x="393" y="37"/>
                    </a:lnTo>
                    <a:lnTo>
                      <a:pt x="395" y="39"/>
                    </a:lnTo>
                    <a:lnTo>
                      <a:pt x="395" y="37"/>
                    </a:lnTo>
                    <a:lnTo>
                      <a:pt x="395" y="39"/>
                    </a:lnTo>
                    <a:lnTo>
                      <a:pt x="395" y="37"/>
                    </a:lnTo>
                    <a:lnTo>
                      <a:pt x="397" y="39"/>
                    </a:lnTo>
                    <a:lnTo>
                      <a:pt x="398" y="39"/>
                    </a:lnTo>
                    <a:lnTo>
                      <a:pt x="400" y="39"/>
                    </a:lnTo>
                    <a:lnTo>
                      <a:pt x="400" y="41"/>
                    </a:lnTo>
                    <a:lnTo>
                      <a:pt x="402" y="39"/>
                    </a:lnTo>
                    <a:lnTo>
                      <a:pt x="403" y="39"/>
                    </a:lnTo>
                    <a:lnTo>
                      <a:pt x="402" y="37"/>
                    </a:lnTo>
                    <a:lnTo>
                      <a:pt x="403" y="37"/>
                    </a:lnTo>
                    <a:lnTo>
                      <a:pt x="405" y="37"/>
                    </a:lnTo>
                    <a:lnTo>
                      <a:pt x="407" y="37"/>
                    </a:lnTo>
                    <a:lnTo>
                      <a:pt x="407" y="39"/>
                    </a:lnTo>
                    <a:lnTo>
                      <a:pt x="408" y="39"/>
                    </a:lnTo>
                    <a:lnTo>
                      <a:pt x="408" y="37"/>
                    </a:lnTo>
                    <a:lnTo>
                      <a:pt x="410" y="37"/>
                    </a:lnTo>
                    <a:lnTo>
                      <a:pt x="412" y="37"/>
                    </a:lnTo>
                    <a:lnTo>
                      <a:pt x="412" y="35"/>
                    </a:lnTo>
                    <a:lnTo>
                      <a:pt x="414" y="35"/>
                    </a:lnTo>
                    <a:lnTo>
                      <a:pt x="414" y="34"/>
                    </a:lnTo>
                    <a:lnTo>
                      <a:pt x="415" y="34"/>
                    </a:lnTo>
                    <a:lnTo>
                      <a:pt x="417" y="34"/>
                    </a:lnTo>
                    <a:lnTo>
                      <a:pt x="417" y="35"/>
                    </a:lnTo>
                    <a:lnTo>
                      <a:pt x="417" y="34"/>
                    </a:lnTo>
                    <a:lnTo>
                      <a:pt x="419" y="34"/>
                    </a:lnTo>
                    <a:lnTo>
                      <a:pt x="420" y="34"/>
                    </a:lnTo>
                    <a:lnTo>
                      <a:pt x="422" y="34"/>
                    </a:lnTo>
                    <a:lnTo>
                      <a:pt x="422" y="32"/>
                    </a:lnTo>
                    <a:lnTo>
                      <a:pt x="422" y="30"/>
                    </a:lnTo>
                    <a:lnTo>
                      <a:pt x="422" y="29"/>
                    </a:lnTo>
                    <a:lnTo>
                      <a:pt x="424" y="29"/>
                    </a:lnTo>
                    <a:lnTo>
                      <a:pt x="425" y="29"/>
                    </a:lnTo>
                    <a:lnTo>
                      <a:pt x="427" y="29"/>
                    </a:lnTo>
                    <a:lnTo>
                      <a:pt x="429" y="29"/>
                    </a:lnTo>
                    <a:lnTo>
                      <a:pt x="429" y="27"/>
                    </a:lnTo>
                    <a:lnTo>
                      <a:pt x="429" y="25"/>
                    </a:lnTo>
                    <a:lnTo>
                      <a:pt x="427" y="25"/>
                    </a:lnTo>
                    <a:lnTo>
                      <a:pt x="429" y="25"/>
                    </a:lnTo>
                    <a:lnTo>
                      <a:pt x="431" y="25"/>
                    </a:lnTo>
                    <a:lnTo>
                      <a:pt x="432" y="25"/>
                    </a:lnTo>
                    <a:lnTo>
                      <a:pt x="434" y="25"/>
                    </a:lnTo>
                    <a:lnTo>
                      <a:pt x="434" y="27"/>
                    </a:lnTo>
                    <a:lnTo>
                      <a:pt x="434" y="25"/>
                    </a:lnTo>
                    <a:lnTo>
                      <a:pt x="436" y="25"/>
                    </a:lnTo>
                    <a:lnTo>
                      <a:pt x="437" y="25"/>
                    </a:lnTo>
                    <a:lnTo>
                      <a:pt x="439" y="25"/>
                    </a:lnTo>
                    <a:lnTo>
                      <a:pt x="439" y="24"/>
                    </a:lnTo>
                    <a:lnTo>
                      <a:pt x="441" y="24"/>
                    </a:lnTo>
                    <a:lnTo>
                      <a:pt x="441" y="22"/>
                    </a:lnTo>
                    <a:lnTo>
                      <a:pt x="441" y="20"/>
                    </a:lnTo>
                    <a:lnTo>
                      <a:pt x="442" y="20"/>
                    </a:lnTo>
                    <a:lnTo>
                      <a:pt x="442" y="18"/>
                    </a:lnTo>
                    <a:lnTo>
                      <a:pt x="444" y="18"/>
                    </a:lnTo>
                    <a:lnTo>
                      <a:pt x="446" y="18"/>
                    </a:lnTo>
                    <a:lnTo>
                      <a:pt x="446" y="17"/>
                    </a:lnTo>
                    <a:lnTo>
                      <a:pt x="448" y="17"/>
                    </a:lnTo>
                    <a:lnTo>
                      <a:pt x="448" y="15"/>
                    </a:lnTo>
                    <a:lnTo>
                      <a:pt x="449" y="15"/>
                    </a:lnTo>
                    <a:lnTo>
                      <a:pt x="449" y="13"/>
                    </a:lnTo>
                    <a:lnTo>
                      <a:pt x="451" y="13"/>
                    </a:lnTo>
                    <a:lnTo>
                      <a:pt x="451" y="12"/>
                    </a:lnTo>
                    <a:lnTo>
                      <a:pt x="453" y="12"/>
                    </a:lnTo>
                    <a:lnTo>
                      <a:pt x="453" y="10"/>
                    </a:lnTo>
                    <a:lnTo>
                      <a:pt x="453" y="8"/>
                    </a:lnTo>
                    <a:lnTo>
                      <a:pt x="451" y="8"/>
                    </a:lnTo>
                    <a:lnTo>
                      <a:pt x="451" y="6"/>
                    </a:lnTo>
                    <a:lnTo>
                      <a:pt x="451" y="5"/>
                    </a:lnTo>
                    <a:lnTo>
                      <a:pt x="451" y="3"/>
                    </a:lnTo>
                    <a:lnTo>
                      <a:pt x="449" y="3"/>
                    </a:lnTo>
                    <a:lnTo>
                      <a:pt x="449" y="1"/>
                    </a:lnTo>
                    <a:lnTo>
                      <a:pt x="448" y="1"/>
                    </a:lnTo>
                    <a:lnTo>
                      <a:pt x="449" y="1"/>
                    </a:lnTo>
                    <a:lnTo>
                      <a:pt x="451" y="1"/>
                    </a:lnTo>
                    <a:lnTo>
                      <a:pt x="453" y="1"/>
                    </a:lnTo>
                    <a:lnTo>
                      <a:pt x="454" y="1"/>
                    </a:lnTo>
                    <a:lnTo>
                      <a:pt x="456" y="1"/>
                    </a:lnTo>
                    <a:lnTo>
                      <a:pt x="458" y="1"/>
                    </a:lnTo>
                    <a:lnTo>
                      <a:pt x="458" y="3"/>
                    </a:lnTo>
                    <a:lnTo>
                      <a:pt x="458" y="1"/>
                    </a:lnTo>
                    <a:lnTo>
                      <a:pt x="459" y="1"/>
                    </a:lnTo>
                    <a:lnTo>
                      <a:pt x="461" y="1"/>
                    </a:lnTo>
                    <a:lnTo>
                      <a:pt x="463" y="1"/>
                    </a:lnTo>
                    <a:lnTo>
                      <a:pt x="465" y="0"/>
                    </a:lnTo>
                    <a:lnTo>
                      <a:pt x="466" y="0"/>
                    </a:lnTo>
                    <a:lnTo>
                      <a:pt x="466" y="1"/>
                    </a:lnTo>
                    <a:lnTo>
                      <a:pt x="468" y="1"/>
                    </a:lnTo>
                    <a:lnTo>
                      <a:pt x="468" y="0"/>
                    </a:lnTo>
                    <a:lnTo>
                      <a:pt x="468" y="1"/>
                    </a:lnTo>
                    <a:lnTo>
                      <a:pt x="470" y="1"/>
                    </a:lnTo>
                    <a:lnTo>
                      <a:pt x="470" y="3"/>
                    </a:lnTo>
                    <a:lnTo>
                      <a:pt x="470" y="5"/>
                    </a:lnTo>
                    <a:lnTo>
                      <a:pt x="471" y="5"/>
                    </a:lnTo>
                    <a:lnTo>
                      <a:pt x="471" y="6"/>
                    </a:lnTo>
                    <a:lnTo>
                      <a:pt x="473" y="6"/>
                    </a:lnTo>
                    <a:lnTo>
                      <a:pt x="473" y="8"/>
                    </a:lnTo>
                    <a:lnTo>
                      <a:pt x="473" y="10"/>
                    </a:lnTo>
                    <a:lnTo>
                      <a:pt x="473" y="12"/>
                    </a:lnTo>
                    <a:lnTo>
                      <a:pt x="473" y="13"/>
                    </a:lnTo>
                    <a:lnTo>
                      <a:pt x="471" y="15"/>
                    </a:lnTo>
                    <a:lnTo>
                      <a:pt x="471" y="17"/>
                    </a:lnTo>
                    <a:lnTo>
                      <a:pt x="471" y="18"/>
                    </a:lnTo>
                    <a:lnTo>
                      <a:pt x="471" y="20"/>
                    </a:lnTo>
                    <a:lnTo>
                      <a:pt x="470" y="20"/>
                    </a:lnTo>
                    <a:lnTo>
                      <a:pt x="470" y="22"/>
                    </a:lnTo>
                    <a:lnTo>
                      <a:pt x="468" y="22"/>
                    </a:lnTo>
                    <a:lnTo>
                      <a:pt x="468" y="24"/>
                    </a:lnTo>
                    <a:lnTo>
                      <a:pt x="468" y="25"/>
                    </a:lnTo>
                    <a:lnTo>
                      <a:pt x="470" y="25"/>
                    </a:lnTo>
                    <a:lnTo>
                      <a:pt x="471" y="25"/>
                    </a:lnTo>
                    <a:lnTo>
                      <a:pt x="470" y="25"/>
                    </a:lnTo>
                    <a:lnTo>
                      <a:pt x="471" y="25"/>
                    </a:lnTo>
                    <a:lnTo>
                      <a:pt x="471" y="27"/>
                    </a:lnTo>
                    <a:lnTo>
                      <a:pt x="473" y="25"/>
                    </a:lnTo>
                    <a:lnTo>
                      <a:pt x="473" y="27"/>
                    </a:lnTo>
                    <a:lnTo>
                      <a:pt x="473" y="25"/>
                    </a:lnTo>
                    <a:lnTo>
                      <a:pt x="475" y="25"/>
                    </a:lnTo>
                    <a:lnTo>
                      <a:pt x="475" y="27"/>
                    </a:lnTo>
                    <a:lnTo>
                      <a:pt x="476" y="27"/>
                    </a:lnTo>
                    <a:lnTo>
                      <a:pt x="478" y="27"/>
                    </a:lnTo>
                    <a:lnTo>
                      <a:pt x="476" y="27"/>
                    </a:lnTo>
                    <a:lnTo>
                      <a:pt x="478" y="27"/>
                    </a:lnTo>
                    <a:lnTo>
                      <a:pt x="480" y="27"/>
                    </a:lnTo>
                    <a:lnTo>
                      <a:pt x="482" y="29"/>
                    </a:lnTo>
                    <a:lnTo>
                      <a:pt x="482" y="30"/>
                    </a:lnTo>
                    <a:lnTo>
                      <a:pt x="483" y="30"/>
                    </a:lnTo>
                    <a:lnTo>
                      <a:pt x="483" y="32"/>
                    </a:lnTo>
                    <a:lnTo>
                      <a:pt x="482" y="32"/>
                    </a:lnTo>
                    <a:lnTo>
                      <a:pt x="482" y="34"/>
                    </a:lnTo>
                    <a:lnTo>
                      <a:pt x="483" y="34"/>
                    </a:lnTo>
                    <a:lnTo>
                      <a:pt x="482" y="34"/>
                    </a:lnTo>
                    <a:lnTo>
                      <a:pt x="482" y="35"/>
                    </a:lnTo>
                    <a:lnTo>
                      <a:pt x="482" y="37"/>
                    </a:lnTo>
                    <a:lnTo>
                      <a:pt x="483" y="37"/>
                    </a:lnTo>
                    <a:lnTo>
                      <a:pt x="485" y="37"/>
                    </a:lnTo>
                    <a:lnTo>
                      <a:pt x="485" y="39"/>
                    </a:lnTo>
                    <a:lnTo>
                      <a:pt x="485" y="41"/>
                    </a:lnTo>
                    <a:lnTo>
                      <a:pt x="487" y="42"/>
                    </a:lnTo>
                    <a:lnTo>
                      <a:pt x="487" y="44"/>
                    </a:lnTo>
                    <a:lnTo>
                      <a:pt x="488" y="44"/>
                    </a:lnTo>
                    <a:lnTo>
                      <a:pt x="488" y="46"/>
                    </a:lnTo>
                    <a:lnTo>
                      <a:pt x="487" y="46"/>
                    </a:lnTo>
                    <a:lnTo>
                      <a:pt x="487" y="47"/>
                    </a:lnTo>
                    <a:lnTo>
                      <a:pt x="487" y="49"/>
                    </a:lnTo>
                    <a:lnTo>
                      <a:pt x="485" y="49"/>
                    </a:lnTo>
                    <a:lnTo>
                      <a:pt x="485" y="51"/>
                    </a:lnTo>
                    <a:lnTo>
                      <a:pt x="485" y="49"/>
                    </a:lnTo>
                    <a:lnTo>
                      <a:pt x="485" y="51"/>
                    </a:lnTo>
                    <a:lnTo>
                      <a:pt x="483" y="51"/>
                    </a:lnTo>
                    <a:lnTo>
                      <a:pt x="483" y="52"/>
                    </a:lnTo>
                    <a:lnTo>
                      <a:pt x="482" y="54"/>
                    </a:lnTo>
                    <a:lnTo>
                      <a:pt x="480" y="56"/>
                    </a:lnTo>
                    <a:lnTo>
                      <a:pt x="478" y="56"/>
                    </a:lnTo>
                    <a:lnTo>
                      <a:pt x="478" y="58"/>
                    </a:lnTo>
                    <a:lnTo>
                      <a:pt x="476" y="58"/>
                    </a:lnTo>
                    <a:lnTo>
                      <a:pt x="478" y="58"/>
                    </a:lnTo>
                    <a:lnTo>
                      <a:pt x="476" y="58"/>
                    </a:lnTo>
                    <a:lnTo>
                      <a:pt x="478" y="58"/>
                    </a:lnTo>
                    <a:lnTo>
                      <a:pt x="478" y="59"/>
                    </a:lnTo>
                    <a:lnTo>
                      <a:pt x="480" y="59"/>
                    </a:lnTo>
                    <a:lnTo>
                      <a:pt x="478" y="61"/>
                    </a:lnTo>
                    <a:lnTo>
                      <a:pt x="480" y="61"/>
                    </a:lnTo>
                    <a:lnTo>
                      <a:pt x="478" y="61"/>
                    </a:lnTo>
                    <a:lnTo>
                      <a:pt x="478" y="63"/>
                    </a:lnTo>
                    <a:lnTo>
                      <a:pt x="480" y="63"/>
                    </a:lnTo>
                    <a:lnTo>
                      <a:pt x="478" y="63"/>
                    </a:lnTo>
                    <a:lnTo>
                      <a:pt x="480" y="63"/>
                    </a:lnTo>
                    <a:lnTo>
                      <a:pt x="480" y="64"/>
                    </a:lnTo>
                    <a:lnTo>
                      <a:pt x="478" y="64"/>
                    </a:lnTo>
                    <a:lnTo>
                      <a:pt x="478" y="66"/>
                    </a:lnTo>
                    <a:lnTo>
                      <a:pt x="478" y="68"/>
                    </a:lnTo>
                    <a:lnTo>
                      <a:pt x="476" y="68"/>
                    </a:lnTo>
                    <a:lnTo>
                      <a:pt x="476" y="69"/>
                    </a:lnTo>
                    <a:lnTo>
                      <a:pt x="476" y="71"/>
                    </a:lnTo>
                    <a:lnTo>
                      <a:pt x="475" y="71"/>
                    </a:lnTo>
                    <a:lnTo>
                      <a:pt x="476" y="71"/>
                    </a:lnTo>
                    <a:lnTo>
                      <a:pt x="475" y="73"/>
                    </a:lnTo>
                    <a:lnTo>
                      <a:pt x="476" y="73"/>
                    </a:lnTo>
                    <a:lnTo>
                      <a:pt x="475" y="73"/>
                    </a:lnTo>
                    <a:lnTo>
                      <a:pt x="475" y="75"/>
                    </a:lnTo>
                    <a:lnTo>
                      <a:pt x="475" y="76"/>
                    </a:lnTo>
                    <a:lnTo>
                      <a:pt x="475" y="78"/>
                    </a:lnTo>
                    <a:lnTo>
                      <a:pt x="473" y="78"/>
                    </a:lnTo>
                    <a:lnTo>
                      <a:pt x="473" y="80"/>
                    </a:lnTo>
                    <a:lnTo>
                      <a:pt x="473" y="81"/>
                    </a:lnTo>
                    <a:lnTo>
                      <a:pt x="473" y="83"/>
                    </a:lnTo>
                    <a:lnTo>
                      <a:pt x="473" y="85"/>
                    </a:lnTo>
                    <a:lnTo>
                      <a:pt x="473" y="86"/>
                    </a:lnTo>
                    <a:lnTo>
                      <a:pt x="473" y="88"/>
                    </a:lnTo>
                    <a:lnTo>
                      <a:pt x="475" y="90"/>
                    </a:lnTo>
                    <a:lnTo>
                      <a:pt x="473" y="90"/>
                    </a:lnTo>
                    <a:lnTo>
                      <a:pt x="475" y="90"/>
                    </a:lnTo>
                    <a:lnTo>
                      <a:pt x="475" y="92"/>
                    </a:lnTo>
                    <a:lnTo>
                      <a:pt x="475" y="93"/>
                    </a:lnTo>
                    <a:lnTo>
                      <a:pt x="476" y="93"/>
                    </a:lnTo>
                    <a:lnTo>
                      <a:pt x="476" y="95"/>
                    </a:lnTo>
                    <a:lnTo>
                      <a:pt x="476" y="97"/>
                    </a:lnTo>
                    <a:lnTo>
                      <a:pt x="476" y="98"/>
                    </a:lnTo>
                    <a:lnTo>
                      <a:pt x="478" y="98"/>
                    </a:lnTo>
                    <a:lnTo>
                      <a:pt x="478" y="100"/>
                    </a:lnTo>
                    <a:lnTo>
                      <a:pt x="478" y="98"/>
                    </a:lnTo>
                    <a:lnTo>
                      <a:pt x="478" y="100"/>
                    </a:lnTo>
                    <a:lnTo>
                      <a:pt x="480" y="100"/>
                    </a:lnTo>
                    <a:lnTo>
                      <a:pt x="482" y="100"/>
                    </a:lnTo>
                    <a:lnTo>
                      <a:pt x="482" y="102"/>
                    </a:lnTo>
                    <a:lnTo>
                      <a:pt x="482" y="103"/>
                    </a:lnTo>
                    <a:lnTo>
                      <a:pt x="482" y="105"/>
                    </a:lnTo>
                    <a:lnTo>
                      <a:pt x="482" y="107"/>
                    </a:lnTo>
                    <a:lnTo>
                      <a:pt x="482" y="109"/>
                    </a:lnTo>
                    <a:lnTo>
                      <a:pt x="482" y="110"/>
                    </a:lnTo>
                    <a:lnTo>
                      <a:pt x="482" y="112"/>
                    </a:lnTo>
                    <a:lnTo>
                      <a:pt x="482" y="114"/>
                    </a:lnTo>
                    <a:lnTo>
                      <a:pt x="482" y="115"/>
                    </a:lnTo>
                    <a:lnTo>
                      <a:pt x="483" y="115"/>
                    </a:lnTo>
                    <a:lnTo>
                      <a:pt x="485" y="115"/>
                    </a:lnTo>
                    <a:lnTo>
                      <a:pt x="485" y="117"/>
                    </a:lnTo>
                    <a:lnTo>
                      <a:pt x="483" y="117"/>
                    </a:lnTo>
                    <a:lnTo>
                      <a:pt x="483" y="119"/>
                    </a:lnTo>
                    <a:lnTo>
                      <a:pt x="485" y="119"/>
                    </a:lnTo>
                    <a:lnTo>
                      <a:pt x="485" y="120"/>
                    </a:lnTo>
                    <a:lnTo>
                      <a:pt x="487" y="120"/>
                    </a:lnTo>
                    <a:lnTo>
                      <a:pt x="487" y="119"/>
                    </a:lnTo>
                    <a:lnTo>
                      <a:pt x="488" y="119"/>
                    </a:lnTo>
                    <a:lnTo>
                      <a:pt x="488" y="120"/>
                    </a:lnTo>
                    <a:lnTo>
                      <a:pt x="490" y="122"/>
                    </a:lnTo>
                    <a:lnTo>
                      <a:pt x="490" y="120"/>
                    </a:lnTo>
                    <a:lnTo>
                      <a:pt x="490" y="122"/>
                    </a:lnTo>
                    <a:lnTo>
                      <a:pt x="490" y="124"/>
                    </a:lnTo>
                    <a:lnTo>
                      <a:pt x="492" y="124"/>
                    </a:lnTo>
                    <a:lnTo>
                      <a:pt x="492" y="126"/>
                    </a:lnTo>
                    <a:lnTo>
                      <a:pt x="493" y="126"/>
                    </a:lnTo>
                    <a:lnTo>
                      <a:pt x="493" y="127"/>
                    </a:lnTo>
                    <a:lnTo>
                      <a:pt x="495" y="127"/>
                    </a:lnTo>
                    <a:lnTo>
                      <a:pt x="495" y="129"/>
                    </a:lnTo>
                    <a:lnTo>
                      <a:pt x="497" y="129"/>
                    </a:lnTo>
                    <a:lnTo>
                      <a:pt x="497" y="131"/>
                    </a:lnTo>
                    <a:lnTo>
                      <a:pt x="499" y="131"/>
                    </a:lnTo>
                    <a:lnTo>
                      <a:pt x="500" y="131"/>
                    </a:lnTo>
                    <a:lnTo>
                      <a:pt x="500" y="132"/>
                    </a:lnTo>
                    <a:lnTo>
                      <a:pt x="502" y="132"/>
                    </a:lnTo>
                    <a:lnTo>
                      <a:pt x="504" y="132"/>
                    </a:lnTo>
                    <a:lnTo>
                      <a:pt x="505" y="132"/>
                    </a:lnTo>
                    <a:lnTo>
                      <a:pt x="507" y="132"/>
                    </a:lnTo>
                    <a:lnTo>
                      <a:pt x="507" y="134"/>
                    </a:lnTo>
                    <a:lnTo>
                      <a:pt x="509" y="134"/>
                    </a:lnTo>
                    <a:lnTo>
                      <a:pt x="510" y="134"/>
                    </a:lnTo>
                    <a:lnTo>
                      <a:pt x="510" y="136"/>
                    </a:lnTo>
                    <a:lnTo>
                      <a:pt x="509" y="136"/>
                    </a:lnTo>
                    <a:lnTo>
                      <a:pt x="510" y="136"/>
                    </a:lnTo>
                    <a:lnTo>
                      <a:pt x="510" y="137"/>
                    </a:lnTo>
                    <a:lnTo>
                      <a:pt x="512" y="137"/>
                    </a:lnTo>
                    <a:lnTo>
                      <a:pt x="514" y="137"/>
                    </a:lnTo>
                    <a:lnTo>
                      <a:pt x="516" y="137"/>
                    </a:lnTo>
                    <a:lnTo>
                      <a:pt x="516" y="136"/>
                    </a:lnTo>
                    <a:lnTo>
                      <a:pt x="516" y="134"/>
                    </a:lnTo>
                    <a:lnTo>
                      <a:pt x="517" y="134"/>
                    </a:lnTo>
                    <a:lnTo>
                      <a:pt x="519" y="134"/>
                    </a:lnTo>
                    <a:lnTo>
                      <a:pt x="521" y="134"/>
                    </a:lnTo>
                    <a:lnTo>
                      <a:pt x="521" y="136"/>
                    </a:lnTo>
                    <a:lnTo>
                      <a:pt x="521" y="134"/>
                    </a:lnTo>
                    <a:lnTo>
                      <a:pt x="522" y="134"/>
                    </a:lnTo>
                    <a:lnTo>
                      <a:pt x="522" y="136"/>
                    </a:lnTo>
                    <a:lnTo>
                      <a:pt x="522" y="134"/>
                    </a:lnTo>
                    <a:lnTo>
                      <a:pt x="524" y="136"/>
                    </a:lnTo>
                    <a:lnTo>
                      <a:pt x="524" y="134"/>
                    </a:lnTo>
                    <a:lnTo>
                      <a:pt x="524" y="132"/>
                    </a:lnTo>
                    <a:lnTo>
                      <a:pt x="524" y="131"/>
                    </a:lnTo>
                    <a:lnTo>
                      <a:pt x="522" y="131"/>
                    </a:lnTo>
                    <a:lnTo>
                      <a:pt x="524" y="129"/>
                    </a:lnTo>
                    <a:lnTo>
                      <a:pt x="522" y="129"/>
                    </a:lnTo>
                    <a:lnTo>
                      <a:pt x="524" y="129"/>
                    </a:lnTo>
                    <a:lnTo>
                      <a:pt x="526" y="129"/>
                    </a:lnTo>
                    <a:lnTo>
                      <a:pt x="526" y="127"/>
                    </a:lnTo>
                    <a:lnTo>
                      <a:pt x="527" y="129"/>
                    </a:lnTo>
                    <a:lnTo>
                      <a:pt x="527" y="127"/>
                    </a:lnTo>
                    <a:lnTo>
                      <a:pt x="527" y="126"/>
                    </a:lnTo>
                    <a:lnTo>
                      <a:pt x="529" y="126"/>
                    </a:lnTo>
                    <a:lnTo>
                      <a:pt x="529" y="124"/>
                    </a:lnTo>
                    <a:lnTo>
                      <a:pt x="529" y="126"/>
                    </a:lnTo>
                    <a:lnTo>
                      <a:pt x="531" y="126"/>
                    </a:lnTo>
                    <a:lnTo>
                      <a:pt x="531" y="124"/>
                    </a:lnTo>
                    <a:lnTo>
                      <a:pt x="531" y="126"/>
                    </a:lnTo>
                    <a:lnTo>
                      <a:pt x="533" y="126"/>
                    </a:lnTo>
                    <a:lnTo>
                      <a:pt x="534" y="126"/>
                    </a:lnTo>
                    <a:lnTo>
                      <a:pt x="536" y="127"/>
                    </a:lnTo>
                    <a:lnTo>
                      <a:pt x="534" y="127"/>
                    </a:lnTo>
                    <a:lnTo>
                      <a:pt x="536" y="127"/>
                    </a:lnTo>
                    <a:lnTo>
                      <a:pt x="538" y="127"/>
                    </a:lnTo>
                    <a:lnTo>
                      <a:pt x="538" y="126"/>
                    </a:lnTo>
                    <a:lnTo>
                      <a:pt x="539" y="127"/>
                    </a:lnTo>
                    <a:lnTo>
                      <a:pt x="539" y="126"/>
                    </a:lnTo>
                    <a:lnTo>
                      <a:pt x="541" y="126"/>
                    </a:lnTo>
                    <a:lnTo>
                      <a:pt x="541" y="124"/>
                    </a:lnTo>
                    <a:lnTo>
                      <a:pt x="541" y="122"/>
                    </a:lnTo>
                    <a:lnTo>
                      <a:pt x="539" y="122"/>
                    </a:lnTo>
                    <a:lnTo>
                      <a:pt x="541" y="122"/>
                    </a:lnTo>
                    <a:lnTo>
                      <a:pt x="543" y="122"/>
                    </a:lnTo>
                    <a:lnTo>
                      <a:pt x="544" y="122"/>
                    </a:lnTo>
                    <a:lnTo>
                      <a:pt x="544" y="120"/>
                    </a:lnTo>
                    <a:lnTo>
                      <a:pt x="544" y="122"/>
                    </a:lnTo>
                    <a:lnTo>
                      <a:pt x="546" y="120"/>
                    </a:lnTo>
                    <a:lnTo>
                      <a:pt x="548" y="120"/>
                    </a:lnTo>
                    <a:lnTo>
                      <a:pt x="548" y="119"/>
                    </a:lnTo>
                    <a:lnTo>
                      <a:pt x="548" y="120"/>
                    </a:lnTo>
                    <a:lnTo>
                      <a:pt x="550" y="119"/>
                    </a:lnTo>
                    <a:lnTo>
                      <a:pt x="550" y="120"/>
                    </a:lnTo>
                    <a:lnTo>
                      <a:pt x="550" y="119"/>
                    </a:lnTo>
                    <a:lnTo>
                      <a:pt x="550" y="120"/>
                    </a:lnTo>
                    <a:lnTo>
                      <a:pt x="551" y="120"/>
                    </a:lnTo>
                    <a:lnTo>
                      <a:pt x="553" y="120"/>
                    </a:lnTo>
                    <a:lnTo>
                      <a:pt x="555" y="120"/>
                    </a:lnTo>
                    <a:lnTo>
                      <a:pt x="556" y="120"/>
                    </a:lnTo>
                    <a:lnTo>
                      <a:pt x="556" y="119"/>
                    </a:lnTo>
                    <a:lnTo>
                      <a:pt x="556" y="117"/>
                    </a:lnTo>
                    <a:lnTo>
                      <a:pt x="558" y="117"/>
                    </a:lnTo>
                    <a:lnTo>
                      <a:pt x="560" y="115"/>
                    </a:lnTo>
                    <a:lnTo>
                      <a:pt x="558" y="115"/>
                    </a:lnTo>
                    <a:lnTo>
                      <a:pt x="560" y="115"/>
                    </a:lnTo>
                    <a:lnTo>
                      <a:pt x="560" y="114"/>
                    </a:lnTo>
                    <a:lnTo>
                      <a:pt x="561" y="112"/>
                    </a:lnTo>
                    <a:lnTo>
                      <a:pt x="561" y="114"/>
                    </a:lnTo>
                    <a:lnTo>
                      <a:pt x="561" y="112"/>
                    </a:lnTo>
                    <a:lnTo>
                      <a:pt x="561" y="110"/>
                    </a:lnTo>
                    <a:lnTo>
                      <a:pt x="563" y="110"/>
                    </a:lnTo>
                    <a:lnTo>
                      <a:pt x="565" y="110"/>
                    </a:lnTo>
                    <a:lnTo>
                      <a:pt x="565" y="112"/>
                    </a:lnTo>
                    <a:lnTo>
                      <a:pt x="567" y="112"/>
                    </a:lnTo>
                    <a:lnTo>
                      <a:pt x="567" y="110"/>
                    </a:lnTo>
                    <a:lnTo>
                      <a:pt x="568" y="110"/>
                    </a:lnTo>
                    <a:lnTo>
                      <a:pt x="570" y="110"/>
                    </a:lnTo>
                    <a:lnTo>
                      <a:pt x="570" y="109"/>
                    </a:lnTo>
                    <a:lnTo>
                      <a:pt x="570" y="110"/>
                    </a:lnTo>
                    <a:lnTo>
                      <a:pt x="572" y="110"/>
                    </a:lnTo>
                    <a:lnTo>
                      <a:pt x="572" y="112"/>
                    </a:lnTo>
                    <a:lnTo>
                      <a:pt x="573" y="112"/>
                    </a:lnTo>
                    <a:lnTo>
                      <a:pt x="573" y="114"/>
                    </a:lnTo>
                    <a:lnTo>
                      <a:pt x="575" y="114"/>
                    </a:lnTo>
                    <a:lnTo>
                      <a:pt x="577" y="112"/>
                    </a:lnTo>
                    <a:lnTo>
                      <a:pt x="577" y="114"/>
                    </a:lnTo>
                    <a:lnTo>
                      <a:pt x="578" y="114"/>
                    </a:lnTo>
                    <a:lnTo>
                      <a:pt x="580" y="114"/>
                    </a:lnTo>
                    <a:lnTo>
                      <a:pt x="580" y="115"/>
                    </a:lnTo>
                    <a:lnTo>
                      <a:pt x="582" y="115"/>
                    </a:lnTo>
                    <a:lnTo>
                      <a:pt x="582" y="114"/>
                    </a:lnTo>
                    <a:lnTo>
                      <a:pt x="584" y="112"/>
                    </a:lnTo>
                    <a:lnTo>
                      <a:pt x="584" y="114"/>
                    </a:lnTo>
                    <a:lnTo>
                      <a:pt x="585" y="114"/>
                    </a:lnTo>
                    <a:lnTo>
                      <a:pt x="585" y="112"/>
                    </a:lnTo>
                    <a:lnTo>
                      <a:pt x="587" y="112"/>
                    </a:lnTo>
                    <a:lnTo>
                      <a:pt x="589" y="114"/>
                    </a:lnTo>
                    <a:lnTo>
                      <a:pt x="590" y="112"/>
                    </a:lnTo>
                    <a:lnTo>
                      <a:pt x="592" y="112"/>
                    </a:lnTo>
                    <a:lnTo>
                      <a:pt x="594" y="112"/>
                    </a:lnTo>
                    <a:lnTo>
                      <a:pt x="594" y="114"/>
                    </a:lnTo>
                    <a:lnTo>
                      <a:pt x="594" y="112"/>
                    </a:lnTo>
                    <a:lnTo>
                      <a:pt x="595" y="112"/>
                    </a:lnTo>
                    <a:lnTo>
                      <a:pt x="597" y="112"/>
                    </a:lnTo>
                    <a:lnTo>
                      <a:pt x="597" y="114"/>
                    </a:lnTo>
                    <a:lnTo>
                      <a:pt x="599" y="114"/>
                    </a:lnTo>
                    <a:lnTo>
                      <a:pt x="601" y="114"/>
                    </a:lnTo>
                    <a:lnTo>
                      <a:pt x="602" y="114"/>
                    </a:lnTo>
                    <a:lnTo>
                      <a:pt x="604" y="115"/>
                    </a:lnTo>
                    <a:lnTo>
                      <a:pt x="606" y="115"/>
                    </a:lnTo>
                    <a:lnTo>
                      <a:pt x="607" y="115"/>
                    </a:lnTo>
                    <a:lnTo>
                      <a:pt x="609" y="115"/>
                    </a:lnTo>
                    <a:lnTo>
                      <a:pt x="611" y="114"/>
                    </a:lnTo>
                    <a:lnTo>
                      <a:pt x="611" y="112"/>
                    </a:lnTo>
                    <a:lnTo>
                      <a:pt x="609" y="110"/>
                    </a:lnTo>
                    <a:lnTo>
                      <a:pt x="611" y="110"/>
                    </a:lnTo>
                    <a:lnTo>
                      <a:pt x="611" y="109"/>
                    </a:lnTo>
                    <a:lnTo>
                      <a:pt x="611" y="107"/>
                    </a:lnTo>
                    <a:lnTo>
                      <a:pt x="609" y="107"/>
                    </a:lnTo>
                    <a:lnTo>
                      <a:pt x="609" y="105"/>
                    </a:lnTo>
                    <a:lnTo>
                      <a:pt x="607" y="105"/>
                    </a:lnTo>
                    <a:lnTo>
                      <a:pt x="606" y="105"/>
                    </a:lnTo>
                    <a:lnTo>
                      <a:pt x="606" y="103"/>
                    </a:lnTo>
                    <a:lnTo>
                      <a:pt x="606" y="102"/>
                    </a:lnTo>
                    <a:lnTo>
                      <a:pt x="604" y="102"/>
                    </a:lnTo>
                    <a:lnTo>
                      <a:pt x="602" y="102"/>
                    </a:lnTo>
                    <a:lnTo>
                      <a:pt x="604" y="100"/>
                    </a:lnTo>
                    <a:lnTo>
                      <a:pt x="604" y="98"/>
                    </a:lnTo>
                    <a:lnTo>
                      <a:pt x="606" y="98"/>
                    </a:lnTo>
                    <a:lnTo>
                      <a:pt x="607" y="98"/>
                    </a:lnTo>
                    <a:lnTo>
                      <a:pt x="606" y="98"/>
                    </a:lnTo>
                    <a:lnTo>
                      <a:pt x="607" y="97"/>
                    </a:lnTo>
                    <a:lnTo>
                      <a:pt x="607" y="95"/>
                    </a:lnTo>
                    <a:lnTo>
                      <a:pt x="607" y="93"/>
                    </a:lnTo>
                    <a:lnTo>
                      <a:pt x="609" y="93"/>
                    </a:lnTo>
                    <a:lnTo>
                      <a:pt x="607" y="93"/>
                    </a:lnTo>
                    <a:lnTo>
                      <a:pt x="609" y="93"/>
                    </a:lnTo>
                    <a:lnTo>
                      <a:pt x="609" y="92"/>
                    </a:lnTo>
                    <a:lnTo>
                      <a:pt x="611" y="92"/>
                    </a:lnTo>
                    <a:lnTo>
                      <a:pt x="611" y="93"/>
                    </a:lnTo>
                    <a:lnTo>
                      <a:pt x="612" y="93"/>
                    </a:lnTo>
                    <a:lnTo>
                      <a:pt x="612" y="95"/>
                    </a:lnTo>
                    <a:lnTo>
                      <a:pt x="614" y="95"/>
                    </a:lnTo>
                    <a:lnTo>
                      <a:pt x="616" y="95"/>
                    </a:lnTo>
                    <a:lnTo>
                      <a:pt x="616" y="97"/>
                    </a:lnTo>
                    <a:lnTo>
                      <a:pt x="618" y="97"/>
                    </a:lnTo>
                    <a:lnTo>
                      <a:pt x="619" y="97"/>
                    </a:lnTo>
                    <a:lnTo>
                      <a:pt x="621" y="97"/>
                    </a:lnTo>
                    <a:lnTo>
                      <a:pt x="621" y="95"/>
                    </a:lnTo>
                    <a:lnTo>
                      <a:pt x="623" y="95"/>
                    </a:lnTo>
                    <a:lnTo>
                      <a:pt x="623" y="97"/>
                    </a:lnTo>
                    <a:lnTo>
                      <a:pt x="623" y="95"/>
                    </a:lnTo>
                    <a:lnTo>
                      <a:pt x="624" y="95"/>
                    </a:lnTo>
                    <a:lnTo>
                      <a:pt x="626" y="95"/>
                    </a:lnTo>
                    <a:lnTo>
                      <a:pt x="628" y="95"/>
                    </a:lnTo>
                    <a:lnTo>
                      <a:pt x="628" y="97"/>
                    </a:lnTo>
                    <a:lnTo>
                      <a:pt x="629" y="97"/>
                    </a:lnTo>
                    <a:lnTo>
                      <a:pt x="629" y="95"/>
                    </a:lnTo>
                    <a:lnTo>
                      <a:pt x="629" y="93"/>
                    </a:lnTo>
                    <a:lnTo>
                      <a:pt x="631" y="93"/>
                    </a:lnTo>
                    <a:lnTo>
                      <a:pt x="633" y="93"/>
                    </a:lnTo>
                    <a:lnTo>
                      <a:pt x="635" y="93"/>
                    </a:lnTo>
                    <a:lnTo>
                      <a:pt x="635" y="92"/>
                    </a:lnTo>
                    <a:lnTo>
                      <a:pt x="636" y="92"/>
                    </a:lnTo>
                    <a:lnTo>
                      <a:pt x="638" y="92"/>
                    </a:lnTo>
                    <a:lnTo>
                      <a:pt x="638" y="93"/>
                    </a:lnTo>
                    <a:lnTo>
                      <a:pt x="638" y="92"/>
                    </a:lnTo>
                    <a:lnTo>
                      <a:pt x="640" y="92"/>
                    </a:lnTo>
                    <a:lnTo>
                      <a:pt x="641" y="92"/>
                    </a:lnTo>
                    <a:lnTo>
                      <a:pt x="641" y="90"/>
                    </a:lnTo>
                    <a:lnTo>
                      <a:pt x="643" y="90"/>
                    </a:lnTo>
                    <a:lnTo>
                      <a:pt x="643" y="92"/>
                    </a:lnTo>
                    <a:lnTo>
                      <a:pt x="643" y="93"/>
                    </a:lnTo>
                    <a:lnTo>
                      <a:pt x="645" y="93"/>
                    </a:lnTo>
                    <a:lnTo>
                      <a:pt x="645" y="95"/>
                    </a:lnTo>
                    <a:lnTo>
                      <a:pt x="646" y="95"/>
                    </a:lnTo>
                    <a:lnTo>
                      <a:pt x="648" y="95"/>
                    </a:lnTo>
                    <a:lnTo>
                      <a:pt x="650" y="95"/>
                    </a:lnTo>
                    <a:lnTo>
                      <a:pt x="652" y="95"/>
                    </a:lnTo>
                    <a:lnTo>
                      <a:pt x="652" y="97"/>
                    </a:lnTo>
                    <a:lnTo>
                      <a:pt x="652" y="98"/>
                    </a:lnTo>
                    <a:lnTo>
                      <a:pt x="653" y="98"/>
                    </a:lnTo>
                    <a:lnTo>
                      <a:pt x="655" y="98"/>
                    </a:lnTo>
                    <a:lnTo>
                      <a:pt x="655" y="100"/>
                    </a:lnTo>
                    <a:lnTo>
                      <a:pt x="657" y="100"/>
                    </a:lnTo>
                    <a:lnTo>
                      <a:pt x="657" y="102"/>
                    </a:lnTo>
                    <a:lnTo>
                      <a:pt x="658" y="102"/>
                    </a:lnTo>
                    <a:lnTo>
                      <a:pt x="660" y="103"/>
                    </a:lnTo>
                    <a:lnTo>
                      <a:pt x="662" y="103"/>
                    </a:lnTo>
                    <a:lnTo>
                      <a:pt x="663" y="103"/>
                    </a:lnTo>
                    <a:lnTo>
                      <a:pt x="663" y="105"/>
                    </a:lnTo>
                    <a:lnTo>
                      <a:pt x="665" y="105"/>
                    </a:lnTo>
                    <a:lnTo>
                      <a:pt x="667" y="105"/>
                    </a:lnTo>
                    <a:lnTo>
                      <a:pt x="669" y="105"/>
                    </a:lnTo>
                    <a:lnTo>
                      <a:pt x="670" y="105"/>
                    </a:lnTo>
                    <a:lnTo>
                      <a:pt x="670" y="107"/>
                    </a:lnTo>
                    <a:lnTo>
                      <a:pt x="672" y="107"/>
                    </a:lnTo>
                    <a:lnTo>
                      <a:pt x="672" y="105"/>
                    </a:lnTo>
                    <a:lnTo>
                      <a:pt x="672" y="103"/>
                    </a:lnTo>
                    <a:lnTo>
                      <a:pt x="674" y="103"/>
                    </a:lnTo>
                    <a:lnTo>
                      <a:pt x="675" y="103"/>
                    </a:lnTo>
                    <a:lnTo>
                      <a:pt x="677" y="103"/>
                    </a:lnTo>
                    <a:lnTo>
                      <a:pt x="677" y="102"/>
                    </a:lnTo>
                    <a:lnTo>
                      <a:pt x="677" y="100"/>
                    </a:lnTo>
                    <a:lnTo>
                      <a:pt x="677" y="102"/>
                    </a:lnTo>
                    <a:lnTo>
                      <a:pt x="679" y="102"/>
                    </a:lnTo>
                    <a:lnTo>
                      <a:pt x="679" y="100"/>
                    </a:lnTo>
                    <a:lnTo>
                      <a:pt x="680" y="100"/>
                    </a:lnTo>
                    <a:lnTo>
                      <a:pt x="682" y="100"/>
                    </a:lnTo>
                    <a:lnTo>
                      <a:pt x="680" y="100"/>
                    </a:lnTo>
                    <a:lnTo>
                      <a:pt x="680" y="98"/>
                    </a:lnTo>
                    <a:lnTo>
                      <a:pt x="682" y="98"/>
                    </a:lnTo>
                    <a:lnTo>
                      <a:pt x="684" y="98"/>
                    </a:lnTo>
                    <a:lnTo>
                      <a:pt x="684" y="100"/>
                    </a:lnTo>
                    <a:lnTo>
                      <a:pt x="686" y="100"/>
                    </a:lnTo>
                    <a:lnTo>
                      <a:pt x="687" y="100"/>
                    </a:lnTo>
                    <a:lnTo>
                      <a:pt x="689" y="100"/>
                    </a:lnTo>
                    <a:lnTo>
                      <a:pt x="689" y="102"/>
                    </a:lnTo>
                    <a:lnTo>
                      <a:pt x="691" y="102"/>
                    </a:lnTo>
                    <a:lnTo>
                      <a:pt x="692" y="102"/>
                    </a:lnTo>
                    <a:lnTo>
                      <a:pt x="694" y="100"/>
                    </a:lnTo>
                    <a:lnTo>
                      <a:pt x="696" y="100"/>
                    </a:lnTo>
                    <a:lnTo>
                      <a:pt x="697" y="100"/>
                    </a:lnTo>
                    <a:lnTo>
                      <a:pt x="699" y="100"/>
                    </a:lnTo>
                    <a:lnTo>
                      <a:pt x="701" y="100"/>
                    </a:lnTo>
                    <a:lnTo>
                      <a:pt x="701" y="102"/>
                    </a:lnTo>
                    <a:lnTo>
                      <a:pt x="701" y="103"/>
                    </a:lnTo>
                    <a:lnTo>
                      <a:pt x="703" y="103"/>
                    </a:lnTo>
                    <a:lnTo>
                      <a:pt x="704" y="103"/>
                    </a:lnTo>
                    <a:lnTo>
                      <a:pt x="706" y="102"/>
                    </a:lnTo>
                    <a:lnTo>
                      <a:pt x="706" y="103"/>
                    </a:lnTo>
                    <a:lnTo>
                      <a:pt x="708" y="103"/>
                    </a:lnTo>
                    <a:lnTo>
                      <a:pt x="709" y="103"/>
                    </a:lnTo>
                    <a:lnTo>
                      <a:pt x="709" y="105"/>
                    </a:lnTo>
                    <a:lnTo>
                      <a:pt x="711" y="105"/>
                    </a:lnTo>
                    <a:lnTo>
                      <a:pt x="711" y="103"/>
                    </a:lnTo>
                    <a:lnTo>
                      <a:pt x="713" y="103"/>
                    </a:lnTo>
                    <a:lnTo>
                      <a:pt x="713" y="102"/>
                    </a:lnTo>
                    <a:lnTo>
                      <a:pt x="714" y="102"/>
                    </a:lnTo>
                    <a:lnTo>
                      <a:pt x="714" y="100"/>
                    </a:lnTo>
                    <a:lnTo>
                      <a:pt x="716" y="100"/>
                    </a:lnTo>
                    <a:lnTo>
                      <a:pt x="718" y="98"/>
                    </a:lnTo>
                    <a:lnTo>
                      <a:pt x="720" y="98"/>
                    </a:lnTo>
                    <a:lnTo>
                      <a:pt x="721" y="98"/>
                    </a:lnTo>
                    <a:lnTo>
                      <a:pt x="721" y="97"/>
                    </a:lnTo>
                    <a:lnTo>
                      <a:pt x="721" y="95"/>
                    </a:lnTo>
                    <a:lnTo>
                      <a:pt x="723" y="95"/>
                    </a:lnTo>
                    <a:lnTo>
                      <a:pt x="721" y="95"/>
                    </a:lnTo>
                    <a:lnTo>
                      <a:pt x="723" y="95"/>
                    </a:lnTo>
                    <a:lnTo>
                      <a:pt x="723" y="93"/>
                    </a:lnTo>
                    <a:lnTo>
                      <a:pt x="725" y="93"/>
                    </a:lnTo>
                    <a:lnTo>
                      <a:pt x="725" y="92"/>
                    </a:lnTo>
                    <a:lnTo>
                      <a:pt x="725" y="90"/>
                    </a:lnTo>
                    <a:lnTo>
                      <a:pt x="725" y="88"/>
                    </a:lnTo>
                    <a:lnTo>
                      <a:pt x="725" y="86"/>
                    </a:lnTo>
                    <a:lnTo>
                      <a:pt x="726" y="86"/>
                    </a:lnTo>
                    <a:lnTo>
                      <a:pt x="726" y="85"/>
                    </a:lnTo>
                    <a:lnTo>
                      <a:pt x="726" y="83"/>
                    </a:lnTo>
                    <a:lnTo>
                      <a:pt x="728" y="83"/>
                    </a:lnTo>
                    <a:lnTo>
                      <a:pt x="728" y="81"/>
                    </a:lnTo>
                    <a:lnTo>
                      <a:pt x="728" y="80"/>
                    </a:lnTo>
                    <a:lnTo>
                      <a:pt x="730" y="80"/>
                    </a:lnTo>
                    <a:lnTo>
                      <a:pt x="730" y="78"/>
                    </a:lnTo>
                    <a:lnTo>
                      <a:pt x="730" y="76"/>
                    </a:lnTo>
                    <a:lnTo>
                      <a:pt x="731" y="76"/>
                    </a:lnTo>
                    <a:lnTo>
                      <a:pt x="731" y="75"/>
                    </a:lnTo>
                    <a:lnTo>
                      <a:pt x="731" y="73"/>
                    </a:lnTo>
                    <a:lnTo>
                      <a:pt x="731" y="71"/>
                    </a:lnTo>
                    <a:lnTo>
                      <a:pt x="733" y="71"/>
                    </a:lnTo>
                    <a:lnTo>
                      <a:pt x="733" y="69"/>
                    </a:lnTo>
                    <a:lnTo>
                      <a:pt x="733" y="68"/>
                    </a:lnTo>
                    <a:lnTo>
                      <a:pt x="735" y="68"/>
                    </a:lnTo>
                    <a:lnTo>
                      <a:pt x="737" y="68"/>
                    </a:lnTo>
                    <a:lnTo>
                      <a:pt x="737" y="66"/>
                    </a:lnTo>
                    <a:lnTo>
                      <a:pt x="737" y="64"/>
                    </a:lnTo>
                    <a:lnTo>
                      <a:pt x="738" y="64"/>
                    </a:lnTo>
                    <a:lnTo>
                      <a:pt x="738" y="63"/>
                    </a:lnTo>
                    <a:lnTo>
                      <a:pt x="738" y="61"/>
                    </a:lnTo>
                    <a:lnTo>
                      <a:pt x="740" y="61"/>
                    </a:lnTo>
                    <a:lnTo>
                      <a:pt x="740" y="59"/>
                    </a:lnTo>
                    <a:lnTo>
                      <a:pt x="742" y="59"/>
                    </a:lnTo>
                    <a:lnTo>
                      <a:pt x="742" y="58"/>
                    </a:lnTo>
                    <a:lnTo>
                      <a:pt x="742" y="56"/>
                    </a:lnTo>
                    <a:lnTo>
                      <a:pt x="743" y="56"/>
                    </a:lnTo>
                    <a:lnTo>
                      <a:pt x="743" y="54"/>
                    </a:lnTo>
                    <a:lnTo>
                      <a:pt x="743" y="52"/>
                    </a:lnTo>
                    <a:lnTo>
                      <a:pt x="745" y="52"/>
                    </a:lnTo>
                    <a:lnTo>
                      <a:pt x="745" y="51"/>
                    </a:lnTo>
                    <a:lnTo>
                      <a:pt x="747" y="49"/>
                    </a:lnTo>
                    <a:lnTo>
                      <a:pt x="748" y="47"/>
                    </a:lnTo>
                    <a:lnTo>
                      <a:pt x="750" y="47"/>
                    </a:lnTo>
                    <a:lnTo>
                      <a:pt x="750" y="46"/>
                    </a:lnTo>
                    <a:lnTo>
                      <a:pt x="750" y="44"/>
                    </a:lnTo>
                    <a:lnTo>
                      <a:pt x="752" y="42"/>
                    </a:lnTo>
                    <a:lnTo>
                      <a:pt x="754" y="42"/>
                    </a:lnTo>
                    <a:lnTo>
                      <a:pt x="754" y="41"/>
                    </a:lnTo>
                    <a:lnTo>
                      <a:pt x="755" y="41"/>
                    </a:lnTo>
                    <a:lnTo>
                      <a:pt x="755" y="39"/>
                    </a:lnTo>
                    <a:lnTo>
                      <a:pt x="755" y="37"/>
                    </a:lnTo>
                    <a:lnTo>
                      <a:pt x="757" y="37"/>
                    </a:lnTo>
                    <a:lnTo>
                      <a:pt x="755" y="35"/>
                    </a:lnTo>
                    <a:lnTo>
                      <a:pt x="757" y="35"/>
                    </a:lnTo>
                    <a:lnTo>
                      <a:pt x="757" y="34"/>
                    </a:lnTo>
                    <a:lnTo>
                      <a:pt x="757" y="35"/>
                    </a:lnTo>
                    <a:lnTo>
                      <a:pt x="759" y="37"/>
                    </a:lnTo>
                    <a:lnTo>
                      <a:pt x="759" y="39"/>
                    </a:lnTo>
                    <a:lnTo>
                      <a:pt x="759" y="41"/>
                    </a:lnTo>
                    <a:lnTo>
                      <a:pt x="760" y="41"/>
                    </a:lnTo>
                    <a:lnTo>
                      <a:pt x="760" y="42"/>
                    </a:lnTo>
                    <a:lnTo>
                      <a:pt x="760" y="44"/>
                    </a:lnTo>
                    <a:lnTo>
                      <a:pt x="762" y="44"/>
                    </a:lnTo>
                    <a:lnTo>
                      <a:pt x="760" y="44"/>
                    </a:lnTo>
                    <a:lnTo>
                      <a:pt x="760" y="42"/>
                    </a:lnTo>
                    <a:lnTo>
                      <a:pt x="760" y="41"/>
                    </a:lnTo>
                    <a:lnTo>
                      <a:pt x="760" y="39"/>
                    </a:lnTo>
                    <a:lnTo>
                      <a:pt x="759" y="39"/>
                    </a:lnTo>
                    <a:lnTo>
                      <a:pt x="759" y="37"/>
                    </a:lnTo>
                    <a:lnTo>
                      <a:pt x="759" y="35"/>
                    </a:lnTo>
                    <a:lnTo>
                      <a:pt x="759" y="34"/>
                    </a:lnTo>
                    <a:lnTo>
                      <a:pt x="757" y="34"/>
                    </a:lnTo>
                    <a:lnTo>
                      <a:pt x="757" y="32"/>
                    </a:lnTo>
                    <a:lnTo>
                      <a:pt x="757" y="30"/>
                    </a:lnTo>
                    <a:lnTo>
                      <a:pt x="757" y="29"/>
                    </a:lnTo>
                    <a:lnTo>
                      <a:pt x="759" y="29"/>
                    </a:lnTo>
                    <a:lnTo>
                      <a:pt x="759" y="27"/>
                    </a:lnTo>
                    <a:lnTo>
                      <a:pt x="760" y="29"/>
                    </a:lnTo>
                    <a:lnTo>
                      <a:pt x="762" y="29"/>
                    </a:lnTo>
                    <a:lnTo>
                      <a:pt x="762" y="30"/>
                    </a:lnTo>
                    <a:lnTo>
                      <a:pt x="764" y="30"/>
                    </a:lnTo>
                    <a:lnTo>
                      <a:pt x="764" y="32"/>
                    </a:lnTo>
                    <a:lnTo>
                      <a:pt x="765" y="32"/>
                    </a:lnTo>
                    <a:lnTo>
                      <a:pt x="765" y="34"/>
                    </a:lnTo>
                    <a:lnTo>
                      <a:pt x="767" y="34"/>
                    </a:lnTo>
                    <a:lnTo>
                      <a:pt x="767" y="35"/>
                    </a:lnTo>
                    <a:lnTo>
                      <a:pt x="769" y="37"/>
                    </a:lnTo>
                    <a:lnTo>
                      <a:pt x="769" y="39"/>
                    </a:lnTo>
                    <a:lnTo>
                      <a:pt x="771" y="39"/>
                    </a:lnTo>
                    <a:lnTo>
                      <a:pt x="771" y="41"/>
                    </a:lnTo>
                    <a:lnTo>
                      <a:pt x="771" y="42"/>
                    </a:lnTo>
                    <a:lnTo>
                      <a:pt x="771" y="44"/>
                    </a:lnTo>
                    <a:lnTo>
                      <a:pt x="771" y="46"/>
                    </a:lnTo>
                    <a:lnTo>
                      <a:pt x="771" y="47"/>
                    </a:lnTo>
                    <a:lnTo>
                      <a:pt x="771" y="49"/>
                    </a:lnTo>
                    <a:lnTo>
                      <a:pt x="771" y="51"/>
                    </a:lnTo>
                    <a:lnTo>
                      <a:pt x="771" y="52"/>
                    </a:lnTo>
                    <a:lnTo>
                      <a:pt x="769" y="54"/>
                    </a:lnTo>
                    <a:lnTo>
                      <a:pt x="771" y="52"/>
                    </a:lnTo>
                    <a:lnTo>
                      <a:pt x="771" y="51"/>
                    </a:lnTo>
                    <a:lnTo>
                      <a:pt x="771" y="49"/>
                    </a:lnTo>
                    <a:lnTo>
                      <a:pt x="771" y="47"/>
                    </a:lnTo>
                    <a:lnTo>
                      <a:pt x="772" y="47"/>
                    </a:lnTo>
                    <a:lnTo>
                      <a:pt x="772" y="46"/>
                    </a:lnTo>
                    <a:lnTo>
                      <a:pt x="774" y="46"/>
                    </a:lnTo>
                    <a:lnTo>
                      <a:pt x="774" y="47"/>
                    </a:lnTo>
                    <a:lnTo>
                      <a:pt x="774" y="49"/>
                    </a:lnTo>
                    <a:lnTo>
                      <a:pt x="774" y="51"/>
                    </a:lnTo>
                    <a:lnTo>
                      <a:pt x="774" y="52"/>
                    </a:lnTo>
                    <a:lnTo>
                      <a:pt x="774" y="54"/>
                    </a:lnTo>
                    <a:lnTo>
                      <a:pt x="774" y="56"/>
                    </a:lnTo>
                    <a:lnTo>
                      <a:pt x="774" y="58"/>
                    </a:lnTo>
                    <a:lnTo>
                      <a:pt x="774" y="59"/>
                    </a:lnTo>
                    <a:lnTo>
                      <a:pt x="774" y="61"/>
                    </a:lnTo>
                    <a:lnTo>
                      <a:pt x="772" y="61"/>
                    </a:lnTo>
                    <a:lnTo>
                      <a:pt x="774" y="63"/>
                    </a:lnTo>
                    <a:lnTo>
                      <a:pt x="774" y="64"/>
                    </a:lnTo>
                    <a:lnTo>
                      <a:pt x="774" y="66"/>
                    </a:lnTo>
                    <a:lnTo>
                      <a:pt x="774" y="68"/>
                    </a:lnTo>
                    <a:lnTo>
                      <a:pt x="776" y="68"/>
                    </a:lnTo>
                    <a:lnTo>
                      <a:pt x="776" y="69"/>
                    </a:lnTo>
                    <a:lnTo>
                      <a:pt x="776" y="71"/>
                    </a:lnTo>
                    <a:lnTo>
                      <a:pt x="776" y="73"/>
                    </a:lnTo>
                    <a:lnTo>
                      <a:pt x="776" y="75"/>
                    </a:lnTo>
                    <a:lnTo>
                      <a:pt x="776" y="76"/>
                    </a:lnTo>
                    <a:lnTo>
                      <a:pt x="777" y="76"/>
                    </a:lnTo>
                    <a:lnTo>
                      <a:pt x="777" y="78"/>
                    </a:lnTo>
                    <a:lnTo>
                      <a:pt x="777" y="80"/>
                    </a:lnTo>
                    <a:lnTo>
                      <a:pt x="779" y="81"/>
                    </a:lnTo>
                    <a:lnTo>
                      <a:pt x="777" y="81"/>
                    </a:lnTo>
                    <a:lnTo>
                      <a:pt x="779" y="83"/>
                    </a:lnTo>
                    <a:lnTo>
                      <a:pt x="779" y="85"/>
                    </a:lnTo>
                    <a:lnTo>
                      <a:pt x="781" y="85"/>
                    </a:lnTo>
                    <a:lnTo>
                      <a:pt x="781" y="86"/>
                    </a:lnTo>
                    <a:lnTo>
                      <a:pt x="781" y="88"/>
                    </a:lnTo>
                    <a:lnTo>
                      <a:pt x="782" y="88"/>
                    </a:lnTo>
                    <a:lnTo>
                      <a:pt x="782" y="90"/>
                    </a:lnTo>
                    <a:lnTo>
                      <a:pt x="782" y="92"/>
                    </a:lnTo>
                    <a:lnTo>
                      <a:pt x="782" y="93"/>
                    </a:lnTo>
                    <a:lnTo>
                      <a:pt x="781" y="93"/>
                    </a:lnTo>
                    <a:lnTo>
                      <a:pt x="782" y="93"/>
                    </a:lnTo>
                    <a:lnTo>
                      <a:pt x="784" y="93"/>
                    </a:lnTo>
                    <a:lnTo>
                      <a:pt x="784" y="95"/>
                    </a:lnTo>
                    <a:lnTo>
                      <a:pt x="784" y="97"/>
                    </a:lnTo>
                    <a:lnTo>
                      <a:pt x="784" y="98"/>
                    </a:lnTo>
                    <a:lnTo>
                      <a:pt x="786" y="98"/>
                    </a:lnTo>
                    <a:lnTo>
                      <a:pt x="786" y="100"/>
                    </a:lnTo>
                    <a:lnTo>
                      <a:pt x="786" y="102"/>
                    </a:lnTo>
                    <a:lnTo>
                      <a:pt x="786" y="103"/>
                    </a:lnTo>
                    <a:lnTo>
                      <a:pt x="788" y="103"/>
                    </a:lnTo>
                    <a:lnTo>
                      <a:pt x="788" y="105"/>
                    </a:lnTo>
                    <a:lnTo>
                      <a:pt x="786" y="105"/>
                    </a:lnTo>
                    <a:lnTo>
                      <a:pt x="786" y="107"/>
                    </a:lnTo>
                    <a:lnTo>
                      <a:pt x="784" y="107"/>
                    </a:lnTo>
                    <a:lnTo>
                      <a:pt x="786" y="107"/>
                    </a:lnTo>
                    <a:lnTo>
                      <a:pt x="788" y="105"/>
                    </a:lnTo>
                    <a:lnTo>
                      <a:pt x="788" y="107"/>
                    </a:lnTo>
                    <a:lnTo>
                      <a:pt x="789" y="107"/>
                    </a:lnTo>
                    <a:lnTo>
                      <a:pt x="791" y="109"/>
                    </a:lnTo>
                    <a:lnTo>
                      <a:pt x="789" y="109"/>
                    </a:lnTo>
                    <a:lnTo>
                      <a:pt x="789" y="110"/>
                    </a:lnTo>
                    <a:lnTo>
                      <a:pt x="791" y="110"/>
                    </a:lnTo>
                    <a:lnTo>
                      <a:pt x="791" y="112"/>
                    </a:lnTo>
                    <a:lnTo>
                      <a:pt x="793" y="112"/>
                    </a:lnTo>
                    <a:lnTo>
                      <a:pt x="793" y="114"/>
                    </a:lnTo>
                    <a:lnTo>
                      <a:pt x="794" y="115"/>
                    </a:lnTo>
                    <a:lnTo>
                      <a:pt x="794" y="117"/>
                    </a:lnTo>
                    <a:lnTo>
                      <a:pt x="796" y="117"/>
                    </a:lnTo>
                    <a:lnTo>
                      <a:pt x="798" y="117"/>
                    </a:lnTo>
                    <a:lnTo>
                      <a:pt x="799" y="117"/>
                    </a:lnTo>
                    <a:lnTo>
                      <a:pt x="801" y="117"/>
                    </a:lnTo>
                    <a:lnTo>
                      <a:pt x="803" y="117"/>
                    </a:lnTo>
                    <a:lnTo>
                      <a:pt x="805" y="117"/>
                    </a:lnTo>
                    <a:lnTo>
                      <a:pt x="806" y="117"/>
                    </a:lnTo>
                    <a:lnTo>
                      <a:pt x="808" y="117"/>
                    </a:lnTo>
                    <a:lnTo>
                      <a:pt x="810" y="119"/>
                    </a:lnTo>
                    <a:lnTo>
                      <a:pt x="811" y="119"/>
                    </a:lnTo>
                    <a:lnTo>
                      <a:pt x="813" y="120"/>
                    </a:lnTo>
                    <a:lnTo>
                      <a:pt x="813" y="122"/>
                    </a:lnTo>
                    <a:lnTo>
                      <a:pt x="813" y="124"/>
                    </a:lnTo>
                    <a:lnTo>
                      <a:pt x="813" y="126"/>
                    </a:lnTo>
                    <a:lnTo>
                      <a:pt x="813" y="127"/>
                    </a:lnTo>
                    <a:lnTo>
                      <a:pt x="815" y="127"/>
                    </a:lnTo>
                    <a:lnTo>
                      <a:pt x="815" y="129"/>
                    </a:lnTo>
                    <a:lnTo>
                      <a:pt x="815" y="131"/>
                    </a:lnTo>
                    <a:lnTo>
                      <a:pt x="815" y="132"/>
                    </a:lnTo>
                    <a:lnTo>
                      <a:pt x="813" y="134"/>
                    </a:lnTo>
                    <a:lnTo>
                      <a:pt x="813" y="136"/>
                    </a:lnTo>
                    <a:lnTo>
                      <a:pt x="811" y="136"/>
                    </a:lnTo>
                    <a:lnTo>
                      <a:pt x="810" y="136"/>
                    </a:lnTo>
                    <a:lnTo>
                      <a:pt x="808" y="136"/>
                    </a:lnTo>
                    <a:lnTo>
                      <a:pt x="806" y="136"/>
                    </a:lnTo>
                    <a:lnTo>
                      <a:pt x="806" y="137"/>
                    </a:lnTo>
                    <a:lnTo>
                      <a:pt x="806" y="136"/>
                    </a:lnTo>
                    <a:lnTo>
                      <a:pt x="806" y="134"/>
                    </a:lnTo>
                    <a:lnTo>
                      <a:pt x="806" y="132"/>
                    </a:lnTo>
                    <a:lnTo>
                      <a:pt x="805" y="132"/>
                    </a:lnTo>
                    <a:lnTo>
                      <a:pt x="803" y="132"/>
                    </a:lnTo>
                    <a:lnTo>
                      <a:pt x="801" y="132"/>
                    </a:lnTo>
                    <a:lnTo>
                      <a:pt x="801" y="134"/>
                    </a:lnTo>
                    <a:lnTo>
                      <a:pt x="803" y="132"/>
                    </a:lnTo>
                    <a:lnTo>
                      <a:pt x="805" y="132"/>
                    </a:lnTo>
                    <a:lnTo>
                      <a:pt x="806" y="132"/>
                    </a:lnTo>
                    <a:lnTo>
                      <a:pt x="806" y="134"/>
                    </a:lnTo>
                    <a:lnTo>
                      <a:pt x="805" y="136"/>
                    </a:lnTo>
                    <a:lnTo>
                      <a:pt x="805" y="137"/>
                    </a:lnTo>
                    <a:lnTo>
                      <a:pt x="806" y="137"/>
                    </a:lnTo>
                    <a:lnTo>
                      <a:pt x="808" y="137"/>
                    </a:lnTo>
                    <a:lnTo>
                      <a:pt x="810" y="137"/>
                    </a:lnTo>
                    <a:lnTo>
                      <a:pt x="811" y="137"/>
                    </a:lnTo>
                    <a:lnTo>
                      <a:pt x="811" y="136"/>
                    </a:lnTo>
                    <a:lnTo>
                      <a:pt x="813" y="136"/>
                    </a:lnTo>
                    <a:lnTo>
                      <a:pt x="813" y="137"/>
                    </a:lnTo>
                    <a:lnTo>
                      <a:pt x="815" y="137"/>
                    </a:lnTo>
                    <a:lnTo>
                      <a:pt x="815" y="139"/>
                    </a:lnTo>
                    <a:lnTo>
                      <a:pt x="813" y="139"/>
                    </a:lnTo>
                    <a:lnTo>
                      <a:pt x="813" y="141"/>
                    </a:lnTo>
                    <a:lnTo>
                      <a:pt x="811" y="141"/>
                    </a:lnTo>
                    <a:lnTo>
                      <a:pt x="810" y="143"/>
                    </a:lnTo>
                    <a:lnTo>
                      <a:pt x="808" y="143"/>
                    </a:lnTo>
                    <a:lnTo>
                      <a:pt x="808" y="144"/>
                    </a:lnTo>
                    <a:lnTo>
                      <a:pt x="806" y="144"/>
                    </a:lnTo>
                    <a:lnTo>
                      <a:pt x="806" y="146"/>
                    </a:lnTo>
                    <a:lnTo>
                      <a:pt x="805" y="146"/>
                    </a:lnTo>
                    <a:lnTo>
                      <a:pt x="805" y="148"/>
                    </a:lnTo>
                    <a:lnTo>
                      <a:pt x="803" y="148"/>
                    </a:lnTo>
                    <a:lnTo>
                      <a:pt x="801" y="148"/>
                    </a:lnTo>
                    <a:lnTo>
                      <a:pt x="801" y="149"/>
                    </a:lnTo>
                    <a:lnTo>
                      <a:pt x="799" y="149"/>
                    </a:lnTo>
                    <a:lnTo>
                      <a:pt x="799" y="151"/>
                    </a:lnTo>
                    <a:lnTo>
                      <a:pt x="799" y="153"/>
                    </a:lnTo>
                    <a:lnTo>
                      <a:pt x="798" y="153"/>
                    </a:lnTo>
                    <a:lnTo>
                      <a:pt x="798" y="154"/>
                    </a:lnTo>
                    <a:lnTo>
                      <a:pt x="796" y="154"/>
                    </a:lnTo>
                    <a:lnTo>
                      <a:pt x="794" y="156"/>
                    </a:lnTo>
                    <a:lnTo>
                      <a:pt x="794" y="158"/>
                    </a:lnTo>
                    <a:lnTo>
                      <a:pt x="793" y="158"/>
                    </a:lnTo>
                    <a:lnTo>
                      <a:pt x="793" y="160"/>
                    </a:lnTo>
                    <a:lnTo>
                      <a:pt x="793" y="161"/>
                    </a:lnTo>
                    <a:lnTo>
                      <a:pt x="791" y="161"/>
                    </a:lnTo>
                    <a:lnTo>
                      <a:pt x="791" y="163"/>
                    </a:lnTo>
                    <a:lnTo>
                      <a:pt x="791" y="165"/>
                    </a:lnTo>
                    <a:lnTo>
                      <a:pt x="789" y="165"/>
                    </a:lnTo>
                    <a:lnTo>
                      <a:pt x="789" y="166"/>
                    </a:lnTo>
                    <a:lnTo>
                      <a:pt x="788" y="166"/>
                    </a:lnTo>
                    <a:lnTo>
                      <a:pt x="788" y="168"/>
                    </a:lnTo>
                    <a:lnTo>
                      <a:pt x="786" y="168"/>
                    </a:lnTo>
                    <a:lnTo>
                      <a:pt x="786" y="170"/>
                    </a:lnTo>
                    <a:lnTo>
                      <a:pt x="784" y="170"/>
                    </a:lnTo>
                    <a:lnTo>
                      <a:pt x="784" y="172"/>
                    </a:lnTo>
                    <a:lnTo>
                      <a:pt x="782" y="172"/>
                    </a:lnTo>
                    <a:lnTo>
                      <a:pt x="781" y="172"/>
                    </a:lnTo>
                    <a:lnTo>
                      <a:pt x="779" y="172"/>
                    </a:lnTo>
                    <a:lnTo>
                      <a:pt x="779" y="173"/>
                    </a:lnTo>
                    <a:lnTo>
                      <a:pt x="777" y="173"/>
                    </a:lnTo>
                    <a:lnTo>
                      <a:pt x="776" y="175"/>
                    </a:lnTo>
                    <a:lnTo>
                      <a:pt x="776" y="177"/>
                    </a:lnTo>
                    <a:lnTo>
                      <a:pt x="774" y="177"/>
                    </a:lnTo>
                    <a:lnTo>
                      <a:pt x="774" y="178"/>
                    </a:lnTo>
                    <a:lnTo>
                      <a:pt x="774" y="180"/>
                    </a:lnTo>
                    <a:lnTo>
                      <a:pt x="777" y="182"/>
                    </a:lnTo>
                    <a:lnTo>
                      <a:pt x="777" y="180"/>
                    </a:lnTo>
                    <a:lnTo>
                      <a:pt x="779" y="180"/>
                    </a:lnTo>
                    <a:lnTo>
                      <a:pt x="781" y="180"/>
                    </a:lnTo>
                    <a:lnTo>
                      <a:pt x="782" y="180"/>
                    </a:lnTo>
                    <a:lnTo>
                      <a:pt x="782" y="178"/>
                    </a:lnTo>
                    <a:lnTo>
                      <a:pt x="784" y="178"/>
                    </a:lnTo>
                    <a:lnTo>
                      <a:pt x="786" y="178"/>
                    </a:lnTo>
                    <a:lnTo>
                      <a:pt x="788" y="178"/>
                    </a:lnTo>
                    <a:lnTo>
                      <a:pt x="788" y="180"/>
                    </a:lnTo>
                    <a:lnTo>
                      <a:pt x="789" y="180"/>
                    </a:lnTo>
                    <a:lnTo>
                      <a:pt x="789" y="182"/>
                    </a:lnTo>
                    <a:lnTo>
                      <a:pt x="788" y="182"/>
                    </a:lnTo>
                    <a:lnTo>
                      <a:pt x="788" y="183"/>
                    </a:lnTo>
                    <a:lnTo>
                      <a:pt x="786" y="183"/>
                    </a:lnTo>
                    <a:lnTo>
                      <a:pt x="784" y="185"/>
                    </a:lnTo>
                    <a:lnTo>
                      <a:pt x="782" y="185"/>
                    </a:lnTo>
                    <a:lnTo>
                      <a:pt x="782" y="187"/>
                    </a:lnTo>
                    <a:lnTo>
                      <a:pt x="781" y="187"/>
                    </a:lnTo>
                    <a:lnTo>
                      <a:pt x="779" y="189"/>
                    </a:lnTo>
                    <a:lnTo>
                      <a:pt x="777" y="190"/>
                    </a:lnTo>
                    <a:lnTo>
                      <a:pt x="776" y="190"/>
                    </a:lnTo>
                    <a:lnTo>
                      <a:pt x="777" y="192"/>
                    </a:lnTo>
                    <a:lnTo>
                      <a:pt x="777" y="190"/>
                    </a:lnTo>
                    <a:lnTo>
                      <a:pt x="779" y="190"/>
                    </a:lnTo>
                    <a:lnTo>
                      <a:pt x="781" y="190"/>
                    </a:lnTo>
                    <a:lnTo>
                      <a:pt x="782" y="190"/>
                    </a:lnTo>
                    <a:lnTo>
                      <a:pt x="782" y="192"/>
                    </a:lnTo>
                    <a:lnTo>
                      <a:pt x="782" y="190"/>
                    </a:lnTo>
                    <a:lnTo>
                      <a:pt x="784" y="190"/>
                    </a:lnTo>
                    <a:lnTo>
                      <a:pt x="784" y="192"/>
                    </a:lnTo>
                    <a:lnTo>
                      <a:pt x="784" y="194"/>
                    </a:lnTo>
                    <a:lnTo>
                      <a:pt x="782" y="194"/>
                    </a:lnTo>
                    <a:lnTo>
                      <a:pt x="782" y="195"/>
                    </a:lnTo>
                    <a:lnTo>
                      <a:pt x="781" y="195"/>
                    </a:lnTo>
                    <a:lnTo>
                      <a:pt x="779" y="195"/>
                    </a:lnTo>
                    <a:lnTo>
                      <a:pt x="779" y="197"/>
                    </a:lnTo>
                    <a:lnTo>
                      <a:pt x="777" y="197"/>
                    </a:lnTo>
                    <a:lnTo>
                      <a:pt x="776" y="197"/>
                    </a:lnTo>
                    <a:lnTo>
                      <a:pt x="776" y="199"/>
                    </a:lnTo>
                    <a:lnTo>
                      <a:pt x="776" y="200"/>
                    </a:lnTo>
                    <a:lnTo>
                      <a:pt x="774" y="200"/>
                    </a:lnTo>
                    <a:lnTo>
                      <a:pt x="776" y="200"/>
                    </a:lnTo>
                    <a:lnTo>
                      <a:pt x="777" y="199"/>
                    </a:lnTo>
                    <a:lnTo>
                      <a:pt x="779" y="197"/>
                    </a:lnTo>
                    <a:lnTo>
                      <a:pt x="781" y="197"/>
                    </a:lnTo>
                    <a:lnTo>
                      <a:pt x="782" y="197"/>
                    </a:lnTo>
                    <a:lnTo>
                      <a:pt x="782" y="199"/>
                    </a:lnTo>
                    <a:lnTo>
                      <a:pt x="782" y="200"/>
                    </a:lnTo>
                    <a:lnTo>
                      <a:pt x="782" y="202"/>
                    </a:lnTo>
                    <a:lnTo>
                      <a:pt x="782" y="204"/>
                    </a:lnTo>
                    <a:lnTo>
                      <a:pt x="784" y="204"/>
                    </a:lnTo>
                    <a:lnTo>
                      <a:pt x="784" y="202"/>
                    </a:lnTo>
                    <a:lnTo>
                      <a:pt x="784" y="200"/>
                    </a:lnTo>
                    <a:lnTo>
                      <a:pt x="784" y="199"/>
                    </a:lnTo>
                    <a:lnTo>
                      <a:pt x="784" y="197"/>
                    </a:lnTo>
                    <a:lnTo>
                      <a:pt x="786" y="197"/>
                    </a:lnTo>
                    <a:lnTo>
                      <a:pt x="786" y="195"/>
                    </a:lnTo>
                    <a:lnTo>
                      <a:pt x="786" y="194"/>
                    </a:lnTo>
                    <a:lnTo>
                      <a:pt x="786" y="192"/>
                    </a:lnTo>
                    <a:lnTo>
                      <a:pt x="786" y="190"/>
                    </a:lnTo>
                    <a:lnTo>
                      <a:pt x="788" y="190"/>
                    </a:lnTo>
                    <a:lnTo>
                      <a:pt x="788" y="189"/>
                    </a:lnTo>
                    <a:lnTo>
                      <a:pt x="788" y="187"/>
                    </a:lnTo>
                    <a:lnTo>
                      <a:pt x="789" y="187"/>
                    </a:lnTo>
                    <a:lnTo>
                      <a:pt x="789" y="185"/>
                    </a:lnTo>
                    <a:lnTo>
                      <a:pt x="791" y="185"/>
                    </a:lnTo>
                    <a:lnTo>
                      <a:pt x="791" y="183"/>
                    </a:lnTo>
                    <a:lnTo>
                      <a:pt x="793" y="183"/>
                    </a:lnTo>
                    <a:lnTo>
                      <a:pt x="794" y="183"/>
                    </a:lnTo>
                    <a:lnTo>
                      <a:pt x="794" y="182"/>
                    </a:lnTo>
                    <a:lnTo>
                      <a:pt x="796" y="182"/>
                    </a:lnTo>
                    <a:lnTo>
                      <a:pt x="798" y="182"/>
                    </a:lnTo>
                    <a:lnTo>
                      <a:pt x="799" y="182"/>
                    </a:lnTo>
                    <a:lnTo>
                      <a:pt x="801" y="182"/>
                    </a:lnTo>
                    <a:lnTo>
                      <a:pt x="803" y="182"/>
                    </a:lnTo>
                    <a:lnTo>
                      <a:pt x="805" y="182"/>
                    </a:lnTo>
                    <a:lnTo>
                      <a:pt x="806" y="182"/>
                    </a:lnTo>
                    <a:lnTo>
                      <a:pt x="806" y="183"/>
                    </a:lnTo>
                    <a:lnTo>
                      <a:pt x="808" y="183"/>
                    </a:lnTo>
                    <a:lnTo>
                      <a:pt x="810" y="183"/>
                    </a:lnTo>
                    <a:lnTo>
                      <a:pt x="811" y="183"/>
                    </a:lnTo>
                    <a:lnTo>
                      <a:pt x="813" y="183"/>
                    </a:lnTo>
                    <a:lnTo>
                      <a:pt x="815" y="183"/>
                    </a:lnTo>
                    <a:lnTo>
                      <a:pt x="815" y="185"/>
                    </a:lnTo>
                    <a:lnTo>
                      <a:pt x="816" y="185"/>
                    </a:lnTo>
                    <a:lnTo>
                      <a:pt x="818" y="185"/>
                    </a:lnTo>
                    <a:lnTo>
                      <a:pt x="820" y="185"/>
                    </a:lnTo>
                    <a:lnTo>
                      <a:pt x="822" y="185"/>
                    </a:lnTo>
                    <a:lnTo>
                      <a:pt x="823" y="187"/>
                    </a:lnTo>
                    <a:lnTo>
                      <a:pt x="823" y="185"/>
                    </a:lnTo>
                    <a:lnTo>
                      <a:pt x="825" y="185"/>
                    </a:lnTo>
                    <a:lnTo>
                      <a:pt x="827" y="185"/>
                    </a:lnTo>
                    <a:lnTo>
                      <a:pt x="828" y="185"/>
                    </a:lnTo>
                    <a:lnTo>
                      <a:pt x="830" y="185"/>
                    </a:lnTo>
                    <a:lnTo>
                      <a:pt x="830" y="183"/>
                    </a:lnTo>
                    <a:lnTo>
                      <a:pt x="832" y="183"/>
                    </a:lnTo>
                    <a:lnTo>
                      <a:pt x="833" y="183"/>
                    </a:lnTo>
                    <a:lnTo>
                      <a:pt x="835" y="183"/>
                    </a:lnTo>
                    <a:lnTo>
                      <a:pt x="837" y="183"/>
                    </a:lnTo>
                    <a:lnTo>
                      <a:pt x="837" y="182"/>
                    </a:lnTo>
                    <a:lnTo>
                      <a:pt x="839" y="183"/>
                    </a:lnTo>
                    <a:lnTo>
                      <a:pt x="840" y="183"/>
                    </a:lnTo>
                    <a:lnTo>
                      <a:pt x="842" y="183"/>
                    </a:lnTo>
                    <a:lnTo>
                      <a:pt x="844" y="183"/>
                    </a:lnTo>
                    <a:lnTo>
                      <a:pt x="845" y="185"/>
                    </a:lnTo>
                    <a:lnTo>
                      <a:pt x="847" y="185"/>
                    </a:lnTo>
                    <a:lnTo>
                      <a:pt x="849" y="185"/>
                    </a:lnTo>
                    <a:lnTo>
                      <a:pt x="850" y="185"/>
                    </a:lnTo>
                    <a:lnTo>
                      <a:pt x="852" y="185"/>
                    </a:lnTo>
                    <a:lnTo>
                      <a:pt x="852" y="187"/>
                    </a:lnTo>
                    <a:lnTo>
                      <a:pt x="854" y="187"/>
                    </a:lnTo>
                    <a:lnTo>
                      <a:pt x="856" y="187"/>
                    </a:lnTo>
                    <a:lnTo>
                      <a:pt x="856" y="185"/>
                    </a:lnTo>
                    <a:lnTo>
                      <a:pt x="857" y="185"/>
                    </a:lnTo>
                    <a:lnTo>
                      <a:pt x="859" y="185"/>
                    </a:lnTo>
                    <a:lnTo>
                      <a:pt x="861" y="185"/>
                    </a:lnTo>
                    <a:lnTo>
                      <a:pt x="861" y="187"/>
                    </a:lnTo>
                    <a:lnTo>
                      <a:pt x="861" y="185"/>
                    </a:lnTo>
                    <a:lnTo>
                      <a:pt x="862" y="185"/>
                    </a:lnTo>
                    <a:lnTo>
                      <a:pt x="864" y="187"/>
                    </a:lnTo>
                    <a:lnTo>
                      <a:pt x="866" y="187"/>
                    </a:lnTo>
                    <a:lnTo>
                      <a:pt x="866" y="189"/>
                    </a:lnTo>
                    <a:lnTo>
                      <a:pt x="864" y="189"/>
                    </a:lnTo>
                    <a:lnTo>
                      <a:pt x="864" y="190"/>
                    </a:lnTo>
                    <a:lnTo>
                      <a:pt x="864" y="192"/>
                    </a:lnTo>
                    <a:lnTo>
                      <a:pt x="862" y="192"/>
                    </a:lnTo>
                    <a:lnTo>
                      <a:pt x="862" y="194"/>
                    </a:lnTo>
                    <a:lnTo>
                      <a:pt x="862" y="195"/>
                    </a:lnTo>
                    <a:lnTo>
                      <a:pt x="862" y="197"/>
                    </a:lnTo>
                    <a:lnTo>
                      <a:pt x="862" y="199"/>
                    </a:lnTo>
                    <a:lnTo>
                      <a:pt x="861" y="199"/>
                    </a:lnTo>
                    <a:lnTo>
                      <a:pt x="862" y="199"/>
                    </a:lnTo>
                    <a:lnTo>
                      <a:pt x="861" y="200"/>
                    </a:lnTo>
                    <a:lnTo>
                      <a:pt x="862" y="200"/>
                    </a:lnTo>
                    <a:lnTo>
                      <a:pt x="861" y="200"/>
                    </a:lnTo>
                    <a:lnTo>
                      <a:pt x="861" y="202"/>
                    </a:lnTo>
                    <a:lnTo>
                      <a:pt x="861" y="204"/>
                    </a:lnTo>
                    <a:lnTo>
                      <a:pt x="861" y="206"/>
                    </a:lnTo>
                    <a:lnTo>
                      <a:pt x="861" y="207"/>
                    </a:lnTo>
                    <a:lnTo>
                      <a:pt x="861" y="209"/>
                    </a:lnTo>
                    <a:lnTo>
                      <a:pt x="859" y="209"/>
                    </a:lnTo>
                    <a:lnTo>
                      <a:pt x="857" y="211"/>
                    </a:lnTo>
                    <a:lnTo>
                      <a:pt x="856" y="212"/>
                    </a:lnTo>
                    <a:lnTo>
                      <a:pt x="857" y="212"/>
                    </a:lnTo>
                    <a:lnTo>
                      <a:pt x="857" y="214"/>
                    </a:lnTo>
                    <a:lnTo>
                      <a:pt x="856" y="214"/>
                    </a:lnTo>
                    <a:lnTo>
                      <a:pt x="856" y="216"/>
                    </a:lnTo>
                    <a:lnTo>
                      <a:pt x="854" y="216"/>
                    </a:lnTo>
                    <a:lnTo>
                      <a:pt x="854" y="217"/>
                    </a:lnTo>
                    <a:lnTo>
                      <a:pt x="852" y="217"/>
                    </a:lnTo>
                    <a:lnTo>
                      <a:pt x="852" y="219"/>
                    </a:lnTo>
                    <a:lnTo>
                      <a:pt x="852" y="221"/>
                    </a:lnTo>
                    <a:lnTo>
                      <a:pt x="850" y="221"/>
                    </a:lnTo>
                    <a:lnTo>
                      <a:pt x="850" y="223"/>
                    </a:lnTo>
                    <a:lnTo>
                      <a:pt x="850" y="224"/>
                    </a:lnTo>
                    <a:lnTo>
                      <a:pt x="850" y="226"/>
                    </a:lnTo>
                    <a:lnTo>
                      <a:pt x="850" y="228"/>
                    </a:lnTo>
                    <a:lnTo>
                      <a:pt x="849" y="228"/>
                    </a:lnTo>
                    <a:lnTo>
                      <a:pt x="847" y="228"/>
                    </a:lnTo>
                    <a:lnTo>
                      <a:pt x="847" y="229"/>
                    </a:lnTo>
                    <a:lnTo>
                      <a:pt x="847" y="231"/>
                    </a:lnTo>
                    <a:lnTo>
                      <a:pt x="847" y="233"/>
                    </a:lnTo>
                    <a:lnTo>
                      <a:pt x="847" y="234"/>
                    </a:lnTo>
                    <a:lnTo>
                      <a:pt x="845" y="234"/>
                    </a:lnTo>
                    <a:lnTo>
                      <a:pt x="845" y="236"/>
                    </a:lnTo>
                    <a:lnTo>
                      <a:pt x="847" y="236"/>
                    </a:lnTo>
                    <a:lnTo>
                      <a:pt x="845" y="238"/>
                    </a:lnTo>
                    <a:lnTo>
                      <a:pt x="844" y="238"/>
                    </a:lnTo>
                    <a:lnTo>
                      <a:pt x="844" y="240"/>
                    </a:lnTo>
                    <a:lnTo>
                      <a:pt x="842" y="241"/>
                    </a:lnTo>
                    <a:lnTo>
                      <a:pt x="842" y="240"/>
                    </a:lnTo>
                    <a:lnTo>
                      <a:pt x="842" y="241"/>
                    </a:lnTo>
                    <a:lnTo>
                      <a:pt x="844" y="240"/>
                    </a:lnTo>
                    <a:lnTo>
                      <a:pt x="845" y="240"/>
                    </a:lnTo>
                    <a:lnTo>
                      <a:pt x="845" y="238"/>
                    </a:lnTo>
                    <a:lnTo>
                      <a:pt x="847" y="238"/>
                    </a:lnTo>
                    <a:lnTo>
                      <a:pt x="847" y="236"/>
                    </a:lnTo>
                    <a:lnTo>
                      <a:pt x="849" y="236"/>
                    </a:lnTo>
                    <a:lnTo>
                      <a:pt x="849" y="234"/>
                    </a:lnTo>
                    <a:lnTo>
                      <a:pt x="849" y="233"/>
                    </a:lnTo>
                    <a:lnTo>
                      <a:pt x="850" y="233"/>
                    </a:lnTo>
                    <a:lnTo>
                      <a:pt x="850" y="231"/>
                    </a:lnTo>
                    <a:lnTo>
                      <a:pt x="852" y="231"/>
                    </a:lnTo>
                    <a:lnTo>
                      <a:pt x="852" y="229"/>
                    </a:lnTo>
                    <a:lnTo>
                      <a:pt x="854" y="229"/>
                    </a:lnTo>
                    <a:lnTo>
                      <a:pt x="854" y="228"/>
                    </a:lnTo>
                    <a:lnTo>
                      <a:pt x="854" y="226"/>
                    </a:lnTo>
                    <a:lnTo>
                      <a:pt x="856" y="226"/>
                    </a:lnTo>
                    <a:lnTo>
                      <a:pt x="856" y="224"/>
                    </a:lnTo>
                    <a:lnTo>
                      <a:pt x="857" y="224"/>
                    </a:lnTo>
                    <a:lnTo>
                      <a:pt x="857" y="223"/>
                    </a:lnTo>
                    <a:lnTo>
                      <a:pt x="859" y="223"/>
                    </a:lnTo>
                    <a:lnTo>
                      <a:pt x="859" y="224"/>
                    </a:lnTo>
                    <a:lnTo>
                      <a:pt x="861" y="224"/>
                    </a:lnTo>
                    <a:lnTo>
                      <a:pt x="861" y="226"/>
                    </a:lnTo>
                    <a:lnTo>
                      <a:pt x="859" y="226"/>
                    </a:lnTo>
                    <a:lnTo>
                      <a:pt x="859" y="228"/>
                    </a:lnTo>
                    <a:lnTo>
                      <a:pt x="861" y="228"/>
                    </a:lnTo>
                    <a:lnTo>
                      <a:pt x="861" y="229"/>
                    </a:lnTo>
                    <a:lnTo>
                      <a:pt x="861" y="228"/>
                    </a:lnTo>
                    <a:lnTo>
                      <a:pt x="862" y="228"/>
                    </a:lnTo>
                    <a:lnTo>
                      <a:pt x="864" y="228"/>
                    </a:lnTo>
                    <a:lnTo>
                      <a:pt x="862" y="228"/>
                    </a:lnTo>
                    <a:lnTo>
                      <a:pt x="861" y="228"/>
                    </a:lnTo>
                    <a:lnTo>
                      <a:pt x="861" y="226"/>
                    </a:lnTo>
                    <a:lnTo>
                      <a:pt x="861" y="224"/>
                    </a:lnTo>
                    <a:lnTo>
                      <a:pt x="862" y="224"/>
                    </a:lnTo>
                    <a:lnTo>
                      <a:pt x="861" y="223"/>
                    </a:lnTo>
                    <a:lnTo>
                      <a:pt x="861" y="221"/>
                    </a:lnTo>
                    <a:lnTo>
                      <a:pt x="862" y="221"/>
                    </a:lnTo>
                    <a:lnTo>
                      <a:pt x="862" y="219"/>
                    </a:lnTo>
                    <a:lnTo>
                      <a:pt x="864" y="219"/>
                    </a:lnTo>
                    <a:lnTo>
                      <a:pt x="862" y="217"/>
                    </a:lnTo>
                    <a:lnTo>
                      <a:pt x="862" y="216"/>
                    </a:lnTo>
                    <a:lnTo>
                      <a:pt x="864" y="216"/>
                    </a:lnTo>
                    <a:lnTo>
                      <a:pt x="864" y="214"/>
                    </a:lnTo>
                    <a:lnTo>
                      <a:pt x="864" y="216"/>
                    </a:lnTo>
                    <a:lnTo>
                      <a:pt x="864" y="214"/>
                    </a:lnTo>
                    <a:lnTo>
                      <a:pt x="866" y="214"/>
                    </a:lnTo>
                    <a:lnTo>
                      <a:pt x="867" y="214"/>
                    </a:lnTo>
                    <a:lnTo>
                      <a:pt x="866" y="214"/>
                    </a:lnTo>
                    <a:lnTo>
                      <a:pt x="867" y="216"/>
                    </a:lnTo>
                    <a:lnTo>
                      <a:pt x="867" y="214"/>
                    </a:lnTo>
                    <a:lnTo>
                      <a:pt x="867" y="212"/>
                    </a:lnTo>
                    <a:lnTo>
                      <a:pt x="867" y="211"/>
                    </a:lnTo>
                    <a:lnTo>
                      <a:pt x="867" y="209"/>
                    </a:lnTo>
                    <a:lnTo>
                      <a:pt x="869" y="209"/>
                    </a:lnTo>
                    <a:lnTo>
                      <a:pt x="869" y="207"/>
                    </a:lnTo>
                    <a:lnTo>
                      <a:pt x="871" y="206"/>
                    </a:lnTo>
                    <a:lnTo>
                      <a:pt x="873" y="206"/>
                    </a:lnTo>
                    <a:lnTo>
                      <a:pt x="873" y="207"/>
                    </a:lnTo>
                    <a:lnTo>
                      <a:pt x="873" y="206"/>
                    </a:lnTo>
                    <a:lnTo>
                      <a:pt x="873" y="204"/>
                    </a:lnTo>
                    <a:lnTo>
                      <a:pt x="874" y="204"/>
                    </a:lnTo>
                    <a:lnTo>
                      <a:pt x="874" y="202"/>
                    </a:lnTo>
                    <a:lnTo>
                      <a:pt x="876" y="200"/>
                    </a:lnTo>
                    <a:lnTo>
                      <a:pt x="878" y="200"/>
                    </a:lnTo>
                    <a:lnTo>
                      <a:pt x="878" y="202"/>
                    </a:lnTo>
                    <a:lnTo>
                      <a:pt x="878" y="200"/>
                    </a:lnTo>
                    <a:lnTo>
                      <a:pt x="878" y="202"/>
                    </a:lnTo>
                    <a:lnTo>
                      <a:pt x="878" y="200"/>
                    </a:lnTo>
                    <a:lnTo>
                      <a:pt x="879" y="202"/>
                    </a:lnTo>
                    <a:lnTo>
                      <a:pt x="879" y="204"/>
                    </a:lnTo>
                    <a:lnTo>
                      <a:pt x="879" y="202"/>
                    </a:lnTo>
                    <a:lnTo>
                      <a:pt x="879" y="200"/>
                    </a:lnTo>
                    <a:lnTo>
                      <a:pt x="879" y="199"/>
                    </a:lnTo>
                    <a:lnTo>
                      <a:pt x="881" y="199"/>
                    </a:lnTo>
                    <a:lnTo>
                      <a:pt x="881" y="197"/>
                    </a:lnTo>
                    <a:lnTo>
                      <a:pt x="883" y="197"/>
                    </a:lnTo>
                    <a:lnTo>
                      <a:pt x="883" y="199"/>
                    </a:lnTo>
                    <a:lnTo>
                      <a:pt x="883" y="200"/>
                    </a:lnTo>
                    <a:lnTo>
                      <a:pt x="883" y="202"/>
                    </a:lnTo>
                    <a:lnTo>
                      <a:pt x="883" y="200"/>
                    </a:lnTo>
                    <a:lnTo>
                      <a:pt x="884" y="200"/>
                    </a:lnTo>
                    <a:lnTo>
                      <a:pt x="884" y="199"/>
                    </a:lnTo>
                    <a:lnTo>
                      <a:pt x="883" y="199"/>
                    </a:lnTo>
                    <a:lnTo>
                      <a:pt x="884" y="199"/>
                    </a:lnTo>
                    <a:lnTo>
                      <a:pt x="884" y="197"/>
                    </a:lnTo>
                    <a:lnTo>
                      <a:pt x="884" y="199"/>
                    </a:lnTo>
                    <a:lnTo>
                      <a:pt x="884" y="197"/>
                    </a:lnTo>
                    <a:lnTo>
                      <a:pt x="884" y="199"/>
                    </a:lnTo>
                    <a:lnTo>
                      <a:pt x="886" y="199"/>
                    </a:lnTo>
                    <a:lnTo>
                      <a:pt x="884" y="199"/>
                    </a:lnTo>
                    <a:lnTo>
                      <a:pt x="886" y="199"/>
                    </a:lnTo>
                    <a:lnTo>
                      <a:pt x="888" y="200"/>
                    </a:lnTo>
                    <a:lnTo>
                      <a:pt x="888" y="199"/>
                    </a:lnTo>
                    <a:lnTo>
                      <a:pt x="886" y="199"/>
                    </a:lnTo>
                    <a:lnTo>
                      <a:pt x="886" y="197"/>
                    </a:lnTo>
                    <a:lnTo>
                      <a:pt x="886" y="195"/>
                    </a:lnTo>
                    <a:lnTo>
                      <a:pt x="888" y="195"/>
                    </a:lnTo>
                    <a:lnTo>
                      <a:pt x="888" y="197"/>
                    </a:lnTo>
                    <a:lnTo>
                      <a:pt x="888" y="199"/>
                    </a:lnTo>
                    <a:lnTo>
                      <a:pt x="888" y="197"/>
                    </a:lnTo>
                    <a:lnTo>
                      <a:pt x="890" y="197"/>
                    </a:lnTo>
                    <a:lnTo>
                      <a:pt x="890" y="199"/>
                    </a:lnTo>
                    <a:lnTo>
                      <a:pt x="890" y="200"/>
                    </a:lnTo>
                    <a:lnTo>
                      <a:pt x="890" y="202"/>
                    </a:lnTo>
                    <a:lnTo>
                      <a:pt x="890" y="200"/>
                    </a:lnTo>
                    <a:lnTo>
                      <a:pt x="890" y="202"/>
                    </a:lnTo>
                    <a:lnTo>
                      <a:pt x="888" y="202"/>
                    </a:lnTo>
                    <a:lnTo>
                      <a:pt x="886" y="202"/>
                    </a:lnTo>
                    <a:lnTo>
                      <a:pt x="886" y="204"/>
                    </a:lnTo>
                    <a:lnTo>
                      <a:pt x="888" y="204"/>
                    </a:lnTo>
                    <a:lnTo>
                      <a:pt x="888" y="202"/>
                    </a:lnTo>
                    <a:lnTo>
                      <a:pt x="890" y="202"/>
                    </a:lnTo>
                    <a:lnTo>
                      <a:pt x="891" y="202"/>
                    </a:lnTo>
                    <a:lnTo>
                      <a:pt x="891" y="200"/>
                    </a:lnTo>
                    <a:lnTo>
                      <a:pt x="891" y="199"/>
                    </a:lnTo>
                    <a:lnTo>
                      <a:pt x="893" y="199"/>
                    </a:lnTo>
                    <a:lnTo>
                      <a:pt x="891" y="199"/>
                    </a:lnTo>
                    <a:lnTo>
                      <a:pt x="891" y="197"/>
                    </a:lnTo>
                    <a:lnTo>
                      <a:pt x="893" y="197"/>
                    </a:lnTo>
                    <a:lnTo>
                      <a:pt x="893" y="199"/>
                    </a:lnTo>
                    <a:lnTo>
                      <a:pt x="893" y="200"/>
                    </a:lnTo>
                    <a:lnTo>
                      <a:pt x="895" y="200"/>
                    </a:lnTo>
                    <a:lnTo>
                      <a:pt x="895" y="202"/>
                    </a:lnTo>
                    <a:lnTo>
                      <a:pt x="895" y="204"/>
                    </a:lnTo>
                    <a:lnTo>
                      <a:pt x="896" y="204"/>
                    </a:lnTo>
                    <a:lnTo>
                      <a:pt x="898" y="204"/>
                    </a:lnTo>
                    <a:lnTo>
                      <a:pt x="898" y="206"/>
                    </a:lnTo>
                    <a:lnTo>
                      <a:pt x="898" y="204"/>
                    </a:lnTo>
                    <a:lnTo>
                      <a:pt x="896" y="202"/>
                    </a:lnTo>
                    <a:lnTo>
                      <a:pt x="896" y="200"/>
                    </a:lnTo>
                    <a:lnTo>
                      <a:pt x="895" y="200"/>
                    </a:lnTo>
                    <a:lnTo>
                      <a:pt x="896" y="199"/>
                    </a:lnTo>
                    <a:lnTo>
                      <a:pt x="895" y="199"/>
                    </a:lnTo>
                    <a:lnTo>
                      <a:pt x="896" y="199"/>
                    </a:lnTo>
                    <a:lnTo>
                      <a:pt x="895" y="199"/>
                    </a:lnTo>
                    <a:lnTo>
                      <a:pt x="895" y="197"/>
                    </a:lnTo>
                    <a:lnTo>
                      <a:pt x="896" y="197"/>
                    </a:lnTo>
                    <a:lnTo>
                      <a:pt x="898" y="197"/>
                    </a:lnTo>
                    <a:lnTo>
                      <a:pt x="898" y="199"/>
                    </a:lnTo>
                    <a:lnTo>
                      <a:pt x="896" y="199"/>
                    </a:lnTo>
                    <a:lnTo>
                      <a:pt x="898" y="199"/>
                    </a:lnTo>
                    <a:lnTo>
                      <a:pt x="896" y="199"/>
                    </a:lnTo>
                    <a:lnTo>
                      <a:pt x="896" y="200"/>
                    </a:lnTo>
                    <a:lnTo>
                      <a:pt x="898" y="199"/>
                    </a:lnTo>
                    <a:lnTo>
                      <a:pt x="898" y="200"/>
                    </a:lnTo>
                    <a:lnTo>
                      <a:pt x="898" y="199"/>
                    </a:lnTo>
                    <a:lnTo>
                      <a:pt x="900" y="199"/>
                    </a:lnTo>
                    <a:lnTo>
                      <a:pt x="898" y="199"/>
                    </a:lnTo>
                    <a:lnTo>
                      <a:pt x="900" y="199"/>
                    </a:lnTo>
                    <a:lnTo>
                      <a:pt x="901" y="197"/>
                    </a:lnTo>
                    <a:lnTo>
                      <a:pt x="901" y="199"/>
                    </a:lnTo>
                    <a:lnTo>
                      <a:pt x="901" y="200"/>
                    </a:lnTo>
                    <a:lnTo>
                      <a:pt x="901" y="199"/>
                    </a:lnTo>
                    <a:lnTo>
                      <a:pt x="903" y="200"/>
                    </a:lnTo>
                    <a:lnTo>
                      <a:pt x="903" y="199"/>
                    </a:lnTo>
                    <a:lnTo>
                      <a:pt x="905" y="199"/>
                    </a:lnTo>
                    <a:lnTo>
                      <a:pt x="905" y="200"/>
                    </a:lnTo>
                    <a:lnTo>
                      <a:pt x="903" y="200"/>
                    </a:lnTo>
                    <a:lnTo>
                      <a:pt x="903" y="202"/>
                    </a:lnTo>
                    <a:lnTo>
                      <a:pt x="905" y="202"/>
                    </a:lnTo>
                    <a:lnTo>
                      <a:pt x="905" y="200"/>
                    </a:lnTo>
                    <a:lnTo>
                      <a:pt x="907" y="200"/>
                    </a:lnTo>
                    <a:lnTo>
                      <a:pt x="907" y="202"/>
                    </a:lnTo>
                    <a:lnTo>
                      <a:pt x="905" y="202"/>
                    </a:lnTo>
                    <a:lnTo>
                      <a:pt x="905" y="204"/>
                    </a:lnTo>
                    <a:lnTo>
                      <a:pt x="907" y="204"/>
                    </a:lnTo>
                    <a:lnTo>
                      <a:pt x="907" y="206"/>
                    </a:lnTo>
                    <a:lnTo>
                      <a:pt x="907" y="204"/>
                    </a:lnTo>
                    <a:lnTo>
                      <a:pt x="907" y="202"/>
                    </a:lnTo>
                    <a:lnTo>
                      <a:pt x="907" y="204"/>
                    </a:lnTo>
                    <a:lnTo>
                      <a:pt x="907" y="202"/>
                    </a:lnTo>
                    <a:lnTo>
                      <a:pt x="908" y="202"/>
                    </a:lnTo>
                    <a:lnTo>
                      <a:pt x="907" y="200"/>
                    </a:lnTo>
                    <a:lnTo>
                      <a:pt x="908" y="200"/>
                    </a:lnTo>
                    <a:lnTo>
                      <a:pt x="908" y="202"/>
                    </a:lnTo>
                    <a:lnTo>
                      <a:pt x="908" y="204"/>
                    </a:lnTo>
                    <a:lnTo>
                      <a:pt x="908" y="206"/>
                    </a:lnTo>
                    <a:lnTo>
                      <a:pt x="910" y="204"/>
                    </a:lnTo>
                    <a:lnTo>
                      <a:pt x="910" y="206"/>
                    </a:lnTo>
                    <a:lnTo>
                      <a:pt x="908" y="206"/>
                    </a:lnTo>
                    <a:lnTo>
                      <a:pt x="908" y="207"/>
                    </a:lnTo>
                    <a:lnTo>
                      <a:pt x="908" y="206"/>
                    </a:lnTo>
                    <a:lnTo>
                      <a:pt x="910" y="206"/>
                    </a:lnTo>
                    <a:lnTo>
                      <a:pt x="912" y="206"/>
                    </a:lnTo>
                    <a:lnTo>
                      <a:pt x="910" y="206"/>
                    </a:lnTo>
                    <a:lnTo>
                      <a:pt x="910" y="204"/>
                    </a:lnTo>
                    <a:lnTo>
                      <a:pt x="912" y="204"/>
                    </a:lnTo>
                    <a:lnTo>
                      <a:pt x="912" y="202"/>
                    </a:lnTo>
                    <a:lnTo>
                      <a:pt x="913" y="202"/>
                    </a:lnTo>
                    <a:lnTo>
                      <a:pt x="913" y="204"/>
                    </a:lnTo>
                    <a:lnTo>
                      <a:pt x="912" y="204"/>
                    </a:lnTo>
                    <a:lnTo>
                      <a:pt x="913" y="204"/>
                    </a:lnTo>
                    <a:lnTo>
                      <a:pt x="913" y="206"/>
                    </a:lnTo>
                    <a:lnTo>
                      <a:pt x="913" y="207"/>
                    </a:lnTo>
                    <a:lnTo>
                      <a:pt x="915" y="207"/>
                    </a:lnTo>
                    <a:lnTo>
                      <a:pt x="915" y="206"/>
                    </a:lnTo>
                    <a:lnTo>
                      <a:pt x="915" y="204"/>
                    </a:lnTo>
                    <a:lnTo>
                      <a:pt x="917" y="204"/>
                    </a:lnTo>
                    <a:lnTo>
                      <a:pt x="917" y="202"/>
                    </a:lnTo>
                    <a:lnTo>
                      <a:pt x="917" y="204"/>
                    </a:lnTo>
                    <a:lnTo>
                      <a:pt x="917" y="206"/>
                    </a:lnTo>
                    <a:lnTo>
                      <a:pt x="917" y="207"/>
                    </a:lnTo>
                    <a:lnTo>
                      <a:pt x="918" y="206"/>
                    </a:lnTo>
                    <a:lnTo>
                      <a:pt x="918" y="207"/>
                    </a:lnTo>
                    <a:lnTo>
                      <a:pt x="917" y="207"/>
                    </a:lnTo>
                    <a:lnTo>
                      <a:pt x="918" y="209"/>
                    </a:lnTo>
                    <a:lnTo>
                      <a:pt x="918" y="207"/>
                    </a:lnTo>
                    <a:lnTo>
                      <a:pt x="918" y="206"/>
                    </a:lnTo>
                    <a:lnTo>
                      <a:pt x="920" y="206"/>
                    </a:lnTo>
                    <a:lnTo>
                      <a:pt x="920" y="207"/>
                    </a:lnTo>
                    <a:lnTo>
                      <a:pt x="920" y="209"/>
                    </a:lnTo>
                    <a:lnTo>
                      <a:pt x="922" y="209"/>
                    </a:lnTo>
                    <a:lnTo>
                      <a:pt x="920" y="207"/>
                    </a:lnTo>
                    <a:lnTo>
                      <a:pt x="922" y="207"/>
                    </a:lnTo>
                    <a:lnTo>
                      <a:pt x="922" y="206"/>
                    </a:lnTo>
                    <a:lnTo>
                      <a:pt x="922" y="207"/>
                    </a:lnTo>
                    <a:lnTo>
                      <a:pt x="924" y="207"/>
                    </a:lnTo>
                    <a:lnTo>
                      <a:pt x="922" y="206"/>
                    </a:lnTo>
                    <a:lnTo>
                      <a:pt x="924" y="206"/>
                    </a:lnTo>
                    <a:lnTo>
                      <a:pt x="922" y="204"/>
                    </a:lnTo>
                    <a:lnTo>
                      <a:pt x="924" y="204"/>
                    </a:lnTo>
                    <a:lnTo>
                      <a:pt x="924" y="206"/>
                    </a:lnTo>
                    <a:lnTo>
                      <a:pt x="925" y="206"/>
                    </a:lnTo>
                    <a:lnTo>
                      <a:pt x="925" y="207"/>
                    </a:lnTo>
                    <a:lnTo>
                      <a:pt x="924" y="207"/>
                    </a:lnTo>
                    <a:lnTo>
                      <a:pt x="925" y="207"/>
                    </a:lnTo>
                    <a:lnTo>
                      <a:pt x="924" y="207"/>
                    </a:lnTo>
                    <a:lnTo>
                      <a:pt x="924" y="209"/>
                    </a:lnTo>
                    <a:lnTo>
                      <a:pt x="924" y="211"/>
                    </a:lnTo>
                    <a:lnTo>
                      <a:pt x="922" y="211"/>
                    </a:lnTo>
                    <a:lnTo>
                      <a:pt x="920" y="211"/>
                    </a:lnTo>
                    <a:lnTo>
                      <a:pt x="922" y="211"/>
                    </a:lnTo>
                    <a:lnTo>
                      <a:pt x="924" y="211"/>
                    </a:lnTo>
                    <a:lnTo>
                      <a:pt x="925" y="211"/>
                    </a:lnTo>
                    <a:lnTo>
                      <a:pt x="927" y="211"/>
                    </a:lnTo>
                    <a:lnTo>
                      <a:pt x="927" y="209"/>
                    </a:lnTo>
                    <a:lnTo>
                      <a:pt x="927" y="211"/>
                    </a:lnTo>
                    <a:lnTo>
                      <a:pt x="929" y="209"/>
                    </a:lnTo>
                    <a:lnTo>
                      <a:pt x="929" y="207"/>
                    </a:lnTo>
                    <a:lnTo>
                      <a:pt x="929" y="209"/>
                    </a:lnTo>
                    <a:lnTo>
                      <a:pt x="930" y="207"/>
                    </a:lnTo>
                    <a:lnTo>
                      <a:pt x="932" y="207"/>
                    </a:lnTo>
                    <a:lnTo>
                      <a:pt x="930" y="207"/>
                    </a:lnTo>
                    <a:lnTo>
                      <a:pt x="930" y="209"/>
                    </a:lnTo>
                    <a:lnTo>
                      <a:pt x="929" y="209"/>
                    </a:lnTo>
                    <a:lnTo>
                      <a:pt x="929" y="211"/>
                    </a:lnTo>
                    <a:lnTo>
                      <a:pt x="930" y="212"/>
                    </a:lnTo>
                    <a:lnTo>
                      <a:pt x="929" y="212"/>
                    </a:lnTo>
                    <a:lnTo>
                      <a:pt x="930" y="212"/>
                    </a:lnTo>
                    <a:lnTo>
                      <a:pt x="932" y="212"/>
                    </a:lnTo>
                    <a:lnTo>
                      <a:pt x="930" y="212"/>
                    </a:lnTo>
                    <a:lnTo>
                      <a:pt x="932" y="212"/>
                    </a:lnTo>
                    <a:lnTo>
                      <a:pt x="932" y="211"/>
                    </a:lnTo>
                    <a:lnTo>
                      <a:pt x="932" y="212"/>
                    </a:lnTo>
                    <a:lnTo>
                      <a:pt x="934" y="212"/>
                    </a:lnTo>
                    <a:lnTo>
                      <a:pt x="934" y="214"/>
                    </a:lnTo>
                    <a:lnTo>
                      <a:pt x="934" y="212"/>
                    </a:lnTo>
                    <a:lnTo>
                      <a:pt x="935" y="212"/>
                    </a:lnTo>
                    <a:lnTo>
                      <a:pt x="935" y="214"/>
                    </a:lnTo>
                    <a:lnTo>
                      <a:pt x="935" y="212"/>
                    </a:lnTo>
                    <a:lnTo>
                      <a:pt x="935" y="211"/>
                    </a:lnTo>
                    <a:lnTo>
                      <a:pt x="937" y="209"/>
                    </a:lnTo>
                    <a:lnTo>
                      <a:pt x="935" y="209"/>
                    </a:lnTo>
                    <a:lnTo>
                      <a:pt x="937" y="209"/>
                    </a:lnTo>
                    <a:lnTo>
                      <a:pt x="937" y="207"/>
                    </a:lnTo>
                    <a:lnTo>
                      <a:pt x="939" y="207"/>
                    </a:lnTo>
                    <a:lnTo>
                      <a:pt x="939" y="209"/>
                    </a:lnTo>
                    <a:lnTo>
                      <a:pt x="939" y="211"/>
                    </a:lnTo>
                    <a:lnTo>
                      <a:pt x="937" y="211"/>
                    </a:lnTo>
                    <a:lnTo>
                      <a:pt x="937" y="212"/>
                    </a:lnTo>
                    <a:lnTo>
                      <a:pt x="939" y="212"/>
                    </a:lnTo>
                    <a:lnTo>
                      <a:pt x="939" y="214"/>
                    </a:lnTo>
                    <a:lnTo>
                      <a:pt x="937" y="214"/>
                    </a:lnTo>
                    <a:lnTo>
                      <a:pt x="937" y="216"/>
                    </a:lnTo>
                    <a:lnTo>
                      <a:pt x="937" y="217"/>
                    </a:lnTo>
                    <a:lnTo>
                      <a:pt x="935" y="217"/>
                    </a:lnTo>
                    <a:lnTo>
                      <a:pt x="937" y="217"/>
                    </a:lnTo>
                    <a:lnTo>
                      <a:pt x="937" y="216"/>
                    </a:lnTo>
                    <a:lnTo>
                      <a:pt x="939" y="214"/>
                    </a:lnTo>
                    <a:lnTo>
                      <a:pt x="939" y="212"/>
                    </a:lnTo>
                    <a:lnTo>
                      <a:pt x="941" y="212"/>
                    </a:lnTo>
                    <a:lnTo>
                      <a:pt x="941" y="214"/>
                    </a:lnTo>
                    <a:lnTo>
                      <a:pt x="939" y="214"/>
                    </a:lnTo>
                    <a:lnTo>
                      <a:pt x="939" y="216"/>
                    </a:lnTo>
                    <a:lnTo>
                      <a:pt x="939" y="214"/>
                    </a:lnTo>
                    <a:lnTo>
                      <a:pt x="941" y="214"/>
                    </a:lnTo>
                    <a:lnTo>
                      <a:pt x="941" y="216"/>
                    </a:lnTo>
                    <a:lnTo>
                      <a:pt x="941" y="214"/>
                    </a:lnTo>
                    <a:lnTo>
                      <a:pt x="942" y="212"/>
                    </a:lnTo>
                    <a:lnTo>
                      <a:pt x="942" y="214"/>
                    </a:lnTo>
                    <a:lnTo>
                      <a:pt x="942" y="212"/>
                    </a:lnTo>
                    <a:lnTo>
                      <a:pt x="942" y="214"/>
                    </a:lnTo>
                    <a:lnTo>
                      <a:pt x="942" y="216"/>
                    </a:lnTo>
                    <a:lnTo>
                      <a:pt x="944" y="216"/>
                    </a:lnTo>
                    <a:lnTo>
                      <a:pt x="942" y="216"/>
                    </a:lnTo>
                    <a:lnTo>
                      <a:pt x="942" y="217"/>
                    </a:lnTo>
                    <a:lnTo>
                      <a:pt x="942" y="219"/>
                    </a:lnTo>
                    <a:lnTo>
                      <a:pt x="941" y="219"/>
                    </a:lnTo>
                    <a:lnTo>
                      <a:pt x="942" y="219"/>
                    </a:lnTo>
                    <a:lnTo>
                      <a:pt x="942" y="217"/>
                    </a:lnTo>
                    <a:lnTo>
                      <a:pt x="942" y="216"/>
                    </a:lnTo>
                    <a:lnTo>
                      <a:pt x="944" y="216"/>
                    </a:lnTo>
                    <a:lnTo>
                      <a:pt x="944" y="217"/>
                    </a:lnTo>
                    <a:lnTo>
                      <a:pt x="944" y="216"/>
                    </a:lnTo>
                    <a:lnTo>
                      <a:pt x="944" y="214"/>
                    </a:lnTo>
                    <a:lnTo>
                      <a:pt x="946" y="214"/>
                    </a:lnTo>
                    <a:lnTo>
                      <a:pt x="946" y="216"/>
                    </a:lnTo>
                    <a:lnTo>
                      <a:pt x="947" y="216"/>
                    </a:lnTo>
                    <a:lnTo>
                      <a:pt x="946" y="216"/>
                    </a:lnTo>
                    <a:lnTo>
                      <a:pt x="946" y="217"/>
                    </a:lnTo>
                    <a:lnTo>
                      <a:pt x="944" y="217"/>
                    </a:lnTo>
                    <a:lnTo>
                      <a:pt x="946" y="217"/>
                    </a:lnTo>
                    <a:lnTo>
                      <a:pt x="947" y="219"/>
                    </a:lnTo>
                    <a:lnTo>
                      <a:pt x="946" y="219"/>
                    </a:lnTo>
                    <a:lnTo>
                      <a:pt x="947" y="219"/>
                    </a:lnTo>
                    <a:lnTo>
                      <a:pt x="947" y="217"/>
                    </a:lnTo>
                    <a:lnTo>
                      <a:pt x="947" y="216"/>
                    </a:lnTo>
                    <a:lnTo>
                      <a:pt x="949" y="216"/>
                    </a:lnTo>
                    <a:lnTo>
                      <a:pt x="949" y="214"/>
                    </a:lnTo>
                    <a:lnTo>
                      <a:pt x="951" y="214"/>
                    </a:lnTo>
                    <a:lnTo>
                      <a:pt x="951" y="216"/>
                    </a:lnTo>
                    <a:lnTo>
                      <a:pt x="949" y="216"/>
                    </a:lnTo>
                    <a:lnTo>
                      <a:pt x="949" y="217"/>
                    </a:lnTo>
                    <a:lnTo>
                      <a:pt x="947" y="217"/>
                    </a:lnTo>
                    <a:lnTo>
                      <a:pt x="949" y="217"/>
                    </a:lnTo>
                    <a:lnTo>
                      <a:pt x="949" y="219"/>
                    </a:lnTo>
                    <a:lnTo>
                      <a:pt x="951" y="219"/>
                    </a:lnTo>
                    <a:lnTo>
                      <a:pt x="949" y="219"/>
                    </a:lnTo>
                    <a:lnTo>
                      <a:pt x="951" y="219"/>
                    </a:lnTo>
                    <a:lnTo>
                      <a:pt x="949" y="219"/>
                    </a:lnTo>
                    <a:lnTo>
                      <a:pt x="949" y="221"/>
                    </a:lnTo>
                    <a:lnTo>
                      <a:pt x="951" y="221"/>
                    </a:lnTo>
                    <a:lnTo>
                      <a:pt x="951" y="219"/>
                    </a:lnTo>
                    <a:lnTo>
                      <a:pt x="951" y="217"/>
                    </a:lnTo>
                    <a:lnTo>
                      <a:pt x="952" y="217"/>
                    </a:lnTo>
                    <a:lnTo>
                      <a:pt x="951" y="219"/>
                    </a:lnTo>
                    <a:lnTo>
                      <a:pt x="952" y="219"/>
                    </a:lnTo>
                    <a:lnTo>
                      <a:pt x="951" y="219"/>
                    </a:lnTo>
                    <a:lnTo>
                      <a:pt x="951" y="221"/>
                    </a:lnTo>
                    <a:lnTo>
                      <a:pt x="952" y="219"/>
                    </a:lnTo>
                    <a:lnTo>
                      <a:pt x="952" y="217"/>
                    </a:lnTo>
                    <a:lnTo>
                      <a:pt x="954" y="217"/>
                    </a:lnTo>
                    <a:lnTo>
                      <a:pt x="954" y="216"/>
                    </a:lnTo>
                    <a:lnTo>
                      <a:pt x="956" y="216"/>
                    </a:lnTo>
                    <a:lnTo>
                      <a:pt x="956" y="217"/>
                    </a:lnTo>
                    <a:lnTo>
                      <a:pt x="954" y="217"/>
                    </a:lnTo>
                    <a:lnTo>
                      <a:pt x="954" y="219"/>
                    </a:lnTo>
                    <a:lnTo>
                      <a:pt x="954" y="221"/>
                    </a:lnTo>
                    <a:lnTo>
                      <a:pt x="956" y="221"/>
                    </a:lnTo>
                    <a:lnTo>
                      <a:pt x="954" y="223"/>
                    </a:lnTo>
                    <a:lnTo>
                      <a:pt x="956" y="223"/>
                    </a:lnTo>
                    <a:lnTo>
                      <a:pt x="956" y="224"/>
                    </a:lnTo>
                    <a:lnTo>
                      <a:pt x="954" y="224"/>
                    </a:lnTo>
                    <a:lnTo>
                      <a:pt x="956" y="224"/>
                    </a:lnTo>
                    <a:lnTo>
                      <a:pt x="956" y="226"/>
                    </a:lnTo>
                    <a:lnTo>
                      <a:pt x="956" y="224"/>
                    </a:lnTo>
                    <a:lnTo>
                      <a:pt x="958" y="224"/>
                    </a:lnTo>
                    <a:lnTo>
                      <a:pt x="958" y="223"/>
                    </a:lnTo>
                    <a:lnTo>
                      <a:pt x="958" y="221"/>
                    </a:lnTo>
                    <a:lnTo>
                      <a:pt x="959" y="221"/>
                    </a:lnTo>
                    <a:lnTo>
                      <a:pt x="959" y="223"/>
                    </a:lnTo>
                    <a:lnTo>
                      <a:pt x="959" y="221"/>
                    </a:lnTo>
                    <a:lnTo>
                      <a:pt x="959" y="223"/>
                    </a:lnTo>
                    <a:lnTo>
                      <a:pt x="961" y="223"/>
                    </a:lnTo>
                    <a:lnTo>
                      <a:pt x="961" y="224"/>
                    </a:lnTo>
                    <a:lnTo>
                      <a:pt x="961" y="226"/>
                    </a:lnTo>
                    <a:lnTo>
                      <a:pt x="959" y="224"/>
                    </a:lnTo>
                    <a:lnTo>
                      <a:pt x="959" y="226"/>
                    </a:lnTo>
                    <a:lnTo>
                      <a:pt x="959" y="224"/>
                    </a:lnTo>
                    <a:lnTo>
                      <a:pt x="961" y="226"/>
                    </a:lnTo>
                    <a:lnTo>
                      <a:pt x="961" y="224"/>
                    </a:lnTo>
                    <a:lnTo>
                      <a:pt x="963" y="224"/>
                    </a:lnTo>
                    <a:lnTo>
                      <a:pt x="963" y="223"/>
                    </a:lnTo>
                    <a:lnTo>
                      <a:pt x="963" y="224"/>
                    </a:lnTo>
                    <a:lnTo>
                      <a:pt x="963" y="223"/>
                    </a:lnTo>
                    <a:lnTo>
                      <a:pt x="964" y="223"/>
                    </a:lnTo>
                    <a:lnTo>
                      <a:pt x="964" y="221"/>
                    </a:lnTo>
                    <a:lnTo>
                      <a:pt x="966" y="223"/>
                    </a:lnTo>
                    <a:lnTo>
                      <a:pt x="964" y="223"/>
                    </a:lnTo>
                    <a:lnTo>
                      <a:pt x="964" y="224"/>
                    </a:lnTo>
                    <a:lnTo>
                      <a:pt x="963" y="224"/>
                    </a:lnTo>
                    <a:lnTo>
                      <a:pt x="963" y="226"/>
                    </a:lnTo>
                    <a:lnTo>
                      <a:pt x="963" y="228"/>
                    </a:lnTo>
                    <a:lnTo>
                      <a:pt x="964" y="228"/>
                    </a:lnTo>
                    <a:lnTo>
                      <a:pt x="963" y="228"/>
                    </a:lnTo>
                    <a:lnTo>
                      <a:pt x="964" y="228"/>
                    </a:lnTo>
                    <a:lnTo>
                      <a:pt x="964" y="226"/>
                    </a:lnTo>
                    <a:lnTo>
                      <a:pt x="966" y="226"/>
                    </a:lnTo>
                    <a:lnTo>
                      <a:pt x="966" y="224"/>
                    </a:lnTo>
                    <a:lnTo>
                      <a:pt x="968" y="223"/>
                    </a:lnTo>
                    <a:lnTo>
                      <a:pt x="966" y="223"/>
                    </a:lnTo>
                    <a:lnTo>
                      <a:pt x="968" y="223"/>
                    </a:lnTo>
                    <a:lnTo>
                      <a:pt x="969" y="223"/>
                    </a:lnTo>
                    <a:lnTo>
                      <a:pt x="968" y="223"/>
                    </a:lnTo>
                    <a:lnTo>
                      <a:pt x="969" y="224"/>
                    </a:lnTo>
                    <a:lnTo>
                      <a:pt x="968" y="224"/>
                    </a:lnTo>
                    <a:lnTo>
                      <a:pt x="969" y="224"/>
                    </a:lnTo>
                    <a:lnTo>
                      <a:pt x="969" y="226"/>
                    </a:lnTo>
                    <a:lnTo>
                      <a:pt x="968" y="226"/>
                    </a:lnTo>
                    <a:lnTo>
                      <a:pt x="968" y="228"/>
                    </a:lnTo>
                    <a:lnTo>
                      <a:pt x="966" y="228"/>
                    </a:lnTo>
                    <a:lnTo>
                      <a:pt x="968" y="228"/>
                    </a:lnTo>
                    <a:lnTo>
                      <a:pt x="969" y="228"/>
                    </a:lnTo>
                    <a:lnTo>
                      <a:pt x="968" y="229"/>
                    </a:lnTo>
                    <a:lnTo>
                      <a:pt x="968" y="231"/>
                    </a:lnTo>
                    <a:lnTo>
                      <a:pt x="968" y="233"/>
                    </a:lnTo>
                    <a:lnTo>
                      <a:pt x="968" y="234"/>
                    </a:lnTo>
                    <a:lnTo>
                      <a:pt x="966" y="234"/>
                    </a:lnTo>
                    <a:lnTo>
                      <a:pt x="966" y="236"/>
                    </a:lnTo>
                    <a:lnTo>
                      <a:pt x="968" y="236"/>
                    </a:lnTo>
                    <a:lnTo>
                      <a:pt x="969" y="236"/>
                    </a:lnTo>
                    <a:lnTo>
                      <a:pt x="969" y="238"/>
                    </a:lnTo>
                    <a:lnTo>
                      <a:pt x="971" y="238"/>
                    </a:lnTo>
                    <a:lnTo>
                      <a:pt x="971" y="240"/>
                    </a:lnTo>
                    <a:lnTo>
                      <a:pt x="971" y="241"/>
                    </a:lnTo>
                    <a:lnTo>
                      <a:pt x="973" y="241"/>
                    </a:lnTo>
                    <a:lnTo>
                      <a:pt x="973" y="240"/>
                    </a:lnTo>
                    <a:lnTo>
                      <a:pt x="971" y="241"/>
                    </a:lnTo>
                    <a:lnTo>
                      <a:pt x="971" y="240"/>
                    </a:lnTo>
                    <a:lnTo>
                      <a:pt x="971" y="238"/>
                    </a:lnTo>
                    <a:lnTo>
                      <a:pt x="971" y="236"/>
                    </a:lnTo>
                    <a:lnTo>
                      <a:pt x="969" y="236"/>
                    </a:lnTo>
                    <a:lnTo>
                      <a:pt x="969" y="234"/>
                    </a:lnTo>
                    <a:lnTo>
                      <a:pt x="971" y="234"/>
                    </a:lnTo>
                    <a:lnTo>
                      <a:pt x="971" y="233"/>
                    </a:lnTo>
                    <a:lnTo>
                      <a:pt x="971" y="231"/>
                    </a:lnTo>
                    <a:lnTo>
                      <a:pt x="971" y="229"/>
                    </a:lnTo>
                    <a:lnTo>
                      <a:pt x="973" y="229"/>
                    </a:lnTo>
                    <a:lnTo>
                      <a:pt x="973" y="228"/>
                    </a:lnTo>
                    <a:lnTo>
                      <a:pt x="973" y="229"/>
                    </a:lnTo>
                    <a:lnTo>
                      <a:pt x="973" y="228"/>
                    </a:lnTo>
                    <a:lnTo>
                      <a:pt x="975" y="228"/>
                    </a:lnTo>
                    <a:lnTo>
                      <a:pt x="975" y="229"/>
                    </a:lnTo>
                    <a:lnTo>
                      <a:pt x="975" y="228"/>
                    </a:lnTo>
                    <a:lnTo>
                      <a:pt x="976" y="228"/>
                    </a:lnTo>
                    <a:lnTo>
                      <a:pt x="978" y="228"/>
                    </a:lnTo>
                    <a:lnTo>
                      <a:pt x="980" y="229"/>
                    </a:lnTo>
                    <a:lnTo>
                      <a:pt x="978" y="229"/>
                    </a:lnTo>
                    <a:lnTo>
                      <a:pt x="980" y="229"/>
                    </a:lnTo>
                    <a:lnTo>
                      <a:pt x="980" y="231"/>
                    </a:lnTo>
                    <a:lnTo>
                      <a:pt x="978" y="231"/>
                    </a:lnTo>
                    <a:lnTo>
                      <a:pt x="980" y="231"/>
                    </a:lnTo>
                    <a:lnTo>
                      <a:pt x="981" y="231"/>
                    </a:lnTo>
                    <a:lnTo>
                      <a:pt x="981" y="229"/>
                    </a:lnTo>
                    <a:lnTo>
                      <a:pt x="980" y="229"/>
                    </a:lnTo>
                    <a:lnTo>
                      <a:pt x="980" y="228"/>
                    </a:lnTo>
                    <a:lnTo>
                      <a:pt x="981" y="228"/>
                    </a:lnTo>
                    <a:lnTo>
                      <a:pt x="983" y="226"/>
                    </a:lnTo>
                    <a:lnTo>
                      <a:pt x="985" y="226"/>
                    </a:lnTo>
                    <a:lnTo>
                      <a:pt x="985" y="228"/>
                    </a:lnTo>
                    <a:lnTo>
                      <a:pt x="983" y="228"/>
                    </a:lnTo>
                    <a:lnTo>
                      <a:pt x="983" y="229"/>
                    </a:lnTo>
                    <a:lnTo>
                      <a:pt x="981" y="229"/>
                    </a:lnTo>
                    <a:lnTo>
                      <a:pt x="981" y="231"/>
                    </a:lnTo>
                    <a:lnTo>
                      <a:pt x="981" y="233"/>
                    </a:lnTo>
                    <a:lnTo>
                      <a:pt x="983" y="233"/>
                    </a:lnTo>
                    <a:lnTo>
                      <a:pt x="985" y="233"/>
                    </a:lnTo>
                    <a:lnTo>
                      <a:pt x="985" y="231"/>
                    </a:lnTo>
                    <a:lnTo>
                      <a:pt x="986" y="231"/>
                    </a:lnTo>
                    <a:lnTo>
                      <a:pt x="986" y="233"/>
                    </a:lnTo>
                    <a:lnTo>
                      <a:pt x="986" y="231"/>
                    </a:lnTo>
                    <a:lnTo>
                      <a:pt x="988" y="231"/>
                    </a:lnTo>
                    <a:lnTo>
                      <a:pt x="988" y="233"/>
                    </a:lnTo>
                    <a:lnTo>
                      <a:pt x="988" y="231"/>
                    </a:lnTo>
                    <a:lnTo>
                      <a:pt x="990" y="231"/>
                    </a:lnTo>
                    <a:lnTo>
                      <a:pt x="992" y="233"/>
                    </a:lnTo>
                    <a:lnTo>
                      <a:pt x="990" y="234"/>
                    </a:lnTo>
                    <a:lnTo>
                      <a:pt x="990" y="233"/>
                    </a:lnTo>
                    <a:lnTo>
                      <a:pt x="988" y="233"/>
                    </a:lnTo>
                    <a:lnTo>
                      <a:pt x="988" y="234"/>
                    </a:lnTo>
                    <a:lnTo>
                      <a:pt x="986" y="234"/>
                    </a:lnTo>
                    <a:lnTo>
                      <a:pt x="986" y="236"/>
                    </a:lnTo>
                    <a:lnTo>
                      <a:pt x="988" y="236"/>
                    </a:lnTo>
                    <a:lnTo>
                      <a:pt x="990" y="236"/>
                    </a:lnTo>
                    <a:lnTo>
                      <a:pt x="988" y="236"/>
                    </a:lnTo>
                    <a:lnTo>
                      <a:pt x="988" y="238"/>
                    </a:lnTo>
                    <a:lnTo>
                      <a:pt x="986" y="238"/>
                    </a:lnTo>
                    <a:lnTo>
                      <a:pt x="988" y="238"/>
                    </a:lnTo>
                    <a:lnTo>
                      <a:pt x="990" y="238"/>
                    </a:lnTo>
                    <a:lnTo>
                      <a:pt x="992" y="238"/>
                    </a:lnTo>
                    <a:lnTo>
                      <a:pt x="990" y="236"/>
                    </a:lnTo>
                    <a:lnTo>
                      <a:pt x="992" y="236"/>
                    </a:lnTo>
                    <a:lnTo>
                      <a:pt x="993" y="236"/>
                    </a:lnTo>
                    <a:lnTo>
                      <a:pt x="992" y="236"/>
                    </a:lnTo>
                    <a:lnTo>
                      <a:pt x="992" y="238"/>
                    </a:lnTo>
                    <a:lnTo>
                      <a:pt x="993" y="238"/>
                    </a:lnTo>
                    <a:lnTo>
                      <a:pt x="992" y="238"/>
                    </a:lnTo>
                    <a:lnTo>
                      <a:pt x="993" y="240"/>
                    </a:lnTo>
                    <a:lnTo>
                      <a:pt x="993" y="238"/>
                    </a:lnTo>
                    <a:lnTo>
                      <a:pt x="993" y="240"/>
                    </a:lnTo>
                    <a:lnTo>
                      <a:pt x="995" y="240"/>
                    </a:lnTo>
                    <a:lnTo>
                      <a:pt x="995" y="241"/>
                    </a:lnTo>
                    <a:lnTo>
                      <a:pt x="993" y="241"/>
                    </a:lnTo>
                    <a:lnTo>
                      <a:pt x="995" y="241"/>
                    </a:lnTo>
                    <a:lnTo>
                      <a:pt x="997" y="243"/>
                    </a:lnTo>
                    <a:lnTo>
                      <a:pt x="997" y="245"/>
                    </a:lnTo>
                    <a:lnTo>
                      <a:pt x="995" y="245"/>
                    </a:lnTo>
                    <a:lnTo>
                      <a:pt x="997" y="245"/>
                    </a:lnTo>
                    <a:lnTo>
                      <a:pt x="995" y="246"/>
                    </a:lnTo>
                    <a:lnTo>
                      <a:pt x="993" y="246"/>
                    </a:lnTo>
                    <a:lnTo>
                      <a:pt x="995" y="246"/>
                    </a:lnTo>
                    <a:lnTo>
                      <a:pt x="997" y="246"/>
                    </a:lnTo>
                    <a:lnTo>
                      <a:pt x="995" y="248"/>
                    </a:lnTo>
                    <a:lnTo>
                      <a:pt x="993" y="248"/>
                    </a:lnTo>
                    <a:lnTo>
                      <a:pt x="993" y="250"/>
                    </a:lnTo>
                    <a:lnTo>
                      <a:pt x="993" y="251"/>
                    </a:lnTo>
                    <a:lnTo>
                      <a:pt x="992" y="251"/>
                    </a:lnTo>
                    <a:lnTo>
                      <a:pt x="992" y="253"/>
                    </a:lnTo>
                    <a:lnTo>
                      <a:pt x="990" y="253"/>
                    </a:lnTo>
                    <a:lnTo>
                      <a:pt x="990" y="255"/>
                    </a:lnTo>
                    <a:lnTo>
                      <a:pt x="990" y="253"/>
                    </a:lnTo>
                    <a:lnTo>
                      <a:pt x="990" y="255"/>
                    </a:lnTo>
                    <a:lnTo>
                      <a:pt x="988" y="255"/>
                    </a:lnTo>
                    <a:lnTo>
                      <a:pt x="986" y="255"/>
                    </a:lnTo>
                    <a:lnTo>
                      <a:pt x="988" y="255"/>
                    </a:lnTo>
                    <a:lnTo>
                      <a:pt x="990" y="255"/>
                    </a:lnTo>
                    <a:lnTo>
                      <a:pt x="992" y="255"/>
                    </a:lnTo>
                    <a:lnTo>
                      <a:pt x="990" y="257"/>
                    </a:lnTo>
                    <a:lnTo>
                      <a:pt x="990" y="258"/>
                    </a:lnTo>
                    <a:lnTo>
                      <a:pt x="988" y="258"/>
                    </a:lnTo>
                    <a:lnTo>
                      <a:pt x="990" y="258"/>
                    </a:lnTo>
                    <a:lnTo>
                      <a:pt x="992" y="258"/>
                    </a:lnTo>
                    <a:lnTo>
                      <a:pt x="990" y="257"/>
                    </a:lnTo>
                    <a:lnTo>
                      <a:pt x="992" y="257"/>
                    </a:lnTo>
                    <a:lnTo>
                      <a:pt x="992" y="255"/>
                    </a:lnTo>
                    <a:lnTo>
                      <a:pt x="993" y="253"/>
                    </a:lnTo>
                    <a:lnTo>
                      <a:pt x="995" y="253"/>
                    </a:lnTo>
                    <a:lnTo>
                      <a:pt x="993" y="253"/>
                    </a:lnTo>
                    <a:lnTo>
                      <a:pt x="995" y="251"/>
                    </a:lnTo>
                    <a:lnTo>
                      <a:pt x="995" y="250"/>
                    </a:lnTo>
                    <a:lnTo>
                      <a:pt x="997" y="250"/>
                    </a:lnTo>
                    <a:lnTo>
                      <a:pt x="998" y="251"/>
                    </a:lnTo>
                    <a:lnTo>
                      <a:pt x="1000" y="253"/>
                    </a:lnTo>
                    <a:lnTo>
                      <a:pt x="998" y="253"/>
                    </a:lnTo>
                    <a:lnTo>
                      <a:pt x="1000" y="253"/>
                    </a:lnTo>
                    <a:lnTo>
                      <a:pt x="1000" y="255"/>
                    </a:lnTo>
                    <a:lnTo>
                      <a:pt x="1000" y="257"/>
                    </a:lnTo>
                    <a:lnTo>
                      <a:pt x="1000" y="258"/>
                    </a:lnTo>
                    <a:lnTo>
                      <a:pt x="1000" y="260"/>
                    </a:lnTo>
                    <a:lnTo>
                      <a:pt x="998" y="260"/>
                    </a:lnTo>
                    <a:lnTo>
                      <a:pt x="997" y="260"/>
                    </a:lnTo>
                    <a:lnTo>
                      <a:pt x="997" y="258"/>
                    </a:lnTo>
                    <a:lnTo>
                      <a:pt x="995" y="258"/>
                    </a:lnTo>
                    <a:lnTo>
                      <a:pt x="997" y="258"/>
                    </a:lnTo>
                    <a:lnTo>
                      <a:pt x="997" y="260"/>
                    </a:lnTo>
                    <a:lnTo>
                      <a:pt x="995" y="260"/>
                    </a:lnTo>
                    <a:lnTo>
                      <a:pt x="995" y="262"/>
                    </a:lnTo>
                    <a:lnTo>
                      <a:pt x="997" y="262"/>
                    </a:lnTo>
                    <a:lnTo>
                      <a:pt x="995" y="262"/>
                    </a:lnTo>
                    <a:lnTo>
                      <a:pt x="995" y="263"/>
                    </a:lnTo>
                    <a:lnTo>
                      <a:pt x="993" y="263"/>
                    </a:lnTo>
                    <a:lnTo>
                      <a:pt x="993" y="265"/>
                    </a:lnTo>
                    <a:lnTo>
                      <a:pt x="993" y="263"/>
                    </a:lnTo>
                    <a:lnTo>
                      <a:pt x="995" y="263"/>
                    </a:lnTo>
                    <a:lnTo>
                      <a:pt x="995" y="265"/>
                    </a:lnTo>
                    <a:lnTo>
                      <a:pt x="993" y="265"/>
                    </a:lnTo>
                    <a:lnTo>
                      <a:pt x="993" y="267"/>
                    </a:lnTo>
                    <a:lnTo>
                      <a:pt x="993" y="268"/>
                    </a:lnTo>
                    <a:lnTo>
                      <a:pt x="992" y="268"/>
                    </a:lnTo>
                    <a:lnTo>
                      <a:pt x="992" y="270"/>
                    </a:lnTo>
                    <a:lnTo>
                      <a:pt x="992" y="272"/>
                    </a:lnTo>
                    <a:lnTo>
                      <a:pt x="992" y="274"/>
                    </a:lnTo>
                    <a:lnTo>
                      <a:pt x="992" y="275"/>
                    </a:lnTo>
                    <a:lnTo>
                      <a:pt x="990" y="275"/>
                    </a:lnTo>
                    <a:lnTo>
                      <a:pt x="990" y="277"/>
                    </a:lnTo>
                    <a:lnTo>
                      <a:pt x="990" y="279"/>
                    </a:lnTo>
                    <a:lnTo>
                      <a:pt x="992" y="280"/>
                    </a:lnTo>
                    <a:lnTo>
                      <a:pt x="992" y="282"/>
                    </a:lnTo>
                    <a:lnTo>
                      <a:pt x="990" y="282"/>
                    </a:lnTo>
                    <a:lnTo>
                      <a:pt x="990" y="284"/>
                    </a:lnTo>
                    <a:lnTo>
                      <a:pt x="988" y="284"/>
                    </a:lnTo>
                    <a:lnTo>
                      <a:pt x="988" y="285"/>
                    </a:lnTo>
                    <a:lnTo>
                      <a:pt x="986" y="285"/>
                    </a:lnTo>
                    <a:lnTo>
                      <a:pt x="986" y="287"/>
                    </a:lnTo>
                    <a:lnTo>
                      <a:pt x="986" y="289"/>
                    </a:lnTo>
                    <a:lnTo>
                      <a:pt x="986" y="291"/>
                    </a:lnTo>
                    <a:lnTo>
                      <a:pt x="988" y="291"/>
                    </a:lnTo>
                    <a:lnTo>
                      <a:pt x="988" y="289"/>
                    </a:lnTo>
                    <a:lnTo>
                      <a:pt x="986" y="287"/>
                    </a:lnTo>
                    <a:lnTo>
                      <a:pt x="988" y="287"/>
                    </a:lnTo>
                    <a:lnTo>
                      <a:pt x="988" y="285"/>
                    </a:lnTo>
                    <a:lnTo>
                      <a:pt x="990" y="285"/>
                    </a:lnTo>
                    <a:lnTo>
                      <a:pt x="992" y="285"/>
                    </a:lnTo>
                    <a:lnTo>
                      <a:pt x="992" y="284"/>
                    </a:lnTo>
                    <a:lnTo>
                      <a:pt x="995" y="282"/>
                    </a:lnTo>
                    <a:lnTo>
                      <a:pt x="995" y="280"/>
                    </a:lnTo>
                    <a:lnTo>
                      <a:pt x="997" y="280"/>
                    </a:lnTo>
                    <a:lnTo>
                      <a:pt x="997" y="279"/>
                    </a:lnTo>
                    <a:lnTo>
                      <a:pt x="998" y="279"/>
                    </a:lnTo>
                    <a:lnTo>
                      <a:pt x="998" y="277"/>
                    </a:lnTo>
                    <a:lnTo>
                      <a:pt x="998" y="275"/>
                    </a:lnTo>
                    <a:lnTo>
                      <a:pt x="998" y="274"/>
                    </a:lnTo>
                    <a:lnTo>
                      <a:pt x="998" y="272"/>
                    </a:lnTo>
                    <a:lnTo>
                      <a:pt x="1000" y="270"/>
                    </a:lnTo>
                    <a:lnTo>
                      <a:pt x="1000" y="268"/>
                    </a:lnTo>
                    <a:lnTo>
                      <a:pt x="1000" y="267"/>
                    </a:lnTo>
                    <a:lnTo>
                      <a:pt x="1000" y="265"/>
                    </a:lnTo>
                    <a:lnTo>
                      <a:pt x="1000" y="263"/>
                    </a:lnTo>
                    <a:lnTo>
                      <a:pt x="1002" y="263"/>
                    </a:lnTo>
                    <a:lnTo>
                      <a:pt x="1003" y="265"/>
                    </a:lnTo>
                    <a:lnTo>
                      <a:pt x="1003" y="263"/>
                    </a:lnTo>
                    <a:lnTo>
                      <a:pt x="1002" y="263"/>
                    </a:lnTo>
                    <a:lnTo>
                      <a:pt x="1003" y="263"/>
                    </a:lnTo>
                    <a:lnTo>
                      <a:pt x="1002" y="263"/>
                    </a:lnTo>
                    <a:lnTo>
                      <a:pt x="1002" y="262"/>
                    </a:lnTo>
                    <a:lnTo>
                      <a:pt x="1003" y="262"/>
                    </a:lnTo>
                    <a:lnTo>
                      <a:pt x="1005" y="262"/>
                    </a:lnTo>
                    <a:lnTo>
                      <a:pt x="1007" y="262"/>
                    </a:lnTo>
                    <a:lnTo>
                      <a:pt x="1007" y="260"/>
                    </a:lnTo>
                    <a:lnTo>
                      <a:pt x="1009" y="260"/>
                    </a:lnTo>
                    <a:lnTo>
                      <a:pt x="1010" y="260"/>
                    </a:lnTo>
                    <a:lnTo>
                      <a:pt x="1010" y="258"/>
                    </a:lnTo>
                    <a:lnTo>
                      <a:pt x="1012" y="260"/>
                    </a:lnTo>
                    <a:lnTo>
                      <a:pt x="1010" y="260"/>
                    </a:lnTo>
                    <a:lnTo>
                      <a:pt x="1010" y="262"/>
                    </a:lnTo>
                    <a:lnTo>
                      <a:pt x="1012" y="262"/>
                    </a:lnTo>
                    <a:lnTo>
                      <a:pt x="1012" y="263"/>
                    </a:lnTo>
                    <a:lnTo>
                      <a:pt x="1010" y="265"/>
                    </a:lnTo>
                    <a:lnTo>
                      <a:pt x="1009" y="265"/>
                    </a:lnTo>
                    <a:lnTo>
                      <a:pt x="1009" y="267"/>
                    </a:lnTo>
                    <a:lnTo>
                      <a:pt x="1009" y="268"/>
                    </a:lnTo>
                    <a:lnTo>
                      <a:pt x="1007" y="268"/>
                    </a:lnTo>
                    <a:lnTo>
                      <a:pt x="1005" y="268"/>
                    </a:lnTo>
                    <a:lnTo>
                      <a:pt x="1005" y="270"/>
                    </a:lnTo>
                    <a:lnTo>
                      <a:pt x="1003" y="270"/>
                    </a:lnTo>
                    <a:lnTo>
                      <a:pt x="1003" y="272"/>
                    </a:lnTo>
                    <a:lnTo>
                      <a:pt x="1002" y="272"/>
                    </a:lnTo>
                    <a:lnTo>
                      <a:pt x="1003" y="272"/>
                    </a:lnTo>
                    <a:lnTo>
                      <a:pt x="1003" y="274"/>
                    </a:lnTo>
                    <a:lnTo>
                      <a:pt x="1003" y="272"/>
                    </a:lnTo>
                    <a:lnTo>
                      <a:pt x="1005" y="272"/>
                    </a:lnTo>
                    <a:lnTo>
                      <a:pt x="1007" y="272"/>
                    </a:lnTo>
                    <a:lnTo>
                      <a:pt x="1007" y="274"/>
                    </a:lnTo>
                    <a:lnTo>
                      <a:pt x="1007" y="272"/>
                    </a:lnTo>
                    <a:lnTo>
                      <a:pt x="1009" y="272"/>
                    </a:lnTo>
                    <a:lnTo>
                      <a:pt x="1009" y="270"/>
                    </a:lnTo>
                    <a:lnTo>
                      <a:pt x="1010" y="272"/>
                    </a:lnTo>
                    <a:lnTo>
                      <a:pt x="1010" y="270"/>
                    </a:lnTo>
                    <a:lnTo>
                      <a:pt x="1010" y="272"/>
                    </a:lnTo>
                    <a:lnTo>
                      <a:pt x="1010" y="270"/>
                    </a:lnTo>
                    <a:lnTo>
                      <a:pt x="1012" y="268"/>
                    </a:lnTo>
                    <a:lnTo>
                      <a:pt x="1012" y="267"/>
                    </a:lnTo>
                    <a:lnTo>
                      <a:pt x="1014" y="267"/>
                    </a:lnTo>
                    <a:lnTo>
                      <a:pt x="1014" y="265"/>
                    </a:lnTo>
                    <a:lnTo>
                      <a:pt x="1015" y="265"/>
                    </a:lnTo>
                    <a:lnTo>
                      <a:pt x="1015" y="263"/>
                    </a:lnTo>
                    <a:lnTo>
                      <a:pt x="1017" y="265"/>
                    </a:lnTo>
                    <a:lnTo>
                      <a:pt x="1017" y="263"/>
                    </a:lnTo>
                    <a:lnTo>
                      <a:pt x="1019" y="263"/>
                    </a:lnTo>
                    <a:lnTo>
                      <a:pt x="1017" y="263"/>
                    </a:lnTo>
                    <a:lnTo>
                      <a:pt x="1019" y="262"/>
                    </a:lnTo>
                    <a:lnTo>
                      <a:pt x="1019" y="260"/>
                    </a:lnTo>
                    <a:lnTo>
                      <a:pt x="1019" y="258"/>
                    </a:lnTo>
                    <a:lnTo>
                      <a:pt x="1020" y="258"/>
                    </a:lnTo>
                    <a:lnTo>
                      <a:pt x="1019" y="260"/>
                    </a:lnTo>
                    <a:lnTo>
                      <a:pt x="1019" y="262"/>
                    </a:lnTo>
                    <a:lnTo>
                      <a:pt x="1019" y="260"/>
                    </a:lnTo>
                    <a:lnTo>
                      <a:pt x="1020" y="260"/>
                    </a:lnTo>
                    <a:lnTo>
                      <a:pt x="1022" y="258"/>
                    </a:lnTo>
                    <a:lnTo>
                      <a:pt x="1022" y="257"/>
                    </a:lnTo>
                    <a:lnTo>
                      <a:pt x="1022" y="255"/>
                    </a:lnTo>
                    <a:lnTo>
                      <a:pt x="1024" y="255"/>
                    </a:lnTo>
                    <a:lnTo>
                      <a:pt x="1026" y="255"/>
                    </a:lnTo>
                    <a:lnTo>
                      <a:pt x="1026" y="253"/>
                    </a:lnTo>
                    <a:lnTo>
                      <a:pt x="1026" y="255"/>
                    </a:lnTo>
                    <a:lnTo>
                      <a:pt x="1024" y="255"/>
                    </a:lnTo>
                    <a:lnTo>
                      <a:pt x="1024" y="257"/>
                    </a:lnTo>
                    <a:lnTo>
                      <a:pt x="1026" y="257"/>
                    </a:lnTo>
                    <a:lnTo>
                      <a:pt x="1026" y="258"/>
                    </a:lnTo>
                    <a:lnTo>
                      <a:pt x="1024" y="258"/>
                    </a:lnTo>
                    <a:lnTo>
                      <a:pt x="1024" y="260"/>
                    </a:lnTo>
                    <a:lnTo>
                      <a:pt x="1022" y="260"/>
                    </a:lnTo>
                    <a:lnTo>
                      <a:pt x="1020" y="260"/>
                    </a:lnTo>
                    <a:lnTo>
                      <a:pt x="1020" y="262"/>
                    </a:lnTo>
                    <a:lnTo>
                      <a:pt x="1020" y="263"/>
                    </a:lnTo>
                    <a:lnTo>
                      <a:pt x="1020" y="262"/>
                    </a:lnTo>
                    <a:lnTo>
                      <a:pt x="1022" y="262"/>
                    </a:lnTo>
                    <a:lnTo>
                      <a:pt x="1024" y="262"/>
                    </a:lnTo>
                    <a:lnTo>
                      <a:pt x="1022" y="262"/>
                    </a:lnTo>
                    <a:lnTo>
                      <a:pt x="1022" y="263"/>
                    </a:lnTo>
                    <a:lnTo>
                      <a:pt x="1024" y="263"/>
                    </a:lnTo>
                    <a:lnTo>
                      <a:pt x="1024" y="262"/>
                    </a:lnTo>
                    <a:lnTo>
                      <a:pt x="1026" y="262"/>
                    </a:lnTo>
                    <a:lnTo>
                      <a:pt x="1026" y="263"/>
                    </a:lnTo>
                    <a:lnTo>
                      <a:pt x="1026" y="262"/>
                    </a:lnTo>
                    <a:lnTo>
                      <a:pt x="1027" y="262"/>
                    </a:lnTo>
                    <a:lnTo>
                      <a:pt x="1026" y="262"/>
                    </a:lnTo>
                    <a:lnTo>
                      <a:pt x="1027" y="263"/>
                    </a:lnTo>
                    <a:lnTo>
                      <a:pt x="1027" y="262"/>
                    </a:lnTo>
                    <a:lnTo>
                      <a:pt x="1027" y="260"/>
                    </a:lnTo>
                    <a:lnTo>
                      <a:pt x="1029" y="260"/>
                    </a:lnTo>
                    <a:lnTo>
                      <a:pt x="1029" y="262"/>
                    </a:lnTo>
                    <a:lnTo>
                      <a:pt x="1031" y="262"/>
                    </a:lnTo>
                    <a:lnTo>
                      <a:pt x="1031" y="263"/>
                    </a:lnTo>
                    <a:lnTo>
                      <a:pt x="1031" y="262"/>
                    </a:lnTo>
                    <a:lnTo>
                      <a:pt x="1031" y="260"/>
                    </a:lnTo>
                    <a:lnTo>
                      <a:pt x="1032" y="260"/>
                    </a:lnTo>
                    <a:lnTo>
                      <a:pt x="1034" y="260"/>
                    </a:lnTo>
                    <a:lnTo>
                      <a:pt x="1032" y="260"/>
                    </a:lnTo>
                    <a:lnTo>
                      <a:pt x="1031" y="260"/>
                    </a:lnTo>
                    <a:lnTo>
                      <a:pt x="1031" y="258"/>
                    </a:lnTo>
                    <a:lnTo>
                      <a:pt x="1031" y="257"/>
                    </a:lnTo>
                    <a:lnTo>
                      <a:pt x="1032" y="257"/>
                    </a:lnTo>
                    <a:lnTo>
                      <a:pt x="1034" y="257"/>
                    </a:lnTo>
                    <a:lnTo>
                      <a:pt x="1036" y="257"/>
                    </a:lnTo>
                    <a:lnTo>
                      <a:pt x="1037" y="257"/>
                    </a:lnTo>
                    <a:lnTo>
                      <a:pt x="1039" y="258"/>
                    </a:lnTo>
                    <a:lnTo>
                      <a:pt x="1041" y="258"/>
                    </a:lnTo>
                    <a:lnTo>
                      <a:pt x="1043" y="258"/>
                    </a:lnTo>
                    <a:lnTo>
                      <a:pt x="1043" y="260"/>
                    </a:lnTo>
                    <a:lnTo>
                      <a:pt x="1044" y="260"/>
                    </a:lnTo>
                    <a:lnTo>
                      <a:pt x="1046" y="262"/>
                    </a:lnTo>
                    <a:lnTo>
                      <a:pt x="1048" y="262"/>
                    </a:lnTo>
                    <a:lnTo>
                      <a:pt x="1049" y="262"/>
                    </a:lnTo>
                    <a:lnTo>
                      <a:pt x="1049" y="263"/>
                    </a:lnTo>
                    <a:lnTo>
                      <a:pt x="1051" y="263"/>
                    </a:lnTo>
                    <a:lnTo>
                      <a:pt x="1053" y="263"/>
                    </a:lnTo>
                    <a:lnTo>
                      <a:pt x="1053" y="265"/>
                    </a:lnTo>
                    <a:lnTo>
                      <a:pt x="1054" y="265"/>
                    </a:lnTo>
                    <a:lnTo>
                      <a:pt x="1056" y="265"/>
                    </a:lnTo>
                    <a:lnTo>
                      <a:pt x="1058" y="267"/>
                    </a:lnTo>
                    <a:lnTo>
                      <a:pt x="1060" y="267"/>
                    </a:lnTo>
                    <a:lnTo>
                      <a:pt x="1061" y="268"/>
                    </a:lnTo>
                    <a:lnTo>
                      <a:pt x="1063" y="268"/>
                    </a:lnTo>
                    <a:lnTo>
                      <a:pt x="1065" y="268"/>
                    </a:lnTo>
                    <a:lnTo>
                      <a:pt x="1066" y="270"/>
                    </a:lnTo>
                    <a:lnTo>
                      <a:pt x="1068" y="270"/>
                    </a:lnTo>
                    <a:lnTo>
                      <a:pt x="1070" y="270"/>
                    </a:lnTo>
                    <a:lnTo>
                      <a:pt x="1071" y="270"/>
                    </a:lnTo>
                    <a:lnTo>
                      <a:pt x="1071" y="272"/>
                    </a:lnTo>
                    <a:lnTo>
                      <a:pt x="1073" y="274"/>
                    </a:lnTo>
                    <a:lnTo>
                      <a:pt x="1071" y="274"/>
                    </a:lnTo>
                    <a:lnTo>
                      <a:pt x="1073" y="274"/>
                    </a:lnTo>
                    <a:lnTo>
                      <a:pt x="1073" y="272"/>
                    </a:lnTo>
                    <a:lnTo>
                      <a:pt x="1073" y="274"/>
                    </a:lnTo>
                    <a:lnTo>
                      <a:pt x="1073" y="272"/>
                    </a:lnTo>
                    <a:lnTo>
                      <a:pt x="1073" y="274"/>
                    </a:lnTo>
                    <a:lnTo>
                      <a:pt x="1075" y="274"/>
                    </a:lnTo>
                    <a:lnTo>
                      <a:pt x="1075" y="272"/>
                    </a:lnTo>
                    <a:lnTo>
                      <a:pt x="1077" y="272"/>
                    </a:lnTo>
                    <a:lnTo>
                      <a:pt x="1075" y="272"/>
                    </a:lnTo>
                    <a:lnTo>
                      <a:pt x="1073" y="272"/>
                    </a:lnTo>
                    <a:lnTo>
                      <a:pt x="1075" y="272"/>
                    </a:lnTo>
                    <a:lnTo>
                      <a:pt x="1075" y="270"/>
                    </a:lnTo>
                    <a:lnTo>
                      <a:pt x="1077" y="272"/>
                    </a:lnTo>
                    <a:lnTo>
                      <a:pt x="1078" y="272"/>
                    </a:lnTo>
                    <a:lnTo>
                      <a:pt x="1078" y="274"/>
                    </a:lnTo>
                    <a:lnTo>
                      <a:pt x="1078" y="272"/>
                    </a:lnTo>
                    <a:lnTo>
                      <a:pt x="1080" y="272"/>
                    </a:lnTo>
                    <a:lnTo>
                      <a:pt x="1080" y="270"/>
                    </a:lnTo>
                    <a:lnTo>
                      <a:pt x="1082" y="270"/>
                    </a:lnTo>
                    <a:lnTo>
                      <a:pt x="1083" y="270"/>
                    </a:lnTo>
                    <a:lnTo>
                      <a:pt x="1085" y="270"/>
                    </a:lnTo>
                    <a:lnTo>
                      <a:pt x="1087" y="270"/>
                    </a:lnTo>
                    <a:lnTo>
                      <a:pt x="1085" y="272"/>
                    </a:lnTo>
                    <a:lnTo>
                      <a:pt x="1087" y="272"/>
                    </a:lnTo>
                    <a:lnTo>
                      <a:pt x="1087" y="270"/>
                    </a:lnTo>
                    <a:lnTo>
                      <a:pt x="1088" y="272"/>
                    </a:lnTo>
                    <a:lnTo>
                      <a:pt x="1090" y="272"/>
                    </a:lnTo>
                    <a:lnTo>
                      <a:pt x="1090" y="274"/>
                    </a:lnTo>
                    <a:lnTo>
                      <a:pt x="1092" y="274"/>
                    </a:lnTo>
                    <a:lnTo>
                      <a:pt x="1092" y="275"/>
                    </a:lnTo>
                    <a:lnTo>
                      <a:pt x="1094" y="275"/>
                    </a:lnTo>
                    <a:lnTo>
                      <a:pt x="1095" y="275"/>
                    </a:lnTo>
                    <a:lnTo>
                      <a:pt x="1095" y="277"/>
                    </a:lnTo>
                    <a:lnTo>
                      <a:pt x="1097" y="277"/>
                    </a:lnTo>
                    <a:lnTo>
                      <a:pt x="1097" y="275"/>
                    </a:lnTo>
                    <a:lnTo>
                      <a:pt x="1099" y="275"/>
                    </a:lnTo>
                    <a:lnTo>
                      <a:pt x="1099" y="277"/>
                    </a:lnTo>
                    <a:lnTo>
                      <a:pt x="1100" y="277"/>
                    </a:lnTo>
                    <a:lnTo>
                      <a:pt x="1100" y="275"/>
                    </a:lnTo>
                    <a:lnTo>
                      <a:pt x="1100" y="277"/>
                    </a:lnTo>
                    <a:lnTo>
                      <a:pt x="1102" y="277"/>
                    </a:lnTo>
                    <a:lnTo>
                      <a:pt x="1104" y="277"/>
                    </a:lnTo>
                    <a:lnTo>
                      <a:pt x="1104" y="275"/>
                    </a:lnTo>
                    <a:lnTo>
                      <a:pt x="1105" y="275"/>
                    </a:lnTo>
                    <a:lnTo>
                      <a:pt x="1107" y="275"/>
                    </a:lnTo>
                    <a:lnTo>
                      <a:pt x="1109" y="275"/>
                    </a:lnTo>
                    <a:lnTo>
                      <a:pt x="1111" y="275"/>
                    </a:lnTo>
                    <a:lnTo>
                      <a:pt x="1112" y="275"/>
                    </a:lnTo>
                    <a:lnTo>
                      <a:pt x="1114" y="275"/>
                    </a:lnTo>
                    <a:lnTo>
                      <a:pt x="1116" y="275"/>
                    </a:lnTo>
                    <a:lnTo>
                      <a:pt x="1117" y="275"/>
                    </a:lnTo>
                    <a:lnTo>
                      <a:pt x="1119" y="275"/>
                    </a:lnTo>
                    <a:lnTo>
                      <a:pt x="1121" y="275"/>
                    </a:lnTo>
                    <a:lnTo>
                      <a:pt x="1121" y="274"/>
                    </a:lnTo>
                    <a:lnTo>
                      <a:pt x="1122" y="274"/>
                    </a:lnTo>
                    <a:lnTo>
                      <a:pt x="1124" y="274"/>
                    </a:lnTo>
                    <a:lnTo>
                      <a:pt x="1126" y="274"/>
                    </a:lnTo>
                    <a:lnTo>
                      <a:pt x="1128" y="274"/>
                    </a:lnTo>
                    <a:lnTo>
                      <a:pt x="1129" y="274"/>
                    </a:lnTo>
                    <a:lnTo>
                      <a:pt x="1131" y="272"/>
                    </a:lnTo>
                    <a:lnTo>
                      <a:pt x="1133" y="272"/>
                    </a:lnTo>
                    <a:lnTo>
                      <a:pt x="1133" y="274"/>
                    </a:lnTo>
                    <a:lnTo>
                      <a:pt x="1134" y="274"/>
                    </a:lnTo>
                    <a:lnTo>
                      <a:pt x="1136" y="274"/>
                    </a:lnTo>
                    <a:lnTo>
                      <a:pt x="1136" y="272"/>
                    </a:lnTo>
                    <a:lnTo>
                      <a:pt x="1138" y="272"/>
                    </a:lnTo>
                    <a:lnTo>
                      <a:pt x="1138" y="274"/>
                    </a:lnTo>
                    <a:lnTo>
                      <a:pt x="1139" y="274"/>
                    </a:lnTo>
                    <a:lnTo>
                      <a:pt x="1141" y="274"/>
                    </a:lnTo>
                    <a:lnTo>
                      <a:pt x="1143" y="274"/>
                    </a:lnTo>
                    <a:lnTo>
                      <a:pt x="1145" y="274"/>
                    </a:lnTo>
                    <a:lnTo>
                      <a:pt x="1146" y="274"/>
                    </a:lnTo>
                    <a:lnTo>
                      <a:pt x="1148" y="274"/>
                    </a:lnTo>
                    <a:lnTo>
                      <a:pt x="1150" y="274"/>
                    </a:lnTo>
                    <a:lnTo>
                      <a:pt x="1150" y="275"/>
                    </a:lnTo>
                    <a:lnTo>
                      <a:pt x="1151" y="275"/>
                    </a:lnTo>
                    <a:lnTo>
                      <a:pt x="1150" y="275"/>
                    </a:lnTo>
                    <a:lnTo>
                      <a:pt x="1151" y="275"/>
                    </a:lnTo>
                    <a:lnTo>
                      <a:pt x="1153" y="275"/>
                    </a:lnTo>
                    <a:lnTo>
                      <a:pt x="1153" y="277"/>
                    </a:lnTo>
                    <a:lnTo>
                      <a:pt x="1155" y="277"/>
                    </a:lnTo>
                    <a:lnTo>
                      <a:pt x="1156" y="279"/>
                    </a:lnTo>
                    <a:lnTo>
                      <a:pt x="1158" y="279"/>
                    </a:lnTo>
                    <a:lnTo>
                      <a:pt x="1160" y="280"/>
                    </a:lnTo>
                    <a:lnTo>
                      <a:pt x="1162" y="280"/>
                    </a:lnTo>
                    <a:lnTo>
                      <a:pt x="1162" y="282"/>
                    </a:lnTo>
                    <a:lnTo>
                      <a:pt x="1163" y="282"/>
                    </a:lnTo>
                    <a:lnTo>
                      <a:pt x="1165" y="282"/>
                    </a:lnTo>
                    <a:lnTo>
                      <a:pt x="1165" y="284"/>
                    </a:lnTo>
                    <a:lnTo>
                      <a:pt x="1167" y="284"/>
                    </a:lnTo>
                    <a:lnTo>
                      <a:pt x="1168" y="285"/>
                    </a:lnTo>
                    <a:lnTo>
                      <a:pt x="1170" y="285"/>
                    </a:lnTo>
                    <a:lnTo>
                      <a:pt x="1172" y="285"/>
                    </a:lnTo>
                    <a:lnTo>
                      <a:pt x="1172" y="287"/>
                    </a:lnTo>
                    <a:lnTo>
                      <a:pt x="1173" y="287"/>
                    </a:lnTo>
                    <a:lnTo>
                      <a:pt x="1175" y="287"/>
                    </a:lnTo>
                    <a:lnTo>
                      <a:pt x="1175" y="289"/>
                    </a:lnTo>
                    <a:lnTo>
                      <a:pt x="1175" y="291"/>
                    </a:lnTo>
                    <a:lnTo>
                      <a:pt x="1177" y="291"/>
                    </a:lnTo>
                    <a:lnTo>
                      <a:pt x="1179" y="292"/>
                    </a:lnTo>
                    <a:lnTo>
                      <a:pt x="1180" y="294"/>
                    </a:lnTo>
                    <a:lnTo>
                      <a:pt x="1180" y="292"/>
                    </a:lnTo>
                    <a:lnTo>
                      <a:pt x="1182" y="292"/>
                    </a:lnTo>
                    <a:lnTo>
                      <a:pt x="1184" y="294"/>
                    </a:lnTo>
                    <a:lnTo>
                      <a:pt x="1184" y="296"/>
                    </a:lnTo>
                    <a:lnTo>
                      <a:pt x="1185" y="296"/>
                    </a:lnTo>
                    <a:lnTo>
                      <a:pt x="1185" y="297"/>
                    </a:lnTo>
                    <a:lnTo>
                      <a:pt x="1187" y="297"/>
                    </a:lnTo>
                    <a:lnTo>
                      <a:pt x="1189" y="297"/>
                    </a:lnTo>
                    <a:lnTo>
                      <a:pt x="1189" y="299"/>
                    </a:lnTo>
                    <a:lnTo>
                      <a:pt x="1190" y="301"/>
                    </a:lnTo>
                    <a:lnTo>
                      <a:pt x="1192" y="301"/>
                    </a:lnTo>
                    <a:lnTo>
                      <a:pt x="1192" y="302"/>
                    </a:lnTo>
                    <a:lnTo>
                      <a:pt x="1194" y="302"/>
                    </a:lnTo>
                    <a:lnTo>
                      <a:pt x="1196" y="302"/>
                    </a:lnTo>
                    <a:lnTo>
                      <a:pt x="1197" y="304"/>
                    </a:lnTo>
                    <a:lnTo>
                      <a:pt x="1199" y="304"/>
                    </a:lnTo>
                    <a:lnTo>
                      <a:pt x="1199" y="302"/>
                    </a:lnTo>
                    <a:lnTo>
                      <a:pt x="1199" y="304"/>
                    </a:lnTo>
                    <a:lnTo>
                      <a:pt x="1201" y="304"/>
                    </a:lnTo>
                    <a:lnTo>
                      <a:pt x="1201" y="306"/>
                    </a:lnTo>
                    <a:lnTo>
                      <a:pt x="1202" y="308"/>
                    </a:lnTo>
                    <a:lnTo>
                      <a:pt x="1202" y="309"/>
                    </a:lnTo>
                    <a:lnTo>
                      <a:pt x="1204" y="309"/>
                    </a:lnTo>
                    <a:lnTo>
                      <a:pt x="1204" y="311"/>
                    </a:lnTo>
                    <a:lnTo>
                      <a:pt x="1206" y="311"/>
                    </a:lnTo>
                    <a:lnTo>
                      <a:pt x="1207" y="313"/>
                    </a:lnTo>
                    <a:lnTo>
                      <a:pt x="1209" y="314"/>
                    </a:lnTo>
                    <a:lnTo>
                      <a:pt x="1209" y="316"/>
                    </a:lnTo>
                    <a:lnTo>
                      <a:pt x="1211" y="316"/>
                    </a:lnTo>
                    <a:lnTo>
                      <a:pt x="1211" y="318"/>
                    </a:lnTo>
                    <a:lnTo>
                      <a:pt x="1213" y="319"/>
                    </a:lnTo>
                    <a:lnTo>
                      <a:pt x="1214" y="321"/>
                    </a:lnTo>
                    <a:lnTo>
                      <a:pt x="1216" y="321"/>
                    </a:lnTo>
                    <a:lnTo>
                      <a:pt x="1216" y="323"/>
                    </a:lnTo>
                    <a:lnTo>
                      <a:pt x="1218" y="323"/>
                    </a:lnTo>
                    <a:lnTo>
                      <a:pt x="1218" y="325"/>
                    </a:lnTo>
                    <a:lnTo>
                      <a:pt x="1219" y="326"/>
                    </a:lnTo>
                    <a:lnTo>
                      <a:pt x="1221" y="326"/>
                    </a:lnTo>
                    <a:lnTo>
                      <a:pt x="1223" y="326"/>
                    </a:lnTo>
                    <a:lnTo>
                      <a:pt x="1223" y="328"/>
                    </a:lnTo>
                    <a:lnTo>
                      <a:pt x="1224" y="328"/>
                    </a:lnTo>
                    <a:lnTo>
                      <a:pt x="1224" y="330"/>
                    </a:lnTo>
                    <a:lnTo>
                      <a:pt x="1224" y="331"/>
                    </a:lnTo>
                    <a:lnTo>
                      <a:pt x="1226" y="331"/>
                    </a:lnTo>
                    <a:lnTo>
                      <a:pt x="1228" y="333"/>
                    </a:lnTo>
                    <a:lnTo>
                      <a:pt x="1230" y="335"/>
                    </a:lnTo>
                    <a:lnTo>
                      <a:pt x="1231" y="335"/>
                    </a:lnTo>
                    <a:lnTo>
                      <a:pt x="1233" y="335"/>
                    </a:lnTo>
                    <a:lnTo>
                      <a:pt x="1235" y="335"/>
                    </a:lnTo>
                    <a:lnTo>
                      <a:pt x="1235" y="337"/>
                    </a:lnTo>
                    <a:lnTo>
                      <a:pt x="1236" y="337"/>
                    </a:lnTo>
                    <a:lnTo>
                      <a:pt x="1238" y="337"/>
                    </a:lnTo>
                    <a:lnTo>
                      <a:pt x="1238" y="338"/>
                    </a:lnTo>
                    <a:lnTo>
                      <a:pt x="1240" y="338"/>
                    </a:lnTo>
                    <a:lnTo>
                      <a:pt x="1240" y="340"/>
                    </a:lnTo>
                    <a:lnTo>
                      <a:pt x="1240" y="342"/>
                    </a:lnTo>
                    <a:lnTo>
                      <a:pt x="1241" y="342"/>
                    </a:lnTo>
                    <a:lnTo>
                      <a:pt x="1241" y="343"/>
                    </a:lnTo>
                    <a:lnTo>
                      <a:pt x="1243" y="343"/>
                    </a:lnTo>
                    <a:lnTo>
                      <a:pt x="1243" y="345"/>
                    </a:lnTo>
                    <a:lnTo>
                      <a:pt x="1245" y="345"/>
                    </a:lnTo>
                    <a:lnTo>
                      <a:pt x="1247" y="345"/>
                    </a:lnTo>
                    <a:lnTo>
                      <a:pt x="1248" y="345"/>
                    </a:lnTo>
                    <a:lnTo>
                      <a:pt x="1250" y="345"/>
                    </a:lnTo>
                    <a:lnTo>
                      <a:pt x="1252" y="345"/>
                    </a:lnTo>
                    <a:lnTo>
                      <a:pt x="1253" y="345"/>
                    </a:lnTo>
                    <a:lnTo>
                      <a:pt x="1253" y="347"/>
                    </a:lnTo>
                    <a:lnTo>
                      <a:pt x="1255" y="347"/>
                    </a:lnTo>
                    <a:lnTo>
                      <a:pt x="1255" y="348"/>
                    </a:lnTo>
                    <a:lnTo>
                      <a:pt x="1257" y="348"/>
                    </a:lnTo>
                    <a:lnTo>
                      <a:pt x="1258" y="348"/>
                    </a:lnTo>
                    <a:lnTo>
                      <a:pt x="1258" y="350"/>
                    </a:lnTo>
                    <a:lnTo>
                      <a:pt x="1260" y="350"/>
                    </a:lnTo>
                    <a:lnTo>
                      <a:pt x="1262" y="350"/>
                    </a:lnTo>
                    <a:lnTo>
                      <a:pt x="1264" y="350"/>
                    </a:lnTo>
                    <a:lnTo>
                      <a:pt x="1262" y="350"/>
                    </a:lnTo>
                    <a:lnTo>
                      <a:pt x="1264" y="350"/>
                    </a:lnTo>
                    <a:lnTo>
                      <a:pt x="1265" y="350"/>
                    </a:lnTo>
                    <a:lnTo>
                      <a:pt x="1267" y="350"/>
                    </a:lnTo>
                    <a:lnTo>
                      <a:pt x="1267" y="348"/>
                    </a:lnTo>
                    <a:lnTo>
                      <a:pt x="1269" y="350"/>
                    </a:lnTo>
                    <a:lnTo>
                      <a:pt x="1270" y="350"/>
                    </a:lnTo>
                    <a:lnTo>
                      <a:pt x="1272" y="350"/>
                    </a:lnTo>
                    <a:lnTo>
                      <a:pt x="1274" y="350"/>
                    </a:lnTo>
                    <a:lnTo>
                      <a:pt x="1275" y="350"/>
                    </a:lnTo>
                    <a:lnTo>
                      <a:pt x="1277" y="350"/>
                    </a:lnTo>
                    <a:lnTo>
                      <a:pt x="1279" y="350"/>
                    </a:lnTo>
                    <a:lnTo>
                      <a:pt x="1281" y="348"/>
                    </a:lnTo>
                    <a:lnTo>
                      <a:pt x="1282" y="348"/>
                    </a:lnTo>
                    <a:lnTo>
                      <a:pt x="1284" y="348"/>
                    </a:lnTo>
                    <a:lnTo>
                      <a:pt x="1286" y="348"/>
                    </a:lnTo>
                    <a:lnTo>
                      <a:pt x="1287" y="348"/>
                    </a:lnTo>
                    <a:lnTo>
                      <a:pt x="1289" y="350"/>
                    </a:lnTo>
                    <a:lnTo>
                      <a:pt x="1291" y="350"/>
                    </a:lnTo>
                    <a:lnTo>
                      <a:pt x="1292" y="350"/>
                    </a:lnTo>
                    <a:lnTo>
                      <a:pt x="1294" y="350"/>
                    </a:lnTo>
                    <a:lnTo>
                      <a:pt x="1294" y="352"/>
                    </a:lnTo>
                    <a:lnTo>
                      <a:pt x="1296" y="350"/>
                    </a:lnTo>
                    <a:lnTo>
                      <a:pt x="1296" y="352"/>
                    </a:lnTo>
                    <a:lnTo>
                      <a:pt x="1298" y="352"/>
                    </a:lnTo>
                    <a:lnTo>
                      <a:pt x="1299" y="352"/>
                    </a:lnTo>
                    <a:lnTo>
                      <a:pt x="1301" y="352"/>
                    </a:lnTo>
                    <a:lnTo>
                      <a:pt x="1301" y="354"/>
                    </a:lnTo>
                    <a:lnTo>
                      <a:pt x="1303" y="354"/>
                    </a:lnTo>
                    <a:lnTo>
                      <a:pt x="1303" y="355"/>
                    </a:lnTo>
                    <a:lnTo>
                      <a:pt x="1304" y="357"/>
                    </a:lnTo>
                    <a:lnTo>
                      <a:pt x="1304" y="359"/>
                    </a:lnTo>
                    <a:lnTo>
                      <a:pt x="1306" y="360"/>
                    </a:lnTo>
                    <a:lnTo>
                      <a:pt x="1306" y="362"/>
                    </a:lnTo>
                    <a:lnTo>
                      <a:pt x="1308" y="364"/>
                    </a:lnTo>
                    <a:lnTo>
                      <a:pt x="1308" y="365"/>
                    </a:lnTo>
                    <a:lnTo>
                      <a:pt x="1308" y="367"/>
                    </a:lnTo>
                    <a:lnTo>
                      <a:pt x="1309" y="367"/>
                    </a:lnTo>
                    <a:lnTo>
                      <a:pt x="1309" y="369"/>
                    </a:lnTo>
                    <a:lnTo>
                      <a:pt x="1309" y="371"/>
                    </a:lnTo>
                    <a:lnTo>
                      <a:pt x="1309" y="372"/>
                    </a:lnTo>
                    <a:lnTo>
                      <a:pt x="1309" y="374"/>
                    </a:lnTo>
                    <a:lnTo>
                      <a:pt x="1311" y="374"/>
                    </a:lnTo>
                    <a:lnTo>
                      <a:pt x="1311" y="376"/>
                    </a:lnTo>
                    <a:lnTo>
                      <a:pt x="1311" y="377"/>
                    </a:lnTo>
                    <a:lnTo>
                      <a:pt x="1311" y="379"/>
                    </a:lnTo>
                    <a:lnTo>
                      <a:pt x="1313" y="379"/>
                    </a:lnTo>
                    <a:lnTo>
                      <a:pt x="1313" y="381"/>
                    </a:lnTo>
                    <a:lnTo>
                      <a:pt x="1313" y="382"/>
                    </a:lnTo>
                    <a:lnTo>
                      <a:pt x="1313" y="384"/>
                    </a:lnTo>
                    <a:lnTo>
                      <a:pt x="1313" y="386"/>
                    </a:lnTo>
                    <a:lnTo>
                      <a:pt x="1313" y="388"/>
                    </a:lnTo>
                    <a:lnTo>
                      <a:pt x="1315" y="388"/>
                    </a:lnTo>
                    <a:lnTo>
                      <a:pt x="1315" y="389"/>
                    </a:lnTo>
                    <a:lnTo>
                      <a:pt x="1315" y="391"/>
                    </a:lnTo>
                    <a:lnTo>
                      <a:pt x="1316" y="391"/>
                    </a:lnTo>
                    <a:lnTo>
                      <a:pt x="1315" y="391"/>
                    </a:lnTo>
                    <a:lnTo>
                      <a:pt x="1316" y="393"/>
                    </a:lnTo>
                    <a:lnTo>
                      <a:pt x="1316" y="394"/>
                    </a:lnTo>
                    <a:lnTo>
                      <a:pt x="1318" y="394"/>
                    </a:lnTo>
                    <a:lnTo>
                      <a:pt x="1318" y="396"/>
                    </a:lnTo>
                    <a:lnTo>
                      <a:pt x="1318" y="398"/>
                    </a:lnTo>
                    <a:lnTo>
                      <a:pt x="1318" y="399"/>
                    </a:lnTo>
                    <a:lnTo>
                      <a:pt x="1318" y="401"/>
                    </a:lnTo>
                    <a:lnTo>
                      <a:pt x="1318" y="403"/>
                    </a:lnTo>
                    <a:lnTo>
                      <a:pt x="1318" y="405"/>
                    </a:lnTo>
                    <a:lnTo>
                      <a:pt x="1320" y="405"/>
                    </a:lnTo>
                    <a:lnTo>
                      <a:pt x="1318" y="405"/>
                    </a:lnTo>
                    <a:lnTo>
                      <a:pt x="1320" y="405"/>
                    </a:lnTo>
                    <a:lnTo>
                      <a:pt x="1318" y="406"/>
                    </a:lnTo>
                    <a:lnTo>
                      <a:pt x="1320" y="406"/>
                    </a:lnTo>
                    <a:lnTo>
                      <a:pt x="1318" y="406"/>
                    </a:lnTo>
                    <a:lnTo>
                      <a:pt x="1320" y="406"/>
                    </a:lnTo>
                    <a:lnTo>
                      <a:pt x="1320" y="408"/>
                    </a:lnTo>
                    <a:lnTo>
                      <a:pt x="1320" y="410"/>
                    </a:lnTo>
                    <a:lnTo>
                      <a:pt x="1320" y="411"/>
                    </a:lnTo>
                    <a:lnTo>
                      <a:pt x="1321" y="411"/>
                    </a:lnTo>
                    <a:lnTo>
                      <a:pt x="1321" y="413"/>
                    </a:lnTo>
                    <a:lnTo>
                      <a:pt x="1323" y="413"/>
                    </a:lnTo>
                    <a:lnTo>
                      <a:pt x="1323" y="415"/>
                    </a:lnTo>
                    <a:lnTo>
                      <a:pt x="1323" y="416"/>
                    </a:lnTo>
                    <a:lnTo>
                      <a:pt x="1321" y="416"/>
                    </a:lnTo>
                    <a:lnTo>
                      <a:pt x="1323" y="418"/>
                    </a:lnTo>
                    <a:lnTo>
                      <a:pt x="1321" y="418"/>
                    </a:lnTo>
                    <a:lnTo>
                      <a:pt x="1323" y="418"/>
                    </a:lnTo>
                    <a:lnTo>
                      <a:pt x="1323" y="420"/>
                    </a:lnTo>
                    <a:lnTo>
                      <a:pt x="1323" y="422"/>
                    </a:lnTo>
                    <a:lnTo>
                      <a:pt x="1323" y="423"/>
                    </a:lnTo>
                    <a:lnTo>
                      <a:pt x="1323" y="425"/>
                    </a:lnTo>
                    <a:lnTo>
                      <a:pt x="1323" y="427"/>
                    </a:lnTo>
                    <a:lnTo>
                      <a:pt x="1323" y="428"/>
                    </a:lnTo>
                    <a:lnTo>
                      <a:pt x="1323" y="430"/>
                    </a:lnTo>
                    <a:lnTo>
                      <a:pt x="1323" y="432"/>
                    </a:lnTo>
                    <a:lnTo>
                      <a:pt x="1323" y="433"/>
                    </a:lnTo>
                    <a:lnTo>
                      <a:pt x="1321" y="433"/>
                    </a:lnTo>
                    <a:lnTo>
                      <a:pt x="1323" y="435"/>
                    </a:lnTo>
                    <a:lnTo>
                      <a:pt x="1323" y="437"/>
                    </a:lnTo>
                    <a:lnTo>
                      <a:pt x="1323" y="439"/>
                    </a:lnTo>
                    <a:lnTo>
                      <a:pt x="1321" y="439"/>
                    </a:lnTo>
                    <a:lnTo>
                      <a:pt x="1323" y="439"/>
                    </a:lnTo>
                    <a:lnTo>
                      <a:pt x="1321" y="439"/>
                    </a:lnTo>
                    <a:lnTo>
                      <a:pt x="1323" y="440"/>
                    </a:lnTo>
                    <a:lnTo>
                      <a:pt x="1321" y="442"/>
                    </a:lnTo>
                    <a:lnTo>
                      <a:pt x="1321" y="444"/>
                    </a:lnTo>
                    <a:lnTo>
                      <a:pt x="1323" y="445"/>
                    </a:lnTo>
                    <a:lnTo>
                      <a:pt x="1323" y="447"/>
                    </a:lnTo>
                    <a:lnTo>
                      <a:pt x="1321" y="449"/>
                    </a:lnTo>
                    <a:lnTo>
                      <a:pt x="1321" y="450"/>
                    </a:lnTo>
                    <a:lnTo>
                      <a:pt x="1320" y="452"/>
                    </a:lnTo>
                    <a:lnTo>
                      <a:pt x="1321" y="452"/>
                    </a:lnTo>
                    <a:lnTo>
                      <a:pt x="1320" y="452"/>
                    </a:lnTo>
                    <a:lnTo>
                      <a:pt x="1320" y="454"/>
                    </a:lnTo>
                    <a:lnTo>
                      <a:pt x="1320" y="456"/>
                    </a:lnTo>
                    <a:lnTo>
                      <a:pt x="1320" y="457"/>
                    </a:lnTo>
                    <a:lnTo>
                      <a:pt x="1318" y="457"/>
                    </a:lnTo>
                    <a:lnTo>
                      <a:pt x="1318" y="459"/>
                    </a:lnTo>
                    <a:lnTo>
                      <a:pt x="1318" y="461"/>
                    </a:lnTo>
                    <a:lnTo>
                      <a:pt x="1318" y="462"/>
                    </a:lnTo>
                    <a:lnTo>
                      <a:pt x="1318" y="464"/>
                    </a:lnTo>
                    <a:lnTo>
                      <a:pt x="1316" y="464"/>
                    </a:lnTo>
                    <a:lnTo>
                      <a:pt x="1316" y="466"/>
                    </a:lnTo>
                    <a:lnTo>
                      <a:pt x="1316" y="467"/>
                    </a:lnTo>
                    <a:lnTo>
                      <a:pt x="1315" y="469"/>
                    </a:lnTo>
                    <a:lnTo>
                      <a:pt x="1315" y="471"/>
                    </a:lnTo>
                    <a:lnTo>
                      <a:pt x="1315" y="473"/>
                    </a:lnTo>
                    <a:lnTo>
                      <a:pt x="1313" y="473"/>
                    </a:lnTo>
                    <a:lnTo>
                      <a:pt x="1315" y="473"/>
                    </a:lnTo>
                    <a:lnTo>
                      <a:pt x="1313" y="474"/>
                    </a:lnTo>
                    <a:lnTo>
                      <a:pt x="1313" y="476"/>
                    </a:lnTo>
                    <a:lnTo>
                      <a:pt x="1313" y="478"/>
                    </a:lnTo>
                    <a:lnTo>
                      <a:pt x="1311" y="478"/>
                    </a:lnTo>
                    <a:lnTo>
                      <a:pt x="1313" y="478"/>
                    </a:lnTo>
                    <a:lnTo>
                      <a:pt x="1311" y="479"/>
                    </a:lnTo>
                    <a:lnTo>
                      <a:pt x="1311" y="481"/>
                    </a:lnTo>
                    <a:lnTo>
                      <a:pt x="1311" y="483"/>
                    </a:lnTo>
                    <a:lnTo>
                      <a:pt x="1309" y="483"/>
                    </a:lnTo>
                    <a:lnTo>
                      <a:pt x="1309" y="485"/>
                    </a:lnTo>
                    <a:lnTo>
                      <a:pt x="1308" y="485"/>
                    </a:lnTo>
                    <a:lnTo>
                      <a:pt x="1308" y="486"/>
                    </a:lnTo>
                    <a:lnTo>
                      <a:pt x="1308" y="488"/>
                    </a:lnTo>
                    <a:lnTo>
                      <a:pt x="1306" y="488"/>
                    </a:lnTo>
                    <a:lnTo>
                      <a:pt x="1306" y="490"/>
                    </a:lnTo>
                    <a:lnTo>
                      <a:pt x="1306" y="491"/>
                    </a:lnTo>
                    <a:lnTo>
                      <a:pt x="1304" y="491"/>
                    </a:lnTo>
                    <a:lnTo>
                      <a:pt x="1304" y="493"/>
                    </a:lnTo>
                    <a:lnTo>
                      <a:pt x="1303" y="493"/>
                    </a:lnTo>
                    <a:lnTo>
                      <a:pt x="1303" y="495"/>
                    </a:lnTo>
                    <a:lnTo>
                      <a:pt x="1301" y="495"/>
                    </a:lnTo>
                    <a:lnTo>
                      <a:pt x="1301" y="496"/>
                    </a:lnTo>
                    <a:lnTo>
                      <a:pt x="1299" y="496"/>
                    </a:lnTo>
                    <a:lnTo>
                      <a:pt x="1299" y="498"/>
                    </a:lnTo>
                    <a:lnTo>
                      <a:pt x="1298" y="500"/>
                    </a:lnTo>
                    <a:lnTo>
                      <a:pt x="1296" y="500"/>
                    </a:lnTo>
                    <a:lnTo>
                      <a:pt x="1296" y="502"/>
                    </a:lnTo>
                    <a:lnTo>
                      <a:pt x="1294" y="502"/>
                    </a:lnTo>
                    <a:lnTo>
                      <a:pt x="1294" y="503"/>
                    </a:lnTo>
                    <a:lnTo>
                      <a:pt x="1292" y="505"/>
                    </a:lnTo>
                    <a:lnTo>
                      <a:pt x="1292" y="507"/>
                    </a:lnTo>
                    <a:lnTo>
                      <a:pt x="1291" y="507"/>
                    </a:lnTo>
                    <a:lnTo>
                      <a:pt x="1289" y="507"/>
                    </a:lnTo>
                    <a:lnTo>
                      <a:pt x="1289" y="508"/>
                    </a:lnTo>
                    <a:lnTo>
                      <a:pt x="1289" y="510"/>
                    </a:lnTo>
                    <a:lnTo>
                      <a:pt x="1287" y="510"/>
                    </a:lnTo>
                    <a:lnTo>
                      <a:pt x="1287" y="512"/>
                    </a:lnTo>
                    <a:lnTo>
                      <a:pt x="1286" y="512"/>
                    </a:lnTo>
                    <a:lnTo>
                      <a:pt x="1286" y="513"/>
                    </a:lnTo>
                    <a:lnTo>
                      <a:pt x="1284" y="513"/>
                    </a:lnTo>
                    <a:lnTo>
                      <a:pt x="1284" y="515"/>
                    </a:lnTo>
                    <a:lnTo>
                      <a:pt x="1284" y="517"/>
                    </a:lnTo>
                    <a:lnTo>
                      <a:pt x="1282" y="517"/>
                    </a:lnTo>
                    <a:lnTo>
                      <a:pt x="1282" y="519"/>
                    </a:lnTo>
                    <a:lnTo>
                      <a:pt x="1281" y="520"/>
                    </a:lnTo>
                    <a:lnTo>
                      <a:pt x="1279" y="520"/>
                    </a:lnTo>
                    <a:lnTo>
                      <a:pt x="1279" y="522"/>
                    </a:lnTo>
                    <a:lnTo>
                      <a:pt x="1279" y="524"/>
                    </a:lnTo>
                    <a:lnTo>
                      <a:pt x="1277" y="522"/>
                    </a:lnTo>
                    <a:lnTo>
                      <a:pt x="1277" y="524"/>
                    </a:lnTo>
                    <a:lnTo>
                      <a:pt x="1275" y="524"/>
                    </a:lnTo>
                    <a:lnTo>
                      <a:pt x="1275" y="525"/>
                    </a:lnTo>
                    <a:lnTo>
                      <a:pt x="1274" y="525"/>
                    </a:lnTo>
                    <a:lnTo>
                      <a:pt x="1274" y="527"/>
                    </a:lnTo>
                    <a:lnTo>
                      <a:pt x="1272" y="527"/>
                    </a:lnTo>
                    <a:lnTo>
                      <a:pt x="1272" y="529"/>
                    </a:lnTo>
                    <a:lnTo>
                      <a:pt x="1272" y="530"/>
                    </a:lnTo>
                    <a:lnTo>
                      <a:pt x="1270" y="532"/>
                    </a:lnTo>
                    <a:lnTo>
                      <a:pt x="1270" y="534"/>
                    </a:lnTo>
                    <a:lnTo>
                      <a:pt x="1269" y="534"/>
                    </a:lnTo>
                    <a:lnTo>
                      <a:pt x="1269" y="536"/>
                    </a:lnTo>
                    <a:lnTo>
                      <a:pt x="1267" y="536"/>
                    </a:lnTo>
                    <a:lnTo>
                      <a:pt x="1265" y="536"/>
                    </a:lnTo>
                    <a:lnTo>
                      <a:pt x="1264" y="537"/>
                    </a:lnTo>
                    <a:lnTo>
                      <a:pt x="1262" y="537"/>
                    </a:lnTo>
                    <a:lnTo>
                      <a:pt x="1260" y="539"/>
                    </a:lnTo>
                    <a:lnTo>
                      <a:pt x="1258" y="539"/>
                    </a:lnTo>
                    <a:lnTo>
                      <a:pt x="1258" y="541"/>
                    </a:lnTo>
                    <a:lnTo>
                      <a:pt x="1257" y="541"/>
                    </a:lnTo>
                    <a:lnTo>
                      <a:pt x="1255" y="541"/>
                    </a:lnTo>
                    <a:lnTo>
                      <a:pt x="1255" y="542"/>
                    </a:lnTo>
                    <a:lnTo>
                      <a:pt x="1253" y="542"/>
                    </a:lnTo>
                    <a:lnTo>
                      <a:pt x="1253" y="544"/>
                    </a:lnTo>
                    <a:lnTo>
                      <a:pt x="1252" y="546"/>
                    </a:lnTo>
                    <a:lnTo>
                      <a:pt x="1250" y="547"/>
                    </a:lnTo>
                    <a:lnTo>
                      <a:pt x="1248" y="549"/>
                    </a:lnTo>
                    <a:lnTo>
                      <a:pt x="1248" y="551"/>
                    </a:lnTo>
                    <a:lnTo>
                      <a:pt x="1248" y="549"/>
                    </a:lnTo>
                    <a:lnTo>
                      <a:pt x="1248" y="551"/>
                    </a:lnTo>
                    <a:lnTo>
                      <a:pt x="1247" y="551"/>
                    </a:lnTo>
                    <a:lnTo>
                      <a:pt x="1247" y="553"/>
                    </a:lnTo>
                    <a:lnTo>
                      <a:pt x="1245" y="554"/>
                    </a:lnTo>
                    <a:lnTo>
                      <a:pt x="1245" y="556"/>
                    </a:lnTo>
                    <a:lnTo>
                      <a:pt x="1243" y="556"/>
                    </a:lnTo>
                    <a:lnTo>
                      <a:pt x="1243" y="558"/>
                    </a:lnTo>
                    <a:lnTo>
                      <a:pt x="1243" y="559"/>
                    </a:lnTo>
                    <a:lnTo>
                      <a:pt x="1241" y="559"/>
                    </a:lnTo>
                    <a:lnTo>
                      <a:pt x="1241" y="561"/>
                    </a:lnTo>
                    <a:lnTo>
                      <a:pt x="1240" y="561"/>
                    </a:lnTo>
                    <a:lnTo>
                      <a:pt x="1240" y="563"/>
                    </a:lnTo>
                    <a:lnTo>
                      <a:pt x="1238" y="564"/>
                    </a:lnTo>
                    <a:lnTo>
                      <a:pt x="1238" y="566"/>
                    </a:lnTo>
                    <a:lnTo>
                      <a:pt x="1236" y="566"/>
                    </a:lnTo>
                    <a:lnTo>
                      <a:pt x="1238" y="568"/>
                    </a:lnTo>
                    <a:lnTo>
                      <a:pt x="1236" y="568"/>
                    </a:lnTo>
                    <a:lnTo>
                      <a:pt x="1236" y="570"/>
                    </a:lnTo>
                    <a:lnTo>
                      <a:pt x="1235" y="571"/>
                    </a:lnTo>
                    <a:lnTo>
                      <a:pt x="1233" y="573"/>
                    </a:lnTo>
                    <a:lnTo>
                      <a:pt x="1233" y="575"/>
                    </a:lnTo>
                    <a:lnTo>
                      <a:pt x="1233" y="576"/>
                    </a:lnTo>
                    <a:lnTo>
                      <a:pt x="1231" y="576"/>
                    </a:lnTo>
                    <a:lnTo>
                      <a:pt x="1231" y="578"/>
                    </a:lnTo>
                    <a:lnTo>
                      <a:pt x="1231" y="580"/>
                    </a:lnTo>
                    <a:lnTo>
                      <a:pt x="1230" y="581"/>
                    </a:lnTo>
                    <a:lnTo>
                      <a:pt x="1230" y="583"/>
                    </a:lnTo>
                    <a:lnTo>
                      <a:pt x="1228" y="585"/>
                    </a:lnTo>
                    <a:lnTo>
                      <a:pt x="1228" y="587"/>
                    </a:lnTo>
                    <a:lnTo>
                      <a:pt x="1226" y="588"/>
                    </a:lnTo>
                    <a:lnTo>
                      <a:pt x="1226" y="590"/>
                    </a:lnTo>
                    <a:lnTo>
                      <a:pt x="1224" y="592"/>
                    </a:lnTo>
                    <a:lnTo>
                      <a:pt x="1223" y="593"/>
                    </a:lnTo>
                    <a:lnTo>
                      <a:pt x="1223" y="595"/>
                    </a:lnTo>
                    <a:lnTo>
                      <a:pt x="1221" y="597"/>
                    </a:lnTo>
                    <a:lnTo>
                      <a:pt x="1221" y="598"/>
                    </a:lnTo>
                    <a:lnTo>
                      <a:pt x="1219" y="598"/>
                    </a:lnTo>
                    <a:lnTo>
                      <a:pt x="1219" y="600"/>
                    </a:lnTo>
                    <a:lnTo>
                      <a:pt x="1218" y="600"/>
                    </a:lnTo>
                    <a:lnTo>
                      <a:pt x="1218" y="602"/>
                    </a:lnTo>
                    <a:lnTo>
                      <a:pt x="1218" y="604"/>
                    </a:lnTo>
                    <a:lnTo>
                      <a:pt x="1216" y="604"/>
                    </a:lnTo>
                    <a:lnTo>
                      <a:pt x="1216" y="605"/>
                    </a:lnTo>
                    <a:lnTo>
                      <a:pt x="1214" y="607"/>
                    </a:lnTo>
                    <a:lnTo>
                      <a:pt x="1214" y="609"/>
                    </a:lnTo>
                    <a:lnTo>
                      <a:pt x="1213" y="609"/>
                    </a:lnTo>
                    <a:lnTo>
                      <a:pt x="1213" y="610"/>
                    </a:lnTo>
                    <a:lnTo>
                      <a:pt x="1211" y="610"/>
                    </a:lnTo>
                    <a:lnTo>
                      <a:pt x="1211" y="612"/>
                    </a:lnTo>
                    <a:lnTo>
                      <a:pt x="1209" y="612"/>
                    </a:lnTo>
                    <a:lnTo>
                      <a:pt x="1209" y="614"/>
                    </a:lnTo>
                    <a:lnTo>
                      <a:pt x="1207" y="614"/>
                    </a:lnTo>
                    <a:lnTo>
                      <a:pt x="1207" y="615"/>
                    </a:lnTo>
                    <a:lnTo>
                      <a:pt x="1206" y="615"/>
                    </a:lnTo>
                    <a:lnTo>
                      <a:pt x="1206" y="617"/>
                    </a:lnTo>
                    <a:lnTo>
                      <a:pt x="1204" y="617"/>
                    </a:lnTo>
                    <a:lnTo>
                      <a:pt x="1204" y="619"/>
                    </a:lnTo>
                    <a:lnTo>
                      <a:pt x="1202" y="619"/>
                    </a:lnTo>
                    <a:lnTo>
                      <a:pt x="1201" y="621"/>
                    </a:lnTo>
                    <a:lnTo>
                      <a:pt x="1199" y="621"/>
                    </a:lnTo>
                    <a:lnTo>
                      <a:pt x="1197" y="621"/>
                    </a:lnTo>
                    <a:lnTo>
                      <a:pt x="1199" y="619"/>
                    </a:lnTo>
                    <a:lnTo>
                      <a:pt x="1197" y="619"/>
                    </a:lnTo>
                    <a:lnTo>
                      <a:pt x="1199" y="617"/>
                    </a:lnTo>
                    <a:lnTo>
                      <a:pt x="1199" y="619"/>
                    </a:lnTo>
                    <a:lnTo>
                      <a:pt x="1199" y="617"/>
                    </a:lnTo>
                    <a:lnTo>
                      <a:pt x="1199" y="615"/>
                    </a:lnTo>
                    <a:lnTo>
                      <a:pt x="1199" y="614"/>
                    </a:lnTo>
                    <a:lnTo>
                      <a:pt x="1201" y="614"/>
                    </a:lnTo>
                    <a:lnTo>
                      <a:pt x="1201" y="612"/>
                    </a:lnTo>
                    <a:lnTo>
                      <a:pt x="1201" y="614"/>
                    </a:lnTo>
                    <a:lnTo>
                      <a:pt x="1201" y="612"/>
                    </a:lnTo>
                    <a:lnTo>
                      <a:pt x="1199" y="614"/>
                    </a:lnTo>
                    <a:lnTo>
                      <a:pt x="1199" y="612"/>
                    </a:lnTo>
                    <a:lnTo>
                      <a:pt x="1199" y="614"/>
                    </a:lnTo>
                    <a:lnTo>
                      <a:pt x="1199" y="612"/>
                    </a:lnTo>
                    <a:lnTo>
                      <a:pt x="1197" y="612"/>
                    </a:lnTo>
                    <a:lnTo>
                      <a:pt x="1197" y="610"/>
                    </a:lnTo>
                    <a:lnTo>
                      <a:pt x="1196" y="610"/>
                    </a:lnTo>
                    <a:lnTo>
                      <a:pt x="1196" y="612"/>
                    </a:lnTo>
                    <a:lnTo>
                      <a:pt x="1194" y="610"/>
                    </a:lnTo>
                    <a:lnTo>
                      <a:pt x="1194" y="609"/>
                    </a:lnTo>
                    <a:lnTo>
                      <a:pt x="1194" y="610"/>
                    </a:lnTo>
                    <a:lnTo>
                      <a:pt x="1194" y="609"/>
                    </a:lnTo>
                    <a:lnTo>
                      <a:pt x="1192" y="609"/>
                    </a:lnTo>
                    <a:lnTo>
                      <a:pt x="1192" y="607"/>
                    </a:lnTo>
                    <a:lnTo>
                      <a:pt x="1192" y="609"/>
                    </a:lnTo>
                    <a:lnTo>
                      <a:pt x="1190" y="609"/>
                    </a:lnTo>
                    <a:lnTo>
                      <a:pt x="1190" y="607"/>
                    </a:lnTo>
                    <a:lnTo>
                      <a:pt x="1190" y="609"/>
                    </a:lnTo>
                    <a:lnTo>
                      <a:pt x="1190" y="610"/>
                    </a:lnTo>
                    <a:lnTo>
                      <a:pt x="1190" y="612"/>
                    </a:lnTo>
                    <a:lnTo>
                      <a:pt x="1189" y="614"/>
                    </a:lnTo>
                    <a:lnTo>
                      <a:pt x="1189" y="615"/>
                    </a:lnTo>
                    <a:lnTo>
                      <a:pt x="1187" y="615"/>
                    </a:lnTo>
                    <a:lnTo>
                      <a:pt x="1187" y="614"/>
                    </a:lnTo>
                    <a:lnTo>
                      <a:pt x="1185" y="612"/>
                    </a:lnTo>
                    <a:lnTo>
                      <a:pt x="1185" y="610"/>
                    </a:lnTo>
                    <a:lnTo>
                      <a:pt x="1187" y="610"/>
                    </a:lnTo>
                    <a:lnTo>
                      <a:pt x="1187" y="609"/>
                    </a:lnTo>
                    <a:lnTo>
                      <a:pt x="1185" y="609"/>
                    </a:lnTo>
                    <a:lnTo>
                      <a:pt x="1187" y="609"/>
                    </a:lnTo>
                    <a:lnTo>
                      <a:pt x="1185" y="610"/>
                    </a:lnTo>
                    <a:lnTo>
                      <a:pt x="1185" y="609"/>
                    </a:lnTo>
                    <a:lnTo>
                      <a:pt x="1185" y="610"/>
                    </a:lnTo>
                    <a:lnTo>
                      <a:pt x="1184" y="612"/>
                    </a:lnTo>
                    <a:lnTo>
                      <a:pt x="1185" y="612"/>
                    </a:lnTo>
                    <a:lnTo>
                      <a:pt x="1185" y="614"/>
                    </a:lnTo>
                    <a:lnTo>
                      <a:pt x="1184" y="614"/>
                    </a:lnTo>
                    <a:lnTo>
                      <a:pt x="1185" y="614"/>
                    </a:lnTo>
                    <a:lnTo>
                      <a:pt x="1187" y="614"/>
                    </a:lnTo>
                    <a:lnTo>
                      <a:pt x="1185" y="614"/>
                    </a:lnTo>
                    <a:lnTo>
                      <a:pt x="1187" y="615"/>
                    </a:lnTo>
                    <a:lnTo>
                      <a:pt x="1189" y="615"/>
                    </a:lnTo>
                    <a:lnTo>
                      <a:pt x="1189" y="617"/>
                    </a:lnTo>
                    <a:lnTo>
                      <a:pt x="1190" y="615"/>
                    </a:lnTo>
                    <a:lnTo>
                      <a:pt x="1190" y="617"/>
                    </a:lnTo>
                    <a:lnTo>
                      <a:pt x="1189" y="617"/>
                    </a:lnTo>
                    <a:lnTo>
                      <a:pt x="1189" y="619"/>
                    </a:lnTo>
                    <a:lnTo>
                      <a:pt x="1189" y="621"/>
                    </a:lnTo>
                    <a:lnTo>
                      <a:pt x="1189" y="622"/>
                    </a:lnTo>
                    <a:lnTo>
                      <a:pt x="1190" y="622"/>
                    </a:lnTo>
                    <a:lnTo>
                      <a:pt x="1190" y="621"/>
                    </a:lnTo>
                    <a:lnTo>
                      <a:pt x="1192" y="621"/>
                    </a:lnTo>
                    <a:lnTo>
                      <a:pt x="1192" y="619"/>
                    </a:lnTo>
                    <a:lnTo>
                      <a:pt x="1192" y="617"/>
                    </a:lnTo>
                    <a:lnTo>
                      <a:pt x="1194" y="617"/>
                    </a:lnTo>
                    <a:lnTo>
                      <a:pt x="1194" y="619"/>
                    </a:lnTo>
                    <a:lnTo>
                      <a:pt x="1196" y="619"/>
                    </a:lnTo>
                    <a:lnTo>
                      <a:pt x="1194" y="621"/>
                    </a:lnTo>
                    <a:lnTo>
                      <a:pt x="1194" y="622"/>
                    </a:lnTo>
                    <a:lnTo>
                      <a:pt x="1192" y="622"/>
                    </a:lnTo>
                    <a:lnTo>
                      <a:pt x="1190" y="622"/>
                    </a:lnTo>
                    <a:lnTo>
                      <a:pt x="1190" y="624"/>
                    </a:lnTo>
                    <a:lnTo>
                      <a:pt x="1189" y="624"/>
                    </a:lnTo>
                    <a:lnTo>
                      <a:pt x="1189" y="626"/>
                    </a:lnTo>
                    <a:lnTo>
                      <a:pt x="1189" y="624"/>
                    </a:lnTo>
                    <a:lnTo>
                      <a:pt x="1187" y="624"/>
                    </a:lnTo>
                    <a:lnTo>
                      <a:pt x="1187" y="626"/>
                    </a:lnTo>
                    <a:lnTo>
                      <a:pt x="1189" y="626"/>
                    </a:lnTo>
                    <a:lnTo>
                      <a:pt x="1187" y="626"/>
                    </a:lnTo>
                    <a:lnTo>
                      <a:pt x="1187" y="627"/>
                    </a:lnTo>
                    <a:lnTo>
                      <a:pt x="1185" y="627"/>
                    </a:lnTo>
                    <a:lnTo>
                      <a:pt x="1184" y="629"/>
                    </a:lnTo>
                    <a:lnTo>
                      <a:pt x="1182" y="631"/>
                    </a:lnTo>
                    <a:lnTo>
                      <a:pt x="1182" y="632"/>
                    </a:lnTo>
                    <a:lnTo>
                      <a:pt x="1184" y="634"/>
                    </a:lnTo>
                    <a:lnTo>
                      <a:pt x="1185" y="634"/>
                    </a:lnTo>
                    <a:lnTo>
                      <a:pt x="1185" y="636"/>
                    </a:lnTo>
                    <a:lnTo>
                      <a:pt x="1185" y="638"/>
                    </a:lnTo>
                    <a:lnTo>
                      <a:pt x="1184" y="638"/>
                    </a:lnTo>
                    <a:lnTo>
                      <a:pt x="1185" y="638"/>
                    </a:lnTo>
                    <a:lnTo>
                      <a:pt x="1184" y="639"/>
                    </a:lnTo>
                    <a:lnTo>
                      <a:pt x="1184" y="641"/>
                    </a:lnTo>
                    <a:lnTo>
                      <a:pt x="1185" y="641"/>
                    </a:lnTo>
                    <a:lnTo>
                      <a:pt x="1185" y="643"/>
                    </a:lnTo>
                    <a:lnTo>
                      <a:pt x="1185" y="644"/>
                    </a:lnTo>
                    <a:lnTo>
                      <a:pt x="1184" y="644"/>
                    </a:lnTo>
                    <a:lnTo>
                      <a:pt x="1184" y="643"/>
                    </a:lnTo>
                    <a:lnTo>
                      <a:pt x="1184" y="644"/>
                    </a:lnTo>
                    <a:lnTo>
                      <a:pt x="1182" y="644"/>
                    </a:lnTo>
                    <a:lnTo>
                      <a:pt x="1182" y="646"/>
                    </a:lnTo>
                    <a:lnTo>
                      <a:pt x="1182" y="648"/>
                    </a:lnTo>
                    <a:lnTo>
                      <a:pt x="1182" y="650"/>
                    </a:lnTo>
                    <a:lnTo>
                      <a:pt x="1182" y="651"/>
                    </a:lnTo>
                    <a:lnTo>
                      <a:pt x="1180" y="651"/>
                    </a:lnTo>
                    <a:lnTo>
                      <a:pt x="1182" y="651"/>
                    </a:lnTo>
                    <a:lnTo>
                      <a:pt x="1182" y="653"/>
                    </a:lnTo>
                    <a:lnTo>
                      <a:pt x="1182" y="651"/>
                    </a:lnTo>
                    <a:lnTo>
                      <a:pt x="1184" y="651"/>
                    </a:lnTo>
                    <a:lnTo>
                      <a:pt x="1184" y="653"/>
                    </a:lnTo>
                    <a:lnTo>
                      <a:pt x="1184" y="655"/>
                    </a:lnTo>
                    <a:lnTo>
                      <a:pt x="1184" y="656"/>
                    </a:lnTo>
                    <a:lnTo>
                      <a:pt x="1184" y="658"/>
                    </a:lnTo>
                    <a:lnTo>
                      <a:pt x="1182" y="660"/>
                    </a:lnTo>
                    <a:lnTo>
                      <a:pt x="1182" y="661"/>
                    </a:lnTo>
                    <a:lnTo>
                      <a:pt x="1182" y="663"/>
                    </a:lnTo>
                    <a:lnTo>
                      <a:pt x="1182" y="665"/>
                    </a:lnTo>
                    <a:lnTo>
                      <a:pt x="1182" y="667"/>
                    </a:lnTo>
                    <a:lnTo>
                      <a:pt x="1182" y="668"/>
                    </a:lnTo>
                    <a:lnTo>
                      <a:pt x="1182" y="670"/>
                    </a:lnTo>
                    <a:lnTo>
                      <a:pt x="1180" y="670"/>
                    </a:lnTo>
                    <a:lnTo>
                      <a:pt x="1180" y="672"/>
                    </a:lnTo>
                    <a:lnTo>
                      <a:pt x="1180" y="673"/>
                    </a:lnTo>
                    <a:lnTo>
                      <a:pt x="1180" y="675"/>
                    </a:lnTo>
                    <a:lnTo>
                      <a:pt x="1180" y="677"/>
                    </a:lnTo>
                    <a:lnTo>
                      <a:pt x="1179" y="678"/>
                    </a:lnTo>
                    <a:lnTo>
                      <a:pt x="1179" y="680"/>
                    </a:lnTo>
                    <a:lnTo>
                      <a:pt x="1179" y="682"/>
                    </a:lnTo>
                    <a:lnTo>
                      <a:pt x="1180" y="682"/>
                    </a:lnTo>
                    <a:lnTo>
                      <a:pt x="1180" y="684"/>
                    </a:lnTo>
                    <a:lnTo>
                      <a:pt x="1180" y="682"/>
                    </a:lnTo>
                    <a:lnTo>
                      <a:pt x="1180" y="684"/>
                    </a:lnTo>
                    <a:lnTo>
                      <a:pt x="1180" y="685"/>
                    </a:lnTo>
                    <a:lnTo>
                      <a:pt x="1180" y="687"/>
                    </a:lnTo>
                    <a:lnTo>
                      <a:pt x="1180" y="689"/>
                    </a:lnTo>
                    <a:lnTo>
                      <a:pt x="1182" y="689"/>
                    </a:lnTo>
                    <a:lnTo>
                      <a:pt x="1182" y="690"/>
                    </a:lnTo>
                    <a:lnTo>
                      <a:pt x="1182" y="694"/>
                    </a:lnTo>
                    <a:lnTo>
                      <a:pt x="1182" y="695"/>
                    </a:lnTo>
                    <a:lnTo>
                      <a:pt x="1182" y="697"/>
                    </a:lnTo>
                    <a:lnTo>
                      <a:pt x="1182" y="699"/>
                    </a:lnTo>
                    <a:lnTo>
                      <a:pt x="1182" y="701"/>
                    </a:lnTo>
                    <a:lnTo>
                      <a:pt x="1182" y="702"/>
                    </a:lnTo>
                    <a:lnTo>
                      <a:pt x="1182" y="704"/>
                    </a:lnTo>
                    <a:lnTo>
                      <a:pt x="1184" y="706"/>
                    </a:lnTo>
                    <a:lnTo>
                      <a:pt x="1184" y="707"/>
                    </a:lnTo>
                    <a:lnTo>
                      <a:pt x="1184" y="709"/>
                    </a:lnTo>
                    <a:lnTo>
                      <a:pt x="1184" y="711"/>
                    </a:lnTo>
                    <a:lnTo>
                      <a:pt x="1184" y="712"/>
                    </a:lnTo>
                    <a:lnTo>
                      <a:pt x="1184" y="714"/>
                    </a:lnTo>
                    <a:lnTo>
                      <a:pt x="1184" y="716"/>
                    </a:lnTo>
                    <a:lnTo>
                      <a:pt x="1185" y="716"/>
                    </a:lnTo>
                    <a:lnTo>
                      <a:pt x="1185" y="718"/>
                    </a:lnTo>
                    <a:lnTo>
                      <a:pt x="1185" y="719"/>
                    </a:lnTo>
                    <a:lnTo>
                      <a:pt x="1187" y="719"/>
                    </a:lnTo>
                    <a:lnTo>
                      <a:pt x="1187" y="721"/>
                    </a:lnTo>
                    <a:lnTo>
                      <a:pt x="1185" y="721"/>
                    </a:lnTo>
                    <a:lnTo>
                      <a:pt x="1185" y="723"/>
                    </a:lnTo>
                    <a:lnTo>
                      <a:pt x="1185" y="724"/>
                    </a:lnTo>
                    <a:lnTo>
                      <a:pt x="1184" y="726"/>
                    </a:lnTo>
                    <a:lnTo>
                      <a:pt x="1184" y="728"/>
                    </a:lnTo>
                    <a:lnTo>
                      <a:pt x="1184" y="729"/>
                    </a:lnTo>
                    <a:lnTo>
                      <a:pt x="1184" y="731"/>
                    </a:lnTo>
                    <a:lnTo>
                      <a:pt x="1182" y="731"/>
                    </a:lnTo>
                    <a:lnTo>
                      <a:pt x="1182" y="733"/>
                    </a:lnTo>
                    <a:lnTo>
                      <a:pt x="1182" y="735"/>
                    </a:lnTo>
                    <a:lnTo>
                      <a:pt x="1180" y="735"/>
                    </a:lnTo>
                    <a:lnTo>
                      <a:pt x="1180" y="736"/>
                    </a:lnTo>
                    <a:lnTo>
                      <a:pt x="1182" y="736"/>
                    </a:lnTo>
                    <a:lnTo>
                      <a:pt x="1180" y="738"/>
                    </a:lnTo>
                    <a:lnTo>
                      <a:pt x="1182" y="738"/>
                    </a:lnTo>
                    <a:lnTo>
                      <a:pt x="1180" y="740"/>
                    </a:lnTo>
                    <a:lnTo>
                      <a:pt x="1180" y="741"/>
                    </a:lnTo>
                    <a:lnTo>
                      <a:pt x="1179" y="741"/>
                    </a:lnTo>
                    <a:lnTo>
                      <a:pt x="1180" y="741"/>
                    </a:lnTo>
                    <a:lnTo>
                      <a:pt x="1179" y="743"/>
                    </a:lnTo>
                    <a:lnTo>
                      <a:pt x="1179" y="745"/>
                    </a:lnTo>
                    <a:lnTo>
                      <a:pt x="1179" y="746"/>
                    </a:lnTo>
                    <a:lnTo>
                      <a:pt x="1179" y="748"/>
                    </a:lnTo>
                    <a:lnTo>
                      <a:pt x="1179" y="750"/>
                    </a:lnTo>
                    <a:lnTo>
                      <a:pt x="1177" y="750"/>
                    </a:lnTo>
                    <a:lnTo>
                      <a:pt x="1177" y="752"/>
                    </a:lnTo>
                    <a:lnTo>
                      <a:pt x="1177" y="753"/>
                    </a:lnTo>
                    <a:lnTo>
                      <a:pt x="1177" y="755"/>
                    </a:lnTo>
                    <a:lnTo>
                      <a:pt x="1177" y="757"/>
                    </a:lnTo>
                    <a:lnTo>
                      <a:pt x="1179" y="757"/>
                    </a:lnTo>
                    <a:lnTo>
                      <a:pt x="1177" y="757"/>
                    </a:lnTo>
                    <a:lnTo>
                      <a:pt x="1177" y="758"/>
                    </a:lnTo>
                    <a:lnTo>
                      <a:pt x="1177" y="760"/>
                    </a:lnTo>
                    <a:lnTo>
                      <a:pt x="1175" y="760"/>
                    </a:lnTo>
                    <a:lnTo>
                      <a:pt x="1175" y="762"/>
                    </a:lnTo>
                    <a:lnTo>
                      <a:pt x="1175" y="763"/>
                    </a:lnTo>
                    <a:lnTo>
                      <a:pt x="1175" y="765"/>
                    </a:lnTo>
                    <a:lnTo>
                      <a:pt x="1175" y="767"/>
                    </a:lnTo>
                    <a:lnTo>
                      <a:pt x="1173" y="769"/>
                    </a:lnTo>
                    <a:lnTo>
                      <a:pt x="1175" y="769"/>
                    </a:lnTo>
                    <a:lnTo>
                      <a:pt x="1173" y="770"/>
                    </a:lnTo>
                    <a:lnTo>
                      <a:pt x="1173" y="772"/>
                    </a:lnTo>
                    <a:lnTo>
                      <a:pt x="1175" y="774"/>
                    </a:lnTo>
                    <a:lnTo>
                      <a:pt x="1175" y="775"/>
                    </a:lnTo>
                    <a:lnTo>
                      <a:pt x="1175" y="777"/>
                    </a:lnTo>
                    <a:lnTo>
                      <a:pt x="1175" y="779"/>
                    </a:lnTo>
                    <a:lnTo>
                      <a:pt x="1175" y="780"/>
                    </a:lnTo>
                    <a:lnTo>
                      <a:pt x="1175" y="782"/>
                    </a:lnTo>
                    <a:lnTo>
                      <a:pt x="1175" y="784"/>
                    </a:lnTo>
                    <a:lnTo>
                      <a:pt x="1177" y="784"/>
                    </a:lnTo>
                    <a:lnTo>
                      <a:pt x="1177" y="786"/>
                    </a:lnTo>
                    <a:lnTo>
                      <a:pt x="1175" y="786"/>
                    </a:lnTo>
                    <a:lnTo>
                      <a:pt x="1175" y="787"/>
                    </a:lnTo>
                    <a:lnTo>
                      <a:pt x="1173" y="789"/>
                    </a:lnTo>
                    <a:lnTo>
                      <a:pt x="1173" y="791"/>
                    </a:lnTo>
                    <a:lnTo>
                      <a:pt x="1172" y="791"/>
                    </a:lnTo>
                    <a:lnTo>
                      <a:pt x="1172" y="792"/>
                    </a:lnTo>
                    <a:lnTo>
                      <a:pt x="1170" y="792"/>
                    </a:lnTo>
                    <a:lnTo>
                      <a:pt x="1168" y="792"/>
                    </a:lnTo>
                    <a:lnTo>
                      <a:pt x="1168" y="794"/>
                    </a:lnTo>
                    <a:lnTo>
                      <a:pt x="1167" y="794"/>
                    </a:lnTo>
                    <a:lnTo>
                      <a:pt x="1165" y="796"/>
                    </a:lnTo>
                    <a:lnTo>
                      <a:pt x="1163" y="797"/>
                    </a:lnTo>
                    <a:lnTo>
                      <a:pt x="1163" y="799"/>
                    </a:lnTo>
                    <a:lnTo>
                      <a:pt x="1162" y="801"/>
                    </a:lnTo>
                    <a:lnTo>
                      <a:pt x="1162" y="803"/>
                    </a:lnTo>
                    <a:lnTo>
                      <a:pt x="1160" y="804"/>
                    </a:lnTo>
                    <a:lnTo>
                      <a:pt x="1160" y="806"/>
                    </a:lnTo>
                    <a:lnTo>
                      <a:pt x="1160" y="808"/>
                    </a:lnTo>
                    <a:lnTo>
                      <a:pt x="1158" y="808"/>
                    </a:lnTo>
                    <a:lnTo>
                      <a:pt x="1158" y="809"/>
                    </a:lnTo>
                    <a:lnTo>
                      <a:pt x="1158" y="811"/>
                    </a:lnTo>
                    <a:lnTo>
                      <a:pt x="1158" y="813"/>
                    </a:lnTo>
                    <a:lnTo>
                      <a:pt x="1156" y="813"/>
                    </a:lnTo>
                    <a:lnTo>
                      <a:pt x="1156" y="815"/>
                    </a:lnTo>
                    <a:lnTo>
                      <a:pt x="1156" y="816"/>
                    </a:lnTo>
                    <a:lnTo>
                      <a:pt x="1156" y="818"/>
                    </a:lnTo>
                    <a:lnTo>
                      <a:pt x="1156" y="820"/>
                    </a:lnTo>
                    <a:lnTo>
                      <a:pt x="1156" y="821"/>
                    </a:lnTo>
                    <a:lnTo>
                      <a:pt x="1156" y="823"/>
                    </a:lnTo>
                    <a:lnTo>
                      <a:pt x="1156" y="825"/>
                    </a:lnTo>
                    <a:lnTo>
                      <a:pt x="1156" y="826"/>
                    </a:lnTo>
                    <a:lnTo>
                      <a:pt x="1156" y="828"/>
                    </a:lnTo>
                    <a:lnTo>
                      <a:pt x="1156" y="830"/>
                    </a:lnTo>
                    <a:lnTo>
                      <a:pt x="1156" y="832"/>
                    </a:lnTo>
                    <a:lnTo>
                      <a:pt x="1156" y="833"/>
                    </a:lnTo>
                    <a:lnTo>
                      <a:pt x="1156" y="835"/>
                    </a:lnTo>
                    <a:lnTo>
                      <a:pt x="1158" y="837"/>
                    </a:lnTo>
                    <a:lnTo>
                      <a:pt x="1158" y="838"/>
                    </a:lnTo>
                    <a:lnTo>
                      <a:pt x="1158" y="840"/>
                    </a:lnTo>
                    <a:lnTo>
                      <a:pt x="1158" y="842"/>
                    </a:lnTo>
                    <a:lnTo>
                      <a:pt x="1158" y="843"/>
                    </a:lnTo>
                    <a:lnTo>
                      <a:pt x="1158" y="845"/>
                    </a:lnTo>
                    <a:lnTo>
                      <a:pt x="1158" y="847"/>
                    </a:lnTo>
                    <a:lnTo>
                      <a:pt x="1156" y="849"/>
                    </a:lnTo>
                    <a:lnTo>
                      <a:pt x="1156" y="850"/>
                    </a:lnTo>
                    <a:lnTo>
                      <a:pt x="1156" y="852"/>
                    </a:lnTo>
                    <a:lnTo>
                      <a:pt x="1155" y="852"/>
                    </a:lnTo>
                    <a:lnTo>
                      <a:pt x="1155" y="854"/>
                    </a:lnTo>
                    <a:lnTo>
                      <a:pt x="1155" y="855"/>
                    </a:lnTo>
                    <a:lnTo>
                      <a:pt x="1153" y="855"/>
                    </a:lnTo>
                    <a:lnTo>
                      <a:pt x="1151" y="855"/>
                    </a:lnTo>
                    <a:lnTo>
                      <a:pt x="1150" y="857"/>
                    </a:lnTo>
                    <a:lnTo>
                      <a:pt x="1148" y="857"/>
                    </a:lnTo>
                    <a:lnTo>
                      <a:pt x="1148" y="859"/>
                    </a:lnTo>
                    <a:lnTo>
                      <a:pt x="1146" y="859"/>
                    </a:lnTo>
                    <a:lnTo>
                      <a:pt x="1146" y="860"/>
                    </a:lnTo>
                    <a:lnTo>
                      <a:pt x="1146" y="862"/>
                    </a:lnTo>
                    <a:lnTo>
                      <a:pt x="1145" y="862"/>
                    </a:lnTo>
                    <a:lnTo>
                      <a:pt x="1145" y="864"/>
                    </a:lnTo>
                    <a:lnTo>
                      <a:pt x="1145" y="866"/>
                    </a:lnTo>
                    <a:lnTo>
                      <a:pt x="1143" y="866"/>
                    </a:lnTo>
                    <a:lnTo>
                      <a:pt x="1143" y="867"/>
                    </a:lnTo>
                    <a:lnTo>
                      <a:pt x="1143" y="869"/>
                    </a:lnTo>
                    <a:lnTo>
                      <a:pt x="1141" y="869"/>
                    </a:lnTo>
                    <a:lnTo>
                      <a:pt x="1141" y="871"/>
                    </a:lnTo>
                    <a:lnTo>
                      <a:pt x="1141" y="872"/>
                    </a:lnTo>
                    <a:lnTo>
                      <a:pt x="1141" y="874"/>
                    </a:lnTo>
                    <a:lnTo>
                      <a:pt x="1141" y="876"/>
                    </a:lnTo>
                    <a:lnTo>
                      <a:pt x="1141" y="877"/>
                    </a:lnTo>
                    <a:lnTo>
                      <a:pt x="1139" y="877"/>
                    </a:lnTo>
                    <a:lnTo>
                      <a:pt x="1138" y="877"/>
                    </a:lnTo>
                    <a:lnTo>
                      <a:pt x="1138" y="879"/>
                    </a:lnTo>
                    <a:lnTo>
                      <a:pt x="1136" y="879"/>
                    </a:lnTo>
                    <a:lnTo>
                      <a:pt x="1138" y="879"/>
                    </a:lnTo>
                    <a:lnTo>
                      <a:pt x="1139" y="879"/>
                    </a:lnTo>
                    <a:lnTo>
                      <a:pt x="1138" y="879"/>
                    </a:lnTo>
                    <a:lnTo>
                      <a:pt x="1138" y="881"/>
                    </a:lnTo>
                    <a:lnTo>
                      <a:pt x="1138" y="883"/>
                    </a:lnTo>
                    <a:lnTo>
                      <a:pt x="1136" y="884"/>
                    </a:lnTo>
                    <a:lnTo>
                      <a:pt x="1136" y="886"/>
                    </a:lnTo>
                    <a:lnTo>
                      <a:pt x="1134" y="886"/>
                    </a:lnTo>
                    <a:lnTo>
                      <a:pt x="1134" y="888"/>
                    </a:lnTo>
                    <a:lnTo>
                      <a:pt x="1134" y="889"/>
                    </a:lnTo>
                    <a:lnTo>
                      <a:pt x="1133" y="889"/>
                    </a:lnTo>
                    <a:lnTo>
                      <a:pt x="1133" y="891"/>
                    </a:lnTo>
                    <a:lnTo>
                      <a:pt x="1133" y="889"/>
                    </a:lnTo>
                    <a:lnTo>
                      <a:pt x="1133" y="891"/>
                    </a:lnTo>
                    <a:lnTo>
                      <a:pt x="1131" y="891"/>
                    </a:lnTo>
                    <a:lnTo>
                      <a:pt x="1131" y="893"/>
                    </a:lnTo>
                    <a:lnTo>
                      <a:pt x="1129" y="893"/>
                    </a:lnTo>
                    <a:lnTo>
                      <a:pt x="1131" y="894"/>
                    </a:lnTo>
                    <a:lnTo>
                      <a:pt x="1129" y="894"/>
                    </a:lnTo>
                    <a:lnTo>
                      <a:pt x="1128" y="894"/>
                    </a:lnTo>
                    <a:lnTo>
                      <a:pt x="1129" y="896"/>
                    </a:lnTo>
                    <a:lnTo>
                      <a:pt x="1128" y="896"/>
                    </a:lnTo>
                    <a:lnTo>
                      <a:pt x="1128" y="898"/>
                    </a:lnTo>
                    <a:lnTo>
                      <a:pt x="1126" y="898"/>
                    </a:lnTo>
                    <a:lnTo>
                      <a:pt x="1126" y="896"/>
                    </a:lnTo>
                    <a:lnTo>
                      <a:pt x="1124" y="898"/>
                    </a:lnTo>
                    <a:lnTo>
                      <a:pt x="1122" y="898"/>
                    </a:lnTo>
                    <a:lnTo>
                      <a:pt x="1122" y="900"/>
                    </a:lnTo>
                    <a:lnTo>
                      <a:pt x="1121" y="900"/>
                    </a:lnTo>
                    <a:lnTo>
                      <a:pt x="1121" y="901"/>
                    </a:lnTo>
                    <a:lnTo>
                      <a:pt x="1121" y="903"/>
                    </a:lnTo>
                    <a:lnTo>
                      <a:pt x="1121" y="905"/>
                    </a:lnTo>
                    <a:lnTo>
                      <a:pt x="1119" y="905"/>
                    </a:lnTo>
                    <a:lnTo>
                      <a:pt x="1119" y="906"/>
                    </a:lnTo>
                    <a:lnTo>
                      <a:pt x="1119" y="908"/>
                    </a:lnTo>
                    <a:lnTo>
                      <a:pt x="1117" y="908"/>
                    </a:lnTo>
                    <a:lnTo>
                      <a:pt x="1117" y="910"/>
                    </a:lnTo>
                    <a:lnTo>
                      <a:pt x="1116" y="910"/>
                    </a:lnTo>
                    <a:lnTo>
                      <a:pt x="1116" y="911"/>
                    </a:lnTo>
                    <a:lnTo>
                      <a:pt x="1116" y="913"/>
                    </a:lnTo>
                    <a:lnTo>
                      <a:pt x="1116" y="915"/>
                    </a:lnTo>
                    <a:lnTo>
                      <a:pt x="1116" y="917"/>
                    </a:lnTo>
                    <a:lnTo>
                      <a:pt x="1114" y="918"/>
                    </a:lnTo>
                    <a:lnTo>
                      <a:pt x="1114" y="920"/>
                    </a:lnTo>
                    <a:lnTo>
                      <a:pt x="1112" y="920"/>
                    </a:lnTo>
                    <a:lnTo>
                      <a:pt x="1112" y="922"/>
                    </a:lnTo>
                    <a:lnTo>
                      <a:pt x="1112" y="923"/>
                    </a:lnTo>
                    <a:lnTo>
                      <a:pt x="1112" y="925"/>
                    </a:lnTo>
                    <a:lnTo>
                      <a:pt x="1114" y="925"/>
                    </a:lnTo>
                    <a:lnTo>
                      <a:pt x="1114" y="927"/>
                    </a:lnTo>
                    <a:lnTo>
                      <a:pt x="1114" y="928"/>
                    </a:lnTo>
                    <a:lnTo>
                      <a:pt x="1114" y="930"/>
                    </a:lnTo>
                    <a:lnTo>
                      <a:pt x="1114" y="932"/>
                    </a:lnTo>
                    <a:lnTo>
                      <a:pt x="1114" y="934"/>
                    </a:lnTo>
                    <a:lnTo>
                      <a:pt x="1114" y="935"/>
                    </a:lnTo>
                    <a:lnTo>
                      <a:pt x="1114" y="937"/>
                    </a:lnTo>
                    <a:lnTo>
                      <a:pt x="1116" y="937"/>
                    </a:lnTo>
                    <a:lnTo>
                      <a:pt x="1116" y="939"/>
                    </a:lnTo>
                    <a:lnTo>
                      <a:pt x="1114" y="939"/>
                    </a:lnTo>
                    <a:lnTo>
                      <a:pt x="1114" y="940"/>
                    </a:lnTo>
                    <a:lnTo>
                      <a:pt x="1112" y="940"/>
                    </a:lnTo>
                    <a:lnTo>
                      <a:pt x="1112" y="942"/>
                    </a:lnTo>
                    <a:lnTo>
                      <a:pt x="1111" y="942"/>
                    </a:lnTo>
                    <a:lnTo>
                      <a:pt x="1109" y="944"/>
                    </a:lnTo>
                    <a:lnTo>
                      <a:pt x="1107" y="944"/>
                    </a:lnTo>
                    <a:lnTo>
                      <a:pt x="1107" y="945"/>
                    </a:lnTo>
                    <a:lnTo>
                      <a:pt x="1105" y="945"/>
                    </a:lnTo>
                    <a:lnTo>
                      <a:pt x="1104" y="945"/>
                    </a:lnTo>
                    <a:lnTo>
                      <a:pt x="1102" y="945"/>
                    </a:lnTo>
                    <a:lnTo>
                      <a:pt x="1100" y="947"/>
                    </a:lnTo>
                    <a:lnTo>
                      <a:pt x="1099" y="947"/>
                    </a:lnTo>
                    <a:lnTo>
                      <a:pt x="1097" y="947"/>
                    </a:lnTo>
                    <a:lnTo>
                      <a:pt x="1095" y="949"/>
                    </a:lnTo>
                    <a:lnTo>
                      <a:pt x="1095" y="947"/>
                    </a:lnTo>
                    <a:lnTo>
                      <a:pt x="1095" y="949"/>
                    </a:lnTo>
                    <a:lnTo>
                      <a:pt x="1094" y="949"/>
                    </a:lnTo>
                    <a:lnTo>
                      <a:pt x="1092" y="951"/>
                    </a:lnTo>
                    <a:lnTo>
                      <a:pt x="1090" y="951"/>
                    </a:lnTo>
                    <a:lnTo>
                      <a:pt x="1090" y="952"/>
                    </a:lnTo>
                    <a:lnTo>
                      <a:pt x="1088" y="952"/>
                    </a:lnTo>
                    <a:lnTo>
                      <a:pt x="1088" y="954"/>
                    </a:lnTo>
                    <a:lnTo>
                      <a:pt x="1087" y="954"/>
                    </a:lnTo>
                    <a:lnTo>
                      <a:pt x="1087" y="956"/>
                    </a:lnTo>
                    <a:lnTo>
                      <a:pt x="1085" y="956"/>
                    </a:lnTo>
                    <a:lnTo>
                      <a:pt x="1085" y="957"/>
                    </a:lnTo>
                    <a:lnTo>
                      <a:pt x="1083" y="957"/>
                    </a:lnTo>
                    <a:lnTo>
                      <a:pt x="1083" y="959"/>
                    </a:lnTo>
                    <a:lnTo>
                      <a:pt x="1082" y="959"/>
                    </a:lnTo>
                    <a:lnTo>
                      <a:pt x="1082" y="961"/>
                    </a:lnTo>
                    <a:lnTo>
                      <a:pt x="1080" y="961"/>
                    </a:lnTo>
                    <a:lnTo>
                      <a:pt x="1080" y="963"/>
                    </a:lnTo>
                    <a:lnTo>
                      <a:pt x="1080" y="964"/>
                    </a:lnTo>
                    <a:lnTo>
                      <a:pt x="1080" y="966"/>
                    </a:lnTo>
                    <a:lnTo>
                      <a:pt x="1082" y="966"/>
                    </a:lnTo>
                    <a:lnTo>
                      <a:pt x="1082" y="968"/>
                    </a:lnTo>
                    <a:lnTo>
                      <a:pt x="1083" y="968"/>
                    </a:lnTo>
                    <a:lnTo>
                      <a:pt x="1085" y="966"/>
                    </a:lnTo>
                    <a:lnTo>
                      <a:pt x="1085" y="968"/>
                    </a:lnTo>
                    <a:lnTo>
                      <a:pt x="1083" y="968"/>
                    </a:lnTo>
                    <a:lnTo>
                      <a:pt x="1085" y="968"/>
                    </a:lnTo>
                    <a:lnTo>
                      <a:pt x="1083" y="968"/>
                    </a:lnTo>
                    <a:lnTo>
                      <a:pt x="1083" y="969"/>
                    </a:lnTo>
                    <a:lnTo>
                      <a:pt x="1082" y="969"/>
                    </a:lnTo>
                    <a:lnTo>
                      <a:pt x="1082" y="971"/>
                    </a:lnTo>
                    <a:lnTo>
                      <a:pt x="1080" y="971"/>
                    </a:lnTo>
                    <a:lnTo>
                      <a:pt x="1082" y="971"/>
                    </a:lnTo>
                    <a:lnTo>
                      <a:pt x="1080" y="973"/>
                    </a:lnTo>
                    <a:lnTo>
                      <a:pt x="1078" y="973"/>
                    </a:lnTo>
                    <a:lnTo>
                      <a:pt x="1080" y="974"/>
                    </a:lnTo>
                    <a:lnTo>
                      <a:pt x="1080" y="976"/>
                    </a:lnTo>
                    <a:lnTo>
                      <a:pt x="1078" y="974"/>
                    </a:lnTo>
                    <a:lnTo>
                      <a:pt x="1077" y="974"/>
                    </a:lnTo>
                    <a:lnTo>
                      <a:pt x="1075" y="974"/>
                    </a:lnTo>
                    <a:lnTo>
                      <a:pt x="1073" y="974"/>
                    </a:lnTo>
                    <a:lnTo>
                      <a:pt x="1071" y="974"/>
                    </a:lnTo>
                    <a:lnTo>
                      <a:pt x="1070" y="974"/>
                    </a:lnTo>
                    <a:lnTo>
                      <a:pt x="1068" y="974"/>
                    </a:lnTo>
                    <a:lnTo>
                      <a:pt x="1066" y="974"/>
                    </a:lnTo>
                    <a:lnTo>
                      <a:pt x="1065" y="974"/>
                    </a:lnTo>
                    <a:lnTo>
                      <a:pt x="1063" y="974"/>
                    </a:lnTo>
                    <a:lnTo>
                      <a:pt x="1061" y="974"/>
                    </a:lnTo>
                    <a:lnTo>
                      <a:pt x="1060" y="974"/>
                    </a:lnTo>
                    <a:lnTo>
                      <a:pt x="1058" y="974"/>
                    </a:lnTo>
                    <a:lnTo>
                      <a:pt x="1056" y="974"/>
                    </a:lnTo>
                    <a:lnTo>
                      <a:pt x="1054" y="974"/>
                    </a:lnTo>
                    <a:lnTo>
                      <a:pt x="1053" y="974"/>
                    </a:lnTo>
                    <a:lnTo>
                      <a:pt x="1051" y="974"/>
                    </a:lnTo>
                    <a:lnTo>
                      <a:pt x="1049" y="974"/>
                    </a:lnTo>
                    <a:lnTo>
                      <a:pt x="1049" y="976"/>
                    </a:lnTo>
                    <a:lnTo>
                      <a:pt x="1048" y="976"/>
                    </a:lnTo>
                    <a:lnTo>
                      <a:pt x="1046" y="974"/>
                    </a:lnTo>
                    <a:lnTo>
                      <a:pt x="1046" y="976"/>
                    </a:lnTo>
                    <a:lnTo>
                      <a:pt x="1044" y="976"/>
                    </a:lnTo>
                    <a:lnTo>
                      <a:pt x="1044" y="974"/>
                    </a:lnTo>
                    <a:lnTo>
                      <a:pt x="1043" y="974"/>
                    </a:lnTo>
                    <a:lnTo>
                      <a:pt x="1043" y="973"/>
                    </a:lnTo>
                    <a:lnTo>
                      <a:pt x="1043" y="974"/>
                    </a:lnTo>
                    <a:lnTo>
                      <a:pt x="1043" y="973"/>
                    </a:lnTo>
                    <a:lnTo>
                      <a:pt x="1043" y="971"/>
                    </a:lnTo>
                    <a:lnTo>
                      <a:pt x="1043" y="969"/>
                    </a:lnTo>
                    <a:lnTo>
                      <a:pt x="1044" y="969"/>
                    </a:lnTo>
                    <a:lnTo>
                      <a:pt x="1044" y="968"/>
                    </a:lnTo>
                    <a:lnTo>
                      <a:pt x="1046" y="968"/>
                    </a:lnTo>
                    <a:lnTo>
                      <a:pt x="1046" y="966"/>
                    </a:lnTo>
                    <a:lnTo>
                      <a:pt x="1044" y="964"/>
                    </a:lnTo>
                    <a:lnTo>
                      <a:pt x="1043" y="964"/>
                    </a:lnTo>
                    <a:lnTo>
                      <a:pt x="1043" y="966"/>
                    </a:lnTo>
                    <a:lnTo>
                      <a:pt x="1041" y="966"/>
                    </a:lnTo>
                    <a:lnTo>
                      <a:pt x="1039" y="966"/>
                    </a:lnTo>
                    <a:lnTo>
                      <a:pt x="1039" y="968"/>
                    </a:lnTo>
                    <a:lnTo>
                      <a:pt x="1039" y="966"/>
                    </a:lnTo>
                    <a:lnTo>
                      <a:pt x="1037" y="968"/>
                    </a:lnTo>
                    <a:lnTo>
                      <a:pt x="1037" y="969"/>
                    </a:lnTo>
                    <a:lnTo>
                      <a:pt x="1037" y="971"/>
                    </a:lnTo>
                    <a:lnTo>
                      <a:pt x="1039" y="971"/>
                    </a:lnTo>
                    <a:lnTo>
                      <a:pt x="1039" y="973"/>
                    </a:lnTo>
                    <a:lnTo>
                      <a:pt x="1041" y="973"/>
                    </a:lnTo>
                    <a:lnTo>
                      <a:pt x="1041" y="974"/>
                    </a:lnTo>
                    <a:lnTo>
                      <a:pt x="1041" y="976"/>
                    </a:lnTo>
                    <a:lnTo>
                      <a:pt x="1039" y="976"/>
                    </a:lnTo>
                    <a:lnTo>
                      <a:pt x="1037" y="976"/>
                    </a:lnTo>
                    <a:lnTo>
                      <a:pt x="1036" y="978"/>
                    </a:lnTo>
                    <a:lnTo>
                      <a:pt x="1036" y="976"/>
                    </a:lnTo>
                    <a:lnTo>
                      <a:pt x="1034" y="976"/>
                    </a:lnTo>
                    <a:lnTo>
                      <a:pt x="1032" y="976"/>
                    </a:lnTo>
                    <a:lnTo>
                      <a:pt x="1032" y="978"/>
                    </a:lnTo>
                    <a:lnTo>
                      <a:pt x="1031" y="978"/>
                    </a:lnTo>
                    <a:lnTo>
                      <a:pt x="1029" y="978"/>
                    </a:lnTo>
                    <a:lnTo>
                      <a:pt x="1027" y="978"/>
                    </a:lnTo>
                    <a:lnTo>
                      <a:pt x="1027" y="980"/>
                    </a:lnTo>
                    <a:lnTo>
                      <a:pt x="1027" y="978"/>
                    </a:lnTo>
                    <a:lnTo>
                      <a:pt x="1026" y="978"/>
                    </a:lnTo>
                    <a:lnTo>
                      <a:pt x="1024" y="978"/>
                    </a:lnTo>
                    <a:lnTo>
                      <a:pt x="1022" y="978"/>
                    </a:lnTo>
                    <a:lnTo>
                      <a:pt x="1020" y="978"/>
                    </a:lnTo>
                    <a:lnTo>
                      <a:pt x="1020" y="980"/>
                    </a:lnTo>
                    <a:lnTo>
                      <a:pt x="1019" y="980"/>
                    </a:lnTo>
                    <a:lnTo>
                      <a:pt x="1017" y="980"/>
                    </a:lnTo>
                    <a:lnTo>
                      <a:pt x="1015" y="980"/>
                    </a:lnTo>
                    <a:lnTo>
                      <a:pt x="1014" y="980"/>
                    </a:lnTo>
                    <a:lnTo>
                      <a:pt x="1012" y="980"/>
                    </a:lnTo>
                    <a:lnTo>
                      <a:pt x="1014" y="978"/>
                    </a:lnTo>
                    <a:lnTo>
                      <a:pt x="1015" y="978"/>
                    </a:lnTo>
                    <a:lnTo>
                      <a:pt x="1015" y="980"/>
                    </a:lnTo>
                    <a:lnTo>
                      <a:pt x="1017" y="980"/>
                    </a:lnTo>
                    <a:lnTo>
                      <a:pt x="1017" y="978"/>
                    </a:lnTo>
                    <a:lnTo>
                      <a:pt x="1015" y="978"/>
                    </a:lnTo>
                    <a:lnTo>
                      <a:pt x="1017" y="978"/>
                    </a:lnTo>
                    <a:lnTo>
                      <a:pt x="1019" y="978"/>
                    </a:lnTo>
                    <a:lnTo>
                      <a:pt x="1020" y="978"/>
                    </a:lnTo>
                    <a:lnTo>
                      <a:pt x="1022" y="978"/>
                    </a:lnTo>
                    <a:lnTo>
                      <a:pt x="1024" y="978"/>
                    </a:lnTo>
                    <a:lnTo>
                      <a:pt x="1026" y="978"/>
                    </a:lnTo>
                    <a:lnTo>
                      <a:pt x="1026" y="976"/>
                    </a:lnTo>
                    <a:lnTo>
                      <a:pt x="1024" y="976"/>
                    </a:lnTo>
                    <a:lnTo>
                      <a:pt x="1022" y="976"/>
                    </a:lnTo>
                    <a:lnTo>
                      <a:pt x="1022" y="974"/>
                    </a:lnTo>
                    <a:lnTo>
                      <a:pt x="1020" y="974"/>
                    </a:lnTo>
                    <a:lnTo>
                      <a:pt x="1020" y="973"/>
                    </a:lnTo>
                    <a:lnTo>
                      <a:pt x="1020" y="974"/>
                    </a:lnTo>
                    <a:lnTo>
                      <a:pt x="1020" y="973"/>
                    </a:lnTo>
                    <a:lnTo>
                      <a:pt x="1019" y="973"/>
                    </a:lnTo>
                    <a:lnTo>
                      <a:pt x="1019" y="974"/>
                    </a:lnTo>
                    <a:lnTo>
                      <a:pt x="1017" y="973"/>
                    </a:lnTo>
                    <a:lnTo>
                      <a:pt x="1019" y="973"/>
                    </a:lnTo>
                    <a:lnTo>
                      <a:pt x="1017" y="973"/>
                    </a:lnTo>
                    <a:lnTo>
                      <a:pt x="1015" y="974"/>
                    </a:lnTo>
                    <a:lnTo>
                      <a:pt x="1014" y="974"/>
                    </a:lnTo>
                    <a:lnTo>
                      <a:pt x="1012" y="974"/>
                    </a:lnTo>
                    <a:lnTo>
                      <a:pt x="1012" y="976"/>
                    </a:lnTo>
                    <a:lnTo>
                      <a:pt x="1010" y="976"/>
                    </a:lnTo>
                    <a:lnTo>
                      <a:pt x="1012" y="974"/>
                    </a:lnTo>
                    <a:lnTo>
                      <a:pt x="1010" y="974"/>
                    </a:lnTo>
                    <a:lnTo>
                      <a:pt x="1010" y="976"/>
                    </a:lnTo>
                    <a:lnTo>
                      <a:pt x="1009" y="978"/>
                    </a:lnTo>
                    <a:lnTo>
                      <a:pt x="1007" y="978"/>
                    </a:lnTo>
                    <a:lnTo>
                      <a:pt x="1005" y="978"/>
                    </a:lnTo>
                    <a:lnTo>
                      <a:pt x="1005" y="976"/>
                    </a:lnTo>
                    <a:lnTo>
                      <a:pt x="1003" y="976"/>
                    </a:lnTo>
                    <a:lnTo>
                      <a:pt x="1003" y="978"/>
                    </a:lnTo>
                    <a:lnTo>
                      <a:pt x="1002" y="976"/>
                    </a:lnTo>
                    <a:lnTo>
                      <a:pt x="1002" y="978"/>
                    </a:lnTo>
                    <a:lnTo>
                      <a:pt x="1000" y="978"/>
                    </a:lnTo>
                    <a:lnTo>
                      <a:pt x="1000" y="976"/>
                    </a:lnTo>
                    <a:lnTo>
                      <a:pt x="1002" y="976"/>
                    </a:lnTo>
                    <a:lnTo>
                      <a:pt x="1002" y="974"/>
                    </a:lnTo>
                    <a:lnTo>
                      <a:pt x="1003" y="974"/>
                    </a:lnTo>
                    <a:lnTo>
                      <a:pt x="1002" y="974"/>
                    </a:lnTo>
                    <a:lnTo>
                      <a:pt x="1000" y="974"/>
                    </a:lnTo>
                    <a:lnTo>
                      <a:pt x="1002" y="974"/>
                    </a:lnTo>
                    <a:lnTo>
                      <a:pt x="1000" y="974"/>
                    </a:lnTo>
                    <a:lnTo>
                      <a:pt x="1000" y="976"/>
                    </a:lnTo>
                    <a:lnTo>
                      <a:pt x="1000" y="974"/>
                    </a:lnTo>
                    <a:lnTo>
                      <a:pt x="998" y="974"/>
                    </a:lnTo>
                    <a:lnTo>
                      <a:pt x="998" y="976"/>
                    </a:lnTo>
                    <a:lnTo>
                      <a:pt x="998" y="978"/>
                    </a:lnTo>
                    <a:lnTo>
                      <a:pt x="997" y="976"/>
                    </a:lnTo>
                    <a:lnTo>
                      <a:pt x="997" y="978"/>
                    </a:lnTo>
                    <a:lnTo>
                      <a:pt x="995" y="978"/>
                    </a:lnTo>
                    <a:lnTo>
                      <a:pt x="993" y="978"/>
                    </a:lnTo>
                    <a:lnTo>
                      <a:pt x="993" y="980"/>
                    </a:lnTo>
                    <a:lnTo>
                      <a:pt x="993" y="978"/>
                    </a:lnTo>
                    <a:lnTo>
                      <a:pt x="992" y="978"/>
                    </a:lnTo>
                    <a:lnTo>
                      <a:pt x="990" y="978"/>
                    </a:lnTo>
                    <a:lnTo>
                      <a:pt x="990" y="980"/>
                    </a:lnTo>
                    <a:lnTo>
                      <a:pt x="990" y="981"/>
                    </a:lnTo>
                    <a:lnTo>
                      <a:pt x="988" y="983"/>
                    </a:lnTo>
                    <a:lnTo>
                      <a:pt x="990" y="983"/>
                    </a:lnTo>
                    <a:lnTo>
                      <a:pt x="988" y="983"/>
                    </a:lnTo>
                    <a:lnTo>
                      <a:pt x="988" y="985"/>
                    </a:lnTo>
                    <a:lnTo>
                      <a:pt x="990" y="985"/>
                    </a:lnTo>
                    <a:lnTo>
                      <a:pt x="992" y="983"/>
                    </a:lnTo>
                    <a:lnTo>
                      <a:pt x="992" y="985"/>
                    </a:lnTo>
                    <a:lnTo>
                      <a:pt x="990" y="985"/>
                    </a:lnTo>
                    <a:lnTo>
                      <a:pt x="990" y="986"/>
                    </a:lnTo>
                    <a:lnTo>
                      <a:pt x="990" y="985"/>
                    </a:lnTo>
                    <a:lnTo>
                      <a:pt x="992" y="985"/>
                    </a:lnTo>
                    <a:lnTo>
                      <a:pt x="992" y="986"/>
                    </a:lnTo>
                    <a:lnTo>
                      <a:pt x="990" y="986"/>
                    </a:lnTo>
                    <a:lnTo>
                      <a:pt x="992" y="988"/>
                    </a:lnTo>
                    <a:lnTo>
                      <a:pt x="992" y="986"/>
                    </a:lnTo>
                    <a:lnTo>
                      <a:pt x="993" y="985"/>
                    </a:lnTo>
                    <a:lnTo>
                      <a:pt x="993" y="986"/>
                    </a:lnTo>
                    <a:lnTo>
                      <a:pt x="995" y="986"/>
                    </a:lnTo>
                    <a:lnTo>
                      <a:pt x="995" y="988"/>
                    </a:lnTo>
                    <a:lnTo>
                      <a:pt x="995" y="986"/>
                    </a:lnTo>
                    <a:lnTo>
                      <a:pt x="995" y="988"/>
                    </a:lnTo>
                    <a:lnTo>
                      <a:pt x="993" y="988"/>
                    </a:lnTo>
                    <a:lnTo>
                      <a:pt x="993" y="990"/>
                    </a:lnTo>
                    <a:lnTo>
                      <a:pt x="992" y="990"/>
                    </a:lnTo>
                    <a:lnTo>
                      <a:pt x="992" y="988"/>
                    </a:lnTo>
                    <a:lnTo>
                      <a:pt x="992" y="990"/>
                    </a:lnTo>
                    <a:lnTo>
                      <a:pt x="992" y="988"/>
                    </a:lnTo>
                    <a:lnTo>
                      <a:pt x="990" y="990"/>
                    </a:lnTo>
                    <a:lnTo>
                      <a:pt x="990" y="988"/>
                    </a:lnTo>
                    <a:lnTo>
                      <a:pt x="990" y="990"/>
                    </a:lnTo>
                    <a:lnTo>
                      <a:pt x="990" y="988"/>
                    </a:lnTo>
                    <a:lnTo>
                      <a:pt x="988" y="990"/>
                    </a:lnTo>
                    <a:lnTo>
                      <a:pt x="986" y="990"/>
                    </a:lnTo>
                    <a:lnTo>
                      <a:pt x="985" y="990"/>
                    </a:lnTo>
                    <a:lnTo>
                      <a:pt x="985" y="991"/>
                    </a:lnTo>
                    <a:lnTo>
                      <a:pt x="985" y="990"/>
                    </a:lnTo>
                    <a:lnTo>
                      <a:pt x="983" y="990"/>
                    </a:lnTo>
                    <a:lnTo>
                      <a:pt x="981" y="988"/>
                    </a:lnTo>
                    <a:lnTo>
                      <a:pt x="981" y="990"/>
                    </a:lnTo>
                    <a:lnTo>
                      <a:pt x="980" y="990"/>
                    </a:lnTo>
                    <a:lnTo>
                      <a:pt x="980" y="991"/>
                    </a:lnTo>
                    <a:lnTo>
                      <a:pt x="978" y="991"/>
                    </a:lnTo>
                    <a:lnTo>
                      <a:pt x="976" y="991"/>
                    </a:lnTo>
                    <a:lnTo>
                      <a:pt x="976" y="993"/>
                    </a:lnTo>
                    <a:lnTo>
                      <a:pt x="978" y="993"/>
                    </a:lnTo>
                    <a:lnTo>
                      <a:pt x="976" y="993"/>
                    </a:lnTo>
                    <a:lnTo>
                      <a:pt x="976" y="995"/>
                    </a:lnTo>
                    <a:lnTo>
                      <a:pt x="975" y="995"/>
                    </a:lnTo>
                    <a:lnTo>
                      <a:pt x="975" y="997"/>
                    </a:lnTo>
                    <a:lnTo>
                      <a:pt x="975" y="995"/>
                    </a:lnTo>
                    <a:lnTo>
                      <a:pt x="973" y="995"/>
                    </a:lnTo>
                    <a:lnTo>
                      <a:pt x="973" y="997"/>
                    </a:lnTo>
                    <a:lnTo>
                      <a:pt x="973" y="995"/>
                    </a:lnTo>
                    <a:lnTo>
                      <a:pt x="971" y="995"/>
                    </a:lnTo>
                    <a:lnTo>
                      <a:pt x="971" y="997"/>
                    </a:lnTo>
                    <a:lnTo>
                      <a:pt x="971" y="998"/>
                    </a:lnTo>
                    <a:lnTo>
                      <a:pt x="969" y="998"/>
                    </a:lnTo>
                    <a:lnTo>
                      <a:pt x="969" y="997"/>
                    </a:lnTo>
                    <a:lnTo>
                      <a:pt x="968" y="998"/>
                    </a:lnTo>
                    <a:lnTo>
                      <a:pt x="968" y="1000"/>
                    </a:lnTo>
                    <a:lnTo>
                      <a:pt x="966" y="1000"/>
                    </a:lnTo>
                    <a:lnTo>
                      <a:pt x="964" y="1000"/>
                    </a:lnTo>
                    <a:lnTo>
                      <a:pt x="964" y="1002"/>
                    </a:lnTo>
                    <a:lnTo>
                      <a:pt x="964" y="1003"/>
                    </a:lnTo>
                    <a:lnTo>
                      <a:pt x="966" y="1003"/>
                    </a:lnTo>
                    <a:lnTo>
                      <a:pt x="964" y="1003"/>
                    </a:lnTo>
                    <a:lnTo>
                      <a:pt x="966" y="1005"/>
                    </a:lnTo>
                    <a:lnTo>
                      <a:pt x="966" y="1007"/>
                    </a:lnTo>
                    <a:lnTo>
                      <a:pt x="964" y="1007"/>
                    </a:lnTo>
                    <a:lnTo>
                      <a:pt x="963" y="1007"/>
                    </a:lnTo>
                    <a:lnTo>
                      <a:pt x="961" y="1007"/>
                    </a:lnTo>
                    <a:lnTo>
                      <a:pt x="959" y="1005"/>
                    </a:lnTo>
                    <a:lnTo>
                      <a:pt x="958" y="1005"/>
                    </a:lnTo>
                    <a:lnTo>
                      <a:pt x="958" y="1007"/>
                    </a:lnTo>
                    <a:lnTo>
                      <a:pt x="958" y="1005"/>
                    </a:lnTo>
                    <a:lnTo>
                      <a:pt x="956" y="1005"/>
                    </a:lnTo>
                    <a:lnTo>
                      <a:pt x="954" y="1005"/>
                    </a:lnTo>
                    <a:lnTo>
                      <a:pt x="952" y="1005"/>
                    </a:lnTo>
                    <a:lnTo>
                      <a:pt x="951" y="1003"/>
                    </a:lnTo>
                    <a:lnTo>
                      <a:pt x="951" y="1005"/>
                    </a:lnTo>
                    <a:lnTo>
                      <a:pt x="949" y="1005"/>
                    </a:lnTo>
                    <a:lnTo>
                      <a:pt x="947" y="1005"/>
                    </a:lnTo>
                    <a:lnTo>
                      <a:pt x="946" y="1005"/>
                    </a:lnTo>
                    <a:lnTo>
                      <a:pt x="944" y="1007"/>
                    </a:lnTo>
                    <a:lnTo>
                      <a:pt x="942" y="1007"/>
                    </a:lnTo>
                    <a:lnTo>
                      <a:pt x="941" y="1007"/>
                    </a:lnTo>
                    <a:lnTo>
                      <a:pt x="941" y="1008"/>
                    </a:lnTo>
                    <a:lnTo>
                      <a:pt x="941" y="1010"/>
                    </a:lnTo>
                    <a:lnTo>
                      <a:pt x="939" y="1010"/>
                    </a:lnTo>
                    <a:lnTo>
                      <a:pt x="941" y="1012"/>
                    </a:lnTo>
                    <a:lnTo>
                      <a:pt x="939" y="1012"/>
                    </a:lnTo>
                    <a:lnTo>
                      <a:pt x="939" y="1014"/>
                    </a:lnTo>
                    <a:lnTo>
                      <a:pt x="939" y="1012"/>
                    </a:lnTo>
                    <a:lnTo>
                      <a:pt x="937" y="1014"/>
                    </a:lnTo>
                    <a:lnTo>
                      <a:pt x="935" y="1014"/>
                    </a:lnTo>
                    <a:lnTo>
                      <a:pt x="935" y="1015"/>
                    </a:lnTo>
                    <a:lnTo>
                      <a:pt x="935" y="1014"/>
                    </a:lnTo>
                    <a:lnTo>
                      <a:pt x="934" y="1014"/>
                    </a:lnTo>
                    <a:lnTo>
                      <a:pt x="935" y="1014"/>
                    </a:lnTo>
                    <a:lnTo>
                      <a:pt x="934" y="1012"/>
                    </a:lnTo>
                    <a:lnTo>
                      <a:pt x="932" y="1012"/>
                    </a:lnTo>
                    <a:lnTo>
                      <a:pt x="932" y="1014"/>
                    </a:lnTo>
                    <a:lnTo>
                      <a:pt x="932" y="1015"/>
                    </a:lnTo>
                    <a:lnTo>
                      <a:pt x="932" y="1014"/>
                    </a:lnTo>
                    <a:lnTo>
                      <a:pt x="930" y="1014"/>
                    </a:lnTo>
                    <a:lnTo>
                      <a:pt x="929" y="1015"/>
                    </a:lnTo>
                    <a:lnTo>
                      <a:pt x="927" y="1015"/>
                    </a:lnTo>
                    <a:lnTo>
                      <a:pt x="925" y="1017"/>
                    </a:lnTo>
                    <a:lnTo>
                      <a:pt x="924" y="1017"/>
                    </a:lnTo>
                    <a:lnTo>
                      <a:pt x="922" y="1017"/>
                    </a:lnTo>
                    <a:lnTo>
                      <a:pt x="922" y="1019"/>
                    </a:lnTo>
                    <a:lnTo>
                      <a:pt x="920" y="1019"/>
                    </a:lnTo>
                    <a:lnTo>
                      <a:pt x="920" y="1020"/>
                    </a:lnTo>
                    <a:lnTo>
                      <a:pt x="918" y="1020"/>
                    </a:lnTo>
                    <a:lnTo>
                      <a:pt x="917" y="1020"/>
                    </a:lnTo>
                    <a:lnTo>
                      <a:pt x="917" y="1022"/>
                    </a:lnTo>
                    <a:lnTo>
                      <a:pt x="915" y="1022"/>
                    </a:lnTo>
                    <a:lnTo>
                      <a:pt x="913" y="1024"/>
                    </a:lnTo>
                    <a:lnTo>
                      <a:pt x="912" y="1025"/>
                    </a:lnTo>
                    <a:lnTo>
                      <a:pt x="912" y="1027"/>
                    </a:lnTo>
                    <a:lnTo>
                      <a:pt x="912" y="1029"/>
                    </a:lnTo>
                    <a:lnTo>
                      <a:pt x="910" y="1029"/>
                    </a:lnTo>
                    <a:lnTo>
                      <a:pt x="908" y="1031"/>
                    </a:lnTo>
                    <a:lnTo>
                      <a:pt x="907" y="1032"/>
                    </a:lnTo>
                    <a:lnTo>
                      <a:pt x="905" y="1032"/>
                    </a:lnTo>
                    <a:lnTo>
                      <a:pt x="905" y="1034"/>
                    </a:lnTo>
                    <a:lnTo>
                      <a:pt x="903" y="1034"/>
                    </a:lnTo>
                    <a:lnTo>
                      <a:pt x="901" y="1036"/>
                    </a:lnTo>
                    <a:lnTo>
                      <a:pt x="900" y="1036"/>
                    </a:lnTo>
                    <a:lnTo>
                      <a:pt x="900" y="1037"/>
                    </a:lnTo>
                    <a:lnTo>
                      <a:pt x="898" y="1037"/>
                    </a:lnTo>
                    <a:lnTo>
                      <a:pt x="896" y="1039"/>
                    </a:lnTo>
                    <a:lnTo>
                      <a:pt x="895" y="1039"/>
                    </a:lnTo>
                    <a:lnTo>
                      <a:pt x="895" y="1041"/>
                    </a:lnTo>
                    <a:lnTo>
                      <a:pt x="893" y="1041"/>
                    </a:lnTo>
                    <a:lnTo>
                      <a:pt x="891" y="1042"/>
                    </a:lnTo>
                    <a:lnTo>
                      <a:pt x="890" y="1042"/>
                    </a:lnTo>
                    <a:lnTo>
                      <a:pt x="890" y="1044"/>
                    </a:lnTo>
                    <a:lnTo>
                      <a:pt x="888" y="1044"/>
                    </a:lnTo>
                    <a:lnTo>
                      <a:pt x="888" y="1046"/>
                    </a:lnTo>
                    <a:lnTo>
                      <a:pt x="886" y="1046"/>
                    </a:lnTo>
                    <a:lnTo>
                      <a:pt x="884" y="1048"/>
                    </a:lnTo>
                    <a:lnTo>
                      <a:pt x="884" y="1049"/>
                    </a:lnTo>
                    <a:lnTo>
                      <a:pt x="883" y="1049"/>
                    </a:lnTo>
                    <a:lnTo>
                      <a:pt x="883" y="1051"/>
                    </a:lnTo>
                    <a:lnTo>
                      <a:pt x="881" y="1051"/>
                    </a:lnTo>
                    <a:lnTo>
                      <a:pt x="881" y="1053"/>
                    </a:lnTo>
                    <a:lnTo>
                      <a:pt x="881" y="1054"/>
                    </a:lnTo>
                    <a:lnTo>
                      <a:pt x="881" y="1056"/>
                    </a:lnTo>
                    <a:lnTo>
                      <a:pt x="879" y="1056"/>
                    </a:lnTo>
                    <a:lnTo>
                      <a:pt x="879" y="1058"/>
                    </a:lnTo>
                    <a:lnTo>
                      <a:pt x="878" y="1058"/>
                    </a:lnTo>
                    <a:lnTo>
                      <a:pt x="878" y="1059"/>
                    </a:lnTo>
                    <a:lnTo>
                      <a:pt x="876" y="1059"/>
                    </a:lnTo>
                    <a:lnTo>
                      <a:pt x="876" y="1061"/>
                    </a:lnTo>
                    <a:lnTo>
                      <a:pt x="874" y="1061"/>
                    </a:lnTo>
                    <a:lnTo>
                      <a:pt x="874" y="1063"/>
                    </a:lnTo>
                    <a:lnTo>
                      <a:pt x="873" y="1063"/>
                    </a:lnTo>
                    <a:lnTo>
                      <a:pt x="873" y="1065"/>
                    </a:lnTo>
                    <a:lnTo>
                      <a:pt x="871" y="1065"/>
                    </a:lnTo>
                    <a:lnTo>
                      <a:pt x="871" y="1066"/>
                    </a:lnTo>
                    <a:lnTo>
                      <a:pt x="871" y="1068"/>
                    </a:lnTo>
                    <a:lnTo>
                      <a:pt x="869" y="1068"/>
                    </a:lnTo>
                    <a:lnTo>
                      <a:pt x="867" y="1068"/>
                    </a:lnTo>
                    <a:lnTo>
                      <a:pt x="867" y="1070"/>
                    </a:lnTo>
                    <a:lnTo>
                      <a:pt x="867" y="1071"/>
                    </a:lnTo>
                    <a:lnTo>
                      <a:pt x="866" y="1071"/>
                    </a:lnTo>
                    <a:lnTo>
                      <a:pt x="866" y="1073"/>
                    </a:lnTo>
                    <a:lnTo>
                      <a:pt x="864" y="1073"/>
                    </a:lnTo>
                    <a:lnTo>
                      <a:pt x="862" y="1075"/>
                    </a:lnTo>
                    <a:lnTo>
                      <a:pt x="862" y="1076"/>
                    </a:lnTo>
                    <a:lnTo>
                      <a:pt x="861" y="1078"/>
                    </a:lnTo>
                    <a:lnTo>
                      <a:pt x="861" y="1080"/>
                    </a:lnTo>
                    <a:lnTo>
                      <a:pt x="859" y="1080"/>
                    </a:lnTo>
                    <a:lnTo>
                      <a:pt x="861" y="1082"/>
                    </a:lnTo>
                    <a:lnTo>
                      <a:pt x="859" y="1082"/>
                    </a:lnTo>
                    <a:lnTo>
                      <a:pt x="859" y="1083"/>
                    </a:lnTo>
                    <a:lnTo>
                      <a:pt x="859" y="1085"/>
                    </a:lnTo>
                    <a:lnTo>
                      <a:pt x="857" y="1085"/>
                    </a:lnTo>
                    <a:lnTo>
                      <a:pt x="857" y="1087"/>
                    </a:lnTo>
                    <a:lnTo>
                      <a:pt x="857" y="1088"/>
                    </a:lnTo>
                    <a:lnTo>
                      <a:pt x="857" y="1090"/>
                    </a:lnTo>
                    <a:lnTo>
                      <a:pt x="857" y="1092"/>
                    </a:lnTo>
                    <a:lnTo>
                      <a:pt x="857" y="1093"/>
                    </a:lnTo>
                    <a:lnTo>
                      <a:pt x="859" y="1093"/>
                    </a:lnTo>
                    <a:lnTo>
                      <a:pt x="861" y="1093"/>
                    </a:lnTo>
                    <a:lnTo>
                      <a:pt x="861" y="1095"/>
                    </a:lnTo>
                    <a:lnTo>
                      <a:pt x="861" y="1097"/>
                    </a:lnTo>
                    <a:lnTo>
                      <a:pt x="859" y="1099"/>
                    </a:lnTo>
                    <a:lnTo>
                      <a:pt x="859" y="1100"/>
                    </a:lnTo>
                    <a:lnTo>
                      <a:pt x="859" y="1102"/>
                    </a:lnTo>
                    <a:lnTo>
                      <a:pt x="857" y="1102"/>
                    </a:lnTo>
                    <a:lnTo>
                      <a:pt x="857" y="1104"/>
                    </a:lnTo>
                    <a:lnTo>
                      <a:pt x="857" y="1105"/>
                    </a:lnTo>
                    <a:lnTo>
                      <a:pt x="857" y="1107"/>
                    </a:lnTo>
                    <a:lnTo>
                      <a:pt x="856" y="1107"/>
                    </a:lnTo>
                    <a:lnTo>
                      <a:pt x="856" y="1109"/>
                    </a:lnTo>
                    <a:lnTo>
                      <a:pt x="856" y="1110"/>
                    </a:lnTo>
                    <a:lnTo>
                      <a:pt x="856" y="1112"/>
                    </a:lnTo>
                    <a:lnTo>
                      <a:pt x="854" y="1112"/>
                    </a:lnTo>
                    <a:lnTo>
                      <a:pt x="856" y="1112"/>
                    </a:lnTo>
                    <a:lnTo>
                      <a:pt x="854" y="1112"/>
                    </a:lnTo>
                    <a:lnTo>
                      <a:pt x="854" y="1114"/>
                    </a:lnTo>
                    <a:lnTo>
                      <a:pt x="856" y="1114"/>
                    </a:lnTo>
                    <a:lnTo>
                      <a:pt x="856" y="1116"/>
                    </a:lnTo>
                    <a:lnTo>
                      <a:pt x="856" y="1117"/>
                    </a:lnTo>
                    <a:lnTo>
                      <a:pt x="856" y="1116"/>
                    </a:lnTo>
                    <a:lnTo>
                      <a:pt x="857" y="1117"/>
                    </a:lnTo>
                    <a:lnTo>
                      <a:pt x="857" y="1119"/>
                    </a:lnTo>
                    <a:lnTo>
                      <a:pt x="856" y="1121"/>
                    </a:lnTo>
                    <a:lnTo>
                      <a:pt x="856" y="1122"/>
                    </a:lnTo>
                    <a:lnTo>
                      <a:pt x="857" y="1122"/>
                    </a:lnTo>
                    <a:lnTo>
                      <a:pt x="857" y="1124"/>
                    </a:lnTo>
                    <a:lnTo>
                      <a:pt x="856" y="1124"/>
                    </a:lnTo>
                    <a:lnTo>
                      <a:pt x="857" y="1126"/>
                    </a:lnTo>
                    <a:lnTo>
                      <a:pt x="859" y="1126"/>
                    </a:lnTo>
                    <a:lnTo>
                      <a:pt x="859" y="1128"/>
                    </a:lnTo>
                    <a:lnTo>
                      <a:pt x="857" y="1128"/>
                    </a:lnTo>
                    <a:lnTo>
                      <a:pt x="857" y="1129"/>
                    </a:lnTo>
                    <a:lnTo>
                      <a:pt x="857" y="1131"/>
                    </a:lnTo>
                    <a:lnTo>
                      <a:pt x="859" y="1131"/>
                    </a:lnTo>
                    <a:lnTo>
                      <a:pt x="861" y="1131"/>
                    </a:lnTo>
                    <a:lnTo>
                      <a:pt x="861" y="1129"/>
                    </a:lnTo>
                    <a:lnTo>
                      <a:pt x="861" y="1131"/>
                    </a:lnTo>
                    <a:lnTo>
                      <a:pt x="862" y="1131"/>
                    </a:lnTo>
                    <a:lnTo>
                      <a:pt x="861" y="1131"/>
                    </a:lnTo>
                    <a:lnTo>
                      <a:pt x="861" y="1133"/>
                    </a:lnTo>
                    <a:lnTo>
                      <a:pt x="862" y="1133"/>
                    </a:lnTo>
                    <a:lnTo>
                      <a:pt x="861" y="1134"/>
                    </a:lnTo>
                    <a:lnTo>
                      <a:pt x="861" y="1133"/>
                    </a:lnTo>
                    <a:lnTo>
                      <a:pt x="859" y="1133"/>
                    </a:lnTo>
                    <a:lnTo>
                      <a:pt x="857" y="1134"/>
                    </a:lnTo>
                    <a:lnTo>
                      <a:pt x="857" y="1136"/>
                    </a:lnTo>
                    <a:lnTo>
                      <a:pt x="857" y="1138"/>
                    </a:lnTo>
                    <a:lnTo>
                      <a:pt x="859" y="1138"/>
                    </a:lnTo>
                    <a:lnTo>
                      <a:pt x="859" y="1136"/>
                    </a:lnTo>
                    <a:lnTo>
                      <a:pt x="859" y="1138"/>
                    </a:lnTo>
                    <a:lnTo>
                      <a:pt x="861" y="1138"/>
                    </a:lnTo>
                    <a:lnTo>
                      <a:pt x="859" y="1139"/>
                    </a:lnTo>
                    <a:lnTo>
                      <a:pt x="861" y="1139"/>
                    </a:lnTo>
                    <a:lnTo>
                      <a:pt x="859" y="1139"/>
                    </a:lnTo>
                    <a:lnTo>
                      <a:pt x="859" y="1141"/>
                    </a:lnTo>
                    <a:lnTo>
                      <a:pt x="857" y="1141"/>
                    </a:lnTo>
                    <a:lnTo>
                      <a:pt x="857" y="1143"/>
                    </a:lnTo>
                    <a:lnTo>
                      <a:pt x="856" y="1143"/>
                    </a:lnTo>
                    <a:lnTo>
                      <a:pt x="856" y="1145"/>
                    </a:lnTo>
                    <a:lnTo>
                      <a:pt x="857" y="1145"/>
                    </a:lnTo>
                    <a:lnTo>
                      <a:pt x="857" y="1146"/>
                    </a:lnTo>
                    <a:lnTo>
                      <a:pt x="857" y="1148"/>
                    </a:lnTo>
                    <a:lnTo>
                      <a:pt x="859" y="1148"/>
                    </a:lnTo>
                    <a:lnTo>
                      <a:pt x="857" y="1150"/>
                    </a:lnTo>
                    <a:lnTo>
                      <a:pt x="857" y="1148"/>
                    </a:lnTo>
                    <a:lnTo>
                      <a:pt x="857" y="1150"/>
                    </a:lnTo>
                    <a:lnTo>
                      <a:pt x="856" y="1150"/>
                    </a:lnTo>
                    <a:lnTo>
                      <a:pt x="856" y="1151"/>
                    </a:lnTo>
                    <a:lnTo>
                      <a:pt x="857" y="1151"/>
                    </a:lnTo>
                    <a:lnTo>
                      <a:pt x="856" y="1151"/>
                    </a:lnTo>
                    <a:lnTo>
                      <a:pt x="856" y="1153"/>
                    </a:lnTo>
                    <a:lnTo>
                      <a:pt x="857" y="1155"/>
                    </a:lnTo>
                    <a:lnTo>
                      <a:pt x="856" y="1155"/>
                    </a:lnTo>
                    <a:lnTo>
                      <a:pt x="857" y="1155"/>
                    </a:lnTo>
                    <a:lnTo>
                      <a:pt x="857" y="1156"/>
                    </a:lnTo>
                    <a:lnTo>
                      <a:pt x="859" y="1158"/>
                    </a:lnTo>
                    <a:lnTo>
                      <a:pt x="857" y="1158"/>
                    </a:lnTo>
                    <a:lnTo>
                      <a:pt x="857" y="1160"/>
                    </a:lnTo>
                    <a:lnTo>
                      <a:pt x="859" y="1160"/>
                    </a:lnTo>
                    <a:lnTo>
                      <a:pt x="857" y="1160"/>
                    </a:lnTo>
                    <a:lnTo>
                      <a:pt x="857" y="1162"/>
                    </a:lnTo>
                    <a:lnTo>
                      <a:pt x="857" y="1163"/>
                    </a:lnTo>
                    <a:lnTo>
                      <a:pt x="857" y="1165"/>
                    </a:lnTo>
                    <a:lnTo>
                      <a:pt x="857" y="1167"/>
                    </a:lnTo>
                    <a:lnTo>
                      <a:pt x="856" y="1168"/>
                    </a:lnTo>
                    <a:lnTo>
                      <a:pt x="857" y="1168"/>
                    </a:lnTo>
                    <a:lnTo>
                      <a:pt x="856" y="1168"/>
                    </a:lnTo>
                    <a:lnTo>
                      <a:pt x="856" y="1170"/>
                    </a:lnTo>
                    <a:lnTo>
                      <a:pt x="856" y="1172"/>
                    </a:lnTo>
                    <a:lnTo>
                      <a:pt x="856" y="1173"/>
                    </a:lnTo>
                    <a:lnTo>
                      <a:pt x="854" y="1175"/>
                    </a:lnTo>
                    <a:lnTo>
                      <a:pt x="854" y="1177"/>
                    </a:lnTo>
                    <a:lnTo>
                      <a:pt x="852" y="1179"/>
                    </a:lnTo>
                    <a:lnTo>
                      <a:pt x="852" y="1180"/>
                    </a:lnTo>
                    <a:lnTo>
                      <a:pt x="852" y="1182"/>
                    </a:lnTo>
                    <a:lnTo>
                      <a:pt x="852" y="1184"/>
                    </a:lnTo>
                    <a:lnTo>
                      <a:pt x="852" y="1185"/>
                    </a:lnTo>
                    <a:lnTo>
                      <a:pt x="850" y="1185"/>
                    </a:lnTo>
                    <a:lnTo>
                      <a:pt x="850" y="1187"/>
                    </a:lnTo>
                    <a:lnTo>
                      <a:pt x="849" y="1187"/>
                    </a:lnTo>
                    <a:lnTo>
                      <a:pt x="847" y="1187"/>
                    </a:lnTo>
                    <a:lnTo>
                      <a:pt x="847" y="1189"/>
                    </a:lnTo>
                    <a:lnTo>
                      <a:pt x="845" y="1189"/>
                    </a:lnTo>
                    <a:lnTo>
                      <a:pt x="844" y="1190"/>
                    </a:lnTo>
                    <a:lnTo>
                      <a:pt x="840" y="1192"/>
                    </a:lnTo>
                    <a:lnTo>
                      <a:pt x="839" y="1194"/>
                    </a:lnTo>
                    <a:lnTo>
                      <a:pt x="837" y="1194"/>
                    </a:lnTo>
                    <a:lnTo>
                      <a:pt x="837" y="1196"/>
                    </a:lnTo>
                    <a:lnTo>
                      <a:pt x="833" y="1197"/>
                    </a:lnTo>
                    <a:lnTo>
                      <a:pt x="833" y="1199"/>
                    </a:lnTo>
                    <a:lnTo>
                      <a:pt x="832" y="1199"/>
                    </a:lnTo>
                    <a:lnTo>
                      <a:pt x="832" y="1201"/>
                    </a:lnTo>
                    <a:lnTo>
                      <a:pt x="828" y="1202"/>
                    </a:lnTo>
                    <a:lnTo>
                      <a:pt x="828" y="1204"/>
                    </a:lnTo>
                    <a:lnTo>
                      <a:pt x="827" y="1206"/>
                    </a:lnTo>
                    <a:lnTo>
                      <a:pt x="825" y="1207"/>
                    </a:lnTo>
                    <a:lnTo>
                      <a:pt x="823" y="1209"/>
                    </a:lnTo>
                    <a:lnTo>
                      <a:pt x="822" y="1211"/>
                    </a:lnTo>
                    <a:lnTo>
                      <a:pt x="822" y="1213"/>
                    </a:lnTo>
                    <a:lnTo>
                      <a:pt x="820" y="1213"/>
                    </a:lnTo>
                    <a:lnTo>
                      <a:pt x="820" y="1214"/>
                    </a:lnTo>
                    <a:lnTo>
                      <a:pt x="820" y="1216"/>
                    </a:lnTo>
                    <a:lnTo>
                      <a:pt x="818" y="1216"/>
                    </a:lnTo>
                    <a:lnTo>
                      <a:pt x="818" y="1218"/>
                    </a:lnTo>
                    <a:lnTo>
                      <a:pt x="816" y="1219"/>
                    </a:lnTo>
                    <a:lnTo>
                      <a:pt x="815" y="1221"/>
                    </a:lnTo>
                    <a:lnTo>
                      <a:pt x="815" y="1223"/>
                    </a:lnTo>
                    <a:lnTo>
                      <a:pt x="813" y="1224"/>
                    </a:lnTo>
                    <a:lnTo>
                      <a:pt x="813" y="1226"/>
                    </a:lnTo>
                    <a:lnTo>
                      <a:pt x="811" y="1228"/>
                    </a:lnTo>
                    <a:lnTo>
                      <a:pt x="810" y="1231"/>
                    </a:lnTo>
                    <a:lnTo>
                      <a:pt x="810" y="1233"/>
                    </a:lnTo>
                    <a:lnTo>
                      <a:pt x="808" y="1235"/>
                    </a:lnTo>
                    <a:lnTo>
                      <a:pt x="808" y="1236"/>
                    </a:lnTo>
                    <a:lnTo>
                      <a:pt x="806" y="1240"/>
                    </a:lnTo>
                    <a:lnTo>
                      <a:pt x="806" y="1241"/>
                    </a:lnTo>
                    <a:lnTo>
                      <a:pt x="805" y="1245"/>
                    </a:lnTo>
                    <a:lnTo>
                      <a:pt x="803" y="1250"/>
                    </a:lnTo>
                    <a:lnTo>
                      <a:pt x="801" y="1252"/>
                    </a:lnTo>
                    <a:lnTo>
                      <a:pt x="801" y="1253"/>
                    </a:lnTo>
                    <a:lnTo>
                      <a:pt x="799" y="1257"/>
                    </a:lnTo>
                    <a:lnTo>
                      <a:pt x="799" y="1258"/>
                    </a:lnTo>
                    <a:lnTo>
                      <a:pt x="799" y="1260"/>
                    </a:lnTo>
                    <a:lnTo>
                      <a:pt x="798" y="1262"/>
                    </a:lnTo>
                    <a:lnTo>
                      <a:pt x="798" y="1264"/>
                    </a:lnTo>
                    <a:lnTo>
                      <a:pt x="796" y="1267"/>
                    </a:lnTo>
                    <a:lnTo>
                      <a:pt x="794" y="1269"/>
                    </a:lnTo>
                    <a:lnTo>
                      <a:pt x="793" y="1270"/>
                    </a:lnTo>
                    <a:lnTo>
                      <a:pt x="793" y="1272"/>
                    </a:lnTo>
                    <a:lnTo>
                      <a:pt x="791" y="1272"/>
                    </a:lnTo>
                    <a:lnTo>
                      <a:pt x="791" y="1274"/>
                    </a:lnTo>
                    <a:lnTo>
                      <a:pt x="789" y="1276"/>
                    </a:lnTo>
                    <a:lnTo>
                      <a:pt x="789" y="1277"/>
                    </a:lnTo>
                    <a:lnTo>
                      <a:pt x="788" y="1279"/>
                    </a:lnTo>
                    <a:lnTo>
                      <a:pt x="786" y="1281"/>
                    </a:lnTo>
                    <a:lnTo>
                      <a:pt x="784" y="1284"/>
                    </a:lnTo>
                    <a:lnTo>
                      <a:pt x="784" y="1286"/>
                    </a:lnTo>
                    <a:lnTo>
                      <a:pt x="782" y="1286"/>
                    </a:lnTo>
                    <a:lnTo>
                      <a:pt x="782" y="1287"/>
                    </a:lnTo>
                    <a:lnTo>
                      <a:pt x="779" y="1289"/>
                    </a:lnTo>
                    <a:lnTo>
                      <a:pt x="779" y="1291"/>
                    </a:lnTo>
                    <a:lnTo>
                      <a:pt x="777" y="1293"/>
                    </a:lnTo>
                    <a:lnTo>
                      <a:pt x="776" y="1294"/>
                    </a:lnTo>
                    <a:lnTo>
                      <a:pt x="774" y="1294"/>
                    </a:lnTo>
                    <a:lnTo>
                      <a:pt x="774" y="1296"/>
                    </a:lnTo>
                    <a:lnTo>
                      <a:pt x="772" y="1298"/>
                    </a:lnTo>
                    <a:lnTo>
                      <a:pt x="771" y="1299"/>
                    </a:lnTo>
                    <a:lnTo>
                      <a:pt x="769" y="1301"/>
                    </a:lnTo>
                    <a:lnTo>
                      <a:pt x="769" y="1303"/>
                    </a:lnTo>
                    <a:lnTo>
                      <a:pt x="767" y="1303"/>
                    </a:lnTo>
                    <a:lnTo>
                      <a:pt x="765" y="1304"/>
                    </a:lnTo>
                    <a:lnTo>
                      <a:pt x="764" y="1306"/>
                    </a:lnTo>
                    <a:lnTo>
                      <a:pt x="762" y="1308"/>
                    </a:lnTo>
                    <a:lnTo>
                      <a:pt x="760" y="1308"/>
                    </a:lnTo>
                    <a:lnTo>
                      <a:pt x="759" y="1310"/>
                    </a:lnTo>
                    <a:lnTo>
                      <a:pt x="757" y="1311"/>
                    </a:lnTo>
                    <a:lnTo>
                      <a:pt x="755" y="1311"/>
                    </a:lnTo>
                    <a:lnTo>
                      <a:pt x="755" y="1313"/>
                    </a:lnTo>
                    <a:lnTo>
                      <a:pt x="754" y="1313"/>
                    </a:lnTo>
                    <a:lnTo>
                      <a:pt x="752" y="1315"/>
                    </a:lnTo>
                    <a:lnTo>
                      <a:pt x="750" y="1315"/>
                    </a:lnTo>
                    <a:lnTo>
                      <a:pt x="748" y="1316"/>
                    </a:lnTo>
                    <a:lnTo>
                      <a:pt x="747" y="1318"/>
                    </a:lnTo>
                    <a:lnTo>
                      <a:pt x="745" y="1320"/>
                    </a:lnTo>
                    <a:lnTo>
                      <a:pt x="743" y="1320"/>
                    </a:lnTo>
                    <a:lnTo>
                      <a:pt x="742" y="1323"/>
                    </a:lnTo>
                    <a:lnTo>
                      <a:pt x="742" y="1325"/>
                    </a:lnTo>
                    <a:lnTo>
                      <a:pt x="740" y="1325"/>
                    </a:lnTo>
                    <a:lnTo>
                      <a:pt x="740" y="1327"/>
                    </a:lnTo>
                    <a:lnTo>
                      <a:pt x="740" y="1325"/>
                    </a:lnTo>
                    <a:lnTo>
                      <a:pt x="740" y="1327"/>
                    </a:lnTo>
                    <a:lnTo>
                      <a:pt x="738" y="1327"/>
                    </a:lnTo>
                    <a:lnTo>
                      <a:pt x="737" y="1328"/>
                    </a:lnTo>
                    <a:lnTo>
                      <a:pt x="735" y="1330"/>
                    </a:lnTo>
                    <a:lnTo>
                      <a:pt x="733" y="1333"/>
                    </a:lnTo>
                    <a:lnTo>
                      <a:pt x="731" y="1335"/>
                    </a:lnTo>
                    <a:lnTo>
                      <a:pt x="731" y="1337"/>
                    </a:lnTo>
                    <a:lnTo>
                      <a:pt x="731" y="1338"/>
                    </a:lnTo>
                    <a:lnTo>
                      <a:pt x="730" y="1338"/>
                    </a:lnTo>
                    <a:lnTo>
                      <a:pt x="730" y="1342"/>
                    </a:lnTo>
                    <a:lnTo>
                      <a:pt x="730" y="1344"/>
                    </a:lnTo>
                    <a:lnTo>
                      <a:pt x="728" y="1344"/>
                    </a:lnTo>
                    <a:lnTo>
                      <a:pt x="728" y="1345"/>
                    </a:lnTo>
                    <a:lnTo>
                      <a:pt x="728" y="1347"/>
                    </a:lnTo>
                    <a:lnTo>
                      <a:pt x="728" y="1349"/>
                    </a:lnTo>
                    <a:lnTo>
                      <a:pt x="728" y="1350"/>
                    </a:lnTo>
                    <a:lnTo>
                      <a:pt x="726" y="1352"/>
                    </a:lnTo>
                    <a:lnTo>
                      <a:pt x="726" y="1354"/>
                    </a:lnTo>
                    <a:lnTo>
                      <a:pt x="726" y="1355"/>
                    </a:lnTo>
                    <a:lnTo>
                      <a:pt x="725" y="1355"/>
                    </a:lnTo>
                    <a:lnTo>
                      <a:pt x="725" y="1357"/>
                    </a:lnTo>
                    <a:lnTo>
                      <a:pt x="725" y="1359"/>
                    </a:lnTo>
                    <a:lnTo>
                      <a:pt x="723" y="1362"/>
                    </a:lnTo>
                    <a:lnTo>
                      <a:pt x="721" y="1364"/>
                    </a:lnTo>
                    <a:lnTo>
                      <a:pt x="721" y="1366"/>
                    </a:lnTo>
                    <a:lnTo>
                      <a:pt x="720" y="1366"/>
                    </a:lnTo>
                    <a:lnTo>
                      <a:pt x="720" y="1367"/>
                    </a:lnTo>
                    <a:lnTo>
                      <a:pt x="718" y="1369"/>
                    </a:lnTo>
                    <a:lnTo>
                      <a:pt x="716" y="1371"/>
                    </a:lnTo>
                    <a:lnTo>
                      <a:pt x="714" y="1372"/>
                    </a:lnTo>
                    <a:lnTo>
                      <a:pt x="713" y="1374"/>
                    </a:lnTo>
                    <a:lnTo>
                      <a:pt x="711" y="1376"/>
                    </a:lnTo>
                    <a:lnTo>
                      <a:pt x="709" y="1378"/>
                    </a:lnTo>
                    <a:lnTo>
                      <a:pt x="708" y="1379"/>
                    </a:lnTo>
                    <a:lnTo>
                      <a:pt x="706" y="1381"/>
                    </a:lnTo>
                    <a:lnTo>
                      <a:pt x="704" y="1383"/>
                    </a:lnTo>
                    <a:lnTo>
                      <a:pt x="704" y="1384"/>
                    </a:lnTo>
                    <a:lnTo>
                      <a:pt x="703" y="1384"/>
                    </a:lnTo>
                    <a:lnTo>
                      <a:pt x="701" y="1386"/>
                    </a:lnTo>
                    <a:lnTo>
                      <a:pt x="699" y="1388"/>
                    </a:lnTo>
                    <a:lnTo>
                      <a:pt x="697" y="1388"/>
                    </a:lnTo>
                    <a:lnTo>
                      <a:pt x="697" y="1389"/>
                    </a:lnTo>
                    <a:lnTo>
                      <a:pt x="696" y="1389"/>
                    </a:lnTo>
                    <a:lnTo>
                      <a:pt x="694" y="1389"/>
                    </a:lnTo>
                    <a:lnTo>
                      <a:pt x="694" y="1388"/>
                    </a:lnTo>
                    <a:lnTo>
                      <a:pt x="692" y="1388"/>
                    </a:lnTo>
                    <a:lnTo>
                      <a:pt x="691" y="1388"/>
                    </a:lnTo>
                    <a:lnTo>
                      <a:pt x="691" y="1386"/>
                    </a:lnTo>
                    <a:lnTo>
                      <a:pt x="691" y="1384"/>
                    </a:lnTo>
                    <a:lnTo>
                      <a:pt x="691" y="1383"/>
                    </a:lnTo>
                    <a:lnTo>
                      <a:pt x="691" y="1381"/>
                    </a:lnTo>
                    <a:lnTo>
                      <a:pt x="692" y="1379"/>
                    </a:lnTo>
                    <a:lnTo>
                      <a:pt x="692" y="1376"/>
                    </a:lnTo>
                    <a:lnTo>
                      <a:pt x="692" y="1374"/>
                    </a:lnTo>
                    <a:lnTo>
                      <a:pt x="691" y="1372"/>
                    </a:lnTo>
                    <a:lnTo>
                      <a:pt x="691" y="1371"/>
                    </a:lnTo>
                    <a:lnTo>
                      <a:pt x="691" y="1369"/>
                    </a:lnTo>
                    <a:lnTo>
                      <a:pt x="691" y="1367"/>
                    </a:lnTo>
                    <a:lnTo>
                      <a:pt x="692" y="1367"/>
                    </a:lnTo>
                    <a:lnTo>
                      <a:pt x="692" y="1366"/>
                    </a:lnTo>
                    <a:lnTo>
                      <a:pt x="692" y="1364"/>
                    </a:lnTo>
                    <a:lnTo>
                      <a:pt x="694" y="1364"/>
                    </a:lnTo>
                    <a:lnTo>
                      <a:pt x="697" y="1359"/>
                    </a:lnTo>
                    <a:lnTo>
                      <a:pt x="699" y="1359"/>
                    </a:lnTo>
                    <a:lnTo>
                      <a:pt x="699" y="1357"/>
                    </a:lnTo>
                    <a:lnTo>
                      <a:pt x="699" y="1355"/>
                    </a:lnTo>
                    <a:lnTo>
                      <a:pt x="699" y="1354"/>
                    </a:lnTo>
                    <a:lnTo>
                      <a:pt x="701" y="1354"/>
                    </a:lnTo>
                    <a:lnTo>
                      <a:pt x="701" y="1352"/>
                    </a:lnTo>
                    <a:lnTo>
                      <a:pt x="703" y="1350"/>
                    </a:lnTo>
                    <a:lnTo>
                      <a:pt x="704" y="1350"/>
                    </a:lnTo>
                    <a:lnTo>
                      <a:pt x="704" y="1349"/>
                    </a:lnTo>
                    <a:lnTo>
                      <a:pt x="706" y="1349"/>
                    </a:lnTo>
                    <a:lnTo>
                      <a:pt x="703" y="1347"/>
                    </a:lnTo>
                    <a:lnTo>
                      <a:pt x="703" y="1345"/>
                    </a:lnTo>
                    <a:lnTo>
                      <a:pt x="701" y="1345"/>
                    </a:lnTo>
                    <a:lnTo>
                      <a:pt x="701" y="1344"/>
                    </a:lnTo>
                    <a:lnTo>
                      <a:pt x="699" y="1344"/>
                    </a:lnTo>
                    <a:lnTo>
                      <a:pt x="697" y="1344"/>
                    </a:lnTo>
                    <a:lnTo>
                      <a:pt x="696" y="1342"/>
                    </a:lnTo>
                    <a:lnTo>
                      <a:pt x="696" y="1344"/>
                    </a:lnTo>
                    <a:lnTo>
                      <a:pt x="696" y="1342"/>
                    </a:lnTo>
                    <a:lnTo>
                      <a:pt x="694" y="1342"/>
                    </a:lnTo>
                    <a:lnTo>
                      <a:pt x="694" y="1340"/>
                    </a:lnTo>
                    <a:lnTo>
                      <a:pt x="694" y="1338"/>
                    </a:lnTo>
                    <a:lnTo>
                      <a:pt x="692" y="1338"/>
                    </a:lnTo>
                    <a:lnTo>
                      <a:pt x="691" y="1338"/>
                    </a:lnTo>
                    <a:lnTo>
                      <a:pt x="689" y="1337"/>
                    </a:lnTo>
                    <a:lnTo>
                      <a:pt x="689" y="1335"/>
                    </a:lnTo>
                    <a:lnTo>
                      <a:pt x="687" y="1335"/>
                    </a:lnTo>
                    <a:lnTo>
                      <a:pt x="687" y="1333"/>
                    </a:lnTo>
                    <a:lnTo>
                      <a:pt x="687" y="1332"/>
                    </a:lnTo>
                    <a:lnTo>
                      <a:pt x="687" y="1330"/>
                    </a:lnTo>
                    <a:lnTo>
                      <a:pt x="686" y="1330"/>
                    </a:lnTo>
                    <a:lnTo>
                      <a:pt x="686" y="1328"/>
                    </a:lnTo>
                    <a:lnTo>
                      <a:pt x="686" y="1327"/>
                    </a:lnTo>
                    <a:lnTo>
                      <a:pt x="684" y="1327"/>
                    </a:lnTo>
                    <a:lnTo>
                      <a:pt x="686" y="1325"/>
                    </a:lnTo>
                    <a:lnTo>
                      <a:pt x="684" y="1325"/>
                    </a:lnTo>
                    <a:lnTo>
                      <a:pt x="684" y="1323"/>
                    </a:lnTo>
                    <a:lnTo>
                      <a:pt x="682" y="1321"/>
                    </a:lnTo>
                    <a:lnTo>
                      <a:pt x="682" y="1323"/>
                    </a:lnTo>
                    <a:lnTo>
                      <a:pt x="680" y="1321"/>
                    </a:lnTo>
                    <a:lnTo>
                      <a:pt x="680" y="1320"/>
                    </a:lnTo>
                    <a:lnTo>
                      <a:pt x="679" y="1320"/>
                    </a:lnTo>
                    <a:lnTo>
                      <a:pt x="679" y="1318"/>
                    </a:lnTo>
                    <a:lnTo>
                      <a:pt x="677" y="1318"/>
                    </a:lnTo>
                    <a:lnTo>
                      <a:pt x="675" y="1316"/>
                    </a:lnTo>
                    <a:lnTo>
                      <a:pt x="677" y="1316"/>
                    </a:lnTo>
                    <a:lnTo>
                      <a:pt x="675" y="1316"/>
                    </a:lnTo>
                    <a:lnTo>
                      <a:pt x="674" y="1315"/>
                    </a:lnTo>
                    <a:lnTo>
                      <a:pt x="674" y="1316"/>
                    </a:lnTo>
                    <a:lnTo>
                      <a:pt x="672" y="1316"/>
                    </a:lnTo>
                    <a:lnTo>
                      <a:pt x="670" y="1316"/>
                    </a:lnTo>
                    <a:lnTo>
                      <a:pt x="670" y="1315"/>
                    </a:lnTo>
                    <a:lnTo>
                      <a:pt x="669" y="1315"/>
                    </a:lnTo>
                    <a:lnTo>
                      <a:pt x="669" y="1313"/>
                    </a:lnTo>
                    <a:lnTo>
                      <a:pt x="667" y="1313"/>
                    </a:lnTo>
                    <a:lnTo>
                      <a:pt x="667" y="1311"/>
                    </a:lnTo>
                    <a:lnTo>
                      <a:pt x="665" y="1311"/>
                    </a:lnTo>
                    <a:lnTo>
                      <a:pt x="663" y="1310"/>
                    </a:lnTo>
                    <a:lnTo>
                      <a:pt x="660" y="1306"/>
                    </a:lnTo>
                    <a:lnTo>
                      <a:pt x="660" y="1304"/>
                    </a:lnTo>
                    <a:lnTo>
                      <a:pt x="660" y="1303"/>
                    </a:lnTo>
                    <a:lnTo>
                      <a:pt x="658" y="1303"/>
                    </a:lnTo>
                    <a:lnTo>
                      <a:pt x="658" y="1301"/>
                    </a:lnTo>
                    <a:lnTo>
                      <a:pt x="658" y="1299"/>
                    </a:lnTo>
                    <a:lnTo>
                      <a:pt x="657" y="1299"/>
                    </a:lnTo>
                    <a:lnTo>
                      <a:pt x="655" y="1298"/>
                    </a:lnTo>
                    <a:lnTo>
                      <a:pt x="653" y="1298"/>
                    </a:lnTo>
                    <a:lnTo>
                      <a:pt x="652" y="1298"/>
                    </a:lnTo>
                    <a:lnTo>
                      <a:pt x="650" y="1296"/>
                    </a:lnTo>
                    <a:lnTo>
                      <a:pt x="650" y="1298"/>
                    </a:lnTo>
                    <a:lnTo>
                      <a:pt x="648" y="1298"/>
                    </a:lnTo>
                    <a:lnTo>
                      <a:pt x="646" y="1298"/>
                    </a:lnTo>
                    <a:lnTo>
                      <a:pt x="646" y="1296"/>
                    </a:lnTo>
                    <a:lnTo>
                      <a:pt x="645" y="1294"/>
                    </a:lnTo>
                    <a:lnTo>
                      <a:pt x="645" y="1296"/>
                    </a:lnTo>
                    <a:lnTo>
                      <a:pt x="643" y="1296"/>
                    </a:lnTo>
                    <a:lnTo>
                      <a:pt x="643" y="1294"/>
                    </a:lnTo>
                    <a:lnTo>
                      <a:pt x="643" y="1293"/>
                    </a:lnTo>
                    <a:lnTo>
                      <a:pt x="641" y="1293"/>
                    </a:lnTo>
                    <a:lnTo>
                      <a:pt x="641" y="1291"/>
                    </a:lnTo>
                    <a:lnTo>
                      <a:pt x="640" y="1291"/>
                    </a:lnTo>
                    <a:lnTo>
                      <a:pt x="640" y="1293"/>
                    </a:lnTo>
                    <a:lnTo>
                      <a:pt x="638" y="1293"/>
                    </a:lnTo>
                    <a:lnTo>
                      <a:pt x="636" y="1293"/>
                    </a:lnTo>
                    <a:lnTo>
                      <a:pt x="636" y="1291"/>
                    </a:lnTo>
                    <a:lnTo>
                      <a:pt x="635" y="1291"/>
                    </a:lnTo>
                    <a:lnTo>
                      <a:pt x="633" y="1291"/>
                    </a:lnTo>
                    <a:lnTo>
                      <a:pt x="633" y="1289"/>
                    </a:lnTo>
                    <a:lnTo>
                      <a:pt x="633" y="1287"/>
                    </a:lnTo>
                    <a:lnTo>
                      <a:pt x="631" y="1287"/>
                    </a:lnTo>
                    <a:lnTo>
                      <a:pt x="633" y="1287"/>
                    </a:lnTo>
                    <a:lnTo>
                      <a:pt x="631" y="1286"/>
                    </a:lnTo>
                    <a:lnTo>
                      <a:pt x="629" y="1286"/>
                    </a:lnTo>
                    <a:lnTo>
                      <a:pt x="631" y="1284"/>
                    </a:lnTo>
                    <a:lnTo>
                      <a:pt x="629" y="1284"/>
                    </a:lnTo>
                    <a:lnTo>
                      <a:pt x="629" y="1282"/>
                    </a:lnTo>
                    <a:lnTo>
                      <a:pt x="629" y="1281"/>
                    </a:lnTo>
                    <a:lnTo>
                      <a:pt x="628" y="1281"/>
                    </a:lnTo>
                    <a:lnTo>
                      <a:pt x="626" y="1281"/>
                    </a:lnTo>
                    <a:lnTo>
                      <a:pt x="628" y="1279"/>
                    </a:lnTo>
                    <a:lnTo>
                      <a:pt x="626" y="1279"/>
                    </a:lnTo>
                    <a:lnTo>
                      <a:pt x="626" y="1277"/>
                    </a:lnTo>
                    <a:lnTo>
                      <a:pt x="624" y="1277"/>
                    </a:lnTo>
                    <a:lnTo>
                      <a:pt x="624" y="1276"/>
                    </a:lnTo>
                    <a:lnTo>
                      <a:pt x="623" y="1276"/>
                    </a:lnTo>
                    <a:lnTo>
                      <a:pt x="623" y="1274"/>
                    </a:lnTo>
                    <a:lnTo>
                      <a:pt x="621" y="1274"/>
                    </a:lnTo>
                    <a:lnTo>
                      <a:pt x="619" y="1274"/>
                    </a:lnTo>
                    <a:lnTo>
                      <a:pt x="619" y="1276"/>
                    </a:lnTo>
                    <a:lnTo>
                      <a:pt x="619" y="1277"/>
                    </a:lnTo>
                    <a:lnTo>
                      <a:pt x="619" y="1279"/>
                    </a:lnTo>
                    <a:lnTo>
                      <a:pt x="618" y="1277"/>
                    </a:lnTo>
                    <a:lnTo>
                      <a:pt x="618" y="1279"/>
                    </a:lnTo>
                    <a:lnTo>
                      <a:pt x="618" y="1277"/>
                    </a:lnTo>
                    <a:lnTo>
                      <a:pt x="618" y="1279"/>
                    </a:lnTo>
                    <a:lnTo>
                      <a:pt x="616" y="1279"/>
                    </a:lnTo>
                    <a:lnTo>
                      <a:pt x="616" y="1281"/>
                    </a:lnTo>
                    <a:lnTo>
                      <a:pt x="614" y="1281"/>
                    </a:lnTo>
                    <a:lnTo>
                      <a:pt x="612" y="1281"/>
                    </a:lnTo>
                    <a:lnTo>
                      <a:pt x="612" y="1279"/>
                    </a:lnTo>
                    <a:lnTo>
                      <a:pt x="611" y="1279"/>
                    </a:lnTo>
                    <a:lnTo>
                      <a:pt x="611" y="1277"/>
                    </a:lnTo>
                    <a:lnTo>
                      <a:pt x="609" y="1277"/>
                    </a:lnTo>
                    <a:lnTo>
                      <a:pt x="609" y="1276"/>
                    </a:lnTo>
                    <a:lnTo>
                      <a:pt x="607" y="1274"/>
                    </a:lnTo>
                    <a:lnTo>
                      <a:pt x="607" y="1272"/>
                    </a:lnTo>
                    <a:lnTo>
                      <a:pt x="606" y="1270"/>
                    </a:lnTo>
                    <a:lnTo>
                      <a:pt x="604" y="1270"/>
                    </a:lnTo>
                    <a:lnTo>
                      <a:pt x="604" y="1269"/>
                    </a:lnTo>
                    <a:lnTo>
                      <a:pt x="604" y="1270"/>
                    </a:lnTo>
                    <a:lnTo>
                      <a:pt x="604" y="1269"/>
                    </a:lnTo>
                    <a:lnTo>
                      <a:pt x="602" y="1269"/>
                    </a:lnTo>
                    <a:lnTo>
                      <a:pt x="602" y="1267"/>
                    </a:lnTo>
                    <a:lnTo>
                      <a:pt x="602" y="1265"/>
                    </a:lnTo>
                    <a:lnTo>
                      <a:pt x="601" y="1264"/>
                    </a:lnTo>
                    <a:lnTo>
                      <a:pt x="601" y="1265"/>
                    </a:lnTo>
                    <a:lnTo>
                      <a:pt x="601" y="1264"/>
                    </a:lnTo>
                    <a:lnTo>
                      <a:pt x="599" y="1264"/>
                    </a:lnTo>
                    <a:lnTo>
                      <a:pt x="599" y="1262"/>
                    </a:lnTo>
                    <a:lnTo>
                      <a:pt x="597" y="1262"/>
                    </a:lnTo>
                    <a:lnTo>
                      <a:pt x="597" y="1260"/>
                    </a:lnTo>
                    <a:lnTo>
                      <a:pt x="595" y="1260"/>
                    </a:lnTo>
                    <a:lnTo>
                      <a:pt x="594" y="1260"/>
                    </a:lnTo>
                    <a:lnTo>
                      <a:pt x="594" y="1258"/>
                    </a:lnTo>
                    <a:lnTo>
                      <a:pt x="594" y="1257"/>
                    </a:lnTo>
                    <a:lnTo>
                      <a:pt x="594" y="1258"/>
                    </a:lnTo>
                    <a:lnTo>
                      <a:pt x="592" y="1257"/>
                    </a:lnTo>
                    <a:lnTo>
                      <a:pt x="592" y="1255"/>
                    </a:lnTo>
                    <a:lnTo>
                      <a:pt x="592" y="1257"/>
                    </a:lnTo>
                    <a:lnTo>
                      <a:pt x="590" y="1257"/>
                    </a:lnTo>
                    <a:lnTo>
                      <a:pt x="590" y="1255"/>
                    </a:lnTo>
                    <a:lnTo>
                      <a:pt x="589" y="1255"/>
                    </a:lnTo>
                    <a:lnTo>
                      <a:pt x="589" y="1253"/>
                    </a:lnTo>
                    <a:lnTo>
                      <a:pt x="590" y="1253"/>
                    </a:lnTo>
                    <a:lnTo>
                      <a:pt x="589" y="1253"/>
                    </a:lnTo>
                    <a:lnTo>
                      <a:pt x="589" y="1252"/>
                    </a:lnTo>
                    <a:lnTo>
                      <a:pt x="587" y="1252"/>
                    </a:lnTo>
                    <a:lnTo>
                      <a:pt x="587" y="1250"/>
                    </a:lnTo>
                    <a:lnTo>
                      <a:pt x="585" y="1250"/>
                    </a:lnTo>
                    <a:lnTo>
                      <a:pt x="585" y="1248"/>
                    </a:lnTo>
                    <a:lnTo>
                      <a:pt x="584" y="1248"/>
                    </a:lnTo>
                    <a:lnTo>
                      <a:pt x="582" y="1247"/>
                    </a:lnTo>
                    <a:lnTo>
                      <a:pt x="582" y="1245"/>
                    </a:lnTo>
                    <a:lnTo>
                      <a:pt x="580" y="1245"/>
                    </a:lnTo>
                    <a:lnTo>
                      <a:pt x="578" y="1245"/>
                    </a:lnTo>
                    <a:lnTo>
                      <a:pt x="577" y="1245"/>
                    </a:lnTo>
                    <a:lnTo>
                      <a:pt x="575" y="1245"/>
                    </a:lnTo>
                    <a:lnTo>
                      <a:pt x="573" y="1245"/>
                    </a:lnTo>
                    <a:lnTo>
                      <a:pt x="572" y="1245"/>
                    </a:lnTo>
                    <a:lnTo>
                      <a:pt x="570" y="1245"/>
                    </a:lnTo>
                    <a:lnTo>
                      <a:pt x="570" y="1247"/>
                    </a:lnTo>
                    <a:lnTo>
                      <a:pt x="568" y="1248"/>
                    </a:lnTo>
                    <a:lnTo>
                      <a:pt x="568" y="1250"/>
                    </a:lnTo>
                    <a:lnTo>
                      <a:pt x="567" y="1252"/>
                    </a:lnTo>
                    <a:lnTo>
                      <a:pt x="565" y="1252"/>
                    </a:lnTo>
                    <a:lnTo>
                      <a:pt x="563" y="1252"/>
                    </a:lnTo>
                    <a:lnTo>
                      <a:pt x="563" y="1250"/>
                    </a:lnTo>
                    <a:lnTo>
                      <a:pt x="563" y="1252"/>
                    </a:lnTo>
                    <a:lnTo>
                      <a:pt x="561" y="1252"/>
                    </a:lnTo>
                    <a:lnTo>
                      <a:pt x="561" y="1253"/>
                    </a:lnTo>
                    <a:lnTo>
                      <a:pt x="560" y="1253"/>
                    </a:lnTo>
                    <a:lnTo>
                      <a:pt x="560" y="1252"/>
                    </a:lnTo>
                    <a:lnTo>
                      <a:pt x="558" y="1252"/>
                    </a:lnTo>
                    <a:lnTo>
                      <a:pt x="556" y="1252"/>
                    </a:lnTo>
                    <a:lnTo>
                      <a:pt x="555" y="1252"/>
                    </a:lnTo>
                    <a:lnTo>
                      <a:pt x="555" y="1250"/>
                    </a:lnTo>
                    <a:lnTo>
                      <a:pt x="555" y="1248"/>
                    </a:lnTo>
                    <a:lnTo>
                      <a:pt x="553" y="1248"/>
                    </a:lnTo>
                    <a:lnTo>
                      <a:pt x="555" y="1248"/>
                    </a:lnTo>
                    <a:lnTo>
                      <a:pt x="556" y="1247"/>
                    </a:lnTo>
                    <a:lnTo>
                      <a:pt x="558" y="1245"/>
                    </a:lnTo>
                    <a:lnTo>
                      <a:pt x="558" y="1243"/>
                    </a:lnTo>
                    <a:lnTo>
                      <a:pt x="560" y="1243"/>
                    </a:lnTo>
                    <a:lnTo>
                      <a:pt x="560" y="1241"/>
                    </a:lnTo>
                    <a:lnTo>
                      <a:pt x="561" y="1241"/>
                    </a:lnTo>
                    <a:lnTo>
                      <a:pt x="563" y="1241"/>
                    </a:lnTo>
                    <a:lnTo>
                      <a:pt x="563" y="1240"/>
                    </a:lnTo>
                    <a:lnTo>
                      <a:pt x="563" y="1238"/>
                    </a:lnTo>
                    <a:lnTo>
                      <a:pt x="563" y="1236"/>
                    </a:lnTo>
                    <a:lnTo>
                      <a:pt x="563" y="1235"/>
                    </a:lnTo>
                    <a:lnTo>
                      <a:pt x="565" y="1233"/>
                    </a:lnTo>
                    <a:lnTo>
                      <a:pt x="567" y="1233"/>
                    </a:lnTo>
                    <a:lnTo>
                      <a:pt x="567" y="1231"/>
                    </a:lnTo>
                    <a:lnTo>
                      <a:pt x="568" y="1233"/>
                    </a:lnTo>
                    <a:lnTo>
                      <a:pt x="570" y="1231"/>
                    </a:lnTo>
                    <a:lnTo>
                      <a:pt x="572" y="1231"/>
                    </a:lnTo>
                    <a:lnTo>
                      <a:pt x="572" y="1230"/>
                    </a:lnTo>
                    <a:lnTo>
                      <a:pt x="573" y="1230"/>
                    </a:lnTo>
                    <a:lnTo>
                      <a:pt x="573" y="1228"/>
                    </a:lnTo>
                    <a:lnTo>
                      <a:pt x="575" y="1228"/>
                    </a:lnTo>
                    <a:lnTo>
                      <a:pt x="575" y="1226"/>
                    </a:lnTo>
                    <a:lnTo>
                      <a:pt x="575" y="1224"/>
                    </a:lnTo>
                    <a:lnTo>
                      <a:pt x="577" y="1224"/>
                    </a:lnTo>
                    <a:lnTo>
                      <a:pt x="577" y="1223"/>
                    </a:lnTo>
                    <a:lnTo>
                      <a:pt x="578" y="1223"/>
                    </a:lnTo>
                    <a:lnTo>
                      <a:pt x="578" y="1221"/>
                    </a:lnTo>
                    <a:lnTo>
                      <a:pt x="580" y="1221"/>
                    </a:lnTo>
                    <a:lnTo>
                      <a:pt x="580" y="1219"/>
                    </a:lnTo>
                    <a:lnTo>
                      <a:pt x="582" y="1219"/>
                    </a:lnTo>
                    <a:lnTo>
                      <a:pt x="582" y="1218"/>
                    </a:lnTo>
                    <a:lnTo>
                      <a:pt x="582" y="1216"/>
                    </a:lnTo>
                    <a:lnTo>
                      <a:pt x="584" y="1216"/>
                    </a:lnTo>
                    <a:lnTo>
                      <a:pt x="585" y="1213"/>
                    </a:lnTo>
                    <a:lnTo>
                      <a:pt x="585" y="1211"/>
                    </a:lnTo>
                    <a:lnTo>
                      <a:pt x="585" y="1209"/>
                    </a:lnTo>
                    <a:lnTo>
                      <a:pt x="587" y="1209"/>
                    </a:lnTo>
                    <a:lnTo>
                      <a:pt x="587" y="1207"/>
                    </a:lnTo>
                    <a:lnTo>
                      <a:pt x="589" y="1207"/>
                    </a:lnTo>
                    <a:lnTo>
                      <a:pt x="589" y="1206"/>
                    </a:lnTo>
                    <a:lnTo>
                      <a:pt x="590" y="1206"/>
                    </a:lnTo>
                    <a:lnTo>
                      <a:pt x="594" y="1206"/>
                    </a:lnTo>
                    <a:lnTo>
                      <a:pt x="594" y="1204"/>
                    </a:lnTo>
                    <a:lnTo>
                      <a:pt x="594" y="1202"/>
                    </a:lnTo>
                    <a:lnTo>
                      <a:pt x="594" y="1201"/>
                    </a:lnTo>
                    <a:lnTo>
                      <a:pt x="595" y="1201"/>
                    </a:lnTo>
                    <a:lnTo>
                      <a:pt x="595" y="1199"/>
                    </a:lnTo>
                    <a:lnTo>
                      <a:pt x="597" y="1199"/>
                    </a:lnTo>
                    <a:lnTo>
                      <a:pt x="597" y="1197"/>
                    </a:lnTo>
                    <a:lnTo>
                      <a:pt x="597" y="1196"/>
                    </a:lnTo>
                    <a:lnTo>
                      <a:pt x="597" y="1194"/>
                    </a:lnTo>
                    <a:lnTo>
                      <a:pt x="599" y="1194"/>
                    </a:lnTo>
                    <a:lnTo>
                      <a:pt x="601" y="1194"/>
                    </a:lnTo>
                    <a:lnTo>
                      <a:pt x="602" y="1192"/>
                    </a:lnTo>
                    <a:lnTo>
                      <a:pt x="602" y="1190"/>
                    </a:lnTo>
                    <a:lnTo>
                      <a:pt x="604" y="1190"/>
                    </a:lnTo>
                    <a:lnTo>
                      <a:pt x="604" y="1189"/>
                    </a:lnTo>
                    <a:lnTo>
                      <a:pt x="606" y="1189"/>
                    </a:lnTo>
                    <a:lnTo>
                      <a:pt x="606" y="1187"/>
                    </a:lnTo>
                    <a:lnTo>
                      <a:pt x="607" y="1187"/>
                    </a:lnTo>
                    <a:lnTo>
                      <a:pt x="607" y="1185"/>
                    </a:lnTo>
                    <a:lnTo>
                      <a:pt x="607" y="1184"/>
                    </a:lnTo>
                    <a:lnTo>
                      <a:pt x="607" y="1182"/>
                    </a:lnTo>
                    <a:lnTo>
                      <a:pt x="609" y="1182"/>
                    </a:lnTo>
                    <a:lnTo>
                      <a:pt x="611" y="1182"/>
                    </a:lnTo>
                    <a:lnTo>
                      <a:pt x="612" y="1182"/>
                    </a:lnTo>
                    <a:lnTo>
                      <a:pt x="611" y="1180"/>
                    </a:lnTo>
                    <a:lnTo>
                      <a:pt x="611" y="1179"/>
                    </a:lnTo>
                    <a:lnTo>
                      <a:pt x="612" y="1177"/>
                    </a:lnTo>
                    <a:lnTo>
                      <a:pt x="614" y="1177"/>
                    </a:lnTo>
                    <a:lnTo>
                      <a:pt x="616" y="1177"/>
                    </a:lnTo>
                    <a:lnTo>
                      <a:pt x="618" y="1179"/>
                    </a:lnTo>
                    <a:lnTo>
                      <a:pt x="618" y="1180"/>
                    </a:lnTo>
                    <a:lnTo>
                      <a:pt x="618" y="1179"/>
                    </a:lnTo>
                    <a:lnTo>
                      <a:pt x="619" y="1177"/>
                    </a:lnTo>
                    <a:lnTo>
                      <a:pt x="619" y="1175"/>
                    </a:lnTo>
                    <a:lnTo>
                      <a:pt x="618" y="1175"/>
                    </a:lnTo>
                    <a:lnTo>
                      <a:pt x="616" y="1175"/>
                    </a:lnTo>
                    <a:lnTo>
                      <a:pt x="616" y="1173"/>
                    </a:lnTo>
                    <a:lnTo>
                      <a:pt x="616" y="1172"/>
                    </a:lnTo>
                    <a:lnTo>
                      <a:pt x="618" y="1172"/>
                    </a:lnTo>
                    <a:lnTo>
                      <a:pt x="619" y="1172"/>
                    </a:lnTo>
                    <a:lnTo>
                      <a:pt x="619" y="1170"/>
                    </a:lnTo>
                    <a:lnTo>
                      <a:pt x="621" y="1170"/>
                    </a:lnTo>
                    <a:lnTo>
                      <a:pt x="621" y="1168"/>
                    </a:lnTo>
                    <a:lnTo>
                      <a:pt x="621" y="1170"/>
                    </a:lnTo>
                    <a:lnTo>
                      <a:pt x="623" y="1170"/>
                    </a:lnTo>
                    <a:lnTo>
                      <a:pt x="623" y="1168"/>
                    </a:lnTo>
                    <a:lnTo>
                      <a:pt x="624" y="1168"/>
                    </a:lnTo>
                    <a:lnTo>
                      <a:pt x="624" y="1167"/>
                    </a:lnTo>
                    <a:lnTo>
                      <a:pt x="626" y="1167"/>
                    </a:lnTo>
                    <a:lnTo>
                      <a:pt x="628" y="1165"/>
                    </a:lnTo>
                    <a:lnTo>
                      <a:pt x="629" y="1165"/>
                    </a:lnTo>
                    <a:lnTo>
                      <a:pt x="628" y="1163"/>
                    </a:lnTo>
                    <a:lnTo>
                      <a:pt x="629" y="1163"/>
                    </a:lnTo>
                    <a:lnTo>
                      <a:pt x="629" y="1162"/>
                    </a:lnTo>
                    <a:lnTo>
                      <a:pt x="631" y="1160"/>
                    </a:lnTo>
                    <a:lnTo>
                      <a:pt x="633" y="1162"/>
                    </a:lnTo>
                    <a:lnTo>
                      <a:pt x="633" y="1160"/>
                    </a:lnTo>
                    <a:lnTo>
                      <a:pt x="635" y="1160"/>
                    </a:lnTo>
                    <a:lnTo>
                      <a:pt x="635" y="1158"/>
                    </a:lnTo>
                    <a:lnTo>
                      <a:pt x="636" y="1158"/>
                    </a:lnTo>
                    <a:lnTo>
                      <a:pt x="636" y="1160"/>
                    </a:lnTo>
                    <a:lnTo>
                      <a:pt x="638" y="1160"/>
                    </a:lnTo>
                    <a:lnTo>
                      <a:pt x="638" y="1158"/>
                    </a:lnTo>
                    <a:lnTo>
                      <a:pt x="640" y="1158"/>
                    </a:lnTo>
                    <a:lnTo>
                      <a:pt x="641" y="1156"/>
                    </a:lnTo>
                    <a:lnTo>
                      <a:pt x="640" y="1156"/>
                    </a:lnTo>
                    <a:lnTo>
                      <a:pt x="638" y="1156"/>
                    </a:lnTo>
                    <a:lnTo>
                      <a:pt x="638" y="1155"/>
                    </a:lnTo>
                    <a:lnTo>
                      <a:pt x="640" y="1155"/>
                    </a:lnTo>
                    <a:lnTo>
                      <a:pt x="641" y="1156"/>
                    </a:lnTo>
                    <a:lnTo>
                      <a:pt x="641" y="1155"/>
                    </a:lnTo>
                    <a:lnTo>
                      <a:pt x="643" y="1155"/>
                    </a:lnTo>
                    <a:lnTo>
                      <a:pt x="645" y="1155"/>
                    </a:lnTo>
                    <a:lnTo>
                      <a:pt x="645" y="1153"/>
                    </a:lnTo>
                    <a:lnTo>
                      <a:pt x="645" y="1151"/>
                    </a:lnTo>
                    <a:lnTo>
                      <a:pt x="645" y="1150"/>
                    </a:lnTo>
                    <a:lnTo>
                      <a:pt x="646" y="1150"/>
                    </a:lnTo>
                    <a:lnTo>
                      <a:pt x="646" y="1148"/>
                    </a:lnTo>
                    <a:lnTo>
                      <a:pt x="648" y="1146"/>
                    </a:lnTo>
                    <a:lnTo>
                      <a:pt x="648" y="1148"/>
                    </a:lnTo>
                    <a:lnTo>
                      <a:pt x="650" y="1148"/>
                    </a:lnTo>
                    <a:lnTo>
                      <a:pt x="650" y="1146"/>
                    </a:lnTo>
                    <a:lnTo>
                      <a:pt x="652" y="1146"/>
                    </a:lnTo>
                    <a:lnTo>
                      <a:pt x="652" y="1148"/>
                    </a:lnTo>
                    <a:lnTo>
                      <a:pt x="653" y="1146"/>
                    </a:lnTo>
                    <a:lnTo>
                      <a:pt x="652" y="1146"/>
                    </a:lnTo>
                    <a:lnTo>
                      <a:pt x="652" y="1145"/>
                    </a:lnTo>
                    <a:lnTo>
                      <a:pt x="653" y="1145"/>
                    </a:lnTo>
                    <a:lnTo>
                      <a:pt x="653" y="1146"/>
                    </a:lnTo>
                    <a:lnTo>
                      <a:pt x="655" y="1146"/>
                    </a:lnTo>
                    <a:lnTo>
                      <a:pt x="655" y="1145"/>
                    </a:lnTo>
                    <a:lnTo>
                      <a:pt x="655" y="1143"/>
                    </a:lnTo>
                    <a:lnTo>
                      <a:pt x="657" y="1143"/>
                    </a:lnTo>
                    <a:lnTo>
                      <a:pt x="657" y="1145"/>
                    </a:lnTo>
                    <a:lnTo>
                      <a:pt x="658" y="1145"/>
                    </a:lnTo>
                    <a:lnTo>
                      <a:pt x="660" y="1145"/>
                    </a:lnTo>
                    <a:lnTo>
                      <a:pt x="660" y="1143"/>
                    </a:lnTo>
                    <a:lnTo>
                      <a:pt x="660" y="1141"/>
                    </a:lnTo>
                    <a:lnTo>
                      <a:pt x="662" y="1141"/>
                    </a:lnTo>
                    <a:lnTo>
                      <a:pt x="662" y="1143"/>
                    </a:lnTo>
                    <a:lnTo>
                      <a:pt x="663" y="1143"/>
                    </a:lnTo>
                    <a:lnTo>
                      <a:pt x="663" y="1141"/>
                    </a:lnTo>
                    <a:lnTo>
                      <a:pt x="665" y="1141"/>
                    </a:lnTo>
                    <a:lnTo>
                      <a:pt x="665" y="1143"/>
                    </a:lnTo>
                    <a:lnTo>
                      <a:pt x="667" y="1143"/>
                    </a:lnTo>
                    <a:lnTo>
                      <a:pt x="667" y="1141"/>
                    </a:lnTo>
                    <a:lnTo>
                      <a:pt x="669" y="1139"/>
                    </a:lnTo>
                    <a:lnTo>
                      <a:pt x="669" y="1138"/>
                    </a:lnTo>
                    <a:lnTo>
                      <a:pt x="669" y="1136"/>
                    </a:lnTo>
                    <a:lnTo>
                      <a:pt x="670" y="1136"/>
                    </a:lnTo>
                    <a:lnTo>
                      <a:pt x="670" y="1138"/>
                    </a:lnTo>
                    <a:lnTo>
                      <a:pt x="672" y="1138"/>
                    </a:lnTo>
                    <a:lnTo>
                      <a:pt x="672" y="1136"/>
                    </a:lnTo>
                    <a:lnTo>
                      <a:pt x="674" y="1136"/>
                    </a:lnTo>
                    <a:lnTo>
                      <a:pt x="674" y="1134"/>
                    </a:lnTo>
                    <a:lnTo>
                      <a:pt x="675" y="1134"/>
                    </a:lnTo>
                    <a:lnTo>
                      <a:pt x="675" y="1133"/>
                    </a:lnTo>
                    <a:lnTo>
                      <a:pt x="677" y="1133"/>
                    </a:lnTo>
                    <a:lnTo>
                      <a:pt x="677" y="1131"/>
                    </a:lnTo>
                    <a:lnTo>
                      <a:pt x="679" y="1133"/>
                    </a:lnTo>
                    <a:lnTo>
                      <a:pt x="679" y="1131"/>
                    </a:lnTo>
                    <a:lnTo>
                      <a:pt x="680" y="1131"/>
                    </a:lnTo>
                    <a:lnTo>
                      <a:pt x="680" y="1133"/>
                    </a:lnTo>
                    <a:lnTo>
                      <a:pt x="680" y="1131"/>
                    </a:lnTo>
                    <a:lnTo>
                      <a:pt x="682" y="1131"/>
                    </a:lnTo>
                    <a:lnTo>
                      <a:pt x="680" y="1131"/>
                    </a:lnTo>
                    <a:lnTo>
                      <a:pt x="682" y="1131"/>
                    </a:lnTo>
                    <a:lnTo>
                      <a:pt x="682" y="1129"/>
                    </a:lnTo>
                    <a:lnTo>
                      <a:pt x="682" y="1128"/>
                    </a:lnTo>
                    <a:lnTo>
                      <a:pt x="682" y="1129"/>
                    </a:lnTo>
                    <a:lnTo>
                      <a:pt x="682" y="1128"/>
                    </a:lnTo>
                    <a:lnTo>
                      <a:pt x="684" y="1128"/>
                    </a:lnTo>
                    <a:lnTo>
                      <a:pt x="682" y="1128"/>
                    </a:lnTo>
                    <a:lnTo>
                      <a:pt x="682" y="1126"/>
                    </a:lnTo>
                    <a:lnTo>
                      <a:pt x="684" y="1128"/>
                    </a:lnTo>
                    <a:lnTo>
                      <a:pt x="684" y="1126"/>
                    </a:lnTo>
                    <a:lnTo>
                      <a:pt x="686" y="1126"/>
                    </a:lnTo>
                    <a:lnTo>
                      <a:pt x="684" y="1124"/>
                    </a:lnTo>
                    <a:lnTo>
                      <a:pt x="686" y="1124"/>
                    </a:lnTo>
                    <a:lnTo>
                      <a:pt x="686" y="1122"/>
                    </a:lnTo>
                    <a:lnTo>
                      <a:pt x="686" y="1124"/>
                    </a:lnTo>
                    <a:lnTo>
                      <a:pt x="686" y="1122"/>
                    </a:lnTo>
                    <a:lnTo>
                      <a:pt x="686" y="1121"/>
                    </a:lnTo>
                    <a:lnTo>
                      <a:pt x="687" y="1121"/>
                    </a:lnTo>
                    <a:lnTo>
                      <a:pt x="686" y="1119"/>
                    </a:lnTo>
                    <a:lnTo>
                      <a:pt x="686" y="1117"/>
                    </a:lnTo>
                    <a:lnTo>
                      <a:pt x="684" y="1117"/>
                    </a:lnTo>
                    <a:lnTo>
                      <a:pt x="686" y="1116"/>
                    </a:lnTo>
                    <a:lnTo>
                      <a:pt x="684" y="1116"/>
                    </a:lnTo>
                    <a:lnTo>
                      <a:pt x="684" y="1114"/>
                    </a:lnTo>
                    <a:lnTo>
                      <a:pt x="684" y="1116"/>
                    </a:lnTo>
                    <a:lnTo>
                      <a:pt x="684" y="1114"/>
                    </a:lnTo>
                    <a:lnTo>
                      <a:pt x="686" y="1114"/>
                    </a:lnTo>
                    <a:lnTo>
                      <a:pt x="684" y="1114"/>
                    </a:lnTo>
                    <a:lnTo>
                      <a:pt x="686" y="1112"/>
                    </a:lnTo>
                    <a:lnTo>
                      <a:pt x="684" y="1112"/>
                    </a:lnTo>
                    <a:lnTo>
                      <a:pt x="684" y="1110"/>
                    </a:lnTo>
                    <a:lnTo>
                      <a:pt x="684" y="1109"/>
                    </a:lnTo>
                    <a:lnTo>
                      <a:pt x="686" y="1109"/>
                    </a:lnTo>
                    <a:lnTo>
                      <a:pt x="684" y="1109"/>
                    </a:lnTo>
                    <a:lnTo>
                      <a:pt x="686" y="1107"/>
                    </a:lnTo>
                    <a:lnTo>
                      <a:pt x="684" y="1107"/>
                    </a:lnTo>
                    <a:lnTo>
                      <a:pt x="686" y="1107"/>
                    </a:lnTo>
                    <a:lnTo>
                      <a:pt x="686" y="1105"/>
                    </a:lnTo>
                    <a:lnTo>
                      <a:pt x="686" y="1104"/>
                    </a:lnTo>
                    <a:lnTo>
                      <a:pt x="686" y="1102"/>
                    </a:lnTo>
                    <a:lnTo>
                      <a:pt x="686" y="1100"/>
                    </a:lnTo>
                    <a:lnTo>
                      <a:pt x="687" y="1100"/>
                    </a:lnTo>
                    <a:lnTo>
                      <a:pt x="687" y="1099"/>
                    </a:lnTo>
                    <a:lnTo>
                      <a:pt x="687" y="1097"/>
                    </a:lnTo>
                    <a:lnTo>
                      <a:pt x="687" y="1095"/>
                    </a:lnTo>
                    <a:lnTo>
                      <a:pt x="686" y="1093"/>
                    </a:lnTo>
                    <a:lnTo>
                      <a:pt x="684" y="1092"/>
                    </a:lnTo>
                    <a:lnTo>
                      <a:pt x="684" y="1090"/>
                    </a:lnTo>
                    <a:lnTo>
                      <a:pt x="682" y="1088"/>
                    </a:lnTo>
                    <a:lnTo>
                      <a:pt x="682" y="1087"/>
                    </a:lnTo>
                    <a:lnTo>
                      <a:pt x="680" y="1087"/>
                    </a:lnTo>
                    <a:lnTo>
                      <a:pt x="680" y="1085"/>
                    </a:lnTo>
                    <a:lnTo>
                      <a:pt x="682" y="1085"/>
                    </a:lnTo>
                    <a:lnTo>
                      <a:pt x="680" y="1085"/>
                    </a:lnTo>
                    <a:lnTo>
                      <a:pt x="682" y="1083"/>
                    </a:lnTo>
                    <a:lnTo>
                      <a:pt x="680" y="1083"/>
                    </a:lnTo>
                    <a:lnTo>
                      <a:pt x="680" y="1082"/>
                    </a:lnTo>
                    <a:lnTo>
                      <a:pt x="682" y="1082"/>
                    </a:lnTo>
                    <a:lnTo>
                      <a:pt x="680" y="1080"/>
                    </a:lnTo>
                    <a:lnTo>
                      <a:pt x="680" y="1078"/>
                    </a:lnTo>
                    <a:lnTo>
                      <a:pt x="680" y="1076"/>
                    </a:lnTo>
                    <a:lnTo>
                      <a:pt x="679" y="1076"/>
                    </a:lnTo>
                    <a:lnTo>
                      <a:pt x="680" y="1076"/>
                    </a:lnTo>
                    <a:lnTo>
                      <a:pt x="679" y="1076"/>
                    </a:lnTo>
                    <a:lnTo>
                      <a:pt x="680" y="1076"/>
                    </a:lnTo>
                    <a:lnTo>
                      <a:pt x="680" y="1075"/>
                    </a:lnTo>
                    <a:lnTo>
                      <a:pt x="679" y="1075"/>
                    </a:lnTo>
                    <a:lnTo>
                      <a:pt x="679" y="1073"/>
                    </a:lnTo>
                    <a:lnTo>
                      <a:pt x="679" y="1075"/>
                    </a:lnTo>
                    <a:lnTo>
                      <a:pt x="679" y="1073"/>
                    </a:lnTo>
                    <a:lnTo>
                      <a:pt x="677" y="1073"/>
                    </a:lnTo>
                    <a:lnTo>
                      <a:pt x="677" y="1075"/>
                    </a:lnTo>
                    <a:lnTo>
                      <a:pt x="677" y="1073"/>
                    </a:lnTo>
                    <a:lnTo>
                      <a:pt x="675" y="1073"/>
                    </a:lnTo>
                    <a:lnTo>
                      <a:pt x="677" y="1073"/>
                    </a:lnTo>
                    <a:lnTo>
                      <a:pt x="675" y="1073"/>
                    </a:lnTo>
                    <a:lnTo>
                      <a:pt x="675" y="1071"/>
                    </a:lnTo>
                    <a:lnTo>
                      <a:pt x="674" y="1071"/>
                    </a:lnTo>
                    <a:lnTo>
                      <a:pt x="672" y="1071"/>
                    </a:lnTo>
                    <a:lnTo>
                      <a:pt x="672" y="1073"/>
                    </a:lnTo>
                    <a:lnTo>
                      <a:pt x="670" y="1071"/>
                    </a:lnTo>
                    <a:lnTo>
                      <a:pt x="672" y="1071"/>
                    </a:lnTo>
                    <a:lnTo>
                      <a:pt x="672" y="1070"/>
                    </a:lnTo>
                    <a:lnTo>
                      <a:pt x="672" y="1068"/>
                    </a:lnTo>
                    <a:lnTo>
                      <a:pt x="670" y="1070"/>
                    </a:lnTo>
                    <a:lnTo>
                      <a:pt x="669" y="1070"/>
                    </a:lnTo>
                    <a:lnTo>
                      <a:pt x="669" y="1071"/>
                    </a:lnTo>
                    <a:lnTo>
                      <a:pt x="667" y="1071"/>
                    </a:lnTo>
                    <a:lnTo>
                      <a:pt x="667" y="1073"/>
                    </a:lnTo>
                    <a:lnTo>
                      <a:pt x="665" y="1071"/>
                    </a:lnTo>
                    <a:lnTo>
                      <a:pt x="663" y="1071"/>
                    </a:lnTo>
                    <a:lnTo>
                      <a:pt x="663" y="1073"/>
                    </a:lnTo>
                    <a:lnTo>
                      <a:pt x="662" y="1073"/>
                    </a:lnTo>
                    <a:lnTo>
                      <a:pt x="662" y="1075"/>
                    </a:lnTo>
                    <a:lnTo>
                      <a:pt x="660" y="1075"/>
                    </a:lnTo>
                    <a:lnTo>
                      <a:pt x="662" y="1076"/>
                    </a:lnTo>
                    <a:lnTo>
                      <a:pt x="660" y="1076"/>
                    </a:lnTo>
                    <a:lnTo>
                      <a:pt x="660" y="1075"/>
                    </a:lnTo>
                    <a:lnTo>
                      <a:pt x="658" y="1073"/>
                    </a:lnTo>
                    <a:lnTo>
                      <a:pt x="657" y="1073"/>
                    </a:lnTo>
                    <a:lnTo>
                      <a:pt x="657" y="1071"/>
                    </a:lnTo>
                    <a:lnTo>
                      <a:pt x="657" y="1073"/>
                    </a:lnTo>
                    <a:lnTo>
                      <a:pt x="655" y="1073"/>
                    </a:lnTo>
                    <a:lnTo>
                      <a:pt x="655" y="1071"/>
                    </a:lnTo>
                    <a:lnTo>
                      <a:pt x="655" y="1070"/>
                    </a:lnTo>
                    <a:lnTo>
                      <a:pt x="655" y="1068"/>
                    </a:lnTo>
                    <a:lnTo>
                      <a:pt x="655" y="1066"/>
                    </a:lnTo>
                    <a:lnTo>
                      <a:pt x="655" y="1065"/>
                    </a:lnTo>
                    <a:lnTo>
                      <a:pt x="657" y="1065"/>
                    </a:lnTo>
                    <a:lnTo>
                      <a:pt x="657" y="1063"/>
                    </a:lnTo>
                    <a:lnTo>
                      <a:pt x="658" y="1061"/>
                    </a:lnTo>
                    <a:lnTo>
                      <a:pt x="658" y="1059"/>
                    </a:lnTo>
                    <a:lnTo>
                      <a:pt x="660" y="1058"/>
                    </a:lnTo>
                    <a:lnTo>
                      <a:pt x="660" y="1056"/>
                    </a:lnTo>
                    <a:lnTo>
                      <a:pt x="660" y="1054"/>
                    </a:lnTo>
                    <a:lnTo>
                      <a:pt x="660" y="1053"/>
                    </a:lnTo>
                    <a:lnTo>
                      <a:pt x="660" y="1051"/>
                    </a:lnTo>
                    <a:lnTo>
                      <a:pt x="660" y="1049"/>
                    </a:lnTo>
                    <a:lnTo>
                      <a:pt x="660" y="1048"/>
                    </a:lnTo>
                    <a:lnTo>
                      <a:pt x="662" y="1046"/>
                    </a:lnTo>
                    <a:lnTo>
                      <a:pt x="662" y="1044"/>
                    </a:lnTo>
                    <a:lnTo>
                      <a:pt x="662" y="1042"/>
                    </a:lnTo>
                    <a:lnTo>
                      <a:pt x="663" y="1041"/>
                    </a:lnTo>
                    <a:lnTo>
                      <a:pt x="663" y="1039"/>
                    </a:lnTo>
                    <a:lnTo>
                      <a:pt x="663" y="1037"/>
                    </a:lnTo>
                    <a:lnTo>
                      <a:pt x="665" y="1037"/>
                    </a:lnTo>
                    <a:lnTo>
                      <a:pt x="665" y="1036"/>
                    </a:lnTo>
                    <a:lnTo>
                      <a:pt x="665" y="1034"/>
                    </a:lnTo>
                    <a:lnTo>
                      <a:pt x="663" y="1034"/>
                    </a:lnTo>
                    <a:lnTo>
                      <a:pt x="663" y="1032"/>
                    </a:lnTo>
                    <a:lnTo>
                      <a:pt x="663" y="1031"/>
                    </a:lnTo>
                    <a:lnTo>
                      <a:pt x="665" y="1031"/>
                    </a:lnTo>
                    <a:lnTo>
                      <a:pt x="665" y="1029"/>
                    </a:lnTo>
                    <a:lnTo>
                      <a:pt x="667" y="1027"/>
                    </a:lnTo>
                    <a:lnTo>
                      <a:pt x="667" y="1025"/>
                    </a:lnTo>
                    <a:lnTo>
                      <a:pt x="665" y="1024"/>
                    </a:lnTo>
                    <a:lnTo>
                      <a:pt x="665" y="1022"/>
                    </a:lnTo>
                    <a:lnTo>
                      <a:pt x="663" y="1022"/>
                    </a:lnTo>
                    <a:lnTo>
                      <a:pt x="663" y="1020"/>
                    </a:lnTo>
                    <a:lnTo>
                      <a:pt x="663" y="1019"/>
                    </a:lnTo>
                    <a:lnTo>
                      <a:pt x="663" y="1017"/>
                    </a:lnTo>
                    <a:lnTo>
                      <a:pt x="665" y="1017"/>
                    </a:lnTo>
                    <a:lnTo>
                      <a:pt x="665" y="1015"/>
                    </a:lnTo>
                    <a:lnTo>
                      <a:pt x="665" y="1014"/>
                    </a:lnTo>
                    <a:lnTo>
                      <a:pt x="663" y="1014"/>
                    </a:lnTo>
                    <a:lnTo>
                      <a:pt x="662" y="1012"/>
                    </a:lnTo>
                    <a:lnTo>
                      <a:pt x="660" y="1010"/>
                    </a:lnTo>
                    <a:lnTo>
                      <a:pt x="660" y="1008"/>
                    </a:lnTo>
                    <a:lnTo>
                      <a:pt x="658" y="1008"/>
                    </a:lnTo>
                    <a:lnTo>
                      <a:pt x="657" y="1008"/>
                    </a:lnTo>
                    <a:lnTo>
                      <a:pt x="655" y="1007"/>
                    </a:lnTo>
                    <a:lnTo>
                      <a:pt x="655" y="1008"/>
                    </a:lnTo>
                    <a:lnTo>
                      <a:pt x="655" y="1007"/>
                    </a:lnTo>
                    <a:lnTo>
                      <a:pt x="653" y="1007"/>
                    </a:lnTo>
                    <a:lnTo>
                      <a:pt x="652" y="1007"/>
                    </a:lnTo>
                    <a:lnTo>
                      <a:pt x="652" y="1008"/>
                    </a:lnTo>
                    <a:lnTo>
                      <a:pt x="650" y="1008"/>
                    </a:lnTo>
                    <a:lnTo>
                      <a:pt x="648" y="1008"/>
                    </a:lnTo>
                    <a:lnTo>
                      <a:pt x="646" y="1008"/>
                    </a:lnTo>
                    <a:lnTo>
                      <a:pt x="646" y="1010"/>
                    </a:lnTo>
                    <a:lnTo>
                      <a:pt x="645" y="1010"/>
                    </a:lnTo>
                    <a:lnTo>
                      <a:pt x="645" y="1012"/>
                    </a:lnTo>
                    <a:lnTo>
                      <a:pt x="643" y="1012"/>
                    </a:lnTo>
                    <a:lnTo>
                      <a:pt x="641" y="1012"/>
                    </a:lnTo>
                    <a:lnTo>
                      <a:pt x="640" y="1012"/>
                    </a:lnTo>
                    <a:lnTo>
                      <a:pt x="640" y="1014"/>
                    </a:lnTo>
                    <a:lnTo>
                      <a:pt x="640" y="1012"/>
                    </a:lnTo>
                    <a:lnTo>
                      <a:pt x="638" y="1012"/>
                    </a:lnTo>
                    <a:lnTo>
                      <a:pt x="636" y="1014"/>
                    </a:lnTo>
                    <a:lnTo>
                      <a:pt x="636" y="1012"/>
                    </a:lnTo>
                    <a:lnTo>
                      <a:pt x="636" y="1014"/>
                    </a:lnTo>
                    <a:lnTo>
                      <a:pt x="635" y="1014"/>
                    </a:lnTo>
                    <a:lnTo>
                      <a:pt x="633" y="1014"/>
                    </a:lnTo>
                    <a:lnTo>
                      <a:pt x="633" y="1012"/>
                    </a:lnTo>
                    <a:lnTo>
                      <a:pt x="631" y="1012"/>
                    </a:lnTo>
                    <a:lnTo>
                      <a:pt x="629" y="1014"/>
                    </a:lnTo>
                    <a:lnTo>
                      <a:pt x="629" y="1012"/>
                    </a:lnTo>
                    <a:lnTo>
                      <a:pt x="628" y="1012"/>
                    </a:lnTo>
                    <a:lnTo>
                      <a:pt x="628" y="1010"/>
                    </a:lnTo>
                    <a:lnTo>
                      <a:pt x="626" y="1010"/>
                    </a:lnTo>
                    <a:lnTo>
                      <a:pt x="626" y="1008"/>
                    </a:lnTo>
                    <a:lnTo>
                      <a:pt x="626" y="1007"/>
                    </a:lnTo>
                    <a:lnTo>
                      <a:pt x="626" y="1005"/>
                    </a:lnTo>
                    <a:lnTo>
                      <a:pt x="628" y="1005"/>
                    </a:lnTo>
                    <a:lnTo>
                      <a:pt x="626" y="1005"/>
                    </a:lnTo>
                    <a:lnTo>
                      <a:pt x="626" y="1003"/>
                    </a:lnTo>
                    <a:lnTo>
                      <a:pt x="626" y="1002"/>
                    </a:lnTo>
                    <a:lnTo>
                      <a:pt x="626" y="1000"/>
                    </a:lnTo>
                    <a:lnTo>
                      <a:pt x="624" y="1000"/>
                    </a:lnTo>
                    <a:lnTo>
                      <a:pt x="623" y="1000"/>
                    </a:lnTo>
                    <a:lnTo>
                      <a:pt x="623" y="998"/>
                    </a:lnTo>
                    <a:lnTo>
                      <a:pt x="624" y="998"/>
                    </a:lnTo>
                    <a:lnTo>
                      <a:pt x="624" y="997"/>
                    </a:lnTo>
                    <a:lnTo>
                      <a:pt x="623" y="997"/>
                    </a:lnTo>
                    <a:lnTo>
                      <a:pt x="623" y="995"/>
                    </a:lnTo>
                    <a:lnTo>
                      <a:pt x="623" y="993"/>
                    </a:lnTo>
                    <a:lnTo>
                      <a:pt x="624" y="991"/>
                    </a:lnTo>
                    <a:lnTo>
                      <a:pt x="624" y="990"/>
                    </a:lnTo>
                    <a:lnTo>
                      <a:pt x="623" y="988"/>
                    </a:lnTo>
                    <a:lnTo>
                      <a:pt x="623" y="986"/>
                    </a:lnTo>
                    <a:lnTo>
                      <a:pt x="624" y="986"/>
                    </a:lnTo>
                    <a:lnTo>
                      <a:pt x="623" y="986"/>
                    </a:lnTo>
                    <a:lnTo>
                      <a:pt x="623" y="985"/>
                    </a:lnTo>
                    <a:lnTo>
                      <a:pt x="624" y="985"/>
                    </a:lnTo>
                    <a:lnTo>
                      <a:pt x="624" y="983"/>
                    </a:lnTo>
                    <a:lnTo>
                      <a:pt x="623" y="983"/>
                    </a:lnTo>
                    <a:lnTo>
                      <a:pt x="623" y="981"/>
                    </a:lnTo>
                    <a:lnTo>
                      <a:pt x="621" y="981"/>
                    </a:lnTo>
                    <a:lnTo>
                      <a:pt x="621" y="980"/>
                    </a:lnTo>
                    <a:lnTo>
                      <a:pt x="621" y="978"/>
                    </a:lnTo>
                    <a:lnTo>
                      <a:pt x="619" y="978"/>
                    </a:lnTo>
                    <a:lnTo>
                      <a:pt x="621" y="976"/>
                    </a:lnTo>
                    <a:lnTo>
                      <a:pt x="619" y="974"/>
                    </a:lnTo>
                    <a:lnTo>
                      <a:pt x="619" y="973"/>
                    </a:lnTo>
                    <a:lnTo>
                      <a:pt x="619" y="971"/>
                    </a:lnTo>
                    <a:lnTo>
                      <a:pt x="619" y="969"/>
                    </a:lnTo>
                    <a:lnTo>
                      <a:pt x="619" y="968"/>
                    </a:lnTo>
                    <a:lnTo>
                      <a:pt x="621" y="968"/>
                    </a:lnTo>
                    <a:lnTo>
                      <a:pt x="621" y="966"/>
                    </a:lnTo>
                    <a:lnTo>
                      <a:pt x="621" y="964"/>
                    </a:lnTo>
                    <a:lnTo>
                      <a:pt x="621" y="963"/>
                    </a:lnTo>
                    <a:lnTo>
                      <a:pt x="619" y="963"/>
                    </a:lnTo>
                    <a:lnTo>
                      <a:pt x="619" y="961"/>
                    </a:lnTo>
                    <a:lnTo>
                      <a:pt x="618" y="961"/>
                    </a:lnTo>
                    <a:lnTo>
                      <a:pt x="618" y="959"/>
                    </a:lnTo>
                    <a:lnTo>
                      <a:pt x="616" y="959"/>
                    </a:lnTo>
                    <a:lnTo>
                      <a:pt x="616" y="957"/>
                    </a:lnTo>
                    <a:lnTo>
                      <a:pt x="616" y="956"/>
                    </a:lnTo>
                    <a:lnTo>
                      <a:pt x="618" y="956"/>
                    </a:lnTo>
                    <a:lnTo>
                      <a:pt x="616" y="956"/>
                    </a:lnTo>
                    <a:lnTo>
                      <a:pt x="616" y="954"/>
                    </a:lnTo>
                    <a:lnTo>
                      <a:pt x="614" y="954"/>
                    </a:lnTo>
                    <a:lnTo>
                      <a:pt x="614" y="952"/>
                    </a:lnTo>
                    <a:lnTo>
                      <a:pt x="612" y="951"/>
                    </a:lnTo>
                    <a:lnTo>
                      <a:pt x="611" y="951"/>
                    </a:lnTo>
                    <a:lnTo>
                      <a:pt x="609" y="951"/>
                    </a:lnTo>
                    <a:lnTo>
                      <a:pt x="607" y="951"/>
                    </a:lnTo>
                    <a:lnTo>
                      <a:pt x="606" y="951"/>
                    </a:lnTo>
                    <a:lnTo>
                      <a:pt x="604" y="951"/>
                    </a:lnTo>
                    <a:lnTo>
                      <a:pt x="604" y="949"/>
                    </a:lnTo>
                    <a:lnTo>
                      <a:pt x="604" y="951"/>
                    </a:lnTo>
                    <a:lnTo>
                      <a:pt x="602" y="951"/>
                    </a:lnTo>
                    <a:lnTo>
                      <a:pt x="601" y="949"/>
                    </a:lnTo>
                    <a:lnTo>
                      <a:pt x="601" y="951"/>
                    </a:lnTo>
                    <a:lnTo>
                      <a:pt x="601" y="949"/>
                    </a:lnTo>
                    <a:lnTo>
                      <a:pt x="599" y="949"/>
                    </a:lnTo>
                    <a:lnTo>
                      <a:pt x="599" y="947"/>
                    </a:lnTo>
                    <a:lnTo>
                      <a:pt x="597" y="947"/>
                    </a:lnTo>
                    <a:lnTo>
                      <a:pt x="595" y="947"/>
                    </a:lnTo>
                    <a:lnTo>
                      <a:pt x="595" y="945"/>
                    </a:lnTo>
                    <a:lnTo>
                      <a:pt x="595" y="944"/>
                    </a:lnTo>
                    <a:lnTo>
                      <a:pt x="594" y="944"/>
                    </a:lnTo>
                    <a:lnTo>
                      <a:pt x="594" y="942"/>
                    </a:lnTo>
                    <a:lnTo>
                      <a:pt x="594" y="944"/>
                    </a:lnTo>
                    <a:lnTo>
                      <a:pt x="592" y="942"/>
                    </a:lnTo>
                    <a:lnTo>
                      <a:pt x="592" y="944"/>
                    </a:lnTo>
                    <a:lnTo>
                      <a:pt x="590" y="944"/>
                    </a:lnTo>
                    <a:lnTo>
                      <a:pt x="590" y="945"/>
                    </a:lnTo>
                    <a:lnTo>
                      <a:pt x="589" y="945"/>
                    </a:lnTo>
                    <a:lnTo>
                      <a:pt x="590" y="945"/>
                    </a:lnTo>
                    <a:lnTo>
                      <a:pt x="589" y="945"/>
                    </a:lnTo>
                    <a:lnTo>
                      <a:pt x="589" y="947"/>
                    </a:lnTo>
                    <a:lnTo>
                      <a:pt x="587" y="947"/>
                    </a:lnTo>
                    <a:lnTo>
                      <a:pt x="587" y="949"/>
                    </a:lnTo>
                    <a:lnTo>
                      <a:pt x="585" y="949"/>
                    </a:lnTo>
                    <a:lnTo>
                      <a:pt x="587" y="949"/>
                    </a:lnTo>
                    <a:lnTo>
                      <a:pt x="585" y="949"/>
                    </a:lnTo>
                    <a:lnTo>
                      <a:pt x="585" y="947"/>
                    </a:lnTo>
                    <a:lnTo>
                      <a:pt x="584" y="947"/>
                    </a:lnTo>
                    <a:lnTo>
                      <a:pt x="584" y="949"/>
                    </a:lnTo>
                    <a:lnTo>
                      <a:pt x="582" y="949"/>
                    </a:lnTo>
                    <a:lnTo>
                      <a:pt x="580" y="949"/>
                    </a:lnTo>
                    <a:lnTo>
                      <a:pt x="580" y="951"/>
                    </a:lnTo>
                    <a:lnTo>
                      <a:pt x="578" y="951"/>
                    </a:lnTo>
                    <a:lnTo>
                      <a:pt x="578" y="949"/>
                    </a:lnTo>
                    <a:lnTo>
                      <a:pt x="577" y="949"/>
                    </a:lnTo>
                    <a:lnTo>
                      <a:pt x="575" y="949"/>
                    </a:lnTo>
                    <a:lnTo>
                      <a:pt x="573" y="947"/>
                    </a:lnTo>
                    <a:lnTo>
                      <a:pt x="573" y="949"/>
                    </a:lnTo>
                    <a:lnTo>
                      <a:pt x="572" y="949"/>
                    </a:lnTo>
                    <a:lnTo>
                      <a:pt x="570" y="949"/>
                    </a:lnTo>
                    <a:lnTo>
                      <a:pt x="570" y="947"/>
                    </a:lnTo>
                    <a:lnTo>
                      <a:pt x="568" y="949"/>
                    </a:lnTo>
                    <a:lnTo>
                      <a:pt x="568" y="947"/>
                    </a:lnTo>
                    <a:lnTo>
                      <a:pt x="567" y="947"/>
                    </a:lnTo>
                    <a:lnTo>
                      <a:pt x="567" y="949"/>
                    </a:lnTo>
                    <a:lnTo>
                      <a:pt x="565" y="949"/>
                    </a:lnTo>
                    <a:lnTo>
                      <a:pt x="565" y="947"/>
                    </a:lnTo>
                    <a:lnTo>
                      <a:pt x="563" y="949"/>
                    </a:lnTo>
                    <a:lnTo>
                      <a:pt x="561" y="947"/>
                    </a:lnTo>
                    <a:lnTo>
                      <a:pt x="561" y="949"/>
                    </a:lnTo>
                    <a:lnTo>
                      <a:pt x="561" y="947"/>
                    </a:lnTo>
                    <a:lnTo>
                      <a:pt x="560" y="947"/>
                    </a:lnTo>
                    <a:lnTo>
                      <a:pt x="558" y="947"/>
                    </a:lnTo>
                    <a:lnTo>
                      <a:pt x="556" y="947"/>
                    </a:lnTo>
                    <a:lnTo>
                      <a:pt x="556" y="945"/>
                    </a:lnTo>
                    <a:lnTo>
                      <a:pt x="556" y="947"/>
                    </a:lnTo>
                    <a:lnTo>
                      <a:pt x="555" y="945"/>
                    </a:lnTo>
                    <a:lnTo>
                      <a:pt x="553" y="945"/>
                    </a:lnTo>
                    <a:lnTo>
                      <a:pt x="553" y="944"/>
                    </a:lnTo>
                    <a:lnTo>
                      <a:pt x="551" y="944"/>
                    </a:lnTo>
                    <a:lnTo>
                      <a:pt x="550" y="944"/>
                    </a:lnTo>
                    <a:lnTo>
                      <a:pt x="550" y="945"/>
                    </a:lnTo>
                    <a:lnTo>
                      <a:pt x="548" y="945"/>
                    </a:lnTo>
                    <a:lnTo>
                      <a:pt x="548" y="944"/>
                    </a:lnTo>
                    <a:lnTo>
                      <a:pt x="546" y="945"/>
                    </a:lnTo>
                    <a:lnTo>
                      <a:pt x="546" y="944"/>
                    </a:lnTo>
                    <a:lnTo>
                      <a:pt x="544" y="944"/>
                    </a:lnTo>
                    <a:lnTo>
                      <a:pt x="544" y="945"/>
                    </a:lnTo>
                    <a:lnTo>
                      <a:pt x="544" y="944"/>
                    </a:lnTo>
                    <a:lnTo>
                      <a:pt x="543" y="944"/>
                    </a:lnTo>
                    <a:lnTo>
                      <a:pt x="543" y="942"/>
                    </a:lnTo>
                    <a:lnTo>
                      <a:pt x="541" y="942"/>
                    </a:lnTo>
                    <a:lnTo>
                      <a:pt x="541" y="944"/>
                    </a:lnTo>
                    <a:lnTo>
                      <a:pt x="541" y="942"/>
                    </a:lnTo>
                    <a:lnTo>
                      <a:pt x="539" y="942"/>
                    </a:lnTo>
                    <a:lnTo>
                      <a:pt x="539" y="940"/>
                    </a:lnTo>
                    <a:lnTo>
                      <a:pt x="541" y="940"/>
                    </a:lnTo>
                    <a:lnTo>
                      <a:pt x="541" y="939"/>
                    </a:lnTo>
                    <a:lnTo>
                      <a:pt x="543" y="939"/>
                    </a:lnTo>
                    <a:lnTo>
                      <a:pt x="543" y="937"/>
                    </a:lnTo>
                    <a:lnTo>
                      <a:pt x="543" y="935"/>
                    </a:lnTo>
                    <a:lnTo>
                      <a:pt x="541" y="935"/>
                    </a:lnTo>
                    <a:lnTo>
                      <a:pt x="541" y="934"/>
                    </a:lnTo>
                    <a:lnTo>
                      <a:pt x="543" y="934"/>
                    </a:lnTo>
                    <a:lnTo>
                      <a:pt x="543" y="932"/>
                    </a:lnTo>
                    <a:lnTo>
                      <a:pt x="543" y="930"/>
                    </a:lnTo>
                    <a:lnTo>
                      <a:pt x="544" y="928"/>
                    </a:lnTo>
                    <a:lnTo>
                      <a:pt x="543" y="928"/>
                    </a:lnTo>
                    <a:lnTo>
                      <a:pt x="543" y="927"/>
                    </a:lnTo>
                    <a:lnTo>
                      <a:pt x="543" y="925"/>
                    </a:lnTo>
                    <a:lnTo>
                      <a:pt x="543" y="923"/>
                    </a:lnTo>
                    <a:lnTo>
                      <a:pt x="541" y="923"/>
                    </a:lnTo>
                    <a:lnTo>
                      <a:pt x="541" y="922"/>
                    </a:lnTo>
                    <a:lnTo>
                      <a:pt x="543" y="922"/>
                    </a:lnTo>
                    <a:lnTo>
                      <a:pt x="543" y="920"/>
                    </a:lnTo>
                    <a:lnTo>
                      <a:pt x="543" y="918"/>
                    </a:lnTo>
                    <a:lnTo>
                      <a:pt x="544" y="918"/>
                    </a:lnTo>
                    <a:lnTo>
                      <a:pt x="544" y="917"/>
                    </a:lnTo>
                    <a:lnTo>
                      <a:pt x="544" y="915"/>
                    </a:lnTo>
                    <a:lnTo>
                      <a:pt x="543" y="913"/>
                    </a:lnTo>
                    <a:lnTo>
                      <a:pt x="544" y="913"/>
                    </a:lnTo>
                    <a:lnTo>
                      <a:pt x="544" y="911"/>
                    </a:lnTo>
                    <a:lnTo>
                      <a:pt x="546" y="911"/>
                    </a:lnTo>
                    <a:lnTo>
                      <a:pt x="546" y="910"/>
                    </a:lnTo>
                    <a:lnTo>
                      <a:pt x="544" y="910"/>
                    </a:lnTo>
                    <a:lnTo>
                      <a:pt x="544" y="908"/>
                    </a:lnTo>
                    <a:lnTo>
                      <a:pt x="546" y="906"/>
                    </a:lnTo>
                    <a:lnTo>
                      <a:pt x="544" y="906"/>
                    </a:lnTo>
                    <a:lnTo>
                      <a:pt x="544" y="905"/>
                    </a:lnTo>
                    <a:lnTo>
                      <a:pt x="546" y="905"/>
                    </a:lnTo>
                    <a:lnTo>
                      <a:pt x="546" y="903"/>
                    </a:lnTo>
                    <a:lnTo>
                      <a:pt x="546" y="901"/>
                    </a:lnTo>
                    <a:lnTo>
                      <a:pt x="544" y="901"/>
                    </a:lnTo>
                    <a:lnTo>
                      <a:pt x="544" y="900"/>
                    </a:lnTo>
                    <a:lnTo>
                      <a:pt x="543" y="900"/>
                    </a:lnTo>
                    <a:lnTo>
                      <a:pt x="544" y="900"/>
                    </a:lnTo>
                    <a:lnTo>
                      <a:pt x="544" y="898"/>
                    </a:lnTo>
                    <a:lnTo>
                      <a:pt x="544" y="896"/>
                    </a:lnTo>
                    <a:lnTo>
                      <a:pt x="543" y="896"/>
                    </a:lnTo>
                    <a:lnTo>
                      <a:pt x="541" y="896"/>
                    </a:lnTo>
                    <a:lnTo>
                      <a:pt x="543" y="894"/>
                    </a:lnTo>
                    <a:lnTo>
                      <a:pt x="544" y="894"/>
                    </a:lnTo>
                    <a:lnTo>
                      <a:pt x="544" y="893"/>
                    </a:lnTo>
                    <a:lnTo>
                      <a:pt x="543" y="893"/>
                    </a:lnTo>
                    <a:lnTo>
                      <a:pt x="543" y="891"/>
                    </a:lnTo>
                    <a:lnTo>
                      <a:pt x="543" y="893"/>
                    </a:lnTo>
                    <a:lnTo>
                      <a:pt x="541" y="893"/>
                    </a:lnTo>
                    <a:lnTo>
                      <a:pt x="541" y="891"/>
                    </a:lnTo>
                    <a:lnTo>
                      <a:pt x="541" y="889"/>
                    </a:lnTo>
                    <a:lnTo>
                      <a:pt x="539" y="889"/>
                    </a:lnTo>
                    <a:lnTo>
                      <a:pt x="541" y="888"/>
                    </a:lnTo>
                    <a:lnTo>
                      <a:pt x="539" y="888"/>
                    </a:lnTo>
                    <a:lnTo>
                      <a:pt x="539" y="886"/>
                    </a:lnTo>
                    <a:lnTo>
                      <a:pt x="539" y="884"/>
                    </a:lnTo>
                    <a:lnTo>
                      <a:pt x="541" y="884"/>
                    </a:lnTo>
                    <a:lnTo>
                      <a:pt x="541" y="883"/>
                    </a:lnTo>
                    <a:lnTo>
                      <a:pt x="539" y="883"/>
                    </a:lnTo>
                    <a:lnTo>
                      <a:pt x="538" y="881"/>
                    </a:lnTo>
                    <a:lnTo>
                      <a:pt x="538" y="879"/>
                    </a:lnTo>
                    <a:lnTo>
                      <a:pt x="536" y="879"/>
                    </a:lnTo>
                    <a:lnTo>
                      <a:pt x="538" y="877"/>
                    </a:lnTo>
                    <a:lnTo>
                      <a:pt x="536" y="876"/>
                    </a:lnTo>
                    <a:lnTo>
                      <a:pt x="536" y="877"/>
                    </a:lnTo>
                    <a:lnTo>
                      <a:pt x="534" y="877"/>
                    </a:lnTo>
                    <a:lnTo>
                      <a:pt x="534" y="876"/>
                    </a:lnTo>
                    <a:lnTo>
                      <a:pt x="536" y="876"/>
                    </a:lnTo>
                    <a:lnTo>
                      <a:pt x="536" y="874"/>
                    </a:lnTo>
                    <a:lnTo>
                      <a:pt x="534" y="874"/>
                    </a:lnTo>
                    <a:lnTo>
                      <a:pt x="536" y="872"/>
                    </a:lnTo>
                    <a:lnTo>
                      <a:pt x="538" y="872"/>
                    </a:lnTo>
                    <a:lnTo>
                      <a:pt x="538" y="871"/>
                    </a:lnTo>
                    <a:lnTo>
                      <a:pt x="539" y="871"/>
                    </a:lnTo>
                    <a:lnTo>
                      <a:pt x="539" y="869"/>
                    </a:lnTo>
                    <a:lnTo>
                      <a:pt x="541" y="869"/>
                    </a:lnTo>
                    <a:lnTo>
                      <a:pt x="543" y="869"/>
                    </a:lnTo>
                    <a:lnTo>
                      <a:pt x="544" y="869"/>
                    </a:lnTo>
                    <a:lnTo>
                      <a:pt x="544" y="867"/>
                    </a:lnTo>
                    <a:lnTo>
                      <a:pt x="544" y="866"/>
                    </a:lnTo>
                    <a:lnTo>
                      <a:pt x="541" y="862"/>
                    </a:lnTo>
                    <a:lnTo>
                      <a:pt x="536" y="859"/>
                    </a:lnTo>
                    <a:lnTo>
                      <a:pt x="538" y="855"/>
                    </a:lnTo>
                    <a:lnTo>
                      <a:pt x="541" y="849"/>
                    </a:lnTo>
                    <a:lnTo>
                      <a:pt x="544" y="842"/>
                    </a:lnTo>
                    <a:lnTo>
                      <a:pt x="544" y="840"/>
                    </a:lnTo>
                    <a:lnTo>
                      <a:pt x="544" y="838"/>
                    </a:lnTo>
                    <a:lnTo>
                      <a:pt x="546" y="837"/>
                    </a:lnTo>
                    <a:lnTo>
                      <a:pt x="548" y="833"/>
                    </a:lnTo>
                    <a:lnTo>
                      <a:pt x="550" y="833"/>
                    </a:lnTo>
                    <a:lnTo>
                      <a:pt x="550" y="832"/>
                    </a:lnTo>
                    <a:lnTo>
                      <a:pt x="551" y="832"/>
                    </a:lnTo>
                    <a:lnTo>
                      <a:pt x="550" y="832"/>
                    </a:lnTo>
                    <a:lnTo>
                      <a:pt x="550" y="830"/>
                    </a:lnTo>
                    <a:lnTo>
                      <a:pt x="550" y="828"/>
                    </a:lnTo>
                    <a:lnTo>
                      <a:pt x="548" y="828"/>
                    </a:lnTo>
                    <a:lnTo>
                      <a:pt x="548" y="826"/>
                    </a:lnTo>
                    <a:lnTo>
                      <a:pt x="550" y="825"/>
                    </a:lnTo>
                    <a:lnTo>
                      <a:pt x="550" y="823"/>
                    </a:lnTo>
                    <a:lnTo>
                      <a:pt x="550" y="821"/>
                    </a:lnTo>
                    <a:lnTo>
                      <a:pt x="551" y="820"/>
                    </a:lnTo>
                    <a:lnTo>
                      <a:pt x="551" y="816"/>
                    </a:lnTo>
                    <a:lnTo>
                      <a:pt x="553" y="815"/>
                    </a:lnTo>
                    <a:lnTo>
                      <a:pt x="555" y="808"/>
                    </a:lnTo>
                    <a:lnTo>
                      <a:pt x="555" y="806"/>
                    </a:lnTo>
                    <a:lnTo>
                      <a:pt x="555" y="804"/>
                    </a:lnTo>
                    <a:lnTo>
                      <a:pt x="556" y="804"/>
                    </a:lnTo>
                    <a:lnTo>
                      <a:pt x="558" y="804"/>
                    </a:lnTo>
                    <a:lnTo>
                      <a:pt x="558" y="803"/>
                    </a:lnTo>
                    <a:lnTo>
                      <a:pt x="556" y="803"/>
                    </a:lnTo>
                    <a:lnTo>
                      <a:pt x="555" y="801"/>
                    </a:lnTo>
                    <a:lnTo>
                      <a:pt x="555" y="799"/>
                    </a:lnTo>
                    <a:lnTo>
                      <a:pt x="553" y="797"/>
                    </a:lnTo>
                    <a:lnTo>
                      <a:pt x="553" y="796"/>
                    </a:lnTo>
                    <a:lnTo>
                      <a:pt x="550" y="791"/>
                    </a:lnTo>
                    <a:lnTo>
                      <a:pt x="551" y="791"/>
                    </a:lnTo>
                    <a:lnTo>
                      <a:pt x="551" y="789"/>
                    </a:lnTo>
                    <a:lnTo>
                      <a:pt x="550" y="787"/>
                    </a:lnTo>
                    <a:lnTo>
                      <a:pt x="550" y="786"/>
                    </a:lnTo>
                    <a:lnTo>
                      <a:pt x="548" y="786"/>
                    </a:lnTo>
                    <a:lnTo>
                      <a:pt x="548" y="784"/>
                    </a:lnTo>
                    <a:lnTo>
                      <a:pt x="548" y="782"/>
                    </a:lnTo>
                    <a:lnTo>
                      <a:pt x="548" y="780"/>
                    </a:lnTo>
                    <a:lnTo>
                      <a:pt x="550" y="780"/>
                    </a:lnTo>
                    <a:lnTo>
                      <a:pt x="548" y="780"/>
                    </a:lnTo>
                    <a:lnTo>
                      <a:pt x="546" y="779"/>
                    </a:lnTo>
                    <a:lnTo>
                      <a:pt x="544" y="777"/>
                    </a:lnTo>
                    <a:lnTo>
                      <a:pt x="543" y="777"/>
                    </a:lnTo>
                    <a:lnTo>
                      <a:pt x="543" y="779"/>
                    </a:lnTo>
                    <a:lnTo>
                      <a:pt x="541" y="779"/>
                    </a:lnTo>
                    <a:lnTo>
                      <a:pt x="539" y="779"/>
                    </a:lnTo>
                    <a:lnTo>
                      <a:pt x="539" y="777"/>
                    </a:lnTo>
                    <a:lnTo>
                      <a:pt x="538" y="777"/>
                    </a:lnTo>
                    <a:lnTo>
                      <a:pt x="536" y="777"/>
                    </a:lnTo>
                    <a:lnTo>
                      <a:pt x="536" y="775"/>
                    </a:lnTo>
                    <a:lnTo>
                      <a:pt x="534" y="774"/>
                    </a:lnTo>
                    <a:lnTo>
                      <a:pt x="533" y="774"/>
                    </a:lnTo>
                    <a:lnTo>
                      <a:pt x="531" y="774"/>
                    </a:lnTo>
                    <a:lnTo>
                      <a:pt x="531" y="772"/>
                    </a:lnTo>
                    <a:lnTo>
                      <a:pt x="531" y="770"/>
                    </a:lnTo>
                    <a:lnTo>
                      <a:pt x="529" y="770"/>
                    </a:lnTo>
                    <a:lnTo>
                      <a:pt x="529" y="769"/>
                    </a:lnTo>
                    <a:lnTo>
                      <a:pt x="527" y="769"/>
                    </a:lnTo>
                    <a:lnTo>
                      <a:pt x="527" y="767"/>
                    </a:lnTo>
                    <a:lnTo>
                      <a:pt x="527" y="765"/>
                    </a:lnTo>
                    <a:lnTo>
                      <a:pt x="527" y="763"/>
                    </a:lnTo>
                    <a:lnTo>
                      <a:pt x="526" y="763"/>
                    </a:lnTo>
                    <a:lnTo>
                      <a:pt x="526" y="762"/>
                    </a:lnTo>
                    <a:lnTo>
                      <a:pt x="526" y="760"/>
                    </a:lnTo>
                    <a:lnTo>
                      <a:pt x="524" y="760"/>
                    </a:lnTo>
                    <a:lnTo>
                      <a:pt x="524" y="758"/>
                    </a:lnTo>
                    <a:lnTo>
                      <a:pt x="524" y="757"/>
                    </a:lnTo>
                    <a:lnTo>
                      <a:pt x="524" y="755"/>
                    </a:lnTo>
                    <a:lnTo>
                      <a:pt x="524" y="753"/>
                    </a:lnTo>
                    <a:lnTo>
                      <a:pt x="524" y="752"/>
                    </a:lnTo>
                    <a:lnTo>
                      <a:pt x="524" y="750"/>
                    </a:lnTo>
                    <a:lnTo>
                      <a:pt x="524" y="748"/>
                    </a:lnTo>
                    <a:lnTo>
                      <a:pt x="526" y="748"/>
                    </a:lnTo>
                    <a:lnTo>
                      <a:pt x="526" y="746"/>
                    </a:lnTo>
                    <a:lnTo>
                      <a:pt x="526" y="745"/>
                    </a:lnTo>
                    <a:lnTo>
                      <a:pt x="527" y="745"/>
                    </a:lnTo>
                    <a:lnTo>
                      <a:pt x="529" y="743"/>
                    </a:lnTo>
                    <a:lnTo>
                      <a:pt x="529" y="741"/>
                    </a:lnTo>
                    <a:lnTo>
                      <a:pt x="527" y="741"/>
                    </a:lnTo>
                    <a:lnTo>
                      <a:pt x="527" y="740"/>
                    </a:lnTo>
                    <a:lnTo>
                      <a:pt x="529" y="740"/>
                    </a:lnTo>
                    <a:lnTo>
                      <a:pt x="529" y="738"/>
                    </a:lnTo>
                    <a:lnTo>
                      <a:pt x="529" y="736"/>
                    </a:lnTo>
                    <a:lnTo>
                      <a:pt x="529" y="735"/>
                    </a:lnTo>
                    <a:lnTo>
                      <a:pt x="527" y="735"/>
                    </a:lnTo>
                    <a:lnTo>
                      <a:pt x="527" y="736"/>
                    </a:lnTo>
                    <a:lnTo>
                      <a:pt x="526" y="736"/>
                    </a:lnTo>
                    <a:lnTo>
                      <a:pt x="522" y="736"/>
                    </a:lnTo>
                    <a:lnTo>
                      <a:pt x="517" y="736"/>
                    </a:lnTo>
                    <a:lnTo>
                      <a:pt x="516" y="736"/>
                    </a:lnTo>
                    <a:lnTo>
                      <a:pt x="514" y="736"/>
                    </a:lnTo>
                    <a:lnTo>
                      <a:pt x="507" y="736"/>
                    </a:lnTo>
                    <a:lnTo>
                      <a:pt x="502" y="736"/>
                    </a:lnTo>
                    <a:lnTo>
                      <a:pt x="500" y="736"/>
                    </a:lnTo>
                    <a:lnTo>
                      <a:pt x="499" y="736"/>
                    </a:lnTo>
                    <a:lnTo>
                      <a:pt x="495" y="735"/>
                    </a:lnTo>
                    <a:lnTo>
                      <a:pt x="492" y="735"/>
                    </a:lnTo>
                    <a:lnTo>
                      <a:pt x="490" y="735"/>
                    </a:lnTo>
                    <a:lnTo>
                      <a:pt x="488" y="735"/>
                    </a:lnTo>
                    <a:lnTo>
                      <a:pt x="482" y="735"/>
                    </a:lnTo>
                    <a:lnTo>
                      <a:pt x="478" y="735"/>
                    </a:lnTo>
                    <a:lnTo>
                      <a:pt x="476" y="735"/>
                    </a:lnTo>
                    <a:lnTo>
                      <a:pt x="473" y="735"/>
                    </a:lnTo>
                    <a:lnTo>
                      <a:pt x="471" y="735"/>
                    </a:lnTo>
                    <a:lnTo>
                      <a:pt x="470" y="735"/>
                    </a:lnTo>
                    <a:lnTo>
                      <a:pt x="468" y="735"/>
                    </a:lnTo>
                    <a:lnTo>
                      <a:pt x="466" y="735"/>
                    </a:lnTo>
                    <a:lnTo>
                      <a:pt x="466" y="731"/>
                    </a:lnTo>
                    <a:lnTo>
                      <a:pt x="466" y="728"/>
                    </a:lnTo>
                    <a:lnTo>
                      <a:pt x="465" y="711"/>
                    </a:lnTo>
                    <a:lnTo>
                      <a:pt x="465" y="709"/>
                    </a:lnTo>
                    <a:lnTo>
                      <a:pt x="465" y="707"/>
                    </a:lnTo>
                    <a:lnTo>
                      <a:pt x="463" y="706"/>
                    </a:lnTo>
                    <a:lnTo>
                      <a:pt x="461" y="702"/>
                    </a:lnTo>
                    <a:lnTo>
                      <a:pt x="456" y="697"/>
                    </a:lnTo>
                    <a:lnTo>
                      <a:pt x="453" y="694"/>
                    </a:lnTo>
                    <a:lnTo>
                      <a:pt x="456" y="694"/>
                    </a:lnTo>
                    <a:lnTo>
                      <a:pt x="458" y="694"/>
                    </a:lnTo>
                    <a:lnTo>
                      <a:pt x="461" y="694"/>
                    </a:lnTo>
                    <a:lnTo>
                      <a:pt x="463" y="694"/>
                    </a:lnTo>
                    <a:lnTo>
                      <a:pt x="465" y="694"/>
                    </a:lnTo>
                    <a:lnTo>
                      <a:pt x="465" y="690"/>
                    </a:lnTo>
                    <a:lnTo>
                      <a:pt x="465" y="689"/>
                    </a:lnTo>
                    <a:lnTo>
                      <a:pt x="465" y="687"/>
                    </a:lnTo>
                    <a:lnTo>
                      <a:pt x="465" y="684"/>
                    </a:lnTo>
                    <a:lnTo>
                      <a:pt x="465" y="682"/>
                    </a:lnTo>
                    <a:lnTo>
                      <a:pt x="465" y="680"/>
                    </a:lnTo>
                    <a:lnTo>
                      <a:pt x="463" y="678"/>
                    </a:lnTo>
                    <a:lnTo>
                      <a:pt x="463" y="677"/>
                    </a:lnTo>
                    <a:lnTo>
                      <a:pt x="461" y="677"/>
                    </a:lnTo>
                    <a:lnTo>
                      <a:pt x="461" y="675"/>
                    </a:lnTo>
                    <a:lnTo>
                      <a:pt x="461" y="673"/>
                    </a:lnTo>
                    <a:lnTo>
                      <a:pt x="461" y="672"/>
                    </a:lnTo>
                    <a:lnTo>
                      <a:pt x="459" y="672"/>
                    </a:lnTo>
                    <a:lnTo>
                      <a:pt x="459" y="670"/>
                    </a:lnTo>
                    <a:lnTo>
                      <a:pt x="459" y="668"/>
                    </a:lnTo>
                    <a:lnTo>
                      <a:pt x="458" y="668"/>
                    </a:lnTo>
                    <a:lnTo>
                      <a:pt x="458" y="667"/>
                    </a:lnTo>
                    <a:lnTo>
                      <a:pt x="458" y="665"/>
                    </a:lnTo>
                    <a:lnTo>
                      <a:pt x="458" y="663"/>
                    </a:lnTo>
                    <a:lnTo>
                      <a:pt x="456" y="663"/>
                    </a:lnTo>
                    <a:lnTo>
                      <a:pt x="456" y="661"/>
                    </a:lnTo>
                    <a:lnTo>
                      <a:pt x="456" y="660"/>
                    </a:lnTo>
                    <a:lnTo>
                      <a:pt x="456" y="658"/>
                    </a:lnTo>
                    <a:lnTo>
                      <a:pt x="458" y="658"/>
                    </a:lnTo>
                    <a:lnTo>
                      <a:pt x="458" y="656"/>
                    </a:lnTo>
                    <a:lnTo>
                      <a:pt x="459" y="656"/>
                    </a:lnTo>
                    <a:lnTo>
                      <a:pt x="459" y="655"/>
                    </a:lnTo>
                    <a:lnTo>
                      <a:pt x="458" y="655"/>
                    </a:lnTo>
                    <a:lnTo>
                      <a:pt x="458" y="653"/>
                    </a:lnTo>
                    <a:lnTo>
                      <a:pt x="458" y="651"/>
                    </a:lnTo>
                    <a:lnTo>
                      <a:pt x="456" y="651"/>
                    </a:lnTo>
                    <a:lnTo>
                      <a:pt x="458" y="651"/>
                    </a:lnTo>
                    <a:lnTo>
                      <a:pt x="456" y="650"/>
                    </a:lnTo>
                    <a:lnTo>
                      <a:pt x="456" y="651"/>
                    </a:lnTo>
                    <a:lnTo>
                      <a:pt x="456" y="650"/>
                    </a:lnTo>
                    <a:lnTo>
                      <a:pt x="458" y="650"/>
                    </a:lnTo>
                    <a:lnTo>
                      <a:pt x="456" y="650"/>
                    </a:lnTo>
                    <a:lnTo>
                      <a:pt x="458" y="650"/>
                    </a:lnTo>
                    <a:lnTo>
                      <a:pt x="456" y="650"/>
                    </a:lnTo>
                    <a:lnTo>
                      <a:pt x="458" y="648"/>
                    </a:lnTo>
                    <a:lnTo>
                      <a:pt x="456" y="648"/>
                    </a:lnTo>
                    <a:lnTo>
                      <a:pt x="454" y="648"/>
                    </a:lnTo>
                    <a:lnTo>
                      <a:pt x="453" y="646"/>
                    </a:lnTo>
                    <a:lnTo>
                      <a:pt x="451" y="646"/>
                    </a:lnTo>
                    <a:lnTo>
                      <a:pt x="449" y="646"/>
                    </a:lnTo>
                    <a:lnTo>
                      <a:pt x="449" y="644"/>
                    </a:lnTo>
                    <a:lnTo>
                      <a:pt x="449" y="646"/>
                    </a:lnTo>
                    <a:lnTo>
                      <a:pt x="449" y="644"/>
                    </a:lnTo>
                    <a:lnTo>
                      <a:pt x="448" y="644"/>
                    </a:lnTo>
                    <a:lnTo>
                      <a:pt x="446" y="644"/>
                    </a:lnTo>
                    <a:lnTo>
                      <a:pt x="446" y="643"/>
                    </a:lnTo>
                    <a:lnTo>
                      <a:pt x="444" y="643"/>
                    </a:lnTo>
                    <a:lnTo>
                      <a:pt x="442" y="643"/>
                    </a:lnTo>
                    <a:lnTo>
                      <a:pt x="442" y="641"/>
                    </a:lnTo>
                    <a:lnTo>
                      <a:pt x="442" y="639"/>
                    </a:lnTo>
                    <a:lnTo>
                      <a:pt x="441" y="639"/>
                    </a:lnTo>
                    <a:lnTo>
                      <a:pt x="439" y="639"/>
                    </a:lnTo>
                    <a:lnTo>
                      <a:pt x="439" y="638"/>
                    </a:lnTo>
                    <a:lnTo>
                      <a:pt x="437" y="638"/>
                    </a:lnTo>
                    <a:lnTo>
                      <a:pt x="437" y="639"/>
                    </a:lnTo>
                    <a:lnTo>
                      <a:pt x="437" y="638"/>
                    </a:lnTo>
                    <a:lnTo>
                      <a:pt x="436" y="638"/>
                    </a:lnTo>
                    <a:lnTo>
                      <a:pt x="436" y="639"/>
                    </a:lnTo>
                    <a:lnTo>
                      <a:pt x="434" y="639"/>
                    </a:lnTo>
                    <a:lnTo>
                      <a:pt x="434" y="638"/>
                    </a:lnTo>
                    <a:lnTo>
                      <a:pt x="434" y="639"/>
                    </a:lnTo>
                    <a:lnTo>
                      <a:pt x="432" y="639"/>
                    </a:lnTo>
                    <a:lnTo>
                      <a:pt x="432" y="638"/>
                    </a:lnTo>
                    <a:lnTo>
                      <a:pt x="432" y="639"/>
                    </a:lnTo>
                    <a:lnTo>
                      <a:pt x="431" y="639"/>
                    </a:lnTo>
                    <a:lnTo>
                      <a:pt x="431" y="638"/>
                    </a:lnTo>
                    <a:lnTo>
                      <a:pt x="429" y="638"/>
                    </a:lnTo>
                    <a:lnTo>
                      <a:pt x="427" y="638"/>
                    </a:lnTo>
                    <a:lnTo>
                      <a:pt x="427" y="639"/>
                    </a:lnTo>
                    <a:lnTo>
                      <a:pt x="425" y="639"/>
                    </a:lnTo>
                    <a:lnTo>
                      <a:pt x="424" y="639"/>
                    </a:lnTo>
                    <a:lnTo>
                      <a:pt x="422" y="639"/>
                    </a:lnTo>
                    <a:lnTo>
                      <a:pt x="420" y="639"/>
                    </a:lnTo>
                    <a:lnTo>
                      <a:pt x="419" y="638"/>
                    </a:lnTo>
                    <a:lnTo>
                      <a:pt x="419" y="639"/>
                    </a:lnTo>
                    <a:lnTo>
                      <a:pt x="417" y="638"/>
                    </a:lnTo>
                    <a:lnTo>
                      <a:pt x="417" y="639"/>
                    </a:lnTo>
                    <a:lnTo>
                      <a:pt x="417" y="638"/>
                    </a:lnTo>
                    <a:lnTo>
                      <a:pt x="415" y="638"/>
                    </a:lnTo>
                    <a:lnTo>
                      <a:pt x="415" y="639"/>
                    </a:lnTo>
                    <a:lnTo>
                      <a:pt x="414" y="639"/>
                    </a:lnTo>
                    <a:lnTo>
                      <a:pt x="412" y="639"/>
                    </a:lnTo>
                    <a:lnTo>
                      <a:pt x="410" y="639"/>
                    </a:lnTo>
                    <a:lnTo>
                      <a:pt x="410" y="638"/>
                    </a:lnTo>
                    <a:lnTo>
                      <a:pt x="408" y="638"/>
                    </a:lnTo>
                    <a:lnTo>
                      <a:pt x="408" y="636"/>
                    </a:lnTo>
                    <a:lnTo>
                      <a:pt x="407" y="634"/>
                    </a:lnTo>
                    <a:lnTo>
                      <a:pt x="407" y="636"/>
                    </a:lnTo>
                    <a:lnTo>
                      <a:pt x="407" y="634"/>
                    </a:lnTo>
                    <a:lnTo>
                      <a:pt x="405" y="632"/>
                    </a:lnTo>
                    <a:lnTo>
                      <a:pt x="405" y="634"/>
                    </a:lnTo>
                    <a:lnTo>
                      <a:pt x="405" y="632"/>
                    </a:lnTo>
                    <a:lnTo>
                      <a:pt x="403" y="632"/>
                    </a:lnTo>
                    <a:lnTo>
                      <a:pt x="403" y="631"/>
                    </a:lnTo>
                    <a:lnTo>
                      <a:pt x="402" y="631"/>
                    </a:lnTo>
                    <a:lnTo>
                      <a:pt x="402" y="629"/>
                    </a:lnTo>
                    <a:lnTo>
                      <a:pt x="402" y="627"/>
                    </a:lnTo>
                    <a:lnTo>
                      <a:pt x="402" y="626"/>
                    </a:lnTo>
                    <a:lnTo>
                      <a:pt x="400" y="626"/>
                    </a:lnTo>
                    <a:lnTo>
                      <a:pt x="400" y="624"/>
                    </a:lnTo>
                    <a:lnTo>
                      <a:pt x="398" y="624"/>
                    </a:lnTo>
                    <a:lnTo>
                      <a:pt x="400" y="626"/>
                    </a:lnTo>
                    <a:lnTo>
                      <a:pt x="398" y="626"/>
                    </a:lnTo>
                    <a:lnTo>
                      <a:pt x="398" y="624"/>
                    </a:lnTo>
                    <a:lnTo>
                      <a:pt x="397" y="624"/>
                    </a:lnTo>
                    <a:lnTo>
                      <a:pt x="397" y="626"/>
                    </a:lnTo>
                    <a:lnTo>
                      <a:pt x="395" y="626"/>
                    </a:lnTo>
                    <a:lnTo>
                      <a:pt x="393" y="626"/>
                    </a:lnTo>
                    <a:lnTo>
                      <a:pt x="391" y="626"/>
                    </a:lnTo>
                    <a:lnTo>
                      <a:pt x="391" y="624"/>
                    </a:lnTo>
                    <a:lnTo>
                      <a:pt x="391" y="626"/>
                    </a:lnTo>
                    <a:lnTo>
                      <a:pt x="391" y="624"/>
                    </a:lnTo>
                    <a:lnTo>
                      <a:pt x="390" y="624"/>
                    </a:lnTo>
                    <a:lnTo>
                      <a:pt x="390" y="622"/>
                    </a:lnTo>
                    <a:lnTo>
                      <a:pt x="390" y="624"/>
                    </a:lnTo>
                    <a:lnTo>
                      <a:pt x="388" y="624"/>
                    </a:lnTo>
                    <a:lnTo>
                      <a:pt x="388" y="622"/>
                    </a:lnTo>
                    <a:lnTo>
                      <a:pt x="386" y="624"/>
                    </a:lnTo>
                    <a:lnTo>
                      <a:pt x="386" y="622"/>
                    </a:lnTo>
                    <a:lnTo>
                      <a:pt x="385" y="622"/>
                    </a:lnTo>
                    <a:lnTo>
                      <a:pt x="385" y="621"/>
                    </a:lnTo>
                    <a:lnTo>
                      <a:pt x="383" y="621"/>
                    </a:lnTo>
                    <a:lnTo>
                      <a:pt x="383" y="619"/>
                    </a:lnTo>
                    <a:lnTo>
                      <a:pt x="383" y="621"/>
                    </a:lnTo>
                    <a:lnTo>
                      <a:pt x="381" y="621"/>
                    </a:lnTo>
                    <a:lnTo>
                      <a:pt x="381" y="622"/>
                    </a:lnTo>
                    <a:lnTo>
                      <a:pt x="380" y="621"/>
                    </a:lnTo>
                    <a:lnTo>
                      <a:pt x="378" y="621"/>
                    </a:lnTo>
                    <a:lnTo>
                      <a:pt x="378" y="619"/>
                    </a:lnTo>
                    <a:lnTo>
                      <a:pt x="376" y="619"/>
                    </a:lnTo>
                    <a:lnTo>
                      <a:pt x="376" y="617"/>
                    </a:lnTo>
                    <a:lnTo>
                      <a:pt x="374" y="617"/>
                    </a:lnTo>
                    <a:lnTo>
                      <a:pt x="374" y="615"/>
                    </a:lnTo>
                    <a:lnTo>
                      <a:pt x="373" y="615"/>
                    </a:lnTo>
                    <a:lnTo>
                      <a:pt x="371" y="615"/>
                    </a:lnTo>
                    <a:lnTo>
                      <a:pt x="371" y="614"/>
                    </a:lnTo>
                    <a:lnTo>
                      <a:pt x="371" y="612"/>
                    </a:lnTo>
                    <a:lnTo>
                      <a:pt x="369" y="612"/>
                    </a:lnTo>
                    <a:lnTo>
                      <a:pt x="369" y="610"/>
                    </a:lnTo>
                    <a:lnTo>
                      <a:pt x="368" y="610"/>
                    </a:lnTo>
                    <a:lnTo>
                      <a:pt x="368" y="609"/>
                    </a:lnTo>
                    <a:lnTo>
                      <a:pt x="366" y="609"/>
                    </a:lnTo>
                    <a:lnTo>
                      <a:pt x="366" y="607"/>
                    </a:lnTo>
                    <a:lnTo>
                      <a:pt x="366" y="609"/>
                    </a:lnTo>
                    <a:lnTo>
                      <a:pt x="364" y="607"/>
                    </a:lnTo>
                    <a:lnTo>
                      <a:pt x="364" y="609"/>
                    </a:lnTo>
                    <a:lnTo>
                      <a:pt x="363" y="609"/>
                    </a:lnTo>
                    <a:lnTo>
                      <a:pt x="364" y="610"/>
                    </a:lnTo>
                    <a:lnTo>
                      <a:pt x="363" y="610"/>
                    </a:lnTo>
                    <a:lnTo>
                      <a:pt x="361" y="610"/>
                    </a:lnTo>
                    <a:lnTo>
                      <a:pt x="361" y="609"/>
                    </a:lnTo>
                    <a:lnTo>
                      <a:pt x="359" y="609"/>
                    </a:lnTo>
                    <a:lnTo>
                      <a:pt x="357" y="609"/>
                    </a:lnTo>
                    <a:lnTo>
                      <a:pt x="357" y="607"/>
                    </a:lnTo>
                    <a:lnTo>
                      <a:pt x="356" y="607"/>
                    </a:lnTo>
                    <a:lnTo>
                      <a:pt x="357" y="607"/>
                    </a:lnTo>
                    <a:lnTo>
                      <a:pt x="357" y="605"/>
                    </a:lnTo>
                    <a:lnTo>
                      <a:pt x="356" y="605"/>
                    </a:lnTo>
                    <a:lnTo>
                      <a:pt x="354" y="605"/>
                    </a:lnTo>
                    <a:lnTo>
                      <a:pt x="354" y="604"/>
                    </a:lnTo>
                    <a:lnTo>
                      <a:pt x="352" y="604"/>
                    </a:lnTo>
                    <a:lnTo>
                      <a:pt x="351" y="604"/>
                    </a:lnTo>
                    <a:lnTo>
                      <a:pt x="351" y="602"/>
                    </a:lnTo>
                    <a:lnTo>
                      <a:pt x="349" y="602"/>
                    </a:lnTo>
                    <a:lnTo>
                      <a:pt x="347" y="602"/>
                    </a:lnTo>
                    <a:lnTo>
                      <a:pt x="346" y="602"/>
                    </a:lnTo>
                    <a:lnTo>
                      <a:pt x="346" y="600"/>
                    </a:lnTo>
                    <a:lnTo>
                      <a:pt x="344" y="602"/>
                    </a:lnTo>
                    <a:lnTo>
                      <a:pt x="342" y="602"/>
                    </a:lnTo>
                    <a:lnTo>
                      <a:pt x="340" y="604"/>
                    </a:lnTo>
                    <a:lnTo>
                      <a:pt x="339" y="604"/>
                    </a:lnTo>
                    <a:lnTo>
                      <a:pt x="337" y="604"/>
                    </a:lnTo>
                    <a:lnTo>
                      <a:pt x="335" y="604"/>
                    </a:lnTo>
                    <a:lnTo>
                      <a:pt x="334" y="604"/>
                    </a:lnTo>
                    <a:lnTo>
                      <a:pt x="334" y="602"/>
                    </a:lnTo>
                    <a:lnTo>
                      <a:pt x="334" y="604"/>
                    </a:lnTo>
                    <a:lnTo>
                      <a:pt x="332" y="604"/>
                    </a:lnTo>
                    <a:lnTo>
                      <a:pt x="332" y="602"/>
                    </a:lnTo>
                    <a:lnTo>
                      <a:pt x="330" y="602"/>
                    </a:lnTo>
                    <a:lnTo>
                      <a:pt x="329" y="602"/>
                    </a:lnTo>
                    <a:lnTo>
                      <a:pt x="329" y="604"/>
                    </a:lnTo>
                    <a:lnTo>
                      <a:pt x="327" y="604"/>
                    </a:lnTo>
                    <a:lnTo>
                      <a:pt x="329" y="602"/>
                    </a:lnTo>
                    <a:lnTo>
                      <a:pt x="327" y="602"/>
                    </a:lnTo>
                    <a:lnTo>
                      <a:pt x="325" y="602"/>
                    </a:lnTo>
                    <a:lnTo>
                      <a:pt x="323" y="602"/>
                    </a:lnTo>
                    <a:lnTo>
                      <a:pt x="323" y="600"/>
                    </a:lnTo>
                    <a:lnTo>
                      <a:pt x="322" y="600"/>
                    </a:lnTo>
                    <a:lnTo>
                      <a:pt x="322" y="598"/>
                    </a:lnTo>
                    <a:lnTo>
                      <a:pt x="320" y="598"/>
                    </a:lnTo>
                    <a:lnTo>
                      <a:pt x="322" y="597"/>
                    </a:lnTo>
                    <a:lnTo>
                      <a:pt x="322" y="595"/>
                    </a:lnTo>
                    <a:lnTo>
                      <a:pt x="320" y="595"/>
                    </a:lnTo>
                    <a:lnTo>
                      <a:pt x="320" y="593"/>
                    </a:lnTo>
                    <a:lnTo>
                      <a:pt x="320" y="595"/>
                    </a:lnTo>
                    <a:lnTo>
                      <a:pt x="318" y="595"/>
                    </a:lnTo>
                    <a:lnTo>
                      <a:pt x="318" y="593"/>
                    </a:lnTo>
                    <a:lnTo>
                      <a:pt x="317" y="593"/>
                    </a:lnTo>
                    <a:lnTo>
                      <a:pt x="315" y="593"/>
                    </a:lnTo>
                    <a:lnTo>
                      <a:pt x="313" y="592"/>
                    </a:lnTo>
                    <a:lnTo>
                      <a:pt x="313" y="590"/>
                    </a:lnTo>
                    <a:lnTo>
                      <a:pt x="315" y="590"/>
                    </a:lnTo>
                    <a:lnTo>
                      <a:pt x="313" y="590"/>
                    </a:lnTo>
                    <a:lnTo>
                      <a:pt x="313" y="588"/>
                    </a:lnTo>
                    <a:lnTo>
                      <a:pt x="313" y="590"/>
                    </a:lnTo>
                    <a:lnTo>
                      <a:pt x="313" y="592"/>
                    </a:lnTo>
                    <a:lnTo>
                      <a:pt x="312" y="592"/>
                    </a:lnTo>
                    <a:lnTo>
                      <a:pt x="312" y="590"/>
                    </a:lnTo>
                    <a:lnTo>
                      <a:pt x="312" y="588"/>
                    </a:lnTo>
                    <a:lnTo>
                      <a:pt x="310" y="588"/>
                    </a:lnTo>
                    <a:lnTo>
                      <a:pt x="310" y="590"/>
                    </a:lnTo>
                    <a:lnTo>
                      <a:pt x="310" y="588"/>
                    </a:lnTo>
                    <a:lnTo>
                      <a:pt x="310" y="587"/>
                    </a:lnTo>
                    <a:lnTo>
                      <a:pt x="308" y="587"/>
                    </a:lnTo>
                    <a:lnTo>
                      <a:pt x="306" y="587"/>
                    </a:lnTo>
                    <a:lnTo>
                      <a:pt x="305" y="587"/>
                    </a:lnTo>
                    <a:lnTo>
                      <a:pt x="303" y="587"/>
                    </a:lnTo>
                    <a:lnTo>
                      <a:pt x="303" y="585"/>
                    </a:lnTo>
                    <a:lnTo>
                      <a:pt x="303" y="583"/>
                    </a:lnTo>
                    <a:lnTo>
                      <a:pt x="303" y="581"/>
                    </a:lnTo>
                    <a:lnTo>
                      <a:pt x="301" y="581"/>
                    </a:lnTo>
                    <a:lnTo>
                      <a:pt x="301" y="580"/>
                    </a:lnTo>
                    <a:lnTo>
                      <a:pt x="301" y="578"/>
                    </a:lnTo>
                    <a:lnTo>
                      <a:pt x="301" y="576"/>
                    </a:lnTo>
                    <a:lnTo>
                      <a:pt x="300" y="576"/>
                    </a:lnTo>
                    <a:lnTo>
                      <a:pt x="298" y="576"/>
                    </a:lnTo>
                    <a:lnTo>
                      <a:pt x="298" y="578"/>
                    </a:lnTo>
                    <a:lnTo>
                      <a:pt x="296" y="578"/>
                    </a:lnTo>
                    <a:lnTo>
                      <a:pt x="296" y="576"/>
                    </a:lnTo>
                    <a:lnTo>
                      <a:pt x="295" y="576"/>
                    </a:lnTo>
                    <a:lnTo>
                      <a:pt x="296" y="575"/>
                    </a:lnTo>
                    <a:lnTo>
                      <a:pt x="296" y="573"/>
                    </a:lnTo>
                    <a:lnTo>
                      <a:pt x="296" y="571"/>
                    </a:lnTo>
                    <a:lnTo>
                      <a:pt x="296" y="570"/>
                    </a:lnTo>
                    <a:lnTo>
                      <a:pt x="295" y="570"/>
                    </a:lnTo>
                    <a:lnTo>
                      <a:pt x="293" y="568"/>
                    </a:lnTo>
                    <a:lnTo>
                      <a:pt x="293" y="566"/>
                    </a:lnTo>
                    <a:lnTo>
                      <a:pt x="293" y="564"/>
                    </a:lnTo>
                    <a:lnTo>
                      <a:pt x="293" y="563"/>
                    </a:lnTo>
                    <a:lnTo>
                      <a:pt x="295" y="563"/>
                    </a:lnTo>
                    <a:lnTo>
                      <a:pt x="293" y="563"/>
                    </a:lnTo>
                    <a:lnTo>
                      <a:pt x="293" y="561"/>
                    </a:lnTo>
                    <a:lnTo>
                      <a:pt x="291" y="561"/>
                    </a:lnTo>
                    <a:lnTo>
                      <a:pt x="291" y="559"/>
                    </a:lnTo>
                    <a:lnTo>
                      <a:pt x="293" y="559"/>
                    </a:lnTo>
                    <a:lnTo>
                      <a:pt x="293" y="558"/>
                    </a:lnTo>
                    <a:lnTo>
                      <a:pt x="291" y="558"/>
                    </a:lnTo>
                    <a:lnTo>
                      <a:pt x="291" y="556"/>
                    </a:lnTo>
                    <a:lnTo>
                      <a:pt x="293" y="556"/>
                    </a:lnTo>
                    <a:lnTo>
                      <a:pt x="295" y="554"/>
                    </a:lnTo>
                    <a:lnTo>
                      <a:pt x="295" y="553"/>
                    </a:lnTo>
                    <a:lnTo>
                      <a:pt x="296" y="551"/>
                    </a:lnTo>
                    <a:lnTo>
                      <a:pt x="295" y="551"/>
                    </a:lnTo>
                    <a:lnTo>
                      <a:pt x="295" y="549"/>
                    </a:lnTo>
                    <a:lnTo>
                      <a:pt x="295" y="547"/>
                    </a:lnTo>
                    <a:lnTo>
                      <a:pt x="295" y="546"/>
                    </a:lnTo>
                    <a:lnTo>
                      <a:pt x="293" y="546"/>
                    </a:lnTo>
                    <a:lnTo>
                      <a:pt x="293" y="544"/>
                    </a:lnTo>
                    <a:lnTo>
                      <a:pt x="293" y="542"/>
                    </a:lnTo>
                    <a:lnTo>
                      <a:pt x="293" y="541"/>
                    </a:lnTo>
                    <a:lnTo>
                      <a:pt x="291" y="539"/>
                    </a:lnTo>
                    <a:lnTo>
                      <a:pt x="289" y="537"/>
                    </a:lnTo>
                    <a:lnTo>
                      <a:pt x="291" y="537"/>
                    </a:lnTo>
                    <a:lnTo>
                      <a:pt x="291" y="536"/>
                    </a:lnTo>
                    <a:lnTo>
                      <a:pt x="289" y="536"/>
                    </a:lnTo>
                    <a:lnTo>
                      <a:pt x="289" y="534"/>
                    </a:lnTo>
                    <a:lnTo>
                      <a:pt x="291" y="534"/>
                    </a:lnTo>
                    <a:lnTo>
                      <a:pt x="291" y="532"/>
                    </a:lnTo>
                    <a:lnTo>
                      <a:pt x="291" y="530"/>
                    </a:lnTo>
                    <a:lnTo>
                      <a:pt x="291" y="529"/>
                    </a:lnTo>
                    <a:lnTo>
                      <a:pt x="293" y="529"/>
                    </a:lnTo>
                    <a:lnTo>
                      <a:pt x="293" y="527"/>
                    </a:lnTo>
                    <a:lnTo>
                      <a:pt x="293" y="525"/>
                    </a:lnTo>
                    <a:lnTo>
                      <a:pt x="295" y="525"/>
                    </a:lnTo>
                    <a:lnTo>
                      <a:pt x="295" y="524"/>
                    </a:lnTo>
                    <a:lnTo>
                      <a:pt x="293" y="524"/>
                    </a:lnTo>
                    <a:lnTo>
                      <a:pt x="295" y="522"/>
                    </a:lnTo>
                    <a:lnTo>
                      <a:pt x="295" y="520"/>
                    </a:lnTo>
                    <a:lnTo>
                      <a:pt x="293" y="520"/>
                    </a:lnTo>
                    <a:lnTo>
                      <a:pt x="293" y="519"/>
                    </a:lnTo>
                    <a:lnTo>
                      <a:pt x="293" y="517"/>
                    </a:lnTo>
                    <a:lnTo>
                      <a:pt x="293" y="515"/>
                    </a:lnTo>
                    <a:lnTo>
                      <a:pt x="293" y="513"/>
                    </a:lnTo>
                    <a:lnTo>
                      <a:pt x="295" y="513"/>
                    </a:lnTo>
                    <a:lnTo>
                      <a:pt x="295" y="512"/>
                    </a:lnTo>
                    <a:lnTo>
                      <a:pt x="293" y="512"/>
                    </a:lnTo>
                    <a:lnTo>
                      <a:pt x="293" y="510"/>
                    </a:lnTo>
                    <a:lnTo>
                      <a:pt x="293" y="508"/>
                    </a:lnTo>
                    <a:lnTo>
                      <a:pt x="291" y="508"/>
                    </a:lnTo>
                    <a:lnTo>
                      <a:pt x="291" y="507"/>
                    </a:lnTo>
                    <a:lnTo>
                      <a:pt x="289" y="507"/>
                    </a:lnTo>
                    <a:lnTo>
                      <a:pt x="288" y="507"/>
                    </a:lnTo>
                    <a:lnTo>
                      <a:pt x="288" y="508"/>
                    </a:lnTo>
                    <a:lnTo>
                      <a:pt x="288" y="507"/>
                    </a:lnTo>
                    <a:lnTo>
                      <a:pt x="288" y="508"/>
                    </a:lnTo>
                    <a:lnTo>
                      <a:pt x="288" y="510"/>
                    </a:lnTo>
                    <a:lnTo>
                      <a:pt x="286" y="510"/>
                    </a:lnTo>
                    <a:lnTo>
                      <a:pt x="284" y="510"/>
                    </a:lnTo>
                    <a:lnTo>
                      <a:pt x="284" y="512"/>
                    </a:lnTo>
                    <a:lnTo>
                      <a:pt x="286" y="512"/>
                    </a:lnTo>
                    <a:lnTo>
                      <a:pt x="284" y="512"/>
                    </a:lnTo>
                    <a:lnTo>
                      <a:pt x="283" y="512"/>
                    </a:lnTo>
                    <a:lnTo>
                      <a:pt x="283" y="510"/>
                    </a:lnTo>
                    <a:lnTo>
                      <a:pt x="283" y="512"/>
                    </a:lnTo>
                    <a:lnTo>
                      <a:pt x="283" y="510"/>
                    </a:lnTo>
                    <a:lnTo>
                      <a:pt x="281" y="510"/>
                    </a:lnTo>
                    <a:lnTo>
                      <a:pt x="281" y="512"/>
                    </a:lnTo>
                    <a:lnTo>
                      <a:pt x="279" y="510"/>
                    </a:lnTo>
                    <a:lnTo>
                      <a:pt x="281" y="510"/>
                    </a:lnTo>
                    <a:lnTo>
                      <a:pt x="279" y="510"/>
                    </a:lnTo>
                    <a:lnTo>
                      <a:pt x="281" y="510"/>
                    </a:lnTo>
                    <a:lnTo>
                      <a:pt x="281" y="508"/>
                    </a:lnTo>
                    <a:lnTo>
                      <a:pt x="279" y="508"/>
                    </a:lnTo>
                    <a:lnTo>
                      <a:pt x="279" y="510"/>
                    </a:lnTo>
                    <a:lnTo>
                      <a:pt x="278" y="508"/>
                    </a:lnTo>
                    <a:lnTo>
                      <a:pt x="278" y="510"/>
                    </a:lnTo>
                    <a:lnTo>
                      <a:pt x="276" y="510"/>
                    </a:lnTo>
                    <a:lnTo>
                      <a:pt x="278" y="508"/>
                    </a:lnTo>
                    <a:lnTo>
                      <a:pt x="276" y="508"/>
                    </a:lnTo>
                    <a:lnTo>
                      <a:pt x="276" y="510"/>
                    </a:lnTo>
                    <a:lnTo>
                      <a:pt x="274" y="510"/>
                    </a:lnTo>
                    <a:lnTo>
                      <a:pt x="274" y="508"/>
                    </a:lnTo>
                    <a:lnTo>
                      <a:pt x="274" y="510"/>
                    </a:lnTo>
                    <a:lnTo>
                      <a:pt x="272" y="508"/>
                    </a:lnTo>
                    <a:lnTo>
                      <a:pt x="272" y="510"/>
                    </a:lnTo>
                    <a:lnTo>
                      <a:pt x="272" y="508"/>
                    </a:lnTo>
                    <a:lnTo>
                      <a:pt x="272" y="510"/>
                    </a:lnTo>
                    <a:lnTo>
                      <a:pt x="271" y="510"/>
                    </a:lnTo>
                    <a:lnTo>
                      <a:pt x="269" y="510"/>
                    </a:lnTo>
                    <a:lnTo>
                      <a:pt x="269" y="512"/>
                    </a:lnTo>
                    <a:lnTo>
                      <a:pt x="269" y="510"/>
                    </a:lnTo>
                    <a:lnTo>
                      <a:pt x="267" y="510"/>
                    </a:lnTo>
                    <a:lnTo>
                      <a:pt x="267" y="512"/>
                    </a:lnTo>
                    <a:lnTo>
                      <a:pt x="267" y="510"/>
                    </a:lnTo>
                    <a:lnTo>
                      <a:pt x="266" y="510"/>
                    </a:lnTo>
                    <a:lnTo>
                      <a:pt x="264" y="510"/>
                    </a:lnTo>
                    <a:lnTo>
                      <a:pt x="264" y="512"/>
                    </a:lnTo>
                    <a:lnTo>
                      <a:pt x="262" y="512"/>
                    </a:lnTo>
                    <a:lnTo>
                      <a:pt x="262" y="510"/>
                    </a:lnTo>
                    <a:lnTo>
                      <a:pt x="262" y="512"/>
                    </a:lnTo>
                    <a:lnTo>
                      <a:pt x="261" y="512"/>
                    </a:lnTo>
                    <a:lnTo>
                      <a:pt x="259" y="512"/>
                    </a:lnTo>
                    <a:lnTo>
                      <a:pt x="259" y="513"/>
                    </a:lnTo>
                    <a:lnTo>
                      <a:pt x="257" y="513"/>
                    </a:lnTo>
                    <a:lnTo>
                      <a:pt x="255" y="513"/>
                    </a:lnTo>
                    <a:lnTo>
                      <a:pt x="257" y="513"/>
                    </a:lnTo>
                    <a:lnTo>
                      <a:pt x="255" y="513"/>
                    </a:lnTo>
                    <a:lnTo>
                      <a:pt x="254" y="513"/>
                    </a:lnTo>
                    <a:lnTo>
                      <a:pt x="252" y="513"/>
                    </a:lnTo>
                    <a:lnTo>
                      <a:pt x="250" y="513"/>
                    </a:lnTo>
                    <a:lnTo>
                      <a:pt x="249" y="513"/>
                    </a:lnTo>
                    <a:lnTo>
                      <a:pt x="249" y="515"/>
                    </a:lnTo>
                    <a:lnTo>
                      <a:pt x="247" y="515"/>
                    </a:lnTo>
                    <a:lnTo>
                      <a:pt x="247" y="517"/>
                    </a:lnTo>
                    <a:lnTo>
                      <a:pt x="245" y="517"/>
                    </a:lnTo>
                    <a:lnTo>
                      <a:pt x="244" y="519"/>
                    </a:lnTo>
                    <a:lnTo>
                      <a:pt x="242" y="519"/>
                    </a:lnTo>
                    <a:lnTo>
                      <a:pt x="242" y="520"/>
                    </a:lnTo>
                    <a:lnTo>
                      <a:pt x="240" y="520"/>
                    </a:lnTo>
                    <a:lnTo>
                      <a:pt x="240" y="522"/>
                    </a:lnTo>
                    <a:lnTo>
                      <a:pt x="238" y="522"/>
                    </a:lnTo>
                    <a:lnTo>
                      <a:pt x="240" y="522"/>
                    </a:lnTo>
                    <a:lnTo>
                      <a:pt x="238" y="522"/>
                    </a:lnTo>
                    <a:lnTo>
                      <a:pt x="238" y="524"/>
                    </a:lnTo>
                    <a:lnTo>
                      <a:pt x="237" y="524"/>
                    </a:lnTo>
                    <a:lnTo>
                      <a:pt x="237" y="525"/>
                    </a:lnTo>
                    <a:lnTo>
                      <a:pt x="235" y="527"/>
                    </a:lnTo>
                    <a:lnTo>
                      <a:pt x="233" y="527"/>
                    </a:lnTo>
                    <a:lnTo>
                      <a:pt x="232" y="527"/>
                    </a:lnTo>
                    <a:lnTo>
                      <a:pt x="232" y="529"/>
                    </a:lnTo>
                    <a:lnTo>
                      <a:pt x="230" y="529"/>
                    </a:lnTo>
                    <a:lnTo>
                      <a:pt x="228" y="529"/>
                    </a:lnTo>
                    <a:lnTo>
                      <a:pt x="227" y="529"/>
                    </a:lnTo>
                    <a:lnTo>
                      <a:pt x="225" y="529"/>
                    </a:lnTo>
                    <a:lnTo>
                      <a:pt x="227" y="529"/>
                    </a:lnTo>
                    <a:lnTo>
                      <a:pt x="227" y="530"/>
                    </a:lnTo>
                    <a:lnTo>
                      <a:pt x="225" y="530"/>
                    </a:lnTo>
                    <a:lnTo>
                      <a:pt x="223" y="530"/>
                    </a:lnTo>
                    <a:lnTo>
                      <a:pt x="221" y="530"/>
                    </a:lnTo>
                    <a:lnTo>
                      <a:pt x="223" y="530"/>
                    </a:lnTo>
                    <a:lnTo>
                      <a:pt x="223" y="532"/>
                    </a:lnTo>
                    <a:lnTo>
                      <a:pt x="221" y="532"/>
                    </a:lnTo>
                    <a:lnTo>
                      <a:pt x="221" y="534"/>
                    </a:lnTo>
                    <a:lnTo>
                      <a:pt x="221" y="532"/>
                    </a:lnTo>
                    <a:lnTo>
                      <a:pt x="220" y="534"/>
                    </a:lnTo>
                    <a:lnTo>
                      <a:pt x="218" y="534"/>
                    </a:lnTo>
                    <a:lnTo>
                      <a:pt x="216" y="536"/>
                    </a:lnTo>
                    <a:lnTo>
                      <a:pt x="216" y="537"/>
                    </a:lnTo>
                    <a:lnTo>
                      <a:pt x="215" y="537"/>
                    </a:lnTo>
                    <a:lnTo>
                      <a:pt x="215" y="539"/>
                    </a:lnTo>
                    <a:lnTo>
                      <a:pt x="213" y="537"/>
                    </a:lnTo>
                    <a:lnTo>
                      <a:pt x="213" y="539"/>
                    </a:lnTo>
                    <a:lnTo>
                      <a:pt x="213" y="541"/>
                    </a:lnTo>
                    <a:lnTo>
                      <a:pt x="213" y="542"/>
                    </a:lnTo>
                    <a:lnTo>
                      <a:pt x="211" y="542"/>
                    </a:lnTo>
                    <a:lnTo>
                      <a:pt x="211" y="541"/>
                    </a:lnTo>
                    <a:lnTo>
                      <a:pt x="210" y="541"/>
                    </a:lnTo>
                    <a:lnTo>
                      <a:pt x="208" y="539"/>
                    </a:lnTo>
                    <a:lnTo>
                      <a:pt x="206" y="539"/>
                    </a:lnTo>
                    <a:lnTo>
                      <a:pt x="204" y="541"/>
                    </a:lnTo>
                    <a:lnTo>
                      <a:pt x="204" y="539"/>
                    </a:lnTo>
                    <a:lnTo>
                      <a:pt x="203" y="541"/>
                    </a:lnTo>
                    <a:lnTo>
                      <a:pt x="203" y="539"/>
                    </a:lnTo>
                    <a:lnTo>
                      <a:pt x="201" y="541"/>
                    </a:lnTo>
                    <a:lnTo>
                      <a:pt x="199" y="541"/>
                    </a:lnTo>
                    <a:lnTo>
                      <a:pt x="199" y="542"/>
                    </a:lnTo>
                    <a:lnTo>
                      <a:pt x="199" y="544"/>
                    </a:lnTo>
                    <a:lnTo>
                      <a:pt x="198" y="544"/>
                    </a:lnTo>
                    <a:lnTo>
                      <a:pt x="198" y="546"/>
                    </a:lnTo>
                    <a:lnTo>
                      <a:pt x="196" y="547"/>
                    </a:lnTo>
                    <a:lnTo>
                      <a:pt x="196" y="549"/>
                    </a:lnTo>
                    <a:lnTo>
                      <a:pt x="194" y="549"/>
                    </a:lnTo>
                    <a:lnTo>
                      <a:pt x="194" y="551"/>
                    </a:lnTo>
                    <a:lnTo>
                      <a:pt x="193" y="551"/>
                    </a:lnTo>
                    <a:lnTo>
                      <a:pt x="193" y="553"/>
                    </a:lnTo>
                    <a:lnTo>
                      <a:pt x="191" y="553"/>
                    </a:lnTo>
                    <a:lnTo>
                      <a:pt x="189" y="553"/>
                    </a:lnTo>
                    <a:lnTo>
                      <a:pt x="189" y="554"/>
                    </a:lnTo>
                    <a:lnTo>
                      <a:pt x="189" y="553"/>
                    </a:lnTo>
                    <a:lnTo>
                      <a:pt x="187" y="553"/>
                    </a:lnTo>
                    <a:lnTo>
                      <a:pt x="187" y="554"/>
                    </a:lnTo>
                    <a:lnTo>
                      <a:pt x="186" y="553"/>
                    </a:lnTo>
                    <a:lnTo>
                      <a:pt x="186" y="554"/>
                    </a:lnTo>
                    <a:lnTo>
                      <a:pt x="184" y="554"/>
                    </a:lnTo>
                    <a:lnTo>
                      <a:pt x="184" y="556"/>
                    </a:lnTo>
                    <a:lnTo>
                      <a:pt x="179" y="558"/>
                    </a:lnTo>
                    <a:lnTo>
                      <a:pt x="179" y="556"/>
                    </a:lnTo>
                    <a:lnTo>
                      <a:pt x="177" y="554"/>
                    </a:lnTo>
                    <a:lnTo>
                      <a:pt x="177" y="553"/>
                    </a:lnTo>
                    <a:lnTo>
                      <a:pt x="177" y="551"/>
                    </a:lnTo>
                    <a:lnTo>
                      <a:pt x="176" y="553"/>
                    </a:lnTo>
                    <a:lnTo>
                      <a:pt x="176" y="551"/>
                    </a:lnTo>
                    <a:lnTo>
                      <a:pt x="176" y="553"/>
                    </a:lnTo>
                    <a:lnTo>
                      <a:pt x="174" y="551"/>
                    </a:lnTo>
                    <a:lnTo>
                      <a:pt x="174" y="553"/>
                    </a:lnTo>
                    <a:lnTo>
                      <a:pt x="172" y="553"/>
                    </a:lnTo>
                    <a:lnTo>
                      <a:pt x="174" y="553"/>
                    </a:lnTo>
                    <a:lnTo>
                      <a:pt x="172" y="553"/>
                    </a:lnTo>
                    <a:lnTo>
                      <a:pt x="170" y="553"/>
                    </a:lnTo>
                    <a:lnTo>
                      <a:pt x="170" y="551"/>
                    </a:lnTo>
                    <a:lnTo>
                      <a:pt x="169" y="551"/>
                    </a:lnTo>
                    <a:lnTo>
                      <a:pt x="169" y="553"/>
                    </a:lnTo>
                    <a:lnTo>
                      <a:pt x="169" y="551"/>
                    </a:lnTo>
                    <a:lnTo>
                      <a:pt x="167" y="551"/>
                    </a:lnTo>
                    <a:lnTo>
                      <a:pt x="165" y="551"/>
                    </a:lnTo>
                    <a:lnTo>
                      <a:pt x="164" y="551"/>
                    </a:lnTo>
                    <a:lnTo>
                      <a:pt x="162" y="549"/>
                    </a:lnTo>
                    <a:lnTo>
                      <a:pt x="162" y="551"/>
                    </a:lnTo>
                    <a:lnTo>
                      <a:pt x="162" y="549"/>
                    </a:lnTo>
                    <a:lnTo>
                      <a:pt x="160" y="549"/>
                    </a:lnTo>
                    <a:lnTo>
                      <a:pt x="160" y="551"/>
                    </a:lnTo>
                    <a:lnTo>
                      <a:pt x="160" y="549"/>
                    </a:lnTo>
                    <a:lnTo>
                      <a:pt x="159" y="549"/>
                    </a:lnTo>
                    <a:lnTo>
                      <a:pt x="157" y="551"/>
                    </a:lnTo>
                    <a:lnTo>
                      <a:pt x="157" y="549"/>
                    </a:lnTo>
                    <a:lnTo>
                      <a:pt x="157" y="551"/>
                    </a:lnTo>
                    <a:lnTo>
                      <a:pt x="155" y="549"/>
                    </a:lnTo>
                    <a:lnTo>
                      <a:pt x="153" y="549"/>
                    </a:lnTo>
                    <a:lnTo>
                      <a:pt x="153" y="551"/>
                    </a:lnTo>
                    <a:lnTo>
                      <a:pt x="152" y="549"/>
                    </a:lnTo>
                    <a:lnTo>
                      <a:pt x="150" y="549"/>
                    </a:lnTo>
                    <a:lnTo>
                      <a:pt x="150" y="551"/>
                    </a:lnTo>
                    <a:lnTo>
                      <a:pt x="150" y="549"/>
                    </a:lnTo>
                    <a:close/>
                    <a:moveTo>
                      <a:pt x="1401" y="308"/>
                    </a:moveTo>
                    <a:lnTo>
                      <a:pt x="1405" y="308"/>
                    </a:lnTo>
                    <a:lnTo>
                      <a:pt x="1405" y="309"/>
                    </a:lnTo>
                    <a:lnTo>
                      <a:pt x="1401" y="309"/>
                    </a:lnTo>
                    <a:lnTo>
                      <a:pt x="1401" y="308"/>
                    </a:lnTo>
                    <a:close/>
                    <a:moveTo>
                      <a:pt x="847" y="234"/>
                    </a:moveTo>
                    <a:lnTo>
                      <a:pt x="849" y="234"/>
                    </a:lnTo>
                    <a:lnTo>
                      <a:pt x="849" y="236"/>
                    </a:lnTo>
                    <a:lnTo>
                      <a:pt x="847" y="236"/>
                    </a:lnTo>
                    <a:lnTo>
                      <a:pt x="847" y="234"/>
                    </a:lnTo>
                    <a:close/>
                    <a:moveTo>
                      <a:pt x="847" y="231"/>
                    </a:moveTo>
                    <a:lnTo>
                      <a:pt x="849" y="231"/>
                    </a:lnTo>
                    <a:lnTo>
                      <a:pt x="847" y="231"/>
                    </a:lnTo>
                    <a:close/>
                    <a:moveTo>
                      <a:pt x="859" y="223"/>
                    </a:moveTo>
                    <a:lnTo>
                      <a:pt x="861" y="223"/>
                    </a:lnTo>
                    <a:lnTo>
                      <a:pt x="861" y="224"/>
                    </a:lnTo>
                    <a:lnTo>
                      <a:pt x="859" y="224"/>
                    </a:lnTo>
                    <a:lnTo>
                      <a:pt x="859" y="223"/>
                    </a:lnTo>
                    <a:close/>
                    <a:moveTo>
                      <a:pt x="859" y="221"/>
                    </a:moveTo>
                    <a:lnTo>
                      <a:pt x="861" y="221"/>
                    </a:lnTo>
                    <a:lnTo>
                      <a:pt x="861" y="223"/>
                    </a:lnTo>
                    <a:lnTo>
                      <a:pt x="859" y="223"/>
                    </a:lnTo>
                    <a:lnTo>
                      <a:pt x="859" y="221"/>
                    </a:lnTo>
                    <a:close/>
                    <a:moveTo>
                      <a:pt x="859" y="221"/>
                    </a:moveTo>
                    <a:lnTo>
                      <a:pt x="861" y="221"/>
                    </a:lnTo>
                    <a:lnTo>
                      <a:pt x="861" y="223"/>
                    </a:lnTo>
                    <a:lnTo>
                      <a:pt x="859" y="223"/>
                    </a:lnTo>
                    <a:lnTo>
                      <a:pt x="859" y="221"/>
                    </a:lnTo>
                    <a:close/>
                    <a:moveTo>
                      <a:pt x="861" y="219"/>
                    </a:moveTo>
                    <a:lnTo>
                      <a:pt x="861" y="221"/>
                    </a:lnTo>
                    <a:lnTo>
                      <a:pt x="861" y="219"/>
                    </a:lnTo>
                    <a:close/>
                    <a:moveTo>
                      <a:pt x="859" y="219"/>
                    </a:moveTo>
                    <a:lnTo>
                      <a:pt x="861" y="219"/>
                    </a:lnTo>
                    <a:lnTo>
                      <a:pt x="861" y="221"/>
                    </a:lnTo>
                    <a:lnTo>
                      <a:pt x="859" y="221"/>
                    </a:lnTo>
                    <a:lnTo>
                      <a:pt x="859" y="219"/>
                    </a:lnTo>
                    <a:close/>
                    <a:moveTo>
                      <a:pt x="930" y="209"/>
                    </a:moveTo>
                    <a:lnTo>
                      <a:pt x="932" y="209"/>
                    </a:lnTo>
                    <a:lnTo>
                      <a:pt x="932" y="211"/>
                    </a:lnTo>
                    <a:lnTo>
                      <a:pt x="930" y="211"/>
                    </a:lnTo>
                    <a:lnTo>
                      <a:pt x="930" y="209"/>
                    </a:lnTo>
                    <a:close/>
                    <a:moveTo>
                      <a:pt x="934" y="209"/>
                    </a:moveTo>
                    <a:lnTo>
                      <a:pt x="935" y="209"/>
                    </a:lnTo>
                    <a:lnTo>
                      <a:pt x="935" y="212"/>
                    </a:lnTo>
                    <a:lnTo>
                      <a:pt x="934" y="212"/>
                    </a:lnTo>
                    <a:lnTo>
                      <a:pt x="934" y="209"/>
                    </a:lnTo>
                    <a:close/>
                    <a:moveTo>
                      <a:pt x="920" y="204"/>
                    </a:moveTo>
                    <a:lnTo>
                      <a:pt x="922" y="204"/>
                    </a:lnTo>
                    <a:lnTo>
                      <a:pt x="920" y="204"/>
                    </a:lnTo>
                    <a:close/>
                    <a:moveTo>
                      <a:pt x="896" y="202"/>
                    </a:moveTo>
                    <a:lnTo>
                      <a:pt x="896" y="204"/>
                    </a:lnTo>
                    <a:lnTo>
                      <a:pt x="896" y="202"/>
                    </a:lnTo>
                    <a:close/>
                    <a:moveTo>
                      <a:pt x="878" y="200"/>
                    </a:moveTo>
                    <a:lnTo>
                      <a:pt x="878" y="202"/>
                    </a:lnTo>
                    <a:lnTo>
                      <a:pt x="878" y="200"/>
                    </a:lnTo>
                    <a:close/>
                    <a:moveTo>
                      <a:pt x="878" y="200"/>
                    </a:moveTo>
                    <a:lnTo>
                      <a:pt x="879" y="200"/>
                    </a:lnTo>
                    <a:lnTo>
                      <a:pt x="878" y="200"/>
                    </a:lnTo>
                    <a:close/>
                    <a:moveTo>
                      <a:pt x="883" y="199"/>
                    </a:moveTo>
                    <a:lnTo>
                      <a:pt x="884" y="199"/>
                    </a:lnTo>
                    <a:lnTo>
                      <a:pt x="884" y="200"/>
                    </a:lnTo>
                    <a:lnTo>
                      <a:pt x="883" y="200"/>
                    </a:lnTo>
                    <a:lnTo>
                      <a:pt x="883" y="199"/>
                    </a:lnTo>
                    <a:close/>
                    <a:moveTo>
                      <a:pt x="884" y="197"/>
                    </a:moveTo>
                    <a:lnTo>
                      <a:pt x="884" y="199"/>
                    </a:lnTo>
                    <a:lnTo>
                      <a:pt x="884" y="197"/>
                    </a:lnTo>
                    <a:close/>
                    <a:moveTo>
                      <a:pt x="784" y="190"/>
                    </a:moveTo>
                    <a:lnTo>
                      <a:pt x="782" y="190"/>
                    </a:lnTo>
                    <a:lnTo>
                      <a:pt x="781" y="190"/>
                    </a:lnTo>
                    <a:lnTo>
                      <a:pt x="779" y="190"/>
                    </a:lnTo>
                    <a:lnTo>
                      <a:pt x="779" y="189"/>
                    </a:lnTo>
                    <a:lnTo>
                      <a:pt x="781" y="189"/>
                    </a:lnTo>
                    <a:lnTo>
                      <a:pt x="782" y="187"/>
                    </a:lnTo>
                    <a:lnTo>
                      <a:pt x="784" y="187"/>
                    </a:lnTo>
                    <a:lnTo>
                      <a:pt x="784" y="185"/>
                    </a:lnTo>
                    <a:lnTo>
                      <a:pt x="784" y="187"/>
                    </a:lnTo>
                    <a:lnTo>
                      <a:pt x="784" y="189"/>
                    </a:lnTo>
                    <a:lnTo>
                      <a:pt x="784" y="190"/>
                    </a:lnTo>
                    <a:close/>
                    <a:moveTo>
                      <a:pt x="844" y="183"/>
                    </a:moveTo>
                    <a:lnTo>
                      <a:pt x="845" y="183"/>
                    </a:lnTo>
                    <a:lnTo>
                      <a:pt x="844" y="183"/>
                    </a:lnTo>
                    <a:close/>
                    <a:moveTo>
                      <a:pt x="793" y="183"/>
                    </a:moveTo>
                    <a:lnTo>
                      <a:pt x="794" y="183"/>
                    </a:lnTo>
                    <a:lnTo>
                      <a:pt x="793" y="183"/>
                    </a:lnTo>
                    <a:close/>
                    <a:moveTo>
                      <a:pt x="845" y="183"/>
                    </a:moveTo>
                    <a:lnTo>
                      <a:pt x="849" y="183"/>
                    </a:lnTo>
                    <a:lnTo>
                      <a:pt x="849" y="185"/>
                    </a:lnTo>
                    <a:lnTo>
                      <a:pt x="845" y="185"/>
                    </a:lnTo>
                    <a:lnTo>
                      <a:pt x="845" y="183"/>
                    </a:lnTo>
                    <a:close/>
                    <a:moveTo>
                      <a:pt x="839" y="182"/>
                    </a:moveTo>
                    <a:lnTo>
                      <a:pt x="840" y="182"/>
                    </a:lnTo>
                    <a:lnTo>
                      <a:pt x="840" y="183"/>
                    </a:lnTo>
                    <a:lnTo>
                      <a:pt x="839" y="183"/>
                    </a:lnTo>
                    <a:lnTo>
                      <a:pt x="839" y="182"/>
                    </a:lnTo>
                    <a:close/>
                    <a:moveTo>
                      <a:pt x="796" y="178"/>
                    </a:moveTo>
                    <a:lnTo>
                      <a:pt x="798" y="178"/>
                    </a:lnTo>
                    <a:lnTo>
                      <a:pt x="798" y="180"/>
                    </a:lnTo>
                    <a:lnTo>
                      <a:pt x="796" y="180"/>
                    </a:lnTo>
                    <a:lnTo>
                      <a:pt x="796" y="178"/>
                    </a:lnTo>
                    <a:close/>
                    <a:moveTo>
                      <a:pt x="789" y="178"/>
                    </a:moveTo>
                    <a:lnTo>
                      <a:pt x="791" y="178"/>
                    </a:lnTo>
                    <a:lnTo>
                      <a:pt x="791" y="180"/>
                    </a:lnTo>
                    <a:lnTo>
                      <a:pt x="789" y="180"/>
                    </a:lnTo>
                    <a:lnTo>
                      <a:pt x="789" y="178"/>
                    </a:lnTo>
                    <a:close/>
                    <a:moveTo>
                      <a:pt x="788" y="178"/>
                    </a:moveTo>
                    <a:lnTo>
                      <a:pt x="789" y="178"/>
                    </a:lnTo>
                    <a:lnTo>
                      <a:pt x="789" y="180"/>
                    </a:lnTo>
                    <a:lnTo>
                      <a:pt x="788" y="180"/>
                    </a:lnTo>
                    <a:lnTo>
                      <a:pt x="788" y="178"/>
                    </a:lnTo>
                    <a:close/>
                    <a:moveTo>
                      <a:pt x="789" y="178"/>
                    </a:moveTo>
                    <a:lnTo>
                      <a:pt x="791" y="178"/>
                    </a:lnTo>
                    <a:lnTo>
                      <a:pt x="789" y="178"/>
                    </a:lnTo>
                    <a:close/>
                    <a:moveTo>
                      <a:pt x="786" y="177"/>
                    </a:moveTo>
                    <a:lnTo>
                      <a:pt x="788" y="177"/>
                    </a:lnTo>
                    <a:lnTo>
                      <a:pt x="788" y="178"/>
                    </a:lnTo>
                    <a:lnTo>
                      <a:pt x="786" y="178"/>
                    </a:lnTo>
                    <a:lnTo>
                      <a:pt x="786" y="177"/>
                    </a:lnTo>
                    <a:close/>
                    <a:moveTo>
                      <a:pt x="779" y="177"/>
                    </a:moveTo>
                    <a:lnTo>
                      <a:pt x="781" y="177"/>
                    </a:lnTo>
                    <a:lnTo>
                      <a:pt x="779" y="177"/>
                    </a:lnTo>
                    <a:close/>
                    <a:moveTo>
                      <a:pt x="784" y="177"/>
                    </a:moveTo>
                    <a:lnTo>
                      <a:pt x="786" y="177"/>
                    </a:lnTo>
                    <a:lnTo>
                      <a:pt x="786" y="178"/>
                    </a:lnTo>
                    <a:lnTo>
                      <a:pt x="784" y="178"/>
                    </a:lnTo>
                    <a:lnTo>
                      <a:pt x="782" y="178"/>
                    </a:lnTo>
                    <a:lnTo>
                      <a:pt x="781" y="178"/>
                    </a:lnTo>
                    <a:lnTo>
                      <a:pt x="779" y="178"/>
                    </a:lnTo>
                    <a:lnTo>
                      <a:pt x="779" y="180"/>
                    </a:lnTo>
                    <a:lnTo>
                      <a:pt x="779" y="178"/>
                    </a:lnTo>
                    <a:lnTo>
                      <a:pt x="777" y="180"/>
                    </a:lnTo>
                    <a:lnTo>
                      <a:pt x="777" y="178"/>
                    </a:lnTo>
                    <a:lnTo>
                      <a:pt x="779" y="178"/>
                    </a:lnTo>
                    <a:lnTo>
                      <a:pt x="781" y="178"/>
                    </a:lnTo>
                    <a:lnTo>
                      <a:pt x="781" y="177"/>
                    </a:lnTo>
                    <a:lnTo>
                      <a:pt x="782" y="177"/>
                    </a:lnTo>
                    <a:lnTo>
                      <a:pt x="784" y="177"/>
                    </a:lnTo>
                    <a:close/>
                    <a:moveTo>
                      <a:pt x="825" y="175"/>
                    </a:moveTo>
                    <a:lnTo>
                      <a:pt x="827" y="175"/>
                    </a:lnTo>
                    <a:lnTo>
                      <a:pt x="828" y="175"/>
                    </a:lnTo>
                    <a:lnTo>
                      <a:pt x="830" y="175"/>
                    </a:lnTo>
                    <a:lnTo>
                      <a:pt x="830" y="177"/>
                    </a:lnTo>
                    <a:lnTo>
                      <a:pt x="832" y="177"/>
                    </a:lnTo>
                    <a:lnTo>
                      <a:pt x="830" y="177"/>
                    </a:lnTo>
                    <a:lnTo>
                      <a:pt x="832" y="177"/>
                    </a:lnTo>
                    <a:lnTo>
                      <a:pt x="832" y="178"/>
                    </a:lnTo>
                    <a:lnTo>
                      <a:pt x="832" y="180"/>
                    </a:lnTo>
                    <a:lnTo>
                      <a:pt x="830" y="180"/>
                    </a:lnTo>
                    <a:lnTo>
                      <a:pt x="828" y="182"/>
                    </a:lnTo>
                    <a:lnTo>
                      <a:pt x="827" y="182"/>
                    </a:lnTo>
                    <a:lnTo>
                      <a:pt x="825" y="182"/>
                    </a:lnTo>
                    <a:lnTo>
                      <a:pt x="823" y="182"/>
                    </a:lnTo>
                    <a:lnTo>
                      <a:pt x="822" y="182"/>
                    </a:lnTo>
                    <a:lnTo>
                      <a:pt x="822" y="183"/>
                    </a:lnTo>
                    <a:lnTo>
                      <a:pt x="820" y="182"/>
                    </a:lnTo>
                    <a:lnTo>
                      <a:pt x="818" y="182"/>
                    </a:lnTo>
                    <a:lnTo>
                      <a:pt x="816" y="182"/>
                    </a:lnTo>
                    <a:lnTo>
                      <a:pt x="816" y="180"/>
                    </a:lnTo>
                    <a:lnTo>
                      <a:pt x="816" y="178"/>
                    </a:lnTo>
                    <a:lnTo>
                      <a:pt x="818" y="178"/>
                    </a:lnTo>
                    <a:lnTo>
                      <a:pt x="820" y="178"/>
                    </a:lnTo>
                    <a:lnTo>
                      <a:pt x="820" y="177"/>
                    </a:lnTo>
                    <a:lnTo>
                      <a:pt x="822" y="177"/>
                    </a:lnTo>
                    <a:lnTo>
                      <a:pt x="823" y="175"/>
                    </a:lnTo>
                    <a:lnTo>
                      <a:pt x="825" y="175"/>
                    </a:lnTo>
                    <a:close/>
                    <a:moveTo>
                      <a:pt x="827" y="173"/>
                    </a:moveTo>
                    <a:lnTo>
                      <a:pt x="828" y="173"/>
                    </a:lnTo>
                    <a:lnTo>
                      <a:pt x="828" y="175"/>
                    </a:lnTo>
                    <a:lnTo>
                      <a:pt x="827" y="175"/>
                    </a:lnTo>
                    <a:lnTo>
                      <a:pt x="827" y="173"/>
                    </a:lnTo>
                    <a:close/>
                    <a:moveTo>
                      <a:pt x="818" y="173"/>
                    </a:moveTo>
                    <a:lnTo>
                      <a:pt x="820" y="173"/>
                    </a:lnTo>
                    <a:lnTo>
                      <a:pt x="820" y="175"/>
                    </a:lnTo>
                    <a:lnTo>
                      <a:pt x="818" y="175"/>
                    </a:lnTo>
                    <a:lnTo>
                      <a:pt x="818" y="173"/>
                    </a:lnTo>
                    <a:close/>
                    <a:moveTo>
                      <a:pt x="791" y="172"/>
                    </a:moveTo>
                    <a:lnTo>
                      <a:pt x="793" y="172"/>
                    </a:lnTo>
                    <a:lnTo>
                      <a:pt x="794" y="173"/>
                    </a:lnTo>
                    <a:lnTo>
                      <a:pt x="796" y="173"/>
                    </a:lnTo>
                    <a:lnTo>
                      <a:pt x="794" y="175"/>
                    </a:lnTo>
                    <a:lnTo>
                      <a:pt x="796" y="175"/>
                    </a:lnTo>
                    <a:lnTo>
                      <a:pt x="796" y="177"/>
                    </a:lnTo>
                    <a:lnTo>
                      <a:pt x="796" y="178"/>
                    </a:lnTo>
                    <a:lnTo>
                      <a:pt x="794" y="178"/>
                    </a:lnTo>
                    <a:lnTo>
                      <a:pt x="793" y="178"/>
                    </a:lnTo>
                    <a:lnTo>
                      <a:pt x="791" y="177"/>
                    </a:lnTo>
                    <a:lnTo>
                      <a:pt x="789" y="177"/>
                    </a:lnTo>
                    <a:lnTo>
                      <a:pt x="789" y="175"/>
                    </a:lnTo>
                    <a:lnTo>
                      <a:pt x="788" y="175"/>
                    </a:lnTo>
                    <a:lnTo>
                      <a:pt x="788" y="173"/>
                    </a:lnTo>
                    <a:lnTo>
                      <a:pt x="788" y="172"/>
                    </a:lnTo>
                    <a:lnTo>
                      <a:pt x="789" y="172"/>
                    </a:lnTo>
                    <a:lnTo>
                      <a:pt x="791" y="172"/>
                    </a:lnTo>
                    <a:close/>
                    <a:moveTo>
                      <a:pt x="788" y="172"/>
                    </a:moveTo>
                    <a:lnTo>
                      <a:pt x="789" y="172"/>
                    </a:lnTo>
                    <a:lnTo>
                      <a:pt x="788" y="172"/>
                    </a:lnTo>
                    <a:close/>
                    <a:moveTo>
                      <a:pt x="822" y="172"/>
                    </a:moveTo>
                    <a:lnTo>
                      <a:pt x="823" y="172"/>
                    </a:lnTo>
                    <a:lnTo>
                      <a:pt x="823" y="173"/>
                    </a:lnTo>
                    <a:lnTo>
                      <a:pt x="822" y="173"/>
                    </a:lnTo>
                    <a:lnTo>
                      <a:pt x="822" y="172"/>
                    </a:lnTo>
                    <a:close/>
                    <a:moveTo>
                      <a:pt x="789" y="172"/>
                    </a:moveTo>
                    <a:lnTo>
                      <a:pt x="791" y="172"/>
                    </a:lnTo>
                    <a:lnTo>
                      <a:pt x="789" y="172"/>
                    </a:lnTo>
                    <a:close/>
                    <a:moveTo>
                      <a:pt x="823" y="170"/>
                    </a:moveTo>
                    <a:lnTo>
                      <a:pt x="825" y="170"/>
                    </a:lnTo>
                    <a:lnTo>
                      <a:pt x="825" y="172"/>
                    </a:lnTo>
                    <a:lnTo>
                      <a:pt x="823" y="172"/>
                    </a:lnTo>
                    <a:lnTo>
                      <a:pt x="823" y="170"/>
                    </a:lnTo>
                    <a:close/>
                    <a:moveTo>
                      <a:pt x="806" y="168"/>
                    </a:moveTo>
                    <a:lnTo>
                      <a:pt x="806" y="170"/>
                    </a:lnTo>
                    <a:lnTo>
                      <a:pt x="805" y="170"/>
                    </a:lnTo>
                    <a:lnTo>
                      <a:pt x="803" y="170"/>
                    </a:lnTo>
                    <a:lnTo>
                      <a:pt x="803" y="168"/>
                    </a:lnTo>
                    <a:lnTo>
                      <a:pt x="805" y="168"/>
                    </a:lnTo>
                    <a:lnTo>
                      <a:pt x="805" y="166"/>
                    </a:lnTo>
                    <a:lnTo>
                      <a:pt x="806" y="166"/>
                    </a:lnTo>
                    <a:lnTo>
                      <a:pt x="808" y="166"/>
                    </a:lnTo>
                    <a:lnTo>
                      <a:pt x="808" y="168"/>
                    </a:lnTo>
                    <a:lnTo>
                      <a:pt x="806" y="168"/>
                    </a:lnTo>
                    <a:close/>
                    <a:moveTo>
                      <a:pt x="825" y="165"/>
                    </a:moveTo>
                    <a:lnTo>
                      <a:pt x="825" y="166"/>
                    </a:lnTo>
                    <a:lnTo>
                      <a:pt x="827" y="166"/>
                    </a:lnTo>
                    <a:lnTo>
                      <a:pt x="825" y="166"/>
                    </a:lnTo>
                    <a:lnTo>
                      <a:pt x="825" y="168"/>
                    </a:lnTo>
                    <a:lnTo>
                      <a:pt x="823" y="168"/>
                    </a:lnTo>
                    <a:lnTo>
                      <a:pt x="823" y="170"/>
                    </a:lnTo>
                    <a:lnTo>
                      <a:pt x="822" y="170"/>
                    </a:lnTo>
                    <a:lnTo>
                      <a:pt x="822" y="172"/>
                    </a:lnTo>
                    <a:lnTo>
                      <a:pt x="820" y="172"/>
                    </a:lnTo>
                    <a:lnTo>
                      <a:pt x="820" y="173"/>
                    </a:lnTo>
                    <a:lnTo>
                      <a:pt x="818" y="173"/>
                    </a:lnTo>
                    <a:lnTo>
                      <a:pt x="818" y="175"/>
                    </a:lnTo>
                    <a:lnTo>
                      <a:pt x="816" y="175"/>
                    </a:lnTo>
                    <a:lnTo>
                      <a:pt x="816" y="177"/>
                    </a:lnTo>
                    <a:lnTo>
                      <a:pt x="815" y="177"/>
                    </a:lnTo>
                    <a:lnTo>
                      <a:pt x="815" y="178"/>
                    </a:lnTo>
                    <a:lnTo>
                      <a:pt x="813" y="178"/>
                    </a:lnTo>
                    <a:lnTo>
                      <a:pt x="811" y="178"/>
                    </a:lnTo>
                    <a:lnTo>
                      <a:pt x="811" y="180"/>
                    </a:lnTo>
                    <a:lnTo>
                      <a:pt x="810" y="180"/>
                    </a:lnTo>
                    <a:lnTo>
                      <a:pt x="810" y="178"/>
                    </a:lnTo>
                    <a:lnTo>
                      <a:pt x="808" y="177"/>
                    </a:lnTo>
                    <a:lnTo>
                      <a:pt x="806" y="177"/>
                    </a:lnTo>
                    <a:lnTo>
                      <a:pt x="805" y="177"/>
                    </a:lnTo>
                    <a:lnTo>
                      <a:pt x="803" y="177"/>
                    </a:lnTo>
                    <a:lnTo>
                      <a:pt x="801" y="177"/>
                    </a:lnTo>
                    <a:lnTo>
                      <a:pt x="799" y="177"/>
                    </a:lnTo>
                    <a:lnTo>
                      <a:pt x="798" y="177"/>
                    </a:lnTo>
                    <a:lnTo>
                      <a:pt x="798" y="175"/>
                    </a:lnTo>
                    <a:lnTo>
                      <a:pt x="798" y="173"/>
                    </a:lnTo>
                    <a:lnTo>
                      <a:pt x="796" y="173"/>
                    </a:lnTo>
                    <a:lnTo>
                      <a:pt x="796" y="172"/>
                    </a:lnTo>
                    <a:lnTo>
                      <a:pt x="798" y="172"/>
                    </a:lnTo>
                    <a:lnTo>
                      <a:pt x="799" y="172"/>
                    </a:lnTo>
                    <a:lnTo>
                      <a:pt x="799" y="170"/>
                    </a:lnTo>
                    <a:lnTo>
                      <a:pt x="801" y="170"/>
                    </a:lnTo>
                    <a:lnTo>
                      <a:pt x="803" y="170"/>
                    </a:lnTo>
                    <a:lnTo>
                      <a:pt x="805" y="170"/>
                    </a:lnTo>
                    <a:lnTo>
                      <a:pt x="806" y="170"/>
                    </a:lnTo>
                    <a:lnTo>
                      <a:pt x="808" y="170"/>
                    </a:lnTo>
                    <a:lnTo>
                      <a:pt x="808" y="168"/>
                    </a:lnTo>
                    <a:lnTo>
                      <a:pt x="808" y="166"/>
                    </a:lnTo>
                    <a:lnTo>
                      <a:pt x="810" y="166"/>
                    </a:lnTo>
                    <a:lnTo>
                      <a:pt x="810" y="168"/>
                    </a:lnTo>
                    <a:lnTo>
                      <a:pt x="810" y="166"/>
                    </a:lnTo>
                    <a:lnTo>
                      <a:pt x="810" y="168"/>
                    </a:lnTo>
                    <a:lnTo>
                      <a:pt x="810" y="166"/>
                    </a:lnTo>
                    <a:lnTo>
                      <a:pt x="811" y="166"/>
                    </a:lnTo>
                    <a:lnTo>
                      <a:pt x="811" y="168"/>
                    </a:lnTo>
                    <a:lnTo>
                      <a:pt x="813" y="168"/>
                    </a:lnTo>
                    <a:lnTo>
                      <a:pt x="815" y="168"/>
                    </a:lnTo>
                    <a:lnTo>
                      <a:pt x="816" y="168"/>
                    </a:lnTo>
                    <a:lnTo>
                      <a:pt x="816" y="166"/>
                    </a:lnTo>
                    <a:lnTo>
                      <a:pt x="818" y="166"/>
                    </a:lnTo>
                    <a:lnTo>
                      <a:pt x="820" y="166"/>
                    </a:lnTo>
                    <a:lnTo>
                      <a:pt x="820" y="165"/>
                    </a:lnTo>
                    <a:lnTo>
                      <a:pt x="822" y="165"/>
                    </a:lnTo>
                    <a:lnTo>
                      <a:pt x="822" y="166"/>
                    </a:lnTo>
                    <a:lnTo>
                      <a:pt x="822" y="165"/>
                    </a:lnTo>
                    <a:lnTo>
                      <a:pt x="823" y="165"/>
                    </a:lnTo>
                    <a:lnTo>
                      <a:pt x="825" y="165"/>
                    </a:lnTo>
                    <a:close/>
                    <a:moveTo>
                      <a:pt x="803" y="156"/>
                    </a:moveTo>
                    <a:lnTo>
                      <a:pt x="805" y="156"/>
                    </a:lnTo>
                    <a:lnTo>
                      <a:pt x="803" y="156"/>
                    </a:lnTo>
                    <a:close/>
                    <a:moveTo>
                      <a:pt x="808" y="156"/>
                    </a:moveTo>
                    <a:lnTo>
                      <a:pt x="808" y="158"/>
                    </a:lnTo>
                    <a:lnTo>
                      <a:pt x="810" y="158"/>
                    </a:lnTo>
                    <a:lnTo>
                      <a:pt x="810" y="160"/>
                    </a:lnTo>
                    <a:lnTo>
                      <a:pt x="808" y="160"/>
                    </a:lnTo>
                    <a:lnTo>
                      <a:pt x="808" y="161"/>
                    </a:lnTo>
                    <a:lnTo>
                      <a:pt x="806" y="161"/>
                    </a:lnTo>
                    <a:lnTo>
                      <a:pt x="806" y="163"/>
                    </a:lnTo>
                    <a:lnTo>
                      <a:pt x="805" y="163"/>
                    </a:lnTo>
                    <a:lnTo>
                      <a:pt x="805" y="165"/>
                    </a:lnTo>
                    <a:lnTo>
                      <a:pt x="803" y="165"/>
                    </a:lnTo>
                    <a:lnTo>
                      <a:pt x="803" y="166"/>
                    </a:lnTo>
                    <a:lnTo>
                      <a:pt x="801" y="166"/>
                    </a:lnTo>
                    <a:lnTo>
                      <a:pt x="799" y="166"/>
                    </a:lnTo>
                    <a:lnTo>
                      <a:pt x="799" y="165"/>
                    </a:lnTo>
                    <a:lnTo>
                      <a:pt x="799" y="163"/>
                    </a:lnTo>
                    <a:lnTo>
                      <a:pt x="799" y="161"/>
                    </a:lnTo>
                    <a:lnTo>
                      <a:pt x="799" y="160"/>
                    </a:lnTo>
                    <a:lnTo>
                      <a:pt x="799" y="158"/>
                    </a:lnTo>
                    <a:lnTo>
                      <a:pt x="801" y="158"/>
                    </a:lnTo>
                    <a:lnTo>
                      <a:pt x="803" y="158"/>
                    </a:lnTo>
                    <a:lnTo>
                      <a:pt x="805" y="158"/>
                    </a:lnTo>
                    <a:lnTo>
                      <a:pt x="806" y="158"/>
                    </a:lnTo>
                    <a:lnTo>
                      <a:pt x="806" y="156"/>
                    </a:lnTo>
                    <a:lnTo>
                      <a:pt x="808" y="156"/>
                    </a:lnTo>
                    <a:close/>
                    <a:moveTo>
                      <a:pt x="799" y="156"/>
                    </a:moveTo>
                    <a:lnTo>
                      <a:pt x="801" y="158"/>
                    </a:lnTo>
                    <a:lnTo>
                      <a:pt x="799" y="158"/>
                    </a:lnTo>
                    <a:lnTo>
                      <a:pt x="799" y="160"/>
                    </a:lnTo>
                    <a:lnTo>
                      <a:pt x="799" y="161"/>
                    </a:lnTo>
                    <a:lnTo>
                      <a:pt x="799" y="163"/>
                    </a:lnTo>
                    <a:lnTo>
                      <a:pt x="799" y="165"/>
                    </a:lnTo>
                    <a:lnTo>
                      <a:pt x="799" y="166"/>
                    </a:lnTo>
                    <a:lnTo>
                      <a:pt x="799" y="168"/>
                    </a:lnTo>
                    <a:lnTo>
                      <a:pt x="799" y="170"/>
                    </a:lnTo>
                    <a:lnTo>
                      <a:pt x="798" y="170"/>
                    </a:lnTo>
                    <a:lnTo>
                      <a:pt x="796" y="170"/>
                    </a:lnTo>
                    <a:lnTo>
                      <a:pt x="796" y="172"/>
                    </a:lnTo>
                    <a:lnTo>
                      <a:pt x="796" y="173"/>
                    </a:lnTo>
                    <a:lnTo>
                      <a:pt x="794" y="172"/>
                    </a:lnTo>
                    <a:lnTo>
                      <a:pt x="793" y="172"/>
                    </a:lnTo>
                    <a:lnTo>
                      <a:pt x="793" y="170"/>
                    </a:lnTo>
                    <a:lnTo>
                      <a:pt x="791" y="170"/>
                    </a:lnTo>
                    <a:lnTo>
                      <a:pt x="793" y="168"/>
                    </a:lnTo>
                    <a:lnTo>
                      <a:pt x="794" y="168"/>
                    </a:lnTo>
                    <a:lnTo>
                      <a:pt x="796" y="165"/>
                    </a:lnTo>
                    <a:lnTo>
                      <a:pt x="796" y="163"/>
                    </a:lnTo>
                    <a:lnTo>
                      <a:pt x="796" y="161"/>
                    </a:lnTo>
                    <a:lnTo>
                      <a:pt x="796" y="160"/>
                    </a:lnTo>
                    <a:lnTo>
                      <a:pt x="796" y="158"/>
                    </a:lnTo>
                    <a:lnTo>
                      <a:pt x="798" y="158"/>
                    </a:lnTo>
                    <a:lnTo>
                      <a:pt x="798" y="156"/>
                    </a:lnTo>
                    <a:lnTo>
                      <a:pt x="799" y="156"/>
                    </a:lnTo>
                    <a:close/>
                    <a:moveTo>
                      <a:pt x="801" y="156"/>
                    </a:moveTo>
                    <a:lnTo>
                      <a:pt x="801" y="158"/>
                    </a:lnTo>
                    <a:lnTo>
                      <a:pt x="801" y="156"/>
                    </a:lnTo>
                    <a:close/>
                    <a:moveTo>
                      <a:pt x="789" y="166"/>
                    </a:moveTo>
                    <a:lnTo>
                      <a:pt x="791" y="166"/>
                    </a:lnTo>
                    <a:lnTo>
                      <a:pt x="791" y="168"/>
                    </a:lnTo>
                    <a:lnTo>
                      <a:pt x="789" y="168"/>
                    </a:lnTo>
                    <a:lnTo>
                      <a:pt x="789" y="166"/>
                    </a:lnTo>
                    <a:close/>
                    <a:moveTo>
                      <a:pt x="801" y="148"/>
                    </a:moveTo>
                    <a:lnTo>
                      <a:pt x="801" y="149"/>
                    </a:lnTo>
                    <a:lnTo>
                      <a:pt x="801" y="148"/>
                    </a:lnTo>
                    <a:close/>
                    <a:moveTo>
                      <a:pt x="810" y="148"/>
                    </a:moveTo>
                    <a:lnTo>
                      <a:pt x="811" y="148"/>
                    </a:lnTo>
                    <a:lnTo>
                      <a:pt x="810" y="148"/>
                    </a:lnTo>
                    <a:close/>
                    <a:moveTo>
                      <a:pt x="810" y="148"/>
                    </a:moveTo>
                    <a:lnTo>
                      <a:pt x="810" y="149"/>
                    </a:lnTo>
                    <a:lnTo>
                      <a:pt x="808" y="149"/>
                    </a:lnTo>
                    <a:lnTo>
                      <a:pt x="810" y="149"/>
                    </a:lnTo>
                    <a:lnTo>
                      <a:pt x="808" y="151"/>
                    </a:lnTo>
                    <a:lnTo>
                      <a:pt x="806" y="153"/>
                    </a:lnTo>
                    <a:lnTo>
                      <a:pt x="805" y="153"/>
                    </a:lnTo>
                    <a:lnTo>
                      <a:pt x="803" y="153"/>
                    </a:lnTo>
                    <a:lnTo>
                      <a:pt x="801" y="153"/>
                    </a:lnTo>
                    <a:lnTo>
                      <a:pt x="801" y="151"/>
                    </a:lnTo>
                    <a:lnTo>
                      <a:pt x="801" y="149"/>
                    </a:lnTo>
                    <a:lnTo>
                      <a:pt x="803" y="148"/>
                    </a:lnTo>
                    <a:lnTo>
                      <a:pt x="805" y="148"/>
                    </a:lnTo>
                    <a:lnTo>
                      <a:pt x="806" y="148"/>
                    </a:lnTo>
                    <a:lnTo>
                      <a:pt x="808" y="148"/>
                    </a:lnTo>
                    <a:lnTo>
                      <a:pt x="810" y="148"/>
                    </a:lnTo>
                    <a:close/>
                    <a:moveTo>
                      <a:pt x="806" y="146"/>
                    </a:moveTo>
                    <a:lnTo>
                      <a:pt x="810" y="146"/>
                    </a:lnTo>
                    <a:lnTo>
                      <a:pt x="810" y="148"/>
                    </a:lnTo>
                    <a:lnTo>
                      <a:pt x="806" y="148"/>
                    </a:lnTo>
                    <a:lnTo>
                      <a:pt x="806" y="146"/>
                    </a:lnTo>
                    <a:close/>
                    <a:moveTo>
                      <a:pt x="805" y="146"/>
                    </a:moveTo>
                    <a:lnTo>
                      <a:pt x="806" y="146"/>
                    </a:lnTo>
                    <a:lnTo>
                      <a:pt x="806" y="148"/>
                    </a:lnTo>
                    <a:lnTo>
                      <a:pt x="805" y="148"/>
                    </a:lnTo>
                    <a:lnTo>
                      <a:pt x="805" y="146"/>
                    </a:lnTo>
                    <a:close/>
                    <a:moveTo>
                      <a:pt x="813" y="141"/>
                    </a:moveTo>
                    <a:lnTo>
                      <a:pt x="813" y="143"/>
                    </a:lnTo>
                    <a:lnTo>
                      <a:pt x="813" y="144"/>
                    </a:lnTo>
                    <a:lnTo>
                      <a:pt x="811" y="146"/>
                    </a:lnTo>
                    <a:lnTo>
                      <a:pt x="810" y="146"/>
                    </a:lnTo>
                    <a:lnTo>
                      <a:pt x="808" y="146"/>
                    </a:lnTo>
                    <a:lnTo>
                      <a:pt x="806" y="146"/>
                    </a:lnTo>
                    <a:lnTo>
                      <a:pt x="806" y="144"/>
                    </a:lnTo>
                    <a:lnTo>
                      <a:pt x="808" y="144"/>
                    </a:lnTo>
                    <a:lnTo>
                      <a:pt x="808" y="143"/>
                    </a:lnTo>
                    <a:lnTo>
                      <a:pt x="810" y="143"/>
                    </a:lnTo>
                    <a:lnTo>
                      <a:pt x="811" y="143"/>
                    </a:lnTo>
                    <a:lnTo>
                      <a:pt x="811" y="141"/>
                    </a:lnTo>
                    <a:lnTo>
                      <a:pt x="813" y="141"/>
                    </a:lnTo>
                    <a:close/>
                    <a:moveTo>
                      <a:pt x="798" y="107"/>
                    </a:moveTo>
                    <a:lnTo>
                      <a:pt x="798" y="109"/>
                    </a:lnTo>
                    <a:lnTo>
                      <a:pt x="798" y="110"/>
                    </a:lnTo>
                    <a:lnTo>
                      <a:pt x="799" y="110"/>
                    </a:lnTo>
                    <a:lnTo>
                      <a:pt x="799" y="112"/>
                    </a:lnTo>
                    <a:lnTo>
                      <a:pt x="798" y="114"/>
                    </a:lnTo>
                    <a:lnTo>
                      <a:pt x="796" y="115"/>
                    </a:lnTo>
                    <a:lnTo>
                      <a:pt x="794" y="114"/>
                    </a:lnTo>
                    <a:lnTo>
                      <a:pt x="794" y="112"/>
                    </a:lnTo>
                    <a:lnTo>
                      <a:pt x="794" y="110"/>
                    </a:lnTo>
                    <a:lnTo>
                      <a:pt x="793" y="110"/>
                    </a:lnTo>
                    <a:lnTo>
                      <a:pt x="793" y="109"/>
                    </a:lnTo>
                    <a:lnTo>
                      <a:pt x="793" y="107"/>
                    </a:lnTo>
                    <a:lnTo>
                      <a:pt x="794" y="107"/>
                    </a:lnTo>
                    <a:lnTo>
                      <a:pt x="796" y="107"/>
                    </a:lnTo>
                    <a:lnTo>
                      <a:pt x="798" y="107"/>
                    </a:lnTo>
                    <a:close/>
                    <a:moveTo>
                      <a:pt x="786" y="105"/>
                    </a:moveTo>
                    <a:lnTo>
                      <a:pt x="786" y="107"/>
                    </a:lnTo>
                    <a:lnTo>
                      <a:pt x="786" y="105"/>
                    </a:lnTo>
                    <a:close/>
                    <a:moveTo>
                      <a:pt x="794" y="103"/>
                    </a:moveTo>
                    <a:lnTo>
                      <a:pt x="794" y="105"/>
                    </a:lnTo>
                    <a:lnTo>
                      <a:pt x="796" y="105"/>
                    </a:lnTo>
                    <a:lnTo>
                      <a:pt x="796" y="107"/>
                    </a:lnTo>
                    <a:lnTo>
                      <a:pt x="794" y="107"/>
                    </a:lnTo>
                    <a:lnTo>
                      <a:pt x="793" y="107"/>
                    </a:lnTo>
                    <a:lnTo>
                      <a:pt x="793" y="105"/>
                    </a:lnTo>
                    <a:lnTo>
                      <a:pt x="791" y="105"/>
                    </a:lnTo>
                    <a:lnTo>
                      <a:pt x="793" y="105"/>
                    </a:lnTo>
                    <a:lnTo>
                      <a:pt x="793" y="103"/>
                    </a:lnTo>
                    <a:lnTo>
                      <a:pt x="794" y="103"/>
                    </a:lnTo>
                    <a:close/>
                    <a:moveTo>
                      <a:pt x="990" y="284"/>
                    </a:moveTo>
                    <a:lnTo>
                      <a:pt x="992" y="284"/>
                    </a:lnTo>
                    <a:lnTo>
                      <a:pt x="992" y="285"/>
                    </a:lnTo>
                    <a:lnTo>
                      <a:pt x="990" y="285"/>
                    </a:lnTo>
                    <a:lnTo>
                      <a:pt x="990" y="284"/>
                    </a:lnTo>
                    <a:close/>
                    <a:moveTo>
                      <a:pt x="990" y="277"/>
                    </a:moveTo>
                    <a:lnTo>
                      <a:pt x="992" y="277"/>
                    </a:lnTo>
                    <a:lnTo>
                      <a:pt x="990" y="277"/>
                    </a:lnTo>
                    <a:close/>
                    <a:moveTo>
                      <a:pt x="1071" y="272"/>
                    </a:moveTo>
                    <a:lnTo>
                      <a:pt x="1073" y="272"/>
                    </a:lnTo>
                    <a:lnTo>
                      <a:pt x="1071" y="272"/>
                    </a:lnTo>
                    <a:close/>
                    <a:moveTo>
                      <a:pt x="997" y="270"/>
                    </a:moveTo>
                    <a:lnTo>
                      <a:pt x="997" y="272"/>
                    </a:lnTo>
                    <a:lnTo>
                      <a:pt x="997" y="274"/>
                    </a:lnTo>
                    <a:lnTo>
                      <a:pt x="997" y="275"/>
                    </a:lnTo>
                    <a:lnTo>
                      <a:pt x="997" y="277"/>
                    </a:lnTo>
                    <a:lnTo>
                      <a:pt x="997" y="279"/>
                    </a:lnTo>
                    <a:lnTo>
                      <a:pt x="995" y="279"/>
                    </a:lnTo>
                    <a:lnTo>
                      <a:pt x="995" y="280"/>
                    </a:lnTo>
                    <a:lnTo>
                      <a:pt x="993" y="280"/>
                    </a:lnTo>
                    <a:lnTo>
                      <a:pt x="992" y="279"/>
                    </a:lnTo>
                    <a:lnTo>
                      <a:pt x="992" y="277"/>
                    </a:lnTo>
                    <a:lnTo>
                      <a:pt x="993" y="275"/>
                    </a:lnTo>
                    <a:lnTo>
                      <a:pt x="993" y="274"/>
                    </a:lnTo>
                    <a:lnTo>
                      <a:pt x="993" y="272"/>
                    </a:lnTo>
                    <a:lnTo>
                      <a:pt x="995" y="272"/>
                    </a:lnTo>
                    <a:lnTo>
                      <a:pt x="995" y="270"/>
                    </a:lnTo>
                    <a:lnTo>
                      <a:pt x="997" y="270"/>
                    </a:lnTo>
                    <a:close/>
                    <a:moveTo>
                      <a:pt x="1073" y="270"/>
                    </a:moveTo>
                    <a:lnTo>
                      <a:pt x="1075" y="270"/>
                    </a:lnTo>
                    <a:lnTo>
                      <a:pt x="1077" y="270"/>
                    </a:lnTo>
                    <a:lnTo>
                      <a:pt x="1075" y="270"/>
                    </a:lnTo>
                    <a:lnTo>
                      <a:pt x="1075" y="272"/>
                    </a:lnTo>
                    <a:lnTo>
                      <a:pt x="1073" y="270"/>
                    </a:lnTo>
                    <a:lnTo>
                      <a:pt x="1071" y="270"/>
                    </a:lnTo>
                    <a:lnTo>
                      <a:pt x="1071" y="268"/>
                    </a:lnTo>
                    <a:lnTo>
                      <a:pt x="1073" y="268"/>
                    </a:lnTo>
                    <a:lnTo>
                      <a:pt x="1073" y="270"/>
                    </a:lnTo>
                    <a:close/>
                    <a:moveTo>
                      <a:pt x="1073" y="268"/>
                    </a:moveTo>
                    <a:lnTo>
                      <a:pt x="1075" y="268"/>
                    </a:lnTo>
                    <a:lnTo>
                      <a:pt x="1077" y="268"/>
                    </a:lnTo>
                    <a:lnTo>
                      <a:pt x="1078" y="268"/>
                    </a:lnTo>
                    <a:lnTo>
                      <a:pt x="1078" y="270"/>
                    </a:lnTo>
                    <a:lnTo>
                      <a:pt x="1080" y="270"/>
                    </a:lnTo>
                    <a:lnTo>
                      <a:pt x="1080" y="272"/>
                    </a:lnTo>
                    <a:lnTo>
                      <a:pt x="1078" y="272"/>
                    </a:lnTo>
                    <a:lnTo>
                      <a:pt x="1077" y="272"/>
                    </a:lnTo>
                    <a:lnTo>
                      <a:pt x="1077" y="270"/>
                    </a:lnTo>
                    <a:lnTo>
                      <a:pt x="1075" y="270"/>
                    </a:lnTo>
                    <a:lnTo>
                      <a:pt x="1073" y="268"/>
                    </a:lnTo>
                    <a:close/>
                    <a:moveTo>
                      <a:pt x="998" y="260"/>
                    </a:moveTo>
                    <a:lnTo>
                      <a:pt x="998" y="262"/>
                    </a:lnTo>
                    <a:lnTo>
                      <a:pt x="997" y="262"/>
                    </a:lnTo>
                    <a:lnTo>
                      <a:pt x="997" y="263"/>
                    </a:lnTo>
                    <a:lnTo>
                      <a:pt x="995" y="263"/>
                    </a:lnTo>
                    <a:lnTo>
                      <a:pt x="995" y="262"/>
                    </a:lnTo>
                    <a:lnTo>
                      <a:pt x="997" y="262"/>
                    </a:lnTo>
                    <a:lnTo>
                      <a:pt x="995" y="260"/>
                    </a:lnTo>
                    <a:lnTo>
                      <a:pt x="997" y="260"/>
                    </a:lnTo>
                    <a:lnTo>
                      <a:pt x="998" y="260"/>
                    </a:lnTo>
                    <a:close/>
                    <a:moveTo>
                      <a:pt x="1029" y="258"/>
                    </a:moveTo>
                    <a:lnTo>
                      <a:pt x="1029" y="260"/>
                    </a:lnTo>
                    <a:lnTo>
                      <a:pt x="1029" y="258"/>
                    </a:lnTo>
                    <a:close/>
                    <a:moveTo>
                      <a:pt x="1020" y="258"/>
                    </a:moveTo>
                    <a:lnTo>
                      <a:pt x="1020" y="260"/>
                    </a:lnTo>
                    <a:lnTo>
                      <a:pt x="1020" y="258"/>
                    </a:lnTo>
                    <a:close/>
                    <a:moveTo>
                      <a:pt x="1026" y="258"/>
                    </a:moveTo>
                    <a:lnTo>
                      <a:pt x="1029" y="258"/>
                    </a:lnTo>
                    <a:lnTo>
                      <a:pt x="1029" y="260"/>
                    </a:lnTo>
                    <a:lnTo>
                      <a:pt x="1026" y="260"/>
                    </a:lnTo>
                    <a:lnTo>
                      <a:pt x="1026" y="258"/>
                    </a:lnTo>
                    <a:close/>
                    <a:moveTo>
                      <a:pt x="1024" y="255"/>
                    </a:moveTo>
                    <a:lnTo>
                      <a:pt x="1026" y="255"/>
                    </a:lnTo>
                    <a:lnTo>
                      <a:pt x="1024" y="255"/>
                    </a:lnTo>
                    <a:close/>
                    <a:moveTo>
                      <a:pt x="1026" y="255"/>
                    </a:moveTo>
                    <a:lnTo>
                      <a:pt x="1027" y="255"/>
                    </a:lnTo>
                    <a:lnTo>
                      <a:pt x="1026" y="255"/>
                    </a:lnTo>
                    <a:close/>
                    <a:moveTo>
                      <a:pt x="986" y="234"/>
                    </a:moveTo>
                    <a:lnTo>
                      <a:pt x="988" y="234"/>
                    </a:lnTo>
                    <a:lnTo>
                      <a:pt x="986" y="234"/>
                    </a:lnTo>
                    <a:close/>
                    <a:moveTo>
                      <a:pt x="969" y="233"/>
                    </a:moveTo>
                    <a:lnTo>
                      <a:pt x="971" y="233"/>
                    </a:lnTo>
                    <a:lnTo>
                      <a:pt x="971" y="236"/>
                    </a:lnTo>
                    <a:lnTo>
                      <a:pt x="969" y="236"/>
                    </a:lnTo>
                    <a:lnTo>
                      <a:pt x="969" y="233"/>
                    </a:lnTo>
                    <a:close/>
                    <a:moveTo>
                      <a:pt x="969" y="233"/>
                    </a:moveTo>
                    <a:lnTo>
                      <a:pt x="968" y="234"/>
                    </a:lnTo>
                    <a:lnTo>
                      <a:pt x="969" y="234"/>
                    </a:lnTo>
                    <a:lnTo>
                      <a:pt x="969" y="236"/>
                    </a:lnTo>
                    <a:lnTo>
                      <a:pt x="968" y="236"/>
                    </a:lnTo>
                    <a:lnTo>
                      <a:pt x="968" y="234"/>
                    </a:lnTo>
                    <a:lnTo>
                      <a:pt x="968" y="233"/>
                    </a:lnTo>
                    <a:lnTo>
                      <a:pt x="969" y="231"/>
                    </a:lnTo>
                    <a:lnTo>
                      <a:pt x="969" y="233"/>
                    </a:lnTo>
                    <a:close/>
                    <a:moveTo>
                      <a:pt x="986" y="229"/>
                    </a:moveTo>
                    <a:lnTo>
                      <a:pt x="988" y="229"/>
                    </a:lnTo>
                    <a:lnTo>
                      <a:pt x="988" y="231"/>
                    </a:lnTo>
                    <a:lnTo>
                      <a:pt x="986" y="231"/>
                    </a:lnTo>
                    <a:lnTo>
                      <a:pt x="986" y="229"/>
                    </a:lnTo>
                    <a:close/>
                    <a:moveTo>
                      <a:pt x="985" y="228"/>
                    </a:moveTo>
                    <a:lnTo>
                      <a:pt x="986" y="228"/>
                    </a:lnTo>
                    <a:lnTo>
                      <a:pt x="986" y="231"/>
                    </a:lnTo>
                    <a:lnTo>
                      <a:pt x="985" y="231"/>
                    </a:lnTo>
                    <a:lnTo>
                      <a:pt x="985" y="228"/>
                    </a:lnTo>
                    <a:close/>
                    <a:moveTo>
                      <a:pt x="986" y="228"/>
                    </a:moveTo>
                    <a:lnTo>
                      <a:pt x="988" y="228"/>
                    </a:lnTo>
                    <a:lnTo>
                      <a:pt x="988" y="229"/>
                    </a:lnTo>
                    <a:lnTo>
                      <a:pt x="986" y="229"/>
                    </a:lnTo>
                    <a:lnTo>
                      <a:pt x="986" y="228"/>
                    </a:lnTo>
                    <a:close/>
                    <a:moveTo>
                      <a:pt x="976" y="226"/>
                    </a:moveTo>
                    <a:lnTo>
                      <a:pt x="976" y="228"/>
                    </a:lnTo>
                    <a:lnTo>
                      <a:pt x="976" y="226"/>
                    </a:lnTo>
                    <a:close/>
                    <a:moveTo>
                      <a:pt x="975" y="226"/>
                    </a:moveTo>
                    <a:lnTo>
                      <a:pt x="976" y="226"/>
                    </a:lnTo>
                    <a:lnTo>
                      <a:pt x="976" y="228"/>
                    </a:lnTo>
                    <a:lnTo>
                      <a:pt x="975" y="228"/>
                    </a:lnTo>
                    <a:lnTo>
                      <a:pt x="975" y="226"/>
                    </a:lnTo>
                    <a:close/>
                    <a:moveTo>
                      <a:pt x="964" y="226"/>
                    </a:moveTo>
                    <a:lnTo>
                      <a:pt x="966" y="226"/>
                    </a:lnTo>
                    <a:lnTo>
                      <a:pt x="964" y="226"/>
                    </a:lnTo>
                    <a:close/>
                    <a:moveTo>
                      <a:pt x="976" y="224"/>
                    </a:moveTo>
                    <a:lnTo>
                      <a:pt x="976" y="226"/>
                    </a:lnTo>
                    <a:lnTo>
                      <a:pt x="976" y="224"/>
                    </a:lnTo>
                    <a:close/>
                    <a:moveTo>
                      <a:pt x="975" y="224"/>
                    </a:moveTo>
                    <a:lnTo>
                      <a:pt x="976" y="224"/>
                    </a:lnTo>
                    <a:lnTo>
                      <a:pt x="976" y="226"/>
                    </a:lnTo>
                    <a:lnTo>
                      <a:pt x="975" y="226"/>
                    </a:lnTo>
                    <a:lnTo>
                      <a:pt x="975" y="224"/>
                    </a:lnTo>
                    <a:close/>
                    <a:moveTo>
                      <a:pt x="978" y="224"/>
                    </a:moveTo>
                    <a:lnTo>
                      <a:pt x="978" y="226"/>
                    </a:lnTo>
                    <a:lnTo>
                      <a:pt x="978" y="224"/>
                    </a:lnTo>
                    <a:close/>
                    <a:moveTo>
                      <a:pt x="983" y="223"/>
                    </a:moveTo>
                    <a:lnTo>
                      <a:pt x="983" y="224"/>
                    </a:lnTo>
                    <a:lnTo>
                      <a:pt x="983" y="223"/>
                    </a:lnTo>
                    <a:close/>
                    <a:moveTo>
                      <a:pt x="959" y="223"/>
                    </a:moveTo>
                    <a:lnTo>
                      <a:pt x="961" y="223"/>
                    </a:lnTo>
                    <a:lnTo>
                      <a:pt x="959" y="223"/>
                    </a:lnTo>
                    <a:close/>
                    <a:moveTo>
                      <a:pt x="959" y="221"/>
                    </a:moveTo>
                    <a:lnTo>
                      <a:pt x="961" y="221"/>
                    </a:lnTo>
                    <a:lnTo>
                      <a:pt x="961" y="223"/>
                    </a:lnTo>
                    <a:lnTo>
                      <a:pt x="959" y="223"/>
                    </a:lnTo>
                    <a:lnTo>
                      <a:pt x="959" y="221"/>
                    </a:lnTo>
                    <a:close/>
                    <a:moveTo>
                      <a:pt x="959" y="221"/>
                    </a:moveTo>
                    <a:lnTo>
                      <a:pt x="961" y="221"/>
                    </a:lnTo>
                    <a:lnTo>
                      <a:pt x="959" y="221"/>
                    </a:lnTo>
                    <a:close/>
                    <a:moveTo>
                      <a:pt x="980" y="221"/>
                    </a:moveTo>
                    <a:lnTo>
                      <a:pt x="981" y="221"/>
                    </a:lnTo>
                    <a:lnTo>
                      <a:pt x="983" y="221"/>
                    </a:lnTo>
                    <a:lnTo>
                      <a:pt x="983" y="223"/>
                    </a:lnTo>
                    <a:lnTo>
                      <a:pt x="983" y="221"/>
                    </a:lnTo>
                    <a:lnTo>
                      <a:pt x="983" y="223"/>
                    </a:lnTo>
                    <a:lnTo>
                      <a:pt x="981" y="223"/>
                    </a:lnTo>
                    <a:lnTo>
                      <a:pt x="981" y="224"/>
                    </a:lnTo>
                    <a:lnTo>
                      <a:pt x="980" y="224"/>
                    </a:lnTo>
                    <a:lnTo>
                      <a:pt x="980" y="226"/>
                    </a:lnTo>
                    <a:lnTo>
                      <a:pt x="978" y="224"/>
                    </a:lnTo>
                    <a:lnTo>
                      <a:pt x="978" y="223"/>
                    </a:lnTo>
                    <a:lnTo>
                      <a:pt x="980" y="223"/>
                    </a:lnTo>
                    <a:lnTo>
                      <a:pt x="980" y="221"/>
                    </a:lnTo>
                    <a:close/>
                    <a:moveTo>
                      <a:pt x="959" y="217"/>
                    </a:moveTo>
                    <a:lnTo>
                      <a:pt x="961" y="217"/>
                    </a:lnTo>
                    <a:lnTo>
                      <a:pt x="961" y="219"/>
                    </a:lnTo>
                    <a:lnTo>
                      <a:pt x="959" y="219"/>
                    </a:lnTo>
                    <a:lnTo>
                      <a:pt x="959" y="217"/>
                    </a:lnTo>
                    <a:close/>
                    <a:moveTo>
                      <a:pt x="956" y="217"/>
                    </a:moveTo>
                    <a:lnTo>
                      <a:pt x="956" y="221"/>
                    </a:lnTo>
                    <a:lnTo>
                      <a:pt x="956" y="217"/>
                    </a:lnTo>
                    <a:close/>
                    <a:moveTo>
                      <a:pt x="952" y="217"/>
                    </a:moveTo>
                    <a:lnTo>
                      <a:pt x="952" y="219"/>
                    </a:lnTo>
                    <a:lnTo>
                      <a:pt x="952" y="217"/>
                    </a:lnTo>
                    <a:close/>
                    <a:moveTo>
                      <a:pt x="944" y="216"/>
                    </a:moveTo>
                    <a:lnTo>
                      <a:pt x="947" y="216"/>
                    </a:lnTo>
                    <a:lnTo>
                      <a:pt x="947" y="217"/>
                    </a:lnTo>
                    <a:lnTo>
                      <a:pt x="944" y="217"/>
                    </a:lnTo>
                    <a:lnTo>
                      <a:pt x="944" y="216"/>
                    </a:lnTo>
                    <a:close/>
                    <a:moveTo>
                      <a:pt x="958" y="217"/>
                    </a:moveTo>
                    <a:lnTo>
                      <a:pt x="958" y="219"/>
                    </a:lnTo>
                    <a:lnTo>
                      <a:pt x="958" y="221"/>
                    </a:lnTo>
                    <a:lnTo>
                      <a:pt x="958" y="223"/>
                    </a:lnTo>
                    <a:lnTo>
                      <a:pt x="958" y="224"/>
                    </a:lnTo>
                    <a:lnTo>
                      <a:pt x="956" y="224"/>
                    </a:lnTo>
                    <a:lnTo>
                      <a:pt x="956" y="223"/>
                    </a:lnTo>
                    <a:lnTo>
                      <a:pt x="956" y="221"/>
                    </a:lnTo>
                    <a:lnTo>
                      <a:pt x="958" y="221"/>
                    </a:lnTo>
                    <a:lnTo>
                      <a:pt x="958" y="219"/>
                    </a:lnTo>
                    <a:lnTo>
                      <a:pt x="958" y="217"/>
                    </a:lnTo>
                    <a:lnTo>
                      <a:pt x="958" y="216"/>
                    </a:lnTo>
                    <a:lnTo>
                      <a:pt x="958" y="217"/>
                    </a:lnTo>
                    <a:close/>
                    <a:moveTo>
                      <a:pt x="951" y="216"/>
                    </a:moveTo>
                    <a:lnTo>
                      <a:pt x="952" y="216"/>
                    </a:lnTo>
                    <a:lnTo>
                      <a:pt x="952" y="217"/>
                    </a:lnTo>
                    <a:lnTo>
                      <a:pt x="951" y="217"/>
                    </a:lnTo>
                    <a:lnTo>
                      <a:pt x="951" y="216"/>
                    </a:lnTo>
                    <a:close/>
                    <a:moveTo>
                      <a:pt x="1189" y="621"/>
                    </a:moveTo>
                    <a:lnTo>
                      <a:pt x="1190" y="621"/>
                    </a:lnTo>
                    <a:lnTo>
                      <a:pt x="1190" y="622"/>
                    </a:lnTo>
                    <a:lnTo>
                      <a:pt x="1189" y="622"/>
                    </a:lnTo>
                    <a:lnTo>
                      <a:pt x="1189" y="621"/>
                    </a:lnTo>
                    <a:close/>
                    <a:moveTo>
                      <a:pt x="1189" y="621"/>
                    </a:moveTo>
                    <a:lnTo>
                      <a:pt x="1190" y="621"/>
                    </a:lnTo>
                    <a:lnTo>
                      <a:pt x="1189" y="621"/>
                    </a:lnTo>
                    <a:close/>
                    <a:moveTo>
                      <a:pt x="1194" y="612"/>
                    </a:moveTo>
                    <a:lnTo>
                      <a:pt x="1194" y="614"/>
                    </a:lnTo>
                    <a:lnTo>
                      <a:pt x="1194" y="612"/>
                    </a:lnTo>
                    <a:close/>
                    <a:moveTo>
                      <a:pt x="1197" y="612"/>
                    </a:moveTo>
                    <a:lnTo>
                      <a:pt x="1197" y="614"/>
                    </a:lnTo>
                    <a:lnTo>
                      <a:pt x="1197" y="612"/>
                    </a:lnTo>
                    <a:close/>
                    <a:moveTo>
                      <a:pt x="1194" y="612"/>
                    </a:moveTo>
                    <a:lnTo>
                      <a:pt x="1196" y="612"/>
                    </a:lnTo>
                    <a:lnTo>
                      <a:pt x="1194" y="612"/>
                    </a:lnTo>
                    <a:close/>
                    <a:moveTo>
                      <a:pt x="1190" y="609"/>
                    </a:moveTo>
                    <a:lnTo>
                      <a:pt x="1192" y="609"/>
                    </a:lnTo>
                    <a:lnTo>
                      <a:pt x="1192" y="610"/>
                    </a:lnTo>
                    <a:lnTo>
                      <a:pt x="1190" y="610"/>
                    </a:lnTo>
                    <a:lnTo>
                      <a:pt x="1190" y="609"/>
                    </a:lnTo>
                    <a:close/>
                    <a:moveTo>
                      <a:pt x="1507" y="884"/>
                    </a:moveTo>
                    <a:lnTo>
                      <a:pt x="1508" y="884"/>
                    </a:lnTo>
                    <a:lnTo>
                      <a:pt x="1508" y="886"/>
                    </a:lnTo>
                    <a:lnTo>
                      <a:pt x="1507" y="886"/>
                    </a:lnTo>
                    <a:lnTo>
                      <a:pt x="1507" y="884"/>
                    </a:lnTo>
                    <a:close/>
                    <a:moveTo>
                      <a:pt x="1007" y="985"/>
                    </a:moveTo>
                    <a:lnTo>
                      <a:pt x="1009" y="985"/>
                    </a:lnTo>
                    <a:lnTo>
                      <a:pt x="1007" y="985"/>
                    </a:lnTo>
                    <a:close/>
                    <a:moveTo>
                      <a:pt x="992" y="985"/>
                    </a:moveTo>
                    <a:lnTo>
                      <a:pt x="993" y="985"/>
                    </a:lnTo>
                    <a:lnTo>
                      <a:pt x="992" y="985"/>
                    </a:lnTo>
                    <a:close/>
                    <a:moveTo>
                      <a:pt x="990" y="981"/>
                    </a:moveTo>
                    <a:lnTo>
                      <a:pt x="990" y="983"/>
                    </a:lnTo>
                    <a:lnTo>
                      <a:pt x="990" y="981"/>
                    </a:lnTo>
                    <a:close/>
                    <a:moveTo>
                      <a:pt x="1005" y="980"/>
                    </a:moveTo>
                    <a:lnTo>
                      <a:pt x="1007" y="980"/>
                    </a:lnTo>
                    <a:lnTo>
                      <a:pt x="1005" y="980"/>
                    </a:lnTo>
                    <a:lnTo>
                      <a:pt x="1007" y="981"/>
                    </a:lnTo>
                    <a:lnTo>
                      <a:pt x="1009" y="981"/>
                    </a:lnTo>
                    <a:lnTo>
                      <a:pt x="1009" y="983"/>
                    </a:lnTo>
                    <a:lnTo>
                      <a:pt x="1009" y="981"/>
                    </a:lnTo>
                    <a:lnTo>
                      <a:pt x="1009" y="983"/>
                    </a:lnTo>
                    <a:lnTo>
                      <a:pt x="1010" y="983"/>
                    </a:lnTo>
                    <a:lnTo>
                      <a:pt x="1009" y="983"/>
                    </a:lnTo>
                    <a:lnTo>
                      <a:pt x="1007" y="983"/>
                    </a:lnTo>
                    <a:lnTo>
                      <a:pt x="1007" y="985"/>
                    </a:lnTo>
                    <a:lnTo>
                      <a:pt x="1005" y="983"/>
                    </a:lnTo>
                    <a:lnTo>
                      <a:pt x="1003" y="985"/>
                    </a:lnTo>
                    <a:lnTo>
                      <a:pt x="1003" y="983"/>
                    </a:lnTo>
                    <a:lnTo>
                      <a:pt x="1002" y="983"/>
                    </a:lnTo>
                    <a:lnTo>
                      <a:pt x="1002" y="985"/>
                    </a:lnTo>
                    <a:lnTo>
                      <a:pt x="1002" y="983"/>
                    </a:lnTo>
                    <a:lnTo>
                      <a:pt x="1000" y="983"/>
                    </a:lnTo>
                    <a:lnTo>
                      <a:pt x="1002" y="983"/>
                    </a:lnTo>
                    <a:lnTo>
                      <a:pt x="1002" y="981"/>
                    </a:lnTo>
                    <a:lnTo>
                      <a:pt x="1003" y="981"/>
                    </a:lnTo>
                    <a:lnTo>
                      <a:pt x="1005" y="981"/>
                    </a:lnTo>
                    <a:lnTo>
                      <a:pt x="1003" y="980"/>
                    </a:lnTo>
                    <a:lnTo>
                      <a:pt x="1005" y="980"/>
                    </a:lnTo>
                    <a:close/>
                    <a:moveTo>
                      <a:pt x="993" y="978"/>
                    </a:moveTo>
                    <a:lnTo>
                      <a:pt x="995" y="978"/>
                    </a:lnTo>
                    <a:lnTo>
                      <a:pt x="995" y="980"/>
                    </a:lnTo>
                    <a:lnTo>
                      <a:pt x="993" y="980"/>
                    </a:lnTo>
                    <a:lnTo>
                      <a:pt x="993" y="978"/>
                    </a:lnTo>
                    <a:close/>
                    <a:moveTo>
                      <a:pt x="995" y="978"/>
                    </a:moveTo>
                    <a:lnTo>
                      <a:pt x="997" y="978"/>
                    </a:lnTo>
                    <a:lnTo>
                      <a:pt x="995" y="978"/>
                    </a:lnTo>
                    <a:close/>
                    <a:moveTo>
                      <a:pt x="1000" y="978"/>
                    </a:moveTo>
                    <a:lnTo>
                      <a:pt x="1002" y="978"/>
                    </a:lnTo>
                    <a:lnTo>
                      <a:pt x="1002" y="980"/>
                    </a:lnTo>
                    <a:lnTo>
                      <a:pt x="1000" y="980"/>
                    </a:lnTo>
                    <a:lnTo>
                      <a:pt x="1000" y="978"/>
                    </a:lnTo>
                    <a:close/>
                    <a:moveTo>
                      <a:pt x="1010" y="976"/>
                    </a:moveTo>
                    <a:lnTo>
                      <a:pt x="1012" y="976"/>
                    </a:lnTo>
                    <a:lnTo>
                      <a:pt x="1010" y="976"/>
                    </a:lnTo>
                    <a:close/>
                    <a:moveTo>
                      <a:pt x="1080" y="976"/>
                    </a:moveTo>
                    <a:lnTo>
                      <a:pt x="1082" y="976"/>
                    </a:lnTo>
                    <a:lnTo>
                      <a:pt x="1080" y="976"/>
                    </a:lnTo>
                    <a:close/>
                    <a:moveTo>
                      <a:pt x="1015" y="974"/>
                    </a:moveTo>
                    <a:lnTo>
                      <a:pt x="1017" y="974"/>
                    </a:lnTo>
                    <a:lnTo>
                      <a:pt x="1015" y="974"/>
                    </a:lnTo>
                    <a:close/>
                    <a:moveTo>
                      <a:pt x="1041" y="968"/>
                    </a:moveTo>
                    <a:lnTo>
                      <a:pt x="1041" y="969"/>
                    </a:lnTo>
                    <a:lnTo>
                      <a:pt x="1041" y="971"/>
                    </a:lnTo>
                    <a:lnTo>
                      <a:pt x="1041" y="969"/>
                    </a:lnTo>
                    <a:lnTo>
                      <a:pt x="1039" y="969"/>
                    </a:lnTo>
                    <a:lnTo>
                      <a:pt x="1039" y="971"/>
                    </a:lnTo>
                    <a:lnTo>
                      <a:pt x="1037" y="969"/>
                    </a:lnTo>
                    <a:lnTo>
                      <a:pt x="1039" y="969"/>
                    </a:lnTo>
                    <a:lnTo>
                      <a:pt x="1039" y="968"/>
                    </a:lnTo>
                    <a:lnTo>
                      <a:pt x="1039" y="969"/>
                    </a:lnTo>
                    <a:lnTo>
                      <a:pt x="1041" y="969"/>
                    </a:lnTo>
                    <a:lnTo>
                      <a:pt x="1041" y="968"/>
                    </a:lnTo>
                    <a:close/>
                    <a:moveTo>
                      <a:pt x="1090" y="954"/>
                    </a:moveTo>
                    <a:lnTo>
                      <a:pt x="1090" y="956"/>
                    </a:lnTo>
                    <a:lnTo>
                      <a:pt x="1090" y="954"/>
                    </a:lnTo>
                    <a:close/>
                    <a:moveTo>
                      <a:pt x="973" y="1005"/>
                    </a:moveTo>
                    <a:lnTo>
                      <a:pt x="975" y="1005"/>
                    </a:lnTo>
                    <a:lnTo>
                      <a:pt x="975" y="1007"/>
                    </a:lnTo>
                    <a:lnTo>
                      <a:pt x="973" y="1007"/>
                    </a:lnTo>
                    <a:lnTo>
                      <a:pt x="973" y="1005"/>
                    </a:lnTo>
                    <a:close/>
                    <a:moveTo>
                      <a:pt x="978" y="1003"/>
                    </a:moveTo>
                    <a:lnTo>
                      <a:pt x="978" y="1005"/>
                    </a:lnTo>
                    <a:lnTo>
                      <a:pt x="978" y="1003"/>
                    </a:lnTo>
                    <a:close/>
                    <a:moveTo>
                      <a:pt x="968" y="1003"/>
                    </a:moveTo>
                    <a:lnTo>
                      <a:pt x="969" y="1003"/>
                    </a:lnTo>
                    <a:lnTo>
                      <a:pt x="971" y="1005"/>
                    </a:lnTo>
                    <a:lnTo>
                      <a:pt x="971" y="1007"/>
                    </a:lnTo>
                    <a:lnTo>
                      <a:pt x="969" y="1007"/>
                    </a:lnTo>
                    <a:lnTo>
                      <a:pt x="969" y="1008"/>
                    </a:lnTo>
                    <a:lnTo>
                      <a:pt x="971" y="1010"/>
                    </a:lnTo>
                    <a:lnTo>
                      <a:pt x="971" y="1008"/>
                    </a:lnTo>
                    <a:lnTo>
                      <a:pt x="971" y="1010"/>
                    </a:lnTo>
                    <a:lnTo>
                      <a:pt x="971" y="1012"/>
                    </a:lnTo>
                    <a:lnTo>
                      <a:pt x="969" y="1012"/>
                    </a:lnTo>
                    <a:lnTo>
                      <a:pt x="969" y="1010"/>
                    </a:lnTo>
                    <a:lnTo>
                      <a:pt x="968" y="1010"/>
                    </a:lnTo>
                    <a:lnTo>
                      <a:pt x="966" y="1010"/>
                    </a:lnTo>
                    <a:lnTo>
                      <a:pt x="964" y="1012"/>
                    </a:lnTo>
                    <a:lnTo>
                      <a:pt x="964" y="1010"/>
                    </a:lnTo>
                    <a:lnTo>
                      <a:pt x="963" y="1010"/>
                    </a:lnTo>
                    <a:lnTo>
                      <a:pt x="963" y="1008"/>
                    </a:lnTo>
                    <a:lnTo>
                      <a:pt x="964" y="1008"/>
                    </a:lnTo>
                    <a:lnTo>
                      <a:pt x="964" y="1007"/>
                    </a:lnTo>
                    <a:lnTo>
                      <a:pt x="966" y="1007"/>
                    </a:lnTo>
                    <a:lnTo>
                      <a:pt x="966" y="1005"/>
                    </a:lnTo>
                    <a:lnTo>
                      <a:pt x="968" y="1005"/>
                    </a:lnTo>
                    <a:lnTo>
                      <a:pt x="968" y="1003"/>
                    </a:lnTo>
                    <a:close/>
                    <a:moveTo>
                      <a:pt x="973" y="997"/>
                    </a:moveTo>
                    <a:lnTo>
                      <a:pt x="975" y="997"/>
                    </a:lnTo>
                    <a:lnTo>
                      <a:pt x="973" y="997"/>
                    </a:lnTo>
                    <a:close/>
                    <a:moveTo>
                      <a:pt x="976" y="997"/>
                    </a:moveTo>
                    <a:lnTo>
                      <a:pt x="978" y="997"/>
                    </a:lnTo>
                    <a:lnTo>
                      <a:pt x="976" y="997"/>
                    </a:lnTo>
                    <a:close/>
                    <a:moveTo>
                      <a:pt x="983" y="991"/>
                    </a:moveTo>
                    <a:lnTo>
                      <a:pt x="985" y="991"/>
                    </a:lnTo>
                    <a:lnTo>
                      <a:pt x="983" y="991"/>
                    </a:lnTo>
                    <a:close/>
                    <a:moveTo>
                      <a:pt x="861" y="1156"/>
                    </a:moveTo>
                    <a:lnTo>
                      <a:pt x="861" y="1158"/>
                    </a:lnTo>
                    <a:lnTo>
                      <a:pt x="861" y="1156"/>
                    </a:lnTo>
                    <a:close/>
                    <a:moveTo>
                      <a:pt x="864" y="1141"/>
                    </a:moveTo>
                    <a:lnTo>
                      <a:pt x="866" y="1143"/>
                    </a:lnTo>
                    <a:lnTo>
                      <a:pt x="866" y="1141"/>
                    </a:lnTo>
                    <a:lnTo>
                      <a:pt x="866" y="1143"/>
                    </a:lnTo>
                    <a:lnTo>
                      <a:pt x="866" y="1145"/>
                    </a:lnTo>
                    <a:lnTo>
                      <a:pt x="864" y="1145"/>
                    </a:lnTo>
                    <a:lnTo>
                      <a:pt x="864" y="1146"/>
                    </a:lnTo>
                    <a:lnTo>
                      <a:pt x="864" y="1148"/>
                    </a:lnTo>
                    <a:lnTo>
                      <a:pt x="862" y="1148"/>
                    </a:lnTo>
                    <a:lnTo>
                      <a:pt x="862" y="1150"/>
                    </a:lnTo>
                    <a:lnTo>
                      <a:pt x="862" y="1151"/>
                    </a:lnTo>
                    <a:lnTo>
                      <a:pt x="861" y="1151"/>
                    </a:lnTo>
                    <a:lnTo>
                      <a:pt x="861" y="1153"/>
                    </a:lnTo>
                    <a:lnTo>
                      <a:pt x="861" y="1155"/>
                    </a:lnTo>
                    <a:lnTo>
                      <a:pt x="862" y="1155"/>
                    </a:lnTo>
                    <a:lnTo>
                      <a:pt x="861" y="1155"/>
                    </a:lnTo>
                    <a:lnTo>
                      <a:pt x="861" y="1156"/>
                    </a:lnTo>
                    <a:lnTo>
                      <a:pt x="861" y="1155"/>
                    </a:lnTo>
                    <a:lnTo>
                      <a:pt x="859" y="1156"/>
                    </a:lnTo>
                    <a:lnTo>
                      <a:pt x="859" y="1155"/>
                    </a:lnTo>
                    <a:lnTo>
                      <a:pt x="859" y="1153"/>
                    </a:lnTo>
                    <a:lnTo>
                      <a:pt x="859" y="1151"/>
                    </a:lnTo>
                    <a:lnTo>
                      <a:pt x="859" y="1150"/>
                    </a:lnTo>
                    <a:lnTo>
                      <a:pt x="861" y="1150"/>
                    </a:lnTo>
                    <a:lnTo>
                      <a:pt x="859" y="1150"/>
                    </a:lnTo>
                    <a:lnTo>
                      <a:pt x="859" y="1148"/>
                    </a:lnTo>
                    <a:lnTo>
                      <a:pt x="861" y="1148"/>
                    </a:lnTo>
                    <a:lnTo>
                      <a:pt x="861" y="1146"/>
                    </a:lnTo>
                    <a:lnTo>
                      <a:pt x="861" y="1145"/>
                    </a:lnTo>
                    <a:lnTo>
                      <a:pt x="859" y="1145"/>
                    </a:lnTo>
                    <a:lnTo>
                      <a:pt x="859" y="1143"/>
                    </a:lnTo>
                    <a:lnTo>
                      <a:pt x="861" y="1143"/>
                    </a:lnTo>
                    <a:lnTo>
                      <a:pt x="859" y="1143"/>
                    </a:lnTo>
                    <a:lnTo>
                      <a:pt x="861" y="1143"/>
                    </a:lnTo>
                    <a:lnTo>
                      <a:pt x="861" y="1141"/>
                    </a:lnTo>
                    <a:lnTo>
                      <a:pt x="861" y="1143"/>
                    </a:lnTo>
                    <a:lnTo>
                      <a:pt x="862" y="1141"/>
                    </a:lnTo>
                    <a:lnTo>
                      <a:pt x="864" y="1141"/>
                    </a:lnTo>
                    <a:lnTo>
                      <a:pt x="862" y="1141"/>
                    </a:lnTo>
                    <a:lnTo>
                      <a:pt x="864" y="1139"/>
                    </a:lnTo>
                    <a:lnTo>
                      <a:pt x="864" y="1141"/>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8" name="Freeform 21">
                <a:extLst>
                  <a:ext uri="{FF2B5EF4-FFF2-40B4-BE49-F238E27FC236}">
                    <a16:creationId xmlns:a16="http://schemas.microsoft.com/office/drawing/2014/main" id="{638A737B-AC0B-D22D-457B-2E0830861D2D}"/>
                  </a:ext>
                </a:extLst>
              </p:cNvPr>
              <p:cNvSpPr>
                <a:spLocks noEditPoints="1"/>
              </p:cNvSpPr>
              <p:nvPr/>
            </p:nvSpPr>
            <p:spPr bwMode="auto">
              <a:xfrm>
                <a:off x="5293224" y="3123357"/>
                <a:ext cx="426185" cy="496678"/>
              </a:xfrm>
              <a:custGeom>
                <a:avLst/>
                <a:gdLst>
                  <a:gd name="T0" fmla="*/ 1322 w 1451"/>
                  <a:gd name="T1" fmla="*/ 542 h 1691"/>
                  <a:gd name="T2" fmla="*/ 1283 w 1451"/>
                  <a:gd name="T3" fmla="*/ 838 h 1691"/>
                  <a:gd name="T4" fmla="*/ 1278 w 1451"/>
                  <a:gd name="T5" fmla="*/ 1092 h 1691"/>
                  <a:gd name="T6" fmla="*/ 1217 w 1451"/>
                  <a:gd name="T7" fmla="*/ 1381 h 1691"/>
                  <a:gd name="T8" fmla="*/ 1264 w 1451"/>
                  <a:gd name="T9" fmla="*/ 1556 h 1691"/>
                  <a:gd name="T10" fmla="*/ 1205 w 1451"/>
                  <a:gd name="T11" fmla="*/ 1514 h 1691"/>
                  <a:gd name="T12" fmla="*/ 1234 w 1451"/>
                  <a:gd name="T13" fmla="*/ 1488 h 1691"/>
                  <a:gd name="T14" fmla="*/ 1208 w 1451"/>
                  <a:gd name="T15" fmla="*/ 1446 h 1691"/>
                  <a:gd name="T16" fmla="*/ 1196 w 1451"/>
                  <a:gd name="T17" fmla="*/ 1384 h 1691"/>
                  <a:gd name="T18" fmla="*/ 1200 w 1451"/>
                  <a:gd name="T19" fmla="*/ 1320 h 1691"/>
                  <a:gd name="T20" fmla="*/ 1219 w 1451"/>
                  <a:gd name="T21" fmla="*/ 1260 h 1691"/>
                  <a:gd name="T22" fmla="*/ 1196 w 1451"/>
                  <a:gd name="T23" fmla="*/ 1208 h 1691"/>
                  <a:gd name="T24" fmla="*/ 1169 w 1451"/>
                  <a:gd name="T25" fmla="*/ 1153 h 1691"/>
                  <a:gd name="T26" fmla="*/ 1222 w 1451"/>
                  <a:gd name="T27" fmla="*/ 1134 h 1691"/>
                  <a:gd name="T28" fmla="*/ 1236 w 1451"/>
                  <a:gd name="T29" fmla="*/ 988 h 1691"/>
                  <a:gd name="T30" fmla="*/ 1219 w 1451"/>
                  <a:gd name="T31" fmla="*/ 871 h 1691"/>
                  <a:gd name="T32" fmla="*/ 1285 w 1451"/>
                  <a:gd name="T33" fmla="*/ 556 h 1691"/>
                  <a:gd name="T34" fmla="*/ 1312 w 1451"/>
                  <a:gd name="T35" fmla="*/ 212 h 1691"/>
                  <a:gd name="T36" fmla="*/ 1389 w 1451"/>
                  <a:gd name="T37" fmla="*/ 127 h 1691"/>
                  <a:gd name="T38" fmla="*/ 1287 w 1451"/>
                  <a:gd name="T39" fmla="*/ 1609 h 1691"/>
                  <a:gd name="T40" fmla="*/ 1321 w 1451"/>
                  <a:gd name="T41" fmla="*/ 1595 h 1691"/>
                  <a:gd name="T42" fmla="*/ 1338 w 1451"/>
                  <a:gd name="T43" fmla="*/ 1505 h 1691"/>
                  <a:gd name="T44" fmla="*/ 1174 w 1451"/>
                  <a:gd name="T45" fmla="*/ 1286 h 1691"/>
                  <a:gd name="T46" fmla="*/ 1164 w 1451"/>
                  <a:gd name="T47" fmla="*/ 1344 h 1691"/>
                  <a:gd name="T48" fmla="*/ 1173 w 1451"/>
                  <a:gd name="T49" fmla="*/ 1284 h 1691"/>
                  <a:gd name="T50" fmla="*/ 1251 w 1451"/>
                  <a:gd name="T51" fmla="*/ 1505 h 1691"/>
                  <a:gd name="T52" fmla="*/ 1355 w 1451"/>
                  <a:gd name="T53" fmla="*/ 1662 h 1691"/>
                  <a:gd name="T54" fmla="*/ 1247 w 1451"/>
                  <a:gd name="T55" fmla="*/ 1568 h 1691"/>
                  <a:gd name="T56" fmla="*/ 1402 w 1451"/>
                  <a:gd name="T57" fmla="*/ 1628 h 1691"/>
                  <a:gd name="T58" fmla="*/ 1300 w 1451"/>
                  <a:gd name="T59" fmla="*/ 1566 h 1691"/>
                  <a:gd name="T60" fmla="*/ 1174 w 1451"/>
                  <a:gd name="T61" fmla="*/ 1502 h 1691"/>
                  <a:gd name="T62" fmla="*/ 1156 w 1451"/>
                  <a:gd name="T63" fmla="*/ 1379 h 1691"/>
                  <a:gd name="T64" fmla="*/ 1156 w 1451"/>
                  <a:gd name="T65" fmla="*/ 1284 h 1691"/>
                  <a:gd name="T66" fmla="*/ 1179 w 1451"/>
                  <a:gd name="T67" fmla="*/ 1282 h 1691"/>
                  <a:gd name="T68" fmla="*/ 1312 w 1451"/>
                  <a:gd name="T69" fmla="*/ 1643 h 1691"/>
                  <a:gd name="T70" fmla="*/ 1169 w 1451"/>
                  <a:gd name="T71" fmla="*/ 1265 h 1691"/>
                  <a:gd name="T72" fmla="*/ 1152 w 1451"/>
                  <a:gd name="T73" fmla="*/ 1277 h 1691"/>
                  <a:gd name="T74" fmla="*/ 1168 w 1451"/>
                  <a:gd name="T75" fmla="*/ 1422 h 1691"/>
                  <a:gd name="T76" fmla="*/ 1196 w 1451"/>
                  <a:gd name="T77" fmla="*/ 1481 h 1691"/>
                  <a:gd name="T78" fmla="*/ 1208 w 1451"/>
                  <a:gd name="T79" fmla="*/ 1126 h 1691"/>
                  <a:gd name="T80" fmla="*/ 1193 w 1451"/>
                  <a:gd name="T81" fmla="*/ 1099 h 1691"/>
                  <a:gd name="T82" fmla="*/ 1292 w 1451"/>
                  <a:gd name="T83" fmla="*/ 1626 h 1691"/>
                  <a:gd name="T84" fmla="*/ 1207 w 1451"/>
                  <a:gd name="T85" fmla="*/ 1155 h 1691"/>
                  <a:gd name="T86" fmla="*/ 1190 w 1451"/>
                  <a:gd name="T87" fmla="*/ 1114 h 1691"/>
                  <a:gd name="T88" fmla="*/ 1173 w 1451"/>
                  <a:gd name="T89" fmla="*/ 1138 h 1691"/>
                  <a:gd name="T90" fmla="*/ 1326 w 1451"/>
                  <a:gd name="T91" fmla="*/ 1629 h 1691"/>
                  <a:gd name="T92" fmla="*/ 1164 w 1451"/>
                  <a:gd name="T93" fmla="*/ 1391 h 1691"/>
                  <a:gd name="T94" fmla="*/ 1173 w 1451"/>
                  <a:gd name="T95" fmla="*/ 1417 h 1691"/>
                  <a:gd name="T96" fmla="*/ 1229 w 1451"/>
                  <a:gd name="T97" fmla="*/ 952 h 1691"/>
                  <a:gd name="T98" fmla="*/ 1183 w 1451"/>
                  <a:gd name="T99" fmla="*/ 1075 h 1691"/>
                  <a:gd name="T100" fmla="*/ 1229 w 1451"/>
                  <a:gd name="T101" fmla="*/ 976 h 1691"/>
                  <a:gd name="T102" fmla="*/ 1378 w 1451"/>
                  <a:gd name="T103" fmla="*/ 1660 h 1691"/>
                  <a:gd name="T104" fmla="*/ 1208 w 1451"/>
                  <a:gd name="T105" fmla="*/ 1065 h 1691"/>
                  <a:gd name="T106" fmla="*/ 1229 w 1451"/>
                  <a:gd name="T107" fmla="*/ 1585 h 1691"/>
                  <a:gd name="T108" fmla="*/ 1336 w 1451"/>
                  <a:gd name="T109" fmla="*/ 1653 h 1691"/>
                  <a:gd name="T110" fmla="*/ 1185 w 1451"/>
                  <a:gd name="T111" fmla="*/ 1463 h 1691"/>
                  <a:gd name="T112" fmla="*/ 1171 w 1451"/>
                  <a:gd name="T113" fmla="*/ 1481 h 1691"/>
                  <a:gd name="T114" fmla="*/ 1215 w 1451"/>
                  <a:gd name="T115" fmla="*/ 1521 h 1691"/>
                  <a:gd name="T116" fmla="*/ 1159 w 1451"/>
                  <a:gd name="T117" fmla="*/ 1356 h 1691"/>
                  <a:gd name="T118" fmla="*/ 1251 w 1451"/>
                  <a:gd name="T119" fmla="*/ 1597 h 1691"/>
                  <a:gd name="T120" fmla="*/ 1232 w 1451"/>
                  <a:gd name="T121" fmla="*/ 1546 h 1691"/>
                  <a:gd name="T122" fmla="*/ 1281 w 1451"/>
                  <a:gd name="T123" fmla="*/ 1614 h 1691"/>
                  <a:gd name="T124" fmla="*/ 1168 w 1451"/>
                  <a:gd name="T125" fmla="*/ 1405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51" h="1691">
                    <a:moveTo>
                      <a:pt x="1426" y="190"/>
                    </a:moveTo>
                    <a:lnTo>
                      <a:pt x="1429" y="194"/>
                    </a:lnTo>
                    <a:lnTo>
                      <a:pt x="1433" y="197"/>
                    </a:lnTo>
                    <a:lnTo>
                      <a:pt x="1429" y="206"/>
                    </a:lnTo>
                    <a:lnTo>
                      <a:pt x="1429" y="207"/>
                    </a:lnTo>
                    <a:lnTo>
                      <a:pt x="1428" y="214"/>
                    </a:lnTo>
                    <a:lnTo>
                      <a:pt x="1424" y="224"/>
                    </a:lnTo>
                    <a:lnTo>
                      <a:pt x="1424" y="226"/>
                    </a:lnTo>
                    <a:lnTo>
                      <a:pt x="1421" y="236"/>
                    </a:lnTo>
                    <a:lnTo>
                      <a:pt x="1416" y="238"/>
                    </a:lnTo>
                    <a:lnTo>
                      <a:pt x="1409" y="241"/>
                    </a:lnTo>
                    <a:lnTo>
                      <a:pt x="1400" y="245"/>
                    </a:lnTo>
                    <a:lnTo>
                      <a:pt x="1399" y="245"/>
                    </a:lnTo>
                    <a:lnTo>
                      <a:pt x="1397" y="246"/>
                    </a:lnTo>
                    <a:lnTo>
                      <a:pt x="1390" y="248"/>
                    </a:lnTo>
                    <a:lnTo>
                      <a:pt x="1390" y="250"/>
                    </a:lnTo>
                    <a:lnTo>
                      <a:pt x="1389" y="250"/>
                    </a:lnTo>
                    <a:lnTo>
                      <a:pt x="1389" y="252"/>
                    </a:lnTo>
                    <a:lnTo>
                      <a:pt x="1387" y="253"/>
                    </a:lnTo>
                    <a:lnTo>
                      <a:pt x="1387" y="252"/>
                    </a:lnTo>
                    <a:lnTo>
                      <a:pt x="1385" y="252"/>
                    </a:lnTo>
                    <a:lnTo>
                      <a:pt x="1385" y="253"/>
                    </a:lnTo>
                    <a:lnTo>
                      <a:pt x="1385" y="255"/>
                    </a:lnTo>
                    <a:lnTo>
                      <a:pt x="1383" y="255"/>
                    </a:lnTo>
                    <a:lnTo>
                      <a:pt x="1383" y="257"/>
                    </a:lnTo>
                    <a:lnTo>
                      <a:pt x="1382" y="257"/>
                    </a:lnTo>
                    <a:lnTo>
                      <a:pt x="1382" y="258"/>
                    </a:lnTo>
                    <a:lnTo>
                      <a:pt x="1382" y="260"/>
                    </a:lnTo>
                    <a:lnTo>
                      <a:pt x="1380" y="260"/>
                    </a:lnTo>
                    <a:lnTo>
                      <a:pt x="1380" y="262"/>
                    </a:lnTo>
                    <a:lnTo>
                      <a:pt x="1380" y="263"/>
                    </a:lnTo>
                    <a:lnTo>
                      <a:pt x="1380" y="265"/>
                    </a:lnTo>
                    <a:lnTo>
                      <a:pt x="1382" y="267"/>
                    </a:lnTo>
                    <a:lnTo>
                      <a:pt x="1383" y="267"/>
                    </a:lnTo>
                    <a:lnTo>
                      <a:pt x="1383" y="269"/>
                    </a:lnTo>
                    <a:lnTo>
                      <a:pt x="1383" y="270"/>
                    </a:lnTo>
                    <a:lnTo>
                      <a:pt x="1385" y="270"/>
                    </a:lnTo>
                    <a:lnTo>
                      <a:pt x="1385" y="272"/>
                    </a:lnTo>
                    <a:lnTo>
                      <a:pt x="1387" y="272"/>
                    </a:lnTo>
                    <a:lnTo>
                      <a:pt x="1387" y="274"/>
                    </a:lnTo>
                    <a:lnTo>
                      <a:pt x="1387" y="275"/>
                    </a:lnTo>
                    <a:lnTo>
                      <a:pt x="1385" y="275"/>
                    </a:lnTo>
                    <a:lnTo>
                      <a:pt x="1385" y="277"/>
                    </a:lnTo>
                    <a:lnTo>
                      <a:pt x="1385" y="275"/>
                    </a:lnTo>
                    <a:lnTo>
                      <a:pt x="1383" y="275"/>
                    </a:lnTo>
                    <a:lnTo>
                      <a:pt x="1382" y="277"/>
                    </a:lnTo>
                    <a:lnTo>
                      <a:pt x="1382" y="279"/>
                    </a:lnTo>
                    <a:lnTo>
                      <a:pt x="1382" y="280"/>
                    </a:lnTo>
                    <a:lnTo>
                      <a:pt x="1380" y="280"/>
                    </a:lnTo>
                    <a:lnTo>
                      <a:pt x="1380" y="282"/>
                    </a:lnTo>
                    <a:lnTo>
                      <a:pt x="1380" y="284"/>
                    </a:lnTo>
                    <a:lnTo>
                      <a:pt x="1382" y="284"/>
                    </a:lnTo>
                    <a:lnTo>
                      <a:pt x="1382" y="286"/>
                    </a:lnTo>
                    <a:lnTo>
                      <a:pt x="1380" y="286"/>
                    </a:lnTo>
                    <a:lnTo>
                      <a:pt x="1380" y="287"/>
                    </a:lnTo>
                    <a:lnTo>
                      <a:pt x="1378" y="287"/>
                    </a:lnTo>
                    <a:lnTo>
                      <a:pt x="1380" y="289"/>
                    </a:lnTo>
                    <a:lnTo>
                      <a:pt x="1380" y="291"/>
                    </a:lnTo>
                    <a:lnTo>
                      <a:pt x="1380" y="292"/>
                    </a:lnTo>
                    <a:lnTo>
                      <a:pt x="1382" y="292"/>
                    </a:lnTo>
                    <a:lnTo>
                      <a:pt x="1380" y="294"/>
                    </a:lnTo>
                    <a:lnTo>
                      <a:pt x="1380" y="296"/>
                    </a:lnTo>
                    <a:lnTo>
                      <a:pt x="1382" y="296"/>
                    </a:lnTo>
                    <a:lnTo>
                      <a:pt x="1382" y="297"/>
                    </a:lnTo>
                    <a:lnTo>
                      <a:pt x="1383" y="299"/>
                    </a:lnTo>
                    <a:lnTo>
                      <a:pt x="1383" y="304"/>
                    </a:lnTo>
                    <a:lnTo>
                      <a:pt x="1385" y="308"/>
                    </a:lnTo>
                    <a:lnTo>
                      <a:pt x="1385" y="309"/>
                    </a:lnTo>
                    <a:lnTo>
                      <a:pt x="1385" y="313"/>
                    </a:lnTo>
                    <a:lnTo>
                      <a:pt x="1385" y="316"/>
                    </a:lnTo>
                    <a:lnTo>
                      <a:pt x="1383" y="316"/>
                    </a:lnTo>
                    <a:lnTo>
                      <a:pt x="1382" y="318"/>
                    </a:lnTo>
                    <a:lnTo>
                      <a:pt x="1380" y="320"/>
                    </a:lnTo>
                    <a:lnTo>
                      <a:pt x="1380" y="323"/>
                    </a:lnTo>
                    <a:lnTo>
                      <a:pt x="1378" y="325"/>
                    </a:lnTo>
                    <a:lnTo>
                      <a:pt x="1378" y="326"/>
                    </a:lnTo>
                    <a:lnTo>
                      <a:pt x="1380" y="328"/>
                    </a:lnTo>
                    <a:lnTo>
                      <a:pt x="1380" y="330"/>
                    </a:lnTo>
                    <a:lnTo>
                      <a:pt x="1382" y="331"/>
                    </a:lnTo>
                    <a:lnTo>
                      <a:pt x="1382" y="333"/>
                    </a:lnTo>
                    <a:lnTo>
                      <a:pt x="1383" y="333"/>
                    </a:lnTo>
                    <a:lnTo>
                      <a:pt x="1383" y="335"/>
                    </a:lnTo>
                    <a:lnTo>
                      <a:pt x="1385" y="338"/>
                    </a:lnTo>
                    <a:lnTo>
                      <a:pt x="1387" y="338"/>
                    </a:lnTo>
                    <a:lnTo>
                      <a:pt x="1387" y="340"/>
                    </a:lnTo>
                    <a:lnTo>
                      <a:pt x="1389" y="342"/>
                    </a:lnTo>
                    <a:lnTo>
                      <a:pt x="1389" y="343"/>
                    </a:lnTo>
                    <a:lnTo>
                      <a:pt x="1390" y="343"/>
                    </a:lnTo>
                    <a:lnTo>
                      <a:pt x="1389" y="343"/>
                    </a:lnTo>
                    <a:lnTo>
                      <a:pt x="1389" y="345"/>
                    </a:lnTo>
                    <a:lnTo>
                      <a:pt x="1389" y="347"/>
                    </a:lnTo>
                    <a:lnTo>
                      <a:pt x="1389" y="349"/>
                    </a:lnTo>
                    <a:lnTo>
                      <a:pt x="1387" y="349"/>
                    </a:lnTo>
                    <a:lnTo>
                      <a:pt x="1385" y="349"/>
                    </a:lnTo>
                    <a:lnTo>
                      <a:pt x="1383" y="349"/>
                    </a:lnTo>
                    <a:lnTo>
                      <a:pt x="1383" y="350"/>
                    </a:lnTo>
                    <a:lnTo>
                      <a:pt x="1382" y="349"/>
                    </a:lnTo>
                    <a:lnTo>
                      <a:pt x="1383" y="350"/>
                    </a:lnTo>
                    <a:lnTo>
                      <a:pt x="1382" y="352"/>
                    </a:lnTo>
                    <a:lnTo>
                      <a:pt x="1380" y="350"/>
                    </a:lnTo>
                    <a:lnTo>
                      <a:pt x="1380" y="352"/>
                    </a:lnTo>
                    <a:lnTo>
                      <a:pt x="1380" y="354"/>
                    </a:lnTo>
                    <a:lnTo>
                      <a:pt x="1378" y="352"/>
                    </a:lnTo>
                    <a:lnTo>
                      <a:pt x="1378" y="354"/>
                    </a:lnTo>
                    <a:lnTo>
                      <a:pt x="1377" y="352"/>
                    </a:lnTo>
                    <a:lnTo>
                      <a:pt x="1377" y="350"/>
                    </a:lnTo>
                    <a:lnTo>
                      <a:pt x="1375" y="350"/>
                    </a:lnTo>
                    <a:lnTo>
                      <a:pt x="1373" y="350"/>
                    </a:lnTo>
                    <a:lnTo>
                      <a:pt x="1372" y="350"/>
                    </a:lnTo>
                    <a:lnTo>
                      <a:pt x="1372" y="352"/>
                    </a:lnTo>
                    <a:lnTo>
                      <a:pt x="1370" y="352"/>
                    </a:lnTo>
                    <a:lnTo>
                      <a:pt x="1370" y="354"/>
                    </a:lnTo>
                    <a:lnTo>
                      <a:pt x="1370" y="355"/>
                    </a:lnTo>
                    <a:lnTo>
                      <a:pt x="1370" y="357"/>
                    </a:lnTo>
                    <a:lnTo>
                      <a:pt x="1372" y="357"/>
                    </a:lnTo>
                    <a:lnTo>
                      <a:pt x="1370" y="357"/>
                    </a:lnTo>
                    <a:lnTo>
                      <a:pt x="1370" y="359"/>
                    </a:lnTo>
                    <a:lnTo>
                      <a:pt x="1368" y="359"/>
                    </a:lnTo>
                    <a:lnTo>
                      <a:pt x="1368" y="360"/>
                    </a:lnTo>
                    <a:lnTo>
                      <a:pt x="1368" y="362"/>
                    </a:lnTo>
                    <a:lnTo>
                      <a:pt x="1366" y="362"/>
                    </a:lnTo>
                    <a:lnTo>
                      <a:pt x="1368" y="362"/>
                    </a:lnTo>
                    <a:lnTo>
                      <a:pt x="1366" y="364"/>
                    </a:lnTo>
                    <a:lnTo>
                      <a:pt x="1366" y="362"/>
                    </a:lnTo>
                    <a:lnTo>
                      <a:pt x="1366" y="364"/>
                    </a:lnTo>
                    <a:lnTo>
                      <a:pt x="1365" y="364"/>
                    </a:lnTo>
                    <a:lnTo>
                      <a:pt x="1366" y="364"/>
                    </a:lnTo>
                    <a:lnTo>
                      <a:pt x="1366" y="366"/>
                    </a:lnTo>
                    <a:lnTo>
                      <a:pt x="1366" y="367"/>
                    </a:lnTo>
                    <a:lnTo>
                      <a:pt x="1365" y="367"/>
                    </a:lnTo>
                    <a:lnTo>
                      <a:pt x="1366" y="367"/>
                    </a:lnTo>
                    <a:lnTo>
                      <a:pt x="1365" y="369"/>
                    </a:lnTo>
                    <a:lnTo>
                      <a:pt x="1363" y="369"/>
                    </a:lnTo>
                    <a:lnTo>
                      <a:pt x="1363" y="371"/>
                    </a:lnTo>
                    <a:lnTo>
                      <a:pt x="1363" y="372"/>
                    </a:lnTo>
                    <a:lnTo>
                      <a:pt x="1363" y="374"/>
                    </a:lnTo>
                    <a:lnTo>
                      <a:pt x="1361" y="374"/>
                    </a:lnTo>
                    <a:lnTo>
                      <a:pt x="1361" y="376"/>
                    </a:lnTo>
                    <a:lnTo>
                      <a:pt x="1361" y="377"/>
                    </a:lnTo>
                    <a:lnTo>
                      <a:pt x="1361" y="379"/>
                    </a:lnTo>
                    <a:lnTo>
                      <a:pt x="1361" y="381"/>
                    </a:lnTo>
                    <a:lnTo>
                      <a:pt x="1360" y="381"/>
                    </a:lnTo>
                    <a:lnTo>
                      <a:pt x="1360" y="383"/>
                    </a:lnTo>
                    <a:lnTo>
                      <a:pt x="1360" y="384"/>
                    </a:lnTo>
                    <a:lnTo>
                      <a:pt x="1358" y="383"/>
                    </a:lnTo>
                    <a:lnTo>
                      <a:pt x="1356" y="384"/>
                    </a:lnTo>
                    <a:lnTo>
                      <a:pt x="1356" y="386"/>
                    </a:lnTo>
                    <a:lnTo>
                      <a:pt x="1355" y="388"/>
                    </a:lnTo>
                    <a:lnTo>
                      <a:pt x="1355" y="389"/>
                    </a:lnTo>
                    <a:lnTo>
                      <a:pt x="1353" y="391"/>
                    </a:lnTo>
                    <a:lnTo>
                      <a:pt x="1353" y="393"/>
                    </a:lnTo>
                    <a:lnTo>
                      <a:pt x="1351" y="393"/>
                    </a:lnTo>
                    <a:lnTo>
                      <a:pt x="1349" y="391"/>
                    </a:lnTo>
                    <a:lnTo>
                      <a:pt x="1349" y="393"/>
                    </a:lnTo>
                    <a:lnTo>
                      <a:pt x="1349" y="394"/>
                    </a:lnTo>
                    <a:lnTo>
                      <a:pt x="1348" y="394"/>
                    </a:lnTo>
                    <a:lnTo>
                      <a:pt x="1348" y="396"/>
                    </a:lnTo>
                    <a:lnTo>
                      <a:pt x="1348" y="398"/>
                    </a:lnTo>
                    <a:lnTo>
                      <a:pt x="1346" y="398"/>
                    </a:lnTo>
                    <a:lnTo>
                      <a:pt x="1344" y="398"/>
                    </a:lnTo>
                    <a:lnTo>
                      <a:pt x="1346" y="400"/>
                    </a:lnTo>
                    <a:lnTo>
                      <a:pt x="1344" y="400"/>
                    </a:lnTo>
                    <a:lnTo>
                      <a:pt x="1343" y="400"/>
                    </a:lnTo>
                    <a:lnTo>
                      <a:pt x="1343" y="401"/>
                    </a:lnTo>
                    <a:lnTo>
                      <a:pt x="1344" y="401"/>
                    </a:lnTo>
                    <a:lnTo>
                      <a:pt x="1343" y="401"/>
                    </a:lnTo>
                    <a:lnTo>
                      <a:pt x="1343" y="403"/>
                    </a:lnTo>
                    <a:lnTo>
                      <a:pt x="1343" y="405"/>
                    </a:lnTo>
                    <a:lnTo>
                      <a:pt x="1343" y="406"/>
                    </a:lnTo>
                    <a:lnTo>
                      <a:pt x="1341" y="406"/>
                    </a:lnTo>
                    <a:lnTo>
                      <a:pt x="1343" y="408"/>
                    </a:lnTo>
                    <a:lnTo>
                      <a:pt x="1341" y="408"/>
                    </a:lnTo>
                    <a:lnTo>
                      <a:pt x="1341" y="410"/>
                    </a:lnTo>
                    <a:lnTo>
                      <a:pt x="1341" y="411"/>
                    </a:lnTo>
                    <a:lnTo>
                      <a:pt x="1341" y="413"/>
                    </a:lnTo>
                    <a:lnTo>
                      <a:pt x="1341" y="415"/>
                    </a:lnTo>
                    <a:lnTo>
                      <a:pt x="1341" y="417"/>
                    </a:lnTo>
                    <a:lnTo>
                      <a:pt x="1339" y="417"/>
                    </a:lnTo>
                    <a:lnTo>
                      <a:pt x="1339" y="418"/>
                    </a:lnTo>
                    <a:lnTo>
                      <a:pt x="1339" y="420"/>
                    </a:lnTo>
                    <a:lnTo>
                      <a:pt x="1339" y="422"/>
                    </a:lnTo>
                    <a:lnTo>
                      <a:pt x="1339" y="423"/>
                    </a:lnTo>
                    <a:lnTo>
                      <a:pt x="1338" y="423"/>
                    </a:lnTo>
                    <a:lnTo>
                      <a:pt x="1339" y="425"/>
                    </a:lnTo>
                    <a:lnTo>
                      <a:pt x="1338" y="425"/>
                    </a:lnTo>
                    <a:lnTo>
                      <a:pt x="1338" y="427"/>
                    </a:lnTo>
                    <a:lnTo>
                      <a:pt x="1339" y="427"/>
                    </a:lnTo>
                    <a:lnTo>
                      <a:pt x="1338" y="427"/>
                    </a:lnTo>
                    <a:lnTo>
                      <a:pt x="1338" y="428"/>
                    </a:lnTo>
                    <a:lnTo>
                      <a:pt x="1336" y="428"/>
                    </a:lnTo>
                    <a:lnTo>
                      <a:pt x="1334" y="428"/>
                    </a:lnTo>
                    <a:lnTo>
                      <a:pt x="1334" y="430"/>
                    </a:lnTo>
                    <a:lnTo>
                      <a:pt x="1332" y="430"/>
                    </a:lnTo>
                    <a:lnTo>
                      <a:pt x="1332" y="432"/>
                    </a:lnTo>
                    <a:lnTo>
                      <a:pt x="1332" y="434"/>
                    </a:lnTo>
                    <a:lnTo>
                      <a:pt x="1331" y="434"/>
                    </a:lnTo>
                    <a:lnTo>
                      <a:pt x="1331" y="435"/>
                    </a:lnTo>
                    <a:lnTo>
                      <a:pt x="1331" y="437"/>
                    </a:lnTo>
                    <a:lnTo>
                      <a:pt x="1331" y="439"/>
                    </a:lnTo>
                    <a:lnTo>
                      <a:pt x="1332" y="439"/>
                    </a:lnTo>
                    <a:lnTo>
                      <a:pt x="1332" y="440"/>
                    </a:lnTo>
                    <a:lnTo>
                      <a:pt x="1332" y="442"/>
                    </a:lnTo>
                    <a:lnTo>
                      <a:pt x="1332" y="444"/>
                    </a:lnTo>
                    <a:lnTo>
                      <a:pt x="1334" y="444"/>
                    </a:lnTo>
                    <a:lnTo>
                      <a:pt x="1332" y="445"/>
                    </a:lnTo>
                    <a:lnTo>
                      <a:pt x="1334" y="445"/>
                    </a:lnTo>
                    <a:lnTo>
                      <a:pt x="1332" y="447"/>
                    </a:lnTo>
                    <a:lnTo>
                      <a:pt x="1334" y="447"/>
                    </a:lnTo>
                    <a:lnTo>
                      <a:pt x="1332" y="447"/>
                    </a:lnTo>
                    <a:lnTo>
                      <a:pt x="1332" y="449"/>
                    </a:lnTo>
                    <a:lnTo>
                      <a:pt x="1334" y="449"/>
                    </a:lnTo>
                    <a:lnTo>
                      <a:pt x="1334" y="451"/>
                    </a:lnTo>
                    <a:lnTo>
                      <a:pt x="1336" y="451"/>
                    </a:lnTo>
                    <a:lnTo>
                      <a:pt x="1336" y="452"/>
                    </a:lnTo>
                    <a:lnTo>
                      <a:pt x="1334" y="452"/>
                    </a:lnTo>
                    <a:lnTo>
                      <a:pt x="1334" y="454"/>
                    </a:lnTo>
                    <a:lnTo>
                      <a:pt x="1334" y="456"/>
                    </a:lnTo>
                    <a:lnTo>
                      <a:pt x="1336" y="456"/>
                    </a:lnTo>
                    <a:lnTo>
                      <a:pt x="1334" y="457"/>
                    </a:lnTo>
                    <a:lnTo>
                      <a:pt x="1336" y="457"/>
                    </a:lnTo>
                    <a:lnTo>
                      <a:pt x="1334" y="459"/>
                    </a:lnTo>
                    <a:lnTo>
                      <a:pt x="1334" y="461"/>
                    </a:lnTo>
                    <a:lnTo>
                      <a:pt x="1334" y="462"/>
                    </a:lnTo>
                    <a:lnTo>
                      <a:pt x="1334" y="464"/>
                    </a:lnTo>
                    <a:lnTo>
                      <a:pt x="1332" y="464"/>
                    </a:lnTo>
                    <a:lnTo>
                      <a:pt x="1332" y="466"/>
                    </a:lnTo>
                    <a:lnTo>
                      <a:pt x="1334" y="466"/>
                    </a:lnTo>
                    <a:lnTo>
                      <a:pt x="1336" y="466"/>
                    </a:lnTo>
                    <a:lnTo>
                      <a:pt x="1336" y="468"/>
                    </a:lnTo>
                    <a:lnTo>
                      <a:pt x="1338" y="468"/>
                    </a:lnTo>
                    <a:lnTo>
                      <a:pt x="1338" y="469"/>
                    </a:lnTo>
                    <a:lnTo>
                      <a:pt x="1338" y="471"/>
                    </a:lnTo>
                    <a:lnTo>
                      <a:pt x="1336" y="471"/>
                    </a:lnTo>
                    <a:lnTo>
                      <a:pt x="1336" y="469"/>
                    </a:lnTo>
                    <a:lnTo>
                      <a:pt x="1336" y="471"/>
                    </a:lnTo>
                    <a:lnTo>
                      <a:pt x="1336" y="473"/>
                    </a:lnTo>
                    <a:lnTo>
                      <a:pt x="1334" y="473"/>
                    </a:lnTo>
                    <a:lnTo>
                      <a:pt x="1334" y="474"/>
                    </a:lnTo>
                    <a:lnTo>
                      <a:pt x="1334" y="476"/>
                    </a:lnTo>
                    <a:lnTo>
                      <a:pt x="1332" y="476"/>
                    </a:lnTo>
                    <a:lnTo>
                      <a:pt x="1331" y="476"/>
                    </a:lnTo>
                    <a:lnTo>
                      <a:pt x="1331" y="478"/>
                    </a:lnTo>
                    <a:lnTo>
                      <a:pt x="1329" y="478"/>
                    </a:lnTo>
                    <a:lnTo>
                      <a:pt x="1329" y="476"/>
                    </a:lnTo>
                    <a:lnTo>
                      <a:pt x="1327" y="476"/>
                    </a:lnTo>
                    <a:lnTo>
                      <a:pt x="1327" y="474"/>
                    </a:lnTo>
                    <a:lnTo>
                      <a:pt x="1326" y="476"/>
                    </a:lnTo>
                    <a:lnTo>
                      <a:pt x="1327" y="478"/>
                    </a:lnTo>
                    <a:lnTo>
                      <a:pt x="1327" y="479"/>
                    </a:lnTo>
                    <a:lnTo>
                      <a:pt x="1326" y="479"/>
                    </a:lnTo>
                    <a:lnTo>
                      <a:pt x="1326" y="481"/>
                    </a:lnTo>
                    <a:lnTo>
                      <a:pt x="1324" y="481"/>
                    </a:lnTo>
                    <a:lnTo>
                      <a:pt x="1326" y="481"/>
                    </a:lnTo>
                    <a:lnTo>
                      <a:pt x="1324" y="483"/>
                    </a:lnTo>
                    <a:lnTo>
                      <a:pt x="1324" y="485"/>
                    </a:lnTo>
                    <a:lnTo>
                      <a:pt x="1324" y="486"/>
                    </a:lnTo>
                    <a:lnTo>
                      <a:pt x="1322" y="486"/>
                    </a:lnTo>
                    <a:lnTo>
                      <a:pt x="1322" y="488"/>
                    </a:lnTo>
                    <a:lnTo>
                      <a:pt x="1324" y="488"/>
                    </a:lnTo>
                    <a:lnTo>
                      <a:pt x="1322" y="488"/>
                    </a:lnTo>
                    <a:lnTo>
                      <a:pt x="1322" y="490"/>
                    </a:lnTo>
                    <a:lnTo>
                      <a:pt x="1322" y="491"/>
                    </a:lnTo>
                    <a:lnTo>
                      <a:pt x="1322" y="493"/>
                    </a:lnTo>
                    <a:lnTo>
                      <a:pt x="1322" y="495"/>
                    </a:lnTo>
                    <a:lnTo>
                      <a:pt x="1321" y="495"/>
                    </a:lnTo>
                    <a:lnTo>
                      <a:pt x="1321" y="497"/>
                    </a:lnTo>
                    <a:lnTo>
                      <a:pt x="1321" y="498"/>
                    </a:lnTo>
                    <a:lnTo>
                      <a:pt x="1321" y="500"/>
                    </a:lnTo>
                    <a:lnTo>
                      <a:pt x="1321" y="502"/>
                    </a:lnTo>
                    <a:lnTo>
                      <a:pt x="1322" y="502"/>
                    </a:lnTo>
                    <a:lnTo>
                      <a:pt x="1322" y="503"/>
                    </a:lnTo>
                    <a:lnTo>
                      <a:pt x="1321" y="503"/>
                    </a:lnTo>
                    <a:lnTo>
                      <a:pt x="1319" y="503"/>
                    </a:lnTo>
                    <a:lnTo>
                      <a:pt x="1319" y="505"/>
                    </a:lnTo>
                    <a:lnTo>
                      <a:pt x="1319" y="507"/>
                    </a:lnTo>
                    <a:lnTo>
                      <a:pt x="1317" y="508"/>
                    </a:lnTo>
                    <a:lnTo>
                      <a:pt x="1317" y="507"/>
                    </a:lnTo>
                    <a:lnTo>
                      <a:pt x="1317" y="505"/>
                    </a:lnTo>
                    <a:lnTo>
                      <a:pt x="1315" y="505"/>
                    </a:lnTo>
                    <a:lnTo>
                      <a:pt x="1315" y="503"/>
                    </a:lnTo>
                    <a:lnTo>
                      <a:pt x="1315" y="505"/>
                    </a:lnTo>
                    <a:lnTo>
                      <a:pt x="1314" y="505"/>
                    </a:lnTo>
                    <a:lnTo>
                      <a:pt x="1314" y="507"/>
                    </a:lnTo>
                    <a:lnTo>
                      <a:pt x="1314" y="508"/>
                    </a:lnTo>
                    <a:lnTo>
                      <a:pt x="1314" y="510"/>
                    </a:lnTo>
                    <a:lnTo>
                      <a:pt x="1314" y="512"/>
                    </a:lnTo>
                    <a:lnTo>
                      <a:pt x="1312" y="514"/>
                    </a:lnTo>
                    <a:lnTo>
                      <a:pt x="1314" y="514"/>
                    </a:lnTo>
                    <a:lnTo>
                      <a:pt x="1314" y="515"/>
                    </a:lnTo>
                    <a:lnTo>
                      <a:pt x="1314" y="517"/>
                    </a:lnTo>
                    <a:lnTo>
                      <a:pt x="1312" y="517"/>
                    </a:lnTo>
                    <a:lnTo>
                      <a:pt x="1312" y="519"/>
                    </a:lnTo>
                    <a:lnTo>
                      <a:pt x="1312" y="520"/>
                    </a:lnTo>
                    <a:lnTo>
                      <a:pt x="1312" y="522"/>
                    </a:lnTo>
                    <a:lnTo>
                      <a:pt x="1312" y="524"/>
                    </a:lnTo>
                    <a:lnTo>
                      <a:pt x="1312" y="525"/>
                    </a:lnTo>
                    <a:lnTo>
                      <a:pt x="1314" y="525"/>
                    </a:lnTo>
                    <a:lnTo>
                      <a:pt x="1314" y="527"/>
                    </a:lnTo>
                    <a:lnTo>
                      <a:pt x="1315" y="527"/>
                    </a:lnTo>
                    <a:lnTo>
                      <a:pt x="1315" y="529"/>
                    </a:lnTo>
                    <a:lnTo>
                      <a:pt x="1315" y="531"/>
                    </a:lnTo>
                    <a:lnTo>
                      <a:pt x="1315" y="532"/>
                    </a:lnTo>
                    <a:lnTo>
                      <a:pt x="1315" y="534"/>
                    </a:lnTo>
                    <a:lnTo>
                      <a:pt x="1317" y="536"/>
                    </a:lnTo>
                    <a:lnTo>
                      <a:pt x="1319" y="536"/>
                    </a:lnTo>
                    <a:lnTo>
                      <a:pt x="1321" y="536"/>
                    </a:lnTo>
                    <a:lnTo>
                      <a:pt x="1322" y="536"/>
                    </a:lnTo>
                    <a:lnTo>
                      <a:pt x="1322" y="537"/>
                    </a:lnTo>
                    <a:lnTo>
                      <a:pt x="1324" y="537"/>
                    </a:lnTo>
                    <a:lnTo>
                      <a:pt x="1324" y="539"/>
                    </a:lnTo>
                    <a:lnTo>
                      <a:pt x="1322" y="541"/>
                    </a:lnTo>
                    <a:lnTo>
                      <a:pt x="1322" y="542"/>
                    </a:lnTo>
                    <a:lnTo>
                      <a:pt x="1321" y="542"/>
                    </a:lnTo>
                    <a:lnTo>
                      <a:pt x="1319" y="541"/>
                    </a:lnTo>
                    <a:lnTo>
                      <a:pt x="1319" y="542"/>
                    </a:lnTo>
                    <a:lnTo>
                      <a:pt x="1321" y="544"/>
                    </a:lnTo>
                    <a:lnTo>
                      <a:pt x="1319" y="544"/>
                    </a:lnTo>
                    <a:lnTo>
                      <a:pt x="1321" y="544"/>
                    </a:lnTo>
                    <a:lnTo>
                      <a:pt x="1321" y="546"/>
                    </a:lnTo>
                    <a:lnTo>
                      <a:pt x="1321" y="548"/>
                    </a:lnTo>
                    <a:lnTo>
                      <a:pt x="1321" y="549"/>
                    </a:lnTo>
                    <a:lnTo>
                      <a:pt x="1321" y="551"/>
                    </a:lnTo>
                    <a:lnTo>
                      <a:pt x="1322" y="553"/>
                    </a:lnTo>
                    <a:lnTo>
                      <a:pt x="1324" y="553"/>
                    </a:lnTo>
                    <a:lnTo>
                      <a:pt x="1324" y="554"/>
                    </a:lnTo>
                    <a:lnTo>
                      <a:pt x="1324" y="556"/>
                    </a:lnTo>
                    <a:lnTo>
                      <a:pt x="1324" y="558"/>
                    </a:lnTo>
                    <a:lnTo>
                      <a:pt x="1326" y="559"/>
                    </a:lnTo>
                    <a:lnTo>
                      <a:pt x="1327" y="559"/>
                    </a:lnTo>
                    <a:lnTo>
                      <a:pt x="1326" y="561"/>
                    </a:lnTo>
                    <a:lnTo>
                      <a:pt x="1327" y="561"/>
                    </a:lnTo>
                    <a:lnTo>
                      <a:pt x="1327" y="563"/>
                    </a:lnTo>
                    <a:lnTo>
                      <a:pt x="1326" y="565"/>
                    </a:lnTo>
                    <a:lnTo>
                      <a:pt x="1326" y="566"/>
                    </a:lnTo>
                    <a:lnTo>
                      <a:pt x="1326" y="568"/>
                    </a:lnTo>
                    <a:lnTo>
                      <a:pt x="1326" y="570"/>
                    </a:lnTo>
                    <a:lnTo>
                      <a:pt x="1327" y="570"/>
                    </a:lnTo>
                    <a:lnTo>
                      <a:pt x="1327" y="571"/>
                    </a:lnTo>
                    <a:lnTo>
                      <a:pt x="1327" y="573"/>
                    </a:lnTo>
                    <a:lnTo>
                      <a:pt x="1329" y="573"/>
                    </a:lnTo>
                    <a:lnTo>
                      <a:pt x="1329" y="575"/>
                    </a:lnTo>
                    <a:lnTo>
                      <a:pt x="1331" y="576"/>
                    </a:lnTo>
                    <a:lnTo>
                      <a:pt x="1331" y="578"/>
                    </a:lnTo>
                    <a:lnTo>
                      <a:pt x="1331" y="580"/>
                    </a:lnTo>
                    <a:lnTo>
                      <a:pt x="1332" y="580"/>
                    </a:lnTo>
                    <a:lnTo>
                      <a:pt x="1331" y="580"/>
                    </a:lnTo>
                    <a:lnTo>
                      <a:pt x="1331" y="582"/>
                    </a:lnTo>
                    <a:lnTo>
                      <a:pt x="1329" y="582"/>
                    </a:lnTo>
                    <a:lnTo>
                      <a:pt x="1327" y="583"/>
                    </a:lnTo>
                    <a:lnTo>
                      <a:pt x="1329" y="583"/>
                    </a:lnTo>
                    <a:lnTo>
                      <a:pt x="1329" y="585"/>
                    </a:lnTo>
                    <a:lnTo>
                      <a:pt x="1329" y="587"/>
                    </a:lnTo>
                    <a:lnTo>
                      <a:pt x="1329" y="588"/>
                    </a:lnTo>
                    <a:lnTo>
                      <a:pt x="1329" y="590"/>
                    </a:lnTo>
                    <a:lnTo>
                      <a:pt x="1331" y="590"/>
                    </a:lnTo>
                    <a:lnTo>
                      <a:pt x="1331" y="592"/>
                    </a:lnTo>
                    <a:lnTo>
                      <a:pt x="1331" y="593"/>
                    </a:lnTo>
                    <a:lnTo>
                      <a:pt x="1332" y="593"/>
                    </a:lnTo>
                    <a:lnTo>
                      <a:pt x="1332" y="592"/>
                    </a:lnTo>
                    <a:lnTo>
                      <a:pt x="1334" y="592"/>
                    </a:lnTo>
                    <a:lnTo>
                      <a:pt x="1334" y="590"/>
                    </a:lnTo>
                    <a:lnTo>
                      <a:pt x="1334" y="592"/>
                    </a:lnTo>
                    <a:lnTo>
                      <a:pt x="1336" y="592"/>
                    </a:lnTo>
                    <a:lnTo>
                      <a:pt x="1338" y="592"/>
                    </a:lnTo>
                    <a:lnTo>
                      <a:pt x="1338" y="593"/>
                    </a:lnTo>
                    <a:lnTo>
                      <a:pt x="1339" y="593"/>
                    </a:lnTo>
                    <a:lnTo>
                      <a:pt x="1339" y="595"/>
                    </a:lnTo>
                    <a:lnTo>
                      <a:pt x="1339" y="597"/>
                    </a:lnTo>
                    <a:lnTo>
                      <a:pt x="1338" y="597"/>
                    </a:lnTo>
                    <a:lnTo>
                      <a:pt x="1338" y="599"/>
                    </a:lnTo>
                    <a:lnTo>
                      <a:pt x="1338" y="600"/>
                    </a:lnTo>
                    <a:lnTo>
                      <a:pt x="1338" y="602"/>
                    </a:lnTo>
                    <a:lnTo>
                      <a:pt x="1336" y="602"/>
                    </a:lnTo>
                    <a:lnTo>
                      <a:pt x="1336" y="604"/>
                    </a:lnTo>
                    <a:lnTo>
                      <a:pt x="1336" y="605"/>
                    </a:lnTo>
                    <a:lnTo>
                      <a:pt x="1336" y="607"/>
                    </a:lnTo>
                    <a:lnTo>
                      <a:pt x="1336" y="609"/>
                    </a:lnTo>
                    <a:lnTo>
                      <a:pt x="1336" y="610"/>
                    </a:lnTo>
                    <a:lnTo>
                      <a:pt x="1334" y="610"/>
                    </a:lnTo>
                    <a:lnTo>
                      <a:pt x="1334" y="612"/>
                    </a:lnTo>
                    <a:lnTo>
                      <a:pt x="1334" y="614"/>
                    </a:lnTo>
                    <a:lnTo>
                      <a:pt x="1334" y="616"/>
                    </a:lnTo>
                    <a:lnTo>
                      <a:pt x="1336" y="616"/>
                    </a:lnTo>
                    <a:lnTo>
                      <a:pt x="1336" y="617"/>
                    </a:lnTo>
                    <a:lnTo>
                      <a:pt x="1334" y="617"/>
                    </a:lnTo>
                    <a:lnTo>
                      <a:pt x="1334" y="619"/>
                    </a:lnTo>
                    <a:lnTo>
                      <a:pt x="1336" y="621"/>
                    </a:lnTo>
                    <a:lnTo>
                      <a:pt x="1336" y="619"/>
                    </a:lnTo>
                    <a:lnTo>
                      <a:pt x="1336" y="621"/>
                    </a:lnTo>
                    <a:lnTo>
                      <a:pt x="1338" y="622"/>
                    </a:lnTo>
                    <a:lnTo>
                      <a:pt x="1336" y="622"/>
                    </a:lnTo>
                    <a:lnTo>
                      <a:pt x="1336" y="624"/>
                    </a:lnTo>
                    <a:lnTo>
                      <a:pt x="1338" y="624"/>
                    </a:lnTo>
                    <a:lnTo>
                      <a:pt x="1336" y="626"/>
                    </a:lnTo>
                    <a:lnTo>
                      <a:pt x="1336" y="627"/>
                    </a:lnTo>
                    <a:lnTo>
                      <a:pt x="1338" y="627"/>
                    </a:lnTo>
                    <a:lnTo>
                      <a:pt x="1338" y="629"/>
                    </a:lnTo>
                    <a:lnTo>
                      <a:pt x="1338" y="631"/>
                    </a:lnTo>
                    <a:lnTo>
                      <a:pt x="1336" y="631"/>
                    </a:lnTo>
                    <a:lnTo>
                      <a:pt x="1336" y="633"/>
                    </a:lnTo>
                    <a:lnTo>
                      <a:pt x="1334" y="633"/>
                    </a:lnTo>
                    <a:lnTo>
                      <a:pt x="1332" y="633"/>
                    </a:lnTo>
                    <a:lnTo>
                      <a:pt x="1332" y="631"/>
                    </a:lnTo>
                    <a:lnTo>
                      <a:pt x="1332" y="633"/>
                    </a:lnTo>
                    <a:lnTo>
                      <a:pt x="1331" y="633"/>
                    </a:lnTo>
                    <a:lnTo>
                      <a:pt x="1331" y="634"/>
                    </a:lnTo>
                    <a:lnTo>
                      <a:pt x="1331" y="636"/>
                    </a:lnTo>
                    <a:lnTo>
                      <a:pt x="1331" y="638"/>
                    </a:lnTo>
                    <a:lnTo>
                      <a:pt x="1329" y="639"/>
                    </a:lnTo>
                    <a:lnTo>
                      <a:pt x="1329" y="641"/>
                    </a:lnTo>
                    <a:lnTo>
                      <a:pt x="1327" y="641"/>
                    </a:lnTo>
                    <a:lnTo>
                      <a:pt x="1326" y="643"/>
                    </a:lnTo>
                    <a:lnTo>
                      <a:pt x="1326" y="644"/>
                    </a:lnTo>
                    <a:lnTo>
                      <a:pt x="1324" y="646"/>
                    </a:lnTo>
                    <a:lnTo>
                      <a:pt x="1324" y="648"/>
                    </a:lnTo>
                    <a:lnTo>
                      <a:pt x="1324" y="650"/>
                    </a:lnTo>
                    <a:lnTo>
                      <a:pt x="1322" y="650"/>
                    </a:lnTo>
                    <a:lnTo>
                      <a:pt x="1322" y="651"/>
                    </a:lnTo>
                    <a:lnTo>
                      <a:pt x="1321" y="651"/>
                    </a:lnTo>
                    <a:lnTo>
                      <a:pt x="1321" y="653"/>
                    </a:lnTo>
                    <a:lnTo>
                      <a:pt x="1322" y="653"/>
                    </a:lnTo>
                    <a:lnTo>
                      <a:pt x="1322" y="655"/>
                    </a:lnTo>
                    <a:lnTo>
                      <a:pt x="1322" y="656"/>
                    </a:lnTo>
                    <a:lnTo>
                      <a:pt x="1321" y="658"/>
                    </a:lnTo>
                    <a:lnTo>
                      <a:pt x="1321" y="660"/>
                    </a:lnTo>
                    <a:lnTo>
                      <a:pt x="1321" y="662"/>
                    </a:lnTo>
                    <a:lnTo>
                      <a:pt x="1319" y="662"/>
                    </a:lnTo>
                    <a:lnTo>
                      <a:pt x="1319" y="663"/>
                    </a:lnTo>
                    <a:lnTo>
                      <a:pt x="1319" y="665"/>
                    </a:lnTo>
                    <a:lnTo>
                      <a:pt x="1319" y="667"/>
                    </a:lnTo>
                    <a:lnTo>
                      <a:pt x="1319" y="668"/>
                    </a:lnTo>
                    <a:lnTo>
                      <a:pt x="1319" y="670"/>
                    </a:lnTo>
                    <a:lnTo>
                      <a:pt x="1317" y="670"/>
                    </a:lnTo>
                    <a:lnTo>
                      <a:pt x="1315" y="670"/>
                    </a:lnTo>
                    <a:lnTo>
                      <a:pt x="1314" y="670"/>
                    </a:lnTo>
                    <a:lnTo>
                      <a:pt x="1312" y="670"/>
                    </a:lnTo>
                    <a:lnTo>
                      <a:pt x="1312" y="672"/>
                    </a:lnTo>
                    <a:lnTo>
                      <a:pt x="1312" y="673"/>
                    </a:lnTo>
                    <a:lnTo>
                      <a:pt x="1312" y="675"/>
                    </a:lnTo>
                    <a:lnTo>
                      <a:pt x="1314" y="675"/>
                    </a:lnTo>
                    <a:lnTo>
                      <a:pt x="1315" y="675"/>
                    </a:lnTo>
                    <a:lnTo>
                      <a:pt x="1317" y="675"/>
                    </a:lnTo>
                    <a:lnTo>
                      <a:pt x="1317" y="677"/>
                    </a:lnTo>
                    <a:lnTo>
                      <a:pt x="1315" y="679"/>
                    </a:lnTo>
                    <a:lnTo>
                      <a:pt x="1317" y="679"/>
                    </a:lnTo>
                    <a:lnTo>
                      <a:pt x="1315" y="680"/>
                    </a:lnTo>
                    <a:lnTo>
                      <a:pt x="1317" y="680"/>
                    </a:lnTo>
                    <a:lnTo>
                      <a:pt x="1315" y="682"/>
                    </a:lnTo>
                    <a:lnTo>
                      <a:pt x="1317" y="682"/>
                    </a:lnTo>
                    <a:lnTo>
                      <a:pt x="1319" y="684"/>
                    </a:lnTo>
                    <a:lnTo>
                      <a:pt x="1317" y="684"/>
                    </a:lnTo>
                    <a:lnTo>
                      <a:pt x="1317" y="685"/>
                    </a:lnTo>
                    <a:lnTo>
                      <a:pt x="1319" y="687"/>
                    </a:lnTo>
                    <a:lnTo>
                      <a:pt x="1317" y="689"/>
                    </a:lnTo>
                    <a:lnTo>
                      <a:pt x="1317" y="690"/>
                    </a:lnTo>
                    <a:lnTo>
                      <a:pt x="1319" y="690"/>
                    </a:lnTo>
                    <a:lnTo>
                      <a:pt x="1319" y="692"/>
                    </a:lnTo>
                    <a:lnTo>
                      <a:pt x="1319" y="694"/>
                    </a:lnTo>
                    <a:lnTo>
                      <a:pt x="1319" y="696"/>
                    </a:lnTo>
                    <a:lnTo>
                      <a:pt x="1321" y="696"/>
                    </a:lnTo>
                    <a:lnTo>
                      <a:pt x="1321" y="697"/>
                    </a:lnTo>
                    <a:lnTo>
                      <a:pt x="1319" y="697"/>
                    </a:lnTo>
                    <a:lnTo>
                      <a:pt x="1317" y="697"/>
                    </a:lnTo>
                    <a:lnTo>
                      <a:pt x="1317" y="699"/>
                    </a:lnTo>
                    <a:lnTo>
                      <a:pt x="1317" y="701"/>
                    </a:lnTo>
                    <a:lnTo>
                      <a:pt x="1319" y="701"/>
                    </a:lnTo>
                    <a:lnTo>
                      <a:pt x="1317" y="702"/>
                    </a:lnTo>
                    <a:lnTo>
                      <a:pt x="1319" y="702"/>
                    </a:lnTo>
                    <a:lnTo>
                      <a:pt x="1319" y="704"/>
                    </a:lnTo>
                    <a:lnTo>
                      <a:pt x="1319" y="706"/>
                    </a:lnTo>
                    <a:lnTo>
                      <a:pt x="1317" y="706"/>
                    </a:lnTo>
                    <a:lnTo>
                      <a:pt x="1317" y="707"/>
                    </a:lnTo>
                    <a:lnTo>
                      <a:pt x="1317" y="709"/>
                    </a:lnTo>
                    <a:lnTo>
                      <a:pt x="1317" y="711"/>
                    </a:lnTo>
                    <a:lnTo>
                      <a:pt x="1315" y="711"/>
                    </a:lnTo>
                    <a:lnTo>
                      <a:pt x="1314" y="711"/>
                    </a:lnTo>
                    <a:lnTo>
                      <a:pt x="1314" y="709"/>
                    </a:lnTo>
                    <a:lnTo>
                      <a:pt x="1312" y="709"/>
                    </a:lnTo>
                    <a:lnTo>
                      <a:pt x="1312" y="711"/>
                    </a:lnTo>
                    <a:lnTo>
                      <a:pt x="1310" y="711"/>
                    </a:lnTo>
                    <a:lnTo>
                      <a:pt x="1310" y="713"/>
                    </a:lnTo>
                    <a:lnTo>
                      <a:pt x="1310" y="714"/>
                    </a:lnTo>
                    <a:lnTo>
                      <a:pt x="1309" y="714"/>
                    </a:lnTo>
                    <a:lnTo>
                      <a:pt x="1307" y="714"/>
                    </a:lnTo>
                    <a:lnTo>
                      <a:pt x="1309" y="716"/>
                    </a:lnTo>
                    <a:lnTo>
                      <a:pt x="1307" y="718"/>
                    </a:lnTo>
                    <a:lnTo>
                      <a:pt x="1307" y="719"/>
                    </a:lnTo>
                    <a:lnTo>
                      <a:pt x="1309" y="719"/>
                    </a:lnTo>
                    <a:lnTo>
                      <a:pt x="1309" y="721"/>
                    </a:lnTo>
                    <a:lnTo>
                      <a:pt x="1307" y="721"/>
                    </a:lnTo>
                    <a:lnTo>
                      <a:pt x="1305" y="721"/>
                    </a:lnTo>
                    <a:lnTo>
                      <a:pt x="1304" y="721"/>
                    </a:lnTo>
                    <a:lnTo>
                      <a:pt x="1304" y="719"/>
                    </a:lnTo>
                    <a:lnTo>
                      <a:pt x="1304" y="721"/>
                    </a:lnTo>
                    <a:lnTo>
                      <a:pt x="1302" y="721"/>
                    </a:lnTo>
                    <a:lnTo>
                      <a:pt x="1302" y="719"/>
                    </a:lnTo>
                    <a:lnTo>
                      <a:pt x="1302" y="721"/>
                    </a:lnTo>
                    <a:lnTo>
                      <a:pt x="1302" y="723"/>
                    </a:lnTo>
                    <a:lnTo>
                      <a:pt x="1300" y="723"/>
                    </a:lnTo>
                    <a:lnTo>
                      <a:pt x="1300" y="724"/>
                    </a:lnTo>
                    <a:lnTo>
                      <a:pt x="1298" y="724"/>
                    </a:lnTo>
                    <a:lnTo>
                      <a:pt x="1297" y="724"/>
                    </a:lnTo>
                    <a:lnTo>
                      <a:pt x="1297" y="723"/>
                    </a:lnTo>
                    <a:lnTo>
                      <a:pt x="1297" y="724"/>
                    </a:lnTo>
                    <a:lnTo>
                      <a:pt x="1295" y="726"/>
                    </a:lnTo>
                    <a:lnTo>
                      <a:pt x="1297" y="726"/>
                    </a:lnTo>
                    <a:lnTo>
                      <a:pt x="1295" y="728"/>
                    </a:lnTo>
                    <a:lnTo>
                      <a:pt x="1297" y="728"/>
                    </a:lnTo>
                    <a:lnTo>
                      <a:pt x="1295" y="730"/>
                    </a:lnTo>
                    <a:lnTo>
                      <a:pt x="1297" y="730"/>
                    </a:lnTo>
                    <a:lnTo>
                      <a:pt x="1297" y="731"/>
                    </a:lnTo>
                    <a:lnTo>
                      <a:pt x="1297" y="733"/>
                    </a:lnTo>
                    <a:lnTo>
                      <a:pt x="1295" y="733"/>
                    </a:lnTo>
                    <a:lnTo>
                      <a:pt x="1295" y="731"/>
                    </a:lnTo>
                    <a:lnTo>
                      <a:pt x="1293" y="731"/>
                    </a:lnTo>
                    <a:lnTo>
                      <a:pt x="1293" y="733"/>
                    </a:lnTo>
                    <a:lnTo>
                      <a:pt x="1293" y="735"/>
                    </a:lnTo>
                    <a:lnTo>
                      <a:pt x="1293" y="736"/>
                    </a:lnTo>
                    <a:lnTo>
                      <a:pt x="1293" y="738"/>
                    </a:lnTo>
                    <a:lnTo>
                      <a:pt x="1292" y="738"/>
                    </a:lnTo>
                    <a:lnTo>
                      <a:pt x="1292" y="740"/>
                    </a:lnTo>
                    <a:lnTo>
                      <a:pt x="1293" y="740"/>
                    </a:lnTo>
                    <a:lnTo>
                      <a:pt x="1293" y="741"/>
                    </a:lnTo>
                    <a:lnTo>
                      <a:pt x="1292" y="741"/>
                    </a:lnTo>
                    <a:lnTo>
                      <a:pt x="1293" y="743"/>
                    </a:lnTo>
                    <a:lnTo>
                      <a:pt x="1295" y="743"/>
                    </a:lnTo>
                    <a:lnTo>
                      <a:pt x="1293" y="743"/>
                    </a:lnTo>
                    <a:lnTo>
                      <a:pt x="1293" y="745"/>
                    </a:lnTo>
                    <a:lnTo>
                      <a:pt x="1292" y="745"/>
                    </a:lnTo>
                    <a:lnTo>
                      <a:pt x="1290" y="745"/>
                    </a:lnTo>
                    <a:lnTo>
                      <a:pt x="1292" y="745"/>
                    </a:lnTo>
                    <a:lnTo>
                      <a:pt x="1292" y="747"/>
                    </a:lnTo>
                    <a:lnTo>
                      <a:pt x="1293" y="747"/>
                    </a:lnTo>
                    <a:lnTo>
                      <a:pt x="1293" y="748"/>
                    </a:lnTo>
                    <a:lnTo>
                      <a:pt x="1293" y="750"/>
                    </a:lnTo>
                    <a:lnTo>
                      <a:pt x="1295" y="750"/>
                    </a:lnTo>
                    <a:lnTo>
                      <a:pt x="1295" y="752"/>
                    </a:lnTo>
                    <a:lnTo>
                      <a:pt x="1293" y="752"/>
                    </a:lnTo>
                    <a:lnTo>
                      <a:pt x="1293" y="753"/>
                    </a:lnTo>
                    <a:lnTo>
                      <a:pt x="1293" y="755"/>
                    </a:lnTo>
                    <a:lnTo>
                      <a:pt x="1292" y="755"/>
                    </a:lnTo>
                    <a:lnTo>
                      <a:pt x="1292" y="757"/>
                    </a:lnTo>
                    <a:lnTo>
                      <a:pt x="1290" y="757"/>
                    </a:lnTo>
                    <a:lnTo>
                      <a:pt x="1290" y="758"/>
                    </a:lnTo>
                    <a:lnTo>
                      <a:pt x="1290" y="760"/>
                    </a:lnTo>
                    <a:lnTo>
                      <a:pt x="1292" y="760"/>
                    </a:lnTo>
                    <a:lnTo>
                      <a:pt x="1290" y="762"/>
                    </a:lnTo>
                    <a:lnTo>
                      <a:pt x="1292" y="762"/>
                    </a:lnTo>
                    <a:lnTo>
                      <a:pt x="1293" y="764"/>
                    </a:lnTo>
                    <a:lnTo>
                      <a:pt x="1293" y="765"/>
                    </a:lnTo>
                    <a:lnTo>
                      <a:pt x="1293" y="767"/>
                    </a:lnTo>
                    <a:lnTo>
                      <a:pt x="1293" y="769"/>
                    </a:lnTo>
                    <a:lnTo>
                      <a:pt x="1292" y="769"/>
                    </a:lnTo>
                    <a:lnTo>
                      <a:pt x="1293" y="769"/>
                    </a:lnTo>
                    <a:lnTo>
                      <a:pt x="1293" y="770"/>
                    </a:lnTo>
                    <a:lnTo>
                      <a:pt x="1292" y="772"/>
                    </a:lnTo>
                    <a:lnTo>
                      <a:pt x="1290" y="774"/>
                    </a:lnTo>
                    <a:lnTo>
                      <a:pt x="1290" y="775"/>
                    </a:lnTo>
                    <a:lnTo>
                      <a:pt x="1292" y="775"/>
                    </a:lnTo>
                    <a:lnTo>
                      <a:pt x="1292" y="777"/>
                    </a:lnTo>
                    <a:lnTo>
                      <a:pt x="1292" y="779"/>
                    </a:lnTo>
                    <a:lnTo>
                      <a:pt x="1292" y="781"/>
                    </a:lnTo>
                    <a:lnTo>
                      <a:pt x="1293" y="781"/>
                    </a:lnTo>
                    <a:lnTo>
                      <a:pt x="1292" y="781"/>
                    </a:lnTo>
                    <a:lnTo>
                      <a:pt x="1292" y="782"/>
                    </a:lnTo>
                    <a:lnTo>
                      <a:pt x="1293" y="782"/>
                    </a:lnTo>
                    <a:lnTo>
                      <a:pt x="1293" y="784"/>
                    </a:lnTo>
                    <a:lnTo>
                      <a:pt x="1293" y="786"/>
                    </a:lnTo>
                    <a:lnTo>
                      <a:pt x="1295" y="787"/>
                    </a:lnTo>
                    <a:lnTo>
                      <a:pt x="1295" y="789"/>
                    </a:lnTo>
                    <a:lnTo>
                      <a:pt x="1295" y="791"/>
                    </a:lnTo>
                    <a:lnTo>
                      <a:pt x="1297" y="791"/>
                    </a:lnTo>
                    <a:lnTo>
                      <a:pt x="1297" y="792"/>
                    </a:lnTo>
                    <a:lnTo>
                      <a:pt x="1298" y="792"/>
                    </a:lnTo>
                    <a:lnTo>
                      <a:pt x="1297" y="792"/>
                    </a:lnTo>
                    <a:lnTo>
                      <a:pt x="1295" y="792"/>
                    </a:lnTo>
                    <a:lnTo>
                      <a:pt x="1297" y="794"/>
                    </a:lnTo>
                    <a:lnTo>
                      <a:pt x="1298" y="796"/>
                    </a:lnTo>
                    <a:lnTo>
                      <a:pt x="1298" y="798"/>
                    </a:lnTo>
                    <a:lnTo>
                      <a:pt x="1297" y="798"/>
                    </a:lnTo>
                    <a:lnTo>
                      <a:pt x="1297" y="799"/>
                    </a:lnTo>
                    <a:lnTo>
                      <a:pt x="1297" y="801"/>
                    </a:lnTo>
                    <a:lnTo>
                      <a:pt x="1297" y="803"/>
                    </a:lnTo>
                    <a:lnTo>
                      <a:pt x="1298" y="803"/>
                    </a:lnTo>
                    <a:lnTo>
                      <a:pt x="1297" y="803"/>
                    </a:lnTo>
                    <a:lnTo>
                      <a:pt x="1298" y="804"/>
                    </a:lnTo>
                    <a:lnTo>
                      <a:pt x="1298" y="806"/>
                    </a:lnTo>
                    <a:lnTo>
                      <a:pt x="1298" y="808"/>
                    </a:lnTo>
                    <a:lnTo>
                      <a:pt x="1300" y="808"/>
                    </a:lnTo>
                    <a:lnTo>
                      <a:pt x="1300" y="809"/>
                    </a:lnTo>
                    <a:lnTo>
                      <a:pt x="1302" y="809"/>
                    </a:lnTo>
                    <a:lnTo>
                      <a:pt x="1302" y="811"/>
                    </a:lnTo>
                    <a:lnTo>
                      <a:pt x="1304" y="811"/>
                    </a:lnTo>
                    <a:lnTo>
                      <a:pt x="1304" y="813"/>
                    </a:lnTo>
                    <a:lnTo>
                      <a:pt x="1304" y="815"/>
                    </a:lnTo>
                    <a:lnTo>
                      <a:pt x="1302" y="815"/>
                    </a:lnTo>
                    <a:lnTo>
                      <a:pt x="1302" y="816"/>
                    </a:lnTo>
                    <a:lnTo>
                      <a:pt x="1300" y="816"/>
                    </a:lnTo>
                    <a:lnTo>
                      <a:pt x="1300" y="818"/>
                    </a:lnTo>
                    <a:lnTo>
                      <a:pt x="1302" y="818"/>
                    </a:lnTo>
                    <a:lnTo>
                      <a:pt x="1302" y="820"/>
                    </a:lnTo>
                    <a:lnTo>
                      <a:pt x="1300" y="820"/>
                    </a:lnTo>
                    <a:lnTo>
                      <a:pt x="1300" y="821"/>
                    </a:lnTo>
                    <a:lnTo>
                      <a:pt x="1298" y="821"/>
                    </a:lnTo>
                    <a:lnTo>
                      <a:pt x="1297" y="821"/>
                    </a:lnTo>
                    <a:lnTo>
                      <a:pt x="1295" y="821"/>
                    </a:lnTo>
                    <a:lnTo>
                      <a:pt x="1293" y="821"/>
                    </a:lnTo>
                    <a:lnTo>
                      <a:pt x="1293" y="823"/>
                    </a:lnTo>
                    <a:lnTo>
                      <a:pt x="1292" y="823"/>
                    </a:lnTo>
                    <a:lnTo>
                      <a:pt x="1290" y="823"/>
                    </a:lnTo>
                    <a:lnTo>
                      <a:pt x="1288" y="823"/>
                    </a:lnTo>
                    <a:lnTo>
                      <a:pt x="1288" y="825"/>
                    </a:lnTo>
                    <a:lnTo>
                      <a:pt x="1287" y="827"/>
                    </a:lnTo>
                    <a:lnTo>
                      <a:pt x="1285" y="827"/>
                    </a:lnTo>
                    <a:lnTo>
                      <a:pt x="1285" y="828"/>
                    </a:lnTo>
                    <a:lnTo>
                      <a:pt x="1283" y="828"/>
                    </a:lnTo>
                    <a:lnTo>
                      <a:pt x="1283" y="830"/>
                    </a:lnTo>
                    <a:lnTo>
                      <a:pt x="1283" y="832"/>
                    </a:lnTo>
                    <a:lnTo>
                      <a:pt x="1283" y="833"/>
                    </a:lnTo>
                    <a:lnTo>
                      <a:pt x="1285" y="833"/>
                    </a:lnTo>
                    <a:lnTo>
                      <a:pt x="1283" y="833"/>
                    </a:lnTo>
                    <a:lnTo>
                      <a:pt x="1283" y="835"/>
                    </a:lnTo>
                    <a:lnTo>
                      <a:pt x="1283" y="837"/>
                    </a:lnTo>
                    <a:lnTo>
                      <a:pt x="1283" y="838"/>
                    </a:lnTo>
                    <a:lnTo>
                      <a:pt x="1285" y="840"/>
                    </a:lnTo>
                    <a:lnTo>
                      <a:pt x="1285" y="842"/>
                    </a:lnTo>
                    <a:lnTo>
                      <a:pt x="1285" y="844"/>
                    </a:lnTo>
                    <a:lnTo>
                      <a:pt x="1285" y="845"/>
                    </a:lnTo>
                    <a:lnTo>
                      <a:pt x="1285" y="847"/>
                    </a:lnTo>
                    <a:lnTo>
                      <a:pt x="1283" y="847"/>
                    </a:lnTo>
                    <a:lnTo>
                      <a:pt x="1281" y="847"/>
                    </a:lnTo>
                    <a:lnTo>
                      <a:pt x="1281" y="849"/>
                    </a:lnTo>
                    <a:lnTo>
                      <a:pt x="1283" y="849"/>
                    </a:lnTo>
                    <a:lnTo>
                      <a:pt x="1281" y="850"/>
                    </a:lnTo>
                    <a:lnTo>
                      <a:pt x="1283" y="850"/>
                    </a:lnTo>
                    <a:lnTo>
                      <a:pt x="1281" y="850"/>
                    </a:lnTo>
                    <a:lnTo>
                      <a:pt x="1281" y="852"/>
                    </a:lnTo>
                    <a:lnTo>
                      <a:pt x="1280" y="854"/>
                    </a:lnTo>
                    <a:lnTo>
                      <a:pt x="1280" y="855"/>
                    </a:lnTo>
                    <a:lnTo>
                      <a:pt x="1281" y="855"/>
                    </a:lnTo>
                    <a:lnTo>
                      <a:pt x="1281" y="857"/>
                    </a:lnTo>
                    <a:lnTo>
                      <a:pt x="1281" y="859"/>
                    </a:lnTo>
                    <a:lnTo>
                      <a:pt x="1280" y="859"/>
                    </a:lnTo>
                    <a:lnTo>
                      <a:pt x="1278" y="859"/>
                    </a:lnTo>
                    <a:lnTo>
                      <a:pt x="1276" y="859"/>
                    </a:lnTo>
                    <a:lnTo>
                      <a:pt x="1276" y="857"/>
                    </a:lnTo>
                    <a:lnTo>
                      <a:pt x="1275" y="857"/>
                    </a:lnTo>
                    <a:lnTo>
                      <a:pt x="1275" y="855"/>
                    </a:lnTo>
                    <a:lnTo>
                      <a:pt x="1275" y="857"/>
                    </a:lnTo>
                    <a:lnTo>
                      <a:pt x="1275" y="859"/>
                    </a:lnTo>
                    <a:lnTo>
                      <a:pt x="1273" y="859"/>
                    </a:lnTo>
                    <a:lnTo>
                      <a:pt x="1275" y="861"/>
                    </a:lnTo>
                    <a:lnTo>
                      <a:pt x="1275" y="862"/>
                    </a:lnTo>
                    <a:lnTo>
                      <a:pt x="1273" y="862"/>
                    </a:lnTo>
                    <a:lnTo>
                      <a:pt x="1275" y="862"/>
                    </a:lnTo>
                    <a:lnTo>
                      <a:pt x="1273" y="862"/>
                    </a:lnTo>
                    <a:lnTo>
                      <a:pt x="1273" y="864"/>
                    </a:lnTo>
                    <a:lnTo>
                      <a:pt x="1275" y="864"/>
                    </a:lnTo>
                    <a:lnTo>
                      <a:pt x="1275" y="866"/>
                    </a:lnTo>
                    <a:lnTo>
                      <a:pt x="1275" y="867"/>
                    </a:lnTo>
                    <a:lnTo>
                      <a:pt x="1275" y="869"/>
                    </a:lnTo>
                    <a:lnTo>
                      <a:pt x="1276" y="869"/>
                    </a:lnTo>
                    <a:lnTo>
                      <a:pt x="1278" y="871"/>
                    </a:lnTo>
                    <a:lnTo>
                      <a:pt x="1278" y="872"/>
                    </a:lnTo>
                    <a:lnTo>
                      <a:pt x="1276" y="872"/>
                    </a:lnTo>
                    <a:lnTo>
                      <a:pt x="1276" y="874"/>
                    </a:lnTo>
                    <a:lnTo>
                      <a:pt x="1275" y="874"/>
                    </a:lnTo>
                    <a:lnTo>
                      <a:pt x="1275" y="876"/>
                    </a:lnTo>
                    <a:lnTo>
                      <a:pt x="1275" y="878"/>
                    </a:lnTo>
                    <a:lnTo>
                      <a:pt x="1275" y="879"/>
                    </a:lnTo>
                    <a:lnTo>
                      <a:pt x="1275" y="881"/>
                    </a:lnTo>
                    <a:lnTo>
                      <a:pt x="1273" y="879"/>
                    </a:lnTo>
                    <a:lnTo>
                      <a:pt x="1271" y="879"/>
                    </a:lnTo>
                    <a:lnTo>
                      <a:pt x="1270" y="879"/>
                    </a:lnTo>
                    <a:lnTo>
                      <a:pt x="1271" y="881"/>
                    </a:lnTo>
                    <a:lnTo>
                      <a:pt x="1270" y="881"/>
                    </a:lnTo>
                    <a:lnTo>
                      <a:pt x="1270" y="883"/>
                    </a:lnTo>
                    <a:lnTo>
                      <a:pt x="1271" y="883"/>
                    </a:lnTo>
                    <a:lnTo>
                      <a:pt x="1270" y="884"/>
                    </a:lnTo>
                    <a:lnTo>
                      <a:pt x="1270" y="886"/>
                    </a:lnTo>
                    <a:lnTo>
                      <a:pt x="1271" y="886"/>
                    </a:lnTo>
                    <a:lnTo>
                      <a:pt x="1270" y="886"/>
                    </a:lnTo>
                    <a:lnTo>
                      <a:pt x="1271" y="888"/>
                    </a:lnTo>
                    <a:lnTo>
                      <a:pt x="1273" y="888"/>
                    </a:lnTo>
                    <a:lnTo>
                      <a:pt x="1275" y="888"/>
                    </a:lnTo>
                    <a:lnTo>
                      <a:pt x="1275" y="889"/>
                    </a:lnTo>
                    <a:lnTo>
                      <a:pt x="1275" y="891"/>
                    </a:lnTo>
                    <a:lnTo>
                      <a:pt x="1275" y="893"/>
                    </a:lnTo>
                    <a:lnTo>
                      <a:pt x="1273" y="895"/>
                    </a:lnTo>
                    <a:lnTo>
                      <a:pt x="1271" y="893"/>
                    </a:lnTo>
                    <a:lnTo>
                      <a:pt x="1271" y="895"/>
                    </a:lnTo>
                    <a:lnTo>
                      <a:pt x="1271" y="893"/>
                    </a:lnTo>
                    <a:lnTo>
                      <a:pt x="1270" y="895"/>
                    </a:lnTo>
                    <a:lnTo>
                      <a:pt x="1270" y="896"/>
                    </a:lnTo>
                    <a:lnTo>
                      <a:pt x="1268" y="898"/>
                    </a:lnTo>
                    <a:lnTo>
                      <a:pt x="1270" y="898"/>
                    </a:lnTo>
                    <a:lnTo>
                      <a:pt x="1268" y="900"/>
                    </a:lnTo>
                    <a:lnTo>
                      <a:pt x="1268" y="901"/>
                    </a:lnTo>
                    <a:lnTo>
                      <a:pt x="1270" y="901"/>
                    </a:lnTo>
                    <a:lnTo>
                      <a:pt x="1270" y="903"/>
                    </a:lnTo>
                    <a:lnTo>
                      <a:pt x="1268" y="903"/>
                    </a:lnTo>
                    <a:lnTo>
                      <a:pt x="1268" y="905"/>
                    </a:lnTo>
                    <a:lnTo>
                      <a:pt x="1266" y="906"/>
                    </a:lnTo>
                    <a:lnTo>
                      <a:pt x="1264" y="906"/>
                    </a:lnTo>
                    <a:lnTo>
                      <a:pt x="1264" y="908"/>
                    </a:lnTo>
                    <a:lnTo>
                      <a:pt x="1266" y="908"/>
                    </a:lnTo>
                    <a:lnTo>
                      <a:pt x="1266" y="910"/>
                    </a:lnTo>
                    <a:lnTo>
                      <a:pt x="1266" y="912"/>
                    </a:lnTo>
                    <a:lnTo>
                      <a:pt x="1266" y="913"/>
                    </a:lnTo>
                    <a:lnTo>
                      <a:pt x="1268" y="913"/>
                    </a:lnTo>
                    <a:lnTo>
                      <a:pt x="1268" y="915"/>
                    </a:lnTo>
                    <a:lnTo>
                      <a:pt x="1268" y="913"/>
                    </a:lnTo>
                    <a:lnTo>
                      <a:pt x="1268" y="915"/>
                    </a:lnTo>
                    <a:lnTo>
                      <a:pt x="1268" y="917"/>
                    </a:lnTo>
                    <a:lnTo>
                      <a:pt x="1268" y="918"/>
                    </a:lnTo>
                    <a:lnTo>
                      <a:pt x="1266" y="918"/>
                    </a:lnTo>
                    <a:lnTo>
                      <a:pt x="1268" y="918"/>
                    </a:lnTo>
                    <a:lnTo>
                      <a:pt x="1268" y="920"/>
                    </a:lnTo>
                    <a:lnTo>
                      <a:pt x="1268" y="922"/>
                    </a:lnTo>
                    <a:lnTo>
                      <a:pt x="1270" y="922"/>
                    </a:lnTo>
                    <a:lnTo>
                      <a:pt x="1270" y="923"/>
                    </a:lnTo>
                    <a:lnTo>
                      <a:pt x="1270" y="925"/>
                    </a:lnTo>
                    <a:lnTo>
                      <a:pt x="1270" y="927"/>
                    </a:lnTo>
                    <a:lnTo>
                      <a:pt x="1268" y="927"/>
                    </a:lnTo>
                    <a:lnTo>
                      <a:pt x="1268" y="929"/>
                    </a:lnTo>
                    <a:lnTo>
                      <a:pt x="1268" y="930"/>
                    </a:lnTo>
                    <a:lnTo>
                      <a:pt x="1270" y="930"/>
                    </a:lnTo>
                    <a:lnTo>
                      <a:pt x="1268" y="930"/>
                    </a:lnTo>
                    <a:lnTo>
                      <a:pt x="1270" y="932"/>
                    </a:lnTo>
                    <a:lnTo>
                      <a:pt x="1268" y="930"/>
                    </a:lnTo>
                    <a:lnTo>
                      <a:pt x="1268" y="932"/>
                    </a:lnTo>
                    <a:lnTo>
                      <a:pt x="1268" y="934"/>
                    </a:lnTo>
                    <a:lnTo>
                      <a:pt x="1268" y="935"/>
                    </a:lnTo>
                    <a:lnTo>
                      <a:pt x="1266" y="935"/>
                    </a:lnTo>
                    <a:lnTo>
                      <a:pt x="1268" y="935"/>
                    </a:lnTo>
                    <a:lnTo>
                      <a:pt x="1268" y="937"/>
                    </a:lnTo>
                    <a:lnTo>
                      <a:pt x="1268" y="939"/>
                    </a:lnTo>
                    <a:lnTo>
                      <a:pt x="1270" y="939"/>
                    </a:lnTo>
                    <a:lnTo>
                      <a:pt x="1270" y="940"/>
                    </a:lnTo>
                    <a:lnTo>
                      <a:pt x="1270" y="942"/>
                    </a:lnTo>
                    <a:lnTo>
                      <a:pt x="1270" y="944"/>
                    </a:lnTo>
                    <a:lnTo>
                      <a:pt x="1270" y="946"/>
                    </a:lnTo>
                    <a:lnTo>
                      <a:pt x="1268" y="946"/>
                    </a:lnTo>
                    <a:lnTo>
                      <a:pt x="1268" y="947"/>
                    </a:lnTo>
                    <a:lnTo>
                      <a:pt x="1268" y="949"/>
                    </a:lnTo>
                    <a:lnTo>
                      <a:pt x="1270" y="949"/>
                    </a:lnTo>
                    <a:lnTo>
                      <a:pt x="1270" y="951"/>
                    </a:lnTo>
                    <a:lnTo>
                      <a:pt x="1271" y="951"/>
                    </a:lnTo>
                    <a:lnTo>
                      <a:pt x="1270" y="952"/>
                    </a:lnTo>
                    <a:lnTo>
                      <a:pt x="1271" y="952"/>
                    </a:lnTo>
                    <a:lnTo>
                      <a:pt x="1271" y="954"/>
                    </a:lnTo>
                    <a:lnTo>
                      <a:pt x="1271" y="956"/>
                    </a:lnTo>
                    <a:lnTo>
                      <a:pt x="1271" y="957"/>
                    </a:lnTo>
                    <a:lnTo>
                      <a:pt x="1271" y="959"/>
                    </a:lnTo>
                    <a:lnTo>
                      <a:pt x="1271" y="961"/>
                    </a:lnTo>
                    <a:lnTo>
                      <a:pt x="1271" y="963"/>
                    </a:lnTo>
                    <a:lnTo>
                      <a:pt x="1271" y="964"/>
                    </a:lnTo>
                    <a:lnTo>
                      <a:pt x="1271" y="966"/>
                    </a:lnTo>
                    <a:lnTo>
                      <a:pt x="1273" y="966"/>
                    </a:lnTo>
                    <a:lnTo>
                      <a:pt x="1273" y="968"/>
                    </a:lnTo>
                    <a:lnTo>
                      <a:pt x="1273" y="969"/>
                    </a:lnTo>
                    <a:lnTo>
                      <a:pt x="1273" y="971"/>
                    </a:lnTo>
                    <a:lnTo>
                      <a:pt x="1271" y="971"/>
                    </a:lnTo>
                    <a:lnTo>
                      <a:pt x="1270" y="971"/>
                    </a:lnTo>
                    <a:lnTo>
                      <a:pt x="1270" y="973"/>
                    </a:lnTo>
                    <a:lnTo>
                      <a:pt x="1270" y="971"/>
                    </a:lnTo>
                    <a:lnTo>
                      <a:pt x="1268" y="971"/>
                    </a:lnTo>
                    <a:lnTo>
                      <a:pt x="1268" y="973"/>
                    </a:lnTo>
                    <a:lnTo>
                      <a:pt x="1266" y="973"/>
                    </a:lnTo>
                    <a:lnTo>
                      <a:pt x="1264" y="971"/>
                    </a:lnTo>
                    <a:lnTo>
                      <a:pt x="1263" y="971"/>
                    </a:lnTo>
                    <a:lnTo>
                      <a:pt x="1263" y="969"/>
                    </a:lnTo>
                    <a:lnTo>
                      <a:pt x="1261" y="969"/>
                    </a:lnTo>
                    <a:lnTo>
                      <a:pt x="1261" y="971"/>
                    </a:lnTo>
                    <a:lnTo>
                      <a:pt x="1259" y="971"/>
                    </a:lnTo>
                    <a:lnTo>
                      <a:pt x="1258" y="971"/>
                    </a:lnTo>
                    <a:lnTo>
                      <a:pt x="1258" y="973"/>
                    </a:lnTo>
                    <a:lnTo>
                      <a:pt x="1258" y="975"/>
                    </a:lnTo>
                    <a:lnTo>
                      <a:pt x="1259" y="976"/>
                    </a:lnTo>
                    <a:lnTo>
                      <a:pt x="1258" y="976"/>
                    </a:lnTo>
                    <a:lnTo>
                      <a:pt x="1259" y="978"/>
                    </a:lnTo>
                    <a:lnTo>
                      <a:pt x="1259" y="980"/>
                    </a:lnTo>
                    <a:lnTo>
                      <a:pt x="1259" y="981"/>
                    </a:lnTo>
                    <a:lnTo>
                      <a:pt x="1259" y="983"/>
                    </a:lnTo>
                    <a:lnTo>
                      <a:pt x="1261" y="981"/>
                    </a:lnTo>
                    <a:lnTo>
                      <a:pt x="1261" y="983"/>
                    </a:lnTo>
                    <a:lnTo>
                      <a:pt x="1263" y="983"/>
                    </a:lnTo>
                    <a:lnTo>
                      <a:pt x="1263" y="985"/>
                    </a:lnTo>
                    <a:lnTo>
                      <a:pt x="1263" y="986"/>
                    </a:lnTo>
                    <a:lnTo>
                      <a:pt x="1263" y="988"/>
                    </a:lnTo>
                    <a:lnTo>
                      <a:pt x="1263" y="990"/>
                    </a:lnTo>
                    <a:lnTo>
                      <a:pt x="1261" y="990"/>
                    </a:lnTo>
                    <a:lnTo>
                      <a:pt x="1261" y="992"/>
                    </a:lnTo>
                    <a:lnTo>
                      <a:pt x="1259" y="992"/>
                    </a:lnTo>
                    <a:lnTo>
                      <a:pt x="1259" y="993"/>
                    </a:lnTo>
                    <a:lnTo>
                      <a:pt x="1259" y="995"/>
                    </a:lnTo>
                    <a:lnTo>
                      <a:pt x="1258" y="995"/>
                    </a:lnTo>
                    <a:lnTo>
                      <a:pt x="1258" y="997"/>
                    </a:lnTo>
                    <a:lnTo>
                      <a:pt x="1259" y="997"/>
                    </a:lnTo>
                    <a:lnTo>
                      <a:pt x="1259" y="998"/>
                    </a:lnTo>
                    <a:lnTo>
                      <a:pt x="1259" y="1000"/>
                    </a:lnTo>
                    <a:lnTo>
                      <a:pt x="1259" y="1002"/>
                    </a:lnTo>
                    <a:lnTo>
                      <a:pt x="1258" y="1002"/>
                    </a:lnTo>
                    <a:lnTo>
                      <a:pt x="1259" y="1002"/>
                    </a:lnTo>
                    <a:lnTo>
                      <a:pt x="1259" y="1003"/>
                    </a:lnTo>
                    <a:lnTo>
                      <a:pt x="1259" y="1005"/>
                    </a:lnTo>
                    <a:lnTo>
                      <a:pt x="1259" y="1007"/>
                    </a:lnTo>
                    <a:lnTo>
                      <a:pt x="1261" y="1009"/>
                    </a:lnTo>
                    <a:lnTo>
                      <a:pt x="1261" y="1010"/>
                    </a:lnTo>
                    <a:lnTo>
                      <a:pt x="1263" y="1010"/>
                    </a:lnTo>
                    <a:lnTo>
                      <a:pt x="1263" y="1012"/>
                    </a:lnTo>
                    <a:lnTo>
                      <a:pt x="1264" y="1012"/>
                    </a:lnTo>
                    <a:lnTo>
                      <a:pt x="1266" y="1014"/>
                    </a:lnTo>
                    <a:lnTo>
                      <a:pt x="1266" y="1015"/>
                    </a:lnTo>
                    <a:lnTo>
                      <a:pt x="1268" y="1015"/>
                    </a:lnTo>
                    <a:lnTo>
                      <a:pt x="1268" y="1017"/>
                    </a:lnTo>
                    <a:lnTo>
                      <a:pt x="1270" y="1017"/>
                    </a:lnTo>
                    <a:lnTo>
                      <a:pt x="1271" y="1017"/>
                    </a:lnTo>
                    <a:lnTo>
                      <a:pt x="1271" y="1019"/>
                    </a:lnTo>
                    <a:lnTo>
                      <a:pt x="1273" y="1019"/>
                    </a:lnTo>
                    <a:lnTo>
                      <a:pt x="1273" y="1020"/>
                    </a:lnTo>
                    <a:lnTo>
                      <a:pt x="1271" y="1020"/>
                    </a:lnTo>
                    <a:lnTo>
                      <a:pt x="1273" y="1022"/>
                    </a:lnTo>
                    <a:lnTo>
                      <a:pt x="1273" y="1024"/>
                    </a:lnTo>
                    <a:lnTo>
                      <a:pt x="1273" y="1026"/>
                    </a:lnTo>
                    <a:lnTo>
                      <a:pt x="1271" y="1026"/>
                    </a:lnTo>
                    <a:lnTo>
                      <a:pt x="1271" y="1024"/>
                    </a:lnTo>
                    <a:lnTo>
                      <a:pt x="1271" y="1026"/>
                    </a:lnTo>
                    <a:lnTo>
                      <a:pt x="1270" y="1026"/>
                    </a:lnTo>
                    <a:lnTo>
                      <a:pt x="1268" y="1026"/>
                    </a:lnTo>
                    <a:lnTo>
                      <a:pt x="1266" y="1026"/>
                    </a:lnTo>
                    <a:lnTo>
                      <a:pt x="1268" y="1026"/>
                    </a:lnTo>
                    <a:lnTo>
                      <a:pt x="1268" y="1027"/>
                    </a:lnTo>
                    <a:lnTo>
                      <a:pt x="1266" y="1029"/>
                    </a:lnTo>
                    <a:lnTo>
                      <a:pt x="1266" y="1031"/>
                    </a:lnTo>
                    <a:lnTo>
                      <a:pt x="1266" y="1032"/>
                    </a:lnTo>
                    <a:lnTo>
                      <a:pt x="1268" y="1032"/>
                    </a:lnTo>
                    <a:lnTo>
                      <a:pt x="1268" y="1031"/>
                    </a:lnTo>
                    <a:lnTo>
                      <a:pt x="1268" y="1032"/>
                    </a:lnTo>
                    <a:lnTo>
                      <a:pt x="1270" y="1032"/>
                    </a:lnTo>
                    <a:lnTo>
                      <a:pt x="1268" y="1034"/>
                    </a:lnTo>
                    <a:lnTo>
                      <a:pt x="1268" y="1036"/>
                    </a:lnTo>
                    <a:lnTo>
                      <a:pt x="1270" y="1036"/>
                    </a:lnTo>
                    <a:lnTo>
                      <a:pt x="1271" y="1036"/>
                    </a:lnTo>
                    <a:lnTo>
                      <a:pt x="1271" y="1037"/>
                    </a:lnTo>
                    <a:lnTo>
                      <a:pt x="1273" y="1037"/>
                    </a:lnTo>
                    <a:lnTo>
                      <a:pt x="1273" y="1039"/>
                    </a:lnTo>
                    <a:lnTo>
                      <a:pt x="1275" y="1039"/>
                    </a:lnTo>
                    <a:lnTo>
                      <a:pt x="1276" y="1039"/>
                    </a:lnTo>
                    <a:lnTo>
                      <a:pt x="1278" y="1039"/>
                    </a:lnTo>
                    <a:lnTo>
                      <a:pt x="1278" y="1041"/>
                    </a:lnTo>
                    <a:lnTo>
                      <a:pt x="1278" y="1043"/>
                    </a:lnTo>
                    <a:lnTo>
                      <a:pt x="1276" y="1043"/>
                    </a:lnTo>
                    <a:lnTo>
                      <a:pt x="1278" y="1043"/>
                    </a:lnTo>
                    <a:lnTo>
                      <a:pt x="1276" y="1043"/>
                    </a:lnTo>
                    <a:lnTo>
                      <a:pt x="1275" y="1043"/>
                    </a:lnTo>
                    <a:lnTo>
                      <a:pt x="1275" y="1044"/>
                    </a:lnTo>
                    <a:lnTo>
                      <a:pt x="1273" y="1046"/>
                    </a:lnTo>
                    <a:lnTo>
                      <a:pt x="1271" y="1048"/>
                    </a:lnTo>
                    <a:lnTo>
                      <a:pt x="1273" y="1048"/>
                    </a:lnTo>
                    <a:lnTo>
                      <a:pt x="1271" y="1049"/>
                    </a:lnTo>
                    <a:lnTo>
                      <a:pt x="1273" y="1049"/>
                    </a:lnTo>
                    <a:lnTo>
                      <a:pt x="1271" y="1049"/>
                    </a:lnTo>
                    <a:lnTo>
                      <a:pt x="1273" y="1049"/>
                    </a:lnTo>
                    <a:lnTo>
                      <a:pt x="1273" y="1051"/>
                    </a:lnTo>
                    <a:lnTo>
                      <a:pt x="1273" y="1053"/>
                    </a:lnTo>
                    <a:lnTo>
                      <a:pt x="1275" y="1053"/>
                    </a:lnTo>
                    <a:lnTo>
                      <a:pt x="1276" y="1054"/>
                    </a:lnTo>
                    <a:lnTo>
                      <a:pt x="1275" y="1054"/>
                    </a:lnTo>
                    <a:lnTo>
                      <a:pt x="1275" y="1056"/>
                    </a:lnTo>
                    <a:lnTo>
                      <a:pt x="1275" y="1058"/>
                    </a:lnTo>
                    <a:lnTo>
                      <a:pt x="1273" y="1058"/>
                    </a:lnTo>
                    <a:lnTo>
                      <a:pt x="1273" y="1060"/>
                    </a:lnTo>
                    <a:lnTo>
                      <a:pt x="1273" y="1061"/>
                    </a:lnTo>
                    <a:lnTo>
                      <a:pt x="1271" y="1063"/>
                    </a:lnTo>
                    <a:lnTo>
                      <a:pt x="1270" y="1063"/>
                    </a:lnTo>
                    <a:lnTo>
                      <a:pt x="1268" y="1063"/>
                    </a:lnTo>
                    <a:lnTo>
                      <a:pt x="1270" y="1065"/>
                    </a:lnTo>
                    <a:lnTo>
                      <a:pt x="1270" y="1066"/>
                    </a:lnTo>
                    <a:lnTo>
                      <a:pt x="1271" y="1066"/>
                    </a:lnTo>
                    <a:lnTo>
                      <a:pt x="1270" y="1068"/>
                    </a:lnTo>
                    <a:lnTo>
                      <a:pt x="1270" y="1070"/>
                    </a:lnTo>
                    <a:lnTo>
                      <a:pt x="1271" y="1071"/>
                    </a:lnTo>
                    <a:lnTo>
                      <a:pt x="1271" y="1073"/>
                    </a:lnTo>
                    <a:lnTo>
                      <a:pt x="1270" y="1073"/>
                    </a:lnTo>
                    <a:lnTo>
                      <a:pt x="1270" y="1075"/>
                    </a:lnTo>
                    <a:lnTo>
                      <a:pt x="1270" y="1077"/>
                    </a:lnTo>
                    <a:lnTo>
                      <a:pt x="1271" y="1077"/>
                    </a:lnTo>
                    <a:lnTo>
                      <a:pt x="1273" y="1077"/>
                    </a:lnTo>
                    <a:lnTo>
                      <a:pt x="1273" y="1075"/>
                    </a:lnTo>
                    <a:lnTo>
                      <a:pt x="1275" y="1075"/>
                    </a:lnTo>
                    <a:lnTo>
                      <a:pt x="1275" y="1077"/>
                    </a:lnTo>
                    <a:lnTo>
                      <a:pt x="1276" y="1077"/>
                    </a:lnTo>
                    <a:lnTo>
                      <a:pt x="1276" y="1075"/>
                    </a:lnTo>
                    <a:lnTo>
                      <a:pt x="1278" y="1077"/>
                    </a:lnTo>
                    <a:lnTo>
                      <a:pt x="1280" y="1077"/>
                    </a:lnTo>
                    <a:lnTo>
                      <a:pt x="1280" y="1075"/>
                    </a:lnTo>
                    <a:lnTo>
                      <a:pt x="1281" y="1077"/>
                    </a:lnTo>
                    <a:lnTo>
                      <a:pt x="1281" y="1075"/>
                    </a:lnTo>
                    <a:lnTo>
                      <a:pt x="1283" y="1075"/>
                    </a:lnTo>
                    <a:lnTo>
                      <a:pt x="1285" y="1075"/>
                    </a:lnTo>
                    <a:lnTo>
                      <a:pt x="1285" y="1077"/>
                    </a:lnTo>
                    <a:lnTo>
                      <a:pt x="1287" y="1077"/>
                    </a:lnTo>
                    <a:lnTo>
                      <a:pt x="1288" y="1077"/>
                    </a:lnTo>
                    <a:lnTo>
                      <a:pt x="1290" y="1077"/>
                    </a:lnTo>
                    <a:lnTo>
                      <a:pt x="1290" y="1078"/>
                    </a:lnTo>
                    <a:lnTo>
                      <a:pt x="1290" y="1077"/>
                    </a:lnTo>
                    <a:lnTo>
                      <a:pt x="1292" y="1078"/>
                    </a:lnTo>
                    <a:lnTo>
                      <a:pt x="1293" y="1078"/>
                    </a:lnTo>
                    <a:lnTo>
                      <a:pt x="1293" y="1080"/>
                    </a:lnTo>
                    <a:lnTo>
                      <a:pt x="1292" y="1080"/>
                    </a:lnTo>
                    <a:lnTo>
                      <a:pt x="1293" y="1082"/>
                    </a:lnTo>
                    <a:lnTo>
                      <a:pt x="1295" y="1082"/>
                    </a:lnTo>
                    <a:lnTo>
                      <a:pt x="1293" y="1083"/>
                    </a:lnTo>
                    <a:lnTo>
                      <a:pt x="1295" y="1085"/>
                    </a:lnTo>
                    <a:lnTo>
                      <a:pt x="1293" y="1085"/>
                    </a:lnTo>
                    <a:lnTo>
                      <a:pt x="1292" y="1085"/>
                    </a:lnTo>
                    <a:lnTo>
                      <a:pt x="1290" y="1085"/>
                    </a:lnTo>
                    <a:lnTo>
                      <a:pt x="1292" y="1085"/>
                    </a:lnTo>
                    <a:lnTo>
                      <a:pt x="1290" y="1087"/>
                    </a:lnTo>
                    <a:lnTo>
                      <a:pt x="1290" y="1088"/>
                    </a:lnTo>
                    <a:lnTo>
                      <a:pt x="1292" y="1088"/>
                    </a:lnTo>
                    <a:lnTo>
                      <a:pt x="1290" y="1090"/>
                    </a:lnTo>
                    <a:lnTo>
                      <a:pt x="1290" y="1092"/>
                    </a:lnTo>
                    <a:lnTo>
                      <a:pt x="1290" y="1094"/>
                    </a:lnTo>
                    <a:lnTo>
                      <a:pt x="1288" y="1094"/>
                    </a:lnTo>
                    <a:lnTo>
                      <a:pt x="1288" y="1095"/>
                    </a:lnTo>
                    <a:lnTo>
                      <a:pt x="1287" y="1095"/>
                    </a:lnTo>
                    <a:lnTo>
                      <a:pt x="1285" y="1095"/>
                    </a:lnTo>
                    <a:lnTo>
                      <a:pt x="1285" y="1094"/>
                    </a:lnTo>
                    <a:lnTo>
                      <a:pt x="1283" y="1094"/>
                    </a:lnTo>
                    <a:lnTo>
                      <a:pt x="1283" y="1092"/>
                    </a:lnTo>
                    <a:lnTo>
                      <a:pt x="1281" y="1092"/>
                    </a:lnTo>
                    <a:lnTo>
                      <a:pt x="1280" y="1092"/>
                    </a:lnTo>
                    <a:lnTo>
                      <a:pt x="1278" y="1094"/>
                    </a:lnTo>
                    <a:lnTo>
                      <a:pt x="1278" y="1092"/>
                    </a:lnTo>
                    <a:lnTo>
                      <a:pt x="1278" y="1094"/>
                    </a:lnTo>
                    <a:lnTo>
                      <a:pt x="1276" y="1094"/>
                    </a:lnTo>
                    <a:lnTo>
                      <a:pt x="1275" y="1094"/>
                    </a:lnTo>
                    <a:lnTo>
                      <a:pt x="1273" y="1094"/>
                    </a:lnTo>
                    <a:lnTo>
                      <a:pt x="1271" y="1094"/>
                    </a:lnTo>
                    <a:lnTo>
                      <a:pt x="1271" y="1092"/>
                    </a:lnTo>
                    <a:lnTo>
                      <a:pt x="1270" y="1094"/>
                    </a:lnTo>
                    <a:lnTo>
                      <a:pt x="1270" y="1095"/>
                    </a:lnTo>
                    <a:lnTo>
                      <a:pt x="1270" y="1094"/>
                    </a:lnTo>
                    <a:lnTo>
                      <a:pt x="1268" y="1095"/>
                    </a:lnTo>
                    <a:lnTo>
                      <a:pt x="1268" y="1094"/>
                    </a:lnTo>
                    <a:lnTo>
                      <a:pt x="1266" y="1094"/>
                    </a:lnTo>
                    <a:lnTo>
                      <a:pt x="1266" y="1095"/>
                    </a:lnTo>
                    <a:lnTo>
                      <a:pt x="1266" y="1094"/>
                    </a:lnTo>
                    <a:lnTo>
                      <a:pt x="1264" y="1094"/>
                    </a:lnTo>
                    <a:lnTo>
                      <a:pt x="1263" y="1094"/>
                    </a:lnTo>
                    <a:lnTo>
                      <a:pt x="1261" y="1092"/>
                    </a:lnTo>
                    <a:lnTo>
                      <a:pt x="1261" y="1094"/>
                    </a:lnTo>
                    <a:lnTo>
                      <a:pt x="1261" y="1095"/>
                    </a:lnTo>
                    <a:lnTo>
                      <a:pt x="1263" y="1095"/>
                    </a:lnTo>
                    <a:lnTo>
                      <a:pt x="1263" y="1097"/>
                    </a:lnTo>
                    <a:lnTo>
                      <a:pt x="1261" y="1097"/>
                    </a:lnTo>
                    <a:lnTo>
                      <a:pt x="1263" y="1097"/>
                    </a:lnTo>
                    <a:lnTo>
                      <a:pt x="1261" y="1099"/>
                    </a:lnTo>
                    <a:lnTo>
                      <a:pt x="1263" y="1099"/>
                    </a:lnTo>
                    <a:lnTo>
                      <a:pt x="1263" y="1100"/>
                    </a:lnTo>
                    <a:lnTo>
                      <a:pt x="1263" y="1099"/>
                    </a:lnTo>
                    <a:lnTo>
                      <a:pt x="1264" y="1100"/>
                    </a:lnTo>
                    <a:lnTo>
                      <a:pt x="1266" y="1100"/>
                    </a:lnTo>
                    <a:lnTo>
                      <a:pt x="1266" y="1102"/>
                    </a:lnTo>
                    <a:lnTo>
                      <a:pt x="1268" y="1102"/>
                    </a:lnTo>
                    <a:lnTo>
                      <a:pt x="1268" y="1100"/>
                    </a:lnTo>
                    <a:lnTo>
                      <a:pt x="1270" y="1100"/>
                    </a:lnTo>
                    <a:lnTo>
                      <a:pt x="1271" y="1102"/>
                    </a:lnTo>
                    <a:lnTo>
                      <a:pt x="1271" y="1100"/>
                    </a:lnTo>
                    <a:lnTo>
                      <a:pt x="1273" y="1102"/>
                    </a:lnTo>
                    <a:lnTo>
                      <a:pt x="1275" y="1102"/>
                    </a:lnTo>
                    <a:lnTo>
                      <a:pt x="1275" y="1104"/>
                    </a:lnTo>
                    <a:lnTo>
                      <a:pt x="1276" y="1102"/>
                    </a:lnTo>
                    <a:lnTo>
                      <a:pt x="1276" y="1104"/>
                    </a:lnTo>
                    <a:lnTo>
                      <a:pt x="1278" y="1104"/>
                    </a:lnTo>
                    <a:lnTo>
                      <a:pt x="1280" y="1104"/>
                    </a:lnTo>
                    <a:lnTo>
                      <a:pt x="1278" y="1104"/>
                    </a:lnTo>
                    <a:lnTo>
                      <a:pt x="1278" y="1105"/>
                    </a:lnTo>
                    <a:lnTo>
                      <a:pt x="1280" y="1107"/>
                    </a:lnTo>
                    <a:lnTo>
                      <a:pt x="1280" y="1109"/>
                    </a:lnTo>
                    <a:lnTo>
                      <a:pt x="1281" y="1109"/>
                    </a:lnTo>
                    <a:lnTo>
                      <a:pt x="1281" y="1111"/>
                    </a:lnTo>
                    <a:lnTo>
                      <a:pt x="1283" y="1112"/>
                    </a:lnTo>
                    <a:lnTo>
                      <a:pt x="1283" y="1114"/>
                    </a:lnTo>
                    <a:lnTo>
                      <a:pt x="1285" y="1114"/>
                    </a:lnTo>
                    <a:lnTo>
                      <a:pt x="1285" y="1116"/>
                    </a:lnTo>
                    <a:lnTo>
                      <a:pt x="1287" y="1116"/>
                    </a:lnTo>
                    <a:lnTo>
                      <a:pt x="1285" y="1117"/>
                    </a:lnTo>
                    <a:lnTo>
                      <a:pt x="1287" y="1117"/>
                    </a:lnTo>
                    <a:lnTo>
                      <a:pt x="1287" y="1119"/>
                    </a:lnTo>
                    <a:lnTo>
                      <a:pt x="1287" y="1121"/>
                    </a:lnTo>
                    <a:lnTo>
                      <a:pt x="1285" y="1121"/>
                    </a:lnTo>
                    <a:lnTo>
                      <a:pt x="1283" y="1121"/>
                    </a:lnTo>
                    <a:lnTo>
                      <a:pt x="1283" y="1122"/>
                    </a:lnTo>
                    <a:lnTo>
                      <a:pt x="1281" y="1122"/>
                    </a:lnTo>
                    <a:lnTo>
                      <a:pt x="1280" y="1122"/>
                    </a:lnTo>
                    <a:lnTo>
                      <a:pt x="1280" y="1124"/>
                    </a:lnTo>
                    <a:lnTo>
                      <a:pt x="1280" y="1126"/>
                    </a:lnTo>
                    <a:lnTo>
                      <a:pt x="1281" y="1128"/>
                    </a:lnTo>
                    <a:lnTo>
                      <a:pt x="1280" y="1128"/>
                    </a:lnTo>
                    <a:lnTo>
                      <a:pt x="1280" y="1129"/>
                    </a:lnTo>
                    <a:lnTo>
                      <a:pt x="1278" y="1129"/>
                    </a:lnTo>
                    <a:lnTo>
                      <a:pt x="1276" y="1129"/>
                    </a:lnTo>
                    <a:lnTo>
                      <a:pt x="1275" y="1129"/>
                    </a:lnTo>
                    <a:lnTo>
                      <a:pt x="1273" y="1129"/>
                    </a:lnTo>
                    <a:lnTo>
                      <a:pt x="1273" y="1131"/>
                    </a:lnTo>
                    <a:lnTo>
                      <a:pt x="1271" y="1131"/>
                    </a:lnTo>
                    <a:lnTo>
                      <a:pt x="1271" y="1133"/>
                    </a:lnTo>
                    <a:lnTo>
                      <a:pt x="1273" y="1133"/>
                    </a:lnTo>
                    <a:lnTo>
                      <a:pt x="1271" y="1134"/>
                    </a:lnTo>
                    <a:lnTo>
                      <a:pt x="1271" y="1136"/>
                    </a:lnTo>
                    <a:lnTo>
                      <a:pt x="1271" y="1138"/>
                    </a:lnTo>
                    <a:lnTo>
                      <a:pt x="1271" y="1140"/>
                    </a:lnTo>
                    <a:lnTo>
                      <a:pt x="1271" y="1141"/>
                    </a:lnTo>
                    <a:lnTo>
                      <a:pt x="1271" y="1143"/>
                    </a:lnTo>
                    <a:lnTo>
                      <a:pt x="1273" y="1143"/>
                    </a:lnTo>
                    <a:lnTo>
                      <a:pt x="1271" y="1145"/>
                    </a:lnTo>
                    <a:lnTo>
                      <a:pt x="1273" y="1146"/>
                    </a:lnTo>
                    <a:lnTo>
                      <a:pt x="1273" y="1145"/>
                    </a:lnTo>
                    <a:lnTo>
                      <a:pt x="1273" y="1146"/>
                    </a:lnTo>
                    <a:lnTo>
                      <a:pt x="1275" y="1146"/>
                    </a:lnTo>
                    <a:lnTo>
                      <a:pt x="1276" y="1148"/>
                    </a:lnTo>
                    <a:lnTo>
                      <a:pt x="1276" y="1150"/>
                    </a:lnTo>
                    <a:lnTo>
                      <a:pt x="1276" y="1151"/>
                    </a:lnTo>
                    <a:lnTo>
                      <a:pt x="1276" y="1153"/>
                    </a:lnTo>
                    <a:lnTo>
                      <a:pt x="1275" y="1153"/>
                    </a:lnTo>
                    <a:lnTo>
                      <a:pt x="1275" y="1155"/>
                    </a:lnTo>
                    <a:lnTo>
                      <a:pt x="1275" y="1157"/>
                    </a:lnTo>
                    <a:lnTo>
                      <a:pt x="1273" y="1157"/>
                    </a:lnTo>
                    <a:lnTo>
                      <a:pt x="1271" y="1157"/>
                    </a:lnTo>
                    <a:lnTo>
                      <a:pt x="1271" y="1158"/>
                    </a:lnTo>
                    <a:lnTo>
                      <a:pt x="1270" y="1158"/>
                    </a:lnTo>
                    <a:lnTo>
                      <a:pt x="1268" y="1158"/>
                    </a:lnTo>
                    <a:lnTo>
                      <a:pt x="1266" y="1160"/>
                    </a:lnTo>
                    <a:lnTo>
                      <a:pt x="1268" y="1160"/>
                    </a:lnTo>
                    <a:lnTo>
                      <a:pt x="1268" y="1162"/>
                    </a:lnTo>
                    <a:lnTo>
                      <a:pt x="1270" y="1162"/>
                    </a:lnTo>
                    <a:lnTo>
                      <a:pt x="1271" y="1162"/>
                    </a:lnTo>
                    <a:lnTo>
                      <a:pt x="1271" y="1163"/>
                    </a:lnTo>
                    <a:lnTo>
                      <a:pt x="1273" y="1165"/>
                    </a:lnTo>
                    <a:lnTo>
                      <a:pt x="1273" y="1167"/>
                    </a:lnTo>
                    <a:lnTo>
                      <a:pt x="1273" y="1168"/>
                    </a:lnTo>
                    <a:lnTo>
                      <a:pt x="1273" y="1170"/>
                    </a:lnTo>
                    <a:lnTo>
                      <a:pt x="1273" y="1174"/>
                    </a:lnTo>
                    <a:lnTo>
                      <a:pt x="1275" y="1177"/>
                    </a:lnTo>
                    <a:lnTo>
                      <a:pt x="1275" y="1179"/>
                    </a:lnTo>
                    <a:lnTo>
                      <a:pt x="1275" y="1180"/>
                    </a:lnTo>
                    <a:lnTo>
                      <a:pt x="1275" y="1182"/>
                    </a:lnTo>
                    <a:lnTo>
                      <a:pt x="1276" y="1184"/>
                    </a:lnTo>
                    <a:lnTo>
                      <a:pt x="1275" y="1184"/>
                    </a:lnTo>
                    <a:lnTo>
                      <a:pt x="1276" y="1185"/>
                    </a:lnTo>
                    <a:lnTo>
                      <a:pt x="1275" y="1187"/>
                    </a:lnTo>
                    <a:lnTo>
                      <a:pt x="1273" y="1187"/>
                    </a:lnTo>
                    <a:lnTo>
                      <a:pt x="1273" y="1189"/>
                    </a:lnTo>
                    <a:lnTo>
                      <a:pt x="1271" y="1189"/>
                    </a:lnTo>
                    <a:lnTo>
                      <a:pt x="1271" y="1191"/>
                    </a:lnTo>
                    <a:lnTo>
                      <a:pt x="1270" y="1191"/>
                    </a:lnTo>
                    <a:lnTo>
                      <a:pt x="1270" y="1192"/>
                    </a:lnTo>
                    <a:lnTo>
                      <a:pt x="1268" y="1192"/>
                    </a:lnTo>
                    <a:lnTo>
                      <a:pt x="1266" y="1192"/>
                    </a:lnTo>
                    <a:lnTo>
                      <a:pt x="1264" y="1192"/>
                    </a:lnTo>
                    <a:lnTo>
                      <a:pt x="1266" y="1194"/>
                    </a:lnTo>
                    <a:lnTo>
                      <a:pt x="1266" y="1196"/>
                    </a:lnTo>
                    <a:lnTo>
                      <a:pt x="1264" y="1196"/>
                    </a:lnTo>
                    <a:lnTo>
                      <a:pt x="1264" y="1197"/>
                    </a:lnTo>
                    <a:lnTo>
                      <a:pt x="1264" y="1199"/>
                    </a:lnTo>
                    <a:lnTo>
                      <a:pt x="1266" y="1199"/>
                    </a:lnTo>
                    <a:lnTo>
                      <a:pt x="1264" y="1201"/>
                    </a:lnTo>
                    <a:lnTo>
                      <a:pt x="1266" y="1201"/>
                    </a:lnTo>
                    <a:lnTo>
                      <a:pt x="1268" y="1201"/>
                    </a:lnTo>
                    <a:lnTo>
                      <a:pt x="1268" y="1202"/>
                    </a:lnTo>
                    <a:lnTo>
                      <a:pt x="1266" y="1204"/>
                    </a:lnTo>
                    <a:lnTo>
                      <a:pt x="1264" y="1206"/>
                    </a:lnTo>
                    <a:lnTo>
                      <a:pt x="1266" y="1206"/>
                    </a:lnTo>
                    <a:lnTo>
                      <a:pt x="1268" y="1208"/>
                    </a:lnTo>
                    <a:lnTo>
                      <a:pt x="1268" y="1209"/>
                    </a:lnTo>
                    <a:lnTo>
                      <a:pt x="1270" y="1209"/>
                    </a:lnTo>
                    <a:lnTo>
                      <a:pt x="1268" y="1209"/>
                    </a:lnTo>
                    <a:lnTo>
                      <a:pt x="1268" y="1211"/>
                    </a:lnTo>
                    <a:lnTo>
                      <a:pt x="1268" y="1213"/>
                    </a:lnTo>
                    <a:lnTo>
                      <a:pt x="1266" y="1213"/>
                    </a:lnTo>
                    <a:lnTo>
                      <a:pt x="1264" y="1213"/>
                    </a:lnTo>
                    <a:lnTo>
                      <a:pt x="1263" y="1211"/>
                    </a:lnTo>
                    <a:lnTo>
                      <a:pt x="1264" y="1213"/>
                    </a:lnTo>
                    <a:lnTo>
                      <a:pt x="1263" y="1214"/>
                    </a:lnTo>
                    <a:lnTo>
                      <a:pt x="1264" y="1216"/>
                    </a:lnTo>
                    <a:lnTo>
                      <a:pt x="1263" y="1216"/>
                    </a:lnTo>
                    <a:lnTo>
                      <a:pt x="1263" y="1218"/>
                    </a:lnTo>
                    <a:lnTo>
                      <a:pt x="1261" y="1218"/>
                    </a:lnTo>
                    <a:lnTo>
                      <a:pt x="1259" y="1218"/>
                    </a:lnTo>
                    <a:lnTo>
                      <a:pt x="1259" y="1219"/>
                    </a:lnTo>
                    <a:lnTo>
                      <a:pt x="1258" y="1221"/>
                    </a:lnTo>
                    <a:lnTo>
                      <a:pt x="1258" y="1223"/>
                    </a:lnTo>
                    <a:lnTo>
                      <a:pt x="1256" y="1221"/>
                    </a:lnTo>
                    <a:lnTo>
                      <a:pt x="1256" y="1223"/>
                    </a:lnTo>
                    <a:lnTo>
                      <a:pt x="1254" y="1223"/>
                    </a:lnTo>
                    <a:lnTo>
                      <a:pt x="1254" y="1225"/>
                    </a:lnTo>
                    <a:lnTo>
                      <a:pt x="1253" y="1225"/>
                    </a:lnTo>
                    <a:lnTo>
                      <a:pt x="1253" y="1226"/>
                    </a:lnTo>
                    <a:lnTo>
                      <a:pt x="1253" y="1225"/>
                    </a:lnTo>
                    <a:lnTo>
                      <a:pt x="1253" y="1226"/>
                    </a:lnTo>
                    <a:lnTo>
                      <a:pt x="1254" y="1226"/>
                    </a:lnTo>
                    <a:lnTo>
                      <a:pt x="1254" y="1228"/>
                    </a:lnTo>
                    <a:lnTo>
                      <a:pt x="1253" y="1228"/>
                    </a:lnTo>
                    <a:lnTo>
                      <a:pt x="1253" y="1230"/>
                    </a:lnTo>
                    <a:lnTo>
                      <a:pt x="1253" y="1231"/>
                    </a:lnTo>
                    <a:lnTo>
                      <a:pt x="1253" y="1233"/>
                    </a:lnTo>
                    <a:lnTo>
                      <a:pt x="1251" y="1233"/>
                    </a:lnTo>
                    <a:lnTo>
                      <a:pt x="1251" y="1235"/>
                    </a:lnTo>
                    <a:lnTo>
                      <a:pt x="1249" y="1235"/>
                    </a:lnTo>
                    <a:lnTo>
                      <a:pt x="1249" y="1236"/>
                    </a:lnTo>
                    <a:lnTo>
                      <a:pt x="1249" y="1238"/>
                    </a:lnTo>
                    <a:lnTo>
                      <a:pt x="1251" y="1238"/>
                    </a:lnTo>
                    <a:lnTo>
                      <a:pt x="1251" y="1240"/>
                    </a:lnTo>
                    <a:lnTo>
                      <a:pt x="1249" y="1240"/>
                    </a:lnTo>
                    <a:lnTo>
                      <a:pt x="1247" y="1240"/>
                    </a:lnTo>
                    <a:lnTo>
                      <a:pt x="1246" y="1238"/>
                    </a:lnTo>
                    <a:lnTo>
                      <a:pt x="1246" y="1240"/>
                    </a:lnTo>
                    <a:lnTo>
                      <a:pt x="1247" y="1240"/>
                    </a:lnTo>
                    <a:lnTo>
                      <a:pt x="1247" y="1242"/>
                    </a:lnTo>
                    <a:lnTo>
                      <a:pt x="1247" y="1243"/>
                    </a:lnTo>
                    <a:lnTo>
                      <a:pt x="1247" y="1245"/>
                    </a:lnTo>
                    <a:lnTo>
                      <a:pt x="1247" y="1247"/>
                    </a:lnTo>
                    <a:lnTo>
                      <a:pt x="1246" y="1247"/>
                    </a:lnTo>
                    <a:lnTo>
                      <a:pt x="1246" y="1248"/>
                    </a:lnTo>
                    <a:lnTo>
                      <a:pt x="1247" y="1250"/>
                    </a:lnTo>
                    <a:lnTo>
                      <a:pt x="1249" y="1250"/>
                    </a:lnTo>
                    <a:lnTo>
                      <a:pt x="1249" y="1252"/>
                    </a:lnTo>
                    <a:lnTo>
                      <a:pt x="1249" y="1253"/>
                    </a:lnTo>
                    <a:lnTo>
                      <a:pt x="1249" y="1255"/>
                    </a:lnTo>
                    <a:lnTo>
                      <a:pt x="1251" y="1255"/>
                    </a:lnTo>
                    <a:lnTo>
                      <a:pt x="1251" y="1257"/>
                    </a:lnTo>
                    <a:lnTo>
                      <a:pt x="1253" y="1257"/>
                    </a:lnTo>
                    <a:lnTo>
                      <a:pt x="1253" y="1259"/>
                    </a:lnTo>
                    <a:lnTo>
                      <a:pt x="1254" y="1259"/>
                    </a:lnTo>
                    <a:lnTo>
                      <a:pt x="1253" y="1260"/>
                    </a:lnTo>
                    <a:lnTo>
                      <a:pt x="1254" y="1262"/>
                    </a:lnTo>
                    <a:lnTo>
                      <a:pt x="1253" y="1262"/>
                    </a:lnTo>
                    <a:lnTo>
                      <a:pt x="1253" y="1264"/>
                    </a:lnTo>
                    <a:lnTo>
                      <a:pt x="1254" y="1264"/>
                    </a:lnTo>
                    <a:lnTo>
                      <a:pt x="1254" y="1265"/>
                    </a:lnTo>
                    <a:lnTo>
                      <a:pt x="1256" y="1267"/>
                    </a:lnTo>
                    <a:lnTo>
                      <a:pt x="1256" y="1269"/>
                    </a:lnTo>
                    <a:lnTo>
                      <a:pt x="1254" y="1269"/>
                    </a:lnTo>
                    <a:lnTo>
                      <a:pt x="1254" y="1270"/>
                    </a:lnTo>
                    <a:lnTo>
                      <a:pt x="1253" y="1269"/>
                    </a:lnTo>
                    <a:lnTo>
                      <a:pt x="1253" y="1270"/>
                    </a:lnTo>
                    <a:lnTo>
                      <a:pt x="1253" y="1269"/>
                    </a:lnTo>
                    <a:lnTo>
                      <a:pt x="1251" y="1269"/>
                    </a:lnTo>
                    <a:lnTo>
                      <a:pt x="1251" y="1270"/>
                    </a:lnTo>
                    <a:lnTo>
                      <a:pt x="1253" y="1270"/>
                    </a:lnTo>
                    <a:lnTo>
                      <a:pt x="1251" y="1272"/>
                    </a:lnTo>
                    <a:lnTo>
                      <a:pt x="1249" y="1272"/>
                    </a:lnTo>
                    <a:lnTo>
                      <a:pt x="1249" y="1274"/>
                    </a:lnTo>
                    <a:lnTo>
                      <a:pt x="1251" y="1274"/>
                    </a:lnTo>
                    <a:lnTo>
                      <a:pt x="1251" y="1276"/>
                    </a:lnTo>
                    <a:lnTo>
                      <a:pt x="1249" y="1277"/>
                    </a:lnTo>
                    <a:lnTo>
                      <a:pt x="1247" y="1277"/>
                    </a:lnTo>
                    <a:lnTo>
                      <a:pt x="1246" y="1277"/>
                    </a:lnTo>
                    <a:lnTo>
                      <a:pt x="1246" y="1276"/>
                    </a:lnTo>
                    <a:lnTo>
                      <a:pt x="1244" y="1276"/>
                    </a:lnTo>
                    <a:lnTo>
                      <a:pt x="1244" y="1277"/>
                    </a:lnTo>
                    <a:lnTo>
                      <a:pt x="1246" y="1284"/>
                    </a:lnTo>
                    <a:lnTo>
                      <a:pt x="1246" y="1288"/>
                    </a:lnTo>
                    <a:lnTo>
                      <a:pt x="1246" y="1289"/>
                    </a:lnTo>
                    <a:lnTo>
                      <a:pt x="1246" y="1291"/>
                    </a:lnTo>
                    <a:lnTo>
                      <a:pt x="1246" y="1293"/>
                    </a:lnTo>
                    <a:lnTo>
                      <a:pt x="1244" y="1293"/>
                    </a:lnTo>
                    <a:lnTo>
                      <a:pt x="1242" y="1294"/>
                    </a:lnTo>
                    <a:lnTo>
                      <a:pt x="1241" y="1296"/>
                    </a:lnTo>
                    <a:lnTo>
                      <a:pt x="1241" y="1298"/>
                    </a:lnTo>
                    <a:lnTo>
                      <a:pt x="1239" y="1298"/>
                    </a:lnTo>
                    <a:lnTo>
                      <a:pt x="1237" y="1299"/>
                    </a:lnTo>
                    <a:lnTo>
                      <a:pt x="1237" y="1301"/>
                    </a:lnTo>
                    <a:lnTo>
                      <a:pt x="1236" y="1301"/>
                    </a:lnTo>
                    <a:lnTo>
                      <a:pt x="1234" y="1299"/>
                    </a:lnTo>
                    <a:lnTo>
                      <a:pt x="1232" y="1299"/>
                    </a:lnTo>
                    <a:lnTo>
                      <a:pt x="1232" y="1301"/>
                    </a:lnTo>
                    <a:lnTo>
                      <a:pt x="1230" y="1301"/>
                    </a:lnTo>
                    <a:lnTo>
                      <a:pt x="1230" y="1303"/>
                    </a:lnTo>
                    <a:lnTo>
                      <a:pt x="1230" y="1305"/>
                    </a:lnTo>
                    <a:lnTo>
                      <a:pt x="1230" y="1306"/>
                    </a:lnTo>
                    <a:lnTo>
                      <a:pt x="1229" y="1306"/>
                    </a:lnTo>
                    <a:lnTo>
                      <a:pt x="1229" y="1308"/>
                    </a:lnTo>
                    <a:lnTo>
                      <a:pt x="1227" y="1310"/>
                    </a:lnTo>
                    <a:lnTo>
                      <a:pt x="1225" y="1311"/>
                    </a:lnTo>
                    <a:lnTo>
                      <a:pt x="1225" y="1313"/>
                    </a:lnTo>
                    <a:lnTo>
                      <a:pt x="1225" y="1315"/>
                    </a:lnTo>
                    <a:lnTo>
                      <a:pt x="1225" y="1316"/>
                    </a:lnTo>
                    <a:lnTo>
                      <a:pt x="1227" y="1316"/>
                    </a:lnTo>
                    <a:lnTo>
                      <a:pt x="1227" y="1315"/>
                    </a:lnTo>
                    <a:lnTo>
                      <a:pt x="1227" y="1316"/>
                    </a:lnTo>
                    <a:lnTo>
                      <a:pt x="1229" y="1316"/>
                    </a:lnTo>
                    <a:lnTo>
                      <a:pt x="1227" y="1316"/>
                    </a:lnTo>
                    <a:lnTo>
                      <a:pt x="1213" y="1313"/>
                    </a:lnTo>
                    <a:lnTo>
                      <a:pt x="1213" y="1315"/>
                    </a:lnTo>
                    <a:lnTo>
                      <a:pt x="1213" y="1316"/>
                    </a:lnTo>
                    <a:lnTo>
                      <a:pt x="1215" y="1318"/>
                    </a:lnTo>
                    <a:lnTo>
                      <a:pt x="1217" y="1318"/>
                    </a:lnTo>
                    <a:lnTo>
                      <a:pt x="1215" y="1320"/>
                    </a:lnTo>
                    <a:lnTo>
                      <a:pt x="1215" y="1322"/>
                    </a:lnTo>
                    <a:lnTo>
                      <a:pt x="1215" y="1323"/>
                    </a:lnTo>
                    <a:lnTo>
                      <a:pt x="1213" y="1323"/>
                    </a:lnTo>
                    <a:lnTo>
                      <a:pt x="1213" y="1325"/>
                    </a:lnTo>
                    <a:lnTo>
                      <a:pt x="1213" y="1327"/>
                    </a:lnTo>
                    <a:lnTo>
                      <a:pt x="1213" y="1328"/>
                    </a:lnTo>
                    <a:lnTo>
                      <a:pt x="1212" y="1328"/>
                    </a:lnTo>
                    <a:lnTo>
                      <a:pt x="1212" y="1330"/>
                    </a:lnTo>
                    <a:lnTo>
                      <a:pt x="1212" y="1332"/>
                    </a:lnTo>
                    <a:lnTo>
                      <a:pt x="1213" y="1332"/>
                    </a:lnTo>
                    <a:lnTo>
                      <a:pt x="1213" y="1333"/>
                    </a:lnTo>
                    <a:lnTo>
                      <a:pt x="1215" y="1335"/>
                    </a:lnTo>
                    <a:lnTo>
                      <a:pt x="1213" y="1335"/>
                    </a:lnTo>
                    <a:lnTo>
                      <a:pt x="1213" y="1337"/>
                    </a:lnTo>
                    <a:lnTo>
                      <a:pt x="1213" y="1339"/>
                    </a:lnTo>
                    <a:lnTo>
                      <a:pt x="1213" y="1340"/>
                    </a:lnTo>
                    <a:lnTo>
                      <a:pt x="1215" y="1342"/>
                    </a:lnTo>
                    <a:lnTo>
                      <a:pt x="1215" y="1344"/>
                    </a:lnTo>
                    <a:lnTo>
                      <a:pt x="1213" y="1345"/>
                    </a:lnTo>
                    <a:lnTo>
                      <a:pt x="1213" y="1347"/>
                    </a:lnTo>
                    <a:lnTo>
                      <a:pt x="1213" y="1349"/>
                    </a:lnTo>
                    <a:lnTo>
                      <a:pt x="1212" y="1349"/>
                    </a:lnTo>
                    <a:lnTo>
                      <a:pt x="1212" y="1350"/>
                    </a:lnTo>
                    <a:lnTo>
                      <a:pt x="1212" y="1352"/>
                    </a:lnTo>
                    <a:lnTo>
                      <a:pt x="1213" y="1352"/>
                    </a:lnTo>
                    <a:lnTo>
                      <a:pt x="1212" y="1354"/>
                    </a:lnTo>
                    <a:lnTo>
                      <a:pt x="1212" y="1356"/>
                    </a:lnTo>
                    <a:lnTo>
                      <a:pt x="1212" y="1357"/>
                    </a:lnTo>
                    <a:lnTo>
                      <a:pt x="1213" y="1357"/>
                    </a:lnTo>
                    <a:lnTo>
                      <a:pt x="1213" y="1359"/>
                    </a:lnTo>
                    <a:lnTo>
                      <a:pt x="1212" y="1361"/>
                    </a:lnTo>
                    <a:lnTo>
                      <a:pt x="1212" y="1362"/>
                    </a:lnTo>
                    <a:lnTo>
                      <a:pt x="1212" y="1364"/>
                    </a:lnTo>
                    <a:lnTo>
                      <a:pt x="1212" y="1366"/>
                    </a:lnTo>
                    <a:lnTo>
                      <a:pt x="1210" y="1367"/>
                    </a:lnTo>
                    <a:lnTo>
                      <a:pt x="1212" y="1369"/>
                    </a:lnTo>
                    <a:lnTo>
                      <a:pt x="1212" y="1371"/>
                    </a:lnTo>
                    <a:lnTo>
                      <a:pt x="1213" y="1371"/>
                    </a:lnTo>
                    <a:lnTo>
                      <a:pt x="1213" y="1373"/>
                    </a:lnTo>
                    <a:lnTo>
                      <a:pt x="1213" y="1374"/>
                    </a:lnTo>
                    <a:lnTo>
                      <a:pt x="1215" y="1378"/>
                    </a:lnTo>
                    <a:lnTo>
                      <a:pt x="1217" y="1379"/>
                    </a:lnTo>
                    <a:lnTo>
                      <a:pt x="1215" y="1379"/>
                    </a:lnTo>
                    <a:lnTo>
                      <a:pt x="1217" y="1379"/>
                    </a:lnTo>
                    <a:lnTo>
                      <a:pt x="1219" y="1381"/>
                    </a:lnTo>
                    <a:lnTo>
                      <a:pt x="1217" y="1381"/>
                    </a:lnTo>
                    <a:lnTo>
                      <a:pt x="1219" y="1383"/>
                    </a:lnTo>
                    <a:lnTo>
                      <a:pt x="1219" y="1384"/>
                    </a:lnTo>
                    <a:lnTo>
                      <a:pt x="1220" y="1384"/>
                    </a:lnTo>
                    <a:lnTo>
                      <a:pt x="1220" y="1386"/>
                    </a:lnTo>
                    <a:lnTo>
                      <a:pt x="1220" y="1388"/>
                    </a:lnTo>
                    <a:lnTo>
                      <a:pt x="1222" y="1390"/>
                    </a:lnTo>
                    <a:lnTo>
                      <a:pt x="1224" y="1390"/>
                    </a:lnTo>
                    <a:lnTo>
                      <a:pt x="1224" y="1391"/>
                    </a:lnTo>
                    <a:lnTo>
                      <a:pt x="1222" y="1393"/>
                    </a:lnTo>
                    <a:lnTo>
                      <a:pt x="1220" y="1393"/>
                    </a:lnTo>
                    <a:lnTo>
                      <a:pt x="1220" y="1395"/>
                    </a:lnTo>
                    <a:lnTo>
                      <a:pt x="1220" y="1396"/>
                    </a:lnTo>
                    <a:lnTo>
                      <a:pt x="1220" y="1398"/>
                    </a:lnTo>
                    <a:lnTo>
                      <a:pt x="1222" y="1398"/>
                    </a:lnTo>
                    <a:lnTo>
                      <a:pt x="1224" y="1398"/>
                    </a:lnTo>
                    <a:lnTo>
                      <a:pt x="1225" y="1396"/>
                    </a:lnTo>
                    <a:lnTo>
                      <a:pt x="1227" y="1395"/>
                    </a:lnTo>
                    <a:lnTo>
                      <a:pt x="1227" y="1396"/>
                    </a:lnTo>
                    <a:lnTo>
                      <a:pt x="1229" y="1395"/>
                    </a:lnTo>
                    <a:lnTo>
                      <a:pt x="1230" y="1395"/>
                    </a:lnTo>
                    <a:lnTo>
                      <a:pt x="1232" y="1393"/>
                    </a:lnTo>
                    <a:lnTo>
                      <a:pt x="1232" y="1391"/>
                    </a:lnTo>
                    <a:lnTo>
                      <a:pt x="1234" y="1391"/>
                    </a:lnTo>
                    <a:lnTo>
                      <a:pt x="1234" y="1390"/>
                    </a:lnTo>
                    <a:lnTo>
                      <a:pt x="1236" y="1390"/>
                    </a:lnTo>
                    <a:lnTo>
                      <a:pt x="1237" y="1388"/>
                    </a:lnTo>
                    <a:lnTo>
                      <a:pt x="1239" y="1388"/>
                    </a:lnTo>
                    <a:lnTo>
                      <a:pt x="1241" y="1390"/>
                    </a:lnTo>
                    <a:lnTo>
                      <a:pt x="1241" y="1388"/>
                    </a:lnTo>
                    <a:lnTo>
                      <a:pt x="1242" y="1390"/>
                    </a:lnTo>
                    <a:lnTo>
                      <a:pt x="1244" y="1391"/>
                    </a:lnTo>
                    <a:lnTo>
                      <a:pt x="1244" y="1390"/>
                    </a:lnTo>
                    <a:lnTo>
                      <a:pt x="1244" y="1388"/>
                    </a:lnTo>
                    <a:lnTo>
                      <a:pt x="1246" y="1388"/>
                    </a:lnTo>
                    <a:lnTo>
                      <a:pt x="1247" y="1386"/>
                    </a:lnTo>
                    <a:lnTo>
                      <a:pt x="1249" y="1388"/>
                    </a:lnTo>
                    <a:lnTo>
                      <a:pt x="1251" y="1388"/>
                    </a:lnTo>
                    <a:lnTo>
                      <a:pt x="1253" y="1388"/>
                    </a:lnTo>
                    <a:lnTo>
                      <a:pt x="1253" y="1390"/>
                    </a:lnTo>
                    <a:lnTo>
                      <a:pt x="1254" y="1390"/>
                    </a:lnTo>
                    <a:lnTo>
                      <a:pt x="1254" y="1391"/>
                    </a:lnTo>
                    <a:lnTo>
                      <a:pt x="1253" y="1393"/>
                    </a:lnTo>
                    <a:lnTo>
                      <a:pt x="1253" y="1395"/>
                    </a:lnTo>
                    <a:lnTo>
                      <a:pt x="1253" y="1396"/>
                    </a:lnTo>
                    <a:lnTo>
                      <a:pt x="1254" y="1396"/>
                    </a:lnTo>
                    <a:lnTo>
                      <a:pt x="1254" y="1398"/>
                    </a:lnTo>
                    <a:lnTo>
                      <a:pt x="1254" y="1400"/>
                    </a:lnTo>
                    <a:lnTo>
                      <a:pt x="1256" y="1401"/>
                    </a:lnTo>
                    <a:lnTo>
                      <a:pt x="1256" y="1403"/>
                    </a:lnTo>
                    <a:lnTo>
                      <a:pt x="1254" y="1405"/>
                    </a:lnTo>
                    <a:lnTo>
                      <a:pt x="1254" y="1407"/>
                    </a:lnTo>
                    <a:lnTo>
                      <a:pt x="1254" y="1408"/>
                    </a:lnTo>
                    <a:lnTo>
                      <a:pt x="1254" y="1410"/>
                    </a:lnTo>
                    <a:lnTo>
                      <a:pt x="1253" y="1410"/>
                    </a:lnTo>
                    <a:lnTo>
                      <a:pt x="1253" y="1408"/>
                    </a:lnTo>
                    <a:lnTo>
                      <a:pt x="1251" y="1408"/>
                    </a:lnTo>
                    <a:lnTo>
                      <a:pt x="1251" y="1410"/>
                    </a:lnTo>
                    <a:lnTo>
                      <a:pt x="1251" y="1412"/>
                    </a:lnTo>
                    <a:lnTo>
                      <a:pt x="1249" y="1413"/>
                    </a:lnTo>
                    <a:lnTo>
                      <a:pt x="1251" y="1413"/>
                    </a:lnTo>
                    <a:lnTo>
                      <a:pt x="1251" y="1415"/>
                    </a:lnTo>
                    <a:lnTo>
                      <a:pt x="1251" y="1417"/>
                    </a:lnTo>
                    <a:lnTo>
                      <a:pt x="1253" y="1418"/>
                    </a:lnTo>
                    <a:lnTo>
                      <a:pt x="1254" y="1418"/>
                    </a:lnTo>
                    <a:lnTo>
                      <a:pt x="1254" y="1420"/>
                    </a:lnTo>
                    <a:lnTo>
                      <a:pt x="1254" y="1422"/>
                    </a:lnTo>
                    <a:lnTo>
                      <a:pt x="1254" y="1424"/>
                    </a:lnTo>
                    <a:lnTo>
                      <a:pt x="1253" y="1424"/>
                    </a:lnTo>
                    <a:lnTo>
                      <a:pt x="1253" y="1425"/>
                    </a:lnTo>
                    <a:lnTo>
                      <a:pt x="1251" y="1425"/>
                    </a:lnTo>
                    <a:lnTo>
                      <a:pt x="1253" y="1427"/>
                    </a:lnTo>
                    <a:lnTo>
                      <a:pt x="1253" y="1429"/>
                    </a:lnTo>
                    <a:lnTo>
                      <a:pt x="1253" y="1430"/>
                    </a:lnTo>
                    <a:lnTo>
                      <a:pt x="1253" y="1432"/>
                    </a:lnTo>
                    <a:lnTo>
                      <a:pt x="1253" y="1434"/>
                    </a:lnTo>
                    <a:lnTo>
                      <a:pt x="1253" y="1435"/>
                    </a:lnTo>
                    <a:lnTo>
                      <a:pt x="1251" y="1435"/>
                    </a:lnTo>
                    <a:lnTo>
                      <a:pt x="1249" y="1435"/>
                    </a:lnTo>
                    <a:lnTo>
                      <a:pt x="1251" y="1435"/>
                    </a:lnTo>
                    <a:lnTo>
                      <a:pt x="1249" y="1437"/>
                    </a:lnTo>
                    <a:lnTo>
                      <a:pt x="1249" y="1439"/>
                    </a:lnTo>
                    <a:lnTo>
                      <a:pt x="1251" y="1439"/>
                    </a:lnTo>
                    <a:lnTo>
                      <a:pt x="1253" y="1439"/>
                    </a:lnTo>
                    <a:lnTo>
                      <a:pt x="1253" y="1441"/>
                    </a:lnTo>
                    <a:lnTo>
                      <a:pt x="1254" y="1442"/>
                    </a:lnTo>
                    <a:lnTo>
                      <a:pt x="1254" y="1444"/>
                    </a:lnTo>
                    <a:lnTo>
                      <a:pt x="1254" y="1446"/>
                    </a:lnTo>
                    <a:lnTo>
                      <a:pt x="1256" y="1446"/>
                    </a:lnTo>
                    <a:lnTo>
                      <a:pt x="1258" y="1446"/>
                    </a:lnTo>
                    <a:lnTo>
                      <a:pt x="1258" y="1447"/>
                    </a:lnTo>
                    <a:lnTo>
                      <a:pt x="1259" y="1447"/>
                    </a:lnTo>
                    <a:lnTo>
                      <a:pt x="1259" y="1449"/>
                    </a:lnTo>
                    <a:lnTo>
                      <a:pt x="1261" y="1449"/>
                    </a:lnTo>
                    <a:lnTo>
                      <a:pt x="1261" y="1451"/>
                    </a:lnTo>
                    <a:lnTo>
                      <a:pt x="1263" y="1451"/>
                    </a:lnTo>
                    <a:lnTo>
                      <a:pt x="1263" y="1453"/>
                    </a:lnTo>
                    <a:lnTo>
                      <a:pt x="1264" y="1453"/>
                    </a:lnTo>
                    <a:lnTo>
                      <a:pt x="1264" y="1454"/>
                    </a:lnTo>
                    <a:lnTo>
                      <a:pt x="1266" y="1456"/>
                    </a:lnTo>
                    <a:lnTo>
                      <a:pt x="1266" y="1458"/>
                    </a:lnTo>
                    <a:lnTo>
                      <a:pt x="1264" y="1458"/>
                    </a:lnTo>
                    <a:lnTo>
                      <a:pt x="1264" y="1459"/>
                    </a:lnTo>
                    <a:lnTo>
                      <a:pt x="1263" y="1459"/>
                    </a:lnTo>
                    <a:lnTo>
                      <a:pt x="1263" y="1461"/>
                    </a:lnTo>
                    <a:lnTo>
                      <a:pt x="1264" y="1461"/>
                    </a:lnTo>
                    <a:lnTo>
                      <a:pt x="1266" y="1461"/>
                    </a:lnTo>
                    <a:lnTo>
                      <a:pt x="1266" y="1463"/>
                    </a:lnTo>
                    <a:lnTo>
                      <a:pt x="1275" y="1461"/>
                    </a:lnTo>
                    <a:lnTo>
                      <a:pt x="1283" y="1461"/>
                    </a:lnTo>
                    <a:lnTo>
                      <a:pt x="1285" y="1461"/>
                    </a:lnTo>
                    <a:lnTo>
                      <a:pt x="1288" y="1463"/>
                    </a:lnTo>
                    <a:lnTo>
                      <a:pt x="1302" y="1461"/>
                    </a:lnTo>
                    <a:lnTo>
                      <a:pt x="1309" y="1463"/>
                    </a:lnTo>
                    <a:lnTo>
                      <a:pt x="1314" y="1461"/>
                    </a:lnTo>
                    <a:lnTo>
                      <a:pt x="1319" y="1463"/>
                    </a:lnTo>
                    <a:lnTo>
                      <a:pt x="1331" y="1461"/>
                    </a:lnTo>
                    <a:lnTo>
                      <a:pt x="1334" y="1463"/>
                    </a:lnTo>
                    <a:lnTo>
                      <a:pt x="1336" y="1464"/>
                    </a:lnTo>
                    <a:lnTo>
                      <a:pt x="1338" y="1466"/>
                    </a:lnTo>
                    <a:lnTo>
                      <a:pt x="1341" y="1466"/>
                    </a:lnTo>
                    <a:lnTo>
                      <a:pt x="1344" y="1468"/>
                    </a:lnTo>
                    <a:lnTo>
                      <a:pt x="1348" y="1470"/>
                    </a:lnTo>
                    <a:lnTo>
                      <a:pt x="1349" y="1470"/>
                    </a:lnTo>
                    <a:lnTo>
                      <a:pt x="1351" y="1471"/>
                    </a:lnTo>
                    <a:lnTo>
                      <a:pt x="1355" y="1471"/>
                    </a:lnTo>
                    <a:lnTo>
                      <a:pt x="1358" y="1471"/>
                    </a:lnTo>
                    <a:lnTo>
                      <a:pt x="1360" y="1471"/>
                    </a:lnTo>
                    <a:lnTo>
                      <a:pt x="1361" y="1473"/>
                    </a:lnTo>
                    <a:lnTo>
                      <a:pt x="1363" y="1473"/>
                    </a:lnTo>
                    <a:lnTo>
                      <a:pt x="1365" y="1473"/>
                    </a:lnTo>
                    <a:lnTo>
                      <a:pt x="1366" y="1475"/>
                    </a:lnTo>
                    <a:lnTo>
                      <a:pt x="1368" y="1475"/>
                    </a:lnTo>
                    <a:lnTo>
                      <a:pt x="1372" y="1476"/>
                    </a:lnTo>
                    <a:lnTo>
                      <a:pt x="1373" y="1476"/>
                    </a:lnTo>
                    <a:lnTo>
                      <a:pt x="1373" y="1478"/>
                    </a:lnTo>
                    <a:lnTo>
                      <a:pt x="1375" y="1478"/>
                    </a:lnTo>
                    <a:lnTo>
                      <a:pt x="1377" y="1478"/>
                    </a:lnTo>
                    <a:lnTo>
                      <a:pt x="1378" y="1478"/>
                    </a:lnTo>
                    <a:lnTo>
                      <a:pt x="1378" y="1480"/>
                    </a:lnTo>
                    <a:lnTo>
                      <a:pt x="1380" y="1480"/>
                    </a:lnTo>
                    <a:lnTo>
                      <a:pt x="1382" y="1480"/>
                    </a:lnTo>
                    <a:lnTo>
                      <a:pt x="1383" y="1480"/>
                    </a:lnTo>
                    <a:lnTo>
                      <a:pt x="1385" y="1480"/>
                    </a:lnTo>
                    <a:lnTo>
                      <a:pt x="1385" y="1481"/>
                    </a:lnTo>
                    <a:lnTo>
                      <a:pt x="1385" y="1483"/>
                    </a:lnTo>
                    <a:lnTo>
                      <a:pt x="1383" y="1483"/>
                    </a:lnTo>
                    <a:lnTo>
                      <a:pt x="1383" y="1481"/>
                    </a:lnTo>
                    <a:lnTo>
                      <a:pt x="1382" y="1481"/>
                    </a:lnTo>
                    <a:lnTo>
                      <a:pt x="1382" y="1480"/>
                    </a:lnTo>
                    <a:lnTo>
                      <a:pt x="1380" y="1481"/>
                    </a:lnTo>
                    <a:lnTo>
                      <a:pt x="1378" y="1480"/>
                    </a:lnTo>
                    <a:lnTo>
                      <a:pt x="1377" y="1480"/>
                    </a:lnTo>
                    <a:lnTo>
                      <a:pt x="1375" y="1480"/>
                    </a:lnTo>
                    <a:lnTo>
                      <a:pt x="1373" y="1480"/>
                    </a:lnTo>
                    <a:lnTo>
                      <a:pt x="1373" y="1478"/>
                    </a:lnTo>
                    <a:lnTo>
                      <a:pt x="1372" y="1480"/>
                    </a:lnTo>
                    <a:lnTo>
                      <a:pt x="1372" y="1478"/>
                    </a:lnTo>
                    <a:lnTo>
                      <a:pt x="1370" y="1480"/>
                    </a:lnTo>
                    <a:lnTo>
                      <a:pt x="1368" y="1478"/>
                    </a:lnTo>
                    <a:lnTo>
                      <a:pt x="1366" y="1478"/>
                    </a:lnTo>
                    <a:lnTo>
                      <a:pt x="1365" y="1476"/>
                    </a:lnTo>
                    <a:lnTo>
                      <a:pt x="1363" y="1475"/>
                    </a:lnTo>
                    <a:lnTo>
                      <a:pt x="1361" y="1475"/>
                    </a:lnTo>
                    <a:lnTo>
                      <a:pt x="1361" y="1473"/>
                    </a:lnTo>
                    <a:lnTo>
                      <a:pt x="1360" y="1473"/>
                    </a:lnTo>
                    <a:lnTo>
                      <a:pt x="1358" y="1473"/>
                    </a:lnTo>
                    <a:lnTo>
                      <a:pt x="1356" y="1473"/>
                    </a:lnTo>
                    <a:lnTo>
                      <a:pt x="1356" y="1475"/>
                    </a:lnTo>
                    <a:lnTo>
                      <a:pt x="1355" y="1475"/>
                    </a:lnTo>
                    <a:lnTo>
                      <a:pt x="1353" y="1475"/>
                    </a:lnTo>
                    <a:lnTo>
                      <a:pt x="1353" y="1476"/>
                    </a:lnTo>
                    <a:lnTo>
                      <a:pt x="1351" y="1476"/>
                    </a:lnTo>
                    <a:lnTo>
                      <a:pt x="1349" y="1476"/>
                    </a:lnTo>
                    <a:lnTo>
                      <a:pt x="1349" y="1478"/>
                    </a:lnTo>
                    <a:lnTo>
                      <a:pt x="1349" y="1480"/>
                    </a:lnTo>
                    <a:lnTo>
                      <a:pt x="1348" y="1480"/>
                    </a:lnTo>
                    <a:lnTo>
                      <a:pt x="1349" y="1481"/>
                    </a:lnTo>
                    <a:lnTo>
                      <a:pt x="1348" y="1481"/>
                    </a:lnTo>
                    <a:lnTo>
                      <a:pt x="1349" y="1483"/>
                    </a:lnTo>
                    <a:lnTo>
                      <a:pt x="1348" y="1483"/>
                    </a:lnTo>
                    <a:lnTo>
                      <a:pt x="1346" y="1485"/>
                    </a:lnTo>
                    <a:lnTo>
                      <a:pt x="1346" y="1487"/>
                    </a:lnTo>
                    <a:lnTo>
                      <a:pt x="1346" y="1488"/>
                    </a:lnTo>
                    <a:lnTo>
                      <a:pt x="1344" y="1488"/>
                    </a:lnTo>
                    <a:lnTo>
                      <a:pt x="1344" y="1490"/>
                    </a:lnTo>
                    <a:lnTo>
                      <a:pt x="1343" y="1492"/>
                    </a:lnTo>
                    <a:lnTo>
                      <a:pt x="1341" y="1492"/>
                    </a:lnTo>
                    <a:lnTo>
                      <a:pt x="1339" y="1492"/>
                    </a:lnTo>
                    <a:lnTo>
                      <a:pt x="1338" y="1490"/>
                    </a:lnTo>
                    <a:lnTo>
                      <a:pt x="1338" y="1488"/>
                    </a:lnTo>
                    <a:lnTo>
                      <a:pt x="1336" y="1488"/>
                    </a:lnTo>
                    <a:lnTo>
                      <a:pt x="1336" y="1490"/>
                    </a:lnTo>
                    <a:lnTo>
                      <a:pt x="1334" y="1490"/>
                    </a:lnTo>
                    <a:lnTo>
                      <a:pt x="1332" y="1492"/>
                    </a:lnTo>
                    <a:lnTo>
                      <a:pt x="1331" y="1492"/>
                    </a:lnTo>
                    <a:lnTo>
                      <a:pt x="1331" y="1493"/>
                    </a:lnTo>
                    <a:lnTo>
                      <a:pt x="1329" y="1493"/>
                    </a:lnTo>
                    <a:lnTo>
                      <a:pt x="1327" y="1493"/>
                    </a:lnTo>
                    <a:lnTo>
                      <a:pt x="1326" y="1495"/>
                    </a:lnTo>
                    <a:lnTo>
                      <a:pt x="1324" y="1495"/>
                    </a:lnTo>
                    <a:lnTo>
                      <a:pt x="1324" y="1497"/>
                    </a:lnTo>
                    <a:lnTo>
                      <a:pt x="1324" y="1498"/>
                    </a:lnTo>
                    <a:lnTo>
                      <a:pt x="1324" y="1497"/>
                    </a:lnTo>
                    <a:lnTo>
                      <a:pt x="1322" y="1497"/>
                    </a:lnTo>
                    <a:lnTo>
                      <a:pt x="1321" y="1497"/>
                    </a:lnTo>
                    <a:lnTo>
                      <a:pt x="1321" y="1498"/>
                    </a:lnTo>
                    <a:lnTo>
                      <a:pt x="1319" y="1498"/>
                    </a:lnTo>
                    <a:lnTo>
                      <a:pt x="1317" y="1500"/>
                    </a:lnTo>
                    <a:lnTo>
                      <a:pt x="1315" y="1500"/>
                    </a:lnTo>
                    <a:lnTo>
                      <a:pt x="1314" y="1502"/>
                    </a:lnTo>
                    <a:lnTo>
                      <a:pt x="1312" y="1502"/>
                    </a:lnTo>
                    <a:lnTo>
                      <a:pt x="1312" y="1500"/>
                    </a:lnTo>
                    <a:lnTo>
                      <a:pt x="1314" y="1500"/>
                    </a:lnTo>
                    <a:lnTo>
                      <a:pt x="1314" y="1498"/>
                    </a:lnTo>
                    <a:lnTo>
                      <a:pt x="1312" y="1498"/>
                    </a:lnTo>
                    <a:lnTo>
                      <a:pt x="1312" y="1500"/>
                    </a:lnTo>
                    <a:lnTo>
                      <a:pt x="1310" y="1502"/>
                    </a:lnTo>
                    <a:lnTo>
                      <a:pt x="1310" y="1500"/>
                    </a:lnTo>
                    <a:lnTo>
                      <a:pt x="1309" y="1502"/>
                    </a:lnTo>
                    <a:lnTo>
                      <a:pt x="1307" y="1502"/>
                    </a:lnTo>
                    <a:lnTo>
                      <a:pt x="1309" y="1504"/>
                    </a:lnTo>
                    <a:lnTo>
                      <a:pt x="1307" y="1504"/>
                    </a:lnTo>
                    <a:lnTo>
                      <a:pt x="1307" y="1502"/>
                    </a:lnTo>
                    <a:lnTo>
                      <a:pt x="1305" y="1502"/>
                    </a:lnTo>
                    <a:lnTo>
                      <a:pt x="1305" y="1504"/>
                    </a:lnTo>
                    <a:lnTo>
                      <a:pt x="1304" y="1504"/>
                    </a:lnTo>
                    <a:lnTo>
                      <a:pt x="1304" y="1502"/>
                    </a:lnTo>
                    <a:lnTo>
                      <a:pt x="1302" y="1502"/>
                    </a:lnTo>
                    <a:lnTo>
                      <a:pt x="1304" y="1502"/>
                    </a:lnTo>
                    <a:lnTo>
                      <a:pt x="1302" y="1502"/>
                    </a:lnTo>
                    <a:lnTo>
                      <a:pt x="1302" y="1504"/>
                    </a:lnTo>
                    <a:lnTo>
                      <a:pt x="1304" y="1504"/>
                    </a:lnTo>
                    <a:lnTo>
                      <a:pt x="1305" y="1504"/>
                    </a:lnTo>
                    <a:lnTo>
                      <a:pt x="1304" y="1505"/>
                    </a:lnTo>
                    <a:lnTo>
                      <a:pt x="1305" y="1505"/>
                    </a:lnTo>
                    <a:lnTo>
                      <a:pt x="1307" y="1505"/>
                    </a:lnTo>
                    <a:lnTo>
                      <a:pt x="1305" y="1507"/>
                    </a:lnTo>
                    <a:lnTo>
                      <a:pt x="1304" y="1507"/>
                    </a:lnTo>
                    <a:lnTo>
                      <a:pt x="1304" y="1509"/>
                    </a:lnTo>
                    <a:lnTo>
                      <a:pt x="1304" y="1507"/>
                    </a:lnTo>
                    <a:lnTo>
                      <a:pt x="1304" y="1509"/>
                    </a:lnTo>
                    <a:lnTo>
                      <a:pt x="1304" y="1510"/>
                    </a:lnTo>
                    <a:lnTo>
                      <a:pt x="1304" y="1512"/>
                    </a:lnTo>
                    <a:lnTo>
                      <a:pt x="1302" y="1512"/>
                    </a:lnTo>
                    <a:lnTo>
                      <a:pt x="1302" y="1514"/>
                    </a:lnTo>
                    <a:lnTo>
                      <a:pt x="1304" y="1514"/>
                    </a:lnTo>
                    <a:lnTo>
                      <a:pt x="1305" y="1514"/>
                    </a:lnTo>
                    <a:lnTo>
                      <a:pt x="1304" y="1515"/>
                    </a:lnTo>
                    <a:lnTo>
                      <a:pt x="1304" y="1517"/>
                    </a:lnTo>
                    <a:lnTo>
                      <a:pt x="1304" y="1519"/>
                    </a:lnTo>
                    <a:lnTo>
                      <a:pt x="1304" y="1521"/>
                    </a:lnTo>
                    <a:lnTo>
                      <a:pt x="1302" y="1521"/>
                    </a:lnTo>
                    <a:lnTo>
                      <a:pt x="1302" y="1522"/>
                    </a:lnTo>
                    <a:lnTo>
                      <a:pt x="1302" y="1524"/>
                    </a:lnTo>
                    <a:lnTo>
                      <a:pt x="1302" y="1526"/>
                    </a:lnTo>
                    <a:lnTo>
                      <a:pt x="1302" y="1527"/>
                    </a:lnTo>
                    <a:lnTo>
                      <a:pt x="1300" y="1527"/>
                    </a:lnTo>
                    <a:lnTo>
                      <a:pt x="1300" y="1529"/>
                    </a:lnTo>
                    <a:lnTo>
                      <a:pt x="1300" y="1531"/>
                    </a:lnTo>
                    <a:lnTo>
                      <a:pt x="1298" y="1532"/>
                    </a:lnTo>
                    <a:lnTo>
                      <a:pt x="1300" y="1532"/>
                    </a:lnTo>
                    <a:lnTo>
                      <a:pt x="1300" y="1534"/>
                    </a:lnTo>
                    <a:lnTo>
                      <a:pt x="1300" y="1536"/>
                    </a:lnTo>
                    <a:lnTo>
                      <a:pt x="1298" y="1538"/>
                    </a:lnTo>
                    <a:lnTo>
                      <a:pt x="1298" y="1539"/>
                    </a:lnTo>
                    <a:lnTo>
                      <a:pt x="1298" y="1541"/>
                    </a:lnTo>
                    <a:lnTo>
                      <a:pt x="1298" y="1543"/>
                    </a:lnTo>
                    <a:lnTo>
                      <a:pt x="1298" y="1544"/>
                    </a:lnTo>
                    <a:lnTo>
                      <a:pt x="1298" y="1546"/>
                    </a:lnTo>
                    <a:lnTo>
                      <a:pt x="1300" y="1548"/>
                    </a:lnTo>
                    <a:lnTo>
                      <a:pt x="1300" y="1549"/>
                    </a:lnTo>
                    <a:lnTo>
                      <a:pt x="1300" y="1551"/>
                    </a:lnTo>
                    <a:lnTo>
                      <a:pt x="1300" y="1553"/>
                    </a:lnTo>
                    <a:lnTo>
                      <a:pt x="1298" y="1553"/>
                    </a:lnTo>
                    <a:lnTo>
                      <a:pt x="1300" y="1555"/>
                    </a:lnTo>
                    <a:lnTo>
                      <a:pt x="1298" y="1556"/>
                    </a:lnTo>
                    <a:lnTo>
                      <a:pt x="1298" y="1558"/>
                    </a:lnTo>
                    <a:lnTo>
                      <a:pt x="1298" y="1560"/>
                    </a:lnTo>
                    <a:lnTo>
                      <a:pt x="1298" y="1561"/>
                    </a:lnTo>
                    <a:lnTo>
                      <a:pt x="1297" y="1561"/>
                    </a:lnTo>
                    <a:lnTo>
                      <a:pt x="1297" y="1563"/>
                    </a:lnTo>
                    <a:lnTo>
                      <a:pt x="1295" y="1565"/>
                    </a:lnTo>
                    <a:lnTo>
                      <a:pt x="1295" y="1563"/>
                    </a:lnTo>
                    <a:lnTo>
                      <a:pt x="1295" y="1565"/>
                    </a:lnTo>
                    <a:lnTo>
                      <a:pt x="1293" y="1565"/>
                    </a:lnTo>
                    <a:lnTo>
                      <a:pt x="1292" y="1566"/>
                    </a:lnTo>
                    <a:lnTo>
                      <a:pt x="1290" y="1566"/>
                    </a:lnTo>
                    <a:lnTo>
                      <a:pt x="1290" y="1568"/>
                    </a:lnTo>
                    <a:lnTo>
                      <a:pt x="1288" y="1568"/>
                    </a:lnTo>
                    <a:lnTo>
                      <a:pt x="1287" y="1568"/>
                    </a:lnTo>
                    <a:lnTo>
                      <a:pt x="1287" y="1566"/>
                    </a:lnTo>
                    <a:lnTo>
                      <a:pt x="1285" y="1566"/>
                    </a:lnTo>
                    <a:lnTo>
                      <a:pt x="1283" y="1565"/>
                    </a:lnTo>
                    <a:lnTo>
                      <a:pt x="1281" y="1565"/>
                    </a:lnTo>
                    <a:lnTo>
                      <a:pt x="1280" y="1565"/>
                    </a:lnTo>
                    <a:lnTo>
                      <a:pt x="1280" y="1563"/>
                    </a:lnTo>
                    <a:lnTo>
                      <a:pt x="1278" y="1563"/>
                    </a:lnTo>
                    <a:lnTo>
                      <a:pt x="1276" y="1563"/>
                    </a:lnTo>
                    <a:lnTo>
                      <a:pt x="1275" y="1563"/>
                    </a:lnTo>
                    <a:lnTo>
                      <a:pt x="1273" y="1563"/>
                    </a:lnTo>
                    <a:lnTo>
                      <a:pt x="1273" y="1561"/>
                    </a:lnTo>
                    <a:lnTo>
                      <a:pt x="1271" y="1561"/>
                    </a:lnTo>
                    <a:lnTo>
                      <a:pt x="1271" y="1560"/>
                    </a:lnTo>
                    <a:lnTo>
                      <a:pt x="1270" y="1560"/>
                    </a:lnTo>
                    <a:lnTo>
                      <a:pt x="1268" y="1560"/>
                    </a:lnTo>
                    <a:lnTo>
                      <a:pt x="1268" y="1558"/>
                    </a:lnTo>
                    <a:lnTo>
                      <a:pt x="1266" y="1556"/>
                    </a:lnTo>
                    <a:lnTo>
                      <a:pt x="1268" y="1556"/>
                    </a:lnTo>
                    <a:lnTo>
                      <a:pt x="1266" y="1556"/>
                    </a:lnTo>
                    <a:lnTo>
                      <a:pt x="1266" y="1558"/>
                    </a:lnTo>
                    <a:lnTo>
                      <a:pt x="1264" y="1558"/>
                    </a:lnTo>
                    <a:lnTo>
                      <a:pt x="1264" y="1556"/>
                    </a:lnTo>
                    <a:lnTo>
                      <a:pt x="1263" y="1556"/>
                    </a:lnTo>
                    <a:lnTo>
                      <a:pt x="1263" y="1558"/>
                    </a:lnTo>
                    <a:lnTo>
                      <a:pt x="1263" y="1556"/>
                    </a:lnTo>
                    <a:lnTo>
                      <a:pt x="1261" y="1556"/>
                    </a:lnTo>
                    <a:lnTo>
                      <a:pt x="1259" y="1556"/>
                    </a:lnTo>
                    <a:lnTo>
                      <a:pt x="1259" y="1555"/>
                    </a:lnTo>
                    <a:lnTo>
                      <a:pt x="1258" y="1555"/>
                    </a:lnTo>
                    <a:lnTo>
                      <a:pt x="1258" y="1553"/>
                    </a:lnTo>
                    <a:lnTo>
                      <a:pt x="1256" y="1553"/>
                    </a:lnTo>
                    <a:lnTo>
                      <a:pt x="1256" y="1551"/>
                    </a:lnTo>
                    <a:lnTo>
                      <a:pt x="1254" y="1551"/>
                    </a:lnTo>
                    <a:lnTo>
                      <a:pt x="1254" y="1549"/>
                    </a:lnTo>
                    <a:lnTo>
                      <a:pt x="1253" y="1549"/>
                    </a:lnTo>
                    <a:lnTo>
                      <a:pt x="1253" y="1548"/>
                    </a:lnTo>
                    <a:lnTo>
                      <a:pt x="1251" y="1546"/>
                    </a:lnTo>
                    <a:lnTo>
                      <a:pt x="1251" y="1544"/>
                    </a:lnTo>
                    <a:lnTo>
                      <a:pt x="1251" y="1546"/>
                    </a:lnTo>
                    <a:lnTo>
                      <a:pt x="1249" y="1544"/>
                    </a:lnTo>
                    <a:lnTo>
                      <a:pt x="1249" y="1543"/>
                    </a:lnTo>
                    <a:lnTo>
                      <a:pt x="1249" y="1541"/>
                    </a:lnTo>
                    <a:lnTo>
                      <a:pt x="1247" y="1541"/>
                    </a:lnTo>
                    <a:lnTo>
                      <a:pt x="1247" y="1539"/>
                    </a:lnTo>
                    <a:lnTo>
                      <a:pt x="1247" y="1538"/>
                    </a:lnTo>
                    <a:lnTo>
                      <a:pt x="1249" y="1539"/>
                    </a:lnTo>
                    <a:lnTo>
                      <a:pt x="1249" y="1538"/>
                    </a:lnTo>
                    <a:lnTo>
                      <a:pt x="1249" y="1536"/>
                    </a:lnTo>
                    <a:lnTo>
                      <a:pt x="1249" y="1534"/>
                    </a:lnTo>
                    <a:lnTo>
                      <a:pt x="1251" y="1534"/>
                    </a:lnTo>
                    <a:lnTo>
                      <a:pt x="1251" y="1532"/>
                    </a:lnTo>
                    <a:lnTo>
                      <a:pt x="1253" y="1532"/>
                    </a:lnTo>
                    <a:lnTo>
                      <a:pt x="1254" y="1531"/>
                    </a:lnTo>
                    <a:lnTo>
                      <a:pt x="1256" y="1532"/>
                    </a:lnTo>
                    <a:lnTo>
                      <a:pt x="1258" y="1532"/>
                    </a:lnTo>
                    <a:lnTo>
                      <a:pt x="1259" y="1532"/>
                    </a:lnTo>
                    <a:lnTo>
                      <a:pt x="1259" y="1531"/>
                    </a:lnTo>
                    <a:lnTo>
                      <a:pt x="1259" y="1532"/>
                    </a:lnTo>
                    <a:lnTo>
                      <a:pt x="1259" y="1534"/>
                    </a:lnTo>
                    <a:lnTo>
                      <a:pt x="1261" y="1534"/>
                    </a:lnTo>
                    <a:lnTo>
                      <a:pt x="1259" y="1536"/>
                    </a:lnTo>
                    <a:lnTo>
                      <a:pt x="1261" y="1536"/>
                    </a:lnTo>
                    <a:lnTo>
                      <a:pt x="1261" y="1538"/>
                    </a:lnTo>
                    <a:lnTo>
                      <a:pt x="1259" y="1539"/>
                    </a:lnTo>
                    <a:lnTo>
                      <a:pt x="1259" y="1541"/>
                    </a:lnTo>
                    <a:lnTo>
                      <a:pt x="1258" y="1541"/>
                    </a:lnTo>
                    <a:lnTo>
                      <a:pt x="1256" y="1543"/>
                    </a:lnTo>
                    <a:lnTo>
                      <a:pt x="1254" y="1541"/>
                    </a:lnTo>
                    <a:lnTo>
                      <a:pt x="1256" y="1543"/>
                    </a:lnTo>
                    <a:lnTo>
                      <a:pt x="1258" y="1543"/>
                    </a:lnTo>
                    <a:lnTo>
                      <a:pt x="1259" y="1541"/>
                    </a:lnTo>
                    <a:lnTo>
                      <a:pt x="1261" y="1541"/>
                    </a:lnTo>
                    <a:lnTo>
                      <a:pt x="1261" y="1539"/>
                    </a:lnTo>
                    <a:lnTo>
                      <a:pt x="1263" y="1539"/>
                    </a:lnTo>
                    <a:lnTo>
                      <a:pt x="1263" y="1538"/>
                    </a:lnTo>
                    <a:lnTo>
                      <a:pt x="1263" y="1536"/>
                    </a:lnTo>
                    <a:lnTo>
                      <a:pt x="1263" y="1534"/>
                    </a:lnTo>
                    <a:lnTo>
                      <a:pt x="1263" y="1532"/>
                    </a:lnTo>
                    <a:lnTo>
                      <a:pt x="1263" y="1531"/>
                    </a:lnTo>
                    <a:lnTo>
                      <a:pt x="1264" y="1531"/>
                    </a:lnTo>
                    <a:lnTo>
                      <a:pt x="1266" y="1531"/>
                    </a:lnTo>
                    <a:lnTo>
                      <a:pt x="1268" y="1531"/>
                    </a:lnTo>
                    <a:lnTo>
                      <a:pt x="1270" y="1531"/>
                    </a:lnTo>
                    <a:lnTo>
                      <a:pt x="1270" y="1532"/>
                    </a:lnTo>
                    <a:lnTo>
                      <a:pt x="1270" y="1534"/>
                    </a:lnTo>
                    <a:lnTo>
                      <a:pt x="1270" y="1536"/>
                    </a:lnTo>
                    <a:lnTo>
                      <a:pt x="1270" y="1538"/>
                    </a:lnTo>
                    <a:lnTo>
                      <a:pt x="1270" y="1539"/>
                    </a:lnTo>
                    <a:lnTo>
                      <a:pt x="1271" y="1541"/>
                    </a:lnTo>
                    <a:lnTo>
                      <a:pt x="1271" y="1543"/>
                    </a:lnTo>
                    <a:lnTo>
                      <a:pt x="1271" y="1541"/>
                    </a:lnTo>
                    <a:lnTo>
                      <a:pt x="1270" y="1543"/>
                    </a:lnTo>
                    <a:lnTo>
                      <a:pt x="1270" y="1544"/>
                    </a:lnTo>
                    <a:lnTo>
                      <a:pt x="1268" y="1544"/>
                    </a:lnTo>
                    <a:lnTo>
                      <a:pt x="1266" y="1546"/>
                    </a:lnTo>
                    <a:lnTo>
                      <a:pt x="1264" y="1546"/>
                    </a:lnTo>
                    <a:lnTo>
                      <a:pt x="1264" y="1548"/>
                    </a:lnTo>
                    <a:lnTo>
                      <a:pt x="1263" y="1548"/>
                    </a:lnTo>
                    <a:lnTo>
                      <a:pt x="1261" y="1548"/>
                    </a:lnTo>
                    <a:lnTo>
                      <a:pt x="1263" y="1548"/>
                    </a:lnTo>
                    <a:lnTo>
                      <a:pt x="1264" y="1549"/>
                    </a:lnTo>
                    <a:lnTo>
                      <a:pt x="1266" y="1548"/>
                    </a:lnTo>
                    <a:lnTo>
                      <a:pt x="1268" y="1548"/>
                    </a:lnTo>
                    <a:lnTo>
                      <a:pt x="1270" y="1546"/>
                    </a:lnTo>
                    <a:lnTo>
                      <a:pt x="1271" y="1544"/>
                    </a:lnTo>
                    <a:lnTo>
                      <a:pt x="1273" y="1543"/>
                    </a:lnTo>
                    <a:lnTo>
                      <a:pt x="1271" y="1543"/>
                    </a:lnTo>
                    <a:lnTo>
                      <a:pt x="1271" y="1541"/>
                    </a:lnTo>
                    <a:lnTo>
                      <a:pt x="1271" y="1539"/>
                    </a:lnTo>
                    <a:lnTo>
                      <a:pt x="1273" y="1538"/>
                    </a:lnTo>
                    <a:lnTo>
                      <a:pt x="1271" y="1538"/>
                    </a:lnTo>
                    <a:lnTo>
                      <a:pt x="1271" y="1536"/>
                    </a:lnTo>
                    <a:lnTo>
                      <a:pt x="1271" y="1534"/>
                    </a:lnTo>
                    <a:lnTo>
                      <a:pt x="1273" y="1536"/>
                    </a:lnTo>
                    <a:lnTo>
                      <a:pt x="1271" y="1534"/>
                    </a:lnTo>
                    <a:lnTo>
                      <a:pt x="1271" y="1532"/>
                    </a:lnTo>
                    <a:lnTo>
                      <a:pt x="1273" y="1532"/>
                    </a:lnTo>
                    <a:lnTo>
                      <a:pt x="1273" y="1531"/>
                    </a:lnTo>
                    <a:lnTo>
                      <a:pt x="1273" y="1529"/>
                    </a:lnTo>
                    <a:lnTo>
                      <a:pt x="1275" y="1529"/>
                    </a:lnTo>
                    <a:lnTo>
                      <a:pt x="1276" y="1529"/>
                    </a:lnTo>
                    <a:lnTo>
                      <a:pt x="1278" y="1527"/>
                    </a:lnTo>
                    <a:lnTo>
                      <a:pt x="1280" y="1527"/>
                    </a:lnTo>
                    <a:lnTo>
                      <a:pt x="1280" y="1526"/>
                    </a:lnTo>
                    <a:lnTo>
                      <a:pt x="1281" y="1526"/>
                    </a:lnTo>
                    <a:lnTo>
                      <a:pt x="1283" y="1526"/>
                    </a:lnTo>
                    <a:lnTo>
                      <a:pt x="1285" y="1524"/>
                    </a:lnTo>
                    <a:lnTo>
                      <a:pt x="1287" y="1524"/>
                    </a:lnTo>
                    <a:lnTo>
                      <a:pt x="1287" y="1522"/>
                    </a:lnTo>
                    <a:lnTo>
                      <a:pt x="1287" y="1521"/>
                    </a:lnTo>
                    <a:lnTo>
                      <a:pt x="1288" y="1521"/>
                    </a:lnTo>
                    <a:lnTo>
                      <a:pt x="1288" y="1519"/>
                    </a:lnTo>
                    <a:lnTo>
                      <a:pt x="1290" y="1517"/>
                    </a:lnTo>
                    <a:lnTo>
                      <a:pt x="1290" y="1515"/>
                    </a:lnTo>
                    <a:lnTo>
                      <a:pt x="1292" y="1515"/>
                    </a:lnTo>
                    <a:lnTo>
                      <a:pt x="1292" y="1514"/>
                    </a:lnTo>
                    <a:lnTo>
                      <a:pt x="1293" y="1514"/>
                    </a:lnTo>
                    <a:lnTo>
                      <a:pt x="1293" y="1512"/>
                    </a:lnTo>
                    <a:lnTo>
                      <a:pt x="1293" y="1510"/>
                    </a:lnTo>
                    <a:lnTo>
                      <a:pt x="1293" y="1509"/>
                    </a:lnTo>
                    <a:lnTo>
                      <a:pt x="1293" y="1507"/>
                    </a:lnTo>
                    <a:lnTo>
                      <a:pt x="1292" y="1507"/>
                    </a:lnTo>
                    <a:lnTo>
                      <a:pt x="1290" y="1507"/>
                    </a:lnTo>
                    <a:lnTo>
                      <a:pt x="1290" y="1505"/>
                    </a:lnTo>
                    <a:lnTo>
                      <a:pt x="1288" y="1505"/>
                    </a:lnTo>
                    <a:lnTo>
                      <a:pt x="1287" y="1507"/>
                    </a:lnTo>
                    <a:lnTo>
                      <a:pt x="1285" y="1507"/>
                    </a:lnTo>
                    <a:lnTo>
                      <a:pt x="1285" y="1505"/>
                    </a:lnTo>
                    <a:lnTo>
                      <a:pt x="1285" y="1504"/>
                    </a:lnTo>
                    <a:lnTo>
                      <a:pt x="1285" y="1502"/>
                    </a:lnTo>
                    <a:lnTo>
                      <a:pt x="1283" y="1502"/>
                    </a:lnTo>
                    <a:lnTo>
                      <a:pt x="1283" y="1500"/>
                    </a:lnTo>
                    <a:lnTo>
                      <a:pt x="1281" y="1498"/>
                    </a:lnTo>
                    <a:lnTo>
                      <a:pt x="1281" y="1497"/>
                    </a:lnTo>
                    <a:lnTo>
                      <a:pt x="1280" y="1497"/>
                    </a:lnTo>
                    <a:lnTo>
                      <a:pt x="1280" y="1495"/>
                    </a:lnTo>
                    <a:lnTo>
                      <a:pt x="1280" y="1493"/>
                    </a:lnTo>
                    <a:lnTo>
                      <a:pt x="1278" y="1493"/>
                    </a:lnTo>
                    <a:lnTo>
                      <a:pt x="1276" y="1493"/>
                    </a:lnTo>
                    <a:lnTo>
                      <a:pt x="1275" y="1493"/>
                    </a:lnTo>
                    <a:lnTo>
                      <a:pt x="1273" y="1493"/>
                    </a:lnTo>
                    <a:lnTo>
                      <a:pt x="1271" y="1493"/>
                    </a:lnTo>
                    <a:lnTo>
                      <a:pt x="1270" y="1493"/>
                    </a:lnTo>
                    <a:lnTo>
                      <a:pt x="1270" y="1492"/>
                    </a:lnTo>
                    <a:lnTo>
                      <a:pt x="1268" y="1492"/>
                    </a:lnTo>
                    <a:lnTo>
                      <a:pt x="1266" y="1492"/>
                    </a:lnTo>
                    <a:lnTo>
                      <a:pt x="1264" y="1492"/>
                    </a:lnTo>
                    <a:lnTo>
                      <a:pt x="1264" y="1493"/>
                    </a:lnTo>
                    <a:lnTo>
                      <a:pt x="1263" y="1492"/>
                    </a:lnTo>
                    <a:lnTo>
                      <a:pt x="1263" y="1493"/>
                    </a:lnTo>
                    <a:lnTo>
                      <a:pt x="1263" y="1492"/>
                    </a:lnTo>
                    <a:lnTo>
                      <a:pt x="1263" y="1493"/>
                    </a:lnTo>
                    <a:lnTo>
                      <a:pt x="1261" y="1492"/>
                    </a:lnTo>
                    <a:lnTo>
                      <a:pt x="1259" y="1492"/>
                    </a:lnTo>
                    <a:lnTo>
                      <a:pt x="1261" y="1492"/>
                    </a:lnTo>
                    <a:lnTo>
                      <a:pt x="1259" y="1493"/>
                    </a:lnTo>
                    <a:lnTo>
                      <a:pt x="1259" y="1492"/>
                    </a:lnTo>
                    <a:lnTo>
                      <a:pt x="1259" y="1490"/>
                    </a:lnTo>
                    <a:lnTo>
                      <a:pt x="1259" y="1492"/>
                    </a:lnTo>
                    <a:lnTo>
                      <a:pt x="1258" y="1490"/>
                    </a:lnTo>
                    <a:lnTo>
                      <a:pt x="1258" y="1492"/>
                    </a:lnTo>
                    <a:lnTo>
                      <a:pt x="1256" y="1492"/>
                    </a:lnTo>
                    <a:lnTo>
                      <a:pt x="1254" y="1492"/>
                    </a:lnTo>
                    <a:lnTo>
                      <a:pt x="1253" y="1492"/>
                    </a:lnTo>
                    <a:lnTo>
                      <a:pt x="1253" y="1493"/>
                    </a:lnTo>
                    <a:lnTo>
                      <a:pt x="1251" y="1495"/>
                    </a:lnTo>
                    <a:lnTo>
                      <a:pt x="1249" y="1495"/>
                    </a:lnTo>
                    <a:lnTo>
                      <a:pt x="1249" y="1497"/>
                    </a:lnTo>
                    <a:lnTo>
                      <a:pt x="1251" y="1497"/>
                    </a:lnTo>
                    <a:lnTo>
                      <a:pt x="1249" y="1498"/>
                    </a:lnTo>
                    <a:lnTo>
                      <a:pt x="1247" y="1498"/>
                    </a:lnTo>
                    <a:lnTo>
                      <a:pt x="1247" y="1497"/>
                    </a:lnTo>
                    <a:lnTo>
                      <a:pt x="1246" y="1497"/>
                    </a:lnTo>
                    <a:lnTo>
                      <a:pt x="1244" y="1495"/>
                    </a:lnTo>
                    <a:lnTo>
                      <a:pt x="1246" y="1495"/>
                    </a:lnTo>
                    <a:lnTo>
                      <a:pt x="1246" y="1493"/>
                    </a:lnTo>
                    <a:lnTo>
                      <a:pt x="1247" y="1493"/>
                    </a:lnTo>
                    <a:lnTo>
                      <a:pt x="1247" y="1492"/>
                    </a:lnTo>
                    <a:lnTo>
                      <a:pt x="1249" y="1493"/>
                    </a:lnTo>
                    <a:lnTo>
                      <a:pt x="1251" y="1493"/>
                    </a:lnTo>
                    <a:lnTo>
                      <a:pt x="1251" y="1492"/>
                    </a:lnTo>
                    <a:lnTo>
                      <a:pt x="1251" y="1490"/>
                    </a:lnTo>
                    <a:lnTo>
                      <a:pt x="1249" y="1490"/>
                    </a:lnTo>
                    <a:lnTo>
                      <a:pt x="1249" y="1492"/>
                    </a:lnTo>
                    <a:lnTo>
                      <a:pt x="1247" y="1492"/>
                    </a:lnTo>
                    <a:lnTo>
                      <a:pt x="1246" y="1492"/>
                    </a:lnTo>
                    <a:lnTo>
                      <a:pt x="1246" y="1493"/>
                    </a:lnTo>
                    <a:lnTo>
                      <a:pt x="1244" y="1493"/>
                    </a:lnTo>
                    <a:lnTo>
                      <a:pt x="1244" y="1495"/>
                    </a:lnTo>
                    <a:lnTo>
                      <a:pt x="1242" y="1493"/>
                    </a:lnTo>
                    <a:lnTo>
                      <a:pt x="1242" y="1492"/>
                    </a:lnTo>
                    <a:lnTo>
                      <a:pt x="1244" y="1490"/>
                    </a:lnTo>
                    <a:lnTo>
                      <a:pt x="1242" y="1492"/>
                    </a:lnTo>
                    <a:lnTo>
                      <a:pt x="1241" y="1492"/>
                    </a:lnTo>
                    <a:lnTo>
                      <a:pt x="1241" y="1493"/>
                    </a:lnTo>
                    <a:lnTo>
                      <a:pt x="1239" y="1493"/>
                    </a:lnTo>
                    <a:lnTo>
                      <a:pt x="1237" y="1493"/>
                    </a:lnTo>
                    <a:lnTo>
                      <a:pt x="1236" y="1492"/>
                    </a:lnTo>
                    <a:lnTo>
                      <a:pt x="1234" y="1492"/>
                    </a:lnTo>
                    <a:lnTo>
                      <a:pt x="1236" y="1493"/>
                    </a:lnTo>
                    <a:lnTo>
                      <a:pt x="1234" y="1493"/>
                    </a:lnTo>
                    <a:lnTo>
                      <a:pt x="1236" y="1493"/>
                    </a:lnTo>
                    <a:lnTo>
                      <a:pt x="1234" y="1493"/>
                    </a:lnTo>
                    <a:lnTo>
                      <a:pt x="1234" y="1495"/>
                    </a:lnTo>
                    <a:lnTo>
                      <a:pt x="1236" y="1495"/>
                    </a:lnTo>
                    <a:lnTo>
                      <a:pt x="1234" y="1495"/>
                    </a:lnTo>
                    <a:lnTo>
                      <a:pt x="1232" y="1495"/>
                    </a:lnTo>
                    <a:lnTo>
                      <a:pt x="1234" y="1495"/>
                    </a:lnTo>
                    <a:lnTo>
                      <a:pt x="1234" y="1497"/>
                    </a:lnTo>
                    <a:lnTo>
                      <a:pt x="1234" y="1498"/>
                    </a:lnTo>
                    <a:lnTo>
                      <a:pt x="1234" y="1497"/>
                    </a:lnTo>
                    <a:lnTo>
                      <a:pt x="1236" y="1497"/>
                    </a:lnTo>
                    <a:lnTo>
                      <a:pt x="1236" y="1495"/>
                    </a:lnTo>
                    <a:lnTo>
                      <a:pt x="1237" y="1497"/>
                    </a:lnTo>
                    <a:lnTo>
                      <a:pt x="1236" y="1498"/>
                    </a:lnTo>
                    <a:lnTo>
                      <a:pt x="1237" y="1497"/>
                    </a:lnTo>
                    <a:lnTo>
                      <a:pt x="1239" y="1497"/>
                    </a:lnTo>
                    <a:lnTo>
                      <a:pt x="1237" y="1498"/>
                    </a:lnTo>
                    <a:lnTo>
                      <a:pt x="1239" y="1497"/>
                    </a:lnTo>
                    <a:lnTo>
                      <a:pt x="1239" y="1498"/>
                    </a:lnTo>
                    <a:lnTo>
                      <a:pt x="1241" y="1498"/>
                    </a:lnTo>
                    <a:lnTo>
                      <a:pt x="1241" y="1500"/>
                    </a:lnTo>
                    <a:lnTo>
                      <a:pt x="1239" y="1502"/>
                    </a:lnTo>
                    <a:lnTo>
                      <a:pt x="1239" y="1504"/>
                    </a:lnTo>
                    <a:lnTo>
                      <a:pt x="1237" y="1504"/>
                    </a:lnTo>
                    <a:lnTo>
                      <a:pt x="1236" y="1505"/>
                    </a:lnTo>
                    <a:lnTo>
                      <a:pt x="1236" y="1507"/>
                    </a:lnTo>
                    <a:lnTo>
                      <a:pt x="1234" y="1507"/>
                    </a:lnTo>
                    <a:lnTo>
                      <a:pt x="1232" y="1505"/>
                    </a:lnTo>
                    <a:lnTo>
                      <a:pt x="1232" y="1507"/>
                    </a:lnTo>
                    <a:lnTo>
                      <a:pt x="1232" y="1509"/>
                    </a:lnTo>
                    <a:lnTo>
                      <a:pt x="1230" y="1509"/>
                    </a:lnTo>
                    <a:lnTo>
                      <a:pt x="1229" y="1509"/>
                    </a:lnTo>
                    <a:lnTo>
                      <a:pt x="1229" y="1510"/>
                    </a:lnTo>
                    <a:lnTo>
                      <a:pt x="1230" y="1510"/>
                    </a:lnTo>
                    <a:lnTo>
                      <a:pt x="1230" y="1512"/>
                    </a:lnTo>
                    <a:lnTo>
                      <a:pt x="1232" y="1512"/>
                    </a:lnTo>
                    <a:lnTo>
                      <a:pt x="1230" y="1514"/>
                    </a:lnTo>
                    <a:lnTo>
                      <a:pt x="1232" y="1515"/>
                    </a:lnTo>
                    <a:lnTo>
                      <a:pt x="1230" y="1515"/>
                    </a:lnTo>
                    <a:lnTo>
                      <a:pt x="1232" y="1515"/>
                    </a:lnTo>
                    <a:lnTo>
                      <a:pt x="1232" y="1517"/>
                    </a:lnTo>
                    <a:lnTo>
                      <a:pt x="1230" y="1517"/>
                    </a:lnTo>
                    <a:lnTo>
                      <a:pt x="1230" y="1519"/>
                    </a:lnTo>
                    <a:lnTo>
                      <a:pt x="1232" y="1519"/>
                    </a:lnTo>
                    <a:lnTo>
                      <a:pt x="1230" y="1521"/>
                    </a:lnTo>
                    <a:lnTo>
                      <a:pt x="1230" y="1522"/>
                    </a:lnTo>
                    <a:lnTo>
                      <a:pt x="1229" y="1521"/>
                    </a:lnTo>
                    <a:lnTo>
                      <a:pt x="1229" y="1522"/>
                    </a:lnTo>
                    <a:lnTo>
                      <a:pt x="1227" y="1522"/>
                    </a:lnTo>
                    <a:lnTo>
                      <a:pt x="1227" y="1524"/>
                    </a:lnTo>
                    <a:lnTo>
                      <a:pt x="1225" y="1524"/>
                    </a:lnTo>
                    <a:lnTo>
                      <a:pt x="1225" y="1522"/>
                    </a:lnTo>
                    <a:lnTo>
                      <a:pt x="1224" y="1521"/>
                    </a:lnTo>
                    <a:lnTo>
                      <a:pt x="1225" y="1521"/>
                    </a:lnTo>
                    <a:lnTo>
                      <a:pt x="1225" y="1519"/>
                    </a:lnTo>
                    <a:lnTo>
                      <a:pt x="1224" y="1519"/>
                    </a:lnTo>
                    <a:lnTo>
                      <a:pt x="1224" y="1521"/>
                    </a:lnTo>
                    <a:lnTo>
                      <a:pt x="1224" y="1522"/>
                    </a:lnTo>
                    <a:lnTo>
                      <a:pt x="1224" y="1524"/>
                    </a:lnTo>
                    <a:lnTo>
                      <a:pt x="1222" y="1522"/>
                    </a:lnTo>
                    <a:lnTo>
                      <a:pt x="1220" y="1522"/>
                    </a:lnTo>
                    <a:lnTo>
                      <a:pt x="1219" y="1522"/>
                    </a:lnTo>
                    <a:lnTo>
                      <a:pt x="1219" y="1521"/>
                    </a:lnTo>
                    <a:lnTo>
                      <a:pt x="1217" y="1521"/>
                    </a:lnTo>
                    <a:lnTo>
                      <a:pt x="1219" y="1521"/>
                    </a:lnTo>
                    <a:lnTo>
                      <a:pt x="1217" y="1521"/>
                    </a:lnTo>
                    <a:lnTo>
                      <a:pt x="1215" y="1519"/>
                    </a:lnTo>
                    <a:lnTo>
                      <a:pt x="1217" y="1517"/>
                    </a:lnTo>
                    <a:lnTo>
                      <a:pt x="1219" y="1517"/>
                    </a:lnTo>
                    <a:lnTo>
                      <a:pt x="1219" y="1519"/>
                    </a:lnTo>
                    <a:lnTo>
                      <a:pt x="1220" y="1517"/>
                    </a:lnTo>
                    <a:lnTo>
                      <a:pt x="1219" y="1517"/>
                    </a:lnTo>
                    <a:lnTo>
                      <a:pt x="1217" y="1515"/>
                    </a:lnTo>
                    <a:lnTo>
                      <a:pt x="1219" y="1515"/>
                    </a:lnTo>
                    <a:lnTo>
                      <a:pt x="1220" y="1515"/>
                    </a:lnTo>
                    <a:lnTo>
                      <a:pt x="1222" y="1515"/>
                    </a:lnTo>
                    <a:lnTo>
                      <a:pt x="1222" y="1517"/>
                    </a:lnTo>
                    <a:lnTo>
                      <a:pt x="1222" y="1515"/>
                    </a:lnTo>
                    <a:lnTo>
                      <a:pt x="1220" y="1515"/>
                    </a:lnTo>
                    <a:lnTo>
                      <a:pt x="1222" y="1514"/>
                    </a:lnTo>
                    <a:lnTo>
                      <a:pt x="1222" y="1512"/>
                    </a:lnTo>
                    <a:lnTo>
                      <a:pt x="1224" y="1512"/>
                    </a:lnTo>
                    <a:lnTo>
                      <a:pt x="1224" y="1514"/>
                    </a:lnTo>
                    <a:lnTo>
                      <a:pt x="1225" y="1514"/>
                    </a:lnTo>
                    <a:lnTo>
                      <a:pt x="1224" y="1512"/>
                    </a:lnTo>
                    <a:lnTo>
                      <a:pt x="1222" y="1512"/>
                    </a:lnTo>
                    <a:lnTo>
                      <a:pt x="1222" y="1514"/>
                    </a:lnTo>
                    <a:lnTo>
                      <a:pt x="1220" y="1514"/>
                    </a:lnTo>
                    <a:lnTo>
                      <a:pt x="1220" y="1512"/>
                    </a:lnTo>
                    <a:lnTo>
                      <a:pt x="1219" y="1514"/>
                    </a:lnTo>
                    <a:lnTo>
                      <a:pt x="1219" y="1512"/>
                    </a:lnTo>
                    <a:lnTo>
                      <a:pt x="1219" y="1514"/>
                    </a:lnTo>
                    <a:lnTo>
                      <a:pt x="1219" y="1512"/>
                    </a:lnTo>
                    <a:lnTo>
                      <a:pt x="1217" y="1512"/>
                    </a:lnTo>
                    <a:lnTo>
                      <a:pt x="1219" y="1514"/>
                    </a:lnTo>
                    <a:lnTo>
                      <a:pt x="1217" y="1514"/>
                    </a:lnTo>
                    <a:lnTo>
                      <a:pt x="1219" y="1515"/>
                    </a:lnTo>
                    <a:lnTo>
                      <a:pt x="1217" y="1515"/>
                    </a:lnTo>
                    <a:lnTo>
                      <a:pt x="1215" y="1515"/>
                    </a:lnTo>
                    <a:lnTo>
                      <a:pt x="1213" y="1515"/>
                    </a:lnTo>
                    <a:lnTo>
                      <a:pt x="1213" y="1514"/>
                    </a:lnTo>
                    <a:lnTo>
                      <a:pt x="1215" y="1514"/>
                    </a:lnTo>
                    <a:lnTo>
                      <a:pt x="1217" y="1514"/>
                    </a:lnTo>
                    <a:lnTo>
                      <a:pt x="1215" y="1512"/>
                    </a:lnTo>
                    <a:lnTo>
                      <a:pt x="1213" y="1512"/>
                    </a:lnTo>
                    <a:lnTo>
                      <a:pt x="1215" y="1514"/>
                    </a:lnTo>
                    <a:lnTo>
                      <a:pt x="1213" y="1514"/>
                    </a:lnTo>
                    <a:lnTo>
                      <a:pt x="1213" y="1512"/>
                    </a:lnTo>
                    <a:lnTo>
                      <a:pt x="1212" y="1512"/>
                    </a:lnTo>
                    <a:lnTo>
                      <a:pt x="1210" y="1512"/>
                    </a:lnTo>
                    <a:lnTo>
                      <a:pt x="1208" y="1512"/>
                    </a:lnTo>
                    <a:lnTo>
                      <a:pt x="1207" y="1512"/>
                    </a:lnTo>
                    <a:lnTo>
                      <a:pt x="1205" y="1514"/>
                    </a:lnTo>
                    <a:lnTo>
                      <a:pt x="1203" y="1514"/>
                    </a:lnTo>
                    <a:lnTo>
                      <a:pt x="1203" y="1512"/>
                    </a:lnTo>
                    <a:lnTo>
                      <a:pt x="1205" y="1512"/>
                    </a:lnTo>
                    <a:lnTo>
                      <a:pt x="1205" y="1510"/>
                    </a:lnTo>
                    <a:lnTo>
                      <a:pt x="1207" y="1510"/>
                    </a:lnTo>
                    <a:lnTo>
                      <a:pt x="1208" y="1509"/>
                    </a:lnTo>
                    <a:lnTo>
                      <a:pt x="1208" y="1510"/>
                    </a:lnTo>
                    <a:lnTo>
                      <a:pt x="1210" y="1510"/>
                    </a:lnTo>
                    <a:lnTo>
                      <a:pt x="1208" y="1509"/>
                    </a:lnTo>
                    <a:lnTo>
                      <a:pt x="1210" y="1509"/>
                    </a:lnTo>
                    <a:lnTo>
                      <a:pt x="1212" y="1510"/>
                    </a:lnTo>
                    <a:lnTo>
                      <a:pt x="1212" y="1509"/>
                    </a:lnTo>
                    <a:lnTo>
                      <a:pt x="1212" y="1510"/>
                    </a:lnTo>
                    <a:lnTo>
                      <a:pt x="1213" y="1510"/>
                    </a:lnTo>
                    <a:lnTo>
                      <a:pt x="1215" y="1510"/>
                    </a:lnTo>
                    <a:lnTo>
                      <a:pt x="1215" y="1512"/>
                    </a:lnTo>
                    <a:lnTo>
                      <a:pt x="1217" y="1510"/>
                    </a:lnTo>
                    <a:lnTo>
                      <a:pt x="1217" y="1512"/>
                    </a:lnTo>
                    <a:lnTo>
                      <a:pt x="1219" y="1512"/>
                    </a:lnTo>
                    <a:lnTo>
                      <a:pt x="1219" y="1510"/>
                    </a:lnTo>
                    <a:lnTo>
                      <a:pt x="1217" y="1510"/>
                    </a:lnTo>
                    <a:lnTo>
                      <a:pt x="1215" y="1510"/>
                    </a:lnTo>
                    <a:lnTo>
                      <a:pt x="1213" y="1510"/>
                    </a:lnTo>
                    <a:lnTo>
                      <a:pt x="1212" y="1509"/>
                    </a:lnTo>
                    <a:lnTo>
                      <a:pt x="1213" y="1509"/>
                    </a:lnTo>
                    <a:lnTo>
                      <a:pt x="1213" y="1510"/>
                    </a:lnTo>
                    <a:lnTo>
                      <a:pt x="1213" y="1509"/>
                    </a:lnTo>
                    <a:lnTo>
                      <a:pt x="1212" y="1509"/>
                    </a:lnTo>
                    <a:lnTo>
                      <a:pt x="1213" y="1509"/>
                    </a:lnTo>
                    <a:lnTo>
                      <a:pt x="1212" y="1507"/>
                    </a:lnTo>
                    <a:lnTo>
                      <a:pt x="1210" y="1507"/>
                    </a:lnTo>
                    <a:lnTo>
                      <a:pt x="1212" y="1507"/>
                    </a:lnTo>
                    <a:lnTo>
                      <a:pt x="1212" y="1505"/>
                    </a:lnTo>
                    <a:lnTo>
                      <a:pt x="1213" y="1505"/>
                    </a:lnTo>
                    <a:lnTo>
                      <a:pt x="1213" y="1507"/>
                    </a:lnTo>
                    <a:lnTo>
                      <a:pt x="1215" y="1507"/>
                    </a:lnTo>
                    <a:lnTo>
                      <a:pt x="1215" y="1509"/>
                    </a:lnTo>
                    <a:lnTo>
                      <a:pt x="1213" y="1509"/>
                    </a:lnTo>
                    <a:lnTo>
                      <a:pt x="1215" y="1509"/>
                    </a:lnTo>
                    <a:lnTo>
                      <a:pt x="1215" y="1507"/>
                    </a:lnTo>
                    <a:lnTo>
                      <a:pt x="1217" y="1505"/>
                    </a:lnTo>
                    <a:lnTo>
                      <a:pt x="1219" y="1507"/>
                    </a:lnTo>
                    <a:lnTo>
                      <a:pt x="1217" y="1507"/>
                    </a:lnTo>
                    <a:lnTo>
                      <a:pt x="1217" y="1509"/>
                    </a:lnTo>
                    <a:lnTo>
                      <a:pt x="1219" y="1509"/>
                    </a:lnTo>
                    <a:lnTo>
                      <a:pt x="1219" y="1507"/>
                    </a:lnTo>
                    <a:lnTo>
                      <a:pt x="1220" y="1509"/>
                    </a:lnTo>
                    <a:lnTo>
                      <a:pt x="1219" y="1507"/>
                    </a:lnTo>
                    <a:lnTo>
                      <a:pt x="1220" y="1507"/>
                    </a:lnTo>
                    <a:lnTo>
                      <a:pt x="1222" y="1507"/>
                    </a:lnTo>
                    <a:lnTo>
                      <a:pt x="1222" y="1505"/>
                    </a:lnTo>
                    <a:lnTo>
                      <a:pt x="1222" y="1504"/>
                    </a:lnTo>
                    <a:lnTo>
                      <a:pt x="1220" y="1505"/>
                    </a:lnTo>
                    <a:lnTo>
                      <a:pt x="1220" y="1504"/>
                    </a:lnTo>
                    <a:lnTo>
                      <a:pt x="1220" y="1502"/>
                    </a:lnTo>
                    <a:lnTo>
                      <a:pt x="1220" y="1504"/>
                    </a:lnTo>
                    <a:lnTo>
                      <a:pt x="1222" y="1504"/>
                    </a:lnTo>
                    <a:lnTo>
                      <a:pt x="1220" y="1502"/>
                    </a:lnTo>
                    <a:lnTo>
                      <a:pt x="1222" y="1502"/>
                    </a:lnTo>
                    <a:lnTo>
                      <a:pt x="1222" y="1500"/>
                    </a:lnTo>
                    <a:lnTo>
                      <a:pt x="1220" y="1500"/>
                    </a:lnTo>
                    <a:lnTo>
                      <a:pt x="1219" y="1500"/>
                    </a:lnTo>
                    <a:lnTo>
                      <a:pt x="1219" y="1498"/>
                    </a:lnTo>
                    <a:lnTo>
                      <a:pt x="1219" y="1497"/>
                    </a:lnTo>
                    <a:lnTo>
                      <a:pt x="1220" y="1497"/>
                    </a:lnTo>
                    <a:lnTo>
                      <a:pt x="1219" y="1497"/>
                    </a:lnTo>
                    <a:lnTo>
                      <a:pt x="1219" y="1495"/>
                    </a:lnTo>
                    <a:lnTo>
                      <a:pt x="1217" y="1495"/>
                    </a:lnTo>
                    <a:lnTo>
                      <a:pt x="1217" y="1493"/>
                    </a:lnTo>
                    <a:lnTo>
                      <a:pt x="1217" y="1495"/>
                    </a:lnTo>
                    <a:lnTo>
                      <a:pt x="1219" y="1495"/>
                    </a:lnTo>
                    <a:lnTo>
                      <a:pt x="1217" y="1495"/>
                    </a:lnTo>
                    <a:lnTo>
                      <a:pt x="1219" y="1497"/>
                    </a:lnTo>
                    <a:lnTo>
                      <a:pt x="1219" y="1498"/>
                    </a:lnTo>
                    <a:lnTo>
                      <a:pt x="1217" y="1498"/>
                    </a:lnTo>
                    <a:lnTo>
                      <a:pt x="1217" y="1500"/>
                    </a:lnTo>
                    <a:lnTo>
                      <a:pt x="1217" y="1498"/>
                    </a:lnTo>
                    <a:lnTo>
                      <a:pt x="1215" y="1500"/>
                    </a:lnTo>
                    <a:lnTo>
                      <a:pt x="1215" y="1498"/>
                    </a:lnTo>
                    <a:lnTo>
                      <a:pt x="1215" y="1500"/>
                    </a:lnTo>
                    <a:lnTo>
                      <a:pt x="1215" y="1498"/>
                    </a:lnTo>
                    <a:lnTo>
                      <a:pt x="1215" y="1500"/>
                    </a:lnTo>
                    <a:lnTo>
                      <a:pt x="1213" y="1498"/>
                    </a:lnTo>
                    <a:lnTo>
                      <a:pt x="1213" y="1500"/>
                    </a:lnTo>
                    <a:lnTo>
                      <a:pt x="1212" y="1498"/>
                    </a:lnTo>
                    <a:lnTo>
                      <a:pt x="1212" y="1500"/>
                    </a:lnTo>
                    <a:lnTo>
                      <a:pt x="1213" y="1500"/>
                    </a:lnTo>
                    <a:lnTo>
                      <a:pt x="1213" y="1502"/>
                    </a:lnTo>
                    <a:lnTo>
                      <a:pt x="1213" y="1500"/>
                    </a:lnTo>
                    <a:lnTo>
                      <a:pt x="1212" y="1500"/>
                    </a:lnTo>
                    <a:lnTo>
                      <a:pt x="1212" y="1502"/>
                    </a:lnTo>
                    <a:lnTo>
                      <a:pt x="1210" y="1502"/>
                    </a:lnTo>
                    <a:lnTo>
                      <a:pt x="1212" y="1502"/>
                    </a:lnTo>
                    <a:lnTo>
                      <a:pt x="1210" y="1504"/>
                    </a:lnTo>
                    <a:lnTo>
                      <a:pt x="1210" y="1502"/>
                    </a:lnTo>
                    <a:lnTo>
                      <a:pt x="1210" y="1504"/>
                    </a:lnTo>
                    <a:lnTo>
                      <a:pt x="1210" y="1502"/>
                    </a:lnTo>
                    <a:lnTo>
                      <a:pt x="1208" y="1502"/>
                    </a:lnTo>
                    <a:lnTo>
                      <a:pt x="1208" y="1504"/>
                    </a:lnTo>
                    <a:lnTo>
                      <a:pt x="1208" y="1505"/>
                    </a:lnTo>
                    <a:lnTo>
                      <a:pt x="1207" y="1505"/>
                    </a:lnTo>
                    <a:lnTo>
                      <a:pt x="1208" y="1505"/>
                    </a:lnTo>
                    <a:lnTo>
                      <a:pt x="1207" y="1505"/>
                    </a:lnTo>
                    <a:lnTo>
                      <a:pt x="1207" y="1504"/>
                    </a:lnTo>
                    <a:lnTo>
                      <a:pt x="1208" y="1504"/>
                    </a:lnTo>
                    <a:lnTo>
                      <a:pt x="1207" y="1504"/>
                    </a:lnTo>
                    <a:lnTo>
                      <a:pt x="1205" y="1504"/>
                    </a:lnTo>
                    <a:lnTo>
                      <a:pt x="1207" y="1502"/>
                    </a:lnTo>
                    <a:lnTo>
                      <a:pt x="1208" y="1502"/>
                    </a:lnTo>
                    <a:lnTo>
                      <a:pt x="1208" y="1500"/>
                    </a:lnTo>
                    <a:lnTo>
                      <a:pt x="1208" y="1498"/>
                    </a:lnTo>
                    <a:lnTo>
                      <a:pt x="1208" y="1500"/>
                    </a:lnTo>
                    <a:lnTo>
                      <a:pt x="1210" y="1498"/>
                    </a:lnTo>
                    <a:lnTo>
                      <a:pt x="1208" y="1500"/>
                    </a:lnTo>
                    <a:lnTo>
                      <a:pt x="1210" y="1500"/>
                    </a:lnTo>
                    <a:lnTo>
                      <a:pt x="1210" y="1498"/>
                    </a:lnTo>
                    <a:lnTo>
                      <a:pt x="1212" y="1498"/>
                    </a:lnTo>
                    <a:lnTo>
                      <a:pt x="1210" y="1498"/>
                    </a:lnTo>
                    <a:lnTo>
                      <a:pt x="1208" y="1498"/>
                    </a:lnTo>
                    <a:lnTo>
                      <a:pt x="1208" y="1497"/>
                    </a:lnTo>
                    <a:lnTo>
                      <a:pt x="1207" y="1497"/>
                    </a:lnTo>
                    <a:lnTo>
                      <a:pt x="1208" y="1497"/>
                    </a:lnTo>
                    <a:lnTo>
                      <a:pt x="1207" y="1497"/>
                    </a:lnTo>
                    <a:lnTo>
                      <a:pt x="1208" y="1495"/>
                    </a:lnTo>
                    <a:lnTo>
                      <a:pt x="1210" y="1495"/>
                    </a:lnTo>
                    <a:lnTo>
                      <a:pt x="1208" y="1495"/>
                    </a:lnTo>
                    <a:lnTo>
                      <a:pt x="1210" y="1493"/>
                    </a:lnTo>
                    <a:lnTo>
                      <a:pt x="1210" y="1495"/>
                    </a:lnTo>
                    <a:lnTo>
                      <a:pt x="1212" y="1495"/>
                    </a:lnTo>
                    <a:lnTo>
                      <a:pt x="1210" y="1493"/>
                    </a:lnTo>
                    <a:lnTo>
                      <a:pt x="1208" y="1492"/>
                    </a:lnTo>
                    <a:lnTo>
                      <a:pt x="1210" y="1493"/>
                    </a:lnTo>
                    <a:lnTo>
                      <a:pt x="1212" y="1493"/>
                    </a:lnTo>
                    <a:lnTo>
                      <a:pt x="1212" y="1495"/>
                    </a:lnTo>
                    <a:lnTo>
                      <a:pt x="1212" y="1493"/>
                    </a:lnTo>
                    <a:lnTo>
                      <a:pt x="1212" y="1492"/>
                    </a:lnTo>
                    <a:lnTo>
                      <a:pt x="1210" y="1492"/>
                    </a:lnTo>
                    <a:lnTo>
                      <a:pt x="1212" y="1490"/>
                    </a:lnTo>
                    <a:lnTo>
                      <a:pt x="1212" y="1488"/>
                    </a:lnTo>
                    <a:lnTo>
                      <a:pt x="1212" y="1490"/>
                    </a:lnTo>
                    <a:lnTo>
                      <a:pt x="1213" y="1490"/>
                    </a:lnTo>
                    <a:lnTo>
                      <a:pt x="1215" y="1490"/>
                    </a:lnTo>
                    <a:lnTo>
                      <a:pt x="1215" y="1488"/>
                    </a:lnTo>
                    <a:lnTo>
                      <a:pt x="1213" y="1488"/>
                    </a:lnTo>
                    <a:lnTo>
                      <a:pt x="1212" y="1488"/>
                    </a:lnTo>
                    <a:lnTo>
                      <a:pt x="1212" y="1487"/>
                    </a:lnTo>
                    <a:lnTo>
                      <a:pt x="1213" y="1487"/>
                    </a:lnTo>
                    <a:lnTo>
                      <a:pt x="1213" y="1485"/>
                    </a:lnTo>
                    <a:lnTo>
                      <a:pt x="1212" y="1487"/>
                    </a:lnTo>
                    <a:lnTo>
                      <a:pt x="1212" y="1488"/>
                    </a:lnTo>
                    <a:lnTo>
                      <a:pt x="1210" y="1488"/>
                    </a:lnTo>
                    <a:lnTo>
                      <a:pt x="1210" y="1487"/>
                    </a:lnTo>
                    <a:lnTo>
                      <a:pt x="1208" y="1487"/>
                    </a:lnTo>
                    <a:lnTo>
                      <a:pt x="1208" y="1485"/>
                    </a:lnTo>
                    <a:lnTo>
                      <a:pt x="1208" y="1483"/>
                    </a:lnTo>
                    <a:lnTo>
                      <a:pt x="1210" y="1483"/>
                    </a:lnTo>
                    <a:lnTo>
                      <a:pt x="1210" y="1485"/>
                    </a:lnTo>
                    <a:lnTo>
                      <a:pt x="1212" y="1483"/>
                    </a:lnTo>
                    <a:lnTo>
                      <a:pt x="1210" y="1481"/>
                    </a:lnTo>
                    <a:lnTo>
                      <a:pt x="1212" y="1481"/>
                    </a:lnTo>
                    <a:lnTo>
                      <a:pt x="1210" y="1481"/>
                    </a:lnTo>
                    <a:lnTo>
                      <a:pt x="1212" y="1481"/>
                    </a:lnTo>
                    <a:lnTo>
                      <a:pt x="1212" y="1480"/>
                    </a:lnTo>
                    <a:lnTo>
                      <a:pt x="1210" y="1480"/>
                    </a:lnTo>
                    <a:lnTo>
                      <a:pt x="1210" y="1478"/>
                    </a:lnTo>
                    <a:lnTo>
                      <a:pt x="1210" y="1476"/>
                    </a:lnTo>
                    <a:lnTo>
                      <a:pt x="1212" y="1475"/>
                    </a:lnTo>
                    <a:lnTo>
                      <a:pt x="1212" y="1473"/>
                    </a:lnTo>
                    <a:lnTo>
                      <a:pt x="1210" y="1473"/>
                    </a:lnTo>
                    <a:lnTo>
                      <a:pt x="1210" y="1471"/>
                    </a:lnTo>
                    <a:lnTo>
                      <a:pt x="1208" y="1471"/>
                    </a:lnTo>
                    <a:lnTo>
                      <a:pt x="1208" y="1470"/>
                    </a:lnTo>
                    <a:lnTo>
                      <a:pt x="1207" y="1468"/>
                    </a:lnTo>
                    <a:lnTo>
                      <a:pt x="1207" y="1466"/>
                    </a:lnTo>
                    <a:lnTo>
                      <a:pt x="1205" y="1466"/>
                    </a:lnTo>
                    <a:lnTo>
                      <a:pt x="1205" y="1464"/>
                    </a:lnTo>
                    <a:lnTo>
                      <a:pt x="1207" y="1463"/>
                    </a:lnTo>
                    <a:lnTo>
                      <a:pt x="1208" y="1464"/>
                    </a:lnTo>
                    <a:lnTo>
                      <a:pt x="1207" y="1466"/>
                    </a:lnTo>
                    <a:lnTo>
                      <a:pt x="1208" y="1466"/>
                    </a:lnTo>
                    <a:lnTo>
                      <a:pt x="1208" y="1468"/>
                    </a:lnTo>
                    <a:lnTo>
                      <a:pt x="1210" y="1468"/>
                    </a:lnTo>
                    <a:lnTo>
                      <a:pt x="1210" y="1470"/>
                    </a:lnTo>
                    <a:lnTo>
                      <a:pt x="1210" y="1471"/>
                    </a:lnTo>
                    <a:lnTo>
                      <a:pt x="1210" y="1470"/>
                    </a:lnTo>
                    <a:lnTo>
                      <a:pt x="1212" y="1470"/>
                    </a:lnTo>
                    <a:lnTo>
                      <a:pt x="1212" y="1471"/>
                    </a:lnTo>
                    <a:lnTo>
                      <a:pt x="1212" y="1473"/>
                    </a:lnTo>
                    <a:lnTo>
                      <a:pt x="1213" y="1473"/>
                    </a:lnTo>
                    <a:lnTo>
                      <a:pt x="1213" y="1471"/>
                    </a:lnTo>
                    <a:lnTo>
                      <a:pt x="1213" y="1470"/>
                    </a:lnTo>
                    <a:lnTo>
                      <a:pt x="1212" y="1470"/>
                    </a:lnTo>
                    <a:lnTo>
                      <a:pt x="1213" y="1470"/>
                    </a:lnTo>
                    <a:lnTo>
                      <a:pt x="1215" y="1470"/>
                    </a:lnTo>
                    <a:lnTo>
                      <a:pt x="1217" y="1471"/>
                    </a:lnTo>
                    <a:lnTo>
                      <a:pt x="1217" y="1473"/>
                    </a:lnTo>
                    <a:lnTo>
                      <a:pt x="1219" y="1475"/>
                    </a:lnTo>
                    <a:lnTo>
                      <a:pt x="1219" y="1473"/>
                    </a:lnTo>
                    <a:lnTo>
                      <a:pt x="1220" y="1473"/>
                    </a:lnTo>
                    <a:lnTo>
                      <a:pt x="1222" y="1473"/>
                    </a:lnTo>
                    <a:lnTo>
                      <a:pt x="1222" y="1471"/>
                    </a:lnTo>
                    <a:lnTo>
                      <a:pt x="1222" y="1470"/>
                    </a:lnTo>
                    <a:lnTo>
                      <a:pt x="1222" y="1468"/>
                    </a:lnTo>
                    <a:lnTo>
                      <a:pt x="1224" y="1468"/>
                    </a:lnTo>
                    <a:lnTo>
                      <a:pt x="1225" y="1470"/>
                    </a:lnTo>
                    <a:lnTo>
                      <a:pt x="1225" y="1468"/>
                    </a:lnTo>
                    <a:lnTo>
                      <a:pt x="1227" y="1466"/>
                    </a:lnTo>
                    <a:lnTo>
                      <a:pt x="1229" y="1466"/>
                    </a:lnTo>
                    <a:lnTo>
                      <a:pt x="1230" y="1464"/>
                    </a:lnTo>
                    <a:lnTo>
                      <a:pt x="1230" y="1466"/>
                    </a:lnTo>
                    <a:lnTo>
                      <a:pt x="1229" y="1466"/>
                    </a:lnTo>
                    <a:lnTo>
                      <a:pt x="1229" y="1468"/>
                    </a:lnTo>
                    <a:lnTo>
                      <a:pt x="1230" y="1470"/>
                    </a:lnTo>
                    <a:lnTo>
                      <a:pt x="1229" y="1470"/>
                    </a:lnTo>
                    <a:lnTo>
                      <a:pt x="1227" y="1470"/>
                    </a:lnTo>
                    <a:lnTo>
                      <a:pt x="1229" y="1471"/>
                    </a:lnTo>
                    <a:lnTo>
                      <a:pt x="1227" y="1471"/>
                    </a:lnTo>
                    <a:lnTo>
                      <a:pt x="1227" y="1473"/>
                    </a:lnTo>
                    <a:lnTo>
                      <a:pt x="1227" y="1475"/>
                    </a:lnTo>
                    <a:lnTo>
                      <a:pt x="1225" y="1475"/>
                    </a:lnTo>
                    <a:lnTo>
                      <a:pt x="1227" y="1475"/>
                    </a:lnTo>
                    <a:lnTo>
                      <a:pt x="1227" y="1473"/>
                    </a:lnTo>
                    <a:lnTo>
                      <a:pt x="1229" y="1471"/>
                    </a:lnTo>
                    <a:lnTo>
                      <a:pt x="1230" y="1471"/>
                    </a:lnTo>
                    <a:lnTo>
                      <a:pt x="1230" y="1473"/>
                    </a:lnTo>
                    <a:lnTo>
                      <a:pt x="1232" y="1473"/>
                    </a:lnTo>
                    <a:lnTo>
                      <a:pt x="1232" y="1475"/>
                    </a:lnTo>
                    <a:lnTo>
                      <a:pt x="1232" y="1476"/>
                    </a:lnTo>
                    <a:lnTo>
                      <a:pt x="1230" y="1476"/>
                    </a:lnTo>
                    <a:lnTo>
                      <a:pt x="1230" y="1478"/>
                    </a:lnTo>
                    <a:lnTo>
                      <a:pt x="1232" y="1478"/>
                    </a:lnTo>
                    <a:lnTo>
                      <a:pt x="1234" y="1478"/>
                    </a:lnTo>
                    <a:lnTo>
                      <a:pt x="1232" y="1476"/>
                    </a:lnTo>
                    <a:lnTo>
                      <a:pt x="1234" y="1476"/>
                    </a:lnTo>
                    <a:lnTo>
                      <a:pt x="1234" y="1478"/>
                    </a:lnTo>
                    <a:lnTo>
                      <a:pt x="1234" y="1476"/>
                    </a:lnTo>
                    <a:lnTo>
                      <a:pt x="1234" y="1475"/>
                    </a:lnTo>
                    <a:lnTo>
                      <a:pt x="1234" y="1473"/>
                    </a:lnTo>
                    <a:lnTo>
                      <a:pt x="1236" y="1473"/>
                    </a:lnTo>
                    <a:lnTo>
                      <a:pt x="1236" y="1471"/>
                    </a:lnTo>
                    <a:lnTo>
                      <a:pt x="1236" y="1470"/>
                    </a:lnTo>
                    <a:lnTo>
                      <a:pt x="1236" y="1468"/>
                    </a:lnTo>
                    <a:lnTo>
                      <a:pt x="1237" y="1468"/>
                    </a:lnTo>
                    <a:lnTo>
                      <a:pt x="1236" y="1466"/>
                    </a:lnTo>
                    <a:lnTo>
                      <a:pt x="1237" y="1468"/>
                    </a:lnTo>
                    <a:lnTo>
                      <a:pt x="1237" y="1466"/>
                    </a:lnTo>
                    <a:lnTo>
                      <a:pt x="1239" y="1466"/>
                    </a:lnTo>
                    <a:lnTo>
                      <a:pt x="1237" y="1464"/>
                    </a:lnTo>
                    <a:lnTo>
                      <a:pt x="1237" y="1466"/>
                    </a:lnTo>
                    <a:lnTo>
                      <a:pt x="1236" y="1466"/>
                    </a:lnTo>
                    <a:lnTo>
                      <a:pt x="1236" y="1468"/>
                    </a:lnTo>
                    <a:lnTo>
                      <a:pt x="1234" y="1470"/>
                    </a:lnTo>
                    <a:lnTo>
                      <a:pt x="1234" y="1471"/>
                    </a:lnTo>
                    <a:lnTo>
                      <a:pt x="1234" y="1473"/>
                    </a:lnTo>
                    <a:lnTo>
                      <a:pt x="1232" y="1475"/>
                    </a:lnTo>
                    <a:lnTo>
                      <a:pt x="1232" y="1473"/>
                    </a:lnTo>
                    <a:lnTo>
                      <a:pt x="1232" y="1471"/>
                    </a:lnTo>
                    <a:lnTo>
                      <a:pt x="1230" y="1471"/>
                    </a:lnTo>
                    <a:lnTo>
                      <a:pt x="1230" y="1470"/>
                    </a:lnTo>
                    <a:lnTo>
                      <a:pt x="1230" y="1468"/>
                    </a:lnTo>
                    <a:lnTo>
                      <a:pt x="1230" y="1466"/>
                    </a:lnTo>
                    <a:lnTo>
                      <a:pt x="1232" y="1466"/>
                    </a:lnTo>
                    <a:lnTo>
                      <a:pt x="1230" y="1466"/>
                    </a:lnTo>
                    <a:lnTo>
                      <a:pt x="1232" y="1464"/>
                    </a:lnTo>
                    <a:lnTo>
                      <a:pt x="1232" y="1466"/>
                    </a:lnTo>
                    <a:lnTo>
                      <a:pt x="1234" y="1466"/>
                    </a:lnTo>
                    <a:lnTo>
                      <a:pt x="1234" y="1464"/>
                    </a:lnTo>
                    <a:lnTo>
                      <a:pt x="1234" y="1463"/>
                    </a:lnTo>
                    <a:lnTo>
                      <a:pt x="1234" y="1461"/>
                    </a:lnTo>
                    <a:lnTo>
                      <a:pt x="1234" y="1459"/>
                    </a:lnTo>
                    <a:lnTo>
                      <a:pt x="1236" y="1459"/>
                    </a:lnTo>
                    <a:lnTo>
                      <a:pt x="1237" y="1459"/>
                    </a:lnTo>
                    <a:lnTo>
                      <a:pt x="1239" y="1459"/>
                    </a:lnTo>
                    <a:lnTo>
                      <a:pt x="1239" y="1461"/>
                    </a:lnTo>
                    <a:lnTo>
                      <a:pt x="1239" y="1463"/>
                    </a:lnTo>
                    <a:lnTo>
                      <a:pt x="1239" y="1464"/>
                    </a:lnTo>
                    <a:lnTo>
                      <a:pt x="1239" y="1466"/>
                    </a:lnTo>
                    <a:lnTo>
                      <a:pt x="1241" y="1468"/>
                    </a:lnTo>
                    <a:lnTo>
                      <a:pt x="1241" y="1470"/>
                    </a:lnTo>
                    <a:lnTo>
                      <a:pt x="1242" y="1470"/>
                    </a:lnTo>
                    <a:lnTo>
                      <a:pt x="1242" y="1468"/>
                    </a:lnTo>
                    <a:lnTo>
                      <a:pt x="1244" y="1470"/>
                    </a:lnTo>
                    <a:lnTo>
                      <a:pt x="1244" y="1471"/>
                    </a:lnTo>
                    <a:lnTo>
                      <a:pt x="1244" y="1473"/>
                    </a:lnTo>
                    <a:lnTo>
                      <a:pt x="1246" y="1473"/>
                    </a:lnTo>
                    <a:lnTo>
                      <a:pt x="1246" y="1475"/>
                    </a:lnTo>
                    <a:lnTo>
                      <a:pt x="1244" y="1475"/>
                    </a:lnTo>
                    <a:lnTo>
                      <a:pt x="1244" y="1476"/>
                    </a:lnTo>
                    <a:lnTo>
                      <a:pt x="1244" y="1478"/>
                    </a:lnTo>
                    <a:lnTo>
                      <a:pt x="1244" y="1480"/>
                    </a:lnTo>
                    <a:lnTo>
                      <a:pt x="1244" y="1481"/>
                    </a:lnTo>
                    <a:lnTo>
                      <a:pt x="1242" y="1481"/>
                    </a:lnTo>
                    <a:lnTo>
                      <a:pt x="1244" y="1481"/>
                    </a:lnTo>
                    <a:lnTo>
                      <a:pt x="1242" y="1481"/>
                    </a:lnTo>
                    <a:lnTo>
                      <a:pt x="1242" y="1483"/>
                    </a:lnTo>
                    <a:lnTo>
                      <a:pt x="1242" y="1481"/>
                    </a:lnTo>
                    <a:lnTo>
                      <a:pt x="1242" y="1483"/>
                    </a:lnTo>
                    <a:lnTo>
                      <a:pt x="1241" y="1481"/>
                    </a:lnTo>
                    <a:lnTo>
                      <a:pt x="1239" y="1481"/>
                    </a:lnTo>
                    <a:lnTo>
                      <a:pt x="1239" y="1483"/>
                    </a:lnTo>
                    <a:lnTo>
                      <a:pt x="1239" y="1485"/>
                    </a:lnTo>
                    <a:lnTo>
                      <a:pt x="1237" y="1483"/>
                    </a:lnTo>
                    <a:lnTo>
                      <a:pt x="1237" y="1485"/>
                    </a:lnTo>
                    <a:lnTo>
                      <a:pt x="1236" y="1485"/>
                    </a:lnTo>
                    <a:lnTo>
                      <a:pt x="1236" y="1487"/>
                    </a:lnTo>
                    <a:lnTo>
                      <a:pt x="1234" y="1487"/>
                    </a:lnTo>
                    <a:lnTo>
                      <a:pt x="1234" y="1488"/>
                    </a:lnTo>
                    <a:lnTo>
                      <a:pt x="1232" y="1488"/>
                    </a:lnTo>
                    <a:lnTo>
                      <a:pt x="1230" y="1488"/>
                    </a:lnTo>
                    <a:lnTo>
                      <a:pt x="1230" y="1490"/>
                    </a:lnTo>
                    <a:lnTo>
                      <a:pt x="1232" y="1490"/>
                    </a:lnTo>
                    <a:lnTo>
                      <a:pt x="1234" y="1488"/>
                    </a:lnTo>
                    <a:lnTo>
                      <a:pt x="1236" y="1488"/>
                    </a:lnTo>
                    <a:lnTo>
                      <a:pt x="1236" y="1487"/>
                    </a:lnTo>
                    <a:lnTo>
                      <a:pt x="1237" y="1487"/>
                    </a:lnTo>
                    <a:lnTo>
                      <a:pt x="1239" y="1487"/>
                    </a:lnTo>
                    <a:lnTo>
                      <a:pt x="1241" y="1487"/>
                    </a:lnTo>
                    <a:lnTo>
                      <a:pt x="1242" y="1487"/>
                    </a:lnTo>
                    <a:lnTo>
                      <a:pt x="1241" y="1487"/>
                    </a:lnTo>
                    <a:lnTo>
                      <a:pt x="1242" y="1487"/>
                    </a:lnTo>
                    <a:lnTo>
                      <a:pt x="1241" y="1485"/>
                    </a:lnTo>
                    <a:lnTo>
                      <a:pt x="1242" y="1485"/>
                    </a:lnTo>
                    <a:lnTo>
                      <a:pt x="1242" y="1483"/>
                    </a:lnTo>
                    <a:lnTo>
                      <a:pt x="1242" y="1485"/>
                    </a:lnTo>
                    <a:lnTo>
                      <a:pt x="1244" y="1483"/>
                    </a:lnTo>
                    <a:lnTo>
                      <a:pt x="1244" y="1485"/>
                    </a:lnTo>
                    <a:lnTo>
                      <a:pt x="1244" y="1483"/>
                    </a:lnTo>
                    <a:lnTo>
                      <a:pt x="1246" y="1483"/>
                    </a:lnTo>
                    <a:lnTo>
                      <a:pt x="1246" y="1481"/>
                    </a:lnTo>
                    <a:lnTo>
                      <a:pt x="1246" y="1480"/>
                    </a:lnTo>
                    <a:lnTo>
                      <a:pt x="1247" y="1478"/>
                    </a:lnTo>
                    <a:lnTo>
                      <a:pt x="1246" y="1478"/>
                    </a:lnTo>
                    <a:lnTo>
                      <a:pt x="1246" y="1476"/>
                    </a:lnTo>
                    <a:lnTo>
                      <a:pt x="1247" y="1476"/>
                    </a:lnTo>
                    <a:lnTo>
                      <a:pt x="1247" y="1475"/>
                    </a:lnTo>
                    <a:lnTo>
                      <a:pt x="1247" y="1473"/>
                    </a:lnTo>
                    <a:lnTo>
                      <a:pt x="1246" y="1473"/>
                    </a:lnTo>
                    <a:lnTo>
                      <a:pt x="1246" y="1471"/>
                    </a:lnTo>
                    <a:lnTo>
                      <a:pt x="1244" y="1470"/>
                    </a:lnTo>
                    <a:lnTo>
                      <a:pt x="1244" y="1468"/>
                    </a:lnTo>
                    <a:lnTo>
                      <a:pt x="1242" y="1466"/>
                    </a:lnTo>
                    <a:lnTo>
                      <a:pt x="1242" y="1464"/>
                    </a:lnTo>
                    <a:lnTo>
                      <a:pt x="1241" y="1464"/>
                    </a:lnTo>
                    <a:lnTo>
                      <a:pt x="1241" y="1463"/>
                    </a:lnTo>
                    <a:lnTo>
                      <a:pt x="1241" y="1461"/>
                    </a:lnTo>
                    <a:lnTo>
                      <a:pt x="1241" y="1459"/>
                    </a:lnTo>
                    <a:lnTo>
                      <a:pt x="1242" y="1458"/>
                    </a:lnTo>
                    <a:lnTo>
                      <a:pt x="1244" y="1458"/>
                    </a:lnTo>
                    <a:lnTo>
                      <a:pt x="1242" y="1458"/>
                    </a:lnTo>
                    <a:lnTo>
                      <a:pt x="1244" y="1459"/>
                    </a:lnTo>
                    <a:lnTo>
                      <a:pt x="1244" y="1461"/>
                    </a:lnTo>
                    <a:lnTo>
                      <a:pt x="1244" y="1459"/>
                    </a:lnTo>
                    <a:lnTo>
                      <a:pt x="1244" y="1458"/>
                    </a:lnTo>
                    <a:lnTo>
                      <a:pt x="1246" y="1459"/>
                    </a:lnTo>
                    <a:lnTo>
                      <a:pt x="1247" y="1458"/>
                    </a:lnTo>
                    <a:lnTo>
                      <a:pt x="1249" y="1458"/>
                    </a:lnTo>
                    <a:lnTo>
                      <a:pt x="1247" y="1456"/>
                    </a:lnTo>
                    <a:lnTo>
                      <a:pt x="1247" y="1454"/>
                    </a:lnTo>
                    <a:lnTo>
                      <a:pt x="1246" y="1453"/>
                    </a:lnTo>
                    <a:lnTo>
                      <a:pt x="1247" y="1453"/>
                    </a:lnTo>
                    <a:lnTo>
                      <a:pt x="1247" y="1451"/>
                    </a:lnTo>
                    <a:lnTo>
                      <a:pt x="1249" y="1449"/>
                    </a:lnTo>
                    <a:lnTo>
                      <a:pt x="1247" y="1449"/>
                    </a:lnTo>
                    <a:lnTo>
                      <a:pt x="1247" y="1447"/>
                    </a:lnTo>
                    <a:lnTo>
                      <a:pt x="1246" y="1447"/>
                    </a:lnTo>
                    <a:lnTo>
                      <a:pt x="1247" y="1446"/>
                    </a:lnTo>
                    <a:lnTo>
                      <a:pt x="1246" y="1446"/>
                    </a:lnTo>
                    <a:lnTo>
                      <a:pt x="1244" y="1444"/>
                    </a:lnTo>
                    <a:lnTo>
                      <a:pt x="1242" y="1444"/>
                    </a:lnTo>
                    <a:lnTo>
                      <a:pt x="1242" y="1442"/>
                    </a:lnTo>
                    <a:lnTo>
                      <a:pt x="1242" y="1441"/>
                    </a:lnTo>
                    <a:lnTo>
                      <a:pt x="1241" y="1441"/>
                    </a:lnTo>
                    <a:lnTo>
                      <a:pt x="1241" y="1439"/>
                    </a:lnTo>
                    <a:lnTo>
                      <a:pt x="1241" y="1441"/>
                    </a:lnTo>
                    <a:lnTo>
                      <a:pt x="1242" y="1441"/>
                    </a:lnTo>
                    <a:lnTo>
                      <a:pt x="1241" y="1442"/>
                    </a:lnTo>
                    <a:lnTo>
                      <a:pt x="1241" y="1441"/>
                    </a:lnTo>
                    <a:lnTo>
                      <a:pt x="1241" y="1439"/>
                    </a:lnTo>
                    <a:lnTo>
                      <a:pt x="1239" y="1439"/>
                    </a:lnTo>
                    <a:lnTo>
                      <a:pt x="1241" y="1439"/>
                    </a:lnTo>
                    <a:lnTo>
                      <a:pt x="1239" y="1439"/>
                    </a:lnTo>
                    <a:lnTo>
                      <a:pt x="1239" y="1437"/>
                    </a:lnTo>
                    <a:lnTo>
                      <a:pt x="1237" y="1439"/>
                    </a:lnTo>
                    <a:lnTo>
                      <a:pt x="1237" y="1437"/>
                    </a:lnTo>
                    <a:lnTo>
                      <a:pt x="1236" y="1437"/>
                    </a:lnTo>
                    <a:lnTo>
                      <a:pt x="1234" y="1437"/>
                    </a:lnTo>
                    <a:lnTo>
                      <a:pt x="1232" y="1435"/>
                    </a:lnTo>
                    <a:lnTo>
                      <a:pt x="1232" y="1434"/>
                    </a:lnTo>
                    <a:lnTo>
                      <a:pt x="1230" y="1434"/>
                    </a:lnTo>
                    <a:lnTo>
                      <a:pt x="1229" y="1434"/>
                    </a:lnTo>
                    <a:lnTo>
                      <a:pt x="1227" y="1434"/>
                    </a:lnTo>
                    <a:lnTo>
                      <a:pt x="1227" y="1432"/>
                    </a:lnTo>
                    <a:lnTo>
                      <a:pt x="1227" y="1430"/>
                    </a:lnTo>
                    <a:lnTo>
                      <a:pt x="1225" y="1432"/>
                    </a:lnTo>
                    <a:lnTo>
                      <a:pt x="1224" y="1432"/>
                    </a:lnTo>
                    <a:lnTo>
                      <a:pt x="1224" y="1434"/>
                    </a:lnTo>
                    <a:lnTo>
                      <a:pt x="1222" y="1432"/>
                    </a:lnTo>
                    <a:lnTo>
                      <a:pt x="1222" y="1434"/>
                    </a:lnTo>
                    <a:lnTo>
                      <a:pt x="1222" y="1432"/>
                    </a:lnTo>
                    <a:lnTo>
                      <a:pt x="1220" y="1434"/>
                    </a:lnTo>
                    <a:lnTo>
                      <a:pt x="1222" y="1434"/>
                    </a:lnTo>
                    <a:lnTo>
                      <a:pt x="1222" y="1435"/>
                    </a:lnTo>
                    <a:lnTo>
                      <a:pt x="1224" y="1435"/>
                    </a:lnTo>
                    <a:lnTo>
                      <a:pt x="1224" y="1434"/>
                    </a:lnTo>
                    <a:lnTo>
                      <a:pt x="1225" y="1434"/>
                    </a:lnTo>
                    <a:lnTo>
                      <a:pt x="1227" y="1434"/>
                    </a:lnTo>
                    <a:lnTo>
                      <a:pt x="1229" y="1434"/>
                    </a:lnTo>
                    <a:lnTo>
                      <a:pt x="1229" y="1435"/>
                    </a:lnTo>
                    <a:lnTo>
                      <a:pt x="1229" y="1437"/>
                    </a:lnTo>
                    <a:lnTo>
                      <a:pt x="1227" y="1439"/>
                    </a:lnTo>
                    <a:lnTo>
                      <a:pt x="1225" y="1439"/>
                    </a:lnTo>
                    <a:lnTo>
                      <a:pt x="1225" y="1441"/>
                    </a:lnTo>
                    <a:lnTo>
                      <a:pt x="1227" y="1439"/>
                    </a:lnTo>
                    <a:lnTo>
                      <a:pt x="1229" y="1439"/>
                    </a:lnTo>
                    <a:lnTo>
                      <a:pt x="1229" y="1437"/>
                    </a:lnTo>
                    <a:lnTo>
                      <a:pt x="1229" y="1435"/>
                    </a:lnTo>
                    <a:lnTo>
                      <a:pt x="1230" y="1435"/>
                    </a:lnTo>
                    <a:lnTo>
                      <a:pt x="1232" y="1437"/>
                    </a:lnTo>
                    <a:lnTo>
                      <a:pt x="1232" y="1439"/>
                    </a:lnTo>
                    <a:lnTo>
                      <a:pt x="1234" y="1437"/>
                    </a:lnTo>
                    <a:lnTo>
                      <a:pt x="1234" y="1439"/>
                    </a:lnTo>
                    <a:lnTo>
                      <a:pt x="1236" y="1441"/>
                    </a:lnTo>
                    <a:lnTo>
                      <a:pt x="1236" y="1439"/>
                    </a:lnTo>
                    <a:lnTo>
                      <a:pt x="1237" y="1439"/>
                    </a:lnTo>
                    <a:lnTo>
                      <a:pt x="1237" y="1441"/>
                    </a:lnTo>
                    <a:lnTo>
                      <a:pt x="1239" y="1441"/>
                    </a:lnTo>
                    <a:lnTo>
                      <a:pt x="1239" y="1442"/>
                    </a:lnTo>
                    <a:lnTo>
                      <a:pt x="1241" y="1444"/>
                    </a:lnTo>
                    <a:lnTo>
                      <a:pt x="1241" y="1446"/>
                    </a:lnTo>
                    <a:lnTo>
                      <a:pt x="1242" y="1444"/>
                    </a:lnTo>
                    <a:lnTo>
                      <a:pt x="1242" y="1446"/>
                    </a:lnTo>
                    <a:lnTo>
                      <a:pt x="1244" y="1446"/>
                    </a:lnTo>
                    <a:lnTo>
                      <a:pt x="1246" y="1446"/>
                    </a:lnTo>
                    <a:lnTo>
                      <a:pt x="1246" y="1447"/>
                    </a:lnTo>
                    <a:lnTo>
                      <a:pt x="1246" y="1449"/>
                    </a:lnTo>
                    <a:lnTo>
                      <a:pt x="1244" y="1451"/>
                    </a:lnTo>
                    <a:lnTo>
                      <a:pt x="1244" y="1453"/>
                    </a:lnTo>
                    <a:lnTo>
                      <a:pt x="1242" y="1453"/>
                    </a:lnTo>
                    <a:lnTo>
                      <a:pt x="1241" y="1453"/>
                    </a:lnTo>
                    <a:lnTo>
                      <a:pt x="1239" y="1451"/>
                    </a:lnTo>
                    <a:lnTo>
                      <a:pt x="1239" y="1453"/>
                    </a:lnTo>
                    <a:lnTo>
                      <a:pt x="1239" y="1451"/>
                    </a:lnTo>
                    <a:lnTo>
                      <a:pt x="1237" y="1451"/>
                    </a:lnTo>
                    <a:lnTo>
                      <a:pt x="1237" y="1449"/>
                    </a:lnTo>
                    <a:lnTo>
                      <a:pt x="1236" y="1449"/>
                    </a:lnTo>
                    <a:lnTo>
                      <a:pt x="1234" y="1447"/>
                    </a:lnTo>
                    <a:lnTo>
                      <a:pt x="1234" y="1449"/>
                    </a:lnTo>
                    <a:lnTo>
                      <a:pt x="1232" y="1447"/>
                    </a:lnTo>
                    <a:lnTo>
                      <a:pt x="1232" y="1449"/>
                    </a:lnTo>
                    <a:lnTo>
                      <a:pt x="1230" y="1449"/>
                    </a:lnTo>
                    <a:lnTo>
                      <a:pt x="1230" y="1447"/>
                    </a:lnTo>
                    <a:lnTo>
                      <a:pt x="1230" y="1446"/>
                    </a:lnTo>
                    <a:lnTo>
                      <a:pt x="1229" y="1446"/>
                    </a:lnTo>
                    <a:lnTo>
                      <a:pt x="1227" y="1446"/>
                    </a:lnTo>
                    <a:lnTo>
                      <a:pt x="1227" y="1444"/>
                    </a:lnTo>
                    <a:lnTo>
                      <a:pt x="1227" y="1446"/>
                    </a:lnTo>
                    <a:lnTo>
                      <a:pt x="1225" y="1446"/>
                    </a:lnTo>
                    <a:lnTo>
                      <a:pt x="1225" y="1444"/>
                    </a:lnTo>
                    <a:lnTo>
                      <a:pt x="1224" y="1444"/>
                    </a:lnTo>
                    <a:lnTo>
                      <a:pt x="1224" y="1442"/>
                    </a:lnTo>
                    <a:lnTo>
                      <a:pt x="1224" y="1441"/>
                    </a:lnTo>
                    <a:lnTo>
                      <a:pt x="1222" y="1441"/>
                    </a:lnTo>
                    <a:lnTo>
                      <a:pt x="1220" y="1439"/>
                    </a:lnTo>
                    <a:lnTo>
                      <a:pt x="1220" y="1441"/>
                    </a:lnTo>
                    <a:lnTo>
                      <a:pt x="1222" y="1441"/>
                    </a:lnTo>
                    <a:lnTo>
                      <a:pt x="1222" y="1442"/>
                    </a:lnTo>
                    <a:lnTo>
                      <a:pt x="1222" y="1444"/>
                    </a:lnTo>
                    <a:lnTo>
                      <a:pt x="1220" y="1444"/>
                    </a:lnTo>
                    <a:lnTo>
                      <a:pt x="1220" y="1446"/>
                    </a:lnTo>
                    <a:lnTo>
                      <a:pt x="1222" y="1444"/>
                    </a:lnTo>
                    <a:lnTo>
                      <a:pt x="1224" y="1446"/>
                    </a:lnTo>
                    <a:lnTo>
                      <a:pt x="1225" y="1446"/>
                    </a:lnTo>
                    <a:lnTo>
                      <a:pt x="1227" y="1446"/>
                    </a:lnTo>
                    <a:lnTo>
                      <a:pt x="1229" y="1447"/>
                    </a:lnTo>
                    <a:lnTo>
                      <a:pt x="1229" y="1449"/>
                    </a:lnTo>
                    <a:lnTo>
                      <a:pt x="1230" y="1451"/>
                    </a:lnTo>
                    <a:lnTo>
                      <a:pt x="1229" y="1451"/>
                    </a:lnTo>
                    <a:lnTo>
                      <a:pt x="1229" y="1449"/>
                    </a:lnTo>
                    <a:lnTo>
                      <a:pt x="1227" y="1447"/>
                    </a:lnTo>
                    <a:lnTo>
                      <a:pt x="1225" y="1449"/>
                    </a:lnTo>
                    <a:lnTo>
                      <a:pt x="1224" y="1449"/>
                    </a:lnTo>
                    <a:lnTo>
                      <a:pt x="1225" y="1451"/>
                    </a:lnTo>
                    <a:lnTo>
                      <a:pt x="1225" y="1449"/>
                    </a:lnTo>
                    <a:lnTo>
                      <a:pt x="1227" y="1449"/>
                    </a:lnTo>
                    <a:lnTo>
                      <a:pt x="1229" y="1449"/>
                    </a:lnTo>
                    <a:lnTo>
                      <a:pt x="1229" y="1451"/>
                    </a:lnTo>
                    <a:lnTo>
                      <a:pt x="1229" y="1453"/>
                    </a:lnTo>
                    <a:lnTo>
                      <a:pt x="1227" y="1453"/>
                    </a:lnTo>
                    <a:lnTo>
                      <a:pt x="1227" y="1454"/>
                    </a:lnTo>
                    <a:lnTo>
                      <a:pt x="1225" y="1454"/>
                    </a:lnTo>
                    <a:lnTo>
                      <a:pt x="1225" y="1456"/>
                    </a:lnTo>
                    <a:lnTo>
                      <a:pt x="1224" y="1454"/>
                    </a:lnTo>
                    <a:lnTo>
                      <a:pt x="1224" y="1456"/>
                    </a:lnTo>
                    <a:lnTo>
                      <a:pt x="1224" y="1454"/>
                    </a:lnTo>
                    <a:lnTo>
                      <a:pt x="1222" y="1456"/>
                    </a:lnTo>
                    <a:lnTo>
                      <a:pt x="1224" y="1456"/>
                    </a:lnTo>
                    <a:lnTo>
                      <a:pt x="1225" y="1456"/>
                    </a:lnTo>
                    <a:lnTo>
                      <a:pt x="1227" y="1456"/>
                    </a:lnTo>
                    <a:lnTo>
                      <a:pt x="1227" y="1454"/>
                    </a:lnTo>
                    <a:lnTo>
                      <a:pt x="1229" y="1454"/>
                    </a:lnTo>
                    <a:lnTo>
                      <a:pt x="1229" y="1453"/>
                    </a:lnTo>
                    <a:lnTo>
                      <a:pt x="1230" y="1453"/>
                    </a:lnTo>
                    <a:lnTo>
                      <a:pt x="1230" y="1451"/>
                    </a:lnTo>
                    <a:lnTo>
                      <a:pt x="1232" y="1453"/>
                    </a:lnTo>
                    <a:lnTo>
                      <a:pt x="1232" y="1454"/>
                    </a:lnTo>
                    <a:lnTo>
                      <a:pt x="1232" y="1453"/>
                    </a:lnTo>
                    <a:lnTo>
                      <a:pt x="1232" y="1454"/>
                    </a:lnTo>
                    <a:lnTo>
                      <a:pt x="1232" y="1456"/>
                    </a:lnTo>
                    <a:lnTo>
                      <a:pt x="1230" y="1456"/>
                    </a:lnTo>
                    <a:lnTo>
                      <a:pt x="1229" y="1458"/>
                    </a:lnTo>
                    <a:lnTo>
                      <a:pt x="1227" y="1458"/>
                    </a:lnTo>
                    <a:lnTo>
                      <a:pt x="1225" y="1459"/>
                    </a:lnTo>
                    <a:lnTo>
                      <a:pt x="1225" y="1461"/>
                    </a:lnTo>
                    <a:lnTo>
                      <a:pt x="1225" y="1463"/>
                    </a:lnTo>
                    <a:lnTo>
                      <a:pt x="1225" y="1464"/>
                    </a:lnTo>
                    <a:lnTo>
                      <a:pt x="1225" y="1466"/>
                    </a:lnTo>
                    <a:lnTo>
                      <a:pt x="1225" y="1468"/>
                    </a:lnTo>
                    <a:lnTo>
                      <a:pt x="1224" y="1468"/>
                    </a:lnTo>
                    <a:lnTo>
                      <a:pt x="1222" y="1468"/>
                    </a:lnTo>
                    <a:lnTo>
                      <a:pt x="1222" y="1466"/>
                    </a:lnTo>
                    <a:lnTo>
                      <a:pt x="1222" y="1464"/>
                    </a:lnTo>
                    <a:lnTo>
                      <a:pt x="1222" y="1463"/>
                    </a:lnTo>
                    <a:lnTo>
                      <a:pt x="1222" y="1461"/>
                    </a:lnTo>
                    <a:lnTo>
                      <a:pt x="1220" y="1459"/>
                    </a:lnTo>
                    <a:lnTo>
                      <a:pt x="1222" y="1458"/>
                    </a:lnTo>
                    <a:lnTo>
                      <a:pt x="1220" y="1456"/>
                    </a:lnTo>
                    <a:lnTo>
                      <a:pt x="1220" y="1458"/>
                    </a:lnTo>
                    <a:lnTo>
                      <a:pt x="1220" y="1456"/>
                    </a:lnTo>
                    <a:lnTo>
                      <a:pt x="1222" y="1456"/>
                    </a:lnTo>
                    <a:lnTo>
                      <a:pt x="1220" y="1454"/>
                    </a:lnTo>
                    <a:lnTo>
                      <a:pt x="1220" y="1453"/>
                    </a:lnTo>
                    <a:lnTo>
                      <a:pt x="1220" y="1451"/>
                    </a:lnTo>
                    <a:lnTo>
                      <a:pt x="1220" y="1449"/>
                    </a:lnTo>
                    <a:lnTo>
                      <a:pt x="1219" y="1449"/>
                    </a:lnTo>
                    <a:lnTo>
                      <a:pt x="1219" y="1447"/>
                    </a:lnTo>
                    <a:lnTo>
                      <a:pt x="1219" y="1446"/>
                    </a:lnTo>
                    <a:lnTo>
                      <a:pt x="1217" y="1444"/>
                    </a:lnTo>
                    <a:lnTo>
                      <a:pt x="1217" y="1442"/>
                    </a:lnTo>
                    <a:lnTo>
                      <a:pt x="1217" y="1444"/>
                    </a:lnTo>
                    <a:lnTo>
                      <a:pt x="1217" y="1446"/>
                    </a:lnTo>
                    <a:lnTo>
                      <a:pt x="1219" y="1446"/>
                    </a:lnTo>
                    <a:lnTo>
                      <a:pt x="1219" y="1447"/>
                    </a:lnTo>
                    <a:lnTo>
                      <a:pt x="1219" y="1449"/>
                    </a:lnTo>
                    <a:lnTo>
                      <a:pt x="1219" y="1451"/>
                    </a:lnTo>
                    <a:lnTo>
                      <a:pt x="1219" y="1453"/>
                    </a:lnTo>
                    <a:lnTo>
                      <a:pt x="1220" y="1454"/>
                    </a:lnTo>
                    <a:lnTo>
                      <a:pt x="1219" y="1453"/>
                    </a:lnTo>
                    <a:lnTo>
                      <a:pt x="1219" y="1454"/>
                    </a:lnTo>
                    <a:lnTo>
                      <a:pt x="1220" y="1454"/>
                    </a:lnTo>
                    <a:lnTo>
                      <a:pt x="1219" y="1456"/>
                    </a:lnTo>
                    <a:lnTo>
                      <a:pt x="1220" y="1458"/>
                    </a:lnTo>
                    <a:lnTo>
                      <a:pt x="1220" y="1459"/>
                    </a:lnTo>
                    <a:lnTo>
                      <a:pt x="1220" y="1461"/>
                    </a:lnTo>
                    <a:lnTo>
                      <a:pt x="1220" y="1463"/>
                    </a:lnTo>
                    <a:lnTo>
                      <a:pt x="1220" y="1464"/>
                    </a:lnTo>
                    <a:lnTo>
                      <a:pt x="1220" y="1466"/>
                    </a:lnTo>
                    <a:lnTo>
                      <a:pt x="1222" y="1468"/>
                    </a:lnTo>
                    <a:lnTo>
                      <a:pt x="1220" y="1470"/>
                    </a:lnTo>
                    <a:lnTo>
                      <a:pt x="1220" y="1471"/>
                    </a:lnTo>
                    <a:lnTo>
                      <a:pt x="1219" y="1471"/>
                    </a:lnTo>
                    <a:lnTo>
                      <a:pt x="1219" y="1470"/>
                    </a:lnTo>
                    <a:lnTo>
                      <a:pt x="1217" y="1470"/>
                    </a:lnTo>
                    <a:lnTo>
                      <a:pt x="1217" y="1468"/>
                    </a:lnTo>
                    <a:lnTo>
                      <a:pt x="1215" y="1468"/>
                    </a:lnTo>
                    <a:lnTo>
                      <a:pt x="1215" y="1466"/>
                    </a:lnTo>
                    <a:lnTo>
                      <a:pt x="1213" y="1466"/>
                    </a:lnTo>
                    <a:lnTo>
                      <a:pt x="1212" y="1464"/>
                    </a:lnTo>
                    <a:lnTo>
                      <a:pt x="1212" y="1463"/>
                    </a:lnTo>
                    <a:lnTo>
                      <a:pt x="1210" y="1463"/>
                    </a:lnTo>
                    <a:lnTo>
                      <a:pt x="1212" y="1463"/>
                    </a:lnTo>
                    <a:lnTo>
                      <a:pt x="1210" y="1463"/>
                    </a:lnTo>
                    <a:lnTo>
                      <a:pt x="1210" y="1461"/>
                    </a:lnTo>
                    <a:lnTo>
                      <a:pt x="1210" y="1459"/>
                    </a:lnTo>
                    <a:lnTo>
                      <a:pt x="1210" y="1458"/>
                    </a:lnTo>
                    <a:lnTo>
                      <a:pt x="1212" y="1458"/>
                    </a:lnTo>
                    <a:lnTo>
                      <a:pt x="1210" y="1458"/>
                    </a:lnTo>
                    <a:lnTo>
                      <a:pt x="1210" y="1456"/>
                    </a:lnTo>
                    <a:lnTo>
                      <a:pt x="1208" y="1456"/>
                    </a:lnTo>
                    <a:lnTo>
                      <a:pt x="1208" y="1454"/>
                    </a:lnTo>
                    <a:lnTo>
                      <a:pt x="1208" y="1453"/>
                    </a:lnTo>
                    <a:lnTo>
                      <a:pt x="1208" y="1451"/>
                    </a:lnTo>
                    <a:lnTo>
                      <a:pt x="1210" y="1453"/>
                    </a:lnTo>
                    <a:lnTo>
                      <a:pt x="1210" y="1451"/>
                    </a:lnTo>
                    <a:lnTo>
                      <a:pt x="1210" y="1453"/>
                    </a:lnTo>
                    <a:lnTo>
                      <a:pt x="1210" y="1454"/>
                    </a:lnTo>
                    <a:lnTo>
                      <a:pt x="1212" y="1454"/>
                    </a:lnTo>
                    <a:lnTo>
                      <a:pt x="1212" y="1456"/>
                    </a:lnTo>
                    <a:lnTo>
                      <a:pt x="1213" y="1458"/>
                    </a:lnTo>
                    <a:lnTo>
                      <a:pt x="1213" y="1459"/>
                    </a:lnTo>
                    <a:lnTo>
                      <a:pt x="1212" y="1458"/>
                    </a:lnTo>
                    <a:lnTo>
                      <a:pt x="1212" y="1459"/>
                    </a:lnTo>
                    <a:lnTo>
                      <a:pt x="1213" y="1459"/>
                    </a:lnTo>
                    <a:lnTo>
                      <a:pt x="1215" y="1461"/>
                    </a:lnTo>
                    <a:lnTo>
                      <a:pt x="1215" y="1463"/>
                    </a:lnTo>
                    <a:lnTo>
                      <a:pt x="1217" y="1464"/>
                    </a:lnTo>
                    <a:lnTo>
                      <a:pt x="1217" y="1463"/>
                    </a:lnTo>
                    <a:lnTo>
                      <a:pt x="1215" y="1461"/>
                    </a:lnTo>
                    <a:lnTo>
                      <a:pt x="1215" y="1459"/>
                    </a:lnTo>
                    <a:lnTo>
                      <a:pt x="1215" y="1458"/>
                    </a:lnTo>
                    <a:lnTo>
                      <a:pt x="1213" y="1458"/>
                    </a:lnTo>
                    <a:lnTo>
                      <a:pt x="1215" y="1456"/>
                    </a:lnTo>
                    <a:lnTo>
                      <a:pt x="1213" y="1456"/>
                    </a:lnTo>
                    <a:lnTo>
                      <a:pt x="1213" y="1454"/>
                    </a:lnTo>
                    <a:lnTo>
                      <a:pt x="1212" y="1453"/>
                    </a:lnTo>
                    <a:lnTo>
                      <a:pt x="1212" y="1451"/>
                    </a:lnTo>
                    <a:lnTo>
                      <a:pt x="1213" y="1451"/>
                    </a:lnTo>
                    <a:lnTo>
                      <a:pt x="1212" y="1451"/>
                    </a:lnTo>
                    <a:lnTo>
                      <a:pt x="1212" y="1449"/>
                    </a:lnTo>
                    <a:lnTo>
                      <a:pt x="1210" y="1449"/>
                    </a:lnTo>
                    <a:lnTo>
                      <a:pt x="1210" y="1447"/>
                    </a:lnTo>
                    <a:lnTo>
                      <a:pt x="1212" y="1447"/>
                    </a:lnTo>
                    <a:lnTo>
                      <a:pt x="1213" y="1447"/>
                    </a:lnTo>
                    <a:lnTo>
                      <a:pt x="1213" y="1446"/>
                    </a:lnTo>
                    <a:lnTo>
                      <a:pt x="1215" y="1444"/>
                    </a:lnTo>
                    <a:lnTo>
                      <a:pt x="1213" y="1444"/>
                    </a:lnTo>
                    <a:lnTo>
                      <a:pt x="1213" y="1446"/>
                    </a:lnTo>
                    <a:lnTo>
                      <a:pt x="1212" y="1446"/>
                    </a:lnTo>
                    <a:lnTo>
                      <a:pt x="1212" y="1447"/>
                    </a:lnTo>
                    <a:lnTo>
                      <a:pt x="1212" y="1446"/>
                    </a:lnTo>
                    <a:lnTo>
                      <a:pt x="1212" y="1444"/>
                    </a:lnTo>
                    <a:lnTo>
                      <a:pt x="1212" y="1446"/>
                    </a:lnTo>
                    <a:lnTo>
                      <a:pt x="1210" y="1447"/>
                    </a:lnTo>
                    <a:lnTo>
                      <a:pt x="1210" y="1446"/>
                    </a:lnTo>
                    <a:lnTo>
                      <a:pt x="1208" y="1446"/>
                    </a:lnTo>
                    <a:lnTo>
                      <a:pt x="1208" y="1444"/>
                    </a:lnTo>
                    <a:lnTo>
                      <a:pt x="1208" y="1442"/>
                    </a:lnTo>
                    <a:lnTo>
                      <a:pt x="1208" y="1444"/>
                    </a:lnTo>
                    <a:lnTo>
                      <a:pt x="1208" y="1446"/>
                    </a:lnTo>
                    <a:lnTo>
                      <a:pt x="1208" y="1447"/>
                    </a:lnTo>
                    <a:lnTo>
                      <a:pt x="1207" y="1447"/>
                    </a:lnTo>
                    <a:lnTo>
                      <a:pt x="1207" y="1449"/>
                    </a:lnTo>
                    <a:lnTo>
                      <a:pt x="1207" y="1451"/>
                    </a:lnTo>
                    <a:lnTo>
                      <a:pt x="1205" y="1449"/>
                    </a:lnTo>
                    <a:lnTo>
                      <a:pt x="1205" y="1447"/>
                    </a:lnTo>
                    <a:lnTo>
                      <a:pt x="1205" y="1446"/>
                    </a:lnTo>
                    <a:lnTo>
                      <a:pt x="1203" y="1446"/>
                    </a:lnTo>
                    <a:lnTo>
                      <a:pt x="1203" y="1444"/>
                    </a:lnTo>
                    <a:lnTo>
                      <a:pt x="1202" y="1444"/>
                    </a:lnTo>
                    <a:lnTo>
                      <a:pt x="1203" y="1442"/>
                    </a:lnTo>
                    <a:lnTo>
                      <a:pt x="1205" y="1442"/>
                    </a:lnTo>
                    <a:lnTo>
                      <a:pt x="1203" y="1442"/>
                    </a:lnTo>
                    <a:lnTo>
                      <a:pt x="1202" y="1442"/>
                    </a:lnTo>
                    <a:lnTo>
                      <a:pt x="1200" y="1442"/>
                    </a:lnTo>
                    <a:lnTo>
                      <a:pt x="1200" y="1441"/>
                    </a:lnTo>
                    <a:lnTo>
                      <a:pt x="1198" y="1441"/>
                    </a:lnTo>
                    <a:lnTo>
                      <a:pt x="1200" y="1441"/>
                    </a:lnTo>
                    <a:lnTo>
                      <a:pt x="1200" y="1439"/>
                    </a:lnTo>
                    <a:lnTo>
                      <a:pt x="1202" y="1439"/>
                    </a:lnTo>
                    <a:lnTo>
                      <a:pt x="1203" y="1439"/>
                    </a:lnTo>
                    <a:lnTo>
                      <a:pt x="1202" y="1439"/>
                    </a:lnTo>
                    <a:lnTo>
                      <a:pt x="1202" y="1437"/>
                    </a:lnTo>
                    <a:lnTo>
                      <a:pt x="1203" y="1437"/>
                    </a:lnTo>
                    <a:lnTo>
                      <a:pt x="1202" y="1437"/>
                    </a:lnTo>
                    <a:lnTo>
                      <a:pt x="1203" y="1435"/>
                    </a:lnTo>
                    <a:lnTo>
                      <a:pt x="1202" y="1437"/>
                    </a:lnTo>
                    <a:lnTo>
                      <a:pt x="1202" y="1435"/>
                    </a:lnTo>
                    <a:lnTo>
                      <a:pt x="1200" y="1437"/>
                    </a:lnTo>
                    <a:lnTo>
                      <a:pt x="1200" y="1439"/>
                    </a:lnTo>
                    <a:lnTo>
                      <a:pt x="1200" y="1437"/>
                    </a:lnTo>
                    <a:lnTo>
                      <a:pt x="1200" y="1435"/>
                    </a:lnTo>
                    <a:lnTo>
                      <a:pt x="1198" y="1435"/>
                    </a:lnTo>
                    <a:lnTo>
                      <a:pt x="1200" y="1435"/>
                    </a:lnTo>
                    <a:lnTo>
                      <a:pt x="1198" y="1435"/>
                    </a:lnTo>
                    <a:lnTo>
                      <a:pt x="1198" y="1434"/>
                    </a:lnTo>
                    <a:lnTo>
                      <a:pt x="1198" y="1435"/>
                    </a:lnTo>
                    <a:lnTo>
                      <a:pt x="1198" y="1434"/>
                    </a:lnTo>
                    <a:lnTo>
                      <a:pt x="1196" y="1435"/>
                    </a:lnTo>
                    <a:lnTo>
                      <a:pt x="1196" y="1434"/>
                    </a:lnTo>
                    <a:lnTo>
                      <a:pt x="1198" y="1432"/>
                    </a:lnTo>
                    <a:lnTo>
                      <a:pt x="1198" y="1434"/>
                    </a:lnTo>
                    <a:lnTo>
                      <a:pt x="1198" y="1432"/>
                    </a:lnTo>
                    <a:lnTo>
                      <a:pt x="1200" y="1432"/>
                    </a:lnTo>
                    <a:lnTo>
                      <a:pt x="1198" y="1432"/>
                    </a:lnTo>
                    <a:lnTo>
                      <a:pt x="1198" y="1430"/>
                    </a:lnTo>
                    <a:lnTo>
                      <a:pt x="1200" y="1430"/>
                    </a:lnTo>
                    <a:lnTo>
                      <a:pt x="1198" y="1430"/>
                    </a:lnTo>
                    <a:lnTo>
                      <a:pt x="1198" y="1429"/>
                    </a:lnTo>
                    <a:lnTo>
                      <a:pt x="1200" y="1429"/>
                    </a:lnTo>
                    <a:lnTo>
                      <a:pt x="1200" y="1427"/>
                    </a:lnTo>
                    <a:lnTo>
                      <a:pt x="1200" y="1429"/>
                    </a:lnTo>
                    <a:lnTo>
                      <a:pt x="1202" y="1429"/>
                    </a:lnTo>
                    <a:lnTo>
                      <a:pt x="1203" y="1429"/>
                    </a:lnTo>
                    <a:lnTo>
                      <a:pt x="1203" y="1430"/>
                    </a:lnTo>
                    <a:lnTo>
                      <a:pt x="1203" y="1432"/>
                    </a:lnTo>
                    <a:lnTo>
                      <a:pt x="1205" y="1432"/>
                    </a:lnTo>
                    <a:lnTo>
                      <a:pt x="1205" y="1434"/>
                    </a:lnTo>
                    <a:lnTo>
                      <a:pt x="1205" y="1432"/>
                    </a:lnTo>
                    <a:lnTo>
                      <a:pt x="1205" y="1430"/>
                    </a:lnTo>
                    <a:lnTo>
                      <a:pt x="1205" y="1432"/>
                    </a:lnTo>
                    <a:lnTo>
                      <a:pt x="1207" y="1434"/>
                    </a:lnTo>
                    <a:lnTo>
                      <a:pt x="1207" y="1435"/>
                    </a:lnTo>
                    <a:lnTo>
                      <a:pt x="1208" y="1437"/>
                    </a:lnTo>
                    <a:lnTo>
                      <a:pt x="1208" y="1439"/>
                    </a:lnTo>
                    <a:lnTo>
                      <a:pt x="1208" y="1441"/>
                    </a:lnTo>
                    <a:lnTo>
                      <a:pt x="1208" y="1442"/>
                    </a:lnTo>
                    <a:lnTo>
                      <a:pt x="1210" y="1441"/>
                    </a:lnTo>
                    <a:lnTo>
                      <a:pt x="1208" y="1439"/>
                    </a:lnTo>
                    <a:lnTo>
                      <a:pt x="1208" y="1437"/>
                    </a:lnTo>
                    <a:lnTo>
                      <a:pt x="1208" y="1435"/>
                    </a:lnTo>
                    <a:lnTo>
                      <a:pt x="1207" y="1434"/>
                    </a:lnTo>
                    <a:lnTo>
                      <a:pt x="1207" y="1435"/>
                    </a:lnTo>
                    <a:lnTo>
                      <a:pt x="1208" y="1435"/>
                    </a:lnTo>
                    <a:lnTo>
                      <a:pt x="1210" y="1435"/>
                    </a:lnTo>
                    <a:lnTo>
                      <a:pt x="1210" y="1437"/>
                    </a:lnTo>
                    <a:lnTo>
                      <a:pt x="1210" y="1435"/>
                    </a:lnTo>
                    <a:lnTo>
                      <a:pt x="1208" y="1435"/>
                    </a:lnTo>
                    <a:lnTo>
                      <a:pt x="1208" y="1434"/>
                    </a:lnTo>
                    <a:lnTo>
                      <a:pt x="1208" y="1432"/>
                    </a:lnTo>
                    <a:lnTo>
                      <a:pt x="1210" y="1432"/>
                    </a:lnTo>
                    <a:lnTo>
                      <a:pt x="1212" y="1432"/>
                    </a:lnTo>
                    <a:lnTo>
                      <a:pt x="1210" y="1432"/>
                    </a:lnTo>
                    <a:lnTo>
                      <a:pt x="1208" y="1432"/>
                    </a:lnTo>
                    <a:lnTo>
                      <a:pt x="1207" y="1430"/>
                    </a:lnTo>
                    <a:lnTo>
                      <a:pt x="1207" y="1429"/>
                    </a:lnTo>
                    <a:lnTo>
                      <a:pt x="1207" y="1427"/>
                    </a:lnTo>
                    <a:lnTo>
                      <a:pt x="1207" y="1425"/>
                    </a:lnTo>
                    <a:lnTo>
                      <a:pt x="1207" y="1427"/>
                    </a:lnTo>
                    <a:lnTo>
                      <a:pt x="1207" y="1425"/>
                    </a:lnTo>
                    <a:lnTo>
                      <a:pt x="1207" y="1424"/>
                    </a:lnTo>
                    <a:lnTo>
                      <a:pt x="1205" y="1422"/>
                    </a:lnTo>
                    <a:lnTo>
                      <a:pt x="1203" y="1420"/>
                    </a:lnTo>
                    <a:lnTo>
                      <a:pt x="1203" y="1418"/>
                    </a:lnTo>
                    <a:lnTo>
                      <a:pt x="1205" y="1418"/>
                    </a:lnTo>
                    <a:lnTo>
                      <a:pt x="1207" y="1418"/>
                    </a:lnTo>
                    <a:lnTo>
                      <a:pt x="1207" y="1420"/>
                    </a:lnTo>
                    <a:lnTo>
                      <a:pt x="1207" y="1422"/>
                    </a:lnTo>
                    <a:lnTo>
                      <a:pt x="1208" y="1422"/>
                    </a:lnTo>
                    <a:lnTo>
                      <a:pt x="1207" y="1422"/>
                    </a:lnTo>
                    <a:lnTo>
                      <a:pt x="1207" y="1420"/>
                    </a:lnTo>
                    <a:lnTo>
                      <a:pt x="1207" y="1418"/>
                    </a:lnTo>
                    <a:lnTo>
                      <a:pt x="1208" y="1418"/>
                    </a:lnTo>
                    <a:lnTo>
                      <a:pt x="1207" y="1418"/>
                    </a:lnTo>
                    <a:lnTo>
                      <a:pt x="1207" y="1417"/>
                    </a:lnTo>
                    <a:lnTo>
                      <a:pt x="1207" y="1415"/>
                    </a:lnTo>
                    <a:lnTo>
                      <a:pt x="1207" y="1417"/>
                    </a:lnTo>
                    <a:lnTo>
                      <a:pt x="1205" y="1417"/>
                    </a:lnTo>
                    <a:lnTo>
                      <a:pt x="1205" y="1415"/>
                    </a:lnTo>
                    <a:lnTo>
                      <a:pt x="1203" y="1413"/>
                    </a:lnTo>
                    <a:lnTo>
                      <a:pt x="1203" y="1412"/>
                    </a:lnTo>
                    <a:lnTo>
                      <a:pt x="1202" y="1412"/>
                    </a:lnTo>
                    <a:lnTo>
                      <a:pt x="1203" y="1412"/>
                    </a:lnTo>
                    <a:lnTo>
                      <a:pt x="1203" y="1413"/>
                    </a:lnTo>
                    <a:lnTo>
                      <a:pt x="1203" y="1415"/>
                    </a:lnTo>
                    <a:lnTo>
                      <a:pt x="1205" y="1415"/>
                    </a:lnTo>
                    <a:lnTo>
                      <a:pt x="1205" y="1417"/>
                    </a:lnTo>
                    <a:lnTo>
                      <a:pt x="1205" y="1418"/>
                    </a:lnTo>
                    <a:lnTo>
                      <a:pt x="1203" y="1418"/>
                    </a:lnTo>
                    <a:lnTo>
                      <a:pt x="1202" y="1420"/>
                    </a:lnTo>
                    <a:lnTo>
                      <a:pt x="1200" y="1422"/>
                    </a:lnTo>
                    <a:lnTo>
                      <a:pt x="1198" y="1420"/>
                    </a:lnTo>
                    <a:lnTo>
                      <a:pt x="1198" y="1418"/>
                    </a:lnTo>
                    <a:lnTo>
                      <a:pt x="1198" y="1417"/>
                    </a:lnTo>
                    <a:lnTo>
                      <a:pt x="1198" y="1415"/>
                    </a:lnTo>
                    <a:lnTo>
                      <a:pt x="1196" y="1415"/>
                    </a:lnTo>
                    <a:lnTo>
                      <a:pt x="1196" y="1413"/>
                    </a:lnTo>
                    <a:lnTo>
                      <a:pt x="1196" y="1415"/>
                    </a:lnTo>
                    <a:lnTo>
                      <a:pt x="1196" y="1417"/>
                    </a:lnTo>
                    <a:lnTo>
                      <a:pt x="1196" y="1418"/>
                    </a:lnTo>
                    <a:lnTo>
                      <a:pt x="1195" y="1418"/>
                    </a:lnTo>
                    <a:lnTo>
                      <a:pt x="1193" y="1418"/>
                    </a:lnTo>
                    <a:lnTo>
                      <a:pt x="1191" y="1417"/>
                    </a:lnTo>
                    <a:lnTo>
                      <a:pt x="1193" y="1415"/>
                    </a:lnTo>
                    <a:lnTo>
                      <a:pt x="1191" y="1413"/>
                    </a:lnTo>
                    <a:lnTo>
                      <a:pt x="1193" y="1413"/>
                    </a:lnTo>
                    <a:lnTo>
                      <a:pt x="1191" y="1413"/>
                    </a:lnTo>
                    <a:lnTo>
                      <a:pt x="1191" y="1412"/>
                    </a:lnTo>
                    <a:lnTo>
                      <a:pt x="1191" y="1410"/>
                    </a:lnTo>
                    <a:lnTo>
                      <a:pt x="1191" y="1412"/>
                    </a:lnTo>
                    <a:lnTo>
                      <a:pt x="1191" y="1410"/>
                    </a:lnTo>
                    <a:lnTo>
                      <a:pt x="1193" y="1410"/>
                    </a:lnTo>
                    <a:lnTo>
                      <a:pt x="1193" y="1408"/>
                    </a:lnTo>
                    <a:lnTo>
                      <a:pt x="1195" y="1408"/>
                    </a:lnTo>
                    <a:lnTo>
                      <a:pt x="1195" y="1407"/>
                    </a:lnTo>
                    <a:lnTo>
                      <a:pt x="1193" y="1407"/>
                    </a:lnTo>
                    <a:lnTo>
                      <a:pt x="1195" y="1405"/>
                    </a:lnTo>
                    <a:lnTo>
                      <a:pt x="1193" y="1407"/>
                    </a:lnTo>
                    <a:lnTo>
                      <a:pt x="1193" y="1405"/>
                    </a:lnTo>
                    <a:lnTo>
                      <a:pt x="1193" y="1407"/>
                    </a:lnTo>
                    <a:lnTo>
                      <a:pt x="1191" y="1408"/>
                    </a:lnTo>
                    <a:lnTo>
                      <a:pt x="1193" y="1407"/>
                    </a:lnTo>
                    <a:lnTo>
                      <a:pt x="1191" y="1407"/>
                    </a:lnTo>
                    <a:lnTo>
                      <a:pt x="1191" y="1408"/>
                    </a:lnTo>
                    <a:lnTo>
                      <a:pt x="1191" y="1410"/>
                    </a:lnTo>
                    <a:lnTo>
                      <a:pt x="1190" y="1410"/>
                    </a:lnTo>
                    <a:lnTo>
                      <a:pt x="1190" y="1408"/>
                    </a:lnTo>
                    <a:lnTo>
                      <a:pt x="1188" y="1408"/>
                    </a:lnTo>
                    <a:lnTo>
                      <a:pt x="1190" y="1407"/>
                    </a:lnTo>
                    <a:lnTo>
                      <a:pt x="1188" y="1407"/>
                    </a:lnTo>
                    <a:lnTo>
                      <a:pt x="1188" y="1405"/>
                    </a:lnTo>
                    <a:lnTo>
                      <a:pt x="1188" y="1403"/>
                    </a:lnTo>
                    <a:lnTo>
                      <a:pt x="1190" y="1403"/>
                    </a:lnTo>
                    <a:lnTo>
                      <a:pt x="1190" y="1401"/>
                    </a:lnTo>
                    <a:lnTo>
                      <a:pt x="1191" y="1401"/>
                    </a:lnTo>
                    <a:lnTo>
                      <a:pt x="1193" y="1400"/>
                    </a:lnTo>
                    <a:lnTo>
                      <a:pt x="1195" y="1401"/>
                    </a:lnTo>
                    <a:lnTo>
                      <a:pt x="1196" y="1401"/>
                    </a:lnTo>
                    <a:lnTo>
                      <a:pt x="1198" y="1401"/>
                    </a:lnTo>
                    <a:lnTo>
                      <a:pt x="1198" y="1403"/>
                    </a:lnTo>
                    <a:lnTo>
                      <a:pt x="1198" y="1401"/>
                    </a:lnTo>
                    <a:lnTo>
                      <a:pt x="1200" y="1400"/>
                    </a:lnTo>
                    <a:lnTo>
                      <a:pt x="1202" y="1401"/>
                    </a:lnTo>
                    <a:lnTo>
                      <a:pt x="1202" y="1403"/>
                    </a:lnTo>
                    <a:lnTo>
                      <a:pt x="1200" y="1405"/>
                    </a:lnTo>
                    <a:lnTo>
                      <a:pt x="1202" y="1405"/>
                    </a:lnTo>
                    <a:lnTo>
                      <a:pt x="1203" y="1405"/>
                    </a:lnTo>
                    <a:lnTo>
                      <a:pt x="1205" y="1405"/>
                    </a:lnTo>
                    <a:lnTo>
                      <a:pt x="1207" y="1405"/>
                    </a:lnTo>
                    <a:lnTo>
                      <a:pt x="1207" y="1403"/>
                    </a:lnTo>
                    <a:lnTo>
                      <a:pt x="1205" y="1405"/>
                    </a:lnTo>
                    <a:lnTo>
                      <a:pt x="1203" y="1403"/>
                    </a:lnTo>
                    <a:lnTo>
                      <a:pt x="1203" y="1401"/>
                    </a:lnTo>
                    <a:lnTo>
                      <a:pt x="1202" y="1401"/>
                    </a:lnTo>
                    <a:lnTo>
                      <a:pt x="1202" y="1400"/>
                    </a:lnTo>
                    <a:lnTo>
                      <a:pt x="1200" y="1400"/>
                    </a:lnTo>
                    <a:lnTo>
                      <a:pt x="1200" y="1398"/>
                    </a:lnTo>
                    <a:lnTo>
                      <a:pt x="1202" y="1398"/>
                    </a:lnTo>
                    <a:lnTo>
                      <a:pt x="1202" y="1396"/>
                    </a:lnTo>
                    <a:lnTo>
                      <a:pt x="1203" y="1396"/>
                    </a:lnTo>
                    <a:lnTo>
                      <a:pt x="1203" y="1398"/>
                    </a:lnTo>
                    <a:lnTo>
                      <a:pt x="1205" y="1398"/>
                    </a:lnTo>
                    <a:lnTo>
                      <a:pt x="1203" y="1398"/>
                    </a:lnTo>
                    <a:lnTo>
                      <a:pt x="1203" y="1396"/>
                    </a:lnTo>
                    <a:lnTo>
                      <a:pt x="1203" y="1395"/>
                    </a:lnTo>
                    <a:lnTo>
                      <a:pt x="1203" y="1393"/>
                    </a:lnTo>
                    <a:lnTo>
                      <a:pt x="1203" y="1391"/>
                    </a:lnTo>
                    <a:lnTo>
                      <a:pt x="1203" y="1390"/>
                    </a:lnTo>
                    <a:lnTo>
                      <a:pt x="1205" y="1390"/>
                    </a:lnTo>
                    <a:lnTo>
                      <a:pt x="1207" y="1390"/>
                    </a:lnTo>
                    <a:lnTo>
                      <a:pt x="1208" y="1388"/>
                    </a:lnTo>
                    <a:lnTo>
                      <a:pt x="1210" y="1390"/>
                    </a:lnTo>
                    <a:lnTo>
                      <a:pt x="1212" y="1390"/>
                    </a:lnTo>
                    <a:lnTo>
                      <a:pt x="1213" y="1391"/>
                    </a:lnTo>
                    <a:lnTo>
                      <a:pt x="1213" y="1390"/>
                    </a:lnTo>
                    <a:lnTo>
                      <a:pt x="1212" y="1390"/>
                    </a:lnTo>
                    <a:lnTo>
                      <a:pt x="1210" y="1388"/>
                    </a:lnTo>
                    <a:lnTo>
                      <a:pt x="1212" y="1388"/>
                    </a:lnTo>
                    <a:lnTo>
                      <a:pt x="1210" y="1386"/>
                    </a:lnTo>
                    <a:lnTo>
                      <a:pt x="1210" y="1388"/>
                    </a:lnTo>
                    <a:lnTo>
                      <a:pt x="1210" y="1386"/>
                    </a:lnTo>
                    <a:lnTo>
                      <a:pt x="1208" y="1388"/>
                    </a:lnTo>
                    <a:lnTo>
                      <a:pt x="1208" y="1386"/>
                    </a:lnTo>
                    <a:lnTo>
                      <a:pt x="1207" y="1386"/>
                    </a:lnTo>
                    <a:lnTo>
                      <a:pt x="1207" y="1384"/>
                    </a:lnTo>
                    <a:lnTo>
                      <a:pt x="1205" y="1384"/>
                    </a:lnTo>
                    <a:lnTo>
                      <a:pt x="1205" y="1383"/>
                    </a:lnTo>
                    <a:lnTo>
                      <a:pt x="1205" y="1381"/>
                    </a:lnTo>
                    <a:lnTo>
                      <a:pt x="1207" y="1381"/>
                    </a:lnTo>
                    <a:lnTo>
                      <a:pt x="1208" y="1381"/>
                    </a:lnTo>
                    <a:lnTo>
                      <a:pt x="1210" y="1381"/>
                    </a:lnTo>
                    <a:lnTo>
                      <a:pt x="1210" y="1379"/>
                    </a:lnTo>
                    <a:lnTo>
                      <a:pt x="1210" y="1378"/>
                    </a:lnTo>
                    <a:lnTo>
                      <a:pt x="1212" y="1378"/>
                    </a:lnTo>
                    <a:lnTo>
                      <a:pt x="1210" y="1376"/>
                    </a:lnTo>
                    <a:lnTo>
                      <a:pt x="1212" y="1376"/>
                    </a:lnTo>
                    <a:lnTo>
                      <a:pt x="1212" y="1374"/>
                    </a:lnTo>
                    <a:lnTo>
                      <a:pt x="1210" y="1374"/>
                    </a:lnTo>
                    <a:lnTo>
                      <a:pt x="1210" y="1376"/>
                    </a:lnTo>
                    <a:lnTo>
                      <a:pt x="1210" y="1378"/>
                    </a:lnTo>
                    <a:lnTo>
                      <a:pt x="1208" y="1379"/>
                    </a:lnTo>
                    <a:lnTo>
                      <a:pt x="1208" y="1381"/>
                    </a:lnTo>
                    <a:lnTo>
                      <a:pt x="1208" y="1379"/>
                    </a:lnTo>
                    <a:lnTo>
                      <a:pt x="1207" y="1381"/>
                    </a:lnTo>
                    <a:lnTo>
                      <a:pt x="1205" y="1381"/>
                    </a:lnTo>
                    <a:lnTo>
                      <a:pt x="1203" y="1383"/>
                    </a:lnTo>
                    <a:lnTo>
                      <a:pt x="1203" y="1384"/>
                    </a:lnTo>
                    <a:lnTo>
                      <a:pt x="1203" y="1386"/>
                    </a:lnTo>
                    <a:lnTo>
                      <a:pt x="1203" y="1388"/>
                    </a:lnTo>
                    <a:lnTo>
                      <a:pt x="1203" y="1390"/>
                    </a:lnTo>
                    <a:lnTo>
                      <a:pt x="1202" y="1391"/>
                    </a:lnTo>
                    <a:lnTo>
                      <a:pt x="1202" y="1393"/>
                    </a:lnTo>
                    <a:lnTo>
                      <a:pt x="1203" y="1393"/>
                    </a:lnTo>
                    <a:lnTo>
                      <a:pt x="1202" y="1395"/>
                    </a:lnTo>
                    <a:lnTo>
                      <a:pt x="1202" y="1396"/>
                    </a:lnTo>
                    <a:lnTo>
                      <a:pt x="1200" y="1396"/>
                    </a:lnTo>
                    <a:lnTo>
                      <a:pt x="1200" y="1398"/>
                    </a:lnTo>
                    <a:lnTo>
                      <a:pt x="1198" y="1400"/>
                    </a:lnTo>
                    <a:lnTo>
                      <a:pt x="1196" y="1400"/>
                    </a:lnTo>
                    <a:lnTo>
                      <a:pt x="1196" y="1398"/>
                    </a:lnTo>
                    <a:lnTo>
                      <a:pt x="1195" y="1400"/>
                    </a:lnTo>
                    <a:lnTo>
                      <a:pt x="1195" y="1398"/>
                    </a:lnTo>
                    <a:lnTo>
                      <a:pt x="1193" y="1396"/>
                    </a:lnTo>
                    <a:lnTo>
                      <a:pt x="1193" y="1395"/>
                    </a:lnTo>
                    <a:lnTo>
                      <a:pt x="1191" y="1395"/>
                    </a:lnTo>
                    <a:lnTo>
                      <a:pt x="1193" y="1395"/>
                    </a:lnTo>
                    <a:lnTo>
                      <a:pt x="1193" y="1393"/>
                    </a:lnTo>
                    <a:lnTo>
                      <a:pt x="1195" y="1393"/>
                    </a:lnTo>
                    <a:lnTo>
                      <a:pt x="1195" y="1391"/>
                    </a:lnTo>
                    <a:lnTo>
                      <a:pt x="1193" y="1391"/>
                    </a:lnTo>
                    <a:lnTo>
                      <a:pt x="1191" y="1391"/>
                    </a:lnTo>
                    <a:lnTo>
                      <a:pt x="1193" y="1391"/>
                    </a:lnTo>
                    <a:lnTo>
                      <a:pt x="1191" y="1393"/>
                    </a:lnTo>
                    <a:lnTo>
                      <a:pt x="1193" y="1395"/>
                    </a:lnTo>
                    <a:lnTo>
                      <a:pt x="1191" y="1395"/>
                    </a:lnTo>
                    <a:lnTo>
                      <a:pt x="1193" y="1395"/>
                    </a:lnTo>
                    <a:lnTo>
                      <a:pt x="1191" y="1393"/>
                    </a:lnTo>
                    <a:lnTo>
                      <a:pt x="1191" y="1391"/>
                    </a:lnTo>
                    <a:lnTo>
                      <a:pt x="1191" y="1390"/>
                    </a:lnTo>
                    <a:lnTo>
                      <a:pt x="1190" y="1390"/>
                    </a:lnTo>
                    <a:lnTo>
                      <a:pt x="1190" y="1388"/>
                    </a:lnTo>
                    <a:lnTo>
                      <a:pt x="1188" y="1386"/>
                    </a:lnTo>
                    <a:lnTo>
                      <a:pt x="1188" y="1384"/>
                    </a:lnTo>
                    <a:lnTo>
                      <a:pt x="1190" y="1384"/>
                    </a:lnTo>
                    <a:lnTo>
                      <a:pt x="1191" y="1383"/>
                    </a:lnTo>
                    <a:lnTo>
                      <a:pt x="1191" y="1384"/>
                    </a:lnTo>
                    <a:lnTo>
                      <a:pt x="1193" y="1384"/>
                    </a:lnTo>
                    <a:lnTo>
                      <a:pt x="1193" y="1386"/>
                    </a:lnTo>
                    <a:lnTo>
                      <a:pt x="1193" y="1384"/>
                    </a:lnTo>
                    <a:lnTo>
                      <a:pt x="1191" y="1384"/>
                    </a:lnTo>
                    <a:lnTo>
                      <a:pt x="1191" y="1383"/>
                    </a:lnTo>
                    <a:lnTo>
                      <a:pt x="1190" y="1383"/>
                    </a:lnTo>
                    <a:lnTo>
                      <a:pt x="1191" y="1383"/>
                    </a:lnTo>
                    <a:lnTo>
                      <a:pt x="1190" y="1384"/>
                    </a:lnTo>
                    <a:lnTo>
                      <a:pt x="1188" y="1384"/>
                    </a:lnTo>
                    <a:lnTo>
                      <a:pt x="1188" y="1383"/>
                    </a:lnTo>
                    <a:lnTo>
                      <a:pt x="1186" y="1381"/>
                    </a:lnTo>
                    <a:lnTo>
                      <a:pt x="1186" y="1379"/>
                    </a:lnTo>
                    <a:lnTo>
                      <a:pt x="1188" y="1379"/>
                    </a:lnTo>
                    <a:lnTo>
                      <a:pt x="1190" y="1379"/>
                    </a:lnTo>
                    <a:lnTo>
                      <a:pt x="1191" y="1381"/>
                    </a:lnTo>
                    <a:lnTo>
                      <a:pt x="1190" y="1381"/>
                    </a:lnTo>
                    <a:lnTo>
                      <a:pt x="1191" y="1383"/>
                    </a:lnTo>
                    <a:lnTo>
                      <a:pt x="1191" y="1381"/>
                    </a:lnTo>
                    <a:lnTo>
                      <a:pt x="1193" y="1383"/>
                    </a:lnTo>
                    <a:lnTo>
                      <a:pt x="1193" y="1381"/>
                    </a:lnTo>
                    <a:lnTo>
                      <a:pt x="1191" y="1381"/>
                    </a:lnTo>
                    <a:lnTo>
                      <a:pt x="1191" y="1379"/>
                    </a:lnTo>
                    <a:lnTo>
                      <a:pt x="1191" y="1381"/>
                    </a:lnTo>
                    <a:lnTo>
                      <a:pt x="1191" y="1379"/>
                    </a:lnTo>
                    <a:lnTo>
                      <a:pt x="1191" y="1381"/>
                    </a:lnTo>
                    <a:lnTo>
                      <a:pt x="1193" y="1381"/>
                    </a:lnTo>
                    <a:lnTo>
                      <a:pt x="1195" y="1381"/>
                    </a:lnTo>
                    <a:lnTo>
                      <a:pt x="1195" y="1383"/>
                    </a:lnTo>
                    <a:lnTo>
                      <a:pt x="1196" y="1383"/>
                    </a:lnTo>
                    <a:lnTo>
                      <a:pt x="1196" y="1384"/>
                    </a:lnTo>
                    <a:lnTo>
                      <a:pt x="1196" y="1386"/>
                    </a:lnTo>
                    <a:lnTo>
                      <a:pt x="1196" y="1384"/>
                    </a:lnTo>
                    <a:lnTo>
                      <a:pt x="1196" y="1383"/>
                    </a:lnTo>
                    <a:lnTo>
                      <a:pt x="1198" y="1383"/>
                    </a:lnTo>
                    <a:lnTo>
                      <a:pt x="1200" y="1383"/>
                    </a:lnTo>
                    <a:lnTo>
                      <a:pt x="1200" y="1384"/>
                    </a:lnTo>
                    <a:lnTo>
                      <a:pt x="1202" y="1384"/>
                    </a:lnTo>
                    <a:lnTo>
                      <a:pt x="1200" y="1383"/>
                    </a:lnTo>
                    <a:lnTo>
                      <a:pt x="1198" y="1383"/>
                    </a:lnTo>
                    <a:lnTo>
                      <a:pt x="1196" y="1383"/>
                    </a:lnTo>
                    <a:lnTo>
                      <a:pt x="1196" y="1381"/>
                    </a:lnTo>
                    <a:lnTo>
                      <a:pt x="1195" y="1381"/>
                    </a:lnTo>
                    <a:lnTo>
                      <a:pt x="1196" y="1379"/>
                    </a:lnTo>
                    <a:lnTo>
                      <a:pt x="1195" y="1379"/>
                    </a:lnTo>
                    <a:lnTo>
                      <a:pt x="1195" y="1381"/>
                    </a:lnTo>
                    <a:lnTo>
                      <a:pt x="1195" y="1379"/>
                    </a:lnTo>
                    <a:lnTo>
                      <a:pt x="1193" y="1379"/>
                    </a:lnTo>
                    <a:lnTo>
                      <a:pt x="1191" y="1378"/>
                    </a:lnTo>
                    <a:lnTo>
                      <a:pt x="1191" y="1376"/>
                    </a:lnTo>
                    <a:lnTo>
                      <a:pt x="1193" y="1376"/>
                    </a:lnTo>
                    <a:lnTo>
                      <a:pt x="1195" y="1374"/>
                    </a:lnTo>
                    <a:lnTo>
                      <a:pt x="1196" y="1374"/>
                    </a:lnTo>
                    <a:lnTo>
                      <a:pt x="1198" y="1374"/>
                    </a:lnTo>
                    <a:lnTo>
                      <a:pt x="1196" y="1374"/>
                    </a:lnTo>
                    <a:lnTo>
                      <a:pt x="1195" y="1374"/>
                    </a:lnTo>
                    <a:lnTo>
                      <a:pt x="1193" y="1374"/>
                    </a:lnTo>
                    <a:lnTo>
                      <a:pt x="1193" y="1376"/>
                    </a:lnTo>
                    <a:lnTo>
                      <a:pt x="1191" y="1376"/>
                    </a:lnTo>
                    <a:lnTo>
                      <a:pt x="1190" y="1378"/>
                    </a:lnTo>
                    <a:lnTo>
                      <a:pt x="1190" y="1376"/>
                    </a:lnTo>
                    <a:lnTo>
                      <a:pt x="1188" y="1378"/>
                    </a:lnTo>
                    <a:lnTo>
                      <a:pt x="1190" y="1378"/>
                    </a:lnTo>
                    <a:lnTo>
                      <a:pt x="1188" y="1378"/>
                    </a:lnTo>
                    <a:lnTo>
                      <a:pt x="1186" y="1378"/>
                    </a:lnTo>
                    <a:lnTo>
                      <a:pt x="1188" y="1376"/>
                    </a:lnTo>
                    <a:lnTo>
                      <a:pt x="1186" y="1376"/>
                    </a:lnTo>
                    <a:lnTo>
                      <a:pt x="1186" y="1378"/>
                    </a:lnTo>
                    <a:lnTo>
                      <a:pt x="1185" y="1376"/>
                    </a:lnTo>
                    <a:lnTo>
                      <a:pt x="1186" y="1374"/>
                    </a:lnTo>
                    <a:lnTo>
                      <a:pt x="1186" y="1373"/>
                    </a:lnTo>
                    <a:lnTo>
                      <a:pt x="1188" y="1373"/>
                    </a:lnTo>
                    <a:lnTo>
                      <a:pt x="1188" y="1371"/>
                    </a:lnTo>
                    <a:lnTo>
                      <a:pt x="1186" y="1371"/>
                    </a:lnTo>
                    <a:lnTo>
                      <a:pt x="1188" y="1371"/>
                    </a:lnTo>
                    <a:lnTo>
                      <a:pt x="1186" y="1371"/>
                    </a:lnTo>
                    <a:lnTo>
                      <a:pt x="1188" y="1369"/>
                    </a:lnTo>
                    <a:lnTo>
                      <a:pt x="1186" y="1367"/>
                    </a:lnTo>
                    <a:lnTo>
                      <a:pt x="1186" y="1369"/>
                    </a:lnTo>
                    <a:lnTo>
                      <a:pt x="1186" y="1367"/>
                    </a:lnTo>
                    <a:lnTo>
                      <a:pt x="1186" y="1369"/>
                    </a:lnTo>
                    <a:lnTo>
                      <a:pt x="1186" y="1371"/>
                    </a:lnTo>
                    <a:lnTo>
                      <a:pt x="1185" y="1371"/>
                    </a:lnTo>
                    <a:lnTo>
                      <a:pt x="1185" y="1373"/>
                    </a:lnTo>
                    <a:lnTo>
                      <a:pt x="1185" y="1374"/>
                    </a:lnTo>
                    <a:lnTo>
                      <a:pt x="1183" y="1374"/>
                    </a:lnTo>
                    <a:lnTo>
                      <a:pt x="1185" y="1374"/>
                    </a:lnTo>
                    <a:lnTo>
                      <a:pt x="1185" y="1376"/>
                    </a:lnTo>
                    <a:lnTo>
                      <a:pt x="1183" y="1374"/>
                    </a:lnTo>
                    <a:lnTo>
                      <a:pt x="1181" y="1374"/>
                    </a:lnTo>
                    <a:lnTo>
                      <a:pt x="1179" y="1373"/>
                    </a:lnTo>
                    <a:lnTo>
                      <a:pt x="1181" y="1373"/>
                    </a:lnTo>
                    <a:lnTo>
                      <a:pt x="1181" y="1371"/>
                    </a:lnTo>
                    <a:lnTo>
                      <a:pt x="1181" y="1373"/>
                    </a:lnTo>
                    <a:lnTo>
                      <a:pt x="1179" y="1373"/>
                    </a:lnTo>
                    <a:lnTo>
                      <a:pt x="1179" y="1371"/>
                    </a:lnTo>
                    <a:lnTo>
                      <a:pt x="1178" y="1371"/>
                    </a:lnTo>
                    <a:lnTo>
                      <a:pt x="1178" y="1369"/>
                    </a:lnTo>
                    <a:lnTo>
                      <a:pt x="1179" y="1369"/>
                    </a:lnTo>
                    <a:lnTo>
                      <a:pt x="1181" y="1369"/>
                    </a:lnTo>
                    <a:lnTo>
                      <a:pt x="1179" y="1369"/>
                    </a:lnTo>
                    <a:lnTo>
                      <a:pt x="1178" y="1369"/>
                    </a:lnTo>
                    <a:lnTo>
                      <a:pt x="1178" y="1367"/>
                    </a:lnTo>
                    <a:lnTo>
                      <a:pt x="1178" y="1366"/>
                    </a:lnTo>
                    <a:lnTo>
                      <a:pt x="1178" y="1367"/>
                    </a:lnTo>
                    <a:lnTo>
                      <a:pt x="1176" y="1367"/>
                    </a:lnTo>
                    <a:lnTo>
                      <a:pt x="1174" y="1367"/>
                    </a:lnTo>
                    <a:lnTo>
                      <a:pt x="1176" y="1366"/>
                    </a:lnTo>
                    <a:lnTo>
                      <a:pt x="1176" y="1364"/>
                    </a:lnTo>
                    <a:lnTo>
                      <a:pt x="1178" y="1364"/>
                    </a:lnTo>
                    <a:lnTo>
                      <a:pt x="1176" y="1364"/>
                    </a:lnTo>
                    <a:lnTo>
                      <a:pt x="1176" y="1366"/>
                    </a:lnTo>
                    <a:lnTo>
                      <a:pt x="1174" y="1366"/>
                    </a:lnTo>
                    <a:lnTo>
                      <a:pt x="1173" y="1366"/>
                    </a:lnTo>
                    <a:lnTo>
                      <a:pt x="1173" y="1364"/>
                    </a:lnTo>
                    <a:lnTo>
                      <a:pt x="1173" y="1362"/>
                    </a:lnTo>
                    <a:lnTo>
                      <a:pt x="1174" y="1362"/>
                    </a:lnTo>
                    <a:lnTo>
                      <a:pt x="1174" y="1361"/>
                    </a:lnTo>
                    <a:lnTo>
                      <a:pt x="1176" y="1361"/>
                    </a:lnTo>
                    <a:lnTo>
                      <a:pt x="1178" y="1359"/>
                    </a:lnTo>
                    <a:lnTo>
                      <a:pt x="1179" y="1361"/>
                    </a:lnTo>
                    <a:lnTo>
                      <a:pt x="1178" y="1362"/>
                    </a:lnTo>
                    <a:lnTo>
                      <a:pt x="1179" y="1362"/>
                    </a:lnTo>
                    <a:lnTo>
                      <a:pt x="1179" y="1361"/>
                    </a:lnTo>
                    <a:lnTo>
                      <a:pt x="1178" y="1359"/>
                    </a:lnTo>
                    <a:lnTo>
                      <a:pt x="1179" y="1359"/>
                    </a:lnTo>
                    <a:lnTo>
                      <a:pt x="1178" y="1359"/>
                    </a:lnTo>
                    <a:lnTo>
                      <a:pt x="1179" y="1359"/>
                    </a:lnTo>
                    <a:lnTo>
                      <a:pt x="1181" y="1359"/>
                    </a:lnTo>
                    <a:lnTo>
                      <a:pt x="1181" y="1361"/>
                    </a:lnTo>
                    <a:lnTo>
                      <a:pt x="1181" y="1359"/>
                    </a:lnTo>
                    <a:lnTo>
                      <a:pt x="1183" y="1359"/>
                    </a:lnTo>
                    <a:lnTo>
                      <a:pt x="1183" y="1361"/>
                    </a:lnTo>
                    <a:lnTo>
                      <a:pt x="1183" y="1359"/>
                    </a:lnTo>
                    <a:lnTo>
                      <a:pt x="1181" y="1359"/>
                    </a:lnTo>
                    <a:lnTo>
                      <a:pt x="1179" y="1357"/>
                    </a:lnTo>
                    <a:lnTo>
                      <a:pt x="1179" y="1359"/>
                    </a:lnTo>
                    <a:lnTo>
                      <a:pt x="1178" y="1359"/>
                    </a:lnTo>
                    <a:lnTo>
                      <a:pt x="1176" y="1359"/>
                    </a:lnTo>
                    <a:lnTo>
                      <a:pt x="1176" y="1361"/>
                    </a:lnTo>
                    <a:lnTo>
                      <a:pt x="1176" y="1359"/>
                    </a:lnTo>
                    <a:lnTo>
                      <a:pt x="1178" y="1359"/>
                    </a:lnTo>
                    <a:lnTo>
                      <a:pt x="1178" y="1357"/>
                    </a:lnTo>
                    <a:lnTo>
                      <a:pt x="1179" y="1357"/>
                    </a:lnTo>
                    <a:lnTo>
                      <a:pt x="1181" y="1356"/>
                    </a:lnTo>
                    <a:lnTo>
                      <a:pt x="1183" y="1357"/>
                    </a:lnTo>
                    <a:lnTo>
                      <a:pt x="1185" y="1357"/>
                    </a:lnTo>
                    <a:lnTo>
                      <a:pt x="1185" y="1359"/>
                    </a:lnTo>
                    <a:lnTo>
                      <a:pt x="1183" y="1359"/>
                    </a:lnTo>
                    <a:lnTo>
                      <a:pt x="1185" y="1359"/>
                    </a:lnTo>
                    <a:lnTo>
                      <a:pt x="1185" y="1361"/>
                    </a:lnTo>
                    <a:lnTo>
                      <a:pt x="1185" y="1359"/>
                    </a:lnTo>
                    <a:lnTo>
                      <a:pt x="1186" y="1359"/>
                    </a:lnTo>
                    <a:lnTo>
                      <a:pt x="1186" y="1361"/>
                    </a:lnTo>
                    <a:lnTo>
                      <a:pt x="1188" y="1361"/>
                    </a:lnTo>
                    <a:lnTo>
                      <a:pt x="1188" y="1362"/>
                    </a:lnTo>
                    <a:lnTo>
                      <a:pt x="1186" y="1362"/>
                    </a:lnTo>
                    <a:lnTo>
                      <a:pt x="1186" y="1364"/>
                    </a:lnTo>
                    <a:lnTo>
                      <a:pt x="1185" y="1364"/>
                    </a:lnTo>
                    <a:lnTo>
                      <a:pt x="1186" y="1364"/>
                    </a:lnTo>
                    <a:lnTo>
                      <a:pt x="1188" y="1362"/>
                    </a:lnTo>
                    <a:lnTo>
                      <a:pt x="1188" y="1364"/>
                    </a:lnTo>
                    <a:lnTo>
                      <a:pt x="1188" y="1366"/>
                    </a:lnTo>
                    <a:lnTo>
                      <a:pt x="1190" y="1366"/>
                    </a:lnTo>
                    <a:lnTo>
                      <a:pt x="1190" y="1367"/>
                    </a:lnTo>
                    <a:lnTo>
                      <a:pt x="1191" y="1369"/>
                    </a:lnTo>
                    <a:lnTo>
                      <a:pt x="1191" y="1367"/>
                    </a:lnTo>
                    <a:lnTo>
                      <a:pt x="1193" y="1366"/>
                    </a:lnTo>
                    <a:lnTo>
                      <a:pt x="1193" y="1367"/>
                    </a:lnTo>
                    <a:lnTo>
                      <a:pt x="1193" y="1366"/>
                    </a:lnTo>
                    <a:lnTo>
                      <a:pt x="1195" y="1367"/>
                    </a:lnTo>
                    <a:lnTo>
                      <a:pt x="1196" y="1367"/>
                    </a:lnTo>
                    <a:lnTo>
                      <a:pt x="1196" y="1369"/>
                    </a:lnTo>
                    <a:lnTo>
                      <a:pt x="1198" y="1369"/>
                    </a:lnTo>
                    <a:lnTo>
                      <a:pt x="1196" y="1367"/>
                    </a:lnTo>
                    <a:lnTo>
                      <a:pt x="1195" y="1367"/>
                    </a:lnTo>
                    <a:lnTo>
                      <a:pt x="1195" y="1366"/>
                    </a:lnTo>
                    <a:lnTo>
                      <a:pt x="1196" y="1366"/>
                    </a:lnTo>
                    <a:lnTo>
                      <a:pt x="1195" y="1366"/>
                    </a:lnTo>
                    <a:lnTo>
                      <a:pt x="1195" y="1364"/>
                    </a:lnTo>
                    <a:lnTo>
                      <a:pt x="1193" y="1364"/>
                    </a:lnTo>
                    <a:lnTo>
                      <a:pt x="1193" y="1366"/>
                    </a:lnTo>
                    <a:lnTo>
                      <a:pt x="1191" y="1366"/>
                    </a:lnTo>
                    <a:lnTo>
                      <a:pt x="1191" y="1364"/>
                    </a:lnTo>
                    <a:lnTo>
                      <a:pt x="1190" y="1364"/>
                    </a:lnTo>
                    <a:lnTo>
                      <a:pt x="1190" y="1362"/>
                    </a:lnTo>
                    <a:lnTo>
                      <a:pt x="1190" y="1361"/>
                    </a:lnTo>
                    <a:lnTo>
                      <a:pt x="1188" y="1361"/>
                    </a:lnTo>
                    <a:lnTo>
                      <a:pt x="1188" y="1359"/>
                    </a:lnTo>
                    <a:lnTo>
                      <a:pt x="1186" y="1359"/>
                    </a:lnTo>
                    <a:lnTo>
                      <a:pt x="1186" y="1357"/>
                    </a:lnTo>
                    <a:lnTo>
                      <a:pt x="1186" y="1356"/>
                    </a:lnTo>
                    <a:lnTo>
                      <a:pt x="1185" y="1356"/>
                    </a:lnTo>
                    <a:lnTo>
                      <a:pt x="1185" y="1354"/>
                    </a:lnTo>
                    <a:lnTo>
                      <a:pt x="1185" y="1352"/>
                    </a:lnTo>
                    <a:lnTo>
                      <a:pt x="1186" y="1350"/>
                    </a:lnTo>
                    <a:lnTo>
                      <a:pt x="1186" y="1352"/>
                    </a:lnTo>
                    <a:lnTo>
                      <a:pt x="1186" y="1354"/>
                    </a:lnTo>
                    <a:lnTo>
                      <a:pt x="1186" y="1352"/>
                    </a:lnTo>
                    <a:lnTo>
                      <a:pt x="1188" y="1352"/>
                    </a:lnTo>
                    <a:lnTo>
                      <a:pt x="1190" y="1352"/>
                    </a:lnTo>
                    <a:lnTo>
                      <a:pt x="1190" y="1354"/>
                    </a:lnTo>
                    <a:lnTo>
                      <a:pt x="1191" y="1354"/>
                    </a:lnTo>
                    <a:lnTo>
                      <a:pt x="1193" y="1356"/>
                    </a:lnTo>
                    <a:lnTo>
                      <a:pt x="1193" y="1354"/>
                    </a:lnTo>
                    <a:lnTo>
                      <a:pt x="1195" y="1356"/>
                    </a:lnTo>
                    <a:lnTo>
                      <a:pt x="1195" y="1357"/>
                    </a:lnTo>
                    <a:lnTo>
                      <a:pt x="1195" y="1356"/>
                    </a:lnTo>
                    <a:lnTo>
                      <a:pt x="1195" y="1357"/>
                    </a:lnTo>
                    <a:lnTo>
                      <a:pt x="1196" y="1356"/>
                    </a:lnTo>
                    <a:lnTo>
                      <a:pt x="1196" y="1354"/>
                    </a:lnTo>
                    <a:lnTo>
                      <a:pt x="1196" y="1352"/>
                    </a:lnTo>
                    <a:lnTo>
                      <a:pt x="1198" y="1352"/>
                    </a:lnTo>
                    <a:lnTo>
                      <a:pt x="1198" y="1350"/>
                    </a:lnTo>
                    <a:lnTo>
                      <a:pt x="1200" y="1350"/>
                    </a:lnTo>
                    <a:lnTo>
                      <a:pt x="1202" y="1350"/>
                    </a:lnTo>
                    <a:lnTo>
                      <a:pt x="1200" y="1350"/>
                    </a:lnTo>
                    <a:lnTo>
                      <a:pt x="1200" y="1349"/>
                    </a:lnTo>
                    <a:lnTo>
                      <a:pt x="1200" y="1347"/>
                    </a:lnTo>
                    <a:lnTo>
                      <a:pt x="1202" y="1347"/>
                    </a:lnTo>
                    <a:lnTo>
                      <a:pt x="1202" y="1345"/>
                    </a:lnTo>
                    <a:lnTo>
                      <a:pt x="1203" y="1345"/>
                    </a:lnTo>
                    <a:lnTo>
                      <a:pt x="1202" y="1345"/>
                    </a:lnTo>
                    <a:lnTo>
                      <a:pt x="1202" y="1347"/>
                    </a:lnTo>
                    <a:lnTo>
                      <a:pt x="1200" y="1347"/>
                    </a:lnTo>
                    <a:lnTo>
                      <a:pt x="1200" y="1349"/>
                    </a:lnTo>
                    <a:lnTo>
                      <a:pt x="1200" y="1350"/>
                    </a:lnTo>
                    <a:lnTo>
                      <a:pt x="1198" y="1350"/>
                    </a:lnTo>
                    <a:lnTo>
                      <a:pt x="1196" y="1350"/>
                    </a:lnTo>
                    <a:lnTo>
                      <a:pt x="1196" y="1352"/>
                    </a:lnTo>
                    <a:lnTo>
                      <a:pt x="1195" y="1354"/>
                    </a:lnTo>
                    <a:lnTo>
                      <a:pt x="1193" y="1352"/>
                    </a:lnTo>
                    <a:lnTo>
                      <a:pt x="1191" y="1350"/>
                    </a:lnTo>
                    <a:lnTo>
                      <a:pt x="1191" y="1349"/>
                    </a:lnTo>
                    <a:lnTo>
                      <a:pt x="1190" y="1350"/>
                    </a:lnTo>
                    <a:lnTo>
                      <a:pt x="1190" y="1349"/>
                    </a:lnTo>
                    <a:lnTo>
                      <a:pt x="1190" y="1350"/>
                    </a:lnTo>
                    <a:lnTo>
                      <a:pt x="1188" y="1350"/>
                    </a:lnTo>
                    <a:lnTo>
                      <a:pt x="1190" y="1350"/>
                    </a:lnTo>
                    <a:lnTo>
                      <a:pt x="1188" y="1349"/>
                    </a:lnTo>
                    <a:lnTo>
                      <a:pt x="1186" y="1350"/>
                    </a:lnTo>
                    <a:lnTo>
                      <a:pt x="1186" y="1349"/>
                    </a:lnTo>
                    <a:lnTo>
                      <a:pt x="1185" y="1349"/>
                    </a:lnTo>
                    <a:lnTo>
                      <a:pt x="1186" y="1347"/>
                    </a:lnTo>
                    <a:lnTo>
                      <a:pt x="1185" y="1347"/>
                    </a:lnTo>
                    <a:lnTo>
                      <a:pt x="1185" y="1345"/>
                    </a:lnTo>
                    <a:lnTo>
                      <a:pt x="1185" y="1344"/>
                    </a:lnTo>
                    <a:lnTo>
                      <a:pt x="1186" y="1344"/>
                    </a:lnTo>
                    <a:lnTo>
                      <a:pt x="1188" y="1344"/>
                    </a:lnTo>
                    <a:lnTo>
                      <a:pt x="1188" y="1342"/>
                    </a:lnTo>
                    <a:lnTo>
                      <a:pt x="1190" y="1342"/>
                    </a:lnTo>
                    <a:lnTo>
                      <a:pt x="1191" y="1342"/>
                    </a:lnTo>
                    <a:lnTo>
                      <a:pt x="1193" y="1342"/>
                    </a:lnTo>
                    <a:lnTo>
                      <a:pt x="1195" y="1340"/>
                    </a:lnTo>
                    <a:lnTo>
                      <a:pt x="1195" y="1342"/>
                    </a:lnTo>
                    <a:lnTo>
                      <a:pt x="1195" y="1340"/>
                    </a:lnTo>
                    <a:lnTo>
                      <a:pt x="1193" y="1340"/>
                    </a:lnTo>
                    <a:lnTo>
                      <a:pt x="1191" y="1340"/>
                    </a:lnTo>
                    <a:lnTo>
                      <a:pt x="1190" y="1340"/>
                    </a:lnTo>
                    <a:lnTo>
                      <a:pt x="1188" y="1340"/>
                    </a:lnTo>
                    <a:lnTo>
                      <a:pt x="1188" y="1342"/>
                    </a:lnTo>
                    <a:lnTo>
                      <a:pt x="1186" y="1342"/>
                    </a:lnTo>
                    <a:lnTo>
                      <a:pt x="1186" y="1340"/>
                    </a:lnTo>
                    <a:lnTo>
                      <a:pt x="1186" y="1339"/>
                    </a:lnTo>
                    <a:lnTo>
                      <a:pt x="1186" y="1337"/>
                    </a:lnTo>
                    <a:lnTo>
                      <a:pt x="1186" y="1335"/>
                    </a:lnTo>
                    <a:lnTo>
                      <a:pt x="1188" y="1333"/>
                    </a:lnTo>
                    <a:lnTo>
                      <a:pt x="1188" y="1335"/>
                    </a:lnTo>
                    <a:lnTo>
                      <a:pt x="1188" y="1333"/>
                    </a:lnTo>
                    <a:lnTo>
                      <a:pt x="1190" y="1332"/>
                    </a:lnTo>
                    <a:lnTo>
                      <a:pt x="1191" y="1332"/>
                    </a:lnTo>
                    <a:lnTo>
                      <a:pt x="1191" y="1333"/>
                    </a:lnTo>
                    <a:lnTo>
                      <a:pt x="1191" y="1332"/>
                    </a:lnTo>
                    <a:lnTo>
                      <a:pt x="1193" y="1332"/>
                    </a:lnTo>
                    <a:lnTo>
                      <a:pt x="1193" y="1330"/>
                    </a:lnTo>
                    <a:lnTo>
                      <a:pt x="1195" y="1330"/>
                    </a:lnTo>
                    <a:lnTo>
                      <a:pt x="1196" y="1332"/>
                    </a:lnTo>
                    <a:lnTo>
                      <a:pt x="1196" y="1333"/>
                    </a:lnTo>
                    <a:lnTo>
                      <a:pt x="1196" y="1335"/>
                    </a:lnTo>
                    <a:lnTo>
                      <a:pt x="1195" y="1335"/>
                    </a:lnTo>
                    <a:lnTo>
                      <a:pt x="1195" y="1337"/>
                    </a:lnTo>
                    <a:lnTo>
                      <a:pt x="1196" y="1335"/>
                    </a:lnTo>
                    <a:lnTo>
                      <a:pt x="1196" y="1333"/>
                    </a:lnTo>
                    <a:lnTo>
                      <a:pt x="1198" y="1332"/>
                    </a:lnTo>
                    <a:lnTo>
                      <a:pt x="1200" y="1332"/>
                    </a:lnTo>
                    <a:lnTo>
                      <a:pt x="1200" y="1333"/>
                    </a:lnTo>
                    <a:lnTo>
                      <a:pt x="1200" y="1335"/>
                    </a:lnTo>
                    <a:lnTo>
                      <a:pt x="1202" y="1335"/>
                    </a:lnTo>
                    <a:lnTo>
                      <a:pt x="1202" y="1337"/>
                    </a:lnTo>
                    <a:lnTo>
                      <a:pt x="1203" y="1337"/>
                    </a:lnTo>
                    <a:lnTo>
                      <a:pt x="1203" y="1339"/>
                    </a:lnTo>
                    <a:lnTo>
                      <a:pt x="1203" y="1340"/>
                    </a:lnTo>
                    <a:lnTo>
                      <a:pt x="1203" y="1339"/>
                    </a:lnTo>
                    <a:lnTo>
                      <a:pt x="1205" y="1339"/>
                    </a:lnTo>
                    <a:lnTo>
                      <a:pt x="1203" y="1339"/>
                    </a:lnTo>
                    <a:lnTo>
                      <a:pt x="1203" y="1337"/>
                    </a:lnTo>
                    <a:lnTo>
                      <a:pt x="1205" y="1337"/>
                    </a:lnTo>
                    <a:lnTo>
                      <a:pt x="1205" y="1339"/>
                    </a:lnTo>
                    <a:lnTo>
                      <a:pt x="1205" y="1340"/>
                    </a:lnTo>
                    <a:lnTo>
                      <a:pt x="1207" y="1340"/>
                    </a:lnTo>
                    <a:lnTo>
                      <a:pt x="1207" y="1342"/>
                    </a:lnTo>
                    <a:lnTo>
                      <a:pt x="1207" y="1340"/>
                    </a:lnTo>
                    <a:lnTo>
                      <a:pt x="1208" y="1340"/>
                    </a:lnTo>
                    <a:lnTo>
                      <a:pt x="1207" y="1340"/>
                    </a:lnTo>
                    <a:lnTo>
                      <a:pt x="1207" y="1339"/>
                    </a:lnTo>
                    <a:lnTo>
                      <a:pt x="1205" y="1339"/>
                    </a:lnTo>
                    <a:lnTo>
                      <a:pt x="1205" y="1337"/>
                    </a:lnTo>
                    <a:lnTo>
                      <a:pt x="1203" y="1335"/>
                    </a:lnTo>
                    <a:lnTo>
                      <a:pt x="1202" y="1335"/>
                    </a:lnTo>
                    <a:lnTo>
                      <a:pt x="1202" y="1333"/>
                    </a:lnTo>
                    <a:lnTo>
                      <a:pt x="1202" y="1332"/>
                    </a:lnTo>
                    <a:lnTo>
                      <a:pt x="1202" y="1330"/>
                    </a:lnTo>
                    <a:lnTo>
                      <a:pt x="1200" y="1330"/>
                    </a:lnTo>
                    <a:lnTo>
                      <a:pt x="1198" y="1330"/>
                    </a:lnTo>
                    <a:lnTo>
                      <a:pt x="1196" y="1330"/>
                    </a:lnTo>
                    <a:lnTo>
                      <a:pt x="1195" y="1328"/>
                    </a:lnTo>
                    <a:lnTo>
                      <a:pt x="1195" y="1330"/>
                    </a:lnTo>
                    <a:lnTo>
                      <a:pt x="1193" y="1328"/>
                    </a:lnTo>
                    <a:lnTo>
                      <a:pt x="1193" y="1327"/>
                    </a:lnTo>
                    <a:lnTo>
                      <a:pt x="1195" y="1327"/>
                    </a:lnTo>
                    <a:lnTo>
                      <a:pt x="1195" y="1325"/>
                    </a:lnTo>
                    <a:lnTo>
                      <a:pt x="1193" y="1325"/>
                    </a:lnTo>
                    <a:lnTo>
                      <a:pt x="1193" y="1323"/>
                    </a:lnTo>
                    <a:lnTo>
                      <a:pt x="1195" y="1323"/>
                    </a:lnTo>
                    <a:lnTo>
                      <a:pt x="1195" y="1322"/>
                    </a:lnTo>
                    <a:lnTo>
                      <a:pt x="1195" y="1320"/>
                    </a:lnTo>
                    <a:lnTo>
                      <a:pt x="1195" y="1318"/>
                    </a:lnTo>
                    <a:lnTo>
                      <a:pt x="1195" y="1316"/>
                    </a:lnTo>
                    <a:lnTo>
                      <a:pt x="1196" y="1316"/>
                    </a:lnTo>
                    <a:lnTo>
                      <a:pt x="1198" y="1316"/>
                    </a:lnTo>
                    <a:lnTo>
                      <a:pt x="1198" y="1318"/>
                    </a:lnTo>
                    <a:lnTo>
                      <a:pt x="1198" y="1320"/>
                    </a:lnTo>
                    <a:lnTo>
                      <a:pt x="1200" y="1320"/>
                    </a:lnTo>
                    <a:lnTo>
                      <a:pt x="1202" y="1320"/>
                    </a:lnTo>
                    <a:lnTo>
                      <a:pt x="1203" y="1320"/>
                    </a:lnTo>
                    <a:lnTo>
                      <a:pt x="1203" y="1322"/>
                    </a:lnTo>
                    <a:lnTo>
                      <a:pt x="1203" y="1323"/>
                    </a:lnTo>
                    <a:lnTo>
                      <a:pt x="1205" y="1323"/>
                    </a:lnTo>
                    <a:lnTo>
                      <a:pt x="1203" y="1323"/>
                    </a:lnTo>
                    <a:lnTo>
                      <a:pt x="1203" y="1322"/>
                    </a:lnTo>
                    <a:lnTo>
                      <a:pt x="1203" y="1320"/>
                    </a:lnTo>
                    <a:lnTo>
                      <a:pt x="1203" y="1322"/>
                    </a:lnTo>
                    <a:lnTo>
                      <a:pt x="1203" y="1320"/>
                    </a:lnTo>
                    <a:lnTo>
                      <a:pt x="1202" y="1320"/>
                    </a:lnTo>
                    <a:lnTo>
                      <a:pt x="1200" y="1320"/>
                    </a:lnTo>
                    <a:lnTo>
                      <a:pt x="1200" y="1318"/>
                    </a:lnTo>
                    <a:lnTo>
                      <a:pt x="1200" y="1316"/>
                    </a:lnTo>
                    <a:lnTo>
                      <a:pt x="1198" y="1316"/>
                    </a:lnTo>
                    <a:lnTo>
                      <a:pt x="1200" y="1318"/>
                    </a:lnTo>
                    <a:lnTo>
                      <a:pt x="1198" y="1318"/>
                    </a:lnTo>
                    <a:lnTo>
                      <a:pt x="1198" y="1316"/>
                    </a:lnTo>
                    <a:lnTo>
                      <a:pt x="1198" y="1315"/>
                    </a:lnTo>
                    <a:lnTo>
                      <a:pt x="1196" y="1315"/>
                    </a:lnTo>
                    <a:lnTo>
                      <a:pt x="1196" y="1313"/>
                    </a:lnTo>
                    <a:lnTo>
                      <a:pt x="1195" y="1313"/>
                    </a:lnTo>
                    <a:lnTo>
                      <a:pt x="1195" y="1315"/>
                    </a:lnTo>
                    <a:lnTo>
                      <a:pt x="1193" y="1315"/>
                    </a:lnTo>
                    <a:lnTo>
                      <a:pt x="1193" y="1313"/>
                    </a:lnTo>
                    <a:lnTo>
                      <a:pt x="1191" y="1313"/>
                    </a:lnTo>
                    <a:lnTo>
                      <a:pt x="1193" y="1315"/>
                    </a:lnTo>
                    <a:lnTo>
                      <a:pt x="1193" y="1316"/>
                    </a:lnTo>
                    <a:lnTo>
                      <a:pt x="1193" y="1318"/>
                    </a:lnTo>
                    <a:lnTo>
                      <a:pt x="1193" y="1320"/>
                    </a:lnTo>
                    <a:lnTo>
                      <a:pt x="1193" y="1322"/>
                    </a:lnTo>
                    <a:lnTo>
                      <a:pt x="1191" y="1322"/>
                    </a:lnTo>
                    <a:lnTo>
                      <a:pt x="1191" y="1323"/>
                    </a:lnTo>
                    <a:lnTo>
                      <a:pt x="1191" y="1325"/>
                    </a:lnTo>
                    <a:lnTo>
                      <a:pt x="1191" y="1327"/>
                    </a:lnTo>
                    <a:lnTo>
                      <a:pt x="1191" y="1328"/>
                    </a:lnTo>
                    <a:lnTo>
                      <a:pt x="1191" y="1330"/>
                    </a:lnTo>
                    <a:lnTo>
                      <a:pt x="1190" y="1330"/>
                    </a:lnTo>
                    <a:lnTo>
                      <a:pt x="1188" y="1330"/>
                    </a:lnTo>
                    <a:lnTo>
                      <a:pt x="1188" y="1328"/>
                    </a:lnTo>
                    <a:lnTo>
                      <a:pt x="1186" y="1327"/>
                    </a:lnTo>
                    <a:lnTo>
                      <a:pt x="1186" y="1325"/>
                    </a:lnTo>
                    <a:lnTo>
                      <a:pt x="1186" y="1323"/>
                    </a:lnTo>
                    <a:lnTo>
                      <a:pt x="1186" y="1325"/>
                    </a:lnTo>
                    <a:lnTo>
                      <a:pt x="1185" y="1325"/>
                    </a:lnTo>
                    <a:lnTo>
                      <a:pt x="1185" y="1323"/>
                    </a:lnTo>
                    <a:lnTo>
                      <a:pt x="1183" y="1323"/>
                    </a:lnTo>
                    <a:lnTo>
                      <a:pt x="1183" y="1322"/>
                    </a:lnTo>
                    <a:lnTo>
                      <a:pt x="1183" y="1323"/>
                    </a:lnTo>
                    <a:lnTo>
                      <a:pt x="1183" y="1322"/>
                    </a:lnTo>
                    <a:lnTo>
                      <a:pt x="1183" y="1320"/>
                    </a:lnTo>
                    <a:lnTo>
                      <a:pt x="1185" y="1320"/>
                    </a:lnTo>
                    <a:lnTo>
                      <a:pt x="1185" y="1318"/>
                    </a:lnTo>
                    <a:lnTo>
                      <a:pt x="1185" y="1316"/>
                    </a:lnTo>
                    <a:lnTo>
                      <a:pt x="1185" y="1315"/>
                    </a:lnTo>
                    <a:lnTo>
                      <a:pt x="1185" y="1313"/>
                    </a:lnTo>
                    <a:lnTo>
                      <a:pt x="1185" y="1311"/>
                    </a:lnTo>
                    <a:lnTo>
                      <a:pt x="1186" y="1311"/>
                    </a:lnTo>
                    <a:lnTo>
                      <a:pt x="1185" y="1311"/>
                    </a:lnTo>
                    <a:lnTo>
                      <a:pt x="1185" y="1310"/>
                    </a:lnTo>
                    <a:lnTo>
                      <a:pt x="1185" y="1308"/>
                    </a:lnTo>
                    <a:lnTo>
                      <a:pt x="1185" y="1306"/>
                    </a:lnTo>
                    <a:lnTo>
                      <a:pt x="1185" y="1305"/>
                    </a:lnTo>
                    <a:lnTo>
                      <a:pt x="1183" y="1306"/>
                    </a:lnTo>
                    <a:lnTo>
                      <a:pt x="1183" y="1308"/>
                    </a:lnTo>
                    <a:lnTo>
                      <a:pt x="1183" y="1306"/>
                    </a:lnTo>
                    <a:lnTo>
                      <a:pt x="1183" y="1305"/>
                    </a:lnTo>
                    <a:lnTo>
                      <a:pt x="1181" y="1303"/>
                    </a:lnTo>
                    <a:lnTo>
                      <a:pt x="1183" y="1303"/>
                    </a:lnTo>
                    <a:lnTo>
                      <a:pt x="1183" y="1301"/>
                    </a:lnTo>
                    <a:lnTo>
                      <a:pt x="1183" y="1303"/>
                    </a:lnTo>
                    <a:lnTo>
                      <a:pt x="1185" y="1301"/>
                    </a:lnTo>
                    <a:lnTo>
                      <a:pt x="1185" y="1299"/>
                    </a:lnTo>
                    <a:lnTo>
                      <a:pt x="1183" y="1299"/>
                    </a:lnTo>
                    <a:lnTo>
                      <a:pt x="1183" y="1298"/>
                    </a:lnTo>
                    <a:lnTo>
                      <a:pt x="1185" y="1299"/>
                    </a:lnTo>
                    <a:lnTo>
                      <a:pt x="1185" y="1298"/>
                    </a:lnTo>
                    <a:lnTo>
                      <a:pt x="1186" y="1299"/>
                    </a:lnTo>
                    <a:lnTo>
                      <a:pt x="1185" y="1298"/>
                    </a:lnTo>
                    <a:lnTo>
                      <a:pt x="1183" y="1298"/>
                    </a:lnTo>
                    <a:lnTo>
                      <a:pt x="1183" y="1296"/>
                    </a:lnTo>
                    <a:lnTo>
                      <a:pt x="1185" y="1296"/>
                    </a:lnTo>
                    <a:lnTo>
                      <a:pt x="1183" y="1296"/>
                    </a:lnTo>
                    <a:lnTo>
                      <a:pt x="1183" y="1294"/>
                    </a:lnTo>
                    <a:lnTo>
                      <a:pt x="1183" y="1293"/>
                    </a:lnTo>
                    <a:lnTo>
                      <a:pt x="1183" y="1291"/>
                    </a:lnTo>
                    <a:lnTo>
                      <a:pt x="1185" y="1291"/>
                    </a:lnTo>
                    <a:lnTo>
                      <a:pt x="1185" y="1289"/>
                    </a:lnTo>
                    <a:lnTo>
                      <a:pt x="1185" y="1288"/>
                    </a:lnTo>
                    <a:lnTo>
                      <a:pt x="1186" y="1288"/>
                    </a:lnTo>
                    <a:lnTo>
                      <a:pt x="1186" y="1289"/>
                    </a:lnTo>
                    <a:lnTo>
                      <a:pt x="1186" y="1288"/>
                    </a:lnTo>
                    <a:lnTo>
                      <a:pt x="1186" y="1289"/>
                    </a:lnTo>
                    <a:lnTo>
                      <a:pt x="1188" y="1289"/>
                    </a:lnTo>
                    <a:lnTo>
                      <a:pt x="1190" y="1289"/>
                    </a:lnTo>
                    <a:lnTo>
                      <a:pt x="1190" y="1288"/>
                    </a:lnTo>
                    <a:lnTo>
                      <a:pt x="1191" y="1288"/>
                    </a:lnTo>
                    <a:lnTo>
                      <a:pt x="1193" y="1288"/>
                    </a:lnTo>
                    <a:lnTo>
                      <a:pt x="1195" y="1289"/>
                    </a:lnTo>
                    <a:lnTo>
                      <a:pt x="1196" y="1288"/>
                    </a:lnTo>
                    <a:lnTo>
                      <a:pt x="1196" y="1289"/>
                    </a:lnTo>
                    <a:lnTo>
                      <a:pt x="1198" y="1288"/>
                    </a:lnTo>
                    <a:lnTo>
                      <a:pt x="1196" y="1288"/>
                    </a:lnTo>
                    <a:lnTo>
                      <a:pt x="1195" y="1288"/>
                    </a:lnTo>
                    <a:lnTo>
                      <a:pt x="1193" y="1288"/>
                    </a:lnTo>
                    <a:lnTo>
                      <a:pt x="1191" y="1286"/>
                    </a:lnTo>
                    <a:lnTo>
                      <a:pt x="1190" y="1288"/>
                    </a:lnTo>
                    <a:lnTo>
                      <a:pt x="1188" y="1288"/>
                    </a:lnTo>
                    <a:lnTo>
                      <a:pt x="1186" y="1288"/>
                    </a:lnTo>
                    <a:lnTo>
                      <a:pt x="1188" y="1286"/>
                    </a:lnTo>
                    <a:lnTo>
                      <a:pt x="1190" y="1286"/>
                    </a:lnTo>
                    <a:lnTo>
                      <a:pt x="1190" y="1284"/>
                    </a:lnTo>
                    <a:lnTo>
                      <a:pt x="1190" y="1286"/>
                    </a:lnTo>
                    <a:lnTo>
                      <a:pt x="1188" y="1286"/>
                    </a:lnTo>
                    <a:lnTo>
                      <a:pt x="1188" y="1284"/>
                    </a:lnTo>
                    <a:lnTo>
                      <a:pt x="1188" y="1286"/>
                    </a:lnTo>
                    <a:lnTo>
                      <a:pt x="1186" y="1286"/>
                    </a:lnTo>
                    <a:lnTo>
                      <a:pt x="1186" y="1284"/>
                    </a:lnTo>
                    <a:lnTo>
                      <a:pt x="1185" y="1286"/>
                    </a:lnTo>
                    <a:lnTo>
                      <a:pt x="1185" y="1284"/>
                    </a:lnTo>
                    <a:lnTo>
                      <a:pt x="1186" y="1284"/>
                    </a:lnTo>
                    <a:lnTo>
                      <a:pt x="1185" y="1282"/>
                    </a:lnTo>
                    <a:lnTo>
                      <a:pt x="1185" y="1281"/>
                    </a:lnTo>
                    <a:lnTo>
                      <a:pt x="1186" y="1281"/>
                    </a:lnTo>
                    <a:lnTo>
                      <a:pt x="1186" y="1279"/>
                    </a:lnTo>
                    <a:lnTo>
                      <a:pt x="1188" y="1279"/>
                    </a:lnTo>
                    <a:lnTo>
                      <a:pt x="1188" y="1277"/>
                    </a:lnTo>
                    <a:lnTo>
                      <a:pt x="1190" y="1279"/>
                    </a:lnTo>
                    <a:lnTo>
                      <a:pt x="1188" y="1277"/>
                    </a:lnTo>
                    <a:lnTo>
                      <a:pt x="1190" y="1277"/>
                    </a:lnTo>
                    <a:lnTo>
                      <a:pt x="1190" y="1276"/>
                    </a:lnTo>
                    <a:lnTo>
                      <a:pt x="1191" y="1276"/>
                    </a:lnTo>
                    <a:lnTo>
                      <a:pt x="1193" y="1276"/>
                    </a:lnTo>
                    <a:lnTo>
                      <a:pt x="1193" y="1277"/>
                    </a:lnTo>
                    <a:lnTo>
                      <a:pt x="1195" y="1277"/>
                    </a:lnTo>
                    <a:lnTo>
                      <a:pt x="1195" y="1279"/>
                    </a:lnTo>
                    <a:lnTo>
                      <a:pt x="1196" y="1279"/>
                    </a:lnTo>
                    <a:lnTo>
                      <a:pt x="1198" y="1281"/>
                    </a:lnTo>
                    <a:lnTo>
                      <a:pt x="1200" y="1282"/>
                    </a:lnTo>
                    <a:lnTo>
                      <a:pt x="1200" y="1281"/>
                    </a:lnTo>
                    <a:lnTo>
                      <a:pt x="1200" y="1279"/>
                    </a:lnTo>
                    <a:lnTo>
                      <a:pt x="1198" y="1279"/>
                    </a:lnTo>
                    <a:lnTo>
                      <a:pt x="1196" y="1279"/>
                    </a:lnTo>
                    <a:lnTo>
                      <a:pt x="1196" y="1277"/>
                    </a:lnTo>
                    <a:lnTo>
                      <a:pt x="1196" y="1276"/>
                    </a:lnTo>
                    <a:lnTo>
                      <a:pt x="1196" y="1274"/>
                    </a:lnTo>
                    <a:lnTo>
                      <a:pt x="1198" y="1272"/>
                    </a:lnTo>
                    <a:lnTo>
                      <a:pt x="1200" y="1274"/>
                    </a:lnTo>
                    <a:lnTo>
                      <a:pt x="1200" y="1272"/>
                    </a:lnTo>
                    <a:lnTo>
                      <a:pt x="1202" y="1272"/>
                    </a:lnTo>
                    <a:lnTo>
                      <a:pt x="1200" y="1272"/>
                    </a:lnTo>
                    <a:lnTo>
                      <a:pt x="1198" y="1272"/>
                    </a:lnTo>
                    <a:lnTo>
                      <a:pt x="1196" y="1272"/>
                    </a:lnTo>
                    <a:lnTo>
                      <a:pt x="1196" y="1270"/>
                    </a:lnTo>
                    <a:lnTo>
                      <a:pt x="1195" y="1270"/>
                    </a:lnTo>
                    <a:lnTo>
                      <a:pt x="1193" y="1270"/>
                    </a:lnTo>
                    <a:lnTo>
                      <a:pt x="1193" y="1269"/>
                    </a:lnTo>
                    <a:lnTo>
                      <a:pt x="1191" y="1269"/>
                    </a:lnTo>
                    <a:lnTo>
                      <a:pt x="1190" y="1269"/>
                    </a:lnTo>
                    <a:lnTo>
                      <a:pt x="1191" y="1267"/>
                    </a:lnTo>
                    <a:lnTo>
                      <a:pt x="1193" y="1267"/>
                    </a:lnTo>
                    <a:lnTo>
                      <a:pt x="1195" y="1267"/>
                    </a:lnTo>
                    <a:lnTo>
                      <a:pt x="1196" y="1267"/>
                    </a:lnTo>
                    <a:lnTo>
                      <a:pt x="1198" y="1267"/>
                    </a:lnTo>
                    <a:lnTo>
                      <a:pt x="1200" y="1267"/>
                    </a:lnTo>
                    <a:lnTo>
                      <a:pt x="1198" y="1267"/>
                    </a:lnTo>
                    <a:lnTo>
                      <a:pt x="1196" y="1267"/>
                    </a:lnTo>
                    <a:lnTo>
                      <a:pt x="1195" y="1267"/>
                    </a:lnTo>
                    <a:lnTo>
                      <a:pt x="1193" y="1267"/>
                    </a:lnTo>
                    <a:lnTo>
                      <a:pt x="1191" y="1267"/>
                    </a:lnTo>
                    <a:lnTo>
                      <a:pt x="1190" y="1267"/>
                    </a:lnTo>
                    <a:lnTo>
                      <a:pt x="1190" y="1269"/>
                    </a:lnTo>
                    <a:lnTo>
                      <a:pt x="1188" y="1269"/>
                    </a:lnTo>
                    <a:lnTo>
                      <a:pt x="1188" y="1267"/>
                    </a:lnTo>
                    <a:lnTo>
                      <a:pt x="1190" y="1267"/>
                    </a:lnTo>
                    <a:lnTo>
                      <a:pt x="1190" y="1265"/>
                    </a:lnTo>
                    <a:lnTo>
                      <a:pt x="1188" y="1264"/>
                    </a:lnTo>
                    <a:lnTo>
                      <a:pt x="1188" y="1265"/>
                    </a:lnTo>
                    <a:lnTo>
                      <a:pt x="1188" y="1264"/>
                    </a:lnTo>
                    <a:lnTo>
                      <a:pt x="1188" y="1262"/>
                    </a:lnTo>
                    <a:lnTo>
                      <a:pt x="1186" y="1262"/>
                    </a:lnTo>
                    <a:lnTo>
                      <a:pt x="1185" y="1262"/>
                    </a:lnTo>
                    <a:lnTo>
                      <a:pt x="1185" y="1260"/>
                    </a:lnTo>
                    <a:lnTo>
                      <a:pt x="1183" y="1260"/>
                    </a:lnTo>
                    <a:lnTo>
                      <a:pt x="1183" y="1259"/>
                    </a:lnTo>
                    <a:lnTo>
                      <a:pt x="1181" y="1259"/>
                    </a:lnTo>
                    <a:lnTo>
                      <a:pt x="1181" y="1257"/>
                    </a:lnTo>
                    <a:lnTo>
                      <a:pt x="1181" y="1255"/>
                    </a:lnTo>
                    <a:lnTo>
                      <a:pt x="1183" y="1255"/>
                    </a:lnTo>
                    <a:lnTo>
                      <a:pt x="1183" y="1253"/>
                    </a:lnTo>
                    <a:lnTo>
                      <a:pt x="1183" y="1255"/>
                    </a:lnTo>
                    <a:lnTo>
                      <a:pt x="1183" y="1253"/>
                    </a:lnTo>
                    <a:lnTo>
                      <a:pt x="1183" y="1252"/>
                    </a:lnTo>
                    <a:lnTo>
                      <a:pt x="1185" y="1252"/>
                    </a:lnTo>
                    <a:lnTo>
                      <a:pt x="1183" y="1252"/>
                    </a:lnTo>
                    <a:lnTo>
                      <a:pt x="1183" y="1253"/>
                    </a:lnTo>
                    <a:lnTo>
                      <a:pt x="1181" y="1253"/>
                    </a:lnTo>
                    <a:lnTo>
                      <a:pt x="1181" y="1255"/>
                    </a:lnTo>
                    <a:lnTo>
                      <a:pt x="1179" y="1255"/>
                    </a:lnTo>
                    <a:lnTo>
                      <a:pt x="1181" y="1255"/>
                    </a:lnTo>
                    <a:lnTo>
                      <a:pt x="1181" y="1253"/>
                    </a:lnTo>
                    <a:lnTo>
                      <a:pt x="1181" y="1255"/>
                    </a:lnTo>
                    <a:lnTo>
                      <a:pt x="1179" y="1255"/>
                    </a:lnTo>
                    <a:lnTo>
                      <a:pt x="1178" y="1257"/>
                    </a:lnTo>
                    <a:lnTo>
                      <a:pt x="1178" y="1255"/>
                    </a:lnTo>
                    <a:lnTo>
                      <a:pt x="1176" y="1255"/>
                    </a:lnTo>
                    <a:lnTo>
                      <a:pt x="1176" y="1253"/>
                    </a:lnTo>
                    <a:lnTo>
                      <a:pt x="1176" y="1255"/>
                    </a:lnTo>
                    <a:lnTo>
                      <a:pt x="1176" y="1253"/>
                    </a:lnTo>
                    <a:lnTo>
                      <a:pt x="1176" y="1252"/>
                    </a:lnTo>
                    <a:lnTo>
                      <a:pt x="1176" y="1250"/>
                    </a:lnTo>
                    <a:lnTo>
                      <a:pt x="1178" y="1250"/>
                    </a:lnTo>
                    <a:lnTo>
                      <a:pt x="1179" y="1248"/>
                    </a:lnTo>
                    <a:lnTo>
                      <a:pt x="1181" y="1248"/>
                    </a:lnTo>
                    <a:lnTo>
                      <a:pt x="1183" y="1250"/>
                    </a:lnTo>
                    <a:lnTo>
                      <a:pt x="1185" y="1250"/>
                    </a:lnTo>
                    <a:lnTo>
                      <a:pt x="1186" y="1252"/>
                    </a:lnTo>
                    <a:lnTo>
                      <a:pt x="1186" y="1253"/>
                    </a:lnTo>
                    <a:lnTo>
                      <a:pt x="1186" y="1252"/>
                    </a:lnTo>
                    <a:lnTo>
                      <a:pt x="1186" y="1253"/>
                    </a:lnTo>
                    <a:lnTo>
                      <a:pt x="1188" y="1255"/>
                    </a:lnTo>
                    <a:lnTo>
                      <a:pt x="1188" y="1257"/>
                    </a:lnTo>
                    <a:lnTo>
                      <a:pt x="1190" y="1259"/>
                    </a:lnTo>
                    <a:lnTo>
                      <a:pt x="1190" y="1260"/>
                    </a:lnTo>
                    <a:lnTo>
                      <a:pt x="1190" y="1262"/>
                    </a:lnTo>
                    <a:lnTo>
                      <a:pt x="1188" y="1262"/>
                    </a:lnTo>
                    <a:lnTo>
                      <a:pt x="1190" y="1262"/>
                    </a:lnTo>
                    <a:lnTo>
                      <a:pt x="1188" y="1264"/>
                    </a:lnTo>
                    <a:lnTo>
                      <a:pt x="1190" y="1264"/>
                    </a:lnTo>
                    <a:lnTo>
                      <a:pt x="1190" y="1262"/>
                    </a:lnTo>
                    <a:lnTo>
                      <a:pt x="1190" y="1260"/>
                    </a:lnTo>
                    <a:lnTo>
                      <a:pt x="1191" y="1262"/>
                    </a:lnTo>
                    <a:lnTo>
                      <a:pt x="1191" y="1264"/>
                    </a:lnTo>
                    <a:lnTo>
                      <a:pt x="1193" y="1262"/>
                    </a:lnTo>
                    <a:lnTo>
                      <a:pt x="1195" y="1262"/>
                    </a:lnTo>
                    <a:lnTo>
                      <a:pt x="1193" y="1262"/>
                    </a:lnTo>
                    <a:lnTo>
                      <a:pt x="1191" y="1264"/>
                    </a:lnTo>
                    <a:lnTo>
                      <a:pt x="1191" y="1262"/>
                    </a:lnTo>
                    <a:lnTo>
                      <a:pt x="1191" y="1260"/>
                    </a:lnTo>
                    <a:lnTo>
                      <a:pt x="1190" y="1260"/>
                    </a:lnTo>
                    <a:lnTo>
                      <a:pt x="1190" y="1259"/>
                    </a:lnTo>
                    <a:lnTo>
                      <a:pt x="1191" y="1259"/>
                    </a:lnTo>
                    <a:lnTo>
                      <a:pt x="1190" y="1259"/>
                    </a:lnTo>
                    <a:lnTo>
                      <a:pt x="1190" y="1257"/>
                    </a:lnTo>
                    <a:lnTo>
                      <a:pt x="1188" y="1255"/>
                    </a:lnTo>
                    <a:lnTo>
                      <a:pt x="1188" y="1253"/>
                    </a:lnTo>
                    <a:lnTo>
                      <a:pt x="1188" y="1252"/>
                    </a:lnTo>
                    <a:lnTo>
                      <a:pt x="1190" y="1252"/>
                    </a:lnTo>
                    <a:lnTo>
                      <a:pt x="1190" y="1250"/>
                    </a:lnTo>
                    <a:lnTo>
                      <a:pt x="1191" y="1250"/>
                    </a:lnTo>
                    <a:lnTo>
                      <a:pt x="1191" y="1252"/>
                    </a:lnTo>
                    <a:lnTo>
                      <a:pt x="1191" y="1253"/>
                    </a:lnTo>
                    <a:lnTo>
                      <a:pt x="1193" y="1253"/>
                    </a:lnTo>
                    <a:lnTo>
                      <a:pt x="1193" y="1255"/>
                    </a:lnTo>
                    <a:lnTo>
                      <a:pt x="1191" y="1253"/>
                    </a:lnTo>
                    <a:lnTo>
                      <a:pt x="1191" y="1252"/>
                    </a:lnTo>
                    <a:lnTo>
                      <a:pt x="1191" y="1250"/>
                    </a:lnTo>
                    <a:lnTo>
                      <a:pt x="1193" y="1250"/>
                    </a:lnTo>
                    <a:lnTo>
                      <a:pt x="1193" y="1252"/>
                    </a:lnTo>
                    <a:lnTo>
                      <a:pt x="1193" y="1250"/>
                    </a:lnTo>
                    <a:lnTo>
                      <a:pt x="1195" y="1250"/>
                    </a:lnTo>
                    <a:lnTo>
                      <a:pt x="1196" y="1250"/>
                    </a:lnTo>
                    <a:lnTo>
                      <a:pt x="1196" y="1252"/>
                    </a:lnTo>
                    <a:lnTo>
                      <a:pt x="1195" y="1252"/>
                    </a:lnTo>
                    <a:lnTo>
                      <a:pt x="1196" y="1252"/>
                    </a:lnTo>
                    <a:lnTo>
                      <a:pt x="1196" y="1253"/>
                    </a:lnTo>
                    <a:lnTo>
                      <a:pt x="1196" y="1252"/>
                    </a:lnTo>
                    <a:lnTo>
                      <a:pt x="1198" y="1252"/>
                    </a:lnTo>
                    <a:lnTo>
                      <a:pt x="1198" y="1253"/>
                    </a:lnTo>
                    <a:lnTo>
                      <a:pt x="1200" y="1253"/>
                    </a:lnTo>
                    <a:lnTo>
                      <a:pt x="1202" y="1252"/>
                    </a:lnTo>
                    <a:lnTo>
                      <a:pt x="1202" y="1253"/>
                    </a:lnTo>
                    <a:lnTo>
                      <a:pt x="1202" y="1252"/>
                    </a:lnTo>
                    <a:lnTo>
                      <a:pt x="1202" y="1253"/>
                    </a:lnTo>
                    <a:lnTo>
                      <a:pt x="1203" y="1253"/>
                    </a:lnTo>
                    <a:lnTo>
                      <a:pt x="1203" y="1255"/>
                    </a:lnTo>
                    <a:lnTo>
                      <a:pt x="1202" y="1255"/>
                    </a:lnTo>
                    <a:lnTo>
                      <a:pt x="1203" y="1257"/>
                    </a:lnTo>
                    <a:lnTo>
                      <a:pt x="1202" y="1257"/>
                    </a:lnTo>
                    <a:lnTo>
                      <a:pt x="1203" y="1257"/>
                    </a:lnTo>
                    <a:lnTo>
                      <a:pt x="1203" y="1255"/>
                    </a:lnTo>
                    <a:lnTo>
                      <a:pt x="1203" y="1253"/>
                    </a:lnTo>
                    <a:lnTo>
                      <a:pt x="1205" y="1253"/>
                    </a:lnTo>
                    <a:lnTo>
                      <a:pt x="1207" y="1253"/>
                    </a:lnTo>
                    <a:lnTo>
                      <a:pt x="1207" y="1255"/>
                    </a:lnTo>
                    <a:lnTo>
                      <a:pt x="1205" y="1255"/>
                    </a:lnTo>
                    <a:lnTo>
                      <a:pt x="1205" y="1257"/>
                    </a:lnTo>
                    <a:lnTo>
                      <a:pt x="1205" y="1259"/>
                    </a:lnTo>
                    <a:lnTo>
                      <a:pt x="1205" y="1257"/>
                    </a:lnTo>
                    <a:lnTo>
                      <a:pt x="1207" y="1255"/>
                    </a:lnTo>
                    <a:lnTo>
                      <a:pt x="1208" y="1257"/>
                    </a:lnTo>
                    <a:lnTo>
                      <a:pt x="1210" y="1257"/>
                    </a:lnTo>
                    <a:lnTo>
                      <a:pt x="1210" y="1259"/>
                    </a:lnTo>
                    <a:lnTo>
                      <a:pt x="1210" y="1257"/>
                    </a:lnTo>
                    <a:lnTo>
                      <a:pt x="1212" y="1259"/>
                    </a:lnTo>
                    <a:lnTo>
                      <a:pt x="1212" y="1260"/>
                    </a:lnTo>
                    <a:lnTo>
                      <a:pt x="1212" y="1262"/>
                    </a:lnTo>
                    <a:lnTo>
                      <a:pt x="1210" y="1262"/>
                    </a:lnTo>
                    <a:lnTo>
                      <a:pt x="1210" y="1264"/>
                    </a:lnTo>
                    <a:lnTo>
                      <a:pt x="1212" y="1262"/>
                    </a:lnTo>
                    <a:lnTo>
                      <a:pt x="1212" y="1260"/>
                    </a:lnTo>
                    <a:lnTo>
                      <a:pt x="1212" y="1262"/>
                    </a:lnTo>
                    <a:lnTo>
                      <a:pt x="1212" y="1264"/>
                    </a:lnTo>
                    <a:lnTo>
                      <a:pt x="1213" y="1264"/>
                    </a:lnTo>
                    <a:lnTo>
                      <a:pt x="1215" y="1264"/>
                    </a:lnTo>
                    <a:lnTo>
                      <a:pt x="1213" y="1262"/>
                    </a:lnTo>
                    <a:lnTo>
                      <a:pt x="1215" y="1260"/>
                    </a:lnTo>
                    <a:lnTo>
                      <a:pt x="1217" y="1260"/>
                    </a:lnTo>
                    <a:lnTo>
                      <a:pt x="1217" y="1262"/>
                    </a:lnTo>
                    <a:lnTo>
                      <a:pt x="1219" y="1262"/>
                    </a:lnTo>
                    <a:lnTo>
                      <a:pt x="1220" y="1262"/>
                    </a:lnTo>
                    <a:lnTo>
                      <a:pt x="1220" y="1260"/>
                    </a:lnTo>
                    <a:lnTo>
                      <a:pt x="1222" y="1260"/>
                    </a:lnTo>
                    <a:lnTo>
                      <a:pt x="1222" y="1259"/>
                    </a:lnTo>
                    <a:lnTo>
                      <a:pt x="1222" y="1257"/>
                    </a:lnTo>
                    <a:lnTo>
                      <a:pt x="1222" y="1255"/>
                    </a:lnTo>
                    <a:lnTo>
                      <a:pt x="1222" y="1253"/>
                    </a:lnTo>
                    <a:lnTo>
                      <a:pt x="1222" y="1252"/>
                    </a:lnTo>
                    <a:lnTo>
                      <a:pt x="1222" y="1253"/>
                    </a:lnTo>
                    <a:lnTo>
                      <a:pt x="1222" y="1255"/>
                    </a:lnTo>
                    <a:lnTo>
                      <a:pt x="1222" y="1257"/>
                    </a:lnTo>
                    <a:lnTo>
                      <a:pt x="1222" y="1259"/>
                    </a:lnTo>
                    <a:lnTo>
                      <a:pt x="1220" y="1260"/>
                    </a:lnTo>
                    <a:lnTo>
                      <a:pt x="1219" y="1260"/>
                    </a:lnTo>
                    <a:lnTo>
                      <a:pt x="1219" y="1259"/>
                    </a:lnTo>
                    <a:lnTo>
                      <a:pt x="1217" y="1259"/>
                    </a:lnTo>
                    <a:lnTo>
                      <a:pt x="1215" y="1259"/>
                    </a:lnTo>
                    <a:lnTo>
                      <a:pt x="1215" y="1257"/>
                    </a:lnTo>
                    <a:lnTo>
                      <a:pt x="1213" y="1255"/>
                    </a:lnTo>
                    <a:lnTo>
                      <a:pt x="1212" y="1255"/>
                    </a:lnTo>
                    <a:lnTo>
                      <a:pt x="1212" y="1253"/>
                    </a:lnTo>
                    <a:lnTo>
                      <a:pt x="1212" y="1252"/>
                    </a:lnTo>
                    <a:lnTo>
                      <a:pt x="1213" y="1252"/>
                    </a:lnTo>
                    <a:lnTo>
                      <a:pt x="1213" y="1250"/>
                    </a:lnTo>
                    <a:lnTo>
                      <a:pt x="1212" y="1250"/>
                    </a:lnTo>
                    <a:lnTo>
                      <a:pt x="1212" y="1252"/>
                    </a:lnTo>
                    <a:lnTo>
                      <a:pt x="1210" y="1252"/>
                    </a:lnTo>
                    <a:lnTo>
                      <a:pt x="1210" y="1250"/>
                    </a:lnTo>
                    <a:lnTo>
                      <a:pt x="1208" y="1248"/>
                    </a:lnTo>
                    <a:lnTo>
                      <a:pt x="1210" y="1248"/>
                    </a:lnTo>
                    <a:lnTo>
                      <a:pt x="1210" y="1247"/>
                    </a:lnTo>
                    <a:lnTo>
                      <a:pt x="1208" y="1247"/>
                    </a:lnTo>
                    <a:lnTo>
                      <a:pt x="1210" y="1245"/>
                    </a:lnTo>
                    <a:lnTo>
                      <a:pt x="1212" y="1245"/>
                    </a:lnTo>
                    <a:lnTo>
                      <a:pt x="1213" y="1245"/>
                    </a:lnTo>
                    <a:lnTo>
                      <a:pt x="1213" y="1247"/>
                    </a:lnTo>
                    <a:lnTo>
                      <a:pt x="1213" y="1248"/>
                    </a:lnTo>
                    <a:lnTo>
                      <a:pt x="1215" y="1248"/>
                    </a:lnTo>
                    <a:lnTo>
                      <a:pt x="1215" y="1250"/>
                    </a:lnTo>
                    <a:lnTo>
                      <a:pt x="1217" y="1250"/>
                    </a:lnTo>
                    <a:lnTo>
                      <a:pt x="1219" y="1250"/>
                    </a:lnTo>
                    <a:lnTo>
                      <a:pt x="1220" y="1248"/>
                    </a:lnTo>
                    <a:lnTo>
                      <a:pt x="1220" y="1250"/>
                    </a:lnTo>
                    <a:lnTo>
                      <a:pt x="1222" y="1250"/>
                    </a:lnTo>
                    <a:lnTo>
                      <a:pt x="1224" y="1250"/>
                    </a:lnTo>
                    <a:lnTo>
                      <a:pt x="1222" y="1248"/>
                    </a:lnTo>
                    <a:lnTo>
                      <a:pt x="1220" y="1248"/>
                    </a:lnTo>
                    <a:lnTo>
                      <a:pt x="1219" y="1248"/>
                    </a:lnTo>
                    <a:lnTo>
                      <a:pt x="1217" y="1248"/>
                    </a:lnTo>
                    <a:lnTo>
                      <a:pt x="1215" y="1248"/>
                    </a:lnTo>
                    <a:lnTo>
                      <a:pt x="1213" y="1248"/>
                    </a:lnTo>
                    <a:lnTo>
                      <a:pt x="1213" y="1247"/>
                    </a:lnTo>
                    <a:lnTo>
                      <a:pt x="1215" y="1247"/>
                    </a:lnTo>
                    <a:lnTo>
                      <a:pt x="1213" y="1245"/>
                    </a:lnTo>
                    <a:lnTo>
                      <a:pt x="1215" y="1245"/>
                    </a:lnTo>
                    <a:lnTo>
                      <a:pt x="1215" y="1243"/>
                    </a:lnTo>
                    <a:lnTo>
                      <a:pt x="1215" y="1245"/>
                    </a:lnTo>
                    <a:lnTo>
                      <a:pt x="1213" y="1245"/>
                    </a:lnTo>
                    <a:lnTo>
                      <a:pt x="1213" y="1243"/>
                    </a:lnTo>
                    <a:lnTo>
                      <a:pt x="1212" y="1243"/>
                    </a:lnTo>
                    <a:lnTo>
                      <a:pt x="1212" y="1242"/>
                    </a:lnTo>
                    <a:lnTo>
                      <a:pt x="1210" y="1242"/>
                    </a:lnTo>
                    <a:lnTo>
                      <a:pt x="1212" y="1242"/>
                    </a:lnTo>
                    <a:lnTo>
                      <a:pt x="1212" y="1240"/>
                    </a:lnTo>
                    <a:lnTo>
                      <a:pt x="1210" y="1240"/>
                    </a:lnTo>
                    <a:lnTo>
                      <a:pt x="1208" y="1240"/>
                    </a:lnTo>
                    <a:lnTo>
                      <a:pt x="1207" y="1240"/>
                    </a:lnTo>
                    <a:lnTo>
                      <a:pt x="1207" y="1238"/>
                    </a:lnTo>
                    <a:lnTo>
                      <a:pt x="1207" y="1236"/>
                    </a:lnTo>
                    <a:lnTo>
                      <a:pt x="1207" y="1235"/>
                    </a:lnTo>
                    <a:lnTo>
                      <a:pt x="1208" y="1233"/>
                    </a:lnTo>
                    <a:lnTo>
                      <a:pt x="1210" y="1231"/>
                    </a:lnTo>
                    <a:lnTo>
                      <a:pt x="1208" y="1231"/>
                    </a:lnTo>
                    <a:lnTo>
                      <a:pt x="1208" y="1233"/>
                    </a:lnTo>
                    <a:lnTo>
                      <a:pt x="1207" y="1233"/>
                    </a:lnTo>
                    <a:lnTo>
                      <a:pt x="1208" y="1233"/>
                    </a:lnTo>
                    <a:lnTo>
                      <a:pt x="1207" y="1233"/>
                    </a:lnTo>
                    <a:lnTo>
                      <a:pt x="1207" y="1235"/>
                    </a:lnTo>
                    <a:lnTo>
                      <a:pt x="1205" y="1235"/>
                    </a:lnTo>
                    <a:lnTo>
                      <a:pt x="1205" y="1236"/>
                    </a:lnTo>
                    <a:lnTo>
                      <a:pt x="1205" y="1238"/>
                    </a:lnTo>
                    <a:lnTo>
                      <a:pt x="1207" y="1238"/>
                    </a:lnTo>
                    <a:lnTo>
                      <a:pt x="1207" y="1240"/>
                    </a:lnTo>
                    <a:lnTo>
                      <a:pt x="1205" y="1240"/>
                    </a:lnTo>
                    <a:lnTo>
                      <a:pt x="1205" y="1242"/>
                    </a:lnTo>
                    <a:lnTo>
                      <a:pt x="1203" y="1242"/>
                    </a:lnTo>
                    <a:lnTo>
                      <a:pt x="1202" y="1242"/>
                    </a:lnTo>
                    <a:lnTo>
                      <a:pt x="1202" y="1243"/>
                    </a:lnTo>
                    <a:lnTo>
                      <a:pt x="1200" y="1243"/>
                    </a:lnTo>
                    <a:lnTo>
                      <a:pt x="1200" y="1242"/>
                    </a:lnTo>
                    <a:lnTo>
                      <a:pt x="1198" y="1242"/>
                    </a:lnTo>
                    <a:lnTo>
                      <a:pt x="1196" y="1242"/>
                    </a:lnTo>
                    <a:lnTo>
                      <a:pt x="1196" y="1240"/>
                    </a:lnTo>
                    <a:lnTo>
                      <a:pt x="1196" y="1238"/>
                    </a:lnTo>
                    <a:lnTo>
                      <a:pt x="1195" y="1240"/>
                    </a:lnTo>
                    <a:lnTo>
                      <a:pt x="1193" y="1240"/>
                    </a:lnTo>
                    <a:lnTo>
                      <a:pt x="1191" y="1240"/>
                    </a:lnTo>
                    <a:lnTo>
                      <a:pt x="1190" y="1240"/>
                    </a:lnTo>
                    <a:lnTo>
                      <a:pt x="1188" y="1240"/>
                    </a:lnTo>
                    <a:lnTo>
                      <a:pt x="1186" y="1240"/>
                    </a:lnTo>
                    <a:lnTo>
                      <a:pt x="1185" y="1240"/>
                    </a:lnTo>
                    <a:lnTo>
                      <a:pt x="1185" y="1238"/>
                    </a:lnTo>
                    <a:lnTo>
                      <a:pt x="1186" y="1238"/>
                    </a:lnTo>
                    <a:lnTo>
                      <a:pt x="1186" y="1240"/>
                    </a:lnTo>
                    <a:lnTo>
                      <a:pt x="1188" y="1240"/>
                    </a:lnTo>
                    <a:lnTo>
                      <a:pt x="1186" y="1238"/>
                    </a:lnTo>
                    <a:lnTo>
                      <a:pt x="1185" y="1238"/>
                    </a:lnTo>
                    <a:lnTo>
                      <a:pt x="1183" y="1238"/>
                    </a:lnTo>
                    <a:lnTo>
                      <a:pt x="1181" y="1238"/>
                    </a:lnTo>
                    <a:lnTo>
                      <a:pt x="1181" y="1240"/>
                    </a:lnTo>
                    <a:lnTo>
                      <a:pt x="1179" y="1240"/>
                    </a:lnTo>
                    <a:lnTo>
                      <a:pt x="1179" y="1238"/>
                    </a:lnTo>
                    <a:lnTo>
                      <a:pt x="1181" y="1238"/>
                    </a:lnTo>
                    <a:lnTo>
                      <a:pt x="1179" y="1238"/>
                    </a:lnTo>
                    <a:lnTo>
                      <a:pt x="1179" y="1240"/>
                    </a:lnTo>
                    <a:lnTo>
                      <a:pt x="1178" y="1240"/>
                    </a:lnTo>
                    <a:lnTo>
                      <a:pt x="1176" y="1240"/>
                    </a:lnTo>
                    <a:lnTo>
                      <a:pt x="1174" y="1238"/>
                    </a:lnTo>
                    <a:lnTo>
                      <a:pt x="1176" y="1238"/>
                    </a:lnTo>
                    <a:lnTo>
                      <a:pt x="1176" y="1236"/>
                    </a:lnTo>
                    <a:lnTo>
                      <a:pt x="1178" y="1236"/>
                    </a:lnTo>
                    <a:lnTo>
                      <a:pt x="1176" y="1236"/>
                    </a:lnTo>
                    <a:lnTo>
                      <a:pt x="1176" y="1238"/>
                    </a:lnTo>
                    <a:lnTo>
                      <a:pt x="1174" y="1238"/>
                    </a:lnTo>
                    <a:lnTo>
                      <a:pt x="1173" y="1238"/>
                    </a:lnTo>
                    <a:lnTo>
                      <a:pt x="1173" y="1236"/>
                    </a:lnTo>
                    <a:lnTo>
                      <a:pt x="1174" y="1235"/>
                    </a:lnTo>
                    <a:lnTo>
                      <a:pt x="1174" y="1233"/>
                    </a:lnTo>
                    <a:lnTo>
                      <a:pt x="1176" y="1233"/>
                    </a:lnTo>
                    <a:lnTo>
                      <a:pt x="1176" y="1231"/>
                    </a:lnTo>
                    <a:lnTo>
                      <a:pt x="1178" y="1233"/>
                    </a:lnTo>
                    <a:lnTo>
                      <a:pt x="1178" y="1231"/>
                    </a:lnTo>
                    <a:lnTo>
                      <a:pt x="1178" y="1233"/>
                    </a:lnTo>
                    <a:lnTo>
                      <a:pt x="1178" y="1231"/>
                    </a:lnTo>
                    <a:lnTo>
                      <a:pt x="1176" y="1231"/>
                    </a:lnTo>
                    <a:lnTo>
                      <a:pt x="1176" y="1230"/>
                    </a:lnTo>
                    <a:lnTo>
                      <a:pt x="1178" y="1230"/>
                    </a:lnTo>
                    <a:lnTo>
                      <a:pt x="1178" y="1228"/>
                    </a:lnTo>
                    <a:lnTo>
                      <a:pt x="1179" y="1228"/>
                    </a:lnTo>
                    <a:lnTo>
                      <a:pt x="1181" y="1228"/>
                    </a:lnTo>
                    <a:lnTo>
                      <a:pt x="1179" y="1230"/>
                    </a:lnTo>
                    <a:lnTo>
                      <a:pt x="1181" y="1230"/>
                    </a:lnTo>
                    <a:lnTo>
                      <a:pt x="1181" y="1231"/>
                    </a:lnTo>
                    <a:lnTo>
                      <a:pt x="1181" y="1230"/>
                    </a:lnTo>
                    <a:lnTo>
                      <a:pt x="1181" y="1228"/>
                    </a:lnTo>
                    <a:lnTo>
                      <a:pt x="1183" y="1228"/>
                    </a:lnTo>
                    <a:lnTo>
                      <a:pt x="1185" y="1228"/>
                    </a:lnTo>
                    <a:lnTo>
                      <a:pt x="1185" y="1230"/>
                    </a:lnTo>
                    <a:lnTo>
                      <a:pt x="1185" y="1231"/>
                    </a:lnTo>
                    <a:lnTo>
                      <a:pt x="1185" y="1230"/>
                    </a:lnTo>
                    <a:lnTo>
                      <a:pt x="1186" y="1231"/>
                    </a:lnTo>
                    <a:lnTo>
                      <a:pt x="1186" y="1233"/>
                    </a:lnTo>
                    <a:lnTo>
                      <a:pt x="1185" y="1233"/>
                    </a:lnTo>
                    <a:lnTo>
                      <a:pt x="1185" y="1235"/>
                    </a:lnTo>
                    <a:lnTo>
                      <a:pt x="1185" y="1233"/>
                    </a:lnTo>
                    <a:lnTo>
                      <a:pt x="1185" y="1231"/>
                    </a:lnTo>
                    <a:lnTo>
                      <a:pt x="1185" y="1233"/>
                    </a:lnTo>
                    <a:lnTo>
                      <a:pt x="1183" y="1233"/>
                    </a:lnTo>
                    <a:lnTo>
                      <a:pt x="1183" y="1235"/>
                    </a:lnTo>
                    <a:lnTo>
                      <a:pt x="1181" y="1235"/>
                    </a:lnTo>
                    <a:lnTo>
                      <a:pt x="1179" y="1235"/>
                    </a:lnTo>
                    <a:lnTo>
                      <a:pt x="1179" y="1233"/>
                    </a:lnTo>
                    <a:lnTo>
                      <a:pt x="1178" y="1233"/>
                    </a:lnTo>
                    <a:lnTo>
                      <a:pt x="1179" y="1233"/>
                    </a:lnTo>
                    <a:lnTo>
                      <a:pt x="1178" y="1235"/>
                    </a:lnTo>
                    <a:lnTo>
                      <a:pt x="1179" y="1235"/>
                    </a:lnTo>
                    <a:lnTo>
                      <a:pt x="1179" y="1236"/>
                    </a:lnTo>
                    <a:lnTo>
                      <a:pt x="1181" y="1235"/>
                    </a:lnTo>
                    <a:lnTo>
                      <a:pt x="1183" y="1235"/>
                    </a:lnTo>
                    <a:lnTo>
                      <a:pt x="1185" y="1235"/>
                    </a:lnTo>
                    <a:lnTo>
                      <a:pt x="1186" y="1233"/>
                    </a:lnTo>
                    <a:lnTo>
                      <a:pt x="1186" y="1235"/>
                    </a:lnTo>
                    <a:lnTo>
                      <a:pt x="1186" y="1233"/>
                    </a:lnTo>
                    <a:lnTo>
                      <a:pt x="1188" y="1235"/>
                    </a:lnTo>
                    <a:lnTo>
                      <a:pt x="1186" y="1235"/>
                    </a:lnTo>
                    <a:lnTo>
                      <a:pt x="1186" y="1236"/>
                    </a:lnTo>
                    <a:lnTo>
                      <a:pt x="1188" y="1236"/>
                    </a:lnTo>
                    <a:lnTo>
                      <a:pt x="1188" y="1238"/>
                    </a:lnTo>
                    <a:lnTo>
                      <a:pt x="1190" y="1238"/>
                    </a:lnTo>
                    <a:lnTo>
                      <a:pt x="1191" y="1238"/>
                    </a:lnTo>
                    <a:lnTo>
                      <a:pt x="1191" y="1240"/>
                    </a:lnTo>
                    <a:lnTo>
                      <a:pt x="1191" y="1238"/>
                    </a:lnTo>
                    <a:lnTo>
                      <a:pt x="1193" y="1238"/>
                    </a:lnTo>
                    <a:lnTo>
                      <a:pt x="1195" y="1238"/>
                    </a:lnTo>
                    <a:lnTo>
                      <a:pt x="1193" y="1238"/>
                    </a:lnTo>
                    <a:lnTo>
                      <a:pt x="1191" y="1238"/>
                    </a:lnTo>
                    <a:lnTo>
                      <a:pt x="1190" y="1238"/>
                    </a:lnTo>
                    <a:lnTo>
                      <a:pt x="1190" y="1236"/>
                    </a:lnTo>
                    <a:lnTo>
                      <a:pt x="1188" y="1236"/>
                    </a:lnTo>
                    <a:lnTo>
                      <a:pt x="1188" y="1235"/>
                    </a:lnTo>
                    <a:lnTo>
                      <a:pt x="1188" y="1233"/>
                    </a:lnTo>
                    <a:lnTo>
                      <a:pt x="1190" y="1233"/>
                    </a:lnTo>
                    <a:lnTo>
                      <a:pt x="1191" y="1233"/>
                    </a:lnTo>
                    <a:lnTo>
                      <a:pt x="1193" y="1235"/>
                    </a:lnTo>
                    <a:lnTo>
                      <a:pt x="1195" y="1235"/>
                    </a:lnTo>
                    <a:lnTo>
                      <a:pt x="1193" y="1233"/>
                    </a:lnTo>
                    <a:lnTo>
                      <a:pt x="1195" y="1233"/>
                    </a:lnTo>
                    <a:lnTo>
                      <a:pt x="1193" y="1233"/>
                    </a:lnTo>
                    <a:lnTo>
                      <a:pt x="1191" y="1233"/>
                    </a:lnTo>
                    <a:lnTo>
                      <a:pt x="1190" y="1233"/>
                    </a:lnTo>
                    <a:lnTo>
                      <a:pt x="1188" y="1233"/>
                    </a:lnTo>
                    <a:lnTo>
                      <a:pt x="1190" y="1233"/>
                    </a:lnTo>
                    <a:lnTo>
                      <a:pt x="1188" y="1233"/>
                    </a:lnTo>
                    <a:lnTo>
                      <a:pt x="1188" y="1231"/>
                    </a:lnTo>
                    <a:lnTo>
                      <a:pt x="1190" y="1231"/>
                    </a:lnTo>
                    <a:lnTo>
                      <a:pt x="1191" y="1231"/>
                    </a:lnTo>
                    <a:lnTo>
                      <a:pt x="1193" y="1231"/>
                    </a:lnTo>
                    <a:lnTo>
                      <a:pt x="1195" y="1231"/>
                    </a:lnTo>
                    <a:lnTo>
                      <a:pt x="1196" y="1231"/>
                    </a:lnTo>
                    <a:lnTo>
                      <a:pt x="1198" y="1231"/>
                    </a:lnTo>
                    <a:lnTo>
                      <a:pt x="1198" y="1230"/>
                    </a:lnTo>
                    <a:lnTo>
                      <a:pt x="1198" y="1231"/>
                    </a:lnTo>
                    <a:lnTo>
                      <a:pt x="1196" y="1231"/>
                    </a:lnTo>
                    <a:lnTo>
                      <a:pt x="1195" y="1231"/>
                    </a:lnTo>
                    <a:lnTo>
                      <a:pt x="1193" y="1231"/>
                    </a:lnTo>
                    <a:lnTo>
                      <a:pt x="1193" y="1230"/>
                    </a:lnTo>
                    <a:lnTo>
                      <a:pt x="1195" y="1230"/>
                    </a:lnTo>
                    <a:lnTo>
                      <a:pt x="1195" y="1228"/>
                    </a:lnTo>
                    <a:lnTo>
                      <a:pt x="1196" y="1228"/>
                    </a:lnTo>
                    <a:lnTo>
                      <a:pt x="1198" y="1226"/>
                    </a:lnTo>
                    <a:lnTo>
                      <a:pt x="1200" y="1226"/>
                    </a:lnTo>
                    <a:lnTo>
                      <a:pt x="1198" y="1226"/>
                    </a:lnTo>
                    <a:lnTo>
                      <a:pt x="1196" y="1226"/>
                    </a:lnTo>
                    <a:lnTo>
                      <a:pt x="1195" y="1226"/>
                    </a:lnTo>
                    <a:lnTo>
                      <a:pt x="1195" y="1228"/>
                    </a:lnTo>
                    <a:lnTo>
                      <a:pt x="1193" y="1230"/>
                    </a:lnTo>
                    <a:lnTo>
                      <a:pt x="1191" y="1230"/>
                    </a:lnTo>
                    <a:lnTo>
                      <a:pt x="1190" y="1230"/>
                    </a:lnTo>
                    <a:lnTo>
                      <a:pt x="1188" y="1230"/>
                    </a:lnTo>
                    <a:lnTo>
                      <a:pt x="1188" y="1231"/>
                    </a:lnTo>
                    <a:lnTo>
                      <a:pt x="1186" y="1231"/>
                    </a:lnTo>
                    <a:lnTo>
                      <a:pt x="1186" y="1230"/>
                    </a:lnTo>
                    <a:lnTo>
                      <a:pt x="1186" y="1228"/>
                    </a:lnTo>
                    <a:lnTo>
                      <a:pt x="1186" y="1226"/>
                    </a:lnTo>
                    <a:lnTo>
                      <a:pt x="1188" y="1226"/>
                    </a:lnTo>
                    <a:lnTo>
                      <a:pt x="1190" y="1226"/>
                    </a:lnTo>
                    <a:lnTo>
                      <a:pt x="1191" y="1226"/>
                    </a:lnTo>
                    <a:lnTo>
                      <a:pt x="1193" y="1225"/>
                    </a:lnTo>
                    <a:lnTo>
                      <a:pt x="1195" y="1225"/>
                    </a:lnTo>
                    <a:lnTo>
                      <a:pt x="1195" y="1223"/>
                    </a:lnTo>
                    <a:lnTo>
                      <a:pt x="1193" y="1223"/>
                    </a:lnTo>
                    <a:lnTo>
                      <a:pt x="1193" y="1225"/>
                    </a:lnTo>
                    <a:lnTo>
                      <a:pt x="1191" y="1225"/>
                    </a:lnTo>
                    <a:lnTo>
                      <a:pt x="1191" y="1226"/>
                    </a:lnTo>
                    <a:lnTo>
                      <a:pt x="1190" y="1225"/>
                    </a:lnTo>
                    <a:lnTo>
                      <a:pt x="1190" y="1226"/>
                    </a:lnTo>
                    <a:lnTo>
                      <a:pt x="1188" y="1226"/>
                    </a:lnTo>
                    <a:lnTo>
                      <a:pt x="1186" y="1226"/>
                    </a:lnTo>
                    <a:lnTo>
                      <a:pt x="1185" y="1226"/>
                    </a:lnTo>
                    <a:lnTo>
                      <a:pt x="1183" y="1226"/>
                    </a:lnTo>
                    <a:lnTo>
                      <a:pt x="1185" y="1226"/>
                    </a:lnTo>
                    <a:lnTo>
                      <a:pt x="1185" y="1228"/>
                    </a:lnTo>
                    <a:lnTo>
                      <a:pt x="1186" y="1226"/>
                    </a:lnTo>
                    <a:lnTo>
                      <a:pt x="1186" y="1228"/>
                    </a:lnTo>
                    <a:lnTo>
                      <a:pt x="1185" y="1228"/>
                    </a:lnTo>
                    <a:lnTo>
                      <a:pt x="1183" y="1226"/>
                    </a:lnTo>
                    <a:lnTo>
                      <a:pt x="1181" y="1225"/>
                    </a:lnTo>
                    <a:lnTo>
                      <a:pt x="1183" y="1225"/>
                    </a:lnTo>
                    <a:lnTo>
                      <a:pt x="1183" y="1223"/>
                    </a:lnTo>
                    <a:lnTo>
                      <a:pt x="1183" y="1225"/>
                    </a:lnTo>
                    <a:lnTo>
                      <a:pt x="1185" y="1223"/>
                    </a:lnTo>
                    <a:lnTo>
                      <a:pt x="1185" y="1225"/>
                    </a:lnTo>
                    <a:lnTo>
                      <a:pt x="1186" y="1225"/>
                    </a:lnTo>
                    <a:lnTo>
                      <a:pt x="1186" y="1223"/>
                    </a:lnTo>
                    <a:lnTo>
                      <a:pt x="1188" y="1223"/>
                    </a:lnTo>
                    <a:lnTo>
                      <a:pt x="1188" y="1221"/>
                    </a:lnTo>
                    <a:lnTo>
                      <a:pt x="1188" y="1223"/>
                    </a:lnTo>
                    <a:lnTo>
                      <a:pt x="1186" y="1223"/>
                    </a:lnTo>
                    <a:lnTo>
                      <a:pt x="1185" y="1223"/>
                    </a:lnTo>
                    <a:lnTo>
                      <a:pt x="1183" y="1223"/>
                    </a:lnTo>
                    <a:lnTo>
                      <a:pt x="1183" y="1221"/>
                    </a:lnTo>
                    <a:lnTo>
                      <a:pt x="1181" y="1223"/>
                    </a:lnTo>
                    <a:lnTo>
                      <a:pt x="1181" y="1225"/>
                    </a:lnTo>
                    <a:lnTo>
                      <a:pt x="1179" y="1223"/>
                    </a:lnTo>
                    <a:lnTo>
                      <a:pt x="1181" y="1223"/>
                    </a:lnTo>
                    <a:lnTo>
                      <a:pt x="1179" y="1223"/>
                    </a:lnTo>
                    <a:lnTo>
                      <a:pt x="1179" y="1221"/>
                    </a:lnTo>
                    <a:lnTo>
                      <a:pt x="1181" y="1221"/>
                    </a:lnTo>
                    <a:lnTo>
                      <a:pt x="1181" y="1219"/>
                    </a:lnTo>
                    <a:lnTo>
                      <a:pt x="1181" y="1218"/>
                    </a:lnTo>
                    <a:lnTo>
                      <a:pt x="1183" y="1218"/>
                    </a:lnTo>
                    <a:lnTo>
                      <a:pt x="1183" y="1216"/>
                    </a:lnTo>
                    <a:lnTo>
                      <a:pt x="1185" y="1216"/>
                    </a:lnTo>
                    <a:lnTo>
                      <a:pt x="1185" y="1214"/>
                    </a:lnTo>
                    <a:lnTo>
                      <a:pt x="1186" y="1214"/>
                    </a:lnTo>
                    <a:lnTo>
                      <a:pt x="1186" y="1213"/>
                    </a:lnTo>
                    <a:lnTo>
                      <a:pt x="1186" y="1211"/>
                    </a:lnTo>
                    <a:lnTo>
                      <a:pt x="1188" y="1211"/>
                    </a:lnTo>
                    <a:lnTo>
                      <a:pt x="1188" y="1213"/>
                    </a:lnTo>
                    <a:lnTo>
                      <a:pt x="1190" y="1213"/>
                    </a:lnTo>
                    <a:lnTo>
                      <a:pt x="1188" y="1213"/>
                    </a:lnTo>
                    <a:lnTo>
                      <a:pt x="1188" y="1211"/>
                    </a:lnTo>
                    <a:lnTo>
                      <a:pt x="1190" y="1211"/>
                    </a:lnTo>
                    <a:lnTo>
                      <a:pt x="1190" y="1213"/>
                    </a:lnTo>
                    <a:lnTo>
                      <a:pt x="1190" y="1214"/>
                    </a:lnTo>
                    <a:lnTo>
                      <a:pt x="1190" y="1216"/>
                    </a:lnTo>
                    <a:lnTo>
                      <a:pt x="1190" y="1218"/>
                    </a:lnTo>
                    <a:lnTo>
                      <a:pt x="1190" y="1219"/>
                    </a:lnTo>
                    <a:lnTo>
                      <a:pt x="1191" y="1219"/>
                    </a:lnTo>
                    <a:lnTo>
                      <a:pt x="1190" y="1218"/>
                    </a:lnTo>
                    <a:lnTo>
                      <a:pt x="1190" y="1216"/>
                    </a:lnTo>
                    <a:lnTo>
                      <a:pt x="1191" y="1214"/>
                    </a:lnTo>
                    <a:lnTo>
                      <a:pt x="1190" y="1213"/>
                    </a:lnTo>
                    <a:lnTo>
                      <a:pt x="1191" y="1211"/>
                    </a:lnTo>
                    <a:lnTo>
                      <a:pt x="1190" y="1213"/>
                    </a:lnTo>
                    <a:lnTo>
                      <a:pt x="1190" y="1211"/>
                    </a:lnTo>
                    <a:lnTo>
                      <a:pt x="1191" y="1211"/>
                    </a:lnTo>
                    <a:lnTo>
                      <a:pt x="1193" y="1211"/>
                    </a:lnTo>
                    <a:lnTo>
                      <a:pt x="1193" y="1213"/>
                    </a:lnTo>
                    <a:lnTo>
                      <a:pt x="1193" y="1214"/>
                    </a:lnTo>
                    <a:lnTo>
                      <a:pt x="1195" y="1214"/>
                    </a:lnTo>
                    <a:lnTo>
                      <a:pt x="1193" y="1214"/>
                    </a:lnTo>
                    <a:lnTo>
                      <a:pt x="1193" y="1213"/>
                    </a:lnTo>
                    <a:lnTo>
                      <a:pt x="1193" y="1211"/>
                    </a:lnTo>
                    <a:lnTo>
                      <a:pt x="1195" y="1211"/>
                    </a:lnTo>
                    <a:lnTo>
                      <a:pt x="1195" y="1209"/>
                    </a:lnTo>
                    <a:lnTo>
                      <a:pt x="1196" y="1209"/>
                    </a:lnTo>
                    <a:lnTo>
                      <a:pt x="1195" y="1211"/>
                    </a:lnTo>
                    <a:lnTo>
                      <a:pt x="1196" y="1211"/>
                    </a:lnTo>
                    <a:lnTo>
                      <a:pt x="1195" y="1213"/>
                    </a:lnTo>
                    <a:lnTo>
                      <a:pt x="1196" y="1213"/>
                    </a:lnTo>
                    <a:lnTo>
                      <a:pt x="1196" y="1211"/>
                    </a:lnTo>
                    <a:lnTo>
                      <a:pt x="1196" y="1209"/>
                    </a:lnTo>
                    <a:lnTo>
                      <a:pt x="1196" y="1208"/>
                    </a:lnTo>
                    <a:lnTo>
                      <a:pt x="1196" y="1206"/>
                    </a:lnTo>
                    <a:lnTo>
                      <a:pt x="1196" y="1208"/>
                    </a:lnTo>
                    <a:lnTo>
                      <a:pt x="1195" y="1208"/>
                    </a:lnTo>
                    <a:lnTo>
                      <a:pt x="1195" y="1209"/>
                    </a:lnTo>
                    <a:lnTo>
                      <a:pt x="1193" y="1209"/>
                    </a:lnTo>
                    <a:lnTo>
                      <a:pt x="1191" y="1209"/>
                    </a:lnTo>
                    <a:lnTo>
                      <a:pt x="1191" y="1208"/>
                    </a:lnTo>
                    <a:lnTo>
                      <a:pt x="1190" y="1208"/>
                    </a:lnTo>
                    <a:lnTo>
                      <a:pt x="1190" y="1206"/>
                    </a:lnTo>
                    <a:lnTo>
                      <a:pt x="1190" y="1204"/>
                    </a:lnTo>
                    <a:lnTo>
                      <a:pt x="1191" y="1202"/>
                    </a:lnTo>
                    <a:lnTo>
                      <a:pt x="1191" y="1201"/>
                    </a:lnTo>
                    <a:lnTo>
                      <a:pt x="1193" y="1201"/>
                    </a:lnTo>
                    <a:lnTo>
                      <a:pt x="1193" y="1202"/>
                    </a:lnTo>
                    <a:lnTo>
                      <a:pt x="1195" y="1202"/>
                    </a:lnTo>
                    <a:lnTo>
                      <a:pt x="1195" y="1204"/>
                    </a:lnTo>
                    <a:lnTo>
                      <a:pt x="1195" y="1202"/>
                    </a:lnTo>
                    <a:lnTo>
                      <a:pt x="1195" y="1201"/>
                    </a:lnTo>
                    <a:lnTo>
                      <a:pt x="1196" y="1199"/>
                    </a:lnTo>
                    <a:lnTo>
                      <a:pt x="1195" y="1199"/>
                    </a:lnTo>
                    <a:lnTo>
                      <a:pt x="1195" y="1201"/>
                    </a:lnTo>
                    <a:lnTo>
                      <a:pt x="1193" y="1199"/>
                    </a:lnTo>
                    <a:lnTo>
                      <a:pt x="1191" y="1197"/>
                    </a:lnTo>
                    <a:lnTo>
                      <a:pt x="1191" y="1196"/>
                    </a:lnTo>
                    <a:lnTo>
                      <a:pt x="1190" y="1196"/>
                    </a:lnTo>
                    <a:lnTo>
                      <a:pt x="1191" y="1194"/>
                    </a:lnTo>
                    <a:lnTo>
                      <a:pt x="1190" y="1194"/>
                    </a:lnTo>
                    <a:lnTo>
                      <a:pt x="1188" y="1192"/>
                    </a:lnTo>
                    <a:lnTo>
                      <a:pt x="1186" y="1191"/>
                    </a:lnTo>
                    <a:lnTo>
                      <a:pt x="1185" y="1191"/>
                    </a:lnTo>
                    <a:lnTo>
                      <a:pt x="1186" y="1191"/>
                    </a:lnTo>
                    <a:lnTo>
                      <a:pt x="1188" y="1192"/>
                    </a:lnTo>
                    <a:lnTo>
                      <a:pt x="1190" y="1191"/>
                    </a:lnTo>
                    <a:lnTo>
                      <a:pt x="1188" y="1191"/>
                    </a:lnTo>
                    <a:lnTo>
                      <a:pt x="1188" y="1189"/>
                    </a:lnTo>
                    <a:lnTo>
                      <a:pt x="1186" y="1191"/>
                    </a:lnTo>
                    <a:lnTo>
                      <a:pt x="1186" y="1189"/>
                    </a:lnTo>
                    <a:lnTo>
                      <a:pt x="1186" y="1191"/>
                    </a:lnTo>
                    <a:lnTo>
                      <a:pt x="1185" y="1189"/>
                    </a:lnTo>
                    <a:lnTo>
                      <a:pt x="1183" y="1189"/>
                    </a:lnTo>
                    <a:lnTo>
                      <a:pt x="1181" y="1189"/>
                    </a:lnTo>
                    <a:lnTo>
                      <a:pt x="1179" y="1189"/>
                    </a:lnTo>
                    <a:lnTo>
                      <a:pt x="1181" y="1187"/>
                    </a:lnTo>
                    <a:lnTo>
                      <a:pt x="1179" y="1187"/>
                    </a:lnTo>
                    <a:lnTo>
                      <a:pt x="1178" y="1187"/>
                    </a:lnTo>
                    <a:lnTo>
                      <a:pt x="1178" y="1189"/>
                    </a:lnTo>
                    <a:lnTo>
                      <a:pt x="1179" y="1189"/>
                    </a:lnTo>
                    <a:lnTo>
                      <a:pt x="1181" y="1189"/>
                    </a:lnTo>
                    <a:lnTo>
                      <a:pt x="1181" y="1191"/>
                    </a:lnTo>
                    <a:lnTo>
                      <a:pt x="1179" y="1191"/>
                    </a:lnTo>
                    <a:lnTo>
                      <a:pt x="1178" y="1191"/>
                    </a:lnTo>
                    <a:lnTo>
                      <a:pt x="1176" y="1191"/>
                    </a:lnTo>
                    <a:lnTo>
                      <a:pt x="1176" y="1192"/>
                    </a:lnTo>
                    <a:lnTo>
                      <a:pt x="1176" y="1194"/>
                    </a:lnTo>
                    <a:lnTo>
                      <a:pt x="1174" y="1194"/>
                    </a:lnTo>
                    <a:lnTo>
                      <a:pt x="1174" y="1192"/>
                    </a:lnTo>
                    <a:lnTo>
                      <a:pt x="1173" y="1192"/>
                    </a:lnTo>
                    <a:lnTo>
                      <a:pt x="1174" y="1192"/>
                    </a:lnTo>
                    <a:lnTo>
                      <a:pt x="1174" y="1194"/>
                    </a:lnTo>
                    <a:lnTo>
                      <a:pt x="1176" y="1194"/>
                    </a:lnTo>
                    <a:lnTo>
                      <a:pt x="1178" y="1194"/>
                    </a:lnTo>
                    <a:lnTo>
                      <a:pt x="1179" y="1192"/>
                    </a:lnTo>
                    <a:lnTo>
                      <a:pt x="1181" y="1194"/>
                    </a:lnTo>
                    <a:lnTo>
                      <a:pt x="1183" y="1194"/>
                    </a:lnTo>
                    <a:lnTo>
                      <a:pt x="1183" y="1196"/>
                    </a:lnTo>
                    <a:lnTo>
                      <a:pt x="1183" y="1197"/>
                    </a:lnTo>
                    <a:lnTo>
                      <a:pt x="1183" y="1196"/>
                    </a:lnTo>
                    <a:lnTo>
                      <a:pt x="1181" y="1196"/>
                    </a:lnTo>
                    <a:lnTo>
                      <a:pt x="1179" y="1196"/>
                    </a:lnTo>
                    <a:lnTo>
                      <a:pt x="1178" y="1196"/>
                    </a:lnTo>
                    <a:lnTo>
                      <a:pt x="1176" y="1194"/>
                    </a:lnTo>
                    <a:lnTo>
                      <a:pt x="1176" y="1196"/>
                    </a:lnTo>
                    <a:lnTo>
                      <a:pt x="1174" y="1196"/>
                    </a:lnTo>
                    <a:lnTo>
                      <a:pt x="1174" y="1194"/>
                    </a:lnTo>
                    <a:lnTo>
                      <a:pt x="1173" y="1192"/>
                    </a:lnTo>
                    <a:lnTo>
                      <a:pt x="1171" y="1192"/>
                    </a:lnTo>
                    <a:lnTo>
                      <a:pt x="1171" y="1191"/>
                    </a:lnTo>
                    <a:lnTo>
                      <a:pt x="1169" y="1191"/>
                    </a:lnTo>
                    <a:lnTo>
                      <a:pt x="1171" y="1191"/>
                    </a:lnTo>
                    <a:lnTo>
                      <a:pt x="1171" y="1189"/>
                    </a:lnTo>
                    <a:lnTo>
                      <a:pt x="1171" y="1191"/>
                    </a:lnTo>
                    <a:lnTo>
                      <a:pt x="1169" y="1191"/>
                    </a:lnTo>
                    <a:lnTo>
                      <a:pt x="1169" y="1192"/>
                    </a:lnTo>
                    <a:lnTo>
                      <a:pt x="1168" y="1191"/>
                    </a:lnTo>
                    <a:lnTo>
                      <a:pt x="1166" y="1191"/>
                    </a:lnTo>
                    <a:lnTo>
                      <a:pt x="1166" y="1189"/>
                    </a:lnTo>
                    <a:lnTo>
                      <a:pt x="1164" y="1189"/>
                    </a:lnTo>
                    <a:lnTo>
                      <a:pt x="1164" y="1187"/>
                    </a:lnTo>
                    <a:lnTo>
                      <a:pt x="1162" y="1187"/>
                    </a:lnTo>
                    <a:lnTo>
                      <a:pt x="1162" y="1185"/>
                    </a:lnTo>
                    <a:lnTo>
                      <a:pt x="1161" y="1185"/>
                    </a:lnTo>
                    <a:lnTo>
                      <a:pt x="1161" y="1184"/>
                    </a:lnTo>
                    <a:lnTo>
                      <a:pt x="1161" y="1182"/>
                    </a:lnTo>
                    <a:lnTo>
                      <a:pt x="1162" y="1182"/>
                    </a:lnTo>
                    <a:lnTo>
                      <a:pt x="1162" y="1180"/>
                    </a:lnTo>
                    <a:lnTo>
                      <a:pt x="1164" y="1179"/>
                    </a:lnTo>
                    <a:lnTo>
                      <a:pt x="1166" y="1177"/>
                    </a:lnTo>
                    <a:lnTo>
                      <a:pt x="1166" y="1175"/>
                    </a:lnTo>
                    <a:lnTo>
                      <a:pt x="1166" y="1174"/>
                    </a:lnTo>
                    <a:lnTo>
                      <a:pt x="1164" y="1174"/>
                    </a:lnTo>
                    <a:lnTo>
                      <a:pt x="1164" y="1175"/>
                    </a:lnTo>
                    <a:lnTo>
                      <a:pt x="1164" y="1177"/>
                    </a:lnTo>
                    <a:lnTo>
                      <a:pt x="1162" y="1177"/>
                    </a:lnTo>
                    <a:lnTo>
                      <a:pt x="1162" y="1179"/>
                    </a:lnTo>
                    <a:lnTo>
                      <a:pt x="1162" y="1177"/>
                    </a:lnTo>
                    <a:lnTo>
                      <a:pt x="1162" y="1179"/>
                    </a:lnTo>
                    <a:lnTo>
                      <a:pt x="1162" y="1177"/>
                    </a:lnTo>
                    <a:lnTo>
                      <a:pt x="1162" y="1179"/>
                    </a:lnTo>
                    <a:lnTo>
                      <a:pt x="1162" y="1180"/>
                    </a:lnTo>
                    <a:lnTo>
                      <a:pt x="1161" y="1180"/>
                    </a:lnTo>
                    <a:lnTo>
                      <a:pt x="1161" y="1182"/>
                    </a:lnTo>
                    <a:lnTo>
                      <a:pt x="1159" y="1182"/>
                    </a:lnTo>
                    <a:lnTo>
                      <a:pt x="1157" y="1184"/>
                    </a:lnTo>
                    <a:lnTo>
                      <a:pt x="1157" y="1182"/>
                    </a:lnTo>
                    <a:lnTo>
                      <a:pt x="1156" y="1180"/>
                    </a:lnTo>
                    <a:lnTo>
                      <a:pt x="1157" y="1182"/>
                    </a:lnTo>
                    <a:lnTo>
                      <a:pt x="1156" y="1182"/>
                    </a:lnTo>
                    <a:lnTo>
                      <a:pt x="1157" y="1182"/>
                    </a:lnTo>
                    <a:lnTo>
                      <a:pt x="1156" y="1184"/>
                    </a:lnTo>
                    <a:lnTo>
                      <a:pt x="1154" y="1184"/>
                    </a:lnTo>
                    <a:lnTo>
                      <a:pt x="1152" y="1184"/>
                    </a:lnTo>
                    <a:lnTo>
                      <a:pt x="1152" y="1185"/>
                    </a:lnTo>
                    <a:lnTo>
                      <a:pt x="1152" y="1184"/>
                    </a:lnTo>
                    <a:lnTo>
                      <a:pt x="1151" y="1185"/>
                    </a:lnTo>
                    <a:lnTo>
                      <a:pt x="1152" y="1185"/>
                    </a:lnTo>
                    <a:lnTo>
                      <a:pt x="1151" y="1185"/>
                    </a:lnTo>
                    <a:lnTo>
                      <a:pt x="1151" y="1184"/>
                    </a:lnTo>
                    <a:lnTo>
                      <a:pt x="1149" y="1184"/>
                    </a:lnTo>
                    <a:lnTo>
                      <a:pt x="1149" y="1185"/>
                    </a:lnTo>
                    <a:lnTo>
                      <a:pt x="1147" y="1185"/>
                    </a:lnTo>
                    <a:lnTo>
                      <a:pt x="1145" y="1187"/>
                    </a:lnTo>
                    <a:lnTo>
                      <a:pt x="1144" y="1187"/>
                    </a:lnTo>
                    <a:lnTo>
                      <a:pt x="1145" y="1187"/>
                    </a:lnTo>
                    <a:lnTo>
                      <a:pt x="1145" y="1189"/>
                    </a:lnTo>
                    <a:lnTo>
                      <a:pt x="1144" y="1189"/>
                    </a:lnTo>
                    <a:lnTo>
                      <a:pt x="1144" y="1191"/>
                    </a:lnTo>
                    <a:lnTo>
                      <a:pt x="1144" y="1192"/>
                    </a:lnTo>
                    <a:lnTo>
                      <a:pt x="1144" y="1191"/>
                    </a:lnTo>
                    <a:lnTo>
                      <a:pt x="1145" y="1191"/>
                    </a:lnTo>
                    <a:lnTo>
                      <a:pt x="1145" y="1189"/>
                    </a:lnTo>
                    <a:lnTo>
                      <a:pt x="1147" y="1187"/>
                    </a:lnTo>
                    <a:lnTo>
                      <a:pt x="1147" y="1189"/>
                    </a:lnTo>
                    <a:lnTo>
                      <a:pt x="1149" y="1187"/>
                    </a:lnTo>
                    <a:lnTo>
                      <a:pt x="1151" y="1187"/>
                    </a:lnTo>
                    <a:lnTo>
                      <a:pt x="1152" y="1189"/>
                    </a:lnTo>
                    <a:lnTo>
                      <a:pt x="1151" y="1189"/>
                    </a:lnTo>
                    <a:lnTo>
                      <a:pt x="1149" y="1189"/>
                    </a:lnTo>
                    <a:lnTo>
                      <a:pt x="1151" y="1189"/>
                    </a:lnTo>
                    <a:lnTo>
                      <a:pt x="1149" y="1191"/>
                    </a:lnTo>
                    <a:lnTo>
                      <a:pt x="1149" y="1192"/>
                    </a:lnTo>
                    <a:lnTo>
                      <a:pt x="1151" y="1191"/>
                    </a:lnTo>
                    <a:lnTo>
                      <a:pt x="1151" y="1192"/>
                    </a:lnTo>
                    <a:lnTo>
                      <a:pt x="1151" y="1191"/>
                    </a:lnTo>
                    <a:lnTo>
                      <a:pt x="1152" y="1191"/>
                    </a:lnTo>
                    <a:lnTo>
                      <a:pt x="1152" y="1192"/>
                    </a:lnTo>
                    <a:lnTo>
                      <a:pt x="1152" y="1194"/>
                    </a:lnTo>
                    <a:lnTo>
                      <a:pt x="1151" y="1194"/>
                    </a:lnTo>
                    <a:lnTo>
                      <a:pt x="1151" y="1196"/>
                    </a:lnTo>
                    <a:lnTo>
                      <a:pt x="1149" y="1196"/>
                    </a:lnTo>
                    <a:lnTo>
                      <a:pt x="1151" y="1196"/>
                    </a:lnTo>
                    <a:lnTo>
                      <a:pt x="1151" y="1194"/>
                    </a:lnTo>
                    <a:lnTo>
                      <a:pt x="1152" y="1194"/>
                    </a:lnTo>
                    <a:lnTo>
                      <a:pt x="1154" y="1196"/>
                    </a:lnTo>
                    <a:lnTo>
                      <a:pt x="1152" y="1194"/>
                    </a:lnTo>
                    <a:lnTo>
                      <a:pt x="1154" y="1194"/>
                    </a:lnTo>
                    <a:lnTo>
                      <a:pt x="1152" y="1194"/>
                    </a:lnTo>
                    <a:lnTo>
                      <a:pt x="1152" y="1192"/>
                    </a:lnTo>
                    <a:lnTo>
                      <a:pt x="1154" y="1194"/>
                    </a:lnTo>
                    <a:lnTo>
                      <a:pt x="1154" y="1196"/>
                    </a:lnTo>
                    <a:lnTo>
                      <a:pt x="1154" y="1197"/>
                    </a:lnTo>
                    <a:lnTo>
                      <a:pt x="1152" y="1197"/>
                    </a:lnTo>
                    <a:lnTo>
                      <a:pt x="1152" y="1199"/>
                    </a:lnTo>
                    <a:lnTo>
                      <a:pt x="1151" y="1199"/>
                    </a:lnTo>
                    <a:lnTo>
                      <a:pt x="1149" y="1199"/>
                    </a:lnTo>
                    <a:lnTo>
                      <a:pt x="1147" y="1201"/>
                    </a:lnTo>
                    <a:lnTo>
                      <a:pt x="1147" y="1199"/>
                    </a:lnTo>
                    <a:lnTo>
                      <a:pt x="1145" y="1199"/>
                    </a:lnTo>
                    <a:lnTo>
                      <a:pt x="1145" y="1197"/>
                    </a:lnTo>
                    <a:lnTo>
                      <a:pt x="1144" y="1197"/>
                    </a:lnTo>
                    <a:lnTo>
                      <a:pt x="1144" y="1196"/>
                    </a:lnTo>
                    <a:lnTo>
                      <a:pt x="1142" y="1194"/>
                    </a:lnTo>
                    <a:lnTo>
                      <a:pt x="1142" y="1192"/>
                    </a:lnTo>
                    <a:lnTo>
                      <a:pt x="1140" y="1192"/>
                    </a:lnTo>
                    <a:lnTo>
                      <a:pt x="1140" y="1191"/>
                    </a:lnTo>
                    <a:lnTo>
                      <a:pt x="1142" y="1191"/>
                    </a:lnTo>
                    <a:lnTo>
                      <a:pt x="1140" y="1189"/>
                    </a:lnTo>
                    <a:lnTo>
                      <a:pt x="1140" y="1187"/>
                    </a:lnTo>
                    <a:lnTo>
                      <a:pt x="1140" y="1185"/>
                    </a:lnTo>
                    <a:lnTo>
                      <a:pt x="1142" y="1185"/>
                    </a:lnTo>
                    <a:lnTo>
                      <a:pt x="1142" y="1184"/>
                    </a:lnTo>
                    <a:lnTo>
                      <a:pt x="1142" y="1182"/>
                    </a:lnTo>
                    <a:lnTo>
                      <a:pt x="1144" y="1182"/>
                    </a:lnTo>
                    <a:lnTo>
                      <a:pt x="1144" y="1180"/>
                    </a:lnTo>
                    <a:lnTo>
                      <a:pt x="1144" y="1182"/>
                    </a:lnTo>
                    <a:lnTo>
                      <a:pt x="1144" y="1180"/>
                    </a:lnTo>
                    <a:lnTo>
                      <a:pt x="1145" y="1182"/>
                    </a:lnTo>
                    <a:lnTo>
                      <a:pt x="1147" y="1182"/>
                    </a:lnTo>
                    <a:lnTo>
                      <a:pt x="1147" y="1184"/>
                    </a:lnTo>
                    <a:lnTo>
                      <a:pt x="1147" y="1182"/>
                    </a:lnTo>
                    <a:lnTo>
                      <a:pt x="1145" y="1182"/>
                    </a:lnTo>
                    <a:lnTo>
                      <a:pt x="1145" y="1180"/>
                    </a:lnTo>
                    <a:lnTo>
                      <a:pt x="1147" y="1180"/>
                    </a:lnTo>
                    <a:lnTo>
                      <a:pt x="1149" y="1182"/>
                    </a:lnTo>
                    <a:lnTo>
                      <a:pt x="1149" y="1180"/>
                    </a:lnTo>
                    <a:lnTo>
                      <a:pt x="1147" y="1180"/>
                    </a:lnTo>
                    <a:lnTo>
                      <a:pt x="1147" y="1179"/>
                    </a:lnTo>
                    <a:lnTo>
                      <a:pt x="1145" y="1179"/>
                    </a:lnTo>
                    <a:lnTo>
                      <a:pt x="1147" y="1179"/>
                    </a:lnTo>
                    <a:lnTo>
                      <a:pt x="1147" y="1177"/>
                    </a:lnTo>
                    <a:lnTo>
                      <a:pt x="1147" y="1179"/>
                    </a:lnTo>
                    <a:lnTo>
                      <a:pt x="1149" y="1179"/>
                    </a:lnTo>
                    <a:lnTo>
                      <a:pt x="1149" y="1177"/>
                    </a:lnTo>
                    <a:lnTo>
                      <a:pt x="1149" y="1179"/>
                    </a:lnTo>
                    <a:lnTo>
                      <a:pt x="1149" y="1177"/>
                    </a:lnTo>
                    <a:lnTo>
                      <a:pt x="1151" y="1177"/>
                    </a:lnTo>
                    <a:lnTo>
                      <a:pt x="1152" y="1177"/>
                    </a:lnTo>
                    <a:lnTo>
                      <a:pt x="1151" y="1175"/>
                    </a:lnTo>
                    <a:lnTo>
                      <a:pt x="1151" y="1174"/>
                    </a:lnTo>
                    <a:lnTo>
                      <a:pt x="1151" y="1175"/>
                    </a:lnTo>
                    <a:lnTo>
                      <a:pt x="1152" y="1175"/>
                    </a:lnTo>
                    <a:lnTo>
                      <a:pt x="1151" y="1174"/>
                    </a:lnTo>
                    <a:lnTo>
                      <a:pt x="1152" y="1174"/>
                    </a:lnTo>
                    <a:lnTo>
                      <a:pt x="1152" y="1172"/>
                    </a:lnTo>
                    <a:lnTo>
                      <a:pt x="1154" y="1172"/>
                    </a:lnTo>
                    <a:lnTo>
                      <a:pt x="1156" y="1170"/>
                    </a:lnTo>
                    <a:lnTo>
                      <a:pt x="1157" y="1172"/>
                    </a:lnTo>
                    <a:lnTo>
                      <a:pt x="1156" y="1170"/>
                    </a:lnTo>
                    <a:lnTo>
                      <a:pt x="1157" y="1170"/>
                    </a:lnTo>
                    <a:lnTo>
                      <a:pt x="1157" y="1168"/>
                    </a:lnTo>
                    <a:lnTo>
                      <a:pt x="1157" y="1167"/>
                    </a:lnTo>
                    <a:lnTo>
                      <a:pt x="1157" y="1168"/>
                    </a:lnTo>
                    <a:lnTo>
                      <a:pt x="1159" y="1168"/>
                    </a:lnTo>
                    <a:lnTo>
                      <a:pt x="1159" y="1170"/>
                    </a:lnTo>
                    <a:lnTo>
                      <a:pt x="1161" y="1170"/>
                    </a:lnTo>
                    <a:lnTo>
                      <a:pt x="1162" y="1170"/>
                    </a:lnTo>
                    <a:lnTo>
                      <a:pt x="1164" y="1170"/>
                    </a:lnTo>
                    <a:lnTo>
                      <a:pt x="1166" y="1170"/>
                    </a:lnTo>
                    <a:lnTo>
                      <a:pt x="1168" y="1170"/>
                    </a:lnTo>
                    <a:lnTo>
                      <a:pt x="1166" y="1170"/>
                    </a:lnTo>
                    <a:lnTo>
                      <a:pt x="1164" y="1170"/>
                    </a:lnTo>
                    <a:lnTo>
                      <a:pt x="1162" y="1170"/>
                    </a:lnTo>
                    <a:lnTo>
                      <a:pt x="1161" y="1170"/>
                    </a:lnTo>
                    <a:lnTo>
                      <a:pt x="1161" y="1168"/>
                    </a:lnTo>
                    <a:lnTo>
                      <a:pt x="1159" y="1168"/>
                    </a:lnTo>
                    <a:lnTo>
                      <a:pt x="1159" y="1167"/>
                    </a:lnTo>
                    <a:lnTo>
                      <a:pt x="1161" y="1167"/>
                    </a:lnTo>
                    <a:lnTo>
                      <a:pt x="1162" y="1167"/>
                    </a:lnTo>
                    <a:lnTo>
                      <a:pt x="1161" y="1167"/>
                    </a:lnTo>
                    <a:lnTo>
                      <a:pt x="1161" y="1165"/>
                    </a:lnTo>
                    <a:lnTo>
                      <a:pt x="1161" y="1163"/>
                    </a:lnTo>
                    <a:lnTo>
                      <a:pt x="1162" y="1163"/>
                    </a:lnTo>
                    <a:lnTo>
                      <a:pt x="1164" y="1163"/>
                    </a:lnTo>
                    <a:lnTo>
                      <a:pt x="1164" y="1165"/>
                    </a:lnTo>
                    <a:lnTo>
                      <a:pt x="1166" y="1165"/>
                    </a:lnTo>
                    <a:lnTo>
                      <a:pt x="1166" y="1167"/>
                    </a:lnTo>
                    <a:lnTo>
                      <a:pt x="1168" y="1167"/>
                    </a:lnTo>
                    <a:lnTo>
                      <a:pt x="1166" y="1165"/>
                    </a:lnTo>
                    <a:lnTo>
                      <a:pt x="1166" y="1163"/>
                    </a:lnTo>
                    <a:lnTo>
                      <a:pt x="1166" y="1162"/>
                    </a:lnTo>
                    <a:lnTo>
                      <a:pt x="1168" y="1162"/>
                    </a:lnTo>
                    <a:lnTo>
                      <a:pt x="1168" y="1160"/>
                    </a:lnTo>
                    <a:lnTo>
                      <a:pt x="1169" y="1160"/>
                    </a:lnTo>
                    <a:lnTo>
                      <a:pt x="1169" y="1162"/>
                    </a:lnTo>
                    <a:lnTo>
                      <a:pt x="1169" y="1160"/>
                    </a:lnTo>
                    <a:lnTo>
                      <a:pt x="1169" y="1162"/>
                    </a:lnTo>
                    <a:lnTo>
                      <a:pt x="1171" y="1162"/>
                    </a:lnTo>
                    <a:lnTo>
                      <a:pt x="1171" y="1163"/>
                    </a:lnTo>
                    <a:lnTo>
                      <a:pt x="1171" y="1162"/>
                    </a:lnTo>
                    <a:lnTo>
                      <a:pt x="1173" y="1162"/>
                    </a:lnTo>
                    <a:lnTo>
                      <a:pt x="1174" y="1162"/>
                    </a:lnTo>
                    <a:lnTo>
                      <a:pt x="1173" y="1160"/>
                    </a:lnTo>
                    <a:lnTo>
                      <a:pt x="1173" y="1162"/>
                    </a:lnTo>
                    <a:lnTo>
                      <a:pt x="1171" y="1162"/>
                    </a:lnTo>
                    <a:lnTo>
                      <a:pt x="1171" y="1160"/>
                    </a:lnTo>
                    <a:lnTo>
                      <a:pt x="1171" y="1158"/>
                    </a:lnTo>
                    <a:lnTo>
                      <a:pt x="1171" y="1157"/>
                    </a:lnTo>
                    <a:lnTo>
                      <a:pt x="1171" y="1155"/>
                    </a:lnTo>
                    <a:lnTo>
                      <a:pt x="1173" y="1155"/>
                    </a:lnTo>
                    <a:lnTo>
                      <a:pt x="1174" y="1155"/>
                    </a:lnTo>
                    <a:lnTo>
                      <a:pt x="1176" y="1155"/>
                    </a:lnTo>
                    <a:lnTo>
                      <a:pt x="1178" y="1155"/>
                    </a:lnTo>
                    <a:lnTo>
                      <a:pt x="1176" y="1153"/>
                    </a:lnTo>
                    <a:lnTo>
                      <a:pt x="1176" y="1155"/>
                    </a:lnTo>
                    <a:lnTo>
                      <a:pt x="1174" y="1155"/>
                    </a:lnTo>
                    <a:lnTo>
                      <a:pt x="1173" y="1155"/>
                    </a:lnTo>
                    <a:lnTo>
                      <a:pt x="1173" y="1153"/>
                    </a:lnTo>
                    <a:lnTo>
                      <a:pt x="1174" y="1153"/>
                    </a:lnTo>
                    <a:lnTo>
                      <a:pt x="1173" y="1151"/>
                    </a:lnTo>
                    <a:lnTo>
                      <a:pt x="1173" y="1150"/>
                    </a:lnTo>
                    <a:lnTo>
                      <a:pt x="1174" y="1148"/>
                    </a:lnTo>
                    <a:lnTo>
                      <a:pt x="1173" y="1148"/>
                    </a:lnTo>
                    <a:lnTo>
                      <a:pt x="1173" y="1150"/>
                    </a:lnTo>
                    <a:lnTo>
                      <a:pt x="1173" y="1151"/>
                    </a:lnTo>
                    <a:lnTo>
                      <a:pt x="1171" y="1151"/>
                    </a:lnTo>
                    <a:lnTo>
                      <a:pt x="1173" y="1151"/>
                    </a:lnTo>
                    <a:lnTo>
                      <a:pt x="1173" y="1153"/>
                    </a:lnTo>
                    <a:lnTo>
                      <a:pt x="1171" y="1153"/>
                    </a:lnTo>
                    <a:lnTo>
                      <a:pt x="1171" y="1155"/>
                    </a:lnTo>
                    <a:lnTo>
                      <a:pt x="1169" y="1155"/>
                    </a:lnTo>
                    <a:lnTo>
                      <a:pt x="1168" y="1155"/>
                    </a:lnTo>
                    <a:lnTo>
                      <a:pt x="1168" y="1157"/>
                    </a:lnTo>
                    <a:lnTo>
                      <a:pt x="1168" y="1158"/>
                    </a:lnTo>
                    <a:lnTo>
                      <a:pt x="1166" y="1158"/>
                    </a:lnTo>
                    <a:lnTo>
                      <a:pt x="1164" y="1158"/>
                    </a:lnTo>
                    <a:lnTo>
                      <a:pt x="1162" y="1158"/>
                    </a:lnTo>
                    <a:lnTo>
                      <a:pt x="1161" y="1157"/>
                    </a:lnTo>
                    <a:lnTo>
                      <a:pt x="1161" y="1155"/>
                    </a:lnTo>
                    <a:lnTo>
                      <a:pt x="1162" y="1155"/>
                    </a:lnTo>
                    <a:lnTo>
                      <a:pt x="1162" y="1153"/>
                    </a:lnTo>
                    <a:lnTo>
                      <a:pt x="1164" y="1155"/>
                    </a:lnTo>
                    <a:lnTo>
                      <a:pt x="1164" y="1153"/>
                    </a:lnTo>
                    <a:lnTo>
                      <a:pt x="1166" y="1153"/>
                    </a:lnTo>
                    <a:lnTo>
                      <a:pt x="1168" y="1153"/>
                    </a:lnTo>
                    <a:lnTo>
                      <a:pt x="1169" y="1153"/>
                    </a:lnTo>
                    <a:lnTo>
                      <a:pt x="1168" y="1153"/>
                    </a:lnTo>
                    <a:lnTo>
                      <a:pt x="1166" y="1151"/>
                    </a:lnTo>
                    <a:lnTo>
                      <a:pt x="1168" y="1153"/>
                    </a:lnTo>
                    <a:lnTo>
                      <a:pt x="1166" y="1153"/>
                    </a:lnTo>
                    <a:lnTo>
                      <a:pt x="1164" y="1153"/>
                    </a:lnTo>
                    <a:lnTo>
                      <a:pt x="1162" y="1153"/>
                    </a:lnTo>
                    <a:lnTo>
                      <a:pt x="1161" y="1151"/>
                    </a:lnTo>
                    <a:lnTo>
                      <a:pt x="1162" y="1151"/>
                    </a:lnTo>
                    <a:lnTo>
                      <a:pt x="1164" y="1151"/>
                    </a:lnTo>
                    <a:lnTo>
                      <a:pt x="1164" y="1150"/>
                    </a:lnTo>
                    <a:lnTo>
                      <a:pt x="1166" y="1151"/>
                    </a:lnTo>
                    <a:lnTo>
                      <a:pt x="1164" y="1150"/>
                    </a:lnTo>
                    <a:lnTo>
                      <a:pt x="1162" y="1151"/>
                    </a:lnTo>
                    <a:lnTo>
                      <a:pt x="1161" y="1151"/>
                    </a:lnTo>
                    <a:lnTo>
                      <a:pt x="1161" y="1150"/>
                    </a:lnTo>
                    <a:lnTo>
                      <a:pt x="1161" y="1148"/>
                    </a:lnTo>
                    <a:lnTo>
                      <a:pt x="1159" y="1148"/>
                    </a:lnTo>
                    <a:lnTo>
                      <a:pt x="1161" y="1146"/>
                    </a:lnTo>
                    <a:lnTo>
                      <a:pt x="1162" y="1146"/>
                    </a:lnTo>
                    <a:lnTo>
                      <a:pt x="1164" y="1146"/>
                    </a:lnTo>
                    <a:lnTo>
                      <a:pt x="1164" y="1148"/>
                    </a:lnTo>
                    <a:lnTo>
                      <a:pt x="1164" y="1146"/>
                    </a:lnTo>
                    <a:lnTo>
                      <a:pt x="1164" y="1148"/>
                    </a:lnTo>
                    <a:lnTo>
                      <a:pt x="1166" y="1148"/>
                    </a:lnTo>
                    <a:lnTo>
                      <a:pt x="1168" y="1148"/>
                    </a:lnTo>
                    <a:lnTo>
                      <a:pt x="1168" y="1150"/>
                    </a:lnTo>
                    <a:lnTo>
                      <a:pt x="1169" y="1150"/>
                    </a:lnTo>
                    <a:lnTo>
                      <a:pt x="1168" y="1150"/>
                    </a:lnTo>
                    <a:lnTo>
                      <a:pt x="1168" y="1148"/>
                    </a:lnTo>
                    <a:lnTo>
                      <a:pt x="1166" y="1148"/>
                    </a:lnTo>
                    <a:lnTo>
                      <a:pt x="1164" y="1146"/>
                    </a:lnTo>
                    <a:lnTo>
                      <a:pt x="1166" y="1146"/>
                    </a:lnTo>
                    <a:lnTo>
                      <a:pt x="1168" y="1146"/>
                    </a:lnTo>
                    <a:lnTo>
                      <a:pt x="1168" y="1148"/>
                    </a:lnTo>
                    <a:lnTo>
                      <a:pt x="1168" y="1146"/>
                    </a:lnTo>
                    <a:lnTo>
                      <a:pt x="1169" y="1146"/>
                    </a:lnTo>
                    <a:lnTo>
                      <a:pt x="1168" y="1146"/>
                    </a:lnTo>
                    <a:lnTo>
                      <a:pt x="1169" y="1146"/>
                    </a:lnTo>
                    <a:lnTo>
                      <a:pt x="1171" y="1146"/>
                    </a:lnTo>
                    <a:lnTo>
                      <a:pt x="1169" y="1146"/>
                    </a:lnTo>
                    <a:lnTo>
                      <a:pt x="1169" y="1145"/>
                    </a:lnTo>
                    <a:lnTo>
                      <a:pt x="1171" y="1145"/>
                    </a:lnTo>
                    <a:lnTo>
                      <a:pt x="1173" y="1143"/>
                    </a:lnTo>
                    <a:lnTo>
                      <a:pt x="1173" y="1145"/>
                    </a:lnTo>
                    <a:lnTo>
                      <a:pt x="1174" y="1145"/>
                    </a:lnTo>
                    <a:lnTo>
                      <a:pt x="1173" y="1146"/>
                    </a:lnTo>
                    <a:lnTo>
                      <a:pt x="1173" y="1148"/>
                    </a:lnTo>
                    <a:lnTo>
                      <a:pt x="1174" y="1146"/>
                    </a:lnTo>
                    <a:lnTo>
                      <a:pt x="1174" y="1145"/>
                    </a:lnTo>
                    <a:lnTo>
                      <a:pt x="1176" y="1145"/>
                    </a:lnTo>
                    <a:lnTo>
                      <a:pt x="1178" y="1145"/>
                    </a:lnTo>
                    <a:lnTo>
                      <a:pt x="1178" y="1146"/>
                    </a:lnTo>
                    <a:lnTo>
                      <a:pt x="1176" y="1146"/>
                    </a:lnTo>
                    <a:lnTo>
                      <a:pt x="1178" y="1146"/>
                    </a:lnTo>
                    <a:lnTo>
                      <a:pt x="1178" y="1145"/>
                    </a:lnTo>
                    <a:lnTo>
                      <a:pt x="1179" y="1145"/>
                    </a:lnTo>
                    <a:lnTo>
                      <a:pt x="1179" y="1146"/>
                    </a:lnTo>
                    <a:lnTo>
                      <a:pt x="1179" y="1148"/>
                    </a:lnTo>
                    <a:lnTo>
                      <a:pt x="1178" y="1148"/>
                    </a:lnTo>
                    <a:lnTo>
                      <a:pt x="1179" y="1148"/>
                    </a:lnTo>
                    <a:lnTo>
                      <a:pt x="1181" y="1148"/>
                    </a:lnTo>
                    <a:lnTo>
                      <a:pt x="1179" y="1150"/>
                    </a:lnTo>
                    <a:lnTo>
                      <a:pt x="1181" y="1150"/>
                    </a:lnTo>
                    <a:lnTo>
                      <a:pt x="1181" y="1148"/>
                    </a:lnTo>
                    <a:lnTo>
                      <a:pt x="1183" y="1150"/>
                    </a:lnTo>
                    <a:lnTo>
                      <a:pt x="1181" y="1151"/>
                    </a:lnTo>
                    <a:lnTo>
                      <a:pt x="1181" y="1153"/>
                    </a:lnTo>
                    <a:lnTo>
                      <a:pt x="1181" y="1155"/>
                    </a:lnTo>
                    <a:lnTo>
                      <a:pt x="1183" y="1155"/>
                    </a:lnTo>
                    <a:lnTo>
                      <a:pt x="1183" y="1153"/>
                    </a:lnTo>
                    <a:lnTo>
                      <a:pt x="1183" y="1151"/>
                    </a:lnTo>
                    <a:lnTo>
                      <a:pt x="1183" y="1153"/>
                    </a:lnTo>
                    <a:lnTo>
                      <a:pt x="1183" y="1151"/>
                    </a:lnTo>
                    <a:lnTo>
                      <a:pt x="1183" y="1150"/>
                    </a:lnTo>
                    <a:lnTo>
                      <a:pt x="1185" y="1150"/>
                    </a:lnTo>
                    <a:lnTo>
                      <a:pt x="1185" y="1151"/>
                    </a:lnTo>
                    <a:lnTo>
                      <a:pt x="1185" y="1150"/>
                    </a:lnTo>
                    <a:lnTo>
                      <a:pt x="1183" y="1150"/>
                    </a:lnTo>
                    <a:lnTo>
                      <a:pt x="1183" y="1148"/>
                    </a:lnTo>
                    <a:lnTo>
                      <a:pt x="1181" y="1148"/>
                    </a:lnTo>
                    <a:lnTo>
                      <a:pt x="1181" y="1146"/>
                    </a:lnTo>
                    <a:lnTo>
                      <a:pt x="1181" y="1145"/>
                    </a:lnTo>
                    <a:lnTo>
                      <a:pt x="1183" y="1145"/>
                    </a:lnTo>
                    <a:lnTo>
                      <a:pt x="1183" y="1146"/>
                    </a:lnTo>
                    <a:lnTo>
                      <a:pt x="1183" y="1145"/>
                    </a:lnTo>
                    <a:lnTo>
                      <a:pt x="1181" y="1145"/>
                    </a:lnTo>
                    <a:lnTo>
                      <a:pt x="1181" y="1143"/>
                    </a:lnTo>
                    <a:lnTo>
                      <a:pt x="1183" y="1145"/>
                    </a:lnTo>
                    <a:lnTo>
                      <a:pt x="1183" y="1143"/>
                    </a:lnTo>
                    <a:lnTo>
                      <a:pt x="1185" y="1143"/>
                    </a:lnTo>
                    <a:lnTo>
                      <a:pt x="1186" y="1145"/>
                    </a:lnTo>
                    <a:lnTo>
                      <a:pt x="1186" y="1143"/>
                    </a:lnTo>
                    <a:lnTo>
                      <a:pt x="1186" y="1145"/>
                    </a:lnTo>
                    <a:lnTo>
                      <a:pt x="1186" y="1146"/>
                    </a:lnTo>
                    <a:lnTo>
                      <a:pt x="1188" y="1146"/>
                    </a:lnTo>
                    <a:lnTo>
                      <a:pt x="1186" y="1146"/>
                    </a:lnTo>
                    <a:lnTo>
                      <a:pt x="1188" y="1145"/>
                    </a:lnTo>
                    <a:lnTo>
                      <a:pt x="1190" y="1143"/>
                    </a:lnTo>
                    <a:lnTo>
                      <a:pt x="1191" y="1143"/>
                    </a:lnTo>
                    <a:lnTo>
                      <a:pt x="1193" y="1143"/>
                    </a:lnTo>
                    <a:lnTo>
                      <a:pt x="1193" y="1145"/>
                    </a:lnTo>
                    <a:lnTo>
                      <a:pt x="1195" y="1145"/>
                    </a:lnTo>
                    <a:lnTo>
                      <a:pt x="1193" y="1145"/>
                    </a:lnTo>
                    <a:lnTo>
                      <a:pt x="1193" y="1143"/>
                    </a:lnTo>
                    <a:lnTo>
                      <a:pt x="1195" y="1145"/>
                    </a:lnTo>
                    <a:lnTo>
                      <a:pt x="1195" y="1146"/>
                    </a:lnTo>
                    <a:lnTo>
                      <a:pt x="1193" y="1146"/>
                    </a:lnTo>
                    <a:lnTo>
                      <a:pt x="1191" y="1146"/>
                    </a:lnTo>
                    <a:lnTo>
                      <a:pt x="1190" y="1146"/>
                    </a:lnTo>
                    <a:lnTo>
                      <a:pt x="1190" y="1148"/>
                    </a:lnTo>
                    <a:lnTo>
                      <a:pt x="1188" y="1148"/>
                    </a:lnTo>
                    <a:lnTo>
                      <a:pt x="1190" y="1148"/>
                    </a:lnTo>
                    <a:lnTo>
                      <a:pt x="1191" y="1148"/>
                    </a:lnTo>
                    <a:lnTo>
                      <a:pt x="1193" y="1148"/>
                    </a:lnTo>
                    <a:lnTo>
                      <a:pt x="1193" y="1150"/>
                    </a:lnTo>
                    <a:lnTo>
                      <a:pt x="1191" y="1150"/>
                    </a:lnTo>
                    <a:lnTo>
                      <a:pt x="1193" y="1150"/>
                    </a:lnTo>
                    <a:lnTo>
                      <a:pt x="1193" y="1148"/>
                    </a:lnTo>
                    <a:lnTo>
                      <a:pt x="1195" y="1148"/>
                    </a:lnTo>
                    <a:lnTo>
                      <a:pt x="1196" y="1150"/>
                    </a:lnTo>
                    <a:lnTo>
                      <a:pt x="1196" y="1151"/>
                    </a:lnTo>
                    <a:lnTo>
                      <a:pt x="1195" y="1151"/>
                    </a:lnTo>
                    <a:lnTo>
                      <a:pt x="1195" y="1153"/>
                    </a:lnTo>
                    <a:lnTo>
                      <a:pt x="1193" y="1153"/>
                    </a:lnTo>
                    <a:lnTo>
                      <a:pt x="1191" y="1153"/>
                    </a:lnTo>
                    <a:lnTo>
                      <a:pt x="1190" y="1153"/>
                    </a:lnTo>
                    <a:lnTo>
                      <a:pt x="1188" y="1155"/>
                    </a:lnTo>
                    <a:lnTo>
                      <a:pt x="1186" y="1153"/>
                    </a:lnTo>
                    <a:lnTo>
                      <a:pt x="1186" y="1155"/>
                    </a:lnTo>
                    <a:lnTo>
                      <a:pt x="1188" y="1155"/>
                    </a:lnTo>
                    <a:lnTo>
                      <a:pt x="1190" y="1155"/>
                    </a:lnTo>
                    <a:lnTo>
                      <a:pt x="1191" y="1153"/>
                    </a:lnTo>
                    <a:lnTo>
                      <a:pt x="1193" y="1153"/>
                    </a:lnTo>
                    <a:lnTo>
                      <a:pt x="1195" y="1153"/>
                    </a:lnTo>
                    <a:lnTo>
                      <a:pt x="1195" y="1155"/>
                    </a:lnTo>
                    <a:lnTo>
                      <a:pt x="1195" y="1157"/>
                    </a:lnTo>
                    <a:lnTo>
                      <a:pt x="1195" y="1158"/>
                    </a:lnTo>
                    <a:lnTo>
                      <a:pt x="1193" y="1158"/>
                    </a:lnTo>
                    <a:lnTo>
                      <a:pt x="1191" y="1160"/>
                    </a:lnTo>
                    <a:lnTo>
                      <a:pt x="1191" y="1158"/>
                    </a:lnTo>
                    <a:lnTo>
                      <a:pt x="1190" y="1158"/>
                    </a:lnTo>
                    <a:lnTo>
                      <a:pt x="1190" y="1160"/>
                    </a:lnTo>
                    <a:lnTo>
                      <a:pt x="1188" y="1160"/>
                    </a:lnTo>
                    <a:lnTo>
                      <a:pt x="1186" y="1160"/>
                    </a:lnTo>
                    <a:lnTo>
                      <a:pt x="1186" y="1158"/>
                    </a:lnTo>
                    <a:lnTo>
                      <a:pt x="1186" y="1160"/>
                    </a:lnTo>
                    <a:lnTo>
                      <a:pt x="1185" y="1158"/>
                    </a:lnTo>
                    <a:lnTo>
                      <a:pt x="1186" y="1160"/>
                    </a:lnTo>
                    <a:lnTo>
                      <a:pt x="1188" y="1160"/>
                    </a:lnTo>
                    <a:lnTo>
                      <a:pt x="1190" y="1160"/>
                    </a:lnTo>
                    <a:lnTo>
                      <a:pt x="1191" y="1160"/>
                    </a:lnTo>
                    <a:lnTo>
                      <a:pt x="1193" y="1160"/>
                    </a:lnTo>
                    <a:lnTo>
                      <a:pt x="1193" y="1158"/>
                    </a:lnTo>
                    <a:lnTo>
                      <a:pt x="1195" y="1158"/>
                    </a:lnTo>
                    <a:lnTo>
                      <a:pt x="1196" y="1157"/>
                    </a:lnTo>
                    <a:lnTo>
                      <a:pt x="1195" y="1157"/>
                    </a:lnTo>
                    <a:lnTo>
                      <a:pt x="1195" y="1155"/>
                    </a:lnTo>
                    <a:lnTo>
                      <a:pt x="1195" y="1153"/>
                    </a:lnTo>
                    <a:lnTo>
                      <a:pt x="1195" y="1151"/>
                    </a:lnTo>
                    <a:lnTo>
                      <a:pt x="1196" y="1151"/>
                    </a:lnTo>
                    <a:lnTo>
                      <a:pt x="1196" y="1153"/>
                    </a:lnTo>
                    <a:lnTo>
                      <a:pt x="1198" y="1153"/>
                    </a:lnTo>
                    <a:lnTo>
                      <a:pt x="1198" y="1155"/>
                    </a:lnTo>
                    <a:lnTo>
                      <a:pt x="1198" y="1157"/>
                    </a:lnTo>
                    <a:lnTo>
                      <a:pt x="1198" y="1158"/>
                    </a:lnTo>
                    <a:lnTo>
                      <a:pt x="1196" y="1160"/>
                    </a:lnTo>
                    <a:lnTo>
                      <a:pt x="1195" y="1160"/>
                    </a:lnTo>
                    <a:lnTo>
                      <a:pt x="1195" y="1162"/>
                    </a:lnTo>
                    <a:lnTo>
                      <a:pt x="1193" y="1162"/>
                    </a:lnTo>
                    <a:lnTo>
                      <a:pt x="1191" y="1163"/>
                    </a:lnTo>
                    <a:lnTo>
                      <a:pt x="1190" y="1163"/>
                    </a:lnTo>
                    <a:lnTo>
                      <a:pt x="1188" y="1163"/>
                    </a:lnTo>
                    <a:lnTo>
                      <a:pt x="1188" y="1165"/>
                    </a:lnTo>
                    <a:lnTo>
                      <a:pt x="1186" y="1165"/>
                    </a:lnTo>
                    <a:lnTo>
                      <a:pt x="1185" y="1163"/>
                    </a:lnTo>
                    <a:lnTo>
                      <a:pt x="1183" y="1163"/>
                    </a:lnTo>
                    <a:lnTo>
                      <a:pt x="1181" y="1162"/>
                    </a:lnTo>
                    <a:lnTo>
                      <a:pt x="1183" y="1162"/>
                    </a:lnTo>
                    <a:lnTo>
                      <a:pt x="1181" y="1160"/>
                    </a:lnTo>
                    <a:lnTo>
                      <a:pt x="1181" y="1162"/>
                    </a:lnTo>
                    <a:lnTo>
                      <a:pt x="1181" y="1163"/>
                    </a:lnTo>
                    <a:lnTo>
                      <a:pt x="1183" y="1163"/>
                    </a:lnTo>
                    <a:lnTo>
                      <a:pt x="1185" y="1165"/>
                    </a:lnTo>
                    <a:lnTo>
                      <a:pt x="1186" y="1165"/>
                    </a:lnTo>
                    <a:lnTo>
                      <a:pt x="1188" y="1165"/>
                    </a:lnTo>
                    <a:lnTo>
                      <a:pt x="1190" y="1165"/>
                    </a:lnTo>
                    <a:lnTo>
                      <a:pt x="1190" y="1163"/>
                    </a:lnTo>
                    <a:lnTo>
                      <a:pt x="1191" y="1163"/>
                    </a:lnTo>
                    <a:lnTo>
                      <a:pt x="1193" y="1163"/>
                    </a:lnTo>
                    <a:lnTo>
                      <a:pt x="1195" y="1162"/>
                    </a:lnTo>
                    <a:lnTo>
                      <a:pt x="1196" y="1162"/>
                    </a:lnTo>
                    <a:lnTo>
                      <a:pt x="1196" y="1163"/>
                    </a:lnTo>
                    <a:lnTo>
                      <a:pt x="1195" y="1163"/>
                    </a:lnTo>
                    <a:lnTo>
                      <a:pt x="1196" y="1163"/>
                    </a:lnTo>
                    <a:lnTo>
                      <a:pt x="1196" y="1165"/>
                    </a:lnTo>
                    <a:lnTo>
                      <a:pt x="1196" y="1163"/>
                    </a:lnTo>
                    <a:lnTo>
                      <a:pt x="1196" y="1162"/>
                    </a:lnTo>
                    <a:lnTo>
                      <a:pt x="1198" y="1162"/>
                    </a:lnTo>
                    <a:lnTo>
                      <a:pt x="1198" y="1160"/>
                    </a:lnTo>
                    <a:lnTo>
                      <a:pt x="1200" y="1160"/>
                    </a:lnTo>
                    <a:lnTo>
                      <a:pt x="1202" y="1158"/>
                    </a:lnTo>
                    <a:lnTo>
                      <a:pt x="1202" y="1160"/>
                    </a:lnTo>
                    <a:lnTo>
                      <a:pt x="1202" y="1162"/>
                    </a:lnTo>
                    <a:lnTo>
                      <a:pt x="1203" y="1162"/>
                    </a:lnTo>
                    <a:lnTo>
                      <a:pt x="1203" y="1163"/>
                    </a:lnTo>
                    <a:lnTo>
                      <a:pt x="1205" y="1163"/>
                    </a:lnTo>
                    <a:lnTo>
                      <a:pt x="1205" y="1165"/>
                    </a:lnTo>
                    <a:lnTo>
                      <a:pt x="1205" y="1167"/>
                    </a:lnTo>
                    <a:lnTo>
                      <a:pt x="1205" y="1168"/>
                    </a:lnTo>
                    <a:lnTo>
                      <a:pt x="1205" y="1170"/>
                    </a:lnTo>
                    <a:lnTo>
                      <a:pt x="1203" y="1170"/>
                    </a:lnTo>
                    <a:lnTo>
                      <a:pt x="1203" y="1172"/>
                    </a:lnTo>
                    <a:lnTo>
                      <a:pt x="1203" y="1174"/>
                    </a:lnTo>
                    <a:lnTo>
                      <a:pt x="1202" y="1174"/>
                    </a:lnTo>
                    <a:lnTo>
                      <a:pt x="1202" y="1175"/>
                    </a:lnTo>
                    <a:lnTo>
                      <a:pt x="1200" y="1175"/>
                    </a:lnTo>
                    <a:lnTo>
                      <a:pt x="1202" y="1177"/>
                    </a:lnTo>
                    <a:lnTo>
                      <a:pt x="1202" y="1179"/>
                    </a:lnTo>
                    <a:lnTo>
                      <a:pt x="1202" y="1177"/>
                    </a:lnTo>
                    <a:lnTo>
                      <a:pt x="1200" y="1177"/>
                    </a:lnTo>
                    <a:lnTo>
                      <a:pt x="1200" y="1179"/>
                    </a:lnTo>
                    <a:lnTo>
                      <a:pt x="1198" y="1179"/>
                    </a:lnTo>
                    <a:lnTo>
                      <a:pt x="1200" y="1179"/>
                    </a:lnTo>
                    <a:lnTo>
                      <a:pt x="1200" y="1180"/>
                    </a:lnTo>
                    <a:lnTo>
                      <a:pt x="1202" y="1180"/>
                    </a:lnTo>
                    <a:lnTo>
                      <a:pt x="1202" y="1182"/>
                    </a:lnTo>
                    <a:lnTo>
                      <a:pt x="1203" y="1180"/>
                    </a:lnTo>
                    <a:lnTo>
                      <a:pt x="1203" y="1179"/>
                    </a:lnTo>
                    <a:lnTo>
                      <a:pt x="1203" y="1177"/>
                    </a:lnTo>
                    <a:lnTo>
                      <a:pt x="1205" y="1177"/>
                    </a:lnTo>
                    <a:lnTo>
                      <a:pt x="1205" y="1175"/>
                    </a:lnTo>
                    <a:lnTo>
                      <a:pt x="1205" y="1174"/>
                    </a:lnTo>
                    <a:lnTo>
                      <a:pt x="1205" y="1172"/>
                    </a:lnTo>
                    <a:lnTo>
                      <a:pt x="1207" y="1172"/>
                    </a:lnTo>
                    <a:lnTo>
                      <a:pt x="1208" y="1170"/>
                    </a:lnTo>
                    <a:lnTo>
                      <a:pt x="1208" y="1168"/>
                    </a:lnTo>
                    <a:lnTo>
                      <a:pt x="1210" y="1168"/>
                    </a:lnTo>
                    <a:lnTo>
                      <a:pt x="1210" y="1167"/>
                    </a:lnTo>
                    <a:lnTo>
                      <a:pt x="1212" y="1167"/>
                    </a:lnTo>
                    <a:lnTo>
                      <a:pt x="1213" y="1167"/>
                    </a:lnTo>
                    <a:lnTo>
                      <a:pt x="1215" y="1167"/>
                    </a:lnTo>
                    <a:lnTo>
                      <a:pt x="1213" y="1167"/>
                    </a:lnTo>
                    <a:lnTo>
                      <a:pt x="1212" y="1167"/>
                    </a:lnTo>
                    <a:lnTo>
                      <a:pt x="1212" y="1165"/>
                    </a:lnTo>
                    <a:lnTo>
                      <a:pt x="1212" y="1163"/>
                    </a:lnTo>
                    <a:lnTo>
                      <a:pt x="1212" y="1162"/>
                    </a:lnTo>
                    <a:lnTo>
                      <a:pt x="1213" y="1162"/>
                    </a:lnTo>
                    <a:lnTo>
                      <a:pt x="1213" y="1160"/>
                    </a:lnTo>
                    <a:lnTo>
                      <a:pt x="1215" y="1160"/>
                    </a:lnTo>
                    <a:lnTo>
                      <a:pt x="1213" y="1160"/>
                    </a:lnTo>
                    <a:lnTo>
                      <a:pt x="1213" y="1158"/>
                    </a:lnTo>
                    <a:lnTo>
                      <a:pt x="1215" y="1158"/>
                    </a:lnTo>
                    <a:lnTo>
                      <a:pt x="1215" y="1157"/>
                    </a:lnTo>
                    <a:lnTo>
                      <a:pt x="1217" y="1157"/>
                    </a:lnTo>
                    <a:lnTo>
                      <a:pt x="1217" y="1155"/>
                    </a:lnTo>
                    <a:lnTo>
                      <a:pt x="1219" y="1155"/>
                    </a:lnTo>
                    <a:lnTo>
                      <a:pt x="1219" y="1153"/>
                    </a:lnTo>
                    <a:lnTo>
                      <a:pt x="1217" y="1153"/>
                    </a:lnTo>
                    <a:lnTo>
                      <a:pt x="1215" y="1155"/>
                    </a:lnTo>
                    <a:lnTo>
                      <a:pt x="1215" y="1157"/>
                    </a:lnTo>
                    <a:lnTo>
                      <a:pt x="1213" y="1157"/>
                    </a:lnTo>
                    <a:lnTo>
                      <a:pt x="1213" y="1158"/>
                    </a:lnTo>
                    <a:lnTo>
                      <a:pt x="1212" y="1160"/>
                    </a:lnTo>
                    <a:lnTo>
                      <a:pt x="1212" y="1162"/>
                    </a:lnTo>
                    <a:lnTo>
                      <a:pt x="1210" y="1163"/>
                    </a:lnTo>
                    <a:lnTo>
                      <a:pt x="1212" y="1162"/>
                    </a:lnTo>
                    <a:lnTo>
                      <a:pt x="1212" y="1163"/>
                    </a:lnTo>
                    <a:lnTo>
                      <a:pt x="1210" y="1163"/>
                    </a:lnTo>
                    <a:lnTo>
                      <a:pt x="1210" y="1165"/>
                    </a:lnTo>
                    <a:lnTo>
                      <a:pt x="1208" y="1167"/>
                    </a:lnTo>
                    <a:lnTo>
                      <a:pt x="1208" y="1168"/>
                    </a:lnTo>
                    <a:lnTo>
                      <a:pt x="1207" y="1168"/>
                    </a:lnTo>
                    <a:lnTo>
                      <a:pt x="1208" y="1168"/>
                    </a:lnTo>
                    <a:lnTo>
                      <a:pt x="1207" y="1168"/>
                    </a:lnTo>
                    <a:lnTo>
                      <a:pt x="1208" y="1167"/>
                    </a:lnTo>
                    <a:lnTo>
                      <a:pt x="1208" y="1165"/>
                    </a:lnTo>
                    <a:lnTo>
                      <a:pt x="1208" y="1163"/>
                    </a:lnTo>
                    <a:lnTo>
                      <a:pt x="1210" y="1163"/>
                    </a:lnTo>
                    <a:lnTo>
                      <a:pt x="1208" y="1163"/>
                    </a:lnTo>
                    <a:lnTo>
                      <a:pt x="1208" y="1162"/>
                    </a:lnTo>
                    <a:lnTo>
                      <a:pt x="1208" y="1160"/>
                    </a:lnTo>
                    <a:lnTo>
                      <a:pt x="1208" y="1158"/>
                    </a:lnTo>
                    <a:lnTo>
                      <a:pt x="1210" y="1158"/>
                    </a:lnTo>
                    <a:lnTo>
                      <a:pt x="1210" y="1157"/>
                    </a:lnTo>
                    <a:lnTo>
                      <a:pt x="1210" y="1155"/>
                    </a:lnTo>
                    <a:lnTo>
                      <a:pt x="1208" y="1153"/>
                    </a:lnTo>
                    <a:lnTo>
                      <a:pt x="1210" y="1153"/>
                    </a:lnTo>
                    <a:lnTo>
                      <a:pt x="1208" y="1151"/>
                    </a:lnTo>
                    <a:lnTo>
                      <a:pt x="1210" y="1151"/>
                    </a:lnTo>
                    <a:lnTo>
                      <a:pt x="1210" y="1150"/>
                    </a:lnTo>
                    <a:lnTo>
                      <a:pt x="1212" y="1150"/>
                    </a:lnTo>
                    <a:lnTo>
                      <a:pt x="1210" y="1150"/>
                    </a:lnTo>
                    <a:lnTo>
                      <a:pt x="1210" y="1148"/>
                    </a:lnTo>
                    <a:lnTo>
                      <a:pt x="1212" y="1146"/>
                    </a:lnTo>
                    <a:lnTo>
                      <a:pt x="1213" y="1146"/>
                    </a:lnTo>
                    <a:lnTo>
                      <a:pt x="1212" y="1145"/>
                    </a:lnTo>
                    <a:lnTo>
                      <a:pt x="1213" y="1143"/>
                    </a:lnTo>
                    <a:lnTo>
                      <a:pt x="1213" y="1141"/>
                    </a:lnTo>
                    <a:lnTo>
                      <a:pt x="1215" y="1141"/>
                    </a:lnTo>
                    <a:lnTo>
                      <a:pt x="1215" y="1140"/>
                    </a:lnTo>
                    <a:lnTo>
                      <a:pt x="1217" y="1138"/>
                    </a:lnTo>
                    <a:lnTo>
                      <a:pt x="1219" y="1138"/>
                    </a:lnTo>
                    <a:lnTo>
                      <a:pt x="1220" y="1138"/>
                    </a:lnTo>
                    <a:lnTo>
                      <a:pt x="1220" y="1136"/>
                    </a:lnTo>
                    <a:lnTo>
                      <a:pt x="1222" y="1138"/>
                    </a:lnTo>
                    <a:lnTo>
                      <a:pt x="1222" y="1136"/>
                    </a:lnTo>
                    <a:lnTo>
                      <a:pt x="1222" y="1138"/>
                    </a:lnTo>
                    <a:lnTo>
                      <a:pt x="1224" y="1138"/>
                    </a:lnTo>
                    <a:lnTo>
                      <a:pt x="1225" y="1136"/>
                    </a:lnTo>
                    <a:lnTo>
                      <a:pt x="1224" y="1136"/>
                    </a:lnTo>
                    <a:lnTo>
                      <a:pt x="1224" y="1134"/>
                    </a:lnTo>
                    <a:lnTo>
                      <a:pt x="1222" y="1134"/>
                    </a:lnTo>
                    <a:lnTo>
                      <a:pt x="1222" y="1136"/>
                    </a:lnTo>
                    <a:lnTo>
                      <a:pt x="1220" y="1136"/>
                    </a:lnTo>
                    <a:lnTo>
                      <a:pt x="1220" y="1134"/>
                    </a:lnTo>
                    <a:lnTo>
                      <a:pt x="1220" y="1133"/>
                    </a:lnTo>
                    <a:lnTo>
                      <a:pt x="1222" y="1133"/>
                    </a:lnTo>
                    <a:lnTo>
                      <a:pt x="1220" y="1133"/>
                    </a:lnTo>
                    <a:lnTo>
                      <a:pt x="1220" y="1134"/>
                    </a:lnTo>
                    <a:lnTo>
                      <a:pt x="1219" y="1134"/>
                    </a:lnTo>
                    <a:lnTo>
                      <a:pt x="1217" y="1136"/>
                    </a:lnTo>
                    <a:lnTo>
                      <a:pt x="1217" y="1138"/>
                    </a:lnTo>
                    <a:lnTo>
                      <a:pt x="1215" y="1138"/>
                    </a:lnTo>
                    <a:lnTo>
                      <a:pt x="1215" y="1140"/>
                    </a:lnTo>
                    <a:lnTo>
                      <a:pt x="1213" y="1140"/>
                    </a:lnTo>
                    <a:lnTo>
                      <a:pt x="1213" y="1141"/>
                    </a:lnTo>
                    <a:lnTo>
                      <a:pt x="1212" y="1141"/>
                    </a:lnTo>
                    <a:lnTo>
                      <a:pt x="1212" y="1140"/>
                    </a:lnTo>
                    <a:lnTo>
                      <a:pt x="1212" y="1138"/>
                    </a:lnTo>
                    <a:lnTo>
                      <a:pt x="1212" y="1136"/>
                    </a:lnTo>
                    <a:lnTo>
                      <a:pt x="1212" y="1134"/>
                    </a:lnTo>
                    <a:lnTo>
                      <a:pt x="1212" y="1133"/>
                    </a:lnTo>
                    <a:lnTo>
                      <a:pt x="1213" y="1133"/>
                    </a:lnTo>
                    <a:lnTo>
                      <a:pt x="1213" y="1131"/>
                    </a:lnTo>
                    <a:lnTo>
                      <a:pt x="1213" y="1129"/>
                    </a:lnTo>
                    <a:lnTo>
                      <a:pt x="1213" y="1128"/>
                    </a:lnTo>
                    <a:lnTo>
                      <a:pt x="1213" y="1126"/>
                    </a:lnTo>
                    <a:lnTo>
                      <a:pt x="1215" y="1124"/>
                    </a:lnTo>
                    <a:lnTo>
                      <a:pt x="1217" y="1124"/>
                    </a:lnTo>
                    <a:lnTo>
                      <a:pt x="1217" y="1126"/>
                    </a:lnTo>
                    <a:lnTo>
                      <a:pt x="1217" y="1128"/>
                    </a:lnTo>
                    <a:lnTo>
                      <a:pt x="1217" y="1126"/>
                    </a:lnTo>
                    <a:lnTo>
                      <a:pt x="1217" y="1124"/>
                    </a:lnTo>
                    <a:lnTo>
                      <a:pt x="1217" y="1122"/>
                    </a:lnTo>
                    <a:lnTo>
                      <a:pt x="1219" y="1122"/>
                    </a:lnTo>
                    <a:lnTo>
                      <a:pt x="1219" y="1121"/>
                    </a:lnTo>
                    <a:lnTo>
                      <a:pt x="1219" y="1122"/>
                    </a:lnTo>
                    <a:lnTo>
                      <a:pt x="1220" y="1124"/>
                    </a:lnTo>
                    <a:lnTo>
                      <a:pt x="1220" y="1122"/>
                    </a:lnTo>
                    <a:lnTo>
                      <a:pt x="1220" y="1121"/>
                    </a:lnTo>
                    <a:lnTo>
                      <a:pt x="1219" y="1121"/>
                    </a:lnTo>
                    <a:lnTo>
                      <a:pt x="1220" y="1121"/>
                    </a:lnTo>
                    <a:lnTo>
                      <a:pt x="1220" y="1119"/>
                    </a:lnTo>
                    <a:lnTo>
                      <a:pt x="1222" y="1119"/>
                    </a:lnTo>
                    <a:lnTo>
                      <a:pt x="1224" y="1119"/>
                    </a:lnTo>
                    <a:lnTo>
                      <a:pt x="1225" y="1119"/>
                    </a:lnTo>
                    <a:lnTo>
                      <a:pt x="1225" y="1121"/>
                    </a:lnTo>
                    <a:lnTo>
                      <a:pt x="1225" y="1122"/>
                    </a:lnTo>
                    <a:lnTo>
                      <a:pt x="1227" y="1122"/>
                    </a:lnTo>
                    <a:lnTo>
                      <a:pt x="1227" y="1124"/>
                    </a:lnTo>
                    <a:lnTo>
                      <a:pt x="1229" y="1124"/>
                    </a:lnTo>
                    <a:lnTo>
                      <a:pt x="1230" y="1126"/>
                    </a:lnTo>
                    <a:lnTo>
                      <a:pt x="1232" y="1126"/>
                    </a:lnTo>
                    <a:lnTo>
                      <a:pt x="1234" y="1126"/>
                    </a:lnTo>
                    <a:lnTo>
                      <a:pt x="1234" y="1128"/>
                    </a:lnTo>
                    <a:lnTo>
                      <a:pt x="1234" y="1126"/>
                    </a:lnTo>
                    <a:lnTo>
                      <a:pt x="1234" y="1128"/>
                    </a:lnTo>
                    <a:lnTo>
                      <a:pt x="1236" y="1126"/>
                    </a:lnTo>
                    <a:lnTo>
                      <a:pt x="1236" y="1128"/>
                    </a:lnTo>
                    <a:lnTo>
                      <a:pt x="1236" y="1126"/>
                    </a:lnTo>
                    <a:lnTo>
                      <a:pt x="1237" y="1126"/>
                    </a:lnTo>
                    <a:lnTo>
                      <a:pt x="1236" y="1126"/>
                    </a:lnTo>
                    <a:lnTo>
                      <a:pt x="1237" y="1126"/>
                    </a:lnTo>
                    <a:lnTo>
                      <a:pt x="1237" y="1124"/>
                    </a:lnTo>
                    <a:lnTo>
                      <a:pt x="1236" y="1124"/>
                    </a:lnTo>
                    <a:lnTo>
                      <a:pt x="1237" y="1122"/>
                    </a:lnTo>
                    <a:lnTo>
                      <a:pt x="1236" y="1122"/>
                    </a:lnTo>
                    <a:lnTo>
                      <a:pt x="1234" y="1122"/>
                    </a:lnTo>
                    <a:lnTo>
                      <a:pt x="1234" y="1124"/>
                    </a:lnTo>
                    <a:lnTo>
                      <a:pt x="1232" y="1124"/>
                    </a:lnTo>
                    <a:lnTo>
                      <a:pt x="1230" y="1124"/>
                    </a:lnTo>
                    <a:lnTo>
                      <a:pt x="1230" y="1122"/>
                    </a:lnTo>
                    <a:lnTo>
                      <a:pt x="1229" y="1122"/>
                    </a:lnTo>
                    <a:lnTo>
                      <a:pt x="1229" y="1121"/>
                    </a:lnTo>
                    <a:lnTo>
                      <a:pt x="1227" y="1121"/>
                    </a:lnTo>
                    <a:lnTo>
                      <a:pt x="1227" y="1119"/>
                    </a:lnTo>
                    <a:lnTo>
                      <a:pt x="1225" y="1117"/>
                    </a:lnTo>
                    <a:lnTo>
                      <a:pt x="1224" y="1117"/>
                    </a:lnTo>
                    <a:lnTo>
                      <a:pt x="1224" y="1116"/>
                    </a:lnTo>
                    <a:lnTo>
                      <a:pt x="1222" y="1116"/>
                    </a:lnTo>
                    <a:lnTo>
                      <a:pt x="1220" y="1116"/>
                    </a:lnTo>
                    <a:lnTo>
                      <a:pt x="1220" y="1117"/>
                    </a:lnTo>
                    <a:lnTo>
                      <a:pt x="1219" y="1117"/>
                    </a:lnTo>
                    <a:lnTo>
                      <a:pt x="1219" y="1119"/>
                    </a:lnTo>
                    <a:lnTo>
                      <a:pt x="1219" y="1117"/>
                    </a:lnTo>
                    <a:lnTo>
                      <a:pt x="1217" y="1117"/>
                    </a:lnTo>
                    <a:lnTo>
                      <a:pt x="1215" y="1117"/>
                    </a:lnTo>
                    <a:lnTo>
                      <a:pt x="1213" y="1116"/>
                    </a:lnTo>
                    <a:lnTo>
                      <a:pt x="1213" y="1114"/>
                    </a:lnTo>
                    <a:lnTo>
                      <a:pt x="1215" y="1116"/>
                    </a:lnTo>
                    <a:lnTo>
                      <a:pt x="1215" y="1117"/>
                    </a:lnTo>
                    <a:lnTo>
                      <a:pt x="1215" y="1116"/>
                    </a:lnTo>
                    <a:lnTo>
                      <a:pt x="1215" y="1114"/>
                    </a:lnTo>
                    <a:lnTo>
                      <a:pt x="1217" y="1114"/>
                    </a:lnTo>
                    <a:lnTo>
                      <a:pt x="1219" y="1114"/>
                    </a:lnTo>
                    <a:lnTo>
                      <a:pt x="1220" y="1114"/>
                    </a:lnTo>
                    <a:lnTo>
                      <a:pt x="1220" y="1112"/>
                    </a:lnTo>
                    <a:lnTo>
                      <a:pt x="1219" y="1112"/>
                    </a:lnTo>
                    <a:lnTo>
                      <a:pt x="1220" y="1112"/>
                    </a:lnTo>
                    <a:lnTo>
                      <a:pt x="1220" y="1111"/>
                    </a:lnTo>
                    <a:lnTo>
                      <a:pt x="1220" y="1109"/>
                    </a:lnTo>
                    <a:lnTo>
                      <a:pt x="1219" y="1109"/>
                    </a:lnTo>
                    <a:lnTo>
                      <a:pt x="1220" y="1109"/>
                    </a:lnTo>
                    <a:lnTo>
                      <a:pt x="1220" y="1107"/>
                    </a:lnTo>
                    <a:lnTo>
                      <a:pt x="1220" y="1109"/>
                    </a:lnTo>
                    <a:lnTo>
                      <a:pt x="1219" y="1109"/>
                    </a:lnTo>
                    <a:lnTo>
                      <a:pt x="1219" y="1107"/>
                    </a:lnTo>
                    <a:lnTo>
                      <a:pt x="1217" y="1107"/>
                    </a:lnTo>
                    <a:lnTo>
                      <a:pt x="1217" y="1105"/>
                    </a:lnTo>
                    <a:lnTo>
                      <a:pt x="1217" y="1104"/>
                    </a:lnTo>
                    <a:lnTo>
                      <a:pt x="1217" y="1102"/>
                    </a:lnTo>
                    <a:lnTo>
                      <a:pt x="1219" y="1102"/>
                    </a:lnTo>
                    <a:lnTo>
                      <a:pt x="1220" y="1102"/>
                    </a:lnTo>
                    <a:lnTo>
                      <a:pt x="1222" y="1102"/>
                    </a:lnTo>
                    <a:lnTo>
                      <a:pt x="1224" y="1102"/>
                    </a:lnTo>
                    <a:lnTo>
                      <a:pt x="1225" y="1100"/>
                    </a:lnTo>
                    <a:lnTo>
                      <a:pt x="1227" y="1102"/>
                    </a:lnTo>
                    <a:lnTo>
                      <a:pt x="1227" y="1100"/>
                    </a:lnTo>
                    <a:lnTo>
                      <a:pt x="1229" y="1100"/>
                    </a:lnTo>
                    <a:lnTo>
                      <a:pt x="1229" y="1099"/>
                    </a:lnTo>
                    <a:lnTo>
                      <a:pt x="1230" y="1099"/>
                    </a:lnTo>
                    <a:lnTo>
                      <a:pt x="1230" y="1097"/>
                    </a:lnTo>
                    <a:lnTo>
                      <a:pt x="1232" y="1097"/>
                    </a:lnTo>
                    <a:lnTo>
                      <a:pt x="1232" y="1099"/>
                    </a:lnTo>
                    <a:lnTo>
                      <a:pt x="1232" y="1097"/>
                    </a:lnTo>
                    <a:lnTo>
                      <a:pt x="1234" y="1097"/>
                    </a:lnTo>
                    <a:lnTo>
                      <a:pt x="1236" y="1095"/>
                    </a:lnTo>
                    <a:lnTo>
                      <a:pt x="1237" y="1094"/>
                    </a:lnTo>
                    <a:lnTo>
                      <a:pt x="1239" y="1092"/>
                    </a:lnTo>
                    <a:lnTo>
                      <a:pt x="1241" y="1092"/>
                    </a:lnTo>
                    <a:lnTo>
                      <a:pt x="1241" y="1090"/>
                    </a:lnTo>
                    <a:lnTo>
                      <a:pt x="1239" y="1088"/>
                    </a:lnTo>
                    <a:lnTo>
                      <a:pt x="1241" y="1087"/>
                    </a:lnTo>
                    <a:lnTo>
                      <a:pt x="1241" y="1085"/>
                    </a:lnTo>
                    <a:lnTo>
                      <a:pt x="1241" y="1083"/>
                    </a:lnTo>
                    <a:lnTo>
                      <a:pt x="1242" y="1082"/>
                    </a:lnTo>
                    <a:lnTo>
                      <a:pt x="1244" y="1082"/>
                    </a:lnTo>
                    <a:lnTo>
                      <a:pt x="1244" y="1080"/>
                    </a:lnTo>
                    <a:lnTo>
                      <a:pt x="1244" y="1082"/>
                    </a:lnTo>
                    <a:lnTo>
                      <a:pt x="1246" y="1082"/>
                    </a:lnTo>
                    <a:lnTo>
                      <a:pt x="1244" y="1080"/>
                    </a:lnTo>
                    <a:lnTo>
                      <a:pt x="1244" y="1078"/>
                    </a:lnTo>
                    <a:lnTo>
                      <a:pt x="1244" y="1077"/>
                    </a:lnTo>
                    <a:lnTo>
                      <a:pt x="1244" y="1075"/>
                    </a:lnTo>
                    <a:lnTo>
                      <a:pt x="1244" y="1073"/>
                    </a:lnTo>
                    <a:lnTo>
                      <a:pt x="1246" y="1071"/>
                    </a:lnTo>
                    <a:lnTo>
                      <a:pt x="1244" y="1071"/>
                    </a:lnTo>
                    <a:lnTo>
                      <a:pt x="1244" y="1073"/>
                    </a:lnTo>
                    <a:lnTo>
                      <a:pt x="1244" y="1075"/>
                    </a:lnTo>
                    <a:lnTo>
                      <a:pt x="1242" y="1077"/>
                    </a:lnTo>
                    <a:lnTo>
                      <a:pt x="1242" y="1078"/>
                    </a:lnTo>
                    <a:lnTo>
                      <a:pt x="1242" y="1080"/>
                    </a:lnTo>
                    <a:lnTo>
                      <a:pt x="1241" y="1080"/>
                    </a:lnTo>
                    <a:lnTo>
                      <a:pt x="1241" y="1082"/>
                    </a:lnTo>
                    <a:lnTo>
                      <a:pt x="1241" y="1080"/>
                    </a:lnTo>
                    <a:lnTo>
                      <a:pt x="1239" y="1080"/>
                    </a:lnTo>
                    <a:lnTo>
                      <a:pt x="1239" y="1078"/>
                    </a:lnTo>
                    <a:lnTo>
                      <a:pt x="1241" y="1078"/>
                    </a:lnTo>
                    <a:lnTo>
                      <a:pt x="1239" y="1078"/>
                    </a:lnTo>
                    <a:lnTo>
                      <a:pt x="1237" y="1078"/>
                    </a:lnTo>
                    <a:lnTo>
                      <a:pt x="1237" y="1077"/>
                    </a:lnTo>
                    <a:lnTo>
                      <a:pt x="1237" y="1075"/>
                    </a:lnTo>
                    <a:lnTo>
                      <a:pt x="1236" y="1075"/>
                    </a:lnTo>
                    <a:lnTo>
                      <a:pt x="1234" y="1075"/>
                    </a:lnTo>
                    <a:lnTo>
                      <a:pt x="1232" y="1073"/>
                    </a:lnTo>
                    <a:lnTo>
                      <a:pt x="1234" y="1073"/>
                    </a:lnTo>
                    <a:lnTo>
                      <a:pt x="1234" y="1071"/>
                    </a:lnTo>
                    <a:lnTo>
                      <a:pt x="1236" y="1071"/>
                    </a:lnTo>
                    <a:lnTo>
                      <a:pt x="1234" y="1071"/>
                    </a:lnTo>
                    <a:lnTo>
                      <a:pt x="1232" y="1071"/>
                    </a:lnTo>
                    <a:lnTo>
                      <a:pt x="1230" y="1071"/>
                    </a:lnTo>
                    <a:lnTo>
                      <a:pt x="1230" y="1070"/>
                    </a:lnTo>
                    <a:lnTo>
                      <a:pt x="1229" y="1070"/>
                    </a:lnTo>
                    <a:lnTo>
                      <a:pt x="1229" y="1068"/>
                    </a:lnTo>
                    <a:lnTo>
                      <a:pt x="1227" y="1068"/>
                    </a:lnTo>
                    <a:lnTo>
                      <a:pt x="1227" y="1070"/>
                    </a:lnTo>
                    <a:lnTo>
                      <a:pt x="1225" y="1070"/>
                    </a:lnTo>
                    <a:lnTo>
                      <a:pt x="1225" y="1068"/>
                    </a:lnTo>
                    <a:lnTo>
                      <a:pt x="1224" y="1068"/>
                    </a:lnTo>
                    <a:lnTo>
                      <a:pt x="1224" y="1066"/>
                    </a:lnTo>
                    <a:lnTo>
                      <a:pt x="1225" y="1066"/>
                    </a:lnTo>
                    <a:lnTo>
                      <a:pt x="1225" y="1068"/>
                    </a:lnTo>
                    <a:lnTo>
                      <a:pt x="1227" y="1068"/>
                    </a:lnTo>
                    <a:lnTo>
                      <a:pt x="1225" y="1066"/>
                    </a:lnTo>
                    <a:lnTo>
                      <a:pt x="1227" y="1066"/>
                    </a:lnTo>
                    <a:lnTo>
                      <a:pt x="1227" y="1065"/>
                    </a:lnTo>
                    <a:lnTo>
                      <a:pt x="1227" y="1066"/>
                    </a:lnTo>
                    <a:lnTo>
                      <a:pt x="1225" y="1065"/>
                    </a:lnTo>
                    <a:lnTo>
                      <a:pt x="1227" y="1065"/>
                    </a:lnTo>
                    <a:lnTo>
                      <a:pt x="1227" y="1063"/>
                    </a:lnTo>
                    <a:lnTo>
                      <a:pt x="1225" y="1063"/>
                    </a:lnTo>
                    <a:lnTo>
                      <a:pt x="1225" y="1065"/>
                    </a:lnTo>
                    <a:lnTo>
                      <a:pt x="1225" y="1066"/>
                    </a:lnTo>
                    <a:lnTo>
                      <a:pt x="1224" y="1066"/>
                    </a:lnTo>
                    <a:lnTo>
                      <a:pt x="1222" y="1066"/>
                    </a:lnTo>
                    <a:lnTo>
                      <a:pt x="1222" y="1065"/>
                    </a:lnTo>
                    <a:lnTo>
                      <a:pt x="1222" y="1066"/>
                    </a:lnTo>
                    <a:lnTo>
                      <a:pt x="1220" y="1066"/>
                    </a:lnTo>
                    <a:lnTo>
                      <a:pt x="1220" y="1065"/>
                    </a:lnTo>
                    <a:lnTo>
                      <a:pt x="1222" y="1065"/>
                    </a:lnTo>
                    <a:lnTo>
                      <a:pt x="1220" y="1065"/>
                    </a:lnTo>
                    <a:lnTo>
                      <a:pt x="1220" y="1063"/>
                    </a:lnTo>
                    <a:lnTo>
                      <a:pt x="1222" y="1061"/>
                    </a:lnTo>
                    <a:lnTo>
                      <a:pt x="1222" y="1063"/>
                    </a:lnTo>
                    <a:lnTo>
                      <a:pt x="1224" y="1065"/>
                    </a:lnTo>
                    <a:lnTo>
                      <a:pt x="1224" y="1063"/>
                    </a:lnTo>
                    <a:lnTo>
                      <a:pt x="1222" y="1061"/>
                    </a:lnTo>
                    <a:lnTo>
                      <a:pt x="1224" y="1060"/>
                    </a:lnTo>
                    <a:lnTo>
                      <a:pt x="1225" y="1060"/>
                    </a:lnTo>
                    <a:lnTo>
                      <a:pt x="1225" y="1061"/>
                    </a:lnTo>
                    <a:lnTo>
                      <a:pt x="1227" y="1061"/>
                    </a:lnTo>
                    <a:lnTo>
                      <a:pt x="1227" y="1060"/>
                    </a:lnTo>
                    <a:lnTo>
                      <a:pt x="1225" y="1060"/>
                    </a:lnTo>
                    <a:lnTo>
                      <a:pt x="1225" y="1058"/>
                    </a:lnTo>
                    <a:lnTo>
                      <a:pt x="1225" y="1056"/>
                    </a:lnTo>
                    <a:lnTo>
                      <a:pt x="1227" y="1056"/>
                    </a:lnTo>
                    <a:lnTo>
                      <a:pt x="1227" y="1054"/>
                    </a:lnTo>
                    <a:lnTo>
                      <a:pt x="1229" y="1054"/>
                    </a:lnTo>
                    <a:lnTo>
                      <a:pt x="1229" y="1053"/>
                    </a:lnTo>
                    <a:lnTo>
                      <a:pt x="1229" y="1051"/>
                    </a:lnTo>
                    <a:lnTo>
                      <a:pt x="1229" y="1049"/>
                    </a:lnTo>
                    <a:lnTo>
                      <a:pt x="1230" y="1049"/>
                    </a:lnTo>
                    <a:lnTo>
                      <a:pt x="1230" y="1048"/>
                    </a:lnTo>
                    <a:lnTo>
                      <a:pt x="1230" y="1046"/>
                    </a:lnTo>
                    <a:lnTo>
                      <a:pt x="1232" y="1046"/>
                    </a:lnTo>
                    <a:lnTo>
                      <a:pt x="1232" y="1048"/>
                    </a:lnTo>
                    <a:lnTo>
                      <a:pt x="1234" y="1048"/>
                    </a:lnTo>
                    <a:lnTo>
                      <a:pt x="1236" y="1048"/>
                    </a:lnTo>
                    <a:lnTo>
                      <a:pt x="1236" y="1049"/>
                    </a:lnTo>
                    <a:lnTo>
                      <a:pt x="1237" y="1048"/>
                    </a:lnTo>
                    <a:lnTo>
                      <a:pt x="1237" y="1049"/>
                    </a:lnTo>
                    <a:lnTo>
                      <a:pt x="1239" y="1049"/>
                    </a:lnTo>
                    <a:lnTo>
                      <a:pt x="1237" y="1049"/>
                    </a:lnTo>
                    <a:lnTo>
                      <a:pt x="1237" y="1048"/>
                    </a:lnTo>
                    <a:lnTo>
                      <a:pt x="1236" y="1048"/>
                    </a:lnTo>
                    <a:lnTo>
                      <a:pt x="1236" y="1046"/>
                    </a:lnTo>
                    <a:lnTo>
                      <a:pt x="1236" y="1044"/>
                    </a:lnTo>
                    <a:lnTo>
                      <a:pt x="1236" y="1043"/>
                    </a:lnTo>
                    <a:lnTo>
                      <a:pt x="1237" y="1043"/>
                    </a:lnTo>
                    <a:lnTo>
                      <a:pt x="1236" y="1043"/>
                    </a:lnTo>
                    <a:lnTo>
                      <a:pt x="1236" y="1041"/>
                    </a:lnTo>
                    <a:lnTo>
                      <a:pt x="1236" y="1043"/>
                    </a:lnTo>
                    <a:lnTo>
                      <a:pt x="1236" y="1044"/>
                    </a:lnTo>
                    <a:lnTo>
                      <a:pt x="1236" y="1046"/>
                    </a:lnTo>
                    <a:lnTo>
                      <a:pt x="1234" y="1046"/>
                    </a:lnTo>
                    <a:lnTo>
                      <a:pt x="1232" y="1046"/>
                    </a:lnTo>
                    <a:lnTo>
                      <a:pt x="1232" y="1048"/>
                    </a:lnTo>
                    <a:lnTo>
                      <a:pt x="1232" y="1046"/>
                    </a:lnTo>
                    <a:lnTo>
                      <a:pt x="1230" y="1046"/>
                    </a:lnTo>
                    <a:lnTo>
                      <a:pt x="1230" y="1044"/>
                    </a:lnTo>
                    <a:lnTo>
                      <a:pt x="1229" y="1044"/>
                    </a:lnTo>
                    <a:lnTo>
                      <a:pt x="1229" y="1043"/>
                    </a:lnTo>
                    <a:lnTo>
                      <a:pt x="1230" y="1043"/>
                    </a:lnTo>
                    <a:lnTo>
                      <a:pt x="1232" y="1041"/>
                    </a:lnTo>
                    <a:lnTo>
                      <a:pt x="1232" y="1039"/>
                    </a:lnTo>
                    <a:lnTo>
                      <a:pt x="1234" y="1039"/>
                    </a:lnTo>
                    <a:lnTo>
                      <a:pt x="1234" y="1037"/>
                    </a:lnTo>
                    <a:lnTo>
                      <a:pt x="1232" y="1039"/>
                    </a:lnTo>
                    <a:lnTo>
                      <a:pt x="1232" y="1037"/>
                    </a:lnTo>
                    <a:lnTo>
                      <a:pt x="1232" y="1039"/>
                    </a:lnTo>
                    <a:lnTo>
                      <a:pt x="1230" y="1037"/>
                    </a:lnTo>
                    <a:lnTo>
                      <a:pt x="1229" y="1037"/>
                    </a:lnTo>
                    <a:lnTo>
                      <a:pt x="1229" y="1036"/>
                    </a:lnTo>
                    <a:lnTo>
                      <a:pt x="1229" y="1034"/>
                    </a:lnTo>
                    <a:lnTo>
                      <a:pt x="1227" y="1032"/>
                    </a:lnTo>
                    <a:lnTo>
                      <a:pt x="1227" y="1031"/>
                    </a:lnTo>
                    <a:lnTo>
                      <a:pt x="1229" y="1029"/>
                    </a:lnTo>
                    <a:lnTo>
                      <a:pt x="1229" y="1027"/>
                    </a:lnTo>
                    <a:lnTo>
                      <a:pt x="1227" y="1027"/>
                    </a:lnTo>
                    <a:lnTo>
                      <a:pt x="1227" y="1026"/>
                    </a:lnTo>
                    <a:lnTo>
                      <a:pt x="1229" y="1026"/>
                    </a:lnTo>
                    <a:lnTo>
                      <a:pt x="1229" y="1024"/>
                    </a:lnTo>
                    <a:lnTo>
                      <a:pt x="1230" y="1024"/>
                    </a:lnTo>
                    <a:lnTo>
                      <a:pt x="1230" y="1022"/>
                    </a:lnTo>
                    <a:lnTo>
                      <a:pt x="1232" y="1022"/>
                    </a:lnTo>
                    <a:lnTo>
                      <a:pt x="1234" y="1022"/>
                    </a:lnTo>
                    <a:lnTo>
                      <a:pt x="1234" y="1020"/>
                    </a:lnTo>
                    <a:lnTo>
                      <a:pt x="1234" y="1019"/>
                    </a:lnTo>
                    <a:lnTo>
                      <a:pt x="1234" y="1017"/>
                    </a:lnTo>
                    <a:lnTo>
                      <a:pt x="1232" y="1017"/>
                    </a:lnTo>
                    <a:lnTo>
                      <a:pt x="1232" y="1015"/>
                    </a:lnTo>
                    <a:lnTo>
                      <a:pt x="1234" y="1015"/>
                    </a:lnTo>
                    <a:lnTo>
                      <a:pt x="1234" y="1014"/>
                    </a:lnTo>
                    <a:lnTo>
                      <a:pt x="1234" y="1012"/>
                    </a:lnTo>
                    <a:lnTo>
                      <a:pt x="1236" y="1012"/>
                    </a:lnTo>
                    <a:lnTo>
                      <a:pt x="1237" y="1012"/>
                    </a:lnTo>
                    <a:lnTo>
                      <a:pt x="1237" y="1014"/>
                    </a:lnTo>
                    <a:lnTo>
                      <a:pt x="1239" y="1014"/>
                    </a:lnTo>
                    <a:lnTo>
                      <a:pt x="1239" y="1012"/>
                    </a:lnTo>
                    <a:lnTo>
                      <a:pt x="1239" y="1010"/>
                    </a:lnTo>
                    <a:lnTo>
                      <a:pt x="1237" y="1010"/>
                    </a:lnTo>
                    <a:lnTo>
                      <a:pt x="1239" y="1010"/>
                    </a:lnTo>
                    <a:lnTo>
                      <a:pt x="1237" y="1010"/>
                    </a:lnTo>
                    <a:lnTo>
                      <a:pt x="1237" y="1009"/>
                    </a:lnTo>
                    <a:lnTo>
                      <a:pt x="1236" y="1009"/>
                    </a:lnTo>
                    <a:lnTo>
                      <a:pt x="1237" y="1007"/>
                    </a:lnTo>
                    <a:lnTo>
                      <a:pt x="1237" y="1009"/>
                    </a:lnTo>
                    <a:lnTo>
                      <a:pt x="1239" y="1009"/>
                    </a:lnTo>
                    <a:lnTo>
                      <a:pt x="1239" y="1007"/>
                    </a:lnTo>
                    <a:lnTo>
                      <a:pt x="1239" y="1005"/>
                    </a:lnTo>
                    <a:lnTo>
                      <a:pt x="1237" y="1005"/>
                    </a:lnTo>
                    <a:lnTo>
                      <a:pt x="1237" y="1003"/>
                    </a:lnTo>
                    <a:lnTo>
                      <a:pt x="1236" y="1003"/>
                    </a:lnTo>
                    <a:lnTo>
                      <a:pt x="1236" y="1002"/>
                    </a:lnTo>
                    <a:lnTo>
                      <a:pt x="1236" y="1000"/>
                    </a:lnTo>
                    <a:lnTo>
                      <a:pt x="1236" y="998"/>
                    </a:lnTo>
                    <a:lnTo>
                      <a:pt x="1236" y="997"/>
                    </a:lnTo>
                    <a:lnTo>
                      <a:pt x="1237" y="997"/>
                    </a:lnTo>
                    <a:lnTo>
                      <a:pt x="1237" y="995"/>
                    </a:lnTo>
                    <a:lnTo>
                      <a:pt x="1236" y="995"/>
                    </a:lnTo>
                    <a:lnTo>
                      <a:pt x="1236" y="993"/>
                    </a:lnTo>
                    <a:lnTo>
                      <a:pt x="1236" y="992"/>
                    </a:lnTo>
                    <a:lnTo>
                      <a:pt x="1236" y="990"/>
                    </a:lnTo>
                    <a:lnTo>
                      <a:pt x="1236" y="988"/>
                    </a:lnTo>
                    <a:lnTo>
                      <a:pt x="1237" y="988"/>
                    </a:lnTo>
                    <a:lnTo>
                      <a:pt x="1239" y="988"/>
                    </a:lnTo>
                    <a:lnTo>
                      <a:pt x="1241" y="988"/>
                    </a:lnTo>
                    <a:lnTo>
                      <a:pt x="1242" y="990"/>
                    </a:lnTo>
                    <a:lnTo>
                      <a:pt x="1244" y="990"/>
                    </a:lnTo>
                    <a:lnTo>
                      <a:pt x="1244" y="992"/>
                    </a:lnTo>
                    <a:lnTo>
                      <a:pt x="1246" y="992"/>
                    </a:lnTo>
                    <a:lnTo>
                      <a:pt x="1247" y="992"/>
                    </a:lnTo>
                    <a:lnTo>
                      <a:pt x="1247" y="990"/>
                    </a:lnTo>
                    <a:lnTo>
                      <a:pt x="1246" y="992"/>
                    </a:lnTo>
                    <a:lnTo>
                      <a:pt x="1246" y="990"/>
                    </a:lnTo>
                    <a:lnTo>
                      <a:pt x="1244" y="990"/>
                    </a:lnTo>
                    <a:lnTo>
                      <a:pt x="1244" y="988"/>
                    </a:lnTo>
                    <a:lnTo>
                      <a:pt x="1242" y="988"/>
                    </a:lnTo>
                    <a:lnTo>
                      <a:pt x="1242" y="986"/>
                    </a:lnTo>
                    <a:lnTo>
                      <a:pt x="1241" y="986"/>
                    </a:lnTo>
                    <a:lnTo>
                      <a:pt x="1241" y="985"/>
                    </a:lnTo>
                    <a:lnTo>
                      <a:pt x="1241" y="983"/>
                    </a:lnTo>
                    <a:lnTo>
                      <a:pt x="1239" y="983"/>
                    </a:lnTo>
                    <a:lnTo>
                      <a:pt x="1237" y="981"/>
                    </a:lnTo>
                    <a:lnTo>
                      <a:pt x="1237" y="980"/>
                    </a:lnTo>
                    <a:lnTo>
                      <a:pt x="1237" y="978"/>
                    </a:lnTo>
                    <a:lnTo>
                      <a:pt x="1237" y="980"/>
                    </a:lnTo>
                    <a:lnTo>
                      <a:pt x="1236" y="980"/>
                    </a:lnTo>
                    <a:lnTo>
                      <a:pt x="1236" y="978"/>
                    </a:lnTo>
                    <a:lnTo>
                      <a:pt x="1237" y="978"/>
                    </a:lnTo>
                    <a:lnTo>
                      <a:pt x="1237" y="976"/>
                    </a:lnTo>
                    <a:lnTo>
                      <a:pt x="1239" y="976"/>
                    </a:lnTo>
                    <a:lnTo>
                      <a:pt x="1239" y="975"/>
                    </a:lnTo>
                    <a:lnTo>
                      <a:pt x="1241" y="975"/>
                    </a:lnTo>
                    <a:lnTo>
                      <a:pt x="1242" y="975"/>
                    </a:lnTo>
                    <a:lnTo>
                      <a:pt x="1244" y="975"/>
                    </a:lnTo>
                    <a:lnTo>
                      <a:pt x="1244" y="973"/>
                    </a:lnTo>
                    <a:lnTo>
                      <a:pt x="1244" y="975"/>
                    </a:lnTo>
                    <a:lnTo>
                      <a:pt x="1246" y="975"/>
                    </a:lnTo>
                    <a:lnTo>
                      <a:pt x="1246" y="976"/>
                    </a:lnTo>
                    <a:lnTo>
                      <a:pt x="1246" y="978"/>
                    </a:lnTo>
                    <a:lnTo>
                      <a:pt x="1246" y="980"/>
                    </a:lnTo>
                    <a:lnTo>
                      <a:pt x="1247" y="981"/>
                    </a:lnTo>
                    <a:lnTo>
                      <a:pt x="1247" y="983"/>
                    </a:lnTo>
                    <a:lnTo>
                      <a:pt x="1249" y="983"/>
                    </a:lnTo>
                    <a:lnTo>
                      <a:pt x="1249" y="985"/>
                    </a:lnTo>
                    <a:lnTo>
                      <a:pt x="1249" y="986"/>
                    </a:lnTo>
                    <a:lnTo>
                      <a:pt x="1249" y="988"/>
                    </a:lnTo>
                    <a:lnTo>
                      <a:pt x="1249" y="986"/>
                    </a:lnTo>
                    <a:lnTo>
                      <a:pt x="1251" y="986"/>
                    </a:lnTo>
                    <a:lnTo>
                      <a:pt x="1249" y="986"/>
                    </a:lnTo>
                    <a:lnTo>
                      <a:pt x="1249" y="985"/>
                    </a:lnTo>
                    <a:lnTo>
                      <a:pt x="1249" y="983"/>
                    </a:lnTo>
                    <a:lnTo>
                      <a:pt x="1249" y="981"/>
                    </a:lnTo>
                    <a:lnTo>
                      <a:pt x="1249" y="980"/>
                    </a:lnTo>
                    <a:lnTo>
                      <a:pt x="1247" y="980"/>
                    </a:lnTo>
                    <a:lnTo>
                      <a:pt x="1247" y="978"/>
                    </a:lnTo>
                    <a:lnTo>
                      <a:pt x="1249" y="976"/>
                    </a:lnTo>
                    <a:lnTo>
                      <a:pt x="1251" y="976"/>
                    </a:lnTo>
                    <a:lnTo>
                      <a:pt x="1249" y="976"/>
                    </a:lnTo>
                    <a:lnTo>
                      <a:pt x="1249" y="975"/>
                    </a:lnTo>
                    <a:lnTo>
                      <a:pt x="1247" y="975"/>
                    </a:lnTo>
                    <a:lnTo>
                      <a:pt x="1249" y="973"/>
                    </a:lnTo>
                    <a:lnTo>
                      <a:pt x="1251" y="973"/>
                    </a:lnTo>
                    <a:lnTo>
                      <a:pt x="1253" y="973"/>
                    </a:lnTo>
                    <a:lnTo>
                      <a:pt x="1251" y="973"/>
                    </a:lnTo>
                    <a:lnTo>
                      <a:pt x="1251" y="971"/>
                    </a:lnTo>
                    <a:lnTo>
                      <a:pt x="1251" y="973"/>
                    </a:lnTo>
                    <a:lnTo>
                      <a:pt x="1249" y="973"/>
                    </a:lnTo>
                    <a:lnTo>
                      <a:pt x="1247" y="971"/>
                    </a:lnTo>
                    <a:lnTo>
                      <a:pt x="1247" y="969"/>
                    </a:lnTo>
                    <a:lnTo>
                      <a:pt x="1249" y="969"/>
                    </a:lnTo>
                    <a:lnTo>
                      <a:pt x="1247" y="968"/>
                    </a:lnTo>
                    <a:lnTo>
                      <a:pt x="1249" y="968"/>
                    </a:lnTo>
                    <a:lnTo>
                      <a:pt x="1249" y="966"/>
                    </a:lnTo>
                    <a:lnTo>
                      <a:pt x="1249" y="964"/>
                    </a:lnTo>
                    <a:lnTo>
                      <a:pt x="1247" y="963"/>
                    </a:lnTo>
                    <a:lnTo>
                      <a:pt x="1246" y="964"/>
                    </a:lnTo>
                    <a:lnTo>
                      <a:pt x="1246" y="966"/>
                    </a:lnTo>
                    <a:lnTo>
                      <a:pt x="1244" y="966"/>
                    </a:lnTo>
                    <a:lnTo>
                      <a:pt x="1244" y="964"/>
                    </a:lnTo>
                    <a:lnTo>
                      <a:pt x="1244" y="966"/>
                    </a:lnTo>
                    <a:lnTo>
                      <a:pt x="1242" y="966"/>
                    </a:lnTo>
                    <a:lnTo>
                      <a:pt x="1242" y="964"/>
                    </a:lnTo>
                    <a:lnTo>
                      <a:pt x="1241" y="964"/>
                    </a:lnTo>
                    <a:lnTo>
                      <a:pt x="1241" y="966"/>
                    </a:lnTo>
                    <a:lnTo>
                      <a:pt x="1239" y="964"/>
                    </a:lnTo>
                    <a:lnTo>
                      <a:pt x="1237" y="964"/>
                    </a:lnTo>
                    <a:lnTo>
                      <a:pt x="1236" y="963"/>
                    </a:lnTo>
                    <a:lnTo>
                      <a:pt x="1237" y="963"/>
                    </a:lnTo>
                    <a:lnTo>
                      <a:pt x="1236" y="961"/>
                    </a:lnTo>
                    <a:lnTo>
                      <a:pt x="1234" y="961"/>
                    </a:lnTo>
                    <a:lnTo>
                      <a:pt x="1236" y="961"/>
                    </a:lnTo>
                    <a:lnTo>
                      <a:pt x="1236" y="959"/>
                    </a:lnTo>
                    <a:lnTo>
                      <a:pt x="1237" y="959"/>
                    </a:lnTo>
                    <a:lnTo>
                      <a:pt x="1237" y="957"/>
                    </a:lnTo>
                    <a:lnTo>
                      <a:pt x="1237" y="956"/>
                    </a:lnTo>
                    <a:lnTo>
                      <a:pt x="1239" y="956"/>
                    </a:lnTo>
                    <a:lnTo>
                      <a:pt x="1241" y="956"/>
                    </a:lnTo>
                    <a:lnTo>
                      <a:pt x="1241" y="954"/>
                    </a:lnTo>
                    <a:lnTo>
                      <a:pt x="1242" y="952"/>
                    </a:lnTo>
                    <a:lnTo>
                      <a:pt x="1244" y="952"/>
                    </a:lnTo>
                    <a:lnTo>
                      <a:pt x="1246" y="952"/>
                    </a:lnTo>
                    <a:lnTo>
                      <a:pt x="1247" y="952"/>
                    </a:lnTo>
                    <a:lnTo>
                      <a:pt x="1249" y="952"/>
                    </a:lnTo>
                    <a:lnTo>
                      <a:pt x="1249" y="951"/>
                    </a:lnTo>
                    <a:lnTo>
                      <a:pt x="1251" y="951"/>
                    </a:lnTo>
                    <a:lnTo>
                      <a:pt x="1253" y="949"/>
                    </a:lnTo>
                    <a:lnTo>
                      <a:pt x="1253" y="947"/>
                    </a:lnTo>
                    <a:lnTo>
                      <a:pt x="1253" y="946"/>
                    </a:lnTo>
                    <a:lnTo>
                      <a:pt x="1253" y="944"/>
                    </a:lnTo>
                    <a:lnTo>
                      <a:pt x="1254" y="944"/>
                    </a:lnTo>
                    <a:lnTo>
                      <a:pt x="1254" y="942"/>
                    </a:lnTo>
                    <a:lnTo>
                      <a:pt x="1253" y="942"/>
                    </a:lnTo>
                    <a:lnTo>
                      <a:pt x="1253" y="940"/>
                    </a:lnTo>
                    <a:lnTo>
                      <a:pt x="1254" y="939"/>
                    </a:lnTo>
                    <a:lnTo>
                      <a:pt x="1254" y="937"/>
                    </a:lnTo>
                    <a:lnTo>
                      <a:pt x="1253" y="937"/>
                    </a:lnTo>
                    <a:lnTo>
                      <a:pt x="1253" y="939"/>
                    </a:lnTo>
                    <a:lnTo>
                      <a:pt x="1253" y="937"/>
                    </a:lnTo>
                    <a:lnTo>
                      <a:pt x="1254" y="939"/>
                    </a:lnTo>
                    <a:lnTo>
                      <a:pt x="1253" y="939"/>
                    </a:lnTo>
                    <a:lnTo>
                      <a:pt x="1253" y="940"/>
                    </a:lnTo>
                    <a:lnTo>
                      <a:pt x="1253" y="942"/>
                    </a:lnTo>
                    <a:lnTo>
                      <a:pt x="1253" y="944"/>
                    </a:lnTo>
                    <a:lnTo>
                      <a:pt x="1253" y="946"/>
                    </a:lnTo>
                    <a:lnTo>
                      <a:pt x="1253" y="947"/>
                    </a:lnTo>
                    <a:lnTo>
                      <a:pt x="1251" y="947"/>
                    </a:lnTo>
                    <a:lnTo>
                      <a:pt x="1251" y="949"/>
                    </a:lnTo>
                    <a:lnTo>
                      <a:pt x="1249" y="949"/>
                    </a:lnTo>
                    <a:lnTo>
                      <a:pt x="1249" y="951"/>
                    </a:lnTo>
                    <a:lnTo>
                      <a:pt x="1249" y="949"/>
                    </a:lnTo>
                    <a:lnTo>
                      <a:pt x="1247" y="951"/>
                    </a:lnTo>
                    <a:lnTo>
                      <a:pt x="1246" y="951"/>
                    </a:lnTo>
                    <a:lnTo>
                      <a:pt x="1244" y="952"/>
                    </a:lnTo>
                    <a:lnTo>
                      <a:pt x="1244" y="951"/>
                    </a:lnTo>
                    <a:lnTo>
                      <a:pt x="1242" y="951"/>
                    </a:lnTo>
                    <a:lnTo>
                      <a:pt x="1241" y="949"/>
                    </a:lnTo>
                    <a:lnTo>
                      <a:pt x="1241" y="947"/>
                    </a:lnTo>
                    <a:lnTo>
                      <a:pt x="1241" y="946"/>
                    </a:lnTo>
                    <a:lnTo>
                      <a:pt x="1239" y="946"/>
                    </a:lnTo>
                    <a:lnTo>
                      <a:pt x="1239" y="944"/>
                    </a:lnTo>
                    <a:lnTo>
                      <a:pt x="1237" y="944"/>
                    </a:lnTo>
                    <a:lnTo>
                      <a:pt x="1237" y="942"/>
                    </a:lnTo>
                    <a:lnTo>
                      <a:pt x="1236" y="942"/>
                    </a:lnTo>
                    <a:lnTo>
                      <a:pt x="1234" y="942"/>
                    </a:lnTo>
                    <a:lnTo>
                      <a:pt x="1232" y="940"/>
                    </a:lnTo>
                    <a:lnTo>
                      <a:pt x="1230" y="942"/>
                    </a:lnTo>
                    <a:lnTo>
                      <a:pt x="1229" y="942"/>
                    </a:lnTo>
                    <a:lnTo>
                      <a:pt x="1229" y="944"/>
                    </a:lnTo>
                    <a:lnTo>
                      <a:pt x="1229" y="946"/>
                    </a:lnTo>
                    <a:lnTo>
                      <a:pt x="1227" y="946"/>
                    </a:lnTo>
                    <a:lnTo>
                      <a:pt x="1227" y="947"/>
                    </a:lnTo>
                    <a:lnTo>
                      <a:pt x="1229" y="949"/>
                    </a:lnTo>
                    <a:lnTo>
                      <a:pt x="1227" y="949"/>
                    </a:lnTo>
                    <a:lnTo>
                      <a:pt x="1229" y="951"/>
                    </a:lnTo>
                    <a:lnTo>
                      <a:pt x="1229" y="952"/>
                    </a:lnTo>
                    <a:lnTo>
                      <a:pt x="1227" y="951"/>
                    </a:lnTo>
                    <a:lnTo>
                      <a:pt x="1227" y="952"/>
                    </a:lnTo>
                    <a:lnTo>
                      <a:pt x="1225" y="954"/>
                    </a:lnTo>
                    <a:lnTo>
                      <a:pt x="1225" y="952"/>
                    </a:lnTo>
                    <a:lnTo>
                      <a:pt x="1225" y="951"/>
                    </a:lnTo>
                    <a:lnTo>
                      <a:pt x="1225" y="952"/>
                    </a:lnTo>
                    <a:lnTo>
                      <a:pt x="1224" y="952"/>
                    </a:lnTo>
                    <a:lnTo>
                      <a:pt x="1225" y="954"/>
                    </a:lnTo>
                    <a:lnTo>
                      <a:pt x="1224" y="954"/>
                    </a:lnTo>
                    <a:lnTo>
                      <a:pt x="1225" y="954"/>
                    </a:lnTo>
                    <a:lnTo>
                      <a:pt x="1225" y="956"/>
                    </a:lnTo>
                    <a:lnTo>
                      <a:pt x="1224" y="954"/>
                    </a:lnTo>
                    <a:lnTo>
                      <a:pt x="1224" y="956"/>
                    </a:lnTo>
                    <a:lnTo>
                      <a:pt x="1222" y="956"/>
                    </a:lnTo>
                    <a:lnTo>
                      <a:pt x="1222" y="954"/>
                    </a:lnTo>
                    <a:lnTo>
                      <a:pt x="1222" y="952"/>
                    </a:lnTo>
                    <a:lnTo>
                      <a:pt x="1224" y="952"/>
                    </a:lnTo>
                    <a:lnTo>
                      <a:pt x="1224" y="954"/>
                    </a:lnTo>
                    <a:lnTo>
                      <a:pt x="1224" y="952"/>
                    </a:lnTo>
                    <a:lnTo>
                      <a:pt x="1222" y="952"/>
                    </a:lnTo>
                    <a:lnTo>
                      <a:pt x="1222" y="954"/>
                    </a:lnTo>
                    <a:lnTo>
                      <a:pt x="1222" y="956"/>
                    </a:lnTo>
                    <a:lnTo>
                      <a:pt x="1220" y="954"/>
                    </a:lnTo>
                    <a:lnTo>
                      <a:pt x="1219" y="954"/>
                    </a:lnTo>
                    <a:lnTo>
                      <a:pt x="1217" y="954"/>
                    </a:lnTo>
                    <a:lnTo>
                      <a:pt x="1219" y="956"/>
                    </a:lnTo>
                    <a:lnTo>
                      <a:pt x="1217" y="956"/>
                    </a:lnTo>
                    <a:lnTo>
                      <a:pt x="1215" y="954"/>
                    </a:lnTo>
                    <a:lnTo>
                      <a:pt x="1215" y="956"/>
                    </a:lnTo>
                    <a:lnTo>
                      <a:pt x="1213" y="956"/>
                    </a:lnTo>
                    <a:lnTo>
                      <a:pt x="1212" y="954"/>
                    </a:lnTo>
                    <a:lnTo>
                      <a:pt x="1210" y="954"/>
                    </a:lnTo>
                    <a:lnTo>
                      <a:pt x="1208" y="954"/>
                    </a:lnTo>
                    <a:lnTo>
                      <a:pt x="1207" y="954"/>
                    </a:lnTo>
                    <a:lnTo>
                      <a:pt x="1207" y="952"/>
                    </a:lnTo>
                    <a:lnTo>
                      <a:pt x="1207" y="954"/>
                    </a:lnTo>
                    <a:lnTo>
                      <a:pt x="1205" y="952"/>
                    </a:lnTo>
                    <a:lnTo>
                      <a:pt x="1207" y="952"/>
                    </a:lnTo>
                    <a:lnTo>
                      <a:pt x="1207" y="951"/>
                    </a:lnTo>
                    <a:lnTo>
                      <a:pt x="1207" y="949"/>
                    </a:lnTo>
                    <a:lnTo>
                      <a:pt x="1207" y="947"/>
                    </a:lnTo>
                    <a:lnTo>
                      <a:pt x="1207" y="949"/>
                    </a:lnTo>
                    <a:lnTo>
                      <a:pt x="1208" y="949"/>
                    </a:lnTo>
                    <a:lnTo>
                      <a:pt x="1207" y="949"/>
                    </a:lnTo>
                    <a:lnTo>
                      <a:pt x="1207" y="951"/>
                    </a:lnTo>
                    <a:lnTo>
                      <a:pt x="1208" y="949"/>
                    </a:lnTo>
                    <a:lnTo>
                      <a:pt x="1207" y="949"/>
                    </a:lnTo>
                    <a:lnTo>
                      <a:pt x="1208" y="947"/>
                    </a:lnTo>
                    <a:lnTo>
                      <a:pt x="1210" y="947"/>
                    </a:lnTo>
                    <a:lnTo>
                      <a:pt x="1210" y="949"/>
                    </a:lnTo>
                    <a:lnTo>
                      <a:pt x="1212" y="949"/>
                    </a:lnTo>
                    <a:lnTo>
                      <a:pt x="1210" y="947"/>
                    </a:lnTo>
                    <a:lnTo>
                      <a:pt x="1212" y="947"/>
                    </a:lnTo>
                    <a:lnTo>
                      <a:pt x="1210" y="947"/>
                    </a:lnTo>
                    <a:lnTo>
                      <a:pt x="1212" y="947"/>
                    </a:lnTo>
                    <a:lnTo>
                      <a:pt x="1213" y="947"/>
                    </a:lnTo>
                    <a:lnTo>
                      <a:pt x="1212" y="947"/>
                    </a:lnTo>
                    <a:lnTo>
                      <a:pt x="1213" y="946"/>
                    </a:lnTo>
                    <a:lnTo>
                      <a:pt x="1213" y="944"/>
                    </a:lnTo>
                    <a:lnTo>
                      <a:pt x="1215" y="942"/>
                    </a:lnTo>
                    <a:lnTo>
                      <a:pt x="1217" y="942"/>
                    </a:lnTo>
                    <a:lnTo>
                      <a:pt x="1219" y="942"/>
                    </a:lnTo>
                    <a:lnTo>
                      <a:pt x="1217" y="942"/>
                    </a:lnTo>
                    <a:lnTo>
                      <a:pt x="1215" y="942"/>
                    </a:lnTo>
                    <a:lnTo>
                      <a:pt x="1213" y="942"/>
                    </a:lnTo>
                    <a:lnTo>
                      <a:pt x="1213" y="944"/>
                    </a:lnTo>
                    <a:lnTo>
                      <a:pt x="1212" y="946"/>
                    </a:lnTo>
                    <a:lnTo>
                      <a:pt x="1210" y="946"/>
                    </a:lnTo>
                    <a:lnTo>
                      <a:pt x="1210" y="947"/>
                    </a:lnTo>
                    <a:lnTo>
                      <a:pt x="1208" y="946"/>
                    </a:lnTo>
                    <a:lnTo>
                      <a:pt x="1208" y="944"/>
                    </a:lnTo>
                    <a:lnTo>
                      <a:pt x="1210" y="944"/>
                    </a:lnTo>
                    <a:lnTo>
                      <a:pt x="1208" y="944"/>
                    </a:lnTo>
                    <a:lnTo>
                      <a:pt x="1207" y="942"/>
                    </a:lnTo>
                    <a:lnTo>
                      <a:pt x="1207" y="944"/>
                    </a:lnTo>
                    <a:lnTo>
                      <a:pt x="1207" y="946"/>
                    </a:lnTo>
                    <a:lnTo>
                      <a:pt x="1208" y="946"/>
                    </a:lnTo>
                    <a:lnTo>
                      <a:pt x="1207" y="947"/>
                    </a:lnTo>
                    <a:lnTo>
                      <a:pt x="1207" y="946"/>
                    </a:lnTo>
                    <a:lnTo>
                      <a:pt x="1205" y="946"/>
                    </a:lnTo>
                    <a:lnTo>
                      <a:pt x="1205" y="944"/>
                    </a:lnTo>
                    <a:lnTo>
                      <a:pt x="1203" y="944"/>
                    </a:lnTo>
                    <a:lnTo>
                      <a:pt x="1203" y="946"/>
                    </a:lnTo>
                    <a:lnTo>
                      <a:pt x="1203" y="944"/>
                    </a:lnTo>
                    <a:lnTo>
                      <a:pt x="1203" y="942"/>
                    </a:lnTo>
                    <a:lnTo>
                      <a:pt x="1202" y="942"/>
                    </a:lnTo>
                    <a:lnTo>
                      <a:pt x="1202" y="940"/>
                    </a:lnTo>
                    <a:lnTo>
                      <a:pt x="1202" y="939"/>
                    </a:lnTo>
                    <a:lnTo>
                      <a:pt x="1202" y="937"/>
                    </a:lnTo>
                    <a:lnTo>
                      <a:pt x="1202" y="935"/>
                    </a:lnTo>
                    <a:lnTo>
                      <a:pt x="1202" y="934"/>
                    </a:lnTo>
                    <a:lnTo>
                      <a:pt x="1202" y="932"/>
                    </a:lnTo>
                    <a:lnTo>
                      <a:pt x="1202" y="930"/>
                    </a:lnTo>
                    <a:lnTo>
                      <a:pt x="1200" y="930"/>
                    </a:lnTo>
                    <a:lnTo>
                      <a:pt x="1200" y="929"/>
                    </a:lnTo>
                    <a:lnTo>
                      <a:pt x="1200" y="927"/>
                    </a:lnTo>
                    <a:lnTo>
                      <a:pt x="1198" y="925"/>
                    </a:lnTo>
                    <a:lnTo>
                      <a:pt x="1200" y="925"/>
                    </a:lnTo>
                    <a:lnTo>
                      <a:pt x="1198" y="925"/>
                    </a:lnTo>
                    <a:lnTo>
                      <a:pt x="1198" y="923"/>
                    </a:lnTo>
                    <a:lnTo>
                      <a:pt x="1198" y="922"/>
                    </a:lnTo>
                    <a:lnTo>
                      <a:pt x="1198" y="920"/>
                    </a:lnTo>
                    <a:lnTo>
                      <a:pt x="1198" y="918"/>
                    </a:lnTo>
                    <a:lnTo>
                      <a:pt x="1200" y="917"/>
                    </a:lnTo>
                    <a:lnTo>
                      <a:pt x="1202" y="917"/>
                    </a:lnTo>
                    <a:lnTo>
                      <a:pt x="1202" y="915"/>
                    </a:lnTo>
                    <a:lnTo>
                      <a:pt x="1200" y="915"/>
                    </a:lnTo>
                    <a:lnTo>
                      <a:pt x="1200" y="913"/>
                    </a:lnTo>
                    <a:lnTo>
                      <a:pt x="1200" y="912"/>
                    </a:lnTo>
                    <a:lnTo>
                      <a:pt x="1202" y="912"/>
                    </a:lnTo>
                    <a:lnTo>
                      <a:pt x="1200" y="912"/>
                    </a:lnTo>
                    <a:lnTo>
                      <a:pt x="1202" y="910"/>
                    </a:lnTo>
                    <a:lnTo>
                      <a:pt x="1202" y="908"/>
                    </a:lnTo>
                    <a:lnTo>
                      <a:pt x="1202" y="906"/>
                    </a:lnTo>
                    <a:lnTo>
                      <a:pt x="1203" y="906"/>
                    </a:lnTo>
                    <a:lnTo>
                      <a:pt x="1202" y="905"/>
                    </a:lnTo>
                    <a:lnTo>
                      <a:pt x="1203" y="905"/>
                    </a:lnTo>
                    <a:lnTo>
                      <a:pt x="1203" y="903"/>
                    </a:lnTo>
                    <a:lnTo>
                      <a:pt x="1205" y="903"/>
                    </a:lnTo>
                    <a:lnTo>
                      <a:pt x="1205" y="901"/>
                    </a:lnTo>
                    <a:lnTo>
                      <a:pt x="1205" y="900"/>
                    </a:lnTo>
                    <a:lnTo>
                      <a:pt x="1207" y="898"/>
                    </a:lnTo>
                    <a:lnTo>
                      <a:pt x="1205" y="898"/>
                    </a:lnTo>
                    <a:lnTo>
                      <a:pt x="1205" y="896"/>
                    </a:lnTo>
                    <a:lnTo>
                      <a:pt x="1203" y="896"/>
                    </a:lnTo>
                    <a:lnTo>
                      <a:pt x="1203" y="895"/>
                    </a:lnTo>
                    <a:lnTo>
                      <a:pt x="1205" y="895"/>
                    </a:lnTo>
                    <a:lnTo>
                      <a:pt x="1205" y="893"/>
                    </a:lnTo>
                    <a:lnTo>
                      <a:pt x="1205" y="891"/>
                    </a:lnTo>
                    <a:lnTo>
                      <a:pt x="1205" y="889"/>
                    </a:lnTo>
                    <a:lnTo>
                      <a:pt x="1205" y="888"/>
                    </a:lnTo>
                    <a:lnTo>
                      <a:pt x="1205" y="886"/>
                    </a:lnTo>
                    <a:lnTo>
                      <a:pt x="1207" y="886"/>
                    </a:lnTo>
                    <a:lnTo>
                      <a:pt x="1205" y="886"/>
                    </a:lnTo>
                    <a:lnTo>
                      <a:pt x="1207" y="884"/>
                    </a:lnTo>
                    <a:lnTo>
                      <a:pt x="1205" y="884"/>
                    </a:lnTo>
                    <a:lnTo>
                      <a:pt x="1207" y="884"/>
                    </a:lnTo>
                    <a:lnTo>
                      <a:pt x="1207" y="883"/>
                    </a:lnTo>
                    <a:lnTo>
                      <a:pt x="1208" y="883"/>
                    </a:lnTo>
                    <a:lnTo>
                      <a:pt x="1208" y="881"/>
                    </a:lnTo>
                    <a:lnTo>
                      <a:pt x="1208" y="879"/>
                    </a:lnTo>
                    <a:lnTo>
                      <a:pt x="1208" y="878"/>
                    </a:lnTo>
                    <a:lnTo>
                      <a:pt x="1207" y="878"/>
                    </a:lnTo>
                    <a:lnTo>
                      <a:pt x="1207" y="876"/>
                    </a:lnTo>
                    <a:lnTo>
                      <a:pt x="1207" y="874"/>
                    </a:lnTo>
                    <a:lnTo>
                      <a:pt x="1208" y="872"/>
                    </a:lnTo>
                    <a:lnTo>
                      <a:pt x="1210" y="872"/>
                    </a:lnTo>
                    <a:lnTo>
                      <a:pt x="1212" y="872"/>
                    </a:lnTo>
                    <a:lnTo>
                      <a:pt x="1212" y="871"/>
                    </a:lnTo>
                    <a:lnTo>
                      <a:pt x="1213" y="871"/>
                    </a:lnTo>
                    <a:lnTo>
                      <a:pt x="1213" y="869"/>
                    </a:lnTo>
                    <a:lnTo>
                      <a:pt x="1215" y="869"/>
                    </a:lnTo>
                    <a:lnTo>
                      <a:pt x="1215" y="871"/>
                    </a:lnTo>
                    <a:lnTo>
                      <a:pt x="1217" y="871"/>
                    </a:lnTo>
                    <a:lnTo>
                      <a:pt x="1217" y="872"/>
                    </a:lnTo>
                    <a:lnTo>
                      <a:pt x="1217" y="871"/>
                    </a:lnTo>
                    <a:lnTo>
                      <a:pt x="1217" y="872"/>
                    </a:lnTo>
                    <a:lnTo>
                      <a:pt x="1217" y="871"/>
                    </a:lnTo>
                    <a:lnTo>
                      <a:pt x="1219" y="871"/>
                    </a:lnTo>
                    <a:lnTo>
                      <a:pt x="1217" y="871"/>
                    </a:lnTo>
                    <a:lnTo>
                      <a:pt x="1217" y="869"/>
                    </a:lnTo>
                    <a:lnTo>
                      <a:pt x="1219" y="869"/>
                    </a:lnTo>
                    <a:lnTo>
                      <a:pt x="1220" y="869"/>
                    </a:lnTo>
                    <a:lnTo>
                      <a:pt x="1222" y="869"/>
                    </a:lnTo>
                    <a:lnTo>
                      <a:pt x="1220" y="867"/>
                    </a:lnTo>
                    <a:lnTo>
                      <a:pt x="1220" y="869"/>
                    </a:lnTo>
                    <a:lnTo>
                      <a:pt x="1219" y="869"/>
                    </a:lnTo>
                    <a:lnTo>
                      <a:pt x="1217" y="869"/>
                    </a:lnTo>
                    <a:lnTo>
                      <a:pt x="1217" y="867"/>
                    </a:lnTo>
                    <a:lnTo>
                      <a:pt x="1217" y="866"/>
                    </a:lnTo>
                    <a:lnTo>
                      <a:pt x="1217" y="864"/>
                    </a:lnTo>
                    <a:lnTo>
                      <a:pt x="1217" y="862"/>
                    </a:lnTo>
                    <a:lnTo>
                      <a:pt x="1217" y="861"/>
                    </a:lnTo>
                    <a:lnTo>
                      <a:pt x="1219" y="861"/>
                    </a:lnTo>
                    <a:lnTo>
                      <a:pt x="1219" y="859"/>
                    </a:lnTo>
                    <a:lnTo>
                      <a:pt x="1220" y="859"/>
                    </a:lnTo>
                    <a:lnTo>
                      <a:pt x="1220" y="857"/>
                    </a:lnTo>
                    <a:lnTo>
                      <a:pt x="1220" y="855"/>
                    </a:lnTo>
                    <a:lnTo>
                      <a:pt x="1222" y="855"/>
                    </a:lnTo>
                    <a:lnTo>
                      <a:pt x="1222" y="854"/>
                    </a:lnTo>
                    <a:lnTo>
                      <a:pt x="1222" y="852"/>
                    </a:lnTo>
                    <a:lnTo>
                      <a:pt x="1220" y="852"/>
                    </a:lnTo>
                    <a:lnTo>
                      <a:pt x="1220" y="850"/>
                    </a:lnTo>
                    <a:lnTo>
                      <a:pt x="1222" y="850"/>
                    </a:lnTo>
                    <a:lnTo>
                      <a:pt x="1224" y="850"/>
                    </a:lnTo>
                    <a:lnTo>
                      <a:pt x="1222" y="850"/>
                    </a:lnTo>
                    <a:lnTo>
                      <a:pt x="1222" y="849"/>
                    </a:lnTo>
                    <a:lnTo>
                      <a:pt x="1224" y="849"/>
                    </a:lnTo>
                    <a:lnTo>
                      <a:pt x="1222" y="849"/>
                    </a:lnTo>
                    <a:lnTo>
                      <a:pt x="1224" y="849"/>
                    </a:lnTo>
                    <a:lnTo>
                      <a:pt x="1224" y="847"/>
                    </a:lnTo>
                    <a:lnTo>
                      <a:pt x="1222" y="845"/>
                    </a:lnTo>
                    <a:lnTo>
                      <a:pt x="1222" y="844"/>
                    </a:lnTo>
                    <a:lnTo>
                      <a:pt x="1222" y="842"/>
                    </a:lnTo>
                    <a:lnTo>
                      <a:pt x="1222" y="840"/>
                    </a:lnTo>
                    <a:lnTo>
                      <a:pt x="1222" y="838"/>
                    </a:lnTo>
                    <a:lnTo>
                      <a:pt x="1220" y="838"/>
                    </a:lnTo>
                    <a:lnTo>
                      <a:pt x="1220" y="837"/>
                    </a:lnTo>
                    <a:lnTo>
                      <a:pt x="1220" y="835"/>
                    </a:lnTo>
                    <a:lnTo>
                      <a:pt x="1220" y="833"/>
                    </a:lnTo>
                    <a:lnTo>
                      <a:pt x="1219" y="832"/>
                    </a:lnTo>
                    <a:lnTo>
                      <a:pt x="1219" y="830"/>
                    </a:lnTo>
                    <a:lnTo>
                      <a:pt x="1219" y="828"/>
                    </a:lnTo>
                    <a:lnTo>
                      <a:pt x="1219" y="827"/>
                    </a:lnTo>
                    <a:lnTo>
                      <a:pt x="1217" y="827"/>
                    </a:lnTo>
                    <a:lnTo>
                      <a:pt x="1217" y="825"/>
                    </a:lnTo>
                    <a:lnTo>
                      <a:pt x="1217" y="823"/>
                    </a:lnTo>
                    <a:lnTo>
                      <a:pt x="1217" y="821"/>
                    </a:lnTo>
                    <a:lnTo>
                      <a:pt x="1215" y="821"/>
                    </a:lnTo>
                    <a:lnTo>
                      <a:pt x="1217" y="820"/>
                    </a:lnTo>
                    <a:lnTo>
                      <a:pt x="1215" y="820"/>
                    </a:lnTo>
                    <a:lnTo>
                      <a:pt x="1215" y="821"/>
                    </a:lnTo>
                    <a:lnTo>
                      <a:pt x="1217" y="821"/>
                    </a:lnTo>
                    <a:lnTo>
                      <a:pt x="1215" y="821"/>
                    </a:lnTo>
                    <a:lnTo>
                      <a:pt x="1215" y="820"/>
                    </a:lnTo>
                    <a:lnTo>
                      <a:pt x="1213" y="818"/>
                    </a:lnTo>
                    <a:lnTo>
                      <a:pt x="1213" y="816"/>
                    </a:lnTo>
                    <a:lnTo>
                      <a:pt x="1213" y="815"/>
                    </a:lnTo>
                    <a:lnTo>
                      <a:pt x="1213" y="813"/>
                    </a:lnTo>
                    <a:lnTo>
                      <a:pt x="1213" y="811"/>
                    </a:lnTo>
                    <a:lnTo>
                      <a:pt x="1212" y="809"/>
                    </a:lnTo>
                    <a:lnTo>
                      <a:pt x="1213" y="809"/>
                    </a:lnTo>
                    <a:lnTo>
                      <a:pt x="1212" y="809"/>
                    </a:lnTo>
                    <a:lnTo>
                      <a:pt x="1212" y="808"/>
                    </a:lnTo>
                    <a:lnTo>
                      <a:pt x="1212" y="806"/>
                    </a:lnTo>
                    <a:lnTo>
                      <a:pt x="1212" y="804"/>
                    </a:lnTo>
                    <a:lnTo>
                      <a:pt x="1213" y="804"/>
                    </a:lnTo>
                    <a:lnTo>
                      <a:pt x="1213" y="803"/>
                    </a:lnTo>
                    <a:lnTo>
                      <a:pt x="1213" y="801"/>
                    </a:lnTo>
                    <a:lnTo>
                      <a:pt x="1213" y="799"/>
                    </a:lnTo>
                    <a:lnTo>
                      <a:pt x="1213" y="798"/>
                    </a:lnTo>
                    <a:lnTo>
                      <a:pt x="1215" y="798"/>
                    </a:lnTo>
                    <a:lnTo>
                      <a:pt x="1215" y="796"/>
                    </a:lnTo>
                    <a:lnTo>
                      <a:pt x="1215" y="794"/>
                    </a:lnTo>
                    <a:lnTo>
                      <a:pt x="1215" y="792"/>
                    </a:lnTo>
                    <a:lnTo>
                      <a:pt x="1215" y="791"/>
                    </a:lnTo>
                    <a:lnTo>
                      <a:pt x="1213" y="789"/>
                    </a:lnTo>
                    <a:lnTo>
                      <a:pt x="1213" y="787"/>
                    </a:lnTo>
                    <a:lnTo>
                      <a:pt x="1213" y="786"/>
                    </a:lnTo>
                    <a:lnTo>
                      <a:pt x="1212" y="784"/>
                    </a:lnTo>
                    <a:lnTo>
                      <a:pt x="1212" y="782"/>
                    </a:lnTo>
                    <a:lnTo>
                      <a:pt x="1210" y="781"/>
                    </a:lnTo>
                    <a:lnTo>
                      <a:pt x="1210" y="779"/>
                    </a:lnTo>
                    <a:lnTo>
                      <a:pt x="1208" y="779"/>
                    </a:lnTo>
                    <a:lnTo>
                      <a:pt x="1208" y="777"/>
                    </a:lnTo>
                    <a:lnTo>
                      <a:pt x="1207" y="775"/>
                    </a:lnTo>
                    <a:lnTo>
                      <a:pt x="1208" y="775"/>
                    </a:lnTo>
                    <a:lnTo>
                      <a:pt x="1208" y="774"/>
                    </a:lnTo>
                    <a:lnTo>
                      <a:pt x="1207" y="774"/>
                    </a:lnTo>
                    <a:lnTo>
                      <a:pt x="1207" y="772"/>
                    </a:lnTo>
                    <a:lnTo>
                      <a:pt x="1207" y="770"/>
                    </a:lnTo>
                    <a:lnTo>
                      <a:pt x="1208" y="772"/>
                    </a:lnTo>
                    <a:lnTo>
                      <a:pt x="1208" y="770"/>
                    </a:lnTo>
                    <a:lnTo>
                      <a:pt x="1208" y="769"/>
                    </a:lnTo>
                    <a:lnTo>
                      <a:pt x="1210" y="769"/>
                    </a:lnTo>
                    <a:lnTo>
                      <a:pt x="1210" y="767"/>
                    </a:lnTo>
                    <a:lnTo>
                      <a:pt x="1210" y="765"/>
                    </a:lnTo>
                    <a:lnTo>
                      <a:pt x="1210" y="764"/>
                    </a:lnTo>
                    <a:lnTo>
                      <a:pt x="1210" y="765"/>
                    </a:lnTo>
                    <a:lnTo>
                      <a:pt x="1210" y="764"/>
                    </a:lnTo>
                    <a:lnTo>
                      <a:pt x="1210" y="762"/>
                    </a:lnTo>
                    <a:lnTo>
                      <a:pt x="1208" y="762"/>
                    </a:lnTo>
                    <a:lnTo>
                      <a:pt x="1207" y="760"/>
                    </a:lnTo>
                    <a:lnTo>
                      <a:pt x="1207" y="762"/>
                    </a:lnTo>
                    <a:lnTo>
                      <a:pt x="1207" y="760"/>
                    </a:lnTo>
                    <a:lnTo>
                      <a:pt x="1208" y="758"/>
                    </a:lnTo>
                    <a:lnTo>
                      <a:pt x="1207" y="758"/>
                    </a:lnTo>
                    <a:lnTo>
                      <a:pt x="1208" y="757"/>
                    </a:lnTo>
                    <a:lnTo>
                      <a:pt x="1208" y="755"/>
                    </a:lnTo>
                    <a:lnTo>
                      <a:pt x="1208" y="753"/>
                    </a:lnTo>
                    <a:lnTo>
                      <a:pt x="1210" y="752"/>
                    </a:lnTo>
                    <a:lnTo>
                      <a:pt x="1212" y="753"/>
                    </a:lnTo>
                    <a:lnTo>
                      <a:pt x="1210" y="753"/>
                    </a:lnTo>
                    <a:lnTo>
                      <a:pt x="1212" y="755"/>
                    </a:lnTo>
                    <a:lnTo>
                      <a:pt x="1213" y="755"/>
                    </a:lnTo>
                    <a:lnTo>
                      <a:pt x="1213" y="753"/>
                    </a:lnTo>
                    <a:lnTo>
                      <a:pt x="1213" y="755"/>
                    </a:lnTo>
                    <a:lnTo>
                      <a:pt x="1215" y="755"/>
                    </a:lnTo>
                    <a:lnTo>
                      <a:pt x="1215" y="757"/>
                    </a:lnTo>
                    <a:lnTo>
                      <a:pt x="1215" y="755"/>
                    </a:lnTo>
                    <a:lnTo>
                      <a:pt x="1217" y="755"/>
                    </a:lnTo>
                    <a:lnTo>
                      <a:pt x="1219" y="755"/>
                    </a:lnTo>
                    <a:lnTo>
                      <a:pt x="1220" y="755"/>
                    </a:lnTo>
                    <a:lnTo>
                      <a:pt x="1222" y="755"/>
                    </a:lnTo>
                    <a:lnTo>
                      <a:pt x="1222" y="753"/>
                    </a:lnTo>
                    <a:lnTo>
                      <a:pt x="1224" y="753"/>
                    </a:lnTo>
                    <a:lnTo>
                      <a:pt x="1224" y="752"/>
                    </a:lnTo>
                    <a:lnTo>
                      <a:pt x="1225" y="750"/>
                    </a:lnTo>
                    <a:lnTo>
                      <a:pt x="1224" y="750"/>
                    </a:lnTo>
                    <a:lnTo>
                      <a:pt x="1224" y="748"/>
                    </a:lnTo>
                    <a:lnTo>
                      <a:pt x="1225" y="748"/>
                    </a:lnTo>
                    <a:lnTo>
                      <a:pt x="1225" y="747"/>
                    </a:lnTo>
                    <a:lnTo>
                      <a:pt x="1224" y="747"/>
                    </a:lnTo>
                    <a:lnTo>
                      <a:pt x="1224" y="745"/>
                    </a:lnTo>
                    <a:lnTo>
                      <a:pt x="1224" y="743"/>
                    </a:lnTo>
                    <a:lnTo>
                      <a:pt x="1225" y="743"/>
                    </a:lnTo>
                    <a:lnTo>
                      <a:pt x="1225" y="741"/>
                    </a:lnTo>
                    <a:lnTo>
                      <a:pt x="1225" y="740"/>
                    </a:lnTo>
                    <a:lnTo>
                      <a:pt x="1225" y="738"/>
                    </a:lnTo>
                    <a:lnTo>
                      <a:pt x="1227" y="738"/>
                    </a:lnTo>
                    <a:lnTo>
                      <a:pt x="1227" y="740"/>
                    </a:lnTo>
                    <a:lnTo>
                      <a:pt x="1229" y="738"/>
                    </a:lnTo>
                    <a:lnTo>
                      <a:pt x="1227" y="738"/>
                    </a:lnTo>
                    <a:lnTo>
                      <a:pt x="1225" y="738"/>
                    </a:lnTo>
                    <a:lnTo>
                      <a:pt x="1224" y="738"/>
                    </a:lnTo>
                    <a:lnTo>
                      <a:pt x="1224" y="736"/>
                    </a:lnTo>
                    <a:lnTo>
                      <a:pt x="1222" y="736"/>
                    </a:lnTo>
                    <a:lnTo>
                      <a:pt x="1224" y="736"/>
                    </a:lnTo>
                    <a:lnTo>
                      <a:pt x="1224" y="735"/>
                    </a:lnTo>
                    <a:lnTo>
                      <a:pt x="1224" y="736"/>
                    </a:lnTo>
                    <a:lnTo>
                      <a:pt x="1225" y="735"/>
                    </a:lnTo>
                    <a:lnTo>
                      <a:pt x="1225" y="733"/>
                    </a:lnTo>
                    <a:lnTo>
                      <a:pt x="1225" y="731"/>
                    </a:lnTo>
                    <a:lnTo>
                      <a:pt x="1225" y="730"/>
                    </a:lnTo>
                    <a:lnTo>
                      <a:pt x="1227" y="730"/>
                    </a:lnTo>
                    <a:lnTo>
                      <a:pt x="1227" y="731"/>
                    </a:lnTo>
                    <a:lnTo>
                      <a:pt x="1227" y="733"/>
                    </a:lnTo>
                    <a:lnTo>
                      <a:pt x="1225" y="733"/>
                    </a:lnTo>
                    <a:lnTo>
                      <a:pt x="1227" y="735"/>
                    </a:lnTo>
                    <a:lnTo>
                      <a:pt x="1229" y="735"/>
                    </a:lnTo>
                    <a:lnTo>
                      <a:pt x="1230" y="735"/>
                    </a:lnTo>
                    <a:lnTo>
                      <a:pt x="1230" y="733"/>
                    </a:lnTo>
                    <a:lnTo>
                      <a:pt x="1230" y="731"/>
                    </a:lnTo>
                    <a:lnTo>
                      <a:pt x="1232" y="730"/>
                    </a:lnTo>
                    <a:lnTo>
                      <a:pt x="1230" y="730"/>
                    </a:lnTo>
                    <a:lnTo>
                      <a:pt x="1230" y="728"/>
                    </a:lnTo>
                    <a:lnTo>
                      <a:pt x="1230" y="726"/>
                    </a:lnTo>
                    <a:lnTo>
                      <a:pt x="1232" y="726"/>
                    </a:lnTo>
                    <a:lnTo>
                      <a:pt x="1232" y="724"/>
                    </a:lnTo>
                    <a:lnTo>
                      <a:pt x="1234" y="724"/>
                    </a:lnTo>
                    <a:lnTo>
                      <a:pt x="1232" y="724"/>
                    </a:lnTo>
                    <a:lnTo>
                      <a:pt x="1232" y="723"/>
                    </a:lnTo>
                    <a:lnTo>
                      <a:pt x="1234" y="723"/>
                    </a:lnTo>
                    <a:lnTo>
                      <a:pt x="1234" y="721"/>
                    </a:lnTo>
                    <a:lnTo>
                      <a:pt x="1234" y="719"/>
                    </a:lnTo>
                    <a:lnTo>
                      <a:pt x="1236" y="718"/>
                    </a:lnTo>
                    <a:lnTo>
                      <a:pt x="1236" y="716"/>
                    </a:lnTo>
                    <a:lnTo>
                      <a:pt x="1236" y="714"/>
                    </a:lnTo>
                    <a:lnTo>
                      <a:pt x="1236" y="713"/>
                    </a:lnTo>
                    <a:lnTo>
                      <a:pt x="1236" y="711"/>
                    </a:lnTo>
                    <a:lnTo>
                      <a:pt x="1237" y="711"/>
                    </a:lnTo>
                    <a:lnTo>
                      <a:pt x="1237" y="709"/>
                    </a:lnTo>
                    <a:lnTo>
                      <a:pt x="1236" y="707"/>
                    </a:lnTo>
                    <a:lnTo>
                      <a:pt x="1237" y="707"/>
                    </a:lnTo>
                    <a:lnTo>
                      <a:pt x="1237" y="706"/>
                    </a:lnTo>
                    <a:lnTo>
                      <a:pt x="1237" y="704"/>
                    </a:lnTo>
                    <a:lnTo>
                      <a:pt x="1237" y="702"/>
                    </a:lnTo>
                    <a:lnTo>
                      <a:pt x="1239" y="702"/>
                    </a:lnTo>
                    <a:lnTo>
                      <a:pt x="1239" y="701"/>
                    </a:lnTo>
                    <a:lnTo>
                      <a:pt x="1241" y="701"/>
                    </a:lnTo>
                    <a:lnTo>
                      <a:pt x="1241" y="699"/>
                    </a:lnTo>
                    <a:lnTo>
                      <a:pt x="1242" y="697"/>
                    </a:lnTo>
                    <a:lnTo>
                      <a:pt x="1244" y="696"/>
                    </a:lnTo>
                    <a:lnTo>
                      <a:pt x="1244" y="694"/>
                    </a:lnTo>
                    <a:lnTo>
                      <a:pt x="1244" y="692"/>
                    </a:lnTo>
                    <a:lnTo>
                      <a:pt x="1244" y="690"/>
                    </a:lnTo>
                    <a:lnTo>
                      <a:pt x="1244" y="689"/>
                    </a:lnTo>
                    <a:lnTo>
                      <a:pt x="1242" y="689"/>
                    </a:lnTo>
                    <a:lnTo>
                      <a:pt x="1242" y="687"/>
                    </a:lnTo>
                    <a:lnTo>
                      <a:pt x="1242" y="685"/>
                    </a:lnTo>
                    <a:lnTo>
                      <a:pt x="1244" y="685"/>
                    </a:lnTo>
                    <a:lnTo>
                      <a:pt x="1244" y="684"/>
                    </a:lnTo>
                    <a:lnTo>
                      <a:pt x="1246" y="684"/>
                    </a:lnTo>
                    <a:lnTo>
                      <a:pt x="1246" y="682"/>
                    </a:lnTo>
                    <a:lnTo>
                      <a:pt x="1247" y="682"/>
                    </a:lnTo>
                    <a:lnTo>
                      <a:pt x="1247" y="680"/>
                    </a:lnTo>
                    <a:lnTo>
                      <a:pt x="1247" y="679"/>
                    </a:lnTo>
                    <a:lnTo>
                      <a:pt x="1247" y="677"/>
                    </a:lnTo>
                    <a:lnTo>
                      <a:pt x="1249" y="677"/>
                    </a:lnTo>
                    <a:lnTo>
                      <a:pt x="1249" y="675"/>
                    </a:lnTo>
                    <a:lnTo>
                      <a:pt x="1251" y="675"/>
                    </a:lnTo>
                    <a:lnTo>
                      <a:pt x="1251" y="673"/>
                    </a:lnTo>
                    <a:lnTo>
                      <a:pt x="1251" y="672"/>
                    </a:lnTo>
                    <a:lnTo>
                      <a:pt x="1251" y="670"/>
                    </a:lnTo>
                    <a:lnTo>
                      <a:pt x="1253" y="670"/>
                    </a:lnTo>
                    <a:lnTo>
                      <a:pt x="1254" y="668"/>
                    </a:lnTo>
                    <a:lnTo>
                      <a:pt x="1256" y="668"/>
                    </a:lnTo>
                    <a:lnTo>
                      <a:pt x="1256" y="667"/>
                    </a:lnTo>
                    <a:lnTo>
                      <a:pt x="1258" y="667"/>
                    </a:lnTo>
                    <a:lnTo>
                      <a:pt x="1258" y="665"/>
                    </a:lnTo>
                    <a:lnTo>
                      <a:pt x="1258" y="663"/>
                    </a:lnTo>
                    <a:lnTo>
                      <a:pt x="1258" y="662"/>
                    </a:lnTo>
                    <a:lnTo>
                      <a:pt x="1258" y="660"/>
                    </a:lnTo>
                    <a:lnTo>
                      <a:pt x="1258" y="658"/>
                    </a:lnTo>
                    <a:lnTo>
                      <a:pt x="1258" y="656"/>
                    </a:lnTo>
                    <a:lnTo>
                      <a:pt x="1259" y="656"/>
                    </a:lnTo>
                    <a:lnTo>
                      <a:pt x="1259" y="655"/>
                    </a:lnTo>
                    <a:lnTo>
                      <a:pt x="1259" y="653"/>
                    </a:lnTo>
                    <a:lnTo>
                      <a:pt x="1261" y="651"/>
                    </a:lnTo>
                    <a:lnTo>
                      <a:pt x="1261" y="650"/>
                    </a:lnTo>
                    <a:lnTo>
                      <a:pt x="1263" y="650"/>
                    </a:lnTo>
                    <a:lnTo>
                      <a:pt x="1263" y="648"/>
                    </a:lnTo>
                    <a:lnTo>
                      <a:pt x="1263" y="646"/>
                    </a:lnTo>
                    <a:lnTo>
                      <a:pt x="1263" y="644"/>
                    </a:lnTo>
                    <a:lnTo>
                      <a:pt x="1263" y="643"/>
                    </a:lnTo>
                    <a:lnTo>
                      <a:pt x="1263" y="641"/>
                    </a:lnTo>
                    <a:lnTo>
                      <a:pt x="1263" y="639"/>
                    </a:lnTo>
                    <a:lnTo>
                      <a:pt x="1263" y="638"/>
                    </a:lnTo>
                    <a:lnTo>
                      <a:pt x="1263" y="636"/>
                    </a:lnTo>
                    <a:lnTo>
                      <a:pt x="1264" y="636"/>
                    </a:lnTo>
                    <a:lnTo>
                      <a:pt x="1264" y="634"/>
                    </a:lnTo>
                    <a:lnTo>
                      <a:pt x="1264" y="633"/>
                    </a:lnTo>
                    <a:lnTo>
                      <a:pt x="1264" y="631"/>
                    </a:lnTo>
                    <a:lnTo>
                      <a:pt x="1264" y="629"/>
                    </a:lnTo>
                    <a:lnTo>
                      <a:pt x="1264" y="627"/>
                    </a:lnTo>
                    <a:lnTo>
                      <a:pt x="1263" y="627"/>
                    </a:lnTo>
                    <a:lnTo>
                      <a:pt x="1264" y="627"/>
                    </a:lnTo>
                    <a:lnTo>
                      <a:pt x="1263" y="626"/>
                    </a:lnTo>
                    <a:lnTo>
                      <a:pt x="1264" y="626"/>
                    </a:lnTo>
                    <a:lnTo>
                      <a:pt x="1266" y="624"/>
                    </a:lnTo>
                    <a:lnTo>
                      <a:pt x="1266" y="622"/>
                    </a:lnTo>
                    <a:lnTo>
                      <a:pt x="1268" y="621"/>
                    </a:lnTo>
                    <a:lnTo>
                      <a:pt x="1268" y="619"/>
                    </a:lnTo>
                    <a:lnTo>
                      <a:pt x="1270" y="617"/>
                    </a:lnTo>
                    <a:lnTo>
                      <a:pt x="1270" y="616"/>
                    </a:lnTo>
                    <a:lnTo>
                      <a:pt x="1270" y="614"/>
                    </a:lnTo>
                    <a:lnTo>
                      <a:pt x="1271" y="612"/>
                    </a:lnTo>
                    <a:lnTo>
                      <a:pt x="1273" y="612"/>
                    </a:lnTo>
                    <a:lnTo>
                      <a:pt x="1273" y="610"/>
                    </a:lnTo>
                    <a:lnTo>
                      <a:pt x="1275" y="610"/>
                    </a:lnTo>
                    <a:lnTo>
                      <a:pt x="1275" y="609"/>
                    </a:lnTo>
                    <a:lnTo>
                      <a:pt x="1276" y="609"/>
                    </a:lnTo>
                    <a:lnTo>
                      <a:pt x="1276" y="607"/>
                    </a:lnTo>
                    <a:lnTo>
                      <a:pt x="1276" y="605"/>
                    </a:lnTo>
                    <a:lnTo>
                      <a:pt x="1276" y="604"/>
                    </a:lnTo>
                    <a:lnTo>
                      <a:pt x="1276" y="602"/>
                    </a:lnTo>
                    <a:lnTo>
                      <a:pt x="1276" y="600"/>
                    </a:lnTo>
                    <a:lnTo>
                      <a:pt x="1275" y="599"/>
                    </a:lnTo>
                    <a:lnTo>
                      <a:pt x="1273" y="599"/>
                    </a:lnTo>
                    <a:lnTo>
                      <a:pt x="1275" y="597"/>
                    </a:lnTo>
                    <a:lnTo>
                      <a:pt x="1273" y="597"/>
                    </a:lnTo>
                    <a:lnTo>
                      <a:pt x="1275" y="597"/>
                    </a:lnTo>
                    <a:lnTo>
                      <a:pt x="1275" y="595"/>
                    </a:lnTo>
                    <a:lnTo>
                      <a:pt x="1276" y="593"/>
                    </a:lnTo>
                    <a:lnTo>
                      <a:pt x="1275" y="593"/>
                    </a:lnTo>
                    <a:lnTo>
                      <a:pt x="1275" y="592"/>
                    </a:lnTo>
                    <a:lnTo>
                      <a:pt x="1275" y="590"/>
                    </a:lnTo>
                    <a:lnTo>
                      <a:pt x="1275" y="588"/>
                    </a:lnTo>
                    <a:lnTo>
                      <a:pt x="1273" y="588"/>
                    </a:lnTo>
                    <a:lnTo>
                      <a:pt x="1275" y="588"/>
                    </a:lnTo>
                    <a:lnTo>
                      <a:pt x="1275" y="587"/>
                    </a:lnTo>
                    <a:lnTo>
                      <a:pt x="1273" y="587"/>
                    </a:lnTo>
                    <a:lnTo>
                      <a:pt x="1273" y="585"/>
                    </a:lnTo>
                    <a:lnTo>
                      <a:pt x="1275" y="585"/>
                    </a:lnTo>
                    <a:lnTo>
                      <a:pt x="1275" y="583"/>
                    </a:lnTo>
                    <a:lnTo>
                      <a:pt x="1275" y="582"/>
                    </a:lnTo>
                    <a:lnTo>
                      <a:pt x="1276" y="582"/>
                    </a:lnTo>
                    <a:lnTo>
                      <a:pt x="1278" y="582"/>
                    </a:lnTo>
                    <a:lnTo>
                      <a:pt x="1280" y="580"/>
                    </a:lnTo>
                    <a:lnTo>
                      <a:pt x="1280" y="578"/>
                    </a:lnTo>
                    <a:lnTo>
                      <a:pt x="1278" y="578"/>
                    </a:lnTo>
                    <a:lnTo>
                      <a:pt x="1280" y="578"/>
                    </a:lnTo>
                    <a:lnTo>
                      <a:pt x="1280" y="576"/>
                    </a:lnTo>
                    <a:lnTo>
                      <a:pt x="1280" y="575"/>
                    </a:lnTo>
                    <a:lnTo>
                      <a:pt x="1280" y="573"/>
                    </a:lnTo>
                    <a:lnTo>
                      <a:pt x="1280" y="571"/>
                    </a:lnTo>
                    <a:lnTo>
                      <a:pt x="1281" y="571"/>
                    </a:lnTo>
                    <a:lnTo>
                      <a:pt x="1281" y="570"/>
                    </a:lnTo>
                    <a:lnTo>
                      <a:pt x="1280" y="570"/>
                    </a:lnTo>
                    <a:lnTo>
                      <a:pt x="1281" y="570"/>
                    </a:lnTo>
                    <a:lnTo>
                      <a:pt x="1281" y="568"/>
                    </a:lnTo>
                    <a:lnTo>
                      <a:pt x="1283" y="568"/>
                    </a:lnTo>
                    <a:lnTo>
                      <a:pt x="1283" y="566"/>
                    </a:lnTo>
                    <a:lnTo>
                      <a:pt x="1283" y="565"/>
                    </a:lnTo>
                    <a:lnTo>
                      <a:pt x="1281" y="565"/>
                    </a:lnTo>
                    <a:lnTo>
                      <a:pt x="1281" y="563"/>
                    </a:lnTo>
                    <a:lnTo>
                      <a:pt x="1281" y="561"/>
                    </a:lnTo>
                    <a:lnTo>
                      <a:pt x="1283" y="561"/>
                    </a:lnTo>
                    <a:lnTo>
                      <a:pt x="1283" y="559"/>
                    </a:lnTo>
                    <a:lnTo>
                      <a:pt x="1283" y="558"/>
                    </a:lnTo>
                    <a:lnTo>
                      <a:pt x="1285" y="556"/>
                    </a:lnTo>
                    <a:lnTo>
                      <a:pt x="1283" y="556"/>
                    </a:lnTo>
                    <a:lnTo>
                      <a:pt x="1283" y="554"/>
                    </a:lnTo>
                    <a:lnTo>
                      <a:pt x="1281" y="554"/>
                    </a:lnTo>
                    <a:lnTo>
                      <a:pt x="1281" y="553"/>
                    </a:lnTo>
                    <a:lnTo>
                      <a:pt x="1281" y="551"/>
                    </a:lnTo>
                    <a:lnTo>
                      <a:pt x="1280" y="549"/>
                    </a:lnTo>
                    <a:lnTo>
                      <a:pt x="1280" y="548"/>
                    </a:lnTo>
                    <a:lnTo>
                      <a:pt x="1280" y="546"/>
                    </a:lnTo>
                    <a:lnTo>
                      <a:pt x="1280" y="544"/>
                    </a:lnTo>
                    <a:lnTo>
                      <a:pt x="1280" y="542"/>
                    </a:lnTo>
                    <a:lnTo>
                      <a:pt x="1280" y="541"/>
                    </a:lnTo>
                    <a:lnTo>
                      <a:pt x="1280" y="539"/>
                    </a:lnTo>
                    <a:lnTo>
                      <a:pt x="1281" y="539"/>
                    </a:lnTo>
                    <a:lnTo>
                      <a:pt x="1280" y="539"/>
                    </a:lnTo>
                    <a:lnTo>
                      <a:pt x="1280" y="537"/>
                    </a:lnTo>
                    <a:lnTo>
                      <a:pt x="1281" y="536"/>
                    </a:lnTo>
                    <a:lnTo>
                      <a:pt x="1280" y="536"/>
                    </a:lnTo>
                    <a:lnTo>
                      <a:pt x="1280" y="534"/>
                    </a:lnTo>
                    <a:lnTo>
                      <a:pt x="1278" y="536"/>
                    </a:lnTo>
                    <a:lnTo>
                      <a:pt x="1278" y="534"/>
                    </a:lnTo>
                    <a:lnTo>
                      <a:pt x="1280" y="534"/>
                    </a:lnTo>
                    <a:lnTo>
                      <a:pt x="1280" y="532"/>
                    </a:lnTo>
                    <a:lnTo>
                      <a:pt x="1280" y="531"/>
                    </a:lnTo>
                    <a:lnTo>
                      <a:pt x="1280" y="529"/>
                    </a:lnTo>
                    <a:lnTo>
                      <a:pt x="1278" y="527"/>
                    </a:lnTo>
                    <a:lnTo>
                      <a:pt x="1278" y="525"/>
                    </a:lnTo>
                    <a:lnTo>
                      <a:pt x="1278" y="524"/>
                    </a:lnTo>
                    <a:lnTo>
                      <a:pt x="1278" y="522"/>
                    </a:lnTo>
                    <a:lnTo>
                      <a:pt x="1278" y="520"/>
                    </a:lnTo>
                    <a:lnTo>
                      <a:pt x="1278" y="519"/>
                    </a:lnTo>
                    <a:lnTo>
                      <a:pt x="1278" y="517"/>
                    </a:lnTo>
                    <a:lnTo>
                      <a:pt x="1276" y="517"/>
                    </a:lnTo>
                    <a:lnTo>
                      <a:pt x="1276" y="515"/>
                    </a:lnTo>
                    <a:lnTo>
                      <a:pt x="1276" y="514"/>
                    </a:lnTo>
                    <a:lnTo>
                      <a:pt x="1276" y="512"/>
                    </a:lnTo>
                    <a:lnTo>
                      <a:pt x="1276" y="510"/>
                    </a:lnTo>
                    <a:lnTo>
                      <a:pt x="1275" y="508"/>
                    </a:lnTo>
                    <a:lnTo>
                      <a:pt x="1276" y="508"/>
                    </a:lnTo>
                    <a:lnTo>
                      <a:pt x="1275" y="508"/>
                    </a:lnTo>
                    <a:lnTo>
                      <a:pt x="1275" y="507"/>
                    </a:lnTo>
                    <a:lnTo>
                      <a:pt x="1275" y="505"/>
                    </a:lnTo>
                    <a:lnTo>
                      <a:pt x="1276" y="505"/>
                    </a:lnTo>
                    <a:lnTo>
                      <a:pt x="1275" y="505"/>
                    </a:lnTo>
                    <a:lnTo>
                      <a:pt x="1275" y="503"/>
                    </a:lnTo>
                    <a:lnTo>
                      <a:pt x="1275" y="502"/>
                    </a:lnTo>
                    <a:lnTo>
                      <a:pt x="1276" y="502"/>
                    </a:lnTo>
                    <a:lnTo>
                      <a:pt x="1275" y="500"/>
                    </a:lnTo>
                    <a:lnTo>
                      <a:pt x="1276" y="500"/>
                    </a:lnTo>
                    <a:lnTo>
                      <a:pt x="1275" y="500"/>
                    </a:lnTo>
                    <a:lnTo>
                      <a:pt x="1275" y="498"/>
                    </a:lnTo>
                    <a:lnTo>
                      <a:pt x="1275" y="497"/>
                    </a:lnTo>
                    <a:lnTo>
                      <a:pt x="1275" y="495"/>
                    </a:lnTo>
                    <a:lnTo>
                      <a:pt x="1275" y="493"/>
                    </a:lnTo>
                    <a:lnTo>
                      <a:pt x="1273" y="493"/>
                    </a:lnTo>
                    <a:lnTo>
                      <a:pt x="1273" y="491"/>
                    </a:lnTo>
                    <a:lnTo>
                      <a:pt x="1275" y="490"/>
                    </a:lnTo>
                    <a:lnTo>
                      <a:pt x="1273" y="490"/>
                    </a:lnTo>
                    <a:lnTo>
                      <a:pt x="1275" y="490"/>
                    </a:lnTo>
                    <a:lnTo>
                      <a:pt x="1275" y="488"/>
                    </a:lnTo>
                    <a:lnTo>
                      <a:pt x="1273" y="488"/>
                    </a:lnTo>
                    <a:lnTo>
                      <a:pt x="1273" y="486"/>
                    </a:lnTo>
                    <a:lnTo>
                      <a:pt x="1273" y="485"/>
                    </a:lnTo>
                    <a:lnTo>
                      <a:pt x="1273" y="483"/>
                    </a:lnTo>
                    <a:lnTo>
                      <a:pt x="1275" y="483"/>
                    </a:lnTo>
                    <a:lnTo>
                      <a:pt x="1275" y="481"/>
                    </a:lnTo>
                    <a:lnTo>
                      <a:pt x="1275" y="479"/>
                    </a:lnTo>
                    <a:lnTo>
                      <a:pt x="1275" y="478"/>
                    </a:lnTo>
                    <a:lnTo>
                      <a:pt x="1275" y="476"/>
                    </a:lnTo>
                    <a:lnTo>
                      <a:pt x="1275" y="474"/>
                    </a:lnTo>
                    <a:lnTo>
                      <a:pt x="1275" y="473"/>
                    </a:lnTo>
                    <a:lnTo>
                      <a:pt x="1276" y="473"/>
                    </a:lnTo>
                    <a:lnTo>
                      <a:pt x="1276" y="471"/>
                    </a:lnTo>
                    <a:lnTo>
                      <a:pt x="1276" y="473"/>
                    </a:lnTo>
                    <a:lnTo>
                      <a:pt x="1278" y="474"/>
                    </a:lnTo>
                    <a:lnTo>
                      <a:pt x="1278" y="473"/>
                    </a:lnTo>
                    <a:lnTo>
                      <a:pt x="1280" y="473"/>
                    </a:lnTo>
                    <a:lnTo>
                      <a:pt x="1281" y="473"/>
                    </a:lnTo>
                    <a:lnTo>
                      <a:pt x="1280" y="471"/>
                    </a:lnTo>
                    <a:lnTo>
                      <a:pt x="1281" y="471"/>
                    </a:lnTo>
                    <a:lnTo>
                      <a:pt x="1281" y="469"/>
                    </a:lnTo>
                    <a:lnTo>
                      <a:pt x="1283" y="468"/>
                    </a:lnTo>
                    <a:lnTo>
                      <a:pt x="1283" y="469"/>
                    </a:lnTo>
                    <a:lnTo>
                      <a:pt x="1285" y="469"/>
                    </a:lnTo>
                    <a:lnTo>
                      <a:pt x="1285" y="468"/>
                    </a:lnTo>
                    <a:lnTo>
                      <a:pt x="1285" y="466"/>
                    </a:lnTo>
                    <a:lnTo>
                      <a:pt x="1285" y="464"/>
                    </a:lnTo>
                    <a:lnTo>
                      <a:pt x="1285" y="462"/>
                    </a:lnTo>
                    <a:lnTo>
                      <a:pt x="1283" y="462"/>
                    </a:lnTo>
                    <a:lnTo>
                      <a:pt x="1285" y="461"/>
                    </a:lnTo>
                    <a:lnTo>
                      <a:pt x="1285" y="459"/>
                    </a:lnTo>
                    <a:lnTo>
                      <a:pt x="1287" y="459"/>
                    </a:lnTo>
                    <a:lnTo>
                      <a:pt x="1287" y="461"/>
                    </a:lnTo>
                    <a:lnTo>
                      <a:pt x="1287" y="459"/>
                    </a:lnTo>
                    <a:lnTo>
                      <a:pt x="1288" y="459"/>
                    </a:lnTo>
                    <a:lnTo>
                      <a:pt x="1288" y="457"/>
                    </a:lnTo>
                    <a:lnTo>
                      <a:pt x="1288" y="456"/>
                    </a:lnTo>
                    <a:lnTo>
                      <a:pt x="1287" y="454"/>
                    </a:lnTo>
                    <a:lnTo>
                      <a:pt x="1287" y="452"/>
                    </a:lnTo>
                    <a:lnTo>
                      <a:pt x="1287" y="451"/>
                    </a:lnTo>
                    <a:lnTo>
                      <a:pt x="1287" y="449"/>
                    </a:lnTo>
                    <a:lnTo>
                      <a:pt x="1287" y="447"/>
                    </a:lnTo>
                    <a:lnTo>
                      <a:pt x="1288" y="447"/>
                    </a:lnTo>
                    <a:lnTo>
                      <a:pt x="1288" y="445"/>
                    </a:lnTo>
                    <a:lnTo>
                      <a:pt x="1287" y="445"/>
                    </a:lnTo>
                    <a:lnTo>
                      <a:pt x="1287" y="444"/>
                    </a:lnTo>
                    <a:lnTo>
                      <a:pt x="1287" y="442"/>
                    </a:lnTo>
                    <a:lnTo>
                      <a:pt x="1287" y="440"/>
                    </a:lnTo>
                    <a:lnTo>
                      <a:pt x="1287" y="439"/>
                    </a:lnTo>
                    <a:lnTo>
                      <a:pt x="1287" y="437"/>
                    </a:lnTo>
                    <a:lnTo>
                      <a:pt x="1287" y="435"/>
                    </a:lnTo>
                    <a:lnTo>
                      <a:pt x="1285" y="435"/>
                    </a:lnTo>
                    <a:lnTo>
                      <a:pt x="1285" y="434"/>
                    </a:lnTo>
                    <a:lnTo>
                      <a:pt x="1283" y="434"/>
                    </a:lnTo>
                    <a:lnTo>
                      <a:pt x="1281" y="432"/>
                    </a:lnTo>
                    <a:lnTo>
                      <a:pt x="1281" y="430"/>
                    </a:lnTo>
                    <a:lnTo>
                      <a:pt x="1280" y="428"/>
                    </a:lnTo>
                    <a:lnTo>
                      <a:pt x="1281" y="428"/>
                    </a:lnTo>
                    <a:lnTo>
                      <a:pt x="1281" y="427"/>
                    </a:lnTo>
                    <a:lnTo>
                      <a:pt x="1280" y="427"/>
                    </a:lnTo>
                    <a:lnTo>
                      <a:pt x="1281" y="425"/>
                    </a:lnTo>
                    <a:lnTo>
                      <a:pt x="1280" y="423"/>
                    </a:lnTo>
                    <a:lnTo>
                      <a:pt x="1281" y="423"/>
                    </a:lnTo>
                    <a:lnTo>
                      <a:pt x="1281" y="422"/>
                    </a:lnTo>
                    <a:lnTo>
                      <a:pt x="1280" y="422"/>
                    </a:lnTo>
                    <a:lnTo>
                      <a:pt x="1280" y="420"/>
                    </a:lnTo>
                    <a:lnTo>
                      <a:pt x="1280" y="418"/>
                    </a:lnTo>
                    <a:lnTo>
                      <a:pt x="1281" y="418"/>
                    </a:lnTo>
                    <a:lnTo>
                      <a:pt x="1281" y="417"/>
                    </a:lnTo>
                    <a:lnTo>
                      <a:pt x="1283" y="417"/>
                    </a:lnTo>
                    <a:lnTo>
                      <a:pt x="1285" y="415"/>
                    </a:lnTo>
                    <a:lnTo>
                      <a:pt x="1285" y="413"/>
                    </a:lnTo>
                    <a:lnTo>
                      <a:pt x="1287" y="411"/>
                    </a:lnTo>
                    <a:lnTo>
                      <a:pt x="1288" y="411"/>
                    </a:lnTo>
                    <a:lnTo>
                      <a:pt x="1288" y="410"/>
                    </a:lnTo>
                    <a:lnTo>
                      <a:pt x="1288" y="408"/>
                    </a:lnTo>
                    <a:lnTo>
                      <a:pt x="1287" y="408"/>
                    </a:lnTo>
                    <a:lnTo>
                      <a:pt x="1287" y="406"/>
                    </a:lnTo>
                    <a:lnTo>
                      <a:pt x="1288" y="406"/>
                    </a:lnTo>
                    <a:lnTo>
                      <a:pt x="1288" y="405"/>
                    </a:lnTo>
                    <a:lnTo>
                      <a:pt x="1288" y="403"/>
                    </a:lnTo>
                    <a:lnTo>
                      <a:pt x="1290" y="403"/>
                    </a:lnTo>
                    <a:lnTo>
                      <a:pt x="1290" y="401"/>
                    </a:lnTo>
                    <a:lnTo>
                      <a:pt x="1292" y="400"/>
                    </a:lnTo>
                    <a:lnTo>
                      <a:pt x="1292" y="398"/>
                    </a:lnTo>
                    <a:lnTo>
                      <a:pt x="1292" y="396"/>
                    </a:lnTo>
                    <a:lnTo>
                      <a:pt x="1290" y="396"/>
                    </a:lnTo>
                    <a:lnTo>
                      <a:pt x="1292" y="396"/>
                    </a:lnTo>
                    <a:lnTo>
                      <a:pt x="1292" y="394"/>
                    </a:lnTo>
                    <a:lnTo>
                      <a:pt x="1292" y="393"/>
                    </a:lnTo>
                    <a:lnTo>
                      <a:pt x="1292" y="391"/>
                    </a:lnTo>
                    <a:lnTo>
                      <a:pt x="1292" y="389"/>
                    </a:lnTo>
                    <a:lnTo>
                      <a:pt x="1292" y="388"/>
                    </a:lnTo>
                    <a:lnTo>
                      <a:pt x="1293" y="388"/>
                    </a:lnTo>
                    <a:lnTo>
                      <a:pt x="1292" y="386"/>
                    </a:lnTo>
                    <a:lnTo>
                      <a:pt x="1293" y="386"/>
                    </a:lnTo>
                    <a:lnTo>
                      <a:pt x="1292" y="386"/>
                    </a:lnTo>
                    <a:lnTo>
                      <a:pt x="1293" y="386"/>
                    </a:lnTo>
                    <a:lnTo>
                      <a:pt x="1292" y="384"/>
                    </a:lnTo>
                    <a:lnTo>
                      <a:pt x="1293" y="384"/>
                    </a:lnTo>
                    <a:lnTo>
                      <a:pt x="1292" y="384"/>
                    </a:lnTo>
                    <a:lnTo>
                      <a:pt x="1293" y="383"/>
                    </a:lnTo>
                    <a:lnTo>
                      <a:pt x="1293" y="381"/>
                    </a:lnTo>
                    <a:lnTo>
                      <a:pt x="1293" y="379"/>
                    </a:lnTo>
                    <a:lnTo>
                      <a:pt x="1295" y="377"/>
                    </a:lnTo>
                    <a:lnTo>
                      <a:pt x="1295" y="376"/>
                    </a:lnTo>
                    <a:lnTo>
                      <a:pt x="1295" y="374"/>
                    </a:lnTo>
                    <a:lnTo>
                      <a:pt x="1297" y="374"/>
                    </a:lnTo>
                    <a:lnTo>
                      <a:pt x="1297" y="372"/>
                    </a:lnTo>
                    <a:lnTo>
                      <a:pt x="1298" y="372"/>
                    </a:lnTo>
                    <a:lnTo>
                      <a:pt x="1300" y="372"/>
                    </a:lnTo>
                    <a:lnTo>
                      <a:pt x="1300" y="371"/>
                    </a:lnTo>
                    <a:lnTo>
                      <a:pt x="1300" y="369"/>
                    </a:lnTo>
                    <a:lnTo>
                      <a:pt x="1300" y="367"/>
                    </a:lnTo>
                    <a:lnTo>
                      <a:pt x="1302" y="367"/>
                    </a:lnTo>
                    <a:lnTo>
                      <a:pt x="1302" y="366"/>
                    </a:lnTo>
                    <a:lnTo>
                      <a:pt x="1300" y="366"/>
                    </a:lnTo>
                    <a:lnTo>
                      <a:pt x="1302" y="366"/>
                    </a:lnTo>
                    <a:lnTo>
                      <a:pt x="1300" y="364"/>
                    </a:lnTo>
                    <a:lnTo>
                      <a:pt x="1300" y="362"/>
                    </a:lnTo>
                    <a:lnTo>
                      <a:pt x="1298" y="360"/>
                    </a:lnTo>
                    <a:lnTo>
                      <a:pt x="1300" y="359"/>
                    </a:lnTo>
                    <a:lnTo>
                      <a:pt x="1300" y="357"/>
                    </a:lnTo>
                    <a:lnTo>
                      <a:pt x="1298" y="357"/>
                    </a:lnTo>
                    <a:lnTo>
                      <a:pt x="1298" y="355"/>
                    </a:lnTo>
                    <a:lnTo>
                      <a:pt x="1298" y="354"/>
                    </a:lnTo>
                    <a:lnTo>
                      <a:pt x="1298" y="352"/>
                    </a:lnTo>
                    <a:lnTo>
                      <a:pt x="1300" y="350"/>
                    </a:lnTo>
                    <a:lnTo>
                      <a:pt x="1300" y="352"/>
                    </a:lnTo>
                    <a:lnTo>
                      <a:pt x="1302" y="352"/>
                    </a:lnTo>
                    <a:lnTo>
                      <a:pt x="1302" y="350"/>
                    </a:lnTo>
                    <a:lnTo>
                      <a:pt x="1304" y="350"/>
                    </a:lnTo>
                    <a:lnTo>
                      <a:pt x="1302" y="349"/>
                    </a:lnTo>
                    <a:lnTo>
                      <a:pt x="1304" y="349"/>
                    </a:lnTo>
                    <a:lnTo>
                      <a:pt x="1304" y="347"/>
                    </a:lnTo>
                    <a:lnTo>
                      <a:pt x="1305" y="347"/>
                    </a:lnTo>
                    <a:lnTo>
                      <a:pt x="1305" y="345"/>
                    </a:lnTo>
                    <a:lnTo>
                      <a:pt x="1304" y="345"/>
                    </a:lnTo>
                    <a:lnTo>
                      <a:pt x="1304" y="343"/>
                    </a:lnTo>
                    <a:lnTo>
                      <a:pt x="1304" y="342"/>
                    </a:lnTo>
                    <a:lnTo>
                      <a:pt x="1304" y="340"/>
                    </a:lnTo>
                    <a:lnTo>
                      <a:pt x="1305" y="338"/>
                    </a:lnTo>
                    <a:lnTo>
                      <a:pt x="1307" y="337"/>
                    </a:lnTo>
                    <a:lnTo>
                      <a:pt x="1305" y="337"/>
                    </a:lnTo>
                    <a:lnTo>
                      <a:pt x="1305" y="335"/>
                    </a:lnTo>
                    <a:lnTo>
                      <a:pt x="1307" y="335"/>
                    </a:lnTo>
                    <a:lnTo>
                      <a:pt x="1307" y="333"/>
                    </a:lnTo>
                    <a:lnTo>
                      <a:pt x="1307" y="331"/>
                    </a:lnTo>
                    <a:lnTo>
                      <a:pt x="1307" y="330"/>
                    </a:lnTo>
                    <a:lnTo>
                      <a:pt x="1309" y="330"/>
                    </a:lnTo>
                    <a:lnTo>
                      <a:pt x="1307" y="330"/>
                    </a:lnTo>
                    <a:lnTo>
                      <a:pt x="1307" y="328"/>
                    </a:lnTo>
                    <a:lnTo>
                      <a:pt x="1309" y="326"/>
                    </a:lnTo>
                    <a:lnTo>
                      <a:pt x="1309" y="325"/>
                    </a:lnTo>
                    <a:lnTo>
                      <a:pt x="1307" y="325"/>
                    </a:lnTo>
                    <a:lnTo>
                      <a:pt x="1307" y="323"/>
                    </a:lnTo>
                    <a:lnTo>
                      <a:pt x="1309" y="323"/>
                    </a:lnTo>
                    <a:lnTo>
                      <a:pt x="1310" y="323"/>
                    </a:lnTo>
                    <a:lnTo>
                      <a:pt x="1310" y="321"/>
                    </a:lnTo>
                    <a:lnTo>
                      <a:pt x="1310" y="320"/>
                    </a:lnTo>
                    <a:lnTo>
                      <a:pt x="1309" y="320"/>
                    </a:lnTo>
                    <a:lnTo>
                      <a:pt x="1309" y="318"/>
                    </a:lnTo>
                    <a:lnTo>
                      <a:pt x="1309" y="316"/>
                    </a:lnTo>
                    <a:lnTo>
                      <a:pt x="1309" y="314"/>
                    </a:lnTo>
                    <a:lnTo>
                      <a:pt x="1309" y="313"/>
                    </a:lnTo>
                    <a:lnTo>
                      <a:pt x="1309" y="311"/>
                    </a:lnTo>
                    <a:lnTo>
                      <a:pt x="1310" y="311"/>
                    </a:lnTo>
                    <a:lnTo>
                      <a:pt x="1310" y="309"/>
                    </a:lnTo>
                    <a:lnTo>
                      <a:pt x="1310" y="308"/>
                    </a:lnTo>
                    <a:lnTo>
                      <a:pt x="1309" y="306"/>
                    </a:lnTo>
                    <a:lnTo>
                      <a:pt x="1309" y="304"/>
                    </a:lnTo>
                    <a:lnTo>
                      <a:pt x="1307" y="304"/>
                    </a:lnTo>
                    <a:lnTo>
                      <a:pt x="1307" y="303"/>
                    </a:lnTo>
                    <a:lnTo>
                      <a:pt x="1307" y="301"/>
                    </a:lnTo>
                    <a:lnTo>
                      <a:pt x="1307" y="299"/>
                    </a:lnTo>
                    <a:lnTo>
                      <a:pt x="1309" y="299"/>
                    </a:lnTo>
                    <a:lnTo>
                      <a:pt x="1307" y="297"/>
                    </a:lnTo>
                    <a:lnTo>
                      <a:pt x="1309" y="297"/>
                    </a:lnTo>
                    <a:lnTo>
                      <a:pt x="1309" y="296"/>
                    </a:lnTo>
                    <a:lnTo>
                      <a:pt x="1310" y="296"/>
                    </a:lnTo>
                    <a:lnTo>
                      <a:pt x="1310" y="294"/>
                    </a:lnTo>
                    <a:lnTo>
                      <a:pt x="1309" y="294"/>
                    </a:lnTo>
                    <a:lnTo>
                      <a:pt x="1310" y="294"/>
                    </a:lnTo>
                    <a:lnTo>
                      <a:pt x="1310" y="292"/>
                    </a:lnTo>
                    <a:lnTo>
                      <a:pt x="1309" y="291"/>
                    </a:lnTo>
                    <a:lnTo>
                      <a:pt x="1310" y="291"/>
                    </a:lnTo>
                    <a:lnTo>
                      <a:pt x="1312" y="291"/>
                    </a:lnTo>
                    <a:lnTo>
                      <a:pt x="1312" y="289"/>
                    </a:lnTo>
                    <a:lnTo>
                      <a:pt x="1314" y="289"/>
                    </a:lnTo>
                    <a:lnTo>
                      <a:pt x="1314" y="287"/>
                    </a:lnTo>
                    <a:lnTo>
                      <a:pt x="1314" y="286"/>
                    </a:lnTo>
                    <a:lnTo>
                      <a:pt x="1315" y="287"/>
                    </a:lnTo>
                    <a:lnTo>
                      <a:pt x="1315" y="286"/>
                    </a:lnTo>
                    <a:lnTo>
                      <a:pt x="1315" y="284"/>
                    </a:lnTo>
                    <a:lnTo>
                      <a:pt x="1315" y="282"/>
                    </a:lnTo>
                    <a:lnTo>
                      <a:pt x="1317" y="282"/>
                    </a:lnTo>
                    <a:lnTo>
                      <a:pt x="1317" y="280"/>
                    </a:lnTo>
                    <a:lnTo>
                      <a:pt x="1317" y="279"/>
                    </a:lnTo>
                    <a:lnTo>
                      <a:pt x="1315" y="277"/>
                    </a:lnTo>
                    <a:lnTo>
                      <a:pt x="1315" y="275"/>
                    </a:lnTo>
                    <a:lnTo>
                      <a:pt x="1314" y="275"/>
                    </a:lnTo>
                    <a:lnTo>
                      <a:pt x="1315" y="274"/>
                    </a:lnTo>
                    <a:lnTo>
                      <a:pt x="1315" y="272"/>
                    </a:lnTo>
                    <a:lnTo>
                      <a:pt x="1315" y="270"/>
                    </a:lnTo>
                    <a:lnTo>
                      <a:pt x="1314" y="269"/>
                    </a:lnTo>
                    <a:lnTo>
                      <a:pt x="1314" y="267"/>
                    </a:lnTo>
                    <a:lnTo>
                      <a:pt x="1314" y="265"/>
                    </a:lnTo>
                    <a:lnTo>
                      <a:pt x="1312" y="265"/>
                    </a:lnTo>
                    <a:lnTo>
                      <a:pt x="1314" y="265"/>
                    </a:lnTo>
                    <a:lnTo>
                      <a:pt x="1312" y="265"/>
                    </a:lnTo>
                    <a:lnTo>
                      <a:pt x="1312" y="263"/>
                    </a:lnTo>
                    <a:lnTo>
                      <a:pt x="1312" y="262"/>
                    </a:lnTo>
                    <a:lnTo>
                      <a:pt x="1312" y="260"/>
                    </a:lnTo>
                    <a:lnTo>
                      <a:pt x="1312" y="258"/>
                    </a:lnTo>
                    <a:lnTo>
                      <a:pt x="1312" y="257"/>
                    </a:lnTo>
                    <a:lnTo>
                      <a:pt x="1312" y="255"/>
                    </a:lnTo>
                    <a:lnTo>
                      <a:pt x="1312" y="253"/>
                    </a:lnTo>
                    <a:lnTo>
                      <a:pt x="1312" y="252"/>
                    </a:lnTo>
                    <a:lnTo>
                      <a:pt x="1312" y="250"/>
                    </a:lnTo>
                    <a:lnTo>
                      <a:pt x="1314" y="250"/>
                    </a:lnTo>
                    <a:lnTo>
                      <a:pt x="1312" y="248"/>
                    </a:lnTo>
                    <a:lnTo>
                      <a:pt x="1314" y="248"/>
                    </a:lnTo>
                    <a:lnTo>
                      <a:pt x="1312" y="246"/>
                    </a:lnTo>
                    <a:lnTo>
                      <a:pt x="1314" y="246"/>
                    </a:lnTo>
                    <a:lnTo>
                      <a:pt x="1314" y="245"/>
                    </a:lnTo>
                    <a:lnTo>
                      <a:pt x="1314" y="243"/>
                    </a:lnTo>
                    <a:lnTo>
                      <a:pt x="1314" y="241"/>
                    </a:lnTo>
                    <a:lnTo>
                      <a:pt x="1314" y="240"/>
                    </a:lnTo>
                    <a:lnTo>
                      <a:pt x="1314" y="238"/>
                    </a:lnTo>
                    <a:lnTo>
                      <a:pt x="1314" y="236"/>
                    </a:lnTo>
                    <a:lnTo>
                      <a:pt x="1314" y="235"/>
                    </a:lnTo>
                    <a:lnTo>
                      <a:pt x="1314" y="233"/>
                    </a:lnTo>
                    <a:lnTo>
                      <a:pt x="1314" y="231"/>
                    </a:lnTo>
                    <a:lnTo>
                      <a:pt x="1314" y="229"/>
                    </a:lnTo>
                    <a:lnTo>
                      <a:pt x="1314" y="228"/>
                    </a:lnTo>
                    <a:lnTo>
                      <a:pt x="1314" y="226"/>
                    </a:lnTo>
                    <a:lnTo>
                      <a:pt x="1315" y="226"/>
                    </a:lnTo>
                    <a:lnTo>
                      <a:pt x="1315" y="224"/>
                    </a:lnTo>
                    <a:lnTo>
                      <a:pt x="1317" y="224"/>
                    </a:lnTo>
                    <a:lnTo>
                      <a:pt x="1317" y="223"/>
                    </a:lnTo>
                    <a:lnTo>
                      <a:pt x="1317" y="221"/>
                    </a:lnTo>
                    <a:lnTo>
                      <a:pt x="1317" y="219"/>
                    </a:lnTo>
                    <a:lnTo>
                      <a:pt x="1317" y="218"/>
                    </a:lnTo>
                    <a:lnTo>
                      <a:pt x="1317" y="216"/>
                    </a:lnTo>
                    <a:lnTo>
                      <a:pt x="1315" y="216"/>
                    </a:lnTo>
                    <a:lnTo>
                      <a:pt x="1315" y="214"/>
                    </a:lnTo>
                    <a:lnTo>
                      <a:pt x="1314" y="214"/>
                    </a:lnTo>
                    <a:lnTo>
                      <a:pt x="1314" y="216"/>
                    </a:lnTo>
                    <a:lnTo>
                      <a:pt x="1312" y="218"/>
                    </a:lnTo>
                    <a:lnTo>
                      <a:pt x="1312" y="216"/>
                    </a:lnTo>
                    <a:lnTo>
                      <a:pt x="1310" y="216"/>
                    </a:lnTo>
                    <a:lnTo>
                      <a:pt x="1310" y="214"/>
                    </a:lnTo>
                    <a:lnTo>
                      <a:pt x="1312" y="212"/>
                    </a:lnTo>
                    <a:lnTo>
                      <a:pt x="1310" y="212"/>
                    </a:lnTo>
                    <a:lnTo>
                      <a:pt x="1310" y="211"/>
                    </a:lnTo>
                    <a:lnTo>
                      <a:pt x="1312" y="209"/>
                    </a:lnTo>
                    <a:lnTo>
                      <a:pt x="1310" y="209"/>
                    </a:lnTo>
                    <a:lnTo>
                      <a:pt x="1310" y="207"/>
                    </a:lnTo>
                    <a:lnTo>
                      <a:pt x="1310" y="206"/>
                    </a:lnTo>
                    <a:lnTo>
                      <a:pt x="1312" y="206"/>
                    </a:lnTo>
                    <a:lnTo>
                      <a:pt x="1312" y="204"/>
                    </a:lnTo>
                    <a:lnTo>
                      <a:pt x="1312" y="202"/>
                    </a:lnTo>
                    <a:lnTo>
                      <a:pt x="1312" y="201"/>
                    </a:lnTo>
                    <a:lnTo>
                      <a:pt x="1312" y="199"/>
                    </a:lnTo>
                    <a:lnTo>
                      <a:pt x="1314" y="199"/>
                    </a:lnTo>
                    <a:lnTo>
                      <a:pt x="1314" y="201"/>
                    </a:lnTo>
                    <a:lnTo>
                      <a:pt x="1315" y="201"/>
                    </a:lnTo>
                    <a:lnTo>
                      <a:pt x="1317" y="201"/>
                    </a:lnTo>
                    <a:lnTo>
                      <a:pt x="1319" y="201"/>
                    </a:lnTo>
                    <a:lnTo>
                      <a:pt x="1319" y="199"/>
                    </a:lnTo>
                    <a:lnTo>
                      <a:pt x="1321" y="197"/>
                    </a:lnTo>
                    <a:lnTo>
                      <a:pt x="1321" y="195"/>
                    </a:lnTo>
                    <a:lnTo>
                      <a:pt x="1321" y="194"/>
                    </a:lnTo>
                    <a:lnTo>
                      <a:pt x="1322" y="194"/>
                    </a:lnTo>
                    <a:lnTo>
                      <a:pt x="1321" y="192"/>
                    </a:lnTo>
                    <a:lnTo>
                      <a:pt x="1321" y="190"/>
                    </a:lnTo>
                    <a:lnTo>
                      <a:pt x="1321" y="189"/>
                    </a:lnTo>
                    <a:lnTo>
                      <a:pt x="1322" y="187"/>
                    </a:lnTo>
                    <a:lnTo>
                      <a:pt x="1322" y="185"/>
                    </a:lnTo>
                    <a:lnTo>
                      <a:pt x="1322" y="184"/>
                    </a:lnTo>
                    <a:lnTo>
                      <a:pt x="1322" y="182"/>
                    </a:lnTo>
                    <a:lnTo>
                      <a:pt x="1322" y="180"/>
                    </a:lnTo>
                    <a:lnTo>
                      <a:pt x="1324" y="178"/>
                    </a:lnTo>
                    <a:lnTo>
                      <a:pt x="1322" y="178"/>
                    </a:lnTo>
                    <a:lnTo>
                      <a:pt x="1322" y="177"/>
                    </a:lnTo>
                    <a:lnTo>
                      <a:pt x="1322" y="175"/>
                    </a:lnTo>
                    <a:lnTo>
                      <a:pt x="1322" y="173"/>
                    </a:lnTo>
                    <a:lnTo>
                      <a:pt x="1324" y="172"/>
                    </a:lnTo>
                    <a:lnTo>
                      <a:pt x="1322" y="172"/>
                    </a:lnTo>
                    <a:lnTo>
                      <a:pt x="1324" y="170"/>
                    </a:lnTo>
                    <a:lnTo>
                      <a:pt x="1324" y="168"/>
                    </a:lnTo>
                    <a:lnTo>
                      <a:pt x="1324" y="166"/>
                    </a:lnTo>
                    <a:lnTo>
                      <a:pt x="1324" y="165"/>
                    </a:lnTo>
                    <a:lnTo>
                      <a:pt x="1324" y="163"/>
                    </a:lnTo>
                    <a:lnTo>
                      <a:pt x="1326" y="163"/>
                    </a:lnTo>
                    <a:lnTo>
                      <a:pt x="1324" y="163"/>
                    </a:lnTo>
                    <a:lnTo>
                      <a:pt x="1324" y="161"/>
                    </a:lnTo>
                    <a:lnTo>
                      <a:pt x="1326" y="161"/>
                    </a:lnTo>
                    <a:lnTo>
                      <a:pt x="1326" y="160"/>
                    </a:lnTo>
                    <a:lnTo>
                      <a:pt x="1326" y="158"/>
                    </a:lnTo>
                    <a:lnTo>
                      <a:pt x="1326" y="156"/>
                    </a:lnTo>
                    <a:lnTo>
                      <a:pt x="1326" y="155"/>
                    </a:lnTo>
                    <a:lnTo>
                      <a:pt x="1326" y="153"/>
                    </a:lnTo>
                    <a:lnTo>
                      <a:pt x="1326" y="151"/>
                    </a:lnTo>
                    <a:lnTo>
                      <a:pt x="1326" y="149"/>
                    </a:lnTo>
                    <a:lnTo>
                      <a:pt x="1326" y="148"/>
                    </a:lnTo>
                    <a:lnTo>
                      <a:pt x="1327" y="148"/>
                    </a:lnTo>
                    <a:lnTo>
                      <a:pt x="1327" y="146"/>
                    </a:lnTo>
                    <a:lnTo>
                      <a:pt x="1327" y="144"/>
                    </a:lnTo>
                    <a:lnTo>
                      <a:pt x="1329" y="144"/>
                    </a:lnTo>
                    <a:lnTo>
                      <a:pt x="1329" y="143"/>
                    </a:lnTo>
                    <a:lnTo>
                      <a:pt x="1329" y="141"/>
                    </a:lnTo>
                    <a:lnTo>
                      <a:pt x="1329" y="139"/>
                    </a:lnTo>
                    <a:lnTo>
                      <a:pt x="1329" y="138"/>
                    </a:lnTo>
                    <a:lnTo>
                      <a:pt x="1327" y="138"/>
                    </a:lnTo>
                    <a:lnTo>
                      <a:pt x="1329" y="136"/>
                    </a:lnTo>
                    <a:lnTo>
                      <a:pt x="1329" y="134"/>
                    </a:lnTo>
                    <a:lnTo>
                      <a:pt x="1329" y="132"/>
                    </a:lnTo>
                    <a:lnTo>
                      <a:pt x="1327" y="132"/>
                    </a:lnTo>
                    <a:lnTo>
                      <a:pt x="1327" y="131"/>
                    </a:lnTo>
                    <a:lnTo>
                      <a:pt x="1327" y="129"/>
                    </a:lnTo>
                    <a:lnTo>
                      <a:pt x="1327" y="127"/>
                    </a:lnTo>
                    <a:lnTo>
                      <a:pt x="1326" y="127"/>
                    </a:lnTo>
                    <a:lnTo>
                      <a:pt x="1326" y="126"/>
                    </a:lnTo>
                    <a:lnTo>
                      <a:pt x="1326" y="124"/>
                    </a:lnTo>
                    <a:lnTo>
                      <a:pt x="1327" y="122"/>
                    </a:lnTo>
                    <a:lnTo>
                      <a:pt x="1326" y="121"/>
                    </a:lnTo>
                    <a:lnTo>
                      <a:pt x="1327" y="121"/>
                    </a:lnTo>
                    <a:lnTo>
                      <a:pt x="1326" y="121"/>
                    </a:lnTo>
                    <a:lnTo>
                      <a:pt x="1326" y="119"/>
                    </a:lnTo>
                    <a:lnTo>
                      <a:pt x="1324" y="117"/>
                    </a:lnTo>
                    <a:lnTo>
                      <a:pt x="1326" y="117"/>
                    </a:lnTo>
                    <a:lnTo>
                      <a:pt x="1324" y="117"/>
                    </a:lnTo>
                    <a:lnTo>
                      <a:pt x="1324" y="115"/>
                    </a:lnTo>
                    <a:lnTo>
                      <a:pt x="1326" y="115"/>
                    </a:lnTo>
                    <a:lnTo>
                      <a:pt x="1324" y="115"/>
                    </a:lnTo>
                    <a:lnTo>
                      <a:pt x="1324" y="114"/>
                    </a:lnTo>
                    <a:lnTo>
                      <a:pt x="1326" y="114"/>
                    </a:lnTo>
                    <a:lnTo>
                      <a:pt x="1324" y="114"/>
                    </a:lnTo>
                    <a:lnTo>
                      <a:pt x="1326" y="112"/>
                    </a:lnTo>
                    <a:lnTo>
                      <a:pt x="1324" y="110"/>
                    </a:lnTo>
                    <a:lnTo>
                      <a:pt x="1324" y="109"/>
                    </a:lnTo>
                    <a:lnTo>
                      <a:pt x="1324" y="107"/>
                    </a:lnTo>
                    <a:lnTo>
                      <a:pt x="1326" y="107"/>
                    </a:lnTo>
                    <a:lnTo>
                      <a:pt x="1326" y="105"/>
                    </a:lnTo>
                    <a:lnTo>
                      <a:pt x="1326" y="104"/>
                    </a:lnTo>
                    <a:lnTo>
                      <a:pt x="1326" y="102"/>
                    </a:lnTo>
                    <a:lnTo>
                      <a:pt x="1326" y="100"/>
                    </a:lnTo>
                    <a:lnTo>
                      <a:pt x="1327" y="100"/>
                    </a:lnTo>
                    <a:lnTo>
                      <a:pt x="1327" y="98"/>
                    </a:lnTo>
                    <a:lnTo>
                      <a:pt x="1326" y="97"/>
                    </a:lnTo>
                    <a:lnTo>
                      <a:pt x="1327" y="95"/>
                    </a:lnTo>
                    <a:lnTo>
                      <a:pt x="1326" y="95"/>
                    </a:lnTo>
                    <a:lnTo>
                      <a:pt x="1326" y="93"/>
                    </a:lnTo>
                    <a:lnTo>
                      <a:pt x="1327" y="93"/>
                    </a:lnTo>
                    <a:lnTo>
                      <a:pt x="1327" y="92"/>
                    </a:lnTo>
                    <a:lnTo>
                      <a:pt x="1327" y="90"/>
                    </a:lnTo>
                    <a:lnTo>
                      <a:pt x="1327" y="88"/>
                    </a:lnTo>
                    <a:lnTo>
                      <a:pt x="1327" y="87"/>
                    </a:lnTo>
                    <a:lnTo>
                      <a:pt x="1326" y="87"/>
                    </a:lnTo>
                    <a:lnTo>
                      <a:pt x="1327" y="87"/>
                    </a:lnTo>
                    <a:lnTo>
                      <a:pt x="1326" y="85"/>
                    </a:lnTo>
                    <a:lnTo>
                      <a:pt x="1327" y="85"/>
                    </a:lnTo>
                    <a:lnTo>
                      <a:pt x="1327" y="83"/>
                    </a:lnTo>
                    <a:lnTo>
                      <a:pt x="1326" y="83"/>
                    </a:lnTo>
                    <a:lnTo>
                      <a:pt x="1326" y="81"/>
                    </a:lnTo>
                    <a:lnTo>
                      <a:pt x="1326" y="80"/>
                    </a:lnTo>
                    <a:lnTo>
                      <a:pt x="1326" y="78"/>
                    </a:lnTo>
                    <a:lnTo>
                      <a:pt x="1326" y="76"/>
                    </a:lnTo>
                    <a:lnTo>
                      <a:pt x="1324" y="75"/>
                    </a:lnTo>
                    <a:lnTo>
                      <a:pt x="1324" y="73"/>
                    </a:lnTo>
                    <a:lnTo>
                      <a:pt x="1324" y="71"/>
                    </a:lnTo>
                    <a:lnTo>
                      <a:pt x="1324" y="70"/>
                    </a:lnTo>
                    <a:lnTo>
                      <a:pt x="1324" y="68"/>
                    </a:lnTo>
                    <a:lnTo>
                      <a:pt x="1324" y="66"/>
                    </a:lnTo>
                    <a:lnTo>
                      <a:pt x="1322" y="66"/>
                    </a:lnTo>
                    <a:lnTo>
                      <a:pt x="1322" y="64"/>
                    </a:lnTo>
                    <a:lnTo>
                      <a:pt x="1322" y="63"/>
                    </a:lnTo>
                    <a:lnTo>
                      <a:pt x="1322" y="61"/>
                    </a:lnTo>
                    <a:lnTo>
                      <a:pt x="1322" y="59"/>
                    </a:lnTo>
                    <a:lnTo>
                      <a:pt x="1322" y="58"/>
                    </a:lnTo>
                    <a:lnTo>
                      <a:pt x="1322" y="56"/>
                    </a:lnTo>
                    <a:lnTo>
                      <a:pt x="1321" y="56"/>
                    </a:lnTo>
                    <a:lnTo>
                      <a:pt x="1321" y="54"/>
                    </a:lnTo>
                    <a:lnTo>
                      <a:pt x="1321" y="53"/>
                    </a:lnTo>
                    <a:lnTo>
                      <a:pt x="1321" y="51"/>
                    </a:lnTo>
                    <a:lnTo>
                      <a:pt x="1321" y="49"/>
                    </a:lnTo>
                    <a:lnTo>
                      <a:pt x="1321" y="47"/>
                    </a:lnTo>
                    <a:lnTo>
                      <a:pt x="1319" y="47"/>
                    </a:lnTo>
                    <a:lnTo>
                      <a:pt x="1319" y="46"/>
                    </a:lnTo>
                    <a:lnTo>
                      <a:pt x="1319" y="44"/>
                    </a:lnTo>
                    <a:lnTo>
                      <a:pt x="1321" y="44"/>
                    </a:lnTo>
                    <a:lnTo>
                      <a:pt x="1319" y="42"/>
                    </a:lnTo>
                    <a:lnTo>
                      <a:pt x="1321" y="42"/>
                    </a:lnTo>
                    <a:lnTo>
                      <a:pt x="1321" y="41"/>
                    </a:lnTo>
                    <a:lnTo>
                      <a:pt x="1319" y="41"/>
                    </a:lnTo>
                    <a:lnTo>
                      <a:pt x="1321" y="39"/>
                    </a:lnTo>
                    <a:lnTo>
                      <a:pt x="1321" y="37"/>
                    </a:lnTo>
                    <a:lnTo>
                      <a:pt x="1321" y="36"/>
                    </a:lnTo>
                    <a:lnTo>
                      <a:pt x="1321" y="34"/>
                    </a:lnTo>
                    <a:lnTo>
                      <a:pt x="1321" y="32"/>
                    </a:lnTo>
                    <a:lnTo>
                      <a:pt x="1321" y="30"/>
                    </a:lnTo>
                    <a:lnTo>
                      <a:pt x="1319" y="30"/>
                    </a:lnTo>
                    <a:lnTo>
                      <a:pt x="1319" y="29"/>
                    </a:lnTo>
                    <a:lnTo>
                      <a:pt x="1321" y="29"/>
                    </a:lnTo>
                    <a:lnTo>
                      <a:pt x="1322" y="29"/>
                    </a:lnTo>
                    <a:lnTo>
                      <a:pt x="1324" y="29"/>
                    </a:lnTo>
                    <a:lnTo>
                      <a:pt x="1326" y="29"/>
                    </a:lnTo>
                    <a:lnTo>
                      <a:pt x="1327" y="29"/>
                    </a:lnTo>
                    <a:lnTo>
                      <a:pt x="1329" y="27"/>
                    </a:lnTo>
                    <a:lnTo>
                      <a:pt x="1331" y="27"/>
                    </a:lnTo>
                    <a:lnTo>
                      <a:pt x="1331" y="25"/>
                    </a:lnTo>
                    <a:lnTo>
                      <a:pt x="1332" y="25"/>
                    </a:lnTo>
                    <a:lnTo>
                      <a:pt x="1334" y="25"/>
                    </a:lnTo>
                    <a:lnTo>
                      <a:pt x="1334" y="24"/>
                    </a:lnTo>
                    <a:lnTo>
                      <a:pt x="1336" y="24"/>
                    </a:lnTo>
                    <a:lnTo>
                      <a:pt x="1338" y="22"/>
                    </a:lnTo>
                    <a:lnTo>
                      <a:pt x="1339" y="22"/>
                    </a:lnTo>
                    <a:lnTo>
                      <a:pt x="1339" y="20"/>
                    </a:lnTo>
                    <a:lnTo>
                      <a:pt x="1339" y="18"/>
                    </a:lnTo>
                    <a:lnTo>
                      <a:pt x="1339" y="17"/>
                    </a:lnTo>
                    <a:lnTo>
                      <a:pt x="1339" y="15"/>
                    </a:lnTo>
                    <a:lnTo>
                      <a:pt x="1339" y="13"/>
                    </a:lnTo>
                    <a:lnTo>
                      <a:pt x="1338" y="13"/>
                    </a:lnTo>
                    <a:lnTo>
                      <a:pt x="1339" y="12"/>
                    </a:lnTo>
                    <a:lnTo>
                      <a:pt x="1338" y="12"/>
                    </a:lnTo>
                    <a:lnTo>
                      <a:pt x="1338" y="10"/>
                    </a:lnTo>
                    <a:lnTo>
                      <a:pt x="1338" y="8"/>
                    </a:lnTo>
                    <a:lnTo>
                      <a:pt x="1336" y="8"/>
                    </a:lnTo>
                    <a:lnTo>
                      <a:pt x="1338" y="7"/>
                    </a:lnTo>
                    <a:lnTo>
                      <a:pt x="1338" y="5"/>
                    </a:lnTo>
                    <a:lnTo>
                      <a:pt x="1339" y="5"/>
                    </a:lnTo>
                    <a:lnTo>
                      <a:pt x="1341" y="5"/>
                    </a:lnTo>
                    <a:lnTo>
                      <a:pt x="1343" y="5"/>
                    </a:lnTo>
                    <a:lnTo>
                      <a:pt x="1344" y="3"/>
                    </a:lnTo>
                    <a:lnTo>
                      <a:pt x="1346" y="1"/>
                    </a:lnTo>
                    <a:lnTo>
                      <a:pt x="1349" y="0"/>
                    </a:lnTo>
                    <a:lnTo>
                      <a:pt x="1349" y="3"/>
                    </a:lnTo>
                    <a:lnTo>
                      <a:pt x="1351" y="5"/>
                    </a:lnTo>
                    <a:lnTo>
                      <a:pt x="1353" y="7"/>
                    </a:lnTo>
                    <a:lnTo>
                      <a:pt x="1353" y="8"/>
                    </a:lnTo>
                    <a:lnTo>
                      <a:pt x="1355" y="8"/>
                    </a:lnTo>
                    <a:lnTo>
                      <a:pt x="1355" y="10"/>
                    </a:lnTo>
                    <a:lnTo>
                      <a:pt x="1355" y="12"/>
                    </a:lnTo>
                    <a:lnTo>
                      <a:pt x="1355" y="13"/>
                    </a:lnTo>
                    <a:lnTo>
                      <a:pt x="1355" y="15"/>
                    </a:lnTo>
                    <a:lnTo>
                      <a:pt x="1356" y="15"/>
                    </a:lnTo>
                    <a:lnTo>
                      <a:pt x="1356" y="17"/>
                    </a:lnTo>
                    <a:lnTo>
                      <a:pt x="1358" y="17"/>
                    </a:lnTo>
                    <a:lnTo>
                      <a:pt x="1360" y="17"/>
                    </a:lnTo>
                    <a:lnTo>
                      <a:pt x="1361" y="17"/>
                    </a:lnTo>
                    <a:lnTo>
                      <a:pt x="1361" y="18"/>
                    </a:lnTo>
                    <a:lnTo>
                      <a:pt x="1363" y="18"/>
                    </a:lnTo>
                    <a:lnTo>
                      <a:pt x="1363" y="20"/>
                    </a:lnTo>
                    <a:lnTo>
                      <a:pt x="1361" y="20"/>
                    </a:lnTo>
                    <a:lnTo>
                      <a:pt x="1363" y="20"/>
                    </a:lnTo>
                    <a:lnTo>
                      <a:pt x="1361" y="20"/>
                    </a:lnTo>
                    <a:lnTo>
                      <a:pt x="1361" y="22"/>
                    </a:lnTo>
                    <a:lnTo>
                      <a:pt x="1360" y="22"/>
                    </a:lnTo>
                    <a:lnTo>
                      <a:pt x="1360" y="24"/>
                    </a:lnTo>
                    <a:lnTo>
                      <a:pt x="1361" y="24"/>
                    </a:lnTo>
                    <a:lnTo>
                      <a:pt x="1361" y="25"/>
                    </a:lnTo>
                    <a:lnTo>
                      <a:pt x="1363" y="25"/>
                    </a:lnTo>
                    <a:lnTo>
                      <a:pt x="1363" y="27"/>
                    </a:lnTo>
                    <a:lnTo>
                      <a:pt x="1363" y="29"/>
                    </a:lnTo>
                    <a:lnTo>
                      <a:pt x="1363" y="30"/>
                    </a:lnTo>
                    <a:lnTo>
                      <a:pt x="1363" y="32"/>
                    </a:lnTo>
                    <a:lnTo>
                      <a:pt x="1365" y="32"/>
                    </a:lnTo>
                    <a:lnTo>
                      <a:pt x="1365" y="34"/>
                    </a:lnTo>
                    <a:lnTo>
                      <a:pt x="1365" y="36"/>
                    </a:lnTo>
                    <a:lnTo>
                      <a:pt x="1365" y="37"/>
                    </a:lnTo>
                    <a:lnTo>
                      <a:pt x="1365" y="39"/>
                    </a:lnTo>
                    <a:lnTo>
                      <a:pt x="1363" y="39"/>
                    </a:lnTo>
                    <a:lnTo>
                      <a:pt x="1365" y="39"/>
                    </a:lnTo>
                    <a:lnTo>
                      <a:pt x="1365" y="41"/>
                    </a:lnTo>
                    <a:lnTo>
                      <a:pt x="1365" y="42"/>
                    </a:lnTo>
                    <a:lnTo>
                      <a:pt x="1366" y="42"/>
                    </a:lnTo>
                    <a:lnTo>
                      <a:pt x="1366" y="44"/>
                    </a:lnTo>
                    <a:lnTo>
                      <a:pt x="1366" y="46"/>
                    </a:lnTo>
                    <a:lnTo>
                      <a:pt x="1368" y="47"/>
                    </a:lnTo>
                    <a:lnTo>
                      <a:pt x="1368" y="49"/>
                    </a:lnTo>
                    <a:lnTo>
                      <a:pt x="1366" y="49"/>
                    </a:lnTo>
                    <a:lnTo>
                      <a:pt x="1366" y="51"/>
                    </a:lnTo>
                    <a:lnTo>
                      <a:pt x="1368" y="51"/>
                    </a:lnTo>
                    <a:lnTo>
                      <a:pt x="1368" y="53"/>
                    </a:lnTo>
                    <a:lnTo>
                      <a:pt x="1368" y="54"/>
                    </a:lnTo>
                    <a:lnTo>
                      <a:pt x="1370" y="54"/>
                    </a:lnTo>
                    <a:lnTo>
                      <a:pt x="1372" y="56"/>
                    </a:lnTo>
                    <a:lnTo>
                      <a:pt x="1373" y="56"/>
                    </a:lnTo>
                    <a:lnTo>
                      <a:pt x="1373" y="58"/>
                    </a:lnTo>
                    <a:lnTo>
                      <a:pt x="1375" y="58"/>
                    </a:lnTo>
                    <a:lnTo>
                      <a:pt x="1375" y="59"/>
                    </a:lnTo>
                    <a:lnTo>
                      <a:pt x="1377" y="59"/>
                    </a:lnTo>
                    <a:lnTo>
                      <a:pt x="1377" y="61"/>
                    </a:lnTo>
                    <a:lnTo>
                      <a:pt x="1378" y="61"/>
                    </a:lnTo>
                    <a:lnTo>
                      <a:pt x="1378" y="63"/>
                    </a:lnTo>
                    <a:lnTo>
                      <a:pt x="1380" y="63"/>
                    </a:lnTo>
                    <a:lnTo>
                      <a:pt x="1382" y="64"/>
                    </a:lnTo>
                    <a:lnTo>
                      <a:pt x="1382" y="66"/>
                    </a:lnTo>
                    <a:lnTo>
                      <a:pt x="1383" y="66"/>
                    </a:lnTo>
                    <a:lnTo>
                      <a:pt x="1383" y="68"/>
                    </a:lnTo>
                    <a:lnTo>
                      <a:pt x="1383" y="70"/>
                    </a:lnTo>
                    <a:lnTo>
                      <a:pt x="1382" y="71"/>
                    </a:lnTo>
                    <a:lnTo>
                      <a:pt x="1382" y="73"/>
                    </a:lnTo>
                    <a:lnTo>
                      <a:pt x="1380" y="73"/>
                    </a:lnTo>
                    <a:lnTo>
                      <a:pt x="1380" y="75"/>
                    </a:lnTo>
                    <a:lnTo>
                      <a:pt x="1378" y="75"/>
                    </a:lnTo>
                    <a:lnTo>
                      <a:pt x="1378" y="76"/>
                    </a:lnTo>
                    <a:lnTo>
                      <a:pt x="1378" y="78"/>
                    </a:lnTo>
                    <a:lnTo>
                      <a:pt x="1377" y="78"/>
                    </a:lnTo>
                    <a:lnTo>
                      <a:pt x="1375" y="78"/>
                    </a:lnTo>
                    <a:lnTo>
                      <a:pt x="1375" y="80"/>
                    </a:lnTo>
                    <a:lnTo>
                      <a:pt x="1377" y="80"/>
                    </a:lnTo>
                    <a:lnTo>
                      <a:pt x="1378" y="81"/>
                    </a:lnTo>
                    <a:lnTo>
                      <a:pt x="1378" y="83"/>
                    </a:lnTo>
                    <a:lnTo>
                      <a:pt x="1380" y="83"/>
                    </a:lnTo>
                    <a:lnTo>
                      <a:pt x="1382" y="83"/>
                    </a:lnTo>
                    <a:lnTo>
                      <a:pt x="1380" y="83"/>
                    </a:lnTo>
                    <a:lnTo>
                      <a:pt x="1380" y="85"/>
                    </a:lnTo>
                    <a:lnTo>
                      <a:pt x="1382" y="85"/>
                    </a:lnTo>
                    <a:lnTo>
                      <a:pt x="1382" y="87"/>
                    </a:lnTo>
                    <a:lnTo>
                      <a:pt x="1380" y="87"/>
                    </a:lnTo>
                    <a:lnTo>
                      <a:pt x="1380" y="88"/>
                    </a:lnTo>
                    <a:lnTo>
                      <a:pt x="1380" y="90"/>
                    </a:lnTo>
                    <a:lnTo>
                      <a:pt x="1378" y="90"/>
                    </a:lnTo>
                    <a:lnTo>
                      <a:pt x="1377" y="90"/>
                    </a:lnTo>
                    <a:lnTo>
                      <a:pt x="1375" y="92"/>
                    </a:lnTo>
                    <a:lnTo>
                      <a:pt x="1373" y="92"/>
                    </a:lnTo>
                    <a:lnTo>
                      <a:pt x="1373" y="93"/>
                    </a:lnTo>
                    <a:lnTo>
                      <a:pt x="1375" y="93"/>
                    </a:lnTo>
                    <a:lnTo>
                      <a:pt x="1375" y="95"/>
                    </a:lnTo>
                    <a:lnTo>
                      <a:pt x="1375" y="97"/>
                    </a:lnTo>
                    <a:lnTo>
                      <a:pt x="1375" y="98"/>
                    </a:lnTo>
                    <a:lnTo>
                      <a:pt x="1377" y="98"/>
                    </a:lnTo>
                    <a:lnTo>
                      <a:pt x="1377" y="100"/>
                    </a:lnTo>
                    <a:lnTo>
                      <a:pt x="1377" y="102"/>
                    </a:lnTo>
                    <a:lnTo>
                      <a:pt x="1375" y="102"/>
                    </a:lnTo>
                    <a:lnTo>
                      <a:pt x="1373" y="102"/>
                    </a:lnTo>
                    <a:lnTo>
                      <a:pt x="1373" y="104"/>
                    </a:lnTo>
                    <a:lnTo>
                      <a:pt x="1373" y="105"/>
                    </a:lnTo>
                    <a:lnTo>
                      <a:pt x="1375" y="105"/>
                    </a:lnTo>
                    <a:lnTo>
                      <a:pt x="1375" y="107"/>
                    </a:lnTo>
                    <a:lnTo>
                      <a:pt x="1377" y="107"/>
                    </a:lnTo>
                    <a:lnTo>
                      <a:pt x="1378" y="107"/>
                    </a:lnTo>
                    <a:lnTo>
                      <a:pt x="1378" y="109"/>
                    </a:lnTo>
                    <a:lnTo>
                      <a:pt x="1380" y="109"/>
                    </a:lnTo>
                    <a:lnTo>
                      <a:pt x="1382" y="109"/>
                    </a:lnTo>
                    <a:lnTo>
                      <a:pt x="1382" y="110"/>
                    </a:lnTo>
                    <a:lnTo>
                      <a:pt x="1383" y="110"/>
                    </a:lnTo>
                    <a:lnTo>
                      <a:pt x="1383" y="112"/>
                    </a:lnTo>
                    <a:lnTo>
                      <a:pt x="1382" y="112"/>
                    </a:lnTo>
                    <a:lnTo>
                      <a:pt x="1382" y="114"/>
                    </a:lnTo>
                    <a:lnTo>
                      <a:pt x="1380" y="114"/>
                    </a:lnTo>
                    <a:lnTo>
                      <a:pt x="1380" y="115"/>
                    </a:lnTo>
                    <a:lnTo>
                      <a:pt x="1380" y="117"/>
                    </a:lnTo>
                    <a:lnTo>
                      <a:pt x="1380" y="119"/>
                    </a:lnTo>
                    <a:lnTo>
                      <a:pt x="1380" y="121"/>
                    </a:lnTo>
                    <a:lnTo>
                      <a:pt x="1382" y="122"/>
                    </a:lnTo>
                    <a:lnTo>
                      <a:pt x="1383" y="122"/>
                    </a:lnTo>
                    <a:lnTo>
                      <a:pt x="1385" y="122"/>
                    </a:lnTo>
                    <a:lnTo>
                      <a:pt x="1385" y="124"/>
                    </a:lnTo>
                    <a:lnTo>
                      <a:pt x="1387" y="124"/>
                    </a:lnTo>
                    <a:lnTo>
                      <a:pt x="1387" y="126"/>
                    </a:lnTo>
                    <a:lnTo>
                      <a:pt x="1389" y="126"/>
                    </a:lnTo>
                    <a:lnTo>
                      <a:pt x="1389" y="127"/>
                    </a:lnTo>
                    <a:lnTo>
                      <a:pt x="1389" y="129"/>
                    </a:lnTo>
                    <a:lnTo>
                      <a:pt x="1392" y="134"/>
                    </a:lnTo>
                    <a:lnTo>
                      <a:pt x="1392" y="136"/>
                    </a:lnTo>
                    <a:lnTo>
                      <a:pt x="1392" y="138"/>
                    </a:lnTo>
                    <a:lnTo>
                      <a:pt x="1392" y="141"/>
                    </a:lnTo>
                    <a:lnTo>
                      <a:pt x="1392" y="143"/>
                    </a:lnTo>
                    <a:lnTo>
                      <a:pt x="1392" y="144"/>
                    </a:lnTo>
                    <a:lnTo>
                      <a:pt x="1392" y="146"/>
                    </a:lnTo>
                    <a:lnTo>
                      <a:pt x="1394" y="148"/>
                    </a:lnTo>
                    <a:lnTo>
                      <a:pt x="1395" y="149"/>
                    </a:lnTo>
                    <a:lnTo>
                      <a:pt x="1395" y="151"/>
                    </a:lnTo>
                    <a:lnTo>
                      <a:pt x="1397" y="153"/>
                    </a:lnTo>
                    <a:lnTo>
                      <a:pt x="1397" y="155"/>
                    </a:lnTo>
                    <a:lnTo>
                      <a:pt x="1397" y="160"/>
                    </a:lnTo>
                    <a:lnTo>
                      <a:pt x="1397" y="161"/>
                    </a:lnTo>
                    <a:lnTo>
                      <a:pt x="1399" y="161"/>
                    </a:lnTo>
                    <a:lnTo>
                      <a:pt x="1399" y="163"/>
                    </a:lnTo>
                    <a:lnTo>
                      <a:pt x="1400" y="163"/>
                    </a:lnTo>
                    <a:lnTo>
                      <a:pt x="1400" y="165"/>
                    </a:lnTo>
                    <a:lnTo>
                      <a:pt x="1400" y="166"/>
                    </a:lnTo>
                    <a:lnTo>
                      <a:pt x="1400" y="168"/>
                    </a:lnTo>
                    <a:lnTo>
                      <a:pt x="1402" y="168"/>
                    </a:lnTo>
                    <a:lnTo>
                      <a:pt x="1400" y="170"/>
                    </a:lnTo>
                    <a:lnTo>
                      <a:pt x="1402" y="170"/>
                    </a:lnTo>
                    <a:lnTo>
                      <a:pt x="1400" y="172"/>
                    </a:lnTo>
                    <a:lnTo>
                      <a:pt x="1400" y="173"/>
                    </a:lnTo>
                    <a:lnTo>
                      <a:pt x="1400" y="175"/>
                    </a:lnTo>
                    <a:lnTo>
                      <a:pt x="1402" y="175"/>
                    </a:lnTo>
                    <a:lnTo>
                      <a:pt x="1402" y="177"/>
                    </a:lnTo>
                    <a:lnTo>
                      <a:pt x="1402" y="178"/>
                    </a:lnTo>
                    <a:lnTo>
                      <a:pt x="1402" y="180"/>
                    </a:lnTo>
                    <a:lnTo>
                      <a:pt x="1404" y="180"/>
                    </a:lnTo>
                    <a:lnTo>
                      <a:pt x="1404" y="182"/>
                    </a:lnTo>
                    <a:lnTo>
                      <a:pt x="1404" y="184"/>
                    </a:lnTo>
                    <a:lnTo>
                      <a:pt x="1402" y="184"/>
                    </a:lnTo>
                    <a:lnTo>
                      <a:pt x="1402" y="185"/>
                    </a:lnTo>
                    <a:lnTo>
                      <a:pt x="1404" y="185"/>
                    </a:lnTo>
                    <a:lnTo>
                      <a:pt x="1402" y="187"/>
                    </a:lnTo>
                    <a:lnTo>
                      <a:pt x="1404" y="189"/>
                    </a:lnTo>
                    <a:lnTo>
                      <a:pt x="1402" y="189"/>
                    </a:lnTo>
                    <a:lnTo>
                      <a:pt x="1404" y="189"/>
                    </a:lnTo>
                    <a:lnTo>
                      <a:pt x="1402" y="190"/>
                    </a:lnTo>
                    <a:lnTo>
                      <a:pt x="1402" y="192"/>
                    </a:lnTo>
                    <a:lnTo>
                      <a:pt x="1404" y="192"/>
                    </a:lnTo>
                    <a:lnTo>
                      <a:pt x="1406" y="192"/>
                    </a:lnTo>
                    <a:lnTo>
                      <a:pt x="1414" y="194"/>
                    </a:lnTo>
                    <a:lnTo>
                      <a:pt x="1416" y="194"/>
                    </a:lnTo>
                    <a:lnTo>
                      <a:pt x="1426" y="190"/>
                    </a:lnTo>
                    <a:close/>
                    <a:moveTo>
                      <a:pt x="1378" y="1498"/>
                    </a:moveTo>
                    <a:lnTo>
                      <a:pt x="1378" y="1500"/>
                    </a:lnTo>
                    <a:lnTo>
                      <a:pt x="1378" y="1517"/>
                    </a:lnTo>
                    <a:lnTo>
                      <a:pt x="1378" y="1531"/>
                    </a:lnTo>
                    <a:lnTo>
                      <a:pt x="1378" y="1536"/>
                    </a:lnTo>
                    <a:lnTo>
                      <a:pt x="1378" y="1539"/>
                    </a:lnTo>
                    <a:lnTo>
                      <a:pt x="1378" y="1551"/>
                    </a:lnTo>
                    <a:lnTo>
                      <a:pt x="1377" y="1563"/>
                    </a:lnTo>
                    <a:lnTo>
                      <a:pt x="1377" y="1570"/>
                    </a:lnTo>
                    <a:lnTo>
                      <a:pt x="1377" y="1582"/>
                    </a:lnTo>
                    <a:lnTo>
                      <a:pt x="1377" y="1595"/>
                    </a:lnTo>
                    <a:lnTo>
                      <a:pt x="1377" y="1597"/>
                    </a:lnTo>
                    <a:lnTo>
                      <a:pt x="1377" y="1604"/>
                    </a:lnTo>
                    <a:lnTo>
                      <a:pt x="1377" y="1606"/>
                    </a:lnTo>
                    <a:lnTo>
                      <a:pt x="1377" y="1607"/>
                    </a:lnTo>
                    <a:lnTo>
                      <a:pt x="1377" y="1609"/>
                    </a:lnTo>
                    <a:lnTo>
                      <a:pt x="1377" y="1621"/>
                    </a:lnTo>
                    <a:lnTo>
                      <a:pt x="1377" y="1626"/>
                    </a:lnTo>
                    <a:lnTo>
                      <a:pt x="1375" y="1624"/>
                    </a:lnTo>
                    <a:lnTo>
                      <a:pt x="1373" y="1623"/>
                    </a:lnTo>
                    <a:lnTo>
                      <a:pt x="1372" y="1623"/>
                    </a:lnTo>
                    <a:lnTo>
                      <a:pt x="1372" y="1624"/>
                    </a:lnTo>
                    <a:lnTo>
                      <a:pt x="1373" y="1624"/>
                    </a:lnTo>
                    <a:lnTo>
                      <a:pt x="1373" y="1626"/>
                    </a:lnTo>
                    <a:lnTo>
                      <a:pt x="1375" y="1626"/>
                    </a:lnTo>
                    <a:lnTo>
                      <a:pt x="1375" y="1628"/>
                    </a:lnTo>
                    <a:lnTo>
                      <a:pt x="1373" y="1628"/>
                    </a:lnTo>
                    <a:lnTo>
                      <a:pt x="1372" y="1629"/>
                    </a:lnTo>
                    <a:lnTo>
                      <a:pt x="1370" y="1629"/>
                    </a:lnTo>
                    <a:lnTo>
                      <a:pt x="1368" y="1629"/>
                    </a:lnTo>
                    <a:lnTo>
                      <a:pt x="1366" y="1629"/>
                    </a:lnTo>
                    <a:lnTo>
                      <a:pt x="1365" y="1629"/>
                    </a:lnTo>
                    <a:lnTo>
                      <a:pt x="1365" y="1631"/>
                    </a:lnTo>
                    <a:lnTo>
                      <a:pt x="1363" y="1629"/>
                    </a:lnTo>
                    <a:lnTo>
                      <a:pt x="1361" y="1629"/>
                    </a:lnTo>
                    <a:lnTo>
                      <a:pt x="1360" y="1629"/>
                    </a:lnTo>
                    <a:lnTo>
                      <a:pt x="1358" y="1628"/>
                    </a:lnTo>
                    <a:lnTo>
                      <a:pt x="1356" y="1628"/>
                    </a:lnTo>
                    <a:lnTo>
                      <a:pt x="1355" y="1628"/>
                    </a:lnTo>
                    <a:lnTo>
                      <a:pt x="1353" y="1628"/>
                    </a:lnTo>
                    <a:lnTo>
                      <a:pt x="1351" y="1626"/>
                    </a:lnTo>
                    <a:lnTo>
                      <a:pt x="1349" y="1626"/>
                    </a:lnTo>
                    <a:lnTo>
                      <a:pt x="1348" y="1626"/>
                    </a:lnTo>
                    <a:lnTo>
                      <a:pt x="1348" y="1624"/>
                    </a:lnTo>
                    <a:lnTo>
                      <a:pt x="1346" y="1624"/>
                    </a:lnTo>
                    <a:lnTo>
                      <a:pt x="1344" y="1624"/>
                    </a:lnTo>
                    <a:lnTo>
                      <a:pt x="1343" y="1623"/>
                    </a:lnTo>
                    <a:lnTo>
                      <a:pt x="1343" y="1621"/>
                    </a:lnTo>
                    <a:lnTo>
                      <a:pt x="1344" y="1619"/>
                    </a:lnTo>
                    <a:lnTo>
                      <a:pt x="1344" y="1621"/>
                    </a:lnTo>
                    <a:lnTo>
                      <a:pt x="1344" y="1619"/>
                    </a:lnTo>
                    <a:lnTo>
                      <a:pt x="1344" y="1618"/>
                    </a:lnTo>
                    <a:lnTo>
                      <a:pt x="1344" y="1616"/>
                    </a:lnTo>
                    <a:lnTo>
                      <a:pt x="1344" y="1618"/>
                    </a:lnTo>
                    <a:lnTo>
                      <a:pt x="1344" y="1619"/>
                    </a:lnTo>
                    <a:lnTo>
                      <a:pt x="1343" y="1621"/>
                    </a:lnTo>
                    <a:lnTo>
                      <a:pt x="1343" y="1619"/>
                    </a:lnTo>
                    <a:lnTo>
                      <a:pt x="1343" y="1618"/>
                    </a:lnTo>
                    <a:lnTo>
                      <a:pt x="1341" y="1616"/>
                    </a:lnTo>
                    <a:lnTo>
                      <a:pt x="1341" y="1614"/>
                    </a:lnTo>
                    <a:lnTo>
                      <a:pt x="1341" y="1616"/>
                    </a:lnTo>
                    <a:lnTo>
                      <a:pt x="1341" y="1618"/>
                    </a:lnTo>
                    <a:lnTo>
                      <a:pt x="1343" y="1619"/>
                    </a:lnTo>
                    <a:lnTo>
                      <a:pt x="1341" y="1619"/>
                    </a:lnTo>
                    <a:lnTo>
                      <a:pt x="1341" y="1621"/>
                    </a:lnTo>
                    <a:lnTo>
                      <a:pt x="1343" y="1621"/>
                    </a:lnTo>
                    <a:lnTo>
                      <a:pt x="1343" y="1619"/>
                    </a:lnTo>
                    <a:lnTo>
                      <a:pt x="1343" y="1621"/>
                    </a:lnTo>
                    <a:lnTo>
                      <a:pt x="1343" y="1623"/>
                    </a:lnTo>
                    <a:lnTo>
                      <a:pt x="1341" y="1623"/>
                    </a:lnTo>
                    <a:lnTo>
                      <a:pt x="1339" y="1623"/>
                    </a:lnTo>
                    <a:lnTo>
                      <a:pt x="1339" y="1621"/>
                    </a:lnTo>
                    <a:lnTo>
                      <a:pt x="1339" y="1619"/>
                    </a:lnTo>
                    <a:lnTo>
                      <a:pt x="1341" y="1619"/>
                    </a:lnTo>
                    <a:lnTo>
                      <a:pt x="1341" y="1618"/>
                    </a:lnTo>
                    <a:lnTo>
                      <a:pt x="1339" y="1618"/>
                    </a:lnTo>
                    <a:lnTo>
                      <a:pt x="1339" y="1616"/>
                    </a:lnTo>
                    <a:lnTo>
                      <a:pt x="1339" y="1618"/>
                    </a:lnTo>
                    <a:lnTo>
                      <a:pt x="1341" y="1619"/>
                    </a:lnTo>
                    <a:lnTo>
                      <a:pt x="1339" y="1619"/>
                    </a:lnTo>
                    <a:lnTo>
                      <a:pt x="1339" y="1621"/>
                    </a:lnTo>
                    <a:lnTo>
                      <a:pt x="1339" y="1623"/>
                    </a:lnTo>
                    <a:lnTo>
                      <a:pt x="1338" y="1623"/>
                    </a:lnTo>
                    <a:lnTo>
                      <a:pt x="1336" y="1623"/>
                    </a:lnTo>
                    <a:lnTo>
                      <a:pt x="1334" y="1623"/>
                    </a:lnTo>
                    <a:lnTo>
                      <a:pt x="1332" y="1623"/>
                    </a:lnTo>
                    <a:lnTo>
                      <a:pt x="1332" y="1621"/>
                    </a:lnTo>
                    <a:lnTo>
                      <a:pt x="1332" y="1619"/>
                    </a:lnTo>
                    <a:lnTo>
                      <a:pt x="1332" y="1618"/>
                    </a:lnTo>
                    <a:lnTo>
                      <a:pt x="1332" y="1616"/>
                    </a:lnTo>
                    <a:lnTo>
                      <a:pt x="1332" y="1618"/>
                    </a:lnTo>
                    <a:lnTo>
                      <a:pt x="1332" y="1619"/>
                    </a:lnTo>
                    <a:lnTo>
                      <a:pt x="1332" y="1621"/>
                    </a:lnTo>
                    <a:lnTo>
                      <a:pt x="1332" y="1623"/>
                    </a:lnTo>
                    <a:lnTo>
                      <a:pt x="1332" y="1624"/>
                    </a:lnTo>
                    <a:lnTo>
                      <a:pt x="1331" y="1624"/>
                    </a:lnTo>
                    <a:lnTo>
                      <a:pt x="1329" y="1624"/>
                    </a:lnTo>
                    <a:lnTo>
                      <a:pt x="1327" y="1624"/>
                    </a:lnTo>
                    <a:lnTo>
                      <a:pt x="1329" y="1623"/>
                    </a:lnTo>
                    <a:lnTo>
                      <a:pt x="1329" y="1621"/>
                    </a:lnTo>
                    <a:lnTo>
                      <a:pt x="1327" y="1623"/>
                    </a:lnTo>
                    <a:lnTo>
                      <a:pt x="1327" y="1621"/>
                    </a:lnTo>
                    <a:lnTo>
                      <a:pt x="1327" y="1623"/>
                    </a:lnTo>
                    <a:lnTo>
                      <a:pt x="1326" y="1624"/>
                    </a:lnTo>
                    <a:lnTo>
                      <a:pt x="1324" y="1624"/>
                    </a:lnTo>
                    <a:lnTo>
                      <a:pt x="1324" y="1623"/>
                    </a:lnTo>
                    <a:lnTo>
                      <a:pt x="1324" y="1624"/>
                    </a:lnTo>
                    <a:lnTo>
                      <a:pt x="1326" y="1624"/>
                    </a:lnTo>
                    <a:lnTo>
                      <a:pt x="1324" y="1624"/>
                    </a:lnTo>
                    <a:lnTo>
                      <a:pt x="1322" y="1624"/>
                    </a:lnTo>
                    <a:lnTo>
                      <a:pt x="1321" y="1624"/>
                    </a:lnTo>
                    <a:lnTo>
                      <a:pt x="1321" y="1623"/>
                    </a:lnTo>
                    <a:lnTo>
                      <a:pt x="1321" y="1621"/>
                    </a:lnTo>
                    <a:lnTo>
                      <a:pt x="1321" y="1619"/>
                    </a:lnTo>
                    <a:lnTo>
                      <a:pt x="1322" y="1618"/>
                    </a:lnTo>
                    <a:lnTo>
                      <a:pt x="1324" y="1616"/>
                    </a:lnTo>
                    <a:lnTo>
                      <a:pt x="1326" y="1614"/>
                    </a:lnTo>
                    <a:lnTo>
                      <a:pt x="1324" y="1614"/>
                    </a:lnTo>
                    <a:lnTo>
                      <a:pt x="1322" y="1614"/>
                    </a:lnTo>
                    <a:lnTo>
                      <a:pt x="1322" y="1616"/>
                    </a:lnTo>
                    <a:lnTo>
                      <a:pt x="1322" y="1618"/>
                    </a:lnTo>
                    <a:lnTo>
                      <a:pt x="1321" y="1618"/>
                    </a:lnTo>
                    <a:lnTo>
                      <a:pt x="1321" y="1619"/>
                    </a:lnTo>
                    <a:lnTo>
                      <a:pt x="1321" y="1621"/>
                    </a:lnTo>
                    <a:lnTo>
                      <a:pt x="1319" y="1623"/>
                    </a:lnTo>
                    <a:lnTo>
                      <a:pt x="1319" y="1624"/>
                    </a:lnTo>
                    <a:lnTo>
                      <a:pt x="1319" y="1623"/>
                    </a:lnTo>
                    <a:lnTo>
                      <a:pt x="1317" y="1623"/>
                    </a:lnTo>
                    <a:lnTo>
                      <a:pt x="1315" y="1621"/>
                    </a:lnTo>
                    <a:lnTo>
                      <a:pt x="1314" y="1621"/>
                    </a:lnTo>
                    <a:lnTo>
                      <a:pt x="1312" y="1621"/>
                    </a:lnTo>
                    <a:lnTo>
                      <a:pt x="1312" y="1619"/>
                    </a:lnTo>
                    <a:lnTo>
                      <a:pt x="1310" y="1619"/>
                    </a:lnTo>
                    <a:lnTo>
                      <a:pt x="1312" y="1619"/>
                    </a:lnTo>
                    <a:lnTo>
                      <a:pt x="1310" y="1619"/>
                    </a:lnTo>
                    <a:lnTo>
                      <a:pt x="1310" y="1621"/>
                    </a:lnTo>
                    <a:lnTo>
                      <a:pt x="1309" y="1621"/>
                    </a:lnTo>
                    <a:lnTo>
                      <a:pt x="1309" y="1623"/>
                    </a:lnTo>
                    <a:lnTo>
                      <a:pt x="1307" y="1621"/>
                    </a:lnTo>
                    <a:lnTo>
                      <a:pt x="1307" y="1623"/>
                    </a:lnTo>
                    <a:lnTo>
                      <a:pt x="1307" y="1624"/>
                    </a:lnTo>
                    <a:lnTo>
                      <a:pt x="1307" y="1623"/>
                    </a:lnTo>
                    <a:lnTo>
                      <a:pt x="1305" y="1623"/>
                    </a:lnTo>
                    <a:lnTo>
                      <a:pt x="1304" y="1623"/>
                    </a:lnTo>
                    <a:lnTo>
                      <a:pt x="1302" y="1623"/>
                    </a:lnTo>
                    <a:lnTo>
                      <a:pt x="1304" y="1621"/>
                    </a:lnTo>
                    <a:lnTo>
                      <a:pt x="1304" y="1619"/>
                    </a:lnTo>
                    <a:lnTo>
                      <a:pt x="1304" y="1621"/>
                    </a:lnTo>
                    <a:lnTo>
                      <a:pt x="1304" y="1619"/>
                    </a:lnTo>
                    <a:lnTo>
                      <a:pt x="1305" y="1619"/>
                    </a:lnTo>
                    <a:lnTo>
                      <a:pt x="1307" y="1619"/>
                    </a:lnTo>
                    <a:lnTo>
                      <a:pt x="1309" y="1618"/>
                    </a:lnTo>
                    <a:lnTo>
                      <a:pt x="1310" y="1618"/>
                    </a:lnTo>
                    <a:lnTo>
                      <a:pt x="1310" y="1616"/>
                    </a:lnTo>
                    <a:lnTo>
                      <a:pt x="1312" y="1616"/>
                    </a:lnTo>
                    <a:lnTo>
                      <a:pt x="1314" y="1616"/>
                    </a:lnTo>
                    <a:lnTo>
                      <a:pt x="1314" y="1614"/>
                    </a:lnTo>
                    <a:lnTo>
                      <a:pt x="1315" y="1614"/>
                    </a:lnTo>
                    <a:lnTo>
                      <a:pt x="1315" y="1612"/>
                    </a:lnTo>
                    <a:lnTo>
                      <a:pt x="1317" y="1612"/>
                    </a:lnTo>
                    <a:lnTo>
                      <a:pt x="1317" y="1611"/>
                    </a:lnTo>
                    <a:lnTo>
                      <a:pt x="1315" y="1611"/>
                    </a:lnTo>
                    <a:lnTo>
                      <a:pt x="1314" y="1611"/>
                    </a:lnTo>
                    <a:lnTo>
                      <a:pt x="1312" y="1611"/>
                    </a:lnTo>
                    <a:lnTo>
                      <a:pt x="1312" y="1612"/>
                    </a:lnTo>
                    <a:lnTo>
                      <a:pt x="1310" y="1614"/>
                    </a:lnTo>
                    <a:lnTo>
                      <a:pt x="1312" y="1614"/>
                    </a:lnTo>
                    <a:lnTo>
                      <a:pt x="1312" y="1616"/>
                    </a:lnTo>
                    <a:lnTo>
                      <a:pt x="1310" y="1616"/>
                    </a:lnTo>
                    <a:lnTo>
                      <a:pt x="1309" y="1616"/>
                    </a:lnTo>
                    <a:lnTo>
                      <a:pt x="1309" y="1618"/>
                    </a:lnTo>
                    <a:lnTo>
                      <a:pt x="1307" y="1618"/>
                    </a:lnTo>
                    <a:lnTo>
                      <a:pt x="1307" y="1616"/>
                    </a:lnTo>
                    <a:lnTo>
                      <a:pt x="1305" y="1616"/>
                    </a:lnTo>
                    <a:lnTo>
                      <a:pt x="1305" y="1618"/>
                    </a:lnTo>
                    <a:lnTo>
                      <a:pt x="1304" y="1618"/>
                    </a:lnTo>
                    <a:lnTo>
                      <a:pt x="1305" y="1618"/>
                    </a:lnTo>
                    <a:lnTo>
                      <a:pt x="1304" y="1619"/>
                    </a:lnTo>
                    <a:lnTo>
                      <a:pt x="1304" y="1618"/>
                    </a:lnTo>
                    <a:lnTo>
                      <a:pt x="1302" y="1619"/>
                    </a:lnTo>
                    <a:lnTo>
                      <a:pt x="1302" y="1618"/>
                    </a:lnTo>
                    <a:lnTo>
                      <a:pt x="1300" y="1618"/>
                    </a:lnTo>
                    <a:lnTo>
                      <a:pt x="1298" y="1618"/>
                    </a:lnTo>
                    <a:lnTo>
                      <a:pt x="1300" y="1618"/>
                    </a:lnTo>
                    <a:lnTo>
                      <a:pt x="1300" y="1616"/>
                    </a:lnTo>
                    <a:lnTo>
                      <a:pt x="1302" y="1616"/>
                    </a:lnTo>
                    <a:lnTo>
                      <a:pt x="1304" y="1614"/>
                    </a:lnTo>
                    <a:lnTo>
                      <a:pt x="1305" y="1614"/>
                    </a:lnTo>
                    <a:lnTo>
                      <a:pt x="1304" y="1614"/>
                    </a:lnTo>
                    <a:lnTo>
                      <a:pt x="1302" y="1614"/>
                    </a:lnTo>
                    <a:lnTo>
                      <a:pt x="1302" y="1612"/>
                    </a:lnTo>
                    <a:lnTo>
                      <a:pt x="1300" y="1612"/>
                    </a:lnTo>
                    <a:lnTo>
                      <a:pt x="1300" y="1614"/>
                    </a:lnTo>
                    <a:lnTo>
                      <a:pt x="1298" y="1614"/>
                    </a:lnTo>
                    <a:lnTo>
                      <a:pt x="1300" y="1614"/>
                    </a:lnTo>
                    <a:lnTo>
                      <a:pt x="1300" y="1616"/>
                    </a:lnTo>
                    <a:lnTo>
                      <a:pt x="1298" y="1618"/>
                    </a:lnTo>
                    <a:lnTo>
                      <a:pt x="1298" y="1619"/>
                    </a:lnTo>
                    <a:lnTo>
                      <a:pt x="1297" y="1619"/>
                    </a:lnTo>
                    <a:lnTo>
                      <a:pt x="1295" y="1618"/>
                    </a:lnTo>
                    <a:lnTo>
                      <a:pt x="1297" y="1618"/>
                    </a:lnTo>
                    <a:lnTo>
                      <a:pt x="1297" y="1616"/>
                    </a:lnTo>
                    <a:lnTo>
                      <a:pt x="1298" y="1616"/>
                    </a:lnTo>
                    <a:lnTo>
                      <a:pt x="1298" y="1614"/>
                    </a:lnTo>
                    <a:lnTo>
                      <a:pt x="1300" y="1614"/>
                    </a:lnTo>
                    <a:lnTo>
                      <a:pt x="1298" y="1614"/>
                    </a:lnTo>
                    <a:lnTo>
                      <a:pt x="1297" y="1614"/>
                    </a:lnTo>
                    <a:lnTo>
                      <a:pt x="1297" y="1616"/>
                    </a:lnTo>
                    <a:lnTo>
                      <a:pt x="1297" y="1614"/>
                    </a:lnTo>
                    <a:lnTo>
                      <a:pt x="1298" y="1614"/>
                    </a:lnTo>
                    <a:lnTo>
                      <a:pt x="1298" y="1612"/>
                    </a:lnTo>
                    <a:lnTo>
                      <a:pt x="1297" y="1612"/>
                    </a:lnTo>
                    <a:lnTo>
                      <a:pt x="1298" y="1612"/>
                    </a:lnTo>
                    <a:lnTo>
                      <a:pt x="1298" y="1611"/>
                    </a:lnTo>
                    <a:lnTo>
                      <a:pt x="1300" y="1611"/>
                    </a:lnTo>
                    <a:lnTo>
                      <a:pt x="1298" y="1611"/>
                    </a:lnTo>
                    <a:lnTo>
                      <a:pt x="1297" y="1611"/>
                    </a:lnTo>
                    <a:lnTo>
                      <a:pt x="1297" y="1609"/>
                    </a:lnTo>
                    <a:lnTo>
                      <a:pt x="1295" y="1609"/>
                    </a:lnTo>
                    <a:lnTo>
                      <a:pt x="1297" y="1611"/>
                    </a:lnTo>
                    <a:lnTo>
                      <a:pt x="1295" y="1612"/>
                    </a:lnTo>
                    <a:lnTo>
                      <a:pt x="1295" y="1611"/>
                    </a:lnTo>
                    <a:lnTo>
                      <a:pt x="1293" y="1612"/>
                    </a:lnTo>
                    <a:lnTo>
                      <a:pt x="1293" y="1614"/>
                    </a:lnTo>
                    <a:lnTo>
                      <a:pt x="1292" y="1614"/>
                    </a:lnTo>
                    <a:lnTo>
                      <a:pt x="1290" y="1614"/>
                    </a:lnTo>
                    <a:lnTo>
                      <a:pt x="1292" y="1614"/>
                    </a:lnTo>
                    <a:lnTo>
                      <a:pt x="1290" y="1612"/>
                    </a:lnTo>
                    <a:lnTo>
                      <a:pt x="1288" y="1614"/>
                    </a:lnTo>
                    <a:lnTo>
                      <a:pt x="1288" y="1612"/>
                    </a:lnTo>
                    <a:lnTo>
                      <a:pt x="1287" y="1612"/>
                    </a:lnTo>
                    <a:lnTo>
                      <a:pt x="1287" y="1611"/>
                    </a:lnTo>
                    <a:lnTo>
                      <a:pt x="1288" y="1611"/>
                    </a:lnTo>
                    <a:lnTo>
                      <a:pt x="1290" y="1612"/>
                    </a:lnTo>
                    <a:lnTo>
                      <a:pt x="1290" y="1611"/>
                    </a:lnTo>
                    <a:lnTo>
                      <a:pt x="1292" y="1611"/>
                    </a:lnTo>
                    <a:lnTo>
                      <a:pt x="1293" y="1611"/>
                    </a:lnTo>
                    <a:lnTo>
                      <a:pt x="1292" y="1611"/>
                    </a:lnTo>
                    <a:lnTo>
                      <a:pt x="1290" y="1611"/>
                    </a:lnTo>
                    <a:lnTo>
                      <a:pt x="1288" y="1609"/>
                    </a:lnTo>
                    <a:lnTo>
                      <a:pt x="1288" y="1607"/>
                    </a:lnTo>
                    <a:lnTo>
                      <a:pt x="1290" y="1607"/>
                    </a:lnTo>
                    <a:lnTo>
                      <a:pt x="1292" y="1607"/>
                    </a:lnTo>
                    <a:lnTo>
                      <a:pt x="1290" y="1607"/>
                    </a:lnTo>
                    <a:lnTo>
                      <a:pt x="1288" y="1607"/>
                    </a:lnTo>
                    <a:lnTo>
                      <a:pt x="1290" y="1606"/>
                    </a:lnTo>
                    <a:lnTo>
                      <a:pt x="1288" y="1606"/>
                    </a:lnTo>
                    <a:lnTo>
                      <a:pt x="1290" y="1604"/>
                    </a:lnTo>
                    <a:lnTo>
                      <a:pt x="1288" y="1606"/>
                    </a:lnTo>
                    <a:lnTo>
                      <a:pt x="1288" y="1607"/>
                    </a:lnTo>
                    <a:lnTo>
                      <a:pt x="1287" y="1607"/>
                    </a:lnTo>
                    <a:lnTo>
                      <a:pt x="1287" y="1606"/>
                    </a:lnTo>
                    <a:lnTo>
                      <a:pt x="1287" y="1604"/>
                    </a:lnTo>
                    <a:lnTo>
                      <a:pt x="1287" y="1606"/>
                    </a:lnTo>
                    <a:lnTo>
                      <a:pt x="1287" y="1607"/>
                    </a:lnTo>
                    <a:lnTo>
                      <a:pt x="1285" y="1606"/>
                    </a:lnTo>
                    <a:lnTo>
                      <a:pt x="1283" y="1604"/>
                    </a:lnTo>
                    <a:lnTo>
                      <a:pt x="1285" y="1606"/>
                    </a:lnTo>
                    <a:lnTo>
                      <a:pt x="1285" y="1607"/>
                    </a:lnTo>
                    <a:lnTo>
                      <a:pt x="1283" y="1606"/>
                    </a:lnTo>
                    <a:lnTo>
                      <a:pt x="1283" y="1607"/>
                    </a:lnTo>
                    <a:lnTo>
                      <a:pt x="1285" y="1607"/>
                    </a:lnTo>
                    <a:lnTo>
                      <a:pt x="1287" y="1607"/>
                    </a:lnTo>
                    <a:lnTo>
                      <a:pt x="1287" y="1609"/>
                    </a:lnTo>
                    <a:lnTo>
                      <a:pt x="1287" y="1611"/>
                    </a:lnTo>
                    <a:lnTo>
                      <a:pt x="1285" y="1609"/>
                    </a:lnTo>
                    <a:lnTo>
                      <a:pt x="1287" y="1609"/>
                    </a:lnTo>
                    <a:lnTo>
                      <a:pt x="1285" y="1609"/>
                    </a:lnTo>
                    <a:lnTo>
                      <a:pt x="1283" y="1609"/>
                    </a:lnTo>
                    <a:lnTo>
                      <a:pt x="1285" y="1609"/>
                    </a:lnTo>
                    <a:lnTo>
                      <a:pt x="1285" y="1611"/>
                    </a:lnTo>
                    <a:lnTo>
                      <a:pt x="1285" y="1612"/>
                    </a:lnTo>
                    <a:lnTo>
                      <a:pt x="1283" y="1612"/>
                    </a:lnTo>
                    <a:lnTo>
                      <a:pt x="1283" y="1611"/>
                    </a:lnTo>
                    <a:lnTo>
                      <a:pt x="1281" y="1611"/>
                    </a:lnTo>
                    <a:lnTo>
                      <a:pt x="1283" y="1612"/>
                    </a:lnTo>
                    <a:lnTo>
                      <a:pt x="1281" y="1612"/>
                    </a:lnTo>
                    <a:lnTo>
                      <a:pt x="1281" y="1614"/>
                    </a:lnTo>
                    <a:lnTo>
                      <a:pt x="1280" y="1614"/>
                    </a:lnTo>
                    <a:lnTo>
                      <a:pt x="1280" y="1612"/>
                    </a:lnTo>
                    <a:lnTo>
                      <a:pt x="1280" y="1611"/>
                    </a:lnTo>
                    <a:lnTo>
                      <a:pt x="1280" y="1609"/>
                    </a:lnTo>
                    <a:lnTo>
                      <a:pt x="1281" y="1609"/>
                    </a:lnTo>
                    <a:lnTo>
                      <a:pt x="1281" y="1607"/>
                    </a:lnTo>
                    <a:lnTo>
                      <a:pt x="1280" y="1609"/>
                    </a:lnTo>
                    <a:lnTo>
                      <a:pt x="1280" y="1611"/>
                    </a:lnTo>
                    <a:lnTo>
                      <a:pt x="1280" y="1612"/>
                    </a:lnTo>
                    <a:lnTo>
                      <a:pt x="1280" y="1611"/>
                    </a:lnTo>
                    <a:lnTo>
                      <a:pt x="1278" y="1612"/>
                    </a:lnTo>
                    <a:lnTo>
                      <a:pt x="1278" y="1611"/>
                    </a:lnTo>
                    <a:lnTo>
                      <a:pt x="1278" y="1609"/>
                    </a:lnTo>
                    <a:lnTo>
                      <a:pt x="1278" y="1611"/>
                    </a:lnTo>
                    <a:lnTo>
                      <a:pt x="1276" y="1611"/>
                    </a:lnTo>
                    <a:lnTo>
                      <a:pt x="1276" y="1609"/>
                    </a:lnTo>
                    <a:lnTo>
                      <a:pt x="1278" y="1609"/>
                    </a:lnTo>
                    <a:lnTo>
                      <a:pt x="1278" y="1607"/>
                    </a:lnTo>
                    <a:lnTo>
                      <a:pt x="1278" y="1609"/>
                    </a:lnTo>
                    <a:lnTo>
                      <a:pt x="1276" y="1607"/>
                    </a:lnTo>
                    <a:lnTo>
                      <a:pt x="1276" y="1609"/>
                    </a:lnTo>
                    <a:lnTo>
                      <a:pt x="1275" y="1611"/>
                    </a:lnTo>
                    <a:lnTo>
                      <a:pt x="1276" y="1611"/>
                    </a:lnTo>
                    <a:lnTo>
                      <a:pt x="1275" y="1612"/>
                    </a:lnTo>
                    <a:lnTo>
                      <a:pt x="1275" y="1611"/>
                    </a:lnTo>
                    <a:lnTo>
                      <a:pt x="1275" y="1609"/>
                    </a:lnTo>
                    <a:lnTo>
                      <a:pt x="1276" y="1609"/>
                    </a:lnTo>
                    <a:lnTo>
                      <a:pt x="1276" y="1607"/>
                    </a:lnTo>
                    <a:lnTo>
                      <a:pt x="1275" y="1609"/>
                    </a:lnTo>
                    <a:lnTo>
                      <a:pt x="1273" y="1609"/>
                    </a:lnTo>
                    <a:lnTo>
                      <a:pt x="1271" y="1607"/>
                    </a:lnTo>
                    <a:lnTo>
                      <a:pt x="1273" y="1609"/>
                    </a:lnTo>
                    <a:lnTo>
                      <a:pt x="1271" y="1611"/>
                    </a:lnTo>
                    <a:lnTo>
                      <a:pt x="1271" y="1609"/>
                    </a:lnTo>
                    <a:lnTo>
                      <a:pt x="1270" y="1607"/>
                    </a:lnTo>
                    <a:lnTo>
                      <a:pt x="1270" y="1609"/>
                    </a:lnTo>
                    <a:lnTo>
                      <a:pt x="1271" y="1611"/>
                    </a:lnTo>
                    <a:lnTo>
                      <a:pt x="1270" y="1611"/>
                    </a:lnTo>
                    <a:lnTo>
                      <a:pt x="1268" y="1611"/>
                    </a:lnTo>
                    <a:lnTo>
                      <a:pt x="1266" y="1611"/>
                    </a:lnTo>
                    <a:lnTo>
                      <a:pt x="1264" y="1609"/>
                    </a:lnTo>
                    <a:lnTo>
                      <a:pt x="1266" y="1609"/>
                    </a:lnTo>
                    <a:lnTo>
                      <a:pt x="1268" y="1609"/>
                    </a:lnTo>
                    <a:lnTo>
                      <a:pt x="1268" y="1607"/>
                    </a:lnTo>
                    <a:lnTo>
                      <a:pt x="1266" y="1607"/>
                    </a:lnTo>
                    <a:lnTo>
                      <a:pt x="1266" y="1606"/>
                    </a:lnTo>
                    <a:lnTo>
                      <a:pt x="1264" y="1607"/>
                    </a:lnTo>
                    <a:lnTo>
                      <a:pt x="1264" y="1606"/>
                    </a:lnTo>
                    <a:lnTo>
                      <a:pt x="1264" y="1604"/>
                    </a:lnTo>
                    <a:lnTo>
                      <a:pt x="1263" y="1604"/>
                    </a:lnTo>
                    <a:lnTo>
                      <a:pt x="1264" y="1602"/>
                    </a:lnTo>
                    <a:lnTo>
                      <a:pt x="1264" y="1604"/>
                    </a:lnTo>
                    <a:lnTo>
                      <a:pt x="1266" y="1606"/>
                    </a:lnTo>
                    <a:lnTo>
                      <a:pt x="1264" y="1604"/>
                    </a:lnTo>
                    <a:lnTo>
                      <a:pt x="1264" y="1602"/>
                    </a:lnTo>
                    <a:lnTo>
                      <a:pt x="1266" y="1604"/>
                    </a:lnTo>
                    <a:lnTo>
                      <a:pt x="1264" y="1602"/>
                    </a:lnTo>
                    <a:lnTo>
                      <a:pt x="1264" y="1600"/>
                    </a:lnTo>
                    <a:lnTo>
                      <a:pt x="1266" y="1600"/>
                    </a:lnTo>
                    <a:lnTo>
                      <a:pt x="1268" y="1600"/>
                    </a:lnTo>
                    <a:lnTo>
                      <a:pt x="1268" y="1602"/>
                    </a:lnTo>
                    <a:lnTo>
                      <a:pt x="1268" y="1604"/>
                    </a:lnTo>
                    <a:lnTo>
                      <a:pt x="1268" y="1602"/>
                    </a:lnTo>
                    <a:lnTo>
                      <a:pt x="1268" y="1600"/>
                    </a:lnTo>
                    <a:lnTo>
                      <a:pt x="1270" y="1602"/>
                    </a:lnTo>
                    <a:lnTo>
                      <a:pt x="1270" y="1604"/>
                    </a:lnTo>
                    <a:lnTo>
                      <a:pt x="1270" y="1606"/>
                    </a:lnTo>
                    <a:lnTo>
                      <a:pt x="1271" y="1606"/>
                    </a:lnTo>
                    <a:lnTo>
                      <a:pt x="1273" y="1606"/>
                    </a:lnTo>
                    <a:lnTo>
                      <a:pt x="1275" y="1607"/>
                    </a:lnTo>
                    <a:lnTo>
                      <a:pt x="1275" y="1606"/>
                    </a:lnTo>
                    <a:lnTo>
                      <a:pt x="1273" y="1606"/>
                    </a:lnTo>
                    <a:lnTo>
                      <a:pt x="1275" y="1606"/>
                    </a:lnTo>
                    <a:lnTo>
                      <a:pt x="1273" y="1604"/>
                    </a:lnTo>
                    <a:lnTo>
                      <a:pt x="1271" y="1602"/>
                    </a:lnTo>
                    <a:lnTo>
                      <a:pt x="1273" y="1602"/>
                    </a:lnTo>
                    <a:lnTo>
                      <a:pt x="1275" y="1604"/>
                    </a:lnTo>
                    <a:lnTo>
                      <a:pt x="1276" y="1604"/>
                    </a:lnTo>
                    <a:lnTo>
                      <a:pt x="1276" y="1606"/>
                    </a:lnTo>
                    <a:lnTo>
                      <a:pt x="1276" y="1604"/>
                    </a:lnTo>
                    <a:lnTo>
                      <a:pt x="1278" y="1606"/>
                    </a:lnTo>
                    <a:lnTo>
                      <a:pt x="1280" y="1606"/>
                    </a:lnTo>
                    <a:lnTo>
                      <a:pt x="1278" y="1604"/>
                    </a:lnTo>
                    <a:lnTo>
                      <a:pt x="1276" y="1604"/>
                    </a:lnTo>
                    <a:lnTo>
                      <a:pt x="1275" y="1604"/>
                    </a:lnTo>
                    <a:lnTo>
                      <a:pt x="1276" y="1602"/>
                    </a:lnTo>
                    <a:lnTo>
                      <a:pt x="1275" y="1602"/>
                    </a:lnTo>
                    <a:lnTo>
                      <a:pt x="1273" y="1602"/>
                    </a:lnTo>
                    <a:lnTo>
                      <a:pt x="1275" y="1600"/>
                    </a:lnTo>
                    <a:lnTo>
                      <a:pt x="1273" y="1600"/>
                    </a:lnTo>
                    <a:lnTo>
                      <a:pt x="1271" y="1600"/>
                    </a:lnTo>
                    <a:lnTo>
                      <a:pt x="1270" y="1600"/>
                    </a:lnTo>
                    <a:lnTo>
                      <a:pt x="1268" y="1600"/>
                    </a:lnTo>
                    <a:lnTo>
                      <a:pt x="1268" y="1599"/>
                    </a:lnTo>
                    <a:lnTo>
                      <a:pt x="1270" y="1599"/>
                    </a:lnTo>
                    <a:lnTo>
                      <a:pt x="1271" y="1600"/>
                    </a:lnTo>
                    <a:lnTo>
                      <a:pt x="1270" y="1599"/>
                    </a:lnTo>
                    <a:lnTo>
                      <a:pt x="1271" y="1599"/>
                    </a:lnTo>
                    <a:lnTo>
                      <a:pt x="1270" y="1599"/>
                    </a:lnTo>
                    <a:lnTo>
                      <a:pt x="1270" y="1597"/>
                    </a:lnTo>
                    <a:lnTo>
                      <a:pt x="1271" y="1599"/>
                    </a:lnTo>
                    <a:lnTo>
                      <a:pt x="1270" y="1597"/>
                    </a:lnTo>
                    <a:lnTo>
                      <a:pt x="1271" y="1597"/>
                    </a:lnTo>
                    <a:lnTo>
                      <a:pt x="1273" y="1597"/>
                    </a:lnTo>
                    <a:lnTo>
                      <a:pt x="1273" y="1599"/>
                    </a:lnTo>
                    <a:lnTo>
                      <a:pt x="1275" y="1599"/>
                    </a:lnTo>
                    <a:lnTo>
                      <a:pt x="1275" y="1600"/>
                    </a:lnTo>
                    <a:lnTo>
                      <a:pt x="1276" y="1600"/>
                    </a:lnTo>
                    <a:lnTo>
                      <a:pt x="1276" y="1602"/>
                    </a:lnTo>
                    <a:lnTo>
                      <a:pt x="1278" y="1602"/>
                    </a:lnTo>
                    <a:lnTo>
                      <a:pt x="1278" y="1604"/>
                    </a:lnTo>
                    <a:lnTo>
                      <a:pt x="1280" y="1604"/>
                    </a:lnTo>
                    <a:lnTo>
                      <a:pt x="1280" y="1602"/>
                    </a:lnTo>
                    <a:lnTo>
                      <a:pt x="1278" y="1602"/>
                    </a:lnTo>
                    <a:lnTo>
                      <a:pt x="1280" y="1602"/>
                    </a:lnTo>
                    <a:lnTo>
                      <a:pt x="1281" y="1602"/>
                    </a:lnTo>
                    <a:lnTo>
                      <a:pt x="1280" y="1602"/>
                    </a:lnTo>
                    <a:lnTo>
                      <a:pt x="1278" y="1600"/>
                    </a:lnTo>
                    <a:lnTo>
                      <a:pt x="1276" y="1600"/>
                    </a:lnTo>
                    <a:lnTo>
                      <a:pt x="1278" y="1600"/>
                    </a:lnTo>
                    <a:lnTo>
                      <a:pt x="1278" y="1599"/>
                    </a:lnTo>
                    <a:lnTo>
                      <a:pt x="1276" y="1597"/>
                    </a:lnTo>
                    <a:lnTo>
                      <a:pt x="1278" y="1597"/>
                    </a:lnTo>
                    <a:lnTo>
                      <a:pt x="1278" y="1599"/>
                    </a:lnTo>
                    <a:lnTo>
                      <a:pt x="1280" y="1599"/>
                    </a:lnTo>
                    <a:lnTo>
                      <a:pt x="1280" y="1597"/>
                    </a:lnTo>
                    <a:lnTo>
                      <a:pt x="1280" y="1599"/>
                    </a:lnTo>
                    <a:lnTo>
                      <a:pt x="1278" y="1597"/>
                    </a:lnTo>
                    <a:lnTo>
                      <a:pt x="1280" y="1597"/>
                    </a:lnTo>
                    <a:lnTo>
                      <a:pt x="1280" y="1599"/>
                    </a:lnTo>
                    <a:lnTo>
                      <a:pt x="1281" y="1599"/>
                    </a:lnTo>
                    <a:lnTo>
                      <a:pt x="1283" y="1599"/>
                    </a:lnTo>
                    <a:lnTo>
                      <a:pt x="1281" y="1599"/>
                    </a:lnTo>
                    <a:lnTo>
                      <a:pt x="1283" y="1599"/>
                    </a:lnTo>
                    <a:lnTo>
                      <a:pt x="1285" y="1599"/>
                    </a:lnTo>
                    <a:lnTo>
                      <a:pt x="1285" y="1600"/>
                    </a:lnTo>
                    <a:lnTo>
                      <a:pt x="1285" y="1599"/>
                    </a:lnTo>
                    <a:lnTo>
                      <a:pt x="1287" y="1599"/>
                    </a:lnTo>
                    <a:lnTo>
                      <a:pt x="1285" y="1599"/>
                    </a:lnTo>
                    <a:lnTo>
                      <a:pt x="1283" y="1599"/>
                    </a:lnTo>
                    <a:lnTo>
                      <a:pt x="1283" y="1597"/>
                    </a:lnTo>
                    <a:lnTo>
                      <a:pt x="1285" y="1597"/>
                    </a:lnTo>
                    <a:lnTo>
                      <a:pt x="1283" y="1595"/>
                    </a:lnTo>
                    <a:lnTo>
                      <a:pt x="1285" y="1597"/>
                    </a:lnTo>
                    <a:lnTo>
                      <a:pt x="1285" y="1595"/>
                    </a:lnTo>
                    <a:lnTo>
                      <a:pt x="1287" y="1595"/>
                    </a:lnTo>
                    <a:lnTo>
                      <a:pt x="1287" y="1597"/>
                    </a:lnTo>
                    <a:lnTo>
                      <a:pt x="1288" y="1597"/>
                    </a:lnTo>
                    <a:lnTo>
                      <a:pt x="1290" y="1599"/>
                    </a:lnTo>
                    <a:lnTo>
                      <a:pt x="1292" y="1599"/>
                    </a:lnTo>
                    <a:lnTo>
                      <a:pt x="1290" y="1599"/>
                    </a:lnTo>
                    <a:lnTo>
                      <a:pt x="1290" y="1600"/>
                    </a:lnTo>
                    <a:lnTo>
                      <a:pt x="1292" y="1600"/>
                    </a:lnTo>
                    <a:lnTo>
                      <a:pt x="1292" y="1599"/>
                    </a:lnTo>
                    <a:lnTo>
                      <a:pt x="1293" y="1599"/>
                    </a:lnTo>
                    <a:lnTo>
                      <a:pt x="1292" y="1600"/>
                    </a:lnTo>
                    <a:lnTo>
                      <a:pt x="1293" y="1600"/>
                    </a:lnTo>
                    <a:lnTo>
                      <a:pt x="1293" y="1602"/>
                    </a:lnTo>
                    <a:lnTo>
                      <a:pt x="1293" y="1600"/>
                    </a:lnTo>
                    <a:lnTo>
                      <a:pt x="1293" y="1599"/>
                    </a:lnTo>
                    <a:lnTo>
                      <a:pt x="1295" y="1600"/>
                    </a:lnTo>
                    <a:lnTo>
                      <a:pt x="1297" y="1600"/>
                    </a:lnTo>
                    <a:lnTo>
                      <a:pt x="1298" y="1600"/>
                    </a:lnTo>
                    <a:lnTo>
                      <a:pt x="1298" y="1602"/>
                    </a:lnTo>
                    <a:lnTo>
                      <a:pt x="1298" y="1604"/>
                    </a:lnTo>
                    <a:lnTo>
                      <a:pt x="1300" y="1604"/>
                    </a:lnTo>
                    <a:lnTo>
                      <a:pt x="1300" y="1602"/>
                    </a:lnTo>
                    <a:lnTo>
                      <a:pt x="1300" y="1600"/>
                    </a:lnTo>
                    <a:lnTo>
                      <a:pt x="1298" y="1600"/>
                    </a:lnTo>
                    <a:lnTo>
                      <a:pt x="1300" y="1599"/>
                    </a:lnTo>
                    <a:lnTo>
                      <a:pt x="1300" y="1597"/>
                    </a:lnTo>
                    <a:lnTo>
                      <a:pt x="1300" y="1595"/>
                    </a:lnTo>
                    <a:lnTo>
                      <a:pt x="1300" y="1594"/>
                    </a:lnTo>
                    <a:lnTo>
                      <a:pt x="1302" y="1595"/>
                    </a:lnTo>
                    <a:lnTo>
                      <a:pt x="1302" y="1594"/>
                    </a:lnTo>
                    <a:lnTo>
                      <a:pt x="1304" y="1594"/>
                    </a:lnTo>
                    <a:lnTo>
                      <a:pt x="1305" y="1594"/>
                    </a:lnTo>
                    <a:lnTo>
                      <a:pt x="1307" y="1594"/>
                    </a:lnTo>
                    <a:lnTo>
                      <a:pt x="1307" y="1595"/>
                    </a:lnTo>
                    <a:lnTo>
                      <a:pt x="1307" y="1594"/>
                    </a:lnTo>
                    <a:lnTo>
                      <a:pt x="1309" y="1595"/>
                    </a:lnTo>
                    <a:lnTo>
                      <a:pt x="1309" y="1594"/>
                    </a:lnTo>
                    <a:lnTo>
                      <a:pt x="1310" y="1594"/>
                    </a:lnTo>
                    <a:lnTo>
                      <a:pt x="1312" y="1594"/>
                    </a:lnTo>
                    <a:lnTo>
                      <a:pt x="1312" y="1595"/>
                    </a:lnTo>
                    <a:lnTo>
                      <a:pt x="1310" y="1595"/>
                    </a:lnTo>
                    <a:lnTo>
                      <a:pt x="1310" y="1597"/>
                    </a:lnTo>
                    <a:lnTo>
                      <a:pt x="1309" y="1597"/>
                    </a:lnTo>
                    <a:lnTo>
                      <a:pt x="1309" y="1599"/>
                    </a:lnTo>
                    <a:lnTo>
                      <a:pt x="1307" y="1599"/>
                    </a:lnTo>
                    <a:lnTo>
                      <a:pt x="1307" y="1600"/>
                    </a:lnTo>
                    <a:lnTo>
                      <a:pt x="1309" y="1600"/>
                    </a:lnTo>
                    <a:lnTo>
                      <a:pt x="1307" y="1602"/>
                    </a:lnTo>
                    <a:lnTo>
                      <a:pt x="1307" y="1604"/>
                    </a:lnTo>
                    <a:lnTo>
                      <a:pt x="1305" y="1606"/>
                    </a:lnTo>
                    <a:lnTo>
                      <a:pt x="1305" y="1607"/>
                    </a:lnTo>
                    <a:lnTo>
                      <a:pt x="1305" y="1609"/>
                    </a:lnTo>
                    <a:lnTo>
                      <a:pt x="1305" y="1611"/>
                    </a:lnTo>
                    <a:lnTo>
                      <a:pt x="1305" y="1609"/>
                    </a:lnTo>
                    <a:lnTo>
                      <a:pt x="1307" y="1609"/>
                    </a:lnTo>
                    <a:lnTo>
                      <a:pt x="1307" y="1607"/>
                    </a:lnTo>
                    <a:lnTo>
                      <a:pt x="1307" y="1606"/>
                    </a:lnTo>
                    <a:lnTo>
                      <a:pt x="1309" y="1607"/>
                    </a:lnTo>
                    <a:lnTo>
                      <a:pt x="1309" y="1609"/>
                    </a:lnTo>
                    <a:lnTo>
                      <a:pt x="1310" y="1609"/>
                    </a:lnTo>
                    <a:lnTo>
                      <a:pt x="1309" y="1607"/>
                    </a:lnTo>
                    <a:lnTo>
                      <a:pt x="1307" y="1606"/>
                    </a:lnTo>
                    <a:lnTo>
                      <a:pt x="1309" y="1604"/>
                    </a:lnTo>
                    <a:lnTo>
                      <a:pt x="1309" y="1602"/>
                    </a:lnTo>
                    <a:lnTo>
                      <a:pt x="1309" y="1600"/>
                    </a:lnTo>
                    <a:lnTo>
                      <a:pt x="1310" y="1600"/>
                    </a:lnTo>
                    <a:lnTo>
                      <a:pt x="1310" y="1599"/>
                    </a:lnTo>
                    <a:lnTo>
                      <a:pt x="1312" y="1599"/>
                    </a:lnTo>
                    <a:lnTo>
                      <a:pt x="1312" y="1597"/>
                    </a:lnTo>
                    <a:lnTo>
                      <a:pt x="1314" y="1599"/>
                    </a:lnTo>
                    <a:lnTo>
                      <a:pt x="1315" y="1600"/>
                    </a:lnTo>
                    <a:lnTo>
                      <a:pt x="1317" y="1602"/>
                    </a:lnTo>
                    <a:lnTo>
                      <a:pt x="1315" y="1602"/>
                    </a:lnTo>
                    <a:lnTo>
                      <a:pt x="1317" y="1602"/>
                    </a:lnTo>
                    <a:lnTo>
                      <a:pt x="1319" y="1602"/>
                    </a:lnTo>
                    <a:lnTo>
                      <a:pt x="1319" y="1604"/>
                    </a:lnTo>
                    <a:lnTo>
                      <a:pt x="1321" y="1604"/>
                    </a:lnTo>
                    <a:lnTo>
                      <a:pt x="1319" y="1604"/>
                    </a:lnTo>
                    <a:lnTo>
                      <a:pt x="1321" y="1604"/>
                    </a:lnTo>
                    <a:lnTo>
                      <a:pt x="1321" y="1606"/>
                    </a:lnTo>
                    <a:lnTo>
                      <a:pt x="1322" y="1607"/>
                    </a:lnTo>
                    <a:lnTo>
                      <a:pt x="1324" y="1607"/>
                    </a:lnTo>
                    <a:lnTo>
                      <a:pt x="1324" y="1609"/>
                    </a:lnTo>
                    <a:lnTo>
                      <a:pt x="1324" y="1607"/>
                    </a:lnTo>
                    <a:lnTo>
                      <a:pt x="1326" y="1609"/>
                    </a:lnTo>
                    <a:lnTo>
                      <a:pt x="1324" y="1607"/>
                    </a:lnTo>
                    <a:lnTo>
                      <a:pt x="1322" y="1607"/>
                    </a:lnTo>
                    <a:lnTo>
                      <a:pt x="1322" y="1606"/>
                    </a:lnTo>
                    <a:lnTo>
                      <a:pt x="1321" y="1606"/>
                    </a:lnTo>
                    <a:lnTo>
                      <a:pt x="1321" y="1604"/>
                    </a:lnTo>
                    <a:lnTo>
                      <a:pt x="1322" y="1604"/>
                    </a:lnTo>
                    <a:lnTo>
                      <a:pt x="1324" y="1604"/>
                    </a:lnTo>
                    <a:lnTo>
                      <a:pt x="1326" y="1606"/>
                    </a:lnTo>
                    <a:lnTo>
                      <a:pt x="1327" y="1607"/>
                    </a:lnTo>
                    <a:lnTo>
                      <a:pt x="1327" y="1606"/>
                    </a:lnTo>
                    <a:lnTo>
                      <a:pt x="1326" y="1606"/>
                    </a:lnTo>
                    <a:lnTo>
                      <a:pt x="1324" y="1604"/>
                    </a:lnTo>
                    <a:lnTo>
                      <a:pt x="1326" y="1604"/>
                    </a:lnTo>
                    <a:lnTo>
                      <a:pt x="1324" y="1604"/>
                    </a:lnTo>
                    <a:lnTo>
                      <a:pt x="1322" y="1602"/>
                    </a:lnTo>
                    <a:lnTo>
                      <a:pt x="1321" y="1602"/>
                    </a:lnTo>
                    <a:lnTo>
                      <a:pt x="1319" y="1600"/>
                    </a:lnTo>
                    <a:lnTo>
                      <a:pt x="1317" y="1600"/>
                    </a:lnTo>
                    <a:lnTo>
                      <a:pt x="1317" y="1599"/>
                    </a:lnTo>
                    <a:lnTo>
                      <a:pt x="1315" y="1599"/>
                    </a:lnTo>
                    <a:lnTo>
                      <a:pt x="1317" y="1597"/>
                    </a:lnTo>
                    <a:lnTo>
                      <a:pt x="1315" y="1597"/>
                    </a:lnTo>
                    <a:lnTo>
                      <a:pt x="1314" y="1597"/>
                    </a:lnTo>
                    <a:lnTo>
                      <a:pt x="1314" y="1595"/>
                    </a:lnTo>
                    <a:lnTo>
                      <a:pt x="1315" y="1594"/>
                    </a:lnTo>
                    <a:lnTo>
                      <a:pt x="1314" y="1594"/>
                    </a:lnTo>
                    <a:lnTo>
                      <a:pt x="1314" y="1592"/>
                    </a:lnTo>
                    <a:lnTo>
                      <a:pt x="1312" y="1590"/>
                    </a:lnTo>
                    <a:lnTo>
                      <a:pt x="1310" y="1590"/>
                    </a:lnTo>
                    <a:lnTo>
                      <a:pt x="1309" y="1590"/>
                    </a:lnTo>
                    <a:lnTo>
                      <a:pt x="1307" y="1590"/>
                    </a:lnTo>
                    <a:lnTo>
                      <a:pt x="1305" y="1590"/>
                    </a:lnTo>
                    <a:lnTo>
                      <a:pt x="1304" y="1590"/>
                    </a:lnTo>
                    <a:lnTo>
                      <a:pt x="1304" y="1589"/>
                    </a:lnTo>
                    <a:lnTo>
                      <a:pt x="1302" y="1589"/>
                    </a:lnTo>
                    <a:lnTo>
                      <a:pt x="1302" y="1587"/>
                    </a:lnTo>
                    <a:lnTo>
                      <a:pt x="1300" y="1585"/>
                    </a:lnTo>
                    <a:lnTo>
                      <a:pt x="1302" y="1585"/>
                    </a:lnTo>
                    <a:lnTo>
                      <a:pt x="1300" y="1583"/>
                    </a:lnTo>
                    <a:lnTo>
                      <a:pt x="1302" y="1583"/>
                    </a:lnTo>
                    <a:lnTo>
                      <a:pt x="1302" y="1585"/>
                    </a:lnTo>
                    <a:lnTo>
                      <a:pt x="1304" y="1585"/>
                    </a:lnTo>
                    <a:lnTo>
                      <a:pt x="1302" y="1585"/>
                    </a:lnTo>
                    <a:lnTo>
                      <a:pt x="1302" y="1583"/>
                    </a:lnTo>
                    <a:lnTo>
                      <a:pt x="1300" y="1582"/>
                    </a:lnTo>
                    <a:lnTo>
                      <a:pt x="1300" y="1580"/>
                    </a:lnTo>
                    <a:lnTo>
                      <a:pt x="1300" y="1582"/>
                    </a:lnTo>
                    <a:lnTo>
                      <a:pt x="1302" y="1582"/>
                    </a:lnTo>
                    <a:lnTo>
                      <a:pt x="1304" y="1582"/>
                    </a:lnTo>
                    <a:lnTo>
                      <a:pt x="1304" y="1583"/>
                    </a:lnTo>
                    <a:lnTo>
                      <a:pt x="1305" y="1583"/>
                    </a:lnTo>
                    <a:lnTo>
                      <a:pt x="1305" y="1585"/>
                    </a:lnTo>
                    <a:lnTo>
                      <a:pt x="1307" y="1585"/>
                    </a:lnTo>
                    <a:lnTo>
                      <a:pt x="1309" y="1585"/>
                    </a:lnTo>
                    <a:lnTo>
                      <a:pt x="1309" y="1587"/>
                    </a:lnTo>
                    <a:lnTo>
                      <a:pt x="1310" y="1589"/>
                    </a:lnTo>
                    <a:lnTo>
                      <a:pt x="1312" y="1589"/>
                    </a:lnTo>
                    <a:lnTo>
                      <a:pt x="1314" y="1589"/>
                    </a:lnTo>
                    <a:lnTo>
                      <a:pt x="1314" y="1590"/>
                    </a:lnTo>
                    <a:lnTo>
                      <a:pt x="1315" y="1590"/>
                    </a:lnTo>
                    <a:lnTo>
                      <a:pt x="1317" y="1590"/>
                    </a:lnTo>
                    <a:lnTo>
                      <a:pt x="1317" y="1592"/>
                    </a:lnTo>
                    <a:lnTo>
                      <a:pt x="1319" y="1592"/>
                    </a:lnTo>
                    <a:lnTo>
                      <a:pt x="1321" y="1592"/>
                    </a:lnTo>
                    <a:lnTo>
                      <a:pt x="1321" y="1594"/>
                    </a:lnTo>
                    <a:lnTo>
                      <a:pt x="1322" y="1594"/>
                    </a:lnTo>
                    <a:lnTo>
                      <a:pt x="1322" y="1595"/>
                    </a:lnTo>
                    <a:lnTo>
                      <a:pt x="1321" y="1595"/>
                    </a:lnTo>
                    <a:lnTo>
                      <a:pt x="1322" y="1595"/>
                    </a:lnTo>
                    <a:lnTo>
                      <a:pt x="1324" y="1595"/>
                    </a:lnTo>
                    <a:lnTo>
                      <a:pt x="1324" y="1597"/>
                    </a:lnTo>
                    <a:lnTo>
                      <a:pt x="1326" y="1599"/>
                    </a:lnTo>
                    <a:lnTo>
                      <a:pt x="1327" y="1599"/>
                    </a:lnTo>
                    <a:lnTo>
                      <a:pt x="1327" y="1597"/>
                    </a:lnTo>
                    <a:lnTo>
                      <a:pt x="1326" y="1597"/>
                    </a:lnTo>
                    <a:lnTo>
                      <a:pt x="1327" y="1597"/>
                    </a:lnTo>
                    <a:lnTo>
                      <a:pt x="1326" y="1597"/>
                    </a:lnTo>
                    <a:lnTo>
                      <a:pt x="1327" y="1595"/>
                    </a:lnTo>
                    <a:lnTo>
                      <a:pt x="1329" y="1595"/>
                    </a:lnTo>
                    <a:lnTo>
                      <a:pt x="1329" y="1597"/>
                    </a:lnTo>
                    <a:lnTo>
                      <a:pt x="1331" y="1597"/>
                    </a:lnTo>
                    <a:lnTo>
                      <a:pt x="1329" y="1595"/>
                    </a:lnTo>
                    <a:lnTo>
                      <a:pt x="1327" y="1595"/>
                    </a:lnTo>
                    <a:lnTo>
                      <a:pt x="1326" y="1595"/>
                    </a:lnTo>
                    <a:lnTo>
                      <a:pt x="1326" y="1594"/>
                    </a:lnTo>
                    <a:lnTo>
                      <a:pt x="1324" y="1594"/>
                    </a:lnTo>
                    <a:lnTo>
                      <a:pt x="1324" y="1592"/>
                    </a:lnTo>
                    <a:lnTo>
                      <a:pt x="1326" y="1592"/>
                    </a:lnTo>
                    <a:lnTo>
                      <a:pt x="1327" y="1592"/>
                    </a:lnTo>
                    <a:lnTo>
                      <a:pt x="1327" y="1590"/>
                    </a:lnTo>
                    <a:lnTo>
                      <a:pt x="1327" y="1589"/>
                    </a:lnTo>
                    <a:lnTo>
                      <a:pt x="1329" y="1589"/>
                    </a:lnTo>
                    <a:lnTo>
                      <a:pt x="1331" y="1589"/>
                    </a:lnTo>
                    <a:lnTo>
                      <a:pt x="1332" y="1590"/>
                    </a:lnTo>
                    <a:lnTo>
                      <a:pt x="1332" y="1592"/>
                    </a:lnTo>
                    <a:lnTo>
                      <a:pt x="1334" y="1592"/>
                    </a:lnTo>
                    <a:lnTo>
                      <a:pt x="1332" y="1592"/>
                    </a:lnTo>
                    <a:lnTo>
                      <a:pt x="1332" y="1594"/>
                    </a:lnTo>
                    <a:lnTo>
                      <a:pt x="1334" y="1595"/>
                    </a:lnTo>
                    <a:lnTo>
                      <a:pt x="1332" y="1595"/>
                    </a:lnTo>
                    <a:lnTo>
                      <a:pt x="1332" y="1597"/>
                    </a:lnTo>
                    <a:lnTo>
                      <a:pt x="1334" y="1595"/>
                    </a:lnTo>
                    <a:lnTo>
                      <a:pt x="1334" y="1597"/>
                    </a:lnTo>
                    <a:lnTo>
                      <a:pt x="1336" y="1597"/>
                    </a:lnTo>
                    <a:lnTo>
                      <a:pt x="1336" y="1599"/>
                    </a:lnTo>
                    <a:lnTo>
                      <a:pt x="1334" y="1599"/>
                    </a:lnTo>
                    <a:lnTo>
                      <a:pt x="1336" y="1599"/>
                    </a:lnTo>
                    <a:lnTo>
                      <a:pt x="1338" y="1600"/>
                    </a:lnTo>
                    <a:lnTo>
                      <a:pt x="1336" y="1600"/>
                    </a:lnTo>
                    <a:lnTo>
                      <a:pt x="1336" y="1602"/>
                    </a:lnTo>
                    <a:lnTo>
                      <a:pt x="1334" y="1604"/>
                    </a:lnTo>
                    <a:lnTo>
                      <a:pt x="1336" y="1604"/>
                    </a:lnTo>
                    <a:lnTo>
                      <a:pt x="1336" y="1602"/>
                    </a:lnTo>
                    <a:lnTo>
                      <a:pt x="1338" y="1602"/>
                    </a:lnTo>
                    <a:lnTo>
                      <a:pt x="1338" y="1600"/>
                    </a:lnTo>
                    <a:lnTo>
                      <a:pt x="1338" y="1602"/>
                    </a:lnTo>
                    <a:lnTo>
                      <a:pt x="1339" y="1602"/>
                    </a:lnTo>
                    <a:lnTo>
                      <a:pt x="1339" y="1604"/>
                    </a:lnTo>
                    <a:lnTo>
                      <a:pt x="1339" y="1606"/>
                    </a:lnTo>
                    <a:lnTo>
                      <a:pt x="1338" y="1606"/>
                    </a:lnTo>
                    <a:lnTo>
                      <a:pt x="1338" y="1607"/>
                    </a:lnTo>
                    <a:lnTo>
                      <a:pt x="1338" y="1606"/>
                    </a:lnTo>
                    <a:lnTo>
                      <a:pt x="1339" y="1606"/>
                    </a:lnTo>
                    <a:lnTo>
                      <a:pt x="1339" y="1607"/>
                    </a:lnTo>
                    <a:lnTo>
                      <a:pt x="1341" y="1607"/>
                    </a:lnTo>
                    <a:lnTo>
                      <a:pt x="1339" y="1607"/>
                    </a:lnTo>
                    <a:lnTo>
                      <a:pt x="1339" y="1609"/>
                    </a:lnTo>
                    <a:lnTo>
                      <a:pt x="1341" y="1607"/>
                    </a:lnTo>
                    <a:lnTo>
                      <a:pt x="1339" y="1606"/>
                    </a:lnTo>
                    <a:lnTo>
                      <a:pt x="1341" y="1604"/>
                    </a:lnTo>
                    <a:lnTo>
                      <a:pt x="1341" y="1602"/>
                    </a:lnTo>
                    <a:lnTo>
                      <a:pt x="1339" y="1600"/>
                    </a:lnTo>
                    <a:lnTo>
                      <a:pt x="1339" y="1599"/>
                    </a:lnTo>
                    <a:lnTo>
                      <a:pt x="1338" y="1599"/>
                    </a:lnTo>
                    <a:lnTo>
                      <a:pt x="1338" y="1597"/>
                    </a:lnTo>
                    <a:lnTo>
                      <a:pt x="1338" y="1595"/>
                    </a:lnTo>
                    <a:lnTo>
                      <a:pt x="1338" y="1594"/>
                    </a:lnTo>
                    <a:lnTo>
                      <a:pt x="1336" y="1594"/>
                    </a:lnTo>
                    <a:lnTo>
                      <a:pt x="1336" y="1592"/>
                    </a:lnTo>
                    <a:lnTo>
                      <a:pt x="1336" y="1590"/>
                    </a:lnTo>
                    <a:lnTo>
                      <a:pt x="1338" y="1590"/>
                    </a:lnTo>
                    <a:lnTo>
                      <a:pt x="1339" y="1592"/>
                    </a:lnTo>
                    <a:lnTo>
                      <a:pt x="1341" y="1592"/>
                    </a:lnTo>
                    <a:lnTo>
                      <a:pt x="1341" y="1594"/>
                    </a:lnTo>
                    <a:lnTo>
                      <a:pt x="1343" y="1594"/>
                    </a:lnTo>
                    <a:lnTo>
                      <a:pt x="1344" y="1594"/>
                    </a:lnTo>
                    <a:lnTo>
                      <a:pt x="1344" y="1595"/>
                    </a:lnTo>
                    <a:lnTo>
                      <a:pt x="1343" y="1597"/>
                    </a:lnTo>
                    <a:lnTo>
                      <a:pt x="1344" y="1597"/>
                    </a:lnTo>
                    <a:lnTo>
                      <a:pt x="1344" y="1599"/>
                    </a:lnTo>
                    <a:lnTo>
                      <a:pt x="1343" y="1600"/>
                    </a:lnTo>
                    <a:lnTo>
                      <a:pt x="1344" y="1602"/>
                    </a:lnTo>
                    <a:lnTo>
                      <a:pt x="1346" y="1602"/>
                    </a:lnTo>
                    <a:lnTo>
                      <a:pt x="1344" y="1600"/>
                    </a:lnTo>
                    <a:lnTo>
                      <a:pt x="1344" y="1599"/>
                    </a:lnTo>
                    <a:lnTo>
                      <a:pt x="1346" y="1599"/>
                    </a:lnTo>
                    <a:lnTo>
                      <a:pt x="1344" y="1597"/>
                    </a:lnTo>
                    <a:lnTo>
                      <a:pt x="1346" y="1599"/>
                    </a:lnTo>
                    <a:lnTo>
                      <a:pt x="1348" y="1600"/>
                    </a:lnTo>
                    <a:lnTo>
                      <a:pt x="1348" y="1599"/>
                    </a:lnTo>
                    <a:lnTo>
                      <a:pt x="1346" y="1599"/>
                    </a:lnTo>
                    <a:lnTo>
                      <a:pt x="1348" y="1599"/>
                    </a:lnTo>
                    <a:lnTo>
                      <a:pt x="1346" y="1597"/>
                    </a:lnTo>
                    <a:lnTo>
                      <a:pt x="1346" y="1595"/>
                    </a:lnTo>
                    <a:lnTo>
                      <a:pt x="1346" y="1594"/>
                    </a:lnTo>
                    <a:lnTo>
                      <a:pt x="1348" y="1594"/>
                    </a:lnTo>
                    <a:lnTo>
                      <a:pt x="1349" y="1594"/>
                    </a:lnTo>
                    <a:lnTo>
                      <a:pt x="1349" y="1595"/>
                    </a:lnTo>
                    <a:lnTo>
                      <a:pt x="1351" y="1595"/>
                    </a:lnTo>
                    <a:lnTo>
                      <a:pt x="1351" y="1597"/>
                    </a:lnTo>
                    <a:lnTo>
                      <a:pt x="1353" y="1597"/>
                    </a:lnTo>
                    <a:lnTo>
                      <a:pt x="1355" y="1599"/>
                    </a:lnTo>
                    <a:lnTo>
                      <a:pt x="1356" y="1599"/>
                    </a:lnTo>
                    <a:lnTo>
                      <a:pt x="1356" y="1600"/>
                    </a:lnTo>
                    <a:lnTo>
                      <a:pt x="1358" y="1600"/>
                    </a:lnTo>
                    <a:lnTo>
                      <a:pt x="1358" y="1602"/>
                    </a:lnTo>
                    <a:lnTo>
                      <a:pt x="1356" y="1602"/>
                    </a:lnTo>
                    <a:lnTo>
                      <a:pt x="1356" y="1604"/>
                    </a:lnTo>
                    <a:lnTo>
                      <a:pt x="1355" y="1606"/>
                    </a:lnTo>
                    <a:lnTo>
                      <a:pt x="1355" y="1607"/>
                    </a:lnTo>
                    <a:lnTo>
                      <a:pt x="1353" y="1607"/>
                    </a:lnTo>
                    <a:lnTo>
                      <a:pt x="1353" y="1609"/>
                    </a:lnTo>
                    <a:lnTo>
                      <a:pt x="1351" y="1609"/>
                    </a:lnTo>
                    <a:lnTo>
                      <a:pt x="1353" y="1611"/>
                    </a:lnTo>
                    <a:lnTo>
                      <a:pt x="1351" y="1611"/>
                    </a:lnTo>
                    <a:lnTo>
                      <a:pt x="1351" y="1612"/>
                    </a:lnTo>
                    <a:lnTo>
                      <a:pt x="1349" y="1612"/>
                    </a:lnTo>
                    <a:lnTo>
                      <a:pt x="1348" y="1612"/>
                    </a:lnTo>
                    <a:lnTo>
                      <a:pt x="1349" y="1614"/>
                    </a:lnTo>
                    <a:lnTo>
                      <a:pt x="1351" y="1612"/>
                    </a:lnTo>
                    <a:lnTo>
                      <a:pt x="1353" y="1612"/>
                    </a:lnTo>
                    <a:lnTo>
                      <a:pt x="1353" y="1614"/>
                    </a:lnTo>
                    <a:lnTo>
                      <a:pt x="1353" y="1616"/>
                    </a:lnTo>
                    <a:lnTo>
                      <a:pt x="1353" y="1614"/>
                    </a:lnTo>
                    <a:lnTo>
                      <a:pt x="1353" y="1612"/>
                    </a:lnTo>
                    <a:lnTo>
                      <a:pt x="1353" y="1611"/>
                    </a:lnTo>
                    <a:lnTo>
                      <a:pt x="1355" y="1611"/>
                    </a:lnTo>
                    <a:lnTo>
                      <a:pt x="1355" y="1609"/>
                    </a:lnTo>
                    <a:lnTo>
                      <a:pt x="1355" y="1607"/>
                    </a:lnTo>
                    <a:lnTo>
                      <a:pt x="1356" y="1606"/>
                    </a:lnTo>
                    <a:lnTo>
                      <a:pt x="1358" y="1606"/>
                    </a:lnTo>
                    <a:lnTo>
                      <a:pt x="1358" y="1604"/>
                    </a:lnTo>
                    <a:lnTo>
                      <a:pt x="1358" y="1606"/>
                    </a:lnTo>
                    <a:lnTo>
                      <a:pt x="1360" y="1607"/>
                    </a:lnTo>
                    <a:lnTo>
                      <a:pt x="1361" y="1607"/>
                    </a:lnTo>
                    <a:lnTo>
                      <a:pt x="1360" y="1606"/>
                    </a:lnTo>
                    <a:lnTo>
                      <a:pt x="1360" y="1604"/>
                    </a:lnTo>
                    <a:lnTo>
                      <a:pt x="1360" y="1602"/>
                    </a:lnTo>
                    <a:lnTo>
                      <a:pt x="1361" y="1600"/>
                    </a:lnTo>
                    <a:lnTo>
                      <a:pt x="1363" y="1600"/>
                    </a:lnTo>
                    <a:lnTo>
                      <a:pt x="1365" y="1600"/>
                    </a:lnTo>
                    <a:lnTo>
                      <a:pt x="1365" y="1602"/>
                    </a:lnTo>
                    <a:lnTo>
                      <a:pt x="1366" y="1602"/>
                    </a:lnTo>
                    <a:lnTo>
                      <a:pt x="1365" y="1600"/>
                    </a:lnTo>
                    <a:lnTo>
                      <a:pt x="1366" y="1600"/>
                    </a:lnTo>
                    <a:lnTo>
                      <a:pt x="1365" y="1599"/>
                    </a:lnTo>
                    <a:lnTo>
                      <a:pt x="1363" y="1599"/>
                    </a:lnTo>
                    <a:lnTo>
                      <a:pt x="1363" y="1597"/>
                    </a:lnTo>
                    <a:lnTo>
                      <a:pt x="1361" y="1597"/>
                    </a:lnTo>
                    <a:lnTo>
                      <a:pt x="1360" y="1597"/>
                    </a:lnTo>
                    <a:lnTo>
                      <a:pt x="1360" y="1595"/>
                    </a:lnTo>
                    <a:lnTo>
                      <a:pt x="1358" y="1595"/>
                    </a:lnTo>
                    <a:lnTo>
                      <a:pt x="1358" y="1594"/>
                    </a:lnTo>
                    <a:lnTo>
                      <a:pt x="1356" y="1594"/>
                    </a:lnTo>
                    <a:lnTo>
                      <a:pt x="1355" y="1592"/>
                    </a:lnTo>
                    <a:lnTo>
                      <a:pt x="1353" y="1592"/>
                    </a:lnTo>
                    <a:lnTo>
                      <a:pt x="1351" y="1592"/>
                    </a:lnTo>
                    <a:lnTo>
                      <a:pt x="1351" y="1590"/>
                    </a:lnTo>
                    <a:lnTo>
                      <a:pt x="1349" y="1590"/>
                    </a:lnTo>
                    <a:lnTo>
                      <a:pt x="1348" y="1590"/>
                    </a:lnTo>
                    <a:lnTo>
                      <a:pt x="1348" y="1589"/>
                    </a:lnTo>
                    <a:lnTo>
                      <a:pt x="1346" y="1589"/>
                    </a:lnTo>
                    <a:lnTo>
                      <a:pt x="1344" y="1587"/>
                    </a:lnTo>
                    <a:lnTo>
                      <a:pt x="1343" y="1587"/>
                    </a:lnTo>
                    <a:lnTo>
                      <a:pt x="1341" y="1587"/>
                    </a:lnTo>
                    <a:lnTo>
                      <a:pt x="1341" y="1585"/>
                    </a:lnTo>
                    <a:lnTo>
                      <a:pt x="1339" y="1585"/>
                    </a:lnTo>
                    <a:lnTo>
                      <a:pt x="1338" y="1585"/>
                    </a:lnTo>
                    <a:lnTo>
                      <a:pt x="1336" y="1583"/>
                    </a:lnTo>
                    <a:lnTo>
                      <a:pt x="1334" y="1583"/>
                    </a:lnTo>
                    <a:lnTo>
                      <a:pt x="1334" y="1582"/>
                    </a:lnTo>
                    <a:lnTo>
                      <a:pt x="1332" y="1582"/>
                    </a:lnTo>
                    <a:lnTo>
                      <a:pt x="1331" y="1580"/>
                    </a:lnTo>
                    <a:lnTo>
                      <a:pt x="1329" y="1580"/>
                    </a:lnTo>
                    <a:lnTo>
                      <a:pt x="1331" y="1580"/>
                    </a:lnTo>
                    <a:lnTo>
                      <a:pt x="1331" y="1578"/>
                    </a:lnTo>
                    <a:lnTo>
                      <a:pt x="1329" y="1578"/>
                    </a:lnTo>
                    <a:lnTo>
                      <a:pt x="1329" y="1577"/>
                    </a:lnTo>
                    <a:lnTo>
                      <a:pt x="1329" y="1575"/>
                    </a:lnTo>
                    <a:lnTo>
                      <a:pt x="1329" y="1573"/>
                    </a:lnTo>
                    <a:lnTo>
                      <a:pt x="1327" y="1573"/>
                    </a:lnTo>
                    <a:lnTo>
                      <a:pt x="1327" y="1572"/>
                    </a:lnTo>
                    <a:lnTo>
                      <a:pt x="1327" y="1570"/>
                    </a:lnTo>
                    <a:lnTo>
                      <a:pt x="1327" y="1568"/>
                    </a:lnTo>
                    <a:lnTo>
                      <a:pt x="1326" y="1568"/>
                    </a:lnTo>
                    <a:lnTo>
                      <a:pt x="1326" y="1566"/>
                    </a:lnTo>
                    <a:lnTo>
                      <a:pt x="1326" y="1565"/>
                    </a:lnTo>
                    <a:lnTo>
                      <a:pt x="1326" y="1563"/>
                    </a:lnTo>
                    <a:lnTo>
                      <a:pt x="1326" y="1561"/>
                    </a:lnTo>
                    <a:lnTo>
                      <a:pt x="1326" y="1560"/>
                    </a:lnTo>
                    <a:lnTo>
                      <a:pt x="1327" y="1560"/>
                    </a:lnTo>
                    <a:lnTo>
                      <a:pt x="1329" y="1558"/>
                    </a:lnTo>
                    <a:lnTo>
                      <a:pt x="1331" y="1558"/>
                    </a:lnTo>
                    <a:lnTo>
                      <a:pt x="1332" y="1558"/>
                    </a:lnTo>
                    <a:lnTo>
                      <a:pt x="1334" y="1556"/>
                    </a:lnTo>
                    <a:lnTo>
                      <a:pt x="1334" y="1555"/>
                    </a:lnTo>
                    <a:lnTo>
                      <a:pt x="1336" y="1555"/>
                    </a:lnTo>
                    <a:lnTo>
                      <a:pt x="1338" y="1555"/>
                    </a:lnTo>
                    <a:lnTo>
                      <a:pt x="1339" y="1555"/>
                    </a:lnTo>
                    <a:lnTo>
                      <a:pt x="1341" y="1555"/>
                    </a:lnTo>
                    <a:lnTo>
                      <a:pt x="1343" y="1555"/>
                    </a:lnTo>
                    <a:lnTo>
                      <a:pt x="1343" y="1553"/>
                    </a:lnTo>
                    <a:lnTo>
                      <a:pt x="1344" y="1553"/>
                    </a:lnTo>
                    <a:lnTo>
                      <a:pt x="1344" y="1551"/>
                    </a:lnTo>
                    <a:lnTo>
                      <a:pt x="1346" y="1551"/>
                    </a:lnTo>
                    <a:lnTo>
                      <a:pt x="1348" y="1549"/>
                    </a:lnTo>
                    <a:lnTo>
                      <a:pt x="1349" y="1549"/>
                    </a:lnTo>
                    <a:lnTo>
                      <a:pt x="1349" y="1548"/>
                    </a:lnTo>
                    <a:lnTo>
                      <a:pt x="1351" y="1548"/>
                    </a:lnTo>
                    <a:lnTo>
                      <a:pt x="1353" y="1548"/>
                    </a:lnTo>
                    <a:lnTo>
                      <a:pt x="1353" y="1546"/>
                    </a:lnTo>
                    <a:lnTo>
                      <a:pt x="1355" y="1546"/>
                    </a:lnTo>
                    <a:lnTo>
                      <a:pt x="1355" y="1544"/>
                    </a:lnTo>
                    <a:lnTo>
                      <a:pt x="1355" y="1543"/>
                    </a:lnTo>
                    <a:lnTo>
                      <a:pt x="1355" y="1541"/>
                    </a:lnTo>
                    <a:lnTo>
                      <a:pt x="1355" y="1539"/>
                    </a:lnTo>
                    <a:lnTo>
                      <a:pt x="1353" y="1539"/>
                    </a:lnTo>
                    <a:lnTo>
                      <a:pt x="1353" y="1538"/>
                    </a:lnTo>
                    <a:lnTo>
                      <a:pt x="1351" y="1538"/>
                    </a:lnTo>
                    <a:lnTo>
                      <a:pt x="1349" y="1538"/>
                    </a:lnTo>
                    <a:lnTo>
                      <a:pt x="1348" y="1538"/>
                    </a:lnTo>
                    <a:lnTo>
                      <a:pt x="1346" y="1538"/>
                    </a:lnTo>
                    <a:lnTo>
                      <a:pt x="1344" y="1538"/>
                    </a:lnTo>
                    <a:lnTo>
                      <a:pt x="1343" y="1538"/>
                    </a:lnTo>
                    <a:lnTo>
                      <a:pt x="1341" y="1538"/>
                    </a:lnTo>
                    <a:lnTo>
                      <a:pt x="1339" y="1538"/>
                    </a:lnTo>
                    <a:lnTo>
                      <a:pt x="1338" y="1539"/>
                    </a:lnTo>
                    <a:lnTo>
                      <a:pt x="1336" y="1539"/>
                    </a:lnTo>
                    <a:lnTo>
                      <a:pt x="1334" y="1539"/>
                    </a:lnTo>
                    <a:lnTo>
                      <a:pt x="1332" y="1539"/>
                    </a:lnTo>
                    <a:lnTo>
                      <a:pt x="1331" y="1541"/>
                    </a:lnTo>
                    <a:lnTo>
                      <a:pt x="1329" y="1541"/>
                    </a:lnTo>
                    <a:lnTo>
                      <a:pt x="1329" y="1543"/>
                    </a:lnTo>
                    <a:lnTo>
                      <a:pt x="1327" y="1543"/>
                    </a:lnTo>
                    <a:lnTo>
                      <a:pt x="1326" y="1543"/>
                    </a:lnTo>
                    <a:lnTo>
                      <a:pt x="1326" y="1544"/>
                    </a:lnTo>
                    <a:lnTo>
                      <a:pt x="1324" y="1544"/>
                    </a:lnTo>
                    <a:lnTo>
                      <a:pt x="1322" y="1544"/>
                    </a:lnTo>
                    <a:lnTo>
                      <a:pt x="1322" y="1543"/>
                    </a:lnTo>
                    <a:lnTo>
                      <a:pt x="1321" y="1543"/>
                    </a:lnTo>
                    <a:lnTo>
                      <a:pt x="1321" y="1541"/>
                    </a:lnTo>
                    <a:lnTo>
                      <a:pt x="1321" y="1539"/>
                    </a:lnTo>
                    <a:lnTo>
                      <a:pt x="1319" y="1539"/>
                    </a:lnTo>
                    <a:lnTo>
                      <a:pt x="1317" y="1539"/>
                    </a:lnTo>
                    <a:lnTo>
                      <a:pt x="1315" y="1539"/>
                    </a:lnTo>
                    <a:lnTo>
                      <a:pt x="1315" y="1538"/>
                    </a:lnTo>
                    <a:lnTo>
                      <a:pt x="1315" y="1536"/>
                    </a:lnTo>
                    <a:lnTo>
                      <a:pt x="1317" y="1534"/>
                    </a:lnTo>
                    <a:lnTo>
                      <a:pt x="1319" y="1534"/>
                    </a:lnTo>
                    <a:lnTo>
                      <a:pt x="1317" y="1534"/>
                    </a:lnTo>
                    <a:lnTo>
                      <a:pt x="1315" y="1536"/>
                    </a:lnTo>
                    <a:lnTo>
                      <a:pt x="1315" y="1534"/>
                    </a:lnTo>
                    <a:lnTo>
                      <a:pt x="1315" y="1532"/>
                    </a:lnTo>
                    <a:lnTo>
                      <a:pt x="1315" y="1531"/>
                    </a:lnTo>
                    <a:lnTo>
                      <a:pt x="1315" y="1529"/>
                    </a:lnTo>
                    <a:lnTo>
                      <a:pt x="1317" y="1527"/>
                    </a:lnTo>
                    <a:lnTo>
                      <a:pt x="1317" y="1526"/>
                    </a:lnTo>
                    <a:lnTo>
                      <a:pt x="1317" y="1524"/>
                    </a:lnTo>
                    <a:lnTo>
                      <a:pt x="1315" y="1524"/>
                    </a:lnTo>
                    <a:lnTo>
                      <a:pt x="1317" y="1522"/>
                    </a:lnTo>
                    <a:lnTo>
                      <a:pt x="1317" y="1521"/>
                    </a:lnTo>
                    <a:lnTo>
                      <a:pt x="1317" y="1519"/>
                    </a:lnTo>
                    <a:lnTo>
                      <a:pt x="1317" y="1517"/>
                    </a:lnTo>
                    <a:lnTo>
                      <a:pt x="1319" y="1517"/>
                    </a:lnTo>
                    <a:lnTo>
                      <a:pt x="1319" y="1515"/>
                    </a:lnTo>
                    <a:lnTo>
                      <a:pt x="1321" y="1515"/>
                    </a:lnTo>
                    <a:lnTo>
                      <a:pt x="1321" y="1517"/>
                    </a:lnTo>
                    <a:lnTo>
                      <a:pt x="1319" y="1517"/>
                    </a:lnTo>
                    <a:lnTo>
                      <a:pt x="1321" y="1519"/>
                    </a:lnTo>
                    <a:lnTo>
                      <a:pt x="1321" y="1521"/>
                    </a:lnTo>
                    <a:lnTo>
                      <a:pt x="1319" y="1521"/>
                    </a:lnTo>
                    <a:lnTo>
                      <a:pt x="1321" y="1521"/>
                    </a:lnTo>
                    <a:lnTo>
                      <a:pt x="1322" y="1521"/>
                    </a:lnTo>
                    <a:lnTo>
                      <a:pt x="1324" y="1521"/>
                    </a:lnTo>
                    <a:lnTo>
                      <a:pt x="1324" y="1519"/>
                    </a:lnTo>
                    <a:lnTo>
                      <a:pt x="1326" y="1519"/>
                    </a:lnTo>
                    <a:lnTo>
                      <a:pt x="1327" y="1519"/>
                    </a:lnTo>
                    <a:lnTo>
                      <a:pt x="1327" y="1517"/>
                    </a:lnTo>
                    <a:lnTo>
                      <a:pt x="1327" y="1515"/>
                    </a:lnTo>
                    <a:lnTo>
                      <a:pt x="1329" y="1514"/>
                    </a:lnTo>
                    <a:lnTo>
                      <a:pt x="1327" y="1512"/>
                    </a:lnTo>
                    <a:lnTo>
                      <a:pt x="1327" y="1510"/>
                    </a:lnTo>
                    <a:lnTo>
                      <a:pt x="1326" y="1512"/>
                    </a:lnTo>
                    <a:lnTo>
                      <a:pt x="1326" y="1510"/>
                    </a:lnTo>
                    <a:lnTo>
                      <a:pt x="1324" y="1510"/>
                    </a:lnTo>
                    <a:lnTo>
                      <a:pt x="1322" y="1510"/>
                    </a:lnTo>
                    <a:lnTo>
                      <a:pt x="1322" y="1512"/>
                    </a:lnTo>
                    <a:lnTo>
                      <a:pt x="1321" y="1512"/>
                    </a:lnTo>
                    <a:lnTo>
                      <a:pt x="1322" y="1510"/>
                    </a:lnTo>
                    <a:lnTo>
                      <a:pt x="1322" y="1509"/>
                    </a:lnTo>
                    <a:lnTo>
                      <a:pt x="1322" y="1507"/>
                    </a:lnTo>
                    <a:lnTo>
                      <a:pt x="1321" y="1505"/>
                    </a:lnTo>
                    <a:lnTo>
                      <a:pt x="1319" y="1505"/>
                    </a:lnTo>
                    <a:lnTo>
                      <a:pt x="1317" y="1505"/>
                    </a:lnTo>
                    <a:lnTo>
                      <a:pt x="1317" y="1504"/>
                    </a:lnTo>
                    <a:lnTo>
                      <a:pt x="1319" y="1504"/>
                    </a:lnTo>
                    <a:lnTo>
                      <a:pt x="1321" y="1504"/>
                    </a:lnTo>
                    <a:lnTo>
                      <a:pt x="1322" y="1504"/>
                    </a:lnTo>
                    <a:lnTo>
                      <a:pt x="1324" y="1504"/>
                    </a:lnTo>
                    <a:lnTo>
                      <a:pt x="1326" y="1502"/>
                    </a:lnTo>
                    <a:lnTo>
                      <a:pt x="1327" y="1502"/>
                    </a:lnTo>
                    <a:lnTo>
                      <a:pt x="1327" y="1504"/>
                    </a:lnTo>
                    <a:lnTo>
                      <a:pt x="1329" y="1505"/>
                    </a:lnTo>
                    <a:lnTo>
                      <a:pt x="1329" y="1507"/>
                    </a:lnTo>
                    <a:lnTo>
                      <a:pt x="1331" y="1509"/>
                    </a:lnTo>
                    <a:lnTo>
                      <a:pt x="1332" y="1509"/>
                    </a:lnTo>
                    <a:lnTo>
                      <a:pt x="1334" y="1509"/>
                    </a:lnTo>
                    <a:lnTo>
                      <a:pt x="1336" y="1507"/>
                    </a:lnTo>
                    <a:lnTo>
                      <a:pt x="1336" y="1505"/>
                    </a:lnTo>
                    <a:lnTo>
                      <a:pt x="1338" y="1505"/>
                    </a:lnTo>
                    <a:lnTo>
                      <a:pt x="1339" y="1505"/>
                    </a:lnTo>
                    <a:lnTo>
                      <a:pt x="1341" y="1504"/>
                    </a:lnTo>
                    <a:lnTo>
                      <a:pt x="1343" y="1502"/>
                    </a:lnTo>
                    <a:lnTo>
                      <a:pt x="1343" y="1500"/>
                    </a:lnTo>
                    <a:lnTo>
                      <a:pt x="1344" y="1498"/>
                    </a:lnTo>
                    <a:lnTo>
                      <a:pt x="1344" y="1497"/>
                    </a:lnTo>
                    <a:lnTo>
                      <a:pt x="1344" y="1495"/>
                    </a:lnTo>
                    <a:lnTo>
                      <a:pt x="1344" y="1493"/>
                    </a:lnTo>
                    <a:lnTo>
                      <a:pt x="1344" y="1492"/>
                    </a:lnTo>
                    <a:lnTo>
                      <a:pt x="1346" y="1492"/>
                    </a:lnTo>
                    <a:lnTo>
                      <a:pt x="1346" y="1490"/>
                    </a:lnTo>
                    <a:lnTo>
                      <a:pt x="1348" y="1490"/>
                    </a:lnTo>
                    <a:lnTo>
                      <a:pt x="1349" y="1488"/>
                    </a:lnTo>
                    <a:lnTo>
                      <a:pt x="1348" y="1488"/>
                    </a:lnTo>
                    <a:lnTo>
                      <a:pt x="1349" y="1488"/>
                    </a:lnTo>
                    <a:lnTo>
                      <a:pt x="1348" y="1488"/>
                    </a:lnTo>
                    <a:lnTo>
                      <a:pt x="1349" y="1488"/>
                    </a:lnTo>
                    <a:lnTo>
                      <a:pt x="1351" y="1487"/>
                    </a:lnTo>
                    <a:lnTo>
                      <a:pt x="1353" y="1488"/>
                    </a:lnTo>
                    <a:lnTo>
                      <a:pt x="1353" y="1490"/>
                    </a:lnTo>
                    <a:lnTo>
                      <a:pt x="1355" y="1492"/>
                    </a:lnTo>
                    <a:lnTo>
                      <a:pt x="1355" y="1493"/>
                    </a:lnTo>
                    <a:lnTo>
                      <a:pt x="1355" y="1495"/>
                    </a:lnTo>
                    <a:lnTo>
                      <a:pt x="1356" y="1497"/>
                    </a:lnTo>
                    <a:lnTo>
                      <a:pt x="1356" y="1498"/>
                    </a:lnTo>
                    <a:lnTo>
                      <a:pt x="1358" y="1498"/>
                    </a:lnTo>
                    <a:lnTo>
                      <a:pt x="1360" y="1500"/>
                    </a:lnTo>
                    <a:lnTo>
                      <a:pt x="1361" y="1500"/>
                    </a:lnTo>
                    <a:lnTo>
                      <a:pt x="1363" y="1500"/>
                    </a:lnTo>
                    <a:lnTo>
                      <a:pt x="1363" y="1498"/>
                    </a:lnTo>
                    <a:lnTo>
                      <a:pt x="1365" y="1498"/>
                    </a:lnTo>
                    <a:lnTo>
                      <a:pt x="1366" y="1498"/>
                    </a:lnTo>
                    <a:lnTo>
                      <a:pt x="1368" y="1497"/>
                    </a:lnTo>
                    <a:lnTo>
                      <a:pt x="1370" y="1497"/>
                    </a:lnTo>
                    <a:lnTo>
                      <a:pt x="1372" y="1497"/>
                    </a:lnTo>
                    <a:lnTo>
                      <a:pt x="1372" y="1495"/>
                    </a:lnTo>
                    <a:lnTo>
                      <a:pt x="1373" y="1495"/>
                    </a:lnTo>
                    <a:lnTo>
                      <a:pt x="1373" y="1493"/>
                    </a:lnTo>
                    <a:lnTo>
                      <a:pt x="1373" y="1492"/>
                    </a:lnTo>
                    <a:lnTo>
                      <a:pt x="1373" y="1493"/>
                    </a:lnTo>
                    <a:lnTo>
                      <a:pt x="1375" y="1493"/>
                    </a:lnTo>
                    <a:lnTo>
                      <a:pt x="1375" y="1495"/>
                    </a:lnTo>
                    <a:lnTo>
                      <a:pt x="1377" y="1497"/>
                    </a:lnTo>
                    <a:lnTo>
                      <a:pt x="1378" y="1497"/>
                    </a:lnTo>
                    <a:lnTo>
                      <a:pt x="1378" y="1498"/>
                    </a:lnTo>
                    <a:close/>
                    <a:moveTo>
                      <a:pt x="1200" y="954"/>
                    </a:moveTo>
                    <a:lnTo>
                      <a:pt x="1200" y="956"/>
                    </a:lnTo>
                    <a:lnTo>
                      <a:pt x="1202" y="957"/>
                    </a:lnTo>
                    <a:lnTo>
                      <a:pt x="1200" y="957"/>
                    </a:lnTo>
                    <a:lnTo>
                      <a:pt x="1198" y="957"/>
                    </a:lnTo>
                    <a:lnTo>
                      <a:pt x="1198" y="956"/>
                    </a:lnTo>
                    <a:lnTo>
                      <a:pt x="1196" y="957"/>
                    </a:lnTo>
                    <a:lnTo>
                      <a:pt x="1196" y="956"/>
                    </a:lnTo>
                    <a:lnTo>
                      <a:pt x="1196" y="957"/>
                    </a:lnTo>
                    <a:lnTo>
                      <a:pt x="1198" y="957"/>
                    </a:lnTo>
                    <a:lnTo>
                      <a:pt x="1198" y="959"/>
                    </a:lnTo>
                    <a:lnTo>
                      <a:pt x="1200" y="959"/>
                    </a:lnTo>
                    <a:lnTo>
                      <a:pt x="1202" y="959"/>
                    </a:lnTo>
                    <a:lnTo>
                      <a:pt x="1202" y="957"/>
                    </a:lnTo>
                    <a:lnTo>
                      <a:pt x="1203" y="957"/>
                    </a:lnTo>
                    <a:lnTo>
                      <a:pt x="1203" y="959"/>
                    </a:lnTo>
                    <a:lnTo>
                      <a:pt x="1205" y="961"/>
                    </a:lnTo>
                    <a:lnTo>
                      <a:pt x="1203" y="963"/>
                    </a:lnTo>
                    <a:lnTo>
                      <a:pt x="1205" y="963"/>
                    </a:lnTo>
                    <a:lnTo>
                      <a:pt x="1205" y="961"/>
                    </a:lnTo>
                    <a:lnTo>
                      <a:pt x="1205" y="963"/>
                    </a:lnTo>
                    <a:lnTo>
                      <a:pt x="1205" y="961"/>
                    </a:lnTo>
                    <a:lnTo>
                      <a:pt x="1207" y="961"/>
                    </a:lnTo>
                    <a:lnTo>
                      <a:pt x="1205" y="961"/>
                    </a:lnTo>
                    <a:lnTo>
                      <a:pt x="1205" y="959"/>
                    </a:lnTo>
                    <a:lnTo>
                      <a:pt x="1203" y="959"/>
                    </a:lnTo>
                    <a:lnTo>
                      <a:pt x="1205" y="959"/>
                    </a:lnTo>
                    <a:lnTo>
                      <a:pt x="1205" y="957"/>
                    </a:lnTo>
                    <a:lnTo>
                      <a:pt x="1207" y="957"/>
                    </a:lnTo>
                    <a:lnTo>
                      <a:pt x="1207" y="956"/>
                    </a:lnTo>
                    <a:lnTo>
                      <a:pt x="1208" y="956"/>
                    </a:lnTo>
                    <a:lnTo>
                      <a:pt x="1208" y="957"/>
                    </a:lnTo>
                    <a:lnTo>
                      <a:pt x="1210" y="956"/>
                    </a:lnTo>
                    <a:lnTo>
                      <a:pt x="1212" y="956"/>
                    </a:lnTo>
                    <a:lnTo>
                      <a:pt x="1212" y="957"/>
                    </a:lnTo>
                    <a:lnTo>
                      <a:pt x="1213" y="957"/>
                    </a:lnTo>
                    <a:lnTo>
                      <a:pt x="1213" y="959"/>
                    </a:lnTo>
                    <a:lnTo>
                      <a:pt x="1212" y="959"/>
                    </a:lnTo>
                    <a:lnTo>
                      <a:pt x="1213" y="959"/>
                    </a:lnTo>
                    <a:lnTo>
                      <a:pt x="1213" y="961"/>
                    </a:lnTo>
                    <a:lnTo>
                      <a:pt x="1213" y="959"/>
                    </a:lnTo>
                    <a:lnTo>
                      <a:pt x="1212" y="959"/>
                    </a:lnTo>
                    <a:lnTo>
                      <a:pt x="1212" y="961"/>
                    </a:lnTo>
                    <a:lnTo>
                      <a:pt x="1213" y="961"/>
                    </a:lnTo>
                    <a:lnTo>
                      <a:pt x="1212" y="961"/>
                    </a:lnTo>
                    <a:lnTo>
                      <a:pt x="1212" y="963"/>
                    </a:lnTo>
                    <a:lnTo>
                      <a:pt x="1213" y="963"/>
                    </a:lnTo>
                    <a:lnTo>
                      <a:pt x="1213" y="964"/>
                    </a:lnTo>
                    <a:lnTo>
                      <a:pt x="1213" y="966"/>
                    </a:lnTo>
                    <a:lnTo>
                      <a:pt x="1215" y="966"/>
                    </a:lnTo>
                    <a:lnTo>
                      <a:pt x="1215" y="968"/>
                    </a:lnTo>
                    <a:lnTo>
                      <a:pt x="1215" y="969"/>
                    </a:lnTo>
                    <a:lnTo>
                      <a:pt x="1215" y="971"/>
                    </a:lnTo>
                    <a:lnTo>
                      <a:pt x="1213" y="969"/>
                    </a:lnTo>
                    <a:lnTo>
                      <a:pt x="1213" y="971"/>
                    </a:lnTo>
                    <a:lnTo>
                      <a:pt x="1215" y="973"/>
                    </a:lnTo>
                    <a:lnTo>
                      <a:pt x="1217" y="975"/>
                    </a:lnTo>
                    <a:lnTo>
                      <a:pt x="1219" y="975"/>
                    </a:lnTo>
                    <a:lnTo>
                      <a:pt x="1219" y="976"/>
                    </a:lnTo>
                    <a:lnTo>
                      <a:pt x="1217" y="976"/>
                    </a:lnTo>
                    <a:lnTo>
                      <a:pt x="1219" y="976"/>
                    </a:lnTo>
                    <a:lnTo>
                      <a:pt x="1219" y="978"/>
                    </a:lnTo>
                    <a:lnTo>
                      <a:pt x="1219" y="980"/>
                    </a:lnTo>
                    <a:lnTo>
                      <a:pt x="1217" y="980"/>
                    </a:lnTo>
                    <a:lnTo>
                      <a:pt x="1215" y="980"/>
                    </a:lnTo>
                    <a:lnTo>
                      <a:pt x="1215" y="978"/>
                    </a:lnTo>
                    <a:lnTo>
                      <a:pt x="1215" y="980"/>
                    </a:lnTo>
                    <a:lnTo>
                      <a:pt x="1213" y="980"/>
                    </a:lnTo>
                    <a:lnTo>
                      <a:pt x="1212" y="980"/>
                    </a:lnTo>
                    <a:lnTo>
                      <a:pt x="1210" y="981"/>
                    </a:lnTo>
                    <a:lnTo>
                      <a:pt x="1208" y="981"/>
                    </a:lnTo>
                    <a:lnTo>
                      <a:pt x="1207" y="983"/>
                    </a:lnTo>
                    <a:lnTo>
                      <a:pt x="1208" y="983"/>
                    </a:lnTo>
                    <a:lnTo>
                      <a:pt x="1208" y="985"/>
                    </a:lnTo>
                    <a:lnTo>
                      <a:pt x="1208" y="986"/>
                    </a:lnTo>
                    <a:lnTo>
                      <a:pt x="1207" y="986"/>
                    </a:lnTo>
                    <a:lnTo>
                      <a:pt x="1208" y="988"/>
                    </a:lnTo>
                    <a:lnTo>
                      <a:pt x="1210" y="988"/>
                    </a:lnTo>
                    <a:lnTo>
                      <a:pt x="1210" y="990"/>
                    </a:lnTo>
                    <a:lnTo>
                      <a:pt x="1208" y="988"/>
                    </a:lnTo>
                    <a:lnTo>
                      <a:pt x="1208" y="990"/>
                    </a:lnTo>
                    <a:lnTo>
                      <a:pt x="1207" y="990"/>
                    </a:lnTo>
                    <a:lnTo>
                      <a:pt x="1205" y="990"/>
                    </a:lnTo>
                    <a:lnTo>
                      <a:pt x="1205" y="988"/>
                    </a:lnTo>
                    <a:lnTo>
                      <a:pt x="1203" y="988"/>
                    </a:lnTo>
                    <a:lnTo>
                      <a:pt x="1205" y="988"/>
                    </a:lnTo>
                    <a:lnTo>
                      <a:pt x="1205" y="986"/>
                    </a:lnTo>
                    <a:lnTo>
                      <a:pt x="1205" y="985"/>
                    </a:lnTo>
                    <a:lnTo>
                      <a:pt x="1205" y="986"/>
                    </a:lnTo>
                    <a:lnTo>
                      <a:pt x="1203" y="986"/>
                    </a:lnTo>
                    <a:lnTo>
                      <a:pt x="1203" y="988"/>
                    </a:lnTo>
                    <a:lnTo>
                      <a:pt x="1203" y="990"/>
                    </a:lnTo>
                    <a:lnTo>
                      <a:pt x="1205" y="990"/>
                    </a:lnTo>
                    <a:lnTo>
                      <a:pt x="1205" y="992"/>
                    </a:lnTo>
                    <a:lnTo>
                      <a:pt x="1203" y="992"/>
                    </a:lnTo>
                    <a:lnTo>
                      <a:pt x="1203" y="993"/>
                    </a:lnTo>
                    <a:lnTo>
                      <a:pt x="1205" y="993"/>
                    </a:lnTo>
                    <a:lnTo>
                      <a:pt x="1205" y="995"/>
                    </a:lnTo>
                    <a:lnTo>
                      <a:pt x="1207" y="995"/>
                    </a:lnTo>
                    <a:lnTo>
                      <a:pt x="1208" y="995"/>
                    </a:lnTo>
                    <a:lnTo>
                      <a:pt x="1207" y="995"/>
                    </a:lnTo>
                    <a:lnTo>
                      <a:pt x="1207" y="997"/>
                    </a:lnTo>
                    <a:lnTo>
                      <a:pt x="1208" y="997"/>
                    </a:lnTo>
                    <a:lnTo>
                      <a:pt x="1208" y="998"/>
                    </a:lnTo>
                    <a:lnTo>
                      <a:pt x="1210" y="998"/>
                    </a:lnTo>
                    <a:lnTo>
                      <a:pt x="1210" y="1000"/>
                    </a:lnTo>
                    <a:lnTo>
                      <a:pt x="1212" y="998"/>
                    </a:lnTo>
                    <a:lnTo>
                      <a:pt x="1212" y="1000"/>
                    </a:lnTo>
                    <a:lnTo>
                      <a:pt x="1213" y="1000"/>
                    </a:lnTo>
                    <a:lnTo>
                      <a:pt x="1213" y="1002"/>
                    </a:lnTo>
                    <a:lnTo>
                      <a:pt x="1213" y="1003"/>
                    </a:lnTo>
                    <a:lnTo>
                      <a:pt x="1215" y="1005"/>
                    </a:lnTo>
                    <a:lnTo>
                      <a:pt x="1213" y="1005"/>
                    </a:lnTo>
                    <a:lnTo>
                      <a:pt x="1213" y="1007"/>
                    </a:lnTo>
                    <a:lnTo>
                      <a:pt x="1213" y="1005"/>
                    </a:lnTo>
                    <a:lnTo>
                      <a:pt x="1213" y="1003"/>
                    </a:lnTo>
                    <a:lnTo>
                      <a:pt x="1213" y="1005"/>
                    </a:lnTo>
                    <a:lnTo>
                      <a:pt x="1212" y="1005"/>
                    </a:lnTo>
                    <a:lnTo>
                      <a:pt x="1210" y="1005"/>
                    </a:lnTo>
                    <a:lnTo>
                      <a:pt x="1210" y="1003"/>
                    </a:lnTo>
                    <a:lnTo>
                      <a:pt x="1210" y="1002"/>
                    </a:lnTo>
                    <a:lnTo>
                      <a:pt x="1208" y="1002"/>
                    </a:lnTo>
                    <a:lnTo>
                      <a:pt x="1210" y="1003"/>
                    </a:lnTo>
                    <a:lnTo>
                      <a:pt x="1208" y="1003"/>
                    </a:lnTo>
                    <a:lnTo>
                      <a:pt x="1210" y="1003"/>
                    </a:lnTo>
                    <a:lnTo>
                      <a:pt x="1210" y="1005"/>
                    </a:lnTo>
                    <a:lnTo>
                      <a:pt x="1208" y="1005"/>
                    </a:lnTo>
                    <a:lnTo>
                      <a:pt x="1208" y="1003"/>
                    </a:lnTo>
                    <a:lnTo>
                      <a:pt x="1207" y="1003"/>
                    </a:lnTo>
                    <a:lnTo>
                      <a:pt x="1205" y="1003"/>
                    </a:lnTo>
                    <a:lnTo>
                      <a:pt x="1205" y="1005"/>
                    </a:lnTo>
                    <a:lnTo>
                      <a:pt x="1207" y="1005"/>
                    </a:lnTo>
                    <a:lnTo>
                      <a:pt x="1208" y="1005"/>
                    </a:lnTo>
                    <a:lnTo>
                      <a:pt x="1208" y="1007"/>
                    </a:lnTo>
                    <a:lnTo>
                      <a:pt x="1208" y="1009"/>
                    </a:lnTo>
                    <a:lnTo>
                      <a:pt x="1210" y="1009"/>
                    </a:lnTo>
                    <a:lnTo>
                      <a:pt x="1212" y="1009"/>
                    </a:lnTo>
                    <a:lnTo>
                      <a:pt x="1212" y="1010"/>
                    </a:lnTo>
                    <a:lnTo>
                      <a:pt x="1212" y="1012"/>
                    </a:lnTo>
                    <a:lnTo>
                      <a:pt x="1213" y="1014"/>
                    </a:lnTo>
                    <a:lnTo>
                      <a:pt x="1212" y="1014"/>
                    </a:lnTo>
                    <a:lnTo>
                      <a:pt x="1212" y="1012"/>
                    </a:lnTo>
                    <a:lnTo>
                      <a:pt x="1210" y="1012"/>
                    </a:lnTo>
                    <a:lnTo>
                      <a:pt x="1208" y="1012"/>
                    </a:lnTo>
                    <a:lnTo>
                      <a:pt x="1208" y="1014"/>
                    </a:lnTo>
                    <a:lnTo>
                      <a:pt x="1210" y="1014"/>
                    </a:lnTo>
                    <a:lnTo>
                      <a:pt x="1212" y="1014"/>
                    </a:lnTo>
                    <a:lnTo>
                      <a:pt x="1213" y="1014"/>
                    </a:lnTo>
                    <a:lnTo>
                      <a:pt x="1213" y="1015"/>
                    </a:lnTo>
                    <a:lnTo>
                      <a:pt x="1213" y="1017"/>
                    </a:lnTo>
                    <a:lnTo>
                      <a:pt x="1212" y="1015"/>
                    </a:lnTo>
                    <a:lnTo>
                      <a:pt x="1210" y="1015"/>
                    </a:lnTo>
                    <a:lnTo>
                      <a:pt x="1208" y="1015"/>
                    </a:lnTo>
                    <a:lnTo>
                      <a:pt x="1208" y="1017"/>
                    </a:lnTo>
                    <a:lnTo>
                      <a:pt x="1207" y="1017"/>
                    </a:lnTo>
                    <a:lnTo>
                      <a:pt x="1207" y="1015"/>
                    </a:lnTo>
                    <a:lnTo>
                      <a:pt x="1205" y="1015"/>
                    </a:lnTo>
                    <a:lnTo>
                      <a:pt x="1205" y="1017"/>
                    </a:lnTo>
                    <a:lnTo>
                      <a:pt x="1205" y="1019"/>
                    </a:lnTo>
                    <a:lnTo>
                      <a:pt x="1205" y="1020"/>
                    </a:lnTo>
                    <a:lnTo>
                      <a:pt x="1205" y="1022"/>
                    </a:lnTo>
                    <a:lnTo>
                      <a:pt x="1207" y="1022"/>
                    </a:lnTo>
                    <a:lnTo>
                      <a:pt x="1207" y="1024"/>
                    </a:lnTo>
                    <a:lnTo>
                      <a:pt x="1208" y="1024"/>
                    </a:lnTo>
                    <a:lnTo>
                      <a:pt x="1208" y="1026"/>
                    </a:lnTo>
                    <a:lnTo>
                      <a:pt x="1207" y="1026"/>
                    </a:lnTo>
                    <a:lnTo>
                      <a:pt x="1205" y="1026"/>
                    </a:lnTo>
                    <a:lnTo>
                      <a:pt x="1203" y="1026"/>
                    </a:lnTo>
                    <a:lnTo>
                      <a:pt x="1203" y="1024"/>
                    </a:lnTo>
                    <a:lnTo>
                      <a:pt x="1202" y="1024"/>
                    </a:lnTo>
                    <a:lnTo>
                      <a:pt x="1200" y="1024"/>
                    </a:lnTo>
                    <a:lnTo>
                      <a:pt x="1202" y="1024"/>
                    </a:lnTo>
                    <a:lnTo>
                      <a:pt x="1203" y="1026"/>
                    </a:lnTo>
                    <a:lnTo>
                      <a:pt x="1203" y="1027"/>
                    </a:lnTo>
                    <a:lnTo>
                      <a:pt x="1203" y="1029"/>
                    </a:lnTo>
                    <a:lnTo>
                      <a:pt x="1202" y="1029"/>
                    </a:lnTo>
                    <a:lnTo>
                      <a:pt x="1202" y="1027"/>
                    </a:lnTo>
                    <a:lnTo>
                      <a:pt x="1203" y="1029"/>
                    </a:lnTo>
                    <a:lnTo>
                      <a:pt x="1202" y="1031"/>
                    </a:lnTo>
                    <a:lnTo>
                      <a:pt x="1200" y="1031"/>
                    </a:lnTo>
                    <a:lnTo>
                      <a:pt x="1200" y="1029"/>
                    </a:lnTo>
                    <a:lnTo>
                      <a:pt x="1198" y="1027"/>
                    </a:lnTo>
                    <a:lnTo>
                      <a:pt x="1196" y="1027"/>
                    </a:lnTo>
                    <a:lnTo>
                      <a:pt x="1196" y="1029"/>
                    </a:lnTo>
                    <a:lnTo>
                      <a:pt x="1196" y="1027"/>
                    </a:lnTo>
                    <a:lnTo>
                      <a:pt x="1195" y="1027"/>
                    </a:lnTo>
                    <a:lnTo>
                      <a:pt x="1195" y="1026"/>
                    </a:lnTo>
                    <a:lnTo>
                      <a:pt x="1193" y="1026"/>
                    </a:lnTo>
                    <a:lnTo>
                      <a:pt x="1193" y="1027"/>
                    </a:lnTo>
                    <a:lnTo>
                      <a:pt x="1195" y="1027"/>
                    </a:lnTo>
                    <a:lnTo>
                      <a:pt x="1193" y="1027"/>
                    </a:lnTo>
                    <a:lnTo>
                      <a:pt x="1193" y="1029"/>
                    </a:lnTo>
                    <a:lnTo>
                      <a:pt x="1191" y="1027"/>
                    </a:lnTo>
                    <a:lnTo>
                      <a:pt x="1193" y="1027"/>
                    </a:lnTo>
                    <a:lnTo>
                      <a:pt x="1191" y="1026"/>
                    </a:lnTo>
                    <a:lnTo>
                      <a:pt x="1191" y="1024"/>
                    </a:lnTo>
                    <a:lnTo>
                      <a:pt x="1191" y="1026"/>
                    </a:lnTo>
                    <a:lnTo>
                      <a:pt x="1191" y="1027"/>
                    </a:lnTo>
                    <a:lnTo>
                      <a:pt x="1190" y="1026"/>
                    </a:lnTo>
                    <a:lnTo>
                      <a:pt x="1190" y="1027"/>
                    </a:lnTo>
                    <a:lnTo>
                      <a:pt x="1188" y="1026"/>
                    </a:lnTo>
                    <a:lnTo>
                      <a:pt x="1186" y="1026"/>
                    </a:lnTo>
                    <a:lnTo>
                      <a:pt x="1186" y="1024"/>
                    </a:lnTo>
                    <a:lnTo>
                      <a:pt x="1185" y="1024"/>
                    </a:lnTo>
                    <a:lnTo>
                      <a:pt x="1183" y="1024"/>
                    </a:lnTo>
                    <a:lnTo>
                      <a:pt x="1183" y="1022"/>
                    </a:lnTo>
                    <a:lnTo>
                      <a:pt x="1183" y="1020"/>
                    </a:lnTo>
                    <a:lnTo>
                      <a:pt x="1185" y="1019"/>
                    </a:lnTo>
                    <a:lnTo>
                      <a:pt x="1185" y="1017"/>
                    </a:lnTo>
                    <a:lnTo>
                      <a:pt x="1186" y="1017"/>
                    </a:lnTo>
                    <a:lnTo>
                      <a:pt x="1186" y="1015"/>
                    </a:lnTo>
                    <a:lnTo>
                      <a:pt x="1185" y="1015"/>
                    </a:lnTo>
                    <a:lnTo>
                      <a:pt x="1186" y="1015"/>
                    </a:lnTo>
                    <a:lnTo>
                      <a:pt x="1185" y="1015"/>
                    </a:lnTo>
                    <a:lnTo>
                      <a:pt x="1185" y="1014"/>
                    </a:lnTo>
                    <a:lnTo>
                      <a:pt x="1186" y="1014"/>
                    </a:lnTo>
                    <a:lnTo>
                      <a:pt x="1188" y="1012"/>
                    </a:lnTo>
                    <a:lnTo>
                      <a:pt x="1188" y="1010"/>
                    </a:lnTo>
                    <a:lnTo>
                      <a:pt x="1190" y="1009"/>
                    </a:lnTo>
                    <a:lnTo>
                      <a:pt x="1190" y="1007"/>
                    </a:lnTo>
                    <a:lnTo>
                      <a:pt x="1188" y="1007"/>
                    </a:lnTo>
                    <a:lnTo>
                      <a:pt x="1190" y="1007"/>
                    </a:lnTo>
                    <a:lnTo>
                      <a:pt x="1190" y="1005"/>
                    </a:lnTo>
                    <a:lnTo>
                      <a:pt x="1191" y="1005"/>
                    </a:lnTo>
                    <a:lnTo>
                      <a:pt x="1191" y="1003"/>
                    </a:lnTo>
                    <a:lnTo>
                      <a:pt x="1191" y="1002"/>
                    </a:lnTo>
                    <a:lnTo>
                      <a:pt x="1191" y="1000"/>
                    </a:lnTo>
                    <a:lnTo>
                      <a:pt x="1191" y="998"/>
                    </a:lnTo>
                    <a:lnTo>
                      <a:pt x="1191" y="997"/>
                    </a:lnTo>
                    <a:lnTo>
                      <a:pt x="1191" y="995"/>
                    </a:lnTo>
                    <a:lnTo>
                      <a:pt x="1191" y="993"/>
                    </a:lnTo>
                    <a:lnTo>
                      <a:pt x="1193" y="993"/>
                    </a:lnTo>
                    <a:lnTo>
                      <a:pt x="1191" y="993"/>
                    </a:lnTo>
                    <a:lnTo>
                      <a:pt x="1191" y="992"/>
                    </a:lnTo>
                    <a:lnTo>
                      <a:pt x="1191" y="990"/>
                    </a:lnTo>
                    <a:lnTo>
                      <a:pt x="1190" y="988"/>
                    </a:lnTo>
                    <a:lnTo>
                      <a:pt x="1190" y="986"/>
                    </a:lnTo>
                    <a:lnTo>
                      <a:pt x="1190" y="985"/>
                    </a:lnTo>
                    <a:lnTo>
                      <a:pt x="1190" y="983"/>
                    </a:lnTo>
                    <a:lnTo>
                      <a:pt x="1191" y="983"/>
                    </a:lnTo>
                    <a:lnTo>
                      <a:pt x="1191" y="981"/>
                    </a:lnTo>
                    <a:lnTo>
                      <a:pt x="1191" y="980"/>
                    </a:lnTo>
                    <a:lnTo>
                      <a:pt x="1191" y="978"/>
                    </a:lnTo>
                    <a:lnTo>
                      <a:pt x="1190" y="976"/>
                    </a:lnTo>
                    <a:lnTo>
                      <a:pt x="1191" y="976"/>
                    </a:lnTo>
                    <a:lnTo>
                      <a:pt x="1191" y="975"/>
                    </a:lnTo>
                    <a:lnTo>
                      <a:pt x="1191" y="973"/>
                    </a:lnTo>
                    <a:lnTo>
                      <a:pt x="1193" y="973"/>
                    </a:lnTo>
                    <a:lnTo>
                      <a:pt x="1193" y="971"/>
                    </a:lnTo>
                    <a:lnTo>
                      <a:pt x="1195" y="971"/>
                    </a:lnTo>
                    <a:lnTo>
                      <a:pt x="1195" y="969"/>
                    </a:lnTo>
                    <a:lnTo>
                      <a:pt x="1195" y="968"/>
                    </a:lnTo>
                    <a:lnTo>
                      <a:pt x="1195" y="966"/>
                    </a:lnTo>
                    <a:lnTo>
                      <a:pt x="1195" y="964"/>
                    </a:lnTo>
                    <a:lnTo>
                      <a:pt x="1195" y="963"/>
                    </a:lnTo>
                    <a:lnTo>
                      <a:pt x="1195" y="961"/>
                    </a:lnTo>
                    <a:lnTo>
                      <a:pt x="1196" y="961"/>
                    </a:lnTo>
                    <a:lnTo>
                      <a:pt x="1196" y="959"/>
                    </a:lnTo>
                    <a:lnTo>
                      <a:pt x="1195" y="959"/>
                    </a:lnTo>
                    <a:lnTo>
                      <a:pt x="1195" y="957"/>
                    </a:lnTo>
                    <a:lnTo>
                      <a:pt x="1195" y="956"/>
                    </a:lnTo>
                    <a:lnTo>
                      <a:pt x="1195" y="954"/>
                    </a:lnTo>
                    <a:lnTo>
                      <a:pt x="1196" y="954"/>
                    </a:lnTo>
                    <a:lnTo>
                      <a:pt x="1196" y="956"/>
                    </a:lnTo>
                    <a:lnTo>
                      <a:pt x="1198" y="956"/>
                    </a:lnTo>
                    <a:lnTo>
                      <a:pt x="1200" y="954"/>
                    </a:lnTo>
                    <a:close/>
                    <a:moveTo>
                      <a:pt x="1174" y="1286"/>
                    </a:moveTo>
                    <a:lnTo>
                      <a:pt x="1176" y="1286"/>
                    </a:lnTo>
                    <a:lnTo>
                      <a:pt x="1176" y="1288"/>
                    </a:lnTo>
                    <a:lnTo>
                      <a:pt x="1174" y="1289"/>
                    </a:lnTo>
                    <a:lnTo>
                      <a:pt x="1176" y="1289"/>
                    </a:lnTo>
                    <a:lnTo>
                      <a:pt x="1176" y="1288"/>
                    </a:lnTo>
                    <a:lnTo>
                      <a:pt x="1178" y="1289"/>
                    </a:lnTo>
                    <a:lnTo>
                      <a:pt x="1176" y="1289"/>
                    </a:lnTo>
                    <a:lnTo>
                      <a:pt x="1176" y="1291"/>
                    </a:lnTo>
                    <a:lnTo>
                      <a:pt x="1176" y="1293"/>
                    </a:lnTo>
                    <a:lnTo>
                      <a:pt x="1178" y="1293"/>
                    </a:lnTo>
                    <a:lnTo>
                      <a:pt x="1176" y="1294"/>
                    </a:lnTo>
                    <a:lnTo>
                      <a:pt x="1174" y="1296"/>
                    </a:lnTo>
                    <a:lnTo>
                      <a:pt x="1176" y="1296"/>
                    </a:lnTo>
                    <a:lnTo>
                      <a:pt x="1176" y="1294"/>
                    </a:lnTo>
                    <a:lnTo>
                      <a:pt x="1178" y="1294"/>
                    </a:lnTo>
                    <a:lnTo>
                      <a:pt x="1178" y="1293"/>
                    </a:lnTo>
                    <a:lnTo>
                      <a:pt x="1178" y="1291"/>
                    </a:lnTo>
                    <a:lnTo>
                      <a:pt x="1178" y="1289"/>
                    </a:lnTo>
                    <a:lnTo>
                      <a:pt x="1178" y="1288"/>
                    </a:lnTo>
                    <a:lnTo>
                      <a:pt x="1179" y="1288"/>
                    </a:lnTo>
                    <a:lnTo>
                      <a:pt x="1181" y="1288"/>
                    </a:lnTo>
                    <a:lnTo>
                      <a:pt x="1181" y="1289"/>
                    </a:lnTo>
                    <a:lnTo>
                      <a:pt x="1181" y="1291"/>
                    </a:lnTo>
                    <a:lnTo>
                      <a:pt x="1181" y="1293"/>
                    </a:lnTo>
                    <a:lnTo>
                      <a:pt x="1181" y="1294"/>
                    </a:lnTo>
                    <a:lnTo>
                      <a:pt x="1181" y="1296"/>
                    </a:lnTo>
                    <a:lnTo>
                      <a:pt x="1179" y="1296"/>
                    </a:lnTo>
                    <a:lnTo>
                      <a:pt x="1179" y="1298"/>
                    </a:lnTo>
                    <a:lnTo>
                      <a:pt x="1178" y="1298"/>
                    </a:lnTo>
                    <a:lnTo>
                      <a:pt x="1178" y="1299"/>
                    </a:lnTo>
                    <a:lnTo>
                      <a:pt x="1176" y="1299"/>
                    </a:lnTo>
                    <a:lnTo>
                      <a:pt x="1178" y="1299"/>
                    </a:lnTo>
                    <a:lnTo>
                      <a:pt x="1178" y="1298"/>
                    </a:lnTo>
                    <a:lnTo>
                      <a:pt x="1179" y="1298"/>
                    </a:lnTo>
                    <a:lnTo>
                      <a:pt x="1179" y="1296"/>
                    </a:lnTo>
                    <a:lnTo>
                      <a:pt x="1181" y="1296"/>
                    </a:lnTo>
                    <a:lnTo>
                      <a:pt x="1181" y="1298"/>
                    </a:lnTo>
                    <a:lnTo>
                      <a:pt x="1181" y="1299"/>
                    </a:lnTo>
                    <a:lnTo>
                      <a:pt x="1183" y="1299"/>
                    </a:lnTo>
                    <a:lnTo>
                      <a:pt x="1183" y="1301"/>
                    </a:lnTo>
                    <a:lnTo>
                      <a:pt x="1181" y="1301"/>
                    </a:lnTo>
                    <a:lnTo>
                      <a:pt x="1181" y="1303"/>
                    </a:lnTo>
                    <a:lnTo>
                      <a:pt x="1179" y="1303"/>
                    </a:lnTo>
                    <a:lnTo>
                      <a:pt x="1181" y="1303"/>
                    </a:lnTo>
                    <a:lnTo>
                      <a:pt x="1181" y="1305"/>
                    </a:lnTo>
                    <a:lnTo>
                      <a:pt x="1181" y="1306"/>
                    </a:lnTo>
                    <a:lnTo>
                      <a:pt x="1183" y="1308"/>
                    </a:lnTo>
                    <a:lnTo>
                      <a:pt x="1183" y="1310"/>
                    </a:lnTo>
                    <a:lnTo>
                      <a:pt x="1183" y="1308"/>
                    </a:lnTo>
                    <a:lnTo>
                      <a:pt x="1181" y="1310"/>
                    </a:lnTo>
                    <a:lnTo>
                      <a:pt x="1183" y="1311"/>
                    </a:lnTo>
                    <a:lnTo>
                      <a:pt x="1183" y="1313"/>
                    </a:lnTo>
                    <a:lnTo>
                      <a:pt x="1183" y="1315"/>
                    </a:lnTo>
                    <a:lnTo>
                      <a:pt x="1183" y="1316"/>
                    </a:lnTo>
                    <a:lnTo>
                      <a:pt x="1183" y="1318"/>
                    </a:lnTo>
                    <a:lnTo>
                      <a:pt x="1183" y="1320"/>
                    </a:lnTo>
                    <a:lnTo>
                      <a:pt x="1181" y="1320"/>
                    </a:lnTo>
                    <a:lnTo>
                      <a:pt x="1181" y="1322"/>
                    </a:lnTo>
                    <a:lnTo>
                      <a:pt x="1183" y="1322"/>
                    </a:lnTo>
                    <a:lnTo>
                      <a:pt x="1183" y="1323"/>
                    </a:lnTo>
                    <a:lnTo>
                      <a:pt x="1181" y="1323"/>
                    </a:lnTo>
                    <a:lnTo>
                      <a:pt x="1181" y="1325"/>
                    </a:lnTo>
                    <a:lnTo>
                      <a:pt x="1181" y="1327"/>
                    </a:lnTo>
                    <a:lnTo>
                      <a:pt x="1181" y="1328"/>
                    </a:lnTo>
                    <a:lnTo>
                      <a:pt x="1179" y="1328"/>
                    </a:lnTo>
                    <a:lnTo>
                      <a:pt x="1178" y="1328"/>
                    </a:lnTo>
                    <a:lnTo>
                      <a:pt x="1179" y="1328"/>
                    </a:lnTo>
                    <a:lnTo>
                      <a:pt x="1179" y="1330"/>
                    </a:lnTo>
                    <a:lnTo>
                      <a:pt x="1179" y="1328"/>
                    </a:lnTo>
                    <a:lnTo>
                      <a:pt x="1179" y="1330"/>
                    </a:lnTo>
                    <a:lnTo>
                      <a:pt x="1181" y="1332"/>
                    </a:lnTo>
                    <a:lnTo>
                      <a:pt x="1181" y="1333"/>
                    </a:lnTo>
                    <a:lnTo>
                      <a:pt x="1179" y="1335"/>
                    </a:lnTo>
                    <a:lnTo>
                      <a:pt x="1179" y="1333"/>
                    </a:lnTo>
                    <a:lnTo>
                      <a:pt x="1178" y="1335"/>
                    </a:lnTo>
                    <a:lnTo>
                      <a:pt x="1178" y="1337"/>
                    </a:lnTo>
                    <a:lnTo>
                      <a:pt x="1179" y="1337"/>
                    </a:lnTo>
                    <a:lnTo>
                      <a:pt x="1178" y="1339"/>
                    </a:lnTo>
                    <a:lnTo>
                      <a:pt x="1176" y="1337"/>
                    </a:lnTo>
                    <a:lnTo>
                      <a:pt x="1178" y="1339"/>
                    </a:lnTo>
                    <a:lnTo>
                      <a:pt x="1179" y="1339"/>
                    </a:lnTo>
                    <a:lnTo>
                      <a:pt x="1179" y="1337"/>
                    </a:lnTo>
                    <a:lnTo>
                      <a:pt x="1179" y="1335"/>
                    </a:lnTo>
                    <a:lnTo>
                      <a:pt x="1181" y="1335"/>
                    </a:lnTo>
                    <a:lnTo>
                      <a:pt x="1183" y="1337"/>
                    </a:lnTo>
                    <a:lnTo>
                      <a:pt x="1183" y="1339"/>
                    </a:lnTo>
                    <a:lnTo>
                      <a:pt x="1183" y="1340"/>
                    </a:lnTo>
                    <a:lnTo>
                      <a:pt x="1183" y="1342"/>
                    </a:lnTo>
                    <a:lnTo>
                      <a:pt x="1181" y="1342"/>
                    </a:lnTo>
                    <a:lnTo>
                      <a:pt x="1181" y="1340"/>
                    </a:lnTo>
                    <a:lnTo>
                      <a:pt x="1179" y="1340"/>
                    </a:lnTo>
                    <a:lnTo>
                      <a:pt x="1179" y="1342"/>
                    </a:lnTo>
                    <a:lnTo>
                      <a:pt x="1181" y="1342"/>
                    </a:lnTo>
                    <a:lnTo>
                      <a:pt x="1181" y="1344"/>
                    </a:lnTo>
                    <a:lnTo>
                      <a:pt x="1183" y="1344"/>
                    </a:lnTo>
                    <a:lnTo>
                      <a:pt x="1183" y="1345"/>
                    </a:lnTo>
                    <a:lnTo>
                      <a:pt x="1183" y="1347"/>
                    </a:lnTo>
                    <a:lnTo>
                      <a:pt x="1183" y="1349"/>
                    </a:lnTo>
                    <a:lnTo>
                      <a:pt x="1181" y="1350"/>
                    </a:lnTo>
                    <a:lnTo>
                      <a:pt x="1181" y="1349"/>
                    </a:lnTo>
                    <a:lnTo>
                      <a:pt x="1181" y="1347"/>
                    </a:lnTo>
                    <a:lnTo>
                      <a:pt x="1179" y="1347"/>
                    </a:lnTo>
                    <a:lnTo>
                      <a:pt x="1181" y="1347"/>
                    </a:lnTo>
                    <a:lnTo>
                      <a:pt x="1181" y="1349"/>
                    </a:lnTo>
                    <a:lnTo>
                      <a:pt x="1181" y="1350"/>
                    </a:lnTo>
                    <a:lnTo>
                      <a:pt x="1181" y="1352"/>
                    </a:lnTo>
                    <a:lnTo>
                      <a:pt x="1179" y="1352"/>
                    </a:lnTo>
                    <a:lnTo>
                      <a:pt x="1181" y="1352"/>
                    </a:lnTo>
                    <a:lnTo>
                      <a:pt x="1179" y="1354"/>
                    </a:lnTo>
                    <a:lnTo>
                      <a:pt x="1178" y="1352"/>
                    </a:lnTo>
                    <a:lnTo>
                      <a:pt x="1178" y="1350"/>
                    </a:lnTo>
                    <a:lnTo>
                      <a:pt x="1176" y="1350"/>
                    </a:lnTo>
                    <a:lnTo>
                      <a:pt x="1176" y="1349"/>
                    </a:lnTo>
                    <a:lnTo>
                      <a:pt x="1176" y="1347"/>
                    </a:lnTo>
                    <a:lnTo>
                      <a:pt x="1174" y="1349"/>
                    </a:lnTo>
                    <a:lnTo>
                      <a:pt x="1176" y="1349"/>
                    </a:lnTo>
                    <a:lnTo>
                      <a:pt x="1176" y="1350"/>
                    </a:lnTo>
                    <a:lnTo>
                      <a:pt x="1178" y="1352"/>
                    </a:lnTo>
                    <a:lnTo>
                      <a:pt x="1179" y="1354"/>
                    </a:lnTo>
                    <a:lnTo>
                      <a:pt x="1178" y="1354"/>
                    </a:lnTo>
                    <a:lnTo>
                      <a:pt x="1178" y="1356"/>
                    </a:lnTo>
                    <a:lnTo>
                      <a:pt x="1176" y="1356"/>
                    </a:lnTo>
                    <a:lnTo>
                      <a:pt x="1176" y="1357"/>
                    </a:lnTo>
                    <a:lnTo>
                      <a:pt x="1174" y="1357"/>
                    </a:lnTo>
                    <a:lnTo>
                      <a:pt x="1174" y="1356"/>
                    </a:lnTo>
                    <a:lnTo>
                      <a:pt x="1174" y="1357"/>
                    </a:lnTo>
                    <a:lnTo>
                      <a:pt x="1173" y="1357"/>
                    </a:lnTo>
                    <a:lnTo>
                      <a:pt x="1173" y="1356"/>
                    </a:lnTo>
                    <a:lnTo>
                      <a:pt x="1174" y="1356"/>
                    </a:lnTo>
                    <a:lnTo>
                      <a:pt x="1174" y="1354"/>
                    </a:lnTo>
                    <a:lnTo>
                      <a:pt x="1174" y="1356"/>
                    </a:lnTo>
                    <a:lnTo>
                      <a:pt x="1173" y="1356"/>
                    </a:lnTo>
                    <a:lnTo>
                      <a:pt x="1173" y="1357"/>
                    </a:lnTo>
                    <a:lnTo>
                      <a:pt x="1173" y="1356"/>
                    </a:lnTo>
                    <a:lnTo>
                      <a:pt x="1173" y="1357"/>
                    </a:lnTo>
                    <a:lnTo>
                      <a:pt x="1171" y="1357"/>
                    </a:lnTo>
                    <a:lnTo>
                      <a:pt x="1169" y="1357"/>
                    </a:lnTo>
                    <a:lnTo>
                      <a:pt x="1168" y="1357"/>
                    </a:lnTo>
                    <a:lnTo>
                      <a:pt x="1169" y="1356"/>
                    </a:lnTo>
                    <a:lnTo>
                      <a:pt x="1168" y="1357"/>
                    </a:lnTo>
                    <a:lnTo>
                      <a:pt x="1168" y="1356"/>
                    </a:lnTo>
                    <a:lnTo>
                      <a:pt x="1166" y="1354"/>
                    </a:lnTo>
                    <a:lnTo>
                      <a:pt x="1168" y="1354"/>
                    </a:lnTo>
                    <a:lnTo>
                      <a:pt x="1168" y="1352"/>
                    </a:lnTo>
                    <a:lnTo>
                      <a:pt x="1169" y="1352"/>
                    </a:lnTo>
                    <a:lnTo>
                      <a:pt x="1171" y="1350"/>
                    </a:lnTo>
                    <a:lnTo>
                      <a:pt x="1173" y="1350"/>
                    </a:lnTo>
                    <a:lnTo>
                      <a:pt x="1174" y="1350"/>
                    </a:lnTo>
                    <a:lnTo>
                      <a:pt x="1174" y="1352"/>
                    </a:lnTo>
                    <a:lnTo>
                      <a:pt x="1176" y="1352"/>
                    </a:lnTo>
                    <a:lnTo>
                      <a:pt x="1174" y="1350"/>
                    </a:lnTo>
                    <a:lnTo>
                      <a:pt x="1173" y="1350"/>
                    </a:lnTo>
                    <a:lnTo>
                      <a:pt x="1173" y="1349"/>
                    </a:lnTo>
                    <a:lnTo>
                      <a:pt x="1171" y="1350"/>
                    </a:lnTo>
                    <a:lnTo>
                      <a:pt x="1169" y="1350"/>
                    </a:lnTo>
                    <a:lnTo>
                      <a:pt x="1168" y="1352"/>
                    </a:lnTo>
                    <a:lnTo>
                      <a:pt x="1166" y="1354"/>
                    </a:lnTo>
                    <a:lnTo>
                      <a:pt x="1168" y="1352"/>
                    </a:lnTo>
                    <a:lnTo>
                      <a:pt x="1166" y="1352"/>
                    </a:lnTo>
                    <a:lnTo>
                      <a:pt x="1166" y="1350"/>
                    </a:lnTo>
                    <a:lnTo>
                      <a:pt x="1166" y="1349"/>
                    </a:lnTo>
                    <a:lnTo>
                      <a:pt x="1168" y="1349"/>
                    </a:lnTo>
                    <a:lnTo>
                      <a:pt x="1166" y="1347"/>
                    </a:lnTo>
                    <a:lnTo>
                      <a:pt x="1168" y="1347"/>
                    </a:lnTo>
                    <a:lnTo>
                      <a:pt x="1166" y="1345"/>
                    </a:lnTo>
                    <a:lnTo>
                      <a:pt x="1168" y="1345"/>
                    </a:lnTo>
                    <a:lnTo>
                      <a:pt x="1168" y="1347"/>
                    </a:lnTo>
                    <a:lnTo>
                      <a:pt x="1169" y="1347"/>
                    </a:lnTo>
                    <a:lnTo>
                      <a:pt x="1169" y="1349"/>
                    </a:lnTo>
                    <a:lnTo>
                      <a:pt x="1171" y="1347"/>
                    </a:lnTo>
                    <a:lnTo>
                      <a:pt x="1173" y="1347"/>
                    </a:lnTo>
                    <a:lnTo>
                      <a:pt x="1173" y="1345"/>
                    </a:lnTo>
                    <a:lnTo>
                      <a:pt x="1174" y="1345"/>
                    </a:lnTo>
                    <a:lnTo>
                      <a:pt x="1176" y="1344"/>
                    </a:lnTo>
                    <a:lnTo>
                      <a:pt x="1174" y="1345"/>
                    </a:lnTo>
                    <a:lnTo>
                      <a:pt x="1173" y="1345"/>
                    </a:lnTo>
                    <a:lnTo>
                      <a:pt x="1171" y="1347"/>
                    </a:lnTo>
                    <a:lnTo>
                      <a:pt x="1169" y="1347"/>
                    </a:lnTo>
                    <a:lnTo>
                      <a:pt x="1168" y="1345"/>
                    </a:lnTo>
                    <a:lnTo>
                      <a:pt x="1169" y="1345"/>
                    </a:lnTo>
                    <a:lnTo>
                      <a:pt x="1169" y="1344"/>
                    </a:lnTo>
                    <a:lnTo>
                      <a:pt x="1169" y="1342"/>
                    </a:lnTo>
                    <a:lnTo>
                      <a:pt x="1171" y="1342"/>
                    </a:lnTo>
                    <a:lnTo>
                      <a:pt x="1173" y="1342"/>
                    </a:lnTo>
                    <a:lnTo>
                      <a:pt x="1171" y="1342"/>
                    </a:lnTo>
                    <a:lnTo>
                      <a:pt x="1171" y="1340"/>
                    </a:lnTo>
                    <a:lnTo>
                      <a:pt x="1173" y="1340"/>
                    </a:lnTo>
                    <a:lnTo>
                      <a:pt x="1171" y="1340"/>
                    </a:lnTo>
                    <a:lnTo>
                      <a:pt x="1171" y="1342"/>
                    </a:lnTo>
                    <a:lnTo>
                      <a:pt x="1169" y="1342"/>
                    </a:lnTo>
                    <a:lnTo>
                      <a:pt x="1169" y="1344"/>
                    </a:lnTo>
                    <a:lnTo>
                      <a:pt x="1168" y="1345"/>
                    </a:lnTo>
                    <a:lnTo>
                      <a:pt x="1168" y="1344"/>
                    </a:lnTo>
                    <a:lnTo>
                      <a:pt x="1166" y="1344"/>
                    </a:lnTo>
                    <a:lnTo>
                      <a:pt x="1166" y="1342"/>
                    </a:lnTo>
                    <a:lnTo>
                      <a:pt x="1166" y="1340"/>
                    </a:lnTo>
                    <a:lnTo>
                      <a:pt x="1168" y="1340"/>
                    </a:lnTo>
                    <a:lnTo>
                      <a:pt x="1166" y="1339"/>
                    </a:lnTo>
                    <a:lnTo>
                      <a:pt x="1166" y="1337"/>
                    </a:lnTo>
                    <a:lnTo>
                      <a:pt x="1168" y="1337"/>
                    </a:lnTo>
                    <a:lnTo>
                      <a:pt x="1166" y="1335"/>
                    </a:lnTo>
                    <a:lnTo>
                      <a:pt x="1166" y="1333"/>
                    </a:lnTo>
                    <a:lnTo>
                      <a:pt x="1168" y="1333"/>
                    </a:lnTo>
                    <a:lnTo>
                      <a:pt x="1169" y="1333"/>
                    </a:lnTo>
                    <a:lnTo>
                      <a:pt x="1169" y="1335"/>
                    </a:lnTo>
                    <a:lnTo>
                      <a:pt x="1171" y="1335"/>
                    </a:lnTo>
                    <a:lnTo>
                      <a:pt x="1173" y="1335"/>
                    </a:lnTo>
                    <a:lnTo>
                      <a:pt x="1171" y="1335"/>
                    </a:lnTo>
                    <a:lnTo>
                      <a:pt x="1171" y="1333"/>
                    </a:lnTo>
                    <a:lnTo>
                      <a:pt x="1171" y="1332"/>
                    </a:lnTo>
                    <a:lnTo>
                      <a:pt x="1173" y="1332"/>
                    </a:lnTo>
                    <a:lnTo>
                      <a:pt x="1171" y="1330"/>
                    </a:lnTo>
                    <a:lnTo>
                      <a:pt x="1171" y="1332"/>
                    </a:lnTo>
                    <a:lnTo>
                      <a:pt x="1171" y="1333"/>
                    </a:lnTo>
                    <a:lnTo>
                      <a:pt x="1169" y="1333"/>
                    </a:lnTo>
                    <a:lnTo>
                      <a:pt x="1168" y="1333"/>
                    </a:lnTo>
                    <a:lnTo>
                      <a:pt x="1168" y="1332"/>
                    </a:lnTo>
                    <a:lnTo>
                      <a:pt x="1166" y="1332"/>
                    </a:lnTo>
                    <a:lnTo>
                      <a:pt x="1168" y="1332"/>
                    </a:lnTo>
                    <a:lnTo>
                      <a:pt x="1168" y="1330"/>
                    </a:lnTo>
                    <a:lnTo>
                      <a:pt x="1168" y="1328"/>
                    </a:lnTo>
                    <a:lnTo>
                      <a:pt x="1169" y="1328"/>
                    </a:lnTo>
                    <a:lnTo>
                      <a:pt x="1171" y="1327"/>
                    </a:lnTo>
                    <a:lnTo>
                      <a:pt x="1173" y="1325"/>
                    </a:lnTo>
                    <a:lnTo>
                      <a:pt x="1174" y="1325"/>
                    </a:lnTo>
                    <a:lnTo>
                      <a:pt x="1176" y="1325"/>
                    </a:lnTo>
                    <a:lnTo>
                      <a:pt x="1174" y="1323"/>
                    </a:lnTo>
                    <a:lnTo>
                      <a:pt x="1173" y="1325"/>
                    </a:lnTo>
                    <a:lnTo>
                      <a:pt x="1173" y="1323"/>
                    </a:lnTo>
                    <a:lnTo>
                      <a:pt x="1173" y="1322"/>
                    </a:lnTo>
                    <a:lnTo>
                      <a:pt x="1174" y="1322"/>
                    </a:lnTo>
                    <a:lnTo>
                      <a:pt x="1176" y="1320"/>
                    </a:lnTo>
                    <a:lnTo>
                      <a:pt x="1176" y="1318"/>
                    </a:lnTo>
                    <a:lnTo>
                      <a:pt x="1176" y="1320"/>
                    </a:lnTo>
                    <a:lnTo>
                      <a:pt x="1174" y="1320"/>
                    </a:lnTo>
                    <a:lnTo>
                      <a:pt x="1174" y="1322"/>
                    </a:lnTo>
                    <a:lnTo>
                      <a:pt x="1173" y="1322"/>
                    </a:lnTo>
                    <a:lnTo>
                      <a:pt x="1173" y="1323"/>
                    </a:lnTo>
                    <a:lnTo>
                      <a:pt x="1173" y="1322"/>
                    </a:lnTo>
                    <a:lnTo>
                      <a:pt x="1171" y="1322"/>
                    </a:lnTo>
                    <a:lnTo>
                      <a:pt x="1169" y="1320"/>
                    </a:lnTo>
                    <a:lnTo>
                      <a:pt x="1171" y="1322"/>
                    </a:lnTo>
                    <a:lnTo>
                      <a:pt x="1171" y="1323"/>
                    </a:lnTo>
                    <a:lnTo>
                      <a:pt x="1173" y="1323"/>
                    </a:lnTo>
                    <a:lnTo>
                      <a:pt x="1171" y="1325"/>
                    </a:lnTo>
                    <a:lnTo>
                      <a:pt x="1169" y="1327"/>
                    </a:lnTo>
                    <a:lnTo>
                      <a:pt x="1168" y="1327"/>
                    </a:lnTo>
                    <a:lnTo>
                      <a:pt x="1168" y="1328"/>
                    </a:lnTo>
                    <a:lnTo>
                      <a:pt x="1168" y="1327"/>
                    </a:lnTo>
                    <a:lnTo>
                      <a:pt x="1168" y="1325"/>
                    </a:lnTo>
                    <a:lnTo>
                      <a:pt x="1168" y="1323"/>
                    </a:lnTo>
                    <a:lnTo>
                      <a:pt x="1168" y="1325"/>
                    </a:lnTo>
                    <a:lnTo>
                      <a:pt x="1168" y="1327"/>
                    </a:lnTo>
                    <a:lnTo>
                      <a:pt x="1168" y="1328"/>
                    </a:lnTo>
                    <a:lnTo>
                      <a:pt x="1166" y="1330"/>
                    </a:lnTo>
                    <a:lnTo>
                      <a:pt x="1164" y="1330"/>
                    </a:lnTo>
                    <a:lnTo>
                      <a:pt x="1164" y="1328"/>
                    </a:lnTo>
                    <a:lnTo>
                      <a:pt x="1166" y="1327"/>
                    </a:lnTo>
                    <a:lnTo>
                      <a:pt x="1164" y="1327"/>
                    </a:lnTo>
                    <a:lnTo>
                      <a:pt x="1164" y="1325"/>
                    </a:lnTo>
                    <a:lnTo>
                      <a:pt x="1164" y="1327"/>
                    </a:lnTo>
                    <a:lnTo>
                      <a:pt x="1164" y="1328"/>
                    </a:lnTo>
                    <a:lnTo>
                      <a:pt x="1162" y="1327"/>
                    </a:lnTo>
                    <a:lnTo>
                      <a:pt x="1162" y="1328"/>
                    </a:lnTo>
                    <a:lnTo>
                      <a:pt x="1164" y="1328"/>
                    </a:lnTo>
                    <a:lnTo>
                      <a:pt x="1164" y="1330"/>
                    </a:lnTo>
                    <a:lnTo>
                      <a:pt x="1162" y="1330"/>
                    </a:lnTo>
                    <a:lnTo>
                      <a:pt x="1162" y="1328"/>
                    </a:lnTo>
                    <a:lnTo>
                      <a:pt x="1162" y="1330"/>
                    </a:lnTo>
                    <a:lnTo>
                      <a:pt x="1164" y="1332"/>
                    </a:lnTo>
                    <a:lnTo>
                      <a:pt x="1162" y="1332"/>
                    </a:lnTo>
                    <a:lnTo>
                      <a:pt x="1164" y="1332"/>
                    </a:lnTo>
                    <a:lnTo>
                      <a:pt x="1164" y="1333"/>
                    </a:lnTo>
                    <a:lnTo>
                      <a:pt x="1162" y="1333"/>
                    </a:lnTo>
                    <a:lnTo>
                      <a:pt x="1162" y="1332"/>
                    </a:lnTo>
                    <a:lnTo>
                      <a:pt x="1161" y="1332"/>
                    </a:lnTo>
                    <a:lnTo>
                      <a:pt x="1161" y="1330"/>
                    </a:lnTo>
                    <a:lnTo>
                      <a:pt x="1159" y="1330"/>
                    </a:lnTo>
                    <a:lnTo>
                      <a:pt x="1161" y="1332"/>
                    </a:lnTo>
                    <a:lnTo>
                      <a:pt x="1162" y="1333"/>
                    </a:lnTo>
                    <a:lnTo>
                      <a:pt x="1164" y="1333"/>
                    </a:lnTo>
                    <a:lnTo>
                      <a:pt x="1162" y="1335"/>
                    </a:lnTo>
                    <a:lnTo>
                      <a:pt x="1162" y="1337"/>
                    </a:lnTo>
                    <a:lnTo>
                      <a:pt x="1162" y="1339"/>
                    </a:lnTo>
                    <a:lnTo>
                      <a:pt x="1162" y="1337"/>
                    </a:lnTo>
                    <a:lnTo>
                      <a:pt x="1164" y="1337"/>
                    </a:lnTo>
                    <a:lnTo>
                      <a:pt x="1164" y="1335"/>
                    </a:lnTo>
                    <a:lnTo>
                      <a:pt x="1164" y="1333"/>
                    </a:lnTo>
                    <a:lnTo>
                      <a:pt x="1164" y="1335"/>
                    </a:lnTo>
                    <a:lnTo>
                      <a:pt x="1166" y="1335"/>
                    </a:lnTo>
                    <a:lnTo>
                      <a:pt x="1164" y="1335"/>
                    </a:lnTo>
                    <a:lnTo>
                      <a:pt x="1164" y="1337"/>
                    </a:lnTo>
                    <a:lnTo>
                      <a:pt x="1164" y="1339"/>
                    </a:lnTo>
                    <a:lnTo>
                      <a:pt x="1162" y="1340"/>
                    </a:lnTo>
                    <a:lnTo>
                      <a:pt x="1162" y="1339"/>
                    </a:lnTo>
                    <a:lnTo>
                      <a:pt x="1162" y="1340"/>
                    </a:lnTo>
                    <a:lnTo>
                      <a:pt x="1162" y="1342"/>
                    </a:lnTo>
                    <a:lnTo>
                      <a:pt x="1162" y="1344"/>
                    </a:lnTo>
                    <a:lnTo>
                      <a:pt x="1162" y="1342"/>
                    </a:lnTo>
                    <a:lnTo>
                      <a:pt x="1162" y="1340"/>
                    </a:lnTo>
                    <a:lnTo>
                      <a:pt x="1164" y="1340"/>
                    </a:lnTo>
                    <a:lnTo>
                      <a:pt x="1164" y="1339"/>
                    </a:lnTo>
                    <a:lnTo>
                      <a:pt x="1164" y="1340"/>
                    </a:lnTo>
                    <a:lnTo>
                      <a:pt x="1164" y="1342"/>
                    </a:lnTo>
                    <a:lnTo>
                      <a:pt x="1164" y="1340"/>
                    </a:lnTo>
                    <a:lnTo>
                      <a:pt x="1166" y="1342"/>
                    </a:lnTo>
                    <a:lnTo>
                      <a:pt x="1166" y="1344"/>
                    </a:lnTo>
                    <a:lnTo>
                      <a:pt x="1164" y="1344"/>
                    </a:lnTo>
                    <a:lnTo>
                      <a:pt x="1166" y="1344"/>
                    </a:lnTo>
                    <a:lnTo>
                      <a:pt x="1164" y="1344"/>
                    </a:lnTo>
                    <a:lnTo>
                      <a:pt x="1164" y="1345"/>
                    </a:lnTo>
                    <a:lnTo>
                      <a:pt x="1164" y="1344"/>
                    </a:lnTo>
                    <a:lnTo>
                      <a:pt x="1164" y="1345"/>
                    </a:lnTo>
                    <a:lnTo>
                      <a:pt x="1164" y="1347"/>
                    </a:lnTo>
                    <a:lnTo>
                      <a:pt x="1162" y="1347"/>
                    </a:lnTo>
                    <a:lnTo>
                      <a:pt x="1164" y="1347"/>
                    </a:lnTo>
                    <a:lnTo>
                      <a:pt x="1162" y="1349"/>
                    </a:lnTo>
                    <a:lnTo>
                      <a:pt x="1161" y="1349"/>
                    </a:lnTo>
                    <a:lnTo>
                      <a:pt x="1161" y="1347"/>
                    </a:lnTo>
                    <a:lnTo>
                      <a:pt x="1161" y="1345"/>
                    </a:lnTo>
                    <a:lnTo>
                      <a:pt x="1161" y="1347"/>
                    </a:lnTo>
                    <a:lnTo>
                      <a:pt x="1159" y="1347"/>
                    </a:lnTo>
                    <a:lnTo>
                      <a:pt x="1157" y="1345"/>
                    </a:lnTo>
                    <a:lnTo>
                      <a:pt x="1157" y="1344"/>
                    </a:lnTo>
                    <a:lnTo>
                      <a:pt x="1157" y="1342"/>
                    </a:lnTo>
                    <a:lnTo>
                      <a:pt x="1159" y="1342"/>
                    </a:lnTo>
                    <a:lnTo>
                      <a:pt x="1157" y="1342"/>
                    </a:lnTo>
                    <a:lnTo>
                      <a:pt x="1156" y="1342"/>
                    </a:lnTo>
                    <a:lnTo>
                      <a:pt x="1156" y="1340"/>
                    </a:lnTo>
                    <a:lnTo>
                      <a:pt x="1156" y="1339"/>
                    </a:lnTo>
                    <a:lnTo>
                      <a:pt x="1154" y="1339"/>
                    </a:lnTo>
                    <a:lnTo>
                      <a:pt x="1156" y="1339"/>
                    </a:lnTo>
                    <a:lnTo>
                      <a:pt x="1157" y="1337"/>
                    </a:lnTo>
                    <a:lnTo>
                      <a:pt x="1156" y="1337"/>
                    </a:lnTo>
                    <a:lnTo>
                      <a:pt x="1154" y="1337"/>
                    </a:lnTo>
                    <a:lnTo>
                      <a:pt x="1156" y="1337"/>
                    </a:lnTo>
                    <a:lnTo>
                      <a:pt x="1154" y="1337"/>
                    </a:lnTo>
                    <a:lnTo>
                      <a:pt x="1154" y="1335"/>
                    </a:lnTo>
                    <a:lnTo>
                      <a:pt x="1156" y="1337"/>
                    </a:lnTo>
                    <a:lnTo>
                      <a:pt x="1157" y="1337"/>
                    </a:lnTo>
                    <a:lnTo>
                      <a:pt x="1157" y="1335"/>
                    </a:lnTo>
                    <a:lnTo>
                      <a:pt x="1157" y="1337"/>
                    </a:lnTo>
                    <a:lnTo>
                      <a:pt x="1156" y="1337"/>
                    </a:lnTo>
                    <a:lnTo>
                      <a:pt x="1156" y="1335"/>
                    </a:lnTo>
                    <a:lnTo>
                      <a:pt x="1154" y="1335"/>
                    </a:lnTo>
                    <a:lnTo>
                      <a:pt x="1156" y="1335"/>
                    </a:lnTo>
                    <a:lnTo>
                      <a:pt x="1156" y="1333"/>
                    </a:lnTo>
                    <a:lnTo>
                      <a:pt x="1157" y="1333"/>
                    </a:lnTo>
                    <a:lnTo>
                      <a:pt x="1157" y="1332"/>
                    </a:lnTo>
                    <a:lnTo>
                      <a:pt x="1157" y="1333"/>
                    </a:lnTo>
                    <a:lnTo>
                      <a:pt x="1156" y="1333"/>
                    </a:lnTo>
                    <a:lnTo>
                      <a:pt x="1156" y="1335"/>
                    </a:lnTo>
                    <a:lnTo>
                      <a:pt x="1154" y="1335"/>
                    </a:lnTo>
                    <a:lnTo>
                      <a:pt x="1152" y="1335"/>
                    </a:lnTo>
                    <a:lnTo>
                      <a:pt x="1152" y="1333"/>
                    </a:lnTo>
                    <a:lnTo>
                      <a:pt x="1154" y="1333"/>
                    </a:lnTo>
                    <a:lnTo>
                      <a:pt x="1154" y="1332"/>
                    </a:lnTo>
                    <a:lnTo>
                      <a:pt x="1156" y="1332"/>
                    </a:lnTo>
                    <a:lnTo>
                      <a:pt x="1157" y="1332"/>
                    </a:lnTo>
                    <a:lnTo>
                      <a:pt x="1156" y="1332"/>
                    </a:lnTo>
                    <a:lnTo>
                      <a:pt x="1156" y="1330"/>
                    </a:lnTo>
                    <a:lnTo>
                      <a:pt x="1157" y="1330"/>
                    </a:lnTo>
                    <a:lnTo>
                      <a:pt x="1157" y="1328"/>
                    </a:lnTo>
                    <a:lnTo>
                      <a:pt x="1157" y="1330"/>
                    </a:lnTo>
                    <a:lnTo>
                      <a:pt x="1157" y="1328"/>
                    </a:lnTo>
                    <a:lnTo>
                      <a:pt x="1156" y="1330"/>
                    </a:lnTo>
                    <a:lnTo>
                      <a:pt x="1154" y="1330"/>
                    </a:lnTo>
                    <a:lnTo>
                      <a:pt x="1154" y="1332"/>
                    </a:lnTo>
                    <a:lnTo>
                      <a:pt x="1154" y="1330"/>
                    </a:lnTo>
                    <a:lnTo>
                      <a:pt x="1152" y="1330"/>
                    </a:lnTo>
                    <a:lnTo>
                      <a:pt x="1152" y="1328"/>
                    </a:lnTo>
                    <a:lnTo>
                      <a:pt x="1154" y="1328"/>
                    </a:lnTo>
                    <a:lnTo>
                      <a:pt x="1156" y="1327"/>
                    </a:lnTo>
                    <a:lnTo>
                      <a:pt x="1154" y="1327"/>
                    </a:lnTo>
                    <a:lnTo>
                      <a:pt x="1156" y="1327"/>
                    </a:lnTo>
                    <a:lnTo>
                      <a:pt x="1156" y="1325"/>
                    </a:lnTo>
                    <a:lnTo>
                      <a:pt x="1156" y="1327"/>
                    </a:lnTo>
                    <a:lnTo>
                      <a:pt x="1154" y="1327"/>
                    </a:lnTo>
                    <a:lnTo>
                      <a:pt x="1154" y="1328"/>
                    </a:lnTo>
                    <a:lnTo>
                      <a:pt x="1152" y="1328"/>
                    </a:lnTo>
                    <a:lnTo>
                      <a:pt x="1152" y="1330"/>
                    </a:lnTo>
                    <a:lnTo>
                      <a:pt x="1152" y="1328"/>
                    </a:lnTo>
                    <a:lnTo>
                      <a:pt x="1151" y="1327"/>
                    </a:lnTo>
                    <a:lnTo>
                      <a:pt x="1152" y="1325"/>
                    </a:lnTo>
                    <a:lnTo>
                      <a:pt x="1151" y="1325"/>
                    </a:lnTo>
                    <a:lnTo>
                      <a:pt x="1151" y="1327"/>
                    </a:lnTo>
                    <a:lnTo>
                      <a:pt x="1152" y="1325"/>
                    </a:lnTo>
                    <a:lnTo>
                      <a:pt x="1151" y="1327"/>
                    </a:lnTo>
                    <a:lnTo>
                      <a:pt x="1149" y="1328"/>
                    </a:lnTo>
                    <a:lnTo>
                      <a:pt x="1149" y="1327"/>
                    </a:lnTo>
                    <a:lnTo>
                      <a:pt x="1151" y="1325"/>
                    </a:lnTo>
                    <a:lnTo>
                      <a:pt x="1152" y="1323"/>
                    </a:lnTo>
                    <a:lnTo>
                      <a:pt x="1151" y="1323"/>
                    </a:lnTo>
                    <a:lnTo>
                      <a:pt x="1151" y="1325"/>
                    </a:lnTo>
                    <a:lnTo>
                      <a:pt x="1149" y="1325"/>
                    </a:lnTo>
                    <a:lnTo>
                      <a:pt x="1149" y="1323"/>
                    </a:lnTo>
                    <a:lnTo>
                      <a:pt x="1147" y="1323"/>
                    </a:lnTo>
                    <a:lnTo>
                      <a:pt x="1147" y="1322"/>
                    </a:lnTo>
                    <a:lnTo>
                      <a:pt x="1149" y="1320"/>
                    </a:lnTo>
                    <a:lnTo>
                      <a:pt x="1147" y="1320"/>
                    </a:lnTo>
                    <a:lnTo>
                      <a:pt x="1147" y="1318"/>
                    </a:lnTo>
                    <a:lnTo>
                      <a:pt x="1147" y="1316"/>
                    </a:lnTo>
                    <a:lnTo>
                      <a:pt x="1149" y="1316"/>
                    </a:lnTo>
                    <a:lnTo>
                      <a:pt x="1151" y="1315"/>
                    </a:lnTo>
                    <a:lnTo>
                      <a:pt x="1151" y="1316"/>
                    </a:lnTo>
                    <a:lnTo>
                      <a:pt x="1152" y="1315"/>
                    </a:lnTo>
                    <a:lnTo>
                      <a:pt x="1152" y="1316"/>
                    </a:lnTo>
                    <a:lnTo>
                      <a:pt x="1151" y="1316"/>
                    </a:lnTo>
                    <a:lnTo>
                      <a:pt x="1151" y="1318"/>
                    </a:lnTo>
                    <a:lnTo>
                      <a:pt x="1149" y="1318"/>
                    </a:lnTo>
                    <a:lnTo>
                      <a:pt x="1149" y="1320"/>
                    </a:lnTo>
                    <a:lnTo>
                      <a:pt x="1149" y="1318"/>
                    </a:lnTo>
                    <a:lnTo>
                      <a:pt x="1151" y="1318"/>
                    </a:lnTo>
                    <a:lnTo>
                      <a:pt x="1152" y="1316"/>
                    </a:lnTo>
                    <a:lnTo>
                      <a:pt x="1152" y="1318"/>
                    </a:lnTo>
                    <a:lnTo>
                      <a:pt x="1151" y="1318"/>
                    </a:lnTo>
                    <a:lnTo>
                      <a:pt x="1152" y="1318"/>
                    </a:lnTo>
                    <a:lnTo>
                      <a:pt x="1152" y="1320"/>
                    </a:lnTo>
                    <a:lnTo>
                      <a:pt x="1152" y="1322"/>
                    </a:lnTo>
                    <a:lnTo>
                      <a:pt x="1154" y="1322"/>
                    </a:lnTo>
                    <a:lnTo>
                      <a:pt x="1154" y="1323"/>
                    </a:lnTo>
                    <a:lnTo>
                      <a:pt x="1156" y="1325"/>
                    </a:lnTo>
                    <a:lnTo>
                      <a:pt x="1157" y="1325"/>
                    </a:lnTo>
                    <a:lnTo>
                      <a:pt x="1157" y="1327"/>
                    </a:lnTo>
                    <a:lnTo>
                      <a:pt x="1159" y="1327"/>
                    </a:lnTo>
                    <a:lnTo>
                      <a:pt x="1157" y="1327"/>
                    </a:lnTo>
                    <a:lnTo>
                      <a:pt x="1157" y="1325"/>
                    </a:lnTo>
                    <a:lnTo>
                      <a:pt x="1156" y="1325"/>
                    </a:lnTo>
                    <a:lnTo>
                      <a:pt x="1156" y="1323"/>
                    </a:lnTo>
                    <a:lnTo>
                      <a:pt x="1156" y="1325"/>
                    </a:lnTo>
                    <a:lnTo>
                      <a:pt x="1157" y="1323"/>
                    </a:lnTo>
                    <a:lnTo>
                      <a:pt x="1159" y="1323"/>
                    </a:lnTo>
                    <a:lnTo>
                      <a:pt x="1159" y="1325"/>
                    </a:lnTo>
                    <a:lnTo>
                      <a:pt x="1161" y="1323"/>
                    </a:lnTo>
                    <a:lnTo>
                      <a:pt x="1162" y="1323"/>
                    </a:lnTo>
                    <a:lnTo>
                      <a:pt x="1164" y="1323"/>
                    </a:lnTo>
                    <a:lnTo>
                      <a:pt x="1162" y="1323"/>
                    </a:lnTo>
                    <a:lnTo>
                      <a:pt x="1161" y="1323"/>
                    </a:lnTo>
                    <a:lnTo>
                      <a:pt x="1159" y="1323"/>
                    </a:lnTo>
                    <a:lnTo>
                      <a:pt x="1157" y="1323"/>
                    </a:lnTo>
                    <a:lnTo>
                      <a:pt x="1156" y="1323"/>
                    </a:lnTo>
                    <a:lnTo>
                      <a:pt x="1157" y="1323"/>
                    </a:lnTo>
                    <a:lnTo>
                      <a:pt x="1156" y="1323"/>
                    </a:lnTo>
                    <a:lnTo>
                      <a:pt x="1156" y="1322"/>
                    </a:lnTo>
                    <a:lnTo>
                      <a:pt x="1154" y="1322"/>
                    </a:lnTo>
                    <a:lnTo>
                      <a:pt x="1156" y="1322"/>
                    </a:lnTo>
                    <a:lnTo>
                      <a:pt x="1154" y="1322"/>
                    </a:lnTo>
                    <a:lnTo>
                      <a:pt x="1154" y="1320"/>
                    </a:lnTo>
                    <a:lnTo>
                      <a:pt x="1154" y="1318"/>
                    </a:lnTo>
                    <a:lnTo>
                      <a:pt x="1156" y="1320"/>
                    </a:lnTo>
                    <a:lnTo>
                      <a:pt x="1154" y="1318"/>
                    </a:lnTo>
                    <a:lnTo>
                      <a:pt x="1152" y="1318"/>
                    </a:lnTo>
                    <a:lnTo>
                      <a:pt x="1152" y="1316"/>
                    </a:lnTo>
                    <a:lnTo>
                      <a:pt x="1154" y="1316"/>
                    </a:lnTo>
                    <a:lnTo>
                      <a:pt x="1154" y="1315"/>
                    </a:lnTo>
                    <a:lnTo>
                      <a:pt x="1152" y="1315"/>
                    </a:lnTo>
                    <a:lnTo>
                      <a:pt x="1154" y="1315"/>
                    </a:lnTo>
                    <a:lnTo>
                      <a:pt x="1156" y="1315"/>
                    </a:lnTo>
                    <a:lnTo>
                      <a:pt x="1156" y="1316"/>
                    </a:lnTo>
                    <a:lnTo>
                      <a:pt x="1156" y="1315"/>
                    </a:lnTo>
                    <a:lnTo>
                      <a:pt x="1156" y="1316"/>
                    </a:lnTo>
                    <a:lnTo>
                      <a:pt x="1157" y="1316"/>
                    </a:lnTo>
                    <a:lnTo>
                      <a:pt x="1156" y="1316"/>
                    </a:lnTo>
                    <a:lnTo>
                      <a:pt x="1157" y="1316"/>
                    </a:lnTo>
                    <a:lnTo>
                      <a:pt x="1157" y="1318"/>
                    </a:lnTo>
                    <a:lnTo>
                      <a:pt x="1157" y="1320"/>
                    </a:lnTo>
                    <a:lnTo>
                      <a:pt x="1159" y="1320"/>
                    </a:lnTo>
                    <a:lnTo>
                      <a:pt x="1157" y="1320"/>
                    </a:lnTo>
                    <a:lnTo>
                      <a:pt x="1159" y="1320"/>
                    </a:lnTo>
                    <a:lnTo>
                      <a:pt x="1159" y="1322"/>
                    </a:lnTo>
                    <a:lnTo>
                      <a:pt x="1159" y="1320"/>
                    </a:lnTo>
                    <a:lnTo>
                      <a:pt x="1161" y="1320"/>
                    </a:lnTo>
                    <a:lnTo>
                      <a:pt x="1162" y="1320"/>
                    </a:lnTo>
                    <a:lnTo>
                      <a:pt x="1161" y="1320"/>
                    </a:lnTo>
                    <a:lnTo>
                      <a:pt x="1159" y="1320"/>
                    </a:lnTo>
                    <a:lnTo>
                      <a:pt x="1157" y="1318"/>
                    </a:lnTo>
                    <a:lnTo>
                      <a:pt x="1159" y="1318"/>
                    </a:lnTo>
                    <a:lnTo>
                      <a:pt x="1159" y="1316"/>
                    </a:lnTo>
                    <a:lnTo>
                      <a:pt x="1157" y="1318"/>
                    </a:lnTo>
                    <a:lnTo>
                      <a:pt x="1157" y="1316"/>
                    </a:lnTo>
                    <a:lnTo>
                      <a:pt x="1157" y="1315"/>
                    </a:lnTo>
                    <a:lnTo>
                      <a:pt x="1157" y="1316"/>
                    </a:lnTo>
                    <a:lnTo>
                      <a:pt x="1159" y="1316"/>
                    </a:lnTo>
                    <a:lnTo>
                      <a:pt x="1161" y="1318"/>
                    </a:lnTo>
                    <a:lnTo>
                      <a:pt x="1161" y="1320"/>
                    </a:lnTo>
                    <a:lnTo>
                      <a:pt x="1162" y="1320"/>
                    </a:lnTo>
                    <a:lnTo>
                      <a:pt x="1161" y="1318"/>
                    </a:lnTo>
                    <a:lnTo>
                      <a:pt x="1159" y="1316"/>
                    </a:lnTo>
                    <a:lnTo>
                      <a:pt x="1161" y="1316"/>
                    </a:lnTo>
                    <a:lnTo>
                      <a:pt x="1159" y="1316"/>
                    </a:lnTo>
                    <a:lnTo>
                      <a:pt x="1159" y="1315"/>
                    </a:lnTo>
                    <a:lnTo>
                      <a:pt x="1161" y="1315"/>
                    </a:lnTo>
                    <a:lnTo>
                      <a:pt x="1161" y="1316"/>
                    </a:lnTo>
                    <a:lnTo>
                      <a:pt x="1161" y="1315"/>
                    </a:lnTo>
                    <a:lnTo>
                      <a:pt x="1162" y="1316"/>
                    </a:lnTo>
                    <a:lnTo>
                      <a:pt x="1164" y="1316"/>
                    </a:lnTo>
                    <a:lnTo>
                      <a:pt x="1164" y="1318"/>
                    </a:lnTo>
                    <a:lnTo>
                      <a:pt x="1164" y="1316"/>
                    </a:lnTo>
                    <a:lnTo>
                      <a:pt x="1162" y="1316"/>
                    </a:lnTo>
                    <a:lnTo>
                      <a:pt x="1162" y="1315"/>
                    </a:lnTo>
                    <a:lnTo>
                      <a:pt x="1164" y="1315"/>
                    </a:lnTo>
                    <a:lnTo>
                      <a:pt x="1162" y="1315"/>
                    </a:lnTo>
                    <a:lnTo>
                      <a:pt x="1161" y="1315"/>
                    </a:lnTo>
                    <a:lnTo>
                      <a:pt x="1161" y="1313"/>
                    </a:lnTo>
                    <a:lnTo>
                      <a:pt x="1162" y="1313"/>
                    </a:lnTo>
                    <a:lnTo>
                      <a:pt x="1162" y="1315"/>
                    </a:lnTo>
                    <a:lnTo>
                      <a:pt x="1162" y="1313"/>
                    </a:lnTo>
                    <a:lnTo>
                      <a:pt x="1161" y="1313"/>
                    </a:lnTo>
                    <a:lnTo>
                      <a:pt x="1161" y="1311"/>
                    </a:lnTo>
                    <a:lnTo>
                      <a:pt x="1162" y="1313"/>
                    </a:lnTo>
                    <a:lnTo>
                      <a:pt x="1162" y="1315"/>
                    </a:lnTo>
                    <a:lnTo>
                      <a:pt x="1164" y="1315"/>
                    </a:lnTo>
                    <a:lnTo>
                      <a:pt x="1164" y="1316"/>
                    </a:lnTo>
                    <a:lnTo>
                      <a:pt x="1166" y="1318"/>
                    </a:lnTo>
                    <a:lnTo>
                      <a:pt x="1168" y="1318"/>
                    </a:lnTo>
                    <a:lnTo>
                      <a:pt x="1168" y="1320"/>
                    </a:lnTo>
                    <a:lnTo>
                      <a:pt x="1166" y="1322"/>
                    </a:lnTo>
                    <a:lnTo>
                      <a:pt x="1168" y="1322"/>
                    </a:lnTo>
                    <a:lnTo>
                      <a:pt x="1168" y="1320"/>
                    </a:lnTo>
                    <a:lnTo>
                      <a:pt x="1168" y="1318"/>
                    </a:lnTo>
                    <a:lnTo>
                      <a:pt x="1168" y="1316"/>
                    </a:lnTo>
                    <a:lnTo>
                      <a:pt x="1168" y="1315"/>
                    </a:lnTo>
                    <a:lnTo>
                      <a:pt x="1168" y="1313"/>
                    </a:lnTo>
                    <a:lnTo>
                      <a:pt x="1169" y="1313"/>
                    </a:lnTo>
                    <a:lnTo>
                      <a:pt x="1169" y="1315"/>
                    </a:lnTo>
                    <a:lnTo>
                      <a:pt x="1169" y="1313"/>
                    </a:lnTo>
                    <a:lnTo>
                      <a:pt x="1168" y="1313"/>
                    </a:lnTo>
                    <a:lnTo>
                      <a:pt x="1168" y="1311"/>
                    </a:lnTo>
                    <a:lnTo>
                      <a:pt x="1169" y="1311"/>
                    </a:lnTo>
                    <a:lnTo>
                      <a:pt x="1171" y="1311"/>
                    </a:lnTo>
                    <a:lnTo>
                      <a:pt x="1171" y="1313"/>
                    </a:lnTo>
                    <a:lnTo>
                      <a:pt x="1171" y="1311"/>
                    </a:lnTo>
                    <a:lnTo>
                      <a:pt x="1169" y="1311"/>
                    </a:lnTo>
                    <a:lnTo>
                      <a:pt x="1169" y="1310"/>
                    </a:lnTo>
                    <a:lnTo>
                      <a:pt x="1169" y="1308"/>
                    </a:lnTo>
                    <a:lnTo>
                      <a:pt x="1169" y="1306"/>
                    </a:lnTo>
                    <a:lnTo>
                      <a:pt x="1171" y="1306"/>
                    </a:lnTo>
                    <a:lnTo>
                      <a:pt x="1169" y="1306"/>
                    </a:lnTo>
                    <a:lnTo>
                      <a:pt x="1169" y="1305"/>
                    </a:lnTo>
                    <a:lnTo>
                      <a:pt x="1168" y="1305"/>
                    </a:lnTo>
                    <a:lnTo>
                      <a:pt x="1168" y="1303"/>
                    </a:lnTo>
                    <a:lnTo>
                      <a:pt x="1166" y="1303"/>
                    </a:lnTo>
                    <a:lnTo>
                      <a:pt x="1166" y="1301"/>
                    </a:lnTo>
                    <a:lnTo>
                      <a:pt x="1168" y="1301"/>
                    </a:lnTo>
                    <a:lnTo>
                      <a:pt x="1169" y="1301"/>
                    </a:lnTo>
                    <a:lnTo>
                      <a:pt x="1169" y="1299"/>
                    </a:lnTo>
                    <a:lnTo>
                      <a:pt x="1169" y="1301"/>
                    </a:lnTo>
                    <a:lnTo>
                      <a:pt x="1171" y="1301"/>
                    </a:lnTo>
                    <a:lnTo>
                      <a:pt x="1171" y="1303"/>
                    </a:lnTo>
                    <a:lnTo>
                      <a:pt x="1173" y="1303"/>
                    </a:lnTo>
                    <a:lnTo>
                      <a:pt x="1173" y="1305"/>
                    </a:lnTo>
                    <a:lnTo>
                      <a:pt x="1171" y="1303"/>
                    </a:lnTo>
                    <a:lnTo>
                      <a:pt x="1171" y="1301"/>
                    </a:lnTo>
                    <a:lnTo>
                      <a:pt x="1169" y="1299"/>
                    </a:lnTo>
                    <a:lnTo>
                      <a:pt x="1171" y="1299"/>
                    </a:lnTo>
                    <a:lnTo>
                      <a:pt x="1171" y="1298"/>
                    </a:lnTo>
                    <a:lnTo>
                      <a:pt x="1171" y="1299"/>
                    </a:lnTo>
                    <a:lnTo>
                      <a:pt x="1169" y="1299"/>
                    </a:lnTo>
                    <a:lnTo>
                      <a:pt x="1168" y="1299"/>
                    </a:lnTo>
                    <a:lnTo>
                      <a:pt x="1168" y="1301"/>
                    </a:lnTo>
                    <a:lnTo>
                      <a:pt x="1166" y="1301"/>
                    </a:lnTo>
                    <a:lnTo>
                      <a:pt x="1164" y="1301"/>
                    </a:lnTo>
                    <a:lnTo>
                      <a:pt x="1164" y="1299"/>
                    </a:lnTo>
                    <a:lnTo>
                      <a:pt x="1166" y="1299"/>
                    </a:lnTo>
                    <a:lnTo>
                      <a:pt x="1168" y="1299"/>
                    </a:lnTo>
                    <a:lnTo>
                      <a:pt x="1166" y="1299"/>
                    </a:lnTo>
                    <a:lnTo>
                      <a:pt x="1164" y="1299"/>
                    </a:lnTo>
                    <a:lnTo>
                      <a:pt x="1164" y="1298"/>
                    </a:lnTo>
                    <a:lnTo>
                      <a:pt x="1166" y="1298"/>
                    </a:lnTo>
                    <a:lnTo>
                      <a:pt x="1168" y="1298"/>
                    </a:lnTo>
                    <a:lnTo>
                      <a:pt x="1169" y="1296"/>
                    </a:lnTo>
                    <a:lnTo>
                      <a:pt x="1168" y="1296"/>
                    </a:lnTo>
                    <a:lnTo>
                      <a:pt x="1168" y="1298"/>
                    </a:lnTo>
                    <a:lnTo>
                      <a:pt x="1168" y="1296"/>
                    </a:lnTo>
                    <a:lnTo>
                      <a:pt x="1168" y="1298"/>
                    </a:lnTo>
                    <a:lnTo>
                      <a:pt x="1166" y="1298"/>
                    </a:lnTo>
                    <a:lnTo>
                      <a:pt x="1164" y="1298"/>
                    </a:lnTo>
                    <a:lnTo>
                      <a:pt x="1162" y="1296"/>
                    </a:lnTo>
                    <a:lnTo>
                      <a:pt x="1164" y="1296"/>
                    </a:lnTo>
                    <a:lnTo>
                      <a:pt x="1166" y="1294"/>
                    </a:lnTo>
                    <a:lnTo>
                      <a:pt x="1168" y="1294"/>
                    </a:lnTo>
                    <a:lnTo>
                      <a:pt x="1169" y="1294"/>
                    </a:lnTo>
                    <a:lnTo>
                      <a:pt x="1168" y="1294"/>
                    </a:lnTo>
                    <a:lnTo>
                      <a:pt x="1169" y="1293"/>
                    </a:lnTo>
                    <a:lnTo>
                      <a:pt x="1168" y="1293"/>
                    </a:lnTo>
                    <a:lnTo>
                      <a:pt x="1168" y="1294"/>
                    </a:lnTo>
                    <a:lnTo>
                      <a:pt x="1166" y="1294"/>
                    </a:lnTo>
                    <a:lnTo>
                      <a:pt x="1164" y="1296"/>
                    </a:lnTo>
                    <a:lnTo>
                      <a:pt x="1162" y="1296"/>
                    </a:lnTo>
                    <a:lnTo>
                      <a:pt x="1162" y="1294"/>
                    </a:lnTo>
                    <a:lnTo>
                      <a:pt x="1162" y="1293"/>
                    </a:lnTo>
                    <a:lnTo>
                      <a:pt x="1162" y="1291"/>
                    </a:lnTo>
                    <a:lnTo>
                      <a:pt x="1164" y="1291"/>
                    </a:lnTo>
                    <a:lnTo>
                      <a:pt x="1164" y="1293"/>
                    </a:lnTo>
                    <a:lnTo>
                      <a:pt x="1166" y="1293"/>
                    </a:lnTo>
                    <a:lnTo>
                      <a:pt x="1168" y="1294"/>
                    </a:lnTo>
                    <a:lnTo>
                      <a:pt x="1168" y="1293"/>
                    </a:lnTo>
                    <a:lnTo>
                      <a:pt x="1166" y="1293"/>
                    </a:lnTo>
                    <a:lnTo>
                      <a:pt x="1164" y="1291"/>
                    </a:lnTo>
                    <a:lnTo>
                      <a:pt x="1166" y="1291"/>
                    </a:lnTo>
                    <a:lnTo>
                      <a:pt x="1166" y="1289"/>
                    </a:lnTo>
                    <a:lnTo>
                      <a:pt x="1164" y="1291"/>
                    </a:lnTo>
                    <a:lnTo>
                      <a:pt x="1162" y="1289"/>
                    </a:lnTo>
                    <a:lnTo>
                      <a:pt x="1164" y="1289"/>
                    </a:lnTo>
                    <a:lnTo>
                      <a:pt x="1166" y="1289"/>
                    </a:lnTo>
                    <a:lnTo>
                      <a:pt x="1168" y="1288"/>
                    </a:lnTo>
                    <a:lnTo>
                      <a:pt x="1168" y="1289"/>
                    </a:lnTo>
                    <a:lnTo>
                      <a:pt x="1168" y="1288"/>
                    </a:lnTo>
                    <a:lnTo>
                      <a:pt x="1169" y="1288"/>
                    </a:lnTo>
                    <a:lnTo>
                      <a:pt x="1168" y="1288"/>
                    </a:lnTo>
                    <a:lnTo>
                      <a:pt x="1169" y="1286"/>
                    </a:lnTo>
                    <a:lnTo>
                      <a:pt x="1169" y="1288"/>
                    </a:lnTo>
                    <a:lnTo>
                      <a:pt x="1169" y="1286"/>
                    </a:lnTo>
                    <a:lnTo>
                      <a:pt x="1171" y="1286"/>
                    </a:lnTo>
                    <a:lnTo>
                      <a:pt x="1171" y="1288"/>
                    </a:lnTo>
                    <a:lnTo>
                      <a:pt x="1171" y="1289"/>
                    </a:lnTo>
                    <a:lnTo>
                      <a:pt x="1169" y="1288"/>
                    </a:lnTo>
                    <a:lnTo>
                      <a:pt x="1169" y="1289"/>
                    </a:lnTo>
                    <a:lnTo>
                      <a:pt x="1171" y="1291"/>
                    </a:lnTo>
                    <a:lnTo>
                      <a:pt x="1171" y="1289"/>
                    </a:lnTo>
                    <a:lnTo>
                      <a:pt x="1171" y="1288"/>
                    </a:lnTo>
                    <a:lnTo>
                      <a:pt x="1171" y="1286"/>
                    </a:lnTo>
                    <a:lnTo>
                      <a:pt x="1173" y="1286"/>
                    </a:lnTo>
                    <a:lnTo>
                      <a:pt x="1173" y="1284"/>
                    </a:lnTo>
                    <a:lnTo>
                      <a:pt x="1174" y="1286"/>
                    </a:lnTo>
                    <a:close/>
                    <a:moveTo>
                      <a:pt x="1264" y="1498"/>
                    </a:moveTo>
                    <a:lnTo>
                      <a:pt x="1266" y="1498"/>
                    </a:lnTo>
                    <a:lnTo>
                      <a:pt x="1266" y="1500"/>
                    </a:lnTo>
                    <a:lnTo>
                      <a:pt x="1268" y="1500"/>
                    </a:lnTo>
                    <a:lnTo>
                      <a:pt x="1270" y="1500"/>
                    </a:lnTo>
                    <a:lnTo>
                      <a:pt x="1271" y="1500"/>
                    </a:lnTo>
                    <a:lnTo>
                      <a:pt x="1273" y="1500"/>
                    </a:lnTo>
                    <a:lnTo>
                      <a:pt x="1275" y="1500"/>
                    </a:lnTo>
                    <a:lnTo>
                      <a:pt x="1276" y="1500"/>
                    </a:lnTo>
                    <a:lnTo>
                      <a:pt x="1278" y="1498"/>
                    </a:lnTo>
                    <a:lnTo>
                      <a:pt x="1280" y="1498"/>
                    </a:lnTo>
                    <a:lnTo>
                      <a:pt x="1281" y="1497"/>
                    </a:lnTo>
                    <a:lnTo>
                      <a:pt x="1281" y="1498"/>
                    </a:lnTo>
                    <a:lnTo>
                      <a:pt x="1281" y="1500"/>
                    </a:lnTo>
                    <a:lnTo>
                      <a:pt x="1283" y="1500"/>
                    </a:lnTo>
                    <a:lnTo>
                      <a:pt x="1283" y="1502"/>
                    </a:lnTo>
                    <a:lnTo>
                      <a:pt x="1285" y="1502"/>
                    </a:lnTo>
                    <a:lnTo>
                      <a:pt x="1283" y="1504"/>
                    </a:lnTo>
                    <a:lnTo>
                      <a:pt x="1285" y="1505"/>
                    </a:lnTo>
                    <a:lnTo>
                      <a:pt x="1283" y="1507"/>
                    </a:lnTo>
                    <a:lnTo>
                      <a:pt x="1285" y="1505"/>
                    </a:lnTo>
                    <a:lnTo>
                      <a:pt x="1285" y="1507"/>
                    </a:lnTo>
                    <a:lnTo>
                      <a:pt x="1283" y="1507"/>
                    </a:lnTo>
                    <a:lnTo>
                      <a:pt x="1283" y="1509"/>
                    </a:lnTo>
                    <a:lnTo>
                      <a:pt x="1281" y="1509"/>
                    </a:lnTo>
                    <a:lnTo>
                      <a:pt x="1280" y="1509"/>
                    </a:lnTo>
                    <a:lnTo>
                      <a:pt x="1278" y="1510"/>
                    </a:lnTo>
                    <a:lnTo>
                      <a:pt x="1276" y="1510"/>
                    </a:lnTo>
                    <a:lnTo>
                      <a:pt x="1276" y="1512"/>
                    </a:lnTo>
                    <a:lnTo>
                      <a:pt x="1275" y="1512"/>
                    </a:lnTo>
                    <a:lnTo>
                      <a:pt x="1275" y="1514"/>
                    </a:lnTo>
                    <a:lnTo>
                      <a:pt x="1273" y="1514"/>
                    </a:lnTo>
                    <a:lnTo>
                      <a:pt x="1271" y="1515"/>
                    </a:lnTo>
                    <a:lnTo>
                      <a:pt x="1270" y="1515"/>
                    </a:lnTo>
                    <a:lnTo>
                      <a:pt x="1270" y="1517"/>
                    </a:lnTo>
                    <a:lnTo>
                      <a:pt x="1268" y="1517"/>
                    </a:lnTo>
                    <a:lnTo>
                      <a:pt x="1266" y="1517"/>
                    </a:lnTo>
                    <a:lnTo>
                      <a:pt x="1266" y="1519"/>
                    </a:lnTo>
                    <a:lnTo>
                      <a:pt x="1266" y="1521"/>
                    </a:lnTo>
                    <a:lnTo>
                      <a:pt x="1264" y="1521"/>
                    </a:lnTo>
                    <a:lnTo>
                      <a:pt x="1264" y="1522"/>
                    </a:lnTo>
                    <a:lnTo>
                      <a:pt x="1263" y="1524"/>
                    </a:lnTo>
                    <a:lnTo>
                      <a:pt x="1263" y="1526"/>
                    </a:lnTo>
                    <a:lnTo>
                      <a:pt x="1261" y="1524"/>
                    </a:lnTo>
                    <a:lnTo>
                      <a:pt x="1261" y="1526"/>
                    </a:lnTo>
                    <a:lnTo>
                      <a:pt x="1259" y="1526"/>
                    </a:lnTo>
                    <a:lnTo>
                      <a:pt x="1259" y="1524"/>
                    </a:lnTo>
                    <a:lnTo>
                      <a:pt x="1258" y="1524"/>
                    </a:lnTo>
                    <a:lnTo>
                      <a:pt x="1258" y="1522"/>
                    </a:lnTo>
                    <a:lnTo>
                      <a:pt x="1256" y="1521"/>
                    </a:lnTo>
                    <a:lnTo>
                      <a:pt x="1254" y="1521"/>
                    </a:lnTo>
                    <a:lnTo>
                      <a:pt x="1253" y="1519"/>
                    </a:lnTo>
                    <a:lnTo>
                      <a:pt x="1251" y="1519"/>
                    </a:lnTo>
                    <a:lnTo>
                      <a:pt x="1253" y="1521"/>
                    </a:lnTo>
                    <a:lnTo>
                      <a:pt x="1254" y="1521"/>
                    </a:lnTo>
                    <a:lnTo>
                      <a:pt x="1254" y="1522"/>
                    </a:lnTo>
                    <a:lnTo>
                      <a:pt x="1256" y="1522"/>
                    </a:lnTo>
                    <a:lnTo>
                      <a:pt x="1254" y="1522"/>
                    </a:lnTo>
                    <a:lnTo>
                      <a:pt x="1256" y="1524"/>
                    </a:lnTo>
                    <a:lnTo>
                      <a:pt x="1254" y="1524"/>
                    </a:lnTo>
                    <a:lnTo>
                      <a:pt x="1254" y="1522"/>
                    </a:lnTo>
                    <a:lnTo>
                      <a:pt x="1253" y="1522"/>
                    </a:lnTo>
                    <a:lnTo>
                      <a:pt x="1253" y="1521"/>
                    </a:lnTo>
                    <a:lnTo>
                      <a:pt x="1251" y="1521"/>
                    </a:lnTo>
                    <a:lnTo>
                      <a:pt x="1251" y="1522"/>
                    </a:lnTo>
                    <a:lnTo>
                      <a:pt x="1251" y="1521"/>
                    </a:lnTo>
                    <a:lnTo>
                      <a:pt x="1249" y="1521"/>
                    </a:lnTo>
                    <a:lnTo>
                      <a:pt x="1247" y="1521"/>
                    </a:lnTo>
                    <a:lnTo>
                      <a:pt x="1247" y="1522"/>
                    </a:lnTo>
                    <a:lnTo>
                      <a:pt x="1247" y="1521"/>
                    </a:lnTo>
                    <a:lnTo>
                      <a:pt x="1246" y="1522"/>
                    </a:lnTo>
                    <a:lnTo>
                      <a:pt x="1244" y="1522"/>
                    </a:lnTo>
                    <a:lnTo>
                      <a:pt x="1246" y="1522"/>
                    </a:lnTo>
                    <a:lnTo>
                      <a:pt x="1247" y="1522"/>
                    </a:lnTo>
                    <a:lnTo>
                      <a:pt x="1249" y="1522"/>
                    </a:lnTo>
                    <a:lnTo>
                      <a:pt x="1251" y="1522"/>
                    </a:lnTo>
                    <a:lnTo>
                      <a:pt x="1253" y="1524"/>
                    </a:lnTo>
                    <a:lnTo>
                      <a:pt x="1253" y="1526"/>
                    </a:lnTo>
                    <a:lnTo>
                      <a:pt x="1254" y="1526"/>
                    </a:lnTo>
                    <a:lnTo>
                      <a:pt x="1256" y="1526"/>
                    </a:lnTo>
                    <a:lnTo>
                      <a:pt x="1256" y="1527"/>
                    </a:lnTo>
                    <a:lnTo>
                      <a:pt x="1258" y="1529"/>
                    </a:lnTo>
                    <a:lnTo>
                      <a:pt x="1256" y="1529"/>
                    </a:lnTo>
                    <a:lnTo>
                      <a:pt x="1254" y="1529"/>
                    </a:lnTo>
                    <a:lnTo>
                      <a:pt x="1253" y="1529"/>
                    </a:lnTo>
                    <a:lnTo>
                      <a:pt x="1251" y="1529"/>
                    </a:lnTo>
                    <a:lnTo>
                      <a:pt x="1251" y="1527"/>
                    </a:lnTo>
                    <a:lnTo>
                      <a:pt x="1251" y="1529"/>
                    </a:lnTo>
                    <a:lnTo>
                      <a:pt x="1253" y="1529"/>
                    </a:lnTo>
                    <a:lnTo>
                      <a:pt x="1253" y="1531"/>
                    </a:lnTo>
                    <a:lnTo>
                      <a:pt x="1251" y="1531"/>
                    </a:lnTo>
                    <a:lnTo>
                      <a:pt x="1249" y="1531"/>
                    </a:lnTo>
                    <a:lnTo>
                      <a:pt x="1249" y="1529"/>
                    </a:lnTo>
                    <a:lnTo>
                      <a:pt x="1249" y="1527"/>
                    </a:lnTo>
                    <a:lnTo>
                      <a:pt x="1249" y="1529"/>
                    </a:lnTo>
                    <a:lnTo>
                      <a:pt x="1247" y="1529"/>
                    </a:lnTo>
                    <a:lnTo>
                      <a:pt x="1246" y="1527"/>
                    </a:lnTo>
                    <a:lnTo>
                      <a:pt x="1246" y="1529"/>
                    </a:lnTo>
                    <a:lnTo>
                      <a:pt x="1247" y="1529"/>
                    </a:lnTo>
                    <a:lnTo>
                      <a:pt x="1249" y="1531"/>
                    </a:lnTo>
                    <a:lnTo>
                      <a:pt x="1247" y="1531"/>
                    </a:lnTo>
                    <a:lnTo>
                      <a:pt x="1246" y="1529"/>
                    </a:lnTo>
                    <a:lnTo>
                      <a:pt x="1244" y="1529"/>
                    </a:lnTo>
                    <a:lnTo>
                      <a:pt x="1242" y="1529"/>
                    </a:lnTo>
                    <a:lnTo>
                      <a:pt x="1244" y="1529"/>
                    </a:lnTo>
                    <a:lnTo>
                      <a:pt x="1246" y="1531"/>
                    </a:lnTo>
                    <a:lnTo>
                      <a:pt x="1247" y="1531"/>
                    </a:lnTo>
                    <a:lnTo>
                      <a:pt x="1247" y="1532"/>
                    </a:lnTo>
                    <a:lnTo>
                      <a:pt x="1249" y="1531"/>
                    </a:lnTo>
                    <a:lnTo>
                      <a:pt x="1249" y="1532"/>
                    </a:lnTo>
                    <a:lnTo>
                      <a:pt x="1247" y="1532"/>
                    </a:lnTo>
                    <a:lnTo>
                      <a:pt x="1249" y="1534"/>
                    </a:lnTo>
                    <a:lnTo>
                      <a:pt x="1247" y="1534"/>
                    </a:lnTo>
                    <a:lnTo>
                      <a:pt x="1246" y="1534"/>
                    </a:lnTo>
                    <a:lnTo>
                      <a:pt x="1246" y="1532"/>
                    </a:lnTo>
                    <a:lnTo>
                      <a:pt x="1246" y="1534"/>
                    </a:lnTo>
                    <a:lnTo>
                      <a:pt x="1246" y="1536"/>
                    </a:lnTo>
                    <a:lnTo>
                      <a:pt x="1246" y="1538"/>
                    </a:lnTo>
                    <a:lnTo>
                      <a:pt x="1246" y="1539"/>
                    </a:lnTo>
                    <a:lnTo>
                      <a:pt x="1244" y="1539"/>
                    </a:lnTo>
                    <a:lnTo>
                      <a:pt x="1242" y="1539"/>
                    </a:lnTo>
                    <a:lnTo>
                      <a:pt x="1242" y="1538"/>
                    </a:lnTo>
                    <a:lnTo>
                      <a:pt x="1241" y="1538"/>
                    </a:lnTo>
                    <a:lnTo>
                      <a:pt x="1242" y="1538"/>
                    </a:lnTo>
                    <a:lnTo>
                      <a:pt x="1242" y="1539"/>
                    </a:lnTo>
                    <a:lnTo>
                      <a:pt x="1244" y="1539"/>
                    </a:lnTo>
                    <a:lnTo>
                      <a:pt x="1244" y="1541"/>
                    </a:lnTo>
                    <a:lnTo>
                      <a:pt x="1242" y="1543"/>
                    </a:lnTo>
                    <a:lnTo>
                      <a:pt x="1244" y="1541"/>
                    </a:lnTo>
                    <a:lnTo>
                      <a:pt x="1246" y="1539"/>
                    </a:lnTo>
                    <a:lnTo>
                      <a:pt x="1246" y="1541"/>
                    </a:lnTo>
                    <a:lnTo>
                      <a:pt x="1247" y="1541"/>
                    </a:lnTo>
                    <a:lnTo>
                      <a:pt x="1247" y="1543"/>
                    </a:lnTo>
                    <a:lnTo>
                      <a:pt x="1249" y="1544"/>
                    </a:lnTo>
                    <a:lnTo>
                      <a:pt x="1249" y="1546"/>
                    </a:lnTo>
                    <a:lnTo>
                      <a:pt x="1251" y="1546"/>
                    </a:lnTo>
                    <a:lnTo>
                      <a:pt x="1251" y="1548"/>
                    </a:lnTo>
                    <a:lnTo>
                      <a:pt x="1249" y="1548"/>
                    </a:lnTo>
                    <a:lnTo>
                      <a:pt x="1247" y="1548"/>
                    </a:lnTo>
                    <a:lnTo>
                      <a:pt x="1246" y="1548"/>
                    </a:lnTo>
                    <a:lnTo>
                      <a:pt x="1244" y="1548"/>
                    </a:lnTo>
                    <a:lnTo>
                      <a:pt x="1246" y="1548"/>
                    </a:lnTo>
                    <a:lnTo>
                      <a:pt x="1246" y="1546"/>
                    </a:lnTo>
                    <a:lnTo>
                      <a:pt x="1244" y="1546"/>
                    </a:lnTo>
                    <a:lnTo>
                      <a:pt x="1242" y="1546"/>
                    </a:lnTo>
                    <a:lnTo>
                      <a:pt x="1242" y="1544"/>
                    </a:lnTo>
                    <a:lnTo>
                      <a:pt x="1244" y="1544"/>
                    </a:lnTo>
                    <a:lnTo>
                      <a:pt x="1242" y="1543"/>
                    </a:lnTo>
                    <a:lnTo>
                      <a:pt x="1242" y="1544"/>
                    </a:lnTo>
                    <a:lnTo>
                      <a:pt x="1241" y="1544"/>
                    </a:lnTo>
                    <a:lnTo>
                      <a:pt x="1239" y="1543"/>
                    </a:lnTo>
                    <a:lnTo>
                      <a:pt x="1237" y="1541"/>
                    </a:lnTo>
                    <a:lnTo>
                      <a:pt x="1237" y="1539"/>
                    </a:lnTo>
                    <a:lnTo>
                      <a:pt x="1237" y="1541"/>
                    </a:lnTo>
                    <a:lnTo>
                      <a:pt x="1237" y="1543"/>
                    </a:lnTo>
                    <a:lnTo>
                      <a:pt x="1236" y="1541"/>
                    </a:lnTo>
                    <a:lnTo>
                      <a:pt x="1237" y="1539"/>
                    </a:lnTo>
                    <a:lnTo>
                      <a:pt x="1236" y="1539"/>
                    </a:lnTo>
                    <a:lnTo>
                      <a:pt x="1234" y="1539"/>
                    </a:lnTo>
                    <a:lnTo>
                      <a:pt x="1232" y="1539"/>
                    </a:lnTo>
                    <a:lnTo>
                      <a:pt x="1234" y="1538"/>
                    </a:lnTo>
                    <a:lnTo>
                      <a:pt x="1232" y="1538"/>
                    </a:lnTo>
                    <a:lnTo>
                      <a:pt x="1230" y="1538"/>
                    </a:lnTo>
                    <a:lnTo>
                      <a:pt x="1230" y="1536"/>
                    </a:lnTo>
                    <a:lnTo>
                      <a:pt x="1230" y="1534"/>
                    </a:lnTo>
                    <a:lnTo>
                      <a:pt x="1229" y="1534"/>
                    </a:lnTo>
                    <a:lnTo>
                      <a:pt x="1229" y="1532"/>
                    </a:lnTo>
                    <a:lnTo>
                      <a:pt x="1229" y="1534"/>
                    </a:lnTo>
                    <a:lnTo>
                      <a:pt x="1227" y="1534"/>
                    </a:lnTo>
                    <a:lnTo>
                      <a:pt x="1227" y="1532"/>
                    </a:lnTo>
                    <a:lnTo>
                      <a:pt x="1225" y="1534"/>
                    </a:lnTo>
                    <a:lnTo>
                      <a:pt x="1225" y="1532"/>
                    </a:lnTo>
                    <a:lnTo>
                      <a:pt x="1224" y="1532"/>
                    </a:lnTo>
                    <a:lnTo>
                      <a:pt x="1225" y="1531"/>
                    </a:lnTo>
                    <a:lnTo>
                      <a:pt x="1224" y="1532"/>
                    </a:lnTo>
                    <a:lnTo>
                      <a:pt x="1222" y="1531"/>
                    </a:lnTo>
                    <a:lnTo>
                      <a:pt x="1222" y="1529"/>
                    </a:lnTo>
                    <a:lnTo>
                      <a:pt x="1222" y="1531"/>
                    </a:lnTo>
                    <a:lnTo>
                      <a:pt x="1224" y="1529"/>
                    </a:lnTo>
                    <a:lnTo>
                      <a:pt x="1222" y="1529"/>
                    </a:lnTo>
                    <a:lnTo>
                      <a:pt x="1222" y="1527"/>
                    </a:lnTo>
                    <a:lnTo>
                      <a:pt x="1220" y="1527"/>
                    </a:lnTo>
                    <a:lnTo>
                      <a:pt x="1220" y="1526"/>
                    </a:lnTo>
                    <a:lnTo>
                      <a:pt x="1222" y="1527"/>
                    </a:lnTo>
                    <a:lnTo>
                      <a:pt x="1224" y="1527"/>
                    </a:lnTo>
                    <a:lnTo>
                      <a:pt x="1225" y="1527"/>
                    </a:lnTo>
                    <a:lnTo>
                      <a:pt x="1225" y="1529"/>
                    </a:lnTo>
                    <a:lnTo>
                      <a:pt x="1225" y="1527"/>
                    </a:lnTo>
                    <a:lnTo>
                      <a:pt x="1227" y="1527"/>
                    </a:lnTo>
                    <a:lnTo>
                      <a:pt x="1229" y="1527"/>
                    </a:lnTo>
                    <a:lnTo>
                      <a:pt x="1229" y="1529"/>
                    </a:lnTo>
                    <a:lnTo>
                      <a:pt x="1229" y="1527"/>
                    </a:lnTo>
                    <a:lnTo>
                      <a:pt x="1230" y="1527"/>
                    </a:lnTo>
                    <a:lnTo>
                      <a:pt x="1230" y="1529"/>
                    </a:lnTo>
                    <a:lnTo>
                      <a:pt x="1232" y="1527"/>
                    </a:lnTo>
                    <a:lnTo>
                      <a:pt x="1230" y="1527"/>
                    </a:lnTo>
                    <a:lnTo>
                      <a:pt x="1232" y="1527"/>
                    </a:lnTo>
                    <a:lnTo>
                      <a:pt x="1230" y="1527"/>
                    </a:lnTo>
                    <a:lnTo>
                      <a:pt x="1232" y="1527"/>
                    </a:lnTo>
                    <a:lnTo>
                      <a:pt x="1234" y="1527"/>
                    </a:lnTo>
                    <a:lnTo>
                      <a:pt x="1232" y="1529"/>
                    </a:lnTo>
                    <a:lnTo>
                      <a:pt x="1234" y="1529"/>
                    </a:lnTo>
                    <a:lnTo>
                      <a:pt x="1236" y="1529"/>
                    </a:lnTo>
                    <a:lnTo>
                      <a:pt x="1236" y="1531"/>
                    </a:lnTo>
                    <a:lnTo>
                      <a:pt x="1236" y="1529"/>
                    </a:lnTo>
                    <a:lnTo>
                      <a:pt x="1237" y="1531"/>
                    </a:lnTo>
                    <a:lnTo>
                      <a:pt x="1239" y="1531"/>
                    </a:lnTo>
                    <a:lnTo>
                      <a:pt x="1239" y="1532"/>
                    </a:lnTo>
                    <a:lnTo>
                      <a:pt x="1237" y="1532"/>
                    </a:lnTo>
                    <a:lnTo>
                      <a:pt x="1239" y="1532"/>
                    </a:lnTo>
                    <a:lnTo>
                      <a:pt x="1237" y="1534"/>
                    </a:lnTo>
                    <a:lnTo>
                      <a:pt x="1239" y="1534"/>
                    </a:lnTo>
                    <a:lnTo>
                      <a:pt x="1237" y="1534"/>
                    </a:lnTo>
                    <a:lnTo>
                      <a:pt x="1239" y="1534"/>
                    </a:lnTo>
                    <a:lnTo>
                      <a:pt x="1239" y="1532"/>
                    </a:lnTo>
                    <a:lnTo>
                      <a:pt x="1241" y="1532"/>
                    </a:lnTo>
                    <a:lnTo>
                      <a:pt x="1239" y="1531"/>
                    </a:lnTo>
                    <a:lnTo>
                      <a:pt x="1237" y="1531"/>
                    </a:lnTo>
                    <a:lnTo>
                      <a:pt x="1237" y="1529"/>
                    </a:lnTo>
                    <a:lnTo>
                      <a:pt x="1236" y="1529"/>
                    </a:lnTo>
                    <a:lnTo>
                      <a:pt x="1236" y="1527"/>
                    </a:lnTo>
                    <a:lnTo>
                      <a:pt x="1236" y="1529"/>
                    </a:lnTo>
                    <a:lnTo>
                      <a:pt x="1236" y="1527"/>
                    </a:lnTo>
                    <a:lnTo>
                      <a:pt x="1237" y="1527"/>
                    </a:lnTo>
                    <a:lnTo>
                      <a:pt x="1239" y="1529"/>
                    </a:lnTo>
                    <a:lnTo>
                      <a:pt x="1239" y="1527"/>
                    </a:lnTo>
                    <a:lnTo>
                      <a:pt x="1237" y="1527"/>
                    </a:lnTo>
                    <a:lnTo>
                      <a:pt x="1237" y="1526"/>
                    </a:lnTo>
                    <a:lnTo>
                      <a:pt x="1239" y="1526"/>
                    </a:lnTo>
                    <a:lnTo>
                      <a:pt x="1241" y="1527"/>
                    </a:lnTo>
                    <a:lnTo>
                      <a:pt x="1239" y="1526"/>
                    </a:lnTo>
                    <a:lnTo>
                      <a:pt x="1241" y="1526"/>
                    </a:lnTo>
                    <a:lnTo>
                      <a:pt x="1241" y="1527"/>
                    </a:lnTo>
                    <a:lnTo>
                      <a:pt x="1241" y="1526"/>
                    </a:lnTo>
                    <a:lnTo>
                      <a:pt x="1239" y="1526"/>
                    </a:lnTo>
                    <a:lnTo>
                      <a:pt x="1241" y="1526"/>
                    </a:lnTo>
                    <a:lnTo>
                      <a:pt x="1239" y="1526"/>
                    </a:lnTo>
                    <a:lnTo>
                      <a:pt x="1239" y="1524"/>
                    </a:lnTo>
                    <a:lnTo>
                      <a:pt x="1239" y="1526"/>
                    </a:lnTo>
                    <a:lnTo>
                      <a:pt x="1237" y="1526"/>
                    </a:lnTo>
                    <a:lnTo>
                      <a:pt x="1237" y="1524"/>
                    </a:lnTo>
                    <a:lnTo>
                      <a:pt x="1236" y="1526"/>
                    </a:lnTo>
                    <a:lnTo>
                      <a:pt x="1234" y="1526"/>
                    </a:lnTo>
                    <a:lnTo>
                      <a:pt x="1232" y="1524"/>
                    </a:lnTo>
                    <a:lnTo>
                      <a:pt x="1230" y="1524"/>
                    </a:lnTo>
                    <a:lnTo>
                      <a:pt x="1232" y="1522"/>
                    </a:lnTo>
                    <a:lnTo>
                      <a:pt x="1232" y="1524"/>
                    </a:lnTo>
                    <a:lnTo>
                      <a:pt x="1232" y="1522"/>
                    </a:lnTo>
                    <a:lnTo>
                      <a:pt x="1234" y="1522"/>
                    </a:lnTo>
                    <a:lnTo>
                      <a:pt x="1234" y="1521"/>
                    </a:lnTo>
                    <a:lnTo>
                      <a:pt x="1236" y="1521"/>
                    </a:lnTo>
                    <a:lnTo>
                      <a:pt x="1236" y="1519"/>
                    </a:lnTo>
                    <a:lnTo>
                      <a:pt x="1234" y="1519"/>
                    </a:lnTo>
                    <a:lnTo>
                      <a:pt x="1234" y="1521"/>
                    </a:lnTo>
                    <a:lnTo>
                      <a:pt x="1232" y="1521"/>
                    </a:lnTo>
                    <a:lnTo>
                      <a:pt x="1232" y="1519"/>
                    </a:lnTo>
                    <a:lnTo>
                      <a:pt x="1232" y="1517"/>
                    </a:lnTo>
                    <a:lnTo>
                      <a:pt x="1232" y="1515"/>
                    </a:lnTo>
                    <a:lnTo>
                      <a:pt x="1230" y="1514"/>
                    </a:lnTo>
                    <a:lnTo>
                      <a:pt x="1232" y="1514"/>
                    </a:lnTo>
                    <a:lnTo>
                      <a:pt x="1232" y="1512"/>
                    </a:lnTo>
                    <a:lnTo>
                      <a:pt x="1234" y="1512"/>
                    </a:lnTo>
                    <a:lnTo>
                      <a:pt x="1232" y="1512"/>
                    </a:lnTo>
                    <a:lnTo>
                      <a:pt x="1232" y="1510"/>
                    </a:lnTo>
                    <a:lnTo>
                      <a:pt x="1230" y="1510"/>
                    </a:lnTo>
                    <a:lnTo>
                      <a:pt x="1230" y="1509"/>
                    </a:lnTo>
                    <a:lnTo>
                      <a:pt x="1232" y="1509"/>
                    </a:lnTo>
                    <a:lnTo>
                      <a:pt x="1234" y="1509"/>
                    </a:lnTo>
                    <a:lnTo>
                      <a:pt x="1236" y="1507"/>
                    </a:lnTo>
                    <a:lnTo>
                      <a:pt x="1236" y="1505"/>
                    </a:lnTo>
                    <a:lnTo>
                      <a:pt x="1237" y="1505"/>
                    </a:lnTo>
                    <a:lnTo>
                      <a:pt x="1237" y="1507"/>
                    </a:lnTo>
                    <a:lnTo>
                      <a:pt x="1236" y="1507"/>
                    </a:lnTo>
                    <a:lnTo>
                      <a:pt x="1237" y="1507"/>
                    </a:lnTo>
                    <a:lnTo>
                      <a:pt x="1239" y="1505"/>
                    </a:lnTo>
                    <a:lnTo>
                      <a:pt x="1239" y="1504"/>
                    </a:lnTo>
                    <a:lnTo>
                      <a:pt x="1241" y="1502"/>
                    </a:lnTo>
                    <a:lnTo>
                      <a:pt x="1242" y="1502"/>
                    </a:lnTo>
                    <a:lnTo>
                      <a:pt x="1242" y="1504"/>
                    </a:lnTo>
                    <a:lnTo>
                      <a:pt x="1244" y="1505"/>
                    </a:lnTo>
                    <a:lnTo>
                      <a:pt x="1242" y="1505"/>
                    </a:lnTo>
                    <a:lnTo>
                      <a:pt x="1242" y="1507"/>
                    </a:lnTo>
                    <a:lnTo>
                      <a:pt x="1241" y="1509"/>
                    </a:lnTo>
                    <a:lnTo>
                      <a:pt x="1239" y="1510"/>
                    </a:lnTo>
                    <a:lnTo>
                      <a:pt x="1239" y="1512"/>
                    </a:lnTo>
                    <a:lnTo>
                      <a:pt x="1241" y="1512"/>
                    </a:lnTo>
                    <a:lnTo>
                      <a:pt x="1241" y="1510"/>
                    </a:lnTo>
                    <a:lnTo>
                      <a:pt x="1241" y="1509"/>
                    </a:lnTo>
                    <a:lnTo>
                      <a:pt x="1242" y="1509"/>
                    </a:lnTo>
                    <a:lnTo>
                      <a:pt x="1242" y="1507"/>
                    </a:lnTo>
                    <a:lnTo>
                      <a:pt x="1244" y="1507"/>
                    </a:lnTo>
                    <a:lnTo>
                      <a:pt x="1246" y="1507"/>
                    </a:lnTo>
                    <a:lnTo>
                      <a:pt x="1244" y="1509"/>
                    </a:lnTo>
                    <a:lnTo>
                      <a:pt x="1242" y="1509"/>
                    </a:lnTo>
                    <a:lnTo>
                      <a:pt x="1242" y="1510"/>
                    </a:lnTo>
                    <a:lnTo>
                      <a:pt x="1244" y="1509"/>
                    </a:lnTo>
                    <a:lnTo>
                      <a:pt x="1246" y="1507"/>
                    </a:lnTo>
                    <a:lnTo>
                      <a:pt x="1246" y="1509"/>
                    </a:lnTo>
                    <a:lnTo>
                      <a:pt x="1244" y="1509"/>
                    </a:lnTo>
                    <a:lnTo>
                      <a:pt x="1244" y="1510"/>
                    </a:lnTo>
                    <a:lnTo>
                      <a:pt x="1244" y="1509"/>
                    </a:lnTo>
                    <a:lnTo>
                      <a:pt x="1246" y="1509"/>
                    </a:lnTo>
                    <a:lnTo>
                      <a:pt x="1247" y="1507"/>
                    </a:lnTo>
                    <a:lnTo>
                      <a:pt x="1247" y="1509"/>
                    </a:lnTo>
                    <a:lnTo>
                      <a:pt x="1247" y="1507"/>
                    </a:lnTo>
                    <a:lnTo>
                      <a:pt x="1247" y="1509"/>
                    </a:lnTo>
                    <a:lnTo>
                      <a:pt x="1249" y="1510"/>
                    </a:lnTo>
                    <a:lnTo>
                      <a:pt x="1249" y="1509"/>
                    </a:lnTo>
                    <a:lnTo>
                      <a:pt x="1249" y="1507"/>
                    </a:lnTo>
                    <a:lnTo>
                      <a:pt x="1251" y="1507"/>
                    </a:lnTo>
                    <a:lnTo>
                      <a:pt x="1251" y="1505"/>
                    </a:lnTo>
                    <a:lnTo>
                      <a:pt x="1253" y="1505"/>
                    </a:lnTo>
                    <a:lnTo>
                      <a:pt x="1254" y="1504"/>
                    </a:lnTo>
                    <a:lnTo>
                      <a:pt x="1254" y="1502"/>
                    </a:lnTo>
                    <a:lnTo>
                      <a:pt x="1256" y="1502"/>
                    </a:lnTo>
                    <a:lnTo>
                      <a:pt x="1258" y="1500"/>
                    </a:lnTo>
                    <a:lnTo>
                      <a:pt x="1258" y="1498"/>
                    </a:lnTo>
                    <a:lnTo>
                      <a:pt x="1259" y="1498"/>
                    </a:lnTo>
                    <a:lnTo>
                      <a:pt x="1261" y="1498"/>
                    </a:lnTo>
                    <a:lnTo>
                      <a:pt x="1263" y="1500"/>
                    </a:lnTo>
                    <a:lnTo>
                      <a:pt x="1263" y="1498"/>
                    </a:lnTo>
                    <a:lnTo>
                      <a:pt x="1264" y="1497"/>
                    </a:lnTo>
                    <a:lnTo>
                      <a:pt x="1264" y="1498"/>
                    </a:lnTo>
                    <a:close/>
                    <a:moveTo>
                      <a:pt x="1382" y="1628"/>
                    </a:moveTo>
                    <a:lnTo>
                      <a:pt x="1383" y="1629"/>
                    </a:lnTo>
                    <a:lnTo>
                      <a:pt x="1385" y="1629"/>
                    </a:lnTo>
                    <a:lnTo>
                      <a:pt x="1385" y="1631"/>
                    </a:lnTo>
                    <a:lnTo>
                      <a:pt x="1387" y="1631"/>
                    </a:lnTo>
                    <a:lnTo>
                      <a:pt x="1387" y="1633"/>
                    </a:lnTo>
                    <a:lnTo>
                      <a:pt x="1389" y="1635"/>
                    </a:lnTo>
                    <a:lnTo>
                      <a:pt x="1389" y="1636"/>
                    </a:lnTo>
                    <a:lnTo>
                      <a:pt x="1387" y="1636"/>
                    </a:lnTo>
                    <a:lnTo>
                      <a:pt x="1385" y="1636"/>
                    </a:lnTo>
                    <a:lnTo>
                      <a:pt x="1385" y="1635"/>
                    </a:lnTo>
                    <a:lnTo>
                      <a:pt x="1383" y="1635"/>
                    </a:lnTo>
                    <a:lnTo>
                      <a:pt x="1385" y="1636"/>
                    </a:lnTo>
                    <a:lnTo>
                      <a:pt x="1385" y="1638"/>
                    </a:lnTo>
                    <a:lnTo>
                      <a:pt x="1383" y="1640"/>
                    </a:lnTo>
                    <a:lnTo>
                      <a:pt x="1382" y="1640"/>
                    </a:lnTo>
                    <a:lnTo>
                      <a:pt x="1380" y="1638"/>
                    </a:lnTo>
                    <a:lnTo>
                      <a:pt x="1378" y="1638"/>
                    </a:lnTo>
                    <a:lnTo>
                      <a:pt x="1380" y="1638"/>
                    </a:lnTo>
                    <a:lnTo>
                      <a:pt x="1380" y="1640"/>
                    </a:lnTo>
                    <a:lnTo>
                      <a:pt x="1380" y="1641"/>
                    </a:lnTo>
                    <a:lnTo>
                      <a:pt x="1378" y="1641"/>
                    </a:lnTo>
                    <a:lnTo>
                      <a:pt x="1377" y="1641"/>
                    </a:lnTo>
                    <a:lnTo>
                      <a:pt x="1375" y="1641"/>
                    </a:lnTo>
                    <a:lnTo>
                      <a:pt x="1373" y="1641"/>
                    </a:lnTo>
                    <a:lnTo>
                      <a:pt x="1373" y="1640"/>
                    </a:lnTo>
                    <a:lnTo>
                      <a:pt x="1372" y="1640"/>
                    </a:lnTo>
                    <a:lnTo>
                      <a:pt x="1370" y="1640"/>
                    </a:lnTo>
                    <a:lnTo>
                      <a:pt x="1370" y="1638"/>
                    </a:lnTo>
                    <a:lnTo>
                      <a:pt x="1368" y="1638"/>
                    </a:lnTo>
                    <a:lnTo>
                      <a:pt x="1368" y="1636"/>
                    </a:lnTo>
                    <a:lnTo>
                      <a:pt x="1366" y="1636"/>
                    </a:lnTo>
                    <a:lnTo>
                      <a:pt x="1365" y="1635"/>
                    </a:lnTo>
                    <a:lnTo>
                      <a:pt x="1363" y="1636"/>
                    </a:lnTo>
                    <a:lnTo>
                      <a:pt x="1365" y="1636"/>
                    </a:lnTo>
                    <a:lnTo>
                      <a:pt x="1366" y="1636"/>
                    </a:lnTo>
                    <a:lnTo>
                      <a:pt x="1366" y="1638"/>
                    </a:lnTo>
                    <a:lnTo>
                      <a:pt x="1366" y="1640"/>
                    </a:lnTo>
                    <a:lnTo>
                      <a:pt x="1368" y="1640"/>
                    </a:lnTo>
                    <a:lnTo>
                      <a:pt x="1370" y="1640"/>
                    </a:lnTo>
                    <a:lnTo>
                      <a:pt x="1370" y="1641"/>
                    </a:lnTo>
                    <a:lnTo>
                      <a:pt x="1372" y="1641"/>
                    </a:lnTo>
                    <a:lnTo>
                      <a:pt x="1372" y="1643"/>
                    </a:lnTo>
                    <a:lnTo>
                      <a:pt x="1372" y="1641"/>
                    </a:lnTo>
                    <a:lnTo>
                      <a:pt x="1372" y="1643"/>
                    </a:lnTo>
                    <a:lnTo>
                      <a:pt x="1373" y="1643"/>
                    </a:lnTo>
                    <a:lnTo>
                      <a:pt x="1375" y="1643"/>
                    </a:lnTo>
                    <a:lnTo>
                      <a:pt x="1375" y="1641"/>
                    </a:lnTo>
                    <a:lnTo>
                      <a:pt x="1377" y="1643"/>
                    </a:lnTo>
                    <a:lnTo>
                      <a:pt x="1378" y="1643"/>
                    </a:lnTo>
                    <a:lnTo>
                      <a:pt x="1380" y="1643"/>
                    </a:lnTo>
                    <a:lnTo>
                      <a:pt x="1382" y="1643"/>
                    </a:lnTo>
                    <a:lnTo>
                      <a:pt x="1383" y="1643"/>
                    </a:lnTo>
                    <a:lnTo>
                      <a:pt x="1385" y="1643"/>
                    </a:lnTo>
                    <a:lnTo>
                      <a:pt x="1387" y="1643"/>
                    </a:lnTo>
                    <a:lnTo>
                      <a:pt x="1387" y="1645"/>
                    </a:lnTo>
                    <a:lnTo>
                      <a:pt x="1389" y="1645"/>
                    </a:lnTo>
                    <a:lnTo>
                      <a:pt x="1390" y="1645"/>
                    </a:lnTo>
                    <a:lnTo>
                      <a:pt x="1390" y="1646"/>
                    </a:lnTo>
                    <a:lnTo>
                      <a:pt x="1389" y="1646"/>
                    </a:lnTo>
                    <a:lnTo>
                      <a:pt x="1387" y="1646"/>
                    </a:lnTo>
                    <a:lnTo>
                      <a:pt x="1389" y="1646"/>
                    </a:lnTo>
                    <a:lnTo>
                      <a:pt x="1390" y="1646"/>
                    </a:lnTo>
                    <a:lnTo>
                      <a:pt x="1392" y="1648"/>
                    </a:lnTo>
                    <a:lnTo>
                      <a:pt x="1394" y="1648"/>
                    </a:lnTo>
                    <a:lnTo>
                      <a:pt x="1394" y="1650"/>
                    </a:lnTo>
                    <a:lnTo>
                      <a:pt x="1392" y="1650"/>
                    </a:lnTo>
                    <a:lnTo>
                      <a:pt x="1390" y="1650"/>
                    </a:lnTo>
                    <a:lnTo>
                      <a:pt x="1389" y="1650"/>
                    </a:lnTo>
                    <a:lnTo>
                      <a:pt x="1387" y="1650"/>
                    </a:lnTo>
                    <a:lnTo>
                      <a:pt x="1385" y="1650"/>
                    </a:lnTo>
                    <a:lnTo>
                      <a:pt x="1383" y="1650"/>
                    </a:lnTo>
                    <a:lnTo>
                      <a:pt x="1382" y="1650"/>
                    </a:lnTo>
                    <a:lnTo>
                      <a:pt x="1383" y="1650"/>
                    </a:lnTo>
                    <a:lnTo>
                      <a:pt x="1383" y="1652"/>
                    </a:lnTo>
                    <a:lnTo>
                      <a:pt x="1382" y="1652"/>
                    </a:lnTo>
                    <a:lnTo>
                      <a:pt x="1380" y="1652"/>
                    </a:lnTo>
                    <a:lnTo>
                      <a:pt x="1378" y="1650"/>
                    </a:lnTo>
                    <a:lnTo>
                      <a:pt x="1378" y="1648"/>
                    </a:lnTo>
                    <a:lnTo>
                      <a:pt x="1377" y="1648"/>
                    </a:lnTo>
                    <a:lnTo>
                      <a:pt x="1375" y="1648"/>
                    </a:lnTo>
                    <a:lnTo>
                      <a:pt x="1377" y="1648"/>
                    </a:lnTo>
                    <a:lnTo>
                      <a:pt x="1378" y="1650"/>
                    </a:lnTo>
                    <a:lnTo>
                      <a:pt x="1377" y="1650"/>
                    </a:lnTo>
                    <a:lnTo>
                      <a:pt x="1378" y="1650"/>
                    </a:lnTo>
                    <a:lnTo>
                      <a:pt x="1378" y="1652"/>
                    </a:lnTo>
                    <a:lnTo>
                      <a:pt x="1378" y="1653"/>
                    </a:lnTo>
                    <a:lnTo>
                      <a:pt x="1380" y="1652"/>
                    </a:lnTo>
                    <a:lnTo>
                      <a:pt x="1382" y="1652"/>
                    </a:lnTo>
                    <a:lnTo>
                      <a:pt x="1380" y="1653"/>
                    </a:lnTo>
                    <a:lnTo>
                      <a:pt x="1380" y="1655"/>
                    </a:lnTo>
                    <a:lnTo>
                      <a:pt x="1382" y="1653"/>
                    </a:lnTo>
                    <a:lnTo>
                      <a:pt x="1383" y="1653"/>
                    </a:lnTo>
                    <a:lnTo>
                      <a:pt x="1385" y="1653"/>
                    </a:lnTo>
                    <a:lnTo>
                      <a:pt x="1387" y="1653"/>
                    </a:lnTo>
                    <a:lnTo>
                      <a:pt x="1389" y="1653"/>
                    </a:lnTo>
                    <a:lnTo>
                      <a:pt x="1389" y="1655"/>
                    </a:lnTo>
                    <a:lnTo>
                      <a:pt x="1390" y="1655"/>
                    </a:lnTo>
                    <a:lnTo>
                      <a:pt x="1389" y="1655"/>
                    </a:lnTo>
                    <a:lnTo>
                      <a:pt x="1389" y="1657"/>
                    </a:lnTo>
                    <a:lnTo>
                      <a:pt x="1390" y="1655"/>
                    </a:lnTo>
                    <a:lnTo>
                      <a:pt x="1392" y="1657"/>
                    </a:lnTo>
                    <a:lnTo>
                      <a:pt x="1392" y="1655"/>
                    </a:lnTo>
                    <a:lnTo>
                      <a:pt x="1394" y="1655"/>
                    </a:lnTo>
                    <a:lnTo>
                      <a:pt x="1395" y="1657"/>
                    </a:lnTo>
                    <a:lnTo>
                      <a:pt x="1394" y="1658"/>
                    </a:lnTo>
                    <a:lnTo>
                      <a:pt x="1394" y="1660"/>
                    </a:lnTo>
                    <a:lnTo>
                      <a:pt x="1395" y="1660"/>
                    </a:lnTo>
                    <a:lnTo>
                      <a:pt x="1397" y="1660"/>
                    </a:lnTo>
                    <a:lnTo>
                      <a:pt x="1399" y="1660"/>
                    </a:lnTo>
                    <a:lnTo>
                      <a:pt x="1397" y="1662"/>
                    </a:lnTo>
                    <a:lnTo>
                      <a:pt x="1395" y="1663"/>
                    </a:lnTo>
                    <a:lnTo>
                      <a:pt x="1397" y="1663"/>
                    </a:lnTo>
                    <a:lnTo>
                      <a:pt x="1397" y="1665"/>
                    </a:lnTo>
                    <a:lnTo>
                      <a:pt x="1397" y="1667"/>
                    </a:lnTo>
                    <a:lnTo>
                      <a:pt x="1399" y="1667"/>
                    </a:lnTo>
                    <a:lnTo>
                      <a:pt x="1399" y="1669"/>
                    </a:lnTo>
                    <a:lnTo>
                      <a:pt x="1399" y="1670"/>
                    </a:lnTo>
                    <a:lnTo>
                      <a:pt x="1397" y="1670"/>
                    </a:lnTo>
                    <a:lnTo>
                      <a:pt x="1399" y="1672"/>
                    </a:lnTo>
                    <a:lnTo>
                      <a:pt x="1397" y="1674"/>
                    </a:lnTo>
                    <a:lnTo>
                      <a:pt x="1397" y="1675"/>
                    </a:lnTo>
                    <a:lnTo>
                      <a:pt x="1395" y="1674"/>
                    </a:lnTo>
                    <a:lnTo>
                      <a:pt x="1395" y="1672"/>
                    </a:lnTo>
                    <a:lnTo>
                      <a:pt x="1394" y="1672"/>
                    </a:lnTo>
                    <a:lnTo>
                      <a:pt x="1395" y="1670"/>
                    </a:lnTo>
                    <a:lnTo>
                      <a:pt x="1394" y="1670"/>
                    </a:lnTo>
                    <a:lnTo>
                      <a:pt x="1394" y="1669"/>
                    </a:lnTo>
                    <a:lnTo>
                      <a:pt x="1394" y="1667"/>
                    </a:lnTo>
                    <a:lnTo>
                      <a:pt x="1394" y="1669"/>
                    </a:lnTo>
                    <a:lnTo>
                      <a:pt x="1392" y="1669"/>
                    </a:lnTo>
                    <a:lnTo>
                      <a:pt x="1392" y="1670"/>
                    </a:lnTo>
                    <a:lnTo>
                      <a:pt x="1392" y="1669"/>
                    </a:lnTo>
                    <a:lnTo>
                      <a:pt x="1390" y="1670"/>
                    </a:lnTo>
                    <a:lnTo>
                      <a:pt x="1389" y="1669"/>
                    </a:lnTo>
                    <a:lnTo>
                      <a:pt x="1390" y="1667"/>
                    </a:lnTo>
                    <a:lnTo>
                      <a:pt x="1390" y="1665"/>
                    </a:lnTo>
                    <a:lnTo>
                      <a:pt x="1392" y="1665"/>
                    </a:lnTo>
                    <a:lnTo>
                      <a:pt x="1392" y="1663"/>
                    </a:lnTo>
                    <a:lnTo>
                      <a:pt x="1390" y="1663"/>
                    </a:lnTo>
                    <a:lnTo>
                      <a:pt x="1389" y="1663"/>
                    </a:lnTo>
                    <a:lnTo>
                      <a:pt x="1389" y="1662"/>
                    </a:lnTo>
                    <a:lnTo>
                      <a:pt x="1389" y="1660"/>
                    </a:lnTo>
                    <a:lnTo>
                      <a:pt x="1387" y="1662"/>
                    </a:lnTo>
                    <a:lnTo>
                      <a:pt x="1389" y="1660"/>
                    </a:lnTo>
                    <a:lnTo>
                      <a:pt x="1387" y="1660"/>
                    </a:lnTo>
                    <a:lnTo>
                      <a:pt x="1387" y="1662"/>
                    </a:lnTo>
                    <a:lnTo>
                      <a:pt x="1385" y="1662"/>
                    </a:lnTo>
                    <a:lnTo>
                      <a:pt x="1383" y="1660"/>
                    </a:lnTo>
                    <a:lnTo>
                      <a:pt x="1383" y="1662"/>
                    </a:lnTo>
                    <a:lnTo>
                      <a:pt x="1382" y="1660"/>
                    </a:lnTo>
                    <a:lnTo>
                      <a:pt x="1380" y="1660"/>
                    </a:lnTo>
                    <a:lnTo>
                      <a:pt x="1382" y="1658"/>
                    </a:lnTo>
                    <a:lnTo>
                      <a:pt x="1382" y="1657"/>
                    </a:lnTo>
                    <a:lnTo>
                      <a:pt x="1380" y="1657"/>
                    </a:lnTo>
                    <a:lnTo>
                      <a:pt x="1380" y="1658"/>
                    </a:lnTo>
                    <a:lnTo>
                      <a:pt x="1380" y="1657"/>
                    </a:lnTo>
                    <a:lnTo>
                      <a:pt x="1378" y="1657"/>
                    </a:lnTo>
                    <a:lnTo>
                      <a:pt x="1380" y="1658"/>
                    </a:lnTo>
                    <a:lnTo>
                      <a:pt x="1378" y="1658"/>
                    </a:lnTo>
                    <a:lnTo>
                      <a:pt x="1380" y="1660"/>
                    </a:lnTo>
                    <a:lnTo>
                      <a:pt x="1378" y="1658"/>
                    </a:lnTo>
                    <a:lnTo>
                      <a:pt x="1378" y="1660"/>
                    </a:lnTo>
                    <a:lnTo>
                      <a:pt x="1377" y="1660"/>
                    </a:lnTo>
                    <a:lnTo>
                      <a:pt x="1375" y="1660"/>
                    </a:lnTo>
                    <a:lnTo>
                      <a:pt x="1375" y="1658"/>
                    </a:lnTo>
                    <a:lnTo>
                      <a:pt x="1373" y="1658"/>
                    </a:lnTo>
                    <a:lnTo>
                      <a:pt x="1373" y="1660"/>
                    </a:lnTo>
                    <a:lnTo>
                      <a:pt x="1372" y="1660"/>
                    </a:lnTo>
                    <a:lnTo>
                      <a:pt x="1373" y="1660"/>
                    </a:lnTo>
                    <a:lnTo>
                      <a:pt x="1375" y="1662"/>
                    </a:lnTo>
                    <a:lnTo>
                      <a:pt x="1373" y="1662"/>
                    </a:lnTo>
                    <a:lnTo>
                      <a:pt x="1373" y="1663"/>
                    </a:lnTo>
                    <a:lnTo>
                      <a:pt x="1372" y="1662"/>
                    </a:lnTo>
                    <a:lnTo>
                      <a:pt x="1370" y="1662"/>
                    </a:lnTo>
                    <a:lnTo>
                      <a:pt x="1370" y="1660"/>
                    </a:lnTo>
                    <a:lnTo>
                      <a:pt x="1368" y="1660"/>
                    </a:lnTo>
                    <a:lnTo>
                      <a:pt x="1368" y="1658"/>
                    </a:lnTo>
                    <a:lnTo>
                      <a:pt x="1366" y="1658"/>
                    </a:lnTo>
                    <a:lnTo>
                      <a:pt x="1368" y="1658"/>
                    </a:lnTo>
                    <a:lnTo>
                      <a:pt x="1368" y="1657"/>
                    </a:lnTo>
                    <a:lnTo>
                      <a:pt x="1370" y="1655"/>
                    </a:lnTo>
                    <a:lnTo>
                      <a:pt x="1372" y="1655"/>
                    </a:lnTo>
                    <a:lnTo>
                      <a:pt x="1373" y="1655"/>
                    </a:lnTo>
                    <a:lnTo>
                      <a:pt x="1373" y="1657"/>
                    </a:lnTo>
                    <a:lnTo>
                      <a:pt x="1373" y="1655"/>
                    </a:lnTo>
                    <a:lnTo>
                      <a:pt x="1372" y="1655"/>
                    </a:lnTo>
                    <a:lnTo>
                      <a:pt x="1370" y="1655"/>
                    </a:lnTo>
                    <a:lnTo>
                      <a:pt x="1368" y="1657"/>
                    </a:lnTo>
                    <a:lnTo>
                      <a:pt x="1366" y="1657"/>
                    </a:lnTo>
                    <a:lnTo>
                      <a:pt x="1368" y="1655"/>
                    </a:lnTo>
                    <a:lnTo>
                      <a:pt x="1368" y="1653"/>
                    </a:lnTo>
                    <a:lnTo>
                      <a:pt x="1370" y="1653"/>
                    </a:lnTo>
                    <a:lnTo>
                      <a:pt x="1368" y="1653"/>
                    </a:lnTo>
                    <a:lnTo>
                      <a:pt x="1370" y="1653"/>
                    </a:lnTo>
                    <a:lnTo>
                      <a:pt x="1370" y="1652"/>
                    </a:lnTo>
                    <a:lnTo>
                      <a:pt x="1370" y="1650"/>
                    </a:lnTo>
                    <a:lnTo>
                      <a:pt x="1370" y="1648"/>
                    </a:lnTo>
                    <a:lnTo>
                      <a:pt x="1372" y="1648"/>
                    </a:lnTo>
                    <a:lnTo>
                      <a:pt x="1372" y="1646"/>
                    </a:lnTo>
                    <a:lnTo>
                      <a:pt x="1370" y="1646"/>
                    </a:lnTo>
                    <a:lnTo>
                      <a:pt x="1372" y="1645"/>
                    </a:lnTo>
                    <a:lnTo>
                      <a:pt x="1373" y="1643"/>
                    </a:lnTo>
                    <a:lnTo>
                      <a:pt x="1372" y="1643"/>
                    </a:lnTo>
                    <a:lnTo>
                      <a:pt x="1372" y="1645"/>
                    </a:lnTo>
                    <a:lnTo>
                      <a:pt x="1370" y="1645"/>
                    </a:lnTo>
                    <a:lnTo>
                      <a:pt x="1370" y="1646"/>
                    </a:lnTo>
                    <a:lnTo>
                      <a:pt x="1370" y="1645"/>
                    </a:lnTo>
                    <a:lnTo>
                      <a:pt x="1368" y="1646"/>
                    </a:lnTo>
                    <a:lnTo>
                      <a:pt x="1368" y="1645"/>
                    </a:lnTo>
                    <a:lnTo>
                      <a:pt x="1368" y="1646"/>
                    </a:lnTo>
                    <a:lnTo>
                      <a:pt x="1366" y="1646"/>
                    </a:lnTo>
                    <a:lnTo>
                      <a:pt x="1368" y="1646"/>
                    </a:lnTo>
                    <a:lnTo>
                      <a:pt x="1366" y="1648"/>
                    </a:lnTo>
                    <a:lnTo>
                      <a:pt x="1366" y="1650"/>
                    </a:lnTo>
                    <a:lnTo>
                      <a:pt x="1366" y="1648"/>
                    </a:lnTo>
                    <a:lnTo>
                      <a:pt x="1365" y="1650"/>
                    </a:lnTo>
                    <a:lnTo>
                      <a:pt x="1365" y="1648"/>
                    </a:lnTo>
                    <a:lnTo>
                      <a:pt x="1363" y="1648"/>
                    </a:lnTo>
                    <a:lnTo>
                      <a:pt x="1363" y="1646"/>
                    </a:lnTo>
                    <a:lnTo>
                      <a:pt x="1361" y="1645"/>
                    </a:lnTo>
                    <a:lnTo>
                      <a:pt x="1361" y="1643"/>
                    </a:lnTo>
                    <a:lnTo>
                      <a:pt x="1361" y="1645"/>
                    </a:lnTo>
                    <a:lnTo>
                      <a:pt x="1361" y="1646"/>
                    </a:lnTo>
                    <a:lnTo>
                      <a:pt x="1363" y="1648"/>
                    </a:lnTo>
                    <a:lnTo>
                      <a:pt x="1361" y="1648"/>
                    </a:lnTo>
                    <a:lnTo>
                      <a:pt x="1360" y="1646"/>
                    </a:lnTo>
                    <a:lnTo>
                      <a:pt x="1360" y="1648"/>
                    </a:lnTo>
                    <a:lnTo>
                      <a:pt x="1360" y="1646"/>
                    </a:lnTo>
                    <a:lnTo>
                      <a:pt x="1358" y="1646"/>
                    </a:lnTo>
                    <a:lnTo>
                      <a:pt x="1360" y="1646"/>
                    </a:lnTo>
                    <a:lnTo>
                      <a:pt x="1358" y="1646"/>
                    </a:lnTo>
                    <a:lnTo>
                      <a:pt x="1358" y="1645"/>
                    </a:lnTo>
                    <a:lnTo>
                      <a:pt x="1358" y="1643"/>
                    </a:lnTo>
                    <a:lnTo>
                      <a:pt x="1356" y="1645"/>
                    </a:lnTo>
                    <a:lnTo>
                      <a:pt x="1356" y="1646"/>
                    </a:lnTo>
                    <a:lnTo>
                      <a:pt x="1358" y="1646"/>
                    </a:lnTo>
                    <a:lnTo>
                      <a:pt x="1358" y="1648"/>
                    </a:lnTo>
                    <a:lnTo>
                      <a:pt x="1356" y="1648"/>
                    </a:lnTo>
                    <a:lnTo>
                      <a:pt x="1356" y="1646"/>
                    </a:lnTo>
                    <a:lnTo>
                      <a:pt x="1356" y="1648"/>
                    </a:lnTo>
                    <a:lnTo>
                      <a:pt x="1355" y="1646"/>
                    </a:lnTo>
                    <a:lnTo>
                      <a:pt x="1355" y="1648"/>
                    </a:lnTo>
                    <a:lnTo>
                      <a:pt x="1356" y="1648"/>
                    </a:lnTo>
                    <a:lnTo>
                      <a:pt x="1358" y="1648"/>
                    </a:lnTo>
                    <a:lnTo>
                      <a:pt x="1358" y="1650"/>
                    </a:lnTo>
                    <a:lnTo>
                      <a:pt x="1356" y="1650"/>
                    </a:lnTo>
                    <a:lnTo>
                      <a:pt x="1356" y="1652"/>
                    </a:lnTo>
                    <a:lnTo>
                      <a:pt x="1355" y="1650"/>
                    </a:lnTo>
                    <a:lnTo>
                      <a:pt x="1353" y="1650"/>
                    </a:lnTo>
                    <a:lnTo>
                      <a:pt x="1355" y="1650"/>
                    </a:lnTo>
                    <a:lnTo>
                      <a:pt x="1353" y="1650"/>
                    </a:lnTo>
                    <a:lnTo>
                      <a:pt x="1351" y="1650"/>
                    </a:lnTo>
                    <a:lnTo>
                      <a:pt x="1353" y="1650"/>
                    </a:lnTo>
                    <a:lnTo>
                      <a:pt x="1351" y="1648"/>
                    </a:lnTo>
                    <a:lnTo>
                      <a:pt x="1351" y="1650"/>
                    </a:lnTo>
                    <a:lnTo>
                      <a:pt x="1351" y="1652"/>
                    </a:lnTo>
                    <a:lnTo>
                      <a:pt x="1351" y="1650"/>
                    </a:lnTo>
                    <a:lnTo>
                      <a:pt x="1353" y="1650"/>
                    </a:lnTo>
                    <a:lnTo>
                      <a:pt x="1355" y="1652"/>
                    </a:lnTo>
                    <a:lnTo>
                      <a:pt x="1356" y="1652"/>
                    </a:lnTo>
                    <a:lnTo>
                      <a:pt x="1355" y="1652"/>
                    </a:lnTo>
                    <a:lnTo>
                      <a:pt x="1355" y="1653"/>
                    </a:lnTo>
                    <a:lnTo>
                      <a:pt x="1356" y="1653"/>
                    </a:lnTo>
                    <a:lnTo>
                      <a:pt x="1356" y="1655"/>
                    </a:lnTo>
                    <a:lnTo>
                      <a:pt x="1356" y="1657"/>
                    </a:lnTo>
                    <a:lnTo>
                      <a:pt x="1358" y="1655"/>
                    </a:lnTo>
                    <a:lnTo>
                      <a:pt x="1358" y="1657"/>
                    </a:lnTo>
                    <a:lnTo>
                      <a:pt x="1360" y="1658"/>
                    </a:lnTo>
                    <a:lnTo>
                      <a:pt x="1358" y="1658"/>
                    </a:lnTo>
                    <a:lnTo>
                      <a:pt x="1356" y="1658"/>
                    </a:lnTo>
                    <a:lnTo>
                      <a:pt x="1356" y="1660"/>
                    </a:lnTo>
                    <a:lnTo>
                      <a:pt x="1358" y="1658"/>
                    </a:lnTo>
                    <a:lnTo>
                      <a:pt x="1358" y="1660"/>
                    </a:lnTo>
                    <a:lnTo>
                      <a:pt x="1356" y="1660"/>
                    </a:lnTo>
                    <a:lnTo>
                      <a:pt x="1358" y="1660"/>
                    </a:lnTo>
                    <a:lnTo>
                      <a:pt x="1360" y="1660"/>
                    </a:lnTo>
                    <a:lnTo>
                      <a:pt x="1358" y="1662"/>
                    </a:lnTo>
                    <a:lnTo>
                      <a:pt x="1360" y="1660"/>
                    </a:lnTo>
                    <a:lnTo>
                      <a:pt x="1360" y="1662"/>
                    </a:lnTo>
                    <a:lnTo>
                      <a:pt x="1360" y="1660"/>
                    </a:lnTo>
                    <a:lnTo>
                      <a:pt x="1361" y="1660"/>
                    </a:lnTo>
                    <a:lnTo>
                      <a:pt x="1363" y="1660"/>
                    </a:lnTo>
                    <a:lnTo>
                      <a:pt x="1363" y="1662"/>
                    </a:lnTo>
                    <a:lnTo>
                      <a:pt x="1361" y="1660"/>
                    </a:lnTo>
                    <a:lnTo>
                      <a:pt x="1360" y="1660"/>
                    </a:lnTo>
                    <a:lnTo>
                      <a:pt x="1361" y="1662"/>
                    </a:lnTo>
                    <a:lnTo>
                      <a:pt x="1360" y="1662"/>
                    </a:lnTo>
                    <a:lnTo>
                      <a:pt x="1361" y="1662"/>
                    </a:lnTo>
                    <a:lnTo>
                      <a:pt x="1363" y="1662"/>
                    </a:lnTo>
                    <a:lnTo>
                      <a:pt x="1361" y="1663"/>
                    </a:lnTo>
                    <a:lnTo>
                      <a:pt x="1360" y="1663"/>
                    </a:lnTo>
                    <a:lnTo>
                      <a:pt x="1360" y="1662"/>
                    </a:lnTo>
                    <a:lnTo>
                      <a:pt x="1360" y="1663"/>
                    </a:lnTo>
                    <a:lnTo>
                      <a:pt x="1360" y="1662"/>
                    </a:lnTo>
                    <a:lnTo>
                      <a:pt x="1358" y="1662"/>
                    </a:lnTo>
                    <a:lnTo>
                      <a:pt x="1358" y="1663"/>
                    </a:lnTo>
                    <a:lnTo>
                      <a:pt x="1356" y="1663"/>
                    </a:lnTo>
                    <a:lnTo>
                      <a:pt x="1355" y="1663"/>
                    </a:lnTo>
                    <a:lnTo>
                      <a:pt x="1355" y="1662"/>
                    </a:lnTo>
                    <a:lnTo>
                      <a:pt x="1355" y="1660"/>
                    </a:lnTo>
                    <a:lnTo>
                      <a:pt x="1355" y="1658"/>
                    </a:lnTo>
                    <a:lnTo>
                      <a:pt x="1355" y="1660"/>
                    </a:lnTo>
                    <a:lnTo>
                      <a:pt x="1353" y="1660"/>
                    </a:lnTo>
                    <a:lnTo>
                      <a:pt x="1355" y="1660"/>
                    </a:lnTo>
                    <a:lnTo>
                      <a:pt x="1355" y="1662"/>
                    </a:lnTo>
                    <a:lnTo>
                      <a:pt x="1353" y="1662"/>
                    </a:lnTo>
                    <a:lnTo>
                      <a:pt x="1355" y="1662"/>
                    </a:lnTo>
                    <a:lnTo>
                      <a:pt x="1353" y="1662"/>
                    </a:lnTo>
                    <a:lnTo>
                      <a:pt x="1353" y="1663"/>
                    </a:lnTo>
                    <a:lnTo>
                      <a:pt x="1353" y="1665"/>
                    </a:lnTo>
                    <a:lnTo>
                      <a:pt x="1351" y="1663"/>
                    </a:lnTo>
                    <a:lnTo>
                      <a:pt x="1353" y="1662"/>
                    </a:lnTo>
                    <a:lnTo>
                      <a:pt x="1351" y="1660"/>
                    </a:lnTo>
                    <a:lnTo>
                      <a:pt x="1351" y="1658"/>
                    </a:lnTo>
                    <a:lnTo>
                      <a:pt x="1349" y="1658"/>
                    </a:lnTo>
                    <a:lnTo>
                      <a:pt x="1349" y="1657"/>
                    </a:lnTo>
                    <a:lnTo>
                      <a:pt x="1351" y="1657"/>
                    </a:lnTo>
                    <a:lnTo>
                      <a:pt x="1353" y="1657"/>
                    </a:lnTo>
                    <a:lnTo>
                      <a:pt x="1351" y="1657"/>
                    </a:lnTo>
                    <a:lnTo>
                      <a:pt x="1349" y="1657"/>
                    </a:lnTo>
                    <a:lnTo>
                      <a:pt x="1349" y="1655"/>
                    </a:lnTo>
                    <a:lnTo>
                      <a:pt x="1351" y="1655"/>
                    </a:lnTo>
                    <a:lnTo>
                      <a:pt x="1349" y="1655"/>
                    </a:lnTo>
                    <a:lnTo>
                      <a:pt x="1348" y="1657"/>
                    </a:lnTo>
                    <a:lnTo>
                      <a:pt x="1346" y="1657"/>
                    </a:lnTo>
                    <a:lnTo>
                      <a:pt x="1344" y="1657"/>
                    </a:lnTo>
                    <a:lnTo>
                      <a:pt x="1344" y="1655"/>
                    </a:lnTo>
                    <a:lnTo>
                      <a:pt x="1346" y="1655"/>
                    </a:lnTo>
                    <a:lnTo>
                      <a:pt x="1348" y="1653"/>
                    </a:lnTo>
                    <a:lnTo>
                      <a:pt x="1346" y="1655"/>
                    </a:lnTo>
                    <a:lnTo>
                      <a:pt x="1346" y="1653"/>
                    </a:lnTo>
                    <a:lnTo>
                      <a:pt x="1344" y="1653"/>
                    </a:lnTo>
                    <a:lnTo>
                      <a:pt x="1344" y="1655"/>
                    </a:lnTo>
                    <a:lnTo>
                      <a:pt x="1343" y="1655"/>
                    </a:lnTo>
                    <a:lnTo>
                      <a:pt x="1343" y="1653"/>
                    </a:lnTo>
                    <a:lnTo>
                      <a:pt x="1344" y="1653"/>
                    </a:lnTo>
                    <a:lnTo>
                      <a:pt x="1344" y="1652"/>
                    </a:lnTo>
                    <a:lnTo>
                      <a:pt x="1343" y="1653"/>
                    </a:lnTo>
                    <a:lnTo>
                      <a:pt x="1341" y="1653"/>
                    </a:lnTo>
                    <a:lnTo>
                      <a:pt x="1339" y="1653"/>
                    </a:lnTo>
                    <a:lnTo>
                      <a:pt x="1338" y="1653"/>
                    </a:lnTo>
                    <a:lnTo>
                      <a:pt x="1339" y="1653"/>
                    </a:lnTo>
                    <a:lnTo>
                      <a:pt x="1339" y="1652"/>
                    </a:lnTo>
                    <a:lnTo>
                      <a:pt x="1341" y="1652"/>
                    </a:lnTo>
                    <a:lnTo>
                      <a:pt x="1339" y="1650"/>
                    </a:lnTo>
                    <a:lnTo>
                      <a:pt x="1341" y="1650"/>
                    </a:lnTo>
                    <a:lnTo>
                      <a:pt x="1343" y="1650"/>
                    </a:lnTo>
                    <a:lnTo>
                      <a:pt x="1344" y="1650"/>
                    </a:lnTo>
                    <a:lnTo>
                      <a:pt x="1346" y="1650"/>
                    </a:lnTo>
                    <a:lnTo>
                      <a:pt x="1348" y="1650"/>
                    </a:lnTo>
                    <a:lnTo>
                      <a:pt x="1346" y="1650"/>
                    </a:lnTo>
                    <a:lnTo>
                      <a:pt x="1344" y="1650"/>
                    </a:lnTo>
                    <a:lnTo>
                      <a:pt x="1343" y="1650"/>
                    </a:lnTo>
                    <a:lnTo>
                      <a:pt x="1344" y="1650"/>
                    </a:lnTo>
                    <a:lnTo>
                      <a:pt x="1344" y="1648"/>
                    </a:lnTo>
                    <a:lnTo>
                      <a:pt x="1343" y="1650"/>
                    </a:lnTo>
                    <a:lnTo>
                      <a:pt x="1343" y="1648"/>
                    </a:lnTo>
                    <a:lnTo>
                      <a:pt x="1344" y="1646"/>
                    </a:lnTo>
                    <a:lnTo>
                      <a:pt x="1346" y="1646"/>
                    </a:lnTo>
                    <a:lnTo>
                      <a:pt x="1348" y="1646"/>
                    </a:lnTo>
                    <a:lnTo>
                      <a:pt x="1348" y="1645"/>
                    </a:lnTo>
                    <a:lnTo>
                      <a:pt x="1349" y="1645"/>
                    </a:lnTo>
                    <a:lnTo>
                      <a:pt x="1349" y="1643"/>
                    </a:lnTo>
                    <a:lnTo>
                      <a:pt x="1348" y="1645"/>
                    </a:lnTo>
                    <a:lnTo>
                      <a:pt x="1346" y="1645"/>
                    </a:lnTo>
                    <a:lnTo>
                      <a:pt x="1344" y="1646"/>
                    </a:lnTo>
                    <a:lnTo>
                      <a:pt x="1343" y="1646"/>
                    </a:lnTo>
                    <a:lnTo>
                      <a:pt x="1343" y="1648"/>
                    </a:lnTo>
                    <a:lnTo>
                      <a:pt x="1341" y="1648"/>
                    </a:lnTo>
                    <a:lnTo>
                      <a:pt x="1339" y="1648"/>
                    </a:lnTo>
                    <a:lnTo>
                      <a:pt x="1339" y="1650"/>
                    </a:lnTo>
                    <a:lnTo>
                      <a:pt x="1338" y="1650"/>
                    </a:lnTo>
                    <a:lnTo>
                      <a:pt x="1336" y="1650"/>
                    </a:lnTo>
                    <a:lnTo>
                      <a:pt x="1334" y="1650"/>
                    </a:lnTo>
                    <a:lnTo>
                      <a:pt x="1336" y="1648"/>
                    </a:lnTo>
                    <a:lnTo>
                      <a:pt x="1334" y="1648"/>
                    </a:lnTo>
                    <a:lnTo>
                      <a:pt x="1332" y="1648"/>
                    </a:lnTo>
                    <a:lnTo>
                      <a:pt x="1332" y="1646"/>
                    </a:lnTo>
                    <a:lnTo>
                      <a:pt x="1334" y="1648"/>
                    </a:lnTo>
                    <a:lnTo>
                      <a:pt x="1336" y="1646"/>
                    </a:lnTo>
                    <a:lnTo>
                      <a:pt x="1334" y="1645"/>
                    </a:lnTo>
                    <a:lnTo>
                      <a:pt x="1332" y="1645"/>
                    </a:lnTo>
                    <a:lnTo>
                      <a:pt x="1331" y="1645"/>
                    </a:lnTo>
                    <a:lnTo>
                      <a:pt x="1332" y="1645"/>
                    </a:lnTo>
                    <a:lnTo>
                      <a:pt x="1334" y="1645"/>
                    </a:lnTo>
                    <a:lnTo>
                      <a:pt x="1336" y="1645"/>
                    </a:lnTo>
                    <a:lnTo>
                      <a:pt x="1338" y="1645"/>
                    </a:lnTo>
                    <a:lnTo>
                      <a:pt x="1336" y="1643"/>
                    </a:lnTo>
                    <a:lnTo>
                      <a:pt x="1336" y="1645"/>
                    </a:lnTo>
                    <a:lnTo>
                      <a:pt x="1334" y="1645"/>
                    </a:lnTo>
                    <a:lnTo>
                      <a:pt x="1332" y="1643"/>
                    </a:lnTo>
                    <a:lnTo>
                      <a:pt x="1334" y="1643"/>
                    </a:lnTo>
                    <a:lnTo>
                      <a:pt x="1332" y="1643"/>
                    </a:lnTo>
                    <a:lnTo>
                      <a:pt x="1331" y="1643"/>
                    </a:lnTo>
                    <a:lnTo>
                      <a:pt x="1331" y="1641"/>
                    </a:lnTo>
                    <a:lnTo>
                      <a:pt x="1331" y="1640"/>
                    </a:lnTo>
                    <a:lnTo>
                      <a:pt x="1332" y="1640"/>
                    </a:lnTo>
                    <a:lnTo>
                      <a:pt x="1332" y="1641"/>
                    </a:lnTo>
                    <a:lnTo>
                      <a:pt x="1334" y="1641"/>
                    </a:lnTo>
                    <a:lnTo>
                      <a:pt x="1332" y="1641"/>
                    </a:lnTo>
                    <a:lnTo>
                      <a:pt x="1332" y="1640"/>
                    </a:lnTo>
                    <a:lnTo>
                      <a:pt x="1334" y="1640"/>
                    </a:lnTo>
                    <a:lnTo>
                      <a:pt x="1334" y="1638"/>
                    </a:lnTo>
                    <a:lnTo>
                      <a:pt x="1336" y="1638"/>
                    </a:lnTo>
                    <a:lnTo>
                      <a:pt x="1338" y="1638"/>
                    </a:lnTo>
                    <a:lnTo>
                      <a:pt x="1339" y="1638"/>
                    </a:lnTo>
                    <a:lnTo>
                      <a:pt x="1339" y="1636"/>
                    </a:lnTo>
                    <a:lnTo>
                      <a:pt x="1341" y="1636"/>
                    </a:lnTo>
                    <a:lnTo>
                      <a:pt x="1343" y="1636"/>
                    </a:lnTo>
                    <a:lnTo>
                      <a:pt x="1343" y="1638"/>
                    </a:lnTo>
                    <a:lnTo>
                      <a:pt x="1343" y="1636"/>
                    </a:lnTo>
                    <a:lnTo>
                      <a:pt x="1344" y="1636"/>
                    </a:lnTo>
                    <a:lnTo>
                      <a:pt x="1346" y="1636"/>
                    </a:lnTo>
                    <a:lnTo>
                      <a:pt x="1346" y="1638"/>
                    </a:lnTo>
                    <a:lnTo>
                      <a:pt x="1346" y="1640"/>
                    </a:lnTo>
                    <a:lnTo>
                      <a:pt x="1348" y="1640"/>
                    </a:lnTo>
                    <a:lnTo>
                      <a:pt x="1346" y="1640"/>
                    </a:lnTo>
                    <a:lnTo>
                      <a:pt x="1348" y="1641"/>
                    </a:lnTo>
                    <a:lnTo>
                      <a:pt x="1348" y="1643"/>
                    </a:lnTo>
                    <a:lnTo>
                      <a:pt x="1346" y="1643"/>
                    </a:lnTo>
                    <a:lnTo>
                      <a:pt x="1348" y="1641"/>
                    </a:lnTo>
                    <a:lnTo>
                      <a:pt x="1348" y="1640"/>
                    </a:lnTo>
                    <a:lnTo>
                      <a:pt x="1348" y="1638"/>
                    </a:lnTo>
                    <a:lnTo>
                      <a:pt x="1346" y="1638"/>
                    </a:lnTo>
                    <a:lnTo>
                      <a:pt x="1348" y="1638"/>
                    </a:lnTo>
                    <a:lnTo>
                      <a:pt x="1346" y="1636"/>
                    </a:lnTo>
                    <a:lnTo>
                      <a:pt x="1346" y="1635"/>
                    </a:lnTo>
                    <a:lnTo>
                      <a:pt x="1348" y="1635"/>
                    </a:lnTo>
                    <a:lnTo>
                      <a:pt x="1349" y="1635"/>
                    </a:lnTo>
                    <a:lnTo>
                      <a:pt x="1351" y="1635"/>
                    </a:lnTo>
                    <a:lnTo>
                      <a:pt x="1351" y="1636"/>
                    </a:lnTo>
                    <a:lnTo>
                      <a:pt x="1349" y="1636"/>
                    </a:lnTo>
                    <a:lnTo>
                      <a:pt x="1351" y="1636"/>
                    </a:lnTo>
                    <a:lnTo>
                      <a:pt x="1353" y="1636"/>
                    </a:lnTo>
                    <a:lnTo>
                      <a:pt x="1355" y="1636"/>
                    </a:lnTo>
                    <a:lnTo>
                      <a:pt x="1353" y="1636"/>
                    </a:lnTo>
                    <a:lnTo>
                      <a:pt x="1353" y="1635"/>
                    </a:lnTo>
                    <a:lnTo>
                      <a:pt x="1353" y="1633"/>
                    </a:lnTo>
                    <a:lnTo>
                      <a:pt x="1355" y="1633"/>
                    </a:lnTo>
                    <a:lnTo>
                      <a:pt x="1356" y="1633"/>
                    </a:lnTo>
                    <a:lnTo>
                      <a:pt x="1358" y="1633"/>
                    </a:lnTo>
                    <a:lnTo>
                      <a:pt x="1358" y="1635"/>
                    </a:lnTo>
                    <a:lnTo>
                      <a:pt x="1360" y="1635"/>
                    </a:lnTo>
                    <a:lnTo>
                      <a:pt x="1358" y="1635"/>
                    </a:lnTo>
                    <a:lnTo>
                      <a:pt x="1358" y="1633"/>
                    </a:lnTo>
                    <a:lnTo>
                      <a:pt x="1360" y="1633"/>
                    </a:lnTo>
                    <a:lnTo>
                      <a:pt x="1361" y="1631"/>
                    </a:lnTo>
                    <a:lnTo>
                      <a:pt x="1361" y="1633"/>
                    </a:lnTo>
                    <a:lnTo>
                      <a:pt x="1363" y="1631"/>
                    </a:lnTo>
                    <a:lnTo>
                      <a:pt x="1363" y="1633"/>
                    </a:lnTo>
                    <a:lnTo>
                      <a:pt x="1365" y="1633"/>
                    </a:lnTo>
                    <a:lnTo>
                      <a:pt x="1365" y="1631"/>
                    </a:lnTo>
                    <a:lnTo>
                      <a:pt x="1366" y="1631"/>
                    </a:lnTo>
                    <a:lnTo>
                      <a:pt x="1368" y="1631"/>
                    </a:lnTo>
                    <a:lnTo>
                      <a:pt x="1370" y="1631"/>
                    </a:lnTo>
                    <a:lnTo>
                      <a:pt x="1372" y="1631"/>
                    </a:lnTo>
                    <a:lnTo>
                      <a:pt x="1373" y="1631"/>
                    </a:lnTo>
                    <a:lnTo>
                      <a:pt x="1373" y="1629"/>
                    </a:lnTo>
                    <a:lnTo>
                      <a:pt x="1375" y="1629"/>
                    </a:lnTo>
                    <a:lnTo>
                      <a:pt x="1377" y="1629"/>
                    </a:lnTo>
                    <a:lnTo>
                      <a:pt x="1378" y="1629"/>
                    </a:lnTo>
                    <a:lnTo>
                      <a:pt x="1380" y="1628"/>
                    </a:lnTo>
                    <a:lnTo>
                      <a:pt x="1382" y="1628"/>
                    </a:lnTo>
                    <a:close/>
                    <a:moveTo>
                      <a:pt x="1229" y="1539"/>
                    </a:moveTo>
                    <a:lnTo>
                      <a:pt x="1230" y="1539"/>
                    </a:lnTo>
                    <a:lnTo>
                      <a:pt x="1229" y="1541"/>
                    </a:lnTo>
                    <a:lnTo>
                      <a:pt x="1229" y="1543"/>
                    </a:lnTo>
                    <a:lnTo>
                      <a:pt x="1229" y="1541"/>
                    </a:lnTo>
                    <a:lnTo>
                      <a:pt x="1230" y="1541"/>
                    </a:lnTo>
                    <a:lnTo>
                      <a:pt x="1230" y="1543"/>
                    </a:lnTo>
                    <a:lnTo>
                      <a:pt x="1229" y="1544"/>
                    </a:lnTo>
                    <a:lnTo>
                      <a:pt x="1230" y="1544"/>
                    </a:lnTo>
                    <a:lnTo>
                      <a:pt x="1230" y="1546"/>
                    </a:lnTo>
                    <a:lnTo>
                      <a:pt x="1230" y="1544"/>
                    </a:lnTo>
                    <a:lnTo>
                      <a:pt x="1230" y="1543"/>
                    </a:lnTo>
                    <a:lnTo>
                      <a:pt x="1230" y="1541"/>
                    </a:lnTo>
                    <a:lnTo>
                      <a:pt x="1230" y="1539"/>
                    </a:lnTo>
                    <a:lnTo>
                      <a:pt x="1230" y="1541"/>
                    </a:lnTo>
                    <a:lnTo>
                      <a:pt x="1232" y="1541"/>
                    </a:lnTo>
                    <a:lnTo>
                      <a:pt x="1232" y="1543"/>
                    </a:lnTo>
                    <a:lnTo>
                      <a:pt x="1232" y="1541"/>
                    </a:lnTo>
                    <a:lnTo>
                      <a:pt x="1234" y="1543"/>
                    </a:lnTo>
                    <a:lnTo>
                      <a:pt x="1232" y="1543"/>
                    </a:lnTo>
                    <a:lnTo>
                      <a:pt x="1234" y="1543"/>
                    </a:lnTo>
                    <a:lnTo>
                      <a:pt x="1234" y="1544"/>
                    </a:lnTo>
                    <a:lnTo>
                      <a:pt x="1232" y="1544"/>
                    </a:lnTo>
                    <a:lnTo>
                      <a:pt x="1232" y="1546"/>
                    </a:lnTo>
                    <a:lnTo>
                      <a:pt x="1232" y="1548"/>
                    </a:lnTo>
                    <a:lnTo>
                      <a:pt x="1234" y="1546"/>
                    </a:lnTo>
                    <a:lnTo>
                      <a:pt x="1232" y="1546"/>
                    </a:lnTo>
                    <a:lnTo>
                      <a:pt x="1234" y="1544"/>
                    </a:lnTo>
                    <a:lnTo>
                      <a:pt x="1234" y="1546"/>
                    </a:lnTo>
                    <a:lnTo>
                      <a:pt x="1236" y="1546"/>
                    </a:lnTo>
                    <a:lnTo>
                      <a:pt x="1234" y="1548"/>
                    </a:lnTo>
                    <a:lnTo>
                      <a:pt x="1232" y="1548"/>
                    </a:lnTo>
                    <a:lnTo>
                      <a:pt x="1234" y="1548"/>
                    </a:lnTo>
                    <a:lnTo>
                      <a:pt x="1236" y="1548"/>
                    </a:lnTo>
                    <a:lnTo>
                      <a:pt x="1234" y="1548"/>
                    </a:lnTo>
                    <a:lnTo>
                      <a:pt x="1234" y="1549"/>
                    </a:lnTo>
                    <a:lnTo>
                      <a:pt x="1236" y="1549"/>
                    </a:lnTo>
                    <a:lnTo>
                      <a:pt x="1234" y="1551"/>
                    </a:lnTo>
                    <a:lnTo>
                      <a:pt x="1234" y="1553"/>
                    </a:lnTo>
                    <a:lnTo>
                      <a:pt x="1234" y="1555"/>
                    </a:lnTo>
                    <a:lnTo>
                      <a:pt x="1236" y="1555"/>
                    </a:lnTo>
                    <a:lnTo>
                      <a:pt x="1236" y="1553"/>
                    </a:lnTo>
                    <a:lnTo>
                      <a:pt x="1234" y="1553"/>
                    </a:lnTo>
                    <a:lnTo>
                      <a:pt x="1236" y="1551"/>
                    </a:lnTo>
                    <a:lnTo>
                      <a:pt x="1236" y="1549"/>
                    </a:lnTo>
                    <a:lnTo>
                      <a:pt x="1237" y="1549"/>
                    </a:lnTo>
                    <a:lnTo>
                      <a:pt x="1236" y="1548"/>
                    </a:lnTo>
                    <a:lnTo>
                      <a:pt x="1236" y="1546"/>
                    </a:lnTo>
                    <a:lnTo>
                      <a:pt x="1236" y="1544"/>
                    </a:lnTo>
                    <a:lnTo>
                      <a:pt x="1234" y="1543"/>
                    </a:lnTo>
                    <a:lnTo>
                      <a:pt x="1236" y="1543"/>
                    </a:lnTo>
                    <a:lnTo>
                      <a:pt x="1237" y="1544"/>
                    </a:lnTo>
                    <a:lnTo>
                      <a:pt x="1237" y="1546"/>
                    </a:lnTo>
                    <a:lnTo>
                      <a:pt x="1239" y="1546"/>
                    </a:lnTo>
                    <a:lnTo>
                      <a:pt x="1239" y="1548"/>
                    </a:lnTo>
                    <a:lnTo>
                      <a:pt x="1239" y="1549"/>
                    </a:lnTo>
                    <a:lnTo>
                      <a:pt x="1241" y="1551"/>
                    </a:lnTo>
                    <a:lnTo>
                      <a:pt x="1239" y="1551"/>
                    </a:lnTo>
                    <a:lnTo>
                      <a:pt x="1239" y="1553"/>
                    </a:lnTo>
                    <a:lnTo>
                      <a:pt x="1241" y="1551"/>
                    </a:lnTo>
                    <a:lnTo>
                      <a:pt x="1241" y="1553"/>
                    </a:lnTo>
                    <a:lnTo>
                      <a:pt x="1241" y="1555"/>
                    </a:lnTo>
                    <a:lnTo>
                      <a:pt x="1242" y="1553"/>
                    </a:lnTo>
                    <a:lnTo>
                      <a:pt x="1242" y="1551"/>
                    </a:lnTo>
                    <a:lnTo>
                      <a:pt x="1242" y="1549"/>
                    </a:lnTo>
                    <a:lnTo>
                      <a:pt x="1241" y="1549"/>
                    </a:lnTo>
                    <a:lnTo>
                      <a:pt x="1241" y="1548"/>
                    </a:lnTo>
                    <a:lnTo>
                      <a:pt x="1242" y="1548"/>
                    </a:lnTo>
                    <a:lnTo>
                      <a:pt x="1242" y="1549"/>
                    </a:lnTo>
                    <a:lnTo>
                      <a:pt x="1242" y="1548"/>
                    </a:lnTo>
                    <a:lnTo>
                      <a:pt x="1244" y="1549"/>
                    </a:lnTo>
                    <a:lnTo>
                      <a:pt x="1246" y="1549"/>
                    </a:lnTo>
                    <a:lnTo>
                      <a:pt x="1247" y="1549"/>
                    </a:lnTo>
                    <a:lnTo>
                      <a:pt x="1247" y="1551"/>
                    </a:lnTo>
                    <a:lnTo>
                      <a:pt x="1249" y="1551"/>
                    </a:lnTo>
                    <a:lnTo>
                      <a:pt x="1247" y="1553"/>
                    </a:lnTo>
                    <a:lnTo>
                      <a:pt x="1249" y="1553"/>
                    </a:lnTo>
                    <a:lnTo>
                      <a:pt x="1249" y="1551"/>
                    </a:lnTo>
                    <a:lnTo>
                      <a:pt x="1249" y="1553"/>
                    </a:lnTo>
                    <a:lnTo>
                      <a:pt x="1251" y="1553"/>
                    </a:lnTo>
                    <a:lnTo>
                      <a:pt x="1249" y="1555"/>
                    </a:lnTo>
                    <a:lnTo>
                      <a:pt x="1247" y="1555"/>
                    </a:lnTo>
                    <a:lnTo>
                      <a:pt x="1246" y="1555"/>
                    </a:lnTo>
                    <a:lnTo>
                      <a:pt x="1244" y="1555"/>
                    </a:lnTo>
                    <a:lnTo>
                      <a:pt x="1242" y="1555"/>
                    </a:lnTo>
                    <a:lnTo>
                      <a:pt x="1242" y="1556"/>
                    </a:lnTo>
                    <a:lnTo>
                      <a:pt x="1242" y="1558"/>
                    </a:lnTo>
                    <a:lnTo>
                      <a:pt x="1244" y="1558"/>
                    </a:lnTo>
                    <a:lnTo>
                      <a:pt x="1242" y="1558"/>
                    </a:lnTo>
                    <a:lnTo>
                      <a:pt x="1244" y="1558"/>
                    </a:lnTo>
                    <a:lnTo>
                      <a:pt x="1246" y="1558"/>
                    </a:lnTo>
                    <a:lnTo>
                      <a:pt x="1244" y="1558"/>
                    </a:lnTo>
                    <a:lnTo>
                      <a:pt x="1242" y="1558"/>
                    </a:lnTo>
                    <a:lnTo>
                      <a:pt x="1244" y="1556"/>
                    </a:lnTo>
                    <a:lnTo>
                      <a:pt x="1246" y="1556"/>
                    </a:lnTo>
                    <a:lnTo>
                      <a:pt x="1247" y="1555"/>
                    </a:lnTo>
                    <a:lnTo>
                      <a:pt x="1247" y="1556"/>
                    </a:lnTo>
                    <a:lnTo>
                      <a:pt x="1249" y="1556"/>
                    </a:lnTo>
                    <a:lnTo>
                      <a:pt x="1247" y="1556"/>
                    </a:lnTo>
                    <a:lnTo>
                      <a:pt x="1249" y="1556"/>
                    </a:lnTo>
                    <a:lnTo>
                      <a:pt x="1249" y="1558"/>
                    </a:lnTo>
                    <a:lnTo>
                      <a:pt x="1247" y="1558"/>
                    </a:lnTo>
                    <a:lnTo>
                      <a:pt x="1249" y="1558"/>
                    </a:lnTo>
                    <a:lnTo>
                      <a:pt x="1247" y="1558"/>
                    </a:lnTo>
                    <a:lnTo>
                      <a:pt x="1247" y="1560"/>
                    </a:lnTo>
                    <a:lnTo>
                      <a:pt x="1249" y="1560"/>
                    </a:lnTo>
                    <a:lnTo>
                      <a:pt x="1249" y="1558"/>
                    </a:lnTo>
                    <a:lnTo>
                      <a:pt x="1249" y="1556"/>
                    </a:lnTo>
                    <a:lnTo>
                      <a:pt x="1251" y="1556"/>
                    </a:lnTo>
                    <a:lnTo>
                      <a:pt x="1253" y="1556"/>
                    </a:lnTo>
                    <a:lnTo>
                      <a:pt x="1251" y="1558"/>
                    </a:lnTo>
                    <a:lnTo>
                      <a:pt x="1253" y="1558"/>
                    </a:lnTo>
                    <a:lnTo>
                      <a:pt x="1253" y="1556"/>
                    </a:lnTo>
                    <a:lnTo>
                      <a:pt x="1254" y="1558"/>
                    </a:lnTo>
                    <a:lnTo>
                      <a:pt x="1256" y="1558"/>
                    </a:lnTo>
                    <a:lnTo>
                      <a:pt x="1254" y="1560"/>
                    </a:lnTo>
                    <a:lnTo>
                      <a:pt x="1253" y="1560"/>
                    </a:lnTo>
                    <a:lnTo>
                      <a:pt x="1254" y="1560"/>
                    </a:lnTo>
                    <a:lnTo>
                      <a:pt x="1256" y="1560"/>
                    </a:lnTo>
                    <a:lnTo>
                      <a:pt x="1258" y="1560"/>
                    </a:lnTo>
                    <a:lnTo>
                      <a:pt x="1258" y="1561"/>
                    </a:lnTo>
                    <a:lnTo>
                      <a:pt x="1259" y="1563"/>
                    </a:lnTo>
                    <a:lnTo>
                      <a:pt x="1258" y="1563"/>
                    </a:lnTo>
                    <a:lnTo>
                      <a:pt x="1256" y="1563"/>
                    </a:lnTo>
                    <a:lnTo>
                      <a:pt x="1254" y="1563"/>
                    </a:lnTo>
                    <a:lnTo>
                      <a:pt x="1256" y="1563"/>
                    </a:lnTo>
                    <a:lnTo>
                      <a:pt x="1258" y="1565"/>
                    </a:lnTo>
                    <a:lnTo>
                      <a:pt x="1256" y="1565"/>
                    </a:lnTo>
                    <a:lnTo>
                      <a:pt x="1256" y="1566"/>
                    </a:lnTo>
                    <a:lnTo>
                      <a:pt x="1254" y="1566"/>
                    </a:lnTo>
                    <a:lnTo>
                      <a:pt x="1253" y="1565"/>
                    </a:lnTo>
                    <a:lnTo>
                      <a:pt x="1251" y="1563"/>
                    </a:lnTo>
                    <a:lnTo>
                      <a:pt x="1251" y="1565"/>
                    </a:lnTo>
                    <a:lnTo>
                      <a:pt x="1249" y="1565"/>
                    </a:lnTo>
                    <a:lnTo>
                      <a:pt x="1247" y="1565"/>
                    </a:lnTo>
                    <a:lnTo>
                      <a:pt x="1249" y="1565"/>
                    </a:lnTo>
                    <a:lnTo>
                      <a:pt x="1251" y="1565"/>
                    </a:lnTo>
                    <a:lnTo>
                      <a:pt x="1253" y="1565"/>
                    </a:lnTo>
                    <a:lnTo>
                      <a:pt x="1251" y="1566"/>
                    </a:lnTo>
                    <a:lnTo>
                      <a:pt x="1253" y="1566"/>
                    </a:lnTo>
                    <a:lnTo>
                      <a:pt x="1253" y="1568"/>
                    </a:lnTo>
                    <a:lnTo>
                      <a:pt x="1253" y="1570"/>
                    </a:lnTo>
                    <a:lnTo>
                      <a:pt x="1251" y="1570"/>
                    </a:lnTo>
                    <a:lnTo>
                      <a:pt x="1251" y="1568"/>
                    </a:lnTo>
                    <a:lnTo>
                      <a:pt x="1251" y="1570"/>
                    </a:lnTo>
                    <a:lnTo>
                      <a:pt x="1251" y="1568"/>
                    </a:lnTo>
                    <a:lnTo>
                      <a:pt x="1249" y="1568"/>
                    </a:lnTo>
                    <a:lnTo>
                      <a:pt x="1247" y="1568"/>
                    </a:lnTo>
                    <a:lnTo>
                      <a:pt x="1249" y="1568"/>
                    </a:lnTo>
                    <a:lnTo>
                      <a:pt x="1249" y="1570"/>
                    </a:lnTo>
                    <a:lnTo>
                      <a:pt x="1251" y="1570"/>
                    </a:lnTo>
                    <a:lnTo>
                      <a:pt x="1251" y="1572"/>
                    </a:lnTo>
                    <a:lnTo>
                      <a:pt x="1249" y="1572"/>
                    </a:lnTo>
                    <a:lnTo>
                      <a:pt x="1247" y="1572"/>
                    </a:lnTo>
                    <a:lnTo>
                      <a:pt x="1249" y="1572"/>
                    </a:lnTo>
                    <a:lnTo>
                      <a:pt x="1251" y="1573"/>
                    </a:lnTo>
                    <a:lnTo>
                      <a:pt x="1251" y="1575"/>
                    </a:lnTo>
                    <a:lnTo>
                      <a:pt x="1251" y="1573"/>
                    </a:lnTo>
                    <a:lnTo>
                      <a:pt x="1253" y="1575"/>
                    </a:lnTo>
                    <a:lnTo>
                      <a:pt x="1253" y="1577"/>
                    </a:lnTo>
                    <a:lnTo>
                      <a:pt x="1251" y="1577"/>
                    </a:lnTo>
                    <a:lnTo>
                      <a:pt x="1249" y="1577"/>
                    </a:lnTo>
                    <a:lnTo>
                      <a:pt x="1249" y="1578"/>
                    </a:lnTo>
                    <a:lnTo>
                      <a:pt x="1247" y="1578"/>
                    </a:lnTo>
                    <a:lnTo>
                      <a:pt x="1247" y="1577"/>
                    </a:lnTo>
                    <a:lnTo>
                      <a:pt x="1247" y="1575"/>
                    </a:lnTo>
                    <a:lnTo>
                      <a:pt x="1246" y="1575"/>
                    </a:lnTo>
                    <a:lnTo>
                      <a:pt x="1247" y="1575"/>
                    </a:lnTo>
                    <a:lnTo>
                      <a:pt x="1247" y="1573"/>
                    </a:lnTo>
                    <a:lnTo>
                      <a:pt x="1247" y="1572"/>
                    </a:lnTo>
                    <a:lnTo>
                      <a:pt x="1247" y="1573"/>
                    </a:lnTo>
                    <a:lnTo>
                      <a:pt x="1247" y="1575"/>
                    </a:lnTo>
                    <a:lnTo>
                      <a:pt x="1246" y="1575"/>
                    </a:lnTo>
                    <a:lnTo>
                      <a:pt x="1246" y="1573"/>
                    </a:lnTo>
                    <a:lnTo>
                      <a:pt x="1244" y="1575"/>
                    </a:lnTo>
                    <a:lnTo>
                      <a:pt x="1246" y="1575"/>
                    </a:lnTo>
                    <a:lnTo>
                      <a:pt x="1244" y="1575"/>
                    </a:lnTo>
                    <a:lnTo>
                      <a:pt x="1244" y="1577"/>
                    </a:lnTo>
                    <a:lnTo>
                      <a:pt x="1246" y="1577"/>
                    </a:lnTo>
                    <a:lnTo>
                      <a:pt x="1246" y="1578"/>
                    </a:lnTo>
                    <a:lnTo>
                      <a:pt x="1246" y="1580"/>
                    </a:lnTo>
                    <a:lnTo>
                      <a:pt x="1246" y="1578"/>
                    </a:lnTo>
                    <a:lnTo>
                      <a:pt x="1246" y="1580"/>
                    </a:lnTo>
                    <a:lnTo>
                      <a:pt x="1244" y="1580"/>
                    </a:lnTo>
                    <a:lnTo>
                      <a:pt x="1244" y="1578"/>
                    </a:lnTo>
                    <a:lnTo>
                      <a:pt x="1242" y="1580"/>
                    </a:lnTo>
                    <a:lnTo>
                      <a:pt x="1242" y="1578"/>
                    </a:lnTo>
                    <a:lnTo>
                      <a:pt x="1242" y="1580"/>
                    </a:lnTo>
                    <a:lnTo>
                      <a:pt x="1242" y="1578"/>
                    </a:lnTo>
                    <a:lnTo>
                      <a:pt x="1244" y="1577"/>
                    </a:lnTo>
                    <a:lnTo>
                      <a:pt x="1242" y="1577"/>
                    </a:lnTo>
                    <a:lnTo>
                      <a:pt x="1242" y="1578"/>
                    </a:lnTo>
                    <a:lnTo>
                      <a:pt x="1241" y="1580"/>
                    </a:lnTo>
                    <a:lnTo>
                      <a:pt x="1241" y="1578"/>
                    </a:lnTo>
                    <a:lnTo>
                      <a:pt x="1242" y="1577"/>
                    </a:lnTo>
                    <a:lnTo>
                      <a:pt x="1242" y="1575"/>
                    </a:lnTo>
                    <a:lnTo>
                      <a:pt x="1242" y="1577"/>
                    </a:lnTo>
                    <a:lnTo>
                      <a:pt x="1241" y="1578"/>
                    </a:lnTo>
                    <a:lnTo>
                      <a:pt x="1241" y="1580"/>
                    </a:lnTo>
                    <a:lnTo>
                      <a:pt x="1239" y="1578"/>
                    </a:lnTo>
                    <a:lnTo>
                      <a:pt x="1239" y="1580"/>
                    </a:lnTo>
                    <a:lnTo>
                      <a:pt x="1241" y="1580"/>
                    </a:lnTo>
                    <a:lnTo>
                      <a:pt x="1239" y="1582"/>
                    </a:lnTo>
                    <a:lnTo>
                      <a:pt x="1237" y="1580"/>
                    </a:lnTo>
                    <a:lnTo>
                      <a:pt x="1237" y="1582"/>
                    </a:lnTo>
                    <a:lnTo>
                      <a:pt x="1237" y="1580"/>
                    </a:lnTo>
                    <a:lnTo>
                      <a:pt x="1236" y="1580"/>
                    </a:lnTo>
                    <a:lnTo>
                      <a:pt x="1237" y="1580"/>
                    </a:lnTo>
                    <a:lnTo>
                      <a:pt x="1236" y="1580"/>
                    </a:lnTo>
                    <a:lnTo>
                      <a:pt x="1236" y="1582"/>
                    </a:lnTo>
                    <a:lnTo>
                      <a:pt x="1234" y="1582"/>
                    </a:lnTo>
                    <a:lnTo>
                      <a:pt x="1232" y="1582"/>
                    </a:lnTo>
                    <a:lnTo>
                      <a:pt x="1230" y="1582"/>
                    </a:lnTo>
                    <a:lnTo>
                      <a:pt x="1232" y="1580"/>
                    </a:lnTo>
                    <a:lnTo>
                      <a:pt x="1232" y="1582"/>
                    </a:lnTo>
                    <a:lnTo>
                      <a:pt x="1232" y="1580"/>
                    </a:lnTo>
                    <a:lnTo>
                      <a:pt x="1234" y="1580"/>
                    </a:lnTo>
                    <a:lnTo>
                      <a:pt x="1232" y="1580"/>
                    </a:lnTo>
                    <a:lnTo>
                      <a:pt x="1234" y="1580"/>
                    </a:lnTo>
                    <a:lnTo>
                      <a:pt x="1234" y="1578"/>
                    </a:lnTo>
                    <a:lnTo>
                      <a:pt x="1232" y="1580"/>
                    </a:lnTo>
                    <a:lnTo>
                      <a:pt x="1232" y="1578"/>
                    </a:lnTo>
                    <a:lnTo>
                      <a:pt x="1232" y="1580"/>
                    </a:lnTo>
                    <a:lnTo>
                      <a:pt x="1230" y="1580"/>
                    </a:lnTo>
                    <a:lnTo>
                      <a:pt x="1229" y="1580"/>
                    </a:lnTo>
                    <a:lnTo>
                      <a:pt x="1227" y="1578"/>
                    </a:lnTo>
                    <a:lnTo>
                      <a:pt x="1229" y="1578"/>
                    </a:lnTo>
                    <a:lnTo>
                      <a:pt x="1230" y="1578"/>
                    </a:lnTo>
                    <a:lnTo>
                      <a:pt x="1232" y="1578"/>
                    </a:lnTo>
                    <a:lnTo>
                      <a:pt x="1234" y="1578"/>
                    </a:lnTo>
                    <a:lnTo>
                      <a:pt x="1236" y="1578"/>
                    </a:lnTo>
                    <a:lnTo>
                      <a:pt x="1237" y="1580"/>
                    </a:lnTo>
                    <a:lnTo>
                      <a:pt x="1237" y="1578"/>
                    </a:lnTo>
                    <a:lnTo>
                      <a:pt x="1236" y="1578"/>
                    </a:lnTo>
                    <a:lnTo>
                      <a:pt x="1234" y="1578"/>
                    </a:lnTo>
                    <a:lnTo>
                      <a:pt x="1234" y="1577"/>
                    </a:lnTo>
                    <a:lnTo>
                      <a:pt x="1232" y="1578"/>
                    </a:lnTo>
                    <a:lnTo>
                      <a:pt x="1232" y="1577"/>
                    </a:lnTo>
                    <a:lnTo>
                      <a:pt x="1230" y="1578"/>
                    </a:lnTo>
                    <a:lnTo>
                      <a:pt x="1232" y="1577"/>
                    </a:lnTo>
                    <a:lnTo>
                      <a:pt x="1230" y="1575"/>
                    </a:lnTo>
                    <a:lnTo>
                      <a:pt x="1232" y="1577"/>
                    </a:lnTo>
                    <a:lnTo>
                      <a:pt x="1234" y="1577"/>
                    </a:lnTo>
                    <a:lnTo>
                      <a:pt x="1236" y="1577"/>
                    </a:lnTo>
                    <a:lnTo>
                      <a:pt x="1234" y="1577"/>
                    </a:lnTo>
                    <a:lnTo>
                      <a:pt x="1236" y="1577"/>
                    </a:lnTo>
                    <a:lnTo>
                      <a:pt x="1237" y="1577"/>
                    </a:lnTo>
                    <a:lnTo>
                      <a:pt x="1237" y="1578"/>
                    </a:lnTo>
                    <a:lnTo>
                      <a:pt x="1239" y="1578"/>
                    </a:lnTo>
                    <a:lnTo>
                      <a:pt x="1237" y="1577"/>
                    </a:lnTo>
                    <a:lnTo>
                      <a:pt x="1239" y="1577"/>
                    </a:lnTo>
                    <a:lnTo>
                      <a:pt x="1237" y="1577"/>
                    </a:lnTo>
                    <a:lnTo>
                      <a:pt x="1236" y="1577"/>
                    </a:lnTo>
                    <a:lnTo>
                      <a:pt x="1237" y="1575"/>
                    </a:lnTo>
                    <a:lnTo>
                      <a:pt x="1236" y="1575"/>
                    </a:lnTo>
                    <a:lnTo>
                      <a:pt x="1234" y="1575"/>
                    </a:lnTo>
                    <a:lnTo>
                      <a:pt x="1236" y="1575"/>
                    </a:lnTo>
                    <a:lnTo>
                      <a:pt x="1237" y="1575"/>
                    </a:lnTo>
                    <a:lnTo>
                      <a:pt x="1237" y="1573"/>
                    </a:lnTo>
                    <a:lnTo>
                      <a:pt x="1236" y="1575"/>
                    </a:lnTo>
                    <a:lnTo>
                      <a:pt x="1237" y="1573"/>
                    </a:lnTo>
                    <a:lnTo>
                      <a:pt x="1236" y="1573"/>
                    </a:lnTo>
                    <a:lnTo>
                      <a:pt x="1234" y="1573"/>
                    </a:lnTo>
                    <a:lnTo>
                      <a:pt x="1236" y="1572"/>
                    </a:lnTo>
                    <a:lnTo>
                      <a:pt x="1237" y="1572"/>
                    </a:lnTo>
                    <a:lnTo>
                      <a:pt x="1239" y="1572"/>
                    </a:lnTo>
                    <a:lnTo>
                      <a:pt x="1239" y="1573"/>
                    </a:lnTo>
                    <a:lnTo>
                      <a:pt x="1241" y="1573"/>
                    </a:lnTo>
                    <a:lnTo>
                      <a:pt x="1239" y="1573"/>
                    </a:lnTo>
                    <a:lnTo>
                      <a:pt x="1239" y="1572"/>
                    </a:lnTo>
                    <a:lnTo>
                      <a:pt x="1237" y="1572"/>
                    </a:lnTo>
                    <a:lnTo>
                      <a:pt x="1237" y="1570"/>
                    </a:lnTo>
                    <a:lnTo>
                      <a:pt x="1237" y="1572"/>
                    </a:lnTo>
                    <a:lnTo>
                      <a:pt x="1237" y="1570"/>
                    </a:lnTo>
                    <a:lnTo>
                      <a:pt x="1239" y="1568"/>
                    </a:lnTo>
                    <a:lnTo>
                      <a:pt x="1241" y="1568"/>
                    </a:lnTo>
                    <a:lnTo>
                      <a:pt x="1242" y="1568"/>
                    </a:lnTo>
                    <a:lnTo>
                      <a:pt x="1242" y="1566"/>
                    </a:lnTo>
                    <a:lnTo>
                      <a:pt x="1241" y="1566"/>
                    </a:lnTo>
                    <a:lnTo>
                      <a:pt x="1241" y="1568"/>
                    </a:lnTo>
                    <a:lnTo>
                      <a:pt x="1241" y="1566"/>
                    </a:lnTo>
                    <a:lnTo>
                      <a:pt x="1239" y="1566"/>
                    </a:lnTo>
                    <a:lnTo>
                      <a:pt x="1241" y="1566"/>
                    </a:lnTo>
                    <a:lnTo>
                      <a:pt x="1239" y="1566"/>
                    </a:lnTo>
                    <a:lnTo>
                      <a:pt x="1239" y="1568"/>
                    </a:lnTo>
                    <a:lnTo>
                      <a:pt x="1237" y="1568"/>
                    </a:lnTo>
                    <a:lnTo>
                      <a:pt x="1237" y="1570"/>
                    </a:lnTo>
                    <a:lnTo>
                      <a:pt x="1237" y="1568"/>
                    </a:lnTo>
                    <a:lnTo>
                      <a:pt x="1237" y="1566"/>
                    </a:lnTo>
                    <a:lnTo>
                      <a:pt x="1239" y="1566"/>
                    </a:lnTo>
                    <a:lnTo>
                      <a:pt x="1239" y="1565"/>
                    </a:lnTo>
                    <a:lnTo>
                      <a:pt x="1237" y="1566"/>
                    </a:lnTo>
                    <a:lnTo>
                      <a:pt x="1236" y="1568"/>
                    </a:lnTo>
                    <a:lnTo>
                      <a:pt x="1237" y="1568"/>
                    </a:lnTo>
                    <a:lnTo>
                      <a:pt x="1236" y="1568"/>
                    </a:lnTo>
                    <a:lnTo>
                      <a:pt x="1237" y="1570"/>
                    </a:lnTo>
                    <a:lnTo>
                      <a:pt x="1236" y="1570"/>
                    </a:lnTo>
                    <a:lnTo>
                      <a:pt x="1236" y="1572"/>
                    </a:lnTo>
                    <a:lnTo>
                      <a:pt x="1234" y="1572"/>
                    </a:lnTo>
                    <a:lnTo>
                      <a:pt x="1232" y="1572"/>
                    </a:lnTo>
                    <a:lnTo>
                      <a:pt x="1234" y="1572"/>
                    </a:lnTo>
                    <a:lnTo>
                      <a:pt x="1232" y="1572"/>
                    </a:lnTo>
                    <a:lnTo>
                      <a:pt x="1232" y="1570"/>
                    </a:lnTo>
                    <a:lnTo>
                      <a:pt x="1234" y="1570"/>
                    </a:lnTo>
                    <a:lnTo>
                      <a:pt x="1236" y="1570"/>
                    </a:lnTo>
                    <a:lnTo>
                      <a:pt x="1234" y="1570"/>
                    </a:lnTo>
                    <a:lnTo>
                      <a:pt x="1234" y="1568"/>
                    </a:lnTo>
                    <a:lnTo>
                      <a:pt x="1236" y="1568"/>
                    </a:lnTo>
                    <a:lnTo>
                      <a:pt x="1236" y="1566"/>
                    </a:lnTo>
                    <a:lnTo>
                      <a:pt x="1236" y="1565"/>
                    </a:lnTo>
                    <a:lnTo>
                      <a:pt x="1236" y="1563"/>
                    </a:lnTo>
                    <a:lnTo>
                      <a:pt x="1237" y="1563"/>
                    </a:lnTo>
                    <a:lnTo>
                      <a:pt x="1237" y="1561"/>
                    </a:lnTo>
                    <a:lnTo>
                      <a:pt x="1239" y="1561"/>
                    </a:lnTo>
                    <a:lnTo>
                      <a:pt x="1239" y="1560"/>
                    </a:lnTo>
                    <a:lnTo>
                      <a:pt x="1237" y="1561"/>
                    </a:lnTo>
                    <a:lnTo>
                      <a:pt x="1237" y="1563"/>
                    </a:lnTo>
                    <a:lnTo>
                      <a:pt x="1236" y="1561"/>
                    </a:lnTo>
                    <a:lnTo>
                      <a:pt x="1236" y="1563"/>
                    </a:lnTo>
                    <a:lnTo>
                      <a:pt x="1234" y="1563"/>
                    </a:lnTo>
                    <a:lnTo>
                      <a:pt x="1236" y="1563"/>
                    </a:lnTo>
                    <a:lnTo>
                      <a:pt x="1236" y="1565"/>
                    </a:lnTo>
                    <a:lnTo>
                      <a:pt x="1236" y="1566"/>
                    </a:lnTo>
                    <a:lnTo>
                      <a:pt x="1234" y="1566"/>
                    </a:lnTo>
                    <a:lnTo>
                      <a:pt x="1234" y="1568"/>
                    </a:lnTo>
                    <a:lnTo>
                      <a:pt x="1232" y="1568"/>
                    </a:lnTo>
                    <a:lnTo>
                      <a:pt x="1230" y="1568"/>
                    </a:lnTo>
                    <a:lnTo>
                      <a:pt x="1232" y="1568"/>
                    </a:lnTo>
                    <a:lnTo>
                      <a:pt x="1232" y="1566"/>
                    </a:lnTo>
                    <a:lnTo>
                      <a:pt x="1230" y="1568"/>
                    </a:lnTo>
                    <a:lnTo>
                      <a:pt x="1229" y="1568"/>
                    </a:lnTo>
                    <a:lnTo>
                      <a:pt x="1229" y="1566"/>
                    </a:lnTo>
                    <a:lnTo>
                      <a:pt x="1230" y="1566"/>
                    </a:lnTo>
                    <a:lnTo>
                      <a:pt x="1229" y="1565"/>
                    </a:lnTo>
                    <a:lnTo>
                      <a:pt x="1230" y="1565"/>
                    </a:lnTo>
                    <a:lnTo>
                      <a:pt x="1232" y="1565"/>
                    </a:lnTo>
                    <a:lnTo>
                      <a:pt x="1234" y="1565"/>
                    </a:lnTo>
                    <a:lnTo>
                      <a:pt x="1232" y="1565"/>
                    </a:lnTo>
                    <a:lnTo>
                      <a:pt x="1230" y="1565"/>
                    </a:lnTo>
                    <a:lnTo>
                      <a:pt x="1229" y="1565"/>
                    </a:lnTo>
                    <a:lnTo>
                      <a:pt x="1230" y="1563"/>
                    </a:lnTo>
                    <a:lnTo>
                      <a:pt x="1229" y="1563"/>
                    </a:lnTo>
                    <a:lnTo>
                      <a:pt x="1229" y="1565"/>
                    </a:lnTo>
                    <a:lnTo>
                      <a:pt x="1229" y="1563"/>
                    </a:lnTo>
                    <a:lnTo>
                      <a:pt x="1230" y="1563"/>
                    </a:lnTo>
                    <a:lnTo>
                      <a:pt x="1232" y="1563"/>
                    </a:lnTo>
                    <a:lnTo>
                      <a:pt x="1230" y="1563"/>
                    </a:lnTo>
                    <a:lnTo>
                      <a:pt x="1230" y="1561"/>
                    </a:lnTo>
                    <a:lnTo>
                      <a:pt x="1232" y="1561"/>
                    </a:lnTo>
                    <a:lnTo>
                      <a:pt x="1234" y="1561"/>
                    </a:lnTo>
                    <a:lnTo>
                      <a:pt x="1234" y="1560"/>
                    </a:lnTo>
                    <a:lnTo>
                      <a:pt x="1236" y="1560"/>
                    </a:lnTo>
                    <a:lnTo>
                      <a:pt x="1237" y="1560"/>
                    </a:lnTo>
                    <a:lnTo>
                      <a:pt x="1236" y="1560"/>
                    </a:lnTo>
                    <a:lnTo>
                      <a:pt x="1236" y="1558"/>
                    </a:lnTo>
                    <a:lnTo>
                      <a:pt x="1236" y="1556"/>
                    </a:lnTo>
                    <a:lnTo>
                      <a:pt x="1236" y="1558"/>
                    </a:lnTo>
                    <a:lnTo>
                      <a:pt x="1234" y="1558"/>
                    </a:lnTo>
                    <a:lnTo>
                      <a:pt x="1236" y="1558"/>
                    </a:lnTo>
                    <a:lnTo>
                      <a:pt x="1234" y="1560"/>
                    </a:lnTo>
                    <a:lnTo>
                      <a:pt x="1234" y="1558"/>
                    </a:lnTo>
                    <a:lnTo>
                      <a:pt x="1232" y="1558"/>
                    </a:lnTo>
                    <a:lnTo>
                      <a:pt x="1230" y="1558"/>
                    </a:lnTo>
                    <a:lnTo>
                      <a:pt x="1230" y="1556"/>
                    </a:lnTo>
                    <a:lnTo>
                      <a:pt x="1229" y="1558"/>
                    </a:lnTo>
                    <a:lnTo>
                      <a:pt x="1229" y="1556"/>
                    </a:lnTo>
                    <a:lnTo>
                      <a:pt x="1227" y="1556"/>
                    </a:lnTo>
                    <a:lnTo>
                      <a:pt x="1225" y="1556"/>
                    </a:lnTo>
                    <a:lnTo>
                      <a:pt x="1224" y="1556"/>
                    </a:lnTo>
                    <a:lnTo>
                      <a:pt x="1225" y="1556"/>
                    </a:lnTo>
                    <a:lnTo>
                      <a:pt x="1225" y="1555"/>
                    </a:lnTo>
                    <a:lnTo>
                      <a:pt x="1227" y="1555"/>
                    </a:lnTo>
                    <a:lnTo>
                      <a:pt x="1229" y="1556"/>
                    </a:lnTo>
                    <a:lnTo>
                      <a:pt x="1229" y="1555"/>
                    </a:lnTo>
                    <a:lnTo>
                      <a:pt x="1230" y="1555"/>
                    </a:lnTo>
                    <a:lnTo>
                      <a:pt x="1232" y="1555"/>
                    </a:lnTo>
                    <a:lnTo>
                      <a:pt x="1232" y="1553"/>
                    </a:lnTo>
                    <a:lnTo>
                      <a:pt x="1230" y="1551"/>
                    </a:lnTo>
                    <a:lnTo>
                      <a:pt x="1230" y="1553"/>
                    </a:lnTo>
                    <a:lnTo>
                      <a:pt x="1230" y="1555"/>
                    </a:lnTo>
                    <a:lnTo>
                      <a:pt x="1230" y="1553"/>
                    </a:lnTo>
                    <a:lnTo>
                      <a:pt x="1229" y="1555"/>
                    </a:lnTo>
                    <a:lnTo>
                      <a:pt x="1227" y="1553"/>
                    </a:lnTo>
                    <a:lnTo>
                      <a:pt x="1227" y="1555"/>
                    </a:lnTo>
                    <a:lnTo>
                      <a:pt x="1227" y="1553"/>
                    </a:lnTo>
                    <a:lnTo>
                      <a:pt x="1229" y="1553"/>
                    </a:lnTo>
                    <a:lnTo>
                      <a:pt x="1229" y="1551"/>
                    </a:lnTo>
                    <a:lnTo>
                      <a:pt x="1230" y="1551"/>
                    </a:lnTo>
                    <a:lnTo>
                      <a:pt x="1230" y="1549"/>
                    </a:lnTo>
                    <a:lnTo>
                      <a:pt x="1229" y="1549"/>
                    </a:lnTo>
                    <a:lnTo>
                      <a:pt x="1229" y="1551"/>
                    </a:lnTo>
                    <a:lnTo>
                      <a:pt x="1227" y="1549"/>
                    </a:lnTo>
                    <a:lnTo>
                      <a:pt x="1227" y="1551"/>
                    </a:lnTo>
                    <a:lnTo>
                      <a:pt x="1229" y="1551"/>
                    </a:lnTo>
                    <a:lnTo>
                      <a:pt x="1227" y="1551"/>
                    </a:lnTo>
                    <a:lnTo>
                      <a:pt x="1227" y="1553"/>
                    </a:lnTo>
                    <a:lnTo>
                      <a:pt x="1227" y="1555"/>
                    </a:lnTo>
                    <a:lnTo>
                      <a:pt x="1225" y="1553"/>
                    </a:lnTo>
                    <a:lnTo>
                      <a:pt x="1224" y="1555"/>
                    </a:lnTo>
                    <a:lnTo>
                      <a:pt x="1224" y="1553"/>
                    </a:lnTo>
                    <a:lnTo>
                      <a:pt x="1225" y="1551"/>
                    </a:lnTo>
                    <a:lnTo>
                      <a:pt x="1225" y="1553"/>
                    </a:lnTo>
                    <a:lnTo>
                      <a:pt x="1224" y="1553"/>
                    </a:lnTo>
                    <a:lnTo>
                      <a:pt x="1222" y="1553"/>
                    </a:lnTo>
                    <a:lnTo>
                      <a:pt x="1220" y="1553"/>
                    </a:lnTo>
                    <a:lnTo>
                      <a:pt x="1222" y="1551"/>
                    </a:lnTo>
                    <a:lnTo>
                      <a:pt x="1220" y="1551"/>
                    </a:lnTo>
                    <a:lnTo>
                      <a:pt x="1222" y="1551"/>
                    </a:lnTo>
                    <a:lnTo>
                      <a:pt x="1220" y="1551"/>
                    </a:lnTo>
                    <a:lnTo>
                      <a:pt x="1222" y="1551"/>
                    </a:lnTo>
                    <a:lnTo>
                      <a:pt x="1222" y="1549"/>
                    </a:lnTo>
                    <a:lnTo>
                      <a:pt x="1224" y="1549"/>
                    </a:lnTo>
                    <a:lnTo>
                      <a:pt x="1222" y="1549"/>
                    </a:lnTo>
                    <a:lnTo>
                      <a:pt x="1220" y="1549"/>
                    </a:lnTo>
                    <a:lnTo>
                      <a:pt x="1222" y="1549"/>
                    </a:lnTo>
                    <a:lnTo>
                      <a:pt x="1220" y="1549"/>
                    </a:lnTo>
                    <a:lnTo>
                      <a:pt x="1219" y="1549"/>
                    </a:lnTo>
                    <a:lnTo>
                      <a:pt x="1219" y="1548"/>
                    </a:lnTo>
                    <a:lnTo>
                      <a:pt x="1217" y="1548"/>
                    </a:lnTo>
                    <a:lnTo>
                      <a:pt x="1217" y="1546"/>
                    </a:lnTo>
                    <a:lnTo>
                      <a:pt x="1217" y="1544"/>
                    </a:lnTo>
                    <a:lnTo>
                      <a:pt x="1215" y="1544"/>
                    </a:lnTo>
                    <a:lnTo>
                      <a:pt x="1215" y="1543"/>
                    </a:lnTo>
                    <a:lnTo>
                      <a:pt x="1217" y="1544"/>
                    </a:lnTo>
                    <a:lnTo>
                      <a:pt x="1219" y="1544"/>
                    </a:lnTo>
                    <a:lnTo>
                      <a:pt x="1220" y="1544"/>
                    </a:lnTo>
                    <a:lnTo>
                      <a:pt x="1220" y="1546"/>
                    </a:lnTo>
                    <a:lnTo>
                      <a:pt x="1222" y="1544"/>
                    </a:lnTo>
                    <a:lnTo>
                      <a:pt x="1222" y="1546"/>
                    </a:lnTo>
                    <a:lnTo>
                      <a:pt x="1222" y="1548"/>
                    </a:lnTo>
                    <a:lnTo>
                      <a:pt x="1222" y="1546"/>
                    </a:lnTo>
                    <a:lnTo>
                      <a:pt x="1224" y="1546"/>
                    </a:lnTo>
                    <a:lnTo>
                      <a:pt x="1222" y="1546"/>
                    </a:lnTo>
                    <a:lnTo>
                      <a:pt x="1224" y="1544"/>
                    </a:lnTo>
                    <a:lnTo>
                      <a:pt x="1224" y="1546"/>
                    </a:lnTo>
                    <a:lnTo>
                      <a:pt x="1225" y="1544"/>
                    </a:lnTo>
                    <a:lnTo>
                      <a:pt x="1225" y="1546"/>
                    </a:lnTo>
                    <a:lnTo>
                      <a:pt x="1227" y="1546"/>
                    </a:lnTo>
                    <a:lnTo>
                      <a:pt x="1227" y="1548"/>
                    </a:lnTo>
                    <a:lnTo>
                      <a:pt x="1227" y="1546"/>
                    </a:lnTo>
                    <a:lnTo>
                      <a:pt x="1229" y="1548"/>
                    </a:lnTo>
                    <a:lnTo>
                      <a:pt x="1229" y="1546"/>
                    </a:lnTo>
                    <a:lnTo>
                      <a:pt x="1227" y="1546"/>
                    </a:lnTo>
                    <a:lnTo>
                      <a:pt x="1225" y="1546"/>
                    </a:lnTo>
                    <a:lnTo>
                      <a:pt x="1225" y="1544"/>
                    </a:lnTo>
                    <a:lnTo>
                      <a:pt x="1225" y="1543"/>
                    </a:lnTo>
                    <a:lnTo>
                      <a:pt x="1227" y="1543"/>
                    </a:lnTo>
                    <a:lnTo>
                      <a:pt x="1225" y="1543"/>
                    </a:lnTo>
                    <a:lnTo>
                      <a:pt x="1227" y="1543"/>
                    </a:lnTo>
                    <a:lnTo>
                      <a:pt x="1225" y="1543"/>
                    </a:lnTo>
                    <a:lnTo>
                      <a:pt x="1225" y="1541"/>
                    </a:lnTo>
                    <a:lnTo>
                      <a:pt x="1224" y="1541"/>
                    </a:lnTo>
                    <a:lnTo>
                      <a:pt x="1225" y="1541"/>
                    </a:lnTo>
                    <a:lnTo>
                      <a:pt x="1224" y="1539"/>
                    </a:lnTo>
                    <a:lnTo>
                      <a:pt x="1225" y="1539"/>
                    </a:lnTo>
                    <a:lnTo>
                      <a:pt x="1227" y="1539"/>
                    </a:lnTo>
                    <a:lnTo>
                      <a:pt x="1229" y="1539"/>
                    </a:lnTo>
                    <a:close/>
                    <a:moveTo>
                      <a:pt x="1400" y="1626"/>
                    </a:moveTo>
                    <a:lnTo>
                      <a:pt x="1402" y="1626"/>
                    </a:lnTo>
                    <a:lnTo>
                      <a:pt x="1402" y="1628"/>
                    </a:lnTo>
                    <a:lnTo>
                      <a:pt x="1404" y="1626"/>
                    </a:lnTo>
                    <a:lnTo>
                      <a:pt x="1404" y="1628"/>
                    </a:lnTo>
                    <a:lnTo>
                      <a:pt x="1406" y="1628"/>
                    </a:lnTo>
                    <a:lnTo>
                      <a:pt x="1407" y="1628"/>
                    </a:lnTo>
                    <a:lnTo>
                      <a:pt x="1409" y="1628"/>
                    </a:lnTo>
                    <a:lnTo>
                      <a:pt x="1407" y="1628"/>
                    </a:lnTo>
                    <a:lnTo>
                      <a:pt x="1409" y="1629"/>
                    </a:lnTo>
                    <a:lnTo>
                      <a:pt x="1409" y="1628"/>
                    </a:lnTo>
                    <a:lnTo>
                      <a:pt x="1411" y="1629"/>
                    </a:lnTo>
                    <a:lnTo>
                      <a:pt x="1411" y="1628"/>
                    </a:lnTo>
                    <a:lnTo>
                      <a:pt x="1412" y="1628"/>
                    </a:lnTo>
                    <a:lnTo>
                      <a:pt x="1414" y="1628"/>
                    </a:lnTo>
                    <a:lnTo>
                      <a:pt x="1416" y="1628"/>
                    </a:lnTo>
                    <a:lnTo>
                      <a:pt x="1416" y="1629"/>
                    </a:lnTo>
                    <a:lnTo>
                      <a:pt x="1417" y="1628"/>
                    </a:lnTo>
                    <a:lnTo>
                      <a:pt x="1419" y="1628"/>
                    </a:lnTo>
                    <a:lnTo>
                      <a:pt x="1421" y="1628"/>
                    </a:lnTo>
                    <a:lnTo>
                      <a:pt x="1423" y="1628"/>
                    </a:lnTo>
                    <a:lnTo>
                      <a:pt x="1423" y="1629"/>
                    </a:lnTo>
                    <a:lnTo>
                      <a:pt x="1424" y="1629"/>
                    </a:lnTo>
                    <a:lnTo>
                      <a:pt x="1426" y="1629"/>
                    </a:lnTo>
                    <a:lnTo>
                      <a:pt x="1428" y="1631"/>
                    </a:lnTo>
                    <a:lnTo>
                      <a:pt x="1428" y="1633"/>
                    </a:lnTo>
                    <a:lnTo>
                      <a:pt x="1429" y="1635"/>
                    </a:lnTo>
                    <a:lnTo>
                      <a:pt x="1429" y="1636"/>
                    </a:lnTo>
                    <a:lnTo>
                      <a:pt x="1429" y="1638"/>
                    </a:lnTo>
                    <a:lnTo>
                      <a:pt x="1431" y="1638"/>
                    </a:lnTo>
                    <a:lnTo>
                      <a:pt x="1431" y="1640"/>
                    </a:lnTo>
                    <a:lnTo>
                      <a:pt x="1431" y="1641"/>
                    </a:lnTo>
                    <a:lnTo>
                      <a:pt x="1429" y="1643"/>
                    </a:lnTo>
                    <a:lnTo>
                      <a:pt x="1429" y="1645"/>
                    </a:lnTo>
                    <a:lnTo>
                      <a:pt x="1428" y="1646"/>
                    </a:lnTo>
                    <a:lnTo>
                      <a:pt x="1426" y="1648"/>
                    </a:lnTo>
                    <a:lnTo>
                      <a:pt x="1426" y="1650"/>
                    </a:lnTo>
                    <a:lnTo>
                      <a:pt x="1424" y="1650"/>
                    </a:lnTo>
                    <a:lnTo>
                      <a:pt x="1424" y="1652"/>
                    </a:lnTo>
                    <a:lnTo>
                      <a:pt x="1423" y="1652"/>
                    </a:lnTo>
                    <a:lnTo>
                      <a:pt x="1421" y="1652"/>
                    </a:lnTo>
                    <a:lnTo>
                      <a:pt x="1419" y="1652"/>
                    </a:lnTo>
                    <a:lnTo>
                      <a:pt x="1417" y="1652"/>
                    </a:lnTo>
                    <a:lnTo>
                      <a:pt x="1417" y="1650"/>
                    </a:lnTo>
                    <a:lnTo>
                      <a:pt x="1417" y="1648"/>
                    </a:lnTo>
                    <a:lnTo>
                      <a:pt x="1417" y="1646"/>
                    </a:lnTo>
                    <a:lnTo>
                      <a:pt x="1419" y="1645"/>
                    </a:lnTo>
                    <a:lnTo>
                      <a:pt x="1417" y="1643"/>
                    </a:lnTo>
                    <a:lnTo>
                      <a:pt x="1416" y="1643"/>
                    </a:lnTo>
                    <a:lnTo>
                      <a:pt x="1414" y="1643"/>
                    </a:lnTo>
                    <a:lnTo>
                      <a:pt x="1412" y="1645"/>
                    </a:lnTo>
                    <a:lnTo>
                      <a:pt x="1411" y="1646"/>
                    </a:lnTo>
                    <a:lnTo>
                      <a:pt x="1412" y="1648"/>
                    </a:lnTo>
                    <a:lnTo>
                      <a:pt x="1411" y="1648"/>
                    </a:lnTo>
                    <a:lnTo>
                      <a:pt x="1409" y="1648"/>
                    </a:lnTo>
                    <a:lnTo>
                      <a:pt x="1407" y="1646"/>
                    </a:lnTo>
                    <a:lnTo>
                      <a:pt x="1407" y="1648"/>
                    </a:lnTo>
                    <a:lnTo>
                      <a:pt x="1406" y="1648"/>
                    </a:lnTo>
                    <a:lnTo>
                      <a:pt x="1404" y="1648"/>
                    </a:lnTo>
                    <a:lnTo>
                      <a:pt x="1402" y="1646"/>
                    </a:lnTo>
                    <a:lnTo>
                      <a:pt x="1404" y="1646"/>
                    </a:lnTo>
                    <a:lnTo>
                      <a:pt x="1402" y="1645"/>
                    </a:lnTo>
                    <a:lnTo>
                      <a:pt x="1404" y="1645"/>
                    </a:lnTo>
                    <a:lnTo>
                      <a:pt x="1404" y="1646"/>
                    </a:lnTo>
                    <a:lnTo>
                      <a:pt x="1406" y="1646"/>
                    </a:lnTo>
                    <a:lnTo>
                      <a:pt x="1407" y="1646"/>
                    </a:lnTo>
                    <a:lnTo>
                      <a:pt x="1406" y="1645"/>
                    </a:lnTo>
                    <a:lnTo>
                      <a:pt x="1404" y="1645"/>
                    </a:lnTo>
                    <a:lnTo>
                      <a:pt x="1404" y="1643"/>
                    </a:lnTo>
                    <a:lnTo>
                      <a:pt x="1402" y="1645"/>
                    </a:lnTo>
                    <a:lnTo>
                      <a:pt x="1402" y="1643"/>
                    </a:lnTo>
                    <a:lnTo>
                      <a:pt x="1400" y="1643"/>
                    </a:lnTo>
                    <a:lnTo>
                      <a:pt x="1400" y="1645"/>
                    </a:lnTo>
                    <a:lnTo>
                      <a:pt x="1399" y="1646"/>
                    </a:lnTo>
                    <a:lnTo>
                      <a:pt x="1399" y="1645"/>
                    </a:lnTo>
                    <a:lnTo>
                      <a:pt x="1399" y="1646"/>
                    </a:lnTo>
                    <a:lnTo>
                      <a:pt x="1397" y="1646"/>
                    </a:lnTo>
                    <a:lnTo>
                      <a:pt x="1395" y="1645"/>
                    </a:lnTo>
                    <a:lnTo>
                      <a:pt x="1394" y="1645"/>
                    </a:lnTo>
                    <a:lnTo>
                      <a:pt x="1394" y="1643"/>
                    </a:lnTo>
                    <a:lnTo>
                      <a:pt x="1395" y="1643"/>
                    </a:lnTo>
                    <a:lnTo>
                      <a:pt x="1397" y="1643"/>
                    </a:lnTo>
                    <a:lnTo>
                      <a:pt x="1395" y="1643"/>
                    </a:lnTo>
                    <a:lnTo>
                      <a:pt x="1394" y="1641"/>
                    </a:lnTo>
                    <a:lnTo>
                      <a:pt x="1394" y="1640"/>
                    </a:lnTo>
                    <a:lnTo>
                      <a:pt x="1394" y="1638"/>
                    </a:lnTo>
                    <a:lnTo>
                      <a:pt x="1394" y="1636"/>
                    </a:lnTo>
                    <a:lnTo>
                      <a:pt x="1394" y="1635"/>
                    </a:lnTo>
                    <a:lnTo>
                      <a:pt x="1394" y="1633"/>
                    </a:lnTo>
                    <a:lnTo>
                      <a:pt x="1392" y="1633"/>
                    </a:lnTo>
                    <a:lnTo>
                      <a:pt x="1394" y="1631"/>
                    </a:lnTo>
                    <a:lnTo>
                      <a:pt x="1392" y="1633"/>
                    </a:lnTo>
                    <a:lnTo>
                      <a:pt x="1392" y="1631"/>
                    </a:lnTo>
                    <a:lnTo>
                      <a:pt x="1392" y="1633"/>
                    </a:lnTo>
                    <a:lnTo>
                      <a:pt x="1390" y="1633"/>
                    </a:lnTo>
                    <a:lnTo>
                      <a:pt x="1389" y="1633"/>
                    </a:lnTo>
                    <a:lnTo>
                      <a:pt x="1387" y="1631"/>
                    </a:lnTo>
                    <a:lnTo>
                      <a:pt x="1387" y="1629"/>
                    </a:lnTo>
                    <a:lnTo>
                      <a:pt x="1385" y="1629"/>
                    </a:lnTo>
                    <a:lnTo>
                      <a:pt x="1387" y="1628"/>
                    </a:lnTo>
                    <a:lnTo>
                      <a:pt x="1389" y="1628"/>
                    </a:lnTo>
                    <a:lnTo>
                      <a:pt x="1390" y="1628"/>
                    </a:lnTo>
                    <a:lnTo>
                      <a:pt x="1392" y="1628"/>
                    </a:lnTo>
                    <a:lnTo>
                      <a:pt x="1390" y="1626"/>
                    </a:lnTo>
                    <a:lnTo>
                      <a:pt x="1392" y="1626"/>
                    </a:lnTo>
                    <a:lnTo>
                      <a:pt x="1394" y="1626"/>
                    </a:lnTo>
                    <a:lnTo>
                      <a:pt x="1395" y="1626"/>
                    </a:lnTo>
                    <a:lnTo>
                      <a:pt x="1397" y="1626"/>
                    </a:lnTo>
                    <a:lnTo>
                      <a:pt x="1399" y="1626"/>
                    </a:lnTo>
                    <a:lnTo>
                      <a:pt x="1400" y="1626"/>
                    </a:lnTo>
                    <a:close/>
                    <a:moveTo>
                      <a:pt x="1232" y="1075"/>
                    </a:moveTo>
                    <a:lnTo>
                      <a:pt x="1232" y="1077"/>
                    </a:lnTo>
                    <a:lnTo>
                      <a:pt x="1234" y="1077"/>
                    </a:lnTo>
                    <a:lnTo>
                      <a:pt x="1234" y="1078"/>
                    </a:lnTo>
                    <a:lnTo>
                      <a:pt x="1232" y="1080"/>
                    </a:lnTo>
                    <a:lnTo>
                      <a:pt x="1230" y="1082"/>
                    </a:lnTo>
                    <a:lnTo>
                      <a:pt x="1232" y="1082"/>
                    </a:lnTo>
                    <a:lnTo>
                      <a:pt x="1230" y="1082"/>
                    </a:lnTo>
                    <a:lnTo>
                      <a:pt x="1230" y="1083"/>
                    </a:lnTo>
                    <a:lnTo>
                      <a:pt x="1232" y="1082"/>
                    </a:lnTo>
                    <a:lnTo>
                      <a:pt x="1232" y="1080"/>
                    </a:lnTo>
                    <a:lnTo>
                      <a:pt x="1234" y="1080"/>
                    </a:lnTo>
                    <a:lnTo>
                      <a:pt x="1234" y="1078"/>
                    </a:lnTo>
                    <a:lnTo>
                      <a:pt x="1234" y="1077"/>
                    </a:lnTo>
                    <a:lnTo>
                      <a:pt x="1236" y="1078"/>
                    </a:lnTo>
                    <a:lnTo>
                      <a:pt x="1237" y="1078"/>
                    </a:lnTo>
                    <a:lnTo>
                      <a:pt x="1237" y="1080"/>
                    </a:lnTo>
                    <a:lnTo>
                      <a:pt x="1239" y="1080"/>
                    </a:lnTo>
                    <a:lnTo>
                      <a:pt x="1239" y="1082"/>
                    </a:lnTo>
                    <a:lnTo>
                      <a:pt x="1241" y="1082"/>
                    </a:lnTo>
                    <a:lnTo>
                      <a:pt x="1241" y="1083"/>
                    </a:lnTo>
                    <a:lnTo>
                      <a:pt x="1239" y="1083"/>
                    </a:lnTo>
                    <a:lnTo>
                      <a:pt x="1239" y="1085"/>
                    </a:lnTo>
                    <a:lnTo>
                      <a:pt x="1237" y="1087"/>
                    </a:lnTo>
                    <a:lnTo>
                      <a:pt x="1236" y="1087"/>
                    </a:lnTo>
                    <a:lnTo>
                      <a:pt x="1234" y="1087"/>
                    </a:lnTo>
                    <a:lnTo>
                      <a:pt x="1232" y="1085"/>
                    </a:lnTo>
                    <a:lnTo>
                      <a:pt x="1230" y="1085"/>
                    </a:lnTo>
                    <a:lnTo>
                      <a:pt x="1232" y="1085"/>
                    </a:lnTo>
                    <a:lnTo>
                      <a:pt x="1230" y="1085"/>
                    </a:lnTo>
                    <a:lnTo>
                      <a:pt x="1232" y="1085"/>
                    </a:lnTo>
                    <a:lnTo>
                      <a:pt x="1230" y="1087"/>
                    </a:lnTo>
                    <a:lnTo>
                      <a:pt x="1232" y="1087"/>
                    </a:lnTo>
                    <a:lnTo>
                      <a:pt x="1234" y="1087"/>
                    </a:lnTo>
                    <a:lnTo>
                      <a:pt x="1234" y="1088"/>
                    </a:lnTo>
                    <a:lnTo>
                      <a:pt x="1236" y="1088"/>
                    </a:lnTo>
                    <a:lnTo>
                      <a:pt x="1237" y="1088"/>
                    </a:lnTo>
                    <a:lnTo>
                      <a:pt x="1237" y="1090"/>
                    </a:lnTo>
                    <a:lnTo>
                      <a:pt x="1236" y="1090"/>
                    </a:lnTo>
                    <a:lnTo>
                      <a:pt x="1236" y="1092"/>
                    </a:lnTo>
                    <a:lnTo>
                      <a:pt x="1234" y="1094"/>
                    </a:lnTo>
                    <a:lnTo>
                      <a:pt x="1234" y="1092"/>
                    </a:lnTo>
                    <a:lnTo>
                      <a:pt x="1234" y="1094"/>
                    </a:lnTo>
                    <a:lnTo>
                      <a:pt x="1232" y="1094"/>
                    </a:lnTo>
                    <a:lnTo>
                      <a:pt x="1230" y="1095"/>
                    </a:lnTo>
                    <a:lnTo>
                      <a:pt x="1230" y="1097"/>
                    </a:lnTo>
                    <a:lnTo>
                      <a:pt x="1229" y="1097"/>
                    </a:lnTo>
                    <a:lnTo>
                      <a:pt x="1229" y="1099"/>
                    </a:lnTo>
                    <a:lnTo>
                      <a:pt x="1227" y="1099"/>
                    </a:lnTo>
                    <a:lnTo>
                      <a:pt x="1227" y="1100"/>
                    </a:lnTo>
                    <a:lnTo>
                      <a:pt x="1225" y="1100"/>
                    </a:lnTo>
                    <a:lnTo>
                      <a:pt x="1224" y="1100"/>
                    </a:lnTo>
                    <a:lnTo>
                      <a:pt x="1224" y="1102"/>
                    </a:lnTo>
                    <a:lnTo>
                      <a:pt x="1222" y="1100"/>
                    </a:lnTo>
                    <a:lnTo>
                      <a:pt x="1220" y="1100"/>
                    </a:lnTo>
                    <a:lnTo>
                      <a:pt x="1220" y="1099"/>
                    </a:lnTo>
                    <a:lnTo>
                      <a:pt x="1220" y="1100"/>
                    </a:lnTo>
                    <a:lnTo>
                      <a:pt x="1220" y="1099"/>
                    </a:lnTo>
                    <a:lnTo>
                      <a:pt x="1219" y="1099"/>
                    </a:lnTo>
                    <a:lnTo>
                      <a:pt x="1219" y="1097"/>
                    </a:lnTo>
                    <a:lnTo>
                      <a:pt x="1217" y="1097"/>
                    </a:lnTo>
                    <a:lnTo>
                      <a:pt x="1217" y="1095"/>
                    </a:lnTo>
                    <a:lnTo>
                      <a:pt x="1219" y="1095"/>
                    </a:lnTo>
                    <a:lnTo>
                      <a:pt x="1220" y="1095"/>
                    </a:lnTo>
                    <a:lnTo>
                      <a:pt x="1220" y="1094"/>
                    </a:lnTo>
                    <a:lnTo>
                      <a:pt x="1222" y="1095"/>
                    </a:lnTo>
                    <a:lnTo>
                      <a:pt x="1224" y="1095"/>
                    </a:lnTo>
                    <a:lnTo>
                      <a:pt x="1222" y="1094"/>
                    </a:lnTo>
                    <a:lnTo>
                      <a:pt x="1220" y="1092"/>
                    </a:lnTo>
                    <a:lnTo>
                      <a:pt x="1222" y="1092"/>
                    </a:lnTo>
                    <a:lnTo>
                      <a:pt x="1220" y="1092"/>
                    </a:lnTo>
                    <a:lnTo>
                      <a:pt x="1220" y="1094"/>
                    </a:lnTo>
                    <a:lnTo>
                      <a:pt x="1219" y="1094"/>
                    </a:lnTo>
                    <a:lnTo>
                      <a:pt x="1219" y="1095"/>
                    </a:lnTo>
                    <a:lnTo>
                      <a:pt x="1217" y="1094"/>
                    </a:lnTo>
                    <a:lnTo>
                      <a:pt x="1217" y="1092"/>
                    </a:lnTo>
                    <a:lnTo>
                      <a:pt x="1219" y="1092"/>
                    </a:lnTo>
                    <a:lnTo>
                      <a:pt x="1217" y="1092"/>
                    </a:lnTo>
                    <a:lnTo>
                      <a:pt x="1215" y="1092"/>
                    </a:lnTo>
                    <a:lnTo>
                      <a:pt x="1215" y="1090"/>
                    </a:lnTo>
                    <a:lnTo>
                      <a:pt x="1215" y="1088"/>
                    </a:lnTo>
                    <a:lnTo>
                      <a:pt x="1215" y="1087"/>
                    </a:lnTo>
                    <a:lnTo>
                      <a:pt x="1215" y="1088"/>
                    </a:lnTo>
                    <a:lnTo>
                      <a:pt x="1215" y="1087"/>
                    </a:lnTo>
                    <a:lnTo>
                      <a:pt x="1215" y="1085"/>
                    </a:lnTo>
                    <a:lnTo>
                      <a:pt x="1217" y="1085"/>
                    </a:lnTo>
                    <a:lnTo>
                      <a:pt x="1217" y="1083"/>
                    </a:lnTo>
                    <a:lnTo>
                      <a:pt x="1217" y="1085"/>
                    </a:lnTo>
                    <a:lnTo>
                      <a:pt x="1219" y="1085"/>
                    </a:lnTo>
                    <a:lnTo>
                      <a:pt x="1217" y="1085"/>
                    </a:lnTo>
                    <a:lnTo>
                      <a:pt x="1219" y="1085"/>
                    </a:lnTo>
                    <a:lnTo>
                      <a:pt x="1219" y="1087"/>
                    </a:lnTo>
                    <a:lnTo>
                      <a:pt x="1219" y="1085"/>
                    </a:lnTo>
                    <a:lnTo>
                      <a:pt x="1220" y="1085"/>
                    </a:lnTo>
                    <a:lnTo>
                      <a:pt x="1220" y="1087"/>
                    </a:lnTo>
                    <a:lnTo>
                      <a:pt x="1222" y="1087"/>
                    </a:lnTo>
                    <a:lnTo>
                      <a:pt x="1224" y="1087"/>
                    </a:lnTo>
                    <a:lnTo>
                      <a:pt x="1222" y="1085"/>
                    </a:lnTo>
                    <a:lnTo>
                      <a:pt x="1220" y="1085"/>
                    </a:lnTo>
                    <a:lnTo>
                      <a:pt x="1222" y="1085"/>
                    </a:lnTo>
                    <a:lnTo>
                      <a:pt x="1220" y="1083"/>
                    </a:lnTo>
                    <a:lnTo>
                      <a:pt x="1222" y="1083"/>
                    </a:lnTo>
                    <a:lnTo>
                      <a:pt x="1222" y="1082"/>
                    </a:lnTo>
                    <a:lnTo>
                      <a:pt x="1222" y="1083"/>
                    </a:lnTo>
                    <a:lnTo>
                      <a:pt x="1224" y="1083"/>
                    </a:lnTo>
                    <a:lnTo>
                      <a:pt x="1225" y="1083"/>
                    </a:lnTo>
                    <a:lnTo>
                      <a:pt x="1225" y="1085"/>
                    </a:lnTo>
                    <a:lnTo>
                      <a:pt x="1225" y="1083"/>
                    </a:lnTo>
                    <a:lnTo>
                      <a:pt x="1225" y="1082"/>
                    </a:lnTo>
                    <a:lnTo>
                      <a:pt x="1224" y="1082"/>
                    </a:lnTo>
                    <a:lnTo>
                      <a:pt x="1222" y="1082"/>
                    </a:lnTo>
                    <a:lnTo>
                      <a:pt x="1222" y="1080"/>
                    </a:lnTo>
                    <a:lnTo>
                      <a:pt x="1222" y="1078"/>
                    </a:lnTo>
                    <a:lnTo>
                      <a:pt x="1222" y="1077"/>
                    </a:lnTo>
                    <a:lnTo>
                      <a:pt x="1224" y="1077"/>
                    </a:lnTo>
                    <a:lnTo>
                      <a:pt x="1225" y="1077"/>
                    </a:lnTo>
                    <a:lnTo>
                      <a:pt x="1225" y="1078"/>
                    </a:lnTo>
                    <a:lnTo>
                      <a:pt x="1225" y="1077"/>
                    </a:lnTo>
                    <a:lnTo>
                      <a:pt x="1227" y="1077"/>
                    </a:lnTo>
                    <a:lnTo>
                      <a:pt x="1227" y="1075"/>
                    </a:lnTo>
                    <a:lnTo>
                      <a:pt x="1229" y="1075"/>
                    </a:lnTo>
                    <a:lnTo>
                      <a:pt x="1230" y="1075"/>
                    </a:lnTo>
                    <a:lnTo>
                      <a:pt x="1232" y="1075"/>
                    </a:lnTo>
                    <a:close/>
                    <a:moveTo>
                      <a:pt x="1315" y="1549"/>
                    </a:moveTo>
                    <a:lnTo>
                      <a:pt x="1315" y="1551"/>
                    </a:lnTo>
                    <a:lnTo>
                      <a:pt x="1315" y="1553"/>
                    </a:lnTo>
                    <a:lnTo>
                      <a:pt x="1315" y="1555"/>
                    </a:lnTo>
                    <a:lnTo>
                      <a:pt x="1315" y="1556"/>
                    </a:lnTo>
                    <a:lnTo>
                      <a:pt x="1315" y="1558"/>
                    </a:lnTo>
                    <a:lnTo>
                      <a:pt x="1315" y="1560"/>
                    </a:lnTo>
                    <a:lnTo>
                      <a:pt x="1315" y="1561"/>
                    </a:lnTo>
                    <a:lnTo>
                      <a:pt x="1317" y="1563"/>
                    </a:lnTo>
                    <a:lnTo>
                      <a:pt x="1315" y="1563"/>
                    </a:lnTo>
                    <a:lnTo>
                      <a:pt x="1317" y="1565"/>
                    </a:lnTo>
                    <a:lnTo>
                      <a:pt x="1315" y="1565"/>
                    </a:lnTo>
                    <a:lnTo>
                      <a:pt x="1317" y="1566"/>
                    </a:lnTo>
                    <a:lnTo>
                      <a:pt x="1315" y="1566"/>
                    </a:lnTo>
                    <a:lnTo>
                      <a:pt x="1315" y="1568"/>
                    </a:lnTo>
                    <a:lnTo>
                      <a:pt x="1317" y="1570"/>
                    </a:lnTo>
                    <a:lnTo>
                      <a:pt x="1319" y="1572"/>
                    </a:lnTo>
                    <a:lnTo>
                      <a:pt x="1319" y="1573"/>
                    </a:lnTo>
                    <a:lnTo>
                      <a:pt x="1321" y="1575"/>
                    </a:lnTo>
                    <a:lnTo>
                      <a:pt x="1319" y="1577"/>
                    </a:lnTo>
                    <a:lnTo>
                      <a:pt x="1317" y="1577"/>
                    </a:lnTo>
                    <a:lnTo>
                      <a:pt x="1317" y="1578"/>
                    </a:lnTo>
                    <a:lnTo>
                      <a:pt x="1315" y="1577"/>
                    </a:lnTo>
                    <a:lnTo>
                      <a:pt x="1314" y="1575"/>
                    </a:lnTo>
                    <a:lnTo>
                      <a:pt x="1312" y="1573"/>
                    </a:lnTo>
                    <a:lnTo>
                      <a:pt x="1310" y="1572"/>
                    </a:lnTo>
                    <a:lnTo>
                      <a:pt x="1309" y="1570"/>
                    </a:lnTo>
                    <a:lnTo>
                      <a:pt x="1309" y="1572"/>
                    </a:lnTo>
                    <a:lnTo>
                      <a:pt x="1309" y="1573"/>
                    </a:lnTo>
                    <a:lnTo>
                      <a:pt x="1310" y="1573"/>
                    </a:lnTo>
                    <a:lnTo>
                      <a:pt x="1310" y="1575"/>
                    </a:lnTo>
                    <a:lnTo>
                      <a:pt x="1312" y="1575"/>
                    </a:lnTo>
                    <a:lnTo>
                      <a:pt x="1312" y="1577"/>
                    </a:lnTo>
                    <a:lnTo>
                      <a:pt x="1312" y="1578"/>
                    </a:lnTo>
                    <a:lnTo>
                      <a:pt x="1312" y="1580"/>
                    </a:lnTo>
                    <a:lnTo>
                      <a:pt x="1312" y="1582"/>
                    </a:lnTo>
                    <a:lnTo>
                      <a:pt x="1314" y="1582"/>
                    </a:lnTo>
                    <a:lnTo>
                      <a:pt x="1314" y="1583"/>
                    </a:lnTo>
                    <a:lnTo>
                      <a:pt x="1314" y="1582"/>
                    </a:lnTo>
                    <a:lnTo>
                      <a:pt x="1315" y="1582"/>
                    </a:lnTo>
                    <a:lnTo>
                      <a:pt x="1315" y="1583"/>
                    </a:lnTo>
                    <a:lnTo>
                      <a:pt x="1317" y="1583"/>
                    </a:lnTo>
                    <a:lnTo>
                      <a:pt x="1317" y="1585"/>
                    </a:lnTo>
                    <a:lnTo>
                      <a:pt x="1319" y="1585"/>
                    </a:lnTo>
                    <a:lnTo>
                      <a:pt x="1321" y="1585"/>
                    </a:lnTo>
                    <a:lnTo>
                      <a:pt x="1322" y="1585"/>
                    </a:lnTo>
                    <a:lnTo>
                      <a:pt x="1321" y="1585"/>
                    </a:lnTo>
                    <a:lnTo>
                      <a:pt x="1322" y="1587"/>
                    </a:lnTo>
                    <a:lnTo>
                      <a:pt x="1321" y="1589"/>
                    </a:lnTo>
                    <a:lnTo>
                      <a:pt x="1322" y="1587"/>
                    </a:lnTo>
                    <a:lnTo>
                      <a:pt x="1324" y="1587"/>
                    </a:lnTo>
                    <a:lnTo>
                      <a:pt x="1324" y="1589"/>
                    </a:lnTo>
                    <a:lnTo>
                      <a:pt x="1322" y="1590"/>
                    </a:lnTo>
                    <a:lnTo>
                      <a:pt x="1321" y="1590"/>
                    </a:lnTo>
                    <a:lnTo>
                      <a:pt x="1319" y="1590"/>
                    </a:lnTo>
                    <a:lnTo>
                      <a:pt x="1317" y="1589"/>
                    </a:lnTo>
                    <a:lnTo>
                      <a:pt x="1315" y="1589"/>
                    </a:lnTo>
                    <a:lnTo>
                      <a:pt x="1314" y="1587"/>
                    </a:lnTo>
                    <a:lnTo>
                      <a:pt x="1315" y="1589"/>
                    </a:lnTo>
                    <a:lnTo>
                      <a:pt x="1314" y="1589"/>
                    </a:lnTo>
                    <a:lnTo>
                      <a:pt x="1312" y="1587"/>
                    </a:lnTo>
                    <a:lnTo>
                      <a:pt x="1310" y="1587"/>
                    </a:lnTo>
                    <a:lnTo>
                      <a:pt x="1309" y="1585"/>
                    </a:lnTo>
                    <a:lnTo>
                      <a:pt x="1307" y="1585"/>
                    </a:lnTo>
                    <a:lnTo>
                      <a:pt x="1305" y="1583"/>
                    </a:lnTo>
                    <a:lnTo>
                      <a:pt x="1305" y="1582"/>
                    </a:lnTo>
                    <a:lnTo>
                      <a:pt x="1304" y="1582"/>
                    </a:lnTo>
                    <a:lnTo>
                      <a:pt x="1304" y="1580"/>
                    </a:lnTo>
                    <a:lnTo>
                      <a:pt x="1305" y="1580"/>
                    </a:lnTo>
                    <a:lnTo>
                      <a:pt x="1304" y="1580"/>
                    </a:lnTo>
                    <a:lnTo>
                      <a:pt x="1302" y="1578"/>
                    </a:lnTo>
                    <a:lnTo>
                      <a:pt x="1302" y="1577"/>
                    </a:lnTo>
                    <a:lnTo>
                      <a:pt x="1302" y="1575"/>
                    </a:lnTo>
                    <a:lnTo>
                      <a:pt x="1302" y="1573"/>
                    </a:lnTo>
                    <a:lnTo>
                      <a:pt x="1302" y="1572"/>
                    </a:lnTo>
                    <a:lnTo>
                      <a:pt x="1300" y="1570"/>
                    </a:lnTo>
                    <a:lnTo>
                      <a:pt x="1302" y="1570"/>
                    </a:lnTo>
                    <a:lnTo>
                      <a:pt x="1304" y="1570"/>
                    </a:lnTo>
                    <a:lnTo>
                      <a:pt x="1302" y="1570"/>
                    </a:lnTo>
                    <a:lnTo>
                      <a:pt x="1302" y="1568"/>
                    </a:lnTo>
                    <a:lnTo>
                      <a:pt x="1300" y="1568"/>
                    </a:lnTo>
                    <a:lnTo>
                      <a:pt x="1300" y="1566"/>
                    </a:lnTo>
                    <a:lnTo>
                      <a:pt x="1302" y="1566"/>
                    </a:lnTo>
                    <a:lnTo>
                      <a:pt x="1302" y="1565"/>
                    </a:lnTo>
                    <a:lnTo>
                      <a:pt x="1304" y="1565"/>
                    </a:lnTo>
                    <a:lnTo>
                      <a:pt x="1305" y="1565"/>
                    </a:lnTo>
                    <a:lnTo>
                      <a:pt x="1307" y="1565"/>
                    </a:lnTo>
                    <a:lnTo>
                      <a:pt x="1309" y="1565"/>
                    </a:lnTo>
                    <a:lnTo>
                      <a:pt x="1309" y="1566"/>
                    </a:lnTo>
                    <a:lnTo>
                      <a:pt x="1310" y="1566"/>
                    </a:lnTo>
                    <a:lnTo>
                      <a:pt x="1310" y="1565"/>
                    </a:lnTo>
                    <a:lnTo>
                      <a:pt x="1310" y="1563"/>
                    </a:lnTo>
                    <a:lnTo>
                      <a:pt x="1309" y="1563"/>
                    </a:lnTo>
                    <a:lnTo>
                      <a:pt x="1307" y="1561"/>
                    </a:lnTo>
                    <a:lnTo>
                      <a:pt x="1307" y="1560"/>
                    </a:lnTo>
                    <a:lnTo>
                      <a:pt x="1307" y="1558"/>
                    </a:lnTo>
                    <a:lnTo>
                      <a:pt x="1307" y="1556"/>
                    </a:lnTo>
                    <a:lnTo>
                      <a:pt x="1309" y="1556"/>
                    </a:lnTo>
                    <a:lnTo>
                      <a:pt x="1310" y="1555"/>
                    </a:lnTo>
                    <a:lnTo>
                      <a:pt x="1312" y="1553"/>
                    </a:lnTo>
                    <a:lnTo>
                      <a:pt x="1312" y="1551"/>
                    </a:lnTo>
                    <a:lnTo>
                      <a:pt x="1312" y="1549"/>
                    </a:lnTo>
                    <a:lnTo>
                      <a:pt x="1314" y="1549"/>
                    </a:lnTo>
                    <a:lnTo>
                      <a:pt x="1315" y="1549"/>
                    </a:lnTo>
                    <a:close/>
                    <a:moveTo>
                      <a:pt x="1174" y="1502"/>
                    </a:moveTo>
                    <a:lnTo>
                      <a:pt x="1174" y="1504"/>
                    </a:lnTo>
                    <a:lnTo>
                      <a:pt x="1176" y="1504"/>
                    </a:lnTo>
                    <a:lnTo>
                      <a:pt x="1174" y="1504"/>
                    </a:lnTo>
                    <a:lnTo>
                      <a:pt x="1176" y="1505"/>
                    </a:lnTo>
                    <a:lnTo>
                      <a:pt x="1178" y="1505"/>
                    </a:lnTo>
                    <a:lnTo>
                      <a:pt x="1178" y="1507"/>
                    </a:lnTo>
                    <a:lnTo>
                      <a:pt x="1179" y="1507"/>
                    </a:lnTo>
                    <a:lnTo>
                      <a:pt x="1179" y="1505"/>
                    </a:lnTo>
                    <a:lnTo>
                      <a:pt x="1179" y="1507"/>
                    </a:lnTo>
                    <a:lnTo>
                      <a:pt x="1181" y="1507"/>
                    </a:lnTo>
                    <a:lnTo>
                      <a:pt x="1181" y="1509"/>
                    </a:lnTo>
                    <a:lnTo>
                      <a:pt x="1179" y="1509"/>
                    </a:lnTo>
                    <a:lnTo>
                      <a:pt x="1181" y="1509"/>
                    </a:lnTo>
                    <a:lnTo>
                      <a:pt x="1181" y="1510"/>
                    </a:lnTo>
                    <a:lnTo>
                      <a:pt x="1179" y="1510"/>
                    </a:lnTo>
                    <a:lnTo>
                      <a:pt x="1181" y="1510"/>
                    </a:lnTo>
                    <a:lnTo>
                      <a:pt x="1183" y="1510"/>
                    </a:lnTo>
                    <a:lnTo>
                      <a:pt x="1183" y="1512"/>
                    </a:lnTo>
                    <a:lnTo>
                      <a:pt x="1183" y="1510"/>
                    </a:lnTo>
                    <a:lnTo>
                      <a:pt x="1185" y="1510"/>
                    </a:lnTo>
                    <a:lnTo>
                      <a:pt x="1183" y="1512"/>
                    </a:lnTo>
                    <a:lnTo>
                      <a:pt x="1183" y="1514"/>
                    </a:lnTo>
                    <a:lnTo>
                      <a:pt x="1185" y="1514"/>
                    </a:lnTo>
                    <a:lnTo>
                      <a:pt x="1185" y="1515"/>
                    </a:lnTo>
                    <a:lnTo>
                      <a:pt x="1186" y="1515"/>
                    </a:lnTo>
                    <a:lnTo>
                      <a:pt x="1185" y="1515"/>
                    </a:lnTo>
                    <a:lnTo>
                      <a:pt x="1185" y="1514"/>
                    </a:lnTo>
                    <a:lnTo>
                      <a:pt x="1186" y="1514"/>
                    </a:lnTo>
                    <a:lnTo>
                      <a:pt x="1186" y="1512"/>
                    </a:lnTo>
                    <a:lnTo>
                      <a:pt x="1186" y="1514"/>
                    </a:lnTo>
                    <a:lnTo>
                      <a:pt x="1186" y="1515"/>
                    </a:lnTo>
                    <a:lnTo>
                      <a:pt x="1188" y="1515"/>
                    </a:lnTo>
                    <a:lnTo>
                      <a:pt x="1186" y="1517"/>
                    </a:lnTo>
                    <a:lnTo>
                      <a:pt x="1188" y="1515"/>
                    </a:lnTo>
                    <a:lnTo>
                      <a:pt x="1188" y="1514"/>
                    </a:lnTo>
                    <a:lnTo>
                      <a:pt x="1188" y="1515"/>
                    </a:lnTo>
                    <a:lnTo>
                      <a:pt x="1190" y="1515"/>
                    </a:lnTo>
                    <a:lnTo>
                      <a:pt x="1190" y="1517"/>
                    </a:lnTo>
                    <a:lnTo>
                      <a:pt x="1190" y="1515"/>
                    </a:lnTo>
                    <a:lnTo>
                      <a:pt x="1191" y="1517"/>
                    </a:lnTo>
                    <a:lnTo>
                      <a:pt x="1190" y="1517"/>
                    </a:lnTo>
                    <a:lnTo>
                      <a:pt x="1191" y="1517"/>
                    </a:lnTo>
                    <a:lnTo>
                      <a:pt x="1193" y="1519"/>
                    </a:lnTo>
                    <a:lnTo>
                      <a:pt x="1193" y="1517"/>
                    </a:lnTo>
                    <a:lnTo>
                      <a:pt x="1193" y="1515"/>
                    </a:lnTo>
                    <a:lnTo>
                      <a:pt x="1191" y="1515"/>
                    </a:lnTo>
                    <a:lnTo>
                      <a:pt x="1191" y="1514"/>
                    </a:lnTo>
                    <a:lnTo>
                      <a:pt x="1193" y="1514"/>
                    </a:lnTo>
                    <a:lnTo>
                      <a:pt x="1193" y="1515"/>
                    </a:lnTo>
                    <a:lnTo>
                      <a:pt x="1195" y="1515"/>
                    </a:lnTo>
                    <a:lnTo>
                      <a:pt x="1193" y="1515"/>
                    </a:lnTo>
                    <a:lnTo>
                      <a:pt x="1195" y="1517"/>
                    </a:lnTo>
                    <a:lnTo>
                      <a:pt x="1196" y="1517"/>
                    </a:lnTo>
                    <a:lnTo>
                      <a:pt x="1195" y="1517"/>
                    </a:lnTo>
                    <a:lnTo>
                      <a:pt x="1196" y="1517"/>
                    </a:lnTo>
                    <a:lnTo>
                      <a:pt x="1198" y="1517"/>
                    </a:lnTo>
                    <a:lnTo>
                      <a:pt x="1198" y="1519"/>
                    </a:lnTo>
                    <a:lnTo>
                      <a:pt x="1196" y="1517"/>
                    </a:lnTo>
                    <a:lnTo>
                      <a:pt x="1198" y="1519"/>
                    </a:lnTo>
                    <a:lnTo>
                      <a:pt x="1196" y="1519"/>
                    </a:lnTo>
                    <a:lnTo>
                      <a:pt x="1198" y="1519"/>
                    </a:lnTo>
                    <a:lnTo>
                      <a:pt x="1198" y="1521"/>
                    </a:lnTo>
                    <a:lnTo>
                      <a:pt x="1200" y="1521"/>
                    </a:lnTo>
                    <a:lnTo>
                      <a:pt x="1198" y="1521"/>
                    </a:lnTo>
                    <a:lnTo>
                      <a:pt x="1200" y="1521"/>
                    </a:lnTo>
                    <a:lnTo>
                      <a:pt x="1198" y="1519"/>
                    </a:lnTo>
                    <a:lnTo>
                      <a:pt x="1200" y="1519"/>
                    </a:lnTo>
                    <a:lnTo>
                      <a:pt x="1202" y="1519"/>
                    </a:lnTo>
                    <a:lnTo>
                      <a:pt x="1202" y="1521"/>
                    </a:lnTo>
                    <a:lnTo>
                      <a:pt x="1203" y="1522"/>
                    </a:lnTo>
                    <a:lnTo>
                      <a:pt x="1202" y="1521"/>
                    </a:lnTo>
                    <a:lnTo>
                      <a:pt x="1202" y="1519"/>
                    </a:lnTo>
                    <a:lnTo>
                      <a:pt x="1203" y="1521"/>
                    </a:lnTo>
                    <a:lnTo>
                      <a:pt x="1205" y="1522"/>
                    </a:lnTo>
                    <a:lnTo>
                      <a:pt x="1205" y="1521"/>
                    </a:lnTo>
                    <a:lnTo>
                      <a:pt x="1205" y="1522"/>
                    </a:lnTo>
                    <a:lnTo>
                      <a:pt x="1207" y="1522"/>
                    </a:lnTo>
                    <a:lnTo>
                      <a:pt x="1205" y="1522"/>
                    </a:lnTo>
                    <a:lnTo>
                      <a:pt x="1207" y="1522"/>
                    </a:lnTo>
                    <a:lnTo>
                      <a:pt x="1207" y="1524"/>
                    </a:lnTo>
                    <a:lnTo>
                      <a:pt x="1208" y="1524"/>
                    </a:lnTo>
                    <a:lnTo>
                      <a:pt x="1207" y="1524"/>
                    </a:lnTo>
                    <a:lnTo>
                      <a:pt x="1208" y="1524"/>
                    </a:lnTo>
                    <a:lnTo>
                      <a:pt x="1208" y="1526"/>
                    </a:lnTo>
                    <a:lnTo>
                      <a:pt x="1208" y="1527"/>
                    </a:lnTo>
                    <a:lnTo>
                      <a:pt x="1208" y="1526"/>
                    </a:lnTo>
                    <a:lnTo>
                      <a:pt x="1210" y="1526"/>
                    </a:lnTo>
                    <a:lnTo>
                      <a:pt x="1208" y="1526"/>
                    </a:lnTo>
                    <a:lnTo>
                      <a:pt x="1208" y="1524"/>
                    </a:lnTo>
                    <a:lnTo>
                      <a:pt x="1208" y="1522"/>
                    </a:lnTo>
                    <a:lnTo>
                      <a:pt x="1210" y="1522"/>
                    </a:lnTo>
                    <a:lnTo>
                      <a:pt x="1208" y="1522"/>
                    </a:lnTo>
                    <a:lnTo>
                      <a:pt x="1210" y="1524"/>
                    </a:lnTo>
                    <a:lnTo>
                      <a:pt x="1212" y="1524"/>
                    </a:lnTo>
                    <a:lnTo>
                      <a:pt x="1212" y="1526"/>
                    </a:lnTo>
                    <a:lnTo>
                      <a:pt x="1212" y="1527"/>
                    </a:lnTo>
                    <a:lnTo>
                      <a:pt x="1210" y="1527"/>
                    </a:lnTo>
                    <a:lnTo>
                      <a:pt x="1212" y="1529"/>
                    </a:lnTo>
                    <a:lnTo>
                      <a:pt x="1212" y="1531"/>
                    </a:lnTo>
                    <a:lnTo>
                      <a:pt x="1212" y="1532"/>
                    </a:lnTo>
                    <a:lnTo>
                      <a:pt x="1213" y="1532"/>
                    </a:lnTo>
                    <a:lnTo>
                      <a:pt x="1213" y="1534"/>
                    </a:lnTo>
                    <a:lnTo>
                      <a:pt x="1213" y="1532"/>
                    </a:lnTo>
                    <a:lnTo>
                      <a:pt x="1213" y="1531"/>
                    </a:lnTo>
                    <a:lnTo>
                      <a:pt x="1215" y="1531"/>
                    </a:lnTo>
                    <a:lnTo>
                      <a:pt x="1213" y="1531"/>
                    </a:lnTo>
                    <a:lnTo>
                      <a:pt x="1215" y="1529"/>
                    </a:lnTo>
                    <a:lnTo>
                      <a:pt x="1213" y="1531"/>
                    </a:lnTo>
                    <a:lnTo>
                      <a:pt x="1213" y="1529"/>
                    </a:lnTo>
                    <a:lnTo>
                      <a:pt x="1213" y="1527"/>
                    </a:lnTo>
                    <a:lnTo>
                      <a:pt x="1212" y="1527"/>
                    </a:lnTo>
                    <a:lnTo>
                      <a:pt x="1213" y="1527"/>
                    </a:lnTo>
                    <a:lnTo>
                      <a:pt x="1213" y="1526"/>
                    </a:lnTo>
                    <a:lnTo>
                      <a:pt x="1215" y="1526"/>
                    </a:lnTo>
                    <a:lnTo>
                      <a:pt x="1215" y="1527"/>
                    </a:lnTo>
                    <a:lnTo>
                      <a:pt x="1217" y="1527"/>
                    </a:lnTo>
                    <a:lnTo>
                      <a:pt x="1215" y="1527"/>
                    </a:lnTo>
                    <a:lnTo>
                      <a:pt x="1217" y="1527"/>
                    </a:lnTo>
                    <a:lnTo>
                      <a:pt x="1217" y="1529"/>
                    </a:lnTo>
                    <a:lnTo>
                      <a:pt x="1217" y="1527"/>
                    </a:lnTo>
                    <a:lnTo>
                      <a:pt x="1217" y="1529"/>
                    </a:lnTo>
                    <a:lnTo>
                      <a:pt x="1215" y="1529"/>
                    </a:lnTo>
                    <a:lnTo>
                      <a:pt x="1217" y="1529"/>
                    </a:lnTo>
                    <a:lnTo>
                      <a:pt x="1215" y="1529"/>
                    </a:lnTo>
                    <a:lnTo>
                      <a:pt x="1217" y="1529"/>
                    </a:lnTo>
                    <a:lnTo>
                      <a:pt x="1219" y="1529"/>
                    </a:lnTo>
                    <a:lnTo>
                      <a:pt x="1217" y="1529"/>
                    </a:lnTo>
                    <a:lnTo>
                      <a:pt x="1219" y="1529"/>
                    </a:lnTo>
                    <a:lnTo>
                      <a:pt x="1219" y="1531"/>
                    </a:lnTo>
                    <a:lnTo>
                      <a:pt x="1220" y="1531"/>
                    </a:lnTo>
                    <a:lnTo>
                      <a:pt x="1219" y="1531"/>
                    </a:lnTo>
                    <a:lnTo>
                      <a:pt x="1219" y="1532"/>
                    </a:lnTo>
                    <a:lnTo>
                      <a:pt x="1217" y="1532"/>
                    </a:lnTo>
                    <a:lnTo>
                      <a:pt x="1219" y="1532"/>
                    </a:lnTo>
                    <a:lnTo>
                      <a:pt x="1217" y="1532"/>
                    </a:lnTo>
                    <a:lnTo>
                      <a:pt x="1219" y="1532"/>
                    </a:lnTo>
                    <a:lnTo>
                      <a:pt x="1220" y="1532"/>
                    </a:lnTo>
                    <a:lnTo>
                      <a:pt x="1220" y="1534"/>
                    </a:lnTo>
                    <a:lnTo>
                      <a:pt x="1222" y="1534"/>
                    </a:lnTo>
                    <a:lnTo>
                      <a:pt x="1224" y="1534"/>
                    </a:lnTo>
                    <a:lnTo>
                      <a:pt x="1224" y="1536"/>
                    </a:lnTo>
                    <a:lnTo>
                      <a:pt x="1222" y="1536"/>
                    </a:lnTo>
                    <a:lnTo>
                      <a:pt x="1224" y="1536"/>
                    </a:lnTo>
                    <a:lnTo>
                      <a:pt x="1225" y="1536"/>
                    </a:lnTo>
                    <a:lnTo>
                      <a:pt x="1225" y="1538"/>
                    </a:lnTo>
                    <a:lnTo>
                      <a:pt x="1227" y="1538"/>
                    </a:lnTo>
                    <a:lnTo>
                      <a:pt x="1225" y="1539"/>
                    </a:lnTo>
                    <a:lnTo>
                      <a:pt x="1225" y="1538"/>
                    </a:lnTo>
                    <a:lnTo>
                      <a:pt x="1224" y="1539"/>
                    </a:lnTo>
                    <a:lnTo>
                      <a:pt x="1222" y="1539"/>
                    </a:lnTo>
                    <a:lnTo>
                      <a:pt x="1222" y="1538"/>
                    </a:lnTo>
                    <a:lnTo>
                      <a:pt x="1222" y="1539"/>
                    </a:lnTo>
                    <a:lnTo>
                      <a:pt x="1220" y="1539"/>
                    </a:lnTo>
                    <a:lnTo>
                      <a:pt x="1220" y="1538"/>
                    </a:lnTo>
                    <a:lnTo>
                      <a:pt x="1219" y="1538"/>
                    </a:lnTo>
                    <a:lnTo>
                      <a:pt x="1217" y="1536"/>
                    </a:lnTo>
                    <a:lnTo>
                      <a:pt x="1219" y="1536"/>
                    </a:lnTo>
                    <a:lnTo>
                      <a:pt x="1217" y="1536"/>
                    </a:lnTo>
                    <a:lnTo>
                      <a:pt x="1215" y="1536"/>
                    </a:lnTo>
                    <a:lnTo>
                      <a:pt x="1215" y="1538"/>
                    </a:lnTo>
                    <a:lnTo>
                      <a:pt x="1215" y="1536"/>
                    </a:lnTo>
                    <a:lnTo>
                      <a:pt x="1213" y="1538"/>
                    </a:lnTo>
                    <a:lnTo>
                      <a:pt x="1212" y="1538"/>
                    </a:lnTo>
                    <a:lnTo>
                      <a:pt x="1210" y="1538"/>
                    </a:lnTo>
                    <a:lnTo>
                      <a:pt x="1210" y="1536"/>
                    </a:lnTo>
                    <a:lnTo>
                      <a:pt x="1208" y="1534"/>
                    </a:lnTo>
                    <a:lnTo>
                      <a:pt x="1210" y="1534"/>
                    </a:lnTo>
                    <a:lnTo>
                      <a:pt x="1212" y="1534"/>
                    </a:lnTo>
                    <a:lnTo>
                      <a:pt x="1212" y="1536"/>
                    </a:lnTo>
                    <a:lnTo>
                      <a:pt x="1212" y="1534"/>
                    </a:lnTo>
                    <a:lnTo>
                      <a:pt x="1213" y="1536"/>
                    </a:lnTo>
                    <a:lnTo>
                      <a:pt x="1213" y="1534"/>
                    </a:lnTo>
                    <a:lnTo>
                      <a:pt x="1212" y="1534"/>
                    </a:lnTo>
                    <a:lnTo>
                      <a:pt x="1210" y="1534"/>
                    </a:lnTo>
                    <a:lnTo>
                      <a:pt x="1210" y="1532"/>
                    </a:lnTo>
                    <a:lnTo>
                      <a:pt x="1210" y="1531"/>
                    </a:lnTo>
                    <a:lnTo>
                      <a:pt x="1212" y="1531"/>
                    </a:lnTo>
                    <a:lnTo>
                      <a:pt x="1210" y="1531"/>
                    </a:lnTo>
                    <a:lnTo>
                      <a:pt x="1210" y="1529"/>
                    </a:lnTo>
                    <a:lnTo>
                      <a:pt x="1210" y="1531"/>
                    </a:lnTo>
                    <a:lnTo>
                      <a:pt x="1210" y="1529"/>
                    </a:lnTo>
                    <a:lnTo>
                      <a:pt x="1208" y="1527"/>
                    </a:lnTo>
                    <a:lnTo>
                      <a:pt x="1208" y="1529"/>
                    </a:lnTo>
                    <a:lnTo>
                      <a:pt x="1208" y="1531"/>
                    </a:lnTo>
                    <a:lnTo>
                      <a:pt x="1208" y="1529"/>
                    </a:lnTo>
                    <a:lnTo>
                      <a:pt x="1207" y="1529"/>
                    </a:lnTo>
                    <a:lnTo>
                      <a:pt x="1207" y="1527"/>
                    </a:lnTo>
                    <a:lnTo>
                      <a:pt x="1207" y="1526"/>
                    </a:lnTo>
                    <a:lnTo>
                      <a:pt x="1205" y="1526"/>
                    </a:lnTo>
                    <a:lnTo>
                      <a:pt x="1207" y="1527"/>
                    </a:lnTo>
                    <a:lnTo>
                      <a:pt x="1205" y="1527"/>
                    </a:lnTo>
                    <a:lnTo>
                      <a:pt x="1205" y="1529"/>
                    </a:lnTo>
                    <a:lnTo>
                      <a:pt x="1205" y="1527"/>
                    </a:lnTo>
                    <a:lnTo>
                      <a:pt x="1207" y="1527"/>
                    </a:lnTo>
                    <a:lnTo>
                      <a:pt x="1205" y="1527"/>
                    </a:lnTo>
                    <a:lnTo>
                      <a:pt x="1203" y="1527"/>
                    </a:lnTo>
                    <a:lnTo>
                      <a:pt x="1203" y="1526"/>
                    </a:lnTo>
                    <a:lnTo>
                      <a:pt x="1203" y="1524"/>
                    </a:lnTo>
                    <a:lnTo>
                      <a:pt x="1202" y="1524"/>
                    </a:lnTo>
                    <a:lnTo>
                      <a:pt x="1203" y="1526"/>
                    </a:lnTo>
                    <a:lnTo>
                      <a:pt x="1203" y="1527"/>
                    </a:lnTo>
                    <a:lnTo>
                      <a:pt x="1203" y="1526"/>
                    </a:lnTo>
                    <a:lnTo>
                      <a:pt x="1202" y="1526"/>
                    </a:lnTo>
                    <a:lnTo>
                      <a:pt x="1202" y="1524"/>
                    </a:lnTo>
                    <a:lnTo>
                      <a:pt x="1202" y="1522"/>
                    </a:lnTo>
                    <a:lnTo>
                      <a:pt x="1200" y="1522"/>
                    </a:lnTo>
                    <a:lnTo>
                      <a:pt x="1200" y="1521"/>
                    </a:lnTo>
                    <a:lnTo>
                      <a:pt x="1200" y="1522"/>
                    </a:lnTo>
                    <a:lnTo>
                      <a:pt x="1200" y="1524"/>
                    </a:lnTo>
                    <a:lnTo>
                      <a:pt x="1198" y="1522"/>
                    </a:lnTo>
                    <a:lnTo>
                      <a:pt x="1196" y="1524"/>
                    </a:lnTo>
                    <a:lnTo>
                      <a:pt x="1196" y="1522"/>
                    </a:lnTo>
                    <a:lnTo>
                      <a:pt x="1195" y="1522"/>
                    </a:lnTo>
                    <a:lnTo>
                      <a:pt x="1195" y="1521"/>
                    </a:lnTo>
                    <a:lnTo>
                      <a:pt x="1195" y="1522"/>
                    </a:lnTo>
                    <a:lnTo>
                      <a:pt x="1193" y="1521"/>
                    </a:lnTo>
                    <a:lnTo>
                      <a:pt x="1195" y="1522"/>
                    </a:lnTo>
                    <a:lnTo>
                      <a:pt x="1196" y="1524"/>
                    </a:lnTo>
                    <a:lnTo>
                      <a:pt x="1195" y="1524"/>
                    </a:lnTo>
                    <a:lnTo>
                      <a:pt x="1193" y="1526"/>
                    </a:lnTo>
                    <a:lnTo>
                      <a:pt x="1195" y="1524"/>
                    </a:lnTo>
                    <a:lnTo>
                      <a:pt x="1193" y="1524"/>
                    </a:lnTo>
                    <a:lnTo>
                      <a:pt x="1193" y="1522"/>
                    </a:lnTo>
                    <a:lnTo>
                      <a:pt x="1193" y="1524"/>
                    </a:lnTo>
                    <a:lnTo>
                      <a:pt x="1191" y="1522"/>
                    </a:lnTo>
                    <a:lnTo>
                      <a:pt x="1191" y="1524"/>
                    </a:lnTo>
                    <a:lnTo>
                      <a:pt x="1191" y="1522"/>
                    </a:lnTo>
                    <a:lnTo>
                      <a:pt x="1190" y="1522"/>
                    </a:lnTo>
                    <a:lnTo>
                      <a:pt x="1191" y="1524"/>
                    </a:lnTo>
                    <a:lnTo>
                      <a:pt x="1190" y="1524"/>
                    </a:lnTo>
                    <a:lnTo>
                      <a:pt x="1190" y="1522"/>
                    </a:lnTo>
                    <a:lnTo>
                      <a:pt x="1188" y="1521"/>
                    </a:lnTo>
                    <a:lnTo>
                      <a:pt x="1190" y="1521"/>
                    </a:lnTo>
                    <a:lnTo>
                      <a:pt x="1188" y="1519"/>
                    </a:lnTo>
                    <a:lnTo>
                      <a:pt x="1188" y="1521"/>
                    </a:lnTo>
                    <a:lnTo>
                      <a:pt x="1190" y="1522"/>
                    </a:lnTo>
                    <a:lnTo>
                      <a:pt x="1188" y="1524"/>
                    </a:lnTo>
                    <a:lnTo>
                      <a:pt x="1188" y="1526"/>
                    </a:lnTo>
                    <a:lnTo>
                      <a:pt x="1188" y="1524"/>
                    </a:lnTo>
                    <a:lnTo>
                      <a:pt x="1188" y="1522"/>
                    </a:lnTo>
                    <a:lnTo>
                      <a:pt x="1188" y="1524"/>
                    </a:lnTo>
                    <a:lnTo>
                      <a:pt x="1186" y="1524"/>
                    </a:lnTo>
                    <a:lnTo>
                      <a:pt x="1185" y="1524"/>
                    </a:lnTo>
                    <a:lnTo>
                      <a:pt x="1185" y="1522"/>
                    </a:lnTo>
                    <a:lnTo>
                      <a:pt x="1186" y="1522"/>
                    </a:lnTo>
                    <a:lnTo>
                      <a:pt x="1186" y="1521"/>
                    </a:lnTo>
                    <a:lnTo>
                      <a:pt x="1185" y="1521"/>
                    </a:lnTo>
                    <a:lnTo>
                      <a:pt x="1185" y="1519"/>
                    </a:lnTo>
                    <a:lnTo>
                      <a:pt x="1185" y="1521"/>
                    </a:lnTo>
                    <a:lnTo>
                      <a:pt x="1185" y="1522"/>
                    </a:lnTo>
                    <a:lnTo>
                      <a:pt x="1185" y="1521"/>
                    </a:lnTo>
                    <a:lnTo>
                      <a:pt x="1183" y="1521"/>
                    </a:lnTo>
                    <a:lnTo>
                      <a:pt x="1183" y="1519"/>
                    </a:lnTo>
                    <a:lnTo>
                      <a:pt x="1183" y="1517"/>
                    </a:lnTo>
                    <a:lnTo>
                      <a:pt x="1181" y="1517"/>
                    </a:lnTo>
                    <a:lnTo>
                      <a:pt x="1181" y="1515"/>
                    </a:lnTo>
                    <a:lnTo>
                      <a:pt x="1181" y="1517"/>
                    </a:lnTo>
                    <a:lnTo>
                      <a:pt x="1179" y="1517"/>
                    </a:lnTo>
                    <a:lnTo>
                      <a:pt x="1181" y="1515"/>
                    </a:lnTo>
                    <a:lnTo>
                      <a:pt x="1179" y="1517"/>
                    </a:lnTo>
                    <a:lnTo>
                      <a:pt x="1179" y="1515"/>
                    </a:lnTo>
                    <a:lnTo>
                      <a:pt x="1179" y="1514"/>
                    </a:lnTo>
                    <a:lnTo>
                      <a:pt x="1179" y="1512"/>
                    </a:lnTo>
                    <a:lnTo>
                      <a:pt x="1179" y="1514"/>
                    </a:lnTo>
                    <a:lnTo>
                      <a:pt x="1179" y="1515"/>
                    </a:lnTo>
                    <a:lnTo>
                      <a:pt x="1179" y="1514"/>
                    </a:lnTo>
                    <a:lnTo>
                      <a:pt x="1178" y="1515"/>
                    </a:lnTo>
                    <a:lnTo>
                      <a:pt x="1176" y="1515"/>
                    </a:lnTo>
                    <a:lnTo>
                      <a:pt x="1176" y="1514"/>
                    </a:lnTo>
                    <a:lnTo>
                      <a:pt x="1176" y="1512"/>
                    </a:lnTo>
                    <a:lnTo>
                      <a:pt x="1176" y="1510"/>
                    </a:lnTo>
                    <a:lnTo>
                      <a:pt x="1174" y="1510"/>
                    </a:lnTo>
                    <a:lnTo>
                      <a:pt x="1174" y="1509"/>
                    </a:lnTo>
                    <a:lnTo>
                      <a:pt x="1176" y="1509"/>
                    </a:lnTo>
                    <a:lnTo>
                      <a:pt x="1176" y="1510"/>
                    </a:lnTo>
                    <a:lnTo>
                      <a:pt x="1178" y="1510"/>
                    </a:lnTo>
                    <a:lnTo>
                      <a:pt x="1176" y="1510"/>
                    </a:lnTo>
                    <a:lnTo>
                      <a:pt x="1176" y="1509"/>
                    </a:lnTo>
                    <a:lnTo>
                      <a:pt x="1174" y="1509"/>
                    </a:lnTo>
                    <a:lnTo>
                      <a:pt x="1173" y="1507"/>
                    </a:lnTo>
                    <a:lnTo>
                      <a:pt x="1174" y="1507"/>
                    </a:lnTo>
                    <a:lnTo>
                      <a:pt x="1176" y="1507"/>
                    </a:lnTo>
                    <a:lnTo>
                      <a:pt x="1174" y="1507"/>
                    </a:lnTo>
                    <a:lnTo>
                      <a:pt x="1173" y="1505"/>
                    </a:lnTo>
                    <a:lnTo>
                      <a:pt x="1173" y="1504"/>
                    </a:lnTo>
                    <a:lnTo>
                      <a:pt x="1171" y="1502"/>
                    </a:lnTo>
                    <a:lnTo>
                      <a:pt x="1173" y="1504"/>
                    </a:lnTo>
                    <a:lnTo>
                      <a:pt x="1173" y="1502"/>
                    </a:lnTo>
                    <a:lnTo>
                      <a:pt x="1174" y="1502"/>
                    </a:lnTo>
                    <a:close/>
                    <a:moveTo>
                      <a:pt x="1278" y="1572"/>
                    </a:moveTo>
                    <a:lnTo>
                      <a:pt x="1276" y="1572"/>
                    </a:lnTo>
                    <a:lnTo>
                      <a:pt x="1278" y="1572"/>
                    </a:lnTo>
                    <a:lnTo>
                      <a:pt x="1280" y="1572"/>
                    </a:lnTo>
                    <a:lnTo>
                      <a:pt x="1280" y="1573"/>
                    </a:lnTo>
                    <a:lnTo>
                      <a:pt x="1280" y="1572"/>
                    </a:lnTo>
                    <a:lnTo>
                      <a:pt x="1281" y="1573"/>
                    </a:lnTo>
                    <a:lnTo>
                      <a:pt x="1280" y="1575"/>
                    </a:lnTo>
                    <a:lnTo>
                      <a:pt x="1281" y="1573"/>
                    </a:lnTo>
                    <a:lnTo>
                      <a:pt x="1280" y="1572"/>
                    </a:lnTo>
                    <a:lnTo>
                      <a:pt x="1281" y="1572"/>
                    </a:lnTo>
                    <a:lnTo>
                      <a:pt x="1283" y="1572"/>
                    </a:lnTo>
                    <a:lnTo>
                      <a:pt x="1283" y="1573"/>
                    </a:lnTo>
                    <a:lnTo>
                      <a:pt x="1281" y="1573"/>
                    </a:lnTo>
                    <a:lnTo>
                      <a:pt x="1283" y="1575"/>
                    </a:lnTo>
                    <a:lnTo>
                      <a:pt x="1283" y="1573"/>
                    </a:lnTo>
                    <a:lnTo>
                      <a:pt x="1283" y="1575"/>
                    </a:lnTo>
                    <a:lnTo>
                      <a:pt x="1285" y="1577"/>
                    </a:lnTo>
                    <a:lnTo>
                      <a:pt x="1283" y="1577"/>
                    </a:lnTo>
                    <a:lnTo>
                      <a:pt x="1285" y="1577"/>
                    </a:lnTo>
                    <a:lnTo>
                      <a:pt x="1285" y="1578"/>
                    </a:lnTo>
                    <a:lnTo>
                      <a:pt x="1283" y="1578"/>
                    </a:lnTo>
                    <a:lnTo>
                      <a:pt x="1283" y="1580"/>
                    </a:lnTo>
                    <a:lnTo>
                      <a:pt x="1285" y="1578"/>
                    </a:lnTo>
                    <a:lnTo>
                      <a:pt x="1285" y="1577"/>
                    </a:lnTo>
                    <a:lnTo>
                      <a:pt x="1285" y="1575"/>
                    </a:lnTo>
                    <a:lnTo>
                      <a:pt x="1285" y="1573"/>
                    </a:lnTo>
                    <a:lnTo>
                      <a:pt x="1285" y="1572"/>
                    </a:lnTo>
                    <a:lnTo>
                      <a:pt x="1287" y="1573"/>
                    </a:lnTo>
                    <a:lnTo>
                      <a:pt x="1288" y="1573"/>
                    </a:lnTo>
                    <a:lnTo>
                      <a:pt x="1288" y="1575"/>
                    </a:lnTo>
                    <a:lnTo>
                      <a:pt x="1288" y="1577"/>
                    </a:lnTo>
                    <a:lnTo>
                      <a:pt x="1288" y="1578"/>
                    </a:lnTo>
                    <a:lnTo>
                      <a:pt x="1290" y="1580"/>
                    </a:lnTo>
                    <a:lnTo>
                      <a:pt x="1288" y="1580"/>
                    </a:lnTo>
                    <a:lnTo>
                      <a:pt x="1287" y="1580"/>
                    </a:lnTo>
                    <a:lnTo>
                      <a:pt x="1288" y="1580"/>
                    </a:lnTo>
                    <a:lnTo>
                      <a:pt x="1290" y="1580"/>
                    </a:lnTo>
                    <a:lnTo>
                      <a:pt x="1290" y="1582"/>
                    </a:lnTo>
                    <a:lnTo>
                      <a:pt x="1290" y="1580"/>
                    </a:lnTo>
                    <a:lnTo>
                      <a:pt x="1290" y="1582"/>
                    </a:lnTo>
                    <a:lnTo>
                      <a:pt x="1290" y="1583"/>
                    </a:lnTo>
                    <a:lnTo>
                      <a:pt x="1290" y="1585"/>
                    </a:lnTo>
                    <a:lnTo>
                      <a:pt x="1292" y="1585"/>
                    </a:lnTo>
                    <a:lnTo>
                      <a:pt x="1292" y="1583"/>
                    </a:lnTo>
                    <a:lnTo>
                      <a:pt x="1292" y="1582"/>
                    </a:lnTo>
                    <a:lnTo>
                      <a:pt x="1292" y="1580"/>
                    </a:lnTo>
                    <a:lnTo>
                      <a:pt x="1293" y="1578"/>
                    </a:lnTo>
                    <a:lnTo>
                      <a:pt x="1293" y="1580"/>
                    </a:lnTo>
                    <a:lnTo>
                      <a:pt x="1293" y="1582"/>
                    </a:lnTo>
                    <a:lnTo>
                      <a:pt x="1292" y="1582"/>
                    </a:lnTo>
                    <a:lnTo>
                      <a:pt x="1293" y="1583"/>
                    </a:lnTo>
                    <a:lnTo>
                      <a:pt x="1293" y="1582"/>
                    </a:lnTo>
                    <a:lnTo>
                      <a:pt x="1293" y="1580"/>
                    </a:lnTo>
                    <a:lnTo>
                      <a:pt x="1293" y="1578"/>
                    </a:lnTo>
                    <a:lnTo>
                      <a:pt x="1295" y="1578"/>
                    </a:lnTo>
                    <a:lnTo>
                      <a:pt x="1295" y="1577"/>
                    </a:lnTo>
                    <a:lnTo>
                      <a:pt x="1295" y="1578"/>
                    </a:lnTo>
                    <a:lnTo>
                      <a:pt x="1297" y="1578"/>
                    </a:lnTo>
                    <a:lnTo>
                      <a:pt x="1297" y="1580"/>
                    </a:lnTo>
                    <a:lnTo>
                      <a:pt x="1298" y="1580"/>
                    </a:lnTo>
                    <a:lnTo>
                      <a:pt x="1298" y="1582"/>
                    </a:lnTo>
                    <a:lnTo>
                      <a:pt x="1297" y="1582"/>
                    </a:lnTo>
                    <a:lnTo>
                      <a:pt x="1298" y="1582"/>
                    </a:lnTo>
                    <a:lnTo>
                      <a:pt x="1297" y="1583"/>
                    </a:lnTo>
                    <a:lnTo>
                      <a:pt x="1297" y="1585"/>
                    </a:lnTo>
                    <a:lnTo>
                      <a:pt x="1295" y="1585"/>
                    </a:lnTo>
                    <a:lnTo>
                      <a:pt x="1295" y="1587"/>
                    </a:lnTo>
                    <a:lnTo>
                      <a:pt x="1297" y="1587"/>
                    </a:lnTo>
                    <a:lnTo>
                      <a:pt x="1297" y="1585"/>
                    </a:lnTo>
                    <a:lnTo>
                      <a:pt x="1297" y="1583"/>
                    </a:lnTo>
                    <a:lnTo>
                      <a:pt x="1298" y="1583"/>
                    </a:lnTo>
                    <a:lnTo>
                      <a:pt x="1298" y="1585"/>
                    </a:lnTo>
                    <a:lnTo>
                      <a:pt x="1298" y="1587"/>
                    </a:lnTo>
                    <a:lnTo>
                      <a:pt x="1298" y="1589"/>
                    </a:lnTo>
                    <a:lnTo>
                      <a:pt x="1297" y="1589"/>
                    </a:lnTo>
                    <a:lnTo>
                      <a:pt x="1298" y="1590"/>
                    </a:lnTo>
                    <a:lnTo>
                      <a:pt x="1298" y="1592"/>
                    </a:lnTo>
                    <a:lnTo>
                      <a:pt x="1297" y="1592"/>
                    </a:lnTo>
                    <a:lnTo>
                      <a:pt x="1295" y="1592"/>
                    </a:lnTo>
                    <a:lnTo>
                      <a:pt x="1297" y="1592"/>
                    </a:lnTo>
                    <a:lnTo>
                      <a:pt x="1297" y="1594"/>
                    </a:lnTo>
                    <a:lnTo>
                      <a:pt x="1295" y="1594"/>
                    </a:lnTo>
                    <a:lnTo>
                      <a:pt x="1293" y="1594"/>
                    </a:lnTo>
                    <a:lnTo>
                      <a:pt x="1293" y="1592"/>
                    </a:lnTo>
                    <a:lnTo>
                      <a:pt x="1292" y="1592"/>
                    </a:lnTo>
                    <a:lnTo>
                      <a:pt x="1293" y="1594"/>
                    </a:lnTo>
                    <a:lnTo>
                      <a:pt x="1295" y="1594"/>
                    </a:lnTo>
                    <a:lnTo>
                      <a:pt x="1295" y="1595"/>
                    </a:lnTo>
                    <a:lnTo>
                      <a:pt x="1293" y="1595"/>
                    </a:lnTo>
                    <a:lnTo>
                      <a:pt x="1295" y="1597"/>
                    </a:lnTo>
                    <a:lnTo>
                      <a:pt x="1293" y="1597"/>
                    </a:lnTo>
                    <a:lnTo>
                      <a:pt x="1292" y="1597"/>
                    </a:lnTo>
                    <a:lnTo>
                      <a:pt x="1292" y="1595"/>
                    </a:lnTo>
                    <a:lnTo>
                      <a:pt x="1292" y="1594"/>
                    </a:lnTo>
                    <a:lnTo>
                      <a:pt x="1292" y="1595"/>
                    </a:lnTo>
                    <a:lnTo>
                      <a:pt x="1290" y="1595"/>
                    </a:lnTo>
                    <a:lnTo>
                      <a:pt x="1290" y="1594"/>
                    </a:lnTo>
                    <a:lnTo>
                      <a:pt x="1288" y="1594"/>
                    </a:lnTo>
                    <a:lnTo>
                      <a:pt x="1287" y="1594"/>
                    </a:lnTo>
                    <a:lnTo>
                      <a:pt x="1287" y="1592"/>
                    </a:lnTo>
                    <a:lnTo>
                      <a:pt x="1285" y="1592"/>
                    </a:lnTo>
                    <a:lnTo>
                      <a:pt x="1285" y="1590"/>
                    </a:lnTo>
                    <a:lnTo>
                      <a:pt x="1287" y="1590"/>
                    </a:lnTo>
                    <a:lnTo>
                      <a:pt x="1288" y="1590"/>
                    </a:lnTo>
                    <a:lnTo>
                      <a:pt x="1290" y="1590"/>
                    </a:lnTo>
                    <a:lnTo>
                      <a:pt x="1290" y="1589"/>
                    </a:lnTo>
                    <a:lnTo>
                      <a:pt x="1292" y="1589"/>
                    </a:lnTo>
                    <a:lnTo>
                      <a:pt x="1290" y="1589"/>
                    </a:lnTo>
                    <a:lnTo>
                      <a:pt x="1290" y="1587"/>
                    </a:lnTo>
                    <a:lnTo>
                      <a:pt x="1290" y="1589"/>
                    </a:lnTo>
                    <a:lnTo>
                      <a:pt x="1288" y="1589"/>
                    </a:lnTo>
                    <a:lnTo>
                      <a:pt x="1287" y="1589"/>
                    </a:lnTo>
                    <a:lnTo>
                      <a:pt x="1287" y="1590"/>
                    </a:lnTo>
                    <a:lnTo>
                      <a:pt x="1287" y="1589"/>
                    </a:lnTo>
                    <a:lnTo>
                      <a:pt x="1287" y="1587"/>
                    </a:lnTo>
                    <a:lnTo>
                      <a:pt x="1287" y="1589"/>
                    </a:lnTo>
                    <a:lnTo>
                      <a:pt x="1285" y="1589"/>
                    </a:lnTo>
                    <a:lnTo>
                      <a:pt x="1283" y="1589"/>
                    </a:lnTo>
                    <a:lnTo>
                      <a:pt x="1283" y="1587"/>
                    </a:lnTo>
                    <a:lnTo>
                      <a:pt x="1281" y="1585"/>
                    </a:lnTo>
                    <a:lnTo>
                      <a:pt x="1283" y="1585"/>
                    </a:lnTo>
                    <a:lnTo>
                      <a:pt x="1283" y="1583"/>
                    </a:lnTo>
                    <a:lnTo>
                      <a:pt x="1283" y="1585"/>
                    </a:lnTo>
                    <a:lnTo>
                      <a:pt x="1283" y="1583"/>
                    </a:lnTo>
                    <a:lnTo>
                      <a:pt x="1285" y="1583"/>
                    </a:lnTo>
                    <a:lnTo>
                      <a:pt x="1285" y="1582"/>
                    </a:lnTo>
                    <a:lnTo>
                      <a:pt x="1285" y="1583"/>
                    </a:lnTo>
                    <a:lnTo>
                      <a:pt x="1283" y="1583"/>
                    </a:lnTo>
                    <a:lnTo>
                      <a:pt x="1283" y="1582"/>
                    </a:lnTo>
                    <a:lnTo>
                      <a:pt x="1285" y="1582"/>
                    </a:lnTo>
                    <a:lnTo>
                      <a:pt x="1285" y="1580"/>
                    </a:lnTo>
                    <a:lnTo>
                      <a:pt x="1283" y="1580"/>
                    </a:lnTo>
                    <a:lnTo>
                      <a:pt x="1283" y="1582"/>
                    </a:lnTo>
                    <a:lnTo>
                      <a:pt x="1283" y="1583"/>
                    </a:lnTo>
                    <a:lnTo>
                      <a:pt x="1281" y="1582"/>
                    </a:lnTo>
                    <a:lnTo>
                      <a:pt x="1280" y="1582"/>
                    </a:lnTo>
                    <a:lnTo>
                      <a:pt x="1281" y="1582"/>
                    </a:lnTo>
                    <a:lnTo>
                      <a:pt x="1281" y="1583"/>
                    </a:lnTo>
                    <a:lnTo>
                      <a:pt x="1281" y="1585"/>
                    </a:lnTo>
                    <a:lnTo>
                      <a:pt x="1280" y="1585"/>
                    </a:lnTo>
                    <a:lnTo>
                      <a:pt x="1281" y="1585"/>
                    </a:lnTo>
                    <a:lnTo>
                      <a:pt x="1280" y="1585"/>
                    </a:lnTo>
                    <a:lnTo>
                      <a:pt x="1281" y="1587"/>
                    </a:lnTo>
                    <a:lnTo>
                      <a:pt x="1281" y="1589"/>
                    </a:lnTo>
                    <a:lnTo>
                      <a:pt x="1281" y="1587"/>
                    </a:lnTo>
                    <a:lnTo>
                      <a:pt x="1283" y="1589"/>
                    </a:lnTo>
                    <a:lnTo>
                      <a:pt x="1285" y="1589"/>
                    </a:lnTo>
                    <a:lnTo>
                      <a:pt x="1285" y="1590"/>
                    </a:lnTo>
                    <a:lnTo>
                      <a:pt x="1283" y="1590"/>
                    </a:lnTo>
                    <a:lnTo>
                      <a:pt x="1283" y="1592"/>
                    </a:lnTo>
                    <a:lnTo>
                      <a:pt x="1285" y="1594"/>
                    </a:lnTo>
                    <a:lnTo>
                      <a:pt x="1283" y="1594"/>
                    </a:lnTo>
                    <a:lnTo>
                      <a:pt x="1281" y="1594"/>
                    </a:lnTo>
                    <a:lnTo>
                      <a:pt x="1280" y="1592"/>
                    </a:lnTo>
                    <a:lnTo>
                      <a:pt x="1281" y="1592"/>
                    </a:lnTo>
                    <a:lnTo>
                      <a:pt x="1280" y="1590"/>
                    </a:lnTo>
                    <a:lnTo>
                      <a:pt x="1280" y="1589"/>
                    </a:lnTo>
                    <a:lnTo>
                      <a:pt x="1281" y="1589"/>
                    </a:lnTo>
                    <a:lnTo>
                      <a:pt x="1280" y="1587"/>
                    </a:lnTo>
                    <a:lnTo>
                      <a:pt x="1281" y="1587"/>
                    </a:lnTo>
                    <a:lnTo>
                      <a:pt x="1280" y="1587"/>
                    </a:lnTo>
                    <a:lnTo>
                      <a:pt x="1280" y="1589"/>
                    </a:lnTo>
                    <a:lnTo>
                      <a:pt x="1280" y="1590"/>
                    </a:lnTo>
                    <a:lnTo>
                      <a:pt x="1278" y="1590"/>
                    </a:lnTo>
                    <a:lnTo>
                      <a:pt x="1278" y="1589"/>
                    </a:lnTo>
                    <a:lnTo>
                      <a:pt x="1278" y="1587"/>
                    </a:lnTo>
                    <a:lnTo>
                      <a:pt x="1278" y="1585"/>
                    </a:lnTo>
                    <a:lnTo>
                      <a:pt x="1280" y="1585"/>
                    </a:lnTo>
                    <a:lnTo>
                      <a:pt x="1278" y="1585"/>
                    </a:lnTo>
                    <a:lnTo>
                      <a:pt x="1278" y="1587"/>
                    </a:lnTo>
                    <a:lnTo>
                      <a:pt x="1276" y="1587"/>
                    </a:lnTo>
                    <a:lnTo>
                      <a:pt x="1278" y="1589"/>
                    </a:lnTo>
                    <a:lnTo>
                      <a:pt x="1276" y="1589"/>
                    </a:lnTo>
                    <a:lnTo>
                      <a:pt x="1275" y="1587"/>
                    </a:lnTo>
                    <a:lnTo>
                      <a:pt x="1275" y="1585"/>
                    </a:lnTo>
                    <a:lnTo>
                      <a:pt x="1275" y="1583"/>
                    </a:lnTo>
                    <a:lnTo>
                      <a:pt x="1273" y="1583"/>
                    </a:lnTo>
                    <a:lnTo>
                      <a:pt x="1275" y="1582"/>
                    </a:lnTo>
                    <a:lnTo>
                      <a:pt x="1276" y="1582"/>
                    </a:lnTo>
                    <a:lnTo>
                      <a:pt x="1276" y="1580"/>
                    </a:lnTo>
                    <a:lnTo>
                      <a:pt x="1278" y="1580"/>
                    </a:lnTo>
                    <a:lnTo>
                      <a:pt x="1278" y="1578"/>
                    </a:lnTo>
                    <a:lnTo>
                      <a:pt x="1278" y="1580"/>
                    </a:lnTo>
                    <a:lnTo>
                      <a:pt x="1276" y="1578"/>
                    </a:lnTo>
                    <a:lnTo>
                      <a:pt x="1276" y="1577"/>
                    </a:lnTo>
                    <a:lnTo>
                      <a:pt x="1275" y="1575"/>
                    </a:lnTo>
                    <a:lnTo>
                      <a:pt x="1276" y="1575"/>
                    </a:lnTo>
                    <a:lnTo>
                      <a:pt x="1275" y="1573"/>
                    </a:lnTo>
                    <a:lnTo>
                      <a:pt x="1276" y="1573"/>
                    </a:lnTo>
                    <a:lnTo>
                      <a:pt x="1276" y="1572"/>
                    </a:lnTo>
                    <a:lnTo>
                      <a:pt x="1278" y="1570"/>
                    </a:lnTo>
                    <a:lnTo>
                      <a:pt x="1278" y="1572"/>
                    </a:lnTo>
                    <a:close/>
                    <a:moveTo>
                      <a:pt x="1152" y="1354"/>
                    </a:moveTo>
                    <a:lnTo>
                      <a:pt x="1154" y="1354"/>
                    </a:lnTo>
                    <a:lnTo>
                      <a:pt x="1152" y="1356"/>
                    </a:lnTo>
                    <a:lnTo>
                      <a:pt x="1152" y="1357"/>
                    </a:lnTo>
                    <a:lnTo>
                      <a:pt x="1152" y="1356"/>
                    </a:lnTo>
                    <a:lnTo>
                      <a:pt x="1154" y="1356"/>
                    </a:lnTo>
                    <a:lnTo>
                      <a:pt x="1154" y="1357"/>
                    </a:lnTo>
                    <a:lnTo>
                      <a:pt x="1152" y="1357"/>
                    </a:lnTo>
                    <a:lnTo>
                      <a:pt x="1154" y="1359"/>
                    </a:lnTo>
                    <a:lnTo>
                      <a:pt x="1154" y="1357"/>
                    </a:lnTo>
                    <a:lnTo>
                      <a:pt x="1154" y="1356"/>
                    </a:lnTo>
                    <a:lnTo>
                      <a:pt x="1156" y="1356"/>
                    </a:lnTo>
                    <a:lnTo>
                      <a:pt x="1157" y="1356"/>
                    </a:lnTo>
                    <a:lnTo>
                      <a:pt x="1159" y="1356"/>
                    </a:lnTo>
                    <a:lnTo>
                      <a:pt x="1159" y="1357"/>
                    </a:lnTo>
                    <a:lnTo>
                      <a:pt x="1159" y="1359"/>
                    </a:lnTo>
                    <a:lnTo>
                      <a:pt x="1157" y="1359"/>
                    </a:lnTo>
                    <a:lnTo>
                      <a:pt x="1157" y="1361"/>
                    </a:lnTo>
                    <a:lnTo>
                      <a:pt x="1159" y="1359"/>
                    </a:lnTo>
                    <a:lnTo>
                      <a:pt x="1161" y="1359"/>
                    </a:lnTo>
                    <a:lnTo>
                      <a:pt x="1159" y="1359"/>
                    </a:lnTo>
                    <a:lnTo>
                      <a:pt x="1161" y="1359"/>
                    </a:lnTo>
                    <a:lnTo>
                      <a:pt x="1161" y="1361"/>
                    </a:lnTo>
                    <a:lnTo>
                      <a:pt x="1161" y="1362"/>
                    </a:lnTo>
                    <a:lnTo>
                      <a:pt x="1162" y="1362"/>
                    </a:lnTo>
                    <a:lnTo>
                      <a:pt x="1161" y="1361"/>
                    </a:lnTo>
                    <a:lnTo>
                      <a:pt x="1162" y="1359"/>
                    </a:lnTo>
                    <a:lnTo>
                      <a:pt x="1162" y="1357"/>
                    </a:lnTo>
                    <a:lnTo>
                      <a:pt x="1164" y="1357"/>
                    </a:lnTo>
                    <a:lnTo>
                      <a:pt x="1164" y="1359"/>
                    </a:lnTo>
                    <a:lnTo>
                      <a:pt x="1164" y="1361"/>
                    </a:lnTo>
                    <a:lnTo>
                      <a:pt x="1162" y="1362"/>
                    </a:lnTo>
                    <a:lnTo>
                      <a:pt x="1164" y="1361"/>
                    </a:lnTo>
                    <a:lnTo>
                      <a:pt x="1164" y="1362"/>
                    </a:lnTo>
                    <a:lnTo>
                      <a:pt x="1164" y="1361"/>
                    </a:lnTo>
                    <a:lnTo>
                      <a:pt x="1166" y="1361"/>
                    </a:lnTo>
                    <a:lnTo>
                      <a:pt x="1166" y="1362"/>
                    </a:lnTo>
                    <a:lnTo>
                      <a:pt x="1168" y="1362"/>
                    </a:lnTo>
                    <a:lnTo>
                      <a:pt x="1168" y="1364"/>
                    </a:lnTo>
                    <a:lnTo>
                      <a:pt x="1168" y="1362"/>
                    </a:lnTo>
                    <a:lnTo>
                      <a:pt x="1166" y="1361"/>
                    </a:lnTo>
                    <a:lnTo>
                      <a:pt x="1168" y="1362"/>
                    </a:lnTo>
                    <a:lnTo>
                      <a:pt x="1169" y="1362"/>
                    </a:lnTo>
                    <a:lnTo>
                      <a:pt x="1168" y="1362"/>
                    </a:lnTo>
                    <a:lnTo>
                      <a:pt x="1166" y="1361"/>
                    </a:lnTo>
                    <a:lnTo>
                      <a:pt x="1168" y="1361"/>
                    </a:lnTo>
                    <a:lnTo>
                      <a:pt x="1166" y="1359"/>
                    </a:lnTo>
                    <a:lnTo>
                      <a:pt x="1168" y="1361"/>
                    </a:lnTo>
                    <a:lnTo>
                      <a:pt x="1169" y="1361"/>
                    </a:lnTo>
                    <a:lnTo>
                      <a:pt x="1171" y="1362"/>
                    </a:lnTo>
                    <a:lnTo>
                      <a:pt x="1169" y="1362"/>
                    </a:lnTo>
                    <a:lnTo>
                      <a:pt x="1171" y="1364"/>
                    </a:lnTo>
                    <a:lnTo>
                      <a:pt x="1169" y="1364"/>
                    </a:lnTo>
                    <a:lnTo>
                      <a:pt x="1168" y="1364"/>
                    </a:lnTo>
                    <a:lnTo>
                      <a:pt x="1169" y="1364"/>
                    </a:lnTo>
                    <a:lnTo>
                      <a:pt x="1168" y="1364"/>
                    </a:lnTo>
                    <a:lnTo>
                      <a:pt x="1169" y="1364"/>
                    </a:lnTo>
                    <a:lnTo>
                      <a:pt x="1168" y="1364"/>
                    </a:lnTo>
                    <a:lnTo>
                      <a:pt x="1166" y="1364"/>
                    </a:lnTo>
                    <a:lnTo>
                      <a:pt x="1168" y="1364"/>
                    </a:lnTo>
                    <a:lnTo>
                      <a:pt x="1169" y="1366"/>
                    </a:lnTo>
                    <a:lnTo>
                      <a:pt x="1168" y="1367"/>
                    </a:lnTo>
                    <a:lnTo>
                      <a:pt x="1168" y="1366"/>
                    </a:lnTo>
                    <a:lnTo>
                      <a:pt x="1166" y="1366"/>
                    </a:lnTo>
                    <a:lnTo>
                      <a:pt x="1166" y="1367"/>
                    </a:lnTo>
                    <a:lnTo>
                      <a:pt x="1168" y="1367"/>
                    </a:lnTo>
                    <a:lnTo>
                      <a:pt x="1166" y="1367"/>
                    </a:lnTo>
                    <a:lnTo>
                      <a:pt x="1166" y="1366"/>
                    </a:lnTo>
                    <a:lnTo>
                      <a:pt x="1164" y="1366"/>
                    </a:lnTo>
                    <a:lnTo>
                      <a:pt x="1162" y="1367"/>
                    </a:lnTo>
                    <a:lnTo>
                      <a:pt x="1164" y="1366"/>
                    </a:lnTo>
                    <a:lnTo>
                      <a:pt x="1164" y="1367"/>
                    </a:lnTo>
                    <a:lnTo>
                      <a:pt x="1164" y="1369"/>
                    </a:lnTo>
                    <a:lnTo>
                      <a:pt x="1162" y="1369"/>
                    </a:lnTo>
                    <a:lnTo>
                      <a:pt x="1162" y="1371"/>
                    </a:lnTo>
                    <a:lnTo>
                      <a:pt x="1161" y="1371"/>
                    </a:lnTo>
                    <a:lnTo>
                      <a:pt x="1161" y="1373"/>
                    </a:lnTo>
                    <a:lnTo>
                      <a:pt x="1159" y="1371"/>
                    </a:lnTo>
                    <a:lnTo>
                      <a:pt x="1161" y="1373"/>
                    </a:lnTo>
                    <a:lnTo>
                      <a:pt x="1159" y="1373"/>
                    </a:lnTo>
                    <a:lnTo>
                      <a:pt x="1159" y="1374"/>
                    </a:lnTo>
                    <a:lnTo>
                      <a:pt x="1157" y="1373"/>
                    </a:lnTo>
                    <a:lnTo>
                      <a:pt x="1157" y="1374"/>
                    </a:lnTo>
                    <a:lnTo>
                      <a:pt x="1157" y="1376"/>
                    </a:lnTo>
                    <a:lnTo>
                      <a:pt x="1156" y="1378"/>
                    </a:lnTo>
                    <a:lnTo>
                      <a:pt x="1157" y="1376"/>
                    </a:lnTo>
                    <a:lnTo>
                      <a:pt x="1159" y="1376"/>
                    </a:lnTo>
                    <a:lnTo>
                      <a:pt x="1161" y="1376"/>
                    </a:lnTo>
                    <a:lnTo>
                      <a:pt x="1159" y="1376"/>
                    </a:lnTo>
                    <a:lnTo>
                      <a:pt x="1159" y="1374"/>
                    </a:lnTo>
                    <a:lnTo>
                      <a:pt x="1157" y="1374"/>
                    </a:lnTo>
                    <a:lnTo>
                      <a:pt x="1159" y="1374"/>
                    </a:lnTo>
                    <a:lnTo>
                      <a:pt x="1159" y="1373"/>
                    </a:lnTo>
                    <a:lnTo>
                      <a:pt x="1161" y="1373"/>
                    </a:lnTo>
                    <a:lnTo>
                      <a:pt x="1161" y="1371"/>
                    </a:lnTo>
                    <a:lnTo>
                      <a:pt x="1162" y="1371"/>
                    </a:lnTo>
                    <a:lnTo>
                      <a:pt x="1162" y="1369"/>
                    </a:lnTo>
                    <a:lnTo>
                      <a:pt x="1164" y="1369"/>
                    </a:lnTo>
                    <a:lnTo>
                      <a:pt x="1166" y="1369"/>
                    </a:lnTo>
                    <a:lnTo>
                      <a:pt x="1166" y="1371"/>
                    </a:lnTo>
                    <a:lnTo>
                      <a:pt x="1166" y="1373"/>
                    </a:lnTo>
                    <a:lnTo>
                      <a:pt x="1166" y="1374"/>
                    </a:lnTo>
                    <a:lnTo>
                      <a:pt x="1164" y="1373"/>
                    </a:lnTo>
                    <a:lnTo>
                      <a:pt x="1164" y="1374"/>
                    </a:lnTo>
                    <a:lnTo>
                      <a:pt x="1162" y="1373"/>
                    </a:lnTo>
                    <a:lnTo>
                      <a:pt x="1162" y="1374"/>
                    </a:lnTo>
                    <a:lnTo>
                      <a:pt x="1161" y="1374"/>
                    </a:lnTo>
                    <a:lnTo>
                      <a:pt x="1162" y="1374"/>
                    </a:lnTo>
                    <a:lnTo>
                      <a:pt x="1164" y="1374"/>
                    </a:lnTo>
                    <a:lnTo>
                      <a:pt x="1164" y="1376"/>
                    </a:lnTo>
                    <a:lnTo>
                      <a:pt x="1162" y="1374"/>
                    </a:lnTo>
                    <a:lnTo>
                      <a:pt x="1164" y="1376"/>
                    </a:lnTo>
                    <a:lnTo>
                      <a:pt x="1162" y="1376"/>
                    </a:lnTo>
                    <a:lnTo>
                      <a:pt x="1161" y="1376"/>
                    </a:lnTo>
                    <a:lnTo>
                      <a:pt x="1159" y="1376"/>
                    </a:lnTo>
                    <a:lnTo>
                      <a:pt x="1159" y="1378"/>
                    </a:lnTo>
                    <a:lnTo>
                      <a:pt x="1157" y="1378"/>
                    </a:lnTo>
                    <a:lnTo>
                      <a:pt x="1157" y="1379"/>
                    </a:lnTo>
                    <a:lnTo>
                      <a:pt x="1156" y="1379"/>
                    </a:lnTo>
                    <a:lnTo>
                      <a:pt x="1156" y="1378"/>
                    </a:lnTo>
                    <a:lnTo>
                      <a:pt x="1154" y="1379"/>
                    </a:lnTo>
                    <a:lnTo>
                      <a:pt x="1154" y="1378"/>
                    </a:lnTo>
                    <a:lnTo>
                      <a:pt x="1154" y="1379"/>
                    </a:lnTo>
                    <a:lnTo>
                      <a:pt x="1154" y="1378"/>
                    </a:lnTo>
                    <a:lnTo>
                      <a:pt x="1152" y="1378"/>
                    </a:lnTo>
                    <a:lnTo>
                      <a:pt x="1151" y="1378"/>
                    </a:lnTo>
                    <a:lnTo>
                      <a:pt x="1152" y="1378"/>
                    </a:lnTo>
                    <a:lnTo>
                      <a:pt x="1152" y="1376"/>
                    </a:lnTo>
                    <a:lnTo>
                      <a:pt x="1152" y="1374"/>
                    </a:lnTo>
                    <a:lnTo>
                      <a:pt x="1154" y="1374"/>
                    </a:lnTo>
                    <a:lnTo>
                      <a:pt x="1152" y="1374"/>
                    </a:lnTo>
                    <a:lnTo>
                      <a:pt x="1154" y="1374"/>
                    </a:lnTo>
                    <a:lnTo>
                      <a:pt x="1154" y="1373"/>
                    </a:lnTo>
                    <a:lnTo>
                      <a:pt x="1156" y="1373"/>
                    </a:lnTo>
                    <a:lnTo>
                      <a:pt x="1156" y="1371"/>
                    </a:lnTo>
                    <a:lnTo>
                      <a:pt x="1156" y="1369"/>
                    </a:lnTo>
                    <a:lnTo>
                      <a:pt x="1156" y="1371"/>
                    </a:lnTo>
                    <a:lnTo>
                      <a:pt x="1156" y="1373"/>
                    </a:lnTo>
                    <a:lnTo>
                      <a:pt x="1154" y="1373"/>
                    </a:lnTo>
                    <a:lnTo>
                      <a:pt x="1152" y="1373"/>
                    </a:lnTo>
                    <a:lnTo>
                      <a:pt x="1152" y="1374"/>
                    </a:lnTo>
                    <a:lnTo>
                      <a:pt x="1152" y="1373"/>
                    </a:lnTo>
                    <a:lnTo>
                      <a:pt x="1154" y="1373"/>
                    </a:lnTo>
                    <a:lnTo>
                      <a:pt x="1154" y="1371"/>
                    </a:lnTo>
                    <a:lnTo>
                      <a:pt x="1152" y="1371"/>
                    </a:lnTo>
                    <a:lnTo>
                      <a:pt x="1151" y="1373"/>
                    </a:lnTo>
                    <a:lnTo>
                      <a:pt x="1151" y="1374"/>
                    </a:lnTo>
                    <a:lnTo>
                      <a:pt x="1149" y="1374"/>
                    </a:lnTo>
                    <a:lnTo>
                      <a:pt x="1149" y="1376"/>
                    </a:lnTo>
                    <a:lnTo>
                      <a:pt x="1149" y="1378"/>
                    </a:lnTo>
                    <a:lnTo>
                      <a:pt x="1147" y="1378"/>
                    </a:lnTo>
                    <a:lnTo>
                      <a:pt x="1145" y="1376"/>
                    </a:lnTo>
                    <a:lnTo>
                      <a:pt x="1147" y="1376"/>
                    </a:lnTo>
                    <a:lnTo>
                      <a:pt x="1149" y="1374"/>
                    </a:lnTo>
                    <a:lnTo>
                      <a:pt x="1149" y="1373"/>
                    </a:lnTo>
                    <a:lnTo>
                      <a:pt x="1149" y="1374"/>
                    </a:lnTo>
                    <a:lnTo>
                      <a:pt x="1147" y="1374"/>
                    </a:lnTo>
                    <a:lnTo>
                      <a:pt x="1147" y="1373"/>
                    </a:lnTo>
                    <a:lnTo>
                      <a:pt x="1147" y="1371"/>
                    </a:lnTo>
                    <a:lnTo>
                      <a:pt x="1147" y="1369"/>
                    </a:lnTo>
                    <a:lnTo>
                      <a:pt x="1149" y="1369"/>
                    </a:lnTo>
                    <a:lnTo>
                      <a:pt x="1149" y="1367"/>
                    </a:lnTo>
                    <a:lnTo>
                      <a:pt x="1147" y="1367"/>
                    </a:lnTo>
                    <a:lnTo>
                      <a:pt x="1149" y="1366"/>
                    </a:lnTo>
                    <a:lnTo>
                      <a:pt x="1147" y="1366"/>
                    </a:lnTo>
                    <a:lnTo>
                      <a:pt x="1149" y="1366"/>
                    </a:lnTo>
                    <a:lnTo>
                      <a:pt x="1149" y="1364"/>
                    </a:lnTo>
                    <a:lnTo>
                      <a:pt x="1149" y="1362"/>
                    </a:lnTo>
                    <a:lnTo>
                      <a:pt x="1151" y="1362"/>
                    </a:lnTo>
                    <a:lnTo>
                      <a:pt x="1152" y="1362"/>
                    </a:lnTo>
                    <a:lnTo>
                      <a:pt x="1152" y="1364"/>
                    </a:lnTo>
                    <a:lnTo>
                      <a:pt x="1154" y="1364"/>
                    </a:lnTo>
                    <a:lnTo>
                      <a:pt x="1154" y="1366"/>
                    </a:lnTo>
                    <a:lnTo>
                      <a:pt x="1152" y="1366"/>
                    </a:lnTo>
                    <a:lnTo>
                      <a:pt x="1151" y="1364"/>
                    </a:lnTo>
                    <a:lnTo>
                      <a:pt x="1151" y="1366"/>
                    </a:lnTo>
                    <a:lnTo>
                      <a:pt x="1152" y="1366"/>
                    </a:lnTo>
                    <a:lnTo>
                      <a:pt x="1154" y="1366"/>
                    </a:lnTo>
                    <a:lnTo>
                      <a:pt x="1154" y="1367"/>
                    </a:lnTo>
                    <a:lnTo>
                      <a:pt x="1156" y="1367"/>
                    </a:lnTo>
                    <a:lnTo>
                      <a:pt x="1156" y="1369"/>
                    </a:lnTo>
                    <a:lnTo>
                      <a:pt x="1157" y="1367"/>
                    </a:lnTo>
                    <a:lnTo>
                      <a:pt x="1157" y="1366"/>
                    </a:lnTo>
                    <a:lnTo>
                      <a:pt x="1157" y="1364"/>
                    </a:lnTo>
                    <a:lnTo>
                      <a:pt x="1159" y="1362"/>
                    </a:lnTo>
                    <a:lnTo>
                      <a:pt x="1159" y="1361"/>
                    </a:lnTo>
                    <a:lnTo>
                      <a:pt x="1159" y="1362"/>
                    </a:lnTo>
                    <a:lnTo>
                      <a:pt x="1157" y="1362"/>
                    </a:lnTo>
                    <a:lnTo>
                      <a:pt x="1159" y="1362"/>
                    </a:lnTo>
                    <a:lnTo>
                      <a:pt x="1157" y="1364"/>
                    </a:lnTo>
                    <a:lnTo>
                      <a:pt x="1156" y="1362"/>
                    </a:lnTo>
                    <a:lnTo>
                      <a:pt x="1154" y="1362"/>
                    </a:lnTo>
                    <a:lnTo>
                      <a:pt x="1154" y="1361"/>
                    </a:lnTo>
                    <a:lnTo>
                      <a:pt x="1152" y="1362"/>
                    </a:lnTo>
                    <a:lnTo>
                      <a:pt x="1152" y="1361"/>
                    </a:lnTo>
                    <a:lnTo>
                      <a:pt x="1152" y="1362"/>
                    </a:lnTo>
                    <a:lnTo>
                      <a:pt x="1151" y="1361"/>
                    </a:lnTo>
                    <a:lnTo>
                      <a:pt x="1151" y="1359"/>
                    </a:lnTo>
                    <a:lnTo>
                      <a:pt x="1149" y="1359"/>
                    </a:lnTo>
                    <a:lnTo>
                      <a:pt x="1149" y="1357"/>
                    </a:lnTo>
                    <a:lnTo>
                      <a:pt x="1149" y="1356"/>
                    </a:lnTo>
                    <a:lnTo>
                      <a:pt x="1151" y="1356"/>
                    </a:lnTo>
                    <a:lnTo>
                      <a:pt x="1151" y="1354"/>
                    </a:lnTo>
                    <a:lnTo>
                      <a:pt x="1151" y="1356"/>
                    </a:lnTo>
                    <a:lnTo>
                      <a:pt x="1151" y="1357"/>
                    </a:lnTo>
                    <a:lnTo>
                      <a:pt x="1151" y="1356"/>
                    </a:lnTo>
                    <a:lnTo>
                      <a:pt x="1151" y="1354"/>
                    </a:lnTo>
                    <a:lnTo>
                      <a:pt x="1152" y="1354"/>
                    </a:lnTo>
                    <a:close/>
                    <a:moveTo>
                      <a:pt x="1266" y="1565"/>
                    </a:moveTo>
                    <a:lnTo>
                      <a:pt x="1268" y="1566"/>
                    </a:lnTo>
                    <a:lnTo>
                      <a:pt x="1270" y="1568"/>
                    </a:lnTo>
                    <a:lnTo>
                      <a:pt x="1270" y="1570"/>
                    </a:lnTo>
                    <a:lnTo>
                      <a:pt x="1270" y="1572"/>
                    </a:lnTo>
                    <a:lnTo>
                      <a:pt x="1270" y="1573"/>
                    </a:lnTo>
                    <a:lnTo>
                      <a:pt x="1270" y="1572"/>
                    </a:lnTo>
                    <a:lnTo>
                      <a:pt x="1270" y="1570"/>
                    </a:lnTo>
                    <a:lnTo>
                      <a:pt x="1271" y="1570"/>
                    </a:lnTo>
                    <a:lnTo>
                      <a:pt x="1271" y="1568"/>
                    </a:lnTo>
                    <a:lnTo>
                      <a:pt x="1273" y="1568"/>
                    </a:lnTo>
                    <a:lnTo>
                      <a:pt x="1271" y="1570"/>
                    </a:lnTo>
                    <a:lnTo>
                      <a:pt x="1273" y="1568"/>
                    </a:lnTo>
                    <a:lnTo>
                      <a:pt x="1275" y="1570"/>
                    </a:lnTo>
                    <a:lnTo>
                      <a:pt x="1276" y="1570"/>
                    </a:lnTo>
                    <a:lnTo>
                      <a:pt x="1275" y="1572"/>
                    </a:lnTo>
                    <a:lnTo>
                      <a:pt x="1275" y="1573"/>
                    </a:lnTo>
                    <a:lnTo>
                      <a:pt x="1273" y="1573"/>
                    </a:lnTo>
                    <a:lnTo>
                      <a:pt x="1275" y="1575"/>
                    </a:lnTo>
                    <a:lnTo>
                      <a:pt x="1275" y="1577"/>
                    </a:lnTo>
                    <a:lnTo>
                      <a:pt x="1273" y="1577"/>
                    </a:lnTo>
                    <a:lnTo>
                      <a:pt x="1271" y="1577"/>
                    </a:lnTo>
                    <a:lnTo>
                      <a:pt x="1273" y="1577"/>
                    </a:lnTo>
                    <a:lnTo>
                      <a:pt x="1273" y="1578"/>
                    </a:lnTo>
                    <a:lnTo>
                      <a:pt x="1273" y="1580"/>
                    </a:lnTo>
                    <a:lnTo>
                      <a:pt x="1273" y="1578"/>
                    </a:lnTo>
                    <a:lnTo>
                      <a:pt x="1275" y="1578"/>
                    </a:lnTo>
                    <a:lnTo>
                      <a:pt x="1275" y="1577"/>
                    </a:lnTo>
                    <a:lnTo>
                      <a:pt x="1276" y="1578"/>
                    </a:lnTo>
                    <a:lnTo>
                      <a:pt x="1276" y="1580"/>
                    </a:lnTo>
                    <a:lnTo>
                      <a:pt x="1275" y="1582"/>
                    </a:lnTo>
                    <a:lnTo>
                      <a:pt x="1275" y="1580"/>
                    </a:lnTo>
                    <a:lnTo>
                      <a:pt x="1275" y="1582"/>
                    </a:lnTo>
                    <a:lnTo>
                      <a:pt x="1273" y="1582"/>
                    </a:lnTo>
                    <a:lnTo>
                      <a:pt x="1273" y="1583"/>
                    </a:lnTo>
                    <a:lnTo>
                      <a:pt x="1273" y="1582"/>
                    </a:lnTo>
                    <a:lnTo>
                      <a:pt x="1273" y="1583"/>
                    </a:lnTo>
                    <a:lnTo>
                      <a:pt x="1271" y="1583"/>
                    </a:lnTo>
                    <a:lnTo>
                      <a:pt x="1271" y="1582"/>
                    </a:lnTo>
                    <a:lnTo>
                      <a:pt x="1271" y="1583"/>
                    </a:lnTo>
                    <a:lnTo>
                      <a:pt x="1270" y="1582"/>
                    </a:lnTo>
                    <a:lnTo>
                      <a:pt x="1270" y="1580"/>
                    </a:lnTo>
                    <a:lnTo>
                      <a:pt x="1268" y="1580"/>
                    </a:lnTo>
                    <a:lnTo>
                      <a:pt x="1270" y="1578"/>
                    </a:lnTo>
                    <a:lnTo>
                      <a:pt x="1268" y="1580"/>
                    </a:lnTo>
                    <a:lnTo>
                      <a:pt x="1268" y="1578"/>
                    </a:lnTo>
                    <a:lnTo>
                      <a:pt x="1266" y="1577"/>
                    </a:lnTo>
                    <a:lnTo>
                      <a:pt x="1266" y="1575"/>
                    </a:lnTo>
                    <a:lnTo>
                      <a:pt x="1266" y="1577"/>
                    </a:lnTo>
                    <a:lnTo>
                      <a:pt x="1266" y="1578"/>
                    </a:lnTo>
                    <a:lnTo>
                      <a:pt x="1266" y="1580"/>
                    </a:lnTo>
                    <a:lnTo>
                      <a:pt x="1268" y="1580"/>
                    </a:lnTo>
                    <a:lnTo>
                      <a:pt x="1266" y="1582"/>
                    </a:lnTo>
                    <a:lnTo>
                      <a:pt x="1268" y="1582"/>
                    </a:lnTo>
                    <a:lnTo>
                      <a:pt x="1268" y="1583"/>
                    </a:lnTo>
                    <a:lnTo>
                      <a:pt x="1270" y="1582"/>
                    </a:lnTo>
                    <a:lnTo>
                      <a:pt x="1270" y="1583"/>
                    </a:lnTo>
                    <a:lnTo>
                      <a:pt x="1271" y="1583"/>
                    </a:lnTo>
                    <a:lnTo>
                      <a:pt x="1271" y="1585"/>
                    </a:lnTo>
                    <a:lnTo>
                      <a:pt x="1271" y="1587"/>
                    </a:lnTo>
                    <a:lnTo>
                      <a:pt x="1271" y="1585"/>
                    </a:lnTo>
                    <a:lnTo>
                      <a:pt x="1271" y="1587"/>
                    </a:lnTo>
                    <a:lnTo>
                      <a:pt x="1273" y="1587"/>
                    </a:lnTo>
                    <a:lnTo>
                      <a:pt x="1273" y="1589"/>
                    </a:lnTo>
                    <a:lnTo>
                      <a:pt x="1273" y="1590"/>
                    </a:lnTo>
                    <a:lnTo>
                      <a:pt x="1271" y="1590"/>
                    </a:lnTo>
                    <a:lnTo>
                      <a:pt x="1271" y="1589"/>
                    </a:lnTo>
                    <a:lnTo>
                      <a:pt x="1270" y="1589"/>
                    </a:lnTo>
                    <a:lnTo>
                      <a:pt x="1268" y="1589"/>
                    </a:lnTo>
                    <a:lnTo>
                      <a:pt x="1270" y="1589"/>
                    </a:lnTo>
                    <a:lnTo>
                      <a:pt x="1270" y="1590"/>
                    </a:lnTo>
                    <a:lnTo>
                      <a:pt x="1268" y="1590"/>
                    </a:lnTo>
                    <a:lnTo>
                      <a:pt x="1270" y="1590"/>
                    </a:lnTo>
                    <a:lnTo>
                      <a:pt x="1270" y="1592"/>
                    </a:lnTo>
                    <a:lnTo>
                      <a:pt x="1268" y="1592"/>
                    </a:lnTo>
                    <a:lnTo>
                      <a:pt x="1270" y="1592"/>
                    </a:lnTo>
                    <a:lnTo>
                      <a:pt x="1270" y="1594"/>
                    </a:lnTo>
                    <a:lnTo>
                      <a:pt x="1271" y="1594"/>
                    </a:lnTo>
                    <a:lnTo>
                      <a:pt x="1270" y="1594"/>
                    </a:lnTo>
                    <a:lnTo>
                      <a:pt x="1268" y="1594"/>
                    </a:lnTo>
                    <a:lnTo>
                      <a:pt x="1266" y="1594"/>
                    </a:lnTo>
                    <a:lnTo>
                      <a:pt x="1266" y="1592"/>
                    </a:lnTo>
                    <a:lnTo>
                      <a:pt x="1266" y="1594"/>
                    </a:lnTo>
                    <a:lnTo>
                      <a:pt x="1264" y="1594"/>
                    </a:lnTo>
                    <a:lnTo>
                      <a:pt x="1264" y="1592"/>
                    </a:lnTo>
                    <a:lnTo>
                      <a:pt x="1266" y="1592"/>
                    </a:lnTo>
                    <a:lnTo>
                      <a:pt x="1266" y="1590"/>
                    </a:lnTo>
                    <a:lnTo>
                      <a:pt x="1266" y="1589"/>
                    </a:lnTo>
                    <a:lnTo>
                      <a:pt x="1268" y="1589"/>
                    </a:lnTo>
                    <a:lnTo>
                      <a:pt x="1268" y="1587"/>
                    </a:lnTo>
                    <a:lnTo>
                      <a:pt x="1268" y="1589"/>
                    </a:lnTo>
                    <a:lnTo>
                      <a:pt x="1266" y="1587"/>
                    </a:lnTo>
                    <a:lnTo>
                      <a:pt x="1266" y="1589"/>
                    </a:lnTo>
                    <a:lnTo>
                      <a:pt x="1264" y="1587"/>
                    </a:lnTo>
                    <a:lnTo>
                      <a:pt x="1263" y="1587"/>
                    </a:lnTo>
                    <a:lnTo>
                      <a:pt x="1264" y="1587"/>
                    </a:lnTo>
                    <a:lnTo>
                      <a:pt x="1263" y="1587"/>
                    </a:lnTo>
                    <a:lnTo>
                      <a:pt x="1264" y="1587"/>
                    </a:lnTo>
                    <a:lnTo>
                      <a:pt x="1263" y="1585"/>
                    </a:lnTo>
                    <a:lnTo>
                      <a:pt x="1263" y="1587"/>
                    </a:lnTo>
                    <a:lnTo>
                      <a:pt x="1263" y="1585"/>
                    </a:lnTo>
                    <a:lnTo>
                      <a:pt x="1261" y="1585"/>
                    </a:lnTo>
                    <a:lnTo>
                      <a:pt x="1261" y="1583"/>
                    </a:lnTo>
                    <a:lnTo>
                      <a:pt x="1259" y="1583"/>
                    </a:lnTo>
                    <a:lnTo>
                      <a:pt x="1259" y="1582"/>
                    </a:lnTo>
                    <a:lnTo>
                      <a:pt x="1261" y="1583"/>
                    </a:lnTo>
                    <a:lnTo>
                      <a:pt x="1261" y="1582"/>
                    </a:lnTo>
                    <a:lnTo>
                      <a:pt x="1263" y="1583"/>
                    </a:lnTo>
                    <a:lnTo>
                      <a:pt x="1263" y="1582"/>
                    </a:lnTo>
                    <a:lnTo>
                      <a:pt x="1261" y="1582"/>
                    </a:lnTo>
                    <a:lnTo>
                      <a:pt x="1259" y="1582"/>
                    </a:lnTo>
                    <a:lnTo>
                      <a:pt x="1258" y="1580"/>
                    </a:lnTo>
                    <a:lnTo>
                      <a:pt x="1259" y="1580"/>
                    </a:lnTo>
                    <a:lnTo>
                      <a:pt x="1261" y="1580"/>
                    </a:lnTo>
                    <a:lnTo>
                      <a:pt x="1263" y="1580"/>
                    </a:lnTo>
                    <a:lnTo>
                      <a:pt x="1261" y="1580"/>
                    </a:lnTo>
                    <a:lnTo>
                      <a:pt x="1259" y="1578"/>
                    </a:lnTo>
                    <a:lnTo>
                      <a:pt x="1259" y="1577"/>
                    </a:lnTo>
                    <a:lnTo>
                      <a:pt x="1259" y="1578"/>
                    </a:lnTo>
                    <a:lnTo>
                      <a:pt x="1258" y="1578"/>
                    </a:lnTo>
                    <a:lnTo>
                      <a:pt x="1258" y="1580"/>
                    </a:lnTo>
                    <a:lnTo>
                      <a:pt x="1256" y="1580"/>
                    </a:lnTo>
                    <a:lnTo>
                      <a:pt x="1256" y="1578"/>
                    </a:lnTo>
                    <a:lnTo>
                      <a:pt x="1254" y="1577"/>
                    </a:lnTo>
                    <a:lnTo>
                      <a:pt x="1256" y="1577"/>
                    </a:lnTo>
                    <a:lnTo>
                      <a:pt x="1256" y="1575"/>
                    </a:lnTo>
                    <a:lnTo>
                      <a:pt x="1258" y="1573"/>
                    </a:lnTo>
                    <a:lnTo>
                      <a:pt x="1258" y="1572"/>
                    </a:lnTo>
                    <a:lnTo>
                      <a:pt x="1258" y="1573"/>
                    </a:lnTo>
                    <a:lnTo>
                      <a:pt x="1256" y="1573"/>
                    </a:lnTo>
                    <a:lnTo>
                      <a:pt x="1254" y="1575"/>
                    </a:lnTo>
                    <a:lnTo>
                      <a:pt x="1254" y="1573"/>
                    </a:lnTo>
                    <a:lnTo>
                      <a:pt x="1254" y="1572"/>
                    </a:lnTo>
                    <a:lnTo>
                      <a:pt x="1254" y="1570"/>
                    </a:lnTo>
                    <a:lnTo>
                      <a:pt x="1256" y="1568"/>
                    </a:lnTo>
                    <a:lnTo>
                      <a:pt x="1256" y="1570"/>
                    </a:lnTo>
                    <a:lnTo>
                      <a:pt x="1258" y="1570"/>
                    </a:lnTo>
                    <a:lnTo>
                      <a:pt x="1259" y="1570"/>
                    </a:lnTo>
                    <a:lnTo>
                      <a:pt x="1259" y="1572"/>
                    </a:lnTo>
                    <a:lnTo>
                      <a:pt x="1259" y="1573"/>
                    </a:lnTo>
                    <a:lnTo>
                      <a:pt x="1261" y="1573"/>
                    </a:lnTo>
                    <a:lnTo>
                      <a:pt x="1263" y="1573"/>
                    </a:lnTo>
                    <a:lnTo>
                      <a:pt x="1261" y="1573"/>
                    </a:lnTo>
                    <a:lnTo>
                      <a:pt x="1261" y="1572"/>
                    </a:lnTo>
                    <a:lnTo>
                      <a:pt x="1259" y="1570"/>
                    </a:lnTo>
                    <a:lnTo>
                      <a:pt x="1261" y="1570"/>
                    </a:lnTo>
                    <a:lnTo>
                      <a:pt x="1261" y="1572"/>
                    </a:lnTo>
                    <a:lnTo>
                      <a:pt x="1263" y="1572"/>
                    </a:lnTo>
                    <a:lnTo>
                      <a:pt x="1261" y="1572"/>
                    </a:lnTo>
                    <a:lnTo>
                      <a:pt x="1261" y="1570"/>
                    </a:lnTo>
                    <a:lnTo>
                      <a:pt x="1263" y="1570"/>
                    </a:lnTo>
                    <a:lnTo>
                      <a:pt x="1263" y="1568"/>
                    </a:lnTo>
                    <a:lnTo>
                      <a:pt x="1263" y="1570"/>
                    </a:lnTo>
                    <a:lnTo>
                      <a:pt x="1264" y="1568"/>
                    </a:lnTo>
                    <a:lnTo>
                      <a:pt x="1266" y="1568"/>
                    </a:lnTo>
                    <a:lnTo>
                      <a:pt x="1264" y="1566"/>
                    </a:lnTo>
                    <a:lnTo>
                      <a:pt x="1266" y="1565"/>
                    </a:lnTo>
                    <a:close/>
                    <a:moveTo>
                      <a:pt x="1152" y="1252"/>
                    </a:moveTo>
                    <a:lnTo>
                      <a:pt x="1154" y="1253"/>
                    </a:lnTo>
                    <a:lnTo>
                      <a:pt x="1152" y="1255"/>
                    </a:lnTo>
                    <a:lnTo>
                      <a:pt x="1154" y="1255"/>
                    </a:lnTo>
                    <a:lnTo>
                      <a:pt x="1152" y="1255"/>
                    </a:lnTo>
                    <a:lnTo>
                      <a:pt x="1151" y="1255"/>
                    </a:lnTo>
                    <a:lnTo>
                      <a:pt x="1152" y="1255"/>
                    </a:lnTo>
                    <a:lnTo>
                      <a:pt x="1152" y="1257"/>
                    </a:lnTo>
                    <a:lnTo>
                      <a:pt x="1152" y="1259"/>
                    </a:lnTo>
                    <a:lnTo>
                      <a:pt x="1152" y="1257"/>
                    </a:lnTo>
                    <a:lnTo>
                      <a:pt x="1152" y="1255"/>
                    </a:lnTo>
                    <a:lnTo>
                      <a:pt x="1154" y="1255"/>
                    </a:lnTo>
                    <a:lnTo>
                      <a:pt x="1154" y="1257"/>
                    </a:lnTo>
                    <a:lnTo>
                      <a:pt x="1152" y="1259"/>
                    </a:lnTo>
                    <a:lnTo>
                      <a:pt x="1152" y="1260"/>
                    </a:lnTo>
                    <a:lnTo>
                      <a:pt x="1152" y="1259"/>
                    </a:lnTo>
                    <a:lnTo>
                      <a:pt x="1154" y="1259"/>
                    </a:lnTo>
                    <a:lnTo>
                      <a:pt x="1156" y="1259"/>
                    </a:lnTo>
                    <a:lnTo>
                      <a:pt x="1154" y="1259"/>
                    </a:lnTo>
                    <a:lnTo>
                      <a:pt x="1154" y="1260"/>
                    </a:lnTo>
                    <a:lnTo>
                      <a:pt x="1156" y="1260"/>
                    </a:lnTo>
                    <a:lnTo>
                      <a:pt x="1156" y="1262"/>
                    </a:lnTo>
                    <a:lnTo>
                      <a:pt x="1154" y="1262"/>
                    </a:lnTo>
                    <a:lnTo>
                      <a:pt x="1154" y="1264"/>
                    </a:lnTo>
                    <a:lnTo>
                      <a:pt x="1156" y="1262"/>
                    </a:lnTo>
                    <a:lnTo>
                      <a:pt x="1156" y="1264"/>
                    </a:lnTo>
                    <a:lnTo>
                      <a:pt x="1157" y="1264"/>
                    </a:lnTo>
                    <a:lnTo>
                      <a:pt x="1157" y="1265"/>
                    </a:lnTo>
                    <a:lnTo>
                      <a:pt x="1156" y="1265"/>
                    </a:lnTo>
                    <a:lnTo>
                      <a:pt x="1156" y="1267"/>
                    </a:lnTo>
                    <a:lnTo>
                      <a:pt x="1157" y="1265"/>
                    </a:lnTo>
                    <a:lnTo>
                      <a:pt x="1157" y="1267"/>
                    </a:lnTo>
                    <a:lnTo>
                      <a:pt x="1157" y="1269"/>
                    </a:lnTo>
                    <a:lnTo>
                      <a:pt x="1159" y="1269"/>
                    </a:lnTo>
                    <a:lnTo>
                      <a:pt x="1159" y="1270"/>
                    </a:lnTo>
                    <a:lnTo>
                      <a:pt x="1159" y="1272"/>
                    </a:lnTo>
                    <a:lnTo>
                      <a:pt x="1157" y="1272"/>
                    </a:lnTo>
                    <a:lnTo>
                      <a:pt x="1159" y="1272"/>
                    </a:lnTo>
                    <a:lnTo>
                      <a:pt x="1157" y="1272"/>
                    </a:lnTo>
                    <a:lnTo>
                      <a:pt x="1157" y="1274"/>
                    </a:lnTo>
                    <a:lnTo>
                      <a:pt x="1159" y="1272"/>
                    </a:lnTo>
                    <a:lnTo>
                      <a:pt x="1159" y="1270"/>
                    </a:lnTo>
                    <a:lnTo>
                      <a:pt x="1161" y="1272"/>
                    </a:lnTo>
                    <a:lnTo>
                      <a:pt x="1161" y="1274"/>
                    </a:lnTo>
                    <a:lnTo>
                      <a:pt x="1162" y="1274"/>
                    </a:lnTo>
                    <a:lnTo>
                      <a:pt x="1161" y="1276"/>
                    </a:lnTo>
                    <a:lnTo>
                      <a:pt x="1161" y="1274"/>
                    </a:lnTo>
                    <a:lnTo>
                      <a:pt x="1161" y="1276"/>
                    </a:lnTo>
                    <a:lnTo>
                      <a:pt x="1159" y="1276"/>
                    </a:lnTo>
                    <a:lnTo>
                      <a:pt x="1161" y="1276"/>
                    </a:lnTo>
                    <a:lnTo>
                      <a:pt x="1159" y="1277"/>
                    </a:lnTo>
                    <a:lnTo>
                      <a:pt x="1161" y="1276"/>
                    </a:lnTo>
                    <a:lnTo>
                      <a:pt x="1162" y="1276"/>
                    </a:lnTo>
                    <a:lnTo>
                      <a:pt x="1162" y="1277"/>
                    </a:lnTo>
                    <a:lnTo>
                      <a:pt x="1161" y="1277"/>
                    </a:lnTo>
                    <a:lnTo>
                      <a:pt x="1162" y="1279"/>
                    </a:lnTo>
                    <a:lnTo>
                      <a:pt x="1162" y="1281"/>
                    </a:lnTo>
                    <a:lnTo>
                      <a:pt x="1162" y="1282"/>
                    </a:lnTo>
                    <a:lnTo>
                      <a:pt x="1161" y="1282"/>
                    </a:lnTo>
                    <a:lnTo>
                      <a:pt x="1159" y="1284"/>
                    </a:lnTo>
                    <a:lnTo>
                      <a:pt x="1161" y="1284"/>
                    </a:lnTo>
                    <a:lnTo>
                      <a:pt x="1159" y="1284"/>
                    </a:lnTo>
                    <a:lnTo>
                      <a:pt x="1159" y="1286"/>
                    </a:lnTo>
                    <a:lnTo>
                      <a:pt x="1157" y="1286"/>
                    </a:lnTo>
                    <a:lnTo>
                      <a:pt x="1156" y="1286"/>
                    </a:lnTo>
                    <a:lnTo>
                      <a:pt x="1156" y="1284"/>
                    </a:lnTo>
                    <a:lnTo>
                      <a:pt x="1157" y="1284"/>
                    </a:lnTo>
                    <a:lnTo>
                      <a:pt x="1156" y="1284"/>
                    </a:lnTo>
                    <a:lnTo>
                      <a:pt x="1157" y="1282"/>
                    </a:lnTo>
                    <a:lnTo>
                      <a:pt x="1159" y="1282"/>
                    </a:lnTo>
                    <a:lnTo>
                      <a:pt x="1157" y="1282"/>
                    </a:lnTo>
                    <a:lnTo>
                      <a:pt x="1156" y="1284"/>
                    </a:lnTo>
                    <a:lnTo>
                      <a:pt x="1156" y="1282"/>
                    </a:lnTo>
                    <a:lnTo>
                      <a:pt x="1156" y="1281"/>
                    </a:lnTo>
                    <a:lnTo>
                      <a:pt x="1157" y="1281"/>
                    </a:lnTo>
                    <a:lnTo>
                      <a:pt x="1156" y="1281"/>
                    </a:lnTo>
                    <a:lnTo>
                      <a:pt x="1154" y="1281"/>
                    </a:lnTo>
                    <a:lnTo>
                      <a:pt x="1156" y="1279"/>
                    </a:lnTo>
                    <a:lnTo>
                      <a:pt x="1154" y="1279"/>
                    </a:lnTo>
                    <a:lnTo>
                      <a:pt x="1154" y="1277"/>
                    </a:lnTo>
                    <a:lnTo>
                      <a:pt x="1156" y="1277"/>
                    </a:lnTo>
                    <a:lnTo>
                      <a:pt x="1154" y="1277"/>
                    </a:lnTo>
                    <a:lnTo>
                      <a:pt x="1154" y="1276"/>
                    </a:lnTo>
                    <a:lnTo>
                      <a:pt x="1154" y="1274"/>
                    </a:lnTo>
                    <a:lnTo>
                      <a:pt x="1156" y="1274"/>
                    </a:lnTo>
                    <a:lnTo>
                      <a:pt x="1156" y="1272"/>
                    </a:lnTo>
                    <a:lnTo>
                      <a:pt x="1157" y="1272"/>
                    </a:lnTo>
                    <a:lnTo>
                      <a:pt x="1156" y="1270"/>
                    </a:lnTo>
                    <a:lnTo>
                      <a:pt x="1156" y="1272"/>
                    </a:lnTo>
                    <a:lnTo>
                      <a:pt x="1154" y="1272"/>
                    </a:lnTo>
                    <a:lnTo>
                      <a:pt x="1154" y="1270"/>
                    </a:lnTo>
                    <a:lnTo>
                      <a:pt x="1154" y="1272"/>
                    </a:lnTo>
                    <a:lnTo>
                      <a:pt x="1154" y="1270"/>
                    </a:lnTo>
                    <a:lnTo>
                      <a:pt x="1154" y="1269"/>
                    </a:lnTo>
                    <a:lnTo>
                      <a:pt x="1156" y="1269"/>
                    </a:lnTo>
                    <a:lnTo>
                      <a:pt x="1156" y="1267"/>
                    </a:lnTo>
                    <a:lnTo>
                      <a:pt x="1156" y="1269"/>
                    </a:lnTo>
                    <a:lnTo>
                      <a:pt x="1154" y="1269"/>
                    </a:lnTo>
                    <a:lnTo>
                      <a:pt x="1152" y="1270"/>
                    </a:lnTo>
                    <a:lnTo>
                      <a:pt x="1151" y="1272"/>
                    </a:lnTo>
                    <a:lnTo>
                      <a:pt x="1151" y="1270"/>
                    </a:lnTo>
                    <a:lnTo>
                      <a:pt x="1151" y="1272"/>
                    </a:lnTo>
                    <a:lnTo>
                      <a:pt x="1149" y="1272"/>
                    </a:lnTo>
                    <a:lnTo>
                      <a:pt x="1147" y="1272"/>
                    </a:lnTo>
                    <a:lnTo>
                      <a:pt x="1149" y="1272"/>
                    </a:lnTo>
                    <a:lnTo>
                      <a:pt x="1147" y="1272"/>
                    </a:lnTo>
                    <a:lnTo>
                      <a:pt x="1145" y="1270"/>
                    </a:lnTo>
                    <a:lnTo>
                      <a:pt x="1145" y="1269"/>
                    </a:lnTo>
                    <a:lnTo>
                      <a:pt x="1147" y="1269"/>
                    </a:lnTo>
                    <a:lnTo>
                      <a:pt x="1149" y="1269"/>
                    </a:lnTo>
                    <a:lnTo>
                      <a:pt x="1151" y="1269"/>
                    </a:lnTo>
                    <a:lnTo>
                      <a:pt x="1152" y="1269"/>
                    </a:lnTo>
                    <a:lnTo>
                      <a:pt x="1152" y="1267"/>
                    </a:lnTo>
                    <a:lnTo>
                      <a:pt x="1151" y="1269"/>
                    </a:lnTo>
                    <a:lnTo>
                      <a:pt x="1151" y="1267"/>
                    </a:lnTo>
                    <a:lnTo>
                      <a:pt x="1152" y="1267"/>
                    </a:lnTo>
                    <a:lnTo>
                      <a:pt x="1152" y="1265"/>
                    </a:lnTo>
                    <a:lnTo>
                      <a:pt x="1151" y="1267"/>
                    </a:lnTo>
                    <a:lnTo>
                      <a:pt x="1151" y="1265"/>
                    </a:lnTo>
                    <a:lnTo>
                      <a:pt x="1152" y="1264"/>
                    </a:lnTo>
                    <a:lnTo>
                      <a:pt x="1152" y="1262"/>
                    </a:lnTo>
                    <a:lnTo>
                      <a:pt x="1151" y="1264"/>
                    </a:lnTo>
                    <a:lnTo>
                      <a:pt x="1151" y="1265"/>
                    </a:lnTo>
                    <a:lnTo>
                      <a:pt x="1151" y="1267"/>
                    </a:lnTo>
                    <a:lnTo>
                      <a:pt x="1149" y="1267"/>
                    </a:lnTo>
                    <a:lnTo>
                      <a:pt x="1151" y="1269"/>
                    </a:lnTo>
                    <a:lnTo>
                      <a:pt x="1149" y="1269"/>
                    </a:lnTo>
                    <a:lnTo>
                      <a:pt x="1149" y="1267"/>
                    </a:lnTo>
                    <a:lnTo>
                      <a:pt x="1149" y="1269"/>
                    </a:lnTo>
                    <a:lnTo>
                      <a:pt x="1147" y="1269"/>
                    </a:lnTo>
                    <a:lnTo>
                      <a:pt x="1147" y="1267"/>
                    </a:lnTo>
                    <a:lnTo>
                      <a:pt x="1149" y="1267"/>
                    </a:lnTo>
                    <a:lnTo>
                      <a:pt x="1149" y="1265"/>
                    </a:lnTo>
                    <a:lnTo>
                      <a:pt x="1149" y="1264"/>
                    </a:lnTo>
                    <a:lnTo>
                      <a:pt x="1151" y="1262"/>
                    </a:lnTo>
                    <a:lnTo>
                      <a:pt x="1149" y="1264"/>
                    </a:lnTo>
                    <a:lnTo>
                      <a:pt x="1149" y="1262"/>
                    </a:lnTo>
                    <a:lnTo>
                      <a:pt x="1151" y="1262"/>
                    </a:lnTo>
                    <a:lnTo>
                      <a:pt x="1151" y="1260"/>
                    </a:lnTo>
                    <a:lnTo>
                      <a:pt x="1149" y="1262"/>
                    </a:lnTo>
                    <a:lnTo>
                      <a:pt x="1149" y="1264"/>
                    </a:lnTo>
                    <a:lnTo>
                      <a:pt x="1147" y="1264"/>
                    </a:lnTo>
                    <a:lnTo>
                      <a:pt x="1145" y="1262"/>
                    </a:lnTo>
                    <a:lnTo>
                      <a:pt x="1147" y="1262"/>
                    </a:lnTo>
                    <a:lnTo>
                      <a:pt x="1147" y="1260"/>
                    </a:lnTo>
                    <a:lnTo>
                      <a:pt x="1145" y="1260"/>
                    </a:lnTo>
                    <a:lnTo>
                      <a:pt x="1145" y="1259"/>
                    </a:lnTo>
                    <a:lnTo>
                      <a:pt x="1144" y="1257"/>
                    </a:lnTo>
                    <a:lnTo>
                      <a:pt x="1145" y="1255"/>
                    </a:lnTo>
                    <a:lnTo>
                      <a:pt x="1147" y="1255"/>
                    </a:lnTo>
                    <a:lnTo>
                      <a:pt x="1147" y="1253"/>
                    </a:lnTo>
                    <a:lnTo>
                      <a:pt x="1147" y="1255"/>
                    </a:lnTo>
                    <a:lnTo>
                      <a:pt x="1147" y="1253"/>
                    </a:lnTo>
                    <a:lnTo>
                      <a:pt x="1149" y="1255"/>
                    </a:lnTo>
                    <a:lnTo>
                      <a:pt x="1149" y="1253"/>
                    </a:lnTo>
                    <a:lnTo>
                      <a:pt x="1149" y="1255"/>
                    </a:lnTo>
                    <a:lnTo>
                      <a:pt x="1149" y="1253"/>
                    </a:lnTo>
                    <a:lnTo>
                      <a:pt x="1149" y="1255"/>
                    </a:lnTo>
                    <a:lnTo>
                      <a:pt x="1149" y="1253"/>
                    </a:lnTo>
                    <a:lnTo>
                      <a:pt x="1151" y="1253"/>
                    </a:lnTo>
                    <a:lnTo>
                      <a:pt x="1149" y="1255"/>
                    </a:lnTo>
                    <a:lnTo>
                      <a:pt x="1149" y="1257"/>
                    </a:lnTo>
                    <a:lnTo>
                      <a:pt x="1149" y="1255"/>
                    </a:lnTo>
                    <a:lnTo>
                      <a:pt x="1151" y="1255"/>
                    </a:lnTo>
                    <a:lnTo>
                      <a:pt x="1151" y="1253"/>
                    </a:lnTo>
                    <a:lnTo>
                      <a:pt x="1151" y="1252"/>
                    </a:lnTo>
                    <a:lnTo>
                      <a:pt x="1152" y="1252"/>
                    </a:lnTo>
                    <a:close/>
                    <a:moveTo>
                      <a:pt x="1176" y="1393"/>
                    </a:moveTo>
                    <a:lnTo>
                      <a:pt x="1176" y="1395"/>
                    </a:lnTo>
                    <a:lnTo>
                      <a:pt x="1176" y="1393"/>
                    </a:lnTo>
                    <a:lnTo>
                      <a:pt x="1178" y="1393"/>
                    </a:lnTo>
                    <a:lnTo>
                      <a:pt x="1178" y="1395"/>
                    </a:lnTo>
                    <a:lnTo>
                      <a:pt x="1179" y="1393"/>
                    </a:lnTo>
                    <a:lnTo>
                      <a:pt x="1179" y="1395"/>
                    </a:lnTo>
                    <a:lnTo>
                      <a:pt x="1181" y="1395"/>
                    </a:lnTo>
                    <a:lnTo>
                      <a:pt x="1181" y="1396"/>
                    </a:lnTo>
                    <a:lnTo>
                      <a:pt x="1181" y="1395"/>
                    </a:lnTo>
                    <a:lnTo>
                      <a:pt x="1183" y="1396"/>
                    </a:lnTo>
                    <a:lnTo>
                      <a:pt x="1181" y="1398"/>
                    </a:lnTo>
                    <a:lnTo>
                      <a:pt x="1181" y="1396"/>
                    </a:lnTo>
                    <a:lnTo>
                      <a:pt x="1181" y="1398"/>
                    </a:lnTo>
                    <a:lnTo>
                      <a:pt x="1181" y="1400"/>
                    </a:lnTo>
                    <a:lnTo>
                      <a:pt x="1179" y="1400"/>
                    </a:lnTo>
                    <a:lnTo>
                      <a:pt x="1181" y="1400"/>
                    </a:lnTo>
                    <a:lnTo>
                      <a:pt x="1181" y="1398"/>
                    </a:lnTo>
                    <a:lnTo>
                      <a:pt x="1183" y="1398"/>
                    </a:lnTo>
                    <a:lnTo>
                      <a:pt x="1183" y="1400"/>
                    </a:lnTo>
                    <a:lnTo>
                      <a:pt x="1183" y="1401"/>
                    </a:lnTo>
                    <a:lnTo>
                      <a:pt x="1183" y="1403"/>
                    </a:lnTo>
                    <a:lnTo>
                      <a:pt x="1181" y="1403"/>
                    </a:lnTo>
                    <a:lnTo>
                      <a:pt x="1183" y="1403"/>
                    </a:lnTo>
                    <a:lnTo>
                      <a:pt x="1183" y="1405"/>
                    </a:lnTo>
                    <a:lnTo>
                      <a:pt x="1183" y="1403"/>
                    </a:lnTo>
                    <a:lnTo>
                      <a:pt x="1183" y="1405"/>
                    </a:lnTo>
                    <a:lnTo>
                      <a:pt x="1183" y="1403"/>
                    </a:lnTo>
                    <a:lnTo>
                      <a:pt x="1183" y="1405"/>
                    </a:lnTo>
                    <a:lnTo>
                      <a:pt x="1183" y="1407"/>
                    </a:lnTo>
                    <a:lnTo>
                      <a:pt x="1183" y="1405"/>
                    </a:lnTo>
                    <a:lnTo>
                      <a:pt x="1185" y="1407"/>
                    </a:lnTo>
                    <a:lnTo>
                      <a:pt x="1185" y="1408"/>
                    </a:lnTo>
                    <a:lnTo>
                      <a:pt x="1185" y="1410"/>
                    </a:lnTo>
                    <a:lnTo>
                      <a:pt x="1185" y="1412"/>
                    </a:lnTo>
                    <a:lnTo>
                      <a:pt x="1183" y="1410"/>
                    </a:lnTo>
                    <a:lnTo>
                      <a:pt x="1185" y="1412"/>
                    </a:lnTo>
                    <a:lnTo>
                      <a:pt x="1183" y="1412"/>
                    </a:lnTo>
                    <a:lnTo>
                      <a:pt x="1183" y="1410"/>
                    </a:lnTo>
                    <a:lnTo>
                      <a:pt x="1181" y="1408"/>
                    </a:lnTo>
                    <a:lnTo>
                      <a:pt x="1181" y="1407"/>
                    </a:lnTo>
                    <a:lnTo>
                      <a:pt x="1179" y="1407"/>
                    </a:lnTo>
                    <a:lnTo>
                      <a:pt x="1179" y="1408"/>
                    </a:lnTo>
                    <a:lnTo>
                      <a:pt x="1181" y="1408"/>
                    </a:lnTo>
                    <a:lnTo>
                      <a:pt x="1181" y="1410"/>
                    </a:lnTo>
                    <a:lnTo>
                      <a:pt x="1181" y="1412"/>
                    </a:lnTo>
                    <a:lnTo>
                      <a:pt x="1179" y="1412"/>
                    </a:lnTo>
                    <a:lnTo>
                      <a:pt x="1179" y="1410"/>
                    </a:lnTo>
                    <a:lnTo>
                      <a:pt x="1179" y="1412"/>
                    </a:lnTo>
                    <a:lnTo>
                      <a:pt x="1181" y="1412"/>
                    </a:lnTo>
                    <a:lnTo>
                      <a:pt x="1181" y="1413"/>
                    </a:lnTo>
                    <a:lnTo>
                      <a:pt x="1183" y="1413"/>
                    </a:lnTo>
                    <a:lnTo>
                      <a:pt x="1185" y="1415"/>
                    </a:lnTo>
                    <a:lnTo>
                      <a:pt x="1185" y="1417"/>
                    </a:lnTo>
                    <a:lnTo>
                      <a:pt x="1185" y="1418"/>
                    </a:lnTo>
                    <a:lnTo>
                      <a:pt x="1183" y="1418"/>
                    </a:lnTo>
                    <a:lnTo>
                      <a:pt x="1183" y="1417"/>
                    </a:lnTo>
                    <a:lnTo>
                      <a:pt x="1181" y="1417"/>
                    </a:lnTo>
                    <a:lnTo>
                      <a:pt x="1183" y="1418"/>
                    </a:lnTo>
                    <a:lnTo>
                      <a:pt x="1183" y="1420"/>
                    </a:lnTo>
                    <a:lnTo>
                      <a:pt x="1183" y="1418"/>
                    </a:lnTo>
                    <a:lnTo>
                      <a:pt x="1181" y="1418"/>
                    </a:lnTo>
                    <a:lnTo>
                      <a:pt x="1181" y="1417"/>
                    </a:lnTo>
                    <a:lnTo>
                      <a:pt x="1179" y="1418"/>
                    </a:lnTo>
                    <a:lnTo>
                      <a:pt x="1181" y="1418"/>
                    </a:lnTo>
                    <a:lnTo>
                      <a:pt x="1183" y="1420"/>
                    </a:lnTo>
                    <a:lnTo>
                      <a:pt x="1183" y="1422"/>
                    </a:lnTo>
                    <a:lnTo>
                      <a:pt x="1181" y="1422"/>
                    </a:lnTo>
                    <a:lnTo>
                      <a:pt x="1181" y="1420"/>
                    </a:lnTo>
                    <a:lnTo>
                      <a:pt x="1181" y="1418"/>
                    </a:lnTo>
                    <a:lnTo>
                      <a:pt x="1179" y="1420"/>
                    </a:lnTo>
                    <a:lnTo>
                      <a:pt x="1179" y="1418"/>
                    </a:lnTo>
                    <a:lnTo>
                      <a:pt x="1178" y="1420"/>
                    </a:lnTo>
                    <a:lnTo>
                      <a:pt x="1178" y="1418"/>
                    </a:lnTo>
                    <a:lnTo>
                      <a:pt x="1179" y="1418"/>
                    </a:lnTo>
                    <a:lnTo>
                      <a:pt x="1179" y="1417"/>
                    </a:lnTo>
                    <a:lnTo>
                      <a:pt x="1178" y="1417"/>
                    </a:lnTo>
                    <a:lnTo>
                      <a:pt x="1178" y="1415"/>
                    </a:lnTo>
                    <a:lnTo>
                      <a:pt x="1176" y="1413"/>
                    </a:lnTo>
                    <a:lnTo>
                      <a:pt x="1178" y="1412"/>
                    </a:lnTo>
                    <a:lnTo>
                      <a:pt x="1176" y="1412"/>
                    </a:lnTo>
                    <a:lnTo>
                      <a:pt x="1176" y="1410"/>
                    </a:lnTo>
                    <a:lnTo>
                      <a:pt x="1178" y="1410"/>
                    </a:lnTo>
                    <a:lnTo>
                      <a:pt x="1179" y="1410"/>
                    </a:lnTo>
                    <a:lnTo>
                      <a:pt x="1179" y="1408"/>
                    </a:lnTo>
                    <a:lnTo>
                      <a:pt x="1179" y="1410"/>
                    </a:lnTo>
                    <a:lnTo>
                      <a:pt x="1178" y="1410"/>
                    </a:lnTo>
                    <a:lnTo>
                      <a:pt x="1176" y="1410"/>
                    </a:lnTo>
                    <a:lnTo>
                      <a:pt x="1176" y="1408"/>
                    </a:lnTo>
                    <a:lnTo>
                      <a:pt x="1176" y="1410"/>
                    </a:lnTo>
                    <a:lnTo>
                      <a:pt x="1176" y="1412"/>
                    </a:lnTo>
                    <a:lnTo>
                      <a:pt x="1174" y="1413"/>
                    </a:lnTo>
                    <a:lnTo>
                      <a:pt x="1174" y="1412"/>
                    </a:lnTo>
                    <a:lnTo>
                      <a:pt x="1174" y="1413"/>
                    </a:lnTo>
                    <a:lnTo>
                      <a:pt x="1173" y="1413"/>
                    </a:lnTo>
                    <a:lnTo>
                      <a:pt x="1171" y="1413"/>
                    </a:lnTo>
                    <a:lnTo>
                      <a:pt x="1173" y="1412"/>
                    </a:lnTo>
                    <a:lnTo>
                      <a:pt x="1171" y="1412"/>
                    </a:lnTo>
                    <a:lnTo>
                      <a:pt x="1173" y="1412"/>
                    </a:lnTo>
                    <a:lnTo>
                      <a:pt x="1173" y="1410"/>
                    </a:lnTo>
                    <a:lnTo>
                      <a:pt x="1171" y="1410"/>
                    </a:lnTo>
                    <a:lnTo>
                      <a:pt x="1173" y="1410"/>
                    </a:lnTo>
                    <a:lnTo>
                      <a:pt x="1174" y="1410"/>
                    </a:lnTo>
                    <a:lnTo>
                      <a:pt x="1174" y="1408"/>
                    </a:lnTo>
                    <a:lnTo>
                      <a:pt x="1176" y="1408"/>
                    </a:lnTo>
                    <a:lnTo>
                      <a:pt x="1176" y="1407"/>
                    </a:lnTo>
                    <a:lnTo>
                      <a:pt x="1176" y="1405"/>
                    </a:lnTo>
                    <a:lnTo>
                      <a:pt x="1176" y="1407"/>
                    </a:lnTo>
                    <a:lnTo>
                      <a:pt x="1174" y="1407"/>
                    </a:lnTo>
                    <a:lnTo>
                      <a:pt x="1174" y="1408"/>
                    </a:lnTo>
                    <a:lnTo>
                      <a:pt x="1173" y="1408"/>
                    </a:lnTo>
                    <a:lnTo>
                      <a:pt x="1171" y="1408"/>
                    </a:lnTo>
                    <a:lnTo>
                      <a:pt x="1171" y="1407"/>
                    </a:lnTo>
                    <a:lnTo>
                      <a:pt x="1171" y="1408"/>
                    </a:lnTo>
                    <a:lnTo>
                      <a:pt x="1169" y="1408"/>
                    </a:lnTo>
                    <a:lnTo>
                      <a:pt x="1171" y="1408"/>
                    </a:lnTo>
                    <a:lnTo>
                      <a:pt x="1171" y="1410"/>
                    </a:lnTo>
                    <a:lnTo>
                      <a:pt x="1169" y="1412"/>
                    </a:lnTo>
                    <a:lnTo>
                      <a:pt x="1168" y="1412"/>
                    </a:lnTo>
                    <a:lnTo>
                      <a:pt x="1169" y="1410"/>
                    </a:lnTo>
                    <a:lnTo>
                      <a:pt x="1168" y="1410"/>
                    </a:lnTo>
                    <a:lnTo>
                      <a:pt x="1168" y="1412"/>
                    </a:lnTo>
                    <a:lnTo>
                      <a:pt x="1166" y="1410"/>
                    </a:lnTo>
                    <a:lnTo>
                      <a:pt x="1168" y="1410"/>
                    </a:lnTo>
                    <a:lnTo>
                      <a:pt x="1168" y="1408"/>
                    </a:lnTo>
                    <a:lnTo>
                      <a:pt x="1169" y="1407"/>
                    </a:lnTo>
                    <a:lnTo>
                      <a:pt x="1168" y="1407"/>
                    </a:lnTo>
                    <a:lnTo>
                      <a:pt x="1169" y="1407"/>
                    </a:lnTo>
                    <a:lnTo>
                      <a:pt x="1171" y="1407"/>
                    </a:lnTo>
                    <a:lnTo>
                      <a:pt x="1169" y="1407"/>
                    </a:lnTo>
                    <a:lnTo>
                      <a:pt x="1168" y="1407"/>
                    </a:lnTo>
                    <a:lnTo>
                      <a:pt x="1166" y="1407"/>
                    </a:lnTo>
                    <a:lnTo>
                      <a:pt x="1168" y="1405"/>
                    </a:lnTo>
                    <a:lnTo>
                      <a:pt x="1169" y="1405"/>
                    </a:lnTo>
                    <a:lnTo>
                      <a:pt x="1168" y="1405"/>
                    </a:lnTo>
                    <a:lnTo>
                      <a:pt x="1166" y="1405"/>
                    </a:lnTo>
                    <a:lnTo>
                      <a:pt x="1166" y="1407"/>
                    </a:lnTo>
                    <a:lnTo>
                      <a:pt x="1164" y="1407"/>
                    </a:lnTo>
                    <a:lnTo>
                      <a:pt x="1164" y="1405"/>
                    </a:lnTo>
                    <a:lnTo>
                      <a:pt x="1164" y="1403"/>
                    </a:lnTo>
                    <a:lnTo>
                      <a:pt x="1166" y="1403"/>
                    </a:lnTo>
                    <a:lnTo>
                      <a:pt x="1168" y="1403"/>
                    </a:lnTo>
                    <a:lnTo>
                      <a:pt x="1166" y="1403"/>
                    </a:lnTo>
                    <a:lnTo>
                      <a:pt x="1164" y="1401"/>
                    </a:lnTo>
                    <a:lnTo>
                      <a:pt x="1166" y="1401"/>
                    </a:lnTo>
                    <a:lnTo>
                      <a:pt x="1168" y="1401"/>
                    </a:lnTo>
                    <a:lnTo>
                      <a:pt x="1166" y="1401"/>
                    </a:lnTo>
                    <a:lnTo>
                      <a:pt x="1168" y="1401"/>
                    </a:lnTo>
                    <a:lnTo>
                      <a:pt x="1169" y="1401"/>
                    </a:lnTo>
                    <a:lnTo>
                      <a:pt x="1169" y="1403"/>
                    </a:lnTo>
                    <a:lnTo>
                      <a:pt x="1171" y="1403"/>
                    </a:lnTo>
                    <a:lnTo>
                      <a:pt x="1173" y="1403"/>
                    </a:lnTo>
                    <a:lnTo>
                      <a:pt x="1174" y="1403"/>
                    </a:lnTo>
                    <a:lnTo>
                      <a:pt x="1173" y="1405"/>
                    </a:lnTo>
                    <a:lnTo>
                      <a:pt x="1174" y="1405"/>
                    </a:lnTo>
                    <a:lnTo>
                      <a:pt x="1174" y="1403"/>
                    </a:lnTo>
                    <a:lnTo>
                      <a:pt x="1176" y="1403"/>
                    </a:lnTo>
                    <a:lnTo>
                      <a:pt x="1176" y="1405"/>
                    </a:lnTo>
                    <a:lnTo>
                      <a:pt x="1176" y="1403"/>
                    </a:lnTo>
                    <a:lnTo>
                      <a:pt x="1178" y="1403"/>
                    </a:lnTo>
                    <a:lnTo>
                      <a:pt x="1176" y="1401"/>
                    </a:lnTo>
                    <a:lnTo>
                      <a:pt x="1178" y="1401"/>
                    </a:lnTo>
                    <a:lnTo>
                      <a:pt x="1176" y="1401"/>
                    </a:lnTo>
                    <a:lnTo>
                      <a:pt x="1176" y="1403"/>
                    </a:lnTo>
                    <a:lnTo>
                      <a:pt x="1174" y="1401"/>
                    </a:lnTo>
                    <a:lnTo>
                      <a:pt x="1174" y="1400"/>
                    </a:lnTo>
                    <a:lnTo>
                      <a:pt x="1176" y="1400"/>
                    </a:lnTo>
                    <a:lnTo>
                      <a:pt x="1176" y="1398"/>
                    </a:lnTo>
                    <a:lnTo>
                      <a:pt x="1178" y="1400"/>
                    </a:lnTo>
                    <a:lnTo>
                      <a:pt x="1176" y="1400"/>
                    </a:lnTo>
                    <a:lnTo>
                      <a:pt x="1178" y="1400"/>
                    </a:lnTo>
                    <a:lnTo>
                      <a:pt x="1178" y="1398"/>
                    </a:lnTo>
                    <a:lnTo>
                      <a:pt x="1179" y="1398"/>
                    </a:lnTo>
                    <a:lnTo>
                      <a:pt x="1178" y="1398"/>
                    </a:lnTo>
                    <a:lnTo>
                      <a:pt x="1176" y="1398"/>
                    </a:lnTo>
                    <a:lnTo>
                      <a:pt x="1176" y="1396"/>
                    </a:lnTo>
                    <a:lnTo>
                      <a:pt x="1174" y="1396"/>
                    </a:lnTo>
                    <a:lnTo>
                      <a:pt x="1174" y="1395"/>
                    </a:lnTo>
                    <a:lnTo>
                      <a:pt x="1173" y="1395"/>
                    </a:lnTo>
                    <a:lnTo>
                      <a:pt x="1174" y="1393"/>
                    </a:lnTo>
                    <a:lnTo>
                      <a:pt x="1174" y="1391"/>
                    </a:lnTo>
                    <a:lnTo>
                      <a:pt x="1176" y="1393"/>
                    </a:lnTo>
                    <a:close/>
                    <a:moveTo>
                      <a:pt x="1173" y="1259"/>
                    </a:moveTo>
                    <a:lnTo>
                      <a:pt x="1174" y="1259"/>
                    </a:lnTo>
                    <a:lnTo>
                      <a:pt x="1174" y="1260"/>
                    </a:lnTo>
                    <a:lnTo>
                      <a:pt x="1174" y="1262"/>
                    </a:lnTo>
                    <a:lnTo>
                      <a:pt x="1173" y="1262"/>
                    </a:lnTo>
                    <a:lnTo>
                      <a:pt x="1174" y="1262"/>
                    </a:lnTo>
                    <a:lnTo>
                      <a:pt x="1174" y="1264"/>
                    </a:lnTo>
                    <a:lnTo>
                      <a:pt x="1174" y="1262"/>
                    </a:lnTo>
                    <a:lnTo>
                      <a:pt x="1176" y="1264"/>
                    </a:lnTo>
                    <a:lnTo>
                      <a:pt x="1174" y="1265"/>
                    </a:lnTo>
                    <a:lnTo>
                      <a:pt x="1176" y="1265"/>
                    </a:lnTo>
                    <a:lnTo>
                      <a:pt x="1174" y="1265"/>
                    </a:lnTo>
                    <a:lnTo>
                      <a:pt x="1176" y="1267"/>
                    </a:lnTo>
                    <a:lnTo>
                      <a:pt x="1178" y="1267"/>
                    </a:lnTo>
                    <a:lnTo>
                      <a:pt x="1178" y="1269"/>
                    </a:lnTo>
                    <a:lnTo>
                      <a:pt x="1178" y="1270"/>
                    </a:lnTo>
                    <a:lnTo>
                      <a:pt x="1178" y="1272"/>
                    </a:lnTo>
                    <a:lnTo>
                      <a:pt x="1176" y="1272"/>
                    </a:lnTo>
                    <a:lnTo>
                      <a:pt x="1174" y="1272"/>
                    </a:lnTo>
                    <a:lnTo>
                      <a:pt x="1176" y="1272"/>
                    </a:lnTo>
                    <a:lnTo>
                      <a:pt x="1176" y="1274"/>
                    </a:lnTo>
                    <a:lnTo>
                      <a:pt x="1178" y="1276"/>
                    </a:lnTo>
                    <a:lnTo>
                      <a:pt x="1178" y="1277"/>
                    </a:lnTo>
                    <a:lnTo>
                      <a:pt x="1178" y="1279"/>
                    </a:lnTo>
                    <a:lnTo>
                      <a:pt x="1178" y="1281"/>
                    </a:lnTo>
                    <a:lnTo>
                      <a:pt x="1179" y="1282"/>
                    </a:lnTo>
                    <a:lnTo>
                      <a:pt x="1179" y="1284"/>
                    </a:lnTo>
                    <a:lnTo>
                      <a:pt x="1181" y="1282"/>
                    </a:lnTo>
                    <a:lnTo>
                      <a:pt x="1179" y="1282"/>
                    </a:lnTo>
                    <a:lnTo>
                      <a:pt x="1179" y="1281"/>
                    </a:lnTo>
                    <a:lnTo>
                      <a:pt x="1181" y="1281"/>
                    </a:lnTo>
                    <a:lnTo>
                      <a:pt x="1181" y="1282"/>
                    </a:lnTo>
                    <a:lnTo>
                      <a:pt x="1181" y="1284"/>
                    </a:lnTo>
                    <a:lnTo>
                      <a:pt x="1181" y="1286"/>
                    </a:lnTo>
                    <a:lnTo>
                      <a:pt x="1179" y="1286"/>
                    </a:lnTo>
                    <a:lnTo>
                      <a:pt x="1178" y="1288"/>
                    </a:lnTo>
                    <a:lnTo>
                      <a:pt x="1178" y="1286"/>
                    </a:lnTo>
                    <a:lnTo>
                      <a:pt x="1176" y="1286"/>
                    </a:lnTo>
                    <a:lnTo>
                      <a:pt x="1176" y="1284"/>
                    </a:lnTo>
                    <a:lnTo>
                      <a:pt x="1174" y="1284"/>
                    </a:lnTo>
                    <a:lnTo>
                      <a:pt x="1173" y="1284"/>
                    </a:lnTo>
                    <a:lnTo>
                      <a:pt x="1174" y="1282"/>
                    </a:lnTo>
                    <a:lnTo>
                      <a:pt x="1173" y="1284"/>
                    </a:lnTo>
                    <a:lnTo>
                      <a:pt x="1171" y="1284"/>
                    </a:lnTo>
                    <a:lnTo>
                      <a:pt x="1169" y="1282"/>
                    </a:lnTo>
                    <a:lnTo>
                      <a:pt x="1168" y="1282"/>
                    </a:lnTo>
                    <a:lnTo>
                      <a:pt x="1166" y="1282"/>
                    </a:lnTo>
                    <a:lnTo>
                      <a:pt x="1166" y="1281"/>
                    </a:lnTo>
                    <a:lnTo>
                      <a:pt x="1166" y="1279"/>
                    </a:lnTo>
                    <a:lnTo>
                      <a:pt x="1166" y="1281"/>
                    </a:lnTo>
                    <a:lnTo>
                      <a:pt x="1166" y="1282"/>
                    </a:lnTo>
                    <a:lnTo>
                      <a:pt x="1164" y="1282"/>
                    </a:lnTo>
                    <a:lnTo>
                      <a:pt x="1164" y="1281"/>
                    </a:lnTo>
                    <a:lnTo>
                      <a:pt x="1164" y="1279"/>
                    </a:lnTo>
                    <a:lnTo>
                      <a:pt x="1164" y="1277"/>
                    </a:lnTo>
                    <a:lnTo>
                      <a:pt x="1164" y="1276"/>
                    </a:lnTo>
                    <a:lnTo>
                      <a:pt x="1164" y="1274"/>
                    </a:lnTo>
                    <a:lnTo>
                      <a:pt x="1166" y="1274"/>
                    </a:lnTo>
                    <a:lnTo>
                      <a:pt x="1166" y="1272"/>
                    </a:lnTo>
                    <a:lnTo>
                      <a:pt x="1168" y="1272"/>
                    </a:lnTo>
                    <a:lnTo>
                      <a:pt x="1168" y="1270"/>
                    </a:lnTo>
                    <a:lnTo>
                      <a:pt x="1169" y="1272"/>
                    </a:lnTo>
                    <a:lnTo>
                      <a:pt x="1169" y="1270"/>
                    </a:lnTo>
                    <a:lnTo>
                      <a:pt x="1171" y="1270"/>
                    </a:lnTo>
                    <a:lnTo>
                      <a:pt x="1171" y="1272"/>
                    </a:lnTo>
                    <a:lnTo>
                      <a:pt x="1171" y="1274"/>
                    </a:lnTo>
                    <a:lnTo>
                      <a:pt x="1171" y="1276"/>
                    </a:lnTo>
                    <a:lnTo>
                      <a:pt x="1171" y="1277"/>
                    </a:lnTo>
                    <a:lnTo>
                      <a:pt x="1171" y="1279"/>
                    </a:lnTo>
                    <a:lnTo>
                      <a:pt x="1171" y="1277"/>
                    </a:lnTo>
                    <a:lnTo>
                      <a:pt x="1171" y="1276"/>
                    </a:lnTo>
                    <a:lnTo>
                      <a:pt x="1173" y="1276"/>
                    </a:lnTo>
                    <a:lnTo>
                      <a:pt x="1173" y="1277"/>
                    </a:lnTo>
                    <a:lnTo>
                      <a:pt x="1173" y="1279"/>
                    </a:lnTo>
                    <a:lnTo>
                      <a:pt x="1173" y="1277"/>
                    </a:lnTo>
                    <a:lnTo>
                      <a:pt x="1173" y="1276"/>
                    </a:lnTo>
                    <a:lnTo>
                      <a:pt x="1174" y="1276"/>
                    </a:lnTo>
                    <a:lnTo>
                      <a:pt x="1174" y="1274"/>
                    </a:lnTo>
                    <a:lnTo>
                      <a:pt x="1174" y="1272"/>
                    </a:lnTo>
                    <a:lnTo>
                      <a:pt x="1173" y="1274"/>
                    </a:lnTo>
                    <a:lnTo>
                      <a:pt x="1173" y="1272"/>
                    </a:lnTo>
                    <a:lnTo>
                      <a:pt x="1171" y="1272"/>
                    </a:lnTo>
                    <a:lnTo>
                      <a:pt x="1171" y="1270"/>
                    </a:lnTo>
                    <a:lnTo>
                      <a:pt x="1171" y="1272"/>
                    </a:lnTo>
                    <a:lnTo>
                      <a:pt x="1173" y="1272"/>
                    </a:lnTo>
                    <a:lnTo>
                      <a:pt x="1171" y="1270"/>
                    </a:lnTo>
                    <a:lnTo>
                      <a:pt x="1171" y="1269"/>
                    </a:lnTo>
                    <a:lnTo>
                      <a:pt x="1171" y="1267"/>
                    </a:lnTo>
                    <a:lnTo>
                      <a:pt x="1171" y="1265"/>
                    </a:lnTo>
                    <a:lnTo>
                      <a:pt x="1171" y="1264"/>
                    </a:lnTo>
                    <a:lnTo>
                      <a:pt x="1173" y="1264"/>
                    </a:lnTo>
                    <a:lnTo>
                      <a:pt x="1171" y="1264"/>
                    </a:lnTo>
                    <a:lnTo>
                      <a:pt x="1173" y="1262"/>
                    </a:lnTo>
                    <a:lnTo>
                      <a:pt x="1173" y="1260"/>
                    </a:lnTo>
                    <a:lnTo>
                      <a:pt x="1173" y="1259"/>
                    </a:lnTo>
                    <a:lnTo>
                      <a:pt x="1173" y="1257"/>
                    </a:lnTo>
                    <a:lnTo>
                      <a:pt x="1173" y="1259"/>
                    </a:lnTo>
                    <a:close/>
                    <a:moveTo>
                      <a:pt x="1188" y="1466"/>
                    </a:moveTo>
                    <a:lnTo>
                      <a:pt x="1190" y="1466"/>
                    </a:lnTo>
                    <a:lnTo>
                      <a:pt x="1190" y="1468"/>
                    </a:lnTo>
                    <a:lnTo>
                      <a:pt x="1191" y="1466"/>
                    </a:lnTo>
                    <a:lnTo>
                      <a:pt x="1193" y="1466"/>
                    </a:lnTo>
                    <a:lnTo>
                      <a:pt x="1193" y="1468"/>
                    </a:lnTo>
                    <a:lnTo>
                      <a:pt x="1195" y="1468"/>
                    </a:lnTo>
                    <a:lnTo>
                      <a:pt x="1195" y="1470"/>
                    </a:lnTo>
                    <a:lnTo>
                      <a:pt x="1193" y="1471"/>
                    </a:lnTo>
                    <a:lnTo>
                      <a:pt x="1195" y="1471"/>
                    </a:lnTo>
                    <a:lnTo>
                      <a:pt x="1195" y="1470"/>
                    </a:lnTo>
                    <a:lnTo>
                      <a:pt x="1196" y="1470"/>
                    </a:lnTo>
                    <a:lnTo>
                      <a:pt x="1196" y="1471"/>
                    </a:lnTo>
                    <a:lnTo>
                      <a:pt x="1198" y="1471"/>
                    </a:lnTo>
                    <a:lnTo>
                      <a:pt x="1198" y="1473"/>
                    </a:lnTo>
                    <a:lnTo>
                      <a:pt x="1200" y="1473"/>
                    </a:lnTo>
                    <a:lnTo>
                      <a:pt x="1202" y="1475"/>
                    </a:lnTo>
                    <a:lnTo>
                      <a:pt x="1203" y="1475"/>
                    </a:lnTo>
                    <a:lnTo>
                      <a:pt x="1203" y="1476"/>
                    </a:lnTo>
                    <a:lnTo>
                      <a:pt x="1205" y="1478"/>
                    </a:lnTo>
                    <a:lnTo>
                      <a:pt x="1205" y="1480"/>
                    </a:lnTo>
                    <a:lnTo>
                      <a:pt x="1203" y="1481"/>
                    </a:lnTo>
                    <a:lnTo>
                      <a:pt x="1205" y="1481"/>
                    </a:lnTo>
                    <a:lnTo>
                      <a:pt x="1205" y="1480"/>
                    </a:lnTo>
                    <a:lnTo>
                      <a:pt x="1205" y="1481"/>
                    </a:lnTo>
                    <a:lnTo>
                      <a:pt x="1205" y="1483"/>
                    </a:lnTo>
                    <a:lnTo>
                      <a:pt x="1205" y="1485"/>
                    </a:lnTo>
                    <a:lnTo>
                      <a:pt x="1207" y="1487"/>
                    </a:lnTo>
                    <a:lnTo>
                      <a:pt x="1207" y="1488"/>
                    </a:lnTo>
                    <a:lnTo>
                      <a:pt x="1208" y="1488"/>
                    </a:lnTo>
                    <a:lnTo>
                      <a:pt x="1208" y="1490"/>
                    </a:lnTo>
                    <a:lnTo>
                      <a:pt x="1207" y="1488"/>
                    </a:lnTo>
                    <a:lnTo>
                      <a:pt x="1208" y="1490"/>
                    </a:lnTo>
                    <a:lnTo>
                      <a:pt x="1207" y="1490"/>
                    </a:lnTo>
                    <a:lnTo>
                      <a:pt x="1205" y="1490"/>
                    </a:lnTo>
                    <a:lnTo>
                      <a:pt x="1207" y="1490"/>
                    </a:lnTo>
                    <a:lnTo>
                      <a:pt x="1207" y="1492"/>
                    </a:lnTo>
                    <a:lnTo>
                      <a:pt x="1205" y="1492"/>
                    </a:lnTo>
                    <a:lnTo>
                      <a:pt x="1205" y="1493"/>
                    </a:lnTo>
                    <a:lnTo>
                      <a:pt x="1207" y="1493"/>
                    </a:lnTo>
                    <a:lnTo>
                      <a:pt x="1205" y="1493"/>
                    </a:lnTo>
                    <a:lnTo>
                      <a:pt x="1203" y="1493"/>
                    </a:lnTo>
                    <a:lnTo>
                      <a:pt x="1203" y="1492"/>
                    </a:lnTo>
                    <a:lnTo>
                      <a:pt x="1203" y="1493"/>
                    </a:lnTo>
                    <a:lnTo>
                      <a:pt x="1205" y="1493"/>
                    </a:lnTo>
                    <a:lnTo>
                      <a:pt x="1203" y="1495"/>
                    </a:lnTo>
                    <a:lnTo>
                      <a:pt x="1205" y="1495"/>
                    </a:lnTo>
                    <a:lnTo>
                      <a:pt x="1205" y="1493"/>
                    </a:lnTo>
                    <a:lnTo>
                      <a:pt x="1207" y="1495"/>
                    </a:lnTo>
                    <a:lnTo>
                      <a:pt x="1207" y="1497"/>
                    </a:lnTo>
                    <a:lnTo>
                      <a:pt x="1205" y="1497"/>
                    </a:lnTo>
                    <a:lnTo>
                      <a:pt x="1205" y="1498"/>
                    </a:lnTo>
                    <a:lnTo>
                      <a:pt x="1205" y="1500"/>
                    </a:lnTo>
                    <a:lnTo>
                      <a:pt x="1205" y="1498"/>
                    </a:lnTo>
                    <a:lnTo>
                      <a:pt x="1203" y="1500"/>
                    </a:lnTo>
                    <a:lnTo>
                      <a:pt x="1205" y="1500"/>
                    </a:lnTo>
                    <a:lnTo>
                      <a:pt x="1203" y="1500"/>
                    </a:lnTo>
                    <a:lnTo>
                      <a:pt x="1203" y="1502"/>
                    </a:lnTo>
                    <a:lnTo>
                      <a:pt x="1202" y="1502"/>
                    </a:lnTo>
                    <a:lnTo>
                      <a:pt x="1202" y="1500"/>
                    </a:lnTo>
                    <a:lnTo>
                      <a:pt x="1202" y="1502"/>
                    </a:lnTo>
                    <a:lnTo>
                      <a:pt x="1200" y="1502"/>
                    </a:lnTo>
                    <a:lnTo>
                      <a:pt x="1200" y="1504"/>
                    </a:lnTo>
                    <a:lnTo>
                      <a:pt x="1198" y="1504"/>
                    </a:lnTo>
                    <a:lnTo>
                      <a:pt x="1198" y="1502"/>
                    </a:lnTo>
                    <a:lnTo>
                      <a:pt x="1198" y="1500"/>
                    </a:lnTo>
                    <a:lnTo>
                      <a:pt x="1200" y="1500"/>
                    </a:lnTo>
                    <a:lnTo>
                      <a:pt x="1200" y="1498"/>
                    </a:lnTo>
                    <a:lnTo>
                      <a:pt x="1202" y="1497"/>
                    </a:lnTo>
                    <a:lnTo>
                      <a:pt x="1202" y="1495"/>
                    </a:lnTo>
                    <a:lnTo>
                      <a:pt x="1200" y="1497"/>
                    </a:lnTo>
                    <a:lnTo>
                      <a:pt x="1200" y="1498"/>
                    </a:lnTo>
                    <a:lnTo>
                      <a:pt x="1198" y="1498"/>
                    </a:lnTo>
                    <a:lnTo>
                      <a:pt x="1198" y="1500"/>
                    </a:lnTo>
                    <a:lnTo>
                      <a:pt x="1198" y="1498"/>
                    </a:lnTo>
                    <a:lnTo>
                      <a:pt x="1198" y="1497"/>
                    </a:lnTo>
                    <a:lnTo>
                      <a:pt x="1200" y="1495"/>
                    </a:lnTo>
                    <a:lnTo>
                      <a:pt x="1202" y="1495"/>
                    </a:lnTo>
                    <a:lnTo>
                      <a:pt x="1202" y="1493"/>
                    </a:lnTo>
                    <a:lnTo>
                      <a:pt x="1200" y="1495"/>
                    </a:lnTo>
                    <a:lnTo>
                      <a:pt x="1200" y="1493"/>
                    </a:lnTo>
                    <a:lnTo>
                      <a:pt x="1200" y="1495"/>
                    </a:lnTo>
                    <a:lnTo>
                      <a:pt x="1198" y="1495"/>
                    </a:lnTo>
                    <a:lnTo>
                      <a:pt x="1196" y="1497"/>
                    </a:lnTo>
                    <a:lnTo>
                      <a:pt x="1196" y="1495"/>
                    </a:lnTo>
                    <a:lnTo>
                      <a:pt x="1196" y="1497"/>
                    </a:lnTo>
                    <a:lnTo>
                      <a:pt x="1196" y="1498"/>
                    </a:lnTo>
                    <a:lnTo>
                      <a:pt x="1195" y="1497"/>
                    </a:lnTo>
                    <a:lnTo>
                      <a:pt x="1193" y="1497"/>
                    </a:lnTo>
                    <a:lnTo>
                      <a:pt x="1195" y="1497"/>
                    </a:lnTo>
                    <a:lnTo>
                      <a:pt x="1195" y="1495"/>
                    </a:lnTo>
                    <a:lnTo>
                      <a:pt x="1195" y="1493"/>
                    </a:lnTo>
                    <a:lnTo>
                      <a:pt x="1196" y="1493"/>
                    </a:lnTo>
                    <a:lnTo>
                      <a:pt x="1198" y="1493"/>
                    </a:lnTo>
                    <a:lnTo>
                      <a:pt x="1198" y="1492"/>
                    </a:lnTo>
                    <a:lnTo>
                      <a:pt x="1196" y="1493"/>
                    </a:lnTo>
                    <a:lnTo>
                      <a:pt x="1196" y="1492"/>
                    </a:lnTo>
                    <a:lnTo>
                      <a:pt x="1198" y="1492"/>
                    </a:lnTo>
                    <a:lnTo>
                      <a:pt x="1198" y="1490"/>
                    </a:lnTo>
                    <a:lnTo>
                      <a:pt x="1200" y="1490"/>
                    </a:lnTo>
                    <a:lnTo>
                      <a:pt x="1200" y="1488"/>
                    </a:lnTo>
                    <a:lnTo>
                      <a:pt x="1200" y="1490"/>
                    </a:lnTo>
                    <a:lnTo>
                      <a:pt x="1200" y="1492"/>
                    </a:lnTo>
                    <a:lnTo>
                      <a:pt x="1198" y="1492"/>
                    </a:lnTo>
                    <a:lnTo>
                      <a:pt x="1200" y="1490"/>
                    </a:lnTo>
                    <a:lnTo>
                      <a:pt x="1202" y="1490"/>
                    </a:lnTo>
                    <a:lnTo>
                      <a:pt x="1200" y="1490"/>
                    </a:lnTo>
                    <a:lnTo>
                      <a:pt x="1202" y="1488"/>
                    </a:lnTo>
                    <a:lnTo>
                      <a:pt x="1203" y="1487"/>
                    </a:lnTo>
                    <a:lnTo>
                      <a:pt x="1202" y="1487"/>
                    </a:lnTo>
                    <a:lnTo>
                      <a:pt x="1202" y="1488"/>
                    </a:lnTo>
                    <a:lnTo>
                      <a:pt x="1200" y="1488"/>
                    </a:lnTo>
                    <a:lnTo>
                      <a:pt x="1202" y="1487"/>
                    </a:lnTo>
                    <a:lnTo>
                      <a:pt x="1203" y="1487"/>
                    </a:lnTo>
                    <a:lnTo>
                      <a:pt x="1205" y="1487"/>
                    </a:lnTo>
                    <a:lnTo>
                      <a:pt x="1203" y="1487"/>
                    </a:lnTo>
                    <a:lnTo>
                      <a:pt x="1205" y="1487"/>
                    </a:lnTo>
                    <a:lnTo>
                      <a:pt x="1203" y="1487"/>
                    </a:lnTo>
                    <a:lnTo>
                      <a:pt x="1205" y="1485"/>
                    </a:lnTo>
                    <a:lnTo>
                      <a:pt x="1203" y="1485"/>
                    </a:lnTo>
                    <a:lnTo>
                      <a:pt x="1202" y="1485"/>
                    </a:lnTo>
                    <a:lnTo>
                      <a:pt x="1200" y="1483"/>
                    </a:lnTo>
                    <a:lnTo>
                      <a:pt x="1202" y="1483"/>
                    </a:lnTo>
                    <a:lnTo>
                      <a:pt x="1200" y="1483"/>
                    </a:lnTo>
                    <a:lnTo>
                      <a:pt x="1202" y="1483"/>
                    </a:lnTo>
                    <a:lnTo>
                      <a:pt x="1202" y="1481"/>
                    </a:lnTo>
                    <a:lnTo>
                      <a:pt x="1203" y="1481"/>
                    </a:lnTo>
                    <a:lnTo>
                      <a:pt x="1205" y="1481"/>
                    </a:lnTo>
                    <a:lnTo>
                      <a:pt x="1203" y="1481"/>
                    </a:lnTo>
                    <a:lnTo>
                      <a:pt x="1202" y="1481"/>
                    </a:lnTo>
                    <a:lnTo>
                      <a:pt x="1203" y="1480"/>
                    </a:lnTo>
                    <a:lnTo>
                      <a:pt x="1202" y="1480"/>
                    </a:lnTo>
                    <a:lnTo>
                      <a:pt x="1200" y="1480"/>
                    </a:lnTo>
                    <a:lnTo>
                      <a:pt x="1198" y="1478"/>
                    </a:lnTo>
                    <a:lnTo>
                      <a:pt x="1196" y="1476"/>
                    </a:lnTo>
                    <a:lnTo>
                      <a:pt x="1196" y="1475"/>
                    </a:lnTo>
                    <a:lnTo>
                      <a:pt x="1195" y="1475"/>
                    </a:lnTo>
                    <a:lnTo>
                      <a:pt x="1195" y="1473"/>
                    </a:lnTo>
                    <a:lnTo>
                      <a:pt x="1193" y="1473"/>
                    </a:lnTo>
                    <a:lnTo>
                      <a:pt x="1195" y="1471"/>
                    </a:lnTo>
                    <a:lnTo>
                      <a:pt x="1193" y="1471"/>
                    </a:lnTo>
                    <a:lnTo>
                      <a:pt x="1191" y="1470"/>
                    </a:lnTo>
                    <a:lnTo>
                      <a:pt x="1190" y="1468"/>
                    </a:lnTo>
                    <a:lnTo>
                      <a:pt x="1188" y="1468"/>
                    </a:lnTo>
                    <a:lnTo>
                      <a:pt x="1188" y="1466"/>
                    </a:lnTo>
                    <a:close/>
                    <a:moveTo>
                      <a:pt x="1319" y="1626"/>
                    </a:moveTo>
                    <a:lnTo>
                      <a:pt x="1321" y="1626"/>
                    </a:lnTo>
                    <a:lnTo>
                      <a:pt x="1321" y="1628"/>
                    </a:lnTo>
                    <a:lnTo>
                      <a:pt x="1319" y="1628"/>
                    </a:lnTo>
                    <a:lnTo>
                      <a:pt x="1317" y="1629"/>
                    </a:lnTo>
                    <a:lnTo>
                      <a:pt x="1319" y="1629"/>
                    </a:lnTo>
                    <a:lnTo>
                      <a:pt x="1321" y="1629"/>
                    </a:lnTo>
                    <a:lnTo>
                      <a:pt x="1321" y="1628"/>
                    </a:lnTo>
                    <a:lnTo>
                      <a:pt x="1322" y="1629"/>
                    </a:lnTo>
                    <a:lnTo>
                      <a:pt x="1322" y="1631"/>
                    </a:lnTo>
                    <a:lnTo>
                      <a:pt x="1322" y="1629"/>
                    </a:lnTo>
                    <a:lnTo>
                      <a:pt x="1324" y="1629"/>
                    </a:lnTo>
                    <a:lnTo>
                      <a:pt x="1322" y="1629"/>
                    </a:lnTo>
                    <a:lnTo>
                      <a:pt x="1324" y="1629"/>
                    </a:lnTo>
                    <a:lnTo>
                      <a:pt x="1322" y="1631"/>
                    </a:lnTo>
                    <a:lnTo>
                      <a:pt x="1321" y="1631"/>
                    </a:lnTo>
                    <a:lnTo>
                      <a:pt x="1321" y="1629"/>
                    </a:lnTo>
                    <a:lnTo>
                      <a:pt x="1319" y="1629"/>
                    </a:lnTo>
                    <a:lnTo>
                      <a:pt x="1321" y="1631"/>
                    </a:lnTo>
                    <a:lnTo>
                      <a:pt x="1321" y="1633"/>
                    </a:lnTo>
                    <a:lnTo>
                      <a:pt x="1319" y="1633"/>
                    </a:lnTo>
                    <a:lnTo>
                      <a:pt x="1317" y="1633"/>
                    </a:lnTo>
                    <a:lnTo>
                      <a:pt x="1319" y="1633"/>
                    </a:lnTo>
                    <a:lnTo>
                      <a:pt x="1317" y="1633"/>
                    </a:lnTo>
                    <a:lnTo>
                      <a:pt x="1315" y="1633"/>
                    </a:lnTo>
                    <a:lnTo>
                      <a:pt x="1315" y="1631"/>
                    </a:lnTo>
                    <a:lnTo>
                      <a:pt x="1315" y="1629"/>
                    </a:lnTo>
                    <a:lnTo>
                      <a:pt x="1314" y="1629"/>
                    </a:lnTo>
                    <a:lnTo>
                      <a:pt x="1315" y="1631"/>
                    </a:lnTo>
                    <a:lnTo>
                      <a:pt x="1314" y="1631"/>
                    </a:lnTo>
                    <a:lnTo>
                      <a:pt x="1314" y="1633"/>
                    </a:lnTo>
                    <a:lnTo>
                      <a:pt x="1312" y="1633"/>
                    </a:lnTo>
                    <a:lnTo>
                      <a:pt x="1310" y="1633"/>
                    </a:lnTo>
                    <a:lnTo>
                      <a:pt x="1312" y="1633"/>
                    </a:lnTo>
                    <a:lnTo>
                      <a:pt x="1310" y="1635"/>
                    </a:lnTo>
                    <a:lnTo>
                      <a:pt x="1309" y="1635"/>
                    </a:lnTo>
                    <a:lnTo>
                      <a:pt x="1310" y="1635"/>
                    </a:lnTo>
                    <a:lnTo>
                      <a:pt x="1309" y="1635"/>
                    </a:lnTo>
                    <a:lnTo>
                      <a:pt x="1309" y="1633"/>
                    </a:lnTo>
                    <a:lnTo>
                      <a:pt x="1307" y="1633"/>
                    </a:lnTo>
                    <a:lnTo>
                      <a:pt x="1307" y="1631"/>
                    </a:lnTo>
                    <a:lnTo>
                      <a:pt x="1307" y="1633"/>
                    </a:lnTo>
                    <a:lnTo>
                      <a:pt x="1305" y="1633"/>
                    </a:lnTo>
                    <a:lnTo>
                      <a:pt x="1307" y="1635"/>
                    </a:lnTo>
                    <a:lnTo>
                      <a:pt x="1307" y="1633"/>
                    </a:lnTo>
                    <a:lnTo>
                      <a:pt x="1309" y="1635"/>
                    </a:lnTo>
                    <a:lnTo>
                      <a:pt x="1310" y="1635"/>
                    </a:lnTo>
                    <a:lnTo>
                      <a:pt x="1310" y="1636"/>
                    </a:lnTo>
                    <a:lnTo>
                      <a:pt x="1312" y="1635"/>
                    </a:lnTo>
                    <a:lnTo>
                      <a:pt x="1314" y="1635"/>
                    </a:lnTo>
                    <a:lnTo>
                      <a:pt x="1315" y="1636"/>
                    </a:lnTo>
                    <a:lnTo>
                      <a:pt x="1314" y="1636"/>
                    </a:lnTo>
                    <a:lnTo>
                      <a:pt x="1315" y="1636"/>
                    </a:lnTo>
                    <a:lnTo>
                      <a:pt x="1314" y="1638"/>
                    </a:lnTo>
                    <a:lnTo>
                      <a:pt x="1315" y="1636"/>
                    </a:lnTo>
                    <a:lnTo>
                      <a:pt x="1317" y="1636"/>
                    </a:lnTo>
                    <a:lnTo>
                      <a:pt x="1319" y="1636"/>
                    </a:lnTo>
                    <a:lnTo>
                      <a:pt x="1321" y="1635"/>
                    </a:lnTo>
                    <a:lnTo>
                      <a:pt x="1319" y="1636"/>
                    </a:lnTo>
                    <a:lnTo>
                      <a:pt x="1321" y="1636"/>
                    </a:lnTo>
                    <a:lnTo>
                      <a:pt x="1322" y="1638"/>
                    </a:lnTo>
                    <a:lnTo>
                      <a:pt x="1321" y="1638"/>
                    </a:lnTo>
                    <a:lnTo>
                      <a:pt x="1319" y="1638"/>
                    </a:lnTo>
                    <a:lnTo>
                      <a:pt x="1321" y="1638"/>
                    </a:lnTo>
                    <a:lnTo>
                      <a:pt x="1321" y="1640"/>
                    </a:lnTo>
                    <a:lnTo>
                      <a:pt x="1322" y="1640"/>
                    </a:lnTo>
                    <a:lnTo>
                      <a:pt x="1321" y="1640"/>
                    </a:lnTo>
                    <a:lnTo>
                      <a:pt x="1322" y="1641"/>
                    </a:lnTo>
                    <a:lnTo>
                      <a:pt x="1321" y="1641"/>
                    </a:lnTo>
                    <a:lnTo>
                      <a:pt x="1321" y="1640"/>
                    </a:lnTo>
                    <a:lnTo>
                      <a:pt x="1321" y="1641"/>
                    </a:lnTo>
                    <a:lnTo>
                      <a:pt x="1319" y="1641"/>
                    </a:lnTo>
                    <a:lnTo>
                      <a:pt x="1319" y="1640"/>
                    </a:lnTo>
                    <a:lnTo>
                      <a:pt x="1317" y="1640"/>
                    </a:lnTo>
                    <a:lnTo>
                      <a:pt x="1317" y="1638"/>
                    </a:lnTo>
                    <a:lnTo>
                      <a:pt x="1317" y="1640"/>
                    </a:lnTo>
                    <a:lnTo>
                      <a:pt x="1315" y="1640"/>
                    </a:lnTo>
                    <a:lnTo>
                      <a:pt x="1317" y="1640"/>
                    </a:lnTo>
                    <a:lnTo>
                      <a:pt x="1315" y="1640"/>
                    </a:lnTo>
                    <a:lnTo>
                      <a:pt x="1315" y="1641"/>
                    </a:lnTo>
                    <a:lnTo>
                      <a:pt x="1317" y="1641"/>
                    </a:lnTo>
                    <a:lnTo>
                      <a:pt x="1319" y="1641"/>
                    </a:lnTo>
                    <a:lnTo>
                      <a:pt x="1319" y="1643"/>
                    </a:lnTo>
                    <a:lnTo>
                      <a:pt x="1317" y="1643"/>
                    </a:lnTo>
                    <a:lnTo>
                      <a:pt x="1319" y="1643"/>
                    </a:lnTo>
                    <a:lnTo>
                      <a:pt x="1317" y="1645"/>
                    </a:lnTo>
                    <a:lnTo>
                      <a:pt x="1317" y="1643"/>
                    </a:lnTo>
                    <a:lnTo>
                      <a:pt x="1315" y="1643"/>
                    </a:lnTo>
                    <a:lnTo>
                      <a:pt x="1314" y="1645"/>
                    </a:lnTo>
                    <a:lnTo>
                      <a:pt x="1315" y="1646"/>
                    </a:lnTo>
                    <a:lnTo>
                      <a:pt x="1314" y="1645"/>
                    </a:lnTo>
                    <a:lnTo>
                      <a:pt x="1314" y="1643"/>
                    </a:lnTo>
                    <a:lnTo>
                      <a:pt x="1312" y="1641"/>
                    </a:lnTo>
                    <a:lnTo>
                      <a:pt x="1312" y="1643"/>
                    </a:lnTo>
                    <a:lnTo>
                      <a:pt x="1312" y="1645"/>
                    </a:lnTo>
                    <a:lnTo>
                      <a:pt x="1314" y="1645"/>
                    </a:lnTo>
                    <a:lnTo>
                      <a:pt x="1312" y="1645"/>
                    </a:lnTo>
                    <a:lnTo>
                      <a:pt x="1310" y="1643"/>
                    </a:lnTo>
                    <a:lnTo>
                      <a:pt x="1312" y="1643"/>
                    </a:lnTo>
                    <a:lnTo>
                      <a:pt x="1312" y="1641"/>
                    </a:lnTo>
                    <a:lnTo>
                      <a:pt x="1312" y="1640"/>
                    </a:lnTo>
                    <a:lnTo>
                      <a:pt x="1314" y="1641"/>
                    </a:lnTo>
                    <a:lnTo>
                      <a:pt x="1312" y="1640"/>
                    </a:lnTo>
                    <a:lnTo>
                      <a:pt x="1314" y="1640"/>
                    </a:lnTo>
                    <a:lnTo>
                      <a:pt x="1312" y="1638"/>
                    </a:lnTo>
                    <a:lnTo>
                      <a:pt x="1312" y="1640"/>
                    </a:lnTo>
                    <a:lnTo>
                      <a:pt x="1310" y="1640"/>
                    </a:lnTo>
                    <a:lnTo>
                      <a:pt x="1310" y="1638"/>
                    </a:lnTo>
                    <a:lnTo>
                      <a:pt x="1310" y="1636"/>
                    </a:lnTo>
                    <a:lnTo>
                      <a:pt x="1312" y="1636"/>
                    </a:lnTo>
                    <a:lnTo>
                      <a:pt x="1310" y="1636"/>
                    </a:lnTo>
                    <a:lnTo>
                      <a:pt x="1309" y="1636"/>
                    </a:lnTo>
                    <a:lnTo>
                      <a:pt x="1310" y="1636"/>
                    </a:lnTo>
                    <a:lnTo>
                      <a:pt x="1310" y="1638"/>
                    </a:lnTo>
                    <a:lnTo>
                      <a:pt x="1310" y="1640"/>
                    </a:lnTo>
                    <a:lnTo>
                      <a:pt x="1310" y="1638"/>
                    </a:lnTo>
                    <a:lnTo>
                      <a:pt x="1309" y="1638"/>
                    </a:lnTo>
                    <a:lnTo>
                      <a:pt x="1309" y="1640"/>
                    </a:lnTo>
                    <a:lnTo>
                      <a:pt x="1307" y="1640"/>
                    </a:lnTo>
                    <a:lnTo>
                      <a:pt x="1307" y="1638"/>
                    </a:lnTo>
                    <a:lnTo>
                      <a:pt x="1307" y="1640"/>
                    </a:lnTo>
                    <a:lnTo>
                      <a:pt x="1307" y="1641"/>
                    </a:lnTo>
                    <a:lnTo>
                      <a:pt x="1307" y="1640"/>
                    </a:lnTo>
                    <a:lnTo>
                      <a:pt x="1305" y="1640"/>
                    </a:lnTo>
                    <a:lnTo>
                      <a:pt x="1305" y="1638"/>
                    </a:lnTo>
                    <a:lnTo>
                      <a:pt x="1305" y="1636"/>
                    </a:lnTo>
                    <a:lnTo>
                      <a:pt x="1307" y="1636"/>
                    </a:lnTo>
                    <a:lnTo>
                      <a:pt x="1305" y="1636"/>
                    </a:lnTo>
                    <a:lnTo>
                      <a:pt x="1304" y="1636"/>
                    </a:lnTo>
                    <a:lnTo>
                      <a:pt x="1304" y="1638"/>
                    </a:lnTo>
                    <a:lnTo>
                      <a:pt x="1302" y="1638"/>
                    </a:lnTo>
                    <a:lnTo>
                      <a:pt x="1302" y="1636"/>
                    </a:lnTo>
                    <a:lnTo>
                      <a:pt x="1300" y="1636"/>
                    </a:lnTo>
                    <a:lnTo>
                      <a:pt x="1300" y="1638"/>
                    </a:lnTo>
                    <a:lnTo>
                      <a:pt x="1300" y="1636"/>
                    </a:lnTo>
                    <a:lnTo>
                      <a:pt x="1298" y="1638"/>
                    </a:lnTo>
                    <a:lnTo>
                      <a:pt x="1298" y="1636"/>
                    </a:lnTo>
                    <a:lnTo>
                      <a:pt x="1297" y="1636"/>
                    </a:lnTo>
                    <a:lnTo>
                      <a:pt x="1297" y="1635"/>
                    </a:lnTo>
                    <a:lnTo>
                      <a:pt x="1298" y="1635"/>
                    </a:lnTo>
                    <a:lnTo>
                      <a:pt x="1297" y="1635"/>
                    </a:lnTo>
                    <a:lnTo>
                      <a:pt x="1297" y="1633"/>
                    </a:lnTo>
                    <a:lnTo>
                      <a:pt x="1298" y="1633"/>
                    </a:lnTo>
                    <a:lnTo>
                      <a:pt x="1298" y="1631"/>
                    </a:lnTo>
                    <a:lnTo>
                      <a:pt x="1297" y="1631"/>
                    </a:lnTo>
                    <a:lnTo>
                      <a:pt x="1297" y="1629"/>
                    </a:lnTo>
                    <a:lnTo>
                      <a:pt x="1298" y="1629"/>
                    </a:lnTo>
                    <a:lnTo>
                      <a:pt x="1300" y="1629"/>
                    </a:lnTo>
                    <a:lnTo>
                      <a:pt x="1300" y="1631"/>
                    </a:lnTo>
                    <a:lnTo>
                      <a:pt x="1300" y="1629"/>
                    </a:lnTo>
                    <a:lnTo>
                      <a:pt x="1302" y="1629"/>
                    </a:lnTo>
                    <a:lnTo>
                      <a:pt x="1302" y="1628"/>
                    </a:lnTo>
                    <a:lnTo>
                      <a:pt x="1302" y="1629"/>
                    </a:lnTo>
                    <a:lnTo>
                      <a:pt x="1302" y="1631"/>
                    </a:lnTo>
                    <a:lnTo>
                      <a:pt x="1304" y="1631"/>
                    </a:lnTo>
                    <a:lnTo>
                      <a:pt x="1304" y="1629"/>
                    </a:lnTo>
                    <a:lnTo>
                      <a:pt x="1305" y="1628"/>
                    </a:lnTo>
                    <a:lnTo>
                      <a:pt x="1305" y="1629"/>
                    </a:lnTo>
                    <a:lnTo>
                      <a:pt x="1307" y="1629"/>
                    </a:lnTo>
                    <a:lnTo>
                      <a:pt x="1307" y="1631"/>
                    </a:lnTo>
                    <a:lnTo>
                      <a:pt x="1305" y="1631"/>
                    </a:lnTo>
                    <a:lnTo>
                      <a:pt x="1307" y="1631"/>
                    </a:lnTo>
                    <a:lnTo>
                      <a:pt x="1309" y="1631"/>
                    </a:lnTo>
                    <a:lnTo>
                      <a:pt x="1309" y="1629"/>
                    </a:lnTo>
                    <a:lnTo>
                      <a:pt x="1309" y="1631"/>
                    </a:lnTo>
                    <a:lnTo>
                      <a:pt x="1310" y="1631"/>
                    </a:lnTo>
                    <a:lnTo>
                      <a:pt x="1312" y="1631"/>
                    </a:lnTo>
                    <a:lnTo>
                      <a:pt x="1310" y="1631"/>
                    </a:lnTo>
                    <a:lnTo>
                      <a:pt x="1310" y="1629"/>
                    </a:lnTo>
                    <a:lnTo>
                      <a:pt x="1312" y="1629"/>
                    </a:lnTo>
                    <a:lnTo>
                      <a:pt x="1312" y="1628"/>
                    </a:lnTo>
                    <a:lnTo>
                      <a:pt x="1314" y="1628"/>
                    </a:lnTo>
                    <a:lnTo>
                      <a:pt x="1315" y="1628"/>
                    </a:lnTo>
                    <a:lnTo>
                      <a:pt x="1315" y="1626"/>
                    </a:lnTo>
                    <a:lnTo>
                      <a:pt x="1317" y="1628"/>
                    </a:lnTo>
                    <a:lnTo>
                      <a:pt x="1317" y="1626"/>
                    </a:lnTo>
                    <a:lnTo>
                      <a:pt x="1319" y="1626"/>
                    </a:lnTo>
                    <a:close/>
                    <a:moveTo>
                      <a:pt x="1203" y="1104"/>
                    </a:moveTo>
                    <a:lnTo>
                      <a:pt x="1203" y="1105"/>
                    </a:lnTo>
                    <a:lnTo>
                      <a:pt x="1203" y="1104"/>
                    </a:lnTo>
                    <a:lnTo>
                      <a:pt x="1203" y="1105"/>
                    </a:lnTo>
                    <a:lnTo>
                      <a:pt x="1205" y="1105"/>
                    </a:lnTo>
                    <a:lnTo>
                      <a:pt x="1203" y="1105"/>
                    </a:lnTo>
                    <a:lnTo>
                      <a:pt x="1205" y="1107"/>
                    </a:lnTo>
                    <a:lnTo>
                      <a:pt x="1207" y="1107"/>
                    </a:lnTo>
                    <a:lnTo>
                      <a:pt x="1207" y="1109"/>
                    </a:lnTo>
                    <a:lnTo>
                      <a:pt x="1207" y="1111"/>
                    </a:lnTo>
                    <a:lnTo>
                      <a:pt x="1207" y="1112"/>
                    </a:lnTo>
                    <a:lnTo>
                      <a:pt x="1207" y="1114"/>
                    </a:lnTo>
                    <a:lnTo>
                      <a:pt x="1205" y="1114"/>
                    </a:lnTo>
                    <a:lnTo>
                      <a:pt x="1207" y="1114"/>
                    </a:lnTo>
                    <a:lnTo>
                      <a:pt x="1207" y="1116"/>
                    </a:lnTo>
                    <a:lnTo>
                      <a:pt x="1205" y="1116"/>
                    </a:lnTo>
                    <a:lnTo>
                      <a:pt x="1207" y="1116"/>
                    </a:lnTo>
                    <a:lnTo>
                      <a:pt x="1207" y="1117"/>
                    </a:lnTo>
                    <a:lnTo>
                      <a:pt x="1205" y="1117"/>
                    </a:lnTo>
                    <a:lnTo>
                      <a:pt x="1205" y="1119"/>
                    </a:lnTo>
                    <a:lnTo>
                      <a:pt x="1205" y="1117"/>
                    </a:lnTo>
                    <a:lnTo>
                      <a:pt x="1203" y="1117"/>
                    </a:lnTo>
                    <a:lnTo>
                      <a:pt x="1203" y="1116"/>
                    </a:lnTo>
                    <a:lnTo>
                      <a:pt x="1202" y="1116"/>
                    </a:lnTo>
                    <a:lnTo>
                      <a:pt x="1200" y="1116"/>
                    </a:lnTo>
                    <a:lnTo>
                      <a:pt x="1198" y="1116"/>
                    </a:lnTo>
                    <a:lnTo>
                      <a:pt x="1198" y="1117"/>
                    </a:lnTo>
                    <a:lnTo>
                      <a:pt x="1196" y="1116"/>
                    </a:lnTo>
                    <a:lnTo>
                      <a:pt x="1196" y="1114"/>
                    </a:lnTo>
                    <a:lnTo>
                      <a:pt x="1198" y="1114"/>
                    </a:lnTo>
                    <a:lnTo>
                      <a:pt x="1200" y="1114"/>
                    </a:lnTo>
                    <a:lnTo>
                      <a:pt x="1202" y="1114"/>
                    </a:lnTo>
                    <a:lnTo>
                      <a:pt x="1200" y="1114"/>
                    </a:lnTo>
                    <a:lnTo>
                      <a:pt x="1198" y="1114"/>
                    </a:lnTo>
                    <a:lnTo>
                      <a:pt x="1196" y="1114"/>
                    </a:lnTo>
                    <a:lnTo>
                      <a:pt x="1195" y="1114"/>
                    </a:lnTo>
                    <a:lnTo>
                      <a:pt x="1195" y="1112"/>
                    </a:lnTo>
                    <a:lnTo>
                      <a:pt x="1195" y="1114"/>
                    </a:lnTo>
                    <a:lnTo>
                      <a:pt x="1195" y="1112"/>
                    </a:lnTo>
                    <a:lnTo>
                      <a:pt x="1193" y="1112"/>
                    </a:lnTo>
                    <a:lnTo>
                      <a:pt x="1195" y="1112"/>
                    </a:lnTo>
                    <a:lnTo>
                      <a:pt x="1195" y="1111"/>
                    </a:lnTo>
                    <a:lnTo>
                      <a:pt x="1193" y="1112"/>
                    </a:lnTo>
                    <a:lnTo>
                      <a:pt x="1191" y="1112"/>
                    </a:lnTo>
                    <a:lnTo>
                      <a:pt x="1191" y="1111"/>
                    </a:lnTo>
                    <a:lnTo>
                      <a:pt x="1191" y="1109"/>
                    </a:lnTo>
                    <a:lnTo>
                      <a:pt x="1191" y="1107"/>
                    </a:lnTo>
                    <a:lnTo>
                      <a:pt x="1191" y="1109"/>
                    </a:lnTo>
                    <a:lnTo>
                      <a:pt x="1191" y="1111"/>
                    </a:lnTo>
                    <a:lnTo>
                      <a:pt x="1191" y="1112"/>
                    </a:lnTo>
                    <a:lnTo>
                      <a:pt x="1190" y="1112"/>
                    </a:lnTo>
                    <a:lnTo>
                      <a:pt x="1188" y="1111"/>
                    </a:lnTo>
                    <a:lnTo>
                      <a:pt x="1188" y="1109"/>
                    </a:lnTo>
                    <a:lnTo>
                      <a:pt x="1188" y="1107"/>
                    </a:lnTo>
                    <a:lnTo>
                      <a:pt x="1190" y="1107"/>
                    </a:lnTo>
                    <a:lnTo>
                      <a:pt x="1191" y="1105"/>
                    </a:lnTo>
                    <a:lnTo>
                      <a:pt x="1193" y="1105"/>
                    </a:lnTo>
                    <a:lnTo>
                      <a:pt x="1193" y="1107"/>
                    </a:lnTo>
                    <a:lnTo>
                      <a:pt x="1193" y="1105"/>
                    </a:lnTo>
                    <a:lnTo>
                      <a:pt x="1195" y="1105"/>
                    </a:lnTo>
                    <a:lnTo>
                      <a:pt x="1195" y="1107"/>
                    </a:lnTo>
                    <a:lnTo>
                      <a:pt x="1195" y="1105"/>
                    </a:lnTo>
                    <a:lnTo>
                      <a:pt x="1196" y="1105"/>
                    </a:lnTo>
                    <a:lnTo>
                      <a:pt x="1198" y="1105"/>
                    </a:lnTo>
                    <a:lnTo>
                      <a:pt x="1200" y="1104"/>
                    </a:lnTo>
                    <a:lnTo>
                      <a:pt x="1202" y="1104"/>
                    </a:lnTo>
                    <a:lnTo>
                      <a:pt x="1203" y="1104"/>
                    </a:lnTo>
                    <a:close/>
                    <a:moveTo>
                      <a:pt x="1179" y="1376"/>
                    </a:moveTo>
                    <a:lnTo>
                      <a:pt x="1179" y="1378"/>
                    </a:lnTo>
                    <a:lnTo>
                      <a:pt x="1179" y="1379"/>
                    </a:lnTo>
                    <a:lnTo>
                      <a:pt x="1181" y="1379"/>
                    </a:lnTo>
                    <a:lnTo>
                      <a:pt x="1183" y="1379"/>
                    </a:lnTo>
                    <a:lnTo>
                      <a:pt x="1183" y="1378"/>
                    </a:lnTo>
                    <a:lnTo>
                      <a:pt x="1185" y="1379"/>
                    </a:lnTo>
                    <a:lnTo>
                      <a:pt x="1185" y="1381"/>
                    </a:lnTo>
                    <a:lnTo>
                      <a:pt x="1185" y="1383"/>
                    </a:lnTo>
                    <a:lnTo>
                      <a:pt x="1186" y="1384"/>
                    </a:lnTo>
                    <a:lnTo>
                      <a:pt x="1185" y="1384"/>
                    </a:lnTo>
                    <a:lnTo>
                      <a:pt x="1186" y="1384"/>
                    </a:lnTo>
                    <a:lnTo>
                      <a:pt x="1186" y="1386"/>
                    </a:lnTo>
                    <a:lnTo>
                      <a:pt x="1186" y="1388"/>
                    </a:lnTo>
                    <a:lnTo>
                      <a:pt x="1186" y="1386"/>
                    </a:lnTo>
                    <a:lnTo>
                      <a:pt x="1188" y="1388"/>
                    </a:lnTo>
                    <a:lnTo>
                      <a:pt x="1186" y="1388"/>
                    </a:lnTo>
                    <a:lnTo>
                      <a:pt x="1188" y="1388"/>
                    </a:lnTo>
                    <a:lnTo>
                      <a:pt x="1188" y="1390"/>
                    </a:lnTo>
                    <a:lnTo>
                      <a:pt x="1190" y="1390"/>
                    </a:lnTo>
                    <a:lnTo>
                      <a:pt x="1190" y="1391"/>
                    </a:lnTo>
                    <a:lnTo>
                      <a:pt x="1188" y="1391"/>
                    </a:lnTo>
                    <a:lnTo>
                      <a:pt x="1186" y="1390"/>
                    </a:lnTo>
                    <a:lnTo>
                      <a:pt x="1186" y="1391"/>
                    </a:lnTo>
                    <a:lnTo>
                      <a:pt x="1186" y="1390"/>
                    </a:lnTo>
                    <a:lnTo>
                      <a:pt x="1185" y="1390"/>
                    </a:lnTo>
                    <a:lnTo>
                      <a:pt x="1186" y="1391"/>
                    </a:lnTo>
                    <a:lnTo>
                      <a:pt x="1188" y="1391"/>
                    </a:lnTo>
                    <a:lnTo>
                      <a:pt x="1188" y="1393"/>
                    </a:lnTo>
                    <a:lnTo>
                      <a:pt x="1186" y="1391"/>
                    </a:lnTo>
                    <a:lnTo>
                      <a:pt x="1188" y="1393"/>
                    </a:lnTo>
                    <a:lnTo>
                      <a:pt x="1188" y="1391"/>
                    </a:lnTo>
                    <a:lnTo>
                      <a:pt x="1190" y="1391"/>
                    </a:lnTo>
                    <a:lnTo>
                      <a:pt x="1190" y="1393"/>
                    </a:lnTo>
                    <a:lnTo>
                      <a:pt x="1190" y="1395"/>
                    </a:lnTo>
                    <a:lnTo>
                      <a:pt x="1191" y="1395"/>
                    </a:lnTo>
                    <a:lnTo>
                      <a:pt x="1191" y="1396"/>
                    </a:lnTo>
                    <a:lnTo>
                      <a:pt x="1191" y="1398"/>
                    </a:lnTo>
                    <a:lnTo>
                      <a:pt x="1191" y="1400"/>
                    </a:lnTo>
                    <a:lnTo>
                      <a:pt x="1190" y="1400"/>
                    </a:lnTo>
                    <a:lnTo>
                      <a:pt x="1190" y="1398"/>
                    </a:lnTo>
                    <a:lnTo>
                      <a:pt x="1190" y="1400"/>
                    </a:lnTo>
                    <a:lnTo>
                      <a:pt x="1188" y="1400"/>
                    </a:lnTo>
                    <a:lnTo>
                      <a:pt x="1188" y="1398"/>
                    </a:lnTo>
                    <a:lnTo>
                      <a:pt x="1188" y="1400"/>
                    </a:lnTo>
                    <a:lnTo>
                      <a:pt x="1188" y="1398"/>
                    </a:lnTo>
                    <a:lnTo>
                      <a:pt x="1190" y="1398"/>
                    </a:lnTo>
                    <a:lnTo>
                      <a:pt x="1188" y="1396"/>
                    </a:lnTo>
                    <a:lnTo>
                      <a:pt x="1188" y="1398"/>
                    </a:lnTo>
                    <a:lnTo>
                      <a:pt x="1188" y="1396"/>
                    </a:lnTo>
                    <a:lnTo>
                      <a:pt x="1188" y="1395"/>
                    </a:lnTo>
                    <a:lnTo>
                      <a:pt x="1188" y="1396"/>
                    </a:lnTo>
                    <a:lnTo>
                      <a:pt x="1186" y="1396"/>
                    </a:lnTo>
                    <a:lnTo>
                      <a:pt x="1186" y="1398"/>
                    </a:lnTo>
                    <a:lnTo>
                      <a:pt x="1186" y="1396"/>
                    </a:lnTo>
                    <a:lnTo>
                      <a:pt x="1185" y="1395"/>
                    </a:lnTo>
                    <a:lnTo>
                      <a:pt x="1185" y="1396"/>
                    </a:lnTo>
                    <a:lnTo>
                      <a:pt x="1186" y="1396"/>
                    </a:lnTo>
                    <a:lnTo>
                      <a:pt x="1186" y="1398"/>
                    </a:lnTo>
                    <a:lnTo>
                      <a:pt x="1186" y="1400"/>
                    </a:lnTo>
                    <a:lnTo>
                      <a:pt x="1186" y="1401"/>
                    </a:lnTo>
                    <a:lnTo>
                      <a:pt x="1186" y="1400"/>
                    </a:lnTo>
                    <a:lnTo>
                      <a:pt x="1185" y="1400"/>
                    </a:lnTo>
                    <a:lnTo>
                      <a:pt x="1186" y="1400"/>
                    </a:lnTo>
                    <a:lnTo>
                      <a:pt x="1185" y="1400"/>
                    </a:lnTo>
                    <a:lnTo>
                      <a:pt x="1185" y="1398"/>
                    </a:lnTo>
                    <a:lnTo>
                      <a:pt x="1183" y="1396"/>
                    </a:lnTo>
                    <a:lnTo>
                      <a:pt x="1183" y="1395"/>
                    </a:lnTo>
                    <a:lnTo>
                      <a:pt x="1181" y="1395"/>
                    </a:lnTo>
                    <a:lnTo>
                      <a:pt x="1183" y="1395"/>
                    </a:lnTo>
                    <a:lnTo>
                      <a:pt x="1181" y="1395"/>
                    </a:lnTo>
                    <a:lnTo>
                      <a:pt x="1181" y="1393"/>
                    </a:lnTo>
                    <a:lnTo>
                      <a:pt x="1179" y="1395"/>
                    </a:lnTo>
                    <a:lnTo>
                      <a:pt x="1179" y="1393"/>
                    </a:lnTo>
                    <a:lnTo>
                      <a:pt x="1179" y="1391"/>
                    </a:lnTo>
                    <a:lnTo>
                      <a:pt x="1181" y="1393"/>
                    </a:lnTo>
                    <a:lnTo>
                      <a:pt x="1181" y="1391"/>
                    </a:lnTo>
                    <a:lnTo>
                      <a:pt x="1179" y="1391"/>
                    </a:lnTo>
                    <a:lnTo>
                      <a:pt x="1179" y="1393"/>
                    </a:lnTo>
                    <a:lnTo>
                      <a:pt x="1178" y="1391"/>
                    </a:lnTo>
                    <a:lnTo>
                      <a:pt x="1179" y="1391"/>
                    </a:lnTo>
                    <a:lnTo>
                      <a:pt x="1179" y="1390"/>
                    </a:lnTo>
                    <a:lnTo>
                      <a:pt x="1181" y="1390"/>
                    </a:lnTo>
                    <a:lnTo>
                      <a:pt x="1179" y="1390"/>
                    </a:lnTo>
                    <a:lnTo>
                      <a:pt x="1178" y="1390"/>
                    </a:lnTo>
                    <a:lnTo>
                      <a:pt x="1178" y="1391"/>
                    </a:lnTo>
                    <a:lnTo>
                      <a:pt x="1178" y="1390"/>
                    </a:lnTo>
                    <a:lnTo>
                      <a:pt x="1176" y="1390"/>
                    </a:lnTo>
                    <a:lnTo>
                      <a:pt x="1176" y="1388"/>
                    </a:lnTo>
                    <a:lnTo>
                      <a:pt x="1176" y="1390"/>
                    </a:lnTo>
                    <a:lnTo>
                      <a:pt x="1174" y="1390"/>
                    </a:lnTo>
                    <a:lnTo>
                      <a:pt x="1176" y="1390"/>
                    </a:lnTo>
                    <a:lnTo>
                      <a:pt x="1176" y="1388"/>
                    </a:lnTo>
                    <a:lnTo>
                      <a:pt x="1178" y="1388"/>
                    </a:lnTo>
                    <a:lnTo>
                      <a:pt x="1176" y="1388"/>
                    </a:lnTo>
                    <a:lnTo>
                      <a:pt x="1178" y="1388"/>
                    </a:lnTo>
                    <a:lnTo>
                      <a:pt x="1178" y="1386"/>
                    </a:lnTo>
                    <a:lnTo>
                      <a:pt x="1179" y="1386"/>
                    </a:lnTo>
                    <a:lnTo>
                      <a:pt x="1179" y="1384"/>
                    </a:lnTo>
                    <a:lnTo>
                      <a:pt x="1181" y="1384"/>
                    </a:lnTo>
                    <a:lnTo>
                      <a:pt x="1181" y="1383"/>
                    </a:lnTo>
                    <a:lnTo>
                      <a:pt x="1183" y="1383"/>
                    </a:lnTo>
                    <a:lnTo>
                      <a:pt x="1183" y="1384"/>
                    </a:lnTo>
                    <a:lnTo>
                      <a:pt x="1183" y="1383"/>
                    </a:lnTo>
                    <a:lnTo>
                      <a:pt x="1185" y="1383"/>
                    </a:lnTo>
                    <a:lnTo>
                      <a:pt x="1183" y="1381"/>
                    </a:lnTo>
                    <a:lnTo>
                      <a:pt x="1183" y="1383"/>
                    </a:lnTo>
                    <a:lnTo>
                      <a:pt x="1181" y="1381"/>
                    </a:lnTo>
                    <a:lnTo>
                      <a:pt x="1179" y="1381"/>
                    </a:lnTo>
                    <a:lnTo>
                      <a:pt x="1181" y="1379"/>
                    </a:lnTo>
                    <a:lnTo>
                      <a:pt x="1179" y="1381"/>
                    </a:lnTo>
                    <a:lnTo>
                      <a:pt x="1179" y="1383"/>
                    </a:lnTo>
                    <a:lnTo>
                      <a:pt x="1179" y="1381"/>
                    </a:lnTo>
                    <a:lnTo>
                      <a:pt x="1178" y="1381"/>
                    </a:lnTo>
                    <a:lnTo>
                      <a:pt x="1176" y="1381"/>
                    </a:lnTo>
                    <a:lnTo>
                      <a:pt x="1176" y="1379"/>
                    </a:lnTo>
                    <a:lnTo>
                      <a:pt x="1176" y="1381"/>
                    </a:lnTo>
                    <a:lnTo>
                      <a:pt x="1174" y="1381"/>
                    </a:lnTo>
                    <a:lnTo>
                      <a:pt x="1174" y="1379"/>
                    </a:lnTo>
                    <a:lnTo>
                      <a:pt x="1173" y="1381"/>
                    </a:lnTo>
                    <a:lnTo>
                      <a:pt x="1174" y="1379"/>
                    </a:lnTo>
                    <a:lnTo>
                      <a:pt x="1176" y="1378"/>
                    </a:lnTo>
                    <a:lnTo>
                      <a:pt x="1178" y="1376"/>
                    </a:lnTo>
                    <a:lnTo>
                      <a:pt x="1179" y="1376"/>
                    </a:lnTo>
                    <a:close/>
                    <a:moveTo>
                      <a:pt x="1157" y="1255"/>
                    </a:moveTo>
                    <a:lnTo>
                      <a:pt x="1159" y="1255"/>
                    </a:lnTo>
                    <a:lnTo>
                      <a:pt x="1161" y="1255"/>
                    </a:lnTo>
                    <a:lnTo>
                      <a:pt x="1159" y="1257"/>
                    </a:lnTo>
                    <a:lnTo>
                      <a:pt x="1161" y="1257"/>
                    </a:lnTo>
                    <a:lnTo>
                      <a:pt x="1162" y="1257"/>
                    </a:lnTo>
                    <a:lnTo>
                      <a:pt x="1161" y="1255"/>
                    </a:lnTo>
                    <a:lnTo>
                      <a:pt x="1162" y="1255"/>
                    </a:lnTo>
                    <a:lnTo>
                      <a:pt x="1164" y="1257"/>
                    </a:lnTo>
                    <a:lnTo>
                      <a:pt x="1166" y="1259"/>
                    </a:lnTo>
                    <a:lnTo>
                      <a:pt x="1164" y="1260"/>
                    </a:lnTo>
                    <a:lnTo>
                      <a:pt x="1166" y="1259"/>
                    </a:lnTo>
                    <a:lnTo>
                      <a:pt x="1166" y="1260"/>
                    </a:lnTo>
                    <a:lnTo>
                      <a:pt x="1168" y="1259"/>
                    </a:lnTo>
                    <a:lnTo>
                      <a:pt x="1168" y="1260"/>
                    </a:lnTo>
                    <a:lnTo>
                      <a:pt x="1168" y="1262"/>
                    </a:lnTo>
                    <a:lnTo>
                      <a:pt x="1166" y="1262"/>
                    </a:lnTo>
                    <a:lnTo>
                      <a:pt x="1166" y="1264"/>
                    </a:lnTo>
                    <a:lnTo>
                      <a:pt x="1168" y="1262"/>
                    </a:lnTo>
                    <a:lnTo>
                      <a:pt x="1168" y="1264"/>
                    </a:lnTo>
                    <a:lnTo>
                      <a:pt x="1166" y="1264"/>
                    </a:lnTo>
                    <a:lnTo>
                      <a:pt x="1166" y="1265"/>
                    </a:lnTo>
                    <a:lnTo>
                      <a:pt x="1166" y="1264"/>
                    </a:lnTo>
                    <a:lnTo>
                      <a:pt x="1168" y="1264"/>
                    </a:lnTo>
                    <a:lnTo>
                      <a:pt x="1169" y="1262"/>
                    </a:lnTo>
                    <a:lnTo>
                      <a:pt x="1169" y="1260"/>
                    </a:lnTo>
                    <a:lnTo>
                      <a:pt x="1171" y="1260"/>
                    </a:lnTo>
                    <a:lnTo>
                      <a:pt x="1171" y="1262"/>
                    </a:lnTo>
                    <a:lnTo>
                      <a:pt x="1169" y="1262"/>
                    </a:lnTo>
                    <a:lnTo>
                      <a:pt x="1171" y="1262"/>
                    </a:lnTo>
                    <a:lnTo>
                      <a:pt x="1171" y="1264"/>
                    </a:lnTo>
                    <a:lnTo>
                      <a:pt x="1169" y="1264"/>
                    </a:lnTo>
                    <a:lnTo>
                      <a:pt x="1169" y="1265"/>
                    </a:lnTo>
                    <a:lnTo>
                      <a:pt x="1168" y="1265"/>
                    </a:lnTo>
                    <a:lnTo>
                      <a:pt x="1168" y="1267"/>
                    </a:lnTo>
                    <a:lnTo>
                      <a:pt x="1168" y="1265"/>
                    </a:lnTo>
                    <a:lnTo>
                      <a:pt x="1169" y="1265"/>
                    </a:lnTo>
                    <a:lnTo>
                      <a:pt x="1169" y="1264"/>
                    </a:lnTo>
                    <a:lnTo>
                      <a:pt x="1171" y="1264"/>
                    </a:lnTo>
                    <a:lnTo>
                      <a:pt x="1169" y="1264"/>
                    </a:lnTo>
                    <a:lnTo>
                      <a:pt x="1169" y="1265"/>
                    </a:lnTo>
                    <a:lnTo>
                      <a:pt x="1169" y="1267"/>
                    </a:lnTo>
                    <a:lnTo>
                      <a:pt x="1169" y="1265"/>
                    </a:lnTo>
                    <a:lnTo>
                      <a:pt x="1169" y="1267"/>
                    </a:lnTo>
                    <a:lnTo>
                      <a:pt x="1171" y="1267"/>
                    </a:lnTo>
                    <a:lnTo>
                      <a:pt x="1169" y="1269"/>
                    </a:lnTo>
                    <a:lnTo>
                      <a:pt x="1171" y="1269"/>
                    </a:lnTo>
                    <a:lnTo>
                      <a:pt x="1169" y="1270"/>
                    </a:lnTo>
                    <a:lnTo>
                      <a:pt x="1168" y="1270"/>
                    </a:lnTo>
                    <a:lnTo>
                      <a:pt x="1169" y="1269"/>
                    </a:lnTo>
                    <a:lnTo>
                      <a:pt x="1168" y="1270"/>
                    </a:lnTo>
                    <a:lnTo>
                      <a:pt x="1166" y="1272"/>
                    </a:lnTo>
                    <a:lnTo>
                      <a:pt x="1164" y="1274"/>
                    </a:lnTo>
                    <a:lnTo>
                      <a:pt x="1162" y="1274"/>
                    </a:lnTo>
                    <a:lnTo>
                      <a:pt x="1162" y="1272"/>
                    </a:lnTo>
                    <a:lnTo>
                      <a:pt x="1162" y="1270"/>
                    </a:lnTo>
                    <a:lnTo>
                      <a:pt x="1161" y="1270"/>
                    </a:lnTo>
                    <a:lnTo>
                      <a:pt x="1161" y="1269"/>
                    </a:lnTo>
                    <a:lnTo>
                      <a:pt x="1161" y="1267"/>
                    </a:lnTo>
                    <a:lnTo>
                      <a:pt x="1162" y="1267"/>
                    </a:lnTo>
                    <a:lnTo>
                      <a:pt x="1161" y="1267"/>
                    </a:lnTo>
                    <a:lnTo>
                      <a:pt x="1161" y="1269"/>
                    </a:lnTo>
                    <a:lnTo>
                      <a:pt x="1159" y="1267"/>
                    </a:lnTo>
                    <a:lnTo>
                      <a:pt x="1159" y="1265"/>
                    </a:lnTo>
                    <a:lnTo>
                      <a:pt x="1159" y="1264"/>
                    </a:lnTo>
                    <a:lnTo>
                      <a:pt x="1161" y="1264"/>
                    </a:lnTo>
                    <a:lnTo>
                      <a:pt x="1162" y="1264"/>
                    </a:lnTo>
                    <a:lnTo>
                      <a:pt x="1161" y="1264"/>
                    </a:lnTo>
                    <a:lnTo>
                      <a:pt x="1159" y="1264"/>
                    </a:lnTo>
                    <a:lnTo>
                      <a:pt x="1161" y="1264"/>
                    </a:lnTo>
                    <a:lnTo>
                      <a:pt x="1161" y="1262"/>
                    </a:lnTo>
                    <a:lnTo>
                      <a:pt x="1161" y="1264"/>
                    </a:lnTo>
                    <a:lnTo>
                      <a:pt x="1159" y="1264"/>
                    </a:lnTo>
                    <a:lnTo>
                      <a:pt x="1157" y="1264"/>
                    </a:lnTo>
                    <a:lnTo>
                      <a:pt x="1159" y="1262"/>
                    </a:lnTo>
                    <a:lnTo>
                      <a:pt x="1157" y="1264"/>
                    </a:lnTo>
                    <a:lnTo>
                      <a:pt x="1157" y="1262"/>
                    </a:lnTo>
                    <a:lnTo>
                      <a:pt x="1159" y="1260"/>
                    </a:lnTo>
                    <a:lnTo>
                      <a:pt x="1157" y="1260"/>
                    </a:lnTo>
                    <a:lnTo>
                      <a:pt x="1157" y="1262"/>
                    </a:lnTo>
                    <a:lnTo>
                      <a:pt x="1157" y="1260"/>
                    </a:lnTo>
                    <a:lnTo>
                      <a:pt x="1159" y="1260"/>
                    </a:lnTo>
                    <a:lnTo>
                      <a:pt x="1161" y="1259"/>
                    </a:lnTo>
                    <a:lnTo>
                      <a:pt x="1159" y="1259"/>
                    </a:lnTo>
                    <a:lnTo>
                      <a:pt x="1159" y="1260"/>
                    </a:lnTo>
                    <a:lnTo>
                      <a:pt x="1157" y="1260"/>
                    </a:lnTo>
                    <a:lnTo>
                      <a:pt x="1157" y="1259"/>
                    </a:lnTo>
                    <a:lnTo>
                      <a:pt x="1159" y="1259"/>
                    </a:lnTo>
                    <a:lnTo>
                      <a:pt x="1157" y="1259"/>
                    </a:lnTo>
                    <a:lnTo>
                      <a:pt x="1157" y="1257"/>
                    </a:lnTo>
                    <a:lnTo>
                      <a:pt x="1157" y="1259"/>
                    </a:lnTo>
                    <a:lnTo>
                      <a:pt x="1156" y="1257"/>
                    </a:lnTo>
                    <a:lnTo>
                      <a:pt x="1156" y="1255"/>
                    </a:lnTo>
                    <a:lnTo>
                      <a:pt x="1157" y="1255"/>
                    </a:lnTo>
                    <a:close/>
                    <a:moveTo>
                      <a:pt x="1183" y="1447"/>
                    </a:moveTo>
                    <a:lnTo>
                      <a:pt x="1185" y="1447"/>
                    </a:lnTo>
                    <a:lnTo>
                      <a:pt x="1185" y="1449"/>
                    </a:lnTo>
                    <a:lnTo>
                      <a:pt x="1183" y="1449"/>
                    </a:lnTo>
                    <a:lnTo>
                      <a:pt x="1185" y="1451"/>
                    </a:lnTo>
                    <a:lnTo>
                      <a:pt x="1185" y="1449"/>
                    </a:lnTo>
                    <a:lnTo>
                      <a:pt x="1186" y="1449"/>
                    </a:lnTo>
                    <a:lnTo>
                      <a:pt x="1186" y="1451"/>
                    </a:lnTo>
                    <a:lnTo>
                      <a:pt x="1185" y="1451"/>
                    </a:lnTo>
                    <a:lnTo>
                      <a:pt x="1186" y="1451"/>
                    </a:lnTo>
                    <a:lnTo>
                      <a:pt x="1186" y="1449"/>
                    </a:lnTo>
                    <a:lnTo>
                      <a:pt x="1186" y="1451"/>
                    </a:lnTo>
                    <a:lnTo>
                      <a:pt x="1186" y="1453"/>
                    </a:lnTo>
                    <a:lnTo>
                      <a:pt x="1186" y="1451"/>
                    </a:lnTo>
                    <a:lnTo>
                      <a:pt x="1186" y="1453"/>
                    </a:lnTo>
                    <a:lnTo>
                      <a:pt x="1188" y="1453"/>
                    </a:lnTo>
                    <a:lnTo>
                      <a:pt x="1190" y="1453"/>
                    </a:lnTo>
                    <a:lnTo>
                      <a:pt x="1190" y="1454"/>
                    </a:lnTo>
                    <a:lnTo>
                      <a:pt x="1190" y="1453"/>
                    </a:lnTo>
                    <a:lnTo>
                      <a:pt x="1191" y="1454"/>
                    </a:lnTo>
                    <a:lnTo>
                      <a:pt x="1191" y="1456"/>
                    </a:lnTo>
                    <a:lnTo>
                      <a:pt x="1190" y="1456"/>
                    </a:lnTo>
                    <a:lnTo>
                      <a:pt x="1191" y="1456"/>
                    </a:lnTo>
                    <a:lnTo>
                      <a:pt x="1193" y="1456"/>
                    </a:lnTo>
                    <a:lnTo>
                      <a:pt x="1193" y="1454"/>
                    </a:lnTo>
                    <a:lnTo>
                      <a:pt x="1193" y="1456"/>
                    </a:lnTo>
                    <a:lnTo>
                      <a:pt x="1193" y="1454"/>
                    </a:lnTo>
                    <a:lnTo>
                      <a:pt x="1195" y="1456"/>
                    </a:lnTo>
                    <a:lnTo>
                      <a:pt x="1193" y="1456"/>
                    </a:lnTo>
                    <a:lnTo>
                      <a:pt x="1195" y="1458"/>
                    </a:lnTo>
                    <a:lnTo>
                      <a:pt x="1195" y="1456"/>
                    </a:lnTo>
                    <a:lnTo>
                      <a:pt x="1195" y="1458"/>
                    </a:lnTo>
                    <a:lnTo>
                      <a:pt x="1196" y="1458"/>
                    </a:lnTo>
                    <a:lnTo>
                      <a:pt x="1196" y="1459"/>
                    </a:lnTo>
                    <a:lnTo>
                      <a:pt x="1196" y="1461"/>
                    </a:lnTo>
                    <a:lnTo>
                      <a:pt x="1198" y="1459"/>
                    </a:lnTo>
                    <a:lnTo>
                      <a:pt x="1198" y="1461"/>
                    </a:lnTo>
                    <a:lnTo>
                      <a:pt x="1198" y="1459"/>
                    </a:lnTo>
                    <a:lnTo>
                      <a:pt x="1198" y="1461"/>
                    </a:lnTo>
                    <a:lnTo>
                      <a:pt x="1200" y="1461"/>
                    </a:lnTo>
                    <a:lnTo>
                      <a:pt x="1202" y="1461"/>
                    </a:lnTo>
                    <a:lnTo>
                      <a:pt x="1202" y="1463"/>
                    </a:lnTo>
                    <a:lnTo>
                      <a:pt x="1203" y="1463"/>
                    </a:lnTo>
                    <a:lnTo>
                      <a:pt x="1203" y="1464"/>
                    </a:lnTo>
                    <a:lnTo>
                      <a:pt x="1205" y="1466"/>
                    </a:lnTo>
                    <a:lnTo>
                      <a:pt x="1205" y="1468"/>
                    </a:lnTo>
                    <a:lnTo>
                      <a:pt x="1207" y="1468"/>
                    </a:lnTo>
                    <a:lnTo>
                      <a:pt x="1207" y="1470"/>
                    </a:lnTo>
                    <a:lnTo>
                      <a:pt x="1207" y="1471"/>
                    </a:lnTo>
                    <a:lnTo>
                      <a:pt x="1208" y="1473"/>
                    </a:lnTo>
                    <a:lnTo>
                      <a:pt x="1208" y="1475"/>
                    </a:lnTo>
                    <a:lnTo>
                      <a:pt x="1207" y="1475"/>
                    </a:lnTo>
                    <a:lnTo>
                      <a:pt x="1207" y="1473"/>
                    </a:lnTo>
                    <a:lnTo>
                      <a:pt x="1205" y="1473"/>
                    </a:lnTo>
                    <a:lnTo>
                      <a:pt x="1205" y="1471"/>
                    </a:lnTo>
                    <a:lnTo>
                      <a:pt x="1203" y="1471"/>
                    </a:lnTo>
                    <a:lnTo>
                      <a:pt x="1203" y="1470"/>
                    </a:lnTo>
                    <a:lnTo>
                      <a:pt x="1202" y="1470"/>
                    </a:lnTo>
                    <a:lnTo>
                      <a:pt x="1202" y="1468"/>
                    </a:lnTo>
                    <a:lnTo>
                      <a:pt x="1200" y="1468"/>
                    </a:lnTo>
                    <a:lnTo>
                      <a:pt x="1198" y="1468"/>
                    </a:lnTo>
                    <a:lnTo>
                      <a:pt x="1198" y="1466"/>
                    </a:lnTo>
                    <a:lnTo>
                      <a:pt x="1196" y="1466"/>
                    </a:lnTo>
                    <a:lnTo>
                      <a:pt x="1196" y="1464"/>
                    </a:lnTo>
                    <a:lnTo>
                      <a:pt x="1195" y="1464"/>
                    </a:lnTo>
                    <a:lnTo>
                      <a:pt x="1193" y="1463"/>
                    </a:lnTo>
                    <a:lnTo>
                      <a:pt x="1193" y="1464"/>
                    </a:lnTo>
                    <a:lnTo>
                      <a:pt x="1193" y="1463"/>
                    </a:lnTo>
                    <a:lnTo>
                      <a:pt x="1195" y="1463"/>
                    </a:lnTo>
                    <a:lnTo>
                      <a:pt x="1196" y="1463"/>
                    </a:lnTo>
                    <a:lnTo>
                      <a:pt x="1196" y="1464"/>
                    </a:lnTo>
                    <a:lnTo>
                      <a:pt x="1198" y="1464"/>
                    </a:lnTo>
                    <a:lnTo>
                      <a:pt x="1196" y="1464"/>
                    </a:lnTo>
                    <a:lnTo>
                      <a:pt x="1195" y="1463"/>
                    </a:lnTo>
                    <a:lnTo>
                      <a:pt x="1193" y="1461"/>
                    </a:lnTo>
                    <a:lnTo>
                      <a:pt x="1193" y="1459"/>
                    </a:lnTo>
                    <a:lnTo>
                      <a:pt x="1193" y="1461"/>
                    </a:lnTo>
                    <a:lnTo>
                      <a:pt x="1191" y="1461"/>
                    </a:lnTo>
                    <a:lnTo>
                      <a:pt x="1191" y="1459"/>
                    </a:lnTo>
                    <a:lnTo>
                      <a:pt x="1190" y="1459"/>
                    </a:lnTo>
                    <a:lnTo>
                      <a:pt x="1188" y="1459"/>
                    </a:lnTo>
                    <a:lnTo>
                      <a:pt x="1188" y="1458"/>
                    </a:lnTo>
                    <a:lnTo>
                      <a:pt x="1186" y="1458"/>
                    </a:lnTo>
                    <a:lnTo>
                      <a:pt x="1188" y="1456"/>
                    </a:lnTo>
                    <a:lnTo>
                      <a:pt x="1186" y="1456"/>
                    </a:lnTo>
                    <a:lnTo>
                      <a:pt x="1186" y="1458"/>
                    </a:lnTo>
                    <a:lnTo>
                      <a:pt x="1185" y="1456"/>
                    </a:lnTo>
                    <a:lnTo>
                      <a:pt x="1183" y="1454"/>
                    </a:lnTo>
                    <a:lnTo>
                      <a:pt x="1185" y="1454"/>
                    </a:lnTo>
                    <a:lnTo>
                      <a:pt x="1183" y="1454"/>
                    </a:lnTo>
                    <a:lnTo>
                      <a:pt x="1183" y="1453"/>
                    </a:lnTo>
                    <a:lnTo>
                      <a:pt x="1183" y="1451"/>
                    </a:lnTo>
                    <a:lnTo>
                      <a:pt x="1183" y="1453"/>
                    </a:lnTo>
                    <a:lnTo>
                      <a:pt x="1181" y="1451"/>
                    </a:lnTo>
                    <a:lnTo>
                      <a:pt x="1181" y="1449"/>
                    </a:lnTo>
                    <a:lnTo>
                      <a:pt x="1183" y="1449"/>
                    </a:lnTo>
                    <a:lnTo>
                      <a:pt x="1181" y="1449"/>
                    </a:lnTo>
                    <a:lnTo>
                      <a:pt x="1179" y="1447"/>
                    </a:lnTo>
                    <a:lnTo>
                      <a:pt x="1179" y="1446"/>
                    </a:lnTo>
                    <a:lnTo>
                      <a:pt x="1181" y="1447"/>
                    </a:lnTo>
                    <a:lnTo>
                      <a:pt x="1183" y="1447"/>
                    </a:lnTo>
                    <a:close/>
                    <a:moveTo>
                      <a:pt x="1343" y="1626"/>
                    </a:moveTo>
                    <a:lnTo>
                      <a:pt x="1344" y="1626"/>
                    </a:lnTo>
                    <a:lnTo>
                      <a:pt x="1346" y="1626"/>
                    </a:lnTo>
                    <a:lnTo>
                      <a:pt x="1348" y="1626"/>
                    </a:lnTo>
                    <a:lnTo>
                      <a:pt x="1349" y="1628"/>
                    </a:lnTo>
                    <a:lnTo>
                      <a:pt x="1348" y="1628"/>
                    </a:lnTo>
                    <a:lnTo>
                      <a:pt x="1349" y="1628"/>
                    </a:lnTo>
                    <a:lnTo>
                      <a:pt x="1348" y="1629"/>
                    </a:lnTo>
                    <a:lnTo>
                      <a:pt x="1348" y="1631"/>
                    </a:lnTo>
                    <a:lnTo>
                      <a:pt x="1349" y="1629"/>
                    </a:lnTo>
                    <a:lnTo>
                      <a:pt x="1349" y="1628"/>
                    </a:lnTo>
                    <a:lnTo>
                      <a:pt x="1351" y="1628"/>
                    </a:lnTo>
                    <a:lnTo>
                      <a:pt x="1353" y="1628"/>
                    </a:lnTo>
                    <a:lnTo>
                      <a:pt x="1355" y="1628"/>
                    </a:lnTo>
                    <a:lnTo>
                      <a:pt x="1355" y="1629"/>
                    </a:lnTo>
                    <a:lnTo>
                      <a:pt x="1356" y="1629"/>
                    </a:lnTo>
                    <a:lnTo>
                      <a:pt x="1358" y="1629"/>
                    </a:lnTo>
                    <a:lnTo>
                      <a:pt x="1360" y="1629"/>
                    </a:lnTo>
                    <a:lnTo>
                      <a:pt x="1360" y="1631"/>
                    </a:lnTo>
                    <a:lnTo>
                      <a:pt x="1361" y="1631"/>
                    </a:lnTo>
                    <a:lnTo>
                      <a:pt x="1360" y="1631"/>
                    </a:lnTo>
                    <a:lnTo>
                      <a:pt x="1358" y="1631"/>
                    </a:lnTo>
                    <a:lnTo>
                      <a:pt x="1356" y="1631"/>
                    </a:lnTo>
                    <a:lnTo>
                      <a:pt x="1355" y="1631"/>
                    </a:lnTo>
                    <a:lnTo>
                      <a:pt x="1353" y="1631"/>
                    </a:lnTo>
                    <a:lnTo>
                      <a:pt x="1355" y="1631"/>
                    </a:lnTo>
                    <a:lnTo>
                      <a:pt x="1355" y="1633"/>
                    </a:lnTo>
                    <a:lnTo>
                      <a:pt x="1353" y="1633"/>
                    </a:lnTo>
                    <a:lnTo>
                      <a:pt x="1351" y="1633"/>
                    </a:lnTo>
                    <a:lnTo>
                      <a:pt x="1351" y="1635"/>
                    </a:lnTo>
                    <a:lnTo>
                      <a:pt x="1349" y="1635"/>
                    </a:lnTo>
                    <a:lnTo>
                      <a:pt x="1349" y="1633"/>
                    </a:lnTo>
                    <a:lnTo>
                      <a:pt x="1349" y="1631"/>
                    </a:lnTo>
                    <a:lnTo>
                      <a:pt x="1349" y="1633"/>
                    </a:lnTo>
                    <a:lnTo>
                      <a:pt x="1348" y="1633"/>
                    </a:lnTo>
                    <a:lnTo>
                      <a:pt x="1348" y="1635"/>
                    </a:lnTo>
                    <a:lnTo>
                      <a:pt x="1346" y="1635"/>
                    </a:lnTo>
                    <a:lnTo>
                      <a:pt x="1344" y="1635"/>
                    </a:lnTo>
                    <a:lnTo>
                      <a:pt x="1343" y="1635"/>
                    </a:lnTo>
                    <a:lnTo>
                      <a:pt x="1343" y="1636"/>
                    </a:lnTo>
                    <a:lnTo>
                      <a:pt x="1341" y="1635"/>
                    </a:lnTo>
                    <a:lnTo>
                      <a:pt x="1341" y="1636"/>
                    </a:lnTo>
                    <a:lnTo>
                      <a:pt x="1339" y="1636"/>
                    </a:lnTo>
                    <a:lnTo>
                      <a:pt x="1338" y="1636"/>
                    </a:lnTo>
                    <a:lnTo>
                      <a:pt x="1338" y="1635"/>
                    </a:lnTo>
                    <a:lnTo>
                      <a:pt x="1338" y="1636"/>
                    </a:lnTo>
                    <a:lnTo>
                      <a:pt x="1338" y="1635"/>
                    </a:lnTo>
                    <a:lnTo>
                      <a:pt x="1338" y="1636"/>
                    </a:lnTo>
                    <a:lnTo>
                      <a:pt x="1336" y="1636"/>
                    </a:lnTo>
                    <a:lnTo>
                      <a:pt x="1334" y="1636"/>
                    </a:lnTo>
                    <a:lnTo>
                      <a:pt x="1334" y="1635"/>
                    </a:lnTo>
                    <a:lnTo>
                      <a:pt x="1332" y="1633"/>
                    </a:lnTo>
                    <a:lnTo>
                      <a:pt x="1334" y="1633"/>
                    </a:lnTo>
                    <a:lnTo>
                      <a:pt x="1334" y="1631"/>
                    </a:lnTo>
                    <a:lnTo>
                      <a:pt x="1334" y="1633"/>
                    </a:lnTo>
                    <a:lnTo>
                      <a:pt x="1332" y="1631"/>
                    </a:lnTo>
                    <a:lnTo>
                      <a:pt x="1334" y="1629"/>
                    </a:lnTo>
                    <a:lnTo>
                      <a:pt x="1336" y="1629"/>
                    </a:lnTo>
                    <a:lnTo>
                      <a:pt x="1338" y="1631"/>
                    </a:lnTo>
                    <a:lnTo>
                      <a:pt x="1338" y="1629"/>
                    </a:lnTo>
                    <a:lnTo>
                      <a:pt x="1336" y="1629"/>
                    </a:lnTo>
                    <a:lnTo>
                      <a:pt x="1334" y="1628"/>
                    </a:lnTo>
                    <a:lnTo>
                      <a:pt x="1334" y="1629"/>
                    </a:lnTo>
                    <a:lnTo>
                      <a:pt x="1332" y="1628"/>
                    </a:lnTo>
                    <a:lnTo>
                      <a:pt x="1334" y="1628"/>
                    </a:lnTo>
                    <a:lnTo>
                      <a:pt x="1334" y="1626"/>
                    </a:lnTo>
                    <a:lnTo>
                      <a:pt x="1336" y="1628"/>
                    </a:lnTo>
                    <a:lnTo>
                      <a:pt x="1336" y="1626"/>
                    </a:lnTo>
                    <a:lnTo>
                      <a:pt x="1338" y="1626"/>
                    </a:lnTo>
                    <a:lnTo>
                      <a:pt x="1339" y="1628"/>
                    </a:lnTo>
                    <a:lnTo>
                      <a:pt x="1339" y="1629"/>
                    </a:lnTo>
                    <a:lnTo>
                      <a:pt x="1339" y="1631"/>
                    </a:lnTo>
                    <a:lnTo>
                      <a:pt x="1341" y="1629"/>
                    </a:lnTo>
                    <a:lnTo>
                      <a:pt x="1343" y="1629"/>
                    </a:lnTo>
                    <a:lnTo>
                      <a:pt x="1341" y="1631"/>
                    </a:lnTo>
                    <a:lnTo>
                      <a:pt x="1343" y="1631"/>
                    </a:lnTo>
                    <a:lnTo>
                      <a:pt x="1343" y="1629"/>
                    </a:lnTo>
                    <a:lnTo>
                      <a:pt x="1341" y="1629"/>
                    </a:lnTo>
                    <a:lnTo>
                      <a:pt x="1341" y="1628"/>
                    </a:lnTo>
                    <a:lnTo>
                      <a:pt x="1343" y="1629"/>
                    </a:lnTo>
                    <a:lnTo>
                      <a:pt x="1341" y="1629"/>
                    </a:lnTo>
                    <a:lnTo>
                      <a:pt x="1341" y="1628"/>
                    </a:lnTo>
                    <a:lnTo>
                      <a:pt x="1339" y="1628"/>
                    </a:lnTo>
                    <a:lnTo>
                      <a:pt x="1339" y="1626"/>
                    </a:lnTo>
                    <a:lnTo>
                      <a:pt x="1341" y="1626"/>
                    </a:lnTo>
                    <a:lnTo>
                      <a:pt x="1343" y="1626"/>
                    </a:lnTo>
                    <a:close/>
                    <a:moveTo>
                      <a:pt x="1152" y="1272"/>
                    </a:moveTo>
                    <a:lnTo>
                      <a:pt x="1152" y="1274"/>
                    </a:lnTo>
                    <a:lnTo>
                      <a:pt x="1152" y="1276"/>
                    </a:lnTo>
                    <a:lnTo>
                      <a:pt x="1151" y="1276"/>
                    </a:lnTo>
                    <a:lnTo>
                      <a:pt x="1152" y="1276"/>
                    </a:lnTo>
                    <a:lnTo>
                      <a:pt x="1152" y="1277"/>
                    </a:lnTo>
                    <a:lnTo>
                      <a:pt x="1152" y="1276"/>
                    </a:lnTo>
                    <a:lnTo>
                      <a:pt x="1152" y="1274"/>
                    </a:lnTo>
                    <a:lnTo>
                      <a:pt x="1152" y="1272"/>
                    </a:lnTo>
                    <a:lnTo>
                      <a:pt x="1154" y="1272"/>
                    </a:lnTo>
                    <a:lnTo>
                      <a:pt x="1154" y="1274"/>
                    </a:lnTo>
                    <a:lnTo>
                      <a:pt x="1154" y="1276"/>
                    </a:lnTo>
                    <a:lnTo>
                      <a:pt x="1154" y="1277"/>
                    </a:lnTo>
                    <a:lnTo>
                      <a:pt x="1152" y="1277"/>
                    </a:lnTo>
                    <a:lnTo>
                      <a:pt x="1154" y="1277"/>
                    </a:lnTo>
                    <a:lnTo>
                      <a:pt x="1154" y="1279"/>
                    </a:lnTo>
                    <a:lnTo>
                      <a:pt x="1156" y="1279"/>
                    </a:lnTo>
                    <a:lnTo>
                      <a:pt x="1154" y="1281"/>
                    </a:lnTo>
                    <a:lnTo>
                      <a:pt x="1154" y="1282"/>
                    </a:lnTo>
                    <a:lnTo>
                      <a:pt x="1154" y="1284"/>
                    </a:lnTo>
                    <a:lnTo>
                      <a:pt x="1152" y="1284"/>
                    </a:lnTo>
                    <a:lnTo>
                      <a:pt x="1152" y="1286"/>
                    </a:lnTo>
                    <a:lnTo>
                      <a:pt x="1151" y="1286"/>
                    </a:lnTo>
                    <a:lnTo>
                      <a:pt x="1151" y="1288"/>
                    </a:lnTo>
                    <a:lnTo>
                      <a:pt x="1149" y="1289"/>
                    </a:lnTo>
                    <a:lnTo>
                      <a:pt x="1149" y="1288"/>
                    </a:lnTo>
                    <a:lnTo>
                      <a:pt x="1149" y="1289"/>
                    </a:lnTo>
                    <a:lnTo>
                      <a:pt x="1147" y="1289"/>
                    </a:lnTo>
                    <a:lnTo>
                      <a:pt x="1145" y="1291"/>
                    </a:lnTo>
                    <a:lnTo>
                      <a:pt x="1144" y="1291"/>
                    </a:lnTo>
                    <a:lnTo>
                      <a:pt x="1144" y="1289"/>
                    </a:lnTo>
                    <a:lnTo>
                      <a:pt x="1142" y="1289"/>
                    </a:lnTo>
                    <a:lnTo>
                      <a:pt x="1142" y="1288"/>
                    </a:lnTo>
                    <a:lnTo>
                      <a:pt x="1142" y="1286"/>
                    </a:lnTo>
                    <a:lnTo>
                      <a:pt x="1142" y="1284"/>
                    </a:lnTo>
                    <a:lnTo>
                      <a:pt x="1144" y="1284"/>
                    </a:lnTo>
                    <a:lnTo>
                      <a:pt x="1144" y="1286"/>
                    </a:lnTo>
                    <a:lnTo>
                      <a:pt x="1145" y="1286"/>
                    </a:lnTo>
                    <a:lnTo>
                      <a:pt x="1147" y="1286"/>
                    </a:lnTo>
                    <a:lnTo>
                      <a:pt x="1147" y="1288"/>
                    </a:lnTo>
                    <a:lnTo>
                      <a:pt x="1147" y="1286"/>
                    </a:lnTo>
                    <a:lnTo>
                      <a:pt x="1149" y="1286"/>
                    </a:lnTo>
                    <a:lnTo>
                      <a:pt x="1151" y="1286"/>
                    </a:lnTo>
                    <a:lnTo>
                      <a:pt x="1151" y="1284"/>
                    </a:lnTo>
                    <a:lnTo>
                      <a:pt x="1152" y="1282"/>
                    </a:lnTo>
                    <a:lnTo>
                      <a:pt x="1154" y="1282"/>
                    </a:lnTo>
                    <a:lnTo>
                      <a:pt x="1154" y="1281"/>
                    </a:lnTo>
                    <a:lnTo>
                      <a:pt x="1152" y="1282"/>
                    </a:lnTo>
                    <a:lnTo>
                      <a:pt x="1152" y="1284"/>
                    </a:lnTo>
                    <a:lnTo>
                      <a:pt x="1151" y="1284"/>
                    </a:lnTo>
                    <a:lnTo>
                      <a:pt x="1149" y="1286"/>
                    </a:lnTo>
                    <a:lnTo>
                      <a:pt x="1147" y="1286"/>
                    </a:lnTo>
                    <a:lnTo>
                      <a:pt x="1145" y="1286"/>
                    </a:lnTo>
                    <a:lnTo>
                      <a:pt x="1144" y="1286"/>
                    </a:lnTo>
                    <a:lnTo>
                      <a:pt x="1144" y="1284"/>
                    </a:lnTo>
                    <a:lnTo>
                      <a:pt x="1144" y="1282"/>
                    </a:lnTo>
                    <a:lnTo>
                      <a:pt x="1145" y="1282"/>
                    </a:lnTo>
                    <a:lnTo>
                      <a:pt x="1145" y="1284"/>
                    </a:lnTo>
                    <a:lnTo>
                      <a:pt x="1147" y="1284"/>
                    </a:lnTo>
                    <a:lnTo>
                      <a:pt x="1149" y="1284"/>
                    </a:lnTo>
                    <a:lnTo>
                      <a:pt x="1147" y="1282"/>
                    </a:lnTo>
                    <a:lnTo>
                      <a:pt x="1149" y="1282"/>
                    </a:lnTo>
                    <a:lnTo>
                      <a:pt x="1151" y="1282"/>
                    </a:lnTo>
                    <a:lnTo>
                      <a:pt x="1151" y="1281"/>
                    </a:lnTo>
                    <a:lnTo>
                      <a:pt x="1152" y="1281"/>
                    </a:lnTo>
                    <a:lnTo>
                      <a:pt x="1151" y="1281"/>
                    </a:lnTo>
                    <a:lnTo>
                      <a:pt x="1149" y="1282"/>
                    </a:lnTo>
                    <a:lnTo>
                      <a:pt x="1147" y="1282"/>
                    </a:lnTo>
                    <a:lnTo>
                      <a:pt x="1145" y="1282"/>
                    </a:lnTo>
                    <a:lnTo>
                      <a:pt x="1147" y="1282"/>
                    </a:lnTo>
                    <a:lnTo>
                      <a:pt x="1147" y="1281"/>
                    </a:lnTo>
                    <a:lnTo>
                      <a:pt x="1149" y="1281"/>
                    </a:lnTo>
                    <a:lnTo>
                      <a:pt x="1151" y="1279"/>
                    </a:lnTo>
                    <a:lnTo>
                      <a:pt x="1152" y="1277"/>
                    </a:lnTo>
                    <a:lnTo>
                      <a:pt x="1151" y="1279"/>
                    </a:lnTo>
                    <a:lnTo>
                      <a:pt x="1149" y="1279"/>
                    </a:lnTo>
                    <a:lnTo>
                      <a:pt x="1149" y="1281"/>
                    </a:lnTo>
                    <a:lnTo>
                      <a:pt x="1147" y="1281"/>
                    </a:lnTo>
                    <a:lnTo>
                      <a:pt x="1147" y="1282"/>
                    </a:lnTo>
                    <a:lnTo>
                      <a:pt x="1145" y="1282"/>
                    </a:lnTo>
                    <a:lnTo>
                      <a:pt x="1144" y="1282"/>
                    </a:lnTo>
                    <a:lnTo>
                      <a:pt x="1145" y="1281"/>
                    </a:lnTo>
                    <a:lnTo>
                      <a:pt x="1144" y="1281"/>
                    </a:lnTo>
                    <a:lnTo>
                      <a:pt x="1144" y="1282"/>
                    </a:lnTo>
                    <a:lnTo>
                      <a:pt x="1142" y="1282"/>
                    </a:lnTo>
                    <a:lnTo>
                      <a:pt x="1144" y="1281"/>
                    </a:lnTo>
                    <a:lnTo>
                      <a:pt x="1142" y="1281"/>
                    </a:lnTo>
                    <a:lnTo>
                      <a:pt x="1142" y="1279"/>
                    </a:lnTo>
                    <a:lnTo>
                      <a:pt x="1144" y="1279"/>
                    </a:lnTo>
                    <a:lnTo>
                      <a:pt x="1142" y="1277"/>
                    </a:lnTo>
                    <a:lnTo>
                      <a:pt x="1144" y="1276"/>
                    </a:lnTo>
                    <a:lnTo>
                      <a:pt x="1142" y="1276"/>
                    </a:lnTo>
                    <a:lnTo>
                      <a:pt x="1142" y="1274"/>
                    </a:lnTo>
                    <a:lnTo>
                      <a:pt x="1144" y="1274"/>
                    </a:lnTo>
                    <a:lnTo>
                      <a:pt x="1144" y="1272"/>
                    </a:lnTo>
                    <a:lnTo>
                      <a:pt x="1145" y="1272"/>
                    </a:lnTo>
                    <a:lnTo>
                      <a:pt x="1145" y="1274"/>
                    </a:lnTo>
                    <a:lnTo>
                      <a:pt x="1147" y="1274"/>
                    </a:lnTo>
                    <a:lnTo>
                      <a:pt x="1147" y="1276"/>
                    </a:lnTo>
                    <a:lnTo>
                      <a:pt x="1147" y="1274"/>
                    </a:lnTo>
                    <a:lnTo>
                      <a:pt x="1149" y="1274"/>
                    </a:lnTo>
                    <a:lnTo>
                      <a:pt x="1147" y="1274"/>
                    </a:lnTo>
                    <a:lnTo>
                      <a:pt x="1149" y="1274"/>
                    </a:lnTo>
                    <a:lnTo>
                      <a:pt x="1151" y="1272"/>
                    </a:lnTo>
                    <a:lnTo>
                      <a:pt x="1151" y="1274"/>
                    </a:lnTo>
                    <a:lnTo>
                      <a:pt x="1151" y="1276"/>
                    </a:lnTo>
                    <a:lnTo>
                      <a:pt x="1151" y="1274"/>
                    </a:lnTo>
                    <a:lnTo>
                      <a:pt x="1151" y="1272"/>
                    </a:lnTo>
                    <a:lnTo>
                      <a:pt x="1152" y="1272"/>
                    </a:lnTo>
                    <a:close/>
                    <a:moveTo>
                      <a:pt x="1195" y="1240"/>
                    </a:moveTo>
                    <a:lnTo>
                      <a:pt x="1195" y="1242"/>
                    </a:lnTo>
                    <a:lnTo>
                      <a:pt x="1196" y="1242"/>
                    </a:lnTo>
                    <a:lnTo>
                      <a:pt x="1196" y="1243"/>
                    </a:lnTo>
                    <a:lnTo>
                      <a:pt x="1198" y="1243"/>
                    </a:lnTo>
                    <a:lnTo>
                      <a:pt x="1200" y="1243"/>
                    </a:lnTo>
                    <a:lnTo>
                      <a:pt x="1202" y="1245"/>
                    </a:lnTo>
                    <a:lnTo>
                      <a:pt x="1202" y="1243"/>
                    </a:lnTo>
                    <a:lnTo>
                      <a:pt x="1203" y="1243"/>
                    </a:lnTo>
                    <a:lnTo>
                      <a:pt x="1205" y="1245"/>
                    </a:lnTo>
                    <a:lnTo>
                      <a:pt x="1203" y="1247"/>
                    </a:lnTo>
                    <a:lnTo>
                      <a:pt x="1203" y="1248"/>
                    </a:lnTo>
                    <a:lnTo>
                      <a:pt x="1202" y="1248"/>
                    </a:lnTo>
                    <a:lnTo>
                      <a:pt x="1200" y="1248"/>
                    </a:lnTo>
                    <a:lnTo>
                      <a:pt x="1202" y="1247"/>
                    </a:lnTo>
                    <a:lnTo>
                      <a:pt x="1200" y="1247"/>
                    </a:lnTo>
                    <a:lnTo>
                      <a:pt x="1198" y="1248"/>
                    </a:lnTo>
                    <a:lnTo>
                      <a:pt x="1196" y="1248"/>
                    </a:lnTo>
                    <a:lnTo>
                      <a:pt x="1195" y="1248"/>
                    </a:lnTo>
                    <a:lnTo>
                      <a:pt x="1193" y="1248"/>
                    </a:lnTo>
                    <a:lnTo>
                      <a:pt x="1191" y="1248"/>
                    </a:lnTo>
                    <a:lnTo>
                      <a:pt x="1190" y="1250"/>
                    </a:lnTo>
                    <a:lnTo>
                      <a:pt x="1190" y="1248"/>
                    </a:lnTo>
                    <a:lnTo>
                      <a:pt x="1188" y="1250"/>
                    </a:lnTo>
                    <a:lnTo>
                      <a:pt x="1186" y="1250"/>
                    </a:lnTo>
                    <a:lnTo>
                      <a:pt x="1186" y="1248"/>
                    </a:lnTo>
                    <a:lnTo>
                      <a:pt x="1186" y="1247"/>
                    </a:lnTo>
                    <a:lnTo>
                      <a:pt x="1185" y="1247"/>
                    </a:lnTo>
                    <a:lnTo>
                      <a:pt x="1185" y="1248"/>
                    </a:lnTo>
                    <a:lnTo>
                      <a:pt x="1185" y="1247"/>
                    </a:lnTo>
                    <a:lnTo>
                      <a:pt x="1183" y="1247"/>
                    </a:lnTo>
                    <a:lnTo>
                      <a:pt x="1181" y="1247"/>
                    </a:lnTo>
                    <a:lnTo>
                      <a:pt x="1181" y="1245"/>
                    </a:lnTo>
                    <a:lnTo>
                      <a:pt x="1183" y="1245"/>
                    </a:lnTo>
                    <a:lnTo>
                      <a:pt x="1185" y="1247"/>
                    </a:lnTo>
                    <a:lnTo>
                      <a:pt x="1185" y="1245"/>
                    </a:lnTo>
                    <a:lnTo>
                      <a:pt x="1183" y="1245"/>
                    </a:lnTo>
                    <a:lnTo>
                      <a:pt x="1183" y="1243"/>
                    </a:lnTo>
                    <a:lnTo>
                      <a:pt x="1185" y="1243"/>
                    </a:lnTo>
                    <a:lnTo>
                      <a:pt x="1185" y="1242"/>
                    </a:lnTo>
                    <a:lnTo>
                      <a:pt x="1186" y="1242"/>
                    </a:lnTo>
                    <a:lnTo>
                      <a:pt x="1186" y="1243"/>
                    </a:lnTo>
                    <a:lnTo>
                      <a:pt x="1188" y="1243"/>
                    </a:lnTo>
                    <a:lnTo>
                      <a:pt x="1188" y="1245"/>
                    </a:lnTo>
                    <a:lnTo>
                      <a:pt x="1190" y="1245"/>
                    </a:lnTo>
                    <a:lnTo>
                      <a:pt x="1191" y="1245"/>
                    </a:lnTo>
                    <a:lnTo>
                      <a:pt x="1190" y="1245"/>
                    </a:lnTo>
                    <a:lnTo>
                      <a:pt x="1190" y="1243"/>
                    </a:lnTo>
                    <a:lnTo>
                      <a:pt x="1188" y="1243"/>
                    </a:lnTo>
                    <a:lnTo>
                      <a:pt x="1188" y="1242"/>
                    </a:lnTo>
                    <a:lnTo>
                      <a:pt x="1186" y="1242"/>
                    </a:lnTo>
                    <a:lnTo>
                      <a:pt x="1188" y="1240"/>
                    </a:lnTo>
                    <a:lnTo>
                      <a:pt x="1190" y="1242"/>
                    </a:lnTo>
                    <a:lnTo>
                      <a:pt x="1190" y="1240"/>
                    </a:lnTo>
                    <a:lnTo>
                      <a:pt x="1191" y="1242"/>
                    </a:lnTo>
                    <a:lnTo>
                      <a:pt x="1193" y="1242"/>
                    </a:lnTo>
                    <a:lnTo>
                      <a:pt x="1195" y="1242"/>
                    </a:lnTo>
                    <a:lnTo>
                      <a:pt x="1195" y="1243"/>
                    </a:lnTo>
                    <a:lnTo>
                      <a:pt x="1196" y="1243"/>
                    </a:lnTo>
                    <a:lnTo>
                      <a:pt x="1195" y="1242"/>
                    </a:lnTo>
                    <a:lnTo>
                      <a:pt x="1193" y="1242"/>
                    </a:lnTo>
                    <a:lnTo>
                      <a:pt x="1191" y="1242"/>
                    </a:lnTo>
                    <a:lnTo>
                      <a:pt x="1191" y="1240"/>
                    </a:lnTo>
                    <a:lnTo>
                      <a:pt x="1193" y="1240"/>
                    </a:lnTo>
                    <a:lnTo>
                      <a:pt x="1195" y="1240"/>
                    </a:lnTo>
                    <a:close/>
                    <a:moveTo>
                      <a:pt x="1147" y="1333"/>
                    </a:moveTo>
                    <a:lnTo>
                      <a:pt x="1149" y="1333"/>
                    </a:lnTo>
                    <a:lnTo>
                      <a:pt x="1151" y="1333"/>
                    </a:lnTo>
                    <a:lnTo>
                      <a:pt x="1151" y="1335"/>
                    </a:lnTo>
                    <a:lnTo>
                      <a:pt x="1151" y="1333"/>
                    </a:lnTo>
                    <a:lnTo>
                      <a:pt x="1151" y="1332"/>
                    </a:lnTo>
                    <a:lnTo>
                      <a:pt x="1152" y="1333"/>
                    </a:lnTo>
                    <a:lnTo>
                      <a:pt x="1152" y="1335"/>
                    </a:lnTo>
                    <a:lnTo>
                      <a:pt x="1154" y="1337"/>
                    </a:lnTo>
                    <a:lnTo>
                      <a:pt x="1152" y="1337"/>
                    </a:lnTo>
                    <a:lnTo>
                      <a:pt x="1152" y="1339"/>
                    </a:lnTo>
                    <a:lnTo>
                      <a:pt x="1152" y="1337"/>
                    </a:lnTo>
                    <a:lnTo>
                      <a:pt x="1154" y="1339"/>
                    </a:lnTo>
                    <a:lnTo>
                      <a:pt x="1154" y="1340"/>
                    </a:lnTo>
                    <a:lnTo>
                      <a:pt x="1156" y="1342"/>
                    </a:lnTo>
                    <a:lnTo>
                      <a:pt x="1156" y="1344"/>
                    </a:lnTo>
                    <a:lnTo>
                      <a:pt x="1156" y="1345"/>
                    </a:lnTo>
                    <a:lnTo>
                      <a:pt x="1157" y="1345"/>
                    </a:lnTo>
                    <a:lnTo>
                      <a:pt x="1157" y="1347"/>
                    </a:lnTo>
                    <a:lnTo>
                      <a:pt x="1157" y="1349"/>
                    </a:lnTo>
                    <a:lnTo>
                      <a:pt x="1156" y="1349"/>
                    </a:lnTo>
                    <a:lnTo>
                      <a:pt x="1157" y="1349"/>
                    </a:lnTo>
                    <a:lnTo>
                      <a:pt x="1156" y="1349"/>
                    </a:lnTo>
                    <a:lnTo>
                      <a:pt x="1156" y="1347"/>
                    </a:lnTo>
                    <a:lnTo>
                      <a:pt x="1154" y="1347"/>
                    </a:lnTo>
                    <a:lnTo>
                      <a:pt x="1154" y="1345"/>
                    </a:lnTo>
                    <a:lnTo>
                      <a:pt x="1152" y="1345"/>
                    </a:lnTo>
                    <a:lnTo>
                      <a:pt x="1154" y="1345"/>
                    </a:lnTo>
                    <a:lnTo>
                      <a:pt x="1154" y="1347"/>
                    </a:lnTo>
                    <a:lnTo>
                      <a:pt x="1154" y="1349"/>
                    </a:lnTo>
                    <a:lnTo>
                      <a:pt x="1152" y="1349"/>
                    </a:lnTo>
                    <a:lnTo>
                      <a:pt x="1151" y="1347"/>
                    </a:lnTo>
                    <a:lnTo>
                      <a:pt x="1151" y="1345"/>
                    </a:lnTo>
                    <a:lnTo>
                      <a:pt x="1149" y="1345"/>
                    </a:lnTo>
                    <a:lnTo>
                      <a:pt x="1149" y="1344"/>
                    </a:lnTo>
                    <a:lnTo>
                      <a:pt x="1151" y="1344"/>
                    </a:lnTo>
                    <a:lnTo>
                      <a:pt x="1151" y="1342"/>
                    </a:lnTo>
                    <a:lnTo>
                      <a:pt x="1152" y="1342"/>
                    </a:lnTo>
                    <a:lnTo>
                      <a:pt x="1151" y="1342"/>
                    </a:lnTo>
                    <a:lnTo>
                      <a:pt x="1151" y="1340"/>
                    </a:lnTo>
                    <a:lnTo>
                      <a:pt x="1151" y="1339"/>
                    </a:lnTo>
                    <a:lnTo>
                      <a:pt x="1151" y="1340"/>
                    </a:lnTo>
                    <a:lnTo>
                      <a:pt x="1149" y="1342"/>
                    </a:lnTo>
                    <a:lnTo>
                      <a:pt x="1147" y="1342"/>
                    </a:lnTo>
                    <a:lnTo>
                      <a:pt x="1147" y="1344"/>
                    </a:lnTo>
                    <a:lnTo>
                      <a:pt x="1145" y="1344"/>
                    </a:lnTo>
                    <a:lnTo>
                      <a:pt x="1144" y="1344"/>
                    </a:lnTo>
                    <a:lnTo>
                      <a:pt x="1144" y="1345"/>
                    </a:lnTo>
                    <a:lnTo>
                      <a:pt x="1144" y="1347"/>
                    </a:lnTo>
                    <a:lnTo>
                      <a:pt x="1142" y="1347"/>
                    </a:lnTo>
                    <a:lnTo>
                      <a:pt x="1142" y="1345"/>
                    </a:lnTo>
                    <a:lnTo>
                      <a:pt x="1142" y="1344"/>
                    </a:lnTo>
                    <a:lnTo>
                      <a:pt x="1140" y="1344"/>
                    </a:lnTo>
                    <a:lnTo>
                      <a:pt x="1140" y="1342"/>
                    </a:lnTo>
                    <a:lnTo>
                      <a:pt x="1142" y="1342"/>
                    </a:lnTo>
                    <a:lnTo>
                      <a:pt x="1144" y="1340"/>
                    </a:lnTo>
                    <a:lnTo>
                      <a:pt x="1145" y="1340"/>
                    </a:lnTo>
                    <a:lnTo>
                      <a:pt x="1145" y="1339"/>
                    </a:lnTo>
                    <a:lnTo>
                      <a:pt x="1145" y="1340"/>
                    </a:lnTo>
                    <a:lnTo>
                      <a:pt x="1145" y="1339"/>
                    </a:lnTo>
                    <a:lnTo>
                      <a:pt x="1144" y="1339"/>
                    </a:lnTo>
                    <a:lnTo>
                      <a:pt x="1144" y="1337"/>
                    </a:lnTo>
                    <a:lnTo>
                      <a:pt x="1142" y="1337"/>
                    </a:lnTo>
                    <a:lnTo>
                      <a:pt x="1144" y="1337"/>
                    </a:lnTo>
                    <a:lnTo>
                      <a:pt x="1142" y="1335"/>
                    </a:lnTo>
                    <a:lnTo>
                      <a:pt x="1144" y="1335"/>
                    </a:lnTo>
                    <a:lnTo>
                      <a:pt x="1144" y="1333"/>
                    </a:lnTo>
                    <a:lnTo>
                      <a:pt x="1145" y="1333"/>
                    </a:lnTo>
                    <a:lnTo>
                      <a:pt x="1147" y="1333"/>
                    </a:lnTo>
                    <a:lnTo>
                      <a:pt x="1147" y="1335"/>
                    </a:lnTo>
                    <a:lnTo>
                      <a:pt x="1147" y="1333"/>
                    </a:lnTo>
                    <a:lnTo>
                      <a:pt x="1147" y="1332"/>
                    </a:lnTo>
                    <a:lnTo>
                      <a:pt x="1147" y="1333"/>
                    </a:lnTo>
                    <a:close/>
                    <a:moveTo>
                      <a:pt x="1193" y="1085"/>
                    </a:moveTo>
                    <a:lnTo>
                      <a:pt x="1195" y="1085"/>
                    </a:lnTo>
                    <a:lnTo>
                      <a:pt x="1196" y="1085"/>
                    </a:lnTo>
                    <a:lnTo>
                      <a:pt x="1195" y="1085"/>
                    </a:lnTo>
                    <a:lnTo>
                      <a:pt x="1196" y="1085"/>
                    </a:lnTo>
                    <a:lnTo>
                      <a:pt x="1198" y="1085"/>
                    </a:lnTo>
                    <a:lnTo>
                      <a:pt x="1200" y="1087"/>
                    </a:lnTo>
                    <a:lnTo>
                      <a:pt x="1202" y="1088"/>
                    </a:lnTo>
                    <a:lnTo>
                      <a:pt x="1200" y="1088"/>
                    </a:lnTo>
                    <a:lnTo>
                      <a:pt x="1202" y="1088"/>
                    </a:lnTo>
                    <a:lnTo>
                      <a:pt x="1202" y="1090"/>
                    </a:lnTo>
                    <a:lnTo>
                      <a:pt x="1200" y="1090"/>
                    </a:lnTo>
                    <a:lnTo>
                      <a:pt x="1198" y="1090"/>
                    </a:lnTo>
                    <a:lnTo>
                      <a:pt x="1196" y="1090"/>
                    </a:lnTo>
                    <a:lnTo>
                      <a:pt x="1196" y="1088"/>
                    </a:lnTo>
                    <a:lnTo>
                      <a:pt x="1198" y="1088"/>
                    </a:lnTo>
                    <a:lnTo>
                      <a:pt x="1196" y="1088"/>
                    </a:lnTo>
                    <a:lnTo>
                      <a:pt x="1196" y="1090"/>
                    </a:lnTo>
                    <a:lnTo>
                      <a:pt x="1196" y="1092"/>
                    </a:lnTo>
                    <a:lnTo>
                      <a:pt x="1195" y="1092"/>
                    </a:lnTo>
                    <a:lnTo>
                      <a:pt x="1195" y="1094"/>
                    </a:lnTo>
                    <a:lnTo>
                      <a:pt x="1193" y="1094"/>
                    </a:lnTo>
                    <a:lnTo>
                      <a:pt x="1191" y="1094"/>
                    </a:lnTo>
                    <a:lnTo>
                      <a:pt x="1190" y="1094"/>
                    </a:lnTo>
                    <a:lnTo>
                      <a:pt x="1190" y="1095"/>
                    </a:lnTo>
                    <a:lnTo>
                      <a:pt x="1188" y="1095"/>
                    </a:lnTo>
                    <a:lnTo>
                      <a:pt x="1186" y="1095"/>
                    </a:lnTo>
                    <a:lnTo>
                      <a:pt x="1185" y="1094"/>
                    </a:lnTo>
                    <a:lnTo>
                      <a:pt x="1185" y="1092"/>
                    </a:lnTo>
                    <a:lnTo>
                      <a:pt x="1185" y="1090"/>
                    </a:lnTo>
                    <a:lnTo>
                      <a:pt x="1186" y="1090"/>
                    </a:lnTo>
                    <a:lnTo>
                      <a:pt x="1188" y="1090"/>
                    </a:lnTo>
                    <a:lnTo>
                      <a:pt x="1188" y="1092"/>
                    </a:lnTo>
                    <a:lnTo>
                      <a:pt x="1190" y="1090"/>
                    </a:lnTo>
                    <a:lnTo>
                      <a:pt x="1188" y="1092"/>
                    </a:lnTo>
                    <a:lnTo>
                      <a:pt x="1190" y="1092"/>
                    </a:lnTo>
                    <a:lnTo>
                      <a:pt x="1191" y="1092"/>
                    </a:lnTo>
                    <a:lnTo>
                      <a:pt x="1193" y="1092"/>
                    </a:lnTo>
                    <a:lnTo>
                      <a:pt x="1191" y="1092"/>
                    </a:lnTo>
                    <a:lnTo>
                      <a:pt x="1190" y="1092"/>
                    </a:lnTo>
                    <a:lnTo>
                      <a:pt x="1190" y="1090"/>
                    </a:lnTo>
                    <a:lnTo>
                      <a:pt x="1188" y="1090"/>
                    </a:lnTo>
                    <a:lnTo>
                      <a:pt x="1186" y="1090"/>
                    </a:lnTo>
                    <a:lnTo>
                      <a:pt x="1185" y="1090"/>
                    </a:lnTo>
                    <a:lnTo>
                      <a:pt x="1183" y="1090"/>
                    </a:lnTo>
                    <a:lnTo>
                      <a:pt x="1183" y="1088"/>
                    </a:lnTo>
                    <a:lnTo>
                      <a:pt x="1183" y="1087"/>
                    </a:lnTo>
                    <a:lnTo>
                      <a:pt x="1185" y="1087"/>
                    </a:lnTo>
                    <a:lnTo>
                      <a:pt x="1186" y="1087"/>
                    </a:lnTo>
                    <a:lnTo>
                      <a:pt x="1186" y="1085"/>
                    </a:lnTo>
                    <a:lnTo>
                      <a:pt x="1188" y="1085"/>
                    </a:lnTo>
                    <a:lnTo>
                      <a:pt x="1190" y="1085"/>
                    </a:lnTo>
                    <a:lnTo>
                      <a:pt x="1191" y="1085"/>
                    </a:lnTo>
                    <a:lnTo>
                      <a:pt x="1193" y="1085"/>
                    </a:lnTo>
                    <a:close/>
                    <a:moveTo>
                      <a:pt x="1176" y="1418"/>
                    </a:moveTo>
                    <a:lnTo>
                      <a:pt x="1178" y="1418"/>
                    </a:lnTo>
                    <a:lnTo>
                      <a:pt x="1178" y="1420"/>
                    </a:lnTo>
                    <a:lnTo>
                      <a:pt x="1179" y="1422"/>
                    </a:lnTo>
                    <a:lnTo>
                      <a:pt x="1179" y="1424"/>
                    </a:lnTo>
                    <a:lnTo>
                      <a:pt x="1178" y="1424"/>
                    </a:lnTo>
                    <a:lnTo>
                      <a:pt x="1178" y="1422"/>
                    </a:lnTo>
                    <a:lnTo>
                      <a:pt x="1179" y="1422"/>
                    </a:lnTo>
                    <a:lnTo>
                      <a:pt x="1178" y="1420"/>
                    </a:lnTo>
                    <a:lnTo>
                      <a:pt x="1178" y="1422"/>
                    </a:lnTo>
                    <a:lnTo>
                      <a:pt x="1178" y="1424"/>
                    </a:lnTo>
                    <a:lnTo>
                      <a:pt x="1178" y="1425"/>
                    </a:lnTo>
                    <a:lnTo>
                      <a:pt x="1178" y="1424"/>
                    </a:lnTo>
                    <a:lnTo>
                      <a:pt x="1176" y="1422"/>
                    </a:lnTo>
                    <a:lnTo>
                      <a:pt x="1174" y="1422"/>
                    </a:lnTo>
                    <a:lnTo>
                      <a:pt x="1174" y="1420"/>
                    </a:lnTo>
                    <a:lnTo>
                      <a:pt x="1174" y="1422"/>
                    </a:lnTo>
                    <a:lnTo>
                      <a:pt x="1176" y="1422"/>
                    </a:lnTo>
                    <a:lnTo>
                      <a:pt x="1176" y="1424"/>
                    </a:lnTo>
                    <a:lnTo>
                      <a:pt x="1178" y="1424"/>
                    </a:lnTo>
                    <a:lnTo>
                      <a:pt x="1176" y="1425"/>
                    </a:lnTo>
                    <a:lnTo>
                      <a:pt x="1178" y="1425"/>
                    </a:lnTo>
                    <a:lnTo>
                      <a:pt x="1178" y="1427"/>
                    </a:lnTo>
                    <a:lnTo>
                      <a:pt x="1178" y="1425"/>
                    </a:lnTo>
                    <a:lnTo>
                      <a:pt x="1178" y="1427"/>
                    </a:lnTo>
                    <a:lnTo>
                      <a:pt x="1178" y="1429"/>
                    </a:lnTo>
                    <a:lnTo>
                      <a:pt x="1176" y="1429"/>
                    </a:lnTo>
                    <a:lnTo>
                      <a:pt x="1176" y="1430"/>
                    </a:lnTo>
                    <a:lnTo>
                      <a:pt x="1176" y="1429"/>
                    </a:lnTo>
                    <a:lnTo>
                      <a:pt x="1174" y="1429"/>
                    </a:lnTo>
                    <a:lnTo>
                      <a:pt x="1176" y="1427"/>
                    </a:lnTo>
                    <a:lnTo>
                      <a:pt x="1174" y="1427"/>
                    </a:lnTo>
                    <a:lnTo>
                      <a:pt x="1174" y="1425"/>
                    </a:lnTo>
                    <a:lnTo>
                      <a:pt x="1174" y="1424"/>
                    </a:lnTo>
                    <a:lnTo>
                      <a:pt x="1173" y="1425"/>
                    </a:lnTo>
                    <a:lnTo>
                      <a:pt x="1173" y="1424"/>
                    </a:lnTo>
                    <a:lnTo>
                      <a:pt x="1171" y="1424"/>
                    </a:lnTo>
                    <a:lnTo>
                      <a:pt x="1173" y="1425"/>
                    </a:lnTo>
                    <a:lnTo>
                      <a:pt x="1173" y="1427"/>
                    </a:lnTo>
                    <a:lnTo>
                      <a:pt x="1171" y="1429"/>
                    </a:lnTo>
                    <a:lnTo>
                      <a:pt x="1171" y="1427"/>
                    </a:lnTo>
                    <a:lnTo>
                      <a:pt x="1171" y="1429"/>
                    </a:lnTo>
                    <a:lnTo>
                      <a:pt x="1171" y="1430"/>
                    </a:lnTo>
                    <a:lnTo>
                      <a:pt x="1171" y="1429"/>
                    </a:lnTo>
                    <a:lnTo>
                      <a:pt x="1169" y="1429"/>
                    </a:lnTo>
                    <a:lnTo>
                      <a:pt x="1169" y="1430"/>
                    </a:lnTo>
                    <a:lnTo>
                      <a:pt x="1171" y="1430"/>
                    </a:lnTo>
                    <a:lnTo>
                      <a:pt x="1169" y="1432"/>
                    </a:lnTo>
                    <a:lnTo>
                      <a:pt x="1168" y="1432"/>
                    </a:lnTo>
                    <a:lnTo>
                      <a:pt x="1168" y="1430"/>
                    </a:lnTo>
                    <a:lnTo>
                      <a:pt x="1168" y="1432"/>
                    </a:lnTo>
                    <a:lnTo>
                      <a:pt x="1166" y="1432"/>
                    </a:lnTo>
                    <a:lnTo>
                      <a:pt x="1168" y="1432"/>
                    </a:lnTo>
                    <a:lnTo>
                      <a:pt x="1166" y="1432"/>
                    </a:lnTo>
                    <a:lnTo>
                      <a:pt x="1166" y="1430"/>
                    </a:lnTo>
                    <a:lnTo>
                      <a:pt x="1166" y="1432"/>
                    </a:lnTo>
                    <a:lnTo>
                      <a:pt x="1164" y="1432"/>
                    </a:lnTo>
                    <a:lnTo>
                      <a:pt x="1164" y="1430"/>
                    </a:lnTo>
                    <a:lnTo>
                      <a:pt x="1164" y="1432"/>
                    </a:lnTo>
                    <a:lnTo>
                      <a:pt x="1164" y="1434"/>
                    </a:lnTo>
                    <a:lnTo>
                      <a:pt x="1162" y="1434"/>
                    </a:lnTo>
                    <a:lnTo>
                      <a:pt x="1161" y="1434"/>
                    </a:lnTo>
                    <a:lnTo>
                      <a:pt x="1162" y="1432"/>
                    </a:lnTo>
                    <a:lnTo>
                      <a:pt x="1161" y="1432"/>
                    </a:lnTo>
                    <a:lnTo>
                      <a:pt x="1162" y="1432"/>
                    </a:lnTo>
                    <a:lnTo>
                      <a:pt x="1161" y="1430"/>
                    </a:lnTo>
                    <a:lnTo>
                      <a:pt x="1162" y="1430"/>
                    </a:lnTo>
                    <a:lnTo>
                      <a:pt x="1164" y="1430"/>
                    </a:lnTo>
                    <a:lnTo>
                      <a:pt x="1164" y="1429"/>
                    </a:lnTo>
                    <a:lnTo>
                      <a:pt x="1166" y="1429"/>
                    </a:lnTo>
                    <a:lnTo>
                      <a:pt x="1168" y="1427"/>
                    </a:lnTo>
                    <a:lnTo>
                      <a:pt x="1169" y="1425"/>
                    </a:lnTo>
                    <a:lnTo>
                      <a:pt x="1168" y="1425"/>
                    </a:lnTo>
                    <a:lnTo>
                      <a:pt x="1168" y="1427"/>
                    </a:lnTo>
                    <a:lnTo>
                      <a:pt x="1168" y="1425"/>
                    </a:lnTo>
                    <a:lnTo>
                      <a:pt x="1168" y="1427"/>
                    </a:lnTo>
                    <a:lnTo>
                      <a:pt x="1166" y="1427"/>
                    </a:lnTo>
                    <a:lnTo>
                      <a:pt x="1164" y="1429"/>
                    </a:lnTo>
                    <a:lnTo>
                      <a:pt x="1164" y="1427"/>
                    </a:lnTo>
                    <a:lnTo>
                      <a:pt x="1162" y="1425"/>
                    </a:lnTo>
                    <a:lnTo>
                      <a:pt x="1164" y="1425"/>
                    </a:lnTo>
                    <a:lnTo>
                      <a:pt x="1164" y="1424"/>
                    </a:lnTo>
                    <a:lnTo>
                      <a:pt x="1166" y="1424"/>
                    </a:lnTo>
                    <a:lnTo>
                      <a:pt x="1166" y="1422"/>
                    </a:lnTo>
                    <a:lnTo>
                      <a:pt x="1168" y="1422"/>
                    </a:lnTo>
                    <a:lnTo>
                      <a:pt x="1168" y="1424"/>
                    </a:lnTo>
                    <a:lnTo>
                      <a:pt x="1168" y="1422"/>
                    </a:lnTo>
                    <a:lnTo>
                      <a:pt x="1168" y="1424"/>
                    </a:lnTo>
                    <a:lnTo>
                      <a:pt x="1168" y="1422"/>
                    </a:lnTo>
                    <a:lnTo>
                      <a:pt x="1169" y="1424"/>
                    </a:lnTo>
                    <a:lnTo>
                      <a:pt x="1169" y="1422"/>
                    </a:lnTo>
                    <a:lnTo>
                      <a:pt x="1168" y="1422"/>
                    </a:lnTo>
                    <a:lnTo>
                      <a:pt x="1168" y="1420"/>
                    </a:lnTo>
                    <a:lnTo>
                      <a:pt x="1169" y="1420"/>
                    </a:lnTo>
                    <a:lnTo>
                      <a:pt x="1171" y="1420"/>
                    </a:lnTo>
                    <a:lnTo>
                      <a:pt x="1169" y="1420"/>
                    </a:lnTo>
                    <a:lnTo>
                      <a:pt x="1169" y="1418"/>
                    </a:lnTo>
                    <a:lnTo>
                      <a:pt x="1171" y="1418"/>
                    </a:lnTo>
                    <a:lnTo>
                      <a:pt x="1171" y="1420"/>
                    </a:lnTo>
                    <a:lnTo>
                      <a:pt x="1171" y="1418"/>
                    </a:lnTo>
                    <a:lnTo>
                      <a:pt x="1173" y="1418"/>
                    </a:lnTo>
                    <a:lnTo>
                      <a:pt x="1174" y="1418"/>
                    </a:lnTo>
                    <a:lnTo>
                      <a:pt x="1176" y="1418"/>
                    </a:lnTo>
                    <a:close/>
                    <a:moveTo>
                      <a:pt x="1151" y="1379"/>
                    </a:moveTo>
                    <a:lnTo>
                      <a:pt x="1151" y="1381"/>
                    </a:lnTo>
                    <a:lnTo>
                      <a:pt x="1151" y="1379"/>
                    </a:lnTo>
                    <a:lnTo>
                      <a:pt x="1152" y="1379"/>
                    </a:lnTo>
                    <a:lnTo>
                      <a:pt x="1154" y="1379"/>
                    </a:lnTo>
                    <a:lnTo>
                      <a:pt x="1152" y="1381"/>
                    </a:lnTo>
                    <a:lnTo>
                      <a:pt x="1152" y="1383"/>
                    </a:lnTo>
                    <a:lnTo>
                      <a:pt x="1152" y="1381"/>
                    </a:lnTo>
                    <a:lnTo>
                      <a:pt x="1154" y="1381"/>
                    </a:lnTo>
                    <a:lnTo>
                      <a:pt x="1156" y="1381"/>
                    </a:lnTo>
                    <a:lnTo>
                      <a:pt x="1157" y="1381"/>
                    </a:lnTo>
                    <a:lnTo>
                      <a:pt x="1159" y="1381"/>
                    </a:lnTo>
                    <a:lnTo>
                      <a:pt x="1161" y="1381"/>
                    </a:lnTo>
                    <a:lnTo>
                      <a:pt x="1161" y="1383"/>
                    </a:lnTo>
                    <a:lnTo>
                      <a:pt x="1159" y="1383"/>
                    </a:lnTo>
                    <a:lnTo>
                      <a:pt x="1157" y="1384"/>
                    </a:lnTo>
                    <a:lnTo>
                      <a:pt x="1157" y="1383"/>
                    </a:lnTo>
                    <a:lnTo>
                      <a:pt x="1157" y="1384"/>
                    </a:lnTo>
                    <a:lnTo>
                      <a:pt x="1156" y="1384"/>
                    </a:lnTo>
                    <a:lnTo>
                      <a:pt x="1157" y="1386"/>
                    </a:lnTo>
                    <a:lnTo>
                      <a:pt x="1156" y="1386"/>
                    </a:lnTo>
                    <a:lnTo>
                      <a:pt x="1156" y="1388"/>
                    </a:lnTo>
                    <a:lnTo>
                      <a:pt x="1156" y="1386"/>
                    </a:lnTo>
                    <a:lnTo>
                      <a:pt x="1154" y="1386"/>
                    </a:lnTo>
                    <a:lnTo>
                      <a:pt x="1152" y="1384"/>
                    </a:lnTo>
                    <a:lnTo>
                      <a:pt x="1154" y="1383"/>
                    </a:lnTo>
                    <a:lnTo>
                      <a:pt x="1152" y="1384"/>
                    </a:lnTo>
                    <a:lnTo>
                      <a:pt x="1152" y="1386"/>
                    </a:lnTo>
                    <a:lnTo>
                      <a:pt x="1154" y="1388"/>
                    </a:lnTo>
                    <a:lnTo>
                      <a:pt x="1156" y="1388"/>
                    </a:lnTo>
                    <a:lnTo>
                      <a:pt x="1154" y="1390"/>
                    </a:lnTo>
                    <a:lnTo>
                      <a:pt x="1152" y="1390"/>
                    </a:lnTo>
                    <a:lnTo>
                      <a:pt x="1152" y="1388"/>
                    </a:lnTo>
                    <a:lnTo>
                      <a:pt x="1152" y="1390"/>
                    </a:lnTo>
                    <a:lnTo>
                      <a:pt x="1154" y="1390"/>
                    </a:lnTo>
                    <a:lnTo>
                      <a:pt x="1156" y="1390"/>
                    </a:lnTo>
                    <a:lnTo>
                      <a:pt x="1154" y="1391"/>
                    </a:lnTo>
                    <a:lnTo>
                      <a:pt x="1152" y="1391"/>
                    </a:lnTo>
                    <a:lnTo>
                      <a:pt x="1154" y="1391"/>
                    </a:lnTo>
                    <a:lnTo>
                      <a:pt x="1154" y="1393"/>
                    </a:lnTo>
                    <a:lnTo>
                      <a:pt x="1152" y="1393"/>
                    </a:lnTo>
                    <a:lnTo>
                      <a:pt x="1154" y="1393"/>
                    </a:lnTo>
                    <a:lnTo>
                      <a:pt x="1154" y="1395"/>
                    </a:lnTo>
                    <a:lnTo>
                      <a:pt x="1154" y="1396"/>
                    </a:lnTo>
                    <a:lnTo>
                      <a:pt x="1152" y="1398"/>
                    </a:lnTo>
                    <a:lnTo>
                      <a:pt x="1152" y="1396"/>
                    </a:lnTo>
                    <a:lnTo>
                      <a:pt x="1152" y="1398"/>
                    </a:lnTo>
                    <a:lnTo>
                      <a:pt x="1152" y="1396"/>
                    </a:lnTo>
                    <a:lnTo>
                      <a:pt x="1152" y="1395"/>
                    </a:lnTo>
                    <a:lnTo>
                      <a:pt x="1152" y="1396"/>
                    </a:lnTo>
                    <a:lnTo>
                      <a:pt x="1151" y="1396"/>
                    </a:lnTo>
                    <a:lnTo>
                      <a:pt x="1149" y="1396"/>
                    </a:lnTo>
                    <a:lnTo>
                      <a:pt x="1149" y="1395"/>
                    </a:lnTo>
                    <a:lnTo>
                      <a:pt x="1147" y="1395"/>
                    </a:lnTo>
                    <a:lnTo>
                      <a:pt x="1149" y="1395"/>
                    </a:lnTo>
                    <a:lnTo>
                      <a:pt x="1147" y="1395"/>
                    </a:lnTo>
                    <a:lnTo>
                      <a:pt x="1149" y="1393"/>
                    </a:lnTo>
                    <a:lnTo>
                      <a:pt x="1147" y="1393"/>
                    </a:lnTo>
                    <a:lnTo>
                      <a:pt x="1147" y="1391"/>
                    </a:lnTo>
                    <a:lnTo>
                      <a:pt x="1149" y="1391"/>
                    </a:lnTo>
                    <a:lnTo>
                      <a:pt x="1151" y="1391"/>
                    </a:lnTo>
                    <a:lnTo>
                      <a:pt x="1149" y="1391"/>
                    </a:lnTo>
                    <a:lnTo>
                      <a:pt x="1149" y="1390"/>
                    </a:lnTo>
                    <a:lnTo>
                      <a:pt x="1147" y="1391"/>
                    </a:lnTo>
                    <a:lnTo>
                      <a:pt x="1147" y="1390"/>
                    </a:lnTo>
                    <a:lnTo>
                      <a:pt x="1145" y="1390"/>
                    </a:lnTo>
                    <a:lnTo>
                      <a:pt x="1147" y="1388"/>
                    </a:lnTo>
                    <a:lnTo>
                      <a:pt x="1147" y="1390"/>
                    </a:lnTo>
                    <a:lnTo>
                      <a:pt x="1149" y="1390"/>
                    </a:lnTo>
                    <a:lnTo>
                      <a:pt x="1147" y="1388"/>
                    </a:lnTo>
                    <a:lnTo>
                      <a:pt x="1147" y="1386"/>
                    </a:lnTo>
                    <a:lnTo>
                      <a:pt x="1149" y="1386"/>
                    </a:lnTo>
                    <a:lnTo>
                      <a:pt x="1147" y="1386"/>
                    </a:lnTo>
                    <a:lnTo>
                      <a:pt x="1149" y="1386"/>
                    </a:lnTo>
                    <a:lnTo>
                      <a:pt x="1151" y="1388"/>
                    </a:lnTo>
                    <a:lnTo>
                      <a:pt x="1151" y="1386"/>
                    </a:lnTo>
                    <a:lnTo>
                      <a:pt x="1149" y="1386"/>
                    </a:lnTo>
                    <a:lnTo>
                      <a:pt x="1151" y="1386"/>
                    </a:lnTo>
                    <a:lnTo>
                      <a:pt x="1151" y="1384"/>
                    </a:lnTo>
                    <a:lnTo>
                      <a:pt x="1149" y="1386"/>
                    </a:lnTo>
                    <a:lnTo>
                      <a:pt x="1149" y="1384"/>
                    </a:lnTo>
                    <a:lnTo>
                      <a:pt x="1147" y="1383"/>
                    </a:lnTo>
                    <a:lnTo>
                      <a:pt x="1147" y="1381"/>
                    </a:lnTo>
                    <a:lnTo>
                      <a:pt x="1147" y="1379"/>
                    </a:lnTo>
                    <a:lnTo>
                      <a:pt x="1149" y="1381"/>
                    </a:lnTo>
                    <a:lnTo>
                      <a:pt x="1149" y="1379"/>
                    </a:lnTo>
                    <a:lnTo>
                      <a:pt x="1147" y="1379"/>
                    </a:lnTo>
                    <a:lnTo>
                      <a:pt x="1149" y="1379"/>
                    </a:lnTo>
                    <a:lnTo>
                      <a:pt x="1151" y="1379"/>
                    </a:lnTo>
                    <a:close/>
                    <a:moveTo>
                      <a:pt x="1147" y="1293"/>
                    </a:moveTo>
                    <a:lnTo>
                      <a:pt x="1149" y="1293"/>
                    </a:lnTo>
                    <a:lnTo>
                      <a:pt x="1147" y="1294"/>
                    </a:lnTo>
                    <a:lnTo>
                      <a:pt x="1147" y="1296"/>
                    </a:lnTo>
                    <a:lnTo>
                      <a:pt x="1145" y="1296"/>
                    </a:lnTo>
                    <a:lnTo>
                      <a:pt x="1147" y="1296"/>
                    </a:lnTo>
                    <a:lnTo>
                      <a:pt x="1147" y="1294"/>
                    </a:lnTo>
                    <a:lnTo>
                      <a:pt x="1149" y="1294"/>
                    </a:lnTo>
                    <a:lnTo>
                      <a:pt x="1149" y="1293"/>
                    </a:lnTo>
                    <a:lnTo>
                      <a:pt x="1151" y="1293"/>
                    </a:lnTo>
                    <a:lnTo>
                      <a:pt x="1151" y="1294"/>
                    </a:lnTo>
                    <a:lnTo>
                      <a:pt x="1149" y="1294"/>
                    </a:lnTo>
                    <a:lnTo>
                      <a:pt x="1149" y="1296"/>
                    </a:lnTo>
                    <a:lnTo>
                      <a:pt x="1151" y="1294"/>
                    </a:lnTo>
                    <a:lnTo>
                      <a:pt x="1151" y="1296"/>
                    </a:lnTo>
                    <a:lnTo>
                      <a:pt x="1152" y="1296"/>
                    </a:lnTo>
                    <a:lnTo>
                      <a:pt x="1152" y="1298"/>
                    </a:lnTo>
                    <a:lnTo>
                      <a:pt x="1152" y="1296"/>
                    </a:lnTo>
                    <a:lnTo>
                      <a:pt x="1152" y="1294"/>
                    </a:lnTo>
                    <a:lnTo>
                      <a:pt x="1151" y="1294"/>
                    </a:lnTo>
                    <a:lnTo>
                      <a:pt x="1152" y="1293"/>
                    </a:lnTo>
                    <a:lnTo>
                      <a:pt x="1151" y="1294"/>
                    </a:lnTo>
                    <a:lnTo>
                      <a:pt x="1152" y="1293"/>
                    </a:lnTo>
                    <a:lnTo>
                      <a:pt x="1154" y="1294"/>
                    </a:lnTo>
                    <a:lnTo>
                      <a:pt x="1156" y="1294"/>
                    </a:lnTo>
                    <a:lnTo>
                      <a:pt x="1156" y="1296"/>
                    </a:lnTo>
                    <a:lnTo>
                      <a:pt x="1156" y="1298"/>
                    </a:lnTo>
                    <a:lnTo>
                      <a:pt x="1156" y="1299"/>
                    </a:lnTo>
                    <a:lnTo>
                      <a:pt x="1156" y="1301"/>
                    </a:lnTo>
                    <a:lnTo>
                      <a:pt x="1157" y="1301"/>
                    </a:lnTo>
                    <a:lnTo>
                      <a:pt x="1157" y="1303"/>
                    </a:lnTo>
                    <a:lnTo>
                      <a:pt x="1157" y="1305"/>
                    </a:lnTo>
                    <a:lnTo>
                      <a:pt x="1156" y="1305"/>
                    </a:lnTo>
                    <a:lnTo>
                      <a:pt x="1156" y="1306"/>
                    </a:lnTo>
                    <a:lnTo>
                      <a:pt x="1156" y="1305"/>
                    </a:lnTo>
                    <a:lnTo>
                      <a:pt x="1154" y="1306"/>
                    </a:lnTo>
                    <a:lnTo>
                      <a:pt x="1154" y="1305"/>
                    </a:lnTo>
                    <a:lnTo>
                      <a:pt x="1154" y="1303"/>
                    </a:lnTo>
                    <a:lnTo>
                      <a:pt x="1154" y="1301"/>
                    </a:lnTo>
                    <a:lnTo>
                      <a:pt x="1154" y="1299"/>
                    </a:lnTo>
                    <a:lnTo>
                      <a:pt x="1154" y="1298"/>
                    </a:lnTo>
                    <a:lnTo>
                      <a:pt x="1152" y="1299"/>
                    </a:lnTo>
                    <a:lnTo>
                      <a:pt x="1151" y="1299"/>
                    </a:lnTo>
                    <a:lnTo>
                      <a:pt x="1152" y="1298"/>
                    </a:lnTo>
                    <a:lnTo>
                      <a:pt x="1151" y="1299"/>
                    </a:lnTo>
                    <a:lnTo>
                      <a:pt x="1151" y="1301"/>
                    </a:lnTo>
                    <a:lnTo>
                      <a:pt x="1149" y="1301"/>
                    </a:lnTo>
                    <a:lnTo>
                      <a:pt x="1149" y="1303"/>
                    </a:lnTo>
                    <a:lnTo>
                      <a:pt x="1147" y="1305"/>
                    </a:lnTo>
                    <a:lnTo>
                      <a:pt x="1145" y="1303"/>
                    </a:lnTo>
                    <a:lnTo>
                      <a:pt x="1144" y="1301"/>
                    </a:lnTo>
                    <a:lnTo>
                      <a:pt x="1145" y="1301"/>
                    </a:lnTo>
                    <a:lnTo>
                      <a:pt x="1147" y="1299"/>
                    </a:lnTo>
                    <a:lnTo>
                      <a:pt x="1147" y="1301"/>
                    </a:lnTo>
                    <a:lnTo>
                      <a:pt x="1147" y="1299"/>
                    </a:lnTo>
                    <a:lnTo>
                      <a:pt x="1149" y="1299"/>
                    </a:lnTo>
                    <a:lnTo>
                      <a:pt x="1147" y="1299"/>
                    </a:lnTo>
                    <a:lnTo>
                      <a:pt x="1147" y="1298"/>
                    </a:lnTo>
                    <a:lnTo>
                      <a:pt x="1147" y="1299"/>
                    </a:lnTo>
                    <a:lnTo>
                      <a:pt x="1145" y="1299"/>
                    </a:lnTo>
                    <a:lnTo>
                      <a:pt x="1145" y="1301"/>
                    </a:lnTo>
                    <a:lnTo>
                      <a:pt x="1144" y="1299"/>
                    </a:lnTo>
                    <a:lnTo>
                      <a:pt x="1142" y="1299"/>
                    </a:lnTo>
                    <a:lnTo>
                      <a:pt x="1142" y="1298"/>
                    </a:lnTo>
                    <a:lnTo>
                      <a:pt x="1142" y="1299"/>
                    </a:lnTo>
                    <a:lnTo>
                      <a:pt x="1142" y="1298"/>
                    </a:lnTo>
                    <a:lnTo>
                      <a:pt x="1142" y="1296"/>
                    </a:lnTo>
                    <a:lnTo>
                      <a:pt x="1142" y="1294"/>
                    </a:lnTo>
                    <a:lnTo>
                      <a:pt x="1144" y="1293"/>
                    </a:lnTo>
                    <a:lnTo>
                      <a:pt x="1145" y="1294"/>
                    </a:lnTo>
                    <a:lnTo>
                      <a:pt x="1144" y="1293"/>
                    </a:lnTo>
                    <a:lnTo>
                      <a:pt x="1145" y="1293"/>
                    </a:lnTo>
                    <a:lnTo>
                      <a:pt x="1144" y="1293"/>
                    </a:lnTo>
                    <a:lnTo>
                      <a:pt x="1145" y="1293"/>
                    </a:lnTo>
                    <a:lnTo>
                      <a:pt x="1145" y="1291"/>
                    </a:lnTo>
                    <a:lnTo>
                      <a:pt x="1147" y="1293"/>
                    </a:lnTo>
                    <a:close/>
                    <a:moveTo>
                      <a:pt x="1168" y="1442"/>
                    </a:moveTo>
                    <a:lnTo>
                      <a:pt x="1169" y="1442"/>
                    </a:lnTo>
                    <a:lnTo>
                      <a:pt x="1171" y="1442"/>
                    </a:lnTo>
                    <a:lnTo>
                      <a:pt x="1171" y="1444"/>
                    </a:lnTo>
                    <a:lnTo>
                      <a:pt x="1169" y="1444"/>
                    </a:lnTo>
                    <a:lnTo>
                      <a:pt x="1171" y="1444"/>
                    </a:lnTo>
                    <a:lnTo>
                      <a:pt x="1169" y="1446"/>
                    </a:lnTo>
                    <a:lnTo>
                      <a:pt x="1171" y="1446"/>
                    </a:lnTo>
                    <a:lnTo>
                      <a:pt x="1171" y="1447"/>
                    </a:lnTo>
                    <a:lnTo>
                      <a:pt x="1169" y="1447"/>
                    </a:lnTo>
                    <a:lnTo>
                      <a:pt x="1169" y="1449"/>
                    </a:lnTo>
                    <a:lnTo>
                      <a:pt x="1169" y="1447"/>
                    </a:lnTo>
                    <a:lnTo>
                      <a:pt x="1171" y="1447"/>
                    </a:lnTo>
                    <a:lnTo>
                      <a:pt x="1171" y="1449"/>
                    </a:lnTo>
                    <a:lnTo>
                      <a:pt x="1171" y="1451"/>
                    </a:lnTo>
                    <a:lnTo>
                      <a:pt x="1169" y="1451"/>
                    </a:lnTo>
                    <a:lnTo>
                      <a:pt x="1171" y="1451"/>
                    </a:lnTo>
                    <a:lnTo>
                      <a:pt x="1171" y="1453"/>
                    </a:lnTo>
                    <a:lnTo>
                      <a:pt x="1171" y="1454"/>
                    </a:lnTo>
                    <a:lnTo>
                      <a:pt x="1169" y="1454"/>
                    </a:lnTo>
                    <a:lnTo>
                      <a:pt x="1169" y="1456"/>
                    </a:lnTo>
                    <a:lnTo>
                      <a:pt x="1169" y="1458"/>
                    </a:lnTo>
                    <a:lnTo>
                      <a:pt x="1169" y="1459"/>
                    </a:lnTo>
                    <a:lnTo>
                      <a:pt x="1168" y="1459"/>
                    </a:lnTo>
                    <a:lnTo>
                      <a:pt x="1169" y="1459"/>
                    </a:lnTo>
                    <a:lnTo>
                      <a:pt x="1169" y="1461"/>
                    </a:lnTo>
                    <a:lnTo>
                      <a:pt x="1168" y="1461"/>
                    </a:lnTo>
                    <a:lnTo>
                      <a:pt x="1169" y="1461"/>
                    </a:lnTo>
                    <a:lnTo>
                      <a:pt x="1168" y="1461"/>
                    </a:lnTo>
                    <a:lnTo>
                      <a:pt x="1168" y="1463"/>
                    </a:lnTo>
                    <a:lnTo>
                      <a:pt x="1166" y="1463"/>
                    </a:lnTo>
                    <a:lnTo>
                      <a:pt x="1168" y="1463"/>
                    </a:lnTo>
                    <a:lnTo>
                      <a:pt x="1168" y="1464"/>
                    </a:lnTo>
                    <a:lnTo>
                      <a:pt x="1166" y="1464"/>
                    </a:lnTo>
                    <a:lnTo>
                      <a:pt x="1168" y="1466"/>
                    </a:lnTo>
                    <a:lnTo>
                      <a:pt x="1166" y="1468"/>
                    </a:lnTo>
                    <a:lnTo>
                      <a:pt x="1164" y="1468"/>
                    </a:lnTo>
                    <a:lnTo>
                      <a:pt x="1166" y="1470"/>
                    </a:lnTo>
                    <a:lnTo>
                      <a:pt x="1166" y="1468"/>
                    </a:lnTo>
                    <a:lnTo>
                      <a:pt x="1166" y="1470"/>
                    </a:lnTo>
                    <a:lnTo>
                      <a:pt x="1164" y="1470"/>
                    </a:lnTo>
                    <a:lnTo>
                      <a:pt x="1164" y="1468"/>
                    </a:lnTo>
                    <a:lnTo>
                      <a:pt x="1166" y="1466"/>
                    </a:lnTo>
                    <a:lnTo>
                      <a:pt x="1164" y="1468"/>
                    </a:lnTo>
                    <a:lnTo>
                      <a:pt x="1164" y="1470"/>
                    </a:lnTo>
                    <a:lnTo>
                      <a:pt x="1162" y="1470"/>
                    </a:lnTo>
                    <a:lnTo>
                      <a:pt x="1162" y="1468"/>
                    </a:lnTo>
                    <a:lnTo>
                      <a:pt x="1164" y="1468"/>
                    </a:lnTo>
                    <a:lnTo>
                      <a:pt x="1164" y="1466"/>
                    </a:lnTo>
                    <a:lnTo>
                      <a:pt x="1164" y="1464"/>
                    </a:lnTo>
                    <a:lnTo>
                      <a:pt x="1164" y="1466"/>
                    </a:lnTo>
                    <a:lnTo>
                      <a:pt x="1162" y="1466"/>
                    </a:lnTo>
                    <a:lnTo>
                      <a:pt x="1164" y="1464"/>
                    </a:lnTo>
                    <a:lnTo>
                      <a:pt x="1162" y="1464"/>
                    </a:lnTo>
                    <a:lnTo>
                      <a:pt x="1162" y="1466"/>
                    </a:lnTo>
                    <a:lnTo>
                      <a:pt x="1162" y="1464"/>
                    </a:lnTo>
                    <a:lnTo>
                      <a:pt x="1161" y="1464"/>
                    </a:lnTo>
                    <a:lnTo>
                      <a:pt x="1161" y="1463"/>
                    </a:lnTo>
                    <a:lnTo>
                      <a:pt x="1161" y="1461"/>
                    </a:lnTo>
                    <a:lnTo>
                      <a:pt x="1162" y="1461"/>
                    </a:lnTo>
                    <a:lnTo>
                      <a:pt x="1164" y="1459"/>
                    </a:lnTo>
                    <a:lnTo>
                      <a:pt x="1162" y="1459"/>
                    </a:lnTo>
                    <a:lnTo>
                      <a:pt x="1162" y="1458"/>
                    </a:lnTo>
                    <a:lnTo>
                      <a:pt x="1162" y="1456"/>
                    </a:lnTo>
                    <a:lnTo>
                      <a:pt x="1164" y="1456"/>
                    </a:lnTo>
                    <a:lnTo>
                      <a:pt x="1164" y="1454"/>
                    </a:lnTo>
                    <a:lnTo>
                      <a:pt x="1164" y="1453"/>
                    </a:lnTo>
                    <a:lnTo>
                      <a:pt x="1164" y="1451"/>
                    </a:lnTo>
                    <a:lnTo>
                      <a:pt x="1166" y="1453"/>
                    </a:lnTo>
                    <a:lnTo>
                      <a:pt x="1164" y="1453"/>
                    </a:lnTo>
                    <a:lnTo>
                      <a:pt x="1166" y="1454"/>
                    </a:lnTo>
                    <a:lnTo>
                      <a:pt x="1166" y="1456"/>
                    </a:lnTo>
                    <a:lnTo>
                      <a:pt x="1166" y="1454"/>
                    </a:lnTo>
                    <a:lnTo>
                      <a:pt x="1166" y="1456"/>
                    </a:lnTo>
                    <a:lnTo>
                      <a:pt x="1164" y="1458"/>
                    </a:lnTo>
                    <a:lnTo>
                      <a:pt x="1166" y="1458"/>
                    </a:lnTo>
                    <a:lnTo>
                      <a:pt x="1166" y="1456"/>
                    </a:lnTo>
                    <a:lnTo>
                      <a:pt x="1166" y="1458"/>
                    </a:lnTo>
                    <a:lnTo>
                      <a:pt x="1166" y="1456"/>
                    </a:lnTo>
                    <a:lnTo>
                      <a:pt x="1168" y="1454"/>
                    </a:lnTo>
                    <a:lnTo>
                      <a:pt x="1168" y="1456"/>
                    </a:lnTo>
                    <a:lnTo>
                      <a:pt x="1168" y="1458"/>
                    </a:lnTo>
                    <a:lnTo>
                      <a:pt x="1168" y="1459"/>
                    </a:lnTo>
                    <a:lnTo>
                      <a:pt x="1168" y="1458"/>
                    </a:lnTo>
                    <a:lnTo>
                      <a:pt x="1168" y="1456"/>
                    </a:lnTo>
                    <a:lnTo>
                      <a:pt x="1168" y="1454"/>
                    </a:lnTo>
                    <a:lnTo>
                      <a:pt x="1169" y="1454"/>
                    </a:lnTo>
                    <a:lnTo>
                      <a:pt x="1169" y="1453"/>
                    </a:lnTo>
                    <a:lnTo>
                      <a:pt x="1168" y="1454"/>
                    </a:lnTo>
                    <a:lnTo>
                      <a:pt x="1168" y="1453"/>
                    </a:lnTo>
                    <a:lnTo>
                      <a:pt x="1168" y="1451"/>
                    </a:lnTo>
                    <a:lnTo>
                      <a:pt x="1168" y="1453"/>
                    </a:lnTo>
                    <a:lnTo>
                      <a:pt x="1168" y="1451"/>
                    </a:lnTo>
                    <a:lnTo>
                      <a:pt x="1166" y="1451"/>
                    </a:lnTo>
                    <a:lnTo>
                      <a:pt x="1168" y="1449"/>
                    </a:lnTo>
                    <a:lnTo>
                      <a:pt x="1169" y="1449"/>
                    </a:lnTo>
                    <a:lnTo>
                      <a:pt x="1168" y="1447"/>
                    </a:lnTo>
                    <a:lnTo>
                      <a:pt x="1166" y="1446"/>
                    </a:lnTo>
                    <a:lnTo>
                      <a:pt x="1166" y="1444"/>
                    </a:lnTo>
                    <a:lnTo>
                      <a:pt x="1168" y="1444"/>
                    </a:lnTo>
                    <a:lnTo>
                      <a:pt x="1166" y="1444"/>
                    </a:lnTo>
                    <a:lnTo>
                      <a:pt x="1164" y="1444"/>
                    </a:lnTo>
                    <a:lnTo>
                      <a:pt x="1166" y="1442"/>
                    </a:lnTo>
                    <a:lnTo>
                      <a:pt x="1168" y="1441"/>
                    </a:lnTo>
                    <a:lnTo>
                      <a:pt x="1168" y="1442"/>
                    </a:lnTo>
                    <a:close/>
                    <a:moveTo>
                      <a:pt x="1188" y="1468"/>
                    </a:moveTo>
                    <a:lnTo>
                      <a:pt x="1190" y="1468"/>
                    </a:lnTo>
                    <a:lnTo>
                      <a:pt x="1190" y="1470"/>
                    </a:lnTo>
                    <a:lnTo>
                      <a:pt x="1191" y="1470"/>
                    </a:lnTo>
                    <a:lnTo>
                      <a:pt x="1191" y="1471"/>
                    </a:lnTo>
                    <a:lnTo>
                      <a:pt x="1193" y="1471"/>
                    </a:lnTo>
                    <a:lnTo>
                      <a:pt x="1193" y="1473"/>
                    </a:lnTo>
                    <a:lnTo>
                      <a:pt x="1195" y="1473"/>
                    </a:lnTo>
                    <a:lnTo>
                      <a:pt x="1195" y="1475"/>
                    </a:lnTo>
                    <a:lnTo>
                      <a:pt x="1196" y="1476"/>
                    </a:lnTo>
                    <a:lnTo>
                      <a:pt x="1196" y="1478"/>
                    </a:lnTo>
                    <a:lnTo>
                      <a:pt x="1198" y="1480"/>
                    </a:lnTo>
                    <a:lnTo>
                      <a:pt x="1196" y="1478"/>
                    </a:lnTo>
                    <a:lnTo>
                      <a:pt x="1198" y="1478"/>
                    </a:lnTo>
                    <a:lnTo>
                      <a:pt x="1198" y="1480"/>
                    </a:lnTo>
                    <a:lnTo>
                      <a:pt x="1200" y="1480"/>
                    </a:lnTo>
                    <a:lnTo>
                      <a:pt x="1200" y="1481"/>
                    </a:lnTo>
                    <a:lnTo>
                      <a:pt x="1198" y="1481"/>
                    </a:lnTo>
                    <a:lnTo>
                      <a:pt x="1198" y="1480"/>
                    </a:lnTo>
                    <a:lnTo>
                      <a:pt x="1196" y="1480"/>
                    </a:lnTo>
                    <a:lnTo>
                      <a:pt x="1198" y="1481"/>
                    </a:lnTo>
                    <a:lnTo>
                      <a:pt x="1198" y="1483"/>
                    </a:lnTo>
                    <a:lnTo>
                      <a:pt x="1196" y="1483"/>
                    </a:lnTo>
                    <a:lnTo>
                      <a:pt x="1196" y="1481"/>
                    </a:lnTo>
                    <a:lnTo>
                      <a:pt x="1195" y="1481"/>
                    </a:lnTo>
                    <a:lnTo>
                      <a:pt x="1195" y="1480"/>
                    </a:lnTo>
                    <a:lnTo>
                      <a:pt x="1196" y="1481"/>
                    </a:lnTo>
                    <a:lnTo>
                      <a:pt x="1196" y="1483"/>
                    </a:lnTo>
                    <a:lnTo>
                      <a:pt x="1195" y="1481"/>
                    </a:lnTo>
                    <a:lnTo>
                      <a:pt x="1196" y="1483"/>
                    </a:lnTo>
                    <a:lnTo>
                      <a:pt x="1195" y="1485"/>
                    </a:lnTo>
                    <a:lnTo>
                      <a:pt x="1195" y="1483"/>
                    </a:lnTo>
                    <a:lnTo>
                      <a:pt x="1193" y="1485"/>
                    </a:lnTo>
                    <a:lnTo>
                      <a:pt x="1191" y="1485"/>
                    </a:lnTo>
                    <a:lnTo>
                      <a:pt x="1191" y="1483"/>
                    </a:lnTo>
                    <a:lnTo>
                      <a:pt x="1191" y="1485"/>
                    </a:lnTo>
                    <a:lnTo>
                      <a:pt x="1190" y="1485"/>
                    </a:lnTo>
                    <a:lnTo>
                      <a:pt x="1191" y="1483"/>
                    </a:lnTo>
                    <a:lnTo>
                      <a:pt x="1190" y="1481"/>
                    </a:lnTo>
                    <a:lnTo>
                      <a:pt x="1191" y="1481"/>
                    </a:lnTo>
                    <a:lnTo>
                      <a:pt x="1191" y="1480"/>
                    </a:lnTo>
                    <a:lnTo>
                      <a:pt x="1193" y="1480"/>
                    </a:lnTo>
                    <a:lnTo>
                      <a:pt x="1191" y="1480"/>
                    </a:lnTo>
                    <a:lnTo>
                      <a:pt x="1191" y="1481"/>
                    </a:lnTo>
                    <a:lnTo>
                      <a:pt x="1190" y="1481"/>
                    </a:lnTo>
                    <a:lnTo>
                      <a:pt x="1188" y="1481"/>
                    </a:lnTo>
                    <a:lnTo>
                      <a:pt x="1188" y="1483"/>
                    </a:lnTo>
                    <a:lnTo>
                      <a:pt x="1188" y="1481"/>
                    </a:lnTo>
                    <a:lnTo>
                      <a:pt x="1188" y="1480"/>
                    </a:lnTo>
                    <a:lnTo>
                      <a:pt x="1190" y="1480"/>
                    </a:lnTo>
                    <a:lnTo>
                      <a:pt x="1191" y="1480"/>
                    </a:lnTo>
                    <a:lnTo>
                      <a:pt x="1191" y="1478"/>
                    </a:lnTo>
                    <a:lnTo>
                      <a:pt x="1191" y="1480"/>
                    </a:lnTo>
                    <a:lnTo>
                      <a:pt x="1190" y="1478"/>
                    </a:lnTo>
                    <a:lnTo>
                      <a:pt x="1190" y="1476"/>
                    </a:lnTo>
                    <a:lnTo>
                      <a:pt x="1190" y="1475"/>
                    </a:lnTo>
                    <a:lnTo>
                      <a:pt x="1191" y="1475"/>
                    </a:lnTo>
                    <a:lnTo>
                      <a:pt x="1191" y="1476"/>
                    </a:lnTo>
                    <a:lnTo>
                      <a:pt x="1191" y="1475"/>
                    </a:lnTo>
                    <a:lnTo>
                      <a:pt x="1191" y="1473"/>
                    </a:lnTo>
                    <a:lnTo>
                      <a:pt x="1190" y="1475"/>
                    </a:lnTo>
                    <a:lnTo>
                      <a:pt x="1190" y="1473"/>
                    </a:lnTo>
                    <a:lnTo>
                      <a:pt x="1188" y="1473"/>
                    </a:lnTo>
                    <a:lnTo>
                      <a:pt x="1190" y="1473"/>
                    </a:lnTo>
                    <a:lnTo>
                      <a:pt x="1188" y="1473"/>
                    </a:lnTo>
                    <a:lnTo>
                      <a:pt x="1186" y="1473"/>
                    </a:lnTo>
                    <a:lnTo>
                      <a:pt x="1186" y="1475"/>
                    </a:lnTo>
                    <a:lnTo>
                      <a:pt x="1185" y="1473"/>
                    </a:lnTo>
                    <a:lnTo>
                      <a:pt x="1185" y="1471"/>
                    </a:lnTo>
                    <a:lnTo>
                      <a:pt x="1183" y="1473"/>
                    </a:lnTo>
                    <a:lnTo>
                      <a:pt x="1181" y="1473"/>
                    </a:lnTo>
                    <a:lnTo>
                      <a:pt x="1181" y="1471"/>
                    </a:lnTo>
                    <a:lnTo>
                      <a:pt x="1183" y="1470"/>
                    </a:lnTo>
                    <a:lnTo>
                      <a:pt x="1183" y="1471"/>
                    </a:lnTo>
                    <a:lnTo>
                      <a:pt x="1185" y="1471"/>
                    </a:lnTo>
                    <a:lnTo>
                      <a:pt x="1185" y="1473"/>
                    </a:lnTo>
                    <a:lnTo>
                      <a:pt x="1186" y="1473"/>
                    </a:lnTo>
                    <a:lnTo>
                      <a:pt x="1185" y="1473"/>
                    </a:lnTo>
                    <a:lnTo>
                      <a:pt x="1186" y="1473"/>
                    </a:lnTo>
                    <a:lnTo>
                      <a:pt x="1186" y="1471"/>
                    </a:lnTo>
                    <a:lnTo>
                      <a:pt x="1185" y="1471"/>
                    </a:lnTo>
                    <a:lnTo>
                      <a:pt x="1183" y="1471"/>
                    </a:lnTo>
                    <a:lnTo>
                      <a:pt x="1183" y="1470"/>
                    </a:lnTo>
                    <a:lnTo>
                      <a:pt x="1185" y="1470"/>
                    </a:lnTo>
                    <a:lnTo>
                      <a:pt x="1185" y="1468"/>
                    </a:lnTo>
                    <a:lnTo>
                      <a:pt x="1186" y="1468"/>
                    </a:lnTo>
                    <a:lnTo>
                      <a:pt x="1188" y="1468"/>
                    </a:lnTo>
                    <a:close/>
                    <a:moveTo>
                      <a:pt x="1195" y="1437"/>
                    </a:moveTo>
                    <a:lnTo>
                      <a:pt x="1195" y="1439"/>
                    </a:lnTo>
                    <a:lnTo>
                      <a:pt x="1193" y="1437"/>
                    </a:lnTo>
                    <a:lnTo>
                      <a:pt x="1195" y="1439"/>
                    </a:lnTo>
                    <a:lnTo>
                      <a:pt x="1195" y="1441"/>
                    </a:lnTo>
                    <a:lnTo>
                      <a:pt x="1196" y="1441"/>
                    </a:lnTo>
                    <a:lnTo>
                      <a:pt x="1195" y="1442"/>
                    </a:lnTo>
                    <a:lnTo>
                      <a:pt x="1196" y="1442"/>
                    </a:lnTo>
                    <a:lnTo>
                      <a:pt x="1196" y="1444"/>
                    </a:lnTo>
                    <a:lnTo>
                      <a:pt x="1196" y="1446"/>
                    </a:lnTo>
                    <a:lnTo>
                      <a:pt x="1195" y="1446"/>
                    </a:lnTo>
                    <a:lnTo>
                      <a:pt x="1196" y="1447"/>
                    </a:lnTo>
                    <a:lnTo>
                      <a:pt x="1198" y="1447"/>
                    </a:lnTo>
                    <a:lnTo>
                      <a:pt x="1198" y="1446"/>
                    </a:lnTo>
                    <a:lnTo>
                      <a:pt x="1198" y="1447"/>
                    </a:lnTo>
                    <a:lnTo>
                      <a:pt x="1198" y="1449"/>
                    </a:lnTo>
                    <a:lnTo>
                      <a:pt x="1200" y="1449"/>
                    </a:lnTo>
                    <a:lnTo>
                      <a:pt x="1198" y="1451"/>
                    </a:lnTo>
                    <a:lnTo>
                      <a:pt x="1200" y="1451"/>
                    </a:lnTo>
                    <a:lnTo>
                      <a:pt x="1202" y="1453"/>
                    </a:lnTo>
                    <a:lnTo>
                      <a:pt x="1203" y="1454"/>
                    </a:lnTo>
                    <a:lnTo>
                      <a:pt x="1203" y="1456"/>
                    </a:lnTo>
                    <a:lnTo>
                      <a:pt x="1203" y="1458"/>
                    </a:lnTo>
                    <a:lnTo>
                      <a:pt x="1205" y="1458"/>
                    </a:lnTo>
                    <a:lnTo>
                      <a:pt x="1205" y="1459"/>
                    </a:lnTo>
                    <a:lnTo>
                      <a:pt x="1207" y="1461"/>
                    </a:lnTo>
                    <a:lnTo>
                      <a:pt x="1207" y="1463"/>
                    </a:lnTo>
                    <a:lnTo>
                      <a:pt x="1205" y="1463"/>
                    </a:lnTo>
                    <a:lnTo>
                      <a:pt x="1203" y="1463"/>
                    </a:lnTo>
                    <a:lnTo>
                      <a:pt x="1203" y="1461"/>
                    </a:lnTo>
                    <a:lnTo>
                      <a:pt x="1202" y="1459"/>
                    </a:lnTo>
                    <a:lnTo>
                      <a:pt x="1202" y="1458"/>
                    </a:lnTo>
                    <a:lnTo>
                      <a:pt x="1203" y="1458"/>
                    </a:lnTo>
                    <a:lnTo>
                      <a:pt x="1202" y="1458"/>
                    </a:lnTo>
                    <a:lnTo>
                      <a:pt x="1200" y="1458"/>
                    </a:lnTo>
                    <a:lnTo>
                      <a:pt x="1202" y="1458"/>
                    </a:lnTo>
                    <a:lnTo>
                      <a:pt x="1200" y="1456"/>
                    </a:lnTo>
                    <a:lnTo>
                      <a:pt x="1202" y="1456"/>
                    </a:lnTo>
                    <a:lnTo>
                      <a:pt x="1200" y="1456"/>
                    </a:lnTo>
                    <a:lnTo>
                      <a:pt x="1198" y="1456"/>
                    </a:lnTo>
                    <a:lnTo>
                      <a:pt x="1198" y="1454"/>
                    </a:lnTo>
                    <a:lnTo>
                      <a:pt x="1198" y="1453"/>
                    </a:lnTo>
                    <a:lnTo>
                      <a:pt x="1196" y="1453"/>
                    </a:lnTo>
                    <a:lnTo>
                      <a:pt x="1198" y="1453"/>
                    </a:lnTo>
                    <a:lnTo>
                      <a:pt x="1198" y="1451"/>
                    </a:lnTo>
                    <a:lnTo>
                      <a:pt x="1198" y="1453"/>
                    </a:lnTo>
                    <a:lnTo>
                      <a:pt x="1196" y="1451"/>
                    </a:lnTo>
                    <a:lnTo>
                      <a:pt x="1195" y="1451"/>
                    </a:lnTo>
                    <a:lnTo>
                      <a:pt x="1195" y="1453"/>
                    </a:lnTo>
                    <a:lnTo>
                      <a:pt x="1195" y="1451"/>
                    </a:lnTo>
                    <a:lnTo>
                      <a:pt x="1196" y="1451"/>
                    </a:lnTo>
                    <a:lnTo>
                      <a:pt x="1195" y="1451"/>
                    </a:lnTo>
                    <a:lnTo>
                      <a:pt x="1193" y="1451"/>
                    </a:lnTo>
                    <a:lnTo>
                      <a:pt x="1193" y="1449"/>
                    </a:lnTo>
                    <a:lnTo>
                      <a:pt x="1191" y="1449"/>
                    </a:lnTo>
                    <a:lnTo>
                      <a:pt x="1191" y="1447"/>
                    </a:lnTo>
                    <a:lnTo>
                      <a:pt x="1190" y="1447"/>
                    </a:lnTo>
                    <a:lnTo>
                      <a:pt x="1188" y="1447"/>
                    </a:lnTo>
                    <a:lnTo>
                      <a:pt x="1190" y="1447"/>
                    </a:lnTo>
                    <a:lnTo>
                      <a:pt x="1190" y="1446"/>
                    </a:lnTo>
                    <a:lnTo>
                      <a:pt x="1188" y="1446"/>
                    </a:lnTo>
                    <a:lnTo>
                      <a:pt x="1188" y="1444"/>
                    </a:lnTo>
                    <a:lnTo>
                      <a:pt x="1190" y="1444"/>
                    </a:lnTo>
                    <a:lnTo>
                      <a:pt x="1191" y="1446"/>
                    </a:lnTo>
                    <a:lnTo>
                      <a:pt x="1191" y="1444"/>
                    </a:lnTo>
                    <a:lnTo>
                      <a:pt x="1190" y="1444"/>
                    </a:lnTo>
                    <a:lnTo>
                      <a:pt x="1191" y="1444"/>
                    </a:lnTo>
                    <a:lnTo>
                      <a:pt x="1190" y="1442"/>
                    </a:lnTo>
                    <a:lnTo>
                      <a:pt x="1191" y="1444"/>
                    </a:lnTo>
                    <a:lnTo>
                      <a:pt x="1193" y="1444"/>
                    </a:lnTo>
                    <a:lnTo>
                      <a:pt x="1191" y="1444"/>
                    </a:lnTo>
                    <a:lnTo>
                      <a:pt x="1191" y="1442"/>
                    </a:lnTo>
                    <a:lnTo>
                      <a:pt x="1193" y="1442"/>
                    </a:lnTo>
                    <a:lnTo>
                      <a:pt x="1191" y="1442"/>
                    </a:lnTo>
                    <a:lnTo>
                      <a:pt x="1191" y="1441"/>
                    </a:lnTo>
                    <a:lnTo>
                      <a:pt x="1191" y="1439"/>
                    </a:lnTo>
                    <a:lnTo>
                      <a:pt x="1193" y="1441"/>
                    </a:lnTo>
                    <a:lnTo>
                      <a:pt x="1191" y="1439"/>
                    </a:lnTo>
                    <a:lnTo>
                      <a:pt x="1193" y="1439"/>
                    </a:lnTo>
                    <a:lnTo>
                      <a:pt x="1193" y="1441"/>
                    </a:lnTo>
                    <a:lnTo>
                      <a:pt x="1195" y="1441"/>
                    </a:lnTo>
                    <a:lnTo>
                      <a:pt x="1193" y="1441"/>
                    </a:lnTo>
                    <a:lnTo>
                      <a:pt x="1195" y="1441"/>
                    </a:lnTo>
                    <a:lnTo>
                      <a:pt x="1193" y="1439"/>
                    </a:lnTo>
                    <a:lnTo>
                      <a:pt x="1193" y="1437"/>
                    </a:lnTo>
                    <a:lnTo>
                      <a:pt x="1195" y="1437"/>
                    </a:lnTo>
                    <a:lnTo>
                      <a:pt x="1195" y="1435"/>
                    </a:lnTo>
                    <a:lnTo>
                      <a:pt x="1195" y="1437"/>
                    </a:lnTo>
                    <a:close/>
                    <a:moveTo>
                      <a:pt x="1183" y="1126"/>
                    </a:moveTo>
                    <a:lnTo>
                      <a:pt x="1185" y="1126"/>
                    </a:lnTo>
                    <a:lnTo>
                      <a:pt x="1183" y="1126"/>
                    </a:lnTo>
                    <a:lnTo>
                      <a:pt x="1185" y="1126"/>
                    </a:lnTo>
                    <a:lnTo>
                      <a:pt x="1186" y="1126"/>
                    </a:lnTo>
                    <a:lnTo>
                      <a:pt x="1186" y="1128"/>
                    </a:lnTo>
                    <a:lnTo>
                      <a:pt x="1188" y="1128"/>
                    </a:lnTo>
                    <a:lnTo>
                      <a:pt x="1186" y="1129"/>
                    </a:lnTo>
                    <a:lnTo>
                      <a:pt x="1185" y="1129"/>
                    </a:lnTo>
                    <a:lnTo>
                      <a:pt x="1186" y="1129"/>
                    </a:lnTo>
                    <a:lnTo>
                      <a:pt x="1188" y="1128"/>
                    </a:lnTo>
                    <a:lnTo>
                      <a:pt x="1188" y="1129"/>
                    </a:lnTo>
                    <a:lnTo>
                      <a:pt x="1190" y="1131"/>
                    </a:lnTo>
                    <a:lnTo>
                      <a:pt x="1188" y="1131"/>
                    </a:lnTo>
                    <a:lnTo>
                      <a:pt x="1186" y="1131"/>
                    </a:lnTo>
                    <a:lnTo>
                      <a:pt x="1188" y="1131"/>
                    </a:lnTo>
                    <a:lnTo>
                      <a:pt x="1186" y="1131"/>
                    </a:lnTo>
                    <a:lnTo>
                      <a:pt x="1185" y="1131"/>
                    </a:lnTo>
                    <a:lnTo>
                      <a:pt x="1186" y="1131"/>
                    </a:lnTo>
                    <a:lnTo>
                      <a:pt x="1186" y="1133"/>
                    </a:lnTo>
                    <a:lnTo>
                      <a:pt x="1188" y="1131"/>
                    </a:lnTo>
                    <a:lnTo>
                      <a:pt x="1190" y="1131"/>
                    </a:lnTo>
                    <a:lnTo>
                      <a:pt x="1190" y="1133"/>
                    </a:lnTo>
                    <a:lnTo>
                      <a:pt x="1190" y="1134"/>
                    </a:lnTo>
                    <a:lnTo>
                      <a:pt x="1190" y="1136"/>
                    </a:lnTo>
                    <a:lnTo>
                      <a:pt x="1190" y="1138"/>
                    </a:lnTo>
                    <a:lnTo>
                      <a:pt x="1188" y="1138"/>
                    </a:lnTo>
                    <a:lnTo>
                      <a:pt x="1186" y="1138"/>
                    </a:lnTo>
                    <a:lnTo>
                      <a:pt x="1185" y="1138"/>
                    </a:lnTo>
                    <a:lnTo>
                      <a:pt x="1185" y="1136"/>
                    </a:lnTo>
                    <a:lnTo>
                      <a:pt x="1185" y="1138"/>
                    </a:lnTo>
                    <a:lnTo>
                      <a:pt x="1186" y="1138"/>
                    </a:lnTo>
                    <a:lnTo>
                      <a:pt x="1185" y="1138"/>
                    </a:lnTo>
                    <a:lnTo>
                      <a:pt x="1183" y="1138"/>
                    </a:lnTo>
                    <a:lnTo>
                      <a:pt x="1181" y="1138"/>
                    </a:lnTo>
                    <a:lnTo>
                      <a:pt x="1183" y="1138"/>
                    </a:lnTo>
                    <a:lnTo>
                      <a:pt x="1185" y="1138"/>
                    </a:lnTo>
                    <a:lnTo>
                      <a:pt x="1186" y="1138"/>
                    </a:lnTo>
                    <a:lnTo>
                      <a:pt x="1186" y="1140"/>
                    </a:lnTo>
                    <a:lnTo>
                      <a:pt x="1185" y="1140"/>
                    </a:lnTo>
                    <a:lnTo>
                      <a:pt x="1183" y="1140"/>
                    </a:lnTo>
                    <a:lnTo>
                      <a:pt x="1185" y="1140"/>
                    </a:lnTo>
                    <a:lnTo>
                      <a:pt x="1185" y="1141"/>
                    </a:lnTo>
                    <a:lnTo>
                      <a:pt x="1183" y="1141"/>
                    </a:lnTo>
                    <a:lnTo>
                      <a:pt x="1181" y="1141"/>
                    </a:lnTo>
                    <a:lnTo>
                      <a:pt x="1179" y="1140"/>
                    </a:lnTo>
                    <a:lnTo>
                      <a:pt x="1181" y="1140"/>
                    </a:lnTo>
                    <a:lnTo>
                      <a:pt x="1181" y="1138"/>
                    </a:lnTo>
                    <a:lnTo>
                      <a:pt x="1181" y="1136"/>
                    </a:lnTo>
                    <a:lnTo>
                      <a:pt x="1181" y="1134"/>
                    </a:lnTo>
                    <a:lnTo>
                      <a:pt x="1179" y="1134"/>
                    </a:lnTo>
                    <a:lnTo>
                      <a:pt x="1179" y="1133"/>
                    </a:lnTo>
                    <a:lnTo>
                      <a:pt x="1181" y="1133"/>
                    </a:lnTo>
                    <a:lnTo>
                      <a:pt x="1179" y="1134"/>
                    </a:lnTo>
                    <a:lnTo>
                      <a:pt x="1181" y="1133"/>
                    </a:lnTo>
                    <a:lnTo>
                      <a:pt x="1181" y="1134"/>
                    </a:lnTo>
                    <a:lnTo>
                      <a:pt x="1183" y="1133"/>
                    </a:lnTo>
                    <a:lnTo>
                      <a:pt x="1181" y="1133"/>
                    </a:lnTo>
                    <a:lnTo>
                      <a:pt x="1181" y="1131"/>
                    </a:lnTo>
                    <a:lnTo>
                      <a:pt x="1181" y="1129"/>
                    </a:lnTo>
                    <a:lnTo>
                      <a:pt x="1181" y="1128"/>
                    </a:lnTo>
                    <a:lnTo>
                      <a:pt x="1183" y="1128"/>
                    </a:lnTo>
                    <a:lnTo>
                      <a:pt x="1183" y="1126"/>
                    </a:lnTo>
                    <a:close/>
                    <a:moveTo>
                      <a:pt x="1162" y="1305"/>
                    </a:moveTo>
                    <a:lnTo>
                      <a:pt x="1162" y="1303"/>
                    </a:lnTo>
                    <a:lnTo>
                      <a:pt x="1162" y="1305"/>
                    </a:lnTo>
                    <a:lnTo>
                      <a:pt x="1164" y="1305"/>
                    </a:lnTo>
                    <a:lnTo>
                      <a:pt x="1164" y="1306"/>
                    </a:lnTo>
                    <a:lnTo>
                      <a:pt x="1164" y="1305"/>
                    </a:lnTo>
                    <a:lnTo>
                      <a:pt x="1164" y="1303"/>
                    </a:lnTo>
                    <a:lnTo>
                      <a:pt x="1166" y="1303"/>
                    </a:lnTo>
                    <a:lnTo>
                      <a:pt x="1168" y="1305"/>
                    </a:lnTo>
                    <a:lnTo>
                      <a:pt x="1168" y="1306"/>
                    </a:lnTo>
                    <a:lnTo>
                      <a:pt x="1169" y="1308"/>
                    </a:lnTo>
                    <a:lnTo>
                      <a:pt x="1168" y="1308"/>
                    </a:lnTo>
                    <a:lnTo>
                      <a:pt x="1168" y="1310"/>
                    </a:lnTo>
                    <a:lnTo>
                      <a:pt x="1168" y="1308"/>
                    </a:lnTo>
                    <a:lnTo>
                      <a:pt x="1168" y="1310"/>
                    </a:lnTo>
                    <a:lnTo>
                      <a:pt x="1168" y="1311"/>
                    </a:lnTo>
                    <a:lnTo>
                      <a:pt x="1168" y="1313"/>
                    </a:lnTo>
                    <a:lnTo>
                      <a:pt x="1168" y="1315"/>
                    </a:lnTo>
                    <a:lnTo>
                      <a:pt x="1168" y="1316"/>
                    </a:lnTo>
                    <a:lnTo>
                      <a:pt x="1166" y="1316"/>
                    </a:lnTo>
                    <a:lnTo>
                      <a:pt x="1164" y="1315"/>
                    </a:lnTo>
                    <a:lnTo>
                      <a:pt x="1166" y="1315"/>
                    </a:lnTo>
                    <a:lnTo>
                      <a:pt x="1164" y="1315"/>
                    </a:lnTo>
                    <a:lnTo>
                      <a:pt x="1164" y="1313"/>
                    </a:lnTo>
                    <a:lnTo>
                      <a:pt x="1162" y="1313"/>
                    </a:lnTo>
                    <a:lnTo>
                      <a:pt x="1162" y="1311"/>
                    </a:lnTo>
                    <a:lnTo>
                      <a:pt x="1161" y="1311"/>
                    </a:lnTo>
                    <a:lnTo>
                      <a:pt x="1161" y="1310"/>
                    </a:lnTo>
                    <a:lnTo>
                      <a:pt x="1159" y="1310"/>
                    </a:lnTo>
                    <a:lnTo>
                      <a:pt x="1157" y="1310"/>
                    </a:lnTo>
                    <a:lnTo>
                      <a:pt x="1156" y="1310"/>
                    </a:lnTo>
                    <a:lnTo>
                      <a:pt x="1157" y="1310"/>
                    </a:lnTo>
                    <a:lnTo>
                      <a:pt x="1157" y="1308"/>
                    </a:lnTo>
                    <a:lnTo>
                      <a:pt x="1159" y="1308"/>
                    </a:lnTo>
                    <a:lnTo>
                      <a:pt x="1161" y="1308"/>
                    </a:lnTo>
                    <a:lnTo>
                      <a:pt x="1159" y="1308"/>
                    </a:lnTo>
                    <a:lnTo>
                      <a:pt x="1159" y="1306"/>
                    </a:lnTo>
                    <a:lnTo>
                      <a:pt x="1157" y="1308"/>
                    </a:lnTo>
                    <a:lnTo>
                      <a:pt x="1156" y="1310"/>
                    </a:lnTo>
                    <a:lnTo>
                      <a:pt x="1156" y="1308"/>
                    </a:lnTo>
                    <a:lnTo>
                      <a:pt x="1156" y="1306"/>
                    </a:lnTo>
                    <a:lnTo>
                      <a:pt x="1157" y="1306"/>
                    </a:lnTo>
                    <a:lnTo>
                      <a:pt x="1157" y="1305"/>
                    </a:lnTo>
                    <a:lnTo>
                      <a:pt x="1159" y="1305"/>
                    </a:lnTo>
                    <a:lnTo>
                      <a:pt x="1159" y="1303"/>
                    </a:lnTo>
                    <a:lnTo>
                      <a:pt x="1159" y="1305"/>
                    </a:lnTo>
                    <a:lnTo>
                      <a:pt x="1159" y="1303"/>
                    </a:lnTo>
                    <a:lnTo>
                      <a:pt x="1161" y="1303"/>
                    </a:lnTo>
                    <a:lnTo>
                      <a:pt x="1161" y="1305"/>
                    </a:lnTo>
                    <a:lnTo>
                      <a:pt x="1161" y="1303"/>
                    </a:lnTo>
                    <a:lnTo>
                      <a:pt x="1159" y="1303"/>
                    </a:lnTo>
                    <a:lnTo>
                      <a:pt x="1159" y="1301"/>
                    </a:lnTo>
                    <a:lnTo>
                      <a:pt x="1161" y="1301"/>
                    </a:lnTo>
                    <a:lnTo>
                      <a:pt x="1161" y="1303"/>
                    </a:lnTo>
                    <a:lnTo>
                      <a:pt x="1162" y="1303"/>
                    </a:lnTo>
                    <a:lnTo>
                      <a:pt x="1162" y="1305"/>
                    </a:lnTo>
                    <a:close/>
                    <a:moveTo>
                      <a:pt x="1208" y="1126"/>
                    </a:moveTo>
                    <a:lnTo>
                      <a:pt x="1210" y="1126"/>
                    </a:lnTo>
                    <a:lnTo>
                      <a:pt x="1212" y="1126"/>
                    </a:lnTo>
                    <a:lnTo>
                      <a:pt x="1212" y="1128"/>
                    </a:lnTo>
                    <a:lnTo>
                      <a:pt x="1212" y="1129"/>
                    </a:lnTo>
                    <a:lnTo>
                      <a:pt x="1210" y="1129"/>
                    </a:lnTo>
                    <a:lnTo>
                      <a:pt x="1210" y="1128"/>
                    </a:lnTo>
                    <a:lnTo>
                      <a:pt x="1208" y="1128"/>
                    </a:lnTo>
                    <a:lnTo>
                      <a:pt x="1210" y="1129"/>
                    </a:lnTo>
                    <a:lnTo>
                      <a:pt x="1208" y="1129"/>
                    </a:lnTo>
                    <a:lnTo>
                      <a:pt x="1210" y="1129"/>
                    </a:lnTo>
                    <a:lnTo>
                      <a:pt x="1212" y="1129"/>
                    </a:lnTo>
                    <a:lnTo>
                      <a:pt x="1210" y="1131"/>
                    </a:lnTo>
                    <a:lnTo>
                      <a:pt x="1210" y="1133"/>
                    </a:lnTo>
                    <a:lnTo>
                      <a:pt x="1210" y="1134"/>
                    </a:lnTo>
                    <a:lnTo>
                      <a:pt x="1212" y="1134"/>
                    </a:lnTo>
                    <a:lnTo>
                      <a:pt x="1212" y="1136"/>
                    </a:lnTo>
                    <a:lnTo>
                      <a:pt x="1210" y="1134"/>
                    </a:lnTo>
                    <a:lnTo>
                      <a:pt x="1208" y="1134"/>
                    </a:lnTo>
                    <a:lnTo>
                      <a:pt x="1207" y="1133"/>
                    </a:lnTo>
                    <a:lnTo>
                      <a:pt x="1208" y="1134"/>
                    </a:lnTo>
                    <a:lnTo>
                      <a:pt x="1208" y="1136"/>
                    </a:lnTo>
                    <a:lnTo>
                      <a:pt x="1210" y="1136"/>
                    </a:lnTo>
                    <a:lnTo>
                      <a:pt x="1210" y="1138"/>
                    </a:lnTo>
                    <a:lnTo>
                      <a:pt x="1210" y="1140"/>
                    </a:lnTo>
                    <a:lnTo>
                      <a:pt x="1208" y="1141"/>
                    </a:lnTo>
                    <a:lnTo>
                      <a:pt x="1208" y="1140"/>
                    </a:lnTo>
                    <a:lnTo>
                      <a:pt x="1207" y="1140"/>
                    </a:lnTo>
                    <a:lnTo>
                      <a:pt x="1207" y="1138"/>
                    </a:lnTo>
                    <a:lnTo>
                      <a:pt x="1205" y="1138"/>
                    </a:lnTo>
                    <a:lnTo>
                      <a:pt x="1205" y="1136"/>
                    </a:lnTo>
                    <a:lnTo>
                      <a:pt x="1203" y="1138"/>
                    </a:lnTo>
                    <a:lnTo>
                      <a:pt x="1203" y="1136"/>
                    </a:lnTo>
                    <a:lnTo>
                      <a:pt x="1203" y="1134"/>
                    </a:lnTo>
                    <a:lnTo>
                      <a:pt x="1203" y="1133"/>
                    </a:lnTo>
                    <a:lnTo>
                      <a:pt x="1205" y="1131"/>
                    </a:lnTo>
                    <a:lnTo>
                      <a:pt x="1205" y="1129"/>
                    </a:lnTo>
                    <a:lnTo>
                      <a:pt x="1205" y="1128"/>
                    </a:lnTo>
                    <a:lnTo>
                      <a:pt x="1207" y="1126"/>
                    </a:lnTo>
                    <a:lnTo>
                      <a:pt x="1207" y="1124"/>
                    </a:lnTo>
                    <a:lnTo>
                      <a:pt x="1207" y="1126"/>
                    </a:lnTo>
                    <a:lnTo>
                      <a:pt x="1208" y="1126"/>
                    </a:lnTo>
                    <a:close/>
                    <a:moveTo>
                      <a:pt x="1162" y="1245"/>
                    </a:moveTo>
                    <a:lnTo>
                      <a:pt x="1164" y="1245"/>
                    </a:lnTo>
                    <a:lnTo>
                      <a:pt x="1164" y="1247"/>
                    </a:lnTo>
                    <a:lnTo>
                      <a:pt x="1164" y="1248"/>
                    </a:lnTo>
                    <a:lnTo>
                      <a:pt x="1162" y="1248"/>
                    </a:lnTo>
                    <a:lnTo>
                      <a:pt x="1164" y="1248"/>
                    </a:lnTo>
                    <a:lnTo>
                      <a:pt x="1164" y="1250"/>
                    </a:lnTo>
                    <a:lnTo>
                      <a:pt x="1166" y="1250"/>
                    </a:lnTo>
                    <a:lnTo>
                      <a:pt x="1164" y="1250"/>
                    </a:lnTo>
                    <a:lnTo>
                      <a:pt x="1166" y="1250"/>
                    </a:lnTo>
                    <a:lnTo>
                      <a:pt x="1168" y="1252"/>
                    </a:lnTo>
                    <a:lnTo>
                      <a:pt x="1169" y="1252"/>
                    </a:lnTo>
                    <a:lnTo>
                      <a:pt x="1171" y="1253"/>
                    </a:lnTo>
                    <a:lnTo>
                      <a:pt x="1169" y="1255"/>
                    </a:lnTo>
                    <a:lnTo>
                      <a:pt x="1171" y="1253"/>
                    </a:lnTo>
                    <a:lnTo>
                      <a:pt x="1171" y="1255"/>
                    </a:lnTo>
                    <a:lnTo>
                      <a:pt x="1171" y="1257"/>
                    </a:lnTo>
                    <a:lnTo>
                      <a:pt x="1171" y="1255"/>
                    </a:lnTo>
                    <a:lnTo>
                      <a:pt x="1169" y="1255"/>
                    </a:lnTo>
                    <a:lnTo>
                      <a:pt x="1168" y="1255"/>
                    </a:lnTo>
                    <a:lnTo>
                      <a:pt x="1166" y="1255"/>
                    </a:lnTo>
                    <a:lnTo>
                      <a:pt x="1164" y="1253"/>
                    </a:lnTo>
                    <a:lnTo>
                      <a:pt x="1162" y="1253"/>
                    </a:lnTo>
                    <a:lnTo>
                      <a:pt x="1161" y="1253"/>
                    </a:lnTo>
                    <a:lnTo>
                      <a:pt x="1162" y="1253"/>
                    </a:lnTo>
                    <a:lnTo>
                      <a:pt x="1164" y="1253"/>
                    </a:lnTo>
                    <a:lnTo>
                      <a:pt x="1164" y="1255"/>
                    </a:lnTo>
                    <a:lnTo>
                      <a:pt x="1166" y="1255"/>
                    </a:lnTo>
                    <a:lnTo>
                      <a:pt x="1166" y="1257"/>
                    </a:lnTo>
                    <a:lnTo>
                      <a:pt x="1166" y="1255"/>
                    </a:lnTo>
                    <a:lnTo>
                      <a:pt x="1168" y="1257"/>
                    </a:lnTo>
                    <a:lnTo>
                      <a:pt x="1169" y="1257"/>
                    </a:lnTo>
                    <a:lnTo>
                      <a:pt x="1169" y="1259"/>
                    </a:lnTo>
                    <a:lnTo>
                      <a:pt x="1168" y="1260"/>
                    </a:lnTo>
                    <a:lnTo>
                      <a:pt x="1168" y="1259"/>
                    </a:lnTo>
                    <a:lnTo>
                      <a:pt x="1168" y="1257"/>
                    </a:lnTo>
                    <a:lnTo>
                      <a:pt x="1166" y="1257"/>
                    </a:lnTo>
                    <a:lnTo>
                      <a:pt x="1164" y="1257"/>
                    </a:lnTo>
                    <a:lnTo>
                      <a:pt x="1164" y="1255"/>
                    </a:lnTo>
                    <a:lnTo>
                      <a:pt x="1162" y="1255"/>
                    </a:lnTo>
                    <a:lnTo>
                      <a:pt x="1161" y="1255"/>
                    </a:lnTo>
                    <a:lnTo>
                      <a:pt x="1159" y="1255"/>
                    </a:lnTo>
                    <a:lnTo>
                      <a:pt x="1159" y="1253"/>
                    </a:lnTo>
                    <a:lnTo>
                      <a:pt x="1159" y="1255"/>
                    </a:lnTo>
                    <a:lnTo>
                      <a:pt x="1159" y="1253"/>
                    </a:lnTo>
                    <a:lnTo>
                      <a:pt x="1161" y="1253"/>
                    </a:lnTo>
                    <a:lnTo>
                      <a:pt x="1159" y="1253"/>
                    </a:lnTo>
                    <a:lnTo>
                      <a:pt x="1161" y="1253"/>
                    </a:lnTo>
                    <a:lnTo>
                      <a:pt x="1161" y="1252"/>
                    </a:lnTo>
                    <a:lnTo>
                      <a:pt x="1159" y="1252"/>
                    </a:lnTo>
                    <a:lnTo>
                      <a:pt x="1161" y="1252"/>
                    </a:lnTo>
                    <a:lnTo>
                      <a:pt x="1162" y="1252"/>
                    </a:lnTo>
                    <a:lnTo>
                      <a:pt x="1161" y="1252"/>
                    </a:lnTo>
                    <a:lnTo>
                      <a:pt x="1162" y="1250"/>
                    </a:lnTo>
                    <a:lnTo>
                      <a:pt x="1162" y="1252"/>
                    </a:lnTo>
                    <a:lnTo>
                      <a:pt x="1164" y="1252"/>
                    </a:lnTo>
                    <a:lnTo>
                      <a:pt x="1164" y="1250"/>
                    </a:lnTo>
                    <a:lnTo>
                      <a:pt x="1162" y="1250"/>
                    </a:lnTo>
                    <a:lnTo>
                      <a:pt x="1161" y="1250"/>
                    </a:lnTo>
                    <a:lnTo>
                      <a:pt x="1159" y="1250"/>
                    </a:lnTo>
                    <a:lnTo>
                      <a:pt x="1161" y="1252"/>
                    </a:lnTo>
                    <a:lnTo>
                      <a:pt x="1159" y="1252"/>
                    </a:lnTo>
                    <a:lnTo>
                      <a:pt x="1157" y="1252"/>
                    </a:lnTo>
                    <a:lnTo>
                      <a:pt x="1156" y="1252"/>
                    </a:lnTo>
                    <a:lnTo>
                      <a:pt x="1156" y="1253"/>
                    </a:lnTo>
                    <a:lnTo>
                      <a:pt x="1156" y="1252"/>
                    </a:lnTo>
                    <a:lnTo>
                      <a:pt x="1157" y="1250"/>
                    </a:lnTo>
                    <a:lnTo>
                      <a:pt x="1159" y="1250"/>
                    </a:lnTo>
                    <a:lnTo>
                      <a:pt x="1159" y="1248"/>
                    </a:lnTo>
                    <a:lnTo>
                      <a:pt x="1157" y="1250"/>
                    </a:lnTo>
                    <a:lnTo>
                      <a:pt x="1159" y="1250"/>
                    </a:lnTo>
                    <a:lnTo>
                      <a:pt x="1157" y="1250"/>
                    </a:lnTo>
                    <a:lnTo>
                      <a:pt x="1156" y="1250"/>
                    </a:lnTo>
                    <a:lnTo>
                      <a:pt x="1157" y="1250"/>
                    </a:lnTo>
                    <a:lnTo>
                      <a:pt x="1157" y="1248"/>
                    </a:lnTo>
                    <a:lnTo>
                      <a:pt x="1159" y="1248"/>
                    </a:lnTo>
                    <a:lnTo>
                      <a:pt x="1157" y="1248"/>
                    </a:lnTo>
                    <a:lnTo>
                      <a:pt x="1159" y="1248"/>
                    </a:lnTo>
                    <a:lnTo>
                      <a:pt x="1161" y="1248"/>
                    </a:lnTo>
                    <a:lnTo>
                      <a:pt x="1161" y="1247"/>
                    </a:lnTo>
                    <a:lnTo>
                      <a:pt x="1162" y="1247"/>
                    </a:lnTo>
                    <a:lnTo>
                      <a:pt x="1162" y="1245"/>
                    </a:lnTo>
                    <a:close/>
                    <a:moveTo>
                      <a:pt x="1159" y="1420"/>
                    </a:moveTo>
                    <a:lnTo>
                      <a:pt x="1159" y="1422"/>
                    </a:lnTo>
                    <a:lnTo>
                      <a:pt x="1159" y="1424"/>
                    </a:lnTo>
                    <a:lnTo>
                      <a:pt x="1159" y="1425"/>
                    </a:lnTo>
                    <a:lnTo>
                      <a:pt x="1157" y="1425"/>
                    </a:lnTo>
                    <a:lnTo>
                      <a:pt x="1159" y="1427"/>
                    </a:lnTo>
                    <a:lnTo>
                      <a:pt x="1157" y="1427"/>
                    </a:lnTo>
                    <a:lnTo>
                      <a:pt x="1157" y="1429"/>
                    </a:lnTo>
                    <a:lnTo>
                      <a:pt x="1159" y="1429"/>
                    </a:lnTo>
                    <a:lnTo>
                      <a:pt x="1157" y="1427"/>
                    </a:lnTo>
                    <a:lnTo>
                      <a:pt x="1159" y="1425"/>
                    </a:lnTo>
                    <a:lnTo>
                      <a:pt x="1159" y="1424"/>
                    </a:lnTo>
                    <a:lnTo>
                      <a:pt x="1161" y="1424"/>
                    </a:lnTo>
                    <a:lnTo>
                      <a:pt x="1161" y="1425"/>
                    </a:lnTo>
                    <a:lnTo>
                      <a:pt x="1162" y="1425"/>
                    </a:lnTo>
                    <a:lnTo>
                      <a:pt x="1162" y="1427"/>
                    </a:lnTo>
                    <a:lnTo>
                      <a:pt x="1162" y="1429"/>
                    </a:lnTo>
                    <a:lnTo>
                      <a:pt x="1162" y="1427"/>
                    </a:lnTo>
                    <a:lnTo>
                      <a:pt x="1161" y="1427"/>
                    </a:lnTo>
                    <a:lnTo>
                      <a:pt x="1162" y="1429"/>
                    </a:lnTo>
                    <a:lnTo>
                      <a:pt x="1162" y="1430"/>
                    </a:lnTo>
                    <a:lnTo>
                      <a:pt x="1161" y="1429"/>
                    </a:lnTo>
                    <a:lnTo>
                      <a:pt x="1161" y="1427"/>
                    </a:lnTo>
                    <a:lnTo>
                      <a:pt x="1161" y="1429"/>
                    </a:lnTo>
                    <a:lnTo>
                      <a:pt x="1161" y="1430"/>
                    </a:lnTo>
                    <a:lnTo>
                      <a:pt x="1161" y="1429"/>
                    </a:lnTo>
                    <a:lnTo>
                      <a:pt x="1161" y="1430"/>
                    </a:lnTo>
                    <a:lnTo>
                      <a:pt x="1159" y="1432"/>
                    </a:lnTo>
                    <a:lnTo>
                      <a:pt x="1159" y="1430"/>
                    </a:lnTo>
                    <a:lnTo>
                      <a:pt x="1159" y="1432"/>
                    </a:lnTo>
                    <a:lnTo>
                      <a:pt x="1159" y="1434"/>
                    </a:lnTo>
                    <a:lnTo>
                      <a:pt x="1159" y="1432"/>
                    </a:lnTo>
                    <a:lnTo>
                      <a:pt x="1157" y="1432"/>
                    </a:lnTo>
                    <a:lnTo>
                      <a:pt x="1159" y="1430"/>
                    </a:lnTo>
                    <a:lnTo>
                      <a:pt x="1157" y="1430"/>
                    </a:lnTo>
                    <a:lnTo>
                      <a:pt x="1157" y="1432"/>
                    </a:lnTo>
                    <a:lnTo>
                      <a:pt x="1157" y="1434"/>
                    </a:lnTo>
                    <a:lnTo>
                      <a:pt x="1157" y="1435"/>
                    </a:lnTo>
                    <a:lnTo>
                      <a:pt x="1157" y="1437"/>
                    </a:lnTo>
                    <a:lnTo>
                      <a:pt x="1157" y="1439"/>
                    </a:lnTo>
                    <a:lnTo>
                      <a:pt x="1157" y="1441"/>
                    </a:lnTo>
                    <a:lnTo>
                      <a:pt x="1156" y="1439"/>
                    </a:lnTo>
                    <a:lnTo>
                      <a:pt x="1156" y="1437"/>
                    </a:lnTo>
                    <a:lnTo>
                      <a:pt x="1156" y="1439"/>
                    </a:lnTo>
                    <a:lnTo>
                      <a:pt x="1156" y="1441"/>
                    </a:lnTo>
                    <a:lnTo>
                      <a:pt x="1156" y="1442"/>
                    </a:lnTo>
                    <a:lnTo>
                      <a:pt x="1154" y="1441"/>
                    </a:lnTo>
                    <a:lnTo>
                      <a:pt x="1152" y="1442"/>
                    </a:lnTo>
                    <a:lnTo>
                      <a:pt x="1152" y="1441"/>
                    </a:lnTo>
                    <a:lnTo>
                      <a:pt x="1151" y="1441"/>
                    </a:lnTo>
                    <a:lnTo>
                      <a:pt x="1151" y="1439"/>
                    </a:lnTo>
                    <a:lnTo>
                      <a:pt x="1152" y="1439"/>
                    </a:lnTo>
                    <a:lnTo>
                      <a:pt x="1152" y="1437"/>
                    </a:lnTo>
                    <a:lnTo>
                      <a:pt x="1151" y="1437"/>
                    </a:lnTo>
                    <a:lnTo>
                      <a:pt x="1152" y="1435"/>
                    </a:lnTo>
                    <a:lnTo>
                      <a:pt x="1152" y="1437"/>
                    </a:lnTo>
                    <a:lnTo>
                      <a:pt x="1152" y="1435"/>
                    </a:lnTo>
                    <a:lnTo>
                      <a:pt x="1154" y="1435"/>
                    </a:lnTo>
                    <a:lnTo>
                      <a:pt x="1154" y="1434"/>
                    </a:lnTo>
                    <a:lnTo>
                      <a:pt x="1154" y="1435"/>
                    </a:lnTo>
                    <a:lnTo>
                      <a:pt x="1156" y="1434"/>
                    </a:lnTo>
                    <a:lnTo>
                      <a:pt x="1156" y="1432"/>
                    </a:lnTo>
                    <a:lnTo>
                      <a:pt x="1154" y="1432"/>
                    </a:lnTo>
                    <a:lnTo>
                      <a:pt x="1156" y="1430"/>
                    </a:lnTo>
                    <a:lnTo>
                      <a:pt x="1156" y="1429"/>
                    </a:lnTo>
                    <a:lnTo>
                      <a:pt x="1157" y="1429"/>
                    </a:lnTo>
                    <a:lnTo>
                      <a:pt x="1157" y="1427"/>
                    </a:lnTo>
                    <a:lnTo>
                      <a:pt x="1156" y="1427"/>
                    </a:lnTo>
                    <a:lnTo>
                      <a:pt x="1156" y="1425"/>
                    </a:lnTo>
                    <a:lnTo>
                      <a:pt x="1156" y="1424"/>
                    </a:lnTo>
                    <a:lnTo>
                      <a:pt x="1157" y="1424"/>
                    </a:lnTo>
                    <a:lnTo>
                      <a:pt x="1157" y="1422"/>
                    </a:lnTo>
                    <a:lnTo>
                      <a:pt x="1159" y="1420"/>
                    </a:lnTo>
                    <a:close/>
                    <a:moveTo>
                      <a:pt x="1154" y="1303"/>
                    </a:moveTo>
                    <a:lnTo>
                      <a:pt x="1152" y="1303"/>
                    </a:lnTo>
                    <a:lnTo>
                      <a:pt x="1151" y="1303"/>
                    </a:lnTo>
                    <a:lnTo>
                      <a:pt x="1152" y="1305"/>
                    </a:lnTo>
                    <a:lnTo>
                      <a:pt x="1152" y="1303"/>
                    </a:lnTo>
                    <a:lnTo>
                      <a:pt x="1154" y="1303"/>
                    </a:lnTo>
                    <a:lnTo>
                      <a:pt x="1154" y="1305"/>
                    </a:lnTo>
                    <a:lnTo>
                      <a:pt x="1154" y="1306"/>
                    </a:lnTo>
                    <a:lnTo>
                      <a:pt x="1154" y="1308"/>
                    </a:lnTo>
                    <a:lnTo>
                      <a:pt x="1152" y="1308"/>
                    </a:lnTo>
                    <a:lnTo>
                      <a:pt x="1152" y="1310"/>
                    </a:lnTo>
                    <a:lnTo>
                      <a:pt x="1152" y="1308"/>
                    </a:lnTo>
                    <a:lnTo>
                      <a:pt x="1151" y="1308"/>
                    </a:lnTo>
                    <a:lnTo>
                      <a:pt x="1151" y="1310"/>
                    </a:lnTo>
                    <a:lnTo>
                      <a:pt x="1151" y="1311"/>
                    </a:lnTo>
                    <a:lnTo>
                      <a:pt x="1149" y="1311"/>
                    </a:lnTo>
                    <a:lnTo>
                      <a:pt x="1151" y="1310"/>
                    </a:lnTo>
                    <a:lnTo>
                      <a:pt x="1149" y="1310"/>
                    </a:lnTo>
                    <a:lnTo>
                      <a:pt x="1151" y="1308"/>
                    </a:lnTo>
                    <a:lnTo>
                      <a:pt x="1149" y="1310"/>
                    </a:lnTo>
                    <a:lnTo>
                      <a:pt x="1149" y="1311"/>
                    </a:lnTo>
                    <a:lnTo>
                      <a:pt x="1149" y="1310"/>
                    </a:lnTo>
                    <a:lnTo>
                      <a:pt x="1149" y="1311"/>
                    </a:lnTo>
                    <a:lnTo>
                      <a:pt x="1147" y="1310"/>
                    </a:lnTo>
                    <a:lnTo>
                      <a:pt x="1149" y="1311"/>
                    </a:lnTo>
                    <a:lnTo>
                      <a:pt x="1147" y="1311"/>
                    </a:lnTo>
                    <a:lnTo>
                      <a:pt x="1147" y="1313"/>
                    </a:lnTo>
                    <a:lnTo>
                      <a:pt x="1149" y="1313"/>
                    </a:lnTo>
                    <a:lnTo>
                      <a:pt x="1147" y="1315"/>
                    </a:lnTo>
                    <a:lnTo>
                      <a:pt x="1145" y="1315"/>
                    </a:lnTo>
                    <a:lnTo>
                      <a:pt x="1144" y="1315"/>
                    </a:lnTo>
                    <a:lnTo>
                      <a:pt x="1144" y="1313"/>
                    </a:lnTo>
                    <a:lnTo>
                      <a:pt x="1142" y="1315"/>
                    </a:lnTo>
                    <a:lnTo>
                      <a:pt x="1142" y="1313"/>
                    </a:lnTo>
                    <a:lnTo>
                      <a:pt x="1142" y="1311"/>
                    </a:lnTo>
                    <a:lnTo>
                      <a:pt x="1142" y="1313"/>
                    </a:lnTo>
                    <a:lnTo>
                      <a:pt x="1144" y="1313"/>
                    </a:lnTo>
                    <a:lnTo>
                      <a:pt x="1142" y="1311"/>
                    </a:lnTo>
                    <a:lnTo>
                      <a:pt x="1144" y="1311"/>
                    </a:lnTo>
                    <a:lnTo>
                      <a:pt x="1142" y="1311"/>
                    </a:lnTo>
                    <a:lnTo>
                      <a:pt x="1142" y="1310"/>
                    </a:lnTo>
                    <a:lnTo>
                      <a:pt x="1144" y="1308"/>
                    </a:lnTo>
                    <a:lnTo>
                      <a:pt x="1145" y="1306"/>
                    </a:lnTo>
                    <a:lnTo>
                      <a:pt x="1145" y="1308"/>
                    </a:lnTo>
                    <a:lnTo>
                      <a:pt x="1144" y="1310"/>
                    </a:lnTo>
                    <a:lnTo>
                      <a:pt x="1144" y="1311"/>
                    </a:lnTo>
                    <a:lnTo>
                      <a:pt x="1144" y="1310"/>
                    </a:lnTo>
                    <a:lnTo>
                      <a:pt x="1145" y="1310"/>
                    </a:lnTo>
                    <a:lnTo>
                      <a:pt x="1145" y="1308"/>
                    </a:lnTo>
                    <a:lnTo>
                      <a:pt x="1147" y="1308"/>
                    </a:lnTo>
                    <a:lnTo>
                      <a:pt x="1145" y="1308"/>
                    </a:lnTo>
                    <a:lnTo>
                      <a:pt x="1145" y="1306"/>
                    </a:lnTo>
                    <a:lnTo>
                      <a:pt x="1147" y="1306"/>
                    </a:lnTo>
                    <a:lnTo>
                      <a:pt x="1149" y="1305"/>
                    </a:lnTo>
                    <a:lnTo>
                      <a:pt x="1149" y="1306"/>
                    </a:lnTo>
                    <a:lnTo>
                      <a:pt x="1149" y="1305"/>
                    </a:lnTo>
                    <a:lnTo>
                      <a:pt x="1151" y="1305"/>
                    </a:lnTo>
                    <a:lnTo>
                      <a:pt x="1149" y="1305"/>
                    </a:lnTo>
                    <a:lnTo>
                      <a:pt x="1149" y="1303"/>
                    </a:lnTo>
                    <a:lnTo>
                      <a:pt x="1151" y="1301"/>
                    </a:lnTo>
                    <a:lnTo>
                      <a:pt x="1151" y="1299"/>
                    </a:lnTo>
                    <a:lnTo>
                      <a:pt x="1152" y="1299"/>
                    </a:lnTo>
                    <a:lnTo>
                      <a:pt x="1152" y="1301"/>
                    </a:lnTo>
                    <a:lnTo>
                      <a:pt x="1154" y="1301"/>
                    </a:lnTo>
                    <a:lnTo>
                      <a:pt x="1154" y="1303"/>
                    </a:lnTo>
                    <a:close/>
                    <a:moveTo>
                      <a:pt x="1212" y="1539"/>
                    </a:moveTo>
                    <a:lnTo>
                      <a:pt x="1212" y="1541"/>
                    </a:lnTo>
                    <a:lnTo>
                      <a:pt x="1213" y="1541"/>
                    </a:lnTo>
                    <a:lnTo>
                      <a:pt x="1213" y="1539"/>
                    </a:lnTo>
                    <a:lnTo>
                      <a:pt x="1215" y="1539"/>
                    </a:lnTo>
                    <a:lnTo>
                      <a:pt x="1217" y="1539"/>
                    </a:lnTo>
                    <a:lnTo>
                      <a:pt x="1217" y="1541"/>
                    </a:lnTo>
                    <a:lnTo>
                      <a:pt x="1219" y="1543"/>
                    </a:lnTo>
                    <a:lnTo>
                      <a:pt x="1217" y="1543"/>
                    </a:lnTo>
                    <a:lnTo>
                      <a:pt x="1217" y="1541"/>
                    </a:lnTo>
                    <a:lnTo>
                      <a:pt x="1217" y="1543"/>
                    </a:lnTo>
                    <a:lnTo>
                      <a:pt x="1215" y="1543"/>
                    </a:lnTo>
                    <a:lnTo>
                      <a:pt x="1215" y="1544"/>
                    </a:lnTo>
                    <a:lnTo>
                      <a:pt x="1213" y="1544"/>
                    </a:lnTo>
                    <a:lnTo>
                      <a:pt x="1213" y="1546"/>
                    </a:lnTo>
                    <a:lnTo>
                      <a:pt x="1215" y="1546"/>
                    </a:lnTo>
                    <a:lnTo>
                      <a:pt x="1213" y="1544"/>
                    </a:lnTo>
                    <a:lnTo>
                      <a:pt x="1215" y="1544"/>
                    </a:lnTo>
                    <a:lnTo>
                      <a:pt x="1217" y="1546"/>
                    </a:lnTo>
                    <a:lnTo>
                      <a:pt x="1217" y="1548"/>
                    </a:lnTo>
                    <a:lnTo>
                      <a:pt x="1219" y="1548"/>
                    </a:lnTo>
                    <a:lnTo>
                      <a:pt x="1217" y="1548"/>
                    </a:lnTo>
                    <a:lnTo>
                      <a:pt x="1219" y="1549"/>
                    </a:lnTo>
                    <a:lnTo>
                      <a:pt x="1217" y="1548"/>
                    </a:lnTo>
                    <a:lnTo>
                      <a:pt x="1217" y="1549"/>
                    </a:lnTo>
                    <a:lnTo>
                      <a:pt x="1219" y="1549"/>
                    </a:lnTo>
                    <a:lnTo>
                      <a:pt x="1219" y="1551"/>
                    </a:lnTo>
                    <a:lnTo>
                      <a:pt x="1217" y="1551"/>
                    </a:lnTo>
                    <a:lnTo>
                      <a:pt x="1215" y="1549"/>
                    </a:lnTo>
                    <a:lnTo>
                      <a:pt x="1215" y="1551"/>
                    </a:lnTo>
                    <a:lnTo>
                      <a:pt x="1213" y="1551"/>
                    </a:lnTo>
                    <a:lnTo>
                      <a:pt x="1213" y="1549"/>
                    </a:lnTo>
                    <a:lnTo>
                      <a:pt x="1212" y="1548"/>
                    </a:lnTo>
                    <a:lnTo>
                      <a:pt x="1213" y="1549"/>
                    </a:lnTo>
                    <a:lnTo>
                      <a:pt x="1212" y="1549"/>
                    </a:lnTo>
                    <a:lnTo>
                      <a:pt x="1213" y="1551"/>
                    </a:lnTo>
                    <a:lnTo>
                      <a:pt x="1212" y="1551"/>
                    </a:lnTo>
                    <a:lnTo>
                      <a:pt x="1210" y="1551"/>
                    </a:lnTo>
                    <a:lnTo>
                      <a:pt x="1212" y="1549"/>
                    </a:lnTo>
                    <a:lnTo>
                      <a:pt x="1210" y="1549"/>
                    </a:lnTo>
                    <a:lnTo>
                      <a:pt x="1212" y="1549"/>
                    </a:lnTo>
                    <a:lnTo>
                      <a:pt x="1210" y="1549"/>
                    </a:lnTo>
                    <a:lnTo>
                      <a:pt x="1208" y="1548"/>
                    </a:lnTo>
                    <a:lnTo>
                      <a:pt x="1208" y="1549"/>
                    </a:lnTo>
                    <a:lnTo>
                      <a:pt x="1210" y="1549"/>
                    </a:lnTo>
                    <a:lnTo>
                      <a:pt x="1208" y="1549"/>
                    </a:lnTo>
                    <a:lnTo>
                      <a:pt x="1207" y="1548"/>
                    </a:lnTo>
                    <a:lnTo>
                      <a:pt x="1208" y="1546"/>
                    </a:lnTo>
                    <a:lnTo>
                      <a:pt x="1207" y="1546"/>
                    </a:lnTo>
                    <a:lnTo>
                      <a:pt x="1205" y="1548"/>
                    </a:lnTo>
                    <a:lnTo>
                      <a:pt x="1205" y="1546"/>
                    </a:lnTo>
                    <a:lnTo>
                      <a:pt x="1205" y="1544"/>
                    </a:lnTo>
                    <a:lnTo>
                      <a:pt x="1203" y="1544"/>
                    </a:lnTo>
                    <a:lnTo>
                      <a:pt x="1205" y="1544"/>
                    </a:lnTo>
                    <a:lnTo>
                      <a:pt x="1203" y="1544"/>
                    </a:lnTo>
                    <a:lnTo>
                      <a:pt x="1203" y="1543"/>
                    </a:lnTo>
                    <a:lnTo>
                      <a:pt x="1203" y="1541"/>
                    </a:lnTo>
                    <a:lnTo>
                      <a:pt x="1205" y="1543"/>
                    </a:lnTo>
                    <a:lnTo>
                      <a:pt x="1207" y="1544"/>
                    </a:lnTo>
                    <a:lnTo>
                      <a:pt x="1207" y="1546"/>
                    </a:lnTo>
                    <a:lnTo>
                      <a:pt x="1207" y="1544"/>
                    </a:lnTo>
                    <a:lnTo>
                      <a:pt x="1207" y="1546"/>
                    </a:lnTo>
                    <a:lnTo>
                      <a:pt x="1208" y="1546"/>
                    </a:lnTo>
                    <a:lnTo>
                      <a:pt x="1208" y="1544"/>
                    </a:lnTo>
                    <a:lnTo>
                      <a:pt x="1208" y="1546"/>
                    </a:lnTo>
                    <a:lnTo>
                      <a:pt x="1210" y="1546"/>
                    </a:lnTo>
                    <a:lnTo>
                      <a:pt x="1212" y="1546"/>
                    </a:lnTo>
                    <a:lnTo>
                      <a:pt x="1210" y="1548"/>
                    </a:lnTo>
                    <a:lnTo>
                      <a:pt x="1212" y="1548"/>
                    </a:lnTo>
                    <a:lnTo>
                      <a:pt x="1213" y="1548"/>
                    </a:lnTo>
                    <a:lnTo>
                      <a:pt x="1213" y="1549"/>
                    </a:lnTo>
                    <a:lnTo>
                      <a:pt x="1215" y="1549"/>
                    </a:lnTo>
                    <a:lnTo>
                      <a:pt x="1213" y="1548"/>
                    </a:lnTo>
                    <a:lnTo>
                      <a:pt x="1212" y="1548"/>
                    </a:lnTo>
                    <a:lnTo>
                      <a:pt x="1212" y="1546"/>
                    </a:lnTo>
                    <a:lnTo>
                      <a:pt x="1210" y="1546"/>
                    </a:lnTo>
                    <a:lnTo>
                      <a:pt x="1210" y="1544"/>
                    </a:lnTo>
                    <a:lnTo>
                      <a:pt x="1208" y="1544"/>
                    </a:lnTo>
                    <a:lnTo>
                      <a:pt x="1208" y="1543"/>
                    </a:lnTo>
                    <a:lnTo>
                      <a:pt x="1210" y="1544"/>
                    </a:lnTo>
                    <a:lnTo>
                      <a:pt x="1210" y="1543"/>
                    </a:lnTo>
                    <a:lnTo>
                      <a:pt x="1212" y="1544"/>
                    </a:lnTo>
                    <a:lnTo>
                      <a:pt x="1213" y="1544"/>
                    </a:lnTo>
                    <a:lnTo>
                      <a:pt x="1212" y="1543"/>
                    </a:lnTo>
                    <a:lnTo>
                      <a:pt x="1213" y="1543"/>
                    </a:lnTo>
                    <a:lnTo>
                      <a:pt x="1212" y="1543"/>
                    </a:lnTo>
                    <a:lnTo>
                      <a:pt x="1210" y="1543"/>
                    </a:lnTo>
                    <a:lnTo>
                      <a:pt x="1210" y="1541"/>
                    </a:lnTo>
                    <a:lnTo>
                      <a:pt x="1210" y="1539"/>
                    </a:lnTo>
                    <a:lnTo>
                      <a:pt x="1212" y="1539"/>
                    </a:lnTo>
                    <a:close/>
                    <a:moveTo>
                      <a:pt x="1191" y="1097"/>
                    </a:moveTo>
                    <a:lnTo>
                      <a:pt x="1193" y="1099"/>
                    </a:lnTo>
                    <a:lnTo>
                      <a:pt x="1195" y="1099"/>
                    </a:lnTo>
                    <a:lnTo>
                      <a:pt x="1196" y="1099"/>
                    </a:lnTo>
                    <a:lnTo>
                      <a:pt x="1198" y="1099"/>
                    </a:lnTo>
                    <a:lnTo>
                      <a:pt x="1198" y="1100"/>
                    </a:lnTo>
                    <a:lnTo>
                      <a:pt x="1200" y="1102"/>
                    </a:lnTo>
                    <a:lnTo>
                      <a:pt x="1200" y="1104"/>
                    </a:lnTo>
                    <a:lnTo>
                      <a:pt x="1198" y="1104"/>
                    </a:lnTo>
                    <a:lnTo>
                      <a:pt x="1196" y="1104"/>
                    </a:lnTo>
                    <a:lnTo>
                      <a:pt x="1195" y="1104"/>
                    </a:lnTo>
                    <a:lnTo>
                      <a:pt x="1195" y="1102"/>
                    </a:lnTo>
                    <a:lnTo>
                      <a:pt x="1195" y="1104"/>
                    </a:lnTo>
                    <a:lnTo>
                      <a:pt x="1193" y="1102"/>
                    </a:lnTo>
                    <a:lnTo>
                      <a:pt x="1195" y="1102"/>
                    </a:lnTo>
                    <a:lnTo>
                      <a:pt x="1195" y="1104"/>
                    </a:lnTo>
                    <a:lnTo>
                      <a:pt x="1195" y="1105"/>
                    </a:lnTo>
                    <a:lnTo>
                      <a:pt x="1193" y="1104"/>
                    </a:lnTo>
                    <a:lnTo>
                      <a:pt x="1193" y="1105"/>
                    </a:lnTo>
                    <a:lnTo>
                      <a:pt x="1191" y="1105"/>
                    </a:lnTo>
                    <a:lnTo>
                      <a:pt x="1191" y="1104"/>
                    </a:lnTo>
                    <a:lnTo>
                      <a:pt x="1190" y="1104"/>
                    </a:lnTo>
                    <a:lnTo>
                      <a:pt x="1190" y="1105"/>
                    </a:lnTo>
                    <a:lnTo>
                      <a:pt x="1188" y="1105"/>
                    </a:lnTo>
                    <a:lnTo>
                      <a:pt x="1186" y="1105"/>
                    </a:lnTo>
                    <a:lnTo>
                      <a:pt x="1185" y="1105"/>
                    </a:lnTo>
                    <a:lnTo>
                      <a:pt x="1185" y="1104"/>
                    </a:lnTo>
                    <a:lnTo>
                      <a:pt x="1183" y="1104"/>
                    </a:lnTo>
                    <a:lnTo>
                      <a:pt x="1185" y="1104"/>
                    </a:lnTo>
                    <a:lnTo>
                      <a:pt x="1186" y="1102"/>
                    </a:lnTo>
                    <a:lnTo>
                      <a:pt x="1188" y="1100"/>
                    </a:lnTo>
                    <a:lnTo>
                      <a:pt x="1188" y="1099"/>
                    </a:lnTo>
                    <a:lnTo>
                      <a:pt x="1190" y="1099"/>
                    </a:lnTo>
                    <a:lnTo>
                      <a:pt x="1191" y="1097"/>
                    </a:lnTo>
                    <a:close/>
                    <a:moveTo>
                      <a:pt x="1174" y="1449"/>
                    </a:moveTo>
                    <a:lnTo>
                      <a:pt x="1174" y="1451"/>
                    </a:lnTo>
                    <a:lnTo>
                      <a:pt x="1174" y="1453"/>
                    </a:lnTo>
                    <a:lnTo>
                      <a:pt x="1176" y="1453"/>
                    </a:lnTo>
                    <a:lnTo>
                      <a:pt x="1174" y="1453"/>
                    </a:lnTo>
                    <a:lnTo>
                      <a:pt x="1174" y="1454"/>
                    </a:lnTo>
                    <a:lnTo>
                      <a:pt x="1173" y="1454"/>
                    </a:lnTo>
                    <a:lnTo>
                      <a:pt x="1173" y="1456"/>
                    </a:lnTo>
                    <a:lnTo>
                      <a:pt x="1174" y="1456"/>
                    </a:lnTo>
                    <a:lnTo>
                      <a:pt x="1174" y="1454"/>
                    </a:lnTo>
                    <a:lnTo>
                      <a:pt x="1176" y="1454"/>
                    </a:lnTo>
                    <a:lnTo>
                      <a:pt x="1176" y="1453"/>
                    </a:lnTo>
                    <a:lnTo>
                      <a:pt x="1176" y="1454"/>
                    </a:lnTo>
                    <a:lnTo>
                      <a:pt x="1176" y="1456"/>
                    </a:lnTo>
                    <a:lnTo>
                      <a:pt x="1176" y="1454"/>
                    </a:lnTo>
                    <a:lnTo>
                      <a:pt x="1176" y="1453"/>
                    </a:lnTo>
                    <a:lnTo>
                      <a:pt x="1176" y="1454"/>
                    </a:lnTo>
                    <a:lnTo>
                      <a:pt x="1176" y="1456"/>
                    </a:lnTo>
                    <a:lnTo>
                      <a:pt x="1176" y="1458"/>
                    </a:lnTo>
                    <a:lnTo>
                      <a:pt x="1174" y="1458"/>
                    </a:lnTo>
                    <a:lnTo>
                      <a:pt x="1173" y="1458"/>
                    </a:lnTo>
                    <a:lnTo>
                      <a:pt x="1174" y="1459"/>
                    </a:lnTo>
                    <a:lnTo>
                      <a:pt x="1173" y="1461"/>
                    </a:lnTo>
                    <a:lnTo>
                      <a:pt x="1173" y="1463"/>
                    </a:lnTo>
                    <a:lnTo>
                      <a:pt x="1173" y="1461"/>
                    </a:lnTo>
                    <a:lnTo>
                      <a:pt x="1173" y="1463"/>
                    </a:lnTo>
                    <a:lnTo>
                      <a:pt x="1173" y="1461"/>
                    </a:lnTo>
                    <a:lnTo>
                      <a:pt x="1174" y="1461"/>
                    </a:lnTo>
                    <a:lnTo>
                      <a:pt x="1174" y="1463"/>
                    </a:lnTo>
                    <a:lnTo>
                      <a:pt x="1173" y="1463"/>
                    </a:lnTo>
                    <a:lnTo>
                      <a:pt x="1173" y="1464"/>
                    </a:lnTo>
                    <a:lnTo>
                      <a:pt x="1173" y="1466"/>
                    </a:lnTo>
                    <a:lnTo>
                      <a:pt x="1173" y="1464"/>
                    </a:lnTo>
                    <a:lnTo>
                      <a:pt x="1171" y="1466"/>
                    </a:lnTo>
                    <a:lnTo>
                      <a:pt x="1173" y="1466"/>
                    </a:lnTo>
                    <a:lnTo>
                      <a:pt x="1171" y="1466"/>
                    </a:lnTo>
                    <a:lnTo>
                      <a:pt x="1171" y="1468"/>
                    </a:lnTo>
                    <a:lnTo>
                      <a:pt x="1169" y="1468"/>
                    </a:lnTo>
                    <a:lnTo>
                      <a:pt x="1169" y="1470"/>
                    </a:lnTo>
                    <a:lnTo>
                      <a:pt x="1169" y="1471"/>
                    </a:lnTo>
                    <a:lnTo>
                      <a:pt x="1168" y="1471"/>
                    </a:lnTo>
                    <a:lnTo>
                      <a:pt x="1168" y="1470"/>
                    </a:lnTo>
                    <a:lnTo>
                      <a:pt x="1166" y="1470"/>
                    </a:lnTo>
                    <a:lnTo>
                      <a:pt x="1168" y="1468"/>
                    </a:lnTo>
                    <a:lnTo>
                      <a:pt x="1168" y="1466"/>
                    </a:lnTo>
                    <a:lnTo>
                      <a:pt x="1169" y="1466"/>
                    </a:lnTo>
                    <a:lnTo>
                      <a:pt x="1169" y="1464"/>
                    </a:lnTo>
                    <a:lnTo>
                      <a:pt x="1171" y="1464"/>
                    </a:lnTo>
                    <a:lnTo>
                      <a:pt x="1169" y="1464"/>
                    </a:lnTo>
                    <a:lnTo>
                      <a:pt x="1169" y="1463"/>
                    </a:lnTo>
                    <a:lnTo>
                      <a:pt x="1169" y="1464"/>
                    </a:lnTo>
                    <a:lnTo>
                      <a:pt x="1168" y="1464"/>
                    </a:lnTo>
                    <a:lnTo>
                      <a:pt x="1169" y="1464"/>
                    </a:lnTo>
                    <a:lnTo>
                      <a:pt x="1168" y="1464"/>
                    </a:lnTo>
                    <a:lnTo>
                      <a:pt x="1169" y="1463"/>
                    </a:lnTo>
                    <a:lnTo>
                      <a:pt x="1169" y="1461"/>
                    </a:lnTo>
                    <a:lnTo>
                      <a:pt x="1171" y="1459"/>
                    </a:lnTo>
                    <a:lnTo>
                      <a:pt x="1169" y="1461"/>
                    </a:lnTo>
                    <a:lnTo>
                      <a:pt x="1169" y="1459"/>
                    </a:lnTo>
                    <a:lnTo>
                      <a:pt x="1169" y="1458"/>
                    </a:lnTo>
                    <a:lnTo>
                      <a:pt x="1171" y="1458"/>
                    </a:lnTo>
                    <a:lnTo>
                      <a:pt x="1171" y="1456"/>
                    </a:lnTo>
                    <a:lnTo>
                      <a:pt x="1171" y="1454"/>
                    </a:lnTo>
                    <a:lnTo>
                      <a:pt x="1171" y="1453"/>
                    </a:lnTo>
                    <a:lnTo>
                      <a:pt x="1173" y="1454"/>
                    </a:lnTo>
                    <a:lnTo>
                      <a:pt x="1173" y="1453"/>
                    </a:lnTo>
                    <a:lnTo>
                      <a:pt x="1173" y="1454"/>
                    </a:lnTo>
                    <a:lnTo>
                      <a:pt x="1173" y="1453"/>
                    </a:lnTo>
                    <a:lnTo>
                      <a:pt x="1173" y="1454"/>
                    </a:lnTo>
                    <a:lnTo>
                      <a:pt x="1173" y="1453"/>
                    </a:lnTo>
                    <a:lnTo>
                      <a:pt x="1171" y="1453"/>
                    </a:lnTo>
                    <a:lnTo>
                      <a:pt x="1173" y="1451"/>
                    </a:lnTo>
                    <a:lnTo>
                      <a:pt x="1174" y="1449"/>
                    </a:lnTo>
                    <a:close/>
                    <a:moveTo>
                      <a:pt x="1186" y="1075"/>
                    </a:moveTo>
                    <a:lnTo>
                      <a:pt x="1188" y="1075"/>
                    </a:lnTo>
                    <a:lnTo>
                      <a:pt x="1188" y="1077"/>
                    </a:lnTo>
                    <a:lnTo>
                      <a:pt x="1190" y="1078"/>
                    </a:lnTo>
                    <a:lnTo>
                      <a:pt x="1190" y="1080"/>
                    </a:lnTo>
                    <a:lnTo>
                      <a:pt x="1188" y="1080"/>
                    </a:lnTo>
                    <a:lnTo>
                      <a:pt x="1186" y="1080"/>
                    </a:lnTo>
                    <a:lnTo>
                      <a:pt x="1185" y="1080"/>
                    </a:lnTo>
                    <a:lnTo>
                      <a:pt x="1186" y="1080"/>
                    </a:lnTo>
                    <a:lnTo>
                      <a:pt x="1188" y="1080"/>
                    </a:lnTo>
                    <a:lnTo>
                      <a:pt x="1190" y="1080"/>
                    </a:lnTo>
                    <a:lnTo>
                      <a:pt x="1190" y="1078"/>
                    </a:lnTo>
                    <a:lnTo>
                      <a:pt x="1191" y="1080"/>
                    </a:lnTo>
                    <a:lnTo>
                      <a:pt x="1191" y="1082"/>
                    </a:lnTo>
                    <a:lnTo>
                      <a:pt x="1191" y="1080"/>
                    </a:lnTo>
                    <a:lnTo>
                      <a:pt x="1191" y="1082"/>
                    </a:lnTo>
                    <a:lnTo>
                      <a:pt x="1193" y="1083"/>
                    </a:lnTo>
                    <a:lnTo>
                      <a:pt x="1191" y="1083"/>
                    </a:lnTo>
                    <a:lnTo>
                      <a:pt x="1190" y="1083"/>
                    </a:lnTo>
                    <a:lnTo>
                      <a:pt x="1188" y="1083"/>
                    </a:lnTo>
                    <a:lnTo>
                      <a:pt x="1186" y="1083"/>
                    </a:lnTo>
                    <a:lnTo>
                      <a:pt x="1185" y="1083"/>
                    </a:lnTo>
                    <a:lnTo>
                      <a:pt x="1185" y="1082"/>
                    </a:lnTo>
                    <a:lnTo>
                      <a:pt x="1185" y="1080"/>
                    </a:lnTo>
                    <a:lnTo>
                      <a:pt x="1183" y="1080"/>
                    </a:lnTo>
                    <a:lnTo>
                      <a:pt x="1181" y="1080"/>
                    </a:lnTo>
                    <a:lnTo>
                      <a:pt x="1183" y="1080"/>
                    </a:lnTo>
                    <a:lnTo>
                      <a:pt x="1183" y="1082"/>
                    </a:lnTo>
                    <a:lnTo>
                      <a:pt x="1185" y="1083"/>
                    </a:lnTo>
                    <a:lnTo>
                      <a:pt x="1183" y="1083"/>
                    </a:lnTo>
                    <a:lnTo>
                      <a:pt x="1183" y="1082"/>
                    </a:lnTo>
                    <a:lnTo>
                      <a:pt x="1183" y="1083"/>
                    </a:lnTo>
                    <a:lnTo>
                      <a:pt x="1183" y="1082"/>
                    </a:lnTo>
                    <a:lnTo>
                      <a:pt x="1183" y="1083"/>
                    </a:lnTo>
                    <a:lnTo>
                      <a:pt x="1183" y="1082"/>
                    </a:lnTo>
                    <a:lnTo>
                      <a:pt x="1181" y="1082"/>
                    </a:lnTo>
                    <a:lnTo>
                      <a:pt x="1179" y="1082"/>
                    </a:lnTo>
                    <a:lnTo>
                      <a:pt x="1178" y="1080"/>
                    </a:lnTo>
                    <a:lnTo>
                      <a:pt x="1178" y="1078"/>
                    </a:lnTo>
                    <a:lnTo>
                      <a:pt x="1179" y="1077"/>
                    </a:lnTo>
                    <a:lnTo>
                      <a:pt x="1181" y="1077"/>
                    </a:lnTo>
                    <a:lnTo>
                      <a:pt x="1183" y="1077"/>
                    </a:lnTo>
                    <a:lnTo>
                      <a:pt x="1183" y="1078"/>
                    </a:lnTo>
                    <a:lnTo>
                      <a:pt x="1185" y="1077"/>
                    </a:lnTo>
                    <a:lnTo>
                      <a:pt x="1186" y="1075"/>
                    </a:lnTo>
                    <a:close/>
                    <a:moveTo>
                      <a:pt x="1169" y="1390"/>
                    </a:moveTo>
                    <a:lnTo>
                      <a:pt x="1169" y="1391"/>
                    </a:lnTo>
                    <a:lnTo>
                      <a:pt x="1171" y="1390"/>
                    </a:lnTo>
                    <a:lnTo>
                      <a:pt x="1171" y="1391"/>
                    </a:lnTo>
                    <a:lnTo>
                      <a:pt x="1173" y="1391"/>
                    </a:lnTo>
                    <a:lnTo>
                      <a:pt x="1171" y="1393"/>
                    </a:lnTo>
                    <a:lnTo>
                      <a:pt x="1171" y="1391"/>
                    </a:lnTo>
                    <a:lnTo>
                      <a:pt x="1171" y="1393"/>
                    </a:lnTo>
                    <a:lnTo>
                      <a:pt x="1171" y="1395"/>
                    </a:lnTo>
                    <a:lnTo>
                      <a:pt x="1169" y="1393"/>
                    </a:lnTo>
                    <a:lnTo>
                      <a:pt x="1169" y="1395"/>
                    </a:lnTo>
                    <a:lnTo>
                      <a:pt x="1171" y="1395"/>
                    </a:lnTo>
                    <a:lnTo>
                      <a:pt x="1169" y="1395"/>
                    </a:lnTo>
                    <a:lnTo>
                      <a:pt x="1171" y="1396"/>
                    </a:lnTo>
                    <a:lnTo>
                      <a:pt x="1171" y="1395"/>
                    </a:lnTo>
                    <a:lnTo>
                      <a:pt x="1173" y="1396"/>
                    </a:lnTo>
                    <a:lnTo>
                      <a:pt x="1173" y="1398"/>
                    </a:lnTo>
                    <a:lnTo>
                      <a:pt x="1171" y="1398"/>
                    </a:lnTo>
                    <a:lnTo>
                      <a:pt x="1169" y="1398"/>
                    </a:lnTo>
                    <a:lnTo>
                      <a:pt x="1171" y="1398"/>
                    </a:lnTo>
                    <a:lnTo>
                      <a:pt x="1173" y="1398"/>
                    </a:lnTo>
                    <a:lnTo>
                      <a:pt x="1171" y="1400"/>
                    </a:lnTo>
                    <a:lnTo>
                      <a:pt x="1173" y="1400"/>
                    </a:lnTo>
                    <a:lnTo>
                      <a:pt x="1173" y="1401"/>
                    </a:lnTo>
                    <a:lnTo>
                      <a:pt x="1173" y="1400"/>
                    </a:lnTo>
                    <a:lnTo>
                      <a:pt x="1173" y="1398"/>
                    </a:lnTo>
                    <a:lnTo>
                      <a:pt x="1173" y="1396"/>
                    </a:lnTo>
                    <a:lnTo>
                      <a:pt x="1174" y="1398"/>
                    </a:lnTo>
                    <a:lnTo>
                      <a:pt x="1174" y="1400"/>
                    </a:lnTo>
                    <a:lnTo>
                      <a:pt x="1174" y="1401"/>
                    </a:lnTo>
                    <a:lnTo>
                      <a:pt x="1173" y="1401"/>
                    </a:lnTo>
                    <a:lnTo>
                      <a:pt x="1173" y="1403"/>
                    </a:lnTo>
                    <a:lnTo>
                      <a:pt x="1171" y="1403"/>
                    </a:lnTo>
                    <a:lnTo>
                      <a:pt x="1171" y="1401"/>
                    </a:lnTo>
                    <a:lnTo>
                      <a:pt x="1169" y="1401"/>
                    </a:lnTo>
                    <a:lnTo>
                      <a:pt x="1168" y="1401"/>
                    </a:lnTo>
                    <a:lnTo>
                      <a:pt x="1166" y="1400"/>
                    </a:lnTo>
                    <a:lnTo>
                      <a:pt x="1168" y="1400"/>
                    </a:lnTo>
                    <a:lnTo>
                      <a:pt x="1166" y="1400"/>
                    </a:lnTo>
                    <a:lnTo>
                      <a:pt x="1164" y="1400"/>
                    </a:lnTo>
                    <a:lnTo>
                      <a:pt x="1164" y="1398"/>
                    </a:lnTo>
                    <a:lnTo>
                      <a:pt x="1166" y="1398"/>
                    </a:lnTo>
                    <a:lnTo>
                      <a:pt x="1168" y="1400"/>
                    </a:lnTo>
                    <a:lnTo>
                      <a:pt x="1166" y="1398"/>
                    </a:lnTo>
                    <a:lnTo>
                      <a:pt x="1168" y="1398"/>
                    </a:lnTo>
                    <a:lnTo>
                      <a:pt x="1166" y="1398"/>
                    </a:lnTo>
                    <a:lnTo>
                      <a:pt x="1168" y="1398"/>
                    </a:lnTo>
                    <a:lnTo>
                      <a:pt x="1166" y="1398"/>
                    </a:lnTo>
                    <a:lnTo>
                      <a:pt x="1164" y="1396"/>
                    </a:lnTo>
                    <a:lnTo>
                      <a:pt x="1166" y="1396"/>
                    </a:lnTo>
                    <a:lnTo>
                      <a:pt x="1166" y="1398"/>
                    </a:lnTo>
                    <a:lnTo>
                      <a:pt x="1168" y="1398"/>
                    </a:lnTo>
                    <a:lnTo>
                      <a:pt x="1168" y="1396"/>
                    </a:lnTo>
                    <a:lnTo>
                      <a:pt x="1166" y="1396"/>
                    </a:lnTo>
                    <a:lnTo>
                      <a:pt x="1164" y="1396"/>
                    </a:lnTo>
                    <a:lnTo>
                      <a:pt x="1164" y="1395"/>
                    </a:lnTo>
                    <a:lnTo>
                      <a:pt x="1166" y="1396"/>
                    </a:lnTo>
                    <a:lnTo>
                      <a:pt x="1168" y="1396"/>
                    </a:lnTo>
                    <a:lnTo>
                      <a:pt x="1166" y="1396"/>
                    </a:lnTo>
                    <a:lnTo>
                      <a:pt x="1166" y="1395"/>
                    </a:lnTo>
                    <a:lnTo>
                      <a:pt x="1164" y="1395"/>
                    </a:lnTo>
                    <a:lnTo>
                      <a:pt x="1166" y="1395"/>
                    </a:lnTo>
                    <a:lnTo>
                      <a:pt x="1164" y="1395"/>
                    </a:lnTo>
                    <a:lnTo>
                      <a:pt x="1164" y="1393"/>
                    </a:lnTo>
                    <a:lnTo>
                      <a:pt x="1166" y="1393"/>
                    </a:lnTo>
                    <a:lnTo>
                      <a:pt x="1168" y="1393"/>
                    </a:lnTo>
                    <a:lnTo>
                      <a:pt x="1168" y="1395"/>
                    </a:lnTo>
                    <a:lnTo>
                      <a:pt x="1166" y="1393"/>
                    </a:lnTo>
                    <a:lnTo>
                      <a:pt x="1168" y="1395"/>
                    </a:lnTo>
                    <a:lnTo>
                      <a:pt x="1169" y="1393"/>
                    </a:lnTo>
                    <a:lnTo>
                      <a:pt x="1168" y="1393"/>
                    </a:lnTo>
                    <a:lnTo>
                      <a:pt x="1168" y="1391"/>
                    </a:lnTo>
                    <a:lnTo>
                      <a:pt x="1166" y="1391"/>
                    </a:lnTo>
                    <a:lnTo>
                      <a:pt x="1164" y="1391"/>
                    </a:lnTo>
                    <a:lnTo>
                      <a:pt x="1164" y="1390"/>
                    </a:lnTo>
                    <a:lnTo>
                      <a:pt x="1166" y="1391"/>
                    </a:lnTo>
                    <a:lnTo>
                      <a:pt x="1166" y="1390"/>
                    </a:lnTo>
                    <a:lnTo>
                      <a:pt x="1168" y="1390"/>
                    </a:lnTo>
                    <a:lnTo>
                      <a:pt x="1168" y="1391"/>
                    </a:lnTo>
                    <a:lnTo>
                      <a:pt x="1169" y="1391"/>
                    </a:lnTo>
                    <a:lnTo>
                      <a:pt x="1169" y="1393"/>
                    </a:lnTo>
                    <a:lnTo>
                      <a:pt x="1169" y="1391"/>
                    </a:lnTo>
                    <a:lnTo>
                      <a:pt x="1168" y="1390"/>
                    </a:lnTo>
                    <a:lnTo>
                      <a:pt x="1169" y="1390"/>
                    </a:lnTo>
                    <a:close/>
                    <a:moveTo>
                      <a:pt x="1195" y="1114"/>
                    </a:moveTo>
                    <a:lnTo>
                      <a:pt x="1196" y="1114"/>
                    </a:lnTo>
                    <a:lnTo>
                      <a:pt x="1195" y="1114"/>
                    </a:lnTo>
                    <a:lnTo>
                      <a:pt x="1196" y="1116"/>
                    </a:lnTo>
                    <a:lnTo>
                      <a:pt x="1196" y="1117"/>
                    </a:lnTo>
                    <a:lnTo>
                      <a:pt x="1198" y="1117"/>
                    </a:lnTo>
                    <a:lnTo>
                      <a:pt x="1200" y="1117"/>
                    </a:lnTo>
                    <a:lnTo>
                      <a:pt x="1202" y="1116"/>
                    </a:lnTo>
                    <a:lnTo>
                      <a:pt x="1203" y="1116"/>
                    </a:lnTo>
                    <a:lnTo>
                      <a:pt x="1203" y="1117"/>
                    </a:lnTo>
                    <a:lnTo>
                      <a:pt x="1203" y="1119"/>
                    </a:lnTo>
                    <a:lnTo>
                      <a:pt x="1205" y="1119"/>
                    </a:lnTo>
                    <a:lnTo>
                      <a:pt x="1205" y="1121"/>
                    </a:lnTo>
                    <a:lnTo>
                      <a:pt x="1205" y="1122"/>
                    </a:lnTo>
                    <a:lnTo>
                      <a:pt x="1203" y="1121"/>
                    </a:lnTo>
                    <a:lnTo>
                      <a:pt x="1203" y="1122"/>
                    </a:lnTo>
                    <a:lnTo>
                      <a:pt x="1203" y="1121"/>
                    </a:lnTo>
                    <a:lnTo>
                      <a:pt x="1202" y="1122"/>
                    </a:lnTo>
                    <a:lnTo>
                      <a:pt x="1202" y="1121"/>
                    </a:lnTo>
                    <a:lnTo>
                      <a:pt x="1200" y="1121"/>
                    </a:lnTo>
                    <a:lnTo>
                      <a:pt x="1200" y="1122"/>
                    </a:lnTo>
                    <a:lnTo>
                      <a:pt x="1198" y="1122"/>
                    </a:lnTo>
                    <a:lnTo>
                      <a:pt x="1200" y="1121"/>
                    </a:lnTo>
                    <a:lnTo>
                      <a:pt x="1198" y="1122"/>
                    </a:lnTo>
                    <a:lnTo>
                      <a:pt x="1196" y="1122"/>
                    </a:lnTo>
                    <a:lnTo>
                      <a:pt x="1196" y="1121"/>
                    </a:lnTo>
                    <a:lnTo>
                      <a:pt x="1195" y="1121"/>
                    </a:lnTo>
                    <a:lnTo>
                      <a:pt x="1193" y="1121"/>
                    </a:lnTo>
                    <a:lnTo>
                      <a:pt x="1193" y="1119"/>
                    </a:lnTo>
                    <a:lnTo>
                      <a:pt x="1193" y="1121"/>
                    </a:lnTo>
                    <a:lnTo>
                      <a:pt x="1193" y="1122"/>
                    </a:lnTo>
                    <a:lnTo>
                      <a:pt x="1193" y="1121"/>
                    </a:lnTo>
                    <a:lnTo>
                      <a:pt x="1193" y="1119"/>
                    </a:lnTo>
                    <a:lnTo>
                      <a:pt x="1191" y="1121"/>
                    </a:lnTo>
                    <a:lnTo>
                      <a:pt x="1193" y="1119"/>
                    </a:lnTo>
                    <a:lnTo>
                      <a:pt x="1191" y="1119"/>
                    </a:lnTo>
                    <a:lnTo>
                      <a:pt x="1191" y="1117"/>
                    </a:lnTo>
                    <a:lnTo>
                      <a:pt x="1191" y="1116"/>
                    </a:lnTo>
                    <a:lnTo>
                      <a:pt x="1191" y="1114"/>
                    </a:lnTo>
                    <a:lnTo>
                      <a:pt x="1193" y="1116"/>
                    </a:lnTo>
                    <a:lnTo>
                      <a:pt x="1195" y="1114"/>
                    </a:lnTo>
                    <a:close/>
                    <a:moveTo>
                      <a:pt x="1288" y="1623"/>
                    </a:moveTo>
                    <a:lnTo>
                      <a:pt x="1290" y="1623"/>
                    </a:lnTo>
                    <a:lnTo>
                      <a:pt x="1292" y="1623"/>
                    </a:lnTo>
                    <a:lnTo>
                      <a:pt x="1290" y="1623"/>
                    </a:lnTo>
                    <a:lnTo>
                      <a:pt x="1292" y="1621"/>
                    </a:lnTo>
                    <a:lnTo>
                      <a:pt x="1292" y="1623"/>
                    </a:lnTo>
                    <a:lnTo>
                      <a:pt x="1293" y="1623"/>
                    </a:lnTo>
                    <a:lnTo>
                      <a:pt x="1293" y="1624"/>
                    </a:lnTo>
                    <a:lnTo>
                      <a:pt x="1293" y="1623"/>
                    </a:lnTo>
                    <a:lnTo>
                      <a:pt x="1293" y="1624"/>
                    </a:lnTo>
                    <a:lnTo>
                      <a:pt x="1295" y="1624"/>
                    </a:lnTo>
                    <a:lnTo>
                      <a:pt x="1295" y="1626"/>
                    </a:lnTo>
                    <a:lnTo>
                      <a:pt x="1297" y="1624"/>
                    </a:lnTo>
                    <a:lnTo>
                      <a:pt x="1298" y="1624"/>
                    </a:lnTo>
                    <a:lnTo>
                      <a:pt x="1297" y="1624"/>
                    </a:lnTo>
                    <a:lnTo>
                      <a:pt x="1297" y="1626"/>
                    </a:lnTo>
                    <a:lnTo>
                      <a:pt x="1298" y="1626"/>
                    </a:lnTo>
                    <a:lnTo>
                      <a:pt x="1300" y="1626"/>
                    </a:lnTo>
                    <a:lnTo>
                      <a:pt x="1298" y="1628"/>
                    </a:lnTo>
                    <a:lnTo>
                      <a:pt x="1297" y="1628"/>
                    </a:lnTo>
                    <a:lnTo>
                      <a:pt x="1298" y="1628"/>
                    </a:lnTo>
                    <a:lnTo>
                      <a:pt x="1300" y="1628"/>
                    </a:lnTo>
                    <a:lnTo>
                      <a:pt x="1298" y="1629"/>
                    </a:lnTo>
                    <a:lnTo>
                      <a:pt x="1298" y="1628"/>
                    </a:lnTo>
                    <a:lnTo>
                      <a:pt x="1297" y="1628"/>
                    </a:lnTo>
                    <a:lnTo>
                      <a:pt x="1297" y="1629"/>
                    </a:lnTo>
                    <a:lnTo>
                      <a:pt x="1295" y="1629"/>
                    </a:lnTo>
                    <a:lnTo>
                      <a:pt x="1293" y="1629"/>
                    </a:lnTo>
                    <a:lnTo>
                      <a:pt x="1293" y="1628"/>
                    </a:lnTo>
                    <a:lnTo>
                      <a:pt x="1292" y="1629"/>
                    </a:lnTo>
                    <a:lnTo>
                      <a:pt x="1292" y="1628"/>
                    </a:lnTo>
                    <a:lnTo>
                      <a:pt x="1293" y="1628"/>
                    </a:lnTo>
                    <a:lnTo>
                      <a:pt x="1295" y="1626"/>
                    </a:lnTo>
                    <a:lnTo>
                      <a:pt x="1293" y="1626"/>
                    </a:lnTo>
                    <a:lnTo>
                      <a:pt x="1292" y="1626"/>
                    </a:lnTo>
                    <a:lnTo>
                      <a:pt x="1292" y="1628"/>
                    </a:lnTo>
                    <a:lnTo>
                      <a:pt x="1292" y="1626"/>
                    </a:lnTo>
                    <a:lnTo>
                      <a:pt x="1292" y="1628"/>
                    </a:lnTo>
                    <a:lnTo>
                      <a:pt x="1290" y="1628"/>
                    </a:lnTo>
                    <a:lnTo>
                      <a:pt x="1290" y="1626"/>
                    </a:lnTo>
                    <a:lnTo>
                      <a:pt x="1290" y="1624"/>
                    </a:lnTo>
                    <a:lnTo>
                      <a:pt x="1292" y="1624"/>
                    </a:lnTo>
                    <a:lnTo>
                      <a:pt x="1290" y="1624"/>
                    </a:lnTo>
                    <a:lnTo>
                      <a:pt x="1288" y="1626"/>
                    </a:lnTo>
                    <a:lnTo>
                      <a:pt x="1288" y="1624"/>
                    </a:lnTo>
                    <a:lnTo>
                      <a:pt x="1287" y="1624"/>
                    </a:lnTo>
                    <a:lnTo>
                      <a:pt x="1288" y="1624"/>
                    </a:lnTo>
                    <a:lnTo>
                      <a:pt x="1288" y="1626"/>
                    </a:lnTo>
                    <a:lnTo>
                      <a:pt x="1287" y="1626"/>
                    </a:lnTo>
                    <a:lnTo>
                      <a:pt x="1287" y="1628"/>
                    </a:lnTo>
                    <a:lnTo>
                      <a:pt x="1285" y="1628"/>
                    </a:lnTo>
                    <a:lnTo>
                      <a:pt x="1287" y="1629"/>
                    </a:lnTo>
                    <a:lnTo>
                      <a:pt x="1285" y="1629"/>
                    </a:lnTo>
                    <a:lnTo>
                      <a:pt x="1285" y="1628"/>
                    </a:lnTo>
                    <a:lnTo>
                      <a:pt x="1285" y="1626"/>
                    </a:lnTo>
                    <a:lnTo>
                      <a:pt x="1285" y="1628"/>
                    </a:lnTo>
                    <a:lnTo>
                      <a:pt x="1283" y="1628"/>
                    </a:lnTo>
                    <a:lnTo>
                      <a:pt x="1283" y="1629"/>
                    </a:lnTo>
                    <a:lnTo>
                      <a:pt x="1281" y="1629"/>
                    </a:lnTo>
                    <a:lnTo>
                      <a:pt x="1281" y="1628"/>
                    </a:lnTo>
                    <a:lnTo>
                      <a:pt x="1283" y="1626"/>
                    </a:lnTo>
                    <a:lnTo>
                      <a:pt x="1281" y="1626"/>
                    </a:lnTo>
                    <a:lnTo>
                      <a:pt x="1281" y="1624"/>
                    </a:lnTo>
                    <a:lnTo>
                      <a:pt x="1283" y="1624"/>
                    </a:lnTo>
                    <a:lnTo>
                      <a:pt x="1283" y="1623"/>
                    </a:lnTo>
                    <a:lnTo>
                      <a:pt x="1283" y="1621"/>
                    </a:lnTo>
                    <a:lnTo>
                      <a:pt x="1285" y="1623"/>
                    </a:lnTo>
                    <a:lnTo>
                      <a:pt x="1285" y="1621"/>
                    </a:lnTo>
                    <a:lnTo>
                      <a:pt x="1287" y="1623"/>
                    </a:lnTo>
                    <a:lnTo>
                      <a:pt x="1288" y="1623"/>
                    </a:lnTo>
                    <a:lnTo>
                      <a:pt x="1287" y="1621"/>
                    </a:lnTo>
                    <a:lnTo>
                      <a:pt x="1288" y="1623"/>
                    </a:lnTo>
                    <a:close/>
                    <a:moveTo>
                      <a:pt x="1207" y="1082"/>
                    </a:moveTo>
                    <a:lnTo>
                      <a:pt x="1208" y="1083"/>
                    </a:lnTo>
                    <a:lnTo>
                      <a:pt x="1210" y="1083"/>
                    </a:lnTo>
                    <a:lnTo>
                      <a:pt x="1208" y="1085"/>
                    </a:lnTo>
                    <a:lnTo>
                      <a:pt x="1208" y="1083"/>
                    </a:lnTo>
                    <a:lnTo>
                      <a:pt x="1207" y="1083"/>
                    </a:lnTo>
                    <a:lnTo>
                      <a:pt x="1208" y="1083"/>
                    </a:lnTo>
                    <a:lnTo>
                      <a:pt x="1208" y="1085"/>
                    </a:lnTo>
                    <a:lnTo>
                      <a:pt x="1210" y="1085"/>
                    </a:lnTo>
                    <a:lnTo>
                      <a:pt x="1210" y="1087"/>
                    </a:lnTo>
                    <a:lnTo>
                      <a:pt x="1208" y="1087"/>
                    </a:lnTo>
                    <a:lnTo>
                      <a:pt x="1210" y="1088"/>
                    </a:lnTo>
                    <a:lnTo>
                      <a:pt x="1208" y="1088"/>
                    </a:lnTo>
                    <a:lnTo>
                      <a:pt x="1208" y="1090"/>
                    </a:lnTo>
                    <a:lnTo>
                      <a:pt x="1207" y="1090"/>
                    </a:lnTo>
                    <a:lnTo>
                      <a:pt x="1207" y="1092"/>
                    </a:lnTo>
                    <a:lnTo>
                      <a:pt x="1207" y="1090"/>
                    </a:lnTo>
                    <a:lnTo>
                      <a:pt x="1208" y="1090"/>
                    </a:lnTo>
                    <a:lnTo>
                      <a:pt x="1208" y="1088"/>
                    </a:lnTo>
                    <a:lnTo>
                      <a:pt x="1210" y="1088"/>
                    </a:lnTo>
                    <a:lnTo>
                      <a:pt x="1210" y="1090"/>
                    </a:lnTo>
                    <a:lnTo>
                      <a:pt x="1212" y="1090"/>
                    </a:lnTo>
                    <a:lnTo>
                      <a:pt x="1210" y="1090"/>
                    </a:lnTo>
                    <a:lnTo>
                      <a:pt x="1210" y="1092"/>
                    </a:lnTo>
                    <a:lnTo>
                      <a:pt x="1210" y="1090"/>
                    </a:lnTo>
                    <a:lnTo>
                      <a:pt x="1210" y="1092"/>
                    </a:lnTo>
                    <a:lnTo>
                      <a:pt x="1210" y="1090"/>
                    </a:lnTo>
                    <a:lnTo>
                      <a:pt x="1208" y="1092"/>
                    </a:lnTo>
                    <a:lnTo>
                      <a:pt x="1207" y="1092"/>
                    </a:lnTo>
                    <a:lnTo>
                      <a:pt x="1205" y="1092"/>
                    </a:lnTo>
                    <a:lnTo>
                      <a:pt x="1205" y="1090"/>
                    </a:lnTo>
                    <a:lnTo>
                      <a:pt x="1203" y="1090"/>
                    </a:lnTo>
                    <a:lnTo>
                      <a:pt x="1203" y="1088"/>
                    </a:lnTo>
                    <a:lnTo>
                      <a:pt x="1202" y="1088"/>
                    </a:lnTo>
                    <a:lnTo>
                      <a:pt x="1202" y="1087"/>
                    </a:lnTo>
                    <a:lnTo>
                      <a:pt x="1200" y="1085"/>
                    </a:lnTo>
                    <a:lnTo>
                      <a:pt x="1202" y="1085"/>
                    </a:lnTo>
                    <a:lnTo>
                      <a:pt x="1203" y="1087"/>
                    </a:lnTo>
                    <a:lnTo>
                      <a:pt x="1203" y="1088"/>
                    </a:lnTo>
                    <a:lnTo>
                      <a:pt x="1203" y="1087"/>
                    </a:lnTo>
                    <a:lnTo>
                      <a:pt x="1203" y="1085"/>
                    </a:lnTo>
                    <a:lnTo>
                      <a:pt x="1203" y="1083"/>
                    </a:lnTo>
                    <a:lnTo>
                      <a:pt x="1205" y="1083"/>
                    </a:lnTo>
                    <a:lnTo>
                      <a:pt x="1205" y="1082"/>
                    </a:lnTo>
                    <a:lnTo>
                      <a:pt x="1205" y="1083"/>
                    </a:lnTo>
                    <a:lnTo>
                      <a:pt x="1207" y="1082"/>
                    </a:lnTo>
                    <a:close/>
                    <a:moveTo>
                      <a:pt x="1207" y="1145"/>
                    </a:moveTo>
                    <a:lnTo>
                      <a:pt x="1207" y="1146"/>
                    </a:lnTo>
                    <a:lnTo>
                      <a:pt x="1208" y="1146"/>
                    </a:lnTo>
                    <a:lnTo>
                      <a:pt x="1208" y="1148"/>
                    </a:lnTo>
                    <a:lnTo>
                      <a:pt x="1207" y="1148"/>
                    </a:lnTo>
                    <a:lnTo>
                      <a:pt x="1208" y="1148"/>
                    </a:lnTo>
                    <a:lnTo>
                      <a:pt x="1208" y="1150"/>
                    </a:lnTo>
                    <a:lnTo>
                      <a:pt x="1207" y="1150"/>
                    </a:lnTo>
                    <a:lnTo>
                      <a:pt x="1208" y="1150"/>
                    </a:lnTo>
                    <a:lnTo>
                      <a:pt x="1208" y="1151"/>
                    </a:lnTo>
                    <a:lnTo>
                      <a:pt x="1207" y="1151"/>
                    </a:lnTo>
                    <a:lnTo>
                      <a:pt x="1208" y="1153"/>
                    </a:lnTo>
                    <a:lnTo>
                      <a:pt x="1207" y="1155"/>
                    </a:lnTo>
                    <a:lnTo>
                      <a:pt x="1205" y="1153"/>
                    </a:lnTo>
                    <a:lnTo>
                      <a:pt x="1203" y="1153"/>
                    </a:lnTo>
                    <a:lnTo>
                      <a:pt x="1203" y="1151"/>
                    </a:lnTo>
                    <a:lnTo>
                      <a:pt x="1203" y="1150"/>
                    </a:lnTo>
                    <a:lnTo>
                      <a:pt x="1205" y="1148"/>
                    </a:lnTo>
                    <a:lnTo>
                      <a:pt x="1207" y="1148"/>
                    </a:lnTo>
                    <a:lnTo>
                      <a:pt x="1205" y="1150"/>
                    </a:lnTo>
                    <a:lnTo>
                      <a:pt x="1207" y="1150"/>
                    </a:lnTo>
                    <a:lnTo>
                      <a:pt x="1205" y="1148"/>
                    </a:lnTo>
                    <a:lnTo>
                      <a:pt x="1207" y="1148"/>
                    </a:lnTo>
                    <a:lnTo>
                      <a:pt x="1207" y="1146"/>
                    </a:lnTo>
                    <a:lnTo>
                      <a:pt x="1205" y="1146"/>
                    </a:lnTo>
                    <a:lnTo>
                      <a:pt x="1203" y="1146"/>
                    </a:lnTo>
                    <a:lnTo>
                      <a:pt x="1203" y="1148"/>
                    </a:lnTo>
                    <a:lnTo>
                      <a:pt x="1205" y="1148"/>
                    </a:lnTo>
                    <a:lnTo>
                      <a:pt x="1203" y="1148"/>
                    </a:lnTo>
                    <a:lnTo>
                      <a:pt x="1203" y="1150"/>
                    </a:lnTo>
                    <a:lnTo>
                      <a:pt x="1202" y="1148"/>
                    </a:lnTo>
                    <a:lnTo>
                      <a:pt x="1202" y="1150"/>
                    </a:lnTo>
                    <a:lnTo>
                      <a:pt x="1203" y="1150"/>
                    </a:lnTo>
                    <a:lnTo>
                      <a:pt x="1203" y="1151"/>
                    </a:lnTo>
                    <a:lnTo>
                      <a:pt x="1202" y="1151"/>
                    </a:lnTo>
                    <a:lnTo>
                      <a:pt x="1200" y="1151"/>
                    </a:lnTo>
                    <a:lnTo>
                      <a:pt x="1200" y="1150"/>
                    </a:lnTo>
                    <a:lnTo>
                      <a:pt x="1198" y="1150"/>
                    </a:lnTo>
                    <a:lnTo>
                      <a:pt x="1200" y="1150"/>
                    </a:lnTo>
                    <a:lnTo>
                      <a:pt x="1200" y="1148"/>
                    </a:lnTo>
                    <a:lnTo>
                      <a:pt x="1200" y="1146"/>
                    </a:lnTo>
                    <a:lnTo>
                      <a:pt x="1202" y="1146"/>
                    </a:lnTo>
                    <a:lnTo>
                      <a:pt x="1203" y="1146"/>
                    </a:lnTo>
                    <a:lnTo>
                      <a:pt x="1205" y="1145"/>
                    </a:lnTo>
                    <a:lnTo>
                      <a:pt x="1203" y="1145"/>
                    </a:lnTo>
                    <a:lnTo>
                      <a:pt x="1205" y="1145"/>
                    </a:lnTo>
                    <a:lnTo>
                      <a:pt x="1205" y="1143"/>
                    </a:lnTo>
                    <a:lnTo>
                      <a:pt x="1207" y="1143"/>
                    </a:lnTo>
                    <a:lnTo>
                      <a:pt x="1207" y="1145"/>
                    </a:lnTo>
                    <a:close/>
                    <a:moveTo>
                      <a:pt x="1196" y="1065"/>
                    </a:moveTo>
                    <a:lnTo>
                      <a:pt x="1196" y="1066"/>
                    </a:lnTo>
                    <a:lnTo>
                      <a:pt x="1198" y="1066"/>
                    </a:lnTo>
                    <a:lnTo>
                      <a:pt x="1200" y="1066"/>
                    </a:lnTo>
                    <a:lnTo>
                      <a:pt x="1200" y="1068"/>
                    </a:lnTo>
                    <a:lnTo>
                      <a:pt x="1202" y="1068"/>
                    </a:lnTo>
                    <a:lnTo>
                      <a:pt x="1200" y="1068"/>
                    </a:lnTo>
                    <a:lnTo>
                      <a:pt x="1198" y="1068"/>
                    </a:lnTo>
                    <a:lnTo>
                      <a:pt x="1198" y="1070"/>
                    </a:lnTo>
                    <a:lnTo>
                      <a:pt x="1196" y="1068"/>
                    </a:lnTo>
                    <a:lnTo>
                      <a:pt x="1195" y="1068"/>
                    </a:lnTo>
                    <a:lnTo>
                      <a:pt x="1196" y="1070"/>
                    </a:lnTo>
                    <a:lnTo>
                      <a:pt x="1198" y="1071"/>
                    </a:lnTo>
                    <a:lnTo>
                      <a:pt x="1196" y="1070"/>
                    </a:lnTo>
                    <a:lnTo>
                      <a:pt x="1198" y="1070"/>
                    </a:lnTo>
                    <a:lnTo>
                      <a:pt x="1200" y="1071"/>
                    </a:lnTo>
                    <a:lnTo>
                      <a:pt x="1202" y="1071"/>
                    </a:lnTo>
                    <a:lnTo>
                      <a:pt x="1202" y="1070"/>
                    </a:lnTo>
                    <a:lnTo>
                      <a:pt x="1203" y="1070"/>
                    </a:lnTo>
                    <a:lnTo>
                      <a:pt x="1203" y="1071"/>
                    </a:lnTo>
                    <a:lnTo>
                      <a:pt x="1205" y="1071"/>
                    </a:lnTo>
                    <a:lnTo>
                      <a:pt x="1205" y="1073"/>
                    </a:lnTo>
                    <a:lnTo>
                      <a:pt x="1203" y="1073"/>
                    </a:lnTo>
                    <a:lnTo>
                      <a:pt x="1202" y="1073"/>
                    </a:lnTo>
                    <a:lnTo>
                      <a:pt x="1200" y="1073"/>
                    </a:lnTo>
                    <a:lnTo>
                      <a:pt x="1200" y="1071"/>
                    </a:lnTo>
                    <a:lnTo>
                      <a:pt x="1200" y="1073"/>
                    </a:lnTo>
                    <a:lnTo>
                      <a:pt x="1198" y="1073"/>
                    </a:lnTo>
                    <a:lnTo>
                      <a:pt x="1198" y="1071"/>
                    </a:lnTo>
                    <a:lnTo>
                      <a:pt x="1198" y="1073"/>
                    </a:lnTo>
                    <a:lnTo>
                      <a:pt x="1196" y="1073"/>
                    </a:lnTo>
                    <a:lnTo>
                      <a:pt x="1196" y="1071"/>
                    </a:lnTo>
                    <a:lnTo>
                      <a:pt x="1196" y="1073"/>
                    </a:lnTo>
                    <a:lnTo>
                      <a:pt x="1196" y="1071"/>
                    </a:lnTo>
                    <a:lnTo>
                      <a:pt x="1195" y="1071"/>
                    </a:lnTo>
                    <a:lnTo>
                      <a:pt x="1193" y="1070"/>
                    </a:lnTo>
                    <a:lnTo>
                      <a:pt x="1195" y="1068"/>
                    </a:lnTo>
                    <a:lnTo>
                      <a:pt x="1193" y="1068"/>
                    </a:lnTo>
                    <a:lnTo>
                      <a:pt x="1193" y="1066"/>
                    </a:lnTo>
                    <a:lnTo>
                      <a:pt x="1193" y="1065"/>
                    </a:lnTo>
                    <a:lnTo>
                      <a:pt x="1195" y="1065"/>
                    </a:lnTo>
                    <a:lnTo>
                      <a:pt x="1195" y="1063"/>
                    </a:lnTo>
                    <a:lnTo>
                      <a:pt x="1196" y="1063"/>
                    </a:lnTo>
                    <a:lnTo>
                      <a:pt x="1196" y="1065"/>
                    </a:lnTo>
                    <a:close/>
                    <a:moveTo>
                      <a:pt x="1254" y="1578"/>
                    </a:moveTo>
                    <a:lnTo>
                      <a:pt x="1254" y="1580"/>
                    </a:lnTo>
                    <a:lnTo>
                      <a:pt x="1254" y="1578"/>
                    </a:lnTo>
                    <a:lnTo>
                      <a:pt x="1256" y="1580"/>
                    </a:lnTo>
                    <a:lnTo>
                      <a:pt x="1254" y="1582"/>
                    </a:lnTo>
                    <a:lnTo>
                      <a:pt x="1256" y="1580"/>
                    </a:lnTo>
                    <a:lnTo>
                      <a:pt x="1256" y="1582"/>
                    </a:lnTo>
                    <a:lnTo>
                      <a:pt x="1258" y="1582"/>
                    </a:lnTo>
                    <a:lnTo>
                      <a:pt x="1256" y="1582"/>
                    </a:lnTo>
                    <a:lnTo>
                      <a:pt x="1256" y="1583"/>
                    </a:lnTo>
                    <a:lnTo>
                      <a:pt x="1254" y="1582"/>
                    </a:lnTo>
                    <a:lnTo>
                      <a:pt x="1254" y="1583"/>
                    </a:lnTo>
                    <a:lnTo>
                      <a:pt x="1254" y="1585"/>
                    </a:lnTo>
                    <a:lnTo>
                      <a:pt x="1254" y="1587"/>
                    </a:lnTo>
                    <a:lnTo>
                      <a:pt x="1253" y="1585"/>
                    </a:lnTo>
                    <a:lnTo>
                      <a:pt x="1253" y="1587"/>
                    </a:lnTo>
                    <a:lnTo>
                      <a:pt x="1254" y="1587"/>
                    </a:lnTo>
                    <a:lnTo>
                      <a:pt x="1253" y="1589"/>
                    </a:lnTo>
                    <a:lnTo>
                      <a:pt x="1251" y="1589"/>
                    </a:lnTo>
                    <a:lnTo>
                      <a:pt x="1251" y="1587"/>
                    </a:lnTo>
                    <a:lnTo>
                      <a:pt x="1249" y="1587"/>
                    </a:lnTo>
                    <a:lnTo>
                      <a:pt x="1251" y="1587"/>
                    </a:lnTo>
                    <a:lnTo>
                      <a:pt x="1249" y="1589"/>
                    </a:lnTo>
                    <a:lnTo>
                      <a:pt x="1251" y="1589"/>
                    </a:lnTo>
                    <a:lnTo>
                      <a:pt x="1253" y="1590"/>
                    </a:lnTo>
                    <a:lnTo>
                      <a:pt x="1251" y="1590"/>
                    </a:lnTo>
                    <a:lnTo>
                      <a:pt x="1249" y="1589"/>
                    </a:lnTo>
                    <a:lnTo>
                      <a:pt x="1249" y="1590"/>
                    </a:lnTo>
                    <a:lnTo>
                      <a:pt x="1247" y="1590"/>
                    </a:lnTo>
                    <a:lnTo>
                      <a:pt x="1247" y="1589"/>
                    </a:lnTo>
                    <a:lnTo>
                      <a:pt x="1246" y="1589"/>
                    </a:lnTo>
                    <a:lnTo>
                      <a:pt x="1247" y="1587"/>
                    </a:lnTo>
                    <a:lnTo>
                      <a:pt x="1247" y="1589"/>
                    </a:lnTo>
                    <a:lnTo>
                      <a:pt x="1247" y="1587"/>
                    </a:lnTo>
                    <a:lnTo>
                      <a:pt x="1246" y="1587"/>
                    </a:lnTo>
                    <a:lnTo>
                      <a:pt x="1247" y="1585"/>
                    </a:lnTo>
                    <a:lnTo>
                      <a:pt x="1249" y="1585"/>
                    </a:lnTo>
                    <a:lnTo>
                      <a:pt x="1251" y="1585"/>
                    </a:lnTo>
                    <a:lnTo>
                      <a:pt x="1249" y="1585"/>
                    </a:lnTo>
                    <a:lnTo>
                      <a:pt x="1249" y="1583"/>
                    </a:lnTo>
                    <a:lnTo>
                      <a:pt x="1251" y="1585"/>
                    </a:lnTo>
                    <a:lnTo>
                      <a:pt x="1251" y="1583"/>
                    </a:lnTo>
                    <a:lnTo>
                      <a:pt x="1253" y="1583"/>
                    </a:lnTo>
                    <a:lnTo>
                      <a:pt x="1253" y="1582"/>
                    </a:lnTo>
                    <a:lnTo>
                      <a:pt x="1251" y="1583"/>
                    </a:lnTo>
                    <a:lnTo>
                      <a:pt x="1249" y="1583"/>
                    </a:lnTo>
                    <a:lnTo>
                      <a:pt x="1249" y="1582"/>
                    </a:lnTo>
                    <a:lnTo>
                      <a:pt x="1251" y="1582"/>
                    </a:lnTo>
                    <a:lnTo>
                      <a:pt x="1251" y="1580"/>
                    </a:lnTo>
                    <a:lnTo>
                      <a:pt x="1249" y="1580"/>
                    </a:lnTo>
                    <a:lnTo>
                      <a:pt x="1249" y="1578"/>
                    </a:lnTo>
                    <a:lnTo>
                      <a:pt x="1251" y="1578"/>
                    </a:lnTo>
                    <a:lnTo>
                      <a:pt x="1253" y="1578"/>
                    </a:lnTo>
                    <a:lnTo>
                      <a:pt x="1253" y="1577"/>
                    </a:lnTo>
                    <a:lnTo>
                      <a:pt x="1254" y="1578"/>
                    </a:lnTo>
                    <a:close/>
                    <a:moveTo>
                      <a:pt x="1421" y="1667"/>
                    </a:moveTo>
                    <a:lnTo>
                      <a:pt x="1419" y="1669"/>
                    </a:lnTo>
                    <a:lnTo>
                      <a:pt x="1421" y="1669"/>
                    </a:lnTo>
                    <a:lnTo>
                      <a:pt x="1419" y="1670"/>
                    </a:lnTo>
                    <a:lnTo>
                      <a:pt x="1421" y="1670"/>
                    </a:lnTo>
                    <a:lnTo>
                      <a:pt x="1419" y="1672"/>
                    </a:lnTo>
                    <a:lnTo>
                      <a:pt x="1421" y="1672"/>
                    </a:lnTo>
                    <a:lnTo>
                      <a:pt x="1419" y="1674"/>
                    </a:lnTo>
                    <a:lnTo>
                      <a:pt x="1421" y="1675"/>
                    </a:lnTo>
                    <a:lnTo>
                      <a:pt x="1421" y="1674"/>
                    </a:lnTo>
                    <a:lnTo>
                      <a:pt x="1423" y="1674"/>
                    </a:lnTo>
                    <a:lnTo>
                      <a:pt x="1424" y="1675"/>
                    </a:lnTo>
                    <a:lnTo>
                      <a:pt x="1423" y="1675"/>
                    </a:lnTo>
                    <a:lnTo>
                      <a:pt x="1423" y="1677"/>
                    </a:lnTo>
                    <a:lnTo>
                      <a:pt x="1424" y="1677"/>
                    </a:lnTo>
                    <a:lnTo>
                      <a:pt x="1424" y="1679"/>
                    </a:lnTo>
                    <a:lnTo>
                      <a:pt x="1423" y="1679"/>
                    </a:lnTo>
                    <a:lnTo>
                      <a:pt x="1421" y="1680"/>
                    </a:lnTo>
                    <a:lnTo>
                      <a:pt x="1421" y="1679"/>
                    </a:lnTo>
                    <a:lnTo>
                      <a:pt x="1421" y="1677"/>
                    </a:lnTo>
                    <a:lnTo>
                      <a:pt x="1419" y="1679"/>
                    </a:lnTo>
                    <a:lnTo>
                      <a:pt x="1419" y="1677"/>
                    </a:lnTo>
                    <a:lnTo>
                      <a:pt x="1417" y="1679"/>
                    </a:lnTo>
                    <a:lnTo>
                      <a:pt x="1417" y="1677"/>
                    </a:lnTo>
                    <a:lnTo>
                      <a:pt x="1416" y="1677"/>
                    </a:lnTo>
                    <a:lnTo>
                      <a:pt x="1414" y="1677"/>
                    </a:lnTo>
                    <a:lnTo>
                      <a:pt x="1414" y="1675"/>
                    </a:lnTo>
                    <a:lnTo>
                      <a:pt x="1412" y="1675"/>
                    </a:lnTo>
                    <a:lnTo>
                      <a:pt x="1414" y="1675"/>
                    </a:lnTo>
                    <a:lnTo>
                      <a:pt x="1416" y="1675"/>
                    </a:lnTo>
                    <a:lnTo>
                      <a:pt x="1414" y="1675"/>
                    </a:lnTo>
                    <a:lnTo>
                      <a:pt x="1414" y="1674"/>
                    </a:lnTo>
                    <a:lnTo>
                      <a:pt x="1412" y="1672"/>
                    </a:lnTo>
                    <a:lnTo>
                      <a:pt x="1414" y="1672"/>
                    </a:lnTo>
                    <a:lnTo>
                      <a:pt x="1414" y="1670"/>
                    </a:lnTo>
                    <a:lnTo>
                      <a:pt x="1416" y="1670"/>
                    </a:lnTo>
                    <a:lnTo>
                      <a:pt x="1416" y="1672"/>
                    </a:lnTo>
                    <a:lnTo>
                      <a:pt x="1417" y="1672"/>
                    </a:lnTo>
                    <a:lnTo>
                      <a:pt x="1417" y="1674"/>
                    </a:lnTo>
                    <a:lnTo>
                      <a:pt x="1417" y="1675"/>
                    </a:lnTo>
                    <a:lnTo>
                      <a:pt x="1419" y="1675"/>
                    </a:lnTo>
                    <a:lnTo>
                      <a:pt x="1419" y="1674"/>
                    </a:lnTo>
                    <a:lnTo>
                      <a:pt x="1419" y="1672"/>
                    </a:lnTo>
                    <a:lnTo>
                      <a:pt x="1417" y="1672"/>
                    </a:lnTo>
                    <a:lnTo>
                      <a:pt x="1417" y="1670"/>
                    </a:lnTo>
                    <a:lnTo>
                      <a:pt x="1417" y="1669"/>
                    </a:lnTo>
                    <a:lnTo>
                      <a:pt x="1416" y="1669"/>
                    </a:lnTo>
                    <a:lnTo>
                      <a:pt x="1417" y="1667"/>
                    </a:lnTo>
                    <a:lnTo>
                      <a:pt x="1419" y="1667"/>
                    </a:lnTo>
                    <a:lnTo>
                      <a:pt x="1419" y="1665"/>
                    </a:lnTo>
                    <a:lnTo>
                      <a:pt x="1421" y="1665"/>
                    </a:lnTo>
                    <a:lnTo>
                      <a:pt x="1421" y="1667"/>
                    </a:lnTo>
                    <a:close/>
                    <a:moveTo>
                      <a:pt x="1198" y="1131"/>
                    </a:moveTo>
                    <a:lnTo>
                      <a:pt x="1196" y="1131"/>
                    </a:lnTo>
                    <a:lnTo>
                      <a:pt x="1198" y="1131"/>
                    </a:lnTo>
                    <a:lnTo>
                      <a:pt x="1200" y="1131"/>
                    </a:lnTo>
                    <a:lnTo>
                      <a:pt x="1200" y="1133"/>
                    </a:lnTo>
                    <a:lnTo>
                      <a:pt x="1202" y="1133"/>
                    </a:lnTo>
                    <a:lnTo>
                      <a:pt x="1202" y="1134"/>
                    </a:lnTo>
                    <a:lnTo>
                      <a:pt x="1200" y="1134"/>
                    </a:lnTo>
                    <a:lnTo>
                      <a:pt x="1202" y="1136"/>
                    </a:lnTo>
                    <a:lnTo>
                      <a:pt x="1200" y="1136"/>
                    </a:lnTo>
                    <a:lnTo>
                      <a:pt x="1200" y="1138"/>
                    </a:lnTo>
                    <a:lnTo>
                      <a:pt x="1198" y="1140"/>
                    </a:lnTo>
                    <a:lnTo>
                      <a:pt x="1196" y="1140"/>
                    </a:lnTo>
                    <a:lnTo>
                      <a:pt x="1195" y="1140"/>
                    </a:lnTo>
                    <a:lnTo>
                      <a:pt x="1195" y="1138"/>
                    </a:lnTo>
                    <a:lnTo>
                      <a:pt x="1195" y="1136"/>
                    </a:lnTo>
                    <a:lnTo>
                      <a:pt x="1195" y="1134"/>
                    </a:lnTo>
                    <a:lnTo>
                      <a:pt x="1193" y="1134"/>
                    </a:lnTo>
                    <a:lnTo>
                      <a:pt x="1193" y="1133"/>
                    </a:lnTo>
                    <a:lnTo>
                      <a:pt x="1195" y="1133"/>
                    </a:lnTo>
                    <a:lnTo>
                      <a:pt x="1195" y="1131"/>
                    </a:lnTo>
                    <a:lnTo>
                      <a:pt x="1196" y="1131"/>
                    </a:lnTo>
                    <a:lnTo>
                      <a:pt x="1196" y="1129"/>
                    </a:lnTo>
                    <a:lnTo>
                      <a:pt x="1198" y="1131"/>
                    </a:lnTo>
                    <a:close/>
                    <a:moveTo>
                      <a:pt x="1202" y="1153"/>
                    </a:moveTo>
                    <a:lnTo>
                      <a:pt x="1203" y="1153"/>
                    </a:lnTo>
                    <a:lnTo>
                      <a:pt x="1205" y="1155"/>
                    </a:lnTo>
                    <a:lnTo>
                      <a:pt x="1203" y="1155"/>
                    </a:lnTo>
                    <a:lnTo>
                      <a:pt x="1203" y="1157"/>
                    </a:lnTo>
                    <a:lnTo>
                      <a:pt x="1205" y="1155"/>
                    </a:lnTo>
                    <a:lnTo>
                      <a:pt x="1207" y="1155"/>
                    </a:lnTo>
                    <a:lnTo>
                      <a:pt x="1208" y="1157"/>
                    </a:lnTo>
                    <a:lnTo>
                      <a:pt x="1208" y="1158"/>
                    </a:lnTo>
                    <a:lnTo>
                      <a:pt x="1207" y="1158"/>
                    </a:lnTo>
                    <a:lnTo>
                      <a:pt x="1207" y="1160"/>
                    </a:lnTo>
                    <a:lnTo>
                      <a:pt x="1207" y="1162"/>
                    </a:lnTo>
                    <a:lnTo>
                      <a:pt x="1205" y="1163"/>
                    </a:lnTo>
                    <a:lnTo>
                      <a:pt x="1205" y="1162"/>
                    </a:lnTo>
                    <a:lnTo>
                      <a:pt x="1203" y="1162"/>
                    </a:lnTo>
                    <a:lnTo>
                      <a:pt x="1202" y="1160"/>
                    </a:lnTo>
                    <a:lnTo>
                      <a:pt x="1203" y="1160"/>
                    </a:lnTo>
                    <a:lnTo>
                      <a:pt x="1205" y="1160"/>
                    </a:lnTo>
                    <a:lnTo>
                      <a:pt x="1203" y="1160"/>
                    </a:lnTo>
                    <a:lnTo>
                      <a:pt x="1202" y="1160"/>
                    </a:lnTo>
                    <a:lnTo>
                      <a:pt x="1202" y="1158"/>
                    </a:lnTo>
                    <a:lnTo>
                      <a:pt x="1202" y="1157"/>
                    </a:lnTo>
                    <a:lnTo>
                      <a:pt x="1200" y="1157"/>
                    </a:lnTo>
                    <a:lnTo>
                      <a:pt x="1198" y="1157"/>
                    </a:lnTo>
                    <a:lnTo>
                      <a:pt x="1200" y="1157"/>
                    </a:lnTo>
                    <a:lnTo>
                      <a:pt x="1200" y="1155"/>
                    </a:lnTo>
                    <a:lnTo>
                      <a:pt x="1200" y="1153"/>
                    </a:lnTo>
                    <a:lnTo>
                      <a:pt x="1202" y="1153"/>
                    </a:lnTo>
                    <a:close/>
                    <a:moveTo>
                      <a:pt x="1179" y="1257"/>
                    </a:moveTo>
                    <a:lnTo>
                      <a:pt x="1179" y="1259"/>
                    </a:lnTo>
                    <a:lnTo>
                      <a:pt x="1181" y="1259"/>
                    </a:lnTo>
                    <a:lnTo>
                      <a:pt x="1183" y="1260"/>
                    </a:lnTo>
                    <a:lnTo>
                      <a:pt x="1183" y="1262"/>
                    </a:lnTo>
                    <a:lnTo>
                      <a:pt x="1185" y="1262"/>
                    </a:lnTo>
                    <a:lnTo>
                      <a:pt x="1185" y="1264"/>
                    </a:lnTo>
                    <a:lnTo>
                      <a:pt x="1186" y="1265"/>
                    </a:lnTo>
                    <a:lnTo>
                      <a:pt x="1185" y="1265"/>
                    </a:lnTo>
                    <a:lnTo>
                      <a:pt x="1185" y="1267"/>
                    </a:lnTo>
                    <a:lnTo>
                      <a:pt x="1183" y="1267"/>
                    </a:lnTo>
                    <a:lnTo>
                      <a:pt x="1183" y="1269"/>
                    </a:lnTo>
                    <a:lnTo>
                      <a:pt x="1181" y="1269"/>
                    </a:lnTo>
                    <a:lnTo>
                      <a:pt x="1179" y="1269"/>
                    </a:lnTo>
                    <a:lnTo>
                      <a:pt x="1179" y="1267"/>
                    </a:lnTo>
                    <a:lnTo>
                      <a:pt x="1179" y="1265"/>
                    </a:lnTo>
                    <a:lnTo>
                      <a:pt x="1181" y="1265"/>
                    </a:lnTo>
                    <a:lnTo>
                      <a:pt x="1179" y="1265"/>
                    </a:lnTo>
                    <a:lnTo>
                      <a:pt x="1179" y="1264"/>
                    </a:lnTo>
                    <a:lnTo>
                      <a:pt x="1181" y="1262"/>
                    </a:lnTo>
                    <a:lnTo>
                      <a:pt x="1183" y="1260"/>
                    </a:lnTo>
                    <a:lnTo>
                      <a:pt x="1181" y="1260"/>
                    </a:lnTo>
                    <a:lnTo>
                      <a:pt x="1181" y="1262"/>
                    </a:lnTo>
                    <a:lnTo>
                      <a:pt x="1179" y="1262"/>
                    </a:lnTo>
                    <a:lnTo>
                      <a:pt x="1179" y="1264"/>
                    </a:lnTo>
                    <a:lnTo>
                      <a:pt x="1179" y="1265"/>
                    </a:lnTo>
                    <a:lnTo>
                      <a:pt x="1178" y="1265"/>
                    </a:lnTo>
                    <a:lnTo>
                      <a:pt x="1178" y="1264"/>
                    </a:lnTo>
                    <a:lnTo>
                      <a:pt x="1178" y="1262"/>
                    </a:lnTo>
                    <a:lnTo>
                      <a:pt x="1178" y="1260"/>
                    </a:lnTo>
                    <a:lnTo>
                      <a:pt x="1179" y="1260"/>
                    </a:lnTo>
                    <a:lnTo>
                      <a:pt x="1178" y="1260"/>
                    </a:lnTo>
                    <a:lnTo>
                      <a:pt x="1178" y="1259"/>
                    </a:lnTo>
                    <a:lnTo>
                      <a:pt x="1178" y="1260"/>
                    </a:lnTo>
                    <a:lnTo>
                      <a:pt x="1178" y="1259"/>
                    </a:lnTo>
                    <a:lnTo>
                      <a:pt x="1179" y="1259"/>
                    </a:lnTo>
                    <a:lnTo>
                      <a:pt x="1181" y="1259"/>
                    </a:lnTo>
                    <a:lnTo>
                      <a:pt x="1179" y="1259"/>
                    </a:lnTo>
                    <a:lnTo>
                      <a:pt x="1179" y="1257"/>
                    </a:lnTo>
                    <a:lnTo>
                      <a:pt x="1178" y="1257"/>
                    </a:lnTo>
                    <a:lnTo>
                      <a:pt x="1179" y="1257"/>
                    </a:lnTo>
                    <a:close/>
                    <a:moveTo>
                      <a:pt x="1196" y="1126"/>
                    </a:moveTo>
                    <a:lnTo>
                      <a:pt x="1198" y="1126"/>
                    </a:lnTo>
                    <a:lnTo>
                      <a:pt x="1200" y="1126"/>
                    </a:lnTo>
                    <a:lnTo>
                      <a:pt x="1200" y="1128"/>
                    </a:lnTo>
                    <a:lnTo>
                      <a:pt x="1202" y="1126"/>
                    </a:lnTo>
                    <a:lnTo>
                      <a:pt x="1202" y="1128"/>
                    </a:lnTo>
                    <a:lnTo>
                      <a:pt x="1202" y="1126"/>
                    </a:lnTo>
                    <a:lnTo>
                      <a:pt x="1203" y="1126"/>
                    </a:lnTo>
                    <a:lnTo>
                      <a:pt x="1203" y="1128"/>
                    </a:lnTo>
                    <a:lnTo>
                      <a:pt x="1203" y="1129"/>
                    </a:lnTo>
                    <a:lnTo>
                      <a:pt x="1202" y="1131"/>
                    </a:lnTo>
                    <a:lnTo>
                      <a:pt x="1202" y="1133"/>
                    </a:lnTo>
                    <a:lnTo>
                      <a:pt x="1200" y="1131"/>
                    </a:lnTo>
                    <a:lnTo>
                      <a:pt x="1200" y="1129"/>
                    </a:lnTo>
                    <a:lnTo>
                      <a:pt x="1200" y="1131"/>
                    </a:lnTo>
                    <a:lnTo>
                      <a:pt x="1198" y="1131"/>
                    </a:lnTo>
                    <a:lnTo>
                      <a:pt x="1198" y="1129"/>
                    </a:lnTo>
                    <a:lnTo>
                      <a:pt x="1196" y="1129"/>
                    </a:lnTo>
                    <a:lnTo>
                      <a:pt x="1195" y="1129"/>
                    </a:lnTo>
                    <a:lnTo>
                      <a:pt x="1195" y="1131"/>
                    </a:lnTo>
                    <a:lnTo>
                      <a:pt x="1193" y="1131"/>
                    </a:lnTo>
                    <a:lnTo>
                      <a:pt x="1193" y="1133"/>
                    </a:lnTo>
                    <a:lnTo>
                      <a:pt x="1191" y="1131"/>
                    </a:lnTo>
                    <a:lnTo>
                      <a:pt x="1193" y="1131"/>
                    </a:lnTo>
                    <a:lnTo>
                      <a:pt x="1193" y="1129"/>
                    </a:lnTo>
                    <a:lnTo>
                      <a:pt x="1195" y="1129"/>
                    </a:lnTo>
                    <a:lnTo>
                      <a:pt x="1193" y="1129"/>
                    </a:lnTo>
                    <a:lnTo>
                      <a:pt x="1193" y="1128"/>
                    </a:lnTo>
                    <a:lnTo>
                      <a:pt x="1195" y="1126"/>
                    </a:lnTo>
                    <a:lnTo>
                      <a:pt x="1196" y="1126"/>
                    </a:lnTo>
                    <a:lnTo>
                      <a:pt x="1198" y="1126"/>
                    </a:lnTo>
                    <a:lnTo>
                      <a:pt x="1196" y="1126"/>
                    </a:lnTo>
                    <a:lnTo>
                      <a:pt x="1195" y="1126"/>
                    </a:lnTo>
                    <a:lnTo>
                      <a:pt x="1195" y="1124"/>
                    </a:lnTo>
                    <a:lnTo>
                      <a:pt x="1196" y="1126"/>
                    </a:lnTo>
                    <a:close/>
                    <a:moveTo>
                      <a:pt x="1156" y="1291"/>
                    </a:moveTo>
                    <a:lnTo>
                      <a:pt x="1157" y="1291"/>
                    </a:lnTo>
                    <a:lnTo>
                      <a:pt x="1157" y="1293"/>
                    </a:lnTo>
                    <a:lnTo>
                      <a:pt x="1159" y="1293"/>
                    </a:lnTo>
                    <a:lnTo>
                      <a:pt x="1161" y="1293"/>
                    </a:lnTo>
                    <a:lnTo>
                      <a:pt x="1161" y="1294"/>
                    </a:lnTo>
                    <a:lnTo>
                      <a:pt x="1161" y="1296"/>
                    </a:lnTo>
                    <a:lnTo>
                      <a:pt x="1162" y="1296"/>
                    </a:lnTo>
                    <a:lnTo>
                      <a:pt x="1162" y="1298"/>
                    </a:lnTo>
                    <a:lnTo>
                      <a:pt x="1161" y="1296"/>
                    </a:lnTo>
                    <a:lnTo>
                      <a:pt x="1161" y="1298"/>
                    </a:lnTo>
                    <a:lnTo>
                      <a:pt x="1159" y="1296"/>
                    </a:lnTo>
                    <a:lnTo>
                      <a:pt x="1159" y="1298"/>
                    </a:lnTo>
                    <a:lnTo>
                      <a:pt x="1161" y="1298"/>
                    </a:lnTo>
                    <a:lnTo>
                      <a:pt x="1162" y="1299"/>
                    </a:lnTo>
                    <a:lnTo>
                      <a:pt x="1161" y="1299"/>
                    </a:lnTo>
                    <a:lnTo>
                      <a:pt x="1159" y="1301"/>
                    </a:lnTo>
                    <a:lnTo>
                      <a:pt x="1157" y="1301"/>
                    </a:lnTo>
                    <a:lnTo>
                      <a:pt x="1157" y="1303"/>
                    </a:lnTo>
                    <a:lnTo>
                      <a:pt x="1157" y="1301"/>
                    </a:lnTo>
                    <a:lnTo>
                      <a:pt x="1157" y="1299"/>
                    </a:lnTo>
                    <a:lnTo>
                      <a:pt x="1156" y="1299"/>
                    </a:lnTo>
                    <a:lnTo>
                      <a:pt x="1156" y="1298"/>
                    </a:lnTo>
                    <a:lnTo>
                      <a:pt x="1156" y="1296"/>
                    </a:lnTo>
                    <a:lnTo>
                      <a:pt x="1156" y="1294"/>
                    </a:lnTo>
                    <a:lnTo>
                      <a:pt x="1157" y="1296"/>
                    </a:lnTo>
                    <a:lnTo>
                      <a:pt x="1156" y="1294"/>
                    </a:lnTo>
                    <a:lnTo>
                      <a:pt x="1154" y="1294"/>
                    </a:lnTo>
                    <a:lnTo>
                      <a:pt x="1154" y="1293"/>
                    </a:lnTo>
                    <a:lnTo>
                      <a:pt x="1154" y="1291"/>
                    </a:lnTo>
                    <a:lnTo>
                      <a:pt x="1156" y="1291"/>
                    </a:lnTo>
                    <a:close/>
                    <a:moveTo>
                      <a:pt x="1202" y="1046"/>
                    </a:moveTo>
                    <a:lnTo>
                      <a:pt x="1202" y="1048"/>
                    </a:lnTo>
                    <a:lnTo>
                      <a:pt x="1203" y="1048"/>
                    </a:lnTo>
                    <a:lnTo>
                      <a:pt x="1203" y="1049"/>
                    </a:lnTo>
                    <a:lnTo>
                      <a:pt x="1202" y="1049"/>
                    </a:lnTo>
                    <a:lnTo>
                      <a:pt x="1200" y="1049"/>
                    </a:lnTo>
                    <a:lnTo>
                      <a:pt x="1200" y="1051"/>
                    </a:lnTo>
                    <a:lnTo>
                      <a:pt x="1198" y="1049"/>
                    </a:lnTo>
                    <a:lnTo>
                      <a:pt x="1198" y="1051"/>
                    </a:lnTo>
                    <a:lnTo>
                      <a:pt x="1200" y="1051"/>
                    </a:lnTo>
                    <a:lnTo>
                      <a:pt x="1200" y="1053"/>
                    </a:lnTo>
                    <a:lnTo>
                      <a:pt x="1202" y="1053"/>
                    </a:lnTo>
                    <a:lnTo>
                      <a:pt x="1200" y="1053"/>
                    </a:lnTo>
                    <a:lnTo>
                      <a:pt x="1200" y="1054"/>
                    </a:lnTo>
                    <a:lnTo>
                      <a:pt x="1198" y="1054"/>
                    </a:lnTo>
                    <a:lnTo>
                      <a:pt x="1196" y="1054"/>
                    </a:lnTo>
                    <a:lnTo>
                      <a:pt x="1196" y="1053"/>
                    </a:lnTo>
                    <a:lnTo>
                      <a:pt x="1196" y="1051"/>
                    </a:lnTo>
                    <a:lnTo>
                      <a:pt x="1196" y="1053"/>
                    </a:lnTo>
                    <a:lnTo>
                      <a:pt x="1195" y="1053"/>
                    </a:lnTo>
                    <a:lnTo>
                      <a:pt x="1193" y="1053"/>
                    </a:lnTo>
                    <a:lnTo>
                      <a:pt x="1193" y="1051"/>
                    </a:lnTo>
                    <a:lnTo>
                      <a:pt x="1191" y="1051"/>
                    </a:lnTo>
                    <a:lnTo>
                      <a:pt x="1191" y="1049"/>
                    </a:lnTo>
                    <a:lnTo>
                      <a:pt x="1191" y="1048"/>
                    </a:lnTo>
                    <a:lnTo>
                      <a:pt x="1193" y="1048"/>
                    </a:lnTo>
                    <a:lnTo>
                      <a:pt x="1195" y="1048"/>
                    </a:lnTo>
                    <a:lnTo>
                      <a:pt x="1196" y="1049"/>
                    </a:lnTo>
                    <a:lnTo>
                      <a:pt x="1198" y="1049"/>
                    </a:lnTo>
                    <a:lnTo>
                      <a:pt x="1200" y="1049"/>
                    </a:lnTo>
                    <a:lnTo>
                      <a:pt x="1200" y="1048"/>
                    </a:lnTo>
                    <a:lnTo>
                      <a:pt x="1202" y="1048"/>
                    </a:lnTo>
                    <a:lnTo>
                      <a:pt x="1202" y="1046"/>
                    </a:lnTo>
                    <a:close/>
                    <a:moveTo>
                      <a:pt x="1185" y="1325"/>
                    </a:moveTo>
                    <a:lnTo>
                      <a:pt x="1186" y="1327"/>
                    </a:lnTo>
                    <a:lnTo>
                      <a:pt x="1186" y="1328"/>
                    </a:lnTo>
                    <a:lnTo>
                      <a:pt x="1188" y="1328"/>
                    </a:lnTo>
                    <a:lnTo>
                      <a:pt x="1188" y="1330"/>
                    </a:lnTo>
                    <a:lnTo>
                      <a:pt x="1188" y="1332"/>
                    </a:lnTo>
                    <a:lnTo>
                      <a:pt x="1188" y="1333"/>
                    </a:lnTo>
                    <a:lnTo>
                      <a:pt x="1186" y="1333"/>
                    </a:lnTo>
                    <a:lnTo>
                      <a:pt x="1185" y="1333"/>
                    </a:lnTo>
                    <a:lnTo>
                      <a:pt x="1185" y="1335"/>
                    </a:lnTo>
                    <a:lnTo>
                      <a:pt x="1183" y="1335"/>
                    </a:lnTo>
                    <a:lnTo>
                      <a:pt x="1183" y="1333"/>
                    </a:lnTo>
                    <a:lnTo>
                      <a:pt x="1181" y="1333"/>
                    </a:lnTo>
                    <a:lnTo>
                      <a:pt x="1183" y="1333"/>
                    </a:lnTo>
                    <a:lnTo>
                      <a:pt x="1183" y="1332"/>
                    </a:lnTo>
                    <a:lnTo>
                      <a:pt x="1183" y="1330"/>
                    </a:lnTo>
                    <a:lnTo>
                      <a:pt x="1181" y="1328"/>
                    </a:lnTo>
                    <a:lnTo>
                      <a:pt x="1181" y="1327"/>
                    </a:lnTo>
                    <a:lnTo>
                      <a:pt x="1183" y="1327"/>
                    </a:lnTo>
                    <a:lnTo>
                      <a:pt x="1183" y="1325"/>
                    </a:lnTo>
                    <a:lnTo>
                      <a:pt x="1183" y="1323"/>
                    </a:lnTo>
                    <a:lnTo>
                      <a:pt x="1185" y="1325"/>
                    </a:lnTo>
                    <a:close/>
                    <a:moveTo>
                      <a:pt x="1169" y="1242"/>
                    </a:moveTo>
                    <a:lnTo>
                      <a:pt x="1171" y="1242"/>
                    </a:lnTo>
                    <a:lnTo>
                      <a:pt x="1171" y="1243"/>
                    </a:lnTo>
                    <a:lnTo>
                      <a:pt x="1171" y="1245"/>
                    </a:lnTo>
                    <a:lnTo>
                      <a:pt x="1171" y="1247"/>
                    </a:lnTo>
                    <a:lnTo>
                      <a:pt x="1169" y="1247"/>
                    </a:lnTo>
                    <a:lnTo>
                      <a:pt x="1169" y="1245"/>
                    </a:lnTo>
                    <a:lnTo>
                      <a:pt x="1169" y="1247"/>
                    </a:lnTo>
                    <a:lnTo>
                      <a:pt x="1169" y="1248"/>
                    </a:lnTo>
                    <a:lnTo>
                      <a:pt x="1168" y="1248"/>
                    </a:lnTo>
                    <a:lnTo>
                      <a:pt x="1169" y="1248"/>
                    </a:lnTo>
                    <a:lnTo>
                      <a:pt x="1171" y="1248"/>
                    </a:lnTo>
                    <a:lnTo>
                      <a:pt x="1171" y="1250"/>
                    </a:lnTo>
                    <a:lnTo>
                      <a:pt x="1171" y="1252"/>
                    </a:lnTo>
                    <a:lnTo>
                      <a:pt x="1169" y="1252"/>
                    </a:lnTo>
                    <a:lnTo>
                      <a:pt x="1168" y="1252"/>
                    </a:lnTo>
                    <a:lnTo>
                      <a:pt x="1168" y="1250"/>
                    </a:lnTo>
                    <a:lnTo>
                      <a:pt x="1166" y="1250"/>
                    </a:lnTo>
                    <a:lnTo>
                      <a:pt x="1164" y="1250"/>
                    </a:lnTo>
                    <a:lnTo>
                      <a:pt x="1164" y="1248"/>
                    </a:lnTo>
                    <a:lnTo>
                      <a:pt x="1164" y="1247"/>
                    </a:lnTo>
                    <a:lnTo>
                      <a:pt x="1166" y="1248"/>
                    </a:lnTo>
                    <a:lnTo>
                      <a:pt x="1168" y="1248"/>
                    </a:lnTo>
                    <a:lnTo>
                      <a:pt x="1166" y="1248"/>
                    </a:lnTo>
                    <a:lnTo>
                      <a:pt x="1164" y="1247"/>
                    </a:lnTo>
                    <a:lnTo>
                      <a:pt x="1166" y="1247"/>
                    </a:lnTo>
                    <a:lnTo>
                      <a:pt x="1164" y="1245"/>
                    </a:lnTo>
                    <a:lnTo>
                      <a:pt x="1166" y="1245"/>
                    </a:lnTo>
                    <a:lnTo>
                      <a:pt x="1166" y="1243"/>
                    </a:lnTo>
                    <a:lnTo>
                      <a:pt x="1168" y="1245"/>
                    </a:lnTo>
                    <a:lnTo>
                      <a:pt x="1168" y="1243"/>
                    </a:lnTo>
                    <a:lnTo>
                      <a:pt x="1168" y="1245"/>
                    </a:lnTo>
                    <a:lnTo>
                      <a:pt x="1168" y="1243"/>
                    </a:lnTo>
                    <a:lnTo>
                      <a:pt x="1169" y="1243"/>
                    </a:lnTo>
                    <a:lnTo>
                      <a:pt x="1168" y="1243"/>
                    </a:lnTo>
                    <a:lnTo>
                      <a:pt x="1166" y="1242"/>
                    </a:lnTo>
                    <a:lnTo>
                      <a:pt x="1168" y="1242"/>
                    </a:lnTo>
                    <a:lnTo>
                      <a:pt x="1169" y="1242"/>
                    </a:lnTo>
                    <a:close/>
                    <a:moveTo>
                      <a:pt x="1162" y="1286"/>
                    </a:moveTo>
                    <a:lnTo>
                      <a:pt x="1162" y="1288"/>
                    </a:lnTo>
                    <a:lnTo>
                      <a:pt x="1162" y="1289"/>
                    </a:lnTo>
                    <a:lnTo>
                      <a:pt x="1162" y="1291"/>
                    </a:lnTo>
                    <a:lnTo>
                      <a:pt x="1161" y="1291"/>
                    </a:lnTo>
                    <a:lnTo>
                      <a:pt x="1161" y="1293"/>
                    </a:lnTo>
                    <a:lnTo>
                      <a:pt x="1161" y="1294"/>
                    </a:lnTo>
                    <a:lnTo>
                      <a:pt x="1159" y="1293"/>
                    </a:lnTo>
                    <a:lnTo>
                      <a:pt x="1157" y="1291"/>
                    </a:lnTo>
                    <a:lnTo>
                      <a:pt x="1156" y="1291"/>
                    </a:lnTo>
                    <a:lnTo>
                      <a:pt x="1156" y="1289"/>
                    </a:lnTo>
                    <a:lnTo>
                      <a:pt x="1156" y="1291"/>
                    </a:lnTo>
                    <a:lnTo>
                      <a:pt x="1156" y="1289"/>
                    </a:lnTo>
                    <a:lnTo>
                      <a:pt x="1157" y="1288"/>
                    </a:lnTo>
                    <a:lnTo>
                      <a:pt x="1159" y="1288"/>
                    </a:lnTo>
                    <a:lnTo>
                      <a:pt x="1159" y="1289"/>
                    </a:lnTo>
                    <a:lnTo>
                      <a:pt x="1159" y="1288"/>
                    </a:lnTo>
                    <a:lnTo>
                      <a:pt x="1157" y="1288"/>
                    </a:lnTo>
                    <a:lnTo>
                      <a:pt x="1159" y="1286"/>
                    </a:lnTo>
                    <a:lnTo>
                      <a:pt x="1161" y="1284"/>
                    </a:lnTo>
                    <a:lnTo>
                      <a:pt x="1161" y="1282"/>
                    </a:lnTo>
                    <a:lnTo>
                      <a:pt x="1162" y="1282"/>
                    </a:lnTo>
                    <a:lnTo>
                      <a:pt x="1162" y="1284"/>
                    </a:lnTo>
                    <a:lnTo>
                      <a:pt x="1162" y="1286"/>
                    </a:lnTo>
                    <a:close/>
                    <a:moveTo>
                      <a:pt x="1188" y="1265"/>
                    </a:moveTo>
                    <a:lnTo>
                      <a:pt x="1188" y="1267"/>
                    </a:lnTo>
                    <a:lnTo>
                      <a:pt x="1188" y="1269"/>
                    </a:lnTo>
                    <a:lnTo>
                      <a:pt x="1190" y="1270"/>
                    </a:lnTo>
                    <a:lnTo>
                      <a:pt x="1188" y="1270"/>
                    </a:lnTo>
                    <a:lnTo>
                      <a:pt x="1190" y="1270"/>
                    </a:lnTo>
                    <a:lnTo>
                      <a:pt x="1190" y="1272"/>
                    </a:lnTo>
                    <a:lnTo>
                      <a:pt x="1191" y="1274"/>
                    </a:lnTo>
                    <a:lnTo>
                      <a:pt x="1190" y="1276"/>
                    </a:lnTo>
                    <a:lnTo>
                      <a:pt x="1188" y="1276"/>
                    </a:lnTo>
                    <a:lnTo>
                      <a:pt x="1188" y="1274"/>
                    </a:lnTo>
                    <a:lnTo>
                      <a:pt x="1186" y="1274"/>
                    </a:lnTo>
                    <a:lnTo>
                      <a:pt x="1188" y="1274"/>
                    </a:lnTo>
                    <a:lnTo>
                      <a:pt x="1188" y="1272"/>
                    </a:lnTo>
                    <a:lnTo>
                      <a:pt x="1186" y="1272"/>
                    </a:lnTo>
                    <a:lnTo>
                      <a:pt x="1185" y="1272"/>
                    </a:lnTo>
                    <a:lnTo>
                      <a:pt x="1183" y="1270"/>
                    </a:lnTo>
                    <a:lnTo>
                      <a:pt x="1181" y="1270"/>
                    </a:lnTo>
                    <a:lnTo>
                      <a:pt x="1181" y="1269"/>
                    </a:lnTo>
                    <a:lnTo>
                      <a:pt x="1183" y="1269"/>
                    </a:lnTo>
                    <a:lnTo>
                      <a:pt x="1185" y="1269"/>
                    </a:lnTo>
                    <a:lnTo>
                      <a:pt x="1185" y="1270"/>
                    </a:lnTo>
                    <a:lnTo>
                      <a:pt x="1186" y="1270"/>
                    </a:lnTo>
                    <a:lnTo>
                      <a:pt x="1188" y="1272"/>
                    </a:lnTo>
                    <a:lnTo>
                      <a:pt x="1186" y="1270"/>
                    </a:lnTo>
                    <a:lnTo>
                      <a:pt x="1185" y="1269"/>
                    </a:lnTo>
                    <a:lnTo>
                      <a:pt x="1185" y="1267"/>
                    </a:lnTo>
                    <a:lnTo>
                      <a:pt x="1186" y="1265"/>
                    </a:lnTo>
                    <a:lnTo>
                      <a:pt x="1188" y="1265"/>
                    </a:lnTo>
                    <a:close/>
                    <a:moveTo>
                      <a:pt x="1186" y="1403"/>
                    </a:moveTo>
                    <a:lnTo>
                      <a:pt x="1186" y="1405"/>
                    </a:lnTo>
                    <a:lnTo>
                      <a:pt x="1188" y="1407"/>
                    </a:lnTo>
                    <a:lnTo>
                      <a:pt x="1188" y="1408"/>
                    </a:lnTo>
                    <a:lnTo>
                      <a:pt x="1188" y="1410"/>
                    </a:lnTo>
                    <a:lnTo>
                      <a:pt x="1188" y="1412"/>
                    </a:lnTo>
                    <a:lnTo>
                      <a:pt x="1190" y="1412"/>
                    </a:lnTo>
                    <a:lnTo>
                      <a:pt x="1190" y="1413"/>
                    </a:lnTo>
                    <a:lnTo>
                      <a:pt x="1190" y="1415"/>
                    </a:lnTo>
                    <a:lnTo>
                      <a:pt x="1190" y="1417"/>
                    </a:lnTo>
                    <a:lnTo>
                      <a:pt x="1191" y="1418"/>
                    </a:lnTo>
                    <a:lnTo>
                      <a:pt x="1190" y="1418"/>
                    </a:lnTo>
                    <a:lnTo>
                      <a:pt x="1190" y="1420"/>
                    </a:lnTo>
                    <a:lnTo>
                      <a:pt x="1188" y="1420"/>
                    </a:lnTo>
                    <a:lnTo>
                      <a:pt x="1188" y="1422"/>
                    </a:lnTo>
                    <a:lnTo>
                      <a:pt x="1188" y="1420"/>
                    </a:lnTo>
                    <a:lnTo>
                      <a:pt x="1188" y="1418"/>
                    </a:lnTo>
                    <a:lnTo>
                      <a:pt x="1188" y="1417"/>
                    </a:lnTo>
                    <a:lnTo>
                      <a:pt x="1186" y="1415"/>
                    </a:lnTo>
                    <a:lnTo>
                      <a:pt x="1188" y="1415"/>
                    </a:lnTo>
                    <a:lnTo>
                      <a:pt x="1186" y="1413"/>
                    </a:lnTo>
                    <a:lnTo>
                      <a:pt x="1186" y="1412"/>
                    </a:lnTo>
                    <a:lnTo>
                      <a:pt x="1186" y="1410"/>
                    </a:lnTo>
                    <a:lnTo>
                      <a:pt x="1186" y="1408"/>
                    </a:lnTo>
                    <a:lnTo>
                      <a:pt x="1185" y="1407"/>
                    </a:lnTo>
                    <a:lnTo>
                      <a:pt x="1186" y="1407"/>
                    </a:lnTo>
                    <a:lnTo>
                      <a:pt x="1185" y="1407"/>
                    </a:lnTo>
                    <a:lnTo>
                      <a:pt x="1186" y="1407"/>
                    </a:lnTo>
                    <a:lnTo>
                      <a:pt x="1186" y="1405"/>
                    </a:lnTo>
                    <a:lnTo>
                      <a:pt x="1185" y="1405"/>
                    </a:lnTo>
                    <a:lnTo>
                      <a:pt x="1185" y="1403"/>
                    </a:lnTo>
                    <a:lnTo>
                      <a:pt x="1186" y="1403"/>
                    </a:lnTo>
                    <a:close/>
                    <a:moveTo>
                      <a:pt x="1185" y="1112"/>
                    </a:moveTo>
                    <a:lnTo>
                      <a:pt x="1186" y="1114"/>
                    </a:lnTo>
                    <a:lnTo>
                      <a:pt x="1188" y="1114"/>
                    </a:lnTo>
                    <a:lnTo>
                      <a:pt x="1188" y="1116"/>
                    </a:lnTo>
                    <a:lnTo>
                      <a:pt x="1188" y="1114"/>
                    </a:lnTo>
                    <a:lnTo>
                      <a:pt x="1190" y="1114"/>
                    </a:lnTo>
                    <a:lnTo>
                      <a:pt x="1190" y="1116"/>
                    </a:lnTo>
                    <a:lnTo>
                      <a:pt x="1190" y="1117"/>
                    </a:lnTo>
                    <a:lnTo>
                      <a:pt x="1188" y="1117"/>
                    </a:lnTo>
                    <a:lnTo>
                      <a:pt x="1190" y="1117"/>
                    </a:lnTo>
                    <a:lnTo>
                      <a:pt x="1190" y="1119"/>
                    </a:lnTo>
                    <a:lnTo>
                      <a:pt x="1190" y="1121"/>
                    </a:lnTo>
                    <a:lnTo>
                      <a:pt x="1188" y="1121"/>
                    </a:lnTo>
                    <a:lnTo>
                      <a:pt x="1188" y="1119"/>
                    </a:lnTo>
                    <a:lnTo>
                      <a:pt x="1188" y="1117"/>
                    </a:lnTo>
                    <a:lnTo>
                      <a:pt x="1188" y="1116"/>
                    </a:lnTo>
                    <a:lnTo>
                      <a:pt x="1188" y="1114"/>
                    </a:lnTo>
                    <a:lnTo>
                      <a:pt x="1186" y="1116"/>
                    </a:lnTo>
                    <a:lnTo>
                      <a:pt x="1188" y="1117"/>
                    </a:lnTo>
                    <a:lnTo>
                      <a:pt x="1186" y="1117"/>
                    </a:lnTo>
                    <a:lnTo>
                      <a:pt x="1186" y="1116"/>
                    </a:lnTo>
                    <a:lnTo>
                      <a:pt x="1186" y="1117"/>
                    </a:lnTo>
                    <a:lnTo>
                      <a:pt x="1186" y="1119"/>
                    </a:lnTo>
                    <a:lnTo>
                      <a:pt x="1186" y="1121"/>
                    </a:lnTo>
                    <a:lnTo>
                      <a:pt x="1186" y="1119"/>
                    </a:lnTo>
                    <a:lnTo>
                      <a:pt x="1185" y="1119"/>
                    </a:lnTo>
                    <a:lnTo>
                      <a:pt x="1185" y="1117"/>
                    </a:lnTo>
                    <a:lnTo>
                      <a:pt x="1183" y="1117"/>
                    </a:lnTo>
                    <a:lnTo>
                      <a:pt x="1183" y="1116"/>
                    </a:lnTo>
                    <a:lnTo>
                      <a:pt x="1183" y="1114"/>
                    </a:lnTo>
                    <a:lnTo>
                      <a:pt x="1183" y="1112"/>
                    </a:lnTo>
                    <a:lnTo>
                      <a:pt x="1185" y="1112"/>
                    </a:lnTo>
                    <a:close/>
                    <a:moveTo>
                      <a:pt x="1161" y="1235"/>
                    </a:moveTo>
                    <a:lnTo>
                      <a:pt x="1159" y="1236"/>
                    </a:lnTo>
                    <a:lnTo>
                      <a:pt x="1161" y="1236"/>
                    </a:lnTo>
                    <a:lnTo>
                      <a:pt x="1161" y="1238"/>
                    </a:lnTo>
                    <a:lnTo>
                      <a:pt x="1159" y="1240"/>
                    </a:lnTo>
                    <a:lnTo>
                      <a:pt x="1157" y="1240"/>
                    </a:lnTo>
                    <a:lnTo>
                      <a:pt x="1159" y="1240"/>
                    </a:lnTo>
                    <a:lnTo>
                      <a:pt x="1161" y="1240"/>
                    </a:lnTo>
                    <a:lnTo>
                      <a:pt x="1162" y="1240"/>
                    </a:lnTo>
                    <a:lnTo>
                      <a:pt x="1162" y="1242"/>
                    </a:lnTo>
                    <a:lnTo>
                      <a:pt x="1161" y="1242"/>
                    </a:lnTo>
                    <a:lnTo>
                      <a:pt x="1161" y="1243"/>
                    </a:lnTo>
                    <a:lnTo>
                      <a:pt x="1159" y="1243"/>
                    </a:lnTo>
                    <a:lnTo>
                      <a:pt x="1157" y="1243"/>
                    </a:lnTo>
                    <a:lnTo>
                      <a:pt x="1157" y="1242"/>
                    </a:lnTo>
                    <a:lnTo>
                      <a:pt x="1156" y="1240"/>
                    </a:lnTo>
                    <a:lnTo>
                      <a:pt x="1156" y="1242"/>
                    </a:lnTo>
                    <a:lnTo>
                      <a:pt x="1157" y="1243"/>
                    </a:lnTo>
                    <a:lnTo>
                      <a:pt x="1156" y="1243"/>
                    </a:lnTo>
                    <a:lnTo>
                      <a:pt x="1156" y="1242"/>
                    </a:lnTo>
                    <a:lnTo>
                      <a:pt x="1156" y="1240"/>
                    </a:lnTo>
                    <a:lnTo>
                      <a:pt x="1154" y="1240"/>
                    </a:lnTo>
                    <a:lnTo>
                      <a:pt x="1152" y="1240"/>
                    </a:lnTo>
                    <a:lnTo>
                      <a:pt x="1151" y="1240"/>
                    </a:lnTo>
                    <a:lnTo>
                      <a:pt x="1151" y="1242"/>
                    </a:lnTo>
                    <a:lnTo>
                      <a:pt x="1151" y="1240"/>
                    </a:lnTo>
                    <a:lnTo>
                      <a:pt x="1151" y="1238"/>
                    </a:lnTo>
                    <a:lnTo>
                      <a:pt x="1152" y="1238"/>
                    </a:lnTo>
                    <a:lnTo>
                      <a:pt x="1152" y="1236"/>
                    </a:lnTo>
                    <a:lnTo>
                      <a:pt x="1152" y="1238"/>
                    </a:lnTo>
                    <a:lnTo>
                      <a:pt x="1154" y="1236"/>
                    </a:lnTo>
                    <a:lnTo>
                      <a:pt x="1154" y="1238"/>
                    </a:lnTo>
                    <a:lnTo>
                      <a:pt x="1154" y="1240"/>
                    </a:lnTo>
                    <a:lnTo>
                      <a:pt x="1154" y="1238"/>
                    </a:lnTo>
                    <a:lnTo>
                      <a:pt x="1156" y="1238"/>
                    </a:lnTo>
                    <a:lnTo>
                      <a:pt x="1157" y="1238"/>
                    </a:lnTo>
                    <a:lnTo>
                      <a:pt x="1157" y="1236"/>
                    </a:lnTo>
                    <a:lnTo>
                      <a:pt x="1159" y="1236"/>
                    </a:lnTo>
                    <a:lnTo>
                      <a:pt x="1157" y="1236"/>
                    </a:lnTo>
                    <a:lnTo>
                      <a:pt x="1159" y="1235"/>
                    </a:lnTo>
                    <a:lnTo>
                      <a:pt x="1161" y="1235"/>
                    </a:lnTo>
                    <a:close/>
                    <a:moveTo>
                      <a:pt x="1234" y="1456"/>
                    </a:moveTo>
                    <a:lnTo>
                      <a:pt x="1234" y="1458"/>
                    </a:lnTo>
                    <a:lnTo>
                      <a:pt x="1232" y="1458"/>
                    </a:lnTo>
                    <a:lnTo>
                      <a:pt x="1232" y="1459"/>
                    </a:lnTo>
                    <a:lnTo>
                      <a:pt x="1232" y="1461"/>
                    </a:lnTo>
                    <a:lnTo>
                      <a:pt x="1230" y="1461"/>
                    </a:lnTo>
                    <a:lnTo>
                      <a:pt x="1230" y="1463"/>
                    </a:lnTo>
                    <a:lnTo>
                      <a:pt x="1230" y="1464"/>
                    </a:lnTo>
                    <a:lnTo>
                      <a:pt x="1229" y="1464"/>
                    </a:lnTo>
                    <a:lnTo>
                      <a:pt x="1229" y="1466"/>
                    </a:lnTo>
                    <a:lnTo>
                      <a:pt x="1227" y="1466"/>
                    </a:lnTo>
                    <a:lnTo>
                      <a:pt x="1225" y="1466"/>
                    </a:lnTo>
                    <a:lnTo>
                      <a:pt x="1225" y="1464"/>
                    </a:lnTo>
                    <a:lnTo>
                      <a:pt x="1225" y="1463"/>
                    </a:lnTo>
                    <a:lnTo>
                      <a:pt x="1225" y="1461"/>
                    </a:lnTo>
                    <a:lnTo>
                      <a:pt x="1227" y="1461"/>
                    </a:lnTo>
                    <a:lnTo>
                      <a:pt x="1227" y="1459"/>
                    </a:lnTo>
                    <a:lnTo>
                      <a:pt x="1229" y="1458"/>
                    </a:lnTo>
                    <a:lnTo>
                      <a:pt x="1230" y="1458"/>
                    </a:lnTo>
                    <a:lnTo>
                      <a:pt x="1230" y="1456"/>
                    </a:lnTo>
                    <a:lnTo>
                      <a:pt x="1232" y="1456"/>
                    </a:lnTo>
                    <a:lnTo>
                      <a:pt x="1234" y="1456"/>
                    </a:lnTo>
                    <a:lnTo>
                      <a:pt x="1234" y="1454"/>
                    </a:lnTo>
                    <a:lnTo>
                      <a:pt x="1234" y="1456"/>
                    </a:lnTo>
                    <a:close/>
                    <a:moveTo>
                      <a:pt x="1183" y="1117"/>
                    </a:moveTo>
                    <a:lnTo>
                      <a:pt x="1185" y="1117"/>
                    </a:lnTo>
                    <a:lnTo>
                      <a:pt x="1185" y="1119"/>
                    </a:lnTo>
                    <a:lnTo>
                      <a:pt x="1186" y="1119"/>
                    </a:lnTo>
                    <a:lnTo>
                      <a:pt x="1186" y="1121"/>
                    </a:lnTo>
                    <a:lnTo>
                      <a:pt x="1186" y="1122"/>
                    </a:lnTo>
                    <a:lnTo>
                      <a:pt x="1188" y="1124"/>
                    </a:lnTo>
                    <a:lnTo>
                      <a:pt x="1186" y="1124"/>
                    </a:lnTo>
                    <a:lnTo>
                      <a:pt x="1185" y="1124"/>
                    </a:lnTo>
                    <a:lnTo>
                      <a:pt x="1183" y="1124"/>
                    </a:lnTo>
                    <a:lnTo>
                      <a:pt x="1183" y="1122"/>
                    </a:lnTo>
                    <a:lnTo>
                      <a:pt x="1181" y="1122"/>
                    </a:lnTo>
                    <a:lnTo>
                      <a:pt x="1179" y="1122"/>
                    </a:lnTo>
                    <a:lnTo>
                      <a:pt x="1179" y="1121"/>
                    </a:lnTo>
                    <a:lnTo>
                      <a:pt x="1179" y="1119"/>
                    </a:lnTo>
                    <a:lnTo>
                      <a:pt x="1181" y="1117"/>
                    </a:lnTo>
                    <a:lnTo>
                      <a:pt x="1183" y="1117"/>
                    </a:lnTo>
                    <a:close/>
                    <a:moveTo>
                      <a:pt x="1173" y="1373"/>
                    </a:moveTo>
                    <a:lnTo>
                      <a:pt x="1174" y="1373"/>
                    </a:lnTo>
                    <a:lnTo>
                      <a:pt x="1174" y="1374"/>
                    </a:lnTo>
                    <a:lnTo>
                      <a:pt x="1176" y="1374"/>
                    </a:lnTo>
                    <a:lnTo>
                      <a:pt x="1178" y="1374"/>
                    </a:lnTo>
                    <a:lnTo>
                      <a:pt x="1176" y="1374"/>
                    </a:lnTo>
                    <a:lnTo>
                      <a:pt x="1178" y="1374"/>
                    </a:lnTo>
                    <a:lnTo>
                      <a:pt x="1178" y="1376"/>
                    </a:lnTo>
                    <a:lnTo>
                      <a:pt x="1176" y="1376"/>
                    </a:lnTo>
                    <a:lnTo>
                      <a:pt x="1176" y="1378"/>
                    </a:lnTo>
                    <a:lnTo>
                      <a:pt x="1176" y="1376"/>
                    </a:lnTo>
                    <a:lnTo>
                      <a:pt x="1176" y="1378"/>
                    </a:lnTo>
                    <a:lnTo>
                      <a:pt x="1174" y="1378"/>
                    </a:lnTo>
                    <a:lnTo>
                      <a:pt x="1174" y="1379"/>
                    </a:lnTo>
                    <a:lnTo>
                      <a:pt x="1173" y="1379"/>
                    </a:lnTo>
                    <a:lnTo>
                      <a:pt x="1173" y="1381"/>
                    </a:lnTo>
                    <a:lnTo>
                      <a:pt x="1171" y="1381"/>
                    </a:lnTo>
                    <a:lnTo>
                      <a:pt x="1169" y="1379"/>
                    </a:lnTo>
                    <a:lnTo>
                      <a:pt x="1171" y="1379"/>
                    </a:lnTo>
                    <a:lnTo>
                      <a:pt x="1171" y="1378"/>
                    </a:lnTo>
                    <a:lnTo>
                      <a:pt x="1171" y="1379"/>
                    </a:lnTo>
                    <a:lnTo>
                      <a:pt x="1171" y="1378"/>
                    </a:lnTo>
                    <a:lnTo>
                      <a:pt x="1171" y="1376"/>
                    </a:lnTo>
                    <a:lnTo>
                      <a:pt x="1171" y="1378"/>
                    </a:lnTo>
                    <a:lnTo>
                      <a:pt x="1169" y="1378"/>
                    </a:lnTo>
                    <a:lnTo>
                      <a:pt x="1169" y="1376"/>
                    </a:lnTo>
                    <a:lnTo>
                      <a:pt x="1171" y="1376"/>
                    </a:lnTo>
                    <a:lnTo>
                      <a:pt x="1171" y="1374"/>
                    </a:lnTo>
                    <a:lnTo>
                      <a:pt x="1173" y="1374"/>
                    </a:lnTo>
                    <a:lnTo>
                      <a:pt x="1173" y="1373"/>
                    </a:lnTo>
                    <a:close/>
                    <a:moveTo>
                      <a:pt x="1436" y="1645"/>
                    </a:moveTo>
                    <a:lnTo>
                      <a:pt x="1438" y="1645"/>
                    </a:lnTo>
                    <a:lnTo>
                      <a:pt x="1438" y="1646"/>
                    </a:lnTo>
                    <a:lnTo>
                      <a:pt x="1438" y="1648"/>
                    </a:lnTo>
                    <a:lnTo>
                      <a:pt x="1438" y="1650"/>
                    </a:lnTo>
                    <a:lnTo>
                      <a:pt x="1438" y="1652"/>
                    </a:lnTo>
                    <a:lnTo>
                      <a:pt x="1436" y="1652"/>
                    </a:lnTo>
                    <a:lnTo>
                      <a:pt x="1438" y="1653"/>
                    </a:lnTo>
                    <a:lnTo>
                      <a:pt x="1436" y="1652"/>
                    </a:lnTo>
                    <a:lnTo>
                      <a:pt x="1436" y="1653"/>
                    </a:lnTo>
                    <a:lnTo>
                      <a:pt x="1434" y="1653"/>
                    </a:lnTo>
                    <a:lnTo>
                      <a:pt x="1433" y="1653"/>
                    </a:lnTo>
                    <a:lnTo>
                      <a:pt x="1431" y="1653"/>
                    </a:lnTo>
                    <a:lnTo>
                      <a:pt x="1431" y="1652"/>
                    </a:lnTo>
                    <a:lnTo>
                      <a:pt x="1431" y="1650"/>
                    </a:lnTo>
                    <a:lnTo>
                      <a:pt x="1431" y="1648"/>
                    </a:lnTo>
                    <a:lnTo>
                      <a:pt x="1433" y="1646"/>
                    </a:lnTo>
                    <a:lnTo>
                      <a:pt x="1434" y="1645"/>
                    </a:lnTo>
                    <a:lnTo>
                      <a:pt x="1436" y="1645"/>
                    </a:lnTo>
                    <a:close/>
                    <a:moveTo>
                      <a:pt x="1171" y="1036"/>
                    </a:moveTo>
                    <a:lnTo>
                      <a:pt x="1173" y="1036"/>
                    </a:lnTo>
                    <a:lnTo>
                      <a:pt x="1174" y="1036"/>
                    </a:lnTo>
                    <a:lnTo>
                      <a:pt x="1176" y="1037"/>
                    </a:lnTo>
                    <a:lnTo>
                      <a:pt x="1176" y="1039"/>
                    </a:lnTo>
                    <a:lnTo>
                      <a:pt x="1178" y="1039"/>
                    </a:lnTo>
                    <a:lnTo>
                      <a:pt x="1176" y="1039"/>
                    </a:lnTo>
                    <a:lnTo>
                      <a:pt x="1176" y="1041"/>
                    </a:lnTo>
                    <a:lnTo>
                      <a:pt x="1174" y="1041"/>
                    </a:lnTo>
                    <a:lnTo>
                      <a:pt x="1173" y="1041"/>
                    </a:lnTo>
                    <a:lnTo>
                      <a:pt x="1171" y="1041"/>
                    </a:lnTo>
                    <a:lnTo>
                      <a:pt x="1171" y="1043"/>
                    </a:lnTo>
                    <a:lnTo>
                      <a:pt x="1169" y="1041"/>
                    </a:lnTo>
                    <a:lnTo>
                      <a:pt x="1169" y="1039"/>
                    </a:lnTo>
                    <a:lnTo>
                      <a:pt x="1169" y="1037"/>
                    </a:lnTo>
                    <a:lnTo>
                      <a:pt x="1168" y="1037"/>
                    </a:lnTo>
                    <a:lnTo>
                      <a:pt x="1169" y="1037"/>
                    </a:lnTo>
                    <a:lnTo>
                      <a:pt x="1168" y="1036"/>
                    </a:lnTo>
                    <a:lnTo>
                      <a:pt x="1169" y="1037"/>
                    </a:lnTo>
                    <a:lnTo>
                      <a:pt x="1171" y="1037"/>
                    </a:lnTo>
                    <a:lnTo>
                      <a:pt x="1171" y="1036"/>
                    </a:lnTo>
                    <a:lnTo>
                      <a:pt x="1171" y="1034"/>
                    </a:lnTo>
                    <a:lnTo>
                      <a:pt x="1171" y="1036"/>
                    </a:lnTo>
                    <a:close/>
                    <a:moveTo>
                      <a:pt x="1195" y="1420"/>
                    </a:moveTo>
                    <a:lnTo>
                      <a:pt x="1196" y="1420"/>
                    </a:lnTo>
                    <a:lnTo>
                      <a:pt x="1198" y="1420"/>
                    </a:lnTo>
                    <a:lnTo>
                      <a:pt x="1198" y="1422"/>
                    </a:lnTo>
                    <a:lnTo>
                      <a:pt x="1198" y="1424"/>
                    </a:lnTo>
                    <a:lnTo>
                      <a:pt x="1198" y="1425"/>
                    </a:lnTo>
                    <a:lnTo>
                      <a:pt x="1196" y="1424"/>
                    </a:lnTo>
                    <a:lnTo>
                      <a:pt x="1196" y="1425"/>
                    </a:lnTo>
                    <a:lnTo>
                      <a:pt x="1198" y="1427"/>
                    </a:lnTo>
                    <a:lnTo>
                      <a:pt x="1196" y="1427"/>
                    </a:lnTo>
                    <a:lnTo>
                      <a:pt x="1195" y="1429"/>
                    </a:lnTo>
                    <a:lnTo>
                      <a:pt x="1195" y="1427"/>
                    </a:lnTo>
                    <a:lnTo>
                      <a:pt x="1193" y="1425"/>
                    </a:lnTo>
                    <a:lnTo>
                      <a:pt x="1193" y="1424"/>
                    </a:lnTo>
                    <a:lnTo>
                      <a:pt x="1193" y="1425"/>
                    </a:lnTo>
                    <a:lnTo>
                      <a:pt x="1193" y="1424"/>
                    </a:lnTo>
                    <a:lnTo>
                      <a:pt x="1193" y="1422"/>
                    </a:lnTo>
                    <a:lnTo>
                      <a:pt x="1193" y="1420"/>
                    </a:lnTo>
                    <a:lnTo>
                      <a:pt x="1195" y="1420"/>
                    </a:lnTo>
                    <a:close/>
                    <a:moveTo>
                      <a:pt x="1412" y="1680"/>
                    </a:moveTo>
                    <a:lnTo>
                      <a:pt x="1414" y="1680"/>
                    </a:lnTo>
                    <a:lnTo>
                      <a:pt x="1416" y="1682"/>
                    </a:lnTo>
                    <a:lnTo>
                      <a:pt x="1414" y="1682"/>
                    </a:lnTo>
                    <a:lnTo>
                      <a:pt x="1414" y="1684"/>
                    </a:lnTo>
                    <a:lnTo>
                      <a:pt x="1412" y="1684"/>
                    </a:lnTo>
                    <a:lnTo>
                      <a:pt x="1414" y="1684"/>
                    </a:lnTo>
                    <a:lnTo>
                      <a:pt x="1414" y="1686"/>
                    </a:lnTo>
                    <a:lnTo>
                      <a:pt x="1412" y="1686"/>
                    </a:lnTo>
                    <a:lnTo>
                      <a:pt x="1412" y="1684"/>
                    </a:lnTo>
                    <a:lnTo>
                      <a:pt x="1412" y="1686"/>
                    </a:lnTo>
                    <a:lnTo>
                      <a:pt x="1411" y="1687"/>
                    </a:lnTo>
                    <a:lnTo>
                      <a:pt x="1411" y="1686"/>
                    </a:lnTo>
                    <a:lnTo>
                      <a:pt x="1411" y="1684"/>
                    </a:lnTo>
                    <a:lnTo>
                      <a:pt x="1412" y="1684"/>
                    </a:lnTo>
                    <a:lnTo>
                      <a:pt x="1411" y="1682"/>
                    </a:lnTo>
                    <a:lnTo>
                      <a:pt x="1411" y="1684"/>
                    </a:lnTo>
                    <a:lnTo>
                      <a:pt x="1409" y="1684"/>
                    </a:lnTo>
                    <a:lnTo>
                      <a:pt x="1409" y="1686"/>
                    </a:lnTo>
                    <a:lnTo>
                      <a:pt x="1407" y="1686"/>
                    </a:lnTo>
                    <a:lnTo>
                      <a:pt x="1407" y="1684"/>
                    </a:lnTo>
                    <a:lnTo>
                      <a:pt x="1407" y="1682"/>
                    </a:lnTo>
                    <a:lnTo>
                      <a:pt x="1407" y="1684"/>
                    </a:lnTo>
                    <a:lnTo>
                      <a:pt x="1406" y="1684"/>
                    </a:lnTo>
                    <a:lnTo>
                      <a:pt x="1406" y="1686"/>
                    </a:lnTo>
                    <a:lnTo>
                      <a:pt x="1404" y="1686"/>
                    </a:lnTo>
                    <a:lnTo>
                      <a:pt x="1404" y="1684"/>
                    </a:lnTo>
                    <a:lnTo>
                      <a:pt x="1404" y="1686"/>
                    </a:lnTo>
                    <a:lnTo>
                      <a:pt x="1402" y="1686"/>
                    </a:lnTo>
                    <a:lnTo>
                      <a:pt x="1402" y="1684"/>
                    </a:lnTo>
                    <a:lnTo>
                      <a:pt x="1402" y="1682"/>
                    </a:lnTo>
                    <a:lnTo>
                      <a:pt x="1402" y="1680"/>
                    </a:lnTo>
                    <a:lnTo>
                      <a:pt x="1404" y="1682"/>
                    </a:lnTo>
                    <a:lnTo>
                      <a:pt x="1404" y="1680"/>
                    </a:lnTo>
                    <a:lnTo>
                      <a:pt x="1406" y="1680"/>
                    </a:lnTo>
                    <a:lnTo>
                      <a:pt x="1406" y="1682"/>
                    </a:lnTo>
                    <a:lnTo>
                      <a:pt x="1406" y="1680"/>
                    </a:lnTo>
                    <a:lnTo>
                      <a:pt x="1407" y="1682"/>
                    </a:lnTo>
                    <a:lnTo>
                      <a:pt x="1409" y="1680"/>
                    </a:lnTo>
                    <a:lnTo>
                      <a:pt x="1409" y="1682"/>
                    </a:lnTo>
                    <a:lnTo>
                      <a:pt x="1411" y="1680"/>
                    </a:lnTo>
                    <a:lnTo>
                      <a:pt x="1411" y="1682"/>
                    </a:lnTo>
                    <a:lnTo>
                      <a:pt x="1411" y="1680"/>
                    </a:lnTo>
                    <a:lnTo>
                      <a:pt x="1412" y="1682"/>
                    </a:lnTo>
                    <a:lnTo>
                      <a:pt x="1414" y="1680"/>
                    </a:lnTo>
                    <a:lnTo>
                      <a:pt x="1412" y="1680"/>
                    </a:lnTo>
                    <a:lnTo>
                      <a:pt x="1412" y="1679"/>
                    </a:lnTo>
                    <a:lnTo>
                      <a:pt x="1412" y="1680"/>
                    </a:lnTo>
                    <a:close/>
                    <a:moveTo>
                      <a:pt x="1162" y="1446"/>
                    </a:moveTo>
                    <a:lnTo>
                      <a:pt x="1164" y="1447"/>
                    </a:lnTo>
                    <a:lnTo>
                      <a:pt x="1162" y="1449"/>
                    </a:lnTo>
                    <a:lnTo>
                      <a:pt x="1164" y="1449"/>
                    </a:lnTo>
                    <a:lnTo>
                      <a:pt x="1162" y="1451"/>
                    </a:lnTo>
                    <a:lnTo>
                      <a:pt x="1164" y="1451"/>
                    </a:lnTo>
                    <a:lnTo>
                      <a:pt x="1164" y="1453"/>
                    </a:lnTo>
                    <a:lnTo>
                      <a:pt x="1162" y="1453"/>
                    </a:lnTo>
                    <a:lnTo>
                      <a:pt x="1162" y="1454"/>
                    </a:lnTo>
                    <a:lnTo>
                      <a:pt x="1162" y="1456"/>
                    </a:lnTo>
                    <a:lnTo>
                      <a:pt x="1161" y="1456"/>
                    </a:lnTo>
                    <a:lnTo>
                      <a:pt x="1161" y="1458"/>
                    </a:lnTo>
                    <a:lnTo>
                      <a:pt x="1159" y="1458"/>
                    </a:lnTo>
                    <a:lnTo>
                      <a:pt x="1159" y="1456"/>
                    </a:lnTo>
                    <a:lnTo>
                      <a:pt x="1161" y="1454"/>
                    </a:lnTo>
                    <a:lnTo>
                      <a:pt x="1161" y="1453"/>
                    </a:lnTo>
                    <a:lnTo>
                      <a:pt x="1159" y="1453"/>
                    </a:lnTo>
                    <a:lnTo>
                      <a:pt x="1159" y="1451"/>
                    </a:lnTo>
                    <a:lnTo>
                      <a:pt x="1161" y="1451"/>
                    </a:lnTo>
                    <a:lnTo>
                      <a:pt x="1159" y="1449"/>
                    </a:lnTo>
                    <a:lnTo>
                      <a:pt x="1161" y="1447"/>
                    </a:lnTo>
                    <a:lnTo>
                      <a:pt x="1161" y="1449"/>
                    </a:lnTo>
                    <a:lnTo>
                      <a:pt x="1161" y="1447"/>
                    </a:lnTo>
                    <a:lnTo>
                      <a:pt x="1162" y="1447"/>
                    </a:lnTo>
                    <a:lnTo>
                      <a:pt x="1162" y="1446"/>
                    </a:lnTo>
                    <a:close/>
                    <a:moveTo>
                      <a:pt x="1312" y="1623"/>
                    </a:moveTo>
                    <a:lnTo>
                      <a:pt x="1314" y="1623"/>
                    </a:lnTo>
                    <a:lnTo>
                      <a:pt x="1315" y="1623"/>
                    </a:lnTo>
                    <a:lnTo>
                      <a:pt x="1317" y="1623"/>
                    </a:lnTo>
                    <a:lnTo>
                      <a:pt x="1315" y="1624"/>
                    </a:lnTo>
                    <a:lnTo>
                      <a:pt x="1317" y="1624"/>
                    </a:lnTo>
                    <a:lnTo>
                      <a:pt x="1319" y="1624"/>
                    </a:lnTo>
                    <a:lnTo>
                      <a:pt x="1317" y="1626"/>
                    </a:lnTo>
                    <a:lnTo>
                      <a:pt x="1315" y="1626"/>
                    </a:lnTo>
                    <a:lnTo>
                      <a:pt x="1314" y="1626"/>
                    </a:lnTo>
                    <a:lnTo>
                      <a:pt x="1314" y="1628"/>
                    </a:lnTo>
                    <a:lnTo>
                      <a:pt x="1312" y="1626"/>
                    </a:lnTo>
                    <a:lnTo>
                      <a:pt x="1312" y="1628"/>
                    </a:lnTo>
                    <a:lnTo>
                      <a:pt x="1310" y="1628"/>
                    </a:lnTo>
                    <a:lnTo>
                      <a:pt x="1310" y="1626"/>
                    </a:lnTo>
                    <a:lnTo>
                      <a:pt x="1309" y="1628"/>
                    </a:lnTo>
                    <a:lnTo>
                      <a:pt x="1309" y="1626"/>
                    </a:lnTo>
                    <a:lnTo>
                      <a:pt x="1307" y="1624"/>
                    </a:lnTo>
                    <a:lnTo>
                      <a:pt x="1307" y="1626"/>
                    </a:lnTo>
                    <a:lnTo>
                      <a:pt x="1305" y="1626"/>
                    </a:lnTo>
                    <a:lnTo>
                      <a:pt x="1305" y="1624"/>
                    </a:lnTo>
                    <a:lnTo>
                      <a:pt x="1307" y="1624"/>
                    </a:lnTo>
                    <a:lnTo>
                      <a:pt x="1307" y="1623"/>
                    </a:lnTo>
                    <a:lnTo>
                      <a:pt x="1309" y="1623"/>
                    </a:lnTo>
                    <a:lnTo>
                      <a:pt x="1309" y="1624"/>
                    </a:lnTo>
                    <a:lnTo>
                      <a:pt x="1310" y="1623"/>
                    </a:lnTo>
                    <a:lnTo>
                      <a:pt x="1312" y="1623"/>
                    </a:lnTo>
                    <a:close/>
                    <a:moveTo>
                      <a:pt x="1179" y="1133"/>
                    </a:moveTo>
                    <a:lnTo>
                      <a:pt x="1179" y="1134"/>
                    </a:lnTo>
                    <a:lnTo>
                      <a:pt x="1178" y="1134"/>
                    </a:lnTo>
                    <a:lnTo>
                      <a:pt x="1178" y="1136"/>
                    </a:lnTo>
                    <a:lnTo>
                      <a:pt x="1178" y="1138"/>
                    </a:lnTo>
                    <a:lnTo>
                      <a:pt x="1178" y="1140"/>
                    </a:lnTo>
                    <a:lnTo>
                      <a:pt x="1176" y="1141"/>
                    </a:lnTo>
                    <a:lnTo>
                      <a:pt x="1176" y="1140"/>
                    </a:lnTo>
                    <a:lnTo>
                      <a:pt x="1174" y="1141"/>
                    </a:lnTo>
                    <a:lnTo>
                      <a:pt x="1173" y="1140"/>
                    </a:lnTo>
                    <a:lnTo>
                      <a:pt x="1174" y="1140"/>
                    </a:lnTo>
                    <a:lnTo>
                      <a:pt x="1173" y="1140"/>
                    </a:lnTo>
                    <a:lnTo>
                      <a:pt x="1173" y="1138"/>
                    </a:lnTo>
                    <a:lnTo>
                      <a:pt x="1174" y="1136"/>
                    </a:lnTo>
                    <a:lnTo>
                      <a:pt x="1174" y="1134"/>
                    </a:lnTo>
                    <a:lnTo>
                      <a:pt x="1176" y="1133"/>
                    </a:lnTo>
                    <a:lnTo>
                      <a:pt x="1178" y="1133"/>
                    </a:lnTo>
                    <a:lnTo>
                      <a:pt x="1179" y="1133"/>
                    </a:lnTo>
                    <a:close/>
                    <a:moveTo>
                      <a:pt x="1166" y="1473"/>
                    </a:moveTo>
                    <a:lnTo>
                      <a:pt x="1168" y="1473"/>
                    </a:lnTo>
                    <a:lnTo>
                      <a:pt x="1169" y="1473"/>
                    </a:lnTo>
                    <a:lnTo>
                      <a:pt x="1169" y="1475"/>
                    </a:lnTo>
                    <a:lnTo>
                      <a:pt x="1171" y="1475"/>
                    </a:lnTo>
                    <a:lnTo>
                      <a:pt x="1171" y="1476"/>
                    </a:lnTo>
                    <a:lnTo>
                      <a:pt x="1173" y="1476"/>
                    </a:lnTo>
                    <a:lnTo>
                      <a:pt x="1174" y="1475"/>
                    </a:lnTo>
                    <a:lnTo>
                      <a:pt x="1176" y="1473"/>
                    </a:lnTo>
                    <a:lnTo>
                      <a:pt x="1176" y="1475"/>
                    </a:lnTo>
                    <a:lnTo>
                      <a:pt x="1176" y="1476"/>
                    </a:lnTo>
                    <a:lnTo>
                      <a:pt x="1174" y="1476"/>
                    </a:lnTo>
                    <a:lnTo>
                      <a:pt x="1176" y="1478"/>
                    </a:lnTo>
                    <a:lnTo>
                      <a:pt x="1174" y="1478"/>
                    </a:lnTo>
                    <a:lnTo>
                      <a:pt x="1176" y="1480"/>
                    </a:lnTo>
                    <a:lnTo>
                      <a:pt x="1174" y="1480"/>
                    </a:lnTo>
                    <a:lnTo>
                      <a:pt x="1173" y="1478"/>
                    </a:lnTo>
                    <a:lnTo>
                      <a:pt x="1173" y="1480"/>
                    </a:lnTo>
                    <a:lnTo>
                      <a:pt x="1174" y="1480"/>
                    </a:lnTo>
                    <a:lnTo>
                      <a:pt x="1173" y="1480"/>
                    </a:lnTo>
                    <a:lnTo>
                      <a:pt x="1171" y="1480"/>
                    </a:lnTo>
                    <a:lnTo>
                      <a:pt x="1169" y="1480"/>
                    </a:lnTo>
                    <a:lnTo>
                      <a:pt x="1171" y="1478"/>
                    </a:lnTo>
                    <a:lnTo>
                      <a:pt x="1169" y="1478"/>
                    </a:lnTo>
                    <a:lnTo>
                      <a:pt x="1171" y="1476"/>
                    </a:lnTo>
                    <a:lnTo>
                      <a:pt x="1169" y="1476"/>
                    </a:lnTo>
                    <a:lnTo>
                      <a:pt x="1168" y="1476"/>
                    </a:lnTo>
                    <a:lnTo>
                      <a:pt x="1166" y="1475"/>
                    </a:lnTo>
                    <a:lnTo>
                      <a:pt x="1166" y="1473"/>
                    </a:lnTo>
                    <a:close/>
                    <a:moveTo>
                      <a:pt x="1178" y="1459"/>
                    </a:moveTo>
                    <a:lnTo>
                      <a:pt x="1179" y="1459"/>
                    </a:lnTo>
                    <a:lnTo>
                      <a:pt x="1181" y="1459"/>
                    </a:lnTo>
                    <a:lnTo>
                      <a:pt x="1181" y="1461"/>
                    </a:lnTo>
                    <a:lnTo>
                      <a:pt x="1179" y="1461"/>
                    </a:lnTo>
                    <a:lnTo>
                      <a:pt x="1181" y="1461"/>
                    </a:lnTo>
                    <a:lnTo>
                      <a:pt x="1179" y="1463"/>
                    </a:lnTo>
                    <a:lnTo>
                      <a:pt x="1179" y="1464"/>
                    </a:lnTo>
                    <a:lnTo>
                      <a:pt x="1178" y="1464"/>
                    </a:lnTo>
                    <a:lnTo>
                      <a:pt x="1178" y="1466"/>
                    </a:lnTo>
                    <a:lnTo>
                      <a:pt x="1176" y="1464"/>
                    </a:lnTo>
                    <a:lnTo>
                      <a:pt x="1176" y="1466"/>
                    </a:lnTo>
                    <a:lnTo>
                      <a:pt x="1176" y="1464"/>
                    </a:lnTo>
                    <a:lnTo>
                      <a:pt x="1176" y="1463"/>
                    </a:lnTo>
                    <a:lnTo>
                      <a:pt x="1176" y="1464"/>
                    </a:lnTo>
                    <a:lnTo>
                      <a:pt x="1174" y="1464"/>
                    </a:lnTo>
                    <a:lnTo>
                      <a:pt x="1176" y="1464"/>
                    </a:lnTo>
                    <a:lnTo>
                      <a:pt x="1176" y="1466"/>
                    </a:lnTo>
                    <a:lnTo>
                      <a:pt x="1174" y="1466"/>
                    </a:lnTo>
                    <a:lnTo>
                      <a:pt x="1174" y="1468"/>
                    </a:lnTo>
                    <a:lnTo>
                      <a:pt x="1174" y="1466"/>
                    </a:lnTo>
                    <a:lnTo>
                      <a:pt x="1173" y="1468"/>
                    </a:lnTo>
                    <a:lnTo>
                      <a:pt x="1173" y="1466"/>
                    </a:lnTo>
                    <a:lnTo>
                      <a:pt x="1173" y="1464"/>
                    </a:lnTo>
                    <a:lnTo>
                      <a:pt x="1174" y="1463"/>
                    </a:lnTo>
                    <a:lnTo>
                      <a:pt x="1176" y="1461"/>
                    </a:lnTo>
                    <a:lnTo>
                      <a:pt x="1176" y="1463"/>
                    </a:lnTo>
                    <a:lnTo>
                      <a:pt x="1178" y="1463"/>
                    </a:lnTo>
                    <a:lnTo>
                      <a:pt x="1176" y="1461"/>
                    </a:lnTo>
                    <a:lnTo>
                      <a:pt x="1178" y="1459"/>
                    </a:lnTo>
                    <a:lnTo>
                      <a:pt x="1178" y="1458"/>
                    </a:lnTo>
                    <a:lnTo>
                      <a:pt x="1178" y="1459"/>
                    </a:lnTo>
                    <a:close/>
                    <a:moveTo>
                      <a:pt x="1202" y="1094"/>
                    </a:moveTo>
                    <a:lnTo>
                      <a:pt x="1203" y="1094"/>
                    </a:lnTo>
                    <a:lnTo>
                      <a:pt x="1203" y="1095"/>
                    </a:lnTo>
                    <a:lnTo>
                      <a:pt x="1203" y="1097"/>
                    </a:lnTo>
                    <a:lnTo>
                      <a:pt x="1205" y="1099"/>
                    </a:lnTo>
                    <a:lnTo>
                      <a:pt x="1205" y="1100"/>
                    </a:lnTo>
                    <a:lnTo>
                      <a:pt x="1203" y="1100"/>
                    </a:lnTo>
                    <a:lnTo>
                      <a:pt x="1205" y="1100"/>
                    </a:lnTo>
                    <a:lnTo>
                      <a:pt x="1205" y="1102"/>
                    </a:lnTo>
                    <a:lnTo>
                      <a:pt x="1203" y="1102"/>
                    </a:lnTo>
                    <a:lnTo>
                      <a:pt x="1202" y="1102"/>
                    </a:lnTo>
                    <a:lnTo>
                      <a:pt x="1202" y="1100"/>
                    </a:lnTo>
                    <a:lnTo>
                      <a:pt x="1200" y="1100"/>
                    </a:lnTo>
                    <a:lnTo>
                      <a:pt x="1200" y="1099"/>
                    </a:lnTo>
                    <a:lnTo>
                      <a:pt x="1200" y="1097"/>
                    </a:lnTo>
                    <a:lnTo>
                      <a:pt x="1200" y="1099"/>
                    </a:lnTo>
                    <a:lnTo>
                      <a:pt x="1202" y="1099"/>
                    </a:lnTo>
                    <a:lnTo>
                      <a:pt x="1203" y="1099"/>
                    </a:lnTo>
                    <a:lnTo>
                      <a:pt x="1202" y="1099"/>
                    </a:lnTo>
                    <a:lnTo>
                      <a:pt x="1202" y="1097"/>
                    </a:lnTo>
                    <a:lnTo>
                      <a:pt x="1200" y="1097"/>
                    </a:lnTo>
                    <a:lnTo>
                      <a:pt x="1200" y="1095"/>
                    </a:lnTo>
                    <a:lnTo>
                      <a:pt x="1200" y="1094"/>
                    </a:lnTo>
                    <a:lnTo>
                      <a:pt x="1202" y="1094"/>
                    </a:lnTo>
                    <a:close/>
                    <a:moveTo>
                      <a:pt x="1195" y="1140"/>
                    </a:moveTo>
                    <a:lnTo>
                      <a:pt x="1196" y="1140"/>
                    </a:lnTo>
                    <a:lnTo>
                      <a:pt x="1198" y="1141"/>
                    </a:lnTo>
                    <a:lnTo>
                      <a:pt x="1200" y="1140"/>
                    </a:lnTo>
                    <a:lnTo>
                      <a:pt x="1200" y="1141"/>
                    </a:lnTo>
                    <a:lnTo>
                      <a:pt x="1198" y="1141"/>
                    </a:lnTo>
                    <a:lnTo>
                      <a:pt x="1198" y="1143"/>
                    </a:lnTo>
                    <a:lnTo>
                      <a:pt x="1198" y="1145"/>
                    </a:lnTo>
                    <a:lnTo>
                      <a:pt x="1198" y="1146"/>
                    </a:lnTo>
                    <a:lnTo>
                      <a:pt x="1198" y="1148"/>
                    </a:lnTo>
                    <a:lnTo>
                      <a:pt x="1196" y="1150"/>
                    </a:lnTo>
                    <a:lnTo>
                      <a:pt x="1196" y="1148"/>
                    </a:lnTo>
                    <a:lnTo>
                      <a:pt x="1196" y="1146"/>
                    </a:lnTo>
                    <a:lnTo>
                      <a:pt x="1196" y="1145"/>
                    </a:lnTo>
                    <a:lnTo>
                      <a:pt x="1195" y="1146"/>
                    </a:lnTo>
                    <a:lnTo>
                      <a:pt x="1195" y="1145"/>
                    </a:lnTo>
                    <a:lnTo>
                      <a:pt x="1195" y="1143"/>
                    </a:lnTo>
                    <a:lnTo>
                      <a:pt x="1195" y="1145"/>
                    </a:lnTo>
                    <a:lnTo>
                      <a:pt x="1193" y="1143"/>
                    </a:lnTo>
                    <a:lnTo>
                      <a:pt x="1193" y="1141"/>
                    </a:lnTo>
                    <a:lnTo>
                      <a:pt x="1195" y="1141"/>
                    </a:lnTo>
                    <a:lnTo>
                      <a:pt x="1195" y="1140"/>
                    </a:lnTo>
                    <a:close/>
                    <a:moveTo>
                      <a:pt x="1219" y="1575"/>
                    </a:moveTo>
                    <a:lnTo>
                      <a:pt x="1217" y="1575"/>
                    </a:lnTo>
                    <a:lnTo>
                      <a:pt x="1217" y="1577"/>
                    </a:lnTo>
                    <a:lnTo>
                      <a:pt x="1219" y="1575"/>
                    </a:lnTo>
                    <a:lnTo>
                      <a:pt x="1220" y="1575"/>
                    </a:lnTo>
                    <a:lnTo>
                      <a:pt x="1219" y="1577"/>
                    </a:lnTo>
                    <a:lnTo>
                      <a:pt x="1220" y="1577"/>
                    </a:lnTo>
                    <a:lnTo>
                      <a:pt x="1220" y="1578"/>
                    </a:lnTo>
                    <a:lnTo>
                      <a:pt x="1219" y="1578"/>
                    </a:lnTo>
                    <a:lnTo>
                      <a:pt x="1220" y="1578"/>
                    </a:lnTo>
                    <a:lnTo>
                      <a:pt x="1220" y="1577"/>
                    </a:lnTo>
                    <a:lnTo>
                      <a:pt x="1222" y="1577"/>
                    </a:lnTo>
                    <a:lnTo>
                      <a:pt x="1222" y="1578"/>
                    </a:lnTo>
                    <a:lnTo>
                      <a:pt x="1222" y="1580"/>
                    </a:lnTo>
                    <a:lnTo>
                      <a:pt x="1222" y="1578"/>
                    </a:lnTo>
                    <a:lnTo>
                      <a:pt x="1224" y="1578"/>
                    </a:lnTo>
                    <a:lnTo>
                      <a:pt x="1224" y="1580"/>
                    </a:lnTo>
                    <a:lnTo>
                      <a:pt x="1222" y="1580"/>
                    </a:lnTo>
                    <a:lnTo>
                      <a:pt x="1224" y="1580"/>
                    </a:lnTo>
                    <a:lnTo>
                      <a:pt x="1222" y="1582"/>
                    </a:lnTo>
                    <a:lnTo>
                      <a:pt x="1222" y="1580"/>
                    </a:lnTo>
                    <a:lnTo>
                      <a:pt x="1222" y="1582"/>
                    </a:lnTo>
                    <a:lnTo>
                      <a:pt x="1220" y="1580"/>
                    </a:lnTo>
                    <a:lnTo>
                      <a:pt x="1220" y="1578"/>
                    </a:lnTo>
                    <a:lnTo>
                      <a:pt x="1220" y="1580"/>
                    </a:lnTo>
                    <a:lnTo>
                      <a:pt x="1220" y="1582"/>
                    </a:lnTo>
                    <a:lnTo>
                      <a:pt x="1220" y="1583"/>
                    </a:lnTo>
                    <a:lnTo>
                      <a:pt x="1220" y="1582"/>
                    </a:lnTo>
                    <a:lnTo>
                      <a:pt x="1219" y="1582"/>
                    </a:lnTo>
                    <a:lnTo>
                      <a:pt x="1217" y="1582"/>
                    </a:lnTo>
                    <a:lnTo>
                      <a:pt x="1219" y="1582"/>
                    </a:lnTo>
                    <a:lnTo>
                      <a:pt x="1219" y="1580"/>
                    </a:lnTo>
                    <a:lnTo>
                      <a:pt x="1219" y="1578"/>
                    </a:lnTo>
                    <a:lnTo>
                      <a:pt x="1217" y="1578"/>
                    </a:lnTo>
                    <a:lnTo>
                      <a:pt x="1217" y="1580"/>
                    </a:lnTo>
                    <a:lnTo>
                      <a:pt x="1215" y="1578"/>
                    </a:lnTo>
                    <a:lnTo>
                      <a:pt x="1213" y="1578"/>
                    </a:lnTo>
                    <a:lnTo>
                      <a:pt x="1215" y="1578"/>
                    </a:lnTo>
                    <a:lnTo>
                      <a:pt x="1215" y="1577"/>
                    </a:lnTo>
                    <a:lnTo>
                      <a:pt x="1215" y="1575"/>
                    </a:lnTo>
                    <a:lnTo>
                      <a:pt x="1217" y="1577"/>
                    </a:lnTo>
                    <a:lnTo>
                      <a:pt x="1217" y="1575"/>
                    </a:lnTo>
                    <a:lnTo>
                      <a:pt x="1217" y="1573"/>
                    </a:lnTo>
                    <a:lnTo>
                      <a:pt x="1219" y="1575"/>
                    </a:lnTo>
                    <a:close/>
                    <a:moveTo>
                      <a:pt x="1191" y="1422"/>
                    </a:moveTo>
                    <a:lnTo>
                      <a:pt x="1191" y="1424"/>
                    </a:lnTo>
                    <a:lnTo>
                      <a:pt x="1191" y="1425"/>
                    </a:lnTo>
                    <a:lnTo>
                      <a:pt x="1191" y="1427"/>
                    </a:lnTo>
                    <a:lnTo>
                      <a:pt x="1193" y="1427"/>
                    </a:lnTo>
                    <a:lnTo>
                      <a:pt x="1191" y="1427"/>
                    </a:lnTo>
                    <a:lnTo>
                      <a:pt x="1191" y="1429"/>
                    </a:lnTo>
                    <a:lnTo>
                      <a:pt x="1191" y="1427"/>
                    </a:lnTo>
                    <a:lnTo>
                      <a:pt x="1193" y="1429"/>
                    </a:lnTo>
                    <a:lnTo>
                      <a:pt x="1193" y="1430"/>
                    </a:lnTo>
                    <a:lnTo>
                      <a:pt x="1193" y="1432"/>
                    </a:lnTo>
                    <a:lnTo>
                      <a:pt x="1191" y="1430"/>
                    </a:lnTo>
                    <a:lnTo>
                      <a:pt x="1191" y="1432"/>
                    </a:lnTo>
                    <a:lnTo>
                      <a:pt x="1191" y="1430"/>
                    </a:lnTo>
                    <a:lnTo>
                      <a:pt x="1190" y="1432"/>
                    </a:lnTo>
                    <a:lnTo>
                      <a:pt x="1190" y="1430"/>
                    </a:lnTo>
                    <a:lnTo>
                      <a:pt x="1188" y="1430"/>
                    </a:lnTo>
                    <a:lnTo>
                      <a:pt x="1188" y="1429"/>
                    </a:lnTo>
                    <a:lnTo>
                      <a:pt x="1190" y="1429"/>
                    </a:lnTo>
                    <a:lnTo>
                      <a:pt x="1188" y="1427"/>
                    </a:lnTo>
                    <a:lnTo>
                      <a:pt x="1188" y="1425"/>
                    </a:lnTo>
                    <a:lnTo>
                      <a:pt x="1188" y="1424"/>
                    </a:lnTo>
                    <a:lnTo>
                      <a:pt x="1190" y="1424"/>
                    </a:lnTo>
                    <a:lnTo>
                      <a:pt x="1191" y="1422"/>
                    </a:lnTo>
                    <a:close/>
                    <a:moveTo>
                      <a:pt x="1159" y="1094"/>
                    </a:moveTo>
                    <a:lnTo>
                      <a:pt x="1159" y="1095"/>
                    </a:lnTo>
                    <a:lnTo>
                      <a:pt x="1161" y="1095"/>
                    </a:lnTo>
                    <a:lnTo>
                      <a:pt x="1161" y="1097"/>
                    </a:lnTo>
                    <a:lnTo>
                      <a:pt x="1162" y="1097"/>
                    </a:lnTo>
                    <a:lnTo>
                      <a:pt x="1161" y="1099"/>
                    </a:lnTo>
                    <a:lnTo>
                      <a:pt x="1161" y="1100"/>
                    </a:lnTo>
                    <a:lnTo>
                      <a:pt x="1159" y="1100"/>
                    </a:lnTo>
                    <a:lnTo>
                      <a:pt x="1157" y="1100"/>
                    </a:lnTo>
                    <a:lnTo>
                      <a:pt x="1157" y="1099"/>
                    </a:lnTo>
                    <a:lnTo>
                      <a:pt x="1157" y="1097"/>
                    </a:lnTo>
                    <a:lnTo>
                      <a:pt x="1156" y="1097"/>
                    </a:lnTo>
                    <a:lnTo>
                      <a:pt x="1156" y="1095"/>
                    </a:lnTo>
                    <a:lnTo>
                      <a:pt x="1157" y="1095"/>
                    </a:lnTo>
                    <a:lnTo>
                      <a:pt x="1157" y="1094"/>
                    </a:lnTo>
                    <a:lnTo>
                      <a:pt x="1159" y="1094"/>
                    </a:lnTo>
                    <a:close/>
                    <a:moveTo>
                      <a:pt x="1448" y="1643"/>
                    </a:moveTo>
                    <a:lnTo>
                      <a:pt x="1450" y="1643"/>
                    </a:lnTo>
                    <a:lnTo>
                      <a:pt x="1451" y="1643"/>
                    </a:lnTo>
                    <a:lnTo>
                      <a:pt x="1451" y="1645"/>
                    </a:lnTo>
                    <a:lnTo>
                      <a:pt x="1450" y="1645"/>
                    </a:lnTo>
                    <a:lnTo>
                      <a:pt x="1450" y="1646"/>
                    </a:lnTo>
                    <a:lnTo>
                      <a:pt x="1448" y="1648"/>
                    </a:lnTo>
                    <a:lnTo>
                      <a:pt x="1450" y="1648"/>
                    </a:lnTo>
                    <a:lnTo>
                      <a:pt x="1448" y="1648"/>
                    </a:lnTo>
                    <a:lnTo>
                      <a:pt x="1446" y="1648"/>
                    </a:lnTo>
                    <a:lnTo>
                      <a:pt x="1446" y="1650"/>
                    </a:lnTo>
                    <a:lnTo>
                      <a:pt x="1445" y="1648"/>
                    </a:lnTo>
                    <a:lnTo>
                      <a:pt x="1445" y="1650"/>
                    </a:lnTo>
                    <a:lnTo>
                      <a:pt x="1445" y="1648"/>
                    </a:lnTo>
                    <a:lnTo>
                      <a:pt x="1445" y="1646"/>
                    </a:lnTo>
                    <a:lnTo>
                      <a:pt x="1445" y="1645"/>
                    </a:lnTo>
                    <a:lnTo>
                      <a:pt x="1446" y="1643"/>
                    </a:lnTo>
                    <a:lnTo>
                      <a:pt x="1448" y="1643"/>
                    </a:lnTo>
                    <a:close/>
                    <a:moveTo>
                      <a:pt x="1181" y="1272"/>
                    </a:moveTo>
                    <a:lnTo>
                      <a:pt x="1183" y="1272"/>
                    </a:lnTo>
                    <a:lnTo>
                      <a:pt x="1185" y="1272"/>
                    </a:lnTo>
                    <a:lnTo>
                      <a:pt x="1185" y="1274"/>
                    </a:lnTo>
                    <a:lnTo>
                      <a:pt x="1186" y="1274"/>
                    </a:lnTo>
                    <a:lnTo>
                      <a:pt x="1188" y="1274"/>
                    </a:lnTo>
                    <a:lnTo>
                      <a:pt x="1188" y="1276"/>
                    </a:lnTo>
                    <a:lnTo>
                      <a:pt x="1188" y="1277"/>
                    </a:lnTo>
                    <a:lnTo>
                      <a:pt x="1186" y="1277"/>
                    </a:lnTo>
                    <a:lnTo>
                      <a:pt x="1185" y="1277"/>
                    </a:lnTo>
                    <a:lnTo>
                      <a:pt x="1185" y="1279"/>
                    </a:lnTo>
                    <a:lnTo>
                      <a:pt x="1183" y="1277"/>
                    </a:lnTo>
                    <a:lnTo>
                      <a:pt x="1183" y="1276"/>
                    </a:lnTo>
                    <a:lnTo>
                      <a:pt x="1181" y="1274"/>
                    </a:lnTo>
                    <a:lnTo>
                      <a:pt x="1181" y="1272"/>
                    </a:lnTo>
                    <a:lnTo>
                      <a:pt x="1181" y="1270"/>
                    </a:lnTo>
                    <a:lnTo>
                      <a:pt x="1181" y="1272"/>
                    </a:lnTo>
                    <a:close/>
                    <a:moveTo>
                      <a:pt x="1181" y="1090"/>
                    </a:moveTo>
                    <a:lnTo>
                      <a:pt x="1183" y="1092"/>
                    </a:lnTo>
                    <a:lnTo>
                      <a:pt x="1183" y="1094"/>
                    </a:lnTo>
                    <a:lnTo>
                      <a:pt x="1185" y="1094"/>
                    </a:lnTo>
                    <a:lnTo>
                      <a:pt x="1185" y="1095"/>
                    </a:lnTo>
                    <a:lnTo>
                      <a:pt x="1186" y="1095"/>
                    </a:lnTo>
                    <a:lnTo>
                      <a:pt x="1186" y="1097"/>
                    </a:lnTo>
                    <a:lnTo>
                      <a:pt x="1185" y="1097"/>
                    </a:lnTo>
                    <a:lnTo>
                      <a:pt x="1183" y="1097"/>
                    </a:lnTo>
                    <a:lnTo>
                      <a:pt x="1181" y="1097"/>
                    </a:lnTo>
                    <a:lnTo>
                      <a:pt x="1181" y="1095"/>
                    </a:lnTo>
                    <a:lnTo>
                      <a:pt x="1179" y="1095"/>
                    </a:lnTo>
                    <a:lnTo>
                      <a:pt x="1179" y="1094"/>
                    </a:lnTo>
                    <a:lnTo>
                      <a:pt x="1178" y="1092"/>
                    </a:lnTo>
                    <a:lnTo>
                      <a:pt x="1179" y="1092"/>
                    </a:lnTo>
                    <a:lnTo>
                      <a:pt x="1179" y="1090"/>
                    </a:lnTo>
                    <a:lnTo>
                      <a:pt x="1179" y="1092"/>
                    </a:lnTo>
                    <a:lnTo>
                      <a:pt x="1181" y="1092"/>
                    </a:lnTo>
                    <a:lnTo>
                      <a:pt x="1181" y="1090"/>
                    </a:lnTo>
                    <a:close/>
                    <a:moveTo>
                      <a:pt x="1191" y="1077"/>
                    </a:moveTo>
                    <a:lnTo>
                      <a:pt x="1193" y="1078"/>
                    </a:lnTo>
                    <a:lnTo>
                      <a:pt x="1195" y="1078"/>
                    </a:lnTo>
                    <a:lnTo>
                      <a:pt x="1196" y="1078"/>
                    </a:lnTo>
                    <a:lnTo>
                      <a:pt x="1198" y="1078"/>
                    </a:lnTo>
                    <a:lnTo>
                      <a:pt x="1198" y="1080"/>
                    </a:lnTo>
                    <a:lnTo>
                      <a:pt x="1200" y="1082"/>
                    </a:lnTo>
                    <a:lnTo>
                      <a:pt x="1198" y="1082"/>
                    </a:lnTo>
                    <a:lnTo>
                      <a:pt x="1198" y="1083"/>
                    </a:lnTo>
                    <a:lnTo>
                      <a:pt x="1196" y="1083"/>
                    </a:lnTo>
                    <a:lnTo>
                      <a:pt x="1195" y="1083"/>
                    </a:lnTo>
                    <a:lnTo>
                      <a:pt x="1193" y="1083"/>
                    </a:lnTo>
                    <a:lnTo>
                      <a:pt x="1193" y="1082"/>
                    </a:lnTo>
                    <a:lnTo>
                      <a:pt x="1191" y="1082"/>
                    </a:lnTo>
                    <a:lnTo>
                      <a:pt x="1191" y="1080"/>
                    </a:lnTo>
                    <a:lnTo>
                      <a:pt x="1193" y="1080"/>
                    </a:lnTo>
                    <a:lnTo>
                      <a:pt x="1195" y="1080"/>
                    </a:lnTo>
                    <a:lnTo>
                      <a:pt x="1196" y="1080"/>
                    </a:lnTo>
                    <a:lnTo>
                      <a:pt x="1196" y="1082"/>
                    </a:lnTo>
                    <a:lnTo>
                      <a:pt x="1195" y="1082"/>
                    </a:lnTo>
                    <a:lnTo>
                      <a:pt x="1193" y="1082"/>
                    </a:lnTo>
                    <a:lnTo>
                      <a:pt x="1195" y="1082"/>
                    </a:lnTo>
                    <a:lnTo>
                      <a:pt x="1196" y="1082"/>
                    </a:lnTo>
                    <a:lnTo>
                      <a:pt x="1198" y="1082"/>
                    </a:lnTo>
                    <a:lnTo>
                      <a:pt x="1196" y="1082"/>
                    </a:lnTo>
                    <a:lnTo>
                      <a:pt x="1198" y="1080"/>
                    </a:lnTo>
                    <a:lnTo>
                      <a:pt x="1196" y="1080"/>
                    </a:lnTo>
                    <a:lnTo>
                      <a:pt x="1195" y="1080"/>
                    </a:lnTo>
                    <a:lnTo>
                      <a:pt x="1193" y="1080"/>
                    </a:lnTo>
                    <a:lnTo>
                      <a:pt x="1191" y="1080"/>
                    </a:lnTo>
                    <a:lnTo>
                      <a:pt x="1191" y="1078"/>
                    </a:lnTo>
                    <a:lnTo>
                      <a:pt x="1193" y="1078"/>
                    </a:lnTo>
                    <a:lnTo>
                      <a:pt x="1191" y="1078"/>
                    </a:lnTo>
                    <a:lnTo>
                      <a:pt x="1190" y="1077"/>
                    </a:lnTo>
                    <a:lnTo>
                      <a:pt x="1191" y="1077"/>
                    </a:lnTo>
                    <a:close/>
                    <a:moveTo>
                      <a:pt x="1327" y="1628"/>
                    </a:moveTo>
                    <a:lnTo>
                      <a:pt x="1329" y="1628"/>
                    </a:lnTo>
                    <a:lnTo>
                      <a:pt x="1329" y="1629"/>
                    </a:lnTo>
                    <a:lnTo>
                      <a:pt x="1327" y="1629"/>
                    </a:lnTo>
                    <a:lnTo>
                      <a:pt x="1329" y="1629"/>
                    </a:lnTo>
                    <a:lnTo>
                      <a:pt x="1331" y="1628"/>
                    </a:lnTo>
                    <a:lnTo>
                      <a:pt x="1332" y="1629"/>
                    </a:lnTo>
                    <a:lnTo>
                      <a:pt x="1332" y="1631"/>
                    </a:lnTo>
                    <a:lnTo>
                      <a:pt x="1331" y="1633"/>
                    </a:lnTo>
                    <a:lnTo>
                      <a:pt x="1329" y="1633"/>
                    </a:lnTo>
                    <a:lnTo>
                      <a:pt x="1331" y="1631"/>
                    </a:lnTo>
                    <a:lnTo>
                      <a:pt x="1331" y="1629"/>
                    </a:lnTo>
                    <a:lnTo>
                      <a:pt x="1329" y="1631"/>
                    </a:lnTo>
                    <a:lnTo>
                      <a:pt x="1329" y="1633"/>
                    </a:lnTo>
                    <a:lnTo>
                      <a:pt x="1327" y="1635"/>
                    </a:lnTo>
                    <a:lnTo>
                      <a:pt x="1327" y="1633"/>
                    </a:lnTo>
                    <a:lnTo>
                      <a:pt x="1326" y="1635"/>
                    </a:lnTo>
                    <a:lnTo>
                      <a:pt x="1326" y="1633"/>
                    </a:lnTo>
                    <a:lnTo>
                      <a:pt x="1326" y="1635"/>
                    </a:lnTo>
                    <a:lnTo>
                      <a:pt x="1324" y="1635"/>
                    </a:lnTo>
                    <a:lnTo>
                      <a:pt x="1324" y="1633"/>
                    </a:lnTo>
                    <a:lnTo>
                      <a:pt x="1326" y="1631"/>
                    </a:lnTo>
                    <a:lnTo>
                      <a:pt x="1324" y="1631"/>
                    </a:lnTo>
                    <a:lnTo>
                      <a:pt x="1326" y="1631"/>
                    </a:lnTo>
                    <a:lnTo>
                      <a:pt x="1327" y="1631"/>
                    </a:lnTo>
                    <a:lnTo>
                      <a:pt x="1327" y="1629"/>
                    </a:lnTo>
                    <a:lnTo>
                      <a:pt x="1326" y="1629"/>
                    </a:lnTo>
                    <a:lnTo>
                      <a:pt x="1327" y="1629"/>
                    </a:lnTo>
                    <a:lnTo>
                      <a:pt x="1326" y="1629"/>
                    </a:lnTo>
                    <a:lnTo>
                      <a:pt x="1324" y="1629"/>
                    </a:lnTo>
                    <a:lnTo>
                      <a:pt x="1326" y="1628"/>
                    </a:lnTo>
                    <a:lnTo>
                      <a:pt x="1327" y="1628"/>
                    </a:lnTo>
                    <a:close/>
                    <a:moveTo>
                      <a:pt x="1191" y="1269"/>
                    </a:moveTo>
                    <a:lnTo>
                      <a:pt x="1193" y="1270"/>
                    </a:lnTo>
                    <a:lnTo>
                      <a:pt x="1195" y="1272"/>
                    </a:lnTo>
                    <a:lnTo>
                      <a:pt x="1196" y="1272"/>
                    </a:lnTo>
                    <a:lnTo>
                      <a:pt x="1196" y="1274"/>
                    </a:lnTo>
                    <a:lnTo>
                      <a:pt x="1196" y="1276"/>
                    </a:lnTo>
                    <a:lnTo>
                      <a:pt x="1196" y="1277"/>
                    </a:lnTo>
                    <a:lnTo>
                      <a:pt x="1195" y="1276"/>
                    </a:lnTo>
                    <a:lnTo>
                      <a:pt x="1193" y="1276"/>
                    </a:lnTo>
                    <a:lnTo>
                      <a:pt x="1193" y="1274"/>
                    </a:lnTo>
                    <a:lnTo>
                      <a:pt x="1191" y="1274"/>
                    </a:lnTo>
                    <a:lnTo>
                      <a:pt x="1191" y="1272"/>
                    </a:lnTo>
                    <a:lnTo>
                      <a:pt x="1190" y="1272"/>
                    </a:lnTo>
                    <a:lnTo>
                      <a:pt x="1190" y="1270"/>
                    </a:lnTo>
                    <a:lnTo>
                      <a:pt x="1190" y="1269"/>
                    </a:lnTo>
                    <a:lnTo>
                      <a:pt x="1191" y="1269"/>
                    </a:lnTo>
                    <a:close/>
                    <a:moveTo>
                      <a:pt x="1195" y="1121"/>
                    </a:moveTo>
                    <a:lnTo>
                      <a:pt x="1196" y="1121"/>
                    </a:lnTo>
                    <a:lnTo>
                      <a:pt x="1196" y="1122"/>
                    </a:lnTo>
                    <a:lnTo>
                      <a:pt x="1196" y="1124"/>
                    </a:lnTo>
                    <a:lnTo>
                      <a:pt x="1195" y="1124"/>
                    </a:lnTo>
                    <a:lnTo>
                      <a:pt x="1196" y="1124"/>
                    </a:lnTo>
                    <a:lnTo>
                      <a:pt x="1196" y="1122"/>
                    </a:lnTo>
                    <a:lnTo>
                      <a:pt x="1198" y="1122"/>
                    </a:lnTo>
                    <a:lnTo>
                      <a:pt x="1200" y="1122"/>
                    </a:lnTo>
                    <a:lnTo>
                      <a:pt x="1202" y="1122"/>
                    </a:lnTo>
                    <a:lnTo>
                      <a:pt x="1203" y="1122"/>
                    </a:lnTo>
                    <a:lnTo>
                      <a:pt x="1203" y="1124"/>
                    </a:lnTo>
                    <a:lnTo>
                      <a:pt x="1202" y="1124"/>
                    </a:lnTo>
                    <a:lnTo>
                      <a:pt x="1202" y="1126"/>
                    </a:lnTo>
                    <a:lnTo>
                      <a:pt x="1200" y="1126"/>
                    </a:lnTo>
                    <a:lnTo>
                      <a:pt x="1198" y="1126"/>
                    </a:lnTo>
                    <a:lnTo>
                      <a:pt x="1198" y="1124"/>
                    </a:lnTo>
                    <a:lnTo>
                      <a:pt x="1198" y="1126"/>
                    </a:lnTo>
                    <a:lnTo>
                      <a:pt x="1198" y="1124"/>
                    </a:lnTo>
                    <a:lnTo>
                      <a:pt x="1196" y="1124"/>
                    </a:lnTo>
                    <a:lnTo>
                      <a:pt x="1195" y="1124"/>
                    </a:lnTo>
                    <a:lnTo>
                      <a:pt x="1195" y="1122"/>
                    </a:lnTo>
                    <a:lnTo>
                      <a:pt x="1193" y="1122"/>
                    </a:lnTo>
                    <a:lnTo>
                      <a:pt x="1193" y="1121"/>
                    </a:lnTo>
                    <a:lnTo>
                      <a:pt x="1195" y="1121"/>
                    </a:lnTo>
                    <a:close/>
                    <a:moveTo>
                      <a:pt x="1225" y="1051"/>
                    </a:moveTo>
                    <a:lnTo>
                      <a:pt x="1225" y="1053"/>
                    </a:lnTo>
                    <a:lnTo>
                      <a:pt x="1225" y="1054"/>
                    </a:lnTo>
                    <a:lnTo>
                      <a:pt x="1225" y="1056"/>
                    </a:lnTo>
                    <a:lnTo>
                      <a:pt x="1225" y="1058"/>
                    </a:lnTo>
                    <a:lnTo>
                      <a:pt x="1224" y="1058"/>
                    </a:lnTo>
                    <a:lnTo>
                      <a:pt x="1222" y="1058"/>
                    </a:lnTo>
                    <a:lnTo>
                      <a:pt x="1222" y="1056"/>
                    </a:lnTo>
                    <a:lnTo>
                      <a:pt x="1220" y="1056"/>
                    </a:lnTo>
                    <a:lnTo>
                      <a:pt x="1222" y="1054"/>
                    </a:lnTo>
                    <a:lnTo>
                      <a:pt x="1222" y="1053"/>
                    </a:lnTo>
                    <a:lnTo>
                      <a:pt x="1224" y="1053"/>
                    </a:lnTo>
                    <a:lnTo>
                      <a:pt x="1225" y="1051"/>
                    </a:lnTo>
                    <a:close/>
                    <a:moveTo>
                      <a:pt x="1203" y="1422"/>
                    </a:moveTo>
                    <a:lnTo>
                      <a:pt x="1205" y="1422"/>
                    </a:lnTo>
                    <a:lnTo>
                      <a:pt x="1205" y="1424"/>
                    </a:lnTo>
                    <a:lnTo>
                      <a:pt x="1205" y="1425"/>
                    </a:lnTo>
                    <a:lnTo>
                      <a:pt x="1205" y="1427"/>
                    </a:lnTo>
                    <a:lnTo>
                      <a:pt x="1205" y="1429"/>
                    </a:lnTo>
                    <a:lnTo>
                      <a:pt x="1205" y="1427"/>
                    </a:lnTo>
                    <a:lnTo>
                      <a:pt x="1203" y="1427"/>
                    </a:lnTo>
                    <a:lnTo>
                      <a:pt x="1202" y="1427"/>
                    </a:lnTo>
                    <a:lnTo>
                      <a:pt x="1200" y="1427"/>
                    </a:lnTo>
                    <a:lnTo>
                      <a:pt x="1200" y="1425"/>
                    </a:lnTo>
                    <a:lnTo>
                      <a:pt x="1202" y="1425"/>
                    </a:lnTo>
                    <a:lnTo>
                      <a:pt x="1203" y="1425"/>
                    </a:lnTo>
                    <a:lnTo>
                      <a:pt x="1203" y="1424"/>
                    </a:lnTo>
                    <a:lnTo>
                      <a:pt x="1202" y="1425"/>
                    </a:lnTo>
                    <a:lnTo>
                      <a:pt x="1200" y="1425"/>
                    </a:lnTo>
                    <a:lnTo>
                      <a:pt x="1200" y="1424"/>
                    </a:lnTo>
                    <a:lnTo>
                      <a:pt x="1200" y="1422"/>
                    </a:lnTo>
                    <a:lnTo>
                      <a:pt x="1202" y="1422"/>
                    </a:lnTo>
                    <a:lnTo>
                      <a:pt x="1202" y="1420"/>
                    </a:lnTo>
                    <a:lnTo>
                      <a:pt x="1203" y="1420"/>
                    </a:lnTo>
                    <a:lnTo>
                      <a:pt x="1203" y="1422"/>
                    </a:lnTo>
                    <a:close/>
                    <a:moveTo>
                      <a:pt x="3" y="349"/>
                    </a:moveTo>
                    <a:lnTo>
                      <a:pt x="5" y="349"/>
                    </a:lnTo>
                    <a:lnTo>
                      <a:pt x="5" y="350"/>
                    </a:lnTo>
                    <a:lnTo>
                      <a:pt x="7" y="350"/>
                    </a:lnTo>
                    <a:lnTo>
                      <a:pt x="7" y="352"/>
                    </a:lnTo>
                    <a:lnTo>
                      <a:pt x="5" y="352"/>
                    </a:lnTo>
                    <a:lnTo>
                      <a:pt x="3" y="352"/>
                    </a:lnTo>
                    <a:lnTo>
                      <a:pt x="3" y="354"/>
                    </a:lnTo>
                    <a:lnTo>
                      <a:pt x="1" y="354"/>
                    </a:lnTo>
                    <a:lnTo>
                      <a:pt x="0" y="354"/>
                    </a:lnTo>
                    <a:lnTo>
                      <a:pt x="0" y="352"/>
                    </a:lnTo>
                    <a:lnTo>
                      <a:pt x="1" y="352"/>
                    </a:lnTo>
                    <a:lnTo>
                      <a:pt x="1" y="350"/>
                    </a:lnTo>
                    <a:lnTo>
                      <a:pt x="1" y="349"/>
                    </a:lnTo>
                    <a:lnTo>
                      <a:pt x="3" y="349"/>
                    </a:lnTo>
                    <a:close/>
                    <a:moveTo>
                      <a:pt x="1208" y="1054"/>
                    </a:moveTo>
                    <a:lnTo>
                      <a:pt x="1208" y="1056"/>
                    </a:lnTo>
                    <a:lnTo>
                      <a:pt x="1210" y="1056"/>
                    </a:lnTo>
                    <a:lnTo>
                      <a:pt x="1210" y="1058"/>
                    </a:lnTo>
                    <a:lnTo>
                      <a:pt x="1208" y="1058"/>
                    </a:lnTo>
                    <a:lnTo>
                      <a:pt x="1208" y="1060"/>
                    </a:lnTo>
                    <a:lnTo>
                      <a:pt x="1210" y="1060"/>
                    </a:lnTo>
                    <a:lnTo>
                      <a:pt x="1210" y="1061"/>
                    </a:lnTo>
                    <a:lnTo>
                      <a:pt x="1210" y="1063"/>
                    </a:lnTo>
                    <a:lnTo>
                      <a:pt x="1208" y="1063"/>
                    </a:lnTo>
                    <a:lnTo>
                      <a:pt x="1208" y="1061"/>
                    </a:lnTo>
                    <a:lnTo>
                      <a:pt x="1208" y="1060"/>
                    </a:lnTo>
                    <a:lnTo>
                      <a:pt x="1208" y="1061"/>
                    </a:lnTo>
                    <a:lnTo>
                      <a:pt x="1208" y="1060"/>
                    </a:lnTo>
                    <a:lnTo>
                      <a:pt x="1207" y="1060"/>
                    </a:lnTo>
                    <a:lnTo>
                      <a:pt x="1207" y="1058"/>
                    </a:lnTo>
                    <a:lnTo>
                      <a:pt x="1205" y="1058"/>
                    </a:lnTo>
                    <a:lnTo>
                      <a:pt x="1205" y="1056"/>
                    </a:lnTo>
                    <a:lnTo>
                      <a:pt x="1207" y="1054"/>
                    </a:lnTo>
                    <a:lnTo>
                      <a:pt x="1208" y="1054"/>
                    </a:lnTo>
                    <a:close/>
                    <a:moveTo>
                      <a:pt x="1321" y="1577"/>
                    </a:moveTo>
                    <a:lnTo>
                      <a:pt x="1322" y="1578"/>
                    </a:lnTo>
                    <a:lnTo>
                      <a:pt x="1321" y="1580"/>
                    </a:lnTo>
                    <a:lnTo>
                      <a:pt x="1321" y="1582"/>
                    </a:lnTo>
                    <a:lnTo>
                      <a:pt x="1321" y="1583"/>
                    </a:lnTo>
                    <a:lnTo>
                      <a:pt x="1319" y="1583"/>
                    </a:lnTo>
                    <a:lnTo>
                      <a:pt x="1317" y="1582"/>
                    </a:lnTo>
                    <a:lnTo>
                      <a:pt x="1315" y="1582"/>
                    </a:lnTo>
                    <a:lnTo>
                      <a:pt x="1315" y="1580"/>
                    </a:lnTo>
                    <a:lnTo>
                      <a:pt x="1314" y="1578"/>
                    </a:lnTo>
                    <a:lnTo>
                      <a:pt x="1315" y="1578"/>
                    </a:lnTo>
                    <a:lnTo>
                      <a:pt x="1317" y="1578"/>
                    </a:lnTo>
                    <a:lnTo>
                      <a:pt x="1319" y="1578"/>
                    </a:lnTo>
                    <a:lnTo>
                      <a:pt x="1321" y="1577"/>
                    </a:lnTo>
                    <a:close/>
                    <a:moveTo>
                      <a:pt x="1164" y="1282"/>
                    </a:moveTo>
                    <a:lnTo>
                      <a:pt x="1164" y="1284"/>
                    </a:lnTo>
                    <a:lnTo>
                      <a:pt x="1166" y="1284"/>
                    </a:lnTo>
                    <a:lnTo>
                      <a:pt x="1168" y="1284"/>
                    </a:lnTo>
                    <a:lnTo>
                      <a:pt x="1169" y="1284"/>
                    </a:lnTo>
                    <a:lnTo>
                      <a:pt x="1171" y="1284"/>
                    </a:lnTo>
                    <a:lnTo>
                      <a:pt x="1171" y="1286"/>
                    </a:lnTo>
                    <a:lnTo>
                      <a:pt x="1169" y="1286"/>
                    </a:lnTo>
                    <a:lnTo>
                      <a:pt x="1168" y="1286"/>
                    </a:lnTo>
                    <a:lnTo>
                      <a:pt x="1168" y="1288"/>
                    </a:lnTo>
                    <a:lnTo>
                      <a:pt x="1166" y="1288"/>
                    </a:lnTo>
                    <a:lnTo>
                      <a:pt x="1166" y="1289"/>
                    </a:lnTo>
                    <a:lnTo>
                      <a:pt x="1164" y="1289"/>
                    </a:lnTo>
                    <a:lnTo>
                      <a:pt x="1162" y="1289"/>
                    </a:lnTo>
                    <a:lnTo>
                      <a:pt x="1162" y="1288"/>
                    </a:lnTo>
                    <a:lnTo>
                      <a:pt x="1164" y="1288"/>
                    </a:lnTo>
                    <a:lnTo>
                      <a:pt x="1164" y="1286"/>
                    </a:lnTo>
                    <a:lnTo>
                      <a:pt x="1166" y="1286"/>
                    </a:lnTo>
                    <a:lnTo>
                      <a:pt x="1166" y="1288"/>
                    </a:lnTo>
                    <a:lnTo>
                      <a:pt x="1166" y="1286"/>
                    </a:lnTo>
                    <a:lnTo>
                      <a:pt x="1168" y="1288"/>
                    </a:lnTo>
                    <a:lnTo>
                      <a:pt x="1168" y="1286"/>
                    </a:lnTo>
                    <a:lnTo>
                      <a:pt x="1166" y="1286"/>
                    </a:lnTo>
                    <a:lnTo>
                      <a:pt x="1164" y="1286"/>
                    </a:lnTo>
                    <a:lnTo>
                      <a:pt x="1164" y="1284"/>
                    </a:lnTo>
                    <a:lnTo>
                      <a:pt x="1164" y="1282"/>
                    </a:lnTo>
                    <a:close/>
                    <a:moveTo>
                      <a:pt x="1222" y="1563"/>
                    </a:moveTo>
                    <a:lnTo>
                      <a:pt x="1224" y="1563"/>
                    </a:lnTo>
                    <a:lnTo>
                      <a:pt x="1225" y="1563"/>
                    </a:lnTo>
                    <a:lnTo>
                      <a:pt x="1227" y="1563"/>
                    </a:lnTo>
                    <a:lnTo>
                      <a:pt x="1227" y="1565"/>
                    </a:lnTo>
                    <a:lnTo>
                      <a:pt x="1227" y="1566"/>
                    </a:lnTo>
                    <a:lnTo>
                      <a:pt x="1227" y="1568"/>
                    </a:lnTo>
                    <a:lnTo>
                      <a:pt x="1227" y="1566"/>
                    </a:lnTo>
                    <a:lnTo>
                      <a:pt x="1225" y="1568"/>
                    </a:lnTo>
                    <a:lnTo>
                      <a:pt x="1224" y="1568"/>
                    </a:lnTo>
                    <a:lnTo>
                      <a:pt x="1224" y="1570"/>
                    </a:lnTo>
                    <a:lnTo>
                      <a:pt x="1225" y="1568"/>
                    </a:lnTo>
                    <a:lnTo>
                      <a:pt x="1225" y="1570"/>
                    </a:lnTo>
                    <a:lnTo>
                      <a:pt x="1224" y="1570"/>
                    </a:lnTo>
                    <a:lnTo>
                      <a:pt x="1222" y="1568"/>
                    </a:lnTo>
                    <a:lnTo>
                      <a:pt x="1224" y="1568"/>
                    </a:lnTo>
                    <a:lnTo>
                      <a:pt x="1222" y="1568"/>
                    </a:lnTo>
                    <a:lnTo>
                      <a:pt x="1222" y="1566"/>
                    </a:lnTo>
                    <a:lnTo>
                      <a:pt x="1224" y="1568"/>
                    </a:lnTo>
                    <a:lnTo>
                      <a:pt x="1224" y="1566"/>
                    </a:lnTo>
                    <a:lnTo>
                      <a:pt x="1224" y="1565"/>
                    </a:lnTo>
                    <a:lnTo>
                      <a:pt x="1224" y="1566"/>
                    </a:lnTo>
                    <a:lnTo>
                      <a:pt x="1222" y="1566"/>
                    </a:lnTo>
                    <a:lnTo>
                      <a:pt x="1224" y="1565"/>
                    </a:lnTo>
                    <a:lnTo>
                      <a:pt x="1222" y="1566"/>
                    </a:lnTo>
                    <a:lnTo>
                      <a:pt x="1220" y="1566"/>
                    </a:lnTo>
                    <a:lnTo>
                      <a:pt x="1220" y="1565"/>
                    </a:lnTo>
                    <a:lnTo>
                      <a:pt x="1220" y="1566"/>
                    </a:lnTo>
                    <a:lnTo>
                      <a:pt x="1220" y="1565"/>
                    </a:lnTo>
                    <a:lnTo>
                      <a:pt x="1222" y="1565"/>
                    </a:lnTo>
                    <a:lnTo>
                      <a:pt x="1224" y="1565"/>
                    </a:lnTo>
                    <a:lnTo>
                      <a:pt x="1222" y="1565"/>
                    </a:lnTo>
                    <a:lnTo>
                      <a:pt x="1220" y="1565"/>
                    </a:lnTo>
                    <a:lnTo>
                      <a:pt x="1222" y="1563"/>
                    </a:lnTo>
                    <a:lnTo>
                      <a:pt x="1220" y="1565"/>
                    </a:lnTo>
                    <a:lnTo>
                      <a:pt x="1220" y="1563"/>
                    </a:lnTo>
                    <a:lnTo>
                      <a:pt x="1222" y="1563"/>
                    </a:lnTo>
                    <a:close/>
                    <a:moveTo>
                      <a:pt x="1186" y="1202"/>
                    </a:moveTo>
                    <a:lnTo>
                      <a:pt x="1188" y="1204"/>
                    </a:lnTo>
                    <a:lnTo>
                      <a:pt x="1186" y="1206"/>
                    </a:lnTo>
                    <a:lnTo>
                      <a:pt x="1185" y="1208"/>
                    </a:lnTo>
                    <a:lnTo>
                      <a:pt x="1183" y="1208"/>
                    </a:lnTo>
                    <a:lnTo>
                      <a:pt x="1183" y="1209"/>
                    </a:lnTo>
                    <a:lnTo>
                      <a:pt x="1181" y="1209"/>
                    </a:lnTo>
                    <a:lnTo>
                      <a:pt x="1181" y="1208"/>
                    </a:lnTo>
                    <a:lnTo>
                      <a:pt x="1181" y="1206"/>
                    </a:lnTo>
                    <a:lnTo>
                      <a:pt x="1181" y="1204"/>
                    </a:lnTo>
                    <a:lnTo>
                      <a:pt x="1183" y="1204"/>
                    </a:lnTo>
                    <a:lnTo>
                      <a:pt x="1185" y="1204"/>
                    </a:lnTo>
                    <a:lnTo>
                      <a:pt x="1185" y="1202"/>
                    </a:lnTo>
                    <a:lnTo>
                      <a:pt x="1186" y="1202"/>
                    </a:lnTo>
                    <a:close/>
                    <a:moveTo>
                      <a:pt x="1210" y="983"/>
                    </a:moveTo>
                    <a:lnTo>
                      <a:pt x="1212" y="983"/>
                    </a:lnTo>
                    <a:lnTo>
                      <a:pt x="1213" y="983"/>
                    </a:lnTo>
                    <a:lnTo>
                      <a:pt x="1212" y="983"/>
                    </a:lnTo>
                    <a:lnTo>
                      <a:pt x="1212" y="985"/>
                    </a:lnTo>
                    <a:lnTo>
                      <a:pt x="1213" y="985"/>
                    </a:lnTo>
                    <a:lnTo>
                      <a:pt x="1213" y="986"/>
                    </a:lnTo>
                    <a:lnTo>
                      <a:pt x="1215" y="986"/>
                    </a:lnTo>
                    <a:lnTo>
                      <a:pt x="1215" y="988"/>
                    </a:lnTo>
                    <a:lnTo>
                      <a:pt x="1217" y="988"/>
                    </a:lnTo>
                    <a:lnTo>
                      <a:pt x="1217" y="990"/>
                    </a:lnTo>
                    <a:lnTo>
                      <a:pt x="1217" y="992"/>
                    </a:lnTo>
                    <a:lnTo>
                      <a:pt x="1215" y="992"/>
                    </a:lnTo>
                    <a:lnTo>
                      <a:pt x="1215" y="990"/>
                    </a:lnTo>
                    <a:lnTo>
                      <a:pt x="1217" y="990"/>
                    </a:lnTo>
                    <a:lnTo>
                      <a:pt x="1215" y="990"/>
                    </a:lnTo>
                    <a:lnTo>
                      <a:pt x="1215" y="988"/>
                    </a:lnTo>
                    <a:lnTo>
                      <a:pt x="1213" y="988"/>
                    </a:lnTo>
                    <a:lnTo>
                      <a:pt x="1212" y="986"/>
                    </a:lnTo>
                    <a:lnTo>
                      <a:pt x="1210" y="986"/>
                    </a:lnTo>
                    <a:lnTo>
                      <a:pt x="1208" y="986"/>
                    </a:lnTo>
                    <a:lnTo>
                      <a:pt x="1208" y="985"/>
                    </a:lnTo>
                    <a:lnTo>
                      <a:pt x="1210" y="985"/>
                    </a:lnTo>
                    <a:lnTo>
                      <a:pt x="1208" y="985"/>
                    </a:lnTo>
                    <a:lnTo>
                      <a:pt x="1208" y="983"/>
                    </a:lnTo>
                    <a:lnTo>
                      <a:pt x="1210" y="981"/>
                    </a:lnTo>
                    <a:lnTo>
                      <a:pt x="1210" y="983"/>
                    </a:lnTo>
                    <a:close/>
                    <a:moveTo>
                      <a:pt x="1176" y="1087"/>
                    </a:moveTo>
                    <a:lnTo>
                      <a:pt x="1178" y="1087"/>
                    </a:lnTo>
                    <a:lnTo>
                      <a:pt x="1178" y="1085"/>
                    </a:lnTo>
                    <a:lnTo>
                      <a:pt x="1178" y="1087"/>
                    </a:lnTo>
                    <a:lnTo>
                      <a:pt x="1179" y="1087"/>
                    </a:lnTo>
                    <a:lnTo>
                      <a:pt x="1181" y="1087"/>
                    </a:lnTo>
                    <a:lnTo>
                      <a:pt x="1181" y="1088"/>
                    </a:lnTo>
                    <a:lnTo>
                      <a:pt x="1181" y="1090"/>
                    </a:lnTo>
                    <a:lnTo>
                      <a:pt x="1179" y="1090"/>
                    </a:lnTo>
                    <a:lnTo>
                      <a:pt x="1178" y="1090"/>
                    </a:lnTo>
                    <a:lnTo>
                      <a:pt x="1176" y="1088"/>
                    </a:lnTo>
                    <a:lnTo>
                      <a:pt x="1176" y="1090"/>
                    </a:lnTo>
                    <a:lnTo>
                      <a:pt x="1174" y="1088"/>
                    </a:lnTo>
                    <a:lnTo>
                      <a:pt x="1173" y="1088"/>
                    </a:lnTo>
                    <a:lnTo>
                      <a:pt x="1174" y="1088"/>
                    </a:lnTo>
                    <a:lnTo>
                      <a:pt x="1174" y="1087"/>
                    </a:lnTo>
                    <a:lnTo>
                      <a:pt x="1176" y="1087"/>
                    </a:lnTo>
                    <a:lnTo>
                      <a:pt x="1176" y="1085"/>
                    </a:lnTo>
                    <a:lnTo>
                      <a:pt x="1176" y="1087"/>
                    </a:lnTo>
                    <a:close/>
                    <a:moveTo>
                      <a:pt x="1195" y="1071"/>
                    </a:moveTo>
                    <a:lnTo>
                      <a:pt x="1196" y="1073"/>
                    </a:lnTo>
                    <a:lnTo>
                      <a:pt x="1198" y="1073"/>
                    </a:lnTo>
                    <a:lnTo>
                      <a:pt x="1200" y="1073"/>
                    </a:lnTo>
                    <a:lnTo>
                      <a:pt x="1200" y="1075"/>
                    </a:lnTo>
                    <a:lnTo>
                      <a:pt x="1200" y="1077"/>
                    </a:lnTo>
                    <a:lnTo>
                      <a:pt x="1200" y="1078"/>
                    </a:lnTo>
                    <a:lnTo>
                      <a:pt x="1198" y="1078"/>
                    </a:lnTo>
                    <a:lnTo>
                      <a:pt x="1198" y="1077"/>
                    </a:lnTo>
                    <a:lnTo>
                      <a:pt x="1196" y="1077"/>
                    </a:lnTo>
                    <a:lnTo>
                      <a:pt x="1195" y="1077"/>
                    </a:lnTo>
                    <a:lnTo>
                      <a:pt x="1195" y="1075"/>
                    </a:lnTo>
                    <a:lnTo>
                      <a:pt x="1193" y="1073"/>
                    </a:lnTo>
                    <a:lnTo>
                      <a:pt x="1193" y="1071"/>
                    </a:lnTo>
                    <a:lnTo>
                      <a:pt x="1195" y="1071"/>
                    </a:lnTo>
                    <a:close/>
                    <a:moveTo>
                      <a:pt x="1185" y="1107"/>
                    </a:moveTo>
                    <a:lnTo>
                      <a:pt x="1186" y="1107"/>
                    </a:lnTo>
                    <a:lnTo>
                      <a:pt x="1186" y="1109"/>
                    </a:lnTo>
                    <a:lnTo>
                      <a:pt x="1188" y="1109"/>
                    </a:lnTo>
                    <a:lnTo>
                      <a:pt x="1188" y="1111"/>
                    </a:lnTo>
                    <a:lnTo>
                      <a:pt x="1188" y="1112"/>
                    </a:lnTo>
                    <a:lnTo>
                      <a:pt x="1186" y="1112"/>
                    </a:lnTo>
                    <a:lnTo>
                      <a:pt x="1186" y="1111"/>
                    </a:lnTo>
                    <a:lnTo>
                      <a:pt x="1186" y="1112"/>
                    </a:lnTo>
                    <a:lnTo>
                      <a:pt x="1185" y="1111"/>
                    </a:lnTo>
                    <a:lnTo>
                      <a:pt x="1185" y="1112"/>
                    </a:lnTo>
                    <a:lnTo>
                      <a:pt x="1185" y="1111"/>
                    </a:lnTo>
                    <a:lnTo>
                      <a:pt x="1183" y="1111"/>
                    </a:lnTo>
                    <a:lnTo>
                      <a:pt x="1183" y="1109"/>
                    </a:lnTo>
                    <a:lnTo>
                      <a:pt x="1183" y="1107"/>
                    </a:lnTo>
                    <a:lnTo>
                      <a:pt x="1183" y="1105"/>
                    </a:lnTo>
                    <a:lnTo>
                      <a:pt x="1185" y="1107"/>
                    </a:lnTo>
                    <a:close/>
                    <a:moveTo>
                      <a:pt x="1188" y="1138"/>
                    </a:moveTo>
                    <a:lnTo>
                      <a:pt x="1190" y="1140"/>
                    </a:lnTo>
                    <a:lnTo>
                      <a:pt x="1188" y="1140"/>
                    </a:lnTo>
                    <a:lnTo>
                      <a:pt x="1188" y="1141"/>
                    </a:lnTo>
                    <a:lnTo>
                      <a:pt x="1186" y="1141"/>
                    </a:lnTo>
                    <a:lnTo>
                      <a:pt x="1188" y="1141"/>
                    </a:lnTo>
                    <a:lnTo>
                      <a:pt x="1190" y="1141"/>
                    </a:lnTo>
                    <a:lnTo>
                      <a:pt x="1190" y="1140"/>
                    </a:lnTo>
                    <a:lnTo>
                      <a:pt x="1191" y="1140"/>
                    </a:lnTo>
                    <a:lnTo>
                      <a:pt x="1191" y="1141"/>
                    </a:lnTo>
                    <a:lnTo>
                      <a:pt x="1191" y="1140"/>
                    </a:lnTo>
                    <a:lnTo>
                      <a:pt x="1191" y="1141"/>
                    </a:lnTo>
                    <a:lnTo>
                      <a:pt x="1193" y="1141"/>
                    </a:lnTo>
                    <a:lnTo>
                      <a:pt x="1191" y="1141"/>
                    </a:lnTo>
                    <a:lnTo>
                      <a:pt x="1193" y="1143"/>
                    </a:lnTo>
                    <a:lnTo>
                      <a:pt x="1191" y="1143"/>
                    </a:lnTo>
                    <a:lnTo>
                      <a:pt x="1190" y="1143"/>
                    </a:lnTo>
                    <a:lnTo>
                      <a:pt x="1188" y="1143"/>
                    </a:lnTo>
                    <a:lnTo>
                      <a:pt x="1188" y="1145"/>
                    </a:lnTo>
                    <a:lnTo>
                      <a:pt x="1186" y="1143"/>
                    </a:lnTo>
                    <a:lnTo>
                      <a:pt x="1186" y="1141"/>
                    </a:lnTo>
                    <a:lnTo>
                      <a:pt x="1185" y="1141"/>
                    </a:lnTo>
                    <a:lnTo>
                      <a:pt x="1186" y="1140"/>
                    </a:lnTo>
                    <a:lnTo>
                      <a:pt x="1186" y="1138"/>
                    </a:lnTo>
                    <a:lnTo>
                      <a:pt x="1188" y="1138"/>
                    </a:lnTo>
                    <a:close/>
                    <a:moveTo>
                      <a:pt x="1162" y="1390"/>
                    </a:moveTo>
                    <a:lnTo>
                      <a:pt x="1164" y="1391"/>
                    </a:lnTo>
                    <a:lnTo>
                      <a:pt x="1162" y="1391"/>
                    </a:lnTo>
                    <a:lnTo>
                      <a:pt x="1164" y="1393"/>
                    </a:lnTo>
                    <a:lnTo>
                      <a:pt x="1162" y="1393"/>
                    </a:lnTo>
                    <a:lnTo>
                      <a:pt x="1164" y="1395"/>
                    </a:lnTo>
                    <a:lnTo>
                      <a:pt x="1162" y="1395"/>
                    </a:lnTo>
                    <a:lnTo>
                      <a:pt x="1164" y="1395"/>
                    </a:lnTo>
                    <a:lnTo>
                      <a:pt x="1162" y="1395"/>
                    </a:lnTo>
                    <a:lnTo>
                      <a:pt x="1164" y="1396"/>
                    </a:lnTo>
                    <a:lnTo>
                      <a:pt x="1162" y="1396"/>
                    </a:lnTo>
                    <a:lnTo>
                      <a:pt x="1164" y="1396"/>
                    </a:lnTo>
                    <a:lnTo>
                      <a:pt x="1162" y="1398"/>
                    </a:lnTo>
                    <a:lnTo>
                      <a:pt x="1162" y="1396"/>
                    </a:lnTo>
                    <a:lnTo>
                      <a:pt x="1161" y="1396"/>
                    </a:lnTo>
                    <a:lnTo>
                      <a:pt x="1161" y="1395"/>
                    </a:lnTo>
                    <a:lnTo>
                      <a:pt x="1159" y="1393"/>
                    </a:lnTo>
                    <a:lnTo>
                      <a:pt x="1161" y="1391"/>
                    </a:lnTo>
                    <a:lnTo>
                      <a:pt x="1161" y="1393"/>
                    </a:lnTo>
                    <a:lnTo>
                      <a:pt x="1161" y="1391"/>
                    </a:lnTo>
                    <a:lnTo>
                      <a:pt x="1161" y="1390"/>
                    </a:lnTo>
                    <a:lnTo>
                      <a:pt x="1162" y="1390"/>
                    </a:lnTo>
                    <a:lnTo>
                      <a:pt x="1162" y="1388"/>
                    </a:lnTo>
                    <a:lnTo>
                      <a:pt x="1162" y="1390"/>
                    </a:lnTo>
                    <a:lnTo>
                      <a:pt x="1162" y="1391"/>
                    </a:lnTo>
                    <a:lnTo>
                      <a:pt x="1162" y="1390"/>
                    </a:lnTo>
                    <a:lnTo>
                      <a:pt x="1164" y="1388"/>
                    </a:lnTo>
                    <a:lnTo>
                      <a:pt x="1164" y="1390"/>
                    </a:lnTo>
                    <a:lnTo>
                      <a:pt x="1162" y="1390"/>
                    </a:lnTo>
                    <a:close/>
                    <a:moveTo>
                      <a:pt x="1431" y="1631"/>
                    </a:moveTo>
                    <a:lnTo>
                      <a:pt x="1433" y="1633"/>
                    </a:lnTo>
                    <a:lnTo>
                      <a:pt x="1434" y="1633"/>
                    </a:lnTo>
                    <a:lnTo>
                      <a:pt x="1436" y="1633"/>
                    </a:lnTo>
                    <a:lnTo>
                      <a:pt x="1436" y="1635"/>
                    </a:lnTo>
                    <a:lnTo>
                      <a:pt x="1438" y="1635"/>
                    </a:lnTo>
                    <a:lnTo>
                      <a:pt x="1438" y="1636"/>
                    </a:lnTo>
                    <a:lnTo>
                      <a:pt x="1438" y="1638"/>
                    </a:lnTo>
                    <a:lnTo>
                      <a:pt x="1440" y="1640"/>
                    </a:lnTo>
                    <a:lnTo>
                      <a:pt x="1438" y="1640"/>
                    </a:lnTo>
                    <a:lnTo>
                      <a:pt x="1436" y="1638"/>
                    </a:lnTo>
                    <a:lnTo>
                      <a:pt x="1434" y="1636"/>
                    </a:lnTo>
                    <a:lnTo>
                      <a:pt x="1433" y="1635"/>
                    </a:lnTo>
                    <a:lnTo>
                      <a:pt x="1431" y="1635"/>
                    </a:lnTo>
                    <a:lnTo>
                      <a:pt x="1431" y="1633"/>
                    </a:lnTo>
                    <a:lnTo>
                      <a:pt x="1431" y="1631"/>
                    </a:lnTo>
                    <a:close/>
                    <a:moveTo>
                      <a:pt x="1196" y="1094"/>
                    </a:moveTo>
                    <a:lnTo>
                      <a:pt x="1198" y="1094"/>
                    </a:lnTo>
                    <a:lnTo>
                      <a:pt x="1198" y="1095"/>
                    </a:lnTo>
                    <a:lnTo>
                      <a:pt x="1198" y="1097"/>
                    </a:lnTo>
                    <a:lnTo>
                      <a:pt x="1196" y="1097"/>
                    </a:lnTo>
                    <a:lnTo>
                      <a:pt x="1198" y="1097"/>
                    </a:lnTo>
                    <a:lnTo>
                      <a:pt x="1196" y="1097"/>
                    </a:lnTo>
                    <a:lnTo>
                      <a:pt x="1195" y="1097"/>
                    </a:lnTo>
                    <a:lnTo>
                      <a:pt x="1193" y="1097"/>
                    </a:lnTo>
                    <a:lnTo>
                      <a:pt x="1191" y="1097"/>
                    </a:lnTo>
                    <a:lnTo>
                      <a:pt x="1191" y="1095"/>
                    </a:lnTo>
                    <a:lnTo>
                      <a:pt x="1190" y="1095"/>
                    </a:lnTo>
                    <a:lnTo>
                      <a:pt x="1191" y="1095"/>
                    </a:lnTo>
                    <a:lnTo>
                      <a:pt x="1193" y="1095"/>
                    </a:lnTo>
                    <a:lnTo>
                      <a:pt x="1195" y="1094"/>
                    </a:lnTo>
                    <a:lnTo>
                      <a:pt x="1196" y="1094"/>
                    </a:lnTo>
                    <a:close/>
                    <a:moveTo>
                      <a:pt x="1178" y="1468"/>
                    </a:moveTo>
                    <a:lnTo>
                      <a:pt x="1176" y="1468"/>
                    </a:lnTo>
                    <a:lnTo>
                      <a:pt x="1176" y="1470"/>
                    </a:lnTo>
                    <a:lnTo>
                      <a:pt x="1174" y="1470"/>
                    </a:lnTo>
                    <a:lnTo>
                      <a:pt x="1176" y="1470"/>
                    </a:lnTo>
                    <a:lnTo>
                      <a:pt x="1174" y="1471"/>
                    </a:lnTo>
                    <a:lnTo>
                      <a:pt x="1176" y="1471"/>
                    </a:lnTo>
                    <a:lnTo>
                      <a:pt x="1174" y="1473"/>
                    </a:lnTo>
                    <a:lnTo>
                      <a:pt x="1174" y="1471"/>
                    </a:lnTo>
                    <a:lnTo>
                      <a:pt x="1173" y="1473"/>
                    </a:lnTo>
                    <a:lnTo>
                      <a:pt x="1173" y="1471"/>
                    </a:lnTo>
                    <a:lnTo>
                      <a:pt x="1173" y="1473"/>
                    </a:lnTo>
                    <a:lnTo>
                      <a:pt x="1174" y="1473"/>
                    </a:lnTo>
                    <a:lnTo>
                      <a:pt x="1173" y="1473"/>
                    </a:lnTo>
                    <a:lnTo>
                      <a:pt x="1171" y="1475"/>
                    </a:lnTo>
                    <a:lnTo>
                      <a:pt x="1171" y="1473"/>
                    </a:lnTo>
                    <a:lnTo>
                      <a:pt x="1171" y="1471"/>
                    </a:lnTo>
                    <a:lnTo>
                      <a:pt x="1169" y="1471"/>
                    </a:lnTo>
                    <a:lnTo>
                      <a:pt x="1171" y="1471"/>
                    </a:lnTo>
                    <a:lnTo>
                      <a:pt x="1171" y="1470"/>
                    </a:lnTo>
                    <a:lnTo>
                      <a:pt x="1173" y="1470"/>
                    </a:lnTo>
                    <a:lnTo>
                      <a:pt x="1174" y="1468"/>
                    </a:lnTo>
                    <a:lnTo>
                      <a:pt x="1176" y="1468"/>
                    </a:lnTo>
                    <a:lnTo>
                      <a:pt x="1176" y="1466"/>
                    </a:lnTo>
                    <a:lnTo>
                      <a:pt x="1178" y="1468"/>
                    </a:lnTo>
                    <a:close/>
                    <a:moveTo>
                      <a:pt x="1210" y="1092"/>
                    </a:moveTo>
                    <a:lnTo>
                      <a:pt x="1210" y="1094"/>
                    </a:lnTo>
                    <a:lnTo>
                      <a:pt x="1210" y="1095"/>
                    </a:lnTo>
                    <a:lnTo>
                      <a:pt x="1210" y="1097"/>
                    </a:lnTo>
                    <a:lnTo>
                      <a:pt x="1208" y="1097"/>
                    </a:lnTo>
                    <a:lnTo>
                      <a:pt x="1207" y="1097"/>
                    </a:lnTo>
                    <a:lnTo>
                      <a:pt x="1207" y="1095"/>
                    </a:lnTo>
                    <a:lnTo>
                      <a:pt x="1205" y="1095"/>
                    </a:lnTo>
                    <a:lnTo>
                      <a:pt x="1205" y="1094"/>
                    </a:lnTo>
                    <a:lnTo>
                      <a:pt x="1205" y="1092"/>
                    </a:lnTo>
                    <a:lnTo>
                      <a:pt x="1207" y="1094"/>
                    </a:lnTo>
                    <a:lnTo>
                      <a:pt x="1207" y="1092"/>
                    </a:lnTo>
                    <a:lnTo>
                      <a:pt x="1208" y="1092"/>
                    </a:lnTo>
                    <a:lnTo>
                      <a:pt x="1210" y="1092"/>
                    </a:lnTo>
                    <a:close/>
                    <a:moveTo>
                      <a:pt x="1161" y="1235"/>
                    </a:moveTo>
                    <a:lnTo>
                      <a:pt x="1162" y="1235"/>
                    </a:lnTo>
                    <a:lnTo>
                      <a:pt x="1164" y="1235"/>
                    </a:lnTo>
                    <a:lnTo>
                      <a:pt x="1164" y="1236"/>
                    </a:lnTo>
                    <a:lnTo>
                      <a:pt x="1164" y="1238"/>
                    </a:lnTo>
                    <a:lnTo>
                      <a:pt x="1164" y="1236"/>
                    </a:lnTo>
                    <a:lnTo>
                      <a:pt x="1164" y="1235"/>
                    </a:lnTo>
                    <a:lnTo>
                      <a:pt x="1164" y="1236"/>
                    </a:lnTo>
                    <a:lnTo>
                      <a:pt x="1166" y="1236"/>
                    </a:lnTo>
                    <a:lnTo>
                      <a:pt x="1166" y="1238"/>
                    </a:lnTo>
                    <a:lnTo>
                      <a:pt x="1168" y="1238"/>
                    </a:lnTo>
                    <a:lnTo>
                      <a:pt x="1168" y="1240"/>
                    </a:lnTo>
                    <a:lnTo>
                      <a:pt x="1166" y="1240"/>
                    </a:lnTo>
                    <a:lnTo>
                      <a:pt x="1166" y="1238"/>
                    </a:lnTo>
                    <a:lnTo>
                      <a:pt x="1166" y="1240"/>
                    </a:lnTo>
                    <a:lnTo>
                      <a:pt x="1164" y="1240"/>
                    </a:lnTo>
                    <a:lnTo>
                      <a:pt x="1162" y="1240"/>
                    </a:lnTo>
                    <a:lnTo>
                      <a:pt x="1162" y="1238"/>
                    </a:lnTo>
                    <a:lnTo>
                      <a:pt x="1161" y="1238"/>
                    </a:lnTo>
                    <a:lnTo>
                      <a:pt x="1161" y="1236"/>
                    </a:lnTo>
                    <a:lnTo>
                      <a:pt x="1161" y="1235"/>
                    </a:lnTo>
                    <a:close/>
                    <a:moveTo>
                      <a:pt x="1249" y="1592"/>
                    </a:moveTo>
                    <a:lnTo>
                      <a:pt x="1251" y="1592"/>
                    </a:lnTo>
                    <a:lnTo>
                      <a:pt x="1251" y="1594"/>
                    </a:lnTo>
                    <a:lnTo>
                      <a:pt x="1253" y="1594"/>
                    </a:lnTo>
                    <a:lnTo>
                      <a:pt x="1254" y="1594"/>
                    </a:lnTo>
                    <a:lnTo>
                      <a:pt x="1253" y="1594"/>
                    </a:lnTo>
                    <a:lnTo>
                      <a:pt x="1253" y="1595"/>
                    </a:lnTo>
                    <a:lnTo>
                      <a:pt x="1251" y="1594"/>
                    </a:lnTo>
                    <a:lnTo>
                      <a:pt x="1251" y="1595"/>
                    </a:lnTo>
                    <a:lnTo>
                      <a:pt x="1253" y="1595"/>
                    </a:lnTo>
                    <a:lnTo>
                      <a:pt x="1253" y="1597"/>
                    </a:lnTo>
                    <a:lnTo>
                      <a:pt x="1251" y="1597"/>
                    </a:lnTo>
                    <a:lnTo>
                      <a:pt x="1251" y="1595"/>
                    </a:lnTo>
                    <a:lnTo>
                      <a:pt x="1249" y="1595"/>
                    </a:lnTo>
                    <a:lnTo>
                      <a:pt x="1249" y="1597"/>
                    </a:lnTo>
                    <a:lnTo>
                      <a:pt x="1249" y="1599"/>
                    </a:lnTo>
                    <a:lnTo>
                      <a:pt x="1247" y="1600"/>
                    </a:lnTo>
                    <a:lnTo>
                      <a:pt x="1247" y="1599"/>
                    </a:lnTo>
                    <a:lnTo>
                      <a:pt x="1247" y="1597"/>
                    </a:lnTo>
                    <a:lnTo>
                      <a:pt x="1246" y="1597"/>
                    </a:lnTo>
                    <a:lnTo>
                      <a:pt x="1246" y="1595"/>
                    </a:lnTo>
                    <a:lnTo>
                      <a:pt x="1246" y="1594"/>
                    </a:lnTo>
                    <a:lnTo>
                      <a:pt x="1247" y="1595"/>
                    </a:lnTo>
                    <a:lnTo>
                      <a:pt x="1246" y="1594"/>
                    </a:lnTo>
                    <a:lnTo>
                      <a:pt x="1247" y="1594"/>
                    </a:lnTo>
                    <a:lnTo>
                      <a:pt x="1249" y="1594"/>
                    </a:lnTo>
                    <a:lnTo>
                      <a:pt x="1249" y="1592"/>
                    </a:lnTo>
                    <a:close/>
                    <a:moveTo>
                      <a:pt x="1198" y="1061"/>
                    </a:moveTo>
                    <a:lnTo>
                      <a:pt x="1200" y="1061"/>
                    </a:lnTo>
                    <a:lnTo>
                      <a:pt x="1200" y="1063"/>
                    </a:lnTo>
                    <a:lnTo>
                      <a:pt x="1202" y="1063"/>
                    </a:lnTo>
                    <a:lnTo>
                      <a:pt x="1200" y="1065"/>
                    </a:lnTo>
                    <a:lnTo>
                      <a:pt x="1202" y="1065"/>
                    </a:lnTo>
                    <a:lnTo>
                      <a:pt x="1203" y="1066"/>
                    </a:lnTo>
                    <a:lnTo>
                      <a:pt x="1202" y="1065"/>
                    </a:lnTo>
                    <a:lnTo>
                      <a:pt x="1203" y="1065"/>
                    </a:lnTo>
                    <a:lnTo>
                      <a:pt x="1203" y="1066"/>
                    </a:lnTo>
                    <a:lnTo>
                      <a:pt x="1202" y="1066"/>
                    </a:lnTo>
                    <a:lnTo>
                      <a:pt x="1200" y="1066"/>
                    </a:lnTo>
                    <a:lnTo>
                      <a:pt x="1198" y="1066"/>
                    </a:lnTo>
                    <a:lnTo>
                      <a:pt x="1196" y="1065"/>
                    </a:lnTo>
                    <a:lnTo>
                      <a:pt x="1196" y="1063"/>
                    </a:lnTo>
                    <a:lnTo>
                      <a:pt x="1198" y="1063"/>
                    </a:lnTo>
                    <a:lnTo>
                      <a:pt x="1198" y="1061"/>
                    </a:lnTo>
                    <a:close/>
                    <a:moveTo>
                      <a:pt x="1198" y="1442"/>
                    </a:moveTo>
                    <a:lnTo>
                      <a:pt x="1200" y="1442"/>
                    </a:lnTo>
                    <a:lnTo>
                      <a:pt x="1200" y="1444"/>
                    </a:lnTo>
                    <a:lnTo>
                      <a:pt x="1200" y="1446"/>
                    </a:lnTo>
                    <a:lnTo>
                      <a:pt x="1202" y="1444"/>
                    </a:lnTo>
                    <a:lnTo>
                      <a:pt x="1202" y="1446"/>
                    </a:lnTo>
                    <a:lnTo>
                      <a:pt x="1202" y="1447"/>
                    </a:lnTo>
                    <a:lnTo>
                      <a:pt x="1202" y="1449"/>
                    </a:lnTo>
                    <a:lnTo>
                      <a:pt x="1202" y="1447"/>
                    </a:lnTo>
                    <a:lnTo>
                      <a:pt x="1203" y="1447"/>
                    </a:lnTo>
                    <a:lnTo>
                      <a:pt x="1202" y="1447"/>
                    </a:lnTo>
                    <a:lnTo>
                      <a:pt x="1203" y="1446"/>
                    </a:lnTo>
                    <a:lnTo>
                      <a:pt x="1203" y="1447"/>
                    </a:lnTo>
                    <a:lnTo>
                      <a:pt x="1205" y="1449"/>
                    </a:lnTo>
                    <a:lnTo>
                      <a:pt x="1205" y="1451"/>
                    </a:lnTo>
                    <a:lnTo>
                      <a:pt x="1203" y="1449"/>
                    </a:lnTo>
                    <a:lnTo>
                      <a:pt x="1203" y="1451"/>
                    </a:lnTo>
                    <a:lnTo>
                      <a:pt x="1203" y="1453"/>
                    </a:lnTo>
                    <a:lnTo>
                      <a:pt x="1202" y="1451"/>
                    </a:lnTo>
                    <a:lnTo>
                      <a:pt x="1202" y="1449"/>
                    </a:lnTo>
                    <a:lnTo>
                      <a:pt x="1200" y="1449"/>
                    </a:lnTo>
                    <a:lnTo>
                      <a:pt x="1202" y="1447"/>
                    </a:lnTo>
                    <a:lnTo>
                      <a:pt x="1200" y="1449"/>
                    </a:lnTo>
                    <a:lnTo>
                      <a:pt x="1200" y="1447"/>
                    </a:lnTo>
                    <a:lnTo>
                      <a:pt x="1200" y="1446"/>
                    </a:lnTo>
                    <a:lnTo>
                      <a:pt x="1200" y="1447"/>
                    </a:lnTo>
                    <a:lnTo>
                      <a:pt x="1200" y="1446"/>
                    </a:lnTo>
                    <a:lnTo>
                      <a:pt x="1198" y="1446"/>
                    </a:lnTo>
                    <a:lnTo>
                      <a:pt x="1198" y="1444"/>
                    </a:lnTo>
                    <a:lnTo>
                      <a:pt x="1198" y="1442"/>
                    </a:lnTo>
                    <a:close/>
                    <a:moveTo>
                      <a:pt x="1263" y="1565"/>
                    </a:moveTo>
                    <a:lnTo>
                      <a:pt x="1261" y="1566"/>
                    </a:lnTo>
                    <a:lnTo>
                      <a:pt x="1261" y="1568"/>
                    </a:lnTo>
                    <a:lnTo>
                      <a:pt x="1261" y="1566"/>
                    </a:lnTo>
                    <a:lnTo>
                      <a:pt x="1261" y="1568"/>
                    </a:lnTo>
                    <a:lnTo>
                      <a:pt x="1261" y="1570"/>
                    </a:lnTo>
                    <a:lnTo>
                      <a:pt x="1259" y="1570"/>
                    </a:lnTo>
                    <a:lnTo>
                      <a:pt x="1261" y="1570"/>
                    </a:lnTo>
                    <a:lnTo>
                      <a:pt x="1261" y="1568"/>
                    </a:lnTo>
                    <a:lnTo>
                      <a:pt x="1263" y="1570"/>
                    </a:lnTo>
                    <a:lnTo>
                      <a:pt x="1261" y="1570"/>
                    </a:lnTo>
                    <a:lnTo>
                      <a:pt x="1261" y="1572"/>
                    </a:lnTo>
                    <a:lnTo>
                      <a:pt x="1261" y="1570"/>
                    </a:lnTo>
                    <a:lnTo>
                      <a:pt x="1259" y="1570"/>
                    </a:lnTo>
                    <a:lnTo>
                      <a:pt x="1259" y="1568"/>
                    </a:lnTo>
                    <a:lnTo>
                      <a:pt x="1258" y="1568"/>
                    </a:lnTo>
                    <a:lnTo>
                      <a:pt x="1256" y="1568"/>
                    </a:lnTo>
                    <a:lnTo>
                      <a:pt x="1256" y="1566"/>
                    </a:lnTo>
                    <a:lnTo>
                      <a:pt x="1258" y="1566"/>
                    </a:lnTo>
                    <a:lnTo>
                      <a:pt x="1258" y="1565"/>
                    </a:lnTo>
                    <a:lnTo>
                      <a:pt x="1259" y="1565"/>
                    </a:lnTo>
                    <a:lnTo>
                      <a:pt x="1261" y="1563"/>
                    </a:lnTo>
                    <a:lnTo>
                      <a:pt x="1263" y="1565"/>
                    </a:lnTo>
                    <a:close/>
                    <a:moveTo>
                      <a:pt x="1166" y="1413"/>
                    </a:moveTo>
                    <a:lnTo>
                      <a:pt x="1168" y="1413"/>
                    </a:lnTo>
                    <a:lnTo>
                      <a:pt x="1168" y="1415"/>
                    </a:lnTo>
                    <a:lnTo>
                      <a:pt x="1169" y="1413"/>
                    </a:lnTo>
                    <a:lnTo>
                      <a:pt x="1169" y="1415"/>
                    </a:lnTo>
                    <a:lnTo>
                      <a:pt x="1168" y="1417"/>
                    </a:lnTo>
                    <a:lnTo>
                      <a:pt x="1166" y="1417"/>
                    </a:lnTo>
                    <a:lnTo>
                      <a:pt x="1164" y="1415"/>
                    </a:lnTo>
                    <a:lnTo>
                      <a:pt x="1164" y="1417"/>
                    </a:lnTo>
                    <a:lnTo>
                      <a:pt x="1162" y="1417"/>
                    </a:lnTo>
                    <a:lnTo>
                      <a:pt x="1162" y="1415"/>
                    </a:lnTo>
                    <a:lnTo>
                      <a:pt x="1162" y="1413"/>
                    </a:lnTo>
                    <a:lnTo>
                      <a:pt x="1164" y="1413"/>
                    </a:lnTo>
                    <a:lnTo>
                      <a:pt x="1166" y="1413"/>
                    </a:lnTo>
                    <a:lnTo>
                      <a:pt x="1166" y="1415"/>
                    </a:lnTo>
                    <a:lnTo>
                      <a:pt x="1166" y="1413"/>
                    </a:lnTo>
                    <a:lnTo>
                      <a:pt x="1164" y="1413"/>
                    </a:lnTo>
                    <a:lnTo>
                      <a:pt x="1164" y="1412"/>
                    </a:lnTo>
                    <a:lnTo>
                      <a:pt x="1166" y="1413"/>
                    </a:lnTo>
                    <a:close/>
                    <a:moveTo>
                      <a:pt x="1183" y="1126"/>
                    </a:moveTo>
                    <a:lnTo>
                      <a:pt x="1181" y="1126"/>
                    </a:lnTo>
                    <a:lnTo>
                      <a:pt x="1181" y="1128"/>
                    </a:lnTo>
                    <a:lnTo>
                      <a:pt x="1181" y="1129"/>
                    </a:lnTo>
                    <a:lnTo>
                      <a:pt x="1181" y="1131"/>
                    </a:lnTo>
                    <a:lnTo>
                      <a:pt x="1181" y="1133"/>
                    </a:lnTo>
                    <a:lnTo>
                      <a:pt x="1179" y="1133"/>
                    </a:lnTo>
                    <a:lnTo>
                      <a:pt x="1179" y="1131"/>
                    </a:lnTo>
                    <a:lnTo>
                      <a:pt x="1178" y="1131"/>
                    </a:lnTo>
                    <a:lnTo>
                      <a:pt x="1178" y="1129"/>
                    </a:lnTo>
                    <a:lnTo>
                      <a:pt x="1178" y="1128"/>
                    </a:lnTo>
                    <a:lnTo>
                      <a:pt x="1179" y="1128"/>
                    </a:lnTo>
                    <a:lnTo>
                      <a:pt x="1179" y="1126"/>
                    </a:lnTo>
                    <a:lnTo>
                      <a:pt x="1181" y="1126"/>
                    </a:lnTo>
                    <a:lnTo>
                      <a:pt x="1183" y="1126"/>
                    </a:lnTo>
                    <a:close/>
                    <a:moveTo>
                      <a:pt x="1142" y="1301"/>
                    </a:moveTo>
                    <a:lnTo>
                      <a:pt x="1144" y="1303"/>
                    </a:lnTo>
                    <a:lnTo>
                      <a:pt x="1145" y="1303"/>
                    </a:lnTo>
                    <a:lnTo>
                      <a:pt x="1145" y="1305"/>
                    </a:lnTo>
                    <a:lnTo>
                      <a:pt x="1147" y="1305"/>
                    </a:lnTo>
                    <a:lnTo>
                      <a:pt x="1147" y="1306"/>
                    </a:lnTo>
                    <a:lnTo>
                      <a:pt x="1145" y="1306"/>
                    </a:lnTo>
                    <a:lnTo>
                      <a:pt x="1145" y="1305"/>
                    </a:lnTo>
                    <a:lnTo>
                      <a:pt x="1145" y="1306"/>
                    </a:lnTo>
                    <a:lnTo>
                      <a:pt x="1144" y="1305"/>
                    </a:lnTo>
                    <a:lnTo>
                      <a:pt x="1144" y="1306"/>
                    </a:lnTo>
                    <a:lnTo>
                      <a:pt x="1142" y="1305"/>
                    </a:lnTo>
                    <a:lnTo>
                      <a:pt x="1142" y="1303"/>
                    </a:lnTo>
                    <a:lnTo>
                      <a:pt x="1140" y="1303"/>
                    </a:lnTo>
                    <a:lnTo>
                      <a:pt x="1139" y="1303"/>
                    </a:lnTo>
                    <a:lnTo>
                      <a:pt x="1140" y="1301"/>
                    </a:lnTo>
                    <a:lnTo>
                      <a:pt x="1142" y="1301"/>
                    </a:lnTo>
                    <a:close/>
                    <a:moveTo>
                      <a:pt x="1210" y="990"/>
                    </a:moveTo>
                    <a:lnTo>
                      <a:pt x="1210" y="992"/>
                    </a:lnTo>
                    <a:lnTo>
                      <a:pt x="1210" y="993"/>
                    </a:lnTo>
                    <a:lnTo>
                      <a:pt x="1210" y="995"/>
                    </a:lnTo>
                    <a:lnTo>
                      <a:pt x="1212" y="997"/>
                    </a:lnTo>
                    <a:lnTo>
                      <a:pt x="1212" y="995"/>
                    </a:lnTo>
                    <a:lnTo>
                      <a:pt x="1212" y="997"/>
                    </a:lnTo>
                    <a:lnTo>
                      <a:pt x="1210" y="997"/>
                    </a:lnTo>
                    <a:lnTo>
                      <a:pt x="1210" y="995"/>
                    </a:lnTo>
                    <a:lnTo>
                      <a:pt x="1208" y="995"/>
                    </a:lnTo>
                    <a:lnTo>
                      <a:pt x="1208" y="993"/>
                    </a:lnTo>
                    <a:lnTo>
                      <a:pt x="1207" y="993"/>
                    </a:lnTo>
                    <a:lnTo>
                      <a:pt x="1207" y="995"/>
                    </a:lnTo>
                    <a:lnTo>
                      <a:pt x="1205" y="993"/>
                    </a:lnTo>
                    <a:lnTo>
                      <a:pt x="1205" y="992"/>
                    </a:lnTo>
                    <a:lnTo>
                      <a:pt x="1207" y="992"/>
                    </a:lnTo>
                    <a:lnTo>
                      <a:pt x="1208" y="992"/>
                    </a:lnTo>
                    <a:lnTo>
                      <a:pt x="1210" y="992"/>
                    </a:lnTo>
                    <a:lnTo>
                      <a:pt x="1210" y="990"/>
                    </a:lnTo>
                    <a:close/>
                    <a:moveTo>
                      <a:pt x="1202" y="1524"/>
                    </a:moveTo>
                    <a:lnTo>
                      <a:pt x="1202" y="1526"/>
                    </a:lnTo>
                    <a:lnTo>
                      <a:pt x="1202" y="1527"/>
                    </a:lnTo>
                    <a:lnTo>
                      <a:pt x="1203" y="1527"/>
                    </a:lnTo>
                    <a:lnTo>
                      <a:pt x="1203" y="1529"/>
                    </a:lnTo>
                    <a:lnTo>
                      <a:pt x="1205" y="1529"/>
                    </a:lnTo>
                    <a:lnTo>
                      <a:pt x="1203" y="1529"/>
                    </a:lnTo>
                    <a:lnTo>
                      <a:pt x="1203" y="1531"/>
                    </a:lnTo>
                    <a:lnTo>
                      <a:pt x="1202" y="1529"/>
                    </a:lnTo>
                    <a:lnTo>
                      <a:pt x="1202" y="1527"/>
                    </a:lnTo>
                    <a:lnTo>
                      <a:pt x="1200" y="1527"/>
                    </a:lnTo>
                    <a:lnTo>
                      <a:pt x="1200" y="1526"/>
                    </a:lnTo>
                    <a:lnTo>
                      <a:pt x="1200" y="1527"/>
                    </a:lnTo>
                    <a:lnTo>
                      <a:pt x="1198" y="1527"/>
                    </a:lnTo>
                    <a:lnTo>
                      <a:pt x="1198" y="1526"/>
                    </a:lnTo>
                    <a:lnTo>
                      <a:pt x="1198" y="1524"/>
                    </a:lnTo>
                    <a:lnTo>
                      <a:pt x="1200" y="1524"/>
                    </a:lnTo>
                    <a:lnTo>
                      <a:pt x="1202" y="1524"/>
                    </a:lnTo>
                    <a:close/>
                    <a:moveTo>
                      <a:pt x="1176" y="1413"/>
                    </a:moveTo>
                    <a:lnTo>
                      <a:pt x="1176" y="1415"/>
                    </a:lnTo>
                    <a:lnTo>
                      <a:pt x="1178" y="1417"/>
                    </a:lnTo>
                    <a:lnTo>
                      <a:pt x="1176" y="1417"/>
                    </a:lnTo>
                    <a:lnTo>
                      <a:pt x="1174" y="1417"/>
                    </a:lnTo>
                    <a:lnTo>
                      <a:pt x="1174" y="1418"/>
                    </a:lnTo>
                    <a:lnTo>
                      <a:pt x="1173" y="1418"/>
                    </a:lnTo>
                    <a:lnTo>
                      <a:pt x="1173" y="1417"/>
                    </a:lnTo>
                    <a:lnTo>
                      <a:pt x="1171" y="1417"/>
                    </a:lnTo>
                    <a:lnTo>
                      <a:pt x="1171" y="1415"/>
                    </a:lnTo>
                    <a:lnTo>
                      <a:pt x="1173" y="1415"/>
                    </a:lnTo>
                    <a:lnTo>
                      <a:pt x="1171" y="1415"/>
                    </a:lnTo>
                    <a:lnTo>
                      <a:pt x="1173" y="1415"/>
                    </a:lnTo>
                    <a:lnTo>
                      <a:pt x="1174" y="1415"/>
                    </a:lnTo>
                    <a:lnTo>
                      <a:pt x="1174" y="1413"/>
                    </a:lnTo>
                    <a:lnTo>
                      <a:pt x="1176" y="1413"/>
                    </a:lnTo>
                    <a:lnTo>
                      <a:pt x="1176" y="1412"/>
                    </a:lnTo>
                    <a:lnTo>
                      <a:pt x="1176" y="1413"/>
                    </a:lnTo>
                    <a:close/>
                    <a:moveTo>
                      <a:pt x="1186" y="1068"/>
                    </a:moveTo>
                    <a:lnTo>
                      <a:pt x="1188" y="1070"/>
                    </a:lnTo>
                    <a:lnTo>
                      <a:pt x="1188" y="1071"/>
                    </a:lnTo>
                    <a:lnTo>
                      <a:pt x="1186" y="1071"/>
                    </a:lnTo>
                    <a:lnTo>
                      <a:pt x="1185" y="1071"/>
                    </a:lnTo>
                    <a:lnTo>
                      <a:pt x="1183" y="1070"/>
                    </a:lnTo>
                    <a:lnTo>
                      <a:pt x="1183" y="1068"/>
                    </a:lnTo>
                    <a:lnTo>
                      <a:pt x="1185" y="1068"/>
                    </a:lnTo>
                    <a:lnTo>
                      <a:pt x="1186" y="1068"/>
                    </a:lnTo>
                    <a:close/>
                    <a:moveTo>
                      <a:pt x="1205" y="1548"/>
                    </a:moveTo>
                    <a:lnTo>
                      <a:pt x="1207" y="1548"/>
                    </a:lnTo>
                    <a:lnTo>
                      <a:pt x="1207" y="1549"/>
                    </a:lnTo>
                    <a:lnTo>
                      <a:pt x="1208" y="1549"/>
                    </a:lnTo>
                    <a:lnTo>
                      <a:pt x="1207" y="1549"/>
                    </a:lnTo>
                    <a:lnTo>
                      <a:pt x="1208" y="1549"/>
                    </a:lnTo>
                    <a:lnTo>
                      <a:pt x="1208" y="1551"/>
                    </a:lnTo>
                    <a:lnTo>
                      <a:pt x="1207" y="1551"/>
                    </a:lnTo>
                    <a:lnTo>
                      <a:pt x="1205" y="1551"/>
                    </a:lnTo>
                    <a:lnTo>
                      <a:pt x="1205" y="1549"/>
                    </a:lnTo>
                    <a:lnTo>
                      <a:pt x="1203" y="1548"/>
                    </a:lnTo>
                    <a:lnTo>
                      <a:pt x="1203" y="1549"/>
                    </a:lnTo>
                    <a:lnTo>
                      <a:pt x="1203" y="1551"/>
                    </a:lnTo>
                    <a:lnTo>
                      <a:pt x="1202" y="1551"/>
                    </a:lnTo>
                    <a:lnTo>
                      <a:pt x="1203" y="1549"/>
                    </a:lnTo>
                    <a:lnTo>
                      <a:pt x="1202" y="1549"/>
                    </a:lnTo>
                    <a:lnTo>
                      <a:pt x="1200" y="1549"/>
                    </a:lnTo>
                    <a:lnTo>
                      <a:pt x="1200" y="1548"/>
                    </a:lnTo>
                    <a:lnTo>
                      <a:pt x="1202" y="1548"/>
                    </a:lnTo>
                    <a:lnTo>
                      <a:pt x="1203" y="1549"/>
                    </a:lnTo>
                    <a:lnTo>
                      <a:pt x="1202" y="1548"/>
                    </a:lnTo>
                    <a:lnTo>
                      <a:pt x="1203" y="1548"/>
                    </a:lnTo>
                    <a:lnTo>
                      <a:pt x="1203" y="1546"/>
                    </a:lnTo>
                    <a:lnTo>
                      <a:pt x="1205" y="1546"/>
                    </a:lnTo>
                    <a:lnTo>
                      <a:pt x="1205" y="1548"/>
                    </a:lnTo>
                    <a:close/>
                    <a:moveTo>
                      <a:pt x="1229" y="1558"/>
                    </a:moveTo>
                    <a:lnTo>
                      <a:pt x="1230" y="1558"/>
                    </a:lnTo>
                    <a:lnTo>
                      <a:pt x="1232" y="1560"/>
                    </a:lnTo>
                    <a:lnTo>
                      <a:pt x="1234" y="1560"/>
                    </a:lnTo>
                    <a:lnTo>
                      <a:pt x="1234" y="1561"/>
                    </a:lnTo>
                    <a:lnTo>
                      <a:pt x="1232" y="1560"/>
                    </a:lnTo>
                    <a:lnTo>
                      <a:pt x="1232" y="1561"/>
                    </a:lnTo>
                    <a:lnTo>
                      <a:pt x="1232" y="1560"/>
                    </a:lnTo>
                    <a:lnTo>
                      <a:pt x="1230" y="1561"/>
                    </a:lnTo>
                    <a:lnTo>
                      <a:pt x="1229" y="1561"/>
                    </a:lnTo>
                    <a:lnTo>
                      <a:pt x="1227" y="1561"/>
                    </a:lnTo>
                    <a:lnTo>
                      <a:pt x="1225" y="1561"/>
                    </a:lnTo>
                    <a:lnTo>
                      <a:pt x="1227" y="1560"/>
                    </a:lnTo>
                    <a:lnTo>
                      <a:pt x="1229" y="1560"/>
                    </a:lnTo>
                    <a:lnTo>
                      <a:pt x="1229" y="1561"/>
                    </a:lnTo>
                    <a:lnTo>
                      <a:pt x="1229" y="1560"/>
                    </a:lnTo>
                    <a:lnTo>
                      <a:pt x="1227" y="1560"/>
                    </a:lnTo>
                    <a:lnTo>
                      <a:pt x="1229" y="1558"/>
                    </a:lnTo>
                    <a:lnTo>
                      <a:pt x="1227" y="1558"/>
                    </a:lnTo>
                    <a:lnTo>
                      <a:pt x="1229" y="1558"/>
                    </a:lnTo>
                    <a:close/>
                    <a:moveTo>
                      <a:pt x="1411" y="1662"/>
                    </a:moveTo>
                    <a:lnTo>
                      <a:pt x="1412" y="1663"/>
                    </a:lnTo>
                    <a:lnTo>
                      <a:pt x="1412" y="1665"/>
                    </a:lnTo>
                    <a:lnTo>
                      <a:pt x="1412" y="1667"/>
                    </a:lnTo>
                    <a:lnTo>
                      <a:pt x="1414" y="1667"/>
                    </a:lnTo>
                    <a:lnTo>
                      <a:pt x="1414" y="1669"/>
                    </a:lnTo>
                    <a:lnTo>
                      <a:pt x="1412" y="1669"/>
                    </a:lnTo>
                    <a:lnTo>
                      <a:pt x="1412" y="1667"/>
                    </a:lnTo>
                    <a:lnTo>
                      <a:pt x="1411" y="1667"/>
                    </a:lnTo>
                    <a:lnTo>
                      <a:pt x="1411" y="1669"/>
                    </a:lnTo>
                    <a:lnTo>
                      <a:pt x="1409" y="1669"/>
                    </a:lnTo>
                    <a:lnTo>
                      <a:pt x="1407" y="1669"/>
                    </a:lnTo>
                    <a:lnTo>
                      <a:pt x="1409" y="1667"/>
                    </a:lnTo>
                    <a:lnTo>
                      <a:pt x="1409" y="1665"/>
                    </a:lnTo>
                    <a:lnTo>
                      <a:pt x="1411" y="1667"/>
                    </a:lnTo>
                    <a:lnTo>
                      <a:pt x="1409" y="1665"/>
                    </a:lnTo>
                    <a:lnTo>
                      <a:pt x="1409" y="1663"/>
                    </a:lnTo>
                    <a:lnTo>
                      <a:pt x="1409" y="1662"/>
                    </a:lnTo>
                    <a:lnTo>
                      <a:pt x="1411" y="1662"/>
                    </a:lnTo>
                    <a:close/>
                    <a:moveTo>
                      <a:pt x="1207" y="1245"/>
                    </a:moveTo>
                    <a:lnTo>
                      <a:pt x="1208" y="1245"/>
                    </a:lnTo>
                    <a:lnTo>
                      <a:pt x="1208" y="1247"/>
                    </a:lnTo>
                    <a:lnTo>
                      <a:pt x="1208" y="1248"/>
                    </a:lnTo>
                    <a:lnTo>
                      <a:pt x="1208" y="1250"/>
                    </a:lnTo>
                    <a:lnTo>
                      <a:pt x="1208" y="1252"/>
                    </a:lnTo>
                    <a:lnTo>
                      <a:pt x="1207" y="1252"/>
                    </a:lnTo>
                    <a:lnTo>
                      <a:pt x="1208" y="1250"/>
                    </a:lnTo>
                    <a:lnTo>
                      <a:pt x="1207" y="1250"/>
                    </a:lnTo>
                    <a:lnTo>
                      <a:pt x="1205" y="1250"/>
                    </a:lnTo>
                    <a:lnTo>
                      <a:pt x="1205" y="1248"/>
                    </a:lnTo>
                    <a:lnTo>
                      <a:pt x="1207" y="1248"/>
                    </a:lnTo>
                    <a:lnTo>
                      <a:pt x="1205" y="1248"/>
                    </a:lnTo>
                    <a:lnTo>
                      <a:pt x="1205" y="1247"/>
                    </a:lnTo>
                    <a:lnTo>
                      <a:pt x="1205" y="1245"/>
                    </a:lnTo>
                    <a:lnTo>
                      <a:pt x="1207" y="1245"/>
                    </a:lnTo>
                    <a:close/>
                    <a:moveTo>
                      <a:pt x="1156" y="1311"/>
                    </a:moveTo>
                    <a:lnTo>
                      <a:pt x="1157" y="1311"/>
                    </a:lnTo>
                    <a:lnTo>
                      <a:pt x="1157" y="1313"/>
                    </a:lnTo>
                    <a:lnTo>
                      <a:pt x="1159" y="1313"/>
                    </a:lnTo>
                    <a:lnTo>
                      <a:pt x="1159" y="1311"/>
                    </a:lnTo>
                    <a:lnTo>
                      <a:pt x="1161" y="1313"/>
                    </a:lnTo>
                    <a:lnTo>
                      <a:pt x="1159" y="1313"/>
                    </a:lnTo>
                    <a:lnTo>
                      <a:pt x="1161" y="1315"/>
                    </a:lnTo>
                    <a:lnTo>
                      <a:pt x="1159" y="1315"/>
                    </a:lnTo>
                    <a:lnTo>
                      <a:pt x="1157" y="1315"/>
                    </a:lnTo>
                    <a:lnTo>
                      <a:pt x="1156" y="1315"/>
                    </a:lnTo>
                    <a:lnTo>
                      <a:pt x="1156" y="1313"/>
                    </a:lnTo>
                    <a:lnTo>
                      <a:pt x="1156" y="1311"/>
                    </a:lnTo>
                    <a:close/>
                    <a:moveTo>
                      <a:pt x="1193" y="1531"/>
                    </a:moveTo>
                    <a:lnTo>
                      <a:pt x="1193" y="1532"/>
                    </a:lnTo>
                    <a:lnTo>
                      <a:pt x="1195" y="1532"/>
                    </a:lnTo>
                    <a:lnTo>
                      <a:pt x="1193" y="1534"/>
                    </a:lnTo>
                    <a:lnTo>
                      <a:pt x="1193" y="1536"/>
                    </a:lnTo>
                    <a:lnTo>
                      <a:pt x="1191" y="1536"/>
                    </a:lnTo>
                    <a:lnTo>
                      <a:pt x="1190" y="1536"/>
                    </a:lnTo>
                    <a:lnTo>
                      <a:pt x="1190" y="1538"/>
                    </a:lnTo>
                    <a:lnTo>
                      <a:pt x="1188" y="1538"/>
                    </a:lnTo>
                    <a:lnTo>
                      <a:pt x="1188" y="1536"/>
                    </a:lnTo>
                    <a:lnTo>
                      <a:pt x="1186" y="1536"/>
                    </a:lnTo>
                    <a:lnTo>
                      <a:pt x="1188" y="1534"/>
                    </a:lnTo>
                    <a:lnTo>
                      <a:pt x="1190" y="1534"/>
                    </a:lnTo>
                    <a:lnTo>
                      <a:pt x="1190" y="1532"/>
                    </a:lnTo>
                    <a:lnTo>
                      <a:pt x="1191" y="1532"/>
                    </a:lnTo>
                    <a:lnTo>
                      <a:pt x="1193" y="1531"/>
                    </a:lnTo>
                    <a:close/>
                    <a:moveTo>
                      <a:pt x="1169" y="1083"/>
                    </a:moveTo>
                    <a:lnTo>
                      <a:pt x="1171" y="1083"/>
                    </a:lnTo>
                    <a:lnTo>
                      <a:pt x="1173" y="1085"/>
                    </a:lnTo>
                    <a:lnTo>
                      <a:pt x="1171" y="1085"/>
                    </a:lnTo>
                    <a:lnTo>
                      <a:pt x="1173" y="1087"/>
                    </a:lnTo>
                    <a:lnTo>
                      <a:pt x="1171" y="1087"/>
                    </a:lnTo>
                    <a:lnTo>
                      <a:pt x="1173" y="1088"/>
                    </a:lnTo>
                    <a:lnTo>
                      <a:pt x="1171" y="1088"/>
                    </a:lnTo>
                    <a:lnTo>
                      <a:pt x="1169" y="1088"/>
                    </a:lnTo>
                    <a:lnTo>
                      <a:pt x="1169" y="1087"/>
                    </a:lnTo>
                    <a:lnTo>
                      <a:pt x="1169" y="1085"/>
                    </a:lnTo>
                    <a:lnTo>
                      <a:pt x="1169" y="1083"/>
                    </a:lnTo>
                    <a:close/>
                    <a:moveTo>
                      <a:pt x="1423" y="1680"/>
                    </a:moveTo>
                    <a:lnTo>
                      <a:pt x="1424" y="1682"/>
                    </a:lnTo>
                    <a:lnTo>
                      <a:pt x="1426" y="1684"/>
                    </a:lnTo>
                    <a:lnTo>
                      <a:pt x="1426" y="1686"/>
                    </a:lnTo>
                    <a:lnTo>
                      <a:pt x="1424" y="1686"/>
                    </a:lnTo>
                    <a:lnTo>
                      <a:pt x="1423" y="1684"/>
                    </a:lnTo>
                    <a:lnTo>
                      <a:pt x="1421" y="1684"/>
                    </a:lnTo>
                    <a:lnTo>
                      <a:pt x="1421" y="1682"/>
                    </a:lnTo>
                    <a:lnTo>
                      <a:pt x="1421" y="1680"/>
                    </a:lnTo>
                    <a:lnTo>
                      <a:pt x="1419" y="1682"/>
                    </a:lnTo>
                    <a:lnTo>
                      <a:pt x="1417" y="1680"/>
                    </a:lnTo>
                    <a:lnTo>
                      <a:pt x="1419" y="1680"/>
                    </a:lnTo>
                    <a:lnTo>
                      <a:pt x="1421" y="1680"/>
                    </a:lnTo>
                    <a:lnTo>
                      <a:pt x="1423" y="1680"/>
                    </a:lnTo>
                    <a:close/>
                    <a:moveTo>
                      <a:pt x="1251" y="1549"/>
                    </a:moveTo>
                    <a:lnTo>
                      <a:pt x="1249" y="1549"/>
                    </a:lnTo>
                    <a:lnTo>
                      <a:pt x="1251" y="1549"/>
                    </a:lnTo>
                    <a:lnTo>
                      <a:pt x="1251" y="1551"/>
                    </a:lnTo>
                    <a:lnTo>
                      <a:pt x="1253" y="1551"/>
                    </a:lnTo>
                    <a:lnTo>
                      <a:pt x="1254" y="1551"/>
                    </a:lnTo>
                    <a:lnTo>
                      <a:pt x="1253" y="1553"/>
                    </a:lnTo>
                    <a:lnTo>
                      <a:pt x="1254" y="1553"/>
                    </a:lnTo>
                    <a:lnTo>
                      <a:pt x="1256" y="1555"/>
                    </a:lnTo>
                    <a:lnTo>
                      <a:pt x="1254" y="1555"/>
                    </a:lnTo>
                    <a:lnTo>
                      <a:pt x="1254" y="1556"/>
                    </a:lnTo>
                    <a:lnTo>
                      <a:pt x="1253" y="1555"/>
                    </a:lnTo>
                    <a:lnTo>
                      <a:pt x="1251" y="1555"/>
                    </a:lnTo>
                    <a:lnTo>
                      <a:pt x="1251" y="1553"/>
                    </a:lnTo>
                    <a:lnTo>
                      <a:pt x="1249" y="1553"/>
                    </a:lnTo>
                    <a:lnTo>
                      <a:pt x="1249" y="1551"/>
                    </a:lnTo>
                    <a:lnTo>
                      <a:pt x="1249" y="1549"/>
                    </a:lnTo>
                    <a:lnTo>
                      <a:pt x="1251" y="1549"/>
                    </a:lnTo>
                    <a:close/>
                    <a:moveTo>
                      <a:pt x="1332" y="1652"/>
                    </a:moveTo>
                    <a:lnTo>
                      <a:pt x="1334" y="1652"/>
                    </a:lnTo>
                    <a:lnTo>
                      <a:pt x="1332" y="1653"/>
                    </a:lnTo>
                    <a:lnTo>
                      <a:pt x="1331" y="1653"/>
                    </a:lnTo>
                    <a:lnTo>
                      <a:pt x="1332" y="1653"/>
                    </a:lnTo>
                    <a:lnTo>
                      <a:pt x="1332" y="1655"/>
                    </a:lnTo>
                    <a:lnTo>
                      <a:pt x="1331" y="1655"/>
                    </a:lnTo>
                    <a:lnTo>
                      <a:pt x="1331" y="1657"/>
                    </a:lnTo>
                    <a:lnTo>
                      <a:pt x="1329" y="1657"/>
                    </a:lnTo>
                    <a:lnTo>
                      <a:pt x="1331" y="1655"/>
                    </a:lnTo>
                    <a:lnTo>
                      <a:pt x="1329" y="1655"/>
                    </a:lnTo>
                    <a:lnTo>
                      <a:pt x="1329" y="1653"/>
                    </a:lnTo>
                    <a:lnTo>
                      <a:pt x="1327" y="1653"/>
                    </a:lnTo>
                    <a:lnTo>
                      <a:pt x="1326" y="1653"/>
                    </a:lnTo>
                    <a:lnTo>
                      <a:pt x="1327" y="1652"/>
                    </a:lnTo>
                    <a:lnTo>
                      <a:pt x="1326" y="1652"/>
                    </a:lnTo>
                    <a:lnTo>
                      <a:pt x="1327" y="1652"/>
                    </a:lnTo>
                    <a:lnTo>
                      <a:pt x="1329" y="1652"/>
                    </a:lnTo>
                    <a:lnTo>
                      <a:pt x="1329" y="1653"/>
                    </a:lnTo>
                    <a:lnTo>
                      <a:pt x="1331" y="1653"/>
                    </a:lnTo>
                    <a:lnTo>
                      <a:pt x="1331" y="1652"/>
                    </a:lnTo>
                    <a:lnTo>
                      <a:pt x="1332" y="1652"/>
                    </a:lnTo>
                    <a:close/>
                    <a:moveTo>
                      <a:pt x="1339" y="1655"/>
                    </a:moveTo>
                    <a:lnTo>
                      <a:pt x="1341" y="1655"/>
                    </a:lnTo>
                    <a:lnTo>
                      <a:pt x="1343" y="1655"/>
                    </a:lnTo>
                    <a:lnTo>
                      <a:pt x="1343" y="1657"/>
                    </a:lnTo>
                    <a:lnTo>
                      <a:pt x="1344" y="1657"/>
                    </a:lnTo>
                    <a:lnTo>
                      <a:pt x="1343" y="1658"/>
                    </a:lnTo>
                    <a:lnTo>
                      <a:pt x="1343" y="1657"/>
                    </a:lnTo>
                    <a:lnTo>
                      <a:pt x="1341" y="1657"/>
                    </a:lnTo>
                    <a:lnTo>
                      <a:pt x="1343" y="1658"/>
                    </a:lnTo>
                    <a:lnTo>
                      <a:pt x="1341" y="1658"/>
                    </a:lnTo>
                    <a:lnTo>
                      <a:pt x="1343" y="1658"/>
                    </a:lnTo>
                    <a:lnTo>
                      <a:pt x="1343" y="1660"/>
                    </a:lnTo>
                    <a:lnTo>
                      <a:pt x="1341" y="1658"/>
                    </a:lnTo>
                    <a:lnTo>
                      <a:pt x="1341" y="1660"/>
                    </a:lnTo>
                    <a:lnTo>
                      <a:pt x="1341" y="1658"/>
                    </a:lnTo>
                    <a:lnTo>
                      <a:pt x="1341" y="1660"/>
                    </a:lnTo>
                    <a:lnTo>
                      <a:pt x="1339" y="1658"/>
                    </a:lnTo>
                    <a:lnTo>
                      <a:pt x="1339" y="1660"/>
                    </a:lnTo>
                    <a:lnTo>
                      <a:pt x="1338" y="1660"/>
                    </a:lnTo>
                    <a:lnTo>
                      <a:pt x="1338" y="1658"/>
                    </a:lnTo>
                    <a:lnTo>
                      <a:pt x="1339" y="1658"/>
                    </a:lnTo>
                    <a:lnTo>
                      <a:pt x="1339" y="1657"/>
                    </a:lnTo>
                    <a:lnTo>
                      <a:pt x="1339" y="1655"/>
                    </a:lnTo>
                    <a:close/>
                    <a:moveTo>
                      <a:pt x="1212" y="1007"/>
                    </a:moveTo>
                    <a:lnTo>
                      <a:pt x="1213" y="1007"/>
                    </a:lnTo>
                    <a:lnTo>
                      <a:pt x="1215" y="1009"/>
                    </a:lnTo>
                    <a:lnTo>
                      <a:pt x="1217" y="1009"/>
                    </a:lnTo>
                    <a:lnTo>
                      <a:pt x="1217" y="1010"/>
                    </a:lnTo>
                    <a:lnTo>
                      <a:pt x="1219" y="1010"/>
                    </a:lnTo>
                    <a:lnTo>
                      <a:pt x="1219" y="1012"/>
                    </a:lnTo>
                    <a:lnTo>
                      <a:pt x="1219" y="1010"/>
                    </a:lnTo>
                    <a:lnTo>
                      <a:pt x="1217" y="1010"/>
                    </a:lnTo>
                    <a:lnTo>
                      <a:pt x="1215" y="1010"/>
                    </a:lnTo>
                    <a:lnTo>
                      <a:pt x="1213" y="1010"/>
                    </a:lnTo>
                    <a:lnTo>
                      <a:pt x="1213" y="1009"/>
                    </a:lnTo>
                    <a:lnTo>
                      <a:pt x="1212" y="1009"/>
                    </a:lnTo>
                    <a:lnTo>
                      <a:pt x="1210" y="1009"/>
                    </a:lnTo>
                    <a:lnTo>
                      <a:pt x="1210" y="1007"/>
                    </a:lnTo>
                    <a:lnTo>
                      <a:pt x="1212" y="1007"/>
                    </a:lnTo>
                    <a:close/>
                    <a:moveTo>
                      <a:pt x="1263" y="1609"/>
                    </a:moveTo>
                    <a:lnTo>
                      <a:pt x="1264" y="1611"/>
                    </a:lnTo>
                    <a:lnTo>
                      <a:pt x="1264" y="1612"/>
                    </a:lnTo>
                    <a:lnTo>
                      <a:pt x="1266" y="1612"/>
                    </a:lnTo>
                    <a:lnTo>
                      <a:pt x="1266" y="1614"/>
                    </a:lnTo>
                    <a:lnTo>
                      <a:pt x="1266" y="1612"/>
                    </a:lnTo>
                    <a:lnTo>
                      <a:pt x="1266" y="1614"/>
                    </a:lnTo>
                    <a:lnTo>
                      <a:pt x="1268" y="1614"/>
                    </a:lnTo>
                    <a:lnTo>
                      <a:pt x="1266" y="1614"/>
                    </a:lnTo>
                    <a:lnTo>
                      <a:pt x="1266" y="1616"/>
                    </a:lnTo>
                    <a:lnTo>
                      <a:pt x="1266" y="1618"/>
                    </a:lnTo>
                    <a:lnTo>
                      <a:pt x="1266" y="1616"/>
                    </a:lnTo>
                    <a:lnTo>
                      <a:pt x="1264" y="1616"/>
                    </a:lnTo>
                    <a:lnTo>
                      <a:pt x="1264" y="1614"/>
                    </a:lnTo>
                    <a:lnTo>
                      <a:pt x="1264" y="1612"/>
                    </a:lnTo>
                    <a:lnTo>
                      <a:pt x="1263" y="1614"/>
                    </a:lnTo>
                    <a:lnTo>
                      <a:pt x="1263" y="1612"/>
                    </a:lnTo>
                    <a:lnTo>
                      <a:pt x="1263" y="1611"/>
                    </a:lnTo>
                    <a:lnTo>
                      <a:pt x="1263" y="1612"/>
                    </a:lnTo>
                    <a:lnTo>
                      <a:pt x="1261" y="1612"/>
                    </a:lnTo>
                    <a:lnTo>
                      <a:pt x="1261" y="1611"/>
                    </a:lnTo>
                    <a:lnTo>
                      <a:pt x="1263" y="1609"/>
                    </a:lnTo>
                    <a:close/>
                    <a:moveTo>
                      <a:pt x="1168" y="1417"/>
                    </a:moveTo>
                    <a:lnTo>
                      <a:pt x="1169" y="1417"/>
                    </a:lnTo>
                    <a:lnTo>
                      <a:pt x="1169" y="1418"/>
                    </a:lnTo>
                    <a:lnTo>
                      <a:pt x="1168" y="1420"/>
                    </a:lnTo>
                    <a:lnTo>
                      <a:pt x="1166" y="1420"/>
                    </a:lnTo>
                    <a:lnTo>
                      <a:pt x="1168" y="1418"/>
                    </a:lnTo>
                    <a:lnTo>
                      <a:pt x="1166" y="1418"/>
                    </a:lnTo>
                    <a:lnTo>
                      <a:pt x="1164" y="1418"/>
                    </a:lnTo>
                    <a:lnTo>
                      <a:pt x="1164" y="1420"/>
                    </a:lnTo>
                    <a:lnTo>
                      <a:pt x="1162" y="1420"/>
                    </a:lnTo>
                    <a:lnTo>
                      <a:pt x="1162" y="1418"/>
                    </a:lnTo>
                    <a:lnTo>
                      <a:pt x="1164" y="1417"/>
                    </a:lnTo>
                    <a:lnTo>
                      <a:pt x="1166" y="1417"/>
                    </a:lnTo>
                    <a:lnTo>
                      <a:pt x="1168" y="1417"/>
                    </a:lnTo>
                    <a:close/>
                    <a:moveTo>
                      <a:pt x="1203" y="1075"/>
                    </a:moveTo>
                    <a:lnTo>
                      <a:pt x="1203" y="1077"/>
                    </a:lnTo>
                    <a:lnTo>
                      <a:pt x="1202" y="1077"/>
                    </a:lnTo>
                    <a:lnTo>
                      <a:pt x="1200" y="1078"/>
                    </a:lnTo>
                    <a:lnTo>
                      <a:pt x="1202" y="1077"/>
                    </a:lnTo>
                    <a:lnTo>
                      <a:pt x="1203" y="1077"/>
                    </a:lnTo>
                    <a:lnTo>
                      <a:pt x="1202" y="1078"/>
                    </a:lnTo>
                    <a:lnTo>
                      <a:pt x="1203" y="1077"/>
                    </a:lnTo>
                    <a:lnTo>
                      <a:pt x="1205" y="1077"/>
                    </a:lnTo>
                    <a:lnTo>
                      <a:pt x="1205" y="1078"/>
                    </a:lnTo>
                    <a:lnTo>
                      <a:pt x="1203" y="1078"/>
                    </a:lnTo>
                    <a:lnTo>
                      <a:pt x="1202" y="1078"/>
                    </a:lnTo>
                    <a:lnTo>
                      <a:pt x="1200" y="1078"/>
                    </a:lnTo>
                    <a:lnTo>
                      <a:pt x="1200" y="1077"/>
                    </a:lnTo>
                    <a:lnTo>
                      <a:pt x="1202" y="1075"/>
                    </a:lnTo>
                    <a:lnTo>
                      <a:pt x="1203" y="1075"/>
                    </a:lnTo>
                    <a:close/>
                    <a:moveTo>
                      <a:pt x="1222" y="1071"/>
                    </a:moveTo>
                    <a:lnTo>
                      <a:pt x="1222" y="1073"/>
                    </a:lnTo>
                    <a:lnTo>
                      <a:pt x="1224" y="1071"/>
                    </a:lnTo>
                    <a:lnTo>
                      <a:pt x="1224" y="1073"/>
                    </a:lnTo>
                    <a:lnTo>
                      <a:pt x="1225" y="1075"/>
                    </a:lnTo>
                    <a:lnTo>
                      <a:pt x="1224" y="1075"/>
                    </a:lnTo>
                    <a:lnTo>
                      <a:pt x="1222" y="1075"/>
                    </a:lnTo>
                    <a:lnTo>
                      <a:pt x="1220" y="1075"/>
                    </a:lnTo>
                    <a:lnTo>
                      <a:pt x="1220" y="1073"/>
                    </a:lnTo>
                    <a:lnTo>
                      <a:pt x="1222" y="1071"/>
                    </a:lnTo>
                    <a:close/>
                    <a:moveTo>
                      <a:pt x="1229" y="954"/>
                    </a:moveTo>
                    <a:lnTo>
                      <a:pt x="1229" y="956"/>
                    </a:lnTo>
                    <a:lnTo>
                      <a:pt x="1230" y="956"/>
                    </a:lnTo>
                    <a:lnTo>
                      <a:pt x="1230" y="957"/>
                    </a:lnTo>
                    <a:lnTo>
                      <a:pt x="1230" y="959"/>
                    </a:lnTo>
                    <a:lnTo>
                      <a:pt x="1229" y="957"/>
                    </a:lnTo>
                    <a:lnTo>
                      <a:pt x="1227" y="957"/>
                    </a:lnTo>
                    <a:lnTo>
                      <a:pt x="1227" y="956"/>
                    </a:lnTo>
                    <a:lnTo>
                      <a:pt x="1225" y="956"/>
                    </a:lnTo>
                    <a:lnTo>
                      <a:pt x="1227" y="956"/>
                    </a:lnTo>
                    <a:lnTo>
                      <a:pt x="1229" y="956"/>
                    </a:lnTo>
                    <a:lnTo>
                      <a:pt x="1227" y="956"/>
                    </a:lnTo>
                    <a:lnTo>
                      <a:pt x="1227" y="954"/>
                    </a:lnTo>
                    <a:lnTo>
                      <a:pt x="1227" y="952"/>
                    </a:lnTo>
                    <a:lnTo>
                      <a:pt x="1227" y="954"/>
                    </a:lnTo>
                    <a:lnTo>
                      <a:pt x="1227" y="952"/>
                    </a:lnTo>
                    <a:lnTo>
                      <a:pt x="1229" y="952"/>
                    </a:lnTo>
                    <a:lnTo>
                      <a:pt x="1229" y="954"/>
                    </a:lnTo>
                    <a:close/>
                    <a:moveTo>
                      <a:pt x="1208" y="1073"/>
                    </a:moveTo>
                    <a:lnTo>
                      <a:pt x="1208" y="1075"/>
                    </a:lnTo>
                    <a:lnTo>
                      <a:pt x="1207" y="1075"/>
                    </a:lnTo>
                    <a:lnTo>
                      <a:pt x="1207" y="1077"/>
                    </a:lnTo>
                    <a:lnTo>
                      <a:pt x="1208" y="1077"/>
                    </a:lnTo>
                    <a:lnTo>
                      <a:pt x="1208" y="1078"/>
                    </a:lnTo>
                    <a:lnTo>
                      <a:pt x="1207" y="1078"/>
                    </a:lnTo>
                    <a:lnTo>
                      <a:pt x="1205" y="1077"/>
                    </a:lnTo>
                    <a:lnTo>
                      <a:pt x="1205" y="1075"/>
                    </a:lnTo>
                    <a:lnTo>
                      <a:pt x="1203" y="1075"/>
                    </a:lnTo>
                    <a:lnTo>
                      <a:pt x="1205" y="1075"/>
                    </a:lnTo>
                    <a:lnTo>
                      <a:pt x="1207" y="1073"/>
                    </a:lnTo>
                    <a:lnTo>
                      <a:pt x="1207" y="1075"/>
                    </a:lnTo>
                    <a:lnTo>
                      <a:pt x="1208" y="1075"/>
                    </a:lnTo>
                    <a:lnTo>
                      <a:pt x="1207" y="1073"/>
                    </a:lnTo>
                    <a:lnTo>
                      <a:pt x="1208" y="1073"/>
                    </a:lnTo>
                    <a:close/>
                    <a:moveTo>
                      <a:pt x="1166" y="1420"/>
                    </a:moveTo>
                    <a:lnTo>
                      <a:pt x="1168" y="1422"/>
                    </a:lnTo>
                    <a:lnTo>
                      <a:pt x="1166" y="1422"/>
                    </a:lnTo>
                    <a:lnTo>
                      <a:pt x="1166" y="1424"/>
                    </a:lnTo>
                    <a:lnTo>
                      <a:pt x="1164" y="1424"/>
                    </a:lnTo>
                    <a:lnTo>
                      <a:pt x="1162" y="1424"/>
                    </a:lnTo>
                    <a:lnTo>
                      <a:pt x="1162" y="1425"/>
                    </a:lnTo>
                    <a:lnTo>
                      <a:pt x="1162" y="1424"/>
                    </a:lnTo>
                    <a:lnTo>
                      <a:pt x="1161" y="1424"/>
                    </a:lnTo>
                    <a:lnTo>
                      <a:pt x="1161" y="1422"/>
                    </a:lnTo>
                    <a:lnTo>
                      <a:pt x="1162" y="1422"/>
                    </a:lnTo>
                    <a:lnTo>
                      <a:pt x="1164" y="1422"/>
                    </a:lnTo>
                    <a:lnTo>
                      <a:pt x="1162" y="1422"/>
                    </a:lnTo>
                    <a:lnTo>
                      <a:pt x="1164" y="1420"/>
                    </a:lnTo>
                    <a:lnTo>
                      <a:pt x="1164" y="1422"/>
                    </a:lnTo>
                    <a:lnTo>
                      <a:pt x="1164" y="1420"/>
                    </a:lnTo>
                    <a:lnTo>
                      <a:pt x="1166" y="1420"/>
                    </a:lnTo>
                    <a:close/>
                    <a:moveTo>
                      <a:pt x="1247" y="968"/>
                    </a:moveTo>
                    <a:lnTo>
                      <a:pt x="1247" y="969"/>
                    </a:lnTo>
                    <a:lnTo>
                      <a:pt x="1247" y="971"/>
                    </a:lnTo>
                    <a:lnTo>
                      <a:pt x="1247" y="973"/>
                    </a:lnTo>
                    <a:lnTo>
                      <a:pt x="1246" y="973"/>
                    </a:lnTo>
                    <a:lnTo>
                      <a:pt x="1246" y="971"/>
                    </a:lnTo>
                    <a:lnTo>
                      <a:pt x="1244" y="971"/>
                    </a:lnTo>
                    <a:lnTo>
                      <a:pt x="1242" y="971"/>
                    </a:lnTo>
                    <a:lnTo>
                      <a:pt x="1244" y="969"/>
                    </a:lnTo>
                    <a:lnTo>
                      <a:pt x="1244" y="968"/>
                    </a:lnTo>
                    <a:lnTo>
                      <a:pt x="1246" y="968"/>
                    </a:lnTo>
                    <a:lnTo>
                      <a:pt x="1244" y="969"/>
                    </a:lnTo>
                    <a:lnTo>
                      <a:pt x="1246" y="968"/>
                    </a:lnTo>
                    <a:lnTo>
                      <a:pt x="1247" y="968"/>
                    </a:lnTo>
                    <a:close/>
                    <a:moveTo>
                      <a:pt x="1188" y="1099"/>
                    </a:moveTo>
                    <a:lnTo>
                      <a:pt x="1186" y="1100"/>
                    </a:lnTo>
                    <a:lnTo>
                      <a:pt x="1186" y="1102"/>
                    </a:lnTo>
                    <a:lnTo>
                      <a:pt x="1185" y="1102"/>
                    </a:lnTo>
                    <a:lnTo>
                      <a:pt x="1183" y="1102"/>
                    </a:lnTo>
                    <a:lnTo>
                      <a:pt x="1181" y="1100"/>
                    </a:lnTo>
                    <a:lnTo>
                      <a:pt x="1181" y="1099"/>
                    </a:lnTo>
                    <a:lnTo>
                      <a:pt x="1183" y="1100"/>
                    </a:lnTo>
                    <a:lnTo>
                      <a:pt x="1185" y="1100"/>
                    </a:lnTo>
                    <a:lnTo>
                      <a:pt x="1186" y="1099"/>
                    </a:lnTo>
                    <a:lnTo>
                      <a:pt x="1186" y="1100"/>
                    </a:lnTo>
                    <a:lnTo>
                      <a:pt x="1186" y="1099"/>
                    </a:lnTo>
                    <a:lnTo>
                      <a:pt x="1188" y="1099"/>
                    </a:lnTo>
                    <a:close/>
                    <a:moveTo>
                      <a:pt x="1169" y="1133"/>
                    </a:moveTo>
                    <a:lnTo>
                      <a:pt x="1169" y="1134"/>
                    </a:lnTo>
                    <a:lnTo>
                      <a:pt x="1171" y="1134"/>
                    </a:lnTo>
                    <a:lnTo>
                      <a:pt x="1169" y="1134"/>
                    </a:lnTo>
                    <a:lnTo>
                      <a:pt x="1168" y="1134"/>
                    </a:lnTo>
                    <a:lnTo>
                      <a:pt x="1169" y="1134"/>
                    </a:lnTo>
                    <a:lnTo>
                      <a:pt x="1171" y="1134"/>
                    </a:lnTo>
                    <a:lnTo>
                      <a:pt x="1171" y="1136"/>
                    </a:lnTo>
                    <a:lnTo>
                      <a:pt x="1171" y="1138"/>
                    </a:lnTo>
                    <a:lnTo>
                      <a:pt x="1171" y="1140"/>
                    </a:lnTo>
                    <a:lnTo>
                      <a:pt x="1171" y="1138"/>
                    </a:lnTo>
                    <a:lnTo>
                      <a:pt x="1169" y="1138"/>
                    </a:lnTo>
                    <a:lnTo>
                      <a:pt x="1169" y="1136"/>
                    </a:lnTo>
                    <a:lnTo>
                      <a:pt x="1168" y="1136"/>
                    </a:lnTo>
                    <a:lnTo>
                      <a:pt x="1168" y="1134"/>
                    </a:lnTo>
                    <a:lnTo>
                      <a:pt x="1168" y="1133"/>
                    </a:lnTo>
                    <a:lnTo>
                      <a:pt x="1169" y="1133"/>
                    </a:lnTo>
                    <a:close/>
                    <a:moveTo>
                      <a:pt x="1185" y="1240"/>
                    </a:moveTo>
                    <a:lnTo>
                      <a:pt x="1185" y="1242"/>
                    </a:lnTo>
                    <a:lnTo>
                      <a:pt x="1183" y="1242"/>
                    </a:lnTo>
                    <a:lnTo>
                      <a:pt x="1183" y="1243"/>
                    </a:lnTo>
                    <a:lnTo>
                      <a:pt x="1181" y="1243"/>
                    </a:lnTo>
                    <a:lnTo>
                      <a:pt x="1181" y="1245"/>
                    </a:lnTo>
                    <a:lnTo>
                      <a:pt x="1179" y="1245"/>
                    </a:lnTo>
                    <a:lnTo>
                      <a:pt x="1179" y="1243"/>
                    </a:lnTo>
                    <a:lnTo>
                      <a:pt x="1181" y="1243"/>
                    </a:lnTo>
                    <a:lnTo>
                      <a:pt x="1181" y="1242"/>
                    </a:lnTo>
                    <a:lnTo>
                      <a:pt x="1181" y="1240"/>
                    </a:lnTo>
                    <a:lnTo>
                      <a:pt x="1183" y="1240"/>
                    </a:lnTo>
                    <a:lnTo>
                      <a:pt x="1185" y="1240"/>
                    </a:lnTo>
                    <a:close/>
                    <a:moveTo>
                      <a:pt x="1205" y="1026"/>
                    </a:moveTo>
                    <a:lnTo>
                      <a:pt x="1207" y="1026"/>
                    </a:lnTo>
                    <a:lnTo>
                      <a:pt x="1207" y="1027"/>
                    </a:lnTo>
                    <a:lnTo>
                      <a:pt x="1208" y="1027"/>
                    </a:lnTo>
                    <a:lnTo>
                      <a:pt x="1207" y="1027"/>
                    </a:lnTo>
                    <a:lnTo>
                      <a:pt x="1207" y="1029"/>
                    </a:lnTo>
                    <a:lnTo>
                      <a:pt x="1205" y="1029"/>
                    </a:lnTo>
                    <a:lnTo>
                      <a:pt x="1205" y="1027"/>
                    </a:lnTo>
                    <a:lnTo>
                      <a:pt x="1203" y="1029"/>
                    </a:lnTo>
                    <a:lnTo>
                      <a:pt x="1203" y="1027"/>
                    </a:lnTo>
                    <a:lnTo>
                      <a:pt x="1203" y="1026"/>
                    </a:lnTo>
                    <a:lnTo>
                      <a:pt x="1205" y="1026"/>
                    </a:lnTo>
                    <a:close/>
                    <a:moveTo>
                      <a:pt x="1154" y="1282"/>
                    </a:moveTo>
                    <a:lnTo>
                      <a:pt x="1156" y="1284"/>
                    </a:lnTo>
                    <a:lnTo>
                      <a:pt x="1156" y="1286"/>
                    </a:lnTo>
                    <a:lnTo>
                      <a:pt x="1156" y="1288"/>
                    </a:lnTo>
                    <a:lnTo>
                      <a:pt x="1154" y="1288"/>
                    </a:lnTo>
                    <a:lnTo>
                      <a:pt x="1154" y="1286"/>
                    </a:lnTo>
                    <a:lnTo>
                      <a:pt x="1154" y="1288"/>
                    </a:lnTo>
                    <a:lnTo>
                      <a:pt x="1152" y="1288"/>
                    </a:lnTo>
                    <a:lnTo>
                      <a:pt x="1154" y="1286"/>
                    </a:lnTo>
                    <a:lnTo>
                      <a:pt x="1152" y="1286"/>
                    </a:lnTo>
                    <a:lnTo>
                      <a:pt x="1152" y="1288"/>
                    </a:lnTo>
                    <a:lnTo>
                      <a:pt x="1151" y="1288"/>
                    </a:lnTo>
                    <a:lnTo>
                      <a:pt x="1152" y="1286"/>
                    </a:lnTo>
                    <a:lnTo>
                      <a:pt x="1152" y="1284"/>
                    </a:lnTo>
                    <a:lnTo>
                      <a:pt x="1154" y="1284"/>
                    </a:lnTo>
                    <a:lnTo>
                      <a:pt x="1154" y="1282"/>
                    </a:lnTo>
                    <a:close/>
                    <a:moveTo>
                      <a:pt x="1193" y="1071"/>
                    </a:moveTo>
                    <a:lnTo>
                      <a:pt x="1193" y="1073"/>
                    </a:lnTo>
                    <a:lnTo>
                      <a:pt x="1193" y="1075"/>
                    </a:lnTo>
                    <a:lnTo>
                      <a:pt x="1193" y="1077"/>
                    </a:lnTo>
                    <a:lnTo>
                      <a:pt x="1191" y="1077"/>
                    </a:lnTo>
                    <a:lnTo>
                      <a:pt x="1191" y="1075"/>
                    </a:lnTo>
                    <a:lnTo>
                      <a:pt x="1190" y="1075"/>
                    </a:lnTo>
                    <a:lnTo>
                      <a:pt x="1191" y="1073"/>
                    </a:lnTo>
                    <a:lnTo>
                      <a:pt x="1191" y="1071"/>
                    </a:lnTo>
                    <a:lnTo>
                      <a:pt x="1193" y="1071"/>
                    </a:lnTo>
                    <a:close/>
                    <a:moveTo>
                      <a:pt x="1176" y="1381"/>
                    </a:moveTo>
                    <a:lnTo>
                      <a:pt x="1176" y="1383"/>
                    </a:lnTo>
                    <a:lnTo>
                      <a:pt x="1176" y="1384"/>
                    </a:lnTo>
                    <a:lnTo>
                      <a:pt x="1176" y="1386"/>
                    </a:lnTo>
                    <a:lnTo>
                      <a:pt x="1174" y="1386"/>
                    </a:lnTo>
                    <a:lnTo>
                      <a:pt x="1173" y="1386"/>
                    </a:lnTo>
                    <a:lnTo>
                      <a:pt x="1174" y="1386"/>
                    </a:lnTo>
                    <a:lnTo>
                      <a:pt x="1174" y="1384"/>
                    </a:lnTo>
                    <a:lnTo>
                      <a:pt x="1174" y="1383"/>
                    </a:lnTo>
                    <a:lnTo>
                      <a:pt x="1173" y="1384"/>
                    </a:lnTo>
                    <a:lnTo>
                      <a:pt x="1174" y="1383"/>
                    </a:lnTo>
                    <a:lnTo>
                      <a:pt x="1173" y="1383"/>
                    </a:lnTo>
                    <a:lnTo>
                      <a:pt x="1174" y="1381"/>
                    </a:lnTo>
                    <a:lnTo>
                      <a:pt x="1176" y="1381"/>
                    </a:lnTo>
                    <a:close/>
                    <a:moveTo>
                      <a:pt x="1253" y="1597"/>
                    </a:moveTo>
                    <a:lnTo>
                      <a:pt x="1254" y="1597"/>
                    </a:lnTo>
                    <a:lnTo>
                      <a:pt x="1254" y="1599"/>
                    </a:lnTo>
                    <a:lnTo>
                      <a:pt x="1256" y="1597"/>
                    </a:lnTo>
                    <a:lnTo>
                      <a:pt x="1254" y="1599"/>
                    </a:lnTo>
                    <a:lnTo>
                      <a:pt x="1256" y="1599"/>
                    </a:lnTo>
                    <a:lnTo>
                      <a:pt x="1256" y="1600"/>
                    </a:lnTo>
                    <a:lnTo>
                      <a:pt x="1254" y="1602"/>
                    </a:lnTo>
                    <a:lnTo>
                      <a:pt x="1254" y="1600"/>
                    </a:lnTo>
                    <a:lnTo>
                      <a:pt x="1254" y="1599"/>
                    </a:lnTo>
                    <a:lnTo>
                      <a:pt x="1254" y="1600"/>
                    </a:lnTo>
                    <a:lnTo>
                      <a:pt x="1253" y="1602"/>
                    </a:lnTo>
                    <a:lnTo>
                      <a:pt x="1253" y="1600"/>
                    </a:lnTo>
                    <a:lnTo>
                      <a:pt x="1251" y="1599"/>
                    </a:lnTo>
                    <a:lnTo>
                      <a:pt x="1251" y="1597"/>
                    </a:lnTo>
                    <a:lnTo>
                      <a:pt x="1253" y="1597"/>
                    </a:lnTo>
                    <a:close/>
                    <a:moveTo>
                      <a:pt x="1414" y="1669"/>
                    </a:moveTo>
                    <a:lnTo>
                      <a:pt x="1414" y="1670"/>
                    </a:lnTo>
                    <a:lnTo>
                      <a:pt x="1412" y="1670"/>
                    </a:lnTo>
                    <a:lnTo>
                      <a:pt x="1412" y="1672"/>
                    </a:lnTo>
                    <a:lnTo>
                      <a:pt x="1412" y="1674"/>
                    </a:lnTo>
                    <a:lnTo>
                      <a:pt x="1412" y="1672"/>
                    </a:lnTo>
                    <a:lnTo>
                      <a:pt x="1411" y="1674"/>
                    </a:lnTo>
                    <a:lnTo>
                      <a:pt x="1409" y="1674"/>
                    </a:lnTo>
                    <a:lnTo>
                      <a:pt x="1411" y="1674"/>
                    </a:lnTo>
                    <a:lnTo>
                      <a:pt x="1409" y="1672"/>
                    </a:lnTo>
                    <a:lnTo>
                      <a:pt x="1411" y="1672"/>
                    </a:lnTo>
                    <a:lnTo>
                      <a:pt x="1411" y="1670"/>
                    </a:lnTo>
                    <a:lnTo>
                      <a:pt x="1412" y="1670"/>
                    </a:lnTo>
                    <a:lnTo>
                      <a:pt x="1411" y="1670"/>
                    </a:lnTo>
                    <a:lnTo>
                      <a:pt x="1411" y="1669"/>
                    </a:lnTo>
                    <a:lnTo>
                      <a:pt x="1412" y="1667"/>
                    </a:lnTo>
                    <a:lnTo>
                      <a:pt x="1412" y="1669"/>
                    </a:lnTo>
                    <a:lnTo>
                      <a:pt x="1414" y="1669"/>
                    </a:lnTo>
                    <a:close/>
                    <a:moveTo>
                      <a:pt x="1205" y="1049"/>
                    </a:moveTo>
                    <a:lnTo>
                      <a:pt x="1205" y="1051"/>
                    </a:lnTo>
                    <a:lnTo>
                      <a:pt x="1205" y="1053"/>
                    </a:lnTo>
                    <a:lnTo>
                      <a:pt x="1205" y="1051"/>
                    </a:lnTo>
                    <a:lnTo>
                      <a:pt x="1205" y="1053"/>
                    </a:lnTo>
                    <a:lnTo>
                      <a:pt x="1203" y="1053"/>
                    </a:lnTo>
                    <a:lnTo>
                      <a:pt x="1202" y="1053"/>
                    </a:lnTo>
                    <a:lnTo>
                      <a:pt x="1202" y="1051"/>
                    </a:lnTo>
                    <a:lnTo>
                      <a:pt x="1200" y="1051"/>
                    </a:lnTo>
                    <a:lnTo>
                      <a:pt x="1202" y="1049"/>
                    </a:lnTo>
                    <a:lnTo>
                      <a:pt x="1202" y="1051"/>
                    </a:lnTo>
                    <a:lnTo>
                      <a:pt x="1203" y="1049"/>
                    </a:lnTo>
                    <a:lnTo>
                      <a:pt x="1203" y="1051"/>
                    </a:lnTo>
                    <a:lnTo>
                      <a:pt x="1203" y="1049"/>
                    </a:lnTo>
                    <a:lnTo>
                      <a:pt x="1205" y="1049"/>
                    </a:lnTo>
                    <a:close/>
                    <a:moveTo>
                      <a:pt x="1217" y="1551"/>
                    </a:moveTo>
                    <a:lnTo>
                      <a:pt x="1219" y="1551"/>
                    </a:lnTo>
                    <a:lnTo>
                      <a:pt x="1220" y="1553"/>
                    </a:lnTo>
                    <a:lnTo>
                      <a:pt x="1222" y="1555"/>
                    </a:lnTo>
                    <a:lnTo>
                      <a:pt x="1220" y="1555"/>
                    </a:lnTo>
                    <a:lnTo>
                      <a:pt x="1222" y="1555"/>
                    </a:lnTo>
                    <a:lnTo>
                      <a:pt x="1220" y="1555"/>
                    </a:lnTo>
                    <a:lnTo>
                      <a:pt x="1219" y="1553"/>
                    </a:lnTo>
                    <a:lnTo>
                      <a:pt x="1217" y="1551"/>
                    </a:lnTo>
                    <a:lnTo>
                      <a:pt x="1219" y="1553"/>
                    </a:lnTo>
                    <a:lnTo>
                      <a:pt x="1217" y="1553"/>
                    </a:lnTo>
                    <a:lnTo>
                      <a:pt x="1215" y="1553"/>
                    </a:lnTo>
                    <a:lnTo>
                      <a:pt x="1215" y="1555"/>
                    </a:lnTo>
                    <a:lnTo>
                      <a:pt x="1213" y="1553"/>
                    </a:lnTo>
                    <a:lnTo>
                      <a:pt x="1215" y="1553"/>
                    </a:lnTo>
                    <a:lnTo>
                      <a:pt x="1215" y="1551"/>
                    </a:lnTo>
                    <a:lnTo>
                      <a:pt x="1217" y="1551"/>
                    </a:lnTo>
                    <a:close/>
                    <a:moveTo>
                      <a:pt x="1361" y="1653"/>
                    </a:moveTo>
                    <a:lnTo>
                      <a:pt x="1361" y="1655"/>
                    </a:lnTo>
                    <a:lnTo>
                      <a:pt x="1363" y="1655"/>
                    </a:lnTo>
                    <a:lnTo>
                      <a:pt x="1363" y="1657"/>
                    </a:lnTo>
                    <a:lnTo>
                      <a:pt x="1361" y="1657"/>
                    </a:lnTo>
                    <a:lnTo>
                      <a:pt x="1363" y="1657"/>
                    </a:lnTo>
                    <a:lnTo>
                      <a:pt x="1365" y="1657"/>
                    </a:lnTo>
                    <a:lnTo>
                      <a:pt x="1365" y="1658"/>
                    </a:lnTo>
                    <a:lnTo>
                      <a:pt x="1366" y="1658"/>
                    </a:lnTo>
                    <a:lnTo>
                      <a:pt x="1366" y="1660"/>
                    </a:lnTo>
                    <a:lnTo>
                      <a:pt x="1365" y="1660"/>
                    </a:lnTo>
                    <a:lnTo>
                      <a:pt x="1365" y="1658"/>
                    </a:lnTo>
                    <a:lnTo>
                      <a:pt x="1363" y="1658"/>
                    </a:lnTo>
                    <a:lnTo>
                      <a:pt x="1363" y="1657"/>
                    </a:lnTo>
                    <a:lnTo>
                      <a:pt x="1361" y="1657"/>
                    </a:lnTo>
                    <a:lnTo>
                      <a:pt x="1361" y="1655"/>
                    </a:lnTo>
                    <a:lnTo>
                      <a:pt x="1360" y="1653"/>
                    </a:lnTo>
                    <a:lnTo>
                      <a:pt x="1358" y="1653"/>
                    </a:lnTo>
                    <a:lnTo>
                      <a:pt x="1360" y="1652"/>
                    </a:lnTo>
                    <a:lnTo>
                      <a:pt x="1361" y="1653"/>
                    </a:lnTo>
                    <a:close/>
                    <a:moveTo>
                      <a:pt x="1171" y="1247"/>
                    </a:moveTo>
                    <a:lnTo>
                      <a:pt x="1173" y="1248"/>
                    </a:lnTo>
                    <a:lnTo>
                      <a:pt x="1173" y="1250"/>
                    </a:lnTo>
                    <a:lnTo>
                      <a:pt x="1173" y="1252"/>
                    </a:lnTo>
                    <a:lnTo>
                      <a:pt x="1173" y="1253"/>
                    </a:lnTo>
                    <a:lnTo>
                      <a:pt x="1171" y="1252"/>
                    </a:lnTo>
                    <a:lnTo>
                      <a:pt x="1173" y="1253"/>
                    </a:lnTo>
                    <a:lnTo>
                      <a:pt x="1173" y="1252"/>
                    </a:lnTo>
                    <a:lnTo>
                      <a:pt x="1171" y="1252"/>
                    </a:lnTo>
                    <a:lnTo>
                      <a:pt x="1171" y="1250"/>
                    </a:lnTo>
                    <a:lnTo>
                      <a:pt x="1171" y="1248"/>
                    </a:lnTo>
                    <a:lnTo>
                      <a:pt x="1171" y="1247"/>
                    </a:lnTo>
                    <a:close/>
                    <a:moveTo>
                      <a:pt x="1370" y="1646"/>
                    </a:moveTo>
                    <a:lnTo>
                      <a:pt x="1370" y="1648"/>
                    </a:lnTo>
                    <a:lnTo>
                      <a:pt x="1368" y="1650"/>
                    </a:lnTo>
                    <a:lnTo>
                      <a:pt x="1370" y="1650"/>
                    </a:lnTo>
                    <a:lnTo>
                      <a:pt x="1368" y="1652"/>
                    </a:lnTo>
                    <a:lnTo>
                      <a:pt x="1368" y="1653"/>
                    </a:lnTo>
                    <a:lnTo>
                      <a:pt x="1366" y="1653"/>
                    </a:lnTo>
                    <a:lnTo>
                      <a:pt x="1368" y="1653"/>
                    </a:lnTo>
                    <a:lnTo>
                      <a:pt x="1366" y="1653"/>
                    </a:lnTo>
                    <a:lnTo>
                      <a:pt x="1366" y="1652"/>
                    </a:lnTo>
                    <a:lnTo>
                      <a:pt x="1366" y="1650"/>
                    </a:lnTo>
                    <a:lnTo>
                      <a:pt x="1368" y="1648"/>
                    </a:lnTo>
                    <a:lnTo>
                      <a:pt x="1368" y="1646"/>
                    </a:lnTo>
                    <a:lnTo>
                      <a:pt x="1370" y="1646"/>
                    </a:lnTo>
                    <a:close/>
                    <a:moveTo>
                      <a:pt x="1346" y="1658"/>
                    </a:moveTo>
                    <a:lnTo>
                      <a:pt x="1348" y="1658"/>
                    </a:lnTo>
                    <a:lnTo>
                      <a:pt x="1348" y="1660"/>
                    </a:lnTo>
                    <a:lnTo>
                      <a:pt x="1349" y="1660"/>
                    </a:lnTo>
                    <a:lnTo>
                      <a:pt x="1349" y="1662"/>
                    </a:lnTo>
                    <a:lnTo>
                      <a:pt x="1348" y="1663"/>
                    </a:lnTo>
                    <a:lnTo>
                      <a:pt x="1348" y="1662"/>
                    </a:lnTo>
                    <a:lnTo>
                      <a:pt x="1348" y="1660"/>
                    </a:lnTo>
                    <a:lnTo>
                      <a:pt x="1346" y="1660"/>
                    </a:lnTo>
                    <a:lnTo>
                      <a:pt x="1344" y="1660"/>
                    </a:lnTo>
                    <a:lnTo>
                      <a:pt x="1346" y="1658"/>
                    </a:lnTo>
                    <a:lnTo>
                      <a:pt x="1344" y="1658"/>
                    </a:lnTo>
                    <a:lnTo>
                      <a:pt x="1344" y="1657"/>
                    </a:lnTo>
                    <a:lnTo>
                      <a:pt x="1346" y="1658"/>
                    </a:lnTo>
                    <a:close/>
                    <a:moveTo>
                      <a:pt x="1179" y="1140"/>
                    </a:moveTo>
                    <a:lnTo>
                      <a:pt x="1179" y="1141"/>
                    </a:lnTo>
                    <a:lnTo>
                      <a:pt x="1181" y="1141"/>
                    </a:lnTo>
                    <a:lnTo>
                      <a:pt x="1181" y="1143"/>
                    </a:lnTo>
                    <a:lnTo>
                      <a:pt x="1179" y="1145"/>
                    </a:lnTo>
                    <a:lnTo>
                      <a:pt x="1179" y="1143"/>
                    </a:lnTo>
                    <a:lnTo>
                      <a:pt x="1178" y="1143"/>
                    </a:lnTo>
                    <a:lnTo>
                      <a:pt x="1176" y="1143"/>
                    </a:lnTo>
                    <a:lnTo>
                      <a:pt x="1178" y="1143"/>
                    </a:lnTo>
                    <a:lnTo>
                      <a:pt x="1178" y="1141"/>
                    </a:lnTo>
                    <a:lnTo>
                      <a:pt x="1178" y="1140"/>
                    </a:lnTo>
                    <a:lnTo>
                      <a:pt x="1179" y="1140"/>
                    </a:lnTo>
                    <a:close/>
                    <a:moveTo>
                      <a:pt x="1205" y="1453"/>
                    </a:moveTo>
                    <a:lnTo>
                      <a:pt x="1205" y="1454"/>
                    </a:lnTo>
                    <a:lnTo>
                      <a:pt x="1207" y="1454"/>
                    </a:lnTo>
                    <a:lnTo>
                      <a:pt x="1207" y="1456"/>
                    </a:lnTo>
                    <a:lnTo>
                      <a:pt x="1207" y="1458"/>
                    </a:lnTo>
                    <a:lnTo>
                      <a:pt x="1207" y="1459"/>
                    </a:lnTo>
                    <a:lnTo>
                      <a:pt x="1205" y="1458"/>
                    </a:lnTo>
                    <a:lnTo>
                      <a:pt x="1205" y="1456"/>
                    </a:lnTo>
                    <a:lnTo>
                      <a:pt x="1203" y="1456"/>
                    </a:lnTo>
                    <a:lnTo>
                      <a:pt x="1203" y="1454"/>
                    </a:lnTo>
                    <a:lnTo>
                      <a:pt x="1203" y="1453"/>
                    </a:lnTo>
                    <a:lnTo>
                      <a:pt x="1205" y="1453"/>
                    </a:lnTo>
                    <a:close/>
                    <a:moveTo>
                      <a:pt x="1429" y="1680"/>
                    </a:moveTo>
                    <a:lnTo>
                      <a:pt x="1429" y="1682"/>
                    </a:lnTo>
                    <a:lnTo>
                      <a:pt x="1428" y="1682"/>
                    </a:lnTo>
                    <a:lnTo>
                      <a:pt x="1429" y="1684"/>
                    </a:lnTo>
                    <a:lnTo>
                      <a:pt x="1429" y="1686"/>
                    </a:lnTo>
                    <a:lnTo>
                      <a:pt x="1431" y="1686"/>
                    </a:lnTo>
                    <a:lnTo>
                      <a:pt x="1429" y="1687"/>
                    </a:lnTo>
                    <a:lnTo>
                      <a:pt x="1429" y="1686"/>
                    </a:lnTo>
                    <a:lnTo>
                      <a:pt x="1428" y="1686"/>
                    </a:lnTo>
                    <a:lnTo>
                      <a:pt x="1426" y="1686"/>
                    </a:lnTo>
                    <a:lnTo>
                      <a:pt x="1426" y="1684"/>
                    </a:lnTo>
                    <a:lnTo>
                      <a:pt x="1428" y="1682"/>
                    </a:lnTo>
                    <a:lnTo>
                      <a:pt x="1429" y="1680"/>
                    </a:lnTo>
                    <a:close/>
                    <a:moveTo>
                      <a:pt x="1186" y="1073"/>
                    </a:moveTo>
                    <a:lnTo>
                      <a:pt x="1188" y="1073"/>
                    </a:lnTo>
                    <a:lnTo>
                      <a:pt x="1188" y="1075"/>
                    </a:lnTo>
                    <a:lnTo>
                      <a:pt x="1186" y="1075"/>
                    </a:lnTo>
                    <a:lnTo>
                      <a:pt x="1185" y="1075"/>
                    </a:lnTo>
                    <a:lnTo>
                      <a:pt x="1183" y="1075"/>
                    </a:lnTo>
                    <a:lnTo>
                      <a:pt x="1183" y="1077"/>
                    </a:lnTo>
                    <a:lnTo>
                      <a:pt x="1181" y="1075"/>
                    </a:lnTo>
                    <a:lnTo>
                      <a:pt x="1183" y="1075"/>
                    </a:lnTo>
                    <a:lnTo>
                      <a:pt x="1183" y="1073"/>
                    </a:lnTo>
                    <a:lnTo>
                      <a:pt x="1183" y="1075"/>
                    </a:lnTo>
                    <a:lnTo>
                      <a:pt x="1185" y="1075"/>
                    </a:lnTo>
                    <a:lnTo>
                      <a:pt x="1183" y="1073"/>
                    </a:lnTo>
                    <a:lnTo>
                      <a:pt x="1185" y="1073"/>
                    </a:lnTo>
                    <a:lnTo>
                      <a:pt x="1185" y="1071"/>
                    </a:lnTo>
                    <a:lnTo>
                      <a:pt x="1186" y="1073"/>
                    </a:lnTo>
                    <a:close/>
                    <a:moveTo>
                      <a:pt x="1202" y="1485"/>
                    </a:moveTo>
                    <a:lnTo>
                      <a:pt x="1202" y="1487"/>
                    </a:lnTo>
                    <a:lnTo>
                      <a:pt x="1200" y="1487"/>
                    </a:lnTo>
                    <a:lnTo>
                      <a:pt x="1200" y="1488"/>
                    </a:lnTo>
                    <a:lnTo>
                      <a:pt x="1198" y="1488"/>
                    </a:lnTo>
                    <a:lnTo>
                      <a:pt x="1196" y="1488"/>
                    </a:lnTo>
                    <a:lnTo>
                      <a:pt x="1198" y="1487"/>
                    </a:lnTo>
                    <a:lnTo>
                      <a:pt x="1198" y="1485"/>
                    </a:lnTo>
                    <a:lnTo>
                      <a:pt x="1200" y="1485"/>
                    </a:lnTo>
                    <a:lnTo>
                      <a:pt x="1202" y="1485"/>
                    </a:lnTo>
                    <a:close/>
                    <a:moveTo>
                      <a:pt x="1179" y="1242"/>
                    </a:moveTo>
                    <a:lnTo>
                      <a:pt x="1179" y="1243"/>
                    </a:lnTo>
                    <a:lnTo>
                      <a:pt x="1178" y="1243"/>
                    </a:lnTo>
                    <a:lnTo>
                      <a:pt x="1178" y="1245"/>
                    </a:lnTo>
                    <a:lnTo>
                      <a:pt x="1176" y="1245"/>
                    </a:lnTo>
                    <a:lnTo>
                      <a:pt x="1176" y="1243"/>
                    </a:lnTo>
                    <a:lnTo>
                      <a:pt x="1176" y="1242"/>
                    </a:lnTo>
                    <a:lnTo>
                      <a:pt x="1178" y="1242"/>
                    </a:lnTo>
                    <a:lnTo>
                      <a:pt x="1179" y="1242"/>
                    </a:lnTo>
                    <a:close/>
                    <a:moveTo>
                      <a:pt x="1196" y="1526"/>
                    </a:moveTo>
                    <a:lnTo>
                      <a:pt x="1198" y="1526"/>
                    </a:lnTo>
                    <a:lnTo>
                      <a:pt x="1196" y="1527"/>
                    </a:lnTo>
                    <a:lnTo>
                      <a:pt x="1198" y="1527"/>
                    </a:lnTo>
                    <a:lnTo>
                      <a:pt x="1200" y="1529"/>
                    </a:lnTo>
                    <a:lnTo>
                      <a:pt x="1200" y="1531"/>
                    </a:lnTo>
                    <a:lnTo>
                      <a:pt x="1200" y="1529"/>
                    </a:lnTo>
                    <a:lnTo>
                      <a:pt x="1198" y="1529"/>
                    </a:lnTo>
                    <a:lnTo>
                      <a:pt x="1198" y="1527"/>
                    </a:lnTo>
                    <a:lnTo>
                      <a:pt x="1198" y="1529"/>
                    </a:lnTo>
                    <a:lnTo>
                      <a:pt x="1196" y="1529"/>
                    </a:lnTo>
                    <a:lnTo>
                      <a:pt x="1196" y="1527"/>
                    </a:lnTo>
                    <a:lnTo>
                      <a:pt x="1195" y="1527"/>
                    </a:lnTo>
                    <a:lnTo>
                      <a:pt x="1195" y="1529"/>
                    </a:lnTo>
                    <a:lnTo>
                      <a:pt x="1195" y="1527"/>
                    </a:lnTo>
                    <a:lnTo>
                      <a:pt x="1193" y="1526"/>
                    </a:lnTo>
                    <a:lnTo>
                      <a:pt x="1195" y="1526"/>
                    </a:lnTo>
                    <a:lnTo>
                      <a:pt x="1196" y="1526"/>
                    </a:lnTo>
                    <a:close/>
                    <a:moveTo>
                      <a:pt x="1166" y="1435"/>
                    </a:moveTo>
                    <a:lnTo>
                      <a:pt x="1166" y="1437"/>
                    </a:lnTo>
                    <a:lnTo>
                      <a:pt x="1164" y="1437"/>
                    </a:lnTo>
                    <a:lnTo>
                      <a:pt x="1166" y="1437"/>
                    </a:lnTo>
                    <a:lnTo>
                      <a:pt x="1164" y="1437"/>
                    </a:lnTo>
                    <a:lnTo>
                      <a:pt x="1164" y="1435"/>
                    </a:lnTo>
                    <a:lnTo>
                      <a:pt x="1164" y="1437"/>
                    </a:lnTo>
                    <a:lnTo>
                      <a:pt x="1162" y="1437"/>
                    </a:lnTo>
                    <a:lnTo>
                      <a:pt x="1162" y="1435"/>
                    </a:lnTo>
                    <a:lnTo>
                      <a:pt x="1162" y="1434"/>
                    </a:lnTo>
                    <a:lnTo>
                      <a:pt x="1164" y="1434"/>
                    </a:lnTo>
                    <a:lnTo>
                      <a:pt x="1166" y="1432"/>
                    </a:lnTo>
                    <a:lnTo>
                      <a:pt x="1166" y="1434"/>
                    </a:lnTo>
                    <a:lnTo>
                      <a:pt x="1166" y="1435"/>
                    </a:lnTo>
                    <a:close/>
                    <a:moveTo>
                      <a:pt x="1217" y="1107"/>
                    </a:moveTo>
                    <a:lnTo>
                      <a:pt x="1217" y="1109"/>
                    </a:lnTo>
                    <a:lnTo>
                      <a:pt x="1219" y="1111"/>
                    </a:lnTo>
                    <a:lnTo>
                      <a:pt x="1219" y="1112"/>
                    </a:lnTo>
                    <a:lnTo>
                      <a:pt x="1217" y="1112"/>
                    </a:lnTo>
                    <a:lnTo>
                      <a:pt x="1215" y="1111"/>
                    </a:lnTo>
                    <a:lnTo>
                      <a:pt x="1215" y="1109"/>
                    </a:lnTo>
                    <a:lnTo>
                      <a:pt x="1215" y="1111"/>
                    </a:lnTo>
                    <a:lnTo>
                      <a:pt x="1215" y="1109"/>
                    </a:lnTo>
                    <a:lnTo>
                      <a:pt x="1215" y="1107"/>
                    </a:lnTo>
                    <a:lnTo>
                      <a:pt x="1217" y="1107"/>
                    </a:lnTo>
                    <a:close/>
                    <a:moveTo>
                      <a:pt x="1202" y="1141"/>
                    </a:moveTo>
                    <a:lnTo>
                      <a:pt x="1203" y="1141"/>
                    </a:lnTo>
                    <a:lnTo>
                      <a:pt x="1203" y="1143"/>
                    </a:lnTo>
                    <a:lnTo>
                      <a:pt x="1205" y="1143"/>
                    </a:lnTo>
                    <a:lnTo>
                      <a:pt x="1203" y="1143"/>
                    </a:lnTo>
                    <a:lnTo>
                      <a:pt x="1203" y="1145"/>
                    </a:lnTo>
                    <a:lnTo>
                      <a:pt x="1202" y="1145"/>
                    </a:lnTo>
                    <a:lnTo>
                      <a:pt x="1200" y="1145"/>
                    </a:lnTo>
                    <a:lnTo>
                      <a:pt x="1202" y="1143"/>
                    </a:lnTo>
                    <a:lnTo>
                      <a:pt x="1200" y="1145"/>
                    </a:lnTo>
                    <a:lnTo>
                      <a:pt x="1200" y="1143"/>
                    </a:lnTo>
                    <a:lnTo>
                      <a:pt x="1202" y="1141"/>
                    </a:lnTo>
                    <a:close/>
                    <a:moveTo>
                      <a:pt x="1168" y="1407"/>
                    </a:moveTo>
                    <a:lnTo>
                      <a:pt x="1169" y="1407"/>
                    </a:lnTo>
                    <a:lnTo>
                      <a:pt x="1168" y="1408"/>
                    </a:lnTo>
                    <a:lnTo>
                      <a:pt x="1166" y="1408"/>
                    </a:lnTo>
                    <a:lnTo>
                      <a:pt x="1166" y="1410"/>
                    </a:lnTo>
                    <a:lnTo>
                      <a:pt x="1164" y="1412"/>
                    </a:lnTo>
                    <a:lnTo>
                      <a:pt x="1164" y="1410"/>
                    </a:lnTo>
                    <a:lnTo>
                      <a:pt x="1166" y="1410"/>
                    </a:lnTo>
                    <a:lnTo>
                      <a:pt x="1166" y="1408"/>
                    </a:lnTo>
                    <a:lnTo>
                      <a:pt x="1164" y="1408"/>
                    </a:lnTo>
                    <a:lnTo>
                      <a:pt x="1166" y="1408"/>
                    </a:lnTo>
                    <a:lnTo>
                      <a:pt x="1166" y="1407"/>
                    </a:lnTo>
                    <a:lnTo>
                      <a:pt x="1168" y="1407"/>
                    </a:lnTo>
                    <a:close/>
                    <a:moveTo>
                      <a:pt x="965" y="610"/>
                    </a:moveTo>
                    <a:lnTo>
                      <a:pt x="969" y="610"/>
                    </a:lnTo>
                    <a:lnTo>
                      <a:pt x="969" y="614"/>
                    </a:lnTo>
                    <a:lnTo>
                      <a:pt x="965" y="614"/>
                    </a:lnTo>
                    <a:lnTo>
                      <a:pt x="965" y="610"/>
                    </a:lnTo>
                    <a:close/>
                    <a:moveTo>
                      <a:pt x="1229" y="1071"/>
                    </a:moveTo>
                    <a:lnTo>
                      <a:pt x="1230" y="1071"/>
                    </a:lnTo>
                    <a:lnTo>
                      <a:pt x="1230" y="1073"/>
                    </a:lnTo>
                    <a:lnTo>
                      <a:pt x="1229" y="1073"/>
                    </a:lnTo>
                    <a:lnTo>
                      <a:pt x="1229" y="1075"/>
                    </a:lnTo>
                    <a:lnTo>
                      <a:pt x="1227" y="1075"/>
                    </a:lnTo>
                    <a:lnTo>
                      <a:pt x="1227" y="1073"/>
                    </a:lnTo>
                    <a:lnTo>
                      <a:pt x="1227" y="1075"/>
                    </a:lnTo>
                    <a:lnTo>
                      <a:pt x="1225" y="1075"/>
                    </a:lnTo>
                    <a:lnTo>
                      <a:pt x="1225" y="1073"/>
                    </a:lnTo>
                    <a:lnTo>
                      <a:pt x="1227" y="1073"/>
                    </a:lnTo>
                    <a:lnTo>
                      <a:pt x="1227" y="1071"/>
                    </a:lnTo>
                    <a:lnTo>
                      <a:pt x="1229" y="1071"/>
                    </a:lnTo>
                    <a:close/>
                    <a:moveTo>
                      <a:pt x="1174" y="1242"/>
                    </a:moveTo>
                    <a:lnTo>
                      <a:pt x="1174" y="1243"/>
                    </a:lnTo>
                    <a:lnTo>
                      <a:pt x="1176" y="1245"/>
                    </a:lnTo>
                    <a:lnTo>
                      <a:pt x="1174" y="1245"/>
                    </a:lnTo>
                    <a:lnTo>
                      <a:pt x="1173" y="1245"/>
                    </a:lnTo>
                    <a:lnTo>
                      <a:pt x="1174" y="1245"/>
                    </a:lnTo>
                    <a:lnTo>
                      <a:pt x="1173" y="1245"/>
                    </a:lnTo>
                    <a:lnTo>
                      <a:pt x="1173" y="1243"/>
                    </a:lnTo>
                    <a:lnTo>
                      <a:pt x="1173" y="1242"/>
                    </a:lnTo>
                    <a:lnTo>
                      <a:pt x="1174" y="1242"/>
                    </a:lnTo>
                    <a:close/>
                    <a:moveTo>
                      <a:pt x="1198" y="803"/>
                    </a:moveTo>
                    <a:lnTo>
                      <a:pt x="1200" y="803"/>
                    </a:lnTo>
                    <a:lnTo>
                      <a:pt x="1200" y="804"/>
                    </a:lnTo>
                    <a:lnTo>
                      <a:pt x="1202" y="804"/>
                    </a:lnTo>
                    <a:lnTo>
                      <a:pt x="1200" y="804"/>
                    </a:lnTo>
                    <a:lnTo>
                      <a:pt x="1202" y="804"/>
                    </a:lnTo>
                    <a:lnTo>
                      <a:pt x="1200" y="804"/>
                    </a:lnTo>
                    <a:lnTo>
                      <a:pt x="1200" y="806"/>
                    </a:lnTo>
                    <a:lnTo>
                      <a:pt x="1198" y="806"/>
                    </a:lnTo>
                    <a:lnTo>
                      <a:pt x="1198" y="804"/>
                    </a:lnTo>
                    <a:lnTo>
                      <a:pt x="1198" y="803"/>
                    </a:lnTo>
                    <a:lnTo>
                      <a:pt x="1198" y="801"/>
                    </a:lnTo>
                    <a:lnTo>
                      <a:pt x="1198" y="803"/>
                    </a:lnTo>
                    <a:close/>
                    <a:moveTo>
                      <a:pt x="1178" y="1453"/>
                    </a:moveTo>
                    <a:lnTo>
                      <a:pt x="1178" y="1454"/>
                    </a:lnTo>
                    <a:lnTo>
                      <a:pt x="1178" y="1456"/>
                    </a:lnTo>
                    <a:lnTo>
                      <a:pt x="1178" y="1454"/>
                    </a:lnTo>
                    <a:lnTo>
                      <a:pt x="1178" y="1456"/>
                    </a:lnTo>
                    <a:lnTo>
                      <a:pt x="1176" y="1458"/>
                    </a:lnTo>
                    <a:lnTo>
                      <a:pt x="1178" y="1458"/>
                    </a:lnTo>
                    <a:lnTo>
                      <a:pt x="1178" y="1456"/>
                    </a:lnTo>
                    <a:lnTo>
                      <a:pt x="1178" y="1458"/>
                    </a:lnTo>
                    <a:lnTo>
                      <a:pt x="1176" y="1458"/>
                    </a:lnTo>
                    <a:lnTo>
                      <a:pt x="1176" y="1459"/>
                    </a:lnTo>
                    <a:lnTo>
                      <a:pt x="1174" y="1459"/>
                    </a:lnTo>
                    <a:lnTo>
                      <a:pt x="1174" y="1458"/>
                    </a:lnTo>
                    <a:lnTo>
                      <a:pt x="1176" y="1458"/>
                    </a:lnTo>
                    <a:lnTo>
                      <a:pt x="1176" y="1456"/>
                    </a:lnTo>
                    <a:lnTo>
                      <a:pt x="1176" y="1454"/>
                    </a:lnTo>
                    <a:lnTo>
                      <a:pt x="1178" y="1454"/>
                    </a:lnTo>
                    <a:lnTo>
                      <a:pt x="1178" y="1453"/>
                    </a:lnTo>
                    <a:close/>
                    <a:moveTo>
                      <a:pt x="1208" y="1068"/>
                    </a:moveTo>
                    <a:lnTo>
                      <a:pt x="1208" y="1070"/>
                    </a:lnTo>
                    <a:lnTo>
                      <a:pt x="1207" y="1071"/>
                    </a:lnTo>
                    <a:lnTo>
                      <a:pt x="1205" y="1071"/>
                    </a:lnTo>
                    <a:lnTo>
                      <a:pt x="1205" y="1070"/>
                    </a:lnTo>
                    <a:lnTo>
                      <a:pt x="1205" y="1068"/>
                    </a:lnTo>
                    <a:lnTo>
                      <a:pt x="1207" y="1070"/>
                    </a:lnTo>
                    <a:lnTo>
                      <a:pt x="1207" y="1068"/>
                    </a:lnTo>
                    <a:lnTo>
                      <a:pt x="1208" y="1068"/>
                    </a:lnTo>
                    <a:close/>
                    <a:moveTo>
                      <a:pt x="1278" y="1614"/>
                    </a:moveTo>
                    <a:lnTo>
                      <a:pt x="1278" y="1616"/>
                    </a:lnTo>
                    <a:lnTo>
                      <a:pt x="1280" y="1616"/>
                    </a:lnTo>
                    <a:lnTo>
                      <a:pt x="1278" y="1618"/>
                    </a:lnTo>
                    <a:lnTo>
                      <a:pt x="1276" y="1619"/>
                    </a:lnTo>
                    <a:lnTo>
                      <a:pt x="1276" y="1618"/>
                    </a:lnTo>
                    <a:lnTo>
                      <a:pt x="1276" y="1616"/>
                    </a:lnTo>
                    <a:lnTo>
                      <a:pt x="1275" y="1616"/>
                    </a:lnTo>
                    <a:lnTo>
                      <a:pt x="1276" y="1616"/>
                    </a:lnTo>
                    <a:lnTo>
                      <a:pt x="1276" y="1614"/>
                    </a:lnTo>
                    <a:lnTo>
                      <a:pt x="1278" y="1614"/>
                    </a:lnTo>
                    <a:close/>
                    <a:moveTo>
                      <a:pt x="1174" y="1369"/>
                    </a:moveTo>
                    <a:lnTo>
                      <a:pt x="1176" y="1369"/>
                    </a:lnTo>
                    <a:lnTo>
                      <a:pt x="1178" y="1369"/>
                    </a:lnTo>
                    <a:lnTo>
                      <a:pt x="1176" y="1371"/>
                    </a:lnTo>
                    <a:lnTo>
                      <a:pt x="1176" y="1369"/>
                    </a:lnTo>
                    <a:lnTo>
                      <a:pt x="1176" y="1371"/>
                    </a:lnTo>
                    <a:lnTo>
                      <a:pt x="1174" y="1371"/>
                    </a:lnTo>
                    <a:lnTo>
                      <a:pt x="1173" y="1371"/>
                    </a:lnTo>
                    <a:lnTo>
                      <a:pt x="1171" y="1371"/>
                    </a:lnTo>
                    <a:lnTo>
                      <a:pt x="1171" y="1369"/>
                    </a:lnTo>
                    <a:lnTo>
                      <a:pt x="1173" y="1369"/>
                    </a:lnTo>
                    <a:lnTo>
                      <a:pt x="1174" y="1369"/>
                    </a:lnTo>
                    <a:lnTo>
                      <a:pt x="1174" y="1371"/>
                    </a:lnTo>
                    <a:lnTo>
                      <a:pt x="1174" y="1369"/>
                    </a:lnTo>
                    <a:close/>
                    <a:moveTo>
                      <a:pt x="1200" y="1054"/>
                    </a:moveTo>
                    <a:lnTo>
                      <a:pt x="1202" y="1054"/>
                    </a:lnTo>
                    <a:lnTo>
                      <a:pt x="1203" y="1054"/>
                    </a:lnTo>
                    <a:lnTo>
                      <a:pt x="1203" y="1056"/>
                    </a:lnTo>
                    <a:lnTo>
                      <a:pt x="1202" y="1056"/>
                    </a:lnTo>
                    <a:lnTo>
                      <a:pt x="1200" y="1056"/>
                    </a:lnTo>
                    <a:lnTo>
                      <a:pt x="1198" y="1054"/>
                    </a:lnTo>
                    <a:lnTo>
                      <a:pt x="1200" y="1054"/>
                    </a:lnTo>
                    <a:close/>
                    <a:moveTo>
                      <a:pt x="1292" y="1629"/>
                    </a:moveTo>
                    <a:lnTo>
                      <a:pt x="1292" y="1631"/>
                    </a:lnTo>
                    <a:lnTo>
                      <a:pt x="1290" y="1631"/>
                    </a:lnTo>
                    <a:lnTo>
                      <a:pt x="1290" y="1633"/>
                    </a:lnTo>
                    <a:lnTo>
                      <a:pt x="1290" y="1635"/>
                    </a:lnTo>
                    <a:lnTo>
                      <a:pt x="1290" y="1633"/>
                    </a:lnTo>
                    <a:lnTo>
                      <a:pt x="1288" y="1633"/>
                    </a:lnTo>
                    <a:lnTo>
                      <a:pt x="1288" y="1631"/>
                    </a:lnTo>
                    <a:lnTo>
                      <a:pt x="1288" y="1629"/>
                    </a:lnTo>
                    <a:lnTo>
                      <a:pt x="1290" y="1629"/>
                    </a:lnTo>
                    <a:lnTo>
                      <a:pt x="1292" y="1629"/>
                    </a:lnTo>
                    <a:close/>
                    <a:moveTo>
                      <a:pt x="1251" y="1502"/>
                    </a:moveTo>
                    <a:lnTo>
                      <a:pt x="1251" y="1504"/>
                    </a:lnTo>
                    <a:lnTo>
                      <a:pt x="1249" y="1505"/>
                    </a:lnTo>
                    <a:lnTo>
                      <a:pt x="1247" y="1505"/>
                    </a:lnTo>
                    <a:lnTo>
                      <a:pt x="1247" y="1504"/>
                    </a:lnTo>
                    <a:lnTo>
                      <a:pt x="1247" y="1505"/>
                    </a:lnTo>
                    <a:lnTo>
                      <a:pt x="1247" y="1504"/>
                    </a:lnTo>
                    <a:lnTo>
                      <a:pt x="1247" y="1502"/>
                    </a:lnTo>
                    <a:lnTo>
                      <a:pt x="1249" y="1502"/>
                    </a:lnTo>
                    <a:lnTo>
                      <a:pt x="1251" y="1502"/>
                    </a:lnTo>
                    <a:close/>
                    <a:moveTo>
                      <a:pt x="1258" y="1595"/>
                    </a:moveTo>
                    <a:lnTo>
                      <a:pt x="1259" y="1595"/>
                    </a:lnTo>
                    <a:lnTo>
                      <a:pt x="1259" y="1597"/>
                    </a:lnTo>
                    <a:lnTo>
                      <a:pt x="1259" y="1595"/>
                    </a:lnTo>
                    <a:lnTo>
                      <a:pt x="1259" y="1597"/>
                    </a:lnTo>
                    <a:lnTo>
                      <a:pt x="1261" y="1597"/>
                    </a:lnTo>
                    <a:lnTo>
                      <a:pt x="1259" y="1599"/>
                    </a:lnTo>
                    <a:lnTo>
                      <a:pt x="1259" y="1597"/>
                    </a:lnTo>
                    <a:lnTo>
                      <a:pt x="1259" y="1599"/>
                    </a:lnTo>
                    <a:lnTo>
                      <a:pt x="1258" y="1599"/>
                    </a:lnTo>
                    <a:lnTo>
                      <a:pt x="1258" y="1597"/>
                    </a:lnTo>
                    <a:lnTo>
                      <a:pt x="1258" y="1599"/>
                    </a:lnTo>
                    <a:lnTo>
                      <a:pt x="1258" y="1597"/>
                    </a:lnTo>
                    <a:lnTo>
                      <a:pt x="1259" y="1597"/>
                    </a:lnTo>
                    <a:lnTo>
                      <a:pt x="1258" y="1597"/>
                    </a:lnTo>
                    <a:lnTo>
                      <a:pt x="1256" y="1597"/>
                    </a:lnTo>
                    <a:lnTo>
                      <a:pt x="1256" y="1595"/>
                    </a:lnTo>
                    <a:lnTo>
                      <a:pt x="1258" y="1595"/>
                    </a:lnTo>
                    <a:close/>
                    <a:moveTo>
                      <a:pt x="1145" y="1325"/>
                    </a:moveTo>
                    <a:lnTo>
                      <a:pt x="1147" y="1327"/>
                    </a:lnTo>
                    <a:lnTo>
                      <a:pt x="1147" y="1328"/>
                    </a:lnTo>
                    <a:lnTo>
                      <a:pt x="1147" y="1330"/>
                    </a:lnTo>
                    <a:lnTo>
                      <a:pt x="1147" y="1328"/>
                    </a:lnTo>
                    <a:lnTo>
                      <a:pt x="1145" y="1328"/>
                    </a:lnTo>
                    <a:lnTo>
                      <a:pt x="1145" y="1327"/>
                    </a:lnTo>
                    <a:lnTo>
                      <a:pt x="1144" y="1327"/>
                    </a:lnTo>
                    <a:lnTo>
                      <a:pt x="1144" y="1325"/>
                    </a:lnTo>
                    <a:lnTo>
                      <a:pt x="1145" y="1325"/>
                    </a:lnTo>
                    <a:lnTo>
                      <a:pt x="1145" y="1327"/>
                    </a:lnTo>
                    <a:lnTo>
                      <a:pt x="1145" y="1325"/>
                    </a:lnTo>
                    <a:close/>
                    <a:moveTo>
                      <a:pt x="1310" y="1509"/>
                    </a:moveTo>
                    <a:lnTo>
                      <a:pt x="1309" y="1509"/>
                    </a:lnTo>
                    <a:lnTo>
                      <a:pt x="1309" y="1510"/>
                    </a:lnTo>
                    <a:lnTo>
                      <a:pt x="1307" y="1512"/>
                    </a:lnTo>
                    <a:lnTo>
                      <a:pt x="1305" y="1512"/>
                    </a:lnTo>
                    <a:lnTo>
                      <a:pt x="1305" y="1510"/>
                    </a:lnTo>
                    <a:lnTo>
                      <a:pt x="1307" y="1510"/>
                    </a:lnTo>
                    <a:lnTo>
                      <a:pt x="1309" y="1509"/>
                    </a:lnTo>
                    <a:lnTo>
                      <a:pt x="1310" y="1509"/>
                    </a:lnTo>
                    <a:close/>
                    <a:moveTo>
                      <a:pt x="1275" y="1590"/>
                    </a:moveTo>
                    <a:lnTo>
                      <a:pt x="1276" y="1592"/>
                    </a:lnTo>
                    <a:lnTo>
                      <a:pt x="1276" y="1594"/>
                    </a:lnTo>
                    <a:lnTo>
                      <a:pt x="1276" y="1592"/>
                    </a:lnTo>
                    <a:lnTo>
                      <a:pt x="1275" y="1594"/>
                    </a:lnTo>
                    <a:lnTo>
                      <a:pt x="1273" y="1592"/>
                    </a:lnTo>
                    <a:lnTo>
                      <a:pt x="1271" y="1592"/>
                    </a:lnTo>
                    <a:lnTo>
                      <a:pt x="1271" y="1590"/>
                    </a:lnTo>
                    <a:lnTo>
                      <a:pt x="1273" y="1590"/>
                    </a:lnTo>
                    <a:lnTo>
                      <a:pt x="1275" y="1590"/>
                    </a:lnTo>
                    <a:close/>
                    <a:moveTo>
                      <a:pt x="1390" y="1641"/>
                    </a:moveTo>
                    <a:lnTo>
                      <a:pt x="1390" y="1643"/>
                    </a:lnTo>
                    <a:lnTo>
                      <a:pt x="1392" y="1643"/>
                    </a:lnTo>
                    <a:lnTo>
                      <a:pt x="1392" y="1645"/>
                    </a:lnTo>
                    <a:lnTo>
                      <a:pt x="1390" y="1645"/>
                    </a:lnTo>
                    <a:lnTo>
                      <a:pt x="1389" y="1645"/>
                    </a:lnTo>
                    <a:lnTo>
                      <a:pt x="1389" y="1643"/>
                    </a:lnTo>
                    <a:lnTo>
                      <a:pt x="1387" y="1643"/>
                    </a:lnTo>
                    <a:lnTo>
                      <a:pt x="1389" y="1641"/>
                    </a:lnTo>
                    <a:lnTo>
                      <a:pt x="1390" y="1641"/>
                    </a:lnTo>
                    <a:close/>
                    <a:moveTo>
                      <a:pt x="1230" y="998"/>
                    </a:moveTo>
                    <a:lnTo>
                      <a:pt x="1232" y="998"/>
                    </a:lnTo>
                    <a:lnTo>
                      <a:pt x="1232" y="997"/>
                    </a:lnTo>
                    <a:lnTo>
                      <a:pt x="1232" y="998"/>
                    </a:lnTo>
                    <a:lnTo>
                      <a:pt x="1232" y="1000"/>
                    </a:lnTo>
                    <a:lnTo>
                      <a:pt x="1232" y="998"/>
                    </a:lnTo>
                    <a:lnTo>
                      <a:pt x="1230" y="998"/>
                    </a:lnTo>
                    <a:lnTo>
                      <a:pt x="1230" y="1000"/>
                    </a:lnTo>
                    <a:lnTo>
                      <a:pt x="1232" y="1000"/>
                    </a:lnTo>
                    <a:lnTo>
                      <a:pt x="1232" y="1002"/>
                    </a:lnTo>
                    <a:lnTo>
                      <a:pt x="1232" y="1000"/>
                    </a:lnTo>
                    <a:lnTo>
                      <a:pt x="1232" y="1002"/>
                    </a:lnTo>
                    <a:lnTo>
                      <a:pt x="1230" y="1002"/>
                    </a:lnTo>
                    <a:lnTo>
                      <a:pt x="1230" y="1000"/>
                    </a:lnTo>
                    <a:lnTo>
                      <a:pt x="1230" y="998"/>
                    </a:lnTo>
                    <a:lnTo>
                      <a:pt x="1229" y="998"/>
                    </a:lnTo>
                    <a:lnTo>
                      <a:pt x="1229" y="997"/>
                    </a:lnTo>
                    <a:lnTo>
                      <a:pt x="1230" y="997"/>
                    </a:lnTo>
                    <a:lnTo>
                      <a:pt x="1230" y="998"/>
                    </a:lnTo>
                    <a:close/>
                    <a:moveTo>
                      <a:pt x="1229" y="976"/>
                    </a:moveTo>
                    <a:lnTo>
                      <a:pt x="1229" y="978"/>
                    </a:lnTo>
                    <a:lnTo>
                      <a:pt x="1227" y="978"/>
                    </a:lnTo>
                    <a:lnTo>
                      <a:pt x="1227" y="980"/>
                    </a:lnTo>
                    <a:lnTo>
                      <a:pt x="1225" y="980"/>
                    </a:lnTo>
                    <a:lnTo>
                      <a:pt x="1225" y="978"/>
                    </a:lnTo>
                    <a:lnTo>
                      <a:pt x="1224" y="978"/>
                    </a:lnTo>
                    <a:lnTo>
                      <a:pt x="1225" y="976"/>
                    </a:lnTo>
                    <a:lnTo>
                      <a:pt x="1225" y="978"/>
                    </a:lnTo>
                    <a:lnTo>
                      <a:pt x="1227" y="978"/>
                    </a:lnTo>
                    <a:lnTo>
                      <a:pt x="1225" y="976"/>
                    </a:lnTo>
                    <a:lnTo>
                      <a:pt x="1225" y="978"/>
                    </a:lnTo>
                    <a:lnTo>
                      <a:pt x="1225" y="976"/>
                    </a:lnTo>
                    <a:lnTo>
                      <a:pt x="1227" y="976"/>
                    </a:lnTo>
                    <a:lnTo>
                      <a:pt x="1229" y="976"/>
                    </a:lnTo>
                    <a:close/>
                    <a:moveTo>
                      <a:pt x="1203" y="1138"/>
                    </a:moveTo>
                    <a:lnTo>
                      <a:pt x="1205" y="1138"/>
                    </a:lnTo>
                    <a:lnTo>
                      <a:pt x="1205" y="1140"/>
                    </a:lnTo>
                    <a:lnTo>
                      <a:pt x="1207" y="1140"/>
                    </a:lnTo>
                    <a:lnTo>
                      <a:pt x="1207" y="1141"/>
                    </a:lnTo>
                    <a:lnTo>
                      <a:pt x="1205" y="1141"/>
                    </a:lnTo>
                    <a:lnTo>
                      <a:pt x="1203" y="1140"/>
                    </a:lnTo>
                    <a:lnTo>
                      <a:pt x="1203" y="1138"/>
                    </a:lnTo>
                    <a:lnTo>
                      <a:pt x="1203" y="1136"/>
                    </a:lnTo>
                    <a:lnTo>
                      <a:pt x="1203" y="1138"/>
                    </a:lnTo>
                    <a:close/>
                    <a:moveTo>
                      <a:pt x="1200" y="1470"/>
                    </a:moveTo>
                    <a:lnTo>
                      <a:pt x="1200" y="1471"/>
                    </a:lnTo>
                    <a:lnTo>
                      <a:pt x="1202" y="1471"/>
                    </a:lnTo>
                    <a:lnTo>
                      <a:pt x="1203" y="1471"/>
                    </a:lnTo>
                    <a:lnTo>
                      <a:pt x="1203" y="1473"/>
                    </a:lnTo>
                    <a:lnTo>
                      <a:pt x="1203" y="1475"/>
                    </a:lnTo>
                    <a:lnTo>
                      <a:pt x="1202" y="1475"/>
                    </a:lnTo>
                    <a:lnTo>
                      <a:pt x="1202" y="1473"/>
                    </a:lnTo>
                    <a:lnTo>
                      <a:pt x="1200" y="1473"/>
                    </a:lnTo>
                    <a:lnTo>
                      <a:pt x="1200" y="1471"/>
                    </a:lnTo>
                    <a:lnTo>
                      <a:pt x="1198" y="1471"/>
                    </a:lnTo>
                    <a:lnTo>
                      <a:pt x="1198" y="1470"/>
                    </a:lnTo>
                    <a:lnTo>
                      <a:pt x="1200" y="1470"/>
                    </a:lnTo>
                    <a:close/>
                    <a:moveTo>
                      <a:pt x="1033" y="605"/>
                    </a:moveTo>
                    <a:lnTo>
                      <a:pt x="1033" y="607"/>
                    </a:lnTo>
                    <a:lnTo>
                      <a:pt x="1035" y="607"/>
                    </a:lnTo>
                    <a:lnTo>
                      <a:pt x="1035" y="609"/>
                    </a:lnTo>
                    <a:lnTo>
                      <a:pt x="1035" y="607"/>
                    </a:lnTo>
                    <a:lnTo>
                      <a:pt x="1033" y="607"/>
                    </a:lnTo>
                    <a:lnTo>
                      <a:pt x="1032" y="607"/>
                    </a:lnTo>
                    <a:lnTo>
                      <a:pt x="1030" y="607"/>
                    </a:lnTo>
                    <a:lnTo>
                      <a:pt x="1030" y="609"/>
                    </a:lnTo>
                    <a:lnTo>
                      <a:pt x="1030" y="607"/>
                    </a:lnTo>
                    <a:lnTo>
                      <a:pt x="1032" y="607"/>
                    </a:lnTo>
                    <a:lnTo>
                      <a:pt x="1032" y="605"/>
                    </a:lnTo>
                    <a:lnTo>
                      <a:pt x="1033" y="605"/>
                    </a:lnTo>
                    <a:close/>
                    <a:moveTo>
                      <a:pt x="1174" y="1427"/>
                    </a:moveTo>
                    <a:lnTo>
                      <a:pt x="1173" y="1427"/>
                    </a:lnTo>
                    <a:lnTo>
                      <a:pt x="1174" y="1429"/>
                    </a:lnTo>
                    <a:lnTo>
                      <a:pt x="1173" y="1430"/>
                    </a:lnTo>
                    <a:lnTo>
                      <a:pt x="1173" y="1432"/>
                    </a:lnTo>
                    <a:lnTo>
                      <a:pt x="1171" y="1432"/>
                    </a:lnTo>
                    <a:lnTo>
                      <a:pt x="1171" y="1430"/>
                    </a:lnTo>
                    <a:lnTo>
                      <a:pt x="1173" y="1429"/>
                    </a:lnTo>
                    <a:lnTo>
                      <a:pt x="1173" y="1427"/>
                    </a:lnTo>
                    <a:lnTo>
                      <a:pt x="1173" y="1425"/>
                    </a:lnTo>
                    <a:lnTo>
                      <a:pt x="1174" y="1427"/>
                    </a:lnTo>
                    <a:close/>
                    <a:moveTo>
                      <a:pt x="1193" y="1068"/>
                    </a:moveTo>
                    <a:lnTo>
                      <a:pt x="1193" y="1070"/>
                    </a:lnTo>
                    <a:lnTo>
                      <a:pt x="1193" y="1071"/>
                    </a:lnTo>
                    <a:lnTo>
                      <a:pt x="1191" y="1071"/>
                    </a:lnTo>
                    <a:lnTo>
                      <a:pt x="1190" y="1070"/>
                    </a:lnTo>
                    <a:lnTo>
                      <a:pt x="1190" y="1068"/>
                    </a:lnTo>
                    <a:lnTo>
                      <a:pt x="1191" y="1070"/>
                    </a:lnTo>
                    <a:lnTo>
                      <a:pt x="1191" y="1068"/>
                    </a:lnTo>
                    <a:lnTo>
                      <a:pt x="1193" y="1068"/>
                    </a:lnTo>
                    <a:close/>
                    <a:moveTo>
                      <a:pt x="1273" y="1611"/>
                    </a:moveTo>
                    <a:lnTo>
                      <a:pt x="1273" y="1612"/>
                    </a:lnTo>
                    <a:lnTo>
                      <a:pt x="1275" y="1612"/>
                    </a:lnTo>
                    <a:lnTo>
                      <a:pt x="1275" y="1614"/>
                    </a:lnTo>
                    <a:lnTo>
                      <a:pt x="1273" y="1614"/>
                    </a:lnTo>
                    <a:lnTo>
                      <a:pt x="1273" y="1616"/>
                    </a:lnTo>
                    <a:lnTo>
                      <a:pt x="1271" y="1614"/>
                    </a:lnTo>
                    <a:lnTo>
                      <a:pt x="1271" y="1616"/>
                    </a:lnTo>
                    <a:lnTo>
                      <a:pt x="1271" y="1614"/>
                    </a:lnTo>
                    <a:lnTo>
                      <a:pt x="1270" y="1614"/>
                    </a:lnTo>
                    <a:lnTo>
                      <a:pt x="1271" y="1614"/>
                    </a:lnTo>
                    <a:lnTo>
                      <a:pt x="1273" y="1614"/>
                    </a:lnTo>
                    <a:lnTo>
                      <a:pt x="1271" y="1614"/>
                    </a:lnTo>
                    <a:lnTo>
                      <a:pt x="1271" y="1612"/>
                    </a:lnTo>
                    <a:lnTo>
                      <a:pt x="1271" y="1611"/>
                    </a:lnTo>
                    <a:lnTo>
                      <a:pt x="1273" y="1611"/>
                    </a:lnTo>
                    <a:close/>
                    <a:moveTo>
                      <a:pt x="1162" y="1376"/>
                    </a:moveTo>
                    <a:lnTo>
                      <a:pt x="1161" y="1376"/>
                    </a:lnTo>
                    <a:lnTo>
                      <a:pt x="1162" y="1376"/>
                    </a:lnTo>
                    <a:lnTo>
                      <a:pt x="1162" y="1378"/>
                    </a:lnTo>
                    <a:lnTo>
                      <a:pt x="1162" y="1379"/>
                    </a:lnTo>
                    <a:lnTo>
                      <a:pt x="1161" y="1379"/>
                    </a:lnTo>
                    <a:lnTo>
                      <a:pt x="1159" y="1379"/>
                    </a:lnTo>
                    <a:lnTo>
                      <a:pt x="1159" y="1378"/>
                    </a:lnTo>
                    <a:lnTo>
                      <a:pt x="1161" y="1376"/>
                    </a:lnTo>
                    <a:lnTo>
                      <a:pt x="1161" y="1378"/>
                    </a:lnTo>
                    <a:lnTo>
                      <a:pt x="1161" y="1376"/>
                    </a:lnTo>
                    <a:lnTo>
                      <a:pt x="1162" y="1376"/>
                    </a:lnTo>
                    <a:close/>
                    <a:moveTo>
                      <a:pt x="1213" y="1119"/>
                    </a:moveTo>
                    <a:lnTo>
                      <a:pt x="1215" y="1121"/>
                    </a:lnTo>
                    <a:lnTo>
                      <a:pt x="1213" y="1122"/>
                    </a:lnTo>
                    <a:lnTo>
                      <a:pt x="1212" y="1121"/>
                    </a:lnTo>
                    <a:lnTo>
                      <a:pt x="1210" y="1121"/>
                    </a:lnTo>
                    <a:lnTo>
                      <a:pt x="1210" y="1122"/>
                    </a:lnTo>
                    <a:lnTo>
                      <a:pt x="1210" y="1121"/>
                    </a:lnTo>
                    <a:lnTo>
                      <a:pt x="1212" y="1119"/>
                    </a:lnTo>
                    <a:lnTo>
                      <a:pt x="1213" y="1119"/>
                    </a:lnTo>
                    <a:close/>
                    <a:moveTo>
                      <a:pt x="1178" y="1112"/>
                    </a:moveTo>
                    <a:lnTo>
                      <a:pt x="1179" y="1112"/>
                    </a:lnTo>
                    <a:lnTo>
                      <a:pt x="1179" y="1116"/>
                    </a:lnTo>
                    <a:lnTo>
                      <a:pt x="1178" y="1116"/>
                    </a:lnTo>
                    <a:lnTo>
                      <a:pt x="1178" y="1112"/>
                    </a:lnTo>
                    <a:close/>
                    <a:moveTo>
                      <a:pt x="1232" y="949"/>
                    </a:moveTo>
                    <a:lnTo>
                      <a:pt x="1234" y="951"/>
                    </a:lnTo>
                    <a:lnTo>
                      <a:pt x="1232" y="951"/>
                    </a:lnTo>
                    <a:lnTo>
                      <a:pt x="1234" y="951"/>
                    </a:lnTo>
                    <a:lnTo>
                      <a:pt x="1232" y="951"/>
                    </a:lnTo>
                    <a:lnTo>
                      <a:pt x="1230" y="951"/>
                    </a:lnTo>
                    <a:lnTo>
                      <a:pt x="1232" y="952"/>
                    </a:lnTo>
                    <a:lnTo>
                      <a:pt x="1230" y="952"/>
                    </a:lnTo>
                    <a:lnTo>
                      <a:pt x="1230" y="951"/>
                    </a:lnTo>
                    <a:lnTo>
                      <a:pt x="1230" y="949"/>
                    </a:lnTo>
                    <a:lnTo>
                      <a:pt x="1232" y="949"/>
                    </a:lnTo>
                    <a:close/>
                    <a:moveTo>
                      <a:pt x="1176" y="1481"/>
                    </a:moveTo>
                    <a:lnTo>
                      <a:pt x="1176" y="1483"/>
                    </a:lnTo>
                    <a:lnTo>
                      <a:pt x="1174" y="1483"/>
                    </a:lnTo>
                    <a:lnTo>
                      <a:pt x="1173" y="1483"/>
                    </a:lnTo>
                    <a:lnTo>
                      <a:pt x="1173" y="1481"/>
                    </a:lnTo>
                    <a:lnTo>
                      <a:pt x="1173" y="1483"/>
                    </a:lnTo>
                    <a:lnTo>
                      <a:pt x="1174" y="1481"/>
                    </a:lnTo>
                    <a:lnTo>
                      <a:pt x="1176" y="1481"/>
                    </a:lnTo>
                    <a:close/>
                    <a:moveTo>
                      <a:pt x="1185" y="1063"/>
                    </a:moveTo>
                    <a:lnTo>
                      <a:pt x="1186" y="1063"/>
                    </a:lnTo>
                    <a:lnTo>
                      <a:pt x="1188" y="1063"/>
                    </a:lnTo>
                    <a:lnTo>
                      <a:pt x="1188" y="1065"/>
                    </a:lnTo>
                    <a:lnTo>
                      <a:pt x="1186" y="1065"/>
                    </a:lnTo>
                    <a:lnTo>
                      <a:pt x="1185" y="1066"/>
                    </a:lnTo>
                    <a:lnTo>
                      <a:pt x="1185" y="1065"/>
                    </a:lnTo>
                    <a:lnTo>
                      <a:pt x="1186" y="1065"/>
                    </a:lnTo>
                    <a:lnTo>
                      <a:pt x="1185" y="1065"/>
                    </a:lnTo>
                    <a:lnTo>
                      <a:pt x="1185" y="1063"/>
                    </a:lnTo>
                    <a:close/>
                    <a:moveTo>
                      <a:pt x="1244" y="1582"/>
                    </a:moveTo>
                    <a:lnTo>
                      <a:pt x="1246" y="1582"/>
                    </a:lnTo>
                    <a:lnTo>
                      <a:pt x="1244" y="1583"/>
                    </a:lnTo>
                    <a:lnTo>
                      <a:pt x="1242" y="1583"/>
                    </a:lnTo>
                    <a:lnTo>
                      <a:pt x="1242" y="1582"/>
                    </a:lnTo>
                    <a:lnTo>
                      <a:pt x="1241" y="1582"/>
                    </a:lnTo>
                    <a:lnTo>
                      <a:pt x="1241" y="1580"/>
                    </a:lnTo>
                    <a:lnTo>
                      <a:pt x="1242" y="1582"/>
                    </a:lnTo>
                    <a:lnTo>
                      <a:pt x="1242" y="1580"/>
                    </a:lnTo>
                    <a:lnTo>
                      <a:pt x="1244" y="1582"/>
                    </a:lnTo>
                    <a:close/>
                    <a:moveTo>
                      <a:pt x="1212" y="1116"/>
                    </a:moveTo>
                    <a:lnTo>
                      <a:pt x="1213" y="1116"/>
                    </a:lnTo>
                    <a:lnTo>
                      <a:pt x="1213" y="1117"/>
                    </a:lnTo>
                    <a:lnTo>
                      <a:pt x="1213" y="1119"/>
                    </a:lnTo>
                    <a:lnTo>
                      <a:pt x="1212" y="1119"/>
                    </a:lnTo>
                    <a:lnTo>
                      <a:pt x="1210" y="1119"/>
                    </a:lnTo>
                    <a:lnTo>
                      <a:pt x="1210" y="1117"/>
                    </a:lnTo>
                    <a:lnTo>
                      <a:pt x="1212" y="1117"/>
                    </a:lnTo>
                    <a:lnTo>
                      <a:pt x="1212" y="1116"/>
                    </a:lnTo>
                    <a:close/>
                    <a:moveTo>
                      <a:pt x="1145" y="1264"/>
                    </a:moveTo>
                    <a:lnTo>
                      <a:pt x="1149" y="1264"/>
                    </a:lnTo>
                    <a:lnTo>
                      <a:pt x="1149" y="1269"/>
                    </a:lnTo>
                    <a:lnTo>
                      <a:pt x="1145" y="1269"/>
                    </a:lnTo>
                    <a:lnTo>
                      <a:pt x="1145" y="1264"/>
                    </a:lnTo>
                    <a:close/>
                    <a:moveTo>
                      <a:pt x="1176" y="1475"/>
                    </a:moveTo>
                    <a:lnTo>
                      <a:pt x="1178" y="1475"/>
                    </a:lnTo>
                    <a:lnTo>
                      <a:pt x="1178" y="1480"/>
                    </a:lnTo>
                    <a:lnTo>
                      <a:pt x="1176" y="1480"/>
                    </a:lnTo>
                    <a:lnTo>
                      <a:pt x="1176" y="1475"/>
                    </a:lnTo>
                    <a:close/>
                    <a:moveTo>
                      <a:pt x="1151" y="1289"/>
                    </a:moveTo>
                    <a:lnTo>
                      <a:pt x="1152" y="1289"/>
                    </a:lnTo>
                    <a:lnTo>
                      <a:pt x="1151" y="1291"/>
                    </a:lnTo>
                    <a:lnTo>
                      <a:pt x="1149" y="1291"/>
                    </a:lnTo>
                    <a:lnTo>
                      <a:pt x="1147" y="1293"/>
                    </a:lnTo>
                    <a:lnTo>
                      <a:pt x="1147" y="1291"/>
                    </a:lnTo>
                    <a:lnTo>
                      <a:pt x="1149" y="1291"/>
                    </a:lnTo>
                    <a:lnTo>
                      <a:pt x="1149" y="1289"/>
                    </a:lnTo>
                    <a:lnTo>
                      <a:pt x="1151" y="1289"/>
                    </a:lnTo>
                    <a:close/>
                    <a:moveTo>
                      <a:pt x="1178" y="1247"/>
                    </a:moveTo>
                    <a:lnTo>
                      <a:pt x="1179" y="1247"/>
                    </a:lnTo>
                    <a:lnTo>
                      <a:pt x="1178" y="1248"/>
                    </a:lnTo>
                    <a:lnTo>
                      <a:pt x="1176" y="1250"/>
                    </a:lnTo>
                    <a:lnTo>
                      <a:pt x="1176" y="1248"/>
                    </a:lnTo>
                    <a:lnTo>
                      <a:pt x="1176" y="1247"/>
                    </a:lnTo>
                    <a:lnTo>
                      <a:pt x="1178" y="1247"/>
                    </a:lnTo>
                    <a:close/>
                    <a:moveTo>
                      <a:pt x="1162" y="1301"/>
                    </a:moveTo>
                    <a:lnTo>
                      <a:pt x="1164" y="1301"/>
                    </a:lnTo>
                    <a:lnTo>
                      <a:pt x="1164" y="1303"/>
                    </a:lnTo>
                    <a:lnTo>
                      <a:pt x="1162" y="1303"/>
                    </a:lnTo>
                    <a:lnTo>
                      <a:pt x="1164" y="1303"/>
                    </a:lnTo>
                    <a:lnTo>
                      <a:pt x="1164" y="1305"/>
                    </a:lnTo>
                    <a:lnTo>
                      <a:pt x="1162" y="1303"/>
                    </a:lnTo>
                    <a:lnTo>
                      <a:pt x="1161" y="1303"/>
                    </a:lnTo>
                    <a:lnTo>
                      <a:pt x="1161" y="1301"/>
                    </a:lnTo>
                    <a:lnTo>
                      <a:pt x="1162" y="1301"/>
                    </a:lnTo>
                    <a:close/>
                    <a:moveTo>
                      <a:pt x="1423" y="1687"/>
                    </a:moveTo>
                    <a:lnTo>
                      <a:pt x="1424" y="1687"/>
                    </a:lnTo>
                    <a:lnTo>
                      <a:pt x="1424" y="1689"/>
                    </a:lnTo>
                    <a:lnTo>
                      <a:pt x="1426" y="1691"/>
                    </a:lnTo>
                    <a:lnTo>
                      <a:pt x="1424" y="1689"/>
                    </a:lnTo>
                    <a:lnTo>
                      <a:pt x="1424" y="1691"/>
                    </a:lnTo>
                    <a:lnTo>
                      <a:pt x="1423" y="1691"/>
                    </a:lnTo>
                    <a:lnTo>
                      <a:pt x="1423" y="1689"/>
                    </a:lnTo>
                    <a:lnTo>
                      <a:pt x="1421" y="1687"/>
                    </a:lnTo>
                    <a:lnTo>
                      <a:pt x="1421" y="1689"/>
                    </a:lnTo>
                    <a:lnTo>
                      <a:pt x="1421" y="1687"/>
                    </a:lnTo>
                    <a:lnTo>
                      <a:pt x="1423" y="1687"/>
                    </a:lnTo>
                    <a:close/>
                    <a:moveTo>
                      <a:pt x="1212" y="1061"/>
                    </a:moveTo>
                    <a:lnTo>
                      <a:pt x="1215" y="1061"/>
                    </a:lnTo>
                    <a:lnTo>
                      <a:pt x="1215" y="1065"/>
                    </a:lnTo>
                    <a:lnTo>
                      <a:pt x="1212" y="1065"/>
                    </a:lnTo>
                    <a:lnTo>
                      <a:pt x="1212" y="1061"/>
                    </a:lnTo>
                    <a:close/>
                    <a:moveTo>
                      <a:pt x="1331" y="1635"/>
                    </a:moveTo>
                    <a:lnTo>
                      <a:pt x="1331" y="1636"/>
                    </a:lnTo>
                    <a:lnTo>
                      <a:pt x="1329" y="1636"/>
                    </a:lnTo>
                    <a:lnTo>
                      <a:pt x="1329" y="1638"/>
                    </a:lnTo>
                    <a:lnTo>
                      <a:pt x="1327" y="1636"/>
                    </a:lnTo>
                    <a:lnTo>
                      <a:pt x="1329" y="1635"/>
                    </a:lnTo>
                    <a:lnTo>
                      <a:pt x="1331" y="1635"/>
                    </a:lnTo>
                    <a:lnTo>
                      <a:pt x="1332" y="1633"/>
                    </a:lnTo>
                    <a:lnTo>
                      <a:pt x="1331" y="1635"/>
                    </a:lnTo>
                    <a:close/>
                    <a:moveTo>
                      <a:pt x="1256" y="1587"/>
                    </a:moveTo>
                    <a:lnTo>
                      <a:pt x="1259" y="1587"/>
                    </a:lnTo>
                    <a:lnTo>
                      <a:pt x="1259" y="1592"/>
                    </a:lnTo>
                    <a:lnTo>
                      <a:pt x="1256" y="1592"/>
                    </a:lnTo>
                    <a:lnTo>
                      <a:pt x="1256" y="1587"/>
                    </a:lnTo>
                    <a:close/>
                    <a:moveTo>
                      <a:pt x="1208" y="1077"/>
                    </a:moveTo>
                    <a:lnTo>
                      <a:pt x="1212" y="1077"/>
                    </a:lnTo>
                    <a:lnTo>
                      <a:pt x="1212" y="1080"/>
                    </a:lnTo>
                    <a:lnTo>
                      <a:pt x="1208" y="1080"/>
                    </a:lnTo>
                    <a:lnTo>
                      <a:pt x="1208" y="1077"/>
                    </a:lnTo>
                    <a:close/>
                    <a:moveTo>
                      <a:pt x="1375" y="1663"/>
                    </a:moveTo>
                    <a:lnTo>
                      <a:pt x="1377" y="1663"/>
                    </a:lnTo>
                    <a:lnTo>
                      <a:pt x="1377" y="1665"/>
                    </a:lnTo>
                    <a:lnTo>
                      <a:pt x="1378" y="1665"/>
                    </a:lnTo>
                    <a:lnTo>
                      <a:pt x="1378" y="1667"/>
                    </a:lnTo>
                    <a:lnTo>
                      <a:pt x="1377" y="1667"/>
                    </a:lnTo>
                    <a:lnTo>
                      <a:pt x="1377" y="1665"/>
                    </a:lnTo>
                    <a:lnTo>
                      <a:pt x="1375" y="1665"/>
                    </a:lnTo>
                    <a:lnTo>
                      <a:pt x="1375" y="1663"/>
                    </a:lnTo>
                    <a:lnTo>
                      <a:pt x="1373" y="1663"/>
                    </a:lnTo>
                    <a:lnTo>
                      <a:pt x="1375" y="1663"/>
                    </a:lnTo>
                    <a:close/>
                    <a:moveTo>
                      <a:pt x="1185" y="1061"/>
                    </a:moveTo>
                    <a:lnTo>
                      <a:pt x="1186" y="1061"/>
                    </a:lnTo>
                    <a:lnTo>
                      <a:pt x="1188" y="1061"/>
                    </a:lnTo>
                    <a:lnTo>
                      <a:pt x="1190" y="1063"/>
                    </a:lnTo>
                    <a:lnTo>
                      <a:pt x="1188" y="1063"/>
                    </a:lnTo>
                    <a:lnTo>
                      <a:pt x="1186" y="1063"/>
                    </a:lnTo>
                    <a:lnTo>
                      <a:pt x="1185" y="1063"/>
                    </a:lnTo>
                    <a:lnTo>
                      <a:pt x="1185" y="1061"/>
                    </a:lnTo>
                    <a:close/>
                    <a:moveTo>
                      <a:pt x="1208" y="1080"/>
                    </a:moveTo>
                    <a:lnTo>
                      <a:pt x="1210" y="1082"/>
                    </a:lnTo>
                    <a:lnTo>
                      <a:pt x="1208" y="1082"/>
                    </a:lnTo>
                    <a:lnTo>
                      <a:pt x="1207" y="1082"/>
                    </a:lnTo>
                    <a:lnTo>
                      <a:pt x="1207" y="1080"/>
                    </a:lnTo>
                    <a:lnTo>
                      <a:pt x="1208" y="1082"/>
                    </a:lnTo>
                    <a:lnTo>
                      <a:pt x="1208" y="1080"/>
                    </a:lnTo>
                    <a:lnTo>
                      <a:pt x="1207" y="1080"/>
                    </a:lnTo>
                    <a:lnTo>
                      <a:pt x="1208" y="1080"/>
                    </a:lnTo>
                    <a:close/>
                    <a:moveTo>
                      <a:pt x="1193" y="1493"/>
                    </a:moveTo>
                    <a:lnTo>
                      <a:pt x="1193" y="1495"/>
                    </a:lnTo>
                    <a:lnTo>
                      <a:pt x="1195" y="1493"/>
                    </a:lnTo>
                    <a:lnTo>
                      <a:pt x="1195" y="1495"/>
                    </a:lnTo>
                    <a:lnTo>
                      <a:pt x="1193" y="1495"/>
                    </a:lnTo>
                    <a:lnTo>
                      <a:pt x="1193" y="1497"/>
                    </a:lnTo>
                    <a:lnTo>
                      <a:pt x="1191" y="1495"/>
                    </a:lnTo>
                    <a:lnTo>
                      <a:pt x="1191" y="1497"/>
                    </a:lnTo>
                    <a:lnTo>
                      <a:pt x="1191" y="1495"/>
                    </a:lnTo>
                    <a:lnTo>
                      <a:pt x="1190" y="1495"/>
                    </a:lnTo>
                    <a:lnTo>
                      <a:pt x="1191" y="1495"/>
                    </a:lnTo>
                    <a:lnTo>
                      <a:pt x="1191" y="1493"/>
                    </a:lnTo>
                    <a:lnTo>
                      <a:pt x="1191" y="1495"/>
                    </a:lnTo>
                    <a:lnTo>
                      <a:pt x="1191" y="1493"/>
                    </a:lnTo>
                    <a:lnTo>
                      <a:pt x="1191" y="1495"/>
                    </a:lnTo>
                    <a:lnTo>
                      <a:pt x="1193" y="1493"/>
                    </a:lnTo>
                    <a:close/>
                    <a:moveTo>
                      <a:pt x="1161" y="1247"/>
                    </a:moveTo>
                    <a:lnTo>
                      <a:pt x="1159" y="1247"/>
                    </a:lnTo>
                    <a:lnTo>
                      <a:pt x="1159" y="1248"/>
                    </a:lnTo>
                    <a:lnTo>
                      <a:pt x="1157" y="1248"/>
                    </a:lnTo>
                    <a:lnTo>
                      <a:pt x="1156" y="1250"/>
                    </a:lnTo>
                    <a:lnTo>
                      <a:pt x="1156" y="1248"/>
                    </a:lnTo>
                    <a:lnTo>
                      <a:pt x="1156" y="1250"/>
                    </a:lnTo>
                    <a:lnTo>
                      <a:pt x="1154" y="1250"/>
                    </a:lnTo>
                    <a:lnTo>
                      <a:pt x="1156" y="1250"/>
                    </a:lnTo>
                    <a:lnTo>
                      <a:pt x="1154" y="1250"/>
                    </a:lnTo>
                    <a:lnTo>
                      <a:pt x="1156" y="1250"/>
                    </a:lnTo>
                    <a:lnTo>
                      <a:pt x="1156" y="1248"/>
                    </a:lnTo>
                    <a:lnTo>
                      <a:pt x="1157" y="1247"/>
                    </a:lnTo>
                    <a:lnTo>
                      <a:pt x="1157" y="1248"/>
                    </a:lnTo>
                    <a:lnTo>
                      <a:pt x="1157" y="1247"/>
                    </a:lnTo>
                    <a:lnTo>
                      <a:pt x="1159" y="1247"/>
                    </a:lnTo>
                    <a:lnTo>
                      <a:pt x="1161" y="1245"/>
                    </a:lnTo>
                    <a:lnTo>
                      <a:pt x="1161" y="1247"/>
                    </a:lnTo>
                    <a:close/>
                    <a:moveTo>
                      <a:pt x="1195" y="1063"/>
                    </a:moveTo>
                    <a:lnTo>
                      <a:pt x="1193" y="1065"/>
                    </a:lnTo>
                    <a:lnTo>
                      <a:pt x="1191" y="1065"/>
                    </a:lnTo>
                    <a:lnTo>
                      <a:pt x="1191" y="1063"/>
                    </a:lnTo>
                    <a:lnTo>
                      <a:pt x="1193" y="1063"/>
                    </a:lnTo>
                    <a:lnTo>
                      <a:pt x="1195" y="1063"/>
                    </a:lnTo>
                    <a:close/>
                    <a:moveTo>
                      <a:pt x="1196" y="1466"/>
                    </a:moveTo>
                    <a:lnTo>
                      <a:pt x="1198" y="1466"/>
                    </a:lnTo>
                    <a:lnTo>
                      <a:pt x="1198" y="1468"/>
                    </a:lnTo>
                    <a:lnTo>
                      <a:pt x="1200" y="1468"/>
                    </a:lnTo>
                    <a:lnTo>
                      <a:pt x="1198" y="1468"/>
                    </a:lnTo>
                    <a:lnTo>
                      <a:pt x="1198" y="1470"/>
                    </a:lnTo>
                    <a:lnTo>
                      <a:pt x="1198" y="1468"/>
                    </a:lnTo>
                    <a:lnTo>
                      <a:pt x="1196" y="1470"/>
                    </a:lnTo>
                    <a:lnTo>
                      <a:pt x="1196" y="1468"/>
                    </a:lnTo>
                    <a:lnTo>
                      <a:pt x="1195" y="1466"/>
                    </a:lnTo>
                    <a:lnTo>
                      <a:pt x="1196" y="1466"/>
                    </a:lnTo>
                    <a:close/>
                    <a:moveTo>
                      <a:pt x="1213" y="1515"/>
                    </a:moveTo>
                    <a:lnTo>
                      <a:pt x="1212" y="1515"/>
                    </a:lnTo>
                    <a:lnTo>
                      <a:pt x="1212" y="1517"/>
                    </a:lnTo>
                    <a:lnTo>
                      <a:pt x="1210" y="1517"/>
                    </a:lnTo>
                    <a:lnTo>
                      <a:pt x="1212" y="1515"/>
                    </a:lnTo>
                    <a:lnTo>
                      <a:pt x="1210" y="1515"/>
                    </a:lnTo>
                    <a:lnTo>
                      <a:pt x="1210" y="1514"/>
                    </a:lnTo>
                    <a:lnTo>
                      <a:pt x="1212" y="1514"/>
                    </a:lnTo>
                    <a:lnTo>
                      <a:pt x="1210" y="1514"/>
                    </a:lnTo>
                    <a:lnTo>
                      <a:pt x="1212" y="1514"/>
                    </a:lnTo>
                    <a:lnTo>
                      <a:pt x="1213" y="1514"/>
                    </a:lnTo>
                    <a:lnTo>
                      <a:pt x="1213" y="1515"/>
                    </a:lnTo>
                    <a:close/>
                    <a:moveTo>
                      <a:pt x="1378" y="1660"/>
                    </a:moveTo>
                    <a:lnTo>
                      <a:pt x="1378" y="1662"/>
                    </a:lnTo>
                    <a:lnTo>
                      <a:pt x="1378" y="1660"/>
                    </a:lnTo>
                    <a:lnTo>
                      <a:pt x="1380" y="1662"/>
                    </a:lnTo>
                    <a:lnTo>
                      <a:pt x="1378" y="1662"/>
                    </a:lnTo>
                    <a:lnTo>
                      <a:pt x="1378" y="1663"/>
                    </a:lnTo>
                    <a:lnTo>
                      <a:pt x="1377" y="1663"/>
                    </a:lnTo>
                    <a:lnTo>
                      <a:pt x="1377" y="1662"/>
                    </a:lnTo>
                    <a:lnTo>
                      <a:pt x="1378" y="1662"/>
                    </a:lnTo>
                    <a:lnTo>
                      <a:pt x="1377" y="1662"/>
                    </a:lnTo>
                    <a:lnTo>
                      <a:pt x="1375" y="1662"/>
                    </a:lnTo>
                    <a:lnTo>
                      <a:pt x="1375" y="1660"/>
                    </a:lnTo>
                    <a:lnTo>
                      <a:pt x="1377" y="1660"/>
                    </a:lnTo>
                    <a:lnTo>
                      <a:pt x="1378" y="1660"/>
                    </a:lnTo>
                    <a:close/>
                    <a:moveTo>
                      <a:pt x="1263" y="1604"/>
                    </a:moveTo>
                    <a:lnTo>
                      <a:pt x="1263" y="1606"/>
                    </a:lnTo>
                    <a:lnTo>
                      <a:pt x="1264" y="1606"/>
                    </a:lnTo>
                    <a:lnTo>
                      <a:pt x="1264" y="1607"/>
                    </a:lnTo>
                    <a:lnTo>
                      <a:pt x="1266" y="1607"/>
                    </a:lnTo>
                    <a:lnTo>
                      <a:pt x="1264" y="1607"/>
                    </a:lnTo>
                    <a:lnTo>
                      <a:pt x="1263" y="1607"/>
                    </a:lnTo>
                    <a:lnTo>
                      <a:pt x="1261" y="1606"/>
                    </a:lnTo>
                    <a:lnTo>
                      <a:pt x="1263" y="1604"/>
                    </a:lnTo>
                    <a:close/>
                    <a:moveTo>
                      <a:pt x="1173" y="1359"/>
                    </a:moveTo>
                    <a:lnTo>
                      <a:pt x="1174" y="1359"/>
                    </a:lnTo>
                    <a:lnTo>
                      <a:pt x="1173" y="1361"/>
                    </a:lnTo>
                    <a:lnTo>
                      <a:pt x="1171" y="1361"/>
                    </a:lnTo>
                    <a:lnTo>
                      <a:pt x="1171" y="1359"/>
                    </a:lnTo>
                    <a:lnTo>
                      <a:pt x="1173" y="1359"/>
                    </a:lnTo>
                    <a:close/>
                    <a:moveTo>
                      <a:pt x="1363" y="1665"/>
                    </a:moveTo>
                    <a:lnTo>
                      <a:pt x="1366" y="1665"/>
                    </a:lnTo>
                    <a:lnTo>
                      <a:pt x="1366" y="1672"/>
                    </a:lnTo>
                    <a:lnTo>
                      <a:pt x="1363" y="1672"/>
                    </a:lnTo>
                    <a:lnTo>
                      <a:pt x="1363" y="1665"/>
                    </a:lnTo>
                    <a:close/>
                    <a:moveTo>
                      <a:pt x="1253" y="1590"/>
                    </a:moveTo>
                    <a:lnTo>
                      <a:pt x="1256" y="1590"/>
                    </a:lnTo>
                    <a:lnTo>
                      <a:pt x="1256" y="1594"/>
                    </a:lnTo>
                    <a:lnTo>
                      <a:pt x="1253" y="1594"/>
                    </a:lnTo>
                    <a:lnTo>
                      <a:pt x="1253" y="1590"/>
                    </a:lnTo>
                    <a:close/>
                    <a:moveTo>
                      <a:pt x="1217" y="971"/>
                    </a:moveTo>
                    <a:lnTo>
                      <a:pt x="1219" y="971"/>
                    </a:lnTo>
                    <a:lnTo>
                      <a:pt x="1219" y="973"/>
                    </a:lnTo>
                    <a:lnTo>
                      <a:pt x="1217" y="973"/>
                    </a:lnTo>
                    <a:lnTo>
                      <a:pt x="1217" y="971"/>
                    </a:lnTo>
                    <a:lnTo>
                      <a:pt x="1215" y="971"/>
                    </a:lnTo>
                    <a:lnTo>
                      <a:pt x="1217" y="969"/>
                    </a:lnTo>
                    <a:lnTo>
                      <a:pt x="1217" y="971"/>
                    </a:lnTo>
                    <a:close/>
                    <a:moveTo>
                      <a:pt x="1203" y="1473"/>
                    </a:moveTo>
                    <a:lnTo>
                      <a:pt x="1207" y="1473"/>
                    </a:lnTo>
                    <a:lnTo>
                      <a:pt x="1207" y="1478"/>
                    </a:lnTo>
                    <a:lnTo>
                      <a:pt x="1203" y="1478"/>
                    </a:lnTo>
                    <a:lnTo>
                      <a:pt x="1203" y="1473"/>
                    </a:lnTo>
                    <a:close/>
                    <a:moveTo>
                      <a:pt x="1232" y="1600"/>
                    </a:moveTo>
                    <a:lnTo>
                      <a:pt x="1230" y="1602"/>
                    </a:lnTo>
                    <a:lnTo>
                      <a:pt x="1229" y="1602"/>
                    </a:lnTo>
                    <a:lnTo>
                      <a:pt x="1227" y="1602"/>
                    </a:lnTo>
                    <a:lnTo>
                      <a:pt x="1227" y="1600"/>
                    </a:lnTo>
                    <a:lnTo>
                      <a:pt x="1229" y="1600"/>
                    </a:lnTo>
                    <a:lnTo>
                      <a:pt x="1230" y="1600"/>
                    </a:lnTo>
                    <a:lnTo>
                      <a:pt x="1232" y="1600"/>
                    </a:lnTo>
                    <a:close/>
                    <a:moveTo>
                      <a:pt x="1331" y="1633"/>
                    </a:moveTo>
                    <a:lnTo>
                      <a:pt x="1334" y="1633"/>
                    </a:lnTo>
                    <a:lnTo>
                      <a:pt x="1334" y="1636"/>
                    </a:lnTo>
                    <a:lnTo>
                      <a:pt x="1331" y="1636"/>
                    </a:lnTo>
                    <a:lnTo>
                      <a:pt x="1331" y="1633"/>
                    </a:lnTo>
                    <a:close/>
                    <a:moveTo>
                      <a:pt x="1263" y="1589"/>
                    </a:moveTo>
                    <a:lnTo>
                      <a:pt x="1264" y="1589"/>
                    </a:lnTo>
                    <a:lnTo>
                      <a:pt x="1264" y="1590"/>
                    </a:lnTo>
                    <a:lnTo>
                      <a:pt x="1263" y="1590"/>
                    </a:lnTo>
                    <a:lnTo>
                      <a:pt x="1264" y="1590"/>
                    </a:lnTo>
                    <a:lnTo>
                      <a:pt x="1263" y="1590"/>
                    </a:lnTo>
                    <a:lnTo>
                      <a:pt x="1261" y="1590"/>
                    </a:lnTo>
                    <a:lnTo>
                      <a:pt x="1261" y="1589"/>
                    </a:lnTo>
                    <a:lnTo>
                      <a:pt x="1263" y="1589"/>
                    </a:lnTo>
                    <a:close/>
                    <a:moveTo>
                      <a:pt x="1181" y="1464"/>
                    </a:moveTo>
                    <a:lnTo>
                      <a:pt x="1179" y="1466"/>
                    </a:lnTo>
                    <a:lnTo>
                      <a:pt x="1178" y="1466"/>
                    </a:lnTo>
                    <a:lnTo>
                      <a:pt x="1178" y="1468"/>
                    </a:lnTo>
                    <a:lnTo>
                      <a:pt x="1178" y="1466"/>
                    </a:lnTo>
                    <a:lnTo>
                      <a:pt x="1178" y="1464"/>
                    </a:lnTo>
                    <a:lnTo>
                      <a:pt x="1179" y="1464"/>
                    </a:lnTo>
                    <a:lnTo>
                      <a:pt x="1181" y="1463"/>
                    </a:lnTo>
                    <a:lnTo>
                      <a:pt x="1181" y="1464"/>
                    </a:lnTo>
                    <a:close/>
                    <a:moveTo>
                      <a:pt x="1327" y="1645"/>
                    </a:moveTo>
                    <a:lnTo>
                      <a:pt x="1329" y="1645"/>
                    </a:lnTo>
                    <a:lnTo>
                      <a:pt x="1329" y="1646"/>
                    </a:lnTo>
                    <a:lnTo>
                      <a:pt x="1331" y="1646"/>
                    </a:lnTo>
                    <a:lnTo>
                      <a:pt x="1329" y="1646"/>
                    </a:lnTo>
                    <a:lnTo>
                      <a:pt x="1329" y="1648"/>
                    </a:lnTo>
                    <a:lnTo>
                      <a:pt x="1331" y="1648"/>
                    </a:lnTo>
                    <a:lnTo>
                      <a:pt x="1332" y="1648"/>
                    </a:lnTo>
                    <a:lnTo>
                      <a:pt x="1331" y="1648"/>
                    </a:lnTo>
                    <a:lnTo>
                      <a:pt x="1329" y="1648"/>
                    </a:lnTo>
                    <a:lnTo>
                      <a:pt x="1327" y="1648"/>
                    </a:lnTo>
                    <a:lnTo>
                      <a:pt x="1329" y="1646"/>
                    </a:lnTo>
                    <a:lnTo>
                      <a:pt x="1327" y="1646"/>
                    </a:lnTo>
                    <a:lnTo>
                      <a:pt x="1327" y="1645"/>
                    </a:lnTo>
                    <a:close/>
                    <a:moveTo>
                      <a:pt x="1217" y="1500"/>
                    </a:moveTo>
                    <a:lnTo>
                      <a:pt x="1219" y="1500"/>
                    </a:lnTo>
                    <a:lnTo>
                      <a:pt x="1219" y="1502"/>
                    </a:lnTo>
                    <a:lnTo>
                      <a:pt x="1217" y="1502"/>
                    </a:lnTo>
                    <a:lnTo>
                      <a:pt x="1215" y="1502"/>
                    </a:lnTo>
                    <a:lnTo>
                      <a:pt x="1217" y="1502"/>
                    </a:lnTo>
                    <a:lnTo>
                      <a:pt x="1215" y="1502"/>
                    </a:lnTo>
                    <a:lnTo>
                      <a:pt x="1217" y="1500"/>
                    </a:lnTo>
                    <a:lnTo>
                      <a:pt x="1219" y="1498"/>
                    </a:lnTo>
                    <a:lnTo>
                      <a:pt x="1219" y="1500"/>
                    </a:lnTo>
                    <a:lnTo>
                      <a:pt x="1217" y="1500"/>
                    </a:lnTo>
                    <a:close/>
                    <a:moveTo>
                      <a:pt x="1171" y="1446"/>
                    </a:moveTo>
                    <a:lnTo>
                      <a:pt x="1174" y="1446"/>
                    </a:lnTo>
                    <a:lnTo>
                      <a:pt x="1174" y="1451"/>
                    </a:lnTo>
                    <a:lnTo>
                      <a:pt x="1171" y="1451"/>
                    </a:lnTo>
                    <a:lnTo>
                      <a:pt x="1171" y="1446"/>
                    </a:lnTo>
                    <a:close/>
                    <a:moveTo>
                      <a:pt x="1190" y="1119"/>
                    </a:moveTo>
                    <a:lnTo>
                      <a:pt x="1191" y="1119"/>
                    </a:lnTo>
                    <a:lnTo>
                      <a:pt x="1191" y="1122"/>
                    </a:lnTo>
                    <a:lnTo>
                      <a:pt x="1190" y="1122"/>
                    </a:lnTo>
                    <a:lnTo>
                      <a:pt x="1190" y="1119"/>
                    </a:lnTo>
                    <a:close/>
                    <a:moveTo>
                      <a:pt x="1222" y="1570"/>
                    </a:moveTo>
                    <a:lnTo>
                      <a:pt x="1224" y="1570"/>
                    </a:lnTo>
                    <a:lnTo>
                      <a:pt x="1224" y="1572"/>
                    </a:lnTo>
                    <a:lnTo>
                      <a:pt x="1222" y="1572"/>
                    </a:lnTo>
                    <a:lnTo>
                      <a:pt x="1222" y="1570"/>
                    </a:lnTo>
                    <a:lnTo>
                      <a:pt x="1220" y="1572"/>
                    </a:lnTo>
                    <a:lnTo>
                      <a:pt x="1220" y="1570"/>
                    </a:lnTo>
                    <a:lnTo>
                      <a:pt x="1222" y="1570"/>
                    </a:lnTo>
                    <a:close/>
                    <a:moveTo>
                      <a:pt x="1205" y="1019"/>
                    </a:moveTo>
                    <a:lnTo>
                      <a:pt x="1208" y="1019"/>
                    </a:lnTo>
                    <a:lnTo>
                      <a:pt x="1208" y="1022"/>
                    </a:lnTo>
                    <a:lnTo>
                      <a:pt x="1205" y="1022"/>
                    </a:lnTo>
                    <a:lnTo>
                      <a:pt x="1205" y="1019"/>
                    </a:lnTo>
                    <a:close/>
                    <a:moveTo>
                      <a:pt x="1164" y="1366"/>
                    </a:moveTo>
                    <a:lnTo>
                      <a:pt x="1168" y="1366"/>
                    </a:lnTo>
                    <a:lnTo>
                      <a:pt x="1168" y="1371"/>
                    </a:lnTo>
                    <a:lnTo>
                      <a:pt x="1164" y="1371"/>
                    </a:lnTo>
                    <a:lnTo>
                      <a:pt x="1164" y="1366"/>
                    </a:lnTo>
                    <a:close/>
                    <a:moveTo>
                      <a:pt x="1191" y="1498"/>
                    </a:moveTo>
                    <a:lnTo>
                      <a:pt x="1193" y="1498"/>
                    </a:lnTo>
                    <a:lnTo>
                      <a:pt x="1193" y="1500"/>
                    </a:lnTo>
                    <a:lnTo>
                      <a:pt x="1191" y="1502"/>
                    </a:lnTo>
                    <a:lnTo>
                      <a:pt x="1191" y="1500"/>
                    </a:lnTo>
                    <a:lnTo>
                      <a:pt x="1193" y="1500"/>
                    </a:lnTo>
                    <a:lnTo>
                      <a:pt x="1191" y="1500"/>
                    </a:lnTo>
                    <a:lnTo>
                      <a:pt x="1191" y="1498"/>
                    </a:lnTo>
                    <a:lnTo>
                      <a:pt x="1190" y="1498"/>
                    </a:lnTo>
                    <a:lnTo>
                      <a:pt x="1190" y="1497"/>
                    </a:lnTo>
                    <a:lnTo>
                      <a:pt x="1191" y="1497"/>
                    </a:lnTo>
                    <a:lnTo>
                      <a:pt x="1191" y="1498"/>
                    </a:lnTo>
                    <a:close/>
                    <a:moveTo>
                      <a:pt x="1186" y="1060"/>
                    </a:moveTo>
                    <a:lnTo>
                      <a:pt x="1188" y="1061"/>
                    </a:lnTo>
                    <a:lnTo>
                      <a:pt x="1188" y="1060"/>
                    </a:lnTo>
                    <a:lnTo>
                      <a:pt x="1190" y="1061"/>
                    </a:lnTo>
                    <a:lnTo>
                      <a:pt x="1191" y="1061"/>
                    </a:lnTo>
                    <a:lnTo>
                      <a:pt x="1190" y="1061"/>
                    </a:lnTo>
                    <a:lnTo>
                      <a:pt x="1188" y="1061"/>
                    </a:lnTo>
                    <a:lnTo>
                      <a:pt x="1186" y="1061"/>
                    </a:lnTo>
                    <a:lnTo>
                      <a:pt x="1185" y="1061"/>
                    </a:lnTo>
                    <a:lnTo>
                      <a:pt x="1185" y="1060"/>
                    </a:lnTo>
                    <a:lnTo>
                      <a:pt x="1186" y="1060"/>
                    </a:lnTo>
                    <a:close/>
                    <a:moveTo>
                      <a:pt x="1191" y="1449"/>
                    </a:moveTo>
                    <a:lnTo>
                      <a:pt x="1193" y="1451"/>
                    </a:lnTo>
                    <a:lnTo>
                      <a:pt x="1195" y="1451"/>
                    </a:lnTo>
                    <a:lnTo>
                      <a:pt x="1196" y="1453"/>
                    </a:lnTo>
                    <a:lnTo>
                      <a:pt x="1195" y="1453"/>
                    </a:lnTo>
                    <a:lnTo>
                      <a:pt x="1195" y="1454"/>
                    </a:lnTo>
                    <a:lnTo>
                      <a:pt x="1193" y="1453"/>
                    </a:lnTo>
                    <a:lnTo>
                      <a:pt x="1195" y="1453"/>
                    </a:lnTo>
                    <a:lnTo>
                      <a:pt x="1193" y="1453"/>
                    </a:lnTo>
                    <a:lnTo>
                      <a:pt x="1193" y="1451"/>
                    </a:lnTo>
                    <a:lnTo>
                      <a:pt x="1191" y="1451"/>
                    </a:lnTo>
                    <a:lnTo>
                      <a:pt x="1191" y="1449"/>
                    </a:lnTo>
                    <a:lnTo>
                      <a:pt x="1191" y="1451"/>
                    </a:lnTo>
                    <a:lnTo>
                      <a:pt x="1191" y="1449"/>
                    </a:lnTo>
                    <a:close/>
                    <a:moveTo>
                      <a:pt x="1215" y="993"/>
                    </a:moveTo>
                    <a:lnTo>
                      <a:pt x="1213" y="995"/>
                    </a:lnTo>
                    <a:lnTo>
                      <a:pt x="1213" y="993"/>
                    </a:lnTo>
                    <a:lnTo>
                      <a:pt x="1212" y="995"/>
                    </a:lnTo>
                    <a:lnTo>
                      <a:pt x="1212" y="993"/>
                    </a:lnTo>
                    <a:lnTo>
                      <a:pt x="1213" y="993"/>
                    </a:lnTo>
                    <a:lnTo>
                      <a:pt x="1213" y="992"/>
                    </a:lnTo>
                    <a:lnTo>
                      <a:pt x="1215" y="993"/>
                    </a:lnTo>
                    <a:close/>
                    <a:moveTo>
                      <a:pt x="1426" y="1677"/>
                    </a:moveTo>
                    <a:lnTo>
                      <a:pt x="1428" y="1677"/>
                    </a:lnTo>
                    <a:lnTo>
                      <a:pt x="1428" y="1679"/>
                    </a:lnTo>
                    <a:lnTo>
                      <a:pt x="1426" y="1679"/>
                    </a:lnTo>
                    <a:lnTo>
                      <a:pt x="1426" y="1680"/>
                    </a:lnTo>
                    <a:lnTo>
                      <a:pt x="1424" y="1680"/>
                    </a:lnTo>
                    <a:lnTo>
                      <a:pt x="1424" y="1679"/>
                    </a:lnTo>
                    <a:lnTo>
                      <a:pt x="1426" y="1677"/>
                    </a:lnTo>
                    <a:close/>
                    <a:moveTo>
                      <a:pt x="1213" y="747"/>
                    </a:moveTo>
                    <a:lnTo>
                      <a:pt x="1213" y="748"/>
                    </a:lnTo>
                    <a:lnTo>
                      <a:pt x="1213" y="747"/>
                    </a:lnTo>
                    <a:lnTo>
                      <a:pt x="1212" y="748"/>
                    </a:lnTo>
                    <a:lnTo>
                      <a:pt x="1212" y="747"/>
                    </a:lnTo>
                    <a:lnTo>
                      <a:pt x="1212" y="745"/>
                    </a:lnTo>
                    <a:lnTo>
                      <a:pt x="1212" y="747"/>
                    </a:lnTo>
                    <a:lnTo>
                      <a:pt x="1213" y="747"/>
                    </a:lnTo>
                    <a:close/>
                    <a:moveTo>
                      <a:pt x="1220" y="993"/>
                    </a:moveTo>
                    <a:lnTo>
                      <a:pt x="1222" y="993"/>
                    </a:lnTo>
                    <a:lnTo>
                      <a:pt x="1222" y="995"/>
                    </a:lnTo>
                    <a:lnTo>
                      <a:pt x="1220" y="995"/>
                    </a:lnTo>
                    <a:lnTo>
                      <a:pt x="1219" y="993"/>
                    </a:lnTo>
                    <a:lnTo>
                      <a:pt x="1220" y="993"/>
                    </a:lnTo>
                    <a:close/>
                    <a:moveTo>
                      <a:pt x="1168" y="1259"/>
                    </a:moveTo>
                    <a:lnTo>
                      <a:pt x="1171" y="1259"/>
                    </a:lnTo>
                    <a:lnTo>
                      <a:pt x="1171" y="1262"/>
                    </a:lnTo>
                    <a:lnTo>
                      <a:pt x="1168" y="1262"/>
                    </a:lnTo>
                    <a:lnTo>
                      <a:pt x="1168" y="1259"/>
                    </a:lnTo>
                    <a:close/>
                    <a:moveTo>
                      <a:pt x="1159" y="1252"/>
                    </a:moveTo>
                    <a:lnTo>
                      <a:pt x="1161" y="1253"/>
                    </a:lnTo>
                    <a:lnTo>
                      <a:pt x="1159" y="1253"/>
                    </a:lnTo>
                    <a:lnTo>
                      <a:pt x="1157" y="1255"/>
                    </a:lnTo>
                    <a:lnTo>
                      <a:pt x="1157" y="1253"/>
                    </a:lnTo>
                    <a:lnTo>
                      <a:pt x="1159" y="1253"/>
                    </a:lnTo>
                    <a:lnTo>
                      <a:pt x="1157" y="1253"/>
                    </a:lnTo>
                    <a:lnTo>
                      <a:pt x="1156" y="1253"/>
                    </a:lnTo>
                    <a:lnTo>
                      <a:pt x="1157" y="1253"/>
                    </a:lnTo>
                    <a:lnTo>
                      <a:pt x="1159" y="1252"/>
                    </a:lnTo>
                    <a:close/>
                    <a:moveTo>
                      <a:pt x="1290" y="1575"/>
                    </a:moveTo>
                    <a:lnTo>
                      <a:pt x="1292" y="1575"/>
                    </a:lnTo>
                    <a:lnTo>
                      <a:pt x="1292" y="1580"/>
                    </a:lnTo>
                    <a:lnTo>
                      <a:pt x="1290" y="1580"/>
                    </a:lnTo>
                    <a:lnTo>
                      <a:pt x="1290" y="1575"/>
                    </a:lnTo>
                    <a:close/>
                    <a:moveTo>
                      <a:pt x="1290" y="1629"/>
                    </a:moveTo>
                    <a:lnTo>
                      <a:pt x="1293" y="1629"/>
                    </a:lnTo>
                    <a:lnTo>
                      <a:pt x="1293" y="1635"/>
                    </a:lnTo>
                    <a:lnTo>
                      <a:pt x="1290" y="1635"/>
                    </a:lnTo>
                    <a:lnTo>
                      <a:pt x="1290" y="1629"/>
                    </a:lnTo>
                    <a:close/>
                    <a:moveTo>
                      <a:pt x="1161" y="1245"/>
                    </a:moveTo>
                    <a:lnTo>
                      <a:pt x="1159" y="1247"/>
                    </a:lnTo>
                    <a:lnTo>
                      <a:pt x="1157" y="1247"/>
                    </a:lnTo>
                    <a:lnTo>
                      <a:pt x="1157" y="1245"/>
                    </a:lnTo>
                    <a:lnTo>
                      <a:pt x="1159" y="1245"/>
                    </a:lnTo>
                    <a:lnTo>
                      <a:pt x="1157" y="1245"/>
                    </a:lnTo>
                    <a:lnTo>
                      <a:pt x="1159" y="1245"/>
                    </a:lnTo>
                    <a:lnTo>
                      <a:pt x="1161" y="1245"/>
                    </a:lnTo>
                    <a:lnTo>
                      <a:pt x="1161" y="1243"/>
                    </a:lnTo>
                    <a:lnTo>
                      <a:pt x="1161" y="1245"/>
                    </a:lnTo>
                    <a:close/>
                    <a:moveTo>
                      <a:pt x="1210" y="1017"/>
                    </a:moveTo>
                    <a:lnTo>
                      <a:pt x="1213" y="1017"/>
                    </a:lnTo>
                    <a:lnTo>
                      <a:pt x="1213" y="1020"/>
                    </a:lnTo>
                    <a:lnTo>
                      <a:pt x="1210" y="1020"/>
                    </a:lnTo>
                    <a:lnTo>
                      <a:pt x="1210" y="1017"/>
                    </a:lnTo>
                    <a:close/>
                    <a:moveTo>
                      <a:pt x="1200" y="1085"/>
                    </a:moveTo>
                    <a:lnTo>
                      <a:pt x="1200" y="1087"/>
                    </a:lnTo>
                    <a:lnTo>
                      <a:pt x="1198" y="1085"/>
                    </a:lnTo>
                    <a:lnTo>
                      <a:pt x="1196" y="1085"/>
                    </a:lnTo>
                    <a:lnTo>
                      <a:pt x="1198" y="1085"/>
                    </a:lnTo>
                    <a:lnTo>
                      <a:pt x="1200" y="1083"/>
                    </a:lnTo>
                    <a:lnTo>
                      <a:pt x="1200" y="1085"/>
                    </a:lnTo>
                    <a:close/>
                    <a:moveTo>
                      <a:pt x="1210" y="1253"/>
                    </a:moveTo>
                    <a:lnTo>
                      <a:pt x="1210" y="1255"/>
                    </a:lnTo>
                    <a:lnTo>
                      <a:pt x="1212" y="1255"/>
                    </a:lnTo>
                    <a:lnTo>
                      <a:pt x="1212" y="1257"/>
                    </a:lnTo>
                    <a:lnTo>
                      <a:pt x="1210" y="1255"/>
                    </a:lnTo>
                    <a:lnTo>
                      <a:pt x="1208" y="1255"/>
                    </a:lnTo>
                    <a:lnTo>
                      <a:pt x="1208" y="1253"/>
                    </a:lnTo>
                    <a:lnTo>
                      <a:pt x="1210" y="1253"/>
                    </a:lnTo>
                    <a:close/>
                    <a:moveTo>
                      <a:pt x="1156" y="1187"/>
                    </a:moveTo>
                    <a:lnTo>
                      <a:pt x="1157" y="1189"/>
                    </a:lnTo>
                    <a:lnTo>
                      <a:pt x="1159" y="1191"/>
                    </a:lnTo>
                    <a:lnTo>
                      <a:pt x="1157" y="1191"/>
                    </a:lnTo>
                    <a:lnTo>
                      <a:pt x="1156" y="1189"/>
                    </a:lnTo>
                    <a:lnTo>
                      <a:pt x="1154" y="1189"/>
                    </a:lnTo>
                    <a:lnTo>
                      <a:pt x="1156" y="1187"/>
                    </a:lnTo>
                    <a:close/>
                    <a:moveTo>
                      <a:pt x="1219" y="1119"/>
                    </a:moveTo>
                    <a:lnTo>
                      <a:pt x="1217" y="1121"/>
                    </a:lnTo>
                    <a:lnTo>
                      <a:pt x="1215" y="1121"/>
                    </a:lnTo>
                    <a:lnTo>
                      <a:pt x="1217" y="1119"/>
                    </a:lnTo>
                    <a:lnTo>
                      <a:pt x="1215" y="1119"/>
                    </a:lnTo>
                    <a:lnTo>
                      <a:pt x="1217" y="1119"/>
                    </a:lnTo>
                    <a:lnTo>
                      <a:pt x="1219" y="1119"/>
                    </a:lnTo>
                    <a:close/>
                    <a:moveTo>
                      <a:pt x="1210" y="1242"/>
                    </a:moveTo>
                    <a:lnTo>
                      <a:pt x="1210" y="1243"/>
                    </a:lnTo>
                    <a:lnTo>
                      <a:pt x="1208" y="1243"/>
                    </a:lnTo>
                    <a:lnTo>
                      <a:pt x="1207" y="1243"/>
                    </a:lnTo>
                    <a:lnTo>
                      <a:pt x="1207" y="1242"/>
                    </a:lnTo>
                    <a:lnTo>
                      <a:pt x="1208" y="1242"/>
                    </a:lnTo>
                    <a:lnTo>
                      <a:pt x="1210" y="1242"/>
                    </a:lnTo>
                    <a:close/>
                    <a:moveTo>
                      <a:pt x="1151" y="1291"/>
                    </a:moveTo>
                    <a:lnTo>
                      <a:pt x="1154" y="1291"/>
                    </a:lnTo>
                    <a:lnTo>
                      <a:pt x="1154" y="1294"/>
                    </a:lnTo>
                    <a:lnTo>
                      <a:pt x="1151" y="1294"/>
                    </a:lnTo>
                    <a:lnTo>
                      <a:pt x="1151" y="1291"/>
                    </a:lnTo>
                    <a:close/>
                    <a:moveTo>
                      <a:pt x="1164" y="1476"/>
                    </a:moveTo>
                    <a:lnTo>
                      <a:pt x="1168" y="1476"/>
                    </a:lnTo>
                    <a:lnTo>
                      <a:pt x="1168" y="1480"/>
                    </a:lnTo>
                    <a:lnTo>
                      <a:pt x="1164" y="1480"/>
                    </a:lnTo>
                    <a:lnTo>
                      <a:pt x="1164" y="1476"/>
                    </a:lnTo>
                    <a:close/>
                    <a:moveTo>
                      <a:pt x="1188" y="1475"/>
                    </a:moveTo>
                    <a:lnTo>
                      <a:pt x="1188" y="1476"/>
                    </a:lnTo>
                    <a:lnTo>
                      <a:pt x="1186" y="1476"/>
                    </a:lnTo>
                    <a:lnTo>
                      <a:pt x="1186" y="1475"/>
                    </a:lnTo>
                    <a:lnTo>
                      <a:pt x="1188" y="1475"/>
                    </a:lnTo>
                    <a:lnTo>
                      <a:pt x="1186" y="1475"/>
                    </a:lnTo>
                    <a:lnTo>
                      <a:pt x="1185" y="1475"/>
                    </a:lnTo>
                    <a:lnTo>
                      <a:pt x="1186" y="1475"/>
                    </a:lnTo>
                    <a:lnTo>
                      <a:pt x="1188" y="1473"/>
                    </a:lnTo>
                    <a:lnTo>
                      <a:pt x="1190" y="1475"/>
                    </a:lnTo>
                    <a:lnTo>
                      <a:pt x="1188" y="1475"/>
                    </a:lnTo>
                    <a:close/>
                    <a:moveTo>
                      <a:pt x="1186" y="1119"/>
                    </a:moveTo>
                    <a:lnTo>
                      <a:pt x="1188" y="1119"/>
                    </a:lnTo>
                    <a:lnTo>
                      <a:pt x="1188" y="1124"/>
                    </a:lnTo>
                    <a:lnTo>
                      <a:pt x="1186" y="1124"/>
                    </a:lnTo>
                    <a:lnTo>
                      <a:pt x="1186" y="1119"/>
                    </a:lnTo>
                    <a:close/>
                    <a:moveTo>
                      <a:pt x="1326" y="1648"/>
                    </a:moveTo>
                    <a:lnTo>
                      <a:pt x="1327" y="1650"/>
                    </a:lnTo>
                    <a:lnTo>
                      <a:pt x="1329" y="1650"/>
                    </a:lnTo>
                    <a:lnTo>
                      <a:pt x="1327" y="1650"/>
                    </a:lnTo>
                    <a:lnTo>
                      <a:pt x="1326" y="1650"/>
                    </a:lnTo>
                    <a:lnTo>
                      <a:pt x="1324" y="1650"/>
                    </a:lnTo>
                    <a:lnTo>
                      <a:pt x="1324" y="1648"/>
                    </a:lnTo>
                    <a:lnTo>
                      <a:pt x="1326" y="1648"/>
                    </a:lnTo>
                    <a:close/>
                    <a:moveTo>
                      <a:pt x="1205" y="1065"/>
                    </a:moveTo>
                    <a:lnTo>
                      <a:pt x="1208" y="1065"/>
                    </a:lnTo>
                    <a:lnTo>
                      <a:pt x="1208" y="1066"/>
                    </a:lnTo>
                    <a:lnTo>
                      <a:pt x="1205" y="1066"/>
                    </a:lnTo>
                    <a:lnTo>
                      <a:pt x="1205" y="1065"/>
                    </a:lnTo>
                    <a:close/>
                    <a:moveTo>
                      <a:pt x="1198" y="1068"/>
                    </a:moveTo>
                    <a:lnTo>
                      <a:pt x="1202" y="1068"/>
                    </a:lnTo>
                    <a:lnTo>
                      <a:pt x="1202" y="1071"/>
                    </a:lnTo>
                    <a:lnTo>
                      <a:pt x="1198" y="1071"/>
                    </a:lnTo>
                    <a:lnTo>
                      <a:pt x="1198" y="1068"/>
                    </a:lnTo>
                    <a:close/>
                    <a:moveTo>
                      <a:pt x="1210" y="1022"/>
                    </a:moveTo>
                    <a:lnTo>
                      <a:pt x="1210" y="1024"/>
                    </a:lnTo>
                    <a:lnTo>
                      <a:pt x="1210" y="1022"/>
                    </a:lnTo>
                    <a:lnTo>
                      <a:pt x="1208" y="1022"/>
                    </a:lnTo>
                    <a:lnTo>
                      <a:pt x="1208" y="1020"/>
                    </a:lnTo>
                    <a:lnTo>
                      <a:pt x="1208" y="1019"/>
                    </a:lnTo>
                    <a:lnTo>
                      <a:pt x="1210" y="1019"/>
                    </a:lnTo>
                    <a:lnTo>
                      <a:pt x="1210" y="1020"/>
                    </a:lnTo>
                    <a:lnTo>
                      <a:pt x="1210" y="1022"/>
                    </a:lnTo>
                    <a:close/>
                    <a:moveTo>
                      <a:pt x="1178" y="1383"/>
                    </a:moveTo>
                    <a:lnTo>
                      <a:pt x="1181" y="1383"/>
                    </a:lnTo>
                    <a:lnTo>
                      <a:pt x="1181" y="1386"/>
                    </a:lnTo>
                    <a:lnTo>
                      <a:pt x="1178" y="1386"/>
                    </a:lnTo>
                    <a:lnTo>
                      <a:pt x="1178" y="1383"/>
                    </a:lnTo>
                    <a:close/>
                    <a:moveTo>
                      <a:pt x="1205" y="1104"/>
                    </a:moveTo>
                    <a:lnTo>
                      <a:pt x="1208" y="1104"/>
                    </a:lnTo>
                    <a:lnTo>
                      <a:pt x="1208" y="1107"/>
                    </a:lnTo>
                    <a:lnTo>
                      <a:pt x="1205" y="1107"/>
                    </a:lnTo>
                    <a:lnTo>
                      <a:pt x="1205" y="1104"/>
                    </a:lnTo>
                    <a:close/>
                    <a:moveTo>
                      <a:pt x="1205" y="1053"/>
                    </a:moveTo>
                    <a:lnTo>
                      <a:pt x="1203" y="1054"/>
                    </a:lnTo>
                    <a:lnTo>
                      <a:pt x="1202" y="1054"/>
                    </a:lnTo>
                    <a:lnTo>
                      <a:pt x="1202" y="1053"/>
                    </a:lnTo>
                    <a:lnTo>
                      <a:pt x="1203" y="1053"/>
                    </a:lnTo>
                    <a:lnTo>
                      <a:pt x="1205" y="1053"/>
                    </a:lnTo>
                    <a:close/>
                    <a:moveTo>
                      <a:pt x="1191" y="1396"/>
                    </a:moveTo>
                    <a:lnTo>
                      <a:pt x="1193" y="1396"/>
                    </a:lnTo>
                    <a:lnTo>
                      <a:pt x="1193" y="1400"/>
                    </a:lnTo>
                    <a:lnTo>
                      <a:pt x="1191" y="1400"/>
                    </a:lnTo>
                    <a:lnTo>
                      <a:pt x="1191" y="1396"/>
                    </a:lnTo>
                    <a:close/>
                    <a:moveTo>
                      <a:pt x="1224" y="1556"/>
                    </a:moveTo>
                    <a:lnTo>
                      <a:pt x="1224" y="1558"/>
                    </a:lnTo>
                    <a:lnTo>
                      <a:pt x="1224" y="1556"/>
                    </a:lnTo>
                    <a:lnTo>
                      <a:pt x="1224" y="1558"/>
                    </a:lnTo>
                    <a:lnTo>
                      <a:pt x="1222" y="1558"/>
                    </a:lnTo>
                    <a:lnTo>
                      <a:pt x="1220" y="1558"/>
                    </a:lnTo>
                    <a:lnTo>
                      <a:pt x="1222" y="1558"/>
                    </a:lnTo>
                    <a:lnTo>
                      <a:pt x="1224" y="1556"/>
                    </a:lnTo>
                    <a:lnTo>
                      <a:pt x="1222" y="1558"/>
                    </a:lnTo>
                    <a:lnTo>
                      <a:pt x="1220" y="1558"/>
                    </a:lnTo>
                    <a:lnTo>
                      <a:pt x="1222" y="1556"/>
                    </a:lnTo>
                    <a:lnTo>
                      <a:pt x="1224" y="1556"/>
                    </a:lnTo>
                    <a:close/>
                    <a:moveTo>
                      <a:pt x="1356" y="1663"/>
                    </a:moveTo>
                    <a:lnTo>
                      <a:pt x="1358" y="1663"/>
                    </a:lnTo>
                    <a:lnTo>
                      <a:pt x="1356" y="1665"/>
                    </a:lnTo>
                    <a:lnTo>
                      <a:pt x="1355" y="1665"/>
                    </a:lnTo>
                    <a:lnTo>
                      <a:pt x="1356" y="1667"/>
                    </a:lnTo>
                    <a:lnTo>
                      <a:pt x="1355" y="1665"/>
                    </a:lnTo>
                    <a:lnTo>
                      <a:pt x="1355" y="1663"/>
                    </a:lnTo>
                    <a:lnTo>
                      <a:pt x="1356" y="1663"/>
                    </a:lnTo>
                    <a:close/>
                    <a:moveTo>
                      <a:pt x="1183" y="1464"/>
                    </a:moveTo>
                    <a:lnTo>
                      <a:pt x="1186" y="1464"/>
                    </a:lnTo>
                    <a:lnTo>
                      <a:pt x="1186" y="1468"/>
                    </a:lnTo>
                    <a:lnTo>
                      <a:pt x="1183" y="1468"/>
                    </a:lnTo>
                    <a:lnTo>
                      <a:pt x="1183" y="1464"/>
                    </a:lnTo>
                    <a:close/>
                    <a:moveTo>
                      <a:pt x="1268" y="1614"/>
                    </a:moveTo>
                    <a:lnTo>
                      <a:pt x="1271" y="1614"/>
                    </a:lnTo>
                    <a:lnTo>
                      <a:pt x="1271" y="1619"/>
                    </a:lnTo>
                    <a:lnTo>
                      <a:pt x="1268" y="1619"/>
                    </a:lnTo>
                    <a:lnTo>
                      <a:pt x="1268" y="1614"/>
                    </a:lnTo>
                    <a:close/>
                    <a:moveTo>
                      <a:pt x="1202" y="1544"/>
                    </a:moveTo>
                    <a:lnTo>
                      <a:pt x="1203" y="1544"/>
                    </a:lnTo>
                    <a:lnTo>
                      <a:pt x="1203" y="1546"/>
                    </a:lnTo>
                    <a:lnTo>
                      <a:pt x="1202" y="1546"/>
                    </a:lnTo>
                    <a:lnTo>
                      <a:pt x="1202" y="1544"/>
                    </a:lnTo>
                    <a:close/>
                    <a:moveTo>
                      <a:pt x="1176" y="1487"/>
                    </a:moveTo>
                    <a:lnTo>
                      <a:pt x="1179" y="1487"/>
                    </a:lnTo>
                    <a:lnTo>
                      <a:pt x="1179" y="1488"/>
                    </a:lnTo>
                    <a:lnTo>
                      <a:pt x="1176" y="1488"/>
                    </a:lnTo>
                    <a:lnTo>
                      <a:pt x="1176" y="1487"/>
                    </a:lnTo>
                    <a:close/>
                    <a:moveTo>
                      <a:pt x="1181" y="1328"/>
                    </a:moveTo>
                    <a:lnTo>
                      <a:pt x="1183" y="1328"/>
                    </a:lnTo>
                    <a:lnTo>
                      <a:pt x="1183" y="1333"/>
                    </a:lnTo>
                    <a:lnTo>
                      <a:pt x="1181" y="1333"/>
                    </a:lnTo>
                    <a:lnTo>
                      <a:pt x="1181" y="1328"/>
                    </a:lnTo>
                    <a:close/>
                    <a:moveTo>
                      <a:pt x="1200" y="1080"/>
                    </a:moveTo>
                    <a:lnTo>
                      <a:pt x="1202" y="1080"/>
                    </a:lnTo>
                    <a:lnTo>
                      <a:pt x="1202" y="1082"/>
                    </a:lnTo>
                    <a:lnTo>
                      <a:pt x="1200" y="1082"/>
                    </a:lnTo>
                    <a:lnTo>
                      <a:pt x="1200" y="1080"/>
                    </a:lnTo>
                    <a:close/>
                    <a:moveTo>
                      <a:pt x="1171" y="1252"/>
                    </a:moveTo>
                    <a:lnTo>
                      <a:pt x="1173" y="1252"/>
                    </a:lnTo>
                    <a:lnTo>
                      <a:pt x="1173" y="1257"/>
                    </a:lnTo>
                    <a:lnTo>
                      <a:pt x="1171" y="1257"/>
                    </a:lnTo>
                    <a:lnTo>
                      <a:pt x="1171" y="1252"/>
                    </a:lnTo>
                    <a:close/>
                    <a:moveTo>
                      <a:pt x="1217" y="1082"/>
                    </a:moveTo>
                    <a:lnTo>
                      <a:pt x="1220" y="1082"/>
                    </a:lnTo>
                    <a:lnTo>
                      <a:pt x="1220" y="1085"/>
                    </a:lnTo>
                    <a:lnTo>
                      <a:pt x="1217" y="1085"/>
                    </a:lnTo>
                    <a:lnTo>
                      <a:pt x="1217" y="1082"/>
                    </a:lnTo>
                    <a:close/>
                    <a:moveTo>
                      <a:pt x="1162" y="1407"/>
                    </a:moveTo>
                    <a:lnTo>
                      <a:pt x="1164" y="1407"/>
                    </a:lnTo>
                    <a:lnTo>
                      <a:pt x="1162" y="1408"/>
                    </a:lnTo>
                    <a:lnTo>
                      <a:pt x="1161" y="1408"/>
                    </a:lnTo>
                    <a:lnTo>
                      <a:pt x="1161" y="1407"/>
                    </a:lnTo>
                    <a:lnTo>
                      <a:pt x="1162" y="1407"/>
                    </a:lnTo>
                    <a:close/>
                    <a:moveTo>
                      <a:pt x="1149" y="1373"/>
                    </a:moveTo>
                    <a:lnTo>
                      <a:pt x="1152" y="1373"/>
                    </a:lnTo>
                    <a:lnTo>
                      <a:pt x="1152" y="1376"/>
                    </a:lnTo>
                    <a:lnTo>
                      <a:pt x="1149" y="1376"/>
                    </a:lnTo>
                    <a:lnTo>
                      <a:pt x="1149" y="1373"/>
                    </a:lnTo>
                    <a:close/>
                    <a:moveTo>
                      <a:pt x="1217" y="985"/>
                    </a:moveTo>
                    <a:lnTo>
                      <a:pt x="1220" y="985"/>
                    </a:lnTo>
                    <a:lnTo>
                      <a:pt x="1220" y="986"/>
                    </a:lnTo>
                    <a:lnTo>
                      <a:pt x="1217" y="986"/>
                    </a:lnTo>
                    <a:lnTo>
                      <a:pt x="1217" y="985"/>
                    </a:lnTo>
                    <a:close/>
                    <a:moveTo>
                      <a:pt x="1161" y="1356"/>
                    </a:moveTo>
                    <a:lnTo>
                      <a:pt x="1162" y="1356"/>
                    </a:lnTo>
                    <a:lnTo>
                      <a:pt x="1162" y="1361"/>
                    </a:lnTo>
                    <a:lnTo>
                      <a:pt x="1161" y="1361"/>
                    </a:lnTo>
                    <a:lnTo>
                      <a:pt x="1161" y="1356"/>
                    </a:lnTo>
                    <a:close/>
                    <a:moveTo>
                      <a:pt x="1154" y="1364"/>
                    </a:moveTo>
                    <a:lnTo>
                      <a:pt x="1157" y="1364"/>
                    </a:lnTo>
                    <a:lnTo>
                      <a:pt x="1157" y="1367"/>
                    </a:lnTo>
                    <a:lnTo>
                      <a:pt x="1154" y="1367"/>
                    </a:lnTo>
                    <a:lnTo>
                      <a:pt x="1154" y="1364"/>
                    </a:lnTo>
                    <a:close/>
                    <a:moveTo>
                      <a:pt x="1365" y="1650"/>
                    </a:moveTo>
                    <a:lnTo>
                      <a:pt x="1366" y="1650"/>
                    </a:lnTo>
                    <a:lnTo>
                      <a:pt x="1366" y="1653"/>
                    </a:lnTo>
                    <a:lnTo>
                      <a:pt x="1365" y="1653"/>
                    </a:lnTo>
                    <a:lnTo>
                      <a:pt x="1365" y="1650"/>
                    </a:lnTo>
                    <a:close/>
                    <a:moveTo>
                      <a:pt x="1246" y="1590"/>
                    </a:moveTo>
                    <a:lnTo>
                      <a:pt x="1246" y="1589"/>
                    </a:lnTo>
                    <a:lnTo>
                      <a:pt x="1247" y="1590"/>
                    </a:lnTo>
                    <a:lnTo>
                      <a:pt x="1249" y="1592"/>
                    </a:lnTo>
                    <a:lnTo>
                      <a:pt x="1247" y="1592"/>
                    </a:lnTo>
                    <a:lnTo>
                      <a:pt x="1247" y="1590"/>
                    </a:lnTo>
                    <a:lnTo>
                      <a:pt x="1246" y="1590"/>
                    </a:lnTo>
                    <a:lnTo>
                      <a:pt x="1244" y="1590"/>
                    </a:lnTo>
                    <a:lnTo>
                      <a:pt x="1246" y="1590"/>
                    </a:lnTo>
                    <a:lnTo>
                      <a:pt x="1246" y="1589"/>
                    </a:lnTo>
                    <a:lnTo>
                      <a:pt x="1246" y="1590"/>
                    </a:lnTo>
                    <a:close/>
                    <a:moveTo>
                      <a:pt x="1202" y="1090"/>
                    </a:moveTo>
                    <a:lnTo>
                      <a:pt x="1203" y="1092"/>
                    </a:lnTo>
                    <a:lnTo>
                      <a:pt x="1202" y="1092"/>
                    </a:lnTo>
                    <a:lnTo>
                      <a:pt x="1200" y="1092"/>
                    </a:lnTo>
                    <a:lnTo>
                      <a:pt x="1198" y="1092"/>
                    </a:lnTo>
                    <a:lnTo>
                      <a:pt x="1200" y="1092"/>
                    </a:lnTo>
                    <a:lnTo>
                      <a:pt x="1200" y="1090"/>
                    </a:lnTo>
                    <a:lnTo>
                      <a:pt x="1202" y="1090"/>
                    </a:lnTo>
                    <a:close/>
                    <a:moveTo>
                      <a:pt x="1185" y="1524"/>
                    </a:moveTo>
                    <a:lnTo>
                      <a:pt x="1186" y="1524"/>
                    </a:lnTo>
                    <a:lnTo>
                      <a:pt x="1186" y="1527"/>
                    </a:lnTo>
                    <a:lnTo>
                      <a:pt x="1185" y="1527"/>
                    </a:lnTo>
                    <a:lnTo>
                      <a:pt x="1185" y="1524"/>
                    </a:lnTo>
                    <a:close/>
                    <a:moveTo>
                      <a:pt x="1210" y="1058"/>
                    </a:moveTo>
                    <a:lnTo>
                      <a:pt x="1212" y="1058"/>
                    </a:lnTo>
                    <a:lnTo>
                      <a:pt x="1212" y="1061"/>
                    </a:lnTo>
                    <a:lnTo>
                      <a:pt x="1210" y="1061"/>
                    </a:lnTo>
                    <a:lnTo>
                      <a:pt x="1210" y="1058"/>
                    </a:lnTo>
                    <a:close/>
                    <a:moveTo>
                      <a:pt x="1246" y="964"/>
                    </a:moveTo>
                    <a:lnTo>
                      <a:pt x="1247" y="964"/>
                    </a:lnTo>
                    <a:lnTo>
                      <a:pt x="1247" y="968"/>
                    </a:lnTo>
                    <a:lnTo>
                      <a:pt x="1246" y="968"/>
                    </a:lnTo>
                    <a:lnTo>
                      <a:pt x="1246" y="964"/>
                    </a:lnTo>
                    <a:close/>
                    <a:moveTo>
                      <a:pt x="1186" y="1027"/>
                    </a:moveTo>
                    <a:lnTo>
                      <a:pt x="1188" y="1027"/>
                    </a:lnTo>
                    <a:lnTo>
                      <a:pt x="1188" y="1031"/>
                    </a:lnTo>
                    <a:lnTo>
                      <a:pt x="1186" y="1031"/>
                    </a:lnTo>
                    <a:lnTo>
                      <a:pt x="1186" y="1027"/>
                    </a:lnTo>
                    <a:close/>
                    <a:moveTo>
                      <a:pt x="1144" y="1322"/>
                    </a:moveTo>
                    <a:lnTo>
                      <a:pt x="1147" y="1322"/>
                    </a:lnTo>
                    <a:lnTo>
                      <a:pt x="1147" y="1325"/>
                    </a:lnTo>
                    <a:lnTo>
                      <a:pt x="1144" y="1325"/>
                    </a:lnTo>
                    <a:lnTo>
                      <a:pt x="1144" y="1322"/>
                    </a:lnTo>
                    <a:close/>
                    <a:moveTo>
                      <a:pt x="1202" y="1536"/>
                    </a:moveTo>
                    <a:lnTo>
                      <a:pt x="1202" y="1538"/>
                    </a:lnTo>
                    <a:lnTo>
                      <a:pt x="1202" y="1536"/>
                    </a:lnTo>
                    <a:lnTo>
                      <a:pt x="1203" y="1538"/>
                    </a:lnTo>
                    <a:lnTo>
                      <a:pt x="1202" y="1538"/>
                    </a:lnTo>
                    <a:lnTo>
                      <a:pt x="1200" y="1536"/>
                    </a:lnTo>
                    <a:lnTo>
                      <a:pt x="1202" y="1536"/>
                    </a:lnTo>
                    <a:close/>
                    <a:moveTo>
                      <a:pt x="1368" y="1663"/>
                    </a:moveTo>
                    <a:lnTo>
                      <a:pt x="1372" y="1663"/>
                    </a:lnTo>
                    <a:lnTo>
                      <a:pt x="1372" y="1665"/>
                    </a:lnTo>
                    <a:lnTo>
                      <a:pt x="1368" y="1665"/>
                    </a:lnTo>
                    <a:lnTo>
                      <a:pt x="1368" y="1663"/>
                    </a:lnTo>
                    <a:close/>
                    <a:moveTo>
                      <a:pt x="1307" y="1640"/>
                    </a:moveTo>
                    <a:lnTo>
                      <a:pt x="1310" y="1640"/>
                    </a:lnTo>
                    <a:lnTo>
                      <a:pt x="1310" y="1643"/>
                    </a:lnTo>
                    <a:lnTo>
                      <a:pt x="1307" y="1643"/>
                    </a:lnTo>
                    <a:lnTo>
                      <a:pt x="1307" y="1640"/>
                    </a:lnTo>
                    <a:close/>
                    <a:moveTo>
                      <a:pt x="1188" y="1058"/>
                    </a:moveTo>
                    <a:lnTo>
                      <a:pt x="1190" y="1058"/>
                    </a:lnTo>
                    <a:lnTo>
                      <a:pt x="1191" y="1058"/>
                    </a:lnTo>
                    <a:lnTo>
                      <a:pt x="1190" y="1060"/>
                    </a:lnTo>
                    <a:lnTo>
                      <a:pt x="1188" y="1060"/>
                    </a:lnTo>
                    <a:lnTo>
                      <a:pt x="1186" y="1058"/>
                    </a:lnTo>
                    <a:lnTo>
                      <a:pt x="1188" y="1058"/>
                    </a:lnTo>
                    <a:close/>
                    <a:moveTo>
                      <a:pt x="1178" y="1485"/>
                    </a:moveTo>
                    <a:lnTo>
                      <a:pt x="1181" y="1485"/>
                    </a:lnTo>
                    <a:lnTo>
                      <a:pt x="1181" y="1487"/>
                    </a:lnTo>
                    <a:lnTo>
                      <a:pt x="1178" y="1487"/>
                    </a:lnTo>
                    <a:lnTo>
                      <a:pt x="1178" y="1485"/>
                    </a:lnTo>
                    <a:close/>
                    <a:moveTo>
                      <a:pt x="1210" y="1551"/>
                    </a:moveTo>
                    <a:lnTo>
                      <a:pt x="1213" y="1551"/>
                    </a:lnTo>
                    <a:lnTo>
                      <a:pt x="1213" y="1555"/>
                    </a:lnTo>
                    <a:lnTo>
                      <a:pt x="1210" y="1555"/>
                    </a:lnTo>
                    <a:lnTo>
                      <a:pt x="1210" y="1551"/>
                    </a:lnTo>
                    <a:close/>
                    <a:moveTo>
                      <a:pt x="1360" y="1667"/>
                    </a:moveTo>
                    <a:lnTo>
                      <a:pt x="1361" y="1667"/>
                    </a:lnTo>
                    <a:lnTo>
                      <a:pt x="1361" y="1670"/>
                    </a:lnTo>
                    <a:lnTo>
                      <a:pt x="1360" y="1670"/>
                    </a:lnTo>
                    <a:lnTo>
                      <a:pt x="1360" y="1667"/>
                    </a:lnTo>
                    <a:close/>
                    <a:moveTo>
                      <a:pt x="1210" y="1242"/>
                    </a:moveTo>
                    <a:lnTo>
                      <a:pt x="1213" y="1242"/>
                    </a:lnTo>
                    <a:lnTo>
                      <a:pt x="1213" y="1245"/>
                    </a:lnTo>
                    <a:lnTo>
                      <a:pt x="1210" y="1245"/>
                    </a:lnTo>
                    <a:lnTo>
                      <a:pt x="1210" y="1242"/>
                    </a:lnTo>
                    <a:close/>
                    <a:moveTo>
                      <a:pt x="1200" y="1541"/>
                    </a:moveTo>
                    <a:lnTo>
                      <a:pt x="1203" y="1541"/>
                    </a:lnTo>
                    <a:lnTo>
                      <a:pt x="1203" y="1543"/>
                    </a:lnTo>
                    <a:lnTo>
                      <a:pt x="1200" y="1543"/>
                    </a:lnTo>
                    <a:lnTo>
                      <a:pt x="1200" y="1541"/>
                    </a:lnTo>
                    <a:close/>
                    <a:moveTo>
                      <a:pt x="1151" y="1330"/>
                    </a:moveTo>
                    <a:lnTo>
                      <a:pt x="1154" y="1330"/>
                    </a:lnTo>
                    <a:lnTo>
                      <a:pt x="1154" y="1333"/>
                    </a:lnTo>
                    <a:lnTo>
                      <a:pt x="1151" y="1333"/>
                    </a:lnTo>
                    <a:lnTo>
                      <a:pt x="1151" y="1330"/>
                    </a:lnTo>
                    <a:close/>
                    <a:moveTo>
                      <a:pt x="1205" y="1080"/>
                    </a:moveTo>
                    <a:lnTo>
                      <a:pt x="1207" y="1080"/>
                    </a:lnTo>
                    <a:lnTo>
                      <a:pt x="1207" y="1082"/>
                    </a:lnTo>
                    <a:lnTo>
                      <a:pt x="1205" y="1082"/>
                    </a:lnTo>
                    <a:lnTo>
                      <a:pt x="1205" y="1080"/>
                    </a:lnTo>
                    <a:close/>
                    <a:moveTo>
                      <a:pt x="1225" y="1580"/>
                    </a:moveTo>
                    <a:lnTo>
                      <a:pt x="1227" y="1580"/>
                    </a:lnTo>
                    <a:lnTo>
                      <a:pt x="1227" y="1583"/>
                    </a:lnTo>
                    <a:lnTo>
                      <a:pt x="1225" y="1583"/>
                    </a:lnTo>
                    <a:lnTo>
                      <a:pt x="1225" y="1580"/>
                    </a:lnTo>
                    <a:close/>
                    <a:moveTo>
                      <a:pt x="1195" y="1146"/>
                    </a:moveTo>
                    <a:lnTo>
                      <a:pt x="1195" y="1148"/>
                    </a:lnTo>
                    <a:lnTo>
                      <a:pt x="1193" y="1148"/>
                    </a:lnTo>
                    <a:lnTo>
                      <a:pt x="1191" y="1146"/>
                    </a:lnTo>
                    <a:lnTo>
                      <a:pt x="1193" y="1146"/>
                    </a:lnTo>
                    <a:lnTo>
                      <a:pt x="1195" y="1146"/>
                    </a:lnTo>
                    <a:close/>
                    <a:moveTo>
                      <a:pt x="1290" y="1616"/>
                    </a:moveTo>
                    <a:lnTo>
                      <a:pt x="1288" y="1618"/>
                    </a:lnTo>
                    <a:lnTo>
                      <a:pt x="1287" y="1616"/>
                    </a:lnTo>
                    <a:lnTo>
                      <a:pt x="1288" y="1616"/>
                    </a:lnTo>
                    <a:lnTo>
                      <a:pt x="1290" y="1616"/>
                    </a:lnTo>
                    <a:lnTo>
                      <a:pt x="1288" y="1616"/>
                    </a:lnTo>
                    <a:lnTo>
                      <a:pt x="1290" y="1616"/>
                    </a:lnTo>
                    <a:close/>
                    <a:moveTo>
                      <a:pt x="1171" y="1366"/>
                    </a:moveTo>
                    <a:lnTo>
                      <a:pt x="1174" y="1366"/>
                    </a:lnTo>
                    <a:lnTo>
                      <a:pt x="1174" y="1369"/>
                    </a:lnTo>
                    <a:lnTo>
                      <a:pt x="1171" y="1369"/>
                    </a:lnTo>
                    <a:lnTo>
                      <a:pt x="1171" y="1366"/>
                    </a:lnTo>
                    <a:close/>
                    <a:moveTo>
                      <a:pt x="1176" y="1447"/>
                    </a:moveTo>
                    <a:lnTo>
                      <a:pt x="1178" y="1447"/>
                    </a:lnTo>
                    <a:lnTo>
                      <a:pt x="1178" y="1451"/>
                    </a:lnTo>
                    <a:lnTo>
                      <a:pt x="1176" y="1451"/>
                    </a:lnTo>
                    <a:lnTo>
                      <a:pt x="1176" y="1447"/>
                    </a:lnTo>
                    <a:close/>
                    <a:moveTo>
                      <a:pt x="1198" y="1157"/>
                    </a:moveTo>
                    <a:lnTo>
                      <a:pt x="1200" y="1157"/>
                    </a:lnTo>
                    <a:lnTo>
                      <a:pt x="1200" y="1158"/>
                    </a:lnTo>
                    <a:lnTo>
                      <a:pt x="1198" y="1158"/>
                    </a:lnTo>
                    <a:lnTo>
                      <a:pt x="1198" y="1157"/>
                    </a:lnTo>
                    <a:close/>
                    <a:moveTo>
                      <a:pt x="1312" y="1633"/>
                    </a:moveTo>
                    <a:lnTo>
                      <a:pt x="1314" y="1633"/>
                    </a:lnTo>
                    <a:lnTo>
                      <a:pt x="1314" y="1635"/>
                    </a:lnTo>
                    <a:lnTo>
                      <a:pt x="1314" y="1633"/>
                    </a:lnTo>
                    <a:lnTo>
                      <a:pt x="1312" y="1633"/>
                    </a:lnTo>
                    <a:lnTo>
                      <a:pt x="1314" y="1635"/>
                    </a:lnTo>
                    <a:lnTo>
                      <a:pt x="1312" y="1635"/>
                    </a:lnTo>
                    <a:lnTo>
                      <a:pt x="1310" y="1635"/>
                    </a:lnTo>
                    <a:lnTo>
                      <a:pt x="1310" y="1633"/>
                    </a:lnTo>
                    <a:lnTo>
                      <a:pt x="1312" y="1633"/>
                    </a:lnTo>
                    <a:close/>
                    <a:moveTo>
                      <a:pt x="1186" y="1279"/>
                    </a:moveTo>
                    <a:lnTo>
                      <a:pt x="1185" y="1279"/>
                    </a:lnTo>
                    <a:lnTo>
                      <a:pt x="1185" y="1281"/>
                    </a:lnTo>
                    <a:lnTo>
                      <a:pt x="1183" y="1281"/>
                    </a:lnTo>
                    <a:lnTo>
                      <a:pt x="1183" y="1279"/>
                    </a:lnTo>
                    <a:lnTo>
                      <a:pt x="1185" y="1279"/>
                    </a:lnTo>
                    <a:lnTo>
                      <a:pt x="1183" y="1279"/>
                    </a:lnTo>
                    <a:lnTo>
                      <a:pt x="1185" y="1279"/>
                    </a:lnTo>
                    <a:lnTo>
                      <a:pt x="1186" y="1277"/>
                    </a:lnTo>
                    <a:lnTo>
                      <a:pt x="1188" y="1277"/>
                    </a:lnTo>
                    <a:lnTo>
                      <a:pt x="1186" y="1279"/>
                    </a:lnTo>
                    <a:close/>
                    <a:moveTo>
                      <a:pt x="1156" y="1185"/>
                    </a:moveTo>
                    <a:lnTo>
                      <a:pt x="1157" y="1185"/>
                    </a:lnTo>
                    <a:lnTo>
                      <a:pt x="1157" y="1189"/>
                    </a:lnTo>
                    <a:lnTo>
                      <a:pt x="1156" y="1189"/>
                    </a:lnTo>
                    <a:lnTo>
                      <a:pt x="1156" y="1185"/>
                    </a:lnTo>
                    <a:close/>
                    <a:moveTo>
                      <a:pt x="1183" y="1476"/>
                    </a:moveTo>
                    <a:lnTo>
                      <a:pt x="1186" y="1476"/>
                    </a:lnTo>
                    <a:lnTo>
                      <a:pt x="1186" y="1478"/>
                    </a:lnTo>
                    <a:lnTo>
                      <a:pt x="1183" y="1478"/>
                    </a:lnTo>
                    <a:lnTo>
                      <a:pt x="1183" y="1476"/>
                    </a:lnTo>
                    <a:close/>
                    <a:moveTo>
                      <a:pt x="1217" y="1500"/>
                    </a:moveTo>
                    <a:lnTo>
                      <a:pt x="1219" y="1500"/>
                    </a:lnTo>
                    <a:lnTo>
                      <a:pt x="1219" y="1504"/>
                    </a:lnTo>
                    <a:lnTo>
                      <a:pt x="1217" y="1504"/>
                    </a:lnTo>
                    <a:lnTo>
                      <a:pt x="1217" y="1500"/>
                    </a:lnTo>
                    <a:close/>
                    <a:moveTo>
                      <a:pt x="1213" y="1556"/>
                    </a:moveTo>
                    <a:lnTo>
                      <a:pt x="1215" y="1556"/>
                    </a:lnTo>
                    <a:lnTo>
                      <a:pt x="1215" y="1558"/>
                    </a:lnTo>
                    <a:lnTo>
                      <a:pt x="1213" y="1558"/>
                    </a:lnTo>
                    <a:lnTo>
                      <a:pt x="1213" y="1556"/>
                    </a:lnTo>
                    <a:close/>
                    <a:moveTo>
                      <a:pt x="1315" y="1633"/>
                    </a:moveTo>
                    <a:lnTo>
                      <a:pt x="1319" y="1633"/>
                    </a:lnTo>
                    <a:lnTo>
                      <a:pt x="1319" y="1636"/>
                    </a:lnTo>
                    <a:lnTo>
                      <a:pt x="1315" y="1636"/>
                    </a:lnTo>
                    <a:lnTo>
                      <a:pt x="1315" y="1633"/>
                    </a:lnTo>
                    <a:close/>
                    <a:moveTo>
                      <a:pt x="1229" y="1585"/>
                    </a:moveTo>
                    <a:lnTo>
                      <a:pt x="1232" y="1585"/>
                    </a:lnTo>
                    <a:lnTo>
                      <a:pt x="1232" y="1587"/>
                    </a:lnTo>
                    <a:lnTo>
                      <a:pt x="1229" y="1587"/>
                    </a:lnTo>
                    <a:lnTo>
                      <a:pt x="1229" y="1585"/>
                    </a:lnTo>
                    <a:close/>
                    <a:moveTo>
                      <a:pt x="1378" y="1662"/>
                    </a:moveTo>
                    <a:lnTo>
                      <a:pt x="1382" y="1662"/>
                    </a:lnTo>
                    <a:lnTo>
                      <a:pt x="1382" y="1667"/>
                    </a:lnTo>
                    <a:lnTo>
                      <a:pt x="1378" y="1667"/>
                    </a:lnTo>
                    <a:lnTo>
                      <a:pt x="1378" y="1662"/>
                    </a:lnTo>
                    <a:close/>
                    <a:moveTo>
                      <a:pt x="1227" y="992"/>
                    </a:moveTo>
                    <a:lnTo>
                      <a:pt x="1230" y="992"/>
                    </a:lnTo>
                    <a:lnTo>
                      <a:pt x="1230" y="995"/>
                    </a:lnTo>
                    <a:lnTo>
                      <a:pt x="1227" y="995"/>
                    </a:lnTo>
                    <a:lnTo>
                      <a:pt x="1227" y="992"/>
                    </a:lnTo>
                    <a:close/>
                    <a:moveTo>
                      <a:pt x="1166" y="1432"/>
                    </a:moveTo>
                    <a:lnTo>
                      <a:pt x="1168" y="1432"/>
                    </a:lnTo>
                    <a:lnTo>
                      <a:pt x="1168" y="1435"/>
                    </a:lnTo>
                    <a:lnTo>
                      <a:pt x="1166" y="1435"/>
                    </a:lnTo>
                    <a:lnTo>
                      <a:pt x="1166" y="1432"/>
                    </a:lnTo>
                    <a:close/>
                    <a:moveTo>
                      <a:pt x="1241" y="1587"/>
                    </a:moveTo>
                    <a:lnTo>
                      <a:pt x="1242" y="1587"/>
                    </a:lnTo>
                    <a:lnTo>
                      <a:pt x="1242" y="1590"/>
                    </a:lnTo>
                    <a:lnTo>
                      <a:pt x="1241" y="1590"/>
                    </a:lnTo>
                    <a:lnTo>
                      <a:pt x="1241" y="1587"/>
                    </a:lnTo>
                    <a:close/>
                    <a:moveTo>
                      <a:pt x="1179" y="1136"/>
                    </a:moveTo>
                    <a:lnTo>
                      <a:pt x="1181" y="1136"/>
                    </a:lnTo>
                    <a:lnTo>
                      <a:pt x="1181" y="1140"/>
                    </a:lnTo>
                    <a:lnTo>
                      <a:pt x="1179" y="1140"/>
                    </a:lnTo>
                    <a:lnTo>
                      <a:pt x="1179" y="1136"/>
                    </a:lnTo>
                    <a:close/>
                    <a:moveTo>
                      <a:pt x="1220" y="978"/>
                    </a:moveTo>
                    <a:lnTo>
                      <a:pt x="1222" y="978"/>
                    </a:lnTo>
                    <a:lnTo>
                      <a:pt x="1222" y="980"/>
                    </a:lnTo>
                    <a:lnTo>
                      <a:pt x="1220" y="980"/>
                    </a:lnTo>
                    <a:lnTo>
                      <a:pt x="1220" y="978"/>
                    </a:lnTo>
                    <a:close/>
                    <a:moveTo>
                      <a:pt x="1215" y="1505"/>
                    </a:moveTo>
                    <a:lnTo>
                      <a:pt x="1217" y="1505"/>
                    </a:lnTo>
                    <a:lnTo>
                      <a:pt x="1215" y="1507"/>
                    </a:lnTo>
                    <a:lnTo>
                      <a:pt x="1215" y="1505"/>
                    </a:lnTo>
                    <a:lnTo>
                      <a:pt x="1215" y="1507"/>
                    </a:lnTo>
                    <a:lnTo>
                      <a:pt x="1213" y="1505"/>
                    </a:lnTo>
                    <a:lnTo>
                      <a:pt x="1212" y="1505"/>
                    </a:lnTo>
                    <a:lnTo>
                      <a:pt x="1213" y="1505"/>
                    </a:lnTo>
                    <a:lnTo>
                      <a:pt x="1215" y="1505"/>
                    </a:lnTo>
                    <a:lnTo>
                      <a:pt x="1215" y="1507"/>
                    </a:lnTo>
                    <a:lnTo>
                      <a:pt x="1215" y="1505"/>
                    </a:lnTo>
                    <a:close/>
                    <a:moveTo>
                      <a:pt x="1389" y="1633"/>
                    </a:moveTo>
                    <a:lnTo>
                      <a:pt x="1392" y="1633"/>
                    </a:lnTo>
                    <a:lnTo>
                      <a:pt x="1392" y="1635"/>
                    </a:lnTo>
                    <a:lnTo>
                      <a:pt x="1389" y="1635"/>
                    </a:lnTo>
                    <a:lnTo>
                      <a:pt x="1389" y="1633"/>
                    </a:lnTo>
                    <a:close/>
                    <a:moveTo>
                      <a:pt x="1275" y="1597"/>
                    </a:moveTo>
                    <a:lnTo>
                      <a:pt x="1276" y="1597"/>
                    </a:lnTo>
                    <a:lnTo>
                      <a:pt x="1276" y="1600"/>
                    </a:lnTo>
                    <a:lnTo>
                      <a:pt x="1275" y="1600"/>
                    </a:lnTo>
                    <a:lnTo>
                      <a:pt x="1275" y="1597"/>
                    </a:lnTo>
                    <a:close/>
                    <a:moveTo>
                      <a:pt x="1399" y="1645"/>
                    </a:moveTo>
                    <a:lnTo>
                      <a:pt x="1402" y="1645"/>
                    </a:lnTo>
                    <a:lnTo>
                      <a:pt x="1402" y="1648"/>
                    </a:lnTo>
                    <a:lnTo>
                      <a:pt x="1399" y="1648"/>
                    </a:lnTo>
                    <a:lnTo>
                      <a:pt x="1399" y="1645"/>
                    </a:lnTo>
                    <a:close/>
                    <a:moveTo>
                      <a:pt x="1178" y="1138"/>
                    </a:moveTo>
                    <a:lnTo>
                      <a:pt x="1179" y="1138"/>
                    </a:lnTo>
                    <a:lnTo>
                      <a:pt x="1179" y="1141"/>
                    </a:lnTo>
                    <a:lnTo>
                      <a:pt x="1178" y="1141"/>
                    </a:lnTo>
                    <a:lnTo>
                      <a:pt x="1178" y="1138"/>
                    </a:lnTo>
                    <a:close/>
                    <a:moveTo>
                      <a:pt x="1229" y="944"/>
                    </a:moveTo>
                    <a:lnTo>
                      <a:pt x="1232" y="944"/>
                    </a:lnTo>
                    <a:lnTo>
                      <a:pt x="1232" y="946"/>
                    </a:lnTo>
                    <a:lnTo>
                      <a:pt x="1229" y="946"/>
                    </a:lnTo>
                    <a:lnTo>
                      <a:pt x="1229" y="944"/>
                    </a:lnTo>
                    <a:close/>
                    <a:moveTo>
                      <a:pt x="1183" y="1427"/>
                    </a:moveTo>
                    <a:lnTo>
                      <a:pt x="1186" y="1427"/>
                    </a:lnTo>
                    <a:lnTo>
                      <a:pt x="1186" y="1429"/>
                    </a:lnTo>
                    <a:lnTo>
                      <a:pt x="1183" y="1429"/>
                    </a:lnTo>
                    <a:lnTo>
                      <a:pt x="1183" y="1427"/>
                    </a:lnTo>
                    <a:close/>
                    <a:moveTo>
                      <a:pt x="1196" y="1150"/>
                    </a:moveTo>
                    <a:lnTo>
                      <a:pt x="1198" y="1150"/>
                    </a:lnTo>
                    <a:lnTo>
                      <a:pt x="1198" y="1153"/>
                    </a:lnTo>
                    <a:lnTo>
                      <a:pt x="1196" y="1153"/>
                    </a:lnTo>
                    <a:lnTo>
                      <a:pt x="1196" y="1150"/>
                    </a:lnTo>
                    <a:close/>
                    <a:moveTo>
                      <a:pt x="1169" y="1417"/>
                    </a:moveTo>
                    <a:lnTo>
                      <a:pt x="1171" y="1417"/>
                    </a:lnTo>
                    <a:lnTo>
                      <a:pt x="1171" y="1418"/>
                    </a:lnTo>
                    <a:lnTo>
                      <a:pt x="1169" y="1418"/>
                    </a:lnTo>
                    <a:lnTo>
                      <a:pt x="1169" y="1417"/>
                    </a:lnTo>
                    <a:close/>
                    <a:moveTo>
                      <a:pt x="1188" y="1066"/>
                    </a:moveTo>
                    <a:lnTo>
                      <a:pt x="1188" y="1068"/>
                    </a:lnTo>
                    <a:lnTo>
                      <a:pt x="1190" y="1068"/>
                    </a:lnTo>
                    <a:lnTo>
                      <a:pt x="1188" y="1068"/>
                    </a:lnTo>
                    <a:lnTo>
                      <a:pt x="1186" y="1066"/>
                    </a:lnTo>
                    <a:lnTo>
                      <a:pt x="1188" y="1066"/>
                    </a:lnTo>
                    <a:close/>
                    <a:moveTo>
                      <a:pt x="1171" y="1475"/>
                    </a:moveTo>
                    <a:lnTo>
                      <a:pt x="1173" y="1475"/>
                    </a:lnTo>
                    <a:lnTo>
                      <a:pt x="1173" y="1476"/>
                    </a:lnTo>
                    <a:lnTo>
                      <a:pt x="1171" y="1476"/>
                    </a:lnTo>
                    <a:lnTo>
                      <a:pt x="1171" y="1475"/>
                    </a:lnTo>
                    <a:close/>
                    <a:moveTo>
                      <a:pt x="1224" y="1071"/>
                    </a:moveTo>
                    <a:lnTo>
                      <a:pt x="1227" y="1071"/>
                    </a:lnTo>
                    <a:lnTo>
                      <a:pt x="1227" y="1073"/>
                    </a:lnTo>
                    <a:lnTo>
                      <a:pt x="1224" y="1073"/>
                    </a:lnTo>
                    <a:lnTo>
                      <a:pt x="1224" y="1071"/>
                    </a:lnTo>
                    <a:close/>
                    <a:moveTo>
                      <a:pt x="1185" y="1262"/>
                    </a:moveTo>
                    <a:lnTo>
                      <a:pt x="1188" y="1262"/>
                    </a:lnTo>
                    <a:lnTo>
                      <a:pt x="1188" y="1265"/>
                    </a:lnTo>
                    <a:lnTo>
                      <a:pt x="1185" y="1265"/>
                    </a:lnTo>
                    <a:lnTo>
                      <a:pt x="1185" y="1262"/>
                    </a:lnTo>
                    <a:close/>
                    <a:moveTo>
                      <a:pt x="1188" y="1128"/>
                    </a:moveTo>
                    <a:lnTo>
                      <a:pt x="1191" y="1128"/>
                    </a:lnTo>
                    <a:lnTo>
                      <a:pt x="1191" y="1131"/>
                    </a:lnTo>
                    <a:lnTo>
                      <a:pt x="1188" y="1131"/>
                    </a:lnTo>
                    <a:lnTo>
                      <a:pt x="1188" y="1128"/>
                    </a:lnTo>
                    <a:close/>
                    <a:moveTo>
                      <a:pt x="1202" y="1080"/>
                    </a:moveTo>
                    <a:lnTo>
                      <a:pt x="1205" y="1080"/>
                    </a:lnTo>
                    <a:lnTo>
                      <a:pt x="1205" y="1082"/>
                    </a:lnTo>
                    <a:lnTo>
                      <a:pt x="1202" y="1082"/>
                    </a:lnTo>
                    <a:lnTo>
                      <a:pt x="1202" y="1080"/>
                    </a:lnTo>
                    <a:close/>
                    <a:moveTo>
                      <a:pt x="1185" y="1141"/>
                    </a:moveTo>
                    <a:lnTo>
                      <a:pt x="1185" y="1143"/>
                    </a:lnTo>
                    <a:lnTo>
                      <a:pt x="1183" y="1143"/>
                    </a:lnTo>
                    <a:lnTo>
                      <a:pt x="1181" y="1143"/>
                    </a:lnTo>
                    <a:lnTo>
                      <a:pt x="1183" y="1143"/>
                    </a:lnTo>
                    <a:lnTo>
                      <a:pt x="1185" y="1141"/>
                    </a:lnTo>
                    <a:close/>
                    <a:moveTo>
                      <a:pt x="1276" y="1612"/>
                    </a:moveTo>
                    <a:lnTo>
                      <a:pt x="1280" y="1612"/>
                    </a:lnTo>
                    <a:lnTo>
                      <a:pt x="1280" y="1614"/>
                    </a:lnTo>
                    <a:lnTo>
                      <a:pt x="1276" y="1614"/>
                    </a:lnTo>
                    <a:lnTo>
                      <a:pt x="1276" y="1612"/>
                    </a:lnTo>
                    <a:close/>
                    <a:moveTo>
                      <a:pt x="1208" y="1502"/>
                    </a:moveTo>
                    <a:lnTo>
                      <a:pt x="1210" y="1502"/>
                    </a:lnTo>
                    <a:lnTo>
                      <a:pt x="1210" y="1505"/>
                    </a:lnTo>
                    <a:lnTo>
                      <a:pt x="1208" y="1505"/>
                    </a:lnTo>
                    <a:lnTo>
                      <a:pt x="1208" y="1502"/>
                    </a:lnTo>
                    <a:close/>
                    <a:moveTo>
                      <a:pt x="1219" y="1538"/>
                    </a:moveTo>
                    <a:lnTo>
                      <a:pt x="1222" y="1538"/>
                    </a:lnTo>
                    <a:lnTo>
                      <a:pt x="1222" y="1541"/>
                    </a:lnTo>
                    <a:lnTo>
                      <a:pt x="1219" y="1541"/>
                    </a:lnTo>
                    <a:lnTo>
                      <a:pt x="1219" y="1538"/>
                    </a:lnTo>
                    <a:close/>
                    <a:moveTo>
                      <a:pt x="1373" y="1641"/>
                    </a:moveTo>
                    <a:lnTo>
                      <a:pt x="1375" y="1641"/>
                    </a:lnTo>
                    <a:lnTo>
                      <a:pt x="1375" y="1643"/>
                    </a:lnTo>
                    <a:lnTo>
                      <a:pt x="1373" y="1643"/>
                    </a:lnTo>
                    <a:lnTo>
                      <a:pt x="1373" y="1641"/>
                    </a:lnTo>
                    <a:lnTo>
                      <a:pt x="1372" y="1641"/>
                    </a:lnTo>
                    <a:lnTo>
                      <a:pt x="1373" y="1641"/>
                    </a:lnTo>
                    <a:close/>
                    <a:moveTo>
                      <a:pt x="1198" y="1485"/>
                    </a:moveTo>
                    <a:lnTo>
                      <a:pt x="1196" y="1485"/>
                    </a:lnTo>
                    <a:lnTo>
                      <a:pt x="1195" y="1487"/>
                    </a:lnTo>
                    <a:lnTo>
                      <a:pt x="1193" y="1487"/>
                    </a:lnTo>
                    <a:lnTo>
                      <a:pt x="1195" y="1485"/>
                    </a:lnTo>
                    <a:lnTo>
                      <a:pt x="1196" y="1485"/>
                    </a:lnTo>
                    <a:lnTo>
                      <a:pt x="1198" y="1485"/>
                    </a:lnTo>
                    <a:close/>
                    <a:moveTo>
                      <a:pt x="1161" y="1243"/>
                    </a:moveTo>
                    <a:lnTo>
                      <a:pt x="1162" y="1243"/>
                    </a:lnTo>
                    <a:lnTo>
                      <a:pt x="1162" y="1247"/>
                    </a:lnTo>
                    <a:lnTo>
                      <a:pt x="1161" y="1247"/>
                    </a:lnTo>
                    <a:lnTo>
                      <a:pt x="1161" y="1243"/>
                    </a:lnTo>
                    <a:close/>
                    <a:moveTo>
                      <a:pt x="1178" y="1478"/>
                    </a:moveTo>
                    <a:lnTo>
                      <a:pt x="1179" y="1478"/>
                    </a:lnTo>
                    <a:lnTo>
                      <a:pt x="1179" y="1481"/>
                    </a:lnTo>
                    <a:lnTo>
                      <a:pt x="1178" y="1481"/>
                    </a:lnTo>
                    <a:lnTo>
                      <a:pt x="1178" y="1478"/>
                    </a:lnTo>
                    <a:close/>
                    <a:moveTo>
                      <a:pt x="1181" y="1437"/>
                    </a:moveTo>
                    <a:lnTo>
                      <a:pt x="1185" y="1437"/>
                    </a:lnTo>
                    <a:lnTo>
                      <a:pt x="1185" y="1439"/>
                    </a:lnTo>
                    <a:lnTo>
                      <a:pt x="1181" y="1439"/>
                    </a:lnTo>
                    <a:lnTo>
                      <a:pt x="1181" y="1437"/>
                    </a:lnTo>
                    <a:close/>
                    <a:moveTo>
                      <a:pt x="1168" y="1432"/>
                    </a:moveTo>
                    <a:lnTo>
                      <a:pt x="1171" y="1432"/>
                    </a:lnTo>
                    <a:lnTo>
                      <a:pt x="1171" y="1434"/>
                    </a:lnTo>
                    <a:lnTo>
                      <a:pt x="1168" y="1434"/>
                    </a:lnTo>
                    <a:lnTo>
                      <a:pt x="1168" y="1432"/>
                    </a:lnTo>
                    <a:close/>
                    <a:moveTo>
                      <a:pt x="1219" y="983"/>
                    </a:moveTo>
                    <a:lnTo>
                      <a:pt x="1220" y="983"/>
                    </a:lnTo>
                    <a:lnTo>
                      <a:pt x="1220" y="985"/>
                    </a:lnTo>
                    <a:lnTo>
                      <a:pt x="1219" y="985"/>
                    </a:lnTo>
                    <a:lnTo>
                      <a:pt x="1219" y="983"/>
                    </a:lnTo>
                    <a:close/>
                    <a:moveTo>
                      <a:pt x="1249" y="1599"/>
                    </a:moveTo>
                    <a:lnTo>
                      <a:pt x="1251" y="1599"/>
                    </a:lnTo>
                    <a:lnTo>
                      <a:pt x="1251" y="1600"/>
                    </a:lnTo>
                    <a:lnTo>
                      <a:pt x="1249" y="1600"/>
                    </a:lnTo>
                    <a:lnTo>
                      <a:pt x="1249" y="1599"/>
                    </a:lnTo>
                    <a:close/>
                    <a:moveTo>
                      <a:pt x="1179" y="1134"/>
                    </a:moveTo>
                    <a:lnTo>
                      <a:pt x="1179" y="1138"/>
                    </a:lnTo>
                    <a:lnTo>
                      <a:pt x="1179" y="1134"/>
                    </a:lnTo>
                    <a:close/>
                    <a:moveTo>
                      <a:pt x="1174" y="1367"/>
                    </a:moveTo>
                    <a:lnTo>
                      <a:pt x="1178" y="1367"/>
                    </a:lnTo>
                    <a:lnTo>
                      <a:pt x="1178" y="1369"/>
                    </a:lnTo>
                    <a:lnTo>
                      <a:pt x="1174" y="1369"/>
                    </a:lnTo>
                    <a:lnTo>
                      <a:pt x="1174" y="1367"/>
                    </a:lnTo>
                    <a:close/>
                    <a:moveTo>
                      <a:pt x="1188" y="1056"/>
                    </a:moveTo>
                    <a:lnTo>
                      <a:pt x="1191" y="1056"/>
                    </a:lnTo>
                    <a:lnTo>
                      <a:pt x="1191" y="1058"/>
                    </a:lnTo>
                    <a:lnTo>
                      <a:pt x="1188" y="1058"/>
                    </a:lnTo>
                    <a:lnTo>
                      <a:pt x="1188" y="1056"/>
                    </a:lnTo>
                    <a:close/>
                    <a:moveTo>
                      <a:pt x="1241" y="1495"/>
                    </a:moveTo>
                    <a:lnTo>
                      <a:pt x="1244" y="1495"/>
                    </a:lnTo>
                    <a:lnTo>
                      <a:pt x="1244" y="1497"/>
                    </a:lnTo>
                    <a:lnTo>
                      <a:pt x="1241" y="1497"/>
                    </a:lnTo>
                    <a:lnTo>
                      <a:pt x="1241" y="1495"/>
                    </a:lnTo>
                    <a:close/>
                    <a:moveTo>
                      <a:pt x="1208" y="1539"/>
                    </a:moveTo>
                    <a:lnTo>
                      <a:pt x="1208" y="1538"/>
                    </a:lnTo>
                    <a:lnTo>
                      <a:pt x="1210" y="1539"/>
                    </a:lnTo>
                    <a:lnTo>
                      <a:pt x="1208" y="1539"/>
                    </a:lnTo>
                    <a:lnTo>
                      <a:pt x="1207" y="1539"/>
                    </a:lnTo>
                    <a:lnTo>
                      <a:pt x="1207" y="1538"/>
                    </a:lnTo>
                    <a:lnTo>
                      <a:pt x="1208" y="1539"/>
                    </a:lnTo>
                    <a:close/>
                    <a:moveTo>
                      <a:pt x="1222" y="1556"/>
                    </a:moveTo>
                    <a:lnTo>
                      <a:pt x="1225" y="1556"/>
                    </a:lnTo>
                    <a:lnTo>
                      <a:pt x="1225" y="1560"/>
                    </a:lnTo>
                    <a:lnTo>
                      <a:pt x="1222" y="1560"/>
                    </a:lnTo>
                    <a:lnTo>
                      <a:pt x="1222" y="1556"/>
                    </a:lnTo>
                    <a:close/>
                    <a:moveTo>
                      <a:pt x="1186" y="1526"/>
                    </a:moveTo>
                    <a:lnTo>
                      <a:pt x="1188" y="1526"/>
                    </a:lnTo>
                    <a:lnTo>
                      <a:pt x="1188" y="1529"/>
                    </a:lnTo>
                    <a:lnTo>
                      <a:pt x="1186" y="1529"/>
                    </a:lnTo>
                    <a:lnTo>
                      <a:pt x="1186" y="1526"/>
                    </a:lnTo>
                    <a:close/>
                    <a:moveTo>
                      <a:pt x="1259" y="1597"/>
                    </a:moveTo>
                    <a:lnTo>
                      <a:pt x="1261" y="1597"/>
                    </a:lnTo>
                    <a:lnTo>
                      <a:pt x="1261" y="1600"/>
                    </a:lnTo>
                    <a:lnTo>
                      <a:pt x="1259" y="1600"/>
                    </a:lnTo>
                    <a:lnTo>
                      <a:pt x="1259" y="1597"/>
                    </a:lnTo>
                    <a:close/>
                    <a:moveTo>
                      <a:pt x="1321" y="1631"/>
                    </a:moveTo>
                    <a:lnTo>
                      <a:pt x="1322" y="1631"/>
                    </a:lnTo>
                    <a:lnTo>
                      <a:pt x="1322" y="1633"/>
                    </a:lnTo>
                    <a:lnTo>
                      <a:pt x="1321" y="1633"/>
                    </a:lnTo>
                    <a:lnTo>
                      <a:pt x="1321" y="1631"/>
                    </a:lnTo>
                    <a:close/>
                    <a:moveTo>
                      <a:pt x="1207" y="1539"/>
                    </a:moveTo>
                    <a:lnTo>
                      <a:pt x="1208" y="1539"/>
                    </a:lnTo>
                    <a:lnTo>
                      <a:pt x="1208" y="1541"/>
                    </a:lnTo>
                    <a:lnTo>
                      <a:pt x="1207" y="1541"/>
                    </a:lnTo>
                    <a:lnTo>
                      <a:pt x="1207" y="1539"/>
                    </a:lnTo>
                    <a:close/>
                    <a:moveTo>
                      <a:pt x="1188" y="1208"/>
                    </a:moveTo>
                    <a:lnTo>
                      <a:pt x="1191" y="1208"/>
                    </a:lnTo>
                    <a:lnTo>
                      <a:pt x="1191" y="1211"/>
                    </a:lnTo>
                    <a:lnTo>
                      <a:pt x="1188" y="1211"/>
                    </a:lnTo>
                    <a:lnTo>
                      <a:pt x="1188" y="1208"/>
                    </a:lnTo>
                    <a:close/>
                    <a:moveTo>
                      <a:pt x="1151" y="1327"/>
                    </a:moveTo>
                    <a:lnTo>
                      <a:pt x="1152" y="1327"/>
                    </a:lnTo>
                    <a:lnTo>
                      <a:pt x="1152" y="1330"/>
                    </a:lnTo>
                    <a:lnTo>
                      <a:pt x="1151" y="1330"/>
                    </a:lnTo>
                    <a:lnTo>
                      <a:pt x="1151" y="1327"/>
                    </a:lnTo>
                    <a:close/>
                    <a:moveTo>
                      <a:pt x="1179" y="1444"/>
                    </a:moveTo>
                    <a:lnTo>
                      <a:pt x="1181" y="1444"/>
                    </a:lnTo>
                    <a:lnTo>
                      <a:pt x="1181" y="1446"/>
                    </a:lnTo>
                    <a:lnTo>
                      <a:pt x="1179" y="1446"/>
                    </a:lnTo>
                    <a:lnTo>
                      <a:pt x="1178" y="1444"/>
                    </a:lnTo>
                    <a:lnTo>
                      <a:pt x="1179" y="1444"/>
                    </a:lnTo>
                    <a:close/>
                    <a:moveTo>
                      <a:pt x="1178" y="1480"/>
                    </a:moveTo>
                    <a:lnTo>
                      <a:pt x="1181" y="1480"/>
                    </a:lnTo>
                    <a:lnTo>
                      <a:pt x="1181" y="1483"/>
                    </a:lnTo>
                    <a:lnTo>
                      <a:pt x="1178" y="1483"/>
                    </a:lnTo>
                    <a:lnTo>
                      <a:pt x="1178" y="1480"/>
                    </a:lnTo>
                    <a:close/>
                    <a:moveTo>
                      <a:pt x="1213" y="1104"/>
                    </a:moveTo>
                    <a:lnTo>
                      <a:pt x="1215" y="1104"/>
                    </a:lnTo>
                    <a:lnTo>
                      <a:pt x="1215" y="1107"/>
                    </a:lnTo>
                    <a:lnTo>
                      <a:pt x="1213" y="1107"/>
                    </a:lnTo>
                    <a:lnTo>
                      <a:pt x="1213" y="1104"/>
                    </a:lnTo>
                    <a:close/>
                    <a:moveTo>
                      <a:pt x="1202" y="1510"/>
                    </a:moveTo>
                    <a:lnTo>
                      <a:pt x="1203" y="1510"/>
                    </a:lnTo>
                    <a:lnTo>
                      <a:pt x="1203" y="1512"/>
                    </a:lnTo>
                    <a:lnTo>
                      <a:pt x="1202" y="1512"/>
                    </a:lnTo>
                    <a:lnTo>
                      <a:pt x="1202" y="1510"/>
                    </a:lnTo>
                    <a:close/>
                    <a:moveTo>
                      <a:pt x="1212" y="990"/>
                    </a:moveTo>
                    <a:lnTo>
                      <a:pt x="1213" y="990"/>
                    </a:lnTo>
                    <a:lnTo>
                      <a:pt x="1213" y="992"/>
                    </a:lnTo>
                    <a:lnTo>
                      <a:pt x="1212" y="992"/>
                    </a:lnTo>
                    <a:lnTo>
                      <a:pt x="1212" y="990"/>
                    </a:lnTo>
                    <a:close/>
                    <a:moveTo>
                      <a:pt x="1254" y="1493"/>
                    </a:moveTo>
                    <a:lnTo>
                      <a:pt x="1256" y="1493"/>
                    </a:lnTo>
                    <a:lnTo>
                      <a:pt x="1256" y="1497"/>
                    </a:lnTo>
                    <a:lnTo>
                      <a:pt x="1254" y="1497"/>
                    </a:lnTo>
                    <a:lnTo>
                      <a:pt x="1254" y="1493"/>
                    </a:lnTo>
                    <a:close/>
                    <a:moveTo>
                      <a:pt x="1222" y="990"/>
                    </a:moveTo>
                    <a:lnTo>
                      <a:pt x="1224" y="990"/>
                    </a:lnTo>
                    <a:lnTo>
                      <a:pt x="1224" y="993"/>
                    </a:lnTo>
                    <a:lnTo>
                      <a:pt x="1222" y="993"/>
                    </a:lnTo>
                    <a:lnTo>
                      <a:pt x="1222" y="990"/>
                    </a:lnTo>
                    <a:close/>
                    <a:moveTo>
                      <a:pt x="1382" y="1640"/>
                    </a:moveTo>
                    <a:lnTo>
                      <a:pt x="1385" y="1640"/>
                    </a:lnTo>
                    <a:lnTo>
                      <a:pt x="1385" y="1641"/>
                    </a:lnTo>
                    <a:lnTo>
                      <a:pt x="1382" y="1641"/>
                    </a:lnTo>
                    <a:lnTo>
                      <a:pt x="1382" y="1640"/>
                    </a:lnTo>
                    <a:close/>
                    <a:moveTo>
                      <a:pt x="1181" y="1492"/>
                    </a:moveTo>
                    <a:lnTo>
                      <a:pt x="1185" y="1492"/>
                    </a:lnTo>
                    <a:lnTo>
                      <a:pt x="1185" y="1493"/>
                    </a:lnTo>
                    <a:lnTo>
                      <a:pt x="1181" y="1493"/>
                    </a:lnTo>
                    <a:lnTo>
                      <a:pt x="1181" y="1492"/>
                    </a:lnTo>
                    <a:close/>
                    <a:moveTo>
                      <a:pt x="1217" y="1538"/>
                    </a:moveTo>
                    <a:lnTo>
                      <a:pt x="1220" y="1538"/>
                    </a:lnTo>
                    <a:lnTo>
                      <a:pt x="1220" y="1539"/>
                    </a:lnTo>
                    <a:lnTo>
                      <a:pt x="1217" y="1539"/>
                    </a:lnTo>
                    <a:lnTo>
                      <a:pt x="1217" y="1538"/>
                    </a:lnTo>
                    <a:close/>
                    <a:moveTo>
                      <a:pt x="1219" y="1566"/>
                    </a:moveTo>
                    <a:lnTo>
                      <a:pt x="1220" y="1566"/>
                    </a:lnTo>
                    <a:lnTo>
                      <a:pt x="1220" y="1568"/>
                    </a:lnTo>
                    <a:lnTo>
                      <a:pt x="1219" y="1568"/>
                    </a:lnTo>
                    <a:lnTo>
                      <a:pt x="1219" y="1566"/>
                    </a:lnTo>
                    <a:close/>
                    <a:moveTo>
                      <a:pt x="1200" y="1073"/>
                    </a:moveTo>
                    <a:lnTo>
                      <a:pt x="1202" y="1073"/>
                    </a:lnTo>
                    <a:lnTo>
                      <a:pt x="1202" y="1077"/>
                    </a:lnTo>
                    <a:lnTo>
                      <a:pt x="1200" y="1077"/>
                    </a:lnTo>
                    <a:lnTo>
                      <a:pt x="1200" y="1073"/>
                    </a:lnTo>
                    <a:close/>
                    <a:moveTo>
                      <a:pt x="1176" y="1439"/>
                    </a:moveTo>
                    <a:lnTo>
                      <a:pt x="1178" y="1439"/>
                    </a:lnTo>
                    <a:lnTo>
                      <a:pt x="1178" y="1441"/>
                    </a:lnTo>
                    <a:lnTo>
                      <a:pt x="1176" y="1441"/>
                    </a:lnTo>
                    <a:lnTo>
                      <a:pt x="1176" y="1439"/>
                    </a:lnTo>
                    <a:close/>
                    <a:moveTo>
                      <a:pt x="1336" y="1653"/>
                    </a:moveTo>
                    <a:lnTo>
                      <a:pt x="1339" y="1653"/>
                    </a:lnTo>
                    <a:lnTo>
                      <a:pt x="1339" y="1655"/>
                    </a:lnTo>
                    <a:lnTo>
                      <a:pt x="1336" y="1655"/>
                    </a:lnTo>
                    <a:lnTo>
                      <a:pt x="1336" y="1653"/>
                    </a:lnTo>
                    <a:close/>
                    <a:moveTo>
                      <a:pt x="1147" y="1330"/>
                    </a:moveTo>
                    <a:lnTo>
                      <a:pt x="1149" y="1330"/>
                    </a:lnTo>
                    <a:lnTo>
                      <a:pt x="1149" y="1332"/>
                    </a:lnTo>
                    <a:lnTo>
                      <a:pt x="1147" y="1332"/>
                    </a:lnTo>
                    <a:lnTo>
                      <a:pt x="1147" y="1330"/>
                    </a:lnTo>
                    <a:close/>
                    <a:moveTo>
                      <a:pt x="1205" y="1551"/>
                    </a:moveTo>
                    <a:lnTo>
                      <a:pt x="1207" y="1551"/>
                    </a:lnTo>
                    <a:lnTo>
                      <a:pt x="1207" y="1553"/>
                    </a:lnTo>
                    <a:lnTo>
                      <a:pt x="1205" y="1553"/>
                    </a:lnTo>
                    <a:lnTo>
                      <a:pt x="1205" y="1551"/>
                    </a:lnTo>
                    <a:close/>
                    <a:moveTo>
                      <a:pt x="1186" y="1534"/>
                    </a:moveTo>
                    <a:lnTo>
                      <a:pt x="1188" y="1534"/>
                    </a:lnTo>
                    <a:lnTo>
                      <a:pt x="1188" y="1536"/>
                    </a:lnTo>
                    <a:lnTo>
                      <a:pt x="1186" y="1536"/>
                    </a:lnTo>
                    <a:lnTo>
                      <a:pt x="1186" y="1534"/>
                    </a:lnTo>
                    <a:close/>
                    <a:moveTo>
                      <a:pt x="1169" y="1437"/>
                    </a:moveTo>
                    <a:lnTo>
                      <a:pt x="1173" y="1437"/>
                    </a:lnTo>
                    <a:lnTo>
                      <a:pt x="1173" y="1439"/>
                    </a:lnTo>
                    <a:lnTo>
                      <a:pt x="1169" y="1439"/>
                    </a:lnTo>
                    <a:lnTo>
                      <a:pt x="1169" y="1437"/>
                    </a:lnTo>
                    <a:close/>
                    <a:moveTo>
                      <a:pt x="1202" y="1066"/>
                    </a:moveTo>
                    <a:lnTo>
                      <a:pt x="1203" y="1066"/>
                    </a:lnTo>
                    <a:lnTo>
                      <a:pt x="1203" y="1068"/>
                    </a:lnTo>
                    <a:lnTo>
                      <a:pt x="1202" y="1068"/>
                    </a:lnTo>
                    <a:lnTo>
                      <a:pt x="1202" y="1066"/>
                    </a:lnTo>
                    <a:close/>
                    <a:moveTo>
                      <a:pt x="1264" y="1595"/>
                    </a:moveTo>
                    <a:lnTo>
                      <a:pt x="1268" y="1595"/>
                    </a:lnTo>
                    <a:lnTo>
                      <a:pt x="1268" y="1597"/>
                    </a:lnTo>
                    <a:lnTo>
                      <a:pt x="1264" y="1597"/>
                    </a:lnTo>
                    <a:lnTo>
                      <a:pt x="1264" y="1595"/>
                    </a:lnTo>
                    <a:close/>
                    <a:moveTo>
                      <a:pt x="1220" y="1543"/>
                    </a:moveTo>
                    <a:lnTo>
                      <a:pt x="1222" y="1543"/>
                    </a:lnTo>
                    <a:lnTo>
                      <a:pt x="1222" y="1544"/>
                    </a:lnTo>
                    <a:lnTo>
                      <a:pt x="1220" y="1544"/>
                    </a:lnTo>
                    <a:lnTo>
                      <a:pt x="1220" y="1543"/>
                    </a:lnTo>
                    <a:close/>
                    <a:moveTo>
                      <a:pt x="1191" y="1060"/>
                    </a:moveTo>
                    <a:lnTo>
                      <a:pt x="1195" y="1060"/>
                    </a:lnTo>
                    <a:lnTo>
                      <a:pt x="1195" y="1061"/>
                    </a:lnTo>
                    <a:lnTo>
                      <a:pt x="1191" y="1061"/>
                    </a:lnTo>
                    <a:lnTo>
                      <a:pt x="1191" y="1060"/>
                    </a:lnTo>
                    <a:close/>
                    <a:moveTo>
                      <a:pt x="1179" y="1422"/>
                    </a:moveTo>
                    <a:lnTo>
                      <a:pt x="1181" y="1422"/>
                    </a:lnTo>
                    <a:lnTo>
                      <a:pt x="1181" y="1424"/>
                    </a:lnTo>
                    <a:lnTo>
                      <a:pt x="1179" y="1424"/>
                    </a:lnTo>
                    <a:lnTo>
                      <a:pt x="1179" y="1422"/>
                    </a:lnTo>
                    <a:close/>
                    <a:moveTo>
                      <a:pt x="1183" y="1463"/>
                    </a:moveTo>
                    <a:lnTo>
                      <a:pt x="1185" y="1463"/>
                    </a:lnTo>
                    <a:lnTo>
                      <a:pt x="1185" y="1464"/>
                    </a:lnTo>
                    <a:lnTo>
                      <a:pt x="1183" y="1464"/>
                    </a:lnTo>
                    <a:lnTo>
                      <a:pt x="1183" y="1463"/>
                    </a:lnTo>
                    <a:close/>
                    <a:moveTo>
                      <a:pt x="1397" y="1663"/>
                    </a:moveTo>
                    <a:lnTo>
                      <a:pt x="1400" y="1663"/>
                    </a:lnTo>
                    <a:lnTo>
                      <a:pt x="1400" y="1665"/>
                    </a:lnTo>
                    <a:lnTo>
                      <a:pt x="1397" y="1665"/>
                    </a:lnTo>
                    <a:lnTo>
                      <a:pt x="1397" y="1663"/>
                    </a:lnTo>
                    <a:close/>
                    <a:moveTo>
                      <a:pt x="1190" y="1413"/>
                    </a:moveTo>
                    <a:lnTo>
                      <a:pt x="1191" y="1413"/>
                    </a:lnTo>
                    <a:lnTo>
                      <a:pt x="1191" y="1417"/>
                    </a:lnTo>
                    <a:lnTo>
                      <a:pt x="1190" y="1417"/>
                    </a:lnTo>
                    <a:lnTo>
                      <a:pt x="1190" y="1413"/>
                    </a:lnTo>
                    <a:close/>
                    <a:moveTo>
                      <a:pt x="1208" y="1449"/>
                    </a:moveTo>
                    <a:lnTo>
                      <a:pt x="1210" y="1449"/>
                    </a:lnTo>
                    <a:lnTo>
                      <a:pt x="1210" y="1451"/>
                    </a:lnTo>
                    <a:lnTo>
                      <a:pt x="1208" y="1451"/>
                    </a:lnTo>
                    <a:lnTo>
                      <a:pt x="1208" y="1449"/>
                    </a:lnTo>
                    <a:close/>
                    <a:moveTo>
                      <a:pt x="1222" y="976"/>
                    </a:moveTo>
                    <a:lnTo>
                      <a:pt x="1224" y="976"/>
                    </a:lnTo>
                    <a:lnTo>
                      <a:pt x="1224" y="980"/>
                    </a:lnTo>
                    <a:lnTo>
                      <a:pt x="1222" y="980"/>
                    </a:lnTo>
                    <a:lnTo>
                      <a:pt x="1222" y="976"/>
                    </a:lnTo>
                    <a:close/>
                    <a:moveTo>
                      <a:pt x="1346" y="1662"/>
                    </a:moveTo>
                    <a:lnTo>
                      <a:pt x="1348" y="1662"/>
                    </a:lnTo>
                    <a:lnTo>
                      <a:pt x="1348" y="1663"/>
                    </a:lnTo>
                    <a:lnTo>
                      <a:pt x="1346" y="1663"/>
                    </a:lnTo>
                    <a:lnTo>
                      <a:pt x="1346" y="1662"/>
                    </a:lnTo>
                    <a:close/>
                    <a:moveTo>
                      <a:pt x="1210" y="1063"/>
                    </a:moveTo>
                    <a:lnTo>
                      <a:pt x="1212" y="1063"/>
                    </a:lnTo>
                    <a:lnTo>
                      <a:pt x="1212" y="1065"/>
                    </a:lnTo>
                    <a:lnTo>
                      <a:pt x="1210" y="1065"/>
                    </a:lnTo>
                    <a:lnTo>
                      <a:pt x="1210" y="1063"/>
                    </a:lnTo>
                    <a:close/>
                    <a:moveTo>
                      <a:pt x="1161" y="1349"/>
                    </a:moveTo>
                    <a:lnTo>
                      <a:pt x="1162" y="1349"/>
                    </a:lnTo>
                    <a:lnTo>
                      <a:pt x="1162" y="1350"/>
                    </a:lnTo>
                    <a:lnTo>
                      <a:pt x="1161" y="1350"/>
                    </a:lnTo>
                    <a:lnTo>
                      <a:pt x="1161" y="1349"/>
                    </a:lnTo>
                    <a:close/>
                    <a:moveTo>
                      <a:pt x="1207" y="1529"/>
                    </a:moveTo>
                    <a:lnTo>
                      <a:pt x="1210" y="1529"/>
                    </a:lnTo>
                    <a:lnTo>
                      <a:pt x="1210" y="1532"/>
                    </a:lnTo>
                    <a:lnTo>
                      <a:pt x="1207" y="1532"/>
                    </a:lnTo>
                    <a:lnTo>
                      <a:pt x="1207" y="1529"/>
                    </a:lnTo>
                    <a:close/>
                    <a:moveTo>
                      <a:pt x="1205" y="1541"/>
                    </a:moveTo>
                    <a:lnTo>
                      <a:pt x="1207" y="1541"/>
                    </a:lnTo>
                    <a:lnTo>
                      <a:pt x="1207" y="1543"/>
                    </a:lnTo>
                    <a:lnTo>
                      <a:pt x="1205" y="1543"/>
                    </a:lnTo>
                    <a:lnTo>
                      <a:pt x="1205" y="1541"/>
                    </a:lnTo>
                    <a:close/>
                    <a:moveTo>
                      <a:pt x="1152" y="1257"/>
                    </a:moveTo>
                    <a:lnTo>
                      <a:pt x="1156" y="1257"/>
                    </a:lnTo>
                    <a:lnTo>
                      <a:pt x="1156" y="1259"/>
                    </a:lnTo>
                    <a:lnTo>
                      <a:pt x="1152" y="1259"/>
                    </a:lnTo>
                    <a:lnTo>
                      <a:pt x="1152" y="1257"/>
                    </a:lnTo>
                    <a:close/>
                    <a:moveTo>
                      <a:pt x="1152" y="1310"/>
                    </a:moveTo>
                    <a:lnTo>
                      <a:pt x="1154" y="1310"/>
                    </a:lnTo>
                    <a:lnTo>
                      <a:pt x="1154" y="1311"/>
                    </a:lnTo>
                    <a:lnTo>
                      <a:pt x="1152" y="1311"/>
                    </a:lnTo>
                    <a:lnTo>
                      <a:pt x="1152" y="1310"/>
                    </a:lnTo>
                    <a:close/>
                    <a:moveTo>
                      <a:pt x="1174" y="1478"/>
                    </a:moveTo>
                    <a:lnTo>
                      <a:pt x="1178" y="1478"/>
                    </a:lnTo>
                    <a:lnTo>
                      <a:pt x="1178" y="1481"/>
                    </a:lnTo>
                    <a:lnTo>
                      <a:pt x="1174" y="1481"/>
                    </a:lnTo>
                    <a:lnTo>
                      <a:pt x="1174" y="1478"/>
                    </a:lnTo>
                    <a:close/>
                    <a:moveTo>
                      <a:pt x="1164" y="1332"/>
                    </a:moveTo>
                    <a:lnTo>
                      <a:pt x="1166" y="1332"/>
                    </a:lnTo>
                    <a:lnTo>
                      <a:pt x="1166" y="1335"/>
                    </a:lnTo>
                    <a:lnTo>
                      <a:pt x="1164" y="1335"/>
                    </a:lnTo>
                    <a:lnTo>
                      <a:pt x="1164" y="1332"/>
                    </a:lnTo>
                    <a:close/>
                    <a:moveTo>
                      <a:pt x="1220" y="986"/>
                    </a:moveTo>
                    <a:lnTo>
                      <a:pt x="1222" y="986"/>
                    </a:lnTo>
                    <a:lnTo>
                      <a:pt x="1222" y="988"/>
                    </a:lnTo>
                    <a:lnTo>
                      <a:pt x="1220" y="988"/>
                    </a:lnTo>
                    <a:lnTo>
                      <a:pt x="1220" y="986"/>
                    </a:lnTo>
                    <a:close/>
                    <a:moveTo>
                      <a:pt x="1166" y="1383"/>
                    </a:moveTo>
                    <a:lnTo>
                      <a:pt x="1168" y="1383"/>
                    </a:lnTo>
                    <a:lnTo>
                      <a:pt x="1168" y="1384"/>
                    </a:lnTo>
                    <a:lnTo>
                      <a:pt x="1166" y="1384"/>
                    </a:lnTo>
                    <a:lnTo>
                      <a:pt x="1166" y="1383"/>
                    </a:lnTo>
                    <a:close/>
                    <a:moveTo>
                      <a:pt x="1173" y="1245"/>
                    </a:moveTo>
                    <a:lnTo>
                      <a:pt x="1174" y="1245"/>
                    </a:lnTo>
                    <a:lnTo>
                      <a:pt x="1174" y="1248"/>
                    </a:lnTo>
                    <a:lnTo>
                      <a:pt x="1173" y="1248"/>
                    </a:lnTo>
                    <a:lnTo>
                      <a:pt x="1173" y="1245"/>
                    </a:lnTo>
                    <a:close/>
                    <a:moveTo>
                      <a:pt x="1185" y="1099"/>
                    </a:moveTo>
                    <a:lnTo>
                      <a:pt x="1186" y="1099"/>
                    </a:lnTo>
                    <a:lnTo>
                      <a:pt x="1186" y="1100"/>
                    </a:lnTo>
                    <a:lnTo>
                      <a:pt x="1185" y="1100"/>
                    </a:lnTo>
                    <a:lnTo>
                      <a:pt x="1185" y="1099"/>
                    </a:lnTo>
                    <a:close/>
                    <a:moveTo>
                      <a:pt x="1215" y="981"/>
                    </a:moveTo>
                    <a:lnTo>
                      <a:pt x="1217" y="981"/>
                    </a:lnTo>
                    <a:lnTo>
                      <a:pt x="1217" y="983"/>
                    </a:lnTo>
                    <a:lnTo>
                      <a:pt x="1215" y="983"/>
                    </a:lnTo>
                    <a:lnTo>
                      <a:pt x="1215" y="981"/>
                    </a:lnTo>
                    <a:close/>
                    <a:moveTo>
                      <a:pt x="1154" y="1354"/>
                    </a:moveTo>
                    <a:lnTo>
                      <a:pt x="1154" y="1357"/>
                    </a:lnTo>
                    <a:lnTo>
                      <a:pt x="1154" y="1354"/>
                    </a:lnTo>
                    <a:close/>
                    <a:moveTo>
                      <a:pt x="1276" y="1595"/>
                    </a:moveTo>
                    <a:lnTo>
                      <a:pt x="1280" y="1595"/>
                    </a:lnTo>
                    <a:lnTo>
                      <a:pt x="1280" y="1597"/>
                    </a:lnTo>
                    <a:lnTo>
                      <a:pt x="1276" y="1597"/>
                    </a:lnTo>
                    <a:lnTo>
                      <a:pt x="1276" y="1595"/>
                    </a:lnTo>
                    <a:close/>
                    <a:moveTo>
                      <a:pt x="1190" y="1066"/>
                    </a:moveTo>
                    <a:lnTo>
                      <a:pt x="1191" y="1066"/>
                    </a:lnTo>
                    <a:lnTo>
                      <a:pt x="1190" y="1066"/>
                    </a:lnTo>
                    <a:close/>
                    <a:moveTo>
                      <a:pt x="1292" y="1616"/>
                    </a:moveTo>
                    <a:lnTo>
                      <a:pt x="1293" y="1616"/>
                    </a:lnTo>
                    <a:lnTo>
                      <a:pt x="1293" y="1618"/>
                    </a:lnTo>
                    <a:lnTo>
                      <a:pt x="1292" y="1618"/>
                    </a:lnTo>
                    <a:lnTo>
                      <a:pt x="1292" y="1616"/>
                    </a:lnTo>
                    <a:close/>
                    <a:moveTo>
                      <a:pt x="1149" y="1311"/>
                    </a:moveTo>
                    <a:lnTo>
                      <a:pt x="1151" y="1311"/>
                    </a:lnTo>
                    <a:lnTo>
                      <a:pt x="1151" y="1313"/>
                    </a:lnTo>
                    <a:lnTo>
                      <a:pt x="1149" y="1313"/>
                    </a:lnTo>
                    <a:lnTo>
                      <a:pt x="1149" y="1311"/>
                    </a:lnTo>
                    <a:close/>
                    <a:moveTo>
                      <a:pt x="1203" y="1429"/>
                    </a:moveTo>
                    <a:lnTo>
                      <a:pt x="1205" y="1429"/>
                    </a:lnTo>
                    <a:lnTo>
                      <a:pt x="1205" y="1430"/>
                    </a:lnTo>
                    <a:lnTo>
                      <a:pt x="1203" y="1430"/>
                    </a:lnTo>
                    <a:lnTo>
                      <a:pt x="1203" y="1429"/>
                    </a:lnTo>
                    <a:close/>
                    <a:moveTo>
                      <a:pt x="1246" y="1582"/>
                    </a:moveTo>
                    <a:lnTo>
                      <a:pt x="1247" y="1582"/>
                    </a:lnTo>
                    <a:lnTo>
                      <a:pt x="1247" y="1583"/>
                    </a:lnTo>
                    <a:lnTo>
                      <a:pt x="1246" y="1583"/>
                    </a:lnTo>
                    <a:lnTo>
                      <a:pt x="1246" y="1582"/>
                    </a:lnTo>
                    <a:close/>
                    <a:moveTo>
                      <a:pt x="1149" y="1342"/>
                    </a:moveTo>
                    <a:lnTo>
                      <a:pt x="1151" y="1342"/>
                    </a:lnTo>
                    <a:lnTo>
                      <a:pt x="1151" y="1345"/>
                    </a:lnTo>
                    <a:lnTo>
                      <a:pt x="1149" y="1345"/>
                    </a:lnTo>
                    <a:lnTo>
                      <a:pt x="1149" y="1342"/>
                    </a:lnTo>
                    <a:close/>
                    <a:moveTo>
                      <a:pt x="1203" y="1104"/>
                    </a:moveTo>
                    <a:lnTo>
                      <a:pt x="1205" y="1104"/>
                    </a:lnTo>
                    <a:lnTo>
                      <a:pt x="1205" y="1105"/>
                    </a:lnTo>
                    <a:lnTo>
                      <a:pt x="1203" y="1105"/>
                    </a:lnTo>
                    <a:lnTo>
                      <a:pt x="1203" y="1104"/>
                    </a:lnTo>
                    <a:close/>
                    <a:moveTo>
                      <a:pt x="1213" y="1107"/>
                    </a:moveTo>
                    <a:lnTo>
                      <a:pt x="1215" y="1107"/>
                    </a:lnTo>
                    <a:lnTo>
                      <a:pt x="1215" y="1109"/>
                    </a:lnTo>
                    <a:lnTo>
                      <a:pt x="1213" y="1109"/>
                    </a:lnTo>
                    <a:lnTo>
                      <a:pt x="1213" y="1107"/>
                    </a:lnTo>
                    <a:close/>
                    <a:moveTo>
                      <a:pt x="1183" y="1194"/>
                    </a:moveTo>
                    <a:lnTo>
                      <a:pt x="1185" y="1194"/>
                    </a:lnTo>
                    <a:lnTo>
                      <a:pt x="1185" y="1196"/>
                    </a:lnTo>
                    <a:lnTo>
                      <a:pt x="1183" y="1196"/>
                    </a:lnTo>
                    <a:lnTo>
                      <a:pt x="1183" y="1194"/>
                    </a:lnTo>
                    <a:close/>
                    <a:moveTo>
                      <a:pt x="1368" y="1662"/>
                    </a:moveTo>
                    <a:lnTo>
                      <a:pt x="1370" y="1662"/>
                    </a:lnTo>
                    <a:lnTo>
                      <a:pt x="1370" y="1663"/>
                    </a:lnTo>
                    <a:lnTo>
                      <a:pt x="1368" y="1663"/>
                    </a:lnTo>
                    <a:lnTo>
                      <a:pt x="1368" y="1662"/>
                    </a:lnTo>
                    <a:close/>
                    <a:moveTo>
                      <a:pt x="1329" y="1626"/>
                    </a:moveTo>
                    <a:lnTo>
                      <a:pt x="1331" y="1626"/>
                    </a:lnTo>
                    <a:lnTo>
                      <a:pt x="1329" y="1626"/>
                    </a:lnTo>
                    <a:lnTo>
                      <a:pt x="1331" y="1626"/>
                    </a:lnTo>
                    <a:lnTo>
                      <a:pt x="1329" y="1626"/>
                    </a:lnTo>
                    <a:lnTo>
                      <a:pt x="1327" y="1626"/>
                    </a:lnTo>
                    <a:lnTo>
                      <a:pt x="1329" y="1626"/>
                    </a:lnTo>
                    <a:close/>
                    <a:moveTo>
                      <a:pt x="1219" y="992"/>
                    </a:moveTo>
                    <a:lnTo>
                      <a:pt x="1222" y="992"/>
                    </a:lnTo>
                    <a:lnTo>
                      <a:pt x="1222" y="993"/>
                    </a:lnTo>
                    <a:lnTo>
                      <a:pt x="1219" y="993"/>
                    </a:lnTo>
                    <a:lnTo>
                      <a:pt x="1219" y="992"/>
                    </a:lnTo>
                    <a:close/>
                    <a:moveTo>
                      <a:pt x="1169" y="1388"/>
                    </a:moveTo>
                    <a:lnTo>
                      <a:pt x="1171" y="1388"/>
                    </a:lnTo>
                    <a:lnTo>
                      <a:pt x="1171" y="1390"/>
                    </a:lnTo>
                    <a:lnTo>
                      <a:pt x="1169" y="1390"/>
                    </a:lnTo>
                    <a:lnTo>
                      <a:pt x="1169" y="1388"/>
                    </a:lnTo>
                    <a:close/>
                    <a:moveTo>
                      <a:pt x="1185" y="1476"/>
                    </a:moveTo>
                    <a:lnTo>
                      <a:pt x="1186" y="1476"/>
                    </a:lnTo>
                    <a:lnTo>
                      <a:pt x="1186" y="1478"/>
                    </a:lnTo>
                    <a:lnTo>
                      <a:pt x="1185" y="1478"/>
                    </a:lnTo>
                    <a:lnTo>
                      <a:pt x="1185" y="1476"/>
                    </a:lnTo>
                    <a:close/>
                    <a:moveTo>
                      <a:pt x="1220" y="1058"/>
                    </a:moveTo>
                    <a:lnTo>
                      <a:pt x="1222" y="1058"/>
                    </a:lnTo>
                    <a:lnTo>
                      <a:pt x="1222" y="1060"/>
                    </a:lnTo>
                    <a:lnTo>
                      <a:pt x="1220" y="1060"/>
                    </a:lnTo>
                    <a:lnTo>
                      <a:pt x="1220" y="1058"/>
                    </a:lnTo>
                    <a:close/>
                    <a:moveTo>
                      <a:pt x="1186" y="1476"/>
                    </a:moveTo>
                    <a:lnTo>
                      <a:pt x="1190" y="1476"/>
                    </a:lnTo>
                    <a:lnTo>
                      <a:pt x="1190" y="1478"/>
                    </a:lnTo>
                    <a:lnTo>
                      <a:pt x="1186" y="1478"/>
                    </a:lnTo>
                    <a:lnTo>
                      <a:pt x="1186" y="1476"/>
                    </a:lnTo>
                    <a:close/>
                    <a:moveTo>
                      <a:pt x="1334" y="1653"/>
                    </a:moveTo>
                    <a:lnTo>
                      <a:pt x="1334" y="1657"/>
                    </a:lnTo>
                    <a:lnTo>
                      <a:pt x="1334" y="1653"/>
                    </a:lnTo>
                    <a:close/>
                    <a:moveTo>
                      <a:pt x="1200" y="1141"/>
                    </a:moveTo>
                    <a:lnTo>
                      <a:pt x="1202" y="1141"/>
                    </a:lnTo>
                    <a:lnTo>
                      <a:pt x="1202" y="1143"/>
                    </a:lnTo>
                    <a:lnTo>
                      <a:pt x="1200" y="1143"/>
                    </a:lnTo>
                    <a:lnTo>
                      <a:pt x="1200" y="1141"/>
                    </a:lnTo>
                    <a:close/>
                    <a:moveTo>
                      <a:pt x="1140" y="1306"/>
                    </a:moveTo>
                    <a:lnTo>
                      <a:pt x="1142" y="1306"/>
                    </a:lnTo>
                    <a:lnTo>
                      <a:pt x="1142" y="1310"/>
                    </a:lnTo>
                    <a:lnTo>
                      <a:pt x="1140" y="1310"/>
                    </a:lnTo>
                    <a:lnTo>
                      <a:pt x="1140" y="1306"/>
                    </a:lnTo>
                    <a:close/>
                    <a:moveTo>
                      <a:pt x="1190" y="1524"/>
                    </a:moveTo>
                    <a:lnTo>
                      <a:pt x="1191" y="1524"/>
                    </a:lnTo>
                    <a:lnTo>
                      <a:pt x="1191" y="1526"/>
                    </a:lnTo>
                    <a:lnTo>
                      <a:pt x="1190" y="1526"/>
                    </a:lnTo>
                    <a:lnTo>
                      <a:pt x="1190" y="1524"/>
                    </a:lnTo>
                    <a:close/>
                    <a:moveTo>
                      <a:pt x="1200" y="1060"/>
                    </a:moveTo>
                    <a:lnTo>
                      <a:pt x="1202" y="1060"/>
                    </a:lnTo>
                    <a:lnTo>
                      <a:pt x="1202" y="1061"/>
                    </a:lnTo>
                    <a:lnTo>
                      <a:pt x="1200" y="1061"/>
                    </a:lnTo>
                    <a:lnTo>
                      <a:pt x="1200" y="1060"/>
                    </a:lnTo>
                    <a:close/>
                    <a:moveTo>
                      <a:pt x="1161" y="1298"/>
                    </a:moveTo>
                    <a:lnTo>
                      <a:pt x="1162" y="1298"/>
                    </a:lnTo>
                    <a:lnTo>
                      <a:pt x="1162" y="1299"/>
                    </a:lnTo>
                    <a:lnTo>
                      <a:pt x="1161" y="1299"/>
                    </a:lnTo>
                    <a:lnTo>
                      <a:pt x="1161" y="1298"/>
                    </a:lnTo>
                    <a:close/>
                    <a:moveTo>
                      <a:pt x="1207" y="1492"/>
                    </a:moveTo>
                    <a:lnTo>
                      <a:pt x="1208" y="1492"/>
                    </a:lnTo>
                    <a:lnTo>
                      <a:pt x="1208" y="1493"/>
                    </a:lnTo>
                    <a:lnTo>
                      <a:pt x="1207" y="1493"/>
                    </a:lnTo>
                    <a:lnTo>
                      <a:pt x="1207" y="1492"/>
                    </a:lnTo>
                    <a:close/>
                    <a:moveTo>
                      <a:pt x="1416" y="1680"/>
                    </a:moveTo>
                    <a:lnTo>
                      <a:pt x="1417" y="1680"/>
                    </a:lnTo>
                    <a:lnTo>
                      <a:pt x="1417" y="1682"/>
                    </a:lnTo>
                    <a:lnTo>
                      <a:pt x="1416" y="1682"/>
                    </a:lnTo>
                    <a:lnTo>
                      <a:pt x="1416" y="1680"/>
                    </a:lnTo>
                    <a:close/>
                    <a:moveTo>
                      <a:pt x="1244" y="1502"/>
                    </a:moveTo>
                    <a:lnTo>
                      <a:pt x="1246" y="1502"/>
                    </a:lnTo>
                    <a:lnTo>
                      <a:pt x="1246" y="1504"/>
                    </a:lnTo>
                    <a:lnTo>
                      <a:pt x="1244" y="1504"/>
                    </a:lnTo>
                    <a:lnTo>
                      <a:pt x="1244" y="1502"/>
                    </a:lnTo>
                    <a:close/>
                    <a:moveTo>
                      <a:pt x="1193" y="1124"/>
                    </a:moveTo>
                    <a:lnTo>
                      <a:pt x="1193" y="1126"/>
                    </a:lnTo>
                    <a:lnTo>
                      <a:pt x="1193" y="1124"/>
                    </a:lnTo>
                    <a:close/>
                    <a:moveTo>
                      <a:pt x="1176" y="1117"/>
                    </a:moveTo>
                    <a:lnTo>
                      <a:pt x="1178" y="1117"/>
                    </a:lnTo>
                    <a:lnTo>
                      <a:pt x="1178" y="1119"/>
                    </a:lnTo>
                    <a:lnTo>
                      <a:pt x="1176" y="1119"/>
                    </a:lnTo>
                    <a:lnTo>
                      <a:pt x="1176" y="1117"/>
                    </a:lnTo>
                    <a:close/>
                    <a:moveTo>
                      <a:pt x="1161" y="1160"/>
                    </a:moveTo>
                    <a:lnTo>
                      <a:pt x="1162" y="1160"/>
                    </a:lnTo>
                    <a:lnTo>
                      <a:pt x="1162" y="1162"/>
                    </a:lnTo>
                    <a:lnTo>
                      <a:pt x="1161" y="1162"/>
                    </a:lnTo>
                    <a:lnTo>
                      <a:pt x="1161" y="1160"/>
                    </a:lnTo>
                    <a:close/>
                    <a:moveTo>
                      <a:pt x="1190" y="1060"/>
                    </a:moveTo>
                    <a:lnTo>
                      <a:pt x="1193" y="1060"/>
                    </a:lnTo>
                    <a:lnTo>
                      <a:pt x="1190" y="1060"/>
                    </a:lnTo>
                    <a:close/>
                    <a:moveTo>
                      <a:pt x="1162" y="1405"/>
                    </a:moveTo>
                    <a:lnTo>
                      <a:pt x="1164" y="1405"/>
                    </a:lnTo>
                    <a:lnTo>
                      <a:pt x="1164" y="1407"/>
                    </a:lnTo>
                    <a:lnTo>
                      <a:pt x="1162" y="1407"/>
                    </a:lnTo>
                    <a:lnTo>
                      <a:pt x="1162" y="1405"/>
                    </a:lnTo>
                    <a:close/>
                    <a:moveTo>
                      <a:pt x="1176" y="1470"/>
                    </a:moveTo>
                    <a:lnTo>
                      <a:pt x="1178" y="1470"/>
                    </a:lnTo>
                    <a:lnTo>
                      <a:pt x="1178" y="1471"/>
                    </a:lnTo>
                    <a:lnTo>
                      <a:pt x="1176" y="1471"/>
                    </a:lnTo>
                    <a:lnTo>
                      <a:pt x="1176" y="1470"/>
                    </a:lnTo>
                    <a:close/>
                    <a:moveTo>
                      <a:pt x="1212" y="1105"/>
                    </a:moveTo>
                    <a:lnTo>
                      <a:pt x="1213" y="1105"/>
                    </a:lnTo>
                    <a:lnTo>
                      <a:pt x="1212" y="1105"/>
                    </a:lnTo>
                    <a:close/>
                    <a:moveTo>
                      <a:pt x="1205" y="1097"/>
                    </a:moveTo>
                    <a:lnTo>
                      <a:pt x="1207" y="1097"/>
                    </a:lnTo>
                    <a:lnTo>
                      <a:pt x="1207" y="1099"/>
                    </a:lnTo>
                    <a:lnTo>
                      <a:pt x="1205" y="1099"/>
                    </a:lnTo>
                    <a:lnTo>
                      <a:pt x="1205" y="1097"/>
                    </a:lnTo>
                    <a:close/>
                    <a:moveTo>
                      <a:pt x="1241" y="1592"/>
                    </a:moveTo>
                    <a:lnTo>
                      <a:pt x="1242" y="1592"/>
                    </a:lnTo>
                    <a:lnTo>
                      <a:pt x="1242" y="1594"/>
                    </a:lnTo>
                    <a:lnTo>
                      <a:pt x="1241" y="1594"/>
                    </a:lnTo>
                    <a:lnTo>
                      <a:pt x="1241" y="1592"/>
                    </a:lnTo>
                    <a:close/>
                    <a:moveTo>
                      <a:pt x="1185" y="1461"/>
                    </a:moveTo>
                    <a:lnTo>
                      <a:pt x="1185" y="1463"/>
                    </a:lnTo>
                    <a:lnTo>
                      <a:pt x="1185" y="1461"/>
                    </a:lnTo>
                    <a:close/>
                    <a:moveTo>
                      <a:pt x="1191" y="1122"/>
                    </a:moveTo>
                    <a:lnTo>
                      <a:pt x="1193" y="1122"/>
                    </a:lnTo>
                    <a:lnTo>
                      <a:pt x="1193" y="1124"/>
                    </a:lnTo>
                    <a:lnTo>
                      <a:pt x="1191" y="1124"/>
                    </a:lnTo>
                    <a:lnTo>
                      <a:pt x="1191" y="1122"/>
                    </a:lnTo>
                    <a:close/>
                    <a:moveTo>
                      <a:pt x="1232" y="959"/>
                    </a:moveTo>
                    <a:lnTo>
                      <a:pt x="1234" y="959"/>
                    </a:lnTo>
                    <a:lnTo>
                      <a:pt x="1232" y="959"/>
                    </a:lnTo>
                    <a:close/>
                    <a:moveTo>
                      <a:pt x="1332" y="1590"/>
                    </a:moveTo>
                    <a:lnTo>
                      <a:pt x="1334" y="1590"/>
                    </a:lnTo>
                    <a:lnTo>
                      <a:pt x="1332" y="1590"/>
                    </a:lnTo>
                    <a:close/>
                    <a:moveTo>
                      <a:pt x="1179" y="1488"/>
                    </a:moveTo>
                    <a:lnTo>
                      <a:pt x="1179" y="1490"/>
                    </a:lnTo>
                    <a:lnTo>
                      <a:pt x="1179" y="1488"/>
                    </a:lnTo>
                    <a:close/>
                    <a:moveTo>
                      <a:pt x="1298" y="1621"/>
                    </a:moveTo>
                    <a:lnTo>
                      <a:pt x="1300" y="1621"/>
                    </a:lnTo>
                    <a:lnTo>
                      <a:pt x="1300" y="1624"/>
                    </a:lnTo>
                    <a:lnTo>
                      <a:pt x="1298" y="1624"/>
                    </a:lnTo>
                    <a:lnTo>
                      <a:pt x="1298" y="1621"/>
                    </a:lnTo>
                    <a:close/>
                    <a:moveTo>
                      <a:pt x="1258" y="1558"/>
                    </a:moveTo>
                    <a:lnTo>
                      <a:pt x="1259" y="1558"/>
                    </a:lnTo>
                    <a:lnTo>
                      <a:pt x="1259" y="1560"/>
                    </a:lnTo>
                    <a:lnTo>
                      <a:pt x="1258" y="1560"/>
                    </a:lnTo>
                    <a:lnTo>
                      <a:pt x="1258" y="1558"/>
                    </a:lnTo>
                    <a:close/>
                    <a:moveTo>
                      <a:pt x="1162" y="1376"/>
                    </a:moveTo>
                    <a:lnTo>
                      <a:pt x="1164" y="1376"/>
                    </a:lnTo>
                    <a:lnTo>
                      <a:pt x="1164" y="1378"/>
                    </a:lnTo>
                    <a:lnTo>
                      <a:pt x="1162" y="1378"/>
                    </a:lnTo>
                    <a:lnTo>
                      <a:pt x="1162" y="1376"/>
                    </a:lnTo>
                    <a:close/>
                    <a:moveTo>
                      <a:pt x="1210" y="1490"/>
                    </a:moveTo>
                    <a:lnTo>
                      <a:pt x="1210" y="1492"/>
                    </a:lnTo>
                    <a:lnTo>
                      <a:pt x="1210" y="1490"/>
                    </a:lnTo>
                    <a:close/>
                    <a:moveTo>
                      <a:pt x="1208" y="1553"/>
                    </a:moveTo>
                    <a:lnTo>
                      <a:pt x="1208" y="1556"/>
                    </a:lnTo>
                    <a:lnTo>
                      <a:pt x="1208" y="1553"/>
                    </a:lnTo>
                    <a:close/>
                    <a:moveTo>
                      <a:pt x="1264" y="1595"/>
                    </a:moveTo>
                    <a:lnTo>
                      <a:pt x="1266" y="1595"/>
                    </a:lnTo>
                    <a:lnTo>
                      <a:pt x="1266" y="1597"/>
                    </a:lnTo>
                    <a:lnTo>
                      <a:pt x="1264" y="1597"/>
                    </a:lnTo>
                    <a:lnTo>
                      <a:pt x="1264" y="1595"/>
                    </a:lnTo>
                    <a:close/>
                    <a:moveTo>
                      <a:pt x="1208" y="1478"/>
                    </a:moveTo>
                    <a:lnTo>
                      <a:pt x="1210" y="1478"/>
                    </a:lnTo>
                    <a:lnTo>
                      <a:pt x="1210" y="1480"/>
                    </a:lnTo>
                    <a:lnTo>
                      <a:pt x="1208" y="1480"/>
                    </a:lnTo>
                    <a:lnTo>
                      <a:pt x="1208" y="1478"/>
                    </a:lnTo>
                    <a:close/>
                    <a:moveTo>
                      <a:pt x="1173" y="1408"/>
                    </a:moveTo>
                    <a:lnTo>
                      <a:pt x="1174" y="1408"/>
                    </a:lnTo>
                    <a:lnTo>
                      <a:pt x="1174" y="1410"/>
                    </a:lnTo>
                    <a:lnTo>
                      <a:pt x="1173" y="1410"/>
                    </a:lnTo>
                    <a:lnTo>
                      <a:pt x="1173" y="1408"/>
                    </a:lnTo>
                    <a:close/>
                    <a:moveTo>
                      <a:pt x="1358" y="1650"/>
                    </a:moveTo>
                    <a:lnTo>
                      <a:pt x="1360" y="1650"/>
                    </a:lnTo>
                    <a:lnTo>
                      <a:pt x="1360" y="1652"/>
                    </a:lnTo>
                    <a:lnTo>
                      <a:pt x="1358" y="1652"/>
                    </a:lnTo>
                    <a:lnTo>
                      <a:pt x="1358" y="1650"/>
                    </a:lnTo>
                    <a:close/>
                    <a:moveTo>
                      <a:pt x="1179" y="1276"/>
                    </a:moveTo>
                    <a:lnTo>
                      <a:pt x="1181" y="1276"/>
                    </a:lnTo>
                    <a:lnTo>
                      <a:pt x="1181" y="1277"/>
                    </a:lnTo>
                    <a:lnTo>
                      <a:pt x="1179" y="1277"/>
                    </a:lnTo>
                    <a:lnTo>
                      <a:pt x="1179" y="1276"/>
                    </a:lnTo>
                    <a:close/>
                    <a:moveTo>
                      <a:pt x="1253" y="1572"/>
                    </a:moveTo>
                    <a:lnTo>
                      <a:pt x="1254" y="1572"/>
                    </a:lnTo>
                    <a:lnTo>
                      <a:pt x="1254" y="1575"/>
                    </a:lnTo>
                    <a:lnTo>
                      <a:pt x="1253" y="1575"/>
                    </a:lnTo>
                    <a:lnTo>
                      <a:pt x="1253" y="1572"/>
                    </a:lnTo>
                    <a:close/>
                    <a:moveTo>
                      <a:pt x="1156" y="1245"/>
                    </a:moveTo>
                    <a:lnTo>
                      <a:pt x="1157" y="1245"/>
                    </a:lnTo>
                    <a:lnTo>
                      <a:pt x="1157" y="1247"/>
                    </a:lnTo>
                    <a:lnTo>
                      <a:pt x="1156" y="1247"/>
                    </a:lnTo>
                    <a:lnTo>
                      <a:pt x="1156" y="1245"/>
                    </a:lnTo>
                    <a:close/>
                    <a:moveTo>
                      <a:pt x="1202" y="1243"/>
                    </a:moveTo>
                    <a:lnTo>
                      <a:pt x="1203" y="1243"/>
                    </a:lnTo>
                    <a:lnTo>
                      <a:pt x="1203" y="1245"/>
                    </a:lnTo>
                    <a:lnTo>
                      <a:pt x="1202" y="1245"/>
                    </a:lnTo>
                    <a:lnTo>
                      <a:pt x="1202" y="1243"/>
                    </a:lnTo>
                    <a:close/>
                    <a:moveTo>
                      <a:pt x="1254" y="1573"/>
                    </a:moveTo>
                    <a:lnTo>
                      <a:pt x="1254" y="1577"/>
                    </a:lnTo>
                    <a:lnTo>
                      <a:pt x="1254" y="1573"/>
                    </a:lnTo>
                    <a:close/>
                    <a:moveTo>
                      <a:pt x="1176" y="1119"/>
                    </a:moveTo>
                    <a:lnTo>
                      <a:pt x="1178" y="1119"/>
                    </a:lnTo>
                    <a:lnTo>
                      <a:pt x="1178" y="1121"/>
                    </a:lnTo>
                    <a:lnTo>
                      <a:pt x="1176" y="1121"/>
                    </a:lnTo>
                    <a:lnTo>
                      <a:pt x="1176" y="1119"/>
                    </a:lnTo>
                    <a:close/>
                    <a:moveTo>
                      <a:pt x="1227" y="1582"/>
                    </a:moveTo>
                    <a:lnTo>
                      <a:pt x="1227" y="1585"/>
                    </a:lnTo>
                    <a:lnTo>
                      <a:pt x="1227" y="1582"/>
                    </a:lnTo>
                    <a:close/>
                    <a:moveTo>
                      <a:pt x="1190" y="1483"/>
                    </a:moveTo>
                    <a:lnTo>
                      <a:pt x="1190" y="1485"/>
                    </a:lnTo>
                    <a:lnTo>
                      <a:pt x="1190" y="1483"/>
                    </a:lnTo>
                    <a:close/>
                    <a:moveTo>
                      <a:pt x="1176" y="1197"/>
                    </a:moveTo>
                    <a:lnTo>
                      <a:pt x="1178" y="1197"/>
                    </a:lnTo>
                    <a:lnTo>
                      <a:pt x="1178" y="1199"/>
                    </a:lnTo>
                    <a:lnTo>
                      <a:pt x="1176" y="1199"/>
                    </a:lnTo>
                    <a:lnTo>
                      <a:pt x="1176" y="1197"/>
                    </a:lnTo>
                    <a:close/>
                    <a:moveTo>
                      <a:pt x="1253" y="1498"/>
                    </a:moveTo>
                    <a:lnTo>
                      <a:pt x="1253" y="1500"/>
                    </a:lnTo>
                    <a:lnTo>
                      <a:pt x="1253" y="1498"/>
                    </a:lnTo>
                    <a:close/>
                    <a:moveTo>
                      <a:pt x="1186" y="1384"/>
                    </a:moveTo>
                    <a:lnTo>
                      <a:pt x="1188" y="1384"/>
                    </a:lnTo>
                    <a:lnTo>
                      <a:pt x="1188" y="1386"/>
                    </a:lnTo>
                    <a:lnTo>
                      <a:pt x="1186" y="1386"/>
                    </a:lnTo>
                    <a:lnTo>
                      <a:pt x="1186" y="1384"/>
                    </a:lnTo>
                    <a:close/>
                    <a:moveTo>
                      <a:pt x="1207" y="1071"/>
                    </a:moveTo>
                    <a:lnTo>
                      <a:pt x="1208" y="1071"/>
                    </a:lnTo>
                    <a:lnTo>
                      <a:pt x="1208" y="1073"/>
                    </a:lnTo>
                    <a:lnTo>
                      <a:pt x="1207" y="1073"/>
                    </a:lnTo>
                    <a:lnTo>
                      <a:pt x="1207" y="1071"/>
                    </a:lnTo>
                    <a:close/>
                    <a:moveTo>
                      <a:pt x="1225" y="1575"/>
                    </a:moveTo>
                    <a:lnTo>
                      <a:pt x="1229" y="1575"/>
                    </a:lnTo>
                    <a:lnTo>
                      <a:pt x="1229" y="1577"/>
                    </a:lnTo>
                    <a:lnTo>
                      <a:pt x="1225" y="1577"/>
                    </a:lnTo>
                    <a:lnTo>
                      <a:pt x="1225" y="1575"/>
                    </a:lnTo>
                    <a:close/>
                    <a:moveTo>
                      <a:pt x="1220" y="980"/>
                    </a:moveTo>
                    <a:lnTo>
                      <a:pt x="1222" y="980"/>
                    </a:lnTo>
                    <a:lnTo>
                      <a:pt x="1220" y="980"/>
                    </a:lnTo>
                    <a:close/>
                    <a:moveTo>
                      <a:pt x="1186" y="1191"/>
                    </a:moveTo>
                    <a:lnTo>
                      <a:pt x="1188" y="1191"/>
                    </a:lnTo>
                    <a:lnTo>
                      <a:pt x="1188" y="1192"/>
                    </a:lnTo>
                    <a:lnTo>
                      <a:pt x="1186" y="1192"/>
                    </a:lnTo>
                    <a:lnTo>
                      <a:pt x="1186" y="1191"/>
                    </a:lnTo>
                    <a:close/>
                    <a:moveTo>
                      <a:pt x="1224" y="1580"/>
                    </a:moveTo>
                    <a:lnTo>
                      <a:pt x="1224" y="1582"/>
                    </a:lnTo>
                    <a:lnTo>
                      <a:pt x="1224" y="1580"/>
                    </a:lnTo>
                    <a:close/>
                    <a:moveTo>
                      <a:pt x="1208" y="1553"/>
                    </a:moveTo>
                    <a:lnTo>
                      <a:pt x="1210" y="1553"/>
                    </a:lnTo>
                    <a:lnTo>
                      <a:pt x="1210" y="1555"/>
                    </a:lnTo>
                    <a:lnTo>
                      <a:pt x="1208" y="1555"/>
                    </a:lnTo>
                    <a:lnTo>
                      <a:pt x="1208" y="1553"/>
                    </a:lnTo>
                    <a:close/>
                    <a:moveTo>
                      <a:pt x="1219" y="1524"/>
                    </a:moveTo>
                    <a:lnTo>
                      <a:pt x="1222" y="1524"/>
                    </a:lnTo>
                    <a:lnTo>
                      <a:pt x="1222" y="1526"/>
                    </a:lnTo>
                    <a:lnTo>
                      <a:pt x="1219" y="1526"/>
                    </a:lnTo>
                    <a:lnTo>
                      <a:pt x="1219" y="1524"/>
                    </a:lnTo>
                    <a:close/>
                    <a:moveTo>
                      <a:pt x="1139" y="1310"/>
                    </a:moveTo>
                    <a:lnTo>
                      <a:pt x="1142" y="1310"/>
                    </a:lnTo>
                    <a:lnTo>
                      <a:pt x="1142" y="1311"/>
                    </a:lnTo>
                    <a:lnTo>
                      <a:pt x="1139" y="1311"/>
                    </a:lnTo>
                    <a:lnTo>
                      <a:pt x="1139" y="1310"/>
                    </a:lnTo>
                    <a:close/>
                    <a:moveTo>
                      <a:pt x="1225" y="981"/>
                    </a:moveTo>
                    <a:lnTo>
                      <a:pt x="1227" y="981"/>
                    </a:lnTo>
                    <a:lnTo>
                      <a:pt x="1227" y="983"/>
                    </a:lnTo>
                    <a:lnTo>
                      <a:pt x="1225" y="983"/>
                    </a:lnTo>
                    <a:lnTo>
                      <a:pt x="1225" y="981"/>
                    </a:lnTo>
                    <a:close/>
                    <a:moveTo>
                      <a:pt x="1140" y="1303"/>
                    </a:moveTo>
                    <a:lnTo>
                      <a:pt x="1142" y="1303"/>
                    </a:lnTo>
                    <a:lnTo>
                      <a:pt x="1142" y="1306"/>
                    </a:lnTo>
                    <a:lnTo>
                      <a:pt x="1140" y="1306"/>
                    </a:lnTo>
                    <a:lnTo>
                      <a:pt x="1140" y="1303"/>
                    </a:lnTo>
                    <a:close/>
                    <a:moveTo>
                      <a:pt x="1326" y="1653"/>
                    </a:moveTo>
                    <a:lnTo>
                      <a:pt x="1327" y="1653"/>
                    </a:lnTo>
                    <a:lnTo>
                      <a:pt x="1326" y="1653"/>
                    </a:lnTo>
                    <a:close/>
                    <a:moveTo>
                      <a:pt x="1246" y="1534"/>
                    </a:moveTo>
                    <a:lnTo>
                      <a:pt x="1247" y="1534"/>
                    </a:lnTo>
                    <a:lnTo>
                      <a:pt x="1247" y="1536"/>
                    </a:lnTo>
                    <a:lnTo>
                      <a:pt x="1246" y="1536"/>
                    </a:lnTo>
                    <a:lnTo>
                      <a:pt x="1246" y="1534"/>
                    </a:lnTo>
                    <a:close/>
                    <a:moveTo>
                      <a:pt x="1276" y="1590"/>
                    </a:moveTo>
                    <a:lnTo>
                      <a:pt x="1278" y="1590"/>
                    </a:lnTo>
                    <a:lnTo>
                      <a:pt x="1278" y="1592"/>
                    </a:lnTo>
                    <a:lnTo>
                      <a:pt x="1276" y="1592"/>
                    </a:lnTo>
                    <a:lnTo>
                      <a:pt x="1276" y="1590"/>
                    </a:lnTo>
                    <a:close/>
                    <a:moveTo>
                      <a:pt x="1270" y="1602"/>
                    </a:moveTo>
                    <a:lnTo>
                      <a:pt x="1271" y="1602"/>
                    </a:lnTo>
                    <a:lnTo>
                      <a:pt x="1271" y="1604"/>
                    </a:lnTo>
                    <a:lnTo>
                      <a:pt x="1270" y="1604"/>
                    </a:lnTo>
                    <a:lnTo>
                      <a:pt x="1270" y="1602"/>
                    </a:lnTo>
                    <a:close/>
                    <a:moveTo>
                      <a:pt x="1217" y="1555"/>
                    </a:moveTo>
                    <a:lnTo>
                      <a:pt x="1219" y="1555"/>
                    </a:lnTo>
                    <a:lnTo>
                      <a:pt x="1217" y="1555"/>
                    </a:lnTo>
                    <a:close/>
                    <a:moveTo>
                      <a:pt x="1183" y="1099"/>
                    </a:moveTo>
                    <a:lnTo>
                      <a:pt x="1185" y="1099"/>
                    </a:lnTo>
                    <a:lnTo>
                      <a:pt x="1185" y="1100"/>
                    </a:lnTo>
                    <a:lnTo>
                      <a:pt x="1183" y="1100"/>
                    </a:lnTo>
                    <a:lnTo>
                      <a:pt x="1183" y="1099"/>
                    </a:lnTo>
                    <a:close/>
                    <a:moveTo>
                      <a:pt x="1230" y="1449"/>
                    </a:moveTo>
                    <a:lnTo>
                      <a:pt x="1232" y="1449"/>
                    </a:lnTo>
                    <a:lnTo>
                      <a:pt x="1232" y="1451"/>
                    </a:lnTo>
                    <a:lnTo>
                      <a:pt x="1230" y="1451"/>
                    </a:lnTo>
                    <a:lnTo>
                      <a:pt x="1230" y="1449"/>
                    </a:lnTo>
                    <a:close/>
                    <a:moveTo>
                      <a:pt x="1181" y="1374"/>
                    </a:moveTo>
                    <a:lnTo>
                      <a:pt x="1181" y="1376"/>
                    </a:lnTo>
                    <a:lnTo>
                      <a:pt x="1181" y="1374"/>
                    </a:lnTo>
                    <a:close/>
                    <a:moveTo>
                      <a:pt x="1208" y="1116"/>
                    </a:moveTo>
                    <a:lnTo>
                      <a:pt x="1210" y="1116"/>
                    </a:lnTo>
                    <a:lnTo>
                      <a:pt x="1210" y="1117"/>
                    </a:lnTo>
                    <a:lnTo>
                      <a:pt x="1208" y="1117"/>
                    </a:lnTo>
                    <a:lnTo>
                      <a:pt x="1208" y="1116"/>
                    </a:lnTo>
                    <a:close/>
                    <a:moveTo>
                      <a:pt x="1268" y="1521"/>
                    </a:moveTo>
                    <a:lnTo>
                      <a:pt x="1270" y="1521"/>
                    </a:lnTo>
                    <a:lnTo>
                      <a:pt x="1270" y="1524"/>
                    </a:lnTo>
                    <a:lnTo>
                      <a:pt x="1268" y="1524"/>
                    </a:lnTo>
                    <a:lnTo>
                      <a:pt x="1268" y="1521"/>
                    </a:lnTo>
                    <a:close/>
                    <a:moveTo>
                      <a:pt x="1162" y="1243"/>
                    </a:moveTo>
                    <a:lnTo>
                      <a:pt x="1164" y="1243"/>
                    </a:lnTo>
                    <a:lnTo>
                      <a:pt x="1164" y="1245"/>
                    </a:lnTo>
                    <a:lnTo>
                      <a:pt x="1162" y="1245"/>
                    </a:lnTo>
                    <a:lnTo>
                      <a:pt x="1162" y="1243"/>
                    </a:lnTo>
                    <a:close/>
                    <a:moveTo>
                      <a:pt x="1225" y="959"/>
                    </a:moveTo>
                    <a:lnTo>
                      <a:pt x="1227" y="959"/>
                    </a:lnTo>
                    <a:lnTo>
                      <a:pt x="1227" y="961"/>
                    </a:lnTo>
                    <a:lnTo>
                      <a:pt x="1225" y="961"/>
                    </a:lnTo>
                    <a:lnTo>
                      <a:pt x="1225" y="959"/>
                    </a:lnTo>
                    <a:close/>
                    <a:moveTo>
                      <a:pt x="1179" y="1424"/>
                    </a:moveTo>
                    <a:lnTo>
                      <a:pt x="1181" y="1424"/>
                    </a:lnTo>
                    <a:lnTo>
                      <a:pt x="1181" y="1425"/>
                    </a:lnTo>
                    <a:lnTo>
                      <a:pt x="1179" y="1425"/>
                    </a:lnTo>
                    <a:lnTo>
                      <a:pt x="1179" y="1424"/>
                    </a:lnTo>
                    <a:close/>
                    <a:moveTo>
                      <a:pt x="1154" y="1187"/>
                    </a:moveTo>
                    <a:lnTo>
                      <a:pt x="1156" y="1187"/>
                    </a:lnTo>
                    <a:lnTo>
                      <a:pt x="1154" y="1187"/>
                    </a:lnTo>
                    <a:close/>
                    <a:moveTo>
                      <a:pt x="1217" y="1553"/>
                    </a:moveTo>
                    <a:lnTo>
                      <a:pt x="1220" y="1553"/>
                    </a:lnTo>
                    <a:lnTo>
                      <a:pt x="1220" y="1555"/>
                    </a:lnTo>
                    <a:lnTo>
                      <a:pt x="1217" y="1555"/>
                    </a:lnTo>
                    <a:lnTo>
                      <a:pt x="1217" y="1553"/>
                    </a:lnTo>
                    <a:close/>
                    <a:moveTo>
                      <a:pt x="1164" y="1134"/>
                    </a:moveTo>
                    <a:lnTo>
                      <a:pt x="1166" y="1134"/>
                    </a:lnTo>
                    <a:lnTo>
                      <a:pt x="1166" y="1136"/>
                    </a:lnTo>
                    <a:lnTo>
                      <a:pt x="1164" y="1136"/>
                    </a:lnTo>
                    <a:lnTo>
                      <a:pt x="1164" y="1134"/>
                    </a:lnTo>
                    <a:close/>
                    <a:moveTo>
                      <a:pt x="1224" y="954"/>
                    </a:moveTo>
                    <a:lnTo>
                      <a:pt x="1225" y="954"/>
                    </a:lnTo>
                    <a:lnTo>
                      <a:pt x="1225" y="956"/>
                    </a:lnTo>
                    <a:lnTo>
                      <a:pt x="1224" y="956"/>
                    </a:lnTo>
                    <a:lnTo>
                      <a:pt x="1224" y="954"/>
                    </a:lnTo>
                    <a:close/>
                    <a:moveTo>
                      <a:pt x="1145" y="1252"/>
                    </a:moveTo>
                    <a:lnTo>
                      <a:pt x="1149" y="1252"/>
                    </a:lnTo>
                    <a:lnTo>
                      <a:pt x="1149" y="1253"/>
                    </a:lnTo>
                    <a:lnTo>
                      <a:pt x="1145" y="1253"/>
                    </a:lnTo>
                    <a:lnTo>
                      <a:pt x="1145" y="1252"/>
                    </a:lnTo>
                    <a:close/>
                    <a:moveTo>
                      <a:pt x="1169" y="1415"/>
                    </a:moveTo>
                    <a:lnTo>
                      <a:pt x="1171" y="1415"/>
                    </a:lnTo>
                    <a:lnTo>
                      <a:pt x="1171" y="1417"/>
                    </a:lnTo>
                    <a:lnTo>
                      <a:pt x="1169" y="1417"/>
                    </a:lnTo>
                    <a:lnTo>
                      <a:pt x="1169" y="1415"/>
                    </a:lnTo>
                    <a:close/>
                    <a:moveTo>
                      <a:pt x="1198" y="1427"/>
                    </a:moveTo>
                    <a:lnTo>
                      <a:pt x="1200" y="1427"/>
                    </a:lnTo>
                    <a:lnTo>
                      <a:pt x="1200" y="1429"/>
                    </a:lnTo>
                    <a:lnTo>
                      <a:pt x="1198" y="1429"/>
                    </a:lnTo>
                    <a:lnTo>
                      <a:pt x="1198" y="1427"/>
                    </a:lnTo>
                    <a:close/>
                    <a:moveTo>
                      <a:pt x="1186" y="1485"/>
                    </a:moveTo>
                    <a:lnTo>
                      <a:pt x="1188" y="1485"/>
                    </a:lnTo>
                    <a:lnTo>
                      <a:pt x="1188" y="1487"/>
                    </a:lnTo>
                    <a:lnTo>
                      <a:pt x="1186" y="1487"/>
                    </a:lnTo>
                    <a:lnTo>
                      <a:pt x="1186" y="1485"/>
                    </a:lnTo>
                    <a:close/>
                    <a:moveTo>
                      <a:pt x="1186" y="1459"/>
                    </a:moveTo>
                    <a:lnTo>
                      <a:pt x="1186" y="1461"/>
                    </a:lnTo>
                    <a:lnTo>
                      <a:pt x="1186" y="1459"/>
                    </a:lnTo>
                    <a:close/>
                    <a:moveTo>
                      <a:pt x="1185" y="1461"/>
                    </a:moveTo>
                    <a:lnTo>
                      <a:pt x="1186" y="1461"/>
                    </a:lnTo>
                    <a:lnTo>
                      <a:pt x="1186" y="1463"/>
                    </a:lnTo>
                    <a:lnTo>
                      <a:pt x="1185" y="1463"/>
                    </a:lnTo>
                    <a:lnTo>
                      <a:pt x="1185" y="1461"/>
                    </a:lnTo>
                    <a:close/>
                    <a:moveTo>
                      <a:pt x="1164" y="1242"/>
                    </a:moveTo>
                    <a:lnTo>
                      <a:pt x="1166" y="1242"/>
                    </a:lnTo>
                    <a:lnTo>
                      <a:pt x="1166" y="1243"/>
                    </a:lnTo>
                    <a:lnTo>
                      <a:pt x="1164" y="1243"/>
                    </a:lnTo>
                    <a:lnTo>
                      <a:pt x="1164" y="1242"/>
                    </a:lnTo>
                    <a:close/>
                    <a:moveTo>
                      <a:pt x="1241" y="1493"/>
                    </a:moveTo>
                    <a:lnTo>
                      <a:pt x="1242" y="1493"/>
                    </a:lnTo>
                    <a:lnTo>
                      <a:pt x="1242" y="1495"/>
                    </a:lnTo>
                    <a:lnTo>
                      <a:pt x="1241" y="1495"/>
                    </a:lnTo>
                    <a:lnTo>
                      <a:pt x="1241" y="1493"/>
                    </a:lnTo>
                    <a:close/>
                    <a:moveTo>
                      <a:pt x="1200" y="1250"/>
                    </a:moveTo>
                    <a:lnTo>
                      <a:pt x="1203" y="1250"/>
                    </a:lnTo>
                    <a:lnTo>
                      <a:pt x="1200" y="1250"/>
                    </a:lnTo>
                    <a:close/>
                    <a:moveTo>
                      <a:pt x="1208" y="1065"/>
                    </a:moveTo>
                    <a:lnTo>
                      <a:pt x="1210" y="1065"/>
                    </a:lnTo>
                    <a:lnTo>
                      <a:pt x="1210" y="1066"/>
                    </a:lnTo>
                    <a:lnTo>
                      <a:pt x="1208" y="1066"/>
                    </a:lnTo>
                    <a:lnTo>
                      <a:pt x="1208" y="1065"/>
                    </a:lnTo>
                    <a:close/>
                    <a:moveTo>
                      <a:pt x="1220" y="1555"/>
                    </a:moveTo>
                    <a:lnTo>
                      <a:pt x="1222" y="1555"/>
                    </a:lnTo>
                    <a:lnTo>
                      <a:pt x="1222" y="1556"/>
                    </a:lnTo>
                    <a:lnTo>
                      <a:pt x="1220" y="1556"/>
                    </a:lnTo>
                    <a:lnTo>
                      <a:pt x="1220" y="1555"/>
                    </a:lnTo>
                    <a:close/>
                    <a:moveTo>
                      <a:pt x="1203" y="1532"/>
                    </a:moveTo>
                    <a:lnTo>
                      <a:pt x="1207" y="1532"/>
                    </a:lnTo>
                    <a:lnTo>
                      <a:pt x="1207" y="1534"/>
                    </a:lnTo>
                    <a:lnTo>
                      <a:pt x="1203" y="1534"/>
                    </a:lnTo>
                    <a:lnTo>
                      <a:pt x="1203" y="1532"/>
                    </a:lnTo>
                    <a:close/>
                    <a:moveTo>
                      <a:pt x="1173" y="1391"/>
                    </a:moveTo>
                    <a:lnTo>
                      <a:pt x="1174" y="1391"/>
                    </a:lnTo>
                    <a:lnTo>
                      <a:pt x="1174" y="1393"/>
                    </a:lnTo>
                    <a:lnTo>
                      <a:pt x="1173" y="1393"/>
                    </a:lnTo>
                    <a:lnTo>
                      <a:pt x="1173" y="1391"/>
                    </a:lnTo>
                    <a:close/>
                    <a:moveTo>
                      <a:pt x="1200" y="1442"/>
                    </a:moveTo>
                    <a:lnTo>
                      <a:pt x="1202" y="1442"/>
                    </a:lnTo>
                    <a:lnTo>
                      <a:pt x="1202" y="1444"/>
                    </a:lnTo>
                    <a:lnTo>
                      <a:pt x="1200" y="1444"/>
                    </a:lnTo>
                    <a:lnTo>
                      <a:pt x="1200" y="1442"/>
                    </a:lnTo>
                    <a:close/>
                    <a:moveTo>
                      <a:pt x="1383" y="1663"/>
                    </a:moveTo>
                    <a:lnTo>
                      <a:pt x="1385" y="1663"/>
                    </a:lnTo>
                    <a:lnTo>
                      <a:pt x="1385" y="1665"/>
                    </a:lnTo>
                    <a:lnTo>
                      <a:pt x="1383" y="1665"/>
                    </a:lnTo>
                    <a:lnTo>
                      <a:pt x="1383" y="1663"/>
                    </a:lnTo>
                    <a:close/>
                    <a:moveTo>
                      <a:pt x="1343" y="1657"/>
                    </a:moveTo>
                    <a:lnTo>
                      <a:pt x="1344" y="1657"/>
                    </a:lnTo>
                    <a:lnTo>
                      <a:pt x="1344" y="1660"/>
                    </a:lnTo>
                    <a:lnTo>
                      <a:pt x="1343" y="1660"/>
                    </a:lnTo>
                    <a:lnTo>
                      <a:pt x="1343" y="1657"/>
                    </a:lnTo>
                    <a:close/>
                    <a:moveTo>
                      <a:pt x="1215" y="1105"/>
                    </a:moveTo>
                    <a:lnTo>
                      <a:pt x="1217" y="1105"/>
                    </a:lnTo>
                    <a:lnTo>
                      <a:pt x="1217" y="1109"/>
                    </a:lnTo>
                    <a:lnTo>
                      <a:pt x="1215" y="1109"/>
                    </a:lnTo>
                    <a:lnTo>
                      <a:pt x="1215" y="1105"/>
                    </a:lnTo>
                    <a:close/>
                    <a:moveTo>
                      <a:pt x="1210" y="1071"/>
                    </a:moveTo>
                    <a:lnTo>
                      <a:pt x="1210" y="1073"/>
                    </a:lnTo>
                    <a:lnTo>
                      <a:pt x="1210" y="1071"/>
                    </a:lnTo>
                    <a:close/>
                    <a:moveTo>
                      <a:pt x="1169" y="1481"/>
                    </a:moveTo>
                    <a:lnTo>
                      <a:pt x="1171" y="1481"/>
                    </a:lnTo>
                    <a:lnTo>
                      <a:pt x="1169" y="1481"/>
                    </a:lnTo>
                    <a:close/>
                    <a:moveTo>
                      <a:pt x="1154" y="1306"/>
                    </a:moveTo>
                    <a:lnTo>
                      <a:pt x="1156" y="1306"/>
                    </a:lnTo>
                    <a:lnTo>
                      <a:pt x="1156" y="1310"/>
                    </a:lnTo>
                    <a:lnTo>
                      <a:pt x="1154" y="1310"/>
                    </a:lnTo>
                    <a:lnTo>
                      <a:pt x="1154" y="1306"/>
                    </a:lnTo>
                    <a:close/>
                    <a:moveTo>
                      <a:pt x="1292" y="1577"/>
                    </a:moveTo>
                    <a:lnTo>
                      <a:pt x="1293" y="1577"/>
                    </a:lnTo>
                    <a:lnTo>
                      <a:pt x="1293" y="1578"/>
                    </a:lnTo>
                    <a:lnTo>
                      <a:pt x="1292" y="1578"/>
                    </a:lnTo>
                    <a:lnTo>
                      <a:pt x="1292" y="1577"/>
                    </a:lnTo>
                    <a:close/>
                    <a:moveTo>
                      <a:pt x="1227" y="997"/>
                    </a:moveTo>
                    <a:lnTo>
                      <a:pt x="1229" y="997"/>
                    </a:lnTo>
                    <a:lnTo>
                      <a:pt x="1229" y="998"/>
                    </a:lnTo>
                    <a:lnTo>
                      <a:pt x="1227" y="998"/>
                    </a:lnTo>
                    <a:lnTo>
                      <a:pt x="1227" y="997"/>
                    </a:lnTo>
                    <a:close/>
                    <a:moveTo>
                      <a:pt x="1151" y="1185"/>
                    </a:moveTo>
                    <a:lnTo>
                      <a:pt x="1152" y="1185"/>
                    </a:lnTo>
                    <a:lnTo>
                      <a:pt x="1152" y="1187"/>
                    </a:lnTo>
                    <a:lnTo>
                      <a:pt x="1151" y="1187"/>
                    </a:lnTo>
                    <a:lnTo>
                      <a:pt x="1151" y="1185"/>
                    </a:lnTo>
                    <a:close/>
                    <a:moveTo>
                      <a:pt x="1205" y="1478"/>
                    </a:moveTo>
                    <a:lnTo>
                      <a:pt x="1207" y="1478"/>
                    </a:lnTo>
                    <a:lnTo>
                      <a:pt x="1207" y="1480"/>
                    </a:lnTo>
                    <a:lnTo>
                      <a:pt x="1205" y="1480"/>
                    </a:lnTo>
                    <a:lnTo>
                      <a:pt x="1205" y="1478"/>
                    </a:lnTo>
                    <a:close/>
                    <a:moveTo>
                      <a:pt x="1169" y="1357"/>
                    </a:moveTo>
                    <a:lnTo>
                      <a:pt x="1171" y="1357"/>
                    </a:lnTo>
                    <a:lnTo>
                      <a:pt x="1169" y="1357"/>
                    </a:lnTo>
                    <a:close/>
                    <a:moveTo>
                      <a:pt x="1186" y="1071"/>
                    </a:moveTo>
                    <a:lnTo>
                      <a:pt x="1188" y="1071"/>
                    </a:lnTo>
                    <a:lnTo>
                      <a:pt x="1188" y="1073"/>
                    </a:lnTo>
                    <a:lnTo>
                      <a:pt x="1186" y="1073"/>
                    </a:lnTo>
                    <a:lnTo>
                      <a:pt x="1186" y="1071"/>
                    </a:lnTo>
                    <a:close/>
                    <a:moveTo>
                      <a:pt x="1198" y="1439"/>
                    </a:moveTo>
                    <a:lnTo>
                      <a:pt x="1198" y="1441"/>
                    </a:lnTo>
                    <a:lnTo>
                      <a:pt x="1198" y="1439"/>
                    </a:lnTo>
                    <a:close/>
                    <a:moveTo>
                      <a:pt x="1196" y="1485"/>
                    </a:moveTo>
                    <a:lnTo>
                      <a:pt x="1198" y="1485"/>
                    </a:lnTo>
                    <a:lnTo>
                      <a:pt x="1198" y="1488"/>
                    </a:lnTo>
                    <a:lnTo>
                      <a:pt x="1196" y="1488"/>
                    </a:lnTo>
                    <a:lnTo>
                      <a:pt x="1196" y="1485"/>
                    </a:lnTo>
                    <a:close/>
                    <a:moveTo>
                      <a:pt x="1300" y="1638"/>
                    </a:moveTo>
                    <a:lnTo>
                      <a:pt x="1302" y="1638"/>
                    </a:lnTo>
                    <a:lnTo>
                      <a:pt x="1302" y="1640"/>
                    </a:lnTo>
                    <a:lnTo>
                      <a:pt x="1300" y="1640"/>
                    </a:lnTo>
                    <a:lnTo>
                      <a:pt x="1300" y="1638"/>
                    </a:lnTo>
                    <a:close/>
                    <a:moveTo>
                      <a:pt x="1259" y="1595"/>
                    </a:moveTo>
                    <a:lnTo>
                      <a:pt x="1261" y="1595"/>
                    </a:lnTo>
                    <a:lnTo>
                      <a:pt x="1259" y="1595"/>
                    </a:lnTo>
                    <a:close/>
                    <a:moveTo>
                      <a:pt x="1168" y="1480"/>
                    </a:moveTo>
                    <a:lnTo>
                      <a:pt x="1169" y="1480"/>
                    </a:lnTo>
                    <a:lnTo>
                      <a:pt x="1169" y="1481"/>
                    </a:lnTo>
                    <a:lnTo>
                      <a:pt x="1168" y="1481"/>
                    </a:lnTo>
                    <a:lnTo>
                      <a:pt x="1168" y="1480"/>
                    </a:lnTo>
                    <a:close/>
                    <a:moveTo>
                      <a:pt x="1179" y="1458"/>
                    </a:moveTo>
                    <a:lnTo>
                      <a:pt x="1179" y="1459"/>
                    </a:lnTo>
                    <a:lnTo>
                      <a:pt x="1179" y="1458"/>
                    </a:lnTo>
                    <a:close/>
                    <a:moveTo>
                      <a:pt x="1331" y="1655"/>
                    </a:moveTo>
                    <a:lnTo>
                      <a:pt x="1332" y="1655"/>
                    </a:lnTo>
                    <a:lnTo>
                      <a:pt x="1332" y="1657"/>
                    </a:lnTo>
                    <a:lnTo>
                      <a:pt x="1331" y="1657"/>
                    </a:lnTo>
                    <a:lnTo>
                      <a:pt x="1331" y="1655"/>
                    </a:lnTo>
                    <a:close/>
                    <a:moveTo>
                      <a:pt x="1259" y="1558"/>
                    </a:moveTo>
                    <a:lnTo>
                      <a:pt x="1261" y="1558"/>
                    </a:lnTo>
                    <a:lnTo>
                      <a:pt x="1261" y="1560"/>
                    </a:lnTo>
                    <a:lnTo>
                      <a:pt x="1259" y="1560"/>
                    </a:lnTo>
                    <a:lnTo>
                      <a:pt x="1259" y="1558"/>
                    </a:lnTo>
                    <a:close/>
                    <a:moveTo>
                      <a:pt x="1164" y="1388"/>
                    </a:moveTo>
                    <a:lnTo>
                      <a:pt x="1166" y="1388"/>
                    </a:lnTo>
                    <a:lnTo>
                      <a:pt x="1166" y="1390"/>
                    </a:lnTo>
                    <a:lnTo>
                      <a:pt x="1164" y="1390"/>
                    </a:lnTo>
                    <a:lnTo>
                      <a:pt x="1164" y="1388"/>
                    </a:lnTo>
                    <a:close/>
                    <a:moveTo>
                      <a:pt x="1261" y="1607"/>
                    </a:moveTo>
                    <a:lnTo>
                      <a:pt x="1263" y="1607"/>
                    </a:lnTo>
                    <a:lnTo>
                      <a:pt x="1263" y="1609"/>
                    </a:lnTo>
                    <a:lnTo>
                      <a:pt x="1261" y="1609"/>
                    </a:lnTo>
                    <a:lnTo>
                      <a:pt x="1261" y="1607"/>
                    </a:lnTo>
                    <a:close/>
                    <a:moveTo>
                      <a:pt x="1246" y="1505"/>
                    </a:moveTo>
                    <a:lnTo>
                      <a:pt x="1247" y="1505"/>
                    </a:lnTo>
                    <a:lnTo>
                      <a:pt x="1247" y="1507"/>
                    </a:lnTo>
                    <a:lnTo>
                      <a:pt x="1246" y="1507"/>
                    </a:lnTo>
                    <a:lnTo>
                      <a:pt x="1246" y="1505"/>
                    </a:lnTo>
                    <a:close/>
                    <a:moveTo>
                      <a:pt x="1185" y="1427"/>
                    </a:moveTo>
                    <a:lnTo>
                      <a:pt x="1186" y="1427"/>
                    </a:lnTo>
                    <a:lnTo>
                      <a:pt x="1185" y="1427"/>
                    </a:lnTo>
                    <a:close/>
                    <a:moveTo>
                      <a:pt x="1186" y="1461"/>
                    </a:moveTo>
                    <a:lnTo>
                      <a:pt x="1188" y="1461"/>
                    </a:lnTo>
                    <a:lnTo>
                      <a:pt x="1188" y="1463"/>
                    </a:lnTo>
                    <a:lnTo>
                      <a:pt x="1186" y="1463"/>
                    </a:lnTo>
                    <a:lnTo>
                      <a:pt x="1186" y="1461"/>
                    </a:lnTo>
                    <a:close/>
                    <a:moveTo>
                      <a:pt x="1236" y="995"/>
                    </a:moveTo>
                    <a:lnTo>
                      <a:pt x="1236" y="997"/>
                    </a:lnTo>
                    <a:lnTo>
                      <a:pt x="1236" y="995"/>
                    </a:lnTo>
                    <a:close/>
                    <a:moveTo>
                      <a:pt x="1196" y="1437"/>
                    </a:moveTo>
                    <a:lnTo>
                      <a:pt x="1198" y="1437"/>
                    </a:lnTo>
                    <a:lnTo>
                      <a:pt x="1198" y="1439"/>
                    </a:lnTo>
                    <a:lnTo>
                      <a:pt x="1196" y="1439"/>
                    </a:lnTo>
                    <a:lnTo>
                      <a:pt x="1196" y="1437"/>
                    </a:lnTo>
                    <a:close/>
                    <a:moveTo>
                      <a:pt x="1171" y="1390"/>
                    </a:moveTo>
                    <a:lnTo>
                      <a:pt x="1173" y="1390"/>
                    </a:lnTo>
                    <a:lnTo>
                      <a:pt x="1173" y="1391"/>
                    </a:lnTo>
                    <a:lnTo>
                      <a:pt x="1171" y="1391"/>
                    </a:lnTo>
                    <a:lnTo>
                      <a:pt x="1171" y="1390"/>
                    </a:lnTo>
                    <a:close/>
                    <a:moveTo>
                      <a:pt x="1191" y="1119"/>
                    </a:moveTo>
                    <a:lnTo>
                      <a:pt x="1191" y="1121"/>
                    </a:lnTo>
                    <a:lnTo>
                      <a:pt x="1191" y="1119"/>
                    </a:lnTo>
                    <a:close/>
                    <a:moveTo>
                      <a:pt x="1191" y="1061"/>
                    </a:moveTo>
                    <a:lnTo>
                      <a:pt x="1191" y="1063"/>
                    </a:lnTo>
                    <a:lnTo>
                      <a:pt x="1191" y="1061"/>
                    </a:lnTo>
                    <a:close/>
                    <a:moveTo>
                      <a:pt x="1212" y="1107"/>
                    </a:moveTo>
                    <a:lnTo>
                      <a:pt x="1213" y="1107"/>
                    </a:lnTo>
                    <a:lnTo>
                      <a:pt x="1213" y="1109"/>
                    </a:lnTo>
                    <a:lnTo>
                      <a:pt x="1212" y="1109"/>
                    </a:lnTo>
                    <a:lnTo>
                      <a:pt x="1212" y="1107"/>
                    </a:lnTo>
                    <a:close/>
                    <a:moveTo>
                      <a:pt x="1212" y="1524"/>
                    </a:moveTo>
                    <a:lnTo>
                      <a:pt x="1213" y="1524"/>
                    </a:lnTo>
                    <a:lnTo>
                      <a:pt x="1213" y="1526"/>
                    </a:lnTo>
                    <a:lnTo>
                      <a:pt x="1212" y="1526"/>
                    </a:lnTo>
                    <a:lnTo>
                      <a:pt x="1212" y="1524"/>
                    </a:lnTo>
                    <a:close/>
                    <a:moveTo>
                      <a:pt x="1212" y="1558"/>
                    </a:moveTo>
                    <a:lnTo>
                      <a:pt x="1213" y="1558"/>
                    </a:lnTo>
                    <a:lnTo>
                      <a:pt x="1213" y="1560"/>
                    </a:lnTo>
                    <a:lnTo>
                      <a:pt x="1212" y="1560"/>
                    </a:lnTo>
                    <a:lnTo>
                      <a:pt x="1212" y="1558"/>
                    </a:lnTo>
                    <a:close/>
                    <a:moveTo>
                      <a:pt x="1179" y="1420"/>
                    </a:moveTo>
                    <a:lnTo>
                      <a:pt x="1179" y="1422"/>
                    </a:lnTo>
                    <a:lnTo>
                      <a:pt x="1179" y="1420"/>
                    </a:lnTo>
                    <a:close/>
                    <a:moveTo>
                      <a:pt x="1440" y="1650"/>
                    </a:moveTo>
                    <a:lnTo>
                      <a:pt x="1440" y="1652"/>
                    </a:lnTo>
                    <a:lnTo>
                      <a:pt x="1440" y="1650"/>
                    </a:lnTo>
                    <a:close/>
                    <a:moveTo>
                      <a:pt x="1208" y="1243"/>
                    </a:moveTo>
                    <a:lnTo>
                      <a:pt x="1210" y="1243"/>
                    </a:lnTo>
                    <a:lnTo>
                      <a:pt x="1208" y="1243"/>
                    </a:lnTo>
                    <a:close/>
                    <a:moveTo>
                      <a:pt x="1293" y="1616"/>
                    </a:moveTo>
                    <a:lnTo>
                      <a:pt x="1295" y="1616"/>
                    </a:lnTo>
                    <a:lnTo>
                      <a:pt x="1293" y="1616"/>
                    </a:lnTo>
                    <a:close/>
                    <a:moveTo>
                      <a:pt x="1341" y="1648"/>
                    </a:moveTo>
                    <a:lnTo>
                      <a:pt x="1343" y="1648"/>
                    </a:lnTo>
                    <a:lnTo>
                      <a:pt x="1343" y="1650"/>
                    </a:lnTo>
                    <a:lnTo>
                      <a:pt x="1341" y="1650"/>
                    </a:lnTo>
                    <a:lnTo>
                      <a:pt x="1341" y="1648"/>
                    </a:lnTo>
                    <a:close/>
                    <a:moveTo>
                      <a:pt x="1185" y="1463"/>
                    </a:moveTo>
                    <a:lnTo>
                      <a:pt x="1186" y="1463"/>
                    </a:lnTo>
                    <a:lnTo>
                      <a:pt x="1186" y="1464"/>
                    </a:lnTo>
                    <a:lnTo>
                      <a:pt x="1185" y="1464"/>
                    </a:lnTo>
                    <a:lnTo>
                      <a:pt x="1185" y="1463"/>
                    </a:lnTo>
                    <a:close/>
                    <a:moveTo>
                      <a:pt x="1212" y="1100"/>
                    </a:moveTo>
                    <a:lnTo>
                      <a:pt x="1213" y="1100"/>
                    </a:lnTo>
                    <a:lnTo>
                      <a:pt x="1213" y="1102"/>
                    </a:lnTo>
                    <a:lnTo>
                      <a:pt x="1212" y="1102"/>
                    </a:lnTo>
                    <a:lnTo>
                      <a:pt x="1212" y="1100"/>
                    </a:lnTo>
                    <a:close/>
                    <a:moveTo>
                      <a:pt x="1166" y="1337"/>
                    </a:moveTo>
                    <a:lnTo>
                      <a:pt x="1166" y="1339"/>
                    </a:lnTo>
                    <a:lnTo>
                      <a:pt x="1166" y="1337"/>
                    </a:lnTo>
                    <a:close/>
                    <a:moveTo>
                      <a:pt x="1185" y="1441"/>
                    </a:moveTo>
                    <a:lnTo>
                      <a:pt x="1186" y="1441"/>
                    </a:lnTo>
                    <a:lnTo>
                      <a:pt x="1186" y="1442"/>
                    </a:lnTo>
                    <a:lnTo>
                      <a:pt x="1185" y="1442"/>
                    </a:lnTo>
                    <a:lnTo>
                      <a:pt x="1185" y="1441"/>
                    </a:lnTo>
                    <a:close/>
                    <a:moveTo>
                      <a:pt x="1212" y="1260"/>
                    </a:moveTo>
                    <a:lnTo>
                      <a:pt x="1213" y="1260"/>
                    </a:lnTo>
                    <a:lnTo>
                      <a:pt x="1212" y="1260"/>
                    </a:lnTo>
                    <a:close/>
                    <a:moveTo>
                      <a:pt x="1225" y="956"/>
                    </a:moveTo>
                    <a:lnTo>
                      <a:pt x="1227" y="956"/>
                    </a:lnTo>
                    <a:lnTo>
                      <a:pt x="1227" y="957"/>
                    </a:lnTo>
                    <a:lnTo>
                      <a:pt x="1225" y="957"/>
                    </a:lnTo>
                    <a:lnTo>
                      <a:pt x="1225" y="956"/>
                    </a:lnTo>
                    <a:close/>
                    <a:moveTo>
                      <a:pt x="1270" y="1614"/>
                    </a:moveTo>
                    <a:lnTo>
                      <a:pt x="1271" y="1614"/>
                    </a:lnTo>
                    <a:lnTo>
                      <a:pt x="1270" y="1614"/>
                    </a:lnTo>
                    <a:close/>
                    <a:moveTo>
                      <a:pt x="1326" y="1635"/>
                    </a:moveTo>
                    <a:lnTo>
                      <a:pt x="1327" y="1635"/>
                    </a:lnTo>
                    <a:lnTo>
                      <a:pt x="1326" y="1635"/>
                    </a:lnTo>
                    <a:close/>
                    <a:moveTo>
                      <a:pt x="1159" y="1415"/>
                    </a:moveTo>
                    <a:lnTo>
                      <a:pt x="1159" y="1417"/>
                    </a:lnTo>
                    <a:lnTo>
                      <a:pt x="1159" y="1415"/>
                    </a:lnTo>
                    <a:close/>
                    <a:moveTo>
                      <a:pt x="1196" y="1430"/>
                    </a:moveTo>
                    <a:lnTo>
                      <a:pt x="1198" y="1430"/>
                    </a:lnTo>
                    <a:lnTo>
                      <a:pt x="1198" y="1432"/>
                    </a:lnTo>
                    <a:lnTo>
                      <a:pt x="1196" y="1432"/>
                    </a:lnTo>
                    <a:lnTo>
                      <a:pt x="1196" y="1430"/>
                    </a:lnTo>
                    <a:close/>
                    <a:moveTo>
                      <a:pt x="1208" y="1141"/>
                    </a:moveTo>
                    <a:lnTo>
                      <a:pt x="1208" y="1143"/>
                    </a:lnTo>
                    <a:lnTo>
                      <a:pt x="1208" y="1141"/>
                    </a:lnTo>
                    <a:close/>
                    <a:moveTo>
                      <a:pt x="1263" y="1597"/>
                    </a:moveTo>
                    <a:lnTo>
                      <a:pt x="1264" y="1597"/>
                    </a:lnTo>
                    <a:lnTo>
                      <a:pt x="1264" y="1599"/>
                    </a:lnTo>
                    <a:lnTo>
                      <a:pt x="1263" y="1599"/>
                    </a:lnTo>
                    <a:lnTo>
                      <a:pt x="1263" y="1597"/>
                    </a:lnTo>
                    <a:close/>
                    <a:moveTo>
                      <a:pt x="1225" y="1563"/>
                    </a:moveTo>
                    <a:lnTo>
                      <a:pt x="1227" y="1563"/>
                    </a:lnTo>
                    <a:lnTo>
                      <a:pt x="1225" y="1563"/>
                    </a:lnTo>
                    <a:lnTo>
                      <a:pt x="1224" y="1563"/>
                    </a:lnTo>
                    <a:lnTo>
                      <a:pt x="1225" y="1563"/>
                    </a:lnTo>
                    <a:close/>
                    <a:moveTo>
                      <a:pt x="1256" y="1592"/>
                    </a:moveTo>
                    <a:lnTo>
                      <a:pt x="1258" y="1592"/>
                    </a:lnTo>
                    <a:lnTo>
                      <a:pt x="1258" y="1594"/>
                    </a:lnTo>
                    <a:lnTo>
                      <a:pt x="1256" y="1594"/>
                    </a:lnTo>
                    <a:lnTo>
                      <a:pt x="1256" y="1592"/>
                    </a:lnTo>
                    <a:close/>
                    <a:moveTo>
                      <a:pt x="1203" y="1134"/>
                    </a:moveTo>
                    <a:lnTo>
                      <a:pt x="1203" y="1136"/>
                    </a:lnTo>
                    <a:lnTo>
                      <a:pt x="1203" y="1134"/>
                    </a:lnTo>
                    <a:close/>
                    <a:moveTo>
                      <a:pt x="1205" y="1073"/>
                    </a:moveTo>
                    <a:lnTo>
                      <a:pt x="1207" y="1073"/>
                    </a:lnTo>
                    <a:lnTo>
                      <a:pt x="1205" y="1073"/>
                    </a:lnTo>
                    <a:close/>
                    <a:moveTo>
                      <a:pt x="1229" y="1583"/>
                    </a:moveTo>
                    <a:lnTo>
                      <a:pt x="1230" y="1583"/>
                    </a:lnTo>
                    <a:lnTo>
                      <a:pt x="1230" y="1585"/>
                    </a:lnTo>
                    <a:lnTo>
                      <a:pt x="1229" y="1585"/>
                    </a:lnTo>
                    <a:lnTo>
                      <a:pt x="1229" y="1583"/>
                    </a:lnTo>
                    <a:close/>
                    <a:moveTo>
                      <a:pt x="1287" y="1595"/>
                    </a:moveTo>
                    <a:lnTo>
                      <a:pt x="1288" y="1595"/>
                    </a:lnTo>
                    <a:lnTo>
                      <a:pt x="1288" y="1597"/>
                    </a:lnTo>
                    <a:lnTo>
                      <a:pt x="1287" y="1597"/>
                    </a:lnTo>
                    <a:lnTo>
                      <a:pt x="1287" y="1595"/>
                    </a:lnTo>
                    <a:close/>
                    <a:moveTo>
                      <a:pt x="1230" y="1572"/>
                    </a:moveTo>
                    <a:lnTo>
                      <a:pt x="1232" y="1572"/>
                    </a:lnTo>
                    <a:lnTo>
                      <a:pt x="1232" y="1573"/>
                    </a:lnTo>
                    <a:lnTo>
                      <a:pt x="1230" y="1573"/>
                    </a:lnTo>
                    <a:lnTo>
                      <a:pt x="1230" y="1572"/>
                    </a:lnTo>
                    <a:close/>
                    <a:moveTo>
                      <a:pt x="1297" y="1611"/>
                    </a:moveTo>
                    <a:lnTo>
                      <a:pt x="1297" y="1612"/>
                    </a:lnTo>
                    <a:lnTo>
                      <a:pt x="1297" y="1611"/>
                    </a:lnTo>
                    <a:close/>
                    <a:moveTo>
                      <a:pt x="1230" y="940"/>
                    </a:moveTo>
                    <a:lnTo>
                      <a:pt x="1232" y="940"/>
                    </a:lnTo>
                    <a:lnTo>
                      <a:pt x="1232" y="942"/>
                    </a:lnTo>
                    <a:lnTo>
                      <a:pt x="1230" y="942"/>
                    </a:lnTo>
                    <a:lnTo>
                      <a:pt x="1230" y="940"/>
                    </a:lnTo>
                    <a:close/>
                    <a:moveTo>
                      <a:pt x="1191" y="1461"/>
                    </a:moveTo>
                    <a:lnTo>
                      <a:pt x="1193" y="1461"/>
                    </a:lnTo>
                    <a:lnTo>
                      <a:pt x="1193" y="1463"/>
                    </a:lnTo>
                    <a:lnTo>
                      <a:pt x="1191" y="1463"/>
                    </a:lnTo>
                    <a:lnTo>
                      <a:pt x="1191" y="1461"/>
                    </a:lnTo>
                    <a:close/>
                    <a:moveTo>
                      <a:pt x="1186" y="1424"/>
                    </a:moveTo>
                    <a:lnTo>
                      <a:pt x="1186" y="1425"/>
                    </a:lnTo>
                    <a:lnTo>
                      <a:pt x="1186" y="1424"/>
                    </a:lnTo>
                    <a:close/>
                    <a:moveTo>
                      <a:pt x="1263" y="1614"/>
                    </a:moveTo>
                    <a:lnTo>
                      <a:pt x="1263" y="1616"/>
                    </a:lnTo>
                    <a:lnTo>
                      <a:pt x="1263" y="1614"/>
                    </a:lnTo>
                    <a:close/>
                    <a:moveTo>
                      <a:pt x="1176" y="1468"/>
                    </a:moveTo>
                    <a:lnTo>
                      <a:pt x="1178" y="1468"/>
                    </a:lnTo>
                    <a:lnTo>
                      <a:pt x="1178" y="1470"/>
                    </a:lnTo>
                    <a:lnTo>
                      <a:pt x="1176" y="1470"/>
                    </a:lnTo>
                    <a:lnTo>
                      <a:pt x="1176" y="1468"/>
                    </a:lnTo>
                    <a:close/>
                    <a:moveTo>
                      <a:pt x="1358" y="1646"/>
                    </a:moveTo>
                    <a:lnTo>
                      <a:pt x="1360" y="1646"/>
                    </a:lnTo>
                    <a:lnTo>
                      <a:pt x="1358" y="1646"/>
                    </a:lnTo>
                    <a:close/>
                    <a:moveTo>
                      <a:pt x="1162" y="1143"/>
                    </a:moveTo>
                    <a:lnTo>
                      <a:pt x="1164" y="1143"/>
                    </a:lnTo>
                    <a:lnTo>
                      <a:pt x="1162" y="1143"/>
                    </a:lnTo>
                    <a:close/>
                    <a:moveTo>
                      <a:pt x="1385" y="1662"/>
                    </a:moveTo>
                    <a:lnTo>
                      <a:pt x="1387" y="1662"/>
                    </a:lnTo>
                    <a:lnTo>
                      <a:pt x="1387" y="1663"/>
                    </a:lnTo>
                    <a:lnTo>
                      <a:pt x="1385" y="1663"/>
                    </a:lnTo>
                    <a:lnTo>
                      <a:pt x="1385" y="1662"/>
                    </a:lnTo>
                    <a:close/>
                    <a:moveTo>
                      <a:pt x="1173" y="1240"/>
                    </a:moveTo>
                    <a:lnTo>
                      <a:pt x="1174" y="1240"/>
                    </a:lnTo>
                    <a:lnTo>
                      <a:pt x="1174" y="1242"/>
                    </a:lnTo>
                    <a:lnTo>
                      <a:pt x="1173" y="1242"/>
                    </a:lnTo>
                    <a:lnTo>
                      <a:pt x="1173" y="1240"/>
                    </a:lnTo>
                    <a:close/>
                    <a:moveTo>
                      <a:pt x="1212" y="1111"/>
                    </a:moveTo>
                    <a:lnTo>
                      <a:pt x="1213" y="1111"/>
                    </a:lnTo>
                    <a:lnTo>
                      <a:pt x="1213" y="1112"/>
                    </a:lnTo>
                    <a:lnTo>
                      <a:pt x="1212" y="1112"/>
                    </a:lnTo>
                    <a:lnTo>
                      <a:pt x="1212" y="1111"/>
                    </a:lnTo>
                    <a:close/>
                    <a:moveTo>
                      <a:pt x="1375" y="1663"/>
                    </a:moveTo>
                    <a:lnTo>
                      <a:pt x="1377" y="1663"/>
                    </a:lnTo>
                    <a:lnTo>
                      <a:pt x="1377" y="1665"/>
                    </a:lnTo>
                    <a:lnTo>
                      <a:pt x="1375" y="1665"/>
                    </a:lnTo>
                    <a:lnTo>
                      <a:pt x="1375" y="1663"/>
                    </a:lnTo>
                    <a:close/>
                    <a:moveTo>
                      <a:pt x="1227" y="1572"/>
                    </a:moveTo>
                    <a:lnTo>
                      <a:pt x="1229" y="1572"/>
                    </a:lnTo>
                    <a:lnTo>
                      <a:pt x="1227" y="1572"/>
                    </a:lnTo>
                    <a:close/>
                    <a:moveTo>
                      <a:pt x="1225" y="1577"/>
                    </a:moveTo>
                    <a:lnTo>
                      <a:pt x="1227" y="1577"/>
                    </a:lnTo>
                    <a:lnTo>
                      <a:pt x="1225" y="1577"/>
                    </a:lnTo>
                    <a:close/>
                    <a:moveTo>
                      <a:pt x="1174" y="1100"/>
                    </a:moveTo>
                    <a:lnTo>
                      <a:pt x="1176" y="1100"/>
                    </a:lnTo>
                    <a:lnTo>
                      <a:pt x="1176" y="1102"/>
                    </a:lnTo>
                    <a:lnTo>
                      <a:pt x="1174" y="1102"/>
                    </a:lnTo>
                    <a:lnTo>
                      <a:pt x="1174" y="1100"/>
                    </a:lnTo>
                    <a:close/>
                    <a:moveTo>
                      <a:pt x="1278" y="423"/>
                    </a:moveTo>
                    <a:lnTo>
                      <a:pt x="1278" y="425"/>
                    </a:lnTo>
                    <a:lnTo>
                      <a:pt x="1278" y="423"/>
                    </a:lnTo>
                    <a:close/>
                    <a:moveTo>
                      <a:pt x="1208" y="1124"/>
                    </a:moveTo>
                    <a:lnTo>
                      <a:pt x="1210" y="1124"/>
                    </a:lnTo>
                    <a:lnTo>
                      <a:pt x="1210" y="1126"/>
                    </a:lnTo>
                    <a:lnTo>
                      <a:pt x="1208" y="1126"/>
                    </a:lnTo>
                    <a:lnTo>
                      <a:pt x="1208" y="1124"/>
                    </a:lnTo>
                    <a:close/>
                    <a:moveTo>
                      <a:pt x="1304" y="1638"/>
                    </a:moveTo>
                    <a:lnTo>
                      <a:pt x="1304" y="1640"/>
                    </a:lnTo>
                    <a:lnTo>
                      <a:pt x="1304" y="1638"/>
                    </a:lnTo>
                    <a:close/>
                    <a:moveTo>
                      <a:pt x="1222" y="1066"/>
                    </a:moveTo>
                    <a:lnTo>
                      <a:pt x="1224" y="1066"/>
                    </a:lnTo>
                    <a:lnTo>
                      <a:pt x="1224" y="1068"/>
                    </a:lnTo>
                    <a:lnTo>
                      <a:pt x="1222" y="1068"/>
                    </a:lnTo>
                    <a:lnTo>
                      <a:pt x="1222" y="1066"/>
                    </a:lnTo>
                    <a:close/>
                    <a:moveTo>
                      <a:pt x="1258" y="1568"/>
                    </a:moveTo>
                    <a:lnTo>
                      <a:pt x="1258" y="1570"/>
                    </a:lnTo>
                    <a:lnTo>
                      <a:pt x="1258" y="1568"/>
                    </a:lnTo>
                    <a:close/>
                    <a:moveTo>
                      <a:pt x="1174" y="1117"/>
                    </a:moveTo>
                    <a:lnTo>
                      <a:pt x="1176" y="1117"/>
                    </a:lnTo>
                    <a:lnTo>
                      <a:pt x="1176" y="1119"/>
                    </a:lnTo>
                    <a:lnTo>
                      <a:pt x="1174" y="1119"/>
                    </a:lnTo>
                    <a:lnTo>
                      <a:pt x="1174" y="1117"/>
                    </a:lnTo>
                    <a:close/>
                    <a:moveTo>
                      <a:pt x="1185" y="1400"/>
                    </a:moveTo>
                    <a:lnTo>
                      <a:pt x="1185" y="1401"/>
                    </a:lnTo>
                    <a:lnTo>
                      <a:pt x="1185" y="1400"/>
                    </a:lnTo>
                    <a:close/>
                    <a:moveTo>
                      <a:pt x="1213" y="1519"/>
                    </a:moveTo>
                    <a:lnTo>
                      <a:pt x="1215" y="1519"/>
                    </a:lnTo>
                    <a:lnTo>
                      <a:pt x="1215" y="1521"/>
                    </a:lnTo>
                    <a:lnTo>
                      <a:pt x="1213" y="1521"/>
                    </a:lnTo>
                    <a:lnTo>
                      <a:pt x="1213" y="1519"/>
                    </a:lnTo>
                    <a:close/>
                    <a:moveTo>
                      <a:pt x="1219" y="1543"/>
                    </a:moveTo>
                    <a:lnTo>
                      <a:pt x="1220" y="1543"/>
                    </a:lnTo>
                    <a:lnTo>
                      <a:pt x="1220" y="1544"/>
                    </a:lnTo>
                    <a:lnTo>
                      <a:pt x="1219" y="1544"/>
                    </a:lnTo>
                    <a:lnTo>
                      <a:pt x="1219" y="1543"/>
                    </a:lnTo>
                    <a:close/>
                    <a:moveTo>
                      <a:pt x="1205" y="1066"/>
                    </a:moveTo>
                    <a:lnTo>
                      <a:pt x="1205" y="1068"/>
                    </a:lnTo>
                    <a:lnTo>
                      <a:pt x="1205" y="1066"/>
                    </a:lnTo>
                    <a:close/>
                    <a:moveTo>
                      <a:pt x="1191" y="1126"/>
                    </a:moveTo>
                    <a:lnTo>
                      <a:pt x="1193" y="1126"/>
                    </a:lnTo>
                    <a:lnTo>
                      <a:pt x="1193" y="1128"/>
                    </a:lnTo>
                    <a:lnTo>
                      <a:pt x="1191" y="1128"/>
                    </a:lnTo>
                    <a:lnTo>
                      <a:pt x="1191" y="1126"/>
                    </a:lnTo>
                    <a:close/>
                    <a:moveTo>
                      <a:pt x="1176" y="1441"/>
                    </a:moveTo>
                    <a:lnTo>
                      <a:pt x="1179" y="1441"/>
                    </a:lnTo>
                    <a:lnTo>
                      <a:pt x="1179" y="1442"/>
                    </a:lnTo>
                    <a:lnTo>
                      <a:pt x="1176" y="1442"/>
                    </a:lnTo>
                    <a:lnTo>
                      <a:pt x="1176" y="1441"/>
                    </a:lnTo>
                    <a:close/>
                    <a:moveTo>
                      <a:pt x="1227" y="730"/>
                    </a:moveTo>
                    <a:lnTo>
                      <a:pt x="1229" y="730"/>
                    </a:lnTo>
                    <a:lnTo>
                      <a:pt x="1229" y="731"/>
                    </a:lnTo>
                    <a:lnTo>
                      <a:pt x="1227" y="731"/>
                    </a:lnTo>
                    <a:lnTo>
                      <a:pt x="1227" y="730"/>
                    </a:lnTo>
                    <a:close/>
                    <a:moveTo>
                      <a:pt x="1195" y="1048"/>
                    </a:moveTo>
                    <a:lnTo>
                      <a:pt x="1196" y="1048"/>
                    </a:lnTo>
                    <a:lnTo>
                      <a:pt x="1195" y="1048"/>
                    </a:lnTo>
                    <a:close/>
                    <a:moveTo>
                      <a:pt x="1207" y="1060"/>
                    </a:moveTo>
                    <a:lnTo>
                      <a:pt x="1208" y="1060"/>
                    </a:lnTo>
                    <a:lnTo>
                      <a:pt x="1208" y="1061"/>
                    </a:lnTo>
                    <a:lnTo>
                      <a:pt x="1207" y="1061"/>
                    </a:lnTo>
                    <a:lnTo>
                      <a:pt x="1207" y="1060"/>
                    </a:lnTo>
                    <a:close/>
                    <a:moveTo>
                      <a:pt x="1207" y="1102"/>
                    </a:moveTo>
                    <a:lnTo>
                      <a:pt x="1208" y="1102"/>
                    </a:lnTo>
                    <a:lnTo>
                      <a:pt x="1208" y="1104"/>
                    </a:lnTo>
                    <a:lnTo>
                      <a:pt x="1207" y="1104"/>
                    </a:lnTo>
                    <a:lnTo>
                      <a:pt x="1207" y="1102"/>
                    </a:lnTo>
                    <a:close/>
                    <a:moveTo>
                      <a:pt x="1166" y="1136"/>
                    </a:moveTo>
                    <a:lnTo>
                      <a:pt x="1168" y="1136"/>
                    </a:lnTo>
                    <a:lnTo>
                      <a:pt x="1168" y="1138"/>
                    </a:lnTo>
                    <a:lnTo>
                      <a:pt x="1166" y="1138"/>
                    </a:lnTo>
                    <a:lnTo>
                      <a:pt x="1166" y="1136"/>
                    </a:lnTo>
                    <a:close/>
                    <a:moveTo>
                      <a:pt x="1178" y="1277"/>
                    </a:moveTo>
                    <a:lnTo>
                      <a:pt x="1178" y="1281"/>
                    </a:lnTo>
                    <a:lnTo>
                      <a:pt x="1178" y="1277"/>
                    </a:lnTo>
                    <a:close/>
                    <a:moveTo>
                      <a:pt x="1188" y="1483"/>
                    </a:moveTo>
                    <a:lnTo>
                      <a:pt x="1190" y="1483"/>
                    </a:lnTo>
                    <a:lnTo>
                      <a:pt x="1188" y="1483"/>
                    </a:lnTo>
                    <a:close/>
                    <a:moveTo>
                      <a:pt x="1178" y="1373"/>
                    </a:moveTo>
                    <a:lnTo>
                      <a:pt x="1178" y="1374"/>
                    </a:lnTo>
                    <a:lnTo>
                      <a:pt x="1178" y="1373"/>
                    </a:lnTo>
                    <a:close/>
                    <a:moveTo>
                      <a:pt x="1389" y="1663"/>
                    </a:moveTo>
                    <a:lnTo>
                      <a:pt x="1389" y="1665"/>
                    </a:lnTo>
                    <a:lnTo>
                      <a:pt x="1389" y="1663"/>
                    </a:lnTo>
                    <a:close/>
                    <a:moveTo>
                      <a:pt x="1417" y="1684"/>
                    </a:moveTo>
                    <a:lnTo>
                      <a:pt x="1419" y="1684"/>
                    </a:lnTo>
                    <a:lnTo>
                      <a:pt x="1419" y="1686"/>
                    </a:lnTo>
                    <a:lnTo>
                      <a:pt x="1417" y="1686"/>
                    </a:lnTo>
                    <a:lnTo>
                      <a:pt x="1417" y="1684"/>
                    </a:lnTo>
                    <a:close/>
                    <a:moveTo>
                      <a:pt x="1181" y="1481"/>
                    </a:moveTo>
                    <a:lnTo>
                      <a:pt x="1183" y="1481"/>
                    </a:lnTo>
                    <a:lnTo>
                      <a:pt x="1181" y="1481"/>
                    </a:lnTo>
                    <a:close/>
                    <a:moveTo>
                      <a:pt x="1213" y="1070"/>
                    </a:moveTo>
                    <a:lnTo>
                      <a:pt x="1213" y="1071"/>
                    </a:lnTo>
                    <a:lnTo>
                      <a:pt x="1213" y="1070"/>
                    </a:lnTo>
                    <a:close/>
                    <a:moveTo>
                      <a:pt x="1225" y="1570"/>
                    </a:moveTo>
                    <a:lnTo>
                      <a:pt x="1227" y="1570"/>
                    </a:lnTo>
                    <a:lnTo>
                      <a:pt x="1225" y="1570"/>
                    </a:lnTo>
                    <a:close/>
                    <a:moveTo>
                      <a:pt x="1145" y="1332"/>
                    </a:moveTo>
                    <a:lnTo>
                      <a:pt x="1145" y="1333"/>
                    </a:lnTo>
                    <a:lnTo>
                      <a:pt x="1145" y="1332"/>
                    </a:lnTo>
                    <a:close/>
                    <a:moveTo>
                      <a:pt x="1236" y="1075"/>
                    </a:moveTo>
                    <a:lnTo>
                      <a:pt x="1237" y="1075"/>
                    </a:lnTo>
                    <a:lnTo>
                      <a:pt x="1237" y="1077"/>
                    </a:lnTo>
                    <a:lnTo>
                      <a:pt x="1236" y="1077"/>
                    </a:lnTo>
                    <a:lnTo>
                      <a:pt x="1236" y="1075"/>
                    </a:lnTo>
                    <a:close/>
                    <a:moveTo>
                      <a:pt x="1164" y="1332"/>
                    </a:moveTo>
                    <a:lnTo>
                      <a:pt x="1166" y="1332"/>
                    </a:lnTo>
                    <a:lnTo>
                      <a:pt x="1166" y="1333"/>
                    </a:lnTo>
                    <a:lnTo>
                      <a:pt x="1164" y="1333"/>
                    </a:lnTo>
                    <a:lnTo>
                      <a:pt x="1164" y="1332"/>
                    </a:lnTo>
                    <a:close/>
                    <a:moveTo>
                      <a:pt x="1162" y="1357"/>
                    </a:moveTo>
                    <a:lnTo>
                      <a:pt x="1162" y="1359"/>
                    </a:lnTo>
                    <a:lnTo>
                      <a:pt x="1162" y="1357"/>
                    </a:lnTo>
                    <a:close/>
                    <a:moveTo>
                      <a:pt x="1280" y="1614"/>
                    </a:moveTo>
                    <a:lnTo>
                      <a:pt x="1281" y="1614"/>
                    </a:lnTo>
                    <a:lnTo>
                      <a:pt x="1281" y="1616"/>
                    </a:lnTo>
                    <a:lnTo>
                      <a:pt x="1280" y="1616"/>
                    </a:lnTo>
                    <a:lnTo>
                      <a:pt x="1280" y="1614"/>
                    </a:lnTo>
                    <a:close/>
                    <a:moveTo>
                      <a:pt x="1185" y="1458"/>
                    </a:moveTo>
                    <a:lnTo>
                      <a:pt x="1186" y="1458"/>
                    </a:lnTo>
                    <a:lnTo>
                      <a:pt x="1186" y="1459"/>
                    </a:lnTo>
                    <a:lnTo>
                      <a:pt x="1185" y="1459"/>
                    </a:lnTo>
                    <a:lnTo>
                      <a:pt x="1185" y="1458"/>
                    </a:lnTo>
                    <a:close/>
                    <a:moveTo>
                      <a:pt x="1321" y="1583"/>
                    </a:moveTo>
                    <a:lnTo>
                      <a:pt x="1322" y="1583"/>
                    </a:lnTo>
                    <a:lnTo>
                      <a:pt x="1322" y="1585"/>
                    </a:lnTo>
                    <a:lnTo>
                      <a:pt x="1321" y="1585"/>
                    </a:lnTo>
                    <a:lnTo>
                      <a:pt x="1321" y="1583"/>
                    </a:lnTo>
                    <a:close/>
                    <a:moveTo>
                      <a:pt x="1219" y="1471"/>
                    </a:moveTo>
                    <a:lnTo>
                      <a:pt x="1220" y="1471"/>
                    </a:lnTo>
                    <a:lnTo>
                      <a:pt x="1220" y="1473"/>
                    </a:lnTo>
                    <a:lnTo>
                      <a:pt x="1219" y="1473"/>
                    </a:lnTo>
                    <a:lnTo>
                      <a:pt x="1219" y="1471"/>
                    </a:lnTo>
                    <a:close/>
                    <a:moveTo>
                      <a:pt x="1188" y="1463"/>
                    </a:moveTo>
                    <a:lnTo>
                      <a:pt x="1190" y="1463"/>
                    </a:lnTo>
                    <a:lnTo>
                      <a:pt x="1188" y="1463"/>
                    </a:lnTo>
                    <a:close/>
                    <a:moveTo>
                      <a:pt x="1249" y="1597"/>
                    </a:moveTo>
                    <a:lnTo>
                      <a:pt x="1251" y="1597"/>
                    </a:lnTo>
                    <a:lnTo>
                      <a:pt x="1251" y="1599"/>
                    </a:lnTo>
                    <a:lnTo>
                      <a:pt x="1249" y="1599"/>
                    </a:lnTo>
                    <a:lnTo>
                      <a:pt x="1249" y="1597"/>
                    </a:lnTo>
                    <a:close/>
                    <a:moveTo>
                      <a:pt x="1332" y="1645"/>
                    </a:moveTo>
                    <a:lnTo>
                      <a:pt x="1334" y="1645"/>
                    </a:lnTo>
                    <a:lnTo>
                      <a:pt x="1334" y="1646"/>
                    </a:lnTo>
                    <a:lnTo>
                      <a:pt x="1332" y="1646"/>
                    </a:lnTo>
                    <a:lnTo>
                      <a:pt x="1332" y="1645"/>
                    </a:lnTo>
                    <a:close/>
                    <a:moveTo>
                      <a:pt x="1142" y="1306"/>
                    </a:moveTo>
                    <a:lnTo>
                      <a:pt x="1142" y="1310"/>
                    </a:lnTo>
                    <a:lnTo>
                      <a:pt x="1142" y="1306"/>
                    </a:lnTo>
                    <a:close/>
                    <a:moveTo>
                      <a:pt x="1181" y="1492"/>
                    </a:moveTo>
                    <a:lnTo>
                      <a:pt x="1181" y="1493"/>
                    </a:lnTo>
                    <a:lnTo>
                      <a:pt x="1181" y="1492"/>
                    </a:lnTo>
                    <a:close/>
                    <a:moveTo>
                      <a:pt x="1159" y="1434"/>
                    </a:moveTo>
                    <a:lnTo>
                      <a:pt x="1159" y="1435"/>
                    </a:lnTo>
                    <a:lnTo>
                      <a:pt x="1159" y="1434"/>
                    </a:lnTo>
                    <a:close/>
                    <a:moveTo>
                      <a:pt x="1232" y="1582"/>
                    </a:moveTo>
                    <a:lnTo>
                      <a:pt x="1234" y="1582"/>
                    </a:lnTo>
                    <a:lnTo>
                      <a:pt x="1234" y="1583"/>
                    </a:lnTo>
                    <a:lnTo>
                      <a:pt x="1232" y="1583"/>
                    </a:lnTo>
                    <a:lnTo>
                      <a:pt x="1232" y="1582"/>
                    </a:lnTo>
                    <a:close/>
                    <a:moveTo>
                      <a:pt x="1212" y="1112"/>
                    </a:moveTo>
                    <a:lnTo>
                      <a:pt x="1213" y="1112"/>
                    </a:lnTo>
                    <a:lnTo>
                      <a:pt x="1213" y="1114"/>
                    </a:lnTo>
                    <a:lnTo>
                      <a:pt x="1212" y="1114"/>
                    </a:lnTo>
                    <a:lnTo>
                      <a:pt x="1212" y="1112"/>
                    </a:lnTo>
                    <a:close/>
                    <a:moveTo>
                      <a:pt x="1210" y="1504"/>
                    </a:moveTo>
                    <a:lnTo>
                      <a:pt x="1213" y="1504"/>
                    </a:lnTo>
                    <a:lnTo>
                      <a:pt x="1210" y="1504"/>
                    </a:lnTo>
                    <a:close/>
                    <a:moveTo>
                      <a:pt x="1181" y="1490"/>
                    </a:moveTo>
                    <a:lnTo>
                      <a:pt x="1183" y="1490"/>
                    </a:lnTo>
                    <a:lnTo>
                      <a:pt x="1183" y="1492"/>
                    </a:lnTo>
                    <a:lnTo>
                      <a:pt x="1181" y="1492"/>
                    </a:lnTo>
                    <a:lnTo>
                      <a:pt x="1181" y="1490"/>
                    </a:lnTo>
                    <a:close/>
                    <a:moveTo>
                      <a:pt x="1234" y="1124"/>
                    </a:moveTo>
                    <a:lnTo>
                      <a:pt x="1236" y="1124"/>
                    </a:lnTo>
                    <a:lnTo>
                      <a:pt x="1236" y="1126"/>
                    </a:lnTo>
                    <a:lnTo>
                      <a:pt x="1234" y="1126"/>
                    </a:lnTo>
                    <a:lnTo>
                      <a:pt x="1234" y="1124"/>
                    </a:lnTo>
                    <a:close/>
                    <a:moveTo>
                      <a:pt x="1261" y="1590"/>
                    </a:moveTo>
                    <a:lnTo>
                      <a:pt x="1261" y="1592"/>
                    </a:lnTo>
                    <a:lnTo>
                      <a:pt x="1261" y="1590"/>
                    </a:lnTo>
                    <a:close/>
                    <a:moveTo>
                      <a:pt x="1149" y="1376"/>
                    </a:moveTo>
                    <a:lnTo>
                      <a:pt x="1151" y="1376"/>
                    </a:lnTo>
                    <a:lnTo>
                      <a:pt x="1151" y="1378"/>
                    </a:lnTo>
                    <a:lnTo>
                      <a:pt x="1149" y="1378"/>
                    </a:lnTo>
                    <a:lnTo>
                      <a:pt x="1149" y="1376"/>
                    </a:lnTo>
                    <a:close/>
                    <a:moveTo>
                      <a:pt x="1183" y="1459"/>
                    </a:moveTo>
                    <a:lnTo>
                      <a:pt x="1185" y="1459"/>
                    </a:lnTo>
                    <a:lnTo>
                      <a:pt x="1185" y="1461"/>
                    </a:lnTo>
                    <a:lnTo>
                      <a:pt x="1183" y="1461"/>
                    </a:lnTo>
                    <a:lnTo>
                      <a:pt x="1183" y="1459"/>
                    </a:lnTo>
                    <a:close/>
                    <a:moveTo>
                      <a:pt x="1198" y="1424"/>
                    </a:moveTo>
                    <a:lnTo>
                      <a:pt x="1200" y="1424"/>
                    </a:lnTo>
                    <a:lnTo>
                      <a:pt x="1200" y="1425"/>
                    </a:lnTo>
                    <a:lnTo>
                      <a:pt x="1198" y="1425"/>
                    </a:lnTo>
                    <a:lnTo>
                      <a:pt x="1198" y="1424"/>
                    </a:lnTo>
                    <a:close/>
                    <a:moveTo>
                      <a:pt x="1208" y="1490"/>
                    </a:moveTo>
                    <a:lnTo>
                      <a:pt x="1208" y="1492"/>
                    </a:lnTo>
                    <a:lnTo>
                      <a:pt x="1208" y="1490"/>
                    </a:lnTo>
                    <a:close/>
                    <a:moveTo>
                      <a:pt x="1205" y="1058"/>
                    </a:moveTo>
                    <a:lnTo>
                      <a:pt x="1205" y="1060"/>
                    </a:lnTo>
                    <a:lnTo>
                      <a:pt x="1205" y="1058"/>
                    </a:lnTo>
                    <a:close/>
                    <a:moveTo>
                      <a:pt x="1281" y="1595"/>
                    </a:moveTo>
                    <a:lnTo>
                      <a:pt x="1283" y="1595"/>
                    </a:lnTo>
                    <a:lnTo>
                      <a:pt x="1281" y="1595"/>
                    </a:lnTo>
                    <a:close/>
                    <a:moveTo>
                      <a:pt x="1229" y="1570"/>
                    </a:moveTo>
                    <a:lnTo>
                      <a:pt x="1232" y="1570"/>
                    </a:lnTo>
                    <a:lnTo>
                      <a:pt x="1232" y="1572"/>
                    </a:lnTo>
                    <a:lnTo>
                      <a:pt x="1229" y="1572"/>
                    </a:lnTo>
                    <a:lnTo>
                      <a:pt x="1229" y="1570"/>
                    </a:lnTo>
                    <a:close/>
                    <a:moveTo>
                      <a:pt x="1181" y="1376"/>
                    </a:moveTo>
                    <a:lnTo>
                      <a:pt x="1183" y="1376"/>
                    </a:lnTo>
                    <a:lnTo>
                      <a:pt x="1181" y="1376"/>
                    </a:lnTo>
                    <a:close/>
                    <a:moveTo>
                      <a:pt x="1191" y="1233"/>
                    </a:moveTo>
                    <a:lnTo>
                      <a:pt x="1193" y="1233"/>
                    </a:lnTo>
                    <a:lnTo>
                      <a:pt x="1191" y="1233"/>
                    </a:lnTo>
                    <a:close/>
                    <a:moveTo>
                      <a:pt x="1215" y="983"/>
                    </a:moveTo>
                    <a:lnTo>
                      <a:pt x="1215" y="985"/>
                    </a:lnTo>
                    <a:lnTo>
                      <a:pt x="1215" y="983"/>
                    </a:lnTo>
                    <a:close/>
                    <a:moveTo>
                      <a:pt x="1208" y="1097"/>
                    </a:moveTo>
                    <a:lnTo>
                      <a:pt x="1208" y="1099"/>
                    </a:lnTo>
                    <a:lnTo>
                      <a:pt x="1208" y="1097"/>
                    </a:lnTo>
                    <a:close/>
                    <a:moveTo>
                      <a:pt x="1183" y="1495"/>
                    </a:moveTo>
                    <a:lnTo>
                      <a:pt x="1185" y="1495"/>
                    </a:lnTo>
                    <a:lnTo>
                      <a:pt x="1185" y="1497"/>
                    </a:lnTo>
                    <a:lnTo>
                      <a:pt x="1183" y="1497"/>
                    </a:lnTo>
                    <a:lnTo>
                      <a:pt x="1183" y="1495"/>
                    </a:lnTo>
                    <a:close/>
                    <a:moveTo>
                      <a:pt x="1183" y="1475"/>
                    </a:moveTo>
                    <a:lnTo>
                      <a:pt x="1185" y="1475"/>
                    </a:lnTo>
                    <a:lnTo>
                      <a:pt x="1183" y="1475"/>
                    </a:lnTo>
                    <a:close/>
                    <a:moveTo>
                      <a:pt x="1225" y="1570"/>
                    </a:moveTo>
                    <a:lnTo>
                      <a:pt x="1227" y="1570"/>
                    </a:lnTo>
                    <a:lnTo>
                      <a:pt x="1227" y="1572"/>
                    </a:lnTo>
                    <a:lnTo>
                      <a:pt x="1225" y="1572"/>
                    </a:lnTo>
                    <a:lnTo>
                      <a:pt x="1225" y="1570"/>
                    </a:lnTo>
                    <a:close/>
                    <a:moveTo>
                      <a:pt x="1259" y="1600"/>
                    </a:moveTo>
                    <a:lnTo>
                      <a:pt x="1259" y="1602"/>
                    </a:lnTo>
                    <a:lnTo>
                      <a:pt x="1259" y="1600"/>
                    </a:lnTo>
                    <a:close/>
                    <a:moveTo>
                      <a:pt x="1210" y="1124"/>
                    </a:moveTo>
                    <a:lnTo>
                      <a:pt x="1212" y="1124"/>
                    </a:lnTo>
                    <a:lnTo>
                      <a:pt x="1210" y="1124"/>
                    </a:lnTo>
                    <a:close/>
                    <a:moveTo>
                      <a:pt x="1183" y="1427"/>
                    </a:moveTo>
                    <a:lnTo>
                      <a:pt x="1185" y="1427"/>
                    </a:lnTo>
                    <a:lnTo>
                      <a:pt x="1183" y="1427"/>
                    </a:lnTo>
                    <a:close/>
                    <a:moveTo>
                      <a:pt x="1188" y="1097"/>
                    </a:moveTo>
                    <a:lnTo>
                      <a:pt x="1190" y="1097"/>
                    </a:lnTo>
                    <a:lnTo>
                      <a:pt x="1188" y="1097"/>
                    </a:lnTo>
                    <a:close/>
                    <a:moveTo>
                      <a:pt x="1188" y="1463"/>
                    </a:moveTo>
                    <a:lnTo>
                      <a:pt x="1190" y="1463"/>
                    </a:lnTo>
                    <a:lnTo>
                      <a:pt x="1190" y="1464"/>
                    </a:lnTo>
                    <a:lnTo>
                      <a:pt x="1188" y="1464"/>
                    </a:lnTo>
                    <a:lnTo>
                      <a:pt x="1188" y="1463"/>
                    </a:lnTo>
                    <a:close/>
                    <a:moveTo>
                      <a:pt x="1179" y="1257"/>
                    </a:moveTo>
                    <a:lnTo>
                      <a:pt x="1181" y="1257"/>
                    </a:lnTo>
                    <a:lnTo>
                      <a:pt x="1179" y="1257"/>
                    </a:lnTo>
                    <a:close/>
                    <a:moveTo>
                      <a:pt x="1181" y="1116"/>
                    </a:moveTo>
                    <a:lnTo>
                      <a:pt x="1181" y="1117"/>
                    </a:lnTo>
                    <a:lnTo>
                      <a:pt x="1181" y="1116"/>
                    </a:lnTo>
                    <a:close/>
                    <a:moveTo>
                      <a:pt x="1162" y="1160"/>
                    </a:moveTo>
                    <a:lnTo>
                      <a:pt x="1164" y="1160"/>
                    </a:lnTo>
                    <a:lnTo>
                      <a:pt x="1164" y="1162"/>
                    </a:lnTo>
                    <a:lnTo>
                      <a:pt x="1162" y="1162"/>
                    </a:lnTo>
                    <a:lnTo>
                      <a:pt x="1162" y="1160"/>
                    </a:lnTo>
                    <a:close/>
                    <a:moveTo>
                      <a:pt x="1181" y="1099"/>
                    </a:moveTo>
                    <a:lnTo>
                      <a:pt x="1183" y="1099"/>
                    </a:lnTo>
                    <a:lnTo>
                      <a:pt x="1181" y="1099"/>
                    </a:lnTo>
                    <a:close/>
                    <a:moveTo>
                      <a:pt x="1144" y="1306"/>
                    </a:moveTo>
                    <a:lnTo>
                      <a:pt x="1144" y="1308"/>
                    </a:lnTo>
                    <a:lnTo>
                      <a:pt x="1144" y="1306"/>
                    </a:lnTo>
                    <a:close/>
                    <a:moveTo>
                      <a:pt x="1185" y="1066"/>
                    </a:moveTo>
                    <a:lnTo>
                      <a:pt x="1186" y="1066"/>
                    </a:lnTo>
                    <a:lnTo>
                      <a:pt x="1185" y="1066"/>
                    </a:lnTo>
                    <a:close/>
                    <a:moveTo>
                      <a:pt x="1208" y="1075"/>
                    </a:moveTo>
                    <a:lnTo>
                      <a:pt x="1208" y="1077"/>
                    </a:lnTo>
                    <a:lnTo>
                      <a:pt x="1208" y="1075"/>
                    </a:lnTo>
                    <a:close/>
                    <a:moveTo>
                      <a:pt x="1239" y="1456"/>
                    </a:moveTo>
                    <a:lnTo>
                      <a:pt x="1241" y="1456"/>
                    </a:lnTo>
                    <a:lnTo>
                      <a:pt x="1241" y="1458"/>
                    </a:lnTo>
                    <a:lnTo>
                      <a:pt x="1239" y="1458"/>
                    </a:lnTo>
                    <a:lnTo>
                      <a:pt x="1239" y="1456"/>
                    </a:lnTo>
                    <a:close/>
                    <a:moveTo>
                      <a:pt x="1193" y="1464"/>
                    </a:moveTo>
                    <a:lnTo>
                      <a:pt x="1193" y="1466"/>
                    </a:lnTo>
                    <a:lnTo>
                      <a:pt x="1193" y="1464"/>
                    </a:lnTo>
                    <a:close/>
                    <a:moveTo>
                      <a:pt x="1166" y="1344"/>
                    </a:moveTo>
                    <a:lnTo>
                      <a:pt x="1168" y="1344"/>
                    </a:lnTo>
                    <a:lnTo>
                      <a:pt x="1168" y="1345"/>
                    </a:lnTo>
                    <a:lnTo>
                      <a:pt x="1166" y="1345"/>
                    </a:lnTo>
                    <a:lnTo>
                      <a:pt x="1166" y="1344"/>
                    </a:lnTo>
                    <a:close/>
                    <a:moveTo>
                      <a:pt x="1237" y="1582"/>
                    </a:moveTo>
                    <a:lnTo>
                      <a:pt x="1239" y="1582"/>
                    </a:lnTo>
                    <a:lnTo>
                      <a:pt x="1239" y="1583"/>
                    </a:lnTo>
                    <a:lnTo>
                      <a:pt x="1237" y="1583"/>
                    </a:lnTo>
                    <a:lnTo>
                      <a:pt x="1237" y="1582"/>
                    </a:lnTo>
                    <a:close/>
                    <a:moveTo>
                      <a:pt x="1200" y="1522"/>
                    </a:moveTo>
                    <a:lnTo>
                      <a:pt x="1202" y="1522"/>
                    </a:lnTo>
                    <a:lnTo>
                      <a:pt x="1202" y="1524"/>
                    </a:lnTo>
                    <a:lnTo>
                      <a:pt x="1200" y="1524"/>
                    </a:lnTo>
                    <a:lnTo>
                      <a:pt x="1200" y="1522"/>
                    </a:lnTo>
                    <a:close/>
                    <a:moveTo>
                      <a:pt x="1247" y="951"/>
                    </a:moveTo>
                    <a:lnTo>
                      <a:pt x="1249" y="951"/>
                    </a:lnTo>
                    <a:lnTo>
                      <a:pt x="1247" y="951"/>
                    </a:lnTo>
                    <a:close/>
                    <a:moveTo>
                      <a:pt x="1281" y="1597"/>
                    </a:moveTo>
                    <a:lnTo>
                      <a:pt x="1283" y="1597"/>
                    </a:lnTo>
                    <a:lnTo>
                      <a:pt x="1283" y="1599"/>
                    </a:lnTo>
                    <a:lnTo>
                      <a:pt x="1281" y="1599"/>
                    </a:lnTo>
                    <a:lnTo>
                      <a:pt x="1281" y="1597"/>
                    </a:lnTo>
                    <a:close/>
                    <a:moveTo>
                      <a:pt x="1288" y="1621"/>
                    </a:moveTo>
                    <a:lnTo>
                      <a:pt x="1290" y="1621"/>
                    </a:lnTo>
                    <a:lnTo>
                      <a:pt x="1288" y="1621"/>
                    </a:lnTo>
                    <a:close/>
                    <a:moveTo>
                      <a:pt x="1329" y="1648"/>
                    </a:moveTo>
                    <a:lnTo>
                      <a:pt x="1331" y="1648"/>
                    </a:lnTo>
                    <a:lnTo>
                      <a:pt x="1329" y="1648"/>
                    </a:lnTo>
                    <a:close/>
                    <a:moveTo>
                      <a:pt x="1261" y="1587"/>
                    </a:moveTo>
                    <a:lnTo>
                      <a:pt x="1263" y="1587"/>
                    </a:lnTo>
                    <a:lnTo>
                      <a:pt x="1261" y="1587"/>
                    </a:lnTo>
                    <a:close/>
                    <a:moveTo>
                      <a:pt x="1152" y="1185"/>
                    </a:moveTo>
                    <a:lnTo>
                      <a:pt x="1154" y="1185"/>
                    </a:lnTo>
                    <a:lnTo>
                      <a:pt x="1154" y="1187"/>
                    </a:lnTo>
                    <a:lnTo>
                      <a:pt x="1152" y="1187"/>
                    </a:lnTo>
                    <a:lnTo>
                      <a:pt x="1152" y="1185"/>
                    </a:lnTo>
                    <a:close/>
                    <a:moveTo>
                      <a:pt x="1193" y="1492"/>
                    </a:moveTo>
                    <a:lnTo>
                      <a:pt x="1195" y="1492"/>
                    </a:lnTo>
                    <a:lnTo>
                      <a:pt x="1193" y="1492"/>
                    </a:lnTo>
                    <a:close/>
                    <a:moveTo>
                      <a:pt x="1183" y="1425"/>
                    </a:moveTo>
                    <a:lnTo>
                      <a:pt x="1185" y="1425"/>
                    </a:lnTo>
                    <a:lnTo>
                      <a:pt x="1185" y="1427"/>
                    </a:lnTo>
                    <a:lnTo>
                      <a:pt x="1183" y="1427"/>
                    </a:lnTo>
                    <a:lnTo>
                      <a:pt x="1183" y="1425"/>
                    </a:lnTo>
                    <a:close/>
                    <a:moveTo>
                      <a:pt x="1164" y="1396"/>
                    </a:moveTo>
                    <a:lnTo>
                      <a:pt x="1164" y="1398"/>
                    </a:lnTo>
                    <a:lnTo>
                      <a:pt x="1164" y="1396"/>
                    </a:lnTo>
                    <a:close/>
                    <a:moveTo>
                      <a:pt x="1220" y="1526"/>
                    </a:moveTo>
                    <a:lnTo>
                      <a:pt x="1222" y="1526"/>
                    </a:lnTo>
                    <a:lnTo>
                      <a:pt x="1222" y="1527"/>
                    </a:lnTo>
                    <a:lnTo>
                      <a:pt x="1220" y="1527"/>
                    </a:lnTo>
                    <a:lnTo>
                      <a:pt x="1220" y="1526"/>
                    </a:lnTo>
                    <a:close/>
                    <a:moveTo>
                      <a:pt x="1178" y="1517"/>
                    </a:moveTo>
                    <a:lnTo>
                      <a:pt x="1179" y="1517"/>
                    </a:lnTo>
                    <a:lnTo>
                      <a:pt x="1178" y="1517"/>
                    </a:lnTo>
                    <a:close/>
                    <a:moveTo>
                      <a:pt x="1159" y="1356"/>
                    </a:moveTo>
                    <a:lnTo>
                      <a:pt x="1161" y="1356"/>
                    </a:lnTo>
                    <a:lnTo>
                      <a:pt x="1159" y="1356"/>
                    </a:lnTo>
                    <a:close/>
                    <a:moveTo>
                      <a:pt x="1159" y="1390"/>
                    </a:moveTo>
                    <a:lnTo>
                      <a:pt x="1161" y="1390"/>
                    </a:lnTo>
                    <a:lnTo>
                      <a:pt x="1159" y="1390"/>
                    </a:lnTo>
                    <a:close/>
                    <a:moveTo>
                      <a:pt x="1176" y="1386"/>
                    </a:moveTo>
                    <a:lnTo>
                      <a:pt x="1178" y="1386"/>
                    </a:lnTo>
                    <a:lnTo>
                      <a:pt x="1176" y="1386"/>
                    </a:lnTo>
                    <a:close/>
                    <a:moveTo>
                      <a:pt x="1438" y="1680"/>
                    </a:moveTo>
                    <a:lnTo>
                      <a:pt x="1440" y="1680"/>
                    </a:lnTo>
                    <a:lnTo>
                      <a:pt x="1440" y="1682"/>
                    </a:lnTo>
                    <a:lnTo>
                      <a:pt x="1438" y="1682"/>
                    </a:lnTo>
                    <a:lnTo>
                      <a:pt x="1438" y="1680"/>
                    </a:lnTo>
                    <a:close/>
                    <a:moveTo>
                      <a:pt x="1193" y="1140"/>
                    </a:moveTo>
                    <a:lnTo>
                      <a:pt x="1195" y="1140"/>
                    </a:lnTo>
                    <a:lnTo>
                      <a:pt x="1195" y="1141"/>
                    </a:lnTo>
                    <a:lnTo>
                      <a:pt x="1193" y="1141"/>
                    </a:lnTo>
                    <a:lnTo>
                      <a:pt x="1193" y="1140"/>
                    </a:lnTo>
                    <a:close/>
                    <a:moveTo>
                      <a:pt x="1159" y="1420"/>
                    </a:moveTo>
                    <a:lnTo>
                      <a:pt x="1159" y="1422"/>
                    </a:lnTo>
                    <a:lnTo>
                      <a:pt x="1159" y="1420"/>
                    </a:lnTo>
                    <a:close/>
                    <a:moveTo>
                      <a:pt x="1365" y="1660"/>
                    </a:moveTo>
                    <a:lnTo>
                      <a:pt x="1366" y="1660"/>
                    </a:lnTo>
                    <a:lnTo>
                      <a:pt x="1365" y="1660"/>
                    </a:lnTo>
                    <a:close/>
                    <a:moveTo>
                      <a:pt x="1205" y="1500"/>
                    </a:moveTo>
                    <a:lnTo>
                      <a:pt x="1207" y="1500"/>
                    </a:lnTo>
                    <a:lnTo>
                      <a:pt x="1207" y="1502"/>
                    </a:lnTo>
                    <a:lnTo>
                      <a:pt x="1205" y="1502"/>
                    </a:lnTo>
                    <a:lnTo>
                      <a:pt x="1205" y="1500"/>
                    </a:lnTo>
                    <a:close/>
                    <a:moveTo>
                      <a:pt x="1208" y="1053"/>
                    </a:moveTo>
                    <a:lnTo>
                      <a:pt x="1208" y="1054"/>
                    </a:lnTo>
                    <a:lnTo>
                      <a:pt x="1208" y="1053"/>
                    </a:lnTo>
                    <a:close/>
                    <a:moveTo>
                      <a:pt x="1179" y="1425"/>
                    </a:moveTo>
                    <a:lnTo>
                      <a:pt x="1179" y="1427"/>
                    </a:lnTo>
                    <a:lnTo>
                      <a:pt x="1179" y="1425"/>
                    </a:lnTo>
                    <a:close/>
                    <a:moveTo>
                      <a:pt x="1268" y="1597"/>
                    </a:moveTo>
                    <a:lnTo>
                      <a:pt x="1270" y="1597"/>
                    </a:lnTo>
                    <a:lnTo>
                      <a:pt x="1270" y="1599"/>
                    </a:lnTo>
                    <a:lnTo>
                      <a:pt x="1268" y="1599"/>
                    </a:lnTo>
                    <a:lnTo>
                      <a:pt x="1268" y="1597"/>
                    </a:lnTo>
                    <a:close/>
                    <a:moveTo>
                      <a:pt x="1220" y="1560"/>
                    </a:moveTo>
                    <a:lnTo>
                      <a:pt x="1222" y="1560"/>
                    </a:lnTo>
                    <a:lnTo>
                      <a:pt x="1220" y="1560"/>
                    </a:lnTo>
                    <a:close/>
                    <a:moveTo>
                      <a:pt x="1229" y="1570"/>
                    </a:moveTo>
                    <a:lnTo>
                      <a:pt x="1230" y="1570"/>
                    </a:lnTo>
                    <a:lnTo>
                      <a:pt x="1230" y="1572"/>
                    </a:lnTo>
                    <a:lnTo>
                      <a:pt x="1229" y="1572"/>
                    </a:lnTo>
                    <a:lnTo>
                      <a:pt x="1229" y="1570"/>
                    </a:lnTo>
                    <a:close/>
                    <a:moveTo>
                      <a:pt x="1176" y="1245"/>
                    </a:moveTo>
                    <a:lnTo>
                      <a:pt x="1178" y="1245"/>
                    </a:lnTo>
                    <a:lnTo>
                      <a:pt x="1178" y="1247"/>
                    </a:lnTo>
                    <a:lnTo>
                      <a:pt x="1176" y="1247"/>
                    </a:lnTo>
                    <a:lnTo>
                      <a:pt x="1176" y="1245"/>
                    </a:lnTo>
                    <a:close/>
                    <a:moveTo>
                      <a:pt x="1203" y="1549"/>
                    </a:moveTo>
                    <a:lnTo>
                      <a:pt x="1205" y="1549"/>
                    </a:lnTo>
                    <a:lnTo>
                      <a:pt x="1205" y="1551"/>
                    </a:lnTo>
                    <a:lnTo>
                      <a:pt x="1203" y="1551"/>
                    </a:lnTo>
                    <a:lnTo>
                      <a:pt x="1203" y="1549"/>
                    </a:lnTo>
                    <a:close/>
                    <a:moveTo>
                      <a:pt x="1205" y="1095"/>
                    </a:moveTo>
                    <a:lnTo>
                      <a:pt x="1205" y="1097"/>
                    </a:lnTo>
                    <a:lnTo>
                      <a:pt x="1205" y="1095"/>
                    </a:lnTo>
                    <a:close/>
                    <a:moveTo>
                      <a:pt x="1224" y="976"/>
                    </a:moveTo>
                    <a:lnTo>
                      <a:pt x="1225" y="976"/>
                    </a:lnTo>
                    <a:lnTo>
                      <a:pt x="1225" y="978"/>
                    </a:lnTo>
                    <a:lnTo>
                      <a:pt x="1224" y="978"/>
                    </a:lnTo>
                    <a:lnTo>
                      <a:pt x="1224" y="976"/>
                    </a:lnTo>
                    <a:close/>
                    <a:moveTo>
                      <a:pt x="1390" y="1645"/>
                    </a:moveTo>
                    <a:lnTo>
                      <a:pt x="1392" y="1645"/>
                    </a:lnTo>
                    <a:lnTo>
                      <a:pt x="1392" y="1646"/>
                    </a:lnTo>
                    <a:lnTo>
                      <a:pt x="1390" y="1646"/>
                    </a:lnTo>
                    <a:lnTo>
                      <a:pt x="1390" y="1645"/>
                    </a:lnTo>
                    <a:close/>
                    <a:moveTo>
                      <a:pt x="1205" y="1119"/>
                    </a:moveTo>
                    <a:lnTo>
                      <a:pt x="1207" y="1119"/>
                    </a:lnTo>
                    <a:lnTo>
                      <a:pt x="1205" y="1119"/>
                    </a:lnTo>
                    <a:close/>
                    <a:moveTo>
                      <a:pt x="1200" y="1248"/>
                    </a:moveTo>
                    <a:lnTo>
                      <a:pt x="1202" y="1248"/>
                    </a:lnTo>
                    <a:lnTo>
                      <a:pt x="1202" y="1250"/>
                    </a:lnTo>
                    <a:lnTo>
                      <a:pt x="1200" y="1250"/>
                    </a:lnTo>
                    <a:lnTo>
                      <a:pt x="1200" y="1248"/>
                    </a:lnTo>
                    <a:close/>
                    <a:moveTo>
                      <a:pt x="1395" y="1655"/>
                    </a:moveTo>
                    <a:lnTo>
                      <a:pt x="1397" y="1655"/>
                    </a:lnTo>
                    <a:lnTo>
                      <a:pt x="1397" y="1657"/>
                    </a:lnTo>
                    <a:lnTo>
                      <a:pt x="1395" y="1657"/>
                    </a:lnTo>
                    <a:lnTo>
                      <a:pt x="1395" y="1655"/>
                    </a:lnTo>
                    <a:close/>
                    <a:moveTo>
                      <a:pt x="1159" y="1349"/>
                    </a:moveTo>
                    <a:lnTo>
                      <a:pt x="1161" y="1349"/>
                    </a:lnTo>
                    <a:lnTo>
                      <a:pt x="1159" y="1349"/>
                    </a:lnTo>
                    <a:close/>
                    <a:moveTo>
                      <a:pt x="1198" y="1437"/>
                    </a:moveTo>
                    <a:lnTo>
                      <a:pt x="1198" y="1439"/>
                    </a:lnTo>
                    <a:lnTo>
                      <a:pt x="1198" y="1437"/>
                    </a:lnTo>
                    <a:close/>
                    <a:moveTo>
                      <a:pt x="1217" y="1561"/>
                    </a:moveTo>
                    <a:lnTo>
                      <a:pt x="1219" y="1561"/>
                    </a:lnTo>
                    <a:lnTo>
                      <a:pt x="1217" y="1561"/>
                    </a:lnTo>
                    <a:close/>
                    <a:moveTo>
                      <a:pt x="1174" y="1446"/>
                    </a:moveTo>
                    <a:lnTo>
                      <a:pt x="1174" y="1447"/>
                    </a:lnTo>
                    <a:lnTo>
                      <a:pt x="1174" y="1446"/>
                    </a:lnTo>
                    <a:close/>
                    <a:moveTo>
                      <a:pt x="1185" y="1063"/>
                    </a:moveTo>
                    <a:lnTo>
                      <a:pt x="1185" y="1065"/>
                    </a:lnTo>
                    <a:lnTo>
                      <a:pt x="1185" y="1063"/>
                    </a:lnTo>
                    <a:close/>
                    <a:moveTo>
                      <a:pt x="1368" y="1669"/>
                    </a:moveTo>
                    <a:lnTo>
                      <a:pt x="1368" y="1670"/>
                    </a:lnTo>
                    <a:lnTo>
                      <a:pt x="1368" y="1669"/>
                    </a:lnTo>
                    <a:close/>
                    <a:moveTo>
                      <a:pt x="1196" y="1488"/>
                    </a:moveTo>
                    <a:lnTo>
                      <a:pt x="1198" y="1488"/>
                    </a:lnTo>
                    <a:lnTo>
                      <a:pt x="1198" y="1490"/>
                    </a:lnTo>
                    <a:lnTo>
                      <a:pt x="1196" y="1490"/>
                    </a:lnTo>
                    <a:lnTo>
                      <a:pt x="1196" y="1488"/>
                    </a:lnTo>
                    <a:close/>
                    <a:moveTo>
                      <a:pt x="1156" y="1362"/>
                    </a:moveTo>
                    <a:lnTo>
                      <a:pt x="1156" y="1364"/>
                    </a:lnTo>
                    <a:lnTo>
                      <a:pt x="1156" y="1362"/>
                    </a:lnTo>
                    <a:close/>
                    <a:moveTo>
                      <a:pt x="1207" y="1155"/>
                    </a:moveTo>
                    <a:lnTo>
                      <a:pt x="1208" y="1155"/>
                    </a:lnTo>
                    <a:lnTo>
                      <a:pt x="1207" y="1155"/>
                    </a:lnTo>
                    <a:close/>
                    <a:moveTo>
                      <a:pt x="1224" y="956"/>
                    </a:moveTo>
                    <a:lnTo>
                      <a:pt x="1225" y="956"/>
                    </a:lnTo>
                    <a:lnTo>
                      <a:pt x="1225" y="957"/>
                    </a:lnTo>
                    <a:lnTo>
                      <a:pt x="1224" y="957"/>
                    </a:lnTo>
                    <a:lnTo>
                      <a:pt x="1224" y="956"/>
                    </a:lnTo>
                    <a:close/>
                    <a:moveTo>
                      <a:pt x="1196" y="1453"/>
                    </a:moveTo>
                    <a:lnTo>
                      <a:pt x="1198" y="1453"/>
                    </a:lnTo>
                    <a:lnTo>
                      <a:pt x="1198" y="1454"/>
                    </a:lnTo>
                    <a:lnTo>
                      <a:pt x="1196" y="1454"/>
                    </a:lnTo>
                    <a:lnTo>
                      <a:pt x="1196" y="1453"/>
                    </a:lnTo>
                    <a:close/>
                    <a:moveTo>
                      <a:pt x="1193" y="1487"/>
                    </a:moveTo>
                    <a:lnTo>
                      <a:pt x="1193" y="1488"/>
                    </a:lnTo>
                    <a:lnTo>
                      <a:pt x="1193" y="1487"/>
                    </a:lnTo>
                    <a:close/>
                    <a:moveTo>
                      <a:pt x="1191" y="1140"/>
                    </a:moveTo>
                    <a:lnTo>
                      <a:pt x="1193" y="1140"/>
                    </a:lnTo>
                    <a:lnTo>
                      <a:pt x="1191" y="1140"/>
                    </a:lnTo>
                    <a:close/>
                    <a:moveTo>
                      <a:pt x="1222" y="1568"/>
                    </a:moveTo>
                    <a:lnTo>
                      <a:pt x="1224" y="1568"/>
                    </a:lnTo>
                    <a:lnTo>
                      <a:pt x="1222" y="1568"/>
                    </a:lnTo>
                    <a:close/>
                    <a:moveTo>
                      <a:pt x="1220" y="1071"/>
                    </a:moveTo>
                    <a:lnTo>
                      <a:pt x="1220" y="1073"/>
                    </a:lnTo>
                    <a:lnTo>
                      <a:pt x="1220" y="1071"/>
                    </a:lnTo>
                    <a:close/>
                    <a:moveTo>
                      <a:pt x="1440" y="1665"/>
                    </a:moveTo>
                    <a:lnTo>
                      <a:pt x="1440" y="1667"/>
                    </a:lnTo>
                    <a:lnTo>
                      <a:pt x="1440" y="1665"/>
                    </a:lnTo>
                    <a:close/>
                    <a:moveTo>
                      <a:pt x="1149" y="1328"/>
                    </a:moveTo>
                    <a:lnTo>
                      <a:pt x="1149" y="1330"/>
                    </a:lnTo>
                    <a:lnTo>
                      <a:pt x="1149" y="1328"/>
                    </a:lnTo>
                    <a:close/>
                    <a:moveTo>
                      <a:pt x="1188" y="1485"/>
                    </a:moveTo>
                    <a:lnTo>
                      <a:pt x="1188" y="1487"/>
                    </a:lnTo>
                    <a:lnTo>
                      <a:pt x="1188" y="1485"/>
                    </a:lnTo>
                    <a:close/>
                    <a:moveTo>
                      <a:pt x="1174" y="1102"/>
                    </a:moveTo>
                    <a:lnTo>
                      <a:pt x="1176" y="1102"/>
                    </a:lnTo>
                    <a:lnTo>
                      <a:pt x="1176" y="1104"/>
                    </a:lnTo>
                    <a:lnTo>
                      <a:pt x="1174" y="1104"/>
                    </a:lnTo>
                    <a:lnTo>
                      <a:pt x="1174" y="1102"/>
                    </a:lnTo>
                    <a:close/>
                    <a:moveTo>
                      <a:pt x="1389" y="1628"/>
                    </a:moveTo>
                    <a:lnTo>
                      <a:pt x="1390" y="1628"/>
                    </a:lnTo>
                    <a:lnTo>
                      <a:pt x="1389" y="1628"/>
                    </a:lnTo>
                    <a:close/>
                    <a:moveTo>
                      <a:pt x="1220" y="1060"/>
                    </a:moveTo>
                    <a:lnTo>
                      <a:pt x="1222" y="1060"/>
                    </a:lnTo>
                    <a:lnTo>
                      <a:pt x="1222" y="1061"/>
                    </a:lnTo>
                    <a:lnTo>
                      <a:pt x="1220" y="1061"/>
                    </a:lnTo>
                    <a:lnTo>
                      <a:pt x="1220" y="1060"/>
                    </a:lnTo>
                    <a:close/>
                    <a:moveTo>
                      <a:pt x="1225" y="1556"/>
                    </a:moveTo>
                    <a:lnTo>
                      <a:pt x="1225" y="1558"/>
                    </a:lnTo>
                    <a:lnTo>
                      <a:pt x="1225" y="1556"/>
                    </a:lnTo>
                    <a:close/>
                    <a:moveTo>
                      <a:pt x="1190" y="1097"/>
                    </a:moveTo>
                    <a:lnTo>
                      <a:pt x="1190" y="1099"/>
                    </a:lnTo>
                    <a:lnTo>
                      <a:pt x="1190" y="1097"/>
                    </a:lnTo>
                    <a:close/>
                    <a:moveTo>
                      <a:pt x="1188" y="1487"/>
                    </a:moveTo>
                    <a:lnTo>
                      <a:pt x="1190" y="1487"/>
                    </a:lnTo>
                    <a:lnTo>
                      <a:pt x="1190" y="1488"/>
                    </a:lnTo>
                    <a:lnTo>
                      <a:pt x="1188" y="1488"/>
                    </a:lnTo>
                    <a:lnTo>
                      <a:pt x="1188" y="1487"/>
                    </a:lnTo>
                    <a:close/>
                    <a:moveTo>
                      <a:pt x="1196" y="1092"/>
                    </a:moveTo>
                    <a:lnTo>
                      <a:pt x="1198" y="1092"/>
                    </a:lnTo>
                    <a:lnTo>
                      <a:pt x="1196" y="1092"/>
                    </a:lnTo>
                    <a:close/>
                    <a:moveTo>
                      <a:pt x="1166" y="1236"/>
                    </a:moveTo>
                    <a:lnTo>
                      <a:pt x="1168" y="1236"/>
                    </a:lnTo>
                    <a:lnTo>
                      <a:pt x="1166" y="1236"/>
                    </a:lnTo>
                    <a:close/>
                    <a:moveTo>
                      <a:pt x="1181" y="1473"/>
                    </a:moveTo>
                    <a:lnTo>
                      <a:pt x="1183" y="1473"/>
                    </a:lnTo>
                    <a:lnTo>
                      <a:pt x="1183" y="1475"/>
                    </a:lnTo>
                    <a:lnTo>
                      <a:pt x="1181" y="1475"/>
                    </a:lnTo>
                    <a:lnTo>
                      <a:pt x="1181" y="1473"/>
                    </a:lnTo>
                    <a:close/>
                    <a:moveTo>
                      <a:pt x="1152" y="1187"/>
                    </a:moveTo>
                    <a:lnTo>
                      <a:pt x="1154" y="1187"/>
                    </a:lnTo>
                    <a:lnTo>
                      <a:pt x="1152" y="1187"/>
                    </a:lnTo>
                    <a:close/>
                    <a:moveTo>
                      <a:pt x="1219" y="1583"/>
                    </a:moveTo>
                    <a:lnTo>
                      <a:pt x="1220" y="1583"/>
                    </a:lnTo>
                    <a:lnTo>
                      <a:pt x="1220" y="1585"/>
                    </a:lnTo>
                    <a:lnTo>
                      <a:pt x="1219" y="1585"/>
                    </a:lnTo>
                    <a:lnTo>
                      <a:pt x="1219" y="1583"/>
                    </a:lnTo>
                    <a:close/>
                    <a:moveTo>
                      <a:pt x="1162" y="1240"/>
                    </a:moveTo>
                    <a:lnTo>
                      <a:pt x="1164" y="1240"/>
                    </a:lnTo>
                    <a:lnTo>
                      <a:pt x="1164" y="1242"/>
                    </a:lnTo>
                    <a:lnTo>
                      <a:pt x="1162" y="1242"/>
                    </a:lnTo>
                    <a:lnTo>
                      <a:pt x="1162" y="1240"/>
                    </a:lnTo>
                    <a:close/>
                    <a:moveTo>
                      <a:pt x="1237" y="1590"/>
                    </a:moveTo>
                    <a:lnTo>
                      <a:pt x="1237" y="1592"/>
                    </a:lnTo>
                    <a:lnTo>
                      <a:pt x="1237" y="1590"/>
                    </a:lnTo>
                    <a:close/>
                    <a:moveTo>
                      <a:pt x="1239" y="1582"/>
                    </a:moveTo>
                    <a:lnTo>
                      <a:pt x="1241" y="1582"/>
                    </a:lnTo>
                    <a:lnTo>
                      <a:pt x="1241" y="1583"/>
                    </a:lnTo>
                    <a:lnTo>
                      <a:pt x="1239" y="1583"/>
                    </a:lnTo>
                    <a:lnTo>
                      <a:pt x="1239" y="1582"/>
                    </a:lnTo>
                    <a:close/>
                    <a:moveTo>
                      <a:pt x="1190" y="1485"/>
                    </a:moveTo>
                    <a:lnTo>
                      <a:pt x="1191" y="1485"/>
                    </a:lnTo>
                    <a:lnTo>
                      <a:pt x="1191" y="1487"/>
                    </a:lnTo>
                    <a:lnTo>
                      <a:pt x="1190" y="1487"/>
                    </a:lnTo>
                    <a:lnTo>
                      <a:pt x="1190" y="1485"/>
                    </a:lnTo>
                    <a:close/>
                    <a:moveTo>
                      <a:pt x="1220" y="1541"/>
                    </a:moveTo>
                    <a:lnTo>
                      <a:pt x="1224" y="1541"/>
                    </a:lnTo>
                    <a:lnTo>
                      <a:pt x="1224" y="1543"/>
                    </a:lnTo>
                    <a:lnTo>
                      <a:pt x="1220" y="1543"/>
                    </a:lnTo>
                    <a:lnTo>
                      <a:pt x="1220" y="1541"/>
                    </a:lnTo>
                    <a:close/>
                    <a:moveTo>
                      <a:pt x="1183" y="1483"/>
                    </a:moveTo>
                    <a:lnTo>
                      <a:pt x="1185" y="1483"/>
                    </a:lnTo>
                    <a:lnTo>
                      <a:pt x="1183" y="1483"/>
                    </a:lnTo>
                    <a:close/>
                    <a:moveTo>
                      <a:pt x="1210" y="1560"/>
                    </a:moveTo>
                    <a:lnTo>
                      <a:pt x="1212" y="1560"/>
                    </a:lnTo>
                    <a:lnTo>
                      <a:pt x="1210" y="1560"/>
                    </a:lnTo>
                    <a:close/>
                    <a:moveTo>
                      <a:pt x="1205" y="1119"/>
                    </a:moveTo>
                    <a:lnTo>
                      <a:pt x="1205" y="1121"/>
                    </a:lnTo>
                    <a:lnTo>
                      <a:pt x="1205" y="1119"/>
                    </a:lnTo>
                    <a:close/>
                    <a:moveTo>
                      <a:pt x="1280" y="432"/>
                    </a:moveTo>
                    <a:lnTo>
                      <a:pt x="1280" y="434"/>
                    </a:lnTo>
                    <a:lnTo>
                      <a:pt x="1280" y="432"/>
                    </a:lnTo>
                    <a:close/>
                    <a:moveTo>
                      <a:pt x="1171" y="1381"/>
                    </a:moveTo>
                    <a:lnTo>
                      <a:pt x="1173" y="1381"/>
                    </a:lnTo>
                    <a:lnTo>
                      <a:pt x="1171" y="1381"/>
                    </a:lnTo>
                    <a:close/>
                    <a:moveTo>
                      <a:pt x="1219" y="956"/>
                    </a:moveTo>
                    <a:lnTo>
                      <a:pt x="1219" y="957"/>
                    </a:lnTo>
                    <a:lnTo>
                      <a:pt x="1219" y="956"/>
                    </a:lnTo>
                    <a:close/>
                    <a:moveTo>
                      <a:pt x="1229" y="1566"/>
                    </a:moveTo>
                    <a:lnTo>
                      <a:pt x="1230" y="1566"/>
                    </a:lnTo>
                    <a:lnTo>
                      <a:pt x="1229" y="1566"/>
                    </a:lnTo>
                    <a:close/>
                    <a:moveTo>
                      <a:pt x="1280" y="1595"/>
                    </a:moveTo>
                    <a:lnTo>
                      <a:pt x="1281" y="1595"/>
                    </a:lnTo>
                    <a:lnTo>
                      <a:pt x="1281" y="1597"/>
                    </a:lnTo>
                    <a:lnTo>
                      <a:pt x="1280" y="1597"/>
                    </a:lnTo>
                    <a:lnTo>
                      <a:pt x="1280" y="1595"/>
                    </a:lnTo>
                    <a:close/>
                    <a:moveTo>
                      <a:pt x="1219" y="1556"/>
                    </a:moveTo>
                    <a:lnTo>
                      <a:pt x="1222" y="1556"/>
                    </a:lnTo>
                    <a:lnTo>
                      <a:pt x="1219" y="1556"/>
                    </a:lnTo>
                    <a:close/>
                    <a:moveTo>
                      <a:pt x="1360" y="1648"/>
                    </a:moveTo>
                    <a:lnTo>
                      <a:pt x="1361" y="1648"/>
                    </a:lnTo>
                    <a:lnTo>
                      <a:pt x="1361" y="1650"/>
                    </a:lnTo>
                    <a:lnTo>
                      <a:pt x="1360" y="1650"/>
                    </a:lnTo>
                    <a:lnTo>
                      <a:pt x="1360" y="1648"/>
                    </a:lnTo>
                    <a:close/>
                    <a:moveTo>
                      <a:pt x="1254" y="1595"/>
                    </a:moveTo>
                    <a:lnTo>
                      <a:pt x="1254" y="1597"/>
                    </a:lnTo>
                    <a:lnTo>
                      <a:pt x="1254" y="1595"/>
                    </a:lnTo>
                    <a:close/>
                    <a:moveTo>
                      <a:pt x="1154" y="1243"/>
                    </a:moveTo>
                    <a:lnTo>
                      <a:pt x="1156" y="1243"/>
                    </a:lnTo>
                    <a:lnTo>
                      <a:pt x="1156" y="1245"/>
                    </a:lnTo>
                    <a:lnTo>
                      <a:pt x="1154" y="1245"/>
                    </a:lnTo>
                    <a:lnTo>
                      <a:pt x="1154" y="1243"/>
                    </a:lnTo>
                    <a:close/>
                    <a:moveTo>
                      <a:pt x="1205" y="1094"/>
                    </a:moveTo>
                    <a:lnTo>
                      <a:pt x="1205" y="1095"/>
                    </a:lnTo>
                    <a:lnTo>
                      <a:pt x="1205" y="1094"/>
                    </a:lnTo>
                    <a:close/>
                    <a:moveTo>
                      <a:pt x="1188" y="1276"/>
                    </a:moveTo>
                    <a:lnTo>
                      <a:pt x="1190" y="1276"/>
                    </a:lnTo>
                    <a:lnTo>
                      <a:pt x="1190" y="1277"/>
                    </a:lnTo>
                    <a:lnTo>
                      <a:pt x="1188" y="1277"/>
                    </a:lnTo>
                    <a:lnTo>
                      <a:pt x="1188" y="1276"/>
                    </a:lnTo>
                    <a:close/>
                    <a:moveTo>
                      <a:pt x="1159" y="1388"/>
                    </a:moveTo>
                    <a:lnTo>
                      <a:pt x="1161" y="1388"/>
                    </a:lnTo>
                    <a:lnTo>
                      <a:pt x="1161" y="1390"/>
                    </a:lnTo>
                    <a:lnTo>
                      <a:pt x="1159" y="1390"/>
                    </a:lnTo>
                    <a:lnTo>
                      <a:pt x="1159" y="1388"/>
                    </a:lnTo>
                    <a:close/>
                    <a:moveTo>
                      <a:pt x="1205" y="1250"/>
                    </a:moveTo>
                    <a:lnTo>
                      <a:pt x="1207" y="1250"/>
                    </a:lnTo>
                    <a:lnTo>
                      <a:pt x="1207" y="1252"/>
                    </a:lnTo>
                    <a:lnTo>
                      <a:pt x="1205" y="1252"/>
                    </a:lnTo>
                    <a:lnTo>
                      <a:pt x="1205" y="1250"/>
                    </a:lnTo>
                    <a:close/>
                    <a:moveTo>
                      <a:pt x="1166" y="1242"/>
                    </a:moveTo>
                    <a:lnTo>
                      <a:pt x="1166" y="1243"/>
                    </a:lnTo>
                    <a:lnTo>
                      <a:pt x="1166" y="1242"/>
                    </a:lnTo>
                    <a:close/>
                    <a:moveTo>
                      <a:pt x="1263" y="1590"/>
                    </a:moveTo>
                    <a:lnTo>
                      <a:pt x="1264" y="1590"/>
                    </a:lnTo>
                    <a:lnTo>
                      <a:pt x="1264" y="1592"/>
                    </a:lnTo>
                    <a:lnTo>
                      <a:pt x="1263" y="1592"/>
                    </a:lnTo>
                    <a:lnTo>
                      <a:pt x="1263" y="1590"/>
                    </a:lnTo>
                    <a:close/>
                    <a:moveTo>
                      <a:pt x="1321" y="1626"/>
                    </a:moveTo>
                    <a:lnTo>
                      <a:pt x="1322" y="1626"/>
                    </a:lnTo>
                    <a:lnTo>
                      <a:pt x="1321" y="1626"/>
                    </a:lnTo>
                    <a:close/>
                    <a:moveTo>
                      <a:pt x="1176" y="1432"/>
                    </a:moveTo>
                    <a:lnTo>
                      <a:pt x="1178" y="1432"/>
                    </a:lnTo>
                    <a:lnTo>
                      <a:pt x="1176" y="1432"/>
                    </a:lnTo>
                    <a:close/>
                    <a:moveTo>
                      <a:pt x="1220" y="1556"/>
                    </a:moveTo>
                    <a:lnTo>
                      <a:pt x="1220" y="1558"/>
                    </a:lnTo>
                    <a:lnTo>
                      <a:pt x="1220" y="1556"/>
                    </a:lnTo>
                    <a:close/>
                    <a:moveTo>
                      <a:pt x="1202" y="1058"/>
                    </a:moveTo>
                    <a:lnTo>
                      <a:pt x="1203" y="1058"/>
                    </a:lnTo>
                    <a:lnTo>
                      <a:pt x="1203" y="1060"/>
                    </a:lnTo>
                    <a:lnTo>
                      <a:pt x="1202" y="1060"/>
                    </a:lnTo>
                    <a:lnTo>
                      <a:pt x="1202" y="1058"/>
                    </a:lnTo>
                    <a:close/>
                    <a:moveTo>
                      <a:pt x="1339" y="1660"/>
                    </a:moveTo>
                    <a:lnTo>
                      <a:pt x="1339" y="1662"/>
                    </a:lnTo>
                    <a:lnTo>
                      <a:pt x="1339" y="1660"/>
                    </a:lnTo>
                    <a:close/>
                    <a:moveTo>
                      <a:pt x="1205" y="1122"/>
                    </a:moveTo>
                    <a:lnTo>
                      <a:pt x="1205" y="1124"/>
                    </a:lnTo>
                    <a:lnTo>
                      <a:pt x="1205" y="1122"/>
                    </a:lnTo>
                    <a:close/>
                    <a:moveTo>
                      <a:pt x="1295" y="1616"/>
                    </a:moveTo>
                    <a:lnTo>
                      <a:pt x="1297" y="1616"/>
                    </a:lnTo>
                    <a:lnTo>
                      <a:pt x="1297" y="1618"/>
                    </a:lnTo>
                    <a:lnTo>
                      <a:pt x="1295" y="1618"/>
                    </a:lnTo>
                    <a:lnTo>
                      <a:pt x="1295" y="1616"/>
                    </a:lnTo>
                    <a:close/>
                    <a:moveTo>
                      <a:pt x="1326" y="1650"/>
                    </a:moveTo>
                    <a:lnTo>
                      <a:pt x="1327" y="1650"/>
                    </a:lnTo>
                    <a:lnTo>
                      <a:pt x="1327" y="1652"/>
                    </a:lnTo>
                    <a:lnTo>
                      <a:pt x="1326" y="1652"/>
                    </a:lnTo>
                    <a:lnTo>
                      <a:pt x="1326" y="1650"/>
                    </a:lnTo>
                    <a:close/>
                    <a:moveTo>
                      <a:pt x="1169" y="1434"/>
                    </a:moveTo>
                    <a:lnTo>
                      <a:pt x="1171" y="1434"/>
                    </a:lnTo>
                    <a:lnTo>
                      <a:pt x="1169" y="1434"/>
                    </a:lnTo>
                    <a:close/>
                    <a:moveTo>
                      <a:pt x="1251" y="1597"/>
                    </a:moveTo>
                    <a:lnTo>
                      <a:pt x="1251" y="1599"/>
                    </a:lnTo>
                    <a:lnTo>
                      <a:pt x="1251" y="1597"/>
                    </a:lnTo>
                    <a:close/>
                    <a:moveTo>
                      <a:pt x="1159" y="1349"/>
                    </a:moveTo>
                    <a:lnTo>
                      <a:pt x="1161" y="1349"/>
                    </a:lnTo>
                    <a:lnTo>
                      <a:pt x="1159" y="1349"/>
                    </a:lnTo>
                    <a:close/>
                    <a:moveTo>
                      <a:pt x="1227" y="1583"/>
                    </a:moveTo>
                    <a:lnTo>
                      <a:pt x="1229" y="1583"/>
                    </a:lnTo>
                    <a:lnTo>
                      <a:pt x="1227" y="1583"/>
                    </a:lnTo>
                    <a:close/>
                    <a:moveTo>
                      <a:pt x="1219" y="1524"/>
                    </a:moveTo>
                    <a:lnTo>
                      <a:pt x="1220" y="1524"/>
                    </a:lnTo>
                    <a:lnTo>
                      <a:pt x="1220" y="1526"/>
                    </a:lnTo>
                    <a:lnTo>
                      <a:pt x="1219" y="1526"/>
                    </a:lnTo>
                    <a:lnTo>
                      <a:pt x="1219" y="1524"/>
                    </a:lnTo>
                    <a:close/>
                    <a:moveTo>
                      <a:pt x="1188" y="1447"/>
                    </a:moveTo>
                    <a:lnTo>
                      <a:pt x="1190" y="1447"/>
                    </a:lnTo>
                    <a:lnTo>
                      <a:pt x="1190" y="1449"/>
                    </a:lnTo>
                    <a:lnTo>
                      <a:pt x="1188" y="1449"/>
                    </a:lnTo>
                    <a:lnTo>
                      <a:pt x="1188" y="1447"/>
                    </a:lnTo>
                    <a:close/>
                    <a:moveTo>
                      <a:pt x="1154" y="1185"/>
                    </a:moveTo>
                    <a:lnTo>
                      <a:pt x="1156" y="1185"/>
                    </a:lnTo>
                    <a:lnTo>
                      <a:pt x="1156" y="1187"/>
                    </a:lnTo>
                    <a:lnTo>
                      <a:pt x="1154" y="1187"/>
                    </a:lnTo>
                    <a:lnTo>
                      <a:pt x="1154" y="1185"/>
                    </a:lnTo>
                    <a:close/>
                    <a:moveTo>
                      <a:pt x="1149" y="1332"/>
                    </a:moveTo>
                    <a:lnTo>
                      <a:pt x="1151" y="1332"/>
                    </a:lnTo>
                    <a:lnTo>
                      <a:pt x="1149" y="1332"/>
                    </a:lnTo>
                    <a:close/>
                    <a:moveTo>
                      <a:pt x="1385" y="1662"/>
                    </a:moveTo>
                    <a:lnTo>
                      <a:pt x="1385" y="1663"/>
                    </a:lnTo>
                    <a:lnTo>
                      <a:pt x="1385" y="1662"/>
                    </a:lnTo>
                    <a:close/>
                    <a:moveTo>
                      <a:pt x="1186" y="1485"/>
                    </a:moveTo>
                    <a:lnTo>
                      <a:pt x="1188" y="1485"/>
                    </a:lnTo>
                    <a:lnTo>
                      <a:pt x="1186" y="1485"/>
                    </a:lnTo>
                    <a:close/>
                    <a:moveTo>
                      <a:pt x="1181" y="1459"/>
                    </a:moveTo>
                    <a:lnTo>
                      <a:pt x="1181" y="1461"/>
                    </a:lnTo>
                    <a:lnTo>
                      <a:pt x="1181" y="1459"/>
                    </a:lnTo>
                    <a:close/>
                    <a:moveTo>
                      <a:pt x="1361" y="1670"/>
                    </a:moveTo>
                    <a:lnTo>
                      <a:pt x="1363" y="1670"/>
                    </a:lnTo>
                    <a:lnTo>
                      <a:pt x="1361" y="1670"/>
                    </a:lnTo>
                    <a:close/>
                    <a:moveTo>
                      <a:pt x="1210" y="1090"/>
                    </a:moveTo>
                    <a:lnTo>
                      <a:pt x="1212" y="1090"/>
                    </a:lnTo>
                    <a:lnTo>
                      <a:pt x="1212" y="1092"/>
                    </a:lnTo>
                    <a:lnTo>
                      <a:pt x="1210" y="1092"/>
                    </a:lnTo>
                    <a:lnTo>
                      <a:pt x="1210" y="1090"/>
                    </a:lnTo>
                    <a:close/>
                    <a:moveTo>
                      <a:pt x="1183" y="1071"/>
                    </a:moveTo>
                    <a:lnTo>
                      <a:pt x="1183" y="1073"/>
                    </a:lnTo>
                    <a:lnTo>
                      <a:pt x="1183" y="1071"/>
                    </a:lnTo>
                    <a:close/>
                    <a:moveTo>
                      <a:pt x="1205" y="1105"/>
                    </a:moveTo>
                    <a:lnTo>
                      <a:pt x="1207" y="1105"/>
                    </a:lnTo>
                    <a:lnTo>
                      <a:pt x="1205" y="1105"/>
                    </a:lnTo>
                    <a:close/>
                    <a:moveTo>
                      <a:pt x="1258" y="1602"/>
                    </a:moveTo>
                    <a:lnTo>
                      <a:pt x="1259" y="1602"/>
                    </a:lnTo>
                    <a:lnTo>
                      <a:pt x="1258" y="1602"/>
                    </a:lnTo>
                    <a:close/>
                    <a:moveTo>
                      <a:pt x="1220" y="1505"/>
                    </a:moveTo>
                    <a:lnTo>
                      <a:pt x="1222" y="1505"/>
                    </a:lnTo>
                    <a:lnTo>
                      <a:pt x="1222" y="1507"/>
                    </a:lnTo>
                    <a:lnTo>
                      <a:pt x="1220" y="1507"/>
                    </a:lnTo>
                    <a:lnTo>
                      <a:pt x="1220" y="1505"/>
                    </a:lnTo>
                    <a:close/>
                    <a:moveTo>
                      <a:pt x="1186" y="1444"/>
                    </a:moveTo>
                    <a:lnTo>
                      <a:pt x="1188" y="1444"/>
                    </a:lnTo>
                    <a:lnTo>
                      <a:pt x="1186" y="1444"/>
                    </a:lnTo>
                    <a:close/>
                    <a:moveTo>
                      <a:pt x="1404" y="1648"/>
                    </a:moveTo>
                    <a:lnTo>
                      <a:pt x="1406" y="1648"/>
                    </a:lnTo>
                    <a:lnTo>
                      <a:pt x="1404" y="1648"/>
                    </a:lnTo>
                    <a:close/>
                    <a:moveTo>
                      <a:pt x="1378" y="1665"/>
                    </a:moveTo>
                    <a:lnTo>
                      <a:pt x="1380" y="1665"/>
                    </a:lnTo>
                    <a:lnTo>
                      <a:pt x="1378" y="1665"/>
                    </a:lnTo>
                    <a:close/>
                    <a:moveTo>
                      <a:pt x="1343" y="1663"/>
                    </a:moveTo>
                    <a:lnTo>
                      <a:pt x="1344" y="1663"/>
                    </a:lnTo>
                    <a:lnTo>
                      <a:pt x="1344" y="1665"/>
                    </a:lnTo>
                    <a:lnTo>
                      <a:pt x="1343" y="1665"/>
                    </a:lnTo>
                    <a:lnTo>
                      <a:pt x="1343" y="1663"/>
                    </a:lnTo>
                    <a:close/>
                    <a:moveTo>
                      <a:pt x="1414" y="1679"/>
                    </a:moveTo>
                    <a:lnTo>
                      <a:pt x="1416" y="1679"/>
                    </a:lnTo>
                    <a:lnTo>
                      <a:pt x="1416" y="1680"/>
                    </a:lnTo>
                    <a:lnTo>
                      <a:pt x="1414" y="1680"/>
                    </a:lnTo>
                    <a:lnTo>
                      <a:pt x="1414" y="1679"/>
                    </a:lnTo>
                    <a:close/>
                    <a:moveTo>
                      <a:pt x="1220" y="1075"/>
                    </a:moveTo>
                    <a:lnTo>
                      <a:pt x="1220" y="1077"/>
                    </a:lnTo>
                    <a:lnTo>
                      <a:pt x="1220" y="1075"/>
                    </a:lnTo>
                    <a:close/>
                    <a:moveTo>
                      <a:pt x="1222" y="1561"/>
                    </a:moveTo>
                    <a:lnTo>
                      <a:pt x="1224" y="1561"/>
                    </a:lnTo>
                    <a:lnTo>
                      <a:pt x="1222" y="1561"/>
                    </a:lnTo>
                    <a:close/>
                    <a:moveTo>
                      <a:pt x="1176" y="1141"/>
                    </a:moveTo>
                    <a:lnTo>
                      <a:pt x="1178" y="1141"/>
                    </a:lnTo>
                    <a:lnTo>
                      <a:pt x="1178" y="1143"/>
                    </a:lnTo>
                    <a:lnTo>
                      <a:pt x="1176" y="1143"/>
                    </a:lnTo>
                    <a:lnTo>
                      <a:pt x="1176" y="1141"/>
                    </a:lnTo>
                    <a:close/>
                    <a:moveTo>
                      <a:pt x="1356" y="1653"/>
                    </a:moveTo>
                    <a:lnTo>
                      <a:pt x="1358" y="1653"/>
                    </a:lnTo>
                    <a:lnTo>
                      <a:pt x="1358" y="1655"/>
                    </a:lnTo>
                    <a:lnTo>
                      <a:pt x="1356" y="1655"/>
                    </a:lnTo>
                    <a:lnTo>
                      <a:pt x="1356" y="1653"/>
                    </a:lnTo>
                    <a:close/>
                    <a:moveTo>
                      <a:pt x="1213" y="1012"/>
                    </a:moveTo>
                    <a:lnTo>
                      <a:pt x="1215" y="1012"/>
                    </a:lnTo>
                    <a:lnTo>
                      <a:pt x="1215" y="1014"/>
                    </a:lnTo>
                    <a:lnTo>
                      <a:pt x="1213" y="1014"/>
                    </a:lnTo>
                    <a:lnTo>
                      <a:pt x="1213" y="1012"/>
                    </a:lnTo>
                    <a:close/>
                    <a:moveTo>
                      <a:pt x="1139" y="1311"/>
                    </a:moveTo>
                    <a:lnTo>
                      <a:pt x="1140" y="1311"/>
                    </a:lnTo>
                    <a:lnTo>
                      <a:pt x="1140" y="1313"/>
                    </a:lnTo>
                    <a:lnTo>
                      <a:pt x="1139" y="1313"/>
                    </a:lnTo>
                    <a:lnTo>
                      <a:pt x="1139" y="1311"/>
                    </a:lnTo>
                    <a:close/>
                    <a:moveTo>
                      <a:pt x="1215" y="1517"/>
                    </a:moveTo>
                    <a:lnTo>
                      <a:pt x="1217" y="1517"/>
                    </a:lnTo>
                    <a:lnTo>
                      <a:pt x="1215" y="1517"/>
                    </a:lnTo>
                    <a:close/>
                    <a:moveTo>
                      <a:pt x="1178" y="1444"/>
                    </a:moveTo>
                    <a:lnTo>
                      <a:pt x="1179" y="1444"/>
                    </a:lnTo>
                    <a:lnTo>
                      <a:pt x="1178" y="1444"/>
                    </a:lnTo>
                    <a:close/>
                    <a:moveTo>
                      <a:pt x="1188" y="1430"/>
                    </a:moveTo>
                    <a:lnTo>
                      <a:pt x="1190" y="1430"/>
                    </a:lnTo>
                    <a:lnTo>
                      <a:pt x="1188" y="1430"/>
                    </a:lnTo>
                    <a:close/>
                    <a:moveTo>
                      <a:pt x="1203" y="1082"/>
                    </a:moveTo>
                    <a:lnTo>
                      <a:pt x="1205" y="1082"/>
                    </a:lnTo>
                    <a:lnTo>
                      <a:pt x="1203" y="1082"/>
                    </a:lnTo>
                    <a:close/>
                    <a:moveTo>
                      <a:pt x="1225" y="1575"/>
                    </a:moveTo>
                    <a:lnTo>
                      <a:pt x="1227" y="1575"/>
                    </a:lnTo>
                    <a:lnTo>
                      <a:pt x="1225" y="1575"/>
                    </a:lnTo>
                    <a:close/>
                    <a:moveTo>
                      <a:pt x="1258" y="1587"/>
                    </a:moveTo>
                    <a:lnTo>
                      <a:pt x="1258" y="1589"/>
                    </a:lnTo>
                    <a:lnTo>
                      <a:pt x="1258" y="1587"/>
                    </a:lnTo>
                    <a:close/>
                    <a:moveTo>
                      <a:pt x="1183" y="1446"/>
                    </a:moveTo>
                    <a:lnTo>
                      <a:pt x="1185" y="1446"/>
                    </a:lnTo>
                    <a:lnTo>
                      <a:pt x="1185" y="1447"/>
                    </a:lnTo>
                    <a:lnTo>
                      <a:pt x="1183" y="1447"/>
                    </a:lnTo>
                    <a:lnTo>
                      <a:pt x="1183" y="1446"/>
                    </a:lnTo>
                    <a:close/>
                    <a:moveTo>
                      <a:pt x="1142" y="1301"/>
                    </a:moveTo>
                    <a:lnTo>
                      <a:pt x="1144" y="1301"/>
                    </a:lnTo>
                    <a:lnTo>
                      <a:pt x="1142" y="1301"/>
                    </a:lnTo>
                    <a:close/>
                    <a:moveTo>
                      <a:pt x="1185" y="1425"/>
                    </a:moveTo>
                    <a:lnTo>
                      <a:pt x="1186" y="1425"/>
                    </a:lnTo>
                    <a:lnTo>
                      <a:pt x="1185" y="1425"/>
                    </a:lnTo>
                    <a:close/>
                    <a:moveTo>
                      <a:pt x="1283" y="1612"/>
                    </a:moveTo>
                    <a:lnTo>
                      <a:pt x="1283" y="1614"/>
                    </a:lnTo>
                    <a:lnTo>
                      <a:pt x="1283" y="1612"/>
                    </a:lnTo>
                    <a:close/>
                    <a:moveTo>
                      <a:pt x="1191" y="1126"/>
                    </a:moveTo>
                    <a:lnTo>
                      <a:pt x="1191" y="1128"/>
                    </a:lnTo>
                    <a:lnTo>
                      <a:pt x="1191" y="1126"/>
                    </a:lnTo>
                    <a:close/>
                    <a:moveTo>
                      <a:pt x="1261" y="1590"/>
                    </a:moveTo>
                    <a:lnTo>
                      <a:pt x="1261" y="1592"/>
                    </a:lnTo>
                    <a:lnTo>
                      <a:pt x="1261" y="1590"/>
                    </a:lnTo>
                    <a:close/>
                    <a:moveTo>
                      <a:pt x="1190" y="1071"/>
                    </a:moveTo>
                    <a:lnTo>
                      <a:pt x="1190" y="1073"/>
                    </a:lnTo>
                    <a:lnTo>
                      <a:pt x="1190" y="1071"/>
                    </a:lnTo>
                    <a:close/>
                    <a:moveTo>
                      <a:pt x="1193" y="1140"/>
                    </a:moveTo>
                    <a:lnTo>
                      <a:pt x="1195" y="1140"/>
                    </a:lnTo>
                    <a:lnTo>
                      <a:pt x="1195" y="1141"/>
                    </a:lnTo>
                    <a:lnTo>
                      <a:pt x="1193" y="1141"/>
                    </a:lnTo>
                    <a:lnTo>
                      <a:pt x="1193" y="1140"/>
                    </a:lnTo>
                    <a:close/>
                    <a:moveTo>
                      <a:pt x="1360" y="1665"/>
                    </a:moveTo>
                    <a:lnTo>
                      <a:pt x="1361" y="1665"/>
                    </a:lnTo>
                    <a:lnTo>
                      <a:pt x="1360" y="1665"/>
                    </a:lnTo>
                    <a:close/>
                    <a:moveTo>
                      <a:pt x="1213" y="1517"/>
                    </a:moveTo>
                    <a:lnTo>
                      <a:pt x="1213" y="1519"/>
                    </a:lnTo>
                    <a:lnTo>
                      <a:pt x="1213" y="1517"/>
                    </a:lnTo>
                    <a:close/>
                    <a:moveTo>
                      <a:pt x="1229" y="1577"/>
                    </a:moveTo>
                    <a:lnTo>
                      <a:pt x="1230" y="1577"/>
                    </a:lnTo>
                    <a:lnTo>
                      <a:pt x="1229" y="1577"/>
                    </a:lnTo>
                    <a:close/>
                    <a:moveTo>
                      <a:pt x="1169" y="1415"/>
                    </a:moveTo>
                    <a:lnTo>
                      <a:pt x="1171" y="1415"/>
                    </a:lnTo>
                    <a:lnTo>
                      <a:pt x="1169" y="1415"/>
                    </a:lnTo>
                    <a:close/>
                    <a:moveTo>
                      <a:pt x="1219" y="1565"/>
                    </a:moveTo>
                    <a:lnTo>
                      <a:pt x="1220" y="1565"/>
                    </a:lnTo>
                    <a:lnTo>
                      <a:pt x="1219" y="1565"/>
                    </a:lnTo>
                    <a:close/>
                    <a:moveTo>
                      <a:pt x="1142" y="1299"/>
                    </a:moveTo>
                    <a:lnTo>
                      <a:pt x="1144" y="1299"/>
                    </a:lnTo>
                    <a:lnTo>
                      <a:pt x="1142" y="1299"/>
                    </a:lnTo>
                    <a:close/>
                    <a:moveTo>
                      <a:pt x="1273" y="1609"/>
                    </a:moveTo>
                    <a:lnTo>
                      <a:pt x="1275" y="1609"/>
                    </a:lnTo>
                    <a:lnTo>
                      <a:pt x="1275" y="1611"/>
                    </a:lnTo>
                    <a:lnTo>
                      <a:pt x="1273" y="1611"/>
                    </a:lnTo>
                    <a:lnTo>
                      <a:pt x="1273" y="1609"/>
                    </a:lnTo>
                    <a:close/>
                    <a:moveTo>
                      <a:pt x="1217" y="1565"/>
                    </a:moveTo>
                    <a:lnTo>
                      <a:pt x="1219" y="1565"/>
                    </a:lnTo>
                    <a:lnTo>
                      <a:pt x="1217" y="1565"/>
                    </a:lnTo>
                    <a:close/>
                    <a:moveTo>
                      <a:pt x="1183" y="1439"/>
                    </a:moveTo>
                    <a:lnTo>
                      <a:pt x="1185" y="1439"/>
                    </a:lnTo>
                    <a:lnTo>
                      <a:pt x="1185" y="1441"/>
                    </a:lnTo>
                    <a:lnTo>
                      <a:pt x="1183" y="1441"/>
                    </a:lnTo>
                    <a:lnTo>
                      <a:pt x="1183" y="1439"/>
                    </a:lnTo>
                    <a:close/>
                    <a:moveTo>
                      <a:pt x="1361" y="1599"/>
                    </a:moveTo>
                    <a:lnTo>
                      <a:pt x="1363" y="1599"/>
                    </a:lnTo>
                    <a:lnTo>
                      <a:pt x="1363" y="1600"/>
                    </a:lnTo>
                    <a:lnTo>
                      <a:pt x="1361" y="1600"/>
                    </a:lnTo>
                    <a:lnTo>
                      <a:pt x="1361" y="1599"/>
                    </a:lnTo>
                    <a:close/>
                    <a:moveTo>
                      <a:pt x="1219" y="1136"/>
                    </a:moveTo>
                    <a:lnTo>
                      <a:pt x="1220" y="1136"/>
                    </a:lnTo>
                    <a:lnTo>
                      <a:pt x="1219" y="1136"/>
                    </a:lnTo>
                    <a:close/>
                    <a:moveTo>
                      <a:pt x="1232" y="1507"/>
                    </a:moveTo>
                    <a:lnTo>
                      <a:pt x="1234" y="1507"/>
                    </a:lnTo>
                    <a:lnTo>
                      <a:pt x="1232" y="1507"/>
                    </a:lnTo>
                    <a:close/>
                    <a:moveTo>
                      <a:pt x="1358" y="1655"/>
                    </a:moveTo>
                    <a:lnTo>
                      <a:pt x="1360" y="1655"/>
                    </a:lnTo>
                    <a:lnTo>
                      <a:pt x="1360" y="1657"/>
                    </a:lnTo>
                    <a:lnTo>
                      <a:pt x="1358" y="1657"/>
                    </a:lnTo>
                    <a:lnTo>
                      <a:pt x="1358" y="1655"/>
                    </a:lnTo>
                    <a:close/>
                    <a:moveTo>
                      <a:pt x="1151" y="1330"/>
                    </a:moveTo>
                    <a:lnTo>
                      <a:pt x="1152" y="1330"/>
                    </a:lnTo>
                    <a:lnTo>
                      <a:pt x="1152" y="1332"/>
                    </a:lnTo>
                    <a:lnTo>
                      <a:pt x="1151" y="1332"/>
                    </a:lnTo>
                    <a:lnTo>
                      <a:pt x="1151" y="1330"/>
                    </a:lnTo>
                    <a:close/>
                    <a:moveTo>
                      <a:pt x="1200" y="1527"/>
                    </a:moveTo>
                    <a:lnTo>
                      <a:pt x="1202" y="1527"/>
                    </a:lnTo>
                    <a:lnTo>
                      <a:pt x="1202" y="1529"/>
                    </a:lnTo>
                    <a:lnTo>
                      <a:pt x="1200" y="1529"/>
                    </a:lnTo>
                    <a:lnTo>
                      <a:pt x="1200" y="1527"/>
                    </a:lnTo>
                    <a:close/>
                    <a:moveTo>
                      <a:pt x="1215" y="1555"/>
                    </a:moveTo>
                    <a:lnTo>
                      <a:pt x="1217" y="1555"/>
                    </a:lnTo>
                    <a:lnTo>
                      <a:pt x="1215" y="1555"/>
                    </a:lnTo>
                    <a:close/>
                    <a:moveTo>
                      <a:pt x="1295" y="1612"/>
                    </a:moveTo>
                    <a:lnTo>
                      <a:pt x="1295" y="1614"/>
                    </a:lnTo>
                    <a:lnTo>
                      <a:pt x="1295" y="1612"/>
                    </a:lnTo>
                    <a:close/>
                    <a:moveTo>
                      <a:pt x="1222" y="1068"/>
                    </a:moveTo>
                    <a:lnTo>
                      <a:pt x="1224" y="1068"/>
                    </a:lnTo>
                    <a:lnTo>
                      <a:pt x="1224" y="1070"/>
                    </a:lnTo>
                    <a:lnTo>
                      <a:pt x="1222" y="1070"/>
                    </a:lnTo>
                    <a:lnTo>
                      <a:pt x="1222" y="1068"/>
                    </a:lnTo>
                    <a:close/>
                    <a:moveTo>
                      <a:pt x="1344" y="1660"/>
                    </a:moveTo>
                    <a:lnTo>
                      <a:pt x="1346" y="1660"/>
                    </a:lnTo>
                    <a:lnTo>
                      <a:pt x="1346" y="1662"/>
                    </a:lnTo>
                    <a:lnTo>
                      <a:pt x="1344" y="1662"/>
                    </a:lnTo>
                    <a:lnTo>
                      <a:pt x="1344" y="1660"/>
                    </a:lnTo>
                    <a:close/>
                    <a:moveTo>
                      <a:pt x="1207" y="1498"/>
                    </a:moveTo>
                    <a:lnTo>
                      <a:pt x="1208" y="1498"/>
                    </a:lnTo>
                    <a:lnTo>
                      <a:pt x="1208" y="1500"/>
                    </a:lnTo>
                    <a:lnTo>
                      <a:pt x="1207" y="1500"/>
                    </a:lnTo>
                    <a:lnTo>
                      <a:pt x="1207" y="1498"/>
                    </a:lnTo>
                    <a:close/>
                    <a:moveTo>
                      <a:pt x="1171" y="1230"/>
                    </a:moveTo>
                    <a:lnTo>
                      <a:pt x="1173" y="1230"/>
                    </a:lnTo>
                    <a:lnTo>
                      <a:pt x="1173" y="1231"/>
                    </a:lnTo>
                    <a:lnTo>
                      <a:pt x="1171" y="1231"/>
                    </a:lnTo>
                    <a:lnTo>
                      <a:pt x="1171" y="1230"/>
                    </a:lnTo>
                    <a:close/>
                    <a:moveTo>
                      <a:pt x="1151" y="1310"/>
                    </a:moveTo>
                    <a:lnTo>
                      <a:pt x="1152" y="1310"/>
                    </a:lnTo>
                    <a:lnTo>
                      <a:pt x="1151" y="1310"/>
                    </a:lnTo>
                    <a:close/>
                    <a:moveTo>
                      <a:pt x="1246" y="1504"/>
                    </a:moveTo>
                    <a:lnTo>
                      <a:pt x="1246" y="1505"/>
                    </a:lnTo>
                    <a:lnTo>
                      <a:pt x="1246" y="1504"/>
                    </a:lnTo>
                    <a:close/>
                    <a:moveTo>
                      <a:pt x="1254" y="1575"/>
                    </a:moveTo>
                    <a:lnTo>
                      <a:pt x="1256" y="1575"/>
                    </a:lnTo>
                    <a:lnTo>
                      <a:pt x="1254" y="1575"/>
                    </a:lnTo>
                    <a:close/>
                    <a:moveTo>
                      <a:pt x="1198" y="1092"/>
                    </a:moveTo>
                    <a:lnTo>
                      <a:pt x="1200" y="1092"/>
                    </a:lnTo>
                    <a:lnTo>
                      <a:pt x="1198" y="1092"/>
                    </a:lnTo>
                    <a:close/>
                    <a:moveTo>
                      <a:pt x="1191" y="1379"/>
                    </a:moveTo>
                    <a:lnTo>
                      <a:pt x="1193" y="1379"/>
                    </a:lnTo>
                    <a:lnTo>
                      <a:pt x="1191" y="1379"/>
                    </a:lnTo>
                    <a:close/>
                    <a:moveTo>
                      <a:pt x="1154" y="1288"/>
                    </a:moveTo>
                    <a:lnTo>
                      <a:pt x="1154" y="1289"/>
                    </a:lnTo>
                    <a:lnTo>
                      <a:pt x="1154" y="1288"/>
                    </a:lnTo>
                    <a:close/>
                    <a:moveTo>
                      <a:pt x="1173" y="1395"/>
                    </a:moveTo>
                    <a:lnTo>
                      <a:pt x="1174" y="1395"/>
                    </a:lnTo>
                    <a:lnTo>
                      <a:pt x="1173" y="1395"/>
                    </a:lnTo>
                    <a:close/>
                    <a:moveTo>
                      <a:pt x="1219" y="1568"/>
                    </a:moveTo>
                    <a:lnTo>
                      <a:pt x="1219" y="1570"/>
                    </a:lnTo>
                    <a:lnTo>
                      <a:pt x="1219" y="1568"/>
                    </a:lnTo>
                    <a:close/>
                    <a:moveTo>
                      <a:pt x="1200" y="1094"/>
                    </a:moveTo>
                    <a:lnTo>
                      <a:pt x="1202" y="1094"/>
                    </a:lnTo>
                    <a:lnTo>
                      <a:pt x="1200" y="1094"/>
                    </a:lnTo>
                    <a:close/>
                    <a:moveTo>
                      <a:pt x="1205" y="1060"/>
                    </a:moveTo>
                    <a:lnTo>
                      <a:pt x="1207" y="1060"/>
                    </a:lnTo>
                    <a:lnTo>
                      <a:pt x="1207" y="1061"/>
                    </a:lnTo>
                    <a:lnTo>
                      <a:pt x="1205" y="1061"/>
                    </a:lnTo>
                    <a:lnTo>
                      <a:pt x="1205" y="1060"/>
                    </a:lnTo>
                    <a:close/>
                    <a:moveTo>
                      <a:pt x="1215" y="1502"/>
                    </a:moveTo>
                    <a:lnTo>
                      <a:pt x="1217" y="1502"/>
                    </a:lnTo>
                    <a:lnTo>
                      <a:pt x="1217" y="1504"/>
                    </a:lnTo>
                    <a:lnTo>
                      <a:pt x="1215" y="1504"/>
                    </a:lnTo>
                    <a:lnTo>
                      <a:pt x="1215" y="1502"/>
                    </a:lnTo>
                    <a:close/>
                    <a:moveTo>
                      <a:pt x="1254" y="1492"/>
                    </a:moveTo>
                    <a:lnTo>
                      <a:pt x="1254" y="1493"/>
                    </a:lnTo>
                    <a:lnTo>
                      <a:pt x="1254" y="1492"/>
                    </a:lnTo>
                    <a:close/>
                    <a:moveTo>
                      <a:pt x="1174" y="1473"/>
                    </a:moveTo>
                    <a:lnTo>
                      <a:pt x="1174" y="1475"/>
                    </a:lnTo>
                    <a:lnTo>
                      <a:pt x="1174" y="1473"/>
                    </a:lnTo>
                    <a:close/>
                    <a:moveTo>
                      <a:pt x="1298" y="1641"/>
                    </a:moveTo>
                    <a:lnTo>
                      <a:pt x="1300" y="1641"/>
                    </a:lnTo>
                    <a:lnTo>
                      <a:pt x="1298" y="1641"/>
                    </a:lnTo>
                    <a:close/>
                    <a:moveTo>
                      <a:pt x="1207" y="1527"/>
                    </a:moveTo>
                    <a:lnTo>
                      <a:pt x="1207" y="1529"/>
                    </a:lnTo>
                    <a:lnTo>
                      <a:pt x="1207" y="1527"/>
                    </a:lnTo>
                    <a:close/>
                    <a:moveTo>
                      <a:pt x="1421" y="1669"/>
                    </a:moveTo>
                    <a:lnTo>
                      <a:pt x="1423" y="1669"/>
                    </a:lnTo>
                    <a:lnTo>
                      <a:pt x="1421" y="1669"/>
                    </a:lnTo>
                    <a:close/>
                    <a:moveTo>
                      <a:pt x="1263" y="1600"/>
                    </a:moveTo>
                    <a:lnTo>
                      <a:pt x="1264" y="1600"/>
                    </a:lnTo>
                    <a:lnTo>
                      <a:pt x="1264" y="1602"/>
                    </a:lnTo>
                    <a:lnTo>
                      <a:pt x="1263" y="1602"/>
                    </a:lnTo>
                    <a:lnTo>
                      <a:pt x="1263" y="1600"/>
                    </a:lnTo>
                    <a:close/>
                    <a:moveTo>
                      <a:pt x="1222" y="1068"/>
                    </a:moveTo>
                    <a:lnTo>
                      <a:pt x="1224" y="1068"/>
                    </a:lnTo>
                    <a:lnTo>
                      <a:pt x="1224" y="1070"/>
                    </a:lnTo>
                    <a:lnTo>
                      <a:pt x="1222" y="1070"/>
                    </a:lnTo>
                    <a:lnTo>
                      <a:pt x="1222" y="1068"/>
                    </a:lnTo>
                    <a:close/>
                    <a:moveTo>
                      <a:pt x="1181" y="1298"/>
                    </a:moveTo>
                    <a:lnTo>
                      <a:pt x="1183" y="1298"/>
                    </a:lnTo>
                    <a:lnTo>
                      <a:pt x="1181" y="1298"/>
                    </a:lnTo>
                    <a:close/>
                    <a:moveTo>
                      <a:pt x="1195" y="1454"/>
                    </a:moveTo>
                    <a:lnTo>
                      <a:pt x="1196" y="1454"/>
                    </a:lnTo>
                    <a:lnTo>
                      <a:pt x="1195" y="1454"/>
                    </a:lnTo>
                    <a:close/>
                    <a:moveTo>
                      <a:pt x="1181" y="1211"/>
                    </a:moveTo>
                    <a:lnTo>
                      <a:pt x="1183" y="1211"/>
                    </a:lnTo>
                    <a:lnTo>
                      <a:pt x="1181" y="1211"/>
                    </a:lnTo>
                    <a:close/>
                    <a:moveTo>
                      <a:pt x="1147" y="1289"/>
                    </a:moveTo>
                    <a:lnTo>
                      <a:pt x="1149" y="1289"/>
                    </a:lnTo>
                    <a:lnTo>
                      <a:pt x="1147" y="1289"/>
                    </a:lnTo>
                    <a:close/>
                    <a:moveTo>
                      <a:pt x="1183" y="1316"/>
                    </a:moveTo>
                    <a:lnTo>
                      <a:pt x="1183" y="1318"/>
                    </a:lnTo>
                    <a:lnTo>
                      <a:pt x="1183" y="1316"/>
                    </a:lnTo>
                    <a:close/>
                    <a:moveTo>
                      <a:pt x="1232" y="1544"/>
                    </a:moveTo>
                    <a:lnTo>
                      <a:pt x="1234" y="1544"/>
                    </a:lnTo>
                    <a:lnTo>
                      <a:pt x="1234" y="1546"/>
                    </a:lnTo>
                    <a:lnTo>
                      <a:pt x="1232" y="1546"/>
                    </a:lnTo>
                    <a:lnTo>
                      <a:pt x="1232" y="1544"/>
                    </a:lnTo>
                    <a:close/>
                    <a:moveTo>
                      <a:pt x="1185" y="1463"/>
                    </a:moveTo>
                    <a:lnTo>
                      <a:pt x="1186" y="1463"/>
                    </a:lnTo>
                    <a:lnTo>
                      <a:pt x="1186" y="1464"/>
                    </a:lnTo>
                    <a:lnTo>
                      <a:pt x="1185" y="1464"/>
                    </a:lnTo>
                    <a:lnTo>
                      <a:pt x="1185" y="1463"/>
                    </a:lnTo>
                    <a:close/>
                    <a:moveTo>
                      <a:pt x="1178" y="1434"/>
                    </a:moveTo>
                    <a:lnTo>
                      <a:pt x="1179" y="1434"/>
                    </a:lnTo>
                    <a:lnTo>
                      <a:pt x="1178" y="1434"/>
                    </a:lnTo>
                    <a:close/>
                    <a:moveTo>
                      <a:pt x="1162" y="1245"/>
                    </a:moveTo>
                    <a:lnTo>
                      <a:pt x="1162" y="1247"/>
                    </a:lnTo>
                    <a:lnTo>
                      <a:pt x="1162" y="1245"/>
                    </a:lnTo>
                    <a:close/>
                    <a:moveTo>
                      <a:pt x="1229" y="1039"/>
                    </a:moveTo>
                    <a:lnTo>
                      <a:pt x="1229" y="1041"/>
                    </a:lnTo>
                    <a:lnTo>
                      <a:pt x="1229" y="1039"/>
                    </a:lnTo>
                    <a:close/>
                    <a:moveTo>
                      <a:pt x="1183" y="1289"/>
                    </a:moveTo>
                    <a:lnTo>
                      <a:pt x="1185" y="1289"/>
                    </a:lnTo>
                    <a:lnTo>
                      <a:pt x="1183" y="1289"/>
                    </a:lnTo>
                    <a:close/>
                    <a:moveTo>
                      <a:pt x="1402" y="1645"/>
                    </a:moveTo>
                    <a:lnTo>
                      <a:pt x="1402" y="1646"/>
                    </a:lnTo>
                    <a:lnTo>
                      <a:pt x="1402" y="1645"/>
                    </a:lnTo>
                    <a:close/>
                    <a:moveTo>
                      <a:pt x="1213" y="1556"/>
                    </a:moveTo>
                    <a:lnTo>
                      <a:pt x="1215" y="1556"/>
                    </a:lnTo>
                    <a:lnTo>
                      <a:pt x="1213" y="1556"/>
                    </a:lnTo>
                    <a:close/>
                    <a:moveTo>
                      <a:pt x="1191" y="1412"/>
                    </a:moveTo>
                    <a:lnTo>
                      <a:pt x="1191" y="1413"/>
                    </a:lnTo>
                    <a:lnTo>
                      <a:pt x="1191" y="1412"/>
                    </a:lnTo>
                    <a:close/>
                    <a:moveTo>
                      <a:pt x="1179" y="1430"/>
                    </a:moveTo>
                    <a:lnTo>
                      <a:pt x="1181" y="1430"/>
                    </a:lnTo>
                    <a:lnTo>
                      <a:pt x="1179" y="1430"/>
                    </a:lnTo>
                    <a:close/>
                    <a:moveTo>
                      <a:pt x="1183" y="1463"/>
                    </a:moveTo>
                    <a:lnTo>
                      <a:pt x="1185" y="1463"/>
                    </a:lnTo>
                    <a:lnTo>
                      <a:pt x="1183" y="1463"/>
                    </a:lnTo>
                    <a:close/>
                    <a:moveTo>
                      <a:pt x="1152" y="1187"/>
                    </a:moveTo>
                    <a:lnTo>
                      <a:pt x="1154" y="1187"/>
                    </a:lnTo>
                    <a:lnTo>
                      <a:pt x="1152" y="1187"/>
                    </a:lnTo>
                    <a:close/>
                    <a:moveTo>
                      <a:pt x="1358" y="1657"/>
                    </a:moveTo>
                    <a:lnTo>
                      <a:pt x="1360" y="1657"/>
                    </a:lnTo>
                    <a:lnTo>
                      <a:pt x="1358" y="1657"/>
                    </a:lnTo>
                    <a:close/>
                    <a:moveTo>
                      <a:pt x="1178" y="1425"/>
                    </a:moveTo>
                    <a:lnTo>
                      <a:pt x="1179" y="1425"/>
                    </a:lnTo>
                    <a:lnTo>
                      <a:pt x="1179" y="1427"/>
                    </a:lnTo>
                    <a:lnTo>
                      <a:pt x="1178" y="1427"/>
                    </a:lnTo>
                    <a:lnTo>
                      <a:pt x="1178" y="1425"/>
                    </a:lnTo>
                    <a:close/>
                    <a:moveTo>
                      <a:pt x="1154" y="1313"/>
                    </a:moveTo>
                    <a:lnTo>
                      <a:pt x="1156" y="1313"/>
                    </a:lnTo>
                    <a:lnTo>
                      <a:pt x="1154" y="1313"/>
                    </a:lnTo>
                    <a:close/>
                    <a:moveTo>
                      <a:pt x="1185" y="1527"/>
                    </a:moveTo>
                    <a:lnTo>
                      <a:pt x="1185" y="1529"/>
                    </a:lnTo>
                    <a:lnTo>
                      <a:pt x="1185" y="1527"/>
                    </a:lnTo>
                    <a:close/>
                    <a:moveTo>
                      <a:pt x="1380" y="1667"/>
                    </a:moveTo>
                    <a:lnTo>
                      <a:pt x="1382" y="1667"/>
                    </a:lnTo>
                    <a:lnTo>
                      <a:pt x="1380" y="1667"/>
                    </a:lnTo>
                    <a:close/>
                    <a:moveTo>
                      <a:pt x="1205" y="1527"/>
                    </a:moveTo>
                    <a:lnTo>
                      <a:pt x="1207" y="1527"/>
                    </a:lnTo>
                    <a:lnTo>
                      <a:pt x="1207" y="1529"/>
                    </a:lnTo>
                    <a:lnTo>
                      <a:pt x="1205" y="1529"/>
                    </a:lnTo>
                    <a:lnTo>
                      <a:pt x="1205" y="1527"/>
                    </a:lnTo>
                    <a:close/>
                    <a:moveTo>
                      <a:pt x="1397" y="1663"/>
                    </a:moveTo>
                    <a:lnTo>
                      <a:pt x="1397" y="1665"/>
                    </a:lnTo>
                    <a:lnTo>
                      <a:pt x="1397" y="1663"/>
                    </a:lnTo>
                    <a:close/>
                    <a:moveTo>
                      <a:pt x="1358" y="1667"/>
                    </a:moveTo>
                    <a:lnTo>
                      <a:pt x="1360" y="1667"/>
                    </a:lnTo>
                    <a:lnTo>
                      <a:pt x="1358" y="1667"/>
                    </a:lnTo>
                    <a:close/>
                    <a:moveTo>
                      <a:pt x="1190" y="1231"/>
                    </a:moveTo>
                    <a:lnTo>
                      <a:pt x="1191" y="1231"/>
                    </a:lnTo>
                    <a:lnTo>
                      <a:pt x="1190" y="1231"/>
                    </a:lnTo>
                    <a:close/>
                    <a:moveTo>
                      <a:pt x="1168" y="1136"/>
                    </a:moveTo>
                    <a:lnTo>
                      <a:pt x="1169" y="1136"/>
                    </a:lnTo>
                    <a:lnTo>
                      <a:pt x="1169" y="1138"/>
                    </a:lnTo>
                    <a:lnTo>
                      <a:pt x="1168" y="1138"/>
                    </a:lnTo>
                    <a:lnTo>
                      <a:pt x="1168" y="1136"/>
                    </a:lnTo>
                    <a:close/>
                    <a:moveTo>
                      <a:pt x="1183" y="1430"/>
                    </a:moveTo>
                    <a:lnTo>
                      <a:pt x="1185" y="1430"/>
                    </a:lnTo>
                    <a:lnTo>
                      <a:pt x="1183" y="1430"/>
                    </a:lnTo>
                    <a:close/>
                    <a:moveTo>
                      <a:pt x="1220" y="1083"/>
                    </a:moveTo>
                    <a:lnTo>
                      <a:pt x="1220" y="1085"/>
                    </a:lnTo>
                    <a:lnTo>
                      <a:pt x="1220" y="1083"/>
                    </a:lnTo>
                    <a:close/>
                    <a:moveTo>
                      <a:pt x="1183" y="1299"/>
                    </a:moveTo>
                    <a:lnTo>
                      <a:pt x="1183" y="1301"/>
                    </a:lnTo>
                    <a:lnTo>
                      <a:pt x="1183" y="1299"/>
                    </a:lnTo>
                    <a:close/>
                    <a:moveTo>
                      <a:pt x="1254" y="1590"/>
                    </a:moveTo>
                    <a:lnTo>
                      <a:pt x="1256" y="1590"/>
                    </a:lnTo>
                    <a:lnTo>
                      <a:pt x="1254" y="1590"/>
                    </a:lnTo>
                    <a:close/>
                    <a:moveTo>
                      <a:pt x="1222" y="1070"/>
                    </a:moveTo>
                    <a:lnTo>
                      <a:pt x="1224" y="1070"/>
                    </a:lnTo>
                    <a:lnTo>
                      <a:pt x="1222" y="1070"/>
                    </a:lnTo>
                    <a:close/>
                    <a:moveTo>
                      <a:pt x="1161" y="1470"/>
                    </a:moveTo>
                    <a:lnTo>
                      <a:pt x="1162" y="1470"/>
                    </a:lnTo>
                    <a:lnTo>
                      <a:pt x="1161" y="1470"/>
                    </a:lnTo>
                    <a:close/>
                    <a:moveTo>
                      <a:pt x="1343" y="1655"/>
                    </a:moveTo>
                    <a:lnTo>
                      <a:pt x="1344" y="1655"/>
                    </a:lnTo>
                    <a:lnTo>
                      <a:pt x="1343" y="1655"/>
                    </a:lnTo>
                    <a:close/>
                    <a:moveTo>
                      <a:pt x="1171" y="1413"/>
                    </a:moveTo>
                    <a:lnTo>
                      <a:pt x="1173" y="1413"/>
                    </a:lnTo>
                    <a:lnTo>
                      <a:pt x="1173" y="1415"/>
                    </a:lnTo>
                    <a:lnTo>
                      <a:pt x="1171" y="1415"/>
                    </a:lnTo>
                    <a:lnTo>
                      <a:pt x="1171" y="1413"/>
                    </a:lnTo>
                    <a:close/>
                    <a:moveTo>
                      <a:pt x="1169" y="1473"/>
                    </a:moveTo>
                    <a:lnTo>
                      <a:pt x="1169" y="1475"/>
                    </a:lnTo>
                    <a:lnTo>
                      <a:pt x="1169" y="1473"/>
                    </a:lnTo>
                    <a:close/>
                    <a:moveTo>
                      <a:pt x="1159" y="1247"/>
                    </a:moveTo>
                    <a:lnTo>
                      <a:pt x="1161" y="1247"/>
                    </a:lnTo>
                    <a:lnTo>
                      <a:pt x="1161" y="1248"/>
                    </a:lnTo>
                    <a:lnTo>
                      <a:pt x="1159" y="1248"/>
                    </a:lnTo>
                    <a:lnTo>
                      <a:pt x="1159" y="1247"/>
                    </a:lnTo>
                    <a:close/>
                    <a:moveTo>
                      <a:pt x="1154" y="1191"/>
                    </a:moveTo>
                    <a:lnTo>
                      <a:pt x="1156" y="1191"/>
                    </a:lnTo>
                    <a:lnTo>
                      <a:pt x="1154" y="1191"/>
                    </a:lnTo>
                    <a:close/>
                    <a:moveTo>
                      <a:pt x="1186" y="1441"/>
                    </a:moveTo>
                    <a:lnTo>
                      <a:pt x="1186" y="1442"/>
                    </a:lnTo>
                    <a:lnTo>
                      <a:pt x="1186" y="1441"/>
                    </a:lnTo>
                    <a:close/>
                    <a:moveTo>
                      <a:pt x="1152" y="1330"/>
                    </a:moveTo>
                    <a:lnTo>
                      <a:pt x="1154" y="1330"/>
                    </a:lnTo>
                    <a:lnTo>
                      <a:pt x="1152" y="1330"/>
                    </a:lnTo>
                    <a:close/>
                    <a:moveTo>
                      <a:pt x="1173" y="1430"/>
                    </a:moveTo>
                    <a:lnTo>
                      <a:pt x="1174" y="1430"/>
                    </a:lnTo>
                    <a:lnTo>
                      <a:pt x="1174" y="1432"/>
                    </a:lnTo>
                    <a:lnTo>
                      <a:pt x="1173" y="1432"/>
                    </a:lnTo>
                    <a:lnTo>
                      <a:pt x="1173" y="1430"/>
                    </a:lnTo>
                    <a:close/>
                    <a:moveTo>
                      <a:pt x="1242" y="1589"/>
                    </a:moveTo>
                    <a:lnTo>
                      <a:pt x="1242" y="1590"/>
                    </a:lnTo>
                    <a:lnTo>
                      <a:pt x="1242" y="1589"/>
                    </a:lnTo>
                    <a:close/>
                    <a:moveTo>
                      <a:pt x="1144" y="1269"/>
                    </a:moveTo>
                    <a:lnTo>
                      <a:pt x="1144" y="1270"/>
                    </a:lnTo>
                    <a:lnTo>
                      <a:pt x="1144" y="1269"/>
                    </a:lnTo>
                    <a:close/>
                    <a:moveTo>
                      <a:pt x="1193" y="1126"/>
                    </a:moveTo>
                    <a:lnTo>
                      <a:pt x="1193" y="1128"/>
                    </a:lnTo>
                    <a:lnTo>
                      <a:pt x="1193" y="1126"/>
                    </a:lnTo>
                    <a:close/>
                    <a:moveTo>
                      <a:pt x="1270" y="1592"/>
                    </a:moveTo>
                    <a:lnTo>
                      <a:pt x="1271" y="1592"/>
                    </a:lnTo>
                    <a:lnTo>
                      <a:pt x="1270" y="1592"/>
                    </a:lnTo>
                    <a:close/>
                    <a:moveTo>
                      <a:pt x="1210" y="1242"/>
                    </a:moveTo>
                    <a:lnTo>
                      <a:pt x="1212" y="1242"/>
                    </a:lnTo>
                    <a:lnTo>
                      <a:pt x="1210" y="1242"/>
                    </a:lnTo>
                    <a:close/>
                    <a:moveTo>
                      <a:pt x="1203" y="1061"/>
                    </a:moveTo>
                    <a:lnTo>
                      <a:pt x="1205" y="1061"/>
                    </a:lnTo>
                    <a:lnTo>
                      <a:pt x="1203" y="1061"/>
                    </a:lnTo>
                    <a:close/>
                    <a:moveTo>
                      <a:pt x="1185" y="1493"/>
                    </a:moveTo>
                    <a:lnTo>
                      <a:pt x="1185" y="1495"/>
                    </a:lnTo>
                    <a:lnTo>
                      <a:pt x="1185" y="1493"/>
                    </a:lnTo>
                    <a:close/>
                    <a:moveTo>
                      <a:pt x="1208" y="1070"/>
                    </a:moveTo>
                    <a:lnTo>
                      <a:pt x="1210" y="1070"/>
                    </a:lnTo>
                    <a:lnTo>
                      <a:pt x="1210" y="1071"/>
                    </a:lnTo>
                    <a:lnTo>
                      <a:pt x="1208" y="1071"/>
                    </a:lnTo>
                    <a:lnTo>
                      <a:pt x="1208" y="1070"/>
                    </a:lnTo>
                    <a:close/>
                    <a:moveTo>
                      <a:pt x="1157" y="1236"/>
                    </a:moveTo>
                    <a:lnTo>
                      <a:pt x="1157" y="1238"/>
                    </a:lnTo>
                    <a:lnTo>
                      <a:pt x="1157" y="1236"/>
                    </a:lnTo>
                    <a:close/>
                    <a:moveTo>
                      <a:pt x="1207" y="1063"/>
                    </a:moveTo>
                    <a:lnTo>
                      <a:pt x="1207" y="1065"/>
                    </a:lnTo>
                    <a:lnTo>
                      <a:pt x="1207" y="1063"/>
                    </a:lnTo>
                    <a:close/>
                    <a:moveTo>
                      <a:pt x="1205" y="1556"/>
                    </a:moveTo>
                    <a:lnTo>
                      <a:pt x="1207" y="1556"/>
                    </a:lnTo>
                    <a:lnTo>
                      <a:pt x="1205" y="1556"/>
                    </a:lnTo>
                    <a:close/>
                    <a:moveTo>
                      <a:pt x="1419" y="1674"/>
                    </a:moveTo>
                    <a:lnTo>
                      <a:pt x="1421" y="1674"/>
                    </a:lnTo>
                    <a:lnTo>
                      <a:pt x="1419" y="1674"/>
                    </a:lnTo>
                    <a:close/>
                    <a:moveTo>
                      <a:pt x="1300" y="1568"/>
                    </a:moveTo>
                    <a:lnTo>
                      <a:pt x="1302" y="1568"/>
                    </a:lnTo>
                    <a:lnTo>
                      <a:pt x="1300" y="1568"/>
                    </a:lnTo>
                    <a:close/>
                    <a:moveTo>
                      <a:pt x="1207" y="1053"/>
                    </a:moveTo>
                    <a:lnTo>
                      <a:pt x="1207" y="1054"/>
                    </a:lnTo>
                    <a:lnTo>
                      <a:pt x="1207" y="1053"/>
                    </a:lnTo>
                    <a:close/>
                    <a:moveTo>
                      <a:pt x="1297" y="1594"/>
                    </a:moveTo>
                    <a:lnTo>
                      <a:pt x="1298" y="1594"/>
                    </a:lnTo>
                    <a:lnTo>
                      <a:pt x="1297" y="1594"/>
                    </a:lnTo>
                    <a:close/>
                    <a:moveTo>
                      <a:pt x="1319" y="1514"/>
                    </a:moveTo>
                    <a:lnTo>
                      <a:pt x="1321" y="1514"/>
                    </a:lnTo>
                    <a:lnTo>
                      <a:pt x="1321" y="1515"/>
                    </a:lnTo>
                    <a:lnTo>
                      <a:pt x="1319" y="1515"/>
                    </a:lnTo>
                    <a:lnTo>
                      <a:pt x="1319" y="1514"/>
                    </a:lnTo>
                    <a:close/>
                    <a:moveTo>
                      <a:pt x="1191" y="1464"/>
                    </a:moveTo>
                    <a:lnTo>
                      <a:pt x="1193" y="1464"/>
                    </a:lnTo>
                    <a:lnTo>
                      <a:pt x="1191" y="1464"/>
                    </a:lnTo>
                    <a:close/>
                    <a:moveTo>
                      <a:pt x="1219" y="1568"/>
                    </a:moveTo>
                    <a:lnTo>
                      <a:pt x="1220" y="1568"/>
                    </a:lnTo>
                    <a:lnTo>
                      <a:pt x="1220" y="1570"/>
                    </a:lnTo>
                    <a:lnTo>
                      <a:pt x="1219" y="1570"/>
                    </a:lnTo>
                    <a:lnTo>
                      <a:pt x="1219" y="1568"/>
                    </a:lnTo>
                    <a:close/>
                    <a:moveTo>
                      <a:pt x="1203" y="1054"/>
                    </a:moveTo>
                    <a:lnTo>
                      <a:pt x="1205" y="1054"/>
                    </a:lnTo>
                    <a:lnTo>
                      <a:pt x="1203" y="1054"/>
                    </a:lnTo>
                    <a:close/>
                    <a:moveTo>
                      <a:pt x="1360" y="1657"/>
                    </a:moveTo>
                    <a:lnTo>
                      <a:pt x="1360" y="1658"/>
                    </a:lnTo>
                    <a:lnTo>
                      <a:pt x="1360" y="1657"/>
                    </a:lnTo>
                    <a:close/>
                    <a:moveTo>
                      <a:pt x="1234" y="1124"/>
                    </a:moveTo>
                    <a:lnTo>
                      <a:pt x="1236" y="1124"/>
                    </a:lnTo>
                    <a:lnTo>
                      <a:pt x="1236" y="1126"/>
                    </a:lnTo>
                    <a:lnTo>
                      <a:pt x="1234" y="1126"/>
                    </a:lnTo>
                    <a:lnTo>
                      <a:pt x="1234" y="1124"/>
                    </a:lnTo>
                    <a:close/>
                    <a:moveTo>
                      <a:pt x="1322" y="1628"/>
                    </a:moveTo>
                    <a:lnTo>
                      <a:pt x="1322" y="1629"/>
                    </a:lnTo>
                    <a:lnTo>
                      <a:pt x="1322" y="1628"/>
                    </a:lnTo>
                    <a:close/>
                    <a:moveTo>
                      <a:pt x="1215" y="1538"/>
                    </a:moveTo>
                    <a:lnTo>
                      <a:pt x="1217" y="1538"/>
                    </a:lnTo>
                    <a:lnTo>
                      <a:pt x="1215" y="1538"/>
                    </a:lnTo>
                    <a:close/>
                    <a:moveTo>
                      <a:pt x="1200" y="1082"/>
                    </a:moveTo>
                    <a:lnTo>
                      <a:pt x="1200" y="1083"/>
                    </a:lnTo>
                    <a:lnTo>
                      <a:pt x="1200" y="1082"/>
                    </a:lnTo>
                    <a:close/>
                    <a:moveTo>
                      <a:pt x="1188" y="1497"/>
                    </a:moveTo>
                    <a:lnTo>
                      <a:pt x="1190" y="1497"/>
                    </a:lnTo>
                    <a:lnTo>
                      <a:pt x="1188" y="1497"/>
                    </a:lnTo>
                    <a:close/>
                    <a:moveTo>
                      <a:pt x="1213" y="1500"/>
                    </a:moveTo>
                    <a:lnTo>
                      <a:pt x="1215" y="1500"/>
                    </a:lnTo>
                    <a:lnTo>
                      <a:pt x="1213" y="1500"/>
                    </a:lnTo>
                    <a:close/>
                    <a:moveTo>
                      <a:pt x="1310" y="1641"/>
                    </a:moveTo>
                    <a:lnTo>
                      <a:pt x="1310" y="1643"/>
                    </a:lnTo>
                    <a:lnTo>
                      <a:pt x="1310" y="1641"/>
                    </a:lnTo>
                    <a:close/>
                    <a:moveTo>
                      <a:pt x="1171" y="1432"/>
                    </a:moveTo>
                    <a:lnTo>
                      <a:pt x="1173" y="1432"/>
                    </a:lnTo>
                    <a:lnTo>
                      <a:pt x="1171" y="1432"/>
                    </a:lnTo>
                    <a:close/>
                    <a:moveTo>
                      <a:pt x="1208" y="1461"/>
                    </a:moveTo>
                    <a:lnTo>
                      <a:pt x="1208" y="1463"/>
                    </a:lnTo>
                    <a:lnTo>
                      <a:pt x="1208" y="1461"/>
                    </a:lnTo>
                    <a:close/>
                    <a:moveTo>
                      <a:pt x="1232" y="1475"/>
                    </a:moveTo>
                    <a:lnTo>
                      <a:pt x="1232" y="1476"/>
                    </a:lnTo>
                    <a:lnTo>
                      <a:pt x="1232" y="1475"/>
                    </a:lnTo>
                    <a:close/>
                    <a:moveTo>
                      <a:pt x="1229" y="1575"/>
                    </a:moveTo>
                    <a:lnTo>
                      <a:pt x="1229" y="1577"/>
                    </a:lnTo>
                    <a:lnTo>
                      <a:pt x="1229" y="1575"/>
                    </a:lnTo>
                    <a:close/>
                    <a:moveTo>
                      <a:pt x="1183" y="1422"/>
                    </a:moveTo>
                    <a:lnTo>
                      <a:pt x="1185" y="1422"/>
                    </a:lnTo>
                    <a:lnTo>
                      <a:pt x="1185" y="1424"/>
                    </a:lnTo>
                    <a:lnTo>
                      <a:pt x="1183" y="1424"/>
                    </a:lnTo>
                    <a:lnTo>
                      <a:pt x="1183" y="1422"/>
                    </a:lnTo>
                    <a:close/>
                    <a:moveTo>
                      <a:pt x="1169" y="1242"/>
                    </a:moveTo>
                    <a:lnTo>
                      <a:pt x="1171" y="1242"/>
                    </a:lnTo>
                    <a:lnTo>
                      <a:pt x="1169" y="1242"/>
                    </a:lnTo>
                    <a:close/>
                    <a:moveTo>
                      <a:pt x="1162" y="1459"/>
                    </a:moveTo>
                    <a:lnTo>
                      <a:pt x="1162" y="1461"/>
                    </a:lnTo>
                    <a:lnTo>
                      <a:pt x="1162" y="1459"/>
                    </a:lnTo>
                    <a:close/>
                    <a:moveTo>
                      <a:pt x="1329" y="1645"/>
                    </a:moveTo>
                    <a:lnTo>
                      <a:pt x="1331" y="1645"/>
                    </a:lnTo>
                    <a:lnTo>
                      <a:pt x="1329" y="1645"/>
                    </a:lnTo>
                    <a:close/>
                    <a:moveTo>
                      <a:pt x="1178" y="1384"/>
                    </a:moveTo>
                    <a:lnTo>
                      <a:pt x="1178" y="1386"/>
                    </a:lnTo>
                    <a:lnTo>
                      <a:pt x="1178" y="1384"/>
                    </a:lnTo>
                    <a:close/>
                    <a:moveTo>
                      <a:pt x="1298" y="1621"/>
                    </a:moveTo>
                    <a:lnTo>
                      <a:pt x="1300" y="1621"/>
                    </a:lnTo>
                    <a:lnTo>
                      <a:pt x="1298" y="1621"/>
                    </a:lnTo>
                    <a:close/>
                    <a:moveTo>
                      <a:pt x="1188" y="1492"/>
                    </a:moveTo>
                    <a:lnTo>
                      <a:pt x="1190" y="1492"/>
                    </a:lnTo>
                    <a:lnTo>
                      <a:pt x="1188" y="1492"/>
                    </a:lnTo>
                    <a:close/>
                    <a:moveTo>
                      <a:pt x="1140" y="1298"/>
                    </a:moveTo>
                    <a:lnTo>
                      <a:pt x="1140" y="1299"/>
                    </a:lnTo>
                    <a:lnTo>
                      <a:pt x="1140" y="1298"/>
                    </a:lnTo>
                    <a:close/>
                    <a:moveTo>
                      <a:pt x="1208" y="1534"/>
                    </a:moveTo>
                    <a:lnTo>
                      <a:pt x="1210" y="1534"/>
                    </a:lnTo>
                    <a:lnTo>
                      <a:pt x="1210" y="1536"/>
                    </a:lnTo>
                    <a:lnTo>
                      <a:pt x="1208" y="1536"/>
                    </a:lnTo>
                    <a:lnTo>
                      <a:pt x="1208" y="1534"/>
                    </a:lnTo>
                    <a:close/>
                    <a:moveTo>
                      <a:pt x="1196" y="1454"/>
                    </a:moveTo>
                    <a:lnTo>
                      <a:pt x="1198" y="1454"/>
                    </a:lnTo>
                    <a:lnTo>
                      <a:pt x="1196" y="1454"/>
                    </a:lnTo>
                    <a:close/>
                    <a:moveTo>
                      <a:pt x="1154" y="1250"/>
                    </a:moveTo>
                    <a:lnTo>
                      <a:pt x="1154" y="1252"/>
                    </a:lnTo>
                    <a:lnTo>
                      <a:pt x="1154" y="1250"/>
                    </a:lnTo>
                    <a:close/>
                    <a:moveTo>
                      <a:pt x="1193" y="1054"/>
                    </a:moveTo>
                    <a:lnTo>
                      <a:pt x="1195" y="1054"/>
                    </a:lnTo>
                    <a:lnTo>
                      <a:pt x="1193" y="1054"/>
                    </a:lnTo>
                    <a:close/>
                    <a:moveTo>
                      <a:pt x="1414" y="1669"/>
                    </a:moveTo>
                    <a:lnTo>
                      <a:pt x="1416" y="1669"/>
                    </a:lnTo>
                    <a:lnTo>
                      <a:pt x="1414" y="1669"/>
                    </a:lnTo>
                    <a:close/>
                    <a:moveTo>
                      <a:pt x="1287" y="1626"/>
                    </a:moveTo>
                    <a:lnTo>
                      <a:pt x="1287" y="1628"/>
                    </a:lnTo>
                    <a:lnTo>
                      <a:pt x="1287" y="1626"/>
                    </a:lnTo>
                    <a:close/>
                    <a:moveTo>
                      <a:pt x="1196" y="1417"/>
                    </a:moveTo>
                    <a:lnTo>
                      <a:pt x="1198" y="1417"/>
                    </a:lnTo>
                    <a:lnTo>
                      <a:pt x="1198" y="1418"/>
                    </a:lnTo>
                    <a:lnTo>
                      <a:pt x="1196" y="1418"/>
                    </a:lnTo>
                    <a:lnTo>
                      <a:pt x="1196" y="1417"/>
                    </a:lnTo>
                    <a:close/>
                    <a:moveTo>
                      <a:pt x="1191" y="1141"/>
                    </a:moveTo>
                    <a:lnTo>
                      <a:pt x="1193" y="1141"/>
                    </a:lnTo>
                    <a:lnTo>
                      <a:pt x="1191" y="1141"/>
                    </a:lnTo>
                    <a:close/>
                    <a:moveTo>
                      <a:pt x="1207" y="1051"/>
                    </a:moveTo>
                    <a:lnTo>
                      <a:pt x="1208" y="1051"/>
                    </a:lnTo>
                    <a:lnTo>
                      <a:pt x="1207" y="1051"/>
                    </a:lnTo>
                    <a:close/>
                    <a:moveTo>
                      <a:pt x="1202" y="952"/>
                    </a:moveTo>
                    <a:lnTo>
                      <a:pt x="1203" y="952"/>
                    </a:lnTo>
                    <a:lnTo>
                      <a:pt x="1202" y="952"/>
                    </a:lnTo>
                    <a:close/>
                    <a:moveTo>
                      <a:pt x="1212" y="1560"/>
                    </a:moveTo>
                    <a:lnTo>
                      <a:pt x="1213" y="1560"/>
                    </a:lnTo>
                    <a:lnTo>
                      <a:pt x="1212" y="1560"/>
                    </a:lnTo>
                    <a:close/>
                    <a:moveTo>
                      <a:pt x="1168" y="1390"/>
                    </a:moveTo>
                    <a:lnTo>
                      <a:pt x="1168" y="1391"/>
                    </a:lnTo>
                    <a:lnTo>
                      <a:pt x="1168" y="1390"/>
                    </a:lnTo>
                    <a:close/>
                    <a:moveTo>
                      <a:pt x="1186" y="1060"/>
                    </a:moveTo>
                    <a:lnTo>
                      <a:pt x="1188" y="1060"/>
                    </a:lnTo>
                    <a:lnTo>
                      <a:pt x="1186" y="1060"/>
                    </a:lnTo>
                    <a:close/>
                    <a:moveTo>
                      <a:pt x="1169" y="1478"/>
                    </a:moveTo>
                    <a:lnTo>
                      <a:pt x="1169" y="1480"/>
                    </a:lnTo>
                    <a:lnTo>
                      <a:pt x="1169" y="1478"/>
                    </a:lnTo>
                    <a:close/>
                    <a:moveTo>
                      <a:pt x="1297" y="1592"/>
                    </a:moveTo>
                    <a:lnTo>
                      <a:pt x="1298" y="1592"/>
                    </a:lnTo>
                    <a:lnTo>
                      <a:pt x="1297" y="1592"/>
                    </a:lnTo>
                    <a:close/>
                    <a:moveTo>
                      <a:pt x="1324" y="1635"/>
                    </a:moveTo>
                    <a:lnTo>
                      <a:pt x="1326" y="1635"/>
                    </a:lnTo>
                    <a:lnTo>
                      <a:pt x="1324" y="1635"/>
                    </a:lnTo>
                    <a:close/>
                    <a:moveTo>
                      <a:pt x="1176" y="1449"/>
                    </a:moveTo>
                    <a:lnTo>
                      <a:pt x="1176" y="1451"/>
                    </a:lnTo>
                    <a:lnTo>
                      <a:pt x="1176" y="1449"/>
                    </a:lnTo>
                    <a:close/>
                    <a:moveTo>
                      <a:pt x="1181" y="1420"/>
                    </a:moveTo>
                    <a:lnTo>
                      <a:pt x="1181" y="1422"/>
                    </a:lnTo>
                    <a:lnTo>
                      <a:pt x="1181" y="1420"/>
                    </a:lnTo>
                    <a:close/>
                    <a:moveTo>
                      <a:pt x="1176" y="1459"/>
                    </a:moveTo>
                    <a:lnTo>
                      <a:pt x="1176" y="1461"/>
                    </a:lnTo>
                    <a:lnTo>
                      <a:pt x="1176" y="1459"/>
                    </a:lnTo>
                    <a:close/>
                    <a:moveTo>
                      <a:pt x="1225" y="1556"/>
                    </a:moveTo>
                    <a:lnTo>
                      <a:pt x="1225" y="1558"/>
                    </a:lnTo>
                    <a:lnTo>
                      <a:pt x="1225" y="1556"/>
                    </a:lnTo>
                    <a:close/>
                    <a:moveTo>
                      <a:pt x="1281" y="1614"/>
                    </a:moveTo>
                    <a:lnTo>
                      <a:pt x="1281" y="1616"/>
                    </a:lnTo>
                    <a:lnTo>
                      <a:pt x="1281" y="1614"/>
                    </a:lnTo>
                    <a:close/>
                    <a:moveTo>
                      <a:pt x="1370" y="1646"/>
                    </a:moveTo>
                    <a:lnTo>
                      <a:pt x="1372" y="1646"/>
                    </a:lnTo>
                    <a:lnTo>
                      <a:pt x="1372" y="1648"/>
                    </a:lnTo>
                    <a:lnTo>
                      <a:pt x="1370" y="1648"/>
                    </a:lnTo>
                    <a:lnTo>
                      <a:pt x="1370" y="1646"/>
                    </a:lnTo>
                    <a:close/>
                    <a:moveTo>
                      <a:pt x="1416" y="1679"/>
                    </a:moveTo>
                    <a:lnTo>
                      <a:pt x="1416" y="1680"/>
                    </a:lnTo>
                    <a:lnTo>
                      <a:pt x="1416" y="1679"/>
                    </a:lnTo>
                    <a:close/>
                    <a:moveTo>
                      <a:pt x="1169" y="1444"/>
                    </a:moveTo>
                    <a:lnTo>
                      <a:pt x="1171" y="1444"/>
                    </a:lnTo>
                    <a:lnTo>
                      <a:pt x="1169" y="1444"/>
                    </a:lnTo>
                    <a:close/>
                    <a:moveTo>
                      <a:pt x="1370" y="1640"/>
                    </a:moveTo>
                    <a:lnTo>
                      <a:pt x="1372" y="1640"/>
                    </a:lnTo>
                    <a:lnTo>
                      <a:pt x="1372" y="1641"/>
                    </a:lnTo>
                    <a:lnTo>
                      <a:pt x="1370" y="1641"/>
                    </a:lnTo>
                    <a:lnTo>
                      <a:pt x="1370" y="1640"/>
                    </a:lnTo>
                    <a:close/>
                    <a:moveTo>
                      <a:pt x="1181" y="1432"/>
                    </a:moveTo>
                    <a:lnTo>
                      <a:pt x="1183" y="1432"/>
                    </a:lnTo>
                    <a:lnTo>
                      <a:pt x="1181" y="1432"/>
                    </a:lnTo>
                    <a:close/>
                    <a:moveTo>
                      <a:pt x="1222" y="1566"/>
                    </a:moveTo>
                    <a:lnTo>
                      <a:pt x="1222" y="1568"/>
                    </a:lnTo>
                    <a:lnTo>
                      <a:pt x="1222" y="1566"/>
                    </a:lnTo>
                    <a:close/>
                    <a:moveTo>
                      <a:pt x="1154" y="1379"/>
                    </a:moveTo>
                    <a:lnTo>
                      <a:pt x="1156" y="1379"/>
                    </a:lnTo>
                    <a:lnTo>
                      <a:pt x="1154" y="1379"/>
                    </a:lnTo>
                    <a:close/>
                    <a:moveTo>
                      <a:pt x="1237" y="1544"/>
                    </a:moveTo>
                    <a:lnTo>
                      <a:pt x="1239" y="1544"/>
                    </a:lnTo>
                    <a:lnTo>
                      <a:pt x="1239" y="1546"/>
                    </a:lnTo>
                    <a:lnTo>
                      <a:pt x="1237" y="1546"/>
                    </a:lnTo>
                    <a:lnTo>
                      <a:pt x="1237" y="1544"/>
                    </a:lnTo>
                    <a:close/>
                    <a:moveTo>
                      <a:pt x="1321" y="1633"/>
                    </a:moveTo>
                    <a:lnTo>
                      <a:pt x="1322" y="1633"/>
                    </a:lnTo>
                    <a:lnTo>
                      <a:pt x="1322" y="1635"/>
                    </a:lnTo>
                    <a:lnTo>
                      <a:pt x="1321" y="1635"/>
                    </a:lnTo>
                    <a:lnTo>
                      <a:pt x="1321" y="1633"/>
                    </a:lnTo>
                    <a:close/>
                    <a:moveTo>
                      <a:pt x="1157" y="1233"/>
                    </a:moveTo>
                    <a:lnTo>
                      <a:pt x="1157" y="1235"/>
                    </a:lnTo>
                    <a:lnTo>
                      <a:pt x="1157" y="1233"/>
                    </a:lnTo>
                    <a:close/>
                    <a:moveTo>
                      <a:pt x="1193" y="1435"/>
                    </a:moveTo>
                    <a:lnTo>
                      <a:pt x="1195" y="1435"/>
                    </a:lnTo>
                    <a:lnTo>
                      <a:pt x="1193" y="1435"/>
                    </a:lnTo>
                    <a:close/>
                    <a:moveTo>
                      <a:pt x="1247" y="1505"/>
                    </a:moveTo>
                    <a:lnTo>
                      <a:pt x="1247" y="1507"/>
                    </a:lnTo>
                    <a:lnTo>
                      <a:pt x="1247" y="1505"/>
                    </a:lnTo>
                    <a:close/>
                    <a:moveTo>
                      <a:pt x="1210" y="1240"/>
                    </a:moveTo>
                    <a:lnTo>
                      <a:pt x="1212" y="1240"/>
                    </a:lnTo>
                    <a:lnTo>
                      <a:pt x="1212" y="1242"/>
                    </a:lnTo>
                    <a:lnTo>
                      <a:pt x="1210" y="1242"/>
                    </a:lnTo>
                    <a:lnTo>
                      <a:pt x="1210" y="1240"/>
                    </a:lnTo>
                    <a:close/>
                    <a:moveTo>
                      <a:pt x="1285" y="1619"/>
                    </a:moveTo>
                    <a:lnTo>
                      <a:pt x="1285" y="1621"/>
                    </a:lnTo>
                    <a:lnTo>
                      <a:pt x="1285" y="1619"/>
                    </a:lnTo>
                    <a:close/>
                    <a:moveTo>
                      <a:pt x="1207" y="1451"/>
                    </a:moveTo>
                    <a:lnTo>
                      <a:pt x="1207" y="1453"/>
                    </a:lnTo>
                    <a:lnTo>
                      <a:pt x="1207" y="1451"/>
                    </a:lnTo>
                    <a:close/>
                    <a:moveTo>
                      <a:pt x="1178" y="1481"/>
                    </a:moveTo>
                    <a:lnTo>
                      <a:pt x="1178" y="1483"/>
                    </a:lnTo>
                    <a:lnTo>
                      <a:pt x="1178" y="1481"/>
                    </a:lnTo>
                    <a:close/>
                    <a:moveTo>
                      <a:pt x="1213" y="1104"/>
                    </a:moveTo>
                    <a:lnTo>
                      <a:pt x="1213" y="1105"/>
                    </a:lnTo>
                    <a:lnTo>
                      <a:pt x="1213" y="1104"/>
                    </a:lnTo>
                    <a:close/>
                    <a:moveTo>
                      <a:pt x="1190" y="1420"/>
                    </a:moveTo>
                    <a:lnTo>
                      <a:pt x="1190" y="1422"/>
                    </a:lnTo>
                    <a:lnTo>
                      <a:pt x="1190" y="1420"/>
                    </a:lnTo>
                    <a:close/>
                    <a:moveTo>
                      <a:pt x="1195" y="1145"/>
                    </a:moveTo>
                    <a:lnTo>
                      <a:pt x="1195" y="1146"/>
                    </a:lnTo>
                    <a:lnTo>
                      <a:pt x="1195" y="1145"/>
                    </a:lnTo>
                    <a:close/>
                    <a:moveTo>
                      <a:pt x="1195" y="1077"/>
                    </a:moveTo>
                    <a:lnTo>
                      <a:pt x="1196" y="1077"/>
                    </a:lnTo>
                    <a:lnTo>
                      <a:pt x="1195" y="1077"/>
                    </a:lnTo>
                    <a:close/>
                    <a:moveTo>
                      <a:pt x="1200" y="1527"/>
                    </a:moveTo>
                    <a:lnTo>
                      <a:pt x="1200" y="1529"/>
                    </a:lnTo>
                    <a:lnTo>
                      <a:pt x="1200" y="1527"/>
                    </a:lnTo>
                    <a:close/>
                    <a:moveTo>
                      <a:pt x="1219" y="1100"/>
                    </a:moveTo>
                    <a:lnTo>
                      <a:pt x="1219" y="1102"/>
                    </a:lnTo>
                    <a:lnTo>
                      <a:pt x="1219" y="1100"/>
                    </a:lnTo>
                    <a:close/>
                    <a:moveTo>
                      <a:pt x="1198" y="1092"/>
                    </a:moveTo>
                    <a:lnTo>
                      <a:pt x="1198" y="1094"/>
                    </a:lnTo>
                    <a:lnTo>
                      <a:pt x="1198" y="1092"/>
                    </a:lnTo>
                    <a:close/>
                    <a:moveTo>
                      <a:pt x="1229" y="1570"/>
                    </a:moveTo>
                    <a:lnTo>
                      <a:pt x="1230" y="1570"/>
                    </a:lnTo>
                    <a:lnTo>
                      <a:pt x="1229" y="1570"/>
                    </a:lnTo>
                    <a:close/>
                    <a:moveTo>
                      <a:pt x="1229" y="1580"/>
                    </a:moveTo>
                    <a:lnTo>
                      <a:pt x="1230" y="1580"/>
                    </a:lnTo>
                    <a:lnTo>
                      <a:pt x="1230" y="1582"/>
                    </a:lnTo>
                    <a:lnTo>
                      <a:pt x="1229" y="1582"/>
                    </a:lnTo>
                    <a:lnTo>
                      <a:pt x="1229" y="1580"/>
                    </a:lnTo>
                    <a:close/>
                    <a:moveTo>
                      <a:pt x="1169" y="1413"/>
                    </a:moveTo>
                    <a:lnTo>
                      <a:pt x="1171" y="1413"/>
                    </a:lnTo>
                    <a:lnTo>
                      <a:pt x="1169" y="1413"/>
                    </a:lnTo>
                    <a:close/>
                    <a:moveTo>
                      <a:pt x="1178" y="1441"/>
                    </a:moveTo>
                    <a:lnTo>
                      <a:pt x="1179" y="1441"/>
                    </a:lnTo>
                    <a:lnTo>
                      <a:pt x="1178" y="1441"/>
                    </a:lnTo>
                    <a:close/>
                    <a:moveTo>
                      <a:pt x="1161" y="1398"/>
                    </a:moveTo>
                    <a:lnTo>
                      <a:pt x="1162" y="1398"/>
                    </a:lnTo>
                    <a:lnTo>
                      <a:pt x="1161" y="1398"/>
                    </a:lnTo>
                    <a:close/>
                    <a:moveTo>
                      <a:pt x="1217" y="1504"/>
                    </a:moveTo>
                    <a:lnTo>
                      <a:pt x="1219" y="1504"/>
                    </a:lnTo>
                    <a:lnTo>
                      <a:pt x="1219" y="1505"/>
                    </a:lnTo>
                    <a:lnTo>
                      <a:pt x="1217" y="1505"/>
                    </a:lnTo>
                    <a:lnTo>
                      <a:pt x="1217" y="1504"/>
                    </a:lnTo>
                    <a:close/>
                    <a:moveTo>
                      <a:pt x="1183" y="1308"/>
                    </a:moveTo>
                    <a:lnTo>
                      <a:pt x="1183" y="1310"/>
                    </a:lnTo>
                    <a:lnTo>
                      <a:pt x="1183" y="1308"/>
                    </a:lnTo>
                    <a:close/>
                    <a:moveTo>
                      <a:pt x="1161" y="1357"/>
                    </a:moveTo>
                    <a:lnTo>
                      <a:pt x="1162" y="1357"/>
                    </a:lnTo>
                    <a:lnTo>
                      <a:pt x="1161" y="1357"/>
                    </a:lnTo>
                    <a:close/>
                    <a:moveTo>
                      <a:pt x="1176" y="1367"/>
                    </a:moveTo>
                    <a:lnTo>
                      <a:pt x="1178" y="1367"/>
                    </a:lnTo>
                    <a:lnTo>
                      <a:pt x="1176" y="1367"/>
                    </a:lnTo>
                    <a:close/>
                    <a:moveTo>
                      <a:pt x="1305" y="1623"/>
                    </a:moveTo>
                    <a:lnTo>
                      <a:pt x="1307" y="1623"/>
                    </a:lnTo>
                    <a:lnTo>
                      <a:pt x="1307" y="1624"/>
                    </a:lnTo>
                    <a:lnTo>
                      <a:pt x="1305" y="1624"/>
                    </a:lnTo>
                    <a:lnTo>
                      <a:pt x="1305" y="1623"/>
                    </a:lnTo>
                    <a:close/>
                    <a:moveTo>
                      <a:pt x="1149" y="1333"/>
                    </a:moveTo>
                    <a:lnTo>
                      <a:pt x="1151" y="1333"/>
                    </a:lnTo>
                    <a:lnTo>
                      <a:pt x="1149" y="1333"/>
                    </a:lnTo>
                    <a:close/>
                    <a:moveTo>
                      <a:pt x="1213" y="1102"/>
                    </a:moveTo>
                    <a:lnTo>
                      <a:pt x="1213" y="1104"/>
                    </a:lnTo>
                    <a:lnTo>
                      <a:pt x="1213" y="1102"/>
                    </a:lnTo>
                    <a:close/>
                    <a:moveTo>
                      <a:pt x="1154" y="1248"/>
                    </a:moveTo>
                    <a:lnTo>
                      <a:pt x="1156" y="1248"/>
                    </a:lnTo>
                    <a:lnTo>
                      <a:pt x="1154" y="1248"/>
                    </a:lnTo>
                    <a:close/>
                    <a:moveTo>
                      <a:pt x="1358" y="1652"/>
                    </a:moveTo>
                    <a:lnTo>
                      <a:pt x="1358" y="1653"/>
                    </a:lnTo>
                    <a:lnTo>
                      <a:pt x="1358" y="1652"/>
                    </a:lnTo>
                    <a:close/>
                    <a:moveTo>
                      <a:pt x="1259" y="1590"/>
                    </a:moveTo>
                    <a:lnTo>
                      <a:pt x="1259" y="1592"/>
                    </a:lnTo>
                    <a:lnTo>
                      <a:pt x="1259" y="1590"/>
                    </a:lnTo>
                    <a:close/>
                    <a:moveTo>
                      <a:pt x="1266" y="1599"/>
                    </a:moveTo>
                    <a:lnTo>
                      <a:pt x="1266" y="1600"/>
                    </a:lnTo>
                    <a:lnTo>
                      <a:pt x="1266" y="1599"/>
                    </a:lnTo>
                    <a:close/>
                    <a:moveTo>
                      <a:pt x="1188" y="1066"/>
                    </a:moveTo>
                    <a:lnTo>
                      <a:pt x="1188" y="1068"/>
                    </a:lnTo>
                    <a:lnTo>
                      <a:pt x="1188" y="1066"/>
                    </a:lnTo>
                    <a:close/>
                    <a:moveTo>
                      <a:pt x="1154" y="1272"/>
                    </a:moveTo>
                    <a:lnTo>
                      <a:pt x="1156" y="1272"/>
                    </a:lnTo>
                    <a:lnTo>
                      <a:pt x="1156" y="1274"/>
                    </a:lnTo>
                    <a:lnTo>
                      <a:pt x="1154" y="1274"/>
                    </a:lnTo>
                    <a:lnTo>
                      <a:pt x="1154" y="1272"/>
                    </a:lnTo>
                    <a:close/>
                    <a:moveTo>
                      <a:pt x="1309" y="1635"/>
                    </a:moveTo>
                    <a:lnTo>
                      <a:pt x="1310" y="1635"/>
                    </a:lnTo>
                    <a:lnTo>
                      <a:pt x="1309" y="1635"/>
                    </a:lnTo>
                    <a:close/>
                    <a:moveTo>
                      <a:pt x="1220" y="1077"/>
                    </a:moveTo>
                    <a:lnTo>
                      <a:pt x="1222" y="1077"/>
                    </a:lnTo>
                    <a:lnTo>
                      <a:pt x="1220" y="1077"/>
                    </a:lnTo>
                    <a:close/>
                    <a:moveTo>
                      <a:pt x="1205" y="1507"/>
                    </a:moveTo>
                    <a:lnTo>
                      <a:pt x="1207" y="1507"/>
                    </a:lnTo>
                    <a:lnTo>
                      <a:pt x="1205" y="1507"/>
                    </a:lnTo>
                    <a:close/>
                    <a:moveTo>
                      <a:pt x="1229" y="1558"/>
                    </a:moveTo>
                    <a:lnTo>
                      <a:pt x="1230" y="1558"/>
                    </a:lnTo>
                    <a:lnTo>
                      <a:pt x="1229" y="1558"/>
                    </a:lnTo>
                    <a:close/>
                    <a:moveTo>
                      <a:pt x="1198" y="1435"/>
                    </a:moveTo>
                    <a:lnTo>
                      <a:pt x="1198" y="1437"/>
                    </a:lnTo>
                    <a:lnTo>
                      <a:pt x="1198" y="1435"/>
                    </a:lnTo>
                    <a:close/>
                    <a:moveTo>
                      <a:pt x="1271" y="1595"/>
                    </a:moveTo>
                    <a:lnTo>
                      <a:pt x="1273" y="1595"/>
                    </a:lnTo>
                    <a:lnTo>
                      <a:pt x="1271" y="1595"/>
                    </a:lnTo>
                    <a:close/>
                    <a:moveTo>
                      <a:pt x="1186" y="1490"/>
                    </a:moveTo>
                    <a:lnTo>
                      <a:pt x="1188" y="1490"/>
                    </a:lnTo>
                    <a:lnTo>
                      <a:pt x="1186" y="1490"/>
                    </a:lnTo>
                    <a:close/>
                    <a:moveTo>
                      <a:pt x="1246" y="1507"/>
                    </a:moveTo>
                    <a:lnTo>
                      <a:pt x="1247" y="1507"/>
                    </a:lnTo>
                    <a:lnTo>
                      <a:pt x="1247" y="1509"/>
                    </a:lnTo>
                    <a:lnTo>
                      <a:pt x="1246" y="1509"/>
                    </a:lnTo>
                    <a:lnTo>
                      <a:pt x="1246" y="1507"/>
                    </a:lnTo>
                    <a:close/>
                    <a:moveTo>
                      <a:pt x="1368" y="1662"/>
                    </a:moveTo>
                    <a:lnTo>
                      <a:pt x="1370" y="1662"/>
                    </a:lnTo>
                    <a:lnTo>
                      <a:pt x="1368" y="1662"/>
                    </a:lnTo>
                    <a:close/>
                    <a:moveTo>
                      <a:pt x="1220" y="1544"/>
                    </a:moveTo>
                    <a:lnTo>
                      <a:pt x="1222" y="1544"/>
                    </a:lnTo>
                    <a:lnTo>
                      <a:pt x="1220" y="1544"/>
                    </a:lnTo>
                    <a:close/>
                    <a:moveTo>
                      <a:pt x="1162" y="1388"/>
                    </a:moveTo>
                    <a:lnTo>
                      <a:pt x="1164" y="1388"/>
                    </a:lnTo>
                    <a:lnTo>
                      <a:pt x="1162" y="1388"/>
                    </a:lnTo>
                    <a:close/>
                    <a:moveTo>
                      <a:pt x="1210" y="1242"/>
                    </a:moveTo>
                    <a:lnTo>
                      <a:pt x="1210" y="1243"/>
                    </a:lnTo>
                    <a:lnTo>
                      <a:pt x="1210" y="1242"/>
                    </a:lnTo>
                    <a:close/>
                    <a:moveTo>
                      <a:pt x="1196" y="1439"/>
                    </a:moveTo>
                    <a:lnTo>
                      <a:pt x="1198" y="1439"/>
                    </a:lnTo>
                    <a:lnTo>
                      <a:pt x="1198" y="1441"/>
                    </a:lnTo>
                    <a:lnTo>
                      <a:pt x="1196" y="1441"/>
                    </a:lnTo>
                    <a:lnTo>
                      <a:pt x="1196" y="1439"/>
                    </a:lnTo>
                    <a:close/>
                    <a:moveTo>
                      <a:pt x="1205" y="1481"/>
                    </a:moveTo>
                    <a:lnTo>
                      <a:pt x="1207" y="1481"/>
                    </a:lnTo>
                    <a:lnTo>
                      <a:pt x="1205" y="1481"/>
                    </a:lnTo>
                    <a:close/>
                    <a:moveTo>
                      <a:pt x="1190" y="1112"/>
                    </a:moveTo>
                    <a:lnTo>
                      <a:pt x="1191" y="1112"/>
                    </a:lnTo>
                    <a:lnTo>
                      <a:pt x="1191" y="1114"/>
                    </a:lnTo>
                    <a:lnTo>
                      <a:pt x="1190" y="1114"/>
                    </a:lnTo>
                    <a:lnTo>
                      <a:pt x="1190" y="1112"/>
                    </a:lnTo>
                    <a:close/>
                    <a:moveTo>
                      <a:pt x="1210" y="1481"/>
                    </a:moveTo>
                    <a:lnTo>
                      <a:pt x="1210" y="1483"/>
                    </a:lnTo>
                    <a:lnTo>
                      <a:pt x="1210" y="1481"/>
                    </a:lnTo>
                    <a:close/>
                    <a:moveTo>
                      <a:pt x="1312" y="1512"/>
                    </a:moveTo>
                    <a:lnTo>
                      <a:pt x="1312" y="1514"/>
                    </a:lnTo>
                    <a:lnTo>
                      <a:pt x="1312" y="1512"/>
                    </a:lnTo>
                    <a:close/>
                    <a:moveTo>
                      <a:pt x="1380" y="1662"/>
                    </a:moveTo>
                    <a:lnTo>
                      <a:pt x="1382" y="1662"/>
                    </a:lnTo>
                    <a:lnTo>
                      <a:pt x="1380" y="1662"/>
                    </a:lnTo>
                    <a:close/>
                    <a:moveTo>
                      <a:pt x="1210" y="1493"/>
                    </a:moveTo>
                    <a:lnTo>
                      <a:pt x="1212" y="1493"/>
                    </a:lnTo>
                    <a:lnTo>
                      <a:pt x="1210" y="1493"/>
                    </a:lnTo>
                    <a:close/>
                    <a:moveTo>
                      <a:pt x="1207" y="1099"/>
                    </a:moveTo>
                    <a:lnTo>
                      <a:pt x="1207" y="1100"/>
                    </a:lnTo>
                    <a:lnTo>
                      <a:pt x="1207" y="1099"/>
                    </a:lnTo>
                    <a:close/>
                    <a:moveTo>
                      <a:pt x="1154" y="1250"/>
                    </a:moveTo>
                    <a:lnTo>
                      <a:pt x="1156" y="1250"/>
                    </a:lnTo>
                    <a:lnTo>
                      <a:pt x="1154" y="1250"/>
                    </a:lnTo>
                    <a:close/>
                    <a:moveTo>
                      <a:pt x="1219" y="1549"/>
                    </a:moveTo>
                    <a:lnTo>
                      <a:pt x="1220" y="1549"/>
                    </a:lnTo>
                    <a:lnTo>
                      <a:pt x="1220" y="1551"/>
                    </a:lnTo>
                    <a:lnTo>
                      <a:pt x="1219" y="1551"/>
                    </a:lnTo>
                    <a:lnTo>
                      <a:pt x="1219" y="1549"/>
                    </a:lnTo>
                    <a:close/>
                    <a:moveTo>
                      <a:pt x="1210" y="1085"/>
                    </a:moveTo>
                    <a:lnTo>
                      <a:pt x="1210" y="1087"/>
                    </a:lnTo>
                    <a:lnTo>
                      <a:pt x="1210" y="1085"/>
                    </a:lnTo>
                    <a:close/>
                    <a:moveTo>
                      <a:pt x="1159" y="1347"/>
                    </a:moveTo>
                    <a:lnTo>
                      <a:pt x="1159" y="1349"/>
                    </a:lnTo>
                    <a:lnTo>
                      <a:pt x="1159" y="1347"/>
                    </a:lnTo>
                    <a:close/>
                    <a:moveTo>
                      <a:pt x="1219" y="1555"/>
                    </a:moveTo>
                    <a:lnTo>
                      <a:pt x="1220" y="1555"/>
                    </a:lnTo>
                    <a:lnTo>
                      <a:pt x="1219" y="1555"/>
                    </a:lnTo>
                    <a:close/>
                    <a:moveTo>
                      <a:pt x="1230" y="1570"/>
                    </a:moveTo>
                    <a:lnTo>
                      <a:pt x="1232" y="1570"/>
                    </a:lnTo>
                    <a:lnTo>
                      <a:pt x="1230" y="1570"/>
                    </a:lnTo>
                    <a:close/>
                    <a:moveTo>
                      <a:pt x="1144" y="1299"/>
                    </a:moveTo>
                    <a:lnTo>
                      <a:pt x="1144" y="1301"/>
                    </a:lnTo>
                    <a:lnTo>
                      <a:pt x="1144" y="1299"/>
                    </a:lnTo>
                    <a:close/>
                    <a:moveTo>
                      <a:pt x="1394" y="1635"/>
                    </a:moveTo>
                    <a:lnTo>
                      <a:pt x="1394" y="1636"/>
                    </a:lnTo>
                    <a:lnTo>
                      <a:pt x="1394" y="1635"/>
                    </a:lnTo>
                    <a:close/>
                    <a:moveTo>
                      <a:pt x="1236" y="1582"/>
                    </a:moveTo>
                    <a:lnTo>
                      <a:pt x="1236" y="1583"/>
                    </a:lnTo>
                    <a:lnTo>
                      <a:pt x="1236" y="1582"/>
                    </a:lnTo>
                    <a:close/>
                    <a:moveTo>
                      <a:pt x="1207" y="1514"/>
                    </a:moveTo>
                    <a:lnTo>
                      <a:pt x="1208" y="1514"/>
                    </a:lnTo>
                    <a:lnTo>
                      <a:pt x="1207" y="1514"/>
                    </a:lnTo>
                    <a:close/>
                    <a:moveTo>
                      <a:pt x="1220" y="1117"/>
                    </a:moveTo>
                    <a:lnTo>
                      <a:pt x="1222" y="1117"/>
                    </a:lnTo>
                    <a:lnTo>
                      <a:pt x="1220" y="1117"/>
                    </a:lnTo>
                    <a:close/>
                    <a:moveTo>
                      <a:pt x="1229" y="1039"/>
                    </a:moveTo>
                    <a:lnTo>
                      <a:pt x="1230" y="1039"/>
                    </a:lnTo>
                    <a:lnTo>
                      <a:pt x="1230" y="1041"/>
                    </a:lnTo>
                    <a:lnTo>
                      <a:pt x="1229" y="1041"/>
                    </a:lnTo>
                    <a:lnTo>
                      <a:pt x="1229" y="1039"/>
                    </a:lnTo>
                    <a:close/>
                    <a:moveTo>
                      <a:pt x="1178" y="1488"/>
                    </a:moveTo>
                    <a:lnTo>
                      <a:pt x="1179" y="1488"/>
                    </a:lnTo>
                    <a:lnTo>
                      <a:pt x="1179" y="1490"/>
                    </a:lnTo>
                    <a:lnTo>
                      <a:pt x="1178" y="1490"/>
                    </a:lnTo>
                    <a:lnTo>
                      <a:pt x="1178" y="1488"/>
                    </a:lnTo>
                    <a:close/>
                    <a:moveTo>
                      <a:pt x="1173" y="1435"/>
                    </a:moveTo>
                    <a:lnTo>
                      <a:pt x="1174" y="1435"/>
                    </a:lnTo>
                    <a:lnTo>
                      <a:pt x="1174" y="1437"/>
                    </a:lnTo>
                    <a:lnTo>
                      <a:pt x="1173" y="1437"/>
                    </a:lnTo>
                    <a:lnTo>
                      <a:pt x="1173" y="1435"/>
                    </a:lnTo>
                    <a:close/>
                    <a:moveTo>
                      <a:pt x="1202" y="1063"/>
                    </a:moveTo>
                    <a:lnTo>
                      <a:pt x="1203" y="1063"/>
                    </a:lnTo>
                    <a:lnTo>
                      <a:pt x="1202" y="1063"/>
                    </a:lnTo>
                    <a:close/>
                    <a:moveTo>
                      <a:pt x="1154" y="1250"/>
                    </a:moveTo>
                    <a:lnTo>
                      <a:pt x="1154" y="1252"/>
                    </a:lnTo>
                    <a:lnTo>
                      <a:pt x="1154" y="1250"/>
                    </a:lnTo>
                    <a:close/>
                    <a:moveTo>
                      <a:pt x="1178" y="1432"/>
                    </a:moveTo>
                    <a:lnTo>
                      <a:pt x="1179" y="1432"/>
                    </a:lnTo>
                    <a:lnTo>
                      <a:pt x="1178" y="1432"/>
                    </a:lnTo>
                    <a:close/>
                    <a:moveTo>
                      <a:pt x="1188" y="1480"/>
                    </a:moveTo>
                    <a:lnTo>
                      <a:pt x="1190" y="1480"/>
                    </a:lnTo>
                    <a:lnTo>
                      <a:pt x="1188" y="1480"/>
                    </a:lnTo>
                    <a:close/>
                    <a:moveTo>
                      <a:pt x="1360" y="1629"/>
                    </a:moveTo>
                    <a:lnTo>
                      <a:pt x="1361" y="1629"/>
                    </a:lnTo>
                    <a:lnTo>
                      <a:pt x="1361" y="1631"/>
                    </a:lnTo>
                    <a:lnTo>
                      <a:pt x="1360" y="1631"/>
                    </a:lnTo>
                    <a:lnTo>
                      <a:pt x="1360" y="1629"/>
                    </a:lnTo>
                    <a:close/>
                    <a:moveTo>
                      <a:pt x="1181" y="1117"/>
                    </a:moveTo>
                    <a:lnTo>
                      <a:pt x="1183" y="1117"/>
                    </a:lnTo>
                    <a:lnTo>
                      <a:pt x="1181" y="1117"/>
                    </a:lnTo>
                    <a:close/>
                    <a:moveTo>
                      <a:pt x="1346" y="1657"/>
                    </a:moveTo>
                    <a:lnTo>
                      <a:pt x="1348" y="1657"/>
                    </a:lnTo>
                    <a:lnTo>
                      <a:pt x="1348" y="1658"/>
                    </a:lnTo>
                    <a:lnTo>
                      <a:pt x="1346" y="1658"/>
                    </a:lnTo>
                    <a:lnTo>
                      <a:pt x="1346" y="1657"/>
                    </a:lnTo>
                    <a:close/>
                    <a:moveTo>
                      <a:pt x="1145" y="1332"/>
                    </a:moveTo>
                    <a:lnTo>
                      <a:pt x="1147" y="1332"/>
                    </a:lnTo>
                    <a:lnTo>
                      <a:pt x="1147" y="1333"/>
                    </a:lnTo>
                    <a:lnTo>
                      <a:pt x="1145" y="1333"/>
                    </a:lnTo>
                    <a:lnTo>
                      <a:pt x="1145" y="1332"/>
                    </a:lnTo>
                    <a:close/>
                    <a:moveTo>
                      <a:pt x="1215" y="1504"/>
                    </a:moveTo>
                    <a:lnTo>
                      <a:pt x="1217" y="1504"/>
                    </a:lnTo>
                    <a:lnTo>
                      <a:pt x="1215" y="1504"/>
                    </a:lnTo>
                    <a:close/>
                    <a:moveTo>
                      <a:pt x="1149" y="1253"/>
                    </a:moveTo>
                    <a:lnTo>
                      <a:pt x="1151" y="1253"/>
                    </a:lnTo>
                    <a:lnTo>
                      <a:pt x="1149" y="1253"/>
                    </a:lnTo>
                    <a:close/>
                    <a:moveTo>
                      <a:pt x="1329" y="1643"/>
                    </a:moveTo>
                    <a:lnTo>
                      <a:pt x="1331" y="1643"/>
                    </a:lnTo>
                    <a:lnTo>
                      <a:pt x="1329" y="1643"/>
                    </a:lnTo>
                    <a:close/>
                    <a:moveTo>
                      <a:pt x="1193" y="1453"/>
                    </a:moveTo>
                    <a:lnTo>
                      <a:pt x="1193" y="1454"/>
                    </a:lnTo>
                    <a:lnTo>
                      <a:pt x="1193" y="1453"/>
                    </a:lnTo>
                    <a:close/>
                    <a:moveTo>
                      <a:pt x="1203" y="1063"/>
                    </a:moveTo>
                    <a:lnTo>
                      <a:pt x="1203" y="1065"/>
                    </a:lnTo>
                    <a:lnTo>
                      <a:pt x="1203" y="1063"/>
                    </a:lnTo>
                    <a:close/>
                    <a:moveTo>
                      <a:pt x="1310" y="212"/>
                    </a:moveTo>
                    <a:lnTo>
                      <a:pt x="1310" y="214"/>
                    </a:lnTo>
                    <a:lnTo>
                      <a:pt x="1310" y="212"/>
                    </a:lnTo>
                    <a:close/>
                    <a:moveTo>
                      <a:pt x="1361" y="1667"/>
                    </a:moveTo>
                    <a:lnTo>
                      <a:pt x="1363" y="1667"/>
                    </a:lnTo>
                    <a:lnTo>
                      <a:pt x="1361" y="1667"/>
                    </a:lnTo>
                    <a:close/>
                    <a:moveTo>
                      <a:pt x="1166" y="1405"/>
                    </a:moveTo>
                    <a:lnTo>
                      <a:pt x="1168" y="1405"/>
                    </a:lnTo>
                    <a:lnTo>
                      <a:pt x="1168" y="1407"/>
                    </a:lnTo>
                    <a:lnTo>
                      <a:pt x="1166" y="1407"/>
                    </a:lnTo>
                    <a:lnTo>
                      <a:pt x="1166" y="1405"/>
                    </a:lnTo>
                    <a:close/>
                    <a:moveTo>
                      <a:pt x="1215" y="1555"/>
                    </a:moveTo>
                    <a:lnTo>
                      <a:pt x="1217" y="1555"/>
                    </a:lnTo>
                    <a:lnTo>
                      <a:pt x="1215" y="1555"/>
                    </a:lnTo>
                    <a:close/>
                    <a:moveTo>
                      <a:pt x="1191" y="1437"/>
                    </a:moveTo>
                    <a:lnTo>
                      <a:pt x="1193" y="1437"/>
                    </a:lnTo>
                    <a:lnTo>
                      <a:pt x="1191" y="1437"/>
                    </a:lnTo>
                    <a:close/>
                    <a:moveTo>
                      <a:pt x="1251" y="1522"/>
                    </a:moveTo>
                    <a:lnTo>
                      <a:pt x="1253" y="1522"/>
                    </a:lnTo>
                    <a:lnTo>
                      <a:pt x="1251" y="1522"/>
                    </a:lnTo>
                    <a:close/>
                    <a:moveTo>
                      <a:pt x="1207" y="1498"/>
                    </a:moveTo>
                    <a:lnTo>
                      <a:pt x="1208" y="1498"/>
                    </a:lnTo>
                    <a:lnTo>
                      <a:pt x="1208" y="1500"/>
                    </a:lnTo>
                    <a:lnTo>
                      <a:pt x="1207" y="1500"/>
                    </a:lnTo>
                    <a:lnTo>
                      <a:pt x="1207" y="1498"/>
                    </a:lnTo>
                    <a:close/>
                    <a:moveTo>
                      <a:pt x="1186" y="1439"/>
                    </a:moveTo>
                    <a:lnTo>
                      <a:pt x="1186" y="1441"/>
                    </a:lnTo>
                    <a:lnTo>
                      <a:pt x="1186" y="1439"/>
                    </a:lnTo>
                    <a:close/>
                    <a:moveTo>
                      <a:pt x="1176" y="1116"/>
                    </a:moveTo>
                    <a:lnTo>
                      <a:pt x="1178" y="1116"/>
                    </a:lnTo>
                    <a:lnTo>
                      <a:pt x="1176" y="1116"/>
                    </a:lnTo>
                    <a:close/>
                    <a:moveTo>
                      <a:pt x="1188" y="1209"/>
                    </a:moveTo>
                    <a:lnTo>
                      <a:pt x="1190" y="1209"/>
                    </a:lnTo>
                    <a:lnTo>
                      <a:pt x="1188" y="1209"/>
                    </a:lnTo>
                    <a:close/>
                    <a:moveTo>
                      <a:pt x="1159" y="1347"/>
                    </a:moveTo>
                    <a:lnTo>
                      <a:pt x="1161" y="1347"/>
                    </a:lnTo>
                    <a:lnTo>
                      <a:pt x="1159" y="1347"/>
                    </a:lnTo>
                    <a:close/>
                    <a:moveTo>
                      <a:pt x="1215" y="1105"/>
                    </a:moveTo>
                    <a:lnTo>
                      <a:pt x="1215" y="1107"/>
                    </a:lnTo>
                    <a:lnTo>
                      <a:pt x="1215" y="1105"/>
                    </a:lnTo>
                    <a:close/>
                    <a:moveTo>
                      <a:pt x="1162" y="1347"/>
                    </a:moveTo>
                    <a:lnTo>
                      <a:pt x="1164" y="1347"/>
                    </a:lnTo>
                    <a:lnTo>
                      <a:pt x="1162" y="1347"/>
                    </a:lnTo>
                    <a:close/>
                    <a:moveTo>
                      <a:pt x="1210" y="1116"/>
                    </a:moveTo>
                    <a:lnTo>
                      <a:pt x="1212" y="1116"/>
                    </a:lnTo>
                    <a:lnTo>
                      <a:pt x="1210" y="1116"/>
                    </a:lnTo>
                    <a:close/>
                    <a:moveTo>
                      <a:pt x="1259" y="1493"/>
                    </a:moveTo>
                    <a:lnTo>
                      <a:pt x="1261" y="1493"/>
                    </a:lnTo>
                    <a:lnTo>
                      <a:pt x="1259" y="1493"/>
                    </a:lnTo>
                    <a:close/>
                    <a:moveTo>
                      <a:pt x="1207" y="1521"/>
                    </a:moveTo>
                    <a:lnTo>
                      <a:pt x="1208" y="1521"/>
                    </a:lnTo>
                    <a:lnTo>
                      <a:pt x="1208" y="1522"/>
                    </a:lnTo>
                    <a:lnTo>
                      <a:pt x="1207" y="1522"/>
                    </a:lnTo>
                    <a:lnTo>
                      <a:pt x="1207" y="1521"/>
                    </a:lnTo>
                    <a:close/>
                    <a:moveTo>
                      <a:pt x="1212" y="1070"/>
                    </a:moveTo>
                    <a:lnTo>
                      <a:pt x="1212" y="1071"/>
                    </a:lnTo>
                    <a:lnTo>
                      <a:pt x="1212" y="1070"/>
                    </a:lnTo>
                    <a:close/>
                    <a:moveTo>
                      <a:pt x="1190" y="1068"/>
                    </a:moveTo>
                    <a:lnTo>
                      <a:pt x="1191" y="1068"/>
                    </a:lnTo>
                    <a:lnTo>
                      <a:pt x="1190" y="1068"/>
                    </a:lnTo>
                    <a:close/>
                    <a:moveTo>
                      <a:pt x="1213" y="1555"/>
                    </a:moveTo>
                    <a:lnTo>
                      <a:pt x="1215" y="1555"/>
                    </a:lnTo>
                    <a:lnTo>
                      <a:pt x="1215" y="1556"/>
                    </a:lnTo>
                    <a:lnTo>
                      <a:pt x="1213" y="1556"/>
                    </a:lnTo>
                    <a:lnTo>
                      <a:pt x="1213" y="1555"/>
                    </a:lnTo>
                    <a:close/>
                    <a:moveTo>
                      <a:pt x="1212" y="1555"/>
                    </a:moveTo>
                    <a:lnTo>
                      <a:pt x="1213" y="1555"/>
                    </a:lnTo>
                    <a:lnTo>
                      <a:pt x="1212" y="1555"/>
                    </a:lnTo>
                    <a:close/>
                    <a:moveTo>
                      <a:pt x="1212" y="1500"/>
                    </a:moveTo>
                    <a:lnTo>
                      <a:pt x="1212" y="1502"/>
                    </a:lnTo>
                    <a:lnTo>
                      <a:pt x="1212" y="1500"/>
                    </a:lnTo>
                    <a:close/>
                    <a:moveTo>
                      <a:pt x="1156" y="1250"/>
                    </a:moveTo>
                    <a:lnTo>
                      <a:pt x="1156" y="1252"/>
                    </a:lnTo>
                    <a:lnTo>
                      <a:pt x="1156" y="1250"/>
                    </a:lnTo>
                    <a:close/>
                    <a:moveTo>
                      <a:pt x="1205" y="1073"/>
                    </a:moveTo>
                    <a:lnTo>
                      <a:pt x="1207" y="1073"/>
                    </a:lnTo>
                    <a:lnTo>
                      <a:pt x="1207" y="1075"/>
                    </a:lnTo>
                    <a:lnTo>
                      <a:pt x="1205" y="1075"/>
                    </a:lnTo>
                    <a:lnTo>
                      <a:pt x="1205" y="1073"/>
                    </a:lnTo>
                    <a:close/>
                    <a:moveTo>
                      <a:pt x="1208" y="1082"/>
                    </a:moveTo>
                    <a:lnTo>
                      <a:pt x="1210" y="1082"/>
                    </a:lnTo>
                    <a:lnTo>
                      <a:pt x="1208" y="1082"/>
                    </a:lnTo>
                    <a:close/>
                    <a:moveTo>
                      <a:pt x="1169" y="1434"/>
                    </a:moveTo>
                    <a:lnTo>
                      <a:pt x="1171" y="1434"/>
                    </a:lnTo>
                    <a:lnTo>
                      <a:pt x="1171" y="1435"/>
                    </a:lnTo>
                    <a:lnTo>
                      <a:pt x="1169" y="1435"/>
                    </a:lnTo>
                    <a:lnTo>
                      <a:pt x="1169" y="1434"/>
                    </a:lnTo>
                    <a:close/>
                    <a:moveTo>
                      <a:pt x="1191" y="1114"/>
                    </a:moveTo>
                    <a:lnTo>
                      <a:pt x="1191" y="1116"/>
                    </a:lnTo>
                    <a:lnTo>
                      <a:pt x="1191" y="1114"/>
                    </a:lnTo>
                    <a:close/>
                    <a:moveTo>
                      <a:pt x="1178" y="1374"/>
                    </a:moveTo>
                    <a:lnTo>
                      <a:pt x="1178" y="1376"/>
                    </a:lnTo>
                    <a:lnTo>
                      <a:pt x="1178" y="1374"/>
                    </a:lnTo>
                    <a:close/>
                    <a:moveTo>
                      <a:pt x="1208" y="1075"/>
                    </a:moveTo>
                    <a:lnTo>
                      <a:pt x="1210" y="1075"/>
                    </a:lnTo>
                    <a:lnTo>
                      <a:pt x="1208" y="1075"/>
                    </a:lnTo>
                    <a:close/>
                    <a:moveTo>
                      <a:pt x="1205" y="1053"/>
                    </a:moveTo>
                    <a:lnTo>
                      <a:pt x="1205" y="1054"/>
                    </a:lnTo>
                    <a:lnTo>
                      <a:pt x="1205" y="1053"/>
                    </a:lnTo>
                    <a:close/>
                    <a:moveTo>
                      <a:pt x="1186" y="1383"/>
                    </a:moveTo>
                    <a:lnTo>
                      <a:pt x="1186" y="1384"/>
                    </a:lnTo>
                    <a:lnTo>
                      <a:pt x="1186" y="1383"/>
                    </a:lnTo>
                    <a:close/>
                    <a:moveTo>
                      <a:pt x="1169" y="1133"/>
                    </a:moveTo>
                    <a:lnTo>
                      <a:pt x="1171" y="1133"/>
                    </a:lnTo>
                    <a:lnTo>
                      <a:pt x="1171" y="1134"/>
                    </a:lnTo>
                    <a:lnTo>
                      <a:pt x="1169" y="1134"/>
                    </a:lnTo>
                    <a:lnTo>
                      <a:pt x="1169" y="1133"/>
                    </a:lnTo>
                    <a:close/>
                    <a:moveTo>
                      <a:pt x="1383" y="1628"/>
                    </a:moveTo>
                    <a:lnTo>
                      <a:pt x="1383" y="1629"/>
                    </a:lnTo>
                    <a:lnTo>
                      <a:pt x="1383" y="1628"/>
                    </a:lnTo>
                    <a:close/>
                    <a:moveTo>
                      <a:pt x="1232" y="1583"/>
                    </a:moveTo>
                    <a:lnTo>
                      <a:pt x="1234" y="1583"/>
                    </a:lnTo>
                    <a:lnTo>
                      <a:pt x="1232" y="1583"/>
                    </a:lnTo>
                    <a:close/>
                    <a:moveTo>
                      <a:pt x="1353" y="1682"/>
                    </a:moveTo>
                    <a:lnTo>
                      <a:pt x="1355" y="1682"/>
                    </a:lnTo>
                    <a:lnTo>
                      <a:pt x="1353" y="1682"/>
                    </a:lnTo>
                    <a:close/>
                    <a:moveTo>
                      <a:pt x="1185" y="1429"/>
                    </a:moveTo>
                    <a:lnTo>
                      <a:pt x="1185" y="1430"/>
                    </a:lnTo>
                    <a:lnTo>
                      <a:pt x="1185" y="1429"/>
                    </a:lnTo>
                    <a:close/>
                    <a:moveTo>
                      <a:pt x="1205" y="1054"/>
                    </a:moveTo>
                    <a:lnTo>
                      <a:pt x="1207" y="1054"/>
                    </a:lnTo>
                    <a:lnTo>
                      <a:pt x="1205" y="1054"/>
                    </a:lnTo>
                    <a:close/>
                    <a:moveTo>
                      <a:pt x="1283" y="1595"/>
                    </a:moveTo>
                    <a:lnTo>
                      <a:pt x="1283" y="1597"/>
                    </a:lnTo>
                    <a:lnTo>
                      <a:pt x="1283" y="1595"/>
                    </a:lnTo>
                    <a:close/>
                    <a:moveTo>
                      <a:pt x="1185" y="1429"/>
                    </a:moveTo>
                    <a:lnTo>
                      <a:pt x="1186" y="1429"/>
                    </a:lnTo>
                    <a:lnTo>
                      <a:pt x="1186" y="1430"/>
                    </a:lnTo>
                    <a:lnTo>
                      <a:pt x="1185" y="1430"/>
                    </a:lnTo>
                    <a:lnTo>
                      <a:pt x="1185" y="1429"/>
                    </a:lnTo>
                    <a:close/>
                    <a:moveTo>
                      <a:pt x="1220" y="1549"/>
                    </a:moveTo>
                    <a:lnTo>
                      <a:pt x="1220" y="1551"/>
                    </a:lnTo>
                    <a:lnTo>
                      <a:pt x="1220" y="1549"/>
                    </a:lnTo>
                    <a:close/>
                    <a:moveTo>
                      <a:pt x="1174" y="1116"/>
                    </a:moveTo>
                    <a:lnTo>
                      <a:pt x="1174" y="1117"/>
                    </a:lnTo>
                    <a:lnTo>
                      <a:pt x="1174" y="1116"/>
                    </a:lnTo>
                    <a:close/>
                    <a:moveTo>
                      <a:pt x="1314" y="1577"/>
                    </a:moveTo>
                    <a:lnTo>
                      <a:pt x="1315" y="1577"/>
                    </a:lnTo>
                    <a:lnTo>
                      <a:pt x="1314" y="1577"/>
                    </a:lnTo>
                    <a:close/>
                    <a:moveTo>
                      <a:pt x="1207" y="1507"/>
                    </a:moveTo>
                    <a:lnTo>
                      <a:pt x="1208" y="1507"/>
                    </a:lnTo>
                    <a:lnTo>
                      <a:pt x="1207" y="1507"/>
                    </a:lnTo>
                    <a:close/>
                    <a:moveTo>
                      <a:pt x="1380" y="1660"/>
                    </a:moveTo>
                    <a:lnTo>
                      <a:pt x="1380" y="1662"/>
                    </a:lnTo>
                    <a:lnTo>
                      <a:pt x="1380" y="1660"/>
                    </a:lnTo>
                    <a:close/>
                    <a:moveTo>
                      <a:pt x="1224" y="1572"/>
                    </a:moveTo>
                    <a:lnTo>
                      <a:pt x="1225" y="1572"/>
                    </a:lnTo>
                    <a:lnTo>
                      <a:pt x="1224" y="1572"/>
                    </a:lnTo>
                    <a:close/>
                    <a:moveTo>
                      <a:pt x="1331" y="1648"/>
                    </a:moveTo>
                    <a:lnTo>
                      <a:pt x="1332" y="1648"/>
                    </a:lnTo>
                    <a:lnTo>
                      <a:pt x="1331" y="1648"/>
                    </a:lnTo>
                    <a:close/>
                    <a:moveTo>
                      <a:pt x="1198" y="1549"/>
                    </a:moveTo>
                    <a:lnTo>
                      <a:pt x="1200" y="1549"/>
                    </a:lnTo>
                    <a:lnTo>
                      <a:pt x="1198" y="1549"/>
                    </a:lnTo>
                    <a:close/>
                    <a:moveTo>
                      <a:pt x="1174" y="1435"/>
                    </a:moveTo>
                    <a:lnTo>
                      <a:pt x="1174" y="1437"/>
                    </a:lnTo>
                    <a:lnTo>
                      <a:pt x="1174" y="1435"/>
                    </a:lnTo>
                    <a:close/>
                    <a:moveTo>
                      <a:pt x="1176" y="1255"/>
                    </a:moveTo>
                    <a:lnTo>
                      <a:pt x="1178" y="1255"/>
                    </a:lnTo>
                    <a:lnTo>
                      <a:pt x="1176" y="1255"/>
                    </a:lnTo>
                    <a:close/>
                    <a:moveTo>
                      <a:pt x="1156" y="1191"/>
                    </a:moveTo>
                    <a:lnTo>
                      <a:pt x="1157" y="1191"/>
                    </a:lnTo>
                    <a:lnTo>
                      <a:pt x="1156" y="1191"/>
                    </a:lnTo>
                    <a:close/>
                    <a:moveTo>
                      <a:pt x="1208" y="956"/>
                    </a:moveTo>
                    <a:lnTo>
                      <a:pt x="1210" y="956"/>
                    </a:lnTo>
                    <a:lnTo>
                      <a:pt x="1208" y="956"/>
                    </a:lnTo>
                    <a:close/>
                    <a:moveTo>
                      <a:pt x="1220" y="1563"/>
                    </a:moveTo>
                    <a:lnTo>
                      <a:pt x="1222" y="1563"/>
                    </a:lnTo>
                    <a:lnTo>
                      <a:pt x="1220" y="1563"/>
                    </a:lnTo>
                    <a:close/>
                    <a:moveTo>
                      <a:pt x="1207" y="949"/>
                    </a:moveTo>
                    <a:lnTo>
                      <a:pt x="1207" y="951"/>
                    </a:lnTo>
                    <a:lnTo>
                      <a:pt x="1207" y="949"/>
                    </a:lnTo>
                    <a:close/>
                    <a:moveTo>
                      <a:pt x="1220" y="1056"/>
                    </a:moveTo>
                    <a:lnTo>
                      <a:pt x="1222" y="1056"/>
                    </a:lnTo>
                    <a:lnTo>
                      <a:pt x="1222" y="1058"/>
                    </a:lnTo>
                    <a:lnTo>
                      <a:pt x="1220" y="1058"/>
                    </a:lnTo>
                    <a:lnTo>
                      <a:pt x="1220" y="1056"/>
                    </a:lnTo>
                    <a:close/>
                    <a:moveTo>
                      <a:pt x="1232" y="1575"/>
                    </a:moveTo>
                    <a:lnTo>
                      <a:pt x="1234" y="1575"/>
                    </a:lnTo>
                    <a:lnTo>
                      <a:pt x="1232" y="1575"/>
                    </a:lnTo>
                    <a:close/>
                    <a:moveTo>
                      <a:pt x="1378" y="1665"/>
                    </a:moveTo>
                    <a:lnTo>
                      <a:pt x="1378" y="1667"/>
                    </a:lnTo>
                    <a:lnTo>
                      <a:pt x="1378" y="1665"/>
                    </a:lnTo>
                    <a:close/>
                    <a:moveTo>
                      <a:pt x="1227" y="1556"/>
                    </a:moveTo>
                    <a:lnTo>
                      <a:pt x="1229" y="1556"/>
                    </a:lnTo>
                    <a:lnTo>
                      <a:pt x="1229" y="1558"/>
                    </a:lnTo>
                    <a:lnTo>
                      <a:pt x="1227" y="1558"/>
                    </a:lnTo>
                    <a:lnTo>
                      <a:pt x="1227" y="1556"/>
                    </a:lnTo>
                    <a:close/>
                    <a:moveTo>
                      <a:pt x="1229" y="1534"/>
                    </a:moveTo>
                    <a:lnTo>
                      <a:pt x="1229" y="1536"/>
                    </a:lnTo>
                    <a:lnTo>
                      <a:pt x="1229" y="1534"/>
                    </a:lnTo>
                    <a:close/>
                    <a:moveTo>
                      <a:pt x="1183" y="1461"/>
                    </a:moveTo>
                    <a:lnTo>
                      <a:pt x="1185" y="1461"/>
                    </a:lnTo>
                    <a:lnTo>
                      <a:pt x="1185" y="1463"/>
                    </a:lnTo>
                    <a:lnTo>
                      <a:pt x="1183" y="1463"/>
                    </a:lnTo>
                    <a:lnTo>
                      <a:pt x="1183" y="1461"/>
                    </a:lnTo>
                    <a:close/>
                    <a:moveTo>
                      <a:pt x="1183" y="1298"/>
                    </a:moveTo>
                    <a:lnTo>
                      <a:pt x="1183" y="1299"/>
                    </a:lnTo>
                    <a:lnTo>
                      <a:pt x="1183" y="1298"/>
                    </a:lnTo>
                    <a:close/>
                    <a:moveTo>
                      <a:pt x="1227" y="1522"/>
                    </a:moveTo>
                    <a:lnTo>
                      <a:pt x="1229" y="1522"/>
                    </a:lnTo>
                    <a:lnTo>
                      <a:pt x="1229" y="1524"/>
                    </a:lnTo>
                    <a:lnTo>
                      <a:pt x="1227" y="1524"/>
                    </a:lnTo>
                    <a:lnTo>
                      <a:pt x="1227" y="1522"/>
                    </a:lnTo>
                    <a:close/>
                    <a:moveTo>
                      <a:pt x="1203" y="1541"/>
                    </a:moveTo>
                    <a:lnTo>
                      <a:pt x="1205" y="1541"/>
                    </a:lnTo>
                    <a:lnTo>
                      <a:pt x="1203" y="1541"/>
                    </a:lnTo>
                    <a:close/>
                    <a:moveTo>
                      <a:pt x="1256" y="1524"/>
                    </a:moveTo>
                    <a:lnTo>
                      <a:pt x="1256" y="1526"/>
                    </a:lnTo>
                    <a:lnTo>
                      <a:pt x="1256" y="1524"/>
                    </a:lnTo>
                    <a:close/>
                    <a:moveTo>
                      <a:pt x="1307" y="1643"/>
                    </a:moveTo>
                    <a:lnTo>
                      <a:pt x="1307" y="1645"/>
                    </a:lnTo>
                    <a:lnTo>
                      <a:pt x="1307" y="1643"/>
                    </a:lnTo>
                    <a:close/>
                    <a:moveTo>
                      <a:pt x="1210" y="1502"/>
                    </a:moveTo>
                    <a:lnTo>
                      <a:pt x="1212" y="1502"/>
                    </a:lnTo>
                    <a:lnTo>
                      <a:pt x="1210" y="1502"/>
                    </a:lnTo>
                    <a:close/>
                    <a:moveTo>
                      <a:pt x="1179" y="1432"/>
                    </a:moveTo>
                    <a:lnTo>
                      <a:pt x="1179" y="1434"/>
                    </a:lnTo>
                    <a:lnTo>
                      <a:pt x="1179" y="1432"/>
                    </a:lnTo>
                    <a:close/>
                    <a:moveTo>
                      <a:pt x="1365" y="1665"/>
                    </a:moveTo>
                    <a:lnTo>
                      <a:pt x="1365" y="1667"/>
                    </a:lnTo>
                    <a:lnTo>
                      <a:pt x="1365" y="1665"/>
                    </a:lnTo>
                    <a:close/>
                    <a:moveTo>
                      <a:pt x="1234" y="1077"/>
                    </a:moveTo>
                    <a:lnTo>
                      <a:pt x="1234" y="1078"/>
                    </a:lnTo>
                    <a:lnTo>
                      <a:pt x="1234" y="1077"/>
                    </a:lnTo>
                    <a:close/>
                    <a:moveTo>
                      <a:pt x="1173" y="1466"/>
                    </a:moveTo>
                    <a:lnTo>
                      <a:pt x="1173" y="1468"/>
                    </a:lnTo>
                    <a:lnTo>
                      <a:pt x="1173" y="1466"/>
                    </a:lnTo>
                    <a:close/>
                    <a:moveTo>
                      <a:pt x="1220" y="1558"/>
                    </a:moveTo>
                    <a:lnTo>
                      <a:pt x="1220" y="1560"/>
                    </a:lnTo>
                    <a:lnTo>
                      <a:pt x="1220" y="1558"/>
                    </a:lnTo>
                    <a:close/>
                    <a:moveTo>
                      <a:pt x="1300" y="1618"/>
                    </a:moveTo>
                    <a:lnTo>
                      <a:pt x="1300" y="1619"/>
                    </a:lnTo>
                    <a:lnTo>
                      <a:pt x="1300" y="1618"/>
                    </a:lnTo>
                    <a:close/>
                    <a:moveTo>
                      <a:pt x="1230" y="1558"/>
                    </a:moveTo>
                    <a:lnTo>
                      <a:pt x="1232" y="1558"/>
                    </a:lnTo>
                    <a:lnTo>
                      <a:pt x="1230" y="1558"/>
                    </a:lnTo>
                    <a:close/>
                    <a:moveTo>
                      <a:pt x="1212" y="1257"/>
                    </a:moveTo>
                    <a:lnTo>
                      <a:pt x="1212" y="1259"/>
                    </a:lnTo>
                    <a:lnTo>
                      <a:pt x="1212" y="1257"/>
                    </a:lnTo>
                    <a:close/>
                    <a:moveTo>
                      <a:pt x="1210" y="1509"/>
                    </a:moveTo>
                    <a:lnTo>
                      <a:pt x="1212" y="1509"/>
                    </a:lnTo>
                    <a:lnTo>
                      <a:pt x="1210" y="1509"/>
                    </a:lnTo>
                    <a:close/>
                    <a:moveTo>
                      <a:pt x="1219" y="1568"/>
                    </a:moveTo>
                    <a:lnTo>
                      <a:pt x="1220" y="1568"/>
                    </a:lnTo>
                    <a:lnTo>
                      <a:pt x="1219" y="1568"/>
                    </a:lnTo>
                    <a:close/>
                    <a:moveTo>
                      <a:pt x="1186" y="1383"/>
                    </a:moveTo>
                    <a:lnTo>
                      <a:pt x="1188" y="1383"/>
                    </a:lnTo>
                    <a:lnTo>
                      <a:pt x="1186" y="1383"/>
                    </a:lnTo>
                    <a:close/>
                    <a:moveTo>
                      <a:pt x="1183" y="1420"/>
                    </a:moveTo>
                    <a:lnTo>
                      <a:pt x="1185" y="1420"/>
                    </a:lnTo>
                    <a:lnTo>
                      <a:pt x="1183" y="1420"/>
                    </a:lnTo>
                    <a:close/>
                    <a:moveTo>
                      <a:pt x="1200" y="1145"/>
                    </a:moveTo>
                    <a:lnTo>
                      <a:pt x="1200" y="1146"/>
                    </a:lnTo>
                    <a:lnTo>
                      <a:pt x="1200" y="1145"/>
                    </a:lnTo>
                    <a:close/>
                    <a:moveTo>
                      <a:pt x="1205" y="1505"/>
                    </a:moveTo>
                    <a:lnTo>
                      <a:pt x="1205" y="1507"/>
                    </a:lnTo>
                    <a:lnTo>
                      <a:pt x="1205" y="1505"/>
                    </a:lnTo>
                    <a:close/>
                    <a:moveTo>
                      <a:pt x="1232" y="1575"/>
                    </a:moveTo>
                    <a:lnTo>
                      <a:pt x="1234" y="1575"/>
                    </a:lnTo>
                    <a:lnTo>
                      <a:pt x="1232" y="1575"/>
                    </a:lnTo>
                    <a:close/>
                    <a:moveTo>
                      <a:pt x="1234" y="1453"/>
                    </a:moveTo>
                    <a:lnTo>
                      <a:pt x="1234" y="1454"/>
                    </a:lnTo>
                    <a:lnTo>
                      <a:pt x="1234" y="1453"/>
                    </a:lnTo>
                    <a:close/>
                    <a:moveTo>
                      <a:pt x="1242" y="1497"/>
                    </a:moveTo>
                    <a:lnTo>
                      <a:pt x="1244" y="1497"/>
                    </a:lnTo>
                    <a:lnTo>
                      <a:pt x="1244" y="1498"/>
                    </a:lnTo>
                    <a:lnTo>
                      <a:pt x="1242" y="1498"/>
                    </a:lnTo>
                    <a:lnTo>
                      <a:pt x="1242" y="1497"/>
                    </a:lnTo>
                    <a:close/>
                    <a:moveTo>
                      <a:pt x="1219" y="1505"/>
                    </a:moveTo>
                    <a:lnTo>
                      <a:pt x="1220" y="1505"/>
                    </a:lnTo>
                    <a:lnTo>
                      <a:pt x="1219" y="1505"/>
                    </a:lnTo>
                    <a:close/>
                    <a:moveTo>
                      <a:pt x="1191" y="1117"/>
                    </a:moveTo>
                    <a:lnTo>
                      <a:pt x="1191" y="1119"/>
                    </a:lnTo>
                    <a:lnTo>
                      <a:pt x="1191" y="1117"/>
                    </a:lnTo>
                    <a:close/>
                    <a:moveTo>
                      <a:pt x="1166" y="1361"/>
                    </a:moveTo>
                    <a:lnTo>
                      <a:pt x="1166" y="1362"/>
                    </a:lnTo>
                    <a:lnTo>
                      <a:pt x="1166" y="1361"/>
                    </a:lnTo>
                    <a:close/>
                    <a:moveTo>
                      <a:pt x="1147" y="1286"/>
                    </a:moveTo>
                    <a:lnTo>
                      <a:pt x="1149" y="1286"/>
                    </a:lnTo>
                    <a:lnTo>
                      <a:pt x="1147" y="1286"/>
                    </a:lnTo>
                    <a:close/>
                  </a:path>
                </a:pathLst>
              </a:custGeom>
              <a:solidFill>
                <a:schemeClr val="accent1"/>
              </a:solidFill>
              <a:ln w="635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9" name="Freeform 22">
                <a:extLst>
                  <a:ext uri="{FF2B5EF4-FFF2-40B4-BE49-F238E27FC236}">
                    <a16:creationId xmlns:a16="http://schemas.microsoft.com/office/drawing/2014/main" id="{ABB17541-DEE1-3AAC-CA02-947BFF781BB9}"/>
                  </a:ext>
                </a:extLst>
              </p:cNvPr>
              <p:cNvSpPr>
                <a:spLocks noEditPoints="1"/>
              </p:cNvSpPr>
              <p:nvPr/>
            </p:nvSpPr>
            <p:spPr bwMode="auto">
              <a:xfrm>
                <a:off x="5567851" y="2812604"/>
                <a:ext cx="147740" cy="176230"/>
              </a:xfrm>
              <a:custGeom>
                <a:avLst/>
                <a:gdLst>
                  <a:gd name="T0" fmla="*/ 304 w 503"/>
                  <a:gd name="T1" fmla="*/ 93 h 600"/>
                  <a:gd name="T2" fmla="*/ 290 w 503"/>
                  <a:gd name="T3" fmla="*/ 132 h 600"/>
                  <a:gd name="T4" fmla="*/ 301 w 503"/>
                  <a:gd name="T5" fmla="*/ 146 h 600"/>
                  <a:gd name="T6" fmla="*/ 312 w 503"/>
                  <a:gd name="T7" fmla="*/ 187 h 600"/>
                  <a:gd name="T8" fmla="*/ 326 w 503"/>
                  <a:gd name="T9" fmla="*/ 217 h 600"/>
                  <a:gd name="T10" fmla="*/ 365 w 503"/>
                  <a:gd name="T11" fmla="*/ 219 h 600"/>
                  <a:gd name="T12" fmla="*/ 420 w 503"/>
                  <a:gd name="T13" fmla="*/ 251 h 600"/>
                  <a:gd name="T14" fmla="*/ 464 w 503"/>
                  <a:gd name="T15" fmla="*/ 246 h 600"/>
                  <a:gd name="T16" fmla="*/ 476 w 503"/>
                  <a:gd name="T17" fmla="*/ 267 h 600"/>
                  <a:gd name="T18" fmla="*/ 469 w 503"/>
                  <a:gd name="T19" fmla="*/ 301 h 600"/>
                  <a:gd name="T20" fmla="*/ 482 w 503"/>
                  <a:gd name="T21" fmla="*/ 335 h 600"/>
                  <a:gd name="T22" fmla="*/ 482 w 503"/>
                  <a:gd name="T23" fmla="*/ 369 h 600"/>
                  <a:gd name="T24" fmla="*/ 499 w 503"/>
                  <a:gd name="T25" fmla="*/ 401 h 600"/>
                  <a:gd name="T26" fmla="*/ 493 w 503"/>
                  <a:gd name="T27" fmla="*/ 398 h 600"/>
                  <a:gd name="T28" fmla="*/ 469 w 503"/>
                  <a:gd name="T29" fmla="*/ 393 h 600"/>
                  <a:gd name="T30" fmla="*/ 457 w 503"/>
                  <a:gd name="T31" fmla="*/ 398 h 600"/>
                  <a:gd name="T32" fmla="*/ 401 w 503"/>
                  <a:gd name="T33" fmla="*/ 415 h 600"/>
                  <a:gd name="T34" fmla="*/ 426 w 503"/>
                  <a:gd name="T35" fmla="*/ 435 h 600"/>
                  <a:gd name="T36" fmla="*/ 397 w 503"/>
                  <a:gd name="T37" fmla="*/ 437 h 600"/>
                  <a:gd name="T38" fmla="*/ 411 w 503"/>
                  <a:gd name="T39" fmla="*/ 478 h 600"/>
                  <a:gd name="T40" fmla="*/ 411 w 503"/>
                  <a:gd name="T41" fmla="*/ 529 h 600"/>
                  <a:gd name="T42" fmla="*/ 375 w 503"/>
                  <a:gd name="T43" fmla="*/ 587 h 600"/>
                  <a:gd name="T44" fmla="*/ 386 w 503"/>
                  <a:gd name="T45" fmla="*/ 542 h 600"/>
                  <a:gd name="T46" fmla="*/ 358 w 503"/>
                  <a:gd name="T47" fmla="*/ 534 h 600"/>
                  <a:gd name="T48" fmla="*/ 336 w 503"/>
                  <a:gd name="T49" fmla="*/ 530 h 600"/>
                  <a:gd name="T50" fmla="*/ 309 w 503"/>
                  <a:gd name="T51" fmla="*/ 537 h 600"/>
                  <a:gd name="T52" fmla="*/ 292 w 503"/>
                  <a:gd name="T53" fmla="*/ 520 h 600"/>
                  <a:gd name="T54" fmla="*/ 275 w 503"/>
                  <a:gd name="T55" fmla="*/ 502 h 600"/>
                  <a:gd name="T56" fmla="*/ 253 w 503"/>
                  <a:gd name="T57" fmla="*/ 488 h 600"/>
                  <a:gd name="T58" fmla="*/ 238 w 503"/>
                  <a:gd name="T59" fmla="*/ 469 h 600"/>
                  <a:gd name="T60" fmla="*/ 207 w 503"/>
                  <a:gd name="T61" fmla="*/ 457 h 600"/>
                  <a:gd name="T62" fmla="*/ 175 w 503"/>
                  <a:gd name="T63" fmla="*/ 449 h 600"/>
                  <a:gd name="T64" fmla="*/ 144 w 503"/>
                  <a:gd name="T65" fmla="*/ 442 h 600"/>
                  <a:gd name="T66" fmla="*/ 120 w 503"/>
                  <a:gd name="T67" fmla="*/ 425 h 600"/>
                  <a:gd name="T68" fmla="*/ 91 w 503"/>
                  <a:gd name="T69" fmla="*/ 401 h 600"/>
                  <a:gd name="T70" fmla="*/ 107 w 503"/>
                  <a:gd name="T71" fmla="*/ 391 h 600"/>
                  <a:gd name="T72" fmla="*/ 110 w 503"/>
                  <a:gd name="T73" fmla="*/ 369 h 600"/>
                  <a:gd name="T74" fmla="*/ 120 w 503"/>
                  <a:gd name="T75" fmla="*/ 367 h 600"/>
                  <a:gd name="T76" fmla="*/ 136 w 503"/>
                  <a:gd name="T77" fmla="*/ 364 h 600"/>
                  <a:gd name="T78" fmla="*/ 141 w 503"/>
                  <a:gd name="T79" fmla="*/ 347 h 600"/>
                  <a:gd name="T80" fmla="*/ 154 w 503"/>
                  <a:gd name="T81" fmla="*/ 328 h 600"/>
                  <a:gd name="T82" fmla="*/ 149 w 503"/>
                  <a:gd name="T83" fmla="*/ 323 h 600"/>
                  <a:gd name="T84" fmla="*/ 149 w 503"/>
                  <a:gd name="T85" fmla="*/ 303 h 600"/>
                  <a:gd name="T86" fmla="*/ 142 w 503"/>
                  <a:gd name="T87" fmla="*/ 270 h 600"/>
                  <a:gd name="T88" fmla="*/ 146 w 503"/>
                  <a:gd name="T89" fmla="*/ 245 h 600"/>
                  <a:gd name="T90" fmla="*/ 136 w 503"/>
                  <a:gd name="T91" fmla="*/ 223 h 600"/>
                  <a:gd name="T92" fmla="*/ 141 w 503"/>
                  <a:gd name="T93" fmla="*/ 202 h 600"/>
                  <a:gd name="T94" fmla="*/ 148 w 503"/>
                  <a:gd name="T95" fmla="*/ 173 h 600"/>
                  <a:gd name="T96" fmla="*/ 161 w 503"/>
                  <a:gd name="T97" fmla="*/ 178 h 600"/>
                  <a:gd name="T98" fmla="*/ 168 w 503"/>
                  <a:gd name="T99" fmla="*/ 187 h 600"/>
                  <a:gd name="T100" fmla="*/ 180 w 503"/>
                  <a:gd name="T101" fmla="*/ 156 h 600"/>
                  <a:gd name="T102" fmla="*/ 207 w 503"/>
                  <a:gd name="T103" fmla="*/ 136 h 600"/>
                  <a:gd name="T104" fmla="*/ 209 w 503"/>
                  <a:gd name="T105" fmla="*/ 110 h 600"/>
                  <a:gd name="T106" fmla="*/ 212 w 503"/>
                  <a:gd name="T107" fmla="*/ 97 h 600"/>
                  <a:gd name="T108" fmla="*/ 243 w 503"/>
                  <a:gd name="T109" fmla="*/ 83 h 600"/>
                  <a:gd name="T110" fmla="*/ 267 w 503"/>
                  <a:gd name="T111" fmla="*/ 73 h 600"/>
                  <a:gd name="T112" fmla="*/ 304 w 503"/>
                  <a:gd name="T113" fmla="*/ 59 h 600"/>
                  <a:gd name="T114" fmla="*/ 333 w 503"/>
                  <a:gd name="T115" fmla="*/ 41 h 600"/>
                  <a:gd name="T116" fmla="*/ 340 w 503"/>
                  <a:gd name="T117" fmla="*/ 34 h 600"/>
                  <a:gd name="T118" fmla="*/ 350 w 503"/>
                  <a:gd name="T119" fmla="*/ 54 h 600"/>
                  <a:gd name="T120" fmla="*/ 158 w 503"/>
                  <a:gd name="T121" fmla="*/ 325 h 600"/>
                  <a:gd name="T122" fmla="*/ 100 w 503"/>
                  <a:gd name="T123" fmla="*/ 396 h 600"/>
                  <a:gd name="T124" fmla="*/ 142 w 503"/>
                  <a:gd name="T125" fmla="*/ 318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3" h="600">
                    <a:moveTo>
                      <a:pt x="350" y="54"/>
                    </a:moveTo>
                    <a:lnTo>
                      <a:pt x="346" y="56"/>
                    </a:lnTo>
                    <a:lnTo>
                      <a:pt x="341" y="58"/>
                    </a:lnTo>
                    <a:lnTo>
                      <a:pt x="336" y="59"/>
                    </a:lnTo>
                    <a:lnTo>
                      <a:pt x="329" y="61"/>
                    </a:lnTo>
                    <a:lnTo>
                      <a:pt x="329" y="63"/>
                    </a:lnTo>
                    <a:lnTo>
                      <a:pt x="328" y="64"/>
                    </a:lnTo>
                    <a:lnTo>
                      <a:pt x="328" y="66"/>
                    </a:lnTo>
                    <a:lnTo>
                      <a:pt x="326" y="68"/>
                    </a:lnTo>
                    <a:lnTo>
                      <a:pt x="326" y="69"/>
                    </a:lnTo>
                    <a:lnTo>
                      <a:pt x="324" y="69"/>
                    </a:lnTo>
                    <a:lnTo>
                      <a:pt x="324" y="71"/>
                    </a:lnTo>
                    <a:lnTo>
                      <a:pt x="323" y="75"/>
                    </a:lnTo>
                    <a:lnTo>
                      <a:pt x="321" y="78"/>
                    </a:lnTo>
                    <a:lnTo>
                      <a:pt x="319" y="78"/>
                    </a:lnTo>
                    <a:lnTo>
                      <a:pt x="318" y="78"/>
                    </a:lnTo>
                    <a:lnTo>
                      <a:pt x="316" y="78"/>
                    </a:lnTo>
                    <a:lnTo>
                      <a:pt x="314" y="78"/>
                    </a:lnTo>
                    <a:lnTo>
                      <a:pt x="314" y="80"/>
                    </a:lnTo>
                    <a:lnTo>
                      <a:pt x="314" y="78"/>
                    </a:lnTo>
                    <a:lnTo>
                      <a:pt x="312" y="80"/>
                    </a:lnTo>
                    <a:lnTo>
                      <a:pt x="312" y="81"/>
                    </a:lnTo>
                    <a:lnTo>
                      <a:pt x="311" y="83"/>
                    </a:lnTo>
                    <a:lnTo>
                      <a:pt x="311" y="85"/>
                    </a:lnTo>
                    <a:lnTo>
                      <a:pt x="309" y="86"/>
                    </a:lnTo>
                    <a:lnTo>
                      <a:pt x="307" y="86"/>
                    </a:lnTo>
                    <a:lnTo>
                      <a:pt x="306" y="88"/>
                    </a:lnTo>
                    <a:lnTo>
                      <a:pt x="306" y="90"/>
                    </a:lnTo>
                    <a:lnTo>
                      <a:pt x="306" y="92"/>
                    </a:lnTo>
                    <a:lnTo>
                      <a:pt x="304" y="92"/>
                    </a:lnTo>
                    <a:lnTo>
                      <a:pt x="304" y="93"/>
                    </a:lnTo>
                    <a:lnTo>
                      <a:pt x="304" y="95"/>
                    </a:lnTo>
                    <a:lnTo>
                      <a:pt x="304" y="97"/>
                    </a:lnTo>
                    <a:lnTo>
                      <a:pt x="302" y="97"/>
                    </a:lnTo>
                    <a:lnTo>
                      <a:pt x="301" y="98"/>
                    </a:lnTo>
                    <a:lnTo>
                      <a:pt x="301" y="100"/>
                    </a:lnTo>
                    <a:lnTo>
                      <a:pt x="301" y="102"/>
                    </a:lnTo>
                    <a:lnTo>
                      <a:pt x="299" y="102"/>
                    </a:lnTo>
                    <a:lnTo>
                      <a:pt x="299" y="103"/>
                    </a:lnTo>
                    <a:lnTo>
                      <a:pt x="299" y="105"/>
                    </a:lnTo>
                    <a:lnTo>
                      <a:pt x="299" y="107"/>
                    </a:lnTo>
                    <a:lnTo>
                      <a:pt x="299" y="109"/>
                    </a:lnTo>
                    <a:lnTo>
                      <a:pt x="299" y="110"/>
                    </a:lnTo>
                    <a:lnTo>
                      <a:pt x="299" y="112"/>
                    </a:lnTo>
                    <a:lnTo>
                      <a:pt x="297" y="112"/>
                    </a:lnTo>
                    <a:lnTo>
                      <a:pt x="299" y="114"/>
                    </a:lnTo>
                    <a:lnTo>
                      <a:pt x="297" y="114"/>
                    </a:lnTo>
                    <a:lnTo>
                      <a:pt x="297" y="115"/>
                    </a:lnTo>
                    <a:lnTo>
                      <a:pt x="297" y="117"/>
                    </a:lnTo>
                    <a:lnTo>
                      <a:pt x="295" y="117"/>
                    </a:lnTo>
                    <a:lnTo>
                      <a:pt x="295" y="119"/>
                    </a:lnTo>
                    <a:lnTo>
                      <a:pt x="295" y="120"/>
                    </a:lnTo>
                    <a:lnTo>
                      <a:pt x="295" y="122"/>
                    </a:lnTo>
                    <a:lnTo>
                      <a:pt x="297" y="122"/>
                    </a:lnTo>
                    <a:lnTo>
                      <a:pt x="297" y="124"/>
                    </a:lnTo>
                    <a:lnTo>
                      <a:pt x="295" y="124"/>
                    </a:lnTo>
                    <a:lnTo>
                      <a:pt x="295" y="126"/>
                    </a:lnTo>
                    <a:lnTo>
                      <a:pt x="294" y="127"/>
                    </a:lnTo>
                    <a:lnTo>
                      <a:pt x="294" y="129"/>
                    </a:lnTo>
                    <a:lnTo>
                      <a:pt x="292" y="129"/>
                    </a:lnTo>
                    <a:lnTo>
                      <a:pt x="292" y="131"/>
                    </a:lnTo>
                    <a:lnTo>
                      <a:pt x="290" y="132"/>
                    </a:lnTo>
                    <a:lnTo>
                      <a:pt x="290" y="134"/>
                    </a:lnTo>
                    <a:lnTo>
                      <a:pt x="289" y="134"/>
                    </a:lnTo>
                    <a:lnTo>
                      <a:pt x="289" y="136"/>
                    </a:lnTo>
                    <a:lnTo>
                      <a:pt x="289" y="138"/>
                    </a:lnTo>
                    <a:lnTo>
                      <a:pt x="287" y="138"/>
                    </a:lnTo>
                    <a:lnTo>
                      <a:pt x="287" y="139"/>
                    </a:lnTo>
                    <a:lnTo>
                      <a:pt x="285" y="141"/>
                    </a:lnTo>
                    <a:lnTo>
                      <a:pt x="285" y="143"/>
                    </a:lnTo>
                    <a:lnTo>
                      <a:pt x="284" y="143"/>
                    </a:lnTo>
                    <a:lnTo>
                      <a:pt x="284" y="144"/>
                    </a:lnTo>
                    <a:lnTo>
                      <a:pt x="284" y="146"/>
                    </a:lnTo>
                    <a:lnTo>
                      <a:pt x="285" y="146"/>
                    </a:lnTo>
                    <a:lnTo>
                      <a:pt x="287" y="146"/>
                    </a:lnTo>
                    <a:lnTo>
                      <a:pt x="289" y="146"/>
                    </a:lnTo>
                    <a:lnTo>
                      <a:pt x="290" y="144"/>
                    </a:lnTo>
                    <a:lnTo>
                      <a:pt x="292" y="144"/>
                    </a:lnTo>
                    <a:lnTo>
                      <a:pt x="292" y="143"/>
                    </a:lnTo>
                    <a:lnTo>
                      <a:pt x="294" y="143"/>
                    </a:lnTo>
                    <a:lnTo>
                      <a:pt x="295" y="141"/>
                    </a:lnTo>
                    <a:lnTo>
                      <a:pt x="295" y="143"/>
                    </a:lnTo>
                    <a:lnTo>
                      <a:pt x="295" y="144"/>
                    </a:lnTo>
                    <a:lnTo>
                      <a:pt x="295" y="146"/>
                    </a:lnTo>
                    <a:lnTo>
                      <a:pt x="297" y="146"/>
                    </a:lnTo>
                    <a:lnTo>
                      <a:pt x="295" y="146"/>
                    </a:lnTo>
                    <a:lnTo>
                      <a:pt x="295" y="148"/>
                    </a:lnTo>
                    <a:lnTo>
                      <a:pt x="297" y="148"/>
                    </a:lnTo>
                    <a:lnTo>
                      <a:pt x="297" y="149"/>
                    </a:lnTo>
                    <a:lnTo>
                      <a:pt x="297" y="148"/>
                    </a:lnTo>
                    <a:lnTo>
                      <a:pt x="299" y="148"/>
                    </a:lnTo>
                    <a:lnTo>
                      <a:pt x="301" y="148"/>
                    </a:lnTo>
                    <a:lnTo>
                      <a:pt x="301" y="146"/>
                    </a:lnTo>
                    <a:lnTo>
                      <a:pt x="301" y="148"/>
                    </a:lnTo>
                    <a:lnTo>
                      <a:pt x="302" y="148"/>
                    </a:lnTo>
                    <a:lnTo>
                      <a:pt x="302" y="149"/>
                    </a:lnTo>
                    <a:lnTo>
                      <a:pt x="304" y="151"/>
                    </a:lnTo>
                    <a:lnTo>
                      <a:pt x="304" y="153"/>
                    </a:lnTo>
                    <a:lnTo>
                      <a:pt x="304" y="155"/>
                    </a:lnTo>
                    <a:lnTo>
                      <a:pt x="306" y="160"/>
                    </a:lnTo>
                    <a:lnTo>
                      <a:pt x="306" y="163"/>
                    </a:lnTo>
                    <a:lnTo>
                      <a:pt x="307" y="165"/>
                    </a:lnTo>
                    <a:lnTo>
                      <a:pt x="307" y="166"/>
                    </a:lnTo>
                    <a:lnTo>
                      <a:pt x="309" y="166"/>
                    </a:lnTo>
                    <a:lnTo>
                      <a:pt x="309" y="168"/>
                    </a:lnTo>
                    <a:lnTo>
                      <a:pt x="311" y="168"/>
                    </a:lnTo>
                    <a:lnTo>
                      <a:pt x="312" y="170"/>
                    </a:lnTo>
                    <a:lnTo>
                      <a:pt x="312" y="172"/>
                    </a:lnTo>
                    <a:lnTo>
                      <a:pt x="314" y="173"/>
                    </a:lnTo>
                    <a:lnTo>
                      <a:pt x="316" y="173"/>
                    </a:lnTo>
                    <a:lnTo>
                      <a:pt x="316" y="175"/>
                    </a:lnTo>
                    <a:lnTo>
                      <a:pt x="316" y="177"/>
                    </a:lnTo>
                    <a:lnTo>
                      <a:pt x="316" y="178"/>
                    </a:lnTo>
                    <a:lnTo>
                      <a:pt x="316" y="180"/>
                    </a:lnTo>
                    <a:lnTo>
                      <a:pt x="318" y="180"/>
                    </a:lnTo>
                    <a:lnTo>
                      <a:pt x="316" y="180"/>
                    </a:lnTo>
                    <a:lnTo>
                      <a:pt x="316" y="182"/>
                    </a:lnTo>
                    <a:lnTo>
                      <a:pt x="316" y="183"/>
                    </a:lnTo>
                    <a:lnTo>
                      <a:pt x="318" y="183"/>
                    </a:lnTo>
                    <a:lnTo>
                      <a:pt x="318" y="185"/>
                    </a:lnTo>
                    <a:lnTo>
                      <a:pt x="316" y="185"/>
                    </a:lnTo>
                    <a:lnTo>
                      <a:pt x="314" y="185"/>
                    </a:lnTo>
                    <a:lnTo>
                      <a:pt x="314" y="187"/>
                    </a:lnTo>
                    <a:lnTo>
                      <a:pt x="312" y="187"/>
                    </a:lnTo>
                    <a:lnTo>
                      <a:pt x="312" y="189"/>
                    </a:lnTo>
                    <a:lnTo>
                      <a:pt x="312" y="190"/>
                    </a:lnTo>
                    <a:lnTo>
                      <a:pt x="314" y="190"/>
                    </a:lnTo>
                    <a:lnTo>
                      <a:pt x="314" y="192"/>
                    </a:lnTo>
                    <a:lnTo>
                      <a:pt x="312" y="194"/>
                    </a:lnTo>
                    <a:lnTo>
                      <a:pt x="312" y="195"/>
                    </a:lnTo>
                    <a:lnTo>
                      <a:pt x="312" y="197"/>
                    </a:lnTo>
                    <a:lnTo>
                      <a:pt x="312" y="199"/>
                    </a:lnTo>
                    <a:lnTo>
                      <a:pt x="312" y="200"/>
                    </a:lnTo>
                    <a:lnTo>
                      <a:pt x="314" y="200"/>
                    </a:lnTo>
                    <a:lnTo>
                      <a:pt x="314" y="202"/>
                    </a:lnTo>
                    <a:lnTo>
                      <a:pt x="312" y="202"/>
                    </a:lnTo>
                    <a:lnTo>
                      <a:pt x="312" y="204"/>
                    </a:lnTo>
                    <a:lnTo>
                      <a:pt x="314" y="204"/>
                    </a:lnTo>
                    <a:lnTo>
                      <a:pt x="314" y="206"/>
                    </a:lnTo>
                    <a:lnTo>
                      <a:pt x="316" y="206"/>
                    </a:lnTo>
                    <a:lnTo>
                      <a:pt x="316" y="207"/>
                    </a:lnTo>
                    <a:lnTo>
                      <a:pt x="318" y="206"/>
                    </a:lnTo>
                    <a:lnTo>
                      <a:pt x="318" y="207"/>
                    </a:lnTo>
                    <a:lnTo>
                      <a:pt x="319" y="207"/>
                    </a:lnTo>
                    <a:lnTo>
                      <a:pt x="321" y="207"/>
                    </a:lnTo>
                    <a:lnTo>
                      <a:pt x="321" y="206"/>
                    </a:lnTo>
                    <a:lnTo>
                      <a:pt x="323" y="207"/>
                    </a:lnTo>
                    <a:lnTo>
                      <a:pt x="323" y="209"/>
                    </a:lnTo>
                    <a:lnTo>
                      <a:pt x="324" y="209"/>
                    </a:lnTo>
                    <a:lnTo>
                      <a:pt x="323" y="209"/>
                    </a:lnTo>
                    <a:lnTo>
                      <a:pt x="323" y="211"/>
                    </a:lnTo>
                    <a:lnTo>
                      <a:pt x="323" y="212"/>
                    </a:lnTo>
                    <a:lnTo>
                      <a:pt x="324" y="212"/>
                    </a:lnTo>
                    <a:lnTo>
                      <a:pt x="324" y="214"/>
                    </a:lnTo>
                    <a:lnTo>
                      <a:pt x="326" y="217"/>
                    </a:lnTo>
                    <a:lnTo>
                      <a:pt x="328" y="219"/>
                    </a:lnTo>
                    <a:lnTo>
                      <a:pt x="329" y="219"/>
                    </a:lnTo>
                    <a:lnTo>
                      <a:pt x="331" y="219"/>
                    </a:lnTo>
                    <a:lnTo>
                      <a:pt x="333" y="219"/>
                    </a:lnTo>
                    <a:lnTo>
                      <a:pt x="335" y="219"/>
                    </a:lnTo>
                    <a:lnTo>
                      <a:pt x="335" y="217"/>
                    </a:lnTo>
                    <a:lnTo>
                      <a:pt x="336" y="217"/>
                    </a:lnTo>
                    <a:lnTo>
                      <a:pt x="338" y="217"/>
                    </a:lnTo>
                    <a:lnTo>
                      <a:pt x="338" y="219"/>
                    </a:lnTo>
                    <a:lnTo>
                      <a:pt x="340" y="219"/>
                    </a:lnTo>
                    <a:lnTo>
                      <a:pt x="341" y="217"/>
                    </a:lnTo>
                    <a:lnTo>
                      <a:pt x="341" y="219"/>
                    </a:lnTo>
                    <a:lnTo>
                      <a:pt x="343" y="217"/>
                    </a:lnTo>
                    <a:lnTo>
                      <a:pt x="343" y="219"/>
                    </a:lnTo>
                    <a:lnTo>
                      <a:pt x="345" y="219"/>
                    </a:lnTo>
                    <a:lnTo>
                      <a:pt x="346" y="219"/>
                    </a:lnTo>
                    <a:lnTo>
                      <a:pt x="348" y="219"/>
                    </a:lnTo>
                    <a:lnTo>
                      <a:pt x="350" y="219"/>
                    </a:lnTo>
                    <a:lnTo>
                      <a:pt x="352" y="219"/>
                    </a:lnTo>
                    <a:lnTo>
                      <a:pt x="353" y="219"/>
                    </a:lnTo>
                    <a:lnTo>
                      <a:pt x="355" y="219"/>
                    </a:lnTo>
                    <a:lnTo>
                      <a:pt x="357" y="219"/>
                    </a:lnTo>
                    <a:lnTo>
                      <a:pt x="358" y="219"/>
                    </a:lnTo>
                    <a:lnTo>
                      <a:pt x="358" y="221"/>
                    </a:lnTo>
                    <a:lnTo>
                      <a:pt x="360" y="221"/>
                    </a:lnTo>
                    <a:lnTo>
                      <a:pt x="362" y="221"/>
                    </a:lnTo>
                    <a:lnTo>
                      <a:pt x="363" y="221"/>
                    </a:lnTo>
                    <a:lnTo>
                      <a:pt x="363" y="219"/>
                    </a:lnTo>
                    <a:lnTo>
                      <a:pt x="365" y="219"/>
                    </a:lnTo>
                    <a:lnTo>
                      <a:pt x="365" y="217"/>
                    </a:lnTo>
                    <a:lnTo>
                      <a:pt x="365" y="219"/>
                    </a:lnTo>
                    <a:lnTo>
                      <a:pt x="367" y="217"/>
                    </a:lnTo>
                    <a:lnTo>
                      <a:pt x="369" y="217"/>
                    </a:lnTo>
                    <a:lnTo>
                      <a:pt x="370" y="217"/>
                    </a:lnTo>
                    <a:lnTo>
                      <a:pt x="370" y="216"/>
                    </a:lnTo>
                    <a:lnTo>
                      <a:pt x="372" y="217"/>
                    </a:lnTo>
                    <a:lnTo>
                      <a:pt x="374" y="216"/>
                    </a:lnTo>
                    <a:lnTo>
                      <a:pt x="374" y="217"/>
                    </a:lnTo>
                    <a:lnTo>
                      <a:pt x="375" y="217"/>
                    </a:lnTo>
                    <a:lnTo>
                      <a:pt x="377" y="217"/>
                    </a:lnTo>
                    <a:lnTo>
                      <a:pt x="379" y="217"/>
                    </a:lnTo>
                    <a:lnTo>
                      <a:pt x="379" y="219"/>
                    </a:lnTo>
                    <a:lnTo>
                      <a:pt x="380" y="219"/>
                    </a:lnTo>
                    <a:lnTo>
                      <a:pt x="382" y="219"/>
                    </a:lnTo>
                    <a:lnTo>
                      <a:pt x="382" y="221"/>
                    </a:lnTo>
                    <a:lnTo>
                      <a:pt x="384" y="221"/>
                    </a:lnTo>
                    <a:lnTo>
                      <a:pt x="384" y="223"/>
                    </a:lnTo>
                    <a:lnTo>
                      <a:pt x="386" y="223"/>
                    </a:lnTo>
                    <a:lnTo>
                      <a:pt x="387" y="223"/>
                    </a:lnTo>
                    <a:lnTo>
                      <a:pt x="387" y="221"/>
                    </a:lnTo>
                    <a:lnTo>
                      <a:pt x="389" y="221"/>
                    </a:lnTo>
                    <a:lnTo>
                      <a:pt x="391" y="221"/>
                    </a:lnTo>
                    <a:lnTo>
                      <a:pt x="392" y="221"/>
                    </a:lnTo>
                    <a:lnTo>
                      <a:pt x="394" y="223"/>
                    </a:lnTo>
                    <a:lnTo>
                      <a:pt x="397" y="228"/>
                    </a:lnTo>
                    <a:lnTo>
                      <a:pt x="404" y="236"/>
                    </a:lnTo>
                    <a:lnTo>
                      <a:pt x="411" y="243"/>
                    </a:lnTo>
                    <a:lnTo>
                      <a:pt x="411" y="245"/>
                    </a:lnTo>
                    <a:lnTo>
                      <a:pt x="416" y="250"/>
                    </a:lnTo>
                    <a:lnTo>
                      <a:pt x="418" y="250"/>
                    </a:lnTo>
                    <a:lnTo>
                      <a:pt x="420" y="250"/>
                    </a:lnTo>
                    <a:lnTo>
                      <a:pt x="420" y="251"/>
                    </a:lnTo>
                    <a:lnTo>
                      <a:pt x="421" y="251"/>
                    </a:lnTo>
                    <a:lnTo>
                      <a:pt x="423" y="250"/>
                    </a:lnTo>
                    <a:lnTo>
                      <a:pt x="425" y="248"/>
                    </a:lnTo>
                    <a:lnTo>
                      <a:pt x="426" y="248"/>
                    </a:lnTo>
                    <a:lnTo>
                      <a:pt x="426" y="246"/>
                    </a:lnTo>
                    <a:lnTo>
                      <a:pt x="428" y="246"/>
                    </a:lnTo>
                    <a:lnTo>
                      <a:pt x="430" y="246"/>
                    </a:lnTo>
                    <a:lnTo>
                      <a:pt x="430" y="248"/>
                    </a:lnTo>
                    <a:lnTo>
                      <a:pt x="431" y="246"/>
                    </a:lnTo>
                    <a:lnTo>
                      <a:pt x="431" y="248"/>
                    </a:lnTo>
                    <a:lnTo>
                      <a:pt x="433" y="248"/>
                    </a:lnTo>
                    <a:lnTo>
                      <a:pt x="435" y="248"/>
                    </a:lnTo>
                    <a:lnTo>
                      <a:pt x="437" y="248"/>
                    </a:lnTo>
                    <a:lnTo>
                      <a:pt x="438" y="248"/>
                    </a:lnTo>
                    <a:lnTo>
                      <a:pt x="440" y="248"/>
                    </a:lnTo>
                    <a:lnTo>
                      <a:pt x="440" y="250"/>
                    </a:lnTo>
                    <a:lnTo>
                      <a:pt x="442" y="250"/>
                    </a:lnTo>
                    <a:lnTo>
                      <a:pt x="443" y="248"/>
                    </a:lnTo>
                    <a:lnTo>
                      <a:pt x="445" y="248"/>
                    </a:lnTo>
                    <a:lnTo>
                      <a:pt x="447" y="248"/>
                    </a:lnTo>
                    <a:lnTo>
                      <a:pt x="448" y="248"/>
                    </a:lnTo>
                    <a:lnTo>
                      <a:pt x="450" y="248"/>
                    </a:lnTo>
                    <a:lnTo>
                      <a:pt x="452" y="248"/>
                    </a:lnTo>
                    <a:lnTo>
                      <a:pt x="454" y="248"/>
                    </a:lnTo>
                    <a:lnTo>
                      <a:pt x="455" y="248"/>
                    </a:lnTo>
                    <a:lnTo>
                      <a:pt x="455" y="246"/>
                    </a:lnTo>
                    <a:lnTo>
                      <a:pt x="457" y="246"/>
                    </a:lnTo>
                    <a:lnTo>
                      <a:pt x="459" y="246"/>
                    </a:lnTo>
                    <a:lnTo>
                      <a:pt x="460" y="246"/>
                    </a:lnTo>
                    <a:lnTo>
                      <a:pt x="462" y="246"/>
                    </a:lnTo>
                    <a:lnTo>
                      <a:pt x="464" y="246"/>
                    </a:lnTo>
                    <a:lnTo>
                      <a:pt x="465" y="246"/>
                    </a:lnTo>
                    <a:lnTo>
                      <a:pt x="467" y="245"/>
                    </a:lnTo>
                    <a:lnTo>
                      <a:pt x="469" y="243"/>
                    </a:lnTo>
                    <a:lnTo>
                      <a:pt x="471" y="243"/>
                    </a:lnTo>
                    <a:lnTo>
                      <a:pt x="472" y="243"/>
                    </a:lnTo>
                    <a:lnTo>
                      <a:pt x="472" y="245"/>
                    </a:lnTo>
                    <a:lnTo>
                      <a:pt x="472" y="243"/>
                    </a:lnTo>
                    <a:lnTo>
                      <a:pt x="474" y="243"/>
                    </a:lnTo>
                    <a:lnTo>
                      <a:pt x="474" y="245"/>
                    </a:lnTo>
                    <a:lnTo>
                      <a:pt x="476" y="245"/>
                    </a:lnTo>
                    <a:lnTo>
                      <a:pt x="477" y="245"/>
                    </a:lnTo>
                    <a:lnTo>
                      <a:pt x="479" y="245"/>
                    </a:lnTo>
                    <a:lnTo>
                      <a:pt x="481" y="246"/>
                    </a:lnTo>
                    <a:lnTo>
                      <a:pt x="482" y="246"/>
                    </a:lnTo>
                    <a:lnTo>
                      <a:pt x="482" y="248"/>
                    </a:lnTo>
                    <a:lnTo>
                      <a:pt x="481" y="248"/>
                    </a:lnTo>
                    <a:lnTo>
                      <a:pt x="481" y="250"/>
                    </a:lnTo>
                    <a:lnTo>
                      <a:pt x="482" y="251"/>
                    </a:lnTo>
                    <a:lnTo>
                      <a:pt x="482" y="253"/>
                    </a:lnTo>
                    <a:lnTo>
                      <a:pt x="484" y="253"/>
                    </a:lnTo>
                    <a:lnTo>
                      <a:pt x="484" y="255"/>
                    </a:lnTo>
                    <a:lnTo>
                      <a:pt x="482" y="255"/>
                    </a:lnTo>
                    <a:lnTo>
                      <a:pt x="481" y="257"/>
                    </a:lnTo>
                    <a:lnTo>
                      <a:pt x="479" y="257"/>
                    </a:lnTo>
                    <a:lnTo>
                      <a:pt x="479" y="258"/>
                    </a:lnTo>
                    <a:lnTo>
                      <a:pt x="477" y="258"/>
                    </a:lnTo>
                    <a:lnTo>
                      <a:pt x="477" y="260"/>
                    </a:lnTo>
                    <a:lnTo>
                      <a:pt x="477" y="262"/>
                    </a:lnTo>
                    <a:lnTo>
                      <a:pt x="476" y="263"/>
                    </a:lnTo>
                    <a:lnTo>
                      <a:pt x="476" y="265"/>
                    </a:lnTo>
                    <a:lnTo>
                      <a:pt x="476" y="267"/>
                    </a:lnTo>
                    <a:lnTo>
                      <a:pt x="477" y="267"/>
                    </a:lnTo>
                    <a:lnTo>
                      <a:pt x="477" y="268"/>
                    </a:lnTo>
                    <a:lnTo>
                      <a:pt x="477" y="270"/>
                    </a:lnTo>
                    <a:lnTo>
                      <a:pt x="476" y="270"/>
                    </a:lnTo>
                    <a:lnTo>
                      <a:pt x="476" y="272"/>
                    </a:lnTo>
                    <a:lnTo>
                      <a:pt x="474" y="274"/>
                    </a:lnTo>
                    <a:lnTo>
                      <a:pt x="472" y="274"/>
                    </a:lnTo>
                    <a:lnTo>
                      <a:pt x="472" y="275"/>
                    </a:lnTo>
                    <a:lnTo>
                      <a:pt x="471" y="275"/>
                    </a:lnTo>
                    <a:lnTo>
                      <a:pt x="471" y="277"/>
                    </a:lnTo>
                    <a:lnTo>
                      <a:pt x="469" y="277"/>
                    </a:lnTo>
                    <a:lnTo>
                      <a:pt x="469" y="279"/>
                    </a:lnTo>
                    <a:lnTo>
                      <a:pt x="471" y="279"/>
                    </a:lnTo>
                    <a:lnTo>
                      <a:pt x="469" y="280"/>
                    </a:lnTo>
                    <a:lnTo>
                      <a:pt x="469" y="282"/>
                    </a:lnTo>
                    <a:lnTo>
                      <a:pt x="469" y="284"/>
                    </a:lnTo>
                    <a:lnTo>
                      <a:pt x="471" y="285"/>
                    </a:lnTo>
                    <a:lnTo>
                      <a:pt x="469" y="285"/>
                    </a:lnTo>
                    <a:lnTo>
                      <a:pt x="471" y="285"/>
                    </a:lnTo>
                    <a:lnTo>
                      <a:pt x="471" y="287"/>
                    </a:lnTo>
                    <a:lnTo>
                      <a:pt x="471" y="289"/>
                    </a:lnTo>
                    <a:lnTo>
                      <a:pt x="469" y="289"/>
                    </a:lnTo>
                    <a:lnTo>
                      <a:pt x="469" y="291"/>
                    </a:lnTo>
                    <a:lnTo>
                      <a:pt x="469" y="292"/>
                    </a:lnTo>
                    <a:lnTo>
                      <a:pt x="469" y="294"/>
                    </a:lnTo>
                    <a:lnTo>
                      <a:pt x="469" y="296"/>
                    </a:lnTo>
                    <a:lnTo>
                      <a:pt x="471" y="296"/>
                    </a:lnTo>
                    <a:lnTo>
                      <a:pt x="471" y="297"/>
                    </a:lnTo>
                    <a:lnTo>
                      <a:pt x="469" y="297"/>
                    </a:lnTo>
                    <a:lnTo>
                      <a:pt x="469" y="299"/>
                    </a:lnTo>
                    <a:lnTo>
                      <a:pt x="469" y="301"/>
                    </a:lnTo>
                    <a:lnTo>
                      <a:pt x="469" y="303"/>
                    </a:lnTo>
                    <a:lnTo>
                      <a:pt x="469" y="304"/>
                    </a:lnTo>
                    <a:lnTo>
                      <a:pt x="471" y="304"/>
                    </a:lnTo>
                    <a:lnTo>
                      <a:pt x="471" y="306"/>
                    </a:lnTo>
                    <a:lnTo>
                      <a:pt x="471" y="308"/>
                    </a:lnTo>
                    <a:lnTo>
                      <a:pt x="472" y="308"/>
                    </a:lnTo>
                    <a:lnTo>
                      <a:pt x="471" y="308"/>
                    </a:lnTo>
                    <a:lnTo>
                      <a:pt x="471" y="309"/>
                    </a:lnTo>
                    <a:lnTo>
                      <a:pt x="472" y="309"/>
                    </a:lnTo>
                    <a:lnTo>
                      <a:pt x="472" y="311"/>
                    </a:lnTo>
                    <a:lnTo>
                      <a:pt x="471" y="309"/>
                    </a:lnTo>
                    <a:lnTo>
                      <a:pt x="471" y="311"/>
                    </a:lnTo>
                    <a:lnTo>
                      <a:pt x="471" y="313"/>
                    </a:lnTo>
                    <a:lnTo>
                      <a:pt x="471" y="314"/>
                    </a:lnTo>
                    <a:lnTo>
                      <a:pt x="471" y="316"/>
                    </a:lnTo>
                    <a:lnTo>
                      <a:pt x="472" y="316"/>
                    </a:lnTo>
                    <a:lnTo>
                      <a:pt x="472" y="318"/>
                    </a:lnTo>
                    <a:lnTo>
                      <a:pt x="474" y="320"/>
                    </a:lnTo>
                    <a:lnTo>
                      <a:pt x="474" y="321"/>
                    </a:lnTo>
                    <a:lnTo>
                      <a:pt x="474" y="323"/>
                    </a:lnTo>
                    <a:lnTo>
                      <a:pt x="474" y="325"/>
                    </a:lnTo>
                    <a:lnTo>
                      <a:pt x="476" y="325"/>
                    </a:lnTo>
                    <a:lnTo>
                      <a:pt x="476" y="326"/>
                    </a:lnTo>
                    <a:lnTo>
                      <a:pt x="476" y="328"/>
                    </a:lnTo>
                    <a:lnTo>
                      <a:pt x="476" y="330"/>
                    </a:lnTo>
                    <a:lnTo>
                      <a:pt x="477" y="330"/>
                    </a:lnTo>
                    <a:lnTo>
                      <a:pt x="479" y="330"/>
                    </a:lnTo>
                    <a:lnTo>
                      <a:pt x="481" y="330"/>
                    </a:lnTo>
                    <a:lnTo>
                      <a:pt x="481" y="331"/>
                    </a:lnTo>
                    <a:lnTo>
                      <a:pt x="482" y="333"/>
                    </a:lnTo>
                    <a:lnTo>
                      <a:pt x="482" y="335"/>
                    </a:lnTo>
                    <a:lnTo>
                      <a:pt x="482" y="337"/>
                    </a:lnTo>
                    <a:lnTo>
                      <a:pt x="484" y="337"/>
                    </a:lnTo>
                    <a:lnTo>
                      <a:pt x="484" y="338"/>
                    </a:lnTo>
                    <a:lnTo>
                      <a:pt x="484" y="340"/>
                    </a:lnTo>
                    <a:lnTo>
                      <a:pt x="486" y="340"/>
                    </a:lnTo>
                    <a:lnTo>
                      <a:pt x="486" y="342"/>
                    </a:lnTo>
                    <a:lnTo>
                      <a:pt x="488" y="342"/>
                    </a:lnTo>
                    <a:lnTo>
                      <a:pt x="488" y="343"/>
                    </a:lnTo>
                    <a:lnTo>
                      <a:pt x="486" y="343"/>
                    </a:lnTo>
                    <a:lnTo>
                      <a:pt x="486" y="345"/>
                    </a:lnTo>
                    <a:lnTo>
                      <a:pt x="484" y="345"/>
                    </a:lnTo>
                    <a:lnTo>
                      <a:pt x="484" y="347"/>
                    </a:lnTo>
                    <a:lnTo>
                      <a:pt x="482" y="347"/>
                    </a:lnTo>
                    <a:lnTo>
                      <a:pt x="481" y="350"/>
                    </a:lnTo>
                    <a:lnTo>
                      <a:pt x="477" y="352"/>
                    </a:lnTo>
                    <a:lnTo>
                      <a:pt x="474" y="355"/>
                    </a:lnTo>
                    <a:lnTo>
                      <a:pt x="471" y="359"/>
                    </a:lnTo>
                    <a:lnTo>
                      <a:pt x="469" y="360"/>
                    </a:lnTo>
                    <a:lnTo>
                      <a:pt x="469" y="362"/>
                    </a:lnTo>
                    <a:lnTo>
                      <a:pt x="471" y="360"/>
                    </a:lnTo>
                    <a:lnTo>
                      <a:pt x="471" y="362"/>
                    </a:lnTo>
                    <a:lnTo>
                      <a:pt x="472" y="360"/>
                    </a:lnTo>
                    <a:lnTo>
                      <a:pt x="472" y="362"/>
                    </a:lnTo>
                    <a:lnTo>
                      <a:pt x="474" y="362"/>
                    </a:lnTo>
                    <a:lnTo>
                      <a:pt x="476" y="362"/>
                    </a:lnTo>
                    <a:lnTo>
                      <a:pt x="477" y="362"/>
                    </a:lnTo>
                    <a:lnTo>
                      <a:pt x="477" y="364"/>
                    </a:lnTo>
                    <a:lnTo>
                      <a:pt x="479" y="365"/>
                    </a:lnTo>
                    <a:lnTo>
                      <a:pt x="479" y="367"/>
                    </a:lnTo>
                    <a:lnTo>
                      <a:pt x="481" y="367"/>
                    </a:lnTo>
                    <a:lnTo>
                      <a:pt x="482" y="369"/>
                    </a:lnTo>
                    <a:lnTo>
                      <a:pt x="484" y="369"/>
                    </a:lnTo>
                    <a:lnTo>
                      <a:pt x="484" y="371"/>
                    </a:lnTo>
                    <a:lnTo>
                      <a:pt x="486" y="371"/>
                    </a:lnTo>
                    <a:lnTo>
                      <a:pt x="486" y="372"/>
                    </a:lnTo>
                    <a:lnTo>
                      <a:pt x="488" y="374"/>
                    </a:lnTo>
                    <a:lnTo>
                      <a:pt x="489" y="374"/>
                    </a:lnTo>
                    <a:lnTo>
                      <a:pt x="489" y="376"/>
                    </a:lnTo>
                    <a:lnTo>
                      <a:pt x="491" y="376"/>
                    </a:lnTo>
                    <a:lnTo>
                      <a:pt x="491" y="377"/>
                    </a:lnTo>
                    <a:lnTo>
                      <a:pt x="491" y="379"/>
                    </a:lnTo>
                    <a:lnTo>
                      <a:pt x="491" y="381"/>
                    </a:lnTo>
                    <a:lnTo>
                      <a:pt x="489" y="381"/>
                    </a:lnTo>
                    <a:lnTo>
                      <a:pt x="491" y="381"/>
                    </a:lnTo>
                    <a:lnTo>
                      <a:pt x="491" y="382"/>
                    </a:lnTo>
                    <a:lnTo>
                      <a:pt x="491" y="384"/>
                    </a:lnTo>
                    <a:lnTo>
                      <a:pt x="493" y="384"/>
                    </a:lnTo>
                    <a:lnTo>
                      <a:pt x="493" y="386"/>
                    </a:lnTo>
                    <a:lnTo>
                      <a:pt x="493" y="384"/>
                    </a:lnTo>
                    <a:lnTo>
                      <a:pt x="494" y="386"/>
                    </a:lnTo>
                    <a:lnTo>
                      <a:pt x="494" y="388"/>
                    </a:lnTo>
                    <a:lnTo>
                      <a:pt x="494" y="389"/>
                    </a:lnTo>
                    <a:lnTo>
                      <a:pt x="493" y="389"/>
                    </a:lnTo>
                    <a:lnTo>
                      <a:pt x="494" y="391"/>
                    </a:lnTo>
                    <a:lnTo>
                      <a:pt x="496" y="393"/>
                    </a:lnTo>
                    <a:lnTo>
                      <a:pt x="496" y="394"/>
                    </a:lnTo>
                    <a:lnTo>
                      <a:pt x="496" y="396"/>
                    </a:lnTo>
                    <a:lnTo>
                      <a:pt x="496" y="398"/>
                    </a:lnTo>
                    <a:lnTo>
                      <a:pt x="498" y="398"/>
                    </a:lnTo>
                    <a:lnTo>
                      <a:pt x="498" y="399"/>
                    </a:lnTo>
                    <a:lnTo>
                      <a:pt x="498" y="401"/>
                    </a:lnTo>
                    <a:lnTo>
                      <a:pt x="499" y="401"/>
                    </a:lnTo>
                    <a:lnTo>
                      <a:pt x="499" y="403"/>
                    </a:lnTo>
                    <a:lnTo>
                      <a:pt x="499" y="405"/>
                    </a:lnTo>
                    <a:lnTo>
                      <a:pt x="499" y="406"/>
                    </a:lnTo>
                    <a:lnTo>
                      <a:pt x="501" y="406"/>
                    </a:lnTo>
                    <a:lnTo>
                      <a:pt x="501" y="408"/>
                    </a:lnTo>
                    <a:lnTo>
                      <a:pt x="501" y="410"/>
                    </a:lnTo>
                    <a:lnTo>
                      <a:pt x="503" y="410"/>
                    </a:lnTo>
                    <a:lnTo>
                      <a:pt x="503" y="411"/>
                    </a:lnTo>
                    <a:lnTo>
                      <a:pt x="503" y="413"/>
                    </a:lnTo>
                    <a:lnTo>
                      <a:pt x="501" y="413"/>
                    </a:lnTo>
                    <a:lnTo>
                      <a:pt x="501" y="415"/>
                    </a:lnTo>
                    <a:lnTo>
                      <a:pt x="503" y="415"/>
                    </a:lnTo>
                    <a:lnTo>
                      <a:pt x="501" y="416"/>
                    </a:lnTo>
                    <a:lnTo>
                      <a:pt x="496" y="416"/>
                    </a:lnTo>
                    <a:lnTo>
                      <a:pt x="494" y="418"/>
                    </a:lnTo>
                    <a:lnTo>
                      <a:pt x="494" y="416"/>
                    </a:lnTo>
                    <a:lnTo>
                      <a:pt x="494" y="415"/>
                    </a:lnTo>
                    <a:lnTo>
                      <a:pt x="494" y="413"/>
                    </a:lnTo>
                    <a:lnTo>
                      <a:pt x="493" y="413"/>
                    </a:lnTo>
                    <a:lnTo>
                      <a:pt x="493" y="411"/>
                    </a:lnTo>
                    <a:lnTo>
                      <a:pt x="494" y="411"/>
                    </a:lnTo>
                    <a:lnTo>
                      <a:pt x="494" y="410"/>
                    </a:lnTo>
                    <a:lnTo>
                      <a:pt x="494" y="408"/>
                    </a:lnTo>
                    <a:lnTo>
                      <a:pt x="494" y="406"/>
                    </a:lnTo>
                    <a:lnTo>
                      <a:pt x="493" y="406"/>
                    </a:lnTo>
                    <a:lnTo>
                      <a:pt x="493" y="405"/>
                    </a:lnTo>
                    <a:lnTo>
                      <a:pt x="494" y="403"/>
                    </a:lnTo>
                    <a:lnTo>
                      <a:pt x="493" y="403"/>
                    </a:lnTo>
                    <a:lnTo>
                      <a:pt x="493" y="401"/>
                    </a:lnTo>
                    <a:lnTo>
                      <a:pt x="493" y="399"/>
                    </a:lnTo>
                    <a:lnTo>
                      <a:pt x="493" y="398"/>
                    </a:lnTo>
                    <a:lnTo>
                      <a:pt x="493" y="396"/>
                    </a:lnTo>
                    <a:lnTo>
                      <a:pt x="493" y="394"/>
                    </a:lnTo>
                    <a:lnTo>
                      <a:pt x="491" y="394"/>
                    </a:lnTo>
                    <a:lnTo>
                      <a:pt x="489" y="394"/>
                    </a:lnTo>
                    <a:lnTo>
                      <a:pt x="488" y="393"/>
                    </a:lnTo>
                    <a:lnTo>
                      <a:pt x="488" y="391"/>
                    </a:lnTo>
                    <a:lnTo>
                      <a:pt x="486" y="391"/>
                    </a:lnTo>
                    <a:lnTo>
                      <a:pt x="486" y="389"/>
                    </a:lnTo>
                    <a:lnTo>
                      <a:pt x="486" y="388"/>
                    </a:lnTo>
                    <a:lnTo>
                      <a:pt x="486" y="386"/>
                    </a:lnTo>
                    <a:lnTo>
                      <a:pt x="486" y="384"/>
                    </a:lnTo>
                    <a:lnTo>
                      <a:pt x="484" y="384"/>
                    </a:lnTo>
                    <a:lnTo>
                      <a:pt x="484" y="382"/>
                    </a:lnTo>
                    <a:lnTo>
                      <a:pt x="486" y="382"/>
                    </a:lnTo>
                    <a:lnTo>
                      <a:pt x="484" y="382"/>
                    </a:lnTo>
                    <a:lnTo>
                      <a:pt x="484" y="381"/>
                    </a:lnTo>
                    <a:lnTo>
                      <a:pt x="482" y="382"/>
                    </a:lnTo>
                    <a:lnTo>
                      <a:pt x="482" y="384"/>
                    </a:lnTo>
                    <a:lnTo>
                      <a:pt x="481" y="384"/>
                    </a:lnTo>
                    <a:lnTo>
                      <a:pt x="481" y="386"/>
                    </a:lnTo>
                    <a:lnTo>
                      <a:pt x="479" y="386"/>
                    </a:lnTo>
                    <a:lnTo>
                      <a:pt x="479" y="388"/>
                    </a:lnTo>
                    <a:lnTo>
                      <a:pt x="477" y="388"/>
                    </a:lnTo>
                    <a:lnTo>
                      <a:pt x="476" y="388"/>
                    </a:lnTo>
                    <a:lnTo>
                      <a:pt x="474" y="388"/>
                    </a:lnTo>
                    <a:lnTo>
                      <a:pt x="472" y="388"/>
                    </a:lnTo>
                    <a:lnTo>
                      <a:pt x="472" y="389"/>
                    </a:lnTo>
                    <a:lnTo>
                      <a:pt x="471" y="389"/>
                    </a:lnTo>
                    <a:lnTo>
                      <a:pt x="471" y="391"/>
                    </a:lnTo>
                    <a:lnTo>
                      <a:pt x="469" y="391"/>
                    </a:lnTo>
                    <a:lnTo>
                      <a:pt x="469" y="393"/>
                    </a:lnTo>
                    <a:lnTo>
                      <a:pt x="467" y="394"/>
                    </a:lnTo>
                    <a:lnTo>
                      <a:pt x="467" y="396"/>
                    </a:lnTo>
                    <a:lnTo>
                      <a:pt x="465" y="396"/>
                    </a:lnTo>
                    <a:lnTo>
                      <a:pt x="465" y="394"/>
                    </a:lnTo>
                    <a:lnTo>
                      <a:pt x="464" y="394"/>
                    </a:lnTo>
                    <a:lnTo>
                      <a:pt x="464" y="393"/>
                    </a:lnTo>
                    <a:lnTo>
                      <a:pt x="462" y="393"/>
                    </a:lnTo>
                    <a:lnTo>
                      <a:pt x="460" y="393"/>
                    </a:lnTo>
                    <a:lnTo>
                      <a:pt x="460" y="391"/>
                    </a:lnTo>
                    <a:lnTo>
                      <a:pt x="459" y="391"/>
                    </a:lnTo>
                    <a:lnTo>
                      <a:pt x="459" y="389"/>
                    </a:lnTo>
                    <a:lnTo>
                      <a:pt x="459" y="391"/>
                    </a:lnTo>
                    <a:lnTo>
                      <a:pt x="457" y="391"/>
                    </a:lnTo>
                    <a:lnTo>
                      <a:pt x="457" y="389"/>
                    </a:lnTo>
                    <a:lnTo>
                      <a:pt x="457" y="388"/>
                    </a:lnTo>
                    <a:lnTo>
                      <a:pt x="457" y="389"/>
                    </a:lnTo>
                    <a:lnTo>
                      <a:pt x="457" y="391"/>
                    </a:lnTo>
                    <a:lnTo>
                      <a:pt x="455" y="391"/>
                    </a:lnTo>
                    <a:lnTo>
                      <a:pt x="455" y="393"/>
                    </a:lnTo>
                    <a:lnTo>
                      <a:pt x="455" y="394"/>
                    </a:lnTo>
                    <a:lnTo>
                      <a:pt x="454" y="394"/>
                    </a:lnTo>
                    <a:lnTo>
                      <a:pt x="455" y="394"/>
                    </a:lnTo>
                    <a:lnTo>
                      <a:pt x="454" y="394"/>
                    </a:lnTo>
                    <a:lnTo>
                      <a:pt x="455" y="396"/>
                    </a:lnTo>
                    <a:lnTo>
                      <a:pt x="455" y="394"/>
                    </a:lnTo>
                    <a:lnTo>
                      <a:pt x="455" y="396"/>
                    </a:lnTo>
                    <a:lnTo>
                      <a:pt x="455" y="394"/>
                    </a:lnTo>
                    <a:lnTo>
                      <a:pt x="455" y="396"/>
                    </a:lnTo>
                    <a:lnTo>
                      <a:pt x="455" y="398"/>
                    </a:lnTo>
                    <a:lnTo>
                      <a:pt x="455" y="396"/>
                    </a:lnTo>
                    <a:lnTo>
                      <a:pt x="457" y="398"/>
                    </a:lnTo>
                    <a:lnTo>
                      <a:pt x="457" y="396"/>
                    </a:lnTo>
                    <a:lnTo>
                      <a:pt x="457" y="398"/>
                    </a:lnTo>
                    <a:lnTo>
                      <a:pt x="459" y="398"/>
                    </a:lnTo>
                    <a:lnTo>
                      <a:pt x="445" y="398"/>
                    </a:lnTo>
                    <a:lnTo>
                      <a:pt x="435" y="398"/>
                    </a:lnTo>
                    <a:lnTo>
                      <a:pt x="430" y="398"/>
                    </a:lnTo>
                    <a:lnTo>
                      <a:pt x="425" y="398"/>
                    </a:lnTo>
                    <a:lnTo>
                      <a:pt x="420" y="398"/>
                    </a:lnTo>
                    <a:lnTo>
                      <a:pt x="416" y="398"/>
                    </a:lnTo>
                    <a:lnTo>
                      <a:pt x="414" y="398"/>
                    </a:lnTo>
                    <a:lnTo>
                      <a:pt x="413" y="398"/>
                    </a:lnTo>
                    <a:lnTo>
                      <a:pt x="413" y="396"/>
                    </a:lnTo>
                    <a:lnTo>
                      <a:pt x="411" y="398"/>
                    </a:lnTo>
                    <a:lnTo>
                      <a:pt x="409" y="398"/>
                    </a:lnTo>
                    <a:lnTo>
                      <a:pt x="409" y="399"/>
                    </a:lnTo>
                    <a:lnTo>
                      <a:pt x="408" y="398"/>
                    </a:lnTo>
                    <a:lnTo>
                      <a:pt x="408" y="399"/>
                    </a:lnTo>
                    <a:lnTo>
                      <a:pt x="408" y="398"/>
                    </a:lnTo>
                    <a:lnTo>
                      <a:pt x="408" y="399"/>
                    </a:lnTo>
                    <a:lnTo>
                      <a:pt x="408" y="398"/>
                    </a:lnTo>
                    <a:lnTo>
                      <a:pt x="406" y="398"/>
                    </a:lnTo>
                    <a:lnTo>
                      <a:pt x="404" y="398"/>
                    </a:lnTo>
                    <a:lnTo>
                      <a:pt x="404" y="399"/>
                    </a:lnTo>
                    <a:lnTo>
                      <a:pt x="403" y="399"/>
                    </a:lnTo>
                    <a:lnTo>
                      <a:pt x="401" y="399"/>
                    </a:lnTo>
                    <a:lnTo>
                      <a:pt x="401" y="401"/>
                    </a:lnTo>
                    <a:lnTo>
                      <a:pt x="401" y="405"/>
                    </a:lnTo>
                    <a:lnTo>
                      <a:pt x="401" y="408"/>
                    </a:lnTo>
                    <a:lnTo>
                      <a:pt x="401" y="411"/>
                    </a:lnTo>
                    <a:lnTo>
                      <a:pt x="401" y="413"/>
                    </a:lnTo>
                    <a:lnTo>
                      <a:pt x="401" y="415"/>
                    </a:lnTo>
                    <a:lnTo>
                      <a:pt x="401" y="418"/>
                    </a:lnTo>
                    <a:lnTo>
                      <a:pt x="401" y="420"/>
                    </a:lnTo>
                    <a:lnTo>
                      <a:pt x="403" y="420"/>
                    </a:lnTo>
                    <a:lnTo>
                      <a:pt x="403" y="422"/>
                    </a:lnTo>
                    <a:lnTo>
                      <a:pt x="403" y="420"/>
                    </a:lnTo>
                    <a:lnTo>
                      <a:pt x="404" y="420"/>
                    </a:lnTo>
                    <a:lnTo>
                      <a:pt x="406" y="420"/>
                    </a:lnTo>
                    <a:lnTo>
                      <a:pt x="408" y="420"/>
                    </a:lnTo>
                    <a:lnTo>
                      <a:pt x="409" y="420"/>
                    </a:lnTo>
                    <a:lnTo>
                      <a:pt x="411" y="420"/>
                    </a:lnTo>
                    <a:lnTo>
                      <a:pt x="413" y="420"/>
                    </a:lnTo>
                    <a:lnTo>
                      <a:pt x="414" y="420"/>
                    </a:lnTo>
                    <a:lnTo>
                      <a:pt x="416" y="422"/>
                    </a:lnTo>
                    <a:lnTo>
                      <a:pt x="418" y="420"/>
                    </a:lnTo>
                    <a:lnTo>
                      <a:pt x="420" y="420"/>
                    </a:lnTo>
                    <a:lnTo>
                      <a:pt x="420" y="422"/>
                    </a:lnTo>
                    <a:lnTo>
                      <a:pt x="421" y="422"/>
                    </a:lnTo>
                    <a:lnTo>
                      <a:pt x="423" y="422"/>
                    </a:lnTo>
                    <a:lnTo>
                      <a:pt x="423" y="423"/>
                    </a:lnTo>
                    <a:lnTo>
                      <a:pt x="423" y="425"/>
                    </a:lnTo>
                    <a:lnTo>
                      <a:pt x="425" y="425"/>
                    </a:lnTo>
                    <a:lnTo>
                      <a:pt x="423" y="425"/>
                    </a:lnTo>
                    <a:lnTo>
                      <a:pt x="423" y="427"/>
                    </a:lnTo>
                    <a:lnTo>
                      <a:pt x="425" y="427"/>
                    </a:lnTo>
                    <a:lnTo>
                      <a:pt x="425" y="428"/>
                    </a:lnTo>
                    <a:lnTo>
                      <a:pt x="425" y="430"/>
                    </a:lnTo>
                    <a:lnTo>
                      <a:pt x="425" y="432"/>
                    </a:lnTo>
                    <a:lnTo>
                      <a:pt x="423" y="432"/>
                    </a:lnTo>
                    <a:lnTo>
                      <a:pt x="425" y="433"/>
                    </a:lnTo>
                    <a:lnTo>
                      <a:pt x="426" y="433"/>
                    </a:lnTo>
                    <a:lnTo>
                      <a:pt x="426" y="435"/>
                    </a:lnTo>
                    <a:lnTo>
                      <a:pt x="425" y="435"/>
                    </a:lnTo>
                    <a:lnTo>
                      <a:pt x="423" y="435"/>
                    </a:lnTo>
                    <a:lnTo>
                      <a:pt x="423" y="437"/>
                    </a:lnTo>
                    <a:lnTo>
                      <a:pt x="421" y="437"/>
                    </a:lnTo>
                    <a:lnTo>
                      <a:pt x="420" y="437"/>
                    </a:lnTo>
                    <a:lnTo>
                      <a:pt x="420" y="435"/>
                    </a:lnTo>
                    <a:lnTo>
                      <a:pt x="418" y="435"/>
                    </a:lnTo>
                    <a:lnTo>
                      <a:pt x="418" y="437"/>
                    </a:lnTo>
                    <a:lnTo>
                      <a:pt x="418" y="435"/>
                    </a:lnTo>
                    <a:lnTo>
                      <a:pt x="416" y="435"/>
                    </a:lnTo>
                    <a:lnTo>
                      <a:pt x="416" y="433"/>
                    </a:lnTo>
                    <a:lnTo>
                      <a:pt x="414" y="432"/>
                    </a:lnTo>
                    <a:lnTo>
                      <a:pt x="413" y="432"/>
                    </a:lnTo>
                    <a:lnTo>
                      <a:pt x="413" y="433"/>
                    </a:lnTo>
                    <a:lnTo>
                      <a:pt x="411" y="433"/>
                    </a:lnTo>
                    <a:lnTo>
                      <a:pt x="411" y="435"/>
                    </a:lnTo>
                    <a:lnTo>
                      <a:pt x="409" y="435"/>
                    </a:lnTo>
                    <a:lnTo>
                      <a:pt x="409" y="437"/>
                    </a:lnTo>
                    <a:lnTo>
                      <a:pt x="409" y="435"/>
                    </a:lnTo>
                    <a:lnTo>
                      <a:pt x="408" y="435"/>
                    </a:lnTo>
                    <a:lnTo>
                      <a:pt x="408" y="433"/>
                    </a:lnTo>
                    <a:lnTo>
                      <a:pt x="406" y="435"/>
                    </a:lnTo>
                    <a:lnTo>
                      <a:pt x="406" y="437"/>
                    </a:lnTo>
                    <a:lnTo>
                      <a:pt x="404" y="435"/>
                    </a:lnTo>
                    <a:lnTo>
                      <a:pt x="404" y="437"/>
                    </a:lnTo>
                    <a:lnTo>
                      <a:pt x="403" y="437"/>
                    </a:lnTo>
                    <a:lnTo>
                      <a:pt x="401" y="437"/>
                    </a:lnTo>
                    <a:lnTo>
                      <a:pt x="399" y="437"/>
                    </a:lnTo>
                    <a:lnTo>
                      <a:pt x="399" y="439"/>
                    </a:lnTo>
                    <a:lnTo>
                      <a:pt x="397" y="439"/>
                    </a:lnTo>
                    <a:lnTo>
                      <a:pt x="397" y="437"/>
                    </a:lnTo>
                    <a:lnTo>
                      <a:pt x="396" y="437"/>
                    </a:lnTo>
                    <a:lnTo>
                      <a:pt x="396" y="439"/>
                    </a:lnTo>
                    <a:lnTo>
                      <a:pt x="394" y="439"/>
                    </a:lnTo>
                    <a:lnTo>
                      <a:pt x="394" y="440"/>
                    </a:lnTo>
                    <a:lnTo>
                      <a:pt x="394" y="444"/>
                    </a:lnTo>
                    <a:lnTo>
                      <a:pt x="394" y="445"/>
                    </a:lnTo>
                    <a:lnTo>
                      <a:pt x="394" y="447"/>
                    </a:lnTo>
                    <a:lnTo>
                      <a:pt x="394" y="449"/>
                    </a:lnTo>
                    <a:lnTo>
                      <a:pt x="394" y="451"/>
                    </a:lnTo>
                    <a:lnTo>
                      <a:pt x="394" y="454"/>
                    </a:lnTo>
                    <a:lnTo>
                      <a:pt x="394" y="457"/>
                    </a:lnTo>
                    <a:lnTo>
                      <a:pt x="394" y="461"/>
                    </a:lnTo>
                    <a:lnTo>
                      <a:pt x="396" y="461"/>
                    </a:lnTo>
                    <a:lnTo>
                      <a:pt x="396" y="462"/>
                    </a:lnTo>
                    <a:lnTo>
                      <a:pt x="396" y="464"/>
                    </a:lnTo>
                    <a:lnTo>
                      <a:pt x="397" y="466"/>
                    </a:lnTo>
                    <a:lnTo>
                      <a:pt x="397" y="468"/>
                    </a:lnTo>
                    <a:lnTo>
                      <a:pt x="399" y="468"/>
                    </a:lnTo>
                    <a:lnTo>
                      <a:pt x="399" y="469"/>
                    </a:lnTo>
                    <a:lnTo>
                      <a:pt x="401" y="468"/>
                    </a:lnTo>
                    <a:lnTo>
                      <a:pt x="403" y="469"/>
                    </a:lnTo>
                    <a:lnTo>
                      <a:pt x="403" y="471"/>
                    </a:lnTo>
                    <a:lnTo>
                      <a:pt x="404" y="471"/>
                    </a:lnTo>
                    <a:lnTo>
                      <a:pt x="406" y="473"/>
                    </a:lnTo>
                    <a:lnTo>
                      <a:pt x="408" y="473"/>
                    </a:lnTo>
                    <a:lnTo>
                      <a:pt x="408" y="474"/>
                    </a:lnTo>
                    <a:lnTo>
                      <a:pt x="409" y="473"/>
                    </a:lnTo>
                    <a:lnTo>
                      <a:pt x="409" y="474"/>
                    </a:lnTo>
                    <a:lnTo>
                      <a:pt x="409" y="476"/>
                    </a:lnTo>
                    <a:lnTo>
                      <a:pt x="409" y="478"/>
                    </a:lnTo>
                    <a:lnTo>
                      <a:pt x="411" y="478"/>
                    </a:lnTo>
                    <a:lnTo>
                      <a:pt x="411" y="479"/>
                    </a:lnTo>
                    <a:lnTo>
                      <a:pt x="409" y="479"/>
                    </a:lnTo>
                    <a:lnTo>
                      <a:pt x="409" y="481"/>
                    </a:lnTo>
                    <a:lnTo>
                      <a:pt x="409" y="483"/>
                    </a:lnTo>
                    <a:lnTo>
                      <a:pt x="411" y="483"/>
                    </a:lnTo>
                    <a:lnTo>
                      <a:pt x="409" y="483"/>
                    </a:lnTo>
                    <a:lnTo>
                      <a:pt x="411" y="485"/>
                    </a:lnTo>
                    <a:lnTo>
                      <a:pt x="411" y="486"/>
                    </a:lnTo>
                    <a:lnTo>
                      <a:pt x="413" y="486"/>
                    </a:lnTo>
                    <a:lnTo>
                      <a:pt x="413" y="488"/>
                    </a:lnTo>
                    <a:lnTo>
                      <a:pt x="413" y="490"/>
                    </a:lnTo>
                    <a:lnTo>
                      <a:pt x="413" y="488"/>
                    </a:lnTo>
                    <a:lnTo>
                      <a:pt x="414" y="490"/>
                    </a:lnTo>
                    <a:lnTo>
                      <a:pt x="416" y="491"/>
                    </a:lnTo>
                    <a:lnTo>
                      <a:pt x="414" y="491"/>
                    </a:lnTo>
                    <a:lnTo>
                      <a:pt x="416" y="491"/>
                    </a:lnTo>
                    <a:lnTo>
                      <a:pt x="416" y="493"/>
                    </a:lnTo>
                    <a:lnTo>
                      <a:pt x="416" y="495"/>
                    </a:lnTo>
                    <a:lnTo>
                      <a:pt x="416" y="496"/>
                    </a:lnTo>
                    <a:lnTo>
                      <a:pt x="416" y="498"/>
                    </a:lnTo>
                    <a:lnTo>
                      <a:pt x="416" y="500"/>
                    </a:lnTo>
                    <a:lnTo>
                      <a:pt x="416" y="502"/>
                    </a:lnTo>
                    <a:lnTo>
                      <a:pt x="416" y="503"/>
                    </a:lnTo>
                    <a:lnTo>
                      <a:pt x="414" y="505"/>
                    </a:lnTo>
                    <a:lnTo>
                      <a:pt x="416" y="505"/>
                    </a:lnTo>
                    <a:lnTo>
                      <a:pt x="416" y="507"/>
                    </a:lnTo>
                    <a:lnTo>
                      <a:pt x="414" y="507"/>
                    </a:lnTo>
                    <a:lnTo>
                      <a:pt x="414" y="508"/>
                    </a:lnTo>
                    <a:lnTo>
                      <a:pt x="413" y="517"/>
                    </a:lnTo>
                    <a:lnTo>
                      <a:pt x="413" y="524"/>
                    </a:lnTo>
                    <a:lnTo>
                      <a:pt x="411" y="529"/>
                    </a:lnTo>
                    <a:lnTo>
                      <a:pt x="409" y="534"/>
                    </a:lnTo>
                    <a:lnTo>
                      <a:pt x="409" y="539"/>
                    </a:lnTo>
                    <a:lnTo>
                      <a:pt x="406" y="554"/>
                    </a:lnTo>
                    <a:lnTo>
                      <a:pt x="406" y="558"/>
                    </a:lnTo>
                    <a:lnTo>
                      <a:pt x="403" y="581"/>
                    </a:lnTo>
                    <a:lnTo>
                      <a:pt x="401" y="590"/>
                    </a:lnTo>
                    <a:lnTo>
                      <a:pt x="399" y="600"/>
                    </a:lnTo>
                    <a:lnTo>
                      <a:pt x="397" y="600"/>
                    </a:lnTo>
                    <a:lnTo>
                      <a:pt x="397" y="598"/>
                    </a:lnTo>
                    <a:lnTo>
                      <a:pt x="396" y="598"/>
                    </a:lnTo>
                    <a:lnTo>
                      <a:pt x="396" y="597"/>
                    </a:lnTo>
                    <a:lnTo>
                      <a:pt x="394" y="597"/>
                    </a:lnTo>
                    <a:lnTo>
                      <a:pt x="394" y="595"/>
                    </a:lnTo>
                    <a:lnTo>
                      <a:pt x="392" y="593"/>
                    </a:lnTo>
                    <a:lnTo>
                      <a:pt x="391" y="593"/>
                    </a:lnTo>
                    <a:lnTo>
                      <a:pt x="391" y="592"/>
                    </a:lnTo>
                    <a:lnTo>
                      <a:pt x="391" y="590"/>
                    </a:lnTo>
                    <a:lnTo>
                      <a:pt x="389" y="590"/>
                    </a:lnTo>
                    <a:lnTo>
                      <a:pt x="389" y="588"/>
                    </a:lnTo>
                    <a:lnTo>
                      <a:pt x="387" y="588"/>
                    </a:lnTo>
                    <a:lnTo>
                      <a:pt x="387" y="587"/>
                    </a:lnTo>
                    <a:lnTo>
                      <a:pt x="386" y="587"/>
                    </a:lnTo>
                    <a:lnTo>
                      <a:pt x="386" y="585"/>
                    </a:lnTo>
                    <a:lnTo>
                      <a:pt x="384" y="585"/>
                    </a:lnTo>
                    <a:lnTo>
                      <a:pt x="384" y="587"/>
                    </a:lnTo>
                    <a:lnTo>
                      <a:pt x="382" y="587"/>
                    </a:lnTo>
                    <a:lnTo>
                      <a:pt x="380" y="587"/>
                    </a:lnTo>
                    <a:lnTo>
                      <a:pt x="380" y="588"/>
                    </a:lnTo>
                    <a:lnTo>
                      <a:pt x="379" y="588"/>
                    </a:lnTo>
                    <a:lnTo>
                      <a:pt x="377" y="587"/>
                    </a:lnTo>
                    <a:lnTo>
                      <a:pt x="375" y="587"/>
                    </a:lnTo>
                    <a:lnTo>
                      <a:pt x="374" y="587"/>
                    </a:lnTo>
                    <a:lnTo>
                      <a:pt x="374" y="585"/>
                    </a:lnTo>
                    <a:lnTo>
                      <a:pt x="372" y="585"/>
                    </a:lnTo>
                    <a:lnTo>
                      <a:pt x="374" y="581"/>
                    </a:lnTo>
                    <a:lnTo>
                      <a:pt x="375" y="581"/>
                    </a:lnTo>
                    <a:lnTo>
                      <a:pt x="377" y="576"/>
                    </a:lnTo>
                    <a:lnTo>
                      <a:pt x="379" y="573"/>
                    </a:lnTo>
                    <a:lnTo>
                      <a:pt x="380" y="573"/>
                    </a:lnTo>
                    <a:lnTo>
                      <a:pt x="382" y="570"/>
                    </a:lnTo>
                    <a:lnTo>
                      <a:pt x="384" y="566"/>
                    </a:lnTo>
                    <a:lnTo>
                      <a:pt x="386" y="564"/>
                    </a:lnTo>
                    <a:lnTo>
                      <a:pt x="386" y="563"/>
                    </a:lnTo>
                    <a:lnTo>
                      <a:pt x="387" y="561"/>
                    </a:lnTo>
                    <a:lnTo>
                      <a:pt x="391" y="556"/>
                    </a:lnTo>
                    <a:lnTo>
                      <a:pt x="392" y="554"/>
                    </a:lnTo>
                    <a:lnTo>
                      <a:pt x="394" y="551"/>
                    </a:lnTo>
                    <a:lnTo>
                      <a:pt x="394" y="549"/>
                    </a:lnTo>
                    <a:lnTo>
                      <a:pt x="394" y="547"/>
                    </a:lnTo>
                    <a:lnTo>
                      <a:pt x="394" y="546"/>
                    </a:lnTo>
                    <a:lnTo>
                      <a:pt x="392" y="547"/>
                    </a:lnTo>
                    <a:lnTo>
                      <a:pt x="391" y="547"/>
                    </a:lnTo>
                    <a:lnTo>
                      <a:pt x="391" y="546"/>
                    </a:lnTo>
                    <a:lnTo>
                      <a:pt x="389" y="546"/>
                    </a:lnTo>
                    <a:lnTo>
                      <a:pt x="389" y="547"/>
                    </a:lnTo>
                    <a:lnTo>
                      <a:pt x="389" y="546"/>
                    </a:lnTo>
                    <a:lnTo>
                      <a:pt x="389" y="544"/>
                    </a:lnTo>
                    <a:lnTo>
                      <a:pt x="387" y="542"/>
                    </a:lnTo>
                    <a:lnTo>
                      <a:pt x="386" y="544"/>
                    </a:lnTo>
                    <a:lnTo>
                      <a:pt x="384" y="544"/>
                    </a:lnTo>
                    <a:lnTo>
                      <a:pt x="384" y="542"/>
                    </a:lnTo>
                    <a:lnTo>
                      <a:pt x="386" y="542"/>
                    </a:lnTo>
                    <a:lnTo>
                      <a:pt x="386" y="541"/>
                    </a:lnTo>
                    <a:lnTo>
                      <a:pt x="384" y="541"/>
                    </a:lnTo>
                    <a:lnTo>
                      <a:pt x="382" y="542"/>
                    </a:lnTo>
                    <a:lnTo>
                      <a:pt x="380" y="542"/>
                    </a:lnTo>
                    <a:lnTo>
                      <a:pt x="380" y="541"/>
                    </a:lnTo>
                    <a:lnTo>
                      <a:pt x="380" y="539"/>
                    </a:lnTo>
                    <a:lnTo>
                      <a:pt x="380" y="541"/>
                    </a:lnTo>
                    <a:lnTo>
                      <a:pt x="379" y="541"/>
                    </a:lnTo>
                    <a:lnTo>
                      <a:pt x="379" y="539"/>
                    </a:lnTo>
                    <a:lnTo>
                      <a:pt x="377" y="539"/>
                    </a:lnTo>
                    <a:lnTo>
                      <a:pt x="377" y="541"/>
                    </a:lnTo>
                    <a:lnTo>
                      <a:pt x="375" y="541"/>
                    </a:lnTo>
                    <a:lnTo>
                      <a:pt x="375" y="539"/>
                    </a:lnTo>
                    <a:lnTo>
                      <a:pt x="375" y="537"/>
                    </a:lnTo>
                    <a:lnTo>
                      <a:pt x="374" y="539"/>
                    </a:lnTo>
                    <a:lnTo>
                      <a:pt x="374" y="537"/>
                    </a:lnTo>
                    <a:lnTo>
                      <a:pt x="374" y="536"/>
                    </a:lnTo>
                    <a:lnTo>
                      <a:pt x="372" y="536"/>
                    </a:lnTo>
                    <a:lnTo>
                      <a:pt x="370" y="536"/>
                    </a:lnTo>
                    <a:lnTo>
                      <a:pt x="370" y="534"/>
                    </a:lnTo>
                    <a:lnTo>
                      <a:pt x="369" y="534"/>
                    </a:lnTo>
                    <a:lnTo>
                      <a:pt x="367" y="534"/>
                    </a:lnTo>
                    <a:lnTo>
                      <a:pt x="367" y="532"/>
                    </a:lnTo>
                    <a:lnTo>
                      <a:pt x="365" y="532"/>
                    </a:lnTo>
                    <a:lnTo>
                      <a:pt x="363" y="532"/>
                    </a:lnTo>
                    <a:lnTo>
                      <a:pt x="362" y="532"/>
                    </a:lnTo>
                    <a:lnTo>
                      <a:pt x="362" y="534"/>
                    </a:lnTo>
                    <a:lnTo>
                      <a:pt x="363" y="534"/>
                    </a:lnTo>
                    <a:lnTo>
                      <a:pt x="362" y="534"/>
                    </a:lnTo>
                    <a:lnTo>
                      <a:pt x="360" y="534"/>
                    </a:lnTo>
                    <a:lnTo>
                      <a:pt x="358" y="534"/>
                    </a:lnTo>
                    <a:lnTo>
                      <a:pt x="358" y="536"/>
                    </a:lnTo>
                    <a:lnTo>
                      <a:pt x="357" y="536"/>
                    </a:lnTo>
                    <a:lnTo>
                      <a:pt x="357" y="537"/>
                    </a:lnTo>
                    <a:lnTo>
                      <a:pt x="355" y="537"/>
                    </a:lnTo>
                    <a:lnTo>
                      <a:pt x="355" y="536"/>
                    </a:lnTo>
                    <a:lnTo>
                      <a:pt x="353" y="536"/>
                    </a:lnTo>
                    <a:lnTo>
                      <a:pt x="353" y="537"/>
                    </a:lnTo>
                    <a:lnTo>
                      <a:pt x="353" y="536"/>
                    </a:lnTo>
                    <a:lnTo>
                      <a:pt x="352" y="536"/>
                    </a:lnTo>
                    <a:lnTo>
                      <a:pt x="352" y="537"/>
                    </a:lnTo>
                    <a:lnTo>
                      <a:pt x="350" y="537"/>
                    </a:lnTo>
                    <a:lnTo>
                      <a:pt x="350" y="539"/>
                    </a:lnTo>
                    <a:lnTo>
                      <a:pt x="348" y="537"/>
                    </a:lnTo>
                    <a:lnTo>
                      <a:pt x="350" y="537"/>
                    </a:lnTo>
                    <a:lnTo>
                      <a:pt x="350" y="536"/>
                    </a:lnTo>
                    <a:lnTo>
                      <a:pt x="348" y="536"/>
                    </a:lnTo>
                    <a:lnTo>
                      <a:pt x="348" y="534"/>
                    </a:lnTo>
                    <a:lnTo>
                      <a:pt x="346" y="534"/>
                    </a:lnTo>
                    <a:lnTo>
                      <a:pt x="346" y="536"/>
                    </a:lnTo>
                    <a:lnTo>
                      <a:pt x="345" y="536"/>
                    </a:lnTo>
                    <a:lnTo>
                      <a:pt x="345" y="534"/>
                    </a:lnTo>
                    <a:lnTo>
                      <a:pt x="345" y="532"/>
                    </a:lnTo>
                    <a:lnTo>
                      <a:pt x="343" y="532"/>
                    </a:lnTo>
                    <a:lnTo>
                      <a:pt x="341" y="532"/>
                    </a:lnTo>
                    <a:lnTo>
                      <a:pt x="341" y="530"/>
                    </a:lnTo>
                    <a:lnTo>
                      <a:pt x="340" y="530"/>
                    </a:lnTo>
                    <a:lnTo>
                      <a:pt x="340" y="532"/>
                    </a:lnTo>
                    <a:lnTo>
                      <a:pt x="338" y="532"/>
                    </a:lnTo>
                    <a:lnTo>
                      <a:pt x="338" y="530"/>
                    </a:lnTo>
                    <a:lnTo>
                      <a:pt x="338" y="529"/>
                    </a:lnTo>
                    <a:lnTo>
                      <a:pt x="336" y="530"/>
                    </a:lnTo>
                    <a:lnTo>
                      <a:pt x="335" y="532"/>
                    </a:lnTo>
                    <a:lnTo>
                      <a:pt x="335" y="530"/>
                    </a:lnTo>
                    <a:lnTo>
                      <a:pt x="335" y="532"/>
                    </a:lnTo>
                    <a:lnTo>
                      <a:pt x="333" y="532"/>
                    </a:lnTo>
                    <a:lnTo>
                      <a:pt x="333" y="534"/>
                    </a:lnTo>
                    <a:lnTo>
                      <a:pt x="333" y="536"/>
                    </a:lnTo>
                    <a:lnTo>
                      <a:pt x="331" y="536"/>
                    </a:lnTo>
                    <a:lnTo>
                      <a:pt x="331" y="537"/>
                    </a:lnTo>
                    <a:lnTo>
                      <a:pt x="329" y="537"/>
                    </a:lnTo>
                    <a:lnTo>
                      <a:pt x="328" y="537"/>
                    </a:lnTo>
                    <a:lnTo>
                      <a:pt x="328" y="536"/>
                    </a:lnTo>
                    <a:lnTo>
                      <a:pt x="326" y="536"/>
                    </a:lnTo>
                    <a:lnTo>
                      <a:pt x="326" y="537"/>
                    </a:lnTo>
                    <a:lnTo>
                      <a:pt x="324" y="537"/>
                    </a:lnTo>
                    <a:lnTo>
                      <a:pt x="324" y="539"/>
                    </a:lnTo>
                    <a:lnTo>
                      <a:pt x="324" y="541"/>
                    </a:lnTo>
                    <a:lnTo>
                      <a:pt x="323" y="541"/>
                    </a:lnTo>
                    <a:lnTo>
                      <a:pt x="323" y="539"/>
                    </a:lnTo>
                    <a:lnTo>
                      <a:pt x="321" y="539"/>
                    </a:lnTo>
                    <a:lnTo>
                      <a:pt x="319" y="539"/>
                    </a:lnTo>
                    <a:lnTo>
                      <a:pt x="319" y="541"/>
                    </a:lnTo>
                    <a:lnTo>
                      <a:pt x="319" y="539"/>
                    </a:lnTo>
                    <a:lnTo>
                      <a:pt x="319" y="541"/>
                    </a:lnTo>
                    <a:lnTo>
                      <a:pt x="318" y="541"/>
                    </a:lnTo>
                    <a:lnTo>
                      <a:pt x="316" y="541"/>
                    </a:lnTo>
                    <a:lnTo>
                      <a:pt x="316" y="539"/>
                    </a:lnTo>
                    <a:lnTo>
                      <a:pt x="314" y="539"/>
                    </a:lnTo>
                    <a:lnTo>
                      <a:pt x="312" y="539"/>
                    </a:lnTo>
                    <a:lnTo>
                      <a:pt x="311" y="539"/>
                    </a:lnTo>
                    <a:lnTo>
                      <a:pt x="311" y="537"/>
                    </a:lnTo>
                    <a:lnTo>
                      <a:pt x="309" y="537"/>
                    </a:lnTo>
                    <a:lnTo>
                      <a:pt x="307" y="537"/>
                    </a:lnTo>
                    <a:lnTo>
                      <a:pt x="307" y="539"/>
                    </a:lnTo>
                    <a:lnTo>
                      <a:pt x="306" y="539"/>
                    </a:lnTo>
                    <a:lnTo>
                      <a:pt x="304" y="537"/>
                    </a:lnTo>
                    <a:lnTo>
                      <a:pt x="304" y="539"/>
                    </a:lnTo>
                    <a:lnTo>
                      <a:pt x="304" y="537"/>
                    </a:lnTo>
                    <a:lnTo>
                      <a:pt x="302" y="537"/>
                    </a:lnTo>
                    <a:lnTo>
                      <a:pt x="302" y="539"/>
                    </a:lnTo>
                    <a:lnTo>
                      <a:pt x="301" y="539"/>
                    </a:lnTo>
                    <a:lnTo>
                      <a:pt x="299" y="539"/>
                    </a:lnTo>
                    <a:lnTo>
                      <a:pt x="297" y="539"/>
                    </a:lnTo>
                    <a:lnTo>
                      <a:pt x="297" y="537"/>
                    </a:lnTo>
                    <a:lnTo>
                      <a:pt x="295" y="537"/>
                    </a:lnTo>
                    <a:lnTo>
                      <a:pt x="295" y="536"/>
                    </a:lnTo>
                    <a:lnTo>
                      <a:pt x="295" y="537"/>
                    </a:lnTo>
                    <a:lnTo>
                      <a:pt x="294" y="536"/>
                    </a:lnTo>
                    <a:lnTo>
                      <a:pt x="292" y="537"/>
                    </a:lnTo>
                    <a:lnTo>
                      <a:pt x="292" y="536"/>
                    </a:lnTo>
                    <a:lnTo>
                      <a:pt x="290" y="536"/>
                    </a:lnTo>
                    <a:lnTo>
                      <a:pt x="290" y="534"/>
                    </a:lnTo>
                    <a:lnTo>
                      <a:pt x="289" y="532"/>
                    </a:lnTo>
                    <a:lnTo>
                      <a:pt x="289" y="530"/>
                    </a:lnTo>
                    <a:lnTo>
                      <a:pt x="290" y="530"/>
                    </a:lnTo>
                    <a:lnTo>
                      <a:pt x="290" y="529"/>
                    </a:lnTo>
                    <a:lnTo>
                      <a:pt x="292" y="529"/>
                    </a:lnTo>
                    <a:lnTo>
                      <a:pt x="292" y="527"/>
                    </a:lnTo>
                    <a:lnTo>
                      <a:pt x="292" y="525"/>
                    </a:lnTo>
                    <a:lnTo>
                      <a:pt x="290" y="525"/>
                    </a:lnTo>
                    <a:lnTo>
                      <a:pt x="290" y="524"/>
                    </a:lnTo>
                    <a:lnTo>
                      <a:pt x="290" y="522"/>
                    </a:lnTo>
                    <a:lnTo>
                      <a:pt x="292" y="520"/>
                    </a:lnTo>
                    <a:lnTo>
                      <a:pt x="290" y="520"/>
                    </a:lnTo>
                    <a:lnTo>
                      <a:pt x="290" y="519"/>
                    </a:lnTo>
                    <a:lnTo>
                      <a:pt x="289" y="517"/>
                    </a:lnTo>
                    <a:lnTo>
                      <a:pt x="287" y="515"/>
                    </a:lnTo>
                    <a:lnTo>
                      <a:pt x="287" y="517"/>
                    </a:lnTo>
                    <a:lnTo>
                      <a:pt x="287" y="519"/>
                    </a:lnTo>
                    <a:lnTo>
                      <a:pt x="287" y="517"/>
                    </a:lnTo>
                    <a:lnTo>
                      <a:pt x="285" y="517"/>
                    </a:lnTo>
                    <a:lnTo>
                      <a:pt x="285" y="519"/>
                    </a:lnTo>
                    <a:lnTo>
                      <a:pt x="284" y="519"/>
                    </a:lnTo>
                    <a:lnTo>
                      <a:pt x="284" y="517"/>
                    </a:lnTo>
                    <a:lnTo>
                      <a:pt x="282" y="517"/>
                    </a:lnTo>
                    <a:lnTo>
                      <a:pt x="280" y="517"/>
                    </a:lnTo>
                    <a:lnTo>
                      <a:pt x="280" y="515"/>
                    </a:lnTo>
                    <a:lnTo>
                      <a:pt x="278" y="515"/>
                    </a:lnTo>
                    <a:lnTo>
                      <a:pt x="277" y="515"/>
                    </a:lnTo>
                    <a:lnTo>
                      <a:pt x="277" y="513"/>
                    </a:lnTo>
                    <a:lnTo>
                      <a:pt x="278" y="513"/>
                    </a:lnTo>
                    <a:lnTo>
                      <a:pt x="278" y="512"/>
                    </a:lnTo>
                    <a:lnTo>
                      <a:pt x="278" y="510"/>
                    </a:lnTo>
                    <a:lnTo>
                      <a:pt x="280" y="510"/>
                    </a:lnTo>
                    <a:lnTo>
                      <a:pt x="278" y="510"/>
                    </a:lnTo>
                    <a:lnTo>
                      <a:pt x="278" y="508"/>
                    </a:lnTo>
                    <a:lnTo>
                      <a:pt x="278" y="507"/>
                    </a:lnTo>
                    <a:lnTo>
                      <a:pt x="277" y="507"/>
                    </a:lnTo>
                    <a:lnTo>
                      <a:pt x="277" y="505"/>
                    </a:lnTo>
                    <a:lnTo>
                      <a:pt x="275" y="505"/>
                    </a:lnTo>
                    <a:lnTo>
                      <a:pt x="277" y="505"/>
                    </a:lnTo>
                    <a:lnTo>
                      <a:pt x="277" y="503"/>
                    </a:lnTo>
                    <a:lnTo>
                      <a:pt x="275" y="503"/>
                    </a:lnTo>
                    <a:lnTo>
                      <a:pt x="275" y="502"/>
                    </a:lnTo>
                    <a:lnTo>
                      <a:pt x="273" y="500"/>
                    </a:lnTo>
                    <a:lnTo>
                      <a:pt x="272" y="498"/>
                    </a:lnTo>
                    <a:lnTo>
                      <a:pt x="272" y="500"/>
                    </a:lnTo>
                    <a:lnTo>
                      <a:pt x="270" y="498"/>
                    </a:lnTo>
                    <a:lnTo>
                      <a:pt x="270" y="500"/>
                    </a:lnTo>
                    <a:lnTo>
                      <a:pt x="268" y="500"/>
                    </a:lnTo>
                    <a:lnTo>
                      <a:pt x="268" y="498"/>
                    </a:lnTo>
                    <a:lnTo>
                      <a:pt x="268" y="500"/>
                    </a:lnTo>
                    <a:lnTo>
                      <a:pt x="267" y="498"/>
                    </a:lnTo>
                    <a:lnTo>
                      <a:pt x="265" y="498"/>
                    </a:lnTo>
                    <a:lnTo>
                      <a:pt x="265" y="496"/>
                    </a:lnTo>
                    <a:lnTo>
                      <a:pt x="265" y="495"/>
                    </a:lnTo>
                    <a:lnTo>
                      <a:pt x="263" y="495"/>
                    </a:lnTo>
                    <a:lnTo>
                      <a:pt x="263" y="493"/>
                    </a:lnTo>
                    <a:lnTo>
                      <a:pt x="261" y="493"/>
                    </a:lnTo>
                    <a:lnTo>
                      <a:pt x="261" y="495"/>
                    </a:lnTo>
                    <a:lnTo>
                      <a:pt x="261" y="493"/>
                    </a:lnTo>
                    <a:lnTo>
                      <a:pt x="260" y="493"/>
                    </a:lnTo>
                    <a:lnTo>
                      <a:pt x="260" y="491"/>
                    </a:lnTo>
                    <a:lnTo>
                      <a:pt x="261" y="491"/>
                    </a:lnTo>
                    <a:lnTo>
                      <a:pt x="260" y="491"/>
                    </a:lnTo>
                    <a:lnTo>
                      <a:pt x="260" y="493"/>
                    </a:lnTo>
                    <a:lnTo>
                      <a:pt x="258" y="493"/>
                    </a:lnTo>
                    <a:lnTo>
                      <a:pt x="258" y="491"/>
                    </a:lnTo>
                    <a:lnTo>
                      <a:pt x="256" y="491"/>
                    </a:lnTo>
                    <a:lnTo>
                      <a:pt x="255" y="491"/>
                    </a:lnTo>
                    <a:lnTo>
                      <a:pt x="253" y="491"/>
                    </a:lnTo>
                    <a:lnTo>
                      <a:pt x="253" y="490"/>
                    </a:lnTo>
                    <a:lnTo>
                      <a:pt x="251" y="490"/>
                    </a:lnTo>
                    <a:lnTo>
                      <a:pt x="253" y="490"/>
                    </a:lnTo>
                    <a:lnTo>
                      <a:pt x="253" y="488"/>
                    </a:lnTo>
                    <a:lnTo>
                      <a:pt x="251" y="488"/>
                    </a:lnTo>
                    <a:lnTo>
                      <a:pt x="251" y="486"/>
                    </a:lnTo>
                    <a:lnTo>
                      <a:pt x="251" y="488"/>
                    </a:lnTo>
                    <a:lnTo>
                      <a:pt x="251" y="486"/>
                    </a:lnTo>
                    <a:lnTo>
                      <a:pt x="253" y="486"/>
                    </a:lnTo>
                    <a:lnTo>
                      <a:pt x="251" y="486"/>
                    </a:lnTo>
                    <a:lnTo>
                      <a:pt x="253" y="485"/>
                    </a:lnTo>
                    <a:lnTo>
                      <a:pt x="251" y="485"/>
                    </a:lnTo>
                    <a:lnTo>
                      <a:pt x="251" y="483"/>
                    </a:lnTo>
                    <a:lnTo>
                      <a:pt x="250" y="483"/>
                    </a:lnTo>
                    <a:lnTo>
                      <a:pt x="250" y="481"/>
                    </a:lnTo>
                    <a:lnTo>
                      <a:pt x="248" y="481"/>
                    </a:lnTo>
                    <a:lnTo>
                      <a:pt x="250" y="481"/>
                    </a:lnTo>
                    <a:lnTo>
                      <a:pt x="250" y="479"/>
                    </a:lnTo>
                    <a:lnTo>
                      <a:pt x="248" y="479"/>
                    </a:lnTo>
                    <a:lnTo>
                      <a:pt x="250" y="478"/>
                    </a:lnTo>
                    <a:lnTo>
                      <a:pt x="248" y="478"/>
                    </a:lnTo>
                    <a:lnTo>
                      <a:pt x="248" y="476"/>
                    </a:lnTo>
                    <a:lnTo>
                      <a:pt x="248" y="474"/>
                    </a:lnTo>
                    <a:lnTo>
                      <a:pt x="248" y="476"/>
                    </a:lnTo>
                    <a:lnTo>
                      <a:pt x="246" y="476"/>
                    </a:lnTo>
                    <a:lnTo>
                      <a:pt x="246" y="474"/>
                    </a:lnTo>
                    <a:lnTo>
                      <a:pt x="248" y="474"/>
                    </a:lnTo>
                    <a:lnTo>
                      <a:pt x="246" y="474"/>
                    </a:lnTo>
                    <a:lnTo>
                      <a:pt x="246" y="473"/>
                    </a:lnTo>
                    <a:lnTo>
                      <a:pt x="244" y="473"/>
                    </a:lnTo>
                    <a:lnTo>
                      <a:pt x="243" y="473"/>
                    </a:lnTo>
                    <a:lnTo>
                      <a:pt x="243" y="471"/>
                    </a:lnTo>
                    <a:lnTo>
                      <a:pt x="241" y="469"/>
                    </a:lnTo>
                    <a:lnTo>
                      <a:pt x="239" y="469"/>
                    </a:lnTo>
                    <a:lnTo>
                      <a:pt x="238" y="469"/>
                    </a:lnTo>
                    <a:lnTo>
                      <a:pt x="238" y="468"/>
                    </a:lnTo>
                    <a:lnTo>
                      <a:pt x="238" y="469"/>
                    </a:lnTo>
                    <a:lnTo>
                      <a:pt x="236" y="469"/>
                    </a:lnTo>
                    <a:lnTo>
                      <a:pt x="236" y="468"/>
                    </a:lnTo>
                    <a:lnTo>
                      <a:pt x="236" y="466"/>
                    </a:lnTo>
                    <a:lnTo>
                      <a:pt x="236" y="464"/>
                    </a:lnTo>
                    <a:lnTo>
                      <a:pt x="234" y="464"/>
                    </a:lnTo>
                    <a:lnTo>
                      <a:pt x="234" y="462"/>
                    </a:lnTo>
                    <a:lnTo>
                      <a:pt x="234" y="464"/>
                    </a:lnTo>
                    <a:lnTo>
                      <a:pt x="233" y="464"/>
                    </a:lnTo>
                    <a:lnTo>
                      <a:pt x="231" y="466"/>
                    </a:lnTo>
                    <a:lnTo>
                      <a:pt x="231" y="464"/>
                    </a:lnTo>
                    <a:lnTo>
                      <a:pt x="229" y="464"/>
                    </a:lnTo>
                    <a:lnTo>
                      <a:pt x="229" y="462"/>
                    </a:lnTo>
                    <a:lnTo>
                      <a:pt x="227" y="462"/>
                    </a:lnTo>
                    <a:lnTo>
                      <a:pt x="226" y="461"/>
                    </a:lnTo>
                    <a:lnTo>
                      <a:pt x="224" y="459"/>
                    </a:lnTo>
                    <a:lnTo>
                      <a:pt x="222" y="459"/>
                    </a:lnTo>
                    <a:lnTo>
                      <a:pt x="221" y="459"/>
                    </a:lnTo>
                    <a:lnTo>
                      <a:pt x="221" y="457"/>
                    </a:lnTo>
                    <a:lnTo>
                      <a:pt x="221" y="459"/>
                    </a:lnTo>
                    <a:lnTo>
                      <a:pt x="219" y="461"/>
                    </a:lnTo>
                    <a:lnTo>
                      <a:pt x="217" y="461"/>
                    </a:lnTo>
                    <a:lnTo>
                      <a:pt x="216" y="461"/>
                    </a:lnTo>
                    <a:lnTo>
                      <a:pt x="214" y="461"/>
                    </a:lnTo>
                    <a:lnTo>
                      <a:pt x="214" y="459"/>
                    </a:lnTo>
                    <a:lnTo>
                      <a:pt x="212" y="459"/>
                    </a:lnTo>
                    <a:lnTo>
                      <a:pt x="210" y="459"/>
                    </a:lnTo>
                    <a:lnTo>
                      <a:pt x="210" y="457"/>
                    </a:lnTo>
                    <a:lnTo>
                      <a:pt x="209" y="457"/>
                    </a:lnTo>
                    <a:lnTo>
                      <a:pt x="207" y="457"/>
                    </a:lnTo>
                    <a:lnTo>
                      <a:pt x="207" y="456"/>
                    </a:lnTo>
                    <a:lnTo>
                      <a:pt x="205" y="456"/>
                    </a:lnTo>
                    <a:lnTo>
                      <a:pt x="204" y="456"/>
                    </a:lnTo>
                    <a:lnTo>
                      <a:pt x="202" y="456"/>
                    </a:lnTo>
                    <a:lnTo>
                      <a:pt x="200" y="456"/>
                    </a:lnTo>
                    <a:lnTo>
                      <a:pt x="200" y="454"/>
                    </a:lnTo>
                    <a:lnTo>
                      <a:pt x="199" y="454"/>
                    </a:lnTo>
                    <a:lnTo>
                      <a:pt x="199" y="452"/>
                    </a:lnTo>
                    <a:lnTo>
                      <a:pt x="197" y="452"/>
                    </a:lnTo>
                    <a:lnTo>
                      <a:pt x="197" y="451"/>
                    </a:lnTo>
                    <a:lnTo>
                      <a:pt x="195" y="451"/>
                    </a:lnTo>
                    <a:lnTo>
                      <a:pt x="195" y="449"/>
                    </a:lnTo>
                    <a:lnTo>
                      <a:pt x="193" y="449"/>
                    </a:lnTo>
                    <a:lnTo>
                      <a:pt x="193" y="447"/>
                    </a:lnTo>
                    <a:lnTo>
                      <a:pt x="192" y="447"/>
                    </a:lnTo>
                    <a:lnTo>
                      <a:pt x="192" y="445"/>
                    </a:lnTo>
                    <a:lnTo>
                      <a:pt x="190" y="445"/>
                    </a:lnTo>
                    <a:lnTo>
                      <a:pt x="190" y="444"/>
                    </a:lnTo>
                    <a:lnTo>
                      <a:pt x="188" y="444"/>
                    </a:lnTo>
                    <a:lnTo>
                      <a:pt x="187" y="444"/>
                    </a:lnTo>
                    <a:lnTo>
                      <a:pt x="185" y="444"/>
                    </a:lnTo>
                    <a:lnTo>
                      <a:pt x="185" y="442"/>
                    </a:lnTo>
                    <a:lnTo>
                      <a:pt x="183" y="442"/>
                    </a:lnTo>
                    <a:lnTo>
                      <a:pt x="183" y="444"/>
                    </a:lnTo>
                    <a:lnTo>
                      <a:pt x="182" y="444"/>
                    </a:lnTo>
                    <a:lnTo>
                      <a:pt x="180" y="444"/>
                    </a:lnTo>
                    <a:lnTo>
                      <a:pt x="180" y="445"/>
                    </a:lnTo>
                    <a:lnTo>
                      <a:pt x="180" y="449"/>
                    </a:lnTo>
                    <a:lnTo>
                      <a:pt x="178" y="449"/>
                    </a:lnTo>
                    <a:lnTo>
                      <a:pt x="176" y="449"/>
                    </a:lnTo>
                    <a:lnTo>
                      <a:pt x="175" y="449"/>
                    </a:lnTo>
                    <a:lnTo>
                      <a:pt x="173" y="449"/>
                    </a:lnTo>
                    <a:lnTo>
                      <a:pt x="171" y="449"/>
                    </a:lnTo>
                    <a:lnTo>
                      <a:pt x="171" y="447"/>
                    </a:lnTo>
                    <a:lnTo>
                      <a:pt x="170" y="447"/>
                    </a:lnTo>
                    <a:lnTo>
                      <a:pt x="168" y="447"/>
                    </a:lnTo>
                    <a:lnTo>
                      <a:pt x="168" y="449"/>
                    </a:lnTo>
                    <a:lnTo>
                      <a:pt x="166" y="447"/>
                    </a:lnTo>
                    <a:lnTo>
                      <a:pt x="166" y="449"/>
                    </a:lnTo>
                    <a:lnTo>
                      <a:pt x="166" y="447"/>
                    </a:lnTo>
                    <a:lnTo>
                      <a:pt x="166" y="449"/>
                    </a:lnTo>
                    <a:lnTo>
                      <a:pt x="165" y="449"/>
                    </a:lnTo>
                    <a:lnTo>
                      <a:pt x="163" y="449"/>
                    </a:lnTo>
                    <a:lnTo>
                      <a:pt x="163" y="447"/>
                    </a:lnTo>
                    <a:lnTo>
                      <a:pt x="161" y="447"/>
                    </a:lnTo>
                    <a:lnTo>
                      <a:pt x="159" y="447"/>
                    </a:lnTo>
                    <a:lnTo>
                      <a:pt x="158" y="447"/>
                    </a:lnTo>
                    <a:lnTo>
                      <a:pt x="158" y="445"/>
                    </a:lnTo>
                    <a:lnTo>
                      <a:pt x="156" y="445"/>
                    </a:lnTo>
                    <a:lnTo>
                      <a:pt x="156" y="444"/>
                    </a:lnTo>
                    <a:lnTo>
                      <a:pt x="154" y="444"/>
                    </a:lnTo>
                    <a:lnTo>
                      <a:pt x="153" y="444"/>
                    </a:lnTo>
                    <a:lnTo>
                      <a:pt x="153" y="445"/>
                    </a:lnTo>
                    <a:lnTo>
                      <a:pt x="153" y="444"/>
                    </a:lnTo>
                    <a:lnTo>
                      <a:pt x="151" y="445"/>
                    </a:lnTo>
                    <a:lnTo>
                      <a:pt x="151" y="444"/>
                    </a:lnTo>
                    <a:lnTo>
                      <a:pt x="151" y="445"/>
                    </a:lnTo>
                    <a:lnTo>
                      <a:pt x="149" y="444"/>
                    </a:lnTo>
                    <a:lnTo>
                      <a:pt x="148" y="444"/>
                    </a:lnTo>
                    <a:lnTo>
                      <a:pt x="146" y="444"/>
                    </a:lnTo>
                    <a:lnTo>
                      <a:pt x="146" y="442"/>
                    </a:lnTo>
                    <a:lnTo>
                      <a:pt x="144" y="442"/>
                    </a:lnTo>
                    <a:lnTo>
                      <a:pt x="142" y="444"/>
                    </a:lnTo>
                    <a:lnTo>
                      <a:pt x="142" y="442"/>
                    </a:lnTo>
                    <a:lnTo>
                      <a:pt x="142" y="440"/>
                    </a:lnTo>
                    <a:lnTo>
                      <a:pt x="142" y="439"/>
                    </a:lnTo>
                    <a:lnTo>
                      <a:pt x="142" y="437"/>
                    </a:lnTo>
                    <a:lnTo>
                      <a:pt x="144" y="437"/>
                    </a:lnTo>
                    <a:lnTo>
                      <a:pt x="144" y="435"/>
                    </a:lnTo>
                    <a:lnTo>
                      <a:pt x="142" y="435"/>
                    </a:lnTo>
                    <a:lnTo>
                      <a:pt x="141" y="435"/>
                    </a:lnTo>
                    <a:lnTo>
                      <a:pt x="141" y="433"/>
                    </a:lnTo>
                    <a:lnTo>
                      <a:pt x="139" y="433"/>
                    </a:lnTo>
                    <a:lnTo>
                      <a:pt x="137" y="433"/>
                    </a:lnTo>
                    <a:lnTo>
                      <a:pt x="137" y="432"/>
                    </a:lnTo>
                    <a:lnTo>
                      <a:pt x="136" y="432"/>
                    </a:lnTo>
                    <a:lnTo>
                      <a:pt x="137" y="432"/>
                    </a:lnTo>
                    <a:lnTo>
                      <a:pt x="137" y="430"/>
                    </a:lnTo>
                    <a:lnTo>
                      <a:pt x="137" y="428"/>
                    </a:lnTo>
                    <a:lnTo>
                      <a:pt x="136" y="428"/>
                    </a:lnTo>
                    <a:lnTo>
                      <a:pt x="134" y="428"/>
                    </a:lnTo>
                    <a:lnTo>
                      <a:pt x="132" y="428"/>
                    </a:lnTo>
                    <a:lnTo>
                      <a:pt x="132" y="430"/>
                    </a:lnTo>
                    <a:lnTo>
                      <a:pt x="131" y="430"/>
                    </a:lnTo>
                    <a:lnTo>
                      <a:pt x="129" y="430"/>
                    </a:lnTo>
                    <a:lnTo>
                      <a:pt x="129" y="428"/>
                    </a:lnTo>
                    <a:lnTo>
                      <a:pt x="127" y="428"/>
                    </a:lnTo>
                    <a:lnTo>
                      <a:pt x="125" y="428"/>
                    </a:lnTo>
                    <a:lnTo>
                      <a:pt x="125" y="427"/>
                    </a:lnTo>
                    <a:lnTo>
                      <a:pt x="124" y="427"/>
                    </a:lnTo>
                    <a:lnTo>
                      <a:pt x="122" y="427"/>
                    </a:lnTo>
                    <a:lnTo>
                      <a:pt x="122" y="425"/>
                    </a:lnTo>
                    <a:lnTo>
                      <a:pt x="120" y="425"/>
                    </a:lnTo>
                    <a:lnTo>
                      <a:pt x="119" y="425"/>
                    </a:lnTo>
                    <a:lnTo>
                      <a:pt x="120" y="423"/>
                    </a:lnTo>
                    <a:lnTo>
                      <a:pt x="119" y="423"/>
                    </a:lnTo>
                    <a:lnTo>
                      <a:pt x="119" y="422"/>
                    </a:lnTo>
                    <a:lnTo>
                      <a:pt x="117" y="422"/>
                    </a:lnTo>
                    <a:lnTo>
                      <a:pt x="117" y="420"/>
                    </a:lnTo>
                    <a:lnTo>
                      <a:pt x="117" y="418"/>
                    </a:lnTo>
                    <a:lnTo>
                      <a:pt x="115" y="416"/>
                    </a:lnTo>
                    <a:lnTo>
                      <a:pt x="114" y="416"/>
                    </a:lnTo>
                    <a:lnTo>
                      <a:pt x="114" y="418"/>
                    </a:lnTo>
                    <a:lnTo>
                      <a:pt x="112" y="418"/>
                    </a:lnTo>
                    <a:lnTo>
                      <a:pt x="112" y="416"/>
                    </a:lnTo>
                    <a:lnTo>
                      <a:pt x="110" y="416"/>
                    </a:lnTo>
                    <a:lnTo>
                      <a:pt x="108" y="416"/>
                    </a:lnTo>
                    <a:lnTo>
                      <a:pt x="108" y="415"/>
                    </a:lnTo>
                    <a:lnTo>
                      <a:pt x="107" y="415"/>
                    </a:lnTo>
                    <a:lnTo>
                      <a:pt x="105" y="415"/>
                    </a:lnTo>
                    <a:lnTo>
                      <a:pt x="105" y="413"/>
                    </a:lnTo>
                    <a:lnTo>
                      <a:pt x="103" y="413"/>
                    </a:lnTo>
                    <a:lnTo>
                      <a:pt x="103" y="411"/>
                    </a:lnTo>
                    <a:lnTo>
                      <a:pt x="102" y="411"/>
                    </a:lnTo>
                    <a:lnTo>
                      <a:pt x="102" y="410"/>
                    </a:lnTo>
                    <a:lnTo>
                      <a:pt x="100" y="410"/>
                    </a:lnTo>
                    <a:lnTo>
                      <a:pt x="98" y="408"/>
                    </a:lnTo>
                    <a:lnTo>
                      <a:pt x="98" y="406"/>
                    </a:lnTo>
                    <a:lnTo>
                      <a:pt x="97" y="406"/>
                    </a:lnTo>
                    <a:lnTo>
                      <a:pt x="97" y="405"/>
                    </a:lnTo>
                    <a:lnTo>
                      <a:pt x="95" y="405"/>
                    </a:lnTo>
                    <a:lnTo>
                      <a:pt x="95" y="403"/>
                    </a:lnTo>
                    <a:lnTo>
                      <a:pt x="93" y="403"/>
                    </a:lnTo>
                    <a:lnTo>
                      <a:pt x="91" y="401"/>
                    </a:lnTo>
                    <a:lnTo>
                      <a:pt x="93" y="401"/>
                    </a:lnTo>
                    <a:lnTo>
                      <a:pt x="91" y="401"/>
                    </a:lnTo>
                    <a:lnTo>
                      <a:pt x="93" y="401"/>
                    </a:lnTo>
                    <a:lnTo>
                      <a:pt x="93" y="399"/>
                    </a:lnTo>
                    <a:lnTo>
                      <a:pt x="95" y="399"/>
                    </a:lnTo>
                    <a:lnTo>
                      <a:pt x="95" y="398"/>
                    </a:lnTo>
                    <a:lnTo>
                      <a:pt x="97" y="398"/>
                    </a:lnTo>
                    <a:lnTo>
                      <a:pt x="97" y="396"/>
                    </a:lnTo>
                    <a:lnTo>
                      <a:pt x="98" y="396"/>
                    </a:lnTo>
                    <a:lnTo>
                      <a:pt x="98" y="394"/>
                    </a:lnTo>
                    <a:lnTo>
                      <a:pt x="98" y="396"/>
                    </a:lnTo>
                    <a:lnTo>
                      <a:pt x="100" y="396"/>
                    </a:lnTo>
                    <a:lnTo>
                      <a:pt x="102" y="396"/>
                    </a:lnTo>
                    <a:lnTo>
                      <a:pt x="102" y="398"/>
                    </a:lnTo>
                    <a:lnTo>
                      <a:pt x="102" y="396"/>
                    </a:lnTo>
                    <a:lnTo>
                      <a:pt x="103" y="398"/>
                    </a:lnTo>
                    <a:lnTo>
                      <a:pt x="103" y="396"/>
                    </a:lnTo>
                    <a:lnTo>
                      <a:pt x="103" y="398"/>
                    </a:lnTo>
                    <a:lnTo>
                      <a:pt x="103" y="396"/>
                    </a:lnTo>
                    <a:lnTo>
                      <a:pt x="105" y="396"/>
                    </a:lnTo>
                    <a:lnTo>
                      <a:pt x="107" y="396"/>
                    </a:lnTo>
                    <a:lnTo>
                      <a:pt x="105" y="396"/>
                    </a:lnTo>
                    <a:lnTo>
                      <a:pt x="107" y="398"/>
                    </a:lnTo>
                    <a:lnTo>
                      <a:pt x="107" y="396"/>
                    </a:lnTo>
                    <a:lnTo>
                      <a:pt x="108" y="396"/>
                    </a:lnTo>
                    <a:lnTo>
                      <a:pt x="108" y="394"/>
                    </a:lnTo>
                    <a:lnTo>
                      <a:pt x="108" y="393"/>
                    </a:lnTo>
                    <a:lnTo>
                      <a:pt x="107" y="393"/>
                    </a:lnTo>
                    <a:lnTo>
                      <a:pt x="107" y="391"/>
                    </a:lnTo>
                    <a:lnTo>
                      <a:pt x="105" y="391"/>
                    </a:lnTo>
                    <a:lnTo>
                      <a:pt x="107" y="391"/>
                    </a:lnTo>
                    <a:lnTo>
                      <a:pt x="105" y="389"/>
                    </a:lnTo>
                    <a:lnTo>
                      <a:pt x="103" y="391"/>
                    </a:lnTo>
                    <a:lnTo>
                      <a:pt x="103" y="389"/>
                    </a:lnTo>
                    <a:lnTo>
                      <a:pt x="103" y="388"/>
                    </a:lnTo>
                    <a:lnTo>
                      <a:pt x="103" y="386"/>
                    </a:lnTo>
                    <a:lnTo>
                      <a:pt x="102" y="386"/>
                    </a:lnTo>
                    <a:lnTo>
                      <a:pt x="102" y="384"/>
                    </a:lnTo>
                    <a:lnTo>
                      <a:pt x="102" y="382"/>
                    </a:lnTo>
                    <a:lnTo>
                      <a:pt x="103" y="382"/>
                    </a:lnTo>
                    <a:lnTo>
                      <a:pt x="103" y="381"/>
                    </a:lnTo>
                    <a:lnTo>
                      <a:pt x="105" y="381"/>
                    </a:lnTo>
                    <a:lnTo>
                      <a:pt x="103" y="381"/>
                    </a:lnTo>
                    <a:lnTo>
                      <a:pt x="103" y="379"/>
                    </a:lnTo>
                    <a:lnTo>
                      <a:pt x="105" y="379"/>
                    </a:lnTo>
                    <a:lnTo>
                      <a:pt x="105" y="377"/>
                    </a:lnTo>
                    <a:lnTo>
                      <a:pt x="105" y="376"/>
                    </a:lnTo>
                    <a:lnTo>
                      <a:pt x="107" y="376"/>
                    </a:lnTo>
                    <a:lnTo>
                      <a:pt x="107" y="374"/>
                    </a:lnTo>
                    <a:lnTo>
                      <a:pt x="108" y="374"/>
                    </a:lnTo>
                    <a:lnTo>
                      <a:pt x="107" y="374"/>
                    </a:lnTo>
                    <a:lnTo>
                      <a:pt x="108" y="374"/>
                    </a:lnTo>
                    <a:lnTo>
                      <a:pt x="107" y="374"/>
                    </a:lnTo>
                    <a:lnTo>
                      <a:pt x="108" y="372"/>
                    </a:lnTo>
                    <a:lnTo>
                      <a:pt x="110" y="374"/>
                    </a:lnTo>
                    <a:lnTo>
                      <a:pt x="110" y="372"/>
                    </a:lnTo>
                    <a:lnTo>
                      <a:pt x="108" y="372"/>
                    </a:lnTo>
                    <a:lnTo>
                      <a:pt x="110" y="371"/>
                    </a:lnTo>
                    <a:lnTo>
                      <a:pt x="112" y="372"/>
                    </a:lnTo>
                    <a:lnTo>
                      <a:pt x="112" y="371"/>
                    </a:lnTo>
                    <a:lnTo>
                      <a:pt x="110" y="371"/>
                    </a:lnTo>
                    <a:lnTo>
                      <a:pt x="110" y="369"/>
                    </a:lnTo>
                    <a:lnTo>
                      <a:pt x="112" y="369"/>
                    </a:lnTo>
                    <a:lnTo>
                      <a:pt x="112" y="371"/>
                    </a:lnTo>
                    <a:lnTo>
                      <a:pt x="114" y="371"/>
                    </a:lnTo>
                    <a:lnTo>
                      <a:pt x="114" y="372"/>
                    </a:lnTo>
                    <a:lnTo>
                      <a:pt x="114" y="371"/>
                    </a:lnTo>
                    <a:lnTo>
                      <a:pt x="115" y="371"/>
                    </a:lnTo>
                    <a:lnTo>
                      <a:pt x="114" y="371"/>
                    </a:lnTo>
                    <a:lnTo>
                      <a:pt x="114" y="369"/>
                    </a:lnTo>
                    <a:lnTo>
                      <a:pt x="114" y="367"/>
                    </a:lnTo>
                    <a:lnTo>
                      <a:pt x="115" y="367"/>
                    </a:lnTo>
                    <a:lnTo>
                      <a:pt x="115" y="369"/>
                    </a:lnTo>
                    <a:lnTo>
                      <a:pt x="115" y="371"/>
                    </a:lnTo>
                    <a:lnTo>
                      <a:pt x="117" y="371"/>
                    </a:lnTo>
                    <a:lnTo>
                      <a:pt x="115" y="369"/>
                    </a:lnTo>
                    <a:lnTo>
                      <a:pt x="117" y="371"/>
                    </a:lnTo>
                    <a:lnTo>
                      <a:pt x="119" y="372"/>
                    </a:lnTo>
                    <a:lnTo>
                      <a:pt x="119" y="371"/>
                    </a:lnTo>
                    <a:lnTo>
                      <a:pt x="117" y="371"/>
                    </a:lnTo>
                    <a:lnTo>
                      <a:pt x="117" y="369"/>
                    </a:lnTo>
                    <a:lnTo>
                      <a:pt x="115" y="367"/>
                    </a:lnTo>
                    <a:lnTo>
                      <a:pt x="117" y="367"/>
                    </a:lnTo>
                    <a:lnTo>
                      <a:pt x="119" y="367"/>
                    </a:lnTo>
                    <a:lnTo>
                      <a:pt x="119" y="369"/>
                    </a:lnTo>
                    <a:lnTo>
                      <a:pt x="120" y="369"/>
                    </a:lnTo>
                    <a:lnTo>
                      <a:pt x="120" y="367"/>
                    </a:lnTo>
                    <a:lnTo>
                      <a:pt x="119" y="367"/>
                    </a:lnTo>
                    <a:lnTo>
                      <a:pt x="120" y="367"/>
                    </a:lnTo>
                    <a:lnTo>
                      <a:pt x="120" y="365"/>
                    </a:lnTo>
                    <a:lnTo>
                      <a:pt x="122" y="365"/>
                    </a:lnTo>
                    <a:lnTo>
                      <a:pt x="122" y="367"/>
                    </a:lnTo>
                    <a:lnTo>
                      <a:pt x="120" y="367"/>
                    </a:lnTo>
                    <a:lnTo>
                      <a:pt x="120" y="369"/>
                    </a:lnTo>
                    <a:lnTo>
                      <a:pt x="120" y="371"/>
                    </a:lnTo>
                    <a:lnTo>
                      <a:pt x="122" y="371"/>
                    </a:lnTo>
                    <a:lnTo>
                      <a:pt x="122" y="369"/>
                    </a:lnTo>
                    <a:lnTo>
                      <a:pt x="122" y="367"/>
                    </a:lnTo>
                    <a:lnTo>
                      <a:pt x="122" y="369"/>
                    </a:lnTo>
                    <a:lnTo>
                      <a:pt x="124" y="369"/>
                    </a:lnTo>
                    <a:lnTo>
                      <a:pt x="122" y="369"/>
                    </a:lnTo>
                    <a:lnTo>
                      <a:pt x="122" y="367"/>
                    </a:lnTo>
                    <a:lnTo>
                      <a:pt x="124" y="367"/>
                    </a:lnTo>
                    <a:lnTo>
                      <a:pt x="124" y="369"/>
                    </a:lnTo>
                    <a:lnTo>
                      <a:pt x="125" y="367"/>
                    </a:lnTo>
                    <a:lnTo>
                      <a:pt x="127" y="367"/>
                    </a:lnTo>
                    <a:lnTo>
                      <a:pt x="129" y="369"/>
                    </a:lnTo>
                    <a:lnTo>
                      <a:pt x="129" y="367"/>
                    </a:lnTo>
                    <a:lnTo>
                      <a:pt x="129" y="369"/>
                    </a:lnTo>
                    <a:lnTo>
                      <a:pt x="129" y="367"/>
                    </a:lnTo>
                    <a:lnTo>
                      <a:pt x="129" y="365"/>
                    </a:lnTo>
                    <a:lnTo>
                      <a:pt x="131" y="365"/>
                    </a:lnTo>
                    <a:lnTo>
                      <a:pt x="131" y="367"/>
                    </a:lnTo>
                    <a:lnTo>
                      <a:pt x="131" y="365"/>
                    </a:lnTo>
                    <a:lnTo>
                      <a:pt x="132" y="365"/>
                    </a:lnTo>
                    <a:lnTo>
                      <a:pt x="132" y="367"/>
                    </a:lnTo>
                    <a:lnTo>
                      <a:pt x="134" y="367"/>
                    </a:lnTo>
                    <a:lnTo>
                      <a:pt x="134" y="365"/>
                    </a:lnTo>
                    <a:lnTo>
                      <a:pt x="132" y="365"/>
                    </a:lnTo>
                    <a:lnTo>
                      <a:pt x="132" y="364"/>
                    </a:lnTo>
                    <a:lnTo>
                      <a:pt x="134" y="364"/>
                    </a:lnTo>
                    <a:lnTo>
                      <a:pt x="136" y="364"/>
                    </a:lnTo>
                    <a:lnTo>
                      <a:pt x="136" y="362"/>
                    </a:lnTo>
                    <a:lnTo>
                      <a:pt x="136" y="364"/>
                    </a:lnTo>
                    <a:lnTo>
                      <a:pt x="136" y="362"/>
                    </a:lnTo>
                    <a:lnTo>
                      <a:pt x="134" y="362"/>
                    </a:lnTo>
                    <a:lnTo>
                      <a:pt x="136" y="362"/>
                    </a:lnTo>
                    <a:lnTo>
                      <a:pt x="136" y="360"/>
                    </a:lnTo>
                    <a:lnTo>
                      <a:pt x="137" y="360"/>
                    </a:lnTo>
                    <a:lnTo>
                      <a:pt x="137" y="359"/>
                    </a:lnTo>
                    <a:lnTo>
                      <a:pt x="136" y="359"/>
                    </a:lnTo>
                    <a:lnTo>
                      <a:pt x="137" y="359"/>
                    </a:lnTo>
                    <a:lnTo>
                      <a:pt x="137" y="357"/>
                    </a:lnTo>
                    <a:lnTo>
                      <a:pt x="137" y="359"/>
                    </a:lnTo>
                    <a:lnTo>
                      <a:pt x="137" y="357"/>
                    </a:lnTo>
                    <a:lnTo>
                      <a:pt x="137" y="355"/>
                    </a:lnTo>
                    <a:lnTo>
                      <a:pt x="136" y="357"/>
                    </a:lnTo>
                    <a:lnTo>
                      <a:pt x="137" y="355"/>
                    </a:lnTo>
                    <a:lnTo>
                      <a:pt x="137" y="354"/>
                    </a:lnTo>
                    <a:lnTo>
                      <a:pt x="137" y="355"/>
                    </a:lnTo>
                    <a:lnTo>
                      <a:pt x="137" y="354"/>
                    </a:lnTo>
                    <a:lnTo>
                      <a:pt x="139" y="354"/>
                    </a:lnTo>
                    <a:lnTo>
                      <a:pt x="139" y="352"/>
                    </a:lnTo>
                    <a:lnTo>
                      <a:pt x="141" y="350"/>
                    </a:lnTo>
                    <a:lnTo>
                      <a:pt x="141" y="352"/>
                    </a:lnTo>
                    <a:lnTo>
                      <a:pt x="141" y="350"/>
                    </a:lnTo>
                    <a:lnTo>
                      <a:pt x="141" y="348"/>
                    </a:lnTo>
                    <a:lnTo>
                      <a:pt x="142" y="348"/>
                    </a:lnTo>
                    <a:lnTo>
                      <a:pt x="144" y="348"/>
                    </a:lnTo>
                    <a:lnTo>
                      <a:pt x="142" y="348"/>
                    </a:lnTo>
                    <a:lnTo>
                      <a:pt x="144" y="348"/>
                    </a:lnTo>
                    <a:lnTo>
                      <a:pt x="142" y="348"/>
                    </a:lnTo>
                    <a:lnTo>
                      <a:pt x="142" y="347"/>
                    </a:lnTo>
                    <a:lnTo>
                      <a:pt x="142" y="348"/>
                    </a:lnTo>
                    <a:lnTo>
                      <a:pt x="141" y="347"/>
                    </a:lnTo>
                    <a:lnTo>
                      <a:pt x="142" y="347"/>
                    </a:lnTo>
                    <a:lnTo>
                      <a:pt x="142" y="345"/>
                    </a:lnTo>
                    <a:lnTo>
                      <a:pt x="144" y="345"/>
                    </a:lnTo>
                    <a:lnTo>
                      <a:pt x="144" y="343"/>
                    </a:lnTo>
                    <a:lnTo>
                      <a:pt x="146" y="343"/>
                    </a:lnTo>
                    <a:lnTo>
                      <a:pt x="146" y="342"/>
                    </a:lnTo>
                    <a:lnTo>
                      <a:pt x="148" y="342"/>
                    </a:lnTo>
                    <a:lnTo>
                      <a:pt x="148" y="340"/>
                    </a:lnTo>
                    <a:lnTo>
                      <a:pt x="148" y="342"/>
                    </a:lnTo>
                    <a:lnTo>
                      <a:pt x="149" y="342"/>
                    </a:lnTo>
                    <a:lnTo>
                      <a:pt x="149" y="340"/>
                    </a:lnTo>
                    <a:lnTo>
                      <a:pt x="148" y="340"/>
                    </a:lnTo>
                    <a:lnTo>
                      <a:pt x="148" y="338"/>
                    </a:lnTo>
                    <a:lnTo>
                      <a:pt x="149" y="338"/>
                    </a:lnTo>
                    <a:lnTo>
                      <a:pt x="151" y="338"/>
                    </a:lnTo>
                    <a:lnTo>
                      <a:pt x="149" y="338"/>
                    </a:lnTo>
                    <a:lnTo>
                      <a:pt x="151" y="338"/>
                    </a:lnTo>
                    <a:lnTo>
                      <a:pt x="149" y="338"/>
                    </a:lnTo>
                    <a:lnTo>
                      <a:pt x="149" y="337"/>
                    </a:lnTo>
                    <a:lnTo>
                      <a:pt x="151" y="337"/>
                    </a:lnTo>
                    <a:lnTo>
                      <a:pt x="153" y="337"/>
                    </a:lnTo>
                    <a:lnTo>
                      <a:pt x="153" y="335"/>
                    </a:lnTo>
                    <a:lnTo>
                      <a:pt x="154" y="333"/>
                    </a:lnTo>
                    <a:lnTo>
                      <a:pt x="154" y="331"/>
                    </a:lnTo>
                    <a:lnTo>
                      <a:pt x="153" y="331"/>
                    </a:lnTo>
                    <a:lnTo>
                      <a:pt x="153" y="330"/>
                    </a:lnTo>
                    <a:lnTo>
                      <a:pt x="154" y="330"/>
                    </a:lnTo>
                    <a:lnTo>
                      <a:pt x="156" y="330"/>
                    </a:lnTo>
                    <a:lnTo>
                      <a:pt x="154" y="330"/>
                    </a:lnTo>
                    <a:lnTo>
                      <a:pt x="156" y="328"/>
                    </a:lnTo>
                    <a:lnTo>
                      <a:pt x="154" y="328"/>
                    </a:lnTo>
                    <a:lnTo>
                      <a:pt x="156" y="328"/>
                    </a:lnTo>
                    <a:lnTo>
                      <a:pt x="156" y="326"/>
                    </a:lnTo>
                    <a:lnTo>
                      <a:pt x="158" y="326"/>
                    </a:lnTo>
                    <a:lnTo>
                      <a:pt x="158" y="325"/>
                    </a:lnTo>
                    <a:lnTo>
                      <a:pt x="159" y="326"/>
                    </a:lnTo>
                    <a:lnTo>
                      <a:pt x="158" y="325"/>
                    </a:lnTo>
                    <a:lnTo>
                      <a:pt x="156" y="325"/>
                    </a:lnTo>
                    <a:lnTo>
                      <a:pt x="156" y="326"/>
                    </a:lnTo>
                    <a:lnTo>
                      <a:pt x="154" y="326"/>
                    </a:lnTo>
                    <a:lnTo>
                      <a:pt x="154" y="328"/>
                    </a:lnTo>
                    <a:lnTo>
                      <a:pt x="153" y="326"/>
                    </a:lnTo>
                    <a:lnTo>
                      <a:pt x="153" y="328"/>
                    </a:lnTo>
                    <a:lnTo>
                      <a:pt x="151" y="328"/>
                    </a:lnTo>
                    <a:lnTo>
                      <a:pt x="151" y="326"/>
                    </a:lnTo>
                    <a:lnTo>
                      <a:pt x="149" y="326"/>
                    </a:lnTo>
                    <a:lnTo>
                      <a:pt x="151" y="326"/>
                    </a:lnTo>
                    <a:lnTo>
                      <a:pt x="151" y="325"/>
                    </a:lnTo>
                    <a:lnTo>
                      <a:pt x="149" y="325"/>
                    </a:lnTo>
                    <a:lnTo>
                      <a:pt x="149" y="323"/>
                    </a:lnTo>
                    <a:lnTo>
                      <a:pt x="151" y="323"/>
                    </a:lnTo>
                    <a:lnTo>
                      <a:pt x="153" y="323"/>
                    </a:lnTo>
                    <a:lnTo>
                      <a:pt x="151" y="321"/>
                    </a:lnTo>
                    <a:lnTo>
                      <a:pt x="153" y="323"/>
                    </a:lnTo>
                    <a:lnTo>
                      <a:pt x="153" y="321"/>
                    </a:lnTo>
                    <a:lnTo>
                      <a:pt x="153" y="320"/>
                    </a:lnTo>
                    <a:lnTo>
                      <a:pt x="154" y="320"/>
                    </a:lnTo>
                    <a:lnTo>
                      <a:pt x="153" y="320"/>
                    </a:lnTo>
                    <a:lnTo>
                      <a:pt x="151" y="320"/>
                    </a:lnTo>
                    <a:lnTo>
                      <a:pt x="149" y="320"/>
                    </a:lnTo>
                    <a:lnTo>
                      <a:pt x="149" y="321"/>
                    </a:lnTo>
                    <a:lnTo>
                      <a:pt x="149" y="323"/>
                    </a:lnTo>
                    <a:lnTo>
                      <a:pt x="148" y="325"/>
                    </a:lnTo>
                    <a:lnTo>
                      <a:pt x="148" y="323"/>
                    </a:lnTo>
                    <a:lnTo>
                      <a:pt x="148" y="321"/>
                    </a:lnTo>
                    <a:lnTo>
                      <a:pt x="146" y="323"/>
                    </a:lnTo>
                    <a:lnTo>
                      <a:pt x="146" y="321"/>
                    </a:lnTo>
                    <a:lnTo>
                      <a:pt x="146" y="320"/>
                    </a:lnTo>
                    <a:lnTo>
                      <a:pt x="144" y="320"/>
                    </a:lnTo>
                    <a:lnTo>
                      <a:pt x="142" y="318"/>
                    </a:lnTo>
                    <a:lnTo>
                      <a:pt x="144" y="318"/>
                    </a:lnTo>
                    <a:lnTo>
                      <a:pt x="144" y="316"/>
                    </a:lnTo>
                    <a:lnTo>
                      <a:pt x="146" y="316"/>
                    </a:lnTo>
                    <a:lnTo>
                      <a:pt x="144" y="316"/>
                    </a:lnTo>
                    <a:lnTo>
                      <a:pt x="142" y="316"/>
                    </a:lnTo>
                    <a:lnTo>
                      <a:pt x="142" y="318"/>
                    </a:lnTo>
                    <a:lnTo>
                      <a:pt x="142" y="316"/>
                    </a:lnTo>
                    <a:lnTo>
                      <a:pt x="142" y="314"/>
                    </a:lnTo>
                    <a:lnTo>
                      <a:pt x="142" y="313"/>
                    </a:lnTo>
                    <a:lnTo>
                      <a:pt x="142" y="311"/>
                    </a:lnTo>
                    <a:lnTo>
                      <a:pt x="144" y="311"/>
                    </a:lnTo>
                    <a:lnTo>
                      <a:pt x="142" y="311"/>
                    </a:lnTo>
                    <a:lnTo>
                      <a:pt x="144" y="313"/>
                    </a:lnTo>
                    <a:lnTo>
                      <a:pt x="142" y="313"/>
                    </a:lnTo>
                    <a:lnTo>
                      <a:pt x="144" y="313"/>
                    </a:lnTo>
                    <a:lnTo>
                      <a:pt x="146" y="313"/>
                    </a:lnTo>
                    <a:lnTo>
                      <a:pt x="146" y="311"/>
                    </a:lnTo>
                    <a:lnTo>
                      <a:pt x="146" y="309"/>
                    </a:lnTo>
                    <a:lnTo>
                      <a:pt x="148" y="309"/>
                    </a:lnTo>
                    <a:lnTo>
                      <a:pt x="148" y="308"/>
                    </a:lnTo>
                    <a:lnTo>
                      <a:pt x="148" y="306"/>
                    </a:lnTo>
                    <a:lnTo>
                      <a:pt x="149" y="304"/>
                    </a:lnTo>
                    <a:lnTo>
                      <a:pt x="149" y="303"/>
                    </a:lnTo>
                    <a:lnTo>
                      <a:pt x="149" y="301"/>
                    </a:lnTo>
                    <a:lnTo>
                      <a:pt x="149" y="299"/>
                    </a:lnTo>
                    <a:lnTo>
                      <a:pt x="149" y="297"/>
                    </a:lnTo>
                    <a:lnTo>
                      <a:pt x="149" y="296"/>
                    </a:lnTo>
                    <a:lnTo>
                      <a:pt x="149" y="297"/>
                    </a:lnTo>
                    <a:lnTo>
                      <a:pt x="151" y="297"/>
                    </a:lnTo>
                    <a:lnTo>
                      <a:pt x="149" y="296"/>
                    </a:lnTo>
                    <a:lnTo>
                      <a:pt x="148" y="296"/>
                    </a:lnTo>
                    <a:lnTo>
                      <a:pt x="149" y="294"/>
                    </a:lnTo>
                    <a:lnTo>
                      <a:pt x="148" y="294"/>
                    </a:lnTo>
                    <a:lnTo>
                      <a:pt x="148" y="292"/>
                    </a:lnTo>
                    <a:lnTo>
                      <a:pt x="148" y="291"/>
                    </a:lnTo>
                    <a:lnTo>
                      <a:pt x="148" y="289"/>
                    </a:lnTo>
                    <a:lnTo>
                      <a:pt x="148" y="287"/>
                    </a:lnTo>
                    <a:lnTo>
                      <a:pt x="148" y="285"/>
                    </a:lnTo>
                    <a:lnTo>
                      <a:pt x="148" y="284"/>
                    </a:lnTo>
                    <a:lnTo>
                      <a:pt x="148" y="282"/>
                    </a:lnTo>
                    <a:lnTo>
                      <a:pt x="148" y="284"/>
                    </a:lnTo>
                    <a:lnTo>
                      <a:pt x="148" y="282"/>
                    </a:lnTo>
                    <a:lnTo>
                      <a:pt x="146" y="282"/>
                    </a:lnTo>
                    <a:lnTo>
                      <a:pt x="148" y="280"/>
                    </a:lnTo>
                    <a:lnTo>
                      <a:pt x="148" y="279"/>
                    </a:lnTo>
                    <a:lnTo>
                      <a:pt x="148" y="277"/>
                    </a:lnTo>
                    <a:lnTo>
                      <a:pt x="146" y="277"/>
                    </a:lnTo>
                    <a:lnTo>
                      <a:pt x="148" y="275"/>
                    </a:lnTo>
                    <a:lnTo>
                      <a:pt x="146" y="275"/>
                    </a:lnTo>
                    <a:lnTo>
                      <a:pt x="146" y="274"/>
                    </a:lnTo>
                    <a:lnTo>
                      <a:pt x="146" y="272"/>
                    </a:lnTo>
                    <a:lnTo>
                      <a:pt x="144" y="272"/>
                    </a:lnTo>
                    <a:lnTo>
                      <a:pt x="142" y="272"/>
                    </a:lnTo>
                    <a:lnTo>
                      <a:pt x="142" y="270"/>
                    </a:lnTo>
                    <a:lnTo>
                      <a:pt x="142" y="268"/>
                    </a:lnTo>
                    <a:lnTo>
                      <a:pt x="144" y="267"/>
                    </a:lnTo>
                    <a:lnTo>
                      <a:pt x="146" y="267"/>
                    </a:lnTo>
                    <a:lnTo>
                      <a:pt x="148" y="267"/>
                    </a:lnTo>
                    <a:lnTo>
                      <a:pt x="149" y="267"/>
                    </a:lnTo>
                    <a:lnTo>
                      <a:pt x="149" y="265"/>
                    </a:lnTo>
                    <a:lnTo>
                      <a:pt x="151" y="265"/>
                    </a:lnTo>
                    <a:lnTo>
                      <a:pt x="151" y="263"/>
                    </a:lnTo>
                    <a:lnTo>
                      <a:pt x="151" y="262"/>
                    </a:lnTo>
                    <a:lnTo>
                      <a:pt x="153" y="262"/>
                    </a:lnTo>
                    <a:lnTo>
                      <a:pt x="151" y="262"/>
                    </a:lnTo>
                    <a:lnTo>
                      <a:pt x="151" y="260"/>
                    </a:lnTo>
                    <a:lnTo>
                      <a:pt x="151" y="258"/>
                    </a:lnTo>
                    <a:lnTo>
                      <a:pt x="151" y="260"/>
                    </a:lnTo>
                    <a:lnTo>
                      <a:pt x="149" y="258"/>
                    </a:lnTo>
                    <a:lnTo>
                      <a:pt x="149" y="257"/>
                    </a:lnTo>
                    <a:lnTo>
                      <a:pt x="149" y="255"/>
                    </a:lnTo>
                    <a:lnTo>
                      <a:pt x="149" y="253"/>
                    </a:lnTo>
                    <a:lnTo>
                      <a:pt x="148" y="253"/>
                    </a:lnTo>
                    <a:lnTo>
                      <a:pt x="148" y="251"/>
                    </a:lnTo>
                    <a:lnTo>
                      <a:pt x="148" y="253"/>
                    </a:lnTo>
                    <a:lnTo>
                      <a:pt x="148" y="251"/>
                    </a:lnTo>
                    <a:lnTo>
                      <a:pt x="146" y="251"/>
                    </a:lnTo>
                    <a:lnTo>
                      <a:pt x="146" y="250"/>
                    </a:lnTo>
                    <a:lnTo>
                      <a:pt x="144" y="250"/>
                    </a:lnTo>
                    <a:lnTo>
                      <a:pt x="144" y="248"/>
                    </a:lnTo>
                    <a:lnTo>
                      <a:pt x="144" y="246"/>
                    </a:lnTo>
                    <a:lnTo>
                      <a:pt x="144" y="245"/>
                    </a:lnTo>
                    <a:lnTo>
                      <a:pt x="144" y="243"/>
                    </a:lnTo>
                    <a:lnTo>
                      <a:pt x="144" y="245"/>
                    </a:lnTo>
                    <a:lnTo>
                      <a:pt x="146" y="245"/>
                    </a:lnTo>
                    <a:lnTo>
                      <a:pt x="146" y="246"/>
                    </a:lnTo>
                    <a:lnTo>
                      <a:pt x="146" y="245"/>
                    </a:lnTo>
                    <a:lnTo>
                      <a:pt x="148" y="245"/>
                    </a:lnTo>
                    <a:lnTo>
                      <a:pt x="148" y="243"/>
                    </a:lnTo>
                    <a:lnTo>
                      <a:pt x="148" y="241"/>
                    </a:lnTo>
                    <a:lnTo>
                      <a:pt x="146" y="241"/>
                    </a:lnTo>
                    <a:lnTo>
                      <a:pt x="148" y="240"/>
                    </a:lnTo>
                    <a:lnTo>
                      <a:pt x="148" y="241"/>
                    </a:lnTo>
                    <a:lnTo>
                      <a:pt x="148" y="240"/>
                    </a:lnTo>
                    <a:lnTo>
                      <a:pt x="148" y="238"/>
                    </a:lnTo>
                    <a:lnTo>
                      <a:pt x="148" y="236"/>
                    </a:lnTo>
                    <a:lnTo>
                      <a:pt x="149" y="236"/>
                    </a:lnTo>
                    <a:lnTo>
                      <a:pt x="149" y="234"/>
                    </a:lnTo>
                    <a:lnTo>
                      <a:pt x="148" y="234"/>
                    </a:lnTo>
                    <a:lnTo>
                      <a:pt x="148" y="233"/>
                    </a:lnTo>
                    <a:lnTo>
                      <a:pt x="146" y="233"/>
                    </a:lnTo>
                    <a:lnTo>
                      <a:pt x="146" y="231"/>
                    </a:lnTo>
                    <a:lnTo>
                      <a:pt x="146" y="229"/>
                    </a:lnTo>
                    <a:lnTo>
                      <a:pt x="144" y="229"/>
                    </a:lnTo>
                    <a:lnTo>
                      <a:pt x="142" y="231"/>
                    </a:lnTo>
                    <a:lnTo>
                      <a:pt x="142" y="229"/>
                    </a:lnTo>
                    <a:lnTo>
                      <a:pt x="141" y="229"/>
                    </a:lnTo>
                    <a:lnTo>
                      <a:pt x="141" y="228"/>
                    </a:lnTo>
                    <a:lnTo>
                      <a:pt x="141" y="226"/>
                    </a:lnTo>
                    <a:lnTo>
                      <a:pt x="139" y="226"/>
                    </a:lnTo>
                    <a:lnTo>
                      <a:pt x="139" y="224"/>
                    </a:lnTo>
                    <a:lnTo>
                      <a:pt x="137" y="224"/>
                    </a:lnTo>
                    <a:lnTo>
                      <a:pt x="137" y="226"/>
                    </a:lnTo>
                    <a:lnTo>
                      <a:pt x="136" y="226"/>
                    </a:lnTo>
                    <a:lnTo>
                      <a:pt x="136" y="224"/>
                    </a:lnTo>
                    <a:lnTo>
                      <a:pt x="136" y="223"/>
                    </a:lnTo>
                    <a:lnTo>
                      <a:pt x="137" y="223"/>
                    </a:lnTo>
                    <a:lnTo>
                      <a:pt x="136" y="223"/>
                    </a:lnTo>
                    <a:lnTo>
                      <a:pt x="137" y="221"/>
                    </a:lnTo>
                    <a:lnTo>
                      <a:pt x="137" y="219"/>
                    </a:lnTo>
                    <a:lnTo>
                      <a:pt x="136" y="217"/>
                    </a:lnTo>
                    <a:lnTo>
                      <a:pt x="134" y="217"/>
                    </a:lnTo>
                    <a:lnTo>
                      <a:pt x="134" y="216"/>
                    </a:lnTo>
                    <a:lnTo>
                      <a:pt x="134" y="214"/>
                    </a:lnTo>
                    <a:lnTo>
                      <a:pt x="132" y="216"/>
                    </a:lnTo>
                    <a:lnTo>
                      <a:pt x="132" y="214"/>
                    </a:lnTo>
                    <a:lnTo>
                      <a:pt x="131" y="214"/>
                    </a:lnTo>
                    <a:lnTo>
                      <a:pt x="131" y="212"/>
                    </a:lnTo>
                    <a:lnTo>
                      <a:pt x="131" y="209"/>
                    </a:lnTo>
                    <a:lnTo>
                      <a:pt x="131" y="207"/>
                    </a:lnTo>
                    <a:lnTo>
                      <a:pt x="132" y="204"/>
                    </a:lnTo>
                    <a:lnTo>
                      <a:pt x="134" y="204"/>
                    </a:lnTo>
                    <a:lnTo>
                      <a:pt x="136" y="204"/>
                    </a:lnTo>
                    <a:lnTo>
                      <a:pt x="136" y="202"/>
                    </a:lnTo>
                    <a:lnTo>
                      <a:pt x="136" y="200"/>
                    </a:lnTo>
                    <a:lnTo>
                      <a:pt x="136" y="199"/>
                    </a:lnTo>
                    <a:lnTo>
                      <a:pt x="134" y="199"/>
                    </a:lnTo>
                    <a:lnTo>
                      <a:pt x="136" y="199"/>
                    </a:lnTo>
                    <a:lnTo>
                      <a:pt x="134" y="197"/>
                    </a:lnTo>
                    <a:lnTo>
                      <a:pt x="136" y="197"/>
                    </a:lnTo>
                    <a:lnTo>
                      <a:pt x="136" y="195"/>
                    </a:lnTo>
                    <a:lnTo>
                      <a:pt x="136" y="197"/>
                    </a:lnTo>
                    <a:lnTo>
                      <a:pt x="137" y="197"/>
                    </a:lnTo>
                    <a:lnTo>
                      <a:pt x="139" y="199"/>
                    </a:lnTo>
                    <a:lnTo>
                      <a:pt x="139" y="200"/>
                    </a:lnTo>
                    <a:lnTo>
                      <a:pt x="139" y="202"/>
                    </a:lnTo>
                    <a:lnTo>
                      <a:pt x="141" y="202"/>
                    </a:lnTo>
                    <a:lnTo>
                      <a:pt x="142" y="202"/>
                    </a:lnTo>
                    <a:lnTo>
                      <a:pt x="142" y="200"/>
                    </a:lnTo>
                    <a:lnTo>
                      <a:pt x="144" y="200"/>
                    </a:lnTo>
                    <a:lnTo>
                      <a:pt x="144" y="199"/>
                    </a:lnTo>
                    <a:lnTo>
                      <a:pt x="144" y="197"/>
                    </a:lnTo>
                    <a:lnTo>
                      <a:pt x="146" y="197"/>
                    </a:lnTo>
                    <a:lnTo>
                      <a:pt x="146" y="195"/>
                    </a:lnTo>
                    <a:lnTo>
                      <a:pt x="146" y="194"/>
                    </a:lnTo>
                    <a:lnTo>
                      <a:pt x="148" y="194"/>
                    </a:lnTo>
                    <a:lnTo>
                      <a:pt x="146" y="194"/>
                    </a:lnTo>
                    <a:lnTo>
                      <a:pt x="148" y="194"/>
                    </a:lnTo>
                    <a:lnTo>
                      <a:pt x="149" y="194"/>
                    </a:lnTo>
                    <a:lnTo>
                      <a:pt x="148" y="192"/>
                    </a:lnTo>
                    <a:lnTo>
                      <a:pt x="148" y="190"/>
                    </a:lnTo>
                    <a:lnTo>
                      <a:pt x="149" y="190"/>
                    </a:lnTo>
                    <a:lnTo>
                      <a:pt x="149" y="189"/>
                    </a:lnTo>
                    <a:lnTo>
                      <a:pt x="151" y="189"/>
                    </a:lnTo>
                    <a:lnTo>
                      <a:pt x="153" y="189"/>
                    </a:lnTo>
                    <a:lnTo>
                      <a:pt x="154" y="189"/>
                    </a:lnTo>
                    <a:lnTo>
                      <a:pt x="154" y="187"/>
                    </a:lnTo>
                    <a:lnTo>
                      <a:pt x="156" y="187"/>
                    </a:lnTo>
                    <a:lnTo>
                      <a:pt x="154" y="187"/>
                    </a:lnTo>
                    <a:lnTo>
                      <a:pt x="153" y="185"/>
                    </a:lnTo>
                    <a:lnTo>
                      <a:pt x="153" y="183"/>
                    </a:lnTo>
                    <a:lnTo>
                      <a:pt x="153" y="182"/>
                    </a:lnTo>
                    <a:lnTo>
                      <a:pt x="151" y="180"/>
                    </a:lnTo>
                    <a:lnTo>
                      <a:pt x="151" y="178"/>
                    </a:lnTo>
                    <a:lnTo>
                      <a:pt x="151" y="177"/>
                    </a:lnTo>
                    <a:lnTo>
                      <a:pt x="149" y="177"/>
                    </a:lnTo>
                    <a:lnTo>
                      <a:pt x="148" y="175"/>
                    </a:lnTo>
                    <a:lnTo>
                      <a:pt x="148" y="173"/>
                    </a:lnTo>
                    <a:lnTo>
                      <a:pt x="148" y="172"/>
                    </a:lnTo>
                    <a:lnTo>
                      <a:pt x="146" y="170"/>
                    </a:lnTo>
                    <a:lnTo>
                      <a:pt x="144" y="170"/>
                    </a:lnTo>
                    <a:lnTo>
                      <a:pt x="144" y="168"/>
                    </a:lnTo>
                    <a:lnTo>
                      <a:pt x="146" y="168"/>
                    </a:lnTo>
                    <a:lnTo>
                      <a:pt x="146" y="166"/>
                    </a:lnTo>
                    <a:lnTo>
                      <a:pt x="144" y="166"/>
                    </a:lnTo>
                    <a:lnTo>
                      <a:pt x="146" y="166"/>
                    </a:lnTo>
                    <a:lnTo>
                      <a:pt x="146" y="165"/>
                    </a:lnTo>
                    <a:lnTo>
                      <a:pt x="146" y="163"/>
                    </a:lnTo>
                    <a:lnTo>
                      <a:pt x="148" y="163"/>
                    </a:lnTo>
                    <a:lnTo>
                      <a:pt x="148" y="165"/>
                    </a:lnTo>
                    <a:lnTo>
                      <a:pt x="148" y="163"/>
                    </a:lnTo>
                    <a:lnTo>
                      <a:pt x="149" y="165"/>
                    </a:lnTo>
                    <a:lnTo>
                      <a:pt x="149" y="166"/>
                    </a:lnTo>
                    <a:lnTo>
                      <a:pt x="151" y="166"/>
                    </a:lnTo>
                    <a:lnTo>
                      <a:pt x="151" y="168"/>
                    </a:lnTo>
                    <a:lnTo>
                      <a:pt x="151" y="170"/>
                    </a:lnTo>
                    <a:lnTo>
                      <a:pt x="153" y="170"/>
                    </a:lnTo>
                    <a:lnTo>
                      <a:pt x="154" y="172"/>
                    </a:lnTo>
                    <a:lnTo>
                      <a:pt x="156" y="172"/>
                    </a:lnTo>
                    <a:lnTo>
                      <a:pt x="156" y="173"/>
                    </a:lnTo>
                    <a:lnTo>
                      <a:pt x="158" y="175"/>
                    </a:lnTo>
                    <a:lnTo>
                      <a:pt x="158" y="177"/>
                    </a:lnTo>
                    <a:lnTo>
                      <a:pt x="159" y="177"/>
                    </a:lnTo>
                    <a:lnTo>
                      <a:pt x="161" y="177"/>
                    </a:lnTo>
                    <a:lnTo>
                      <a:pt x="161" y="178"/>
                    </a:lnTo>
                    <a:lnTo>
                      <a:pt x="161" y="180"/>
                    </a:lnTo>
                    <a:lnTo>
                      <a:pt x="163" y="180"/>
                    </a:lnTo>
                    <a:lnTo>
                      <a:pt x="163" y="178"/>
                    </a:lnTo>
                    <a:lnTo>
                      <a:pt x="161" y="178"/>
                    </a:lnTo>
                    <a:lnTo>
                      <a:pt x="163" y="178"/>
                    </a:lnTo>
                    <a:lnTo>
                      <a:pt x="163" y="180"/>
                    </a:lnTo>
                    <a:lnTo>
                      <a:pt x="163" y="178"/>
                    </a:lnTo>
                    <a:lnTo>
                      <a:pt x="163" y="180"/>
                    </a:lnTo>
                    <a:lnTo>
                      <a:pt x="161" y="180"/>
                    </a:lnTo>
                    <a:lnTo>
                      <a:pt x="161" y="182"/>
                    </a:lnTo>
                    <a:lnTo>
                      <a:pt x="163" y="182"/>
                    </a:lnTo>
                    <a:lnTo>
                      <a:pt x="163" y="183"/>
                    </a:lnTo>
                    <a:lnTo>
                      <a:pt x="163" y="182"/>
                    </a:lnTo>
                    <a:lnTo>
                      <a:pt x="165" y="182"/>
                    </a:lnTo>
                    <a:lnTo>
                      <a:pt x="163" y="182"/>
                    </a:lnTo>
                    <a:lnTo>
                      <a:pt x="165" y="182"/>
                    </a:lnTo>
                    <a:lnTo>
                      <a:pt x="166" y="182"/>
                    </a:lnTo>
                    <a:lnTo>
                      <a:pt x="165" y="182"/>
                    </a:lnTo>
                    <a:lnTo>
                      <a:pt x="165" y="183"/>
                    </a:lnTo>
                    <a:lnTo>
                      <a:pt x="166" y="183"/>
                    </a:lnTo>
                    <a:lnTo>
                      <a:pt x="165" y="183"/>
                    </a:lnTo>
                    <a:lnTo>
                      <a:pt x="166" y="183"/>
                    </a:lnTo>
                    <a:lnTo>
                      <a:pt x="166" y="185"/>
                    </a:lnTo>
                    <a:lnTo>
                      <a:pt x="165" y="183"/>
                    </a:lnTo>
                    <a:lnTo>
                      <a:pt x="165" y="185"/>
                    </a:lnTo>
                    <a:lnTo>
                      <a:pt x="166" y="185"/>
                    </a:lnTo>
                    <a:lnTo>
                      <a:pt x="165" y="185"/>
                    </a:lnTo>
                    <a:lnTo>
                      <a:pt x="165" y="183"/>
                    </a:lnTo>
                    <a:lnTo>
                      <a:pt x="163" y="185"/>
                    </a:lnTo>
                    <a:lnTo>
                      <a:pt x="163" y="187"/>
                    </a:lnTo>
                    <a:lnTo>
                      <a:pt x="163" y="189"/>
                    </a:lnTo>
                    <a:lnTo>
                      <a:pt x="165" y="189"/>
                    </a:lnTo>
                    <a:lnTo>
                      <a:pt x="166" y="189"/>
                    </a:lnTo>
                    <a:lnTo>
                      <a:pt x="168" y="189"/>
                    </a:lnTo>
                    <a:lnTo>
                      <a:pt x="168" y="187"/>
                    </a:lnTo>
                    <a:lnTo>
                      <a:pt x="170" y="187"/>
                    </a:lnTo>
                    <a:lnTo>
                      <a:pt x="168" y="185"/>
                    </a:lnTo>
                    <a:lnTo>
                      <a:pt x="170" y="185"/>
                    </a:lnTo>
                    <a:lnTo>
                      <a:pt x="170" y="183"/>
                    </a:lnTo>
                    <a:lnTo>
                      <a:pt x="168" y="183"/>
                    </a:lnTo>
                    <a:lnTo>
                      <a:pt x="168" y="182"/>
                    </a:lnTo>
                    <a:lnTo>
                      <a:pt x="168" y="180"/>
                    </a:lnTo>
                    <a:lnTo>
                      <a:pt x="168" y="178"/>
                    </a:lnTo>
                    <a:lnTo>
                      <a:pt x="168" y="177"/>
                    </a:lnTo>
                    <a:lnTo>
                      <a:pt x="168" y="175"/>
                    </a:lnTo>
                    <a:lnTo>
                      <a:pt x="168" y="173"/>
                    </a:lnTo>
                    <a:lnTo>
                      <a:pt x="168" y="172"/>
                    </a:lnTo>
                    <a:lnTo>
                      <a:pt x="166" y="172"/>
                    </a:lnTo>
                    <a:lnTo>
                      <a:pt x="166" y="170"/>
                    </a:lnTo>
                    <a:lnTo>
                      <a:pt x="166" y="168"/>
                    </a:lnTo>
                    <a:lnTo>
                      <a:pt x="165" y="168"/>
                    </a:lnTo>
                    <a:lnTo>
                      <a:pt x="163" y="168"/>
                    </a:lnTo>
                    <a:lnTo>
                      <a:pt x="163" y="166"/>
                    </a:lnTo>
                    <a:lnTo>
                      <a:pt x="165" y="165"/>
                    </a:lnTo>
                    <a:lnTo>
                      <a:pt x="166" y="165"/>
                    </a:lnTo>
                    <a:lnTo>
                      <a:pt x="168" y="165"/>
                    </a:lnTo>
                    <a:lnTo>
                      <a:pt x="170" y="163"/>
                    </a:lnTo>
                    <a:lnTo>
                      <a:pt x="171" y="163"/>
                    </a:lnTo>
                    <a:lnTo>
                      <a:pt x="173" y="163"/>
                    </a:lnTo>
                    <a:lnTo>
                      <a:pt x="171" y="161"/>
                    </a:lnTo>
                    <a:lnTo>
                      <a:pt x="173" y="161"/>
                    </a:lnTo>
                    <a:lnTo>
                      <a:pt x="175" y="160"/>
                    </a:lnTo>
                    <a:lnTo>
                      <a:pt x="176" y="160"/>
                    </a:lnTo>
                    <a:lnTo>
                      <a:pt x="176" y="158"/>
                    </a:lnTo>
                    <a:lnTo>
                      <a:pt x="178" y="158"/>
                    </a:lnTo>
                    <a:lnTo>
                      <a:pt x="180" y="156"/>
                    </a:lnTo>
                    <a:lnTo>
                      <a:pt x="180" y="155"/>
                    </a:lnTo>
                    <a:lnTo>
                      <a:pt x="182" y="155"/>
                    </a:lnTo>
                    <a:lnTo>
                      <a:pt x="183" y="155"/>
                    </a:lnTo>
                    <a:lnTo>
                      <a:pt x="183" y="153"/>
                    </a:lnTo>
                    <a:lnTo>
                      <a:pt x="185" y="153"/>
                    </a:lnTo>
                    <a:lnTo>
                      <a:pt x="185" y="151"/>
                    </a:lnTo>
                    <a:lnTo>
                      <a:pt x="185" y="149"/>
                    </a:lnTo>
                    <a:lnTo>
                      <a:pt x="187" y="149"/>
                    </a:lnTo>
                    <a:lnTo>
                      <a:pt x="187" y="148"/>
                    </a:lnTo>
                    <a:lnTo>
                      <a:pt x="188" y="146"/>
                    </a:lnTo>
                    <a:lnTo>
                      <a:pt x="188" y="144"/>
                    </a:lnTo>
                    <a:lnTo>
                      <a:pt x="188" y="143"/>
                    </a:lnTo>
                    <a:lnTo>
                      <a:pt x="190" y="143"/>
                    </a:lnTo>
                    <a:lnTo>
                      <a:pt x="190" y="141"/>
                    </a:lnTo>
                    <a:lnTo>
                      <a:pt x="192" y="139"/>
                    </a:lnTo>
                    <a:lnTo>
                      <a:pt x="193" y="139"/>
                    </a:lnTo>
                    <a:lnTo>
                      <a:pt x="195" y="139"/>
                    </a:lnTo>
                    <a:lnTo>
                      <a:pt x="195" y="138"/>
                    </a:lnTo>
                    <a:lnTo>
                      <a:pt x="195" y="136"/>
                    </a:lnTo>
                    <a:lnTo>
                      <a:pt x="195" y="138"/>
                    </a:lnTo>
                    <a:lnTo>
                      <a:pt x="195" y="136"/>
                    </a:lnTo>
                    <a:lnTo>
                      <a:pt x="197" y="136"/>
                    </a:lnTo>
                    <a:lnTo>
                      <a:pt x="197" y="138"/>
                    </a:lnTo>
                    <a:lnTo>
                      <a:pt x="199" y="138"/>
                    </a:lnTo>
                    <a:lnTo>
                      <a:pt x="200" y="138"/>
                    </a:lnTo>
                    <a:lnTo>
                      <a:pt x="199" y="138"/>
                    </a:lnTo>
                    <a:lnTo>
                      <a:pt x="200" y="138"/>
                    </a:lnTo>
                    <a:lnTo>
                      <a:pt x="202" y="138"/>
                    </a:lnTo>
                    <a:lnTo>
                      <a:pt x="204" y="138"/>
                    </a:lnTo>
                    <a:lnTo>
                      <a:pt x="205" y="138"/>
                    </a:lnTo>
                    <a:lnTo>
                      <a:pt x="207" y="136"/>
                    </a:lnTo>
                    <a:lnTo>
                      <a:pt x="207" y="134"/>
                    </a:lnTo>
                    <a:lnTo>
                      <a:pt x="209" y="132"/>
                    </a:lnTo>
                    <a:lnTo>
                      <a:pt x="209" y="131"/>
                    </a:lnTo>
                    <a:lnTo>
                      <a:pt x="207" y="129"/>
                    </a:lnTo>
                    <a:lnTo>
                      <a:pt x="207" y="127"/>
                    </a:lnTo>
                    <a:lnTo>
                      <a:pt x="205" y="127"/>
                    </a:lnTo>
                    <a:lnTo>
                      <a:pt x="204" y="127"/>
                    </a:lnTo>
                    <a:lnTo>
                      <a:pt x="205" y="127"/>
                    </a:lnTo>
                    <a:lnTo>
                      <a:pt x="205" y="126"/>
                    </a:lnTo>
                    <a:lnTo>
                      <a:pt x="207" y="124"/>
                    </a:lnTo>
                    <a:lnTo>
                      <a:pt x="207" y="122"/>
                    </a:lnTo>
                    <a:lnTo>
                      <a:pt x="207" y="120"/>
                    </a:lnTo>
                    <a:lnTo>
                      <a:pt x="207" y="119"/>
                    </a:lnTo>
                    <a:lnTo>
                      <a:pt x="209" y="119"/>
                    </a:lnTo>
                    <a:lnTo>
                      <a:pt x="207" y="117"/>
                    </a:lnTo>
                    <a:lnTo>
                      <a:pt x="209" y="117"/>
                    </a:lnTo>
                    <a:lnTo>
                      <a:pt x="209" y="115"/>
                    </a:lnTo>
                    <a:lnTo>
                      <a:pt x="209" y="114"/>
                    </a:lnTo>
                    <a:lnTo>
                      <a:pt x="207" y="114"/>
                    </a:lnTo>
                    <a:lnTo>
                      <a:pt x="209" y="114"/>
                    </a:lnTo>
                    <a:lnTo>
                      <a:pt x="209" y="112"/>
                    </a:lnTo>
                    <a:lnTo>
                      <a:pt x="210" y="112"/>
                    </a:lnTo>
                    <a:lnTo>
                      <a:pt x="209" y="112"/>
                    </a:lnTo>
                    <a:lnTo>
                      <a:pt x="209" y="110"/>
                    </a:lnTo>
                    <a:lnTo>
                      <a:pt x="209" y="112"/>
                    </a:lnTo>
                    <a:lnTo>
                      <a:pt x="210" y="112"/>
                    </a:lnTo>
                    <a:lnTo>
                      <a:pt x="210" y="110"/>
                    </a:lnTo>
                    <a:lnTo>
                      <a:pt x="209" y="110"/>
                    </a:lnTo>
                    <a:lnTo>
                      <a:pt x="210" y="109"/>
                    </a:lnTo>
                    <a:lnTo>
                      <a:pt x="209" y="109"/>
                    </a:lnTo>
                    <a:lnTo>
                      <a:pt x="209" y="110"/>
                    </a:lnTo>
                    <a:lnTo>
                      <a:pt x="207" y="110"/>
                    </a:lnTo>
                    <a:lnTo>
                      <a:pt x="205" y="112"/>
                    </a:lnTo>
                    <a:lnTo>
                      <a:pt x="205" y="110"/>
                    </a:lnTo>
                    <a:lnTo>
                      <a:pt x="205" y="112"/>
                    </a:lnTo>
                    <a:lnTo>
                      <a:pt x="204" y="114"/>
                    </a:lnTo>
                    <a:lnTo>
                      <a:pt x="204" y="112"/>
                    </a:lnTo>
                    <a:lnTo>
                      <a:pt x="205" y="112"/>
                    </a:lnTo>
                    <a:lnTo>
                      <a:pt x="205" y="110"/>
                    </a:lnTo>
                    <a:lnTo>
                      <a:pt x="207" y="110"/>
                    </a:lnTo>
                    <a:lnTo>
                      <a:pt x="207" y="109"/>
                    </a:lnTo>
                    <a:lnTo>
                      <a:pt x="207" y="110"/>
                    </a:lnTo>
                    <a:lnTo>
                      <a:pt x="207" y="109"/>
                    </a:lnTo>
                    <a:lnTo>
                      <a:pt x="207" y="107"/>
                    </a:lnTo>
                    <a:lnTo>
                      <a:pt x="209" y="107"/>
                    </a:lnTo>
                    <a:lnTo>
                      <a:pt x="207" y="109"/>
                    </a:lnTo>
                    <a:lnTo>
                      <a:pt x="209" y="109"/>
                    </a:lnTo>
                    <a:lnTo>
                      <a:pt x="210" y="107"/>
                    </a:lnTo>
                    <a:lnTo>
                      <a:pt x="210" y="105"/>
                    </a:lnTo>
                    <a:lnTo>
                      <a:pt x="210" y="103"/>
                    </a:lnTo>
                    <a:lnTo>
                      <a:pt x="209" y="103"/>
                    </a:lnTo>
                    <a:lnTo>
                      <a:pt x="210" y="103"/>
                    </a:lnTo>
                    <a:lnTo>
                      <a:pt x="209" y="103"/>
                    </a:lnTo>
                    <a:lnTo>
                      <a:pt x="209" y="102"/>
                    </a:lnTo>
                    <a:lnTo>
                      <a:pt x="210" y="102"/>
                    </a:lnTo>
                    <a:lnTo>
                      <a:pt x="210" y="103"/>
                    </a:lnTo>
                    <a:lnTo>
                      <a:pt x="212" y="103"/>
                    </a:lnTo>
                    <a:lnTo>
                      <a:pt x="210" y="102"/>
                    </a:lnTo>
                    <a:lnTo>
                      <a:pt x="212" y="100"/>
                    </a:lnTo>
                    <a:lnTo>
                      <a:pt x="210" y="100"/>
                    </a:lnTo>
                    <a:lnTo>
                      <a:pt x="210" y="98"/>
                    </a:lnTo>
                    <a:lnTo>
                      <a:pt x="212" y="97"/>
                    </a:lnTo>
                    <a:lnTo>
                      <a:pt x="212" y="95"/>
                    </a:lnTo>
                    <a:lnTo>
                      <a:pt x="214" y="95"/>
                    </a:lnTo>
                    <a:lnTo>
                      <a:pt x="214" y="93"/>
                    </a:lnTo>
                    <a:lnTo>
                      <a:pt x="216" y="93"/>
                    </a:lnTo>
                    <a:lnTo>
                      <a:pt x="217" y="93"/>
                    </a:lnTo>
                    <a:lnTo>
                      <a:pt x="219" y="93"/>
                    </a:lnTo>
                    <a:lnTo>
                      <a:pt x="219" y="92"/>
                    </a:lnTo>
                    <a:lnTo>
                      <a:pt x="219" y="90"/>
                    </a:lnTo>
                    <a:lnTo>
                      <a:pt x="221" y="90"/>
                    </a:lnTo>
                    <a:lnTo>
                      <a:pt x="221" y="88"/>
                    </a:lnTo>
                    <a:lnTo>
                      <a:pt x="222" y="88"/>
                    </a:lnTo>
                    <a:lnTo>
                      <a:pt x="224" y="88"/>
                    </a:lnTo>
                    <a:lnTo>
                      <a:pt x="224" y="86"/>
                    </a:lnTo>
                    <a:lnTo>
                      <a:pt x="226" y="86"/>
                    </a:lnTo>
                    <a:lnTo>
                      <a:pt x="226" y="85"/>
                    </a:lnTo>
                    <a:lnTo>
                      <a:pt x="227" y="85"/>
                    </a:lnTo>
                    <a:lnTo>
                      <a:pt x="227" y="83"/>
                    </a:lnTo>
                    <a:lnTo>
                      <a:pt x="229" y="83"/>
                    </a:lnTo>
                    <a:lnTo>
                      <a:pt x="227" y="83"/>
                    </a:lnTo>
                    <a:lnTo>
                      <a:pt x="229" y="83"/>
                    </a:lnTo>
                    <a:lnTo>
                      <a:pt x="231" y="81"/>
                    </a:lnTo>
                    <a:lnTo>
                      <a:pt x="233" y="81"/>
                    </a:lnTo>
                    <a:lnTo>
                      <a:pt x="233" y="80"/>
                    </a:lnTo>
                    <a:lnTo>
                      <a:pt x="234" y="80"/>
                    </a:lnTo>
                    <a:lnTo>
                      <a:pt x="236" y="80"/>
                    </a:lnTo>
                    <a:lnTo>
                      <a:pt x="236" y="81"/>
                    </a:lnTo>
                    <a:lnTo>
                      <a:pt x="238" y="81"/>
                    </a:lnTo>
                    <a:lnTo>
                      <a:pt x="239" y="81"/>
                    </a:lnTo>
                    <a:lnTo>
                      <a:pt x="239" y="83"/>
                    </a:lnTo>
                    <a:lnTo>
                      <a:pt x="241" y="83"/>
                    </a:lnTo>
                    <a:lnTo>
                      <a:pt x="243" y="83"/>
                    </a:lnTo>
                    <a:lnTo>
                      <a:pt x="244" y="83"/>
                    </a:lnTo>
                    <a:lnTo>
                      <a:pt x="246" y="83"/>
                    </a:lnTo>
                    <a:lnTo>
                      <a:pt x="248" y="83"/>
                    </a:lnTo>
                    <a:lnTo>
                      <a:pt x="250" y="83"/>
                    </a:lnTo>
                    <a:lnTo>
                      <a:pt x="251" y="83"/>
                    </a:lnTo>
                    <a:lnTo>
                      <a:pt x="253" y="83"/>
                    </a:lnTo>
                    <a:lnTo>
                      <a:pt x="253" y="81"/>
                    </a:lnTo>
                    <a:lnTo>
                      <a:pt x="255" y="81"/>
                    </a:lnTo>
                    <a:lnTo>
                      <a:pt x="255" y="80"/>
                    </a:lnTo>
                    <a:lnTo>
                      <a:pt x="253" y="80"/>
                    </a:lnTo>
                    <a:lnTo>
                      <a:pt x="253" y="78"/>
                    </a:lnTo>
                    <a:lnTo>
                      <a:pt x="253" y="76"/>
                    </a:lnTo>
                    <a:lnTo>
                      <a:pt x="253" y="75"/>
                    </a:lnTo>
                    <a:lnTo>
                      <a:pt x="255" y="75"/>
                    </a:lnTo>
                    <a:lnTo>
                      <a:pt x="253" y="75"/>
                    </a:lnTo>
                    <a:lnTo>
                      <a:pt x="255" y="75"/>
                    </a:lnTo>
                    <a:lnTo>
                      <a:pt x="255" y="73"/>
                    </a:lnTo>
                    <a:lnTo>
                      <a:pt x="256" y="73"/>
                    </a:lnTo>
                    <a:lnTo>
                      <a:pt x="256" y="71"/>
                    </a:lnTo>
                    <a:lnTo>
                      <a:pt x="256" y="73"/>
                    </a:lnTo>
                    <a:lnTo>
                      <a:pt x="256" y="71"/>
                    </a:lnTo>
                    <a:lnTo>
                      <a:pt x="258" y="73"/>
                    </a:lnTo>
                    <a:lnTo>
                      <a:pt x="258" y="71"/>
                    </a:lnTo>
                    <a:lnTo>
                      <a:pt x="258" y="73"/>
                    </a:lnTo>
                    <a:lnTo>
                      <a:pt x="258" y="71"/>
                    </a:lnTo>
                    <a:lnTo>
                      <a:pt x="260" y="71"/>
                    </a:lnTo>
                    <a:lnTo>
                      <a:pt x="261" y="71"/>
                    </a:lnTo>
                    <a:lnTo>
                      <a:pt x="263" y="71"/>
                    </a:lnTo>
                    <a:lnTo>
                      <a:pt x="263" y="73"/>
                    </a:lnTo>
                    <a:lnTo>
                      <a:pt x="265" y="73"/>
                    </a:lnTo>
                    <a:lnTo>
                      <a:pt x="267" y="73"/>
                    </a:lnTo>
                    <a:lnTo>
                      <a:pt x="267" y="75"/>
                    </a:lnTo>
                    <a:lnTo>
                      <a:pt x="268" y="75"/>
                    </a:lnTo>
                    <a:lnTo>
                      <a:pt x="270" y="75"/>
                    </a:lnTo>
                    <a:lnTo>
                      <a:pt x="272" y="75"/>
                    </a:lnTo>
                    <a:lnTo>
                      <a:pt x="273" y="75"/>
                    </a:lnTo>
                    <a:lnTo>
                      <a:pt x="275" y="75"/>
                    </a:lnTo>
                    <a:lnTo>
                      <a:pt x="277" y="75"/>
                    </a:lnTo>
                    <a:lnTo>
                      <a:pt x="278" y="75"/>
                    </a:lnTo>
                    <a:lnTo>
                      <a:pt x="280" y="75"/>
                    </a:lnTo>
                    <a:lnTo>
                      <a:pt x="282" y="75"/>
                    </a:lnTo>
                    <a:lnTo>
                      <a:pt x="284" y="75"/>
                    </a:lnTo>
                    <a:lnTo>
                      <a:pt x="284" y="73"/>
                    </a:lnTo>
                    <a:lnTo>
                      <a:pt x="285" y="73"/>
                    </a:lnTo>
                    <a:lnTo>
                      <a:pt x="287" y="73"/>
                    </a:lnTo>
                    <a:lnTo>
                      <a:pt x="287" y="71"/>
                    </a:lnTo>
                    <a:lnTo>
                      <a:pt x="289" y="71"/>
                    </a:lnTo>
                    <a:lnTo>
                      <a:pt x="289" y="69"/>
                    </a:lnTo>
                    <a:lnTo>
                      <a:pt x="290" y="69"/>
                    </a:lnTo>
                    <a:lnTo>
                      <a:pt x="292" y="69"/>
                    </a:lnTo>
                    <a:lnTo>
                      <a:pt x="292" y="68"/>
                    </a:lnTo>
                    <a:lnTo>
                      <a:pt x="294" y="66"/>
                    </a:lnTo>
                    <a:lnTo>
                      <a:pt x="295" y="66"/>
                    </a:lnTo>
                    <a:lnTo>
                      <a:pt x="295" y="64"/>
                    </a:lnTo>
                    <a:lnTo>
                      <a:pt x="297" y="64"/>
                    </a:lnTo>
                    <a:lnTo>
                      <a:pt x="299" y="64"/>
                    </a:lnTo>
                    <a:lnTo>
                      <a:pt x="299" y="63"/>
                    </a:lnTo>
                    <a:lnTo>
                      <a:pt x="301" y="63"/>
                    </a:lnTo>
                    <a:lnTo>
                      <a:pt x="301" y="61"/>
                    </a:lnTo>
                    <a:lnTo>
                      <a:pt x="302" y="61"/>
                    </a:lnTo>
                    <a:lnTo>
                      <a:pt x="302" y="59"/>
                    </a:lnTo>
                    <a:lnTo>
                      <a:pt x="304" y="59"/>
                    </a:lnTo>
                    <a:lnTo>
                      <a:pt x="306" y="59"/>
                    </a:lnTo>
                    <a:lnTo>
                      <a:pt x="307" y="58"/>
                    </a:lnTo>
                    <a:lnTo>
                      <a:pt x="309" y="58"/>
                    </a:lnTo>
                    <a:lnTo>
                      <a:pt x="311" y="58"/>
                    </a:lnTo>
                    <a:lnTo>
                      <a:pt x="311" y="56"/>
                    </a:lnTo>
                    <a:lnTo>
                      <a:pt x="312" y="56"/>
                    </a:lnTo>
                    <a:lnTo>
                      <a:pt x="314" y="56"/>
                    </a:lnTo>
                    <a:lnTo>
                      <a:pt x="316" y="56"/>
                    </a:lnTo>
                    <a:lnTo>
                      <a:pt x="316" y="54"/>
                    </a:lnTo>
                    <a:lnTo>
                      <a:pt x="318" y="54"/>
                    </a:lnTo>
                    <a:lnTo>
                      <a:pt x="319" y="54"/>
                    </a:lnTo>
                    <a:lnTo>
                      <a:pt x="319" y="52"/>
                    </a:lnTo>
                    <a:lnTo>
                      <a:pt x="321" y="52"/>
                    </a:lnTo>
                    <a:lnTo>
                      <a:pt x="321" y="51"/>
                    </a:lnTo>
                    <a:lnTo>
                      <a:pt x="323" y="49"/>
                    </a:lnTo>
                    <a:lnTo>
                      <a:pt x="323" y="47"/>
                    </a:lnTo>
                    <a:lnTo>
                      <a:pt x="324" y="46"/>
                    </a:lnTo>
                    <a:lnTo>
                      <a:pt x="324" y="44"/>
                    </a:lnTo>
                    <a:lnTo>
                      <a:pt x="324" y="42"/>
                    </a:lnTo>
                    <a:lnTo>
                      <a:pt x="323" y="42"/>
                    </a:lnTo>
                    <a:lnTo>
                      <a:pt x="323" y="41"/>
                    </a:lnTo>
                    <a:lnTo>
                      <a:pt x="324" y="41"/>
                    </a:lnTo>
                    <a:lnTo>
                      <a:pt x="326" y="41"/>
                    </a:lnTo>
                    <a:lnTo>
                      <a:pt x="328" y="41"/>
                    </a:lnTo>
                    <a:lnTo>
                      <a:pt x="329" y="41"/>
                    </a:lnTo>
                    <a:lnTo>
                      <a:pt x="329" y="42"/>
                    </a:lnTo>
                    <a:lnTo>
                      <a:pt x="329" y="44"/>
                    </a:lnTo>
                    <a:lnTo>
                      <a:pt x="331" y="44"/>
                    </a:lnTo>
                    <a:lnTo>
                      <a:pt x="331" y="42"/>
                    </a:lnTo>
                    <a:lnTo>
                      <a:pt x="333" y="42"/>
                    </a:lnTo>
                    <a:lnTo>
                      <a:pt x="333" y="41"/>
                    </a:lnTo>
                    <a:lnTo>
                      <a:pt x="333" y="39"/>
                    </a:lnTo>
                    <a:lnTo>
                      <a:pt x="333" y="41"/>
                    </a:lnTo>
                    <a:lnTo>
                      <a:pt x="333" y="39"/>
                    </a:lnTo>
                    <a:lnTo>
                      <a:pt x="331" y="39"/>
                    </a:lnTo>
                    <a:lnTo>
                      <a:pt x="333" y="39"/>
                    </a:lnTo>
                    <a:lnTo>
                      <a:pt x="331" y="39"/>
                    </a:lnTo>
                    <a:lnTo>
                      <a:pt x="329" y="39"/>
                    </a:lnTo>
                    <a:lnTo>
                      <a:pt x="331" y="39"/>
                    </a:lnTo>
                    <a:lnTo>
                      <a:pt x="333" y="37"/>
                    </a:lnTo>
                    <a:lnTo>
                      <a:pt x="333" y="35"/>
                    </a:lnTo>
                    <a:lnTo>
                      <a:pt x="335" y="37"/>
                    </a:lnTo>
                    <a:lnTo>
                      <a:pt x="335" y="35"/>
                    </a:lnTo>
                    <a:lnTo>
                      <a:pt x="335" y="37"/>
                    </a:lnTo>
                    <a:lnTo>
                      <a:pt x="336" y="39"/>
                    </a:lnTo>
                    <a:lnTo>
                      <a:pt x="336" y="37"/>
                    </a:lnTo>
                    <a:lnTo>
                      <a:pt x="338" y="37"/>
                    </a:lnTo>
                    <a:lnTo>
                      <a:pt x="338" y="35"/>
                    </a:lnTo>
                    <a:lnTo>
                      <a:pt x="336" y="35"/>
                    </a:lnTo>
                    <a:lnTo>
                      <a:pt x="338" y="35"/>
                    </a:lnTo>
                    <a:lnTo>
                      <a:pt x="338" y="34"/>
                    </a:lnTo>
                    <a:lnTo>
                      <a:pt x="338" y="35"/>
                    </a:lnTo>
                    <a:lnTo>
                      <a:pt x="340" y="35"/>
                    </a:lnTo>
                    <a:lnTo>
                      <a:pt x="338" y="35"/>
                    </a:lnTo>
                    <a:lnTo>
                      <a:pt x="340" y="35"/>
                    </a:lnTo>
                    <a:lnTo>
                      <a:pt x="341" y="35"/>
                    </a:lnTo>
                    <a:lnTo>
                      <a:pt x="341" y="34"/>
                    </a:lnTo>
                    <a:lnTo>
                      <a:pt x="340" y="34"/>
                    </a:lnTo>
                    <a:lnTo>
                      <a:pt x="341" y="34"/>
                    </a:lnTo>
                    <a:lnTo>
                      <a:pt x="340" y="34"/>
                    </a:lnTo>
                    <a:lnTo>
                      <a:pt x="338" y="34"/>
                    </a:lnTo>
                    <a:lnTo>
                      <a:pt x="340" y="34"/>
                    </a:lnTo>
                    <a:lnTo>
                      <a:pt x="340" y="32"/>
                    </a:lnTo>
                    <a:lnTo>
                      <a:pt x="341" y="34"/>
                    </a:lnTo>
                    <a:lnTo>
                      <a:pt x="343" y="34"/>
                    </a:lnTo>
                    <a:lnTo>
                      <a:pt x="345" y="34"/>
                    </a:lnTo>
                    <a:lnTo>
                      <a:pt x="346" y="34"/>
                    </a:lnTo>
                    <a:lnTo>
                      <a:pt x="346" y="35"/>
                    </a:lnTo>
                    <a:lnTo>
                      <a:pt x="348" y="35"/>
                    </a:lnTo>
                    <a:lnTo>
                      <a:pt x="350" y="35"/>
                    </a:lnTo>
                    <a:lnTo>
                      <a:pt x="352" y="35"/>
                    </a:lnTo>
                    <a:lnTo>
                      <a:pt x="352" y="37"/>
                    </a:lnTo>
                    <a:lnTo>
                      <a:pt x="352" y="35"/>
                    </a:lnTo>
                    <a:lnTo>
                      <a:pt x="352" y="37"/>
                    </a:lnTo>
                    <a:lnTo>
                      <a:pt x="353" y="37"/>
                    </a:lnTo>
                    <a:lnTo>
                      <a:pt x="355" y="37"/>
                    </a:lnTo>
                    <a:lnTo>
                      <a:pt x="355" y="39"/>
                    </a:lnTo>
                    <a:lnTo>
                      <a:pt x="355" y="41"/>
                    </a:lnTo>
                    <a:lnTo>
                      <a:pt x="357" y="41"/>
                    </a:lnTo>
                    <a:lnTo>
                      <a:pt x="357" y="42"/>
                    </a:lnTo>
                    <a:lnTo>
                      <a:pt x="357" y="44"/>
                    </a:lnTo>
                    <a:lnTo>
                      <a:pt x="358" y="44"/>
                    </a:lnTo>
                    <a:lnTo>
                      <a:pt x="358" y="46"/>
                    </a:lnTo>
                    <a:lnTo>
                      <a:pt x="358" y="47"/>
                    </a:lnTo>
                    <a:lnTo>
                      <a:pt x="358" y="49"/>
                    </a:lnTo>
                    <a:lnTo>
                      <a:pt x="357" y="49"/>
                    </a:lnTo>
                    <a:lnTo>
                      <a:pt x="355" y="49"/>
                    </a:lnTo>
                    <a:lnTo>
                      <a:pt x="355" y="51"/>
                    </a:lnTo>
                    <a:lnTo>
                      <a:pt x="353" y="51"/>
                    </a:lnTo>
                    <a:lnTo>
                      <a:pt x="353" y="52"/>
                    </a:lnTo>
                    <a:lnTo>
                      <a:pt x="352" y="52"/>
                    </a:lnTo>
                    <a:lnTo>
                      <a:pt x="352" y="54"/>
                    </a:lnTo>
                    <a:lnTo>
                      <a:pt x="350" y="54"/>
                    </a:lnTo>
                    <a:close/>
                    <a:moveTo>
                      <a:pt x="1" y="29"/>
                    </a:moveTo>
                    <a:lnTo>
                      <a:pt x="1" y="30"/>
                    </a:lnTo>
                    <a:lnTo>
                      <a:pt x="1" y="32"/>
                    </a:lnTo>
                    <a:lnTo>
                      <a:pt x="0" y="32"/>
                    </a:lnTo>
                    <a:lnTo>
                      <a:pt x="0" y="30"/>
                    </a:lnTo>
                    <a:lnTo>
                      <a:pt x="0" y="29"/>
                    </a:lnTo>
                    <a:lnTo>
                      <a:pt x="1" y="29"/>
                    </a:lnTo>
                    <a:close/>
                    <a:moveTo>
                      <a:pt x="12" y="1"/>
                    </a:moveTo>
                    <a:lnTo>
                      <a:pt x="13" y="1"/>
                    </a:lnTo>
                    <a:lnTo>
                      <a:pt x="13" y="3"/>
                    </a:lnTo>
                    <a:lnTo>
                      <a:pt x="12" y="3"/>
                    </a:lnTo>
                    <a:lnTo>
                      <a:pt x="12" y="1"/>
                    </a:lnTo>
                    <a:close/>
                    <a:moveTo>
                      <a:pt x="207" y="105"/>
                    </a:moveTo>
                    <a:lnTo>
                      <a:pt x="209" y="105"/>
                    </a:lnTo>
                    <a:lnTo>
                      <a:pt x="209" y="107"/>
                    </a:lnTo>
                    <a:lnTo>
                      <a:pt x="207" y="107"/>
                    </a:lnTo>
                    <a:lnTo>
                      <a:pt x="207" y="105"/>
                    </a:lnTo>
                    <a:close/>
                    <a:moveTo>
                      <a:pt x="119" y="355"/>
                    </a:moveTo>
                    <a:lnTo>
                      <a:pt x="120" y="355"/>
                    </a:lnTo>
                    <a:lnTo>
                      <a:pt x="120" y="357"/>
                    </a:lnTo>
                    <a:lnTo>
                      <a:pt x="119" y="357"/>
                    </a:lnTo>
                    <a:lnTo>
                      <a:pt x="119" y="355"/>
                    </a:lnTo>
                    <a:close/>
                    <a:moveTo>
                      <a:pt x="154" y="328"/>
                    </a:moveTo>
                    <a:lnTo>
                      <a:pt x="154" y="330"/>
                    </a:lnTo>
                    <a:lnTo>
                      <a:pt x="154" y="328"/>
                    </a:lnTo>
                    <a:close/>
                    <a:moveTo>
                      <a:pt x="100" y="394"/>
                    </a:moveTo>
                    <a:lnTo>
                      <a:pt x="102" y="394"/>
                    </a:lnTo>
                    <a:lnTo>
                      <a:pt x="102" y="396"/>
                    </a:lnTo>
                    <a:lnTo>
                      <a:pt x="100" y="396"/>
                    </a:lnTo>
                    <a:lnTo>
                      <a:pt x="100" y="394"/>
                    </a:lnTo>
                    <a:close/>
                    <a:moveTo>
                      <a:pt x="158" y="325"/>
                    </a:moveTo>
                    <a:lnTo>
                      <a:pt x="158" y="326"/>
                    </a:lnTo>
                    <a:lnTo>
                      <a:pt x="158" y="325"/>
                    </a:lnTo>
                    <a:close/>
                    <a:moveTo>
                      <a:pt x="93" y="403"/>
                    </a:moveTo>
                    <a:lnTo>
                      <a:pt x="95" y="403"/>
                    </a:lnTo>
                    <a:lnTo>
                      <a:pt x="95" y="405"/>
                    </a:lnTo>
                    <a:lnTo>
                      <a:pt x="93" y="405"/>
                    </a:lnTo>
                    <a:lnTo>
                      <a:pt x="93" y="403"/>
                    </a:lnTo>
                    <a:close/>
                    <a:moveTo>
                      <a:pt x="199" y="124"/>
                    </a:moveTo>
                    <a:lnTo>
                      <a:pt x="200" y="124"/>
                    </a:lnTo>
                    <a:lnTo>
                      <a:pt x="199" y="124"/>
                    </a:lnTo>
                    <a:close/>
                    <a:moveTo>
                      <a:pt x="187" y="138"/>
                    </a:moveTo>
                    <a:lnTo>
                      <a:pt x="188" y="138"/>
                    </a:lnTo>
                    <a:lnTo>
                      <a:pt x="188" y="139"/>
                    </a:lnTo>
                    <a:lnTo>
                      <a:pt x="187" y="139"/>
                    </a:lnTo>
                    <a:lnTo>
                      <a:pt x="187" y="138"/>
                    </a:lnTo>
                    <a:close/>
                    <a:moveTo>
                      <a:pt x="156" y="325"/>
                    </a:moveTo>
                    <a:lnTo>
                      <a:pt x="156" y="326"/>
                    </a:lnTo>
                    <a:lnTo>
                      <a:pt x="156" y="325"/>
                    </a:lnTo>
                    <a:close/>
                    <a:moveTo>
                      <a:pt x="202" y="110"/>
                    </a:moveTo>
                    <a:lnTo>
                      <a:pt x="204" y="110"/>
                    </a:lnTo>
                    <a:lnTo>
                      <a:pt x="204" y="112"/>
                    </a:lnTo>
                    <a:lnTo>
                      <a:pt x="202" y="112"/>
                    </a:lnTo>
                    <a:lnTo>
                      <a:pt x="202" y="110"/>
                    </a:lnTo>
                    <a:close/>
                    <a:moveTo>
                      <a:pt x="144" y="311"/>
                    </a:moveTo>
                    <a:lnTo>
                      <a:pt x="146" y="311"/>
                    </a:lnTo>
                    <a:lnTo>
                      <a:pt x="144" y="311"/>
                    </a:lnTo>
                    <a:close/>
                    <a:moveTo>
                      <a:pt x="210" y="100"/>
                    </a:moveTo>
                    <a:lnTo>
                      <a:pt x="210" y="102"/>
                    </a:lnTo>
                    <a:lnTo>
                      <a:pt x="210" y="100"/>
                    </a:lnTo>
                    <a:close/>
                    <a:moveTo>
                      <a:pt x="98" y="396"/>
                    </a:moveTo>
                    <a:lnTo>
                      <a:pt x="100" y="396"/>
                    </a:lnTo>
                    <a:lnTo>
                      <a:pt x="98" y="396"/>
                    </a:lnTo>
                    <a:close/>
                    <a:moveTo>
                      <a:pt x="209" y="103"/>
                    </a:moveTo>
                    <a:lnTo>
                      <a:pt x="210" y="103"/>
                    </a:lnTo>
                    <a:lnTo>
                      <a:pt x="209" y="103"/>
                    </a:lnTo>
                    <a:close/>
                    <a:moveTo>
                      <a:pt x="108" y="372"/>
                    </a:moveTo>
                    <a:lnTo>
                      <a:pt x="110" y="372"/>
                    </a:lnTo>
                    <a:lnTo>
                      <a:pt x="108" y="372"/>
                    </a:lnTo>
                    <a:close/>
                    <a:moveTo>
                      <a:pt x="105" y="377"/>
                    </a:moveTo>
                    <a:lnTo>
                      <a:pt x="105" y="379"/>
                    </a:lnTo>
                    <a:lnTo>
                      <a:pt x="105" y="377"/>
                    </a:lnTo>
                    <a:close/>
                    <a:moveTo>
                      <a:pt x="12" y="0"/>
                    </a:moveTo>
                    <a:lnTo>
                      <a:pt x="13" y="0"/>
                    </a:lnTo>
                    <a:lnTo>
                      <a:pt x="13" y="1"/>
                    </a:lnTo>
                    <a:lnTo>
                      <a:pt x="12" y="1"/>
                    </a:lnTo>
                    <a:lnTo>
                      <a:pt x="12" y="0"/>
                    </a:lnTo>
                    <a:close/>
                    <a:moveTo>
                      <a:pt x="146" y="311"/>
                    </a:moveTo>
                    <a:lnTo>
                      <a:pt x="146" y="313"/>
                    </a:lnTo>
                    <a:lnTo>
                      <a:pt x="146" y="311"/>
                    </a:lnTo>
                    <a:close/>
                    <a:moveTo>
                      <a:pt x="255" y="71"/>
                    </a:moveTo>
                    <a:lnTo>
                      <a:pt x="255" y="73"/>
                    </a:lnTo>
                    <a:lnTo>
                      <a:pt x="255" y="71"/>
                    </a:lnTo>
                    <a:close/>
                    <a:moveTo>
                      <a:pt x="148" y="308"/>
                    </a:moveTo>
                    <a:lnTo>
                      <a:pt x="148" y="309"/>
                    </a:lnTo>
                    <a:lnTo>
                      <a:pt x="148" y="308"/>
                    </a:lnTo>
                    <a:close/>
                    <a:moveTo>
                      <a:pt x="142" y="316"/>
                    </a:moveTo>
                    <a:lnTo>
                      <a:pt x="144" y="316"/>
                    </a:lnTo>
                    <a:lnTo>
                      <a:pt x="142" y="316"/>
                    </a:lnTo>
                    <a:close/>
                    <a:moveTo>
                      <a:pt x="142" y="316"/>
                    </a:moveTo>
                    <a:lnTo>
                      <a:pt x="144" y="316"/>
                    </a:lnTo>
                    <a:lnTo>
                      <a:pt x="144" y="318"/>
                    </a:lnTo>
                    <a:lnTo>
                      <a:pt x="142" y="318"/>
                    </a:lnTo>
                    <a:lnTo>
                      <a:pt x="142" y="316"/>
                    </a:lnTo>
                    <a:close/>
                    <a:moveTo>
                      <a:pt x="122" y="369"/>
                    </a:moveTo>
                    <a:lnTo>
                      <a:pt x="122" y="371"/>
                    </a:lnTo>
                    <a:lnTo>
                      <a:pt x="122" y="36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9" name="Freeform 25">
                <a:extLst>
                  <a:ext uri="{FF2B5EF4-FFF2-40B4-BE49-F238E27FC236}">
                    <a16:creationId xmlns:a16="http://schemas.microsoft.com/office/drawing/2014/main" id="{DB597224-442D-052D-EE50-E81C4E47BA4F}"/>
                  </a:ext>
                </a:extLst>
              </p:cNvPr>
              <p:cNvSpPr>
                <a:spLocks/>
              </p:cNvSpPr>
              <p:nvPr/>
            </p:nvSpPr>
            <p:spPr bwMode="auto">
              <a:xfrm>
                <a:off x="5692680" y="2822884"/>
                <a:ext cx="3819" cy="3526"/>
              </a:xfrm>
              <a:custGeom>
                <a:avLst/>
                <a:gdLst>
                  <a:gd name="T0" fmla="*/ 1 w 13"/>
                  <a:gd name="T1" fmla="*/ 0 h 12"/>
                  <a:gd name="T2" fmla="*/ 3 w 13"/>
                  <a:gd name="T3" fmla="*/ 2 h 12"/>
                  <a:gd name="T4" fmla="*/ 3 w 13"/>
                  <a:gd name="T5" fmla="*/ 4 h 12"/>
                  <a:gd name="T6" fmla="*/ 5 w 13"/>
                  <a:gd name="T7" fmla="*/ 6 h 12"/>
                  <a:gd name="T8" fmla="*/ 5 w 13"/>
                  <a:gd name="T9" fmla="*/ 7 h 12"/>
                  <a:gd name="T10" fmla="*/ 6 w 13"/>
                  <a:gd name="T11" fmla="*/ 7 h 12"/>
                  <a:gd name="T12" fmla="*/ 8 w 13"/>
                  <a:gd name="T13" fmla="*/ 7 h 12"/>
                  <a:gd name="T14" fmla="*/ 10 w 13"/>
                  <a:gd name="T15" fmla="*/ 7 h 12"/>
                  <a:gd name="T16" fmla="*/ 12 w 13"/>
                  <a:gd name="T17" fmla="*/ 9 h 12"/>
                  <a:gd name="T18" fmla="*/ 12 w 13"/>
                  <a:gd name="T19" fmla="*/ 11 h 12"/>
                  <a:gd name="T20" fmla="*/ 13 w 13"/>
                  <a:gd name="T21" fmla="*/ 11 h 12"/>
                  <a:gd name="T22" fmla="*/ 13 w 13"/>
                  <a:gd name="T23" fmla="*/ 12 h 12"/>
                  <a:gd name="T24" fmla="*/ 12 w 13"/>
                  <a:gd name="T25" fmla="*/ 12 h 12"/>
                  <a:gd name="T26" fmla="*/ 10 w 13"/>
                  <a:gd name="T27" fmla="*/ 12 h 12"/>
                  <a:gd name="T28" fmla="*/ 10 w 13"/>
                  <a:gd name="T29" fmla="*/ 11 h 12"/>
                  <a:gd name="T30" fmla="*/ 8 w 13"/>
                  <a:gd name="T31" fmla="*/ 11 h 12"/>
                  <a:gd name="T32" fmla="*/ 6 w 13"/>
                  <a:gd name="T33" fmla="*/ 11 h 12"/>
                  <a:gd name="T34" fmla="*/ 6 w 13"/>
                  <a:gd name="T35" fmla="*/ 9 h 12"/>
                  <a:gd name="T36" fmla="*/ 5 w 13"/>
                  <a:gd name="T37" fmla="*/ 9 h 12"/>
                  <a:gd name="T38" fmla="*/ 5 w 13"/>
                  <a:gd name="T39" fmla="*/ 7 h 12"/>
                  <a:gd name="T40" fmla="*/ 3 w 13"/>
                  <a:gd name="T41" fmla="*/ 7 h 12"/>
                  <a:gd name="T42" fmla="*/ 1 w 13"/>
                  <a:gd name="T43" fmla="*/ 7 h 12"/>
                  <a:gd name="T44" fmla="*/ 1 w 13"/>
                  <a:gd name="T45" fmla="*/ 6 h 12"/>
                  <a:gd name="T46" fmla="*/ 1 w 13"/>
                  <a:gd name="T47" fmla="*/ 4 h 12"/>
                  <a:gd name="T48" fmla="*/ 0 w 13"/>
                  <a:gd name="T49" fmla="*/ 4 h 12"/>
                  <a:gd name="T50" fmla="*/ 0 w 13"/>
                  <a:gd name="T51" fmla="*/ 2 h 12"/>
                  <a:gd name="T52" fmla="*/ 0 w 13"/>
                  <a:gd name="T53" fmla="*/ 0 h 12"/>
                  <a:gd name="T54" fmla="*/ 1 w 13"/>
                  <a:gd name="T5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 h="12">
                    <a:moveTo>
                      <a:pt x="1" y="0"/>
                    </a:moveTo>
                    <a:lnTo>
                      <a:pt x="3" y="2"/>
                    </a:lnTo>
                    <a:lnTo>
                      <a:pt x="3" y="4"/>
                    </a:lnTo>
                    <a:lnTo>
                      <a:pt x="5" y="6"/>
                    </a:lnTo>
                    <a:lnTo>
                      <a:pt x="5" y="7"/>
                    </a:lnTo>
                    <a:lnTo>
                      <a:pt x="6" y="7"/>
                    </a:lnTo>
                    <a:lnTo>
                      <a:pt x="8" y="7"/>
                    </a:lnTo>
                    <a:lnTo>
                      <a:pt x="10" y="7"/>
                    </a:lnTo>
                    <a:lnTo>
                      <a:pt x="12" y="9"/>
                    </a:lnTo>
                    <a:lnTo>
                      <a:pt x="12" y="11"/>
                    </a:lnTo>
                    <a:lnTo>
                      <a:pt x="13" y="11"/>
                    </a:lnTo>
                    <a:lnTo>
                      <a:pt x="13" y="12"/>
                    </a:lnTo>
                    <a:lnTo>
                      <a:pt x="12" y="12"/>
                    </a:lnTo>
                    <a:lnTo>
                      <a:pt x="10" y="12"/>
                    </a:lnTo>
                    <a:lnTo>
                      <a:pt x="10" y="11"/>
                    </a:lnTo>
                    <a:lnTo>
                      <a:pt x="8" y="11"/>
                    </a:lnTo>
                    <a:lnTo>
                      <a:pt x="6" y="11"/>
                    </a:lnTo>
                    <a:lnTo>
                      <a:pt x="6" y="9"/>
                    </a:lnTo>
                    <a:lnTo>
                      <a:pt x="5" y="9"/>
                    </a:lnTo>
                    <a:lnTo>
                      <a:pt x="5" y="7"/>
                    </a:lnTo>
                    <a:lnTo>
                      <a:pt x="3" y="7"/>
                    </a:lnTo>
                    <a:lnTo>
                      <a:pt x="1" y="7"/>
                    </a:lnTo>
                    <a:lnTo>
                      <a:pt x="1" y="6"/>
                    </a:lnTo>
                    <a:lnTo>
                      <a:pt x="1" y="4"/>
                    </a:lnTo>
                    <a:lnTo>
                      <a:pt x="0" y="4"/>
                    </a:lnTo>
                    <a:lnTo>
                      <a:pt x="0" y="2"/>
                    </a:lnTo>
                    <a:lnTo>
                      <a:pt x="0" y="0"/>
                    </a:lnTo>
                    <a:lnTo>
                      <a:pt x="1"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0" name="Freeform 28">
                <a:extLst>
                  <a:ext uri="{FF2B5EF4-FFF2-40B4-BE49-F238E27FC236}">
                    <a16:creationId xmlns:a16="http://schemas.microsoft.com/office/drawing/2014/main" id="{F5A9AA68-C170-F391-7866-4F1BE1AA6604}"/>
                  </a:ext>
                </a:extLst>
              </p:cNvPr>
              <p:cNvSpPr>
                <a:spLocks noEditPoints="1"/>
              </p:cNvSpPr>
              <p:nvPr/>
            </p:nvSpPr>
            <p:spPr bwMode="auto">
              <a:xfrm>
                <a:off x="5469451" y="2932442"/>
                <a:ext cx="163308" cy="64030"/>
              </a:xfrm>
              <a:custGeom>
                <a:avLst/>
                <a:gdLst>
                  <a:gd name="T0" fmla="*/ 549 w 556"/>
                  <a:gd name="T1" fmla="*/ 61 h 218"/>
                  <a:gd name="T2" fmla="*/ 554 w 556"/>
                  <a:gd name="T3" fmla="*/ 78 h 218"/>
                  <a:gd name="T4" fmla="*/ 540 w 556"/>
                  <a:gd name="T5" fmla="*/ 104 h 218"/>
                  <a:gd name="T6" fmla="*/ 489 w 556"/>
                  <a:gd name="T7" fmla="*/ 143 h 218"/>
                  <a:gd name="T8" fmla="*/ 454 w 556"/>
                  <a:gd name="T9" fmla="*/ 167 h 218"/>
                  <a:gd name="T10" fmla="*/ 447 w 556"/>
                  <a:gd name="T11" fmla="*/ 177 h 218"/>
                  <a:gd name="T12" fmla="*/ 440 w 556"/>
                  <a:gd name="T13" fmla="*/ 197 h 218"/>
                  <a:gd name="T14" fmla="*/ 428 w 556"/>
                  <a:gd name="T15" fmla="*/ 216 h 218"/>
                  <a:gd name="T16" fmla="*/ 409 w 556"/>
                  <a:gd name="T17" fmla="*/ 202 h 218"/>
                  <a:gd name="T18" fmla="*/ 387 w 556"/>
                  <a:gd name="T19" fmla="*/ 196 h 218"/>
                  <a:gd name="T20" fmla="*/ 382 w 556"/>
                  <a:gd name="T21" fmla="*/ 192 h 218"/>
                  <a:gd name="T22" fmla="*/ 389 w 556"/>
                  <a:gd name="T23" fmla="*/ 179 h 218"/>
                  <a:gd name="T24" fmla="*/ 392 w 556"/>
                  <a:gd name="T25" fmla="*/ 160 h 218"/>
                  <a:gd name="T26" fmla="*/ 401 w 556"/>
                  <a:gd name="T27" fmla="*/ 138 h 218"/>
                  <a:gd name="T28" fmla="*/ 399 w 556"/>
                  <a:gd name="T29" fmla="*/ 126 h 218"/>
                  <a:gd name="T30" fmla="*/ 398 w 556"/>
                  <a:gd name="T31" fmla="*/ 128 h 218"/>
                  <a:gd name="T32" fmla="*/ 389 w 556"/>
                  <a:gd name="T33" fmla="*/ 136 h 218"/>
                  <a:gd name="T34" fmla="*/ 370 w 556"/>
                  <a:gd name="T35" fmla="*/ 129 h 218"/>
                  <a:gd name="T36" fmla="*/ 369 w 556"/>
                  <a:gd name="T37" fmla="*/ 119 h 218"/>
                  <a:gd name="T38" fmla="*/ 369 w 556"/>
                  <a:gd name="T39" fmla="*/ 94 h 218"/>
                  <a:gd name="T40" fmla="*/ 374 w 556"/>
                  <a:gd name="T41" fmla="*/ 80 h 218"/>
                  <a:gd name="T42" fmla="*/ 379 w 556"/>
                  <a:gd name="T43" fmla="*/ 66 h 218"/>
                  <a:gd name="T44" fmla="*/ 391 w 556"/>
                  <a:gd name="T45" fmla="*/ 49 h 218"/>
                  <a:gd name="T46" fmla="*/ 394 w 556"/>
                  <a:gd name="T47" fmla="*/ 36 h 218"/>
                  <a:gd name="T48" fmla="*/ 398 w 556"/>
                  <a:gd name="T49" fmla="*/ 20 h 218"/>
                  <a:gd name="T50" fmla="*/ 425 w 556"/>
                  <a:gd name="T51" fmla="*/ 10 h 218"/>
                  <a:gd name="T52" fmla="*/ 435 w 556"/>
                  <a:gd name="T53" fmla="*/ 5 h 218"/>
                  <a:gd name="T54" fmla="*/ 447 w 556"/>
                  <a:gd name="T55" fmla="*/ 8 h 218"/>
                  <a:gd name="T56" fmla="*/ 464 w 556"/>
                  <a:gd name="T57" fmla="*/ 20 h 218"/>
                  <a:gd name="T58" fmla="*/ 477 w 556"/>
                  <a:gd name="T59" fmla="*/ 29 h 218"/>
                  <a:gd name="T60" fmla="*/ 493 w 556"/>
                  <a:gd name="T61" fmla="*/ 37 h 218"/>
                  <a:gd name="T62" fmla="*/ 513 w 556"/>
                  <a:gd name="T63" fmla="*/ 41 h 218"/>
                  <a:gd name="T64" fmla="*/ 532 w 556"/>
                  <a:gd name="T65" fmla="*/ 43 h 218"/>
                  <a:gd name="T66" fmla="*/ 554 w 556"/>
                  <a:gd name="T67" fmla="*/ 53 h 218"/>
                  <a:gd name="T68" fmla="*/ 24 w 556"/>
                  <a:gd name="T69" fmla="*/ 65 h 218"/>
                  <a:gd name="T70" fmla="*/ 25 w 556"/>
                  <a:gd name="T71" fmla="*/ 82 h 218"/>
                  <a:gd name="T72" fmla="*/ 5 w 556"/>
                  <a:gd name="T73" fmla="*/ 78 h 218"/>
                  <a:gd name="T74" fmla="*/ 15 w 556"/>
                  <a:gd name="T75" fmla="*/ 63 h 218"/>
                  <a:gd name="T76" fmla="*/ 5 w 556"/>
                  <a:gd name="T77" fmla="*/ 48 h 218"/>
                  <a:gd name="T78" fmla="*/ 44 w 556"/>
                  <a:gd name="T79" fmla="*/ 75 h 218"/>
                  <a:gd name="T80" fmla="*/ 46 w 556"/>
                  <a:gd name="T81" fmla="*/ 65 h 218"/>
                  <a:gd name="T82" fmla="*/ 389 w 556"/>
                  <a:gd name="T83" fmla="*/ 148 h 218"/>
                  <a:gd name="T84" fmla="*/ 8 w 556"/>
                  <a:gd name="T85" fmla="*/ 58 h 218"/>
                  <a:gd name="T86" fmla="*/ 7 w 556"/>
                  <a:gd name="T87" fmla="*/ 58 h 218"/>
                  <a:gd name="T88" fmla="*/ 30 w 556"/>
                  <a:gd name="T89" fmla="*/ 54 h 218"/>
                  <a:gd name="T90" fmla="*/ 71 w 556"/>
                  <a:gd name="T91" fmla="*/ 78 h 218"/>
                  <a:gd name="T92" fmla="*/ 41 w 556"/>
                  <a:gd name="T93" fmla="*/ 90 h 218"/>
                  <a:gd name="T94" fmla="*/ 399 w 556"/>
                  <a:gd name="T95" fmla="*/ 136 h 218"/>
                  <a:gd name="T96" fmla="*/ 391 w 556"/>
                  <a:gd name="T97" fmla="*/ 136 h 218"/>
                  <a:gd name="T98" fmla="*/ 403 w 556"/>
                  <a:gd name="T99" fmla="*/ 138 h 218"/>
                  <a:gd name="T100" fmla="*/ 428 w 556"/>
                  <a:gd name="T101" fmla="*/ 5 h 218"/>
                  <a:gd name="T102" fmla="*/ 66 w 556"/>
                  <a:gd name="T103" fmla="*/ 95 h 218"/>
                  <a:gd name="T104" fmla="*/ 391 w 556"/>
                  <a:gd name="T105" fmla="*/ 145 h 218"/>
                  <a:gd name="T106" fmla="*/ 394 w 556"/>
                  <a:gd name="T107" fmla="*/ 124 h 218"/>
                  <a:gd name="T108" fmla="*/ 394 w 556"/>
                  <a:gd name="T109" fmla="*/ 138 h 218"/>
                  <a:gd name="T110" fmla="*/ 392 w 556"/>
                  <a:gd name="T111" fmla="*/ 129 h 218"/>
                  <a:gd name="T112" fmla="*/ 387 w 556"/>
                  <a:gd name="T113" fmla="*/ 162 h 218"/>
                  <a:gd name="T114" fmla="*/ 392 w 556"/>
                  <a:gd name="T115" fmla="*/ 36 h 218"/>
                  <a:gd name="T116" fmla="*/ 394 w 556"/>
                  <a:gd name="T117" fmla="*/ 129 h 218"/>
                  <a:gd name="T118" fmla="*/ 396 w 556"/>
                  <a:gd name="T119" fmla="*/ 131 h 218"/>
                  <a:gd name="T120" fmla="*/ 399 w 556"/>
                  <a:gd name="T121" fmla="*/ 134 h 218"/>
                  <a:gd name="T122" fmla="*/ 387 w 556"/>
                  <a:gd name="T123" fmla="*/ 139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56" h="218">
                    <a:moveTo>
                      <a:pt x="554" y="53"/>
                    </a:moveTo>
                    <a:lnTo>
                      <a:pt x="552" y="54"/>
                    </a:lnTo>
                    <a:lnTo>
                      <a:pt x="551" y="54"/>
                    </a:lnTo>
                    <a:lnTo>
                      <a:pt x="549" y="54"/>
                    </a:lnTo>
                    <a:lnTo>
                      <a:pt x="547" y="54"/>
                    </a:lnTo>
                    <a:lnTo>
                      <a:pt x="547" y="53"/>
                    </a:lnTo>
                    <a:lnTo>
                      <a:pt x="545" y="53"/>
                    </a:lnTo>
                    <a:lnTo>
                      <a:pt x="544" y="53"/>
                    </a:lnTo>
                    <a:lnTo>
                      <a:pt x="542" y="53"/>
                    </a:lnTo>
                    <a:lnTo>
                      <a:pt x="542" y="54"/>
                    </a:lnTo>
                    <a:lnTo>
                      <a:pt x="544" y="54"/>
                    </a:lnTo>
                    <a:lnTo>
                      <a:pt x="544" y="56"/>
                    </a:lnTo>
                    <a:lnTo>
                      <a:pt x="545" y="56"/>
                    </a:lnTo>
                    <a:lnTo>
                      <a:pt x="547" y="58"/>
                    </a:lnTo>
                    <a:lnTo>
                      <a:pt x="545" y="58"/>
                    </a:lnTo>
                    <a:lnTo>
                      <a:pt x="547" y="58"/>
                    </a:lnTo>
                    <a:lnTo>
                      <a:pt x="547" y="60"/>
                    </a:lnTo>
                    <a:lnTo>
                      <a:pt x="547" y="61"/>
                    </a:lnTo>
                    <a:lnTo>
                      <a:pt x="549" y="61"/>
                    </a:lnTo>
                    <a:lnTo>
                      <a:pt x="549" y="63"/>
                    </a:lnTo>
                    <a:lnTo>
                      <a:pt x="551" y="65"/>
                    </a:lnTo>
                    <a:lnTo>
                      <a:pt x="552" y="65"/>
                    </a:lnTo>
                    <a:lnTo>
                      <a:pt x="552" y="66"/>
                    </a:lnTo>
                    <a:lnTo>
                      <a:pt x="554" y="66"/>
                    </a:lnTo>
                    <a:lnTo>
                      <a:pt x="554" y="68"/>
                    </a:lnTo>
                    <a:lnTo>
                      <a:pt x="556" y="68"/>
                    </a:lnTo>
                    <a:lnTo>
                      <a:pt x="554" y="68"/>
                    </a:lnTo>
                    <a:lnTo>
                      <a:pt x="554" y="70"/>
                    </a:lnTo>
                    <a:lnTo>
                      <a:pt x="556" y="70"/>
                    </a:lnTo>
                    <a:lnTo>
                      <a:pt x="554" y="71"/>
                    </a:lnTo>
                    <a:lnTo>
                      <a:pt x="554" y="70"/>
                    </a:lnTo>
                    <a:lnTo>
                      <a:pt x="554" y="71"/>
                    </a:lnTo>
                    <a:lnTo>
                      <a:pt x="554" y="70"/>
                    </a:lnTo>
                    <a:lnTo>
                      <a:pt x="554" y="71"/>
                    </a:lnTo>
                    <a:lnTo>
                      <a:pt x="554" y="73"/>
                    </a:lnTo>
                    <a:lnTo>
                      <a:pt x="554" y="75"/>
                    </a:lnTo>
                    <a:lnTo>
                      <a:pt x="554" y="77"/>
                    </a:lnTo>
                    <a:lnTo>
                      <a:pt x="554" y="78"/>
                    </a:lnTo>
                    <a:lnTo>
                      <a:pt x="556" y="78"/>
                    </a:lnTo>
                    <a:lnTo>
                      <a:pt x="556" y="80"/>
                    </a:lnTo>
                    <a:lnTo>
                      <a:pt x="554" y="80"/>
                    </a:lnTo>
                    <a:lnTo>
                      <a:pt x="556" y="82"/>
                    </a:lnTo>
                    <a:lnTo>
                      <a:pt x="554" y="82"/>
                    </a:lnTo>
                    <a:lnTo>
                      <a:pt x="552" y="82"/>
                    </a:lnTo>
                    <a:lnTo>
                      <a:pt x="551" y="82"/>
                    </a:lnTo>
                    <a:lnTo>
                      <a:pt x="551" y="80"/>
                    </a:lnTo>
                    <a:lnTo>
                      <a:pt x="549" y="80"/>
                    </a:lnTo>
                    <a:lnTo>
                      <a:pt x="549" y="82"/>
                    </a:lnTo>
                    <a:lnTo>
                      <a:pt x="547" y="88"/>
                    </a:lnTo>
                    <a:lnTo>
                      <a:pt x="547" y="90"/>
                    </a:lnTo>
                    <a:lnTo>
                      <a:pt x="545" y="97"/>
                    </a:lnTo>
                    <a:lnTo>
                      <a:pt x="544" y="99"/>
                    </a:lnTo>
                    <a:lnTo>
                      <a:pt x="544" y="100"/>
                    </a:lnTo>
                    <a:lnTo>
                      <a:pt x="544" y="102"/>
                    </a:lnTo>
                    <a:lnTo>
                      <a:pt x="542" y="100"/>
                    </a:lnTo>
                    <a:lnTo>
                      <a:pt x="542" y="102"/>
                    </a:lnTo>
                    <a:lnTo>
                      <a:pt x="540" y="104"/>
                    </a:lnTo>
                    <a:lnTo>
                      <a:pt x="539" y="107"/>
                    </a:lnTo>
                    <a:lnTo>
                      <a:pt x="535" y="109"/>
                    </a:lnTo>
                    <a:lnTo>
                      <a:pt x="535" y="111"/>
                    </a:lnTo>
                    <a:lnTo>
                      <a:pt x="532" y="114"/>
                    </a:lnTo>
                    <a:lnTo>
                      <a:pt x="528" y="119"/>
                    </a:lnTo>
                    <a:lnTo>
                      <a:pt x="527" y="121"/>
                    </a:lnTo>
                    <a:lnTo>
                      <a:pt x="527" y="122"/>
                    </a:lnTo>
                    <a:lnTo>
                      <a:pt x="523" y="124"/>
                    </a:lnTo>
                    <a:lnTo>
                      <a:pt x="518" y="128"/>
                    </a:lnTo>
                    <a:lnTo>
                      <a:pt x="515" y="129"/>
                    </a:lnTo>
                    <a:lnTo>
                      <a:pt x="513" y="131"/>
                    </a:lnTo>
                    <a:lnTo>
                      <a:pt x="511" y="134"/>
                    </a:lnTo>
                    <a:lnTo>
                      <a:pt x="510" y="134"/>
                    </a:lnTo>
                    <a:lnTo>
                      <a:pt x="508" y="136"/>
                    </a:lnTo>
                    <a:lnTo>
                      <a:pt x="506" y="136"/>
                    </a:lnTo>
                    <a:lnTo>
                      <a:pt x="505" y="138"/>
                    </a:lnTo>
                    <a:lnTo>
                      <a:pt x="503" y="138"/>
                    </a:lnTo>
                    <a:lnTo>
                      <a:pt x="501" y="138"/>
                    </a:lnTo>
                    <a:lnTo>
                      <a:pt x="489" y="143"/>
                    </a:lnTo>
                    <a:lnTo>
                      <a:pt x="476" y="148"/>
                    </a:lnTo>
                    <a:lnTo>
                      <a:pt x="471" y="148"/>
                    </a:lnTo>
                    <a:lnTo>
                      <a:pt x="467" y="150"/>
                    </a:lnTo>
                    <a:lnTo>
                      <a:pt x="464" y="153"/>
                    </a:lnTo>
                    <a:lnTo>
                      <a:pt x="462" y="153"/>
                    </a:lnTo>
                    <a:lnTo>
                      <a:pt x="462" y="155"/>
                    </a:lnTo>
                    <a:lnTo>
                      <a:pt x="460" y="155"/>
                    </a:lnTo>
                    <a:lnTo>
                      <a:pt x="460" y="156"/>
                    </a:lnTo>
                    <a:lnTo>
                      <a:pt x="459" y="156"/>
                    </a:lnTo>
                    <a:lnTo>
                      <a:pt x="459" y="158"/>
                    </a:lnTo>
                    <a:lnTo>
                      <a:pt x="457" y="160"/>
                    </a:lnTo>
                    <a:lnTo>
                      <a:pt x="457" y="162"/>
                    </a:lnTo>
                    <a:lnTo>
                      <a:pt x="455" y="162"/>
                    </a:lnTo>
                    <a:lnTo>
                      <a:pt x="455" y="163"/>
                    </a:lnTo>
                    <a:lnTo>
                      <a:pt x="455" y="165"/>
                    </a:lnTo>
                    <a:lnTo>
                      <a:pt x="457" y="165"/>
                    </a:lnTo>
                    <a:lnTo>
                      <a:pt x="457" y="167"/>
                    </a:lnTo>
                    <a:lnTo>
                      <a:pt x="455" y="167"/>
                    </a:lnTo>
                    <a:lnTo>
                      <a:pt x="454" y="167"/>
                    </a:lnTo>
                    <a:lnTo>
                      <a:pt x="454" y="165"/>
                    </a:lnTo>
                    <a:lnTo>
                      <a:pt x="454" y="163"/>
                    </a:lnTo>
                    <a:lnTo>
                      <a:pt x="452" y="163"/>
                    </a:lnTo>
                    <a:lnTo>
                      <a:pt x="450" y="163"/>
                    </a:lnTo>
                    <a:lnTo>
                      <a:pt x="449" y="163"/>
                    </a:lnTo>
                    <a:lnTo>
                      <a:pt x="450" y="163"/>
                    </a:lnTo>
                    <a:lnTo>
                      <a:pt x="449" y="163"/>
                    </a:lnTo>
                    <a:lnTo>
                      <a:pt x="450" y="165"/>
                    </a:lnTo>
                    <a:lnTo>
                      <a:pt x="449" y="165"/>
                    </a:lnTo>
                    <a:lnTo>
                      <a:pt x="449" y="167"/>
                    </a:lnTo>
                    <a:lnTo>
                      <a:pt x="449" y="168"/>
                    </a:lnTo>
                    <a:lnTo>
                      <a:pt x="449" y="170"/>
                    </a:lnTo>
                    <a:lnTo>
                      <a:pt x="449" y="172"/>
                    </a:lnTo>
                    <a:lnTo>
                      <a:pt x="447" y="172"/>
                    </a:lnTo>
                    <a:lnTo>
                      <a:pt x="449" y="172"/>
                    </a:lnTo>
                    <a:lnTo>
                      <a:pt x="449" y="173"/>
                    </a:lnTo>
                    <a:lnTo>
                      <a:pt x="447" y="173"/>
                    </a:lnTo>
                    <a:lnTo>
                      <a:pt x="447" y="175"/>
                    </a:lnTo>
                    <a:lnTo>
                      <a:pt x="447" y="177"/>
                    </a:lnTo>
                    <a:lnTo>
                      <a:pt x="447" y="179"/>
                    </a:lnTo>
                    <a:lnTo>
                      <a:pt x="445" y="179"/>
                    </a:lnTo>
                    <a:lnTo>
                      <a:pt x="445" y="180"/>
                    </a:lnTo>
                    <a:lnTo>
                      <a:pt x="445" y="182"/>
                    </a:lnTo>
                    <a:lnTo>
                      <a:pt x="443" y="182"/>
                    </a:lnTo>
                    <a:lnTo>
                      <a:pt x="443" y="184"/>
                    </a:lnTo>
                    <a:lnTo>
                      <a:pt x="442" y="184"/>
                    </a:lnTo>
                    <a:lnTo>
                      <a:pt x="442" y="185"/>
                    </a:lnTo>
                    <a:lnTo>
                      <a:pt x="443" y="185"/>
                    </a:lnTo>
                    <a:lnTo>
                      <a:pt x="443" y="187"/>
                    </a:lnTo>
                    <a:lnTo>
                      <a:pt x="442" y="187"/>
                    </a:lnTo>
                    <a:lnTo>
                      <a:pt x="442" y="189"/>
                    </a:lnTo>
                    <a:lnTo>
                      <a:pt x="442" y="190"/>
                    </a:lnTo>
                    <a:lnTo>
                      <a:pt x="440" y="190"/>
                    </a:lnTo>
                    <a:lnTo>
                      <a:pt x="440" y="192"/>
                    </a:lnTo>
                    <a:lnTo>
                      <a:pt x="442" y="192"/>
                    </a:lnTo>
                    <a:lnTo>
                      <a:pt x="440" y="194"/>
                    </a:lnTo>
                    <a:lnTo>
                      <a:pt x="440" y="196"/>
                    </a:lnTo>
                    <a:lnTo>
                      <a:pt x="440" y="197"/>
                    </a:lnTo>
                    <a:lnTo>
                      <a:pt x="442" y="199"/>
                    </a:lnTo>
                    <a:lnTo>
                      <a:pt x="440" y="199"/>
                    </a:lnTo>
                    <a:lnTo>
                      <a:pt x="440" y="201"/>
                    </a:lnTo>
                    <a:lnTo>
                      <a:pt x="438" y="202"/>
                    </a:lnTo>
                    <a:lnTo>
                      <a:pt x="438" y="204"/>
                    </a:lnTo>
                    <a:lnTo>
                      <a:pt x="437" y="206"/>
                    </a:lnTo>
                    <a:lnTo>
                      <a:pt x="435" y="206"/>
                    </a:lnTo>
                    <a:lnTo>
                      <a:pt x="433" y="206"/>
                    </a:lnTo>
                    <a:lnTo>
                      <a:pt x="432" y="208"/>
                    </a:lnTo>
                    <a:lnTo>
                      <a:pt x="432" y="209"/>
                    </a:lnTo>
                    <a:lnTo>
                      <a:pt x="432" y="211"/>
                    </a:lnTo>
                    <a:lnTo>
                      <a:pt x="430" y="211"/>
                    </a:lnTo>
                    <a:lnTo>
                      <a:pt x="432" y="211"/>
                    </a:lnTo>
                    <a:lnTo>
                      <a:pt x="432" y="213"/>
                    </a:lnTo>
                    <a:lnTo>
                      <a:pt x="430" y="213"/>
                    </a:lnTo>
                    <a:lnTo>
                      <a:pt x="432" y="214"/>
                    </a:lnTo>
                    <a:lnTo>
                      <a:pt x="430" y="214"/>
                    </a:lnTo>
                    <a:lnTo>
                      <a:pt x="428" y="214"/>
                    </a:lnTo>
                    <a:lnTo>
                      <a:pt x="428" y="216"/>
                    </a:lnTo>
                    <a:lnTo>
                      <a:pt x="428" y="218"/>
                    </a:lnTo>
                    <a:lnTo>
                      <a:pt x="426" y="218"/>
                    </a:lnTo>
                    <a:lnTo>
                      <a:pt x="425" y="218"/>
                    </a:lnTo>
                    <a:lnTo>
                      <a:pt x="423" y="218"/>
                    </a:lnTo>
                    <a:lnTo>
                      <a:pt x="423" y="216"/>
                    </a:lnTo>
                    <a:lnTo>
                      <a:pt x="421" y="216"/>
                    </a:lnTo>
                    <a:lnTo>
                      <a:pt x="420" y="216"/>
                    </a:lnTo>
                    <a:lnTo>
                      <a:pt x="418" y="216"/>
                    </a:lnTo>
                    <a:lnTo>
                      <a:pt x="418" y="214"/>
                    </a:lnTo>
                    <a:lnTo>
                      <a:pt x="416" y="214"/>
                    </a:lnTo>
                    <a:lnTo>
                      <a:pt x="415" y="213"/>
                    </a:lnTo>
                    <a:lnTo>
                      <a:pt x="413" y="211"/>
                    </a:lnTo>
                    <a:lnTo>
                      <a:pt x="413" y="209"/>
                    </a:lnTo>
                    <a:lnTo>
                      <a:pt x="413" y="208"/>
                    </a:lnTo>
                    <a:lnTo>
                      <a:pt x="411" y="206"/>
                    </a:lnTo>
                    <a:lnTo>
                      <a:pt x="411" y="204"/>
                    </a:lnTo>
                    <a:lnTo>
                      <a:pt x="411" y="202"/>
                    </a:lnTo>
                    <a:lnTo>
                      <a:pt x="409" y="201"/>
                    </a:lnTo>
                    <a:lnTo>
                      <a:pt x="409" y="202"/>
                    </a:lnTo>
                    <a:lnTo>
                      <a:pt x="409" y="201"/>
                    </a:lnTo>
                    <a:lnTo>
                      <a:pt x="408" y="201"/>
                    </a:lnTo>
                    <a:lnTo>
                      <a:pt x="408" y="199"/>
                    </a:lnTo>
                    <a:lnTo>
                      <a:pt x="406" y="199"/>
                    </a:lnTo>
                    <a:lnTo>
                      <a:pt x="404" y="199"/>
                    </a:lnTo>
                    <a:lnTo>
                      <a:pt x="404" y="201"/>
                    </a:lnTo>
                    <a:lnTo>
                      <a:pt x="403" y="201"/>
                    </a:lnTo>
                    <a:lnTo>
                      <a:pt x="401" y="201"/>
                    </a:lnTo>
                    <a:lnTo>
                      <a:pt x="399" y="201"/>
                    </a:lnTo>
                    <a:lnTo>
                      <a:pt x="399" y="199"/>
                    </a:lnTo>
                    <a:lnTo>
                      <a:pt x="398" y="197"/>
                    </a:lnTo>
                    <a:lnTo>
                      <a:pt x="396" y="197"/>
                    </a:lnTo>
                    <a:lnTo>
                      <a:pt x="394" y="197"/>
                    </a:lnTo>
                    <a:lnTo>
                      <a:pt x="392" y="196"/>
                    </a:lnTo>
                    <a:lnTo>
                      <a:pt x="392" y="194"/>
                    </a:lnTo>
                    <a:lnTo>
                      <a:pt x="391" y="194"/>
                    </a:lnTo>
                    <a:lnTo>
                      <a:pt x="389" y="194"/>
                    </a:lnTo>
                    <a:lnTo>
                      <a:pt x="387" y="194"/>
                    </a:lnTo>
                    <a:lnTo>
                      <a:pt x="387" y="196"/>
                    </a:lnTo>
                    <a:lnTo>
                      <a:pt x="386" y="196"/>
                    </a:lnTo>
                    <a:lnTo>
                      <a:pt x="386" y="197"/>
                    </a:lnTo>
                    <a:lnTo>
                      <a:pt x="384" y="197"/>
                    </a:lnTo>
                    <a:lnTo>
                      <a:pt x="384" y="199"/>
                    </a:lnTo>
                    <a:lnTo>
                      <a:pt x="382" y="199"/>
                    </a:lnTo>
                    <a:lnTo>
                      <a:pt x="382" y="201"/>
                    </a:lnTo>
                    <a:lnTo>
                      <a:pt x="381" y="201"/>
                    </a:lnTo>
                    <a:lnTo>
                      <a:pt x="379" y="199"/>
                    </a:lnTo>
                    <a:lnTo>
                      <a:pt x="379" y="201"/>
                    </a:lnTo>
                    <a:lnTo>
                      <a:pt x="379" y="199"/>
                    </a:lnTo>
                    <a:lnTo>
                      <a:pt x="379" y="197"/>
                    </a:lnTo>
                    <a:lnTo>
                      <a:pt x="379" y="196"/>
                    </a:lnTo>
                    <a:lnTo>
                      <a:pt x="381" y="196"/>
                    </a:lnTo>
                    <a:lnTo>
                      <a:pt x="381" y="194"/>
                    </a:lnTo>
                    <a:lnTo>
                      <a:pt x="382" y="192"/>
                    </a:lnTo>
                    <a:lnTo>
                      <a:pt x="382" y="190"/>
                    </a:lnTo>
                    <a:lnTo>
                      <a:pt x="384" y="190"/>
                    </a:lnTo>
                    <a:lnTo>
                      <a:pt x="382" y="190"/>
                    </a:lnTo>
                    <a:lnTo>
                      <a:pt x="382" y="192"/>
                    </a:lnTo>
                    <a:lnTo>
                      <a:pt x="381" y="190"/>
                    </a:lnTo>
                    <a:lnTo>
                      <a:pt x="381" y="192"/>
                    </a:lnTo>
                    <a:lnTo>
                      <a:pt x="379" y="190"/>
                    </a:lnTo>
                    <a:lnTo>
                      <a:pt x="379" y="189"/>
                    </a:lnTo>
                    <a:lnTo>
                      <a:pt x="377" y="189"/>
                    </a:lnTo>
                    <a:lnTo>
                      <a:pt x="379" y="187"/>
                    </a:lnTo>
                    <a:lnTo>
                      <a:pt x="377" y="187"/>
                    </a:lnTo>
                    <a:lnTo>
                      <a:pt x="377" y="185"/>
                    </a:lnTo>
                    <a:lnTo>
                      <a:pt x="379" y="185"/>
                    </a:lnTo>
                    <a:lnTo>
                      <a:pt x="379" y="184"/>
                    </a:lnTo>
                    <a:lnTo>
                      <a:pt x="381" y="184"/>
                    </a:lnTo>
                    <a:lnTo>
                      <a:pt x="382" y="184"/>
                    </a:lnTo>
                    <a:lnTo>
                      <a:pt x="384" y="185"/>
                    </a:lnTo>
                    <a:lnTo>
                      <a:pt x="384" y="184"/>
                    </a:lnTo>
                    <a:lnTo>
                      <a:pt x="386" y="184"/>
                    </a:lnTo>
                    <a:lnTo>
                      <a:pt x="386" y="182"/>
                    </a:lnTo>
                    <a:lnTo>
                      <a:pt x="387" y="182"/>
                    </a:lnTo>
                    <a:lnTo>
                      <a:pt x="389" y="180"/>
                    </a:lnTo>
                    <a:lnTo>
                      <a:pt x="389" y="179"/>
                    </a:lnTo>
                    <a:lnTo>
                      <a:pt x="389" y="177"/>
                    </a:lnTo>
                    <a:lnTo>
                      <a:pt x="387" y="177"/>
                    </a:lnTo>
                    <a:lnTo>
                      <a:pt x="387" y="175"/>
                    </a:lnTo>
                    <a:lnTo>
                      <a:pt x="387" y="173"/>
                    </a:lnTo>
                    <a:lnTo>
                      <a:pt x="387" y="172"/>
                    </a:lnTo>
                    <a:lnTo>
                      <a:pt x="387" y="170"/>
                    </a:lnTo>
                    <a:lnTo>
                      <a:pt x="386" y="170"/>
                    </a:lnTo>
                    <a:lnTo>
                      <a:pt x="387" y="168"/>
                    </a:lnTo>
                    <a:lnTo>
                      <a:pt x="386" y="168"/>
                    </a:lnTo>
                    <a:lnTo>
                      <a:pt x="386" y="167"/>
                    </a:lnTo>
                    <a:lnTo>
                      <a:pt x="386" y="165"/>
                    </a:lnTo>
                    <a:lnTo>
                      <a:pt x="387" y="165"/>
                    </a:lnTo>
                    <a:lnTo>
                      <a:pt x="389" y="165"/>
                    </a:lnTo>
                    <a:lnTo>
                      <a:pt x="391" y="165"/>
                    </a:lnTo>
                    <a:lnTo>
                      <a:pt x="392" y="163"/>
                    </a:lnTo>
                    <a:lnTo>
                      <a:pt x="392" y="162"/>
                    </a:lnTo>
                    <a:lnTo>
                      <a:pt x="392" y="163"/>
                    </a:lnTo>
                    <a:lnTo>
                      <a:pt x="392" y="162"/>
                    </a:lnTo>
                    <a:lnTo>
                      <a:pt x="392" y="160"/>
                    </a:lnTo>
                    <a:lnTo>
                      <a:pt x="394" y="160"/>
                    </a:lnTo>
                    <a:lnTo>
                      <a:pt x="394" y="158"/>
                    </a:lnTo>
                    <a:lnTo>
                      <a:pt x="394" y="156"/>
                    </a:lnTo>
                    <a:lnTo>
                      <a:pt x="396" y="156"/>
                    </a:lnTo>
                    <a:lnTo>
                      <a:pt x="398" y="155"/>
                    </a:lnTo>
                    <a:lnTo>
                      <a:pt x="398" y="153"/>
                    </a:lnTo>
                    <a:lnTo>
                      <a:pt x="398" y="151"/>
                    </a:lnTo>
                    <a:lnTo>
                      <a:pt x="398" y="153"/>
                    </a:lnTo>
                    <a:lnTo>
                      <a:pt x="398" y="151"/>
                    </a:lnTo>
                    <a:lnTo>
                      <a:pt x="399" y="151"/>
                    </a:lnTo>
                    <a:lnTo>
                      <a:pt x="399" y="150"/>
                    </a:lnTo>
                    <a:lnTo>
                      <a:pt x="399" y="148"/>
                    </a:lnTo>
                    <a:lnTo>
                      <a:pt x="399" y="146"/>
                    </a:lnTo>
                    <a:lnTo>
                      <a:pt x="399" y="145"/>
                    </a:lnTo>
                    <a:lnTo>
                      <a:pt x="399" y="143"/>
                    </a:lnTo>
                    <a:lnTo>
                      <a:pt x="401" y="143"/>
                    </a:lnTo>
                    <a:lnTo>
                      <a:pt x="401" y="141"/>
                    </a:lnTo>
                    <a:lnTo>
                      <a:pt x="401" y="139"/>
                    </a:lnTo>
                    <a:lnTo>
                      <a:pt x="401" y="138"/>
                    </a:lnTo>
                    <a:lnTo>
                      <a:pt x="403" y="138"/>
                    </a:lnTo>
                    <a:lnTo>
                      <a:pt x="403" y="136"/>
                    </a:lnTo>
                    <a:lnTo>
                      <a:pt x="403" y="134"/>
                    </a:lnTo>
                    <a:lnTo>
                      <a:pt x="403" y="133"/>
                    </a:lnTo>
                    <a:lnTo>
                      <a:pt x="403" y="134"/>
                    </a:lnTo>
                    <a:lnTo>
                      <a:pt x="403" y="133"/>
                    </a:lnTo>
                    <a:lnTo>
                      <a:pt x="401" y="134"/>
                    </a:lnTo>
                    <a:lnTo>
                      <a:pt x="401" y="133"/>
                    </a:lnTo>
                    <a:lnTo>
                      <a:pt x="401" y="131"/>
                    </a:lnTo>
                    <a:lnTo>
                      <a:pt x="399" y="131"/>
                    </a:lnTo>
                    <a:lnTo>
                      <a:pt x="399" y="129"/>
                    </a:lnTo>
                    <a:lnTo>
                      <a:pt x="399" y="128"/>
                    </a:lnTo>
                    <a:lnTo>
                      <a:pt x="399" y="126"/>
                    </a:lnTo>
                    <a:lnTo>
                      <a:pt x="399" y="124"/>
                    </a:lnTo>
                    <a:lnTo>
                      <a:pt x="399" y="122"/>
                    </a:lnTo>
                    <a:lnTo>
                      <a:pt x="398" y="122"/>
                    </a:lnTo>
                    <a:lnTo>
                      <a:pt x="398" y="124"/>
                    </a:lnTo>
                    <a:lnTo>
                      <a:pt x="398" y="126"/>
                    </a:lnTo>
                    <a:lnTo>
                      <a:pt x="399" y="126"/>
                    </a:lnTo>
                    <a:lnTo>
                      <a:pt x="399" y="128"/>
                    </a:lnTo>
                    <a:lnTo>
                      <a:pt x="399" y="129"/>
                    </a:lnTo>
                    <a:lnTo>
                      <a:pt x="399" y="131"/>
                    </a:lnTo>
                    <a:lnTo>
                      <a:pt x="398" y="131"/>
                    </a:lnTo>
                    <a:lnTo>
                      <a:pt x="398" y="133"/>
                    </a:lnTo>
                    <a:lnTo>
                      <a:pt x="398" y="134"/>
                    </a:lnTo>
                    <a:lnTo>
                      <a:pt x="398" y="136"/>
                    </a:lnTo>
                    <a:lnTo>
                      <a:pt x="396" y="136"/>
                    </a:lnTo>
                    <a:lnTo>
                      <a:pt x="396" y="134"/>
                    </a:lnTo>
                    <a:lnTo>
                      <a:pt x="394" y="134"/>
                    </a:lnTo>
                    <a:lnTo>
                      <a:pt x="396" y="134"/>
                    </a:lnTo>
                    <a:lnTo>
                      <a:pt x="396" y="133"/>
                    </a:lnTo>
                    <a:lnTo>
                      <a:pt x="398" y="133"/>
                    </a:lnTo>
                    <a:lnTo>
                      <a:pt x="398" y="131"/>
                    </a:lnTo>
                    <a:lnTo>
                      <a:pt x="398" y="129"/>
                    </a:lnTo>
                    <a:lnTo>
                      <a:pt x="396" y="129"/>
                    </a:lnTo>
                    <a:lnTo>
                      <a:pt x="398" y="128"/>
                    </a:lnTo>
                    <a:lnTo>
                      <a:pt x="396" y="128"/>
                    </a:lnTo>
                    <a:lnTo>
                      <a:pt x="398" y="128"/>
                    </a:lnTo>
                    <a:lnTo>
                      <a:pt x="396" y="126"/>
                    </a:lnTo>
                    <a:lnTo>
                      <a:pt x="398" y="126"/>
                    </a:lnTo>
                    <a:lnTo>
                      <a:pt x="396" y="126"/>
                    </a:lnTo>
                    <a:lnTo>
                      <a:pt x="396" y="124"/>
                    </a:lnTo>
                    <a:lnTo>
                      <a:pt x="394" y="124"/>
                    </a:lnTo>
                    <a:lnTo>
                      <a:pt x="394" y="126"/>
                    </a:lnTo>
                    <a:lnTo>
                      <a:pt x="394" y="128"/>
                    </a:lnTo>
                    <a:lnTo>
                      <a:pt x="396" y="128"/>
                    </a:lnTo>
                    <a:lnTo>
                      <a:pt x="394" y="128"/>
                    </a:lnTo>
                    <a:lnTo>
                      <a:pt x="392" y="128"/>
                    </a:lnTo>
                    <a:lnTo>
                      <a:pt x="392" y="129"/>
                    </a:lnTo>
                    <a:lnTo>
                      <a:pt x="391" y="129"/>
                    </a:lnTo>
                    <a:lnTo>
                      <a:pt x="391" y="131"/>
                    </a:lnTo>
                    <a:lnTo>
                      <a:pt x="391" y="133"/>
                    </a:lnTo>
                    <a:lnTo>
                      <a:pt x="391" y="134"/>
                    </a:lnTo>
                    <a:lnTo>
                      <a:pt x="389" y="134"/>
                    </a:lnTo>
                    <a:lnTo>
                      <a:pt x="389" y="136"/>
                    </a:lnTo>
                    <a:lnTo>
                      <a:pt x="387" y="134"/>
                    </a:lnTo>
                    <a:lnTo>
                      <a:pt x="389" y="136"/>
                    </a:lnTo>
                    <a:lnTo>
                      <a:pt x="387" y="136"/>
                    </a:lnTo>
                    <a:lnTo>
                      <a:pt x="386" y="138"/>
                    </a:lnTo>
                    <a:lnTo>
                      <a:pt x="384" y="138"/>
                    </a:lnTo>
                    <a:lnTo>
                      <a:pt x="386" y="138"/>
                    </a:lnTo>
                    <a:lnTo>
                      <a:pt x="386" y="139"/>
                    </a:lnTo>
                    <a:lnTo>
                      <a:pt x="386" y="141"/>
                    </a:lnTo>
                    <a:lnTo>
                      <a:pt x="384" y="141"/>
                    </a:lnTo>
                    <a:lnTo>
                      <a:pt x="382" y="139"/>
                    </a:lnTo>
                    <a:lnTo>
                      <a:pt x="381" y="139"/>
                    </a:lnTo>
                    <a:lnTo>
                      <a:pt x="381" y="138"/>
                    </a:lnTo>
                    <a:lnTo>
                      <a:pt x="379" y="138"/>
                    </a:lnTo>
                    <a:lnTo>
                      <a:pt x="377" y="138"/>
                    </a:lnTo>
                    <a:lnTo>
                      <a:pt x="377" y="136"/>
                    </a:lnTo>
                    <a:lnTo>
                      <a:pt x="376" y="134"/>
                    </a:lnTo>
                    <a:lnTo>
                      <a:pt x="376" y="133"/>
                    </a:lnTo>
                    <a:lnTo>
                      <a:pt x="374" y="133"/>
                    </a:lnTo>
                    <a:lnTo>
                      <a:pt x="372" y="131"/>
                    </a:lnTo>
                    <a:lnTo>
                      <a:pt x="370" y="131"/>
                    </a:lnTo>
                    <a:lnTo>
                      <a:pt x="370" y="129"/>
                    </a:lnTo>
                    <a:lnTo>
                      <a:pt x="369" y="129"/>
                    </a:lnTo>
                    <a:lnTo>
                      <a:pt x="367" y="129"/>
                    </a:lnTo>
                    <a:lnTo>
                      <a:pt x="365" y="128"/>
                    </a:lnTo>
                    <a:lnTo>
                      <a:pt x="364" y="128"/>
                    </a:lnTo>
                    <a:lnTo>
                      <a:pt x="364" y="126"/>
                    </a:lnTo>
                    <a:lnTo>
                      <a:pt x="362" y="126"/>
                    </a:lnTo>
                    <a:lnTo>
                      <a:pt x="362" y="124"/>
                    </a:lnTo>
                    <a:lnTo>
                      <a:pt x="360" y="124"/>
                    </a:lnTo>
                    <a:lnTo>
                      <a:pt x="360" y="122"/>
                    </a:lnTo>
                    <a:lnTo>
                      <a:pt x="360" y="124"/>
                    </a:lnTo>
                    <a:lnTo>
                      <a:pt x="362" y="122"/>
                    </a:lnTo>
                    <a:lnTo>
                      <a:pt x="362" y="124"/>
                    </a:lnTo>
                    <a:lnTo>
                      <a:pt x="364" y="124"/>
                    </a:lnTo>
                    <a:lnTo>
                      <a:pt x="364" y="122"/>
                    </a:lnTo>
                    <a:lnTo>
                      <a:pt x="365" y="122"/>
                    </a:lnTo>
                    <a:lnTo>
                      <a:pt x="367" y="122"/>
                    </a:lnTo>
                    <a:lnTo>
                      <a:pt x="367" y="121"/>
                    </a:lnTo>
                    <a:lnTo>
                      <a:pt x="369" y="121"/>
                    </a:lnTo>
                    <a:lnTo>
                      <a:pt x="369" y="119"/>
                    </a:lnTo>
                    <a:lnTo>
                      <a:pt x="369" y="117"/>
                    </a:lnTo>
                    <a:lnTo>
                      <a:pt x="369" y="116"/>
                    </a:lnTo>
                    <a:lnTo>
                      <a:pt x="369" y="114"/>
                    </a:lnTo>
                    <a:lnTo>
                      <a:pt x="369" y="112"/>
                    </a:lnTo>
                    <a:lnTo>
                      <a:pt x="369" y="111"/>
                    </a:lnTo>
                    <a:lnTo>
                      <a:pt x="369" y="109"/>
                    </a:lnTo>
                    <a:lnTo>
                      <a:pt x="367" y="109"/>
                    </a:lnTo>
                    <a:lnTo>
                      <a:pt x="367" y="107"/>
                    </a:lnTo>
                    <a:lnTo>
                      <a:pt x="367" y="105"/>
                    </a:lnTo>
                    <a:lnTo>
                      <a:pt x="365" y="105"/>
                    </a:lnTo>
                    <a:lnTo>
                      <a:pt x="365" y="104"/>
                    </a:lnTo>
                    <a:lnTo>
                      <a:pt x="365" y="102"/>
                    </a:lnTo>
                    <a:lnTo>
                      <a:pt x="367" y="102"/>
                    </a:lnTo>
                    <a:lnTo>
                      <a:pt x="367" y="100"/>
                    </a:lnTo>
                    <a:lnTo>
                      <a:pt x="367" y="99"/>
                    </a:lnTo>
                    <a:lnTo>
                      <a:pt x="369" y="99"/>
                    </a:lnTo>
                    <a:lnTo>
                      <a:pt x="369" y="97"/>
                    </a:lnTo>
                    <a:lnTo>
                      <a:pt x="369" y="95"/>
                    </a:lnTo>
                    <a:lnTo>
                      <a:pt x="369" y="94"/>
                    </a:lnTo>
                    <a:lnTo>
                      <a:pt x="367" y="92"/>
                    </a:lnTo>
                    <a:lnTo>
                      <a:pt x="367" y="90"/>
                    </a:lnTo>
                    <a:lnTo>
                      <a:pt x="365" y="90"/>
                    </a:lnTo>
                    <a:lnTo>
                      <a:pt x="365" y="88"/>
                    </a:lnTo>
                    <a:lnTo>
                      <a:pt x="364" y="88"/>
                    </a:lnTo>
                    <a:lnTo>
                      <a:pt x="364" y="87"/>
                    </a:lnTo>
                    <a:lnTo>
                      <a:pt x="364" y="85"/>
                    </a:lnTo>
                    <a:lnTo>
                      <a:pt x="364" y="83"/>
                    </a:lnTo>
                    <a:lnTo>
                      <a:pt x="365" y="83"/>
                    </a:lnTo>
                    <a:lnTo>
                      <a:pt x="365" y="82"/>
                    </a:lnTo>
                    <a:lnTo>
                      <a:pt x="367" y="82"/>
                    </a:lnTo>
                    <a:lnTo>
                      <a:pt x="369" y="80"/>
                    </a:lnTo>
                    <a:lnTo>
                      <a:pt x="369" y="82"/>
                    </a:lnTo>
                    <a:lnTo>
                      <a:pt x="370" y="82"/>
                    </a:lnTo>
                    <a:lnTo>
                      <a:pt x="370" y="80"/>
                    </a:lnTo>
                    <a:lnTo>
                      <a:pt x="372" y="80"/>
                    </a:lnTo>
                    <a:lnTo>
                      <a:pt x="372" y="82"/>
                    </a:lnTo>
                    <a:lnTo>
                      <a:pt x="372" y="80"/>
                    </a:lnTo>
                    <a:lnTo>
                      <a:pt x="374" y="80"/>
                    </a:lnTo>
                    <a:lnTo>
                      <a:pt x="376" y="80"/>
                    </a:lnTo>
                    <a:lnTo>
                      <a:pt x="376" y="78"/>
                    </a:lnTo>
                    <a:lnTo>
                      <a:pt x="376" y="77"/>
                    </a:lnTo>
                    <a:lnTo>
                      <a:pt x="376" y="75"/>
                    </a:lnTo>
                    <a:lnTo>
                      <a:pt x="377" y="75"/>
                    </a:lnTo>
                    <a:lnTo>
                      <a:pt x="377" y="73"/>
                    </a:lnTo>
                    <a:lnTo>
                      <a:pt x="377" y="71"/>
                    </a:lnTo>
                    <a:lnTo>
                      <a:pt x="377" y="70"/>
                    </a:lnTo>
                    <a:lnTo>
                      <a:pt x="379" y="70"/>
                    </a:lnTo>
                    <a:lnTo>
                      <a:pt x="381" y="71"/>
                    </a:lnTo>
                    <a:lnTo>
                      <a:pt x="382" y="71"/>
                    </a:lnTo>
                    <a:lnTo>
                      <a:pt x="384" y="71"/>
                    </a:lnTo>
                    <a:lnTo>
                      <a:pt x="382" y="71"/>
                    </a:lnTo>
                    <a:lnTo>
                      <a:pt x="382" y="70"/>
                    </a:lnTo>
                    <a:lnTo>
                      <a:pt x="381" y="71"/>
                    </a:lnTo>
                    <a:lnTo>
                      <a:pt x="381" y="70"/>
                    </a:lnTo>
                    <a:lnTo>
                      <a:pt x="381" y="68"/>
                    </a:lnTo>
                    <a:lnTo>
                      <a:pt x="379" y="68"/>
                    </a:lnTo>
                    <a:lnTo>
                      <a:pt x="379" y="66"/>
                    </a:lnTo>
                    <a:lnTo>
                      <a:pt x="379" y="65"/>
                    </a:lnTo>
                    <a:lnTo>
                      <a:pt x="377" y="65"/>
                    </a:lnTo>
                    <a:lnTo>
                      <a:pt x="377" y="63"/>
                    </a:lnTo>
                    <a:lnTo>
                      <a:pt x="377" y="61"/>
                    </a:lnTo>
                    <a:lnTo>
                      <a:pt x="379" y="61"/>
                    </a:lnTo>
                    <a:lnTo>
                      <a:pt x="379" y="60"/>
                    </a:lnTo>
                    <a:lnTo>
                      <a:pt x="381" y="60"/>
                    </a:lnTo>
                    <a:lnTo>
                      <a:pt x="381" y="58"/>
                    </a:lnTo>
                    <a:lnTo>
                      <a:pt x="381" y="56"/>
                    </a:lnTo>
                    <a:lnTo>
                      <a:pt x="382" y="56"/>
                    </a:lnTo>
                    <a:lnTo>
                      <a:pt x="382" y="54"/>
                    </a:lnTo>
                    <a:lnTo>
                      <a:pt x="384" y="54"/>
                    </a:lnTo>
                    <a:lnTo>
                      <a:pt x="386" y="54"/>
                    </a:lnTo>
                    <a:lnTo>
                      <a:pt x="386" y="53"/>
                    </a:lnTo>
                    <a:lnTo>
                      <a:pt x="387" y="53"/>
                    </a:lnTo>
                    <a:lnTo>
                      <a:pt x="387" y="51"/>
                    </a:lnTo>
                    <a:lnTo>
                      <a:pt x="389" y="51"/>
                    </a:lnTo>
                    <a:lnTo>
                      <a:pt x="389" y="49"/>
                    </a:lnTo>
                    <a:lnTo>
                      <a:pt x="391" y="49"/>
                    </a:lnTo>
                    <a:lnTo>
                      <a:pt x="391" y="48"/>
                    </a:lnTo>
                    <a:lnTo>
                      <a:pt x="392" y="46"/>
                    </a:lnTo>
                    <a:lnTo>
                      <a:pt x="392" y="44"/>
                    </a:lnTo>
                    <a:lnTo>
                      <a:pt x="392" y="43"/>
                    </a:lnTo>
                    <a:lnTo>
                      <a:pt x="392" y="41"/>
                    </a:lnTo>
                    <a:lnTo>
                      <a:pt x="392" y="39"/>
                    </a:lnTo>
                    <a:lnTo>
                      <a:pt x="392" y="37"/>
                    </a:lnTo>
                    <a:lnTo>
                      <a:pt x="392" y="36"/>
                    </a:lnTo>
                    <a:lnTo>
                      <a:pt x="392" y="37"/>
                    </a:lnTo>
                    <a:lnTo>
                      <a:pt x="394" y="37"/>
                    </a:lnTo>
                    <a:lnTo>
                      <a:pt x="394" y="39"/>
                    </a:lnTo>
                    <a:lnTo>
                      <a:pt x="394" y="41"/>
                    </a:lnTo>
                    <a:lnTo>
                      <a:pt x="394" y="43"/>
                    </a:lnTo>
                    <a:lnTo>
                      <a:pt x="396" y="43"/>
                    </a:lnTo>
                    <a:lnTo>
                      <a:pt x="396" y="41"/>
                    </a:lnTo>
                    <a:lnTo>
                      <a:pt x="396" y="39"/>
                    </a:lnTo>
                    <a:lnTo>
                      <a:pt x="394" y="39"/>
                    </a:lnTo>
                    <a:lnTo>
                      <a:pt x="394" y="37"/>
                    </a:lnTo>
                    <a:lnTo>
                      <a:pt x="394" y="36"/>
                    </a:lnTo>
                    <a:lnTo>
                      <a:pt x="392" y="36"/>
                    </a:lnTo>
                    <a:lnTo>
                      <a:pt x="392" y="34"/>
                    </a:lnTo>
                    <a:lnTo>
                      <a:pt x="392" y="32"/>
                    </a:lnTo>
                    <a:lnTo>
                      <a:pt x="394" y="31"/>
                    </a:lnTo>
                    <a:lnTo>
                      <a:pt x="394" y="29"/>
                    </a:lnTo>
                    <a:lnTo>
                      <a:pt x="392" y="29"/>
                    </a:lnTo>
                    <a:lnTo>
                      <a:pt x="392" y="27"/>
                    </a:lnTo>
                    <a:lnTo>
                      <a:pt x="391" y="27"/>
                    </a:lnTo>
                    <a:lnTo>
                      <a:pt x="391" y="25"/>
                    </a:lnTo>
                    <a:lnTo>
                      <a:pt x="391" y="24"/>
                    </a:lnTo>
                    <a:lnTo>
                      <a:pt x="391" y="22"/>
                    </a:lnTo>
                    <a:lnTo>
                      <a:pt x="392" y="22"/>
                    </a:lnTo>
                    <a:lnTo>
                      <a:pt x="392" y="20"/>
                    </a:lnTo>
                    <a:lnTo>
                      <a:pt x="394" y="22"/>
                    </a:lnTo>
                    <a:lnTo>
                      <a:pt x="394" y="20"/>
                    </a:lnTo>
                    <a:lnTo>
                      <a:pt x="396" y="20"/>
                    </a:lnTo>
                    <a:lnTo>
                      <a:pt x="398" y="20"/>
                    </a:lnTo>
                    <a:lnTo>
                      <a:pt x="398" y="19"/>
                    </a:lnTo>
                    <a:lnTo>
                      <a:pt x="398" y="20"/>
                    </a:lnTo>
                    <a:lnTo>
                      <a:pt x="399" y="19"/>
                    </a:lnTo>
                    <a:lnTo>
                      <a:pt x="401" y="19"/>
                    </a:lnTo>
                    <a:lnTo>
                      <a:pt x="401" y="17"/>
                    </a:lnTo>
                    <a:lnTo>
                      <a:pt x="403" y="17"/>
                    </a:lnTo>
                    <a:lnTo>
                      <a:pt x="404" y="15"/>
                    </a:lnTo>
                    <a:lnTo>
                      <a:pt x="406" y="15"/>
                    </a:lnTo>
                    <a:lnTo>
                      <a:pt x="408" y="15"/>
                    </a:lnTo>
                    <a:lnTo>
                      <a:pt x="409" y="15"/>
                    </a:lnTo>
                    <a:lnTo>
                      <a:pt x="411" y="14"/>
                    </a:lnTo>
                    <a:lnTo>
                      <a:pt x="413" y="14"/>
                    </a:lnTo>
                    <a:lnTo>
                      <a:pt x="413" y="12"/>
                    </a:lnTo>
                    <a:lnTo>
                      <a:pt x="415" y="12"/>
                    </a:lnTo>
                    <a:lnTo>
                      <a:pt x="416" y="12"/>
                    </a:lnTo>
                    <a:lnTo>
                      <a:pt x="418" y="12"/>
                    </a:lnTo>
                    <a:lnTo>
                      <a:pt x="420" y="12"/>
                    </a:lnTo>
                    <a:lnTo>
                      <a:pt x="421" y="12"/>
                    </a:lnTo>
                    <a:lnTo>
                      <a:pt x="423" y="12"/>
                    </a:lnTo>
                    <a:lnTo>
                      <a:pt x="423" y="10"/>
                    </a:lnTo>
                    <a:lnTo>
                      <a:pt x="425" y="10"/>
                    </a:lnTo>
                    <a:lnTo>
                      <a:pt x="425" y="8"/>
                    </a:lnTo>
                    <a:lnTo>
                      <a:pt x="426" y="7"/>
                    </a:lnTo>
                    <a:lnTo>
                      <a:pt x="426" y="8"/>
                    </a:lnTo>
                    <a:lnTo>
                      <a:pt x="428" y="10"/>
                    </a:lnTo>
                    <a:lnTo>
                      <a:pt x="428" y="12"/>
                    </a:lnTo>
                    <a:lnTo>
                      <a:pt x="428" y="10"/>
                    </a:lnTo>
                    <a:lnTo>
                      <a:pt x="430" y="10"/>
                    </a:lnTo>
                    <a:lnTo>
                      <a:pt x="428" y="10"/>
                    </a:lnTo>
                    <a:lnTo>
                      <a:pt x="430" y="10"/>
                    </a:lnTo>
                    <a:lnTo>
                      <a:pt x="430" y="8"/>
                    </a:lnTo>
                    <a:lnTo>
                      <a:pt x="428" y="8"/>
                    </a:lnTo>
                    <a:lnTo>
                      <a:pt x="430" y="8"/>
                    </a:lnTo>
                    <a:lnTo>
                      <a:pt x="428" y="8"/>
                    </a:lnTo>
                    <a:lnTo>
                      <a:pt x="428" y="7"/>
                    </a:lnTo>
                    <a:lnTo>
                      <a:pt x="430" y="7"/>
                    </a:lnTo>
                    <a:lnTo>
                      <a:pt x="432" y="7"/>
                    </a:lnTo>
                    <a:lnTo>
                      <a:pt x="432" y="5"/>
                    </a:lnTo>
                    <a:lnTo>
                      <a:pt x="433" y="5"/>
                    </a:lnTo>
                    <a:lnTo>
                      <a:pt x="435" y="5"/>
                    </a:lnTo>
                    <a:lnTo>
                      <a:pt x="433" y="5"/>
                    </a:lnTo>
                    <a:lnTo>
                      <a:pt x="432" y="5"/>
                    </a:lnTo>
                    <a:lnTo>
                      <a:pt x="432" y="3"/>
                    </a:lnTo>
                    <a:lnTo>
                      <a:pt x="433" y="2"/>
                    </a:lnTo>
                    <a:lnTo>
                      <a:pt x="433" y="3"/>
                    </a:lnTo>
                    <a:lnTo>
                      <a:pt x="433" y="2"/>
                    </a:lnTo>
                    <a:lnTo>
                      <a:pt x="433" y="0"/>
                    </a:lnTo>
                    <a:lnTo>
                      <a:pt x="435" y="2"/>
                    </a:lnTo>
                    <a:lnTo>
                      <a:pt x="437" y="2"/>
                    </a:lnTo>
                    <a:lnTo>
                      <a:pt x="437" y="3"/>
                    </a:lnTo>
                    <a:lnTo>
                      <a:pt x="438" y="3"/>
                    </a:lnTo>
                    <a:lnTo>
                      <a:pt x="438" y="5"/>
                    </a:lnTo>
                    <a:lnTo>
                      <a:pt x="440" y="5"/>
                    </a:lnTo>
                    <a:lnTo>
                      <a:pt x="440" y="7"/>
                    </a:lnTo>
                    <a:lnTo>
                      <a:pt x="442" y="7"/>
                    </a:lnTo>
                    <a:lnTo>
                      <a:pt x="443" y="7"/>
                    </a:lnTo>
                    <a:lnTo>
                      <a:pt x="443" y="8"/>
                    </a:lnTo>
                    <a:lnTo>
                      <a:pt x="445" y="8"/>
                    </a:lnTo>
                    <a:lnTo>
                      <a:pt x="447" y="8"/>
                    </a:lnTo>
                    <a:lnTo>
                      <a:pt x="447" y="10"/>
                    </a:lnTo>
                    <a:lnTo>
                      <a:pt x="449" y="10"/>
                    </a:lnTo>
                    <a:lnTo>
                      <a:pt x="449" y="8"/>
                    </a:lnTo>
                    <a:lnTo>
                      <a:pt x="450" y="8"/>
                    </a:lnTo>
                    <a:lnTo>
                      <a:pt x="452" y="10"/>
                    </a:lnTo>
                    <a:lnTo>
                      <a:pt x="452" y="12"/>
                    </a:lnTo>
                    <a:lnTo>
                      <a:pt x="452" y="14"/>
                    </a:lnTo>
                    <a:lnTo>
                      <a:pt x="454" y="14"/>
                    </a:lnTo>
                    <a:lnTo>
                      <a:pt x="454" y="15"/>
                    </a:lnTo>
                    <a:lnTo>
                      <a:pt x="455" y="15"/>
                    </a:lnTo>
                    <a:lnTo>
                      <a:pt x="454" y="17"/>
                    </a:lnTo>
                    <a:lnTo>
                      <a:pt x="455" y="17"/>
                    </a:lnTo>
                    <a:lnTo>
                      <a:pt x="457" y="17"/>
                    </a:lnTo>
                    <a:lnTo>
                      <a:pt x="457" y="19"/>
                    </a:lnTo>
                    <a:lnTo>
                      <a:pt x="459" y="19"/>
                    </a:lnTo>
                    <a:lnTo>
                      <a:pt x="460" y="19"/>
                    </a:lnTo>
                    <a:lnTo>
                      <a:pt x="460" y="20"/>
                    </a:lnTo>
                    <a:lnTo>
                      <a:pt x="462" y="20"/>
                    </a:lnTo>
                    <a:lnTo>
                      <a:pt x="464" y="20"/>
                    </a:lnTo>
                    <a:lnTo>
                      <a:pt x="464" y="22"/>
                    </a:lnTo>
                    <a:lnTo>
                      <a:pt x="466" y="22"/>
                    </a:lnTo>
                    <a:lnTo>
                      <a:pt x="467" y="22"/>
                    </a:lnTo>
                    <a:lnTo>
                      <a:pt x="467" y="20"/>
                    </a:lnTo>
                    <a:lnTo>
                      <a:pt x="469" y="20"/>
                    </a:lnTo>
                    <a:lnTo>
                      <a:pt x="471" y="20"/>
                    </a:lnTo>
                    <a:lnTo>
                      <a:pt x="472" y="20"/>
                    </a:lnTo>
                    <a:lnTo>
                      <a:pt x="472" y="22"/>
                    </a:lnTo>
                    <a:lnTo>
                      <a:pt x="472" y="24"/>
                    </a:lnTo>
                    <a:lnTo>
                      <a:pt x="471" y="24"/>
                    </a:lnTo>
                    <a:lnTo>
                      <a:pt x="472" y="24"/>
                    </a:lnTo>
                    <a:lnTo>
                      <a:pt x="472" y="25"/>
                    </a:lnTo>
                    <a:lnTo>
                      <a:pt x="474" y="25"/>
                    </a:lnTo>
                    <a:lnTo>
                      <a:pt x="476" y="25"/>
                    </a:lnTo>
                    <a:lnTo>
                      <a:pt x="476" y="27"/>
                    </a:lnTo>
                    <a:lnTo>
                      <a:pt x="477" y="27"/>
                    </a:lnTo>
                    <a:lnTo>
                      <a:pt x="479" y="27"/>
                    </a:lnTo>
                    <a:lnTo>
                      <a:pt x="479" y="29"/>
                    </a:lnTo>
                    <a:lnTo>
                      <a:pt x="477" y="29"/>
                    </a:lnTo>
                    <a:lnTo>
                      <a:pt x="477" y="31"/>
                    </a:lnTo>
                    <a:lnTo>
                      <a:pt x="477" y="32"/>
                    </a:lnTo>
                    <a:lnTo>
                      <a:pt x="477" y="34"/>
                    </a:lnTo>
                    <a:lnTo>
                      <a:pt x="477" y="36"/>
                    </a:lnTo>
                    <a:lnTo>
                      <a:pt x="479" y="34"/>
                    </a:lnTo>
                    <a:lnTo>
                      <a:pt x="481" y="34"/>
                    </a:lnTo>
                    <a:lnTo>
                      <a:pt x="481" y="36"/>
                    </a:lnTo>
                    <a:lnTo>
                      <a:pt x="483" y="36"/>
                    </a:lnTo>
                    <a:lnTo>
                      <a:pt x="484" y="36"/>
                    </a:lnTo>
                    <a:lnTo>
                      <a:pt x="486" y="37"/>
                    </a:lnTo>
                    <a:lnTo>
                      <a:pt x="486" y="36"/>
                    </a:lnTo>
                    <a:lnTo>
                      <a:pt x="486" y="37"/>
                    </a:lnTo>
                    <a:lnTo>
                      <a:pt x="488" y="36"/>
                    </a:lnTo>
                    <a:lnTo>
                      <a:pt x="488" y="37"/>
                    </a:lnTo>
                    <a:lnTo>
                      <a:pt x="488" y="36"/>
                    </a:lnTo>
                    <a:lnTo>
                      <a:pt x="489" y="36"/>
                    </a:lnTo>
                    <a:lnTo>
                      <a:pt x="491" y="36"/>
                    </a:lnTo>
                    <a:lnTo>
                      <a:pt x="491" y="37"/>
                    </a:lnTo>
                    <a:lnTo>
                      <a:pt x="493" y="37"/>
                    </a:lnTo>
                    <a:lnTo>
                      <a:pt x="493" y="39"/>
                    </a:lnTo>
                    <a:lnTo>
                      <a:pt x="494" y="39"/>
                    </a:lnTo>
                    <a:lnTo>
                      <a:pt x="496" y="39"/>
                    </a:lnTo>
                    <a:lnTo>
                      <a:pt x="498" y="39"/>
                    </a:lnTo>
                    <a:lnTo>
                      <a:pt x="498" y="41"/>
                    </a:lnTo>
                    <a:lnTo>
                      <a:pt x="500" y="41"/>
                    </a:lnTo>
                    <a:lnTo>
                      <a:pt x="501" y="41"/>
                    </a:lnTo>
                    <a:lnTo>
                      <a:pt x="501" y="39"/>
                    </a:lnTo>
                    <a:lnTo>
                      <a:pt x="501" y="41"/>
                    </a:lnTo>
                    <a:lnTo>
                      <a:pt x="501" y="39"/>
                    </a:lnTo>
                    <a:lnTo>
                      <a:pt x="503" y="41"/>
                    </a:lnTo>
                    <a:lnTo>
                      <a:pt x="503" y="39"/>
                    </a:lnTo>
                    <a:lnTo>
                      <a:pt x="505" y="39"/>
                    </a:lnTo>
                    <a:lnTo>
                      <a:pt x="506" y="39"/>
                    </a:lnTo>
                    <a:lnTo>
                      <a:pt x="506" y="41"/>
                    </a:lnTo>
                    <a:lnTo>
                      <a:pt x="508" y="41"/>
                    </a:lnTo>
                    <a:lnTo>
                      <a:pt x="510" y="41"/>
                    </a:lnTo>
                    <a:lnTo>
                      <a:pt x="511" y="41"/>
                    </a:lnTo>
                    <a:lnTo>
                      <a:pt x="513" y="41"/>
                    </a:lnTo>
                    <a:lnTo>
                      <a:pt x="515" y="41"/>
                    </a:lnTo>
                    <a:lnTo>
                      <a:pt x="515" y="37"/>
                    </a:lnTo>
                    <a:lnTo>
                      <a:pt x="515" y="36"/>
                    </a:lnTo>
                    <a:lnTo>
                      <a:pt x="517" y="36"/>
                    </a:lnTo>
                    <a:lnTo>
                      <a:pt x="518" y="36"/>
                    </a:lnTo>
                    <a:lnTo>
                      <a:pt x="518" y="34"/>
                    </a:lnTo>
                    <a:lnTo>
                      <a:pt x="520" y="34"/>
                    </a:lnTo>
                    <a:lnTo>
                      <a:pt x="520" y="36"/>
                    </a:lnTo>
                    <a:lnTo>
                      <a:pt x="522" y="36"/>
                    </a:lnTo>
                    <a:lnTo>
                      <a:pt x="523" y="36"/>
                    </a:lnTo>
                    <a:lnTo>
                      <a:pt x="525" y="36"/>
                    </a:lnTo>
                    <a:lnTo>
                      <a:pt x="525" y="37"/>
                    </a:lnTo>
                    <a:lnTo>
                      <a:pt x="527" y="37"/>
                    </a:lnTo>
                    <a:lnTo>
                      <a:pt x="527" y="39"/>
                    </a:lnTo>
                    <a:lnTo>
                      <a:pt x="528" y="39"/>
                    </a:lnTo>
                    <a:lnTo>
                      <a:pt x="528" y="41"/>
                    </a:lnTo>
                    <a:lnTo>
                      <a:pt x="530" y="41"/>
                    </a:lnTo>
                    <a:lnTo>
                      <a:pt x="530" y="43"/>
                    </a:lnTo>
                    <a:lnTo>
                      <a:pt x="532" y="43"/>
                    </a:lnTo>
                    <a:lnTo>
                      <a:pt x="532" y="44"/>
                    </a:lnTo>
                    <a:lnTo>
                      <a:pt x="534" y="44"/>
                    </a:lnTo>
                    <a:lnTo>
                      <a:pt x="534" y="46"/>
                    </a:lnTo>
                    <a:lnTo>
                      <a:pt x="535" y="46"/>
                    </a:lnTo>
                    <a:lnTo>
                      <a:pt x="535" y="48"/>
                    </a:lnTo>
                    <a:lnTo>
                      <a:pt x="537" y="48"/>
                    </a:lnTo>
                    <a:lnTo>
                      <a:pt x="539" y="48"/>
                    </a:lnTo>
                    <a:lnTo>
                      <a:pt x="540" y="48"/>
                    </a:lnTo>
                    <a:lnTo>
                      <a:pt x="542" y="48"/>
                    </a:lnTo>
                    <a:lnTo>
                      <a:pt x="542" y="49"/>
                    </a:lnTo>
                    <a:lnTo>
                      <a:pt x="544" y="49"/>
                    </a:lnTo>
                    <a:lnTo>
                      <a:pt x="545" y="49"/>
                    </a:lnTo>
                    <a:lnTo>
                      <a:pt x="545" y="51"/>
                    </a:lnTo>
                    <a:lnTo>
                      <a:pt x="547" y="51"/>
                    </a:lnTo>
                    <a:lnTo>
                      <a:pt x="549" y="51"/>
                    </a:lnTo>
                    <a:lnTo>
                      <a:pt x="549" y="53"/>
                    </a:lnTo>
                    <a:lnTo>
                      <a:pt x="551" y="53"/>
                    </a:lnTo>
                    <a:lnTo>
                      <a:pt x="552" y="53"/>
                    </a:lnTo>
                    <a:lnTo>
                      <a:pt x="554" y="53"/>
                    </a:lnTo>
                    <a:close/>
                    <a:moveTo>
                      <a:pt x="12" y="44"/>
                    </a:moveTo>
                    <a:lnTo>
                      <a:pt x="12" y="46"/>
                    </a:lnTo>
                    <a:lnTo>
                      <a:pt x="13" y="46"/>
                    </a:lnTo>
                    <a:lnTo>
                      <a:pt x="13" y="48"/>
                    </a:lnTo>
                    <a:lnTo>
                      <a:pt x="15" y="49"/>
                    </a:lnTo>
                    <a:lnTo>
                      <a:pt x="17" y="51"/>
                    </a:lnTo>
                    <a:lnTo>
                      <a:pt x="15" y="51"/>
                    </a:lnTo>
                    <a:lnTo>
                      <a:pt x="17" y="51"/>
                    </a:lnTo>
                    <a:lnTo>
                      <a:pt x="17" y="53"/>
                    </a:lnTo>
                    <a:lnTo>
                      <a:pt x="17" y="54"/>
                    </a:lnTo>
                    <a:lnTo>
                      <a:pt x="17" y="56"/>
                    </a:lnTo>
                    <a:lnTo>
                      <a:pt x="17" y="58"/>
                    </a:lnTo>
                    <a:lnTo>
                      <a:pt x="19" y="58"/>
                    </a:lnTo>
                    <a:lnTo>
                      <a:pt x="19" y="60"/>
                    </a:lnTo>
                    <a:lnTo>
                      <a:pt x="20" y="60"/>
                    </a:lnTo>
                    <a:lnTo>
                      <a:pt x="20" y="61"/>
                    </a:lnTo>
                    <a:lnTo>
                      <a:pt x="22" y="61"/>
                    </a:lnTo>
                    <a:lnTo>
                      <a:pt x="24" y="63"/>
                    </a:lnTo>
                    <a:lnTo>
                      <a:pt x="24" y="65"/>
                    </a:lnTo>
                    <a:lnTo>
                      <a:pt x="25" y="65"/>
                    </a:lnTo>
                    <a:lnTo>
                      <a:pt x="24" y="66"/>
                    </a:lnTo>
                    <a:lnTo>
                      <a:pt x="24" y="68"/>
                    </a:lnTo>
                    <a:lnTo>
                      <a:pt x="24" y="70"/>
                    </a:lnTo>
                    <a:lnTo>
                      <a:pt x="25" y="70"/>
                    </a:lnTo>
                    <a:lnTo>
                      <a:pt x="27" y="70"/>
                    </a:lnTo>
                    <a:lnTo>
                      <a:pt x="27" y="71"/>
                    </a:lnTo>
                    <a:lnTo>
                      <a:pt x="29" y="71"/>
                    </a:lnTo>
                    <a:lnTo>
                      <a:pt x="27" y="73"/>
                    </a:lnTo>
                    <a:lnTo>
                      <a:pt x="29" y="73"/>
                    </a:lnTo>
                    <a:lnTo>
                      <a:pt x="30" y="73"/>
                    </a:lnTo>
                    <a:lnTo>
                      <a:pt x="30" y="75"/>
                    </a:lnTo>
                    <a:lnTo>
                      <a:pt x="29" y="75"/>
                    </a:lnTo>
                    <a:lnTo>
                      <a:pt x="29" y="77"/>
                    </a:lnTo>
                    <a:lnTo>
                      <a:pt x="29" y="78"/>
                    </a:lnTo>
                    <a:lnTo>
                      <a:pt x="27" y="78"/>
                    </a:lnTo>
                    <a:lnTo>
                      <a:pt x="27" y="80"/>
                    </a:lnTo>
                    <a:lnTo>
                      <a:pt x="25" y="80"/>
                    </a:lnTo>
                    <a:lnTo>
                      <a:pt x="25" y="82"/>
                    </a:lnTo>
                    <a:lnTo>
                      <a:pt x="24" y="82"/>
                    </a:lnTo>
                    <a:lnTo>
                      <a:pt x="22" y="82"/>
                    </a:lnTo>
                    <a:lnTo>
                      <a:pt x="20" y="83"/>
                    </a:lnTo>
                    <a:lnTo>
                      <a:pt x="19" y="83"/>
                    </a:lnTo>
                    <a:lnTo>
                      <a:pt x="17" y="83"/>
                    </a:lnTo>
                    <a:lnTo>
                      <a:pt x="17" y="85"/>
                    </a:lnTo>
                    <a:lnTo>
                      <a:pt x="17" y="83"/>
                    </a:lnTo>
                    <a:lnTo>
                      <a:pt x="17" y="85"/>
                    </a:lnTo>
                    <a:lnTo>
                      <a:pt x="15" y="85"/>
                    </a:lnTo>
                    <a:lnTo>
                      <a:pt x="15" y="83"/>
                    </a:lnTo>
                    <a:lnTo>
                      <a:pt x="13" y="83"/>
                    </a:lnTo>
                    <a:lnTo>
                      <a:pt x="12" y="83"/>
                    </a:lnTo>
                    <a:lnTo>
                      <a:pt x="10" y="83"/>
                    </a:lnTo>
                    <a:lnTo>
                      <a:pt x="8" y="83"/>
                    </a:lnTo>
                    <a:lnTo>
                      <a:pt x="8" y="82"/>
                    </a:lnTo>
                    <a:lnTo>
                      <a:pt x="7" y="82"/>
                    </a:lnTo>
                    <a:lnTo>
                      <a:pt x="7" y="80"/>
                    </a:lnTo>
                    <a:lnTo>
                      <a:pt x="5" y="80"/>
                    </a:lnTo>
                    <a:lnTo>
                      <a:pt x="5" y="78"/>
                    </a:lnTo>
                    <a:lnTo>
                      <a:pt x="7" y="77"/>
                    </a:lnTo>
                    <a:lnTo>
                      <a:pt x="8" y="77"/>
                    </a:lnTo>
                    <a:lnTo>
                      <a:pt x="8" y="75"/>
                    </a:lnTo>
                    <a:lnTo>
                      <a:pt x="10" y="75"/>
                    </a:lnTo>
                    <a:lnTo>
                      <a:pt x="10" y="73"/>
                    </a:lnTo>
                    <a:lnTo>
                      <a:pt x="12" y="73"/>
                    </a:lnTo>
                    <a:lnTo>
                      <a:pt x="12" y="71"/>
                    </a:lnTo>
                    <a:lnTo>
                      <a:pt x="12" y="73"/>
                    </a:lnTo>
                    <a:lnTo>
                      <a:pt x="13" y="71"/>
                    </a:lnTo>
                    <a:lnTo>
                      <a:pt x="15" y="71"/>
                    </a:lnTo>
                    <a:lnTo>
                      <a:pt x="17" y="71"/>
                    </a:lnTo>
                    <a:lnTo>
                      <a:pt x="19" y="71"/>
                    </a:lnTo>
                    <a:lnTo>
                      <a:pt x="19" y="70"/>
                    </a:lnTo>
                    <a:lnTo>
                      <a:pt x="20" y="70"/>
                    </a:lnTo>
                    <a:lnTo>
                      <a:pt x="19" y="68"/>
                    </a:lnTo>
                    <a:lnTo>
                      <a:pt x="17" y="66"/>
                    </a:lnTo>
                    <a:lnTo>
                      <a:pt x="15" y="66"/>
                    </a:lnTo>
                    <a:lnTo>
                      <a:pt x="15" y="65"/>
                    </a:lnTo>
                    <a:lnTo>
                      <a:pt x="15" y="63"/>
                    </a:lnTo>
                    <a:lnTo>
                      <a:pt x="13" y="61"/>
                    </a:lnTo>
                    <a:lnTo>
                      <a:pt x="12" y="61"/>
                    </a:lnTo>
                    <a:lnTo>
                      <a:pt x="12" y="60"/>
                    </a:lnTo>
                    <a:lnTo>
                      <a:pt x="10" y="60"/>
                    </a:lnTo>
                    <a:lnTo>
                      <a:pt x="10" y="58"/>
                    </a:lnTo>
                    <a:lnTo>
                      <a:pt x="8" y="56"/>
                    </a:lnTo>
                    <a:lnTo>
                      <a:pt x="10" y="56"/>
                    </a:lnTo>
                    <a:lnTo>
                      <a:pt x="10" y="54"/>
                    </a:lnTo>
                    <a:lnTo>
                      <a:pt x="8" y="54"/>
                    </a:lnTo>
                    <a:lnTo>
                      <a:pt x="8" y="53"/>
                    </a:lnTo>
                    <a:lnTo>
                      <a:pt x="8" y="51"/>
                    </a:lnTo>
                    <a:lnTo>
                      <a:pt x="8" y="49"/>
                    </a:lnTo>
                    <a:lnTo>
                      <a:pt x="7" y="49"/>
                    </a:lnTo>
                    <a:lnTo>
                      <a:pt x="5" y="49"/>
                    </a:lnTo>
                    <a:lnTo>
                      <a:pt x="5" y="51"/>
                    </a:lnTo>
                    <a:lnTo>
                      <a:pt x="3" y="51"/>
                    </a:lnTo>
                    <a:lnTo>
                      <a:pt x="3" y="49"/>
                    </a:lnTo>
                    <a:lnTo>
                      <a:pt x="3" y="48"/>
                    </a:lnTo>
                    <a:lnTo>
                      <a:pt x="5" y="48"/>
                    </a:lnTo>
                    <a:lnTo>
                      <a:pt x="5" y="46"/>
                    </a:lnTo>
                    <a:lnTo>
                      <a:pt x="7" y="46"/>
                    </a:lnTo>
                    <a:lnTo>
                      <a:pt x="8" y="46"/>
                    </a:lnTo>
                    <a:lnTo>
                      <a:pt x="8" y="44"/>
                    </a:lnTo>
                    <a:lnTo>
                      <a:pt x="10" y="44"/>
                    </a:lnTo>
                    <a:lnTo>
                      <a:pt x="12" y="44"/>
                    </a:lnTo>
                    <a:close/>
                    <a:moveTo>
                      <a:pt x="47" y="66"/>
                    </a:moveTo>
                    <a:lnTo>
                      <a:pt x="49" y="66"/>
                    </a:lnTo>
                    <a:lnTo>
                      <a:pt x="49" y="68"/>
                    </a:lnTo>
                    <a:lnTo>
                      <a:pt x="51" y="68"/>
                    </a:lnTo>
                    <a:lnTo>
                      <a:pt x="51" y="70"/>
                    </a:lnTo>
                    <a:lnTo>
                      <a:pt x="49" y="71"/>
                    </a:lnTo>
                    <a:lnTo>
                      <a:pt x="51" y="71"/>
                    </a:lnTo>
                    <a:lnTo>
                      <a:pt x="49" y="71"/>
                    </a:lnTo>
                    <a:lnTo>
                      <a:pt x="49" y="73"/>
                    </a:lnTo>
                    <a:lnTo>
                      <a:pt x="47" y="75"/>
                    </a:lnTo>
                    <a:lnTo>
                      <a:pt x="46" y="73"/>
                    </a:lnTo>
                    <a:lnTo>
                      <a:pt x="46" y="75"/>
                    </a:lnTo>
                    <a:lnTo>
                      <a:pt x="44" y="75"/>
                    </a:lnTo>
                    <a:lnTo>
                      <a:pt x="42" y="75"/>
                    </a:lnTo>
                    <a:lnTo>
                      <a:pt x="41" y="75"/>
                    </a:lnTo>
                    <a:lnTo>
                      <a:pt x="41" y="73"/>
                    </a:lnTo>
                    <a:lnTo>
                      <a:pt x="39" y="73"/>
                    </a:lnTo>
                    <a:lnTo>
                      <a:pt x="39" y="71"/>
                    </a:lnTo>
                    <a:lnTo>
                      <a:pt x="37" y="71"/>
                    </a:lnTo>
                    <a:lnTo>
                      <a:pt x="39" y="71"/>
                    </a:lnTo>
                    <a:lnTo>
                      <a:pt x="37" y="71"/>
                    </a:lnTo>
                    <a:lnTo>
                      <a:pt x="37" y="70"/>
                    </a:lnTo>
                    <a:lnTo>
                      <a:pt x="39" y="70"/>
                    </a:lnTo>
                    <a:lnTo>
                      <a:pt x="37" y="70"/>
                    </a:lnTo>
                    <a:lnTo>
                      <a:pt x="39" y="68"/>
                    </a:lnTo>
                    <a:lnTo>
                      <a:pt x="39" y="66"/>
                    </a:lnTo>
                    <a:lnTo>
                      <a:pt x="41" y="66"/>
                    </a:lnTo>
                    <a:lnTo>
                      <a:pt x="42" y="66"/>
                    </a:lnTo>
                    <a:lnTo>
                      <a:pt x="44" y="66"/>
                    </a:lnTo>
                    <a:lnTo>
                      <a:pt x="46" y="65"/>
                    </a:lnTo>
                    <a:lnTo>
                      <a:pt x="46" y="66"/>
                    </a:lnTo>
                    <a:lnTo>
                      <a:pt x="46" y="65"/>
                    </a:lnTo>
                    <a:lnTo>
                      <a:pt x="46" y="66"/>
                    </a:lnTo>
                    <a:lnTo>
                      <a:pt x="47" y="65"/>
                    </a:lnTo>
                    <a:lnTo>
                      <a:pt x="47" y="66"/>
                    </a:lnTo>
                    <a:close/>
                    <a:moveTo>
                      <a:pt x="392" y="139"/>
                    </a:moveTo>
                    <a:lnTo>
                      <a:pt x="394" y="139"/>
                    </a:lnTo>
                    <a:lnTo>
                      <a:pt x="394" y="141"/>
                    </a:lnTo>
                    <a:lnTo>
                      <a:pt x="396" y="141"/>
                    </a:lnTo>
                    <a:lnTo>
                      <a:pt x="398" y="141"/>
                    </a:lnTo>
                    <a:lnTo>
                      <a:pt x="398" y="143"/>
                    </a:lnTo>
                    <a:lnTo>
                      <a:pt x="396" y="143"/>
                    </a:lnTo>
                    <a:lnTo>
                      <a:pt x="394" y="143"/>
                    </a:lnTo>
                    <a:lnTo>
                      <a:pt x="394" y="145"/>
                    </a:lnTo>
                    <a:lnTo>
                      <a:pt x="392" y="145"/>
                    </a:lnTo>
                    <a:lnTo>
                      <a:pt x="392" y="146"/>
                    </a:lnTo>
                    <a:lnTo>
                      <a:pt x="392" y="145"/>
                    </a:lnTo>
                    <a:lnTo>
                      <a:pt x="391" y="145"/>
                    </a:lnTo>
                    <a:lnTo>
                      <a:pt x="389" y="145"/>
                    </a:lnTo>
                    <a:lnTo>
                      <a:pt x="389" y="146"/>
                    </a:lnTo>
                    <a:lnTo>
                      <a:pt x="389" y="148"/>
                    </a:lnTo>
                    <a:lnTo>
                      <a:pt x="391" y="148"/>
                    </a:lnTo>
                    <a:lnTo>
                      <a:pt x="391" y="150"/>
                    </a:lnTo>
                    <a:lnTo>
                      <a:pt x="389" y="150"/>
                    </a:lnTo>
                    <a:lnTo>
                      <a:pt x="389" y="151"/>
                    </a:lnTo>
                    <a:lnTo>
                      <a:pt x="387" y="151"/>
                    </a:lnTo>
                    <a:lnTo>
                      <a:pt x="386" y="151"/>
                    </a:lnTo>
                    <a:lnTo>
                      <a:pt x="384" y="150"/>
                    </a:lnTo>
                    <a:lnTo>
                      <a:pt x="386" y="148"/>
                    </a:lnTo>
                    <a:lnTo>
                      <a:pt x="386" y="146"/>
                    </a:lnTo>
                    <a:lnTo>
                      <a:pt x="386" y="145"/>
                    </a:lnTo>
                    <a:lnTo>
                      <a:pt x="386" y="143"/>
                    </a:lnTo>
                    <a:lnTo>
                      <a:pt x="386" y="141"/>
                    </a:lnTo>
                    <a:lnTo>
                      <a:pt x="387" y="141"/>
                    </a:lnTo>
                    <a:lnTo>
                      <a:pt x="389" y="141"/>
                    </a:lnTo>
                    <a:lnTo>
                      <a:pt x="389" y="139"/>
                    </a:lnTo>
                    <a:lnTo>
                      <a:pt x="391" y="139"/>
                    </a:lnTo>
                    <a:lnTo>
                      <a:pt x="392" y="139"/>
                    </a:lnTo>
                    <a:close/>
                    <a:moveTo>
                      <a:pt x="7" y="58"/>
                    </a:moveTo>
                    <a:lnTo>
                      <a:pt x="8" y="58"/>
                    </a:lnTo>
                    <a:lnTo>
                      <a:pt x="8" y="60"/>
                    </a:lnTo>
                    <a:lnTo>
                      <a:pt x="10" y="60"/>
                    </a:lnTo>
                    <a:lnTo>
                      <a:pt x="10" y="61"/>
                    </a:lnTo>
                    <a:lnTo>
                      <a:pt x="10" y="63"/>
                    </a:lnTo>
                    <a:lnTo>
                      <a:pt x="10" y="65"/>
                    </a:lnTo>
                    <a:lnTo>
                      <a:pt x="8" y="65"/>
                    </a:lnTo>
                    <a:lnTo>
                      <a:pt x="8" y="66"/>
                    </a:lnTo>
                    <a:lnTo>
                      <a:pt x="7" y="66"/>
                    </a:lnTo>
                    <a:lnTo>
                      <a:pt x="5" y="66"/>
                    </a:lnTo>
                    <a:lnTo>
                      <a:pt x="3" y="65"/>
                    </a:lnTo>
                    <a:lnTo>
                      <a:pt x="2" y="65"/>
                    </a:lnTo>
                    <a:lnTo>
                      <a:pt x="2" y="63"/>
                    </a:lnTo>
                    <a:lnTo>
                      <a:pt x="0" y="63"/>
                    </a:lnTo>
                    <a:lnTo>
                      <a:pt x="0" y="61"/>
                    </a:lnTo>
                    <a:lnTo>
                      <a:pt x="0" y="60"/>
                    </a:lnTo>
                    <a:lnTo>
                      <a:pt x="2" y="60"/>
                    </a:lnTo>
                    <a:lnTo>
                      <a:pt x="3" y="60"/>
                    </a:lnTo>
                    <a:lnTo>
                      <a:pt x="5" y="58"/>
                    </a:lnTo>
                    <a:lnTo>
                      <a:pt x="7" y="58"/>
                    </a:lnTo>
                    <a:close/>
                    <a:moveTo>
                      <a:pt x="30" y="54"/>
                    </a:moveTo>
                    <a:lnTo>
                      <a:pt x="32" y="54"/>
                    </a:lnTo>
                    <a:lnTo>
                      <a:pt x="34" y="56"/>
                    </a:lnTo>
                    <a:lnTo>
                      <a:pt x="36" y="56"/>
                    </a:lnTo>
                    <a:lnTo>
                      <a:pt x="37" y="56"/>
                    </a:lnTo>
                    <a:lnTo>
                      <a:pt x="37" y="58"/>
                    </a:lnTo>
                    <a:lnTo>
                      <a:pt x="37" y="60"/>
                    </a:lnTo>
                    <a:lnTo>
                      <a:pt x="37" y="61"/>
                    </a:lnTo>
                    <a:lnTo>
                      <a:pt x="36" y="61"/>
                    </a:lnTo>
                    <a:lnTo>
                      <a:pt x="34" y="61"/>
                    </a:lnTo>
                    <a:lnTo>
                      <a:pt x="32" y="61"/>
                    </a:lnTo>
                    <a:lnTo>
                      <a:pt x="30" y="61"/>
                    </a:lnTo>
                    <a:lnTo>
                      <a:pt x="30" y="60"/>
                    </a:lnTo>
                    <a:lnTo>
                      <a:pt x="29" y="60"/>
                    </a:lnTo>
                    <a:lnTo>
                      <a:pt x="27" y="58"/>
                    </a:lnTo>
                    <a:lnTo>
                      <a:pt x="27" y="56"/>
                    </a:lnTo>
                    <a:lnTo>
                      <a:pt x="29" y="56"/>
                    </a:lnTo>
                    <a:lnTo>
                      <a:pt x="29" y="54"/>
                    </a:lnTo>
                    <a:lnTo>
                      <a:pt x="30" y="54"/>
                    </a:lnTo>
                    <a:close/>
                    <a:moveTo>
                      <a:pt x="78" y="71"/>
                    </a:moveTo>
                    <a:lnTo>
                      <a:pt x="80" y="71"/>
                    </a:lnTo>
                    <a:lnTo>
                      <a:pt x="80" y="73"/>
                    </a:lnTo>
                    <a:lnTo>
                      <a:pt x="81" y="73"/>
                    </a:lnTo>
                    <a:lnTo>
                      <a:pt x="81" y="71"/>
                    </a:lnTo>
                    <a:lnTo>
                      <a:pt x="81" y="73"/>
                    </a:lnTo>
                    <a:lnTo>
                      <a:pt x="81" y="75"/>
                    </a:lnTo>
                    <a:lnTo>
                      <a:pt x="80" y="75"/>
                    </a:lnTo>
                    <a:lnTo>
                      <a:pt x="80" y="77"/>
                    </a:lnTo>
                    <a:lnTo>
                      <a:pt x="78" y="77"/>
                    </a:lnTo>
                    <a:lnTo>
                      <a:pt x="78" y="78"/>
                    </a:lnTo>
                    <a:lnTo>
                      <a:pt x="76" y="80"/>
                    </a:lnTo>
                    <a:lnTo>
                      <a:pt x="75" y="80"/>
                    </a:lnTo>
                    <a:lnTo>
                      <a:pt x="73" y="80"/>
                    </a:lnTo>
                    <a:lnTo>
                      <a:pt x="73" y="82"/>
                    </a:lnTo>
                    <a:lnTo>
                      <a:pt x="71" y="82"/>
                    </a:lnTo>
                    <a:lnTo>
                      <a:pt x="70" y="80"/>
                    </a:lnTo>
                    <a:lnTo>
                      <a:pt x="70" y="78"/>
                    </a:lnTo>
                    <a:lnTo>
                      <a:pt x="71" y="78"/>
                    </a:lnTo>
                    <a:lnTo>
                      <a:pt x="71" y="77"/>
                    </a:lnTo>
                    <a:lnTo>
                      <a:pt x="73" y="77"/>
                    </a:lnTo>
                    <a:lnTo>
                      <a:pt x="75" y="77"/>
                    </a:lnTo>
                    <a:lnTo>
                      <a:pt x="75" y="75"/>
                    </a:lnTo>
                    <a:lnTo>
                      <a:pt x="75" y="73"/>
                    </a:lnTo>
                    <a:lnTo>
                      <a:pt x="76" y="73"/>
                    </a:lnTo>
                    <a:lnTo>
                      <a:pt x="78" y="73"/>
                    </a:lnTo>
                    <a:lnTo>
                      <a:pt x="78" y="71"/>
                    </a:lnTo>
                    <a:close/>
                    <a:moveTo>
                      <a:pt x="42" y="90"/>
                    </a:moveTo>
                    <a:lnTo>
                      <a:pt x="44" y="92"/>
                    </a:lnTo>
                    <a:lnTo>
                      <a:pt x="44" y="94"/>
                    </a:lnTo>
                    <a:lnTo>
                      <a:pt x="42" y="94"/>
                    </a:lnTo>
                    <a:lnTo>
                      <a:pt x="42" y="95"/>
                    </a:lnTo>
                    <a:lnTo>
                      <a:pt x="41" y="95"/>
                    </a:lnTo>
                    <a:lnTo>
                      <a:pt x="41" y="94"/>
                    </a:lnTo>
                    <a:lnTo>
                      <a:pt x="39" y="94"/>
                    </a:lnTo>
                    <a:lnTo>
                      <a:pt x="39" y="92"/>
                    </a:lnTo>
                    <a:lnTo>
                      <a:pt x="41" y="92"/>
                    </a:lnTo>
                    <a:lnTo>
                      <a:pt x="41" y="90"/>
                    </a:lnTo>
                    <a:lnTo>
                      <a:pt x="42" y="90"/>
                    </a:lnTo>
                    <a:close/>
                    <a:moveTo>
                      <a:pt x="41" y="36"/>
                    </a:moveTo>
                    <a:lnTo>
                      <a:pt x="42" y="37"/>
                    </a:lnTo>
                    <a:lnTo>
                      <a:pt x="42" y="39"/>
                    </a:lnTo>
                    <a:lnTo>
                      <a:pt x="41" y="39"/>
                    </a:lnTo>
                    <a:lnTo>
                      <a:pt x="39" y="39"/>
                    </a:lnTo>
                    <a:lnTo>
                      <a:pt x="39" y="37"/>
                    </a:lnTo>
                    <a:lnTo>
                      <a:pt x="37" y="37"/>
                    </a:lnTo>
                    <a:lnTo>
                      <a:pt x="39" y="36"/>
                    </a:lnTo>
                    <a:lnTo>
                      <a:pt x="41" y="36"/>
                    </a:lnTo>
                    <a:close/>
                    <a:moveTo>
                      <a:pt x="399" y="138"/>
                    </a:moveTo>
                    <a:lnTo>
                      <a:pt x="399" y="139"/>
                    </a:lnTo>
                    <a:lnTo>
                      <a:pt x="398" y="139"/>
                    </a:lnTo>
                    <a:lnTo>
                      <a:pt x="398" y="138"/>
                    </a:lnTo>
                    <a:lnTo>
                      <a:pt x="398" y="136"/>
                    </a:lnTo>
                    <a:lnTo>
                      <a:pt x="398" y="134"/>
                    </a:lnTo>
                    <a:lnTo>
                      <a:pt x="399" y="133"/>
                    </a:lnTo>
                    <a:lnTo>
                      <a:pt x="399" y="134"/>
                    </a:lnTo>
                    <a:lnTo>
                      <a:pt x="399" y="136"/>
                    </a:lnTo>
                    <a:lnTo>
                      <a:pt x="399" y="138"/>
                    </a:lnTo>
                    <a:close/>
                    <a:moveTo>
                      <a:pt x="432" y="3"/>
                    </a:moveTo>
                    <a:lnTo>
                      <a:pt x="432" y="5"/>
                    </a:lnTo>
                    <a:lnTo>
                      <a:pt x="432" y="7"/>
                    </a:lnTo>
                    <a:lnTo>
                      <a:pt x="430" y="7"/>
                    </a:lnTo>
                    <a:lnTo>
                      <a:pt x="428" y="7"/>
                    </a:lnTo>
                    <a:lnTo>
                      <a:pt x="430" y="5"/>
                    </a:lnTo>
                    <a:lnTo>
                      <a:pt x="428" y="5"/>
                    </a:lnTo>
                    <a:lnTo>
                      <a:pt x="428" y="3"/>
                    </a:lnTo>
                    <a:lnTo>
                      <a:pt x="430" y="3"/>
                    </a:lnTo>
                    <a:lnTo>
                      <a:pt x="430" y="2"/>
                    </a:lnTo>
                    <a:lnTo>
                      <a:pt x="432" y="2"/>
                    </a:lnTo>
                    <a:lnTo>
                      <a:pt x="432" y="3"/>
                    </a:lnTo>
                    <a:close/>
                    <a:moveTo>
                      <a:pt x="394" y="134"/>
                    </a:moveTo>
                    <a:lnTo>
                      <a:pt x="396" y="134"/>
                    </a:lnTo>
                    <a:lnTo>
                      <a:pt x="396" y="136"/>
                    </a:lnTo>
                    <a:lnTo>
                      <a:pt x="394" y="136"/>
                    </a:lnTo>
                    <a:lnTo>
                      <a:pt x="392" y="136"/>
                    </a:lnTo>
                    <a:lnTo>
                      <a:pt x="391" y="136"/>
                    </a:lnTo>
                    <a:lnTo>
                      <a:pt x="392" y="136"/>
                    </a:lnTo>
                    <a:lnTo>
                      <a:pt x="392" y="134"/>
                    </a:lnTo>
                    <a:lnTo>
                      <a:pt x="392" y="133"/>
                    </a:lnTo>
                    <a:lnTo>
                      <a:pt x="394" y="133"/>
                    </a:lnTo>
                    <a:lnTo>
                      <a:pt x="394" y="134"/>
                    </a:lnTo>
                    <a:close/>
                    <a:moveTo>
                      <a:pt x="391" y="162"/>
                    </a:moveTo>
                    <a:lnTo>
                      <a:pt x="391" y="163"/>
                    </a:lnTo>
                    <a:lnTo>
                      <a:pt x="391" y="165"/>
                    </a:lnTo>
                    <a:lnTo>
                      <a:pt x="391" y="163"/>
                    </a:lnTo>
                    <a:lnTo>
                      <a:pt x="389" y="163"/>
                    </a:lnTo>
                    <a:lnTo>
                      <a:pt x="389" y="165"/>
                    </a:lnTo>
                    <a:lnTo>
                      <a:pt x="387" y="163"/>
                    </a:lnTo>
                    <a:lnTo>
                      <a:pt x="386" y="162"/>
                    </a:lnTo>
                    <a:lnTo>
                      <a:pt x="387" y="162"/>
                    </a:lnTo>
                    <a:lnTo>
                      <a:pt x="387" y="163"/>
                    </a:lnTo>
                    <a:lnTo>
                      <a:pt x="389" y="163"/>
                    </a:lnTo>
                    <a:lnTo>
                      <a:pt x="389" y="162"/>
                    </a:lnTo>
                    <a:lnTo>
                      <a:pt x="391" y="162"/>
                    </a:lnTo>
                    <a:close/>
                    <a:moveTo>
                      <a:pt x="403" y="138"/>
                    </a:moveTo>
                    <a:lnTo>
                      <a:pt x="401" y="138"/>
                    </a:lnTo>
                    <a:lnTo>
                      <a:pt x="401" y="136"/>
                    </a:lnTo>
                    <a:lnTo>
                      <a:pt x="401" y="134"/>
                    </a:lnTo>
                    <a:lnTo>
                      <a:pt x="403" y="134"/>
                    </a:lnTo>
                    <a:lnTo>
                      <a:pt x="403" y="136"/>
                    </a:lnTo>
                    <a:lnTo>
                      <a:pt x="403" y="138"/>
                    </a:lnTo>
                    <a:close/>
                    <a:moveTo>
                      <a:pt x="428" y="7"/>
                    </a:moveTo>
                    <a:lnTo>
                      <a:pt x="428" y="8"/>
                    </a:lnTo>
                    <a:lnTo>
                      <a:pt x="430" y="8"/>
                    </a:lnTo>
                    <a:lnTo>
                      <a:pt x="428" y="8"/>
                    </a:lnTo>
                    <a:lnTo>
                      <a:pt x="430" y="8"/>
                    </a:lnTo>
                    <a:lnTo>
                      <a:pt x="430" y="10"/>
                    </a:lnTo>
                    <a:lnTo>
                      <a:pt x="428" y="10"/>
                    </a:lnTo>
                    <a:lnTo>
                      <a:pt x="430" y="10"/>
                    </a:lnTo>
                    <a:lnTo>
                      <a:pt x="428" y="10"/>
                    </a:lnTo>
                    <a:lnTo>
                      <a:pt x="428" y="8"/>
                    </a:lnTo>
                    <a:lnTo>
                      <a:pt x="426" y="8"/>
                    </a:lnTo>
                    <a:lnTo>
                      <a:pt x="426" y="7"/>
                    </a:lnTo>
                    <a:lnTo>
                      <a:pt x="428" y="5"/>
                    </a:lnTo>
                    <a:lnTo>
                      <a:pt x="428" y="7"/>
                    </a:lnTo>
                    <a:close/>
                    <a:moveTo>
                      <a:pt x="392" y="160"/>
                    </a:moveTo>
                    <a:lnTo>
                      <a:pt x="392" y="162"/>
                    </a:lnTo>
                    <a:lnTo>
                      <a:pt x="392" y="163"/>
                    </a:lnTo>
                    <a:lnTo>
                      <a:pt x="391" y="163"/>
                    </a:lnTo>
                    <a:lnTo>
                      <a:pt x="391" y="162"/>
                    </a:lnTo>
                    <a:lnTo>
                      <a:pt x="391" y="160"/>
                    </a:lnTo>
                    <a:lnTo>
                      <a:pt x="392" y="160"/>
                    </a:lnTo>
                    <a:close/>
                    <a:moveTo>
                      <a:pt x="66" y="95"/>
                    </a:moveTo>
                    <a:lnTo>
                      <a:pt x="68" y="94"/>
                    </a:lnTo>
                    <a:lnTo>
                      <a:pt x="68" y="95"/>
                    </a:lnTo>
                    <a:lnTo>
                      <a:pt x="70" y="95"/>
                    </a:lnTo>
                    <a:lnTo>
                      <a:pt x="70" y="97"/>
                    </a:lnTo>
                    <a:lnTo>
                      <a:pt x="68" y="97"/>
                    </a:lnTo>
                    <a:lnTo>
                      <a:pt x="66" y="95"/>
                    </a:lnTo>
                    <a:lnTo>
                      <a:pt x="64" y="95"/>
                    </a:lnTo>
                    <a:lnTo>
                      <a:pt x="66" y="95"/>
                    </a:lnTo>
                    <a:lnTo>
                      <a:pt x="66" y="94"/>
                    </a:lnTo>
                    <a:lnTo>
                      <a:pt x="66" y="95"/>
                    </a:lnTo>
                    <a:close/>
                    <a:moveTo>
                      <a:pt x="30" y="27"/>
                    </a:moveTo>
                    <a:lnTo>
                      <a:pt x="32" y="29"/>
                    </a:lnTo>
                    <a:lnTo>
                      <a:pt x="32" y="31"/>
                    </a:lnTo>
                    <a:lnTo>
                      <a:pt x="30" y="31"/>
                    </a:lnTo>
                    <a:lnTo>
                      <a:pt x="30" y="29"/>
                    </a:lnTo>
                    <a:lnTo>
                      <a:pt x="30" y="27"/>
                    </a:lnTo>
                    <a:close/>
                    <a:moveTo>
                      <a:pt x="394" y="131"/>
                    </a:moveTo>
                    <a:lnTo>
                      <a:pt x="396" y="131"/>
                    </a:lnTo>
                    <a:lnTo>
                      <a:pt x="396" y="133"/>
                    </a:lnTo>
                    <a:lnTo>
                      <a:pt x="396" y="134"/>
                    </a:lnTo>
                    <a:lnTo>
                      <a:pt x="394" y="133"/>
                    </a:lnTo>
                    <a:lnTo>
                      <a:pt x="392" y="133"/>
                    </a:lnTo>
                    <a:lnTo>
                      <a:pt x="392" y="131"/>
                    </a:lnTo>
                    <a:lnTo>
                      <a:pt x="394" y="131"/>
                    </a:lnTo>
                    <a:close/>
                    <a:moveTo>
                      <a:pt x="391" y="145"/>
                    </a:moveTo>
                    <a:lnTo>
                      <a:pt x="392" y="145"/>
                    </a:lnTo>
                    <a:lnTo>
                      <a:pt x="392" y="148"/>
                    </a:lnTo>
                    <a:lnTo>
                      <a:pt x="391" y="148"/>
                    </a:lnTo>
                    <a:lnTo>
                      <a:pt x="391" y="145"/>
                    </a:lnTo>
                    <a:close/>
                    <a:moveTo>
                      <a:pt x="401" y="134"/>
                    </a:moveTo>
                    <a:lnTo>
                      <a:pt x="399" y="134"/>
                    </a:lnTo>
                    <a:lnTo>
                      <a:pt x="399" y="133"/>
                    </a:lnTo>
                    <a:lnTo>
                      <a:pt x="399" y="131"/>
                    </a:lnTo>
                    <a:lnTo>
                      <a:pt x="401" y="131"/>
                    </a:lnTo>
                    <a:lnTo>
                      <a:pt x="401" y="133"/>
                    </a:lnTo>
                    <a:lnTo>
                      <a:pt x="401" y="134"/>
                    </a:lnTo>
                    <a:close/>
                    <a:moveTo>
                      <a:pt x="386" y="162"/>
                    </a:moveTo>
                    <a:lnTo>
                      <a:pt x="386" y="163"/>
                    </a:lnTo>
                    <a:lnTo>
                      <a:pt x="387" y="163"/>
                    </a:lnTo>
                    <a:lnTo>
                      <a:pt x="387" y="165"/>
                    </a:lnTo>
                    <a:lnTo>
                      <a:pt x="386" y="165"/>
                    </a:lnTo>
                    <a:lnTo>
                      <a:pt x="386" y="163"/>
                    </a:lnTo>
                    <a:lnTo>
                      <a:pt x="386" y="162"/>
                    </a:lnTo>
                    <a:close/>
                    <a:moveTo>
                      <a:pt x="394" y="124"/>
                    </a:moveTo>
                    <a:lnTo>
                      <a:pt x="396" y="124"/>
                    </a:lnTo>
                    <a:lnTo>
                      <a:pt x="396" y="128"/>
                    </a:lnTo>
                    <a:lnTo>
                      <a:pt x="394" y="128"/>
                    </a:lnTo>
                    <a:lnTo>
                      <a:pt x="394" y="124"/>
                    </a:lnTo>
                    <a:close/>
                    <a:moveTo>
                      <a:pt x="432" y="0"/>
                    </a:moveTo>
                    <a:lnTo>
                      <a:pt x="433" y="0"/>
                    </a:lnTo>
                    <a:lnTo>
                      <a:pt x="433" y="2"/>
                    </a:lnTo>
                    <a:lnTo>
                      <a:pt x="432" y="2"/>
                    </a:lnTo>
                    <a:lnTo>
                      <a:pt x="432" y="0"/>
                    </a:lnTo>
                    <a:close/>
                    <a:moveTo>
                      <a:pt x="391" y="156"/>
                    </a:moveTo>
                    <a:lnTo>
                      <a:pt x="394" y="156"/>
                    </a:lnTo>
                    <a:lnTo>
                      <a:pt x="394" y="160"/>
                    </a:lnTo>
                    <a:lnTo>
                      <a:pt x="391" y="160"/>
                    </a:lnTo>
                    <a:lnTo>
                      <a:pt x="391" y="156"/>
                    </a:lnTo>
                    <a:close/>
                    <a:moveTo>
                      <a:pt x="46" y="63"/>
                    </a:moveTo>
                    <a:lnTo>
                      <a:pt x="47" y="63"/>
                    </a:lnTo>
                    <a:lnTo>
                      <a:pt x="47" y="65"/>
                    </a:lnTo>
                    <a:lnTo>
                      <a:pt x="46" y="65"/>
                    </a:lnTo>
                    <a:lnTo>
                      <a:pt x="46" y="63"/>
                    </a:lnTo>
                    <a:close/>
                    <a:moveTo>
                      <a:pt x="53" y="77"/>
                    </a:moveTo>
                    <a:lnTo>
                      <a:pt x="56" y="77"/>
                    </a:lnTo>
                    <a:lnTo>
                      <a:pt x="53" y="77"/>
                    </a:lnTo>
                    <a:close/>
                    <a:moveTo>
                      <a:pt x="394" y="138"/>
                    </a:moveTo>
                    <a:lnTo>
                      <a:pt x="396" y="138"/>
                    </a:lnTo>
                    <a:lnTo>
                      <a:pt x="396" y="139"/>
                    </a:lnTo>
                    <a:lnTo>
                      <a:pt x="394" y="139"/>
                    </a:lnTo>
                    <a:lnTo>
                      <a:pt x="394" y="138"/>
                    </a:lnTo>
                    <a:close/>
                    <a:moveTo>
                      <a:pt x="398" y="122"/>
                    </a:moveTo>
                    <a:lnTo>
                      <a:pt x="399" y="122"/>
                    </a:lnTo>
                    <a:lnTo>
                      <a:pt x="399" y="124"/>
                    </a:lnTo>
                    <a:lnTo>
                      <a:pt x="398" y="124"/>
                    </a:lnTo>
                    <a:lnTo>
                      <a:pt x="398" y="122"/>
                    </a:lnTo>
                    <a:close/>
                    <a:moveTo>
                      <a:pt x="384" y="162"/>
                    </a:moveTo>
                    <a:lnTo>
                      <a:pt x="386" y="162"/>
                    </a:lnTo>
                    <a:lnTo>
                      <a:pt x="386" y="165"/>
                    </a:lnTo>
                    <a:lnTo>
                      <a:pt x="384" y="165"/>
                    </a:lnTo>
                    <a:lnTo>
                      <a:pt x="384" y="162"/>
                    </a:lnTo>
                    <a:close/>
                    <a:moveTo>
                      <a:pt x="394" y="131"/>
                    </a:moveTo>
                    <a:lnTo>
                      <a:pt x="396" y="131"/>
                    </a:lnTo>
                    <a:lnTo>
                      <a:pt x="394" y="131"/>
                    </a:lnTo>
                    <a:close/>
                    <a:moveTo>
                      <a:pt x="391" y="129"/>
                    </a:moveTo>
                    <a:lnTo>
                      <a:pt x="392" y="129"/>
                    </a:lnTo>
                    <a:lnTo>
                      <a:pt x="392" y="133"/>
                    </a:lnTo>
                    <a:lnTo>
                      <a:pt x="391" y="133"/>
                    </a:lnTo>
                    <a:lnTo>
                      <a:pt x="391" y="129"/>
                    </a:lnTo>
                    <a:close/>
                    <a:moveTo>
                      <a:pt x="34" y="68"/>
                    </a:moveTo>
                    <a:lnTo>
                      <a:pt x="34" y="70"/>
                    </a:lnTo>
                    <a:lnTo>
                      <a:pt x="34" y="68"/>
                    </a:lnTo>
                    <a:close/>
                    <a:moveTo>
                      <a:pt x="392" y="129"/>
                    </a:moveTo>
                    <a:lnTo>
                      <a:pt x="394" y="129"/>
                    </a:lnTo>
                    <a:lnTo>
                      <a:pt x="394" y="131"/>
                    </a:lnTo>
                    <a:lnTo>
                      <a:pt x="392" y="131"/>
                    </a:lnTo>
                    <a:lnTo>
                      <a:pt x="392" y="129"/>
                    </a:lnTo>
                    <a:close/>
                    <a:moveTo>
                      <a:pt x="396" y="128"/>
                    </a:moveTo>
                    <a:lnTo>
                      <a:pt x="396" y="129"/>
                    </a:lnTo>
                    <a:lnTo>
                      <a:pt x="396" y="128"/>
                    </a:lnTo>
                    <a:close/>
                    <a:moveTo>
                      <a:pt x="387" y="162"/>
                    </a:moveTo>
                    <a:lnTo>
                      <a:pt x="389" y="162"/>
                    </a:lnTo>
                    <a:lnTo>
                      <a:pt x="389" y="163"/>
                    </a:lnTo>
                    <a:lnTo>
                      <a:pt x="387" y="163"/>
                    </a:lnTo>
                    <a:lnTo>
                      <a:pt x="387" y="162"/>
                    </a:lnTo>
                    <a:close/>
                    <a:moveTo>
                      <a:pt x="396" y="131"/>
                    </a:moveTo>
                    <a:lnTo>
                      <a:pt x="398" y="131"/>
                    </a:lnTo>
                    <a:lnTo>
                      <a:pt x="398" y="133"/>
                    </a:lnTo>
                    <a:lnTo>
                      <a:pt x="396" y="133"/>
                    </a:lnTo>
                    <a:lnTo>
                      <a:pt x="396" y="131"/>
                    </a:lnTo>
                    <a:close/>
                    <a:moveTo>
                      <a:pt x="392" y="136"/>
                    </a:moveTo>
                    <a:lnTo>
                      <a:pt x="396" y="136"/>
                    </a:lnTo>
                    <a:lnTo>
                      <a:pt x="396" y="138"/>
                    </a:lnTo>
                    <a:lnTo>
                      <a:pt x="392" y="138"/>
                    </a:lnTo>
                    <a:lnTo>
                      <a:pt x="392" y="136"/>
                    </a:lnTo>
                    <a:close/>
                    <a:moveTo>
                      <a:pt x="58" y="37"/>
                    </a:moveTo>
                    <a:lnTo>
                      <a:pt x="58" y="39"/>
                    </a:lnTo>
                    <a:lnTo>
                      <a:pt x="58" y="37"/>
                    </a:lnTo>
                    <a:close/>
                    <a:moveTo>
                      <a:pt x="394" y="128"/>
                    </a:moveTo>
                    <a:lnTo>
                      <a:pt x="396" y="128"/>
                    </a:lnTo>
                    <a:lnTo>
                      <a:pt x="396" y="129"/>
                    </a:lnTo>
                    <a:lnTo>
                      <a:pt x="394" y="129"/>
                    </a:lnTo>
                    <a:lnTo>
                      <a:pt x="394" y="128"/>
                    </a:lnTo>
                    <a:close/>
                    <a:moveTo>
                      <a:pt x="392" y="36"/>
                    </a:moveTo>
                    <a:lnTo>
                      <a:pt x="394" y="36"/>
                    </a:lnTo>
                    <a:lnTo>
                      <a:pt x="392" y="36"/>
                    </a:lnTo>
                    <a:close/>
                    <a:moveTo>
                      <a:pt x="394" y="41"/>
                    </a:moveTo>
                    <a:lnTo>
                      <a:pt x="396" y="41"/>
                    </a:lnTo>
                    <a:lnTo>
                      <a:pt x="396" y="43"/>
                    </a:lnTo>
                    <a:lnTo>
                      <a:pt x="394" y="43"/>
                    </a:lnTo>
                    <a:lnTo>
                      <a:pt x="394" y="41"/>
                    </a:lnTo>
                    <a:close/>
                    <a:moveTo>
                      <a:pt x="392" y="136"/>
                    </a:moveTo>
                    <a:lnTo>
                      <a:pt x="392" y="138"/>
                    </a:lnTo>
                    <a:lnTo>
                      <a:pt x="392" y="136"/>
                    </a:lnTo>
                    <a:close/>
                    <a:moveTo>
                      <a:pt x="391" y="146"/>
                    </a:moveTo>
                    <a:lnTo>
                      <a:pt x="391" y="148"/>
                    </a:lnTo>
                    <a:lnTo>
                      <a:pt x="391" y="146"/>
                    </a:lnTo>
                    <a:close/>
                    <a:moveTo>
                      <a:pt x="396" y="129"/>
                    </a:moveTo>
                    <a:lnTo>
                      <a:pt x="398" y="129"/>
                    </a:lnTo>
                    <a:lnTo>
                      <a:pt x="398" y="131"/>
                    </a:lnTo>
                    <a:lnTo>
                      <a:pt x="396" y="131"/>
                    </a:lnTo>
                    <a:lnTo>
                      <a:pt x="396" y="129"/>
                    </a:lnTo>
                    <a:close/>
                    <a:moveTo>
                      <a:pt x="394" y="129"/>
                    </a:moveTo>
                    <a:lnTo>
                      <a:pt x="396" y="129"/>
                    </a:lnTo>
                    <a:lnTo>
                      <a:pt x="396" y="131"/>
                    </a:lnTo>
                    <a:lnTo>
                      <a:pt x="394" y="131"/>
                    </a:lnTo>
                    <a:lnTo>
                      <a:pt x="394" y="129"/>
                    </a:lnTo>
                    <a:close/>
                    <a:moveTo>
                      <a:pt x="391" y="146"/>
                    </a:moveTo>
                    <a:lnTo>
                      <a:pt x="391" y="148"/>
                    </a:lnTo>
                    <a:lnTo>
                      <a:pt x="391" y="146"/>
                    </a:lnTo>
                    <a:close/>
                    <a:moveTo>
                      <a:pt x="389" y="145"/>
                    </a:moveTo>
                    <a:lnTo>
                      <a:pt x="391" y="145"/>
                    </a:lnTo>
                    <a:lnTo>
                      <a:pt x="391" y="146"/>
                    </a:lnTo>
                    <a:lnTo>
                      <a:pt x="389" y="146"/>
                    </a:lnTo>
                    <a:lnTo>
                      <a:pt x="389" y="145"/>
                    </a:lnTo>
                    <a:close/>
                    <a:moveTo>
                      <a:pt x="357" y="92"/>
                    </a:moveTo>
                    <a:lnTo>
                      <a:pt x="359" y="92"/>
                    </a:lnTo>
                    <a:lnTo>
                      <a:pt x="357" y="92"/>
                    </a:lnTo>
                    <a:close/>
                    <a:moveTo>
                      <a:pt x="389" y="145"/>
                    </a:moveTo>
                    <a:lnTo>
                      <a:pt x="389" y="146"/>
                    </a:lnTo>
                    <a:lnTo>
                      <a:pt x="389" y="145"/>
                    </a:lnTo>
                    <a:close/>
                    <a:moveTo>
                      <a:pt x="396" y="131"/>
                    </a:moveTo>
                    <a:lnTo>
                      <a:pt x="398" y="131"/>
                    </a:lnTo>
                    <a:lnTo>
                      <a:pt x="396" y="131"/>
                    </a:lnTo>
                    <a:close/>
                    <a:moveTo>
                      <a:pt x="433" y="0"/>
                    </a:moveTo>
                    <a:lnTo>
                      <a:pt x="433" y="2"/>
                    </a:lnTo>
                    <a:lnTo>
                      <a:pt x="433" y="0"/>
                    </a:lnTo>
                    <a:close/>
                    <a:moveTo>
                      <a:pt x="391" y="34"/>
                    </a:moveTo>
                    <a:lnTo>
                      <a:pt x="392" y="34"/>
                    </a:lnTo>
                    <a:lnTo>
                      <a:pt x="391" y="34"/>
                    </a:lnTo>
                    <a:close/>
                    <a:moveTo>
                      <a:pt x="396" y="129"/>
                    </a:moveTo>
                    <a:lnTo>
                      <a:pt x="398" y="129"/>
                    </a:lnTo>
                    <a:lnTo>
                      <a:pt x="396" y="129"/>
                    </a:lnTo>
                    <a:close/>
                    <a:moveTo>
                      <a:pt x="391" y="134"/>
                    </a:moveTo>
                    <a:lnTo>
                      <a:pt x="392" y="134"/>
                    </a:lnTo>
                    <a:lnTo>
                      <a:pt x="392" y="136"/>
                    </a:lnTo>
                    <a:lnTo>
                      <a:pt x="391" y="136"/>
                    </a:lnTo>
                    <a:lnTo>
                      <a:pt x="391" y="134"/>
                    </a:lnTo>
                    <a:close/>
                    <a:moveTo>
                      <a:pt x="399" y="134"/>
                    </a:moveTo>
                    <a:lnTo>
                      <a:pt x="401" y="134"/>
                    </a:lnTo>
                    <a:lnTo>
                      <a:pt x="399" y="134"/>
                    </a:lnTo>
                    <a:close/>
                    <a:moveTo>
                      <a:pt x="428" y="8"/>
                    </a:moveTo>
                    <a:lnTo>
                      <a:pt x="428" y="10"/>
                    </a:lnTo>
                    <a:lnTo>
                      <a:pt x="428" y="8"/>
                    </a:lnTo>
                    <a:close/>
                    <a:moveTo>
                      <a:pt x="386" y="163"/>
                    </a:moveTo>
                    <a:lnTo>
                      <a:pt x="386" y="165"/>
                    </a:lnTo>
                    <a:lnTo>
                      <a:pt x="386" y="163"/>
                    </a:lnTo>
                    <a:close/>
                    <a:moveTo>
                      <a:pt x="46" y="61"/>
                    </a:moveTo>
                    <a:lnTo>
                      <a:pt x="47" y="61"/>
                    </a:lnTo>
                    <a:lnTo>
                      <a:pt x="47" y="63"/>
                    </a:lnTo>
                    <a:lnTo>
                      <a:pt x="46" y="63"/>
                    </a:lnTo>
                    <a:lnTo>
                      <a:pt x="46" y="61"/>
                    </a:lnTo>
                    <a:close/>
                    <a:moveTo>
                      <a:pt x="396" y="129"/>
                    </a:moveTo>
                    <a:lnTo>
                      <a:pt x="396" y="131"/>
                    </a:lnTo>
                    <a:lnTo>
                      <a:pt x="396" y="129"/>
                    </a:lnTo>
                    <a:close/>
                    <a:moveTo>
                      <a:pt x="433" y="0"/>
                    </a:moveTo>
                    <a:lnTo>
                      <a:pt x="433" y="2"/>
                    </a:lnTo>
                    <a:lnTo>
                      <a:pt x="433" y="0"/>
                    </a:lnTo>
                    <a:close/>
                    <a:moveTo>
                      <a:pt x="387" y="138"/>
                    </a:moveTo>
                    <a:lnTo>
                      <a:pt x="387" y="139"/>
                    </a:lnTo>
                    <a:lnTo>
                      <a:pt x="387" y="138"/>
                    </a:lnTo>
                    <a:close/>
                    <a:moveTo>
                      <a:pt x="396" y="128"/>
                    </a:moveTo>
                    <a:lnTo>
                      <a:pt x="396" y="129"/>
                    </a:lnTo>
                    <a:lnTo>
                      <a:pt x="396" y="128"/>
                    </a:lnTo>
                    <a:close/>
                    <a:moveTo>
                      <a:pt x="386" y="165"/>
                    </a:moveTo>
                    <a:lnTo>
                      <a:pt x="387" y="165"/>
                    </a:lnTo>
                    <a:lnTo>
                      <a:pt x="386" y="165"/>
                    </a:lnTo>
                    <a:close/>
                    <a:moveTo>
                      <a:pt x="384" y="163"/>
                    </a:moveTo>
                    <a:lnTo>
                      <a:pt x="386" y="163"/>
                    </a:lnTo>
                    <a:lnTo>
                      <a:pt x="384" y="16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5" name="Freeform 30">
                <a:extLst>
                  <a:ext uri="{FF2B5EF4-FFF2-40B4-BE49-F238E27FC236}">
                    <a16:creationId xmlns:a16="http://schemas.microsoft.com/office/drawing/2014/main" id="{41ACF91B-6F42-C8E4-FBF3-A3FE18193B8B}"/>
                  </a:ext>
                </a:extLst>
              </p:cNvPr>
              <p:cNvSpPr>
                <a:spLocks noEditPoints="1"/>
              </p:cNvSpPr>
              <p:nvPr/>
            </p:nvSpPr>
            <p:spPr bwMode="auto">
              <a:xfrm>
                <a:off x="5769926" y="3536912"/>
                <a:ext cx="36127" cy="23204"/>
              </a:xfrm>
              <a:custGeom>
                <a:avLst/>
                <a:gdLst>
                  <a:gd name="T0" fmla="*/ 102 w 123"/>
                  <a:gd name="T1" fmla="*/ 21 h 79"/>
                  <a:gd name="T2" fmla="*/ 92 w 123"/>
                  <a:gd name="T3" fmla="*/ 24 h 79"/>
                  <a:gd name="T4" fmla="*/ 102 w 123"/>
                  <a:gd name="T5" fmla="*/ 33 h 79"/>
                  <a:gd name="T6" fmla="*/ 107 w 123"/>
                  <a:gd name="T7" fmla="*/ 27 h 79"/>
                  <a:gd name="T8" fmla="*/ 117 w 123"/>
                  <a:gd name="T9" fmla="*/ 21 h 79"/>
                  <a:gd name="T10" fmla="*/ 112 w 123"/>
                  <a:gd name="T11" fmla="*/ 29 h 79"/>
                  <a:gd name="T12" fmla="*/ 116 w 123"/>
                  <a:gd name="T13" fmla="*/ 36 h 79"/>
                  <a:gd name="T14" fmla="*/ 114 w 123"/>
                  <a:gd name="T15" fmla="*/ 39 h 79"/>
                  <a:gd name="T16" fmla="*/ 106 w 123"/>
                  <a:gd name="T17" fmla="*/ 43 h 79"/>
                  <a:gd name="T18" fmla="*/ 97 w 123"/>
                  <a:gd name="T19" fmla="*/ 50 h 79"/>
                  <a:gd name="T20" fmla="*/ 80 w 123"/>
                  <a:gd name="T21" fmla="*/ 43 h 79"/>
                  <a:gd name="T22" fmla="*/ 87 w 123"/>
                  <a:gd name="T23" fmla="*/ 51 h 79"/>
                  <a:gd name="T24" fmla="*/ 87 w 123"/>
                  <a:gd name="T25" fmla="*/ 56 h 79"/>
                  <a:gd name="T26" fmla="*/ 68 w 123"/>
                  <a:gd name="T27" fmla="*/ 55 h 79"/>
                  <a:gd name="T28" fmla="*/ 77 w 123"/>
                  <a:gd name="T29" fmla="*/ 62 h 79"/>
                  <a:gd name="T30" fmla="*/ 66 w 123"/>
                  <a:gd name="T31" fmla="*/ 60 h 79"/>
                  <a:gd name="T32" fmla="*/ 66 w 123"/>
                  <a:gd name="T33" fmla="*/ 70 h 79"/>
                  <a:gd name="T34" fmla="*/ 58 w 123"/>
                  <a:gd name="T35" fmla="*/ 65 h 79"/>
                  <a:gd name="T36" fmla="*/ 61 w 123"/>
                  <a:gd name="T37" fmla="*/ 53 h 79"/>
                  <a:gd name="T38" fmla="*/ 65 w 123"/>
                  <a:gd name="T39" fmla="*/ 46 h 79"/>
                  <a:gd name="T40" fmla="*/ 78 w 123"/>
                  <a:gd name="T41" fmla="*/ 43 h 79"/>
                  <a:gd name="T42" fmla="*/ 75 w 123"/>
                  <a:gd name="T43" fmla="*/ 27 h 79"/>
                  <a:gd name="T44" fmla="*/ 77 w 123"/>
                  <a:gd name="T45" fmla="*/ 22 h 79"/>
                  <a:gd name="T46" fmla="*/ 70 w 123"/>
                  <a:gd name="T47" fmla="*/ 24 h 79"/>
                  <a:gd name="T48" fmla="*/ 66 w 123"/>
                  <a:gd name="T49" fmla="*/ 33 h 79"/>
                  <a:gd name="T50" fmla="*/ 55 w 123"/>
                  <a:gd name="T51" fmla="*/ 43 h 79"/>
                  <a:gd name="T52" fmla="*/ 41 w 123"/>
                  <a:gd name="T53" fmla="*/ 55 h 79"/>
                  <a:gd name="T54" fmla="*/ 38 w 123"/>
                  <a:gd name="T55" fmla="*/ 58 h 79"/>
                  <a:gd name="T56" fmla="*/ 31 w 123"/>
                  <a:gd name="T57" fmla="*/ 62 h 79"/>
                  <a:gd name="T58" fmla="*/ 22 w 123"/>
                  <a:gd name="T59" fmla="*/ 65 h 79"/>
                  <a:gd name="T60" fmla="*/ 21 w 123"/>
                  <a:gd name="T61" fmla="*/ 63 h 79"/>
                  <a:gd name="T62" fmla="*/ 19 w 123"/>
                  <a:gd name="T63" fmla="*/ 56 h 79"/>
                  <a:gd name="T64" fmla="*/ 22 w 123"/>
                  <a:gd name="T65" fmla="*/ 56 h 79"/>
                  <a:gd name="T66" fmla="*/ 29 w 123"/>
                  <a:gd name="T67" fmla="*/ 51 h 79"/>
                  <a:gd name="T68" fmla="*/ 32 w 123"/>
                  <a:gd name="T69" fmla="*/ 45 h 79"/>
                  <a:gd name="T70" fmla="*/ 36 w 123"/>
                  <a:gd name="T71" fmla="*/ 39 h 79"/>
                  <a:gd name="T72" fmla="*/ 34 w 123"/>
                  <a:gd name="T73" fmla="*/ 36 h 79"/>
                  <a:gd name="T74" fmla="*/ 34 w 123"/>
                  <a:gd name="T75" fmla="*/ 29 h 79"/>
                  <a:gd name="T76" fmla="*/ 24 w 123"/>
                  <a:gd name="T77" fmla="*/ 19 h 79"/>
                  <a:gd name="T78" fmla="*/ 43 w 123"/>
                  <a:gd name="T79" fmla="*/ 22 h 79"/>
                  <a:gd name="T80" fmla="*/ 51 w 123"/>
                  <a:gd name="T81" fmla="*/ 22 h 79"/>
                  <a:gd name="T82" fmla="*/ 63 w 123"/>
                  <a:gd name="T83" fmla="*/ 24 h 79"/>
                  <a:gd name="T84" fmla="*/ 15 w 123"/>
                  <a:gd name="T85" fmla="*/ 50 h 79"/>
                  <a:gd name="T86" fmla="*/ 14 w 123"/>
                  <a:gd name="T87" fmla="*/ 43 h 79"/>
                  <a:gd name="T88" fmla="*/ 43 w 123"/>
                  <a:gd name="T89" fmla="*/ 17 h 79"/>
                  <a:gd name="T90" fmla="*/ 34 w 123"/>
                  <a:gd name="T91" fmla="*/ 14 h 79"/>
                  <a:gd name="T92" fmla="*/ 55 w 123"/>
                  <a:gd name="T93" fmla="*/ 16 h 79"/>
                  <a:gd name="T94" fmla="*/ 99 w 123"/>
                  <a:gd name="T95" fmla="*/ 53 h 79"/>
                  <a:gd name="T96" fmla="*/ 48 w 123"/>
                  <a:gd name="T97" fmla="*/ 19 h 79"/>
                  <a:gd name="T98" fmla="*/ 55 w 123"/>
                  <a:gd name="T99" fmla="*/ 73 h 79"/>
                  <a:gd name="T100" fmla="*/ 4 w 123"/>
                  <a:gd name="T101" fmla="*/ 38 h 79"/>
                  <a:gd name="T102" fmla="*/ 53 w 123"/>
                  <a:gd name="T103" fmla="*/ 17 h 79"/>
                  <a:gd name="T104" fmla="*/ 58 w 123"/>
                  <a:gd name="T105" fmla="*/ 41 h 79"/>
                  <a:gd name="T106" fmla="*/ 56 w 123"/>
                  <a:gd name="T107" fmla="*/ 22 h 79"/>
                  <a:gd name="T108" fmla="*/ 60 w 123"/>
                  <a:gd name="T109" fmla="*/ 19 h 79"/>
                  <a:gd name="T110" fmla="*/ 17 w 123"/>
                  <a:gd name="T111" fmla="*/ 10 h 79"/>
                  <a:gd name="T112" fmla="*/ 17 w 123"/>
                  <a:gd name="T113" fmla="*/ 5 h 79"/>
                  <a:gd name="T114" fmla="*/ 17 w 123"/>
                  <a:gd name="T115" fmla="*/ 7 h 79"/>
                  <a:gd name="T116" fmla="*/ 21 w 123"/>
                  <a:gd name="T117" fmla="*/ 26 h 79"/>
                  <a:gd name="T118" fmla="*/ 17 w 123"/>
                  <a:gd name="T119" fmla="*/ 31 h 79"/>
                  <a:gd name="T120" fmla="*/ 41 w 123"/>
                  <a:gd name="T121" fmla="*/ 22 h 79"/>
                  <a:gd name="T122" fmla="*/ 29 w 123"/>
                  <a:gd name="T123" fmla="*/ 17 h 79"/>
                  <a:gd name="T124" fmla="*/ 55 w 123"/>
                  <a:gd name="T125" fmla="*/ 4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3" h="79">
                    <a:moveTo>
                      <a:pt x="80" y="12"/>
                    </a:moveTo>
                    <a:lnTo>
                      <a:pt x="82" y="12"/>
                    </a:lnTo>
                    <a:lnTo>
                      <a:pt x="82" y="14"/>
                    </a:lnTo>
                    <a:lnTo>
                      <a:pt x="83" y="14"/>
                    </a:lnTo>
                    <a:lnTo>
                      <a:pt x="83" y="16"/>
                    </a:lnTo>
                    <a:lnTo>
                      <a:pt x="85" y="16"/>
                    </a:lnTo>
                    <a:lnTo>
                      <a:pt x="87" y="16"/>
                    </a:lnTo>
                    <a:lnTo>
                      <a:pt x="87" y="17"/>
                    </a:lnTo>
                    <a:lnTo>
                      <a:pt x="89" y="17"/>
                    </a:lnTo>
                    <a:lnTo>
                      <a:pt x="90" y="17"/>
                    </a:lnTo>
                    <a:lnTo>
                      <a:pt x="92" y="17"/>
                    </a:lnTo>
                    <a:lnTo>
                      <a:pt x="92" y="19"/>
                    </a:lnTo>
                    <a:lnTo>
                      <a:pt x="94" y="19"/>
                    </a:lnTo>
                    <a:lnTo>
                      <a:pt x="94" y="17"/>
                    </a:lnTo>
                    <a:lnTo>
                      <a:pt x="92" y="19"/>
                    </a:lnTo>
                    <a:lnTo>
                      <a:pt x="92" y="17"/>
                    </a:lnTo>
                    <a:lnTo>
                      <a:pt x="94" y="16"/>
                    </a:lnTo>
                    <a:lnTo>
                      <a:pt x="95" y="16"/>
                    </a:lnTo>
                    <a:lnTo>
                      <a:pt x="97" y="16"/>
                    </a:lnTo>
                    <a:lnTo>
                      <a:pt x="97" y="17"/>
                    </a:lnTo>
                    <a:lnTo>
                      <a:pt x="99" y="17"/>
                    </a:lnTo>
                    <a:lnTo>
                      <a:pt x="100" y="17"/>
                    </a:lnTo>
                    <a:lnTo>
                      <a:pt x="100" y="19"/>
                    </a:lnTo>
                    <a:lnTo>
                      <a:pt x="102" y="19"/>
                    </a:lnTo>
                    <a:lnTo>
                      <a:pt x="102" y="21"/>
                    </a:lnTo>
                    <a:lnTo>
                      <a:pt x="100" y="21"/>
                    </a:lnTo>
                    <a:lnTo>
                      <a:pt x="102" y="21"/>
                    </a:lnTo>
                    <a:lnTo>
                      <a:pt x="102" y="22"/>
                    </a:lnTo>
                    <a:lnTo>
                      <a:pt x="100" y="22"/>
                    </a:lnTo>
                    <a:lnTo>
                      <a:pt x="102" y="22"/>
                    </a:lnTo>
                    <a:lnTo>
                      <a:pt x="102" y="24"/>
                    </a:lnTo>
                    <a:lnTo>
                      <a:pt x="100" y="24"/>
                    </a:lnTo>
                    <a:lnTo>
                      <a:pt x="100" y="22"/>
                    </a:lnTo>
                    <a:lnTo>
                      <a:pt x="100" y="24"/>
                    </a:lnTo>
                    <a:lnTo>
                      <a:pt x="99" y="24"/>
                    </a:lnTo>
                    <a:lnTo>
                      <a:pt x="97" y="24"/>
                    </a:lnTo>
                    <a:lnTo>
                      <a:pt x="97" y="22"/>
                    </a:lnTo>
                    <a:lnTo>
                      <a:pt x="97" y="21"/>
                    </a:lnTo>
                    <a:lnTo>
                      <a:pt x="97" y="22"/>
                    </a:lnTo>
                    <a:lnTo>
                      <a:pt x="95" y="22"/>
                    </a:lnTo>
                    <a:lnTo>
                      <a:pt x="95" y="21"/>
                    </a:lnTo>
                    <a:lnTo>
                      <a:pt x="97" y="21"/>
                    </a:lnTo>
                    <a:lnTo>
                      <a:pt x="95" y="21"/>
                    </a:lnTo>
                    <a:lnTo>
                      <a:pt x="95" y="22"/>
                    </a:lnTo>
                    <a:lnTo>
                      <a:pt x="94" y="22"/>
                    </a:lnTo>
                    <a:lnTo>
                      <a:pt x="94" y="24"/>
                    </a:lnTo>
                    <a:lnTo>
                      <a:pt x="94" y="22"/>
                    </a:lnTo>
                    <a:lnTo>
                      <a:pt x="95" y="22"/>
                    </a:lnTo>
                    <a:lnTo>
                      <a:pt x="94" y="24"/>
                    </a:lnTo>
                    <a:lnTo>
                      <a:pt x="92" y="24"/>
                    </a:lnTo>
                    <a:lnTo>
                      <a:pt x="94" y="24"/>
                    </a:lnTo>
                    <a:lnTo>
                      <a:pt x="95" y="22"/>
                    </a:lnTo>
                    <a:lnTo>
                      <a:pt x="95" y="24"/>
                    </a:lnTo>
                    <a:lnTo>
                      <a:pt x="95" y="22"/>
                    </a:lnTo>
                    <a:lnTo>
                      <a:pt x="97" y="24"/>
                    </a:lnTo>
                    <a:lnTo>
                      <a:pt x="95" y="24"/>
                    </a:lnTo>
                    <a:lnTo>
                      <a:pt x="95" y="26"/>
                    </a:lnTo>
                    <a:lnTo>
                      <a:pt x="95" y="27"/>
                    </a:lnTo>
                    <a:lnTo>
                      <a:pt x="95" y="26"/>
                    </a:lnTo>
                    <a:lnTo>
                      <a:pt x="97" y="24"/>
                    </a:lnTo>
                    <a:lnTo>
                      <a:pt x="97" y="26"/>
                    </a:lnTo>
                    <a:lnTo>
                      <a:pt x="99" y="26"/>
                    </a:lnTo>
                    <a:lnTo>
                      <a:pt x="99" y="24"/>
                    </a:lnTo>
                    <a:lnTo>
                      <a:pt x="99" y="26"/>
                    </a:lnTo>
                    <a:lnTo>
                      <a:pt x="99" y="27"/>
                    </a:lnTo>
                    <a:lnTo>
                      <a:pt x="99" y="29"/>
                    </a:lnTo>
                    <a:lnTo>
                      <a:pt x="100" y="27"/>
                    </a:lnTo>
                    <a:lnTo>
                      <a:pt x="100" y="29"/>
                    </a:lnTo>
                    <a:lnTo>
                      <a:pt x="100" y="31"/>
                    </a:lnTo>
                    <a:lnTo>
                      <a:pt x="100" y="29"/>
                    </a:lnTo>
                    <a:lnTo>
                      <a:pt x="102" y="31"/>
                    </a:lnTo>
                    <a:lnTo>
                      <a:pt x="102" y="29"/>
                    </a:lnTo>
                    <a:lnTo>
                      <a:pt x="104" y="29"/>
                    </a:lnTo>
                    <a:lnTo>
                      <a:pt x="104" y="31"/>
                    </a:lnTo>
                    <a:lnTo>
                      <a:pt x="102" y="33"/>
                    </a:lnTo>
                    <a:lnTo>
                      <a:pt x="104" y="33"/>
                    </a:lnTo>
                    <a:lnTo>
                      <a:pt x="106" y="33"/>
                    </a:lnTo>
                    <a:lnTo>
                      <a:pt x="104" y="33"/>
                    </a:lnTo>
                    <a:lnTo>
                      <a:pt x="104" y="34"/>
                    </a:lnTo>
                    <a:lnTo>
                      <a:pt x="106" y="34"/>
                    </a:lnTo>
                    <a:lnTo>
                      <a:pt x="104" y="34"/>
                    </a:lnTo>
                    <a:lnTo>
                      <a:pt x="106" y="34"/>
                    </a:lnTo>
                    <a:lnTo>
                      <a:pt x="106" y="33"/>
                    </a:lnTo>
                    <a:lnTo>
                      <a:pt x="106" y="34"/>
                    </a:lnTo>
                    <a:lnTo>
                      <a:pt x="106" y="36"/>
                    </a:lnTo>
                    <a:lnTo>
                      <a:pt x="106" y="34"/>
                    </a:lnTo>
                    <a:lnTo>
                      <a:pt x="107" y="34"/>
                    </a:lnTo>
                    <a:lnTo>
                      <a:pt x="106" y="34"/>
                    </a:lnTo>
                    <a:lnTo>
                      <a:pt x="106" y="33"/>
                    </a:lnTo>
                    <a:lnTo>
                      <a:pt x="104" y="33"/>
                    </a:lnTo>
                    <a:lnTo>
                      <a:pt x="106" y="31"/>
                    </a:lnTo>
                    <a:lnTo>
                      <a:pt x="107" y="33"/>
                    </a:lnTo>
                    <a:lnTo>
                      <a:pt x="109" y="33"/>
                    </a:lnTo>
                    <a:lnTo>
                      <a:pt x="107" y="33"/>
                    </a:lnTo>
                    <a:lnTo>
                      <a:pt x="106" y="31"/>
                    </a:lnTo>
                    <a:lnTo>
                      <a:pt x="107" y="31"/>
                    </a:lnTo>
                    <a:lnTo>
                      <a:pt x="106" y="31"/>
                    </a:lnTo>
                    <a:lnTo>
                      <a:pt x="104" y="29"/>
                    </a:lnTo>
                    <a:lnTo>
                      <a:pt x="106" y="29"/>
                    </a:lnTo>
                    <a:lnTo>
                      <a:pt x="107" y="27"/>
                    </a:lnTo>
                    <a:lnTo>
                      <a:pt x="106" y="27"/>
                    </a:lnTo>
                    <a:lnTo>
                      <a:pt x="106" y="29"/>
                    </a:lnTo>
                    <a:lnTo>
                      <a:pt x="104" y="29"/>
                    </a:lnTo>
                    <a:lnTo>
                      <a:pt x="104" y="27"/>
                    </a:lnTo>
                    <a:lnTo>
                      <a:pt x="104" y="26"/>
                    </a:lnTo>
                    <a:lnTo>
                      <a:pt x="102" y="27"/>
                    </a:lnTo>
                    <a:lnTo>
                      <a:pt x="100" y="27"/>
                    </a:lnTo>
                    <a:lnTo>
                      <a:pt x="100" y="26"/>
                    </a:lnTo>
                    <a:lnTo>
                      <a:pt x="102" y="26"/>
                    </a:lnTo>
                    <a:lnTo>
                      <a:pt x="100" y="26"/>
                    </a:lnTo>
                    <a:lnTo>
                      <a:pt x="102" y="26"/>
                    </a:lnTo>
                    <a:lnTo>
                      <a:pt x="102" y="24"/>
                    </a:lnTo>
                    <a:lnTo>
                      <a:pt x="104" y="22"/>
                    </a:lnTo>
                    <a:lnTo>
                      <a:pt x="104" y="21"/>
                    </a:lnTo>
                    <a:lnTo>
                      <a:pt x="106" y="21"/>
                    </a:lnTo>
                    <a:lnTo>
                      <a:pt x="107" y="21"/>
                    </a:lnTo>
                    <a:lnTo>
                      <a:pt x="109" y="21"/>
                    </a:lnTo>
                    <a:lnTo>
                      <a:pt x="111" y="21"/>
                    </a:lnTo>
                    <a:lnTo>
                      <a:pt x="111" y="19"/>
                    </a:lnTo>
                    <a:lnTo>
                      <a:pt x="111" y="21"/>
                    </a:lnTo>
                    <a:lnTo>
                      <a:pt x="112" y="21"/>
                    </a:lnTo>
                    <a:lnTo>
                      <a:pt x="114" y="19"/>
                    </a:lnTo>
                    <a:lnTo>
                      <a:pt x="116" y="19"/>
                    </a:lnTo>
                    <a:lnTo>
                      <a:pt x="116" y="21"/>
                    </a:lnTo>
                    <a:lnTo>
                      <a:pt x="117" y="21"/>
                    </a:lnTo>
                    <a:lnTo>
                      <a:pt x="117" y="22"/>
                    </a:lnTo>
                    <a:lnTo>
                      <a:pt x="119" y="24"/>
                    </a:lnTo>
                    <a:lnTo>
                      <a:pt x="119" y="26"/>
                    </a:lnTo>
                    <a:lnTo>
                      <a:pt x="121" y="26"/>
                    </a:lnTo>
                    <a:lnTo>
                      <a:pt x="121" y="27"/>
                    </a:lnTo>
                    <a:lnTo>
                      <a:pt x="123" y="27"/>
                    </a:lnTo>
                    <a:lnTo>
                      <a:pt x="121" y="27"/>
                    </a:lnTo>
                    <a:lnTo>
                      <a:pt x="119" y="27"/>
                    </a:lnTo>
                    <a:lnTo>
                      <a:pt x="117" y="26"/>
                    </a:lnTo>
                    <a:lnTo>
                      <a:pt x="119" y="26"/>
                    </a:lnTo>
                    <a:lnTo>
                      <a:pt x="117" y="26"/>
                    </a:lnTo>
                    <a:lnTo>
                      <a:pt x="117" y="27"/>
                    </a:lnTo>
                    <a:lnTo>
                      <a:pt x="119" y="27"/>
                    </a:lnTo>
                    <a:lnTo>
                      <a:pt x="121" y="27"/>
                    </a:lnTo>
                    <a:lnTo>
                      <a:pt x="121" y="29"/>
                    </a:lnTo>
                    <a:lnTo>
                      <a:pt x="119" y="29"/>
                    </a:lnTo>
                    <a:lnTo>
                      <a:pt x="117" y="29"/>
                    </a:lnTo>
                    <a:lnTo>
                      <a:pt x="116" y="29"/>
                    </a:lnTo>
                    <a:lnTo>
                      <a:pt x="114" y="29"/>
                    </a:lnTo>
                    <a:lnTo>
                      <a:pt x="114" y="27"/>
                    </a:lnTo>
                    <a:lnTo>
                      <a:pt x="112" y="27"/>
                    </a:lnTo>
                    <a:lnTo>
                      <a:pt x="112" y="26"/>
                    </a:lnTo>
                    <a:lnTo>
                      <a:pt x="111" y="26"/>
                    </a:lnTo>
                    <a:lnTo>
                      <a:pt x="112" y="27"/>
                    </a:lnTo>
                    <a:lnTo>
                      <a:pt x="112" y="29"/>
                    </a:lnTo>
                    <a:lnTo>
                      <a:pt x="111" y="27"/>
                    </a:lnTo>
                    <a:lnTo>
                      <a:pt x="109" y="27"/>
                    </a:lnTo>
                    <a:lnTo>
                      <a:pt x="111" y="29"/>
                    </a:lnTo>
                    <a:lnTo>
                      <a:pt x="109" y="27"/>
                    </a:lnTo>
                    <a:lnTo>
                      <a:pt x="109" y="29"/>
                    </a:lnTo>
                    <a:lnTo>
                      <a:pt x="107" y="29"/>
                    </a:lnTo>
                    <a:lnTo>
                      <a:pt x="109" y="29"/>
                    </a:lnTo>
                    <a:lnTo>
                      <a:pt x="109" y="31"/>
                    </a:lnTo>
                    <a:lnTo>
                      <a:pt x="111" y="31"/>
                    </a:lnTo>
                    <a:lnTo>
                      <a:pt x="109" y="31"/>
                    </a:lnTo>
                    <a:lnTo>
                      <a:pt x="111" y="31"/>
                    </a:lnTo>
                    <a:lnTo>
                      <a:pt x="112" y="31"/>
                    </a:lnTo>
                    <a:lnTo>
                      <a:pt x="114" y="31"/>
                    </a:lnTo>
                    <a:lnTo>
                      <a:pt x="116" y="33"/>
                    </a:lnTo>
                    <a:lnTo>
                      <a:pt x="117" y="33"/>
                    </a:lnTo>
                    <a:lnTo>
                      <a:pt x="119" y="33"/>
                    </a:lnTo>
                    <a:lnTo>
                      <a:pt x="121" y="33"/>
                    </a:lnTo>
                    <a:lnTo>
                      <a:pt x="121" y="34"/>
                    </a:lnTo>
                    <a:lnTo>
                      <a:pt x="123" y="34"/>
                    </a:lnTo>
                    <a:lnTo>
                      <a:pt x="121" y="34"/>
                    </a:lnTo>
                    <a:lnTo>
                      <a:pt x="121" y="36"/>
                    </a:lnTo>
                    <a:lnTo>
                      <a:pt x="119" y="34"/>
                    </a:lnTo>
                    <a:lnTo>
                      <a:pt x="119" y="36"/>
                    </a:lnTo>
                    <a:lnTo>
                      <a:pt x="117" y="36"/>
                    </a:lnTo>
                    <a:lnTo>
                      <a:pt x="116" y="36"/>
                    </a:lnTo>
                    <a:lnTo>
                      <a:pt x="116" y="34"/>
                    </a:lnTo>
                    <a:lnTo>
                      <a:pt x="114" y="34"/>
                    </a:lnTo>
                    <a:lnTo>
                      <a:pt x="116" y="34"/>
                    </a:lnTo>
                    <a:lnTo>
                      <a:pt x="116" y="36"/>
                    </a:lnTo>
                    <a:lnTo>
                      <a:pt x="117" y="36"/>
                    </a:lnTo>
                    <a:lnTo>
                      <a:pt x="116" y="36"/>
                    </a:lnTo>
                    <a:lnTo>
                      <a:pt x="117" y="36"/>
                    </a:lnTo>
                    <a:lnTo>
                      <a:pt x="119" y="36"/>
                    </a:lnTo>
                    <a:lnTo>
                      <a:pt x="117" y="36"/>
                    </a:lnTo>
                    <a:lnTo>
                      <a:pt x="116" y="36"/>
                    </a:lnTo>
                    <a:lnTo>
                      <a:pt x="117" y="38"/>
                    </a:lnTo>
                    <a:lnTo>
                      <a:pt x="119" y="38"/>
                    </a:lnTo>
                    <a:lnTo>
                      <a:pt x="119" y="36"/>
                    </a:lnTo>
                    <a:lnTo>
                      <a:pt x="121" y="36"/>
                    </a:lnTo>
                    <a:lnTo>
                      <a:pt x="123" y="36"/>
                    </a:lnTo>
                    <a:lnTo>
                      <a:pt x="123" y="38"/>
                    </a:lnTo>
                    <a:lnTo>
                      <a:pt x="121" y="38"/>
                    </a:lnTo>
                    <a:lnTo>
                      <a:pt x="119" y="38"/>
                    </a:lnTo>
                    <a:lnTo>
                      <a:pt x="119" y="39"/>
                    </a:lnTo>
                    <a:lnTo>
                      <a:pt x="119" y="38"/>
                    </a:lnTo>
                    <a:lnTo>
                      <a:pt x="117" y="39"/>
                    </a:lnTo>
                    <a:lnTo>
                      <a:pt x="116" y="39"/>
                    </a:lnTo>
                    <a:lnTo>
                      <a:pt x="114" y="39"/>
                    </a:lnTo>
                    <a:lnTo>
                      <a:pt x="112" y="39"/>
                    </a:lnTo>
                    <a:lnTo>
                      <a:pt x="114" y="39"/>
                    </a:lnTo>
                    <a:lnTo>
                      <a:pt x="116" y="39"/>
                    </a:lnTo>
                    <a:lnTo>
                      <a:pt x="117" y="39"/>
                    </a:lnTo>
                    <a:lnTo>
                      <a:pt x="119" y="39"/>
                    </a:lnTo>
                    <a:lnTo>
                      <a:pt x="117" y="39"/>
                    </a:lnTo>
                    <a:lnTo>
                      <a:pt x="116" y="39"/>
                    </a:lnTo>
                    <a:lnTo>
                      <a:pt x="114" y="41"/>
                    </a:lnTo>
                    <a:lnTo>
                      <a:pt x="112" y="41"/>
                    </a:lnTo>
                    <a:lnTo>
                      <a:pt x="111" y="41"/>
                    </a:lnTo>
                    <a:lnTo>
                      <a:pt x="109" y="41"/>
                    </a:lnTo>
                    <a:lnTo>
                      <a:pt x="107" y="41"/>
                    </a:lnTo>
                    <a:lnTo>
                      <a:pt x="109" y="39"/>
                    </a:lnTo>
                    <a:lnTo>
                      <a:pt x="107" y="39"/>
                    </a:lnTo>
                    <a:lnTo>
                      <a:pt x="107" y="41"/>
                    </a:lnTo>
                    <a:lnTo>
                      <a:pt x="106" y="41"/>
                    </a:lnTo>
                    <a:lnTo>
                      <a:pt x="104" y="39"/>
                    </a:lnTo>
                    <a:lnTo>
                      <a:pt x="104" y="41"/>
                    </a:lnTo>
                    <a:lnTo>
                      <a:pt x="104" y="39"/>
                    </a:lnTo>
                    <a:lnTo>
                      <a:pt x="104" y="41"/>
                    </a:lnTo>
                    <a:lnTo>
                      <a:pt x="106" y="41"/>
                    </a:lnTo>
                    <a:lnTo>
                      <a:pt x="107" y="41"/>
                    </a:lnTo>
                    <a:lnTo>
                      <a:pt x="106" y="43"/>
                    </a:lnTo>
                    <a:lnTo>
                      <a:pt x="107" y="41"/>
                    </a:lnTo>
                    <a:lnTo>
                      <a:pt x="109" y="43"/>
                    </a:lnTo>
                    <a:lnTo>
                      <a:pt x="107" y="43"/>
                    </a:lnTo>
                    <a:lnTo>
                      <a:pt x="106" y="43"/>
                    </a:lnTo>
                    <a:lnTo>
                      <a:pt x="104" y="43"/>
                    </a:lnTo>
                    <a:lnTo>
                      <a:pt x="104" y="45"/>
                    </a:lnTo>
                    <a:lnTo>
                      <a:pt x="102" y="45"/>
                    </a:lnTo>
                    <a:lnTo>
                      <a:pt x="100" y="45"/>
                    </a:lnTo>
                    <a:lnTo>
                      <a:pt x="102" y="45"/>
                    </a:lnTo>
                    <a:lnTo>
                      <a:pt x="104" y="45"/>
                    </a:lnTo>
                    <a:lnTo>
                      <a:pt x="104" y="43"/>
                    </a:lnTo>
                    <a:lnTo>
                      <a:pt x="106" y="43"/>
                    </a:lnTo>
                    <a:lnTo>
                      <a:pt x="106" y="45"/>
                    </a:lnTo>
                    <a:lnTo>
                      <a:pt x="107" y="45"/>
                    </a:lnTo>
                    <a:lnTo>
                      <a:pt x="106" y="45"/>
                    </a:lnTo>
                    <a:lnTo>
                      <a:pt x="106" y="46"/>
                    </a:lnTo>
                    <a:lnTo>
                      <a:pt x="104" y="46"/>
                    </a:lnTo>
                    <a:lnTo>
                      <a:pt x="106" y="46"/>
                    </a:lnTo>
                    <a:lnTo>
                      <a:pt x="104" y="46"/>
                    </a:lnTo>
                    <a:lnTo>
                      <a:pt x="102" y="46"/>
                    </a:lnTo>
                    <a:lnTo>
                      <a:pt x="102" y="48"/>
                    </a:lnTo>
                    <a:lnTo>
                      <a:pt x="104" y="48"/>
                    </a:lnTo>
                    <a:lnTo>
                      <a:pt x="102" y="48"/>
                    </a:lnTo>
                    <a:lnTo>
                      <a:pt x="100" y="48"/>
                    </a:lnTo>
                    <a:lnTo>
                      <a:pt x="100" y="50"/>
                    </a:lnTo>
                    <a:lnTo>
                      <a:pt x="99" y="50"/>
                    </a:lnTo>
                    <a:lnTo>
                      <a:pt x="100" y="50"/>
                    </a:lnTo>
                    <a:lnTo>
                      <a:pt x="99" y="50"/>
                    </a:lnTo>
                    <a:lnTo>
                      <a:pt x="97" y="50"/>
                    </a:lnTo>
                    <a:lnTo>
                      <a:pt x="97" y="48"/>
                    </a:lnTo>
                    <a:lnTo>
                      <a:pt x="99" y="50"/>
                    </a:lnTo>
                    <a:lnTo>
                      <a:pt x="100" y="50"/>
                    </a:lnTo>
                    <a:lnTo>
                      <a:pt x="99" y="48"/>
                    </a:lnTo>
                    <a:lnTo>
                      <a:pt x="100" y="48"/>
                    </a:lnTo>
                    <a:lnTo>
                      <a:pt x="99" y="48"/>
                    </a:lnTo>
                    <a:lnTo>
                      <a:pt x="97" y="48"/>
                    </a:lnTo>
                    <a:lnTo>
                      <a:pt x="95" y="48"/>
                    </a:lnTo>
                    <a:lnTo>
                      <a:pt x="94" y="48"/>
                    </a:lnTo>
                    <a:lnTo>
                      <a:pt x="94" y="50"/>
                    </a:lnTo>
                    <a:lnTo>
                      <a:pt x="94" y="48"/>
                    </a:lnTo>
                    <a:lnTo>
                      <a:pt x="92" y="48"/>
                    </a:lnTo>
                    <a:lnTo>
                      <a:pt x="90" y="48"/>
                    </a:lnTo>
                    <a:lnTo>
                      <a:pt x="92" y="48"/>
                    </a:lnTo>
                    <a:lnTo>
                      <a:pt x="90" y="48"/>
                    </a:lnTo>
                    <a:lnTo>
                      <a:pt x="89" y="48"/>
                    </a:lnTo>
                    <a:lnTo>
                      <a:pt x="87" y="48"/>
                    </a:lnTo>
                    <a:lnTo>
                      <a:pt x="85" y="46"/>
                    </a:lnTo>
                    <a:lnTo>
                      <a:pt x="83" y="45"/>
                    </a:lnTo>
                    <a:lnTo>
                      <a:pt x="83" y="46"/>
                    </a:lnTo>
                    <a:lnTo>
                      <a:pt x="85" y="46"/>
                    </a:lnTo>
                    <a:lnTo>
                      <a:pt x="83" y="46"/>
                    </a:lnTo>
                    <a:lnTo>
                      <a:pt x="82" y="45"/>
                    </a:lnTo>
                    <a:lnTo>
                      <a:pt x="82" y="43"/>
                    </a:lnTo>
                    <a:lnTo>
                      <a:pt x="80" y="43"/>
                    </a:lnTo>
                    <a:lnTo>
                      <a:pt x="82" y="43"/>
                    </a:lnTo>
                    <a:lnTo>
                      <a:pt x="80" y="45"/>
                    </a:lnTo>
                    <a:lnTo>
                      <a:pt x="80" y="46"/>
                    </a:lnTo>
                    <a:lnTo>
                      <a:pt x="78" y="46"/>
                    </a:lnTo>
                    <a:lnTo>
                      <a:pt x="77" y="46"/>
                    </a:lnTo>
                    <a:lnTo>
                      <a:pt x="77" y="45"/>
                    </a:lnTo>
                    <a:lnTo>
                      <a:pt x="75" y="45"/>
                    </a:lnTo>
                    <a:lnTo>
                      <a:pt x="77" y="46"/>
                    </a:lnTo>
                    <a:lnTo>
                      <a:pt x="75" y="48"/>
                    </a:lnTo>
                    <a:lnTo>
                      <a:pt x="77" y="46"/>
                    </a:lnTo>
                    <a:lnTo>
                      <a:pt x="78" y="46"/>
                    </a:lnTo>
                    <a:lnTo>
                      <a:pt x="78" y="48"/>
                    </a:lnTo>
                    <a:lnTo>
                      <a:pt x="80" y="46"/>
                    </a:lnTo>
                    <a:lnTo>
                      <a:pt x="82" y="46"/>
                    </a:lnTo>
                    <a:lnTo>
                      <a:pt x="82" y="48"/>
                    </a:lnTo>
                    <a:lnTo>
                      <a:pt x="83" y="48"/>
                    </a:lnTo>
                    <a:lnTo>
                      <a:pt x="85" y="50"/>
                    </a:lnTo>
                    <a:lnTo>
                      <a:pt x="87" y="50"/>
                    </a:lnTo>
                    <a:lnTo>
                      <a:pt x="87" y="51"/>
                    </a:lnTo>
                    <a:lnTo>
                      <a:pt x="85" y="50"/>
                    </a:lnTo>
                    <a:lnTo>
                      <a:pt x="83" y="50"/>
                    </a:lnTo>
                    <a:lnTo>
                      <a:pt x="85" y="50"/>
                    </a:lnTo>
                    <a:lnTo>
                      <a:pt x="85" y="51"/>
                    </a:lnTo>
                    <a:lnTo>
                      <a:pt x="85" y="50"/>
                    </a:lnTo>
                    <a:lnTo>
                      <a:pt x="87" y="51"/>
                    </a:lnTo>
                    <a:lnTo>
                      <a:pt x="87" y="53"/>
                    </a:lnTo>
                    <a:lnTo>
                      <a:pt x="87" y="51"/>
                    </a:lnTo>
                    <a:lnTo>
                      <a:pt x="89" y="51"/>
                    </a:lnTo>
                    <a:lnTo>
                      <a:pt x="90" y="51"/>
                    </a:lnTo>
                    <a:lnTo>
                      <a:pt x="90" y="53"/>
                    </a:lnTo>
                    <a:lnTo>
                      <a:pt x="90" y="51"/>
                    </a:lnTo>
                    <a:lnTo>
                      <a:pt x="92" y="53"/>
                    </a:lnTo>
                    <a:lnTo>
                      <a:pt x="92" y="51"/>
                    </a:lnTo>
                    <a:lnTo>
                      <a:pt x="92" y="53"/>
                    </a:lnTo>
                    <a:lnTo>
                      <a:pt x="94" y="53"/>
                    </a:lnTo>
                    <a:lnTo>
                      <a:pt x="92" y="55"/>
                    </a:lnTo>
                    <a:lnTo>
                      <a:pt x="94" y="55"/>
                    </a:lnTo>
                    <a:lnTo>
                      <a:pt x="92" y="55"/>
                    </a:lnTo>
                    <a:lnTo>
                      <a:pt x="90" y="55"/>
                    </a:lnTo>
                    <a:lnTo>
                      <a:pt x="92" y="56"/>
                    </a:lnTo>
                    <a:lnTo>
                      <a:pt x="90" y="56"/>
                    </a:lnTo>
                    <a:lnTo>
                      <a:pt x="90" y="58"/>
                    </a:lnTo>
                    <a:lnTo>
                      <a:pt x="92" y="58"/>
                    </a:lnTo>
                    <a:lnTo>
                      <a:pt x="92" y="60"/>
                    </a:lnTo>
                    <a:lnTo>
                      <a:pt x="90" y="62"/>
                    </a:lnTo>
                    <a:lnTo>
                      <a:pt x="90" y="60"/>
                    </a:lnTo>
                    <a:lnTo>
                      <a:pt x="90" y="58"/>
                    </a:lnTo>
                    <a:lnTo>
                      <a:pt x="89" y="58"/>
                    </a:lnTo>
                    <a:lnTo>
                      <a:pt x="89" y="56"/>
                    </a:lnTo>
                    <a:lnTo>
                      <a:pt x="87" y="56"/>
                    </a:lnTo>
                    <a:lnTo>
                      <a:pt x="85" y="56"/>
                    </a:lnTo>
                    <a:lnTo>
                      <a:pt x="83" y="56"/>
                    </a:lnTo>
                    <a:lnTo>
                      <a:pt x="83" y="58"/>
                    </a:lnTo>
                    <a:lnTo>
                      <a:pt x="82" y="58"/>
                    </a:lnTo>
                    <a:lnTo>
                      <a:pt x="82" y="60"/>
                    </a:lnTo>
                    <a:lnTo>
                      <a:pt x="82" y="58"/>
                    </a:lnTo>
                    <a:lnTo>
                      <a:pt x="82" y="56"/>
                    </a:lnTo>
                    <a:lnTo>
                      <a:pt x="80" y="58"/>
                    </a:lnTo>
                    <a:lnTo>
                      <a:pt x="80" y="60"/>
                    </a:lnTo>
                    <a:lnTo>
                      <a:pt x="80" y="58"/>
                    </a:lnTo>
                    <a:lnTo>
                      <a:pt x="80" y="56"/>
                    </a:lnTo>
                    <a:lnTo>
                      <a:pt x="78" y="56"/>
                    </a:lnTo>
                    <a:lnTo>
                      <a:pt x="78" y="55"/>
                    </a:lnTo>
                    <a:lnTo>
                      <a:pt x="78" y="56"/>
                    </a:lnTo>
                    <a:lnTo>
                      <a:pt x="77" y="56"/>
                    </a:lnTo>
                    <a:lnTo>
                      <a:pt x="77" y="55"/>
                    </a:lnTo>
                    <a:lnTo>
                      <a:pt x="75" y="55"/>
                    </a:lnTo>
                    <a:lnTo>
                      <a:pt x="75" y="53"/>
                    </a:lnTo>
                    <a:lnTo>
                      <a:pt x="73" y="53"/>
                    </a:lnTo>
                    <a:lnTo>
                      <a:pt x="75" y="53"/>
                    </a:lnTo>
                    <a:lnTo>
                      <a:pt x="73" y="55"/>
                    </a:lnTo>
                    <a:lnTo>
                      <a:pt x="72" y="55"/>
                    </a:lnTo>
                    <a:lnTo>
                      <a:pt x="72" y="53"/>
                    </a:lnTo>
                    <a:lnTo>
                      <a:pt x="70" y="55"/>
                    </a:lnTo>
                    <a:lnTo>
                      <a:pt x="68" y="55"/>
                    </a:lnTo>
                    <a:lnTo>
                      <a:pt x="70" y="55"/>
                    </a:lnTo>
                    <a:lnTo>
                      <a:pt x="72" y="55"/>
                    </a:lnTo>
                    <a:lnTo>
                      <a:pt x="73" y="55"/>
                    </a:lnTo>
                    <a:lnTo>
                      <a:pt x="73" y="56"/>
                    </a:lnTo>
                    <a:lnTo>
                      <a:pt x="72" y="56"/>
                    </a:lnTo>
                    <a:lnTo>
                      <a:pt x="73" y="56"/>
                    </a:lnTo>
                    <a:lnTo>
                      <a:pt x="73" y="58"/>
                    </a:lnTo>
                    <a:lnTo>
                      <a:pt x="75" y="56"/>
                    </a:lnTo>
                    <a:lnTo>
                      <a:pt x="75" y="58"/>
                    </a:lnTo>
                    <a:lnTo>
                      <a:pt x="77" y="58"/>
                    </a:lnTo>
                    <a:lnTo>
                      <a:pt x="75" y="58"/>
                    </a:lnTo>
                    <a:lnTo>
                      <a:pt x="73" y="60"/>
                    </a:lnTo>
                    <a:lnTo>
                      <a:pt x="75" y="60"/>
                    </a:lnTo>
                    <a:lnTo>
                      <a:pt x="77" y="60"/>
                    </a:lnTo>
                    <a:lnTo>
                      <a:pt x="77" y="62"/>
                    </a:lnTo>
                    <a:lnTo>
                      <a:pt x="75" y="60"/>
                    </a:lnTo>
                    <a:lnTo>
                      <a:pt x="75" y="62"/>
                    </a:lnTo>
                    <a:lnTo>
                      <a:pt x="73" y="62"/>
                    </a:lnTo>
                    <a:lnTo>
                      <a:pt x="75" y="62"/>
                    </a:lnTo>
                    <a:lnTo>
                      <a:pt x="75" y="63"/>
                    </a:lnTo>
                    <a:lnTo>
                      <a:pt x="75" y="62"/>
                    </a:lnTo>
                    <a:lnTo>
                      <a:pt x="77" y="62"/>
                    </a:lnTo>
                    <a:lnTo>
                      <a:pt x="75" y="63"/>
                    </a:lnTo>
                    <a:lnTo>
                      <a:pt x="77" y="63"/>
                    </a:lnTo>
                    <a:lnTo>
                      <a:pt x="77" y="62"/>
                    </a:lnTo>
                    <a:lnTo>
                      <a:pt x="78" y="62"/>
                    </a:lnTo>
                    <a:lnTo>
                      <a:pt x="78" y="63"/>
                    </a:lnTo>
                    <a:lnTo>
                      <a:pt x="77" y="63"/>
                    </a:lnTo>
                    <a:lnTo>
                      <a:pt x="78" y="63"/>
                    </a:lnTo>
                    <a:lnTo>
                      <a:pt x="77" y="63"/>
                    </a:lnTo>
                    <a:lnTo>
                      <a:pt x="77" y="65"/>
                    </a:lnTo>
                    <a:lnTo>
                      <a:pt x="78" y="65"/>
                    </a:lnTo>
                    <a:lnTo>
                      <a:pt x="78" y="67"/>
                    </a:lnTo>
                    <a:lnTo>
                      <a:pt x="78" y="68"/>
                    </a:lnTo>
                    <a:lnTo>
                      <a:pt x="77" y="67"/>
                    </a:lnTo>
                    <a:lnTo>
                      <a:pt x="75" y="67"/>
                    </a:lnTo>
                    <a:lnTo>
                      <a:pt x="75" y="65"/>
                    </a:lnTo>
                    <a:lnTo>
                      <a:pt x="73" y="65"/>
                    </a:lnTo>
                    <a:lnTo>
                      <a:pt x="72" y="67"/>
                    </a:lnTo>
                    <a:lnTo>
                      <a:pt x="72" y="65"/>
                    </a:lnTo>
                    <a:lnTo>
                      <a:pt x="72" y="63"/>
                    </a:lnTo>
                    <a:lnTo>
                      <a:pt x="70" y="63"/>
                    </a:lnTo>
                    <a:lnTo>
                      <a:pt x="68" y="63"/>
                    </a:lnTo>
                    <a:lnTo>
                      <a:pt x="70" y="63"/>
                    </a:lnTo>
                    <a:lnTo>
                      <a:pt x="70" y="62"/>
                    </a:lnTo>
                    <a:lnTo>
                      <a:pt x="68" y="63"/>
                    </a:lnTo>
                    <a:lnTo>
                      <a:pt x="68" y="62"/>
                    </a:lnTo>
                    <a:lnTo>
                      <a:pt x="68" y="63"/>
                    </a:lnTo>
                    <a:lnTo>
                      <a:pt x="68" y="62"/>
                    </a:lnTo>
                    <a:lnTo>
                      <a:pt x="66" y="60"/>
                    </a:lnTo>
                    <a:lnTo>
                      <a:pt x="66" y="62"/>
                    </a:lnTo>
                    <a:lnTo>
                      <a:pt x="66" y="60"/>
                    </a:lnTo>
                    <a:lnTo>
                      <a:pt x="66" y="62"/>
                    </a:lnTo>
                    <a:lnTo>
                      <a:pt x="66" y="63"/>
                    </a:lnTo>
                    <a:lnTo>
                      <a:pt x="65" y="63"/>
                    </a:lnTo>
                    <a:lnTo>
                      <a:pt x="65" y="62"/>
                    </a:lnTo>
                    <a:lnTo>
                      <a:pt x="63" y="63"/>
                    </a:lnTo>
                    <a:lnTo>
                      <a:pt x="65" y="63"/>
                    </a:lnTo>
                    <a:lnTo>
                      <a:pt x="66" y="63"/>
                    </a:lnTo>
                    <a:lnTo>
                      <a:pt x="66" y="65"/>
                    </a:lnTo>
                    <a:lnTo>
                      <a:pt x="65" y="63"/>
                    </a:lnTo>
                    <a:lnTo>
                      <a:pt x="65" y="65"/>
                    </a:lnTo>
                    <a:lnTo>
                      <a:pt x="65" y="67"/>
                    </a:lnTo>
                    <a:lnTo>
                      <a:pt x="65" y="65"/>
                    </a:lnTo>
                    <a:lnTo>
                      <a:pt x="66" y="65"/>
                    </a:lnTo>
                    <a:lnTo>
                      <a:pt x="65" y="67"/>
                    </a:lnTo>
                    <a:lnTo>
                      <a:pt x="66" y="65"/>
                    </a:lnTo>
                    <a:lnTo>
                      <a:pt x="68" y="65"/>
                    </a:lnTo>
                    <a:lnTo>
                      <a:pt x="68" y="67"/>
                    </a:lnTo>
                    <a:lnTo>
                      <a:pt x="66" y="67"/>
                    </a:lnTo>
                    <a:lnTo>
                      <a:pt x="68" y="67"/>
                    </a:lnTo>
                    <a:lnTo>
                      <a:pt x="68" y="68"/>
                    </a:lnTo>
                    <a:lnTo>
                      <a:pt x="66" y="68"/>
                    </a:lnTo>
                    <a:lnTo>
                      <a:pt x="65" y="70"/>
                    </a:lnTo>
                    <a:lnTo>
                      <a:pt x="66" y="70"/>
                    </a:lnTo>
                    <a:lnTo>
                      <a:pt x="66" y="68"/>
                    </a:lnTo>
                    <a:lnTo>
                      <a:pt x="68" y="68"/>
                    </a:lnTo>
                    <a:lnTo>
                      <a:pt x="68" y="70"/>
                    </a:lnTo>
                    <a:lnTo>
                      <a:pt x="66" y="70"/>
                    </a:lnTo>
                    <a:lnTo>
                      <a:pt x="66" y="72"/>
                    </a:lnTo>
                    <a:lnTo>
                      <a:pt x="68" y="72"/>
                    </a:lnTo>
                    <a:lnTo>
                      <a:pt x="68" y="73"/>
                    </a:lnTo>
                    <a:lnTo>
                      <a:pt x="70" y="72"/>
                    </a:lnTo>
                    <a:lnTo>
                      <a:pt x="70" y="73"/>
                    </a:lnTo>
                    <a:lnTo>
                      <a:pt x="68" y="73"/>
                    </a:lnTo>
                    <a:lnTo>
                      <a:pt x="66" y="73"/>
                    </a:lnTo>
                    <a:lnTo>
                      <a:pt x="66" y="72"/>
                    </a:lnTo>
                    <a:lnTo>
                      <a:pt x="65" y="72"/>
                    </a:lnTo>
                    <a:lnTo>
                      <a:pt x="65" y="70"/>
                    </a:lnTo>
                    <a:lnTo>
                      <a:pt x="63" y="70"/>
                    </a:lnTo>
                    <a:lnTo>
                      <a:pt x="63" y="72"/>
                    </a:lnTo>
                    <a:lnTo>
                      <a:pt x="63" y="70"/>
                    </a:lnTo>
                    <a:lnTo>
                      <a:pt x="63" y="68"/>
                    </a:lnTo>
                    <a:lnTo>
                      <a:pt x="63" y="67"/>
                    </a:lnTo>
                    <a:lnTo>
                      <a:pt x="61" y="68"/>
                    </a:lnTo>
                    <a:lnTo>
                      <a:pt x="60" y="68"/>
                    </a:lnTo>
                    <a:lnTo>
                      <a:pt x="60" y="67"/>
                    </a:lnTo>
                    <a:lnTo>
                      <a:pt x="61" y="65"/>
                    </a:lnTo>
                    <a:lnTo>
                      <a:pt x="60" y="65"/>
                    </a:lnTo>
                    <a:lnTo>
                      <a:pt x="58" y="65"/>
                    </a:lnTo>
                    <a:lnTo>
                      <a:pt x="58" y="63"/>
                    </a:lnTo>
                    <a:lnTo>
                      <a:pt x="56" y="62"/>
                    </a:lnTo>
                    <a:lnTo>
                      <a:pt x="55" y="62"/>
                    </a:lnTo>
                    <a:lnTo>
                      <a:pt x="56" y="60"/>
                    </a:lnTo>
                    <a:lnTo>
                      <a:pt x="55" y="60"/>
                    </a:lnTo>
                    <a:lnTo>
                      <a:pt x="56" y="60"/>
                    </a:lnTo>
                    <a:lnTo>
                      <a:pt x="58" y="60"/>
                    </a:lnTo>
                    <a:lnTo>
                      <a:pt x="58" y="62"/>
                    </a:lnTo>
                    <a:lnTo>
                      <a:pt x="60" y="60"/>
                    </a:lnTo>
                    <a:lnTo>
                      <a:pt x="58" y="60"/>
                    </a:lnTo>
                    <a:lnTo>
                      <a:pt x="58" y="58"/>
                    </a:lnTo>
                    <a:lnTo>
                      <a:pt x="60" y="60"/>
                    </a:lnTo>
                    <a:lnTo>
                      <a:pt x="60" y="58"/>
                    </a:lnTo>
                    <a:lnTo>
                      <a:pt x="61" y="58"/>
                    </a:lnTo>
                    <a:lnTo>
                      <a:pt x="60" y="56"/>
                    </a:lnTo>
                    <a:lnTo>
                      <a:pt x="58" y="56"/>
                    </a:lnTo>
                    <a:lnTo>
                      <a:pt x="60" y="55"/>
                    </a:lnTo>
                    <a:lnTo>
                      <a:pt x="58" y="55"/>
                    </a:lnTo>
                    <a:lnTo>
                      <a:pt x="60" y="53"/>
                    </a:lnTo>
                    <a:lnTo>
                      <a:pt x="60" y="55"/>
                    </a:lnTo>
                    <a:lnTo>
                      <a:pt x="61" y="55"/>
                    </a:lnTo>
                    <a:lnTo>
                      <a:pt x="60" y="53"/>
                    </a:lnTo>
                    <a:lnTo>
                      <a:pt x="58" y="53"/>
                    </a:lnTo>
                    <a:lnTo>
                      <a:pt x="60" y="53"/>
                    </a:lnTo>
                    <a:lnTo>
                      <a:pt x="61" y="53"/>
                    </a:lnTo>
                    <a:lnTo>
                      <a:pt x="61" y="51"/>
                    </a:lnTo>
                    <a:lnTo>
                      <a:pt x="61" y="53"/>
                    </a:lnTo>
                    <a:lnTo>
                      <a:pt x="61" y="51"/>
                    </a:lnTo>
                    <a:lnTo>
                      <a:pt x="60" y="51"/>
                    </a:lnTo>
                    <a:lnTo>
                      <a:pt x="58" y="51"/>
                    </a:lnTo>
                    <a:lnTo>
                      <a:pt x="60" y="51"/>
                    </a:lnTo>
                    <a:lnTo>
                      <a:pt x="60" y="50"/>
                    </a:lnTo>
                    <a:lnTo>
                      <a:pt x="60" y="48"/>
                    </a:lnTo>
                    <a:lnTo>
                      <a:pt x="60" y="50"/>
                    </a:lnTo>
                    <a:lnTo>
                      <a:pt x="61" y="50"/>
                    </a:lnTo>
                    <a:lnTo>
                      <a:pt x="61" y="51"/>
                    </a:lnTo>
                    <a:lnTo>
                      <a:pt x="63" y="50"/>
                    </a:lnTo>
                    <a:lnTo>
                      <a:pt x="61" y="50"/>
                    </a:lnTo>
                    <a:lnTo>
                      <a:pt x="61" y="48"/>
                    </a:lnTo>
                    <a:lnTo>
                      <a:pt x="61" y="46"/>
                    </a:lnTo>
                    <a:lnTo>
                      <a:pt x="61" y="48"/>
                    </a:lnTo>
                    <a:lnTo>
                      <a:pt x="63" y="48"/>
                    </a:lnTo>
                    <a:lnTo>
                      <a:pt x="65" y="48"/>
                    </a:lnTo>
                    <a:lnTo>
                      <a:pt x="63" y="48"/>
                    </a:lnTo>
                    <a:lnTo>
                      <a:pt x="65" y="46"/>
                    </a:lnTo>
                    <a:lnTo>
                      <a:pt x="63" y="46"/>
                    </a:lnTo>
                    <a:lnTo>
                      <a:pt x="61" y="46"/>
                    </a:lnTo>
                    <a:lnTo>
                      <a:pt x="63" y="45"/>
                    </a:lnTo>
                    <a:lnTo>
                      <a:pt x="65" y="45"/>
                    </a:lnTo>
                    <a:lnTo>
                      <a:pt x="65" y="46"/>
                    </a:lnTo>
                    <a:lnTo>
                      <a:pt x="65" y="45"/>
                    </a:lnTo>
                    <a:lnTo>
                      <a:pt x="66" y="43"/>
                    </a:lnTo>
                    <a:lnTo>
                      <a:pt x="65" y="45"/>
                    </a:lnTo>
                    <a:lnTo>
                      <a:pt x="66" y="45"/>
                    </a:lnTo>
                    <a:lnTo>
                      <a:pt x="66" y="46"/>
                    </a:lnTo>
                    <a:lnTo>
                      <a:pt x="66" y="45"/>
                    </a:lnTo>
                    <a:lnTo>
                      <a:pt x="68" y="45"/>
                    </a:lnTo>
                    <a:lnTo>
                      <a:pt x="68" y="43"/>
                    </a:lnTo>
                    <a:lnTo>
                      <a:pt x="70" y="43"/>
                    </a:lnTo>
                    <a:lnTo>
                      <a:pt x="70" y="41"/>
                    </a:lnTo>
                    <a:lnTo>
                      <a:pt x="70" y="39"/>
                    </a:lnTo>
                    <a:lnTo>
                      <a:pt x="72" y="41"/>
                    </a:lnTo>
                    <a:lnTo>
                      <a:pt x="72" y="39"/>
                    </a:lnTo>
                    <a:lnTo>
                      <a:pt x="72" y="38"/>
                    </a:lnTo>
                    <a:lnTo>
                      <a:pt x="72" y="39"/>
                    </a:lnTo>
                    <a:lnTo>
                      <a:pt x="72" y="41"/>
                    </a:lnTo>
                    <a:lnTo>
                      <a:pt x="72" y="39"/>
                    </a:lnTo>
                    <a:lnTo>
                      <a:pt x="73" y="39"/>
                    </a:lnTo>
                    <a:lnTo>
                      <a:pt x="75" y="38"/>
                    </a:lnTo>
                    <a:lnTo>
                      <a:pt x="77" y="38"/>
                    </a:lnTo>
                    <a:lnTo>
                      <a:pt x="78" y="38"/>
                    </a:lnTo>
                    <a:lnTo>
                      <a:pt x="78" y="39"/>
                    </a:lnTo>
                    <a:lnTo>
                      <a:pt x="78" y="41"/>
                    </a:lnTo>
                    <a:lnTo>
                      <a:pt x="77" y="43"/>
                    </a:lnTo>
                    <a:lnTo>
                      <a:pt x="78" y="43"/>
                    </a:lnTo>
                    <a:lnTo>
                      <a:pt x="78" y="45"/>
                    </a:lnTo>
                    <a:lnTo>
                      <a:pt x="80" y="43"/>
                    </a:lnTo>
                    <a:lnTo>
                      <a:pt x="82" y="41"/>
                    </a:lnTo>
                    <a:lnTo>
                      <a:pt x="80" y="41"/>
                    </a:lnTo>
                    <a:lnTo>
                      <a:pt x="80" y="43"/>
                    </a:lnTo>
                    <a:lnTo>
                      <a:pt x="80" y="41"/>
                    </a:lnTo>
                    <a:lnTo>
                      <a:pt x="80" y="39"/>
                    </a:lnTo>
                    <a:lnTo>
                      <a:pt x="80" y="38"/>
                    </a:lnTo>
                    <a:lnTo>
                      <a:pt x="78" y="38"/>
                    </a:lnTo>
                    <a:lnTo>
                      <a:pt x="78" y="36"/>
                    </a:lnTo>
                    <a:lnTo>
                      <a:pt x="80" y="36"/>
                    </a:lnTo>
                    <a:lnTo>
                      <a:pt x="78" y="36"/>
                    </a:lnTo>
                    <a:lnTo>
                      <a:pt x="78" y="34"/>
                    </a:lnTo>
                    <a:lnTo>
                      <a:pt x="80" y="36"/>
                    </a:lnTo>
                    <a:lnTo>
                      <a:pt x="78" y="34"/>
                    </a:lnTo>
                    <a:lnTo>
                      <a:pt x="77" y="34"/>
                    </a:lnTo>
                    <a:lnTo>
                      <a:pt x="77" y="33"/>
                    </a:lnTo>
                    <a:lnTo>
                      <a:pt x="75" y="33"/>
                    </a:lnTo>
                    <a:lnTo>
                      <a:pt x="73" y="33"/>
                    </a:lnTo>
                    <a:lnTo>
                      <a:pt x="73" y="31"/>
                    </a:lnTo>
                    <a:lnTo>
                      <a:pt x="75" y="31"/>
                    </a:lnTo>
                    <a:lnTo>
                      <a:pt x="75" y="29"/>
                    </a:lnTo>
                    <a:lnTo>
                      <a:pt x="75" y="27"/>
                    </a:lnTo>
                    <a:lnTo>
                      <a:pt x="75" y="26"/>
                    </a:lnTo>
                    <a:lnTo>
                      <a:pt x="75" y="27"/>
                    </a:lnTo>
                    <a:lnTo>
                      <a:pt x="77" y="27"/>
                    </a:lnTo>
                    <a:lnTo>
                      <a:pt x="77" y="29"/>
                    </a:lnTo>
                    <a:lnTo>
                      <a:pt x="77" y="31"/>
                    </a:lnTo>
                    <a:lnTo>
                      <a:pt x="78" y="31"/>
                    </a:lnTo>
                    <a:lnTo>
                      <a:pt x="78" y="33"/>
                    </a:lnTo>
                    <a:lnTo>
                      <a:pt x="78" y="31"/>
                    </a:lnTo>
                    <a:lnTo>
                      <a:pt x="78" y="29"/>
                    </a:lnTo>
                    <a:lnTo>
                      <a:pt x="77" y="27"/>
                    </a:lnTo>
                    <a:lnTo>
                      <a:pt x="78" y="27"/>
                    </a:lnTo>
                    <a:lnTo>
                      <a:pt x="80" y="27"/>
                    </a:lnTo>
                    <a:lnTo>
                      <a:pt x="82" y="27"/>
                    </a:lnTo>
                    <a:lnTo>
                      <a:pt x="82" y="29"/>
                    </a:lnTo>
                    <a:lnTo>
                      <a:pt x="82" y="27"/>
                    </a:lnTo>
                    <a:lnTo>
                      <a:pt x="83" y="27"/>
                    </a:lnTo>
                    <a:lnTo>
                      <a:pt x="85" y="27"/>
                    </a:lnTo>
                    <a:lnTo>
                      <a:pt x="83" y="27"/>
                    </a:lnTo>
                    <a:lnTo>
                      <a:pt x="82" y="27"/>
                    </a:lnTo>
                    <a:lnTo>
                      <a:pt x="80" y="27"/>
                    </a:lnTo>
                    <a:lnTo>
                      <a:pt x="78" y="26"/>
                    </a:lnTo>
                    <a:lnTo>
                      <a:pt x="77" y="26"/>
                    </a:lnTo>
                    <a:lnTo>
                      <a:pt x="77" y="24"/>
                    </a:lnTo>
                    <a:lnTo>
                      <a:pt x="75" y="26"/>
                    </a:lnTo>
                    <a:lnTo>
                      <a:pt x="75" y="24"/>
                    </a:lnTo>
                    <a:lnTo>
                      <a:pt x="75" y="22"/>
                    </a:lnTo>
                    <a:lnTo>
                      <a:pt x="77" y="22"/>
                    </a:lnTo>
                    <a:lnTo>
                      <a:pt x="78" y="22"/>
                    </a:lnTo>
                    <a:lnTo>
                      <a:pt x="80" y="22"/>
                    </a:lnTo>
                    <a:lnTo>
                      <a:pt x="80" y="24"/>
                    </a:lnTo>
                    <a:lnTo>
                      <a:pt x="80" y="22"/>
                    </a:lnTo>
                    <a:lnTo>
                      <a:pt x="78" y="22"/>
                    </a:lnTo>
                    <a:lnTo>
                      <a:pt x="80" y="22"/>
                    </a:lnTo>
                    <a:lnTo>
                      <a:pt x="80" y="21"/>
                    </a:lnTo>
                    <a:lnTo>
                      <a:pt x="82" y="21"/>
                    </a:lnTo>
                    <a:lnTo>
                      <a:pt x="83" y="21"/>
                    </a:lnTo>
                    <a:lnTo>
                      <a:pt x="83" y="19"/>
                    </a:lnTo>
                    <a:lnTo>
                      <a:pt x="83" y="17"/>
                    </a:lnTo>
                    <a:lnTo>
                      <a:pt x="82" y="17"/>
                    </a:lnTo>
                    <a:lnTo>
                      <a:pt x="82" y="16"/>
                    </a:lnTo>
                    <a:lnTo>
                      <a:pt x="82" y="14"/>
                    </a:lnTo>
                    <a:lnTo>
                      <a:pt x="80" y="14"/>
                    </a:lnTo>
                    <a:lnTo>
                      <a:pt x="82" y="14"/>
                    </a:lnTo>
                    <a:lnTo>
                      <a:pt x="80" y="12"/>
                    </a:lnTo>
                    <a:close/>
                    <a:moveTo>
                      <a:pt x="66" y="19"/>
                    </a:moveTo>
                    <a:lnTo>
                      <a:pt x="68" y="19"/>
                    </a:lnTo>
                    <a:lnTo>
                      <a:pt x="70" y="21"/>
                    </a:lnTo>
                    <a:lnTo>
                      <a:pt x="72" y="21"/>
                    </a:lnTo>
                    <a:lnTo>
                      <a:pt x="73" y="21"/>
                    </a:lnTo>
                    <a:lnTo>
                      <a:pt x="72" y="22"/>
                    </a:lnTo>
                    <a:lnTo>
                      <a:pt x="70" y="22"/>
                    </a:lnTo>
                    <a:lnTo>
                      <a:pt x="70" y="24"/>
                    </a:lnTo>
                    <a:lnTo>
                      <a:pt x="72" y="24"/>
                    </a:lnTo>
                    <a:lnTo>
                      <a:pt x="73" y="22"/>
                    </a:lnTo>
                    <a:lnTo>
                      <a:pt x="72" y="24"/>
                    </a:lnTo>
                    <a:lnTo>
                      <a:pt x="70" y="26"/>
                    </a:lnTo>
                    <a:lnTo>
                      <a:pt x="70" y="27"/>
                    </a:lnTo>
                    <a:lnTo>
                      <a:pt x="68" y="27"/>
                    </a:lnTo>
                    <a:lnTo>
                      <a:pt x="68" y="26"/>
                    </a:lnTo>
                    <a:lnTo>
                      <a:pt x="66" y="26"/>
                    </a:lnTo>
                    <a:lnTo>
                      <a:pt x="68" y="27"/>
                    </a:lnTo>
                    <a:lnTo>
                      <a:pt x="66" y="26"/>
                    </a:lnTo>
                    <a:lnTo>
                      <a:pt x="66" y="27"/>
                    </a:lnTo>
                    <a:lnTo>
                      <a:pt x="65" y="27"/>
                    </a:lnTo>
                    <a:lnTo>
                      <a:pt x="63" y="27"/>
                    </a:lnTo>
                    <a:lnTo>
                      <a:pt x="65" y="27"/>
                    </a:lnTo>
                    <a:lnTo>
                      <a:pt x="66" y="27"/>
                    </a:lnTo>
                    <a:lnTo>
                      <a:pt x="68" y="27"/>
                    </a:lnTo>
                    <a:lnTo>
                      <a:pt x="66" y="27"/>
                    </a:lnTo>
                    <a:lnTo>
                      <a:pt x="66" y="29"/>
                    </a:lnTo>
                    <a:lnTo>
                      <a:pt x="66" y="27"/>
                    </a:lnTo>
                    <a:lnTo>
                      <a:pt x="66" y="29"/>
                    </a:lnTo>
                    <a:lnTo>
                      <a:pt x="68" y="27"/>
                    </a:lnTo>
                    <a:lnTo>
                      <a:pt x="68" y="29"/>
                    </a:lnTo>
                    <a:lnTo>
                      <a:pt x="66" y="29"/>
                    </a:lnTo>
                    <a:lnTo>
                      <a:pt x="66" y="31"/>
                    </a:lnTo>
                    <a:lnTo>
                      <a:pt x="66" y="33"/>
                    </a:lnTo>
                    <a:lnTo>
                      <a:pt x="65" y="33"/>
                    </a:lnTo>
                    <a:lnTo>
                      <a:pt x="65" y="34"/>
                    </a:lnTo>
                    <a:lnTo>
                      <a:pt x="63" y="34"/>
                    </a:lnTo>
                    <a:lnTo>
                      <a:pt x="63" y="33"/>
                    </a:lnTo>
                    <a:lnTo>
                      <a:pt x="65" y="31"/>
                    </a:lnTo>
                    <a:lnTo>
                      <a:pt x="63" y="33"/>
                    </a:lnTo>
                    <a:lnTo>
                      <a:pt x="63" y="34"/>
                    </a:lnTo>
                    <a:lnTo>
                      <a:pt x="61" y="34"/>
                    </a:lnTo>
                    <a:lnTo>
                      <a:pt x="63" y="33"/>
                    </a:lnTo>
                    <a:lnTo>
                      <a:pt x="61" y="33"/>
                    </a:lnTo>
                    <a:lnTo>
                      <a:pt x="61" y="34"/>
                    </a:lnTo>
                    <a:lnTo>
                      <a:pt x="60" y="34"/>
                    </a:lnTo>
                    <a:lnTo>
                      <a:pt x="60" y="36"/>
                    </a:lnTo>
                    <a:lnTo>
                      <a:pt x="61" y="34"/>
                    </a:lnTo>
                    <a:lnTo>
                      <a:pt x="61" y="36"/>
                    </a:lnTo>
                    <a:lnTo>
                      <a:pt x="60" y="36"/>
                    </a:lnTo>
                    <a:lnTo>
                      <a:pt x="60" y="38"/>
                    </a:lnTo>
                    <a:lnTo>
                      <a:pt x="60" y="39"/>
                    </a:lnTo>
                    <a:lnTo>
                      <a:pt x="58" y="39"/>
                    </a:lnTo>
                    <a:lnTo>
                      <a:pt x="56" y="39"/>
                    </a:lnTo>
                    <a:lnTo>
                      <a:pt x="58" y="39"/>
                    </a:lnTo>
                    <a:lnTo>
                      <a:pt x="58" y="41"/>
                    </a:lnTo>
                    <a:lnTo>
                      <a:pt x="56" y="41"/>
                    </a:lnTo>
                    <a:lnTo>
                      <a:pt x="56" y="43"/>
                    </a:lnTo>
                    <a:lnTo>
                      <a:pt x="55" y="43"/>
                    </a:lnTo>
                    <a:lnTo>
                      <a:pt x="53" y="45"/>
                    </a:lnTo>
                    <a:lnTo>
                      <a:pt x="55" y="45"/>
                    </a:lnTo>
                    <a:lnTo>
                      <a:pt x="53" y="45"/>
                    </a:lnTo>
                    <a:lnTo>
                      <a:pt x="53" y="46"/>
                    </a:lnTo>
                    <a:lnTo>
                      <a:pt x="51" y="48"/>
                    </a:lnTo>
                    <a:lnTo>
                      <a:pt x="51" y="50"/>
                    </a:lnTo>
                    <a:lnTo>
                      <a:pt x="51" y="51"/>
                    </a:lnTo>
                    <a:lnTo>
                      <a:pt x="49" y="51"/>
                    </a:lnTo>
                    <a:lnTo>
                      <a:pt x="49" y="53"/>
                    </a:lnTo>
                    <a:lnTo>
                      <a:pt x="48" y="51"/>
                    </a:lnTo>
                    <a:lnTo>
                      <a:pt x="48" y="53"/>
                    </a:lnTo>
                    <a:lnTo>
                      <a:pt x="46" y="53"/>
                    </a:lnTo>
                    <a:lnTo>
                      <a:pt x="46" y="55"/>
                    </a:lnTo>
                    <a:lnTo>
                      <a:pt x="44" y="53"/>
                    </a:lnTo>
                    <a:lnTo>
                      <a:pt x="46" y="53"/>
                    </a:lnTo>
                    <a:lnTo>
                      <a:pt x="44" y="51"/>
                    </a:lnTo>
                    <a:lnTo>
                      <a:pt x="46" y="51"/>
                    </a:lnTo>
                    <a:lnTo>
                      <a:pt x="44" y="53"/>
                    </a:lnTo>
                    <a:lnTo>
                      <a:pt x="43" y="51"/>
                    </a:lnTo>
                    <a:lnTo>
                      <a:pt x="44" y="51"/>
                    </a:lnTo>
                    <a:lnTo>
                      <a:pt x="43" y="50"/>
                    </a:lnTo>
                    <a:lnTo>
                      <a:pt x="43" y="51"/>
                    </a:lnTo>
                    <a:lnTo>
                      <a:pt x="43" y="53"/>
                    </a:lnTo>
                    <a:lnTo>
                      <a:pt x="43" y="55"/>
                    </a:lnTo>
                    <a:lnTo>
                      <a:pt x="41" y="55"/>
                    </a:lnTo>
                    <a:lnTo>
                      <a:pt x="39" y="55"/>
                    </a:lnTo>
                    <a:lnTo>
                      <a:pt x="38" y="55"/>
                    </a:lnTo>
                    <a:lnTo>
                      <a:pt x="39" y="53"/>
                    </a:lnTo>
                    <a:lnTo>
                      <a:pt x="38" y="53"/>
                    </a:lnTo>
                    <a:lnTo>
                      <a:pt x="39" y="53"/>
                    </a:lnTo>
                    <a:lnTo>
                      <a:pt x="38" y="53"/>
                    </a:lnTo>
                    <a:lnTo>
                      <a:pt x="39" y="51"/>
                    </a:lnTo>
                    <a:lnTo>
                      <a:pt x="38" y="53"/>
                    </a:lnTo>
                    <a:lnTo>
                      <a:pt x="36" y="53"/>
                    </a:lnTo>
                    <a:lnTo>
                      <a:pt x="36" y="55"/>
                    </a:lnTo>
                    <a:lnTo>
                      <a:pt x="34" y="53"/>
                    </a:lnTo>
                    <a:lnTo>
                      <a:pt x="34" y="51"/>
                    </a:lnTo>
                    <a:lnTo>
                      <a:pt x="36" y="51"/>
                    </a:lnTo>
                    <a:lnTo>
                      <a:pt x="36" y="50"/>
                    </a:lnTo>
                    <a:lnTo>
                      <a:pt x="34" y="50"/>
                    </a:lnTo>
                    <a:lnTo>
                      <a:pt x="34" y="51"/>
                    </a:lnTo>
                    <a:lnTo>
                      <a:pt x="32" y="50"/>
                    </a:lnTo>
                    <a:lnTo>
                      <a:pt x="34" y="51"/>
                    </a:lnTo>
                    <a:lnTo>
                      <a:pt x="34" y="53"/>
                    </a:lnTo>
                    <a:lnTo>
                      <a:pt x="34" y="55"/>
                    </a:lnTo>
                    <a:lnTo>
                      <a:pt x="34" y="53"/>
                    </a:lnTo>
                    <a:lnTo>
                      <a:pt x="36" y="55"/>
                    </a:lnTo>
                    <a:lnTo>
                      <a:pt x="36" y="56"/>
                    </a:lnTo>
                    <a:lnTo>
                      <a:pt x="36" y="58"/>
                    </a:lnTo>
                    <a:lnTo>
                      <a:pt x="38" y="58"/>
                    </a:lnTo>
                    <a:lnTo>
                      <a:pt x="38" y="56"/>
                    </a:lnTo>
                    <a:lnTo>
                      <a:pt x="38" y="55"/>
                    </a:lnTo>
                    <a:lnTo>
                      <a:pt x="38" y="56"/>
                    </a:lnTo>
                    <a:lnTo>
                      <a:pt x="38" y="58"/>
                    </a:lnTo>
                    <a:lnTo>
                      <a:pt x="36" y="60"/>
                    </a:lnTo>
                    <a:lnTo>
                      <a:pt x="36" y="62"/>
                    </a:lnTo>
                    <a:lnTo>
                      <a:pt x="34" y="62"/>
                    </a:lnTo>
                    <a:lnTo>
                      <a:pt x="34" y="63"/>
                    </a:lnTo>
                    <a:lnTo>
                      <a:pt x="32" y="62"/>
                    </a:lnTo>
                    <a:lnTo>
                      <a:pt x="32" y="60"/>
                    </a:lnTo>
                    <a:lnTo>
                      <a:pt x="34" y="60"/>
                    </a:lnTo>
                    <a:lnTo>
                      <a:pt x="32" y="60"/>
                    </a:lnTo>
                    <a:lnTo>
                      <a:pt x="32" y="58"/>
                    </a:lnTo>
                    <a:lnTo>
                      <a:pt x="32" y="60"/>
                    </a:lnTo>
                    <a:lnTo>
                      <a:pt x="32" y="62"/>
                    </a:lnTo>
                    <a:lnTo>
                      <a:pt x="32" y="60"/>
                    </a:lnTo>
                    <a:lnTo>
                      <a:pt x="31" y="60"/>
                    </a:lnTo>
                    <a:lnTo>
                      <a:pt x="29" y="60"/>
                    </a:lnTo>
                    <a:lnTo>
                      <a:pt x="31" y="60"/>
                    </a:lnTo>
                    <a:lnTo>
                      <a:pt x="32" y="62"/>
                    </a:lnTo>
                    <a:lnTo>
                      <a:pt x="32" y="63"/>
                    </a:lnTo>
                    <a:lnTo>
                      <a:pt x="34" y="63"/>
                    </a:lnTo>
                    <a:lnTo>
                      <a:pt x="32" y="63"/>
                    </a:lnTo>
                    <a:lnTo>
                      <a:pt x="32" y="62"/>
                    </a:lnTo>
                    <a:lnTo>
                      <a:pt x="31" y="62"/>
                    </a:lnTo>
                    <a:lnTo>
                      <a:pt x="31" y="63"/>
                    </a:lnTo>
                    <a:lnTo>
                      <a:pt x="29" y="63"/>
                    </a:lnTo>
                    <a:lnTo>
                      <a:pt x="29" y="62"/>
                    </a:lnTo>
                    <a:lnTo>
                      <a:pt x="29" y="63"/>
                    </a:lnTo>
                    <a:lnTo>
                      <a:pt x="27" y="62"/>
                    </a:lnTo>
                    <a:lnTo>
                      <a:pt x="27" y="60"/>
                    </a:lnTo>
                    <a:lnTo>
                      <a:pt x="26" y="62"/>
                    </a:lnTo>
                    <a:lnTo>
                      <a:pt x="27" y="62"/>
                    </a:lnTo>
                    <a:lnTo>
                      <a:pt x="26" y="62"/>
                    </a:lnTo>
                    <a:lnTo>
                      <a:pt x="26" y="63"/>
                    </a:lnTo>
                    <a:lnTo>
                      <a:pt x="27" y="62"/>
                    </a:lnTo>
                    <a:lnTo>
                      <a:pt x="27" y="63"/>
                    </a:lnTo>
                    <a:lnTo>
                      <a:pt x="29" y="63"/>
                    </a:lnTo>
                    <a:lnTo>
                      <a:pt x="29" y="65"/>
                    </a:lnTo>
                    <a:lnTo>
                      <a:pt x="27" y="65"/>
                    </a:lnTo>
                    <a:lnTo>
                      <a:pt x="29" y="65"/>
                    </a:lnTo>
                    <a:lnTo>
                      <a:pt x="27" y="67"/>
                    </a:lnTo>
                    <a:lnTo>
                      <a:pt x="26" y="67"/>
                    </a:lnTo>
                    <a:lnTo>
                      <a:pt x="26" y="68"/>
                    </a:lnTo>
                    <a:lnTo>
                      <a:pt x="24" y="67"/>
                    </a:lnTo>
                    <a:lnTo>
                      <a:pt x="26" y="68"/>
                    </a:lnTo>
                    <a:lnTo>
                      <a:pt x="24" y="68"/>
                    </a:lnTo>
                    <a:lnTo>
                      <a:pt x="22" y="67"/>
                    </a:lnTo>
                    <a:lnTo>
                      <a:pt x="24" y="67"/>
                    </a:lnTo>
                    <a:lnTo>
                      <a:pt x="22" y="65"/>
                    </a:lnTo>
                    <a:lnTo>
                      <a:pt x="24" y="65"/>
                    </a:lnTo>
                    <a:lnTo>
                      <a:pt x="24" y="63"/>
                    </a:lnTo>
                    <a:lnTo>
                      <a:pt x="22" y="65"/>
                    </a:lnTo>
                    <a:lnTo>
                      <a:pt x="22" y="63"/>
                    </a:lnTo>
                    <a:lnTo>
                      <a:pt x="24" y="63"/>
                    </a:lnTo>
                    <a:lnTo>
                      <a:pt x="22" y="63"/>
                    </a:lnTo>
                    <a:lnTo>
                      <a:pt x="22" y="62"/>
                    </a:lnTo>
                    <a:lnTo>
                      <a:pt x="21" y="63"/>
                    </a:lnTo>
                    <a:lnTo>
                      <a:pt x="21" y="62"/>
                    </a:lnTo>
                    <a:lnTo>
                      <a:pt x="22" y="62"/>
                    </a:lnTo>
                    <a:lnTo>
                      <a:pt x="24" y="62"/>
                    </a:lnTo>
                    <a:lnTo>
                      <a:pt x="22" y="62"/>
                    </a:lnTo>
                    <a:lnTo>
                      <a:pt x="22" y="60"/>
                    </a:lnTo>
                    <a:lnTo>
                      <a:pt x="21" y="60"/>
                    </a:lnTo>
                    <a:lnTo>
                      <a:pt x="21" y="62"/>
                    </a:lnTo>
                    <a:lnTo>
                      <a:pt x="21" y="60"/>
                    </a:lnTo>
                    <a:lnTo>
                      <a:pt x="19" y="60"/>
                    </a:lnTo>
                    <a:lnTo>
                      <a:pt x="17" y="60"/>
                    </a:lnTo>
                    <a:lnTo>
                      <a:pt x="17" y="62"/>
                    </a:lnTo>
                    <a:lnTo>
                      <a:pt x="19" y="62"/>
                    </a:lnTo>
                    <a:lnTo>
                      <a:pt x="19" y="63"/>
                    </a:lnTo>
                    <a:lnTo>
                      <a:pt x="21" y="63"/>
                    </a:lnTo>
                    <a:lnTo>
                      <a:pt x="22" y="63"/>
                    </a:lnTo>
                    <a:lnTo>
                      <a:pt x="22" y="65"/>
                    </a:lnTo>
                    <a:lnTo>
                      <a:pt x="21" y="63"/>
                    </a:lnTo>
                    <a:lnTo>
                      <a:pt x="21" y="65"/>
                    </a:lnTo>
                    <a:lnTo>
                      <a:pt x="21" y="63"/>
                    </a:lnTo>
                    <a:lnTo>
                      <a:pt x="19" y="65"/>
                    </a:lnTo>
                    <a:lnTo>
                      <a:pt x="17" y="63"/>
                    </a:lnTo>
                    <a:lnTo>
                      <a:pt x="19" y="62"/>
                    </a:lnTo>
                    <a:lnTo>
                      <a:pt x="17" y="62"/>
                    </a:lnTo>
                    <a:lnTo>
                      <a:pt x="15" y="60"/>
                    </a:lnTo>
                    <a:lnTo>
                      <a:pt x="14" y="60"/>
                    </a:lnTo>
                    <a:lnTo>
                      <a:pt x="14" y="58"/>
                    </a:lnTo>
                    <a:lnTo>
                      <a:pt x="12" y="58"/>
                    </a:lnTo>
                    <a:lnTo>
                      <a:pt x="12" y="56"/>
                    </a:lnTo>
                    <a:lnTo>
                      <a:pt x="10" y="56"/>
                    </a:lnTo>
                    <a:lnTo>
                      <a:pt x="12" y="58"/>
                    </a:lnTo>
                    <a:lnTo>
                      <a:pt x="10" y="58"/>
                    </a:lnTo>
                    <a:lnTo>
                      <a:pt x="10" y="56"/>
                    </a:lnTo>
                    <a:lnTo>
                      <a:pt x="10" y="55"/>
                    </a:lnTo>
                    <a:lnTo>
                      <a:pt x="9" y="55"/>
                    </a:lnTo>
                    <a:lnTo>
                      <a:pt x="10" y="55"/>
                    </a:lnTo>
                    <a:lnTo>
                      <a:pt x="12" y="55"/>
                    </a:lnTo>
                    <a:lnTo>
                      <a:pt x="12" y="56"/>
                    </a:lnTo>
                    <a:lnTo>
                      <a:pt x="14" y="56"/>
                    </a:lnTo>
                    <a:lnTo>
                      <a:pt x="15" y="56"/>
                    </a:lnTo>
                    <a:lnTo>
                      <a:pt x="15" y="58"/>
                    </a:lnTo>
                    <a:lnTo>
                      <a:pt x="17" y="58"/>
                    </a:lnTo>
                    <a:lnTo>
                      <a:pt x="19" y="56"/>
                    </a:lnTo>
                    <a:lnTo>
                      <a:pt x="17" y="58"/>
                    </a:lnTo>
                    <a:lnTo>
                      <a:pt x="15" y="58"/>
                    </a:lnTo>
                    <a:lnTo>
                      <a:pt x="15" y="56"/>
                    </a:lnTo>
                    <a:lnTo>
                      <a:pt x="15" y="55"/>
                    </a:lnTo>
                    <a:lnTo>
                      <a:pt x="17" y="56"/>
                    </a:lnTo>
                    <a:lnTo>
                      <a:pt x="19" y="56"/>
                    </a:lnTo>
                    <a:lnTo>
                      <a:pt x="19" y="55"/>
                    </a:lnTo>
                    <a:lnTo>
                      <a:pt x="21" y="55"/>
                    </a:lnTo>
                    <a:lnTo>
                      <a:pt x="21" y="53"/>
                    </a:lnTo>
                    <a:lnTo>
                      <a:pt x="19" y="53"/>
                    </a:lnTo>
                    <a:lnTo>
                      <a:pt x="17" y="55"/>
                    </a:lnTo>
                    <a:lnTo>
                      <a:pt x="17" y="53"/>
                    </a:lnTo>
                    <a:lnTo>
                      <a:pt x="17" y="51"/>
                    </a:lnTo>
                    <a:lnTo>
                      <a:pt x="19" y="51"/>
                    </a:lnTo>
                    <a:lnTo>
                      <a:pt x="21" y="51"/>
                    </a:lnTo>
                    <a:lnTo>
                      <a:pt x="21" y="53"/>
                    </a:lnTo>
                    <a:lnTo>
                      <a:pt x="21" y="51"/>
                    </a:lnTo>
                    <a:lnTo>
                      <a:pt x="22" y="51"/>
                    </a:lnTo>
                    <a:lnTo>
                      <a:pt x="21" y="53"/>
                    </a:lnTo>
                    <a:lnTo>
                      <a:pt x="22" y="53"/>
                    </a:lnTo>
                    <a:lnTo>
                      <a:pt x="21" y="55"/>
                    </a:lnTo>
                    <a:lnTo>
                      <a:pt x="22" y="55"/>
                    </a:lnTo>
                    <a:lnTo>
                      <a:pt x="22" y="53"/>
                    </a:lnTo>
                    <a:lnTo>
                      <a:pt x="22" y="55"/>
                    </a:lnTo>
                    <a:lnTo>
                      <a:pt x="22" y="56"/>
                    </a:lnTo>
                    <a:lnTo>
                      <a:pt x="24" y="56"/>
                    </a:lnTo>
                    <a:lnTo>
                      <a:pt x="22" y="56"/>
                    </a:lnTo>
                    <a:lnTo>
                      <a:pt x="24" y="55"/>
                    </a:lnTo>
                    <a:lnTo>
                      <a:pt x="22" y="55"/>
                    </a:lnTo>
                    <a:lnTo>
                      <a:pt x="24" y="55"/>
                    </a:lnTo>
                    <a:lnTo>
                      <a:pt x="24" y="53"/>
                    </a:lnTo>
                    <a:lnTo>
                      <a:pt x="22" y="53"/>
                    </a:lnTo>
                    <a:lnTo>
                      <a:pt x="24" y="53"/>
                    </a:lnTo>
                    <a:lnTo>
                      <a:pt x="26" y="53"/>
                    </a:lnTo>
                    <a:lnTo>
                      <a:pt x="26" y="55"/>
                    </a:lnTo>
                    <a:lnTo>
                      <a:pt x="27" y="55"/>
                    </a:lnTo>
                    <a:lnTo>
                      <a:pt x="26" y="55"/>
                    </a:lnTo>
                    <a:lnTo>
                      <a:pt x="26" y="53"/>
                    </a:lnTo>
                    <a:lnTo>
                      <a:pt x="27" y="55"/>
                    </a:lnTo>
                    <a:lnTo>
                      <a:pt x="29" y="55"/>
                    </a:lnTo>
                    <a:lnTo>
                      <a:pt x="27" y="55"/>
                    </a:lnTo>
                    <a:lnTo>
                      <a:pt x="27" y="53"/>
                    </a:lnTo>
                    <a:lnTo>
                      <a:pt x="29" y="53"/>
                    </a:lnTo>
                    <a:lnTo>
                      <a:pt x="31" y="53"/>
                    </a:lnTo>
                    <a:lnTo>
                      <a:pt x="31" y="51"/>
                    </a:lnTo>
                    <a:lnTo>
                      <a:pt x="32" y="51"/>
                    </a:lnTo>
                    <a:lnTo>
                      <a:pt x="32" y="50"/>
                    </a:lnTo>
                    <a:lnTo>
                      <a:pt x="31" y="50"/>
                    </a:lnTo>
                    <a:lnTo>
                      <a:pt x="31" y="51"/>
                    </a:lnTo>
                    <a:lnTo>
                      <a:pt x="29" y="51"/>
                    </a:lnTo>
                    <a:lnTo>
                      <a:pt x="27" y="51"/>
                    </a:lnTo>
                    <a:lnTo>
                      <a:pt x="27" y="50"/>
                    </a:lnTo>
                    <a:lnTo>
                      <a:pt x="26" y="50"/>
                    </a:lnTo>
                    <a:lnTo>
                      <a:pt x="24" y="50"/>
                    </a:lnTo>
                    <a:lnTo>
                      <a:pt x="26" y="50"/>
                    </a:lnTo>
                    <a:lnTo>
                      <a:pt x="27" y="50"/>
                    </a:lnTo>
                    <a:lnTo>
                      <a:pt x="27" y="51"/>
                    </a:lnTo>
                    <a:lnTo>
                      <a:pt x="27" y="50"/>
                    </a:lnTo>
                    <a:lnTo>
                      <a:pt x="29" y="50"/>
                    </a:lnTo>
                    <a:lnTo>
                      <a:pt x="29" y="48"/>
                    </a:lnTo>
                    <a:lnTo>
                      <a:pt x="31" y="48"/>
                    </a:lnTo>
                    <a:lnTo>
                      <a:pt x="31" y="46"/>
                    </a:lnTo>
                    <a:lnTo>
                      <a:pt x="29" y="46"/>
                    </a:lnTo>
                    <a:lnTo>
                      <a:pt x="31" y="46"/>
                    </a:lnTo>
                    <a:lnTo>
                      <a:pt x="31" y="45"/>
                    </a:lnTo>
                    <a:lnTo>
                      <a:pt x="29" y="45"/>
                    </a:lnTo>
                    <a:lnTo>
                      <a:pt x="31" y="45"/>
                    </a:lnTo>
                    <a:lnTo>
                      <a:pt x="29" y="43"/>
                    </a:lnTo>
                    <a:lnTo>
                      <a:pt x="31" y="43"/>
                    </a:lnTo>
                    <a:lnTo>
                      <a:pt x="31" y="41"/>
                    </a:lnTo>
                    <a:lnTo>
                      <a:pt x="32" y="41"/>
                    </a:lnTo>
                    <a:lnTo>
                      <a:pt x="31" y="43"/>
                    </a:lnTo>
                    <a:lnTo>
                      <a:pt x="32" y="41"/>
                    </a:lnTo>
                    <a:lnTo>
                      <a:pt x="32" y="43"/>
                    </a:lnTo>
                    <a:lnTo>
                      <a:pt x="32" y="45"/>
                    </a:lnTo>
                    <a:lnTo>
                      <a:pt x="32" y="43"/>
                    </a:lnTo>
                    <a:lnTo>
                      <a:pt x="34" y="45"/>
                    </a:lnTo>
                    <a:lnTo>
                      <a:pt x="32" y="45"/>
                    </a:lnTo>
                    <a:lnTo>
                      <a:pt x="32" y="46"/>
                    </a:lnTo>
                    <a:lnTo>
                      <a:pt x="34" y="46"/>
                    </a:lnTo>
                    <a:lnTo>
                      <a:pt x="34" y="48"/>
                    </a:lnTo>
                    <a:lnTo>
                      <a:pt x="34" y="46"/>
                    </a:lnTo>
                    <a:lnTo>
                      <a:pt x="34" y="45"/>
                    </a:lnTo>
                    <a:lnTo>
                      <a:pt x="36" y="45"/>
                    </a:lnTo>
                    <a:lnTo>
                      <a:pt x="34" y="43"/>
                    </a:lnTo>
                    <a:lnTo>
                      <a:pt x="36" y="43"/>
                    </a:lnTo>
                    <a:lnTo>
                      <a:pt x="36" y="41"/>
                    </a:lnTo>
                    <a:lnTo>
                      <a:pt x="34" y="41"/>
                    </a:lnTo>
                    <a:lnTo>
                      <a:pt x="36" y="41"/>
                    </a:lnTo>
                    <a:lnTo>
                      <a:pt x="38" y="39"/>
                    </a:lnTo>
                    <a:lnTo>
                      <a:pt x="36" y="41"/>
                    </a:lnTo>
                    <a:lnTo>
                      <a:pt x="38" y="41"/>
                    </a:lnTo>
                    <a:lnTo>
                      <a:pt x="38" y="43"/>
                    </a:lnTo>
                    <a:lnTo>
                      <a:pt x="38" y="41"/>
                    </a:lnTo>
                    <a:lnTo>
                      <a:pt x="39" y="43"/>
                    </a:lnTo>
                    <a:lnTo>
                      <a:pt x="39" y="41"/>
                    </a:lnTo>
                    <a:lnTo>
                      <a:pt x="39" y="39"/>
                    </a:lnTo>
                    <a:lnTo>
                      <a:pt x="39" y="38"/>
                    </a:lnTo>
                    <a:lnTo>
                      <a:pt x="38" y="38"/>
                    </a:lnTo>
                    <a:lnTo>
                      <a:pt x="36" y="39"/>
                    </a:lnTo>
                    <a:lnTo>
                      <a:pt x="36" y="38"/>
                    </a:lnTo>
                    <a:lnTo>
                      <a:pt x="34" y="38"/>
                    </a:lnTo>
                    <a:lnTo>
                      <a:pt x="32" y="38"/>
                    </a:lnTo>
                    <a:lnTo>
                      <a:pt x="32" y="39"/>
                    </a:lnTo>
                    <a:lnTo>
                      <a:pt x="34" y="41"/>
                    </a:lnTo>
                    <a:lnTo>
                      <a:pt x="32" y="39"/>
                    </a:lnTo>
                    <a:lnTo>
                      <a:pt x="31" y="41"/>
                    </a:lnTo>
                    <a:lnTo>
                      <a:pt x="29" y="41"/>
                    </a:lnTo>
                    <a:lnTo>
                      <a:pt x="27" y="41"/>
                    </a:lnTo>
                    <a:lnTo>
                      <a:pt x="27" y="43"/>
                    </a:lnTo>
                    <a:lnTo>
                      <a:pt x="26" y="41"/>
                    </a:lnTo>
                    <a:lnTo>
                      <a:pt x="27" y="41"/>
                    </a:lnTo>
                    <a:lnTo>
                      <a:pt x="26" y="41"/>
                    </a:lnTo>
                    <a:lnTo>
                      <a:pt x="24" y="39"/>
                    </a:lnTo>
                    <a:lnTo>
                      <a:pt x="24" y="38"/>
                    </a:lnTo>
                    <a:lnTo>
                      <a:pt x="24" y="36"/>
                    </a:lnTo>
                    <a:lnTo>
                      <a:pt x="26" y="36"/>
                    </a:lnTo>
                    <a:lnTo>
                      <a:pt x="26" y="38"/>
                    </a:lnTo>
                    <a:lnTo>
                      <a:pt x="26" y="36"/>
                    </a:lnTo>
                    <a:lnTo>
                      <a:pt x="26" y="38"/>
                    </a:lnTo>
                    <a:lnTo>
                      <a:pt x="27" y="38"/>
                    </a:lnTo>
                    <a:lnTo>
                      <a:pt x="29" y="38"/>
                    </a:lnTo>
                    <a:lnTo>
                      <a:pt x="31" y="38"/>
                    </a:lnTo>
                    <a:lnTo>
                      <a:pt x="32" y="36"/>
                    </a:lnTo>
                    <a:lnTo>
                      <a:pt x="34" y="36"/>
                    </a:lnTo>
                    <a:lnTo>
                      <a:pt x="36" y="36"/>
                    </a:lnTo>
                    <a:lnTo>
                      <a:pt x="38" y="36"/>
                    </a:lnTo>
                    <a:lnTo>
                      <a:pt x="38" y="34"/>
                    </a:lnTo>
                    <a:lnTo>
                      <a:pt x="39" y="36"/>
                    </a:lnTo>
                    <a:lnTo>
                      <a:pt x="39" y="38"/>
                    </a:lnTo>
                    <a:lnTo>
                      <a:pt x="41" y="38"/>
                    </a:lnTo>
                    <a:lnTo>
                      <a:pt x="43" y="38"/>
                    </a:lnTo>
                    <a:lnTo>
                      <a:pt x="43" y="39"/>
                    </a:lnTo>
                    <a:lnTo>
                      <a:pt x="43" y="38"/>
                    </a:lnTo>
                    <a:lnTo>
                      <a:pt x="44" y="39"/>
                    </a:lnTo>
                    <a:lnTo>
                      <a:pt x="46" y="39"/>
                    </a:lnTo>
                    <a:lnTo>
                      <a:pt x="44" y="39"/>
                    </a:lnTo>
                    <a:lnTo>
                      <a:pt x="43" y="38"/>
                    </a:lnTo>
                    <a:lnTo>
                      <a:pt x="43" y="36"/>
                    </a:lnTo>
                    <a:lnTo>
                      <a:pt x="41" y="36"/>
                    </a:lnTo>
                    <a:lnTo>
                      <a:pt x="39" y="36"/>
                    </a:lnTo>
                    <a:lnTo>
                      <a:pt x="39" y="34"/>
                    </a:lnTo>
                    <a:lnTo>
                      <a:pt x="38" y="34"/>
                    </a:lnTo>
                    <a:lnTo>
                      <a:pt x="38" y="33"/>
                    </a:lnTo>
                    <a:lnTo>
                      <a:pt x="36" y="33"/>
                    </a:lnTo>
                    <a:lnTo>
                      <a:pt x="36" y="31"/>
                    </a:lnTo>
                    <a:lnTo>
                      <a:pt x="38" y="31"/>
                    </a:lnTo>
                    <a:lnTo>
                      <a:pt x="36" y="31"/>
                    </a:lnTo>
                    <a:lnTo>
                      <a:pt x="36" y="29"/>
                    </a:lnTo>
                    <a:lnTo>
                      <a:pt x="34" y="29"/>
                    </a:lnTo>
                    <a:lnTo>
                      <a:pt x="36" y="29"/>
                    </a:lnTo>
                    <a:lnTo>
                      <a:pt x="36" y="31"/>
                    </a:lnTo>
                    <a:lnTo>
                      <a:pt x="34" y="31"/>
                    </a:lnTo>
                    <a:lnTo>
                      <a:pt x="32" y="31"/>
                    </a:lnTo>
                    <a:lnTo>
                      <a:pt x="32" y="29"/>
                    </a:lnTo>
                    <a:lnTo>
                      <a:pt x="31" y="29"/>
                    </a:lnTo>
                    <a:lnTo>
                      <a:pt x="29" y="29"/>
                    </a:lnTo>
                    <a:lnTo>
                      <a:pt x="29" y="27"/>
                    </a:lnTo>
                    <a:lnTo>
                      <a:pt x="29" y="29"/>
                    </a:lnTo>
                    <a:lnTo>
                      <a:pt x="29" y="27"/>
                    </a:lnTo>
                    <a:lnTo>
                      <a:pt x="29" y="26"/>
                    </a:lnTo>
                    <a:lnTo>
                      <a:pt x="31" y="26"/>
                    </a:lnTo>
                    <a:lnTo>
                      <a:pt x="32" y="27"/>
                    </a:lnTo>
                    <a:lnTo>
                      <a:pt x="32" y="26"/>
                    </a:lnTo>
                    <a:lnTo>
                      <a:pt x="31" y="24"/>
                    </a:lnTo>
                    <a:lnTo>
                      <a:pt x="31" y="22"/>
                    </a:lnTo>
                    <a:lnTo>
                      <a:pt x="29" y="24"/>
                    </a:lnTo>
                    <a:lnTo>
                      <a:pt x="27" y="24"/>
                    </a:lnTo>
                    <a:lnTo>
                      <a:pt x="26" y="24"/>
                    </a:lnTo>
                    <a:lnTo>
                      <a:pt x="26" y="22"/>
                    </a:lnTo>
                    <a:lnTo>
                      <a:pt x="24" y="22"/>
                    </a:lnTo>
                    <a:lnTo>
                      <a:pt x="24" y="21"/>
                    </a:lnTo>
                    <a:lnTo>
                      <a:pt x="24" y="19"/>
                    </a:lnTo>
                    <a:lnTo>
                      <a:pt x="26" y="19"/>
                    </a:lnTo>
                    <a:lnTo>
                      <a:pt x="24" y="19"/>
                    </a:lnTo>
                    <a:lnTo>
                      <a:pt x="24" y="17"/>
                    </a:lnTo>
                    <a:lnTo>
                      <a:pt x="26" y="19"/>
                    </a:lnTo>
                    <a:lnTo>
                      <a:pt x="27" y="19"/>
                    </a:lnTo>
                    <a:lnTo>
                      <a:pt x="29" y="21"/>
                    </a:lnTo>
                    <a:lnTo>
                      <a:pt x="31" y="21"/>
                    </a:lnTo>
                    <a:lnTo>
                      <a:pt x="31" y="22"/>
                    </a:lnTo>
                    <a:lnTo>
                      <a:pt x="31" y="21"/>
                    </a:lnTo>
                    <a:lnTo>
                      <a:pt x="31" y="22"/>
                    </a:lnTo>
                    <a:lnTo>
                      <a:pt x="32" y="22"/>
                    </a:lnTo>
                    <a:lnTo>
                      <a:pt x="32" y="24"/>
                    </a:lnTo>
                    <a:lnTo>
                      <a:pt x="34" y="24"/>
                    </a:lnTo>
                    <a:lnTo>
                      <a:pt x="36" y="26"/>
                    </a:lnTo>
                    <a:lnTo>
                      <a:pt x="38" y="26"/>
                    </a:lnTo>
                    <a:lnTo>
                      <a:pt x="39" y="26"/>
                    </a:lnTo>
                    <a:lnTo>
                      <a:pt x="41" y="26"/>
                    </a:lnTo>
                    <a:lnTo>
                      <a:pt x="41" y="27"/>
                    </a:lnTo>
                    <a:lnTo>
                      <a:pt x="41" y="26"/>
                    </a:lnTo>
                    <a:lnTo>
                      <a:pt x="43" y="27"/>
                    </a:lnTo>
                    <a:lnTo>
                      <a:pt x="43" y="26"/>
                    </a:lnTo>
                    <a:lnTo>
                      <a:pt x="44" y="26"/>
                    </a:lnTo>
                    <a:lnTo>
                      <a:pt x="46" y="26"/>
                    </a:lnTo>
                    <a:lnTo>
                      <a:pt x="46" y="24"/>
                    </a:lnTo>
                    <a:lnTo>
                      <a:pt x="44" y="24"/>
                    </a:lnTo>
                    <a:lnTo>
                      <a:pt x="43" y="24"/>
                    </a:lnTo>
                    <a:lnTo>
                      <a:pt x="43" y="22"/>
                    </a:lnTo>
                    <a:lnTo>
                      <a:pt x="44" y="22"/>
                    </a:lnTo>
                    <a:lnTo>
                      <a:pt x="44" y="21"/>
                    </a:lnTo>
                    <a:lnTo>
                      <a:pt x="46" y="21"/>
                    </a:lnTo>
                    <a:lnTo>
                      <a:pt x="44" y="21"/>
                    </a:lnTo>
                    <a:lnTo>
                      <a:pt x="44" y="22"/>
                    </a:lnTo>
                    <a:lnTo>
                      <a:pt x="46" y="22"/>
                    </a:lnTo>
                    <a:lnTo>
                      <a:pt x="48" y="21"/>
                    </a:lnTo>
                    <a:lnTo>
                      <a:pt x="49" y="21"/>
                    </a:lnTo>
                    <a:lnTo>
                      <a:pt x="51" y="21"/>
                    </a:lnTo>
                    <a:lnTo>
                      <a:pt x="49" y="21"/>
                    </a:lnTo>
                    <a:lnTo>
                      <a:pt x="49" y="22"/>
                    </a:lnTo>
                    <a:lnTo>
                      <a:pt x="49" y="21"/>
                    </a:lnTo>
                    <a:lnTo>
                      <a:pt x="51" y="21"/>
                    </a:lnTo>
                    <a:lnTo>
                      <a:pt x="53" y="21"/>
                    </a:lnTo>
                    <a:lnTo>
                      <a:pt x="51" y="21"/>
                    </a:lnTo>
                    <a:lnTo>
                      <a:pt x="51" y="22"/>
                    </a:lnTo>
                    <a:lnTo>
                      <a:pt x="49" y="22"/>
                    </a:lnTo>
                    <a:lnTo>
                      <a:pt x="51" y="22"/>
                    </a:lnTo>
                    <a:lnTo>
                      <a:pt x="53" y="22"/>
                    </a:lnTo>
                    <a:lnTo>
                      <a:pt x="55" y="21"/>
                    </a:lnTo>
                    <a:lnTo>
                      <a:pt x="55" y="22"/>
                    </a:lnTo>
                    <a:lnTo>
                      <a:pt x="53" y="22"/>
                    </a:lnTo>
                    <a:lnTo>
                      <a:pt x="53" y="24"/>
                    </a:lnTo>
                    <a:lnTo>
                      <a:pt x="53" y="22"/>
                    </a:lnTo>
                    <a:lnTo>
                      <a:pt x="51" y="22"/>
                    </a:lnTo>
                    <a:lnTo>
                      <a:pt x="53" y="24"/>
                    </a:lnTo>
                    <a:lnTo>
                      <a:pt x="51" y="24"/>
                    </a:lnTo>
                    <a:lnTo>
                      <a:pt x="53" y="24"/>
                    </a:lnTo>
                    <a:lnTo>
                      <a:pt x="55" y="24"/>
                    </a:lnTo>
                    <a:lnTo>
                      <a:pt x="56" y="24"/>
                    </a:lnTo>
                    <a:lnTo>
                      <a:pt x="58" y="22"/>
                    </a:lnTo>
                    <a:lnTo>
                      <a:pt x="58" y="24"/>
                    </a:lnTo>
                    <a:lnTo>
                      <a:pt x="58" y="26"/>
                    </a:lnTo>
                    <a:lnTo>
                      <a:pt x="58" y="24"/>
                    </a:lnTo>
                    <a:lnTo>
                      <a:pt x="58" y="22"/>
                    </a:lnTo>
                    <a:lnTo>
                      <a:pt x="60" y="24"/>
                    </a:lnTo>
                    <a:lnTo>
                      <a:pt x="60" y="22"/>
                    </a:lnTo>
                    <a:lnTo>
                      <a:pt x="61" y="22"/>
                    </a:lnTo>
                    <a:lnTo>
                      <a:pt x="61" y="21"/>
                    </a:lnTo>
                    <a:lnTo>
                      <a:pt x="63" y="21"/>
                    </a:lnTo>
                    <a:lnTo>
                      <a:pt x="63" y="22"/>
                    </a:lnTo>
                    <a:lnTo>
                      <a:pt x="61" y="22"/>
                    </a:lnTo>
                    <a:lnTo>
                      <a:pt x="61" y="24"/>
                    </a:lnTo>
                    <a:lnTo>
                      <a:pt x="61" y="22"/>
                    </a:lnTo>
                    <a:lnTo>
                      <a:pt x="61" y="24"/>
                    </a:lnTo>
                    <a:lnTo>
                      <a:pt x="60" y="24"/>
                    </a:lnTo>
                    <a:lnTo>
                      <a:pt x="61" y="24"/>
                    </a:lnTo>
                    <a:lnTo>
                      <a:pt x="61" y="26"/>
                    </a:lnTo>
                    <a:lnTo>
                      <a:pt x="61" y="24"/>
                    </a:lnTo>
                    <a:lnTo>
                      <a:pt x="63" y="24"/>
                    </a:lnTo>
                    <a:lnTo>
                      <a:pt x="65" y="24"/>
                    </a:lnTo>
                    <a:lnTo>
                      <a:pt x="66" y="22"/>
                    </a:lnTo>
                    <a:lnTo>
                      <a:pt x="66" y="24"/>
                    </a:lnTo>
                    <a:lnTo>
                      <a:pt x="66" y="22"/>
                    </a:lnTo>
                    <a:lnTo>
                      <a:pt x="65" y="22"/>
                    </a:lnTo>
                    <a:lnTo>
                      <a:pt x="65" y="21"/>
                    </a:lnTo>
                    <a:lnTo>
                      <a:pt x="63" y="21"/>
                    </a:lnTo>
                    <a:lnTo>
                      <a:pt x="65" y="21"/>
                    </a:lnTo>
                    <a:lnTo>
                      <a:pt x="65" y="19"/>
                    </a:lnTo>
                    <a:lnTo>
                      <a:pt x="66" y="19"/>
                    </a:lnTo>
                    <a:lnTo>
                      <a:pt x="65" y="17"/>
                    </a:lnTo>
                    <a:lnTo>
                      <a:pt x="66" y="17"/>
                    </a:lnTo>
                    <a:lnTo>
                      <a:pt x="66" y="19"/>
                    </a:lnTo>
                    <a:close/>
                    <a:moveTo>
                      <a:pt x="17" y="41"/>
                    </a:moveTo>
                    <a:lnTo>
                      <a:pt x="17" y="43"/>
                    </a:lnTo>
                    <a:lnTo>
                      <a:pt x="17" y="45"/>
                    </a:lnTo>
                    <a:lnTo>
                      <a:pt x="15" y="45"/>
                    </a:lnTo>
                    <a:lnTo>
                      <a:pt x="15" y="46"/>
                    </a:lnTo>
                    <a:lnTo>
                      <a:pt x="15" y="48"/>
                    </a:lnTo>
                    <a:lnTo>
                      <a:pt x="17" y="48"/>
                    </a:lnTo>
                    <a:lnTo>
                      <a:pt x="15" y="48"/>
                    </a:lnTo>
                    <a:lnTo>
                      <a:pt x="15" y="50"/>
                    </a:lnTo>
                    <a:lnTo>
                      <a:pt x="17" y="48"/>
                    </a:lnTo>
                    <a:lnTo>
                      <a:pt x="17" y="50"/>
                    </a:lnTo>
                    <a:lnTo>
                      <a:pt x="15" y="50"/>
                    </a:lnTo>
                    <a:lnTo>
                      <a:pt x="14" y="50"/>
                    </a:lnTo>
                    <a:lnTo>
                      <a:pt x="15" y="51"/>
                    </a:lnTo>
                    <a:lnTo>
                      <a:pt x="14" y="51"/>
                    </a:lnTo>
                    <a:lnTo>
                      <a:pt x="12" y="53"/>
                    </a:lnTo>
                    <a:lnTo>
                      <a:pt x="10" y="51"/>
                    </a:lnTo>
                    <a:lnTo>
                      <a:pt x="10" y="50"/>
                    </a:lnTo>
                    <a:lnTo>
                      <a:pt x="9" y="50"/>
                    </a:lnTo>
                    <a:lnTo>
                      <a:pt x="9" y="48"/>
                    </a:lnTo>
                    <a:lnTo>
                      <a:pt x="7" y="48"/>
                    </a:lnTo>
                    <a:lnTo>
                      <a:pt x="9" y="48"/>
                    </a:lnTo>
                    <a:lnTo>
                      <a:pt x="7" y="48"/>
                    </a:lnTo>
                    <a:lnTo>
                      <a:pt x="7" y="46"/>
                    </a:lnTo>
                    <a:lnTo>
                      <a:pt x="9" y="46"/>
                    </a:lnTo>
                    <a:lnTo>
                      <a:pt x="7" y="46"/>
                    </a:lnTo>
                    <a:lnTo>
                      <a:pt x="7" y="45"/>
                    </a:lnTo>
                    <a:lnTo>
                      <a:pt x="7" y="46"/>
                    </a:lnTo>
                    <a:lnTo>
                      <a:pt x="7" y="45"/>
                    </a:lnTo>
                    <a:lnTo>
                      <a:pt x="9" y="43"/>
                    </a:lnTo>
                    <a:lnTo>
                      <a:pt x="9" y="45"/>
                    </a:lnTo>
                    <a:lnTo>
                      <a:pt x="10" y="45"/>
                    </a:lnTo>
                    <a:lnTo>
                      <a:pt x="10" y="43"/>
                    </a:lnTo>
                    <a:lnTo>
                      <a:pt x="12" y="43"/>
                    </a:lnTo>
                    <a:lnTo>
                      <a:pt x="12" y="41"/>
                    </a:lnTo>
                    <a:lnTo>
                      <a:pt x="12" y="43"/>
                    </a:lnTo>
                    <a:lnTo>
                      <a:pt x="14" y="43"/>
                    </a:lnTo>
                    <a:lnTo>
                      <a:pt x="14" y="45"/>
                    </a:lnTo>
                    <a:lnTo>
                      <a:pt x="12" y="45"/>
                    </a:lnTo>
                    <a:lnTo>
                      <a:pt x="12" y="46"/>
                    </a:lnTo>
                    <a:lnTo>
                      <a:pt x="10" y="46"/>
                    </a:lnTo>
                    <a:lnTo>
                      <a:pt x="10" y="48"/>
                    </a:lnTo>
                    <a:lnTo>
                      <a:pt x="12" y="46"/>
                    </a:lnTo>
                    <a:lnTo>
                      <a:pt x="14" y="46"/>
                    </a:lnTo>
                    <a:lnTo>
                      <a:pt x="14" y="45"/>
                    </a:lnTo>
                    <a:lnTo>
                      <a:pt x="14" y="46"/>
                    </a:lnTo>
                    <a:lnTo>
                      <a:pt x="15" y="45"/>
                    </a:lnTo>
                    <a:lnTo>
                      <a:pt x="15" y="46"/>
                    </a:lnTo>
                    <a:lnTo>
                      <a:pt x="15" y="45"/>
                    </a:lnTo>
                    <a:lnTo>
                      <a:pt x="15" y="43"/>
                    </a:lnTo>
                    <a:lnTo>
                      <a:pt x="15" y="41"/>
                    </a:lnTo>
                    <a:lnTo>
                      <a:pt x="17" y="41"/>
                    </a:lnTo>
                    <a:close/>
                    <a:moveTo>
                      <a:pt x="36" y="14"/>
                    </a:moveTo>
                    <a:lnTo>
                      <a:pt x="38" y="14"/>
                    </a:lnTo>
                    <a:lnTo>
                      <a:pt x="38" y="16"/>
                    </a:lnTo>
                    <a:lnTo>
                      <a:pt x="39" y="16"/>
                    </a:lnTo>
                    <a:lnTo>
                      <a:pt x="39" y="17"/>
                    </a:lnTo>
                    <a:lnTo>
                      <a:pt x="41" y="17"/>
                    </a:lnTo>
                    <a:lnTo>
                      <a:pt x="41" y="16"/>
                    </a:lnTo>
                    <a:lnTo>
                      <a:pt x="43" y="16"/>
                    </a:lnTo>
                    <a:lnTo>
                      <a:pt x="44" y="17"/>
                    </a:lnTo>
                    <a:lnTo>
                      <a:pt x="43" y="17"/>
                    </a:lnTo>
                    <a:lnTo>
                      <a:pt x="44" y="17"/>
                    </a:lnTo>
                    <a:lnTo>
                      <a:pt x="44" y="19"/>
                    </a:lnTo>
                    <a:lnTo>
                      <a:pt x="43" y="19"/>
                    </a:lnTo>
                    <a:lnTo>
                      <a:pt x="43" y="21"/>
                    </a:lnTo>
                    <a:lnTo>
                      <a:pt x="41" y="21"/>
                    </a:lnTo>
                    <a:lnTo>
                      <a:pt x="43" y="21"/>
                    </a:lnTo>
                    <a:lnTo>
                      <a:pt x="41" y="21"/>
                    </a:lnTo>
                    <a:lnTo>
                      <a:pt x="39" y="21"/>
                    </a:lnTo>
                    <a:lnTo>
                      <a:pt x="38" y="21"/>
                    </a:lnTo>
                    <a:lnTo>
                      <a:pt x="38" y="22"/>
                    </a:lnTo>
                    <a:lnTo>
                      <a:pt x="36" y="22"/>
                    </a:lnTo>
                    <a:lnTo>
                      <a:pt x="36" y="21"/>
                    </a:lnTo>
                    <a:lnTo>
                      <a:pt x="36" y="19"/>
                    </a:lnTo>
                    <a:lnTo>
                      <a:pt x="38" y="19"/>
                    </a:lnTo>
                    <a:lnTo>
                      <a:pt x="38" y="17"/>
                    </a:lnTo>
                    <a:lnTo>
                      <a:pt x="39" y="19"/>
                    </a:lnTo>
                    <a:lnTo>
                      <a:pt x="39" y="21"/>
                    </a:lnTo>
                    <a:lnTo>
                      <a:pt x="41" y="21"/>
                    </a:lnTo>
                    <a:lnTo>
                      <a:pt x="41" y="19"/>
                    </a:lnTo>
                    <a:lnTo>
                      <a:pt x="39" y="19"/>
                    </a:lnTo>
                    <a:lnTo>
                      <a:pt x="39" y="17"/>
                    </a:lnTo>
                    <a:lnTo>
                      <a:pt x="38" y="17"/>
                    </a:lnTo>
                    <a:lnTo>
                      <a:pt x="38" y="16"/>
                    </a:lnTo>
                    <a:lnTo>
                      <a:pt x="36" y="16"/>
                    </a:lnTo>
                    <a:lnTo>
                      <a:pt x="34" y="14"/>
                    </a:lnTo>
                    <a:lnTo>
                      <a:pt x="36" y="14"/>
                    </a:lnTo>
                    <a:close/>
                    <a:moveTo>
                      <a:pt x="55" y="14"/>
                    </a:moveTo>
                    <a:lnTo>
                      <a:pt x="56" y="14"/>
                    </a:lnTo>
                    <a:lnTo>
                      <a:pt x="58" y="14"/>
                    </a:lnTo>
                    <a:lnTo>
                      <a:pt x="60" y="14"/>
                    </a:lnTo>
                    <a:lnTo>
                      <a:pt x="60" y="16"/>
                    </a:lnTo>
                    <a:lnTo>
                      <a:pt x="61" y="16"/>
                    </a:lnTo>
                    <a:lnTo>
                      <a:pt x="61" y="14"/>
                    </a:lnTo>
                    <a:lnTo>
                      <a:pt x="61" y="16"/>
                    </a:lnTo>
                    <a:lnTo>
                      <a:pt x="63" y="14"/>
                    </a:lnTo>
                    <a:lnTo>
                      <a:pt x="63" y="16"/>
                    </a:lnTo>
                    <a:lnTo>
                      <a:pt x="65" y="16"/>
                    </a:lnTo>
                    <a:lnTo>
                      <a:pt x="65" y="17"/>
                    </a:lnTo>
                    <a:lnTo>
                      <a:pt x="63" y="17"/>
                    </a:lnTo>
                    <a:lnTo>
                      <a:pt x="63" y="16"/>
                    </a:lnTo>
                    <a:lnTo>
                      <a:pt x="63" y="17"/>
                    </a:lnTo>
                    <a:lnTo>
                      <a:pt x="65" y="19"/>
                    </a:lnTo>
                    <a:lnTo>
                      <a:pt x="63" y="17"/>
                    </a:lnTo>
                    <a:lnTo>
                      <a:pt x="61" y="19"/>
                    </a:lnTo>
                    <a:lnTo>
                      <a:pt x="61" y="17"/>
                    </a:lnTo>
                    <a:lnTo>
                      <a:pt x="61" y="19"/>
                    </a:lnTo>
                    <a:lnTo>
                      <a:pt x="60" y="17"/>
                    </a:lnTo>
                    <a:lnTo>
                      <a:pt x="58" y="16"/>
                    </a:lnTo>
                    <a:lnTo>
                      <a:pt x="56" y="16"/>
                    </a:lnTo>
                    <a:lnTo>
                      <a:pt x="55" y="16"/>
                    </a:lnTo>
                    <a:lnTo>
                      <a:pt x="53" y="16"/>
                    </a:lnTo>
                    <a:lnTo>
                      <a:pt x="53" y="14"/>
                    </a:lnTo>
                    <a:lnTo>
                      <a:pt x="51" y="14"/>
                    </a:lnTo>
                    <a:lnTo>
                      <a:pt x="53" y="14"/>
                    </a:lnTo>
                    <a:lnTo>
                      <a:pt x="55" y="12"/>
                    </a:lnTo>
                    <a:lnTo>
                      <a:pt x="55" y="14"/>
                    </a:lnTo>
                    <a:close/>
                    <a:moveTo>
                      <a:pt x="100" y="53"/>
                    </a:moveTo>
                    <a:lnTo>
                      <a:pt x="99" y="53"/>
                    </a:lnTo>
                    <a:lnTo>
                      <a:pt x="99" y="55"/>
                    </a:lnTo>
                    <a:lnTo>
                      <a:pt x="97" y="55"/>
                    </a:lnTo>
                    <a:lnTo>
                      <a:pt x="99" y="56"/>
                    </a:lnTo>
                    <a:lnTo>
                      <a:pt x="99" y="55"/>
                    </a:lnTo>
                    <a:lnTo>
                      <a:pt x="99" y="56"/>
                    </a:lnTo>
                    <a:lnTo>
                      <a:pt x="99" y="58"/>
                    </a:lnTo>
                    <a:lnTo>
                      <a:pt x="99" y="60"/>
                    </a:lnTo>
                    <a:lnTo>
                      <a:pt x="97" y="60"/>
                    </a:lnTo>
                    <a:lnTo>
                      <a:pt x="99" y="58"/>
                    </a:lnTo>
                    <a:lnTo>
                      <a:pt x="97" y="58"/>
                    </a:lnTo>
                    <a:lnTo>
                      <a:pt x="95" y="56"/>
                    </a:lnTo>
                    <a:lnTo>
                      <a:pt x="95" y="55"/>
                    </a:lnTo>
                    <a:lnTo>
                      <a:pt x="97" y="55"/>
                    </a:lnTo>
                    <a:lnTo>
                      <a:pt x="97" y="53"/>
                    </a:lnTo>
                    <a:lnTo>
                      <a:pt x="97" y="55"/>
                    </a:lnTo>
                    <a:lnTo>
                      <a:pt x="97" y="53"/>
                    </a:lnTo>
                    <a:lnTo>
                      <a:pt x="99" y="53"/>
                    </a:lnTo>
                    <a:lnTo>
                      <a:pt x="99" y="55"/>
                    </a:lnTo>
                    <a:lnTo>
                      <a:pt x="99" y="53"/>
                    </a:lnTo>
                    <a:lnTo>
                      <a:pt x="100" y="53"/>
                    </a:lnTo>
                    <a:close/>
                    <a:moveTo>
                      <a:pt x="53" y="63"/>
                    </a:moveTo>
                    <a:lnTo>
                      <a:pt x="55" y="63"/>
                    </a:lnTo>
                    <a:lnTo>
                      <a:pt x="56" y="63"/>
                    </a:lnTo>
                    <a:lnTo>
                      <a:pt x="56" y="65"/>
                    </a:lnTo>
                    <a:lnTo>
                      <a:pt x="56" y="67"/>
                    </a:lnTo>
                    <a:lnTo>
                      <a:pt x="56" y="68"/>
                    </a:lnTo>
                    <a:lnTo>
                      <a:pt x="55" y="68"/>
                    </a:lnTo>
                    <a:lnTo>
                      <a:pt x="55" y="70"/>
                    </a:lnTo>
                    <a:lnTo>
                      <a:pt x="55" y="68"/>
                    </a:lnTo>
                    <a:lnTo>
                      <a:pt x="55" y="67"/>
                    </a:lnTo>
                    <a:lnTo>
                      <a:pt x="55" y="65"/>
                    </a:lnTo>
                    <a:lnTo>
                      <a:pt x="55" y="67"/>
                    </a:lnTo>
                    <a:lnTo>
                      <a:pt x="55" y="65"/>
                    </a:lnTo>
                    <a:lnTo>
                      <a:pt x="55" y="63"/>
                    </a:lnTo>
                    <a:lnTo>
                      <a:pt x="53" y="63"/>
                    </a:lnTo>
                    <a:lnTo>
                      <a:pt x="53" y="62"/>
                    </a:lnTo>
                    <a:lnTo>
                      <a:pt x="53" y="63"/>
                    </a:lnTo>
                    <a:close/>
                    <a:moveTo>
                      <a:pt x="48" y="16"/>
                    </a:moveTo>
                    <a:lnTo>
                      <a:pt x="48" y="17"/>
                    </a:lnTo>
                    <a:lnTo>
                      <a:pt x="49" y="17"/>
                    </a:lnTo>
                    <a:lnTo>
                      <a:pt x="48" y="17"/>
                    </a:lnTo>
                    <a:lnTo>
                      <a:pt x="48" y="19"/>
                    </a:lnTo>
                    <a:lnTo>
                      <a:pt x="46" y="19"/>
                    </a:lnTo>
                    <a:lnTo>
                      <a:pt x="46" y="17"/>
                    </a:lnTo>
                    <a:lnTo>
                      <a:pt x="44" y="17"/>
                    </a:lnTo>
                    <a:lnTo>
                      <a:pt x="44" y="16"/>
                    </a:lnTo>
                    <a:lnTo>
                      <a:pt x="46" y="16"/>
                    </a:lnTo>
                    <a:lnTo>
                      <a:pt x="48" y="16"/>
                    </a:lnTo>
                    <a:close/>
                    <a:moveTo>
                      <a:pt x="5" y="45"/>
                    </a:moveTo>
                    <a:lnTo>
                      <a:pt x="4" y="45"/>
                    </a:lnTo>
                    <a:lnTo>
                      <a:pt x="4" y="46"/>
                    </a:lnTo>
                    <a:lnTo>
                      <a:pt x="5" y="46"/>
                    </a:lnTo>
                    <a:lnTo>
                      <a:pt x="4" y="48"/>
                    </a:lnTo>
                    <a:lnTo>
                      <a:pt x="4" y="46"/>
                    </a:lnTo>
                    <a:lnTo>
                      <a:pt x="2" y="46"/>
                    </a:lnTo>
                    <a:lnTo>
                      <a:pt x="2" y="45"/>
                    </a:lnTo>
                    <a:lnTo>
                      <a:pt x="0" y="45"/>
                    </a:lnTo>
                    <a:lnTo>
                      <a:pt x="2" y="45"/>
                    </a:lnTo>
                    <a:lnTo>
                      <a:pt x="2" y="43"/>
                    </a:lnTo>
                    <a:lnTo>
                      <a:pt x="2" y="45"/>
                    </a:lnTo>
                    <a:lnTo>
                      <a:pt x="4" y="45"/>
                    </a:lnTo>
                    <a:lnTo>
                      <a:pt x="4" y="43"/>
                    </a:lnTo>
                    <a:lnTo>
                      <a:pt x="5" y="43"/>
                    </a:lnTo>
                    <a:lnTo>
                      <a:pt x="5" y="45"/>
                    </a:lnTo>
                    <a:close/>
                    <a:moveTo>
                      <a:pt x="56" y="72"/>
                    </a:moveTo>
                    <a:lnTo>
                      <a:pt x="55" y="72"/>
                    </a:lnTo>
                    <a:lnTo>
                      <a:pt x="55" y="73"/>
                    </a:lnTo>
                    <a:lnTo>
                      <a:pt x="55" y="75"/>
                    </a:lnTo>
                    <a:lnTo>
                      <a:pt x="53" y="75"/>
                    </a:lnTo>
                    <a:lnTo>
                      <a:pt x="53" y="73"/>
                    </a:lnTo>
                    <a:lnTo>
                      <a:pt x="51" y="73"/>
                    </a:lnTo>
                    <a:lnTo>
                      <a:pt x="53" y="73"/>
                    </a:lnTo>
                    <a:lnTo>
                      <a:pt x="55" y="72"/>
                    </a:lnTo>
                    <a:lnTo>
                      <a:pt x="56" y="70"/>
                    </a:lnTo>
                    <a:lnTo>
                      <a:pt x="56" y="72"/>
                    </a:lnTo>
                    <a:close/>
                    <a:moveTo>
                      <a:pt x="85" y="63"/>
                    </a:moveTo>
                    <a:lnTo>
                      <a:pt x="85" y="65"/>
                    </a:lnTo>
                    <a:lnTo>
                      <a:pt x="83" y="67"/>
                    </a:lnTo>
                    <a:lnTo>
                      <a:pt x="82" y="67"/>
                    </a:lnTo>
                    <a:lnTo>
                      <a:pt x="80" y="67"/>
                    </a:lnTo>
                    <a:lnTo>
                      <a:pt x="82" y="67"/>
                    </a:lnTo>
                    <a:lnTo>
                      <a:pt x="82" y="65"/>
                    </a:lnTo>
                    <a:lnTo>
                      <a:pt x="83" y="67"/>
                    </a:lnTo>
                    <a:lnTo>
                      <a:pt x="85" y="65"/>
                    </a:lnTo>
                    <a:lnTo>
                      <a:pt x="83" y="65"/>
                    </a:lnTo>
                    <a:lnTo>
                      <a:pt x="85" y="65"/>
                    </a:lnTo>
                    <a:lnTo>
                      <a:pt x="83" y="63"/>
                    </a:lnTo>
                    <a:lnTo>
                      <a:pt x="85" y="63"/>
                    </a:lnTo>
                    <a:lnTo>
                      <a:pt x="85" y="62"/>
                    </a:lnTo>
                    <a:lnTo>
                      <a:pt x="85" y="63"/>
                    </a:lnTo>
                    <a:close/>
                    <a:moveTo>
                      <a:pt x="5" y="38"/>
                    </a:moveTo>
                    <a:lnTo>
                      <a:pt x="4" y="38"/>
                    </a:lnTo>
                    <a:lnTo>
                      <a:pt x="2" y="38"/>
                    </a:lnTo>
                    <a:lnTo>
                      <a:pt x="2" y="39"/>
                    </a:lnTo>
                    <a:lnTo>
                      <a:pt x="4" y="39"/>
                    </a:lnTo>
                    <a:lnTo>
                      <a:pt x="2" y="41"/>
                    </a:lnTo>
                    <a:lnTo>
                      <a:pt x="2" y="39"/>
                    </a:lnTo>
                    <a:lnTo>
                      <a:pt x="2" y="38"/>
                    </a:lnTo>
                    <a:lnTo>
                      <a:pt x="0" y="38"/>
                    </a:lnTo>
                    <a:lnTo>
                      <a:pt x="2" y="38"/>
                    </a:lnTo>
                    <a:lnTo>
                      <a:pt x="4" y="38"/>
                    </a:lnTo>
                    <a:lnTo>
                      <a:pt x="4" y="36"/>
                    </a:lnTo>
                    <a:lnTo>
                      <a:pt x="4" y="38"/>
                    </a:lnTo>
                    <a:lnTo>
                      <a:pt x="5" y="38"/>
                    </a:lnTo>
                    <a:close/>
                    <a:moveTo>
                      <a:pt x="55" y="17"/>
                    </a:moveTo>
                    <a:lnTo>
                      <a:pt x="55" y="19"/>
                    </a:lnTo>
                    <a:lnTo>
                      <a:pt x="56" y="19"/>
                    </a:lnTo>
                    <a:lnTo>
                      <a:pt x="58" y="19"/>
                    </a:lnTo>
                    <a:lnTo>
                      <a:pt x="56" y="19"/>
                    </a:lnTo>
                    <a:lnTo>
                      <a:pt x="55" y="19"/>
                    </a:lnTo>
                    <a:lnTo>
                      <a:pt x="55" y="21"/>
                    </a:lnTo>
                    <a:lnTo>
                      <a:pt x="53" y="19"/>
                    </a:lnTo>
                    <a:lnTo>
                      <a:pt x="55" y="19"/>
                    </a:lnTo>
                    <a:lnTo>
                      <a:pt x="53" y="19"/>
                    </a:lnTo>
                    <a:lnTo>
                      <a:pt x="51" y="19"/>
                    </a:lnTo>
                    <a:lnTo>
                      <a:pt x="53" y="19"/>
                    </a:lnTo>
                    <a:lnTo>
                      <a:pt x="53" y="17"/>
                    </a:lnTo>
                    <a:lnTo>
                      <a:pt x="55" y="19"/>
                    </a:lnTo>
                    <a:lnTo>
                      <a:pt x="53" y="17"/>
                    </a:lnTo>
                    <a:lnTo>
                      <a:pt x="55" y="17"/>
                    </a:lnTo>
                    <a:close/>
                    <a:moveTo>
                      <a:pt x="26" y="12"/>
                    </a:moveTo>
                    <a:lnTo>
                      <a:pt x="29" y="12"/>
                    </a:lnTo>
                    <a:lnTo>
                      <a:pt x="29" y="17"/>
                    </a:lnTo>
                    <a:lnTo>
                      <a:pt x="26" y="17"/>
                    </a:lnTo>
                    <a:lnTo>
                      <a:pt x="26" y="12"/>
                    </a:lnTo>
                    <a:close/>
                    <a:moveTo>
                      <a:pt x="17" y="53"/>
                    </a:moveTo>
                    <a:lnTo>
                      <a:pt x="17" y="55"/>
                    </a:lnTo>
                    <a:lnTo>
                      <a:pt x="15" y="55"/>
                    </a:lnTo>
                    <a:lnTo>
                      <a:pt x="14" y="53"/>
                    </a:lnTo>
                    <a:lnTo>
                      <a:pt x="15" y="53"/>
                    </a:lnTo>
                    <a:lnTo>
                      <a:pt x="15" y="51"/>
                    </a:lnTo>
                    <a:lnTo>
                      <a:pt x="17" y="53"/>
                    </a:lnTo>
                    <a:close/>
                    <a:moveTo>
                      <a:pt x="7" y="0"/>
                    </a:moveTo>
                    <a:lnTo>
                      <a:pt x="10" y="0"/>
                    </a:lnTo>
                    <a:lnTo>
                      <a:pt x="10" y="4"/>
                    </a:lnTo>
                    <a:lnTo>
                      <a:pt x="7" y="4"/>
                    </a:lnTo>
                    <a:lnTo>
                      <a:pt x="7" y="0"/>
                    </a:lnTo>
                    <a:close/>
                    <a:moveTo>
                      <a:pt x="58" y="41"/>
                    </a:moveTo>
                    <a:lnTo>
                      <a:pt x="61" y="41"/>
                    </a:lnTo>
                    <a:lnTo>
                      <a:pt x="61" y="43"/>
                    </a:lnTo>
                    <a:lnTo>
                      <a:pt x="58" y="43"/>
                    </a:lnTo>
                    <a:lnTo>
                      <a:pt x="58" y="41"/>
                    </a:lnTo>
                    <a:close/>
                    <a:moveTo>
                      <a:pt x="55" y="50"/>
                    </a:moveTo>
                    <a:lnTo>
                      <a:pt x="56" y="50"/>
                    </a:lnTo>
                    <a:lnTo>
                      <a:pt x="56" y="53"/>
                    </a:lnTo>
                    <a:lnTo>
                      <a:pt x="55" y="53"/>
                    </a:lnTo>
                    <a:lnTo>
                      <a:pt x="55" y="50"/>
                    </a:lnTo>
                    <a:close/>
                    <a:moveTo>
                      <a:pt x="21" y="17"/>
                    </a:moveTo>
                    <a:lnTo>
                      <a:pt x="24" y="17"/>
                    </a:lnTo>
                    <a:lnTo>
                      <a:pt x="24" y="21"/>
                    </a:lnTo>
                    <a:lnTo>
                      <a:pt x="21" y="21"/>
                    </a:lnTo>
                    <a:lnTo>
                      <a:pt x="21" y="17"/>
                    </a:lnTo>
                    <a:close/>
                    <a:moveTo>
                      <a:pt x="55" y="73"/>
                    </a:moveTo>
                    <a:lnTo>
                      <a:pt x="58" y="73"/>
                    </a:lnTo>
                    <a:lnTo>
                      <a:pt x="58" y="75"/>
                    </a:lnTo>
                    <a:lnTo>
                      <a:pt x="55" y="75"/>
                    </a:lnTo>
                    <a:lnTo>
                      <a:pt x="55" y="73"/>
                    </a:lnTo>
                    <a:close/>
                    <a:moveTo>
                      <a:pt x="78" y="79"/>
                    </a:moveTo>
                    <a:lnTo>
                      <a:pt x="77" y="77"/>
                    </a:lnTo>
                    <a:lnTo>
                      <a:pt x="77" y="79"/>
                    </a:lnTo>
                    <a:lnTo>
                      <a:pt x="75" y="79"/>
                    </a:lnTo>
                    <a:lnTo>
                      <a:pt x="75" y="77"/>
                    </a:lnTo>
                    <a:lnTo>
                      <a:pt x="77" y="77"/>
                    </a:lnTo>
                    <a:lnTo>
                      <a:pt x="78" y="79"/>
                    </a:lnTo>
                    <a:close/>
                    <a:moveTo>
                      <a:pt x="55" y="21"/>
                    </a:moveTo>
                    <a:lnTo>
                      <a:pt x="56" y="21"/>
                    </a:lnTo>
                    <a:lnTo>
                      <a:pt x="56" y="22"/>
                    </a:lnTo>
                    <a:lnTo>
                      <a:pt x="55" y="22"/>
                    </a:lnTo>
                    <a:lnTo>
                      <a:pt x="55" y="21"/>
                    </a:lnTo>
                    <a:close/>
                    <a:moveTo>
                      <a:pt x="4" y="0"/>
                    </a:moveTo>
                    <a:lnTo>
                      <a:pt x="7" y="0"/>
                    </a:lnTo>
                    <a:lnTo>
                      <a:pt x="7" y="2"/>
                    </a:lnTo>
                    <a:lnTo>
                      <a:pt x="4" y="2"/>
                    </a:lnTo>
                    <a:lnTo>
                      <a:pt x="4" y="0"/>
                    </a:lnTo>
                    <a:close/>
                    <a:moveTo>
                      <a:pt x="22" y="33"/>
                    </a:moveTo>
                    <a:lnTo>
                      <a:pt x="24" y="33"/>
                    </a:lnTo>
                    <a:lnTo>
                      <a:pt x="24" y="36"/>
                    </a:lnTo>
                    <a:lnTo>
                      <a:pt x="22" y="36"/>
                    </a:lnTo>
                    <a:lnTo>
                      <a:pt x="22" y="33"/>
                    </a:lnTo>
                    <a:close/>
                    <a:moveTo>
                      <a:pt x="19" y="31"/>
                    </a:moveTo>
                    <a:lnTo>
                      <a:pt x="21" y="31"/>
                    </a:lnTo>
                    <a:lnTo>
                      <a:pt x="19" y="31"/>
                    </a:lnTo>
                    <a:close/>
                    <a:moveTo>
                      <a:pt x="55" y="56"/>
                    </a:moveTo>
                    <a:lnTo>
                      <a:pt x="55" y="60"/>
                    </a:lnTo>
                    <a:lnTo>
                      <a:pt x="55" y="56"/>
                    </a:lnTo>
                    <a:close/>
                    <a:moveTo>
                      <a:pt x="55" y="17"/>
                    </a:moveTo>
                    <a:lnTo>
                      <a:pt x="58" y="17"/>
                    </a:lnTo>
                    <a:lnTo>
                      <a:pt x="58" y="19"/>
                    </a:lnTo>
                    <a:lnTo>
                      <a:pt x="55" y="19"/>
                    </a:lnTo>
                    <a:lnTo>
                      <a:pt x="55" y="17"/>
                    </a:lnTo>
                    <a:close/>
                    <a:moveTo>
                      <a:pt x="56" y="19"/>
                    </a:moveTo>
                    <a:lnTo>
                      <a:pt x="60" y="19"/>
                    </a:lnTo>
                    <a:lnTo>
                      <a:pt x="60" y="21"/>
                    </a:lnTo>
                    <a:lnTo>
                      <a:pt x="56" y="21"/>
                    </a:lnTo>
                    <a:lnTo>
                      <a:pt x="56" y="19"/>
                    </a:lnTo>
                    <a:close/>
                    <a:moveTo>
                      <a:pt x="49" y="12"/>
                    </a:moveTo>
                    <a:lnTo>
                      <a:pt x="51" y="12"/>
                    </a:lnTo>
                    <a:lnTo>
                      <a:pt x="51" y="14"/>
                    </a:lnTo>
                    <a:lnTo>
                      <a:pt x="49" y="14"/>
                    </a:lnTo>
                    <a:lnTo>
                      <a:pt x="49" y="12"/>
                    </a:lnTo>
                    <a:close/>
                    <a:moveTo>
                      <a:pt x="29" y="45"/>
                    </a:moveTo>
                    <a:lnTo>
                      <a:pt x="31" y="45"/>
                    </a:lnTo>
                    <a:lnTo>
                      <a:pt x="31" y="46"/>
                    </a:lnTo>
                    <a:lnTo>
                      <a:pt x="29" y="46"/>
                    </a:lnTo>
                    <a:lnTo>
                      <a:pt x="29" y="45"/>
                    </a:lnTo>
                    <a:close/>
                    <a:moveTo>
                      <a:pt x="58" y="21"/>
                    </a:moveTo>
                    <a:lnTo>
                      <a:pt x="60" y="21"/>
                    </a:lnTo>
                    <a:lnTo>
                      <a:pt x="60" y="22"/>
                    </a:lnTo>
                    <a:lnTo>
                      <a:pt x="58" y="22"/>
                    </a:lnTo>
                    <a:lnTo>
                      <a:pt x="58" y="21"/>
                    </a:lnTo>
                    <a:close/>
                    <a:moveTo>
                      <a:pt x="5" y="46"/>
                    </a:moveTo>
                    <a:lnTo>
                      <a:pt x="7" y="46"/>
                    </a:lnTo>
                    <a:lnTo>
                      <a:pt x="7" y="50"/>
                    </a:lnTo>
                    <a:lnTo>
                      <a:pt x="5" y="50"/>
                    </a:lnTo>
                    <a:lnTo>
                      <a:pt x="5" y="46"/>
                    </a:lnTo>
                    <a:close/>
                    <a:moveTo>
                      <a:pt x="14" y="10"/>
                    </a:moveTo>
                    <a:lnTo>
                      <a:pt x="17" y="10"/>
                    </a:lnTo>
                    <a:lnTo>
                      <a:pt x="14" y="10"/>
                    </a:lnTo>
                    <a:close/>
                    <a:moveTo>
                      <a:pt x="92" y="60"/>
                    </a:moveTo>
                    <a:lnTo>
                      <a:pt x="94" y="60"/>
                    </a:lnTo>
                    <a:lnTo>
                      <a:pt x="94" y="62"/>
                    </a:lnTo>
                    <a:lnTo>
                      <a:pt x="92" y="62"/>
                    </a:lnTo>
                    <a:lnTo>
                      <a:pt x="92" y="60"/>
                    </a:lnTo>
                    <a:close/>
                    <a:moveTo>
                      <a:pt x="95" y="53"/>
                    </a:moveTo>
                    <a:lnTo>
                      <a:pt x="99" y="53"/>
                    </a:lnTo>
                    <a:lnTo>
                      <a:pt x="95" y="53"/>
                    </a:lnTo>
                    <a:close/>
                    <a:moveTo>
                      <a:pt x="100" y="53"/>
                    </a:moveTo>
                    <a:lnTo>
                      <a:pt x="102" y="53"/>
                    </a:lnTo>
                    <a:lnTo>
                      <a:pt x="102" y="55"/>
                    </a:lnTo>
                    <a:lnTo>
                      <a:pt x="100" y="55"/>
                    </a:lnTo>
                    <a:lnTo>
                      <a:pt x="100" y="53"/>
                    </a:lnTo>
                    <a:close/>
                    <a:moveTo>
                      <a:pt x="111" y="29"/>
                    </a:moveTo>
                    <a:lnTo>
                      <a:pt x="112" y="29"/>
                    </a:lnTo>
                    <a:lnTo>
                      <a:pt x="112" y="31"/>
                    </a:lnTo>
                    <a:lnTo>
                      <a:pt x="111" y="31"/>
                    </a:lnTo>
                    <a:lnTo>
                      <a:pt x="111" y="29"/>
                    </a:lnTo>
                    <a:close/>
                    <a:moveTo>
                      <a:pt x="31" y="7"/>
                    </a:moveTo>
                    <a:lnTo>
                      <a:pt x="32" y="7"/>
                    </a:lnTo>
                    <a:lnTo>
                      <a:pt x="31" y="7"/>
                    </a:lnTo>
                    <a:close/>
                    <a:moveTo>
                      <a:pt x="15" y="4"/>
                    </a:moveTo>
                    <a:lnTo>
                      <a:pt x="17" y="4"/>
                    </a:lnTo>
                    <a:lnTo>
                      <a:pt x="17" y="5"/>
                    </a:lnTo>
                    <a:lnTo>
                      <a:pt x="15" y="5"/>
                    </a:lnTo>
                    <a:lnTo>
                      <a:pt x="15" y="4"/>
                    </a:lnTo>
                    <a:close/>
                    <a:moveTo>
                      <a:pt x="5" y="48"/>
                    </a:moveTo>
                    <a:lnTo>
                      <a:pt x="7" y="48"/>
                    </a:lnTo>
                    <a:lnTo>
                      <a:pt x="7" y="50"/>
                    </a:lnTo>
                    <a:lnTo>
                      <a:pt x="5" y="50"/>
                    </a:lnTo>
                    <a:lnTo>
                      <a:pt x="5" y="48"/>
                    </a:lnTo>
                    <a:close/>
                    <a:moveTo>
                      <a:pt x="31" y="33"/>
                    </a:moveTo>
                    <a:lnTo>
                      <a:pt x="32" y="33"/>
                    </a:lnTo>
                    <a:lnTo>
                      <a:pt x="32" y="34"/>
                    </a:lnTo>
                    <a:lnTo>
                      <a:pt x="31" y="34"/>
                    </a:lnTo>
                    <a:lnTo>
                      <a:pt x="31" y="33"/>
                    </a:lnTo>
                    <a:close/>
                    <a:moveTo>
                      <a:pt x="56" y="41"/>
                    </a:moveTo>
                    <a:lnTo>
                      <a:pt x="58" y="41"/>
                    </a:lnTo>
                    <a:lnTo>
                      <a:pt x="58" y="43"/>
                    </a:lnTo>
                    <a:lnTo>
                      <a:pt x="56" y="43"/>
                    </a:lnTo>
                    <a:lnTo>
                      <a:pt x="56" y="41"/>
                    </a:lnTo>
                    <a:close/>
                    <a:moveTo>
                      <a:pt x="49" y="19"/>
                    </a:moveTo>
                    <a:lnTo>
                      <a:pt x="51" y="19"/>
                    </a:lnTo>
                    <a:lnTo>
                      <a:pt x="51" y="21"/>
                    </a:lnTo>
                    <a:lnTo>
                      <a:pt x="49" y="21"/>
                    </a:lnTo>
                    <a:lnTo>
                      <a:pt x="49" y="19"/>
                    </a:lnTo>
                    <a:close/>
                    <a:moveTo>
                      <a:pt x="17" y="7"/>
                    </a:moveTo>
                    <a:lnTo>
                      <a:pt x="17" y="9"/>
                    </a:lnTo>
                    <a:lnTo>
                      <a:pt x="17" y="7"/>
                    </a:lnTo>
                    <a:close/>
                    <a:moveTo>
                      <a:pt x="58" y="46"/>
                    </a:moveTo>
                    <a:lnTo>
                      <a:pt x="60" y="46"/>
                    </a:lnTo>
                    <a:lnTo>
                      <a:pt x="60" y="48"/>
                    </a:lnTo>
                    <a:lnTo>
                      <a:pt x="58" y="48"/>
                    </a:lnTo>
                    <a:lnTo>
                      <a:pt x="58" y="46"/>
                    </a:lnTo>
                    <a:close/>
                    <a:moveTo>
                      <a:pt x="5" y="45"/>
                    </a:moveTo>
                    <a:lnTo>
                      <a:pt x="7" y="45"/>
                    </a:lnTo>
                    <a:lnTo>
                      <a:pt x="7" y="46"/>
                    </a:lnTo>
                    <a:lnTo>
                      <a:pt x="5" y="46"/>
                    </a:lnTo>
                    <a:lnTo>
                      <a:pt x="5" y="45"/>
                    </a:lnTo>
                    <a:close/>
                    <a:moveTo>
                      <a:pt x="95" y="48"/>
                    </a:moveTo>
                    <a:lnTo>
                      <a:pt x="95" y="50"/>
                    </a:lnTo>
                    <a:lnTo>
                      <a:pt x="95" y="48"/>
                    </a:lnTo>
                    <a:close/>
                    <a:moveTo>
                      <a:pt x="55" y="21"/>
                    </a:moveTo>
                    <a:lnTo>
                      <a:pt x="56" y="21"/>
                    </a:lnTo>
                    <a:lnTo>
                      <a:pt x="55" y="21"/>
                    </a:lnTo>
                    <a:close/>
                    <a:moveTo>
                      <a:pt x="31" y="65"/>
                    </a:moveTo>
                    <a:lnTo>
                      <a:pt x="32" y="65"/>
                    </a:lnTo>
                    <a:lnTo>
                      <a:pt x="32" y="67"/>
                    </a:lnTo>
                    <a:lnTo>
                      <a:pt x="31" y="67"/>
                    </a:lnTo>
                    <a:lnTo>
                      <a:pt x="31" y="65"/>
                    </a:lnTo>
                    <a:close/>
                    <a:moveTo>
                      <a:pt x="21" y="24"/>
                    </a:moveTo>
                    <a:lnTo>
                      <a:pt x="22" y="24"/>
                    </a:lnTo>
                    <a:lnTo>
                      <a:pt x="22" y="26"/>
                    </a:lnTo>
                    <a:lnTo>
                      <a:pt x="21" y="26"/>
                    </a:lnTo>
                    <a:lnTo>
                      <a:pt x="21" y="24"/>
                    </a:lnTo>
                    <a:close/>
                    <a:moveTo>
                      <a:pt x="10" y="41"/>
                    </a:moveTo>
                    <a:lnTo>
                      <a:pt x="10" y="43"/>
                    </a:lnTo>
                    <a:lnTo>
                      <a:pt x="10" y="41"/>
                    </a:lnTo>
                    <a:close/>
                    <a:moveTo>
                      <a:pt x="89" y="62"/>
                    </a:moveTo>
                    <a:lnTo>
                      <a:pt x="90" y="62"/>
                    </a:lnTo>
                    <a:lnTo>
                      <a:pt x="89" y="62"/>
                    </a:lnTo>
                    <a:close/>
                    <a:moveTo>
                      <a:pt x="106" y="43"/>
                    </a:moveTo>
                    <a:lnTo>
                      <a:pt x="107" y="43"/>
                    </a:lnTo>
                    <a:lnTo>
                      <a:pt x="106" y="43"/>
                    </a:lnTo>
                    <a:close/>
                    <a:moveTo>
                      <a:pt x="29" y="29"/>
                    </a:moveTo>
                    <a:lnTo>
                      <a:pt x="29" y="31"/>
                    </a:lnTo>
                    <a:lnTo>
                      <a:pt x="29" y="29"/>
                    </a:lnTo>
                    <a:close/>
                    <a:moveTo>
                      <a:pt x="78" y="62"/>
                    </a:moveTo>
                    <a:lnTo>
                      <a:pt x="80" y="62"/>
                    </a:lnTo>
                    <a:lnTo>
                      <a:pt x="78" y="62"/>
                    </a:lnTo>
                    <a:close/>
                    <a:moveTo>
                      <a:pt x="61" y="68"/>
                    </a:moveTo>
                    <a:lnTo>
                      <a:pt x="61" y="70"/>
                    </a:lnTo>
                    <a:lnTo>
                      <a:pt x="61" y="68"/>
                    </a:lnTo>
                    <a:close/>
                    <a:moveTo>
                      <a:pt x="97" y="51"/>
                    </a:moveTo>
                    <a:lnTo>
                      <a:pt x="99" y="51"/>
                    </a:lnTo>
                    <a:lnTo>
                      <a:pt x="97" y="51"/>
                    </a:lnTo>
                    <a:close/>
                    <a:moveTo>
                      <a:pt x="15" y="29"/>
                    </a:moveTo>
                    <a:lnTo>
                      <a:pt x="17" y="29"/>
                    </a:lnTo>
                    <a:lnTo>
                      <a:pt x="17" y="31"/>
                    </a:lnTo>
                    <a:lnTo>
                      <a:pt x="15" y="31"/>
                    </a:lnTo>
                    <a:lnTo>
                      <a:pt x="15" y="29"/>
                    </a:lnTo>
                    <a:close/>
                    <a:moveTo>
                      <a:pt x="111" y="43"/>
                    </a:moveTo>
                    <a:lnTo>
                      <a:pt x="112" y="43"/>
                    </a:lnTo>
                    <a:lnTo>
                      <a:pt x="111" y="43"/>
                    </a:lnTo>
                    <a:close/>
                    <a:moveTo>
                      <a:pt x="61" y="39"/>
                    </a:moveTo>
                    <a:lnTo>
                      <a:pt x="63" y="39"/>
                    </a:lnTo>
                    <a:lnTo>
                      <a:pt x="61" y="39"/>
                    </a:lnTo>
                    <a:close/>
                    <a:moveTo>
                      <a:pt x="48" y="10"/>
                    </a:moveTo>
                    <a:lnTo>
                      <a:pt x="49" y="10"/>
                    </a:lnTo>
                    <a:lnTo>
                      <a:pt x="49" y="12"/>
                    </a:lnTo>
                    <a:lnTo>
                      <a:pt x="48" y="12"/>
                    </a:lnTo>
                    <a:lnTo>
                      <a:pt x="48" y="10"/>
                    </a:lnTo>
                    <a:close/>
                    <a:moveTo>
                      <a:pt x="38" y="41"/>
                    </a:moveTo>
                    <a:lnTo>
                      <a:pt x="39" y="41"/>
                    </a:lnTo>
                    <a:lnTo>
                      <a:pt x="38" y="41"/>
                    </a:lnTo>
                    <a:close/>
                    <a:moveTo>
                      <a:pt x="56" y="48"/>
                    </a:moveTo>
                    <a:lnTo>
                      <a:pt x="58" y="48"/>
                    </a:lnTo>
                    <a:lnTo>
                      <a:pt x="56" y="48"/>
                    </a:lnTo>
                    <a:close/>
                    <a:moveTo>
                      <a:pt x="51" y="17"/>
                    </a:moveTo>
                    <a:lnTo>
                      <a:pt x="51" y="19"/>
                    </a:lnTo>
                    <a:lnTo>
                      <a:pt x="51" y="17"/>
                    </a:lnTo>
                    <a:close/>
                    <a:moveTo>
                      <a:pt x="41" y="22"/>
                    </a:moveTo>
                    <a:lnTo>
                      <a:pt x="43" y="22"/>
                    </a:lnTo>
                    <a:lnTo>
                      <a:pt x="41" y="22"/>
                    </a:lnTo>
                    <a:close/>
                    <a:moveTo>
                      <a:pt x="56" y="21"/>
                    </a:moveTo>
                    <a:lnTo>
                      <a:pt x="58" y="21"/>
                    </a:lnTo>
                    <a:lnTo>
                      <a:pt x="56" y="21"/>
                    </a:lnTo>
                    <a:close/>
                    <a:moveTo>
                      <a:pt x="49" y="19"/>
                    </a:moveTo>
                    <a:lnTo>
                      <a:pt x="49" y="21"/>
                    </a:lnTo>
                    <a:lnTo>
                      <a:pt x="49" y="19"/>
                    </a:lnTo>
                    <a:close/>
                    <a:moveTo>
                      <a:pt x="9" y="41"/>
                    </a:moveTo>
                    <a:lnTo>
                      <a:pt x="9" y="43"/>
                    </a:lnTo>
                    <a:lnTo>
                      <a:pt x="9" y="41"/>
                    </a:lnTo>
                    <a:close/>
                    <a:moveTo>
                      <a:pt x="14" y="63"/>
                    </a:moveTo>
                    <a:lnTo>
                      <a:pt x="15" y="63"/>
                    </a:lnTo>
                    <a:lnTo>
                      <a:pt x="14" y="63"/>
                    </a:lnTo>
                    <a:close/>
                    <a:moveTo>
                      <a:pt x="12" y="55"/>
                    </a:moveTo>
                    <a:lnTo>
                      <a:pt x="14" y="55"/>
                    </a:lnTo>
                    <a:lnTo>
                      <a:pt x="12" y="55"/>
                    </a:lnTo>
                    <a:close/>
                    <a:moveTo>
                      <a:pt x="58" y="51"/>
                    </a:moveTo>
                    <a:lnTo>
                      <a:pt x="58" y="53"/>
                    </a:lnTo>
                    <a:lnTo>
                      <a:pt x="58" y="51"/>
                    </a:lnTo>
                    <a:close/>
                    <a:moveTo>
                      <a:pt x="82" y="79"/>
                    </a:moveTo>
                    <a:lnTo>
                      <a:pt x="83" y="79"/>
                    </a:lnTo>
                    <a:lnTo>
                      <a:pt x="82" y="79"/>
                    </a:lnTo>
                    <a:close/>
                    <a:moveTo>
                      <a:pt x="29" y="67"/>
                    </a:moveTo>
                    <a:lnTo>
                      <a:pt x="31" y="67"/>
                    </a:lnTo>
                    <a:lnTo>
                      <a:pt x="29" y="67"/>
                    </a:lnTo>
                    <a:close/>
                    <a:moveTo>
                      <a:pt x="29" y="17"/>
                    </a:moveTo>
                    <a:lnTo>
                      <a:pt x="31" y="17"/>
                    </a:lnTo>
                    <a:lnTo>
                      <a:pt x="29" y="17"/>
                    </a:lnTo>
                    <a:close/>
                    <a:moveTo>
                      <a:pt x="4" y="34"/>
                    </a:moveTo>
                    <a:lnTo>
                      <a:pt x="4" y="36"/>
                    </a:lnTo>
                    <a:lnTo>
                      <a:pt x="4" y="34"/>
                    </a:lnTo>
                    <a:close/>
                    <a:moveTo>
                      <a:pt x="7" y="43"/>
                    </a:moveTo>
                    <a:lnTo>
                      <a:pt x="9" y="43"/>
                    </a:lnTo>
                    <a:lnTo>
                      <a:pt x="7" y="43"/>
                    </a:lnTo>
                    <a:close/>
                    <a:moveTo>
                      <a:pt x="90" y="51"/>
                    </a:moveTo>
                    <a:lnTo>
                      <a:pt x="92" y="51"/>
                    </a:lnTo>
                    <a:lnTo>
                      <a:pt x="90" y="51"/>
                    </a:lnTo>
                    <a:close/>
                    <a:moveTo>
                      <a:pt x="51" y="55"/>
                    </a:moveTo>
                    <a:lnTo>
                      <a:pt x="51" y="56"/>
                    </a:lnTo>
                    <a:lnTo>
                      <a:pt x="51" y="55"/>
                    </a:lnTo>
                    <a:close/>
                    <a:moveTo>
                      <a:pt x="22" y="63"/>
                    </a:moveTo>
                    <a:lnTo>
                      <a:pt x="22" y="65"/>
                    </a:lnTo>
                    <a:lnTo>
                      <a:pt x="22" y="63"/>
                    </a:lnTo>
                    <a:close/>
                    <a:moveTo>
                      <a:pt x="53" y="21"/>
                    </a:moveTo>
                    <a:lnTo>
                      <a:pt x="55" y="21"/>
                    </a:lnTo>
                    <a:lnTo>
                      <a:pt x="53" y="21"/>
                    </a:lnTo>
                    <a:close/>
                    <a:moveTo>
                      <a:pt x="87" y="51"/>
                    </a:moveTo>
                    <a:lnTo>
                      <a:pt x="89" y="51"/>
                    </a:lnTo>
                    <a:lnTo>
                      <a:pt x="87" y="51"/>
                    </a:lnTo>
                    <a:close/>
                    <a:moveTo>
                      <a:pt x="53" y="45"/>
                    </a:moveTo>
                    <a:lnTo>
                      <a:pt x="55" y="45"/>
                    </a:lnTo>
                    <a:lnTo>
                      <a:pt x="55" y="46"/>
                    </a:lnTo>
                    <a:lnTo>
                      <a:pt x="53" y="46"/>
                    </a:lnTo>
                    <a:lnTo>
                      <a:pt x="53" y="45"/>
                    </a:lnTo>
                    <a:close/>
                    <a:moveTo>
                      <a:pt x="87" y="48"/>
                    </a:moveTo>
                    <a:lnTo>
                      <a:pt x="87" y="50"/>
                    </a:lnTo>
                    <a:lnTo>
                      <a:pt x="87" y="4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6" name="Freeform 31">
                <a:extLst>
                  <a:ext uri="{FF2B5EF4-FFF2-40B4-BE49-F238E27FC236}">
                    <a16:creationId xmlns:a16="http://schemas.microsoft.com/office/drawing/2014/main" id="{24F8747F-DACF-ADF6-8DC0-67FCE93DA038}"/>
                  </a:ext>
                </a:extLst>
              </p:cNvPr>
              <p:cNvSpPr>
                <a:spLocks noEditPoints="1"/>
              </p:cNvSpPr>
              <p:nvPr/>
            </p:nvSpPr>
            <p:spPr bwMode="auto">
              <a:xfrm>
                <a:off x="5837483" y="2889558"/>
                <a:ext cx="28784" cy="36422"/>
              </a:xfrm>
              <a:custGeom>
                <a:avLst/>
                <a:gdLst>
                  <a:gd name="T0" fmla="*/ 95 w 98"/>
                  <a:gd name="T1" fmla="*/ 59 h 124"/>
                  <a:gd name="T2" fmla="*/ 90 w 98"/>
                  <a:gd name="T3" fmla="*/ 66 h 124"/>
                  <a:gd name="T4" fmla="*/ 86 w 98"/>
                  <a:gd name="T5" fmla="*/ 73 h 124"/>
                  <a:gd name="T6" fmla="*/ 83 w 98"/>
                  <a:gd name="T7" fmla="*/ 78 h 124"/>
                  <a:gd name="T8" fmla="*/ 80 w 98"/>
                  <a:gd name="T9" fmla="*/ 83 h 124"/>
                  <a:gd name="T10" fmla="*/ 76 w 98"/>
                  <a:gd name="T11" fmla="*/ 88 h 124"/>
                  <a:gd name="T12" fmla="*/ 73 w 98"/>
                  <a:gd name="T13" fmla="*/ 93 h 124"/>
                  <a:gd name="T14" fmla="*/ 71 w 98"/>
                  <a:gd name="T15" fmla="*/ 100 h 124"/>
                  <a:gd name="T16" fmla="*/ 68 w 98"/>
                  <a:gd name="T17" fmla="*/ 105 h 124"/>
                  <a:gd name="T18" fmla="*/ 66 w 98"/>
                  <a:gd name="T19" fmla="*/ 112 h 124"/>
                  <a:gd name="T20" fmla="*/ 64 w 98"/>
                  <a:gd name="T21" fmla="*/ 115 h 124"/>
                  <a:gd name="T22" fmla="*/ 57 w 98"/>
                  <a:gd name="T23" fmla="*/ 119 h 124"/>
                  <a:gd name="T24" fmla="*/ 52 w 98"/>
                  <a:gd name="T25" fmla="*/ 122 h 124"/>
                  <a:gd name="T26" fmla="*/ 47 w 98"/>
                  <a:gd name="T27" fmla="*/ 120 h 124"/>
                  <a:gd name="T28" fmla="*/ 42 w 98"/>
                  <a:gd name="T29" fmla="*/ 117 h 124"/>
                  <a:gd name="T30" fmla="*/ 34 w 98"/>
                  <a:gd name="T31" fmla="*/ 119 h 124"/>
                  <a:gd name="T32" fmla="*/ 27 w 98"/>
                  <a:gd name="T33" fmla="*/ 117 h 124"/>
                  <a:gd name="T34" fmla="*/ 25 w 98"/>
                  <a:gd name="T35" fmla="*/ 117 h 124"/>
                  <a:gd name="T36" fmla="*/ 20 w 98"/>
                  <a:gd name="T37" fmla="*/ 117 h 124"/>
                  <a:gd name="T38" fmla="*/ 15 w 98"/>
                  <a:gd name="T39" fmla="*/ 120 h 124"/>
                  <a:gd name="T40" fmla="*/ 12 w 98"/>
                  <a:gd name="T41" fmla="*/ 122 h 124"/>
                  <a:gd name="T42" fmla="*/ 5 w 98"/>
                  <a:gd name="T43" fmla="*/ 120 h 124"/>
                  <a:gd name="T44" fmla="*/ 0 w 98"/>
                  <a:gd name="T45" fmla="*/ 117 h 124"/>
                  <a:gd name="T46" fmla="*/ 3 w 98"/>
                  <a:gd name="T47" fmla="*/ 114 h 124"/>
                  <a:gd name="T48" fmla="*/ 6 w 98"/>
                  <a:gd name="T49" fmla="*/ 109 h 124"/>
                  <a:gd name="T50" fmla="*/ 10 w 98"/>
                  <a:gd name="T51" fmla="*/ 103 h 124"/>
                  <a:gd name="T52" fmla="*/ 12 w 98"/>
                  <a:gd name="T53" fmla="*/ 97 h 124"/>
                  <a:gd name="T54" fmla="*/ 12 w 98"/>
                  <a:gd name="T55" fmla="*/ 93 h 124"/>
                  <a:gd name="T56" fmla="*/ 12 w 98"/>
                  <a:gd name="T57" fmla="*/ 88 h 124"/>
                  <a:gd name="T58" fmla="*/ 15 w 98"/>
                  <a:gd name="T59" fmla="*/ 83 h 124"/>
                  <a:gd name="T60" fmla="*/ 18 w 98"/>
                  <a:gd name="T61" fmla="*/ 78 h 124"/>
                  <a:gd name="T62" fmla="*/ 17 w 98"/>
                  <a:gd name="T63" fmla="*/ 71 h 124"/>
                  <a:gd name="T64" fmla="*/ 15 w 98"/>
                  <a:gd name="T65" fmla="*/ 68 h 124"/>
                  <a:gd name="T66" fmla="*/ 10 w 98"/>
                  <a:gd name="T67" fmla="*/ 64 h 124"/>
                  <a:gd name="T68" fmla="*/ 6 w 98"/>
                  <a:gd name="T69" fmla="*/ 59 h 124"/>
                  <a:gd name="T70" fmla="*/ 6 w 98"/>
                  <a:gd name="T71" fmla="*/ 54 h 124"/>
                  <a:gd name="T72" fmla="*/ 5 w 98"/>
                  <a:gd name="T73" fmla="*/ 47 h 124"/>
                  <a:gd name="T74" fmla="*/ 3 w 98"/>
                  <a:gd name="T75" fmla="*/ 41 h 124"/>
                  <a:gd name="T76" fmla="*/ 3 w 98"/>
                  <a:gd name="T77" fmla="*/ 35 h 124"/>
                  <a:gd name="T78" fmla="*/ 3 w 98"/>
                  <a:gd name="T79" fmla="*/ 29 h 124"/>
                  <a:gd name="T80" fmla="*/ 6 w 98"/>
                  <a:gd name="T81" fmla="*/ 22 h 124"/>
                  <a:gd name="T82" fmla="*/ 10 w 98"/>
                  <a:gd name="T83" fmla="*/ 15 h 124"/>
                  <a:gd name="T84" fmla="*/ 15 w 98"/>
                  <a:gd name="T85" fmla="*/ 10 h 124"/>
                  <a:gd name="T86" fmla="*/ 18 w 98"/>
                  <a:gd name="T87" fmla="*/ 5 h 124"/>
                  <a:gd name="T88" fmla="*/ 22 w 98"/>
                  <a:gd name="T89" fmla="*/ 1 h 124"/>
                  <a:gd name="T90" fmla="*/ 29 w 98"/>
                  <a:gd name="T91" fmla="*/ 3 h 124"/>
                  <a:gd name="T92" fmla="*/ 34 w 98"/>
                  <a:gd name="T93" fmla="*/ 6 h 124"/>
                  <a:gd name="T94" fmla="*/ 40 w 98"/>
                  <a:gd name="T95" fmla="*/ 8 h 124"/>
                  <a:gd name="T96" fmla="*/ 44 w 98"/>
                  <a:gd name="T97" fmla="*/ 6 h 124"/>
                  <a:gd name="T98" fmla="*/ 51 w 98"/>
                  <a:gd name="T99" fmla="*/ 10 h 124"/>
                  <a:gd name="T100" fmla="*/ 56 w 98"/>
                  <a:gd name="T101" fmla="*/ 12 h 124"/>
                  <a:gd name="T102" fmla="*/ 59 w 98"/>
                  <a:gd name="T103" fmla="*/ 17 h 124"/>
                  <a:gd name="T104" fmla="*/ 66 w 98"/>
                  <a:gd name="T105" fmla="*/ 22 h 124"/>
                  <a:gd name="T106" fmla="*/ 71 w 98"/>
                  <a:gd name="T107" fmla="*/ 27 h 124"/>
                  <a:gd name="T108" fmla="*/ 74 w 98"/>
                  <a:gd name="T109" fmla="*/ 29 h 124"/>
                  <a:gd name="T110" fmla="*/ 76 w 98"/>
                  <a:gd name="T111" fmla="*/ 29 h 124"/>
                  <a:gd name="T112" fmla="*/ 80 w 98"/>
                  <a:gd name="T113" fmla="*/ 30 h 124"/>
                  <a:gd name="T114" fmla="*/ 85 w 98"/>
                  <a:gd name="T115" fmla="*/ 35 h 124"/>
                  <a:gd name="T116" fmla="*/ 88 w 98"/>
                  <a:gd name="T117" fmla="*/ 37 h 124"/>
                  <a:gd name="T118" fmla="*/ 93 w 98"/>
                  <a:gd name="T119" fmla="*/ 41 h 124"/>
                  <a:gd name="T120" fmla="*/ 95 w 98"/>
                  <a:gd name="T121" fmla="*/ 47 h 124"/>
                  <a:gd name="T122" fmla="*/ 97 w 98"/>
                  <a:gd name="T123" fmla="*/ 51 h 124"/>
                  <a:gd name="T124" fmla="*/ 22 w 98"/>
                  <a:gd name="T125"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8" h="124">
                    <a:moveTo>
                      <a:pt x="98" y="56"/>
                    </a:moveTo>
                    <a:lnTo>
                      <a:pt x="98" y="58"/>
                    </a:lnTo>
                    <a:lnTo>
                      <a:pt x="97" y="58"/>
                    </a:lnTo>
                    <a:lnTo>
                      <a:pt x="97" y="59"/>
                    </a:lnTo>
                    <a:lnTo>
                      <a:pt x="95" y="59"/>
                    </a:lnTo>
                    <a:lnTo>
                      <a:pt x="93" y="61"/>
                    </a:lnTo>
                    <a:lnTo>
                      <a:pt x="93" y="63"/>
                    </a:lnTo>
                    <a:lnTo>
                      <a:pt x="93" y="64"/>
                    </a:lnTo>
                    <a:lnTo>
                      <a:pt x="91" y="64"/>
                    </a:lnTo>
                    <a:lnTo>
                      <a:pt x="90" y="66"/>
                    </a:lnTo>
                    <a:lnTo>
                      <a:pt x="88" y="68"/>
                    </a:lnTo>
                    <a:lnTo>
                      <a:pt x="88" y="69"/>
                    </a:lnTo>
                    <a:lnTo>
                      <a:pt x="86" y="69"/>
                    </a:lnTo>
                    <a:lnTo>
                      <a:pt x="86" y="71"/>
                    </a:lnTo>
                    <a:lnTo>
                      <a:pt x="86" y="73"/>
                    </a:lnTo>
                    <a:lnTo>
                      <a:pt x="85" y="73"/>
                    </a:lnTo>
                    <a:lnTo>
                      <a:pt x="85" y="75"/>
                    </a:lnTo>
                    <a:lnTo>
                      <a:pt x="85" y="76"/>
                    </a:lnTo>
                    <a:lnTo>
                      <a:pt x="83" y="76"/>
                    </a:lnTo>
                    <a:lnTo>
                      <a:pt x="83" y="78"/>
                    </a:lnTo>
                    <a:lnTo>
                      <a:pt x="81" y="78"/>
                    </a:lnTo>
                    <a:lnTo>
                      <a:pt x="81" y="80"/>
                    </a:lnTo>
                    <a:lnTo>
                      <a:pt x="81" y="81"/>
                    </a:lnTo>
                    <a:lnTo>
                      <a:pt x="80" y="81"/>
                    </a:lnTo>
                    <a:lnTo>
                      <a:pt x="80" y="83"/>
                    </a:lnTo>
                    <a:lnTo>
                      <a:pt x="80" y="85"/>
                    </a:lnTo>
                    <a:lnTo>
                      <a:pt x="78" y="85"/>
                    </a:lnTo>
                    <a:lnTo>
                      <a:pt x="76" y="85"/>
                    </a:lnTo>
                    <a:lnTo>
                      <a:pt x="76" y="86"/>
                    </a:lnTo>
                    <a:lnTo>
                      <a:pt x="76" y="88"/>
                    </a:lnTo>
                    <a:lnTo>
                      <a:pt x="74" y="88"/>
                    </a:lnTo>
                    <a:lnTo>
                      <a:pt x="74" y="90"/>
                    </a:lnTo>
                    <a:lnTo>
                      <a:pt x="74" y="92"/>
                    </a:lnTo>
                    <a:lnTo>
                      <a:pt x="74" y="93"/>
                    </a:lnTo>
                    <a:lnTo>
                      <a:pt x="73" y="93"/>
                    </a:lnTo>
                    <a:lnTo>
                      <a:pt x="73" y="95"/>
                    </a:lnTo>
                    <a:lnTo>
                      <a:pt x="73" y="97"/>
                    </a:lnTo>
                    <a:lnTo>
                      <a:pt x="71" y="97"/>
                    </a:lnTo>
                    <a:lnTo>
                      <a:pt x="71" y="98"/>
                    </a:lnTo>
                    <a:lnTo>
                      <a:pt x="71" y="100"/>
                    </a:lnTo>
                    <a:lnTo>
                      <a:pt x="69" y="100"/>
                    </a:lnTo>
                    <a:lnTo>
                      <a:pt x="69" y="102"/>
                    </a:lnTo>
                    <a:lnTo>
                      <a:pt x="69" y="103"/>
                    </a:lnTo>
                    <a:lnTo>
                      <a:pt x="68" y="103"/>
                    </a:lnTo>
                    <a:lnTo>
                      <a:pt x="68" y="105"/>
                    </a:lnTo>
                    <a:lnTo>
                      <a:pt x="68" y="107"/>
                    </a:lnTo>
                    <a:lnTo>
                      <a:pt x="68" y="109"/>
                    </a:lnTo>
                    <a:lnTo>
                      <a:pt x="68" y="110"/>
                    </a:lnTo>
                    <a:lnTo>
                      <a:pt x="66" y="110"/>
                    </a:lnTo>
                    <a:lnTo>
                      <a:pt x="66" y="112"/>
                    </a:lnTo>
                    <a:lnTo>
                      <a:pt x="64" y="112"/>
                    </a:lnTo>
                    <a:lnTo>
                      <a:pt x="66" y="112"/>
                    </a:lnTo>
                    <a:lnTo>
                      <a:pt x="64" y="112"/>
                    </a:lnTo>
                    <a:lnTo>
                      <a:pt x="64" y="114"/>
                    </a:lnTo>
                    <a:lnTo>
                      <a:pt x="64" y="115"/>
                    </a:lnTo>
                    <a:lnTo>
                      <a:pt x="63" y="115"/>
                    </a:lnTo>
                    <a:lnTo>
                      <a:pt x="61" y="115"/>
                    </a:lnTo>
                    <a:lnTo>
                      <a:pt x="59" y="117"/>
                    </a:lnTo>
                    <a:lnTo>
                      <a:pt x="57" y="117"/>
                    </a:lnTo>
                    <a:lnTo>
                      <a:pt x="57" y="119"/>
                    </a:lnTo>
                    <a:lnTo>
                      <a:pt x="56" y="119"/>
                    </a:lnTo>
                    <a:lnTo>
                      <a:pt x="56" y="120"/>
                    </a:lnTo>
                    <a:lnTo>
                      <a:pt x="54" y="120"/>
                    </a:lnTo>
                    <a:lnTo>
                      <a:pt x="54" y="122"/>
                    </a:lnTo>
                    <a:lnTo>
                      <a:pt x="52" y="122"/>
                    </a:lnTo>
                    <a:lnTo>
                      <a:pt x="52" y="120"/>
                    </a:lnTo>
                    <a:lnTo>
                      <a:pt x="51" y="120"/>
                    </a:lnTo>
                    <a:lnTo>
                      <a:pt x="49" y="120"/>
                    </a:lnTo>
                    <a:lnTo>
                      <a:pt x="49" y="119"/>
                    </a:lnTo>
                    <a:lnTo>
                      <a:pt x="47" y="120"/>
                    </a:lnTo>
                    <a:lnTo>
                      <a:pt x="46" y="120"/>
                    </a:lnTo>
                    <a:lnTo>
                      <a:pt x="44" y="120"/>
                    </a:lnTo>
                    <a:lnTo>
                      <a:pt x="44" y="119"/>
                    </a:lnTo>
                    <a:lnTo>
                      <a:pt x="44" y="117"/>
                    </a:lnTo>
                    <a:lnTo>
                      <a:pt x="42" y="117"/>
                    </a:lnTo>
                    <a:lnTo>
                      <a:pt x="40" y="117"/>
                    </a:lnTo>
                    <a:lnTo>
                      <a:pt x="39" y="117"/>
                    </a:lnTo>
                    <a:lnTo>
                      <a:pt x="37" y="117"/>
                    </a:lnTo>
                    <a:lnTo>
                      <a:pt x="35" y="119"/>
                    </a:lnTo>
                    <a:lnTo>
                      <a:pt x="34" y="119"/>
                    </a:lnTo>
                    <a:lnTo>
                      <a:pt x="32" y="119"/>
                    </a:lnTo>
                    <a:lnTo>
                      <a:pt x="32" y="117"/>
                    </a:lnTo>
                    <a:lnTo>
                      <a:pt x="30" y="117"/>
                    </a:lnTo>
                    <a:lnTo>
                      <a:pt x="29" y="117"/>
                    </a:lnTo>
                    <a:lnTo>
                      <a:pt x="27" y="117"/>
                    </a:lnTo>
                    <a:lnTo>
                      <a:pt x="27" y="115"/>
                    </a:lnTo>
                    <a:lnTo>
                      <a:pt x="25" y="115"/>
                    </a:lnTo>
                    <a:lnTo>
                      <a:pt x="23" y="115"/>
                    </a:lnTo>
                    <a:lnTo>
                      <a:pt x="23" y="117"/>
                    </a:lnTo>
                    <a:lnTo>
                      <a:pt x="25" y="117"/>
                    </a:lnTo>
                    <a:lnTo>
                      <a:pt x="23" y="117"/>
                    </a:lnTo>
                    <a:lnTo>
                      <a:pt x="22" y="117"/>
                    </a:lnTo>
                    <a:lnTo>
                      <a:pt x="22" y="119"/>
                    </a:lnTo>
                    <a:lnTo>
                      <a:pt x="20" y="119"/>
                    </a:lnTo>
                    <a:lnTo>
                      <a:pt x="20" y="117"/>
                    </a:lnTo>
                    <a:lnTo>
                      <a:pt x="20" y="119"/>
                    </a:lnTo>
                    <a:lnTo>
                      <a:pt x="20" y="120"/>
                    </a:lnTo>
                    <a:lnTo>
                      <a:pt x="18" y="120"/>
                    </a:lnTo>
                    <a:lnTo>
                      <a:pt x="17" y="120"/>
                    </a:lnTo>
                    <a:lnTo>
                      <a:pt x="15" y="120"/>
                    </a:lnTo>
                    <a:lnTo>
                      <a:pt x="15" y="122"/>
                    </a:lnTo>
                    <a:lnTo>
                      <a:pt x="15" y="124"/>
                    </a:lnTo>
                    <a:lnTo>
                      <a:pt x="13" y="124"/>
                    </a:lnTo>
                    <a:lnTo>
                      <a:pt x="13" y="122"/>
                    </a:lnTo>
                    <a:lnTo>
                      <a:pt x="12" y="122"/>
                    </a:lnTo>
                    <a:lnTo>
                      <a:pt x="10" y="122"/>
                    </a:lnTo>
                    <a:lnTo>
                      <a:pt x="8" y="122"/>
                    </a:lnTo>
                    <a:lnTo>
                      <a:pt x="6" y="122"/>
                    </a:lnTo>
                    <a:lnTo>
                      <a:pt x="6" y="120"/>
                    </a:lnTo>
                    <a:lnTo>
                      <a:pt x="5" y="120"/>
                    </a:lnTo>
                    <a:lnTo>
                      <a:pt x="3" y="120"/>
                    </a:lnTo>
                    <a:lnTo>
                      <a:pt x="1" y="119"/>
                    </a:lnTo>
                    <a:lnTo>
                      <a:pt x="0" y="119"/>
                    </a:lnTo>
                    <a:lnTo>
                      <a:pt x="1" y="117"/>
                    </a:lnTo>
                    <a:lnTo>
                      <a:pt x="0" y="117"/>
                    </a:lnTo>
                    <a:lnTo>
                      <a:pt x="1" y="115"/>
                    </a:lnTo>
                    <a:lnTo>
                      <a:pt x="1" y="117"/>
                    </a:lnTo>
                    <a:lnTo>
                      <a:pt x="1" y="115"/>
                    </a:lnTo>
                    <a:lnTo>
                      <a:pt x="1" y="114"/>
                    </a:lnTo>
                    <a:lnTo>
                      <a:pt x="3" y="114"/>
                    </a:lnTo>
                    <a:lnTo>
                      <a:pt x="3" y="112"/>
                    </a:lnTo>
                    <a:lnTo>
                      <a:pt x="5" y="112"/>
                    </a:lnTo>
                    <a:lnTo>
                      <a:pt x="5" y="110"/>
                    </a:lnTo>
                    <a:lnTo>
                      <a:pt x="6" y="110"/>
                    </a:lnTo>
                    <a:lnTo>
                      <a:pt x="6" y="109"/>
                    </a:lnTo>
                    <a:lnTo>
                      <a:pt x="6" y="107"/>
                    </a:lnTo>
                    <a:lnTo>
                      <a:pt x="8" y="107"/>
                    </a:lnTo>
                    <a:lnTo>
                      <a:pt x="8" y="105"/>
                    </a:lnTo>
                    <a:lnTo>
                      <a:pt x="8" y="103"/>
                    </a:lnTo>
                    <a:lnTo>
                      <a:pt x="10" y="103"/>
                    </a:lnTo>
                    <a:lnTo>
                      <a:pt x="10" y="102"/>
                    </a:lnTo>
                    <a:lnTo>
                      <a:pt x="12" y="102"/>
                    </a:lnTo>
                    <a:lnTo>
                      <a:pt x="12" y="100"/>
                    </a:lnTo>
                    <a:lnTo>
                      <a:pt x="12" y="98"/>
                    </a:lnTo>
                    <a:lnTo>
                      <a:pt x="12" y="97"/>
                    </a:lnTo>
                    <a:lnTo>
                      <a:pt x="12" y="95"/>
                    </a:lnTo>
                    <a:lnTo>
                      <a:pt x="13" y="95"/>
                    </a:lnTo>
                    <a:lnTo>
                      <a:pt x="12" y="93"/>
                    </a:lnTo>
                    <a:lnTo>
                      <a:pt x="13" y="93"/>
                    </a:lnTo>
                    <a:lnTo>
                      <a:pt x="12" y="93"/>
                    </a:lnTo>
                    <a:lnTo>
                      <a:pt x="12" y="92"/>
                    </a:lnTo>
                    <a:lnTo>
                      <a:pt x="12" y="90"/>
                    </a:lnTo>
                    <a:lnTo>
                      <a:pt x="12" y="88"/>
                    </a:lnTo>
                    <a:lnTo>
                      <a:pt x="12" y="90"/>
                    </a:lnTo>
                    <a:lnTo>
                      <a:pt x="12" y="88"/>
                    </a:lnTo>
                    <a:lnTo>
                      <a:pt x="12" y="86"/>
                    </a:lnTo>
                    <a:lnTo>
                      <a:pt x="13" y="86"/>
                    </a:lnTo>
                    <a:lnTo>
                      <a:pt x="13" y="85"/>
                    </a:lnTo>
                    <a:lnTo>
                      <a:pt x="13" y="83"/>
                    </a:lnTo>
                    <a:lnTo>
                      <a:pt x="15" y="83"/>
                    </a:lnTo>
                    <a:lnTo>
                      <a:pt x="17" y="83"/>
                    </a:lnTo>
                    <a:lnTo>
                      <a:pt x="17" y="81"/>
                    </a:lnTo>
                    <a:lnTo>
                      <a:pt x="17" y="80"/>
                    </a:lnTo>
                    <a:lnTo>
                      <a:pt x="18" y="80"/>
                    </a:lnTo>
                    <a:lnTo>
                      <a:pt x="18" y="78"/>
                    </a:lnTo>
                    <a:lnTo>
                      <a:pt x="18" y="76"/>
                    </a:lnTo>
                    <a:lnTo>
                      <a:pt x="18" y="75"/>
                    </a:lnTo>
                    <a:lnTo>
                      <a:pt x="18" y="73"/>
                    </a:lnTo>
                    <a:lnTo>
                      <a:pt x="18" y="71"/>
                    </a:lnTo>
                    <a:lnTo>
                      <a:pt x="17" y="71"/>
                    </a:lnTo>
                    <a:lnTo>
                      <a:pt x="17" y="73"/>
                    </a:lnTo>
                    <a:lnTo>
                      <a:pt x="17" y="71"/>
                    </a:lnTo>
                    <a:lnTo>
                      <a:pt x="15" y="71"/>
                    </a:lnTo>
                    <a:lnTo>
                      <a:pt x="15" y="69"/>
                    </a:lnTo>
                    <a:lnTo>
                      <a:pt x="15" y="68"/>
                    </a:lnTo>
                    <a:lnTo>
                      <a:pt x="15" y="66"/>
                    </a:lnTo>
                    <a:lnTo>
                      <a:pt x="13" y="66"/>
                    </a:lnTo>
                    <a:lnTo>
                      <a:pt x="12" y="66"/>
                    </a:lnTo>
                    <a:lnTo>
                      <a:pt x="12" y="64"/>
                    </a:lnTo>
                    <a:lnTo>
                      <a:pt x="10" y="64"/>
                    </a:lnTo>
                    <a:lnTo>
                      <a:pt x="10" y="63"/>
                    </a:lnTo>
                    <a:lnTo>
                      <a:pt x="8" y="63"/>
                    </a:lnTo>
                    <a:lnTo>
                      <a:pt x="8" y="61"/>
                    </a:lnTo>
                    <a:lnTo>
                      <a:pt x="8" y="59"/>
                    </a:lnTo>
                    <a:lnTo>
                      <a:pt x="6" y="59"/>
                    </a:lnTo>
                    <a:lnTo>
                      <a:pt x="6" y="58"/>
                    </a:lnTo>
                    <a:lnTo>
                      <a:pt x="6" y="56"/>
                    </a:lnTo>
                    <a:lnTo>
                      <a:pt x="8" y="56"/>
                    </a:lnTo>
                    <a:lnTo>
                      <a:pt x="8" y="54"/>
                    </a:lnTo>
                    <a:lnTo>
                      <a:pt x="6" y="54"/>
                    </a:lnTo>
                    <a:lnTo>
                      <a:pt x="5" y="54"/>
                    </a:lnTo>
                    <a:lnTo>
                      <a:pt x="5" y="52"/>
                    </a:lnTo>
                    <a:lnTo>
                      <a:pt x="5" y="51"/>
                    </a:lnTo>
                    <a:lnTo>
                      <a:pt x="5" y="49"/>
                    </a:lnTo>
                    <a:lnTo>
                      <a:pt x="5" y="47"/>
                    </a:lnTo>
                    <a:lnTo>
                      <a:pt x="3" y="47"/>
                    </a:lnTo>
                    <a:lnTo>
                      <a:pt x="3" y="46"/>
                    </a:lnTo>
                    <a:lnTo>
                      <a:pt x="3" y="44"/>
                    </a:lnTo>
                    <a:lnTo>
                      <a:pt x="3" y="42"/>
                    </a:lnTo>
                    <a:lnTo>
                      <a:pt x="3" y="41"/>
                    </a:lnTo>
                    <a:lnTo>
                      <a:pt x="5" y="41"/>
                    </a:lnTo>
                    <a:lnTo>
                      <a:pt x="5" y="39"/>
                    </a:lnTo>
                    <a:lnTo>
                      <a:pt x="3" y="39"/>
                    </a:lnTo>
                    <a:lnTo>
                      <a:pt x="3" y="37"/>
                    </a:lnTo>
                    <a:lnTo>
                      <a:pt x="3" y="35"/>
                    </a:lnTo>
                    <a:lnTo>
                      <a:pt x="3" y="34"/>
                    </a:lnTo>
                    <a:lnTo>
                      <a:pt x="3" y="32"/>
                    </a:lnTo>
                    <a:lnTo>
                      <a:pt x="3" y="30"/>
                    </a:lnTo>
                    <a:lnTo>
                      <a:pt x="1" y="29"/>
                    </a:lnTo>
                    <a:lnTo>
                      <a:pt x="3" y="29"/>
                    </a:lnTo>
                    <a:lnTo>
                      <a:pt x="3" y="27"/>
                    </a:lnTo>
                    <a:lnTo>
                      <a:pt x="3" y="25"/>
                    </a:lnTo>
                    <a:lnTo>
                      <a:pt x="5" y="23"/>
                    </a:lnTo>
                    <a:lnTo>
                      <a:pt x="5" y="22"/>
                    </a:lnTo>
                    <a:lnTo>
                      <a:pt x="6" y="22"/>
                    </a:lnTo>
                    <a:lnTo>
                      <a:pt x="6" y="20"/>
                    </a:lnTo>
                    <a:lnTo>
                      <a:pt x="8" y="18"/>
                    </a:lnTo>
                    <a:lnTo>
                      <a:pt x="8" y="17"/>
                    </a:lnTo>
                    <a:lnTo>
                      <a:pt x="10" y="17"/>
                    </a:lnTo>
                    <a:lnTo>
                      <a:pt x="10" y="15"/>
                    </a:lnTo>
                    <a:lnTo>
                      <a:pt x="12" y="15"/>
                    </a:lnTo>
                    <a:lnTo>
                      <a:pt x="13" y="13"/>
                    </a:lnTo>
                    <a:lnTo>
                      <a:pt x="13" y="12"/>
                    </a:lnTo>
                    <a:lnTo>
                      <a:pt x="15" y="12"/>
                    </a:lnTo>
                    <a:lnTo>
                      <a:pt x="15" y="10"/>
                    </a:lnTo>
                    <a:lnTo>
                      <a:pt x="17" y="10"/>
                    </a:lnTo>
                    <a:lnTo>
                      <a:pt x="17" y="8"/>
                    </a:lnTo>
                    <a:lnTo>
                      <a:pt x="18" y="8"/>
                    </a:lnTo>
                    <a:lnTo>
                      <a:pt x="18" y="6"/>
                    </a:lnTo>
                    <a:lnTo>
                      <a:pt x="18" y="5"/>
                    </a:lnTo>
                    <a:lnTo>
                      <a:pt x="18" y="3"/>
                    </a:lnTo>
                    <a:lnTo>
                      <a:pt x="18" y="1"/>
                    </a:lnTo>
                    <a:lnTo>
                      <a:pt x="20" y="1"/>
                    </a:lnTo>
                    <a:lnTo>
                      <a:pt x="20" y="0"/>
                    </a:lnTo>
                    <a:lnTo>
                      <a:pt x="22" y="1"/>
                    </a:lnTo>
                    <a:lnTo>
                      <a:pt x="23" y="1"/>
                    </a:lnTo>
                    <a:lnTo>
                      <a:pt x="25" y="1"/>
                    </a:lnTo>
                    <a:lnTo>
                      <a:pt x="27" y="1"/>
                    </a:lnTo>
                    <a:lnTo>
                      <a:pt x="27" y="3"/>
                    </a:lnTo>
                    <a:lnTo>
                      <a:pt x="29" y="3"/>
                    </a:lnTo>
                    <a:lnTo>
                      <a:pt x="30" y="3"/>
                    </a:lnTo>
                    <a:lnTo>
                      <a:pt x="30" y="5"/>
                    </a:lnTo>
                    <a:lnTo>
                      <a:pt x="32" y="5"/>
                    </a:lnTo>
                    <a:lnTo>
                      <a:pt x="34" y="5"/>
                    </a:lnTo>
                    <a:lnTo>
                      <a:pt x="34" y="6"/>
                    </a:lnTo>
                    <a:lnTo>
                      <a:pt x="35" y="6"/>
                    </a:lnTo>
                    <a:lnTo>
                      <a:pt x="37" y="6"/>
                    </a:lnTo>
                    <a:lnTo>
                      <a:pt x="39" y="6"/>
                    </a:lnTo>
                    <a:lnTo>
                      <a:pt x="40" y="6"/>
                    </a:lnTo>
                    <a:lnTo>
                      <a:pt x="40" y="8"/>
                    </a:lnTo>
                    <a:lnTo>
                      <a:pt x="42" y="8"/>
                    </a:lnTo>
                    <a:lnTo>
                      <a:pt x="44" y="8"/>
                    </a:lnTo>
                    <a:lnTo>
                      <a:pt x="42" y="8"/>
                    </a:lnTo>
                    <a:lnTo>
                      <a:pt x="42" y="6"/>
                    </a:lnTo>
                    <a:lnTo>
                      <a:pt x="44" y="6"/>
                    </a:lnTo>
                    <a:lnTo>
                      <a:pt x="44" y="8"/>
                    </a:lnTo>
                    <a:lnTo>
                      <a:pt x="46" y="8"/>
                    </a:lnTo>
                    <a:lnTo>
                      <a:pt x="47" y="8"/>
                    </a:lnTo>
                    <a:lnTo>
                      <a:pt x="49" y="10"/>
                    </a:lnTo>
                    <a:lnTo>
                      <a:pt x="51" y="10"/>
                    </a:lnTo>
                    <a:lnTo>
                      <a:pt x="52" y="12"/>
                    </a:lnTo>
                    <a:lnTo>
                      <a:pt x="52" y="10"/>
                    </a:lnTo>
                    <a:lnTo>
                      <a:pt x="54" y="10"/>
                    </a:lnTo>
                    <a:lnTo>
                      <a:pt x="54" y="12"/>
                    </a:lnTo>
                    <a:lnTo>
                      <a:pt x="56" y="12"/>
                    </a:lnTo>
                    <a:lnTo>
                      <a:pt x="56" y="13"/>
                    </a:lnTo>
                    <a:lnTo>
                      <a:pt x="57" y="13"/>
                    </a:lnTo>
                    <a:lnTo>
                      <a:pt x="57" y="15"/>
                    </a:lnTo>
                    <a:lnTo>
                      <a:pt x="59" y="15"/>
                    </a:lnTo>
                    <a:lnTo>
                      <a:pt x="59" y="17"/>
                    </a:lnTo>
                    <a:lnTo>
                      <a:pt x="61" y="17"/>
                    </a:lnTo>
                    <a:lnTo>
                      <a:pt x="61" y="18"/>
                    </a:lnTo>
                    <a:lnTo>
                      <a:pt x="63" y="18"/>
                    </a:lnTo>
                    <a:lnTo>
                      <a:pt x="64" y="20"/>
                    </a:lnTo>
                    <a:lnTo>
                      <a:pt x="66" y="22"/>
                    </a:lnTo>
                    <a:lnTo>
                      <a:pt x="68" y="23"/>
                    </a:lnTo>
                    <a:lnTo>
                      <a:pt x="69" y="23"/>
                    </a:lnTo>
                    <a:lnTo>
                      <a:pt x="69" y="25"/>
                    </a:lnTo>
                    <a:lnTo>
                      <a:pt x="71" y="25"/>
                    </a:lnTo>
                    <a:lnTo>
                      <a:pt x="71" y="27"/>
                    </a:lnTo>
                    <a:lnTo>
                      <a:pt x="73" y="27"/>
                    </a:lnTo>
                    <a:lnTo>
                      <a:pt x="73" y="29"/>
                    </a:lnTo>
                    <a:lnTo>
                      <a:pt x="74" y="29"/>
                    </a:lnTo>
                    <a:lnTo>
                      <a:pt x="73" y="29"/>
                    </a:lnTo>
                    <a:lnTo>
                      <a:pt x="74" y="29"/>
                    </a:lnTo>
                    <a:lnTo>
                      <a:pt x="74" y="27"/>
                    </a:lnTo>
                    <a:lnTo>
                      <a:pt x="76" y="27"/>
                    </a:lnTo>
                    <a:lnTo>
                      <a:pt x="76" y="29"/>
                    </a:lnTo>
                    <a:lnTo>
                      <a:pt x="78" y="29"/>
                    </a:lnTo>
                    <a:lnTo>
                      <a:pt x="76" y="29"/>
                    </a:lnTo>
                    <a:lnTo>
                      <a:pt x="78" y="30"/>
                    </a:lnTo>
                    <a:lnTo>
                      <a:pt x="76" y="30"/>
                    </a:lnTo>
                    <a:lnTo>
                      <a:pt x="78" y="32"/>
                    </a:lnTo>
                    <a:lnTo>
                      <a:pt x="78" y="30"/>
                    </a:lnTo>
                    <a:lnTo>
                      <a:pt x="80" y="30"/>
                    </a:lnTo>
                    <a:lnTo>
                      <a:pt x="80" y="32"/>
                    </a:lnTo>
                    <a:lnTo>
                      <a:pt x="81" y="32"/>
                    </a:lnTo>
                    <a:lnTo>
                      <a:pt x="81" y="34"/>
                    </a:lnTo>
                    <a:lnTo>
                      <a:pt x="83" y="34"/>
                    </a:lnTo>
                    <a:lnTo>
                      <a:pt x="85" y="35"/>
                    </a:lnTo>
                    <a:lnTo>
                      <a:pt x="86" y="35"/>
                    </a:lnTo>
                    <a:lnTo>
                      <a:pt x="86" y="37"/>
                    </a:lnTo>
                    <a:lnTo>
                      <a:pt x="86" y="39"/>
                    </a:lnTo>
                    <a:lnTo>
                      <a:pt x="88" y="39"/>
                    </a:lnTo>
                    <a:lnTo>
                      <a:pt x="88" y="37"/>
                    </a:lnTo>
                    <a:lnTo>
                      <a:pt x="90" y="37"/>
                    </a:lnTo>
                    <a:lnTo>
                      <a:pt x="91" y="37"/>
                    </a:lnTo>
                    <a:lnTo>
                      <a:pt x="91" y="39"/>
                    </a:lnTo>
                    <a:lnTo>
                      <a:pt x="93" y="39"/>
                    </a:lnTo>
                    <a:lnTo>
                      <a:pt x="93" y="41"/>
                    </a:lnTo>
                    <a:lnTo>
                      <a:pt x="93" y="42"/>
                    </a:lnTo>
                    <a:lnTo>
                      <a:pt x="93" y="44"/>
                    </a:lnTo>
                    <a:lnTo>
                      <a:pt x="95" y="44"/>
                    </a:lnTo>
                    <a:lnTo>
                      <a:pt x="95" y="46"/>
                    </a:lnTo>
                    <a:lnTo>
                      <a:pt x="95" y="47"/>
                    </a:lnTo>
                    <a:lnTo>
                      <a:pt x="97" y="46"/>
                    </a:lnTo>
                    <a:lnTo>
                      <a:pt x="95" y="47"/>
                    </a:lnTo>
                    <a:lnTo>
                      <a:pt x="95" y="49"/>
                    </a:lnTo>
                    <a:lnTo>
                      <a:pt x="97" y="49"/>
                    </a:lnTo>
                    <a:lnTo>
                      <a:pt x="97" y="51"/>
                    </a:lnTo>
                    <a:lnTo>
                      <a:pt x="97" y="52"/>
                    </a:lnTo>
                    <a:lnTo>
                      <a:pt x="98" y="52"/>
                    </a:lnTo>
                    <a:lnTo>
                      <a:pt x="98" y="54"/>
                    </a:lnTo>
                    <a:lnTo>
                      <a:pt x="98" y="56"/>
                    </a:lnTo>
                    <a:close/>
                    <a:moveTo>
                      <a:pt x="22" y="0"/>
                    </a:moveTo>
                    <a:lnTo>
                      <a:pt x="23" y="0"/>
                    </a:lnTo>
                    <a:lnTo>
                      <a:pt x="23" y="1"/>
                    </a:lnTo>
                    <a:lnTo>
                      <a:pt x="22" y="1"/>
                    </a:lnTo>
                    <a:lnTo>
                      <a:pt x="22"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2" name="Freeform 32">
                <a:extLst>
                  <a:ext uri="{FF2B5EF4-FFF2-40B4-BE49-F238E27FC236}">
                    <a16:creationId xmlns:a16="http://schemas.microsoft.com/office/drawing/2014/main" id="{06672731-41A3-3FF1-75F2-190314A020FB}"/>
                  </a:ext>
                </a:extLst>
              </p:cNvPr>
              <p:cNvSpPr>
                <a:spLocks noEditPoints="1"/>
              </p:cNvSpPr>
              <p:nvPr/>
            </p:nvSpPr>
            <p:spPr bwMode="auto">
              <a:xfrm>
                <a:off x="5765520" y="2821415"/>
                <a:ext cx="3819" cy="5581"/>
              </a:xfrm>
              <a:custGeom>
                <a:avLst/>
                <a:gdLst>
                  <a:gd name="T0" fmla="*/ 5 w 13"/>
                  <a:gd name="T1" fmla="*/ 11 h 19"/>
                  <a:gd name="T2" fmla="*/ 7 w 13"/>
                  <a:gd name="T3" fmla="*/ 11 h 19"/>
                  <a:gd name="T4" fmla="*/ 7 w 13"/>
                  <a:gd name="T5" fmla="*/ 12 h 19"/>
                  <a:gd name="T6" fmla="*/ 7 w 13"/>
                  <a:gd name="T7" fmla="*/ 14 h 19"/>
                  <a:gd name="T8" fmla="*/ 7 w 13"/>
                  <a:gd name="T9" fmla="*/ 16 h 19"/>
                  <a:gd name="T10" fmla="*/ 5 w 13"/>
                  <a:gd name="T11" fmla="*/ 17 h 19"/>
                  <a:gd name="T12" fmla="*/ 3 w 13"/>
                  <a:gd name="T13" fmla="*/ 17 h 19"/>
                  <a:gd name="T14" fmla="*/ 3 w 13"/>
                  <a:gd name="T15" fmla="*/ 19 h 19"/>
                  <a:gd name="T16" fmla="*/ 3 w 13"/>
                  <a:gd name="T17" fmla="*/ 17 h 19"/>
                  <a:gd name="T18" fmla="*/ 3 w 13"/>
                  <a:gd name="T19" fmla="*/ 19 h 19"/>
                  <a:gd name="T20" fmla="*/ 3 w 13"/>
                  <a:gd name="T21" fmla="*/ 17 h 19"/>
                  <a:gd name="T22" fmla="*/ 3 w 13"/>
                  <a:gd name="T23" fmla="*/ 19 h 19"/>
                  <a:gd name="T24" fmla="*/ 2 w 13"/>
                  <a:gd name="T25" fmla="*/ 17 h 19"/>
                  <a:gd name="T26" fmla="*/ 2 w 13"/>
                  <a:gd name="T27" fmla="*/ 19 h 19"/>
                  <a:gd name="T28" fmla="*/ 0 w 13"/>
                  <a:gd name="T29" fmla="*/ 19 h 19"/>
                  <a:gd name="T30" fmla="*/ 2 w 13"/>
                  <a:gd name="T31" fmla="*/ 17 h 19"/>
                  <a:gd name="T32" fmla="*/ 2 w 13"/>
                  <a:gd name="T33" fmla="*/ 16 h 19"/>
                  <a:gd name="T34" fmla="*/ 2 w 13"/>
                  <a:gd name="T35" fmla="*/ 14 h 19"/>
                  <a:gd name="T36" fmla="*/ 3 w 13"/>
                  <a:gd name="T37" fmla="*/ 12 h 19"/>
                  <a:gd name="T38" fmla="*/ 3 w 13"/>
                  <a:gd name="T39" fmla="*/ 11 h 19"/>
                  <a:gd name="T40" fmla="*/ 5 w 13"/>
                  <a:gd name="T41" fmla="*/ 11 h 19"/>
                  <a:gd name="T42" fmla="*/ 10 w 13"/>
                  <a:gd name="T43" fmla="*/ 0 h 19"/>
                  <a:gd name="T44" fmla="*/ 13 w 13"/>
                  <a:gd name="T45" fmla="*/ 0 h 19"/>
                  <a:gd name="T46" fmla="*/ 13 w 13"/>
                  <a:gd name="T47" fmla="*/ 4 h 19"/>
                  <a:gd name="T48" fmla="*/ 10 w 13"/>
                  <a:gd name="T49" fmla="*/ 4 h 19"/>
                  <a:gd name="T50" fmla="*/ 10 w 13"/>
                  <a:gd name="T51" fmla="*/ 0 h 19"/>
                  <a:gd name="T52" fmla="*/ 7 w 13"/>
                  <a:gd name="T53" fmla="*/ 7 h 19"/>
                  <a:gd name="T54" fmla="*/ 7 w 13"/>
                  <a:gd name="T55" fmla="*/ 9 h 19"/>
                  <a:gd name="T56" fmla="*/ 7 w 13"/>
                  <a:gd name="T57" fmla="*/ 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 h="19">
                    <a:moveTo>
                      <a:pt x="5" y="11"/>
                    </a:moveTo>
                    <a:lnTo>
                      <a:pt x="7" y="11"/>
                    </a:lnTo>
                    <a:lnTo>
                      <a:pt x="7" y="12"/>
                    </a:lnTo>
                    <a:lnTo>
                      <a:pt x="7" y="14"/>
                    </a:lnTo>
                    <a:lnTo>
                      <a:pt x="7" y="16"/>
                    </a:lnTo>
                    <a:lnTo>
                      <a:pt x="5" y="17"/>
                    </a:lnTo>
                    <a:lnTo>
                      <a:pt x="3" y="17"/>
                    </a:lnTo>
                    <a:lnTo>
                      <a:pt x="3" y="19"/>
                    </a:lnTo>
                    <a:lnTo>
                      <a:pt x="3" y="17"/>
                    </a:lnTo>
                    <a:lnTo>
                      <a:pt x="3" y="19"/>
                    </a:lnTo>
                    <a:lnTo>
                      <a:pt x="3" y="17"/>
                    </a:lnTo>
                    <a:lnTo>
                      <a:pt x="3" y="19"/>
                    </a:lnTo>
                    <a:lnTo>
                      <a:pt x="2" y="17"/>
                    </a:lnTo>
                    <a:lnTo>
                      <a:pt x="2" y="19"/>
                    </a:lnTo>
                    <a:lnTo>
                      <a:pt x="0" y="19"/>
                    </a:lnTo>
                    <a:lnTo>
                      <a:pt x="2" y="17"/>
                    </a:lnTo>
                    <a:lnTo>
                      <a:pt x="2" y="16"/>
                    </a:lnTo>
                    <a:lnTo>
                      <a:pt x="2" y="14"/>
                    </a:lnTo>
                    <a:lnTo>
                      <a:pt x="3" y="12"/>
                    </a:lnTo>
                    <a:lnTo>
                      <a:pt x="3" y="11"/>
                    </a:lnTo>
                    <a:lnTo>
                      <a:pt x="5" y="11"/>
                    </a:lnTo>
                    <a:close/>
                    <a:moveTo>
                      <a:pt x="10" y="0"/>
                    </a:moveTo>
                    <a:lnTo>
                      <a:pt x="13" y="0"/>
                    </a:lnTo>
                    <a:lnTo>
                      <a:pt x="13" y="4"/>
                    </a:lnTo>
                    <a:lnTo>
                      <a:pt x="10" y="4"/>
                    </a:lnTo>
                    <a:lnTo>
                      <a:pt x="10" y="0"/>
                    </a:lnTo>
                    <a:close/>
                    <a:moveTo>
                      <a:pt x="7" y="7"/>
                    </a:moveTo>
                    <a:lnTo>
                      <a:pt x="7" y="9"/>
                    </a:lnTo>
                    <a:lnTo>
                      <a:pt x="7" y="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8" name="Freeform 35">
                <a:extLst>
                  <a:ext uri="{FF2B5EF4-FFF2-40B4-BE49-F238E27FC236}">
                    <a16:creationId xmlns:a16="http://schemas.microsoft.com/office/drawing/2014/main" id="{2C2C04CE-0F63-47A7-AC2F-3E7C6D314921}"/>
                  </a:ext>
                </a:extLst>
              </p:cNvPr>
              <p:cNvSpPr>
                <a:spLocks noEditPoints="1"/>
              </p:cNvSpPr>
              <p:nvPr/>
            </p:nvSpPr>
            <p:spPr bwMode="auto">
              <a:xfrm>
                <a:off x="5769340" y="2861949"/>
                <a:ext cx="42589" cy="72842"/>
              </a:xfrm>
              <a:custGeom>
                <a:avLst/>
                <a:gdLst>
                  <a:gd name="T0" fmla="*/ 140 w 145"/>
                  <a:gd name="T1" fmla="*/ 112 h 248"/>
                  <a:gd name="T2" fmla="*/ 138 w 145"/>
                  <a:gd name="T3" fmla="*/ 117 h 248"/>
                  <a:gd name="T4" fmla="*/ 128 w 145"/>
                  <a:gd name="T5" fmla="*/ 119 h 248"/>
                  <a:gd name="T6" fmla="*/ 118 w 145"/>
                  <a:gd name="T7" fmla="*/ 128 h 248"/>
                  <a:gd name="T8" fmla="*/ 116 w 145"/>
                  <a:gd name="T9" fmla="*/ 140 h 248"/>
                  <a:gd name="T10" fmla="*/ 114 w 145"/>
                  <a:gd name="T11" fmla="*/ 153 h 248"/>
                  <a:gd name="T12" fmla="*/ 123 w 145"/>
                  <a:gd name="T13" fmla="*/ 165 h 248"/>
                  <a:gd name="T14" fmla="*/ 128 w 145"/>
                  <a:gd name="T15" fmla="*/ 177 h 248"/>
                  <a:gd name="T16" fmla="*/ 133 w 145"/>
                  <a:gd name="T17" fmla="*/ 192 h 248"/>
                  <a:gd name="T18" fmla="*/ 128 w 145"/>
                  <a:gd name="T19" fmla="*/ 199 h 248"/>
                  <a:gd name="T20" fmla="*/ 119 w 145"/>
                  <a:gd name="T21" fmla="*/ 206 h 248"/>
                  <a:gd name="T22" fmla="*/ 118 w 145"/>
                  <a:gd name="T23" fmla="*/ 214 h 248"/>
                  <a:gd name="T24" fmla="*/ 118 w 145"/>
                  <a:gd name="T25" fmla="*/ 226 h 248"/>
                  <a:gd name="T26" fmla="*/ 106 w 145"/>
                  <a:gd name="T27" fmla="*/ 231 h 248"/>
                  <a:gd name="T28" fmla="*/ 99 w 145"/>
                  <a:gd name="T29" fmla="*/ 240 h 248"/>
                  <a:gd name="T30" fmla="*/ 94 w 145"/>
                  <a:gd name="T31" fmla="*/ 245 h 248"/>
                  <a:gd name="T32" fmla="*/ 84 w 145"/>
                  <a:gd name="T33" fmla="*/ 245 h 248"/>
                  <a:gd name="T34" fmla="*/ 70 w 145"/>
                  <a:gd name="T35" fmla="*/ 238 h 248"/>
                  <a:gd name="T36" fmla="*/ 62 w 145"/>
                  <a:gd name="T37" fmla="*/ 231 h 248"/>
                  <a:gd name="T38" fmla="*/ 57 w 145"/>
                  <a:gd name="T39" fmla="*/ 220 h 248"/>
                  <a:gd name="T40" fmla="*/ 51 w 145"/>
                  <a:gd name="T41" fmla="*/ 208 h 248"/>
                  <a:gd name="T42" fmla="*/ 48 w 145"/>
                  <a:gd name="T43" fmla="*/ 192 h 248"/>
                  <a:gd name="T44" fmla="*/ 51 w 145"/>
                  <a:gd name="T45" fmla="*/ 180 h 248"/>
                  <a:gd name="T46" fmla="*/ 53 w 145"/>
                  <a:gd name="T47" fmla="*/ 172 h 248"/>
                  <a:gd name="T48" fmla="*/ 58 w 145"/>
                  <a:gd name="T49" fmla="*/ 162 h 248"/>
                  <a:gd name="T50" fmla="*/ 60 w 145"/>
                  <a:gd name="T51" fmla="*/ 152 h 248"/>
                  <a:gd name="T52" fmla="*/ 57 w 145"/>
                  <a:gd name="T53" fmla="*/ 141 h 248"/>
                  <a:gd name="T54" fmla="*/ 46 w 145"/>
                  <a:gd name="T55" fmla="*/ 138 h 248"/>
                  <a:gd name="T56" fmla="*/ 46 w 145"/>
                  <a:gd name="T57" fmla="*/ 128 h 248"/>
                  <a:gd name="T58" fmla="*/ 43 w 145"/>
                  <a:gd name="T59" fmla="*/ 112 h 248"/>
                  <a:gd name="T60" fmla="*/ 31 w 145"/>
                  <a:gd name="T61" fmla="*/ 112 h 248"/>
                  <a:gd name="T62" fmla="*/ 0 w 145"/>
                  <a:gd name="T63" fmla="*/ 89 h 248"/>
                  <a:gd name="T64" fmla="*/ 9 w 145"/>
                  <a:gd name="T65" fmla="*/ 77 h 248"/>
                  <a:gd name="T66" fmla="*/ 7 w 145"/>
                  <a:gd name="T67" fmla="*/ 66 h 248"/>
                  <a:gd name="T68" fmla="*/ 16 w 145"/>
                  <a:gd name="T69" fmla="*/ 61 h 248"/>
                  <a:gd name="T70" fmla="*/ 24 w 145"/>
                  <a:gd name="T71" fmla="*/ 58 h 248"/>
                  <a:gd name="T72" fmla="*/ 36 w 145"/>
                  <a:gd name="T73" fmla="*/ 51 h 248"/>
                  <a:gd name="T74" fmla="*/ 29 w 145"/>
                  <a:gd name="T75" fmla="*/ 46 h 248"/>
                  <a:gd name="T76" fmla="*/ 26 w 145"/>
                  <a:gd name="T77" fmla="*/ 32 h 248"/>
                  <a:gd name="T78" fmla="*/ 38 w 145"/>
                  <a:gd name="T79" fmla="*/ 22 h 248"/>
                  <a:gd name="T80" fmla="*/ 50 w 145"/>
                  <a:gd name="T81" fmla="*/ 10 h 248"/>
                  <a:gd name="T82" fmla="*/ 53 w 145"/>
                  <a:gd name="T83" fmla="*/ 5 h 248"/>
                  <a:gd name="T84" fmla="*/ 63 w 145"/>
                  <a:gd name="T85" fmla="*/ 9 h 248"/>
                  <a:gd name="T86" fmla="*/ 79 w 145"/>
                  <a:gd name="T87" fmla="*/ 17 h 248"/>
                  <a:gd name="T88" fmla="*/ 91 w 145"/>
                  <a:gd name="T89" fmla="*/ 32 h 248"/>
                  <a:gd name="T90" fmla="*/ 99 w 145"/>
                  <a:gd name="T91" fmla="*/ 44 h 248"/>
                  <a:gd name="T92" fmla="*/ 96 w 145"/>
                  <a:gd name="T93" fmla="*/ 61 h 248"/>
                  <a:gd name="T94" fmla="*/ 94 w 145"/>
                  <a:gd name="T95" fmla="*/ 73 h 248"/>
                  <a:gd name="T96" fmla="*/ 97 w 145"/>
                  <a:gd name="T97" fmla="*/ 61 h 248"/>
                  <a:gd name="T98" fmla="*/ 111 w 145"/>
                  <a:gd name="T99" fmla="*/ 58 h 248"/>
                  <a:gd name="T100" fmla="*/ 125 w 145"/>
                  <a:gd name="T101" fmla="*/ 66 h 248"/>
                  <a:gd name="T102" fmla="*/ 135 w 145"/>
                  <a:gd name="T103" fmla="*/ 75 h 248"/>
                  <a:gd name="T104" fmla="*/ 145 w 145"/>
                  <a:gd name="T105" fmla="*/ 87 h 248"/>
                  <a:gd name="T106" fmla="*/ 99 w 145"/>
                  <a:gd name="T107" fmla="*/ 56 h 248"/>
                  <a:gd name="T108" fmla="*/ 102 w 145"/>
                  <a:gd name="T109" fmla="*/ 53 h 248"/>
                  <a:gd name="T110" fmla="*/ 101 w 145"/>
                  <a:gd name="T111" fmla="*/ 53 h 248"/>
                  <a:gd name="T112" fmla="*/ 99 w 145"/>
                  <a:gd name="T113" fmla="*/ 49 h 248"/>
                  <a:gd name="T114" fmla="*/ 97 w 145"/>
                  <a:gd name="T115" fmla="*/ 53 h 248"/>
                  <a:gd name="T116" fmla="*/ 97 w 145"/>
                  <a:gd name="T117" fmla="*/ 60 h 248"/>
                  <a:gd name="T118" fmla="*/ 94 w 145"/>
                  <a:gd name="T119" fmla="*/ 6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5" h="248">
                    <a:moveTo>
                      <a:pt x="143" y="97"/>
                    </a:moveTo>
                    <a:lnTo>
                      <a:pt x="143" y="99"/>
                    </a:lnTo>
                    <a:lnTo>
                      <a:pt x="142" y="100"/>
                    </a:lnTo>
                    <a:lnTo>
                      <a:pt x="142" y="102"/>
                    </a:lnTo>
                    <a:lnTo>
                      <a:pt x="140" y="104"/>
                    </a:lnTo>
                    <a:lnTo>
                      <a:pt x="140" y="106"/>
                    </a:lnTo>
                    <a:lnTo>
                      <a:pt x="140" y="107"/>
                    </a:lnTo>
                    <a:lnTo>
                      <a:pt x="138" y="107"/>
                    </a:lnTo>
                    <a:lnTo>
                      <a:pt x="138" y="109"/>
                    </a:lnTo>
                    <a:lnTo>
                      <a:pt x="140" y="109"/>
                    </a:lnTo>
                    <a:lnTo>
                      <a:pt x="140" y="111"/>
                    </a:lnTo>
                    <a:lnTo>
                      <a:pt x="140" y="112"/>
                    </a:lnTo>
                    <a:lnTo>
                      <a:pt x="140" y="111"/>
                    </a:lnTo>
                    <a:lnTo>
                      <a:pt x="142" y="111"/>
                    </a:lnTo>
                    <a:lnTo>
                      <a:pt x="142" y="112"/>
                    </a:lnTo>
                    <a:lnTo>
                      <a:pt x="143" y="112"/>
                    </a:lnTo>
                    <a:lnTo>
                      <a:pt x="143" y="114"/>
                    </a:lnTo>
                    <a:lnTo>
                      <a:pt x="142" y="114"/>
                    </a:lnTo>
                    <a:lnTo>
                      <a:pt x="142" y="116"/>
                    </a:lnTo>
                    <a:lnTo>
                      <a:pt x="142" y="114"/>
                    </a:lnTo>
                    <a:lnTo>
                      <a:pt x="140" y="114"/>
                    </a:lnTo>
                    <a:lnTo>
                      <a:pt x="138" y="114"/>
                    </a:lnTo>
                    <a:lnTo>
                      <a:pt x="138" y="116"/>
                    </a:lnTo>
                    <a:lnTo>
                      <a:pt x="138" y="117"/>
                    </a:lnTo>
                    <a:lnTo>
                      <a:pt x="140" y="117"/>
                    </a:lnTo>
                    <a:lnTo>
                      <a:pt x="140" y="119"/>
                    </a:lnTo>
                    <a:lnTo>
                      <a:pt x="138" y="119"/>
                    </a:lnTo>
                    <a:lnTo>
                      <a:pt x="136" y="119"/>
                    </a:lnTo>
                    <a:lnTo>
                      <a:pt x="135" y="119"/>
                    </a:lnTo>
                    <a:lnTo>
                      <a:pt x="135" y="121"/>
                    </a:lnTo>
                    <a:lnTo>
                      <a:pt x="135" y="119"/>
                    </a:lnTo>
                    <a:lnTo>
                      <a:pt x="133" y="119"/>
                    </a:lnTo>
                    <a:lnTo>
                      <a:pt x="133" y="121"/>
                    </a:lnTo>
                    <a:lnTo>
                      <a:pt x="131" y="119"/>
                    </a:lnTo>
                    <a:lnTo>
                      <a:pt x="130" y="119"/>
                    </a:lnTo>
                    <a:lnTo>
                      <a:pt x="128" y="119"/>
                    </a:lnTo>
                    <a:lnTo>
                      <a:pt x="128" y="121"/>
                    </a:lnTo>
                    <a:lnTo>
                      <a:pt x="126" y="119"/>
                    </a:lnTo>
                    <a:lnTo>
                      <a:pt x="125" y="119"/>
                    </a:lnTo>
                    <a:lnTo>
                      <a:pt x="125" y="121"/>
                    </a:lnTo>
                    <a:lnTo>
                      <a:pt x="123" y="121"/>
                    </a:lnTo>
                    <a:lnTo>
                      <a:pt x="123" y="123"/>
                    </a:lnTo>
                    <a:lnTo>
                      <a:pt x="121" y="123"/>
                    </a:lnTo>
                    <a:lnTo>
                      <a:pt x="119" y="123"/>
                    </a:lnTo>
                    <a:lnTo>
                      <a:pt x="119" y="124"/>
                    </a:lnTo>
                    <a:lnTo>
                      <a:pt x="118" y="124"/>
                    </a:lnTo>
                    <a:lnTo>
                      <a:pt x="118" y="126"/>
                    </a:lnTo>
                    <a:lnTo>
                      <a:pt x="118" y="128"/>
                    </a:lnTo>
                    <a:lnTo>
                      <a:pt x="119" y="128"/>
                    </a:lnTo>
                    <a:lnTo>
                      <a:pt x="119" y="129"/>
                    </a:lnTo>
                    <a:lnTo>
                      <a:pt x="121" y="129"/>
                    </a:lnTo>
                    <a:lnTo>
                      <a:pt x="121" y="131"/>
                    </a:lnTo>
                    <a:lnTo>
                      <a:pt x="121" y="133"/>
                    </a:lnTo>
                    <a:lnTo>
                      <a:pt x="119" y="133"/>
                    </a:lnTo>
                    <a:lnTo>
                      <a:pt x="119" y="135"/>
                    </a:lnTo>
                    <a:lnTo>
                      <a:pt x="119" y="136"/>
                    </a:lnTo>
                    <a:lnTo>
                      <a:pt x="118" y="136"/>
                    </a:lnTo>
                    <a:lnTo>
                      <a:pt x="118" y="138"/>
                    </a:lnTo>
                    <a:lnTo>
                      <a:pt x="118" y="140"/>
                    </a:lnTo>
                    <a:lnTo>
                      <a:pt x="116" y="140"/>
                    </a:lnTo>
                    <a:lnTo>
                      <a:pt x="116" y="141"/>
                    </a:lnTo>
                    <a:lnTo>
                      <a:pt x="118" y="141"/>
                    </a:lnTo>
                    <a:lnTo>
                      <a:pt x="118" y="143"/>
                    </a:lnTo>
                    <a:lnTo>
                      <a:pt x="116" y="143"/>
                    </a:lnTo>
                    <a:lnTo>
                      <a:pt x="116" y="145"/>
                    </a:lnTo>
                    <a:lnTo>
                      <a:pt x="114" y="145"/>
                    </a:lnTo>
                    <a:lnTo>
                      <a:pt x="114" y="146"/>
                    </a:lnTo>
                    <a:lnTo>
                      <a:pt x="114" y="148"/>
                    </a:lnTo>
                    <a:lnTo>
                      <a:pt x="113" y="148"/>
                    </a:lnTo>
                    <a:lnTo>
                      <a:pt x="114" y="150"/>
                    </a:lnTo>
                    <a:lnTo>
                      <a:pt x="114" y="152"/>
                    </a:lnTo>
                    <a:lnTo>
                      <a:pt x="114" y="153"/>
                    </a:lnTo>
                    <a:lnTo>
                      <a:pt x="114" y="155"/>
                    </a:lnTo>
                    <a:lnTo>
                      <a:pt x="116" y="155"/>
                    </a:lnTo>
                    <a:lnTo>
                      <a:pt x="116" y="157"/>
                    </a:lnTo>
                    <a:lnTo>
                      <a:pt x="118" y="157"/>
                    </a:lnTo>
                    <a:lnTo>
                      <a:pt x="118" y="158"/>
                    </a:lnTo>
                    <a:lnTo>
                      <a:pt x="119" y="158"/>
                    </a:lnTo>
                    <a:lnTo>
                      <a:pt x="119" y="160"/>
                    </a:lnTo>
                    <a:lnTo>
                      <a:pt x="119" y="162"/>
                    </a:lnTo>
                    <a:lnTo>
                      <a:pt x="121" y="162"/>
                    </a:lnTo>
                    <a:lnTo>
                      <a:pt x="121" y="163"/>
                    </a:lnTo>
                    <a:lnTo>
                      <a:pt x="121" y="165"/>
                    </a:lnTo>
                    <a:lnTo>
                      <a:pt x="123" y="165"/>
                    </a:lnTo>
                    <a:lnTo>
                      <a:pt x="123" y="167"/>
                    </a:lnTo>
                    <a:lnTo>
                      <a:pt x="125" y="167"/>
                    </a:lnTo>
                    <a:lnTo>
                      <a:pt x="125" y="169"/>
                    </a:lnTo>
                    <a:lnTo>
                      <a:pt x="126" y="169"/>
                    </a:lnTo>
                    <a:lnTo>
                      <a:pt x="128" y="169"/>
                    </a:lnTo>
                    <a:lnTo>
                      <a:pt x="128" y="170"/>
                    </a:lnTo>
                    <a:lnTo>
                      <a:pt x="126" y="170"/>
                    </a:lnTo>
                    <a:lnTo>
                      <a:pt x="126" y="172"/>
                    </a:lnTo>
                    <a:lnTo>
                      <a:pt x="126" y="174"/>
                    </a:lnTo>
                    <a:lnTo>
                      <a:pt x="126" y="175"/>
                    </a:lnTo>
                    <a:lnTo>
                      <a:pt x="128" y="175"/>
                    </a:lnTo>
                    <a:lnTo>
                      <a:pt x="128" y="177"/>
                    </a:lnTo>
                    <a:lnTo>
                      <a:pt x="130" y="177"/>
                    </a:lnTo>
                    <a:lnTo>
                      <a:pt x="128" y="179"/>
                    </a:lnTo>
                    <a:lnTo>
                      <a:pt x="128" y="180"/>
                    </a:lnTo>
                    <a:lnTo>
                      <a:pt x="128" y="182"/>
                    </a:lnTo>
                    <a:lnTo>
                      <a:pt x="128" y="184"/>
                    </a:lnTo>
                    <a:lnTo>
                      <a:pt x="130" y="184"/>
                    </a:lnTo>
                    <a:lnTo>
                      <a:pt x="130" y="186"/>
                    </a:lnTo>
                    <a:lnTo>
                      <a:pt x="131" y="187"/>
                    </a:lnTo>
                    <a:lnTo>
                      <a:pt x="133" y="187"/>
                    </a:lnTo>
                    <a:lnTo>
                      <a:pt x="133" y="189"/>
                    </a:lnTo>
                    <a:lnTo>
                      <a:pt x="133" y="191"/>
                    </a:lnTo>
                    <a:lnTo>
                      <a:pt x="133" y="192"/>
                    </a:lnTo>
                    <a:lnTo>
                      <a:pt x="133" y="191"/>
                    </a:lnTo>
                    <a:lnTo>
                      <a:pt x="133" y="192"/>
                    </a:lnTo>
                    <a:lnTo>
                      <a:pt x="135" y="191"/>
                    </a:lnTo>
                    <a:lnTo>
                      <a:pt x="135" y="192"/>
                    </a:lnTo>
                    <a:lnTo>
                      <a:pt x="135" y="194"/>
                    </a:lnTo>
                    <a:lnTo>
                      <a:pt x="135" y="196"/>
                    </a:lnTo>
                    <a:lnTo>
                      <a:pt x="133" y="196"/>
                    </a:lnTo>
                    <a:lnTo>
                      <a:pt x="133" y="197"/>
                    </a:lnTo>
                    <a:lnTo>
                      <a:pt x="131" y="197"/>
                    </a:lnTo>
                    <a:lnTo>
                      <a:pt x="130" y="197"/>
                    </a:lnTo>
                    <a:lnTo>
                      <a:pt x="130" y="199"/>
                    </a:lnTo>
                    <a:lnTo>
                      <a:pt x="128" y="199"/>
                    </a:lnTo>
                    <a:lnTo>
                      <a:pt x="128" y="197"/>
                    </a:lnTo>
                    <a:lnTo>
                      <a:pt x="128" y="199"/>
                    </a:lnTo>
                    <a:lnTo>
                      <a:pt x="128" y="201"/>
                    </a:lnTo>
                    <a:lnTo>
                      <a:pt x="126" y="199"/>
                    </a:lnTo>
                    <a:lnTo>
                      <a:pt x="126" y="201"/>
                    </a:lnTo>
                    <a:lnTo>
                      <a:pt x="125" y="201"/>
                    </a:lnTo>
                    <a:lnTo>
                      <a:pt x="123" y="201"/>
                    </a:lnTo>
                    <a:lnTo>
                      <a:pt x="123" y="203"/>
                    </a:lnTo>
                    <a:lnTo>
                      <a:pt x="123" y="204"/>
                    </a:lnTo>
                    <a:lnTo>
                      <a:pt x="123" y="206"/>
                    </a:lnTo>
                    <a:lnTo>
                      <a:pt x="121" y="206"/>
                    </a:lnTo>
                    <a:lnTo>
                      <a:pt x="119" y="206"/>
                    </a:lnTo>
                    <a:lnTo>
                      <a:pt x="119" y="208"/>
                    </a:lnTo>
                    <a:lnTo>
                      <a:pt x="118" y="208"/>
                    </a:lnTo>
                    <a:lnTo>
                      <a:pt x="118" y="209"/>
                    </a:lnTo>
                    <a:lnTo>
                      <a:pt x="119" y="209"/>
                    </a:lnTo>
                    <a:lnTo>
                      <a:pt x="119" y="208"/>
                    </a:lnTo>
                    <a:lnTo>
                      <a:pt x="121" y="209"/>
                    </a:lnTo>
                    <a:lnTo>
                      <a:pt x="119" y="209"/>
                    </a:lnTo>
                    <a:lnTo>
                      <a:pt x="119" y="211"/>
                    </a:lnTo>
                    <a:lnTo>
                      <a:pt x="118" y="211"/>
                    </a:lnTo>
                    <a:lnTo>
                      <a:pt x="119" y="213"/>
                    </a:lnTo>
                    <a:lnTo>
                      <a:pt x="118" y="213"/>
                    </a:lnTo>
                    <a:lnTo>
                      <a:pt x="118" y="214"/>
                    </a:lnTo>
                    <a:lnTo>
                      <a:pt x="118" y="216"/>
                    </a:lnTo>
                    <a:lnTo>
                      <a:pt x="119" y="216"/>
                    </a:lnTo>
                    <a:lnTo>
                      <a:pt x="118" y="218"/>
                    </a:lnTo>
                    <a:lnTo>
                      <a:pt x="119" y="218"/>
                    </a:lnTo>
                    <a:lnTo>
                      <a:pt x="118" y="218"/>
                    </a:lnTo>
                    <a:lnTo>
                      <a:pt x="118" y="220"/>
                    </a:lnTo>
                    <a:lnTo>
                      <a:pt x="119" y="220"/>
                    </a:lnTo>
                    <a:lnTo>
                      <a:pt x="118" y="220"/>
                    </a:lnTo>
                    <a:lnTo>
                      <a:pt x="118" y="221"/>
                    </a:lnTo>
                    <a:lnTo>
                      <a:pt x="118" y="223"/>
                    </a:lnTo>
                    <a:lnTo>
                      <a:pt x="118" y="225"/>
                    </a:lnTo>
                    <a:lnTo>
                      <a:pt x="118" y="226"/>
                    </a:lnTo>
                    <a:lnTo>
                      <a:pt x="118" y="228"/>
                    </a:lnTo>
                    <a:lnTo>
                      <a:pt x="116" y="228"/>
                    </a:lnTo>
                    <a:lnTo>
                      <a:pt x="114" y="228"/>
                    </a:lnTo>
                    <a:lnTo>
                      <a:pt x="113" y="228"/>
                    </a:lnTo>
                    <a:lnTo>
                      <a:pt x="111" y="228"/>
                    </a:lnTo>
                    <a:lnTo>
                      <a:pt x="109" y="228"/>
                    </a:lnTo>
                    <a:lnTo>
                      <a:pt x="108" y="228"/>
                    </a:lnTo>
                    <a:lnTo>
                      <a:pt x="108" y="230"/>
                    </a:lnTo>
                    <a:lnTo>
                      <a:pt x="108" y="228"/>
                    </a:lnTo>
                    <a:lnTo>
                      <a:pt x="108" y="230"/>
                    </a:lnTo>
                    <a:lnTo>
                      <a:pt x="108" y="231"/>
                    </a:lnTo>
                    <a:lnTo>
                      <a:pt x="106" y="231"/>
                    </a:lnTo>
                    <a:lnTo>
                      <a:pt x="106" y="233"/>
                    </a:lnTo>
                    <a:lnTo>
                      <a:pt x="104" y="233"/>
                    </a:lnTo>
                    <a:lnTo>
                      <a:pt x="104" y="235"/>
                    </a:lnTo>
                    <a:lnTo>
                      <a:pt x="104" y="237"/>
                    </a:lnTo>
                    <a:lnTo>
                      <a:pt x="102" y="237"/>
                    </a:lnTo>
                    <a:lnTo>
                      <a:pt x="102" y="238"/>
                    </a:lnTo>
                    <a:lnTo>
                      <a:pt x="102" y="240"/>
                    </a:lnTo>
                    <a:lnTo>
                      <a:pt x="101" y="238"/>
                    </a:lnTo>
                    <a:lnTo>
                      <a:pt x="101" y="240"/>
                    </a:lnTo>
                    <a:lnTo>
                      <a:pt x="99" y="240"/>
                    </a:lnTo>
                    <a:lnTo>
                      <a:pt x="97" y="240"/>
                    </a:lnTo>
                    <a:lnTo>
                      <a:pt x="99" y="240"/>
                    </a:lnTo>
                    <a:lnTo>
                      <a:pt x="97" y="242"/>
                    </a:lnTo>
                    <a:lnTo>
                      <a:pt x="99" y="242"/>
                    </a:lnTo>
                    <a:lnTo>
                      <a:pt x="99" y="243"/>
                    </a:lnTo>
                    <a:lnTo>
                      <a:pt x="99" y="245"/>
                    </a:lnTo>
                    <a:lnTo>
                      <a:pt x="99" y="247"/>
                    </a:lnTo>
                    <a:lnTo>
                      <a:pt x="97" y="245"/>
                    </a:lnTo>
                    <a:lnTo>
                      <a:pt x="97" y="247"/>
                    </a:lnTo>
                    <a:lnTo>
                      <a:pt x="97" y="245"/>
                    </a:lnTo>
                    <a:lnTo>
                      <a:pt x="96" y="245"/>
                    </a:lnTo>
                    <a:lnTo>
                      <a:pt x="96" y="247"/>
                    </a:lnTo>
                    <a:lnTo>
                      <a:pt x="96" y="245"/>
                    </a:lnTo>
                    <a:lnTo>
                      <a:pt x="94" y="245"/>
                    </a:lnTo>
                    <a:lnTo>
                      <a:pt x="92" y="245"/>
                    </a:lnTo>
                    <a:lnTo>
                      <a:pt x="91" y="245"/>
                    </a:lnTo>
                    <a:lnTo>
                      <a:pt x="91" y="247"/>
                    </a:lnTo>
                    <a:lnTo>
                      <a:pt x="91" y="248"/>
                    </a:lnTo>
                    <a:lnTo>
                      <a:pt x="89" y="248"/>
                    </a:lnTo>
                    <a:lnTo>
                      <a:pt x="87" y="248"/>
                    </a:lnTo>
                    <a:lnTo>
                      <a:pt x="85" y="248"/>
                    </a:lnTo>
                    <a:lnTo>
                      <a:pt x="85" y="247"/>
                    </a:lnTo>
                    <a:lnTo>
                      <a:pt x="84" y="247"/>
                    </a:lnTo>
                    <a:lnTo>
                      <a:pt x="85" y="247"/>
                    </a:lnTo>
                    <a:lnTo>
                      <a:pt x="85" y="245"/>
                    </a:lnTo>
                    <a:lnTo>
                      <a:pt x="84" y="245"/>
                    </a:lnTo>
                    <a:lnTo>
                      <a:pt x="82" y="245"/>
                    </a:lnTo>
                    <a:lnTo>
                      <a:pt x="82" y="243"/>
                    </a:lnTo>
                    <a:lnTo>
                      <a:pt x="80" y="243"/>
                    </a:lnTo>
                    <a:lnTo>
                      <a:pt x="79" y="243"/>
                    </a:lnTo>
                    <a:lnTo>
                      <a:pt x="77" y="243"/>
                    </a:lnTo>
                    <a:lnTo>
                      <a:pt x="75" y="243"/>
                    </a:lnTo>
                    <a:lnTo>
                      <a:pt x="75" y="242"/>
                    </a:lnTo>
                    <a:lnTo>
                      <a:pt x="74" y="242"/>
                    </a:lnTo>
                    <a:lnTo>
                      <a:pt x="72" y="242"/>
                    </a:lnTo>
                    <a:lnTo>
                      <a:pt x="72" y="240"/>
                    </a:lnTo>
                    <a:lnTo>
                      <a:pt x="70" y="240"/>
                    </a:lnTo>
                    <a:lnTo>
                      <a:pt x="70" y="238"/>
                    </a:lnTo>
                    <a:lnTo>
                      <a:pt x="68" y="238"/>
                    </a:lnTo>
                    <a:lnTo>
                      <a:pt x="68" y="237"/>
                    </a:lnTo>
                    <a:lnTo>
                      <a:pt x="67" y="237"/>
                    </a:lnTo>
                    <a:lnTo>
                      <a:pt x="67" y="235"/>
                    </a:lnTo>
                    <a:lnTo>
                      <a:pt x="65" y="235"/>
                    </a:lnTo>
                    <a:lnTo>
                      <a:pt x="65" y="233"/>
                    </a:lnTo>
                    <a:lnTo>
                      <a:pt x="65" y="231"/>
                    </a:lnTo>
                    <a:lnTo>
                      <a:pt x="65" y="233"/>
                    </a:lnTo>
                    <a:lnTo>
                      <a:pt x="63" y="231"/>
                    </a:lnTo>
                    <a:lnTo>
                      <a:pt x="63" y="230"/>
                    </a:lnTo>
                    <a:lnTo>
                      <a:pt x="62" y="230"/>
                    </a:lnTo>
                    <a:lnTo>
                      <a:pt x="62" y="231"/>
                    </a:lnTo>
                    <a:lnTo>
                      <a:pt x="60" y="231"/>
                    </a:lnTo>
                    <a:lnTo>
                      <a:pt x="60" y="230"/>
                    </a:lnTo>
                    <a:lnTo>
                      <a:pt x="58" y="230"/>
                    </a:lnTo>
                    <a:lnTo>
                      <a:pt x="58" y="228"/>
                    </a:lnTo>
                    <a:lnTo>
                      <a:pt x="60" y="228"/>
                    </a:lnTo>
                    <a:lnTo>
                      <a:pt x="60" y="226"/>
                    </a:lnTo>
                    <a:lnTo>
                      <a:pt x="58" y="226"/>
                    </a:lnTo>
                    <a:lnTo>
                      <a:pt x="57" y="226"/>
                    </a:lnTo>
                    <a:lnTo>
                      <a:pt x="57" y="225"/>
                    </a:lnTo>
                    <a:lnTo>
                      <a:pt x="57" y="223"/>
                    </a:lnTo>
                    <a:lnTo>
                      <a:pt x="57" y="221"/>
                    </a:lnTo>
                    <a:lnTo>
                      <a:pt x="57" y="220"/>
                    </a:lnTo>
                    <a:lnTo>
                      <a:pt x="57" y="218"/>
                    </a:lnTo>
                    <a:lnTo>
                      <a:pt x="57" y="216"/>
                    </a:lnTo>
                    <a:lnTo>
                      <a:pt x="57" y="214"/>
                    </a:lnTo>
                    <a:lnTo>
                      <a:pt x="57" y="213"/>
                    </a:lnTo>
                    <a:lnTo>
                      <a:pt x="57" y="211"/>
                    </a:lnTo>
                    <a:lnTo>
                      <a:pt x="55" y="211"/>
                    </a:lnTo>
                    <a:lnTo>
                      <a:pt x="53" y="211"/>
                    </a:lnTo>
                    <a:lnTo>
                      <a:pt x="53" y="209"/>
                    </a:lnTo>
                    <a:lnTo>
                      <a:pt x="53" y="211"/>
                    </a:lnTo>
                    <a:lnTo>
                      <a:pt x="53" y="209"/>
                    </a:lnTo>
                    <a:lnTo>
                      <a:pt x="51" y="209"/>
                    </a:lnTo>
                    <a:lnTo>
                      <a:pt x="51" y="208"/>
                    </a:lnTo>
                    <a:lnTo>
                      <a:pt x="51" y="206"/>
                    </a:lnTo>
                    <a:lnTo>
                      <a:pt x="51" y="204"/>
                    </a:lnTo>
                    <a:lnTo>
                      <a:pt x="50" y="204"/>
                    </a:lnTo>
                    <a:lnTo>
                      <a:pt x="50" y="203"/>
                    </a:lnTo>
                    <a:lnTo>
                      <a:pt x="50" y="201"/>
                    </a:lnTo>
                    <a:lnTo>
                      <a:pt x="48" y="201"/>
                    </a:lnTo>
                    <a:lnTo>
                      <a:pt x="50" y="201"/>
                    </a:lnTo>
                    <a:lnTo>
                      <a:pt x="48" y="199"/>
                    </a:lnTo>
                    <a:lnTo>
                      <a:pt x="48" y="197"/>
                    </a:lnTo>
                    <a:lnTo>
                      <a:pt x="48" y="196"/>
                    </a:lnTo>
                    <a:lnTo>
                      <a:pt x="48" y="194"/>
                    </a:lnTo>
                    <a:lnTo>
                      <a:pt x="48" y="192"/>
                    </a:lnTo>
                    <a:lnTo>
                      <a:pt x="48" y="191"/>
                    </a:lnTo>
                    <a:lnTo>
                      <a:pt x="48" y="189"/>
                    </a:lnTo>
                    <a:lnTo>
                      <a:pt x="50" y="189"/>
                    </a:lnTo>
                    <a:lnTo>
                      <a:pt x="50" y="187"/>
                    </a:lnTo>
                    <a:lnTo>
                      <a:pt x="50" y="186"/>
                    </a:lnTo>
                    <a:lnTo>
                      <a:pt x="50" y="184"/>
                    </a:lnTo>
                    <a:lnTo>
                      <a:pt x="51" y="184"/>
                    </a:lnTo>
                    <a:lnTo>
                      <a:pt x="50" y="184"/>
                    </a:lnTo>
                    <a:lnTo>
                      <a:pt x="51" y="182"/>
                    </a:lnTo>
                    <a:lnTo>
                      <a:pt x="50" y="182"/>
                    </a:lnTo>
                    <a:lnTo>
                      <a:pt x="51" y="182"/>
                    </a:lnTo>
                    <a:lnTo>
                      <a:pt x="51" y="180"/>
                    </a:lnTo>
                    <a:lnTo>
                      <a:pt x="51" y="179"/>
                    </a:lnTo>
                    <a:lnTo>
                      <a:pt x="53" y="179"/>
                    </a:lnTo>
                    <a:lnTo>
                      <a:pt x="53" y="177"/>
                    </a:lnTo>
                    <a:lnTo>
                      <a:pt x="53" y="175"/>
                    </a:lnTo>
                    <a:lnTo>
                      <a:pt x="55" y="175"/>
                    </a:lnTo>
                    <a:lnTo>
                      <a:pt x="55" y="174"/>
                    </a:lnTo>
                    <a:lnTo>
                      <a:pt x="53" y="174"/>
                    </a:lnTo>
                    <a:lnTo>
                      <a:pt x="55" y="174"/>
                    </a:lnTo>
                    <a:lnTo>
                      <a:pt x="53" y="174"/>
                    </a:lnTo>
                    <a:lnTo>
                      <a:pt x="53" y="172"/>
                    </a:lnTo>
                    <a:lnTo>
                      <a:pt x="55" y="172"/>
                    </a:lnTo>
                    <a:lnTo>
                      <a:pt x="53" y="172"/>
                    </a:lnTo>
                    <a:lnTo>
                      <a:pt x="55" y="170"/>
                    </a:lnTo>
                    <a:lnTo>
                      <a:pt x="53" y="170"/>
                    </a:lnTo>
                    <a:lnTo>
                      <a:pt x="53" y="169"/>
                    </a:lnTo>
                    <a:lnTo>
                      <a:pt x="51" y="169"/>
                    </a:lnTo>
                    <a:lnTo>
                      <a:pt x="53" y="169"/>
                    </a:lnTo>
                    <a:lnTo>
                      <a:pt x="51" y="169"/>
                    </a:lnTo>
                    <a:lnTo>
                      <a:pt x="53" y="169"/>
                    </a:lnTo>
                    <a:lnTo>
                      <a:pt x="53" y="167"/>
                    </a:lnTo>
                    <a:lnTo>
                      <a:pt x="55" y="167"/>
                    </a:lnTo>
                    <a:lnTo>
                      <a:pt x="57" y="165"/>
                    </a:lnTo>
                    <a:lnTo>
                      <a:pt x="58" y="163"/>
                    </a:lnTo>
                    <a:lnTo>
                      <a:pt x="58" y="162"/>
                    </a:lnTo>
                    <a:lnTo>
                      <a:pt x="60" y="162"/>
                    </a:lnTo>
                    <a:lnTo>
                      <a:pt x="60" y="160"/>
                    </a:lnTo>
                    <a:lnTo>
                      <a:pt x="60" y="162"/>
                    </a:lnTo>
                    <a:lnTo>
                      <a:pt x="60" y="160"/>
                    </a:lnTo>
                    <a:lnTo>
                      <a:pt x="62" y="160"/>
                    </a:lnTo>
                    <a:lnTo>
                      <a:pt x="62" y="158"/>
                    </a:lnTo>
                    <a:lnTo>
                      <a:pt x="62" y="157"/>
                    </a:lnTo>
                    <a:lnTo>
                      <a:pt x="63" y="157"/>
                    </a:lnTo>
                    <a:lnTo>
                      <a:pt x="63" y="155"/>
                    </a:lnTo>
                    <a:lnTo>
                      <a:pt x="62" y="155"/>
                    </a:lnTo>
                    <a:lnTo>
                      <a:pt x="62" y="153"/>
                    </a:lnTo>
                    <a:lnTo>
                      <a:pt x="60" y="152"/>
                    </a:lnTo>
                    <a:lnTo>
                      <a:pt x="60" y="150"/>
                    </a:lnTo>
                    <a:lnTo>
                      <a:pt x="60" y="148"/>
                    </a:lnTo>
                    <a:lnTo>
                      <a:pt x="58" y="148"/>
                    </a:lnTo>
                    <a:lnTo>
                      <a:pt x="57" y="148"/>
                    </a:lnTo>
                    <a:lnTo>
                      <a:pt x="57" y="146"/>
                    </a:lnTo>
                    <a:lnTo>
                      <a:pt x="57" y="145"/>
                    </a:lnTo>
                    <a:lnTo>
                      <a:pt x="58" y="145"/>
                    </a:lnTo>
                    <a:lnTo>
                      <a:pt x="57" y="145"/>
                    </a:lnTo>
                    <a:lnTo>
                      <a:pt x="57" y="143"/>
                    </a:lnTo>
                    <a:lnTo>
                      <a:pt x="58" y="143"/>
                    </a:lnTo>
                    <a:lnTo>
                      <a:pt x="58" y="141"/>
                    </a:lnTo>
                    <a:lnTo>
                      <a:pt x="57" y="141"/>
                    </a:lnTo>
                    <a:lnTo>
                      <a:pt x="57" y="140"/>
                    </a:lnTo>
                    <a:lnTo>
                      <a:pt x="55" y="138"/>
                    </a:lnTo>
                    <a:lnTo>
                      <a:pt x="53" y="138"/>
                    </a:lnTo>
                    <a:lnTo>
                      <a:pt x="51" y="138"/>
                    </a:lnTo>
                    <a:lnTo>
                      <a:pt x="53" y="138"/>
                    </a:lnTo>
                    <a:lnTo>
                      <a:pt x="51" y="138"/>
                    </a:lnTo>
                    <a:lnTo>
                      <a:pt x="50" y="138"/>
                    </a:lnTo>
                    <a:lnTo>
                      <a:pt x="50" y="136"/>
                    </a:lnTo>
                    <a:lnTo>
                      <a:pt x="48" y="136"/>
                    </a:lnTo>
                    <a:lnTo>
                      <a:pt x="48" y="138"/>
                    </a:lnTo>
                    <a:lnTo>
                      <a:pt x="48" y="136"/>
                    </a:lnTo>
                    <a:lnTo>
                      <a:pt x="46" y="138"/>
                    </a:lnTo>
                    <a:lnTo>
                      <a:pt x="46" y="136"/>
                    </a:lnTo>
                    <a:lnTo>
                      <a:pt x="45" y="136"/>
                    </a:lnTo>
                    <a:lnTo>
                      <a:pt x="46" y="136"/>
                    </a:lnTo>
                    <a:lnTo>
                      <a:pt x="45" y="136"/>
                    </a:lnTo>
                    <a:lnTo>
                      <a:pt x="43" y="136"/>
                    </a:lnTo>
                    <a:lnTo>
                      <a:pt x="43" y="135"/>
                    </a:lnTo>
                    <a:lnTo>
                      <a:pt x="43" y="133"/>
                    </a:lnTo>
                    <a:lnTo>
                      <a:pt x="45" y="133"/>
                    </a:lnTo>
                    <a:lnTo>
                      <a:pt x="45" y="131"/>
                    </a:lnTo>
                    <a:lnTo>
                      <a:pt x="46" y="131"/>
                    </a:lnTo>
                    <a:lnTo>
                      <a:pt x="46" y="129"/>
                    </a:lnTo>
                    <a:lnTo>
                      <a:pt x="46" y="128"/>
                    </a:lnTo>
                    <a:lnTo>
                      <a:pt x="46" y="126"/>
                    </a:lnTo>
                    <a:lnTo>
                      <a:pt x="48" y="124"/>
                    </a:lnTo>
                    <a:lnTo>
                      <a:pt x="48" y="123"/>
                    </a:lnTo>
                    <a:lnTo>
                      <a:pt x="48" y="121"/>
                    </a:lnTo>
                    <a:lnTo>
                      <a:pt x="48" y="119"/>
                    </a:lnTo>
                    <a:lnTo>
                      <a:pt x="48" y="117"/>
                    </a:lnTo>
                    <a:lnTo>
                      <a:pt x="46" y="117"/>
                    </a:lnTo>
                    <a:lnTo>
                      <a:pt x="46" y="116"/>
                    </a:lnTo>
                    <a:lnTo>
                      <a:pt x="45" y="116"/>
                    </a:lnTo>
                    <a:lnTo>
                      <a:pt x="45" y="114"/>
                    </a:lnTo>
                    <a:lnTo>
                      <a:pt x="45" y="112"/>
                    </a:lnTo>
                    <a:lnTo>
                      <a:pt x="43" y="112"/>
                    </a:lnTo>
                    <a:lnTo>
                      <a:pt x="43" y="111"/>
                    </a:lnTo>
                    <a:lnTo>
                      <a:pt x="43" y="112"/>
                    </a:lnTo>
                    <a:lnTo>
                      <a:pt x="41" y="112"/>
                    </a:lnTo>
                    <a:lnTo>
                      <a:pt x="41" y="111"/>
                    </a:lnTo>
                    <a:lnTo>
                      <a:pt x="40" y="111"/>
                    </a:lnTo>
                    <a:lnTo>
                      <a:pt x="38" y="112"/>
                    </a:lnTo>
                    <a:lnTo>
                      <a:pt x="36" y="112"/>
                    </a:lnTo>
                    <a:lnTo>
                      <a:pt x="34" y="112"/>
                    </a:lnTo>
                    <a:lnTo>
                      <a:pt x="33" y="112"/>
                    </a:lnTo>
                    <a:lnTo>
                      <a:pt x="33" y="114"/>
                    </a:lnTo>
                    <a:lnTo>
                      <a:pt x="33" y="112"/>
                    </a:lnTo>
                    <a:lnTo>
                      <a:pt x="31" y="112"/>
                    </a:lnTo>
                    <a:lnTo>
                      <a:pt x="29" y="112"/>
                    </a:lnTo>
                    <a:lnTo>
                      <a:pt x="28" y="112"/>
                    </a:lnTo>
                    <a:lnTo>
                      <a:pt x="26" y="112"/>
                    </a:lnTo>
                    <a:lnTo>
                      <a:pt x="24" y="112"/>
                    </a:lnTo>
                    <a:lnTo>
                      <a:pt x="23" y="112"/>
                    </a:lnTo>
                    <a:lnTo>
                      <a:pt x="21" y="111"/>
                    </a:lnTo>
                    <a:lnTo>
                      <a:pt x="19" y="109"/>
                    </a:lnTo>
                    <a:lnTo>
                      <a:pt x="12" y="102"/>
                    </a:lnTo>
                    <a:lnTo>
                      <a:pt x="11" y="97"/>
                    </a:lnTo>
                    <a:lnTo>
                      <a:pt x="7" y="95"/>
                    </a:lnTo>
                    <a:lnTo>
                      <a:pt x="2" y="90"/>
                    </a:lnTo>
                    <a:lnTo>
                      <a:pt x="0" y="89"/>
                    </a:lnTo>
                    <a:lnTo>
                      <a:pt x="0" y="87"/>
                    </a:lnTo>
                    <a:lnTo>
                      <a:pt x="2" y="87"/>
                    </a:lnTo>
                    <a:lnTo>
                      <a:pt x="2" y="85"/>
                    </a:lnTo>
                    <a:lnTo>
                      <a:pt x="4" y="85"/>
                    </a:lnTo>
                    <a:lnTo>
                      <a:pt x="4" y="83"/>
                    </a:lnTo>
                    <a:lnTo>
                      <a:pt x="6" y="82"/>
                    </a:lnTo>
                    <a:lnTo>
                      <a:pt x="7" y="82"/>
                    </a:lnTo>
                    <a:lnTo>
                      <a:pt x="7" y="80"/>
                    </a:lnTo>
                    <a:lnTo>
                      <a:pt x="9" y="80"/>
                    </a:lnTo>
                    <a:lnTo>
                      <a:pt x="11" y="78"/>
                    </a:lnTo>
                    <a:lnTo>
                      <a:pt x="9" y="78"/>
                    </a:lnTo>
                    <a:lnTo>
                      <a:pt x="9" y="77"/>
                    </a:lnTo>
                    <a:lnTo>
                      <a:pt x="11" y="77"/>
                    </a:lnTo>
                    <a:lnTo>
                      <a:pt x="9" y="77"/>
                    </a:lnTo>
                    <a:lnTo>
                      <a:pt x="9" y="75"/>
                    </a:lnTo>
                    <a:lnTo>
                      <a:pt x="7" y="75"/>
                    </a:lnTo>
                    <a:lnTo>
                      <a:pt x="9" y="75"/>
                    </a:lnTo>
                    <a:lnTo>
                      <a:pt x="9" y="73"/>
                    </a:lnTo>
                    <a:lnTo>
                      <a:pt x="9" y="72"/>
                    </a:lnTo>
                    <a:lnTo>
                      <a:pt x="9" y="70"/>
                    </a:lnTo>
                    <a:lnTo>
                      <a:pt x="7" y="70"/>
                    </a:lnTo>
                    <a:lnTo>
                      <a:pt x="9" y="68"/>
                    </a:lnTo>
                    <a:lnTo>
                      <a:pt x="7" y="68"/>
                    </a:lnTo>
                    <a:lnTo>
                      <a:pt x="7" y="66"/>
                    </a:lnTo>
                    <a:lnTo>
                      <a:pt x="6" y="66"/>
                    </a:lnTo>
                    <a:lnTo>
                      <a:pt x="7" y="66"/>
                    </a:lnTo>
                    <a:lnTo>
                      <a:pt x="6" y="66"/>
                    </a:lnTo>
                    <a:lnTo>
                      <a:pt x="7" y="66"/>
                    </a:lnTo>
                    <a:lnTo>
                      <a:pt x="7" y="65"/>
                    </a:lnTo>
                    <a:lnTo>
                      <a:pt x="7" y="63"/>
                    </a:lnTo>
                    <a:lnTo>
                      <a:pt x="9" y="63"/>
                    </a:lnTo>
                    <a:lnTo>
                      <a:pt x="9" y="61"/>
                    </a:lnTo>
                    <a:lnTo>
                      <a:pt x="11" y="61"/>
                    </a:lnTo>
                    <a:lnTo>
                      <a:pt x="12" y="61"/>
                    </a:lnTo>
                    <a:lnTo>
                      <a:pt x="14" y="61"/>
                    </a:lnTo>
                    <a:lnTo>
                      <a:pt x="16" y="61"/>
                    </a:lnTo>
                    <a:lnTo>
                      <a:pt x="17" y="60"/>
                    </a:lnTo>
                    <a:lnTo>
                      <a:pt x="16" y="60"/>
                    </a:lnTo>
                    <a:lnTo>
                      <a:pt x="16" y="58"/>
                    </a:lnTo>
                    <a:lnTo>
                      <a:pt x="17" y="58"/>
                    </a:lnTo>
                    <a:lnTo>
                      <a:pt x="17" y="60"/>
                    </a:lnTo>
                    <a:lnTo>
                      <a:pt x="19" y="60"/>
                    </a:lnTo>
                    <a:lnTo>
                      <a:pt x="21" y="60"/>
                    </a:lnTo>
                    <a:lnTo>
                      <a:pt x="21" y="58"/>
                    </a:lnTo>
                    <a:lnTo>
                      <a:pt x="21" y="60"/>
                    </a:lnTo>
                    <a:lnTo>
                      <a:pt x="23" y="60"/>
                    </a:lnTo>
                    <a:lnTo>
                      <a:pt x="24" y="60"/>
                    </a:lnTo>
                    <a:lnTo>
                      <a:pt x="24" y="58"/>
                    </a:lnTo>
                    <a:lnTo>
                      <a:pt x="26" y="58"/>
                    </a:lnTo>
                    <a:lnTo>
                      <a:pt x="28" y="58"/>
                    </a:lnTo>
                    <a:lnTo>
                      <a:pt x="28" y="56"/>
                    </a:lnTo>
                    <a:lnTo>
                      <a:pt x="29" y="56"/>
                    </a:lnTo>
                    <a:lnTo>
                      <a:pt x="31" y="56"/>
                    </a:lnTo>
                    <a:lnTo>
                      <a:pt x="31" y="55"/>
                    </a:lnTo>
                    <a:lnTo>
                      <a:pt x="33" y="55"/>
                    </a:lnTo>
                    <a:lnTo>
                      <a:pt x="34" y="53"/>
                    </a:lnTo>
                    <a:lnTo>
                      <a:pt x="34" y="55"/>
                    </a:lnTo>
                    <a:lnTo>
                      <a:pt x="34" y="53"/>
                    </a:lnTo>
                    <a:lnTo>
                      <a:pt x="36" y="53"/>
                    </a:lnTo>
                    <a:lnTo>
                      <a:pt x="36" y="51"/>
                    </a:lnTo>
                    <a:lnTo>
                      <a:pt x="36" y="49"/>
                    </a:lnTo>
                    <a:lnTo>
                      <a:pt x="36" y="48"/>
                    </a:lnTo>
                    <a:lnTo>
                      <a:pt x="36" y="46"/>
                    </a:lnTo>
                    <a:lnTo>
                      <a:pt x="34" y="46"/>
                    </a:lnTo>
                    <a:lnTo>
                      <a:pt x="33" y="46"/>
                    </a:lnTo>
                    <a:lnTo>
                      <a:pt x="33" y="44"/>
                    </a:lnTo>
                    <a:lnTo>
                      <a:pt x="33" y="46"/>
                    </a:lnTo>
                    <a:lnTo>
                      <a:pt x="31" y="44"/>
                    </a:lnTo>
                    <a:lnTo>
                      <a:pt x="31" y="46"/>
                    </a:lnTo>
                    <a:lnTo>
                      <a:pt x="29" y="46"/>
                    </a:lnTo>
                    <a:lnTo>
                      <a:pt x="29" y="48"/>
                    </a:lnTo>
                    <a:lnTo>
                      <a:pt x="29" y="46"/>
                    </a:lnTo>
                    <a:lnTo>
                      <a:pt x="28" y="46"/>
                    </a:lnTo>
                    <a:lnTo>
                      <a:pt x="28" y="44"/>
                    </a:lnTo>
                    <a:lnTo>
                      <a:pt x="26" y="44"/>
                    </a:lnTo>
                    <a:lnTo>
                      <a:pt x="26" y="43"/>
                    </a:lnTo>
                    <a:lnTo>
                      <a:pt x="28" y="43"/>
                    </a:lnTo>
                    <a:lnTo>
                      <a:pt x="28" y="41"/>
                    </a:lnTo>
                    <a:lnTo>
                      <a:pt x="28" y="39"/>
                    </a:lnTo>
                    <a:lnTo>
                      <a:pt x="26" y="39"/>
                    </a:lnTo>
                    <a:lnTo>
                      <a:pt x="26" y="38"/>
                    </a:lnTo>
                    <a:lnTo>
                      <a:pt x="26" y="36"/>
                    </a:lnTo>
                    <a:lnTo>
                      <a:pt x="26" y="34"/>
                    </a:lnTo>
                    <a:lnTo>
                      <a:pt x="26" y="32"/>
                    </a:lnTo>
                    <a:lnTo>
                      <a:pt x="26" y="31"/>
                    </a:lnTo>
                    <a:lnTo>
                      <a:pt x="28" y="31"/>
                    </a:lnTo>
                    <a:lnTo>
                      <a:pt x="28" y="29"/>
                    </a:lnTo>
                    <a:lnTo>
                      <a:pt x="28" y="27"/>
                    </a:lnTo>
                    <a:lnTo>
                      <a:pt x="29" y="26"/>
                    </a:lnTo>
                    <a:lnTo>
                      <a:pt x="29" y="24"/>
                    </a:lnTo>
                    <a:lnTo>
                      <a:pt x="31" y="24"/>
                    </a:lnTo>
                    <a:lnTo>
                      <a:pt x="33" y="24"/>
                    </a:lnTo>
                    <a:lnTo>
                      <a:pt x="34" y="24"/>
                    </a:lnTo>
                    <a:lnTo>
                      <a:pt x="36" y="24"/>
                    </a:lnTo>
                    <a:lnTo>
                      <a:pt x="36" y="22"/>
                    </a:lnTo>
                    <a:lnTo>
                      <a:pt x="38" y="22"/>
                    </a:lnTo>
                    <a:lnTo>
                      <a:pt x="40" y="21"/>
                    </a:lnTo>
                    <a:lnTo>
                      <a:pt x="40" y="19"/>
                    </a:lnTo>
                    <a:lnTo>
                      <a:pt x="41" y="19"/>
                    </a:lnTo>
                    <a:lnTo>
                      <a:pt x="43" y="19"/>
                    </a:lnTo>
                    <a:lnTo>
                      <a:pt x="43" y="17"/>
                    </a:lnTo>
                    <a:lnTo>
                      <a:pt x="45" y="17"/>
                    </a:lnTo>
                    <a:lnTo>
                      <a:pt x="46" y="17"/>
                    </a:lnTo>
                    <a:lnTo>
                      <a:pt x="46" y="15"/>
                    </a:lnTo>
                    <a:lnTo>
                      <a:pt x="48" y="15"/>
                    </a:lnTo>
                    <a:lnTo>
                      <a:pt x="48" y="14"/>
                    </a:lnTo>
                    <a:lnTo>
                      <a:pt x="48" y="12"/>
                    </a:lnTo>
                    <a:lnTo>
                      <a:pt x="50" y="10"/>
                    </a:lnTo>
                    <a:lnTo>
                      <a:pt x="53" y="10"/>
                    </a:lnTo>
                    <a:lnTo>
                      <a:pt x="53" y="9"/>
                    </a:lnTo>
                    <a:lnTo>
                      <a:pt x="55" y="9"/>
                    </a:lnTo>
                    <a:lnTo>
                      <a:pt x="53" y="7"/>
                    </a:lnTo>
                    <a:lnTo>
                      <a:pt x="51" y="4"/>
                    </a:lnTo>
                    <a:lnTo>
                      <a:pt x="50" y="2"/>
                    </a:lnTo>
                    <a:lnTo>
                      <a:pt x="48" y="0"/>
                    </a:lnTo>
                    <a:lnTo>
                      <a:pt x="50" y="0"/>
                    </a:lnTo>
                    <a:lnTo>
                      <a:pt x="50" y="2"/>
                    </a:lnTo>
                    <a:lnTo>
                      <a:pt x="51" y="2"/>
                    </a:lnTo>
                    <a:lnTo>
                      <a:pt x="51" y="4"/>
                    </a:lnTo>
                    <a:lnTo>
                      <a:pt x="53" y="5"/>
                    </a:lnTo>
                    <a:lnTo>
                      <a:pt x="55" y="5"/>
                    </a:lnTo>
                    <a:lnTo>
                      <a:pt x="57" y="5"/>
                    </a:lnTo>
                    <a:lnTo>
                      <a:pt x="55" y="5"/>
                    </a:lnTo>
                    <a:lnTo>
                      <a:pt x="55" y="4"/>
                    </a:lnTo>
                    <a:lnTo>
                      <a:pt x="57" y="4"/>
                    </a:lnTo>
                    <a:lnTo>
                      <a:pt x="57" y="5"/>
                    </a:lnTo>
                    <a:lnTo>
                      <a:pt x="58" y="5"/>
                    </a:lnTo>
                    <a:lnTo>
                      <a:pt x="60" y="5"/>
                    </a:lnTo>
                    <a:lnTo>
                      <a:pt x="60" y="7"/>
                    </a:lnTo>
                    <a:lnTo>
                      <a:pt x="62" y="7"/>
                    </a:lnTo>
                    <a:lnTo>
                      <a:pt x="62" y="9"/>
                    </a:lnTo>
                    <a:lnTo>
                      <a:pt x="63" y="9"/>
                    </a:lnTo>
                    <a:lnTo>
                      <a:pt x="65" y="9"/>
                    </a:lnTo>
                    <a:lnTo>
                      <a:pt x="65" y="10"/>
                    </a:lnTo>
                    <a:lnTo>
                      <a:pt x="67" y="10"/>
                    </a:lnTo>
                    <a:lnTo>
                      <a:pt x="68" y="10"/>
                    </a:lnTo>
                    <a:lnTo>
                      <a:pt x="68" y="12"/>
                    </a:lnTo>
                    <a:lnTo>
                      <a:pt x="70" y="12"/>
                    </a:lnTo>
                    <a:lnTo>
                      <a:pt x="72" y="14"/>
                    </a:lnTo>
                    <a:lnTo>
                      <a:pt x="74" y="14"/>
                    </a:lnTo>
                    <a:lnTo>
                      <a:pt x="75" y="15"/>
                    </a:lnTo>
                    <a:lnTo>
                      <a:pt x="77" y="15"/>
                    </a:lnTo>
                    <a:lnTo>
                      <a:pt x="77" y="17"/>
                    </a:lnTo>
                    <a:lnTo>
                      <a:pt x="79" y="17"/>
                    </a:lnTo>
                    <a:lnTo>
                      <a:pt x="79" y="19"/>
                    </a:lnTo>
                    <a:lnTo>
                      <a:pt x="80" y="21"/>
                    </a:lnTo>
                    <a:lnTo>
                      <a:pt x="82" y="21"/>
                    </a:lnTo>
                    <a:lnTo>
                      <a:pt x="82" y="22"/>
                    </a:lnTo>
                    <a:lnTo>
                      <a:pt x="84" y="24"/>
                    </a:lnTo>
                    <a:lnTo>
                      <a:pt x="85" y="26"/>
                    </a:lnTo>
                    <a:lnTo>
                      <a:pt x="87" y="27"/>
                    </a:lnTo>
                    <a:lnTo>
                      <a:pt x="89" y="27"/>
                    </a:lnTo>
                    <a:lnTo>
                      <a:pt x="89" y="29"/>
                    </a:lnTo>
                    <a:lnTo>
                      <a:pt x="89" y="31"/>
                    </a:lnTo>
                    <a:lnTo>
                      <a:pt x="91" y="31"/>
                    </a:lnTo>
                    <a:lnTo>
                      <a:pt x="91" y="32"/>
                    </a:lnTo>
                    <a:lnTo>
                      <a:pt x="91" y="31"/>
                    </a:lnTo>
                    <a:lnTo>
                      <a:pt x="92" y="31"/>
                    </a:lnTo>
                    <a:lnTo>
                      <a:pt x="92" y="32"/>
                    </a:lnTo>
                    <a:lnTo>
                      <a:pt x="94" y="32"/>
                    </a:lnTo>
                    <a:lnTo>
                      <a:pt x="94" y="34"/>
                    </a:lnTo>
                    <a:lnTo>
                      <a:pt x="96" y="36"/>
                    </a:lnTo>
                    <a:lnTo>
                      <a:pt x="97" y="38"/>
                    </a:lnTo>
                    <a:lnTo>
                      <a:pt x="97" y="39"/>
                    </a:lnTo>
                    <a:lnTo>
                      <a:pt x="99" y="39"/>
                    </a:lnTo>
                    <a:lnTo>
                      <a:pt x="99" y="41"/>
                    </a:lnTo>
                    <a:lnTo>
                      <a:pt x="99" y="43"/>
                    </a:lnTo>
                    <a:lnTo>
                      <a:pt x="99" y="44"/>
                    </a:lnTo>
                    <a:lnTo>
                      <a:pt x="99" y="46"/>
                    </a:lnTo>
                    <a:lnTo>
                      <a:pt x="99" y="48"/>
                    </a:lnTo>
                    <a:lnTo>
                      <a:pt x="99" y="49"/>
                    </a:lnTo>
                    <a:lnTo>
                      <a:pt x="99" y="51"/>
                    </a:lnTo>
                    <a:lnTo>
                      <a:pt x="99" y="53"/>
                    </a:lnTo>
                    <a:lnTo>
                      <a:pt x="97" y="53"/>
                    </a:lnTo>
                    <a:lnTo>
                      <a:pt x="97" y="55"/>
                    </a:lnTo>
                    <a:lnTo>
                      <a:pt x="96" y="55"/>
                    </a:lnTo>
                    <a:lnTo>
                      <a:pt x="96" y="56"/>
                    </a:lnTo>
                    <a:lnTo>
                      <a:pt x="96" y="58"/>
                    </a:lnTo>
                    <a:lnTo>
                      <a:pt x="96" y="60"/>
                    </a:lnTo>
                    <a:lnTo>
                      <a:pt x="96" y="61"/>
                    </a:lnTo>
                    <a:lnTo>
                      <a:pt x="94" y="61"/>
                    </a:lnTo>
                    <a:lnTo>
                      <a:pt x="94" y="63"/>
                    </a:lnTo>
                    <a:lnTo>
                      <a:pt x="94" y="65"/>
                    </a:lnTo>
                    <a:lnTo>
                      <a:pt x="94" y="66"/>
                    </a:lnTo>
                    <a:lnTo>
                      <a:pt x="94" y="68"/>
                    </a:lnTo>
                    <a:lnTo>
                      <a:pt x="94" y="70"/>
                    </a:lnTo>
                    <a:lnTo>
                      <a:pt x="94" y="72"/>
                    </a:lnTo>
                    <a:lnTo>
                      <a:pt x="92" y="72"/>
                    </a:lnTo>
                    <a:lnTo>
                      <a:pt x="92" y="73"/>
                    </a:lnTo>
                    <a:lnTo>
                      <a:pt x="91" y="73"/>
                    </a:lnTo>
                    <a:lnTo>
                      <a:pt x="92" y="73"/>
                    </a:lnTo>
                    <a:lnTo>
                      <a:pt x="94" y="73"/>
                    </a:lnTo>
                    <a:lnTo>
                      <a:pt x="94" y="72"/>
                    </a:lnTo>
                    <a:lnTo>
                      <a:pt x="94" y="73"/>
                    </a:lnTo>
                    <a:lnTo>
                      <a:pt x="96" y="75"/>
                    </a:lnTo>
                    <a:lnTo>
                      <a:pt x="96" y="73"/>
                    </a:lnTo>
                    <a:lnTo>
                      <a:pt x="96" y="72"/>
                    </a:lnTo>
                    <a:lnTo>
                      <a:pt x="96" y="70"/>
                    </a:lnTo>
                    <a:lnTo>
                      <a:pt x="96" y="68"/>
                    </a:lnTo>
                    <a:lnTo>
                      <a:pt x="96" y="66"/>
                    </a:lnTo>
                    <a:lnTo>
                      <a:pt x="96" y="65"/>
                    </a:lnTo>
                    <a:lnTo>
                      <a:pt x="96" y="63"/>
                    </a:lnTo>
                    <a:lnTo>
                      <a:pt x="97" y="63"/>
                    </a:lnTo>
                    <a:lnTo>
                      <a:pt x="97" y="61"/>
                    </a:lnTo>
                    <a:lnTo>
                      <a:pt x="97" y="60"/>
                    </a:lnTo>
                    <a:lnTo>
                      <a:pt x="99" y="60"/>
                    </a:lnTo>
                    <a:lnTo>
                      <a:pt x="99" y="58"/>
                    </a:lnTo>
                    <a:lnTo>
                      <a:pt x="101" y="58"/>
                    </a:lnTo>
                    <a:lnTo>
                      <a:pt x="101" y="56"/>
                    </a:lnTo>
                    <a:lnTo>
                      <a:pt x="102" y="56"/>
                    </a:lnTo>
                    <a:lnTo>
                      <a:pt x="104" y="56"/>
                    </a:lnTo>
                    <a:lnTo>
                      <a:pt x="106" y="56"/>
                    </a:lnTo>
                    <a:lnTo>
                      <a:pt x="108" y="56"/>
                    </a:lnTo>
                    <a:lnTo>
                      <a:pt x="108" y="58"/>
                    </a:lnTo>
                    <a:lnTo>
                      <a:pt x="109" y="58"/>
                    </a:lnTo>
                    <a:lnTo>
                      <a:pt x="111" y="58"/>
                    </a:lnTo>
                    <a:lnTo>
                      <a:pt x="113" y="58"/>
                    </a:lnTo>
                    <a:lnTo>
                      <a:pt x="114" y="58"/>
                    </a:lnTo>
                    <a:lnTo>
                      <a:pt x="114" y="60"/>
                    </a:lnTo>
                    <a:lnTo>
                      <a:pt x="116" y="60"/>
                    </a:lnTo>
                    <a:lnTo>
                      <a:pt x="116" y="61"/>
                    </a:lnTo>
                    <a:lnTo>
                      <a:pt x="118" y="61"/>
                    </a:lnTo>
                    <a:lnTo>
                      <a:pt x="119" y="61"/>
                    </a:lnTo>
                    <a:lnTo>
                      <a:pt x="119" y="63"/>
                    </a:lnTo>
                    <a:lnTo>
                      <a:pt x="121" y="63"/>
                    </a:lnTo>
                    <a:lnTo>
                      <a:pt x="121" y="65"/>
                    </a:lnTo>
                    <a:lnTo>
                      <a:pt x="123" y="66"/>
                    </a:lnTo>
                    <a:lnTo>
                      <a:pt x="125" y="66"/>
                    </a:lnTo>
                    <a:lnTo>
                      <a:pt x="125" y="68"/>
                    </a:lnTo>
                    <a:lnTo>
                      <a:pt x="126" y="68"/>
                    </a:lnTo>
                    <a:lnTo>
                      <a:pt x="126" y="70"/>
                    </a:lnTo>
                    <a:lnTo>
                      <a:pt x="128" y="70"/>
                    </a:lnTo>
                    <a:lnTo>
                      <a:pt x="128" y="72"/>
                    </a:lnTo>
                    <a:lnTo>
                      <a:pt x="130" y="72"/>
                    </a:lnTo>
                    <a:lnTo>
                      <a:pt x="130" y="73"/>
                    </a:lnTo>
                    <a:lnTo>
                      <a:pt x="130" y="75"/>
                    </a:lnTo>
                    <a:lnTo>
                      <a:pt x="131" y="77"/>
                    </a:lnTo>
                    <a:lnTo>
                      <a:pt x="131" y="75"/>
                    </a:lnTo>
                    <a:lnTo>
                      <a:pt x="133" y="75"/>
                    </a:lnTo>
                    <a:lnTo>
                      <a:pt x="135" y="75"/>
                    </a:lnTo>
                    <a:lnTo>
                      <a:pt x="136" y="75"/>
                    </a:lnTo>
                    <a:lnTo>
                      <a:pt x="136" y="77"/>
                    </a:lnTo>
                    <a:lnTo>
                      <a:pt x="138" y="77"/>
                    </a:lnTo>
                    <a:lnTo>
                      <a:pt x="140" y="78"/>
                    </a:lnTo>
                    <a:lnTo>
                      <a:pt x="142" y="80"/>
                    </a:lnTo>
                    <a:lnTo>
                      <a:pt x="142" y="82"/>
                    </a:lnTo>
                    <a:lnTo>
                      <a:pt x="143" y="82"/>
                    </a:lnTo>
                    <a:lnTo>
                      <a:pt x="143" y="83"/>
                    </a:lnTo>
                    <a:lnTo>
                      <a:pt x="143" y="85"/>
                    </a:lnTo>
                    <a:lnTo>
                      <a:pt x="145" y="87"/>
                    </a:lnTo>
                    <a:lnTo>
                      <a:pt x="143" y="87"/>
                    </a:lnTo>
                    <a:lnTo>
                      <a:pt x="145" y="87"/>
                    </a:lnTo>
                    <a:lnTo>
                      <a:pt x="145" y="89"/>
                    </a:lnTo>
                    <a:lnTo>
                      <a:pt x="145" y="90"/>
                    </a:lnTo>
                    <a:lnTo>
                      <a:pt x="143" y="90"/>
                    </a:lnTo>
                    <a:lnTo>
                      <a:pt x="143" y="92"/>
                    </a:lnTo>
                    <a:lnTo>
                      <a:pt x="143" y="94"/>
                    </a:lnTo>
                    <a:lnTo>
                      <a:pt x="143" y="95"/>
                    </a:lnTo>
                    <a:lnTo>
                      <a:pt x="143" y="97"/>
                    </a:lnTo>
                    <a:close/>
                    <a:moveTo>
                      <a:pt x="96" y="61"/>
                    </a:moveTo>
                    <a:lnTo>
                      <a:pt x="96" y="60"/>
                    </a:lnTo>
                    <a:lnTo>
                      <a:pt x="97" y="58"/>
                    </a:lnTo>
                    <a:lnTo>
                      <a:pt x="97" y="56"/>
                    </a:lnTo>
                    <a:lnTo>
                      <a:pt x="99" y="56"/>
                    </a:lnTo>
                    <a:lnTo>
                      <a:pt x="97" y="58"/>
                    </a:lnTo>
                    <a:lnTo>
                      <a:pt x="97" y="60"/>
                    </a:lnTo>
                    <a:lnTo>
                      <a:pt x="96" y="60"/>
                    </a:lnTo>
                    <a:lnTo>
                      <a:pt x="96" y="61"/>
                    </a:lnTo>
                    <a:close/>
                    <a:moveTo>
                      <a:pt x="97" y="56"/>
                    </a:moveTo>
                    <a:lnTo>
                      <a:pt x="97" y="55"/>
                    </a:lnTo>
                    <a:lnTo>
                      <a:pt x="99" y="55"/>
                    </a:lnTo>
                    <a:lnTo>
                      <a:pt x="99" y="53"/>
                    </a:lnTo>
                    <a:lnTo>
                      <a:pt x="101" y="53"/>
                    </a:lnTo>
                    <a:lnTo>
                      <a:pt x="101" y="51"/>
                    </a:lnTo>
                    <a:lnTo>
                      <a:pt x="101" y="53"/>
                    </a:lnTo>
                    <a:lnTo>
                      <a:pt x="102" y="53"/>
                    </a:lnTo>
                    <a:lnTo>
                      <a:pt x="101" y="53"/>
                    </a:lnTo>
                    <a:lnTo>
                      <a:pt x="99" y="55"/>
                    </a:lnTo>
                    <a:lnTo>
                      <a:pt x="97" y="56"/>
                    </a:lnTo>
                    <a:close/>
                    <a:moveTo>
                      <a:pt x="102" y="53"/>
                    </a:moveTo>
                    <a:lnTo>
                      <a:pt x="104" y="53"/>
                    </a:lnTo>
                    <a:lnTo>
                      <a:pt x="102" y="55"/>
                    </a:lnTo>
                    <a:lnTo>
                      <a:pt x="101" y="55"/>
                    </a:lnTo>
                    <a:lnTo>
                      <a:pt x="101" y="56"/>
                    </a:lnTo>
                    <a:lnTo>
                      <a:pt x="99" y="56"/>
                    </a:lnTo>
                    <a:lnTo>
                      <a:pt x="99" y="55"/>
                    </a:lnTo>
                    <a:lnTo>
                      <a:pt x="101" y="55"/>
                    </a:lnTo>
                    <a:lnTo>
                      <a:pt x="101" y="53"/>
                    </a:lnTo>
                    <a:lnTo>
                      <a:pt x="102" y="53"/>
                    </a:lnTo>
                    <a:close/>
                    <a:moveTo>
                      <a:pt x="96" y="58"/>
                    </a:moveTo>
                    <a:lnTo>
                      <a:pt x="96" y="56"/>
                    </a:lnTo>
                    <a:lnTo>
                      <a:pt x="97" y="55"/>
                    </a:lnTo>
                    <a:lnTo>
                      <a:pt x="99" y="55"/>
                    </a:lnTo>
                    <a:lnTo>
                      <a:pt x="97" y="55"/>
                    </a:lnTo>
                    <a:lnTo>
                      <a:pt x="97" y="56"/>
                    </a:lnTo>
                    <a:lnTo>
                      <a:pt x="96" y="56"/>
                    </a:lnTo>
                    <a:lnTo>
                      <a:pt x="96" y="58"/>
                    </a:lnTo>
                    <a:close/>
                    <a:moveTo>
                      <a:pt x="99" y="49"/>
                    </a:moveTo>
                    <a:lnTo>
                      <a:pt x="99" y="51"/>
                    </a:lnTo>
                    <a:lnTo>
                      <a:pt x="99" y="49"/>
                    </a:lnTo>
                    <a:close/>
                    <a:moveTo>
                      <a:pt x="97" y="60"/>
                    </a:moveTo>
                    <a:lnTo>
                      <a:pt x="97" y="61"/>
                    </a:lnTo>
                    <a:lnTo>
                      <a:pt x="97" y="60"/>
                    </a:lnTo>
                    <a:close/>
                    <a:moveTo>
                      <a:pt x="96" y="56"/>
                    </a:moveTo>
                    <a:lnTo>
                      <a:pt x="97" y="56"/>
                    </a:lnTo>
                    <a:lnTo>
                      <a:pt x="97" y="58"/>
                    </a:lnTo>
                    <a:lnTo>
                      <a:pt x="96" y="58"/>
                    </a:lnTo>
                    <a:lnTo>
                      <a:pt x="96" y="56"/>
                    </a:lnTo>
                    <a:close/>
                    <a:moveTo>
                      <a:pt x="96" y="58"/>
                    </a:moveTo>
                    <a:lnTo>
                      <a:pt x="96" y="60"/>
                    </a:lnTo>
                    <a:lnTo>
                      <a:pt x="96" y="58"/>
                    </a:lnTo>
                    <a:close/>
                    <a:moveTo>
                      <a:pt x="97" y="53"/>
                    </a:moveTo>
                    <a:lnTo>
                      <a:pt x="97" y="55"/>
                    </a:lnTo>
                    <a:lnTo>
                      <a:pt x="97" y="53"/>
                    </a:lnTo>
                    <a:close/>
                    <a:moveTo>
                      <a:pt x="96" y="61"/>
                    </a:moveTo>
                    <a:lnTo>
                      <a:pt x="97" y="61"/>
                    </a:lnTo>
                    <a:lnTo>
                      <a:pt x="96" y="61"/>
                    </a:lnTo>
                    <a:close/>
                    <a:moveTo>
                      <a:pt x="96" y="56"/>
                    </a:moveTo>
                    <a:lnTo>
                      <a:pt x="96" y="58"/>
                    </a:lnTo>
                    <a:lnTo>
                      <a:pt x="96" y="56"/>
                    </a:lnTo>
                    <a:close/>
                    <a:moveTo>
                      <a:pt x="96" y="63"/>
                    </a:moveTo>
                    <a:lnTo>
                      <a:pt x="96" y="65"/>
                    </a:lnTo>
                    <a:lnTo>
                      <a:pt x="96" y="63"/>
                    </a:lnTo>
                    <a:close/>
                    <a:moveTo>
                      <a:pt x="97" y="60"/>
                    </a:moveTo>
                    <a:lnTo>
                      <a:pt x="97" y="61"/>
                    </a:lnTo>
                    <a:lnTo>
                      <a:pt x="97" y="60"/>
                    </a:lnTo>
                    <a:close/>
                    <a:moveTo>
                      <a:pt x="96" y="73"/>
                    </a:moveTo>
                    <a:lnTo>
                      <a:pt x="96" y="75"/>
                    </a:lnTo>
                    <a:lnTo>
                      <a:pt x="96" y="73"/>
                    </a:lnTo>
                    <a:close/>
                    <a:moveTo>
                      <a:pt x="96" y="63"/>
                    </a:moveTo>
                    <a:lnTo>
                      <a:pt x="96" y="65"/>
                    </a:lnTo>
                    <a:lnTo>
                      <a:pt x="96" y="63"/>
                    </a:lnTo>
                    <a:close/>
                    <a:moveTo>
                      <a:pt x="94" y="61"/>
                    </a:moveTo>
                    <a:lnTo>
                      <a:pt x="96" y="61"/>
                    </a:lnTo>
                    <a:lnTo>
                      <a:pt x="96" y="63"/>
                    </a:lnTo>
                    <a:lnTo>
                      <a:pt x="94" y="63"/>
                    </a:lnTo>
                    <a:lnTo>
                      <a:pt x="94" y="61"/>
                    </a:lnTo>
                    <a:close/>
                    <a:moveTo>
                      <a:pt x="96" y="60"/>
                    </a:moveTo>
                    <a:lnTo>
                      <a:pt x="96" y="61"/>
                    </a:lnTo>
                    <a:lnTo>
                      <a:pt x="96" y="60"/>
                    </a:lnTo>
                    <a:close/>
                    <a:moveTo>
                      <a:pt x="96" y="58"/>
                    </a:moveTo>
                    <a:lnTo>
                      <a:pt x="96" y="60"/>
                    </a:lnTo>
                    <a:lnTo>
                      <a:pt x="96" y="58"/>
                    </a:lnTo>
                    <a:close/>
                    <a:moveTo>
                      <a:pt x="94" y="66"/>
                    </a:moveTo>
                    <a:lnTo>
                      <a:pt x="94" y="68"/>
                    </a:lnTo>
                    <a:lnTo>
                      <a:pt x="94" y="66"/>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9" name="Freeform 36">
                <a:extLst>
                  <a:ext uri="{FF2B5EF4-FFF2-40B4-BE49-F238E27FC236}">
                    <a16:creationId xmlns:a16="http://schemas.microsoft.com/office/drawing/2014/main" id="{EFEAD6DC-6A40-04FA-D7ED-5689BFD4B298}"/>
                  </a:ext>
                </a:extLst>
              </p:cNvPr>
              <p:cNvSpPr>
                <a:spLocks/>
              </p:cNvSpPr>
              <p:nvPr/>
            </p:nvSpPr>
            <p:spPr bwMode="auto">
              <a:xfrm>
                <a:off x="5799886" y="2913056"/>
                <a:ext cx="17917" cy="18798"/>
              </a:xfrm>
              <a:custGeom>
                <a:avLst/>
                <a:gdLst>
                  <a:gd name="T0" fmla="*/ 56 w 61"/>
                  <a:gd name="T1" fmla="*/ 49 h 64"/>
                  <a:gd name="T2" fmla="*/ 53 w 61"/>
                  <a:gd name="T3" fmla="*/ 51 h 64"/>
                  <a:gd name="T4" fmla="*/ 49 w 61"/>
                  <a:gd name="T5" fmla="*/ 51 h 64"/>
                  <a:gd name="T6" fmla="*/ 44 w 61"/>
                  <a:gd name="T7" fmla="*/ 51 h 64"/>
                  <a:gd name="T8" fmla="*/ 41 w 61"/>
                  <a:gd name="T9" fmla="*/ 47 h 64"/>
                  <a:gd name="T10" fmla="*/ 38 w 61"/>
                  <a:gd name="T11" fmla="*/ 47 h 64"/>
                  <a:gd name="T12" fmla="*/ 34 w 61"/>
                  <a:gd name="T13" fmla="*/ 47 h 64"/>
                  <a:gd name="T14" fmla="*/ 32 w 61"/>
                  <a:gd name="T15" fmla="*/ 49 h 64"/>
                  <a:gd name="T16" fmla="*/ 31 w 61"/>
                  <a:gd name="T17" fmla="*/ 52 h 64"/>
                  <a:gd name="T18" fmla="*/ 27 w 61"/>
                  <a:gd name="T19" fmla="*/ 57 h 64"/>
                  <a:gd name="T20" fmla="*/ 21 w 61"/>
                  <a:gd name="T21" fmla="*/ 57 h 64"/>
                  <a:gd name="T22" fmla="*/ 19 w 61"/>
                  <a:gd name="T23" fmla="*/ 57 h 64"/>
                  <a:gd name="T24" fmla="*/ 15 w 61"/>
                  <a:gd name="T25" fmla="*/ 59 h 64"/>
                  <a:gd name="T26" fmla="*/ 12 w 61"/>
                  <a:gd name="T27" fmla="*/ 59 h 64"/>
                  <a:gd name="T28" fmla="*/ 12 w 61"/>
                  <a:gd name="T29" fmla="*/ 63 h 64"/>
                  <a:gd name="T30" fmla="*/ 9 w 61"/>
                  <a:gd name="T31" fmla="*/ 64 h 64"/>
                  <a:gd name="T32" fmla="*/ 5 w 61"/>
                  <a:gd name="T33" fmla="*/ 63 h 64"/>
                  <a:gd name="T34" fmla="*/ 2 w 61"/>
                  <a:gd name="T35" fmla="*/ 63 h 64"/>
                  <a:gd name="T36" fmla="*/ 2 w 61"/>
                  <a:gd name="T37" fmla="*/ 59 h 64"/>
                  <a:gd name="T38" fmla="*/ 4 w 61"/>
                  <a:gd name="T39" fmla="*/ 54 h 64"/>
                  <a:gd name="T40" fmla="*/ 7 w 61"/>
                  <a:gd name="T41" fmla="*/ 54 h 64"/>
                  <a:gd name="T42" fmla="*/ 14 w 61"/>
                  <a:gd name="T43" fmla="*/ 54 h 64"/>
                  <a:gd name="T44" fmla="*/ 14 w 61"/>
                  <a:gd name="T45" fmla="*/ 47 h 64"/>
                  <a:gd name="T46" fmla="*/ 14 w 61"/>
                  <a:gd name="T47" fmla="*/ 44 h 64"/>
                  <a:gd name="T48" fmla="*/ 14 w 61"/>
                  <a:gd name="T49" fmla="*/ 42 h 64"/>
                  <a:gd name="T50" fmla="*/ 14 w 61"/>
                  <a:gd name="T51" fmla="*/ 37 h 64"/>
                  <a:gd name="T52" fmla="*/ 15 w 61"/>
                  <a:gd name="T53" fmla="*/ 34 h 64"/>
                  <a:gd name="T54" fmla="*/ 15 w 61"/>
                  <a:gd name="T55" fmla="*/ 34 h 64"/>
                  <a:gd name="T56" fmla="*/ 19 w 61"/>
                  <a:gd name="T57" fmla="*/ 30 h 64"/>
                  <a:gd name="T58" fmla="*/ 22 w 61"/>
                  <a:gd name="T59" fmla="*/ 27 h 64"/>
                  <a:gd name="T60" fmla="*/ 24 w 61"/>
                  <a:gd name="T61" fmla="*/ 23 h 64"/>
                  <a:gd name="T62" fmla="*/ 27 w 61"/>
                  <a:gd name="T63" fmla="*/ 23 h 64"/>
                  <a:gd name="T64" fmla="*/ 31 w 61"/>
                  <a:gd name="T65" fmla="*/ 20 h 64"/>
                  <a:gd name="T66" fmla="*/ 29 w 61"/>
                  <a:gd name="T67" fmla="*/ 17 h 64"/>
                  <a:gd name="T68" fmla="*/ 29 w 61"/>
                  <a:gd name="T69" fmla="*/ 13 h 64"/>
                  <a:gd name="T70" fmla="*/ 24 w 61"/>
                  <a:gd name="T71" fmla="*/ 10 h 64"/>
                  <a:gd name="T72" fmla="*/ 26 w 61"/>
                  <a:gd name="T73" fmla="*/ 3 h 64"/>
                  <a:gd name="T74" fmla="*/ 27 w 61"/>
                  <a:gd name="T75" fmla="*/ 1 h 64"/>
                  <a:gd name="T76" fmla="*/ 31 w 61"/>
                  <a:gd name="T77" fmla="*/ 1 h 64"/>
                  <a:gd name="T78" fmla="*/ 36 w 61"/>
                  <a:gd name="T79" fmla="*/ 1 h 64"/>
                  <a:gd name="T80" fmla="*/ 34 w 61"/>
                  <a:gd name="T81" fmla="*/ 3 h 64"/>
                  <a:gd name="T82" fmla="*/ 34 w 61"/>
                  <a:gd name="T83" fmla="*/ 8 h 64"/>
                  <a:gd name="T84" fmla="*/ 38 w 61"/>
                  <a:gd name="T85" fmla="*/ 8 h 64"/>
                  <a:gd name="T86" fmla="*/ 38 w 61"/>
                  <a:gd name="T87" fmla="*/ 12 h 64"/>
                  <a:gd name="T88" fmla="*/ 38 w 61"/>
                  <a:gd name="T89" fmla="*/ 15 h 64"/>
                  <a:gd name="T90" fmla="*/ 38 w 61"/>
                  <a:gd name="T91" fmla="*/ 18 h 64"/>
                  <a:gd name="T92" fmla="*/ 39 w 61"/>
                  <a:gd name="T93" fmla="*/ 20 h 64"/>
                  <a:gd name="T94" fmla="*/ 41 w 61"/>
                  <a:gd name="T95" fmla="*/ 22 h 64"/>
                  <a:gd name="T96" fmla="*/ 44 w 61"/>
                  <a:gd name="T97" fmla="*/ 27 h 64"/>
                  <a:gd name="T98" fmla="*/ 48 w 61"/>
                  <a:gd name="T99" fmla="*/ 30 h 64"/>
                  <a:gd name="T100" fmla="*/ 48 w 61"/>
                  <a:gd name="T101" fmla="*/ 34 h 64"/>
                  <a:gd name="T102" fmla="*/ 51 w 61"/>
                  <a:gd name="T103" fmla="*/ 39 h 64"/>
                  <a:gd name="T104" fmla="*/ 53 w 61"/>
                  <a:gd name="T105" fmla="*/ 44 h 64"/>
                  <a:gd name="T106" fmla="*/ 56 w 61"/>
                  <a:gd name="T107" fmla="*/ 47 h 64"/>
                  <a:gd name="T108" fmla="*/ 61 w 61"/>
                  <a:gd name="T109" fmla="*/ 4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 h="64">
                    <a:moveTo>
                      <a:pt x="61" y="49"/>
                    </a:moveTo>
                    <a:lnTo>
                      <a:pt x="60" y="51"/>
                    </a:lnTo>
                    <a:lnTo>
                      <a:pt x="58" y="49"/>
                    </a:lnTo>
                    <a:lnTo>
                      <a:pt x="56" y="49"/>
                    </a:lnTo>
                    <a:lnTo>
                      <a:pt x="56" y="51"/>
                    </a:lnTo>
                    <a:lnTo>
                      <a:pt x="55" y="51"/>
                    </a:lnTo>
                    <a:lnTo>
                      <a:pt x="55" y="49"/>
                    </a:lnTo>
                    <a:lnTo>
                      <a:pt x="53" y="51"/>
                    </a:lnTo>
                    <a:lnTo>
                      <a:pt x="53" y="52"/>
                    </a:lnTo>
                    <a:lnTo>
                      <a:pt x="51" y="52"/>
                    </a:lnTo>
                    <a:lnTo>
                      <a:pt x="51" y="51"/>
                    </a:lnTo>
                    <a:lnTo>
                      <a:pt x="49" y="51"/>
                    </a:lnTo>
                    <a:lnTo>
                      <a:pt x="48" y="51"/>
                    </a:lnTo>
                    <a:lnTo>
                      <a:pt x="48" y="49"/>
                    </a:lnTo>
                    <a:lnTo>
                      <a:pt x="46" y="51"/>
                    </a:lnTo>
                    <a:lnTo>
                      <a:pt x="44" y="51"/>
                    </a:lnTo>
                    <a:lnTo>
                      <a:pt x="44" y="49"/>
                    </a:lnTo>
                    <a:lnTo>
                      <a:pt x="43" y="49"/>
                    </a:lnTo>
                    <a:lnTo>
                      <a:pt x="43" y="47"/>
                    </a:lnTo>
                    <a:lnTo>
                      <a:pt x="41" y="47"/>
                    </a:lnTo>
                    <a:lnTo>
                      <a:pt x="41" y="46"/>
                    </a:lnTo>
                    <a:lnTo>
                      <a:pt x="41" y="47"/>
                    </a:lnTo>
                    <a:lnTo>
                      <a:pt x="39" y="47"/>
                    </a:lnTo>
                    <a:lnTo>
                      <a:pt x="38" y="47"/>
                    </a:lnTo>
                    <a:lnTo>
                      <a:pt x="38" y="49"/>
                    </a:lnTo>
                    <a:lnTo>
                      <a:pt x="36" y="49"/>
                    </a:lnTo>
                    <a:lnTo>
                      <a:pt x="36" y="47"/>
                    </a:lnTo>
                    <a:lnTo>
                      <a:pt x="34" y="47"/>
                    </a:lnTo>
                    <a:lnTo>
                      <a:pt x="32" y="47"/>
                    </a:lnTo>
                    <a:lnTo>
                      <a:pt x="32" y="49"/>
                    </a:lnTo>
                    <a:lnTo>
                      <a:pt x="32" y="51"/>
                    </a:lnTo>
                    <a:lnTo>
                      <a:pt x="32" y="49"/>
                    </a:lnTo>
                    <a:lnTo>
                      <a:pt x="31" y="51"/>
                    </a:lnTo>
                    <a:lnTo>
                      <a:pt x="31" y="52"/>
                    </a:lnTo>
                    <a:lnTo>
                      <a:pt x="29" y="52"/>
                    </a:lnTo>
                    <a:lnTo>
                      <a:pt x="31" y="52"/>
                    </a:lnTo>
                    <a:lnTo>
                      <a:pt x="29" y="54"/>
                    </a:lnTo>
                    <a:lnTo>
                      <a:pt x="27" y="54"/>
                    </a:lnTo>
                    <a:lnTo>
                      <a:pt x="27" y="56"/>
                    </a:lnTo>
                    <a:lnTo>
                      <a:pt x="27" y="57"/>
                    </a:lnTo>
                    <a:lnTo>
                      <a:pt x="26" y="57"/>
                    </a:lnTo>
                    <a:lnTo>
                      <a:pt x="24" y="57"/>
                    </a:lnTo>
                    <a:lnTo>
                      <a:pt x="22" y="57"/>
                    </a:lnTo>
                    <a:lnTo>
                      <a:pt x="21" y="57"/>
                    </a:lnTo>
                    <a:lnTo>
                      <a:pt x="21" y="56"/>
                    </a:lnTo>
                    <a:lnTo>
                      <a:pt x="21" y="57"/>
                    </a:lnTo>
                    <a:lnTo>
                      <a:pt x="21" y="56"/>
                    </a:lnTo>
                    <a:lnTo>
                      <a:pt x="19" y="57"/>
                    </a:lnTo>
                    <a:lnTo>
                      <a:pt x="19" y="56"/>
                    </a:lnTo>
                    <a:lnTo>
                      <a:pt x="19" y="57"/>
                    </a:lnTo>
                    <a:lnTo>
                      <a:pt x="17" y="57"/>
                    </a:lnTo>
                    <a:lnTo>
                      <a:pt x="15" y="59"/>
                    </a:lnTo>
                    <a:lnTo>
                      <a:pt x="15" y="57"/>
                    </a:lnTo>
                    <a:lnTo>
                      <a:pt x="15" y="59"/>
                    </a:lnTo>
                    <a:lnTo>
                      <a:pt x="14" y="59"/>
                    </a:lnTo>
                    <a:lnTo>
                      <a:pt x="12" y="59"/>
                    </a:lnTo>
                    <a:lnTo>
                      <a:pt x="10" y="59"/>
                    </a:lnTo>
                    <a:lnTo>
                      <a:pt x="12" y="59"/>
                    </a:lnTo>
                    <a:lnTo>
                      <a:pt x="12" y="61"/>
                    </a:lnTo>
                    <a:lnTo>
                      <a:pt x="12" y="63"/>
                    </a:lnTo>
                    <a:lnTo>
                      <a:pt x="10" y="63"/>
                    </a:lnTo>
                    <a:lnTo>
                      <a:pt x="10" y="64"/>
                    </a:lnTo>
                    <a:lnTo>
                      <a:pt x="9" y="63"/>
                    </a:lnTo>
                    <a:lnTo>
                      <a:pt x="9" y="64"/>
                    </a:lnTo>
                    <a:lnTo>
                      <a:pt x="7" y="64"/>
                    </a:lnTo>
                    <a:lnTo>
                      <a:pt x="5" y="64"/>
                    </a:lnTo>
                    <a:lnTo>
                      <a:pt x="7" y="64"/>
                    </a:lnTo>
                    <a:lnTo>
                      <a:pt x="5" y="63"/>
                    </a:lnTo>
                    <a:lnTo>
                      <a:pt x="4" y="63"/>
                    </a:lnTo>
                    <a:lnTo>
                      <a:pt x="2" y="63"/>
                    </a:lnTo>
                    <a:lnTo>
                      <a:pt x="2" y="61"/>
                    </a:lnTo>
                    <a:lnTo>
                      <a:pt x="2" y="63"/>
                    </a:lnTo>
                    <a:lnTo>
                      <a:pt x="0" y="63"/>
                    </a:lnTo>
                    <a:lnTo>
                      <a:pt x="0" y="61"/>
                    </a:lnTo>
                    <a:lnTo>
                      <a:pt x="0" y="59"/>
                    </a:lnTo>
                    <a:lnTo>
                      <a:pt x="2" y="59"/>
                    </a:lnTo>
                    <a:lnTo>
                      <a:pt x="2" y="57"/>
                    </a:lnTo>
                    <a:lnTo>
                      <a:pt x="4" y="57"/>
                    </a:lnTo>
                    <a:lnTo>
                      <a:pt x="4" y="56"/>
                    </a:lnTo>
                    <a:lnTo>
                      <a:pt x="4" y="54"/>
                    </a:lnTo>
                    <a:lnTo>
                      <a:pt x="4" y="56"/>
                    </a:lnTo>
                    <a:lnTo>
                      <a:pt x="4" y="54"/>
                    </a:lnTo>
                    <a:lnTo>
                      <a:pt x="5" y="54"/>
                    </a:lnTo>
                    <a:lnTo>
                      <a:pt x="7" y="54"/>
                    </a:lnTo>
                    <a:lnTo>
                      <a:pt x="9" y="54"/>
                    </a:lnTo>
                    <a:lnTo>
                      <a:pt x="10" y="54"/>
                    </a:lnTo>
                    <a:lnTo>
                      <a:pt x="12" y="54"/>
                    </a:lnTo>
                    <a:lnTo>
                      <a:pt x="14" y="54"/>
                    </a:lnTo>
                    <a:lnTo>
                      <a:pt x="14" y="52"/>
                    </a:lnTo>
                    <a:lnTo>
                      <a:pt x="14" y="51"/>
                    </a:lnTo>
                    <a:lnTo>
                      <a:pt x="14" y="49"/>
                    </a:lnTo>
                    <a:lnTo>
                      <a:pt x="14" y="47"/>
                    </a:lnTo>
                    <a:lnTo>
                      <a:pt x="14" y="46"/>
                    </a:lnTo>
                    <a:lnTo>
                      <a:pt x="15" y="46"/>
                    </a:lnTo>
                    <a:lnTo>
                      <a:pt x="14" y="46"/>
                    </a:lnTo>
                    <a:lnTo>
                      <a:pt x="14" y="44"/>
                    </a:lnTo>
                    <a:lnTo>
                      <a:pt x="15" y="44"/>
                    </a:lnTo>
                    <a:lnTo>
                      <a:pt x="14" y="44"/>
                    </a:lnTo>
                    <a:lnTo>
                      <a:pt x="15" y="42"/>
                    </a:lnTo>
                    <a:lnTo>
                      <a:pt x="14" y="42"/>
                    </a:lnTo>
                    <a:lnTo>
                      <a:pt x="14" y="40"/>
                    </a:lnTo>
                    <a:lnTo>
                      <a:pt x="14" y="39"/>
                    </a:lnTo>
                    <a:lnTo>
                      <a:pt x="15" y="39"/>
                    </a:lnTo>
                    <a:lnTo>
                      <a:pt x="14" y="37"/>
                    </a:lnTo>
                    <a:lnTo>
                      <a:pt x="15" y="37"/>
                    </a:lnTo>
                    <a:lnTo>
                      <a:pt x="15" y="35"/>
                    </a:lnTo>
                    <a:lnTo>
                      <a:pt x="17" y="35"/>
                    </a:lnTo>
                    <a:lnTo>
                      <a:pt x="15" y="34"/>
                    </a:lnTo>
                    <a:lnTo>
                      <a:pt x="15" y="35"/>
                    </a:lnTo>
                    <a:lnTo>
                      <a:pt x="14" y="35"/>
                    </a:lnTo>
                    <a:lnTo>
                      <a:pt x="14" y="34"/>
                    </a:lnTo>
                    <a:lnTo>
                      <a:pt x="15" y="34"/>
                    </a:lnTo>
                    <a:lnTo>
                      <a:pt x="15" y="32"/>
                    </a:lnTo>
                    <a:lnTo>
                      <a:pt x="17" y="32"/>
                    </a:lnTo>
                    <a:lnTo>
                      <a:pt x="19" y="32"/>
                    </a:lnTo>
                    <a:lnTo>
                      <a:pt x="19" y="30"/>
                    </a:lnTo>
                    <a:lnTo>
                      <a:pt x="19" y="29"/>
                    </a:lnTo>
                    <a:lnTo>
                      <a:pt x="19" y="27"/>
                    </a:lnTo>
                    <a:lnTo>
                      <a:pt x="21" y="27"/>
                    </a:lnTo>
                    <a:lnTo>
                      <a:pt x="22" y="27"/>
                    </a:lnTo>
                    <a:lnTo>
                      <a:pt x="22" y="25"/>
                    </a:lnTo>
                    <a:lnTo>
                      <a:pt x="24" y="27"/>
                    </a:lnTo>
                    <a:lnTo>
                      <a:pt x="24" y="25"/>
                    </a:lnTo>
                    <a:lnTo>
                      <a:pt x="24" y="23"/>
                    </a:lnTo>
                    <a:lnTo>
                      <a:pt x="24" y="25"/>
                    </a:lnTo>
                    <a:lnTo>
                      <a:pt x="26" y="25"/>
                    </a:lnTo>
                    <a:lnTo>
                      <a:pt x="26" y="23"/>
                    </a:lnTo>
                    <a:lnTo>
                      <a:pt x="27" y="23"/>
                    </a:lnTo>
                    <a:lnTo>
                      <a:pt x="29" y="23"/>
                    </a:lnTo>
                    <a:lnTo>
                      <a:pt x="29" y="22"/>
                    </a:lnTo>
                    <a:lnTo>
                      <a:pt x="31" y="22"/>
                    </a:lnTo>
                    <a:lnTo>
                      <a:pt x="31" y="20"/>
                    </a:lnTo>
                    <a:lnTo>
                      <a:pt x="31" y="18"/>
                    </a:lnTo>
                    <a:lnTo>
                      <a:pt x="31" y="17"/>
                    </a:lnTo>
                    <a:lnTo>
                      <a:pt x="29" y="18"/>
                    </a:lnTo>
                    <a:lnTo>
                      <a:pt x="29" y="17"/>
                    </a:lnTo>
                    <a:lnTo>
                      <a:pt x="29" y="18"/>
                    </a:lnTo>
                    <a:lnTo>
                      <a:pt x="29" y="17"/>
                    </a:lnTo>
                    <a:lnTo>
                      <a:pt x="29" y="15"/>
                    </a:lnTo>
                    <a:lnTo>
                      <a:pt x="29" y="13"/>
                    </a:lnTo>
                    <a:lnTo>
                      <a:pt x="27" y="13"/>
                    </a:lnTo>
                    <a:lnTo>
                      <a:pt x="26" y="12"/>
                    </a:lnTo>
                    <a:lnTo>
                      <a:pt x="26" y="10"/>
                    </a:lnTo>
                    <a:lnTo>
                      <a:pt x="24" y="10"/>
                    </a:lnTo>
                    <a:lnTo>
                      <a:pt x="24" y="8"/>
                    </a:lnTo>
                    <a:lnTo>
                      <a:pt x="24" y="6"/>
                    </a:lnTo>
                    <a:lnTo>
                      <a:pt x="24" y="5"/>
                    </a:lnTo>
                    <a:lnTo>
                      <a:pt x="26" y="3"/>
                    </a:lnTo>
                    <a:lnTo>
                      <a:pt x="24" y="3"/>
                    </a:lnTo>
                    <a:lnTo>
                      <a:pt x="24" y="1"/>
                    </a:lnTo>
                    <a:lnTo>
                      <a:pt x="26" y="1"/>
                    </a:lnTo>
                    <a:lnTo>
                      <a:pt x="27" y="1"/>
                    </a:lnTo>
                    <a:lnTo>
                      <a:pt x="29" y="1"/>
                    </a:lnTo>
                    <a:lnTo>
                      <a:pt x="31" y="1"/>
                    </a:lnTo>
                    <a:lnTo>
                      <a:pt x="31" y="0"/>
                    </a:lnTo>
                    <a:lnTo>
                      <a:pt x="31" y="1"/>
                    </a:lnTo>
                    <a:lnTo>
                      <a:pt x="32" y="1"/>
                    </a:lnTo>
                    <a:lnTo>
                      <a:pt x="34" y="1"/>
                    </a:lnTo>
                    <a:lnTo>
                      <a:pt x="34" y="0"/>
                    </a:lnTo>
                    <a:lnTo>
                      <a:pt x="36" y="1"/>
                    </a:lnTo>
                    <a:lnTo>
                      <a:pt x="34" y="1"/>
                    </a:lnTo>
                    <a:lnTo>
                      <a:pt x="36" y="1"/>
                    </a:lnTo>
                    <a:lnTo>
                      <a:pt x="36" y="3"/>
                    </a:lnTo>
                    <a:lnTo>
                      <a:pt x="34" y="3"/>
                    </a:lnTo>
                    <a:lnTo>
                      <a:pt x="36" y="5"/>
                    </a:lnTo>
                    <a:lnTo>
                      <a:pt x="36" y="6"/>
                    </a:lnTo>
                    <a:lnTo>
                      <a:pt x="34" y="6"/>
                    </a:lnTo>
                    <a:lnTo>
                      <a:pt x="34" y="8"/>
                    </a:lnTo>
                    <a:lnTo>
                      <a:pt x="36" y="8"/>
                    </a:lnTo>
                    <a:lnTo>
                      <a:pt x="36" y="10"/>
                    </a:lnTo>
                    <a:lnTo>
                      <a:pt x="36" y="8"/>
                    </a:lnTo>
                    <a:lnTo>
                      <a:pt x="38" y="8"/>
                    </a:lnTo>
                    <a:lnTo>
                      <a:pt x="38" y="10"/>
                    </a:lnTo>
                    <a:lnTo>
                      <a:pt x="36" y="10"/>
                    </a:lnTo>
                    <a:lnTo>
                      <a:pt x="38" y="10"/>
                    </a:lnTo>
                    <a:lnTo>
                      <a:pt x="38" y="12"/>
                    </a:lnTo>
                    <a:lnTo>
                      <a:pt x="39" y="12"/>
                    </a:lnTo>
                    <a:lnTo>
                      <a:pt x="39" y="13"/>
                    </a:lnTo>
                    <a:lnTo>
                      <a:pt x="38" y="13"/>
                    </a:lnTo>
                    <a:lnTo>
                      <a:pt x="38" y="15"/>
                    </a:lnTo>
                    <a:lnTo>
                      <a:pt x="39" y="15"/>
                    </a:lnTo>
                    <a:lnTo>
                      <a:pt x="39" y="17"/>
                    </a:lnTo>
                    <a:lnTo>
                      <a:pt x="38" y="17"/>
                    </a:lnTo>
                    <a:lnTo>
                      <a:pt x="38" y="18"/>
                    </a:lnTo>
                    <a:lnTo>
                      <a:pt x="39" y="18"/>
                    </a:lnTo>
                    <a:lnTo>
                      <a:pt x="38" y="18"/>
                    </a:lnTo>
                    <a:lnTo>
                      <a:pt x="38" y="20"/>
                    </a:lnTo>
                    <a:lnTo>
                      <a:pt x="39" y="20"/>
                    </a:lnTo>
                    <a:lnTo>
                      <a:pt x="41" y="20"/>
                    </a:lnTo>
                    <a:lnTo>
                      <a:pt x="41" y="22"/>
                    </a:lnTo>
                    <a:lnTo>
                      <a:pt x="43" y="22"/>
                    </a:lnTo>
                    <a:lnTo>
                      <a:pt x="41" y="22"/>
                    </a:lnTo>
                    <a:lnTo>
                      <a:pt x="43" y="23"/>
                    </a:lnTo>
                    <a:lnTo>
                      <a:pt x="43" y="25"/>
                    </a:lnTo>
                    <a:lnTo>
                      <a:pt x="44" y="25"/>
                    </a:lnTo>
                    <a:lnTo>
                      <a:pt x="44" y="27"/>
                    </a:lnTo>
                    <a:lnTo>
                      <a:pt x="44" y="29"/>
                    </a:lnTo>
                    <a:lnTo>
                      <a:pt x="46" y="29"/>
                    </a:lnTo>
                    <a:lnTo>
                      <a:pt x="46" y="30"/>
                    </a:lnTo>
                    <a:lnTo>
                      <a:pt x="48" y="30"/>
                    </a:lnTo>
                    <a:lnTo>
                      <a:pt x="48" y="32"/>
                    </a:lnTo>
                    <a:lnTo>
                      <a:pt x="46" y="32"/>
                    </a:lnTo>
                    <a:lnTo>
                      <a:pt x="48" y="32"/>
                    </a:lnTo>
                    <a:lnTo>
                      <a:pt x="48" y="34"/>
                    </a:lnTo>
                    <a:lnTo>
                      <a:pt x="48" y="35"/>
                    </a:lnTo>
                    <a:lnTo>
                      <a:pt x="49" y="35"/>
                    </a:lnTo>
                    <a:lnTo>
                      <a:pt x="49" y="37"/>
                    </a:lnTo>
                    <a:lnTo>
                      <a:pt x="51" y="39"/>
                    </a:lnTo>
                    <a:lnTo>
                      <a:pt x="51" y="40"/>
                    </a:lnTo>
                    <a:lnTo>
                      <a:pt x="53" y="40"/>
                    </a:lnTo>
                    <a:lnTo>
                      <a:pt x="53" y="42"/>
                    </a:lnTo>
                    <a:lnTo>
                      <a:pt x="53" y="44"/>
                    </a:lnTo>
                    <a:lnTo>
                      <a:pt x="55" y="44"/>
                    </a:lnTo>
                    <a:lnTo>
                      <a:pt x="55" y="46"/>
                    </a:lnTo>
                    <a:lnTo>
                      <a:pt x="56" y="46"/>
                    </a:lnTo>
                    <a:lnTo>
                      <a:pt x="56" y="47"/>
                    </a:lnTo>
                    <a:lnTo>
                      <a:pt x="58" y="47"/>
                    </a:lnTo>
                    <a:lnTo>
                      <a:pt x="60" y="47"/>
                    </a:lnTo>
                    <a:lnTo>
                      <a:pt x="61" y="47"/>
                    </a:lnTo>
                    <a:lnTo>
                      <a:pt x="61" y="4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38" name="Freeform 45">
                <a:extLst>
                  <a:ext uri="{FF2B5EF4-FFF2-40B4-BE49-F238E27FC236}">
                    <a16:creationId xmlns:a16="http://schemas.microsoft.com/office/drawing/2014/main" id="{FEA9E46C-7852-9660-BEAC-C0AF94303B46}"/>
                  </a:ext>
                </a:extLst>
              </p:cNvPr>
              <p:cNvSpPr>
                <a:spLocks/>
              </p:cNvSpPr>
              <p:nvPr/>
            </p:nvSpPr>
            <p:spPr bwMode="auto">
              <a:xfrm>
                <a:off x="5757004" y="3141861"/>
                <a:ext cx="83416" cy="89878"/>
              </a:xfrm>
              <a:custGeom>
                <a:avLst/>
                <a:gdLst>
                  <a:gd name="T0" fmla="*/ 155 w 284"/>
                  <a:gd name="T1" fmla="*/ 39 h 306"/>
                  <a:gd name="T2" fmla="*/ 158 w 284"/>
                  <a:gd name="T3" fmla="*/ 51 h 306"/>
                  <a:gd name="T4" fmla="*/ 161 w 284"/>
                  <a:gd name="T5" fmla="*/ 58 h 306"/>
                  <a:gd name="T6" fmla="*/ 161 w 284"/>
                  <a:gd name="T7" fmla="*/ 68 h 306"/>
                  <a:gd name="T8" fmla="*/ 160 w 284"/>
                  <a:gd name="T9" fmla="*/ 80 h 306"/>
                  <a:gd name="T10" fmla="*/ 158 w 284"/>
                  <a:gd name="T11" fmla="*/ 92 h 306"/>
                  <a:gd name="T12" fmla="*/ 158 w 284"/>
                  <a:gd name="T13" fmla="*/ 100 h 306"/>
                  <a:gd name="T14" fmla="*/ 167 w 284"/>
                  <a:gd name="T15" fmla="*/ 102 h 306"/>
                  <a:gd name="T16" fmla="*/ 178 w 284"/>
                  <a:gd name="T17" fmla="*/ 107 h 306"/>
                  <a:gd name="T18" fmla="*/ 189 w 284"/>
                  <a:gd name="T19" fmla="*/ 107 h 306"/>
                  <a:gd name="T20" fmla="*/ 201 w 284"/>
                  <a:gd name="T21" fmla="*/ 105 h 306"/>
                  <a:gd name="T22" fmla="*/ 207 w 284"/>
                  <a:gd name="T23" fmla="*/ 103 h 306"/>
                  <a:gd name="T24" fmla="*/ 216 w 284"/>
                  <a:gd name="T25" fmla="*/ 105 h 306"/>
                  <a:gd name="T26" fmla="*/ 226 w 284"/>
                  <a:gd name="T27" fmla="*/ 109 h 306"/>
                  <a:gd name="T28" fmla="*/ 235 w 284"/>
                  <a:gd name="T29" fmla="*/ 117 h 306"/>
                  <a:gd name="T30" fmla="*/ 236 w 284"/>
                  <a:gd name="T31" fmla="*/ 131 h 306"/>
                  <a:gd name="T32" fmla="*/ 240 w 284"/>
                  <a:gd name="T33" fmla="*/ 143 h 306"/>
                  <a:gd name="T34" fmla="*/ 241 w 284"/>
                  <a:gd name="T35" fmla="*/ 156 h 306"/>
                  <a:gd name="T36" fmla="*/ 243 w 284"/>
                  <a:gd name="T37" fmla="*/ 166 h 306"/>
                  <a:gd name="T38" fmla="*/ 253 w 284"/>
                  <a:gd name="T39" fmla="*/ 170 h 306"/>
                  <a:gd name="T40" fmla="*/ 263 w 284"/>
                  <a:gd name="T41" fmla="*/ 166 h 306"/>
                  <a:gd name="T42" fmla="*/ 277 w 284"/>
                  <a:gd name="T43" fmla="*/ 166 h 306"/>
                  <a:gd name="T44" fmla="*/ 282 w 284"/>
                  <a:gd name="T45" fmla="*/ 180 h 306"/>
                  <a:gd name="T46" fmla="*/ 282 w 284"/>
                  <a:gd name="T47" fmla="*/ 195 h 306"/>
                  <a:gd name="T48" fmla="*/ 277 w 284"/>
                  <a:gd name="T49" fmla="*/ 212 h 306"/>
                  <a:gd name="T50" fmla="*/ 272 w 284"/>
                  <a:gd name="T51" fmla="*/ 229 h 306"/>
                  <a:gd name="T52" fmla="*/ 272 w 284"/>
                  <a:gd name="T53" fmla="*/ 245 h 306"/>
                  <a:gd name="T54" fmla="*/ 270 w 284"/>
                  <a:gd name="T55" fmla="*/ 257 h 306"/>
                  <a:gd name="T56" fmla="*/ 265 w 284"/>
                  <a:gd name="T57" fmla="*/ 270 h 306"/>
                  <a:gd name="T58" fmla="*/ 253 w 284"/>
                  <a:gd name="T59" fmla="*/ 280 h 306"/>
                  <a:gd name="T60" fmla="*/ 240 w 284"/>
                  <a:gd name="T61" fmla="*/ 287 h 306"/>
                  <a:gd name="T62" fmla="*/ 236 w 284"/>
                  <a:gd name="T63" fmla="*/ 297 h 306"/>
                  <a:gd name="T64" fmla="*/ 223 w 284"/>
                  <a:gd name="T65" fmla="*/ 296 h 306"/>
                  <a:gd name="T66" fmla="*/ 212 w 284"/>
                  <a:gd name="T67" fmla="*/ 304 h 306"/>
                  <a:gd name="T68" fmla="*/ 199 w 284"/>
                  <a:gd name="T69" fmla="*/ 303 h 306"/>
                  <a:gd name="T70" fmla="*/ 185 w 284"/>
                  <a:gd name="T71" fmla="*/ 301 h 306"/>
                  <a:gd name="T72" fmla="*/ 170 w 284"/>
                  <a:gd name="T73" fmla="*/ 297 h 306"/>
                  <a:gd name="T74" fmla="*/ 153 w 284"/>
                  <a:gd name="T75" fmla="*/ 294 h 306"/>
                  <a:gd name="T76" fmla="*/ 136 w 284"/>
                  <a:gd name="T77" fmla="*/ 296 h 306"/>
                  <a:gd name="T78" fmla="*/ 139 w 284"/>
                  <a:gd name="T79" fmla="*/ 287 h 306"/>
                  <a:gd name="T80" fmla="*/ 144 w 284"/>
                  <a:gd name="T81" fmla="*/ 280 h 306"/>
                  <a:gd name="T82" fmla="*/ 151 w 284"/>
                  <a:gd name="T83" fmla="*/ 270 h 306"/>
                  <a:gd name="T84" fmla="*/ 151 w 284"/>
                  <a:gd name="T85" fmla="*/ 260 h 306"/>
                  <a:gd name="T86" fmla="*/ 156 w 284"/>
                  <a:gd name="T87" fmla="*/ 250 h 306"/>
                  <a:gd name="T88" fmla="*/ 163 w 284"/>
                  <a:gd name="T89" fmla="*/ 240 h 306"/>
                  <a:gd name="T90" fmla="*/ 168 w 284"/>
                  <a:gd name="T91" fmla="*/ 231 h 306"/>
                  <a:gd name="T92" fmla="*/ 167 w 284"/>
                  <a:gd name="T93" fmla="*/ 221 h 306"/>
                  <a:gd name="T94" fmla="*/ 161 w 284"/>
                  <a:gd name="T95" fmla="*/ 211 h 306"/>
                  <a:gd name="T96" fmla="*/ 153 w 284"/>
                  <a:gd name="T97" fmla="*/ 207 h 306"/>
                  <a:gd name="T98" fmla="*/ 143 w 284"/>
                  <a:gd name="T99" fmla="*/ 204 h 306"/>
                  <a:gd name="T100" fmla="*/ 129 w 284"/>
                  <a:gd name="T101" fmla="*/ 199 h 306"/>
                  <a:gd name="T102" fmla="*/ 114 w 284"/>
                  <a:gd name="T103" fmla="*/ 190 h 306"/>
                  <a:gd name="T104" fmla="*/ 83 w 284"/>
                  <a:gd name="T105" fmla="*/ 173 h 306"/>
                  <a:gd name="T106" fmla="*/ 68 w 284"/>
                  <a:gd name="T107" fmla="*/ 168 h 306"/>
                  <a:gd name="T108" fmla="*/ 54 w 284"/>
                  <a:gd name="T109" fmla="*/ 161 h 306"/>
                  <a:gd name="T110" fmla="*/ 46 w 284"/>
                  <a:gd name="T111" fmla="*/ 151 h 306"/>
                  <a:gd name="T112" fmla="*/ 34 w 284"/>
                  <a:gd name="T113" fmla="*/ 144 h 306"/>
                  <a:gd name="T114" fmla="*/ 22 w 284"/>
                  <a:gd name="T115" fmla="*/ 136 h 306"/>
                  <a:gd name="T116" fmla="*/ 14 w 284"/>
                  <a:gd name="T117" fmla="*/ 122 h 306"/>
                  <a:gd name="T118" fmla="*/ 10 w 284"/>
                  <a:gd name="T119" fmla="*/ 115 h 306"/>
                  <a:gd name="T120" fmla="*/ 0 w 284"/>
                  <a:gd name="T121" fmla="*/ 109 h 306"/>
                  <a:gd name="T122" fmla="*/ 25 w 284"/>
                  <a:gd name="T123" fmla="*/ 27 h 306"/>
                  <a:gd name="T124" fmla="*/ 151 w 284"/>
                  <a:gd name="T125" fmla="*/ 2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4" h="306">
                    <a:moveTo>
                      <a:pt x="151" y="32"/>
                    </a:moveTo>
                    <a:lnTo>
                      <a:pt x="153" y="32"/>
                    </a:lnTo>
                    <a:lnTo>
                      <a:pt x="153" y="34"/>
                    </a:lnTo>
                    <a:lnTo>
                      <a:pt x="151" y="34"/>
                    </a:lnTo>
                    <a:lnTo>
                      <a:pt x="151" y="35"/>
                    </a:lnTo>
                    <a:lnTo>
                      <a:pt x="153" y="35"/>
                    </a:lnTo>
                    <a:lnTo>
                      <a:pt x="153" y="34"/>
                    </a:lnTo>
                    <a:lnTo>
                      <a:pt x="155" y="35"/>
                    </a:lnTo>
                    <a:lnTo>
                      <a:pt x="153" y="37"/>
                    </a:lnTo>
                    <a:lnTo>
                      <a:pt x="155" y="37"/>
                    </a:lnTo>
                    <a:lnTo>
                      <a:pt x="155" y="39"/>
                    </a:lnTo>
                    <a:lnTo>
                      <a:pt x="156" y="41"/>
                    </a:lnTo>
                    <a:lnTo>
                      <a:pt x="158" y="41"/>
                    </a:lnTo>
                    <a:lnTo>
                      <a:pt x="158" y="42"/>
                    </a:lnTo>
                    <a:lnTo>
                      <a:pt x="156" y="42"/>
                    </a:lnTo>
                    <a:lnTo>
                      <a:pt x="156" y="44"/>
                    </a:lnTo>
                    <a:lnTo>
                      <a:pt x="156" y="46"/>
                    </a:lnTo>
                    <a:lnTo>
                      <a:pt x="158" y="46"/>
                    </a:lnTo>
                    <a:lnTo>
                      <a:pt x="156" y="47"/>
                    </a:lnTo>
                    <a:lnTo>
                      <a:pt x="158" y="47"/>
                    </a:lnTo>
                    <a:lnTo>
                      <a:pt x="158" y="49"/>
                    </a:lnTo>
                    <a:lnTo>
                      <a:pt x="158" y="51"/>
                    </a:lnTo>
                    <a:lnTo>
                      <a:pt x="160" y="51"/>
                    </a:lnTo>
                    <a:lnTo>
                      <a:pt x="160" y="49"/>
                    </a:lnTo>
                    <a:lnTo>
                      <a:pt x="160" y="51"/>
                    </a:lnTo>
                    <a:lnTo>
                      <a:pt x="161" y="51"/>
                    </a:lnTo>
                    <a:lnTo>
                      <a:pt x="161" y="52"/>
                    </a:lnTo>
                    <a:lnTo>
                      <a:pt x="160" y="52"/>
                    </a:lnTo>
                    <a:lnTo>
                      <a:pt x="158" y="54"/>
                    </a:lnTo>
                    <a:lnTo>
                      <a:pt x="160" y="54"/>
                    </a:lnTo>
                    <a:lnTo>
                      <a:pt x="161" y="54"/>
                    </a:lnTo>
                    <a:lnTo>
                      <a:pt x="161" y="56"/>
                    </a:lnTo>
                    <a:lnTo>
                      <a:pt x="161" y="58"/>
                    </a:lnTo>
                    <a:lnTo>
                      <a:pt x="160" y="58"/>
                    </a:lnTo>
                    <a:lnTo>
                      <a:pt x="161" y="58"/>
                    </a:lnTo>
                    <a:lnTo>
                      <a:pt x="161" y="59"/>
                    </a:lnTo>
                    <a:lnTo>
                      <a:pt x="163" y="59"/>
                    </a:lnTo>
                    <a:lnTo>
                      <a:pt x="163" y="61"/>
                    </a:lnTo>
                    <a:lnTo>
                      <a:pt x="163" y="63"/>
                    </a:lnTo>
                    <a:lnTo>
                      <a:pt x="161" y="63"/>
                    </a:lnTo>
                    <a:lnTo>
                      <a:pt x="161" y="64"/>
                    </a:lnTo>
                    <a:lnTo>
                      <a:pt x="163" y="64"/>
                    </a:lnTo>
                    <a:lnTo>
                      <a:pt x="161" y="66"/>
                    </a:lnTo>
                    <a:lnTo>
                      <a:pt x="161" y="68"/>
                    </a:lnTo>
                    <a:lnTo>
                      <a:pt x="163" y="68"/>
                    </a:lnTo>
                    <a:lnTo>
                      <a:pt x="163" y="69"/>
                    </a:lnTo>
                    <a:lnTo>
                      <a:pt x="161" y="69"/>
                    </a:lnTo>
                    <a:lnTo>
                      <a:pt x="161" y="71"/>
                    </a:lnTo>
                    <a:lnTo>
                      <a:pt x="160" y="71"/>
                    </a:lnTo>
                    <a:lnTo>
                      <a:pt x="161" y="73"/>
                    </a:lnTo>
                    <a:lnTo>
                      <a:pt x="161" y="75"/>
                    </a:lnTo>
                    <a:lnTo>
                      <a:pt x="161" y="76"/>
                    </a:lnTo>
                    <a:lnTo>
                      <a:pt x="160" y="76"/>
                    </a:lnTo>
                    <a:lnTo>
                      <a:pt x="160" y="78"/>
                    </a:lnTo>
                    <a:lnTo>
                      <a:pt x="160" y="80"/>
                    </a:lnTo>
                    <a:lnTo>
                      <a:pt x="158" y="80"/>
                    </a:lnTo>
                    <a:lnTo>
                      <a:pt x="158" y="81"/>
                    </a:lnTo>
                    <a:lnTo>
                      <a:pt x="160" y="81"/>
                    </a:lnTo>
                    <a:lnTo>
                      <a:pt x="160" y="83"/>
                    </a:lnTo>
                    <a:lnTo>
                      <a:pt x="160" y="85"/>
                    </a:lnTo>
                    <a:lnTo>
                      <a:pt x="160" y="86"/>
                    </a:lnTo>
                    <a:lnTo>
                      <a:pt x="161" y="86"/>
                    </a:lnTo>
                    <a:lnTo>
                      <a:pt x="160" y="88"/>
                    </a:lnTo>
                    <a:lnTo>
                      <a:pt x="160" y="90"/>
                    </a:lnTo>
                    <a:lnTo>
                      <a:pt x="160" y="92"/>
                    </a:lnTo>
                    <a:lnTo>
                      <a:pt x="158" y="92"/>
                    </a:lnTo>
                    <a:lnTo>
                      <a:pt x="158" y="93"/>
                    </a:lnTo>
                    <a:lnTo>
                      <a:pt x="160" y="93"/>
                    </a:lnTo>
                    <a:lnTo>
                      <a:pt x="160" y="95"/>
                    </a:lnTo>
                    <a:lnTo>
                      <a:pt x="160" y="97"/>
                    </a:lnTo>
                    <a:lnTo>
                      <a:pt x="158" y="97"/>
                    </a:lnTo>
                    <a:lnTo>
                      <a:pt x="158" y="98"/>
                    </a:lnTo>
                    <a:lnTo>
                      <a:pt x="156" y="98"/>
                    </a:lnTo>
                    <a:lnTo>
                      <a:pt x="156" y="100"/>
                    </a:lnTo>
                    <a:lnTo>
                      <a:pt x="158" y="100"/>
                    </a:lnTo>
                    <a:lnTo>
                      <a:pt x="158" y="102"/>
                    </a:lnTo>
                    <a:lnTo>
                      <a:pt x="158" y="100"/>
                    </a:lnTo>
                    <a:lnTo>
                      <a:pt x="160" y="100"/>
                    </a:lnTo>
                    <a:lnTo>
                      <a:pt x="160" y="102"/>
                    </a:lnTo>
                    <a:lnTo>
                      <a:pt x="161" y="102"/>
                    </a:lnTo>
                    <a:lnTo>
                      <a:pt x="161" y="103"/>
                    </a:lnTo>
                    <a:lnTo>
                      <a:pt x="161" y="102"/>
                    </a:lnTo>
                    <a:lnTo>
                      <a:pt x="163" y="102"/>
                    </a:lnTo>
                    <a:lnTo>
                      <a:pt x="163" y="103"/>
                    </a:lnTo>
                    <a:lnTo>
                      <a:pt x="165" y="102"/>
                    </a:lnTo>
                    <a:lnTo>
                      <a:pt x="165" y="103"/>
                    </a:lnTo>
                    <a:lnTo>
                      <a:pt x="167" y="103"/>
                    </a:lnTo>
                    <a:lnTo>
                      <a:pt x="167" y="102"/>
                    </a:lnTo>
                    <a:lnTo>
                      <a:pt x="168" y="102"/>
                    </a:lnTo>
                    <a:lnTo>
                      <a:pt x="170" y="102"/>
                    </a:lnTo>
                    <a:lnTo>
                      <a:pt x="170" y="103"/>
                    </a:lnTo>
                    <a:lnTo>
                      <a:pt x="172" y="103"/>
                    </a:lnTo>
                    <a:lnTo>
                      <a:pt x="173" y="105"/>
                    </a:lnTo>
                    <a:lnTo>
                      <a:pt x="173" y="103"/>
                    </a:lnTo>
                    <a:lnTo>
                      <a:pt x="173" y="105"/>
                    </a:lnTo>
                    <a:lnTo>
                      <a:pt x="175" y="105"/>
                    </a:lnTo>
                    <a:lnTo>
                      <a:pt x="177" y="105"/>
                    </a:lnTo>
                    <a:lnTo>
                      <a:pt x="178" y="105"/>
                    </a:lnTo>
                    <a:lnTo>
                      <a:pt x="178" y="107"/>
                    </a:lnTo>
                    <a:lnTo>
                      <a:pt x="178" y="105"/>
                    </a:lnTo>
                    <a:lnTo>
                      <a:pt x="180" y="107"/>
                    </a:lnTo>
                    <a:lnTo>
                      <a:pt x="182" y="105"/>
                    </a:lnTo>
                    <a:lnTo>
                      <a:pt x="182" y="107"/>
                    </a:lnTo>
                    <a:lnTo>
                      <a:pt x="184" y="107"/>
                    </a:lnTo>
                    <a:lnTo>
                      <a:pt x="184" y="105"/>
                    </a:lnTo>
                    <a:lnTo>
                      <a:pt x="185" y="105"/>
                    </a:lnTo>
                    <a:lnTo>
                      <a:pt x="185" y="107"/>
                    </a:lnTo>
                    <a:lnTo>
                      <a:pt x="187" y="105"/>
                    </a:lnTo>
                    <a:lnTo>
                      <a:pt x="187" y="107"/>
                    </a:lnTo>
                    <a:lnTo>
                      <a:pt x="189" y="107"/>
                    </a:lnTo>
                    <a:lnTo>
                      <a:pt x="190" y="107"/>
                    </a:lnTo>
                    <a:lnTo>
                      <a:pt x="190" y="105"/>
                    </a:lnTo>
                    <a:lnTo>
                      <a:pt x="192" y="107"/>
                    </a:lnTo>
                    <a:lnTo>
                      <a:pt x="194" y="107"/>
                    </a:lnTo>
                    <a:lnTo>
                      <a:pt x="195" y="107"/>
                    </a:lnTo>
                    <a:lnTo>
                      <a:pt x="195" y="109"/>
                    </a:lnTo>
                    <a:lnTo>
                      <a:pt x="197" y="109"/>
                    </a:lnTo>
                    <a:lnTo>
                      <a:pt x="197" y="107"/>
                    </a:lnTo>
                    <a:lnTo>
                      <a:pt x="199" y="107"/>
                    </a:lnTo>
                    <a:lnTo>
                      <a:pt x="201" y="107"/>
                    </a:lnTo>
                    <a:lnTo>
                      <a:pt x="201" y="105"/>
                    </a:lnTo>
                    <a:lnTo>
                      <a:pt x="202" y="105"/>
                    </a:lnTo>
                    <a:lnTo>
                      <a:pt x="202" y="107"/>
                    </a:lnTo>
                    <a:lnTo>
                      <a:pt x="204" y="107"/>
                    </a:lnTo>
                    <a:lnTo>
                      <a:pt x="202" y="107"/>
                    </a:lnTo>
                    <a:lnTo>
                      <a:pt x="204" y="107"/>
                    </a:lnTo>
                    <a:lnTo>
                      <a:pt x="204" y="105"/>
                    </a:lnTo>
                    <a:lnTo>
                      <a:pt x="206" y="105"/>
                    </a:lnTo>
                    <a:lnTo>
                      <a:pt x="206" y="103"/>
                    </a:lnTo>
                    <a:lnTo>
                      <a:pt x="207" y="103"/>
                    </a:lnTo>
                    <a:lnTo>
                      <a:pt x="206" y="103"/>
                    </a:lnTo>
                    <a:lnTo>
                      <a:pt x="207" y="103"/>
                    </a:lnTo>
                    <a:lnTo>
                      <a:pt x="207" y="102"/>
                    </a:lnTo>
                    <a:lnTo>
                      <a:pt x="209" y="102"/>
                    </a:lnTo>
                    <a:lnTo>
                      <a:pt x="209" y="100"/>
                    </a:lnTo>
                    <a:lnTo>
                      <a:pt x="211" y="102"/>
                    </a:lnTo>
                    <a:lnTo>
                      <a:pt x="211" y="100"/>
                    </a:lnTo>
                    <a:lnTo>
                      <a:pt x="211" y="102"/>
                    </a:lnTo>
                    <a:lnTo>
                      <a:pt x="212" y="102"/>
                    </a:lnTo>
                    <a:lnTo>
                      <a:pt x="212" y="103"/>
                    </a:lnTo>
                    <a:lnTo>
                      <a:pt x="212" y="105"/>
                    </a:lnTo>
                    <a:lnTo>
                      <a:pt x="214" y="105"/>
                    </a:lnTo>
                    <a:lnTo>
                      <a:pt x="216" y="105"/>
                    </a:lnTo>
                    <a:lnTo>
                      <a:pt x="216" y="107"/>
                    </a:lnTo>
                    <a:lnTo>
                      <a:pt x="218" y="107"/>
                    </a:lnTo>
                    <a:lnTo>
                      <a:pt x="218" y="109"/>
                    </a:lnTo>
                    <a:lnTo>
                      <a:pt x="218" y="107"/>
                    </a:lnTo>
                    <a:lnTo>
                      <a:pt x="219" y="109"/>
                    </a:lnTo>
                    <a:lnTo>
                      <a:pt x="221" y="109"/>
                    </a:lnTo>
                    <a:lnTo>
                      <a:pt x="221" y="107"/>
                    </a:lnTo>
                    <a:lnTo>
                      <a:pt x="221" y="109"/>
                    </a:lnTo>
                    <a:lnTo>
                      <a:pt x="223" y="109"/>
                    </a:lnTo>
                    <a:lnTo>
                      <a:pt x="224" y="109"/>
                    </a:lnTo>
                    <a:lnTo>
                      <a:pt x="226" y="109"/>
                    </a:lnTo>
                    <a:lnTo>
                      <a:pt x="228" y="109"/>
                    </a:lnTo>
                    <a:lnTo>
                      <a:pt x="229" y="109"/>
                    </a:lnTo>
                    <a:lnTo>
                      <a:pt x="231" y="110"/>
                    </a:lnTo>
                    <a:lnTo>
                      <a:pt x="231" y="112"/>
                    </a:lnTo>
                    <a:lnTo>
                      <a:pt x="233" y="112"/>
                    </a:lnTo>
                    <a:lnTo>
                      <a:pt x="233" y="114"/>
                    </a:lnTo>
                    <a:lnTo>
                      <a:pt x="235" y="114"/>
                    </a:lnTo>
                    <a:lnTo>
                      <a:pt x="233" y="114"/>
                    </a:lnTo>
                    <a:lnTo>
                      <a:pt x="233" y="115"/>
                    </a:lnTo>
                    <a:lnTo>
                      <a:pt x="233" y="117"/>
                    </a:lnTo>
                    <a:lnTo>
                      <a:pt x="235" y="117"/>
                    </a:lnTo>
                    <a:lnTo>
                      <a:pt x="235" y="119"/>
                    </a:lnTo>
                    <a:lnTo>
                      <a:pt x="236" y="119"/>
                    </a:lnTo>
                    <a:lnTo>
                      <a:pt x="236" y="121"/>
                    </a:lnTo>
                    <a:lnTo>
                      <a:pt x="238" y="121"/>
                    </a:lnTo>
                    <a:lnTo>
                      <a:pt x="238" y="122"/>
                    </a:lnTo>
                    <a:lnTo>
                      <a:pt x="238" y="124"/>
                    </a:lnTo>
                    <a:lnTo>
                      <a:pt x="238" y="126"/>
                    </a:lnTo>
                    <a:lnTo>
                      <a:pt x="236" y="126"/>
                    </a:lnTo>
                    <a:lnTo>
                      <a:pt x="236" y="127"/>
                    </a:lnTo>
                    <a:lnTo>
                      <a:pt x="236" y="129"/>
                    </a:lnTo>
                    <a:lnTo>
                      <a:pt x="236" y="131"/>
                    </a:lnTo>
                    <a:lnTo>
                      <a:pt x="236" y="132"/>
                    </a:lnTo>
                    <a:lnTo>
                      <a:pt x="238" y="134"/>
                    </a:lnTo>
                    <a:lnTo>
                      <a:pt x="236" y="136"/>
                    </a:lnTo>
                    <a:lnTo>
                      <a:pt x="238" y="136"/>
                    </a:lnTo>
                    <a:lnTo>
                      <a:pt x="238" y="138"/>
                    </a:lnTo>
                    <a:lnTo>
                      <a:pt x="238" y="139"/>
                    </a:lnTo>
                    <a:lnTo>
                      <a:pt x="240" y="139"/>
                    </a:lnTo>
                    <a:lnTo>
                      <a:pt x="240" y="141"/>
                    </a:lnTo>
                    <a:lnTo>
                      <a:pt x="241" y="141"/>
                    </a:lnTo>
                    <a:lnTo>
                      <a:pt x="241" y="143"/>
                    </a:lnTo>
                    <a:lnTo>
                      <a:pt x="240" y="143"/>
                    </a:lnTo>
                    <a:lnTo>
                      <a:pt x="240" y="144"/>
                    </a:lnTo>
                    <a:lnTo>
                      <a:pt x="241" y="144"/>
                    </a:lnTo>
                    <a:lnTo>
                      <a:pt x="240" y="144"/>
                    </a:lnTo>
                    <a:lnTo>
                      <a:pt x="240" y="146"/>
                    </a:lnTo>
                    <a:lnTo>
                      <a:pt x="241" y="148"/>
                    </a:lnTo>
                    <a:lnTo>
                      <a:pt x="241" y="149"/>
                    </a:lnTo>
                    <a:lnTo>
                      <a:pt x="240" y="151"/>
                    </a:lnTo>
                    <a:lnTo>
                      <a:pt x="240" y="153"/>
                    </a:lnTo>
                    <a:lnTo>
                      <a:pt x="240" y="155"/>
                    </a:lnTo>
                    <a:lnTo>
                      <a:pt x="241" y="155"/>
                    </a:lnTo>
                    <a:lnTo>
                      <a:pt x="241" y="156"/>
                    </a:lnTo>
                    <a:lnTo>
                      <a:pt x="240" y="156"/>
                    </a:lnTo>
                    <a:lnTo>
                      <a:pt x="240" y="158"/>
                    </a:lnTo>
                    <a:lnTo>
                      <a:pt x="241" y="158"/>
                    </a:lnTo>
                    <a:lnTo>
                      <a:pt x="243" y="158"/>
                    </a:lnTo>
                    <a:lnTo>
                      <a:pt x="243" y="160"/>
                    </a:lnTo>
                    <a:lnTo>
                      <a:pt x="243" y="161"/>
                    </a:lnTo>
                    <a:lnTo>
                      <a:pt x="243" y="163"/>
                    </a:lnTo>
                    <a:lnTo>
                      <a:pt x="245" y="163"/>
                    </a:lnTo>
                    <a:lnTo>
                      <a:pt x="243" y="163"/>
                    </a:lnTo>
                    <a:lnTo>
                      <a:pt x="243" y="165"/>
                    </a:lnTo>
                    <a:lnTo>
                      <a:pt x="243" y="166"/>
                    </a:lnTo>
                    <a:lnTo>
                      <a:pt x="243" y="168"/>
                    </a:lnTo>
                    <a:lnTo>
                      <a:pt x="245" y="168"/>
                    </a:lnTo>
                    <a:lnTo>
                      <a:pt x="245" y="170"/>
                    </a:lnTo>
                    <a:lnTo>
                      <a:pt x="246" y="170"/>
                    </a:lnTo>
                    <a:lnTo>
                      <a:pt x="246" y="172"/>
                    </a:lnTo>
                    <a:lnTo>
                      <a:pt x="248" y="170"/>
                    </a:lnTo>
                    <a:lnTo>
                      <a:pt x="250" y="170"/>
                    </a:lnTo>
                    <a:lnTo>
                      <a:pt x="250" y="172"/>
                    </a:lnTo>
                    <a:lnTo>
                      <a:pt x="252" y="172"/>
                    </a:lnTo>
                    <a:lnTo>
                      <a:pt x="253" y="172"/>
                    </a:lnTo>
                    <a:lnTo>
                      <a:pt x="253" y="170"/>
                    </a:lnTo>
                    <a:lnTo>
                      <a:pt x="253" y="172"/>
                    </a:lnTo>
                    <a:lnTo>
                      <a:pt x="255" y="170"/>
                    </a:lnTo>
                    <a:lnTo>
                      <a:pt x="257" y="170"/>
                    </a:lnTo>
                    <a:lnTo>
                      <a:pt x="257" y="172"/>
                    </a:lnTo>
                    <a:lnTo>
                      <a:pt x="257" y="170"/>
                    </a:lnTo>
                    <a:lnTo>
                      <a:pt x="258" y="170"/>
                    </a:lnTo>
                    <a:lnTo>
                      <a:pt x="260" y="170"/>
                    </a:lnTo>
                    <a:lnTo>
                      <a:pt x="262" y="170"/>
                    </a:lnTo>
                    <a:lnTo>
                      <a:pt x="262" y="168"/>
                    </a:lnTo>
                    <a:lnTo>
                      <a:pt x="263" y="168"/>
                    </a:lnTo>
                    <a:lnTo>
                      <a:pt x="263" y="166"/>
                    </a:lnTo>
                    <a:lnTo>
                      <a:pt x="265" y="166"/>
                    </a:lnTo>
                    <a:lnTo>
                      <a:pt x="267" y="166"/>
                    </a:lnTo>
                    <a:lnTo>
                      <a:pt x="269" y="166"/>
                    </a:lnTo>
                    <a:lnTo>
                      <a:pt x="269" y="165"/>
                    </a:lnTo>
                    <a:lnTo>
                      <a:pt x="270" y="165"/>
                    </a:lnTo>
                    <a:lnTo>
                      <a:pt x="272" y="165"/>
                    </a:lnTo>
                    <a:lnTo>
                      <a:pt x="272" y="166"/>
                    </a:lnTo>
                    <a:lnTo>
                      <a:pt x="272" y="165"/>
                    </a:lnTo>
                    <a:lnTo>
                      <a:pt x="274" y="166"/>
                    </a:lnTo>
                    <a:lnTo>
                      <a:pt x="275" y="166"/>
                    </a:lnTo>
                    <a:lnTo>
                      <a:pt x="277" y="166"/>
                    </a:lnTo>
                    <a:lnTo>
                      <a:pt x="277" y="168"/>
                    </a:lnTo>
                    <a:lnTo>
                      <a:pt x="279" y="170"/>
                    </a:lnTo>
                    <a:lnTo>
                      <a:pt x="280" y="172"/>
                    </a:lnTo>
                    <a:lnTo>
                      <a:pt x="282" y="172"/>
                    </a:lnTo>
                    <a:lnTo>
                      <a:pt x="282" y="173"/>
                    </a:lnTo>
                    <a:lnTo>
                      <a:pt x="282" y="175"/>
                    </a:lnTo>
                    <a:lnTo>
                      <a:pt x="280" y="175"/>
                    </a:lnTo>
                    <a:lnTo>
                      <a:pt x="280" y="177"/>
                    </a:lnTo>
                    <a:lnTo>
                      <a:pt x="280" y="178"/>
                    </a:lnTo>
                    <a:lnTo>
                      <a:pt x="280" y="180"/>
                    </a:lnTo>
                    <a:lnTo>
                      <a:pt x="282" y="180"/>
                    </a:lnTo>
                    <a:lnTo>
                      <a:pt x="282" y="182"/>
                    </a:lnTo>
                    <a:lnTo>
                      <a:pt x="284" y="183"/>
                    </a:lnTo>
                    <a:lnTo>
                      <a:pt x="284" y="185"/>
                    </a:lnTo>
                    <a:lnTo>
                      <a:pt x="282" y="187"/>
                    </a:lnTo>
                    <a:lnTo>
                      <a:pt x="282" y="189"/>
                    </a:lnTo>
                    <a:lnTo>
                      <a:pt x="280" y="189"/>
                    </a:lnTo>
                    <a:lnTo>
                      <a:pt x="280" y="190"/>
                    </a:lnTo>
                    <a:lnTo>
                      <a:pt x="280" y="192"/>
                    </a:lnTo>
                    <a:lnTo>
                      <a:pt x="282" y="192"/>
                    </a:lnTo>
                    <a:lnTo>
                      <a:pt x="282" y="194"/>
                    </a:lnTo>
                    <a:lnTo>
                      <a:pt x="282" y="195"/>
                    </a:lnTo>
                    <a:lnTo>
                      <a:pt x="280" y="195"/>
                    </a:lnTo>
                    <a:lnTo>
                      <a:pt x="280" y="197"/>
                    </a:lnTo>
                    <a:lnTo>
                      <a:pt x="280" y="199"/>
                    </a:lnTo>
                    <a:lnTo>
                      <a:pt x="279" y="200"/>
                    </a:lnTo>
                    <a:lnTo>
                      <a:pt x="279" y="202"/>
                    </a:lnTo>
                    <a:lnTo>
                      <a:pt x="279" y="204"/>
                    </a:lnTo>
                    <a:lnTo>
                      <a:pt x="277" y="206"/>
                    </a:lnTo>
                    <a:lnTo>
                      <a:pt x="277" y="207"/>
                    </a:lnTo>
                    <a:lnTo>
                      <a:pt x="277" y="209"/>
                    </a:lnTo>
                    <a:lnTo>
                      <a:pt x="277" y="211"/>
                    </a:lnTo>
                    <a:lnTo>
                      <a:pt x="277" y="212"/>
                    </a:lnTo>
                    <a:lnTo>
                      <a:pt x="277" y="214"/>
                    </a:lnTo>
                    <a:lnTo>
                      <a:pt x="277" y="216"/>
                    </a:lnTo>
                    <a:lnTo>
                      <a:pt x="275" y="217"/>
                    </a:lnTo>
                    <a:lnTo>
                      <a:pt x="275" y="219"/>
                    </a:lnTo>
                    <a:lnTo>
                      <a:pt x="274" y="221"/>
                    </a:lnTo>
                    <a:lnTo>
                      <a:pt x="274" y="223"/>
                    </a:lnTo>
                    <a:lnTo>
                      <a:pt x="272" y="223"/>
                    </a:lnTo>
                    <a:lnTo>
                      <a:pt x="272" y="224"/>
                    </a:lnTo>
                    <a:lnTo>
                      <a:pt x="272" y="226"/>
                    </a:lnTo>
                    <a:lnTo>
                      <a:pt x="272" y="228"/>
                    </a:lnTo>
                    <a:lnTo>
                      <a:pt x="272" y="229"/>
                    </a:lnTo>
                    <a:lnTo>
                      <a:pt x="272" y="231"/>
                    </a:lnTo>
                    <a:lnTo>
                      <a:pt x="272" y="233"/>
                    </a:lnTo>
                    <a:lnTo>
                      <a:pt x="270" y="233"/>
                    </a:lnTo>
                    <a:lnTo>
                      <a:pt x="270" y="234"/>
                    </a:lnTo>
                    <a:lnTo>
                      <a:pt x="270" y="236"/>
                    </a:lnTo>
                    <a:lnTo>
                      <a:pt x="270" y="238"/>
                    </a:lnTo>
                    <a:lnTo>
                      <a:pt x="272" y="238"/>
                    </a:lnTo>
                    <a:lnTo>
                      <a:pt x="272" y="240"/>
                    </a:lnTo>
                    <a:lnTo>
                      <a:pt x="272" y="241"/>
                    </a:lnTo>
                    <a:lnTo>
                      <a:pt x="272" y="243"/>
                    </a:lnTo>
                    <a:lnTo>
                      <a:pt x="272" y="245"/>
                    </a:lnTo>
                    <a:lnTo>
                      <a:pt x="270" y="245"/>
                    </a:lnTo>
                    <a:lnTo>
                      <a:pt x="269" y="246"/>
                    </a:lnTo>
                    <a:lnTo>
                      <a:pt x="270" y="248"/>
                    </a:lnTo>
                    <a:lnTo>
                      <a:pt x="270" y="250"/>
                    </a:lnTo>
                    <a:lnTo>
                      <a:pt x="270" y="251"/>
                    </a:lnTo>
                    <a:lnTo>
                      <a:pt x="270" y="253"/>
                    </a:lnTo>
                    <a:lnTo>
                      <a:pt x="272" y="253"/>
                    </a:lnTo>
                    <a:lnTo>
                      <a:pt x="272" y="255"/>
                    </a:lnTo>
                    <a:lnTo>
                      <a:pt x="270" y="255"/>
                    </a:lnTo>
                    <a:lnTo>
                      <a:pt x="269" y="255"/>
                    </a:lnTo>
                    <a:lnTo>
                      <a:pt x="270" y="257"/>
                    </a:lnTo>
                    <a:lnTo>
                      <a:pt x="270" y="258"/>
                    </a:lnTo>
                    <a:lnTo>
                      <a:pt x="269" y="258"/>
                    </a:lnTo>
                    <a:lnTo>
                      <a:pt x="269" y="260"/>
                    </a:lnTo>
                    <a:lnTo>
                      <a:pt x="269" y="262"/>
                    </a:lnTo>
                    <a:lnTo>
                      <a:pt x="269" y="263"/>
                    </a:lnTo>
                    <a:lnTo>
                      <a:pt x="267" y="263"/>
                    </a:lnTo>
                    <a:lnTo>
                      <a:pt x="267" y="265"/>
                    </a:lnTo>
                    <a:lnTo>
                      <a:pt x="265" y="265"/>
                    </a:lnTo>
                    <a:lnTo>
                      <a:pt x="265" y="267"/>
                    </a:lnTo>
                    <a:lnTo>
                      <a:pt x="265" y="268"/>
                    </a:lnTo>
                    <a:lnTo>
                      <a:pt x="265" y="270"/>
                    </a:lnTo>
                    <a:lnTo>
                      <a:pt x="263" y="272"/>
                    </a:lnTo>
                    <a:lnTo>
                      <a:pt x="263" y="270"/>
                    </a:lnTo>
                    <a:lnTo>
                      <a:pt x="262" y="270"/>
                    </a:lnTo>
                    <a:lnTo>
                      <a:pt x="260" y="272"/>
                    </a:lnTo>
                    <a:lnTo>
                      <a:pt x="260" y="274"/>
                    </a:lnTo>
                    <a:lnTo>
                      <a:pt x="260" y="275"/>
                    </a:lnTo>
                    <a:lnTo>
                      <a:pt x="258" y="275"/>
                    </a:lnTo>
                    <a:lnTo>
                      <a:pt x="257" y="275"/>
                    </a:lnTo>
                    <a:lnTo>
                      <a:pt x="255" y="277"/>
                    </a:lnTo>
                    <a:lnTo>
                      <a:pt x="253" y="279"/>
                    </a:lnTo>
                    <a:lnTo>
                      <a:pt x="253" y="280"/>
                    </a:lnTo>
                    <a:lnTo>
                      <a:pt x="253" y="282"/>
                    </a:lnTo>
                    <a:lnTo>
                      <a:pt x="252" y="282"/>
                    </a:lnTo>
                    <a:lnTo>
                      <a:pt x="250" y="280"/>
                    </a:lnTo>
                    <a:lnTo>
                      <a:pt x="248" y="282"/>
                    </a:lnTo>
                    <a:lnTo>
                      <a:pt x="246" y="282"/>
                    </a:lnTo>
                    <a:lnTo>
                      <a:pt x="245" y="284"/>
                    </a:lnTo>
                    <a:lnTo>
                      <a:pt x="243" y="284"/>
                    </a:lnTo>
                    <a:lnTo>
                      <a:pt x="243" y="286"/>
                    </a:lnTo>
                    <a:lnTo>
                      <a:pt x="243" y="287"/>
                    </a:lnTo>
                    <a:lnTo>
                      <a:pt x="241" y="287"/>
                    </a:lnTo>
                    <a:lnTo>
                      <a:pt x="240" y="287"/>
                    </a:lnTo>
                    <a:lnTo>
                      <a:pt x="240" y="289"/>
                    </a:lnTo>
                    <a:lnTo>
                      <a:pt x="240" y="291"/>
                    </a:lnTo>
                    <a:lnTo>
                      <a:pt x="238" y="289"/>
                    </a:lnTo>
                    <a:lnTo>
                      <a:pt x="238" y="291"/>
                    </a:lnTo>
                    <a:lnTo>
                      <a:pt x="238" y="292"/>
                    </a:lnTo>
                    <a:lnTo>
                      <a:pt x="240" y="292"/>
                    </a:lnTo>
                    <a:lnTo>
                      <a:pt x="240" y="294"/>
                    </a:lnTo>
                    <a:lnTo>
                      <a:pt x="238" y="294"/>
                    </a:lnTo>
                    <a:lnTo>
                      <a:pt x="238" y="296"/>
                    </a:lnTo>
                    <a:lnTo>
                      <a:pt x="238" y="297"/>
                    </a:lnTo>
                    <a:lnTo>
                      <a:pt x="236" y="297"/>
                    </a:lnTo>
                    <a:lnTo>
                      <a:pt x="235" y="297"/>
                    </a:lnTo>
                    <a:lnTo>
                      <a:pt x="235" y="299"/>
                    </a:lnTo>
                    <a:lnTo>
                      <a:pt x="233" y="301"/>
                    </a:lnTo>
                    <a:lnTo>
                      <a:pt x="231" y="301"/>
                    </a:lnTo>
                    <a:lnTo>
                      <a:pt x="231" y="299"/>
                    </a:lnTo>
                    <a:lnTo>
                      <a:pt x="229" y="299"/>
                    </a:lnTo>
                    <a:lnTo>
                      <a:pt x="229" y="297"/>
                    </a:lnTo>
                    <a:lnTo>
                      <a:pt x="228" y="296"/>
                    </a:lnTo>
                    <a:lnTo>
                      <a:pt x="226" y="297"/>
                    </a:lnTo>
                    <a:lnTo>
                      <a:pt x="224" y="296"/>
                    </a:lnTo>
                    <a:lnTo>
                      <a:pt x="223" y="296"/>
                    </a:lnTo>
                    <a:lnTo>
                      <a:pt x="221" y="296"/>
                    </a:lnTo>
                    <a:lnTo>
                      <a:pt x="219" y="296"/>
                    </a:lnTo>
                    <a:lnTo>
                      <a:pt x="218" y="297"/>
                    </a:lnTo>
                    <a:lnTo>
                      <a:pt x="218" y="299"/>
                    </a:lnTo>
                    <a:lnTo>
                      <a:pt x="216" y="299"/>
                    </a:lnTo>
                    <a:lnTo>
                      <a:pt x="214" y="299"/>
                    </a:lnTo>
                    <a:lnTo>
                      <a:pt x="214" y="301"/>
                    </a:lnTo>
                    <a:lnTo>
                      <a:pt x="216" y="301"/>
                    </a:lnTo>
                    <a:lnTo>
                      <a:pt x="214" y="303"/>
                    </a:lnTo>
                    <a:lnTo>
                      <a:pt x="214" y="304"/>
                    </a:lnTo>
                    <a:lnTo>
                      <a:pt x="212" y="304"/>
                    </a:lnTo>
                    <a:lnTo>
                      <a:pt x="212" y="306"/>
                    </a:lnTo>
                    <a:lnTo>
                      <a:pt x="209" y="304"/>
                    </a:lnTo>
                    <a:lnTo>
                      <a:pt x="209" y="303"/>
                    </a:lnTo>
                    <a:lnTo>
                      <a:pt x="207" y="303"/>
                    </a:lnTo>
                    <a:lnTo>
                      <a:pt x="207" y="301"/>
                    </a:lnTo>
                    <a:lnTo>
                      <a:pt x="206" y="301"/>
                    </a:lnTo>
                    <a:lnTo>
                      <a:pt x="204" y="301"/>
                    </a:lnTo>
                    <a:lnTo>
                      <a:pt x="202" y="301"/>
                    </a:lnTo>
                    <a:lnTo>
                      <a:pt x="201" y="301"/>
                    </a:lnTo>
                    <a:lnTo>
                      <a:pt x="201" y="303"/>
                    </a:lnTo>
                    <a:lnTo>
                      <a:pt x="199" y="303"/>
                    </a:lnTo>
                    <a:lnTo>
                      <a:pt x="197" y="301"/>
                    </a:lnTo>
                    <a:lnTo>
                      <a:pt x="195" y="301"/>
                    </a:lnTo>
                    <a:lnTo>
                      <a:pt x="195" y="299"/>
                    </a:lnTo>
                    <a:lnTo>
                      <a:pt x="194" y="299"/>
                    </a:lnTo>
                    <a:lnTo>
                      <a:pt x="192" y="299"/>
                    </a:lnTo>
                    <a:lnTo>
                      <a:pt x="192" y="301"/>
                    </a:lnTo>
                    <a:lnTo>
                      <a:pt x="190" y="301"/>
                    </a:lnTo>
                    <a:lnTo>
                      <a:pt x="190" y="303"/>
                    </a:lnTo>
                    <a:lnTo>
                      <a:pt x="189" y="303"/>
                    </a:lnTo>
                    <a:lnTo>
                      <a:pt x="187" y="303"/>
                    </a:lnTo>
                    <a:lnTo>
                      <a:pt x="185" y="301"/>
                    </a:lnTo>
                    <a:lnTo>
                      <a:pt x="184" y="301"/>
                    </a:lnTo>
                    <a:lnTo>
                      <a:pt x="182" y="301"/>
                    </a:lnTo>
                    <a:lnTo>
                      <a:pt x="180" y="299"/>
                    </a:lnTo>
                    <a:lnTo>
                      <a:pt x="178" y="299"/>
                    </a:lnTo>
                    <a:lnTo>
                      <a:pt x="177" y="299"/>
                    </a:lnTo>
                    <a:lnTo>
                      <a:pt x="177" y="301"/>
                    </a:lnTo>
                    <a:lnTo>
                      <a:pt x="175" y="301"/>
                    </a:lnTo>
                    <a:lnTo>
                      <a:pt x="173" y="301"/>
                    </a:lnTo>
                    <a:lnTo>
                      <a:pt x="173" y="299"/>
                    </a:lnTo>
                    <a:lnTo>
                      <a:pt x="172" y="299"/>
                    </a:lnTo>
                    <a:lnTo>
                      <a:pt x="170" y="297"/>
                    </a:lnTo>
                    <a:lnTo>
                      <a:pt x="168" y="297"/>
                    </a:lnTo>
                    <a:lnTo>
                      <a:pt x="168" y="296"/>
                    </a:lnTo>
                    <a:lnTo>
                      <a:pt x="167" y="296"/>
                    </a:lnTo>
                    <a:lnTo>
                      <a:pt x="165" y="296"/>
                    </a:lnTo>
                    <a:lnTo>
                      <a:pt x="163" y="296"/>
                    </a:lnTo>
                    <a:lnTo>
                      <a:pt x="161" y="294"/>
                    </a:lnTo>
                    <a:lnTo>
                      <a:pt x="160" y="294"/>
                    </a:lnTo>
                    <a:lnTo>
                      <a:pt x="158" y="294"/>
                    </a:lnTo>
                    <a:lnTo>
                      <a:pt x="156" y="294"/>
                    </a:lnTo>
                    <a:lnTo>
                      <a:pt x="155" y="294"/>
                    </a:lnTo>
                    <a:lnTo>
                      <a:pt x="153" y="294"/>
                    </a:lnTo>
                    <a:lnTo>
                      <a:pt x="151" y="294"/>
                    </a:lnTo>
                    <a:lnTo>
                      <a:pt x="150" y="294"/>
                    </a:lnTo>
                    <a:lnTo>
                      <a:pt x="148" y="294"/>
                    </a:lnTo>
                    <a:lnTo>
                      <a:pt x="146" y="294"/>
                    </a:lnTo>
                    <a:lnTo>
                      <a:pt x="144" y="294"/>
                    </a:lnTo>
                    <a:lnTo>
                      <a:pt x="143" y="294"/>
                    </a:lnTo>
                    <a:lnTo>
                      <a:pt x="141" y="294"/>
                    </a:lnTo>
                    <a:lnTo>
                      <a:pt x="139" y="294"/>
                    </a:lnTo>
                    <a:lnTo>
                      <a:pt x="138" y="294"/>
                    </a:lnTo>
                    <a:lnTo>
                      <a:pt x="138" y="296"/>
                    </a:lnTo>
                    <a:lnTo>
                      <a:pt x="136" y="296"/>
                    </a:lnTo>
                    <a:lnTo>
                      <a:pt x="136" y="294"/>
                    </a:lnTo>
                    <a:lnTo>
                      <a:pt x="138" y="294"/>
                    </a:lnTo>
                    <a:lnTo>
                      <a:pt x="138" y="292"/>
                    </a:lnTo>
                    <a:lnTo>
                      <a:pt x="136" y="292"/>
                    </a:lnTo>
                    <a:lnTo>
                      <a:pt x="136" y="291"/>
                    </a:lnTo>
                    <a:lnTo>
                      <a:pt x="134" y="291"/>
                    </a:lnTo>
                    <a:lnTo>
                      <a:pt x="134" y="289"/>
                    </a:lnTo>
                    <a:lnTo>
                      <a:pt x="136" y="289"/>
                    </a:lnTo>
                    <a:lnTo>
                      <a:pt x="136" y="287"/>
                    </a:lnTo>
                    <a:lnTo>
                      <a:pt x="138" y="287"/>
                    </a:lnTo>
                    <a:lnTo>
                      <a:pt x="139" y="287"/>
                    </a:lnTo>
                    <a:lnTo>
                      <a:pt x="138" y="287"/>
                    </a:lnTo>
                    <a:lnTo>
                      <a:pt x="139" y="286"/>
                    </a:lnTo>
                    <a:lnTo>
                      <a:pt x="138" y="286"/>
                    </a:lnTo>
                    <a:lnTo>
                      <a:pt x="139" y="286"/>
                    </a:lnTo>
                    <a:lnTo>
                      <a:pt x="141" y="286"/>
                    </a:lnTo>
                    <a:lnTo>
                      <a:pt x="139" y="284"/>
                    </a:lnTo>
                    <a:lnTo>
                      <a:pt x="141" y="284"/>
                    </a:lnTo>
                    <a:lnTo>
                      <a:pt x="141" y="282"/>
                    </a:lnTo>
                    <a:lnTo>
                      <a:pt x="141" y="280"/>
                    </a:lnTo>
                    <a:lnTo>
                      <a:pt x="143" y="280"/>
                    </a:lnTo>
                    <a:lnTo>
                      <a:pt x="144" y="280"/>
                    </a:lnTo>
                    <a:lnTo>
                      <a:pt x="144" y="279"/>
                    </a:lnTo>
                    <a:lnTo>
                      <a:pt x="146" y="279"/>
                    </a:lnTo>
                    <a:lnTo>
                      <a:pt x="146" y="277"/>
                    </a:lnTo>
                    <a:lnTo>
                      <a:pt x="146" y="275"/>
                    </a:lnTo>
                    <a:lnTo>
                      <a:pt x="148" y="275"/>
                    </a:lnTo>
                    <a:lnTo>
                      <a:pt x="148" y="274"/>
                    </a:lnTo>
                    <a:lnTo>
                      <a:pt x="150" y="274"/>
                    </a:lnTo>
                    <a:lnTo>
                      <a:pt x="148" y="272"/>
                    </a:lnTo>
                    <a:lnTo>
                      <a:pt x="148" y="270"/>
                    </a:lnTo>
                    <a:lnTo>
                      <a:pt x="150" y="270"/>
                    </a:lnTo>
                    <a:lnTo>
                      <a:pt x="151" y="270"/>
                    </a:lnTo>
                    <a:lnTo>
                      <a:pt x="150" y="268"/>
                    </a:lnTo>
                    <a:lnTo>
                      <a:pt x="151" y="268"/>
                    </a:lnTo>
                    <a:lnTo>
                      <a:pt x="151" y="267"/>
                    </a:lnTo>
                    <a:lnTo>
                      <a:pt x="150" y="267"/>
                    </a:lnTo>
                    <a:lnTo>
                      <a:pt x="150" y="265"/>
                    </a:lnTo>
                    <a:lnTo>
                      <a:pt x="150" y="263"/>
                    </a:lnTo>
                    <a:lnTo>
                      <a:pt x="151" y="263"/>
                    </a:lnTo>
                    <a:lnTo>
                      <a:pt x="151" y="262"/>
                    </a:lnTo>
                    <a:lnTo>
                      <a:pt x="150" y="262"/>
                    </a:lnTo>
                    <a:lnTo>
                      <a:pt x="150" y="260"/>
                    </a:lnTo>
                    <a:lnTo>
                      <a:pt x="151" y="260"/>
                    </a:lnTo>
                    <a:lnTo>
                      <a:pt x="151" y="258"/>
                    </a:lnTo>
                    <a:lnTo>
                      <a:pt x="151" y="257"/>
                    </a:lnTo>
                    <a:lnTo>
                      <a:pt x="151" y="255"/>
                    </a:lnTo>
                    <a:lnTo>
                      <a:pt x="153" y="255"/>
                    </a:lnTo>
                    <a:lnTo>
                      <a:pt x="153" y="253"/>
                    </a:lnTo>
                    <a:lnTo>
                      <a:pt x="151" y="253"/>
                    </a:lnTo>
                    <a:lnTo>
                      <a:pt x="153" y="253"/>
                    </a:lnTo>
                    <a:lnTo>
                      <a:pt x="153" y="251"/>
                    </a:lnTo>
                    <a:lnTo>
                      <a:pt x="155" y="251"/>
                    </a:lnTo>
                    <a:lnTo>
                      <a:pt x="155" y="250"/>
                    </a:lnTo>
                    <a:lnTo>
                      <a:pt x="156" y="250"/>
                    </a:lnTo>
                    <a:lnTo>
                      <a:pt x="158" y="250"/>
                    </a:lnTo>
                    <a:lnTo>
                      <a:pt x="158" y="248"/>
                    </a:lnTo>
                    <a:lnTo>
                      <a:pt x="160" y="248"/>
                    </a:lnTo>
                    <a:lnTo>
                      <a:pt x="160" y="246"/>
                    </a:lnTo>
                    <a:lnTo>
                      <a:pt x="161" y="246"/>
                    </a:lnTo>
                    <a:lnTo>
                      <a:pt x="161" y="245"/>
                    </a:lnTo>
                    <a:lnTo>
                      <a:pt x="161" y="243"/>
                    </a:lnTo>
                    <a:lnTo>
                      <a:pt x="163" y="243"/>
                    </a:lnTo>
                    <a:lnTo>
                      <a:pt x="161" y="241"/>
                    </a:lnTo>
                    <a:lnTo>
                      <a:pt x="161" y="240"/>
                    </a:lnTo>
                    <a:lnTo>
                      <a:pt x="163" y="240"/>
                    </a:lnTo>
                    <a:lnTo>
                      <a:pt x="165" y="240"/>
                    </a:lnTo>
                    <a:lnTo>
                      <a:pt x="165" y="238"/>
                    </a:lnTo>
                    <a:lnTo>
                      <a:pt x="163" y="238"/>
                    </a:lnTo>
                    <a:lnTo>
                      <a:pt x="163" y="236"/>
                    </a:lnTo>
                    <a:lnTo>
                      <a:pt x="165" y="236"/>
                    </a:lnTo>
                    <a:lnTo>
                      <a:pt x="167" y="236"/>
                    </a:lnTo>
                    <a:lnTo>
                      <a:pt x="167" y="234"/>
                    </a:lnTo>
                    <a:lnTo>
                      <a:pt x="165" y="234"/>
                    </a:lnTo>
                    <a:lnTo>
                      <a:pt x="167" y="233"/>
                    </a:lnTo>
                    <a:lnTo>
                      <a:pt x="168" y="233"/>
                    </a:lnTo>
                    <a:lnTo>
                      <a:pt x="168" y="231"/>
                    </a:lnTo>
                    <a:lnTo>
                      <a:pt x="170" y="231"/>
                    </a:lnTo>
                    <a:lnTo>
                      <a:pt x="170" y="229"/>
                    </a:lnTo>
                    <a:lnTo>
                      <a:pt x="172" y="229"/>
                    </a:lnTo>
                    <a:lnTo>
                      <a:pt x="172" y="228"/>
                    </a:lnTo>
                    <a:lnTo>
                      <a:pt x="172" y="226"/>
                    </a:lnTo>
                    <a:lnTo>
                      <a:pt x="172" y="224"/>
                    </a:lnTo>
                    <a:lnTo>
                      <a:pt x="172" y="223"/>
                    </a:lnTo>
                    <a:lnTo>
                      <a:pt x="170" y="223"/>
                    </a:lnTo>
                    <a:lnTo>
                      <a:pt x="168" y="223"/>
                    </a:lnTo>
                    <a:lnTo>
                      <a:pt x="168" y="221"/>
                    </a:lnTo>
                    <a:lnTo>
                      <a:pt x="167" y="221"/>
                    </a:lnTo>
                    <a:lnTo>
                      <a:pt x="167" y="219"/>
                    </a:lnTo>
                    <a:lnTo>
                      <a:pt x="168" y="219"/>
                    </a:lnTo>
                    <a:lnTo>
                      <a:pt x="167" y="219"/>
                    </a:lnTo>
                    <a:lnTo>
                      <a:pt x="167" y="217"/>
                    </a:lnTo>
                    <a:lnTo>
                      <a:pt x="165" y="216"/>
                    </a:lnTo>
                    <a:lnTo>
                      <a:pt x="167" y="216"/>
                    </a:lnTo>
                    <a:lnTo>
                      <a:pt x="165" y="216"/>
                    </a:lnTo>
                    <a:lnTo>
                      <a:pt x="165" y="214"/>
                    </a:lnTo>
                    <a:lnTo>
                      <a:pt x="163" y="214"/>
                    </a:lnTo>
                    <a:lnTo>
                      <a:pt x="163" y="212"/>
                    </a:lnTo>
                    <a:lnTo>
                      <a:pt x="161" y="211"/>
                    </a:lnTo>
                    <a:lnTo>
                      <a:pt x="160" y="211"/>
                    </a:lnTo>
                    <a:lnTo>
                      <a:pt x="158" y="211"/>
                    </a:lnTo>
                    <a:lnTo>
                      <a:pt x="156" y="209"/>
                    </a:lnTo>
                    <a:lnTo>
                      <a:pt x="156" y="211"/>
                    </a:lnTo>
                    <a:lnTo>
                      <a:pt x="156" y="209"/>
                    </a:lnTo>
                    <a:lnTo>
                      <a:pt x="156" y="211"/>
                    </a:lnTo>
                    <a:lnTo>
                      <a:pt x="156" y="209"/>
                    </a:lnTo>
                    <a:lnTo>
                      <a:pt x="155" y="211"/>
                    </a:lnTo>
                    <a:lnTo>
                      <a:pt x="155" y="209"/>
                    </a:lnTo>
                    <a:lnTo>
                      <a:pt x="153" y="209"/>
                    </a:lnTo>
                    <a:lnTo>
                      <a:pt x="153" y="207"/>
                    </a:lnTo>
                    <a:lnTo>
                      <a:pt x="151" y="207"/>
                    </a:lnTo>
                    <a:lnTo>
                      <a:pt x="150" y="206"/>
                    </a:lnTo>
                    <a:lnTo>
                      <a:pt x="148" y="206"/>
                    </a:lnTo>
                    <a:lnTo>
                      <a:pt x="148" y="207"/>
                    </a:lnTo>
                    <a:lnTo>
                      <a:pt x="146" y="207"/>
                    </a:lnTo>
                    <a:lnTo>
                      <a:pt x="146" y="209"/>
                    </a:lnTo>
                    <a:lnTo>
                      <a:pt x="146" y="207"/>
                    </a:lnTo>
                    <a:lnTo>
                      <a:pt x="144" y="207"/>
                    </a:lnTo>
                    <a:lnTo>
                      <a:pt x="144" y="206"/>
                    </a:lnTo>
                    <a:lnTo>
                      <a:pt x="143" y="206"/>
                    </a:lnTo>
                    <a:lnTo>
                      <a:pt x="143" y="204"/>
                    </a:lnTo>
                    <a:lnTo>
                      <a:pt x="141" y="204"/>
                    </a:lnTo>
                    <a:lnTo>
                      <a:pt x="141" y="202"/>
                    </a:lnTo>
                    <a:lnTo>
                      <a:pt x="139" y="202"/>
                    </a:lnTo>
                    <a:lnTo>
                      <a:pt x="138" y="202"/>
                    </a:lnTo>
                    <a:lnTo>
                      <a:pt x="136" y="202"/>
                    </a:lnTo>
                    <a:lnTo>
                      <a:pt x="134" y="202"/>
                    </a:lnTo>
                    <a:lnTo>
                      <a:pt x="134" y="200"/>
                    </a:lnTo>
                    <a:lnTo>
                      <a:pt x="133" y="200"/>
                    </a:lnTo>
                    <a:lnTo>
                      <a:pt x="131" y="200"/>
                    </a:lnTo>
                    <a:lnTo>
                      <a:pt x="129" y="200"/>
                    </a:lnTo>
                    <a:lnTo>
                      <a:pt x="129" y="199"/>
                    </a:lnTo>
                    <a:lnTo>
                      <a:pt x="127" y="199"/>
                    </a:lnTo>
                    <a:lnTo>
                      <a:pt x="127" y="197"/>
                    </a:lnTo>
                    <a:lnTo>
                      <a:pt x="126" y="197"/>
                    </a:lnTo>
                    <a:lnTo>
                      <a:pt x="124" y="195"/>
                    </a:lnTo>
                    <a:lnTo>
                      <a:pt x="122" y="195"/>
                    </a:lnTo>
                    <a:lnTo>
                      <a:pt x="121" y="194"/>
                    </a:lnTo>
                    <a:lnTo>
                      <a:pt x="119" y="194"/>
                    </a:lnTo>
                    <a:lnTo>
                      <a:pt x="117" y="192"/>
                    </a:lnTo>
                    <a:lnTo>
                      <a:pt x="116" y="192"/>
                    </a:lnTo>
                    <a:lnTo>
                      <a:pt x="116" y="190"/>
                    </a:lnTo>
                    <a:lnTo>
                      <a:pt x="114" y="190"/>
                    </a:lnTo>
                    <a:lnTo>
                      <a:pt x="112" y="189"/>
                    </a:lnTo>
                    <a:lnTo>
                      <a:pt x="110" y="187"/>
                    </a:lnTo>
                    <a:lnTo>
                      <a:pt x="109" y="187"/>
                    </a:lnTo>
                    <a:lnTo>
                      <a:pt x="109" y="185"/>
                    </a:lnTo>
                    <a:lnTo>
                      <a:pt x="107" y="183"/>
                    </a:lnTo>
                    <a:lnTo>
                      <a:pt x="104" y="182"/>
                    </a:lnTo>
                    <a:lnTo>
                      <a:pt x="97" y="177"/>
                    </a:lnTo>
                    <a:lnTo>
                      <a:pt x="88" y="172"/>
                    </a:lnTo>
                    <a:lnTo>
                      <a:pt x="87" y="172"/>
                    </a:lnTo>
                    <a:lnTo>
                      <a:pt x="85" y="173"/>
                    </a:lnTo>
                    <a:lnTo>
                      <a:pt x="83" y="173"/>
                    </a:lnTo>
                    <a:lnTo>
                      <a:pt x="82" y="173"/>
                    </a:lnTo>
                    <a:lnTo>
                      <a:pt x="80" y="173"/>
                    </a:lnTo>
                    <a:lnTo>
                      <a:pt x="78" y="172"/>
                    </a:lnTo>
                    <a:lnTo>
                      <a:pt x="76" y="172"/>
                    </a:lnTo>
                    <a:lnTo>
                      <a:pt x="76" y="170"/>
                    </a:lnTo>
                    <a:lnTo>
                      <a:pt x="75" y="170"/>
                    </a:lnTo>
                    <a:lnTo>
                      <a:pt x="73" y="170"/>
                    </a:lnTo>
                    <a:lnTo>
                      <a:pt x="71" y="170"/>
                    </a:lnTo>
                    <a:lnTo>
                      <a:pt x="70" y="170"/>
                    </a:lnTo>
                    <a:lnTo>
                      <a:pt x="70" y="168"/>
                    </a:lnTo>
                    <a:lnTo>
                      <a:pt x="68" y="168"/>
                    </a:lnTo>
                    <a:lnTo>
                      <a:pt x="66" y="168"/>
                    </a:lnTo>
                    <a:lnTo>
                      <a:pt x="66" y="166"/>
                    </a:lnTo>
                    <a:lnTo>
                      <a:pt x="65" y="166"/>
                    </a:lnTo>
                    <a:lnTo>
                      <a:pt x="63" y="166"/>
                    </a:lnTo>
                    <a:lnTo>
                      <a:pt x="61" y="166"/>
                    </a:lnTo>
                    <a:lnTo>
                      <a:pt x="59" y="165"/>
                    </a:lnTo>
                    <a:lnTo>
                      <a:pt x="58" y="163"/>
                    </a:lnTo>
                    <a:lnTo>
                      <a:pt x="58" y="165"/>
                    </a:lnTo>
                    <a:lnTo>
                      <a:pt x="56" y="165"/>
                    </a:lnTo>
                    <a:lnTo>
                      <a:pt x="56" y="163"/>
                    </a:lnTo>
                    <a:lnTo>
                      <a:pt x="54" y="161"/>
                    </a:lnTo>
                    <a:lnTo>
                      <a:pt x="54" y="160"/>
                    </a:lnTo>
                    <a:lnTo>
                      <a:pt x="53" y="160"/>
                    </a:lnTo>
                    <a:lnTo>
                      <a:pt x="53" y="158"/>
                    </a:lnTo>
                    <a:lnTo>
                      <a:pt x="53" y="156"/>
                    </a:lnTo>
                    <a:lnTo>
                      <a:pt x="51" y="156"/>
                    </a:lnTo>
                    <a:lnTo>
                      <a:pt x="51" y="155"/>
                    </a:lnTo>
                    <a:lnTo>
                      <a:pt x="49" y="155"/>
                    </a:lnTo>
                    <a:lnTo>
                      <a:pt x="48" y="155"/>
                    </a:lnTo>
                    <a:lnTo>
                      <a:pt x="48" y="153"/>
                    </a:lnTo>
                    <a:lnTo>
                      <a:pt x="46" y="153"/>
                    </a:lnTo>
                    <a:lnTo>
                      <a:pt x="46" y="151"/>
                    </a:lnTo>
                    <a:lnTo>
                      <a:pt x="44" y="151"/>
                    </a:lnTo>
                    <a:lnTo>
                      <a:pt x="42" y="151"/>
                    </a:lnTo>
                    <a:lnTo>
                      <a:pt x="41" y="151"/>
                    </a:lnTo>
                    <a:lnTo>
                      <a:pt x="41" y="149"/>
                    </a:lnTo>
                    <a:lnTo>
                      <a:pt x="39" y="149"/>
                    </a:lnTo>
                    <a:lnTo>
                      <a:pt x="39" y="148"/>
                    </a:lnTo>
                    <a:lnTo>
                      <a:pt x="37" y="148"/>
                    </a:lnTo>
                    <a:lnTo>
                      <a:pt x="37" y="146"/>
                    </a:lnTo>
                    <a:lnTo>
                      <a:pt x="36" y="146"/>
                    </a:lnTo>
                    <a:lnTo>
                      <a:pt x="36" y="144"/>
                    </a:lnTo>
                    <a:lnTo>
                      <a:pt x="34" y="144"/>
                    </a:lnTo>
                    <a:lnTo>
                      <a:pt x="32" y="144"/>
                    </a:lnTo>
                    <a:lnTo>
                      <a:pt x="32" y="143"/>
                    </a:lnTo>
                    <a:lnTo>
                      <a:pt x="31" y="143"/>
                    </a:lnTo>
                    <a:lnTo>
                      <a:pt x="31" y="141"/>
                    </a:lnTo>
                    <a:lnTo>
                      <a:pt x="29" y="141"/>
                    </a:lnTo>
                    <a:lnTo>
                      <a:pt x="29" y="139"/>
                    </a:lnTo>
                    <a:lnTo>
                      <a:pt x="27" y="139"/>
                    </a:lnTo>
                    <a:lnTo>
                      <a:pt x="27" y="138"/>
                    </a:lnTo>
                    <a:lnTo>
                      <a:pt x="25" y="138"/>
                    </a:lnTo>
                    <a:lnTo>
                      <a:pt x="24" y="136"/>
                    </a:lnTo>
                    <a:lnTo>
                      <a:pt x="22" y="136"/>
                    </a:lnTo>
                    <a:lnTo>
                      <a:pt x="22" y="134"/>
                    </a:lnTo>
                    <a:lnTo>
                      <a:pt x="20" y="134"/>
                    </a:lnTo>
                    <a:lnTo>
                      <a:pt x="20" y="132"/>
                    </a:lnTo>
                    <a:lnTo>
                      <a:pt x="19" y="131"/>
                    </a:lnTo>
                    <a:lnTo>
                      <a:pt x="19" y="129"/>
                    </a:lnTo>
                    <a:lnTo>
                      <a:pt x="17" y="127"/>
                    </a:lnTo>
                    <a:lnTo>
                      <a:pt x="15" y="126"/>
                    </a:lnTo>
                    <a:lnTo>
                      <a:pt x="15" y="124"/>
                    </a:lnTo>
                    <a:lnTo>
                      <a:pt x="15" y="122"/>
                    </a:lnTo>
                    <a:lnTo>
                      <a:pt x="15" y="121"/>
                    </a:lnTo>
                    <a:lnTo>
                      <a:pt x="14" y="122"/>
                    </a:lnTo>
                    <a:lnTo>
                      <a:pt x="14" y="121"/>
                    </a:lnTo>
                    <a:lnTo>
                      <a:pt x="14" y="119"/>
                    </a:lnTo>
                    <a:lnTo>
                      <a:pt x="15" y="119"/>
                    </a:lnTo>
                    <a:lnTo>
                      <a:pt x="14" y="119"/>
                    </a:lnTo>
                    <a:lnTo>
                      <a:pt x="15" y="117"/>
                    </a:lnTo>
                    <a:lnTo>
                      <a:pt x="14" y="117"/>
                    </a:lnTo>
                    <a:lnTo>
                      <a:pt x="12" y="117"/>
                    </a:lnTo>
                    <a:lnTo>
                      <a:pt x="12" y="115"/>
                    </a:lnTo>
                    <a:lnTo>
                      <a:pt x="10" y="115"/>
                    </a:lnTo>
                    <a:lnTo>
                      <a:pt x="12" y="115"/>
                    </a:lnTo>
                    <a:lnTo>
                      <a:pt x="10" y="115"/>
                    </a:lnTo>
                    <a:lnTo>
                      <a:pt x="10" y="114"/>
                    </a:lnTo>
                    <a:lnTo>
                      <a:pt x="10" y="115"/>
                    </a:lnTo>
                    <a:lnTo>
                      <a:pt x="10" y="114"/>
                    </a:lnTo>
                    <a:lnTo>
                      <a:pt x="8" y="114"/>
                    </a:lnTo>
                    <a:lnTo>
                      <a:pt x="7" y="114"/>
                    </a:lnTo>
                    <a:lnTo>
                      <a:pt x="7" y="112"/>
                    </a:lnTo>
                    <a:lnTo>
                      <a:pt x="5" y="112"/>
                    </a:lnTo>
                    <a:lnTo>
                      <a:pt x="3" y="112"/>
                    </a:lnTo>
                    <a:lnTo>
                      <a:pt x="3" y="110"/>
                    </a:lnTo>
                    <a:lnTo>
                      <a:pt x="2" y="109"/>
                    </a:lnTo>
                    <a:lnTo>
                      <a:pt x="0" y="109"/>
                    </a:lnTo>
                    <a:lnTo>
                      <a:pt x="2" y="109"/>
                    </a:lnTo>
                    <a:lnTo>
                      <a:pt x="2" y="107"/>
                    </a:lnTo>
                    <a:lnTo>
                      <a:pt x="0" y="107"/>
                    </a:lnTo>
                    <a:lnTo>
                      <a:pt x="3" y="95"/>
                    </a:lnTo>
                    <a:lnTo>
                      <a:pt x="7" y="86"/>
                    </a:lnTo>
                    <a:lnTo>
                      <a:pt x="14" y="64"/>
                    </a:lnTo>
                    <a:lnTo>
                      <a:pt x="14" y="61"/>
                    </a:lnTo>
                    <a:lnTo>
                      <a:pt x="14" y="46"/>
                    </a:lnTo>
                    <a:lnTo>
                      <a:pt x="15" y="42"/>
                    </a:lnTo>
                    <a:lnTo>
                      <a:pt x="25" y="29"/>
                    </a:lnTo>
                    <a:lnTo>
                      <a:pt x="25" y="27"/>
                    </a:lnTo>
                    <a:lnTo>
                      <a:pt x="31" y="13"/>
                    </a:lnTo>
                    <a:lnTo>
                      <a:pt x="32" y="13"/>
                    </a:lnTo>
                    <a:lnTo>
                      <a:pt x="70" y="7"/>
                    </a:lnTo>
                    <a:lnTo>
                      <a:pt x="90" y="0"/>
                    </a:lnTo>
                    <a:lnTo>
                      <a:pt x="122" y="0"/>
                    </a:lnTo>
                    <a:lnTo>
                      <a:pt x="139" y="12"/>
                    </a:lnTo>
                    <a:lnTo>
                      <a:pt x="143" y="13"/>
                    </a:lnTo>
                    <a:lnTo>
                      <a:pt x="151" y="20"/>
                    </a:lnTo>
                    <a:lnTo>
                      <a:pt x="150" y="22"/>
                    </a:lnTo>
                    <a:lnTo>
                      <a:pt x="151" y="22"/>
                    </a:lnTo>
                    <a:lnTo>
                      <a:pt x="151" y="24"/>
                    </a:lnTo>
                    <a:lnTo>
                      <a:pt x="150" y="24"/>
                    </a:lnTo>
                    <a:lnTo>
                      <a:pt x="151" y="24"/>
                    </a:lnTo>
                    <a:lnTo>
                      <a:pt x="151" y="25"/>
                    </a:lnTo>
                    <a:lnTo>
                      <a:pt x="151" y="27"/>
                    </a:lnTo>
                    <a:lnTo>
                      <a:pt x="151" y="29"/>
                    </a:lnTo>
                    <a:lnTo>
                      <a:pt x="153" y="29"/>
                    </a:lnTo>
                    <a:lnTo>
                      <a:pt x="153" y="30"/>
                    </a:lnTo>
                    <a:lnTo>
                      <a:pt x="151" y="30"/>
                    </a:lnTo>
                    <a:lnTo>
                      <a:pt x="151" y="3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41" name="Freeform 46">
                <a:extLst>
                  <a:ext uri="{FF2B5EF4-FFF2-40B4-BE49-F238E27FC236}">
                    <a16:creationId xmlns:a16="http://schemas.microsoft.com/office/drawing/2014/main" id="{12792B0A-5B7A-C755-177A-E86EA3952555}"/>
                  </a:ext>
                </a:extLst>
              </p:cNvPr>
              <p:cNvSpPr>
                <a:spLocks noEditPoints="1"/>
              </p:cNvSpPr>
              <p:nvPr/>
            </p:nvSpPr>
            <p:spPr bwMode="auto">
              <a:xfrm>
                <a:off x="5571662" y="2946832"/>
                <a:ext cx="126005" cy="185043"/>
              </a:xfrm>
              <a:custGeom>
                <a:avLst/>
                <a:gdLst>
                  <a:gd name="T0" fmla="*/ 367 w 429"/>
                  <a:gd name="T1" fmla="*/ 141 h 630"/>
                  <a:gd name="T2" fmla="*/ 347 w 429"/>
                  <a:gd name="T3" fmla="*/ 148 h 630"/>
                  <a:gd name="T4" fmla="*/ 323 w 429"/>
                  <a:gd name="T5" fmla="*/ 152 h 630"/>
                  <a:gd name="T6" fmla="*/ 299 w 429"/>
                  <a:gd name="T7" fmla="*/ 165 h 630"/>
                  <a:gd name="T8" fmla="*/ 284 w 429"/>
                  <a:gd name="T9" fmla="*/ 189 h 630"/>
                  <a:gd name="T10" fmla="*/ 276 w 429"/>
                  <a:gd name="T11" fmla="*/ 213 h 630"/>
                  <a:gd name="T12" fmla="*/ 259 w 429"/>
                  <a:gd name="T13" fmla="*/ 230 h 630"/>
                  <a:gd name="T14" fmla="*/ 259 w 429"/>
                  <a:gd name="T15" fmla="*/ 262 h 630"/>
                  <a:gd name="T16" fmla="*/ 272 w 429"/>
                  <a:gd name="T17" fmla="*/ 293 h 630"/>
                  <a:gd name="T18" fmla="*/ 294 w 429"/>
                  <a:gd name="T19" fmla="*/ 320 h 630"/>
                  <a:gd name="T20" fmla="*/ 310 w 429"/>
                  <a:gd name="T21" fmla="*/ 337 h 630"/>
                  <a:gd name="T22" fmla="*/ 357 w 429"/>
                  <a:gd name="T23" fmla="*/ 327 h 630"/>
                  <a:gd name="T24" fmla="*/ 364 w 429"/>
                  <a:gd name="T25" fmla="*/ 332 h 630"/>
                  <a:gd name="T26" fmla="*/ 376 w 429"/>
                  <a:gd name="T27" fmla="*/ 376 h 630"/>
                  <a:gd name="T28" fmla="*/ 408 w 429"/>
                  <a:gd name="T29" fmla="*/ 388 h 630"/>
                  <a:gd name="T30" fmla="*/ 427 w 429"/>
                  <a:gd name="T31" fmla="*/ 432 h 630"/>
                  <a:gd name="T32" fmla="*/ 420 w 429"/>
                  <a:gd name="T33" fmla="*/ 461 h 630"/>
                  <a:gd name="T34" fmla="*/ 417 w 429"/>
                  <a:gd name="T35" fmla="*/ 487 h 630"/>
                  <a:gd name="T36" fmla="*/ 408 w 429"/>
                  <a:gd name="T37" fmla="*/ 516 h 630"/>
                  <a:gd name="T38" fmla="*/ 413 w 429"/>
                  <a:gd name="T39" fmla="*/ 555 h 630"/>
                  <a:gd name="T40" fmla="*/ 403 w 429"/>
                  <a:gd name="T41" fmla="*/ 584 h 630"/>
                  <a:gd name="T42" fmla="*/ 388 w 429"/>
                  <a:gd name="T43" fmla="*/ 609 h 630"/>
                  <a:gd name="T44" fmla="*/ 366 w 429"/>
                  <a:gd name="T45" fmla="*/ 628 h 630"/>
                  <a:gd name="T46" fmla="*/ 339 w 429"/>
                  <a:gd name="T47" fmla="*/ 606 h 630"/>
                  <a:gd name="T48" fmla="*/ 313 w 429"/>
                  <a:gd name="T49" fmla="*/ 582 h 630"/>
                  <a:gd name="T50" fmla="*/ 281 w 429"/>
                  <a:gd name="T51" fmla="*/ 565 h 630"/>
                  <a:gd name="T52" fmla="*/ 248 w 429"/>
                  <a:gd name="T53" fmla="*/ 550 h 630"/>
                  <a:gd name="T54" fmla="*/ 216 w 429"/>
                  <a:gd name="T55" fmla="*/ 529 h 630"/>
                  <a:gd name="T56" fmla="*/ 194 w 429"/>
                  <a:gd name="T57" fmla="*/ 507 h 630"/>
                  <a:gd name="T58" fmla="*/ 172 w 429"/>
                  <a:gd name="T59" fmla="*/ 482 h 630"/>
                  <a:gd name="T60" fmla="*/ 172 w 429"/>
                  <a:gd name="T61" fmla="*/ 470 h 630"/>
                  <a:gd name="T62" fmla="*/ 160 w 429"/>
                  <a:gd name="T63" fmla="*/ 436 h 630"/>
                  <a:gd name="T64" fmla="*/ 141 w 429"/>
                  <a:gd name="T65" fmla="*/ 410 h 630"/>
                  <a:gd name="T66" fmla="*/ 126 w 429"/>
                  <a:gd name="T67" fmla="*/ 381 h 630"/>
                  <a:gd name="T68" fmla="*/ 112 w 429"/>
                  <a:gd name="T69" fmla="*/ 352 h 630"/>
                  <a:gd name="T70" fmla="*/ 99 w 429"/>
                  <a:gd name="T71" fmla="*/ 317 h 630"/>
                  <a:gd name="T72" fmla="*/ 87 w 429"/>
                  <a:gd name="T73" fmla="*/ 298 h 630"/>
                  <a:gd name="T74" fmla="*/ 67 w 429"/>
                  <a:gd name="T75" fmla="*/ 266 h 630"/>
                  <a:gd name="T76" fmla="*/ 46 w 429"/>
                  <a:gd name="T77" fmla="*/ 230 h 630"/>
                  <a:gd name="T78" fmla="*/ 9 w 429"/>
                  <a:gd name="T79" fmla="*/ 204 h 630"/>
                  <a:gd name="T80" fmla="*/ 5 w 429"/>
                  <a:gd name="T81" fmla="*/ 177 h 630"/>
                  <a:gd name="T82" fmla="*/ 4 w 429"/>
                  <a:gd name="T83" fmla="*/ 145 h 630"/>
                  <a:gd name="T84" fmla="*/ 31 w 429"/>
                  <a:gd name="T85" fmla="*/ 119 h 630"/>
                  <a:gd name="T86" fmla="*/ 29 w 429"/>
                  <a:gd name="T87" fmla="*/ 136 h 630"/>
                  <a:gd name="T88" fmla="*/ 39 w 429"/>
                  <a:gd name="T89" fmla="*/ 145 h 630"/>
                  <a:gd name="T90" fmla="*/ 70 w 429"/>
                  <a:gd name="T91" fmla="*/ 165 h 630"/>
                  <a:gd name="T92" fmla="*/ 92 w 429"/>
                  <a:gd name="T93" fmla="*/ 148 h 630"/>
                  <a:gd name="T94" fmla="*/ 101 w 429"/>
                  <a:gd name="T95" fmla="*/ 118 h 630"/>
                  <a:gd name="T96" fmla="*/ 128 w 429"/>
                  <a:gd name="T97" fmla="*/ 99 h 630"/>
                  <a:gd name="T98" fmla="*/ 199 w 429"/>
                  <a:gd name="T99" fmla="*/ 39 h 630"/>
                  <a:gd name="T100" fmla="*/ 203 w 429"/>
                  <a:gd name="T101" fmla="*/ 16 h 630"/>
                  <a:gd name="T102" fmla="*/ 216 w 429"/>
                  <a:gd name="T103" fmla="*/ 5 h 630"/>
                  <a:gd name="T104" fmla="*/ 235 w 429"/>
                  <a:gd name="T105" fmla="*/ 21 h 630"/>
                  <a:gd name="T106" fmla="*/ 248 w 429"/>
                  <a:gd name="T107" fmla="*/ 34 h 630"/>
                  <a:gd name="T108" fmla="*/ 265 w 429"/>
                  <a:gd name="T109" fmla="*/ 51 h 630"/>
                  <a:gd name="T110" fmla="*/ 279 w 429"/>
                  <a:gd name="T111" fmla="*/ 70 h 630"/>
                  <a:gd name="T112" fmla="*/ 298 w 429"/>
                  <a:gd name="T113" fmla="*/ 82 h 630"/>
                  <a:gd name="T114" fmla="*/ 322 w 429"/>
                  <a:gd name="T115" fmla="*/ 75 h 630"/>
                  <a:gd name="T116" fmla="*/ 342 w 429"/>
                  <a:gd name="T117" fmla="*/ 80 h 630"/>
                  <a:gd name="T118" fmla="*/ 367 w 429"/>
                  <a:gd name="T119" fmla="*/ 84 h 630"/>
                  <a:gd name="T120" fmla="*/ 371 w 429"/>
                  <a:gd name="T121" fmla="*/ 109 h 630"/>
                  <a:gd name="T122" fmla="*/ 381 w 429"/>
                  <a:gd name="T123" fmla="*/ 138 h 630"/>
                  <a:gd name="T124" fmla="*/ 36 w 429"/>
                  <a:gd name="T125" fmla="*/ 116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9" h="630">
                    <a:moveTo>
                      <a:pt x="384" y="143"/>
                    </a:moveTo>
                    <a:lnTo>
                      <a:pt x="384" y="145"/>
                    </a:lnTo>
                    <a:lnTo>
                      <a:pt x="384" y="147"/>
                    </a:lnTo>
                    <a:lnTo>
                      <a:pt x="384" y="148"/>
                    </a:lnTo>
                    <a:lnTo>
                      <a:pt x="383" y="148"/>
                    </a:lnTo>
                    <a:lnTo>
                      <a:pt x="381" y="147"/>
                    </a:lnTo>
                    <a:lnTo>
                      <a:pt x="381" y="145"/>
                    </a:lnTo>
                    <a:lnTo>
                      <a:pt x="379" y="145"/>
                    </a:lnTo>
                    <a:lnTo>
                      <a:pt x="379" y="143"/>
                    </a:lnTo>
                    <a:lnTo>
                      <a:pt x="379" y="145"/>
                    </a:lnTo>
                    <a:lnTo>
                      <a:pt x="378" y="145"/>
                    </a:lnTo>
                    <a:lnTo>
                      <a:pt x="378" y="147"/>
                    </a:lnTo>
                    <a:lnTo>
                      <a:pt x="376" y="147"/>
                    </a:lnTo>
                    <a:lnTo>
                      <a:pt x="376" y="145"/>
                    </a:lnTo>
                    <a:lnTo>
                      <a:pt x="376" y="147"/>
                    </a:lnTo>
                    <a:lnTo>
                      <a:pt x="374" y="145"/>
                    </a:lnTo>
                    <a:lnTo>
                      <a:pt x="373" y="143"/>
                    </a:lnTo>
                    <a:lnTo>
                      <a:pt x="374" y="143"/>
                    </a:lnTo>
                    <a:lnTo>
                      <a:pt x="374" y="141"/>
                    </a:lnTo>
                    <a:lnTo>
                      <a:pt x="373" y="140"/>
                    </a:lnTo>
                    <a:lnTo>
                      <a:pt x="373" y="141"/>
                    </a:lnTo>
                    <a:lnTo>
                      <a:pt x="371" y="141"/>
                    </a:lnTo>
                    <a:lnTo>
                      <a:pt x="371" y="140"/>
                    </a:lnTo>
                    <a:lnTo>
                      <a:pt x="369" y="140"/>
                    </a:lnTo>
                    <a:lnTo>
                      <a:pt x="367" y="140"/>
                    </a:lnTo>
                    <a:lnTo>
                      <a:pt x="369" y="140"/>
                    </a:lnTo>
                    <a:lnTo>
                      <a:pt x="367" y="140"/>
                    </a:lnTo>
                    <a:lnTo>
                      <a:pt x="367" y="141"/>
                    </a:lnTo>
                    <a:lnTo>
                      <a:pt x="367" y="140"/>
                    </a:lnTo>
                    <a:lnTo>
                      <a:pt x="367" y="141"/>
                    </a:lnTo>
                    <a:lnTo>
                      <a:pt x="366" y="141"/>
                    </a:lnTo>
                    <a:lnTo>
                      <a:pt x="366" y="140"/>
                    </a:lnTo>
                    <a:lnTo>
                      <a:pt x="364" y="140"/>
                    </a:lnTo>
                    <a:lnTo>
                      <a:pt x="366" y="140"/>
                    </a:lnTo>
                    <a:lnTo>
                      <a:pt x="364" y="141"/>
                    </a:lnTo>
                    <a:lnTo>
                      <a:pt x="362" y="141"/>
                    </a:lnTo>
                    <a:lnTo>
                      <a:pt x="362" y="140"/>
                    </a:lnTo>
                    <a:lnTo>
                      <a:pt x="361" y="140"/>
                    </a:lnTo>
                    <a:lnTo>
                      <a:pt x="361" y="141"/>
                    </a:lnTo>
                    <a:lnTo>
                      <a:pt x="359" y="141"/>
                    </a:lnTo>
                    <a:lnTo>
                      <a:pt x="357" y="140"/>
                    </a:lnTo>
                    <a:lnTo>
                      <a:pt x="357" y="141"/>
                    </a:lnTo>
                    <a:lnTo>
                      <a:pt x="356" y="141"/>
                    </a:lnTo>
                    <a:lnTo>
                      <a:pt x="356" y="143"/>
                    </a:lnTo>
                    <a:lnTo>
                      <a:pt x="354" y="143"/>
                    </a:lnTo>
                    <a:lnTo>
                      <a:pt x="354" y="145"/>
                    </a:lnTo>
                    <a:lnTo>
                      <a:pt x="354" y="147"/>
                    </a:lnTo>
                    <a:lnTo>
                      <a:pt x="352" y="147"/>
                    </a:lnTo>
                    <a:lnTo>
                      <a:pt x="352" y="148"/>
                    </a:lnTo>
                    <a:lnTo>
                      <a:pt x="350" y="148"/>
                    </a:lnTo>
                    <a:lnTo>
                      <a:pt x="350" y="147"/>
                    </a:lnTo>
                    <a:lnTo>
                      <a:pt x="349" y="147"/>
                    </a:lnTo>
                    <a:lnTo>
                      <a:pt x="350" y="147"/>
                    </a:lnTo>
                    <a:lnTo>
                      <a:pt x="350" y="148"/>
                    </a:lnTo>
                    <a:lnTo>
                      <a:pt x="349" y="148"/>
                    </a:lnTo>
                    <a:lnTo>
                      <a:pt x="347" y="148"/>
                    </a:lnTo>
                    <a:lnTo>
                      <a:pt x="345" y="148"/>
                    </a:lnTo>
                    <a:lnTo>
                      <a:pt x="344" y="148"/>
                    </a:lnTo>
                    <a:lnTo>
                      <a:pt x="344" y="150"/>
                    </a:lnTo>
                    <a:lnTo>
                      <a:pt x="342" y="148"/>
                    </a:lnTo>
                    <a:lnTo>
                      <a:pt x="340" y="148"/>
                    </a:lnTo>
                    <a:lnTo>
                      <a:pt x="340" y="150"/>
                    </a:lnTo>
                    <a:lnTo>
                      <a:pt x="339" y="150"/>
                    </a:lnTo>
                    <a:lnTo>
                      <a:pt x="339" y="148"/>
                    </a:lnTo>
                    <a:lnTo>
                      <a:pt x="339" y="150"/>
                    </a:lnTo>
                    <a:lnTo>
                      <a:pt x="337" y="150"/>
                    </a:lnTo>
                    <a:lnTo>
                      <a:pt x="335" y="150"/>
                    </a:lnTo>
                    <a:lnTo>
                      <a:pt x="335" y="152"/>
                    </a:lnTo>
                    <a:lnTo>
                      <a:pt x="335" y="150"/>
                    </a:lnTo>
                    <a:lnTo>
                      <a:pt x="333" y="150"/>
                    </a:lnTo>
                    <a:lnTo>
                      <a:pt x="332" y="150"/>
                    </a:lnTo>
                    <a:lnTo>
                      <a:pt x="333" y="152"/>
                    </a:lnTo>
                    <a:lnTo>
                      <a:pt x="332" y="152"/>
                    </a:lnTo>
                    <a:lnTo>
                      <a:pt x="332" y="150"/>
                    </a:lnTo>
                    <a:lnTo>
                      <a:pt x="332" y="152"/>
                    </a:lnTo>
                    <a:lnTo>
                      <a:pt x="330" y="152"/>
                    </a:lnTo>
                    <a:lnTo>
                      <a:pt x="330" y="153"/>
                    </a:lnTo>
                    <a:lnTo>
                      <a:pt x="328" y="153"/>
                    </a:lnTo>
                    <a:lnTo>
                      <a:pt x="328" y="152"/>
                    </a:lnTo>
                    <a:lnTo>
                      <a:pt x="327" y="152"/>
                    </a:lnTo>
                    <a:lnTo>
                      <a:pt x="325" y="152"/>
                    </a:lnTo>
                    <a:lnTo>
                      <a:pt x="323" y="152"/>
                    </a:lnTo>
                    <a:lnTo>
                      <a:pt x="325" y="152"/>
                    </a:lnTo>
                    <a:lnTo>
                      <a:pt x="323" y="152"/>
                    </a:lnTo>
                    <a:lnTo>
                      <a:pt x="322" y="152"/>
                    </a:lnTo>
                    <a:lnTo>
                      <a:pt x="320" y="152"/>
                    </a:lnTo>
                    <a:lnTo>
                      <a:pt x="320" y="153"/>
                    </a:lnTo>
                    <a:lnTo>
                      <a:pt x="320" y="152"/>
                    </a:lnTo>
                    <a:lnTo>
                      <a:pt x="318" y="152"/>
                    </a:lnTo>
                    <a:lnTo>
                      <a:pt x="320" y="153"/>
                    </a:lnTo>
                    <a:lnTo>
                      <a:pt x="318" y="153"/>
                    </a:lnTo>
                    <a:lnTo>
                      <a:pt x="318" y="155"/>
                    </a:lnTo>
                    <a:lnTo>
                      <a:pt x="316" y="155"/>
                    </a:lnTo>
                    <a:lnTo>
                      <a:pt x="316" y="157"/>
                    </a:lnTo>
                    <a:lnTo>
                      <a:pt x="315" y="157"/>
                    </a:lnTo>
                    <a:lnTo>
                      <a:pt x="313" y="157"/>
                    </a:lnTo>
                    <a:lnTo>
                      <a:pt x="313" y="159"/>
                    </a:lnTo>
                    <a:lnTo>
                      <a:pt x="311" y="159"/>
                    </a:lnTo>
                    <a:lnTo>
                      <a:pt x="311" y="160"/>
                    </a:lnTo>
                    <a:lnTo>
                      <a:pt x="311" y="159"/>
                    </a:lnTo>
                    <a:lnTo>
                      <a:pt x="310" y="160"/>
                    </a:lnTo>
                    <a:lnTo>
                      <a:pt x="308" y="160"/>
                    </a:lnTo>
                    <a:lnTo>
                      <a:pt x="308" y="162"/>
                    </a:lnTo>
                    <a:lnTo>
                      <a:pt x="306" y="160"/>
                    </a:lnTo>
                    <a:lnTo>
                      <a:pt x="308" y="162"/>
                    </a:lnTo>
                    <a:lnTo>
                      <a:pt x="306" y="162"/>
                    </a:lnTo>
                    <a:lnTo>
                      <a:pt x="305" y="162"/>
                    </a:lnTo>
                    <a:lnTo>
                      <a:pt x="303" y="162"/>
                    </a:lnTo>
                    <a:lnTo>
                      <a:pt x="303" y="164"/>
                    </a:lnTo>
                    <a:lnTo>
                      <a:pt x="303" y="165"/>
                    </a:lnTo>
                    <a:lnTo>
                      <a:pt x="301" y="165"/>
                    </a:lnTo>
                    <a:lnTo>
                      <a:pt x="299" y="165"/>
                    </a:lnTo>
                    <a:lnTo>
                      <a:pt x="301" y="165"/>
                    </a:lnTo>
                    <a:lnTo>
                      <a:pt x="299" y="167"/>
                    </a:lnTo>
                    <a:lnTo>
                      <a:pt x="298" y="167"/>
                    </a:lnTo>
                    <a:lnTo>
                      <a:pt x="296" y="169"/>
                    </a:lnTo>
                    <a:lnTo>
                      <a:pt x="294" y="169"/>
                    </a:lnTo>
                    <a:lnTo>
                      <a:pt x="296" y="169"/>
                    </a:lnTo>
                    <a:lnTo>
                      <a:pt x="294" y="169"/>
                    </a:lnTo>
                    <a:lnTo>
                      <a:pt x="296" y="170"/>
                    </a:lnTo>
                    <a:lnTo>
                      <a:pt x="294" y="170"/>
                    </a:lnTo>
                    <a:lnTo>
                      <a:pt x="293" y="170"/>
                    </a:lnTo>
                    <a:lnTo>
                      <a:pt x="291" y="170"/>
                    </a:lnTo>
                    <a:lnTo>
                      <a:pt x="291" y="172"/>
                    </a:lnTo>
                    <a:lnTo>
                      <a:pt x="289" y="172"/>
                    </a:lnTo>
                    <a:lnTo>
                      <a:pt x="288" y="172"/>
                    </a:lnTo>
                    <a:lnTo>
                      <a:pt x="288" y="174"/>
                    </a:lnTo>
                    <a:lnTo>
                      <a:pt x="286" y="174"/>
                    </a:lnTo>
                    <a:lnTo>
                      <a:pt x="286" y="176"/>
                    </a:lnTo>
                    <a:lnTo>
                      <a:pt x="286" y="177"/>
                    </a:lnTo>
                    <a:lnTo>
                      <a:pt x="286" y="179"/>
                    </a:lnTo>
                    <a:lnTo>
                      <a:pt x="286" y="181"/>
                    </a:lnTo>
                    <a:lnTo>
                      <a:pt x="286" y="182"/>
                    </a:lnTo>
                    <a:lnTo>
                      <a:pt x="284" y="182"/>
                    </a:lnTo>
                    <a:lnTo>
                      <a:pt x="284" y="184"/>
                    </a:lnTo>
                    <a:lnTo>
                      <a:pt x="284" y="186"/>
                    </a:lnTo>
                    <a:lnTo>
                      <a:pt x="282" y="186"/>
                    </a:lnTo>
                    <a:lnTo>
                      <a:pt x="284" y="186"/>
                    </a:lnTo>
                    <a:lnTo>
                      <a:pt x="284" y="187"/>
                    </a:lnTo>
                    <a:lnTo>
                      <a:pt x="284" y="189"/>
                    </a:lnTo>
                    <a:lnTo>
                      <a:pt x="282" y="189"/>
                    </a:lnTo>
                    <a:lnTo>
                      <a:pt x="282" y="191"/>
                    </a:lnTo>
                    <a:lnTo>
                      <a:pt x="284" y="191"/>
                    </a:lnTo>
                    <a:lnTo>
                      <a:pt x="282" y="191"/>
                    </a:lnTo>
                    <a:lnTo>
                      <a:pt x="282" y="193"/>
                    </a:lnTo>
                    <a:lnTo>
                      <a:pt x="282" y="194"/>
                    </a:lnTo>
                    <a:lnTo>
                      <a:pt x="281" y="194"/>
                    </a:lnTo>
                    <a:lnTo>
                      <a:pt x="281" y="196"/>
                    </a:lnTo>
                    <a:lnTo>
                      <a:pt x="279" y="196"/>
                    </a:lnTo>
                    <a:lnTo>
                      <a:pt x="279" y="198"/>
                    </a:lnTo>
                    <a:lnTo>
                      <a:pt x="277" y="198"/>
                    </a:lnTo>
                    <a:lnTo>
                      <a:pt x="277" y="199"/>
                    </a:lnTo>
                    <a:lnTo>
                      <a:pt x="276" y="199"/>
                    </a:lnTo>
                    <a:lnTo>
                      <a:pt x="276" y="201"/>
                    </a:lnTo>
                    <a:lnTo>
                      <a:pt x="276" y="203"/>
                    </a:lnTo>
                    <a:lnTo>
                      <a:pt x="274" y="203"/>
                    </a:lnTo>
                    <a:lnTo>
                      <a:pt x="276" y="204"/>
                    </a:lnTo>
                    <a:lnTo>
                      <a:pt x="274" y="203"/>
                    </a:lnTo>
                    <a:lnTo>
                      <a:pt x="274" y="204"/>
                    </a:lnTo>
                    <a:lnTo>
                      <a:pt x="274" y="206"/>
                    </a:lnTo>
                    <a:lnTo>
                      <a:pt x="274" y="208"/>
                    </a:lnTo>
                    <a:lnTo>
                      <a:pt x="274" y="210"/>
                    </a:lnTo>
                    <a:lnTo>
                      <a:pt x="276" y="210"/>
                    </a:lnTo>
                    <a:lnTo>
                      <a:pt x="274" y="210"/>
                    </a:lnTo>
                    <a:lnTo>
                      <a:pt x="276" y="210"/>
                    </a:lnTo>
                    <a:lnTo>
                      <a:pt x="276" y="211"/>
                    </a:lnTo>
                    <a:lnTo>
                      <a:pt x="277" y="213"/>
                    </a:lnTo>
                    <a:lnTo>
                      <a:pt x="276" y="213"/>
                    </a:lnTo>
                    <a:lnTo>
                      <a:pt x="277" y="213"/>
                    </a:lnTo>
                    <a:lnTo>
                      <a:pt x="277" y="215"/>
                    </a:lnTo>
                    <a:lnTo>
                      <a:pt x="277" y="216"/>
                    </a:lnTo>
                    <a:lnTo>
                      <a:pt x="279" y="216"/>
                    </a:lnTo>
                    <a:lnTo>
                      <a:pt x="277" y="218"/>
                    </a:lnTo>
                    <a:lnTo>
                      <a:pt x="279" y="218"/>
                    </a:lnTo>
                    <a:lnTo>
                      <a:pt x="277" y="218"/>
                    </a:lnTo>
                    <a:lnTo>
                      <a:pt x="277" y="220"/>
                    </a:lnTo>
                    <a:lnTo>
                      <a:pt x="277" y="221"/>
                    </a:lnTo>
                    <a:lnTo>
                      <a:pt x="276" y="220"/>
                    </a:lnTo>
                    <a:lnTo>
                      <a:pt x="276" y="221"/>
                    </a:lnTo>
                    <a:lnTo>
                      <a:pt x="276" y="223"/>
                    </a:lnTo>
                    <a:lnTo>
                      <a:pt x="274" y="221"/>
                    </a:lnTo>
                    <a:lnTo>
                      <a:pt x="274" y="223"/>
                    </a:lnTo>
                    <a:lnTo>
                      <a:pt x="272" y="223"/>
                    </a:lnTo>
                    <a:lnTo>
                      <a:pt x="271" y="223"/>
                    </a:lnTo>
                    <a:lnTo>
                      <a:pt x="269" y="223"/>
                    </a:lnTo>
                    <a:lnTo>
                      <a:pt x="269" y="225"/>
                    </a:lnTo>
                    <a:lnTo>
                      <a:pt x="267" y="225"/>
                    </a:lnTo>
                    <a:lnTo>
                      <a:pt x="265" y="225"/>
                    </a:lnTo>
                    <a:lnTo>
                      <a:pt x="265" y="227"/>
                    </a:lnTo>
                    <a:lnTo>
                      <a:pt x="265" y="225"/>
                    </a:lnTo>
                    <a:lnTo>
                      <a:pt x="264" y="227"/>
                    </a:lnTo>
                    <a:lnTo>
                      <a:pt x="264" y="228"/>
                    </a:lnTo>
                    <a:lnTo>
                      <a:pt x="262" y="228"/>
                    </a:lnTo>
                    <a:lnTo>
                      <a:pt x="260" y="228"/>
                    </a:lnTo>
                    <a:lnTo>
                      <a:pt x="260" y="230"/>
                    </a:lnTo>
                    <a:lnTo>
                      <a:pt x="259" y="230"/>
                    </a:lnTo>
                    <a:lnTo>
                      <a:pt x="259" y="232"/>
                    </a:lnTo>
                    <a:lnTo>
                      <a:pt x="257" y="232"/>
                    </a:lnTo>
                    <a:lnTo>
                      <a:pt x="257" y="233"/>
                    </a:lnTo>
                    <a:lnTo>
                      <a:pt x="257" y="235"/>
                    </a:lnTo>
                    <a:lnTo>
                      <a:pt x="257" y="237"/>
                    </a:lnTo>
                    <a:lnTo>
                      <a:pt x="257" y="238"/>
                    </a:lnTo>
                    <a:lnTo>
                      <a:pt x="255" y="240"/>
                    </a:lnTo>
                    <a:lnTo>
                      <a:pt x="257" y="244"/>
                    </a:lnTo>
                    <a:lnTo>
                      <a:pt x="259" y="245"/>
                    </a:lnTo>
                    <a:lnTo>
                      <a:pt x="259" y="247"/>
                    </a:lnTo>
                    <a:lnTo>
                      <a:pt x="257" y="247"/>
                    </a:lnTo>
                    <a:lnTo>
                      <a:pt x="257" y="249"/>
                    </a:lnTo>
                    <a:lnTo>
                      <a:pt x="255" y="249"/>
                    </a:lnTo>
                    <a:lnTo>
                      <a:pt x="254" y="249"/>
                    </a:lnTo>
                    <a:lnTo>
                      <a:pt x="252" y="250"/>
                    </a:lnTo>
                    <a:lnTo>
                      <a:pt x="250" y="249"/>
                    </a:lnTo>
                    <a:lnTo>
                      <a:pt x="250" y="252"/>
                    </a:lnTo>
                    <a:lnTo>
                      <a:pt x="250" y="254"/>
                    </a:lnTo>
                    <a:lnTo>
                      <a:pt x="250" y="255"/>
                    </a:lnTo>
                    <a:lnTo>
                      <a:pt x="248" y="255"/>
                    </a:lnTo>
                    <a:lnTo>
                      <a:pt x="250" y="257"/>
                    </a:lnTo>
                    <a:lnTo>
                      <a:pt x="252" y="259"/>
                    </a:lnTo>
                    <a:lnTo>
                      <a:pt x="254" y="259"/>
                    </a:lnTo>
                    <a:lnTo>
                      <a:pt x="254" y="261"/>
                    </a:lnTo>
                    <a:lnTo>
                      <a:pt x="255" y="261"/>
                    </a:lnTo>
                    <a:lnTo>
                      <a:pt x="255" y="262"/>
                    </a:lnTo>
                    <a:lnTo>
                      <a:pt x="257" y="262"/>
                    </a:lnTo>
                    <a:lnTo>
                      <a:pt x="259" y="262"/>
                    </a:lnTo>
                    <a:lnTo>
                      <a:pt x="259" y="264"/>
                    </a:lnTo>
                    <a:lnTo>
                      <a:pt x="259" y="266"/>
                    </a:lnTo>
                    <a:lnTo>
                      <a:pt x="257" y="267"/>
                    </a:lnTo>
                    <a:lnTo>
                      <a:pt x="257" y="266"/>
                    </a:lnTo>
                    <a:lnTo>
                      <a:pt x="257" y="267"/>
                    </a:lnTo>
                    <a:lnTo>
                      <a:pt x="255" y="267"/>
                    </a:lnTo>
                    <a:lnTo>
                      <a:pt x="257" y="267"/>
                    </a:lnTo>
                    <a:lnTo>
                      <a:pt x="257" y="269"/>
                    </a:lnTo>
                    <a:lnTo>
                      <a:pt x="259" y="269"/>
                    </a:lnTo>
                    <a:lnTo>
                      <a:pt x="259" y="271"/>
                    </a:lnTo>
                    <a:lnTo>
                      <a:pt x="260" y="271"/>
                    </a:lnTo>
                    <a:lnTo>
                      <a:pt x="260" y="272"/>
                    </a:lnTo>
                    <a:lnTo>
                      <a:pt x="262" y="274"/>
                    </a:lnTo>
                    <a:lnTo>
                      <a:pt x="262" y="276"/>
                    </a:lnTo>
                    <a:lnTo>
                      <a:pt x="262" y="278"/>
                    </a:lnTo>
                    <a:lnTo>
                      <a:pt x="264" y="279"/>
                    </a:lnTo>
                    <a:lnTo>
                      <a:pt x="264" y="281"/>
                    </a:lnTo>
                    <a:lnTo>
                      <a:pt x="264" y="283"/>
                    </a:lnTo>
                    <a:lnTo>
                      <a:pt x="265" y="284"/>
                    </a:lnTo>
                    <a:lnTo>
                      <a:pt x="267" y="284"/>
                    </a:lnTo>
                    <a:lnTo>
                      <a:pt x="269" y="284"/>
                    </a:lnTo>
                    <a:lnTo>
                      <a:pt x="269" y="286"/>
                    </a:lnTo>
                    <a:lnTo>
                      <a:pt x="269" y="288"/>
                    </a:lnTo>
                    <a:lnTo>
                      <a:pt x="271" y="288"/>
                    </a:lnTo>
                    <a:lnTo>
                      <a:pt x="271" y="289"/>
                    </a:lnTo>
                    <a:lnTo>
                      <a:pt x="271" y="291"/>
                    </a:lnTo>
                    <a:lnTo>
                      <a:pt x="271" y="293"/>
                    </a:lnTo>
                    <a:lnTo>
                      <a:pt x="272" y="293"/>
                    </a:lnTo>
                    <a:lnTo>
                      <a:pt x="272" y="295"/>
                    </a:lnTo>
                    <a:lnTo>
                      <a:pt x="274" y="295"/>
                    </a:lnTo>
                    <a:lnTo>
                      <a:pt x="276" y="295"/>
                    </a:lnTo>
                    <a:lnTo>
                      <a:pt x="277" y="295"/>
                    </a:lnTo>
                    <a:lnTo>
                      <a:pt x="277" y="296"/>
                    </a:lnTo>
                    <a:lnTo>
                      <a:pt x="277" y="298"/>
                    </a:lnTo>
                    <a:lnTo>
                      <a:pt x="279" y="300"/>
                    </a:lnTo>
                    <a:lnTo>
                      <a:pt x="281" y="301"/>
                    </a:lnTo>
                    <a:lnTo>
                      <a:pt x="282" y="303"/>
                    </a:lnTo>
                    <a:lnTo>
                      <a:pt x="282" y="305"/>
                    </a:lnTo>
                    <a:lnTo>
                      <a:pt x="284" y="305"/>
                    </a:lnTo>
                    <a:lnTo>
                      <a:pt x="284" y="307"/>
                    </a:lnTo>
                    <a:lnTo>
                      <a:pt x="284" y="308"/>
                    </a:lnTo>
                    <a:lnTo>
                      <a:pt x="284" y="310"/>
                    </a:lnTo>
                    <a:lnTo>
                      <a:pt x="282" y="310"/>
                    </a:lnTo>
                    <a:lnTo>
                      <a:pt x="281" y="312"/>
                    </a:lnTo>
                    <a:lnTo>
                      <a:pt x="282" y="312"/>
                    </a:lnTo>
                    <a:lnTo>
                      <a:pt x="281" y="313"/>
                    </a:lnTo>
                    <a:lnTo>
                      <a:pt x="279" y="313"/>
                    </a:lnTo>
                    <a:lnTo>
                      <a:pt x="279" y="315"/>
                    </a:lnTo>
                    <a:lnTo>
                      <a:pt x="277" y="317"/>
                    </a:lnTo>
                    <a:lnTo>
                      <a:pt x="276" y="317"/>
                    </a:lnTo>
                    <a:lnTo>
                      <a:pt x="276" y="318"/>
                    </a:lnTo>
                    <a:lnTo>
                      <a:pt x="284" y="318"/>
                    </a:lnTo>
                    <a:lnTo>
                      <a:pt x="291" y="318"/>
                    </a:lnTo>
                    <a:lnTo>
                      <a:pt x="291" y="320"/>
                    </a:lnTo>
                    <a:lnTo>
                      <a:pt x="293" y="320"/>
                    </a:lnTo>
                    <a:lnTo>
                      <a:pt x="294" y="320"/>
                    </a:lnTo>
                    <a:lnTo>
                      <a:pt x="296" y="320"/>
                    </a:lnTo>
                    <a:lnTo>
                      <a:pt x="296" y="322"/>
                    </a:lnTo>
                    <a:lnTo>
                      <a:pt x="298" y="322"/>
                    </a:lnTo>
                    <a:lnTo>
                      <a:pt x="299" y="322"/>
                    </a:lnTo>
                    <a:lnTo>
                      <a:pt x="301" y="322"/>
                    </a:lnTo>
                    <a:lnTo>
                      <a:pt x="303" y="322"/>
                    </a:lnTo>
                    <a:lnTo>
                      <a:pt x="305" y="322"/>
                    </a:lnTo>
                    <a:lnTo>
                      <a:pt x="305" y="324"/>
                    </a:lnTo>
                    <a:lnTo>
                      <a:pt x="306" y="324"/>
                    </a:lnTo>
                    <a:lnTo>
                      <a:pt x="306" y="325"/>
                    </a:lnTo>
                    <a:lnTo>
                      <a:pt x="306" y="327"/>
                    </a:lnTo>
                    <a:lnTo>
                      <a:pt x="308" y="327"/>
                    </a:lnTo>
                    <a:lnTo>
                      <a:pt x="306" y="327"/>
                    </a:lnTo>
                    <a:lnTo>
                      <a:pt x="308" y="327"/>
                    </a:lnTo>
                    <a:lnTo>
                      <a:pt x="308" y="329"/>
                    </a:lnTo>
                    <a:lnTo>
                      <a:pt x="306" y="329"/>
                    </a:lnTo>
                    <a:lnTo>
                      <a:pt x="308" y="330"/>
                    </a:lnTo>
                    <a:lnTo>
                      <a:pt x="306" y="330"/>
                    </a:lnTo>
                    <a:lnTo>
                      <a:pt x="308" y="330"/>
                    </a:lnTo>
                    <a:lnTo>
                      <a:pt x="308" y="332"/>
                    </a:lnTo>
                    <a:lnTo>
                      <a:pt x="310" y="332"/>
                    </a:lnTo>
                    <a:lnTo>
                      <a:pt x="311" y="332"/>
                    </a:lnTo>
                    <a:lnTo>
                      <a:pt x="310" y="334"/>
                    </a:lnTo>
                    <a:lnTo>
                      <a:pt x="311" y="334"/>
                    </a:lnTo>
                    <a:lnTo>
                      <a:pt x="310" y="334"/>
                    </a:lnTo>
                    <a:lnTo>
                      <a:pt x="311" y="335"/>
                    </a:lnTo>
                    <a:lnTo>
                      <a:pt x="310" y="335"/>
                    </a:lnTo>
                    <a:lnTo>
                      <a:pt x="310" y="337"/>
                    </a:lnTo>
                    <a:lnTo>
                      <a:pt x="311" y="339"/>
                    </a:lnTo>
                    <a:lnTo>
                      <a:pt x="310" y="339"/>
                    </a:lnTo>
                    <a:lnTo>
                      <a:pt x="315" y="339"/>
                    </a:lnTo>
                    <a:lnTo>
                      <a:pt x="318" y="339"/>
                    </a:lnTo>
                    <a:lnTo>
                      <a:pt x="322" y="339"/>
                    </a:lnTo>
                    <a:lnTo>
                      <a:pt x="325" y="339"/>
                    </a:lnTo>
                    <a:lnTo>
                      <a:pt x="328" y="339"/>
                    </a:lnTo>
                    <a:lnTo>
                      <a:pt x="332" y="339"/>
                    </a:lnTo>
                    <a:lnTo>
                      <a:pt x="333" y="339"/>
                    </a:lnTo>
                    <a:lnTo>
                      <a:pt x="337" y="339"/>
                    </a:lnTo>
                    <a:lnTo>
                      <a:pt x="339" y="339"/>
                    </a:lnTo>
                    <a:lnTo>
                      <a:pt x="340" y="339"/>
                    </a:lnTo>
                    <a:lnTo>
                      <a:pt x="342" y="339"/>
                    </a:lnTo>
                    <a:lnTo>
                      <a:pt x="342" y="337"/>
                    </a:lnTo>
                    <a:lnTo>
                      <a:pt x="344" y="337"/>
                    </a:lnTo>
                    <a:lnTo>
                      <a:pt x="344" y="335"/>
                    </a:lnTo>
                    <a:lnTo>
                      <a:pt x="345" y="335"/>
                    </a:lnTo>
                    <a:lnTo>
                      <a:pt x="345" y="334"/>
                    </a:lnTo>
                    <a:lnTo>
                      <a:pt x="347" y="334"/>
                    </a:lnTo>
                    <a:lnTo>
                      <a:pt x="349" y="334"/>
                    </a:lnTo>
                    <a:lnTo>
                      <a:pt x="350" y="334"/>
                    </a:lnTo>
                    <a:lnTo>
                      <a:pt x="350" y="332"/>
                    </a:lnTo>
                    <a:lnTo>
                      <a:pt x="350" y="330"/>
                    </a:lnTo>
                    <a:lnTo>
                      <a:pt x="352" y="330"/>
                    </a:lnTo>
                    <a:lnTo>
                      <a:pt x="354" y="329"/>
                    </a:lnTo>
                    <a:lnTo>
                      <a:pt x="354" y="327"/>
                    </a:lnTo>
                    <a:lnTo>
                      <a:pt x="356" y="327"/>
                    </a:lnTo>
                    <a:lnTo>
                      <a:pt x="357" y="327"/>
                    </a:lnTo>
                    <a:lnTo>
                      <a:pt x="357" y="325"/>
                    </a:lnTo>
                    <a:lnTo>
                      <a:pt x="357" y="324"/>
                    </a:lnTo>
                    <a:lnTo>
                      <a:pt x="359" y="325"/>
                    </a:lnTo>
                    <a:lnTo>
                      <a:pt x="359" y="324"/>
                    </a:lnTo>
                    <a:lnTo>
                      <a:pt x="361" y="324"/>
                    </a:lnTo>
                    <a:lnTo>
                      <a:pt x="361" y="322"/>
                    </a:lnTo>
                    <a:lnTo>
                      <a:pt x="362" y="322"/>
                    </a:lnTo>
                    <a:lnTo>
                      <a:pt x="362" y="320"/>
                    </a:lnTo>
                    <a:lnTo>
                      <a:pt x="364" y="320"/>
                    </a:lnTo>
                    <a:lnTo>
                      <a:pt x="366" y="320"/>
                    </a:lnTo>
                    <a:lnTo>
                      <a:pt x="366" y="322"/>
                    </a:lnTo>
                    <a:lnTo>
                      <a:pt x="366" y="324"/>
                    </a:lnTo>
                    <a:lnTo>
                      <a:pt x="364" y="324"/>
                    </a:lnTo>
                    <a:lnTo>
                      <a:pt x="366" y="324"/>
                    </a:lnTo>
                    <a:lnTo>
                      <a:pt x="364" y="324"/>
                    </a:lnTo>
                    <a:lnTo>
                      <a:pt x="364" y="325"/>
                    </a:lnTo>
                    <a:lnTo>
                      <a:pt x="364" y="324"/>
                    </a:lnTo>
                    <a:lnTo>
                      <a:pt x="364" y="325"/>
                    </a:lnTo>
                    <a:lnTo>
                      <a:pt x="364" y="324"/>
                    </a:lnTo>
                    <a:lnTo>
                      <a:pt x="362" y="324"/>
                    </a:lnTo>
                    <a:lnTo>
                      <a:pt x="364" y="325"/>
                    </a:lnTo>
                    <a:lnTo>
                      <a:pt x="362" y="325"/>
                    </a:lnTo>
                    <a:lnTo>
                      <a:pt x="364" y="327"/>
                    </a:lnTo>
                    <a:lnTo>
                      <a:pt x="364" y="329"/>
                    </a:lnTo>
                    <a:lnTo>
                      <a:pt x="366" y="329"/>
                    </a:lnTo>
                    <a:lnTo>
                      <a:pt x="366" y="330"/>
                    </a:lnTo>
                    <a:lnTo>
                      <a:pt x="366" y="332"/>
                    </a:lnTo>
                    <a:lnTo>
                      <a:pt x="364" y="332"/>
                    </a:lnTo>
                    <a:lnTo>
                      <a:pt x="362" y="332"/>
                    </a:lnTo>
                    <a:lnTo>
                      <a:pt x="362" y="334"/>
                    </a:lnTo>
                    <a:lnTo>
                      <a:pt x="362" y="335"/>
                    </a:lnTo>
                    <a:lnTo>
                      <a:pt x="362" y="339"/>
                    </a:lnTo>
                    <a:lnTo>
                      <a:pt x="362" y="341"/>
                    </a:lnTo>
                    <a:lnTo>
                      <a:pt x="362" y="342"/>
                    </a:lnTo>
                    <a:lnTo>
                      <a:pt x="362" y="344"/>
                    </a:lnTo>
                    <a:lnTo>
                      <a:pt x="362" y="346"/>
                    </a:lnTo>
                    <a:lnTo>
                      <a:pt x="362" y="347"/>
                    </a:lnTo>
                    <a:lnTo>
                      <a:pt x="362" y="351"/>
                    </a:lnTo>
                    <a:lnTo>
                      <a:pt x="362" y="352"/>
                    </a:lnTo>
                    <a:lnTo>
                      <a:pt x="362" y="354"/>
                    </a:lnTo>
                    <a:lnTo>
                      <a:pt x="362" y="356"/>
                    </a:lnTo>
                    <a:lnTo>
                      <a:pt x="362" y="359"/>
                    </a:lnTo>
                    <a:lnTo>
                      <a:pt x="362" y="361"/>
                    </a:lnTo>
                    <a:lnTo>
                      <a:pt x="362" y="364"/>
                    </a:lnTo>
                    <a:lnTo>
                      <a:pt x="362" y="373"/>
                    </a:lnTo>
                    <a:lnTo>
                      <a:pt x="366" y="371"/>
                    </a:lnTo>
                    <a:lnTo>
                      <a:pt x="367" y="373"/>
                    </a:lnTo>
                    <a:lnTo>
                      <a:pt x="369" y="375"/>
                    </a:lnTo>
                    <a:lnTo>
                      <a:pt x="371" y="375"/>
                    </a:lnTo>
                    <a:lnTo>
                      <a:pt x="371" y="376"/>
                    </a:lnTo>
                    <a:lnTo>
                      <a:pt x="373" y="376"/>
                    </a:lnTo>
                    <a:lnTo>
                      <a:pt x="374" y="376"/>
                    </a:lnTo>
                    <a:lnTo>
                      <a:pt x="374" y="375"/>
                    </a:lnTo>
                    <a:lnTo>
                      <a:pt x="376" y="376"/>
                    </a:lnTo>
                    <a:lnTo>
                      <a:pt x="376" y="375"/>
                    </a:lnTo>
                    <a:lnTo>
                      <a:pt x="376" y="376"/>
                    </a:lnTo>
                    <a:lnTo>
                      <a:pt x="378" y="375"/>
                    </a:lnTo>
                    <a:lnTo>
                      <a:pt x="379" y="375"/>
                    </a:lnTo>
                    <a:lnTo>
                      <a:pt x="379" y="373"/>
                    </a:lnTo>
                    <a:lnTo>
                      <a:pt x="381" y="373"/>
                    </a:lnTo>
                    <a:lnTo>
                      <a:pt x="383" y="373"/>
                    </a:lnTo>
                    <a:lnTo>
                      <a:pt x="383" y="371"/>
                    </a:lnTo>
                    <a:lnTo>
                      <a:pt x="384" y="373"/>
                    </a:lnTo>
                    <a:lnTo>
                      <a:pt x="384" y="371"/>
                    </a:lnTo>
                    <a:lnTo>
                      <a:pt x="386" y="371"/>
                    </a:lnTo>
                    <a:lnTo>
                      <a:pt x="388" y="371"/>
                    </a:lnTo>
                    <a:lnTo>
                      <a:pt x="390" y="371"/>
                    </a:lnTo>
                    <a:lnTo>
                      <a:pt x="391" y="371"/>
                    </a:lnTo>
                    <a:lnTo>
                      <a:pt x="391" y="373"/>
                    </a:lnTo>
                    <a:lnTo>
                      <a:pt x="393" y="373"/>
                    </a:lnTo>
                    <a:lnTo>
                      <a:pt x="395" y="373"/>
                    </a:lnTo>
                    <a:lnTo>
                      <a:pt x="396" y="373"/>
                    </a:lnTo>
                    <a:lnTo>
                      <a:pt x="396" y="371"/>
                    </a:lnTo>
                    <a:lnTo>
                      <a:pt x="396" y="373"/>
                    </a:lnTo>
                    <a:lnTo>
                      <a:pt x="396" y="371"/>
                    </a:lnTo>
                    <a:lnTo>
                      <a:pt x="398" y="371"/>
                    </a:lnTo>
                    <a:lnTo>
                      <a:pt x="398" y="373"/>
                    </a:lnTo>
                    <a:lnTo>
                      <a:pt x="400" y="375"/>
                    </a:lnTo>
                    <a:lnTo>
                      <a:pt x="401" y="378"/>
                    </a:lnTo>
                    <a:lnTo>
                      <a:pt x="401" y="380"/>
                    </a:lnTo>
                    <a:lnTo>
                      <a:pt x="403" y="381"/>
                    </a:lnTo>
                    <a:lnTo>
                      <a:pt x="405" y="383"/>
                    </a:lnTo>
                    <a:lnTo>
                      <a:pt x="407" y="385"/>
                    </a:lnTo>
                    <a:lnTo>
                      <a:pt x="408" y="388"/>
                    </a:lnTo>
                    <a:lnTo>
                      <a:pt x="408" y="390"/>
                    </a:lnTo>
                    <a:lnTo>
                      <a:pt x="410" y="390"/>
                    </a:lnTo>
                    <a:lnTo>
                      <a:pt x="410" y="393"/>
                    </a:lnTo>
                    <a:lnTo>
                      <a:pt x="413" y="395"/>
                    </a:lnTo>
                    <a:lnTo>
                      <a:pt x="413" y="397"/>
                    </a:lnTo>
                    <a:lnTo>
                      <a:pt x="415" y="398"/>
                    </a:lnTo>
                    <a:lnTo>
                      <a:pt x="415" y="402"/>
                    </a:lnTo>
                    <a:lnTo>
                      <a:pt x="417" y="403"/>
                    </a:lnTo>
                    <a:lnTo>
                      <a:pt x="418" y="405"/>
                    </a:lnTo>
                    <a:lnTo>
                      <a:pt x="418" y="407"/>
                    </a:lnTo>
                    <a:lnTo>
                      <a:pt x="420" y="409"/>
                    </a:lnTo>
                    <a:lnTo>
                      <a:pt x="420" y="410"/>
                    </a:lnTo>
                    <a:lnTo>
                      <a:pt x="422" y="414"/>
                    </a:lnTo>
                    <a:lnTo>
                      <a:pt x="424" y="415"/>
                    </a:lnTo>
                    <a:lnTo>
                      <a:pt x="427" y="422"/>
                    </a:lnTo>
                    <a:lnTo>
                      <a:pt x="429" y="426"/>
                    </a:lnTo>
                    <a:lnTo>
                      <a:pt x="429" y="427"/>
                    </a:lnTo>
                    <a:lnTo>
                      <a:pt x="429" y="426"/>
                    </a:lnTo>
                    <a:lnTo>
                      <a:pt x="427" y="426"/>
                    </a:lnTo>
                    <a:lnTo>
                      <a:pt x="429" y="426"/>
                    </a:lnTo>
                    <a:lnTo>
                      <a:pt x="429" y="427"/>
                    </a:lnTo>
                    <a:lnTo>
                      <a:pt x="427" y="427"/>
                    </a:lnTo>
                    <a:lnTo>
                      <a:pt x="427" y="429"/>
                    </a:lnTo>
                    <a:lnTo>
                      <a:pt x="425" y="429"/>
                    </a:lnTo>
                    <a:lnTo>
                      <a:pt x="425" y="431"/>
                    </a:lnTo>
                    <a:lnTo>
                      <a:pt x="427" y="432"/>
                    </a:lnTo>
                    <a:lnTo>
                      <a:pt x="425" y="432"/>
                    </a:lnTo>
                    <a:lnTo>
                      <a:pt x="427" y="432"/>
                    </a:lnTo>
                    <a:lnTo>
                      <a:pt x="425" y="432"/>
                    </a:lnTo>
                    <a:lnTo>
                      <a:pt x="427" y="432"/>
                    </a:lnTo>
                    <a:lnTo>
                      <a:pt x="425" y="432"/>
                    </a:lnTo>
                    <a:lnTo>
                      <a:pt x="425" y="434"/>
                    </a:lnTo>
                    <a:lnTo>
                      <a:pt x="424" y="434"/>
                    </a:lnTo>
                    <a:lnTo>
                      <a:pt x="424" y="436"/>
                    </a:lnTo>
                    <a:lnTo>
                      <a:pt x="422" y="436"/>
                    </a:lnTo>
                    <a:lnTo>
                      <a:pt x="424" y="437"/>
                    </a:lnTo>
                    <a:lnTo>
                      <a:pt x="422" y="437"/>
                    </a:lnTo>
                    <a:lnTo>
                      <a:pt x="422" y="439"/>
                    </a:lnTo>
                    <a:lnTo>
                      <a:pt x="422" y="441"/>
                    </a:lnTo>
                    <a:lnTo>
                      <a:pt x="420" y="441"/>
                    </a:lnTo>
                    <a:lnTo>
                      <a:pt x="422" y="443"/>
                    </a:lnTo>
                    <a:lnTo>
                      <a:pt x="422" y="441"/>
                    </a:lnTo>
                    <a:lnTo>
                      <a:pt x="422" y="443"/>
                    </a:lnTo>
                    <a:lnTo>
                      <a:pt x="422" y="444"/>
                    </a:lnTo>
                    <a:lnTo>
                      <a:pt x="422" y="446"/>
                    </a:lnTo>
                    <a:lnTo>
                      <a:pt x="422" y="448"/>
                    </a:lnTo>
                    <a:lnTo>
                      <a:pt x="422" y="449"/>
                    </a:lnTo>
                    <a:lnTo>
                      <a:pt x="422" y="451"/>
                    </a:lnTo>
                    <a:lnTo>
                      <a:pt x="422" y="453"/>
                    </a:lnTo>
                    <a:lnTo>
                      <a:pt x="422" y="454"/>
                    </a:lnTo>
                    <a:lnTo>
                      <a:pt x="420" y="454"/>
                    </a:lnTo>
                    <a:lnTo>
                      <a:pt x="422" y="454"/>
                    </a:lnTo>
                    <a:lnTo>
                      <a:pt x="420" y="456"/>
                    </a:lnTo>
                    <a:lnTo>
                      <a:pt x="420" y="458"/>
                    </a:lnTo>
                    <a:lnTo>
                      <a:pt x="420" y="460"/>
                    </a:lnTo>
                    <a:lnTo>
                      <a:pt x="420" y="461"/>
                    </a:lnTo>
                    <a:lnTo>
                      <a:pt x="418" y="461"/>
                    </a:lnTo>
                    <a:lnTo>
                      <a:pt x="418" y="463"/>
                    </a:lnTo>
                    <a:lnTo>
                      <a:pt x="418" y="465"/>
                    </a:lnTo>
                    <a:lnTo>
                      <a:pt x="417" y="465"/>
                    </a:lnTo>
                    <a:lnTo>
                      <a:pt x="415" y="465"/>
                    </a:lnTo>
                    <a:lnTo>
                      <a:pt x="415" y="466"/>
                    </a:lnTo>
                    <a:lnTo>
                      <a:pt x="415" y="468"/>
                    </a:lnTo>
                    <a:lnTo>
                      <a:pt x="417" y="468"/>
                    </a:lnTo>
                    <a:lnTo>
                      <a:pt x="417" y="470"/>
                    </a:lnTo>
                    <a:lnTo>
                      <a:pt x="417" y="472"/>
                    </a:lnTo>
                    <a:lnTo>
                      <a:pt x="417" y="473"/>
                    </a:lnTo>
                    <a:lnTo>
                      <a:pt x="418" y="473"/>
                    </a:lnTo>
                    <a:lnTo>
                      <a:pt x="417" y="475"/>
                    </a:lnTo>
                    <a:lnTo>
                      <a:pt x="418" y="475"/>
                    </a:lnTo>
                    <a:lnTo>
                      <a:pt x="418" y="477"/>
                    </a:lnTo>
                    <a:lnTo>
                      <a:pt x="418" y="478"/>
                    </a:lnTo>
                    <a:lnTo>
                      <a:pt x="420" y="478"/>
                    </a:lnTo>
                    <a:lnTo>
                      <a:pt x="420" y="480"/>
                    </a:lnTo>
                    <a:lnTo>
                      <a:pt x="422" y="480"/>
                    </a:lnTo>
                    <a:lnTo>
                      <a:pt x="422" y="482"/>
                    </a:lnTo>
                    <a:lnTo>
                      <a:pt x="422" y="483"/>
                    </a:lnTo>
                    <a:lnTo>
                      <a:pt x="422" y="485"/>
                    </a:lnTo>
                    <a:lnTo>
                      <a:pt x="424" y="485"/>
                    </a:lnTo>
                    <a:lnTo>
                      <a:pt x="422" y="485"/>
                    </a:lnTo>
                    <a:lnTo>
                      <a:pt x="420" y="485"/>
                    </a:lnTo>
                    <a:lnTo>
                      <a:pt x="418" y="485"/>
                    </a:lnTo>
                    <a:lnTo>
                      <a:pt x="417" y="485"/>
                    </a:lnTo>
                    <a:lnTo>
                      <a:pt x="417" y="487"/>
                    </a:lnTo>
                    <a:lnTo>
                      <a:pt x="417" y="489"/>
                    </a:lnTo>
                    <a:lnTo>
                      <a:pt x="417" y="490"/>
                    </a:lnTo>
                    <a:lnTo>
                      <a:pt x="417" y="492"/>
                    </a:lnTo>
                    <a:lnTo>
                      <a:pt x="415" y="492"/>
                    </a:lnTo>
                    <a:lnTo>
                      <a:pt x="415" y="494"/>
                    </a:lnTo>
                    <a:lnTo>
                      <a:pt x="413" y="494"/>
                    </a:lnTo>
                    <a:lnTo>
                      <a:pt x="413" y="495"/>
                    </a:lnTo>
                    <a:lnTo>
                      <a:pt x="412" y="495"/>
                    </a:lnTo>
                    <a:lnTo>
                      <a:pt x="412" y="497"/>
                    </a:lnTo>
                    <a:lnTo>
                      <a:pt x="412" y="499"/>
                    </a:lnTo>
                    <a:lnTo>
                      <a:pt x="410" y="497"/>
                    </a:lnTo>
                    <a:lnTo>
                      <a:pt x="410" y="499"/>
                    </a:lnTo>
                    <a:lnTo>
                      <a:pt x="410" y="500"/>
                    </a:lnTo>
                    <a:lnTo>
                      <a:pt x="408" y="500"/>
                    </a:lnTo>
                    <a:lnTo>
                      <a:pt x="408" y="502"/>
                    </a:lnTo>
                    <a:lnTo>
                      <a:pt x="410" y="504"/>
                    </a:lnTo>
                    <a:lnTo>
                      <a:pt x="408" y="504"/>
                    </a:lnTo>
                    <a:lnTo>
                      <a:pt x="407" y="504"/>
                    </a:lnTo>
                    <a:lnTo>
                      <a:pt x="407" y="506"/>
                    </a:lnTo>
                    <a:lnTo>
                      <a:pt x="405" y="506"/>
                    </a:lnTo>
                    <a:lnTo>
                      <a:pt x="405" y="507"/>
                    </a:lnTo>
                    <a:lnTo>
                      <a:pt x="405" y="509"/>
                    </a:lnTo>
                    <a:lnTo>
                      <a:pt x="405" y="511"/>
                    </a:lnTo>
                    <a:lnTo>
                      <a:pt x="405" y="512"/>
                    </a:lnTo>
                    <a:lnTo>
                      <a:pt x="407" y="512"/>
                    </a:lnTo>
                    <a:lnTo>
                      <a:pt x="407" y="514"/>
                    </a:lnTo>
                    <a:lnTo>
                      <a:pt x="407" y="516"/>
                    </a:lnTo>
                    <a:lnTo>
                      <a:pt x="408" y="516"/>
                    </a:lnTo>
                    <a:lnTo>
                      <a:pt x="408" y="517"/>
                    </a:lnTo>
                    <a:lnTo>
                      <a:pt x="408" y="516"/>
                    </a:lnTo>
                    <a:lnTo>
                      <a:pt x="410" y="517"/>
                    </a:lnTo>
                    <a:lnTo>
                      <a:pt x="412" y="519"/>
                    </a:lnTo>
                    <a:lnTo>
                      <a:pt x="412" y="521"/>
                    </a:lnTo>
                    <a:lnTo>
                      <a:pt x="413" y="521"/>
                    </a:lnTo>
                    <a:lnTo>
                      <a:pt x="412" y="521"/>
                    </a:lnTo>
                    <a:lnTo>
                      <a:pt x="412" y="523"/>
                    </a:lnTo>
                    <a:lnTo>
                      <a:pt x="412" y="521"/>
                    </a:lnTo>
                    <a:lnTo>
                      <a:pt x="412" y="523"/>
                    </a:lnTo>
                    <a:lnTo>
                      <a:pt x="410" y="523"/>
                    </a:lnTo>
                    <a:lnTo>
                      <a:pt x="410" y="524"/>
                    </a:lnTo>
                    <a:lnTo>
                      <a:pt x="408" y="526"/>
                    </a:lnTo>
                    <a:lnTo>
                      <a:pt x="408" y="528"/>
                    </a:lnTo>
                    <a:lnTo>
                      <a:pt x="410" y="528"/>
                    </a:lnTo>
                    <a:lnTo>
                      <a:pt x="408" y="528"/>
                    </a:lnTo>
                    <a:lnTo>
                      <a:pt x="408" y="529"/>
                    </a:lnTo>
                    <a:lnTo>
                      <a:pt x="407" y="528"/>
                    </a:lnTo>
                    <a:lnTo>
                      <a:pt x="407" y="529"/>
                    </a:lnTo>
                    <a:lnTo>
                      <a:pt x="407" y="531"/>
                    </a:lnTo>
                    <a:lnTo>
                      <a:pt x="403" y="534"/>
                    </a:lnTo>
                    <a:lnTo>
                      <a:pt x="405" y="538"/>
                    </a:lnTo>
                    <a:lnTo>
                      <a:pt x="405" y="540"/>
                    </a:lnTo>
                    <a:lnTo>
                      <a:pt x="407" y="543"/>
                    </a:lnTo>
                    <a:lnTo>
                      <a:pt x="407" y="548"/>
                    </a:lnTo>
                    <a:lnTo>
                      <a:pt x="408" y="553"/>
                    </a:lnTo>
                    <a:lnTo>
                      <a:pt x="410" y="553"/>
                    </a:lnTo>
                    <a:lnTo>
                      <a:pt x="413" y="555"/>
                    </a:lnTo>
                    <a:lnTo>
                      <a:pt x="415" y="555"/>
                    </a:lnTo>
                    <a:lnTo>
                      <a:pt x="417" y="555"/>
                    </a:lnTo>
                    <a:lnTo>
                      <a:pt x="418" y="555"/>
                    </a:lnTo>
                    <a:lnTo>
                      <a:pt x="420" y="557"/>
                    </a:lnTo>
                    <a:lnTo>
                      <a:pt x="422" y="557"/>
                    </a:lnTo>
                    <a:lnTo>
                      <a:pt x="424" y="558"/>
                    </a:lnTo>
                    <a:lnTo>
                      <a:pt x="424" y="560"/>
                    </a:lnTo>
                    <a:lnTo>
                      <a:pt x="418" y="563"/>
                    </a:lnTo>
                    <a:lnTo>
                      <a:pt x="417" y="563"/>
                    </a:lnTo>
                    <a:lnTo>
                      <a:pt x="417" y="565"/>
                    </a:lnTo>
                    <a:lnTo>
                      <a:pt x="415" y="567"/>
                    </a:lnTo>
                    <a:lnTo>
                      <a:pt x="415" y="568"/>
                    </a:lnTo>
                    <a:lnTo>
                      <a:pt x="417" y="568"/>
                    </a:lnTo>
                    <a:lnTo>
                      <a:pt x="417" y="570"/>
                    </a:lnTo>
                    <a:lnTo>
                      <a:pt x="417" y="572"/>
                    </a:lnTo>
                    <a:lnTo>
                      <a:pt x="415" y="572"/>
                    </a:lnTo>
                    <a:lnTo>
                      <a:pt x="413" y="572"/>
                    </a:lnTo>
                    <a:lnTo>
                      <a:pt x="412" y="574"/>
                    </a:lnTo>
                    <a:lnTo>
                      <a:pt x="412" y="575"/>
                    </a:lnTo>
                    <a:lnTo>
                      <a:pt x="410" y="575"/>
                    </a:lnTo>
                    <a:lnTo>
                      <a:pt x="410" y="577"/>
                    </a:lnTo>
                    <a:lnTo>
                      <a:pt x="408" y="577"/>
                    </a:lnTo>
                    <a:lnTo>
                      <a:pt x="408" y="579"/>
                    </a:lnTo>
                    <a:lnTo>
                      <a:pt x="407" y="579"/>
                    </a:lnTo>
                    <a:lnTo>
                      <a:pt x="407" y="580"/>
                    </a:lnTo>
                    <a:lnTo>
                      <a:pt x="407" y="582"/>
                    </a:lnTo>
                    <a:lnTo>
                      <a:pt x="405" y="582"/>
                    </a:lnTo>
                    <a:lnTo>
                      <a:pt x="403" y="584"/>
                    </a:lnTo>
                    <a:lnTo>
                      <a:pt x="405" y="584"/>
                    </a:lnTo>
                    <a:lnTo>
                      <a:pt x="405" y="585"/>
                    </a:lnTo>
                    <a:lnTo>
                      <a:pt x="403" y="585"/>
                    </a:lnTo>
                    <a:lnTo>
                      <a:pt x="403" y="587"/>
                    </a:lnTo>
                    <a:lnTo>
                      <a:pt x="401" y="587"/>
                    </a:lnTo>
                    <a:lnTo>
                      <a:pt x="401" y="585"/>
                    </a:lnTo>
                    <a:lnTo>
                      <a:pt x="400" y="587"/>
                    </a:lnTo>
                    <a:lnTo>
                      <a:pt x="400" y="589"/>
                    </a:lnTo>
                    <a:lnTo>
                      <a:pt x="398" y="589"/>
                    </a:lnTo>
                    <a:lnTo>
                      <a:pt x="398" y="591"/>
                    </a:lnTo>
                    <a:lnTo>
                      <a:pt x="396" y="591"/>
                    </a:lnTo>
                    <a:lnTo>
                      <a:pt x="396" y="592"/>
                    </a:lnTo>
                    <a:lnTo>
                      <a:pt x="395" y="592"/>
                    </a:lnTo>
                    <a:lnTo>
                      <a:pt x="396" y="592"/>
                    </a:lnTo>
                    <a:lnTo>
                      <a:pt x="398" y="592"/>
                    </a:lnTo>
                    <a:lnTo>
                      <a:pt x="400" y="596"/>
                    </a:lnTo>
                    <a:lnTo>
                      <a:pt x="401" y="596"/>
                    </a:lnTo>
                    <a:lnTo>
                      <a:pt x="401" y="597"/>
                    </a:lnTo>
                    <a:lnTo>
                      <a:pt x="401" y="599"/>
                    </a:lnTo>
                    <a:lnTo>
                      <a:pt x="401" y="601"/>
                    </a:lnTo>
                    <a:lnTo>
                      <a:pt x="398" y="602"/>
                    </a:lnTo>
                    <a:lnTo>
                      <a:pt x="396" y="604"/>
                    </a:lnTo>
                    <a:lnTo>
                      <a:pt x="395" y="606"/>
                    </a:lnTo>
                    <a:lnTo>
                      <a:pt x="393" y="606"/>
                    </a:lnTo>
                    <a:lnTo>
                      <a:pt x="391" y="606"/>
                    </a:lnTo>
                    <a:lnTo>
                      <a:pt x="390" y="606"/>
                    </a:lnTo>
                    <a:lnTo>
                      <a:pt x="390" y="608"/>
                    </a:lnTo>
                    <a:lnTo>
                      <a:pt x="388" y="609"/>
                    </a:lnTo>
                    <a:lnTo>
                      <a:pt x="390" y="609"/>
                    </a:lnTo>
                    <a:lnTo>
                      <a:pt x="390" y="611"/>
                    </a:lnTo>
                    <a:lnTo>
                      <a:pt x="390" y="613"/>
                    </a:lnTo>
                    <a:lnTo>
                      <a:pt x="391" y="613"/>
                    </a:lnTo>
                    <a:lnTo>
                      <a:pt x="390" y="614"/>
                    </a:lnTo>
                    <a:lnTo>
                      <a:pt x="391" y="614"/>
                    </a:lnTo>
                    <a:lnTo>
                      <a:pt x="391" y="616"/>
                    </a:lnTo>
                    <a:lnTo>
                      <a:pt x="391" y="618"/>
                    </a:lnTo>
                    <a:lnTo>
                      <a:pt x="391" y="619"/>
                    </a:lnTo>
                    <a:lnTo>
                      <a:pt x="391" y="621"/>
                    </a:lnTo>
                    <a:lnTo>
                      <a:pt x="391" y="623"/>
                    </a:lnTo>
                    <a:lnTo>
                      <a:pt x="390" y="623"/>
                    </a:lnTo>
                    <a:lnTo>
                      <a:pt x="388" y="625"/>
                    </a:lnTo>
                    <a:lnTo>
                      <a:pt x="386" y="625"/>
                    </a:lnTo>
                    <a:lnTo>
                      <a:pt x="386" y="626"/>
                    </a:lnTo>
                    <a:lnTo>
                      <a:pt x="384" y="626"/>
                    </a:lnTo>
                    <a:lnTo>
                      <a:pt x="383" y="626"/>
                    </a:lnTo>
                    <a:lnTo>
                      <a:pt x="383" y="628"/>
                    </a:lnTo>
                    <a:lnTo>
                      <a:pt x="381" y="628"/>
                    </a:lnTo>
                    <a:lnTo>
                      <a:pt x="379" y="630"/>
                    </a:lnTo>
                    <a:lnTo>
                      <a:pt x="378" y="630"/>
                    </a:lnTo>
                    <a:lnTo>
                      <a:pt x="376" y="630"/>
                    </a:lnTo>
                    <a:lnTo>
                      <a:pt x="374" y="630"/>
                    </a:lnTo>
                    <a:lnTo>
                      <a:pt x="373" y="630"/>
                    </a:lnTo>
                    <a:lnTo>
                      <a:pt x="371" y="630"/>
                    </a:lnTo>
                    <a:lnTo>
                      <a:pt x="369" y="630"/>
                    </a:lnTo>
                    <a:lnTo>
                      <a:pt x="367" y="628"/>
                    </a:lnTo>
                    <a:lnTo>
                      <a:pt x="366" y="628"/>
                    </a:lnTo>
                    <a:lnTo>
                      <a:pt x="366" y="626"/>
                    </a:lnTo>
                    <a:lnTo>
                      <a:pt x="364" y="626"/>
                    </a:lnTo>
                    <a:lnTo>
                      <a:pt x="362" y="625"/>
                    </a:lnTo>
                    <a:lnTo>
                      <a:pt x="361" y="625"/>
                    </a:lnTo>
                    <a:lnTo>
                      <a:pt x="361" y="623"/>
                    </a:lnTo>
                    <a:lnTo>
                      <a:pt x="359" y="623"/>
                    </a:lnTo>
                    <a:lnTo>
                      <a:pt x="359" y="621"/>
                    </a:lnTo>
                    <a:lnTo>
                      <a:pt x="357" y="621"/>
                    </a:lnTo>
                    <a:lnTo>
                      <a:pt x="357" y="619"/>
                    </a:lnTo>
                    <a:lnTo>
                      <a:pt x="356" y="619"/>
                    </a:lnTo>
                    <a:lnTo>
                      <a:pt x="354" y="619"/>
                    </a:lnTo>
                    <a:lnTo>
                      <a:pt x="354" y="618"/>
                    </a:lnTo>
                    <a:lnTo>
                      <a:pt x="354" y="616"/>
                    </a:lnTo>
                    <a:lnTo>
                      <a:pt x="352" y="616"/>
                    </a:lnTo>
                    <a:lnTo>
                      <a:pt x="350" y="614"/>
                    </a:lnTo>
                    <a:lnTo>
                      <a:pt x="349" y="614"/>
                    </a:lnTo>
                    <a:lnTo>
                      <a:pt x="347" y="614"/>
                    </a:lnTo>
                    <a:lnTo>
                      <a:pt x="347" y="613"/>
                    </a:lnTo>
                    <a:lnTo>
                      <a:pt x="347" y="614"/>
                    </a:lnTo>
                    <a:lnTo>
                      <a:pt x="347" y="613"/>
                    </a:lnTo>
                    <a:lnTo>
                      <a:pt x="345" y="613"/>
                    </a:lnTo>
                    <a:lnTo>
                      <a:pt x="345" y="611"/>
                    </a:lnTo>
                    <a:lnTo>
                      <a:pt x="344" y="611"/>
                    </a:lnTo>
                    <a:lnTo>
                      <a:pt x="342" y="609"/>
                    </a:lnTo>
                    <a:lnTo>
                      <a:pt x="339" y="608"/>
                    </a:lnTo>
                    <a:lnTo>
                      <a:pt x="337" y="608"/>
                    </a:lnTo>
                    <a:lnTo>
                      <a:pt x="337" y="606"/>
                    </a:lnTo>
                    <a:lnTo>
                      <a:pt x="339" y="606"/>
                    </a:lnTo>
                    <a:lnTo>
                      <a:pt x="339" y="604"/>
                    </a:lnTo>
                    <a:lnTo>
                      <a:pt x="337" y="604"/>
                    </a:lnTo>
                    <a:lnTo>
                      <a:pt x="337" y="602"/>
                    </a:lnTo>
                    <a:lnTo>
                      <a:pt x="337" y="601"/>
                    </a:lnTo>
                    <a:lnTo>
                      <a:pt x="337" y="599"/>
                    </a:lnTo>
                    <a:lnTo>
                      <a:pt x="337" y="597"/>
                    </a:lnTo>
                    <a:lnTo>
                      <a:pt x="337" y="596"/>
                    </a:lnTo>
                    <a:lnTo>
                      <a:pt x="335" y="596"/>
                    </a:lnTo>
                    <a:lnTo>
                      <a:pt x="335" y="594"/>
                    </a:lnTo>
                    <a:lnTo>
                      <a:pt x="333" y="594"/>
                    </a:lnTo>
                    <a:lnTo>
                      <a:pt x="333" y="592"/>
                    </a:lnTo>
                    <a:lnTo>
                      <a:pt x="332" y="592"/>
                    </a:lnTo>
                    <a:lnTo>
                      <a:pt x="330" y="592"/>
                    </a:lnTo>
                    <a:lnTo>
                      <a:pt x="330" y="591"/>
                    </a:lnTo>
                    <a:lnTo>
                      <a:pt x="328" y="591"/>
                    </a:lnTo>
                    <a:lnTo>
                      <a:pt x="327" y="591"/>
                    </a:lnTo>
                    <a:lnTo>
                      <a:pt x="325" y="591"/>
                    </a:lnTo>
                    <a:lnTo>
                      <a:pt x="325" y="589"/>
                    </a:lnTo>
                    <a:lnTo>
                      <a:pt x="323" y="589"/>
                    </a:lnTo>
                    <a:lnTo>
                      <a:pt x="322" y="589"/>
                    </a:lnTo>
                    <a:lnTo>
                      <a:pt x="320" y="587"/>
                    </a:lnTo>
                    <a:lnTo>
                      <a:pt x="318" y="587"/>
                    </a:lnTo>
                    <a:lnTo>
                      <a:pt x="318" y="585"/>
                    </a:lnTo>
                    <a:lnTo>
                      <a:pt x="316" y="584"/>
                    </a:lnTo>
                    <a:lnTo>
                      <a:pt x="315" y="584"/>
                    </a:lnTo>
                    <a:lnTo>
                      <a:pt x="313" y="584"/>
                    </a:lnTo>
                    <a:lnTo>
                      <a:pt x="311" y="584"/>
                    </a:lnTo>
                    <a:lnTo>
                      <a:pt x="313" y="582"/>
                    </a:lnTo>
                    <a:lnTo>
                      <a:pt x="311" y="582"/>
                    </a:lnTo>
                    <a:lnTo>
                      <a:pt x="311" y="580"/>
                    </a:lnTo>
                    <a:lnTo>
                      <a:pt x="310" y="580"/>
                    </a:lnTo>
                    <a:lnTo>
                      <a:pt x="310" y="579"/>
                    </a:lnTo>
                    <a:lnTo>
                      <a:pt x="308" y="579"/>
                    </a:lnTo>
                    <a:lnTo>
                      <a:pt x="306" y="579"/>
                    </a:lnTo>
                    <a:lnTo>
                      <a:pt x="306" y="577"/>
                    </a:lnTo>
                    <a:lnTo>
                      <a:pt x="305" y="575"/>
                    </a:lnTo>
                    <a:lnTo>
                      <a:pt x="305" y="574"/>
                    </a:lnTo>
                    <a:lnTo>
                      <a:pt x="303" y="574"/>
                    </a:lnTo>
                    <a:lnTo>
                      <a:pt x="301" y="574"/>
                    </a:lnTo>
                    <a:lnTo>
                      <a:pt x="301" y="572"/>
                    </a:lnTo>
                    <a:lnTo>
                      <a:pt x="299" y="572"/>
                    </a:lnTo>
                    <a:lnTo>
                      <a:pt x="298" y="572"/>
                    </a:lnTo>
                    <a:lnTo>
                      <a:pt x="296" y="572"/>
                    </a:lnTo>
                    <a:lnTo>
                      <a:pt x="296" y="570"/>
                    </a:lnTo>
                    <a:lnTo>
                      <a:pt x="294" y="570"/>
                    </a:lnTo>
                    <a:lnTo>
                      <a:pt x="293" y="570"/>
                    </a:lnTo>
                    <a:lnTo>
                      <a:pt x="291" y="570"/>
                    </a:lnTo>
                    <a:lnTo>
                      <a:pt x="289" y="570"/>
                    </a:lnTo>
                    <a:lnTo>
                      <a:pt x="289" y="568"/>
                    </a:lnTo>
                    <a:lnTo>
                      <a:pt x="288" y="568"/>
                    </a:lnTo>
                    <a:lnTo>
                      <a:pt x="288" y="567"/>
                    </a:lnTo>
                    <a:lnTo>
                      <a:pt x="286" y="567"/>
                    </a:lnTo>
                    <a:lnTo>
                      <a:pt x="286" y="565"/>
                    </a:lnTo>
                    <a:lnTo>
                      <a:pt x="284" y="565"/>
                    </a:lnTo>
                    <a:lnTo>
                      <a:pt x="282" y="565"/>
                    </a:lnTo>
                    <a:lnTo>
                      <a:pt x="281" y="565"/>
                    </a:lnTo>
                    <a:lnTo>
                      <a:pt x="279" y="565"/>
                    </a:lnTo>
                    <a:lnTo>
                      <a:pt x="279" y="563"/>
                    </a:lnTo>
                    <a:lnTo>
                      <a:pt x="277" y="563"/>
                    </a:lnTo>
                    <a:lnTo>
                      <a:pt x="277" y="562"/>
                    </a:lnTo>
                    <a:lnTo>
                      <a:pt x="276" y="562"/>
                    </a:lnTo>
                    <a:lnTo>
                      <a:pt x="274" y="562"/>
                    </a:lnTo>
                    <a:lnTo>
                      <a:pt x="272" y="562"/>
                    </a:lnTo>
                    <a:lnTo>
                      <a:pt x="272" y="560"/>
                    </a:lnTo>
                    <a:lnTo>
                      <a:pt x="271" y="560"/>
                    </a:lnTo>
                    <a:lnTo>
                      <a:pt x="271" y="558"/>
                    </a:lnTo>
                    <a:lnTo>
                      <a:pt x="269" y="558"/>
                    </a:lnTo>
                    <a:lnTo>
                      <a:pt x="267" y="558"/>
                    </a:lnTo>
                    <a:lnTo>
                      <a:pt x="267" y="557"/>
                    </a:lnTo>
                    <a:lnTo>
                      <a:pt x="265" y="557"/>
                    </a:lnTo>
                    <a:lnTo>
                      <a:pt x="264" y="557"/>
                    </a:lnTo>
                    <a:lnTo>
                      <a:pt x="262" y="557"/>
                    </a:lnTo>
                    <a:lnTo>
                      <a:pt x="260" y="555"/>
                    </a:lnTo>
                    <a:lnTo>
                      <a:pt x="259" y="555"/>
                    </a:lnTo>
                    <a:lnTo>
                      <a:pt x="259" y="557"/>
                    </a:lnTo>
                    <a:lnTo>
                      <a:pt x="259" y="555"/>
                    </a:lnTo>
                    <a:lnTo>
                      <a:pt x="257" y="555"/>
                    </a:lnTo>
                    <a:lnTo>
                      <a:pt x="257" y="553"/>
                    </a:lnTo>
                    <a:lnTo>
                      <a:pt x="255" y="553"/>
                    </a:lnTo>
                    <a:lnTo>
                      <a:pt x="254" y="553"/>
                    </a:lnTo>
                    <a:lnTo>
                      <a:pt x="254" y="551"/>
                    </a:lnTo>
                    <a:lnTo>
                      <a:pt x="252" y="551"/>
                    </a:lnTo>
                    <a:lnTo>
                      <a:pt x="250" y="550"/>
                    </a:lnTo>
                    <a:lnTo>
                      <a:pt x="248" y="550"/>
                    </a:lnTo>
                    <a:lnTo>
                      <a:pt x="248" y="548"/>
                    </a:lnTo>
                    <a:lnTo>
                      <a:pt x="247" y="548"/>
                    </a:lnTo>
                    <a:lnTo>
                      <a:pt x="247" y="546"/>
                    </a:lnTo>
                    <a:lnTo>
                      <a:pt x="245" y="545"/>
                    </a:lnTo>
                    <a:lnTo>
                      <a:pt x="243" y="545"/>
                    </a:lnTo>
                    <a:lnTo>
                      <a:pt x="242" y="543"/>
                    </a:lnTo>
                    <a:lnTo>
                      <a:pt x="240" y="543"/>
                    </a:lnTo>
                    <a:lnTo>
                      <a:pt x="240" y="541"/>
                    </a:lnTo>
                    <a:lnTo>
                      <a:pt x="238" y="541"/>
                    </a:lnTo>
                    <a:lnTo>
                      <a:pt x="237" y="541"/>
                    </a:lnTo>
                    <a:lnTo>
                      <a:pt x="235" y="541"/>
                    </a:lnTo>
                    <a:lnTo>
                      <a:pt x="233" y="541"/>
                    </a:lnTo>
                    <a:lnTo>
                      <a:pt x="233" y="540"/>
                    </a:lnTo>
                    <a:lnTo>
                      <a:pt x="233" y="538"/>
                    </a:lnTo>
                    <a:lnTo>
                      <a:pt x="231" y="538"/>
                    </a:lnTo>
                    <a:lnTo>
                      <a:pt x="230" y="536"/>
                    </a:lnTo>
                    <a:lnTo>
                      <a:pt x="228" y="536"/>
                    </a:lnTo>
                    <a:lnTo>
                      <a:pt x="226" y="536"/>
                    </a:lnTo>
                    <a:lnTo>
                      <a:pt x="226" y="534"/>
                    </a:lnTo>
                    <a:lnTo>
                      <a:pt x="225" y="534"/>
                    </a:lnTo>
                    <a:lnTo>
                      <a:pt x="223" y="534"/>
                    </a:lnTo>
                    <a:lnTo>
                      <a:pt x="223" y="533"/>
                    </a:lnTo>
                    <a:lnTo>
                      <a:pt x="221" y="533"/>
                    </a:lnTo>
                    <a:lnTo>
                      <a:pt x="220" y="533"/>
                    </a:lnTo>
                    <a:lnTo>
                      <a:pt x="220" y="531"/>
                    </a:lnTo>
                    <a:lnTo>
                      <a:pt x="218" y="531"/>
                    </a:lnTo>
                    <a:lnTo>
                      <a:pt x="218" y="529"/>
                    </a:lnTo>
                    <a:lnTo>
                      <a:pt x="216" y="529"/>
                    </a:lnTo>
                    <a:lnTo>
                      <a:pt x="214" y="529"/>
                    </a:lnTo>
                    <a:lnTo>
                      <a:pt x="213" y="528"/>
                    </a:lnTo>
                    <a:lnTo>
                      <a:pt x="211" y="528"/>
                    </a:lnTo>
                    <a:lnTo>
                      <a:pt x="211" y="526"/>
                    </a:lnTo>
                    <a:lnTo>
                      <a:pt x="209" y="526"/>
                    </a:lnTo>
                    <a:lnTo>
                      <a:pt x="208" y="526"/>
                    </a:lnTo>
                    <a:lnTo>
                      <a:pt x="208" y="524"/>
                    </a:lnTo>
                    <a:lnTo>
                      <a:pt x="209" y="524"/>
                    </a:lnTo>
                    <a:lnTo>
                      <a:pt x="209" y="523"/>
                    </a:lnTo>
                    <a:lnTo>
                      <a:pt x="208" y="523"/>
                    </a:lnTo>
                    <a:lnTo>
                      <a:pt x="206" y="523"/>
                    </a:lnTo>
                    <a:lnTo>
                      <a:pt x="206" y="521"/>
                    </a:lnTo>
                    <a:lnTo>
                      <a:pt x="208" y="521"/>
                    </a:lnTo>
                    <a:lnTo>
                      <a:pt x="208" y="519"/>
                    </a:lnTo>
                    <a:lnTo>
                      <a:pt x="206" y="519"/>
                    </a:lnTo>
                    <a:lnTo>
                      <a:pt x="206" y="517"/>
                    </a:lnTo>
                    <a:lnTo>
                      <a:pt x="204" y="517"/>
                    </a:lnTo>
                    <a:lnTo>
                      <a:pt x="203" y="517"/>
                    </a:lnTo>
                    <a:lnTo>
                      <a:pt x="201" y="516"/>
                    </a:lnTo>
                    <a:lnTo>
                      <a:pt x="201" y="514"/>
                    </a:lnTo>
                    <a:lnTo>
                      <a:pt x="199" y="514"/>
                    </a:lnTo>
                    <a:lnTo>
                      <a:pt x="199" y="512"/>
                    </a:lnTo>
                    <a:lnTo>
                      <a:pt x="197" y="512"/>
                    </a:lnTo>
                    <a:lnTo>
                      <a:pt x="197" y="511"/>
                    </a:lnTo>
                    <a:lnTo>
                      <a:pt x="197" y="509"/>
                    </a:lnTo>
                    <a:lnTo>
                      <a:pt x="196" y="509"/>
                    </a:lnTo>
                    <a:lnTo>
                      <a:pt x="196" y="507"/>
                    </a:lnTo>
                    <a:lnTo>
                      <a:pt x="194" y="507"/>
                    </a:lnTo>
                    <a:lnTo>
                      <a:pt x="192" y="506"/>
                    </a:lnTo>
                    <a:lnTo>
                      <a:pt x="191" y="506"/>
                    </a:lnTo>
                    <a:lnTo>
                      <a:pt x="189" y="506"/>
                    </a:lnTo>
                    <a:lnTo>
                      <a:pt x="189" y="504"/>
                    </a:lnTo>
                    <a:lnTo>
                      <a:pt x="187" y="504"/>
                    </a:lnTo>
                    <a:lnTo>
                      <a:pt x="187" y="502"/>
                    </a:lnTo>
                    <a:lnTo>
                      <a:pt x="186" y="502"/>
                    </a:lnTo>
                    <a:lnTo>
                      <a:pt x="186" y="500"/>
                    </a:lnTo>
                    <a:lnTo>
                      <a:pt x="184" y="500"/>
                    </a:lnTo>
                    <a:lnTo>
                      <a:pt x="184" y="499"/>
                    </a:lnTo>
                    <a:lnTo>
                      <a:pt x="184" y="497"/>
                    </a:lnTo>
                    <a:lnTo>
                      <a:pt x="182" y="497"/>
                    </a:lnTo>
                    <a:lnTo>
                      <a:pt x="182" y="495"/>
                    </a:lnTo>
                    <a:lnTo>
                      <a:pt x="182" y="494"/>
                    </a:lnTo>
                    <a:lnTo>
                      <a:pt x="180" y="494"/>
                    </a:lnTo>
                    <a:lnTo>
                      <a:pt x="180" y="492"/>
                    </a:lnTo>
                    <a:lnTo>
                      <a:pt x="179" y="492"/>
                    </a:lnTo>
                    <a:lnTo>
                      <a:pt x="179" y="490"/>
                    </a:lnTo>
                    <a:lnTo>
                      <a:pt x="177" y="490"/>
                    </a:lnTo>
                    <a:lnTo>
                      <a:pt x="175" y="490"/>
                    </a:lnTo>
                    <a:lnTo>
                      <a:pt x="175" y="489"/>
                    </a:lnTo>
                    <a:lnTo>
                      <a:pt x="177" y="489"/>
                    </a:lnTo>
                    <a:lnTo>
                      <a:pt x="177" y="487"/>
                    </a:lnTo>
                    <a:lnTo>
                      <a:pt x="175" y="485"/>
                    </a:lnTo>
                    <a:lnTo>
                      <a:pt x="174" y="485"/>
                    </a:lnTo>
                    <a:lnTo>
                      <a:pt x="174" y="483"/>
                    </a:lnTo>
                    <a:lnTo>
                      <a:pt x="172" y="483"/>
                    </a:lnTo>
                    <a:lnTo>
                      <a:pt x="172" y="482"/>
                    </a:lnTo>
                    <a:lnTo>
                      <a:pt x="172" y="483"/>
                    </a:lnTo>
                    <a:lnTo>
                      <a:pt x="172" y="485"/>
                    </a:lnTo>
                    <a:lnTo>
                      <a:pt x="172" y="483"/>
                    </a:lnTo>
                    <a:lnTo>
                      <a:pt x="170" y="483"/>
                    </a:lnTo>
                    <a:lnTo>
                      <a:pt x="172" y="483"/>
                    </a:lnTo>
                    <a:lnTo>
                      <a:pt x="170" y="482"/>
                    </a:lnTo>
                    <a:lnTo>
                      <a:pt x="172" y="482"/>
                    </a:lnTo>
                    <a:lnTo>
                      <a:pt x="170" y="480"/>
                    </a:lnTo>
                    <a:lnTo>
                      <a:pt x="172" y="480"/>
                    </a:lnTo>
                    <a:lnTo>
                      <a:pt x="172" y="478"/>
                    </a:lnTo>
                    <a:lnTo>
                      <a:pt x="170" y="477"/>
                    </a:lnTo>
                    <a:lnTo>
                      <a:pt x="172" y="477"/>
                    </a:lnTo>
                    <a:lnTo>
                      <a:pt x="172" y="475"/>
                    </a:lnTo>
                    <a:lnTo>
                      <a:pt x="170" y="475"/>
                    </a:lnTo>
                    <a:lnTo>
                      <a:pt x="172" y="475"/>
                    </a:lnTo>
                    <a:lnTo>
                      <a:pt x="170" y="473"/>
                    </a:lnTo>
                    <a:lnTo>
                      <a:pt x="170" y="475"/>
                    </a:lnTo>
                    <a:lnTo>
                      <a:pt x="169" y="475"/>
                    </a:lnTo>
                    <a:lnTo>
                      <a:pt x="167" y="475"/>
                    </a:lnTo>
                    <a:lnTo>
                      <a:pt x="167" y="473"/>
                    </a:lnTo>
                    <a:lnTo>
                      <a:pt x="169" y="472"/>
                    </a:lnTo>
                    <a:lnTo>
                      <a:pt x="169" y="470"/>
                    </a:lnTo>
                    <a:lnTo>
                      <a:pt x="170" y="470"/>
                    </a:lnTo>
                    <a:lnTo>
                      <a:pt x="170" y="472"/>
                    </a:lnTo>
                    <a:lnTo>
                      <a:pt x="172" y="472"/>
                    </a:lnTo>
                    <a:lnTo>
                      <a:pt x="172" y="473"/>
                    </a:lnTo>
                    <a:lnTo>
                      <a:pt x="172" y="472"/>
                    </a:lnTo>
                    <a:lnTo>
                      <a:pt x="172" y="470"/>
                    </a:lnTo>
                    <a:lnTo>
                      <a:pt x="174" y="468"/>
                    </a:lnTo>
                    <a:lnTo>
                      <a:pt x="174" y="466"/>
                    </a:lnTo>
                    <a:lnTo>
                      <a:pt x="174" y="465"/>
                    </a:lnTo>
                    <a:lnTo>
                      <a:pt x="174" y="463"/>
                    </a:lnTo>
                    <a:lnTo>
                      <a:pt x="174" y="461"/>
                    </a:lnTo>
                    <a:lnTo>
                      <a:pt x="174" y="460"/>
                    </a:lnTo>
                    <a:lnTo>
                      <a:pt x="174" y="458"/>
                    </a:lnTo>
                    <a:lnTo>
                      <a:pt x="174" y="456"/>
                    </a:lnTo>
                    <a:lnTo>
                      <a:pt x="174" y="454"/>
                    </a:lnTo>
                    <a:lnTo>
                      <a:pt x="172" y="454"/>
                    </a:lnTo>
                    <a:lnTo>
                      <a:pt x="172" y="453"/>
                    </a:lnTo>
                    <a:lnTo>
                      <a:pt x="170" y="453"/>
                    </a:lnTo>
                    <a:lnTo>
                      <a:pt x="170" y="451"/>
                    </a:lnTo>
                    <a:lnTo>
                      <a:pt x="169" y="449"/>
                    </a:lnTo>
                    <a:lnTo>
                      <a:pt x="169" y="448"/>
                    </a:lnTo>
                    <a:lnTo>
                      <a:pt x="167" y="448"/>
                    </a:lnTo>
                    <a:lnTo>
                      <a:pt x="167" y="446"/>
                    </a:lnTo>
                    <a:lnTo>
                      <a:pt x="165" y="446"/>
                    </a:lnTo>
                    <a:lnTo>
                      <a:pt x="165" y="444"/>
                    </a:lnTo>
                    <a:lnTo>
                      <a:pt x="163" y="444"/>
                    </a:lnTo>
                    <a:lnTo>
                      <a:pt x="165" y="443"/>
                    </a:lnTo>
                    <a:lnTo>
                      <a:pt x="163" y="443"/>
                    </a:lnTo>
                    <a:lnTo>
                      <a:pt x="163" y="441"/>
                    </a:lnTo>
                    <a:lnTo>
                      <a:pt x="163" y="439"/>
                    </a:lnTo>
                    <a:lnTo>
                      <a:pt x="163" y="437"/>
                    </a:lnTo>
                    <a:lnTo>
                      <a:pt x="162" y="437"/>
                    </a:lnTo>
                    <a:lnTo>
                      <a:pt x="162" y="436"/>
                    </a:lnTo>
                    <a:lnTo>
                      <a:pt x="160" y="436"/>
                    </a:lnTo>
                    <a:lnTo>
                      <a:pt x="160" y="434"/>
                    </a:lnTo>
                    <a:lnTo>
                      <a:pt x="160" y="432"/>
                    </a:lnTo>
                    <a:lnTo>
                      <a:pt x="158" y="432"/>
                    </a:lnTo>
                    <a:lnTo>
                      <a:pt x="158" y="431"/>
                    </a:lnTo>
                    <a:lnTo>
                      <a:pt x="158" y="429"/>
                    </a:lnTo>
                    <a:lnTo>
                      <a:pt x="157" y="429"/>
                    </a:lnTo>
                    <a:lnTo>
                      <a:pt x="157" y="427"/>
                    </a:lnTo>
                    <a:lnTo>
                      <a:pt x="155" y="427"/>
                    </a:lnTo>
                    <a:lnTo>
                      <a:pt x="155" y="426"/>
                    </a:lnTo>
                    <a:lnTo>
                      <a:pt x="153" y="426"/>
                    </a:lnTo>
                    <a:lnTo>
                      <a:pt x="153" y="424"/>
                    </a:lnTo>
                    <a:lnTo>
                      <a:pt x="155" y="424"/>
                    </a:lnTo>
                    <a:lnTo>
                      <a:pt x="155" y="422"/>
                    </a:lnTo>
                    <a:lnTo>
                      <a:pt x="153" y="422"/>
                    </a:lnTo>
                    <a:lnTo>
                      <a:pt x="153" y="420"/>
                    </a:lnTo>
                    <a:lnTo>
                      <a:pt x="153" y="419"/>
                    </a:lnTo>
                    <a:lnTo>
                      <a:pt x="152" y="419"/>
                    </a:lnTo>
                    <a:lnTo>
                      <a:pt x="150" y="417"/>
                    </a:lnTo>
                    <a:lnTo>
                      <a:pt x="148" y="417"/>
                    </a:lnTo>
                    <a:lnTo>
                      <a:pt x="148" y="415"/>
                    </a:lnTo>
                    <a:lnTo>
                      <a:pt x="146" y="415"/>
                    </a:lnTo>
                    <a:lnTo>
                      <a:pt x="146" y="414"/>
                    </a:lnTo>
                    <a:lnTo>
                      <a:pt x="146" y="412"/>
                    </a:lnTo>
                    <a:lnTo>
                      <a:pt x="145" y="412"/>
                    </a:lnTo>
                    <a:lnTo>
                      <a:pt x="143" y="410"/>
                    </a:lnTo>
                    <a:lnTo>
                      <a:pt x="141" y="410"/>
                    </a:lnTo>
                    <a:lnTo>
                      <a:pt x="141" y="409"/>
                    </a:lnTo>
                    <a:lnTo>
                      <a:pt x="141" y="410"/>
                    </a:lnTo>
                    <a:lnTo>
                      <a:pt x="141" y="409"/>
                    </a:lnTo>
                    <a:lnTo>
                      <a:pt x="143" y="409"/>
                    </a:lnTo>
                    <a:lnTo>
                      <a:pt x="143" y="407"/>
                    </a:lnTo>
                    <a:lnTo>
                      <a:pt x="143" y="405"/>
                    </a:lnTo>
                    <a:lnTo>
                      <a:pt x="141" y="405"/>
                    </a:lnTo>
                    <a:lnTo>
                      <a:pt x="141" y="403"/>
                    </a:lnTo>
                    <a:lnTo>
                      <a:pt x="141" y="402"/>
                    </a:lnTo>
                    <a:lnTo>
                      <a:pt x="141" y="400"/>
                    </a:lnTo>
                    <a:lnTo>
                      <a:pt x="140" y="400"/>
                    </a:lnTo>
                    <a:lnTo>
                      <a:pt x="141" y="400"/>
                    </a:lnTo>
                    <a:lnTo>
                      <a:pt x="141" y="398"/>
                    </a:lnTo>
                    <a:lnTo>
                      <a:pt x="140" y="398"/>
                    </a:lnTo>
                    <a:lnTo>
                      <a:pt x="140" y="397"/>
                    </a:lnTo>
                    <a:lnTo>
                      <a:pt x="140" y="395"/>
                    </a:lnTo>
                    <a:lnTo>
                      <a:pt x="138" y="395"/>
                    </a:lnTo>
                    <a:lnTo>
                      <a:pt x="138" y="393"/>
                    </a:lnTo>
                    <a:lnTo>
                      <a:pt x="136" y="392"/>
                    </a:lnTo>
                    <a:lnTo>
                      <a:pt x="136" y="390"/>
                    </a:lnTo>
                    <a:lnTo>
                      <a:pt x="135" y="390"/>
                    </a:lnTo>
                    <a:lnTo>
                      <a:pt x="133" y="388"/>
                    </a:lnTo>
                    <a:lnTo>
                      <a:pt x="129" y="386"/>
                    </a:lnTo>
                    <a:lnTo>
                      <a:pt x="128" y="385"/>
                    </a:lnTo>
                    <a:lnTo>
                      <a:pt x="126" y="385"/>
                    </a:lnTo>
                    <a:lnTo>
                      <a:pt x="124" y="385"/>
                    </a:lnTo>
                    <a:lnTo>
                      <a:pt x="124" y="383"/>
                    </a:lnTo>
                    <a:lnTo>
                      <a:pt x="126" y="383"/>
                    </a:lnTo>
                    <a:lnTo>
                      <a:pt x="124" y="383"/>
                    </a:lnTo>
                    <a:lnTo>
                      <a:pt x="126" y="381"/>
                    </a:lnTo>
                    <a:lnTo>
                      <a:pt x="124" y="381"/>
                    </a:lnTo>
                    <a:lnTo>
                      <a:pt x="126" y="381"/>
                    </a:lnTo>
                    <a:lnTo>
                      <a:pt x="128" y="380"/>
                    </a:lnTo>
                    <a:lnTo>
                      <a:pt x="126" y="380"/>
                    </a:lnTo>
                    <a:lnTo>
                      <a:pt x="126" y="378"/>
                    </a:lnTo>
                    <a:lnTo>
                      <a:pt x="126" y="376"/>
                    </a:lnTo>
                    <a:lnTo>
                      <a:pt x="126" y="375"/>
                    </a:lnTo>
                    <a:lnTo>
                      <a:pt x="124" y="375"/>
                    </a:lnTo>
                    <a:lnTo>
                      <a:pt x="124" y="373"/>
                    </a:lnTo>
                    <a:lnTo>
                      <a:pt x="124" y="371"/>
                    </a:lnTo>
                    <a:lnTo>
                      <a:pt x="124" y="369"/>
                    </a:lnTo>
                    <a:lnTo>
                      <a:pt x="123" y="369"/>
                    </a:lnTo>
                    <a:lnTo>
                      <a:pt x="123" y="368"/>
                    </a:lnTo>
                    <a:lnTo>
                      <a:pt x="121" y="368"/>
                    </a:lnTo>
                    <a:lnTo>
                      <a:pt x="123" y="366"/>
                    </a:lnTo>
                    <a:lnTo>
                      <a:pt x="121" y="366"/>
                    </a:lnTo>
                    <a:lnTo>
                      <a:pt x="121" y="364"/>
                    </a:lnTo>
                    <a:lnTo>
                      <a:pt x="119" y="364"/>
                    </a:lnTo>
                    <a:lnTo>
                      <a:pt x="119" y="363"/>
                    </a:lnTo>
                    <a:lnTo>
                      <a:pt x="118" y="363"/>
                    </a:lnTo>
                    <a:lnTo>
                      <a:pt x="118" y="361"/>
                    </a:lnTo>
                    <a:lnTo>
                      <a:pt x="118" y="359"/>
                    </a:lnTo>
                    <a:lnTo>
                      <a:pt x="116" y="359"/>
                    </a:lnTo>
                    <a:lnTo>
                      <a:pt x="116" y="358"/>
                    </a:lnTo>
                    <a:lnTo>
                      <a:pt x="114" y="356"/>
                    </a:lnTo>
                    <a:lnTo>
                      <a:pt x="114" y="354"/>
                    </a:lnTo>
                    <a:lnTo>
                      <a:pt x="112" y="354"/>
                    </a:lnTo>
                    <a:lnTo>
                      <a:pt x="112" y="352"/>
                    </a:lnTo>
                    <a:lnTo>
                      <a:pt x="112" y="351"/>
                    </a:lnTo>
                    <a:lnTo>
                      <a:pt x="111" y="351"/>
                    </a:lnTo>
                    <a:lnTo>
                      <a:pt x="111" y="349"/>
                    </a:lnTo>
                    <a:lnTo>
                      <a:pt x="111" y="347"/>
                    </a:lnTo>
                    <a:lnTo>
                      <a:pt x="109" y="346"/>
                    </a:lnTo>
                    <a:lnTo>
                      <a:pt x="107" y="344"/>
                    </a:lnTo>
                    <a:lnTo>
                      <a:pt x="107" y="342"/>
                    </a:lnTo>
                    <a:lnTo>
                      <a:pt x="107" y="341"/>
                    </a:lnTo>
                    <a:lnTo>
                      <a:pt x="107" y="339"/>
                    </a:lnTo>
                    <a:lnTo>
                      <a:pt x="106" y="339"/>
                    </a:lnTo>
                    <a:lnTo>
                      <a:pt x="106" y="337"/>
                    </a:lnTo>
                    <a:lnTo>
                      <a:pt x="106" y="335"/>
                    </a:lnTo>
                    <a:lnTo>
                      <a:pt x="106" y="334"/>
                    </a:lnTo>
                    <a:lnTo>
                      <a:pt x="106" y="332"/>
                    </a:lnTo>
                    <a:lnTo>
                      <a:pt x="104" y="330"/>
                    </a:lnTo>
                    <a:lnTo>
                      <a:pt x="104" y="329"/>
                    </a:lnTo>
                    <a:lnTo>
                      <a:pt x="102" y="329"/>
                    </a:lnTo>
                    <a:lnTo>
                      <a:pt x="102" y="327"/>
                    </a:lnTo>
                    <a:lnTo>
                      <a:pt x="101" y="327"/>
                    </a:lnTo>
                    <a:lnTo>
                      <a:pt x="101" y="325"/>
                    </a:lnTo>
                    <a:lnTo>
                      <a:pt x="101" y="324"/>
                    </a:lnTo>
                    <a:lnTo>
                      <a:pt x="101" y="322"/>
                    </a:lnTo>
                    <a:lnTo>
                      <a:pt x="99" y="322"/>
                    </a:lnTo>
                    <a:lnTo>
                      <a:pt x="101" y="322"/>
                    </a:lnTo>
                    <a:lnTo>
                      <a:pt x="101" y="320"/>
                    </a:lnTo>
                    <a:lnTo>
                      <a:pt x="99" y="320"/>
                    </a:lnTo>
                    <a:lnTo>
                      <a:pt x="99" y="318"/>
                    </a:lnTo>
                    <a:lnTo>
                      <a:pt x="99" y="317"/>
                    </a:lnTo>
                    <a:lnTo>
                      <a:pt x="97" y="317"/>
                    </a:lnTo>
                    <a:lnTo>
                      <a:pt x="97" y="315"/>
                    </a:lnTo>
                    <a:lnTo>
                      <a:pt x="95" y="315"/>
                    </a:lnTo>
                    <a:lnTo>
                      <a:pt x="95" y="313"/>
                    </a:lnTo>
                    <a:lnTo>
                      <a:pt x="97" y="313"/>
                    </a:lnTo>
                    <a:lnTo>
                      <a:pt x="97" y="312"/>
                    </a:lnTo>
                    <a:lnTo>
                      <a:pt x="95" y="312"/>
                    </a:lnTo>
                    <a:lnTo>
                      <a:pt x="94" y="312"/>
                    </a:lnTo>
                    <a:lnTo>
                      <a:pt x="94" y="313"/>
                    </a:lnTo>
                    <a:lnTo>
                      <a:pt x="94" y="312"/>
                    </a:lnTo>
                    <a:lnTo>
                      <a:pt x="92" y="312"/>
                    </a:lnTo>
                    <a:lnTo>
                      <a:pt x="92" y="310"/>
                    </a:lnTo>
                    <a:lnTo>
                      <a:pt x="94" y="312"/>
                    </a:lnTo>
                    <a:lnTo>
                      <a:pt x="94" y="310"/>
                    </a:lnTo>
                    <a:lnTo>
                      <a:pt x="94" y="312"/>
                    </a:lnTo>
                    <a:lnTo>
                      <a:pt x="94" y="310"/>
                    </a:lnTo>
                    <a:lnTo>
                      <a:pt x="94" y="308"/>
                    </a:lnTo>
                    <a:lnTo>
                      <a:pt x="92" y="308"/>
                    </a:lnTo>
                    <a:lnTo>
                      <a:pt x="92" y="307"/>
                    </a:lnTo>
                    <a:lnTo>
                      <a:pt x="92" y="305"/>
                    </a:lnTo>
                    <a:lnTo>
                      <a:pt x="90" y="305"/>
                    </a:lnTo>
                    <a:lnTo>
                      <a:pt x="92" y="305"/>
                    </a:lnTo>
                    <a:lnTo>
                      <a:pt x="92" y="303"/>
                    </a:lnTo>
                    <a:lnTo>
                      <a:pt x="90" y="301"/>
                    </a:lnTo>
                    <a:lnTo>
                      <a:pt x="90" y="300"/>
                    </a:lnTo>
                    <a:lnTo>
                      <a:pt x="89" y="300"/>
                    </a:lnTo>
                    <a:lnTo>
                      <a:pt x="89" y="298"/>
                    </a:lnTo>
                    <a:lnTo>
                      <a:pt x="87" y="298"/>
                    </a:lnTo>
                    <a:lnTo>
                      <a:pt x="87" y="296"/>
                    </a:lnTo>
                    <a:lnTo>
                      <a:pt x="89" y="296"/>
                    </a:lnTo>
                    <a:lnTo>
                      <a:pt x="89" y="295"/>
                    </a:lnTo>
                    <a:lnTo>
                      <a:pt x="89" y="293"/>
                    </a:lnTo>
                    <a:lnTo>
                      <a:pt x="87" y="291"/>
                    </a:lnTo>
                    <a:lnTo>
                      <a:pt x="87" y="289"/>
                    </a:lnTo>
                    <a:lnTo>
                      <a:pt x="85" y="289"/>
                    </a:lnTo>
                    <a:lnTo>
                      <a:pt x="85" y="288"/>
                    </a:lnTo>
                    <a:lnTo>
                      <a:pt x="84" y="288"/>
                    </a:lnTo>
                    <a:lnTo>
                      <a:pt x="82" y="286"/>
                    </a:lnTo>
                    <a:lnTo>
                      <a:pt x="84" y="284"/>
                    </a:lnTo>
                    <a:lnTo>
                      <a:pt x="84" y="283"/>
                    </a:lnTo>
                    <a:lnTo>
                      <a:pt x="82" y="283"/>
                    </a:lnTo>
                    <a:lnTo>
                      <a:pt x="82" y="281"/>
                    </a:lnTo>
                    <a:lnTo>
                      <a:pt x="80" y="281"/>
                    </a:lnTo>
                    <a:lnTo>
                      <a:pt x="80" y="279"/>
                    </a:lnTo>
                    <a:lnTo>
                      <a:pt x="80" y="278"/>
                    </a:lnTo>
                    <a:lnTo>
                      <a:pt x="78" y="278"/>
                    </a:lnTo>
                    <a:lnTo>
                      <a:pt x="78" y="276"/>
                    </a:lnTo>
                    <a:lnTo>
                      <a:pt x="77" y="276"/>
                    </a:lnTo>
                    <a:lnTo>
                      <a:pt x="77" y="274"/>
                    </a:lnTo>
                    <a:lnTo>
                      <a:pt x="75" y="274"/>
                    </a:lnTo>
                    <a:lnTo>
                      <a:pt x="75" y="272"/>
                    </a:lnTo>
                    <a:lnTo>
                      <a:pt x="73" y="271"/>
                    </a:lnTo>
                    <a:lnTo>
                      <a:pt x="72" y="271"/>
                    </a:lnTo>
                    <a:lnTo>
                      <a:pt x="70" y="269"/>
                    </a:lnTo>
                    <a:lnTo>
                      <a:pt x="68" y="267"/>
                    </a:lnTo>
                    <a:lnTo>
                      <a:pt x="67" y="266"/>
                    </a:lnTo>
                    <a:lnTo>
                      <a:pt x="67" y="264"/>
                    </a:lnTo>
                    <a:lnTo>
                      <a:pt x="65" y="262"/>
                    </a:lnTo>
                    <a:lnTo>
                      <a:pt x="63" y="261"/>
                    </a:lnTo>
                    <a:lnTo>
                      <a:pt x="65" y="261"/>
                    </a:lnTo>
                    <a:lnTo>
                      <a:pt x="65" y="259"/>
                    </a:lnTo>
                    <a:lnTo>
                      <a:pt x="63" y="257"/>
                    </a:lnTo>
                    <a:lnTo>
                      <a:pt x="63" y="255"/>
                    </a:lnTo>
                    <a:lnTo>
                      <a:pt x="61" y="255"/>
                    </a:lnTo>
                    <a:lnTo>
                      <a:pt x="61" y="254"/>
                    </a:lnTo>
                    <a:lnTo>
                      <a:pt x="60" y="254"/>
                    </a:lnTo>
                    <a:lnTo>
                      <a:pt x="60" y="252"/>
                    </a:lnTo>
                    <a:lnTo>
                      <a:pt x="60" y="250"/>
                    </a:lnTo>
                    <a:lnTo>
                      <a:pt x="60" y="249"/>
                    </a:lnTo>
                    <a:lnTo>
                      <a:pt x="60" y="247"/>
                    </a:lnTo>
                    <a:lnTo>
                      <a:pt x="58" y="245"/>
                    </a:lnTo>
                    <a:lnTo>
                      <a:pt x="56" y="244"/>
                    </a:lnTo>
                    <a:lnTo>
                      <a:pt x="56" y="242"/>
                    </a:lnTo>
                    <a:lnTo>
                      <a:pt x="56" y="240"/>
                    </a:lnTo>
                    <a:lnTo>
                      <a:pt x="55" y="240"/>
                    </a:lnTo>
                    <a:lnTo>
                      <a:pt x="55" y="238"/>
                    </a:lnTo>
                    <a:lnTo>
                      <a:pt x="53" y="237"/>
                    </a:lnTo>
                    <a:lnTo>
                      <a:pt x="51" y="235"/>
                    </a:lnTo>
                    <a:lnTo>
                      <a:pt x="50" y="235"/>
                    </a:lnTo>
                    <a:lnTo>
                      <a:pt x="50" y="233"/>
                    </a:lnTo>
                    <a:lnTo>
                      <a:pt x="48" y="233"/>
                    </a:lnTo>
                    <a:lnTo>
                      <a:pt x="48" y="232"/>
                    </a:lnTo>
                    <a:lnTo>
                      <a:pt x="48" y="230"/>
                    </a:lnTo>
                    <a:lnTo>
                      <a:pt x="46" y="230"/>
                    </a:lnTo>
                    <a:lnTo>
                      <a:pt x="46" y="228"/>
                    </a:lnTo>
                    <a:lnTo>
                      <a:pt x="44" y="227"/>
                    </a:lnTo>
                    <a:lnTo>
                      <a:pt x="43" y="227"/>
                    </a:lnTo>
                    <a:lnTo>
                      <a:pt x="41" y="225"/>
                    </a:lnTo>
                    <a:lnTo>
                      <a:pt x="41" y="223"/>
                    </a:lnTo>
                    <a:lnTo>
                      <a:pt x="39" y="223"/>
                    </a:lnTo>
                    <a:lnTo>
                      <a:pt x="38" y="223"/>
                    </a:lnTo>
                    <a:lnTo>
                      <a:pt x="38" y="221"/>
                    </a:lnTo>
                    <a:lnTo>
                      <a:pt x="36" y="221"/>
                    </a:lnTo>
                    <a:lnTo>
                      <a:pt x="34" y="220"/>
                    </a:lnTo>
                    <a:lnTo>
                      <a:pt x="33" y="220"/>
                    </a:lnTo>
                    <a:lnTo>
                      <a:pt x="31" y="218"/>
                    </a:lnTo>
                    <a:lnTo>
                      <a:pt x="29" y="218"/>
                    </a:lnTo>
                    <a:lnTo>
                      <a:pt x="28" y="216"/>
                    </a:lnTo>
                    <a:lnTo>
                      <a:pt x="26" y="216"/>
                    </a:lnTo>
                    <a:lnTo>
                      <a:pt x="24" y="216"/>
                    </a:lnTo>
                    <a:lnTo>
                      <a:pt x="24" y="215"/>
                    </a:lnTo>
                    <a:lnTo>
                      <a:pt x="22" y="215"/>
                    </a:lnTo>
                    <a:lnTo>
                      <a:pt x="21" y="213"/>
                    </a:lnTo>
                    <a:lnTo>
                      <a:pt x="19" y="213"/>
                    </a:lnTo>
                    <a:lnTo>
                      <a:pt x="17" y="211"/>
                    </a:lnTo>
                    <a:lnTo>
                      <a:pt x="16" y="210"/>
                    </a:lnTo>
                    <a:lnTo>
                      <a:pt x="14" y="210"/>
                    </a:lnTo>
                    <a:lnTo>
                      <a:pt x="14" y="208"/>
                    </a:lnTo>
                    <a:lnTo>
                      <a:pt x="12" y="208"/>
                    </a:lnTo>
                    <a:lnTo>
                      <a:pt x="11" y="206"/>
                    </a:lnTo>
                    <a:lnTo>
                      <a:pt x="9" y="206"/>
                    </a:lnTo>
                    <a:lnTo>
                      <a:pt x="9" y="204"/>
                    </a:lnTo>
                    <a:lnTo>
                      <a:pt x="7" y="204"/>
                    </a:lnTo>
                    <a:lnTo>
                      <a:pt x="7" y="203"/>
                    </a:lnTo>
                    <a:lnTo>
                      <a:pt x="7" y="201"/>
                    </a:lnTo>
                    <a:lnTo>
                      <a:pt x="7" y="199"/>
                    </a:lnTo>
                    <a:lnTo>
                      <a:pt x="7" y="198"/>
                    </a:lnTo>
                    <a:lnTo>
                      <a:pt x="9" y="198"/>
                    </a:lnTo>
                    <a:lnTo>
                      <a:pt x="9" y="196"/>
                    </a:lnTo>
                    <a:lnTo>
                      <a:pt x="11" y="196"/>
                    </a:lnTo>
                    <a:lnTo>
                      <a:pt x="11" y="198"/>
                    </a:lnTo>
                    <a:lnTo>
                      <a:pt x="12" y="198"/>
                    </a:lnTo>
                    <a:lnTo>
                      <a:pt x="14" y="198"/>
                    </a:lnTo>
                    <a:lnTo>
                      <a:pt x="16" y="198"/>
                    </a:lnTo>
                    <a:lnTo>
                      <a:pt x="16" y="196"/>
                    </a:lnTo>
                    <a:lnTo>
                      <a:pt x="17" y="194"/>
                    </a:lnTo>
                    <a:lnTo>
                      <a:pt x="17" y="193"/>
                    </a:lnTo>
                    <a:lnTo>
                      <a:pt x="17" y="191"/>
                    </a:lnTo>
                    <a:lnTo>
                      <a:pt x="17" y="189"/>
                    </a:lnTo>
                    <a:lnTo>
                      <a:pt x="16" y="189"/>
                    </a:lnTo>
                    <a:lnTo>
                      <a:pt x="16" y="187"/>
                    </a:lnTo>
                    <a:lnTo>
                      <a:pt x="16" y="186"/>
                    </a:lnTo>
                    <a:lnTo>
                      <a:pt x="14" y="184"/>
                    </a:lnTo>
                    <a:lnTo>
                      <a:pt x="12" y="182"/>
                    </a:lnTo>
                    <a:lnTo>
                      <a:pt x="11" y="181"/>
                    </a:lnTo>
                    <a:lnTo>
                      <a:pt x="11" y="179"/>
                    </a:lnTo>
                    <a:lnTo>
                      <a:pt x="9" y="179"/>
                    </a:lnTo>
                    <a:lnTo>
                      <a:pt x="7" y="179"/>
                    </a:lnTo>
                    <a:lnTo>
                      <a:pt x="7" y="177"/>
                    </a:lnTo>
                    <a:lnTo>
                      <a:pt x="5" y="177"/>
                    </a:lnTo>
                    <a:lnTo>
                      <a:pt x="5" y="176"/>
                    </a:lnTo>
                    <a:lnTo>
                      <a:pt x="7" y="176"/>
                    </a:lnTo>
                    <a:lnTo>
                      <a:pt x="7" y="174"/>
                    </a:lnTo>
                    <a:lnTo>
                      <a:pt x="5" y="174"/>
                    </a:lnTo>
                    <a:lnTo>
                      <a:pt x="7" y="174"/>
                    </a:lnTo>
                    <a:lnTo>
                      <a:pt x="7" y="172"/>
                    </a:lnTo>
                    <a:lnTo>
                      <a:pt x="5" y="172"/>
                    </a:lnTo>
                    <a:lnTo>
                      <a:pt x="7" y="172"/>
                    </a:lnTo>
                    <a:lnTo>
                      <a:pt x="9" y="172"/>
                    </a:lnTo>
                    <a:lnTo>
                      <a:pt x="11" y="170"/>
                    </a:lnTo>
                    <a:lnTo>
                      <a:pt x="11" y="169"/>
                    </a:lnTo>
                    <a:lnTo>
                      <a:pt x="9" y="169"/>
                    </a:lnTo>
                    <a:lnTo>
                      <a:pt x="9" y="167"/>
                    </a:lnTo>
                    <a:lnTo>
                      <a:pt x="7" y="165"/>
                    </a:lnTo>
                    <a:lnTo>
                      <a:pt x="5" y="164"/>
                    </a:lnTo>
                    <a:lnTo>
                      <a:pt x="5" y="162"/>
                    </a:lnTo>
                    <a:lnTo>
                      <a:pt x="4" y="162"/>
                    </a:lnTo>
                    <a:lnTo>
                      <a:pt x="2" y="159"/>
                    </a:lnTo>
                    <a:lnTo>
                      <a:pt x="0" y="159"/>
                    </a:lnTo>
                    <a:lnTo>
                      <a:pt x="2" y="157"/>
                    </a:lnTo>
                    <a:lnTo>
                      <a:pt x="2" y="155"/>
                    </a:lnTo>
                    <a:lnTo>
                      <a:pt x="2" y="153"/>
                    </a:lnTo>
                    <a:lnTo>
                      <a:pt x="2" y="152"/>
                    </a:lnTo>
                    <a:lnTo>
                      <a:pt x="2" y="150"/>
                    </a:lnTo>
                    <a:lnTo>
                      <a:pt x="4" y="150"/>
                    </a:lnTo>
                    <a:lnTo>
                      <a:pt x="4" y="148"/>
                    </a:lnTo>
                    <a:lnTo>
                      <a:pt x="4" y="147"/>
                    </a:lnTo>
                    <a:lnTo>
                      <a:pt x="4" y="145"/>
                    </a:lnTo>
                    <a:lnTo>
                      <a:pt x="4" y="143"/>
                    </a:lnTo>
                    <a:lnTo>
                      <a:pt x="5" y="143"/>
                    </a:lnTo>
                    <a:lnTo>
                      <a:pt x="7" y="141"/>
                    </a:lnTo>
                    <a:lnTo>
                      <a:pt x="9" y="140"/>
                    </a:lnTo>
                    <a:lnTo>
                      <a:pt x="9" y="138"/>
                    </a:lnTo>
                    <a:lnTo>
                      <a:pt x="11" y="138"/>
                    </a:lnTo>
                    <a:lnTo>
                      <a:pt x="11" y="136"/>
                    </a:lnTo>
                    <a:lnTo>
                      <a:pt x="12" y="136"/>
                    </a:lnTo>
                    <a:lnTo>
                      <a:pt x="12" y="135"/>
                    </a:lnTo>
                    <a:lnTo>
                      <a:pt x="14" y="133"/>
                    </a:lnTo>
                    <a:lnTo>
                      <a:pt x="16" y="131"/>
                    </a:lnTo>
                    <a:lnTo>
                      <a:pt x="17" y="131"/>
                    </a:lnTo>
                    <a:lnTo>
                      <a:pt x="17" y="130"/>
                    </a:lnTo>
                    <a:lnTo>
                      <a:pt x="19" y="128"/>
                    </a:lnTo>
                    <a:lnTo>
                      <a:pt x="19" y="126"/>
                    </a:lnTo>
                    <a:lnTo>
                      <a:pt x="21" y="126"/>
                    </a:lnTo>
                    <a:lnTo>
                      <a:pt x="21" y="124"/>
                    </a:lnTo>
                    <a:lnTo>
                      <a:pt x="22" y="124"/>
                    </a:lnTo>
                    <a:lnTo>
                      <a:pt x="24" y="124"/>
                    </a:lnTo>
                    <a:lnTo>
                      <a:pt x="24" y="123"/>
                    </a:lnTo>
                    <a:lnTo>
                      <a:pt x="26" y="123"/>
                    </a:lnTo>
                    <a:lnTo>
                      <a:pt x="28" y="121"/>
                    </a:lnTo>
                    <a:lnTo>
                      <a:pt x="28" y="119"/>
                    </a:lnTo>
                    <a:lnTo>
                      <a:pt x="29" y="119"/>
                    </a:lnTo>
                    <a:lnTo>
                      <a:pt x="29" y="118"/>
                    </a:lnTo>
                    <a:lnTo>
                      <a:pt x="31" y="118"/>
                    </a:lnTo>
                    <a:lnTo>
                      <a:pt x="33" y="118"/>
                    </a:lnTo>
                    <a:lnTo>
                      <a:pt x="31" y="119"/>
                    </a:lnTo>
                    <a:lnTo>
                      <a:pt x="33" y="118"/>
                    </a:lnTo>
                    <a:lnTo>
                      <a:pt x="34" y="118"/>
                    </a:lnTo>
                    <a:lnTo>
                      <a:pt x="34" y="116"/>
                    </a:lnTo>
                    <a:lnTo>
                      <a:pt x="36" y="114"/>
                    </a:lnTo>
                    <a:lnTo>
                      <a:pt x="36" y="116"/>
                    </a:lnTo>
                    <a:lnTo>
                      <a:pt x="38" y="116"/>
                    </a:lnTo>
                    <a:lnTo>
                      <a:pt x="38" y="118"/>
                    </a:lnTo>
                    <a:lnTo>
                      <a:pt x="38" y="119"/>
                    </a:lnTo>
                    <a:lnTo>
                      <a:pt x="39" y="119"/>
                    </a:lnTo>
                    <a:lnTo>
                      <a:pt x="38" y="121"/>
                    </a:lnTo>
                    <a:lnTo>
                      <a:pt x="39" y="121"/>
                    </a:lnTo>
                    <a:lnTo>
                      <a:pt x="39" y="123"/>
                    </a:lnTo>
                    <a:lnTo>
                      <a:pt x="39" y="124"/>
                    </a:lnTo>
                    <a:lnTo>
                      <a:pt x="39" y="126"/>
                    </a:lnTo>
                    <a:lnTo>
                      <a:pt x="39" y="128"/>
                    </a:lnTo>
                    <a:lnTo>
                      <a:pt x="41" y="128"/>
                    </a:lnTo>
                    <a:lnTo>
                      <a:pt x="41" y="130"/>
                    </a:lnTo>
                    <a:lnTo>
                      <a:pt x="41" y="131"/>
                    </a:lnTo>
                    <a:lnTo>
                      <a:pt x="39" y="133"/>
                    </a:lnTo>
                    <a:lnTo>
                      <a:pt x="38" y="133"/>
                    </a:lnTo>
                    <a:lnTo>
                      <a:pt x="38" y="135"/>
                    </a:lnTo>
                    <a:lnTo>
                      <a:pt x="36" y="135"/>
                    </a:lnTo>
                    <a:lnTo>
                      <a:pt x="36" y="136"/>
                    </a:lnTo>
                    <a:lnTo>
                      <a:pt x="34" y="135"/>
                    </a:lnTo>
                    <a:lnTo>
                      <a:pt x="33" y="135"/>
                    </a:lnTo>
                    <a:lnTo>
                      <a:pt x="31" y="135"/>
                    </a:lnTo>
                    <a:lnTo>
                      <a:pt x="31" y="136"/>
                    </a:lnTo>
                    <a:lnTo>
                      <a:pt x="29" y="136"/>
                    </a:lnTo>
                    <a:lnTo>
                      <a:pt x="29" y="138"/>
                    </a:lnTo>
                    <a:lnTo>
                      <a:pt x="31" y="138"/>
                    </a:lnTo>
                    <a:lnTo>
                      <a:pt x="29" y="140"/>
                    </a:lnTo>
                    <a:lnTo>
                      <a:pt x="31" y="140"/>
                    </a:lnTo>
                    <a:lnTo>
                      <a:pt x="31" y="141"/>
                    </a:lnTo>
                    <a:lnTo>
                      <a:pt x="33" y="143"/>
                    </a:lnTo>
                    <a:lnTo>
                      <a:pt x="33" y="141"/>
                    </a:lnTo>
                    <a:lnTo>
                      <a:pt x="34" y="143"/>
                    </a:lnTo>
                    <a:lnTo>
                      <a:pt x="34" y="141"/>
                    </a:lnTo>
                    <a:lnTo>
                      <a:pt x="36" y="141"/>
                    </a:lnTo>
                    <a:lnTo>
                      <a:pt x="34" y="141"/>
                    </a:lnTo>
                    <a:lnTo>
                      <a:pt x="34" y="143"/>
                    </a:lnTo>
                    <a:lnTo>
                      <a:pt x="33" y="145"/>
                    </a:lnTo>
                    <a:lnTo>
                      <a:pt x="33" y="147"/>
                    </a:lnTo>
                    <a:lnTo>
                      <a:pt x="31" y="147"/>
                    </a:lnTo>
                    <a:lnTo>
                      <a:pt x="31" y="148"/>
                    </a:lnTo>
                    <a:lnTo>
                      <a:pt x="31" y="150"/>
                    </a:lnTo>
                    <a:lnTo>
                      <a:pt x="31" y="152"/>
                    </a:lnTo>
                    <a:lnTo>
                      <a:pt x="31" y="150"/>
                    </a:lnTo>
                    <a:lnTo>
                      <a:pt x="33" y="152"/>
                    </a:lnTo>
                    <a:lnTo>
                      <a:pt x="34" y="152"/>
                    </a:lnTo>
                    <a:lnTo>
                      <a:pt x="34" y="150"/>
                    </a:lnTo>
                    <a:lnTo>
                      <a:pt x="36" y="150"/>
                    </a:lnTo>
                    <a:lnTo>
                      <a:pt x="36" y="148"/>
                    </a:lnTo>
                    <a:lnTo>
                      <a:pt x="38" y="148"/>
                    </a:lnTo>
                    <a:lnTo>
                      <a:pt x="38" y="147"/>
                    </a:lnTo>
                    <a:lnTo>
                      <a:pt x="39" y="147"/>
                    </a:lnTo>
                    <a:lnTo>
                      <a:pt x="39" y="145"/>
                    </a:lnTo>
                    <a:lnTo>
                      <a:pt x="41" y="145"/>
                    </a:lnTo>
                    <a:lnTo>
                      <a:pt x="43" y="145"/>
                    </a:lnTo>
                    <a:lnTo>
                      <a:pt x="44" y="145"/>
                    </a:lnTo>
                    <a:lnTo>
                      <a:pt x="44" y="147"/>
                    </a:lnTo>
                    <a:lnTo>
                      <a:pt x="46" y="148"/>
                    </a:lnTo>
                    <a:lnTo>
                      <a:pt x="48" y="148"/>
                    </a:lnTo>
                    <a:lnTo>
                      <a:pt x="50" y="148"/>
                    </a:lnTo>
                    <a:lnTo>
                      <a:pt x="51" y="150"/>
                    </a:lnTo>
                    <a:lnTo>
                      <a:pt x="51" y="152"/>
                    </a:lnTo>
                    <a:lnTo>
                      <a:pt x="53" y="152"/>
                    </a:lnTo>
                    <a:lnTo>
                      <a:pt x="55" y="152"/>
                    </a:lnTo>
                    <a:lnTo>
                      <a:pt x="56" y="152"/>
                    </a:lnTo>
                    <a:lnTo>
                      <a:pt x="56" y="150"/>
                    </a:lnTo>
                    <a:lnTo>
                      <a:pt x="58" y="150"/>
                    </a:lnTo>
                    <a:lnTo>
                      <a:pt x="60" y="150"/>
                    </a:lnTo>
                    <a:lnTo>
                      <a:pt x="60" y="152"/>
                    </a:lnTo>
                    <a:lnTo>
                      <a:pt x="61" y="152"/>
                    </a:lnTo>
                    <a:lnTo>
                      <a:pt x="61" y="153"/>
                    </a:lnTo>
                    <a:lnTo>
                      <a:pt x="61" y="152"/>
                    </a:lnTo>
                    <a:lnTo>
                      <a:pt x="63" y="153"/>
                    </a:lnTo>
                    <a:lnTo>
                      <a:pt x="63" y="155"/>
                    </a:lnTo>
                    <a:lnTo>
                      <a:pt x="63" y="157"/>
                    </a:lnTo>
                    <a:lnTo>
                      <a:pt x="65" y="159"/>
                    </a:lnTo>
                    <a:lnTo>
                      <a:pt x="65" y="160"/>
                    </a:lnTo>
                    <a:lnTo>
                      <a:pt x="65" y="162"/>
                    </a:lnTo>
                    <a:lnTo>
                      <a:pt x="67" y="164"/>
                    </a:lnTo>
                    <a:lnTo>
                      <a:pt x="68" y="165"/>
                    </a:lnTo>
                    <a:lnTo>
                      <a:pt x="70" y="165"/>
                    </a:lnTo>
                    <a:lnTo>
                      <a:pt x="70" y="167"/>
                    </a:lnTo>
                    <a:lnTo>
                      <a:pt x="72" y="167"/>
                    </a:lnTo>
                    <a:lnTo>
                      <a:pt x="73" y="167"/>
                    </a:lnTo>
                    <a:lnTo>
                      <a:pt x="75" y="167"/>
                    </a:lnTo>
                    <a:lnTo>
                      <a:pt x="75" y="169"/>
                    </a:lnTo>
                    <a:lnTo>
                      <a:pt x="77" y="169"/>
                    </a:lnTo>
                    <a:lnTo>
                      <a:pt x="78" y="169"/>
                    </a:lnTo>
                    <a:lnTo>
                      <a:pt x="80" y="169"/>
                    </a:lnTo>
                    <a:lnTo>
                      <a:pt x="80" y="167"/>
                    </a:lnTo>
                    <a:lnTo>
                      <a:pt x="80" y="165"/>
                    </a:lnTo>
                    <a:lnTo>
                      <a:pt x="82" y="165"/>
                    </a:lnTo>
                    <a:lnTo>
                      <a:pt x="84" y="165"/>
                    </a:lnTo>
                    <a:lnTo>
                      <a:pt x="82" y="164"/>
                    </a:lnTo>
                    <a:lnTo>
                      <a:pt x="84" y="164"/>
                    </a:lnTo>
                    <a:lnTo>
                      <a:pt x="84" y="162"/>
                    </a:lnTo>
                    <a:lnTo>
                      <a:pt x="82" y="162"/>
                    </a:lnTo>
                    <a:lnTo>
                      <a:pt x="84" y="162"/>
                    </a:lnTo>
                    <a:lnTo>
                      <a:pt x="84" y="160"/>
                    </a:lnTo>
                    <a:lnTo>
                      <a:pt x="84" y="159"/>
                    </a:lnTo>
                    <a:lnTo>
                      <a:pt x="85" y="157"/>
                    </a:lnTo>
                    <a:lnTo>
                      <a:pt x="87" y="157"/>
                    </a:lnTo>
                    <a:lnTo>
                      <a:pt x="89" y="157"/>
                    </a:lnTo>
                    <a:lnTo>
                      <a:pt x="90" y="155"/>
                    </a:lnTo>
                    <a:lnTo>
                      <a:pt x="90" y="153"/>
                    </a:lnTo>
                    <a:lnTo>
                      <a:pt x="92" y="152"/>
                    </a:lnTo>
                    <a:lnTo>
                      <a:pt x="92" y="150"/>
                    </a:lnTo>
                    <a:lnTo>
                      <a:pt x="94" y="150"/>
                    </a:lnTo>
                    <a:lnTo>
                      <a:pt x="92" y="148"/>
                    </a:lnTo>
                    <a:lnTo>
                      <a:pt x="92" y="147"/>
                    </a:lnTo>
                    <a:lnTo>
                      <a:pt x="92" y="145"/>
                    </a:lnTo>
                    <a:lnTo>
                      <a:pt x="94" y="143"/>
                    </a:lnTo>
                    <a:lnTo>
                      <a:pt x="92" y="143"/>
                    </a:lnTo>
                    <a:lnTo>
                      <a:pt x="92" y="141"/>
                    </a:lnTo>
                    <a:lnTo>
                      <a:pt x="94" y="141"/>
                    </a:lnTo>
                    <a:lnTo>
                      <a:pt x="94" y="140"/>
                    </a:lnTo>
                    <a:lnTo>
                      <a:pt x="94" y="138"/>
                    </a:lnTo>
                    <a:lnTo>
                      <a:pt x="95" y="138"/>
                    </a:lnTo>
                    <a:lnTo>
                      <a:pt x="95" y="136"/>
                    </a:lnTo>
                    <a:lnTo>
                      <a:pt x="94" y="136"/>
                    </a:lnTo>
                    <a:lnTo>
                      <a:pt x="94" y="135"/>
                    </a:lnTo>
                    <a:lnTo>
                      <a:pt x="95" y="135"/>
                    </a:lnTo>
                    <a:lnTo>
                      <a:pt x="95" y="133"/>
                    </a:lnTo>
                    <a:lnTo>
                      <a:pt x="97" y="133"/>
                    </a:lnTo>
                    <a:lnTo>
                      <a:pt x="97" y="131"/>
                    </a:lnTo>
                    <a:lnTo>
                      <a:pt x="97" y="130"/>
                    </a:lnTo>
                    <a:lnTo>
                      <a:pt x="99" y="130"/>
                    </a:lnTo>
                    <a:lnTo>
                      <a:pt x="99" y="128"/>
                    </a:lnTo>
                    <a:lnTo>
                      <a:pt x="99" y="126"/>
                    </a:lnTo>
                    <a:lnTo>
                      <a:pt x="99" y="124"/>
                    </a:lnTo>
                    <a:lnTo>
                      <a:pt x="101" y="124"/>
                    </a:lnTo>
                    <a:lnTo>
                      <a:pt x="101" y="123"/>
                    </a:lnTo>
                    <a:lnTo>
                      <a:pt x="99" y="123"/>
                    </a:lnTo>
                    <a:lnTo>
                      <a:pt x="101" y="123"/>
                    </a:lnTo>
                    <a:lnTo>
                      <a:pt x="101" y="121"/>
                    </a:lnTo>
                    <a:lnTo>
                      <a:pt x="101" y="119"/>
                    </a:lnTo>
                    <a:lnTo>
                      <a:pt x="101" y="118"/>
                    </a:lnTo>
                    <a:lnTo>
                      <a:pt x="101" y="116"/>
                    </a:lnTo>
                    <a:lnTo>
                      <a:pt x="102" y="116"/>
                    </a:lnTo>
                    <a:lnTo>
                      <a:pt x="101" y="114"/>
                    </a:lnTo>
                    <a:lnTo>
                      <a:pt x="102" y="114"/>
                    </a:lnTo>
                    <a:lnTo>
                      <a:pt x="101" y="114"/>
                    </a:lnTo>
                    <a:lnTo>
                      <a:pt x="102" y="114"/>
                    </a:lnTo>
                    <a:lnTo>
                      <a:pt x="104" y="114"/>
                    </a:lnTo>
                    <a:lnTo>
                      <a:pt x="106" y="114"/>
                    </a:lnTo>
                    <a:lnTo>
                      <a:pt x="106" y="116"/>
                    </a:lnTo>
                    <a:lnTo>
                      <a:pt x="106" y="118"/>
                    </a:lnTo>
                    <a:lnTo>
                      <a:pt x="107" y="118"/>
                    </a:lnTo>
                    <a:lnTo>
                      <a:pt x="109" y="118"/>
                    </a:lnTo>
                    <a:lnTo>
                      <a:pt x="109" y="116"/>
                    </a:lnTo>
                    <a:lnTo>
                      <a:pt x="107" y="116"/>
                    </a:lnTo>
                    <a:lnTo>
                      <a:pt x="107" y="114"/>
                    </a:lnTo>
                    <a:lnTo>
                      <a:pt x="107" y="113"/>
                    </a:lnTo>
                    <a:lnTo>
                      <a:pt x="109" y="113"/>
                    </a:lnTo>
                    <a:lnTo>
                      <a:pt x="109" y="111"/>
                    </a:lnTo>
                    <a:lnTo>
                      <a:pt x="111" y="109"/>
                    </a:lnTo>
                    <a:lnTo>
                      <a:pt x="111" y="107"/>
                    </a:lnTo>
                    <a:lnTo>
                      <a:pt x="112" y="107"/>
                    </a:lnTo>
                    <a:lnTo>
                      <a:pt x="112" y="106"/>
                    </a:lnTo>
                    <a:lnTo>
                      <a:pt x="114" y="106"/>
                    </a:lnTo>
                    <a:lnTo>
                      <a:pt x="114" y="104"/>
                    </a:lnTo>
                    <a:lnTo>
                      <a:pt x="116" y="104"/>
                    </a:lnTo>
                    <a:lnTo>
                      <a:pt x="119" y="101"/>
                    </a:lnTo>
                    <a:lnTo>
                      <a:pt x="123" y="99"/>
                    </a:lnTo>
                    <a:lnTo>
                      <a:pt x="128" y="99"/>
                    </a:lnTo>
                    <a:lnTo>
                      <a:pt x="141" y="94"/>
                    </a:lnTo>
                    <a:lnTo>
                      <a:pt x="153" y="89"/>
                    </a:lnTo>
                    <a:lnTo>
                      <a:pt x="155" y="89"/>
                    </a:lnTo>
                    <a:lnTo>
                      <a:pt x="157" y="89"/>
                    </a:lnTo>
                    <a:lnTo>
                      <a:pt x="158" y="87"/>
                    </a:lnTo>
                    <a:lnTo>
                      <a:pt x="160" y="87"/>
                    </a:lnTo>
                    <a:lnTo>
                      <a:pt x="162" y="85"/>
                    </a:lnTo>
                    <a:lnTo>
                      <a:pt x="163" y="85"/>
                    </a:lnTo>
                    <a:lnTo>
                      <a:pt x="165" y="82"/>
                    </a:lnTo>
                    <a:lnTo>
                      <a:pt x="167" y="80"/>
                    </a:lnTo>
                    <a:lnTo>
                      <a:pt x="170" y="79"/>
                    </a:lnTo>
                    <a:lnTo>
                      <a:pt x="175" y="75"/>
                    </a:lnTo>
                    <a:lnTo>
                      <a:pt x="179" y="73"/>
                    </a:lnTo>
                    <a:lnTo>
                      <a:pt x="179" y="72"/>
                    </a:lnTo>
                    <a:lnTo>
                      <a:pt x="180" y="70"/>
                    </a:lnTo>
                    <a:lnTo>
                      <a:pt x="184" y="65"/>
                    </a:lnTo>
                    <a:lnTo>
                      <a:pt x="187" y="62"/>
                    </a:lnTo>
                    <a:lnTo>
                      <a:pt x="187" y="60"/>
                    </a:lnTo>
                    <a:lnTo>
                      <a:pt x="191" y="58"/>
                    </a:lnTo>
                    <a:lnTo>
                      <a:pt x="192" y="55"/>
                    </a:lnTo>
                    <a:lnTo>
                      <a:pt x="194" y="53"/>
                    </a:lnTo>
                    <a:lnTo>
                      <a:pt x="194" y="51"/>
                    </a:lnTo>
                    <a:lnTo>
                      <a:pt x="196" y="53"/>
                    </a:lnTo>
                    <a:lnTo>
                      <a:pt x="196" y="51"/>
                    </a:lnTo>
                    <a:lnTo>
                      <a:pt x="196" y="50"/>
                    </a:lnTo>
                    <a:lnTo>
                      <a:pt x="197" y="48"/>
                    </a:lnTo>
                    <a:lnTo>
                      <a:pt x="199" y="41"/>
                    </a:lnTo>
                    <a:lnTo>
                      <a:pt x="199" y="39"/>
                    </a:lnTo>
                    <a:lnTo>
                      <a:pt x="201" y="33"/>
                    </a:lnTo>
                    <a:lnTo>
                      <a:pt x="201" y="31"/>
                    </a:lnTo>
                    <a:lnTo>
                      <a:pt x="203" y="31"/>
                    </a:lnTo>
                    <a:lnTo>
                      <a:pt x="203" y="33"/>
                    </a:lnTo>
                    <a:lnTo>
                      <a:pt x="204" y="33"/>
                    </a:lnTo>
                    <a:lnTo>
                      <a:pt x="206" y="33"/>
                    </a:lnTo>
                    <a:lnTo>
                      <a:pt x="208" y="33"/>
                    </a:lnTo>
                    <a:lnTo>
                      <a:pt x="206" y="31"/>
                    </a:lnTo>
                    <a:lnTo>
                      <a:pt x="208" y="31"/>
                    </a:lnTo>
                    <a:lnTo>
                      <a:pt x="208" y="29"/>
                    </a:lnTo>
                    <a:lnTo>
                      <a:pt x="206" y="29"/>
                    </a:lnTo>
                    <a:lnTo>
                      <a:pt x="206" y="28"/>
                    </a:lnTo>
                    <a:lnTo>
                      <a:pt x="206" y="26"/>
                    </a:lnTo>
                    <a:lnTo>
                      <a:pt x="206" y="24"/>
                    </a:lnTo>
                    <a:lnTo>
                      <a:pt x="206" y="22"/>
                    </a:lnTo>
                    <a:lnTo>
                      <a:pt x="206" y="21"/>
                    </a:lnTo>
                    <a:lnTo>
                      <a:pt x="206" y="22"/>
                    </a:lnTo>
                    <a:lnTo>
                      <a:pt x="206" y="21"/>
                    </a:lnTo>
                    <a:lnTo>
                      <a:pt x="206" y="22"/>
                    </a:lnTo>
                    <a:lnTo>
                      <a:pt x="208" y="21"/>
                    </a:lnTo>
                    <a:lnTo>
                      <a:pt x="206" y="21"/>
                    </a:lnTo>
                    <a:lnTo>
                      <a:pt x="206" y="19"/>
                    </a:lnTo>
                    <a:lnTo>
                      <a:pt x="208" y="19"/>
                    </a:lnTo>
                    <a:lnTo>
                      <a:pt x="206" y="19"/>
                    </a:lnTo>
                    <a:lnTo>
                      <a:pt x="206" y="17"/>
                    </a:lnTo>
                    <a:lnTo>
                      <a:pt x="204" y="17"/>
                    </a:lnTo>
                    <a:lnTo>
                      <a:pt x="204" y="16"/>
                    </a:lnTo>
                    <a:lnTo>
                      <a:pt x="203" y="16"/>
                    </a:lnTo>
                    <a:lnTo>
                      <a:pt x="201" y="14"/>
                    </a:lnTo>
                    <a:lnTo>
                      <a:pt x="201" y="12"/>
                    </a:lnTo>
                    <a:lnTo>
                      <a:pt x="199" y="12"/>
                    </a:lnTo>
                    <a:lnTo>
                      <a:pt x="199" y="11"/>
                    </a:lnTo>
                    <a:lnTo>
                      <a:pt x="199" y="9"/>
                    </a:lnTo>
                    <a:lnTo>
                      <a:pt x="197" y="9"/>
                    </a:lnTo>
                    <a:lnTo>
                      <a:pt x="199" y="9"/>
                    </a:lnTo>
                    <a:lnTo>
                      <a:pt x="197" y="7"/>
                    </a:lnTo>
                    <a:lnTo>
                      <a:pt x="196" y="7"/>
                    </a:lnTo>
                    <a:lnTo>
                      <a:pt x="196" y="5"/>
                    </a:lnTo>
                    <a:lnTo>
                      <a:pt x="194" y="5"/>
                    </a:lnTo>
                    <a:lnTo>
                      <a:pt x="194" y="4"/>
                    </a:lnTo>
                    <a:lnTo>
                      <a:pt x="196" y="4"/>
                    </a:lnTo>
                    <a:lnTo>
                      <a:pt x="197" y="4"/>
                    </a:lnTo>
                    <a:lnTo>
                      <a:pt x="199" y="4"/>
                    </a:lnTo>
                    <a:lnTo>
                      <a:pt x="199" y="5"/>
                    </a:lnTo>
                    <a:lnTo>
                      <a:pt x="201" y="5"/>
                    </a:lnTo>
                    <a:lnTo>
                      <a:pt x="203" y="5"/>
                    </a:lnTo>
                    <a:lnTo>
                      <a:pt x="204" y="5"/>
                    </a:lnTo>
                    <a:lnTo>
                      <a:pt x="206" y="4"/>
                    </a:lnTo>
                    <a:lnTo>
                      <a:pt x="208" y="2"/>
                    </a:lnTo>
                    <a:lnTo>
                      <a:pt x="208" y="0"/>
                    </a:lnTo>
                    <a:lnTo>
                      <a:pt x="208" y="2"/>
                    </a:lnTo>
                    <a:lnTo>
                      <a:pt x="209" y="2"/>
                    </a:lnTo>
                    <a:lnTo>
                      <a:pt x="211" y="2"/>
                    </a:lnTo>
                    <a:lnTo>
                      <a:pt x="213" y="4"/>
                    </a:lnTo>
                    <a:lnTo>
                      <a:pt x="214" y="5"/>
                    </a:lnTo>
                    <a:lnTo>
                      <a:pt x="216" y="5"/>
                    </a:lnTo>
                    <a:lnTo>
                      <a:pt x="216" y="7"/>
                    </a:lnTo>
                    <a:lnTo>
                      <a:pt x="218" y="7"/>
                    </a:lnTo>
                    <a:lnTo>
                      <a:pt x="218" y="9"/>
                    </a:lnTo>
                    <a:lnTo>
                      <a:pt x="220" y="7"/>
                    </a:lnTo>
                    <a:lnTo>
                      <a:pt x="221" y="7"/>
                    </a:lnTo>
                    <a:lnTo>
                      <a:pt x="221" y="5"/>
                    </a:lnTo>
                    <a:lnTo>
                      <a:pt x="221" y="7"/>
                    </a:lnTo>
                    <a:lnTo>
                      <a:pt x="223" y="7"/>
                    </a:lnTo>
                    <a:lnTo>
                      <a:pt x="223" y="9"/>
                    </a:lnTo>
                    <a:lnTo>
                      <a:pt x="223" y="11"/>
                    </a:lnTo>
                    <a:lnTo>
                      <a:pt x="223" y="12"/>
                    </a:lnTo>
                    <a:lnTo>
                      <a:pt x="225" y="12"/>
                    </a:lnTo>
                    <a:lnTo>
                      <a:pt x="225" y="11"/>
                    </a:lnTo>
                    <a:lnTo>
                      <a:pt x="225" y="12"/>
                    </a:lnTo>
                    <a:lnTo>
                      <a:pt x="226" y="12"/>
                    </a:lnTo>
                    <a:lnTo>
                      <a:pt x="228" y="12"/>
                    </a:lnTo>
                    <a:lnTo>
                      <a:pt x="230" y="14"/>
                    </a:lnTo>
                    <a:lnTo>
                      <a:pt x="230" y="16"/>
                    </a:lnTo>
                    <a:lnTo>
                      <a:pt x="231" y="16"/>
                    </a:lnTo>
                    <a:lnTo>
                      <a:pt x="233" y="16"/>
                    </a:lnTo>
                    <a:lnTo>
                      <a:pt x="233" y="17"/>
                    </a:lnTo>
                    <a:lnTo>
                      <a:pt x="235" y="17"/>
                    </a:lnTo>
                    <a:lnTo>
                      <a:pt x="233" y="17"/>
                    </a:lnTo>
                    <a:lnTo>
                      <a:pt x="233" y="19"/>
                    </a:lnTo>
                    <a:lnTo>
                      <a:pt x="235" y="19"/>
                    </a:lnTo>
                    <a:lnTo>
                      <a:pt x="235" y="17"/>
                    </a:lnTo>
                    <a:lnTo>
                      <a:pt x="235" y="19"/>
                    </a:lnTo>
                    <a:lnTo>
                      <a:pt x="235" y="21"/>
                    </a:lnTo>
                    <a:lnTo>
                      <a:pt x="237" y="21"/>
                    </a:lnTo>
                    <a:lnTo>
                      <a:pt x="235" y="22"/>
                    </a:lnTo>
                    <a:lnTo>
                      <a:pt x="237" y="22"/>
                    </a:lnTo>
                    <a:lnTo>
                      <a:pt x="237" y="24"/>
                    </a:lnTo>
                    <a:lnTo>
                      <a:pt x="235" y="24"/>
                    </a:lnTo>
                    <a:lnTo>
                      <a:pt x="237" y="24"/>
                    </a:lnTo>
                    <a:lnTo>
                      <a:pt x="237" y="26"/>
                    </a:lnTo>
                    <a:lnTo>
                      <a:pt x="238" y="26"/>
                    </a:lnTo>
                    <a:lnTo>
                      <a:pt x="238" y="28"/>
                    </a:lnTo>
                    <a:lnTo>
                      <a:pt x="240" y="28"/>
                    </a:lnTo>
                    <a:lnTo>
                      <a:pt x="238" y="29"/>
                    </a:lnTo>
                    <a:lnTo>
                      <a:pt x="240" y="29"/>
                    </a:lnTo>
                    <a:lnTo>
                      <a:pt x="238" y="29"/>
                    </a:lnTo>
                    <a:lnTo>
                      <a:pt x="238" y="31"/>
                    </a:lnTo>
                    <a:lnTo>
                      <a:pt x="238" y="29"/>
                    </a:lnTo>
                    <a:lnTo>
                      <a:pt x="238" y="31"/>
                    </a:lnTo>
                    <a:lnTo>
                      <a:pt x="240" y="31"/>
                    </a:lnTo>
                    <a:lnTo>
                      <a:pt x="240" y="33"/>
                    </a:lnTo>
                    <a:lnTo>
                      <a:pt x="238" y="33"/>
                    </a:lnTo>
                    <a:lnTo>
                      <a:pt x="240" y="33"/>
                    </a:lnTo>
                    <a:lnTo>
                      <a:pt x="240" y="34"/>
                    </a:lnTo>
                    <a:lnTo>
                      <a:pt x="242" y="34"/>
                    </a:lnTo>
                    <a:lnTo>
                      <a:pt x="243" y="34"/>
                    </a:lnTo>
                    <a:lnTo>
                      <a:pt x="245" y="34"/>
                    </a:lnTo>
                    <a:lnTo>
                      <a:pt x="245" y="36"/>
                    </a:lnTo>
                    <a:lnTo>
                      <a:pt x="247" y="36"/>
                    </a:lnTo>
                    <a:lnTo>
                      <a:pt x="247" y="34"/>
                    </a:lnTo>
                    <a:lnTo>
                      <a:pt x="248" y="34"/>
                    </a:lnTo>
                    <a:lnTo>
                      <a:pt x="247" y="34"/>
                    </a:lnTo>
                    <a:lnTo>
                      <a:pt x="247" y="36"/>
                    </a:lnTo>
                    <a:lnTo>
                      <a:pt x="248" y="36"/>
                    </a:lnTo>
                    <a:lnTo>
                      <a:pt x="248" y="38"/>
                    </a:lnTo>
                    <a:lnTo>
                      <a:pt x="248" y="36"/>
                    </a:lnTo>
                    <a:lnTo>
                      <a:pt x="250" y="36"/>
                    </a:lnTo>
                    <a:lnTo>
                      <a:pt x="250" y="38"/>
                    </a:lnTo>
                    <a:lnTo>
                      <a:pt x="252" y="38"/>
                    </a:lnTo>
                    <a:lnTo>
                      <a:pt x="252" y="39"/>
                    </a:lnTo>
                    <a:lnTo>
                      <a:pt x="252" y="41"/>
                    </a:lnTo>
                    <a:lnTo>
                      <a:pt x="254" y="41"/>
                    </a:lnTo>
                    <a:lnTo>
                      <a:pt x="255" y="43"/>
                    </a:lnTo>
                    <a:lnTo>
                      <a:pt x="255" y="41"/>
                    </a:lnTo>
                    <a:lnTo>
                      <a:pt x="255" y="43"/>
                    </a:lnTo>
                    <a:lnTo>
                      <a:pt x="257" y="43"/>
                    </a:lnTo>
                    <a:lnTo>
                      <a:pt x="257" y="41"/>
                    </a:lnTo>
                    <a:lnTo>
                      <a:pt x="259" y="43"/>
                    </a:lnTo>
                    <a:lnTo>
                      <a:pt x="259" y="41"/>
                    </a:lnTo>
                    <a:lnTo>
                      <a:pt x="260" y="43"/>
                    </a:lnTo>
                    <a:lnTo>
                      <a:pt x="262" y="45"/>
                    </a:lnTo>
                    <a:lnTo>
                      <a:pt x="262" y="46"/>
                    </a:lnTo>
                    <a:lnTo>
                      <a:pt x="264" y="46"/>
                    </a:lnTo>
                    <a:lnTo>
                      <a:pt x="264" y="48"/>
                    </a:lnTo>
                    <a:lnTo>
                      <a:pt x="262" y="48"/>
                    </a:lnTo>
                    <a:lnTo>
                      <a:pt x="264" y="48"/>
                    </a:lnTo>
                    <a:lnTo>
                      <a:pt x="264" y="50"/>
                    </a:lnTo>
                    <a:lnTo>
                      <a:pt x="265" y="50"/>
                    </a:lnTo>
                    <a:lnTo>
                      <a:pt x="265" y="51"/>
                    </a:lnTo>
                    <a:lnTo>
                      <a:pt x="265" y="53"/>
                    </a:lnTo>
                    <a:lnTo>
                      <a:pt x="267" y="53"/>
                    </a:lnTo>
                    <a:lnTo>
                      <a:pt x="265" y="53"/>
                    </a:lnTo>
                    <a:lnTo>
                      <a:pt x="265" y="55"/>
                    </a:lnTo>
                    <a:lnTo>
                      <a:pt x="265" y="56"/>
                    </a:lnTo>
                    <a:lnTo>
                      <a:pt x="264" y="56"/>
                    </a:lnTo>
                    <a:lnTo>
                      <a:pt x="264" y="58"/>
                    </a:lnTo>
                    <a:lnTo>
                      <a:pt x="265" y="58"/>
                    </a:lnTo>
                    <a:lnTo>
                      <a:pt x="267" y="58"/>
                    </a:lnTo>
                    <a:lnTo>
                      <a:pt x="267" y="60"/>
                    </a:lnTo>
                    <a:lnTo>
                      <a:pt x="269" y="60"/>
                    </a:lnTo>
                    <a:lnTo>
                      <a:pt x="271" y="60"/>
                    </a:lnTo>
                    <a:lnTo>
                      <a:pt x="271" y="62"/>
                    </a:lnTo>
                    <a:lnTo>
                      <a:pt x="272" y="62"/>
                    </a:lnTo>
                    <a:lnTo>
                      <a:pt x="272" y="60"/>
                    </a:lnTo>
                    <a:lnTo>
                      <a:pt x="274" y="60"/>
                    </a:lnTo>
                    <a:lnTo>
                      <a:pt x="274" y="62"/>
                    </a:lnTo>
                    <a:lnTo>
                      <a:pt x="274" y="60"/>
                    </a:lnTo>
                    <a:lnTo>
                      <a:pt x="274" y="58"/>
                    </a:lnTo>
                    <a:lnTo>
                      <a:pt x="276" y="60"/>
                    </a:lnTo>
                    <a:lnTo>
                      <a:pt x="277" y="62"/>
                    </a:lnTo>
                    <a:lnTo>
                      <a:pt x="277" y="63"/>
                    </a:lnTo>
                    <a:lnTo>
                      <a:pt x="279" y="63"/>
                    </a:lnTo>
                    <a:lnTo>
                      <a:pt x="277" y="65"/>
                    </a:lnTo>
                    <a:lnTo>
                      <a:pt x="277" y="67"/>
                    </a:lnTo>
                    <a:lnTo>
                      <a:pt x="277" y="68"/>
                    </a:lnTo>
                    <a:lnTo>
                      <a:pt x="279" y="68"/>
                    </a:lnTo>
                    <a:lnTo>
                      <a:pt x="279" y="70"/>
                    </a:lnTo>
                    <a:lnTo>
                      <a:pt x="279" y="72"/>
                    </a:lnTo>
                    <a:lnTo>
                      <a:pt x="277" y="72"/>
                    </a:lnTo>
                    <a:lnTo>
                      <a:pt x="277" y="73"/>
                    </a:lnTo>
                    <a:lnTo>
                      <a:pt x="276" y="73"/>
                    </a:lnTo>
                    <a:lnTo>
                      <a:pt x="276" y="75"/>
                    </a:lnTo>
                    <a:lnTo>
                      <a:pt x="277" y="77"/>
                    </a:lnTo>
                    <a:lnTo>
                      <a:pt x="277" y="79"/>
                    </a:lnTo>
                    <a:lnTo>
                      <a:pt x="279" y="79"/>
                    </a:lnTo>
                    <a:lnTo>
                      <a:pt x="279" y="80"/>
                    </a:lnTo>
                    <a:lnTo>
                      <a:pt x="281" y="79"/>
                    </a:lnTo>
                    <a:lnTo>
                      <a:pt x="282" y="80"/>
                    </a:lnTo>
                    <a:lnTo>
                      <a:pt x="282" y="79"/>
                    </a:lnTo>
                    <a:lnTo>
                      <a:pt x="282" y="80"/>
                    </a:lnTo>
                    <a:lnTo>
                      <a:pt x="284" y="80"/>
                    </a:lnTo>
                    <a:lnTo>
                      <a:pt x="284" y="82"/>
                    </a:lnTo>
                    <a:lnTo>
                      <a:pt x="286" y="82"/>
                    </a:lnTo>
                    <a:lnTo>
                      <a:pt x="288" y="82"/>
                    </a:lnTo>
                    <a:lnTo>
                      <a:pt x="289" y="82"/>
                    </a:lnTo>
                    <a:lnTo>
                      <a:pt x="289" y="80"/>
                    </a:lnTo>
                    <a:lnTo>
                      <a:pt x="291" y="80"/>
                    </a:lnTo>
                    <a:lnTo>
                      <a:pt x="291" y="82"/>
                    </a:lnTo>
                    <a:lnTo>
                      <a:pt x="291" y="80"/>
                    </a:lnTo>
                    <a:lnTo>
                      <a:pt x="293" y="82"/>
                    </a:lnTo>
                    <a:lnTo>
                      <a:pt x="294" y="82"/>
                    </a:lnTo>
                    <a:lnTo>
                      <a:pt x="294" y="80"/>
                    </a:lnTo>
                    <a:lnTo>
                      <a:pt x="296" y="80"/>
                    </a:lnTo>
                    <a:lnTo>
                      <a:pt x="298" y="80"/>
                    </a:lnTo>
                    <a:lnTo>
                      <a:pt x="298" y="82"/>
                    </a:lnTo>
                    <a:lnTo>
                      <a:pt x="299" y="82"/>
                    </a:lnTo>
                    <a:lnTo>
                      <a:pt x="301" y="82"/>
                    </a:lnTo>
                    <a:lnTo>
                      <a:pt x="303" y="82"/>
                    </a:lnTo>
                    <a:lnTo>
                      <a:pt x="303" y="84"/>
                    </a:lnTo>
                    <a:lnTo>
                      <a:pt x="305" y="84"/>
                    </a:lnTo>
                    <a:lnTo>
                      <a:pt x="306" y="84"/>
                    </a:lnTo>
                    <a:lnTo>
                      <a:pt x="306" y="82"/>
                    </a:lnTo>
                    <a:lnTo>
                      <a:pt x="306" y="84"/>
                    </a:lnTo>
                    <a:lnTo>
                      <a:pt x="306" y="82"/>
                    </a:lnTo>
                    <a:lnTo>
                      <a:pt x="308" y="82"/>
                    </a:lnTo>
                    <a:lnTo>
                      <a:pt x="310" y="82"/>
                    </a:lnTo>
                    <a:lnTo>
                      <a:pt x="310" y="84"/>
                    </a:lnTo>
                    <a:lnTo>
                      <a:pt x="311" y="84"/>
                    </a:lnTo>
                    <a:lnTo>
                      <a:pt x="311" y="82"/>
                    </a:lnTo>
                    <a:lnTo>
                      <a:pt x="311" y="80"/>
                    </a:lnTo>
                    <a:lnTo>
                      <a:pt x="313" y="80"/>
                    </a:lnTo>
                    <a:lnTo>
                      <a:pt x="313" y="79"/>
                    </a:lnTo>
                    <a:lnTo>
                      <a:pt x="315" y="79"/>
                    </a:lnTo>
                    <a:lnTo>
                      <a:pt x="315" y="80"/>
                    </a:lnTo>
                    <a:lnTo>
                      <a:pt x="316" y="80"/>
                    </a:lnTo>
                    <a:lnTo>
                      <a:pt x="318" y="80"/>
                    </a:lnTo>
                    <a:lnTo>
                      <a:pt x="318" y="79"/>
                    </a:lnTo>
                    <a:lnTo>
                      <a:pt x="320" y="79"/>
                    </a:lnTo>
                    <a:lnTo>
                      <a:pt x="320" y="77"/>
                    </a:lnTo>
                    <a:lnTo>
                      <a:pt x="320" y="75"/>
                    </a:lnTo>
                    <a:lnTo>
                      <a:pt x="322" y="75"/>
                    </a:lnTo>
                    <a:lnTo>
                      <a:pt x="322" y="73"/>
                    </a:lnTo>
                    <a:lnTo>
                      <a:pt x="322" y="75"/>
                    </a:lnTo>
                    <a:lnTo>
                      <a:pt x="323" y="73"/>
                    </a:lnTo>
                    <a:lnTo>
                      <a:pt x="325" y="72"/>
                    </a:lnTo>
                    <a:lnTo>
                      <a:pt x="325" y="73"/>
                    </a:lnTo>
                    <a:lnTo>
                      <a:pt x="325" y="75"/>
                    </a:lnTo>
                    <a:lnTo>
                      <a:pt x="327" y="75"/>
                    </a:lnTo>
                    <a:lnTo>
                      <a:pt x="327" y="73"/>
                    </a:lnTo>
                    <a:lnTo>
                      <a:pt x="328" y="73"/>
                    </a:lnTo>
                    <a:lnTo>
                      <a:pt x="328" y="75"/>
                    </a:lnTo>
                    <a:lnTo>
                      <a:pt x="330" y="75"/>
                    </a:lnTo>
                    <a:lnTo>
                      <a:pt x="332" y="75"/>
                    </a:lnTo>
                    <a:lnTo>
                      <a:pt x="332" y="77"/>
                    </a:lnTo>
                    <a:lnTo>
                      <a:pt x="332" y="79"/>
                    </a:lnTo>
                    <a:lnTo>
                      <a:pt x="333" y="79"/>
                    </a:lnTo>
                    <a:lnTo>
                      <a:pt x="333" y="77"/>
                    </a:lnTo>
                    <a:lnTo>
                      <a:pt x="335" y="77"/>
                    </a:lnTo>
                    <a:lnTo>
                      <a:pt x="335" y="79"/>
                    </a:lnTo>
                    <a:lnTo>
                      <a:pt x="337" y="79"/>
                    </a:lnTo>
                    <a:lnTo>
                      <a:pt x="337" y="80"/>
                    </a:lnTo>
                    <a:lnTo>
                      <a:pt x="335" y="80"/>
                    </a:lnTo>
                    <a:lnTo>
                      <a:pt x="337" y="82"/>
                    </a:lnTo>
                    <a:lnTo>
                      <a:pt x="337" y="80"/>
                    </a:lnTo>
                    <a:lnTo>
                      <a:pt x="339" y="80"/>
                    </a:lnTo>
                    <a:lnTo>
                      <a:pt x="339" y="79"/>
                    </a:lnTo>
                    <a:lnTo>
                      <a:pt x="340" y="79"/>
                    </a:lnTo>
                    <a:lnTo>
                      <a:pt x="340" y="80"/>
                    </a:lnTo>
                    <a:lnTo>
                      <a:pt x="340" y="79"/>
                    </a:lnTo>
                    <a:lnTo>
                      <a:pt x="342" y="79"/>
                    </a:lnTo>
                    <a:lnTo>
                      <a:pt x="342" y="80"/>
                    </a:lnTo>
                    <a:lnTo>
                      <a:pt x="344" y="80"/>
                    </a:lnTo>
                    <a:lnTo>
                      <a:pt x="344" y="79"/>
                    </a:lnTo>
                    <a:lnTo>
                      <a:pt x="345" y="79"/>
                    </a:lnTo>
                    <a:lnTo>
                      <a:pt x="345" y="77"/>
                    </a:lnTo>
                    <a:lnTo>
                      <a:pt x="347" y="77"/>
                    </a:lnTo>
                    <a:lnTo>
                      <a:pt x="349" y="77"/>
                    </a:lnTo>
                    <a:lnTo>
                      <a:pt x="350" y="77"/>
                    </a:lnTo>
                    <a:lnTo>
                      <a:pt x="349" y="77"/>
                    </a:lnTo>
                    <a:lnTo>
                      <a:pt x="349" y="75"/>
                    </a:lnTo>
                    <a:lnTo>
                      <a:pt x="350" y="75"/>
                    </a:lnTo>
                    <a:lnTo>
                      <a:pt x="352" y="75"/>
                    </a:lnTo>
                    <a:lnTo>
                      <a:pt x="354" y="75"/>
                    </a:lnTo>
                    <a:lnTo>
                      <a:pt x="354" y="77"/>
                    </a:lnTo>
                    <a:lnTo>
                      <a:pt x="356" y="77"/>
                    </a:lnTo>
                    <a:lnTo>
                      <a:pt x="357" y="77"/>
                    </a:lnTo>
                    <a:lnTo>
                      <a:pt x="357" y="79"/>
                    </a:lnTo>
                    <a:lnTo>
                      <a:pt x="359" y="79"/>
                    </a:lnTo>
                    <a:lnTo>
                      <a:pt x="361" y="79"/>
                    </a:lnTo>
                    <a:lnTo>
                      <a:pt x="361" y="80"/>
                    </a:lnTo>
                    <a:lnTo>
                      <a:pt x="361" y="82"/>
                    </a:lnTo>
                    <a:lnTo>
                      <a:pt x="362" y="80"/>
                    </a:lnTo>
                    <a:lnTo>
                      <a:pt x="362" y="82"/>
                    </a:lnTo>
                    <a:lnTo>
                      <a:pt x="362" y="84"/>
                    </a:lnTo>
                    <a:lnTo>
                      <a:pt x="364" y="84"/>
                    </a:lnTo>
                    <a:lnTo>
                      <a:pt x="364" y="82"/>
                    </a:lnTo>
                    <a:lnTo>
                      <a:pt x="366" y="82"/>
                    </a:lnTo>
                    <a:lnTo>
                      <a:pt x="366" y="84"/>
                    </a:lnTo>
                    <a:lnTo>
                      <a:pt x="367" y="84"/>
                    </a:lnTo>
                    <a:lnTo>
                      <a:pt x="367" y="82"/>
                    </a:lnTo>
                    <a:lnTo>
                      <a:pt x="367" y="84"/>
                    </a:lnTo>
                    <a:lnTo>
                      <a:pt x="367" y="85"/>
                    </a:lnTo>
                    <a:lnTo>
                      <a:pt x="369" y="85"/>
                    </a:lnTo>
                    <a:lnTo>
                      <a:pt x="371" y="84"/>
                    </a:lnTo>
                    <a:lnTo>
                      <a:pt x="373" y="84"/>
                    </a:lnTo>
                    <a:lnTo>
                      <a:pt x="373" y="85"/>
                    </a:lnTo>
                    <a:lnTo>
                      <a:pt x="371" y="85"/>
                    </a:lnTo>
                    <a:lnTo>
                      <a:pt x="371" y="87"/>
                    </a:lnTo>
                    <a:lnTo>
                      <a:pt x="373" y="87"/>
                    </a:lnTo>
                    <a:lnTo>
                      <a:pt x="374" y="85"/>
                    </a:lnTo>
                    <a:lnTo>
                      <a:pt x="376" y="87"/>
                    </a:lnTo>
                    <a:lnTo>
                      <a:pt x="376" y="89"/>
                    </a:lnTo>
                    <a:lnTo>
                      <a:pt x="376" y="90"/>
                    </a:lnTo>
                    <a:lnTo>
                      <a:pt x="376" y="89"/>
                    </a:lnTo>
                    <a:lnTo>
                      <a:pt x="378" y="89"/>
                    </a:lnTo>
                    <a:lnTo>
                      <a:pt x="378" y="90"/>
                    </a:lnTo>
                    <a:lnTo>
                      <a:pt x="379" y="90"/>
                    </a:lnTo>
                    <a:lnTo>
                      <a:pt x="381" y="89"/>
                    </a:lnTo>
                    <a:lnTo>
                      <a:pt x="381" y="90"/>
                    </a:lnTo>
                    <a:lnTo>
                      <a:pt x="381" y="92"/>
                    </a:lnTo>
                    <a:lnTo>
                      <a:pt x="381" y="94"/>
                    </a:lnTo>
                    <a:lnTo>
                      <a:pt x="379" y="97"/>
                    </a:lnTo>
                    <a:lnTo>
                      <a:pt x="378" y="99"/>
                    </a:lnTo>
                    <a:lnTo>
                      <a:pt x="374" y="104"/>
                    </a:lnTo>
                    <a:lnTo>
                      <a:pt x="373" y="106"/>
                    </a:lnTo>
                    <a:lnTo>
                      <a:pt x="373" y="107"/>
                    </a:lnTo>
                    <a:lnTo>
                      <a:pt x="371" y="109"/>
                    </a:lnTo>
                    <a:lnTo>
                      <a:pt x="369" y="113"/>
                    </a:lnTo>
                    <a:lnTo>
                      <a:pt x="367" y="116"/>
                    </a:lnTo>
                    <a:lnTo>
                      <a:pt x="366" y="116"/>
                    </a:lnTo>
                    <a:lnTo>
                      <a:pt x="364" y="119"/>
                    </a:lnTo>
                    <a:lnTo>
                      <a:pt x="362" y="124"/>
                    </a:lnTo>
                    <a:lnTo>
                      <a:pt x="361" y="124"/>
                    </a:lnTo>
                    <a:lnTo>
                      <a:pt x="359" y="128"/>
                    </a:lnTo>
                    <a:lnTo>
                      <a:pt x="361" y="128"/>
                    </a:lnTo>
                    <a:lnTo>
                      <a:pt x="361" y="130"/>
                    </a:lnTo>
                    <a:lnTo>
                      <a:pt x="362" y="130"/>
                    </a:lnTo>
                    <a:lnTo>
                      <a:pt x="364" y="130"/>
                    </a:lnTo>
                    <a:lnTo>
                      <a:pt x="366" y="131"/>
                    </a:lnTo>
                    <a:lnTo>
                      <a:pt x="367" y="131"/>
                    </a:lnTo>
                    <a:lnTo>
                      <a:pt x="367" y="130"/>
                    </a:lnTo>
                    <a:lnTo>
                      <a:pt x="369" y="130"/>
                    </a:lnTo>
                    <a:lnTo>
                      <a:pt x="371" y="130"/>
                    </a:lnTo>
                    <a:lnTo>
                      <a:pt x="371" y="128"/>
                    </a:lnTo>
                    <a:lnTo>
                      <a:pt x="373" y="128"/>
                    </a:lnTo>
                    <a:lnTo>
                      <a:pt x="373" y="130"/>
                    </a:lnTo>
                    <a:lnTo>
                      <a:pt x="374" y="130"/>
                    </a:lnTo>
                    <a:lnTo>
                      <a:pt x="374" y="131"/>
                    </a:lnTo>
                    <a:lnTo>
                      <a:pt x="376" y="131"/>
                    </a:lnTo>
                    <a:lnTo>
                      <a:pt x="376" y="133"/>
                    </a:lnTo>
                    <a:lnTo>
                      <a:pt x="378" y="133"/>
                    </a:lnTo>
                    <a:lnTo>
                      <a:pt x="378" y="135"/>
                    </a:lnTo>
                    <a:lnTo>
                      <a:pt x="378" y="136"/>
                    </a:lnTo>
                    <a:lnTo>
                      <a:pt x="379" y="136"/>
                    </a:lnTo>
                    <a:lnTo>
                      <a:pt x="381" y="138"/>
                    </a:lnTo>
                    <a:lnTo>
                      <a:pt x="381" y="140"/>
                    </a:lnTo>
                    <a:lnTo>
                      <a:pt x="383" y="140"/>
                    </a:lnTo>
                    <a:lnTo>
                      <a:pt x="383" y="141"/>
                    </a:lnTo>
                    <a:lnTo>
                      <a:pt x="384" y="141"/>
                    </a:lnTo>
                    <a:lnTo>
                      <a:pt x="384" y="143"/>
                    </a:lnTo>
                    <a:close/>
                    <a:moveTo>
                      <a:pt x="138" y="410"/>
                    </a:moveTo>
                    <a:lnTo>
                      <a:pt x="141" y="410"/>
                    </a:lnTo>
                    <a:lnTo>
                      <a:pt x="141" y="412"/>
                    </a:lnTo>
                    <a:lnTo>
                      <a:pt x="138" y="412"/>
                    </a:lnTo>
                    <a:lnTo>
                      <a:pt x="138" y="410"/>
                    </a:lnTo>
                    <a:close/>
                    <a:moveTo>
                      <a:pt x="16" y="216"/>
                    </a:moveTo>
                    <a:lnTo>
                      <a:pt x="17" y="216"/>
                    </a:lnTo>
                    <a:lnTo>
                      <a:pt x="17" y="220"/>
                    </a:lnTo>
                    <a:lnTo>
                      <a:pt x="16" y="220"/>
                    </a:lnTo>
                    <a:lnTo>
                      <a:pt x="16" y="216"/>
                    </a:lnTo>
                    <a:close/>
                    <a:moveTo>
                      <a:pt x="174" y="487"/>
                    </a:moveTo>
                    <a:lnTo>
                      <a:pt x="175" y="487"/>
                    </a:lnTo>
                    <a:lnTo>
                      <a:pt x="175" y="489"/>
                    </a:lnTo>
                    <a:lnTo>
                      <a:pt x="174" y="489"/>
                    </a:lnTo>
                    <a:lnTo>
                      <a:pt x="174" y="487"/>
                    </a:lnTo>
                    <a:close/>
                    <a:moveTo>
                      <a:pt x="165" y="472"/>
                    </a:moveTo>
                    <a:lnTo>
                      <a:pt x="167" y="472"/>
                    </a:lnTo>
                    <a:lnTo>
                      <a:pt x="167" y="473"/>
                    </a:lnTo>
                    <a:lnTo>
                      <a:pt x="165" y="473"/>
                    </a:lnTo>
                    <a:lnTo>
                      <a:pt x="165" y="472"/>
                    </a:lnTo>
                    <a:close/>
                    <a:moveTo>
                      <a:pt x="36" y="116"/>
                    </a:moveTo>
                    <a:lnTo>
                      <a:pt x="38" y="116"/>
                    </a:lnTo>
                    <a:lnTo>
                      <a:pt x="36" y="116"/>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4" name="Freeform 52">
                <a:extLst>
                  <a:ext uri="{FF2B5EF4-FFF2-40B4-BE49-F238E27FC236}">
                    <a16:creationId xmlns:a16="http://schemas.microsoft.com/office/drawing/2014/main" id="{1B66D035-6CE8-AE7C-64FF-C9A61FD464A2}"/>
                  </a:ext>
                </a:extLst>
              </p:cNvPr>
              <p:cNvSpPr>
                <a:spLocks noEditPoints="1"/>
              </p:cNvSpPr>
              <p:nvPr/>
            </p:nvSpPr>
            <p:spPr bwMode="auto">
              <a:xfrm>
                <a:off x="5769041" y="2812899"/>
                <a:ext cx="3526" cy="8224"/>
              </a:xfrm>
              <a:custGeom>
                <a:avLst/>
                <a:gdLst>
                  <a:gd name="T0" fmla="*/ 10 w 12"/>
                  <a:gd name="T1" fmla="*/ 0 h 28"/>
                  <a:gd name="T2" fmla="*/ 12 w 12"/>
                  <a:gd name="T3" fmla="*/ 2 h 28"/>
                  <a:gd name="T4" fmla="*/ 12 w 12"/>
                  <a:gd name="T5" fmla="*/ 4 h 28"/>
                  <a:gd name="T6" fmla="*/ 12 w 12"/>
                  <a:gd name="T7" fmla="*/ 6 h 28"/>
                  <a:gd name="T8" fmla="*/ 10 w 12"/>
                  <a:gd name="T9" fmla="*/ 6 h 28"/>
                  <a:gd name="T10" fmla="*/ 10 w 12"/>
                  <a:gd name="T11" fmla="*/ 7 h 28"/>
                  <a:gd name="T12" fmla="*/ 10 w 12"/>
                  <a:gd name="T13" fmla="*/ 9 h 28"/>
                  <a:gd name="T14" fmla="*/ 8 w 12"/>
                  <a:gd name="T15" fmla="*/ 9 h 28"/>
                  <a:gd name="T16" fmla="*/ 7 w 12"/>
                  <a:gd name="T17" fmla="*/ 9 h 28"/>
                  <a:gd name="T18" fmla="*/ 7 w 12"/>
                  <a:gd name="T19" fmla="*/ 7 h 28"/>
                  <a:gd name="T20" fmla="*/ 5 w 12"/>
                  <a:gd name="T21" fmla="*/ 6 h 28"/>
                  <a:gd name="T22" fmla="*/ 5 w 12"/>
                  <a:gd name="T23" fmla="*/ 4 h 28"/>
                  <a:gd name="T24" fmla="*/ 7 w 12"/>
                  <a:gd name="T25" fmla="*/ 4 h 28"/>
                  <a:gd name="T26" fmla="*/ 7 w 12"/>
                  <a:gd name="T27" fmla="*/ 2 h 28"/>
                  <a:gd name="T28" fmla="*/ 8 w 12"/>
                  <a:gd name="T29" fmla="*/ 0 h 28"/>
                  <a:gd name="T30" fmla="*/ 10 w 12"/>
                  <a:gd name="T31" fmla="*/ 0 h 28"/>
                  <a:gd name="T32" fmla="*/ 5 w 12"/>
                  <a:gd name="T33" fmla="*/ 11 h 28"/>
                  <a:gd name="T34" fmla="*/ 8 w 12"/>
                  <a:gd name="T35" fmla="*/ 11 h 28"/>
                  <a:gd name="T36" fmla="*/ 8 w 12"/>
                  <a:gd name="T37" fmla="*/ 14 h 28"/>
                  <a:gd name="T38" fmla="*/ 5 w 12"/>
                  <a:gd name="T39" fmla="*/ 14 h 28"/>
                  <a:gd name="T40" fmla="*/ 5 w 12"/>
                  <a:gd name="T41" fmla="*/ 11 h 28"/>
                  <a:gd name="T42" fmla="*/ 0 w 12"/>
                  <a:gd name="T43" fmla="*/ 26 h 28"/>
                  <a:gd name="T44" fmla="*/ 1 w 12"/>
                  <a:gd name="T45" fmla="*/ 26 h 28"/>
                  <a:gd name="T46" fmla="*/ 1 w 12"/>
                  <a:gd name="T47" fmla="*/ 28 h 28"/>
                  <a:gd name="T48" fmla="*/ 0 w 12"/>
                  <a:gd name="T49" fmla="*/ 28 h 28"/>
                  <a:gd name="T50" fmla="*/ 0 w 12"/>
                  <a:gd name="T51" fmla="*/ 26 h 28"/>
                  <a:gd name="T52" fmla="*/ 3 w 12"/>
                  <a:gd name="T53" fmla="*/ 23 h 28"/>
                  <a:gd name="T54" fmla="*/ 5 w 12"/>
                  <a:gd name="T55" fmla="*/ 23 h 28"/>
                  <a:gd name="T56" fmla="*/ 5 w 12"/>
                  <a:gd name="T57" fmla="*/ 24 h 28"/>
                  <a:gd name="T58" fmla="*/ 3 w 12"/>
                  <a:gd name="T59" fmla="*/ 24 h 28"/>
                  <a:gd name="T60" fmla="*/ 3 w 12"/>
                  <a:gd name="T61" fmla="*/ 23 h 28"/>
                  <a:gd name="T62" fmla="*/ 8 w 12"/>
                  <a:gd name="T63" fmla="*/ 17 h 28"/>
                  <a:gd name="T64" fmla="*/ 10 w 12"/>
                  <a:gd name="T65" fmla="*/ 17 h 28"/>
                  <a:gd name="T66" fmla="*/ 8 w 12"/>
                  <a:gd name="T67" fmla="*/ 17 h 28"/>
                  <a:gd name="T68" fmla="*/ 1 w 12"/>
                  <a:gd name="T69" fmla="*/ 24 h 28"/>
                  <a:gd name="T70" fmla="*/ 1 w 12"/>
                  <a:gd name="T71" fmla="*/ 26 h 28"/>
                  <a:gd name="T72" fmla="*/ 1 w 12"/>
                  <a:gd name="T73" fmla="*/ 24 h 28"/>
                  <a:gd name="T74" fmla="*/ 10 w 12"/>
                  <a:gd name="T75" fmla="*/ 14 h 28"/>
                  <a:gd name="T76" fmla="*/ 10 w 12"/>
                  <a:gd name="T77" fmla="*/ 16 h 28"/>
                  <a:gd name="T78" fmla="*/ 10 w 12"/>
                  <a:gd name="T79"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 h="28">
                    <a:moveTo>
                      <a:pt x="10" y="0"/>
                    </a:moveTo>
                    <a:lnTo>
                      <a:pt x="12" y="2"/>
                    </a:lnTo>
                    <a:lnTo>
                      <a:pt x="12" y="4"/>
                    </a:lnTo>
                    <a:lnTo>
                      <a:pt x="12" y="6"/>
                    </a:lnTo>
                    <a:lnTo>
                      <a:pt x="10" y="6"/>
                    </a:lnTo>
                    <a:lnTo>
                      <a:pt x="10" y="7"/>
                    </a:lnTo>
                    <a:lnTo>
                      <a:pt x="10" y="9"/>
                    </a:lnTo>
                    <a:lnTo>
                      <a:pt x="8" y="9"/>
                    </a:lnTo>
                    <a:lnTo>
                      <a:pt x="7" y="9"/>
                    </a:lnTo>
                    <a:lnTo>
                      <a:pt x="7" y="7"/>
                    </a:lnTo>
                    <a:lnTo>
                      <a:pt x="5" y="6"/>
                    </a:lnTo>
                    <a:lnTo>
                      <a:pt x="5" y="4"/>
                    </a:lnTo>
                    <a:lnTo>
                      <a:pt x="7" y="4"/>
                    </a:lnTo>
                    <a:lnTo>
                      <a:pt x="7" y="2"/>
                    </a:lnTo>
                    <a:lnTo>
                      <a:pt x="8" y="0"/>
                    </a:lnTo>
                    <a:lnTo>
                      <a:pt x="10" y="0"/>
                    </a:lnTo>
                    <a:close/>
                    <a:moveTo>
                      <a:pt x="5" y="11"/>
                    </a:moveTo>
                    <a:lnTo>
                      <a:pt x="8" y="11"/>
                    </a:lnTo>
                    <a:lnTo>
                      <a:pt x="8" y="14"/>
                    </a:lnTo>
                    <a:lnTo>
                      <a:pt x="5" y="14"/>
                    </a:lnTo>
                    <a:lnTo>
                      <a:pt x="5" y="11"/>
                    </a:lnTo>
                    <a:close/>
                    <a:moveTo>
                      <a:pt x="0" y="26"/>
                    </a:moveTo>
                    <a:lnTo>
                      <a:pt x="1" y="26"/>
                    </a:lnTo>
                    <a:lnTo>
                      <a:pt x="1" y="28"/>
                    </a:lnTo>
                    <a:lnTo>
                      <a:pt x="0" y="28"/>
                    </a:lnTo>
                    <a:lnTo>
                      <a:pt x="0" y="26"/>
                    </a:lnTo>
                    <a:close/>
                    <a:moveTo>
                      <a:pt x="3" y="23"/>
                    </a:moveTo>
                    <a:lnTo>
                      <a:pt x="5" y="23"/>
                    </a:lnTo>
                    <a:lnTo>
                      <a:pt x="5" y="24"/>
                    </a:lnTo>
                    <a:lnTo>
                      <a:pt x="3" y="24"/>
                    </a:lnTo>
                    <a:lnTo>
                      <a:pt x="3" y="23"/>
                    </a:lnTo>
                    <a:close/>
                    <a:moveTo>
                      <a:pt x="8" y="17"/>
                    </a:moveTo>
                    <a:lnTo>
                      <a:pt x="10" y="17"/>
                    </a:lnTo>
                    <a:lnTo>
                      <a:pt x="8" y="17"/>
                    </a:lnTo>
                    <a:close/>
                    <a:moveTo>
                      <a:pt x="1" y="24"/>
                    </a:moveTo>
                    <a:lnTo>
                      <a:pt x="1" y="26"/>
                    </a:lnTo>
                    <a:lnTo>
                      <a:pt x="1" y="24"/>
                    </a:lnTo>
                    <a:close/>
                    <a:moveTo>
                      <a:pt x="10" y="14"/>
                    </a:moveTo>
                    <a:lnTo>
                      <a:pt x="10" y="16"/>
                    </a:lnTo>
                    <a:lnTo>
                      <a:pt x="10" y="1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6" name="Freeform 54">
                <a:extLst>
                  <a:ext uri="{FF2B5EF4-FFF2-40B4-BE49-F238E27FC236}">
                    <a16:creationId xmlns:a16="http://schemas.microsoft.com/office/drawing/2014/main" id="{8890AFAC-519C-3C24-CD06-1EC964D53C98}"/>
                  </a:ext>
                </a:extLst>
              </p:cNvPr>
              <p:cNvSpPr>
                <a:spLocks noEditPoints="1"/>
              </p:cNvSpPr>
              <p:nvPr/>
            </p:nvSpPr>
            <p:spPr bwMode="auto">
              <a:xfrm>
                <a:off x="5802525" y="2886916"/>
                <a:ext cx="40239" cy="41415"/>
              </a:xfrm>
              <a:custGeom>
                <a:avLst/>
                <a:gdLst>
                  <a:gd name="T0" fmla="*/ 134 w 137"/>
                  <a:gd name="T1" fmla="*/ 19 h 141"/>
                  <a:gd name="T2" fmla="*/ 127 w 137"/>
                  <a:gd name="T3" fmla="*/ 27 h 141"/>
                  <a:gd name="T4" fmla="*/ 120 w 137"/>
                  <a:gd name="T5" fmla="*/ 38 h 141"/>
                  <a:gd name="T6" fmla="*/ 124 w 137"/>
                  <a:gd name="T7" fmla="*/ 50 h 141"/>
                  <a:gd name="T8" fmla="*/ 124 w 137"/>
                  <a:gd name="T9" fmla="*/ 60 h 141"/>
                  <a:gd name="T10" fmla="*/ 125 w 137"/>
                  <a:gd name="T11" fmla="*/ 68 h 141"/>
                  <a:gd name="T12" fmla="*/ 132 w 137"/>
                  <a:gd name="T13" fmla="*/ 75 h 141"/>
                  <a:gd name="T14" fmla="*/ 137 w 137"/>
                  <a:gd name="T15" fmla="*/ 80 h 141"/>
                  <a:gd name="T16" fmla="*/ 136 w 137"/>
                  <a:gd name="T17" fmla="*/ 92 h 141"/>
                  <a:gd name="T18" fmla="*/ 131 w 137"/>
                  <a:gd name="T19" fmla="*/ 97 h 141"/>
                  <a:gd name="T20" fmla="*/ 131 w 137"/>
                  <a:gd name="T21" fmla="*/ 106 h 141"/>
                  <a:gd name="T22" fmla="*/ 127 w 137"/>
                  <a:gd name="T23" fmla="*/ 116 h 141"/>
                  <a:gd name="T24" fmla="*/ 120 w 137"/>
                  <a:gd name="T25" fmla="*/ 123 h 141"/>
                  <a:gd name="T26" fmla="*/ 117 w 137"/>
                  <a:gd name="T27" fmla="*/ 126 h 141"/>
                  <a:gd name="T28" fmla="*/ 108 w 137"/>
                  <a:gd name="T29" fmla="*/ 121 h 141"/>
                  <a:gd name="T30" fmla="*/ 102 w 137"/>
                  <a:gd name="T31" fmla="*/ 118 h 141"/>
                  <a:gd name="T32" fmla="*/ 93 w 137"/>
                  <a:gd name="T33" fmla="*/ 119 h 141"/>
                  <a:gd name="T34" fmla="*/ 85 w 137"/>
                  <a:gd name="T35" fmla="*/ 121 h 141"/>
                  <a:gd name="T36" fmla="*/ 78 w 137"/>
                  <a:gd name="T37" fmla="*/ 121 h 141"/>
                  <a:gd name="T38" fmla="*/ 69 w 137"/>
                  <a:gd name="T39" fmla="*/ 119 h 141"/>
                  <a:gd name="T40" fmla="*/ 66 w 137"/>
                  <a:gd name="T41" fmla="*/ 124 h 141"/>
                  <a:gd name="T42" fmla="*/ 71 w 137"/>
                  <a:gd name="T43" fmla="*/ 131 h 141"/>
                  <a:gd name="T44" fmla="*/ 71 w 137"/>
                  <a:gd name="T45" fmla="*/ 141 h 141"/>
                  <a:gd name="T46" fmla="*/ 59 w 137"/>
                  <a:gd name="T47" fmla="*/ 138 h 141"/>
                  <a:gd name="T48" fmla="*/ 51 w 137"/>
                  <a:gd name="T49" fmla="*/ 136 h 141"/>
                  <a:gd name="T50" fmla="*/ 44 w 137"/>
                  <a:gd name="T51" fmla="*/ 129 h 141"/>
                  <a:gd name="T52" fmla="*/ 37 w 137"/>
                  <a:gd name="T53" fmla="*/ 121 h 141"/>
                  <a:gd name="T54" fmla="*/ 34 w 137"/>
                  <a:gd name="T55" fmla="*/ 114 h 141"/>
                  <a:gd name="T56" fmla="*/ 29 w 137"/>
                  <a:gd name="T57" fmla="*/ 107 h 141"/>
                  <a:gd name="T58" fmla="*/ 30 w 137"/>
                  <a:gd name="T59" fmla="*/ 102 h 141"/>
                  <a:gd name="T60" fmla="*/ 27 w 137"/>
                  <a:gd name="T61" fmla="*/ 99 h 141"/>
                  <a:gd name="T62" fmla="*/ 27 w 137"/>
                  <a:gd name="T63" fmla="*/ 90 h 141"/>
                  <a:gd name="T64" fmla="*/ 22 w 137"/>
                  <a:gd name="T65" fmla="*/ 90 h 141"/>
                  <a:gd name="T66" fmla="*/ 13 w 137"/>
                  <a:gd name="T67" fmla="*/ 85 h 141"/>
                  <a:gd name="T68" fmla="*/ 8 w 137"/>
                  <a:gd name="T69" fmla="*/ 80 h 141"/>
                  <a:gd name="T70" fmla="*/ 3 w 137"/>
                  <a:gd name="T71" fmla="*/ 72 h 141"/>
                  <a:gd name="T72" fmla="*/ 1 w 137"/>
                  <a:gd name="T73" fmla="*/ 61 h 141"/>
                  <a:gd name="T74" fmla="*/ 5 w 137"/>
                  <a:gd name="T75" fmla="*/ 55 h 141"/>
                  <a:gd name="T76" fmla="*/ 8 w 137"/>
                  <a:gd name="T77" fmla="*/ 44 h 141"/>
                  <a:gd name="T78" fmla="*/ 8 w 137"/>
                  <a:gd name="T79" fmla="*/ 38 h 141"/>
                  <a:gd name="T80" fmla="*/ 17 w 137"/>
                  <a:gd name="T81" fmla="*/ 34 h 141"/>
                  <a:gd name="T82" fmla="*/ 25 w 137"/>
                  <a:gd name="T83" fmla="*/ 34 h 141"/>
                  <a:gd name="T84" fmla="*/ 29 w 137"/>
                  <a:gd name="T85" fmla="*/ 31 h 141"/>
                  <a:gd name="T86" fmla="*/ 27 w 137"/>
                  <a:gd name="T87" fmla="*/ 26 h 141"/>
                  <a:gd name="T88" fmla="*/ 29 w 137"/>
                  <a:gd name="T89" fmla="*/ 15 h 141"/>
                  <a:gd name="T90" fmla="*/ 34 w 137"/>
                  <a:gd name="T91" fmla="*/ 4 h 141"/>
                  <a:gd name="T92" fmla="*/ 42 w 137"/>
                  <a:gd name="T93" fmla="*/ 2 h 141"/>
                  <a:gd name="T94" fmla="*/ 54 w 137"/>
                  <a:gd name="T95" fmla="*/ 4 h 141"/>
                  <a:gd name="T96" fmla="*/ 66 w 137"/>
                  <a:gd name="T97" fmla="*/ 7 h 141"/>
                  <a:gd name="T98" fmla="*/ 73 w 137"/>
                  <a:gd name="T99" fmla="*/ 2 h 141"/>
                  <a:gd name="T100" fmla="*/ 86 w 137"/>
                  <a:gd name="T101" fmla="*/ 2 h 141"/>
                  <a:gd name="T102" fmla="*/ 98 w 137"/>
                  <a:gd name="T103" fmla="*/ 4 h 141"/>
                  <a:gd name="T104" fmla="*/ 100 w 137"/>
                  <a:gd name="T105" fmla="*/ 2 h 141"/>
                  <a:gd name="T106" fmla="*/ 112 w 137"/>
                  <a:gd name="T107" fmla="*/ 2 h 141"/>
                  <a:gd name="T108" fmla="*/ 124 w 137"/>
                  <a:gd name="T109" fmla="*/ 4 h 141"/>
                  <a:gd name="T110" fmla="*/ 136 w 137"/>
                  <a:gd name="T111" fmla="*/ 5 h 141"/>
                  <a:gd name="T112" fmla="*/ 34 w 137"/>
                  <a:gd name="T113" fmla="*/ 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7" h="141">
                    <a:moveTo>
                      <a:pt x="137" y="10"/>
                    </a:moveTo>
                    <a:lnTo>
                      <a:pt x="137" y="12"/>
                    </a:lnTo>
                    <a:lnTo>
                      <a:pt x="137" y="14"/>
                    </a:lnTo>
                    <a:lnTo>
                      <a:pt x="137" y="15"/>
                    </a:lnTo>
                    <a:lnTo>
                      <a:pt x="137" y="17"/>
                    </a:lnTo>
                    <a:lnTo>
                      <a:pt x="136" y="17"/>
                    </a:lnTo>
                    <a:lnTo>
                      <a:pt x="136" y="19"/>
                    </a:lnTo>
                    <a:lnTo>
                      <a:pt x="134" y="19"/>
                    </a:lnTo>
                    <a:lnTo>
                      <a:pt x="134" y="21"/>
                    </a:lnTo>
                    <a:lnTo>
                      <a:pt x="132" y="21"/>
                    </a:lnTo>
                    <a:lnTo>
                      <a:pt x="132" y="22"/>
                    </a:lnTo>
                    <a:lnTo>
                      <a:pt x="131" y="24"/>
                    </a:lnTo>
                    <a:lnTo>
                      <a:pt x="129" y="24"/>
                    </a:lnTo>
                    <a:lnTo>
                      <a:pt x="129" y="26"/>
                    </a:lnTo>
                    <a:lnTo>
                      <a:pt x="127" y="26"/>
                    </a:lnTo>
                    <a:lnTo>
                      <a:pt x="127" y="27"/>
                    </a:lnTo>
                    <a:lnTo>
                      <a:pt x="125" y="29"/>
                    </a:lnTo>
                    <a:lnTo>
                      <a:pt x="125" y="31"/>
                    </a:lnTo>
                    <a:lnTo>
                      <a:pt x="124" y="31"/>
                    </a:lnTo>
                    <a:lnTo>
                      <a:pt x="124" y="32"/>
                    </a:lnTo>
                    <a:lnTo>
                      <a:pt x="122" y="34"/>
                    </a:lnTo>
                    <a:lnTo>
                      <a:pt x="122" y="36"/>
                    </a:lnTo>
                    <a:lnTo>
                      <a:pt x="122" y="38"/>
                    </a:lnTo>
                    <a:lnTo>
                      <a:pt x="120" y="38"/>
                    </a:lnTo>
                    <a:lnTo>
                      <a:pt x="122" y="39"/>
                    </a:lnTo>
                    <a:lnTo>
                      <a:pt x="122" y="41"/>
                    </a:lnTo>
                    <a:lnTo>
                      <a:pt x="122" y="43"/>
                    </a:lnTo>
                    <a:lnTo>
                      <a:pt x="122" y="44"/>
                    </a:lnTo>
                    <a:lnTo>
                      <a:pt x="122" y="46"/>
                    </a:lnTo>
                    <a:lnTo>
                      <a:pt x="122" y="48"/>
                    </a:lnTo>
                    <a:lnTo>
                      <a:pt x="124" y="48"/>
                    </a:lnTo>
                    <a:lnTo>
                      <a:pt x="124" y="50"/>
                    </a:lnTo>
                    <a:lnTo>
                      <a:pt x="122" y="50"/>
                    </a:lnTo>
                    <a:lnTo>
                      <a:pt x="122" y="51"/>
                    </a:lnTo>
                    <a:lnTo>
                      <a:pt x="122" y="53"/>
                    </a:lnTo>
                    <a:lnTo>
                      <a:pt x="122" y="55"/>
                    </a:lnTo>
                    <a:lnTo>
                      <a:pt x="122" y="56"/>
                    </a:lnTo>
                    <a:lnTo>
                      <a:pt x="124" y="56"/>
                    </a:lnTo>
                    <a:lnTo>
                      <a:pt x="124" y="58"/>
                    </a:lnTo>
                    <a:lnTo>
                      <a:pt x="124" y="60"/>
                    </a:lnTo>
                    <a:lnTo>
                      <a:pt x="124" y="61"/>
                    </a:lnTo>
                    <a:lnTo>
                      <a:pt x="124" y="63"/>
                    </a:lnTo>
                    <a:lnTo>
                      <a:pt x="125" y="63"/>
                    </a:lnTo>
                    <a:lnTo>
                      <a:pt x="127" y="63"/>
                    </a:lnTo>
                    <a:lnTo>
                      <a:pt x="127" y="65"/>
                    </a:lnTo>
                    <a:lnTo>
                      <a:pt x="125" y="65"/>
                    </a:lnTo>
                    <a:lnTo>
                      <a:pt x="125" y="67"/>
                    </a:lnTo>
                    <a:lnTo>
                      <a:pt x="125" y="68"/>
                    </a:lnTo>
                    <a:lnTo>
                      <a:pt x="127" y="68"/>
                    </a:lnTo>
                    <a:lnTo>
                      <a:pt x="127" y="70"/>
                    </a:lnTo>
                    <a:lnTo>
                      <a:pt x="127" y="72"/>
                    </a:lnTo>
                    <a:lnTo>
                      <a:pt x="129" y="72"/>
                    </a:lnTo>
                    <a:lnTo>
                      <a:pt x="129" y="73"/>
                    </a:lnTo>
                    <a:lnTo>
                      <a:pt x="131" y="73"/>
                    </a:lnTo>
                    <a:lnTo>
                      <a:pt x="131" y="75"/>
                    </a:lnTo>
                    <a:lnTo>
                      <a:pt x="132" y="75"/>
                    </a:lnTo>
                    <a:lnTo>
                      <a:pt x="134" y="75"/>
                    </a:lnTo>
                    <a:lnTo>
                      <a:pt x="134" y="77"/>
                    </a:lnTo>
                    <a:lnTo>
                      <a:pt x="134" y="78"/>
                    </a:lnTo>
                    <a:lnTo>
                      <a:pt x="134" y="80"/>
                    </a:lnTo>
                    <a:lnTo>
                      <a:pt x="136" y="80"/>
                    </a:lnTo>
                    <a:lnTo>
                      <a:pt x="136" y="82"/>
                    </a:lnTo>
                    <a:lnTo>
                      <a:pt x="136" y="80"/>
                    </a:lnTo>
                    <a:lnTo>
                      <a:pt x="137" y="80"/>
                    </a:lnTo>
                    <a:lnTo>
                      <a:pt x="137" y="82"/>
                    </a:lnTo>
                    <a:lnTo>
                      <a:pt x="137" y="84"/>
                    </a:lnTo>
                    <a:lnTo>
                      <a:pt x="137" y="85"/>
                    </a:lnTo>
                    <a:lnTo>
                      <a:pt x="137" y="87"/>
                    </a:lnTo>
                    <a:lnTo>
                      <a:pt x="137" y="89"/>
                    </a:lnTo>
                    <a:lnTo>
                      <a:pt x="136" y="89"/>
                    </a:lnTo>
                    <a:lnTo>
                      <a:pt x="136" y="90"/>
                    </a:lnTo>
                    <a:lnTo>
                      <a:pt x="136" y="92"/>
                    </a:lnTo>
                    <a:lnTo>
                      <a:pt x="134" y="92"/>
                    </a:lnTo>
                    <a:lnTo>
                      <a:pt x="132" y="92"/>
                    </a:lnTo>
                    <a:lnTo>
                      <a:pt x="132" y="94"/>
                    </a:lnTo>
                    <a:lnTo>
                      <a:pt x="132" y="95"/>
                    </a:lnTo>
                    <a:lnTo>
                      <a:pt x="131" y="95"/>
                    </a:lnTo>
                    <a:lnTo>
                      <a:pt x="131" y="97"/>
                    </a:lnTo>
                    <a:lnTo>
                      <a:pt x="131" y="99"/>
                    </a:lnTo>
                    <a:lnTo>
                      <a:pt x="131" y="97"/>
                    </a:lnTo>
                    <a:lnTo>
                      <a:pt x="131" y="99"/>
                    </a:lnTo>
                    <a:lnTo>
                      <a:pt x="131" y="101"/>
                    </a:lnTo>
                    <a:lnTo>
                      <a:pt x="131" y="102"/>
                    </a:lnTo>
                    <a:lnTo>
                      <a:pt x="132" y="102"/>
                    </a:lnTo>
                    <a:lnTo>
                      <a:pt x="131" y="102"/>
                    </a:lnTo>
                    <a:lnTo>
                      <a:pt x="132" y="104"/>
                    </a:lnTo>
                    <a:lnTo>
                      <a:pt x="131" y="104"/>
                    </a:lnTo>
                    <a:lnTo>
                      <a:pt x="131" y="106"/>
                    </a:lnTo>
                    <a:lnTo>
                      <a:pt x="131" y="107"/>
                    </a:lnTo>
                    <a:lnTo>
                      <a:pt x="131" y="109"/>
                    </a:lnTo>
                    <a:lnTo>
                      <a:pt x="131" y="111"/>
                    </a:lnTo>
                    <a:lnTo>
                      <a:pt x="129" y="111"/>
                    </a:lnTo>
                    <a:lnTo>
                      <a:pt x="129" y="112"/>
                    </a:lnTo>
                    <a:lnTo>
                      <a:pt x="127" y="112"/>
                    </a:lnTo>
                    <a:lnTo>
                      <a:pt x="127" y="114"/>
                    </a:lnTo>
                    <a:lnTo>
                      <a:pt x="127" y="116"/>
                    </a:lnTo>
                    <a:lnTo>
                      <a:pt x="125" y="116"/>
                    </a:lnTo>
                    <a:lnTo>
                      <a:pt x="125" y="118"/>
                    </a:lnTo>
                    <a:lnTo>
                      <a:pt x="125" y="119"/>
                    </a:lnTo>
                    <a:lnTo>
                      <a:pt x="124" y="119"/>
                    </a:lnTo>
                    <a:lnTo>
                      <a:pt x="124" y="121"/>
                    </a:lnTo>
                    <a:lnTo>
                      <a:pt x="122" y="121"/>
                    </a:lnTo>
                    <a:lnTo>
                      <a:pt x="122" y="123"/>
                    </a:lnTo>
                    <a:lnTo>
                      <a:pt x="120" y="123"/>
                    </a:lnTo>
                    <a:lnTo>
                      <a:pt x="120" y="124"/>
                    </a:lnTo>
                    <a:lnTo>
                      <a:pt x="120" y="126"/>
                    </a:lnTo>
                    <a:lnTo>
                      <a:pt x="120" y="124"/>
                    </a:lnTo>
                    <a:lnTo>
                      <a:pt x="119" y="126"/>
                    </a:lnTo>
                    <a:lnTo>
                      <a:pt x="120" y="126"/>
                    </a:lnTo>
                    <a:lnTo>
                      <a:pt x="119" y="128"/>
                    </a:lnTo>
                    <a:lnTo>
                      <a:pt x="119" y="126"/>
                    </a:lnTo>
                    <a:lnTo>
                      <a:pt x="117" y="126"/>
                    </a:lnTo>
                    <a:lnTo>
                      <a:pt x="117" y="124"/>
                    </a:lnTo>
                    <a:lnTo>
                      <a:pt x="115" y="124"/>
                    </a:lnTo>
                    <a:lnTo>
                      <a:pt x="114" y="124"/>
                    </a:lnTo>
                    <a:lnTo>
                      <a:pt x="114" y="123"/>
                    </a:lnTo>
                    <a:lnTo>
                      <a:pt x="114" y="121"/>
                    </a:lnTo>
                    <a:lnTo>
                      <a:pt x="112" y="121"/>
                    </a:lnTo>
                    <a:lnTo>
                      <a:pt x="110" y="121"/>
                    </a:lnTo>
                    <a:lnTo>
                      <a:pt x="108" y="121"/>
                    </a:lnTo>
                    <a:lnTo>
                      <a:pt x="107" y="121"/>
                    </a:lnTo>
                    <a:lnTo>
                      <a:pt x="107" y="119"/>
                    </a:lnTo>
                    <a:lnTo>
                      <a:pt x="105" y="119"/>
                    </a:lnTo>
                    <a:lnTo>
                      <a:pt x="105" y="118"/>
                    </a:lnTo>
                    <a:lnTo>
                      <a:pt x="105" y="116"/>
                    </a:lnTo>
                    <a:lnTo>
                      <a:pt x="103" y="116"/>
                    </a:lnTo>
                    <a:lnTo>
                      <a:pt x="103" y="118"/>
                    </a:lnTo>
                    <a:lnTo>
                      <a:pt x="102" y="118"/>
                    </a:lnTo>
                    <a:lnTo>
                      <a:pt x="100" y="118"/>
                    </a:lnTo>
                    <a:lnTo>
                      <a:pt x="100" y="119"/>
                    </a:lnTo>
                    <a:lnTo>
                      <a:pt x="100" y="118"/>
                    </a:lnTo>
                    <a:lnTo>
                      <a:pt x="98" y="118"/>
                    </a:lnTo>
                    <a:lnTo>
                      <a:pt x="97" y="118"/>
                    </a:lnTo>
                    <a:lnTo>
                      <a:pt x="97" y="119"/>
                    </a:lnTo>
                    <a:lnTo>
                      <a:pt x="95" y="119"/>
                    </a:lnTo>
                    <a:lnTo>
                      <a:pt x="93" y="119"/>
                    </a:lnTo>
                    <a:lnTo>
                      <a:pt x="91" y="119"/>
                    </a:lnTo>
                    <a:lnTo>
                      <a:pt x="91" y="121"/>
                    </a:lnTo>
                    <a:lnTo>
                      <a:pt x="91" y="123"/>
                    </a:lnTo>
                    <a:lnTo>
                      <a:pt x="90" y="123"/>
                    </a:lnTo>
                    <a:lnTo>
                      <a:pt x="90" y="121"/>
                    </a:lnTo>
                    <a:lnTo>
                      <a:pt x="88" y="121"/>
                    </a:lnTo>
                    <a:lnTo>
                      <a:pt x="86" y="121"/>
                    </a:lnTo>
                    <a:lnTo>
                      <a:pt x="85" y="121"/>
                    </a:lnTo>
                    <a:lnTo>
                      <a:pt x="85" y="123"/>
                    </a:lnTo>
                    <a:lnTo>
                      <a:pt x="85" y="121"/>
                    </a:lnTo>
                    <a:lnTo>
                      <a:pt x="83" y="121"/>
                    </a:lnTo>
                    <a:lnTo>
                      <a:pt x="83" y="123"/>
                    </a:lnTo>
                    <a:lnTo>
                      <a:pt x="81" y="123"/>
                    </a:lnTo>
                    <a:lnTo>
                      <a:pt x="80" y="123"/>
                    </a:lnTo>
                    <a:lnTo>
                      <a:pt x="78" y="123"/>
                    </a:lnTo>
                    <a:lnTo>
                      <a:pt x="78" y="121"/>
                    </a:lnTo>
                    <a:lnTo>
                      <a:pt x="76" y="121"/>
                    </a:lnTo>
                    <a:lnTo>
                      <a:pt x="74" y="121"/>
                    </a:lnTo>
                    <a:lnTo>
                      <a:pt x="74" y="119"/>
                    </a:lnTo>
                    <a:lnTo>
                      <a:pt x="73" y="119"/>
                    </a:lnTo>
                    <a:lnTo>
                      <a:pt x="73" y="118"/>
                    </a:lnTo>
                    <a:lnTo>
                      <a:pt x="71" y="118"/>
                    </a:lnTo>
                    <a:lnTo>
                      <a:pt x="71" y="119"/>
                    </a:lnTo>
                    <a:lnTo>
                      <a:pt x="69" y="119"/>
                    </a:lnTo>
                    <a:lnTo>
                      <a:pt x="71" y="119"/>
                    </a:lnTo>
                    <a:lnTo>
                      <a:pt x="69" y="119"/>
                    </a:lnTo>
                    <a:lnTo>
                      <a:pt x="69" y="121"/>
                    </a:lnTo>
                    <a:lnTo>
                      <a:pt x="69" y="123"/>
                    </a:lnTo>
                    <a:lnTo>
                      <a:pt x="68" y="124"/>
                    </a:lnTo>
                    <a:lnTo>
                      <a:pt x="69" y="124"/>
                    </a:lnTo>
                    <a:lnTo>
                      <a:pt x="68" y="124"/>
                    </a:lnTo>
                    <a:lnTo>
                      <a:pt x="66" y="124"/>
                    </a:lnTo>
                    <a:lnTo>
                      <a:pt x="66" y="126"/>
                    </a:lnTo>
                    <a:lnTo>
                      <a:pt x="64" y="128"/>
                    </a:lnTo>
                    <a:lnTo>
                      <a:pt x="66" y="128"/>
                    </a:lnTo>
                    <a:lnTo>
                      <a:pt x="68" y="128"/>
                    </a:lnTo>
                    <a:lnTo>
                      <a:pt x="68" y="129"/>
                    </a:lnTo>
                    <a:lnTo>
                      <a:pt x="68" y="131"/>
                    </a:lnTo>
                    <a:lnTo>
                      <a:pt x="69" y="131"/>
                    </a:lnTo>
                    <a:lnTo>
                      <a:pt x="71" y="131"/>
                    </a:lnTo>
                    <a:lnTo>
                      <a:pt x="71" y="133"/>
                    </a:lnTo>
                    <a:lnTo>
                      <a:pt x="73" y="133"/>
                    </a:lnTo>
                    <a:lnTo>
                      <a:pt x="73" y="135"/>
                    </a:lnTo>
                    <a:lnTo>
                      <a:pt x="73" y="136"/>
                    </a:lnTo>
                    <a:lnTo>
                      <a:pt x="71" y="136"/>
                    </a:lnTo>
                    <a:lnTo>
                      <a:pt x="73" y="138"/>
                    </a:lnTo>
                    <a:lnTo>
                      <a:pt x="73" y="140"/>
                    </a:lnTo>
                    <a:lnTo>
                      <a:pt x="71" y="141"/>
                    </a:lnTo>
                    <a:lnTo>
                      <a:pt x="69" y="141"/>
                    </a:lnTo>
                    <a:lnTo>
                      <a:pt x="68" y="141"/>
                    </a:lnTo>
                    <a:lnTo>
                      <a:pt x="66" y="141"/>
                    </a:lnTo>
                    <a:lnTo>
                      <a:pt x="64" y="140"/>
                    </a:lnTo>
                    <a:lnTo>
                      <a:pt x="63" y="140"/>
                    </a:lnTo>
                    <a:lnTo>
                      <a:pt x="61" y="140"/>
                    </a:lnTo>
                    <a:lnTo>
                      <a:pt x="59" y="140"/>
                    </a:lnTo>
                    <a:lnTo>
                      <a:pt x="59" y="138"/>
                    </a:lnTo>
                    <a:lnTo>
                      <a:pt x="57" y="138"/>
                    </a:lnTo>
                    <a:lnTo>
                      <a:pt x="56" y="138"/>
                    </a:lnTo>
                    <a:lnTo>
                      <a:pt x="56" y="140"/>
                    </a:lnTo>
                    <a:lnTo>
                      <a:pt x="56" y="138"/>
                    </a:lnTo>
                    <a:lnTo>
                      <a:pt x="54" y="138"/>
                    </a:lnTo>
                    <a:lnTo>
                      <a:pt x="52" y="138"/>
                    </a:lnTo>
                    <a:lnTo>
                      <a:pt x="52" y="136"/>
                    </a:lnTo>
                    <a:lnTo>
                      <a:pt x="51" y="136"/>
                    </a:lnTo>
                    <a:lnTo>
                      <a:pt x="49" y="136"/>
                    </a:lnTo>
                    <a:lnTo>
                      <a:pt x="47" y="136"/>
                    </a:lnTo>
                    <a:lnTo>
                      <a:pt x="47" y="135"/>
                    </a:lnTo>
                    <a:lnTo>
                      <a:pt x="46" y="135"/>
                    </a:lnTo>
                    <a:lnTo>
                      <a:pt x="46" y="133"/>
                    </a:lnTo>
                    <a:lnTo>
                      <a:pt x="44" y="133"/>
                    </a:lnTo>
                    <a:lnTo>
                      <a:pt x="44" y="131"/>
                    </a:lnTo>
                    <a:lnTo>
                      <a:pt x="44" y="129"/>
                    </a:lnTo>
                    <a:lnTo>
                      <a:pt x="42" y="129"/>
                    </a:lnTo>
                    <a:lnTo>
                      <a:pt x="42" y="128"/>
                    </a:lnTo>
                    <a:lnTo>
                      <a:pt x="40" y="126"/>
                    </a:lnTo>
                    <a:lnTo>
                      <a:pt x="40" y="124"/>
                    </a:lnTo>
                    <a:lnTo>
                      <a:pt x="39" y="124"/>
                    </a:lnTo>
                    <a:lnTo>
                      <a:pt x="39" y="123"/>
                    </a:lnTo>
                    <a:lnTo>
                      <a:pt x="39" y="121"/>
                    </a:lnTo>
                    <a:lnTo>
                      <a:pt x="37" y="121"/>
                    </a:lnTo>
                    <a:lnTo>
                      <a:pt x="39" y="121"/>
                    </a:lnTo>
                    <a:lnTo>
                      <a:pt x="39" y="119"/>
                    </a:lnTo>
                    <a:lnTo>
                      <a:pt x="37" y="119"/>
                    </a:lnTo>
                    <a:lnTo>
                      <a:pt x="37" y="118"/>
                    </a:lnTo>
                    <a:lnTo>
                      <a:pt x="35" y="118"/>
                    </a:lnTo>
                    <a:lnTo>
                      <a:pt x="35" y="116"/>
                    </a:lnTo>
                    <a:lnTo>
                      <a:pt x="35" y="114"/>
                    </a:lnTo>
                    <a:lnTo>
                      <a:pt x="34" y="114"/>
                    </a:lnTo>
                    <a:lnTo>
                      <a:pt x="34" y="112"/>
                    </a:lnTo>
                    <a:lnTo>
                      <a:pt x="32" y="111"/>
                    </a:lnTo>
                    <a:lnTo>
                      <a:pt x="34" y="111"/>
                    </a:lnTo>
                    <a:lnTo>
                      <a:pt x="32" y="111"/>
                    </a:lnTo>
                    <a:lnTo>
                      <a:pt x="32" y="109"/>
                    </a:lnTo>
                    <a:lnTo>
                      <a:pt x="30" y="109"/>
                    </a:lnTo>
                    <a:lnTo>
                      <a:pt x="29" y="109"/>
                    </a:lnTo>
                    <a:lnTo>
                      <a:pt x="29" y="107"/>
                    </a:lnTo>
                    <a:lnTo>
                      <a:pt x="30" y="107"/>
                    </a:lnTo>
                    <a:lnTo>
                      <a:pt x="29" y="107"/>
                    </a:lnTo>
                    <a:lnTo>
                      <a:pt x="29" y="106"/>
                    </a:lnTo>
                    <a:lnTo>
                      <a:pt x="30" y="106"/>
                    </a:lnTo>
                    <a:lnTo>
                      <a:pt x="30" y="104"/>
                    </a:lnTo>
                    <a:lnTo>
                      <a:pt x="29" y="104"/>
                    </a:lnTo>
                    <a:lnTo>
                      <a:pt x="29" y="102"/>
                    </a:lnTo>
                    <a:lnTo>
                      <a:pt x="30" y="102"/>
                    </a:lnTo>
                    <a:lnTo>
                      <a:pt x="30" y="101"/>
                    </a:lnTo>
                    <a:lnTo>
                      <a:pt x="29" y="101"/>
                    </a:lnTo>
                    <a:lnTo>
                      <a:pt x="29" y="99"/>
                    </a:lnTo>
                    <a:lnTo>
                      <a:pt x="27" y="99"/>
                    </a:lnTo>
                    <a:lnTo>
                      <a:pt x="29" y="99"/>
                    </a:lnTo>
                    <a:lnTo>
                      <a:pt x="29" y="97"/>
                    </a:lnTo>
                    <a:lnTo>
                      <a:pt x="27" y="97"/>
                    </a:lnTo>
                    <a:lnTo>
                      <a:pt x="27" y="99"/>
                    </a:lnTo>
                    <a:lnTo>
                      <a:pt x="27" y="97"/>
                    </a:lnTo>
                    <a:lnTo>
                      <a:pt x="25" y="97"/>
                    </a:lnTo>
                    <a:lnTo>
                      <a:pt x="25" y="95"/>
                    </a:lnTo>
                    <a:lnTo>
                      <a:pt x="27" y="95"/>
                    </a:lnTo>
                    <a:lnTo>
                      <a:pt x="27" y="94"/>
                    </a:lnTo>
                    <a:lnTo>
                      <a:pt x="25" y="92"/>
                    </a:lnTo>
                    <a:lnTo>
                      <a:pt x="27" y="92"/>
                    </a:lnTo>
                    <a:lnTo>
                      <a:pt x="27" y="90"/>
                    </a:lnTo>
                    <a:lnTo>
                      <a:pt x="25" y="90"/>
                    </a:lnTo>
                    <a:lnTo>
                      <a:pt x="27" y="90"/>
                    </a:lnTo>
                    <a:lnTo>
                      <a:pt x="25" y="89"/>
                    </a:lnTo>
                    <a:lnTo>
                      <a:pt x="25" y="90"/>
                    </a:lnTo>
                    <a:lnTo>
                      <a:pt x="23" y="90"/>
                    </a:lnTo>
                    <a:lnTo>
                      <a:pt x="22" y="90"/>
                    </a:lnTo>
                    <a:lnTo>
                      <a:pt x="22" y="89"/>
                    </a:lnTo>
                    <a:lnTo>
                      <a:pt x="22" y="90"/>
                    </a:lnTo>
                    <a:lnTo>
                      <a:pt x="20" y="90"/>
                    </a:lnTo>
                    <a:lnTo>
                      <a:pt x="18" y="90"/>
                    </a:lnTo>
                    <a:lnTo>
                      <a:pt x="17" y="90"/>
                    </a:lnTo>
                    <a:lnTo>
                      <a:pt x="15" y="90"/>
                    </a:lnTo>
                    <a:lnTo>
                      <a:pt x="13" y="90"/>
                    </a:lnTo>
                    <a:lnTo>
                      <a:pt x="13" y="89"/>
                    </a:lnTo>
                    <a:lnTo>
                      <a:pt x="13" y="87"/>
                    </a:lnTo>
                    <a:lnTo>
                      <a:pt x="13" y="85"/>
                    </a:lnTo>
                    <a:lnTo>
                      <a:pt x="15" y="85"/>
                    </a:lnTo>
                    <a:lnTo>
                      <a:pt x="15" y="84"/>
                    </a:lnTo>
                    <a:lnTo>
                      <a:pt x="13" y="84"/>
                    </a:lnTo>
                    <a:lnTo>
                      <a:pt x="12" y="84"/>
                    </a:lnTo>
                    <a:lnTo>
                      <a:pt x="12" y="82"/>
                    </a:lnTo>
                    <a:lnTo>
                      <a:pt x="10" y="82"/>
                    </a:lnTo>
                    <a:lnTo>
                      <a:pt x="10" y="80"/>
                    </a:lnTo>
                    <a:lnTo>
                      <a:pt x="8" y="80"/>
                    </a:lnTo>
                    <a:lnTo>
                      <a:pt x="8" y="78"/>
                    </a:lnTo>
                    <a:lnTo>
                      <a:pt x="8" y="77"/>
                    </a:lnTo>
                    <a:lnTo>
                      <a:pt x="6" y="77"/>
                    </a:lnTo>
                    <a:lnTo>
                      <a:pt x="6" y="75"/>
                    </a:lnTo>
                    <a:lnTo>
                      <a:pt x="6" y="73"/>
                    </a:lnTo>
                    <a:lnTo>
                      <a:pt x="5" y="73"/>
                    </a:lnTo>
                    <a:lnTo>
                      <a:pt x="5" y="72"/>
                    </a:lnTo>
                    <a:lnTo>
                      <a:pt x="3" y="72"/>
                    </a:lnTo>
                    <a:lnTo>
                      <a:pt x="3" y="70"/>
                    </a:lnTo>
                    <a:lnTo>
                      <a:pt x="1" y="70"/>
                    </a:lnTo>
                    <a:lnTo>
                      <a:pt x="1" y="68"/>
                    </a:lnTo>
                    <a:lnTo>
                      <a:pt x="1" y="67"/>
                    </a:lnTo>
                    <a:lnTo>
                      <a:pt x="1" y="65"/>
                    </a:lnTo>
                    <a:lnTo>
                      <a:pt x="0" y="63"/>
                    </a:lnTo>
                    <a:lnTo>
                      <a:pt x="1" y="63"/>
                    </a:lnTo>
                    <a:lnTo>
                      <a:pt x="1" y="61"/>
                    </a:lnTo>
                    <a:lnTo>
                      <a:pt x="1" y="60"/>
                    </a:lnTo>
                    <a:lnTo>
                      <a:pt x="3" y="60"/>
                    </a:lnTo>
                    <a:lnTo>
                      <a:pt x="3" y="58"/>
                    </a:lnTo>
                    <a:lnTo>
                      <a:pt x="5" y="58"/>
                    </a:lnTo>
                    <a:lnTo>
                      <a:pt x="5" y="56"/>
                    </a:lnTo>
                    <a:lnTo>
                      <a:pt x="3" y="56"/>
                    </a:lnTo>
                    <a:lnTo>
                      <a:pt x="3" y="55"/>
                    </a:lnTo>
                    <a:lnTo>
                      <a:pt x="5" y="55"/>
                    </a:lnTo>
                    <a:lnTo>
                      <a:pt x="5" y="53"/>
                    </a:lnTo>
                    <a:lnTo>
                      <a:pt x="5" y="51"/>
                    </a:lnTo>
                    <a:lnTo>
                      <a:pt x="6" y="51"/>
                    </a:lnTo>
                    <a:lnTo>
                      <a:pt x="6" y="50"/>
                    </a:lnTo>
                    <a:lnTo>
                      <a:pt x="6" y="48"/>
                    </a:lnTo>
                    <a:lnTo>
                      <a:pt x="8" y="48"/>
                    </a:lnTo>
                    <a:lnTo>
                      <a:pt x="8" y="46"/>
                    </a:lnTo>
                    <a:lnTo>
                      <a:pt x="8" y="44"/>
                    </a:lnTo>
                    <a:lnTo>
                      <a:pt x="6" y="44"/>
                    </a:lnTo>
                    <a:lnTo>
                      <a:pt x="6" y="43"/>
                    </a:lnTo>
                    <a:lnTo>
                      <a:pt x="5" y="43"/>
                    </a:lnTo>
                    <a:lnTo>
                      <a:pt x="5" y="41"/>
                    </a:lnTo>
                    <a:lnTo>
                      <a:pt x="5" y="39"/>
                    </a:lnTo>
                    <a:lnTo>
                      <a:pt x="6" y="39"/>
                    </a:lnTo>
                    <a:lnTo>
                      <a:pt x="6" y="38"/>
                    </a:lnTo>
                    <a:lnTo>
                      <a:pt x="8" y="38"/>
                    </a:lnTo>
                    <a:lnTo>
                      <a:pt x="10" y="38"/>
                    </a:lnTo>
                    <a:lnTo>
                      <a:pt x="10" y="36"/>
                    </a:lnTo>
                    <a:lnTo>
                      <a:pt x="12" y="36"/>
                    </a:lnTo>
                    <a:lnTo>
                      <a:pt x="12" y="34"/>
                    </a:lnTo>
                    <a:lnTo>
                      <a:pt x="13" y="34"/>
                    </a:lnTo>
                    <a:lnTo>
                      <a:pt x="15" y="36"/>
                    </a:lnTo>
                    <a:lnTo>
                      <a:pt x="15" y="34"/>
                    </a:lnTo>
                    <a:lnTo>
                      <a:pt x="17" y="34"/>
                    </a:lnTo>
                    <a:lnTo>
                      <a:pt x="18" y="34"/>
                    </a:lnTo>
                    <a:lnTo>
                      <a:pt x="20" y="36"/>
                    </a:lnTo>
                    <a:lnTo>
                      <a:pt x="20" y="34"/>
                    </a:lnTo>
                    <a:lnTo>
                      <a:pt x="22" y="34"/>
                    </a:lnTo>
                    <a:lnTo>
                      <a:pt x="22" y="36"/>
                    </a:lnTo>
                    <a:lnTo>
                      <a:pt x="22" y="34"/>
                    </a:lnTo>
                    <a:lnTo>
                      <a:pt x="23" y="34"/>
                    </a:lnTo>
                    <a:lnTo>
                      <a:pt x="25" y="34"/>
                    </a:lnTo>
                    <a:lnTo>
                      <a:pt x="27" y="34"/>
                    </a:lnTo>
                    <a:lnTo>
                      <a:pt x="27" y="32"/>
                    </a:lnTo>
                    <a:lnTo>
                      <a:pt x="25" y="32"/>
                    </a:lnTo>
                    <a:lnTo>
                      <a:pt x="25" y="31"/>
                    </a:lnTo>
                    <a:lnTo>
                      <a:pt x="25" y="29"/>
                    </a:lnTo>
                    <a:lnTo>
                      <a:pt x="27" y="29"/>
                    </a:lnTo>
                    <a:lnTo>
                      <a:pt x="29" y="29"/>
                    </a:lnTo>
                    <a:lnTo>
                      <a:pt x="29" y="31"/>
                    </a:lnTo>
                    <a:lnTo>
                      <a:pt x="29" y="29"/>
                    </a:lnTo>
                    <a:lnTo>
                      <a:pt x="30" y="29"/>
                    </a:lnTo>
                    <a:lnTo>
                      <a:pt x="30" y="27"/>
                    </a:lnTo>
                    <a:lnTo>
                      <a:pt x="29" y="27"/>
                    </a:lnTo>
                    <a:lnTo>
                      <a:pt x="29" y="26"/>
                    </a:lnTo>
                    <a:lnTo>
                      <a:pt x="27" y="26"/>
                    </a:lnTo>
                    <a:lnTo>
                      <a:pt x="27" y="27"/>
                    </a:lnTo>
                    <a:lnTo>
                      <a:pt x="27" y="26"/>
                    </a:lnTo>
                    <a:lnTo>
                      <a:pt x="27" y="24"/>
                    </a:lnTo>
                    <a:lnTo>
                      <a:pt x="25" y="24"/>
                    </a:lnTo>
                    <a:lnTo>
                      <a:pt x="25" y="22"/>
                    </a:lnTo>
                    <a:lnTo>
                      <a:pt x="27" y="22"/>
                    </a:lnTo>
                    <a:lnTo>
                      <a:pt x="27" y="21"/>
                    </a:lnTo>
                    <a:lnTo>
                      <a:pt x="27" y="19"/>
                    </a:lnTo>
                    <a:lnTo>
                      <a:pt x="29" y="17"/>
                    </a:lnTo>
                    <a:lnTo>
                      <a:pt x="29" y="15"/>
                    </a:lnTo>
                    <a:lnTo>
                      <a:pt x="30" y="14"/>
                    </a:lnTo>
                    <a:lnTo>
                      <a:pt x="30" y="12"/>
                    </a:lnTo>
                    <a:lnTo>
                      <a:pt x="32" y="12"/>
                    </a:lnTo>
                    <a:lnTo>
                      <a:pt x="32" y="10"/>
                    </a:lnTo>
                    <a:lnTo>
                      <a:pt x="32" y="9"/>
                    </a:lnTo>
                    <a:lnTo>
                      <a:pt x="32" y="7"/>
                    </a:lnTo>
                    <a:lnTo>
                      <a:pt x="34" y="5"/>
                    </a:lnTo>
                    <a:lnTo>
                      <a:pt x="34" y="4"/>
                    </a:lnTo>
                    <a:lnTo>
                      <a:pt x="34" y="2"/>
                    </a:lnTo>
                    <a:lnTo>
                      <a:pt x="35" y="2"/>
                    </a:lnTo>
                    <a:lnTo>
                      <a:pt x="37" y="2"/>
                    </a:lnTo>
                    <a:lnTo>
                      <a:pt x="37" y="0"/>
                    </a:lnTo>
                    <a:lnTo>
                      <a:pt x="39" y="0"/>
                    </a:lnTo>
                    <a:lnTo>
                      <a:pt x="39" y="2"/>
                    </a:lnTo>
                    <a:lnTo>
                      <a:pt x="40" y="2"/>
                    </a:lnTo>
                    <a:lnTo>
                      <a:pt x="42" y="2"/>
                    </a:lnTo>
                    <a:lnTo>
                      <a:pt x="44" y="2"/>
                    </a:lnTo>
                    <a:lnTo>
                      <a:pt x="46" y="2"/>
                    </a:lnTo>
                    <a:lnTo>
                      <a:pt x="47" y="2"/>
                    </a:lnTo>
                    <a:lnTo>
                      <a:pt x="49" y="2"/>
                    </a:lnTo>
                    <a:lnTo>
                      <a:pt x="49" y="4"/>
                    </a:lnTo>
                    <a:lnTo>
                      <a:pt x="51" y="4"/>
                    </a:lnTo>
                    <a:lnTo>
                      <a:pt x="52" y="4"/>
                    </a:lnTo>
                    <a:lnTo>
                      <a:pt x="54" y="4"/>
                    </a:lnTo>
                    <a:lnTo>
                      <a:pt x="56" y="4"/>
                    </a:lnTo>
                    <a:lnTo>
                      <a:pt x="57" y="4"/>
                    </a:lnTo>
                    <a:lnTo>
                      <a:pt x="59" y="5"/>
                    </a:lnTo>
                    <a:lnTo>
                      <a:pt x="61" y="5"/>
                    </a:lnTo>
                    <a:lnTo>
                      <a:pt x="63" y="5"/>
                    </a:lnTo>
                    <a:lnTo>
                      <a:pt x="64" y="5"/>
                    </a:lnTo>
                    <a:lnTo>
                      <a:pt x="66" y="5"/>
                    </a:lnTo>
                    <a:lnTo>
                      <a:pt x="66" y="7"/>
                    </a:lnTo>
                    <a:lnTo>
                      <a:pt x="68" y="7"/>
                    </a:lnTo>
                    <a:lnTo>
                      <a:pt x="69" y="7"/>
                    </a:lnTo>
                    <a:lnTo>
                      <a:pt x="71" y="7"/>
                    </a:lnTo>
                    <a:lnTo>
                      <a:pt x="73" y="7"/>
                    </a:lnTo>
                    <a:lnTo>
                      <a:pt x="71" y="5"/>
                    </a:lnTo>
                    <a:lnTo>
                      <a:pt x="71" y="4"/>
                    </a:lnTo>
                    <a:lnTo>
                      <a:pt x="73" y="4"/>
                    </a:lnTo>
                    <a:lnTo>
                      <a:pt x="73" y="2"/>
                    </a:lnTo>
                    <a:lnTo>
                      <a:pt x="74" y="2"/>
                    </a:lnTo>
                    <a:lnTo>
                      <a:pt x="76" y="2"/>
                    </a:lnTo>
                    <a:lnTo>
                      <a:pt x="78" y="2"/>
                    </a:lnTo>
                    <a:lnTo>
                      <a:pt x="80" y="2"/>
                    </a:lnTo>
                    <a:lnTo>
                      <a:pt x="81" y="2"/>
                    </a:lnTo>
                    <a:lnTo>
                      <a:pt x="83" y="0"/>
                    </a:lnTo>
                    <a:lnTo>
                      <a:pt x="85" y="2"/>
                    </a:lnTo>
                    <a:lnTo>
                      <a:pt x="86" y="2"/>
                    </a:lnTo>
                    <a:lnTo>
                      <a:pt x="88" y="2"/>
                    </a:lnTo>
                    <a:lnTo>
                      <a:pt x="90" y="2"/>
                    </a:lnTo>
                    <a:lnTo>
                      <a:pt x="91" y="2"/>
                    </a:lnTo>
                    <a:lnTo>
                      <a:pt x="93" y="2"/>
                    </a:lnTo>
                    <a:lnTo>
                      <a:pt x="93" y="4"/>
                    </a:lnTo>
                    <a:lnTo>
                      <a:pt x="95" y="4"/>
                    </a:lnTo>
                    <a:lnTo>
                      <a:pt x="97" y="4"/>
                    </a:lnTo>
                    <a:lnTo>
                      <a:pt x="98" y="4"/>
                    </a:lnTo>
                    <a:lnTo>
                      <a:pt x="100" y="5"/>
                    </a:lnTo>
                    <a:lnTo>
                      <a:pt x="102" y="5"/>
                    </a:lnTo>
                    <a:lnTo>
                      <a:pt x="103" y="5"/>
                    </a:lnTo>
                    <a:lnTo>
                      <a:pt x="102" y="4"/>
                    </a:lnTo>
                    <a:lnTo>
                      <a:pt x="100" y="4"/>
                    </a:lnTo>
                    <a:lnTo>
                      <a:pt x="98" y="4"/>
                    </a:lnTo>
                    <a:lnTo>
                      <a:pt x="98" y="2"/>
                    </a:lnTo>
                    <a:lnTo>
                      <a:pt x="100" y="2"/>
                    </a:lnTo>
                    <a:lnTo>
                      <a:pt x="102" y="2"/>
                    </a:lnTo>
                    <a:lnTo>
                      <a:pt x="103" y="0"/>
                    </a:lnTo>
                    <a:lnTo>
                      <a:pt x="103" y="2"/>
                    </a:lnTo>
                    <a:lnTo>
                      <a:pt x="105" y="2"/>
                    </a:lnTo>
                    <a:lnTo>
                      <a:pt x="107" y="2"/>
                    </a:lnTo>
                    <a:lnTo>
                      <a:pt x="108" y="2"/>
                    </a:lnTo>
                    <a:lnTo>
                      <a:pt x="110" y="2"/>
                    </a:lnTo>
                    <a:lnTo>
                      <a:pt x="112" y="2"/>
                    </a:lnTo>
                    <a:lnTo>
                      <a:pt x="114" y="2"/>
                    </a:lnTo>
                    <a:lnTo>
                      <a:pt x="115" y="2"/>
                    </a:lnTo>
                    <a:lnTo>
                      <a:pt x="117" y="2"/>
                    </a:lnTo>
                    <a:lnTo>
                      <a:pt x="119" y="2"/>
                    </a:lnTo>
                    <a:lnTo>
                      <a:pt x="120" y="2"/>
                    </a:lnTo>
                    <a:lnTo>
                      <a:pt x="120" y="4"/>
                    </a:lnTo>
                    <a:lnTo>
                      <a:pt x="122" y="4"/>
                    </a:lnTo>
                    <a:lnTo>
                      <a:pt x="124" y="4"/>
                    </a:lnTo>
                    <a:lnTo>
                      <a:pt x="125" y="4"/>
                    </a:lnTo>
                    <a:lnTo>
                      <a:pt x="127" y="4"/>
                    </a:lnTo>
                    <a:lnTo>
                      <a:pt x="129" y="4"/>
                    </a:lnTo>
                    <a:lnTo>
                      <a:pt x="129" y="5"/>
                    </a:lnTo>
                    <a:lnTo>
                      <a:pt x="131" y="5"/>
                    </a:lnTo>
                    <a:lnTo>
                      <a:pt x="132" y="5"/>
                    </a:lnTo>
                    <a:lnTo>
                      <a:pt x="134" y="5"/>
                    </a:lnTo>
                    <a:lnTo>
                      <a:pt x="136" y="5"/>
                    </a:lnTo>
                    <a:lnTo>
                      <a:pt x="136" y="7"/>
                    </a:lnTo>
                    <a:lnTo>
                      <a:pt x="137" y="7"/>
                    </a:lnTo>
                    <a:lnTo>
                      <a:pt x="137" y="9"/>
                    </a:lnTo>
                    <a:lnTo>
                      <a:pt x="137" y="10"/>
                    </a:lnTo>
                    <a:close/>
                    <a:moveTo>
                      <a:pt x="32" y="9"/>
                    </a:moveTo>
                    <a:lnTo>
                      <a:pt x="32" y="7"/>
                    </a:lnTo>
                    <a:lnTo>
                      <a:pt x="32" y="5"/>
                    </a:lnTo>
                    <a:lnTo>
                      <a:pt x="34" y="4"/>
                    </a:lnTo>
                    <a:lnTo>
                      <a:pt x="34" y="5"/>
                    </a:lnTo>
                    <a:lnTo>
                      <a:pt x="32" y="7"/>
                    </a:lnTo>
                    <a:lnTo>
                      <a:pt x="32" y="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7" name="Freeform 55">
                <a:extLst>
                  <a:ext uri="{FF2B5EF4-FFF2-40B4-BE49-F238E27FC236}">
                    <a16:creationId xmlns:a16="http://schemas.microsoft.com/office/drawing/2014/main" id="{058881AD-BEFA-0335-69BF-A8B5B4DEA6FC}"/>
                  </a:ext>
                </a:extLst>
              </p:cNvPr>
              <p:cNvSpPr>
                <a:spLocks noEditPoints="1"/>
              </p:cNvSpPr>
              <p:nvPr/>
            </p:nvSpPr>
            <p:spPr bwMode="auto">
              <a:xfrm>
                <a:off x="5764341" y="2833458"/>
                <a:ext cx="13512" cy="12925"/>
              </a:xfrm>
              <a:custGeom>
                <a:avLst/>
                <a:gdLst>
                  <a:gd name="T0" fmla="*/ 34 w 46"/>
                  <a:gd name="T1" fmla="*/ 17 h 44"/>
                  <a:gd name="T2" fmla="*/ 33 w 46"/>
                  <a:gd name="T3" fmla="*/ 21 h 44"/>
                  <a:gd name="T4" fmla="*/ 29 w 46"/>
                  <a:gd name="T5" fmla="*/ 22 h 44"/>
                  <a:gd name="T6" fmla="*/ 31 w 46"/>
                  <a:gd name="T7" fmla="*/ 26 h 44"/>
                  <a:gd name="T8" fmla="*/ 29 w 46"/>
                  <a:gd name="T9" fmla="*/ 29 h 44"/>
                  <a:gd name="T10" fmla="*/ 31 w 46"/>
                  <a:gd name="T11" fmla="*/ 32 h 44"/>
                  <a:gd name="T12" fmla="*/ 31 w 46"/>
                  <a:gd name="T13" fmla="*/ 36 h 44"/>
                  <a:gd name="T14" fmla="*/ 31 w 46"/>
                  <a:gd name="T15" fmla="*/ 41 h 44"/>
                  <a:gd name="T16" fmla="*/ 28 w 46"/>
                  <a:gd name="T17" fmla="*/ 43 h 44"/>
                  <a:gd name="T18" fmla="*/ 24 w 46"/>
                  <a:gd name="T19" fmla="*/ 44 h 44"/>
                  <a:gd name="T20" fmla="*/ 23 w 46"/>
                  <a:gd name="T21" fmla="*/ 44 h 44"/>
                  <a:gd name="T22" fmla="*/ 19 w 46"/>
                  <a:gd name="T23" fmla="*/ 44 h 44"/>
                  <a:gd name="T24" fmla="*/ 14 w 46"/>
                  <a:gd name="T25" fmla="*/ 44 h 44"/>
                  <a:gd name="T26" fmla="*/ 9 w 46"/>
                  <a:gd name="T27" fmla="*/ 44 h 44"/>
                  <a:gd name="T28" fmla="*/ 6 w 46"/>
                  <a:gd name="T29" fmla="*/ 43 h 44"/>
                  <a:gd name="T30" fmla="*/ 4 w 46"/>
                  <a:gd name="T31" fmla="*/ 43 h 44"/>
                  <a:gd name="T32" fmla="*/ 0 w 46"/>
                  <a:gd name="T33" fmla="*/ 44 h 44"/>
                  <a:gd name="T34" fmla="*/ 4 w 46"/>
                  <a:gd name="T35" fmla="*/ 43 h 44"/>
                  <a:gd name="T36" fmla="*/ 7 w 46"/>
                  <a:gd name="T37" fmla="*/ 41 h 44"/>
                  <a:gd name="T38" fmla="*/ 9 w 46"/>
                  <a:gd name="T39" fmla="*/ 38 h 44"/>
                  <a:gd name="T40" fmla="*/ 12 w 46"/>
                  <a:gd name="T41" fmla="*/ 38 h 44"/>
                  <a:gd name="T42" fmla="*/ 16 w 46"/>
                  <a:gd name="T43" fmla="*/ 36 h 44"/>
                  <a:gd name="T44" fmla="*/ 14 w 46"/>
                  <a:gd name="T45" fmla="*/ 32 h 44"/>
                  <a:gd name="T46" fmla="*/ 16 w 46"/>
                  <a:gd name="T47" fmla="*/ 27 h 44"/>
                  <a:gd name="T48" fmla="*/ 12 w 46"/>
                  <a:gd name="T49" fmla="*/ 24 h 44"/>
                  <a:gd name="T50" fmla="*/ 9 w 46"/>
                  <a:gd name="T51" fmla="*/ 24 h 44"/>
                  <a:gd name="T52" fmla="*/ 11 w 46"/>
                  <a:gd name="T53" fmla="*/ 21 h 44"/>
                  <a:gd name="T54" fmla="*/ 16 w 46"/>
                  <a:gd name="T55" fmla="*/ 19 h 44"/>
                  <a:gd name="T56" fmla="*/ 19 w 46"/>
                  <a:gd name="T57" fmla="*/ 19 h 44"/>
                  <a:gd name="T58" fmla="*/ 24 w 46"/>
                  <a:gd name="T59" fmla="*/ 19 h 44"/>
                  <a:gd name="T60" fmla="*/ 29 w 46"/>
                  <a:gd name="T61" fmla="*/ 17 h 44"/>
                  <a:gd name="T62" fmla="*/ 46 w 46"/>
                  <a:gd name="T63" fmla="*/ 2 h 44"/>
                  <a:gd name="T64" fmla="*/ 45 w 46"/>
                  <a:gd name="T65" fmla="*/ 5 h 44"/>
                  <a:gd name="T66" fmla="*/ 41 w 46"/>
                  <a:gd name="T67" fmla="*/ 7 h 44"/>
                  <a:gd name="T68" fmla="*/ 38 w 46"/>
                  <a:gd name="T69" fmla="*/ 7 h 44"/>
                  <a:gd name="T70" fmla="*/ 38 w 46"/>
                  <a:gd name="T71" fmla="*/ 7 h 44"/>
                  <a:gd name="T72" fmla="*/ 38 w 46"/>
                  <a:gd name="T73" fmla="*/ 4 h 44"/>
                  <a:gd name="T74" fmla="*/ 41 w 46"/>
                  <a:gd name="T75" fmla="*/ 2 h 44"/>
                  <a:gd name="T76" fmla="*/ 45 w 46"/>
                  <a:gd name="T77" fmla="*/ 0 h 44"/>
                  <a:gd name="T78" fmla="*/ 7 w 46"/>
                  <a:gd name="T79" fmla="*/ 22 h 44"/>
                  <a:gd name="T80" fmla="*/ 6 w 46"/>
                  <a:gd name="T81" fmla="*/ 22 h 44"/>
                  <a:gd name="T82" fmla="*/ 6 w 46"/>
                  <a:gd name="T83"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6" h="44">
                    <a:moveTo>
                      <a:pt x="31" y="17"/>
                    </a:moveTo>
                    <a:lnTo>
                      <a:pt x="33" y="17"/>
                    </a:lnTo>
                    <a:lnTo>
                      <a:pt x="34" y="17"/>
                    </a:lnTo>
                    <a:lnTo>
                      <a:pt x="34" y="19"/>
                    </a:lnTo>
                    <a:lnTo>
                      <a:pt x="33" y="19"/>
                    </a:lnTo>
                    <a:lnTo>
                      <a:pt x="33" y="21"/>
                    </a:lnTo>
                    <a:lnTo>
                      <a:pt x="31" y="21"/>
                    </a:lnTo>
                    <a:lnTo>
                      <a:pt x="31" y="22"/>
                    </a:lnTo>
                    <a:lnTo>
                      <a:pt x="29" y="22"/>
                    </a:lnTo>
                    <a:lnTo>
                      <a:pt x="29" y="24"/>
                    </a:lnTo>
                    <a:lnTo>
                      <a:pt x="29" y="26"/>
                    </a:lnTo>
                    <a:lnTo>
                      <a:pt x="31" y="26"/>
                    </a:lnTo>
                    <a:lnTo>
                      <a:pt x="31" y="27"/>
                    </a:lnTo>
                    <a:lnTo>
                      <a:pt x="31" y="29"/>
                    </a:lnTo>
                    <a:lnTo>
                      <a:pt x="29" y="29"/>
                    </a:lnTo>
                    <a:lnTo>
                      <a:pt x="29" y="31"/>
                    </a:lnTo>
                    <a:lnTo>
                      <a:pt x="29" y="32"/>
                    </a:lnTo>
                    <a:lnTo>
                      <a:pt x="31" y="32"/>
                    </a:lnTo>
                    <a:lnTo>
                      <a:pt x="31" y="34"/>
                    </a:lnTo>
                    <a:lnTo>
                      <a:pt x="33" y="34"/>
                    </a:lnTo>
                    <a:lnTo>
                      <a:pt x="31" y="36"/>
                    </a:lnTo>
                    <a:lnTo>
                      <a:pt x="31" y="38"/>
                    </a:lnTo>
                    <a:lnTo>
                      <a:pt x="31" y="39"/>
                    </a:lnTo>
                    <a:lnTo>
                      <a:pt x="31" y="41"/>
                    </a:lnTo>
                    <a:lnTo>
                      <a:pt x="29" y="41"/>
                    </a:lnTo>
                    <a:lnTo>
                      <a:pt x="29" y="43"/>
                    </a:lnTo>
                    <a:lnTo>
                      <a:pt x="28" y="43"/>
                    </a:lnTo>
                    <a:lnTo>
                      <a:pt x="26" y="43"/>
                    </a:lnTo>
                    <a:lnTo>
                      <a:pt x="26" y="44"/>
                    </a:lnTo>
                    <a:lnTo>
                      <a:pt x="24" y="44"/>
                    </a:lnTo>
                    <a:lnTo>
                      <a:pt x="23" y="44"/>
                    </a:lnTo>
                    <a:lnTo>
                      <a:pt x="23" y="43"/>
                    </a:lnTo>
                    <a:lnTo>
                      <a:pt x="23" y="44"/>
                    </a:lnTo>
                    <a:lnTo>
                      <a:pt x="21" y="43"/>
                    </a:lnTo>
                    <a:lnTo>
                      <a:pt x="21" y="44"/>
                    </a:lnTo>
                    <a:lnTo>
                      <a:pt x="19" y="44"/>
                    </a:lnTo>
                    <a:lnTo>
                      <a:pt x="17" y="44"/>
                    </a:lnTo>
                    <a:lnTo>
                      <a:pt x="16" y="44"/>
                    </a:lnTo>
                    <a:lnTo>
                      <a:pt x="14" y="44"/>
                    </a:lnTo>
                    <a:lnTo>
                      <a:pt x="12" y="44"/>
                    </a:lnTo>
                    <a:lnTo>
                      <a:pt x="11" y="44"/>
                    </a:lnTo>
                    <a:lnTo>
                      <a:pt x="9" y="44"/>
                    </a:lnTo>
                    <a:lnTo>
                      <a:pt x="7" y="44"/>
                    </a:lnTo>
                    <a:lnTo>
                      <a:pt x="7" y="43"/>
                    </a:lnTo>
                    <a:lnTo>
                      <a:pt x="6" y="43"/>
                    </a:lnTo>
                    <a:lnTo>
                      <a:pt x="6" y="44"/>
                    </a:lnTo>
                    <a:lnTo>
                      <a:pt x="4" y="44"/>
                    </a:lnTo>
                    <a:lnTo>
                      <a:pt x="4" y="43"/>
                    </a:lnTo>
                    <a:lnTo>
                      <a:pt x="4" y="44"/>
                    </a:lnTo>
                    <a:lnTo>
                      <a:pt x="2" y="44"/>
                    </a:lnTo>
                    <a:lnTo>
                      <a:pt x="0" y="44"/>
                    </a:lnTo>
                    <a:lnTo>
                      <a:pt x="0" y="43"/>
                    </a:lnTo>
                    <a:lnTo>
                      <a:pt x="2" y="43"/>
                    </a:lnTo>
                    <a:lnTo>
                      <a:pt x="4" y="43"/>
                    </a:lnTo>
                    <a:lnTo>
                      <a:pt x="4" y="41"/>
                    </a:lnTo>
                    <a:lnTo>
                      <a:pt x="6" y="41"/>
                    </a:lnTo>
                    <a:lnTo>
                      <a:pt x="7" y="41"/>
                    </a:lnTo>
                    <a:lnTo>
                      <a:pt x="7" y="39"/>
                    </a:lnTo>
                    <a:lnTo>
                      <a:pt x="9" y="39"/>
                    </a:lnTo>
                    <a:lnTo>
                      <a:pt x="9" y="38"/>
                    </a:lnTo>
                    <a:lnTo>
                      <a:pt x="11" y="38"/>
                    </a:lnTo>
                    <a:lnTo>
                      <a:pt x="12" y="39"/>
                    </a:lnTo>
                    <a:lnTo>
                      <a:pt x="12" y="38"/>
                    </a:lnTo>
                    <a:lnTo>
                      <a:pt x="14" y="38"/>
                    </a:lnTo>
                    <a:lnTo>
                      <a:pt x="16" y="38"/>
                    </a:lnTo>
                    <a:lnTo>
                      <a:pt x="16" y="36"/>
                    </a:lnTo>
                    <a:lnTo>
                      <a:pt x="16" y="34"/>
                    </a:lnTo>
                    <a:lnTo>
                      <a:pt x="14" y="34"/>
                    </a:lnTo>
                    <a:lnTo>
                      <a:pt x="14" y="32"/>
                    </a:lnTo>
                    <a:lnTo>
                      <a:pt x="14" y="31"/>
                    </a:lnTo>
                    <a:lnTo>
                      <a:pt x="16" y="29"/>
                    </a:lnTo>
                    <a:lnTo>
                      <a:pt x="16" y="27"/>
                    </a:lnTo>
                    <a:lnTo>
                      <a:pt x="14" y="26"/>
                    </a:lnTo>
                    <a:lnTo>
                      <a:pt x="14" y="24"/>
                    </a:lnTo>
                    <a:lnTo>
                      <a:pt x="12" y="24"/>
                    </a:lnTo>
                    <a:lnTo>
                      <a:pt x="11" y="22"/>
                    </a:lnTo>
                    <a:lnTo>
                      <a:pt x="11" y="24"/>
                    </a:lnTo>
                    <a:lnTo>
                      <a:pt x="9" y="24"/>
                    </a:lnTo>
                    <a:lnTo>
                      <a:pt x="9" y="22"/>
                    </a:lnTo>
                    <a:lnTo>
                      <a:pt x="9" y="21"/>
                    </a:lnTo>
                    <a:lnTo>
                      <a:pt x="11" y="21"/>
                    </a:lnTo>
                    <a:lnTo>
                      <a:pt x="12" y="21"/>
                    </a:lnTo>
                    <a:lnTo>
                      <a:pt x="14" y="21"/>
                    </a:lnTo>
                    <a:lnTo>
                      <a:pt x="16" y="19"/>
                    </a:lnTo>
                    <a:lnTo>
                      <a:pt x="16" y="21"/>
                    </a:lnTo>
                    <a:lnTo>
                      <a:pt x="17" y="19"/>
                    </a:lnTo>
                    <a:lnTo>
                      <a:pt x="19" y="19"/>
                    </a:lnTo>
                    <a:lnTo>
                      <a:pt x="21" y="19"/>
                    </a:lnTo>
                    <a:lnTo>
                      <a:pt x="23" y="19"/>
                    </a:lnTo>
                    <a:lnTo>
                      <a:pt x="24" y="19"/>
                    </a:lnTo>
                    <a:lnTo>
                      <a:pt x="26" y="19"/>
                    </a:lnTo>
                    <a:lnTo>
                      <a:pt x="28" y="19"/>
                    </a:lnTo>
                    <a:lnTo>
                      <a:pt x="29" y="17"/>
                    </a:lnTo>
                    <a:lnTo>
                      <a:pt x="31" y="17"/>
                    </a:lnTo>
                    <a:close/>
                    <a:moveTo>
                      <a:pt x="46" y="0"/>
                    </a:moveTo>
                    <a:lnTo>
                      <a:pt x="46" y="2"/>
                    </a:lnTo>
                    <a:lnTo>
                      <a:pt x="46" y="4"/>
                    </a:lnTo>
                    <a:lnTo>
                      <a:pt x="45" y="4"/>
                    </a:lnTo>
                    <a:lnTo>
                      <a:pt x="45" y="5"/>
                    </a:lnTo>
                    <a:lnTo>
                      <a:pt x="43" y="5"/>
                    </a:lnTo>
                    <a:lnTo>
                      <a:pt x="41" y="5"/>
                    </a:lnTo>
                    <a:lnTo>
                      <a:pt x="41" y="7"/>
                    </a:lnTo>
                    <a:lnTo>
                      <a:pt x="40" y="5"/>
                    </a:lnTo>
                    <a:lnTo>
                      <a:pt x="40" y="7"/>
                    </a:lnTo>
                    <a:lnTo>
                      <a:pt x="38" y="7"/>
                    </a:lnTo>
                    <a:lnTo>
                      <a:pt x="36" y="7"/>
                    </a:lnTo>
                    <a:lnTo>
                      <a:pt x="36" y="5"/>
                    </a:lnTo>
                    <a:lnTo>
                      <a:pt x="38" y="7"/>
                    </a:lnTo>
                    <a:lnTo>
                      <a:pt x="36" y="5"/>
                    </a:lnTo>
                    <a:lnTo>
                      <a:pt x="38" y="5"/>
                    </a:lnTo>
                    <a:lnTo>
                      <a:pt x="38" y="4"/>
                    </a:lnTo>
                    <a:lnTo>
                      <a:pt x="40" y="4"/>
                    </a:lnTo>
                    <a:lnTo>
                      <a:pt x="41" y="4"/>
                    </a:lnTo>
                    <a:lnTo>
                      <a:pt x="41" y="2"/>
                    </a:lnTo>
                    <a:lnTo>
                      <a:pt x="43" y="2"/>
                    </a:lnTo>
                    <a:lnTo>
                      <a:pt x="45" y="2"/>
                    </a:lnTo>
                    <a:lnTo>
                      <a:pt x="45" y="0"/>
                    </a:lnTo>
                    <a:lnTo>
                      <a:pt x="46" y="2"/>
                    </a:lnTo>
                    <a:lnTo>
                      <a:pt x="46" y="0"/>
                    </a:lnTo>
                    <a:close/>
                    <a:moveTo>
                      <a:pt x="7" y="22"/>
                    </a:moveTo>
                    <a:lnTo>
                      <a:pt x="9" y="22"/>
                    </a:lnTo>
                    <a:lnTo>
                      <a:pt x="7" y="22"/>
                    </a:lnTo>
                    <a:close/>
                    <a:moveTo>
                      <a:pt x="6" y="22"/>
                    </a:moveTo>
                    <a:lnTo>
                      <a:pt x="6" y="24"/>
                    </a:lnTo>
                    <a:lnTo>
                      <a:pt x="6" y="22"/>
                    </a:lnTo>
                    <a:close/>
                    <a:moveTo>
                      <a:pt x="6" y="22"/>
                    </a:moveTo>
                    <a:lnTo>
                      <a:pt x="7" y="22"/>
                    </a:lnTo>
                    <a:lnTo>
                      <a:pt x="6" y="2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9" name="Freeform 57">
                <a:extLst>
                  <a:ext uri="{FF2B5EF4-FFF2-40B4-BE49-F238E27FC236}">
                    <a16:creationId xmlns:a16="http://schemas.microsoft.com/office/drawing/2014/main" id="{77F6F645-CED9-0C71-FBF4-B8875F1EEAC5}"/>
                  </a:ext>
                </a:extLst>
              </p:cNvPr>
              <p:cNvSpPr>
                <a:spLocks noEditPoints="1"/>
              </p:cNvSpPr>
              <p:nvPr/>
            </p:nvSpPr>
            <p:spPr bwMode="auto">
              <a:xfrm>
                <a:off x="5798423" y="3260229"/>
                <a:ext cx="53457" cy="57570"/>
              </a:xfrm>
              <a:custGeom>
                <a:avLst/>
                <a:gdLst>
                  <a:gd name="T0" fmla="*/ 167 w 182"/>
                  <a:gd name="T1" fmla="*/ 153 h 196"/>
                  <a:gd name="T2" fmla="*/ 162 w 182"/>
                  <a:gd name="T3" fmla="*/ 163 h 196"/>
                  <a:gd name="T4" fmla="*/ 156 w 182"/>
                  <a:gd name="T5" fmla="*/ 172 h 196"/>
                  <a:gd name="T6" fmla="*/ 146 w 182"/>
                  <a:gd name="T7" fmla="*/ 182 h 196"/>
                  <a:gd name="T8" fmla="*/ 134 w 182"/>
                  <a:gd name="T9" fmla="*/ 187 h 196"/>
                  <a:gd name="T10" fmla="*/ 128 w 182"/>
                  <a:gd name="T11" fmla="*/ 190 h 196"/>
                  <a:gd name="T12" fmla="*/ 117 w 182"/>
                  <a:gd name="T13" fmla="*/ 192 h 196"/>
                  <a:gd name="T14" fmla="*/ 107 w 182"/>
                  <a:gd name="T15" fmla="*/ 192 h 196"/>
                  <a:gd name="T16" fmla="*/ 100 w 182"/>
                  <a:gd name="T17" fmla="*/ 187 h 196"/>
                  <a:gd name="T18" fmla="*/ 87 w 182"/>
                  <a:gd name="T19" fmla="*/ 189 h 196"/>
                  <a:gd name="T20" fmla="*/ 78 w 182"/>
                  <a:gd name="T21" fmla="*/ 192 h 196"/>
                  <a:gd name="T22" fmla="*/ 70 w 182"/>
                  <a:gd name="T23" fmla="*/ 189 h 196"/>
                  <a:gd name="T24" fmla="*/ 63 w 182"/>
                  <a:gd name="T25" fmla="*/ 185 h 196"/>
                  <a:gd name="T26" fmla="*/ 53 w 182"/>
                  <a:gd name="T27" fmla="*/ 180 h 196"/>
                  <a:gd name="T28" fmla="*/ 44 w 182"/>
                  <a:gd name="T29" fmla="*/ 173 h 196"/>
                  <a:gd name="T30" fmla="*/ 32 w 182"/>
                  <a:gd name="T31" fmla="*/ 173 h 196"/>
                  <a:gd name="T32" fmla="*/ 24 w 182"/>
                  <a:gd name="T33" fmla="*/ 173 h 196"/>
                  <a:gd name="T34" fmla="*/ 19 w 182"/>
                  <a:gd name="T35" fmla="*/ 168 h 196"/>
                  <a:gd name="T36" fmla="*/ 9 w 182"/>
                  <a:gd name="T37" fmla="*/ 161 h 196"/>
                  <a:gd name="T38" fmla="*/ 2 w 182"/>
                  <a:gd name="T39" fmla="*/ 151 h 196"/>
                  <a:gd name="T40" fmla="*/ 0 w 182"/>
                  <a:gd name="T41" fmla="*/ 134 h 196"/>
                  <a:gd name="T42" fmla="*/ 5 w 182"/>
                  <a:gd name="T43" fmla="*/ 119 h 196"/>
                  <a:gd name="T44" fmla="*/ 14 w 182"/>
                  <a:gd name="T45" fmla="*/ 112 h 196"/>
                  <a:gd name="T46" fmla="*/ 10 w 182"/>
                  <a:gd name="T47" fmla="*/ 100 h 196"/>
                  <a:gd name="T48" fmla="*/ 10 w 182"/>
                  <a:gd name="T49" fmla="*/ 90 h 196"/>
                  <a:gd name="T50" fmla="*/ 10 w 182"/>
                  <a:gd name="T51" fmla="*/ 82 h 196"/>
                  <a:gd name="T52" fmla="*/ 10 w 182"/>
                  <a:gd name="T53" fmla="*/ 70 h 196"/>
                  <a:gd name="T54" fmla="*/ 17 w 182"/>
                  <a:gd name="T55" fmla="*/ 56 h 196"/>
                  <a:gd name="T56" fmla="*/ 17 w 182"/>
                  <a:gd name="T57" fmla="*/ 48 h 196"/>
                  <a:gd name="T58" fmla="*/ 20 w 182"/>
                  <a:gd name="T59" fmla="*/ 36 h 196"/>
                  <a:gd name="T60" fmla="*/ 22 w 182"/>
                  <a:gd name="T61" fmla="*/ 25 h 196"/>
                  <a:gd name="T62" fmla="*/ 22 w 182"/>
                  <a:gd name="T63" fmla="*/ 13 h 196"/>
                  <a:gd name="T64" fmla="*/ 29 w 182"/>
                  <a:gd name="T65" fmla="*/ 5 h 196"/>
                  <a:gd name="T66" fmla="*/ 34 w 182"/>
                  <a:gd name="T67" fmla="*/ 7 h 196"/>
                  <a:gd name="T68" fmla="*/ 41 w 182"/>
                  <a:gd name="T69" fmla="*/ 7 h 196"/>
                  <a:gd name="T70" fmla="*/ 51 w 182"/>
                  <a:gd name="T71" fmla="*/ 0 h 196"/>
                  <a:gd name="T72" fmla="*/ 61 w 182"/>
                  <a:gd name="T73" fmla="*/ 5 h 196"/>
                  <a:gd name="T74" fmla="*/ 66 w 182"/>
                  <a:gd name="T75" fmla="*/ 10 h 196"/>
                  <a:gd name="T76" fmla="*/ 70 w 182"/>
                  <a:gd name="T77" fmla="*/ 15 h 196"/>
                  <a:gd name="T78" fmla="*/ 77 w 182"/>
                  <a:gd name="T79" fmla="*/ 19 h 196"/>
                  <a:gd name="T80" fmla="*/ 82 w 182"/>
                  <a:gd name="T81" fmla="*/ 25 h 196"/>
                  <a:gd name="T82" fmla="*/ 88 w 182"/>
                  <a:gd name="T83" fmla="*/ 36 h 196"/>
                  <a:gd name="T84" fmla="*/ 95 w 182"/>
                  <a:gd name="T85" fmla="*/ 34 h 196"/>
                  <a:gd name="T86" fmla="*/ 100 w 182"/>
                  <a:gd name="T87" fmla="*/ 32 h 196"/>
                  <a:gd name="T88" fmla="*/ 105 w 182"/>
                  <a:gd name="T89" fmla="*/ 39 h 196"/>
                  <a:gd name="T90" fmla="*/ 109 w 182"/>
                  <a:gd name="T91" fmla="*/ 46 h 196"/>
                  <a:gd name="T92" fmla="*/ 117 w 182"/>
                  <a:gd name="T93" fmla="*/ 48 h 196"/>
                  <a:gd name="T94" fmla="*/ 124 w 182"/>
                  <a:gd name="T95" fmla="*/ 53 h 196"/>
                  <a:gd name="T96" fmla="*/ 134 w 182"/>
                  <a:gd name="T97" fmla="*/ 56 h 196"/>
                  <a:gd name="T98" fmla="*/ 143 w 182"/>
                  <a:gd name="T99" fmla="*/ 68 h 196"/>
                  <a:gd name="T100" fmla="*/ 151 w 182"/>
                  <a:gd name="T101" fmla="*/ 71 h 196"/>
                  <a:gd name="T102" fmla="*/ 158 w 182"/>
                  <a:gd name="T103" fmla="*/ 78 h 196"/>
                  <a:gd name="T104" fmla="*/ 162 w 182"/>
                  <a:gd name="T105" fmla="*/ 85 h 196"/>
                  <a:gd name="T106" fmla="*/ 168 w 182"/>
                  <a:gd name="T107" fmla="*/ 93 h 196"/>
                  <a:gd name="T108" fmla="*/ 175 w 182"/>
                  <a:gd name="T109" fmla="*/ 99 h 196"/>
                  <a:gd name="T110" fmla="*/ 179 w 182"/>
                  <a:gd name="T111" fmla="*/ 105 h 196"/>
                  <a:gd name="T112" fmla="*/ 170 w 182"/>
                  <a:gd name="T113" fmla="*/ 119 h 196"/>
                  <a:gd name="T114" fmla="*/ 168 w 182"/>
                  <a:gd name="T115" fmla="*/ 129 h 196"/>
                  <a:gd name="T116" fmla="*/ 168 w 182"/>
                  <a:gd name="T117" fmla="*/ 143 h 196"/>
                  <a:gd name="T118" fmla="*/ 71 w 182"/>
                  <a:gd name="T119" fmla="*/ 187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2" h="196">
                    <a:moveTo>
                      <a:pt x="172" y="144"/>
                    </a:moveTo>
                    <a:lnTo>
                      <a:pt x="172" y="146"/>
                    </a:lnTo>
                    <a:lnTo>
                      <a:pt x="170" y="146"/>
                    </a:lnTo>
                    <a:lnTo>
                      <a:pt x="170" y="148"/>
                    </a:lnTo>
                    <a:lnTo>
                      <a:pt x="168" y="150"/>
                    </a:lnTo>
                    <a:lnTo>
                      <a:pt x="168" y="151"/>
                    </a:lnTo>
                    <a:lnTo>
                      <a:pt x="168" y="153"/>
                    </a:lnTo>
                    <a:lnTo>
                      <a:pt x="167" y="153"/>
                    </a:lnTo>
                    <a:lnTo>
                      <a:pt x="167" y="155"/>
                    </a:lnTo>
                    <a:lnTo>
                      <a:pt x="167" y="156"/>
                    </a:lnTo>
                    <a:lnTo>
                      <a:pt x="167" y="158"/>
                    </a:lnTo>
                    <a:lnTo>
                      <a:pt x="165" y="158"/>
                    </a:lnTo>
                    <a:lnTo>
                      <a:pt x="163" y="160"/>
                    </a:lnTo>
                    <a:lnTo>
                      <a:pt x="163" y="161"/>
                    </a:lnTo>
                    <a:lnTo>
                      <a:pt x="162" y="161"/>
                    </a:lnTo>
                    <a:lnTo>
                      <a:pt x="162" y="163"/>
                    </a:lnTo>
                    <a:lnTo>
                      <a:pt x="160" y="163"/>
                    </a:lnTo>
                    <a:lnTo>
                      <a:pt x="160" y="165"/>
                    </a:lnTo>
                    <a:lnTo>
                      <a:pt x="158" y="167"/>
                    </a:lnTo>
                    <a:lnTo>
                      <a:pt x="158" y="168"/>
                    </a:lnTo>
                    <a:lnTo>
                      <a:pt x="160" y="170"/>
                    </a:lnTo>
                    <a:lnTo>
                      <a:pt x="158" y="170"/>
                    </a:lnTo>
                    <a:lnTo>
                      <a:pt x="158" y="172"/>
                    </a:lnTo>
                    <a:lnTo>
                      <a:pt x="156" y="172"/>
                    </a:lnTo>
                    <a:lnTo>
                      <a:pt x="155" y="173"/>
                    </a:lnTo>
                    <a:lnTo>
                      <a:pt x="153" y="173"/>
                    </a:lnTo>
                    <a:lnTo>
                      <a:pt x="151" y="175"/>
                    </a:lnTo>
                    <a:lnTo>
                      <a:pt x="150" y="177"/>
                    </a:lnTo>
                    <a:lnTo>
                      <a:pt x="148" y="178"/>
                    </a:lnTo>
                    <a:lnTo>
                      <a:pt x="148" y="180"/>
                    </a:lnTo>
                    <a:lnTo>
                      <a:pt x="146" y="180"/>
                    </a:lnTo>
                    <a:lnTo>
                      <a:pt x="146" y="182"/>
                    </a:lnTo>
                    <a:lnTo>
                      <a:pt x="145" y="182"/>
                    </a:lnTo>
                    <a:lnTo>
                      <a:pt x="143" y="182"/>
                    </a:lnTo>
                    <a:lnTo>
                      <a:pt x="141" y="184"/>
                    </a:lnTo>
                    <a:lnTo>
                      <a:pt x="139" y="184"/>
                    </a:lnTo>
                    <a:lnTo>
                      <a:pt x="139" y="185"/>
                    </a:lnTo>
                    <a:lnTo>
                      <a:pt x="138" y="185"/>
                    </a:lnTo>
                    <a:lnTo>
                      <a:pt x="136" y="185"/>
                    </a:lnTo>
                    <a:lnTo>
                      <a:pt x="134" y="187"/>
                    </a:lnTo>
                    <a:lnTo>
                      <a:pt x="133" y="187"/>
                    </a:lnTo>
                    <a:lnTo>
                      <a:pt x="133" y="189"/>
                    </a:lnTo>
                    <a:lnTo>
                      <a:pt x="131" y="189"/>
                    </a:lnTo>
                    <a:lnTo>
                      <a:pt x="129" y="189"/>
                    </a:lnTo>
                    <a:lnTo>
                      <a:pt x="129" y="190"/>
                    </a:lnTo>
                    <a:lnTo>
                      <a:pt x="129" y="189"/>
                    </a:lnTo>
                    <a:lnTo>
                      <a:pt x="129" y="190"/>
                    </a:lnTo>
                    <a:lnTo>
                      <a:pt x="128" y="190"/>
                    </a:lnTo>
                    <a:lnTo>
                      <a:pt x="126" y="190"/>
                    </a:lnTo>
                    <a:lnTo>
                      <a:pt x="124" y="192"/>
                    </a:lnTo>
                    <a:lnTo>
                      <a:pt x="122" y="192"/>
                    </a:lnTo>
                    <a:lnTo>
                      <a:pt x="121" y="194"/>
                    </a:lnTo>
                    <a:lnTo>
                      <a:pt x="119" y="196"/>
                    </a:lnTo>
                    <a:lnTo>
                      <a:pt x="119" y="194"/>
                    </a:lnTo>
                    <a:lnTo>
                      <a:pt x="119" y="192"/>
                    </a:lnTo>
                    <a:lnTo>
                      <a:pt x="117" y="192"/>
                    </a:lnTo>
                    <a:lnTo>
                      <a:pt x="116" y="192"/>
                    </a:lnTo>
                    <a:lnTo>
                      <a:pt x="116" y="190"/>
                    </a:lnTo>
                    <a:lnTo>
                      <a:pt x="114" y="190"/>
                    </a:lnTo>
                    <a:lnTo>
                      <a:pt x="112" y="190"/>
                    </a:lnTo>
                    <a:lnTo>
                      <a:pt x="112" y="192"/>
                    </a:lnTo>
                    <a:lnTo>
                      <a:pt x="111" y="192"/>
                    </a:lnTo>
                    <a:lnTo>
                      <a:pt x="109" y="192"/>
                    </a:lnTo>
                    <a:lnTo>
                      <a:pt x="107" y="192"/>
                    </a:lnTo>
                    <a:lnTo>
                      <a:pt x="109" y="190"/>
                    </a:lnTo>
                    <a:lnTo>
                      <a:pt x="107" y="190"/>
                    </a:lnTo>
                    <a:lnTo>
                      <a:pt x="107" y="189"/>
                    </a:lnTo>
                    <a:lnTo>
                      <a:pt x="105" y="189"/>
                    </a:lnTo>
                    <a:lnTo>
                      <a:pt x="104" y="189"/>
                    </a:lnTo>
                    <a:lnTo>
                      <a:pt x="104" y="187"/>
                    </a:lnTo>
                    <a:lnTo>
                      <a:pt x="102" y="187"/>
                    </a:lnTo>
                    <a:lnTo>
                      <a:pt x="100" y="187"/>
                    </a:lnTo>
                    <a:lnTo>
                      <a:pt x="99" y="187"/>
                    </a:lnTo>
                    <a:lnTo>
                      <a:pt x="97" y="187"/>
                    </a:lnTo>
                    <a:lnTo>
                      <a:pt x="95" y="187"/>
                    </a:lnTo>
                    <a:lnTo>
                      <a:pt x="94" y="187"/>
                    </a:lnTo>
                    <a:lnTo>
                      <a:pt x="92" y="187"/>
                    </a:lnTo>
                    <a:lnTo>
                      <a:pt x="90" y="187"/>
                    </a:lnTo>
                    <a:lnTo>
                      <a:pt x="88" y="187"/>
                    </a:lnTo>
                    <a:lnTo>
                      <a:pt x="87" y="189"/>
                    </a:lnTo>
                    <a:lnTo>
                      <a:pt x="85" y="189"/>
                    </a:lnTo>
                    <a:lnTo>
                      <a:pt x="85" y="190"/>
                    </a:lnTo>
                    <a:lnTo>
                      <a:pt x="83" y="190"/>
                    </a:lnTo>
                    <a:lnTo>
                      <a:pt x="82" y="192"/>
                    </a:lnTo>
                    <a:lnTo>
                      <a:pt x="80" y="192"/>
                    </a:lnTo>
                    <a:lnTo>
                      <a:pt x="78" y="192"/>
                    </a:lnTo>
                    <a:lnTo>
                      <a:pt x="78" y="194"/>
                    </a:lnTo>
                    <a:lnTo>
                      <a:pt x="78" y="192"/>
                    </a:lnTo>
                    <a:lnTo>
                      <a:pt x="77" y="192"/>
                    </a:lnTo>
                    <a:lnTo>
                      <a:pt x="77" y="190"/>
                    </a:lnTo>
                    <a:lnTo>
                      <a:pt x="75" y="190"/>
                    </a:lnTo>
                    <a:lnTo>
                      <a:pt x="75" y="192"/>
                    </a:lnTo>
                    <a:lnTo>
                      <a:pt x="73" y="192"/>
                    </a:lnTo>
                    <a:lnTo>
                      <a:pt x="71" y="190"/>
                    </a:lnTo>
                    <a:lnTo>
                      <a:pt x="70" y="190"/>
                    </a:lnTo>
                    <a:lnTo>
                      <a:pt x="70" y="189"/>
                    </a:lnTo>
                    <a:lnTo>
                      <a:pt x="71" y="187"/>
                    </a:lnTo>
                    <a:lnTo>
                      <a:pt x="70" y="187"/>
                    </a:lnTo>
                    <a:lnTo>
                      <a:pt x="70" y="185"/>
                    </a:lnTo>
                    <a:lnTo>
                      <a:pt x="68" y="185"/>
                    </a:lnTo>
                    <a:lnTo>
                      <a:pt x="66" y="185"/>
                    </a:lnTo>
                    <a:lnTo>
                      <a:pt x="65" y="187"/>
                    </a:lnTo>
                    <a:lnTo>
                      <a:pt x="65" y="185"/>
                    </a:lnTo>
                    <a:lnTo>
                      <a:pt x="63" y="185"/>
                    </a:lnTo>
                    <a:lnTo>
                      <a:pt x="61" y="185"/>
                    </a:lnTo>
                    <a:lnTo>
                      <a:pt x="61" y="184"/>
                    </a:lnTo>
                    <a:lnTo>
                      <a:pt x="60" y="184"/>
                    </a:lnTo>
                    <a:lnTo>
                      <a:pt x="58" y="184"/>
                    </a:lnTo>
                    <a:lnTo>
                      <a:pt x="56" y="184"/>
                    </a:lnTo>
                    <a:lnTo>
                      <a:pt x="54" y="182"/>
                    </a:lnTo>
                    <a:lnTo>
                      <a:pt x="53" y="182"/>
                    </a:lnTo>
                    <a:lnTo>
                      <a:pt x="53" y="180"/>
                    </a:lnTo>
                    <a:lnTo>
                      <a:pt x="51" y="180"/>
                    </a:lnTo>
                    <a:lnTo>
                      <a:pt x="51" y="178"/>
                    </a:lnTo>
                    <a:lnTo>
                      <a:pt x="49" y="177"/>
                    </a:lnTo>
                    <a:lnTo>
                      <a:pt x="48" y="177"/>
                    </a:lnTo>
                    <a:lnTo>
                      <a:pt x="48" y="175"/>
                    </a:lnTo>
                    <a:lnTo>
                      <a:pt x="46" y="175"/>
                    </a:lnTo>
                    <a:lnTo>
                      <a:pt x="46" y="173"/>
                    </a:lnTo>
                    <a:lnTo>
                      <a:pt x="44" y="173"/>
                    </a:lnTo>
                    <a:lnTo>
                      <a:pt x="43" y="173"/>
                    </a:lnTo>
                    <a:lnTo>
                      <a:pt x="41" y="173"/>
                    </a:lnTo>
                    <a:lnTo>
                      <a:pt x="39" y="173"/>
                    </a:lnTo>
                    <a:lnTo>
                      <a:pt x="37" y="173"/>
                    </a:lnTo>
                    <a:lnTo>
                      <a:pt x="37" y="172"/>
                    </a:lnTo>
                    <a:lnTo>
                      <a:pt x="36" y="173"/>
                    </a:lnTo>
                    <a:lnTo>
                      <a:pt x="34" y="173"/>
                    </a:lnTo>
                    <a:lnTo>
                      <a:pt x="32" y="173"/>
                    </a:lnTo>
                    <a:lnTo>
                      <a:pt x="31" y="173"/>
                    </a:lnTo>
                    <a:lnTo>
                      <a:pt x="31" y="172"/>
                    </a:lnTo>
                    <a:lnTo>
                      <a:pt x="29" y="173"/>
                    </a:lnTo>
                    <a:lnTo>
                      <a:pt x="27" y="173"/>
                    </a:lnTo>
                    <a:lnTo>
                      <a:pt x="26" y="173"/>
                    </a:lnTo>
                    <a:lnTo>
                      <a:pt x="24" y="173"/>
                    </a:lnTo>
                    <a:lnTo>
                      <a:pt x="24" y="175"/>
                    </a:lnTo>
                    <a:lnTo>
                      <a:pt x="24" y="173"/>
                    </a:lnTo>
                    <a:lnTo>
                      <a:pt x="22" y="175"/>
                    </a:lnTo>
                    <a:lnTo>
                      <a:pt x="20" y="175"/>
                    </a:lnTo>
                    <a:lnTo>
                      <a:pt x="22" y="173"/>
                    </a:lnTo>
                    <a:lnTo>
                      <a:pt x="20" y="173"/>
                    </a:lnTo>
                    <a:lnTo>
                      <a:pt x="20" y="172"/>
                    </a:lnTo>
                    <a:lnTo>
                      <a:pt x="20" y="170"/>
                    </a:lnTo>
                    <a:lnTo>
                      <a:pt x="19" y="170"/>
                    </a:lnTo>
                    <a:lnTo>
                      <a:pt x="19" y="168"/>
                    </a:lnTo>
                    <a:lnTo>
                      <a:pt x="17" y="168"/>
                    </a:lnTo>
                    <a:lnTo>
                      <a:pt x="17" y="167"/>
                    </a:lnTo>
                    <a:lnTo>
                      <a:pt x="15" y="165"/>
                    </a:lnTo>
                    <a:lnTo>
                      <a:pt x="14" y="165"/>
                    </a:lnTo>
                    <a:lnTo>
                      <a:pt x="14" y="163"/>
                    </a:lnTo>
                    <a:lnTo>
                      <a:pt x="12" y="161"/>
                    </a:lnTo>
                    <a:lnTo>
                      <a:pt x="10" y="161"/>
                    </a:lnTo>
                    <a:lnTo>
                      <a:pt x="9" y="161"/>
                    </a:lnTo>
                    <a:lnTo>
                      <a:pt x="9" y="160"/>
                    </a:lnTo>
                    <a:lnTo>
                      <a:pt x="9" y="158"/>
                    </a:lnTo>
                    <a:lnTo>
                      <a:pt x="7" y="156"/>
                    </a:lnTo>
                    <a:lnTo>
                      <a:pt x="7" y="155"/>
                    </a:lnTo>
                    <a:lnTo>
                      <a:pt x="5" y="155"/>
                    </a:lnTo>
                    <a:lnTo>
                      <a:pt x="5" y="153"/>
                    </a:lnTo>
                    <a:lnTo>
                      <a:pt x="3" y="153"/>
                    </a:lnTo>
                    <a:lnTo>
                      <a:pt x="2" y="151"/>
                    </a:lnTo>
                    <a:lnTo>
                      <a:pt x="2" y="150"/>
                    </a:lnTo>
                    <a:lnTo>
                      <a:pt x="2" y="148"/>
                    </a:lnTo>
                    <a:lnTo>
                      <a:pt x="2" y="146"/>
                    </a:lnTo>
                    <a:lnTo>
                      <a:pt x="0" y="144"/>
                    </a:lnTo>
                    <a:lnTo>
                      <a:pt x="0" y="143"/>
                    </a:lnTo>
                    <a:lnTo>
                      <a:pt x="0" y="138"/>
                    </a:lnTo>
                    <a:lnTo>
                      <a:pt x="0" y="136"/>
                    </a:lnTo>
                    <a:lnTo>
                      <a:pt x="0" y="134"/>
                    </a:lnTo>
                    <a:lnTo>
                      <a:pt x="0" y="131"/>
                    </a:lnTo>
                    <a:lnTo>
                      <a:pt x="2" y="129"/>
                    </a:lnTo>
                    <a:lnTo>
                      <a:pt x="2" y="127"/>
                    </a:lnTo>
                    <a:lnTo>
                      <a:pt x="3" y="127"/>
                    </a:lnTo>
                    <a:lnTo>
                      <a:pt x="3" y="126"/>
                    </a:lnTo>
                    <a:lnTo>
                      <a:pt x="3" y="121"/>
                    </a:lnTo>
                    <a:lnTo>
                      <a:pt x="3" y="119"/>
                    </a:lnTo>
                    <a:lnTo>
                      <a:pt x="5" y="119"/>
                    </a:lnTo>
                    <a:lnTo>
                      <a:pt x="7" y="119"/>
                    </a:lnTo>
                    <a:lnTo>
                      <a:pt x="9" y="119"/>
                    </a:lnTo>
                    <a:lnTo>
                      <a:pt x="10" y="117"/>
                    </a:lnTo>
                    <a:lnTo>
                      <a:pt x="12" y="117"/>
                    </a:lnTo>
                    <a:lnTo>
                      <a:pt x="12" y="116"/>
                    </a:lnTo>
                    <a:lnTo>
                      <a:pt x="14" y="116"/>
                    </a:lnTo>
                    <a:lnTo>
                      <a:pt x="14" y="114"/>
                    </a:lnTo>
                    <a:lnTo>
                      <a:pt x="14" y="112"/>
                    </a:lnTo>
                    <a:lnTo>
                      <a:pt x="12" y="110"/>
                    </a:lnTo>
                    <a:lnTo>
                      <a:pt x="12" y="109"/>
                    </a:lnTo>
                    <a:lnTo>
                      <a:pt x="12" y="107"/>
                    </a:lnTo>
                    <a:lnTo>
                      <a:pt x="12" y="105"/>
                    </a:lnTo>
                    <a:lnTo>
                      <a:pt x="12" y="104"/>
                    </a:lnTo>
                    <a:lnTo>
                      <a:pt x="12" y="102"/>
                    </a:lnTo>
                    <a:lnTo>
                      <a:pt x="12" y="100"/>
                    </a:lnTo>
                    <a:lnTo>
                      <a:pt x="10" y="100"/>
                    </a:lnTo>
                    <a:lnTo>
                      <a:pt x="12" y="100"/>
                    </a:lnTo>
                    <a:lnTo>
                      <a:pt x="10" y="99"/>
                    </a:lnTo>
                    <a:lnTo>
                      <a:pt x="10" y="97"/>
                    </a:lnTo>
                    <a:lnTo>
                      <a:pt x="10" y="95"/>
                    </a:lnTo>
                    <a:lnTo>
                      <a:pt x="10" y="93"/>
                    </a:lnTo>
                    <a:lnTo>
                      <a:pt x="9" y="93"/>
                    </a:lnTo>
                    <a:lnTo>
                      <a:pt x="10" y="92"/>
                    </a:lnTo>
                    <a:lnTo>
                      <a:pt x="10" y="90"/>
                    </a:lnTo>
                    <a:lnTo>
                      <a:pt x="10" y="88"/>
                    </a:lnTo>
                    <a:lnTo>
                      <a:pt x="12" y="88"/>
                    </a:lnTo>
                    <a:lnTo>
                      <a:pt x="12" y="87"/>
                    </a:lnTo>
                    <a:lnTo>
                      <a:pt x="14" y="87"/>
                    </a:lnTo>
                    <a:lnTo>
                      <a:pt x="14" y="85"/>
                    </a:lnTo>
                    <a:lnTo>
                      <a:pt x="12" y="85"/>
                    </a:lnTo>
                    <a:lnTo>
                      <a:pt x="12" y="83"/>
                    </a:lnTo>
                    <a:lnTo>
                      <a:pt x="10" y="82"/>
                    </a:lnTo>
                    <a:lnTo>
                      <a:pt x="10" y="80"/>
                    </a:lnTo>
                    <a:lnTo>
                      <a:pt x="10" y="78"/>
                    </a:lnTo>
                    <a:lnTo>
                      <a:pt x="12" y="78"/>
                    </a:lnTo>
                    <a:lnTo>
                      <a:pt x="12" y="76"/>
                    </a:lnTo>
                    <a:lnTo>
                      <a:pt x="12" y="75"/>
                    </a:lnTo>
                    <a:lnTo>
                      <a:pt x="10" y="73"/>
                    </a:lnTo>
                    <a:lnTo>
                      <a:pt x="10" y="71"/>
                    </a:lnTo>
                    <a:lnTo>
                      <a:pt x="10" y="70"/>
                    </a:lnTo>
                    <a:lnTo>
                      <a:pt x="10" y="68"/>
                    </a:lnTo>
                    <a:lnTo>
                      <a:pt x="12" y="68"/>
                    </a:lnTo>
                    <a:lnTo>
                      <a:pt x="14" y="68"/>
                    </a:lnTo>
                    <a:lnTo>
                      <a:pt x="15" y="65"/>
                    </a:lnTo>
                    <a:lnTo>
                      <a:pt x="15" y="63"/>
                    </a:lnTo>
                    <a:lnTo>
                      <a:pt x="17" y="59"/>
                    </a:lnTo>
                    <a:lnTo>
                      <a:pt x="17" y="58"/>
                    </a:lnTo>
                    <a:lnTo>
                      <a:pt x="17" y="56"/>
                    </a:lnTo>
                    <a:lnTo>
                      <a:pt x="15" y="56"/>
                    </a:lnTo>
                    <a:lnTo>
                      <a:pt x="15" y="54"/>
                    </a:lnTo>
                    <a:lnTo>
                      <a:pt x="14" y="54"/>
                    </a:lnTo>
                    <a:lnTo>
                      <a:pt x="14" y="53"/>
                    </a:lnTo>
                    <a:lnTo>
                      <a:pt x="15" y="51"/>
                    </a:lnTo>
                    <a:lnTo>
                      <a:pt x="17" y="51"/>
                    </a:lnTo>
                    <a:lnTo>
                      <a:pt x="17" y="49"/>
                    </a:lnTo>
                    <a:lnTo>
                      <a:pt x="17" y="48"/>
                    </a:lnTo>
                    <a:lnTo>
                      <a:pt x="19" y="46"/>
                    </a:lnTo>
                    <a:lnTo>
                      <a:pt x="19" y="44"/>
                    </a:lnTo>
                    <a:lnTo>
                      <a:pt x="19" y="42"/>
                    </a:lnTo>
                    <a:lnTo>
                      <a:pt x="19" y="41"/>
                    </a:lnTo>
                    <a:lnTo>
                      <a:pt x="19" y="39"/>
                    </a:lnTo>
                    <a:lnTo>
                      <a:pt x="20" y="39"/>
                    </a:lnTo>
                    <a:lnTo>
                      <a:pt x="20" y="37"/>
                    </a:lnTo>
                    <a:lnTo>
                      <a:pt x="20" y="36"/>
                    </a:lnTo>
                    <a:lnTo>
                      <a:pt x="20" y="34"/>
                    </a:lnTo>
                    <a:lnTo>
                      <a:pt x="19" y="34"/>
                    </a:lnTo>
                    <a:lnTo>
                      <a:pt x="19" y="32"/>
                    </a:lnTo>
                    <a:lnTo>
                      <a:pt x="20" y="32"/>
                    </a:lnTo>
                    <a:lnTo>
                      <a:pt x="22" y="32"/>
                    </a:lnTo>
                    <a:lnTo>
                      <a:pt x="22" y="31"/>
                    </a:lnTo>
                    <a:lnTo>
                      <a:pt x="22" y="27"/>
                    </a:lnTo>
                    <a:lnTo>
                      <a:pt x="22" y="25"/>
                    </a:lnTo>
                    <a:lnTo>
                      <a:pt x="22" y="24"/>
                    </a:lnTo>
                    <a:lnTo>
                      <a:pt x="22" y="22"/>
                    </a:lnTo>
                    <a:lnTo>
                      <a:pt x="22" y="20"/>
                    </a:lnTo>
                    <a:lnTo>
                      <a:pt x="20" y="19"/>
                    </a:lnTo>
                    <a:lnTo>
                      <a:pt x="20" y="17"/>
                    </a:lnTo>
                    <a:lnTo>
                      <a:pt x="20" y="15"/>
                    </a:lnTo>
                    <a:lnTo>
                      <a:pt x="20" y="13"/>
                    </a:lnTo>
                    <a:lnTo>
                      <a:pt x="22" y="13"/>
                    </a:lnTo>
                    <a:lnTo>
                      <a:pt x="24" y="13"/>
                    </a:lnTo>
                    <a:lnTo>
                      <a:pt x="24" y="12"/>
                    </a:lnTo>
                    <a:lnTo>
                      <a:pt x="26" y="12"/>
                    </a:lnTo>
                    <a:lnTo>
                      <a:pt x="27" y="10"/>
                    </a:lnTo>
                    <a:lnTo>
                      <a:pt x="29" y="10"/>
                    </a:lnTo>
                    <a:lnTo>
                      <a:pt x="29" y="8"/>
                    </a:lnTo>
                    <a:lnTo>
                      <a:pt x="29" y="7"/>
                    </a:lnTo>
                    <a:lnTo>
                      <a:pt x="29" y="5"/>
                    </a:lnTo>
                    <a:lnTo>
                      <a:pt x="29" y="3"/>
                    </a:lnTo>
                    <a:lnTo>
                      <a:pt x="27" y="3"/>
                    </a:lnTo>
                    <a:lnTo>
                      <a:pt x="29" y="3"/>
                    </a:lnTo>
                    <a:lnTo>
                      <a:pt x="31" y="3"/>
                    </a:lnTo>
                    <a:lnTo>
                      <a:pt x="31" y="5"/>
                    </a:lnTo>
                    <a:lnTo>
                      <a:pt x="31" y="7"/>
                    </a:lnTo>
                    <a:lnTo>
                      <a:pt x="32" y="7"/>
                    </a:lnTo>
                    <a:lnTo>
                      <a:pt x="34" y="7"/>
                    </a:lnTo>
                    <a:lnTo>
                      <a:pt x="36" y="7"/>
                    </a:lnTo>
                    <a:lnTo>
                      <a:pt x="36" y="8"/>
                    </a:lnTo>
                    <a:lnTo>
                      <a:pt x="37" y="8"/>
                    </a:lnTo>
                    <a:lnTo>
                      <a:pt x="37" y="7"/>
                    </a:lnTo>
                    <a:lnTo>
                      <a:pt x="39" y="7"/>
                    </a:lnTo>
                    <a:lnTo>
                      <a:pt x="39" y="5"/>
                    </a:lnTo>
                    <a:lnTo>
                      <a:pt x="39" y="7"/>
                    </a:lnTo>
                    <a:lnTo>
                      <a:pt x="41" y="7"/>
                    </a:lnTo>
                    <a:lnTo>
                      <a:pt x="43" y="7"/>
                    </a:lnTo>
                    <a:lnTo>
                      <a:pt x="44" y="5"/>
                    </a:lnTo>
                    <a:lnTo>
                      <a:pt x="44" y="3"/>
                    </a:lnTo>
                    <a:lnTo>
                      <a:pt x="46" y="2"/>
                    </a:lnTo>
                    <a:lnTo>
                      <a:pt x="46" y="0"/>
                    </a:lnTo>
                    <a:lnTo>
                      <a:pt x="48" y="0"/>
                    </a:lnTo>
                    <a:lnTo>
                      <a:pt x="49" y="0"/>
                    </a:lnTo>
                    <a:lnTo>
                      <a:pt x="51" y="0"/>
                    </a:lnTo>
                    <a:lnTo>
                      <a:pt x="53" y="0"/>
                    </a:lnTo>
                    <a:lnTo>
                      <a:pt x="54" y="0"/>
                    </a:lnTo>
                    <a:lnTo>
                      <a:pt x="56" y="0"/>
                    </a:lnTo>
                    <a:lnTo>
                      <a:pt x="58" y="0"/>
                    </a:lnTo>
                    <a:lnTo>
                      <a:pt x="58" y="2"/>
                    </a:lnTo>
                    <a:lnTo>
                      <a:pt x="60" y="3"/>
                    </a:lnTo>
                    <a:lnTo>
                      <a:pt x="61" y="3"/>
                    </a:lnTo>
                    <a:lnTo>
                      <a:pt x="61" y="5"/>
                    </a:lnTo>
                    <a:lnTo>
                      <a:pt x="63" y="5"/>
                    </a:lnTo>
                    <a:lnTo>
                      <a:pt x="63" y="7"/>
                    </a:lnTo>
                    <a:lnTo>
                      <a:pt x="65" y="7"/>
                    </a:lnTo>
                    <a:lnTo>
                      <a:pt x="65" y="8"/>
                    </a:lnTo>
                    <a:lnTo>
                      <a:pt x="66" y="8"/>
                    </a:lnTo>
                    <a:lnTo>
                      <a:pt x="65" y="8"/>
                    </a:lnTo>
                    <a:lnTo>
                      <a:pt x="65" y="10"/>
                    </a:lnTo>
                    <a:lnTo>
                      <a:pt x="66" y="10"/>
                    </a:lnTo>
                    <a:lnTo>
                      <a:pt x="66" y="12"/>
                    </a:lnTo>
                    <a:lnTo>
                      <a:pt x="68" y="12"/>
                    </a:lnTo>
                    <a:lnTo>
                      <a:pt x="68" y="10"/>
                    </a:lnTo>
                    <a:lnTo>
                      <a:pt x="68" y="12"/>
                    </a:lnTo>
                    <a:lnTo>
                      <a:pt x="70" y="13"/>
                    </a:lnTo>
                    <a:lnTo>
                      <a:pt x="70" y="12"/>
                    </a:lnTo>
                    <a:lnTo>
                      <a:pt x="70" y="13"/>
                    </a:lnTo>
                    <a:lnTo>
                      <a:pt x="70" y="15"/>
                    </a:lnTo>
                    <a:lnTo>
                      <a:pt x="71" y="15"/>
                    </a:lnTo>
                    <a:lnTo>
                      <a:pt x="73" y="15"/>
                    </a:lnTo>
                    <a:lnTo>
                      <a:pt x="73" y="17"/>
                    </a:lnTo>
                    <a:lnTo>
                      <a:pt x="75" y="17"/>
                    </a:lnTo>
                    <a:lnTo>
                      <a:pt x="75" y="19"/>
                    </a:lnTo>
                    <a:lnTo>
                      <a:pt x="77" y="19"/>
                    </a:lnTo>
                    <a:lnTo>
                      <a:pt x="77" y="20"/>
                    </a:lnTo>
                    <a:lnTo>
                      <a:pt x="77" y="19"/>
                    </a:lnTo>
                    <a:lnTo>
                      <a:pt x="78" y="20"/>
                    </a:lnTo>
                    <a:lnTo>
                      <a:pt x="78" y="22"/>
                    </a:lnTo>
                    <a:lnTo>
                      <a:pt x="78" y="24"/>
                    </a:lnTo>
                    <a:lnTo>
                      <a:pt x="80" y="24"/>
                    </a:lnTo>
                    <a:lnTo>
                      <a:pt x="80" y="25"/>
                    </a:lnTo>
                    <a:lnTo>
                      <a:pt x="80" y="24"/>
                    </a:lnTo>
                    <a:lnTo>
                      <a:pt x="80" y="25"/>
                    </a:lnTo>
                    <a:lnTo>
                      <a:pt x="82" y="25"/>
                    </a:lnTo>
                    <a:lnTo>
                      <a:pt x="83" y="27"/>
                    </a:lnTo>
                    <a:lnTo>
                      <a:pt x="83" y="29"/>
                    </a:lnTo>
                    <a:lnTo>
                      <a:pt x="85" y="31"/>
                    </a:lnTo>
                    <a:lnTo>
                      <a:pt x="85" y="32"/>
                    </a:lnTo>
                    <a:lnTo>
                      <a:pt x="87" y="32"/>
                    </a:lnTo>
                    <a:lnTo>
                      <a:pt x="87" y="34"/>
                    </a:lnTo>
                    <a:lnTo>
                      <a:pt x="88" y="34"/>
                    </a:lnTo>
                    <a:lnTo>
                      <a:pt x="88" y="36"/>
                    </a:lnTo>
                    <a:lnTo>
                      <a:pt x="90" y="36"/>
                    </a:lnTo>
                    <a:lnTo>
                      <a:pt x="92" y="36"/>
                    </a:lnTo>
                    <a:lnTo>
                      <a:pt x="92" y="34"/>
                    </a:lnTo>
                    <a:lnTo>
                      <a:pt x="94" y="34"/>
                    </a:lnTo>
                    <a:lnTo>
                      <a:pt x="94" y="32"/>
                    </a:lnTo>
                    <a:lnTo>
                      <a:pt x="94" y="34"/>
                    </a:lnTo>
                    <a:lnTo>
                      <a:pt x="94" y="32"/>
                    </a:lnTo>
                    <a:lnTo>
                      <a:pt x="95" y="34"/>
                    </a:lnTo>
                    <a:lnTo>
                      <a:pt x="95" y="32"/>
                    </a:lnTo>
                    <a:lnTo>
                      <a:pt x="95" y="31"/>
                    </a:lnTo>
                    <a:lnTo>
                      <a:pt x="95" y="29"/>
                    </a:lnTo>
                    <a:lnTo>
                      <a:pt x="97" y="29"/>
                    </a:lnTo>
                    <a:lnTo>
                      <a:pt x="99" y="29"/>
                    </a:lnTo>
                    <a:lnTo>
                      <a:pt x="99" y="31"/>
                    </a:lnTo>
                    <a:lnTo>
                      <a:pt x="100" y="31"/>
                    </a:lnTo>
                    <a:lnTo>
                      <a:pt x="100" y="32"/>
                    </a:lnTo>
                    <a:lnTo>
                      <a:pt x="102" y="32"/>
                    </a:lnTo>
                    <a:lnTo>
                      <a:pt x="102" y="34"/>
                    </a:lnTo>
                    <a:lnTo>
                      <a:pt x="104" y="34"/>
                    </a:lnTo>
                    <a:lnTo>
                      <a:pt x="102" y="36"/>
                    </a:lnTo>
                    <a:lnTo>
                      <a:pt x="104" y="36"/>
                    </a:lnTo>
                    <a:lnTo>
                      <a:pt x="105" y="36"/>
                    </a:lnTo>
                    <a:lnTo>
                      <a:pt x="105" y="37"/>
                    </a:lnTo>
                    <a:lnTo>
                      <a:pt x="105" y="39"/>
                    </a:lnTo>
                    <a:lnTo>
                      <a:pt x="107" y="39"/>
                    </a:lnTo>
                    <a:lnTo>
                      <a:pt x="105" y="41"/>
                    </a:lnTo>
                    <a:lnTo>
                      <a:pt x="107" y="41"/>
                    </a:lnTo>
                    <a:lnTo>
                      <a:pt x="109" y="42"/>
                    </a:lnTo>
                    <a:lnTo>
                      <a:pt x="107" y="42"/>
                    </a:lnTo>
                    <a:lnTo>
                      <a:pt x="109" y="42"/>
                    </a:lnTo>
                    <a:lnTo>
                      <a:pt x="109" y="44"/>
                    </a:lnTo>
                    <a:lnTo>
                      <a:pt x="109" y="46"/>
                    </a:lnTo>
                    <a:lnTo>
                      <a:pt x="111" y="46"/>
                    </a:lnTo>
                    <a:lnTo>
                      <a:pt x="112" y="46"/>
                    </a:lnTo>
                    <a:lnTo>
                      <a:pt x="112" y="48"/>
                    </a:lnTo>
                    <a:lnTo>
                      <a:pt x="114" y="48"/>
                    </a:lnTo>
                    <a:lnTo>
                      <a:pt x="116" y="48"/>
                    </a:lnTo>
                    <a:lnTo>
                      <a:pt x="116" y="46"/>
                    </a:lnTo>
                    <a:lnTo>
                      <a:pt x="117" y="46"/>
                    </a:lnTo>
                    <a:lnTo>
                      <a:pt x="117" y="48"/>
                    </a:lnTo>
                    <a:lnTo>
                      <a:pt x="119" y="48"/>
                    </a:lnTo>
                    <a:lnTo>
                      <a:pt x="119" y="49"/>
                    </a:lnTo>
                    <a:lnTo>
                      <a:pt x="119" y="51"/>
                    </a:lnTo>
                    <a:lnTo>
                      <a:pt x="121" y="51"/>
                    </a:lnTo>
                    <a:lnTo>
                      <a:pt x="121" y="49"/>
                    </a:lnTo>
                    <a:lnTo>
                      <a:pt x="122" y="51"/>
                    </a:lnTo>
                    <a:lnTo>
                      <a:pt x="122" y="53"/>
                    </a:lnTo>
                    <a:lnTo>
                      <a:pt x="124" y="53"/>
                    </a:lnTo>
                    <a:lnTo>
                      <a:pt x="126" y="53"/>
                    </a:lnTo>
                    <a:lnTo>
                      <a:pt x="126" y="51"/>
                    </a:lnTo>
                    <a:lnTo>
                      <a:pt x="128" y="53"/>
                    </a:lnTo>
                    <a:lnTo>
                      <a:pt x="129" y="53"/>
                    </a:lnTo>
                    <a:lnTo>
                      <a:pt x="131" y="53"/>
                    </a:lnTo>
                    <a:lnTo>
                      <a:pt x="133" y="54"/>
                    </a:lnTo>
                    <a:lnTo>
                      <a:pt x="134" y="54"/>
                    </a:lnTo>
                    <a:lnTo>
                      <a:pt x="134" y="56"/>
                    </a:lnTo>
                    <a:lnTo>
                      <a:pt x="134" y="58"/>
                    </a:lnTo>
                    <a:lnTo>
                      <a:pt x="136" y="58"/>
                    </a:lnTo>
                    <a:lnTo>
                      <a:pt x="136" y="59"/>
                    </a:lnTo>
                    <a:lnTo>
                      <a:pt x="136" y="61"/>
                    </a:lnTo>
                    <a:lnTo>
                      <a:pt x="139" y="65"/>
                    </a:lnTo>
                    <a:lnTo>
                      <a:pt x="141" y="66"/>
                    </a:lnTo>
                    <a:lnTo>
                      <a:pt x="143" y="66"/>
                    </a:lnTo>
                    <a:lnTo>
                      <a:pt x="143" y="68"/>
                    </a:lnTo>
                    <a:lnTo>
                      <a:pt x="145" y="68"/>
                    </a:lnTo>
                    <a:lnTo>
                      <a:pt x="145" y="70"/>
                    </a:lnTo>
                    <a:lnTo>
                      <a:pt x="146" y="70"/>
                    </a:lnTo>
                    <a:lnTo>
                      <a:pt x="146" y="71"/>
                    </a:lnTo>
                    <a:lnTo>
                      <a:pt x="148" y="71"/>
                    </a:lnTo>
                    <a:lnTo>
                      <a:pt x="150" y="71"/>
                    </a:lnTo>
                    <a:lnTo>
                      <a:pt x="150" y="70"/>
                    </a:lnTo>
                    <a:lnTo>
                      <a:pt x="151" y="71"/>
                    </a:lnTo>
                    <a:lnTo>
                      <a:pt x="153" y="71"/>
                    </a:lnTo>
                    <a:lnTo>
                      <a:pt x="151" y="71"/>
                    </a:lnTo>
                    <a:lnTo>
                      <a:pt x="153" y="73"/>
                    </a:lnTo>
                    <a:lnTo>
                      <a:pt x="155" y="73"/>
                    </a:lnTo>
                    <a:lnTo>
                      <a:pt x="155" y="75"/>
                    </a:lnTo>
                    <a:lnTo>
                      <a:pt x="156" y="75"/>
                    </a:lnTo>
                    <a:lnTo>
                      <a:pt x="156" y="76"/>
                    </a:lnTo>
                    <a:lnTo>
                      <a:pt x="158" y="78"/>
                    </a:lnTo>
                    <a:lnTo>
                      <a:pt x="158" y="76"/>
                    </a:lnTo>
                    <a:lnTo>
                      <a:pt x="160" y="78"/>
                    </a:lnTo>
                    <a:lnTo>
                      <a:pt x="160" y="80"/>
                    </a:lnTo>
                    <a:lnTo>
                      <a:pt x="162" y="80"/>
                    </a:lnTo>
                    <a:lnTo>
                      <a:pt x="160" y="82"/>
                    </a:lnTo>
                    <a:lnTo>
                      <a:pt x="162" y="82"/>
                    </a:lnTo>
                    <a:lnTo>
                      <a:pt x="162" y="83"/>
                    </a:lnTo>
                    <a:lnTo>
                      <a:pt x="162" y="85"/>
                    </a:lnTo>
                    <a:lnTo>
                      <a:pt x="163" y="85"/>
                    </a:lnTo>
                    <a:lnTo>
                      <a:pt x="163" y="87"/>
                    </a:lnTo>
                    <a:lnTo>
                      <a:pt x="163" y="88"/>
                    </a:lnTo>
                    <a:lnTo>
                      <a:pt x="163" y="90"/>
                    </a:lnTo>
                    <a:lnTo>
                      <a:pt x="165" y="90"/>
                    </a:lnTo>
                    <a:lnTo>
                      <a:pt x="165" y="92"/>
                    </a:lnTo>
                    <a:lnTo>
                      <a:pt x="167" y="93"/>
                    </a:lnTo>
                    <a:lnTo>
                      <a:pt x="168" y="93"/>
                    </a:lnTo>
                    <a:lnTo>
                      <a:pt x="170" y="93"/>
                    </a:lnTo>
                    <a:lnTo>
                      <a:pt x="170" y="95"/>
                    </a:lnTo>
                    <a:lnTo>
                      <a:pt x="170" y="97"/>
                    </a:lnTo>
                    <a:lnTo>
                      <a:pt x="172" y="97"/>
                    </a:lnTo>
                    <a:lnTo>
                      <a:pt x="172" y="99"/>
                    </a:lnTo>
                    <a:lnTo>
                      <a:pt x="172" y="97"/>
                    </a:lnTo>
                    <a:lnTo>
                      <a:pt x="173" y="99"/>
                    </a:lnTo>
                    <a:lnTo>
                      <a:pt x="175" y="99"/>
                    </a:lnTo>
                    <a:lnTo>
                      <a:pt x="177" y="99"/>
                    </a:lnTo>
                    <a:lnTo>
                      <a:pt x="177" y="100"/>
                    </a:lnTo>
                    <a:lnTo>
                      <a:pt x="179" y="100"/>
                    </a:lnTo>
                    <a:lnTo>
                      <a:pt x="179" y="102"/>
                    </a:lnTo>
                    <a:lnTo>
                      <a:pt x="182" y="104"/>
                    </a:lnTo>
                    <a:lnTo>
                      <a:pt x="180" y="104"/>
                    </a:lnTo>
                    <a:lnTo>
                      <a:pt x="180" y="105"/>
                    </a:lnTo>
                    <a:lnTo>
                      <a:pt x="179" y="105"/>
                    </a:lnTo>
                    <a:lnTo>
                      <a:pt x="177" y="107"/>
                    </a:lnTo>
                    <a:lnTo>
                      <a:pt x="177" y="109"/>
                    </a:lnTo>
                    <a:lnTo>
                      <a:pt x="175" y="109"/>
                    </a:lnTo>
                    <a:lnTo>
                      <a:pt x="175" y="110"/>
                    </a:lnTo>
                    <a:lnTo>
                      <a:pt x="175" y="112"/>
                    </a:lnTo>
                    <a:lnTo>
                      <a:pt x="175" y="114"/>
                    </a:lnTo>
                    <a:lnTo>
                      <a:pt x="173" y="114"/>
                    </a:lnTo>
                    <a:lnTo>
                      <a:pt x="170" y="119"/>
                    </a:lnTo>
                    <a:lnTo>
                      <a:pt x="168" y="119"/>
                    </a:lnTo>
                    <a:lnTo>
                      <a:pt x="168" y="121"/>
                    </a:lnTo>
                    <a:lnTo>
                      <a:pt x="168" y="122"/>
                    </a:lnTo>
                    <a:lnTo>
                      <a:pt x="167" y="122"/>
                    </a:lnTo>
                    <a:lnTo>
                      <a:pt x="167" y="124"/>
                    </a:lnTo>
                    <a:lnTo>
                      <a:pt x="167" y="126"/>
                    </a:lnTo>
                    <a:lnTo>
                      <a:pt x="167" y="127"/>
                    </a:lnTo>
                    <a:lnTo>
                      <a:pt x="168" y="129"/>
                    </a:lnTo>
                    <a:lnTo>
                      <a:pt x="168" y="131"/>
                    </a:lnTo>
                    <a:lnTo>
                      <a:pt x="168" y="134"/>
                    </a:lnTo>
                    <a:lnTo>
                      <a:pt x="167" y="136"/>
                    </a:lnTo>
                    <a:lnTo>
                      <a:pt x="167" y="138"/>
                    </a:lnTo>
                    <a:lnTo>
                      <a:pt x="167" y="139"/>
                    </a:lnTo>
                    <a:lnTo>
                      <a:pt x="167" y="141"/>
                    </a:lnTo>
                    <a:lnTo>
                      <a:pt x="167" y="143"/>
                    </a:lnTo>
                    <a:lnTo>
                      <a:pt x="168" y="143"/>
                    </a:lnTo>
                    <a:lnTo>
                      <a:pt x="170" y="143"/>
                    </a:lnTo>
                    <a:lnTo>
                      <a:pt x="170" y="144"/>
                    </a:lnTo>
                    <a:lnTo>
                      <a:pt x="172" y="144"/>
                    </a:lnTo>
                    <a:close/>
                    <a:moveTo>
                      <a:pt x="3" y="153"/>
                    </a:moveTo>
                    <a:lnTo>
                      <a:pt x="3" y="155"/>
                    </a:lnTo>
                    <a:lnTo>
                      <a:pt x="3" y="153"/>
                    </a:lnTo>
                    <a:close/>
                    <a:moveTo>
                      <a:pt x="70" y="187"/>
                    </a:moveTo>
                    <a:lnTo>
                      <a:pt x="71" y="187"/>
                    </a:lnTo>
                    <a:lnTo>
                      <a:pt x="70" y="187"/>
                    </a:lnTo>
                    <a:close/>
                    <a:moveTo>
                      <a:pt x="5" y="156"/>
                    </a:moveTo>
                    <a:lnTo>
                      <a:pt x="5" y="158"/>
                    </a:lnTo>
                    <a:lnTo>
                      <a:pt x="5" y="156"/>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81" name="Freeform 59">
                <a:extLst>
                  <a:ext uri="{FF2B5EF4-FFF2-40B4-BE49-F238E27FC236}">
                    <a16:creationId xmlns:a16="http://schemas.microsoft.com/office/drawing/2014/main" id="{F09156C3-02AF-7424-2C52-BFDF736C2126}"/>
                  </a:ext>
                </a:extLst>
              </p:cNvPr>
              <p:cNvSpPr>
                <a:spLocks noEditPoints="1"/>
              </p:cNvSpPr>
              <p:nvPr/>
            </p:nvSpPr>
            <p:spPr bwMode="auto">
              <a:xfrm>
                <a:off x="5651260" y="2824952"/>
                <a:ext cx="134228" cy="115431"/>
              </a:xfrm>
              <a:custGeom>
                <a:avLst/>
                <a:gdLst>
                  <a:gd name="T0" fmla="*/ 428 w 457"/>
                  <a:gd name="T1" fmla="*/ 157 h 393"/>
                  <a:gd name="T2" fmla="*/ 433 w 457"/>
                  <a:gd name="T3" fmla="*/ 181 h 393"/>
                  <a:gd name="T4" fmla="*/ 409 w 457"/>
                  <a:gd name="T5" fmla="*/ 194 h 393"/>
                  <a:gd name="T6" fmla="*/ 426 w 457"/>
                  <a:gd name="T7" fmla="*/ 238 h 393"/>
                  <a:gd name="T8" fmla="*/ 408 w 457"/>
                  <a:gd name="T9" fmla="*/ 262 h 393"/>
                  <a:gd name="T10" fmla="*/ 380 w 457"/>
                  <a:gd name="T11" fmla="*/ 276 h 393"/>
                  <a:gd name="T12" fmla="*/ 357 w 457"/>
                  <a:gd name="T13" fmla="*/ 286 h 393"/>
                  <a:gd name="T14" fmla="*/ 333 w 457"/>
                  <a:gd name="T15" fmla="*/ 281 h 393"/>
                  <a:gd name="T16" fmla="*/ 311 w 457"/>
                  <a:gd name="T17" fmla="*/ 279 h 393"/>
                  <a:gd name="T18" fmla="*/ 292 w 457"/>
                  <a:gd name="T19" fmla="*/ 279 h 393"/>
                  <a:gd name="T20" fmla="*/ 312 w 457"/>
                  <a:gd name="T21" fmla="*/ 317 h 393"/>
                  <a:gd name="T22" fmla="*/ 336 w 457"/>
                  <a:gd name="T23" fmla="*/ 334 h 393"/>
                  <a:gd name="T24" fmla="*/ 312 w 457"/>
                  <a:gd name="T25" fmla="*/ 352 h 393"/>
                  <a:gd name="T26" fmla="*/ 292 w 457"/>
                  <a:gd name="T27" fmla="*/ 371 h 393"/>
                  <a:gd name="T28" fmla="*/ 270 w 457"/>
                  <a:gd name="T29" fmla="*/ 383 h 393"/>
                  <a:gd name="T30" fmla="*/ 249 w 457"/>
                  <a:gd name="T31" fmla="*/ 385 h 393"/>
                  <a:gd name="T32" fmla="*/ 212 w 457"/>
                  <a:gd name="T33" fmla="*/ 352 h 393"/>
                  <a:gd name="T34" fmla="*/ 192 w 457"/>
                  <a:gd name="T35" fmla="*/ 320 h 393"/>
                  <a:gd name="T36" fmla="*/ 192 w 457"/>
                  <a:gd name="T37" fmla="*/ 288 h 393"/>
                  <a:gd name="T38" fmla="*/ 185 w 457"/>
                  <a:gd name="T39" fmla="*/ 252 h 393"/>
                  <a:gd name="T40" fmla="*/ 195 w 457"/>
                  <a:gd name="T41" fmla="*/ 216 h 393"/>
                  <a:gd name="T42" fmla="*/ 171 w 457"/>
                  <a:gd name="T43" fmla="*/ 206 h 393"/>
                  <a:gd name="T44" fmla="*/ 120 w 457"/>
                  <a:gd name="T45" fmla="*/ 194 h 393"/>
                  <a:gd name="T46" fmla="*/ 76 w 457"/>
                  <a:gd name="T47" fmla="*/ 179 h 393"/>
                  <a:gd name="T48" fmla="*/ 40 w 457"/>
                  <a:gd name="T49" fmla="*/ 167 h 393"/>
                  <a:gd name="T50" fmla="*/ 32 w 457"/>
                  <a:gd name="T51" fmla="*/ 141 h 393"/>
                  <a:gd name="T52" fmla="*/ 11 w 457"/>
                  <a:gd name="T53" fmla="*/ 106 h 393"/>
                  <a:gd name="T54" fmla="*/ 11 w 457"/>
                  <a:gd name="T55" fmla="*/ 82 h 393"/>
                  <a:gd name="T56" fmla="*/ 25 w 457"/>
                  <a:gd name="T57" fmla="*/ 44 h 393"/>
                  <a:gd name="T58" fmla="*/ 64 w 457"/>
                  <a:gd name="T59" fmla="*/ 16 h 393"/>
                  <a:gd name="T60" fmla="*/ 57 w 457"/>
                  <a:gd name="T61" fmla="*/ 41 h 393"/>
                  <a:gd name="T62" fmla="*/ 49 w 457"/>
                  <a:gd name="T63" fmla="*/ 72 h 393"/>
                  <a:gd name="T64" fmla="*/ 47 w 457"/>
                  <a:gd name="T65" fmla="*/ 97 h 393"/>
                  <a:gd name="T66" fmla="*/ 62 w 457"/>
                  <a:gd name="T67" fmla="*/ 107 h 393"/>
                  <a:gd name="T68" fmla="*/ 71 w 457"/>
                  <a:gd name="T69" fmla="*/ 77 h 393"/>
                  <a:gd name="T70" fmla="*/ 62 w 457"/>
                  <a:gd name="T71" fmla="*/ 44 h 393"/>
                  <a:gd name="T72" fmla="*/ 96 w 457"/>
                  <a:gd name="T73" fmla="*/ 31 h 393"/>
                  <a:gd name="T74" fmla="*/ 113 w 457"/>
                  <a:gd name="T75" fmla="*/ 24 h 393"/>
                  <a:gd name="T76" fmla="*/ 105 w 457"/>
                  <a:gd name="T77" fmla="*/ 19 h 393"/>
                  <a:gd name="T78" fmla="*/ 119 w 457"/>
                  <a:gd name="T79" fmla="*/ 9 h 393"/>
                  <a:gd name="T80" fmla="*/ 153 w 457"/>
                  <a:gd name="T81" fmla="*/ 27 h 393"/>
                  <a:gd name="T82" fmla="*/ 170 w 457"/>
                  <a:gd name="T83" fmla="*/ 48 h 393"/>
                  <a:gd name="T84" fmla="*/ 200 w 457"/>
                  <a:gd name="T85" fmla="*/ 56 h 393"/>
                  <a:gd name="T86" fmla="*/ 244 w 457"/>
                  <a:gd name="T87" fmla="*/ 56 h 393"/>
                  <a:gd name="T88" fmla="*/ 282 w 457"/>
                  <a:gd name="T89" fmla="*/ 73 h 393"/>
                  <a:gd name="T90" fmla="*/ 307 w 457"/>
                  <a:gd name="T91" fmla="*/ 61 h 393"/>
                  <a:gd name="T92" fmla="*/ 311 w 457"/>
                  <a:gd name="T93" fmla="*/ 56 h 393"/>
                  <a:gd name="T94" fmla="*/ 329 w 457"/>
                  <a:gd name="T95" fmla="*/ 53 h 393"/>
                  <a:gd name="T96" fmla="*/ 370 w 457"/>
                  <a:gd name="T97" fmla="*/ 51 h 393"/>
                  <a:gd name="T98" fmla="*/ 363 w 457"/>
                  <a:gd name="T99" fmla="*/ 56 h 393"/>
                  <a:gd name="T100" fmla="*/ 370 w 457"/>
                  <a:gd name="T101" fmla="*/ 78 h 393"/>
                  <a:gd name="T102" fmla="*/ 399 w 457"/>
                  <a:gd name="T103" fmla="*/ 82 h 393"/>
                  <a:gd name="T104" fmla="*/ 419 w 457"/>
                  <a:gd name="T105" fmla="*/ 101 h 393"/>
                  <a:gd name="T106" fmla="*/ 423 w 457"/>
                  <a:gd name="T107" fmla="*/ 116 h 393"/>
                  <a:gd name="T108" fmla="*/ 436 w 457"/>
                  <a:gd name="T109" fmla="*/ 124 h 393"/>
                  <a:gd name="T110" fmla="*/ 311 w 457"/>
                  <a:gd name="T111" fmla="*/ 44 h 393"/>
                  <a:gd name="T112" fmla="*/ 309 w 457"/>
                  <a:gd name="T113" fmla="*/ 39 h 393"/>
                  <a:gd name="T114" fmla="*/ 295 w 457"/>
                  <a:gd name="T115" fmla="*/ 10 h 393"/>
                  <a:gd name="T116" fmla="*/ 226 w 457"/>
                  <a:gd name="T117" fmla="*/ 14 h 393"/>
                  <a:gd name="T118" fmla="*/ 221 w 457"/>
                  <a:gd name="T119" fmla="*/ 10 h 393"/>
                  <a:gd name="T120" fmla="*/ 302 w 457"/>
                  <a:gd name="T121" fmla="*/ 63 h 393"/>
                  <a:gd name="T122" fmla="*/ 190 w 457"/>
                  <a:gd name="T123" fmla="*/ 7 h 393"/>
                  <a:gd name="T124" fmla="*/ 219 w 457"/>
                  <a:gd name="T125"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7" h="393">
                    <a:moveTo>
                      <a:pt x="450" y="126"/>
                    </a:moveTo>
                    <a:lnTo>
                      <a:pt x="452" y="128"/>
                    </a:lnTo>
                    <a:lnTo>
                      <a:pt x="453" y="130"/>
                    </a:lnTo>
                    <a:lnTo>
                      <a:pt x="455" y="133"/>
                    </a:lnTo>
                    <a:lnTo>
                      <a:pt x="457" y="135"/>
                    </a:lnTo>
                    <a:lnTo>
                      <a:pt x="455" y="135"/>
                    </a:lnTo>
                    <a:lnTo>
                      <a:pt x="455" y="136"/>
                    </a:lnTo>
                    <a:lnTo>
                      <a:pt x="452" y="136"/>
                    </a:lnTo>
                    <a:lnTo>
                      <a:pt x="450" y="138"/>
                    </a:lnTo>
                    <a:lnTo>
                      <a:pt x="450" y="140"/>
                    </a:lnTo>
                    <a:lnTo>
                      <a:pt x="450" y="141"/>
                    </a:lnTo>
                    <a:lnTo>
                      <a:pt x="448" y="141"/>
                    </a:lnTo>
                    <a:lnTo>
                      <a:pt x="448" y="143"/>
                    </a:lnTo>
                    <a:lnTo>
                      <a:pt x="447" y="143"/>
                    </a:lnTo>
                    <a:lnTo>
                      <a:pt x="445" y="143"/>
                    </a:lnTo>
                    <a:lnTo>
                      <a:pt x="445" y="145"/>
                    </a:lnTo>
                    <a:lnTo>
                      <a:pt x="443" y="145"/>
                    </a:lnTo>
                    <a:lnTo>
                      <a:pt x="442" y="145"/>
                    </a:lnTo>
                    <a:lnTo>
                      <a:pt x="442" y="147"/>
                    </a:lnTo>
                    <a:lnTo>
                      <a:pt x="440" y="148"/>
                    </a:lnTo>
                    <a:lnTo>
                      <a:pt x="438" y="148"/>
                    </a:lnTo>
                    <a:lnTo>
                      <a:pt x="438" y="150"/>
                    </a:lnTo>
                    <a:lnTo>
                      <a:pt x="436" y="150"/>
                    </a:lnTo>
                    <a:lnTo>
                      <a:pt x="435" y="150"/>
                    </a:lnTo>
                    <a:lnTo>
                      <a:pt x="433" y="150"/>
                    </a:lnTo>
                    <a:lnTo>
                      <a:pt x="431" y="150"/>
                    </a:lnTo>
                    <a:lnTo>
                      <a:pt x="431" y="152"/>
                    </a:lnTo>
                    <a:lnTo>
                      <a:pt x="430" y="153"/>
                    </a:lnTo>
                    <a:lnTo>
                      <a:pt x="430" y="155"/>
                    </a:lnTo>
                    <a:lnTo>
                      <a:pt x="430" y="157"/>
                    </a:lnTo>
                    <a:lnTo>
                      <a:pt x="428" y="157"/>
                    </a:lnTo>
                    <a:lnTo>
                      <a:pt x="428" y="158"/>
                    </a:lnTo>
                    <a:lnTo>
                      <a:pt x="428" y="160"/>
                    </a:lnTo>
                    <a:lnTo>
                      <a:pt x="428" y="162"/>
                    </a:lnTo>
                    <a:lnTo>
                      <a:pt x="428" y="164"/>
                    </a:lnTo>
                    <a:lnTo>
                      <a:pt x="428" y="165"/>
                    </a:lnTo>
                    <a:lnTo>
                      <a:pt x="430" y="165"/>
                    </a:lnTo>
                    <a:lnTo>
                      <a:pt x="430" y="167"/>
                    </a:lnTo>
                    <a:lnTo>
                      <a:pt x="430" y="169"/>
                    </a:lnTo>
                    <a:lnTo>
                      <a:pt x="428" y="169"/>
                    </a:lnTo>
                    <a:lnTo>
                      <a:pt x="428" y="170"/>
                    </a:lnTo>
                    <a:lnTo>
                      <a:pt x="430" y="170"/>
                    </a:lnTo>
                    <a:lnTo>
                      <a:pt x="430" y="172"/>
                    </a:lnTo>
                    <a:lnTo>
                      <a:pt x="431" y="172"/>
                    </a:lnTo>
                    <a:lnTo>
                      <a:pt x="431" y="174"/>
                    </a:lnTo>
                    <a:lnTo>
                      <a:pt x="431" y="172"/>
                    </a:lnTo>
                    <a:lnTo>
                      <a:pt x="433" y="172"/>
                    </a:lnTo>
                    <a:lnTo>
                      <a:pt x="433" y="170"/>
                    </a:lnTo>
                    <a:lnTo>
                      <a:pt x="435" y="172"/>
                    </a:lnTo>
                    <a:lnTo>
                      <a:pt x="435" y="170"/>
                    </a:lnTo>
                    <a:lnTo>
                      <a:pt x="435" y="172"/>
                    </a:lnTo>
                    <a:lnTo>
                      <a:pt x="436" y="172"/>
                    </a:lnTo>
                    <a:lnTo>
                      <a:pt x="438" y="172"/>
                    </a:lnTo>
                    <a:lnTo>
                      <a:pt x="438" y="174"/>
                    </a:lnTo>
                    <a:lnTo>
                      <a:pt x="438" y="175"/>
                    </a:lnTo>
                    <a:lnTo>
                      <a:pt x="438" y="177"/>
                    </a:lnTo>
                    <a:lnTo>
                      <a:pt x="438" y="179"/>
                    </a:lnTo>
                    <a:lnTo>
                      <a:pt x="436" y="179"/>
                    </a:lnTo>
                    <a:lnTo>
                      <a:pt x="436" y="181"/>
                    </a:lnTo>
                    <a:lnTo>
                      <a:pt x="436" y="179"/>
                    </a:lnTo>
                    <a:lnTo>
                      <a:pt x="435" y="181"/>
                    </a:lnTo>
                    <a:lnTo>
                      <a:pt x="433" y="181"/>
                    </a:lnTo>
                    <a:lnTo>
                      <a:pt x="433" y="182"/>
                    </a:lnTo>
                    <a:lnTo>
                      <a:pt x="431" y="182"/>
                    </a:lnTo>
                    <a:lnTo>
                      <a:pt x="430" y="182"/>
                    </a:lnTo>
                    <a:lnTo>
                      <a:pt x="430" y="184"/>
                    </a:lnTo>
                    <a:lnTo>
                      <a:pt x="428" y="184"/>
                    </a:lnTo>
                    <a:lnTo>
                      <a:pt x="426" y="184"/>
                    </a:lnTo>
                    <a:lnTo>
                      <a:pt x="426" y="186"/>
                    </a:lnTo>
                    <a:lnTo>
                      <a:pt x="425" y="186"/>
                    </a:lnTo>
                    <a:lnTo>
                      <a:pt x="423" y="186"/>
                    </a:lnTo>
                    <a:lnTo>
                      <a:pt x="423" y="184"/>
                    </a:lnTo>
                    <a:lnTo>
                      <a:pt x="423" y="186"/>
                    </a:lnTo>
                    <a:lnTo>
                      <a:pt x="421" y="186"/>
                    </a:lnTo>
                    <a:lnTo>
                      <a:pt x="419" y="186"/>
                    </a:lnTo>
                    <a:lnTo>
                      <a:pt x="419" y="184"/>
                    </a:lnTo>
                    <a:lnTo>
                      <a:pt x="418" y="184"/>
                    </a:lnTo>
                    <a:lnTo>
                      <a:pt x="418" y="186"/>
                    </a:lnTo>
                    <a:lnTo>
                      <a:pt x="419" y="186"/>
                    </a:lnTo>
                    <a:lnTo>
                      <a:pt x="418" y="187"/>
                    </a:lnTo>
                    <a:lnTo>
                      <a:pt x="416" y="187"/>
                    </a:lnTo>
                    <a:lnTo>
                      <a:pt x="414" y="187"/>
                    </a:lnTo>
                    <a:lnTo>
                      <a:pt x="413" y="187"/>
                    </a:lnTo>
                    <a:lnTo>
                      <a:pt x="411" y="187"/>
                    </a:lnTo>
                    <a:lnTo>
                      <a:pt x="411" y="189"/>
                    </a:lnTo>
                    <a:lnTo>
                      <a:pt x="409" y="189"/>
                    </a:lnTo>
                    <a:lnTo>
                      <a:pt x="409" y="191"/>
                    </a:lnTo>
                    <a:lnTo>
                      <a:pt x="409" y="192"/>
                    </a:lnTo>
                    <a:lnTo>
                      <a:pt x="408" y="192"/>
                    </a:lnTo>
                    <a:lnTo>
                      <a:pt x="409" y="192"/>
                    </a:lnTo>
                    <a:lnTo>
                      <a:pt x="408" y="192"/>
                    </a:lnTo>
                    <a:lnTo>
                      <a:pt x="409" y="192"/>
                    </a:lnTo>
                    <a:lnTo>
                      <a:pt x="409" y="194"/>
                    </a:lnTo>
                    <a:lnTo>
                      <a:pt x="411" y="194"/>
                    </a:lnTo>
                    <a:lnTo>
                      <a:pt x="409" y="196"/>
                    </a:lnTo>
                    <a:lnTo>
                      <a:pt x="411" y="196"/>
                    </a:lnTo>
                    <a:lnTo>
                      <a:pt x="411" y="198"/>
                    </a:lnTo>
                    <a:lnTo>
                      <a:pt x="411" y="199"/>
                    </a:lnTo>
                    <a:lnTo>
                      <a:pt x="411" y="201"/>
                    </a:lnTo>
                    <a:lnTo>
                      <a:pt x="409" y="201"/>
                    </a:lnTo>
                    <a:lnTo>
                      <a:pt x="411" y="201"/>
                    </a:lnTo>
                    <a:lnTo>
                      <a:pt x="411" y="203"/>
                    </a:lnTo>
                    <a:lnTo>
                      <a:pt x="413" y="203"/>
                    </a:lnTo>
                    <a:lnTo>
                      <a:pt x="411" y="203"/>
                    </a:lnTo>
                    <a:lnTo>
                      <a:pt x="411" y="204"/>
                    </a:lnTo>
                    <a:lnTo>
                      <a:pt x="413" y="204"/>
                    </a:lnTo>
                    <a:lnTo>
                      <a:pt x="411" y="206"/>
                    </a:lnTo>
                    <a:lnTo>
                      <a:pt x="409" y="206"/>
                    </a:lnTo>
                    <a:lnTo>
                      <a:pt x="409" y="208"/>
                    </a:lnTo>
                    <a:lnTo>
                      <a:pt x="408" y="208"/>
                    </a:lnTo>
                    <a:lnTo>
                      <a:pt x="406" y="209"/>
                    </a:lnTo>
                    <a:lnTo>
                      <a:pt x="406" y="211"/>
                    </a:lnTo>
                    <a:lnTo>
                      <a:pt x="404" y="211"/>
                    </a:lnTo>
                    <a:lnTo>
                      <a:pt x="404" y="213"/>
                    </a:lnTo>
                    <a:lnTo>
                      <a:pt x="402" y="213"/>
                    </a:lnTo>
                    <a:lnTo>
                      <a:pt x="402" y="215"/>
                    </a:lnTo>
                    <a:lnTo>
                      <a:pt x="404" y="216"/>
                    </a:lnTo>
                    <a:lnTo>
                      <a:pt x="409" y="221"/>
                    </a:lnTo>
                    <a:lnTo>
                      <a:pt x="413" y="223"/>
                    </a:lnTo>
                    <a:lnTo>
                      <a:pt x="414" y="228"/>
                    </a:lnTo>
                    <a:lnTo>
                      <a:pt x="421" y="235"/>
                    </a:lnTo>
                    <a:lnTo>
                      <a:pt x="423" y="237"/>
                    </a:lnTo>
                    <a:lnTo>
                      <a:pt x="425" y="238"/>
                    </a:lnTo>
                    <a:lnTo>
                      <a:pt x="426" y="238"/>
                    </a:lnTo>
                    <a:lnTo>
                      <a:pt x="426" y="240"/>
                    </a:lnTo>
                    <a:lnTo>
                      <a:pt x="428" y="240"/>
                    </a:lnTo>
                    <a:lnTo>
                      <a:pt x="428" y="242"/>
                    </a:lnTo>
                    <a:lnTo>
                      <a:pt x="428" y="243"/>
                    </a:lnTo>
                    <a:lnTo>
                      <a:pt x="428" y="245"/>
                    </a:lnTo>
                    <a:lnTo>
                      <a:pt x="430" y="245"/>
                    </a:lnTo>
                    <a:lnTo>
                      <a:pt x="430" y="247"/>
                    </a:lnTo>
                    <a:lnTo>
                      <a:pt x="430" y="249"/>
                    </a:lnTo>
                    <a:lnTo>
                      <a:pt x="428" y="249"/>
                    </a:lnTo>
                    <a:lnTo>
                      <a:pt x="428" y="250"/>
                    </a:lnTo>
                    <a:lnTo>
                      <a:pt x="426" y="250"/>
                    </a:lnTo>
                    <a:lnTo>
                      <a:pt x="426" y="252"/>
                    </a:lnTo>
                    <a:lnTo>
                      <a:pt x="425" y="252"/>
                    </a:lnTo>
                    <a:lnTo>
                      <a:pt x="425" y="254"/>
                    </a:lnTo>
                    <a:lnTo>
                      <a:pt x="423" y="254"/>
                    </a:lnTo>
                    <a:lnTo>
                      <a:pt x="423" y="255"/>
                    </a:lnTo>
                    <a:lnTo>
                      <a:pt x="421" y="255"/>
                    </a:lnTo>
                    <a:lnTo>
                      <a:pt x="419" y="255"/>
                    </a:lnTo>
                    <a:lnTo>
                      <a:pt x="419" y="257"/>
                    </a:lnTo>
                    <a:lnTo>
                      <a:pt x="418" y="257"/>
                    </a:lnTo>
                    <a:lnTo>
                      <a:pt x="418" y="259"/>
                    </a:lnTo>
                    <a:lnTo>
                      <a:pt x="418" y="261"/>
                    </a:lnTo>
                    <a:lnTo>
                      <a:pt x="416" y="261"/>
                    </a:lnTo>
                    <a:lnTo>
                      <a:pt x="416" y="262"/>
                    </a:lnTo>
                    <a:lnTo>
                      <a:pt x="414" y="262"/>
                    </a:lnTo>
                    <a:lnTo>
                      <a:pt x="413" y="262"/>
                    </a:lnTo>
                    <a:lnTo>
                      <a:pt x="411" y="262"/>
                    </a:lnTo>
                    <a:lnTo>
                      <a:pt x="411" y="264"/>
                    </a:lnTo>
                    <a:lnTo>
                      <a:pt x="411" y="262"/>
                    </a:lnTo>
                    <a:lnTo>
                      <a:pt x="409" y="262"/>
                    </a:lnTo>
                    <a:lnTo>
                      <a:pt x="408" y="262"/>
                    </a:lnTo>
                    <a:lnTo>
                      <a:pt x="406" y="262"/>
                    </a:lnTo>
                    <a:lnTo>
                      <a:pt x="404" y="262"/>
                    </a:lnTo>
                    <a:lnTo>
                      <a:pt x="406" y="262"/>
                    </a:lnTo>
                    <a:lnTo>
                      <a:pt x="406" y="264"/>
                    </a:lnTo>
                    <a:lnTo>
                      <a:pt x="406" y="266"/>
                    </a:lnTo>
                    <a:lnTo>
                      <a:pt x="404" y="266"/>
                    </a:lnTo>
                    <a:lnTo>
                      <a:pt x="402" y="266"/>
                    </a:lnTo>
                    <a:lnTo>
                      <a:pt x="401" y="266"/>
                    </a:lnTo>
                    <a:lnTo>
                      <a:pt x="399" y="266"/>
                    </a:lnTo>
                    <a:lnTo>
                      <a:pt x="399" y="267"/>
                    </a:lnTo>
                    <a:lnTo>
                      <a:pt x="399" y="269"/>
                    </a:lnTo>
                    <a:lnTo>
                      <a:pt x="399" y="271"/>
                    </a:lnTo>
                    <a:lnTo>
                      <a:pt x="397" y="271"/>
                    </a:lnTo>
                    <a:lnTo>
                      <a:pt x="396" y="271"/>
                    </a:lnTo>
                    <a:lnTo>
                      <a:pt x="394" y="271"/>
                    </a:lnTo>
                    <a:lnTo>
                      <a:pt x="394" y="272"/>
                    </a:lnTo>
                    <a:lnTo>
                      <a:pt x="394" y="271"/>
                    </a:lnTo>
                    <a:lnTo>
                      <a:pt x="392" y="271"/>
                    </a:lnTo>
                    <a:lnTo>
                      <a:pt x="391" y="271"/>
                    </a:lnTo>
                    <a:lnTo>
                      <a:pt x="391" y="272"/>
                    </a:lnTo>
                    <a:lnTo>
                      <a:pt x="389" y="272"/>
                    </a:lnTo>
                    <a:lnTo>
                      <a:pt x="389" y="274"/>
                    </a:lnTo>
                    <a:lnTo>
                      <a:pt x="387" y="274"/>
                    </a:lnTo>
                    <a:lnTo>
                      <a:pt x="385" y="274"/>
                    </a:lnTo>
                    <a:lnTo>
                      <a:pt x="385" y="276"/>
                    </a:lnTo>
                    <a:lnTo>
                      <a:pt x="384" y="276"/>
                    </a:lnTo>
                    <a:lnTo>
                      <a:pt x="384" y="274"/>
                    </a:lnTo>
                    <a:lnTo>
                      <a:pt x="382" y="274"/>
                    </a:lnTo>
                    <a:lnTo>
                      <a:pt x="380" y="274"/>
                    </a:lnTo>
                    <a:lnTo>
                      <a:pt x="379" y="274"/>
                    </a:lnTo>
                    <a:lnTo>
                      <a:pt x="380" y="276"/>
                    </a:lnTo>
                    <a:lnTo>
                      <a:pt x="379" y="276"/>
                    </a:lnTo>
                    <a:lnTo>
                      <a:pt x="377" y="278"/>
                    </a:lnTo>
                    <a:lnTo>
                      <a:pt x="377" y="276"/>
                    </a:lnTo>
                    <a:lnTo>
                      <a:pt x="375" y="276"/>
                    </a:lnTo>
                    <a:lnTo>
                      <a:pt x="374" y="276"/>
                    </a:lnTo>
                    <a:lnTo>
                      <a:pt x="372" y="274"/>
                    </a:lnTo>
                    <a:lnTo>
                      <a:pt x="372" y="276"/>
                    </a:lnTo>
                    <a:lnTo>
                      <a:pt x="372" y="274"/>
                    </a:lnTo>
                    <a:lnTo>
                      <a:pt x="372" y="276"/>
                    </a:lnTo>
                    <a:lnTo>
                      <a:pt x="370" y="274"/>
                    </a:lnTo>
                    <a:lnTo>
                      <a:pt x="368" y="274"/>
                    </a:lnTo>
                    <a:lnTo>
                      <a:pt x="367" y="274"/>
                    </a:lnTo>
                    <a:lnTo>
                      <a:pt x="367" y="276"/>
                    </a:lnTo>
                    <a:lnTo>
                      <a:pt x="365" y="274"/>
                    </a:lnTo>
                    <a:lnTo>
                      <a:pt x="365" y="276"/>
                    </a:lnTo>
                    <a:lnTo>
                      <a:pt x="363" y="276"/>
                    </a:lnTo>
                    <a:lnTo>
                      <a:pt x="363" y="278"/>
                    </a:lnTo>
                    <a:lnTo>
                      <a:pt x="363" y="279"/>
                    </a:lnTo>
                    <a:lnTo>
                      <a:pt x="362" y="279"/>
                    </a:lnTo>
                    <a:lnTo>
                      <a:pt x="362" y="278"/>
                    </a:lnTo>
                    <a:lnTo>
                      <a:pt x="360" y="278"/>
                    </a:lnTo>
                    <a:lnTo>
                      <a:pt x="360" y="279"/>
                    </a:lnTo>
                    <a:lnTo>
                      <a:pt x="360" y="278"/>
                    </a:lnTo>
                    <a:lnTo>
                      <a:pt x="358" y="279"/>
                    </a:lnTo>
                    <a:lnTo>
                      <a:pt x="357" y="278"/>
                    </a:lnTo>
                    <a:lnTo>
                      <a:pt x="357" y="279"/>
                    </a:lnTo>
                    <a:lnTo>
                      <a:pt x="357" y="281"/>
                    </a:lnTo>
                    <a:lnTo>
                      <a:pt x="357" y="283"/>
                    </a:lnTo>
                    <a:lnTo>
                      <a:pt x="355" y="283"/>
                    </a:lnTo>
                    <a:lnTo>
                      <a:pt x="357" y="284"/>
                    </a:lnTo>
                    <a:lnTo>
                      <a:pt x="357" y="286"/>
                    </a:lnTo>
                    <a:lnTo>
                      <a:pt x="358" y="286"/>
                    </a:lnTo>
                    <a:lnTo>
                      <a:pt x="357" y="286"/>
                    </a:lnTo>
                    <a:lnTo>
                      <a:pt x="358" y="288"/>
                    </a:lnTo>
                    <a:lnTo>
                      <a:pt x="357" y="288"/>
                    </a:lnTo>
                    <a:lnTo>
                      <a:pt x="358" y="289"/>
                    </a:lnTo>
                    <a:lnTo>
                      <a:pt x="357" y="289"/>
                    </a:lnTo>
                    <a:lnTo>
                      <a:pt x="357" y="291"/>
                    </a:lnTo>
                    <a:lnTo>
                      <a:pt x="357" y="289"/>
                    </a:lnTo>
                    <a:lnTo>
                      <a:pt x="355" y="289"/>
                    </a:lnTo>
                    <a:lnTo>
                      <a:pt x="355" y="288"/>
                    </a:lnTo>
                    <a:lnTo>
                      <a:pt x="353" y="289"/>
                    </a:lnTo>
                    <a:lnTo>
                      <a:pt x="351" y="291"/>
                    </a:lnTo>
                    <a:lnTo>
                      <a:pt x="351" y="293"/>
                    </a:lnTo>
                    <a:lnTo>
                      <a:pt x="350" y="293"/>
                    </a:lnTo>
                    <a:lnTo>
                      <a:pt x="348" y="293"/>
                    </a:lnTo>
                    <a:lnTo>
                      <a:pt x="348" y="291"/>
                    </a:lnTo>
                    <a:lnTo>
                      <a:pt x="346" y="291"/>
                    </a:lnTo>
                    <a:lnTo>
                      <a:pt x="346" y="289"/>
                    </a:lnTo>
                    <a:lnTo>
                      <a:pt x="346" y="288"/>
                    </a:lnTo>
                    <a:lnTo>
                      <a:pt x="345" y="288"/>
                    </a:lnTo>
                    <a:lnTo>
                      <a:pt x="345" y="286"/>
                    </a:lnTo>
                    <a:lnTo>
                      <a:pt x="343" y="286"/>
                    </a:lnTo>
                    <a:lnTo>
                      <a:pt x="341" y="286"/>
                    </a:lnTo>
                    <a:lnTo>
                      <a:pt x="341" y="284"/>
                    </a:lnTo>
                    <a:lnTo>
                      <a:pt x="341" y="283"/>
                    </a:lnTo>
                    <a:lnTo>
                      <a:pt x="341" y="281"/>
                    </a:lnTo>
                    <a:lnTo>
                      <a:pt x="340" y="281"/>
                    </a:lnTo>
                    <a:lnTo>
                      <a:pt x="338" y="281"/>
                    </a:lnTo>
                    <a:lnTo>
                      <a:pt x="336" y="281"/>
                    </a:lnTo>
                    <a:lnTo>
                      <a:pt x="334" y="281"/>
                    </a:lnTo>
                    <a:lnTo>
                      <a:pt x="333" y="281"/>
                    </a:lnTo>
                    <a:lnTo>
                      <a:pt x="334" y="281"/>
                    </a:lnTo>
                    <a:lnTo>
                      <a:pt x="334" y="283"/>
                    </a:lnTo>
                    <a:lnTo>
                      <a:pt x="334" y="284"/>
                    </a:lnTo>
                    <a:lnTo>
                      <a:pt x="333" y="284"/>
                    </a:lnTo>
                    <a:lnTo>
                      <a:pt x="331" y="284"/>
                    </a:lnTo>
                    <a:lnTo>
                      <a:pt x="329" y="284"/>
                    </a:lnTo>
                    <a:lnTo>
                      <a:pt x="329" y="283"/>
                    </a:lnTo>
                    <a:lnTo>
                      <a:pt x="329" y="284"/>
                    </a:lnTo>
                    <a:lnTo>
                      <a:pt x="328" y="283"/>
                    </a:lnTo>
                    <a:lnTo>
                      <a:pt x="329" y="283"/>
                    </a:lnTo>
                    <a:lnTo>
                      <a:pt x="328" y="283"/>
                    </a:lnTo>
                    <a:lnTo>
                      <a:pt x="328" y="281"/>
                    </a:lnTo>
                    <a:lnTo>
                      <a:pt x="326" y="281"/>
                    </a:lnTo>
                    <a:lnTo>
                      <a:pt x="326" y="279"/>
                    </a:lnTo>
                    <a:lnTo>
                      <a:pt x="324" y="281"/>
                    </a:lnTo>
                    <a:lnTo>
                      <a:pt x="326" y="283"/>
                    </a:lnTo>
                    <a:lnTo>
                      <a:pt x="324" y="283"/>
                    </a:lnTo>
                    <a:lnTo>
                      <a:pt x="323" y="281"/>
                    </a:lnTo>
                    <a:lnTo>
                      <a:pt x="323" y="283"/>
                    </a:lnTo>
                    <a:lnTo>
                      <a:pt x="321" y="283"/>
                    </a:lnTo>
                    <a:lnTo>
                      <a:pt x="321" y="281"/>
                    </a:lnTo>
                    <a:lnTo>
                      <a:pt x="319" y="281"/>
                    </a:lnTo>
                    <a:lnTo>
                      <a:pt x="319" y="283"/>
                    </a:lnTo>
                    <a:lnTo>
                      <a:pt x="317" y="283"/>
                    </a:lnTo>
                    <a:lnTo>
                      <a:pt x="316" y="283"/>
                    </a:lnTo>
                    <a:lnTo>
                      <a:pt x="316" y="284"/>
                    </a:lnTo>
                    <a:lnTo>
                      <a:pt x="316" y="283"/>
                    </a:lnTo>
                    <a:lnTo>
                      <a:pt x="314" y="283"/>
                    </a:lnTo>
                    <a:lnTo>
                      <a:pt x="312" y="281"/>
                    </a:lnTo>
                    <a:lnTo>
                      <a:pt x="312" y="279"/>
                    </a:lnTo>
                    <a:lnTo>
                      <a:pt x="311" y="279"/>
                    </a:lnTo>
                    <a:lnTo>
                      <a:pt x="312" y="278"/>
                    </a:lnTo>
                    <a:lnTo>
                      <a:pt x="311" y="278"/>
                    </a:lnTo>
                    <a:lnTo>
                      <a:pt x="311" y="276"/>
                    </a:lnTo>
                    <a:lnTo>
                      <a:pt x="309" y="276"/>
                    </a:lnTo>
                    <a:lnTo>
                      <a:pt x="307" y="276"/>
                    </a:lnTo>
                    <a:lnTo>
                      <a:pt x="306" y="276"/>
                    </a:lnTo>
                    <a:lnTo>
                      <a:pt x="306" y="274"/>
                    </a:lnTo>
                    <a:lnTo>
                      <a:pt x="304" y="276"/>
                    </a:lnTo>
                    <a:lnTo>
                      <a:pt x="302" y="276"/>
                    </a:lnTo>
                    <a:lnTo>
                      <a:pt x="302" y="274"/>
                    </a:lnTo>
                    <a:lnTo>
                      <a:pt x="300" y="276"/>
                    </a:lnTo>
                    <a:lnTo>
                      <a:pt x="300" y="274"/>
                    </a:lnTo>
                    <a:lnTo>
                      <a:pt x="300" y="276"/>
                    </a:lnTo>
                    <a:lnTo>
                      <a:pt x="299" y="276"/>
                    </a:lnTo>
                    <a:lnTo>
                      <a:pt x="297" y="276"/>
                    </a:lnTo>
                    <a:lnTo>
                      <a:pt x="295" y="276"/>
                    </a:lnTo>
                    <a:lnTo>
                      <a:pt x="294" y="276"/>
                    </a:lnTo>
                    <a:lnTo>
                      <a:pt x="294" y="274"/>
                    </a:lnTo>
                    <a:lnTo>
                      <a:pt x="292" y="272"/>
                    </a:lnTo>
                    <a:lnTo>
                      <a:pt x="292" y="271"/>
                    </a:lnTo>
                    <a:lnTo>
                      <a:pt x="290" y="271"/>
                    </a:lnTo>
                    <a:lnTo>
                      <a:pt x="289" y="271"/>
                    </a:lnTo>
                    <a:lnTo>
                      <a:pt x="287" y="271"/>
                    </a:lnTo>
                    <a:lnTo>
                      <a:pt x="287" y="272"/>
                    </a:lnTo>
                    <a:lnTo>
                      <a:pt x="287" y="274"/>
                    </a:lnTo>
                    <a:lnTo>
                      <a:pt x="289" y="274"/>
                    </a:lnTo>
                    <a:lnTo>
                      <a:pt x="289" y="276"/>
                    </a:lnTo>
                    <a:lnTo>
                      <a:pt x="290" y="276"/>
                    </a:lnTo>
                    <a:lnTo>
                      <a:pt x="290" y="278"/>
                    </a:lnTo>
                    <a:lnTo>
                      <a:pt x="292" y="278"/>
                    </a:lnTo>
                    <a:lnTo>
                      <a:pt x="292" y="279"/>
                    </a:lnTo>
                    <a:lnTo>
                      <a:pt x="294" y="281"/>
                    </a:lnTo>
                    <a:lnTo>
                      <a:pt x="295" y="283"/>
                    </a:lnTo>
                    <a:lnTo>
                      <a:pt x="295" y="284"/>
                    </a:lnTo>
                    <a:lnTo>
                      <a:pt x="297" y="284"/>
                    </a:lnTo>
                    <a:lnTo>
                      <a:pt x="297" y="286"/>
                    </a:lnTo>
                    <a:lnTo>
                      <a:pt x="299" y="286"/>
                    </a:lnTo>
                    <a:lnTo>
                      <a:pt x="299" y="288"/>
                    </a:lnTo>
                    <a:lnTo>
                      <a:pt x="300" y="288"/>
                    </a:lnTo>
                    <a:lnTo>
                      <a:pt x="302" y="288"/>
                    </a:lnTo>
                    <a:lnTo>
                      <a:pt x="304" y="288"/>
                    </a:lnTo>
                    <a:lnTo>
                      <a:pt x="304" y="289"/>
                    </a:lnTo>
                    <a:lnTo>
                      <a:pt x="306" y="289"/>
                    </a:lnTo>
                    <a:lnTo>
                      <a:pt x="306" y="291"/>
                    </a:lnTo>
                    <a:lnTo>
                      <a:pt x="307" y="293"/>
                    </a:lnTo>
                    <a:lnTo>
                      <a:pt x="309" y="295"/>
                    </a:lnTo>
                    <a:lnTo>
                      <a:pt x="309" y="296"/>
                    </a:lnTo>
                    <a:lnTo>
                      <a:pt x="307" y="298"/>
                    </a:lnTo>
                    <a:lnTo>
                      <a:pt x="306" y="300"/>
                    </a:lnTo>
                    <a:lnTo>
                      <a:pt x="307" y="300"/>
                    </a:lnTo>
                    <a:lnTo>
                      <a:pt x="307" y="301"/>
                    </a:lnTo>
                    <a:lnTo>
                      <a:pt x="307" y="303"/>
                    </a:lnTo>
                    <a:lnTo>
                      <a:pt x="307" y="305"/>
                    </a:lnTo>
                    <a:lnTo>
                      <a:pt x="307" y="306"/>
                    </a:lnTo>
                    <a:lnTo>
                      <a:pt x="307" y="308"/>
                    </a:lnTo>
                    <a:lnTo>
                      <a:pt x="307" y="310"/>
                    </a:lnTo>
                    <a:lnTo>
                      <a:pt x="309" y="312"/>
                    </a:lnTo>
                    <a:lnTo>
                      <a:pt x="309" y="313"/>
                    </a:lnTo>
                    <a:lnTo>
                      <a:pt x="311" y="313"/>
                    </a:lnTo>
                    <a:lnTo>
                      <a:pt x="311" y="315"/>
                    </a:lnTo>
                    <a:lnTo>
                      <a:pt x="312" y="315"/>
                    </a:lnTo>
                    <a:lnTo>
                      <a:pt x="312" y="317"/>
                    </a:lnTo>
                    <a:lnTo>
                      <a:pt x="312" y="318"/>
                    </a:lnTo>
                    <a:lnTo>
                      <a:pt x="314" y="320"/>
                    </a:lnTo>
                    <a:lnTo>
                      <a:pt x="314" y="322"/>
                    </a:lnTo>
                    <a:lnTo>
                      <a:pt x="316" y="322"/>
                    </a:lnTo>
                    <a:lnTo>
                      <a:pt x="314" y="322"/>
                    </a:lnTo>
                    <a:lnTo>
                      <a:pt x="316" y="323"/>
                    </a:lnTo>
                    <a:lnTo>
                      <a:pt x="314" y="323"/>
                    </a:lnTo>
                    <a:lnTo>
                      <a:pt x="316" y="323"/>
                    </a:lnTo>
                    <a:lnTo>
                      <a:pt x="316" y="325"/>
                    </a:lnTo>
                    <a:lnTo>
                      <a:pt x="314" y="325"/>
                    </a:lnTo>
                    <a:lnTo>
                      <a:pt x="314" y="327"/>
                    </a:lnTo>
                    <a:lnTo>
                      <a:pt x="314" y="329"/>
                    </a:lnTo>
                    <a:lnTo>
                      <a:pt x="312" y="329"/>
                    </a:lnTo>
                    <a:lnTo>
                      <a:pt x="312" y="330"/>
                    </a:lnTo>
                    <a:lnTo>
                      <a:pt x="314" y="330"/>
                    </a:lnTo>
                    <a:lnTo>
                      <a:pt x="314" y="332"/>
                    </a:lnTo>
                    <a:lnTo>
                      <a:pt x="314" y="330"/>
                    </a:lnTo>
                    <a:lnTo>
                      <a:pt x="316" y="332"/>
                    </a:lnTo>
                    <a:lnTo>
                      <a:pt x="317" y="332"/>
                    </a:lnTo>
                    <a:lnTo>
                      <a:pt x="319" y="332"/>
                    </a:lnTo>
                    <a:lnTo>
                      <a:pt x="321" y="334"/>
                    </a:lnTo>
                    <a:lnTo>
                      <a:pt x="323" y="334"/>
                    </a:lnTo>
                    <a:lnTo>
                      <a:pt x="324" y="334"/>
                    </a:lnTo>
                    <a:lnTo>
                      <a:pt x="326" y="334"/>
                    </a:lnTo>
                    <a:lnTo>
                      <a:pt x="328" y="334"/>
                    </a:lnTo>
                    <a:lnTo>
                      <a:pt x="329" y="334"/>
                    </a:lnTo>
                    <a:lnTo>
                      <a:pt x="331" y="334"/>
                    </a:lnTo>
                    <a:lnTo>
                      <a:pt x="333" y="332"/>
                    </a:lnTo>
                    <a:lnTo>
                      <a:pt x="334" y="332"/>
                    </a:lnTo>
                    <a:lnTo>
                      <a:pt x="336" y="332"/>
                    </a:lnTo>
                    <a:lnTo>
                      <a:pt x="336" y="334"/>
                    </a:lnTo>
                    <a:lnTo>
                      <a:pt x="336" y="335"/>
                    </a:lnTo>
                    <a:lnTo>
                      <a:pt x="336" y="337"/>
                    </a:lnTo>
                    <a:lnTo>
                      <a:pt x="336" y="339"/>
                    </a:lnTo>
                    <a:lnTo>
                      <a:pt x="336" y="340"/>
                    </a:lnTo>
                    <a:lnTo>
                      <a:pt x="334" y="340"/>
                    </a:lnTo>
                    <a:lnTo>
                      <a:pt x="336" y="340"/>
                    </a:lnTo>
                    <a:lnTo>
                      <a:pt x="334" y="342"/>
                    </a:lnTo>
                    <a:lnTo>
                      <a:pt x="333" y="344"/>
                    </a:lnTo>
                    <a:lnTo>
                      <a:pt x="333" y="342"/>
                    </a:lnTo>
                    <a:lnTo>
                      <a:pt x="333" y="344"/>
                    </a:lnTo>
                    <a:lnTo>
                      <a:pt x="331" y="344"/>
                    </a:lnTo>
                    <a:lnTo>
                      <a:pt x="331" y="342"/>
                    </a:lnTo>
                    <a:lnTo>
                      <a:pt x="329" y="342"/>
                    </a:lnTo>
                    <a:lnTo>
                      <a:pt x="329" y="344"/>
                    </a:lnTo>
                    <a:lnTo>
                      <a:pt x="328" y="344"/>
                    </a:lnTo>
                    <a:lnTo>
                      <a:pt x="328" y="346"/>
                    </a:lnTo>
                    <a:lnTo>
                      <a:pt x="326" y="346"/>
                    </a:lnTo>
                    <a:lnTo>
                      <a:pt x="326" y="347"/>
                    </a:lnTo>
                    <a:lnTo>
                      <a:pt x="324" y="346"/>
                    </a:lnTo>
                    <a:lnTo>
                      <a:pt x="324" y="347"/>
                    </a:lnTo>
                    <a:lnTo>
                      <a:pt x="323" y="347"/>
                    </a:lnTo>
                    <a:lnTo>
                      <a:pt x="321" y="347"/>
                    </a:lnTo>
                    <a:lnTo>
                      <a:pt x="321" y="349"/>
                    </a:lnTo>
                    <a:lnTo>
                      <a:pt x="319" y="347"/>
                    </a:lnTo>
                    <a:lnTo>
                      <a:pt x="317" y="347"/>
                    </a:lnTo>
                    <a:lnTo>
                      <a:pt x="316" y="347"/>
                    </a:lnTo>
                    <a:lnTo>
                      <a:pt x="314" y="347"/>
                    </a:lnTo>
                    <a:lnTo>
                      <a:pt x="314" y="349"/>
                    </a:lnTo>
                    <a:lnTo>
                      <a:pt x="312" y="349"/>
                    </a:lnTo>
                    <a:lnTo>
                      <a:pt x="312" y="351"/>
                    </a:lnTo>
                    <a:lnTo>
                      <a:pt x="312" y="352"/>
                    </a:lnTo>
                    <a:lnTo>
                      <a:pt x="312" y="354"/>
                    </a:lnTo>
                    <a:lnTo>
                      <a:pt x="312" y="356"/>
                    </a:lnTo>
                    <a:lnTo>
                      <a:pt x="312" y="357"/>
                    </a:lnTo>
                    <a:lnTo>
                      <a:pt x="312" y="359"/>
                    </a:lnTo>
                    <a:lnTo>
                      <a:pt x="312" y="361"/>
                    </a:lnTo>
                    <a:lnTo>
                      <a:pt x="311" y="361"/>
                    </a:lnTo>
                    <a:lnTo>
                      <a:pt x="309" y="361"/>
                    </a:lnTo>
                    <a:lnTo>
                      <a:pt x="309" y="363"/>
                    </a:lnTo>
                    <a:lnTo>
                      <a:pt x="309" y="364"/>
                    </a:lnTo>
                    <a:lnTo>
                      <a:pt x="307" y="364"/>
                    </a:lnTo>
                    <a:lnTo>
                      <a:pt x="306" y="364"/>
                    </a:lnTo>
                    <a:lnTo>
                      <a:pt x="304" y="366"/>
                    </a:lnTo>
                    <a:lnTo>
                      <a:pt x="304" y="368"/>
                    </a:lnTo>
                    <a:lnTo>
                      <a:pt x="304" y="369"/>
                    </a:lnTo>
                    <a:lnTo>
                      <a:pt x="302" y="368"/>
                    </a:lnTo>
                    <a:lnTo>
                      <a:pt x="300" y="368"/>
                    </a:lnTo>
                    <a:lnTo>
                      <a:pt x="302" y="368"/>
                    </a:lnTo>
                    <a:lnTo>
                      <a:pt x="302" y="366"/>
                    </a:lnTo>
                    <a:lnTo>
                      <a:pt x="302" y="364"/>
                    </a:lnTo>
                    <a:lnTo>
                      <a:pt x="302" y="363"/>
                    </a:lnTo>
                    <a:lnTo>
                      <a:pt x="302" y="364"/>
                    </a:lnTo>
                    <a:lnTo>
                      <a:pt x="302" y="363"/>
                    </a:lnTo>
                    <a:lnTo>
                      <a:pt x="300" y="364"/>
                    </a:lnTo>
                    <a:lnTo>
                      <a:pt x="299" y="364"/>
                    </a:lnTo>
                    <a:lnTo>
                      <a:pt x="299" y="366"/>
                    </a:lnTo>
                    <a:lnTo>
                      <a:pt x="297" y="366"/>
                    </a:lnTo>
                    <a:lnTo>
                      <a:pt x="295" y="368"/>
                    </a:lnTo>
                    <a:lnTo>
                      <a:pt x="295" y="369"/>
                    </a:lnTo>
                    <a:lnTo>
                      <a:pt x="294" y="369"/>
                    </a:lnTo>
                    <a:lnTo>
                      <a:pt x="294" y="371"/>
                    </a:lnTo>
                    <a:lnTo>
                      <a:pt x="292" y="371"/>
                    </a:lnTo>
                    <a:lnTo>
                      <a:pt x="290" y="371"/>
                    </a:lnTo>
                    <a:lnTo>
                      <a:pt x="290" y="373"/>
                    </a:lnTo>
                    <a:lnTo>
                      <a:pt x="289" y="373"/>
                    </a:lnTo>
                    <a:lnTo>
                      <a:pt x="289" y="371"/>
                    </a:lnTo>
                    <a:lnTo>
                      <a:pt x="287" y="371"/>
                    </a:lnTo>
                    <a:lnTo>
                      <a:pt x="285" y="371"/>
                    </a:lnTo>
                    <a:lnTo>
                      <a:pt x="287" y="373"/>
                    </a:lnTo>
                    <a:lnTo>
                      <a:pt x="285" y="373"/>
                    </a:lnTo>
                    <a:lnTo>
                      <a:pt x="283" y="373"/>
                    </a:lnTo>
                    <a:lnTo>
                      <a:pt x="283" y="374"/>
                    </a:lnTo>
                    <a:lnTo>
                      <a:pt x="283" y="373"/>
                    </a:lnTo>
                    <a:lnTo>
                      <a:pt x="282" y="373"/>
                    </a:lnTo>
                    <a:lnTo>
                      <a:pt x="282" y="374"/>
                    </a:lnTo>
                    <a:lnTo>
                      <a:pt x="282" y="376"/>
                    </a:lnTo>
                    <a:lnTo>
                      <a:pt x="280" y="376"/>
                    </a:lnTo>
                    <a:lnTo>
                      <a:pt x="280" y="378"/>
                    </a:lnTo>
                    <a:lnTo>
                      <a:pt x="278" y="378"/>
                    </a:lnTo>
                    <a:lnTo>
                      <a:pt x="278" y="376"/>
                    </a:lnTo>
                    <a:lnTo>
                      <a:pt x="277" y="376"/>
                    </a:lnTo>
                    <a:lnTo>
                      <a:pt x="275" y="376"/>
                    </a:lnTo>
                    <a:lnTo>
                      <a:pt x="277" y="378"/>
                    </a:lnTo>
                    <a:lnTo>
                      <a:pt x="275" y="378"/>
                    </a:lnTo>
                    <a:lnTo>
                      <a:pt x="275" y="380"/>
                    </a:lnTo>
                    <a:lnTo>
                      <a:pt x="277" y="381"/>
                    </a:lnTo>
                    <a:lnTo>
                      <a:pt x="275" y="381"/>
                    </a:lnTo>
                    <a:lnTo>
                      <a:pt x="275" y="383"/>
                    </a:lnTo>
                    <a:lnTo>
                      <a:pt x="275" y="385"/>
                    </a:lnTo>
                    <a:lnTo>
                      <a:pt x="273" y="385"/>
                    </a:lnTo>
                    <a:lnTo>
                      <a:pt x="273" y="383"/>
                    </a:lnTo>
                    <a:lnTo>
                      <a:pt x="272" y="383"/>
                    </a:lnTo>
                    <a:lnTo>
                      <a:pt x="270" y="383"/>
                    </a:lnTo>
                    <a:lnTo>
                      <a:pt x="270" y="385"/>
                    </a:lnTo>
                    <a:lnTo>
                      <a:pt x="268" y="385"/>
                    </a:lnTo>
                    <a:lnTo>
                      <a:pt x="270" y="385"/>
                    </a:lnTo>
                    <a:lnTo>
                      <a:pt x="268" y="386"/>
                    </a:lnTo>
                    <a:lnTo>
                      <a:pt x="266" y="388"/>
                    </a:lnTo>
                    <a:lnTo>
                      <a:pt x="268" y="388"/>
                    </a:lnTo>
                    <a:lnTo>
                      <a:pt x="268" y="390"/>
                    </a:lnTo>
                    <a:lnTo>
                      <a:pt x="266" y="390"/>
                    </a:lnTo>
                    <a:lnTo>
                      <a:pt x="266" y="391"/>
                    </a:lnTo>
                    <a:lnTo>
                      <a:pt x="265" y="391"/>
                    </a:lnTo>
                    <a:lnTo>
                      <a:pt x="263" y="391"/>
                    </a:lnTo>
                    <a:lnTo>
                      <a:pt x="263" y="393"/>
                    </a:lnTo>
                    <a:lnTo>
                      <a:pt x="261" y="391"/>
                    </a:lnTo>
                    <a:lnTo>
                      <a:pt x="261" y="390"/>
                    </a:lnTo>
                    <a:lnTo>
                      <a:pt x="263" y="388"/>
                    </a:lnTo>
                    <a:lnTo>
                      <a:pt x="263" y="386"/>
                    </a:lnTo>
                    <a:lnTo>
                      <a:pt x="265" y="386"/>
                    </a:lnTo>
                    <a:lnTo>
                      <a:pt x="265" y="385"/>
                    </a:lnTo>
                    <a:lnTo>
                      <a:pt x="263" y="385"/>
                    </a:lnTo>
                    <a:lnTo>
                      <a:pt x="263" y="383"/>
                    </a:lnTo>
                    <a:lnTo>
                      <a:pt x="263" y="381"/>
                    </a:lnTo>
                    <a:lnTo>
                      <a:pt x="261" y="381"/>
                    </a:lnTo>
                    <a:lnTo>
                      <a:pt x="260" y="381"/>
                    </a:lnTo>
                    <a:lnTo>
                      <a:pt x="258" y="381"/>
                    </a:lnTo>
                    <a:lnTo>
                      <a:pt x="256" y="381"/>
                    </a:lnTo>
                    <a:lnTo>
                      <a:pt x="255" y="381"/>
                    </a:lnTo>
                    <a:lnTo>
                      <a:pt x="255" y="383"/>
                    </a:lnTo>
                    <a:lnTo>
                      <a:pt x="253" y="383"/>
                    </a:lnTo>
                    <a:lnTo>
                      <a:pt x="251" y="383"/>
                    </a:lnTo>
                    <a:lnTo>
                      <a:pt x="251" y="385"/>
                    </a:lnTo>
                    <a:lnTo>
                      <a:pt x="249" y="385"/>
                    </a:lnTo>
                    <a:lnTo>
                      <a:pt x="249" y="386"/>
                    </a:lnTo>
                    <a:lnTo>
                      <a:pt x="248" y="386"/>
                    </a:lnTo>
                    <a:lnTo>
                      <a:pt x="248" y="388"/>
                    </a:lnTo>
                    <a:lnTo>
                      <a:pt x="246" y="388"/>
                    </a:lnTo>
                    <a:lnTo>
                      <a:pt x="244" y="388"/>
                    </a:lnTo>
                    <a:lnTo>
                      <a:pt x="244" y="390"/>
                    </a:lnTo>
                    <a:lnTo>
                      <a:pt x="243" y="390"/>
                    </a:lnTo>
                    <a:lnTo>
                      <a:pt x="241" y="390"/>
                    </a:lnTo>
                    <a:lnTo>
                      <a:pt x="241" y="388"/>
                    </a:lnTo>
                    <a:lnTo>
                      <a:pt x="239" y="388"/>
                    </a:lnTo>
                    <a:lnTo>
                      <a:pt x="238" y="390"/>
                    </a:lnTo>
                    <a:lnTo>
                      <a:pt x="236" y="390"/>
                    </a:lnTo>
                    <a:lnTo>
                      <a:pt x="219" y="373"/>
                    </a:lnTo>
                    <a:lnTo>
                      <a:pt x="217" y="373"/>
                    </a:lnTo>
                    <a:lnTo>
                      <a:pt x="217" y="371"/>
                    </a:lnTo>
                    <a:lnTo>
                      <a:pt x="219" y="371"/>
                    </a:lnTo>
                    <a:lnTo>
                      <a:pt x="219" y="369"/>
                    </a:lnTo>
                    <a:lnTo>
                      <a:pt x="219" y="368"/>
                    </a:lnTo>
                    <a:lnTo>
                      <a:pt x="217" y="368"/>
                    </a:lnTo>
                    <a:lnTo>
                      <a:pt x="217" y="366"/>
                    </a:lnTo>
                    <a:lnTo>
                      <a:pt x="217" y="364"/>
                    </a:lnTo>
                    <a:lnTo>
                      <a:pt x="215" y="364"/>
                    </a:lnTo>
                    <a:lnTo>
                      <a:pt x="215" y="363"/>
                    </a:lnTo>
                    <a:lnTo>
                      <a:pt x="215" y="361"/>
                    </a:lnTo>
                    <a:lnTo>
                      <a:pt x="215" y="359"/>
                    </a:lnTo>
                    <a:lnTo>
                      <a:pt x="214" y="359"/>
                    </a:lnTo>
                    <a:lnTo>
                      <a:pt x="214" y="357"/>
                    </a:lnTo>
                    <a:lnTo>
                      <a:pt x="214" y="356"/>
                    </a:lnTo>
                    <a:lnTo>
                      <a:pt x="212" y="356"/>
                    </a:lnTo>
                    <a:lnTo>
                      <a:pt x="212" y="354"/>
                    </a:lnTo>
                    <a:lnTo>
                      <a:pt x="212" y="352"/>
                    </a:lnTo>
                    <a:lnTo>
                      <a:pt x="212" y="351"/>
                    </a:lnTo>
                    <a:lnTo>
                      <a:pt x="210" y="349"/>
                    </a:lnTo>
                    <a:lnTo>
                      <a:pt x="209" y="347"/>
                    </a:lnTo>
                    <a:lnTo>
                      <a:pt x="210" y="347"/>
                    </a:lnTo>
                    <a:lnTo>
                      <a:pt x="210" y="346"/>
                    </a:lnTo>
                    <a:lnTo>
                      <a:pt x="210" y="344"/>
                    </a:lnTo>
                    <a:lnTo>
                      <a:pt x="209" y="342"/>
                    </a:lnTo>
                    <a:lnTo>
                      <a:pt x="209" y="344"/>
                    </a:lnTo>
                    <a:lnTo>
                      <a:pt x="209" y="342"/>
                    </a:lnTo>
                    <a:lnTo>
                      <a:pt x="207" y="342"/>
                    </a:lnTo>
                    <a:lnTo>
                      <a:pt x="207" y="340"/>
                    </a:lnTo>
                    <a:lnTo>
                      <a:pt x="207" y="339"/>
                    </a:lnTo>
                    <a:lnTo>
                      <a:pt x="205" y="339"/>
                    </a:lnTo>
                    <a:lnTo>
                      <a:pt x="207" y="339"/>
                    </a:lnTo>
                    <a:lnTo>
                      <a:pt x="207" y="337"/>
                    </a:lnTo>
                    <a:lnTo>
                      <a:pt x="207" y="335"/>
                    </a:lnTo>
                    <a:lnTo>
                      <a:pt x="207" y="334"/>
                    </a:lnTo>
                    <a:lnTo>
                      <a:pt x="205" y="334"/>
                    </a:lnTo>
                    <a:lnTo>
                      <a:pt x="205" y="332"/>
                    </a:lnTo>
                    <a:lnTo>
                      <a:pt x="204" y="332"/>
                    </a:lnTo>
                    <a:lnTo>
                      <a:pt x="202" y="330"/>
                    </a:lnTo>
                    <a:lnTo>
                      <a:pt x="202" y="329"/>
                    </a:lnTo>
                    <a:lnTo>
                      <a:pt x="200" y="329"/>
                    </a:lnTo>
                    <a:lnTo>
                      <a:pt x="200" y="327"/>
                    </a:lnTo>
                    <a:lnTo>
                      <a:pt x="198" y="327"/>
                    </a:lnTo>
                    <a:lnTo>
                      <a:pt x="197" y="325"/>
                    </a:lnTo>
                    <a:lnTo>
                      <a:pt x="195" y="325"/>
                    </a:lnTo>
                    <a:lnTo>
                      <a:pt x="195" y="323"/>
                    </a:lnTo>
                    <a:lnTo>
                      <a:pt x="193" y="322"/>
                    </a:lnTo>
                    <a:lnTo>
                      <a:pt x="193" y="320"/>
                    </a:lnTo>
                    <a:lnTo>
                      <a:pt x="192" y="320"/>
                    </a:lnTo>
                    <a:lnTo>
                      <a:pt x="190" y="320"/>
                    </a:lnTo>
                    <a:lnTo>
                      <a:pt x="188" y="320"/>
                    </a:lnTo>
                    <a:lnTo>
                      <a:pt x="188" y="318"/>
                    </a:lnTo>
                    <a:lnTo>
                      <a:pt x="187" y="320"/>
                    </a:lnTo>
                    <a:lnTo>
                      <a:pt x="187" y="318"/>
                    </a:lnTo>
                    <a:lnTo>
                      <a:pt x="185" y="320"/>
                    </a:lnTo>
                    <a:lnTo>
                      <a:pt x="185" y="318"/>
                    </a:lnTo>
                    <a:lnTo>
                      <a:pt x="187" y="317"/>
                    </a:lnTo>
                    <a:lnTo>
                      <a:pt x="190" y="313"/>
                    </a:lnTo>
                    <a:lnTo>
                      <a:pt x="193" y="310"/>
                    </a:lnTo>
                    <a:lnTo>
                      <a:pt x="197" y="308"/>
                    </a:lnTo>
                    <a:lnTo>
                      <a:pt x="198" y="305"/>
                    </a:lnTo>
                    <a:lnTo>
                      <a:pt x="200" y="305"/>
                    </a:lnTo>
                    <a:lnTo>
                      <a:pt x="200" y="303"/>
                    </a:lnTo>
                    <a:lnTo>
                      <a:pt x="202" y="303"/>
                    </a:lnTo>
                    <a:lnTo>
                      <a:pt x="202" y="301"/>
                    </a:lnTo>
                    <a:lnTo>
                      <a:pt x="204" y="301"/>
                    </a:lnTo>
                    <a:lnTo>
                      <a:pt x="204" y="300"/>
                    </a:lnTo>
                    <a:lnTo>
                      <a:pt x="202" y="300"/>
                    </a:lnTo>
                    <a:lnTo>
                      <a:pt x="202" y="298"/>
                    </a:lnTo>
                    <a:lnTo>
                      <a:pt x="200" y="298"/>
                    </a:lnTo>
                    <a:lnTo>
                      <a:pt x="200" y="296"/>
                    </a:lnTo>
                    <a:lnTo>
                      <a:pt x="200" y="295"/>
                    </a:lnTo>
                    <a:lnTo>
                      <a:pt x="198" y="295"/>
                    </a:lnTo>
                    <a:lnTo>
                      <a:pt x="198" y="293"/>
                    </a:lnTo>
                    <a:lnTo>
                      <a:pt x="198" y="291"/>
                    </a:lnTo>
                    <a:lnTo>
                      <a:pt x="197" y="289"/>
                    </a:lnTo>
                    <a:lnTo>
                      <a:pt x="197" y="288"/>
                    </a:lnTo>
                    <a:lnTo>
                      <a:pt x="195" y="288"/>
                    </a:lnTo>
                    <a:lnTo>
                      <a:pt x="193" y="288"/>
                    </a:lnTo>
                    <a:lnTo>
                      <a:pt x="192" y="288"/>
                    </a:lnTo>
                    <a:lnTo>
                      <a:pt x="192" y="286"/>
                    </a:lnTo>
                    <a:lnTo>
                      <a:pt x="192" y="284"/>
                    </a:lnTo>
                    <a:lnTo>
                      <a:pt x="192" y="283"/>
                    </a:lnTo>
                    <a:lnTo>
                      <a:pt x="190" y="283"/>
                    </a:lnTo>
                    <a:lnTo>
                      <a:pt x="190" y="281"/>
                    </a:lnTo>
                    <a:lnTo>
                      <a:pt x="190" y="279"/>
                    </a:lnTo>
                    <a:lnTo>
                      <a:pt x="190" y="278"/>
                    </a:lnTo>
                    <a:lnTo>
                      <a:pt x="188" y="276"/>
                    </a:lnTo>
                    <a:lnTo>
                      <a:pt x="188" y="274"/>
                    </a:lnTo>
                    <a:lnTo>
                      <a:pt x="187" y="274"/>
                    </a:lnTo>
                    <a:lnTo>
                      <a:pt x="187" y="272"/>
                    </a:lnTo>
                    <a:lnTo>
                      <a:pt x="187" y="271"/>
                    </a:lnTo>
                    <a:lnTo>
                      <a:pt x="187" y="269"/>
                    </a:lnTo>
                    <a:lnTo>
                      <a:pt x="187" y="267"/>
                    </a:lnTo>
                    <a:lnTo>
                      <a:pt x="188" y="269"/>
                    </a:lnTo>
                    <a:lnTo>
                      <a:pt x="188" y="267"/>
                    </a:lnTo>
                    <a:lnTo>
                      <a:pt x="187" y="267"/>
                    </a:lnTo>
                    <a:lnTo>
                      <a:pt x="187" y="266"/>
                    </a:lnTo>
                    <a:lnTo>
                      <a:pt x="188" y="266"/>
                    </a:lnTo>
                    <a:lnTo>
                      <a:pt x="187" y="266"/>
                    </a:lnTo>
                    <a:lnTo>
                      <a:pt x="187" y="264"/>
                    </a:lnTo>
                    <a:lnTo>
                      <a:pt x="187" y="262"/>
                    </a:lnTo>
                    <a:lnTo>
                      <a:pt x="185" y="262"/>
                    </a:lnTo>
                    <a:lnTo>
                      <a:pt x="185" y="261"/>
                    </a:lnTo>
                    <a:lnTo>
                      <a:pt x="185" y="259"/>
                    </a:lnTo>
                    <a:lnTo>
                      <a:pt x="185" y="257"/>
                    </a:lnTo>
                    <a:lnTo>
                      <a:pt x="185" y="255"/>
                    </a:lnTo>
                    <a:lnTo>
                      <a:pt x="187" y="255"/>
                    </a:lnTo>
                    <a:lnTo>
                      <a:pt x="187" y="254"/>
                    </a:lnTo>
                    <a:lnTo>
                      <a:pt x="185" y="254"/>
                    </a:lnTo>
                    <a:lnTo>
                      <a:pt x="185" y="252"/>
                    </a:lnTo>
                    <a:lnTo>
                      <a:pt x="185" y="250"/>
                    </a:lnTo>
                    <a:lnTo>
                      <a:pt x="185" y="249"/>
                    </a:lnTo>
                    <a:lnTo>
                      <a:pt x="185" y="247"/>
                    </a:lnTo>
                    <a:lnTo>
                      <a:pt x="187" y="247"/>
                    </a:lnTo>
                    <a:lnTo>
                      <a:pt x="187" y="245"/>
                    </a:lnTo>
                    <a:lnTo>
                      <a:pt x="187" y="243"/>
                    </a:lnTo>
                    <a:lnTo>
                      <a:pt x="185" y="243"/>
                    </a:lnTo>
                    <a:lnTo>
                      <a:pt x="187" y="243"/>
                    </a:lnTo>
                    <a:lnTo>
                      <a:pt x="185" y="242"/>
                    </a:lnTo>
                    <a:lnTo>
                      <a:pt x="185" y="240"/>
                    </a:lnTo>
                    <a:lnTo>
                      <a:pt x="185" y="238"/>
                    </a:lnTo>
                    <a:lnTo>
                      <a:pt x="187" y="237"/>
                    </a:lnTo>
                    <a:lnTo>
                      <a:pt x="185" y="237"/>
                    </a:lnTo>
                    <a:lnTo>
                      <a:pt x="185" y="235"/>
                    </a:lnTo>
                    <a:lnTo>
                      <a:pt x="187" y="235"/>
                    </a:lnTo>
                    <a:lnTo>
                      <a:pt x="187" y="233"/>
                    </a:lnTo>
                    <a:lnTo>
                      <a:pt x="188" y="233"/>
                    </a:lnTo>
                    <a:lnTo>
                      <a:pt x="188" y="232"/>
                    </a:lnTo>
                    <a:lnTo>
                      <a:pt x="190" y="232"/>
                    </a:lnTo>
                    <a:lnTo>
                      <a:pt x="192" y="230"/>
                    </a:lnTo>
                    <a:lnTo>
                      <a:pt x="192" y="228"/>
                    </a:lnTo>
                    <a:lnTo>
                      <a:pt x="193" y="228"/>
                    </a:lnTo>
                    <a:lnTo>
                      <a:pt x="193" y="226"/>
                    </a:lnTo>
                    <a:lnTo>
                      <a:pt x="193" y="225"/>
                    </a:lnTo>
                    <a:lnTo>
                      <a:pt x="192" y="225"/>
                    </a:lnTo>
                    <a:lnTo>
                      <a:pt x="192" y="223"/>
                    </a:lnTo>
                    <a:lnTo>
                      <a:pt x="192" y="221"/>
                    </a:lnTo>
                    <a:lnTo>
                      <a:pt x="193" y="220"/>
                    </a:lnTo>
                    <a:lnTo>
                      <a:pt x="193" y="218"/>
                    </a:lnTo>
                    <a:lnTo>
                      <a:pt x="193" y="216"/>
                    </a:lnTo>
                    <a:lnTo>
                      <a:pt x="195" y="216"/>
                    </a:lnTo>
                    <a:lnTo>
                      <a:pt x="195" y="215"/>
                    </a:lnTo>
                    <a:lnTo>
                      <a:pt x="197" y="215"/>
                    </a:lnTo>
                    <a:lnTo>
                      <a:pt x="198" y="213"/>
                    </a:lnTo>
                    <a:lnTo>
                      <a:pt x="200" y="213"/>
                    </a:lnTo>
                    <a:lnTo>
                      <a:pt x="200" y="211"/>
                    </a:lnTo>
                    <a:lnTo>
                      <a:pt x="198" y="211"/>
                    </a:lnTo>
                    <a:lnTo>
                      <a:pt x="198" y="209"/>
                    </a:lnTo>
                    <a:lnTo>
                      <a:pt x="197" y="208"/>
                    </a:lnTo>
                    <a:lnTo>
                      <a:pt x="197" y="206"/>
                    </a:lnTo>
                    <a:lnTo>
                      <a:pt x="198" y="206"/>
                    </a:lnTo>
                    <a:lnTo>
                      <a:pt x="198" y="204"/>
                    </a:lnTo>
                    <a:lnTo>
                      <a:pt x="197" y="204"/>
                    </a:lnTo>
                    <a:lnTo>
                      <a:pt x="195" y="203"/>
                    </a:lnTo>
                    <a:lnTo>
                      <a:pt x="193" y="203"/>
                    </a:lnTo>
                    <a:lnTo>
                      <a:pt x="192" y="203"/>
                    </a:lnTo>
                    <a:lnTo>
                      <a:pt x="190" y="203"/>
                    </a:lnTo>
                    <a:lnTo>
                      <a:pt x="190" y="201"/>
                    </a:lnTo>
                    <a:lnTo>
                      <a:pt x="188" y="201"/>
                    </a:lnTo>
                    <a:lnTo>
                      <a:pt x="188" y="203"/>
                    </a:lnTo>
                    <a:lnTo>
                      <a:pt x="188" y="201"/>
                    </a:lnTo>
                    <a:lnTo>
                      <a:pt x="187" y="201"/>
                    </a:lnTo>
                    <a:lnTo>
                      <a:pt x="185" y="201"/>
                    </a:lnTo>
                    <a:lnTo>
                      <a:pt x="183" y="203"/>
                    </a:lnTo>
                    <a:lnTo>
                      <a:pt x="181" y="204"/>
                    </a:lnTo>
                    <a:lnTo>
                      <a:pt x="180" y="204"/>
                    </a:lnTo>
                    <a:lnTo>
                      <a:pt x="178" y="204"/>
                    </a:lnTo>
                    <a:lnTo>
                      <a:pt x="176" y="204"/>
                    </a:lnTo>
                    <a:lnTo>
                      <a:pt x="175" y="204"/>
                    </a:lnTo>
                    <a:lnTo>
                      <a:pt x="173" y="204"/>
                    </a:lnTo>
                    <a:lnTo>
                      <a:pt x="171" y="204"/>
                    </a:lnTo>
                    <a:lnTo>
                      <a:pt x="171" y="206"/>
                    </a:lnTo>
                    <a:lnTo>
                      <a:pt x="170" y="206"/>
                    </a:lnTo>
                    <a:lnTo>
                      <a:pt x="168" y="206"/>
                    </a:lnTo>
                    <a:lnTo>
                      <a:pt x="166" y="206"/>
                    </a:lnTo>
                    <a:lnTo>
                      <a:pt x="164" y="206"/>
                    </a:lnTo>
                    <a:lnTo>
                      <a:pt x="163" y="206"/>
                    </a:lnTo>
                    <a:lnTo>
                      <a:pt x="161" y="206"/>
                    </a:lnTo>
                    <a:lnTo>
                      <a:pt x="159" y="206"/>
                    </a:lnTo>
                    <a:lnTo>
                      <a:pt x="158" y="208"/>
                    </a:lnTo>
                    <a:lnTo>
                      <a:pt x="156" y="208"/>
                    </a:lnTo>
                    <a:lnTo>
                      <a:pt x="156" y="206"/>
                    </a:lnTo>
                    <a:lnTo>
                      <a:pt x="154" y="206"/>
                    </a:lnTo>
                    <a:lnTo>
                      <a:pt x="153" y="206"/>
                    </a:lnTo>
                    <a:lnTo>
                      <a:pt x="151" y="206"/>
                    </a:lnTo>
                    <a:lnTo>
                      <a:pt x="149" y="206"/>
                    </a:lnTo>
                    <a:lnTo>
                      <a:pt x="147" y="206"/>
                    </a:lnTo>
                    <a:lnTo>
                      <a:pt x="147" y="204"/>
                    </a:lnTo>
                    <a:lnTo>
                      <a:pt x="146" y="206"/>
                    </a:lnTo>
                    <a:lnTo>
                      <a:pt x="146" y="204"/>
                    </a:lnTo>
                    <a:lnTo>
                      <a:pt x="144" y="204"/>
                    </a:lnTo>
                    <a:lnTo>
                      <a:pt x="142" y="204"/>
                    </a:lnTo>
                    <a:lnTo>
                      <a:pt x="142" y="206"/>
                    </a:lnTo>
                    <a:lnTo>
                      <a:pt x="141" y="206"/>
                    </a:lnTo>
                    <a:lnTo>
                      <a:pt x="139" y="208"/>
                    </a:lnTo>
                    <a:lnTo>
                      <a:pt x="137" y="209"/>
                    </a:lnTo>
                    <a:lnTo>
                      <a:pt x="136" y="209"/>
                    </a:lnTo>
                    <a:lnTo>
                      <a:pt x="136" y="208"/>
                    </a:lnTo>
                    <a:lnTo>
                      <a:pt x="134" y="208"/>
                    </a:lnTo>
                    <a:lnTo>
                      <a:pt x="132" y="208"/>
                    </a:lnTo>
                    <a:lnTo>
                      <a:pt x="127" y="203"/>
                    </a:lnTo>
                    <a:lnTo>
                      <a:pt x="127" y="201"/>
                    </a:lnTo>
                    <a:lnTo>
                      <a:pt x="120" y="194"/>
                    </a:lnTo>
                    <a:lnTo>
                      <a:pt x="113" y="186"/>
                    </a:lnTo>
                    <a:lnTo>
                      <a:pt x="110" y="181"/>
                    </a:lnTo>
                    <a:lnTo>
                      <a:pt x="108" y="179"/>
                    </a:lnTo>
                    <a:lnTo>
                      <a:pt x="107" y="179"/>
                    </a:lnTo>
                    <a:lnTo>
                      <a:pt x="105" y="179"/>
                    </a:lnTo>
                    <a:lnTo>
                      <a:pt x="103" y="179"/>
                    </a:lnTo>
                    <a:lnTo>
                      <a:pt x="103" y="181"/>
                    </a:lnTo>
                    <a:lnTo>
                      <a:pt x="102" y="181"/>
                    </a:lnTo>
                    <a:lnTo>
                      <a:pt x="100" y="181"/>
                    </a:lnTo>
                    <a:lnTo>
                      <a:pt x="100" y="179"/>
                    </a:lnTo>
                    <a:lnTo>
                      <a:pt x="98" y="179"/>
                    </a:lnTo>
                    <a:lnTo>
                      <a:pt x="98" y="177"/>
                    </a:lnTo>
                    <a:lnTo>
                      <a:pt x="96" y="177"/>
                    </a:lnTo>
                    <a:lnTo>
                      <a:pt x="95" y="177"/>
                    </a:lnTo>
                    <a:lnTo>
                      <a:pt x="95" y="175"/>
                    </a:lnTo>
                    <a:lnTo>
                      <a:pt x="93" y="175"/>
                    </a:lnTo>
                    <a:lnTo>
                      <a:pt x="91" y="175"/>
                    </a:lnTo>
                    <a:lnTo>
                      <a:pt x="90" y="175"/>
                    </a:lnTo>
                    <a:lnTo>
                      <a:pt x="90" y="174"/>
                    </a:lnTo>
                    <a:lnTo>
                      <a:pt x="88" y="175"/>
                    </a:lnTo>
                    <a:lnTo>
                      <a:pt x="86" y="174"/>
                    </a:lnTo>
                    <a:lnTo>
                      <a:pt x="86" y="175"/>
                    </a:lnTo>
                    <a:lnTo>
                      <a:pt x="85" y="175"/>
                    </a:lnTo>
                    <a:lnTo>
                      <a:pt x="83" y="175"/>
                    </a:lnTo>
                    <a:lnTo>
                      <a:pt x="81" y="177"/>
                    </a:lnTo>
                    <a:lnTo>
                      <a:pt x="81" y="175"/>
                    </a:lnTo>
                    <a:lnTo>
                      <a:pt x="81" y="177"/>
                    </a:lnTo>
                    <a:lnTo>
                      <a:pt x="79" y="177"/>
                    </a:lnTo>
                    <a:lnTo>
                      <a:pt x="79" y="179"/>
                    </a:lnTo>
                    <a:lnTo>
                      <a:pt x="78" y="179"/>
                    </a:lnTo>
                    <a:lnTo>
                      <a:pt x="76" y="179"/>
                    </a:lnTo>
                    <a:lnTo>
                      <a:pt x="74" y="179"/>
                    </a:lnTo>
                    <a:lnTo>
                      <a:pt x="74" y="177"/>
                    </a:lnTo>
                    <a:lnTo>
                      <a:pt x="73" y="177"/>
                    </a:lnTo>
                    <a:lnTo>
                      <a:pt x="71" y="177"/>
                    </a:lnTo>
                    <a:lnTo>
                      <a:pt x="69" y="177"/>
                    </a:lnTo>
                    <a:lnTo>
                      <a:pt x="68" y="177"/>
                    </a:lnTo>
                    <a:lnTo>
                      <a:pt x="66" y="177"/>
                    </a:lnTo>
                    <a:lnTo>
                      <a:pt x="64" y="177"/>
                    </a:lnTo>
                    <a:lnTo>
                      <a:pt x="62" y="177"/>
                    </a:lnTo>
                    <a:lnTo>
                      <a:pt x="61" y="177"/>
                    </a:lnTo>
                    <a:lnTo>
                      <a:pt x="59" y="177"/>
                    </a:lnTo>
                    <a:lnTo>
                      <a:pt x="59" y="175"/>
                    </a:lnTo>
                    <a:lnTo>
                      <a:pt x="57" y="177"/>
                    </a:lnTo>
                    <a:lnTo>
                      <a:pt x="57" y="175"/>
                    </a:lnTo>
                    <a:lnTo>
                      <a:pt x="56" y="177"/>
                    </a:lnTo>
                    <a:lnTo>
                      <a:pt x="54" y="177"/>
                    </a:lnTo>
                    <a:lnTo>
                      <a:pt x="54" y="175"/>
                    </a:lnTo>
                    <a:lnTo>
                      <a:pt x="52" y="175"/>
                    </a:lnTo>
                    <a:lnTo>
                      <a:pt x="51" y="175"/>
                    </a:lnTo>
                    <a:lnTo>
                      <a:pt x="51" y="177"/>
                    </a:lnTo>
                    <a:lnTo>
                      <a:pt x="49" y="177"/>
                    </a:lnTo>
                    <a:lnTo>
                      <a:pt x="47" y="177"/>
                    </a:lnTo>
                    <a:lnTo>
                      <a:pt x="45" y="177"/>
                    </a:lnTo>
                    <a:lnTo>
                      <a:pt x="44" y="177"/>
                    </a:lnTo>
                    <a:lnTo>
                      <a:pt x="42" y="175"/>
                    </a:lnTo>
                    <a:lnTo>
                      <a:pt x="40" y="172"/>
                    </a:lnTo>
                    <a:lnTo>
                      <a:pt x="40" y="170"/>
                    </a:lnTo>
                    <a:lnTo>
                      <a:pt x="39" y="170"/>
                    </a:lnTo>
                    <a:lnTo>
                      <a:pt x="39" y="169"/>
                    </a:lnTo>
                    <a:lnTo>
                      <a:pt x="39" y="167"/>
                    </a:lnTo>
                    <a:lnTo>
                      <a:pt x="40" y="167"/>
                    </a:lnTo>
                    <a:lnTo>
                      <a:pt x="39" y="167"/>
                    </a:lnTo>
                    <a:lnTo>
                      <a:pt x="39" y="165"/>
                    </a:lnTo>
                    <a:lnTo>
                      <a:pt x="37" y="164"/>
                    </a:lnTo>
                    <a:lnTo>
                      <a:pt x="37" y="165"/>
                    </a:lnTo>
                    <a:lnTo>
                      <a:pt x="35" y="165"/>
                    </a:lnTo>
                    <a:lnTo>
                      <a:pt x="34" y="165"/>
                    </a:lnTo>
                    <a:lnTo>
                      <a:pt x="34" y="164"/>
                    </a:lnTo>
                    <a:lnTo>
                      <a:pt x="32" y="165"/>
                    </a:lnTo>
                    <a:lnTo>
                      <a:pt x="32" y="164"/>
                    </a:lnTo>
                    <a:lnTo>
                      <a:pt x="30" y="164"/>
                    </a:lnTo>
                    <a:lnTo>
                      <a:pt x="30" y="162"/>
                    </a:lnTo>
                    <a:lnTo>
                      <a:pt x="28" y="162"/>
                    </a:lnTo>
                    <a:lnTo>
                      <a:pt x="28" y="160"/>
                    </a:lnTo>
                    <a:lnTo>
                      <a:pt x="30" y="160"/>
                    </a:lnTo>
                    <a:lnTo>
                      <a:pt x="30" y="158"/>
                    </a:lnTo>
                    <a:lnTo>
                      <a:pt x="28" y="158"/>
                    </a:lnTo>
                    <a:lnTo>
                      <a:pt x="28" y="157"/>
                    </a:lnTo>
                    <a:lnTo>
                      <a:pt x="28" y="155"/>
                    </a:lnTo>
                    <a:lnTo>
                      <a:pt x="28" y="153"/>
                    </a:lnTo>
                    <a:lnTo>
                      <a:pt x="28" y="152"/>
                    </a:lnTo>
                    <a:lnTo>
                      <a:pt x="30" y="150"/>
                    </a:lnTo>
                    <a:lnTo>
                      <a:pt x="30" y="148"/>
                    </a:lnTo>
                    <a:lnTo>
                      <a:pt x="28" y="148"/>
                    </a:lnTo>
                    <a:lnTo>
                      <a:pt x="28" y="147"/>
                    </a:lnTo>
                    <a:lnTo>
                      <a:pt x="28" y="145"/>
                    </a:lnTo>
                    <a:lnTo>
                      <a:pt x="30" y="145"/>
                    </a:lnTo>
                    <a:lnTo>
                      <a:pt x="30" y="143"/>
                    </a:lnTo>
                    <a:lnTo>
                      <a:pt x="32" y="143"/>
                    </a:lnTo>
                    <a:lnTo>
                      <a:pt x="34" y="143"/>
                    </a:lnTo>
                    <a:lnTo>
                      <a:pt x="34" y="141"/>
                    </a:lnTo>
                    <a:lnTo>
                      <a:pt x="32" y="141"/>
                    </a:lnTo>
                    <a:lnTo>
                      <a:pt x="32" y="140"/>
                    </a:lnTo>
                    <a:lnTo>
                      <a:pt x="32" y="138"/>
                    </a:lnTo>
                    <a:lnTo>
                      <a:pt x="34" y="138"/>
                    </a:lnTo>
                    <a:lnTo>
                      <a:pt x="32" y="138"/>
                    </a:lnTo>
                    <a:lnTo>
                      <a:pt x="32" y="136"/>
                    </a:lnTo>
                    <a:lnTo>
                      <a:pt x="32" y="135"/>
                    </a:lnTo>
                    <a:lnTo>
                      <a:pt x="32" y="133"/>
                    </a:lnTo>
                    <a:lnTo>
                      <a:pt x="32" y="131"/>
                    </a:lnTo>
                    <a:lnTo>
                      <a:pt x="30" y="131"/>
                    </a:lnTo>
                    <a:lnTo>
                      <a:pt x="28" y="130"/>
                    </a:lnTo>
                    <a:lnTo>
                      <a:pt x="28" y="128"/>
                    </a:lnTo>
                    <a:lnTo>
                      <a:pt x="27" y="126"/>
                    </a:lnTo>
                    <a:lnTo>
                      <a:pt x="25" y="126"/>
                    </a:lnTo>
                    <a:lnTo>
                      <a:pt x="25" y="124"/>
                    </a:lnTo>
                    <a:lnTo>
                      <a:pt x="23" y="124"/>
                    </a:lnTo>
                    <a:lnTo>
                      <a:pt x="23" y="123"/>
                    </a:lnTo>
                    <a:lnTo>
                      <a:pt x="22" y="121"/>
                    </a:lnTo>
                    <a:lnTo>
                      <a:pt x="22" y="118"/>
                    </a:lnTo>
                    <a:lnTo>
                      <a:pt x="20" y="113"/>
                    </a:lnTo>
                    <a:lnTo>
                      <a:pt x="20" y="111"/>
                    </a:lnTo>
                    <a:lnTo>
                      <a:pt x="20" y="109"/>
                    </a:lnTo>
                    <a:lnTo>
                      <a:pt x="18" y="107"/>
                    </a:lnTo>
                    <a:lnTo>
                      <a:pt x="18" y="106"/>
                    </a:lnTo>
                    <a:lnTo>
                      <a:pt x="17" y="106"/>
                    </a:lnTo>
                    <a:lnTo>
                      <a:pt x="17" y="104"/>
                    </a:lnTo>
                    <a:lnTo>
                      <a:pt x="17" y="106"/>
                    </a:lnTo>
                    <a:lnTo>
                      <a:pt x="15" y="106"/>
                    </a:lnTo>
                    <a:lnTo>
                      <a:pt x="13" y="106"/>
                    </a:lnTo>
                    <a:lnTo>
                      <a:pt x="13" y="107"/>
                    </a:lnTo>
                    <a:lnTo>
                      <a:pt x="13" y="106"/>
                    </a:lnTo>
                    <a:lnTo>
                      <a:pt x="11" y="106"/>
                    </a:lnTo>
                    <a:lnTo>
                      <a:pt x="11" y="104"/>
                    </a:lnTo>
                    <a:lnTo>
                      <a:pt x="13" y="104"/>
                    </a:lnTo>
                    <a:lnTo>
                      <a:pt x="11" y="104"/>
                    </a:lnTo>
                    <a:lnTo>
                      <a:pt x="11" y="102"/>
                    </a:lnTo>
                    <a:lnTo>
                      <a:pt x="11" y="101"/>
                    </a:lnTo>
                    <a:lnTo>
                      <a:pt x="11" y="99"/>
                    </a:lnTo>
                    <a:lnTo>
                      <a:pt x="10" y="101"/>
                    </a:lnTo>
                    <a:lnTo>
                      <a:pt x="8" y="101"/>
                    </a:lnTo>
                    <a:lnTo>
                      <a:pt x="8" y="102"/>
                    </a:lnTo>
                    <a:lnTo>
                      <a:pt x="6" y="102"/>
                    </a:lnTo>
                    <a:lnTo>
                      <a:pt x="5" y="104"/>
                    </a:lnTo>
                    <a:lnTo>
                      <a:pt x="3" y="104"/>
                    </a:lnTo>
                    <a:lnTo>
                      <a:pt x="1" y="104"/>
                    </a:lnTo>
                    <a:lnTo>
                      <a:pt x="0" y="104"/>
                    </a:lnTo>
                    <a:lnTo>
                      <a:pt x="0" y="102"/>
                    </a:lnTo>
                    <a:lnTo>
                      <a:pt x="0" y="101"/>
                    </a:lnTo>
                    <a:lnTo>
                      <a:pt x="1" y="101"/>
                    </a:lnTo>
                    <a:lnTo>
                      <a:pt x="1" y="99"/>
                    </a:lnTo>
                    <a:lnTo>
                      <a:pt x="3" y="97"/>
                    </a:lnTo>
                    <a:lnTo>
                      <a:pt x="3" y="96"/>
                    </a:lnTo>
                    <a:lnTo>
                      <a:pt x="5" y="96"/>
                    </a:lnTo>
                    <a:lnTo>
                      <a:pt x="5" y="94"/>
                    </a:lnTo>
                    <a:lnTo>
                      <a:pt x="5" y="92"/>
                    </a:lnTo>
                    <a:lnTo>
                      <a:pt x="6" y="92"/>
                    </a:lnTo>
                    <a:lnTo>
                      <a:pt x="6" y="90"/>
                    </a:lnTo>
                    <a:lnTo>
                      <a:pt x="8" y="89"/>
                    </a:lnTo>
                    <a:lnTo>
                      <a:pt x="8" y="87"/>
                    </a:lnTo>
                    <a:lnTo>
                      <a:pt x="10" y="87"/>
                    </a:lnTo>
                    <a:lnTo>
                      <a:pt x="10" y="85"/>
                    </a:lnTo>
                    <a:lnTo>
                      <a:pt x="11" y="84"/>
                    </a:lnTo>
                    <a:lnTo>
                      <a:pt x="11" y="82"/>
                    </a:lnTo>
                    <a:lnTo>
                      <a:pt x="13" y="82"/>
                    </a:lnTo>
                    <a:lnTo>
                      <a:pt x="13" y="80"/>
                    </a:lnTo>
                    <a:lnTo>
                      <a:pt x="11" y="80"/>
                    </a:lnTo>
                    <a:lnTo>
                      <a:pt x="11" y="78"/>
                    </a:lnTo>
                    <a:lnTo>
                      <a:pt x="11" y="77"/>
                    </a:lnTo>
                    <a:lnTo>
                      <a:pt x="11" y="75"/>
                    </a:lnTo>
                    <a:lnTo>
                      <a:pt x="13" y="75"/>
                    </a:lnTo>
                    <a:lnTo>
                      <a:pt x="13" y="73"/>
                    </a:lnTo>
                    <a:lnTo>
                      <a:pt x="13" y="72"/>
                    </a:lnTo>
                    <a:lnTo>
                      <a:pt x="15" y="72"/>
                    </a:lnTo>
                    <a:lnTo>
                      <a:pt x="13" y="70"/>
                    </a:lnTo>
                    <a:lnTo>
                      <a:pt x="15" y="70"/>
                    </a:lnTo>
                    <a:lnTo>
                      <a:pt x="15" y="68"/>
                    </a:lnTo>
                    <a:lnTo>
                      <a:pt x="15" y="67"/>
                    </a:lnTo>
                    <a:lnTo>
                      <a:pt x="15" y="65"/>
                    </a:lnTo>
                    <a:lnTo>
                      <a:pt x="15" y="63"/>
                    </a:lnTo>
                    <a:lnTo>
                      <a:pt x="15" y="61"/>
                    </a:lnTo>
                    <a:lnTo>
                      <a:pt x="15" y="60"/>
                    </a:lnTo>
                    <a:lnTo>
                      <a:pt x="17" y="60"/>
                    </a:lnTo>
                    <a:lnTo>
                      <a:pt x="17" y="58"/>
                    </a:lnTo>
                    <a:lnTo>
                      <a:pt x="17" y="56"/>
                    </a:lnTo>
                    <a:lnTo>
                      <a:pt x="18" y="55"/>
                    </a:lnTo>
                    <a:lnTo>
                      <a:pt x="20" y="55"/>
                    </a:lnTo>
                    <a:lnTo>
                      <a:pt x="20" y="53"/>
                    </a:lnTo>
                    <a:lnTo>
                      <a:pt x="20" y="51"/>
                    </a:lnTo>
                    <a:lnTo>
                      <a:pt x="20" y="50"/>
                    </a:lnTo>
                    <a:lnTo>
                      <a:pt x="22" y="50"/>
                    </a:lnTo>
                    <a:lnTo>
                      <a:pt x="22" y="48"/>
                    </a:lnTo>
                    <a:lnTo>
                      <a:pt x="22" y="46"/>
                    </a:lnTo>
                    <a:lnTo>
                      <a:pt x="23" y="44"/>
                    </a:lnTo>
                    <a:lnTo>
                      <a:pt x="25" y="44"/>
                    </a:lnTo>
                    <a:lnTo>
                      <a:pt x="27" y="43"/>
                    </a:lnTo>
                    <a:lnTo>
                      <a:pt x="27" y="41"/>
                    </a:lnTo>
                    <a:lnTo>
                      <a:pt x="28" y="39"/>
                    </a:lnTo>
                    <a:lnTo>
                      <a:pt x="28" y="38"/>
                    </a:lnTo>
                    <a:lnTo>
                      <a:pt x="30" y="36"/>
                    </a:lnTo>
                    <a:lnTo>
                      <a:pt x="30" y="38"/>
                    </a:lnTo>
                    <a:lnTo>
                      <a:pt x="30" y="36"/>
                    </a:lnTo>
                    <a:lnTo>
                      <a:pt x="32" y="36"/>
                    </a:lnTo>
                    <a:lnTo>
                      <a:pt x="34" y="36"/>
                    </a:lnTo>
                    <a:lnTo>
                      <a:pt x="35" y="36"/>
                    </a:lnTo>
                    <a:lnTo>
                      <a:pt x="37" y="36"/>
                    </a:lnTo>
                    <a:lnTo>
                      <a:pt x="39" y="33"/>
                    </a:lnTo>
                    <a:lnTo>
                      <a:pt x="40" y="29"/>
                    </a:lnTo>
                    <a:lnTo>
                      <a:pt x="40" y="27"/>
                    </a:lnTo>
                    <a:lnTo>
                      <a:pt x="42" y="27"/>
                    </a:lnTo>
                    <a:lnTo>
                      <a:pt x="42" y="26"/>
                    </a:lnTo>
                    <a:lnTo>
                      <a:pt x="44" y="24"/>
                    </a:lnTo>
                    <a:lnTo>
                      <a:pt x="44" y="22"/>
                    </a:lnTo>
                    <a:lnTo>
                      <a:pt x="45" y="21"/>
                    </a:lnTo>
                    <a:lnTo>
                      <a:pt x="45" y="19"/>
                    </a:lnTo>
                    <a:lnTo>
                      <a:pt x="52" y="17"/>
                    </a:lnTo>
                    <a:lnTo>
                      <a:pt x="57" y="16"/>
                    </a:lnTo>
                    <a:lnTo>
                      <a:pt x="62" y="14"/>
                    </a:lnTo>
                    <a:lnTo>
                      <a:pt x="66" y="12"/>
                    </a:lnTo>
                    <a:lnTo>
                      <a:pt x="66" y="14"/>
                    </a:lnTo>
                    <a:lnTo>
                      <a:pt x="66" y="12"/>
                    </a:lnTo>
                    <a:lnTo>
                      <a:pt x="68" y="12"/>
                    </a:lnTo>
                    <a:lnTo>
                      <a:pt x="68" y="14"/>
                    </a:lnTo>
                    <a:lnTo>
                      <a:pt x="66" y="14"/>
                    </a:lnTo>
                    <a:lnTo>
                      <a:pt x="66" y="16"/>
                    </a:lnTo>
                    <a:lnTo>
                      <a:pt x="64" y="16"/>
                    </a:lnTo>
                    <a:lnTo>
                      <a:pt x="62" y="17"/>
                    </a:lnTo>
                    <a:lnTo>
                      <a:pt x="61" y="17"/>
                    </a:lnTo>
                    <a:lnTo>
                      <a:pt x="59" y="17"/>
                    </a:lnTo>
                    <a:lnTo>
                      <a:pt x="57" y="17"/>
                    </a:lnTo>
                    <a:lnTo>
                      <a:pt x="56" y="17"/>
                    </a:lnTo>
                    <a:lnTo>
                      <a:pt x="54" y="19"/>
                    </a:lnTo>
                    <a:lnTo>
                      <a:pt x="52" y="19"/>
                    </a:lnTo>
                    <a:lnTo>
                      <a:pt x="51" y="19"/>
                    </a:lnTo>
                    <a:lnTo>
                      <a:pt x="49" y="19"/>
                    </a:lnTo>
                    <a:lnTo>
                      <a:pt x="49" y="21"/>
                    </a:lnTo>
                    <a:lnTo>
                      <a:pt x="47" y="21"/>
                    </a:lnTo>
                    <a:lnTo>
                      <a:pt x="45" y="21"/>
                    </a:lnTo>
                    <a:lnTo>
                      <a:pt x="45" y="22"/>
                    </a:lnTo>
                    <a:lnTo>
                      <a:pt x="45" y="24"/>
                    </a:lnTo>
                    <a:lnTo>
                      <a:pt x="45" y="26"/>
                    </a:lnTo>
                    <a:lnTo>
                      <a:pt x="45" y="27"/>
                    </a:lnTo>
                    <a:lnTo>
                      <a:pt x="47" y="27"/>
                    </a:lnTo>
                    <a:lnTo>
                      <a:pt x="47" y="29"/>
                    </a:lnTo>
                    <a:lnTo>
                      <a:pt x="47" y="31"/>
                    </a:lnTo>
                    <a:lnTo>
                      <a:pt x="49" y="33"/>
                    </a:lnTo>
                    <a:lnTo>
                      <a:pt x="49" y="34"/>
                    </a:lnTo>
                    <a:lnTo>
                      <a:pt x="51" y="34"/>
                    </a:lnTo>
                    <a:lnTo>
                      <a:pt x="51" y="36"/>
                    </a:lnTo>
                    <a:lnTo>
                      <a:pt x="52" y="38"/>
                    </a:lnTo>
                    <a:lnTo>
                      <a:pt x="54" y="38"/>
                    </a:lnTo>
                    <a:lnTo>
                      <a:pt x="54" y="39"/>
                    </a:lnTo>
                    <a:lnTo>
                      <a:pt x="56" y="39"/>
                    </a:lnTo>
                    <a:lnTo>
                      <a:pt x="56" y="41"/>
                    </a:lnTo>
                    <a:lnTo>
                      <a:pt x="57" y="41"/>
                    </a:lnTo>
                    <a:lnTo>
                      <a:pt x="57" y="43"/>
                    </a:lnTo>
                    <a:lnTo>
                      <a:pt x="57" y="41"/>
                    </a:lnTo>
                    <a:lnTo>
                      <a:pt x="56" y="41"/>
                    </a:lnTo>
                    <a:lnTo>
                      <a:pt x="54" y="41"/>
                    </a:lnTo>
                    <a:lnTo>
                      <a:pt x="52" y="41"/>
                    </a:lnTo>
                    <a:lnTo>
                      <a:pt x="54" y="43"/>
                    </a:lnTo>
                    <a:lnTo>
                      <a:pt x="54" y="44"/>
                    </a:lnTo>
                    <a:lnTo>
                      <a:pt x="54" y="46"/>
                    </a:lnTo>
                    <a:lnTo>
                      <a:pt x="56" y="46"/>
                    </a:lnTo>
                    <a:lnTo>
                      <a:pt x="56" y="48"/>
                    </a:lnTo>
                    <a:lnTo>
                      <a:pt x="56" y="50"/>
                    </a:lnTo>
                    <a:lnTo>
                      <a:pt x="57" y="50"/>
                    </a:lnTo>
                    <a:lnTo>
                      <a:pt x="56" y="50"/>
                    </a:lnTo>
                    <a:lnTo>
                      <a:pt x="57" y="50"/>
                    </a:lnTo>
                    <a:lnTo>
                      <a:pt x="59" y="51"/>
                    </a:lnTo>
                    <a:lnTo>
                      <a:pt x="59" y="53"/>
                    </a:lnTo>
                    <a:lnTo>
                      <a:pt x="57" y="53"/>
                    </a:lnTo>
                    <a:lnTo>
                      <a:pt x="57" y="55"/>
                    </a:lnTo>
                    <a:lnTo>
                      <a:pt x="57" y="56"/>
                    </a:lnTo>
                    <a:lnTo>
                      <a:pt x="57" y="58"/>
                    </a:lnTo>
                    <a:lnTo>
                      <a:pt x="57" y="60"/>
                    </a:lnTo>
                    <a:lnTo>
                      <a:pt x="56" y="60"/>
                    </a:lnTo>
                    <a:lnTo>
                      <a:pt x="56" y="61"/>
                    </a:lnTo>
                    <a:lnTo>
                      <a:pt x="54" y="61"/>
                    </a:lnTo>
                    <a:lnTo>
                      <a:pt x="54" y="63"/>
                    </a:lnTo>
                    <a:lnTo>
                      <a:pt x="52" y="63"/>
                    </a:lnTo>
                    <a:lnTo>
                      <a:pt x="52" y="65"/>
                    </a:lnTo>
                    <a:lnTo>
                      <a:pt x="51" y="65"/>
                    </a:lnTo>
                    <a:lnTo>
                      <a:pt x="51" y="67"/>
                    </a:lnTo>
                    <a:lnTo>
                      <a:pt x="51" y="68"/>
                    </a:lnTo>
                    <a:lnTo>
                      <a:pt x="49" y="68"/>
                    </a:lnTo>
                    <a:lnTo>
                      <a:pt x="49" y="70"/>
                    </a:lnTo>
                    <a:lnTo>
                      <a:pt x="49" y="72"/>
                    </a:lnTo>
                    <a:lnTo>
                      <a:pt x="47" y="72"/>
                    </a:lnTo>
                    <a:lnTo>
                      <a:pt x="45" y="72"/>
                    </a:lnTo>
                    <a:lnTo>
                      <a:pt x="45" y="73"/>
                    </a:lnTo>
                    <a:lnTo>
                      <a:pt x="45" y="75"/>
                    </a:lnTo>
                    <a:lnTo>
                      <a:pt x="44" y="75"/>
                    </a:lnTo>
                    <a:lnTo>
                      <a:pt x="44" y="77"/>
                    </a:lnTo>
                    <a:lnTo>
                      <a:pt x="44" y="78"/>
                    </a:lnTo>
                    <a:lnTo>
                      <a:pt x="42" y="78"/>
                    </a:lnTo>
                    <a:lnTo>
                      <a:pt x="42" y="80"/>
                    </a:lnTo>
                    <a:lnTo>
                      <a:pt x="40" y="80"/>
                    </a:lnTo>
                    <a:lnTo>
                      <a:pt x="40" y="82"/>
                    </a:lnTo>
                    <a:lnTo>
                      <a:pt x="40" y="84"/>
                    </a:lnTo>
                    <a:lnTo>
                      <a:pt x="42" y="84"/>
                    </a:lnTo>
                    <a:lnTo>
                      <a:pt x="42" y="85"/>
                    </a:lnTo>
                    <a:lnTo>
                      <a:pt x="44" y="85"/>
                    </a:lnTo>
                    <a:lnTo>
                      <a:pt x="44" y="87"/>
                    </a:lnTo>
                    <a:lnTo>
                      <a:pt x="45" y="87"/>
                    </a:lnTo>
                    <a:lnTo>
                      <a:pt x="45" y="89"/>
                    </a:lnTo>
                    <a:lnTo>
                      <a:pt x="45" y="90"/>
                    </a:lnTo>
                    <a:lnTo>
                      <a:pt x="45" y="89"/>
                    </a:lnTo>
                    <a:lnTo>
                      <a:pt x="45" y="90"/>
                    </a:lnTo>
                    <a:lnTo>
                      <a:pt x="44" y="90"/>
                    </a:lnTo>
                    <a:lnTo>
                      <a:pt x="45" y="90"/>
                    </a:lnTo>
                    <a:lnTo>
                      <a:pt x="45" y="92"/>
                    </a:lnTo>
                    <a:lnTo>
                      <a:pt x="47" y="92"/>
                    </a:lnTo>
                    <a:lnTo>
                      <a:pt x="47" y="94"/>
                    </a:lnTo>
                    <a:lnTo>
                      <a:pt x="49" y="94"/>
                    </a:lnTo>
                    <a:lnTo>
                      <a:pt x="51" y="96"/>
                    </a:lnTo>
                    <a:lnTo>
                      <a:pt x="49" y="96"/>
                    </a:lnTo>
                    <a:lnTo>
                      <a:pt x="47" y="96"/>
                    </a:lnTo>
                    <a:lnTo>
                      <a:pt x="47" y="97"/>
                    </a:lnTo>
                    <a:lnTo>
                      <a:pt x="49" y="97"/>
                    </a:lnTo>
                    <a:lnTo>
                      <a:pt x="49" y="96"/>
                    </a:lnTo>
                    <a:lnTo>
                      <a:pt x="51" y="96"/>
                    </a:lnTo>
                    <a:lnTo>
                      <a:pt x="51" y="97"/>
                    </a:lnTo>
                    <a:lnTo>
                      <a:pt x="52" y="97"/>
                    </a:lnTo>
                    <a:lnTo>
                      <a:pt x="52" y="96"/>
                    </a:lnTo>
                    <a:lnTo>
                      <a:pt x="52" y="97"/>
                    </a:lnTo>
                    <a:lnTo>
                      <a:pt x="54" y="97"/>
                    </a:lnTo>
                    <a:lnTo>
                      <a:pt x="54" y="96"/>
                    </a:lnTo>
                    <a:lnTo>
                      <a:pt x="54" y="97"/>
                    </a:lnTo>
                    <a:lnTo>
                      <a:pt x="54" y="99"/>
                    </a:lnTo>
                    <a:lnTo>
                      <a:pt x="54" y="101"/>
                    </a:lnTo>
                    <a:lnTo>
                      <a:pt x="52" y="101"/>
                    </a:lnTo>
                    <a:lnTo>
                      <a:pt x="51" y="102"/>
                    </a:lnTo>
                    <a:lnTo>
                      <a:pt x="52" y="102"/>
                    </a:lnTo>
                    <a:lnTo>
                      <a:pt x="54" y="102"/>
                    </a:lnTo>
                    <a:lnTo>
                      <a:pt x="52" y="102"/>
                    </a:lnTo>
                    <a:lnTo>
                      <a:pt x="54" y="102"/>
                    </a:lnTo>
                    <a:lnTo>
                      <a:pt x="54" y="104"/>
                    </a:lnTo>
                    <a:lnTo>
                      <a:pt x="54" y="106"/>
                    </a:lnTo>
                    <a:lnTo>
                      <a:pt x="52" y="106"/>
                    </a:lnTo>
                    <a:lnTo>
                      <a:pt x="54" y="106"/>
                    </a:lnTo>
                    <a:lnTo>
                      <a:pt x="54" y="107"/>
                    </a:lnTo>
                    <a:lnTo>
                      <a:pt x="56" y="107"/>
                    </a:lnTo>
                    <a:lnTo>
                      <a:pt x="57" y="107"/>
                    </a:lnTo>
                    <a:lnTo>
                      <a:pt x="57" y="109"/>
                    </a:lnTo>
                    <a:lnTo>
                      <a:pt x="59" y="109"/>
                    </a:lnTo>
                    <a:lnTo>
                      <a:pt x="59" y="107"/>
                    </a:lnTo>
                    <a:lnTo>
                      <a:pt x="61" y="109"/>
                    </a:lnTo>
                    <a:lnTo>
                      <a:pt x="61" y="107"/>
                    </a:lnTo>
                    <a:lnTo>
                      <a:pt x="62" y="107"/>
                    </a:lnTo>
                    <a:lnTo>
                      <a:pt x="64" y="107"/>
                    </a:lnTo>
                    <a:lnTo>
                      <a:pt x="66" y="107"/>
                    </a:lnTo>
                    <a:lnTo>
                      <a:pt x="68" y="107"/>
                    </a:lnTo>
                    <a:lnTo>
                      <a:pt x="68" y="106"/>
                    </a:lnTo>
                    <a:lnTo>
                      <a:pt x="69" y="106"/>
                    </a:lnTo>
                    <a:lnTo>
                      <a:pt x="69" y="104"/>
                    </a:lnTo>
                    <a:lnTo>
                      <a:pt x="71" y="104"/>
                    </a:lnTo>
                    <a:lnTo>
                      <a:pt x="71" y="102"/>
                    </a:lnTo>
                    <a:lnTo>
                      <a:pt x="73" y="102"/>
                    </a:lnTo>
                    <a:lnTo>
                      <a:pt x="73" y="101"/>
                    </a:lnTo>
                    <a:lnTo>
                      <a:pt x="74" y="101"/>
                    </a:lnTo>
                    <a:lnTo>
                      <a:pt x="74" y="99"/>
                    </a:lnTo>
                    <a:lnTo>
                      <a:pt x="76" y="99"/>
                    </a:lnTo>
                    <a:lnTo>
                      <a:pt x="76" y="97"/>
                    </a:lnTo>
                    <a:lnTo>
                      <a:pt x="76" y="96"/>
                    </a:lnTo>
                    <a:lnTo>
                      <a:pt x="76" y="94"/>
                    </a:lnTo>
                    <a:lnTo>
                      <a:pt x="76" y="92"/>
                    </a:lnTo>
                    <a:lnTo>
                      <a:pt x="76" y="90"/>
                    </a:lnTo>
                    <a:lnTo>
                      <a:pt x="76" y="89"/>
                    </a:lnTo>
                    <a:lnTo>
                      <a:pt x="76" y="87"/>
                    </a:lnTo>
                    <a:lnTo>
                      <a:pt x="78" y="87"/>
                    </a:lnTo>
                    <a:lnTo>
                      <a:pt x="76" y="85"/>
                    </a:lnTo>
                    <a:lnTo>
                      <a:pt x="78" y="85"/>
                    </a:lnTo>
                    <a:lnTo>
                      <a:pt x="78" y="84"/>
                    </a:lnTo>
                    <a:lnTo>
                      <a:pt x="76" y="84"/>
                    </a:lnTo>
                    <a:lnTo>
                      <a:pt x="76" y="82"/>
                    </a:lnTo>
                    <a:lnTo>
                      <a:pt x="76" y="80"/>
                    </a:lnTo>
                    <a:lnTo>
                      <a:pt x="74" y="78"/>
                    </a:lnTo>
                    <a:lnTo>
                      <a:pt x="74" y="77"/>
                    </a:lnTo>
                    <a:lnTo>
                      <a:pt x="73" y="77"/>
                    </a:lnTo>
                    <a:lnTo>
                      <a:pt x="71" y="77"/>
                    </a:lnTo>
                    <a:lnTo>
                      <a:pt x="71" y="75"/>
                    </a:lnTo>
                    <a:lnTo>
                      <a:pt x="71" y="73"/>
                    </a:lnTo>
                    <a:lnTo>
                      <a:pt x="71" y="72"/>
                    </a:lnTo>
                    <a:lnTo>
                      <a:pt x="69" y="72"/>
                    </a:lnTo>
                    <a:lnTo>
                      <a:pt x="69" y="70"/>
                    </a:lnTo>
                    <a:lnTo>
                      <a:pt x="68" y="68"/>
                    </a:lnTo>
                    <a:lnTo>
                      <a:pt x="66" y="68"/>
                    </a:lnTo>
                    <a:lnTo>
                      <a:pt x="66" y="67"/>
                    </a:lnTo>
                    <a:lnTo>
                      <a:pt x="66" y="65"/>
                    </a:lnTo>
                    <a:lnTo>
                      <a:pt x="64" y="65"/>
                    </a:lnTo>
                    <a:lnTo>
                      <a:pt x="64" y="63"/>
                    </a:lnTo>
                    <a:lnTo>
                      <a:pt x="62" y="63"/>
                    </a:lnTo>
                    <a:lnTo>
                      <a:pt x="62" y="61"/>
                    </a:lnTo>
                    <a:lnTo>
                      <a:pt x="62" y="60"/>
                    </a:lnTo>
                    <a:lnTo>
                      <a:pt x="62" y="58"/>
                    </a:lnTo>
                    <a:lnTo>
                      <a:pt x="61" y="58"/>
                    </a:lnTo>
                    <a:lnTo>
                      <a:pt x="61" y="56"/>
                    </a:lnTo>
                    <a:lnTo>
                      <a:pt x="61" y="55"/>
                    </a:lnTo>
                    <a:lnTo>
                      <a:pt x="62" y="55"/>
                    </a:lnTo>
                    <a:lnTo>
                      <a:pt x="61" y="55"/>
                    </a:lnTo>
                    <a:lnTo>
                      <a:pt x="61" y="53"/>
                    </a:lnTo>
                    <a:lnTo>
                      <a:pt x="61" y="51"/>
                    </a:lnTo>
                    <a:lnTo>
                      <a:pt x="61" y="50"/>
                    </a:lnTo>
                    <a:lnTo>
                      <a:pt x="59" y="50"/>
                    </a:lnTo>
                    <a:lnTo>
                      <a:pt x="59" y="48"/>
                    </a:lnTo>
                    <a:lnTo>
                      <a:pt x="61" y="48"/>
                    </a:lnTo>
                    <a:lnTo>
                      <a:pt x="62" y="48"/>
                    </a:lnTo>
                    <a:lnTo>
                      <a:pt x="64" y="48"/>
                    </a:lnTo>
                    <a:lnTo>
                      <a:pt x="64" y="46"/>
                    </a:lnTo>
                    <a:lnTo>
                      <a:pt x="64" y="44"/>
                    </a:lnTo>
                    <a:lnTo>
                      <a:pt x="62" y="44"/>
                    </a:lnTo>
                    <a:lnTo>
                      <a:pt x="62" y="43"/>
                    </a:lnTo>
                    <a:lnTo>
                      <a:pt x="64" y="43"/>
                    </a:lnTo>
                    <a:lnTo>
                      <a:pt x="64" y="44"/>
                    </a:lnTo>
                    <a:lnTo>
                      <a:pt x="64" y="43"/>
                    </a:lnTo>
                    <a:lnTo>
                      <a:pt x="62" y="43"/>
                    </a:lnTo>
                    <a:lnTo>
                      <a:pt x="64" y="43"/>
                    </a:lnTo>
                    <a:lnTo>
                      <a:pt x="66" y="43"/>
                    </a:lnTo>
                    <a:lnTo>
                      <a:pt x="68" y="43"/>
                    </a:lnTo>
                    <a:lnTo>
                      <a:pt x="69" y="43"/>
                    </a:lnTo>
                    <a:lnTo>
                      <a:pt x="69" y="41"/>
                    </a:lnTo>
                    <a:lnTo>
                      <a:pt x="71" y="41"/>
                    </a:lnTo>
                    <a:lnTo>
                      <a:pt x="73" y="41"/>
                    </a:lnTo>
                    <a:lnTo>
                      <a:pt x="73" y="39"/>
                    </a:lnTo>
                    <a:lnTo>
                      <a:pt x="74" y="39"/>
                    </a:lnTo>
                    <a:lnTo>
                      <a:pt x="76" y="39"/>
                    </a:lnTo>
                    <a:lnTo>
                      <a:pt x="76" y="38"/>
                    </a:lnTo>
                    <a:lnTo>
                      <a:pt x="78" y="38"/>
                    </a:lnTo>
                    <a:lnTo>
                      <a:pt x="79" y="38"/>
                    </a:lnTo>
                    <a:lnTo>
                      <a:pt x="79" y="36"/>
                    </a:lnTo>
                    <a:lnTo>
                      <a:pt x="81" y="36"/>
                    </a:lnTo>
                    <a:lnTo>
                      <a:pt x="83" y="36"/>
                    </a:lnTo>
                    <a:lnTo>
                      <a:pt x="83" y="34"/>
                    </a:lnTo>
                    <a:lnTo>
                      <a:pt x="85" y="34"/>
                    </a:lnTo>
                    <a:lnTo>
                      <a:pt x="86" y="34"/>
                    </a:lnTo>
                    <a:lnTo>
                      <a:pt x="88" y="34"/>
                    </a:lnTo>
                    <a:lnTo>
                      <a:pt x="88" y="33"/>
                    </a:lnTo>
                    <a:lnTo>
                      <a:pt x="90" y="33"/>
                    </a:lnTo>
                    <a:lnTo>
                      <a:pt x="91" y="33"/>
                    </a:lnTo>
                    <a:lnTo>
                      <a:pt x="93" y="33"/>
                    </a:lnTo>
                    <a:lnTo>
                      <a:pt x="95" y="33"/>
                    </a:lnTo>
                    <a:lnTo>
                      <a:pt x="96" y="31"/>
                    </a:lnTo>
                    <a:lnTo>
                      <a:pt x="95" y="33"/>
                    </a:lnTo>
                    <a:lnTo>
                      <a:pt x="95" y="31"/>
                    </a:lnTo>
                    <a:lnTo>
                      <a:pt x="96" y="31"/>
                    </a:lnTo>
                    <a:lnTo>
                      <a:pt x="98" y="31"/>
                    </a:lnTo>
                    <a:lnTo>
                      <a:pt x="100" y="31"/>
                    </a:lnTo>
                    <a:lnTo>
                      <a:pt x="102" y="31"/>
                    </a:lnTo>
                    <a:lnTo>
                      <a:pt x="102" y="29"/>
                    </a:lnTo>
                    <a:lnTo>
                      <a:pt x="103" y="29"/>
                    </a:lnTo>
                    <a:lnTo>
                      <a:pt x="105" y="29"/>
                    </a:lnTo>
                    <a:lnTo>
                      <a:pt x="107" y="29"/>
                    </a:lnTo>
                    <a:lnTo>
                      <a:pt x="107" y="27"/>
                    </a:lnTo>
                    <a:lnTo>
                      <a:pt x="107" y="26"/>
                    </a:lnTo>
                    <a:lnTo>
                      <a:pt x="108" y="26"/>
                    </a:lnTo>
                    <a:lnTo>
                      <a:pt x="107" y="26"/>
                    </a:lnTo>
                    <a:lnTo>
                      <a:pt x="108" y="26"/>
                    </a:lnTo>
                    <a:lnTo>
                      <a:pt x="110" y="26"/>
                    </a:lnTo>
                    <a:lnTo>
                      <a:pt x="110" y="24"/>
                    </a:lnTo>
                    <a:lnTo>
                      <a:pt x="112" y="24"/>
                    </a:lnTo>
                    <a:lnTo>
                      <a:pt x="110" y="24"/>
                    </a:lnTo>
                    <a:lnTo>
                      <a:pt x="110" y="22"/>
                    </a:lnTo>
                    <a:lnTo>
                      <a:pt x="108" y="22"/>
                    </a:lnTo>
                    <a:lnTo>
                      <a:pt x="110" y="22"/>
                    </a:lnTo>
                    <a:lnTo>
                      <a:pt x="108" y="22"/>
                    </a:lnTo>
                    <a:lnTo>
                      <a:pt x="110" y="22"/>
                    </a:lnTo>
                    <a:lnTo>
                      <a:pt x="110" y="24"/>
                    </a:lnTo>
                    <a:lnTo>
                      <a:pt x="112" y="24"/>
                    </a:lnTo>
                    <a:lnTo>
                      <a:pt x="112" y="22"/>
                    </a:lnTo>
                    <a:lnTo>
                      <a:pt x="112" y="24"/>
                    </a:lnTo>
                    <a:lnTo>
                      <a:pt x="113" y="24"/>
                    </a:lnTo>
                    <a:lnTo>
                      <a:pt x="113" y="22"/>
                    </a:lnTo>
                    <a:lnTo>
                      <a:pt x="113" y="24"/>
                    </a:lnTo>
                    <a:lnTo>
                      <a:pt x="115" y="22"/>
                    </a:lnTo>
                    <a:lnTo>
                      <a:pt x="115" y="24"/>
                    </a:lnTo>
                    <a:lnTo>
                      <a:pt x="117" y="24"/>
                    </a:lnTo>
                    <a:lnTo>
                      <a:pt x="117" y="26"/>
                    </a:lnTo>
                    <a:lnTo>
                      <a:pt x="119" y="26"/>
                    </a:lnTo>
                    <a:lnTo>
                      <a:pt x="120" y="26"/>
                    </a:lnTo>
                    <a:lnTo>
                      <a:pt x="120" y="24"/>
                    </a:lnTo>
                    <a:lnTo>
                      <a:pt x="122" y="24"/>
                    </a:lnTo>
                    <a:lnTo>
                      <a:pt x="120" y="22"/>
                    </a:lnTo>
                    <a:lnTo>
                      <a:pt x="120" y="21"/>
                    </a:lnTo>
                    <a:lnTo>
                      <a:pt x="120" y="19"/>
                    </a:lnTo>
                    <a:lnTo>
                      <a:pt x="119" y="19"/>
                    </a:lnTo>
                    <a:lnTo>
                      <a:pt x="119" y="17"/>
                    </a:lnTo>
                    <a:lnTo>
                      <a:pt x="117" y="17"/>
                    </a:lnTo>
                    <a:lnTo>
                      <a:pt x="117" y="19"/>
                    </a:lnTo>
                    <a:lnTo>
                      <a:pt x="117" y="17"/>
                    </a:lnTo>
                    <a:lnTo>
                      <a:pt x="115" y="17"/>
                    </a:lnTo>
                    <a:lnTo>
                      <a:pt x="115" y="19"/>
                    </a:lnTo>
                    <a:lnTo>
                      <a:pt x="113" y="19"/>
                    </a:lnTo>
                    <a:lnTo>
                      <a:pt x="115" y="19"/>
                    </a:lnTo>
                    <a:lnTo>
                      <a:pt x="113" y="17"/>
                    </a:lnTo>
                    <a:lnTo>
                      <a:pt x="113" y="19"/>
                    </a:lnTo>
                    <a:lnTo>
                      <a:pt x="113" y="17"/>
                    </a:lnTo>
                    <a:lnTo>
                      <a:pt x="113" y="19"/>
                    </a:lnTo>
                    <a:lnTo>
                      <a:pt x="112" y="19"/>
                    </a:lnTo>
                    <a:lnTo>
                      <a:pt x="110" y="19"/>
                    </a:lnTo>
                    <a:lnTo>
                      <a:pt x="108" y="19"/>
                    </a:lnTo>
                    <a:lnTo>
                      <a:pt x="107" y="19"/>
                    </a:lnTo>
                    <a:lnTo>
                      <a:pt x="107" y="21"/>
                    </a:lnTo>
                    <a:lnTo>
                      <a:pt x="105" y="21"/>
                    </a:lnTo>
                    <a:lnTo>
                      <a:pt x="105" y="19"/>
                    </a:lnTo>
                    <a:lnTo>
                      <a:pt x="105" y="17"/>
                    </a:lnTo>
                    <a:lnTo>
                      <a:pt x="105" y="16"/>
                    </a:lnTo>
                    <a:lnTo>
                      <a:pt x="105" y="17"/>
                    </a:lnTo>
                    <a:lnTo>
                      <a:pt x="105" y="16"/>
                    </a:lnTo>
                    <a:lnTo>
                      <a:pt x="105" y="14"/>
                    </a:lnTo>
                    <a:lnTo>
                      <a:pt x="105" y="16"/>
                    </a:lnTo>
                    <a:lnTo>
                      <a:pt x="103" y="14"/>
                    </a:lnTo>
                    <a:lnTo>
                      <a:pt x="103" y="12"/>
                    </a:lnTo>
                    <a:lnTo>
                      <a:pt x="102" y="12"/>
                    </a:lnTo>
                    <a:lnTo>
                      <a:pt x="103" y="10"/>
                    </a:lnTo>
                    <a:lnTo>
                      <a:pt x="102" y="10"/>
                    </a:lnTo>
                    <a:lnTo>
                      <a:pt x="103" y="9"/>
                    </a:lnTo>
                    <a:lnTo>
                      <a:pt x="103" y="7"/>
                    </a:lnTo>
                    <a:lnTo>
                      <a:pt x="105" y="5"/>
                    </a:lnTo>
                    <a:lnTo>
                      <a:pt x="105" y="4"/>
                    </a:lnTo>
                    <a:lnTo>
                      <a:pt x="107" y="4"/>
                    </a:lnTo>
                    <a:lnTo>
                      <a:pt x="107" y="2"/>
                    </a:lnTo>
                    <a:lnTo>
                      <a:pt x="108" y="2"/>
                    </a:lnTo>
                    <a:lnTo>
                      <a:pt x="110" y="0"/>
                    </a:lnTo>
                    <a:lnTo>
                      <a:pt x="112" y="0"/>
                    </a:lnTo>
                    <a:lnTo>
                      <a:pt x="113" y="0"/>
                    </a:lnTo>
                    <a:lnTo>
                      <a:pt x="115" y="0"/>
                    </a:lnTo>
                    <a:lnTo>
                      <a:pt x="115" y="2"/>
                    </a:lnTo>
                    <a:lnTo>
                      <a:pt x="117" y="2"/>
                    </a:lnTo>
                    <a:lnTo>
                      <a:pt x="117" y="4"/>
                    </a:lnTo>
                    <a:lnTo>
                      <a:pt x="117" y="5"/>
                    </a:lnTo>
                    <a:lnTo>
                      <a:pt x="117" y="7"/>
                    </a:lnTo>
                    <a:lnTo>
                      <a:pt x="117" y="5"/>
                    </a:lnTo>
                    <a:lnTo>
                      <a:pt x="119" y="5"/>
                    </a:lnTo>
                    <a:lnTo>
                      <a:pt x="119" y="7"/>
                    </a:lnTo>
                    <a:lnTo>
                      <a:pt x="119" y="9"/>
                    </a:lnTo>
                    <a:lnTo>
                      <a:pt x="119" y="10"/>
                    </a:lnTo>
                    <a:lnTo>
                      <a:pt x="119" y="12"/>
                    </a:lnTo>
                    <a:lnTo>
                      <a:pt x="119" y="14"/>
                    </a:lnTo>
                    <a:lnTo>
                      <a:pt x="120" y="16"/>
                    </a:lnTo>
                    <a:lnTo>
                      <a:pt x="120" y="17"/>
                    </a:lnTo>
                    <a:lnTo>
                      <a:pt x="122" y="19"/>
                    </a:lnTo>
                    <a:lnTo>
                      <a:pt x="122" y="21"/>
                    </a:lnTo>
                    <a:lnTo>
                      <a:pt x="122" y="22"/>
                    </a:lnTo>
                    <a:lnTo>
                      <a:pt x="124" y="22"/>
                    </a:lnTo>
                    <a:lnTo>
                      <a:pt x="124" y="24"/>
                    </a:lnTo>
                    <a:lnTo>
                      <a:pt x="125" y="24"/>
                    </a:lnTo>
                    <a:lnTo>
                      <a:pt x="125" y="26"/>
                    </a:lnTo>
                    <a:lnTo>
                      <a:pt x="127" y="26"/>
                    </a:lnTo>
                    <a:lnTo>
                      <a:pt x="127" y="24"/>
                    </a:lnTo>
                    <a:lnTo>
                      <a:pt x="129" y="24"/>
                    </a:lnTo>
                    <a:lnTo>
                      <a:pt x="130" y="24"/>
                    </a:lnTo>
                    <a:lnTo>
                      <a:pt x="132" y="24"/>
                    </a:lnTo>
                    <a:lnTo>
                      <a:pt x="134" y="24"/>
                    </a:lnTo>
                    <a:lnTo>
                      <a:pt x="136" y="24"/>
                    </a:lnTo>
                    <a:lnTo>
                      <a:pt x="136" y="22"/>
                    </a:lnTo>
                    <a:lnTo>
                      <a:pt x="137" y="22"/>
                    </a:lnTo>
                    <a:lnTo>
                      <a:pt x="139" y="24"/>
                    </a:lnTo>
                    <a:lnTo>
                      <a:pt x="141" y="24"/>
                    </a:lnTo>
                    <a:lnTo>
                      <a:pt x="142" y="24"/>
                    </a:lnTo>
                    <a:lnTo>
                      <a:pt x="144" y="26"/>
                    </a:lnTo>
                    <a:lnTo>
                      <a:pt x="146" y="26"/>
                    </a:lnTo>
                    <a:lnTo>
                      <a:pt x="147" y="26"/>
                    </a:lnTo>
                    <a:lnTo>
                      <a:pt x="149" y="26"/>
                    </a:lnTo>
                    <a:lnTo>
                      <a:pt x="151" y="26"/>
                    </a:lnTo>
                    <a:lnTo>
                      <a:pt x="153" y="26"/>
                    </a:lnTo>
                    <a:lnTo>
                      <a:pt x="153" y="27"/>
                    </a:lnTo>
                    <a:lnTo>
                      <a:pt x="154" y="27"/>
                    </a:lnTo>
                    <a:lnTo>
                      <a:pt x="154" y="29"/>
                    </a:lnTo>
                    <a:lnTo>
                      <a:pt x="156" y="29"/>
                    </a:lnTo>
                    <a:lnTo>
                      <a:pt x="158" y="29"/>
                    </a:lnTo>
                    <a:lnTo>
                      <a:pt x="158" y="31"/>
                    </a:lnTo>
                    <a:lnTo>
                      <a:pt x="159" y="31"/>
                    </a:lnTo>
                    <a:lnTo>
                      <a:pt x="161" y="31"/>
                    </a:lnTo>
                    <a:lnTo>
                      <a:pt x="161" y="33"/>
                    </a:lnTo>
                    <a:lnTo>
                      <a:pt x="163" y="33"/>
                    </a:lnTo>
                    <a:lnTo>
                      <a:pt x="163" y="34"/>
                    </a:lnTo>
                    <a:lnTo>
                      <a:pt x="164" y="34"/>
                    </a:lnTo>
                    <a:lnTo>
                      <a:pt x="166" y="34"/>
                    </a:lnTo>
                    <a:lnTo>
                      <a:pt x="166" y="36"/>
                    </a:lnTo>
                    <a:lnTo>
                      <a:pt x="168" y="38"/>
                    </a:lnTo>
                    <a:lnTo>
                      <a:pt x="168" y="39"/>
                    </a:lnTo>
                    <a:lnTo>
                      <a:pt x="170" y="39"/>
                    </a:lnTo>
                    <a:lnTo>
                      <a:pt x="170" y="41"/>
                    </a:lnTo>
                    <a:lnTo>
                      <a:pt x="170" y="43"/>
                    </a:lnTo>
                    <a:lnTo>
                      <a:pt x="171" y="43"/>
                    </a:lnTo>
                    <a:lnTo>
                      <a:pt x="171" y="44"/>
                    </a:lnTo>
                    <a:lnTo>
                      <a:pt x="170" y="44"/>
                    </a:lnTo>
                    <a:lnTo>
                      <a:pt x="170" y="43"/>
                    </a:lnTo>
                    <a:lnTo>
                      <a:pt x="168" y="43"/>
                    </a:lnTo>
                    <a:lnTo>
                      <a:pt x="168" y="44"/>
                    </a:lnTo>
                    <a:lnTo>
                      <a:pt x="170" y="44"/>
                    </a:lnTo>
                    <a:lnTo>
                      <a:pt x="171" y="44"/>
                    </a:lnTo>
                    <a:lnTo>
                      <a:pt x="173" y="44"/>
                    </a:lnTo>
                    <a:lnTo>
                      <a:pt x="173" y="46"/>
                    </a:lnTo>
                    <a:lnTo>
                      <a:pt x="171" y="46"/>
                    </a:lnTo>
                    <a:lnTo>
                      <a:pt x="170" y="46"/>
                    </a:lnTo>
                    <a:lnTo>
                      <a:pt x="170" y="48"/>
                    </a:lnTo>
                    <a:lnTo>
                      <a:pt x="170" y="50"/>
                    </a:lnTo>
                    <a:lnTo>
                      <a:pt x="170" y="51"/>
                    </a:lnTo>
                    <a:lnTo>
                      <a:pt x="170" y="53"/>
                    </a:lnTo>
                    <a:lnTo>
                      <a:pt x="171" y="53"/>
                    </a:lnTo>
                    <a:lnTo>
                      <a:pt x="171" y="55"/>
                    </a:lnTo>
                    <a:lnTo>
                      <a:pt x="171" y="56"/>
                    </a:lnTo>
                    <a:lnTo>
                      <a:pt x="173" y="56"/>
                    </a:lnTo>
                    <a:lnTo>
                      <a:pt x="173" y="58"/>
                    </a:lnTo>
                    <a:lnTo>
                      <a:pt x="175" y="58"/>
                    </a:lnTo>
                    <a:lnTo>
                      <a:pt x="176" y="58"/>
                    </a:lnTo>
                    <a:lnTo>
                      <a:pt x="178" y="58"/>
                    </a:lnTo>
                    <a:lnTo>
                      <a:pt x="178" y="60"/>
                    </a:lnTo>
                    <a:lnTo>
                      <a:pt x="180" y="60"/>
                    </a:lnTo>
                    <a:lnTo>
                      <a:pt x="180" y="58"/>
                    </a:lnTo>
                    <a:lnTo>
                      <a:pt x="180" y="60"/>
                    </a:lnTo>
                    <a:lnTo>
                      <a:pt x="180" y="58"/>
                    </a:lnTo>
                    <a:lnTo>
                      <a:pt x="181" y="60"/>
                    </a:lnTo>
                    <a:lnTo>
                      <a:pt x="183" y="60"/>
                    </a:lnTo>
                    <a:lnTo>
                      <a:pt x="185" y="60"/>
                    </a:lnTo>
                    <a:lnTo>
                      <a:pt x="187" y="58"/>
                    </a:lnTo>
                    <a:lnTo>
                      <a:pt x="187" y="60"/>
                    </a:lnTo>
                    <a:lnTo>
                      <a:pt x="187" y="58"/>
                    </a:lnTo>
                    <a:lnTo>
                      <a:pt x="188" y="58"/>
                    </a:lnTo>
                    <a:lnTo>
                      <a:pt x="190" y="58"/>
                    </a:lnTo>
                    <a:lnTo>
                      <a:pt x="192" y="58"/>
                    </a:lnTo>
                    <a:lnTo>
                      <a:pt x="193" y="58"/>
                    </a:lnTo>
                    <a:lnTo>
                      <a:pt x="195" y="58"/>
                    </a:lnTo>
                    <a:lnTo>
                      <a:pt x="197" y="58"/>
                    </a:lnTo>
                    <a:lnTo>
                      <a:pt x="197" y="56"/>
                    </a:lnTo>
                    <a:lnTo>
                      <a:pt x="198" y="56"/>
                    </a:lnTo>
                    <a:lnTo>
                      <a:pt x="200" y="56"/>
                    </a:lnTo>
                    <a:lnTo>
                      <a:pt x="202" y="56"/>
                    </a:lnTo>
                    <a:lnTo>
                      <a:pt x="204" y="56"/>
                    </a:lnTo>
                    <a:lnTo>
                      <a:pt x="205" y="56"/>
                    </a:lnTo>
                    <a:lnTo>
                      <a:pt x="207" y="56"/>
                    </a:lnTo>
                    <a:lnTo>
                      <a:pt x="209" y="56"/>
                    </a:lnTo>
                    <a:lnTo>
                      <a:pt x="210" y="55"/>
                    </a:lnTo>
                    <a:lnTo>
                      <a:pt x="212" y="55"/>
                    </a:lnTo>
                    <a:lnTo>
                      <a:pt x="214" y="55"/>
                    </a:lnTo>
                    <a:lnTo>
                      <a:pt x="215" y="55"/>
                    </a:lnTo>
                    <a:lnTo>
                      <a:pt x="217" y="55"/>
                    </a:lnTo>
                    <a:lnTo>
                      <a:pt x="219" y="55"/>
                    </a:lnTo>
                    <a:lnTo>
                      <a:pt x="221" y="55"/>
                    </a:lnTo>
                    <a:lnTo>
                      <a:pt x="222" y="55"/>
                    </a:lnTo>
                    <a:lnTo>
                      <a:pt x="224" y="55"/>
                    </a:lnTo>
                    <a:lnTo>
                      <a:pt x="226" y="55"/>
                    </a:lnTo>
                    <a:lnTo>
                      <a:pt x="227" y="55"/>
                    </a:lnTo>
                    <a:lnTo>
                      <a:pt x="227" y="53"/>
                    </a:lnTo>
                    <a:lnTo>
                      <a:pt x="229" y="55"/>
                    </a:lnTo>
                    <a:lnTo>
                      <a:pt x="229" y="53"/>
                    </a:lnTo>
                    <a:lnTo>
                      <a:pt x="231" y="53"/>
                    </a:lnTo>
                    <a:lnTo>
                      <a:pt x="232" y="53"/>
                    </a:lnTo>
                    <a:lnTo>
                      <a:pt x="232" y="55"/>
                    </a:lnTo>
                    <a:lnTo>
                      <a:pt x="234" y="53"/>
                    </a:lnTo>
                    <a:lnTo>
                      <a:pt x="234" y="55"/>
                    </a:lnTo>
                    <a:lnTo>
                      <a:pt x="236" y="55"/>
                    </a:lnTo>
                    <a:lnTo>
                      <a:pt x="238" y="53"/>
                    </a:lnTo>
                    <a:lnTo>
                      <a:pt x="239" y="53"/>
                    </a:lnTo>
                    <a:lnTo>
                      <a:pt x="241" y="55"/>
                    </a:lnTo>
                    <a:lnTo>
                      <a:pt x="243" y="55"/>
                    </a:lnTo>
                    <a:lnTo>
                      <a:pt x="244" y="55"/>
                    </a:lnTo>
                    <a:lnTo>
                      <a:pt x="244" y="56"/>
                    </a:lnTo>
                    <a:lnTo>
                      <a:pt x="244" y="55"/>
                    </a:lnTo>
                    <a:lnTo>
                      <a:pt x="246" y="56"/>
                    </a:lnTo>
                    <a:lnTo>
                      <a:pt x="244" y="56"/>
                    </a:lnTo>
                    <a:lnTo>
                      <a:pt x="243" y="56"/>
                    </a:lnTo>
                    <a:lnTo>
                      <a:pt x="244" y="56"/>
                    </a:lnTo>
                    <a:lnTo>
                      <a:pt x="243" y="58"/>
                    </a:lnTo>
                    <a:lnTo>
                      <a:pt x="244" y="58"/>
                    </a:lnTo>
                    <a:lnTo>
                      <a:pt x="244" y="60"/>
                    </a:lnTo>
                    <a:lnTo>
                      <a:pt x="246" y="60"/>
                    </a:lnTo>
                    <a:lnTo>
                      <a:pt x="246" y="61"/>
                    </a:lnTo>
                    <a:lnTo>
                      <a:pt x="248" y="61"/>
                    </a:lnTo>
                    <a:lnTo>
                      <a:pt x="248" y="63"/>
                    </a:lnTo>
                    <a:lnTo>
                      <a:pt x="249" y="63"/>
                    </a:lnTo>
                    <a:lnTo>
                      <a:pt x="251" y="65"/>
                    </a:lnTo>
                    <a:lnTo>
                      <a:pt x="253" y="65"/>
                    </a:lnTo>
                    <a:lnTo>
                      <a:pt x="255" y="67"/>
                    </a:lnTo>
                    <a:lnTo>
                      <a:pt x="256" y="67"/>
                    </a:lnTo>
                    <a:lnTo>
                      <a:pt x="258" y="68"/>
                    </a:lnTo>
                    <a:lnTo>
                      <a:pt x="260" y="68"/>
                    </a:lnTo>
                    <a:lnTo>
                      <a:pt x="263" y="70"/>
                    </a:lnTo>
                    <a:lnTo>
                      <a:pt x="265" y="70"/>
                    </a:lnTo>
                    <a:lnTo>
                      <a:pt x="266" y="70"/>
                    </a:lnTo>
                    <a:lnTo>
                      <a:pt x="268" y="72"/>
                    </a:lnTo>
                    <a:lnTo>
                      <a:pt x="270" y="72"/>
                    </a:lnTo>
                    <a:lnTo>
                      <a:pt x="272" y="72"/>
                    </a:lnTo>
                    <a:lnTo>
                      <a:pt x="273" y="72"/>
                    </a:lnTo>
                    <a:lnTo>
                      <a:pt x="275" y="72"/>
                    </a:lnTo>
                    <a:lnTo>
                      <a:pt x="277" y="73"/>
                    </a:lnTo>
                    <a:lnTo>
                      <a:pt x="278" y="73"/>
                    </a:lnTo>
                    <a:lnTo>
                      <a:pt x="280" y="73"/>
                    </a:lnTo>
                    <a:lnTo>
                      <a:pt x="282" y="73"/>
                    </a:lnTo>
                    <a:lnTo>
                      <a:pt x="282" y="72"/>
                    </a:lnTo>
                    <a:lnTo>
                      <a:pt x="283" y="72"/>
                    </a:lnTo>
                    <a:lnTo>
                      <a:pt x="285" y="72"/>
                    </a:lnTo>
                    <a:lnTo>
                      <a:pt x="287" y="72"/>
                    </a:lnTo>
                    <a:lnTo>
                      <a:pt x="289" y="72"/>
                    </a:lnTo>
                    <a:lnTo>
                      <a:pt x="290" y="72"/>
                    </a:lnTo>
                    <a:lnTo>
                      <a:pt x="290" y="70"/>
                    </a:lnTo>
                    <a:lnTo>
                      <a:pt x="292" y="68"/>
                    </a:lnTo>
                    <a:lnTo>
                      <a:pt x="290" y="68"/>
                    </a:lnTo>
                    <a:lnTo>
                      <a:pt x="292" y="68"/>
                    </a:lnTo>
                    <a:lnTo>
                      <a:pt x="294" y="68"/>
                    </a:lnTo>
                    <a:lnTo>
                      <a:pt x="294" y="67"/>
                    </a:lnTo>
                    <a:lnTo>
                      <a:pt x="295" y="67"/>
                    </a:lnTo>
                    <a:lnTo>
                      <a:pt x="297" y="67"/>
                    </a:lnTo>
                    <a:lnTo>
                      <a:pt x="299" y="67"/>
                    </a:lnTo>
                    <a:lnTo>
                      <a:pt x="300" y="67"/>
                    </a:lnTo>
                    <a:lnTo>
                      <a:pt x="300" y="65"/>
                    </a:lnTo>
                    <a:lnTo>
                      <a:pt x="302" y="65"/>
                    </a:lnTo>
                    <a:lnTo>
                      <a:pt x="300" y="65"/>
                    </a:lnTo>
                    <a:lnTo>
                      <a:pt x="299" y="65"/>
                    </a:lnTo>
                    <a:lnTo>
                      <a:pt x="300" y="65"/>
                    </a:lnTo>
                    <a:lnTo>
                      <a:pt x="300" y="63"/>
                    </a:lnTo>
                    <a:lnTo>
                      <a:pt x="302" y="63"/>
                    </a:lnTo>
                    <a:lnTo>
                      <a:pt x="302" y="61"/>
                    </a:lnTo>
                    <a:lnTo>
                      <a:pt x="304" y="61"/>
                    </a:lnTo>
                    <a:lnTo>
                      <a:pt x="304" y="63"/>
                    </a:lnTo>
                    <a:lnTo>
                      <a:pt x="302" y="63"/>
                    </a:lnTo>
                    <a:lnTo>
                      <a:pt x="304" y="63"/>
                    </a:lnTo>
                    <a:lnTo>
                      <a:pt x="304" y="61"/>
                    </a:lnTo>
                    <a:lnTo>
                      <a:pt x="306" y="61"/>
                    </a:lnTo>
                    <a:lnTo>
                      <a:pt x="307" y="61"/>
                    </a:lnTo>
                    <a:lnTo>
                      <a:pt x="309" y="60"/>
                    </a:lnTo>
                    <a:lnTo>
                      <a:pt x="309" y="58"/>
                    </a:lnTo>
                    <a:lnTo>
                      <a:pt x="309" y="60"/>
                    </a:lnTo>
                    <a:lnTo>
                      <a:pt x="311" y="60"/>
                    </a:lnTo>
                    <a:lnTo>
                      <a:pt x="312" y="60"/>
                    </a:lnTo>
                    <a:lnTo>
                      <a:pt x="314" y="60"/>
                    </a:lnTo>
                    <a:lnTo>
                      <a:pt x="316" y="60"/>
                    </a:lnTo>
                    <a:lnTo>
                      <a:pt x="317" y="60"/>
                    </a:lnTo>
                    <a:lnTo>
                      <a:pt x="319" y="60"/>
                    </a:lnTo>
                    <a:lnTo>
                      <a:pt x="321" y="60"/>
                    </a:lnTo>
                    <a:lnTo>
                      <a:pt x="323" y="60"/>
                    </a:lnTo>
                    <a:lnTo>
                      <a:pt x="324" y="60"/>
                    </a:lnTo>
                    <a:lnTo>
                      <a:pt x="326" y="60"/>
                    </a:lnTo>
                    <a:lnTo>
                      <a:pt x="326" y="58"/>
                    </a:lnTo>
                    <a:lnTo>
                      <a:pt x="324" y="58"/>
                    </a:lnTo>
                    <a:lnTo>
                      <a:pt x="323" y="58"/>
                    </a:lnTo>
                    <a:lnTo>
                      <a:pt x="321" y="56"/>
                    </a:lnTo>
                    <a:lnTo>
                      <a:pt x="319" y="56"/>
                    </a:lnTo>
                    <a:lnTo>
                      <a:pt x="317" y="56"/>
                    </a:lnTo>
                    <a:lnTo>
                      <a:pt x="316" y="56"/>
                    </a:lnTo>
                    <a:lnTo>
                      <a:pt x="316" y="55"/>
                    </a:lnTo>
                    <a:lnTo>
                      <a:pt x="316" y="56"/>
                    </a:lnTo>
                    <a:lnTo>
                      <a:pt x="314" y="55"/>
                    </a:lnTo>
                    <a:lnTo>
                      <a:pt x="314" y="56"/>
                    </a:lnTo>
                    <a:lnTo>
                      <a:pt x="314" y="55"/>
                    </a:lnTo>
                    <a:lnTo>
                      <a:pt x="314" y="56"/>
                    </a:lnTo>
                    <a:lnTo>
                      <a:pt x="312" y="55"/>
                    </a:lnTo>
                    <a:lnTo>
                      <a:pt x="314" y="55"/>
                    </a:lnTo>
                    <a:lnTo>
                      <a:pt x="312" y="55"/>
                    </a:lnTo>
                    <a:lnTo>
                      <a:pt x="312" y="56"/>
                    </a:lnTo>
                    <a:lnTo>
                      <a:pt x="311" y="56"/>
                    </a:lnTo>
                    <a:lnTo>
                      <a:pt x="311" y="55"/>
                    </a:lnTo>
                    <a:lnTo>
                      <a:pt x="309" y="56"/>
                    </a:lnTo>
                    <a:lnTo>
                      <a:pt x="307" y="56"/>
                    </a:lnTo>
                    <a:lnTo>
                      <a:pt x="307" y="58"/>
                    </a:lnTo>
                    <a:lnTo>
                      <a:pt x="306" y="56"/>
                    </a:lnTo>
                    <a:lnTo>
                      <a:pt x="306" y="55"/>
                    </a:lnTo>
                    <a:lnTo>
                      <a:pt x="306" y="53"/>
                    </a:lnTo>
                    <a:lnTo>
                      <a:pt x="307" y="53"/>
                    </a:lnTo>
                    <a:lnTo>
                      <a:pt x="309" y="53"/>
                    </a:lnTo>
                    <a:lnTo>
                      <a:pt x="309" y="55"/>
                    </a:lnTo>
                    <a:lnTo>
                      <a:pt x="309" y="53"/>
                    </a:lnTo>
                    <a:lnTo>
                      <a:pt x="309" y="55"/>
                    </a:lnTo>
                    <a:lnTo>
                      <a:pt x="311" y="55"/>
                    </a:lnTo>
                    <a:lnTo>
                      <a:pt x="311" y="53"/>
                    </a:lnTo>
                    <a:lnTo>
                      <a:pt x="312" y="53"/>
                    </a:lnTo>
                    <a:lnTo>
                      <a:pt x="314" y="53"/>
                    </a:lnTo>
                    <a:lnTo>
                      <a:pt x="316" y="53"/>
                    </a:lnTo>
                    <a:lnTo>
                      <a:pt x="317" y="55"/>
                    </a:lnTo>
                    <a:lnTo>
                      <a:pt x="317" y="53"/>
                    </a:lnTo>
                    <a:lnTo>
                      <a:pt x="319" y="53"/>
                    </a:lnTo>
                    <a:lnTo>
                      <a:pt x="321" y="53"/>
                    </a:lnTo>
                    <a:lnTo>
                      <a:pt x="323" y="53"/>
                    </a:lnTo>
                    <a:lnTo>
                      <a:pt x="321" y="51"/>
                    </a:lnTo>
                    <a:lnTo>
                      <a:pt x="321" y="53"/>
                    </a:lnTo>
                    <a:lnTo>
                      <a:pt x="321" y="51"/>
                    </a:lnTo>
                    <a:lnTo>
                      <a:pt x="323" y="51"/>
                    </a:lnTo>
                    <a:lnTo>
                      <a:pt x="323" y="53"/>
                    </a:lnTo>
                    <a:lnTo>
                      <a:pt x="324" y="53"/>
                    </a:lnTo>
                    <a:lnTo>
                      <a:pt x="326" y="53"/>
                    </a:lnTo>
                    <a:lnTo>
                      <a:pt x="328" y="53"/>
                    </a:lnTo>
                    <a:lnTo>
                      <a:pt x="329" y="53"/>
                    </a:lnTo>
                    <a:lnTo>
                      <a:pt x="331" y="55"/>
                    </a:lnTo>
                    <a:lnTo>
                      <a:pt x="331" y="53"/>
                    </a:lnTo>
                    <a:lnTo>
                      <a:pt x="333" y="53"/>
                    </a:lnTo>
                    <a:lnTo>
                      <a:pt x="334" y="53"/>
                    </a:lnTo>
                    <a:lnTo>
                      <a:pt x="334" y="51"/>
                    </a:lnTo>
                    <a:lnTo>
                      <a:pt x="336" y="51"/>
                    </a:lnTo>
                    <a:lnTo>
                      <a:pt x="336" y="53"/>
                    </a:lnTo>
                    <a:lnTo>
                      <a:pt x="338" y="53"/>
                    </a:lnTo>
                    <a:lnTo>
                      <a:pt x="338" y="51"/>
                    </a:lnTo>
                    <a:lnTo>
                      <a:pt x="338" y="53"/>
                    </a:lnTo>
                    <a:lnTo>
                      <a:pt x="340" y="53"/>
                    </a:lnTo>
                    <a:lnTo>
                      <a:pt x="341" y="53"/>
                    </a:lnTo>
                    <a:lnTo>
                      <a:pt x="341" y="51"/>
                    </a:lnTo>
                    <a:lnTo>
                      <a:pt x="343" y="51"/>
                    </a:lnTo>
                    <a:lnTo>
                      <a:pt x="345" y="51"/>
                    </a:lnTo>
                    <a:lnTo>
                      <a:pt x="346" y="51"/>
                    </a:lnTo>
                    <a:lnTo>
                      <a:pt x="348" y="51"/>
                    </a:lnTo>
                    <a:lnTo>
                      <a:pt x="350" y="51"/>
                    </a:lnTo>
                    <a:lnTo>
                      <a:pt x="351" y="51"/>
                    </a:lnTo>
                    <a:lnTo>
                      <a:pt x="353" y="51"/>
                    </a:lnTo>
                    <a:lnTo>
                      <a:pt x="355" y="51"/>
                    </a:lnTo>
                    <a:lnTo>
                      <a:pt x="355" y="50"/>
                    </a:lnTo>
                    <a:lnTo>
                      <a:pt x="357" y="50"/>
                    </a:lnTo>
                    <a:lnTo>
                      <a:pt x="358" y="50"/>
                    </a:lnTo>
                    <a:lnTo>
                      <a:pt x="360" y="50"/>
                    </a:lnTo>
                    <a:lnTo>
                      <a:pt x="362" y="50"/>
                    </a:lnTo>
                    <a:lnTo>
                      <a:pt x="363" y="50"/>
                    </a:lnTo>
                    <a:lnTo>
                      <a:pt x="365" y="50"/>
                    </a:lnTo>
                    <a:lnTo>
                      <a:pt x="367" y="51"/>
                    </a:lnTo>
                    <a:lnTo>
                      <a:pt x="368" y="51"/>
                    </a:lnTo>
                    <a:lnTo>
                      <a:pt x="370" y="51"/>
                    </a:lnTo>
                    <a:lnTo>
                      <a:pt x="372" y="51"/>
                    </a:lnTo>
                    <a:lnTo>
                      <a:pt x="374" y="51"/>
                    </a:lnTo>
                    <a:lnTo>
                      <a:pt x="375" y="51"/>
                    </a:lnTo>
                    <a:lnTo>
                      <a:pt x="377" y="51"/>
                    </a:lnTo>
                    <a:lnTo>
                      <a:pt x="379" y="51"/>
                    </a:lnTo>
                    <a:lnTo>
                      <a:pt x="380" y="51"/>
                    </a:lnTo>
                    <a:lnTo>
                      <a:pt x="382" y="51"/>
                    </a:lnTo>
                    <a:lnTo>
                      <a:pt x="384" y="51"/>
                    </a:lnTo>
                    <a:lnTo>
                      <a:pt x="385" y="51"/>
                    </a:lnTo>
                    <a:lnTo>
                      <a:pt x="385" y="50"/>
                    </a:lnTo>
                    <a:lnTo>
                      <a:pt x="387" y="50"/>
                    </a:lnTo>
                    <a:lnTo>
                      <a:pt x="387" y="51"/>
                    </a:lnTo>
                    <a:lnTo>
                      <a:pt x="385" y="51"/>
                    </a:lnTo>
                    <a:lnTo>
                      <a:pt x="385" y="53"/>
                    </a:lnTo>
                    <a:lnTo>
                      <a:pt x="385" y="51"/>
                    </a:lnTo>
                    <a:lnTo>
                      <a:pt x="385" y="53"/>
                    </a:lnTo>
                    <a:lnTo>
                      <a:pt x="384" y="53"/>
                    </a:lnTo>
                    <a:lnTo>
                      <a:pt x="382" y="53"/>
                    </a:lnTo>
                    <a:lnTo>
                      <a:pt x="380" y="53"/>
                    </a:lnTo>
                    <a:lnTo>
                      <a:pt x="379" y="53"/>
                    </a:lnTo>
                    <a:lnTo>
                      <a:pt x="377" y="53"/>
                    </a:lnTo>
                    <a:lnTo>
                      <a:pt x="375" y="53"/>
                    </a:lnTo>
                    <a:lnTo>
                      <a:pt x="374" y="53"/>
                    </a:lnTo>
                    <a:lnTo>
                      <a:pt x="374" y="55"/>
                    </a:lnTo>
                    <a:lnTo>
                      <a:pt x="372" y="55"/>
                    </a:lnTo>
                    <a:lnTo>
                      <a:pt x="372" y="56"/>
                    </a:lnTo>
                    <a:lnTo>
                      <a:pt x="370" y="56"/>
                    </a:lnTo>
                    <a:lnTo>
                      <a:pt x="368" y="56"/>
                    </a:lnTo>
                    <a:lnTo>
                      <a:pt x="367" y="56"/>
                    </a:lnTo>
                    <a:lnTo>
                      <a:pt x="365" y="56"/>
                    </a:lnTo>
                    <a:lnTo>
                      <a:pt x="363" y="56"/>
                    </a:lnTo>
                    <a:lnTo>
                      <a:pt x="362" y="56"/>
                    </a:lnTo>
                    <a:lnTo>
                      <a:pt x="360" y="56"/>
                    </a:lnTo>
                    <a:lnTo>
                      <a:pt x="358" y="56"/>
                    </a:lnTo>
                    <a:lnTo>
                      <a:pt x="357" y="56"/>
                    </a:lnTo>
                    <a:lnTo>
                      <a:pt x="355" y="56"/>
                    </a:lnTo>
                    <a:lnTo>
                      <a:pt x="353" y="58"/>
                    </a:lnTo>
                    <a:lnTo>
                      <a:pt x="355" y="58"/>
                    </a:lnTo>
                    <a:lnTo>
                      <a:pt x="357" y="58"/>
                    </a:lnTo>
                    <a:lnTo>
                      <a:pt x="357" y="60"/>
                    </a:lnTo>
                    <a:lnTo>
                      <a:pt x="358" y="60"/>
                    </a:lnTo>
                    <a:lnTo>
                      <a:pt x="358" y="61"/>
                    </a:lnTo>
                    <a:lnTo>
                      <a:pt x="360" y="63"/>
                    </a:lnTo>
                    <a:lnTo>
                      <a:pt x="360" y="65"/>
                    </a:lnTo>
                    <a:lnTo>
                      <a:pt x="360" y="67"/>
                    </a:lnTo>
                    <a:lnTo>
                      <a:pt x="360" y="68"/>
                    </a:lnTo>
                    <a:lnTo>
                      <a:pt x="360" y="70"/>
                    </a:lnTo>
                    <a:lnTo>
                      <a:pt x="362" y="70"/>
                    </a:lnTo>
                    <a:lnTo>
                      <a:pt x="362" y="68"/>
                    </a:lnTo>
                    <a:lnTo>
                      <a:pt x="362" y="67"/>
                    </a:lnTo>
                    <a:lnTo>
                      <a:pt x="363" y="68"/>
                    </a:lnTo>
                    <a:lnTo>
                      <a:pt x="365" y="68"/>
                    </a:lnTo>
                    <a:lnTo>
                      <a:pt x="365" y="70"/>
                    </a:lnTo>
                    <a:lnTo>
                      <a:pt x="367" y="70"/>
                    </a:lnTo>
                    <a:lnTo>
                      <a:pt x="367" y="72"/>
                    </a:lnTo>
                    <a:lnTo>
                      <a:pt x="367" y="73"/>
                    </a:lnTo>
                    <a:lnTo>
                      <a:pt x="367" y="75"/>
                    </a:lnTo>
                    <a:lnTo>
                      <a:pt x="368" y="75"/>
                    </a:lnTo>
                    <a:lnTo>
                      <a:pt x="368" y="77"/>
                    </a:lnTo>
                    <a:lnTo>
                      <a:pt x="367" y="77"/>
                    </a:lnTo>
                    <a:lnTo>
                      <a:pt x="368" y="78"/>
                    </a:lnTo>
                    <a:lnTo>
                      <a:pt x="370" y="78"/>
                    </a:lnTo>
                    <a:lnTo>
                      <a:pt x="370" y="80"/>
                    </a:lnTo>
                    <a:lnTo>
                      <a:pt x="370" y="78"/>
                    </a:lnTo>
                    <a:lnTo>
                      <a:pt x="372" y="78"/>
                    </a:lnTo>
                    <a:lnTo>
                      <a:pt x="370" y="77"/>
                    </a:lnTo>
                    <a:lnTo>
                      <a:pt x="372" y="77"/>
                    </a:lnTo>
                    <a:lnTo>
                      <a:pt x="374" y="77"/>
                    </a:lnTo>
                    <a:lnTo>
                      <a:pt x="375" y="75"/>
                    </a:lnTo>
                    <a:lnTo>
                      <a:pt x="377" y="75"/>
                    </a:lnTo>
                    <a:lnTo>
                      <a:pt x="379" y="75"/>
                    </a:lnTo>
                    <a:lnTo>
                      <a:pt x="380" y="77"/>
                    </a:lnTo>
                    <a:lnTo>
                      <a:pt x="382" y="77"/>
                    </a:lnTo>
                    <a:lnTo>
                      <a:pt x="382" y="78"/>
                    </a:lnTo>
                    <a:lnTo>
                      <a:pt x="384" y="78"/>
                    </a:lnTo>
                    <a:lnTo>
                      <a:pt x="385" y="80"/>
                    </a:lnTo>
                    <a:lnTo>
                      <a:pt x="385" y="82"/>
                    </a:lnTo>
                    <a:lnTo>
                      <a:pt x="387" y="82"/>
                    </a:lnTo>
                    <a:lnTo>
                      <a:pt x="389" y="82"/>
                    </a:lnTo>
                    <a:lnTo>
                      <a:pt x="391" y="82"/>
                    </a:lnTo>
                    <a:lnTo>
                      <a:pt x="392" y="82"/>
                    </a:lnTo>
                    <a:lnTo>
                      <a:pt x="394" y="82"/>
                    </a:lnTo>
                    <a:lnTo>
                      <a:pt x="396" y="82"/>
                    </a:lnTo>
                    <a:lnTo>
                      <a:pt x="394" y="82"/>
                    </a:lnTo>
                    <a:lnTo>
                      <a:pt x="396" y="82"/>
                    </a:lnTo>
                    <a:lnTo>
                      <a:pt x="396" y="80"/>
                    </a:lnTo>
                    <a:lnTo>
                      <a:pt x="394" y="80"/>
                    </a:lnTo>
                    <a:lnTo>
                      <a:pt x="396" y="80"/>
                    </a:lnTo>
                    <a:lnTo>
                      <a:pt x="394" y="80"/>
                    </a:lnTo>
                    <a:lnTo>
                      <a:pt x="394" y="78"/>
                    </a:lnTo>
                    <a:lnTo>
                      <a:pt x="396" y="80"/>
                    </a:lnTo>
                    <a:lnTo>
                      <a:pt x="397" y="80"/>
                    </a:lnTo>
                    <a:lnTo>
                      <a:pt x="399" y="82"/>
                    </a:lnTo>
                    <a:lnTo>
                      <a:pt x="401" y="82"/>
                    </a:lnTo>
                    <a:lnTo>
                      <a:pt x="401" y="84"/>
                    </a:lnTo>
                    <a:lnTo>
                      <a:pt x="401" y="82"/>
                    </a:lnTo>
                    <a:lnTo>
                      <a:pt x="399" y="82"/>
                    </a:lnTo>
                    <a:lnTo>
                      <a:pt x="399" y="80"/>
                    </a:lnTo>
                    <a:lnTo>
                      <a:pt x="399" y="82"/>
                    </a:lnTo>
                    <a:lnTo>
                      <a:pt x="401" y="82"/>
                    </a:lnTo>
                    <a:lnTo>
                      <a:pt x="402" y="82"/>
                    </a:lnTo>
                    <a:lnTo>
                      <a:pt x="402" y="84"/>
                    </a:lnTo>
                    <a:lnTo>
                      <a:pt x="404" y="84"/>
                    </a:lnTo>
                    <a:lnTo>
                      <a:pt x="404" y="85"/>
                    </a:lnTo>
                    <a:lnTo>
                      <a:pt x="406" y="85"/>
                    </a:lnTo>
                    <a:lnTo>
                      <a:pt x="406" y="87"/>
                    </a:lnTo>
                    <a:lnTo>
                      <a:pt x="408" y="87"/>
                    </a:lnTo>
                    <a:lnTo>
                      <a:pt x="408" y="89"/>
                    </a:lnTo>
                    <a:lnTo>
                      <a:pt x="409" y="89"/>
                    </a:lnTo>
                    <a:lnTo>
                      <a:pt x="411" y="90"/>
                    </a:lnTo>
                    <a:lnTo>
                      <a:pt x="413" y="90"/>
                    </a:lnTo>
                    <a:lnTo>
                      <a:pt x="414" y="90"/>
                    </a:lnTo>
                    <a:lnTo>
                      <a:pt x="416" y="90"/>
                    </a:lnTo>
                    <a:lnTo>
                      <a:pt x="416" y="92"/>
                    </a:lnTo>
                    <a:lnTo>
                      <a:pt x="418" y="92"/>
                    </a:lnTo>
                    <a:lnTo>
                      <a:pt x="419" y="94"/>
                    </a:lnTo>
                    <a:lnTo>
                      <a:pt x="421" y="94"/>
                    </a:lnTo>
                    <a:lnTo>
                      <a:pt x="421" y="96"/>
                    </a:lnTo>
                    <a:lnTo>
                      <a:pt x="423" y="96"/>
                    </a:lnTo>
                    <a:lnTo>
                      <a:pt x="423" y="97"/>
                    </a:lnTo>
                    <a:lnTo>
                      <a:pt x="423" y="99"/>
                    </a:lnTo>
                    <a:lnTo>
                      <a:pt x="423" y="101"/>
                    </a:lnTo>
                    <a:lnTo>
                      <a:pt x="421" y="101"/>
                    </a:lnTo>
                    <a:lnTo>
                      <a:pt x="419" y="101"/>
                    </a:lnTo>
                    <a:lnTo>
                      <a:pt x="419" y="102"/>
                    </a:lnTo>
                    <a:lnTo>
                      <a:pt x="418" y="102"/>
                    </a:lnTo>
                    <a:lnTo>
                      <a:pt x="418" y="104"/>
                    </a:lnTo>
                    <a:lnTo>
                      <a:pt x="419" y="104"/>
                    </a:lnTo>
                    <a:lnTo>
                      <a:pt x="419" y="102"/>
                    </a:lnTo>
                    <a:lnTo>
                      <a:pt x="421" y="102"/>
                    </a:lnTo>
                    <a:lnTo>
                      <a:pt x="423" y="102"/>
                    </a:lnTo>
                    <a:lnTo>
                      <a:pt x="425" y="102"/>
                    </a:lnTo>
                    <a:lnTo>
                      <a:pt x="425" y="104"/>
                    </a:lnTo>
                    <a:lnTo>
                      <a:pt x="423" y="104"/>
                    </a:lnTo>
                    <a:lnTo>
                      <a:pt x="425" y="104"/>
                    </a:lnTo>
                    <a:lnTo>
                      <a:pt x="425" y="106"/>
                    </a:lnTo>
                    <a:lnTo>
                      <a:pt x="423" y="106"/>
                    </a:lnTo>
                    <a:lnTo>
                      <a:pt x="423" y="107"/>
                    </a:lnTo>
                    <a:lnTo>
                      <a:pt x="425" y="107"/>
                    </a:lnTo>
                    <a:lnTo>
                      <a:pt x="423" y="107"/>
                    </a:lnTo>
                    <a:lnTo>
                      <a:pt x="423" y="109"/>
                    </a:lnTo>
                    <a:lnTo>
                      <a:pt x="423" y="111"/>
                    </a:lnTo>
                    <a:lnTo>
                      <a:pt x="421" y="111"/>
                    </a:lnTo>
                    <a:lnTo>
                      <a:pt x="421" y="109"/>
                    </a:lnTo>
                    <a:lnTo>
                      <a:pt x="421" y="111"/>
                    </a:lnTo>
                    <a:lnTo>
                      <a:pt x="423" y="111"/>
                    </a:lnTo>
                    <a:lnTo>
                      <a:pt x="425" y="111"/>
                    </a:lnTo>
                    <a:lnTo>
                      <a:pt x="423" y="111"/>
                    </a:lnTo>
                    <a:lnTo>
                      <a:pt x="423" y="113"/>
                    </a:lnTo>
                    <a:lnTo>
                      <a:pt x="421" y="113"/>
                    </a:lnTo>
                    <a:lnTo>
                      <a:pt x="421" y="114"/>
                    </a:lnTo>
                    <a:lnTo>
                      <a:pt x="423" y="114"/>
                    </a:lnTo>
                    <a:lnTo>
                      <a:pt x="425" y="114"/>
                    </a:lnTo>
                    <a:lnTo>
                      <a:pt x="423" y="114"/>
                    </a:lnTo>
                    <a:lnTo>
                      <a:pt x="423" y="116"/>
                    </a:lnTo>
                    <a:lnTo>
                      <a:pt x="425" y="116"/>
                    </a:lnTo>
                    <a:lnTo>
                      <a:pt x="426" y="116"/>
                    </a:lnTo>
                    <a:lnTo>
                      <a:pt x="426" y="118"/>
                    </a:lnTo>
                    <a:lnTo>
                      <a:pt x="425" y="118"/>
                    </a:lnTo>
                    <a:lnTo>
                      <a:pt x="425" y="119"/>
                    </a:lnTo>
                    <a:lnTo>
                      <a:pt x="423" y="119"/>
                    </a:lnTo>
                    <a:lnTo>
                      <a:pt x="423" y="121"/>
                    </a:lnTo>
                    <a:lnTo>
                      <a:pt x="421" y="121"/>
                    </a:lnTo>
                    <a:lnTo>
                      <a:pt x="419" y="121"/>
                    </a:lnTo>
                    <a:lnTo>
                      <a:pt x="419" y="123"/>
                    </a:lnTo>
                    <a:lnTo>
                      <a:pt x="418" y="123"/>
                    </a:lnTo>
                    <a:lnTo>
                      <a:pt x="416" y="123"/>
                    </a:lnTo>
                    <a:lnTo>
                      <a:pt x="416" y="124"/>
                    </a:lnTo>
                    <a:lnTo>
                      <a:pt x="414" y="126"/>
                    </a:lnTo>
                    <a:lnTo>
                      <a:pt x="416" y="126"/>
                    </a:lnTo>
                    <a:lnTo>
                      <a:pt x="416" y="124"/>
                    </a:lnTo>
                    <a:lnTo>
                      <a:pt x="418" y="124"/>
                    </a:lnTo>
                    <a:lnTo>
                      <a:pt x="419" y="123"/>
                    </a:lnTo>
                    <a:lnTo>
                      <a:pt x="421" y="124"/>
                    </a:lnTo>
                    <a:lnTo>
                      <a:pt x="423" y="124"/>
                    </a:lnTo>
                    <a:lnTo>
                      <a:pt x="425" y="123"/>
                    </a:lnTo>
                    <a:lnTo>
                      <a:pt x="426" y="123"/>
                    </a:lnTo>
                    <a:lnTo>
                      <a:pt x="426" y="124"/>
                    </a:lnTo>
                    <a:lnTo>
                      <a:pt x="428" y="124"/>
                    </a:lnTo>
                    <a:lnTo>
                      <a:pt x="430" y="124"/>
                    </a:lnTo>
                    <a:lnTo>
                      <a:pt x="430" y="126"/>
                    </a:lnTo>
                    <a:lnTo>
                      <a:pt x="431" y="126"/>
                    </a:lnTo>
                    <a:lnTo>
                      <a:pt x="433" y="126"/>
                    </a:lnTo>
                    <a:lnTo>
                      <a:pt x="435" y="126"/>
                    </a:lnTo>
                    <a:lnTo>
                      <a:pt x="435" y="124"/>
                    </a:lnTo>
                    <a:lnTo>
                      <a:pt x="436" y="124"/>
                    </a:lnTo>
                    <a:lnTo>
                      <a:pt x="435" y="123"/>
                    </a:lnTo>
                    <a:lnTo>
                      <a:pt x="436" y="123"/>
                    </a:lnTo>
                    <a:lnTo>
                      <a:pt x="438" y="123"/>
                    </a:lnTo>
                    <a:lnTo>
                      <a:pt x="440" y="123"/>
                    </a:lnTo>
                    <a:lnTo>
                      <a:pt x="442" y="123"/>
                    </a:lnTo>
                    <a:lnTo>
                      <a:pt x="443" y="123"/>
                    </a:lnTo>
                    <a:lnTo>
                      <a:pt x="445" y="123"/>
                    </a:lnTo>
                    <a:lnTo>
                      <a:pt x="447" y="123"/>
                    </a:lnTo>
                    <a:lnTo>
                      <a:pt x="447" y="124"/>
                    </a:lnTo>
                    <a:lnTo>
                      <a:pt x="448" y="124"/>
                    </a:lnTo>
                    <a:lnTo>
                      <a:pt x="450" y="124"/>
                    </a:lnTo>
                    <a:lnTo>
                      <a:pt x="450" y="126"/>
                    </a:lnTo>
                    <a:close/>
                    <a:moveTo>
                      <a:pt x="321" y="38"/>
                    </a:moveTo>
                    <a:lnTo>
                      <a:pt x="321" y="39"/>
                    </a:lnTo>
                    <a:lnTo>
                      <a:pt x="321" y="41"/>
                    </a:lnTo>
                    <a:lnTo>
                      <a:pt x="323" y="41"/>
                    </a:lnTo>
                    <a:lnTo>
                      <a:pt x="321" y="41"/>
                    </a:lnTo>
                    <a:lnTo>
                      <a:pt x="321" y="43"/>
                    </a:lnTo>
                    <a:lnTo>
                      <a:pt x="319" y="43"/>
                    </a:lnTo>
                    <a:lnTo>
                      <a:pt x="319" y="44"/>
                    </a:lnTo>
                    <a:lnTo>
                      <a:pt x="317" y="44"/>
                    </a:lnTo>
                    <a:lnTo>
                      <a:pt x="316" y="43"/>
                    </a:lnTo>
                    <a:lnTo>
                      <a:pt x="317" y="44"/>
                    </a:lnTo>
                    <a:lnTo>
                      <a:pt x="316" y="44"/>
                    </a:lnTo>
                    <a:lnTo>
                      <a:pt x="317" y="44"/>
                    </a:lnTo>
                    <a:lnTo>
                      <a:pt x="316" y="44"/>
                    </a:lnTo>
                    <a:lnTo>
                      <a:pt x="314" y="44"/>
                    </a:lnTo>
                    <a:lnTo>
                      <a:pt x="314" y="46"/>
                    </a:lnTo>
                    <a:lnTo>
                      <a:pt x="312" y="46"/>
                    </a:lnTo>
                    <a:lnTo>
                      <a:pt x="312" y="44"/>
                    </a:lnTo>
                    <a:lnTo>
                      <a:pt x="311" y="44"/>
                    </a:lnTo>
                    <a:lnTo>
                      <a:pt x="311" y="43"/>
                    </a:lnTo>
                    <a:lnTo>
                      <a:pt x="311" y="44"/>
                    </a:lnTo>
                    <a:lnTo>
                      <a:pt x="311" y="43"/>
                    </a:lnTo>
                    <a:lnTo>
                      <a:pt x="309" y="43"/>
                    </a:lnTo>
                    <a:lnTo>
                      <a:pt x="309" y="41"/>
                    </a:lnTo>
                    <a:lnTo>
                      <a:pt x="311" y="41"/>
                    </a:lnTo>
                    <a:lnTo>
                      <a:pt x="311" y="43"/>
                    </a:lnTo>
                    <a:lnTo>
                      <a:pt x="311" y="41"/>
                    </a:lnTo>
                    <a:lnTo>
                      <a:pt x="311" y="43"/>
                    </a:lnTo>
                    <a:lnTo>
                      <a:pt x="312" y="41"/>
                    </a:lnTo>
                    <a:lnTo>
                      <a:pt x="314" y="43"/>
                    </a:lnTo>
                    <a:lnTo>
                      <a:pt x="314" y="41"/>
                    </a:lnTo>
                    <a:lnTo>
                      <a:pt x="312" y="41"/>
                    </a:lnTo>
                    <a:lnTo>
                      <a:pt x="311" y="41"/>
                    </a:lnTo>
                    <a:lnTo>
                      <a:pt x="309" y="41"/>
                    </a:lnTo>
                    <a:lnTo>
                      <a:pt x="309" y="43"/>
                    </a:lnTo>
                    <a:lnTo>
                      <a:pt x="307" y="43"/>
                    </a:lnTo>
                    <a:lnTo>
                      <a:pt x="306" y="43"/>
                    </a:lnTo>
                    <a:lnTo>
                      <a:pt x="304" y="43"/>
                    </a:lnTo>
                    <a:lnTo>
                      <a:pt x="302" y="43"/>
                    </a:lnTo>
                    <a:lnTo>
                      <a:pt x="300" y="43"/>
                    </a:lnTo>
                    <a:lnTo>
                      <a:pt x="300" y="41"/>
                    </a:lnTo>
                    <a:lnTo>
                      <a:pt x="302" y="41"/>
                    </a:lnTo>
                    <a:lnTo>
                      <a:pt x="302" y="39"/>
                    </a:lnTo>
                    <a:lnTo>
                      <a:pt x="304" y="39"/>
                    </a:lnTo>
                    <a:lnTo>
                      <a:pt x="306" y="39"/>
                    </a:lnTo>
                    <a:lnTo>
                      <a:pt x="307" y="38"/>
                    </a:lnTo>
                    <a:lnTo>
                      <a:pt x="309" y="38"/>
                    </a:lnTo>
                    <a:lnTo>
                      <a:pt x="309" y="39"/>
                    </a:lnTo>
                    <a:lnTo>
                      <a:pt x="307" y="39"/>
                    </a:lnTo>
                    <a:lnTo>
                      <a:pt x="309" y="39"/>
                    </a:lnTo>
                    <a:lnTo>
                      <a:pt x="309" y="41"/>
                    </a:lnTo>
                    <a:lnTo>
                      <a:pt x="311" y="41"/>
                    </a:lnTo>
                    <a:lnTo>
                      <a:pt x="312" y="41"/>
                    </a:lnTo>
                    <a:lnTo>
                      <a:pt x="314" y="41"/>
                    </a:lnTo>
                    <a:lnTo>
                      <a:pt x="314" y="39"/>
                    </a:lnTo>
                    <a:lnTo>
                      <a:pt x="316" y="39"/>
                    </a:lnTo>
                    <a:lnTo>
                      <a:pt x="316" y="38"/>
                    </a:lnTo>
                    <a:lnTo>
                      <a:pt x="317" y="38"/>
                    </a:lnTo>
                    <a:lnTo>
                      <a:pt x="317" y="36"/>
                    </a:lnTo>
                    <a:lnTo>
                      <a:pt x="319" y="36"/>
                    </a:lnTo>
                    <a:lnTo>
                      <a:pt x="319" y="34"/>
                    </a:lnTo>
                    <a:lnTo>
                      <a:pt x="319" y="36"/>
                    </a:lnTo>
                    <a:lnTo>
                      <a:pt x="321" y="36"/>
                    </a:lnTo>
                    <a:lnTo>
                      <a:pt x="321" y="38"/>
                    </a:lnTo>
                    <a:close/>
                    <a:moveTo>
                      <a:pt x="272" y="43"/>
                    </a:moveTo>
                    <a:lnTo>
                      <a:pt x="273" y="43"/>
                    </a:lnTo>
                    <a:lnTo>
                      <a:pt x="275" y="43"/>
                    </a:lnTo>
                    <a:lnTo>
                      <a:pt x="275" y="44"/>
                    </a:lnTo>
                    <a:lnTo>
                      <a:pt x="273" y="44"/>
                    </a:lnTo>
                    <a:lnTo>
                      <a:pt x="272" y="44"/>
                    </a:lnTo>
                    <a:lnTo>
                      <a:pt x="270" y="44"/>
                    </a:lnTo>
                    <a:lnTo>
                      <a:pt x="268" y="44"/>
                    </a:lnTo>
                    <a:lnTo>
                      <a:pt x="266" y="44"/>
                    </a:lnTo>
                    <a:lnTo>
                      <a:pt x="266" y="43"/>
                    </a:lnTo>
                    <a:lnTo>
                      <a:pt x="268" y="43"/>
                    </a:lnTo>
                    <a:lnTo>
                      <a:pt x="268" y="41"/>
                    </a:lnTo>
                    <a:lnTo>
                      <a:pt x="270" y="41"/>
                    </a:lnTo>
                    <a:lnTo>
                      <a:pt x="272" y="41"/>
                    </a:lnTo>
                    <a:lnTo>
                      <a:pt x="272" y="43"/>
                    </a:lnTo>
                    <a:close/>
                    <a:moveTo>
                      <a:pt x="294" y="10"/>
                    </a:moveTo>
                    <a:lnTo>
                      <a:pt x="295" y="10"/>
                    </a:lnTo>
                    <a:lnTo>
                      <a:pt x="295" y="14"/>
                    </a:lnTo>
                    <a:lnTo>
                      <a:pt x="294" y="14"/>
                    </a:lnTo>
                    <a:lnTo>
                      <a:pt x="294" y="10"/>
                    </a:lnTo>
                    <a:close/>
                    <a:moveTo>
                      <a:pt x="316" y="48"/>
                    </a:moveTo>
                    <a:lnTo>
                      <a:pt x="317" y="48"/>
                    </a:lnTo>
                    <a:lnTo>
                      <a:pt x="319" y="50"/>
                    </a:lnTo>
                    <a:lnTo>
                      <a:pt x="317" y="50"/>
                    </a:lnTo>
                    <a:lnTo>
                      <a:pt x="316" y="50"/>
                    </a:lnTo>
                    <a:lnTo>
                      <a:pt x="317" y="50"/>
                    </a:lnTo>
                    <a:lnTo>
                      <a:pt x="316" y="50"/>
                    </a:lnTo>
                    <a:lnTo>
                      <a:pt x="314" y="48"/>
                    </a:lnTo>
                    <a:lnTo>
                      <a:pt x="316" y="48"/>
                    </a:lnTo>
                    <a:close/>
                    <a:moveTo>
                      <a:pt x="244" y="14"/>
                    </a:moveTo>
                    <a:lnTo>
                      <a:pt x="243" y="14"/>
                    </a:lnTo>
                    <a:lnTo>
                      <a:pt x="241" y="14"/>
                    </a:lnTo>
                    <a:lnTo>
                      <a:pt x="241" y="12"/>
                    </a:lnTo>
                    <a:lnTo>
                      <a:pt x="243" y="12"/>
                    </a:lnTo>
                    <a:lnTo>
                      <a:pt x="244" y="14"/>
                    </a:lnTo>
                    <a:close/>
                    <a:moveTo>
                      <a:pt x="307" y="46"/>
                    </a:moveTo>
                    <a:lnTo>
                      <a:pt x="311" y="46"/>
                    </a:lnTo>
                    <a:lnTo>
                      <a:pt x="311" y="48"/>
                    </a:lnTo>
                    <a:lnTo>
                      <a:pt x="307" y="48"/>
                    </a:lnTo>
                    <a:lnTo>
                      <a:pt x="307" y="46"/>
                    </a:lnTo>
                    <a:close/>
                    <a:moveTo>
                      <a:pt x="227" y="14"/>
                    </a:moveTo>
                    <a:lnTo>
                      <a:pt x="227" y="16"/>
                    </a:lnTo>
                    <a:lnTo>
                      <a:pt x="226" y="16"/>
                    </a:lnTo>
                    <a:lnTo>
                      <a:pt x="224" y="16"/>
                    </a:lnTo>
                    <a:lnTo>
                      <a:pt x="224" y="14"/>
                    </a:lnTo>
                    <a:lnTo>
                      <a:pt x="224" y="16"/>
                    </a:lnTo>
                    <a:lnTo>
                      <a:pt x="226" y="16"/>
                    </a:lnTo>
                    <a:lnTo>
                      <a:pt x="226" y="14"/>
                    </a:lnTo>
                    <a:lnTo>
                      <a:pt x="227" y="14"/>
                    </a:lnTo>
                    <a:lnTo>
                      <a:pt x="226" y="12"/>
                    </a:lnTo>
                    <a:lnTo>
                      <a:pt x="227" y="14"/>
                    </a:lnTo>
                    <a:close/>
                    <a:moveTo>
                      <a:pt x="59" y="41"/>
                    </a:moveTo>
                    <a:lnTo>
                      <a:pt x="61" y="41"/>
                    </a:lnTo>
                    <a:lnTo>
                      <a:pt x="61" y="43"/>
                    </a:lnTo>
                    <a:lnTo>
                      <a:pt x="59" y="43"/>
                    </a:lnTo>
                    <a:lnTo>
                      <a:pt x="59" y="41"/>
                    </a:lnTo>
                    <a:close/>
                    <a:moveTo>
                      <a:pt x="292" y="65"/>
                    </a:moveTo>
                    <a:lnTo>
                      <a:pt x="294" y="65"/>
                    </a:lnTo>
                    <a:lnTo>
                      <a:pt x="294" y="67"/>
                    </a:lnTo>
                    <a:lnTo>
                      <a:pt x="292" y="67"/>
                    </a:lnTo>
                    <a:lnTo>
                      <a:pt x="292" y="65"/>
                    </a:lnTo>
                    <a:close/>
                    <a:moveTo>
                      <a:pt x="289" y="65"/>
                    </a:moveTo>
                    <a:lnTo>
                      <a:pt x="290" y="65"/>
                    </a:lnTo>
                    <a:lnTo>
                      <a:pt x="290" y="67"/>
                    </a:lnTo>
                    <a:lnTo>
                      <a:pt x="289" y="67"/>
                    </a:lnTo>
                    <a:lnTo>
                      <a:pt x="289" y="65"/>
                    </a:lnTo>
                    <a:close/>
                    <a:moveTo>
                      <a:pt x="57" y="41"/>
                    </a:moveTo>
                    <a:lnTo>
                      <a:pt x="57" y="43"/>
                    </a:lnTo>
                    <a:lnTo>
                      <a:pt x="57" y="41"/>
                    </a:lnTo>
                    <a:close/>
                    <a:moveTo>
                      <a:pt x="56" y="43"/>
                    </a:moveTo>
                    <a:lnTo>
                      <a:pt x="57" y="43"/>
                    </a:lnTo>
                    <a:lnTo>
                      <a:pt x="56" y="43"/>
                    </a:lnTo>
                    <a:close/>
                    <a:moveTo>
                      <a:pt x="300" y="61"/>
                    </a:moveTo>
                    <a:lnTo>
                      <a:pt x="300" y="63"/>
                    </a:lnTo>
                    <a:lnTo>
                      <a:pt x="300" y="61"/>
                    </a:lnTo>
                    <a:close/>
                    <a:moveTo>
                      <a:pt x="345" y="27"/>
                    </a:moveTo>
                    <a:lnTo>
                      <a:pt x="345" y="29"/>
                    </a:lnTo>
                    <a:lnTo>
                      <a:pt x="345" y="27"/>
                    </a:lnTo>
                    <a:close/>
                    <a:moveTo>
                      <a:pt x="221" y="10"/>
                    </a:moveTo>
                    <a:lnTo>
                      <a:pt x="221" y="12"/>
                    </a:lnTo>
                    <a:lnTo>
                      <a:pt x="222" y="12"/>
                    </a:lnTo>
                    <a:lnTo>
                      <a:pt x="224" y="10"/>
                    </a:lnTo>
                    <a:lnTo>
                      <a:pt x="224" y="12"/>
                    </a:lnTo>
                    <a:lnTo>
                      <a:pt x="222" y="12"/>
                    </a:lnTo>
                    <a:lnTo>
                      <a:pt x="221" y="12"/>
                    </a:lnTo>
                    <a:lnTo>
                      <a:pt x="221" y="10"/>
                    </a:lnTo>
                    <a:lnTo>
                      <a:pt x="219" y="10"/>
                    </a:lnTo>
                    <a:lnTo>
                      <a:pt x="221" y="10"/>
                    </a:lnTo>
                    <a:close/>
                    <a:moveTo>
                      <a:pt x="299" y="63"/>
                    </a:moveTo>
                    <a:lnTo>
                      <a:pt x="300" y="63"/>
                    </a:lnTo>
                    <a:lnTo>
                      <a:pt x="299" y="63"/>
                    </a:lnTo>
                    <a:close/>
                    <a:moveTo>
                      <a:pt x="170" y="46"/>
                    </a:moveTo>
                    <a:lnTo>
                      <a:pt x="170" y="48"/>
                    </a:lnTo>
                    <a:lnTo>
                      <a:pt x="170" y="46"/>
                    </a:lnTo>
                    <a:close/>
                    <a:moveTo>
                      <a:pt x="243" y="10"/>
                    </a:moveTo>
                    <a:lnTo>
                      <a:pt x="244" y="10"/>
                    </a:lnTo>
                    <a:lnTo>
                      <a:pt x="244" y="12"/>
                    </a:lnTo>
                    <a:lnTo>
                      <a:pt x="243" y="12"/>
                    </a:lnTo>
                    <a:lnTo>
                      <a:pt x="243" y="10"/>
                    </a:lnTo>
                    <a:close/>
                    <a:moveTo>
                      <a:pt x="282" y="70"/>
                    </a:moveTo>
                    <a:lnTo>
                      <a:pt x="283" y="70"/>
                    </a:lnTo>
                    <a:lnTo>
                      <a:pt x="282" y="70"/>
                    </a:lnTo>
                    <a:close/>
                    <a:moveTo>
                      <a:pt x="227" y="12"/>
                    </a:moveTo>
                    <a:lnTo>
                      <a:pt x="227" y="14"/>
                    </a:lnTo>
                    <a:lnTo>
                      <a:pt x="227" y="12"/>
                    </a:lnTo>
                    <a:close/>
                    <a:moveTo>
                      <a:pt x="224" y="9"/>
                    </a:moveTo>
                    <a:lnTo>
                      <a:pt x="226" y="9"/>
                    </a:lnTo>
                    <a:lnTo>
                      <a:pt x="224" y="9"/>
                    </a:lnTo>
                    <a:close/>
                    <a:moveTo>
                      <a:pt x="300" y="63"/>
                    </a:moveTo>
                    <a:lnTo>
                      <a:pt x="302" y="63"/>
                    </a:lnTo>
                    <a:lnTo>
                      <a:pt x="300" y="63"/>
                    </a:lnTo>
                    <a:close/>
                    <a:moveTo>
                      <a:pt x="226" y="10"/>
                    </a:moveTo>
                    <a:lnTo>
                      <a:pt x="227" y="10"/>
                    </a:lnTo>
                    <a:lnTo>
                      <a:pt x="227" y="12"/>
                    </a:lnTo>
                    <a:lnTo>
                      <a:pt x="226" y="12"/>
                    </a:lnTo>
                    <a:lnTo>
                      <a:pt x="226" y="10"/>
                    </a:lnTo>
                    <a:close/>
                    <a:moveTo>
                      <a:pt x="59" y="43"/>
                    </a:moveTo>
                    <a:lnTo>
                      <a:pt x="59" y="44"/>
                    </a:lnTo>
                    <a:lnTo>
                      <a:pt x="59" y="43"/>
                    </a:lnTo>
                    <a:close/>
                    <a:moveTo>
                      <a:pt x="170" y="46"/>
                    </a:moveTo>
                    <a:lnTo>
                      <a:pt x="171" y="46"/>
                    </a:lnTo>
                    <a:lnTo>
                      <a:pt x="171" y="48"/>
                    </a:lnTo>
                    <a:lnTo>
                      <a:pt x="170" y="48"/>
                    </a:lnTo>
                    <a:lnTo>
                      <a:pt x="170" y="46"/>
                    </a:lnTo>
                    <a:close/>
                    <a:moveTo>
                      <a:pt x="222" y="14"/>
                    </a:moveTo>
                    <a:lnTo>
                      <a:pt x="222" y="16"/>
                    </a:lnTo>
                    <a:lnTo>
                      <a:pt x="221" y="16"/>
                    </a:lnTo>
                    <a:lnTo>
                      <a:pt x="219" y="16"/>
                    </a:lnTo>
                    <a:lnTo>
                      <a:pt x="221" y="16"/>
                    </a:lnTo>
                    <a:lnTo>
                      <a:pt x="222" y="16"/>
                    </a:lnTo>
                    <a:lnTo>
                      <a:pt x="222" y="14"/>
                    </a:lnTo>
                    <a:close/>
                    <a:moveTo>
                      <a:pt x="295" y="67"/>
                    </a:moveTo>
                    <a:lnTo>
                      <a:pt x="297" y="67"/>
                    </a:lnTo>
                    <a:lnTo>
                      <a:pt x="295" y="67"/>
                    </a:lnTo>
                    <a:close/>
                    <a:moveTo>
                      <a:pt x="171" y="46"/>
                    </a:moveTo>
                    <a:lnTo>
                      <a:pt x="171" y="48"/>
                    </a:lnTo>
                    <a:lnTo>
                      <a:pt x="171" y="46"/>
                    </a:lnTo>
                    <a:close/>
                    <a:moveTo>
                      <a:pt x="61" y="43"/>
                    </a:moveTo>
                    <a:lnTo>
                      <a:pt x="62" y="43"/>
                    </a:lnTo>
                    <a:lnTo>
                      <a:pt x="61" y="43"/>
                    </a:lnTo>
                    <a:close/>
                    <a:moveTo>
                      <a:pt x="190" y="7"/>
                    </a:moveTo>
                    <a:lnTo>
                      <a:pt x="192" y="7"/>
                    </a:lnTo>
                    <a:lnTo>
                      <a:pt x="190" y="7"/>
                    </a:lnTo>
                    <a:close/>
                    <a:moveTo>
                      <a:pt x="294" y="65"/>
                    </a:moveTo>
                    <a:lnTo>
                      <a:pt x="295" y="65"/>
                    </a:lnTo>
                    <a:lnTo>
                      <a:pt x="294" y="65"/>
                    </a:lnTo>
                    <a:close/>
                    <a:moveTo>
                      <a:pt x="297" y="63"/>
                    </a:moveTo>
                    <a:lnTo>
                      <a:pt x="299" y="63"/>
                    </a:lnTo>
                    <a:lnTo>
                      <a:pt x="297" y="63"/>
                    </a:lnTo>
                    <a:close/>
                    <a:moveTo>
                      <a:pt x="224" y="10"/>
                    </a:moveTo>
                    <a:lnTo>
                      <a:pt x="224" y="12"/>
                    </a:lnTo>
                    <a:lnTo>
                      <a:pt x="224" y="10"/>
                    </a:lnTo>
                    <a:close/>
                    <a:moveTo>
                      <a:pt x="345" y="27"/>
                    </a:moveTo>
                    <a:lnTo>
                      <a:pt x="346" y="27"/>
                    </a:lnTo>
                    <a:lnTo>
                      <a:pt x="345" y="27"/>
                    </a:lnTo>
                    <a:close/>
                    <a:moveTo>
                      <a:pt x="170" y="46"/>
                    </a:moveTo>
                    <a:lnTo>
                      <a:pt x="170" y="48"/>
                    </a:lnTo>
                    <a:lnTo>
                      <a:pt x="170" y="46"/>
                    </a:lnTo>
                    <a:close/>
                    <a:moveTo>
                      <a:pt x="198" y="9"/>
                    </a:moveTo>
                    <a:lnTo>
                      <a:pt x="200" y="9"/>
                    </a:lnTo>
                    <a:lnTo>
                      <a:pt x="198" y="9"/>
                    </a:lnTo>
                    <a:close/>
                    <a:moveTo>
                      <a:pt x="170" y="46"/>
                    </a:moveTo>
                    <a:lnTo>
                      <a:pt x="171" y="46"/>
                    </a:lnTo>
                    <a:lnTo>
                      <a:pt x="170" y="46"/>
                    </a:lnTo>
                    <a:close/>
                    <a:moveTo>
                      <a:pt x="171" y="46"/>
                    </a:moveTo>
                    <a:lnTo>
                      <a:pt x="173" y="46"/>
                    </a:lnTo>
                    <a:lnTo>
                      <a:pt x="171" y="46"/>
                    </a:lnTo>
                    <a:close/>
                    <a:moveTo>
                      <a:pt x="226" y="7"/>
                    </a:moveTo>
                    <a:lnTo>
                      <a:pt x="226" y="9"/>
                    </a:lnTo>
                    <a:lnTo>
                      <a:pt x="226" y="7"/>
                    </a:lnTo>
                    <a:close/>
                    <a:moveTo>
                      <a:pt x="217" y="10"/>
                    </a:moveTo>
                    <a:lnTo>
                      <a:pt x="219" y="10"/>
                    </a:lnTo>
                    <a:lnTo>
                      <a:pt x="217" y="10"/>
                    </a:lnTo>
                    <a:close/>
                    <a:moveTo>
                      <a:pt x="272" y="44"/>
                    </a:moveTo>
                    <a:lnTo>
                      <a:pt x="273" y="44"/>
                    </a:lnTo>
                    <a:lnTo>
                      <a:pt x="272" y="4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 name="Oval 7">
                <a:extLst>
                  <a:ext uri="{FF2B5EF4-FFF2-40B4-BE49-F238E27FC236}">
                    <a16:creationId xmlns:a16="http://schemas.microsoft.com/office/drawing/2014/main" id="{8F930C40-5995-C619-16DF-F8884C1A0BD1}"/>
                  </a:ext>
                </a:extLst>
              </p:cNvPr>
              <p:cNvSpPr/>
              <p:nvPr/>
            </p:nvSpPr>
            <p:spPr>
              <a:xfrm>
                <a:off x="3957324" y="2842086"/>
                <a:ext cx="1229355" cy="620442"/>
              </a:xfrm>
              <a:prstGeom prst="ellipse">
                <a:avLst/>
              </a:prstGeom>
              <a:solidFill>
                <a:srgbClr val="F7F7F7"/>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2" name="Freeform 21">
                <a:extLst>
                  <a:ext uri="{FF2B5EF4-FFF2-40B4-BE49-F238E27FC236}">
                    <a16:creationId xmlns:a16="http://schemas.microsoft.com/office/drawing/2014/main" id="{D7683D18-54C8-D427-BBBC-89019ECA22C1}"/>
                  </a:ext>
                </a:extLst>
              </p:cNvPr>
              <p:cNvSpPr>
                <a:spLocks noEditPoints="1"/>
              </p:cNvSpPr>
              <p:nvPr/>
            </p:nvSpPr>
            <p:spPr bwMode="auto">
              <a:xfrm>
                <a:off x="4191774" y="2888579"/>
                <a:ext cx="426185" cy="496678"/>
              </a:xfrm>
              <a:custGeom>
                <a:avLst/>
                <a:gdLst>
                  <a:gd name="T0" fmla="*/ 1322 w 1451"/>
                  <a:gd name="T1" fmla="*/ 542 h 1691"/>
                  <a:gd name="T2" fmla="*/ 1283 w 1451"/>
                  <a:gd name="T3" fmla="*/ 838 h 1691"/>
                  <a:gd name="T4" fmla="*/ 1278 w 1451"/>
                  <a:gd name="T5" fmla="*/ 1092 h 1691"/>
                  <a:gd name="T6" fmla="*/ 1217 w 1451"/>
                  <a:gd name="T7" fmla="*/ 1381 h 1691"/>
                  <a:gd name="T8" fmla="*/ 1264 w 1451"/>
                  <a:gd name="T9" fmla="*/ 1556 h 1691"/>
                  <a:gd name="T10" fmla="*/ 1205 w 1451"/>
                  <a:gd name="T11" fmla="*/ 1514 h 1691"/>
                  <a:gd name="T12" fmla="*/ 1234 w 1451"/>
                  <a:gd name="T13" fmla="*/ 1488 h 1691"/>
                  <a:gd name="T14" fmla="*/ 1208 w 1451"/>
                  <a:gd name="T15" fmla="*/ 1446 h 1691"/>
                  <a:gd name="T16" fmla="*/ 1196 w 1451"/>
                  <a:gd name="T17" fmla="*/ 1384 h 1691"/>
                  <a:gd name="T18" fmla="*/ 1200 w 1451"/>
                  <a:gd name="T19" fmla="*/ 1320 h 1691"/>
                  <a:gd name="T20" fmla="*/ 1219 w 1451"/>
                  <a:gd name="T21" fmla="*/ 1260 h 1691"/>
                  <a:gd name="T22" fmla="*/ 1196 w 1451"/>
                  <a:gd name="T23" fmla="*/ 1208 h 1691"/>
                  <a:gd name="T24" fmla="*/ 1169 w 1451"/>
                  <a:gd name="T25" fmla="*/ 1153 h 1691"/>
                  <a:gd name="T26" fmla="*/ 1222 w 1451"/>
                  <a:gd name="T27" fmla="*/ 1134 h 1691"/>
                  <a:gd name="T28" fmla="*/ 1236 w 1451"/>
                  <a:gd name="T29" fmla="*/ 988 h 1691"/>
                  <a:gd name="T30" fmla="*/ 1219 w 1451"/>
                  <a:gd name="T31" fmla="*/ 871 h 1691"/>
                  <a:gd name="T32" fmla="*/ 1285 w 1451"/>
                  <a:gd name="T33" fmla="*/ 556 h 1691"/>
                  <a:gd name="T34" fmla="*/ 1312 w 1451"/>
                  <a:gd name="T35" fmla="*/ 212 h 1691"/>
                  <a:gd name="T36" fmla="*/ 1389 w 1451"/>
                  <a:gd name="T37" fmla="*/ 127 h 1691"/>
                  <a:gd name="T38" fmla="*/ 1287 w 1451"/>
                  <a:gd name="T39" fmla="*/ 1609 h 1691"/>
                  <a:gd name="T40" fmla="*/ 1321 w 1451"/>
                  <a:gd name="T41" fmla="*/ 1595 h 1691"/>
                  <a:gd name="T42" fmla="*/ 1338 w 1451"/>
                  <a:gd name="T43" fmla="*/ 1505 h 1691"/>
                  <a:gd name="T44" fmla="*/ 1174 w 1451"/>
                  <a:gd name="T45" fmla="*/ 1286 h 1691"/>
                  <a:gd name="T46" fmla="*/ 1164 w 1451"/>
                  <a:gd name="T47" fmla="*/ 1344 h 1691"/>
                  <a:gd name="T48" fmla="*/ 1173 w 1451"/>
                  <a:gd name="T49" fmla="*/ 1284 h 1691"/>
                  <a:gd name="T50" fmla="*/ 1251 w 1451"/>
                  <a:gd name="T51" fmla="*/ 1505 h 1691"/>
                  <a:gd name="T52" fmla="*/ 1355 w 1451"/>
                  <a:gd name="T53" fmla="*/ 1662 h 1691"/>
                  <a:gd name="T54" fmla="*/ 1247 w 1451"/>
                  <a:gd name="T55" fmla="*/ 1568 h 1691"/>
                  <a:gd name="T56" fmla="*/ 1402 w 1451"/>
                  <a:gd name="T57" fmla="*/ 1628 h 1691"/>
                  <a:gd name="T58" fmla="*/ 1300 w 1451"/>
                  <a:gd name="T59" fmla="*/ 1566 h 1691"/>
                  <a:gd name="T60" fmla="*/ 1174 w 1451"/>
                  <a:gd name="T61" fmla="*/ 1502 h 1691"/>
                  <a:gd name="T62" fmla="*/ 1156 w 1451"/>
                  <a:gd name="T63" fmla="*/ 1379 h 1691"/>
                  <a:gd name="T64" fmla="*/ 1156 w 1451"/>
                  <a:gd name="T65" fmla="*/ 1284 h 1691"/>
                  <a:gd name="T66" fmla="*/ 1179 w 1451"/>
                  <a:gd name="T67" fmla="*/ 1282 h 1691"/>
                  <a:gd name="T68" fmla="*/ 1312 w 1451"/>
                  <a:gd name="T69" fmla="*/ 1643 h 1691"/>
                  <a:gd name="T70" fmla="*/ 1169 w 1451"/>
                  <a:gd name="T71" fmla="*/ 1265 h 1691"/>
                  <a:gd name="T72" fmla="*/ 1152 w 1451"/>
                  <a:gd name="T73" fmla="*/ 1277 h 1691"/>
                  <a:gd name="T74" fmla="*/ 1168 w 1451"/>
                  <a:gd name="T75" fmla="*/ 1422 h 1691"/>
                  <a:gd name="T76" fmla="*/ 1196 w 1451"/>
                  <a:gd name="T77" fmla="*/ 1481 h 1691"/>
                  <a:gd name="T78" fmla="*/ 1208 w 1451"/>
                  <a:gd name="T79" fmla="*/ 1126 h 1691"/>
                  <a:gd name="T80" fmla="*/ 1193 w 1451"/>
                  <a:gd name="T81" fmla="*/ 1099 h 1691"/>
                  <a:gd name="T82" fmla="*/ 1292 w 1451"/>
                  <a:gd name="T83" fmla="*/ 1626 h 1691"/>
                  <a:gd name="T84" fmla="*/ 1207 w 1451"/>
                  <a:gd name="T85" fmla="*/ 1155 h 1691"/>
                  <a:gd name="T86" fmla="*/ 1190 w 1451"/>
                  <a:gd name="T87" fmla="*/ 1114 h 1691"/>
                  <a:gd name="T88" fmla="*/ 1173 w 1451"/>
                  <a:gd name="T89" fmla="*/ 1138 h 1691"/>
                  <a:gd name="T90" fmla="*/ 1326 w 1451"/>
                  <a:gd name="T91" fmla="*/ 1629 h 1691"/>
                  <a:gd name="T92" fmla="*/ 1164 w 1451"/>
                  <a:gd name="T93" fmla="*/ 1391 h 1691"/>
                  <a:gd name="T94" fmla="*/ 1173 w 1451"/>
                  <a:gd name="T95" fmla="*/ 1417 h 1691"/>
                  <a:gd name="T96" fmla="*/ 1229 w 1451"/>
                  <a:gd name="T97" fmla="*/ 952 h 1691"/>
                  <a:gd name="T98" fmla="*/ 1183 w 1451"/>
                  <a:gd name="T99" fmla="*/ 1075 h 1691"/>
                  <a:gd name="T100" fmla="*/ 1229 w 1451"/>
                  <a:gd name="T101" fmla="*/ 976 h 1691"/>
                  <a:gd name="T102" fmla="*/ 1378 w 1451"/>
                  <a:gd name="T103" fmla="*/ 1660 h 1691"/>
                  <a:gd name="T104" fmla="*/ 1208 w 1451"/>
                  <a:gd name="T105" fmla="*/ 1065 h 1691"/>
                  <a:gd name="T106" fmla="*/ 1229 w 1451"/>
                  <a:gd name="T107" fmla="*/ 1585 h 1691"/>
                  <a:gd name="T108" fmla="*/ 1336 w 1451"/>
                  <a:gd name="T109" fmla="*/ 1653 h 1691"/>
                  <a:gd name="T110" fmla="*/ 1185 w 1451"/>
                  <a:gd name="T111" fmla="*/ 1463 h 1691"/>
                  <a:gd name="T112" fmla="*/ 1171 w 1451"/>
                  <a:gd name="T113" fmla="*/ 1481 h 1691"/>
                  <a:gd name="T114" fmla="*/ 1215 w 1451"/>
                  <a:gd name="T115" fmla="*/ 1521 h 1691"/>
                  <a:gd name="T116" fmla="*/ 1159 w 1451"/>
                  <a:gd name="T117" fmla="*/ 1356 h 1691"/>
                  <a:gd name="T118" fmla="*/ 1251 w 1451"/>
                  <a:gd name="T119" fmla="*/ 1597 h 1691"/>
                  <a:gd name="T120" fmla="*/ 1232 w 1451"/>
                  <a:gd name="T121" fmla="*/ 1546 h 1691"/>
                  <a:gd name="T122" fmla="*/ 1281 w 1451"/>
                  <a:gd name="T123" fmla="*/ 1614 h 1691"/>
                  <a:gd name="T124" fmla="*/ 1168 w 1451"/>
                  <a:gd name="T125" fmla="*/ 1405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51" h="1691">
                    <a:moveTo>
                      <a:pt x="1426" y="190"/>
                    </a:moveTo>
                    <a:lnTo>
                      <a:pt x="1429" y="194"/>
                    </a:lnTo>
                    <a:lnTo>
                      <a:pt x="1433" y="197"/>
                    </a:lnTo>
                    <a:lnTo>
                      <a:pt x="1429" y="206"/>
                    </a:lnTo>
                    <a:lnTo>
                      <a:pt x="1429" y="207"/>
                    </a:lnTo>
                    <a:lnTo>
                      <a:pt x="1428" y="214"/>
                    </a:lnTo>
                    <a:lnTo>
                      <a:pt x="1424" y="224"/>
                    </a:lnTo>
                    <a:lnTo>
                      <a:pt x="1424" y="226"/>
                    </a:lnTo>
                    <a:lnTo>
                      <a:pt x="1421" y="236"/>
                    </a:lnTo>
                    <a:lnTo>
                      <a:pt x="1416" y="238"/>
                    </a:lnTo>
                    <a:lnTo>
                      <a:pt x="1409" y="241"/>
                    </a:lnTo>
                    <a:lnTo>
                      <a:pt x="1400" y="245"/>
                    </a:lnTo>
                    <a:lnTo>
                      <a:pt x="1399" y="245"/>
                    </a:lnTo>
                    <a:lnTo>
                      <a:pt x="1397" y="246"/>
                    </a:lnTo>
                    <a:lnTo>
                      <a:pt x="1390" y="248"/>
                    </a:lnTo>
                    <a:lnTo>
                      <a:pt x="1390" y="250"/>
                    </a:lnTo>
                    <a:lnTo>
                      <a:pt x="1389" y="250"/>
                    </a:lnTo>
                    <a:lnTo>
                      <a:pt x="1389" y="252"/>
                    </a:lnTo>
                    <a:lnTo>
                      <a:pt x="1387" y="253"/>
                    </a:lnTo>
                    <a:lnTo>
                      <a:pt x="1387" y="252"/>
                    </a:lnTo>
                    <a:lnTo>
                      <a:pt x="1385" y="252"/>
                    </a:lnTo>
                    <a:lnTo>
                      <a:pt x="1385" y="253"/>
                    </a:lnTo>
                    <a:lnTo>
                      <a:pt x="1385" y="255"/>
                    </a:lnTo>
                    <a:lnTo>
                      <a:pt x="1383" y="255"/>
                    </a:lnTo>
                    <a:lnTo>
                      <a:pt x="1383" y="257"/>
                    </a:lnTo>
                    <a:lnTo>
                      <a:pt x="1382" y="257"/>
                    </a:lnTo>
                    <a:lnTo>
                      <a:pt x="1382" y="258"/>
                    </a:lnTo>
                    <a:lnTo>
                      <a:pt x="1382" y="260"/>
                    </a:lnTo>
                    <a:lnTo>
                      <a:pt x="1380" y="260"/>
                    </a:lnTo>
                    <a:lnTo>
                      <a:pt x="1380" y="262"/>
                    </a:lnTo>
                    <a:lnTo>
                      <a:pt x="1380" y="263"/>
                    </a:lnTo>
                    <a:lnTo>
                      <a:pt x="1380" y="265"/>
                    </a:lnTo>
                    <a:lnTo>
                      <a:pt x="1382" y="267"/>
                    </a:lnTo>
                    <a:lnTo>
                      <a:pt x="1383" y="267"/>
                    </a:lnTo>
                    <a:lnTo>
                      <a:pt x="1383" y="269"/>
                    </a:lnTo>
                    <a:lnTo>
                      <a:pt x="1383" y="270"/>
                    </a:lnTo>
                    <a:lnTo>
                      <a:pt x="1385" y="270"/>
                    </a:lnTo>
                    <a:lnTo>
                      <a:pt x="1385" y="272"/>
                    </a:lnTo>
                    <a:lnTo>
                      <a:pt x="1387" y="272"/>
                    </a:lnTo>
                    <a:lnTo>
                      <a:pt x="1387" y="274"/>
                    </a:lnTo>
                    <a:lnTo>
                      <a:pt x="1387" y="275"/>
                    </a:lnTo>
                    <a:lnTo>
                      <a:pt x="1385" y="275"/>
                    </a:lnTo>
                    <a:lnTo>
                      <a:pt x="1385" y="277"/>
                    </a:lnTo>
                    <a:lnTo>
                      <a:pt x="1385" y="275"/>
                    </a:lnTo>
                    <a:lnTo>
                      <a:pt x="1383" y="275"/>
                    </a:lnTo>
                    <a:lnTo>
                      <a:pt x="1382" y="277"/>
                    </a:lnTo>
                    <a:lnTo>
                      <a:pt x="1382" y="279"/>
                    </a:lnTo>
                    <a:lnTo>
                      <a:pt x="1382" y="280"/>
                    </a:lnTo>
                    <a:lnTo>
                      <a:pt x="1380" y="280"/>
                    </a:lnTo>
                    <a:lnTo>
                      <a:pt x="1380" y="282"/>
                    </a:lnTo>
                    <a:lnTo>
                      <a:pt x="1380" y="284"/>
                    </a:lnTo>
                    <a:lnTo>
                      <a:pt x="1382" y="284"/>
                    </a:lnTo>
                    <a:lnTo>
                      <a:pt x="1382" y="286"/>
                    </a:lnTo>
                    <a:lnTo>
                      <a:pt x="1380" y="286"/>
                    </a:lnTo>
                    <a:lnTo>
                      <a:pt x="1380" y="287"/>
                    </a:lnTo>
                    <a:lnTo>
                      <a:pt x="1378" y="287"/>
                    </a:lnTo>
                    <a:lnTo>
                      <a:pt x="1380" y="289"/>
                    </a:lnTo>
                    <a:lnTo>
                      <a:pt x="1380" y="291"/>
                    </a:lnTo>
                    <a:lnTo>
                      <a:pt x="1380" y="292"/>
                    </a:lnTo>
                    <a:lnTo>
                      <a:pt x="1382" y="292"/>
                    </a:lnTo>
                    <a:lnTo>
                      <a:pt x="1380" y="294"/>
                    </a:lnTo>
                    <a:lnTo>
                      <a:pt x="1380" y="296"/>
                    </a:lnTo>
                    <a:lnTo>
                      <a:pt x="1382" y="296"/>
                    </a:lnTo>
                    <a:lnTo>
                      <a:pt x="1382" y="297"/>
                    </a:lnTo>
                    <a:lnTo>
                      <a:pt x="1383" y="299"/>
                    </a:lnTo>
                    <a:lnTo>
                      <a:pt x="1383" y="304"/>
                    </a:lnTo>
                    <a:lnTo>
                      <a:pt x="1385" y="308"/>
                    </a:lnTo>
                    <a:lnTo>
                      <a:pt x="1385" y="309"/>
                    </a:lnTo>
                    <a:lnTo>
                      <a:pt x="1385" y="313"/>
                    </a:lnTo>
                    <a:lnTo>
                      <a:pt x="1385" y="316"/>
                    </a:lnTo>
                    <a:lnTo>
                      <a:pt x="1383" y="316"/>
                    </a:lnTo>
                    <a:lnTo>
                      <a:pt x="1382" y="318"/>
                    </a:lnTo>
                    <a:lnTo>
                      <a:pt x="1380" y="320"/>
                    </a:lnTo>
                    <a:lnTo>
                      <a:pt x="1380" y="323"/>
                    </a:lnTo>
                    <a:lnTo>
                      <a:pt x="1378" y="325"/>
                    </a:lnTo>
                    <a:lnTo>
                      <a:pt x="1378" y="326"/>
                    </a:lnTo>
                    <a:lnTo>
                      <a:pt x="1380" y="328"/>
                    </a:lnTo>
                    <a:lnTo>
                      <a:pt x="1380" y="330"/>
                    </a:lnTo>
                    <a:lnTo>
                      <a:pt x="1382" y="331"/>
                    </a:lnTo>
                    <a:lnTo>
                      <a:pt x="1382" y="333"/>
                    </a:lnTo>
                    <a:lnTo>
                      <a:pt x="1383" y="333"/>
                    </a:lnTo>
                    <a:lnTo>
                      <a:pt x="1383" y="335"/>
                    </a:lnTo>
                    <a:lnTo>
                      <a:pt x="1385" y="338"/>
                    </a:lnTo>
                    <a:lnTo>
                      <a:pt x="1387" y="338"/>
                    </a:lnTo>
                    <a:lnTo>
                      <a:pt x="1387" y="340"/>
                    </a:lnTo>
                    <a:lnTo>
                      <a:pt x="1389" y="342"/>
                    </a:lnTo>
                    <a:lnTo>
                      <a:pt x="1389" y="343"/>
                    </a:lnTo>
                    <a:lnTo>
                      <a:pt x="1390" y="343"/>
                    </a:lnTo>
                    <a:lnTo>
                      <a:pt x="1389" y="343"/>
                    </a:lnTo>
                    <a:lnTo>
                      <a:pt x="1389" y="345"/>
                    </a:lnTo>
                    <a:lnTo>
                      <a:pt x="1389" y="347"/>
                    </a:lnTo>
                    <a:lnTo>
                      <a:pt x="1389" y="349"/>
                    </a:lnTo>
                    <a:lnTo>
                      <a:pt x="1387" y="349"/>
                    </a:lnTo>
                    <a:lnTo>
                      <a:pt x="1385" y="349"/>
                    </a:lnTo>
                    <a:lnTo>
                      <a:pt x="1383" y="349"/>
                    </a:lnTo>
                    <a:lnTo>
                      <a:pt x="1383" y="350"/>
                    </a:lnTo>
                    <a:lnTo>
                      <a:pt x="1382" y="349"/>
                    </a:lnTo>
                    <a:lnTo>
                      <a:pt x="1383" y="350"/>
                    </a:lnTo>
                    <a:lnTo>
                      <a:pt x="1382" y="352"/>
                    </a:lnTo>
                    <a:lnTo>
                      <a:pt x="1380" y="350"/>
                    </a:lnTo>
                    <a:lnTo>
                      <a:pt x="1380" y="352"/>
                    </a:lnTo>
                    <a:lnTo>
                      <a:pt x="1380" y="354"/>
                    </a:lnTo>
                    <a:lnTo>
                      <a:pt x="1378" y="352"/>
                    </a:lnTo>
                    <a:lnTo>
                      <a:pt x="1378" y="354"/>
                    </a:lnTo>
                    <a:lnTo>
                      <a:pt x="1377" y="352"/>
                    </a:lnTo>
                    <a:lnTo>
                      <a:pt x="1377" y="350"/>
                    </a:lnTo>
                    <a:lnTo>
                      <a:pt x="1375" y="350"/>
                    </a:lnTo>
                    <a:lnTo>
                      <a:pt x="1373" y="350"/>
                    </a:lnTo>
                    <a:lnTo>
                      <a:pt x="1372" y="350"/>
                    </a:lnTo>
                    <a:lnTo>
                      <a:pt x="1372" y="352"/>
                    </a:lnTo>
                    <a:lnTo>
                      <a:pt x="1370" y="352"/>
                    </a:lnTo>
                    <a:lnTo>
                      <a:pt x="1370" y="354"/>
                    </a:lnTo>
                    <a:lnTo>
                      <a:pt x="1370" y="355"/>
                    </a:lnTo>
                    <a:lnTo>
                      <a:pt x="1370" y="357"/>
                    </a:lnTo>
                    <a:lnTo>
                      <a:pt x="1372" y="357"/>
                    </a:lnTo>
                    <a:lnTo>
                      <a:pt x="1370" y="357"/>
                    </a:lnTo>
                    <a:lnTo>
                      <a:pt x="1370" y="359"/>
                    </a:lnTo>
                    <a:lnTo>
                      <a:pt x="1368" y="359"/>
                    </a:lnTo>
                    <a:lnTo>
                      <a:pt x="1368" y="360"/>
                    </a:lnTo>
                    <a:lnTo>
                      <a:pt x="1368" y="362"/>
                    </a:lnTo>
                    <a:lnTo>
                      <a:pt x="1366" y="362"/>
                    </a:lnTo>
                    <a:lnTo>
                      <a:pt x="1368" y="362"/>
                    </a:lnTo>
                    <a:lnTo>
                      <a:pt x="1366" y="364"/>
                    </a:lnTo>
                    <a:lnTo>
                      <a:pt x="1366" y="362"/>
                    </a:lnTo>
                    <a:lnTo>
                      <a:pt x="1366" y="364"/>
                    </a:lnTo>
                    <a:lnTo>
                      <a:pt x="1365" y="364"/>
                    </a:lnTo>
                    <a:lnTo>
                      <a:pt x="1366" y="364"/>
                    </a:lnTo>
                    <a:lnTo>
                      <a:pt x="1366" y="366"/>
                    </a:lnTo>
                    <a:lnTo>
                      <a:pt x="1366" y="367"/>
                    </a:lnTo>
                    <a:lnTo>
                      <a:pt x="1365" y="367"/>
                    </a:lnTo>
                    <a:lnTo>
                      <a:pt x="1366" y="367"/>
                    </a:lnTo>
                    <a:lnTo>
                      <a:pt x="1365" y="369"/>
                    </a:lnTo>
                    <a:lnTo>
                      <a:pt x="1363" y="369"/>
                    </a:lnTo>
                    <a:lnTo>
                      <a:pt x="1363" y="371"/>
                    </a:lnTo>
                    <a:lnTo>
                      <a:pt x="1363" y="372"/>
                    </a:lnTo>
                    <a:lnTo>
                      <a:pt x="1363" y="374"/>
                    </a:lnTo>
                    <a:lnTo>
                      <a:pt x="1361" y="374"/>
                    </a:lnTo>
                    <a:lnTo>
                      <a:pt x="1361" y="376"/>
                    </a:lnTo>
                    <a:lnTo>
                      <a:pt x="1361" y="377"/>
                    </a:lnTo>
                    <a:lnTo>
                      <a:pt x="1361" y="379"/>
                    </a:lnTo>
                    <a:lnTo>
                      <a:pt x="1361" y="381"/>
                    </a:lnTo>
                    <a:lnTo>
                      <a:pt x="1360" y="381"/>
                    </a:lnTo>
                    <a:lnTo>
                      <a:pt x="1360" y="383"/>
                    </a:lnTo>
                    <a:lnTo>
                      <a:pt x="1360" y="384"/>
                    </a:lnTo>
                    <a:lnTo>
                      <a:pt x="1358" y="383"/>
                    </a:lnTo>
                    <a:lnTo>
                      <a:pt x="1356" y="384"/>
                    </a:lnTo>
                    <a:lnTo>
                      <a:pt x="1356" y="386"/>
                    </a:lnTo>
                    <a:lnTo>
                      <a:pt x="1355" y="388"/>
                    </a:lnTo>
                    <a:lnTo>
                      <a:pt x="1355" y="389"/>
                    </a:lnTo>
                    <a:lnTo>
                      <a:pt x="1353" y="391"/>
                    </a:lnTo>
                    <a:lnTo>
                      <a:pt x="1353" y="393"/>
                    </a:lnTo>
                    <a:lnTo>
                      <a:pt x="1351" y="393"/>
                    </a:lnTo>
                    <a:lnTo>
                      <a:pt x="1349" y="391"/>
                    </a:lnTo>
                    <a:lnTo>
                      <a:pt x="1349" y="393"/>
                    </a:lnTo>
                    <a:lnTo>
                      <a:pt x="1349" y="394"/>
                    </a:lnTo>
                    <a:lnTo>
                      <a:pt x="1348" y="394"/>
                    </a:lnTo>
                    <a:lnTo>
                      <a:pt x="1348" y="396"/>
                    </a:lnTo>
                    <a:lnTo>
                      <a:pt x="1348" y="398"/>
                    </a:lnTo>
                    <a:lnTo>
                      <a:pt x="1346" y="398"/>
                    </a:lnTo>
                    <a:lnTo>
                      <a:pt x="1344" y="398"/>
                    </a:lnTo>
                    <a:lnTo>
                      <a:pt x="1346" y="400"/>
                    </a:lnTo>
                    <a:lnTo>
                      <a:pt x="1344" y="400"/>
                    </a:lnTo>
                    <a:lnTo>
                      <a:pt x="1343" y="400"/>
                    </a:lnTo>
                    <a:lnTo>
                      <a:pt x="1343" y="401"/>
                    </a:lnTo>
                    <a:lnTo>
                      <a:pt x="1344" y="401"/>
                    </a:lnTo>
                    <a:lnTo>
                      <a:pt x="1343" y="401"/>
                    </a:lnTo>
                    <a:lnTo>
                      <a:pt x="1343" y="403"/>
                    </a:lnTo>
                    <a:lnTo>
                      <a:pt x="1343" y="405"/>
                    </a:lnTo>
                    <a:lnTo>
                      <a:pt x="1343" y="406"/>
                    </a:lnTo>
                    <a:lnTo>
                      <a:pt x="1341" y="406"/>
                    </a:lnTo>
                    <a:lnTo>
                      <a:pt x="1343" y="408"/>
                    </a:lnTo>
                    <a:lnTo>
                      <a:pt x="1341" y="408"/>
                    </a:lnTo>
                    <a:lnTo>
                      <a:pt x="1341" y="410"/>
                    </a:lnTo>
                    <a:lnTo>
                      <a:pt x="1341" y="411"/>
                    </a:lnTo>
                    <a:lnTo>
                      <a:pt x="1341" y="413"/>
                    </a:lnTo>
                    <a:lnTo>
                      <a:pt x="1341" y="415"/>
                    </a:lnTo>
                    <a:lnTo>
                      <a:pt x="1341" y="417"/>
                    </a:lnTo>
                    <a:lnTo>
                      <a:pt x="1339" y="417"/>
                    </a:lnTo>
                    <a:lnTo>
                      <a:pt x="1339" y="418"/>
                    </a:lnTo>
                    <a:lnTo>
                      <a:pt x="1339" y="420"/>
                    </a:lnTo>
                    <a:lnTo>
                      <a:pt x="1339" y="422"/>
                    </a:lnTo>
                    <a:lnTo>
                      <a:pt x="1339" y="423"/>
                    </a:lnTo>
                    <a:lnTo>
                      <a:pt x="1338" y="423"/>
                    </a:lnTo>
                    <a:lnTo>
                      <a:pt x="1339" y="425"/>
                    </a:lnTo>
                    <a:lnTo>
                      <a:pt x="1338" y="425"/>
                    </a:lnTo>
                    <a:lnTo>
                      <a:pt x="1338" y="427"/>
                    </a:lnTo>
                    <a:lnTo>
                      <a:pt x="1339" y="427"/>
                    </a:lnTo>
                    <a:lnTo>
                      <a:pt x="1338" y="427"/>
                    </a:lnTo>
                    <a:lnTo>
                      <a:pt x="1338" y="428"/>
                    </a:lnTo>
                    <a:lnTo>
                      <a:pt x="1336" y="428"/>
                    </a:lnTo>
                    <a:lnTo>
                      <a:pt x="1334" y="428"/>
                    </a:lnTo>
                    <a:lnTo>
                      <a:pt x="1334" y="430"/>
                    </a:lnTo>
                    <a:lnTo>
                      <a:pt x="1332" y="430"/>
                    </a:lnTo>
                    <a:lnTo>
                      <a:pt x="1332" y="432"/>
                    </a:lnTo>
                    <a:lnTo>
                      <a:pt x="1332" y="434"/>
                    </a:lnTo>
                    <a:lnTo>
                      <a:pt x="1331" y="434"/>
                    </a:lnTo>
                    <a:lnTo>
                      <a:pt x="1331" y="435"/>
                    </a:lnTo>
                    <a:lnTo>
                      <a:pt x="1331" y="437"/>
                    </a:lnTo>
                    <a:lnTo>
                      <a:pt x="1331" y="439"/>
                    </a:lnTo>
                    <a:lnTo>
                      <a:pt x="1332" y="439"/>
                    </a:lnTo>
                    <a:lnTo>
                      <a:pt x="1332" y="440"/>
                    </a:lnTo>
                    <a:lnTo>
                      <a:pt x="1332" y="442"/>
                    </a:lnTo>
                    <a:lnTo>
                      <a:pt x="1332" y="444"/>
                    </a:lnTo>
                    <a:lnTo>
                      <a:pt x="1334" y="444"/>
                    </a:lnTo>
                    <a:lnTo>
                      <a:pt x="1332" y="445"/>
                    </a:lnTo>
                    <a:lnTo>
                      <a:pt x="1334" y="445"/>
                    </a:lnTo>
                    <a:lnTo>
                      <a:pt x="1332" y="447"/>
                    </a:lnTo>
                    <a:lnTo>
                      <a:pt x="1334" y="447"/>
                    </a:lnTo>
                    <a:lnTo>
                      <a:pt x="1332" y="447"/>
                    </a:lnTo>
                    <a:lnTo>
                      <a:pt x="1332" y="449"/>
                    </a:lnTo>
                    <a:lnTo>
                      <a:pt x="1334" y="449"/>
                    </a:lnTo>
                    <a:lnTo>
                      <a:pt x="1334" y="451"/>
                    </a:lnTo>
                    <a:lnTo>
                      <a:pt x="1336" y="451"/>
                    </a:lnTo>
                    <a:lnTo>
                      <a:pt x="1336" y="452"/>
                    </a:lnTo>
                    <a:lnTo>
                      <a:pt x="1334" y="452"/>
                    </a:lnTo>
                    <a:lnTo>
                      <a:pt x="1334" y="454"/>
                    </a:lnTo>
                    <a:lnTo>
                      <a:pt x="1334" y="456"/>
                    </a:lnTo>
                    <a:lnTo>
                      <a:pt x="1336" y="456"/>
                    </a:lnTo>
                    <a:lnTo>
                      <a:pt x="1334" y="457"/>
                    </a:lnTo>
                    <a:lnTo>
                      <a:pt x="1336" y="457"/>
                    </a:lnTo>
                    <a:lnTo>
                      <a:pt x="1334" y="459"/>
                    </a:lnTo>
                    <a:lnTo>
                      <a:pt x="1334" y="461"/>
                    </a:lnTo>
                    <a:lnTo>
                      <a:pt x="1334" y="462"/>
                    </a:lnTo>
                    <a:lnTo>
                      <a:pt x="1334" y="464"/>
                    </a:lnTo>
                    <a:lnTo>
                      <a:pt x="1332" y="464"/>
                    </a:lnTo>
                    <a:lnTo>
                      <a:pt x="1332" y="466"/>
                    </a:lnTo>
                    <a:lnTo>
                      <a:pt x="1334" y="466"/>
                    </a:lnTo>
                    <a:lnTo>
                      <a:pt x="1336" y="466"/>
                    </a:lnTo>
                    <a:lnTo>
                      <a:pt x="1336" y="468"/>
                    </a:lnTo>
                    <a:lnTo>
                      <a:pt x="1338" y="468"/>
                    </a:lnTo>
                    <a:lnTo>
                      <a:pt x="1338" y="469"/>
                    </a:lnTo>
                    <a:lnTo>
                      <a:pt x="1338" y="471"/>
                    </a:lnTo>
                    <a:lnTo>
                      <a:pt x="1336" y="471"/>
                    </a:lnTo>
                    <a:lnTo>
                      <a:pt x="1336" y="469"/>
                    </a:lnTo>
                    <a:lnTo>
                      <a:pt x="1336" y="471"/>
                    </a:lnTo>
                    <a:lnTo>
                      <a:pt x="1336" y="473"/>
                    </a:lnTo>
                    <a:lnTo>
                      <a:pt x="1334" y="473"/>
                    </a:lnTo>
                    <a:lnTo>
                      <a:pt x="1334" y="474"/>
                    </a:lnTo>
                    <a:lnTo>
                      <a:pt x="1334" y="476"/>
                    </a:lnTo>
                    <a:lnTo>
                      <a:pt x="1332" y="476"/>
                    </a:lnTo>
                    <a:lnTo>
                      <a:pt x="1331" y="476"/>
                    </a:lnTo>
                    <a:lnTo>
                      <a:pt x="1331" y="478"/>
                    </a:lnTo>
                    <a:lnTo>
                      <a:pt x="1329" y="478"/>
                    </a:lnTo>
                    <a:lnTo>
                      <a:pt x="1329" y="476"/>
                    </a:lnTo>
                    <a:lnTo>
                      <a:pt x="1327" y="476"/>
                    </a:lnTo>
                    <a:lnTo>
                      <a:pt x="1327" y="474"/>
                    </a:lnTo>
                    <a:lnTo>
                      <a:pt x="1326" y="476"/>
                    </a:lnTo>
                    <a:lnTo>
                      <a:pt x="1327" y="478"/>
                    </a:lnTo>
                    <a:lnTo>
                      <a:pt x="1327" y="479"/>
                    </a:lnTo>
                    <a:lnTo>
                      <a:pt x="1326" y="479"/>
                    </a:lnTo>
                    <a:lnTo>
                      <a:pt x="1326" y="481"/>
                    </a:lnTo>
                    <a:lnTo>
                      <a:pt x="1324" y="481"/>
                    </a:lnTo>
                    <a:lnTo>
                      <a:pt x="1326" y="481"/>
                    </a:lnTo>
                    <a:lnTo>
                      <a:pt x="1324" y="483"/>
                    </a:lnTo>
                    <a:lnTo>
                      <a:pt x="1324" y="485"/>
                    </a:lnTo>
                    <a:lnTo>
                      <a:pt x="1324" y="486"/>
                    </a:lnTo>
                    <a:lnTo>
                      <a:pt x="1322" y="486"/>
                    </a:lnTo>
                    <a:lnTo>
                      <a:pt x="1322" y="488"/>
                    </a:lnTo>
                    <a:lnTo>
                      <a:pt x="1324" y="488"/>
                    </a:lnTo>
                    <a:lnTo>
                      <a:pt x="1322" y="488"/>
                    </a:lnTo>
                    <a:lnTo>
                      <a:pt x="1322" y="490"/>
                    </a:lnTo>
                    <a:lnTo>
                      <a:pt x="1322" y="491"/>
                    </a:lnTo>
                    <a:lnTo>
                      <a:pt x="1322" y="493"/>
                    </a:lnTo>
                    <a:lnTo>
                      <a:pt x="1322" y="495"/>
                    </a:lnTo>
                    <a:lnTo>
                      <a:pt x="1321" y="495"/>
                    </a:lnTo>
                    <a:lnTo>
                      <a:pt x="1321" y="497"/>
                    </a:lnTo>
                    <a:lnTo>
                      <a:pt x="1321" y="498"/>
                    </a:lnTo>
                    <a:lnTo>
                      <a:pt x="1321" y="500"/>
                    </a:lnTo>
                    <a:lnTo>
                      <a:pt x="1321" y="502"/>
                    </a:lnTo>
                    <a:lnTo>
                      <a:pt x="1322" y="502"/>
                    </a:lnTo>
                    <a:lnTo>
                      <a:pt x="1322" y="503"/>
                    </a:lnTo>
                    <a:lnTo>
                      <a:pt x="1321" y="503"/>
                    </a:lnTo>
                    <a:lnTo>
                      <a:pt x="1319" y="503"/>
                    </a:lnTo>
                    <a:lnTo>
                      <a:pt x="1319" y="505"/>
                    </a:lnTo>
                    <a:lnTo>
                      <a:pt x="1319" y="507"/>
                    </a:lnTo>
                    <a:lnTo>
                      <a:pt x="1317" y="508"/>
                    </a:lnTo>
                    <a:lnTo>
                      <a:pt x="1317" y="507"/>
                    </a:lnTo>
                    <a:lnTo>
                      <a:pt x="1317" y="505"/>
                    </a:lnTo>
                    <a:lnTo>
                      <a:pt x="1315" y="505"/>
                    </a:lnTo>
                    <a:lnTo>
                      <a:pt x="1315" y="503"/>
                    </a:lnTo>
                    <a:lnTo>
                      <a:pt x="1315" y="505"/>
                    </a:lnTo>
                    <a:lnTo>
                      <a:pt x="1314" y="505"/>
                    </a:lnTo>
                    <a:lnTo>
                      <a:pt x="1314" y="507"/>
                    </a:lnTo>
                    <a:lnTo>
                      <a:pt x="1314" y="508"/>
                    </a:lnTo>
                    <a:lnTo>
                      <a:pt x="1314" y="510"/>
                    </a:lnTo>
                    <a:lnTo>
                      <a:pt x="1314" y="512"/>
                    </a:lnTo>
                    <a:lnTo>
                      <a:pt x="1312" y="514"/>
                    </a:lnTo>
                    <a:lnTo>
                      <a:pt x="1314" y="514"/>
                    </a:lnTo>
                    <a:lnTo>
                      <a:pt x="1314" y="515"/>
                    </a:lnTo>
                    <a:lnTo>
                      <a:pt x="1314" y="517"/>
                    </a:lnTo>
                    <a:lnTo>
                      <a:pt x="1312" y="517"/>
                    </a:lnTo>
                    <a:lnTo>
                      <a:pt x="1312" y="519"/>
                    </a:lnTo>
                    <a:lnTo>
                      <a:pt x="1312" y="520"/>
                    </a:lnTo>
                    <a:lnTo>
                      <a:pt x="1312" y="522"/>
                    </a:lnTo>
                    <a:lnTo>
                      <a:pt x="1312" y="524"/>
                    </a:lnTo>
                    <a:lnTo>
                      <a:pt x="1312" y="525"/>
                    </a:lnTo>
                    <a:lnTo>
                      <a:pt x="1314" y="525"/>
                    </a:lnTo>
                    <a:lnTo>
                      <a:pt x="1314" y="527"/>
                    </a:lnTo>
                    <a:lnTo>
                      <a:pt x="1315" y="527"/>
                    </a:lnTo>
                    <a:lnTo>
                      <a:pt x="1315" y="529"/>
                    </a:lnTo>
                    <a:lnTo>
                      <a:pt x="1315" y="531"/>
                    </a:lnTo>
                    <a:lnTo>
                      <a:pt x="1315" y="532"/>
                    </a:lnTo>
                    <a:lnTo>
                      <a:pt x="1315" y="534"/>
                    </a:lnTo>
                    <a:lnTo>
                      <a:pt x="1317" y="536"/>
                    </a:lnTo>
                    <a:lnTo>
                      <a:pt x="1319" y="536"/>
                    </a:lnTo>
                    <a:lnTo>
                      <a:pt x="1321" y="536"/>
                    </a:lnTo>
                    <a:lnTo>
                      <a:pt x="1322" y="536"/>
                    </a:lnTo>
                    <a:lnTo>
                      <a:pt x="1322" y="537"/>
                    </a:lnTo>
                    <a:lnTo>
                      <a:pt x="1324" y="537"/>
                    </a:lnTo>
                    <a:lnTo>
                      <a:pt x="1324" y="539"/>
                    </a:lnTo>
                    <a:lnTo>
                      <a:pt x="1322" y="541"/>
                    </a:lnTo>
                    <a:lnTo>
                      <a:pt x="1322" y="542"/>
                    </a:lnTo>
                    <a:lnTo>
                      <a:pt x="1321" y="542"/>
                    </a:lnTo>
                    <a:lnTo>
                      <a:pt x="1319" y="541"/>
                    </a:lnTo>
                    <a:lnTo>
                      <a:pt x="1319" y="542"/>
                    </a:lnTo>
                    <a:lnTo>
                      <a:pt x="1321" y="544"/>
                    </a:lnTo>
                    <a:lnTo>
                      <a:pt x="1319" y="544"/>
                    </a:lnTo>
                    <a:lnTo>
                      <a:pt x="1321" y="544"/>
                    </a:lnTo>
                    <a:lnTo>
                      <a:pt x="1321" y="546"/>
                    </a:lnTo>
                    <a:lnTo>
                      <a:pt x="1321" y="548"/>
                    </a:lnTo>
                    <a:lnTo>
                      <a:pt x="1321" y="549"/>
                    </a:lnTo>
                    <a:lnTo>
                      <a:pt x="1321" y="551"/>
                    </a:lnTo>
                    <a:lnTo>
                      <a:pt x="1322" y="553"/>
                    </a:lnTo>
                    <a:lnTo>
                      <a:pt x="1324" y="553"/>
                    </a:lnTo>
                    <a:lnTo>
                      <a:pt x="1324" y="554"/>
                    </a:lnTo>
                    <a:lnTo>
                      <a:pt x="1324" y="556"/>
                    </a:lnTo>
                    <a:lnTo>
                      <a:pt x="1324" y="558"/>
                    </a:lnTo>
                    <a:lnTo>
                      <a:pt x="1326" y="559"/>
                    </a:lnTo>
                    <a:lnTo>
                      <a:pt x="1327" y="559"/>
                    </a:lnTo>
                    <a:lnTo>
                      <a:pt x="1326" y="561"/>
                    </a:lnTo>
                    <a:lnTo>
                      <a:pt x="1327" y="561"/>
                    </a:lnTo>
                    <a:lnTo>
                      <a:pt x="1327" y="563"/>
                    </a:lnTo>
                    <a:lnTo>
                      <a:pt x="1326" y="565"/>
                    </a:lnTo>
                    <a:lnTo>
                      <a:pt x="1326" y="566"/>
                    </a:lnTo>
                    <a:lnTo>
                      <a:pt x="1326" y="568"/>
                    </a:lnTo>
                    <a:lnTo>
                      <a:pt x="1326" y="570"/>
                    </a:lnTo>
                    <a:lnTo>
                      <a:pt x="1327" y="570"/>
                    </a:lnTo>
                    <a:lnTo>
                      <a:pt x="1327" y="571"/>
                    </a:lnTo>
                    <a:lnTo>
                      <a:pt x="1327" y="573"/>
                    </a:lnTo>
                    <a:lnTo>
                      <a:pt x="1329" y="573"/>
                    </a:lnTo>
                    <a:lnTo>
                      <a:pt x="1329" y="575"/>
                    </a:lnTo>
                    <a:lnTo>
                      <a:pt x="1331" y="576"/>
                    </a:lnTo>
                    <a:lnTo>
                      <a:pt x="1331" y="578"/>
                    </a:lnTo>
                    <a:lnTo>
                      <a:pt x="1331" y="580"/>
                    </a:lnTo>
                    <a:lnTo>
                      <a:pt x="1332" y="580"/>
                    </a:lnTo>
                    <a:lnTo>
                      <a:pt x="1331" y="580"/>
                    </a:lnTo>
                    <a:lnTo>
                      <a:pt x="1331" y="582"/>
                    </a:lnTo>
                    <a:lnTo>
                      <a:pt x="1329" y="582"/>
                    </a:lnTo>
                    <a:lnTo>
                      <a:pt x="1327" y="583"/>
                    </a:lnTo>
                    <a:lnTo>
                      <a:pt x="1329" y="583"/>
                    </a:lnTo>
                    <a:lnTo>
                      <a:pt x="1329" y="585"/>
                    </a:lnTo>
                    <a:lnTo>
                      <a:pt x="1329" y="587"/>
                    </a:lnTo>
                    <a:lnTo>
                      <a:pt x="1329" y="588"/>
                    </a:lnTo>
                    <a:lnTo>
                      <a:pt x="1329" y="590"/>
                    </a:lnTo>
                    <a:lnTo>
                      <a:pt x="1331" y="590"/>
                    </a:lnTo>
                    <a:lnTo>
                      <a:pt x="1331" y="592"/>
                    </a:lnTo>
                    <a:lnTo>
                      <a:pt x="1331" y="593"/>
                    </a:lnTo>
                    <a:lnTo>
                      <a:pt x="1332" y="593"/>
                    </a:lnTo>
                    <a:lnTo>
                      <a:pt x="1332" y="592"/>
                    </a:lnTo>
                    <a:lnTo>
                      <a:pt x="1334" y="592"/>
                    </a:lnTo>
                    <a:lnTo>
                      <a:pt x="1334" y="590"/>
                    </a:lnTo>
                    <a:lnTo>
                      <a:pt x="1334" y="592"/>
                    </a:lnTo>
                    <a:lnTo>
                      <a:pt x="1336" y="592"/>
                    </a:lnTo>
                    <a:lnTo>
                      <a:pt x="1338" y="592"/>
                    </a:lnTo>
                    <a:lnTo>
                      <a:pt x="1338" y="593"/>
                    </a:lnTo>
                    <a:lnTo>
                      <a:pt x="1339" y="593"/>
                    </a:lnTo>
                    <a:lnTo>
                      <a:pt x="1339" y="595"/>
                    </a:lnTo>
                    <a:lnTo>
                      <a:pt x="1339" y="597"/>
                    </a:lnTo>
                    <a:lnTo>
                      <a:pt x="1338" y="597"/>
                    </a:lnTo>
                    <a:lnTo>
                      <a:pt x="1338" y="599"/>
                    </a:lnTo>
                    <a:lnTo>
                      <a:pt x="1338" y="600"/>
                    </a:lnTo>
                    <a:lnTo>
                      <a:pt x="1338" y="602"/>
                    </a:lnTo>
                    <a:lnTo>
                      <a:pt x="1336" y="602"/>
                    </a:lnTo>
                    <a:lnTo>
                      <a:pt x="1336" y="604"/>
                    </a:lnTo>
                    <a:lnTo>
                      <a:pt x="1336" y="605"/>
                    </a:lnTo>
                    <a:lnTo>
                      <a:pt x="1336" y="607"/>
                    </a:lnTo>
                    <a:lnTo>
                      <a:pt x="1336" y="609"/>
                    </a:lnTo>
                    <a:lnTo>
                      <a:pt x="1336" y="610"/>
                    </a:lnTo>
                    <a:lnTo>
                      <a:pt x="1334" y="610"/>
                    </a:lnTo>
                    <a:lnTo>
                      <a:pt x="1334" y="612"/>
                    </a:lnTo>
                    <a:lnTo>
                      <a:pt x="1334" y="614"/>
                    </a:lnTo>
                    <a:lnTo>
                      <a:pt x="1334" y="616"/>
                    </a:lnTo>
                    <a:lnTo>
                      <a:pt x="1336" y="616"/>
                    </a:lnTo>
                    <a:lnTo>
                      <a:pt x="1336" y="617"/>
                    </a:lnTo>
                    <a:lnTo>
                      <a:pt x="1334" y="617"/>
                    </a:lnTo>
                    <a:lnTo>
                      <a:pt x="1334" y="619"/>
                    </a:lnTo>
                    <a:lnTo>
                      <a:pt x="1336" y="621"/>
                    </a:lnTo>
                    <a:lnTo>
                      <a:pt x="1336" y="619"/>
                    </a:lnTo>
                    <a:lnTo>
                      <a:pt x="1336" y="621"/>
                    </a:lnTo>
                    <a:lnTo>
                      <a:pt x="1338" y="622"/>
                    </a:lnTo>
                    <a:lnTo>
                      <a:pt x="1336" y="622"/>
                    </a:lnTo>
                    <a:lnTo>
                      <a:pt x="1336" y="624"/>
                    </a:lnTo>
                    <a:lnTo>
                      <a:pt x="1338" y="624"/>
                    </a:lnTo>
                    <a:lnTo>
                      <a:pt x="1336" y="626"/>
                    </a:lnTo>
                    <a:lnTo>
                      <a:pt x="1336" y="627"/>
                    </a:lnTo>
                    <a:lnTo>
                      <a:pt x="1338" y="627"/>
                    </a:lnTo>
                    <a:lnTo>
                      <a:pt x="1338" y="629"/>
                    </a:lnTo>
                    <a:lnTo>
                      <a:pt x="1338" y="631"/>
                    </a:lnTo>
                    <a:lnTo>
                      <a:pt x="1336" y="631"/>
                    </a:lnTo>
                    <a:lnTo>
                      <a:pt x="1336" y="633"/>
                    </a:lnTo>
                    <a:lnTo>
                      <a:pt x="1334" y="633"/>
                    </a:lnTo>
                    <a:lnTo>
                      <a:pt x="1332" y="633"/>
                    </a:lnTo>
                    <a:lnTo>
                      <a:pt x="1332" y="631"/>
                    </a:lnTo>
                    <a:lnTo>
                      <a:pt x="1332" y="633"/>
                    </a:lnTo>
                    <a:lnTo>
                      <a:pt x="1331" y="633"/>
                    </a:lnTo>
                    <a:lnTo>
                      <a:pt x="1331" y="634"/>
                    </a:lnTo>
                    <a:lnTo>
                      <a:pt x="1331" y="636"/>
                    </a:lnTo>
                    <a:lnTo>
                      <a:pt x="1331" y="638"/>
                    </a:lnTo>
                    <a:lnTo>
                      <a:pt x="1329" y="639"/>
                    </a:lnTo>
                    <a:lnTo>
                      <a:pt x="1329" y="641"/>
                    </a:lnTo>
                    <a:lnTo>
                      <a:pt x="1327" y="641"/>
                    </a:lnTo>
                    <a:lnTo>
                      <a:pt x="1326" y="643"/>
                    </a:lnTo>
                    <a:lnTo>
                      <a:pt x="1326" y="644"/>
                    </a:lnTo>
                    <a:lnTo>
                      <a:pt x="1324" y="646"/>
                    </a:lnTo>
                    <a:lnTo>
                      <a:pt x="1324" y="648"/>
                    </a:lnTo>
                    <a:lnTo>
                      <a:pt x="1324" y="650"/>
                    </a:lnTo>
                    <a:lnTo>
                      <a:pt x="1322" y="650"/>
                    </a:lnTo>
                    <a:lnTo>
                      <a:pt x="1322" y="651"/>
                    </a:lnTo>
                    <a:lnTo>
                      <a:pt x="1321" y="651"/>
                    </a:lnTo>
                    <a:lnTo>
                      <a:pt x="1321" y="653"/>
                    </a:lnTo>
                    <a:lnTo>
                      <a:pt x="1322" y="653"/>
                    </a:lnTo>
                    <a:lnTo>
                      <a:pt x="1322" y="655"/>
                    </a:lnTo>
                    <a:lnTo>
                      <a:pt x="1322" y="656"/>
                    </a:lnTo>
                    <a:lnTo>
                      <a:pt x="1321" y="658"/>
                    </a:lnTo>
                    <a:lnTo>
                      <a:pt x="1321" y="660"/>
                    </a:lnTo>
                    <a:lnTo>
                      <a:pt x="1321" y="662"/>
                    </a:lnTo>
                    <a:lnTo>
                      <a:pt x="1319" y="662"/>
                    </a:lnTo>
                    <a:lnTo>
                      <a:pt x="1319" y="663"/>
                    </a:lnTo>
                    <a:lnTo>
                      <a:pt x="1319" y="665"/>
                    </a:lnTo>
                    <a:lnTo>
                      <a:pt x="1319" y="667"/>
                    </a:lnTo>
                    <a:lnTo>
                      <a:pt x="1319" y="668"/>
                    </a:lnTo>
                    <a:lnTo>
                      <a:pt x="1319" y="670"/>
                    </a:lnTo>
                    <a:lnTo>
                      <a:pt x="1317" y="670"/>
                    </a:lnTo>
                    <a:lnTo>
                      <a:pt x="1315" y="670"/>
                    </a:lnTo>
                    <a:lnTo>
                      <a:pt x="1314" y="670"/>
                    </a:lnTo>
                    <a:lnTo>
                      <a:pt x="1312" y="670"/>
                    </a:lnTo>
                    <a:lnTo>
                      <a:pt x="1312" y="672"/>
                    </a:lnTo>
                    <a:lnTo>
                      <a:pt x="1312" y="673"/>
                    </a:lnTo>
                    <a:lnTo>
                      <a:pt x="1312" y="675"/>
                    </a:lnTo>
                    <a:lnTo>
                      <a:pt x="1314" y="675"/>
                    </a:lnTo>
                    <a:lnTo>
                      <a:pt x="1315" y="675"/>
                    </a:lnTo>
                    <a:lnTo>
                      <a:pt x="1317" y="675"/>
                    </a:lnTo>
                    <a:lnTo>
                      <a:pt x="1317" y="677"/>
                    </a:lnTo>
                    <a:lnTo>
                      <a:pt x="1315" y="679"/>
                    </a:lnTo>
                    <a:lnTo>
                      <a:pt x="1317" y="679"/>
                    </a:lnTo>
                    <a:lnTo>
                      <a:pt x="1315" y="680"/>
                    </a:lnTo>
                    <a:lnTo>
                      <a:pt x="1317" y="680"/>
                    </a:lnTo>
                    <a:lnTo>
                      <a:pt x="1315" y="682"/>
                    </a:lnTo>
                    <a:lnTo>
                      <a:pt x="1317" y="682"/>
                    </a:lnTo>
                    <a:lnTo>
                      <a:pt x="1319" y="684"/>
                    </a:lnTo>
                    <a:lnTo>
                      <a:pt x="1317" y="684"/>
                    </a:lnTo>
                    <a:lnTo>
                      <a:pt x="1317" y="685"/>
                    </a:lnTo>
                    <a:lnTo>
                      <a:pt x="1319" y="687"/>
                    </a:lnTo>
                    <a:lnTo>
                      <a:pt x="1317" y="689"/>
                    </a:lnTo>
                    <a:lnTo>
                      <a:pt x="1317" y="690"/>
                    </a:lnTo>
                    <a:lnTo>
                      <a:pt x="1319" y="690"/>
                    </a:lnTo>
                    <a:lnTo>
                      <a:pt x="1319" y="692"/>
                    </a:lnTo>
                    <a:lnTo>
                      <a:pt x="1319" y="694"/>
                    </a:lnTo>
                    <a:lnTo>
                      <a:pt x="1319" y="696"/>
                    </a:lnTo>
                    <a:lnTo>
                      <a:pt x="1321" y="696"/>
                    </a:lnTo>
                    <a:lnTo>
                      <a:pt x="1321" y="697"/>
                    </a:lnTo>
                    <a:lnTo>
                      <a:pt x="1319" y="697"/>
                    </a:lnTo>
                    <a:lnTo>
                      <a:pt x="1317" y="697"/>
                    </a:lnTo>
                    <a:lnTo>
                      <a:pt x="1317" y="699"/>
                    </a:lnTo>
                    <a:lnTo>
                      <a:pt x="1317" y="701"/>
                    </a:lnTo>
                    <a:lnTo>
                      <a:pt x="1319" y="701"/>
                    </a:lnTo>
                    <a:lnTo>
                      <a:pt x="1317" y="702"/>
                    </a:lnTo>
                    <a:lnTo>
                      <a:pt x="1319" y="702"/>
                    </a:lnTo>
                    <a:lnTo>
                      <a:pt x="1319" y="704"/>
                    </a:lnTo>
                    <a:lnTo>
                      <a:pt x="1319" y="706"/>
                    </a:lnTo>
                    <a:lnTo>
                      <a:pt x="1317" y="706"/>
                    </a:lnTo>
                    <a:lnTo>
                      <a:pt x="1317" y="707"/>
                    </a:lnTo>
                    <a:lnTo>
                      <a:pt x="1317" y="709"/>
                    </a:lnTo>
                    <a:lnTo>
                      <a:pt x="1317" y="711"/>
                    </a:lnTo>
                    <a:lnTo>
                      <a:pt x="1315" y="711"/>
                    </a:lnTo>
                    <a:lnTo>
                      <a:pt x="1314" y="711"/>
                    </a:lnTo>
                    <a:lnTo>
                      <a:pt x="1314" y="709"/>
                    </a:lnTo>
                    <a:lnTo>
                      <a:pt x="1312" y="709"/>
                    </a:lnTo>
                    <a:lnTo>
                      <a:pt x="1312" y="711"/>
                    </a:lnTo>
                    <a:lnTo>
                      <a:pt x="1310" y="711"/>
                    </a:lnTo>
                    <a:lnTo>
                      <a:pt x="1310" y="713"/>
                    </a:lnTo>
                    <a:lnTo>
                      <a:pt x="1310" y="714"/>
                    </a:lnTo>
                    <a:lnTo>
                      <a:pt x="1309" y="714"/>
                    </a:lnTo>
                    <a:lnTo>
                      <a:pt x="1307" y="714"/>
                    </a:lnTo>
                    <a:lnTo>
                      <a:pt x="1309" y="716"/>
                    </a:lnTo>
                    <a:lnTo>
                      <a:pt x="1307" y="718"/>
                    </a:lnTo>
                    <a:lnTo>
                      <a:pt x="1307" y="719"/>
                    </a:lnTo>
                    <a:lnTo>
                      <a:pt x="1309" y="719"/>
                    </a:lnTo>
                    <a:lnTo>
                      <a:pt x="1309" y="721"/>
                    </a:lnTo>
                    <a:lnTo>
                      <a:pt x="1307" y="721"/>
                    </a:lnTo>
                    <a:lnTo>
                      <a:pt x="1305" y="721"/>
                    </a:lnTo>
                    <a:lnTo>
                      <a:pt x="1304" y="721"/>
                    </a:lnTo>
                    <a:lnTo>
                      <a:pt x="1304" y="719"/>
                    </a:lnTo>
                    <a:lnTo>
                      <a:pt x="1304" y="721"/>
                    </a:lnTo>
                    <a:lnTo>
                      <a:pt x="1302" y="721"/>
                    </a:lnTo>
                    <a:lnTo>
                      <a:pt x="1302" y="719"/>
                    </a:lnTo>
                    <a:lnTo>
                      <a:pt x="1302" y="721"/>
                    </a:lnTo>
                    <a:lnTo>
                      <a:pt x="1302" y="723"/>
                    </a:lnTo>
                    <a:lnTo>
                      <a:pt x="1300" y="723"/>
                    </a:lnTo>
                    <a:lnTo>
                      <a:pt x="1300" y="724"/>
                    </a:lnTo>
                    <a:lnTo>
                      <a:pt x="1298" y="724"/>
                    </a:lnTo>
                    <a:lnTo>
                      <a:pt x="1297" y="724"/>
                    </a:lnTo>
                    <a:lnTo>
                      <a:pt x="1297" y="723"/>
                    </a:lnTo>
                    <a:lnTo>
                      <a:pt x="1297" y="724"/>
                    </a:lnTo>
                    <a:lnTo>
                      <a:pt x="1295" y="726"/>
                    </a:lnTo>
                    <a:lnTo>
                      <a:pt x="1297" y="726"/>
                    </a:lnTo>
                    <a:lnTo>
                      <a:pt x="1295" y="728"/>
                    </a:lnTo>
                    <a:lnTo>
                      <a:pt x="1297" y="728"/>
                    </a:lnTo>
                    <a:lnTo>
                      <a:pt x="1295" y="730"/>
                    </a:lnTo>
                    <a:lnTo>
                      <a:pt x="1297" y="730"/>
                    </a:lnTo>
                    <a:lnTo>
                      <a:pt x="1297" y="731"/>
                    </a:lnTo>
                    <a:lnTo>
                      <a:pt x="1297" y="733"/>
                    </a:lnTo>
                    <a:lnTo>
                      <a:pt x="1295" y="733"/>
                    </a:lnTo>
                    <a:lnTo>
                      <a:pt x="1295" y="731"/>
                    </a:lnTo>
                    <a:lnTo>
                      <a:pt x="1293" y="731"/>
                    </a:lnTo>
                    <a:lnTo>
                      <a:pt x="1293" y="733"/>
                    </a:lnTo>
                    <a:lnTo>
                      <a:pt x="1293" y="735"/>
                    </a:lnTo>
                    <a:lnTo>
                      <a:pt x="1293" y="736"/>
                    </a:lnTo>
                    <a:lnTo>
                      <a:pt x="1293" y="738"/>
                    </a:lnTo>
                    <a:lnTo>
                      <a:pt x="1292" y="738"/>
                    </a:lnTo>
                    <a:lnTo>
                      <a:pt x="1292" y="740"/>
                    </a:lnTo>
                    <a:lnTo>
                      <a:pt x="1293" y="740"/>
                    </a:lnTo>
                    <a:lnTo>
                      <a:pt x="1293" y="741"/>
                    </a:lnTo>
                    <a:lnTo>
                      <a:pt x="1292" y="741"/>
                    </a:lnTo>
                    <a:lnTo>
                      <a:pt x="1293" y="743"/>
                    </a:lnTo>
                    <a:lnTo>
                      <a:pt x="1295" y="743"/>
                    </a:lnTo>
                    <a:lnTo>
                      <a:pt x="1293" y="743"/>
                    </a:lnTo>
                    <a:lnTo>
                      <a:pt x="1293" y="745"/>
                    </a:lnTo>
                    <a:lnTo>
                      <a:pt x="1292" y="745"/>
                    </a:lnTo>
                    <a:lnTo>
                      <a:pt x="1290" y="745"/>
                    </a:lnTo>
                    <a:lnTo>
                      <a:pt x="1292" y="745"/>
                    </a:lnTo>
                    <a:lnTo>
                      <a:pt x="1292" y="747"/>
                    </a:lnTo>
                    <a:lnTo>
                      <a:pt x="1293" y="747"/>
                    </a:lnTo>
                    <a:lnTo>
                      <a:pt x="1293" y="748"/>
                    </a:lnTo>
                    <a:lnTo>
                      <a:pt x="1293" y="750"/>
                    </a:lnTo>
                    <a:lnTo>
                      <a:pt x="1295" y="750"/>
                    </a:lnTo>
                    <a:lnTo>
                      <a:pt x="1295" y="752"/>
                    </a:lnTo>
                    <a:lnTo>
                      <a:pt x="1293" y="752"/>
                    </a:lnTo>
                    <a:lnTo>
                      <a:pt x="1293" y="753"/>
                    </a:lnTo>
                    <a:lnTo>
                      <a:pt x="1293" y="755"/>
                    </a:lnTo>
                    <a:lnTo>
                      <a:pt x="1292" y="755"/>
                    </a:lnTo>
                    <a:lnTo>
                      <a:pt x="1292" y="757"/>
                    </a:lnTo>
                    <a:lnTo>
                      <a:pt x="1290" y="757"/>
                    </a:lnTo>
                    <a:lnTo>
                      <a:pt x="1290" y="758"/>
                    </a:lnTo>
                    <a:lnTo>
                      <a:pt x="1290" y="760"/>
                    </a:lnTo>
                    <a:lnTo>
                      <a:pt x="1292" y="760"/>
                    </a:lnTo>
                    <a:lnTo>
                      <a:pt x="1290" y="762"/>
                    </a:lnTo>
                    <a:lnTo>
                      <a:pt x="1292" y="762"/>
                    </a:lnTo>
                    <a:lnTo>
                      <a:pt x="1293" y="764"/>
                    </a:lnTo>
                    <a:lnTo>
                      <a:pt x="1293" y="765"/>
                    </a:lnTo>
                    <a:lnTo>
                      <a:pt x="1293" y="767"/>
                    </a:lnTo>
                    <a:lnTo>
                      <a:pt x="1293" y="769"/>
                    </a:lnTo>
                    <a:lnTo>
                      <a:pt x="1292" y="769"/>
                    </a:lnTo>
                    <a:lnTo>
                      <a:pt x="1293" y="769"/>
                    </a:lnTo>
                    <a:lnTo>
                      <a:pt x="1293" y="770"/>
                    </a:lnTo>
                    <a:lnTo>
                      <a:pt x="1292" y="772"/>
                    </a:lnTo>
                    <a:lnTo>
                      <a:pt x="1290" y="774"/>
                    </a:lnTo>
                    <a:lnTo>
                      <a:pt x="1290" y="775"/>
                    </a:lnTo>
                    <a:lnTo>
                      <a:pt x="1292" y="775"/>
                    </a:lnTo>
                    <a:lnTo>
                      <a:pt x="1292" y="777"/>
                    </a:lnTo>
                    <a:lnTo>
                      <a:pt x="1292" y="779"/>
                    </a:lnTo>
                    <a:lnTo>
                      <a:pt x="1292" y="781"/>
                    </a:lnTo>
                    <a:lnTo>
                      <a:pt x="1293" y="781"/>
                    </a:lnTo>
                    <a:lnTo>
                      <a:pt x="1292" y="781"/>
                    </a:lnTo>
                    <a:lnTo>
                      <a:pt x="1292" y="782"/>
                    </a:lnTo>
                    <a:lnTo>
                      <a:pt x="1293" y="782"/>
                    </a:lnTo>
                    <a:lnTo>
                      <a:pt x="1293" y="784"/>
                    </a:lnTo>
                    <a:lnTo>
                      <a:pt x="1293" y="786"/>
                    </a:lnTo>
                    <a:lnTo>
                      <a:pt x="1295" y="787"/>
                    </a:lnTo>
                    <a:lnTo>
                      <a:pt x="1295" y="789"/>
                    </a:lnTo>
                    <a:lnTo>
                      <a:pt x="1295" y="791"/>
                    </a:lnTo>
                    <a:lnTo>
                      <a:pt x="1297" y="791"/>
                    </a:lnTo>
                    <a:lnTo>
                      <a:pt x="1297" y="792"/>
                    </a:lnTo>
                    <a:lnTo>
                      <a:pt x="1298" y="792"/>
                    </a:lnTo>
                    <a:lnTo>
                      <a:pt x="1297" y="792"/>
                    </a:lnTo>
                    <a:lnTo>
                      <a:pt x="1295" y="792"/>
                    </a:lnTo>
                    <a:lnTo>
                      <a:pt x="1297" y="794"/>
                    </a:lnTo>
                    <a:lnTo>
                      <a:pt x="1298" y="796"/>
                    </a:lnTo>
                    <a:lnTo>
                      <a:pt x="1298" y="798"/>
                    </a:lnTo>
                    <a:lnTo>
                      <a:pt x="1297" y="798"/>
                    </a:lnTo>
                    <a:lnTo>
                      <a:pt x="1297" y="799"/>
                    </a:lnTo>
                    <a:lnTo>
                      <a:pt x="1297" y="801"/>
                    </a:lnTo>
                    <a:lnTo>
                      <a:pt x="1297" y="803"/>
                    </a:lnTo>
                    <a:lnTo>
                      <a:pt x="1298" y="803"/>
                    </a:lnTo>
                    <a:lnTo>
                      <a:pt x="1297" y="803"/>
                    </a:lnTo>
                    <a:lnTo>
                      <a:pt x="1298" y="804"/>
                    </a:lnTo>
                    <a:lnTo>
                      <a:pt x="1298" y="806"/>
                    </a:lnTo>
                    <a:lnTo>
                      <a:pt x="1298" y="808"/>
                    </a:lnTo>
                    <a:lnTo>
                      <a:pt x="1300" y="808"/>
                    </a:lnTo>
                    <a:lnTo>
                      <a:pt x="1300" y="809"/>
                    </a:lnTo>
                    <a:lnTo>
                      <a:pt x="1302" y="809"/>
                    </a:lnTo>
                    <a:lnTo>
                      <a:pt x="1302" y="811"/>
                    </a:lnTo>
                    <a:lnTo>
                      <a:pt x="1304" y="811"/>
                    </a:lnTo>
                    <a:lnTo>
                      <a:pt x="1304" y="813"/>
                    </a:lnTo>
                    <a:lnTo>
                      <a:pt x="1304" y="815"/>
                    </a:lnTo>
                    <a:lnTo>
                      <a:pt x="1302" y="815"/>
                    </a:lnTo>
                    <a:lnTo>
                      <a:pt x="1302" y="816"/>
                    </a:lnTo>
                    <a:lnTo>
                      <a:pt x="1300" y="816"/>
                    </a:lnTo>
                    <a:lnTo>
                      <a:pt x="1300" y="818"/>
                    </a:lnTo>
                    <a:lnTo>
                      <a:pt x="1302" y="818"/>
                    </a:lnTo>
                    <a:lnTo>
                      <a:pt x="1302" y="820"/>
                    </a:lnTo>
                    <a:lnTo>
                      <a:pt x="1300" y="820"/>
                    </a:lnTo>
                    <a:lnTo>
                      <a:pt x="1300" y="821"/>
                    </a:lnTo>
                    <a:lnTo>
                      <a:pt x="1298" y="821"/>
                    </a:lnTo>
                    <a:lnTo>
                      <a:pt x="1297" y="821"/>
                    </a:lnTo>
                    <a:lnTo>
                      <a:pt x="1295" y="821"/>
                    </a:lnTo>
                    <a:lnTo>
                      <a:pt x="1293" y="821"/>
                    </a:lnTo>
                    <a:lnTo>
                      <a:pt x="1293" y="823"/>
                    </a:lnTo>
                    <a:lnTo>
                      <a:pt x="1292" y="823"/>
                    </a:lnTo>
                    <a:lnTo>
                      <a:pt x="1290" y="823"/>
                    </a:lnTo>
                    <a:lnTo>
                      <a:pt x="1288" y="823"/>
                    </a:lnTo>
                    <a:lnTo>
                      <a:pt x="1288" y="825"/>
                    </a:lnTo>
                    <a:lnTo>
                      <a:pt x="1287" y="827"/>
                    </a:lnTo>
                    <a:lnTo>
                      <a:pt x="1285" y="827"/>
                    </a:lnTo>
                    <a:lnTo>
                      <a:pt x="1285" y="828"/>
                    </a:lnTo>
                    <a:lnTo>
                      <a:pt x="1283" y="828"/>
                    </a:lnTo>
                    <a:lnTo>
                      <a:pt x="1283" y="830"/>
                    </a:lnTo>
                    <a:lnTo>
                      <a:pt x="1283" y="832"/>
                    </a:lnTo>
                    <a:lnTo>
                      <a:pt x="1283" y="833"/>
                    </a:lnTo>
                    <a:lnTo>
                      <a:pt x="1285" y="833"/>
                    </a:lnTo>
                    <a:lnTo>
                      <a:pt x="1283" y="833"/>
                    </a:lnTo>
                    <a:lnTo>
                      <a:pt x="1283" y="835"/>
                    </a:lnTo>
                    <a:lnTo>
                      <a:pt x="1283" y="837"/>
                    </a:lnTo>
                    <a:lnTo>
                      <a:pt x="1283" y="838"/>
                    </a:lnTo>
                    <a:lnTo>
                      <a:pt x="1285" y="840"/>
                    </a:lnTo>
                    <a:lnTo>
                      <a:pt x="1285" y="842"/>
                    </a:lnTo>
                    <a:lnTo>
                      <a:pt x="1285" y="844"/>
                    </a:lnTo>
                    <a:lnTo>
                      <a:pt x="1285" y="845"/>
                    </a:lnTo>
                    <a:lnTo>
                      <a:pt x="1285" y="847"/>
                    </a:lnTo>
                    <a:lnTo>
                      <a:pt x="1283" y="847"/>
                    </a:lnTo>
                    <a:lnTo>
                      <a:pt x="1281" y="847"/>
                    </a:lnTo>
                    <a:lnTo>
                      <a:pt x="1281" y="849"/>
                    </a:lnTo>
                    <a:lnTo>
                      <a:pt x="1283" y="849"/>
                    </a:lnTo>
                    <a:lnTo>
                      <a:pt x="1281" y="850"/>
                    </a:lnTo>
                    <a:lnTo>
                      <a:pt x="1283" y="850"/>
                    </a:lnTo>
                    <a:lnTo>
                      <a:pt x="1281" y="850"/>
                    </a:lnTo>
                    <a:lnTo>
                      <a:pt x="1281" y="852"/>
                    </a:lnTo>
                    <a:lnTo>
                      <a:pt x="1280" y="854"/>
                    </a:lnTo>
                    <a:lnTo>
                      <a:pt x="1280" y="855"/>
                    </a:lnTo>
                    <a:lnTo>
                      <a:pt x="1281" y="855"/>
                    </a:lnTo>
                    <a:lnTo>
                      <a:pt x="1281" y="857"/>
                    </a:lnTo>
                    <a:lnTo>
                      <a:pt x="1281" y="859"/>
                    </a:lnTo>
                    <a:lnTo>
                      <a:pt x="1280" y="859"/>
                    </a:lnTo>
                    <a:lnTo>
                      <a:pt x="1278" y="859"/>
                    </a:lnTo>
                    <a:lnTo>
                      <a:pt x="1276" y="859"/>
                    </a:lnTo>
                    <a:lnTo>
                      <a:pt x="1276" y="857"/>
                    </a:lnTo>
                    <a:lnTo>
                      <a:pt x="1275" y="857"/>
                    </a:lnTo>
                    <a:lnTo>
                      <a:pt x="1275" y="855"/>
                    </a:lnTo>
                    <a:lnTo>
                      <a:pt x="1275" y="857"/>
                    </a:lnTo>
                    <a:lnTo>
                      <a:pt x="1275" y="859"/>
                    </a:lnTo>
                    <a:lnTo>
                      <a:pt x="1273" y="859"/>
                    </a:lnTo>
                    <a:lnTo>
                      <a:pt x="1275" y="861"/>
                    </a:lnTo>
                    <a:lnTo>
                      <a:pt x="1275" y="862"/>
                    </a:lnTo>
                    <a:lnTo>
                      <a:pt x="1273" y="862"/>
                    </a:lnTo>
                    <a:lnTo>
                      <a:pt x="1275" y="862"/>
                    </a:lnTo>
                    <a:lnTo>
                      <a:pt x="1273" y="862"/>
                    </a:lnTo>
                    <a:lnTo>
                      <a:pt x="1273" y="864"/>
                    </a:lnTo>
                    <a:lnTo>
                      <a:pt x="1275" y="864"/>
                    </a:lnTo>
                    <a:lnTo>
                      <a:pt x="1275" y="866"/>
                    </a:lnTo>
                    <a:lnTo>
                      <a:pt x="1275" y="867"/>
                    </a:lnTo>
                    <a:lnTo>
                      <a:pt x="1275" y="869"/>
                    </a:lnTo>
                    <a:lnTo>
                      <a:pt x="1276" y="869"/>
                    </a:lnTo>
                    <a:lnTo>
                      <a:pt x="1278" y="871"/>
                    </a:lnTo>
                    <a:lnTo>
                      <a:pt x="1278" y="872"/>
                    </a:lnTo>
                    <a:lnTo>
                      <a:pt x="1276" y="872"/>
                    </a:lnTo>
                    <a:lnTo>
                      <a:pt x="1276" y="874"/>
                    </a:lnTo>
                    <a:lnTo>
                      <a:pt x="1275" y="874"/>
                    </a:lnTo>
                    <a:lnTo>
                      <a:pt x="1275" y="876"/>
                    </a:lnTo>
                    <a:lnTo>
                      <a:pt x="1275" y="878"/>
                    </a:lnTo>
                    <a:lnTo>
                      <a:pt x="1275" y="879"/>
                    </a:lnTo>
                    <a:lnTo>
                      <a:pt x="1275" y="881"/>
                    </a:lnTo>
                    <a:lnTo>
                      <a:pt x="1273" y="879"/>
                    </a:lnTo>
                    <a:lnTo>
                      <a:pt x="1271" y="879"/>
                    </a:lnTo>
                    <a:lnTo>
                      <a:pt x="1270" y="879"/>
                    </a:lnTo>
                    <a:lnTo>
                      <a:pt x="1271" y="881"/>
                    </a:lnTo>
                    <a:lnTo>
                      <a:pt x="1270" y="881"/>
                    </a:lnTo>
                    <a:lnTo>
                      <a:pt x="1270" y="883"/>
                    </a:lnTo>
                    <a:lnTo>
                      <a:pt x="1271" y="883"/>
                    </a:lnTo>
                    <a:lnTo>
                      <a:pt x="1270" y="884"/>
                    </a:lnTo>
                    <a:lnTo>
                      <a:pt x="1270" y="886"/>
                    </a:lnTo>
                    <a:lnTo>
                      <a:pt x="1271" y="886"/>
                    </a:lnTo>
                    <a:lnTo>
                      <a:pt x="1270" y="886"/>
                    </a:lnTo>
                    <a:lnTo>
                      <a:pt x="1271" y="888"/>
                    </a:lnTo>
                    <a:lnTo>
                      <a:pt x="1273" y="888"/>
                    </a:lnTo>
                    <a:lnTo>
                      <a:pt x="1275" y="888"/>
                    </a:lnTo>
                    <a:lnTo>
                      <a:pt x="1275" y="889"/>
                    </a:lnTo>
                    <a:lnTo>
                      <a:pt x="1275" y="891"/>
                    </a:lnTo>
                    <a:lnTo>
                      <a:pt x="1275" y="893"/>
                    </a:lnTo>
                    <a:lnTo>
                      <a:pt x="1273" y="895"/>
                    </a:lnTo>
                    <a:lnTo>
                      <a:pt x="1271" y="893"/>
                    </a:lnTo>
                    <a:lnTo>
                      <a:pt x="1271" y="895"/>
                    </a:lnTo>
                    <a:lnTo>
                      <a:pt x="1271" y="893"/>
                    </a:lnTo>
                    <a:lnTo>
                      <a:pt x="1270" y="895"/>
                    </a:lnTo>
                    <a:lnTo>
                      <a:pt x="1270" y="896"/>
                    </a:lnTo>
                    <a:lnTo>
                      <a:pt x="1268" y="898"/>
                    </a:lnTo>
                    <a:lnTo>
                      <a:pt x="1270" y="898"/>
                    </a:lnTo>
                    <a:lnTo>
                      <a:pt x="1268" y="900"/>
                    </a:lnTo>
                    <a:lnTo>
                      <a:pt x="1268" y="901"/>
                    </a:lnTo>
                    <a:lnTo>
                      <a:pt x="1270" y="901"/>
                    </a:lnTo>
                    <a:lnTo>
                      <a:pt x="1270" y="903"/>
                    </a:lnTo>
                    <a:lnTo>
                      <a:pt x="1268" y="903"/>
                    </a:lnTo>
                    <a:lnTo>
                      <a:pt x="1268" y="905"/>
                    </a:lnTo>
                    <a:lnTo>
                      <a:pt x="1266" y="906"/>
                    </a:lnTo>
                    <a:lnTo>
                      <a:pt x="1264" y="906"/>
                    </a:lnTo>
                    <a:lnTo>
                      <a:pt x="1264" y="908"/>
                    </a:lnTo>
                    <a:lnTo>
                      <a:pt x="1266" y="908"/>
                    </a:lnTo>
                    <a:lnTo>
                      <a:pt x="1266" y="910"/>
                    </a:lnTo>
                    <a:lnTo>
                      <a:pt x="1266" y="912"/>
                    </a:lnTo>
                    <a:lnTo>
                      <a:pt x="1266" y="913"/>
                    </a:lnTo>
                    <a:lnTo>
                      <a:pt x="1268" y="913"/>
                    </a:lnTo>
                    <a:lnTo>
                      <a:pt x="1268" y="915"/>
                    </a:lnTo>
                    <a:lnTo>
                      <a:pt x="1268" y="913"/>
                    </a:lnTo>
                    <a:lnTo>
                      <a:pt x="1268" y="915"/>
                    </a:lnTo>
                    <a:lnTo>
                      <a:pt x="1268" y="917"/>
                    </a:lnTo>
                    <a:lnTo>
                      <a:pt x="1268" y="918"/>
                    </a:lnTo>
                    <a:lnTo>
                      <a:pt x="1266" y="918"/>
                    </a:lnTo>
                    <a:lnTo>
                      <a:pt x="1268" y="918"/>
                    </a:lnTo>
                    <a:lnTo>
                      <a:pt x="1268" y="920"/>
                    </a:lnTo>
                    <a:lnTo>
                      <a:pt x="1268" y="922"/>
                    </a:lnTo>
                    <a:lnTo>
                      <a:pt x="1270" y="922"/>
                    </a:lnTo>
                    <a:lnTo>
                      <a:pt x="1270" y="923"/>
                    </a:lnTo>
                    <a:lnTo>
                      <a:pt x="1270" y="925"/>
                    </a:lnTo>
                    <a:lnTo>
                      <a:pt x="1270" y="927"/>
                    </a:lnTo>
                    <a:lnTo>
                      <a:pt x="1268" y="927"/>
                    </a:lnTo>
                    <a:lnTo>
                      <a:pt x="1268" y="929"/>
                    </a:lnTo>
                    <a:lnTo>
                      <a:pt x="1268" y="930"/>
                    </a:lnTo>
                    <a:lnTo>
                      <a:pt x="1270" y="930"/>
                    </a:lnTo>
                    <a:lnTo>
                      <a:pt x="1268" y="930"/>
                    </a:lnTo>
                    <a:lnTo>
                      <a:pt x="1270" y="932"/>
                    </a:lnTo>
                    <a:lnTo>
                      <a:pt x="1268" y="930"/>
                    </a:lnTo>
                    <a:lnTo>
                      <a:pt x="1268" y="932"/>
                    </a:lnTo>
                    <a:lnTo>
                      <a:pt x="1268" y="934"/>
                    </a:lnTo>
                    <a:lnTo>
                      <a:pt x="1268" y="935"/>
                    </a:lnTo>
                    <a:lnTo>
                      <a:pt x="1266" y="935"/>
                    </a:lnTo>
                    <a:lnTo>
                      <a:pt x="1268" y="935"/>
                    </a:lnTo>
                    <a:lnTo>
                      <a:pt x="1268" y="937"/>
                    </a:lnTo>
                    <a:lnTo>
                      <a:pt x="1268" y="939"/>
                    </a:lnTo>
                    <a:lnTo>
                      <a:pt x="1270" y="939"/>
                    </a:lnTo>
                    <a:lnTo>
                      <a:pt x="1270" y="940"/>
                    </a:lnTo>
                    <a:lnTo>
                      <a:pt x="1270" y="942"/>
                    </a:lnTo>
                    <a:lnTo>
                      <a:pt x="1270" y="944"/>
                    </a:lnTo>
                    <a:lnTo>
                      <a:pt x="1270" y="946"/>
                    </a:lnTo>
                    <a:lnTo>
                      <a:pt x="1268" y="946"/>
                    </a:lnTo>
                    <a:lnTo>
                      <a:pt x="1268" y="947"/>
                    </a:lnTo>
                    <a:lnTo>
                      <a:pt x="1268" y="949"/>
                    </a:lnTo>
                    <a:lnTo>
                      <a:pt x="1270" y="949"/>
                    </a:lnTo>
                    <a:lnTo>
                      <a:pt x="1270" y="951"/>
                    </a:lnTo>
                    <a:lnTo>
                      <a:pt x="1271" y="951"/>
                    </a:lnTo>
                    <a:lnTo>
                      <a:pt x="1270" y="952"/>
                    </a:lnTo>
                    <a:lnTo>
                      <a:pt x="1271" y="952"/>
                    </a:lnTo>
                    <a:lnTo>
                      <a:pt x="1271" y="954"/>
                    </a:lnTo>
                    <a:lnTo>
                      <a:pt x="1271" y="956"/>
                    </a:lnTo>
                    <a:lnTo>
                      <a:pt x="1271" y="957"/>
                    </a:lnTo>
                    <a:lnTo>
                      <a:pt x="1271" y="959"/>
                    </a:lnTo>
                    <a:lnTo>
                      <a:pt x="1271" y="961"/>
                    </a:lnTo>
                    <a:lnTo>
                      <a:pt x="1271" y="963"/>
                    </a:lnTo>
                    <a:lnTo>
                      <a:pt x="1271" y="964"/>
                    </a:lnTo>
                    <a:lnTo>
                      <a:pt x="1271" y="966"/>
                    </a:lnTo>
                    <a:lnTo>
                      <a:pt x="1273" y="966"/>
                    </a:lnTo>
                    <a:lnTo>
                      <a:pt x="1273" y="968"/>
                    </a:lnTo>
                    <a:lnTo>
                      <a:pt x="1273" y="969"/>
                    </a:lnTo>
                    <a:lnTo>
                      <a:pt x="1273" y="971"/>
                    </a:lnTo>
                    <a:lnTo>
                      <a:pt x="1271" y="971"/>
                    </a:lnTo>
                    <a:lnTo>
                      <a:pt x="1270" y="971"/>
                    </a:lnTo>
                    <a:lnTo>
                      <a:pt x="1270" y="973"/>
                    </a:lnTo>
                    <a:lnTo>
                      <a:pt x="1270" y="971"/>
                    </a:lnTo>
                    <a:lnTo>
                      <a:pt x="1268" y="971"/>
                    </a:lnTo>
                    <a:lnTo>
                      <a:pt x="1268" y="973"/>
                    </a:lnTo>
                    <a:lnTo>
                      <a:pt x="1266" y="973"/>
                    </a:lnTo>
                    <a:lnTo>
                      <a:pt x="1264" y="971"/>
                    </a:lnTo>
                    <a:lnTo>
                      <a:pt x="1263" y="971"/>
                    </a:lnTo>
                    <a:lnTo>
                      <a:pt x="1263" y="969"/>
                    </a:lnTo>
                    <a:lnTo>
                      <a:pt x="1261" y="969"/>
                    </a:lnTo>
                    <a:lnTo>
                      <a:pt x="1261" y="971"/>
                    </a:lnTo>
                    <a:lnTo>
                      <a:pt x="1259" y="971"/>
                    </a:lnTo>
                    <a:lnTo>
                      <a:pt x="1258" y="971"/>
                    </a:lnTo>
                    <a:lnTo>
                      <a:pt x="1258" y="973"/>
                    </a:lnTo>
                    <a:lnTo>
                      <a:pt x="1258" y="975"/>
                    </a:lnTo>
                    <a:lnTo>
                      <a:pt x="1259" y="976"/>
                    </a:lnTo>
                    <a:lnTo>
                      <a:pt x="1258" y="976"/>
                    </a:lnTo>
                    <a:lnTo>
                      <a:pt x="1259" y="978"/>
                    </a:lnTo>
                    <a:lnTo>
                      <a:pt x="1259" y="980"/>
                    </a:lnTo>
                    <a:lnTo>
                      <a:pt x="1259" y="981"/>
                    </a:lnTo>
                    <a:lnTo>
                      <a:pt x="1259" y="983"/>
                    </a:lnTo>
                    <a:lnTo>
                      <a:pt x="1261" y="981"/>
                    </a:lnTo>
                    <a:lnTo>
                      <a:pt x="1261" y="983"/>
                    </a:lnTo>
                    <a:lnTo>
                      <a:pt x="1263" y="983"/>
                    </a:lnTo>
                    <a:lnTo>
                      <a:pt x="1263" y="985"/>
                    </a:lnTo>
                    <a:lnTo>
                      <a:pt x="1263" y="986"/>
                    </a:lnTo>
                    <a:lnTo>
                      <a:pt x="1263" y="988"/>
                    </a:lnTo>
                    <a:lnTo>
                      <a:pt x="1263" y="990"/>
                    </a:lnTo>
                    <a:lnTo>
                      <a:pt x="1261" y="990"/>
                    </a:lnTo>
                    <a:lnTo>
                      <a:pt x="1261" y="992"/>
                    </a:lnTo>
                    <a:lnTo>
                      <a:pt x="1259" y="992"/>
                    </a:lnTo>
                    <a:lnTo>
                      <a:pt x="1259" y="993"/>
                    </a:lnTo>
                    <a:lnTo>
                      <a:pt x="1259" y="995"/>
                    </a:lnTo>
                    <a:lnTo>
                      <a:pt x="1258" y="995"/>
                    </a:lnTo>
                    <a:lnTo>
                      <a:pt x="1258" y="997"/>
                    </a:lnTo>
                    <a:lnTo>
                      <a:pt x="1259" y="997"/>
                    </a:lnTo>
                    <a:lnTo>
                      <a:pt x="1259" y="998"/>
                    </a:lnTo>
                    <a:lnTo>
                      <a:pt x="1259" y="1000"/>
                    </a:lnTo>
                    <a:lnTo>
                      <a:pt x="1259" y="1002"/>
                    </a:lnTo>
                    <a:lnTo>
                      <a:pt x="1258" y="1002"/>
                    </a:lnTo>
                    <a:lnTo>
                      <a:pt x="1259" y="1002"/>
                    </a:lnTo>
                    <a:lnTo>
                      <a:pt x="1259" y="1003"/>
                    </a:lnTo>
                    <a:lnTo>
                      <a:pt x="1259" y="1005"/>
                    </a:lnTo>
                    <a:lnTo>
                      <a:pt x="1259" y="1007"/>
                    </a:lnTo>
                    <a:lnTo>
                      <a:pt x="1261" y="1009"/>
                    </a:lnTo>
                    <a:lnTo>
                      <a:pt x="1261" y="1010"/>
                    </a:lnTo>
                    <a:lnTo>
                      <a:pt x="1263" y="1010"/>
                    </a:lnTo>
                    <a:lnTo>
                      <a:pt x="1263" y="1012"/>
                    </a:lnTo>
                    <a:lnTo>
                      <a:pt x="1264" y="1012"/>
                    </a:lnTo>
                    <a:lnTo>
                      <a:pt x="1266" y="1014"/>
                    </a:lnTo>
                    <a:lnTo>
                      <a:pt x="1266" y="1015"/>
                    </a:lnTo>
                    <a:lnTo>
                      <a:pt x="1268" y="1015"/>
                    </a:lnTo>
                    <a:lnTo>
                      <a:pt x="1268" y="1017"/>
                    </a:lnTo>
                    <a:lnTo>
                      <a:pt x="1270" y="1017"/>
                    </a:lnTo>
                    <a:lnTo>
                      <a:pt x="1271" y="1017"/>
                    </a:lnTo>
                    <a:lnTo>
                      <a:pt x="1271" y="1019"/>
                    </a:lnTo>
                    <a:lnTo>
                      <a:pt x="1273" y="1019"/>
                    </a:lnTo>
                    <a:lnTo>
                      <a:pt x="1273" y="1020"/>
                    </a:lnTo>
                    <a:lnTo>
                      <a:pt x="1271" y="1020"/>
                    </a:lnTo>
                    <a:lnTo>
                      <a:pt x="1273" y="1022"/>
                    </a:lnTo>
                    <a:lnTo>
                      <a:pt x="1273" y="1024"/>
                    </a:lnTo>
                    <a:lnTo>
                      <a:pt x="1273" y="1026"/>
                    </a:lnTo>
                    <a:lnTo>
                      <a:pt x="1271" y="1026"/>
                    </a:lnTo>
                    <a:lnTo>
                      <a:pt x="1271" y="1024"/>
                    </a:lnTo>
                    <a:lnTo>
                      <a:pt x="1271" y="1026"/>
                    </a:lnTo>
                    <a:lnTo>
                      <a:pt x="1270" y="1026"/>
                    </a:lnTo>
                    <a:lnTo>
                      <a:pt x="1268" y="1026"/>
                    </a:lnTo>
                    <a:lnTo>
                      <a:pt x="1266" y="1026"/>
                    </a:lnTo>
                    <a:lnTo>
                      <a:pt x="1268" y="1026"/>
                    </a:lnTo>
                    <a:lnTo>
                      <a:pt x="1268" y="1027"/>
                    </a:lnTo>
                    <a:lnTo>
                      <a:pt x="1266" y="1029"/>
                    </a:lnTo>
                    <a:lnTo>
                      <a:pt x="1266" y="1031"/>
                    </a:lnTo>
                    <a:lnTo>
                      <a:pt x="1266" y="1032"/>
                    </a:lnTo>
                    <a:lnTo>
                      <a:pt x="1268" y="1032"/>
                    </a:lnTo>
                    <a:lnTo>
                      <a:pt x="1268" y="1031"/>
                    </a:lnTo>
                    <a:lnTo>
                      <a:pt x="1268" y="1032"/>
                    </a:lnTo>
                    <a:lnTo>
                      <a:pt x="1270" y="1032"/>
                    </a:lnTo>
                    <a:lnTo>
                      <a:pt x="1268" y="1034"/>
                    </a:lnTo>
                    <a:lnTo>
                      <a:pt x="1268" y="1036"/>
                    </a:lnTo>
                    <a:lnTo>
                      <a:pt x="1270" y="1036"/>
                    </a:lnTo>
                    <a:lnTo>
                      <a:pt x="1271" y="1036"/>
                    </a:lnTo>
                    <a:lnTo>
                      <a:pt x="1271" y="1037"/>
                    </a:lnTo>
                    <a:lnTo>
                      <a:pt x="1273" y="1037"/>
                    </a:lnTo>
                    <a:lnTo>
                      <a:pt x="1273" y="1039"/>
                    </a:lnTo>
                    <a:lnTo>
                      <a:pt x="1275" y="1039"/>
                    </a:lnTo>
                    <a:lnTo>
                      <a:pt x="1276" y="1039"/>
                    </a:lnTo>
                    <a:lnTo>
                      <a:pt x="1278" y="1039"/>
                    </a:lnTo>
                    <a:lnTo>
                      <a:pt x="1278" y="1041"/>
                    </a:lnTo>
                    <a:lnTo>
                      <a:pt x="1278" y="1043"/>
                    </a:lnTo>
                    <a:lnTo>
                      <a:pt x="1276" y="1043"/>
                    </a:lnTo>
                    <a:lnTo>
                      <a:pt x="1278" y="1043"/>
                    </a:lnTo>
                    <a:lnTo>
                      <a:pt x="1276" y="1043"/>
                    </a:lnTo>
                    <a:lnTo>
                      <a:pt x="1275" y="1043"/>
                    </a:lnTo>
                    <a:lnTo>
                      <a:pt x="1275" y="1044"/>
                    </a:lnTo>
                    <a:lnTo>
                      <a:pt x="1273" y="1046"/>
                    </a:lnTo>
                    <a:lnTo>
                      <a:pt x="1271" y="1048"/>
                    </a:lnTo>
                    <a:lnTo>
                      <a:pt x="1273" y="1048"/>
                    </a:lnTo>
                    <a:lnTo>
                      <a:pt x="1271" y="1049"/>
                    </a:lnTo>
                    <a:lnTo>
                      <a:pt x="1273" y="1049"/>
                    </a:lnTo>
                    <a:lnTo>
                      <a:pt x="1271" y="1049"/>
                    </a:lnTo>
                    <a:lnTo>
                      <a:pt x="1273" y="1049"/>
                    </a:lnTo>
                    <a:lnTo>
                      <a:pt x="1273" y="1051"/>
                    </a:lnTo>
                    <a:lnTo>
                      <a:pt x="1273" y="1053"/>
                    </a:lnTo>
                    <a:lnTo>
                      <a:pt x="1275" y="1053"/>
                    </a:lnTo>
                    <a:lnTo>
                      <a:pt x="1276" y="1054"/>
                    </a:lnTo>
                    <a:lnTo>
                      <a:pt x="1275" y="1054"/>
                    </a:lnTo>
                    <a:lnTo>
                      <a:pt x="1275" y="1056"/>
                    </a:lnTo>
                    <a:lnTo>
                      <a:pt x="1275" y="1058"/>
                    </a:lnTo>
                    <a:lnTo>
                      <a:pt x="1273" y="1058"/>
                    </a:lnTo>
                    <a:lnTo>
                      <a:pt x="1273" y="1060"/>
                    </a:lnTo>
                    <a:lnTo>
                      <a:pt x="1273" y="1061"/>
                    </a:lnTo>
                    <a:lnTo>
                      <a:pt x="1271" y="1063"/>
                    </a:lnTo>
                    <a:lnTo>
                      <a:pt x="1270" y="1063"/>
                    </a:lnTo>
                    <a:lnTo>
                      <a:pt x="1268" y="1063"/>
                    </a:lnTo>
                    <a:lnTo>
                      <a:pt x="1270" y="1065"/>
                    </a:lnTo>
                    <a:lnTo>
                      <a:pt x="1270" y="1066"/>
                    </a:lnTo>
                    <a:lnTo>
                      <a:pt x="1271" y="1066"/>
                    </a:lnTo>
                    <a:lnTo>
                      <a:pt x="1270" y="1068"/>
                    </a:lnTo>
                    <a:lnTo>
                      <a:pt x="1270" y="1070"/>
                    </a:lnTo>
                    <a:lnTo>
                      <a:pt x="1271" y="1071"/>
                    </a:lnTo>
                    <a:lnTo>
                      <a:pt x="1271" y="1073"/>
                    </a:lnTo>
                    <a:lnTo>
                      <a:pt x="1270" y="1073"/>
                    </a:lnTo>
                    <a:lnTo>
                      <a:pt x="1270" y="1075"/>
                    </a:lnTo>
                    <a:lnTo>
                      <a:pt x="1270" y="1077"/>
                    </a:lnTo>
                    <a:lnTo>
                      <a:pt x="1271" y="1077"/>
                    </a:lnTo>
                    <a:lnTo>
                      <a:pt x="1273" y="1077"/>
                    </a:lnTo>
                    <a:lnTo>
                      <a:pt x="1273" y="1075"/>
                    </a:lnTo>
                    <a:lnTo>
                      <a:pt x="1275" y="1075"/>
                    </a:lnTo>
                    <a:lnTo>
                      <a:pt x="1275" y="1077"/>
                    </a:lnTo>
                    <a:lnTo>
                      <a:pt x="1276" y="1077"/>
                    </a:lnTo>
                    <a:lnTo>
                      <a:pt x="1276" y="1075"/>
                    </a:lnTo>
                    <a:lnTo>
                      <a:pt x="1278" y="1077"/>
                    </a:lnTo>
                    <a:lnTo>
                      <a:pt x="1280" y="1077"/>
                    </a:lnTo>
                    <a:lnTo>
                      <a:pt x="1280" y="1075"/>
                    </a:lnTo>
                    <a:lnTo>
                      <a:pt x="1281" y="1077"/>
                    </a:lnTo>
                    <a:lnTo>
                      <a:pt x="1281" y="1075"/>
                    </a:lnTo>
                    <a:lnTo>
                      <a:pt x="1283" y="1075"/>
                    </a:lnTo>
                    <a:lnTo>
                      <a:pt x="1285" y="1075"/>
                    </a:lnTo>
                    <a:lnTo>
                      <a:pt x="1285" y="1077"/>
                    </a:lnTo>
                    <a:lnTo>
                      <a:pt x="1287" y="1077"/>
                    </a:lnTo>
                    <a:lnTo>
                      <a:pt x="1288" y="1077"/>
                    </a:lnTo>
                    <a:lnTo>
                      <a:pt x="1290" y="1077"/>
                    </a:lnTo>
                    <a:lnTo>
                      <a:pt x="1290" y="1078"/>
                    </a:lnTo>
                    <a:lnTo>
                      <a:pt x="1290" y="1077"/>
                    </a:lnTo>
                    <a:lnTo>
                      <a:pt x="1292" y="1078"/>
                    </a:lnTo>
                    <a:lnTo>
                      <a:pt x="1293" y="1078"/>
                    </a:lnTo>
                    <a:lnTo>
                      <a:pt x="1293" y="1080"/>
                    </a:lnTo>
                    <a:lnTo>
                      <a:pt x="1292" y="1080"/>
                    </a:lnTo>
                    <a:lnTo>
                      <a:pt x="1293" y="1082"/>
                    </a:lnTo>
                    <a:lnTo>
                      <a:pt x="1295" y="1082"/>
                    </a:lnTo>
                    <a:lnTo>
                      <a:pt x="1293" y="1083"/>
                    </a:lnTo>
                    <a:lnTo>
                      <a:pt x="1295" y="1085"/>
                    </a:lnTo>
                    <a:lnTo>
                      <a:pt x="1293" y="1085"/>
                    </a:lnTo>
                    <a:lnTo>
                      <a:pt x="1292" y="1085"/>
                    </a:lnTo>
                    <a:lnTo>
                      <a:pt x="1290" y="1085"/>
                    </a:lnTo>
                    <a:lnTo>
                      <a:pt x="1292" y="1085"/>
                    </a:lnTo>
                    <a:lnTo>
                      <a:pt x="1290" y="1087"/>
                    </a:lnTo>
                    <a:lnTo>
                      <a:pt x="1290" y="1088"/>
                    </a:lnTo>
                    <a:lnTo>
                      <a:pt x="1292" y="1088"/>
                    </a:lnTo>
                    <a:lnTo>
                      <a:pt x="1290" y="1090"/>
                    </a:lnTo>
                    <a:lnTo>
                      <a:pt x="1290" y="1092"/>
                    </a:lnTo>
                    <a:lnTo>
                      <a:pt x="1290" y="1094"/>
                    </a:lnTo>
                    <a:lnTo>
                      <a:pt x="1288" y="1094"/>
                    </a:lnTo>
                    <a:lnTo>
                      <a:pt x="1288" y="1095"/>
                    </a:lnTo>
                    <a:lnTo>
                      <a:pt x="1287" y="1095"/>
                    </a:lnTo>
                    <a:lnTo>
                      <a:pt x="1285" y="1095"/>
                    </a:lnTo>
                    <a:lnTo>
                      <a:pt x="1285" y="1094"/>
                    </a:lnTo>
                    <a:lnTo>
                      <a:pt x="1283" y="1094"/>
                    </a:lnTo>
                    <a:lnTo>
                      <a:pt x="1283" y="1092"/>
                    </a:lnTo>
                    <a:lnTo>
                      <a:pt x="1281" y="1092"/>
                    </a:lnTo>
                    <a:lnTo>
                      <a:pt x="1280" y="1092"/>
                    </a:lnTo>
                    <a:lnTo>
                      <a:pt x="1278" y="1094"/>
                    </a:lnTo>
                    <a:lnTo>
                      <a:pt x="1278" y="1092"/>
                    </a:lnTo>
                    <a:lnTo>
                      <a:pt x="1278" y="1094"/>
                    </a:lnTo>
                    <a:lnTo>
                      <a:pt x="1276" y="1094"/>
                    </a:lnTo>
                    <a:lnTo>
                      <a:pt x="1275" y="1094"/>
                    </a:lnTo>
                    <a:lnTo>
                      <a:pt x="1273" y="1094"/>
                    </a:lnTo>
                    <a:lnTo>
                      <a:pt x="1271" y="1094"/>
                    </a:lnTo>
                    <a:lnTo>
                      <a:pt x="1271" y="1092"/>
                    </a:lnTo>
                    <a:lnTo>
                      <a:pt x="1270" y="1094"/>
                    </a:lnTo>
                    <a:lnTo>
                      <a:pt x="1270" y="1095"/>
                    </a:lnTo>
                    <a:lnTo>
                      <a:pt x="1270" y="1094"/>
                    </a:lnTo>
                    <a:lnTo>
                      <a:pt x="1268" y="1095"/>
                    </a:lnTo>
                    <a:lnTo>
                      <a:pt x="1268" y="1094"/>
                    </a:lnTo>
                    <a:lnTo>
                      <a:pt x="1266" y="1094"/>
                    </a:lnTo>
                    <a:lnTo>
                      <a:pt x="1266" y="1095"/>
                    </a:lnTo>
                    <a:lnTo>
                      <a:pt x="1266" y="1094"/>
                    </a:lnTo>
                    <a:lnTo>
                      <a:pt x="1264" y="1094"/>
                    </a:lnTo>
                    <a:lnTo>
                      <a:pt x="1263" y="1094"/>
                    </a:lnTo>
                    <a:lnTo>
                      <a:pt x="1261" y="1092"/>
                    </a:lnTo>
                    <a:lnTo>
                      <a:pt x="1261" y="1094"/>
                    </a:lnTo>
                    <a:lnTo>
                      <a:pt x="1261" y="1095"/>
                    </a:lnTo>
                    <a:lnTo>
                      <a:pt x="1263" y="1095"/>
                    </a:lnTo>
                    <a:lnTo>
                      <a:pt x="1263" y="1097"/>
                    </a:lnTo>
                    <a:lnTo>
                      <a:pt x="1261" y="1097"/>
                    </a:lnTo>
                    <a:lnTo>
                      <a:pt x="1263" y="1097"/>
                    </a:lnTo>
                    <a:lnTo>
                      <a:pt x="1261" y="1099"/>
                    </a:lnTo>
                    <a:lnTo>
                      <a:pt x="1263" y="1099"/>
                    </a:lnTo>
                    <a:lnTo>
                      <a:pt x="1263" y="1100"/>
                    </a:lnTo>
                    <a:lnTo>
                      <a:pt x="1263" y="1099"/>
                    </a:lnTo>
                    <a:lnTo>
                      <a:pt x="1264" y="1100"/>
                    </a:lnTo>
                    <a:lnTo>
                      <a:pt x="1266" y="1100"/>
                    </a:lnTo>
                    <a:lnTo>
                      <a:pt x="1266" y="1102"/>
                    </a:lnTo>
                    <a:lnTo>
                      <a:pt x="1268" y="1102"/>
                    </a:lnTo>
                    <a:lnTo>
                      <a:pt x="1268" y="1100"/>
                    </a:lnTo>
                    <a:lnTo>
                      <a:pt x="1270" y="1100"/>
                    </a:lnTo>
                    <a:lnTo>
                      <a:pt x="1271" y="1102"/>
                    </a:lnTo>
                    <a:lnTo>
                      <a:pt x="1271" y="1100"/>
                    </a:lnTo>
                    <a:lnTo>
                      <a:pt x="1273" y="1102"/>
                    </a:lnTo>
                    <a:lnTo>
                      <a:pt x="1275" y="1102"/>
                    </a:lnTo>
                    <a:lnTo>
                      <a:pt x="1275" y="1104"/>
                    </a:lnTo>
                    <a:lnTo>
                      <a:pt x="1276" y="1102"/>
                    </a:lnTo>
                    <a:lnTo>
                      <a:pt x="1276" y="1104"/>
                    </a:lnTo>
                    <a:lnTo>
                      <a:pt x="1278" y="1104"/>
                    </a:lnTo>
                    <a:lnTo>
                      <a:pt x="1280" y="1104"/>
                    </a:lnTo>
                    <a:lnTo>
                      <a:pt x="1278" y="1104"/>
                    </a:lnTo>
                    <a:lnTo>
                      <a:pt x="1278" y="1105"/>
                    </a:lnTo>
                    <a:lnTo>
                      <a:pt x="1280" y="1107"/>
                    </a:lnTo>
                    <a:lnTo>
                      <a:pt x="1280" y="1109"/>
                    </a:lnTo>
                    <a:lnTo>
                      <a:pt x="1281" y="1109"/>
                    </a:lnTo>
                    <a:lnTo>
                      <a:pt x="1281" y="1111"/>
                    </a:lnTo>
                    <a:lnTo>
                      <a:pt x="1283" y="1112"/>
                    </a:lnTo>
                    <a:lnTo>
                      <a:pt x="1283" y="1114"/>
                    </a:lnTo>
                    <a:lnTo>
                      <a:pt x="1285" y="1114"/>
                    </a:lnTo>
                    <a:lnTo>
                      <a:pt x="1285" y="1116"/>
                    </a:lnTo>
                    <a:lnTo>
                      <a:pt x="1287" y="1116"/>
                    </a:lnTo>
                    <a:lnTo>
                      <a:pt x="1285" y="1117"/>
                    </a:lnTo>
                    <a:lnTo>
                      <a:pt x="1287" y="1117"/>
                    </a:lnTo>
                    <a:lnTo>
                      <a:pt x="1287" y="1119"/>
                    </a:lnTo>
                    <a:lnTo>
                      <a:pt x="1287" y="1121"/>
                    </a:lnTo>
                    <a:lnTo>
                      <a:pt x="1285" y="1121"/>
                    </a:lnTo>
                    <a:lnTo>
                      <a:pt x="1283" y="1121"/>
                    </a:lnTo>
                    <a:lnTo>
                      <a:pt x="1283" y="1122"/>
                    </a:lnTo>
                    <a:lnTo>
                      <a:pt x="1281" y="1122"/>
                    </a:lnTo>
                    <a:lnTo>
                      <a:pt x="1280" y="1122"/>
                    </a:lnTo>
                    <a:lnTo>
                      <a:pt x="1280" y="1124"/>
                    </a:lnTo>
                    <a:lnTo>
                      <a:pt x="1280" y="1126"/>
                    </a:lnTo>
                    <a:lnTo>
                      <a:pt x="1281" y="1128"/>
                    </a:lnTo>
                    <a:lnTo>
                      <a:pt x="1280" y="1128"/>
                    </a:lnTo>
                    <a:lnTo>
                      <a:pt x="1280" y="1129"/>
                    </a:lnTo>
                    <a:lnTo>
                      <a:pt x="1278" y="1129"/>
                    </a:lnTo>
                    <a:lnTo>
                      <a:pt x="1276" y="1129"/>
                    </a:lnTo>
                    <a:lnTo>
                      <a:pt x="1275" y="1129"/>
                    </a:lnTo>
                    <a:lnTo>
                      <a:pt x="1273" y="1129"/>
                    </a:lnTo>
                    <a:lnTo>
                      <a:pt x="1273" y="1131"/>
                    </a:lnTo>
                    <a:lnTo>
                      <a:pt x="1271" y="1131"/>
                    </a:lnTo>
                    <a:lnTo>
                      <a:pt x="1271" y="1133"/>
                    </a:lnTo>
                    <a:lnTo>
                      <a:pt x="1273" y="1133"/>
                    </a:lnTo>
                    <a:lnTo>
                      <a:pt x="1271" y="1134"/>
                    </a:lnTo>
                    <a:lnTo>
                      <a:pt x="1271" y="1136"/>
                    </a:lnTo>
                    <a:lnTo>
                      <a:pt x="1271" y="1138"/>
                    </a:lnTo>
                    <a:lnTo>
                      <a:pt x="1271" y="1140"/>
                    </a:lnTo>
                    <a:lnTo>
                      <a:pt x="1271" y="1141"/>
                    </a:lnTo>
                    <a:lnTo>
                      <a:pt x="1271" y="1143"/>
                    </a:lnTo>
                    <a:lnTo>
                      <a:pt x="1273" y="1143"/>
                    </a:lnTo>
                    <a:lnTo>
                      <a:pt x="1271" y="1145"/>
                    </a:lnTo>
                    <a:lnTo>
                      <a:pt x="1273" y="1146"/>
                    </a:lnTo>
                    <a:lnTo>
                      <a:pt x="1273" y="1145"/>
                    </a:lnTo>
                    <a:lnTo>
                      <a:pt x="1273" y="1146"/>
                    </a:lnTo>
                    <a:lnTo>
                      <a:pt x="1275" y="1146"/>
                    </a:lnTo>
                    <a:lnTo>
                      <a:pt x="1276" y="1148"/>
                    </a:lnTo>
                    <a:lnTo>
                      <a:pt x="1276" y="1150"/>
                    </a:lnTo>
                    <a:lnTo>
                      <a:pt x="1276" y="1151"/>
                    </a:lnTo>
                    <a:lnTo>
                      <a:pt x="1276" y="1153"/>
                    </a:lnTo>
                    <a:lnTo>
                      <a:pt x="1275" y="1153"/>
                    </a:lnTo>
                    <a:lnTo>
                      <a:pt x="1275" y="1155"/>
                    </a:lnTo>
                    <a:lnTo>
                      <a:pt x="1275" y="1157"/>
                    </a:lnTo>
                    <a:lnTo>
                      <a:pt x="1273" y="1157"/>
                    </a:lnTo>
                    <a:lnTo>
                      <a:pt x="1271" y="1157"/>
                    </a:lnTo>
                    <a:lnTo>
                      <a:pt x="1271" y="1158"/>
                    </a:lnTo>
                    <a:lnTo>
                      <a:pt x="1270" y="1158"/>
                    </a:lnTo>
                    <a:lnTo>
                      <a:pt x="1268" y="1158"/>
                    </a:lnTo>
                    <a:lnTo>
                      <a:pt x="1266" y="1160"/>
                    </a:lnTo>
                    <a:lnTo>
                      <a:pt x="1268" y="1160"/>
                    </a:lnTo>
                    <a:lnTo>
                      <a:pt x="1268" y="1162"/>
                    </a:lnTo>
                    <a:lnTo>
                      <a:pt x="1270" y="1162"/>
                    </a:lnTo>
                    <a:lnTo>
                      <a:pt x="1271" y="1162"/>
                    </a:lnTo>
                    <a:lnTo>
                      <a:pt x="1271" y="1163"/>
                    </a:lnTo>
                    <a:lnTo>
                      <a:pt x="1273" y="1165"/>
                    </a:lnTo>
                    <a:lnTo>
                      <a:pt x="1273" y="1167"/>
                    </a:lnTo>
                    <a:lnTo>
                      <a:pt x="1273" y="1168"/>
                    </a:lnTo>
                    <a:lnTo>
                      <a:pt x="1273" y="1170"/>
                    </a:lnTo>
                    <a:lnTo>
                      <a:pt x="1273" y="1174"/>
                    </a:lnTo>
                    <a:lnTo>
                      <a:pt x="1275" y="1177"/>
                    </a:lnTo>
                    <a:lnTo>
                      <a:pt x="1275" y="1179"/>
                    </a:lnTo>
                    <a:lnTo>
                      <a:pt x="1275" y="1180"/>
                    </a:lnTo>
                    <a:lnTo>
                      <a:pt x="1275" y="1182"/>
                    </a:lnTo>
                    <a:lnTo>
                      <a:pt x="1276" y="1184"/>
                    </a:lnTo>
                    <a:lnTo>
                      <a:pt x="1275" y="1184"/>
                    </a:lnTo>
                    <a:lnTo>
                      <a:pt x="1276" y="1185"/>
                    </a:lnTo>
                    <a:lnTo>
                      <a:pt x="1275" y="1187"/>
                    </a:lnTo>
                    <a:lnTo>
                      <a:pt x="1273" y="1187"/>
                    </a:lnTo>
                    <a:lnTo>
                      <a:pt x="1273" y="1189"/>
                    </a:lnTo>
                    <a:lnTo>
                      <a:pt x="1271" y="1189"/>
                    </a:lnTo>
                    <a:lnTo>
                      <a:pt x="1271" y="1191"/>
                    </a:lnTo>
                    <a:lnTo>
                      <a:pt x="1270" y="1191"/>
                    </a:lnTo>
                    <a:lnTo>
                      <a:pt x="1270" y="1192"/>
                    </a:lnTo>
                    <a:lnTo>
                      <a:pt x="1268" y="1192"/>
                    </a:lnTo>
                    <a:lnTo>
                      <a:pt x="1266" y="1192"/>
                    </a:lnTo>
                    <a:lnTo>
                      <a:pt x="1264" y="1192"/>
                    </a:lnTo>
                    <a:lnTo>
                      <a:pt x="1266" y="1194"/>
                    </a:lnTo>
                    <a:lnTo>
                      <a:pt x="1266" y="1196"/>
                    </a:lnTo>
                    <a:lnTo>
                      <a:pt x="1264" y="1196"/>
                    </a:lnTo>
                    <a:lnTo>
                      <a:pt x="1264" y="1197"/>
                    </a:lnTo>
                    <a:lnTo>
                      <a:pt x="1264" y="1199"/>
                    </a:lnTo>
                    <a:lnTo>
                      <a:pt x="1266" y="1199"/>
                    </a:lnTo>
                    <a:lnTo>
                      <a:pt x="1264" y="1201"/>
                    </a:lnTo>
                    <a:lnTo>
                      <a:pt x="1266" y="1201"/>
                    </a:lnTo>
                    <a:lnTo>
                      <a:pt x="1268" y="1201"/>
                    </a:lnTo>
                    <a:lnTo>
                      <a:pt x="1268" y="1202"/>
                    </a:lnTo>
                    <a:lnTo>
                      <a:pt x="1266" y="1204"/>
                    </a:lnTo>
                    <a:lnTo>
                      <a:pt x="1264" y="1206"/>
                    </a:lnTo>
                    <a:lnTo>
                      <a:pt x="1266" y="1206"/>
                    </a:lnTo>
                    <a:lnTo>
                      <a:pt x="1268" y="1208"/>
                    </a:lnTo>
                    <a:lnTo>
                      <a:pt x="1268" y="1209"/>
                    </a:lnTo>
                    <a:lnTo>
                      <a:pt x="1270" y="1209"/>
                    </a:lnTo>
                    <a:lnTo>
                      <a:pt x="1268" y="1209"/>
                    </a:lnTo>
                    <a:lnTo>
                      <a:pt x="1268" y="1211"/>
                    </a:lnTo>
                    <a:lnTo>
                      <a:pt x="1268" y="1213"/>
                    </a:lnTo>
                    <a:lnTo>
                      <a:pt x="1266" y="1213"/>
                    </a:lnTo>
                    <a:lnTo>
                      <a:pt x="1264" y="1213"/>
                    </a:lnTo>
                    <a:lnTo>
                      <a:pt x="1263" y="1211"/>
                    </a:lnTo>
                    <a:lnTo>
                      <a:pt x="1264" y="1213"/>
                    </a:lnTo>
                    <a:lnTo>
                      <a:pt x="1263" y="1214"/>
                    </a:lnTo>
                    <a:lnTo>
                      <a:pt x="1264" y="1216"/>
                    </a:lnTo>
                    <a:lnTo>
                      <a:pt x="1263" y="1216"/>
                    </a:lnTo>
                    <a:lnTo>
                      <a:pt x="1263" y="1218"/>
                    </a:lnTo>
                    <a:lnTo>
                      <a:pt x="1261" y="1218"/>
                    </a:lnTo>
                    <a:lnTo>
                      <a:pt x="1259" y="1218"/>
                    </a:lnTo>
                    <a:lnTo>
                      <a:pt x="1259" y="1219"/>
                    </a:lnTo>
                    <a:lnTo>
                      <a:pt x="1258" y="1221"/>
                    </a:lnTo>
                    <a:lnTo>
                      <a:pt x="1258" y="1223"/>
                    </a:lnTo>
                    <a:lnTo>
                      <a:pt x="1256" y="1221"/>
                    </a:lnTo>
                    <a:lnTo>
                      <a:pt x="1256" y="1223"/>
                    </a:lnTo>
                    <a:lnTo>
                      <a:pt x="1254" y="1223"/>
                    </a:lnTo>
                    <a:lnTo>
                      <a:pt x="1254" y="1225"/>
                    </a:lnTo>
                    <a:lnTo>
                      <a:pt x="1253" y="1225"/>
                    </a:lnTo>
                    <a:lnTo>
                      <a:pt x="1253" y="1226"/>
                    </a:lnTo>
                    <a:lnTo>
                      <a:pt x="1253" y="1225"/>
                    </a:lnTo>
                    <a:lnTo>
                      <a:pt x="1253" y="1226"/>
                    </a:lnTo>
                    <a:lnTo>
                      <a:pt x="1254" y="1226"/>
                    </a:lnTo>
                    <a:lnTo>
                      <a:pt x="1254" y="1228"/>
                    </a:lnTo>
                    <a:lnTo>
                      <a:pt x="1253" y="1228"/>
                    </a:lnTo>
                    <a:lnTo>
                      <a:pt x="1253" y="1230"/>
                    </a:lnTo>
                    <a:lnTo>
                      <a:pt x="1253" y="1231"/>
                    </a:lnTo>
                    <a:lnTo>
                      <a:pt x="1253" y="1233"/>
                    </a:lnTo>
                    <a:lnTo>
                      <a:pt x="1251" y="1233"/>
                    </a:lnTo>
                    <a:lnTo>
                      <a:pt x="1251" y="1235"/>
                    </a:lnTo>
                    <a:lnTo>
                      <a:pt x="1249" y="1235"/>
                    </a:lnTo>
                    <a:lnTo>
                      <a:pt x="1249" y="1236"/>
                    </a:lnTo>
                    <a:lnTo>
                      <a:pt x="1249" y="1238"/>
                    </a:lnTo>
                    <a:lnTo>
                      <a:pt x="1251" y="1238"/>
                    </a:lnTo>
                    <a:lnTo>
                      <a:pt x="1251" y="1240"/>
                    </a:lnTo>
                    <a:lnTo>
                      <a:pt x="1249" y="1240"/>
                    </a:lnTo>
                    <a:lnTo>
                      <a:pt x="1247" y="1240"/>
                    </a:lnTo>
                    <a:lnTo>
                      <a:pt x="1246" y="1238"/>
                    </a:lnTo>
                    <a:lnTo>
                      <a:pt x="1246" y="1240"/>
                    </a:lnTo>
                    <a:lnTo>
                      <a:pt x="1247" y="1240"/>
                    </a:lnTo>
                    <a:lnTo>
                      <a:pt x="1247" y="1242"/>
                    </a:lnTo>
                    <a:lnTo>
                      <a:pt x="1247" y="1243"/>
                    </a:lnTo>
                    <a:lnTo>
                      <a:pt x="1247" y="1245"/>
                    </a:lnTo>
                    <a:lnTo>
                      <a:pt x="1247" y="1247"/>
                    </a:lnTo>
                    <a:lnTo>
                      <a:pt x="1246" y="1247"/>
                    </a:lnTo>
                    <a:lnTo>
                      <a:pt x="1246" y="1248"/>
                    </a:lnTo>
                    <a:lnTo>
                      <a:pt x="1247" y="1250"/>
                    </a:lnTo>
                    <a:lnTo>
                      <a:pt x="1249" y="1250"/>
                    </a:lnTo>
                    <a:lnTo>
                      <a:pt x="1249" y="1252"/>
                    </a:lnTo>
                    <a:lnTo>
                      <a:pt x="1249" y="1253"/>
                    </a:lnTo>
                    <a:lnTo>
                      <a:pt x="1249" y="1255"/>
                    </a:lnTo>
                    <a:lnTo>
                      <a:pt x="1251" y="1255"/>
                    </a:lnTo>
                    <a:lnTo>
                      <a:pt x="1251" y="1257"/>
                    </a:lnTo>
                    <a:lnTo>
                      <a:pt x="1253" y="1257"/>
                    </a:lnTo>
                    <a:lnTo>
                      <a:pt x="1253" y="1259"/>
                    </a:lnTo>
                    <a:lnTo>
                      <a:pt x="1254" y="1259"/>
                    </a:lnTo>
                    <a:lnTo>
                      <a:pt x="1253" y="1260"/>
                    </a:lnTo>
                    <a:lnTo>
                      <a:pt x="1254" y="1262"/>
                    </a:lnTo>
                    <a:lnTo>
                      <a:pt x="1253" y="1262"/>
                    </a:lnTo>
                    <a:lnTo>
                      <a:pt x="1253" y="1264"/>
                    </a:lnTo>
                    <a:lnTo>
                      <a:pt x="1254" y="1264"/>
                    </a:lnTo>
                    <a:lnTo>
                      <a:pt x="1254" y="1265"/>
                    </a:lnTo>
                    <a:lnTo>
                      <a:pt x="1256" y="1267"/>
                    </a:lnTo>
                    <a:lnTo>
                      <a:pt x="1256" y="1269"/>
                    </a:lnTo>
                    <a:lnTo>
                      <a:pt x="1254" y="1269"/>
                    </a:lnTo>
                    <a:lnTo>
                      <a:pt x="1254" y="1270"/>
                    </a:lnTo>
                    <a:lnTo>
                      <a:pt x="1253" y="1269"/>
                    </a:lnTo>
                    <a:lnTo>
                      <a:pt x="1253" y="1270"/>
                    </a:lnTo>
                    <a:lnTo>
                      <a:pt x="1253" y="1269"/>
                    </a:lnTo>
                    <a:lnTo>
                      <a:pt x="1251" y="1269"/>
                    </a:lnTo>
                    <a:lnTo>
                      <a:pt x="1251" y="1270"/>
                    </a:lnTo>
                    <a:lnTo>
                      <a:pt x="1253" y="1270"/>
                    </a:lnTo>
                    <a:lnTo>
                      <a:pt x="1251" y="1272"/>
                    </a:lnTo>
                    <a:lnTo>
                      <a:pt x="1249" y="1272"/>
                    </a:lnTo>
                    <a:lnTo>
                      <a:pt x="1249" y="1274"/>
                    </a:lnTo>
                    <a:lnTo>
                      <a:pt x="1251" y="1274"/>
                    </a:lnTo>
                    <a:lnTo>
                      <a:pt x="1251" y="1276"/>
                    </a:lnTo>
                    <a:lnTo>
                      <a:pt x="1249" y="1277"/>
                    </a:lnTo>
                    <a:lnTo>
                      <a:pt x="1247" y="1277"/>
                    </a:lnTo>
                    <a:lnTo>
                      <a:pt x="1246" y="1277"/>
                    </a:lnTo>
                    <a:lnTo>
                      <a:pt x="1246" y="1276"/>
                    </a:lnTo>
                    <a:lnTo>
                      <a:pt x="1244" y="1276"/>
                    </a:lnTo>
                    <a:lnTo>
                      <a:pt x="1244" y="1277"/>
                    </a:lnTo>
                    <a:lnTo>
                      <a:pt x="1246" y="1284"/>
                    </a:lnTo>
                    <a:lnTo>
                      <a:pt x="1246" y="1288"/>
                    </a:lnTo>
                    <a:lnTo>
                      <a:pt x="1246" y="1289"/>
                    </a:lnTo>
                    <a:lnTo>
                      <a:pt x="1246" y="1291"/>
                    </a:lnTo>
                    <a:lnTo>
                      <a:pt x="1246" y="1293"/>
                    </a:lnTo>
                    <a:lnTo>
                      <a:pt x="1244" y="1293"/>
                    </a:lnTo>
                    <a:lnTo>
                      <a:pt x="1242" y="1294"/>
                    </a:lnTo>
                    <a:lnTo>
                      <a:pt x="1241" y="1296"/>
                    </a:lnTo>
                    <a:lnTo>
                      <a:pt x="1241" y="1298"/>
                    </a:lnTo>
                    <a:lnTo>
                      <a:pt x="1239" y="1298"/>
                    </a:lnTo>
                    <a:lnTo>
                      <a:pt x="1237" y="1299"/>
                    </a:lnTo>
                    <a:lnTo>
                      <a:pt x="1237" y="1301"/>
                    </a:lnTo>
                    <a:lnTo>
                      <a:pt x="1236" y="1301"/>
                    </a:lnTo>
                    <a:lnTo>
                      <a:pt x="1234" y="1299"/>
                    </a:lnTo>
                    <a:lnTo>
                      <a:pt x="1232" y="1299"/>
                    </a:lnTo>
                    <a:lnTo>
                      <a:pt x="1232" y="1301"/>
                    </a:lnTo>
                    <a:lnTo>
                      <a:pt x="1230" y="1301"/>
                    </a:lnTo>
                    <a:lnTo>
                      <a:pt x="1230" y="1303"/>
                    </a:lnTo>
                    <a:lnTo>
                      <a:pt x="1230" y="1305"/>
                    </a:lnTo>
                    <a:lnTo>
                      <a:pt x="1230" y="1306"/>
                    </a:lnTo>
                    <a:lnTo>
                      <a:pt x="1229" y="1306"/>
                    </a:lnTo>
                    <a:lnTo>
                      <a:pt x="1229" y="1308"/>
                    </a:lnTo>
                    <a:lnTo>
                      <a:pt x="1227" y="1310"/>
                    </a:lnTo>
                    <a:lnTo>
                      <a:pt x="1225" y="1311"/>
                    </a:lnTo>
                    <a:lnTo>
                      <a:pt x="1225" y="1313"/>
                    </a:lnTo>
                    <a:lnTo>
                      <a:pt x="1225" y="1315"/>
                    </a:lnTo>
                    <a:lnTo>
                      <a:pt x="1225" y="1316"/>
                    </a:lnTo>
                    <a:lnTo>
                      <a:pt x="1227" y="1316"/>
                    </a:lnTo>
                    <a:lnTo>
                      <a:pt x="1227" y="1315"/>
                    </a:lnTo>
                    <a:lnTo>
                      <a:pt x="1227" y="1316"/>
                    </a:lnTo>
                    <a:lnTo>
                      <a:pt x="1229" y="1316"/>
                    </a:lnTo>
                    <a:lnTo>
                      <a:pt x="1227" y="1316"/>
                    </a:lnTo>
                    <a:lnTo>
                      <a:pt x="1213" y="1313"/>
                    </a:lnTo>
                    <a:lnTo>
                      <a:pt x="1213" y="1315"/>
                    </a:lnTo>
                    <a:lnTo>
                      <a:pt x="1213" y="1316"/>
                    </a:lnTo>
                    <a:lnTo>
                      <a:pt x="1215" y="1318"/>
                    </a:lnTo>
                    <a:lnTo>
                      <a:pt x="1217" y="1318"/>
                    </a:lnTo>
                    <a:lnTo>
                      <a:pt x="1215" y="1320"/>
                    </a:lnTo>
                    <a:lnTo>
                      <a:pt x="1215" y="1322"/>
                    </a:lnTo>
                    <a:lnTo>
                      <a:pt x="1215" y="1323"/>
                    </a:lnTo>
                    <a:lnTo>
                      <a:pt x="1213" y="1323"/>
                    </a:lnTo>
                    <a:lnTo>
                      <a:pt x="1213" y="1325"/>
                    </a:lnTo>
                    <a:lnTo>
                      <a:pt x="1213" y="1327"/>
                    </a:lnTo>
                    <a:lnTo>
                      <a:pt x="1213" y="1328"/>
                    </a:lnTo>
                    <a:lnTo>
                      <a:pt x="1212" y="1328"/>
                    </a:lnTo>
                    <a:lnTo>
                      <a:pt x="1212" y="1330"/>
                    </a:lnTo>
                    <a:lnTo>
                      <a:pt x="1212" y="1332"/>
                    </a:lnTo>
                    <a:lnTo>
                      <a:pt x="1213" y="1332"/>
                    </a:lnTo>
                    <a:lnTo>
                      <a:pt x="1213" y="1333"/>
                    </a:lnTo>
                    <a:lnTo>
                      <a:pt x="1215" y="1335"/>
                    </a:lnTo>
                    <a:lnTo>
                      <a:pt x="1213" y="1335"/>
                    </a:lnTo>
                    <a:lnTo>
                      <a:pt x="1213" y="1337"/>
                    </a:lnTo>
                    <a:lnTo>
                      <a:pt x="1213" y="1339"/>
                    </a:lnTo>
                    <a:lnTo>
                      <a:pt x="1213" y="1340"/>
                    </a:lnTo>
                    <a:lnTo>
                      <a:pt x="1215" y="1342"/>
                    </a:lnTo>
                    <a:lnTo>
                      <a:pt x="1215" y="1344"/>
                    </a:lnTo>
                    <a:lnTo>
                      <a:pt x="1213" y="1345"/>
                    </a:lnTo>
                    <a:lnTo>
                      <a:pt x="1213" y="1347"/>
                    </a:lnTo>
                    <a:lnTo>
                      <a:pt x="1213" y="1349"/>
                    </a:lnTo>
                    <a:lnTo>
                      <a:pt x="1212" y="1349"/>
                    </a:lnTo>
                    <a:lnTo>
                      <a:pt x="1212" y="1350"/>
                    </a:lnTo>
                    <a:lnTo>
                      <a:pt x="1212" y="1352"/>
                    </a:lnTo>
                    <a:lnTo>
                      <a:pt x="1213" y="1352"/>
                    </a:lnTo>
                    <a:lnTo>
                      <a:pt x="1212" y="1354"/>
                    </a:lnTo>
                    <a:lnTo>
                      <a:pt x="1212" y="1356"/>
                    </a:lnTo>
                    <a:lnTo>
                      <a:pt x="1212" y="1357"/>
                    </a:lnTo>
                    <a:lnTo>
                      <a:pt x="1213" y="1357"/>
                    </a:lnTo>
                    <a:lnTo>
                      <a:pt x="1213" y="1359"/>
                    </a:lnTo>
                    <a:lnTo>
                      <a:pt x="1212" y="1361"/>
                    </a:lnTo>
                    <a:lnTo>
                      <a:pt x="1212" y="1362"/>
                    </a:lnTo>
                    <a:lnTo>
                      <a:pt x="1212" y="1364"/>
                    </a:lnTo>
                    <a:lnTo>
                      <a:pt x="1212" y="1366"/>
                    </a:lnTo>
                    <a:lnTo>
                      <a:pt x="1210" y="1367"/>
                    </a:lnTo>
                    <a:lnTo>
                      <a:pt x="1212" y="1369"/>
                    </a:lnTo>
                    <a:lnTo>
                      <a:pt x="1212" y="1371"/>
                    </a:lnTo>
                    <a:lnTo>
                      <a:pt x="1213" y="1371"/>
                    </a:lnTo>
                    <a:lnTo>
                      <a:pt x="1213" y="1373"/>
                    </a:lnTo>
                    <a:lnTo>
                      <a:pt x="1213" y="1374"/>
                    </a:lnTo>
                    <a:lnTo>
                      <a:pt x="1215" y="1378"/>
                    </a:lnTo>
                    <a:lnTo>
                      <a:pt x="1217" y="1379"/>
                    </a:lnTo>
                    <a:lnTo>
                      <a:pt x="1215" y="1379"/>
                    </a:lnTo>
                    <a:lnTo>
                      <a:pt x="1217" y="1379"/>
                    </a:lnTo>
                    <a:lnTo>
                      <a:pt x="1219" y="1381"/>
                    </a:lnTo>
                    <a:lnTo>
                      <a:pt x="1217" y="1381"/>
                    </a:lnTo>
                    <a:lnTo>
                      <a:pt x="1219" y="1383"/>
                    </a:lnTo>
                    <a:lnTo>
                      <a:pt x="1219" y="1384"/>
                    </a:lnTo>
                    <a:lnTo>
                      <a:pt x="1220" y="1384"/>
                    </a:lnTo>
                    <a:lnTo>
                      <a:pt x="1220" y="1386"/>
                    </a:lnTo>
                    <a:lnTo>
                      <a:pt x="1220" y="1388"/>
                    </a:lnTo>
                    <a:lnTo>
                      <a:pt x="1222" y="1390"/>
                    </a:lnTo>
                    <a:lnTo>
                      <a:pt x="1224" y="1390"/>
                    </a:lnTo>
                    <a:lnTo>
                      <a:pt x="1224" y="1391"/>
                    </a:lnTo>
                    <a:lnTo>
                      <a:pt x="1222" y="1393"/>
                    </a:lnTo>
                    <a:lnTo>
                      <a:pt x="1220" y="1393"/>
                    </a:lnTo>
                    <a:lnTo>
                      <a:pt x="1220" y="1395"/>
                    </a:lnTo>
                    <a:lnTo>
                      <a:pt x="1220" y="1396"/>
                    </a:lnTo>
                    <a:lnTo>
                      <a:pt x="1220" y="1398"/>
                    </a:lnTo>
                    <a:lnTo>
                      <a:pt x="1222" y="1398"/>
                    </a:lnTo>
                    <a:lnTo>
                      <a:pt x="1224" y="1398"/>
                    </a:lnTo>
                    <a:lnTo>
                      <a:pt x="1225" y="1396"/>
                    </a:lnTo>
                    <a:lnTo>
                      <a:pt x="1227" y="1395"/>
                    </a:lnTo>
                    <a:lnTo>
                      <a:pt x="1227" y="1396"/>
                    </a:lnTo>
                    <a:lnTo>
                      <a:pt x="1229" y="1395"/>
                    </a:lnTo>
                    <a:lnTo>
                      <a:pt x="1230" y="1395"/>
                    </a:lnTo>
                    <a:lnTo>
                      <a:pt x="1232" y="1393"/>
                    </a:lnTo>
                    <a:lnTo>
                      <a:pt x="1232" y="1391"/>
                    </a:lnTo>
                    <a:lnTo>
                      <a:pt x="1234" y="1391"/>
                    </a:lnTo>
                    <a:lnTo>
                      <a:pt x="1234" y="1390"/>
                    </a:lnTo>
                    <a:lnTo>
                      <a:pt x="1236" y="1390"/>
                    </a:lnTo>
                    <a:lnTo>
                      <a:pt x="1237" y="1388"/>
                    </a:lnTo>
                    <a:lnTo>
                      <a:pt x="1239" y="1388"/>
                    </a:lnTo>
                    <a:lnTo>
                      <a:pt x="1241" y="1390"/>
                    </a:lnTo>
                    <a:lnTo>
                      <a:pt x="1241" y="1388"/>
                    </a:lnTo>
                    <a:lnTo>
                      <a:pt x="1242" y="1390"/>
                    </a:lnTo>
                    <a:lnTo>
                      <a:pt x="1244" y="1391"/>
                    </a:lnTo>
                    <a:lnTo>
                      <a:pt x="1244" y="1390"/>
                    </a:lnTo>
                    <a:lnTo>
                      <a:pt x="1244" y="1388"/>
                    </a:lnTo>
                    <a:lnTo>
                      <a:pt x="1246" y="1388"/>
                    </a:lnTo>
                    <a:lnTo>
                      <a:pt x="1247" y="1386"/>
                    </a:lnTo>
                    <a:lnTo>
                      <a:pt x="1249" y="1388"/>
                    </a:lnTo>
                    <a:lnTo>
                      <a:pt x="1251" y="1388"/>
                    </a:lnTo>
                    <a:lnTo>
                      <a:pt x="1253" y="1388"/>
                    </a:lnTo>
                    <a:lnTo>
                      <a:pt x="1253" y="1390"/>
                    </a:lnTo>
                    <a:lnTo>
                      <a:pt x="1254" y="1390"/>
                    </a:lnTo>
                    <a:lnTo>
                      <a:pt x="1254" y="1391"/>
                    </a:lnTo>
                    <a:lnTo>
                      <a:pt x="1253" y="1393"/>
                    </a:lnTo>
                    <a:lnTo>
                      <a:pt x="1253" y="1395"/>
                    </a:lnTo>
                    <a:lnTo>
                      <a:pt x="1253" y="1396"/>
                    </a:lnTo>
                    <a:lnTo>
                      <a:pt x="1254" y="1396"/>
                    </a:lnTo>
                    <a:lnTo>
                      <a:pt x="1254" y="1398"/>
                    </a:lnTo>
                    <a:lnTo>
                      <a:pt x="1254" y="1400"/>
                    </a:lnTo>
                    <a:lnTo>
                      <a:pt x="1256" y="1401"/>
                    </a:lnTo>
                    <a:lnTo>
                      <a:pt x="1256" y="1403"/>
                    </a:lnTo>
                    <a:lnTo>
                      <a:pt x="1254" y="1405"/>
                    </a:lnTo>
                    <a:lnTo>
                      <a:pt x="1254" y="1407"/>
                    </a:lnTo>
                    <a:lnTo>
                      <a:pt x="1254" y="1408"/>
                    </a:lnTo>
                    <a:lnTo>
                      <a:pt x="1254" y="1410"/>
                    </a:lnTo>
                    <a:lnTo>
                      <a:pt x="1253" y="1410"/>
                    </a:lnTo>
                    <a:lnTo>
                      <a:pt x="1253" y="1408"/>
                    </a:lnTo>
                    <a:lnTo>
                      <a:pt x="1251" y="1408"/>
                    </a:lnTo>
                    <a:lnTo>
                      <a:pt x="1251" y="1410"/>
                    </a:lnTo>
                    <a:lnTo>
                      <a:pt x="1251" y="1412"/>
                    </a:lnTo>
                    <a:lnTo>
                      <a:pt x="1249" y="1413"/>
                    </a:lnTo>
                    <a:lnTo>
                      <a:pt x="1251" y="1413"/>
                    </a:lnTo>
                    <a:lnTo>
                      <a:pt x="1251" y="1415"/>
                    </a:lnTo>
                    <a:lnTo>
                      <a:pt x="1251" y="1417"/>
                    </a:lnTo>
                    <a:lnTo>
                      <a:pt x="1253" y="1418"/>
                    </a:lnTo>
                    <a:lnTo>
                      <a:pt x="1254" y="1418"/>
                    </a:lnTo>
                    <a:lnTo>
                      <a:pt x="1254" y="1420"/>
                    </a:lnTo>
                    <a:lnTo>
                      <a:pt x="1254" y="1422"/>
                    </a:lnTo>
                    <a:lnTo>
                      <a:pt x="1254" y="1424"/>
                    </a:lnTo>
                    <a:lnTo>
                      <a:pt x="1253" y="1424"/>
                    </a:lnTo>
                    <a:lnTo>
                      <a:pt x="1253" y="1425"/>
                    </a:lnTo>
                    <a:lnTo>
                      <a:pt x="1251" y="1425"/>
                    </a:lnTo>
                    <a:lnTo>
                      <a:pt x="1253" y="1427"/>
                    </a:lnTo>
                    <a:lnTo>
                      <a:pt x="1253" y="1429"/>
                    </a:lnTo>
                    <a:lnTo>
                      <a:pt x="1253" y="1430"/>
                    </a:lnTo>
                    <a:lnTo>
                      <a:pt x="1253" y="1432"/>
                    </a:lnTo>
                    <a:lnTo>
                      <a:pt x="1253" y="1434"/>
                    </a:lnTo>
                    <a:lnTo>
                      <a:pt x="1253" y="1435"/>
                    </a:lnTo>
                    <a:lnTo>
                      <a:pt x="1251" y="1435"/>
                    </a:lnTo>
                    <a:lnTo>
                      <a:pt x="1249" y="1435"/>
                    </a:lnTo>
                    <a:lnTo>
                      <a:pt x="1251" y="1435"/>
                    </a:lnTo>
                    <a:lnTo>
                      <a:pt x="1249" y="1437"/>
                    </a:lnTo>
                    <a:lnTo>
                      <a:pt x="1249" y="1439"/>
                    </a:lnTo>
                    <a:lnTo>
                      <a:pt x="1251" y="1439"/>
                    </a:lnTo>
                    <a:lnTo>
                      <a:pt x="1253" y="1439"/>
                    </a:lnTo>
                    <a:lnTo>
                      <a:pt x="1253" y="1441"/>
                    </a:lnTo>
                    <a:lnTo>
                      <a:pt x="1254" y="1442"/>
                    </a:lnTo>
                    <a:lnTo>
                      <a:pt x="1254" y="1444"/>
                    </a:lnTo>
                    <a:lnTo>
                      <a:pt x="1254" y="1446"/>
                    </a:lnTo>
                    <a:lnTo>
                      <a:pt x="1256" y="1446"/>
                    </a:lnTo>
                    <a:lnTo>
                      <a:pt x="1258" y="1446"/>
                    </a:lnTo>
                    <a:lnTo>
                      <a:pt x="1258" y="1447"/>
                    </a:lnTo>
                    <a:lnTo>
                      <a:pt x="1259" y="1447"/>
                    </a:lnTo>
                    <a:lnTo>
                      <a:pt x="1259" y="1449"/>
                    </a:lnTo>
                    <a:lnTo>
                      <a:pt x="1261" y="1449"/>
                    </a:lnTo>
                    <a:lnTo>
                      <a:pt x="1261" y="1451"/>
                    </a:lnTo>
                    <a:lnTo>
                      <a:pt x="1263" y="1451"/>
                    </a:lnTo>
                    <a:lnTo>
                      <a:pt x="1263" y="1453"/>
                    </a:lnTo>
                    <a:lnTo>
                      <a:pt x="1264" y="1453"/>
                    </a:lnTo>
                    <a:lnTo>
                      <a:pt x="1264" y="1454"/>
                    </a:lnTo>
                    <a:lnTo>
                      <a:pt x="1266" y="1456"/>
                    </a:lnTo>
                    <a:lnTo>
                      <a:pt x="1266" y="1458"/>
                    </a:lnTo>
                    <a:lnTo>
                      <a:pt x="1264" y="1458"/>
                    </a:lnTo>
                    <a:lnTo>
                      <a:pt x="1264" y="1459"/>
                    </a:lnTo>
                    <a:lnTo>
                      <a:pt x="1263" y="1459"/>
                    </a:lnTo>
                    <a:lnTo>
                      <a:pt x="1263" y="1461"/>
                    </a:lnTo>
                    <a:lnTo>
                      <a:pt x="1264" y="1461"/>
                    </a:lnTo>
                    <a:lnTo>
                      <a:pt x="1266" y="1461"/>
                    </a:lnTo>
                    <a:lnTo>
                      <a:pt x="1266" y="1463"/>
                    </a:lnTo>
                    <a:lnTo>
                      <a:pt x="1275" y="1461"/>
                    </a:lnTo>
                    <a:lnTo>
                      <a:pt x="1283" y="1461"/>
                    </a:lnTo>
                    <a:lnTo>
                      <a:pt x="1285" y="1461"/>
                    </a:lnTo>
                    <a:lnTo>
                      <a:pt x="1288" y="1463"/>
                    </a:lnTo>
                    <a:lnTo>
                      <a:pt x="1302" y="1461"/>
                    </a:lnTo>
                    <a:lnTo>
                      <a:pt x="1309" y="1463"/>
                    </a:lnTo>
                    <a:lnTo>
                      <a:pt x="1314" y="1461"/>
                    </a:lnTo>
                    <a:lnTo>
                      <a:pt x="1319" y="1463"/>
                    </a:lnTo>
                    <a:lnTo>
                      <a:pt x="1331" y="1461"/>
                    </a:lnTo>
                    <a:lnTo>
                      <a:pt x="1334" y="1463"/>
                    </a:lnTo>
                    <a:lnTo>
                      <a:pt x="1336" y="1464"/>
                    </a:lnTo>
                    <a:lnTo>
                      <a:pt x="1338" y="1466"/>
                    </a:lnTo>
                    <a:lnTo>
                      <a:pt x="1341" y="1466"/>
                    </a:lnTo>
                    <a:lnTo>
                      <a:pt x="1344" y="1468"/>
                    </a:lnTo>
                    <a:lnTo>
                      <a:pt x="1348" y="1470"/>
                    </a:lnTo>
                    <a:lnTo>
                      <a:pt x="1349" y="1470"/>
                    </a:lnTo>
                    <a:lnTo>
                      <a:pt x="1351" y="1471"/>
                    </a:lnTo>
                    <a:lnTo>
                      <a:pt x="1355" y="1471"/>
                    </a:lnTo>
                    <a:lnTo>
                      <a:pt x="1358" y="1471"/>
                    </a:lnTo>
                    <a:lnTo>
                      <a:pt x="1360" y="1471"/>
                    </a:lnTo>
                    <a:lnTo>
                      <a:pt x="1361" y="1473"/>
                    </a:lnTo>
                    <a:lnTo>
                      <a:pt x="1363" y="1473"/>
                    </a:lnTo>
                    <a:lnTo>
                      <a:pt x="1365" y="1473"/>
                    </a:lnTo>
                    <a:lnTo>
                      <a:pt x="1366" y="1475"/>
                    </a:lnTo>
                    <a:lnTo>
                      <a:pt x="1368" y="1475"/>
                    </a:lnTo>
                    <a:lnTo>
                      <a:pt x="1372" y="1476"/>
                    </a:lnTo>
                    <a:lnTo>
                      <a:pt x="1373" y="1476"/>
                    </a:lnTo>
                    <a:lnTo>
                      <a:pt x="1373" y="1478"/>
                    </a:lnTo>
                    <a:lnTo>
                      <a:pt x="1375" y="1478"/>
                    </a:lnTo>
                    <a:lnTo>
                      <a:pt x="1377" y="1478"/>
                    </a:lnTo>
                    <a:lnTo>
                      <a:pt x="1378" y="1478"/>
                    </a:lnTo>
                    <a:lnTo>
                      <a:pt x="1378" y="1480"/>
                    </a:lnTo>
                    <a:lnTo>
                      <a:pt x="1380" y="1480"/>
                    </a:lnTo>
                    <a:lnTo>
                      <a:pt x="1382" y="1480"/>
                    </a:lnTo>
                    <a:lnTo>
                      <a:pt x="1383" y="1480"/>
                    </a:lnTo>
                    <a:lnTo>
                      <a:pt x="1385" y="1480"/>
                    </a:lnTo>
                    <a:lnTo>
                      <a:pt x="1385" y="1481"/>
                    </a:lnTo>
                    <a:lnTo>
                      <a:pt x="1385" y="1483"/>
                    </a:lnTo>
                    <a:lnTo>
                      <a:pt x="1383" y="1483"/>
                    </a:lnTo>
                    <a:lnTo>
                      <a:pt x="1383" y="1481"/>
                    </a:lnTo>
                    <a:lnTo>
                      <a:pt x="1382" y="1481"/>
                    </a:lnTo>
                    <a:lnTo>
                      <a:pt x="1382" y="1480"/>
                    </a:lnTo>
                    <a:lnTo>
                      <a:pt x="1380" y="1481"/>
                    </a:lnTo>
                    <a:lnTo>
                      <a:pt x="1378" y="1480"/>
                    </a:lnTo>
                    <a:lnTo>
                      <a:pt x="1377" y="1480"/>
                    </a:lnTo>
                    <a:lnTo>
                      <a:pt x="1375" y="1480"/>
                    </a:lnTo>
                    <a:lnTo>
                      <a:pt x="1373" y="1480"/>
                    </a:lnTo>
                    <a:lnTo>
                      <a:pt x="1373" y="1478"/>
                    </a:lnTo>
                    <a:lnTo>
                      <a:pt x="1372" y="1480"/>
                    </a:lnTo>
                    <a:lnTo>
                      <a:pt x="1372" y="1478"/>
                    </a:lnTo>
                    <a:lnTo>
                      <a:pt x="1370" y="1480"/>
                    </a:lnTo>
                    <a:lnTo>
                      <a:pt x="1368" y="1478"/>
                    </a:lnTo>
                    <a:lnTo>
                      <a:pt x="1366" y="1478"/>
                    </a:lnTo>
                    <a:lnTo>
                      <a:pt x="1365" y="1476"/>
                    </a:lnTo>
                    <a:lnTo>
                      <a:pt x="1363" y="1475"/>
                    </a:lnTo>
                    <a:lnTo>
                      <a:pt x="1361" y="1475"/>
                    </a:lnTo>
                    <a:lnTo>
                      <a:pt x="1361" y="1473"/>
                    </a:lnTo>
                    <a:lnTo>
                      <a:pt x="1360" y="1473"/>
                    </a:lnTo>
                    <a:lnTo>
                      <a:pt x="1358" y="1473"/>
                    </a:lnTo>
                    <a:lnTo>
                      <a:pt x="1356" y="1473"/>
                    </a:lnTo>
                    <a:lnTo>
                      <a:pt x="1356" y="1475"/>
                    </a:lnTo>
                    <a:lnTo>
                      <a:pt x="1355" y="1475"/>
                    </a:lnTo>
                    <a:lnTo>
                      <a:pt x="1353" y="1475"/>
                    </a:lnTo>
                    <a:lnTo>
                      <a:pt x="1353" y="1476"/>
                    </a:lnTo>
                    <a:lnTo>
                      <a:pt x="1351" y="1476"/>
                    </a:lnTo>
                    <a:lnTo>
                      <a:pt x="1349" y="1476"/>
                    </a:lnTo>
                    <a:lnTo>
                      <a:pt x="1349" y="1478"/>
                    </a:lnTo>
                    <a:lnTo>
                      <a:pt x="1349" y="1480"/>
                    </a:lnTo>
                    <a:lnTo>
                      <a:pt x="1348" y="1480"/>
                    </a:lnTo>
                    <a:lnTo>
                      <a:pt x="1349" y="1481"/>
                    </a:lnTo>
                    <a:lnTo>
                      <a:pt x="1348" y="1481"/>
                    </a:lnTo>
                    <a:lnTo>
                      <a:pt x="1349" y="1483"/>
                    </a:lnTo>
                    <a:lnTo>
                      <a:pt x="1348" y="1483"/>
                    </a:lnTo>
                    <a:lnTo>
                      <a:pt x="1346" y="1485"/>
                    </a:lnTo>
                    <a:lnTo>
                      <a:pt x="1346" y="1487"/>
                    </a:lnTo>
                    <a:lnTo>
                      <a:pt x="1346" y="1488"/>
                    </a:lnTo>
                    <a:lnTo>
                      <a:pt x="1344" y="1488"/>
                    </a:lnTo>
                    <a:lnTo>
                      <a:pt x="1344" y="1490"/>
                    </a:lnTo>
                    <a:lnTo>
                      <a:pt x="1343" y="1492"/>
                    </a:lnTo>
                    <a:lnTo>
                      <a:pt x="1341" y="1492"/>
                    </a:lnTo>
                    <a:lnTo>
                      <a:pt x="1339" y="1492"/>
                    </a:lnTo>
                    <a:lnTo>
                      <a:pt x="1338" y="1490"/>
                    </a:lnTo>
                    <a:lnTo>
                      <a:pt x="1338" y="1488"/>
                    </a:lnTo>
                    <a:lnTo>
                      <a:pt x="1336" y="1488"/>
                    </a:lnTo>
                    <a:lnTo>
                      <a:pt x="1336" y="1490"/>
                    </a:lnTo>
                    <a:lnTo>
                      <a:pt x="1334" y="1490"/>
                    </a:lnTo>
                    <a:lnTo>
                      <a:pt x="1332" y="1492"/>
                    </a:lnTo>
                    <a:lnTo>
                      <a:pt x="1331" y="1492"/>
                    </a:lnTo>
                    <a:lnTo>
                      <a:pt x="1331" y="1493"/>
                    </a:lnTo>
                    <a:lnTo>
                      <a:pt x="1329" y="1493"/>
                    </a:lnTo>
                    <a:lnTo>
                      <a:pt x="1327" y="1493"/>
                    </a:lnTo>
                    <a:lnTo>
                      <a:pt x="1326" y="1495"/>
                    </a:lnTo>
                    <a:lnTo>
                      <a:pt x="1324" y="1495"/>
                    </a:lnTo>
                    <a:lnTo>
                      <a:pt x="1324" y="1497"/>
                    </a:lnTo>
                    <a:lnTo>
                      <a:pt x="1324" y="1498"/>
                    </a:lnTo>
                    <a:lnTo>
                      <a:pt x="1324" y="1497"/>
                    </a:lnTo>
                    <a:lnTo>
                      <a:pt x="1322" y="1497"/>
                    </a:lnTo>
                    <a:lnTo>
                      <a:pt x="1321" y="1497"/>
                    </a:lnTo>
                    <a:lnTo>
                      <a:pt x="1321" y="1498"/>
                    </a:lnTo>
                    <a:lnTo>
                      <a:pt x="1319" y="1498"/>
                    </a:lnTo>
                    <a:lnTo>
                      <a:pt x="1317" y="1500"/>
                    </a:lnTo>
                    <a:lnTo>
                      <a:pt x="1315" y="1500"/>
                    </a:lnTo>
                    <a:lnTo>
                      <a:pt x="1314" y="1502"/>
                    </a:lnTo>
                    <a:lnTo>
                      <a:pt x="1312" y="1502"/>
                    </a:lnTo>
                    <a:lnTo>
                      <a:pt x="1312" y="1500"/>
                    </a:lnTo>
                    <a:lnTo>
                      <a:pt x="1314" y="1500"/>
                    </a:lnTo>
                    <a:lnTo>
                      <a:pt x="1314" y="1498"/>
                    </a:lnTo>
                    <a:lnTo>
                      <a:pt x="1312" y="1498"/>
                    </a:lnTo>
                    <a:lnTo>
                      <a:pt x="1312" y="1500"/>
                    </a:lnTo>
                    <a:lnTo>
                      <a:pt x="1310" y="1502"/>
                    </a:lnTo>
                    <a:lnTo>
                      <a:pt x="1310" y="1500"/>
                    </a:lnTo>
                    <a:lnTo>
                      <a:pt x="1309" y="1502"/>
                    </a:lnTo>
                    <a:lnTo>
                      <a:pt x="1307" y="1502"/>
                    </a:lnTo>
                    <a:lnTo>
                      <a:pt x="1309" y="1504"/>
                    </a:lnTo>
                    <a:lnTo>
                      <a:pt x="1307" y="1504"/>
                    </a:lnTo>
                    <a:lnTo>
                      <a:pt x="1307" y="1502"/>
                    </a:lnTo>
                    <a:lnTo>
                      <a:pt x="1305" y="1502"/>
                    </a:lnTo>
                    <a:lnTo>
                      <a:pt x="1305" y="1504"/>
                    </a:lnTo>
                    <a:lnTo>
                      <a:pt x="1304" y="1504"/>
                    </a:lnTo>
                    <a:lnTo>
                      <a:pt x="1304" y="1502"/>
                    </a:lnTo>
                    <a:lnTo>
                      <a:pt x="1302" y="1502"/>
                    </a:lnTo>
                    <a:lnTo>
                      <a:pt x="1304" y="1502"/>
                    </a:lnTo>
                    <a:lnTo>
                      <a:pt x="1302" y="1502"/>
                    </a:lnTo>
                    <a:lnTo>
                      <a:pt x="1302" y="1504"/>
                    </a:lnTo>
                    <a:lnTo>
                      <a:pt x="1304" y="1504"/>
                    </a:lnTo>
                    <a:lnTo>
                      <a:pt x="1305" y="1504"/>
                    </a:lnTo>
                    <a:lnTo>
                      <a:pt x="1304" y="1505"/>
                    </a:lnTo>
                    <a:lnTo>
                      <a:pt x="1305" y="1505"/>
                    </a:lnTo>
                    <a:lnTo>
                      <a:pt x="1307" y="1505"/>
                    </a:lnTo>
                    <a:lnTo>
                      <a:pt x="1305" y="1507"/>
                    </a:lnTo>
                    <a:lnTo>
                      <a:pt x="1304" y="1507"/>
                    </a:lnTo>
                    <a:lnTo>
                      <a:pt x="1304" y="1509"/>
                    </a:lnTo>
                    <a:lnTo>
                      <a:pt x="1304" y="1507"/>
                    </a:lnTo>
                    <a:lnTo>
                      <a:pt x="1304" y="1509"/>
                    </a:lnTo>
                    <a:lnTo>
                      <a:pt x="1304" y="1510"/>
                    </a:lnTo>
                    <a:lnTo>
                      <a:pt x="1304" y="1512"/>
                    </a:lnTo>
                    <a:lnTo>
                      <a:pt x="1302" y="1512"/>
                    </a:lnTo>
                    <a:lnTo>
                      <a:pt x="1302" y="1514"/>
                    </a:lnTo>
                    <a:lnTo>
                      <a:pt x="1304" y="1514"/>
                    </a:lnTo>
                    <a:lnTo>
                      <a:pt x="1305" y="1514"/>
                    </a:lnTo>
                    <a:lnTo>
                      <a:pt x="1304" y="1515"/>
                    </a:lnTo>
                    <a:lnTo>
                      <a:pt x="1304" y="1517"/>
                    </a:lnTo>
                    <a:lnTo>
                      <a:pt x="1304" y="1519"/>
                    </a:lnTo>
                    <a:lnTo>
                      <a:pt x="1304" y="1521"/>
                    </a:lnTo>
                    <a:lnTo>
                      <a:pt x="1302" y="1521"/>
                    </a:lnTo>
                    <a:lnTo>
                      <a:pt x="1302" y="1522"/>
                    </a:lnTo>
                    <a:lnTo>
                      <a:pt x="1302" y="1524"/>
                    </a:lnTo>
                    <a:lnTo>
                      <a:pt x="1302" y="1526"/>
                    </a:lnTo>
                    <a:lnTo>
                      <a:pt x="1302" y="1527"/>
                    </a:lnTo>
                    <a:lnTo>
                      <a:pt x="1300" y="1527"/>
                    </a:lnTo>
                    <a:lnTo>
                      <a:pt x="1300" y="1529"/>
                    </a:lnTo>
                    <a:lnTo>
                      <a:pt x="1300" y="1531"/>
                    </a:lnTo>
                    <a:lnTo>
                      <a:pt x="1298" y="1532"/>
                    </a:lnTo>
                    <a:lnTo>
                      <a:pt x="1300" y="1532"/>
                    </a:lnTo>
                    <a:lnTo>
                      <a:pt x="1300" y="1534"/>
                    </a:lnTo>
                    <a:lnTo>
                      <a:pt x="1300" y="1536"/>
                    </a:lnTo>
                    <a:lnTo>
                      <a:pt x="1298" y="1538"/>
                    </a:lnTo>
                    <a:lnTo>
                      <a:pt x="1298" y="1539"/>
                    </a:lnTo>
                    <a:lnTo>
                      <a:pt x="1298" y="1541"/>
                    </a:lnTo>
                    <a:lnTo>
                      <a:pt x="1298" y="1543"/>
                    </a:lnTo>
                    <a:lnTo>
                      <a:pt x="1298" y="1544"/>
                    </a:lnTo>
                    <a:lnTo>
                      <a:pt x="1298" y="1546"/>
                    </a:lnTo>
                    <a:lnTo>
                      <a:pt x="1300" y="1548"/>
                    </a:lnTo>
                    <a:lnTo>
                      <a:pt x="1300" y="1549"/>
                    </a:lnTo>
                    <a:lnTo>
                      <a:pt x="1300" y="1551"/>
                    </a:lnTo>
                    <a:lnTo>
                      <a:pt x="1300" y="1553"/>
                    </a:lnTo>
                    <a:lnTo>
                      <a:pt x="1298" y="1553"/>
                    </a:lnTo>
                    <a:lnTo>
                      <a:pt x="1300" y="1555"/>
                    </a:lnTo>
                    <a:lnTo>
                      <a:pt x="1298" y="1556"/>
                    </a:lnTo>
                    <a:lnTo>
                      <a:pt x="1298" y="1558"/>
                    </a:lnTo>
                    <a:lnTo>
                      <a:pt x="1298" y="1560"/>
                    </a:lnTo>
                    <a:lnTo>
                      <a:pt x="1298" y="1561"/>
                    </a:lnTo>
                    <a:lnTo>
                      <a:pt x="1297" y="1561"/>
                    </a:lnTo>
                    <a:lnTo>
                      <a:pt x="1297" y="1563"/>
                    </a:lnTo>
                    <a:lnTo>
                      <a:pt x="1295" y="1565"/>
                    </a:lnTo>
                    <a:lnTo>
                      <a:pt x="1295" y="1563"/>
                    </a:lnTo>
                    <a:lnTo>
                      <a:pt x="1295" y="1565"/>
                    </a:lnTo>
                    <a:lnTo>
                      <a:pt x="1293" y="1565"/>
                    </a:lnTo>
                    <a:lnTo>
                      <a:pt x="1292" y="1566"/>
                    </a:lnTo>
                    <a:lnTo>
                      <a:pt x="1290" y="1566"/>
                    </a:lnTo>
                    <a:lnTo>
                      <a:pt x="1290" y="1568"/>
                    </a:lnTo>
                    <a:lnTo>
                      <a:pt x="1288" y="1568"/>
                    </a:lnTo>
                    <a:lnTo>
                      <a:pt x="1287" y="1568"/>
                    </a:lnTo>
                    <a:lnTo>
                      <a:pt x="1287" y="1566"/>
                    </a:lnTo>
                    <a:lnTo>
                      <a:pt x="1285" y="1566"/>
                    </a:lnTo>
                    <a:lnTo>
                      <a:pt x="1283" y="1565"/>
                    </a:lnTo>
                    <a:lnTo>
                      <a:pt x="1281" y="1565"/>
                    </a:lnTo>
                    <a:lnTo>
                      <a:pt x="1280" y="1565"/>
                    </a:lnTo>
                    <a:lnTo>
                      <a:pt x="1280" y="1563"/>
                    </a:lnTo>
                    <a:lnTo>
                      <a:pt x="1278" y="1563"/>
                    </a:lnTo>
                    <a:lnTo>
                      <a:pt x="1276" y="1563"/>
                    </a:lnTo>
                    <a:lnTo>
                      <a:pt x="1275" y="1563"/>
                    </a:lnTo>
                    <a:lnTo>
                      <a:pt x="1273" y="1563"/>
                    </a:lnTo>
                    <a:lnTo>
                      <a:pt x="1273" y="1561"/>
                    </a:lnTo>
                    <a:lnTo>
                      <a:pt x="1271" y="1561"/>
                    </a:lnTo>
                    <a:lnTo>
                      <a:pt x="1271" y="1560"/>
                    </a:lnTo>
                    <a:lnTo>
                      <a:pt x="1270" y="1560"/>
                    </a:lnTo>
                    <a:lnTo>
                      <a:pt x="1268" y="1560"/>
                    </a:lnTo>
                    <a:lnTo>
                      <a:pt x="1268" y="1558"/>
                    </a:lnTo>
                    <a:lnTo>
                      <a:pt x="1266" y="1556"/>
                    </a:lnTo>
                    <a:lnTo>
                      <a:pt x="1268" y="1556"/>
                    </a:lnTo>
                    <a:lnTo>
                      <a:pt x="1266" y="1556"/>
                    </a:lnTo>
                    <a:lnTo>
                      <a:pt x="1266" y="1558"/>
                    </a:lnTo>
                    <a:lnTo>
                      <a:pt x="1264" y="1558"/>
                    </a:lnTo>
                    <a:lnTo>
                      <a:pt x="1264" y="1556"/>
                    </a:lnTo>
                    <a:lnTo>
                      <a:pt x="1263" y="1556"/>
                    </a:lnTo>
                    <a:lnTo>
                      <a:pt x="1263" y="1558"/>
                    </a:lnTo>
                    <a:lnTo>
                      <a:pt x="1263" y="1556"/>
                    </a:lnTo>
                    <a:lnTo>
                      <a:pt x="1261" y="1556"/>
                    </a:lnTo>
                    <a:lnTo>
                      <a:pt x="1259" y="1556"/>
                    </a:lnTo>
                    <a:lnTo>
                      <a:pt x="1259" y="1555"/>
                    </a:lnTo>
                    <a:lnTo>
                      <a:pt x="1258" y="1555"/>
                    </a:lnTo>
                    <a:lnTo>
                      <a:pt x="1258" y="1553"/>
                    </a:lnTo>
                    <a:lnTo>
                      <a:pt x="1256" y="1553"/>
                    </a:lnTo>
                    <a:lnTo>
                      <a:pt x="1256" y="1551"/>
                    </a:lnTo>
                    <a:lnTo>
                      <a:pt x="1254" y="1551"/>
                    </a:lnTo>
                    <a:lnTo>
                      <a:pt x="1254" y="1549"/>
                    </a:lnTo>
                    <a:lnTo>
                      <a:pt x="1253" y="1549"/>
                    </a:lnTo>
                    <a:lnTo>
                      <a:pt x="1253" y="1548"/>
                    </a:lnTo>
                    <a:lnTo>
                      <a:pt x="1251" y="1546"/>
                    </a:lnTo>
                    <a:lnTo>
                      <a:pt x="1251" y="1544"/>
                    </a:lnTo>
                    <a:lnTo>
                      <a:pt x="1251" y="1546"/>
                    </a:lnTo>
                    <a:lnTo>
                      <a:pt x="1249" y="1544"/>
                    </a:lnTo>
                    <a:lnTo>
                      <a:pt x="1249" y="1543"/>
                    </a:lnTo>
                    <a:lnTo>
                      <a:pt x="1249" y="1541"/>
                    </a:lnTo>
                    <a:lnTo>
                      <a:pt x="1247" y="1541"/>
                    </a:lnTo>
                    <a:lnTo>
                      <a:pt x="1247" y="1539"/>
                    </a:lnTo>
                    <a:lnTo>
                      <a:pt x="1247" y="1538"/>
                    </a:lnTo>
                    <a:lnTo>
                      <a:pt x="1249" y="1539"/>
                    </a:lnTo>
                    <a:lnTo>
                      <a:pt x="1249" y="1538"/>
                    </a:lnTo>
                    <a:lnTo>
                      <a:pt x="1249" y="1536"/>
                    </a:lnTo>
                    <a:lnTo>
                      <a:pt x="1249" y="1534"/>
                    </a:lnTo>
                    <a:lnTo>
                      <a:pt x="1251" y="1534"/>
                    </a:lnTo>
                    <a:lnTo>
                      <a:pt x="1251" y="1532"/>
                    </a:lnTo>
                    <a:lnTo>
                      <a:pt x="1253" y="1532"/>
                    </a:lnTo>
                    <a:lnTo>
                      <a:pt x="1254" y="1531"/>
                    </a:lnTo>
                    <a:lnTo>
                      <a:pt x="1256" y="1532"/>
                    </a:lnTo>
                    <a:lnTo>
                      <a:pt x="1258" y="1532"/>
                    </a:lnTo>
                    <a:lnTo>
                      <a:pt x="1259" y="1532"/>
                    </a:lnTo>
                    <a:lnTo>
                      <a:pt x="1259" y="1531"/>
                    </a:lnTo>
                    <a:lnTo>
                      <a:pt x="1259" y="1532"/>
                    </a:lnTo>
                    <a:lnTo>
                      <a:pt x="1259" y="1534"/>
                    </a:lnTo>
                    <a:lnTo>
                      <a:pt x="1261" y="1534"/>
                    </a:lnTo>
                    <a:lnTo>
                      <a:pt x="1259" y="1536"/>
                    </a:lnTo>
                    <a:lnTo>
                      <a:pt x="1261" y="1536"/>
                    </a:lnTo>
                    <a:lnTo>
                      <a:pt x="1261" y="1538"/>
                    </a:lnTo>
                    <a:lnTo>
                      <a:pt x="1259" y="1539"/>
                    </a:lnTo>
                    <a:lnTo>
                      <a:pt x="1259" y="1541"/>
                    </a:lnTo>
                    <a:lnTo>
                      <a:pt x="1258" y="1541"/>
                    </a:lnTo>
                    <a:lnTo>
                      <a:pt x="1256" y="1543"/>
                    </a:lnTo>
                    <a:lnTo>
                      <a:pt x="1254" y="1541"/>
                    </a:lnTo>
                    <a:lnTo>
                      <a:pt x="1256" y="1543"/>
                    </a:lnTo>
                    <a:lnTo>
                      <a:pt x="1258" y="1543"/>
                    </a:lnTo>
                    <a:lnTo>
                      <a:pt x="1259" y="1541"/>
                    </a:lnTo>
                    <a:lnTo>
                      <a:pt x="1261" y="1541"/>
                    </a:lnTo>
                    <a:lnTo>
                      <a:pt x="1261" y="1539"/>
                    </a:lnTo>
                    <a:lnTo>
                      <a:pt x="1263" y="1539"/>
                    </a:lnTo>
                    <a:lnTo>
                      <a:pt x="1263" y="1538"/>
                    </a:lnTo>
                    <a:lnTo>
                      <a:pt x="1263" y="1536"/>
                    </a:lnTo>
                    <a:lnTo>
                      <a:pt x="1263" y="1534"/>
                    </a:lnTo>
                    <a:lnTo>
                      <a:pt x="1263" y="1532"/>
                    </a:lnTo>
                    <a:lnTo>
                      <a:pt x="1263" y="1531"/>
                    </a:lnTo>
                    <a:lnTo>
                      <a:pt x="1264" y="1531"/>
                    </a:lnTo>
                    <a:lnTo>
                      <a:pt x="1266" y="1531"/>
                    </a:lnTo>
                    <a:lnTo>
                      <a:pt x="1268" y="1531"/>
                    </a:lnTo>
                    <a:lnTo>
                      <a:pt x="1270" y="1531"/>
                    </a:lnTo>
                    <a:lnTo>
                      <a:pt x="1270" y="1532"/>
                    </a:lnTo>
                    <a:lnTo>
                      <a:pt x="1270" y="1534"/>
                    </a:lnTo>
                    <a:lnTo>
                      <a:pt x="1270" y="1536"/>
                    </a:lnTo>
                    <a:lnTo>
                      <a:pt x="1270" y="1538"/>
                    </a:lnTo>
                    <a:lnTo>
                      <a:pt x="1270" y="1539"/>
                    </a:lnTo>
                    <a:lnTo>
                      <a:pt x="1271" y="1541"/>
                    </a:lnTo>
                    <a:lnTo>
                      <a:pt x="1271" y="1543"/>
                    </a:lnTo>
                    <a:lnTo>
                      <a:pt x="1271" y="1541"/>
                    </a:lnTo>
                    <a:lnTo>
                      <a:pt x="1270" y="1543"/>
                    </a:lnTo>
                    <a:lnTo>
                      <a:pt x="1270" y="1544"/>
                    </a:lnTo>
                    <a:lnTo>
                      <a:pt x="1268" y="1544"/>
                    </a:lnTo>
                    <a:lnTo>
                      <a:pt x="1266" y="1546"/>
                    </a:lnTo>
                    <a:lnTo>
                      <a:pt x="1264" y="1546"/>
                    </a:lnTo>
                    <a:lnTo>
                      <a:pt x="1264" y="1548"/>
                    </a:lnTo>
                    <a:lnTo>
                      <a:pt x="1263" y="1548"/>
                    </a:lnTo>
                    <a:lnTo>
                      <a:pt x="1261" y="1548"/>
                    </a:lnTo>
                    <a:lnTo>
                      <a:pt x="1263" y="1548"/>
                    </a:lnTo>
                    <a:lnTo>
                      <a:pt x="1264" y="1549"/>
                    </a:lnTo>
                    <a:lnTo>
                      <a:pt x="1266" y="1548"/>
                    </a:lnTo>
                    <a:lnTo>
                      <a:pt x="1268" y="1548"/>
                    </a:lnTo>
                    <a:lnTo>
                      <a:pt x="1270" y="1546"/>
                    </a:lnTo>
                    <a:lnTo>
                      <a:pt x="1271" y="1544"/>
                    </a:lnTo>
                    <a:lnTo>
                      <a:pt x="1273" y="1543"/>
                    </a:lnTo>
                    <a:lnTo>
                      <a:pt x="1271" y="1543"/>
                    </a:lnTo>
                    <a:lnTo>
                      <a:pt x="1271" y="1541"/>
                    </a:lnTo>
                    <a:lnTo>
                      <a:pt x="1271" y="1539"/>
                    </a:lnTo>
                    <a:lnTo>
                      <a:pt x="1273" y="1538"/>
                    </a:lnTo>
                    <a:lnTo>
                      <a:pt x="1271" y="1538"/>
                    </a:lnTo>
                    <a:lnTo>
                      <a:pt x="1271" y="1536"/>
                    </a:lnTo>
                    <a:lnTo>
                      <a:pt x="1271" y="1534"/>
                    </a:lnTo>
                    <a:lnTo>
                      <a:pt x="1273" y="1536"/>
                    </a:lnTo>
                    <a:lnTo>
                      <a:pt x="1271" y="1534"/>
                    </a:lnTo>
                    <a:lnTo>
                      <a:pt x="1271" y="1532"/>
                    </a:lnTo>
                    <a:lnTo>
                      <a:pt x="1273" y="1532"/>
                    </a:lnTo>
                    <a:lnTo>
                      <a:pt x="1273" y="1531"/>
                    </a:lnTo>
                    <a:lnTo>
                      <a:pt x="1273" y="1529"/>
                    </a:lnTo>
                    <a:lnTo>
                      <a:pt x="1275" y="1529"/>
                    </a:lnTo>
                    <a:lnTo>
                      <a:pt x="1276" y="1529"/>
                    </a:lnTo>
                    <a:lnTo>
                      <a:pt x="1278" y="1527"/>
                    </a:lnTo>
                    <a:lnTo>
                      <a:pt x="1280" y="1527"/>
                    </a:lnTo>
                    <a:lnTo>
                      <a:pt x="1280" y="1526"/>
                    </a:lnTo>
                    <a:lnTo>
                      <a:pt x="1281" y="1526"/>
                    </a:lnTo>
                    <a:lnTo>
                      <a:pt x="1283" y="1526"/>
                    </a:lnTo>
                    <a:lnTo>
                      <a:pt x="1285" y="1524"/>
                    </a:lnTo>
                    <a:lnTo>
                      <a:pt x="1287" y="1524"/>
                    </a:lnTo>
                    <a:lnTo>
                      <a:pt x="1287" y="1522"/>
                    </a:lnTo>
                    <a:lnTo>
                      <a:pt x="1287" y="1521"/>
                    </a:lnTo>
                    <a:lnTo>
                      <a:pt x="1288" y="1521"/>
                    </a:lnTo>
                    <a:lnTo>
                      <a:pt x="1288" y="1519"/>
                    </a:lnTo>
                    <a:lnTo>
                      <a:pt x="1290" y="1517"/>
                    </a:lnTo>
                    <a:lnTo>
                      <a:pt x="1290" y="1515"/>
                    </a:lnTo>
                    <a:lnTo>
                      <a:pt x="1292" y="1515"/>
                    </a:lnTo>
                    <a:lnTo>
                      <a:pt x="1292" y="1514"/>
                    </a:lnTo>
                    <a:lnTo>
                      <a:pt x="1293" y="1514"/>
                    </a:lnTo>
                    <a:lnTo>
                      <a:pt x="1293" y="1512"/>
                    </a:lnTo>
                    <a:lnTo>
                      <a:pt x="1293" y="1510"/>
                    </a:lnTo>
                    <a:lnTo>
                      <a:pt x="1293" y="1509"/>
                    </a:lnTo>
                    <a:lnTo>
                      <a:pt x="1293" y="1507"/>
                    </a:lnTo>
                    <a:lnTo>
                      <a:pt x="1292" y="1507"/>
                    </a:lnTo>
                    <a:lnTo>
                      <a:pt x="1290" y="1507"/>
                    </a:lnTo>
                    <a:lnTo>
                      <a:pt x="1290" y="1505"/>
                    </a:lnTo>
                    <a:lnTo>
                      <a:pt x="1288" y="1505"/>
                    </a:lnTo>
                    <a:lnTo>
                      <a:pt x="1287" y="1507"/>
                    </a:lnTo>
                    <a:lnTo>
                      <a:pt x="1285" y="1507"/>
                    </a:lnTo>
                    <a:lnTo>
                      <a:pt x="1285" y="1505"/>
                    </a:lnTo>
                    <a:lnTo>
                      <a:pt x="1285" y="1504"/>
                    </a:lnTo>
                    <a:lnTo>
                      <a:pt x="1285" y="1502"/>
                    </a:lnTo>
                    <a:lnTo>
                      <a:pt x="1283" y="1502"/>
                    </a:lnTo>
                    <a:lnTo>
                      <a:pt x="1283" y="1500"/>
                    </a:lnTo>
                    <a:lnTo>
                      <a:pt x="1281" y="1498"/>
                    </a:lnTo>
                    <a:lnTo>
                      <a:pt x="1281" y="1497"/>
                    </a:lnTo>
                    <a:lnTo>
                      <a:pt x="1280" y="1497"/>
                    </a:lnTo>
                    <a:lnTo>
                      <a:pt x="1280" y="1495"/>
                    </a:lnTo>
                    <a:lnTo>
                      <a:pt x="1280" y="1493"/>
                    </a:lnTo>
                    <a:lnTo>
                      <a:pt x="1278" y="1493"/>
                    </a:lnTo>
                    <a:lnTo>
                      <a:pt x="1276" y="1493"/>
                    </a:lnTo>
                    <a:lnTo>
                      <a:pt x="1275" y="1493"/>
                    </a:lnTo>
                    <a:lnTo>
                      <a:pt x="1273" y="1493"/>
                    </a:lnTo>
                    <a:lnTo>
                      <a:pt x="1271" y="1493"/>
                    </a:lnTo>
                    <a:lnTo>
                      <a:pt x="1270" y="1493"/>
                    </a:lnTo>
                    <a:lnTo>
                      <a:pt x="1270" y="1492"/>
                    </a:lnTo>
                    <a:lnTo>
                      <a:pt x="1268" y="1492"/>
                    </a:lnTo>
                    <a:lnTo>
                      <a:pt x="1266" y="1492"/>
                    </a:lnTo>
                    <a:lnTo>
                      <a:pt x="1264" y="1492"/>
                    </a:lnTo>
                    <a:lnTo>
                      <a:pt x="1264" y="1493"/>
                    </a:lnTo>
                    <a:lnTo>
                      <a:pt x="1263" y="1492"/>
                    </a:lnTo>
                    <a:lnTo>
                      <a:pt x="1263" y="1493"/>
                    </a:lnTo>
                    <a:lnTo>
                      <a:pt x="1263" y="1492"/>
                    </a:lnTo>
                    <a:lnTo>
                      <a:pt x="1263" y="1493"/>
                    </a:lnTo>
                    <a:lnTo>
                      <a:pt x="1261" y="1492"/>
                    </a:lnTo>
                    <a:lnTo>
                      <a:pt x="1259" y="1492"/>
                    </a:lnTo>
                    <a:lnTo>
                      <a:pt x="1261" y="1492"/>
                    </a:lnTo>
                    <a:lnTo>
                      <a:pt x="1259" y="1493"/>
                    </a:lnTo>
                    <a:lnTo>
                      <a:pt x="1259" y="1492"/>
                    </a:lnTo>
                    <a:lnTo>
                      <a:pt x="1259" y="1490"/>
                    </a:lnTo>
                    <a:lnTo>
                      <a:pt x="1259" y="1492"/>
                    </a:lnTo>
                    <a:lnTo>
                      <a:pt x="1258" y="1490"/>
                    </a:lnTo>
                    <a:lnTo>
                      <a:pt x="1258" y="1492"/>
                    </a:lnTo>
                    <a:lnTo>
                      <a:pt x="1256" y="1492"/>
                    </a:lnTo>
                    <a:lnTo>
                      <a:pt x="1254" y="1492"/>
                    </a:lnTo>
                    <a:lnTo>
                      <a:pt x="1253" y="1492"/>
                    </a:lnTo>
                    <a:lnTo>
                      <a:pt x="1253" y="1493"/>
                    </a:lnTo>
                    <a:lnTo>
                      <a:pt x="1251" y="1495"/>
                    </a:lnTo>
                    <a:lnTo>
                      <a:pt x="1249" y="1495"/>
                    </a:lnTo>
                    <a:lnTo>
                      <a:pt x="1249" y="1497"/>
                    </a:lnTo>
                    <a:lnTo>
                      <a:pt x="1251" y="1497"/>
                    </a:lnTo>
                    <a:lnTo>
                      <a:pt x="1249" y="1498"/>
                    </a:lnTo>
                    <a:lnTo>
                      <a:pt x="1247" y="1498"/>
                    </a:lnTo>
                    <a:lnTo>
                      <a:pt x="1247" y="1497"/>
                    </a:lnTo>
                    <a:lnTo>
                      <a:pt x="1246" y="1497"/>
                    </a:lnTo>
                    <a:lnTo>
                      <a:pt x="1244" y="1495"/>
                    </a:lnTo>
                    <a:lnTo>
                      <a:pt x="1246" y="1495"/>
                    </a:lnTo>
                    <a:lnTo>
                      <a:pt x="1246" y="1493"/>
                    </a:lnTo>
                    <a:lnTo>
                      <a:pt x="1247" y="1493"/>
                    </a:lnTo>
                    <a:lnTo>
                      <a:pt x="1247" y="1492"/>
                    </a:lnTo>
                    <a:lnTo>
                      <a:pt x="1249" y="1493"/>
                    </a:lnTo>
                    <a:lnTo>
                      <a:pt x="1251" y="1493"/>
                    </a:lnTo>
                    <a:lnTo>
                      <a:pt x="1251" y="1492"/>
                    </a:lnTo>
                    <a:lnTo>
                      <a:pt x="1251" y="1490"/>
                    </a:lnTo>
                    <a:lnTo>
                      <a:pt x="1249" y="1490"/>
                    </a:lnTo>
                    <a:lnTo>
                      <a:pt x="1249" y="1492"/>
                    </a:lnTo>
                    <a:lnTo>
                      <a:pt x="1247" y="1492"/>
                    </a:lnTo>
                    <a:lnTo>
                      <a:pt x="1246" y="1492"/>
                    </a:lnTo>
                    <a:lnTo>
                      <a:pt x="1246" y="1493"/>
                    </a:lnTo>
                    <a:lnTo>
                      <a:pt x="1244" y="1493"/>
                    </a:lnTo>
                    <a:lnTo>
                      <a:pt x="1244" y="1495"/>
                    </a:lnTo>
                    <a:lnTo>
                      <a:pt x="1242" y="1493"/>
                    </a:lnTo>
                    <a:lnTo>
                      <a:pt x="1242" y="1492"/>
                    </a:lnTo>
                    <a:lnTo>
                      <a:pt x="1244" y="1490"/>
                    </a:lnTo>
                    <a:lnTo>
                      <a:pt x="1242" y="1492"/>
                    </a:lnTo>
                    <a:lnTo>
                      <a:pt x="1241" y="1492"/>
                    </a:lnTo>
                    <a:lnTo>
                      <a:pt x="1241" y="1493"/>
                    </a:lnTo>
                    <a:lnTo>
                      <a:pt x="1239" y="1493"/>
                    </a:lnTo>
                    <a:lnTo>
                      <a:pt x="1237" y="1493"/>
                    </a:lnTo>
                    <a:lnTo>
                      <a:pt x="1236" y="1492"/>
                    </a:lnTo>
                    <a:lnTo>
                      <a:pt x="1234" y="1492"/>
                    </a:lnTo>
                    <a:lnTo>
                      <a:pt x="1236" y="1493"/>
                    </a:lnTo>
                    <a:lnTo>
                      <a:pt x="1234" y="1493"/>
                    </a:lnTo>
                    <a:lnTo>
                      <a:pt x="1236" y="1493"/>
                    </a:lnTo>
                    <a:lnTo>
                      <a:pt x="1234" y="1493"/>
                    </a:lnTo>
                    <a:lnTo>
                      <a:pt x="1234" y="1495"/>
                    </a:lnTo>
                    <a:lnTo>
                      <a:pt x="1236" y="1495"/>
                    </a:lnTo>
                    <a:lnTo>
                      <a:pt x="1234" y="1495"/>
                    </a:lnTo>
                    <a:lnTo>
                      <a:pt x="1232" y="1495"/>
                    </a:lnTo>
                    <a:lnTo>
                      <a:pt x="1234" y="1495"/>
                    </a:lnTo>
                    <a:lnTo>
                      <a:pt x="1234" y="1497"/>
                    </a:lnTo>
                    <a:lnTo>
                      <a:pt x="1234" y="1498"/>
                    </a:lnTo>
                    <a:lnTo>
                      <a:pt x="1234" y="1497"/>
                    </a:lnTo>
                    <a:lnTo>
                      <a:pt x="1236" y="1497"/>
                    </a:lnTo>
                    <a:lnTo>
                      <a:pt x="1236" y="1495"/>
                    </a:lnTo>
                    <a:lnTo>
                      <a:pt x="1237" y="1497"/>
                    </a:lnTo>
                    <a:lnTo>
                      <a:pt x="1236" y="1498"/>
                    </a:lnTo>
                    <a:lnTo>
                      <a:pt x="1237" y="1497"/>
                    </a:lnTo>
                    <a:lnTo>
                      <a:pt x="1239" y="1497"/>
                    </a:lnTo>
                    <a:lnTo>
                      <a:pt x="1237" y="1498"/>
                    </a:lnTo>
                    <a:lnTo>
                      <a:pt x="1239" y="1497"/>
                    </a:lnTo>
                    <a:lnTo>
                      <a:pt x="1239" y="1498"/>
                    </a:lnTo>
                    <a:lnTo>
                      <a:pt x="1241" y="1498"/>
                    </a:lnTo>
                    <a:lnTo>
                      <a:pt x="1241" y="1500"/>
                    </a:lnTo>
                    <a:lnTo>
                      <a:pt x="1239" y="1502"/>
                    </a:lnTo>
                    <a:lnTo>
                      <a:pt x="1239" y="1504"/>
                    </a:lnTo>
                    <a:lnTo>
                      <a:pt x="1237" y="1504"/>
                    </a:lnTo>
                    <a:lnTo>
                      <a:pt x="1236" y="1505"/>
                    </a:lnTo>
                    <a:lnTo>
                      <a:pt x="1236" y="1507"/>
                    </a:lnTo>
                    <a:lnTo>
                      <a:pt x="1234" y="1507"/>
                    </a:lnTo>
                    <a:lnTo>
                      <a:pt x="1232" y="1505"/>
                    </a:lnTo>
                    <a:lnTo>
                      <a:pt x="1232" y="1507"/>
                    </a:lnTo>
                    <a:lnTo>
                      <a:pt x="1232" y="1509"/>
                    </a:lnTo>
                    <a:lnTo>
                      <a:pt x="1230" y="1509"/>
                    </a:lnTo>
                    <a:lnTo>
                      <a:pt x="1229" y="1509"/>
                    </a:lnTo>
                    <a:lnTo>
                      <a:pt x="1229" y="1510"/>
                    </a:lnTo>
                    <a:lnTo>
                      <a:pt x="1230" y="1510"/>
                    </a:lnTo>
                    <a:lnTo>
                      <a:pt x="1230" y="1512"/>
                    </a:lnTo>
                    <a:lnTo>
                      <a:pt x="1232" y="1512"/>
                    </a:lnTo>
                    <a:lnTo>
                      <a:pt x="1230" y="1514"/>
                    </a:lnTo>
                    <a:lnTo>
                      <a:pt x="1232" y="1515"/>
                    </a:lnTo>
                    <a:lnTo>
                      <a:pt x="1230" y="1515"/>
                    </a:lnTo>
                    <a:lnTo>
                      <a:pt x="1232" y="1515"/>
                    </a:lnTo>
                    <a:lnTo>
                      <a:pt x="1232" y="1517"/>
                    </a:lnTo>
                    <a:lnTo>
                      <a:pt x="1230" y="1517"/>
                    </a:lnTo>
                    <a:lnTo>
                      <a:pt x="1230" y="1519"/>
                    </a:lnTo>
                    <a:lnTo>
                      <a:pt x="1232" y="1519"/>
                    </a:lnTo>
                    <a:lnTo>
                      <a:pt x="1230" y="1521"/>
                    </a:lnTo>
                    <a:lnTo>
                      <a:pt x="1230" y="1522"/>
                    </a:lnTo>
                    <a:lnTo>
                      <a:pt x="1229" y="1521"/>
                    </a:lnTo>
                    <a:lnTo>
                      <a:pt x="1229" y="1522"/>
                    </a:lnTo>
                    <a:lnTo>
                      <a:pt x="1227" y="1522"/>
                    </a:lnTo>
                    <a:lnTo>
                      <a:pt x="1227" y="1524"/>
                    </a:lnTo>
                    <a:lnTo>
                      <a:pt x="1225" y="1524"/>
                    </a:lnTo>
                    <a:lnTo>
                      <a:pt x="1225" y="1522"/>
                    </a:lnTo>
                    <a:lnTo>
                      <a:pt x="1224" y="1521"/>
                    </a:lnTo>
                    <a:lnTo>
                      <a:pt x="1225" y="1521"/>
                    </a:lnTo>
                    <a:lnTo>
                      <a:pt x="1225" y="1519"/>
                    </a:lnTo>
                    <a:lnTo>
                      <a:pt x="1224" y="1519"/>
                    </a:lnTo>
                    <a:lnTo>
                      <a:pt x="1224" y="1521"/>
                    </a:lnTo>
                    <a:lnTo>
                      <a:pt x="1224" y="1522"/>
                    </a:lnTo>
                    <a:lnTo>
                      <a:pt x="1224" y="1524"/>
                    </a:lnTo>
                    <a:lnTo>
                      <a:pt x="1222" y="1522"/>
                    </a:lnTo>
                    <a:lnTo>
                      <a:pt x="1220" y="1522"/>
                    </a:lnTo>
                    <a:lnTo>
                      <a:pt x="1219" y="1522"/>
                    </a:lnTo>
                    <a:lnTo>
                      <a:pt x="1219" y="1521"/>
                    </a:lnTo>
                    <a:lnTo>
                      <a:pt x="1217" y="1521"/>
                    </a:lnTo>
                    <a:lnTo>
                      <a:pt x="1219" y="1521"/>
                    </a:lnTo>
                    <a:lnTo>
                      <a:pt x="1217" y="1521"/>
                    </a:lnTo>
                    <a:lnTo>
                      <a:pt x="1215" y="1519"/>
                    </a:lnTo>
                    <a:lnTo>
                      <a:pt x="1217" y="1517"/>
                    </a:lnTo>
                    <a:lnTo>
                      <a:pt x="1219" y="1517"/>
                    </a:lnTo>
                    <a:lnTo>
                      <a:pt x="1219" y="1519"/>
                    </a:lnTo>
                    <a:lnTo>
                      <a:pt x="1220" y="1517"/>
                    </a:lnTo>
                    <a:lnTo>
                      <a:pt x="1219" y="1517"/>
                    </a:lnTo>
                    <a:lnTo>
                      <a:pt x="1217" y="1515"/>
                    </a:lnTo>
                    <a:lnTo>
                      <a:pt x="1219" y="1515"/>
                    </a:lnTo>
                    <a:lnTo>
                      <a:pt x="1220" y="1515"/>
                    </a:lnTo>
                    <a:lnTo>
                      <a:pt x="1222" y="1515"/>
                    </a:lnTo>
                    <a:lnTo>
                      <a:pt x="1222" y="1517"/>
                    </a:lnTo>
                    <a:lnTo>
                      <a:pt x="1222" y="1515"/>
                    </a:lnTo>
                    <a:lnTo>
                      <a:pt x="1220" y="1515"/>
                    </a:lnTo>
                    <a:lnTo>
                      <a:pt x="1222" y="1514"/>
                    </a:lnTo>
                    <a:lnTo>
                      <a:pt x="1222" y="1512"/>
                    </a:lnTo>
                    <a:lnTo>
                      <a:pt x="1224" y="1512"/>
                    </a:lnTo>
                    <a:lnTo>
                      <a:pt x="1224" y="1514"/>
                    </a:lnTo>
                    <a:lnTo>
                      <a:pt x="1225" y="1514"/>
                    </a:lnTo>
                    <a:lnTo>
                      <a:pt x="1224" y="1512"/>
                    </a:lnTo>
                    <a:lnTo>
                      <a:pt x="1222" y="1512"/>
                    </a:lnTo>
                    <a:lnTo>
                      <a:pt x="1222" y="1514"/>
                    </a:lnTo>
                    <a:lnTo>
                      <a:pt x="1220" y="1514"/>
                    </a:lnTo>
                    <a:lnTo>
                      <a:pt x="1220" y="1512"/>
                    </a:lnTo>
                    <a:lnTo>
                      <a:pt x="1219" y="1514"/>
                    </a:lnTo>
                    <a:lnTo>
                      <a:pt x="1219" y="1512"/>
                    </a:lnTo>
                    <a:lnTo>
                      <a:pt x="1219" y="1514"/>
                    </a:lnTo>
                    <a:lnTo>
                      <a:pt x="1219" y="1512"/>
                    </a:lnTo>
                    <a:lnTo>
                      <a:pt x="1217" y="1512"/>
                    </a:lnTo>
                    <a:lnTo>
                      <a:pt x="1219" y="1514"/>
                    </a:lnTo>
                    <a:lnTo>
                      <a:pt x="1217" y="1514"/>
                    </a:lnTo>
                    <a:lnTo>
                      <a:pt x="1219" y="1515"/>
                    </a:lnTo>
                    <a:lnTo>
                      <a:pt x="1217" y="1515"/>
                    </a:lnTo>
                    <a:lnTo>
                      <a:pt x="1215" y="1515"/>
                    </a:lnTo>
                    <a:lnTo>
                      <a:pt x="1213" y="1515"/>
                    </a:lnTo>
                    <a:lnTo>
                      <a:pt x="1213" y="1514"/>
                    </a:lnTo>
                    <a:lnTo>
                      <a:pt x="1215" y="1514"/>
                    </a:lnTo>
                    <a:lnTo>
                      <a:pt x="1217" y="1514"/>
                    </a:lnTo>
                    <a:lnTo>
                      <a:pt x="1215" y="1512"/>
                    </a:lnTo>
                    <a:lnTo>
                      <a:pt x="1213" y="1512"/>
                    </a:lnTo>
                    <a:lnTo>
                      <a:pt x="1215" y="1514"/>
                    </a:lnTo>
                    <a:lnTo>
                      <a:pt x="1213" y="1514"/>
                    </a:lnTo>
                    <a:lnTo>
                      <a:pt x="1213" y="1512"/>
                    </a:lnTo>
                    <a:lnTo>
                      <a:pt x="1212" y="1512"/>
                    </a:lnTo>
                    <a:lnTo>
                      <a:pt x="1210" y="1512"/>
                    </a:lnTo>
                    <a:lnTo>
                      <a:pt x="1208" y="1512"/>
                    </a:lnTo>
                    <a:lnTo>
                      <a:pt x="1207" y="1512"/>
                    </a:lnTo>
                    <a:lnTo>
                      <a:pt x="1205" y="1514"/>
                    </a:lnTo>
                    <a:lnTo>
                      <a:pt x="1203" y="1514"/>
                    </a:lnTo>
                    <a:lnTo>
                      <a:pt x="1203" y="1512"/>
                    </a:lnTo>
                    <a:lnTo>
                      <a:pt x="1205" y="1512"/>
                    </a:lnTo>
                    <a:lnTo>
                      <a:pt x="1205" y="1510"/>
                    </a:lnTo>
                    <a:lnTo>
                      <a:pt x="1207" y="1510"/>
                    </a:lnTo>
                    <a:lnTo>
                      <a:pt x="1208" y="1509"/>
                    </a:lnTo>
                    <a:lnTo>
                      <a:pt x="1208" y="1510"/>
                    </a:lnTo>
                    <a:lnTo>
                      <a:pt x="1210" y="1510"/>
                    </a:lnTo>
                    <a:lnTo>
                      <a:pt x="1208" y="1509"/>
                    </a:lnTo>
                    <a:lnTo>
                      <a:pt x="1210" y="1509"/>
                    </a:lnTo>
                    <a:lnTo>
                      <a:pt x="1212" y="1510"/>
                    </a:lnTo>
                    <a:lnTo>
                      <a:pt x="1212" y="1509"/>
                    </a:lnTo>
                    <a:lnTo>
                      <a:pt x="1212" y="1510"/>
                    </a:lnTo>
                    <a:lnTo>
                      <a:pt x="1213" y="1510"/>
                    </a:lnTo>
                    <a:lnTo>
                      <a:pt x="1215" y="1510"/>
                    </a:lnTo>
                    <a:lnTo>
                      <a:pt x="1215" y="1512"/>
                    </a:lnTo>
                    <a:lnTo>
                      <a:pt x="1217" y="1510"/>
                    </a:lnTo>
                    <a:lnTo>
                      <a:pt x="1217" y="1512"/>
                    </a:lnTo>
                    <a:lnTo>
                      <a:pt x="1219" y="1512"/>
                    </a:lnTo>
                    <a:lnTo>
                      <a:pt x="1219" y="1510"/>
                    </a:lnTo>
                    <a:lnTo>
                      <a:pt x="1217" y="1510"/>
                    </a:lnTo>
                    <a:lnTo>
                      <a:pt x="1215" y="1510"/>
                    </a:lnTo>
                    <a:lnTo>
                      <a:pt x="1213" y="1510"/>
                    </a:lnTo>
                    <a:lnTo>
                      <a:pt x="1212" y="1509"/>
                    </a:lnTo>
                    <a:lnTo>
                      <a:pt x="1213" y="1509"/>
                    </a:lnTo>
                    <a:lnTo>
                      <a:pt x="1213" y="1510"/>
                    </a:lnTo>
                    <a:lnTo>
                      <a:pt x="1213" y="1509"/>
                    </a:lnTo>
                    <a:lnTo>
                      <a:pt x="1212" y="1509"/>
                    </a:lnTo>
                    <a:lnTo>
                      <a:pt x="1213" y="1509"/>
                    </a:lnTo>
                    <a:lnTo>
                      <a:pt x="1212" y="1507"/>
                    </a:lnTo>
                    <a:lnTo>
                      <a:pt x="1210" y="1507"/>
                    </a:lnTo>
                    <a:lnTo>
                      <a:pt x="1212" y="1507"/>
                    </a:lnTo>
                    <a:lnTo>
                      <a:pt x="1212" y="1505"/>
                    </a:lnTo>
                    <a:lnTo>
                      <a:pt x="1213" y="1505"/>
                    </a:lnTo>
                    <a:lnTo>
                      <a:pt x="1213" y="1507"/>
                    </a:lnTo>
                    <a:lnTo>
                      <a:pt x="1215" y="1507"/>
                    </a:lnTo>
                    <a:lnTo>
                      <a:pt x="1215" y="1509"/>
                    </a:lnTo>
                    <a:lnTo>
                      <a:pt x="1213" y="1509"/>
                    </a:lnTo>
                    <a:lnTo>
                      <a:pt x="1215" y="1509"/>
                    </a:lnTo>
                    <a:lnTo>
                      <a:pt x="1215" y="1507"/>
                    </a:lnTo>
                    <a:lnTo>
                      <a:pt x="1217" y="1505"/>
                    </a:lnTo>
                    <a:lnTo>
                      <a:pt x="1219" y="1507"/>
                    </a:lnTo>
                    <a:lnTo>
                      <a:pt x="1217" y="1507"/>
                    </a:lnTo>
                    <a:lnTo>
                      <a:pt x="1217" y="1509"/>
                    </a:lnTo>
                    <a:lnTo>
                      <a:pt x="1219" y="1509"/>
                    </a:lnTo>
                    <a:lnTo>
                      <a:pt x="1219" y="1507"/>
                    </a:lnTo>
                    <a:lnTo>
                      <a:pt x="1220" y="1509"/>
                    </a:lnTo>
                    <a:lnTo>
                      <a:pt x="1219" y="1507"/>
                    </a:lnTo>
                    <a:lnTo>
                      <a:pt x="1220" y="1507"/>
                    </a:lnTo>
                    <a:lnTo>
                      <a:pt x="1222" y="1507"/>
                    </a:lnTo>
                    <a:lnTo>
                      <a:pt x="1222" y="1505"/>
                    </a:lnTo>
                    <a:lnTo>
                      <a:pt x="1222" y="1504"/>
                    </a:lnTo>
                    <a:lnTo>
                      <a:pt x="1220" y="1505"/>
                    </a:lnTo>
                    <a:lnTo>
                      <a:pt x="1220" y="1504"/>
                    </a:lnTo>
                    <a:lnTo>
                      <a:pt x="1220" y="1502"/>
                    </a:lnTo>
                    <a:lnTo>
                      <a:pt x="1220" y="1504"/>
                    </a:lnTo>
                    <a:lnTo>
                      <a:pt x="1222" y="1504"/>
                    </a:lnTo>
                    <a:lnTo>
                      <a:pt x="1220" y="1502"/>
                    </a:lnTo>
                    <a:lnTo>
                      <a:pt x="1222" y="1502"/>
                    </a:lnTo>
                    <a:lnTo>
                      <a:pt x="1222" y="1500"/>
                    </a:lnTo>
                    <a:lnTo>
                      <a:pt x="1220" y="1500"/>
                    </a:lnTo>
                    <a:lnTo>
                      <a:pt x="1219" y="1500"/>
                    </a:lnTo>
                    <a:lnTo>
                      <a:pt x="1219" y="1498"/>
                    </a:lnTo>
                    <a:lnTo>
                      <a:pt x="1219" y="1497"/>
                    </a:lnTo>
                    <a:lnTo>
                      <a:pt x="1220" y="1497"/>
                    </a:lnTo>
                    <a:lnTo>
                      <a:pt x="1219" y="1497"/>
                    </a:lnTo>
                    <a:lnTo>
                      <a:pt x="1219" y="1495"/>
                    </a:lnTo>
                    <a:lnTo>
                      <a:pt x="1217" y="1495"/>
                    </a:lnTo>
                    <a:lnTo>
                      <a:pt x="1217" y="1493"/>
                    </a:lnTo>
                    <a:lnTo>
                      <a:pt x="1217" y="1495"/>
                    </a:lnTo>
                    <a:lnTo>
                      <a:pt x="1219" y="1495"/>
                    </a:lnTo>
                    <a:lnTo>
                      <a:pt x="1217" y="1495"/>
                    </a:lnTo>
                    <a:lnTo>
                      <a:pt x="1219" y="1497"/>
                    </a:lnTo>
                    <a:lnTo>
                      <a:pt x="1219" y="1498"/>
                    </a:lnTo>
                    <a:lnTo>
                      <a:pt x="1217" y="1498"/>
                    </a:lnTo>
                    <a:lnTo>
                      <a:pt x="1217" y="1500"/>
                    </a:lnTo>
                    <a:lnTo>
                      <a:pt x="1217" y="1498"/>
                    </a:lnTo>
                    <a:lnTo>
                      <a:pt x="1215" y="1500"/>
                    </a:lnTo>
                    <a:lnTo>
                      <a:pt x="1215" y="1498"/>
                    </a:lnTo>
                    <a:lnTo>
                      <a:pt x="1215" y="1500"/>
                    </a:lnTo>
                    <a:lnTo>
                      <a:pt x="1215" y="1498"/>
                    </a:lnTo>
                    <a:lnTo>
                      <a:pt x="1215" y="1500"/>
                    </a:lnTo>
                    <a:lnTo>
                      <a:pt x="1213" y="1498"/>
                    </a:lnTo>
                    <a:lnTo>
                      <a:pt x="1213" y="1500"/>
                    </a:lnTo>
                    <a:lnTo>
                      <a:pt x="1212" y="1498"/>
                    </a:lnTo>
                    <a:lnTo>
                      <a:pt x="1212" y="1500"/>
                    </a:lnTo>
                    <a:lnTo>
                      <a:pt x="1213" y="1500"/>
                    </a:lnTo>
                    <a:lnTo>
                      <a:pt x="1213" y="1502"/>
                    </a:lnTo>
                    <a:lnTo>
                      <a:pt x="1213" y="1500"/>
                    </a:lnTo>
                    <a:lnTo>
                      <a:pt x="1212" y="1500"/>
                    </a:lnTo>
                    <a:lnTo>
                      <a:pt x="1212" y="1502"/>
                    </a:lnTo>
                    <a:lnTo>
                      <a:pt x="1210" y="1502"/>
                    </a:lnTo>
                    <a:lnTo>
                      <a:pt x="1212" y="1502"/>
                    </a:lnTo>
                    <a:lnTo>
                      <a:pt x="1210" y="1504"/>
                    </a:lnTo>
                    <a:lnTo>
                      <a:pt x="1210" y="1502"/>
                    </a:lnTo>
                    <a:lnTo>
                      <a:pt x="1210" y="1504"/>
                    </a:lnTo>
                    <a:lnTo>
                      <a:pt x="1210" y="1502"/>
                    </a:lnTo>
                    <a:lnTo>
                      <a:pt x="1208" y="1502"/>
                    </a:lnTo>
                    <a:lnTo>
                      <a:pt x="1208" y="1504"/>
                    </a:lnTo>
                    <a:lnTo>
                      <a:pt x="1208" y="1505"/>
                    </a:lnTo>
                    <a:lnTo>
                      <a:pt x="1207" y="1505"/>
                    </a:lnTo>
                    <a:lnTo>
                      <a:pt x="1208" y="1505"/>
                    </a:lnTo>
                    <a:lnTo>
                      <a:pt x="1207" y="1505"/>
                    </a:lnTo>
                    <a:lnTo>
                      <a:pt x="1207" y="1504"/>
                    </a:lnTo>
                    <a:lnTo>
                      <a:pt x="1208" y="1504"/>
                    </a:lnTo>
                    <a:lnTo>
                      <a:pt x="1207" y="1504"/>
                    </a:lnTo>
                    <a:lnTo>
                      <a:pt x="1205" y="1504"/>
                    </a:lnTo>
                    <a:lnTo>
                      <a:pt x="1207" y="1502"/>
                    </a:lnTo>
                    <a:lnTo>
                      <a:pt x="1208" y="1502"/>
                    </a:lnTo>
                    <a:lnTo>
                      <a:pt x="1208" y="1500"/>
                    </a:lnTo>
                    <a:lnTo>
                      <a:pt x="1208" y="1498"/>
                    </a:lnTo>
                    <a:lnTo>
                      <a:pt x="1208" y="1500"/>
                    </a:lnTo>
                    <a:lnTo>
                      <a:pt x="1210" y="1498"/>
                    </a:lnTo>
                    <a:lnTo>
                      <a:pt x="1208" y="1500"/>
                    </a:lnTo>
                    <a:lnTo>
                      <a:pt x="1210" y="1500"/>
                    </a:lnTo>
                    <a:lnTo>
                      <a:pt x="1210" y="1498"/>
                    </a:lnTo>
                    <a:lnTo>
                      <a:pt x="1212" y="1498"/>
                    </a:lnTo>
                    <a:lnTo>
                      <a:pt x="1210" y="1498"/>
                    </a:lnTo>
                    <a:lnTo>
                      <a:pt x="1208" y="1498"/>
                    </a:lnTo>
                    <a:lnTo>
                      <a:pt x="1208" y="1497"/>
                    </a:lnTo>
                    <a:lnTo>
                      <a:pt x="1207" y="1497"/>
                    </a:lnTo>
                    <a:lnTo>
                      <a:pt x="1208" y="1497"/>
                    </a:lnTo>
                    <a:lnTo>
                      <a:pt x="1207" y="1497"/>
                    </a:lnTo>
                    <a:lnTo>
                      <a:pt x="1208" y="1495"/>
                    </a:lnTo>
                    <a:lnTo>
                      <a:pt x="1210" y="1495"/>
                    </a:lnTo>
                    <a:lnTo>
                      <a:pt x="1208" y="1495"/>
                    </a:lnTo>
                    <a:lnTo>
                      <a:pt x="1210" y="1493"/>
                    </a:lnTo>
                    <a:lnTo>
                      <a:pt x="1210" y="1495"/>
                    </a:lnTo>
                    <a:lnTo>
                      <a:pt x="1212" y="1495"/>
                    </a:lnTo>
                    <a:lnTo>
                      <a:pt x="1210" y="1493"/>
                    </a:lnTo>
                    <a:lnTo>
                      <a:pt x="1208" y="1492"/>
                    </a:lnTo>
                    <a:lnTo>
                      <a:pt x="1210" y="1493"/>
                    </a:lnTo>
                    <a:lnTo>
                      <a:pt x="1212" y="1493"/>
                    </a:lnTo>
                    <a:lnTo>
                      <a:pt x="1212" y="1495"/>
                    </a:lnTo>
                    <a:lnTo>
                      <a:pt x="1212" y="1493"/>
                    </a:lnTo>
                    <a:lnTo>
                      <a:pt x="1212" y="1492"/>
                    </a:lnTo>
                    <a:lnTo>
                      <a:pt x="1210" y="1492"/>
                    </a:lnTo>
                    <a:lnTo>
                      <a:pt x="1212" y="1490"/>
                    </a:lnTo>
                    <a:lnTo>
                      <a:pt x="1212" y="1488"/>
                    </a:lnTo>
                    <a:lnTo>
                      <a:pt x="1212" y="1490"/>
                    </a:lnTo>
                    <a:lnTo>
                      <a:pt x="1213" y="1490"/>
                    </a:lnTo>
                    <a:lnTo>
                      <a:pt x="1215" y="1490"/>
                    </a:lnTo>
                    <a:lnTo>
                      <a:pt x="1215" y="1488"/>
                    </a:lnTo>
                    <a:lnTo>
                      <a:pt x="1213" y="1488"/>
                    </a:lnTo>
                    <a:lnTo>
                      <a:pt x="1212" y="1488"/>
                    </a:lnTo>
                    <a:lnTo>
                      <a:pt x="1212" y="1487"/>
                    </a:lnTo>
                    <a:lnTo>
                      <a:pt x="1213" y="1487"/>
                    </a:lnTo>
                    <a:lnTo>
                      <a:pt x="1213" y="1485"/>
                    </a:lnTo>
                    <a:lnTo>
                      <a:pt x="1212" y="1487"/>
                    </a:lnTo>
                    <a:lnTo>
                      <a:pt x="1212" y="1488"/>
                    </a:lnTo>
                    <a:lnTo>
                      <a:pt x="1210" y="1488"/>
                    </a:lnTo>
                    <a:lnTo>
                      <a:pt x="1210" y="1487"/>
                    </a:lnTo>
                    <a:lnTo>
                      <a:pt x="1208" y="1487"/>
                    </a:lnTo>
                    <a:lnTo>
                      <a:pt x="1208" y="1485"/>
                    </a:lnTo>
                    <a:lnTo>
                      <a:pt x="1208" y="1483"/>
                    </a:lnTo>
                    <a:lnTo>
                      <a:pt x="1210" y="1483"/>
                    </a:lnTo>
                    <a:lnTo>
                      <a:pt x="1210" y="1485"/>
                    </a:lnTo>
                    <a:lnTo>
                      <a:pt x="1212" y="1483"/>
                    </a:lnTo>
                    <a:lnTo>
                      <a:pt x="1210" y="1481"/>
                    </a:lnTo>
                    <a:lnTo>
                      <a:pt x="1212" y="1481"/>
                    </a:lnTo>
                    <a:lnTo>
                      <a:pt x="1210" y="1481"/>
                    </a:lnTo>
                    <a:lnTo>
                      <a:pt x="1212" y="1481"/>
                    </a:lnTo>
                    <a:lnTo>
                      <a:pt x="1212" y="1480"/>
                    </a:lnTo>
                    <a:lnTo>
                      <a:pt x="1210" y="1480"/>
                    </a:lnTo>
                    <a:lnTo>
                      <a:pt x="1210" y="1478"/>
                    </a:lnTo>
                    <a:lnTo>
                      <a:pt x="1210" y="1476"/>
                    </a:lnTo>
                    <a:lnTo>
                      <a:pt x="1212" y="1475"/>
                    </a:lnTo>
                    <a:lnTo>
                      <a:pt x="1212" y="1473"/>
                    </a:lnTo>
                    <a:lnTo>
                      <a:pt x="1210" y="1473"/>
                    </a:lnTo>
                    <a:lnTo>
                      <a:pt x="1210" y="1471"/>
                    </a:lnTo>
                    <a:lnTo>
                      <a:pt x="1208" y="1471"/>
                    </a:lnTo>
                    <a:lnTo>
                      <a:pt x="1208" y="1470"/>
                    </a:lnTo>
                    <a:lnTo>
                      <a:pt x="1207" y="1468"/>
                    </a:lnTo>
                    <a:lnTo>
                      <a:pt x="1207" y="1466"/>
                    </a:lnTo>
                    <a:lnTo>
                      <a:pt x="1205" y="1466"/>
                    </a:lnTo>
                    <a:lnTo>
                      <a:pt x="1205" y="1464"/>
                    </a:lnTo>
                    <a:lnTo>
                      <a:pt x="1207" y="1463"/>
                    </a:lnTo>
                    <a:lnTo>
                      <a:pt x="1208" y="1464"/>
                    </a:lnTo>
                    <a:lnTo>
                      <a:pt x="1207" y="1466"/>
                    </a:lnTo>
                    <a:lnTo>
                      <a:pt x="1208" y="1466"/>
                    </a:lnTo>
                    <a:lnTo>
                      <a:pt x="1208" y="1468"/>
                    </a:lnTo>
                    <a:lnTo>
                      <a:pt x="1210" y="1468"/>
                    </a:lnTo>
                    <a:lnTo>
                      <a:pt x="1210" y="1470"/>
                    </a:lnTo>
                    <a:lnTo>
                      <a:pt x="1210" y="1471"/>
                    </a:lnTo>
                    <a:lnTo>
                      <a:pt x="1210" y="1470"/>
                    </a:lnTo>
                    <a:lnTo>
                      <a:pt x="1212" y="1470"/>
                    </a:lnTo>
                    <a:lnTo>
                      <a:pt x="1212" y="1471"/>
                    </a:lnTo>
                    <a:lnTo>
                      <a:pt x="1212" y="1473"/>
                    </a:lnTo>
                    <a:lnTo>
                      <a:pt x="1213" y="1473"/>
                    </a:lnTo>
                    <a:lnTo>
                      <a:pt x="1213" y="1471"/>
                    </a:lnTo>
                    <a:lnTo>
                      <a:pt x="1213" y="1470"/>
                    </a:lnTo>
                    <a:lnTo>
                      <a:pt x="1212" y="1470"/>
                    </a:lnTo>
                    <a:lnTo>
                      <a:pt x="1213" y="1470"/>
                    </a:lnTo>
                    <a:lnTo>
                      <a:pt x="1215" y="1470"/>
                    </a:lnTo>
                    <a:lnTo>
                      <a:pt x="1217" y="1471"/>
                    </a:lnTo>
                    <a:lnTo>
                      <a:pt x="1217" y="1473"/>
                    </a:lnTo>
                    <a:lnTo>
                      <a:pt x="1219" y="1475"/>
                    </a:lnTo>
                    <a:lnTo>
                      <a:pt x="1219" y="1473"/>
                    </a:lnTo>
                    <a:lnTo>
                      <a:pt x="1220" y="1473"/>
                    </a:lnTo>
                    <a:lnTo>
                      <a:pt x="1222" y="1473"/>
                    </a:lnTo>
                    <a:lnTo>
                      <a:pt x="1222" y="1471"/>
                    </a:lnTo>
                    <a:lnTo>
                      <a:pt x="1222" y="1470"/>
                    </a:lnTo>
                    <a:lnTo>
                      <a:pt x="1222" y="1468"/>
                    </a:lnTo>
                    <a:lnTo>
                      <a:pt x="1224" y="1468"/>
                    </a:lnTo>
                    <a:lnTo>
                      <a:pt x="1225" y="1470"/>
                    </a:lnTo>
                    <a:lnTo>
                      <a:pt x="1225" y="1468"/>
                    </a:lnTo>
                    <a:lnTo>
                      <a:pt x="1227" y="1466"/>
                    </a:lnTo>
                    <a:lnTo>
                      <a:pt x="1229" y="1466"/>
                    </a:lnTo>
                    <a:lnTo>
                      <a:pt x="1230" y="1464"/>
                    </a:lnTo>
                    <a:lnTo>
                      <a:pt x="1230" y="1466"/>
                    </a:lnTo>
                    <a:lnTo>
                      <a:pt x="1229" y="1466"/>
                    </a:lnTo>
                    <a:lnTo>
                      <a:pt x="1229" y="1468"/>
                    </a:lnTo>
                    <a:lnTo>
                      <a:pt x="1230" y="1470"/>
                    </a:lnTo>
                    <a:lnTo>
                      <a:pt x="1229" y="1470"/>
                    </a:lnTo>
                    <a:lnTo>
                      <a:pt x="1227" y="1470"/>
                    </a:lnTo>
                    <a:lnTo>
                      <a:pt x="1229" y="1471"/>
                    </a:lnTo>
                    <a:lnTo>
                      <a:pt x="1227" y="1471"/>
                    </a:lnTo>
                    <a:lnTo>
                      <a:pt x="1227" y="1473"/>
                    </a:lnTo>
                    <a:lnTo>
                      <a:pt x="1227" y="1475"/>
                    </a:lnTo>
                    <a:lnTo>
                      <a:pt x="1225" y="1475"/>
                    </a:lnTo>
                    <a:lnTo>
                      <a:pt x="1227" y="1475"/>
                    </a:lnTo>
                    <a:lnTo>
                      <a:pt x="1227" y="1473"/>
                    </a:lnTo>
                    <a:lnTo>
                      <a:pt x="1229" y="1471"/>
                    </a:lnTo>
                    <a:lnTo>
                      <a:pt x="1230" y="1471"/>
                    </a:lnTo>
                    <a:lnTo>
                      <a:pt x="1230" y="1473"/>
                    </a:lnTo>
                    <a:lnTo>
                      <a:pt x="1232" y="1473"/>
                    </a:lnTo>
                    <a:lnTo>
                      <a:pt x="1232" y="1475"/>
                    </a:lnTo>
                    <a:lnTo>
                      <a:pt x="1232" y="1476"/>
                    </a:lnTo>
                    <a:lnTo>
                      <a:pt x="1230" y="1476"/>
                    </a:lnTo>
                    <a:lnTo>
                      <a:pt x="1230" y="1478"/>
                    </a:lnTo>
                    <a:lnTo>
                      <a:pt x="1232" y="1478"/>
                    </a:lnTo>
                    <a:lnTo>
                      <a:pt x="1234" y="1478"/>
                    </a:lnTo>
                    <a:lnTo>
                      <a:pt x="1232" y="1476"/>
                    </a:lnTo>
                    <a:lnTo>
                      <a:pt x="1234" y="1476"/>
                    </a:lnTo>
                    <a:lnTo>
                      <a:pt x="1234" y="1478"/>
                    </a:lnTo>
                    <a:lnTo>
                      <a:pt x="1234" y="1476"/>
                    </a:lnTo>
                    <a:lnTo>
                      <a:pt x="1234" y="1475"/>
                    </a:lnTo>
                    <a:lnTo>
                      <a:pt x="1234" y="1473"/>
                    </a:lnTo>
                    <a:lnTo>
                      <a:pt x="1236" y="1473"/>
                    </a:lnTo>
                    <a:lnTo>
                      <a:pt x="1236" y="1471"/>
                    </a:lnTo>
                    <a:lnTo>
                      <a:pt x="1236" y="1470"/>
                    </a:lnTo>
                    <a:lnTo>
                      <a:pt x="1236" y="1468"/>
                    </a:lnTo>
                    <a:lnTo>
                      <a:pt x="1237" y="1468"/>
                    </a:lnTo>
                    <a:lnTo>
                      <a:pt x="1236" y="1466"/>
                    </a:lnTo>
                    <a:lnTo>
                      <a:pt x="1237" y="1468"/>
                    </a:lnTo>
                    <a:lnTo>
                      <a:pt x="1237" y="1466"/>
                    </a:lnTo>
                    <a:lnTo>
                      <a:pt x="1239" y="1466"/>
                    </a:lnTo>
                    <a:lnTo>
                      <a:pt x="1237" y="1464"/>
                    </a:lnTo>
                    <a:lnTo>
                      <a:pt x="1237" y="1466"/>
                    </a:lnTo>
                    <a:lnTo>
                      <a:pt x="1236" y="1466"/>
                    </a:lnTo>
                    <a:lnTo>
                      <a:pt x="1236" y="1468"/>
                    </a:lnTo>
                    <a:lnTo>
                      <a:pt x="1234" y="1470"/>
                    </a:lnTo>
                    <a:lnTo>
                      <a:pt x="1234" y="1471"/>
                    </a:lnTo>
                    <a:lnTo>
                      <a:pt x="1234" y="1473"/>
                    </a:lnTo>
                    <a:lnTo>
                      <a:pt x="1232" y="1475"/>
                    </a:lnTo>
                    <a:lnTo>
                      <a:pt x="1232" y="1473"/>
                    </a:lnTo>
                    <a:lnTo>
                      <a:pt x="1232" y="1471"/>
                    </a:lnTo>
                    <a:lnTo>
                      <a:pt x="1230" y="1471"/>
                    </a:lnTo>
                    <a:lnTo>
                      <a:pt x="1230" y="1470"/>
                    </a:lnTo>
                    <a:lnTo>
                      <a:pt x="1230" y="1468"/>
                    </a:lnTo>
                    <a:lnTo>
                      <a:pt x="1230" y="1466"/>
                    </a:lnTo>
                    <a:lnTo>
                      <a:pt x="1232" y="1466"/>
                    </a:lnTo>
                    <a:lnTo>
                      <a:pt x="1230" y="1466"/>
                    </a:lnTo>
                    <a:lnTo>
                      <a:pt x="1232" y="1464"/>
                    </a:lnTo>
                    <a:lnTo>
                      <a:pt x="1232" y="1466"/>
                    </a:lnTo>
                    <a:lnTo>
                      <a:pt x="1234" y="1466"/>
                    </a:lnTo>
                    <a:lnTo>
                      <a:pt x="1234" y="1464"/>
                    </a:lnTo>
                    <a:lnTo>
                      <a:pt x="1234" y="1463"/>
                    </a:lnTo>
                    <a:lnTo>
                      <a:pt x="1234" y="1461"/>
                    </a:lnTo>
                    <a:lnTo>
                      <a:pt x="1234" y="1459"/>
                    </a:lnTo>
                    <a:lnTo>
                      <a:pt x="1236" y="1459"/>
                    </a:lnTo>
                    <a:lnTo>
                      <a:pt x="1237" y="1459"/>
                    </a:lnTo>
                    <a:lnTo>
                      <a:pt x="1239" y="1459"/>
                    </a:lnTo>
                    <a:lnTo>
                      <a:pt x="1239" y="1461"/>
                    </a:lnTo>
                    <a:lnTo>
                      <a:pt x="1239" y="1463"/>
                    </a:lnTo>
                    <a:lnTo>
                      <a:pt x="1239" y="1464"/>
                    </a:lnTo>
                    <a:lnTo>
                      <a:pt x="1239" y="1466"/>
                    </a:lnTo>
                    <a:lnTo>
                      <a:pt x="1241" y="1468"/>
                    </a:lnTo>
                    <a:lnTo>
                      <a:pt x="1241" y="1470"/>
                    </a:lnTo>
                    <a:lnTo>
                      <a:pt x="1242" y="1470"/>
                    </a:lnTo>
                    <a:lnTo>
                      <a:pt x="1242" y="1468"/>
                    </a:lnTo>
                    <a:lnTo>
                      <a:pt x="1244" y="1470"/>
                    </a:lnTo>
                    <a:lnTo>
                      <a:pt x="1244" y="1471"/>
                    </a:lnTo>
                    <a:lnTo>
                      <a:pt x="1244" y="1473"/>
                    </a:lnTo>
                    <a:lnTo>
                      <a:pt x="1246" y="1473"/>
                    </a:lnTo>
                    <a:lnTo>
                      <a:pt x="1246" y="1475"/>
                    </a:lnTo>
                    <a:lnTo>
                      <a:pt x="1244" y="1475"/>
                    </a:lnTo>
                    <a:lnTo>
                      <a:pt x="1244" y="1476"/>
                    </a:lnTo>
                    <a:lnTo>
                      <a:pt x="1244" y="1478"/>
                    </a:lnTo>
                    <a:lnTo>
                      <a:pt x="1244" y="1480"/>
                    </a:lnTo>
                    <a:lnTo>
                      <a:pt x="1244" y="1481"/>
                    </a:lnTo>
                    <a:lnTo>
                      <a:pt x="1242" y="1481"/>
                    </a:lnTo>
                    <a:lnTo>
                      <a:pt x="1244" y="1481"/>
                    </a:lnTo>
                    <a:lnTo>
                      <a:pt x="1242" y="1481"/>
                    </a:lnTo>
                    <a:lnTo>
                      <a:pt x="1242" y="1483"/>
                    </a:lnTo>
                    <a:lnTo>
                      <a:pt x="1242" y="1481"/>
                    </a:lnTo>
                    <a:lnTo>
                      <a:pt x="1242" y="1483"/>
                    </a:lnTo>
                    <a:lnTo>
                      <a:pt x="1241" y="1481"/>
                    </a:lnTo>
                    <a:lnTo>
                      <a:pt x="1239" y="1481"/>
                    </a:lnTo>
                    <a:lnTo>
                      <a:pt x="1239" y="1483"/>
                    </a:lnTo>
                    <a:lnTo>
                      <a:pt x="1239" y="1485"/>
                    </a:lnTo>
                    <a:lnTo>
                      <a:pt x="1237" y="1483"/>
                    </a:lnTo>
                    <a:lnTo>
                      <a:pt x="1237" y="1485"/>
                    </a:lnTo>
                    <a:lnTo>
                      <a:pt x="1236" y="1485"/>
                    </a:lnTo>
                    <a:lnTo>
                      <a:pt x="1236" y="1487"/>
                    </a:lnTo>
                    <a:lnTo>
                      <a:pt x="1234" y="1487"/>
                    </a:lnTo>
                    <a:lnTo>
                      <a:pt x="1234" y="1488"/>
                    </a:lnTo>
                    <a:lnTo>
                      <a:pt x="1232" y="1488"/>
                    </a:lnTo>
                    <a:lnTo>
                      <a:pt x="1230" y="1488"/>
                    </a:lnTo>
                    <a:lnTo>
                      <a:pt x="1230" y="1490"/>
                    </a:lnTo>
                    <a:lnTo>
                      <a:pt x="1232" y="1490"/>
                    </a:lnTo>
                    <a:lnTo>
                      <a:pt x="1234" y="1488"/>
                    </a:lnTo>
                    <a:lnTo>
                      <a:pt x="1236" y="1488"/>
                    </a:lnTo>
                    <a:lnTo>
                      <a:pt x="1236" y="1487"/>
                    </a:lnTo>
                    <a:lnTo>
                      <a:pt x="1237" y="1487"/>
                    </a:lnTo>
                    <a:lnTo>
                      <a:pt x="1239" y="1487"/>
                    </a:lnTo>
                    <a:lnTo>
                      <a:pt x="1241" y="1487"/>
                    </a:lnTo>
                    <a:lnTo>
                      <a:pt x="1242" y="1487"/>
                    </a:lnTo>
                    <a:lnTo>
                      <a:pt x="1241" y="1487"/>
                    </a:lnTo>
                    <a:lnTo>
                      <a:pt x="1242" y="1487"/>
                    </a:lnTo>
                    <a:lnTo>
                      <a:pt x="1241" y="1485"/>
                    </a:lnTo>
                    <a:lnTo>
                      <a:pt x="1242" y="1485"/>
                    </a:lnTo>
                    <a:lnTo>
                      <a:pt x="1242" y="1483"/>
                    </a:lnTo>
                    <a:lnTo>
                      <a:pt x="1242" y="1485"/>
                    </a:lnTo>
                    <a:lnTo>
                      <a:pt x="1244" y="1483"/>
                    </a:lnTo>
                    <a:lnTo>
                      <a:pt x="1244" y="1485"/>
                    </a:lnTo>
                    <a:lnTo>
                      <a:pt x="1244" y="1483"/>
                    </a:lnTo>
                    <a:lnTo>
                      <a:pt x="1246" y="1483"/>
                    </a:lnTo>
                    <a:lnTo>
                      <a:pt x="1246" y="1481"/>
                    </a:lnTo>
                    <a:lnTo>
                      <a:pt x="1246" y="1480"/>
                    </a:lnTo>
                    <a:lnTo>
                      <a:pt x="1247" y="1478"/>
                    </a:lnTo>
                    <a:lnTo>
                      <a:pt x="1246" y="1478"/>
                    </a:lnTo>
                    <a:lnTo>
                      <a:pt x="1246" y="1476"/>
                    </a:lnTo>
                    <a:lnTo>
                      <a:pt x="1247" y="1476"/>
                    </a:lnTo>
                    <a:lnTo>
                      <a:pt x="1247" y="1475"/>
                    </a:lnTo>
                    <a:lnTo>
                      <a:pt x="1247" y="1473"/>
                    </a:lnTo>
                    <a:lnTo>
                      <a:pt x="1246" y="1473"/>
                    </a:lnTo>
                    <a:lnTo>
                      <a:pt x="1246" y="1471"/>
                    </a:lnTo>
                    <a:lnTo>
                      <a:pt x="1244" y="1470"/>
                    </a:lnTo>
                    <a:lnTo>
                      <a:pt x="1244" y="1468"/>
                    </a:lnTo>
                    <a:lnTo>
                      <a:pt x="1242" y="1466"/>
                    </a:lnTo>
                    <a:lnTo>
                      <a:pt x="1242" y="1464"/>
                    </a:lnTo>
                    <a:lnTo>
                      <a:pt x="1241" y="1464"/>
                    </a:lnTo>
                    <a:lnTo>
                      <a:pt x="1241" y="1463"/>
                    </a:lnTo>
                    <a:lnTo>
                      <a:pt x="1241" y="1461"/>
                    </a:lnTo>
                    <a:lnTo>
                      <a:pt x="1241" y="1459"/>
                    </a:lnTo>
                    <a:lnTo>
                      <a:pt x="1242" y="1458"/>
                    </a:lnTo>
                    <a:lnTo>
                      <a:pt x="1244" y="1458"/>
                    </a:lnTo>
                    <a:lnTo>
                      <a:pt x="1242" y="1458"/>
                    </a:lnTo>
                    <a:lnTo>
                      <a:pt x="1244" y="1459"/>
                    </a:lnTo>
                    <a:lnTo>
                      <a:pt x="1244" y="1461"/>
                    </a:lnTo>
                    <a:lnTo>
                      <a:pt x="1244" y="1459"/>
                    </a:lnTo>
                    <a:lnTo>
                      <a:pt x="1244" y="1458"/>
                    </a:lnTo>
                    <a:lnTo>
                      <a:pt x="1246" y="1459"/>
                    </a:lnTo>
                    <a:lnTo>
                      <a:pt x="1247" y="1458"/>
                    </a:lnTo>
                    <a:lnTo>
                      <a:pt x="1249" y="1458"/>
                    </a:lnTo>
                    <a:lnTo>
                      <a:pt x="1247" y="1456"/>
                    </a:lnTo>
                    <a:lnTo>
                      <a:pt x="1247" y="1454"/>
                    </a:lnTo>
                    <a:lnTo>
                      <a:pt x="1246" y="1453"/>
                    </a:lnTo>
                    <a:lnTo>
                      <a:pt x="1247" y="1453"/>
                    </a:lnTo>
                    <a:lnTo>
                      <a:pt x="1247" y="1451"/>
                    </a:lnTo>
                    <a:lnTo>
                      <a:pt x="1249" y="1449"/>
                    </a:lnTo>
                    <a:lnTo>
                      <a:pt x="1247" y="1449"/>
                    </a:lnTo>
                    <a:lnTo>
                      <a:pt x="1247" y="1447"/>
                    </a:lnTo>
                    <a:lnTo>
                      <a:pt x="1246" y="1447"/>
                    </a:lnTo>
                    <a:lnTo>
                      <a:pt x="1247" y="1446"/>
                    </a:lnTo>
                    <a:lnTo>
                      <a:pt x="1246" y="1446"/>
                    </a:lnTo>
                    <a:lnTo>
                      <a:pt x="1244" y="1444"/>
                    </a:lnTo>
                    <a:lnTo>
                      <a:pt x="1242" y="1444"/>
                    </a:lnTo>
                    <a:lnTo>
                      <a:pt x="1242" y="1442"/>
                    </a:lnTo>
                    <a:lnTo>
                      <a:pt x="1242" y="1441"/>
                    </a:lnTo>
                    <a:lnTo>
                      <a:pt x="1241" y="1441"/>
                    </a:lnTo>
                    <a:lnTo>
                      <a:pt x="1241" y="1439"/>
                    </a:lnTo>
                    <a:lnTo>
                      <a:pt x="1241" y="1441"/>
                    </a:lnTo>
                    <a:lnTo>
                      <a:pt x="1242" y="1441"/>
                    </a:lnTo>
                    <a:lnTo>
                      <a:pt x="1241" y="1442"/>
                    </a:lnTo>
                    <a:lnTo>
                      <a:pt x="1241" y="1441"/>
                    </a:lnTo>
                    <a:lnTo>
                      <a:pt x="1241" y="1439"/>
                    </a:lnTo>
                    <a:lnTo>
                      <a:pt x="1239" y="1439"/>
                    </a:lnTo>
                    <a:lnTo>
                      <a:pt x="1241" y="1439"/>
                    </a:lnTo>
                    <a:lnTo>
                      <a:pt x="1239" y="1439"/>
                    </a:lnTo>
                    <a:lnTo>
                      <a:pt x="1239" y="1437"/>
                    </a:lnTo>
                    <a:lnTo>
                      <a:pt x="1237" y="1439"/>
                    </a:lnTo>
                    <a:lnTo>
                      <a:pt x="1237" y="1437"/>
                    </a:lnTo>
                    <a:lnTo>
                      <a:pt x="1236" y="1437"/>
                    </a:lnTo>
                    <a:lnTo>
                      <a:pt x="1234" y="1437"/>
                    </a:lnTo>
                    <a:lnTo>
                      <a:pt x="1232" y="1435"/>
                    </a:lnTo>
                    <a:lnTo>
                      <a:pt x="1232" y="1434"/>
                    </a:lnTo>
                    <a:lnTo>
                      <a:pt x="1230" y="1434"/>
                    </a:lnTo>
                    <a:lnTo>
                      <a:pt x="1229" y="1434"/>
                    </a:lnTo>
                    <a:lnTo>
                      <a:pt x="1227" y="1434"/>
                    </a:lnTo>
                    <a:lnTo>
                      <a:pt x="1227" y="1432"/>
                    </a:lnTo>
                    <a:lnTo>
                      <a:pt x="1227" y="1430"/>
                    </a:lnTo>
                    <a:lnTo>
                      <a:pt x="1225" y="1432"/>
                    </a:lnTo>
                    <a:lnTo>
                      <a:pt x="1224" y="1432"/>
                    </a:lnTo>
                    <a:lnTo>
                      <a:pt x="1224" y="1434"/>
                    </a:lnTo>
                    <a:lnTo>
                      <a:pt x="1222" y="1432"/>
                    </a:lnTo>
                    <a:lnTo>
                      <a:pt x="1222" y="1434"/>
                    </a:lnTo>
                    <a:lnTo>
                      <a:pt x="1222" y="1432"/>
                    </a:lnTo>
                    <a:lnTo>
                      <a:pt x="1220" y="1434"/>
                    </a:lnTo>
                    <a:lnTo>
                      <a:pt x="1222" y="1434"/>
                    </a:lnTo>
                    <a:lnTo>
                      <a:pt x="1222" y="1435"/>
                    </a:lnTo>
                    <a:lnTo>
                      <a:pt x="1224" y="1435"/>
                    </a:lnTo>
                    <a:lnTo>
                      <a:pt x="1224" y="1434"/>
                    </a:lnTo>
                    <a:lnTo>
                      <a:pt x="1225" y="1434"/>
                    </a:lnTo>
                    <a:lnTo>
                      <a:pt x="1227" y="1434"/>
                    </a:lnTo>
                    <a:lnTo>
                      <a:pt x="1229" y="1434"/>
                    </a:lnTo>
                    <a:lnTo>
                      <a:pt x="1229" y="1435"/>
                    </a:lnTo>
                    <a:lnTo>
                      <a:pt x="1229" y="1437"/>
                    </a:lnTo>
                    <a:lnTo>
                      <a:pt x="1227" y="1439"/>
                    </a:lnTo>
                    <a:lnTo>
                      <a:pt x="1225" y="1439"/>
                    </a:lnTo>
                    <a:lnTo>
                      <a:pt x="1225" y="1441"/>
                    </a:lnTo>
                    <a:lnTo>
                      <a:pt x="1227" y="1439"/>
                    </a:lnTo>
                    <a:lnTo>
                      <a:pt x="1229" y="1439"/>
                    </a:lnTo>
                    <a:lnTo>
                      <a:pt x="1229" y="1437"/>
                    </a:lnTo>
                    <a:lnTo>
                      <a:pt x="1229" y="1435"/>
                    </a:lnTo>
                    <a:lnTo>
                      <a:pt x="1230" y="1435"/>
                    </a:lnTo>
                    <a:lnTo>
                      <a:pt x="1232" y="1437"/>
                    </a:lnTo>
                    <a:lnTo>
                      <a:pt x="1232" y="1439"/>
                    </a:lnTo>
                    <a:lnTo>
                      <a:pt x="1234" y="1437"/>
                    </a:lnTo>
                    <a:lnTo>
                      <a:pt x="1234" y="1439"/>
                    </a:lnTo>
                    <a:lnTo>
                      <a:pt x="1236" y="1441"/>
                    </a:lnTo>
                    <a:lnTo>
                      <a:pt x="1236" y="1439"/>
                    </a:lnTo>
                    <a:lnTo>
                      <a:pt x="1237" y="1439"/>
                    </a:lnTo>
                    <a:lnTo>
                      <a:pt x="1237" y="1441"/>
                    </a:lnTo>
                    <a:lnTo>
                      <a:pt x="1239" y="1441"/>
                    </a:lnTo>
                    <a:lnTo>
                      <a:pt x="1239" y="1442"/>
                    </a:lnTo>
                    <a:lnTo>
                      <a:pt x="1241" y="1444"/>
                    </a:lnTo>
                    <a:lnTo>
                      <a:pt x="1241" y="1446"/>
                    </a:lnTo>
                    <a:lnTo>
                      <a:pt x="1242" y="1444"/>
                    </a:lnTo>
                    <a:lnTo>
                      <a:pt x="1242" y="1446"/>
                    </a:lnTo>
                    <a:lnTo>
                      <a:pt x="1244" y="1446"/>
                    </a:lnTo>
                    <a:lnTo>
                      <a:pt x="1246" y="1446"/>
                    </a:lnTo>
                    <a:lnTo>
                      <a:pt x="1246" y="1447"/>
                    </a:lnTo>
                    <a:lnTo>
                      <a:pt x="1246" y="1449"/>
                    </a:lnTo>
                    <a:lnTo>
                      <a:pt x="1244" y="1451"/>
                    </a:lnTo>
                    <a:lnTo>
                      <a:pt x="1244" y="1453"/>
                    </a:lnTo>
                    <a:lnTo>
                      <a:pt x="1242" y="1453"/>
                    </a:lnTo>
                    <a:lnTo>
                      <a:pt x="1241" y="1453"/>
                    </a:lnTo>
                    <a:lnTo>
                      <a:pt x="1239" y="1451"/>
                    </a:lnTo>
                    <a:lnTo>
                      <a:pt x="1239" y="1453"/>
                    </a:lnTo>
                    <a:lnTo>
                      <a:pt x="1239" y="1451"/>
                    </a:lnTo>
                    <a:lnTo>
                      <a:pt x="1237" y="1451"/>
                    </a:lnTo>
                    <a:lnTo>
                      <a:pt x="1237" y="1449"/>
                    </a:lnTo>
                    <a:lnTo>
                      <a:pt x="1236" y="1449"/>
                    </a:lnTo>
                    <a:lnTo>
                      <a:pt x="1234" y="1447"/>
                    </a:lnTo>
                    <a:lnTo>
                      <a:pt x="1234" y="1449"/>
                    </a:lnTo>
                    <a:lnTo>
                      <a:pt x="1232" y="1447"/>
                    </a:lnTo>
                    <a:lnTo>
                      <a:pt x="1232" y="1449"/>
                    </a:lnTo>
                    <a:lnTo>
                      <a:pt x="1230" y="1449"/>
                    </a:lnTo>
                    <a:lnTo>
                      <a:pt x="1230" y="1447"/>
                    </a:lnTo>
                    <a:lnTo>
                      <a:pt x="1230" y="1446"/>
                    </a:lnTo>
                    <a:lnTo>
                      <a:pt x="1229" y="1446"/>
                    </a:lnTo>
                    <a:lnTo>
                      <a:pt x="1227" y="1446"/>
                    </a:lnTo>
                    <a:lnTo>
                      <a:pt x="1227" y="1444"/>
                    </a:lnTo>
                    <a:lnTo>
                      <a:pt x="1227" y="1446"/>
                    </a:lnTo>
                    <a:lnTo>
                      <a:pt x="1225" y="1446"/>
                    </a:lnTo>
                    <a:lnTo>
                      <a:pt x="1225" y="1444"/>
                    </a:lnTo>
                    <a:lnTo>
                      <a:pt x="1224" y="1444"/>
                    </a:lnTo>
                    <a:lnTo>
                      <a:pt x="1224" y="1442"/>
                    </a:lnTo>
                    <a:lnTo>
                      <a:pt x="1224" y="1441"/>
                    </a:lnTo>
                    <a:lnTo>
                      <a:pt x="1222" y="1441"/>
                    </a:lnTo>
                    <a:lnTo>
                      <a:pt x="1220" y="1439"/>
                    </a:lnTo>
                    <a:lnTo>
                      <a:pt x="1220" y="1441"/>
                    </a:lnTo>
                    <a:lnTo>
                      <a:pt x="1222" y="1441"/>
                    </a:lnTo>
                    <a:lnTo>
                      <a:pt x="1222" y="1442"/>
                    </a:lnTo>
                    <a:lnTo>
                      <a:pt x="1222" y="1444"/>
                    </a:lnTo>
                    <a:lnTo>
                      <a:pt x="1220" y="1444"/>
                    </a:lnTo>
                    <a:lnTo>
                      <a:pt x="1220" y="1446"/>
                    </a:lnTo>
                    <a:lnTo>
                      <a:pt x="1222" y="1444"/>
                    </a:lnTo>
                    <a:lnTo>
                      <a:pt x="1224" y="1446"/>
                    </a:lnTo>
                    <a:lnTo>
                      <a:pt x="1225" y="1446"/>
                    </a:lnTo>
                    <a:lnTo>
                      <a:pt x="1227" y="1446"/>
                    </a:lnTo>
                    <a:lnTo>
                      <a:pt x="1229" y="1447"/>
                    </a:lnTo>
                    <a:lnTo>
                      <a:pt x="1229" y="1449"/>
                    </a:lnTo>
                    <a:lnTo>
                      <a:pt x="1230" y="1451"/>
                    </a:lnTo>
                    <a:lnTo>
                      <a:pt x="1229" y="1451"/>
                    </a:lnTo>
                    <a:lnTo>
                      <a:pt x="1229" y="1449"/>
                    </a:lnTo>
                    <a:lnTo>
                      <a:pt x="1227" y="1447"/>
                    </a:lnTo>
                    <a:lnTo>
                      <a:pt x="1225" y="1449"/>
                    </a:lnTo>
                    <a:lnTo>
                      <a:pt x="1224" y="1449"/>
                    </a:lnTo>
                    <a:lnTo>
                      <a:pt x="1225" y="1451"/>
                    </a:lnTo>
                    <a:lnTo>
                      <a:pt x="1225" y="1449"/>
                    </a:lnTo>
                    <a:lnTo>
                      <a:pt x="1227" y="1449"/>
                    </a:lnTo>
                    <a:lnTo>
                      <a:pt x="1229" y="1449"/>
                    </a:lnTo>
                    <a:lnTo>
                      <a:pt x="1229" y="1451"/>
                    </a:lnTo>
                    <a:lnTo>
                      <a:pt x="1229" y="1453"/>
                    </a:lnTo>
                    <a:lnTo>
                      <a:pt x="1227" y="1453"/>
                    </a:lnTo>
                    <a:lnTo>
                      <a:pt x="1227" y="1454"/>
                    </a:lnTo>
                    <a:lnTo>
                      <a:pt x="1225" y="1454"/>
                    </a:lnTo>
                    <a:lnTo>
                      <a:pt x="1225" y="1456"/>
                    </a:lnTo>
                    <a:lnTo>
                      <a:pt x="1224" y="1454"/>
                    </a:lnTo>
                    <a:lnTo>
                      <a:pt x="1224" y="1456"/>
                    </a:lnTo>
                    <a:lnTo>
                      <a:pt x="1224" y="1454"/>
                    </a:lnTo>
                    <a:lnTo>
                      <a:pt x="1222" y="1456"/>
                    </a:lnTo>
                    <a:lnTo>
                      <a:pt x="1224" y="1456"/>
                    </a:lnTo>
                    <a:lnTo>
                      <a:pt x="1225" y="1456"/>
                    </a:lnTo>
                    <a:lnTo>
                      <a:pt x="1227" y="1456"/>
                    </a:lnTo>
                    <a:lnTo>
                      <a:pt x="1227" y="1454"/>
                    </a:lnTo>
                    <a:lnTo>
                      <a:pt x="1229" y="1454"/>
                    </a:lnTo>
                    <a:lnTo>
                      <a:pt x="1229" y="1453"/>
                    </a:lnTo>
                    <a:lnTo>
                      <a:pt x="1230" y="1453"/>
                    </a:lnTo>
                    <a:lnTo>
                      <a:pt x="1230" y="1451"/>
                    </a:lnTo>
                    <a:lnTo>
                      <a:pt x="1232" y="1453"/>
                    </a:lnTo>
                    <a:lnTo>
                      <a:pt x="1232" y="1454"/>
                    </a:lnTo>
                    <a:lnTo>
                      <a:pt x="1232" y="1453"/>
                    </a:lnTo>
                    <a:lnTo>
                      <a:pt x="1232" y="1454"/>
                    </a:lnTo>
                    <a:lnTo>
                      <a:pt x="1232" y="1456"/>
                    </a:lnTo>
                    <a:lnTo>
                      <a:pt x="1230" y="1456"/>
                    </a:lnTo>
                    <a:lnTo>
                      <a:pt x="1229" y="1458"/>
                    </a:lnTo>
                    <a:lnTo>
                      <a:pt x="1227" y="1458"/>
                    </a:lnTo>
                    <a:lnTo>
                      <a:pt x="1225" y="1459"/>
                    </a:lnTo>
                    <a:lnTo>
                      <a:pt x="1225" y="1461"/>
                    </a:lnTo>
                    <a:lnTo>
                      <a:pt x="1225" y="1463"/>
                    </a:lnTo>
                    <a:lnTo>
                      <a:pt x="1225" y="1464"/>
                    </a:lnTo>
                    <a:lnTo>
                      <a:pt x="1225" y="1466"/>
                    </a:lnTo>
                    <a:lnTo>
                      <a:pt x="1225" y="1468"/>
                    </a:lnTo>
                    <a:lnTo>
                      <a:pt x="1224" y="1468"/>
                    </a:lnTo>
                    <a:lnTo>
                      <a:pt x="1222" y="1468"/>
                    </a:lnTo>
                    <a:lnTo>
                      <a:pt x="1222" y="1466"/>
                    </a:lnTo>
                    <a:lnTo>
                      <a:pt x="1222" y="1464"/>
                    </a:lnTo>
                    <a:lnTo>
                      <a:pt x="1222" y="1463"/>
                    </a:lnTo>
                    <a:lnTo>
                      <a:pt x="1222" y="1461"/>
                    </a:lnTo>
                    <a:lnTo>
                      <a:pt x="1220" y="1459"/>
                    </a:lnTo>
                    <a:lnTo>
                      <a:pt x="1222" y="1458"/>
                    </a:lnTo>
                    <a:lnTo>
                      <a:pt x="1220" y="1456"/>
                    </a:lnTo>
                    <a:lnTo>
                      <a:pt x="1220" y="1458"/>
                    </a:lnTo>
                    <a:lnTo>
                      <a:pt x="1220" y="1456"/>
                    </a:lnTo>
                    <a:lnTo>
                      <a:pt x="1222" y="1456"/>
                    </a:lnTo>
                    <a:lnTo>
                      <a:pt x="1220" y="1454"/>
                    </a:lnTo>
                    <a:lnTo>
                      <a:pt x="1220" y="1453"/>
                    </a:lnTo>
                    <a:lnTo>
                      <a:pt x="1220" y="1451"/>
                    </a:lnTo>
                    <a:lnTo>
                      <a:pt x="1220" y="1449"/>
                    </a:lnTo>
                    <a:lnTo>
                      <a:pt x="1219" y="1449"/>
                    </a:lnTo>
                    <a:lnTo>
                      <a:pt x="1219" y="1447"/>
                    </a:lnTo>
                    <a:lnTo>
                      <a:pt x="1219" y="1446"/>
                    </a:lnTo>
                    <a:lnTo>
                      <a:pt x="1217" y="1444"/>
                    </a:lnTo>
                    <a:lnTo>
                      <a:pt x="1217" y="1442"/>
                    </a:lnTo>
                    <a:lnTo>
                      <a:pt x="1217" y="1444"/>
                    </a:lnTo>
                    <a:lnTo>
                      <a:pt x="1217" y="1446"/>
                    </a:lnTo>
                    <a:lnTo>
                      <a:pt x="1219" y="1446"/>
                    </a:lnTo>
                    <a:lnTo>
                      <a:pt x="1219" y="1447"/>
                    </a:lnTo>
                    <a:lnTo>
                      <a:pt x="1219" y="1449"/>
                    </a:lnTo>
                    <a:lnTo>
                      <a:pt x="1219" y="1451"/>
                    </a:lnTo>
                    <a:lnTo>
                      <a:pt x="1219" y="1453"/>
                    </a:lnTo>
                    <a:lnTo>
                      <a:pt x="1220" y="1454"/>
                    </a:lnTo>
                    <a:lnTo>
                      <a:pt x="1219" y="1453"/>
                    </a:lnTo>
                    <a:lnTo>
                      <a:pt x="1219" y="1454"/>
                    </a:lnTo>
                    <a:lnTo>
                      <a:pt x="1220" y="1454"/>
                    </a:lnTo>
                    <a:lnTo>
                      <a:pt x="1219" y="1456"/>
                    </a:lnTo>
                    <a:lnTo>
                      <a:pt x="1220" y="1458"/>
                    </a:lnTo>
                    <a:lnTo>
                      <a:pt x="1220" y="1459"/>
                    </a:lnTo>
                    <a:lnTo>
                      <a:pt x="1220" y="1461"/>
                    </a:lnTo>
                    <a:lnTo>
                      <a:pt x="1220" y="1463"/>
                    </a:lnTo>
                    <a:lnTo>
                      <a:pt x="1220" y="1464"/>
                    </a:lnTo>
                    <a:lnTo>
                      <a:pt x="1220" y="1466"/>
                    </a:lnTo>
                    <a:lnTo>
                      <a:pt x="1222" y="1468"/>
                    </a:lnTo>
                    <a:lnTo>
                      <a:pt x="1220" y="1470"/>
                    </a:lnTo>
                    <a:lnTo>
                      <a:pt x="1220" y="1471"/>
                    </a:lnTo>
                    <a:lnTo>
                      <a:pt x="1219" y="1471"/>
                    </a:lnTo>
                    <a:lnTo>
                      <a:pt x="1219" y="1470"/>
                    </a:lnTo>
                    <a:lnTo>
                      <a:pt x="1217" y="1470"/>
                    </a:lnTo>
                    <a:lnTo>
                      <a:pt x="1217" y="1468"/>
                    </a:lnTo>
                    <a:lnTo>
                      <a:pt x="1215" y="1468"/>
                    </a:lnTo>
                    <a:lnTo>
                      <a:pt x="1215" y="1466"/>
                    </a:lnTo>
                    <a:lnTo>
                      <a:pt x="1213" y="1466"/>
                    </a:lnTo>
                    <a:lnTo>
                      <a:pt x="1212" y="1464"/>
                    </a:lnTo>
                    <a:lnTo>
                      <a:pt x="1212" y="1463"/>
                    </a:lnTo>
                    <a:lnTo>
                      <a:pt x="1210" y="1463"/>
                    </a:lnTo>
                    <a:lnTo>
                      <a:pt x="1212" y="1463"/>
                    </a:lnTo>
                    <a:lnTo>
                      <a:pt x="1210" y="1463"/>
                    </a:lnTo>
                    <a:lnTo>
                      <a:pt x="1210" y="1461"/>
                    </a:lnTo>
                    <a:lnTo>
                      <a:pt x="1210" y="1459"/>
                    </a:lnTo>
                    <a:lnTo>
                      <a:pt x="1210" y="1458"/>
                    </a:lnTo>
                    <a:lnTo>
                      <a:pt x="1212" y="1458"/>
                    </a:lnTo>
                    <a:lnTo>
                      <a:pt x="1210" y="1458"/>
                    </a:lnTo>
                    <a:lnTo>
                      <a:pt x="1210" y="1456"/>
                    </a:lnTo>
                    <a:lnTo>
                      <a:pt x="1208" y="1456"/>
                    </a:lnTo>
                    <a:lnTo>
                      <a:pt x="1208" y="1454"/>
                    </a:lnTo>
                    <a:lnTo>
                      <a:pt x="1208" y="1453"/>
                    </a:lnTo>
                    <a:lnTo>
                      <a:pt x="1208" y="1451"/>
                    </a:lnTo>
                    <a:lnTo>
                      <a:pt x="1210" y="1453"/>
                    </a:lnTo>
                    <a:lnTo>
                      <a:pt x="1210" y="1451"/>
                    </a:lnTo>
                    <a:lnTo>
                      <a:pt x="1210" y="1453"/>
                    </a:lnTo>
                    <a:lnTo>
                      <a:pt x="1210" y="1454"/>
                    </a:lnTo>
                    <a:lnTo>
                      <a:pt x="1212" y="1454"/>
                    </a:lnTo>
                    <a:lnTo>
                      <a:pt x="1212" y="1456"/>
                    </a:lnTo>
                    <a:lnTo>
                      <a:pt x="1213" y="1458"/>
                    </a:lnTo>
                    <a:lnTo>
                      <a:pt x="1213" y="1459"/>
                    </a:lnTo>
                    <a:lnTo>
                      <a:pt x="1212" y="1458"/>
                    </a:lnTo>
                    <a:lnTo>
                      <a:pt x="1212" y="1459"/>
                    </a:lnTo>
                    <a:lnTo>
                      <a:pt x="1213" y="1459"/>
                    </a:lnTo>
                    <a:lnTo>
                      <a:pt x="1215" y="1461"/>
                    </a:lnTo>
                    <a:lnTo>
                      <a:pt x="1215" y="1463"/>
                    </a:lnTo>
                    <a:lnTo>
                      <a:pt x="1217" y="1464"/>
                    </a:lnTo>
                    <a:lnTo>
                      <a:pt x="1217" y="1463"/>
                    </a:lnTo>
                    <a:lnTo>
                      <a:pt x="1215" y="1461"/>
                    </a:lnTo>
                    <a:lnTo>
                      <a:pt x="1215" y="1459"/>
                    </a:lnTo>
                    <a:lnTo>
                      <a:pt x="1215" y="1458"/>
                    </a:lnTo>
                    <a:lnTo>
                      <a:pt x="1213" y="1458"/>
                    </a:lnTo>
                    <a:lnTo>
                      <a:pt x="1215" y="1456"/>
                    </a:lnTo>
                    <a:lnTo>
                      <a:pt x="1213" y="1456"/>
                    </a:lnTo>
                    <a:lnTo>
                      <a:pt x="1213" y="1454"/>
                    </a:lnTo>
                    <a:lnTo>
                      <a:pt x="1212" y="1453"/>
                    </a:lnTo>
                    <a:lnTo>
                      <a:pt x="1212" y="1451"/>
                    </a:lnTo>
                    <a:lnTo>
                      <a:pt x="1213" y="1451"/>
                    </a:lnTo>
                    <a:lnTo>
                      <a:pt x="1212" y="1451"/>
                    </a:lnTo>
                    <a:lnTo>
                      <a:pt x="1212" y="1449"/>
                    </a:lnTo>
                    <a:lnTo>
                      <a:pt x="1210" y="1449"/>
                    </a:lnTo>
                    <a:lnTo>
                      <a:pt x="1210" y="1447"/>
                    </a:lnTo>
                    <a:lnTo>
                      <a:pt x="1212" y="1447"/>
                    </a:lnTo>
                    <a:lnTo>
                      <a:pt x="1213" y="1447"/>
                    </a:lnTo>
                    <a:lnTo>
                      <a:pt x="1213" y="1446"/>
                    </a:lnTo>
                    <a:lnTo>
                      <a:pt x="1215" y="1444"/>
                    </a:lnTo>
                    <a:lnTo>
                      <a:pt x="1213" y="1444"/>
                    </a:lnTo>
                    <a:lnTo>
                      <a:pt x="1213" y="1446"/>
                    </a:lnTo>
                    <a:lnTo>
                      <a:pt x="1212" y="1446"/>
                    </a:lnTo>
                    <a:lnTo>
                      <a:pt x="1212" y="1447"/>
                    </a:lnTo>
                    <a:lnTo>
                      <a:pt x="1212" y="1446"/>
                    </a:lnTo>
                    <a:lnTo>
                      <a:pt x="1212" y="1444"/>
                    </a:lnTo>
                    <a:lnTo>
                      <a:pt x="1212" y="1446"/>
                    </a:lnTo>
                    <a:lnTo>
                      <a:pt x="1210" y="1447"/>
                    </a:lnTo>
                    <a:lnTo>
                      <a:pt x="1210" y="1446"/>
                    </a:lnTo>
                    <a:lnTo>
                      <a:pt x="1208" y="1446"/>
                    </a:lnTo>
                    <a:lnTo>
                      <a:pt x="1208" y="1444"/>
                    </a:lnTo>
                    <a:lnTo>
                      <a:pt x="1208" y="1442"/>
                    </a:lnTo>
                    <a:lnTo>
                      <a:pt x="1208" y="1444"/>
                    </a:lnTo>
                    <a:lnTo>
                      <a:pt x="1208" y="1446"/>
                    </a:lnTo>
                    <a:lnTo>
                      <a:pt x="1208" y="1447"/>
                    </a:lnTo>
                    <a:lnTo>
                      <a:pt x="1207" y="1447"/>
                    </a:lnTo>
                    <a:lnTo>
                      <a:pt x="1207" y="1449"/>
                    </a:lnTo>
                    <a:lnTo>
                      <a:pt x="1207" y="1451"/>
                    </a:lnTo>
                    <a:lnTo>
                      <a:pt x="1205" y="1449"/>
                    </a:lnTo>
                    <a:lnTo>
                      <a:pt x="1205" y="1447"/>
                    </a:lnTo>
                    <a:lnTo>
                      <a:pt x="1205" y="1446"/>
                    </a:lnTo>
                    <a:lnTo>
                      <a:pt x="1203" y="1446"/>
                    </a:lnTo>
                    <a:lnTo>
                      <a:pt x="1203" y="1444"/>
                    </a:lnTo>
                    <a:lnTo>
                      <a:pt x="1202" y="1444"/>
                    </a:lnTo>
                    <a:lnTo>
                      <a:pt x="1203" y="1442"/>
                    </a:lnTo>
                    <a:lnTo>
                      <a:pt x="1205" y="1442"/>
                    </a:lnTo>
                    <a:lnTo>
                      <a:pt x="1203" y="1442"/>
                    </a:lnTo>
                    <a:lnTo>
                      <a:pt x="1202" y="1442"/>
                    </a:lnTo>
                    <a:lnTo>
                      <a:pt x="1200" y="1442"/>
                    </a:lnTo>
                    <a:lnTo>
                      <a:pt x="1200" y="1441"/>
                    </a:lnTo>
                    <a:lnTo>
                      <a:pt x="1198" y="1441"/>
                    </a:lnTo>
                    <a:lnTo>
                      <a:pt x="1200" y="1441"/>
                    </a:lnTo>
                    <a:lnTo>
                      <a:pt x="1200" y="1439"/>
                    </a:lnTo>
                    <a:lnTo>
                      <a:pt x="1202" y="1439"/>
                    </a:lnTo>
                    <a:lnTo>
                      <a:pt x="1203" y="1439"/>
                    </a:lnTo>
                    <a:lnTo>
                      <a:pt x="1202" y="1439"/>
                    </a:lnTo>
                    <a:lnTo>
                      <a:pt x="1202" y="1437"/>
                    </a:lnTo>
                    <a:lnTo>
                      <a:pt x="1203" y="1437"/>
                    </a:lnTo>
                    <a:lnTo>
                      <a:pt x="1202" y="1437"/>
                    </a:lnTo>
                    <a:lnTo>
                      <a:pt x="1203" y="1435"/>
                    </a:lnTo>
                    <a:lnTo>
                      <a:pt x="1202" y="1437"/>
                    </a:lnTo>
                    <a:lnTo>
                      <a:pt x="1202" y="1435"/>
                    </a:lnTo>
                    <a:lnTo>
                      <a:pt x="1200" y="1437"/>
                    </a:lnTo>
                    <a:lnTo>
                      <a:pt x="1200" y="1439"/>
                    </a:lnTo>
                    <a:lnTo>
                      <a:pt x="1200" y="1437"/>
                    </a:lnTo>
                    <a:lnTo>
                      <a:pt x="1200" y="1435"/>
                    </a:lnTo>
                    <a:lnTo>
                      <a:pt x="1198" y="1435"/>
                    </a:lnTo>
                    <a:lnTo>
                      <a:pt x="1200" y="1435"/>
                    </a:lnTo>
                    <a:lnTo>
                      <a:pt x="1198" y="1435"/>
                    </a:lnTo>
                    <a:lnTo>
                      <a:pt x="1198" y="1434"/>
                    </a:lnTo>
                    <a:lnTo>
                      <a:pt x="1198" y="1435"/>
                    </a:lnTo>
                    <a:lnTo>
                      <a:pt x="1198" y="1434"/>
                    </a:lnTo>
                    <a:lnTo>
                      <a:pt x="1196" y="1435"/>
                    </a:lnTo>
                    <a:lnTo>
                      <a:pt x="1196" y="1434"/>
                    </a:lnTo>
                    <a:lnTo>
                      <a:pt x="1198" y="1432"/>
                    </a:lnTo>
                    <a:lnTo>
                      <a:pt x="1198" y="1434"/>
                    </a:lnTo>
                    <a:lnTo>
                      <a:pt x="1198" y="1432"/>
                    </a:lnTo>
                    <a:lnTo>
                      <a:pt x="1200" y="1432"/>
                    </a:lnTo>
                    <a:lnTo>
                      <a:pt x="1198" y="1432"/>
                    </a:lnTo>
                    <a:lnTo>
                      <a:pt x="1198" y="1430"/>
                    </a:lnTo>
                    <a:lnTo>
                      <a:pt x="1200" y="1430"/>
                    </a:lnTo>
                    <a:lnTo>
                      <a:pt x="1198" y="1430"/>
                    </a:lnTo>
                    <a:lnTo>
                      <a:pt x="1198" y="1429"/>
                    </a:lnTo>
                    <a:lnTo>
                      <a:pt x="1200" y="1429"/>
                    </a:lnTo>
                    <a:lnTo>
                      <a:pt x="1200" y="1427"/>
                    </a:lnTo>
                    <a:lnTo>
                      <a:pt x="1200" y="1429"/>
                    </a:lnTo>
                    <a:lnTo>
                      <a:pt x="1202" y="1429"/>
                    </a:lnTo>
                    <a:lnTo>
                      <a:pt x="1203" y="1429"/>
                    </a:lnTo>
                    <a:lnTo>
                      <a:pt x="1203" y="1430"/>
                    </a:lnTo>
                    <a:lnTo>
                      <a:pt x="1203" y="1432"/>
                    </a:lnTo>
                    <a:lnTo>
                      <a:pt x="1205" y="1432"/>
                    </a:lnTo>
                    <a:lnTo>
                      <a:pt x="1205" y="1434"/>
                    </a:lnTo>
                    <a:lnTo>
                      <a:pt x="1205" y="1432"/>
                    </a:lnTo>
                    <a:lnTo>
                      <a:pt x="1205" y="1430"/>
                    </a:lnTo>
                    <a:lnTo>
                      <a:pt x="1205" y="1432"/>
                    </a:lnTo>
                    <a:lnTo>
                      <a:pt x="1207" y="1434"/>
                    </a:lnTo>
                    <a:lnTo>
                      <a:pt x="1207" y="1435"/>
                    </a:lnTo>
                    <a:lnTo>
                      <a:pt x="1208" y="1437"/>
                    </a:lnTo>
                    <a:lnTo>
                      <a:pt x="1208" y="1439"/>
                    </a:lnTo>
                    <a:lnTo>
                      <a:pt x="1208" y="1441"/>
                    </a:lnTo>
                    <a:lnTo>
                      <a:pt x="1208" y="1442"/>
                    </a:lnTo>
                    <a:lnTo>
                      <a:pt x="1210" y="1441"/>
                    </a:lnTo>
                    <a:lnTo>
                      <a:pt x="1208" y="1439"/>
                    </a:lnTo>
                    <a:lnTo>
                      <a:pt x="1208" y="1437"/>
                    </a:lnTo>
                    <a:lnTo>
                      <a:pt x="1208" y="1435"/>
                    </a:lnTo>
                    <a:lnTo>
                      <a:pt x="1207" y="1434"/>
                    </a:lnTo>
                    <a:lnTo>
                      <a:pt x="1207" y="1435"/>
                    </a:lnTo>
                    <a:lnTo>
                      <a:pt x="1208" y="1435"/>
                    </a:lnTo>
                    <a:lnTo>
                      <a:pt x="1210" y="1435"/>
                    </a:lnTo>
                    <a:lnTo>
                      <a:pt x="1210" y="1437"/>
                    </a:lnTo>
                    <a:lnTo>
                      <a:pt x="1210" y="1435"/>
                    </a:lnTo>
                    <a:lnTo>
                      <a:pt x="1208" y="1435"/>
                    </a:lnTo>
                    <a:lnTo>
                      <a:pt x="1208" y="1434"/>
                    </a:lnTo>
                    <a:lnTo>
                      <a:pt x="1208" y="1432"/>
                    </a:lnTo>
                    <a:lnTo>
                      <a:pt x="1210" y="1432"/>
                    </a:lnTo>
                    <a:lnTo>
                      <a:pt x="1212" y="1432"/>
                    </a:lnTo>
                    <a:lnTo>
                      <a:pt x="1210" y="1432"/>
                    </a:lnTo>
                    <a:lnTo>
                      <a:pt x="1208" y="1432"/>
                    </a:lnTo>
                    <a:lnTo>
                      <a:pt x="1207" y="1430"/>
                    </a:lnTo>
                    <a:lnTo>
                      <a:pt x="1207" y="1429"/>
                    </a:lnTo>
                    <a:lnTo>
                      <a:pt x="1207" y="1427"/>
                    </a:lnTo>
                    <a:lnTo>
                      <a:pt x="1207" y="1425"/>
                    </a:lnTo>
                    <a:lnTo>
                      <a:pt x="1207" y="1427"/>
                    </a:lnTo>
                    <a:lnTo>
                      <a:pt x="1207" y="1425"/>
                    </a:lnTo>
                    <a:lnTo>
                      <a:pt x="1207" y="1424"/>
                    </a:lnTo>
                    <a:lnTo>
                      <a:pt x="1205" y="1422"/>
                    </a:lnTo>
                    <a:lnTo>
                      <a:pt x="1203" y="1420"/>
                    </a:lnTo>
                    <a:lnTo>
                      <a:pt x="1203" y="1418"/>
                    </a:lnTo>
                    <a:lnTo>
                      <a:pt x="1205" y="1418"/>
                    </a:lnTo>
                    <a:lnTo>
                      <a:pt x="1207" y="1418"/>
                    </a:lnTo>
                    <a:lnTo>
                      <a:pt x="1207" y="1420"/>
                    </a:lnTo>
                    <a:lnTo>
                      <a:pt x="1207" y="1422"/>
                    </a:lnTo>
                    <a:lnTo>
                      <a:pt x="1208" y="1422"/>
                    </a:lnTo>
                    <a:lnTo>
                      <a:pt x="1207" y="1422"/>
                    </a:lnTo>
                    <a:lnTo>
                      <a:pt x="1207" y="1420"/>
                    </a:lnTo>
                    <a:lnTo>
                      <a:pt x="1207" y="1418"/>
                    </a:lnTo>
                    <a:lnTo>
                      <a:pt x="1208" y="1418"/>
                    </a:lnTo>
                    <a:lnTo>
                      <a:pt x="1207" y="1418"/>
                    </a:lnTo>
                    <a:lnTo>
                      <a:pt x="1207" y="1417"/>
                    </a:lnTo>
                    <a:lnTo>
                      <a:pt x="1207" y="1415"/>
                    </a:lnTo>
                    <a:lnTo>
                      <a:pt x="1207" y="1417"/>
                    </a:lnTo>
                    <a:lnTo>
                      <a:pt x="1205" y="1417"/>
                    </a:lnTo>
                    <a:lnTo>
                      <a:pt x="1205" y="1415"/>
                    </a:lnTo>
                    <a:lnTo>
                      <a:pt x="1203" y="1413"/>
                    </a:lnTo>
                    <a:lnTo>
                      <a:pt x="1203" y="1412"/>
                    </a:lnTo>
                    <a:lnTo>
                      <a:pt x="1202" y="1412"/>
                    </a:lnTo>
                    <a:lnTo>
                      <a:pt x="1203" y="1412"/>
                    </a:lnTo>
                    <a:lnTo>
                      <a:pt x="1203" y="1413"/>
                    </a:lnTo>
                    <a:lnTo>
                      <a:pt x="1203" y="1415"/>
                    </a:lnTo>
                    <a:lnTo>
                      <a:pt x="1205" y="1415"/>
                    </a:lnTo>
                    <a:lnTo>
                      <a:pt x="1205" y="1417"/>
                    </a:lnTo>
                    <a:lnTo>
                      <a:pt x="1205" y="1418"/>
                    </a:lnTo>
                    <a:lnTo>
                      <a:pt x="1203" y="1418"/>
                    </a:lnTo>
                    <a:lnTo>
                      <a:pt x="1202" y="1420"/>
                    </a:lnTo>
                    <a:lnTo>
                      <a:pt x="1200" y="1422"/>
                    </a:lnTo>
                    <a:lnTo>
                      <a:pt x="1198" y="1420"/>
                    </a:lnTo>
                    <a:lnTo>
                      <a:pt x="1198" y="1418"/>
                    </a:lnTo>
                    <a:lnTo>
                      <a:pt x="1198" y="1417"/>
                    </a:lnTo>
                    <a:lnTo>
                      <a:pt x="1198" y="1415"/>
                    </a:lnTo>
                    <a:lnTo>
                      <a:pt x="1196" y="1415"/>
                    </a:lnTo>
                    <a:lnTo>
                      <a:pt x="1196" y="1413"/>
                    </a:lnTo>
                    <a:lnTo>
                      <a:pt x="1196" y="1415"/>
                    </a:lnTo>
                    <a:lnTo>
                      <a:pt x="1196" y="1417"/>
                    </a:lnTo>
                    <a:lnTo>
                      <a:pt x="1196" y="1418"/>
                    </a:lnTo>
                    <a:lnTo>
                      <a:pt x="1195" y="1418"/>
                    </a:lnTo>
                    <a:lnTo>
                      <a:pt x="1193" y="1418"/>
                    </a:lnTo>
                    <a:lnTo>
                      <a:pt x="1191" y="1417"/>
                    </a:lnTo>
                    <a:lnTo>
                      <a:pt x="1193" y="1415"/>
                    </a:lnTo>
                    <a:lnTo>
                      <a:pt x="1191" y="1413"/>
                    </a:lnTo>
                    <a:lnTo>
                      <a:pt x="1193" y="1413"/>
                    </a:lnTo>
                    <a:lnTo>
                      <a:pt x="1191" y="1413"/>
                    </a:lnTo>
                    <a:lnTo>
                      <a:pt x="1191" y="1412"/>
                    </a:lnTo>
                    <a:lnTo>
                      <a:pt x="1191" y="1410"/>
                    </a:lnTo>
                    <a:lnTo>
                      <a:pt x="1191" y="1412"/>
                    </a:lnTo>
                    <a:lnTo>
                      <a:pt x="1191" y="1410"/>
                    </a:lnTo>
                    <a:lnTo>
                      <a:pt x="1193" y="1410"/>
                    </a:lnTo>
                    <a:lnTo>
                      <a:pt x="1193" y="1408"/>
                    </a:lnTo>
                    <a:lnTo>
                      <a:pt x="1195" y="1408"/>
                    </a:lnTo>
                    <a:lnTo>
                      <a:pt x="1195" y="1407"/>
                    </a:lnTo>
                    <a:lnTo>
                      <a:pt x="1193" y="1407"/>
                    </a:lnTo>
                    <a:lnTo>
                      <a:pt x="1195" y="1405"/>
                    </a:lnTo>
                    <a:lnTo>
                      <a:pt x="1193" y="1407"/>
                    </a:lnTo>
                    <a:lnTo>
                      <a:pt x="1193" y="1405"/>
                    </a:lnTo>
                    <a:lnTo>
                      <a:pt x="1193" y="1407"/>
                    </a:lnTo>
                    <a:lnTo>
                      <a:pt x="1191" y="1408"/>
                    </a:lnTo>
                    <a:lnTo>
                      <a:pt x="1193" y="1407"/>
                    </a:lnTo>
                    <a:lnTo>
                      <a:pt x="1191" y="1407"/>
                    </a:lnTo>
                    <a:lnTo>
                      <a:pt x="1191" y="1408"/>
                    </a:lnTo>
                    <a:lnTo>
                      <a:pt x="1191" y="1410"/>
                    </a:lnTo>
                    <a:lnTo>
                      <a:pt x="1190" y="1410"/>
                    </a:lnTo>
                    <a:lnTo>
                      <a:pt x="1190" y="1408"/>
                    </a:lnTo>
                    <a:lnTo>
                      <a:pt x="1188" y="1408"/>
                    </a:lnTo>
                    <a:lnTo>
                      <a:pt x="1190" y="1407"/>
                    </a:lnTo>
                    <a:lnTo>
                      <a:pt x="1188" y="1407"/>
                    </a:lnTo>
                    <a:lnTo>
                      <a:pt x="1188" y="1405"/>
                    </a:lnTo>
                    <a:lnTo>
                      <a:pt x="1188" y="1403"/>
                    </a:lnTo>
                    <a:lnTo>
                      <a:pt x="1190" y="1403"/>
                    </a:lnTo>
                    <a:lnTo>
                      <a:pt x="1190" y="1401"/>
                    </a:lnTo>
                    <a:lnTo>
                      <a:pt x="1191" y="1401"/>
                    </a:lnTo>
                    <a:lnTo>
                      <a:pt x="1193" y="1400"/>
                    </a:lnTo>
                    <a:lnTo>
                      <a:pt x="1195" y="1401"/>
                    </a:lnTo>
                    <a:lnTo>
                      <a:pt x="1196" y="1401"/>
                    </a:lnTo>
                    <a:lnTo>
                      <a:pt x="1198" y="1401"/>
                    </a:lnTo>
                    <a:lnTo>
                      <a:pt x="1198" y="1403"/>
                    </a:lnTo>
                    <a:lnTo>
                      <a:pt x="1198" y="1401"/>
                    </a:lnTo>
                    <a:lnTo>
                      <a:pt x="1200" y="1400"/>
                    </a:lnTo>
                    <a:lnTo>
                      <a:pt x="1202" y="1401"/>
                    </a:lnTo>
                    <a:lnTo>
                      <a:pt x="1202" y="1403"/>
                    </a:lnTo>
                    <a:lnTo>
                      <a:pt x="1200" y="1405"/>
                    </a:lnTo>
                    <a:lnTo>
                      <a:pt x="1202" y="1405"/>
                    </a:lnTo>
                    <a:lnTo>
                      <a:pt x="1203" y="1405"/>
                    </a:lnTo>
                    <a:lnTo>
                      <a:pt x="1205" y="1405"/>
                    </a:lnTo>
                    <a:lnTo>
                      <a:pt x="1207" y="1405"/>
                    </a:lnTo>
                    <a:lnTo>
                      <a:pt x="1207" y="1403"/>
                    </a:lnTo>
                    <a:lnTo>
                      <a:pt x="1205" y="1405"/>
                    </a:lnTo>
                    <a:lnTo>
                      <a:pt x="1203" y="1403"/>
                    </a:lnTo>
                    <a:lnTo>
                      <a:pt x="1203" y="1401"/>
                    </a:lnTo>
                    <a:lnTo>
                      <a:pt x="1202" y="1401"/>
                    </a:lnTo>
                    <a:lnTo>
                      <a:pt x="1202" y="1400"/>
                    </a:lnTo>
                    <a:lnTo>
                      <a:pt x="1200" y="1400"/>
                    </a:lnTo>
                    <a:lnTo>
                      <a:pt x="1200" y="1398"/>
                    </a:lnTo>
                    <a:lnTo>
                      <a:pt x="1202" y="1398"/>
                    </a:lnTo>
                    <a:lnTo>
                      <a:pt x="1202" y="1396"/>
                    </a:lnTo>
                    <a:lnTo>
                      <a:pt x="1203" y="1396"/>
                    </a:lnTo>
                    <a:lnTo>
                      <a:pt x="1203" y="1398"/>
                    </a:lnTo>
                    <a:lnTo>
                      <a:pt x="1205" y="1398"/>
                    </a:lnTo>
                    <a:lnTo>
                      <a:pt x="1203" y="1398"/>
                    </a:lnTo>
                    <a:lnTo>
                      <a:pt x="1203" y="1396"/>
                    </a:lnTo>
                    <a:lnTo>
                      <a:pt x="1203" y="1395"/>
                    </a:lnTo>
                    <a:lnTo>
                      <a:pt x="1203" y="1393"/>
                    </a:lnTo>
                    <a:lnTo>
                      <a:pt x="1203" y="1391"/>
                    </a:lnTo>
                    <a:lnTo>
                      <a:pt x="1203" y="1390"/>
                    </a:lnTo>
                    <a:lnTo>
                      <a:pt x="1205" y="1390"/>
                    </a:lnTo>
                    <a:lnTo>
                      <a:pt x="1207" y="1390"/>
                    </a:lnTo>
                    <a:lnTo>
                      <a:pt x="1208" y="1388"/>
                    </a:lnTo>
                    <a:lnTo>
                      <a:pt x="1210" y="1390"/>
                    </a:lnTo>
                    <a:lnTo>
                      <a:pt x="1212" y="1390"/>
                    </a:lnTo>
                    <a:lnTo>
                      <a:pt x="1213" y="1391"/>
                    </a:lnTo>
                    <a:lnTo>
                      <a:pt x="1213" y="1390"/>
                    </a:lnTo>
                    <a:lnTo>
                      <a:pt x="1212" y="1390"/>
                    </a:lnTo>
                    <a:lnTo>
                      <a:pt x="1210" y="1388"/>
                    </a:lnTo>
                    <a:lnTo>
                      <a:pt x="1212" y="1388"/>
                    </a:lnTo>
                    <a:lnTo>
                      <a:pt x="1210" y="1386"/>
                    </a:lnTo>
                    <a:lnTo>
                      <a:pt x="1210" y="1388"/>
                    </a:lnTo>
                    <a:lnTo>
                      <a:pt x="1210" y="1386"/>
                    </a:lnTo>
                    <a:lnTo>
                      <a:pt x="1208" y="1388"/>
                    </a:lnTo>
                    <a:lnTo>
                      <a:pt x="1208" y="1386"/>
                    </a:lnTo>
                    <a:lnTo>
                      <a:pt x="1207" y="1386"/>
                    </a:lnTo>
                    <a:lnTo>
                      <a:pt x="1207" y="1384"/>
                    </a:lnTo>
                    <a:lnTo>
                      <a:pt x="1205" y="1384"/>
                    </a:lnTo>
                    <a:lnTo>
                      <a:pt x="1205" y="1383"/>
                    </a:lnTo>
                    <a:lnTo>
                      <a:pt x="1205" y="1381"/>
                    </a:lnTo>
                    <a:lnTo>
                      <a:pt x="1207" y="1381"/>
                    </a:lnTo>
                    <a:lnTo>
                      <a:pt x="1208" y="1381"/>
                    </a:lnTo>
                    <a:lnTo>
                      <a:pt x="1210" y="1381"/>
                    </a:lnTo>
                    <a:lnTo>
                      <a:pt x="1210" y="1379"/>
                    </a:lnTo>
                    <a:lnTo>
                      <a:pt x="1210" y="1378"/>
                    </a:lnTo>
                    <a:lnTo>
                      <a:pt x="1212" y="1378"/>
                    </a:lnTo>
                    <a:lnTo>
                      <a:pt x="1210" y="1376"/>
                    </a:lnTo>
                    <a:lnTo>
                      <a:pt x="1212" y="1376"/>
                    </a:lnTo>
                    <a:lnTo>
                      <a:pt x="1212" y="1374"/>
                    </a:lnTo>
                    <a:lnTo>
                      <a:pt x="1210" y="1374"/>
                    </a:lnTo>
                    <a:lnTo>
                      <a:pt x="1210" y="1376"/>
                    </a:lnTo>
                    <a:lnTo>
                      <a:pt x="1210" y="1378"/>
                    </a:lnTo>
                    <a:lnTo>
                      <a:pt x="1208" y="1379"/>
                    </a:lnTo>
                    <a:lnTo>
                      <a:pt x="1208" y="1381"/>
                    </a:lnTo>
                    <a:lnTo>
                      <a:pt x="1208" y="1379"/>
                    </a:lnTo>
                    <a:lnTo>
                      <a:pt x="1207" y="1381"/>
                    </a:lnTo>
                    <a:lnTo>
                      <a:pt x="1205" y="1381"/>
                    </a:lnTo>
                    <a:lnTo>
                      <a:pt x="1203" y="1383"/>
                    </a:lnTo>
                    <a:lnTo>
                      <a:pt x="1203" y="1384"/>
                    </a:lnTo>
                    <a:lnTo>
                      <a:pt x="1203" y="1386"/>
                    </a:lnTo>
                    <a:lnTo>
                      <a:pt x="1203" y="1388"/>
                    </a:lnTo>
                    <a:lnTo>
                      <a:pt x="1203" y="1390"/>
                    </a:lnTo>
                    <a:lnTo>
                      <a:pt x="1202" y="1391"/>
                    </a:lnTo>
                    <a:lnTo>
                      <a:pt x="1202" y="1393"/>
                    </a:lnTo>
                    <a:lnTo>
                      <a:pt x="1203" y="1393"/>
                    </a:lnTo>
                    <a:lnTo>
                      <a:pt x="1202" y="1395"/>
                    </a:lnTo>
                    <a:lnTo>
                      <a:pt x="1202" y="1396"/>
                    </a:lnTo>
                    <a:lnTo>
                      <a:pt x="1200" y="1396"/>
                    </a:lnTo>
                    <a:lnTo>
                      <a:pt x="1200" y="1398"/>
                    </a:lnTo>
                    <a:lnTo>
                      <a:pt x="1198" y="1400"/>
                    </a:lnTo>
                    <a:lnTo>
                      <a:pt x="1196" y="1400"/>
                    </a:lnTo>
                    <a:lnTo>
                      <a:pt x="1196" y="1398"/>
                    </a:lnTo>
                    <a:lnTo>
                      <a:pt x="1195" y="1400"/>
                    </a:lnTo>
                    <a:lnTo>
                      <a:pt x="1195" y="1398"/>
                    </a:lnTo>
                    <a:lnTo>
                      <a:pt x="1193" y="1396"/>
                    </a:lnTo>
                    <a:lnTo>
                      <a:pt x="1193" y="1395"/>
                    </a:lnTo>
                    <a:lnTo>
                      <a:pt x="1191" y="1395"/>
                    </a:lnTo>
                    <a:lnTo>
                      <a:pt x="1193" y="1395"/>
                    </a:lnTo>
                    <a:lnTo>
                      <a:pt x="1193" y="1393"/>
                    </a:lnTo>
                    <a:lnTo>
                      <a:pt x="1195" y="1393"/>
                    </a:lnTo>
                    <a:lnTo>
                      <a:pt x="1195" y="1391"/>
                    </a:lnTo>
                    <a:lnTo>
                      <a:pt x="1193" y="1391"/>
                    </a:lnTo>
                    <a:lnTo>
                      <a:pt x="1191" y="1391"/>
                    </a:lnTo>
                    <a:lnTo>
                      <a:pt x="1193" y="1391"/>
                    </a:lnTo>
                    <a:lnTo>
                      <a:pt x="1191" y="1393"/>
                    </a:lnTo>
                    <a:lnTo>
                      <a:pt x="1193" y="1395"/>
                    </a:lnTo>
                    <a:lnTo>
                      <a:pt x="1191" y="1395"/>
                    </a:lnTo>
                    <a:lnTo>
                      <a:pt x="1193" y="1395"/>
                    </a:lnTo>
                    <a:lnTo>
                      <a:pt x="1191" y="1393"/>
                    </a:lnTo>
                    <a:lnTo>
                      <a:pt x="1191" y="1391"/>
                    </a:lnTo>
                    <a:lnTo>
                      <a:pt x="1191" y="1390"/>
                    </a:lnTo>
                    <a:lnTo>
                      <a:pt x="1190" y="1390"/>
                    </a:lnTo>
                    <a:lnTo>
                      <a:pt x="1190" y="1388"/>
                    </a:lnTo>
                    <a:lnTo>
                      <a:pt x="1188" y="1386"/>
                    </a:lnTo>
                    <a:lnTo>
                      <a:pt x="1188" y="1384"/>
                    </a:lnTo>
                    <a:lnTo>
                      <a:pt x="1190" y="1384"/>
                    </a:lnTo>
                    <a:lnTo>
                      <a:pt x="1191" y="1383"/>
                    </a:lnTo>
                    <a:lnTo>
                      <a:pt x="1191" y="1384"/>
                    </a:lnTo>
                    <a:lnTo>
                      <a:pt x="1193" y="1384"/>
                    </a:lnTo>
                    <a:lnTo>
                      <a:pt x="1193" y="1386"/>
                    </a:lnTo>
                    <a:lnTo>
                      <a:pt x="1193" y="1384"/>
                    </a:lnTo>
                    <a:lnTo>
                      <a:pt x="1191" y="1384"/>
                    </a:lnTo>
                    <a:lnTo>
                      <a:pt x="1191" y="1383"/>
                    </a:lnTo>
                    <a:lnTo>
                      <a:pt x="1190" y="1383"/>
                    </a:lnTo>
                    <a:lnTo>
                      <a:pt x="1191" y="1383"/>
                    </a:lnTo>
                    <a:lnTo>
                      <a:pt x="1190" y="1384"/>
                    </a:lnTo>
                    <a:lnTo>
                      <a:pt x="1188" y="1384"/>
                    </a:lnTo>
                    <a:lnTo>
                      <a:pt x="1188" y="1383"/>
                    </a:lnTo>
                    <a:lnTo>
                      <a:pt x="1186" y="1381"/>
                    </a:lnTo>
                    <a:lnTo>
                      <a:pt x="1186" y="1379"/>
                    </a:lnTo>
                    <a:lnTo>
                      <a:pt x="1188" y="1379"/>
                    </a:lnTo>
                    <a:lnTo>
                      <a:pt x="1190" y="1379"/>
                    </a:lnTo>
                    <a:lnTo>
                      <a:pt x="1191" y="1381"/>
                    </a:lnTo>
                    <a:lnTo>
                      <a:pt x="1190" y="1381"/>
                    </a:lnTo>
                    <a:lnTo>
                      <a:pt x="1191" y="1383"/>
                    </a:lnTo>
                    <a:lnTo>
                      <a:pt x="1191" y="1381"/>
                    </a:lnTo>
                    <a:lnTo>
                      <a:pt x="1193" y="1383"/>
                    </a:lnTo>
                    <a:lnTo>
                      <a:pt x="1193" y="1381"/>
                    </a:lnTo>
                    <a:lnTo>
                      <a:pt x="1191" y="1381"/>
                    </a:lnTo>
                    <a:lnTo>
                      <a:pt x="1191" y="1379"/>
                    </a:lnTo>
                    <a:lnTo>
                      <a:pt x="1191" y="1381"/>
                    </a:lnTo>
                    <a:lnTo>
                      <a:pt x="1191" y="1379"/>
                    </a:lnTo>
                    <a:lnTo>
                      <a:pt x="1191" y="1381"/>
                    </a:lnTo>
                    <a:lnTo>
                      <a:pt x="1193" y="1381"/>
                    </a:lnTo>
                    <a:lnTo>
                      <a:pt x="1195" y="1381"/>
                    </a:lnTo>
                    <a:lnTo>
                      <a:pt x="1195" y="1383"/>
                    </a:lnTo>
                    <a:lnTo>
                      <a:pt x="1196" y="1383"/>
                    </a:lnTo>
                    <a:lnTo>
                      <a:pt x="1196" y="1384"/>
                    </a:lnTo>
                    <a:lnTo>
                      <a:pt x="1196" y="1386"/>
                    </a:lnTo>
                    <a:lnTo>
                      <a:pt x="1196" y="1384"/>
                    </a:lnTo>
                    <a:lnTo>
                      <a:pt x="1196" y="1383"/>
                    </a:lnTo>
                    <a:lnTo>
                      <a:pt x="1198" y="1383"/>
                    </a:lnTo>
                    <a:lnTo>
                      <a:pt x="1200" y="1383"/>
                    </a:lnTo>
                    <a:lnTo>
                      <a:pt x="1200" y="1384"/>
                    </a:lnTo>
                    <a:lnTo>
                      <a:pt x="1202" y="1384"/>
                    </a:lnTo>
                    <a:lnTo>
                      <a:pt x="1200" y="1383"/>
                    </a:lnTo>
                    <a:lnTo>
                      <a:pt x="1198" y="1383"/>
                    </a:lnTo>
                    <a:lnTo>
                      <a:pt x="1196" y="1383"/>
                    </a:lnTo>
                    <a:lnTo>
                      <a:pt x="1196" y="1381"/>
                    </a:lnTo>
                    <a:lnTo>
                      <a:pt x="1195" y="1381"/>
                    </a:lnTo>
                    <a:lnTo>
                      <a:pt x="1196" y="1379"/>
                    </a:lnTo>
                    <a:lnTo>
                      <a:pt x="1195" y="1379"/>
                    </a:lnTo>
                    <a:lnTo>
                      <a:pt x="1195" y="1381"/>
                    </a:lnTo>
                    <a:lnTo>
                      <a:pt x="1195" y="1379"/>
                    </a:lnTo>
                    <a:lnTo>
                      <a:pt x="1193" y="1379"/>
                    </a:lnTo>
                    <a:lnTo>
                      <a:pt x="1191" y="1378"/>
                    </a:lnTo>
                    <a:lnTo>
                      <a:pt x="1191" y="1376"/>
                    </a:lnTo>
                    <a:lnTo>
                      <a:pt x="1193" y="1376"/>
                    </a:lnTo>
                    <a:lnTo>
                      <a:pt x="1195" y="1374"/>
                    </a:lnTo>
                    <a:lnTo>
                      <a:pt x="1196" y="1374"/>
                    </a:lnTo>
                    <a:lnTo>
                      <a:pt x="1198" y="1374"/>
                    </a:lnTo>
                    <a:lnTo>
                      <a:pt x="1196" y="1374"/>
                    </a:lnTo>
                    <a:lnTo>
                      <a:pt x="1195" y="1374"/>
                    </a:lnTo>
                    <a:lnTo>
                      <a:pt x="1193" y="1374"/>
                    </a:lnTo>
                    <a:lnTo>
                      <a:pt x="1193" y="1376"/>
                    </a:lnTo>
                    <a:lnTo>
                      <a:pt x="1191" y="1376"/>
                    </a:lnTo>
                    <a:lnTo>
                      <a:pt x="1190" y="1378"/>
                    </a:lnTo>
                    <a:lnTo>
                      <a:pt x="1190" y="1376"/>
                    </a:lnTo>
                    <a:lnTo>
                      <a:pt x="1188" y="1378"/>
                    </a:lnTo>
                    <a:lnTo>
                      <a:pt x="1190" y="1378"/>
                    </a:lnTo>
                    <a:lnTo>
                      <a:pt x="1188" y="1378"/>
                    </a:lnTo>
                    <a:lnTo>
                      <a:pt x="1186" y="1378"/>
                    </a:lnTo>
                    <a:lnTo>
                      <a:pt x="1188" y="1376"/>
                    </a:lnTo>
                    <a:lnTo>
                      <a:pt x="1186" y="1376"/>
                    </a:lnTo>
                    <a:lnTo>
                      <a:pt x="1186" y="1378"/>
                    </a:lnTo>
                    <a:lnTo>
                      <a:pt x="1185" y="1376"/>
                    </a:lnTo>
                    <a:lnTo>
                      <a:pt x="1186" y="1374"/>
                    </a:lnTo>
                    <a:lnTo>
                      <a:pt x="1186" y="1373"/>
                    </a:lnTo>
                    <a:lnTo>
                      <a:pt x="1188" y="1373"/>
                    </a:lnTo>
                    <a:lnTo>
                      <a:pt x="1188" y="1371"/>
                    </a:lnTo>
                    <a:lnTo>
                      <a:pt x="1186" y="1371"/>
                    </a:lnTo>
                    <a:lnTo>
                      <a:pt x="1188" y="1371"/>
                    </a:lnTo>
                    <a:lnTo>
                      <a:pt x="1186" y="1371"/>
                    </a:lnTo>
                    <a:lnTo>
                      <a:pt x="1188" y="1369"/>
                    </a:lnTo>
                    <a:lnTo>
                      <a:pt x="1186" y="1367"/>
                    </a:lnTo>
                    <a:lnTo>
                      <a:pt x="1186" y="1369"/>
                    </a:lnTo>
                    <a:lnTo>
                      <a:pt x="1186" y="1367"/>
                    </a:lnTo>
                    <a:lnTo>
                      <a:pt x="1186" y="1369"/>
                    </a:lnTo>
                    <a:lnTo>
                      <a:pt x="1186" y="1371"/>
                    </a:lnTo>
                    <a:lnTo>
                      <a:pt x="1185" y="1371"/>
                    </a:lnTo>
                    <a:lnTo>
                      <a:pt x="1185" y="1373"/>
                    </a:lnTo>
                    <a:lnTo>
                      <a:pt x="1185" y="1374"/>
                    </a:lnTo>
                    <a:lnTo>
                      <a:pt x="1183" y="1374"/>
                    </a:lnTo>
                    <a:lnTo>
                      <a:pt x="1185" y="1374"/>
                    </a:lnTo>
                    <a:lnTo>
                      <a:pt x="1185" y="1376"/>
                    </a:lnTo>
                    <a:lnTo>
                      <a:pt x="1183" y="1374"/>
                    </a:lnTo>
                    <a:lnTo>
                      <a:pt x="1181" y="1374"/>
                    </a:lnTo>
                    <a:lnTo>
                      <a:pt x="1179" y="1373"/>
                    </a:lnTo>
                    <a:lnTo>
                      <a:pt x="1181" y="1373"/>
                    </a:lnTo>
                    <a:lnTo>
                      <a:pt x="1181" y="1371"/>
                    </a:lnTo>
                    <a:lnTo>
                      <a:pt x="1181" y="1373"/>
                    </a:lnTo>
                    <a:lnTo>
                      <a:pt x="1179" y="1373"/>
                    </a:lnTo>
                    <a:lnTo>
                      <a:pt x="1179" y="1371"/>
                    </a:lnTo>
                    <a:lnTo>
                      <a:pt x="1178" y="1371"/>
                    </a:lnTo>
                    <a:lnTo>
                      <a:pt x="1178" y="1369"/>
                    </a:lnTo>
                    <a:lnTo>
                      <a:pt x="1179" y="1369"/>
                    </a:lnTo>
                    <a:lnTo>
                      <a:pt x="1181" y="1369"/>
                    </a:lnTo>
                    <a:lnTo>
                      <a:pt x="1179" y="1369"/>
                    </a:lnTo>
                    <a:lnTo>
                      <a:pt x="1178" y="1369"/>
                    </a:lnTo>
                    <a:lnTo>
                      <a:pt x="1178" y="1367"/>
                    </a:lnTo>
                    <a:lnTo>
                      <a:pt x="1178" y="1366"/>
                    </a:lnTo>
                    <a:lnTo>
                      <a:pt x="1178" y="1367"/>
                    </a:lnTo>
                    <a:lnTo>
                      <a:pt x="1176" y="1367"/>
                    </a:lnTo>
                    <a:lnTo>
                      <a:pt x="1174" y="1367"/>
                    </a:lnTo>
                    <a:lnTo>
                      <a:pt x="1176" y="1366"/>
                    </a:lnTo>
                    <a:lnTo>
                      <a:pt x="1176" y="1364"/>
                    </a:lnTo>
                    <a:lnTo>
                      <a:pt x="1178" y="1364"/>
                    </a:lnTo>
                    <a:lnTo>
                      <a:pt x="1176" y="1364"/>
                    </a:lnTo>
                    <a:lnTo>
                      <a:pt x="1176" y="1366"/>
                    </a:lnTo>
                    <a:lnTo>
                      <a:pt x="1174" y="1366"/>
                    </a:lnTo>
                    <a:lnTo>
                      <a:pt x="1173" y="1366"/>
                    </a:lnTo>
                    <a:lnTo>
                      <a:pt x="1173" y="1364"/>
                    </a:lnTo>
                    <a:lnTo>
                      <a:pt x="1173" y="1362"/>
                    </a:lnTo>
                    <a:lnTo>
                      <a:pt x="1174" y="1362"/>
                    </a:lnTo>
                    <a:lnTo>
                      <a:pt x="1174" y="1361"/>
                    </a:lnTo>
                    <a:lnTo>
                      <a:pt x="1176" y="1361"/>
                    </a:lnTo>
                    <a:lnTo>
                      <a:pt x="1178" y="1359"/>
                    </a:lnTo>
                    <a:lnTo>
                      <a:pt x="1179" y="1361"/>
                    </a:lnTo>
                    <a:lnTo>
                      <a:pt x="1178" y="1362"/>
                    </a:lnTo>
                    <a:lnTo>
                      <a:pt x="1179" y="1362"/>
                    </a:lnTo>
                    <a:lnTo>
                      <a:pt x="1179" y="1361"/>
                    </a:lnTo>
                    <a:lnTo>
                      <a:pt x="1178" y="1359"/>
                    </a:lnTo>
                    <a:lnTo>
                      <a:pt x="1179" y="1359"/>
                    </a:lnTo>
                    <a:lnTo>
                      <a:pt x="1178" y="1359"/>
                    </a:lnTo>
                    <a:lnTo>
                      <a:pt x="1179" y="1359"/>
                    </a:lnTo>
                    <a:lnTo>
                      <a:pt x="1181" y="1359"/>
                    </a:lnTo>
                    <a:lnTo>
                      <a:pt x="1181" y="1361"/>
                    </a:lnTo>
                    <a:lnTo>
                      <a:pt x="1181" y="1359"/>
                    </a:lnTo>
                    <a:lnTo>
                      <a:pt x="1183" y="1359"/>
                    </a:lnTo>
                    <a:lnTo>
                      <a:pt x="1183" y="1361"/>
                    </a:lnTo>
                    <a:lnTo>
                      <a:pt x="1183" y="1359"/>
                    </a:lnTo>
                    <a:lnTo>
                      <a:pt x="1181" y="1359"/>
                    </a:lnTo>
                    <a:lnTo>
                      <a:pt x="1179" y="1357"/>
                    </a:lnTo>
                    <a:lnTo>
                      <a:pt x="1179" y="1359"/>
                    </a:lnTo>
                    <a:lnTo>
                      <a:pt x="1178" y="1359"/>
                    </a:lnTo>
                    <a:lnTo>
                      <a:pt x="1176" y="1359"/>
                    </a:lnTo>
                    <a:lnTo>
                      <a:pt x="1176" y="1361"/>
                    </a:lnTo>
                    <a:lnTo>
                      <a:pt x="1176" y="1359"/>
                    </a:lnTo>
                    <a:lnTo>
                      <a:pt x="1178" y="1359"/>
                    </a:lnTo>
                    <a:lnTo>
                      <a:pt x="1178" y="1357"/>
                    </a:lnTo>
                    <a:lnTo>
                      <a:pt x="1179" y="1357"/>
                    </a:lnTo>
                    <a:lnTo>
                      <a:pt x="1181" y="1356"/>
                    </a:lnTo>
                    <a:lnTo>
                      <a:pt x="1183" y="1357"/>
                    </a:lnTo>
                    <a:lnTo>
                      <a:pt x="1185" y="1357"/>
                    </a:lnTo>
                    <a:lnTo>
                      <a:pt x="1185" y="1359"/>
                    </a:lnTo>
                    <a:lnTo>
                      <a:pt x="1183" y="1359"/>
                    </a:lnTo>
                    <a:lnTo>
                      <a:pt x="1185" y="1359"/>
                    </a:lnTo>
                    <a:lnTo>
                      <a:pt x="1185" y="1361"/>
                    </a:lnTo>
                    <a:lnTo>
                      <a:pt x="1185" y="1359"/>
                    </a:lnTo>
                    <a:lnTo>
                      <a:pt x="1186" y="1359"/>
                    </a:lnTo>
                    <a:lnTo>
                      <a:pt x="1186" y="1361"/>
                    </a:lnTo>
                    <a:lnTo>
                      <a:pt x="1188" y="1361"/>
                    </a:lnTo>
                    <a:lnTo>
                      <a:pt x="1188" y="1362"/>
                    </a:lnTo>
                    <a:lnTo>
                      <a:pt x="1186" y="1362"/>
                    </a:lnTo>
                    <a:lnTo>
                      <a:pt x="1186" y="1364"/>
                    </a:lnTo>
                    <a:lnTo>
                      <a:pt x="1185" y="1364"/>
                    </a:lnTo>
                    <a:lnTo>
                      <a:pt x="1186" y="1364"/>
                    </a:lnTo>
                    <a:lnTo>
                      <a:pt x="1188" y="1362"/>
                    </a:lnTo>
                    <a:lnTo>
                      <a:pt x="1188" y="1364"/>
                    </a:lnTo>
                    <a:lnTo>
                      <a:pt x="1188" y="1366"/>
                    </a:lnTo>
                    <a:lnTo>
                      <a:pt x="1190" y="1366"/>
                    </a:lnTo>
                    <a:lnTo>
                      <a:pt x="1190" y="1367"/>
                    </a:lnTo>
                    <a:lnTo>
                      <a:pt x="1191" y="1369"/>
                    </a:lnTo>
                    <a:lnTo>
                      <a:pt x="1191" y="1367"/>
                    </a:lnTo>
                    <a:lnTo>
                      <a:pt x="1193" y="1366"/>
                    </a:lnTo>
                    <a:lnTo>
                      <a:pt x="1193" y="1367"/>
                    </a:lnTo>
                    <a:lnTo>
                      <a:pt x="1193" y="1366"/>
                    </a:lnTo>
                    <a:lnTo>
                      <a:pt x="1195" y="1367"/>
                    </a:lnTo>
                    <a:lnTo>
                      <a:pt x="1196" y="1367"/>
                    </a:lnTo>
                    <a:lnTo>
                      <a:pt x="1196" y="1369"/>
                    </a:lnTo>
                    <a:lnTo>
                      <a:pt x="1198" y="1369"/>
                    </a:lnTo>
                    <a:lnTo>
                      <a:pt x="1196" y="1367"/>
                    </a:lnTo>
                    <a:lnTo>
                      <a:pt x="1195" y="1367"/>
                    </a:lnTo>
                    <a:lnTo>
                      <a:pt x="1195" y="1366"/>
                    </a:lnTo>
                    <a:lnTo>
                      <a:pt x="1196" y="1366"/>
                    </a:lnTo>
                    <a:lnTo>
                      <a:pt x="1195" y="1366"/>
                    </a:lnTo>
                    <a:lnTo>
                      <a:pt x="1195" y="1364"/>
                    </a:lnTo>
                    <a:lnTo>
                      <a:pt x="1193" y="1364"/>
                    </a:lnTo>
                    <a:lnTo>
                      <a:pt x="1193" y="1366"/>
                    </a:lnTo>
                    <a:lnTo>
                      <a:pt x="1191" y="1366"/>
                    </a:lnTo>
                    <a:lnTo>
                      <a:pt x="1191" y="1364"/>
                    </a:lnTo>
                    <a:lnTo>
                      <a:pt x="1190" y="1364"/>
                    </a:lnTo>
                    <a:lnTo>
                      <a:pt x="1190" y="1362"/>
                    </a:lnTo>
                    <a:lnTo>
                      <a:pt x="1190" y="1361"/>
                    </a:lnTo>
                    <a:lnTo>
                      <a:pt x="1188" y="1361"/>
                    </a:lnTo>
                    <a:lnTo>
                      <a:pt x="1188" y="1359"/>
                    </a:lnTo>
                    <a:lnTo>
                      <a:pt x="1186" y="1359"/>
                    </a:lnTo>
                    <a:lnTo>
                      <a:pt x="1186" y="1357"/>
                    </a:lnTo>
                    <a:lnTo>
                      <a:pt x="1186" y="1356"/>
                    </a:lnTo>
                    <a:lnTo>
                      <a:pt x="1185" y="1356"/>
                    </a:lnTo>
                    <a:lnTo>
                      <a:pt x="1185" y="1354"/>
                    </a:lnTo>
                    <a:lnTo>
                      <a:pt x="1185" y="1352"/>
                    </a:lnTo>
                    <a:lnTo>
                      <a:pt x="1186" y="1350"/>
                    </a:lnTo>
                    <a:lnTo>
                      <a:pt x="1186" y="1352"/>
                    </a:lnTo>
                    <a:lnTo>
                      <a:pt x="1186" y="1354"/>
                    </a:lnTo>
                    <a:lnTo>
                      <a:pt x="1186" y="1352"/>
                    </a:lnTo>
                    <a:lnTo>
                      <a:pt x="1188" y="1352"/>
                    </a:lnTo>
                    <a:lnTo>
                      <a:pt x="1190" y="1352"/>
                    </a:lnTo>
                    <a:lnTo>
                      <a:pt x="1190" y="1354"/>
                    </a:lnTo>
                    <a:lnTo>
                      <a:pt x="1191" y="1354"/>
                    </a:lnTo>
                    <a:lnTo>
                      <a:pt x="1193" y="1356"/>
                    </a:lnTo>
                    <a:lnTo>
                      <a:pt x="1193" y="1354"/>
                    </a:lnTo>
                    <a:lnTo>
                      <a:pt x="1195" y="1356"/>
                    </a:lnTo>
                    <a:lnTo>
                      <a:pt x="1195" y="1357"/>
                    </a:lnTo>
                    <a:lnTo>
                      <a:pt x="1195" y="1356"/>
                    </a:lnTo>
                    <a:lnTo>
                      <a:pt x="1195" y="1357"/>
                    </a:lnTo>
                    <a:lnTo>
                      <a:pt x="1196" y="1356"/>
                    </a:lnTo>
                    <a:lnTo>
                      <a:pt x="1196" y="1354"/>
                    </a:lnTo>
                    <a:lnTo>
                      <a:pt x="1196" y="1352"/>
                    </a:lnTo>
                    <a:lnTo>
                      <a:pt x="1198" y="1352"/>
                    </a:lnTo>
                    <a:lnTo>
                      <a:pt x="1198" y="1350"/>
                    </a:lnTo>
                    <a:lnTo>
                      <a:pt x="1200" y="1350"/>
                    </a:lnTo>
                    <a:lnTo>
                      <a:pt x="1202" y="1350"/>
                    </a:lnTo>
                    <a:lnTo>
                      <a:pt x="1200" y="1350"/>
                    </a:lnTo>
                    <a:lnTo>
                      <a:pt x="1200" y="1349"/>
                    </a:lnTo>
                    <a:lnTo>
                      <a:pt x="1200" y="1347"/>
                    </a:lnTo>
                    <a:lnTo>
                      <a:pt x="1202" y="1347"/>
                    </a:lnTo>
                    <a:lnTo>
                      <a:pt x="1202" y="1345"/>
                    </a:lnTo>
                    <a:lnTo>
                      <a:pt x="1203" y="1345"/>
                    </a:lnTo>
                    <a:lnTo>
                      <a:pt x="1202" y="1345"/>
                    </a:lnTo>
                    <a:lnTo>
                      <a:pt x="1202" y="1347"/>
                    </a:lnTo>
                    <a:lnTo>
                      <a:pt x="1200" y="1347"/>
                    </a:lnTo>
                    <a:lnTo>
                      <a:pt x="1200" y="1349"/>
                    </a:lnTo>
                    <a:lnTo>
                      <a:pt x="1200" y="1350"/>
                    </a:lnTo>
                    <a:lnTo>
                      <a:pt x="1198" y="1350"/>
                    </a:lnTo>
                    <a:lnTo>
                      <a:pt x="1196" y="1350"/>
                    </a:lnTo>
                    <a:lnTo>
                      <a:pt x="1196" y="1352"/>
                    </a:lnTo>
                    <a:lnTo>
                      <a:pt x="1195" y="1354"/>
                    </a:lnTo>
                    <a:lnTo>
                      <a:pt x="1193" y="1352"/>
                    </a:lnTo>
                    <a:lnTo>
                      <a:pt x="1191" y="1350"/>
                    </a:lnTo>
                    <a:lnTo>
                      <a:pt x="1191" y="1349"/>
                    </a:lnTo>
                    <a:lnTo>
                      <a:pt x="1190" y="1350"/>
                    </a:lnTo>
                    <a:lnTo>
                      <a:pt x="1190" y="1349"/>
                    </a:lnTo>
                    <a:lnTo>
                      <a:pt x="1190" y="1350"/>
                    </a:lnTo>
                    <a:lnTo>
                      <a:pt x="1188" y="1350"/>
                    </a:lnTo>
                    <a:lnTo>
                      <a:pt x="1190" y="1350"/>
                    </a:lnTo>
                    <a:lnTo>
                      <a:pt x="1188" y="1349"/>
                    </a:lnTo>
                    <a:lnTo>
                      <a:pt x="1186" y="1350"/>
                    </a:lnTo>
                    <a:lnTo>
                      <a:pt x="1186" y="1349"/>
                    </a:lnTo>
                    <a:lnTo>
                      <a:pt x="1185" y="1349"/>
                    </a:lnTo>
                    <a:lnTo>
                      <a:pt x="1186" y="1347"/>
                    </a:lnTo>
                    <a:lnTo>
                      <a:pt x="1185" y="1347"/>
                    </a:lnTo>
                    <a:lnTo>
                      <a:pt x="1185" y="1345"/>
                    </a:lnTo>
                    <a:lnTo>
                      <a:pt x="1185" y="1344"/>
                    </a:lnTo>
                    <a:lnTo>
                      <a:pt x="1186" y="1344"/>
                    </a:lnTo>
                    <a:lnTo>
                      <a:pt x="1188" y="1344"/>
                    </a:lnTo>
                    <a:lnTo>
                      <a:pt x="1188" y="1342"/>
                    </a:lnTo>
                    <a:lnTo>
                      <a:pt x="1190" y="1342"/>
                    </a:lnTo>
                    <a:lnTo>
                      <a:pt x="1191" y="1342"/>
                    </a:lnTo>
                    <a:lnTo>
                      <a:pt x="1193" y="1342"/>
                    </a:lnTo>
                    <a:lnTo>
                      <a:pt x="1195" y="1340"/>
                    </a:lnTo>
                    <a:lnTo>
                      <a:pt x="1195" y="1342"/>
                    </a:lnTo>
                    <a:lnTo>
                      <a:pt x="1195" y="1340"/>
                    </a:lnTo>
                    <a:lnTo>
                      <a:pt x="1193" y="1340"/>
                    </a:lnTo>
                    <a:lnTo>
                      <a:pt x="1191" y="1340"/>
                    </a:lnTo>
                    <a:lnTo>
                      <a:pt x="1190" y="1340"/>
                    </a:lnTo>
                    <a:lnTo>
                      <a:pt x="1188" y="1340"/>
                    </a:lnTo>
                    <a:lnTo>
                      <a:pt x="1188" y="1342"/>
                    </a:lnTo>
                    <a:lnTo>
                      <a:pt x="1186" y="1342"/>
                    </a:lnTo>
                    <a:lnTo>
                      <a:pt x="1186" y="1340"/>
                    </a:lnTo>
                    <a:lnTo>
                      <a:pt x="1186" y="1339"/>
                    </a:lnTo>
                    <a:lnTo>
                      <a:pt x="1186" y="1337"/>
                    </a:lnTo>
                    <a:lnTo>
                      <a:pt x="1186" y="1335"/>
                    </a:lnTo>
                    <a:lnTo>
                      <a:pt x="1188" y="1333"/>
                    </a:lnTo>
                    <a:lnTo>
                      <a:pt x="1188" y="1335"/>
                    </a:lnTo>
                    <a:lnTo>
                      <a:pt x="1188" y="1333"/>
                    </a:lnTo>
                    <a:lnTo>
                      <a:pt x="1190" y="1332"/>
                    </a:lnTo>
                    <a:lnTo>
                      <a:pt x="1191" y="1332"/>
                    </a:lnTo>
                    <a:lnTo>
                      <a:pt x="1191" y="1333"/>
                    </a:lnTo>
                    <a:lnTo>
                      <a:pt x="1191" y="1332"/>
                    </a:lnTo>
                    <a:lnTo>
                      <a:pt x="1193" y="1332"/>
                    </a:lnTo>
                    <a:lnTo>
                      <a:pt x="1193" y="1330"/>
                    </a:lnTo>
                    <a:lnTo>
                      <a:pt x="1195" y="1330"/>
                    </a:lnTo>
                    <a:lnTo>
                      <a:pt x="1196" y="1332"/>
                    </a:lnTo>
                    <a:lnTo>
                      <a:pt x="1196" y="1333"/>
                    </a:lnTo>
                    <a:lnTo>
                      <a:pt x="1196" y="1335"/>
                    </a:lnTo>
                    <a:lnTo>
                      <a:pt x="1195" y="1335"/>
                    </a:lnTo>
                    <a:lnTo>
                      <a:pt x="1195" y="1337"/>
                    </a:lnTo>
                    <a:lnTo>
                      <a:pt x="1196" y="1335"/>
                    </a:lnTo>
                    <a:lnTo>
                      <a:pt x="1196" y="1333"/>
                    </a:lnTo>
                    <a:lnTo>
                      <a:pt x="1198" y="1332"/>
                    </a:lnTo>
                    <a:lnTo>
                      <a:pt x="1200" y="1332"/>
                    </a:lnTo>
                    <a:lnTo>
                      <a:pt x="1200" y="1333"/>
                    </a:lnTo>
                    <a:lnTo>
                      <a:pt x="1200" y="1335"/>
                    </a:lnTo>
                    <a:lnTo>
                      <a:pt x="1202" y="1335"/>
                    </a:lnTo>
                    <a:lnTo>
                      <a:pt x="1202" y="1337"/>
                    </a:lnTo>
                    <a:lnTo>
                      <a:pt x="1203" y="1337"/>
                    </a:lnTo>
                    <a:lnTo>
                      <a:pt x="1203" y="1339"/>
                    </a:lnTo>
                    <a:lnTo>
                      <a:pt x="1203" y="1340"/>
                    </a:lnTo>
                    <a:lnTo>
                      <a:pt x="1203" y="1339"/>
                    </a:lnTo>
                    <a:lnTo>
                      <a:pt x="1205" y="1339"/>
                    </a:lnTo>
                    <a:lnTo>
                      <a:pt x="1203" y="1339"/>
                    </a:lnTo>
                    <a:lnTo>
                      <a:pt x="1203" y="1337"/>
                    </a:lnTo>
                    <a:lnTo>
                      <a:pt x="1205" y="1337"/>
                    </a:lnTo>
                    <a:lnTo>
                      <a:pt x="1205" y="1339"/>
                    </a:lnTo>
                    <a:lnTo>
                      <a:pt x="1205" y="1340"/>
                    </a:lnTo>
                    <a:lnTo>
                      <a:pt x="1207" y="1340"/>
                    </a:lnTo>
                    <a:lnTo>
                      <a:pt x="1207" y="1342"/>
                    </a:lnTo>
                    <a:lnTo>
                      <a:pt x="1207" y="1340"/>
                    </a:lnTo>
                    <a:lnTo>
                      <a:pt x="1208" y="1340"/>
                    </a:lnTo>
                    <a:lnTo>
                      <a:pt x="1207" y="1340"/>
                    </a:lnTo>
                    <a:lnTo>
                      <a:pt x="1207" y="1339"/>
                    </a:lnTo>
                    <a:lnTo>
                      <a:pt x="1205" y="1339"/>
                    </a:lnTo>
                    <a:lnTo>
                      <a:pt x="1205" y="1337"/>
                    </a:lnTo>
                    <a:lnTo>
                      <a:pt x="1203" y="1335"/>
                    </a:lnTo>
                    <a:lnTo>
                      <a:pt x="1202" y="1335"/>
                    </a:lnTo>
                    <a:lnTo>
                      <a:pt x="1202" y="1333"/>
                    </a:lnTo>
                    <a:lnTo>
                      <a:pt x="1202" y="1332"/>
                    </a:lnTo>
                    <a:lnTo>
                      <a:pt x="1202" y="1330"/>
                    </a:lnTo>
                    <a:lnTo>
                      <a:pt x="1200" y="1330"/>
                    </a:lnTo>
                    <a:lnTo>
                      <a:pt x="1198" y="1330"/>
                    </a:lnTo>
                    <a:lnTo>
                      <a:pt x="1196" y="1330"/>
                    </a:lnTo>
                    <a:lnTo>
                      <a:pt x="1195" y="1328"/>
                    </a:lnTo>
                    <a:lnTo>
                      <a:pt x="1195" y="1330"/>
                    </a:lnTo>
                    <a:lnTo>
                      <a:pt x="1193" y="1328"/>
                    </a:lnTo>
                    <a:lnTo>
                      <a:pt x="1193" y="1327"/>
                    </a:lnTo>
                    <a:lnTo>
                      <a:pt x="1195" y="1327"/>
                    </a:lnTo>
                    <a:lnTo>
                      <a:pt x="1195" y="1325"/>
                    </a:lnTo>
                    <a:lnTo>
                      <a:pt x="1193" y="1325"/>
                    </a:lnTo>
                    <a:lnTo>
                      <a:pt x="1193" y="1323"/>
                    </a:lnTo>
                    <a:lnTo>
                      <a:pt x="1195" y="1323"/>
                    </a:lnTo>
                    <a:lnTo>
                      <a:pt x="1195" y="1322"/>
                    </a:lnTo>
                    <a:lnTo>
                      <a:pt x="1195" y="1320"/>
                    </a:lnTo>
                    <a:lnTo>
                      <a:pt x="1195" y="1318"/>
                    </a:lnTo>
                    <a:lnTo>
                      <a:pt x="1195" y="1316"/>
                    </a:lnTo>
                    <a:lnTo>
                      <a:pt x="1196" y="1316"/>
                    </a:lnTo>
                    <a:lnTo>
                      <a:pt x="1198" y="1316"/>
                    </a:lnTo>
                    <a:lnTo>
                      <a:pt x="1198" y="1318"/>
                    </a:lnTo>
                    <a:lnTo>
                      <a:pt x="1198" y="1320"/>
                    </a:lnTo>
                    <a:lnTo>
                      <a:pt x="1200" y="1320"/>
                    </a:lnTo>
                    <a:lnTo>
                      <a:pt x="1202" y="1320"/>
                    </a:lnTo>
                    <a:lnTo>
                      <a:pt x="1203" y="1320"/>
                    </a:lnTo>
                    <a:lnTo>
                      <a:pt x="1203" y="1322"/>
                    </a:lnTo>
                    <a:lnTo>
                      <a:pt x="1203" y="1323"/>
                    </a:lnTo>
                    <a:lnTo>
                      <a:pt x="1205" y="1323"/>
                    </a:lnTo>
                    <a:lnTo>
                      <a:pt x="1203" y="1323"/>
                    </a:lnTo>
                    <a:lnTo>
                      <a:pt x="1203" y="1322"/>
                    </a:lnTo>
                    <a:lnTo>
                      <a:pt x="1203" y="1320"/>
                    </a:lnTo>
                    <a:lnTo>
                      <a:pt x="1203" y="1322"/>
                    </a:lnTo>
                    <a:lnTo>
                      <a:pt x="1203" y="1320"/>
                    </a:lnTo>
                    <a:lnTo>
                      <a:pt x="1202" y="1320"/>
                    </a:lnTo>
                    <a:lnTo>
                      <a:pt x="1200" y="1320"/>
                    </a:lnTo>
                    <a:lnTo>
                      <a:pt x="1200" y="1318"/>
                    </a:lnTo>
                    <a:lnTo>
                      <a:pt x="1200" y="1316"/>
                    </a:lnTo>
                    <a:lnTo>
                      <a:pt x="1198" y="1316"/>
                    </a:lnTo>
                    <a:lnTo>
                      <a:pt x="1200" y="1318"/>
                    </a:lnTo>
                    <a:lnTo>
                      <a:pt x="1198" y="1318"/>
                    </a:lnTo>
                    <a:lnTo>
                      <a:pt x="1198" y="1316"/>
                    </a:lnTo>
                    <a:lnTo>
                      <a:pt x="1198" y="1315"/>
                    </a:lnTo>
                    <a:lnTo>
                      <a:pt x="1196" y="1315"/>
                    </a:lnTo>
                    <a:lnTo>
                      <a:pt x="1196" y="1313"/>
                    </a:lnTo>
                    <a:lnTo>
                      <a:pt x="1195" y="1313"/>
                    </a:lnTo>
                    <a:lnTo>
                      <a:pt x="1195" y="1315"/>
                    </a:lnTo>
                    <a:lnTo>
                      <a:pt x="1193" y="1315"/>
                    </a:lnTo>
                    <a:lnTo>
                      <a:pt x="1193" y="1313"/>
                    </a:lnTo>
                    <a:lnTo>
                      <a:pt x="1191" y="1313"/>
                    </a:lnTo>
                    <a:lnTo>
                      <a:pt x="1193" y="1315"/>
                    </a:lnTo>
                    <a:lnTo>
                      <a:pt x="1193" y="1316"/>
                    </a:lnTo>
                    <a:lnTo>
                      <a:pt x="1193" y="1318"/>
                    </a:lnTo>
                    <a:lnTo>
                      <a:pt x="1193" y="1320"/>
                    </a:lnTo>
                    <a:lnTo>
                      <a:pt x="1193" y="1322"/>
                    </a:lnTo>
                    <a:lnTo>
                      <a:pt x="1191" y="1322"/>
                    </a:lnTo>
                    <a:lnTo>
                      <a:pt x="1191" y="1323"/>
                    </a:lnTo>
                    <a:lnTo>
                      <a:pt x="1191" y="1325"/>
                    </a:lnTo>
                    <a:lnTo>
                      <a:pt x="1191" y="1327"/>
                    </a:lnTo>
                    <a:lnTo>
                      <a:pt x="1191" y="1328"/>
                    </a:lnTo>
                    <a:lnTo>
                      <a:pt x="1191" y="1330"/>
                    </a:lnTo>
                    <a:lnTo>
                      <a:pt x="1190" y="1330"/>
                    </a:lnTo>
                    <a:lnTo>
                      <a:pt x="1188" y="1330"/>
                    </a:lnTo>
                    <a:lnTo>
                      <a:pt x="1188" y="1328"/>
                    </a:lnTo>
                    <a:lnTo>
                      <a:pt x="1186" y="1327"/>
                    </a:lnTo>
                    <a:lnTo>
                      <a:pt x="1186" y="1325"/>
                    </a:lnTo>
                    <a:lnTo>
                      <a:pt x="1186" y="1323"/>
                    </a:lnTo>
                    <a:lnTo>
                      <a:pt x="1186" y="1325"/>
                    </a:lnTo>
                    <a:lnTo>
                      <a:pt x="1185" y="1325"/>
                    </a:lnTo>
                    <a:lnTo>
                      <a:pt x="1185" y="1323"/>
                    </a:lnTo>
                    <a:lnTo>
                      <a:pt x="1183" y="1323"/>
                    </a:lnTo>
                    <a:lnTo>
                      <a:pt x="1183" y="1322"/>
                    </a:lnTo>
                    <a:lnTo>
                      <a:pt x="1183" y="1323"/>
                    </a:lnTo>
                    <a:lnTo>
                      <a:pt x="1183" y="1322"/>
                    </a:lnTo>
                    <a:lnTo>
                      <a:pt x="1183" y="1320"/>
                    </a:lnTo>
                    <a:lnTo>
                      <a:pt x="1185" y="1320"/>
                    </a:lnTo>
                    <a:lnTo>
                      <a:pt x="1185" y="1318"/>
                    </a:lnTo>
                    <a:lnTo>
                      <a:pt x="1185" y="1316"/>
                    </a:lnTo>
                    <a:lnTo>
                      <a:pt x="1185" y="1315"/>
                    </a:lnTo>
                    <a:lnTo>
                      <a:pt x="1185" y="1313"/>
                    </a:lnTo>
                    <a:lnTo>
                      <a:pt x="1185" y="1311"/>
                    </a:lnTo>
                    <a:lnTo>
                      <a:pt x="1186" y="1311"/>
                    </a:lnTo>
                    <a:lnTo>
                      <a:pt x="1185" y="1311"/>
                    </a:lnTo>
                    <a:lnTo>
                      <a:pt x="1185" y="1310"/>
                    </a:lnTo>
                    <a:lnTo>
                      <a:pt x="1185" y="1308"/>
                    </a:lnTo>
                    <a:lnTo>
                      <a:pt x="1185" y="1306"/>
                    </a:lnTo>
                    <a:lnTo>
                      <a:pt x="1185" y="1305"/>
                    </a:lnTo>
                    <a:lnTo>
                      <a:pt x="1183" y="1306"/>
                    </a:lnTo>
                    <a:lnTo>
                      <a:pt x="1183" y="1308"/>
                    </a:lnTo>
                    <a:lnTo>
                      <a:pt x="1183" y="1306"/>
                    </a:lnTo>
                    <a:lnTo>
                      <a:pt x="1183" y="1305"/>
                    </a:lnTo>
                    <a:lnTo>
                      <a:pt x="1181" y="1303"/>
                    </a:lnTo>
                    <a:lnTo>
                      <a:pt x="1183" y="1303"/>
                    </a:lnTo>
                    <a:lnTo>
                      <a:pt x="1183" y="1301"/>
                    </a:lnTo>
                    <a:lnTo>
                      <a:pt x="1183" y="1303"/>
                    </a:lnTo>
                    <a:lnTo>
                      <a:pt x="1185" y="1301"/>
                    </a:lnTo>
                    <a:lnTo>
                      <a:pt x="1185" y="1299"/>
                    </a:lnTo>
                    <a:lnTo>
                      <a:pt x="1183" y="1299"/>
                    </a:lnTo>
                    <a:lnTo>
                      <a:pt x="1183" y="1298"/>
                    </a:lnTo>
                    <a:lnTo>
                      <a:pt x="1185" y="1299"/>
                    </a:lnTo>
                    <a:lnTo>
                      <a:pt x="1185" y="1298"/>
                    </a:lnTo>
                    <a:lnTo>
                      <a:pt x="1186" y="1299"/>
                    </a:lnTo>
                    <a:lnTo>
                      <a:pt x="1185" y="1298"/>
                    </a:lnTo>
                    <a:lnTo>
                      <a:pt x="1183" y="1298"/>
                    </a:lnTo>
                    <a:lnTo>
                      <a:pt x="1183" y="1296"/>
                    </a:lnTo>
                    <a:lnTo>
                      <a:pt x="1185" y="1296"/>
                    </a:lnTo>
                    <a:lnTo>
                      <a:pt x="1183" y="1296"/>
                    </a:lnTo>
                    <a:lnTo>
                      <a:pt x="1183" y="1294"/>
                    </a:lnTo>
                    <a:lnTo>
                      <a:pt x="1183" y="1293"/>
                    </a:lnTo>
                    <a:lnTo>
                      <a:pt x="1183" y="1291"/>
                    </a:lnTo>
                    <a:lnTo>
                      <a:pt x="1185" y="1291"/>
                    </a:lnTo>
                    <a:lnTo>
                      <a:pt x="1185" y="1289"/>
                    </a:lnTo>
                    <a:lnTo>
                      <a:pt x="1185" y="1288"/>
                    </a:lnTo>
                    <a:lnTo>
                      <a:pt x="1186" y="1288"/>
                    </a:lnTo>
                    <a:lnTo>
                      <a:pt x="1186" y="1289"/>
                    </a:lnTo>
                    <a:lnTo>
                      <a:pt x="1186" y="1288"/>
                    </a:lnTo>
                    <a:lnTo>
                      <a:pt x="1186" y="1289"/>
                    </a:lnTo>
                    <a:lnTo>
                      <a:pt x="1188" y="1289"/>
                    </a:lnTo>
                    <a:lnTo>
                      <a:pt x="1190" y="1289"/>
                    </a:lnTo>
                    <a:lnTo>
                      <a:pt x="1190" y="1288"/>
                    </a:lnTo>
                    <a:lnTo>
                      <a:pt x="1191" y="1288"/>
                    </a:lnTo>
                    <a:lnTo>
                      <a:pt x="1193" y="1288"/>
                    </a:lnTo>
                    <a:lnTo>
                      <a:pt x="1195" y="1289"/>
                    </a:lnTo>
                    <a:lnTo>
                      <a:pt x="1196" y="1288"/>
                    </a:lnTo>
                    <a:lnTo>
                      <a:pt x="1196" y="1289"/>
                    </a:lnTo>
                    <a:lnTo>
                      <a:pt x="1198" y="1288"/>
                    </a:lnTo>
                    <a:lnTo>
                      <a:pt x="1196" y="1288"/>
                    </a:lnTo>
                    <a:lnTo>
                      <a:pt x="1195" y="1288"/>
                    </a:lnTo>
                    <a:lnTo>
                      <a:pt x="1193" y="1288"/>
                    </a:lnTo>
                    <a:lnTo>
                      <a:pt x="1191" y="1286"/>
                    </a:lnTo>
                    <a:lnTo>
                      <a:pt x="1190" y="1288"/>
                    </a:lnTo>
                    <a:lnTo>
                      <a:pt x="1188" y="1288"/>
                    </a:lnTo>
                    <a:lnTo>
                      <a:pt x="1186" y="1288"/>
                    </a:lnTo>
                    <a:lnTo>
                      <a:pt x="1188" y="1286"/>
                    </a:lnTo>
                    <a:lnTo>
                      <a:pt x="1190" y="1286"/>
                    </a:lnTo>
                    <a:lnTo>
                      <a:pt x="1190" y="1284"/>
                    </a:lnTo>
                    <a:lnTo>
                      <a:pt x="1190" y="1286"/>
                    </a:lnTo>
                    <a:lnTo>
                      <a:pt x="1188" y="1286"/>
                    </a:lnTo>
                    <a:lnTo>
                      <a:pt x="1188" y="1284"/>
                    </a:lnTo>
                    <a:lnTo>
                      <a:pt x="1188" y="1286"/>
                    </a:lnTo>
                    <a:lnTo>
                      <a:pt x="1186" y="1286"/>
                    </a:lnTo>
                    <a:lnTo>
                      <a:pt x="1186" y="1284"/>
                    </a:lnTo>
                    <a:lnTo>
                      <a:pt x="1185" y="1286"/>
                    </a:lnTo>
                    <a:lnTo>
                      <a:pt x="1185" y="1284"/>
                    </a:lnTo>
                    <a:lnTo>
                      <a:pt x="1186" y="1284"/>
                    </a:lnTo>
                    <a:lnTo>
                      <a:pt x="1185" y="1282"/>
                    </a:lnTo>
                    <a:lnTo>
                      <a:pt x="1185" y="1281"/>
                    </a:lnTo>
                    <a:lnTo>
                      <a:pt x="1186" y="1281"/>
                    </a:lnTo>
                    <a:lnTo>
                      <a:pt x="1186" y="1279"/>
                    </a:lnTo>
                    <a:lnTo>
                      <a:pt x="1188" y="1279"/>
                    </a:lnTo>
                    <a:lnTo>
                      <a:pt x="1188" y="1277"/>
                    </a:lnTo>
                    <a:lnTo>
                      <a:pt x="1190" y="1279"/>
                    </a:lnTo>
                    <a:lnTo>
                      <a:pt x="1188" y="1277"/>
                    </a:lnTo>
                    <a:lnTo>
                      <a:pt x="1190" y="1277"/>
                    </a:lnTo>
                    <a:lnTo>
                      <a:pt x="1190" y="1276"/>
                    </a:lnTo>
                    <a:lnTo>
                      <a:pt x="1191" y="1276"/>
                    </a:lnTo>
                    <a:lnTo>
                      <a:pt x="1193" y="1276"/>
                    </a:lnTo>
                    <a:lnTo>
                      <a:pt x="1193" y="1277"/>
                    </a:lnTo>
                    <a:lnTo>
                      <a:pt x="1195" y="1277"/>
                    </a:lnTo>
                    <a:lnTo>
                      <a:pt x="1195" y="1279"/>
                    </a:lnTo>
                    <a:lnTo>
                      <a:pt x="1196" y="1279"/>
                    </a:lnTo>
                    <a:lnTo>
                      <a:pt x="1198" y="1281"/>
                    </a:lnTo>
                    <a:lnTo>
                      <a:pt x="1200" y="1282"/>
                    </a:lnTo>
                    <a:lnTo>
                      <a:pt x="1200" y="1281"/>
                    </a:lnTo>
                    <a:lnTo>
                      <a:pt x="1200" y="1279"/>
                    </a:lnTo>
                    <a:lnTo>
                      <a:pt x="1198" y="1279"/>
                    </a:lnTo>
                    <a:lnTo>
                      <a:pt x="1196" y="1279"/>
                    </a:lnTo>
                    <a:lnTo>
                      <a:pt x="1196" y="1277"/>
                    </a:lnTo>
                    <a:lnTo>
                      <a:pt x="1196" y="1276"/>
                    </a:lnTo>
                    <a:lnTo>
                      <a:pt x="1196" y="1274"/>
                    </a:lnTo>
                    <a:lnTo>
                      <a:pt x="1198" y="1272"/>
                    </a:lnTo>
                    <a:lnTo>
                      <a:pt x="1200" y="1274"/>
                    </a:lnTo>
                    <a:lnTo>
                      <a:pt x="1200" y="1272"/>
                    </a:lnTo>
                    <a:lnTo>
                      <a:pt x="1202" y="1272"/>
                    </a:lnTo>
                    <a:lnTo>
                      <a:pt x="1200" y="1272"/>
                    </a:lnTo>
                    <a:lnTo>
                      <a:pt x="1198" y="1272"/>
                    </a:lnTo>
                    <a:lnTo>
                      <a:pt x="1196" y="1272"/>
                    </a:lnTo>
                    <a:lnTo>
                      <a:pt x="1196" y="1270"/>
                    </a:lnTo>
                    <a:lnTo>
                      <a:pt x="1195" y="1270"/>
                    </a:lnTo>
                    <a:lnTo>
                      <a:pt x="1193" y="1270"/>
                    </a:lnTo>
                    <a:lnTo>
                      <a:pt x="1193" y="1269"/>
                    </a:lnTo>
                    <a:lnTo>
                      <a:pt x="1191" y="1269"/>
                    </a:lnTo>
                    <a:lnTo>
                      <a:pt x="1190" y="1269"/>
                    </a:lnTo>
                    <a:lnTo>
                      <a:pt x="1191" y="1267"/>
                    </a:lnTo>
                    <a:lnTo>
                      <a:pt x="1193" y="1267"/>
                    </a:lnTo>
                    <a:lnTo>
                      <a:pt x="1195" y="1267"/>
                    </a:lnTo>
                    <a:lnTo>
                      <a:pt x="1196" y="1267"/>
                    </a:lnTo>
                    <a:lnTo>
                      <a:pt x="1198" y="1267"/>
                    </a:lnTo>
                    <a:lnTo>
                      <a:pt x="1200" y="1267"/>
                    </a:lnTo>
                    <a:lnTo>
                      <a:pt x="1198" y="1267"/>
                    </a:lnTo>
                    <a:lnTo>
                      <a:pt x="1196" y="1267"/>
                    </a:lnTo>
                    <a:lnTo>
                      <a:pt x="1195" y="1267"/>
                    </a:lnTo>
                    <a:lnTo>
                      <a:pt x="1193" y="1267"/>
                    </a:lnTo>
                    <a:lnTo>
                      <a:pt x="1191" y="1267"/>
                    </a:lnTo>
                    <a:lnTo>
                      <a:pt x="1190" y="1267"/>
                    </a:lnTo>
                    <a:lnTo>
                      <a:pt x="1190" y="1269"/>
                    </a:lnTo>
                    <a:lnTo>
                      <a:pt x="1188" y="1269"/>
                    </a:lnTo>
                    <a:lnTo>
                      <a:pt x="1188" y="1267"/>
                    </a:lnTo>
                    <a:lnTo>
                      <a:pt x="1190" y="1267"/>
                    </a:lnTo>
                    <a:lnTo>
                      <a:pt x="1190" y="1265"/>
                    </a:lnTo>
                    <a:lnTo>
                      <a:pt x="1188" y="1264"/>
                    </a:lnTo>
                    <a:lnTo>
                      <a:pt x="1188" y="1265"/>
                    </a:lnTo>
                    <a:lnTo>
                      <a:pt x="1188" y="1264"/>
                    </a:lnTo>
                    <a:lnTo>
                      <a:pt x="1188" y="1262"/>
                    </a:lnTo>
                    <a:lnTo>
                      <a:pt x="1186" y="1262"/>
                    </a:lnTo>
                    <a:lnTo>
                      <a:pt x="1185" y="1262"/>
                    </a:lnTo>
                    <a:lnTo>
                      <a:pt x="1185" y="1260"/>
                    </a:lnTo>
                    <a:lnTo>
                      <a:pt x="1183" y="1260"/>
                    </a:lnTo>
                    <a:lnTo>
                      <a:pt x="1183" y="1259"/>
                    </a:lnTo>
                    <a:lnTo>
                      <a:pt x="1181" y="1259"/>
                    </a:lnTo>
                    <a:lnTo>
                      <a:pt x="1181" y="1257"/>
                    </a:lnTo>
                    <a:lnTo>
                      <a:pt x="1181" y="1255"/>
                    </a:lnTo>
                    <a:lnTo>
                      <a:pt x="1183" y="1255"/>
                    </a:lnTo>
                    <a:lnTo>
                      <a:pt x="1183" y="1253"/>
                    </a:lnTo>
                    <a:lnTo>
                      <a:pt x="1183" y="1255"/>
                    </a:lnTo>
                    <a:lnTo>
                      <a:pt x="1183" y="1253"/>
                    </a:lnTo>
                    <a:lnTo>
                      <a:pt x="1183" y="1252"/>
                    </a:lnTo>
                    <a:lnTo>
                      <a:pt x="1185" y="1252"/>
                    </a:lnTo>
                    <a:lnTo>
                      <a:pt x="1183" y="1252"/>
                    </a:lnTo>
                    <a:lnTo>
                      <a:pt x="1183" y="1253"/>
                    </a:lnTo>
                    <a:lnTo>
                      <a:pt x="1181" y="1253"/>
                    </a:lnTo>
                    <a:lnTo>
                      <a:pt x="1181" y="1255"/>
                    </a:lnTo>
                    <a:lnTo>
                      <a:pt x="1179" y="1255"/>
                    </a:lnTo>
                    <a:lnTo>
                      <a:pt x="1181" y="1255"/>
                    </a:lnTo>
                    <a:lnTo>
                      <a:pt x="1181" y="1253"/>
                    </a:lnTo>
                    <a:lnTo>
                      <a:pt x="1181" y="1255"/>
                    </a:lnTo>
                    <a:lnTo>
                      <a:pt x="1179" y="1255"/>
                    </a:lnTo>
                    <a:lnTo>
                      <a:pt x="1178" y="1257"/>
                    </a:lnTo>
                    <a:lnTo>
                      <a:pt x="1178" y="1255"/>
                    </a:lnTo>
                    <a:lnTo>
                      <a:pt x="1176" y="1255"/>
                    </a:lnTo>
                    <a:lnTo>
                      <a:pt x="1176" y="1253"/>
                    </a:lnTo>
                    <a:lnTo>
                      <a:pt x="1176" y="1255"/>
                    </a:lnTo>
                    <a:lnTo>
                      <a:pt x="1176" y="1253"/>
                    </a:lnTo>
                    <a:lnTo>
                      <a:pt x="1176" y="1252"/>
                    </a:lnTo>
                    <a:lnTo>
                      <a:pt x="1176" y="1250"/>
                    </a:lnTo>
                    <a:lnTo>
                      <a:pt x="1178" y="1250"/>
                    </a:lnTo>
                    <a:lnTo>
                      <a:pt x="1179" y="1248"/>
                    </a:lnTo>
                    <a:lnTo>
                      <a:pt x="1181" y="1248"/>
                    </a:lnTo>
                    <a:lnTo>
                      <a:pt x="1183" y="1250"/>
                    </a:lnTo>
                    <a:lnTo>
                      <a:pt x="1185" y="1250"/>
                    </a:lnTo>
                    <a:lnTo>
                      <a:pt x="1186" y="1252"/>
                    </a:lnTo>
                    <a:lnTo>
                      <a:pt x="1186" y="1253"/>
                    </a:lnTo>
                    <a:lnTo>
                      <a:pt x="1186" y="1252"/>
                    </a:lnTo>
                    <a:lnTo>
                      <a:pt x="1186" y="1253"/>
                    </a:lnTo>
                    <a:lnTo>
                      <a:pt x="1188" y="1255"/>
                    </a:lnTo>
                    <a:lnTo>
                      <a:pt x="1188" y="1257"/>
                    </a:lnTo>
                    <a:lnTo>
                      <a:pt x="1190" y="1259"/>
                    </a:lnTo>
                    <a:lnTo>
                      <a:pt x="1190" y="1260"/>
                    </a:lnTo>
                    <a:lnTo>
                      <a:pt x="1190" y="1262"/>
                    </a:lnTo>
                    <a:lnTo>
                      <a:pt x="1188" y="1262"/>
                    </a:lnTo>
                    <a:lnTo>
                      <a:pt x="1190" y="1262"/>
                    </a:lnTo>
                    <a:lnTo>
                      <a:pt x="1188" y="1264"/>
                    </a:lnTo>
                    <a:lnTo>
                      <a:pt x="1190" y="1264"/>
                    </a:lnTo>
                    <a:lnTo>
                      <a:pt x="1190" y="1262"/>
                    </a:lnTo>
                    <a:lnTo>
                      <a:pt x="1190" y="1260"/>
                    </a:lnTo>
                    <a:lnTo>
                      <a:pt x="1191" y="1262"/>
                    </a:lnTo>
                    <a:lnTo>
                      <a:pt x="1191" y="1264"/>
                    </a:lnTo>
                    <a:lnTo>
                      <a:pt x="1193" y="1262"/>
                    </a:lnTo>
                    <a:lnTo>
                      <a:pt x="1195" y="1262"/>
                    </a:lnTo>
                    <a:lnTo>
                      <a:pt x="1193" y="1262"/>
                    </a:lnTo>
                    <a:lnTo>
                      <a:pt x="1191" y="1264"/>
                    </a:lnTo>
                    <a:lnTo>
                      <a:pt x="1191" y="1262"/>
                    </a:lnTo>
                    <a:lnTo>
                      <a:pt x="1191" y="1260"/>
                    </a:lnTo>
                    <a:lnTo>
                      <a:pt x="1190" y="1260"/>
                    </a:lnTo>
                    <a:lnTo>
                      <a:pt x="1190" y="1259"/>
                    </a:lnTo>
                    <a:lnTo>
                      <a:pt x="1191" y="1259"/>
                    </a:lnTo>
                    <a:lnTo>
                      <a:pt x="1190" y="1259"/>
                    </a:lnTo>
                    <a:lnTo>
                      <a:pt x="1190" y="1257"/>
                    </a:lnTo>
                    <a:lnTo>
                      <a:pt x="1188" y="1255"/>
                    </a:lnTo>
                    <a:lnTo>
                      <a:pt x="1188" y="1253"/>
                    </a:lnTo>
                    <a:lnTo>
                      <a:pt x="1188" y="1252"/>
                    </a:lnTo>
                    <a:lnTo>
                      <a:pt x="1190" y="1252"/>
                    </a:lnTo>
                    <a:lnTo>
                      <a:pt x="1190" y="1250"/>
                    </a:lnTo>
                    <a:lnTo>
                      <a:pt x="1191" y="1250"/>
                    </a:lnTo>
                    <a:lnTo>
                      <a:pt x="1191" y="1252"/>
                    </a:lnTo>
                    <a:lnTo>
                      <a:pt x="1191" y="1253"/>
                    </a:lnTo>
                    <a:lnTo>
                      <a:pt x="1193" y="1253"/>
                    </a:lnTo>
                    <a:lnTo>
                      <a:pt x="1193" y="1255"/>
                    </a:lnTo>
                    <a:lnTo>
                      <a:pt x="1191" y="1253"/>
                    </a:lnTo>
                    <a:lnTo>
                      <a:pt x="1191" y="1252"/>
                    </a:lnTo>
                    <a:lnTo>
                      <a:pt x="1191" y="1250"/>
                    </a:lnTo>
                    <a:lnTo>
                      <a:pt x="1193" y="1250"/>
                    </a:lnTo>
                    <a:lnTo>
                      <a:pt x="1193" y="1252"/>
                    </a:lnTo>
                    <a:lnTo>
                      <a:pt x="1193" y="1250"/>
                    </a:lnTo>
                    <a:lnTo>
                      <a:pt x="1195" y="1250"/>
                    </a:lnTo>
                    <a:lnTo>
                      <a:pt x="1196" y="1250"/>
                    </a:lnTo>
                    <a:lnTo>
                      <a:pt x="1196" y="1252"/>
                    </a:lnTo>
                    <a:lnTo>
                      <a:pt x="1195" y="1252"/>
                    </a:lnTo>
                    <a:lnTo>
                      <a:pt x="1196" y="1252"/>
                    </a:lnTo>
                    <a:lnTo>
                      <a:pt x="1196" y="1253"/>
                    </a:lnTo>
                    <a:lnTo>
                      <a:pt x="1196" y="1252"/>
                    </a:lnTo>
                    <a:lnTo>
                      <a:pt x="1198" y="1252"/>
                    </a:lnTo>
                    <a:lnTo>
                      <a:pt x="1198" y="1253"/>
                    </a:lnTo>
                    <a:lnTo>
                      <a:pt x="1200" y="1253"/>
                    </a:lnTo>
                    <a:lnTo>
                      <a:pt x="1202" y="1252"/>
                    </a:lnTo>
                    <a:lnTo>
                      <a:pt x="1202" y="1253"/>
                    </a:lnTo>
                    <a:lnTo>
                      <a:pt x="1202" y="1252"/>
                    </a:lnTo>
                    <a:lnTo>
                      <a:pt x="1202" y="1253"/>
                    </a:lnTo>
                    <a:lnTo>
                      <a:pt x="1203" y="1253"/>
                    </a:lnTo>
                    <a:lnTo>
                      <a:pt x="1203" y="1255"/>
                    </a:lnTo>
                    <a:lnTo>
                      <a:pt x="1202" y="1255"/>
                    </a:lnTo>
                    <a:lnTo>
                      <a:pt x="1203" y="1257"/>
                    </a:lnTo>
                    <a:lnTo>
                      <a:pt x="1202" y="1257"/>
                    </a:lnTo>
                    <a:lnTo>
                      <a:pt x="1203" y="1257"/>
                    </a:lnTo>
                    <a:lnTo>
                      <a:pt x="1203" y="1255"/>
                    </a:lnTo>
                    <a:lnTo>
                      <a:pt x="1203" y="1253"/>
                    </a:lnTo>
                    <a:lnTo>
                      <a:pt x="1205" y="1253"/>
                    </a:lnTo>
                    <a:lnTo>
                      <a:pt x="1207" y="1253"/>
                    </a:lnTo>
                    <a:lnTo>
                      <a:pt x="1207" y="1255"/>
                    </a:lnTo>
                    <a:lnTo>
                      <a:pt x="1205" y="1255"/>
                    </a:lnTo>
                    <a:lnTo>
                      <a:pt x="1205" y="1257"/>
                    </a:lnTo>
                    <a:lnTo>
                      <a:pt x="1205" y="1259"/>
                    </a:lnTo>
                    <a:lnTo>
                      <a:pt x="1205" y="1257"/>
                    </a:lnTo>
                    <a:lnTo>
                      <a:pt x="1207" y="1255"/>
                    </a:lnTo>
                    <a:lnTo>
                      <a:pt x="1208" y="1257"/>
                    </a:lnTo>
                    <a:lnTo>
                      <a:pt x="1210" y="1257"/>
                    </a:lnTo>
                    <a:lnTo>
                      <a:pt x="1210" y="1259"/>
                    </a:lnTo>
                    <a:lnTo>
                      <a:pt x="1210" y="1257"/>
                    </a:lnTo>
                    <a:lnTo>
                      <a:pt x="1212" y="1259"/>
                    </a:lnTo>
                    <a:lnTo>
                      <a:pt x="1212" y="1260"/>
                    </a:lnTo>
                    <a:lnTo>
                      <a:pt x="1212" y="1262"/>
                    </a:lnTo>
                    <a:lnTo>
                      <a:pt x="1210" y="1262"/>
                    </a:lnTo>
                    <a:lnTo>
                      <a:pt x="1210" y="1264"/>
                    </a:lnTo>
                    <a:lnTo>
                      <a:pt x="1212" y="1262"/>
                    </a:lnTo>
                    <a:lnTo>
                      <a:pt x="1212" y="1260"/>
                    </a:lnTo>
                    <a:lnTo>
                      <a:pt x="1212" y="1262"/>
                    </a:lnTo>
                    <a:lnTo>
                      <a:pt x="1212" y="1264"/>
                    </a:lnTo>
                    <a:lnTo>
                      <a:pt x="1213" y="1264"/>
                    </a:lnTo>
                    <a:lnTo>
                      <a:pt x="1215" y="1264"/>
                    </a:lnTo>
                    <a:lnTo>
                      <a:pt x="1213" y="1262"/>
                    </a:lnTo>
                    <a:lnTo>
                      <a:pt x="1215" y="1260"/>
                    </a:lnTo>
                    <a:lnTo>
                      <a:pt x="1217" y="1260"/>
                    </a:lnTo>
                    <a:lnTo>
                      <a:pt x="1217" y="1262"/>
                    </a:lnTo>
                    <a:lnTo>
                      <a:pt x="1219" y="1262"/>
                    </a:lnTo>
                    <a:lnTo>
                      <a:pt x="1220" y="1262"/>
                    </a:lnTo>
                    <a:lnTo>
                      <a:pt x="1220" y="1260"/>
                    </a:lnTo>
                    <a:lnTo>
                      <a:pt x="1222" y="1260"/>
                    </a:lnTo>
                    <a:lnTo>
                      <a:pt x="1222" y="1259"/>
                    </a:lnTo>
                    <a:lnTo>
                      <a:pt x="1222" y="1257"/>
                    </a:lnTo>
                    <a:lnTo>
                      <a:pt x="1222" y="1255"/>
                    </a:lnTo>
                    <a:lnTo>
                      <a:pt x="1222" y="1253"/>
                    </a:lnTo>
                    <a:lnTo>
                      <a:pt x="1222" y="1252"/>
                    </a:lnTo>
                    <a:lnTo>
                      <a:pt x="1222" y="1253"/>
                    </a:lnTo>
                    <a:lnTo>
                      <a:pt x="1222" y="1255"/>
                    </a:lnTo>
                    <a:lnTo>
                      <a:pt x="1222" y="1257"/>
                    </a:lnTo>
                    <a:lnTo>
                      <a:pt x="1222" y="1259"/>
                    </a:lnTo>
                    <a:lnTo>
                      <a:pt x="1220" y="1260"/>
                    </a:lnTo>
                    <a:lnTo>
                      <a:pt x="1219" y="1260"/>
                    </a:lnTo>
                    <a:lnTo>
                      <a:pt x="1219" y="1259"/>
                    </a:lnTo>
                    <a:lnTo>
                      <a:pt x="1217" y="1259"/>
                    </a:lnTo>
                    <a:lnTo>
                      <a:pt x="1215" y="1259"/>
                    </a:lnTo>
                    <a:lnTo>
                      <a:pt x="1215" y="1257"/>
                    </a:lnTo>
                    <a:lnTo>
                      <a:pt x="1213" y="1255"/>
                    </a:lnTo>
                    <a:lnTo>
                      <a:pt x="1212" y="1255"/>
                    </a:lnTo>
                    <a:lnTo>
                      <a:pt x="1212" y="1253"/>
                    </a:lnTo>
                    <a:lnTo>
                      <a:pt x="1212" y="1252"/>
                    </a:lnTo>
                    <a:lnTo>
                      <a:pt x="1213" y="1252"/>
                    </a:lnTo>
                    <a:lnTo>
                      <a:pt x="1213" y="1250"/>
                    </a:lnTo>
                    <a:lnTo>
                      <a:pt x="1212" y="1250"/>
                    </a:lnTo>
                    <a:lnTo>
                      <a:pt x="1212" y="1252"/>
                    </a:lnTo>
                    <a:lnTo>
                      <a:pt x="1210" y="1252"/>
                    </a:lnTo>
                    <a:lnTo>
                      <a:pt x="1210" y="1250"/>
                    </a:lnTo>
                    <a:lnTo>
                      <a:pt x="1208" y="1248"/>
                    </a:lnTo>
                    <a:lnTo>
                      <a:pt x="1210" y="1248"/>
                    </a:lnTo>
                    <a:lnTo>
                      <a:pt x="1210" y="1247"/>
                    </a:lnTo>
                    <a:lnTo>
                      <a:pt x="1208" y="1247"/>
                    </a:lnTo>
                    <a:lnTo>
                      <a:pt x="1210" y="1245"/>
                    </a:lnTo>
                    <a:lnTo>
                      <a:pt x="1212" y="1245"/>
                    </a:lnTo>
                    <a:lnTo>
                      <a:pt x="1213" y="1245"/>
                    </a:lnTo>
                    <a:lnTo>
                      <a:pt x="1213" y="1247"/>
                    </a:lnTo>
                    <a:lnTo>
                      <a:pt x="1213" y="1248"/>
                    </a:lnTo>
                    <a:lnTo>
                      <a:pt x="1215" y="1248"/>
                    </a:lnTo>
                    <a:lnTo>
                      <a:pt x="1215" y="1250"/>
                    </a:lnTo>
                    <a:lnTo>
                      <a:pt x="1217" y="1250"/>
                    </a:lnTo>
                    <a:lnTo>
                      <a:pt x="1219" y="1250"/>
                    </a:lnTo>
                    <a:lnTo>
                      <a:pt x="1220" y="1248"/>
                    </a:lnTo>
                    <a:lnTo>
                      <a:pt x="1220" y="1250"/>
                    </a:lnTo>
                    <a:lnTo>
                      <a:pt x="1222" y="1250"/>
                    </a:lnTo>
                    <a:lnTo>
                      <a:pt x="1224" y="1250"/>
                    </a:lnTo>
                    <a:lnTo>
                      <a:pt x="1222" y="1248"/>
                    </a:lnTo>
                    <a:lnTo>
                      <a:pt x="1220" y="1248"/>
                    </a:lnTo>
                    <a:lnTo>
                      <a:pt x="1219" y="1248"/>
                    </a:lnTo>
                    <a:lnTo>
                      <a:pt x="1217" y="1248"/>
                    </a:lnTo>
                    <a:lnTo>
                      <a:pt x="1215" y="1248"/>
                    </a:lnTo>
                    <a:lnTo>
                      <a:pt x="1213" y="1248"/>
                    </a:lnTo>
                    <a:lnTo>
                      <a:pt x="1213" y="1247"/>
                    </a:lnTo>
                    <a:lnTo>
                      <a:pt x="1215" y="1247"/>
                    </a:lnTo>
                    <a:lnTo>
                      <a:pt x="1213" y="1245"/>
                    </a:lnTo>
                    <a:lnTo>
                      <a:pt x="1215" y="1245"/>
                    </a:lnTo>
                    <a:lnTo>
                      <a:pt x="1215" y="1243"/>
                    </a:lnTo>
                    <a:lnTo>
                      <a:pt x="1215" y="1245"/>
                    </a:lnTo>
                    <a:lnTo>
                      <a:pt x="1213" y="1245"/>
                    </a:lnTo>
                    <a:lnTo>
                      <a:pt x="1213" y="1243"/>
                    </a:lnTo>
                    <a:lnTo>
                      <a:pt x="1212" y="1243"/>
                    </a:lnTo>
                    <a:lnTo>
                      <a:pt x="1212" y="1242"/>
                    </a:lnTo>
                    <a:lnTo>
                      <a:pt x="1210" y="1242"/>
                    </a:lnTo>
                    <a:lnTo>
                      <a:pt x="1212" y="1242"/>
                    </a:lnTo>
                    <a:lnTo>
                      <a:pt x="1212" y="1240"/>
                    </a:lnTo>
                    <a:lnTo>
                      <a:pt x="1210" y="1240"/>
                    </a:lnTo>
                    <a:lnTo>
                      <a:pt x="1208" y="1240"/>
                    </a:lnTo>
                    <a:lnTo>
                      <a:pt x="1207" y="1240"/>
                    </a:lnTo>
                    <a:lnTo>
                      <a:pt x="1207" y="1238"/>
                    </a:lnTo>
                    <a:lnTo>
                      <a:pt x="1207" y="1236"/>
                    </a:lnTo>
                    <a:lnTo>
                      <a:pt x="1207" y="1235"/>
                    </a:lnTo>
                    <a:lnTo>
                      <a:pt x="1208" y="1233"/>
                    </a:lnTo>
                    <a:lnTo>
                      <a:pt x="1210" y="1231"/>
                    </a:lnTo>
                    <a:lnTo>
                      <a:pt x="1208" y="1231"/>
                    </a:lnTo>
                    <a:lnTo>
                      <a:pt x="1208" y="1233"/>
                    </a:lnTo>
                    <a:lnTo>
                      <a:pt x="1207" y="1233"/>
                    </a:lnTo>
                    <a:lnTo>
                      <a:pt x="1208" y="1233"/>
                    </a:lnTo>
                    <a:lnTo>
                      <a:pt x="1207" y="1233"/>
                    </a:lnTo>
                    <a:lnTo>
                      <a:pt x="1207" y="1235"/>
                    </a:lnTo>
                    <a:lnTo>
                      <a:pt x="1205" y="1235"/>
                    </a:lnTo>
                    <a:lnTo>
                      <a:pt x="1205" y="1236"/>
                    </a:lnTo>
                    <a:lnTo>
                      <a:pt x="1205" y="1238"/>
                    </a:lnTo>
                    <a:lnTo>
                      <a:pt x="1207" y="1238"/>
                    </a:lnTo>
                    <a:lnTo>
                      <a:pt x="1207" y="1240"/>
                    </a:lnTo>
                    <a:lnTo>
                      <a:pt x="1205" y="1240"/>
                    </a:lnTo>
                    <a:lnTo>
                      <a:pt x="1205" y="1242"/>
                    </a:lnTo>
                    <a:lnTo>
                      <a:pt x="1203" y="1242"/>
                    </a:lnTo>
                    <a:lnTo>
                      <a:pt x="1202" y="1242"/>
                    </a:lnTo>
                    <a:lnTo>
                      <a:pt x="1202" y="1243"/>
                    </a:lnTo>
                    <a:lnTo>
                      <a:pt x="1200" y="1243"/>
                    </a:lnTo>
                    <a:lnTo>
                      <a:pt x="1200" y="1242"/>
                    </a:lnTo>
                    <a:lnTo>
                      <a:pt x="1198" y="1242"/>
                    </a:lnTo>
                    <a:lnTo>
                      <a:pt x="1196" y="1242"/>
                    </a:lnTo>
                    <a:lnTo>
                      <a:pt x="1196" y="1240"/>
                    </a:lnTo>
                    <a:lnTo>
                      <a:pt x="1196" y="1238"/>
                    </a:lnTo>
                    <a:lnTo>
                      <a:pt x="1195" y="1240"/>
                    </a:lnTo>
                    <a:lnTo>
                      <a:pt x="1193" y="1240"/>
                    </a:lnTo>
                    <a:lnTo>
                      <a:pt x="1191" y="1240"/>
                    </a:lnTo>
                    <a:lnTo>
                      <a:pt x="1190" y="1240"/>
                    </a:lnTo>
                    <a:lnTo>
                      <a:pt x="1188" y="1240"/>
                    </a:lnTo>
                    <a:lnTo>
                      <a:pt x="1186" y="1240"/>
                    </a:lnTo>
                    <a:lnTo>
                      <a:pt x="1185" y="1240"/>
                    </a:lnTo>
                    <a:lnTo>
                      <a:pt x="1185" y="1238"/>
                    </a:lnTo>
                    <a:lnTo>
                      <a:pt x="1186" y="1238"/>
                    </a:lnTo>
                    <a:lnTo>
                      <a:pt x="1186" y="1240"/>
                    </a:lnTo>
                    <a:lnTo>
                      <a:pt x="1188" y="1240"/>
                    </a:lnTo>
                    <a:lnTo>
                      <a:pt x="1186" y="1238"/>
                    </a:lnTo>
                    <a:lnTo>
                      <a:pt x="1185" y="1238"/>
                    </a:lnTo>
                    <a:lnTo>
                      <a:pt x="1183" y="1238"/>
                    </a:lnTo>
                    <a:lnTo>
                      <a:pt x="1181" y="1238"/>
                    </a:lnTo>
                    <a:lnTo>
                      <a:pt x="1181" y="1240"/>
                    </a:lnTo>
                    <a:lnTo>
                      <a:pt x="1179" y="1240"/>
                    </a:lnTo>
                    <a:lnTo>
                      <a:pt x="1179" y="1238"/>
                    </a:lnTo>
                    <a:lnTo>
                      <a:pt x="1181" y="1238"/>
                    </a:lnTo>
                    <a:lnTo>
                      <a:pt x="1179" y="1238"/>
                    </a:lnTo>
                    <a:lnTo>
                      <a:pt x="1179" y="1240"/>
                    </a:lnTo>
                    <a:lnTo>
                      <a:pt x="1178" y="1240"/>
                    </a:lnTo>
                    <a:lnTo>
                      <a:pt x="1176" y="1240"/>
                    </a:lnTo>
                    <a:lnTo>
                      <a:pt x="1174" y="1238"/>
                    </a:lnTo>
                    <a:lnTo>
                      <a:pt x="1176" y="1238"/>
                    </a:lnTo>
                    <a:lnTo>
                      <a:pt x="1176" y="1236"/>
                    </a:lnTo>
                    <a:lnTo>
                      <a:pt x="1178" y="1236"/>
                    </a:lnTo>
                    <a:lnTo>
                      <a:pt x="1176" y="1236"/>
                    </a:lnTo>
                    <a:lnTo>
                      <a:pt x="1176" y="1238"/>
                    </a:lnTo>
                    <a:lnTo>
                      <a:pt x="1174" y="1238"/>
                    </a:lnTo>
                    <a:lnTo>
                      <a:pt x="1173" y="1238"/>
                    </a:lnTo>
                    <a:lnTo>
                      <a:pt x="1173" y="1236"/>
                    </a:lnTo>
                    <a:lnTo>
                      <a:pt x="1174" y="1235"/>
                    </a:lnTo>
                    <a:lnTo>
                      <a:pt x="1174" y="1233"/>
                    </a:lnTo>
                    <a:lnTo>
                      <a:pt x="1176" y="1233"/>
                    </a:lnTo>
                    <a:lnTo>
                      <a:pt x="1176" y="1231"/>
                    </a:lnTo>
                    <a:lnTo>
                      <a:pt x="1178" y="1233"/>
                    </a:lnTo>
                    <a:lnTo>
                      <a:pt x="1178" y="1231"/>
                    </a:lnTo>
                    <a:lnTo>
                      <a:pt x="1178" y="1233"/>
                    </a:lnTo>
                    <a:lnTo>
                      <a:pt x="1178" y="1231"/>
                    </a:lnTo>
                    <a:lnTo>
                      <a:pt x="1176" y="1231"/>
                    </a:lnTo>
                    <a:lnTo>
                      <a:pt x="1176" y="1230"/>
                    </a:lnTo>
                    <a:lnTo>
                      <a:pt x="1178" y="1230"/>
                    </a:lnTo>
                    <a:lnTo>
                      <a:pt x="1178" y="1228"/>
                    </a:lnTo>
                    <a:lnTo>
                      <a:pt x="1179" y="1228"/>
                    </a:lnTo>
                    <a:lnTo>
                      <a:pt x="1181" y="1228"/>
                    </a:lnTo>
                    <a:lnTo>
                      <a:pt x="1179" y="1230"/>
                    </a:lnTo>
                    <a:lnTo>
                      <a:pt x="1181" y="1230"/>
                    </a:lnTo>
                    <a:lnTo>
                      <a:pt x="1181" y="1231"/>
                    </a:lnTo>
                    <a:lnTo>
                      <a:pt x="1181" y="1230"/>
                    </a:lnTo>
                    <a:lnTo>
                      <a:pt x="1181" y="1228"/>
                    </a:lnTo>
                    <a:lnTo>
                      <a:pt x="1183" y="1228"/>
                    </a:lnTo>
                    <a:lnTo>
                      <a:pt x="1185" y="1228"/>
                    </a:lnTo>
                    <a:lnTo>
                      <a:pt x="1185" y="1230"/>
                    </a:lnTo>
                    <a:lnTo>
                      <a:pt x="1185" y="1231"/>
                    </a:lnTo>
                    <a:lnTo>
                      <a:pt x="1185" y="1230"/>
                    </a:lnTo>
                    <a:lnTo>
                      <a:pt x="1186" y="1231"/>
                    </a:lnTo>
                    <a:lnTo>
                      <a:pt x="1186" y="1233"/>
                    </a:lnTo>
                    <a:lnTo>
                      <a:pt x="1185" y="1233"/>
                    </a:lnTo>
                    <a:lnTo>
                      <a:pt x="1185" y="1235"/>
                    </a:lnTo>
                    <a:lnTo>
                      <a:pt x="1185" y="1233"/>
                    </a:lnTo>
                    <a:lnTo>
                      <a:pt x="1185" y="1231"/>
                    </a:lnTo>
                    <a:lnTo>
                      <a:pt x="1185" y="1233"/>
                    </a:lnTo>
                    <a:lnTo>
                      <a:pt x="1183" y="1233"/>
                    </a:lnTo>
                    <a:lnTo>
                      <a:pt x="1183" y="1235"/>
                    </a:lnTo>
                    <a:lnTo>
                      <a:pt x="1181" y="1235"/>
                    </a:lnTo>
                    <a:lnTo>
                      <a:pt x="1179" y="1235"/>
                    </a:lnTo>
                    <a:lnTo>
                      <a:pt x="1179" y="1233"/>
                    </a:lnTo>
                    <a:lnTo>
                      <a:pt x="1178" y="1233"/>
                    </a:lnTo>
                    <a:lnTo>
                      <a:pt x="1179" y="1233"/>
                    </a:lnTo>
                    <a:lnTo>
                      <a:pt x="1178" y="1235"/>
                    </a:lnTo>
                    <a:lnTo>
                      <a:pt x="1179" y="1235"/>
                    </a:lnTo>
                    <a:lnTo>
                      <a:pt x="1179" y="1236"/>
                    </a:lnTo>
                    <a:lnTo>
                      <a:pt x="1181" y="1235"/>
                    </a:lnTo>
                    <a:lnTo>
                      <a:pt x="1183" y="1235"/>
                    </a:lnTo>
                    <a:lnTo>
                      <a:pt x="1185" y="1235"/>
                    </a:lnTo>
                    <a:lnTo>
                      <a:pt x="1186" y="1233"/>
                    </a:lnTo>
                    <a:lnTo>
                      <a:pt x="1186" y="1235"/>
                    </a:lnTo>
                    <a:lnTo>
                      <a:pt x="1186" y="1233"/>
                    </a:lnTo>
                    <a:lnTo>
                      <a:pt x="1188" y="1235"/>
                    </a:lnTo>
                    <a:lnTo>
                      <a:pt x="1186" y="1235"/>
                    </a:lnTo>
                    <a:lnTo>
                      <a:pt x="1186" y="1236"/>
                    </a:lnTo>
                    <a:lnTo>
                      <a:pt x="1188" y="1236"/>
                    </a:lnTo>
                    <a:lnTo>
                      <a:pt x="1188" y="1238"/>
                    </a:lnTo>
                    <a:lnTo>
                      <a:pt x="1190" y="1238"/>
                    </a:lnTo>
                    <a:lnTo>
                      <a:pt x="1191" y="1238"/>
                    </a:lnTo>
                    <a:lnTo>
                      <a:pt x="1191" y="1240"/>
                    </a:lnTo>
                    <a:lnTo>
                      <a:pt x="1191" y="1238"/>
                    </a:lnTo>
                    <a:lnTo>
                      <a:pt x="1193" y="1238"/>
                    </a:lnTo>
                    <a:lnTo>
                      <a:pt x="1195" y="1238"/>
                    </a:lnTo>
                    <a:lnTo>
                      <a:pt x="1193" y="1238"/>
                    </a:lnTo>
                    <a:lnTo>
                      <a:pt x="1191" y="1238"/>
                    </a:lnTo>
                    <a:lnTo>
                      <a:pt x="1190" y="1238"/>
                    </a:lnTo>
                    <a:lnTo>
                      <a:pt x="1190" y="1236"/>
                    </a:lnTo>
                    <a:lnTo>
                      <a:pt x="1188" y="1236"/>
                    </a:lnTo>
                    <a:lnTo>
                      <a:pt x="1188" y="1235"/>
                    </a:lnTo>
                    <a:lnTo>
                      <a:pt x="1188" y="1233"/>
                    </a:lnTo>
                    <a:lnTo>
                      <a:pt x="1190" y="1233"/>
                    </a:lnTo>
                    <a:lnTo>
                      <a:pt x="1191" y="1233"/>
                    </a:lnTo>
                    <a:lnTo>
                      <a:pt x="1193" y="1235"/>
                    </a:lnTo>
                    <a:lnTo>
                      <a:pt x="1195" y="1235"/>
                    </a:lnTo>
                    <a:lnTo>
                      <a:pt x="1193" y="1233"/>
                    </a:lnTo>
                    <a:lnTo>
                      <a:pt x="1195" y="1233"/>
                    </a:lnTo>
                    <a:lnTo>
                      <a:pt x="1193" y="1233"/>
                    </a:lnTo>
                    <a:lnTo>
                      <a:pt x="1191" y="1233"/>
                    </a:lnTo>
                    <a:lnTo>
                      <a:pt x="1190" y="1233"/>
                    </a:lnTo>
                    <a:lnTo>
                      <a:pt x="1188" y="1233"/>
                    </a:lnTo>
                    <a:lnTo>
                      <a:pt x="1190" y="1233"/>
                    </a:lnTo>
                    <a:lnTo>
                      <a:pt x="1188" y="1233"/>
                    </a:lnTo>
                    <a:lnTo>
                      <a:pt x="1188" y="1231"/>
                    </a:lnTo>
                    <a:lnTo>
                      <a:pt x="1190" y="1231"/>
                    </a:lnTo>
                    <a:lnTo>
                      <a:pt x="1191" y="1231"/>
                    </a:lnTo>
                    <a:lnTo>
                      <a:pt x="1193" y="1231"/>
                    </a:lnTo>
                    <a:lnTo>
                      <a:pt x="1195" y="1231"/>
                    </a:lnTo>
                    <a:lnTo>
                      <a:pt x="1196" y="1231"/>
                    </a:lnTo>
                    <a:lnTo>
                      <a:pt x="1198" y="1231"/>
                    </a:lnTo>
                    <a:lnTo>
                      <a:pt x="1198" y="1230"/>
                    </a:lnTo>
                    <a:lnTo>
                      <a:pt x="1198" y="1231"/>
                    </a:lnTo>
                    <a:lnTo>
                      <a:pt x="1196" y="1231"/>
                    </a:lnTo>
                    <a:lnTo>
                      <a:pt x="1195" y="1231"/>
                    </a:lnTo>
                    <a:lnTo>
                      <a:pt x="1193" y="1231"/>
                    </a:lnTo>
                    <a:lnTo>
                      <a:pt x="1193" y="1230"/>
                    </a:lnTo>
                    <a:lnTo>
                      <a:pt x="1195" y="1230"/>
                    </a:lnTo>
                    <a:lnTo>
                      <a:pt x="1195" y="1228"/>
                    </a:lnTo>
                    <a:lnTo>
                      <a:pt x="1196" y="1228"/>
                    </a:lnTo>
                    <a:lnTo>
                      <a:pt x="1198" y="1226"/>
                    </a:lnTo>
                    <a:lnTo>
                      <a:pt x="1200" y="1226"/>
                    </a:lnTo>
                    <a:lnTo>
                      <a:pt x="1198" y="1226"/>
                    </a:lnTo>
                    <a:lnTo>
                      <a:pt x="1196" y="1226"/>
                    </a:lnTo>
                    <a:lnTo>
                      <a:pt x="1195" y="1226"/>
                    </a:lnTo>
                    <a:lnTo>
                      <a:pt x="1195" y="1228"/>
                    </a:lnTo>
                    <a:lnTo>
                      <a:pt x="1193" y="1230"/>
                    </a:lnTo>
                    <a:lnTo>
                      <a:pt x="1191" y="1230"/>
                    </a:lnTo>
                    <a:lnTo>
                      <a:pt x="1190" y="1230"/>
                    </a:lnTo>
                    <a:lnTo>
                      <a:pt x="1188" y="1230"/>
                    </a:lnTo>
                    <a:lnTo>
                      <a:pt x="1188" y="1231"/>
                    </a:lnTo>
                    <a:lnTo>
                      <a:pt x="1186" y="1231"/>
                    </a:lnTo>
                    <a:lnTo>
                      <a:pt x="1186" y="1230"/>
                    </a:lnTo>
                    <a:lnTo>
                      <a:pt x="1186" y="1228"/>
                    </a:lnTo>
                    <a:lnTo>
                      <a:pt x="1186" y="1226"/>
                    </a:lnTo>
                    <a:lnTo>
                      <a:pt x="1188" y="1226"/>
                    </a:lnTo>
                    <a:lnTo>
                      <a:pt x="1190" y="1226"/>
                    </a:lnTo>
                    <a:lnTo>
                      <a:pt x="1191" y="1226"/>
                    </a:lnTo>
                    <a:lnTo>
                      <a:pt x="1193" y="1225"/>
                    </a:lnTo>
                    <a:lnTo>
                      <a:pt x="1195" y="1225"/>
                    </a:lnTo>
                    <a:lnTo>
                      <a:pt x="1195" y="1223"/>
                    </a:lnTo>
                    <a:lnTo>
                      <a:pt x="1193" y="1223"/>
                    </a:lnTo>
                    <a:lnTo>
                      <a:pt x="1193" y="1225"/>
                    </a:lnTo>
                    <a:lnTo>
                      <a:pt x="1191" y="1225"/>
                    </a:lnTo>
                    <a:lnTo>
                      <a:pt x="1191" y="1226"/>
                    </a:lnTo>
                    <a:lnTo>
                      <a:pt x="1190" y="1225"/>
                    </a:lnTo>
                    <a:lnTo>
                      <a:pt x="1190" y="1226"/>
                    </a:lnTo>
                    <a:lnTo>
                      <a:pt x="1188" y="1226"/>
                    </a:lnTo>
                    <a:lnTo>
                      <a:pt x="1186" y="1226"/>
                    </a:lnTo>
                    <a:lnTo>
                      <a:pt x="1185" y="1226"/>
                    </a:lnTo>
                    <a:lnTo>
                      <a:pt x="1183" y="1226"/>
                    </a:lnTo>
                    <a:lnTo>
                      <a:pt x="1185" y="1226"/>
                    </a:lnTo>
                    <a:lnTo>
                      <a:pt x="1185" y="1228"/>
                    </a:lnTo>
                    <a:lnTo>
                      <a:pt x="1186" y="1226"/>
                    </a:lnTo>
                    <a:lnTo>
                      <a:pt x="1186" y="1228"/>
                    </a:lnTo>
                    <a:lnTo>
                      <a:pt x="1185" y="1228"/>
                    </a:lnTo>
                    <a:lnTo>
                      <a:pt x="1183" y="1226"/>
                    </a:lnTo>
                    <a:lnTo>
                      <a:pt x="1181" y="1225"/>
                    </a:lnTo>
                    <a:lnTo>
                      <a:pt x="1183" y="1225"/>
                    </a:lnTo>
                    <a:lnTo>
                      <a:pt x="1183" y="1223"/>
                    </a:lnTo>
                    <a:lnTo>
                      <a:pt x="1183" y="1225"/>
                    </a:lnTo>
                    <a:lnTo>
                      <a:pt x="1185" y="1223"/>
                    </a:lnTo>
                    <a:lnTo>
                      <a:pt x="1185" y="1225"/>
                    </a:lnTo>
                    <a:lnTo>
                      <a:pt x="1186" y="1225"/>
                    </a:lnTo>
                    <a:lnTo>
                      <a:pt x="1186" y="1223"/>
                    </a:lnTo>
                    <a:lnTo>
                      <a:pt x="1188" y="1223"/>
                    </a:lnTo>
                    <a:lnTo>
                      <a:pt x="1188" y="1221"/>
                    </a:lnTo>
                    <a:lnTo>
                      <a:pt x="1188" y="1223"/>
                    </a:lnTo>
                    <a:lnTo>
                      <a:pt x="1186" y="1223"/>
                    </a:lnTo>
                    <a:lnTo>
                      <a:pt x="1185" y="1223"/>
                    </a:lnTo>
                    <a:lnTo>
                      <a:pt x="1183" y="1223"/>
                    </a:lnTo>
                    <a:lnTo>
                      <a:pt x="1183" y="1221"/>
                    </a:lnTo>
                    <a:lnTo>
                      <a:pt x="1181" y="1223"/>
                    </a:lnTo>
                    <a:lnTo>
                      <a:pt x="1181" y="1225"/>
                    </a:lnTo>
                    <a:lnTo>
                      <a:pt x="1179" y="1223"/>
                    </a:lnTo>
                    <a:lnTo>
                      <a:pt x="1181" y="1223"/>
                    </a:lnTo>
                    <a:lnTo>
                      <a:pt x="1179" y="1223"/>
                    </a:lnTo>
                    <a:lnTo>
                      <a:pt x="1179" y="1221"/>
                    </a:lnTo>
                    <a:lnTo>
                      <a:pt x="1181" y="1221"/>
                    </a:lnTo>
                    <a:lnTo>
                      <a:pt x="1181" y="1219"/>
                    </a:lnTo>
                    <a:lnTo>
                      <a:pt x="1181" y="1218"/>
                    </a:lnTo>
                    <a:lnTo>
                      <a:pt x="1183" y="1218"/>
                    </a:lnTo>
                    <a:lnTo>
                      <a:pt x="1183" y="1216"/>
                    </a:lnTo>
                    <a:lnTo>
                      <a:pt x="1185" y="1216"/>
                    </a:lnTo>
                    <a:lnTo>
                      <a:pt x="1185" y="1214"/>
                    </a:lnTo>
                    <a:lnTo>
                      <a:pt x="1186" y="1214"/>
                    </a:lnTo>
                    <a:lnTo>
                      <a:pt x="1186" y="1213"/>
                    </a:lnTo>
                    <a:lnTo>
                      <a:pt x="1186" y="1211"/>
                    </a:lnTo>
                    <a:lnTo>
                      <a:pt x="1188" y="1211"/>
                    </a:lnTo>
                    <a:lnTo>
                      <a:pt x="1188" y="1213"/>
                    </a:lnTo>
                    <a:lnTo>
                      <a:pt x="1190" y="1213"/>
                    </a:lnTo>
                    <a:lnTo>
                      <a:pt x="1188" y="1213"/>
                    </a:lnTo>
                    <a:lnTo>
                      <a:pt x="1188" y="1211"/>
                    </a:lnTo>
                    <a:lnTo>
                      <a:pt x="1190" y="1211"/>
                    </a:lnTo>
                    <a:lnTo>
                      <a:pt x="1190" y="1213"/>
                    </a:lnTo>
                    <a:lnTo>
                      <a:pt x="1190" y="1214"/>
                    </a:lnTo>
                    <a:lnTo>
                      <a:pt x="1190" y="1216"/>
                    </a:lnTo>
                    <a:lnTo>
                      <a:pt x="1190" y="1218"/>
                    </a:lnTo>
                    <a:lnTo>
                      <a:pt x="1190" y="1219"/>
                    </a:lnTo>
                    <a:lnTo>
                      <a:pt x="1191" y="1219"/>
                    </a:lnTo>
                    <a:lnTo>
                      <a:pt x="1190" y="1218"/>
                    </a:lnTo>
                    <a:lnTo>
                      <a:pt x="1190" y="1216"/>
                    </a:lnTo>
                    <a:lnTo>
                      <a:pt x="1191" y="1214"/>
                    </a:lnTo>
                    <a:lnTo>
                      <a:pt x="1190" y="1213"/>
                    </a:lnTo>
                    <a:lnTo>
                      <a:pt x="1191" y="1211"/>
                    </a:lnTo>
                    <a:lnTo>
                      <a:pt x="1190" y="1213"/>
                    </a:lnTo>
                    <a:lnTo>
                      <a:pt x="1190" y="1211"/>
                    </a:lnTo>
                    <a:lnTo>
                      <a:pt x="1191" y="1211"/>
                    </a:lnTo>
                    <a:lnTo>
                      <a:pt x="1193" y="1211"/>
                    </a:lnTo>
                    <a:lnTo>
                      <a:pt x="1193" y="1213"/>
                    </a:lnTo>
                    <a:lnTo>
                      <a:pt x="1193" y="1214"/>
                    </a:lnTo>
                    <a:lnTo>
                      <a:pt x="1195" y="1214"/>
                    </a:lnTo>
                    <a:lnTo>
                      <a:pt x="1193" y="1214"/>
                    </a:lnTo>
                    <a:lnTo>
                      <a:pt x="1193" y="1213"/>
                    </a:lnTo>
                    <a:lnTo>
                      <a:pt x="1193" y="1211"/>
                    </a:lnTo>
                    <a:lnTo>
                      <a:pt x="1195" y="1211"/>
                    </a:lnTo>
                    <a:lnTo>
                      <a:pt x="1195" y="1209"/>
                    </a:lnTo>
                    <a:lnTo>
                      <a:pt x="1196" y="1209"/>
                    </a:lnTo>
                    <a:lnTo>
                      <a:pt x="1195" y="1211"/>
                    </a:lnTo>
                    <a:lnTo>
                      <a:pt x="1196" y="1211"/>
                    </a:lnTo>
                    <a:lnTo>
                      <a:pt x="1195" y="1213"/>
                    </a:lnTo>
                    <a:lnTo>
                      <a:pt x="1196" y="1213"/>
                    </a:lnTo>
                    <a:lnTo>
                      <a:pt x="1196" y="1211"/>
                    </a:lnTo>
                    <a:lnTo>
                      <a:pt x="1196" y="1209"/>
                    </a:lnTo>
                    <a:lnTo>
                      <a:pt x="1196" y="1208"/>
                    </a:lnTo>
                    <a:lnTo>
                      <a:pt x="1196" y="1206"/>
                    </a:lnTo>
                    <a:lnTo>
                      <a:pt x="1196" y="1208"/>
                    </a:lnTo>
                    <a:lnTo>
                      <a:pt x="1195" y="1208"/>
                    </a:lnTo>
                    <a:lnTo>
                      <a:pt x="1195" y="1209"/>
                    </a:lnTo>
                    <a:lnTo>
                      <a:pt x="1193" y="1209"/>
                    </a:lnTo>
                    <a:lnTo>
                      <a:pt x="1191" y="1209"/>
                    </a:lnTo>
                    <a:lnTo>
                      <a:pt x="1191" y="1208"/>
                    </a:lnTo>
                    <a:lnTo>
                      <a:pt x="1190" y="1208"/>
                    </a:lnTo>
                    <a:lnTo>
                      <a:pt x="1190" y="1206"/>
                    </a:lnTo>
                    <a:lnTo>
                      <a:pt x="1190" y="1204"/>
                    </a:lnTo>
                    <a:lnTo>
                      <a:pt x="1191" y="1202"/>
                    </a:lnTo>
                    <a:lnTo>
                      <a:pt x="1191" y="1201"/>
                    </a:lnTo>
                    <a:lnTo>
                      <a:pt x="1193" y="1201"/>
                    </a:lnTo>
                    <a:lnTo>
                      <a:pt x="1193" y="1202"/>
                    </a:lnTo>
                    <a:lnTo>
                      <a:pt x="1195" y="1202"/>
                    </a:lnTo>
                    <a:lnTo>
                      <a:pt x="1195" y="1204"/>
                    </a:lnTo>
                    <a:lnTo>
                      <a:pt x="1195" y="1202"/>
                    </a:lnTo>
                    <a:lnTo>
                      <a:pt x="1195" y="1201"/>
                    </a:lnTo>
                    <a:lnTo>
                      <a:pt x="1196" y="1199"/>
                    </a:lnTo>
                    <a:lnTo>
                      <a:pt x="1195" y="1199"/>
                    </a:lnTo>
                    <a:lnTo>
                      <a:pt x="1195" y="1201"/>
                    </a:lnTo>
                    <a:lnTo>
                      <a:pt x="1193" y="1199"/>
                    </a:lnTo>
                    <a:lnTo>
                      <a:pt x="1191" y="1197"/>
                    </a:lnTo>
                    <a:lnTo>
                      <a:pt x="1191" y="1196"/>
                    </a:lnTo>
                    <a:lnTo>
                      <a:pt x="1190" y="1196"/>
                    </a:lnTo>
                    <a:lnTo>
                      <a:pt x="1191" y="1194"/>
                    </a:lnTo>
                    <a:lnTo>
                      <a:pt x="1190" y="1194"/>
                    </a:lnTo>
                    <a:lnTo>
                      <a:pt x="1188" y="1192"/>
                    </a:lnTo>
                    <a:lnTo>
                      <a:pt x="1186" y="1191"/>
                    </a:lnTo>
                    <a:lnTo>
                      <a:pt x="1185" y="1191"/>
                    </a:lnTo>
                    <a:lnTo>
                      <a:pt x="1186" y="1191"/>
                    </a:lnTo>
                    <a:lnTo>
                      <a:pt x="1188" y="1192"/>
                    </a:lnTo>
                    <a:lnTo>
                      <a:pt x="1190" y="1191"/>
                    </a:lnTo>
                    <a:lnTo>
                      <a:pt x="1188" y="1191"/>
                    </a:lnTo>
                    <a:lnTo>
                      <a:pt x="1188" y="1189"/>
                    </a:lnTo>
                    <a:lnTo>
                      <a:pt x="1186" y="1191"/>
                    </a:lnTo>
                    <a:lnTo>
                      <a:pt x="1186" y="1189"/>
                    </a:lnTo>
                    <a:lnTo>
                      <a:pt x="1186" y="1191"/>
                    </a:lnTo>
                    <a:lnTo>
                      <a:pt x="1185" y="1189"/>
                    </a:lnTo>
                    <a:lnTo>
                      <a:pt x="1183" y="1189"/>
                    </a:lnTo>
                    <a:lnTo>
                      <a:pt x="1181" y="1189"/>
                    </a:lnTo>
                    <a:lnTo>
                      <a:pt x="1179" y="1189"/>
                    </a:lnTo>
                    <a:lnTo>
                      <a:pt x="1181" y="1187"/>
                    </a:lnTo>
                    <a:lnTo>
                      <a:pt x="1179" y="1187"/>
                    </a:lnTo>
                    <a:lnTo>
                      <a:pt x="1178" y="1187"/>
                    </a:lnTo>
                    <a:lnTo>
                      <a:pt x="1178" y="1189"/>
                    </a:lnTo>
                    <a:lnTo>
                      <a:pt x="1179" y="1189"/>
                    </a:lnTo>
                    <a:lnTo>
                      <a:pt x="1181" y="1189"/>
                    </a:lnTo>
                    <a:lnTo>
                      <a:pt x="1181" y="1191"/>
                    </a:lnTo>
                    <a:lnTo>
                      <a:pt x="1179" y="1191"/>
                    </a:lnTo>
                    <a:lnTo>
                      <a:pt x="1178" y="1191"/>
                    </a:lnTo>
                    <a:lnTo>
                      <a:pt x="1176" y="1191"/>
                    </a:lnTo>
                    <a:lnTo>
                      <a:pt x="1176" y="1192"/>
                    </a:lnTo>
                    <a:lnTo>
                      <a:pt x="1176" y="1194"/>
                    </a:lnTo>
                    <a:lnTo>
                      <a:pt x="1174" y="1194"/>
                    </a:lnTo>
                    <a:lnTo>
                      <a:pt x="1174" y="1192"/>
                    </a:lnTo>
                    <a:lnTo>
                      <a:pt x="1173" y="1192"/>
                    </a:lnTo>
                    <a:lnTo>
                      <a:pt x="1174" y="1192"/>
                    </a:lnTo>
                    <a:lnTo>
                      <a:pt x="1174" y="1194"/>
                    </a:lnTo>
                    <a:lnTo>
                      <a:pt x="1176" y="1194"/>
                    </a:lnTo>
                    <a:lnTo>
                      <a:pt x="1178" y="1194"/>
                    </a:lnTo>
                    <a:lnTo>
                      <a:pt x="1179" y="1192"/>
                    </a:lnTo>
                    <a:lnTo>
                      <a:pt x="1181" y="1194"/>
                    </a:lnTo>
                    <a:lnTo>
                      <a:pt x="1183" y="1194"/>
                    </a:lnTo>
                    <a:lnTo>
                      <a:pt x="1183" y="1196"/>
                    </a:lnTo>
                    <a:lnTo>
                      <a:pt x="1183" y="1197"/>
                    </a:lnTo>
                    <a:lnTo>
                      <a:pt x="1183" y="1196"/>
                    </a:lnTo>
                    <a:lnTo>
                      <a:pt x="1181" y="1196"/>
                    </a:lnTo>
                    <a:lnTo>
                      <a:pt x="1179" y="1196"/>
                    </a:lnTo>
                    <a:lnTo>
                      <a:pt x="1178" y="1196"/>
                    </a:lnTo>
                    <a:lnTo>
                      <a:pt x="1176" y="1194"/>
                    </a:lnTo>
                    <a:lnTo>
                      <a:pt x="1176" y="1196"/>
                    </a:lnTo>
                    <a:lnTo>
                      <a:pt x="1174" y="1196"/>
                    </a:lnTo>
                    <a:lnTo>
                      <a:pt x="1174" y="1194"/>
                    </a:lnTo>
                    <a:lnTo>
                      <a:pt x="1173" y="1192"/>
                    </a:lnTo>
                    <a:lnTo>
                      <a:pt x="1171" y="1192"/>
                    </a:lnTo>
                    <a:lnTo>
                      <a:pt x="1171" y="1191"/>
                    </a:lnTo>
                    <a:lnTo>
                      <a:pt x="1169" y="1191"/>
                    </a:lnTo>
                    <a:lnTo>
                      <a:pt x="1171" y="1191"/>
                    </a:lnTo>
                    <a:lnTo>
                      <a:pt x="1171" y="1189"/>
                    </a:lnTo>
                    <a:lnTo>
                      <a:pt x="1171" y="1191"/>
                    </a:lnTo>
                    <a:lnTo>
                      <a:pt x="1169" y="1191"/>
                    </a:lnTo>
                    <a:lnTo>
                      <a:pt x="1169" y="1192"/>
                    </a:lnTo>
                    <a:lnTo>
                      <a:pt x="1168" y="1191"/>
                    </a:lnTo>
                    <a:lnTo>
                      <a:pt x="1166" y="1191"/>
                    </a:lnTo>
                    <a:lnTo>
                      <a:pt x="1166" y="1189"/>
                    </a:lnTo>
                    <a:lnTo>
                      <a:pt x="1164" y="1189"/>
                    </a:lnTo>
                    <a:lnTo>
                      <a:pt x="1164" y="1187"/>
                    </a:lnTo>
                    <a:lnTo>
                      <a:pt x="1162" y="1187"/>
                    </a:lnTo>
                    <a:lnTo>
                      <a:pt x="1162" y="1185"/>
                    </a:lnTo>
                    <a:lnTo>
                      <a:pt x="1161" y="1185"/>
                    </a:lnTo>
                    <a:lnTo>
                      <a:pt x="1161" y="1184"/>
                    </a:lnTo>
                    <a:lnTo>
                      <a:pt x="1161" y="1182"/>
                    </a:lnTo>
                    <a:lnTo>
                      <a:pt x="1162" y="1182"/>
                    </a:lnTo>
                    <a:lnTo>
                      <a:pt x="1162" y="1180"/>
                    </a:lnTo>
                    <a:lnTo>
                      <a:pt x="1164" y="1179"/>
                    </a:lnTo>
                    <a:lnTo>
                      <a:pt x="1166" y="1177"/>
                    </a:lnTo>
                    <a:lnTo>
                      <a:pt x="1166" y="1175"/>
                    </a:lnTo>
                    <a:lnTo>
                      <a:pt x="1166" y="1174"/>
                    </a:lnTo>
                    <a:lnTo>
                      <a:pt x="1164" y="1174"/>
                    </a:lnTo>
                    <a:lnTo>
                      <a:pt x="1164" y="1175"/>
                    </a:lnTo>
                    <a:lnTo>
                      <a:pt x="1164" y="1177"/>
                    </a:lnTo>
                    <a:lnTo>
                      <a:pt x="1162" y="1177"/>
                    </a:lnTo>
                    <a:lnTo>
                      <a:pt x="1162" y="1179"/>
                    </a:lnTo>
                    <a:lnTo>
                      <a:pt x="1162" y="1177"/>
                    </a:lnTo>
                    <a:lnTo>
                      <a:pt x="1162" y="1179"/>
                    </a:lnTo>
                    <a:lnTo>
                      <a:pt x="1162" y="1177"/>
                    </a:lnTo>
                    <a:lnTo>
                      <a:pt x="1162" y="1179"/>
                    </a:lnTo>
                    <a:lnTo>
                      <a:pt x="1162" y="1180"/>
                    </a:lnTo>
                    <a:lnTo>
                      <a:pt x="1161" y="1180"/>
                    </a:lnTo>
                    <a:lnTo>
                      <a:pt x="1161" y="1182"/>
                    </a:lnTo>
                    <a:lnTo>
                      <a:pt x="1159" y="1182"/>
                    </a:lnTo>
                    <a:lnTo>
                      <a:pt x="1157" y="1184"/>
                    </a:lnTo>
                    <a:lnTo>
                      <a:pt x="1157" y="1182"/>
                    </a:lnTo>
                    <a:lnTo>
                      <a:pt x="1156" y="1180"/>
                    </a:lnTo>
                    <a:lnTo>
                      <a:pt x="1157" y="1182"/>
                    </a:lnTo>
                    <a:lnTo>
                      <a:pt x="1156" y="1182"/>
                    </a:lnTo>
                    <a:lnTo>
                      <a:pt x="1157" y="1182"/>
                    </a:lnTo>
                    <a:lnTo>
                      <a:pt x="1156" y="1184"/>
                    </a:lnTo>
                    <a:lnTo>
                      <a:pt x="1154" y="1184"/>
                    </a:lnTo>
                    <a:lnTo>
                      <a:pt x="1152" y="1184"/>
                    </a:lnTo>
                    <a:lnTo>
                      <a:pt x="1152" y="1185"/>
                    </a:lnTo>
                    <a:lnTo>
                      <a:pt x="1152" y="1184"/>
                    </a:lnTo>
                    <a:lnTo>
                      <a:pt x="1151" y="1185"/>
                    </a:lnTo>
                    <a:lnTo>
                      <a:pt x="1152" y="1185"/>
                    </a:lnTo>
                    <a:lnTo>
                      <a:pt x="1151" y="1185"/>
                    </a:lnTo>
                    <a:lnTo>
                      <a:pt x="1151" y="1184"/>
                    </a:lnTo>
                    <a:lnTo>
                      <a:pt x="1149" y="1184"/>
                    </a:lnTo>
                    <a:lnTo>
                      <a:pt x="1149" y="1185"/>
                    </a:lnTo>
                    <a:lnTo>
                      <a:pt x="1147" y="1185"/>
                    </a:lnTo>
                    <a:lnTo>
                      <a:pt x="1145" y="1187"/>
                    </a:lnTo>
                    <a:lnTo>
                      <a:pt x="1144" y="1187"/>
                    </a:lnTo>
                    <a:lnTo>
                      <a:pt x="1145" y="1187"/>
                    </a:lnTo>
                    <a:lnTo>
                      <a:pt x="1145" y="1189"/>
                    </a:lnTo>
                    <a:lnTo>
                      <a:pt x="1144" y="1189"/>
                    </a:lnTo>
                    <a:lnTo>
                      <a:pt x="1144" y="1191"/>
                    </a:lnTo>
                    <a:lnTo>
                      <a:pt x="1144" y="1192"/>
                    </a:lnTo>
                    <a:lnTo>
                      <a:pt x="1144" y="1191"/>
                    </a:lnTo>
                    <a:lnTo>
                      <a:pt x="1145" y="1191"/>
                    </a:lnTo>
                    <a:lnTo>
                      <a:pt x="1145" y="1189"/>
                    </a:lnTo>
                    <a:lnTo>
                      <a:pt x="1147" y="1187"/>
                    </a:lnTo>
                    <a:lnTo>
                      <a:pt x="1147" y="1189"/>
                    </a:lnTo>
                    <a:lnTo>
                      <a:pt x="1149" y="1187"/>
                    </a:lnTo>
                    <a:lnTo>
                      <a:pt x="1151" y="1187"/>
                    </a:lnTo>
                    <a:lnTo>
                      <a:pt x="1152" y="1189"/>
                    </a:lnTo>
                    <a:lnTo>
                      <a:pt x="1151" y="1189"/>
                    </a:lnTo>
                    <a:lnTo>
                      <a:pt x="1149" y="1189"/>
                    </a:lnTo>
                    <a:lnTo>
                      <a:pt x="1151" y="1189"/>
                    </a:lnTo>
                    <a:lnTo>
                      <a:pt x="1149" y="1191"/>
                    </a:lnTo>
                    <a:lnTo>
                      <a:pt x="1149" y="1192"/>
                    </a:lnTo>
                    <a:lnTo>
                      <a:pt x="1151" y="1191"/>
                    </a:lnTo>
                    <a:lnTo>
                      <a:pt x="1151" y="1192"/>
                    </a:lnTo>
                    <a:lnTo>
                      <a:pt x="1151" y="1191"/>
                    </a:lnTo>
                    <a:lnTo>
                      <a:pt x="1152" y="1191"/>
                    </a:lnTo>
                    <a:lnTo>
                      <a:pt x="1152" y="1192"/>
                    </a:lnTo>
                    <a:lnTo>
                      <a:pt x="1152" y="1194"/>
                    </a:lnTo>
                    <a:lnTo>
                      <a:pt x="1151" y="1194"/>
                    </a:lnTo>
                    <a:lnTo>
                      <a:pt x="1151" y="1196"/>
                    </a:lnTo>
                    <a:lnTo>
                      <a:pt x="1149" y="1196"/>
                    </a:lnTo>
                    <a:lnTo>
                      <a:pt x="1151" y="1196"/>
                    </a:lnTo>
                    <a:lnTo>
                      <a:pt x="1151" y="1194"/>
                    </a:lnTo>
                    <a:lnTo>
                      <a:pt x="1152" y="1194"/>
                    </a:lnTo>
                    <a:lnTo>
                      <a:pt x="1154" y="1196"/>
                    </a:lnTo>
                    <a:lnTo>
                      <a:pt x="1152" y="1194"/>
                    </a:lnTo>
                    <a:lnTo>
                      <a:pt x="1154" y="1194"/>
                    </a:lnTo>
                    <a:lnTo>
                      <a:pt x="1152" y="1194"/>
                    </a:lnTo>
                    <a:lnTo>
                      <a:pt x="1152" y="1192"/>
                    </a:lnTo>
                    <a:lnTo>
                      <a:pt x="1154" y="1194"/>
                    </a:lnTo>
                    <a:lnTo>
                      <a:pt x="1154" y="1196"/>
                    </a:lnTo>
                    <a:lnTo>
                      <a:pt x="1154" y="1197"/>
                    </a:lnTo>
                    <a:lnTo>
                      <a:pt x="1152" y="1197"/>
                    </a:lnTo>
                    <a:lnTo>
                      <a:pt x="1152" y="1199"/>
                    </a:lnTo>
                    <a:lnTo>
                      <a:pt x="1151" y="1199"/>
                    </a:lnTo>
                    <a:lnTo>
                      <a:pt x="1149" y="1199"/>
                    </a:lnTo>
                    <a:lnTo>
                      <a:pt x="1147" y="1201"/>
                    </a:lnTo>
                    <a:lnTo>
                      <a:pt x="1147" y="1199"/>
                    </a:lnTo>
                    <a:lnTo>
                      <a:pt x="1145" y="1199"/>
                    </a:lnTo>
                    <a:lnTo>
                      <a:pt x="1145" y="1197"/>
                    </a:lnTo>
                    <a:lnTo>
                      <a:pt x="1144" y="1197"/>
                    </a:lnTo>
                    <a:lnTo>
                      <a:pt x="1144" y="1196"/>
                    </a:lnTo>
                    <a:lnTo>
                      <a:pt x="1142" y="1194"/>
                    </a:lnTo>
                    <a:lnTo>
                      <a:pt x="1142" y="1192"/>
                    </a:lnTo>
                    <a:lnTo>
                      <a:pt x="1140" y="1192"/>
                    </a:lnTo>
                    <a:lnTo>
                      <a:pt x="1140" y="1191"/>
                    </a:lnTo>
                    <a:lnTo>
                      <a:pt x="1142" y="1191"/>
                    </a:lnTo>
                    <a:lnTo>
                      <a:pt x="1140" y="1189"/>
                    </a:lnTo>
                    <a:lnTo>
                      <a:pt x="1140" y="1187"/>
                    </a:lnTo>
                    <a:lnTo>
                      <a:pt x="1140" y="1185"/>
                    </a:lnTo>
                    <a:lnTo>
                      <a:pt x="1142" y="1185"/>
                    </a:lnTo>
                    <a:lnTo>
                      <a:pt x="1142" y="1184"/>
                    </a:lnTo>
                    <a:lnTo>
                      <a:pt x="1142" y="1182"/>
                    </a:lnTo>
                    <a:lnTo>
                      <a:pt x="1144" y="1182"/>
                    </a:lnTo>
                    <a:lnTo>
                      <a:pt x="1144" y="1180"/>
                    </a:lnTo>
                    <a:lnTo>
                      <a:pt x="1144" y="1182"/>
                    </a:lnTo>
                    <a:lnTo>
                      <a:pt x="1144" y="1180"/>
                    </a:lnTo>
                    <a:lnTo>
                      <a:pt x="1145" y="1182"/>
                    </a:lnTo>
                    <a:lnTo>
                      <a:pt x="1147" y="1182"/>
                    </a:lnTo>
                    <a:lnTo>
                      <a:pt x="1147" y="1184"/>
                    </a:lnTo>
                    <a:lnTo>
                      <a:pt x="1147" y="1182"/>
                    </a:lnTo>
                    <a:lnTo>
                      <a:pt x="1145" y="1182"/>
                    </a:lnTo>
                    <a:lnTo>
                      <a:pt x="1145" y="1180"/>
                    </a:lnTo>
                    <a:lnTo>
                      <a:pt x="1147" y="1180"/>
                    </a:lnTo>
                    <a:lnTo>
                      <a:pt x="1149" y="1182"/>
                    </a:lnTo>
                    <a:lnTo>
                      <a:pt x="1149" y="1180"/>
                    </a:lnTo>
                    <a:lnTo>
                      <a:pt x="1147" y="1180"/>
                    </a:lnTo>
                    <a:lnTo>
                      <a:pt x="1147" y="1179"/>
                    </a:lnTo>
                    <a:lnTo>
                      <a:pt x="1145" y="1179"/>
                    </a:lnTo>
                    <a:lnTo>
                      <a:pt x="1147" y="1179"/>
                    </a:lnTo>
                    <a:lnTo>
                      <a:pt x="1147" y="1177"/>
                    </a:lnTo>
                    <a:lnTo>
                      <a:pt x="1147" y="1179"/>
                    </a:lnTo>
                    <a:lnTo>
                      <a:pt x="1149" y="1179"/>
                    </a:lnTo>
                    <a:lnTo>
                      <a:pt x="1149" y="1177"/>
                    </a:lnTo>
                    <a:lnTo>
                      <a:pt x="1149" y="1179"/>
                    </a:lnTo>
                    <a:lnTo>
                      <a:pt x="1149" y="1177"/>
                    </a:lnTo>
                    <a:lnTo>
                      <a:pt x="1151" y="1177"/>
                    </a:lnTo>
                    <a:lnTo>
                      <a:pt x="1152" y="1177"/>
                    </a:lnTo>
                    <a:lnTo>
                      <a:pt x="1151" y="1175"/>
                    </a:lnTo>
                    <a:lnTo>
                      <a:pt x="1151" y="1174"/>
                    </a:lnTo>
                    <a:lnTo>
                      <a:pt x="1151" y="1175"/>
                    </a:lnTo>
                    <a:lnTo>
                      <a:pt x="1152" y="1175"/>
                    </a:lnTo>
                    <a:lnTo>
                      <a:pt x="1151" y="1174"/>
                    </a:lnTo>
                    <a:lnTo>
                      <a:pt x="1152" y="1174"/>
                    </a:lnTo>
                    <a:lnTo>
                      <a:pt x="1152" y="1172"/>
                    </a:lnTo>
                    <a:lnTo>
                      <a:pt x="1154" y="1172"/>
                    </a:lnTo>
                    <a:lnTo>
                      <a:pt x="1156" y="1170"/>
                    </a:lnTo>
                    <a:lnTo>
                      <a:pt x="1157" y="1172"/>
                    </a:lnTo>
                    <a:lnTo>
                      <a:pt x="1156" y="1170"/>
                    </a:lnTo>
                    <a:lnTo>
                      <a:pt x="1157" y="1170"/>
                    </a:lnTo>
                    <a:lnTo>
                      <a:pt x="1157" y="1168"/>
                    </a:lnTo>
                    <a:lnTo>
                      <a:pt x="1157" y="1167"/>
                    </a:lnTo>
                    <a:lnTo>
                      <a:pt x="1157" y="1168"/>
                    </a:lnTo>
                    <a:lnTo>
                      <a:pt x="1159" y="1168"/>
                    </a:lnTo>
                    <a:lnTo>
                      <a:pt x="1159" y="1170"/>
                    </a:lnTo>
                    <a:lnTo>
                      <a:pt x="1161" y="1170"/>
                    </a:lnTo>
                    <a:lnTo>
                      <a:pt x="1162" y="1170"/>
                    </a:lnTo>
                    <a:lnTo>
                      <a:pt x="1164" y="1170"/>
                    </a:lnTo>
                    <a:lnTo>
                      <a:pt x="1166" y="1170"/>
                    </a:lnTo>
                    <a:lnTo>
                      <a:pt x="1168" y="1170"/>
                    </a:lnTo>
                    <a:lnTo>
                      <a:pt x="1166" y="1170"/>
                    </a:lnTo>
                    <a:lnTo>
                      <a:pt x="1164" y="1170"/>
                    </a:lnTo>
                    <a:lnTo>
                      <a:pt x="1162" y="1170"/>
                    </a:lnTo>
                    <a:lnTo>
                      <a:pt x="1161" y="1170"/>
                    </a:lnTo>
                    <a:lnTo>
                      <a:pt x="1161" y="1168"/>
                    </a:lnTo>
                    <a:lnTo>
                      <a:pt x="1159" y="1168"/>
                    </a:lnTo>
                    <a:lnTo>
                      <a:pt x="1159" y="1167"/>
                    </a:lnTo>
                    <a:lnTo>
                      <a:pt x="1161" y="1167"/>
                    </a:lnTo>
                    <a:lnTo>
                      <a:pt x="1162" y="1167"/>
                    </a:lnTo>
                    <a:lnTo>
                      <a:pt x="1161" y="1167"/>
                    </a:lnTo>
                    <a:lnTo>
                      <a:pt x="1161" y="1165"/>
                    </a:lnTo>
                    <a:lnTo>
                      <a:pt x="1161" y="1163"/>
                    </a:lnTo>
                    <a:lnTo>
                      <a:pt x="1162" y="1163"/>
                    </a:lnTo>
                    <a:lnTo>
                      <a:pt x="1164" y="1163"/>
                    </a:lnTo>
                    <a:lnTo>
                      <a:pt x="1164" y="1165"/>
                    </a:lnTo>
                    <a:lnTo>
                      <a:pt x="1166" y="1165"/>
                    </a:lnTo>
                    <a:lnTo>
                      <a:pt x="1166" y="1167"/>
                    </a:lnTo>
                    <a:lnTo>
                      <a:pt x="1168" y="1167"/>
                    </a:lnTo>
                    <a:lnTo>
                      <a:pt x="1166" y="1165"/>
                    </a:lnTo>
                    <a:lnTo>
                      <a:pt x="1166" y="1163"/>
                    </a:lnTo>
                    <a:lnTo>
                      <a:pt x="1166" y="1162"/>
                    </a:lnTo>
                    <a:lnTo>
                      <a:pt x="1168" y="1162"/>
                    </a:lnTo>
                    <a:lnTo>
                      <a:pt x="1168" y="1160"/>
                    </a:lnTo>
                    <a:lnTo>
                      <a:pt x="1169" y="1160"/>
                    </a:lnTo>
                    <a:lnTo>
                      <a:pt x="1169" y="1162"/>
                    </a:lnTo>
                    <a:lnTo>
                      <a:pt x="1169" y="1160"/>
                    </a:lnTo>
                    <a:lnTo>
                      <a:pt x="1169" y="1162"/>
                    </a:lnTo>
                    <a:lnTo>
                      <a:pt x="1171" y="1162"/>
                    </a:lnTo>
                    <a:lnTo>
                      <a:pt x="1171" y="1163"/>
                    </a:lnTo>
                    <a:lnTo>
                      <a:pt x="1171" y="1162"/>
                    </a:lnTo>
                    <a:lnTo>
                      <a:pt x="1173" y="1162"/>
                    </a:lnTo>
                    <a:lnTo>
                      <a:pt x="1174" y="1162"/>
                    </a:lnTo>
                    <a:lnTo>
                      <a:pt x="1173" y="1160"/>
                    </a:lnTo>
                    <a:lnTo>
                      <a:pt x="1173" y="1162"/>
                    </a:lnTo>
                    <a:lnTo>
                      <a:pt x="1171" y="1162"/>
                    </a:lnTo>
                    <a:lnTo>
                      <a:pt x="1171" y="1160"/>
                    </a:lnTo>
                    <a:lnTo>
                      <a:pt x="1171" y="1158"/>
                    </a:lnTo>
                    <a:lnTo>
                      <a:pt x="1171" y="1157"/>
                    </a:lnTo>
                    <a:lnTo>
                      <a:pt x="1171" y="1155"/>
                    </a:lnTo>
                    <a:lnTo>
                      <a:pt x="1173" y="1155"/>
                    </a:lnTo>
                    <a:lnTo>
                      <a:pt x="1174" y="1155"/>
                    </a:lnTo>
                    <a:lnTo>
                      <a:pt x="1176" y="1155"/>
                    </a:lnTo>
                    <a:lnTo>
                      <a:pt x="1178" y="1155"/>
                    </a:lnTo>
                    <a:lnTo>
                      <a:pt x="1176" y="1153"/>
                    </a:lnTo>
                    <a:lnTo>
                      <a:pt x="1176" y="1155"/>
                    </a:lnTo>
                    <a:lnTo>
                      <a:pt x="1174" y="1155"/>
                    </a:lnTo>
                    <a:lnTo>
                      <a:pt x="1173" y="1155"/>
                    </a:lnTo>
                    <a:lnTo>
                      <a:pt x="1173" y="1153"/>
                    </a:lnTo>
                    <a:lnTo>
                      <a:pt x="1174" y="1153"/>
                    </a:lnTo>
                    <a:lnTo>
                      <a:pt x="1173" y="1151"/>
                    </a:lnTo>
                    <a:lnTo>
                      <a:pt x="1173" y="1150"/>
                    </a:lnTo>
                    <a:lnTo>
                      <a:pt x="1174" y="1148"/>
                    </a:lnTo>
                    <a:lnTo>
                      <a:pt x="1173" y="1148"/>
                    </a:lnTo>
                    <a:lnTo>
                      <a:pt x="1173" y="1150"/>
                    </a:lnTo>
                    <a:lnTo>
                      <a:pt x="1173" y="1151"/>
                    </a:lnTo>
                    <a:lnTo>
                      <a:pt x="1171" y="1151"/>
                    </a:lnTo>
                    <a:lnTo>
                      <a:pt x="1173" y="1151"/>
                    </a:lnTo>
                    <a:lnTo>
                      <a:pt x="1173" y="1153"/>
                    </a:lnTo>
                    <a:lnTo>
                      <a:pt x="1171" y="1153"/>
                    </a:lnTo>
                    <a:lnTo>
                      <a:pt x="1171" y="1155"/>
                    </a:lnTo>
                    <a:lnTo>
                      <a:pt x="1169" y="1155"/>
                    </a:lnTo>
                    <a:lnTo>
                      <a:pt x="1168" y="1155"/>
                    </a:lnTo>
                    <a:lnTo>
                      <a:pt x="1168" y="1157"/>
                    </a:lnTo>
                    <a:lnTo>
                      <a:pt x="1168" y="1158"/>
                    </a:lnTo>
                    <a:lnTo>
                      <a:pt x="1166" y="1158"/>
                    </a:lnTo>
                    <a:lnTo>
                      <a:pt x="1164" y="1158"/>
                    </a:lnTo>
                    <a:lnTo>
                      <a:pt x="1162" y="1158"/>
                    </a:lnTo>
                    <a:lnTo>
                      <a:pt x="1161" y="1157"/>
                    </a:lnTo>
                    <a:lnTo>
                      <a:pt x="1161" y="1155"/>
                    </a:lnTo>
                    <a:lnTo>
                      <a:pt x="1162" y="1155"/>
                    </a:lnTo>
                    <a:lnTo>
                      <a:pt x="1162" y="1153"/>
                    </a:lnTo>
                    <a:lnTo>
                      <a:pt x="1164" y="1155"/>
                    </a:lnTo>
                    <a:lnTo>
                      <a:pt x="1164" y="1153"/>
                    </a:lnTo>
                    <a:lnTo>
                      <a:pt x="1166" y="1153"/>
                    </a:lnTo>
                    <a:lnTo>
                      <a:pt x="1168" y="1153"/>
                    </a:lnTo>
                    <a:lnTo>
                      <a:pt x="1169" y="1153"/>
                    </a:lnTo>
                    <a:lnTo>
                      <a:pt x="1168" y="1153"/>
                    </a:lnTo>
                    <a:lnTo>
                      <a:pt x="1166" y="1151"/>
                    </a:lnTo>
                    <a:lnTo>
                      <a:pt x="1168" y="1153"/>
                    </a:lnTo>
                    <a:lnTo>
                      <a:pt x="1166" y="1153"/>
                    </a:lnTo>
                    <a:lnTo>
                      <a:pt x="1164" y="1153"/>
                    </a:lnTo>
                    <a:lnTo>
                      <a:pt x="1162" y="1153"/>
                    </a:lnTo>
                    <a:lnTo>
                      <a:pt x="1161" y="1151"/>
                    </a:lnTo>
                    <a:lnTo>
                      <a:pt x="1162" y="1151"/>
                    </a:lnTo>
                    <a:lnTo>
                      <a:pt x="1164" y="1151"/>
                    </a:lnTo>
                    <a:lnTo>
                      <a:pt x="1164" y="1150"/>
                    </a:lnTo>
                    <a:lnTo>
                      <a:pt x="1166" y="1151"/>
                    </a:lnTo>
                    <a:lnTo>
                      <a:pt x="1164" y="1150"/>
                    </a:lnTo>
                    <a:lnTo>
                      <a:pt x="1162" y="1151"/>
                    </a:lnTo>
                    <a:lnTo>
                      <a:pt x="1161" y="1151"/>
                    </a:lnTo>
                    <a:lnTo>
                      <a:pt x="1161" y="1150"/>
                    </a:lnTo>
                    <a:lnTo>
                      <a:pt x="1161" y="1148"/>
                    </a:lnTo>
                    <a:lnTo>
                      <a:pt x="1159" y="1148"/>
                    </a:lnTo>
                    <a:lnTo>
                      <a:pt x="1161" y="1146"/>
                    </a:lnTo>
                    <a:lnTo>
                      <a:pt x="1162" y="1146"/>
                    </a:lnTo>
                    <a:lnTo>
                      <a:pt x="1164" y="1146"/>
                    </a:lnTo>
                    <a:lnTo>
                      <a:pt x="1164" y="1148"/>
                    </a:lnTo>
                    <a:lnTo>
                      <a:pt x="1164" y="1146"/>
                    </a:lnTo>
                    <a:lnTo>
                      <a:pt x="1164" y="1148"/>
                    </a:lnTo>
                    <a:lnTo>
                      <a:pt x="1166" y="1148"/>
                    </a:lnTo>
                    <a:lnTo>
                      <a:pt x="1168" y="1148"/>
                    </a:lnTo>
                    <a:lnTo>
                      <a:pt x="1168" y="1150"/>
                    </a:lnTo>
                    <a:lnTo>
                      <a:pt x="1169" y="1150"/>
                    </a:lnTo>
                    <a:lnTo>
                      <a:pt x="1168" y="1150"/>
                    </a:lnTo>
                    <a:lnTo>
                      <a:pt x="1168" y="1148"/>
                    </a:lnTo>
                    <a:lnTo>
                      <a:pt x="1166" y="1148"/>
                    </a:lnTo>
                    <a:lnTo>
                      <a:pt x="1164" y="1146"/>
                    </a:lnTo>
                    <a:lnTo>
                      <a:pt x="1166" y="1146"/>
                    </a:lnTo>
                    <a:lnTo>
                      <a:pt x="1168" y="1146"/>
                    </a:lnTo>
                    <a:lnTo>
                      <a:pt x="1168" y="1148"/>
                    </a:lnTo>
                    <a:lnTo>
                      <a:pt x="1168" y="1146"/>
                    </a:lnTo>
                    <a:lnTo>
                      <a:pt x="1169" y="1146"/>
                    </a:lnTo>
                    <a:lnTo>
                      <a:pt x="1168" y="1146"/>
                    </a:lnTo>
                    <a:lnTo>
                      <a:pt x="1169" y="1146"/>
                    </a:lnTo>
                    <a:lnTo>
                      <a:pt x="1171" y="1146"/>
                    </a:lnTo>
                    <a:lnTo>
                      <a:pt x="1169" y="1146"/>
                    </a:lnTo>
                    <a:lnTo>
                      <a:pt x="1169" y="1145"/>
                    </a:lnTo>
                    <a:lnTo>
                      <a:pt x="1171" y="1145"/>
                    </a:lnTo>
                    <a:lnTo>
                      <a:pt x="1173" y="1143"/>
                    </a:lnTo>
                    <a:lnTo>
                      <a:pt x="1173" y="1145"/>
                    </a:lnTo>
                    <a:lnTo>
                      <a:pt x="1174" y="1145"/>
                    </a:lnTo>
                    <a:lnTo>
                      <a:pt x="1173" y="1146"/>
                    </a:lnTo>
                    <a:lnTo>
                      <a:pt x="1173" y="1148"/>
                    </a:lnTo>
                    <a:lnTo>
                      <a:pt x="1174" y="1146"/>
                    </a:lnTo>
                    <a:lnTo>
                      <a:pt x="1174" y="1145"/>
                    </a:lnTo>
                    <a:lnTo>
                      <a:pt x="1176" y="1145"/>
                    </a:lnTo>
                    <a:lnTo>
                      <a:pt x="1178" y="1145"/>
                    </a:lnTo>
                    <a:lnTo>
                      <a:pt x="1178" y="1146"/>
                    </a:lnTo>
                    <a:lnTo>
                      <a:pt x="1176" y="1146"/>
                    </a:lnTo>
                    <a:lnTo>
                      <a:pt x="1178" y="1146"/>
                    </a:lnTo>
                    <a:lnTo>
                      <a:pt x="1178" y="1145"/>
                    </a:lnTo>
                    <a:lnTo>
                      <a:pt x="1179" y="1145"/>
                    </a:lnTo>
                    <a:lnTo>
                      <a:pt x="1179" y="1146"/>
                    </a:lnTo>
                    <a:lnTo>
                      <a:pt x="1179" y="1148"/>
                    </a:lnTo>
                    <a:lnTo>
                      <a:pt x="1178" y="1148"/>
                    </a:lnTo>
                    <a:lnTo>
                      <a:pt x="1179" y="1148"/>
                    </a:lnTo>
                    <a:lnTo>
                      <a:pt x="1181" y="1148"/>
                    </a:lnTo>
                    <a:lnTo>
                      <a:pt x="1179" y="1150"/>
                    </a:lnTo>
                    <a:lnTo>
                      <a:pt x="1181" y="1150"/>
                    </a:lnTo>
                    <a:lnTo>
                      <a:pt x="1181" y="1148"/>
                    </a:lnTo>
                    <a:lnTo>
                      <a:pt x="1183" y="1150"/>
                    </a:lnTo>
                    <a:lnTo>
                      <a:pt x="1181" y="1151"/>
                    </a:lnTo>
                    <a:lnTo>
                      <a:pt x="1181" y="1153"/>
                    </a:lnTo>
                    <a:lnTo>
                      <a:pt x="1181" y="1155"/>
                    </a:lnTo>
                    <a:lnTo>
                      <a:pt x="1183" y="1155"/>
                    </a:lnTo>
                    <a:lnTo>
                      <a:pt x="1183" y="1153"/>
                    </a:lnTo>
                    <a:lnTo>
                      <a:pt x="1183" y="1151"/>
                    </a:lnTo>
                    <a:lnTo>
                      <a:pt x="1183" y="1153"/>
                    </a:lnTo>
                    <a:lnTo>
                      <a:pt x="1183" y="1151"/>
                    </a:lnTo>
                    <a:lnTo>
                      <a:pt x="1183" y="1150"/>
                    </a:lnTo>
                    <a:lnTo>
                      <a:pt x="1185" y="1150"/>
                    </a:lnTo>
                    <a:lnTo>
                      <a:pt x="1185" y="1151"/>
                    </a:lnTo>
                    <a:lnTo>
                      <a:pt x="1185" y="1150"/>
                    </a:lnTo>
                    <a:lnTo>
                      <a:pt x="1183" y="1150"/>
                    </a:lnTo>
                    <a:lnTo>
                      <a:pt x="1183" y="1148"/>
                    </a:lnTo>
                    <a:lnTo>
                      <a:pt x="1181" y="1148"/>
                    </a:lnTo>
                    <a:lnTo>
                      <a:pt x="1181" y="1146"/>
                    </a:lnTo>
                    <a:lnTo>
                      <a:pt x="1181" y="1145"/>
                    </a:lnTo>
                    <a:lnTo>
                      <a:pt x="1183" y="1145"/>
                    </a:lnTo>
                    <a:lnTo>
                      <a:pt x="1183" y="1146"/>
                    </a:lnTo>
                    <a:lnTo>
                      <a:pt x="1183" y="1145"/>
                    </a:lnTo>
                    <a:lnTo>
                      <a:pt x="1181" y="1145"/>
                    </a:lnTo>
                    <a:lnTo>
                      <a:pt x="1181" y="1143"/>
                    </a:lnTo>
                    <a:lnTo>
                      <a:pt x="1183" y="1145"/>
                    </a:lnTo>
                    <a:lnTo>
                      <a:pt x="1183" y="1143"/>
                    </a:lnTo>
                    <a:lnTo>
                      <a:pt x="1185" y="1143"/>
                    </a:lnTo>
                    <a:lnTo>
                      <a:pt x="1186" y="1145"/>
                    </a:lnTo>
                    <a:lnTo>
                      <a:pt x="1186" y="1143"/>
                    </a:lnTo>
                    <a:lnTo>
                      <a:pt x="1186" y="1145"/>
                    </a:lnTo>
                    <a:lnTo>
                      <a:pt x="1186" y="1146"/>
                    </a:lnTo>
                    <a:lnTo>
                      <a:pt x="1188" y="1146"/>
                    </a:lnTo>
                    <a:lnTo>
                      <a:pt x="1186" y="1146"/>
                    </a:lnTo>
                    <a:lnTo>
                      <a:pt x="1188" y="1145"/>
                    </a:lnTo>
                    <a:lnTo>
                      <a:pt x="1190" y="1143"/>
                    </a:lnTo>
                    <a:lnTo>
                      <a:pt x="1191" y="1143"/>
                    </a:lnTo>
                    <a:lnTo>
                      <a:pt x="1193" y="1143"/>
                    </a:lnTo>
                    <a:lnTo>
                      <a:pt x="1193" y="1145"/>
                    </a:lnTo>
                    <a:lnTo>
                      <a:pt x="1195" y="1145"/>
                    </a:lnTo>
                    <a:lnTo>
                      <a:pt x="1193" y="1145"/>
                    </a:lnTo>
                    <a:lnTo>
                      <a:pt x="1193" y="1143"/>
                    </a:lnTo>
                    <a:lnTo>
                      <a:pt x="1195" y="1145"/>
                    </a:lnTo>
                    <a:lnTo>
                      <a:pt x="1195" y="1146"/>
                    </a:lnTo>
                    <a:lnTo>
                      <a:pt x="1193" y="1146"/>
                    </a:lnTo>
                    <a:lnTo>
                      <a:pt x="1191" y="1146"/>
                    </a:lnTo>
                    <a:lnTo>
                      <a:pt x="1190" y="1146"/>
                    </a:lnTo>
                    <a:lnTo>
                      <a:pt x="1190" y="1148"/>
                    </a:lnTo>
                    <a:lnTo>
                      <a:pt x="1188" y="1148"/>
                    </a:lnTo>
                    <a:lnTo>
                      <a:pt x="1190" y="1148"/>
                    </a:lnTo>
                    <a:lnTo>
                      <a:pt x="1191" y="1148"/>
                    </a:lnTo>
                    <a:lnTo>
                      <a:pt x="1193" y="1148"/>
                    </a:lnTo>
                    <a:lnTo>
                      <a:pt x="1193" y="1150"/>
                    </a:lnTo>
                    <a:lnTo>
                      <a:pt x="1191" y="1150"/>
                    </a:lnTo>
                    <a:lnTo>
                      <a:pt x="1193" y="1150"/>
                    </a:lnTo>
                    <a:lnTo>
                      <a:pt x="1193" y="1148"/>
                    </a:lnTo>
                    <a:lnTo>
                      <a:pt x="1195" y="1148"/>
                    </a:lnTo>
                    <a:lnTo>
                      <a:pt x="1196" y="1150"/>
                    </a:lnTo>
                    <a:lnTo>
                      <a:pt x="1196" y="1151"/>
                    </a:lnTo>
                    <a:lnTo>
                      <a:pt x="1195" y="1151"/>
                    </a:lnTo>
                    <a:lnTo>
                      <a:pt x="1195" y="1153"/>
                    </a:lnTo>
                    <a:lnTo>
                      <a:pt x="1193" y="1153"/>
                    </a:lnTo>
                    <a:lnTo>
                      <a:pt x="1191" y="1153"/>
                    </a:lnTo>
                    <a:lnTo>
                      <a:pt x="1190" y="1153"/>
                    </a:lnTo>
                    <a:lnTo>
                      <a:pt x="1188" y="1155"/>
                    </a:lnTo>
                    <a:lnTo>
                      <a:pt x="1186" y="1153"/>
                    </a:lnTo>
                    <a:lnTo>
                      <a:pt x="1186" y="1155"/>
                    </a:lnTo>
                    <a:lnTo>
                      <a:pt x="1188" y="1155"/>
                    </a:lnTo>
                    <a:lnTo>
                      <a:pt x="1190" y="1155"/>
                    </a:lnTo>
                    <a:lnTo>
                      <a:pt x="1191" y="1153"/>
                    </a:lnTo>
                    <a:lnTo>
                      <a:pt x="1193" y="1153"/>
                    </a:lnTo>
                    <a:lnTo>
                      <a:pt x="1195" y="1153"/>
                    </a:lnTo>
                    <a:lnTo>
                      <a:pt x="1195" y="1155"/>
                    </a:lnTo>
                    <a:lnTo>
                      <a:pt x="1195" y="1157"/>
                    </a:lnTo>
                    <a:lnTo>
                      <a:pt x="1195" y="1158"/>
                    </a:lnTo>
                    <a:lnTo>
                      <a:pt x="1193" y="1158"/>
                    </a:lnTo>
                    <a:lnTo>
                      <a:pt x="1191" y="1160"/>
                    </a:lnTo>
                    <a:lnTo>
                      <a:pt x="1191" y="1158"/>
                    </a:lnTo>
                    <a:lnTo>
                      <a:pt x="1190" y="1158"/>
                    </a:lnTo>
                    <a:lnTo>
                      <a:pt x="1190" y="1160"/>
                    </a:lnTo>
                    <a:lnTo>
                      <a:pt x="1188" y="1160"/>
                    </a:lnTo>
                    <a:lnTo>
                      <a:pt x="1186" y="1160"/>
                    </a:lnTo>
                    <a:lnTo>
                      <a:pt x="1186" y="1158"/>
                    </a:lnTo>
                    <a:lnTo>
                      <a:pt x="1186" y="1160"/>
                    </a:lnTo>
                    <a:lnTo>
                      <a:pt x="1185" y="1158"/>
                    </a:lnTo>
                    <a:lnTo>
                      <a:pt x="1186" y="1160"/>
                    </a:lnTo>
                    <a:lnTo>
                      <a:pt x="1188" y="1160"/>
                    </a:lnTo>
                    <a:lnTo>
                      <a:pt x="1190" y="1160"/>
                    </a:lnTo>
                    <a:lnTo>
                      <a:pt x="1191" y="1160"/>
                    </a:lnTo>
                    <a:lnTo>
                      <a:pt x="1193" y="1160"/>
                    </a:lnTo>
                    <a:lnTo>
                      <a:pt x="1193" y="1158"/>
                    </a:lnTo>
                    <a:lnTo>
                      <a:pt x="1195" y="1158"/>
                    </a:lnTo>
                    <a:lnTo>
                      <a:pt x="1196" y="1157"/>
                    </a:lnTo>
                    <a:lnTo>
                      <a:pt x="1195" y="1157"/>
                    </a:lnTo>
                    <a:lnTo>
                      <a:pt x="1195" y="1155"/>
                    </a:lnTo>
                    <a:lnTo>
                      <a:pt x="1195" y="1153"/>
                    </a:lnTo>
                    <a:lnTo>
                      <a:pt x="1195" y="1151"/>
                    </a:lnTo>
                    <a:lnTo>
                      <a:pt x="1196" y="1151"/>
                    </a:lnTo>
                    <a:lnTo>
                      <a:pt x="1196" y="1153"/>
                    </a:lnTo>
                    <a:lnTo>
                      <a:pt x="1198" y="1153"/>
                    </a:lnTo>
                    <a:lnTo>
                      <a:pt x="1198" y="1155"/>
                    </a:lnTo>
                    <a:lnTo>
                      <a:pt x="1198" y="1157"/>
                    </a:lnTo>
                    <a:lnTo>
                      <a:pt x="1198" y="1158"/>
                    </a:lnTo>
                    <a:lnTo>
                      <a:pt x="1196" y="1160"/>
                    </a:lnTo>
                    <a:lnTo>
                      <a:pt x="1195" y="1160"/>
                    </a:lnTo>
                    <a:lnTo>
                      <a:pt x="1195" y="1162"/>
                    </a:lnTo>
                    <a:lnTo>
                      <a:pt x="1193" y="1162"/>
                    </a:lnTo>
                    <a:lnTo>
                      <a:pt x="1191" y="1163"/>
                    </a:lnTo>
                    <a:lnTo>
                      <a:pt x="1190" y="1163"/>
                    </a:lnTo>
                    <a:lnTo>
                      <a:pt x="1188" y="1163"/>
                    </a:lnTo>
                    <a:lnTo>
                      <a:pt x="1188" y="1165"/>
                    </a:lnTo>
                    <a:lnTo>
                      <a:pt x="1186" y="1165"/>
                    </a:lnTo>
                    <a:lnTo>
                      <a:pt x="1185" y="1163"/>
                    </a:lnTo>
                    <a:lnTo>
                      <a:pt x="1183" y="1163"/>
                    </a:lnTo>
                    <a:lnTo>
                      <a:pt x="1181" y="1162"/>
                    </a:lnTo>
                    <a:lnTo>
                      <a:pt x="1183" y="1162"/>
                    </a:lnTo>
                    <a:lnTo>
                      <a:pt x="1181" y="1160"/>
                    </a:lnTo>
                    <a:lnTo>
                      <a:pt x="1181" y="1162"/>
                    </a:lnTo>
                    <a:lnTo>
                      <a:pt x="1181" y="1163"/>
                    </a:lnTo>
                    <a:lnTo>
                      <a:pt x="1183" y="1163"/>
                    </a:lnTo>
                    <a:lnTo>
                      <a:pt x="1185" y="1165"/>
                    </a:lnTo>
                    <a:lnTo>
                      <a:pt x="1186" y="1165"/>
                    </a:lnTo>
                    <a:lnTo>
                      <a:pt x="1188" y="1165"/>
                    </a:lnTo>
                    <a:lnTo>
                      <a:pt x="1190" y="1165"/>
                    </a:lnTo>
                    <a:lnTo>
                      <a:pt x="1190" y="1163"/>
                    </a:lnTo>
                    <a:lnTo>
                      <a:pt x="1191" y="1163"/>
                    </a:lnTo>
                    <a:lnTo>
                      <a:pt x="1193" y="1163"/>
                    </a:lnTo>
                    <a:lnTo>
                      <a:pt x="1195" y="1162"/>
                    </a:lnTo>
                    <a:lnTo>
                      <a:pt x="1196" y="1162"/>
                    </a:lnTo>
                    <a:lnTo>
                      <a:pt x="1196" y="1163"/>
                    </a:lnTo>
                    <a:lnTo>
                      <a:pt x="1195" y="1163"/>
                    </a:lnTo>
                    <a:lnTo>
                      <a:pt x="1196" y="1163"/>
                    </a:lnTo>
                    <a:lnTo>
                      <a:pt x="1196" y="1165"/>
                    </a:lnTo>
                    <a:lnTo>
                      <a:pt x="1196" y="1163"/>
                    </a:lnTo>
                    <a:lnTo>
                      <a:pt x="1196" y="1162"/>
                    </a:lnTo>
                    <a:lnTo>
                      <a:pt x="1198" y="1162"/>
                    </a:lnTo>
                    <a:lnTo>
                      <a:pt x="1198" y="1160"/>
                    </a:lnTo>
                    <a:lnTo>
                      <a:pt x="1200" y="1160"/>
                    </a:lnTo>
                    <a:lnTo>
                      <a:pt x="1202" y="1158"/>
                    </a:lnTo>
                    <a:lnTo>
                      <a:pt x="1202" y="1160"/>
                    </a:lnTo>
                    <a:lnTo>
                      <a:pt x="1202" y="1162"/>
                    </a:lnTo>
                    <a:lnTo>
                      <a:pt x="1203" y="1162"/>
                    </a:lnTo>
                    <a:lnTo>
                      <a:pt x="1203" y="1163"/>
                    </a:lnTo>
                    <a:lnTo>
                      <a:pt x="1205" y="1163"/>
                    </a:lnTo>
                    <a:lnTo>
                      <a:pt x="1205" y="1165"/>
                    </a:lnTo>
                    <a:lnTo>
                      <a:pt x="1205" y="1167"/>
                    </a:lnTo>
                    <a:lnTo>
                      <a:pt x="1205" y="1168"/>
                    </a:lnTo>
                    <a:lnTo>
                      <a:pt x="1205" y="1170"/>
                    </a:lnTo>
                    <a:lnTo>
                      <a:pt x="1203" y="1170"/>
                    </a:lnTo>
                    <a:lnTo>
                      <a:pt x="1203" y="1172"/>
                    </a:lnTo>
                    <a:lnTo>
                      <a:pt x="1203" y="1174"/>
                    </a:lnTo>
                    <a:lnTo>
                      <a:pt x="1202" y="1174"/>
                    </a:lnTo>
                    <a:lnTo>
                      <a:pt x="1202" y="1175"/>
                    </a:lnTo>
                    <a:lnTo>
                      <a:pt x="1200" y="1175"/>
                    </a:lnTo>
                    <a:lnTo>
                      <a:pt x="1202" y="1177"/>
                    </a:lnTo>
                    <a:lnTo>
                      <a:pt x="1202" y="1179"/>
                    </a:lnTo>
                    <a:lnTo>
                      <a:pt x="1202" y="1177"/>
                    </a:lnTo>
                    <a:lnTo>
                      <a:pt x="1200" y="1177"/>
                    </a:lnTo>
                    <a:lnTo>
                      <a:pt x="1200" y="1179"/>
                    </a:lnTo>
                    <a:lnTo>
                      <a:pt x="1198" y="1179"/>
                    </a:lnTo>
                    <a:lnTo>
                      <a:pt x="1200" y="1179"/>
                    </a:lnTo>
                    <a:lnTo>
                      <a:pt x="1200" y="1180"/>
                    </a:lnTo>
                    <a:lnTo>
                      <a:pt x="1202" y="1180"/>
                    </a:lnTo>
                    <a:lnTo>
                      <a:pt x="1202" y="1182"/>
                    </a:lnTo>
                    <a:lnTo>
                      <a:pt x="1203" y="1180"/>
                    </a:lnTo>
                    <a:lnTo>
                      <a:pt x="1203" y="1179"/>
                    </a:lnTo>
                    <a:lnTo>
                      <a:pt x="1203" y="1177"/>
                    </a:lnTo>
                    <a:lnTo>
                      <a:pt x="1205" y="1177"/>
                    </a:lnTo>
                    <a:lnTo>
                      <a:pt x="1205" y="1175"/>
                    </a:lnTo>
                    <a:lnTo>
                      <a:pt x="1205" y="1174"/>
                    </a:lnTo>
                    <a:lnTo>
                      <a:pt x="1205" y="1172"/>
                    </a:lnTo>
                    <a:lnTo>
                      <a:pt x="1207" y="1172"/>
                    </a:lnTo>
                    <a:lnTo>
                      <a:pt x="1208" y="1170"/>
                    </a:lnTo>
                    <a:lnTo>
                      <a:pt x="1208" y="1168"/>
                    </a:lnTo>
                    <a:lnTo>
                      <a:pt x="1210" y="1168"/>
                    </a:lnTo>
                    <a:lnTo>
                      <a:pt x="1210" y="1167"/>
                    </a:lnTo>
                    <a:lnTo>
                      <a:pt x="1212" y="1167"/>
                    </a:lnTo>
                    <a:lnTo>
                      <a:pt x="1213" y="1167"/>
                    </a:lnTo>
                    <a:lnTo>
                      <a:pt x="1215" y="1167"/>
                    </a:lnTo>
                    <a:lnTo>
                      <a:pt x="1213" y="1167"/>
                    </a:lnTo>
                    <a:lnTo>
                      <a:pt x="1212" y="1167"/>
                    </a:lnTo>
                    <a:lnTo>
                      <a:pt x="1212" y="1165"/>
                    </a:lnTo>
                    <a:lnTo>
                      <a:pt x="1212" y="1163"/>
                    </a:lnTo>
                    <a:lnTo>
                      <a:pt x="1212" y="1162"/>
                    </a:lnTo>
                    <a:lnTo>
                      <a:pt x="1213" y="1162"/>
                    </a:lnTo>
                    <a:lnTo>
                      <a:pt x="1213" y="1160"/>
                    </a:lnTo>
                    <a:lnTo>
                      <a:pt x="1215" y="1160"/>
                    </a:lnTo>
                    <a:lnTo>
                      <a:pt x="1213" y="1160"/>
                    </a:lnTo>
                    <a:lnTo>
                      <a:pt x="1213" y="1158"/>
                    </a:lnTo>
                    <a:lnTo>
                      <a:pt x="1215" y="1158"/>
                    </a:lnTo>
                    <a:lnTo>
                      <a:pt x="1215" y="1157"/>
                    </a:lnTo>
                    <a:lnTo>
                      <a:pt x="1217" y="1157"/>
                    </a:lnTo>
                    <a:lnTo>
                      <a:pt x="1217" y="1155"/>
                    </a:lnTo>
                    <a:lnTo>
                      <a:pt x="1219" y="1155"/>
                    </a:lnTo>
                    <a:lnTo>
                      <a:pt x="1219" y="1153"/>
                    </a:lnTo>
                    <a:lnTo>
                      <a:pt x="1217" y="1153"/>
                    </a:lnTo>
                    <a:lnTo>
                      <a:pt x="1215" y="1155"/>
                    </a:lnTo>
                    <a:lnTo>
                      <a:pt x="1215" y="1157"/>
                    </a:lnTo>
                    <a:lnTo>
                      <a:pt x="1213" y="1157"/>
                    </a:lnTo>
                    <a:lnTo>
                      <a:pt x="1213" y="1158"/>
                    </a:lnTo>
                    <a:lnTo>
                      <a:pt x="1212" y="1160"/>
                    </a:lnTo>
                    <a:lnTo>
                      <a:pt x="1212" y="1162"/>
                    </a:lnTo>
                    <a:lnTo>
                      <a:pt x="1210" y="1163"/>
                    </a:lnTo>
                    <a:lnTo>
                      <a:pt x="1212" y="1162"/>
                    </a:lnTo>
                    <a:lnTo>
                      <a:pt x="1212" y="1163"/>
                    </a:lnTo>
                    <a:lnTo>
                      <a:pt x="1210" y="1163"/>
                    </a:lnTo>
                    <a:lnTo>
                      <a:pt x="1210" y="1165"/>
                    </a:lnTo>
                    <a:lnTo>
                      <a:pt x="1208" y="1167"/>
                    </a:lnTo>
                    <a:lnTo>
                      <a:pt x="1208" y="1168"/>
                    </a:lnTo>
                    <a:lnTo>
                      <a:pt x="1207" y="1168"/>
                    </a:lnTo>
                    <a:lnTo>
                      <a:pt x="1208" y="1168"/>
                    </a:lnTo>
                    <a:lnTo>
                      <a:pt x="1207" y="1168"/>
                    </a:lnTo>
                    <a:lnTo>
                      <a:pt x="1208" y="1167"/>
                    </a:lnTo>
                    <a:lnTo>
                      <a:pt x="1208" y="1165"/>
                    </a:lnTo>
                    <a:lnTo>
                      <a:pt x="1208" y="1163"/>
                    </a:lnTo>
                    <a:lnTo>
                      <a:pt x="1210" y="1163"/>
                    </a:lnTo>
                    <a:lnTo>
                      <a:pt x="1208" y="1163"/>
                    </a:lnTo>
                    <a:lnTo>
                      <a:pt x="1208" y="1162"/>
                    </a:lnTo>
                    <a:lnTo>
                      <a:pt x="1208" y="1160"/>
                    </a:lnTo>
                    <a:lnTo>
                      <a:pt x="1208" y="1158"/>
                    </a:lnTo>
                    <a:lnTo>
                      <a:pt x="1210" y="1158"/>
                    </a:lnTo>
                    <a:lnTo>
                      <a:pt x="1210" y="1157"/>
                    </a:lnTo>
                    <a:lnTo>
                      <a:pt x="1210" y="1155"/>
                    </a:lnTo>
                    <a:lnTo>
                      <a:pt x="1208" y="1153"/>
                    </a:lnTo>
                    <a:lnTo>
                      <a:pt x="1210" y="1153"/>
                    </a:lnTo>
                    <a:lnTo>
                      <a:pt x="1208" y="1151"/>
                    </a:lnTo>
                    <a:lnTo>
                      <a:pt x="1210" y="1151"/>
                    </a:lnTo>
                    <a:lnTo>
                      <a:pt x="1210" y="1150"/>
                    </a:lnTo>
                    <a:lnTo>
                      <a:pt x="1212" y="1150"/>
                    </a:lnTo>
                    <a:lnTo>
                      <a:pt x="1210" y="1150"/>
                    </a:lnTo>
                    <a:lnTo>
                      <a:pt x="1210" y="1148"/>
                    </a:lnTo>
                    <a:lnTo>
                      <a:pt x="1212" y="1146"/>
                    </a:lnTo>
                    <a:lnTo>
                      <a:pt x="1213" y="1146"/>
                    </a:lnTo>
                    <a:lnTo>
                      <a:pt x="1212" y="1145"/>
                    </a:lnTo>
                    <a:lnTo>
                      <a:pt x="1213" y="1143"/>
                    </a:lnTo>
                    <a:lnTo>
                      <a:pt x="1213" y="1141"/>
                    </a:lnTo>
                    <a:lnTo>
                      <a:pt x="1215" y="1141"/>
                    </a:lnTo>
                    <a:lnTo>
                      <a:pt x="1215" y="1140"/>
                    </a:lnTo>
                    <a:lnTo>
                      <a:pt x="1217" y="1138"/>
                    </a:lnTo>
                    <a:lnTo>
                      <a:pt x="1219" y="1138"/>
                    </a:lnTo>
                    <a:lnTo>
                      <a:pt x="1220" y="1138"/>
                    </a:lnTo>
                    <a:lnTo>
                      <a:pt x="1220" y="1136"/>
                    </a:lnTo>
                    <a:lnTo>
                      <a:pt x="1222" y="1138"/>
                    </a:lnTo>
                    <a:lnTo>
                      <a:pt x="1222" y="1136"/>
                    </a:lnTo>
                    <a:lnTo>
                      <a:pt x="1222" y="1138"/>
                    </a:lnTo>
                    <a:lnTo>
                      <a:pt x="1224" y="1138"/>
                    </a:lnTo>
                    <a:lnTo>
                      <a:pt x="1225" y="1136"/>
                    </a:lnTo>
                    <a:lnTo>
                      <a:pt x="1224" y="1136"/>
                    </a:lnTo>
                    <a:lnTo>
                      <a:pt x="1224" y="1134"/>
                    </a:lnTo>
                    <a:lnTo>
                      <a:pt x="1222" y="1134"/>
                    </a:lnTo>
                    <a:lnTo>
                      <a:pt x="1222" y="1136"/>
                    </a:lnTo>
                    <a:lnTo>
                      <a:pt x="1220" y="1136"/>
                    </a:lnTo>
                    <a:lnTo>
                      <a:pt x="1220" y="1134"/>
                    </a:lnTo>
                    <a:lnTo>
                      <a:pt x="1220" y="1133"/>
                    </a:lnTo>
                    <a:lnTo>
                      <a:pt x="1222" y="1133"/>
                    </a:lnTo>
                    <a:lnTo>
                      <a:pt x="1220" y="1133"/>
                    </a:lnTo>
                    <a:lnTo>
                      <a:pt x="1220" y="1134"/>
                    </a:lnTo>
                    <a:lnTo>
                      <a:pt x="1219" y="1134"/>
                    </a:lnTo>
                    <a:lnTo>
                      <a:pt x="1217" y="1136"/>
                    </a:lnTo>
                    <a:lnTo>
                      <a:pt x="1217" y="1138"/>
                    </a:lnTo>
                    <a:lnTo>
                      <a:pt x="1215" y="1138"/>
                    </a:lnTo>
                    <a:lnTo>
                      <a:pt x="1215" y="1140"/>
                    </a:lnTo>
                    <a:lnTo>
                      <a:pt x="1213" y="1140"/>
                    </a:lnTo>
                    <a:lnTo>
                      <a:pt x="1213" y="1141"/>
                    </a:lnTo>
                    <a:lnTo>
                      <a:pt x="1212" y="1141"/>
                    </a:lnTo>
                    <a:lnTo>
                      <a:pt x="1212" y="1140"/>
                    </a:lnTo>
                    <a:lnTo>
                      <a:pt x="1212" y="1138"/>
                    </a:lnTo>
                    <a:lnTo>
                      <a:pt x="1212" y="1136"/>
                    </a:lnTo>
                    <a:lnTo>
                      <a:pt x="1212" y="1134"/>
                    </a:lnTo>
                    <a:lnTo>
                      <a:pt x="1212" y="1133"/>
                    </a:lnTo>
                    <a:lnTo>
                      <a:pt x="1213" y="1133"/>
                    </a:lnTo>
                    <a:lnTo>
                      <a:pt x="1213" y="1131"/>
                    </a:lnTo>
                    <a:lnTo>
                      <a:pt x="1213" y="1129"/>
                    </a:lnTo>
                    <a:lnTo>
                      <a:pt x="1213" y="1128"/>
                    </a:lnTo>
                    <a:lnTo>
                      <a:pt x="1213" y="1126"/>
                    </a:lnTo>
                    <a:lnTo>
                      <a:pt x="1215" y="1124"/>
                    </a:lnTo>
                    <a:lnTo>
                      <a:pt x="1217" y="1124"/>
                    </a:lnTo>
                    <a:lnTo>
                      <a:pt x="1217" y="1126"/>
                    </a:lnTo>
                    <a:lnTo>
                      <a:pt x="1217" y="1128"/>
                    </a:lnTo>
                    <a:lnTo>
                      <a:pt x="1217" y="1126"/>
                    </a:lnTo>
                    <a:lnTo>
                      <a:pt x="1217" y="1124"/>
                    </a:lnTo>
                    <a:lnTo>
                      <a:pt x="1217" y="1122"/>
                    </a:lnTo>
                    <a:lnTo>
                      <a:pt x="1219" y="1122"/>
                    </a:lnTo>
                    <a:lnTo>
                      <a:pt x="1219" y="1121"/>
                    </a:lnTo>
                    <a:lnTo>
                      <a:pt x="1219" y="1122"/>
                    </a:lnTo>
                    <a:lnTo>
                      <a:pt x="1220" y="1124"/>
                    </a:lnTo>
                    <a:lnTo>
                      <a:pt x="1220" y="1122"/>
                    </a:lnTo>
                    <a:lnTo>
                      <a:pt x="1220" y="1121"/>
                    </a:lnTo>
                    <a:lnTo>
                      <a:pt x="1219" y="1121"/>
                    </a:lnTo>
                    <a:lnTo>
                      <a:pt x="1220" y="1121"/>
                    </a:lnTo>
                    <a:lnTo>
                      <a:pt x="1220" y="1119"/>
                    </a:lnTo>
                    <a:lnTo>
                      <a:pt x="1222" y="1119"/>
                    </a:lnTo>
                    <a:lnTo>
                      <a:pt x="1224" y="1119"/>
                    </a:lnTo>
                    <a:lnTo>
                      <a:pt x="1225" y="1119"/>
                    </a:lnTo>
                    <a:lnTo>
                      <a:pt x="1225" y="1121"/>
                    </a:lnTo>
                    <a:lnTo>
                      <a:pt x="1225" y="1122"/>
                    </a:lnTo>
                    <a:lnTo>
                      <a:pt x="1227" y="1122"/>
                    </a:lnTo>
                    <a:lnTo>
                      <a:pt x="1227" y="1124"/>
                    </a:lnTo>
                    <a:lnTo>
                      <a:pt x="1229" y="1124"/>
                    </a:lnTo>
                    <a:lnTo>
                      <a:pt x="1230" y="1126"/>
                    </a:lnTo>
                    <a:lnTo>
                      <a:pt x="1232" y="1126"/>
                    </a:lnTo>
                    <a:lnTo>
                      <a:pt x="1234" y="1126"/>
                    </a:lnTo>
                    <a:lnTo>
                      <a:pt x="1234" y="1128"/>
                    </a:lnTo>
                    <a:lnTo>
                      <a:pt x="1234" y="1126"/>
                    </a:lnTo>
                    <a:lnTo>
                      <a:pt x="1234" y="1128"/>
                    </a:lnTo>
                    <a:lnTo>
                      <a:pt x="1236" y="1126"/>
                    </a:lnTo>
                    <a:lnTo>
                      <a:pt x="1236" y="1128"/>
                    </a:lnTo>
                    <a:lnTo>
                      <a:pt x="1236" y="1126"/>
                    </a:lnTo>
                    <a:lnTo>
                      <a:pt x="1237" y="1126"/>
                    </a:lnTo>
                    <a:lnTo>
                      <a:pt x="1236" y="1126"/>
                    </a:lnTo>
                    <a:lnTo>
                      <a:pt x="1237" y="1126"/>
                    </a:lnTo>
                    <a:lnTo>
                      <a:pt x="1237" y="1124"/>
                    </a:lnTo>
                    <a:lnTo>
                      <a:pt x="1236" y="1124"/>
                    </a:lnTo>
                    <a:lnTo>
                      <a:pt x="1237" y="1122"/>
                    </a:lnTo>
                    <a:lnTo>
                      <a:pt x="1236" y="1122"/>
                    </a:lnTo>
                    <a:lnTo>
                      <a:pt x="1234" y="1122"/>
                    </a:lnTo>
                    <a:lnTo>
                      <a:pt x="1234" y="1124"/>
                    </a:lnTo>
                    <a:lnTo>
                      <a:pt x="1232" y="1124"/>
                    </a:lnTo>
                    <a:lnTo>
                      <a:pt x="1230" y="1124"/>
                    </a:lnTo>
                    <a:lnTo>
                      <a:pt x="1230" y="1122"/>
                    </a:lnTo>
                    <a:lnTo>
                      <a:pt x="1229" y="1122"/>
                    </a:lnTo>
                    <a:lnTo>
                      <a:pt x="1229" y="1121"/>
                    </a:lnTo>
                    <a:lnTo>
                      <a:pt x="1227" y="1121"/>
                    </a:lnTo>
                    <a:lnTo>
                      <a:pt x="1227" y="1119"/>
                    </a:lnTo>
                    <a:lnTo>
                      <a:pt x="1225" y="1117"/>
                    </a:lnTo>
                    <a:lnTo>
                      <a:pt x="1224" y="1117"/>
                    </a:lnTo>
                    <a:lnTo>
                      <a:pt x="1224" y="1116"/>
                    </a:lnTo>
                    <a:lnTo>
                      <a:pt x="1222" y="1116"/>
                    </a:lnTo>
                    <a:lnTo>
                      <a:pt x="1220" y="1116"/>
                    </a:lnTo>
                    <a:lnTo>
                      <a:pt x="1220" y="1117"/>
                    </a:lnTo>
                    <a:lnTo>
                      <a:pt x="1219" y="1117"/>
                    </a:lnTo>
                    <a:lnTo>
                      <a:pt x="1219" y="1119"/>
                    </a:lnTo>
                    <a:lnTo>
                      <a:pt x="1219" y="1117"/>
                    </a:lnTo>
                    <a:lnTo>
                      <a:pt x="1217" y="1117"/>
                    </a:lnTo>
                    <a:lnTo>
                      <a:pt x="1215" y="1117"/>
                    </a:lnTo>
                    <a:lnTo>
                      <a:pt x="1213" y="1116"/>
                    </a:lnTo>
                    <a:lnTo>
                      <a:pt x="1213" y="1114"/>
                    </a:lnTo>
                    <a:lnTo>
                      <a:pt x="1215" y="1116"/>
                    </a:lnTo>
                    <a:lnTo>
                      <a:pt x="1215" y="1117"/>
                    </a:lnTo>
                    <a:lnTo>
                      <a:pt x="1215" y="1116"/>
                    </a:lnTo>
                    <a:lnTo>
                      <a:pt x="1215" y="1114"/>
                    </a:lnTo>
                    <a:lnTo>
                      <a:pt x="1217" y="1114"/>
                    </a:lnTo>
                    <a:lnTo>
                      <a:pt x="1219" y="1114"/>
                    </a:lnTo>
                    <a:lnTo>
                      <a:pt x="1220" y="1114"/>
                    </a:lnTo>
                    <a:lnTo>
                      <a:pt x="1220" y="1112"/>
                    </a:lnTo>
                    <a:lnTo>
                      <a:pt x="1219" y="1112"/>
                    </a:lnTo>
                    <a:lnTo>
                      <a:pt x="1220" y="1112"/>
                    </a:lnTo>
                    <a:lnTo>
                      <a:pt x="1220" y="1111"/>
                    </a:lnTo>
                    <a:lnTo>
                      <a:pt x="1220" y="1109"/>
                    </a:lnTo>
                    <a:lnTo>
                      <a:pt x="1219" y="1109"/>
                    </a:lnTo>
                    <a:lnTo>
                      <a:pt x="1220" y="1109"/>
                    </a:lnTo>
                    <a:lnTo>
                      <a:pt x="1220" y="1107"/>
                    </a:lnTo>
                    <a:lnTo>
                      <a:pt x="1220" y="1109"/>
                    </a:lnTo>
                    <a:lnTo>
                      <a:pt x="1219" y="1109"/>
                    </a:lnTo>
                    <a:lnTo>
                      <a:pt x="1219" y="1107"/>
                    </a:lnTo>
                    <a:lnTo>
                      <a:pt x="1217" y="1107"/>
                    </a:lnTo>
                    <a:lnTo>
                      <a:pt x="1217" y="1105"/>
                    </a:lnTo>
                    <a:lnTo>
                      <a:pt x="1217" y="1104"/>
                    </a:lnTo>
                    <a:lnTo>
                      <a:pt x="1217" y="1102"/>
                    </a:lnTo>
                    <a:lnTo>
                      <a:pt x="1219" y="1102"/>
                    </a:lnTo>
                    <a:lnTo>
                      <a:pt x="1220" y="1102"/>
                    </a:lnTo>
                    <a:lnTo>
                      <a:pt x="1222" y="1102"/>
                    </a:lnTo>
                    <a:lnTo>
                      <a:pt x="1224" y="1102"/>
                    </a:lnTo>
                    <a:lnTo>
                      <a:pt x="1225" y="1100"/>
                    </a:lnTo>
                    <a:lnTo>
                      <a:pt x="1227" y="1102"/>
                    </a:lnTo>
                    <a:lnTo>
                      <a:pt x="1227" y="1100"/>
                    </a:lnTo>
                    <a:lnTo>
                      <a:pt x="1229" y="1100"/>
                    </a:lnTo>
                    <a:lnTo>
                      <a:pt x="1229" y="1099"/>
                    </a:lnTo>
                    <a:lnTo>
                      <a:pt x="1230" y="1099"/>
                    </a:lnTo>
                    <a:lnTo>
                      <a:pt x="1230" y="1097"/>
                    </a:lnTo>
                    <a:lnTo>
                      <a:pt x="1232" y="1097"/>
                    </a:lnTo>
                    <a:lnTo>
                      <a:pt x="1232" y="1099"/>
                    </a:lnTo>
                    <a:lnTo>
                      <a:pt x="1232" y="1097"/>
                    </a:lnTo>
                    <a:lnTo>
                      <a:pt x="1234" y="1097"/>
                    </a:lnTo>
                    <a:lnTo>
                      <a:pt x="1236" y="1095"/>
                    </a:lnTo>
                    <a:lnTo>
                      <a:pt x="1237" y="1094"/>
                    </a:lnTo>
                    <a:lnTo>
                      <a:pt x="1239" y="1092"/>
                    </a:lnTo>
                    <a:lnTo>
                      <a:pt x="1241" y="1092"/>
                    </a:lnTo>
                    <a:lnTo>
                      <a:pt x="1241" y="1090"/>
                    </a:lnTo>
                    <a:lnTo>
                      <a:pt x="1239" y="1088"/>
                    </a:lnTo>
                    <a:lnTo>
                      <a:pt x="1241" y="1087"/>
                    </a:lnTo>
                    <a:lnTo>
                      <a:pt x="1241" y="1085"/>
                    </a:lnTo>
                    <a:lnTo>
                      <a:pt x="1241" y="1083"/>
                    </a:lnTo>
                    <a:lnTo>
                      <a:pt x="1242" y="1082"/>
                    </a:lnTo>
                    <a:lnTo>
                      <a:pt x="1244" y="1082"/>
                    </a:lnTo>
                    <a:lnTo>
                      <a:pt x="1244" y="1080"/>
                    </a:lnTo>
                    <a:lnTo>
                      <a:pt x="1244" y="1082"/>
                    </a:lnTo>
                    <a:lnTo>
                      <a:pt x="1246" y="1082"/>
                    </a:lnTo>
                    <a:lnTo>
                      <a:pt x="1244" y="1080"/>
                    </a:lnTo>
                    <a:lnTo>
                      <a:pt x="1244" y="1078"/>
                    </a:lnTo>
                    <a:lnTo>
                      <a:pt x="1244" y="1077"/>
                    </a:lnTo>
                    <a:lnTo>
                      <a:pt x="1244" y="1075"/>
                    </a:lnTo>
                    <a:lnTo>
                      <a:pt x="1244" y="1073"/>
                    </a:lnTo>
                    <a:lnTo>
                      <a:pt x="1246" y="1071"/>
                    </a:lnTo>
                    <a:lnTo>
                      <a:pt x="1244" y="1071"/>
                    </a:lnTo>
                    <a:lnTo>
                      <a:pt x="1244" y="1073"/>
                    </a:lnTo>
                    <a:lnTo>
                      <a:pt x="1244" y="1075"/>
                    </a:lnTo>
                    <a:lnTo>
                      <a:pt x="1242" y="1077"/>
                    </a:lnTo>
                    <a:lnTo>
                      <a:pt x="1242" y="1078"/>
                    </a:lnTo>
                    <a:lnTo>
                      <a:pt x="1242" y="1080"/>
                    </a:lnTo>
                    <a:lnTo>
                      <a:pt x="1241" y="1080"/>
                    </a:lnTo>
                    <a:lnTo>
                      <a:pt x="1241" y="1082"/>
                    </a:lnTo>
                    <a:lnTo>
                      <a:pt x="1241" y="1080"/>
                    </a:lnTo>
                    <a:lnTo>
                      <a:pt x="1239" y="1080"/>
                    </a:lnTo>
                    <a:lnTo>
                      <a:pt x="1239" y="1078"/>
                    </a:lnTo>
                    <a:lnTo>
                      <a:pt x="1241" y="1078"/>
                    </a:lnTo>
                    <a:lnTo>
                      <a:pt x="1239" y="1078"/>
                    </a:lnTo>
                    <a:lnTo>
                      <a:pt x="1237" y="1078"/>
                    </a:lnTo>
                    <a:lnTo>
                      <a:pt x="1237" y="1077"/>
                    </a:lnTo>
                    <a:lnTo>
                      <a:pt x="1237" y="1075"/>
                    </a:lnTo>
                    <a:lnTo>
                      <a:pt x="1236" y="1075"/>
                    </a:lnTo>
                    <a:lnTo>
                      <a:pt x="1234" y="1075"/>
                    </a:lnTo>
                    <a:lnTo>
                      <a:pt x="1232" y="1073"/>
                    </a:lnTo>
                    <a:lnTo>
                      <a:pt x="1234" y="1073"/>
                    </a:lnTo>
                    <a:lnTo>
                      <a:pt x="1234" y="1071"/>
                    </a:lnTo>
                    <a:lnTo>
                      <a:pt x="1236" y="1071"/>
                    </a:lnTo>
                    <a:lnTo>
                      <a:pt x="1234" y="1071"/>
                    </a:lnTo>
                    <a:lnTo>
                      <a:pt x="1232" y="1071"/>
                    </a:lnTo>
                    <a:lnTo>
                      <a:pt x="1230" y="1071"/>
                    </a:lnTo>
                    <a:lnTo>
                      <a:pt x="1230" y="1070"/>
                    </a:lnTo>
                    <a:lnTo>
                      <a:pt x="1229" y="1070"/>
                    </a:lnTo>
                    <a:lnTo>
                      <a:pt x="1229" y="1068"/>
                    </a:lnTo>
                    <a:lnTo>
                      <a:pt x="1227" y="1068"/>
                    </a:lnTo>
                    <a:lnTo>
                      <a:pt x="1227" y="1070"/>
                    </a:lnTo>
                    <a:lnTo>
                      <a:pt x="1225" y="1070"/>
                    </a:lnTo>
                    <a:lnTo>
                      <a:pt x="1225" y="1068"/>
                    </a:lnTo>
                    <a:lnTo>
                      <a:pt x="1224" y="1068"/>
                    </a:lnTo>
                    <a:lnTo>
                      <a:pt x="1224" y="1066"/>
                    </a:lnTo>
                    <a:lnTo>
                      <a:pt x="1225" y="1066"/>
                    </a:lnTo>
                    <a:lnTo>
                      <a:pt x="1225" y="1068"/>
                    </a:lnTo>
                    <a:lnTo>
                      <a:pt x="1227" y="1068"/>
                    </a:lnTo>
                    <a:lnTo>
                      <a:pt x="1225" y="1066"/>
                    </a:lnTo>
                    <a:lnTo>
                      <a:pt x="1227" y="1066"/>
                    </a:lnTo>
                    <a:lnTo>
                      <a:pt x="1227" y="1065"/>
                    </a:lnTo>
                    <a:lnTo>
                      <a:pt x="1227" y="1066"/>
                    </a:lnTo>
                    <a:lnTo>
                      <a:pt x="1225" y="1065"/>
                    </a:lnTo>
                    <a:lnTo>
                      <a:pt x="1227" y="1065"/>
                    </a:lnTo>
                    <a:lnTo>
                      <a:pt x="1227" y="1063"/>
                    </a:lnTo>
                    <a:lnTo>
                      <a:pt x="1225" y="1063"/>
                    </a:lnTo>
                    <a:lnTo>
                      <a:pt x="1225" y="1065"/>
                    </a:lnTo>
                    <a:lnTo>
                      <a:pt x="1225" y="1066"/>
                    </a:lnTo>
                    <a:lnTo>
                      <a:pt x="1224" y="1066"/>
                    </a:lnTo>
                    <a:lnTo>
                      <a:pt x="1222" y="1066"/>
                    </a:lnTo>
                    <a:lnTo>
                      <a:pt x="1222" y="1065"/>
                    </a:lnTo>
                    <a:lnTo>
                      <a:pt x="1222" y="1066"/>
                    </a:lnTo>
                    <a:lnTo>
                      <a:pt x="1220" y="1066"/>
                    </a:lnTo>
                    <a:lnTo>
                      <a:pt x="1220" y="1065"/>
                    </a:lnTo>
                    <a:lnTo>
                      <a:pt x="1222" y="1065"/>
                    </a:lnTo>
                    <a:lnTo>
                      <a:pt x="1220" y="1065"/>
                    </a:lnTo>
                    <a:lnTo>
                      <a:pt x="1220" y="1063"/>
                    </a:lnTo>
                    <a:lnTo>
                      <a:pt x="1222" y="1061"/>
                    </a:lnTo>
                    <a:lnTo>
                      <a:pt x="1222" y="1063"/>
                    </a:lnTo>
                    <a:lnTo>
                      <a:pt x="1224" y="1065"/>
                    </a:lnTo>
                    <a:lnTo>
                      <a:pt x="1224" y="1063"/>
                    </a:lnTo>
                    <a:lnTo>
                      <a:pt x="1222" y="1061"/>
                    </a:lnTo>
                    <a:lnTo>
                      <a:pt x="1224" y="1060"/>
                    </a:lnTo>
                    <a:lnTo>
                      <a:pt x="1225" y="1060"/>
                    </a:lnTo>
                    <a:lnTo>
                      <a:pt x="1225" y="1061"/>
                    </a:lnTo>
                    <a:lnTo>
                      <a:pt x="1227" y="1061"/>
                    </a:lnTo>
                    <a:lnTo>
                      <a:pt x="1227" y="1060"/>
                    </a:lnTo>
                    <a:lnTo>
                      <a:pt x="1225" y="1060"/>
                    </a:lnTo>
                    <a:lnTo>
                      <a:pt x="1225" y="1058"/>
                    </a:lnTo>
                    <a:lnTo>
                      <a:pt x="1225" y="1056"/>
                    </a:lnTo>
                    <a:lnTo>
                      <a:pt x="1227" y="1056"/>
                    </a:lnTo>
                    <a:lnTo>
                      <a:pt x="1227" y="1054"/>
                    </a:lnTo>
                    <a:lnTo>
                      <a:pt x="1229" y="1054"/>
                    </a:lnTo>
                    <a:lnTo>
                      <a:pt x="1229" y="1053"/>
                    </a:lnTo>
                    <a:lnTo>
                      <a:pt x="1229" y="1051"/>
                    </a:lnTo>
                    <a:lnTo>
                      <a:pt x="1229" y="1049"/>
                    </a:lnTo>
                    <a:lnTo>
                      <a:pt x="1230" y="1049"/>
                    </a:lnTo>
                    <a:lnTo>
                      <a:pt x="1230" y="1048"/>
                    </a:lnTo>
                    <a:lnTo>
                      <a:pt x="1230" y="1046"/>
                    </a:lnTo>
                    <a:lnTo>
                      <a:pt x="1232" y="1046"/>
                    </a:lnTo>
                    <a:lnTo>
                      <a:pt x="1232" y="1048"/>
                    </a:lnTo>
                    <a:lnTo>
                      <a:pt x="1234" y="1048"/>
                    </a:lnTo>
                    <a:lnTo>
                      <a:pt x="1236" y="1048"/>
                    </a:lnTo>
                    <a:lnTo>
                      <a:pt x="1236" y="1049"/>
                    </a:lnTo>
                    <a:lnTo>
                      <a:pt x="1237" y="1048"/>
                    </a:lnTo>
                    <a:lnTo>
                      <a:pt x="1237" y="1049"/>
                    </a:lnTo>
                    <a:lnTo>
                      <a:pt x="1239" y="1049"/>
                    </a:lnTo>
                    <a:lnTo>
                      <a:pt x="1237" y="1049"/>
                    </a:lnTo>
                    <a:lnTo>
                      <a:pt x="1237" y="1048"/>
                    </a:lnTo>
                    <a:lnTo>
                      <a:pt x="1236" y="1048"/>
                    </a:lnTo>
                    <a:lnTo>
                      <a:pt x="1236" y="1046"/>
                    </a:lnTo>
                    <a:lnTo>
                      <a:pt x="1236" y="1044"/>
                    </a:lnTo>
                    <a:lnTo>
                      <a:pt x="1236" y="1043"/>
                    </a:lnTo>
                    <a:lnTo>
                      <a:pt x="1237" y="1043"/>
                    </a:lnTo>
                    <a:lnTo>
                      <a:pt x="1236" y="1043"/>
                    </a:lnTo>
                    <a:lnTo>
                      <a:pt x="1236" y="1041"/>
                    </a:lnTo>
                    <a:lnTo>
                      <a:pt x="1236" y="1043"/>
                    </a:lnTo>
                    <a:lnTo>
                      <a:pt x="1236" y="1044"/>
                    </a:lnTo>
                    <a:lnTo>
                      <a:pt x="1236" y="1046"/>
                    </a:lnTo>
                    <a:lnTo>
                      <a:pt x="1234" y="1046"/>
                    </a:lnTo>
                    <a:lnTo>
                      <a:pt x="1232" y="1046"/>
                    </a:lnTo>
                    <a:lnTo>
                      <a:pt x="1232" y="1048"/>
                    </a:lnTo>
                    <a:lnTo>
                      <a:pt x="1232" y="1046"/>
                    </a:lnTo>
                    <a:lnTo>
                      <a:pt x="1230" y="1046"/>
                    </a:lnTo>
                    <a:lnTo>
                      <a:pt x="1230" y="1044"/>
                    </a:lnTo>
                    <a:lnTo>
                      <a:pt x="1229" y="1044"/>
                    </a:lnTo>
                    <a:lnTo>
                      <a:pt x="1229" y="1043"/>
                    </a:lnTo>
                    <a:lnTo>
                      <a:pt x="1230" y="1043"/>
                    </a:lnTo>
                    <a:lnTo>
                      <a:pt x="1232" y="1041"/>
                    </a:lnTo>
                    <a:lnTo>
                      <a:pt x="1232" y="1039"/>
                    </a:lnTo>
                    <a:lnTo>
                      <a:pt x="1234" y="1039"/>
                    </a:lnTo>
                    <a:lnTo>
                      <a:pt x="1234" y="1037"/>
                    </a:lnTo>
                    <a:lnTo>
                      <a:pt x="1232" y="1039"/>
                    </a:lnTo>
                    <a:lnTo>
                      <a:pt x="1232" y="1037"/>
                    </a:lnTo>
                    <a:lnTo>
                      <a:pt x="1232" y="1039"/>
                    </a:lnTo>
                    <a:lnTo>
                      <a:pt x="1230" y="1037"/>
                    </a:lnTo>
                    <a:lnTo>
                      <a:pt x="1229" y="1037"/>
                    </a:lnTo>
                    <a:lnTo>
                      <a:pt x="1229" y="1036"/>
                    </a:lnTo>
                    <a:lnTo>
                      <a:pt x="1229" y="1034"/>
                    </a:lnTo>
                    <a:lnTo>
                      <a:pt x="1227" y="1032"/>
                    </a:lnTo>
                    <a:lnTo>
                      <a:pt x="1227" y="1031"/>
                    </a:lnTo>
                    <a:lnTo>
                      <a:pt x="1229" y="1029"/>
                    </a:lnTo>
                    <a:lnTo>
                      <a:pt x="1229" y="1027"/>
                    </a:lnTo>
                    <a:lnTo>
                      <a:pt x="1227" y="1027"/>
                    </a:lnTo>
                    <a:lnTo>
                      <a:pt x="1227" y="1026"/>
                    </a:lnTo>
                    <a:lnTo>
                      <a:pt x="1229" y="1026"/>
                    </a:lnTo>
                    <a:lnTo>
                      <a:pt x="1229" y="1024"/>
                    </a:lnTo>
                    <a:lnTo>
                      <a:pt x="1230" y="1024"/>
                    </a:lnTo>
                    <a:lnTo>
                      <a:pt x="1230" y="1022"/>
                    </a:lnTo>
                    <a:lnTo>
                      <a:pt x="1232" y="1022"/>
                    </a:lnTo>
                    <a:lnTo>
                      <a:pt x="1234" y="1022"/>
                    </a:lnTo>
                    <a:lnTo>
                      <a:pt x="1234" y="1020"/>
                    </a:lnTo>
                    <a:lnTo>
                      <a:pt x="1234" y="1019"/>
                    </a:lnTo>
                    <a:lnTo>
                      <a:pt x="1234" y="1017"/>
                    </a:lnTo>
                    <a:lnTo>
                      <a:pt x="1232" y="1017"/>
                    </a:lnTo>
                    <a:lnTo>
                      <a:pt x="1232" y="1015"/>
                    </a:lnTo>
                    <a:lnTo>
                      <a:pt x="1234" y="1015"/>
                    </a:lnTo>
                    <a:lnTo>
                      <a:pt x="1234" y="1014"/>
                    </a:lnTo>
                    <a:lnTo>
                      <a:pt x="1234" y="1012"/>
                    </a:lnTo>
                    <a:lnTo>
                      <a:pt x="1236" y="1012"/>
                    </a:lnTo>
                    <a:lnTo>
                      <a:pt x="1237" y="1012"/>
                    </a:lnTo>
                    <a:lnTo>
                      <a:pt x="1237" y="1014"/>
                    </a:lnTo>
                    <a:lnTo>
                      <a:pt x="1239" y="1014"/>
                    </a:lnTo>
                    <a:lnTo>
                      <a:pt x="1239" y="1012"/>
                    </a:lnTo>
                    <a:lnTo>
                      <a:pt x="1239" y="1010"/>
                    </a:lnTo>
                    <a:lnTo>
                      <a:pt x="1237" y="1010"/>
                    </a:lnTo>
                    <a:lnTo>
                      <a:pt x="1239" y="1010"/>
                    </a:lnTo>
                    <a:lnTo>
                      <a:pt x="1237" y="1010"/>
                    </a:lnTo>
                    <a:lnTo>
                      <a:pt x="1237" y="1009"/>
                    </a:lnTo>
                    <a:lnTo>
                      <a:pt x="1236" y="1009"/>
                    </a:lnTo>
                    <a:lnTo>
                      <a:pt x="1237" y="1007"/>
                    </a:lnTo>
                    <a:lnTo>
                      <a:pt x="1237" y="1009"/>
                    </a:lnTo>
                    <a:lnTo>
                      <a:pt x="1239" y="1009"/>
                    </a:lnTo>
                    <a:lnTo>
                      <a:pt x="1239" y="1007"/>
                    </a:lnTo>
                    <a:lnTo>
                      <a:pt x="1239" y="1005"/>
                    </a:lnTo>
                    <a:lnTo>
                      <a:pt x="1237" y="1005"/>
                    </a:lnTo>
                    <a:lnTo>
                      <a:pt x="1237" y="1003"/>
                    </a:lnTo>
                    <a:lnTo>
                      <a:pt x="1236" y="1003"/>
                    </a:lnTo>
                    <a:lnTo>
                      <a:pt x="1236" y="1002"/>
                    </a:lnTo>
                    <a:lnTo>
                      <a:pt x="1236" y="1000"/>
                    </a:lnTo>
                    <a:lnTo>
                      <a:pt x="1236" y="998"/>
                    </a:lnTo>
                    <a:lnTo>
                      <a:pt x="1236" y="997"/>
                    </a:lnTo>
                    <a:lnTo>
                      <a:pt x="1237" y="997"/>
                    </a:lnTo>
                    <a:lnTo>
                      <a:pt x="1237" y="995"/>
                    </a:lnTo>
                    <a:lnTo>
                      <a:pt x="1236" y="995"/>
                    </a:lnTo>
                    <a:lnTo>
                      <a:pt x="1236" y="993"/>
                    </a:lnTo>
                    <a:lnTo>
                      <a:pt x="1236" y="992"/>
                    </a:lnTo>
                    <a:lnTo>
                      <a:pt x="1236" y="990"/>
                    </a:lnTo>
                    <a:lnTo>
                      <a:pt x="1236" y="988"/>
                    </a:lnTo>
                    <a:lnTo>
                      <a:pt x="1237" y="988"/>
                    </a:lnTo>
                    <a:lnTo>
                      <a:pt x="1239" y="988"/>
                    </a:lnTo>
                    <a:lnTo>
                      <a:pt x="1241" y="988"/>
                    </a:lnTo>
                    <a:lnTo>
                      <a:pt x="1242" y="990"/>
                    </a:lnTo>
                    <a:lnTo>
                      <a:pt x="1244" y="990"/>
                    </a:lnTo>
                    <a:lnTo>
                      <a:pt x="1244" y="992"/>
                    </a:lnTo>
                    <a:lnTo>
                      <a:pt x="1246" y="992"/>
                    </a:lnTo>
                    <a:lnTo>
                      <a:pt x="1247" y="992"/>
                    </a:lnTo>
                    <a:lnTo>
                      <a:pt x="1247" y="990"/>
                    </a:lnTo>
                    <a:lnTo>
                      <a:pt x="1246" y="992"/>
                    </a:lnTo>
                    <a:lnTo>
                      <a:pt x="1246" y="990"/>
                    </a:lnTo>
                    <a:lnTo>
                      <a:pt x="1244" y="990"/>
                    </a:lnTo>
                    <a:lnTo>
                      <a:pt x="1244" y="988"/>
                    </a:lnTo>
                    <a:lnTo>
                      <a:pt x="1242" y="988"/>
                    </a:lnTo>
                    <a:lnTo>
                      <a:pt x="1242" y="986"/>
                    </a:lnTo>
                    <a:lnTo>
                      <a:pt x="1241" y="986"/>
                    </a:lnTo>
                    <a:lnTo>
                      <a:pt x="1241" y="985"/>
                    </a:lnTo>
                    <a:lnTo>
                      <a:pt x="1241" y="983"/>
                    </a:lnTo>
                    <a:lnTo>
                      <a:pt x="1239" y="983"/>
                    </a:lnTo>
                    <a:lnTo>
                      <a:pt x="1237" y="981"/>
                    </a:lnTo>
                    <a:lnTo>
                      <a:pt x="1237" y="980"/>
                    </a:lnTo>
                    <a:lnTo>
                      <a:pt x="1237" y="978"/>
                    </a:lnTo>
                    <a:lnTo>
                      <a:pt x="1237" y="980"/>
                    </a:lnTo>
                    <a:lnTo>
                      <a:pt x="1236" y="980"/>
                    </a:lnTo>
                    <a:lnTo>
                      <a:pt x="1236" y="978"/>
                    </a:lnTo>
                    <a:lnTo>
                      <a:pt x="1237" y="978"/>
                    </a:lnTo>
                    <a:lnTo>
                      <a:pt x="1237" y="976"/>
                    </a:lnTo>
                    <a:lnTo>
                      <a:pt x="1239" y="976"/>
                    </a:lnTo>
                    <a:lnTo>
                      <a:pt x="1239" y="975"/>
                    </a:lnTo>
                    <a:lnTo>
                      <a:pt x="1241" y="975"/>
                    </a:lnTo>
                    <a:lnTo>
                      <a:pt x="1242" y="975"/>
                    </a:lnTo>
                    <a:lnTo>
                      <a:pt x="1244" y="975"/>
                    </a:lnTo>
                    <a:lnTo>
                      <a:pt x="1244" y="973"/>
                    </a:lnTo>
                    <a:lnTo>
                      <a:pt x="1244" y="975"/>
                    </a:lnTo>
                    <a:lnTo>
                      <a:pt x="1246" y="975"/>
                    </a:lnTo>
                    <a:lnTo>
                      <a:pt x="1246" y="976"/>
                    </a:lnTo>
                    <a:lnTo>
                      <a:pt x="1246" y="978"/>
                    </a:lnTo>
                    <a:lnTo>
                      <a:pt x="1246" y="980"/>
                    </a:lnTo>
                    <a:lnTo>
                      <a:pt x="1247" y="981"/>
                    </a:lnTo>
                    <a:lnTo>
                      <a:pt x="1247" y="983"/>
                    </a:lnTo>
                    <a:lnTo>
                      <a:pt x="1249" y="983"/>
                    </a:lnTo>
                    <a:lnTo>
                      <a:pt x="1249" y="985"/>
                    </a:lnTo>
                    <a:lnTo>
                      <a:pt x="1249" y="986"/>
                    </a:lnTo>
                    <a:lnTo>
                      <a:pt x="1249" y="988"/>
                    </a:lnTo>
                    <a:lnTo>
                      <a:pt x="1249" y="986"/>
                    </a:lnTo>
                    <a:lnTo>
                      <a:pt x="1251" y="986"/>
                    </a:lnTo>
                    <a:lnTo>
                      <a:pt x="1249" y="986"/>
                    </a:lnTo>
                    <a:lnTo>
                      <a:pt x="1249" y="985"/>
                    </a:lnTo>
                    <a:lnTo>
                      <a:pt x="1249" y="983"/>
                    </a:lnTo>
                    <a:lnTo>
                      <a:pt x="1249" y="981"/>
                    </a:lnTo>
                    <a:lnTo>
                      <a:pt x="1249" y="980"/>
                    </a:lnTo>
                    <a:lnTo>
                      <a:pt x="1247" y="980"/>
                    </a:lnTo>
                    <a:lnTo>
                      <a:pt x="1247" y="978"/>
                    </a:lnTo>
                    <a:lnTo>
                      <a:pt x="1249" y="976"/>
                    </a:lnTo>
                    <a:lnTo>
                      <a:pt x="1251" y="976"/>
                    </a:lnTo>
                    <a:lnTo>
                      <a:pt x="1249" y="976"/>
                    </a:lnTo>
                    <a:lnTo>
                      <a:pt x="1249" y="975"/>
                    </a:lnTo>
                    <a:lnTo>
                      <a:pt x="1247" y="975"/>
                    </a:lnTo>
                    <a:lnTo>
                      <a:pt x="1249" y="973"/>
                    </a:lnTo>
                    <a:lnTo>
                      <a:pt x="1251" y="973"/>
                    </a:lnTo>
                    <a:lnTo>
                      <a:pt x="1253" y="973"/>
                    </a:lnTo>
                    <a:lnTo>
                      <a:pt x="1251" y="973"/>
                    </a:lnTo>
                    <a:lnTo>
                      <a:pt x="1251" y="971"/>
                    </a:lnTo>
                    <a:lnTo>
                      <a:pt x="1251" y="973"/>
                    </a:lnTo>
                    <a:lnTo>
                      <a:pt x="1249" y="973"/>
                    </a:lnTo>
                    <a:lnTo>
                      <a:pt x="1247" y="971"/>
                    </a:lnTo>
                    <a:lnTo>
                      <a:pt x="1247" y="969"/>
                    </a:lnTo>
                    <a:lnTo>
                      <a:pt x="1249" y="969"/>
                    </a:lnTo>
                    <a:lnTo>
                      <a:pt x="1247" y="968"/>
                    </a:lnTo>
                    <a:lnTo>
                      <a:pt x="1249" y="968"/>
                    </a:lnTo>
                    <a:lnTo>
                      <a:pt x="1249" y="966"/>
                    </a:lnTo>
                    <a:lnTo>
                      <a:pt x="1249" y="964"/>
                    </a:lnTo>
                    <a:lnTo>
                      <a:pt x="1247" y="963"/>
                    </a:lnTo>
                    <a:lnTo>
                      <a:pt x="1246" y="964"/>
                    </a:lnTo>
                    <a:lnTo>
                      <a:pt x="1246" y="966"/>
                    </a:lnTo>
                    <a:lnTo>
                      <a:pt x="1244" y="966"/>
                    </a:lnTo>
                    <a:lnTo>
                      <a:pt x="1244" y="964"/>
                    </a:lnTo>
                    <a:lnTo>
                      <a:pt x="1244" y="966"/>
                    </a:lnTo>
                    <a:lnTo>
                      <a:pt x="1242" y="966"/>
                    </a:lnTo>
                    <a:lnTo>
                      <a:pt x="1242" y="964"/>
                    </a:lnTo>
                    <a:lnTo>
                      <a:pt x="1241" y="964"/>
                    </a:lnTo>
                    <a:lnTo>
                      <a:pt x="1241" y="966"/>
                    </a:lnTo>
                    <a:lnTo>
                      <a:pt x="1239" y="964"/>
                    </a:lnTo>
                    <a:lnTo>
                      <a:pt x="1237" y="964"/>
                    </a:lnTo>
                    <a:lnTo>
                      <a:pt x="1236" y="963"/>
                    </a:lnTo>
                    <a:lnTo>
                      <a:pt x="1237" y="963"/>
                    </a:lnTo>
                    <a:lnTo>
                      <a:pt x="1236" y="961"/>
                    </a:lnTo>
                    <a:lnTo>
                      <a:pt x="1234" y="961"/>
                    </a:lnTo>
                    <a:lnTo>
                      <a:pt x="1236" y="961"/>
                    </a:lnTo>
                    <a:lnTo>
                      <a:pt x="1236" y="959"/>
                    </a:lnTo>
                    <a:lnTo>
                      <a:pt x="1237" y="959"/>
                    </a:lnTo>
                    <a:lnTo>
                      <a:pt x="1237" y="957"/>
                    </a:lnTo>
                    <a:lnTo>
                      <a:pt x="1237" y="956"/>
                    </a:lnTo>
                    <a:lnTo>
                      <a:pt x="1239" y="956"/>
                    </a:lnTo>
                    <a:lnTo>
                      <a:pt x="1241" y="956"/>
                    </a:lnTo>
                    <a:lnTo>
                      <a:pt x="1241" y="954"/>
                    </a:lnTo>
                    <a:lnTo>
                      <a:pt x="1242" y="952"/>
                    </a:lnTo>
                    <a:lnTo>
                      <a:pt x="1244" y="952"/>
                    </a:lnTo>
                    <a:lnTo>
                      <a:pt x="1246" y="952"/>
                    </a:lnTo>
                    <a:lnTo>
                      <a:pt x="1247" y="952"/>
                    </a:lnTo>
                    <a:lnTo>
                      <a:pt x="1249" y="952"/>
                    </a:lnTo>
                    <a:lnTo>
                      <a:pt x="1249" y="951"/>
                    </a:lnTo>
                    <a:lnTo>
                      <a:pt x="1251" y="951"/>
                    </a:lnTo>
                    <a:lnTo>
                      <a:pt x="1253" y="949"/>
                    </a:lnTo>
                    <a:lnTo>
                      <a:pt x="1253" y="947"/>
                    </a:lnTo>
                    <a:lnTo>
                      <a:pt x="1253" y="946"/>
                    </a:lnTo>
                    <a:lnTo>
                      <a:pt x="1253" y="944"/>
                    </a:lnTo>
                    <a:lnTo>
                      <a:pt x="1254" y="944"/>
                    </a:lnTo>
                    <a:lnTo>
                      <a:pt x="1254" y="942"/>
                    </a:lnTo>
                    <a:lnTo>
                      <a:pt x="1253" y="942"/>
                    </a:lnTo>
                    <a:lnTo>
                      <a:pt x="1253" y="940"/>
                    </a:lnTo>
                    <a:lnTo>
                      <a:pt x="1254" y="939"/>
                    </a:lnTo>
                    <a:lnTo>
                      <a:pt x="1254" y="937"/>
                    </a:lnTo>
                    <a:lnTo>
                      <a:pt x="1253" y="937"/>
                    </a:lnTo>
                    <a:lnTo>
                      <a:pt x="1253" y="939"/>
                    </a:lnTo>
                    <a:lnTo>
                      <a:pt x="1253" y="937"/>
                    </a:lnTo>
                    <a:lnTo>
                      <a:pt x="1254" y="939"/>
                    </a:lnTo>
                    <a:lnTo>
                      <a:pt x="1253" y="939"/>
                    </a:lnTo>
                    <a:lnTo>
                      <a:pt x="1253" y="940"/>
                    </a:lnTo>
                    <a:lnTo>
                      <a:pt x="1253" y="942"/>
                    </a:lnTo>
                    <a:lnTo>
                      <a:pt x="1253" y="944"/>
                    </a:lnTo>
                    <a:lnTo>
                      <a:pt x="1253" y="946"/>
                    </a:lnTo>
                    <a:lnTo>
                      <a:pt x="1253" y="947"/>
                    </a:lnTo>
                    <a:lnTo>
                      <a:pt x="1251" y="947"/>
                    </a:lnTo>
                    <a:lnTo>
                      <a:pt x="1251" y="949"/>
                    </a:lnTo>
                    <a:lnTo>
                      <a:pt x="1249" y="949"/>
                    </a:lnTo>
                    <a:lnTo>
                      <a:pt x="1249" y="951"/>
                    </a:lnTo>
                    <a:lnTo>
                      <a:pt x="1249" y="949"/>
                    </a:lnTo>
                    <a:lnTo>
                      <a:pt x="1247" y="951"/>
                    </a:lnTo>
                    <a:lnTo>
                      <a:pt x="1246" y="951"/>
                    </a:lnTo>
                    <a:lnTo>
                      <a:pt x="1244" y="952"/>
                    </a:lnTo>
                    <a:lnTo>
                      <a:pt x="1244" y="951"/>
                    </a:lnTo>
                    <a:lnTo>
                      <a:pt x="1242" y="951"/>
                    </a:lnTo>
                    <a:lnTo>
                      <a:pt x="1241" y="949"/>
                    </a:lnTo>
                    <a:lnTo>
                      <a:pt x="1241" y="947"/>
                    </a:lnTo>
                    <a:lnTo>
                      <a:pt x="1241" y="946"/>
                    </a:lnTo>
                    <a:lnTo>
                      <a:pt x="1239" y="946"/>
                    </a:lnTo>
                    <a:lnTo>
                      <a:pt x="1239" y="944"/>
                    </a:lnTo>
                    <a:lnTo>
                      <a:pt x="1237" y="944"/>
                    </a:lnTo>
                    <a:lnTo>
                      <a:pt x="1237" y="942"/>
                    </a:lnTo>
                    <a:lnTo>
                      <a:pt x="1236" y="942"/>
                    </a:lnTo>
                    <a:lnTo>
                      <a:pt x="1234" y="942"/>
                    </a:lnTo>
                    <a:lnTo>
                      <a:pt x="1232" y="940"/>
                    </a:lnTo>
                    <a:lnTo>
                      <a:pt x="1230" y="942"/>
                    </a:lnTo>
                    <a:lnTo>
                      <a:pt x="1229" y="942"/>
                    </a:lnTo>
                    <a:lnTo>
                      <a:pt x="1229" y="944"/>
                    </a:lnTo>
                    <a:lnTo>
                      <a:pt x="1229" y="946"/>
                    </a:lnTo>
                    <a:lnTo>
                      <a:pt x="1227" y="946"/>
                    </a:lnTo>
                    <a:lnTo>
                      <a:pt x="1227" y="947"/>
                    </a:lnTo>
                    <a:lnTo>
                      <a:pt x="1229" y="949"/>
                    </a:lnTo>
                    <a:lnTo>
                      <a:pt x="1227" y="949"/>
                    </a:lnTo>
                    <a:lnTo>
                      <a:pt x="1229" y="951"/>
                    </a:lnTo>
                    <a:lnTo>
                      <a:pt x="1229" y="952"/>
                    </a:lnTo>
                    <a:lnTo>
                      <a:pt x="1227" y="951"/>
                    </a:lnTo>
                    <a:lnTo>
                      <a:pt x="1227" y="952"/>
                    </a:lnTo>
                    <a:lnTo>
                      <a:pt x="1225" y="954"/>
                    </a:lnTo>
                    <a:lnTo>
                      <a:pt x="1225" y="952"/>
                    </a:lnTo>
                    <a:lnTo>
                      <a:pt x="1225" y="951"/>
                    </a:lnTo>
                    <a:lnTo>
                      <a:pt x="1225" y="952"/>
                    </a:lnTo>
                    <a:lnTo>
                      <a:pt x="1224" y="952"/>
                    </a:lnTo>
                    <a:lnTo>
                      <a:pt x="1225" y="954"/>
                    </a:lnTo>
                    <a:lnTo>
                      <a:pt x="1224" y="954"/>
                    </a:lnTo>
                    <a:lnTo>
                      <a:pt x="1225" y="954"/>
                    </a:lnTo>
                    <a:lnTo>
                      <a:pt x="1225" y="956"/>
                    </a:lnTo>
                    <a:lnTo>
                      <a:pt x="1224" y="954"/>
                    </a:lnTo>
                    <a:lnTo>
                      <a:pt x="1224" y="956"/>
                    </a:lnTo>
                    <a:lnTo>
                      <a:pt x="1222" y="956"/>
                    </a:lnTo>
                    <a:lnTo>
                      <a:pt x="1222" y="954"/>
                    </a:lnTo>
                    <a:lnTo>
                      <a:pt x="1222" y="952"/>
                    </a:lnTo>
                    <a:lnTo>
                      <a:pt x="1224" y="952"/>
                    </a:lnTo>
                    <a:lnTo>
                      <a:pt x="1224" y="954"/>
                    </a:lnTo>
                    <a:lnTo>
                      <a:pt x="1224" y="952"/>
                    </a:lnTo>
                    <a:lnTo>
                      <a:pt x="1222" y="952"/>
                    </a:lnTo>
                    <a:lnTo>
                      <a:pt x="1222" y="954"/>
                    </a:lnTo>
                    <a:lnTo>
                      <a:pt x="1222" y="956"/>
                    </a:lnTo>
                    <a:lnTo>
                      <a:pt x="1220" y="954"/>
                    </a:lnTo>
                    <a:lnTo>
                      <a:pt x="1219" y="954"/>
                    </a:lnTo>
                    <a:lnTo>
                      <a:pt x="1217" y="954"/>
                    </a:lnTo>
                    <a:lnTo>
                      <a:pt x="1219" y="956"/>
                    </a:lnTo>
                    <a:lnTo>
                      <a:pt x="1217" y="956"/>
                    </a:lnTo>
                    <a:lnTo>
                      <a:pt x="1215" y="954"/>
                    </a:lnTo>
                    <a:lnTo>
                      <a:pt x="1215" y="956"/>
                    </a:lnTo>
                    <a:lnTo>
                      <a:pt x="1213" y="956"/>
                    </a:lnTo>
                    <a:lnTo>
                      <a:pt x="1212" y="954"/>
                    </a:lnTo>
                    <a:lnTo>
                      <a:pt x="1210" y="954"/>
                    </a:lnTo>
                    <a:lnTo>
                      <a:pt x="1208" y="954"/>
                    </a:lnTo>
                    <a:lnTo>
                      <a:pt x="1207" y="954"/>
                    </a:lnTo>
                    <a:lnTo>
                      <a:pt x="1207" y="952"/>
                    </a:lnTo>
                    <a:lnTo>
                      <a:pt x="1207" y="954"/>
                    </a:lnTo>
                    <a:lnTo>
                      <a:pt x="1205" y="952"/>
                    </a:lnTo>
                    <a:lnTo>
                      <a:pt x="1207" y="952"/>
                    </a:lnTo>
                    <a:lnTo>
                      <a:pt x="1207" y="951"/>
                    </a:lnTo>
                    <a:lnTo>
                      <a:pt x="1207" y="949"/>
                    </a:lnTo>
                    <a:lnTo>
                      <a:pt x="1207" y="947"/>
                    </a:lnTo>
                    <a:lnTo>
                      <a:pt x="1207" y="949"/>
                    </a:lnTo>
                    <a:lnTo>
                      <a:pt x="1208" y="949"/>
                    </a:lnTo>
                    <a:lnTo>
                      <a:pt x="1207" y="949"/>
                    </a:lnTo>
                    <a:lnTo>
                      <a:pt x="1207" y="951"/>
                    </a:lnTo>
                    <a:lnTo>
                      <a:pt x="1208" y="949"/>
                    </a:lnTo>
                    <a:lnTo>
                      <a:pt x="1207" y="949"/>
                    </a:lnTo>
                    <a:lnTo>
                      <a:pt x="1208" y="947"/>
                    </a:lnTo>
                    <a:lnTo>
                      <a:pt x="1210" y="947"/>
                    </a:lnTo>
                    <a:lnTo>
                      <a:pt x="1210" y="949"/>
                    </a:lnTo>
                    <a:lnTo>
                      <a:pt x="1212" y="949"/>
                    </a:lnTo>
                    <a:lnTo>
                      <a:pt x="1210" y="947"/>
                    </a:lnTo>
                    <a:lnTo>
                      <a:pt x="1212" y="947"/>
                    </a:lnTo>
                    <a:lnTo>
                      <a:pt x="1210" y="947"/>
                    </a:lnTo>
                    <a:lnTo>
                      <a:pt x="1212" y="947"/>
                    </a:lnTo>
                    <a:lnTo>
                      <a:pt x="1213" y="947"/>
                    </a:lnTo>
                    <a:lnTo>
                      <a:pt x="1212" y="947"/>
                    </a:lnTo>
                    <a:lnTo>
                      <a:pt x="1213" y="946"/>
                    </a:lnTo>
                    <a:lnTo>
                      <a:pt x="1213" y="944"/>
                    </a:lnTo>
                    <a:lnTo>
                      <a:pt x="1215" y="942"/>
                    </a:lnTo>
                    <a:lnTo>
                      <a:pt x="1217" y="942"/>
                    </a:lnTo>
                    <a:lnTo>
                      <a:pt x="1219" y="942"/>
                    </a:lnTo>
                    <a:lnTo>
                      <a:pt x="1217" y="942"/>
                    </a:lnTo>
                    <a:lnTo>
                      <a:pt x="1215" y="942"/>
                    </a:lnTo>
                    <a:lnTo>
                      <a:pt x="1213" y="942"/>
                    </a:lnTo>
                    <a:lnTo>
                      <a:pt x="1213" y="944"/>
                    </a:lnTo>
                    <a:lnTo>
                      <a:pt x="1212" y="946"/>
                    </a:lnTo>
                    <a:lnTo>
                      <a:pt x="1210" y="946"/>
                    </a:lnTo>
                    <a:lnTo>
                      <a:pt x="1210" y="947"/>
                    </a:lnTo>
                    <a:lnTo>
                      <a:pt x="1208" y="946"/>
                    </a:lnTo>
                    <a:lnTo>
                      <a:pt x="1208" y="944"/>
                    </a:lnTo>
                    <a:lnTo>
                      <a:pt x="1210" y="944"/>
                    </a:lnTo>
                    <a:lnTo>
                      <a:pt x="1208" y="944"/>
                    </a:lnTo>
                    <a:lnTo>
                      <a:pt x="1207" y="942"/>
                    </a:lnTo>
                    <a:lnTo>
                      <a:pt x="1207" y="944"/>
                    </a:lnTo>
                    <a:lnTo>
                      <a:pt x="1207" y="946"/>
                    </a:lnTo>
                    <a:lnTo>
                      <a:pt x="1208" y="946"/>
                    </a:lnTo>
                    <a:lnTo>
                      <a:pt x="1207" y="947"/>
                    </a:lnTo>
                    <a:lnTo>
                      <a:pt x="1207" y="946"/>
                    </a:lnTo>
                    <a:lnTo>
                      <a:pt x="1205" y="946"/>
                    </a:lnTo>
                    <a:lnTo>
                      <a:pt x="1205" y="944"/>
                    </a:lnTo>
                    <a:lnTo>
                      <a:pt x="1203" y="944"/>
                    </a:lnTo>
                    <a:lnTo>
                      <a:pt x="1203" y="946"/>
                    </a:lnTo>
                    <a:lnTo>
                      <a:pt x="1203" y="944"/>
                    </a:lnTo>
                    <a:lnTo>
                      <a:pt x="1203" y="942"/>
                    </a:lnTo>
                    <a:lnTo>
                      <a:pt x="1202" y="942"/>
                    </a:lnTo>
                    <a:lnTo>
                      <a:pt x="1202" y="940"/>
                    </a:lnTo>
                    <a:lnTo>
                      <a:pt x="1202" y="939"/>
                    </a:lnTo>
                    <a:lnTo>
                      <a:pt x="1202" y="937"/>
                    </a:lnTo>
                    <a:lnTo>
                      <a:pt x="1202" y="935"/>
                    </a:lnTo>
                    <a:lnTo>
                      <a:pt x="1202" y="934"/>
                    </a:lnTo>
                    <a:lnTo>
                      <a:pt x="1202" y="932"/>
                    </a:lnTo>
                    <a:lnTo>
                      <a:pt x="1202" y="930"/>
                    </a:lnTo>
                    <a:lnTo>
                      <a:pt x="1200" y="930"/>
                    </a:lnTo>
                    <a:lnTo>
                      <a:pt x="1200" y="929"/>
                    </a:lnTo>
                    <a:lnTo>
                      <a:pt x="1200" y="927"/>
                    </a:lnTo>
                    <a:lnTo>
                      <a:pt x="1198" y="925"/>
                    </a:lnTo>
                    <a:lnTo>
                      <a:pt x="1200" y="925"/>
                    </a:lnTo>
                    <a:lnTo>
                      <a:pt x="1198" y="925"/>
                    </a:lnTo>
                    <a:lnTo>
                      <a:pt x="1198" y="923"/>
                    </a:lnTo>
                    <a:lnTo>
                      <a:pt x="1198" y="922"/>
                    </a:lnTo>
                    <a:lnTo>
                      <a:pt x="1198" y="920"/>
                    </a:lnTo>
                    <a:lnTo>
                      <a:pt x="1198" y="918"/>
                    </a:lnTo>
                    <a:lnTo>
                      <a:pt x="1200" y="917"/>
                    </a:lnTo>
                    <a:lnTo>
                      <a:pt x="1202" y="917"/>
                    </a:lnTo>
                    <a:lnTo>
                      <a:pt x="1202" y="915"/>
                    </a:lnTo>
                    <a:lnTo>
                      <a:pt x="1200" y="915"/>
                    </a:lnTo>
                    <a:lnTo>
                      <a:pt x="1200" y="913"/>
                    </a:lnTo>
                    <a:lnTo>
                      <a:pt x="1200" y="912"/>
                    </a:lnTo>
                    <a:lnTo>
                      <a:pt x="1202" y="912"/>
                    </a:lnTo>
                    <a:lnTo>
                      <a:pt x="1200" y="912"/>
                    </a:lnTo>
                    <a:lnTo>
                      <a:pt x="1202" y="910"/>
                    </a:lnTo>
                    <a:lnTo>
                      <a:pt x="1202" y="908"/>
                    </a:lnTo>
                    <a:lnTo>
                      <a:pt x="1202" y="906"/>
                    </a:lnTo>
                    <a:lnTo>
                      <a:pt x="1203" y="906"/>
                    </a:lnTo>
                    <a:lnTo>
                      <a:pt x="1202" y="905"/>
                    </a:lnTo>
                    <a:lnTo>
                      <a:pt x="1203" y="905"/>
                    </a:lnTo>
                    <a:lnTo>
                      <a:pt x="1203" y="903"/>
                    </a:lnTo>
                    <a:lnTo>
                      <a:pt x="1205" y="903"/>
                    </a:lnTo>
                    <a:lnTo>
                      <a:pt x="1205" y="901"/>
                    </a:lnTo>
                    <a:lnTo>
                      <a:pt x="1205" y="900"/>
                    </a:lnTo>
                    <a:lnTo>
                      <a:pt x="1207" y="898"/>
                    </a:lnTo>
                    <a:lnTo>
                      <a:pt x="1205" y="898"/>
                    </a:lnTo>
                    <a:lnTo>
                      <a:pt x="1205" y="896"/>
                    </a:lnTo>
                    <a:lnTo>
                      <a:pt x="1203" y="896"/>
                    </a:lnTo>
                    <a:lnTo>
                      <a:pt x="1203" y="895"/>
                    </a:lnTo>
                    <a:lnTo>
                      <a:pt x="1205" y="895"/>
                    </a:lnTo>
                    <a:lnTo>
                      <a:pt x="1205" y="893"/>
                    </a:lnTo>
                    <a:lnTo>
                      <a:pt x="1205" y="891"/>
                    </a:lnTo>
                    <a:lnTo>
                      <a:pt x="1205" y="889"/>
                    </a:lnTo>
                    <a:lnTo>
                      <a:pt x="1205" y="888"/>
                    </a:lnTo>
                    <a:lnTo>
                      <a:pt x="1205" y="886"/>
                    </a:lnTo>
                    <a:lnTo>
                      <a:pt x="1207" y="886"/>
                    </a:lnTo>
                    <a:lnTo>
                      <a:pt x="1205" y="886"/>
                    </a:lnTo>
                    <a:lnTo>
                      <a:pt x="1207" y="884"/>
                    </a:lnTo>
                    <a:lnTo>
                      <a:pt x="1205" y="884"/>
                    </a:lnTo>
                    <a:lnTo>
                      <a:pt x="1207" y="884"/>
                    </a:lnTo>
                    <a:lnTo>
                      <a:pt x="1207" y="883"/>
                    </a:lnTo>
                    <a:lnTo>
                      <a:pt x="1208" y="883"/>
                    </a:lnTo>
                    <a:lnTo>
                      <a:pt x="1208" y="881"/>
                    </a:lnTo>
                    <a:lnTo>
                      <a:pt x="1208" y="879"/>
                    </a:lnTo>
                    <a:lnTo>
                      <a:pt x="1208" y="878"/>
                    </a:lnTo>
                    <a:lnTo>
                      <a:pt x="1207" y="878"/>
                    </a:lnTo>
                    <a:lnTo>
                      <a:pt x="1207" y="876"/>
                    </a:lnTo>
                    <a:lnTo>
                      <a:pt x="1207" y="874"/>
                    </a:lnTo>
                    <a:lnTo>
                      <a:pt x="1208" y="872"/>
                    </a:lnTo>
                    <a:lnTo>
                      <a:pt x="1210" y="872"/>
                    </a:lnTo>
                    <a:lnTo>
                      <a:pt x="1212" y="872"/>
                    </a:lnTo>
                    <a:lnTo>
                      <a:pt x="1212" y="871"/>
                    </a:lnTo>
                    <a:lnTo>
                      <a:pt x="1213" y="871"/>
                    </a:lnTo>
                    <a:lnTo>
                      <a:pt x="1213" y="869"/>
                    </a:lnTo>
                    <a:lnTo>
                      <a:pt x="1215" y="869"/>
                    </a:lnTo>
                    <a:lnTo>
                      <a:pt x="1215" y="871"/>
                    </a:lnTo>
                    <a:lnTo>
                      <a:pt x="1217" y="871"/>
                    </a:lnTo>
                    <a:lnTo>
                      <a:pt x="1217" y="872"/>
                    </a:lnTo>
                    <a:lnTo>
                      <a:pt x="1217" y="871"/>
                    </a:lnTo>
                    <a:lnTo>
                      <a:pt x="1217" y="872"/>
                    </a:lnTo>
                    <a:lnTo>
                      <a:pt x="1217" y="871"/>
                    </a:lnTo>
                    <a:lnTo>
                      <a:pt x="1219" y="871"/>
                    </a:lnTo>
                    <a:lnTo>
                      <a:pt x="1217" y="871"/>
                    </a:lnTo>
                    <a:lnTo>
                      <a:pt x="1217" y="869"/>
                    </a:lnTo>
                    <a:lnTo>
                      <a:pt x="1219" y="869"/>
                    </a:lnTo>
                    <a:lnTo>
                      <a:pt x="1220" y="869"/>
                    </a:lnTo>
                    <a:lnTo>
                      <a:pt x="1222" y="869"/>
                    </a:lnTo>
                    <a:lnTo>
                      <a:pt x="1220" y="867"/>
                    </a:lnTo>
                    <a:lnTo>
                      <a:pt x="1220" y="869"/>
                    </a:lnTo>
                    <a:lnTo>
                      <a:pt x="1219" y="869"/>
                    </a:lnTo>
                    <a:lnTo>
                      <a:pt x="1217" y="869"/>
                    </a:lnTo>
                    <a:lnTo>
                      <a:pt x="1217" y="867"/>
                    </a:lnTo>
                    <a:lnTo>
                      <a:pt x="1217" y="866"/>
                    </a:lnTo>
                    <a:lnTo>
                      <a:pt x="1217" y="864"/>
                    </a:lnTo>
                    <a:lnTo>
                      <a:pt x="1217" y="862"/>
                    </a:lnTo>
                    <a:lnTo>
                      <a:pt x="1217" y="861"/>
                    </a:lnTo>
                    <a:lnTo>
                      <a:pt x="1219" y="861"/>
                    </a:lnTo>
                    <a:lnTo>
                      <a:pt x="1219" y="859"/>
                    </a:lnTo>
                    <a:lnTo>
                      <a:pt x="1220" y="859"/>
                    </a:lnTo>
                    <a:lnTo>
                      <a:pt x="1220" y="857"/>
                    </a:lnTo>
                    <a:lnTo>
                      <a:pt x="1220" y="855"/>
                    </a:lnTo>
                    <a:lnTo>
                      <a:pt x="1222" y="855"/>
                    </a:lnTo>
                    <a:lnTo>
                      <a:pt x="1222" y="854"/>
                    </a:lnTo>
                    <a:lnTo>
                      <a:pt x="1222" y="852"/>
                    </a:lnTo>
                    <a:lnTo>
                      <a:pt x="1220" y="852"/>
                    </a:lnTo>
                    <a:lnTo>
                      <a:pt x="1220" y="850"/>
                    </a:lnTo>
                    <a:lnTo>
                      <a:pt x="1222" y="850"/>
                    </a:lnTo>
                    <a:lnTo>
                      <a:pt x="1224" y="850"/>
                    </a:lnTo>
                    <a:lnTo>
                      <a:pt x="1222" y="850"/>
                    </a:lnTo>
                    <a:lnTo>
                      <a:pt x="1222" y="849"/>
                    </a:lnTo>
                    <a:lnTo>
                      <a:pt x="1224" y="849"/>
                    </a:lnTo>
                    <a:lnTo>
                      <a:pt x="1222" y="849"/>
                    </a:lnTo>
                    <a:lnTo>
                      <a:pt x="1224" y="849"/>
                    </a:lnTo>
                    <a:lnTo>
                      <a:pt x="1224" y="847"/>
                    </a:lnTo>
                    <a:lnTo>
                      <a:pt x="1222" y="845"/>
                    </a:lnTo>
                    <a:lnTo>
                      <a:pt x="1222" y="844"/>
                    </a:lnTo>
                    <a:lnTo>
                      <a:pt x="1222" y="842"/>
                    </a:lnTo>
                    <a:lnTo>
                      <a:pt x="1222" y="840"/>
                    </a:lnTo>
                    <a:lnTo>
                      <a:pt x="1222" y="838"/>
                    </a:lnTo>
                    <a:lnTo>
                      <a:pt x="1220" y="838"/>
                    </a:lnTo>
                    <a:lnTo>
                      <a:pt x="1220" y="837"/>
                    </a:lnTo>
                    <a:lnTo>
                      <a:pt x="1220" y="835"/>
                    </a:lnTo>
                    <a:lnTo>
                      <a:pt x="1220" y="833"/>
                    </a:lnTo>
                    <a:lnTo>
                      <a:pt x="1219" y="832"/>
                    </a:lnTo>
                    <a:lnTo>
                      <a:pt x="1219" y="830"/>
                    </a:lnTo>
                    <a:lnTo>
                      <a:pt x="1219" y="828"/>
                    </a:lnTo>
                    <a:lnTo>
                      <a:pt x="1219" y="827"/>
                    </a:lnTo>
                    <a:lnTo>
                      <a:pt x="1217" y="827"/>
                    </a:lnTo>
                    <a:lnTo>
                      <a:pt x="1217" y="825"/>
                    </a:lnTo>
                    <a:lnTo>
                      <a:pt x="1217" y="823"/>
                    </a:lnTo>
                    <a:lnTo>
                      <a:pt x="1217" y="821"/>
                    </a:lnTo>
                    <a:lnTo>
                      <a:pt x="1215" y="821"/>
                    </a:lnTo>
                    <a:lnTo>
                      <a:pt x="1217" y="820"/>
                    </a:lnTo>
                    <a:lnTo>
                      <a:pt x="1215" y="820"/>
                    </a:lnTo>
                    <a:lnTo>
                      <a:pt x="1215" y="821"/>
                    </a:lnTo>
                    <a:lnTo>
                      <a:pt x="1217" y="821"/>
                    </a:lnTo>
                    <a:lnTo>
                      <a:pt x="1215" y="821"/>
                    </a:lnTo>
                    <a:lnTo>
                      <a:pt x="1215" y="820"/>
                    </a:lnTo>
                    <a:lnTo>
                      <a:pt x="1213" y="818"/>
                    </a:lnTo>
                    <a:lnTo>
                      <a:pt x="1213" y="816"/>
                    </a:lnTo>
                    <a:lnTo>
                      <a:pt x="1213" y="815"/>
                    </a:lnTo>
                    <a:lnTo>
                      <a:pt x="1213" y="813"/>
                    </a:lnTo>
                    <a:lnTo>
                      <a:pt x="1213" y="811"/>
                    </a:lnTo>
                    <a:lnTo>
                      <a:pt x="1212" y="809"/>
                    </a:lnTo>
                    <a:lnTo>
                      <a:pt x="1213" y="809"/>
                    </a:lnTo>
                    <a:lnTo>
                      <a:pt x="1212" y="809"/>
                    </a:lnTo>
                    <a:lnTo>
                      <a:pt x="1212" y="808"/>
                    </a:lnTo>
                    <a:lnTo>
                      <a:pt x="1212" y="806"/>
                    </a:lnTo>
                    <a:lnTo>
                      <a:pt x="1212" y="804"/>
                    </a:lnTo>
                    <a:lnTo>
                      <a:pt x="1213" y="804"/>
                    </a:lnTo>
                    <a:lnTo>
                      <a:pt x="1213" y="803"/>
                    </a:lnTo>
                    <a:lnTo>
                      <a:pt x="1213" y="801"/>
                    </a:lnTo>
                    <a:lnTo>
                      <a:pt x="1213" y="799"/>
                    </a:lnTo>
                    <a:lnTo>
                      <a:pt x="1213" y="798"/>
                    </a:lnTo>
                    <a:lnTo>
                      <a:pt x="1215" y="798"/>
                    </a:lnTo>
                    <a:lnTo>
                      <a:pt x="1215" y="796"/>
                    </a:lnTo>
                    <a:lnTo>
                      <a:pt x="1215" y="794"/>
                    </a:lnTo>
                    <a:lnTo>
                      <a:pt x="1215" y="792"/>
                    </a:lnTo>
                    <a:lnTo>
                      <a:pt x="1215" y="791"/>
                    </a:lnTo>
                    <a:lnTo>
                      <a:pt x="1213" y="789"/>
                    </a:lnTo>
                    <a:lnTo>
                      <a:pt x="1213" y="787"/>
                    </a:lnTo>
                    <a:lnTo>
                      <a:pt x="1213" y="786"/>
                    </a:lnTo>
                    <a:lnTo>
                      <a:pt x="1212" y="784"/>
                    </a:lnTo>
                    <a:lnTo>
                      <a:pt x="1212" y="782"/>
                    </a:lnTo>
                    <a:lnTo>
                      <a:pt x="1210" y="781"/>
                    </a:lnTo>
                    <a:lnTo>
                      <a:pt x="1210" y="779"/>
                    </a:lnTo>
                    <a:lnTo>
                      <a:pt x="1208" y="779"/>
                    </a:lnTo>
                    <a:lnTo>
                      <a:pt x="1208" y="777"/>
                    </a:lnTo>
                    <a:lnTo>
                      <a:pt x="1207" y="775"/>
                    </a:lnTo>
                    <a:lnTo>
                      <a:pt x="1208" y="775"/>
                    </a:lnTo>
                    <a:lnTo>
                      <a:pt x="1208" y="774"/>
                    </a:lnTo>
                    <a:lnTo>
                      <a:pt x="1207" y="774"/>
                    </a:lnTo>
                    <a:lnTo>
                      <a:pt x="1207" y="772"/>
                    </a:lnTo>
                    <a:lnTo>
                      <a:pt x="1207" y="770"/>
                    </a:lnTo>
                    <a:lnTo>
                      <a:pt x="1208" y="772"/>
                    </a:lnTo>
                    <a:lnTo>
                      <a:pt x="1208" y="770"/>
                    </a:lnTo>
                    <a:lnTo>
                      <a:pt x="1208" y="769"/>
                    </a:lnTo>
                    <a:lnTo>
                      <a:pt x="1210" y="769"/>
                    </a:lnTo>
                    <a:lnTo>
                      <a:pt x="1210" y="767"/>
                    </a:lnTo>
                    <a:lnTo>
                      <a:pt x="1210" y="765"/>
                    </a:lnTo>
                    <a:lnTo>
                      <a:pt x="1210" y="764"/>
                    </a:lnTo>
                    <a:lnTo>
                      <a:pt x="1210" y="765"/>
                    </a:lnTo>
                    <a:lnTo>
                      <a:pt x="1210" y="764"/>
                    </a:lnTo>
                    <a:lnTo>
                      <a:pt x="1210" y="762"/>
                    </a:lnTo>
                    <a:lnTo>
                      <a:pt x="1208" y="762"/>
                    </a:lnTo>
                    <a:lnTo>
                      <a:pt x="1207" y="760"/>
                    </a:lnTo>
                    <a:lnTo>
                      <a:pt x="1207" y="762"/>
                    </a:lnTo>
                    <a:lnTo>
                      <a:pt x="1207" y="760"/>
                    </a:lnTo>
                    <a:lnTo>
                      <a:pt x="1208" y="758"/>
                    </a:lnTo>
                    <a:lnTo>
                      <a:pt x="1207" y="758"/>
                    </a:lnTo>
                    <a:lnTo>
                      <a:pt x="1208" y="757"/>
                    </a:lnTo>
                    <a:lnTo>
                      <a:pt x="1208" y="755"/>
                    </a:lnTo>
                    <a:lnTo>
                      <a:pt x="1208" y="753"/>
                    </a:lnTo>
                    <a:lnTo>
                      <a:pt x="1210" y="752"/>
                    </a:lnTo>
                    <a:lnTo>
                      <a:pt x="1212" y="753"/>
                    </a:lnTo>
                    <a:lnTo>
                      <a:pt x="1210" y="753"/>
                    </a:lnTo>
                    <a:lnTo>
                      <a:pt x="1212" y="755"/>
                    </a:lnTo>
                    <a:lnTo>
                      <a:pt x="1213" y="755"/>
                    </a:lnTo>
                    <a:lnTo>
                      <a:pt x="1213" y="753"/>
                    </a:lnTo>
                    <a:lnTo>
                      <a:pt x="1213" y="755"/>
                    </a:lnTo>
                    <a:lnTo>
                      <a:pt x="1215" y="755"/>
                    </a:lnTo>
                    <a:lnTo>
                      <a:pt x="1215" y="757"/>
                    </a:lnTo>
                    <a:lnTo>
                      <a:pt x="1215" y="755"/>
                    </a:lnTo>
                    <a:lnTo>
                      <a:pt x="1217" y="755"/>
                    </a:lnTo>
                    <a:lnTo>
                      <a:pt x="1219" y="755"/>
                    </a:lnTo>
                    <a:lnTo>
                      <a:pt x="1220" y="755"/>
                    </a:lnTo>
                    <a:lnTo>
                      <a:pt x="1222" y="755"/>
                    </a:lnTo>
                    <a:lnTo>
                      <a:pt x="1222" y="753"/>
                    </a:lnTo>
                    <a:lnTo>
                      <a:pt x="1224" y="753"/>
                    </a:lnTo>
                    <a:lnTo>
                      <a:pt x="1224" y="752"/>
                    </a:lnTo>
                    <a:lnTo>
                      <a:pt x="1225" y="750"/>
                    </a:lnTo>
                    <a:lnTo>
                      <a:pt x="1224" y="750"/>
                    </a:lnTo>
                    <a:lnTo>
                      <a:pt x="1224" y="748"/>
                    </a:lnTo>
                    <a:lnTo>
                      <a:pt x="1225" y="748"/>
                    </a:lnTo>
                    <a:lnTo>
                      <a:pt x="1225" y="747"/>
                    </a:lnTo>
                    <a:lnTo>
                      <a:pt x="1224" y="747"/>
                    </a:lnTo>
                    <a:lnTo>
                      <a:pt x="1224" y="745"/>
                    </a:lnTo>
                    <a:lnTo>
                      <a:pt x="1224" y="743"/>
                    </a:lnTo>
                    <a:lnTo>
                      <a:pt x="1225" y="743"/>
                    </a:lnTo>
                    <a:lnTo>
                      <a:pt x="1225" y="741"/>
                    </a:lnTo>
                    <a:lnTo>
                      <a:pt x="1225" y="740"/>
                    </a:lnTo>
                    <a:lnTo>
                      <a:pt x="1225" y="738"/>
                    </a:lnTo>
                    <a:lnTo>
                      <a:pt x="1227" y="738"/>
                    </a:lnTo>
                    <a:lnTo>
                      <a:pt x="1227" y="740"/>
                    </a:lnTo>
                    <a:lnTo>
                      <a:pt x="1229" y="738"/>
                    </a:lnTo>
                    <a:lnTo>
                      <a:pt x="1227" y="738"/>
                    </a:lnTo>
                    <a:lnTo>
                      <a:pt x="1225" y="738"/>
                    </a:lnTo>
                    <a:lnTo>
                      <a:pt x="1224" y="738"/>
                    </a:lnTo>
                    <a:lnTo>
                      <a:pt x="1224" y="736"/>
                    </a:lnTo>
                    <a:lnTo>
                      <a:pt x="1222" y="736"/>
                    </a:lnTo>
                    <a:lnTo>
                      <a:pt x="1224" y="736"/>
                    </a:lnTo>
                    <a:lnTo>
                      <a:pt x="1224" y="735"/>
                    </a:lnTo>
                    <a:lnTo>
                      <a:pt x="1224" y="736"/>
                    </a:lnTo>
                    <a:lnTo>
                      <a:pt x="1225" y="735"/>
                    </a:lnTo>
                    <a:lnTo>
                      <a:pt x="1225" y="733"/>
                    </a:lnTo>
                    <a:lnTo>
                      <a:pt x="1225" y="731"/>
                    </a:lnTo>
                    <a:lnTo>
                      <a:pt x="1225" y="730"/>
                    </a:lnTo>
                    <a:lnTo>
                      <a:pt x="1227" y="730"/>
                    </a:lnTo>
                    <a:lnTo>
                      <a:pt x="1227" y="731"/>
                    </a:lnTo>
                    <a:lnTo>
                      <a:pt x="1227" y="733"/>
                    </a:lnTo>
                    <a:lnTo>
                      <a:pt x="1225" y="733"/>
                    </a:lnTo>
                    <a:lnTo>
                      <a:pt x="1227" y="735"/>
                    </a:lnTo>
                    <a:lnTo>
                      <a:pt x="1229" y="735"/>
                    </a:lnTo>
                    <a:lnTo>
                      <a:pt x="1230" y="735"/>
                    </a:lnTo>
                    <a:lnTo>
                      <a:pt x="1230" y="733"/>
                    </a:lnTo>
                    <a:lnTo>
                      <a:pt x="1230" y="731"/>
                    </a:lnTo>
                    <a:lnTo>
                      <a:pt x="1232" y="730"/>
                    </a:lnTo>
                    <a:lnTo>
                      <a:pt x="1230" y="730"/>
                    </a:lnTo>
                    <a:lnTo>
                      <a:pt x="1230" y="728"/>
                    </a:lnTo>
                    <a:lnTo>
                      <a:pt x="1230" y="726"/>
                    </a:lnTo>
                    <a:lnTo>
                      <a:pt x="1232" y="726"/>
                    </a:lnTo>
                    <a:lnTo>
                      <a:pt x="1232" y="724"/>
                    </a:lnTo>
                    <a:lnTo>
                      <a:pt x="1234" y="724"/>
                    </a:lnTo>
                    <a:lnTo>
                      <a:pt x="1232" y="724"/>
                    </a:lnTo>
                    <a:lnTo>
                      <a:pt x="1232" y="723"/>
                    </a:lnTo>
                    <a:lnTo>
                      <a:pt x="1234" y="723"/>
                    </a:lnTo>
                    <a:lnTo>
                      <a:pt x="1234" y="721"/>
                    </a:lnTo>
                    <a:lnTo>
                      <a:pt x="1234" y="719"/>
                    </a:lnTo>
                    <a:lnTo>
                      <a:pt x="1236" y="718"/>
                    </a:lnTo>
                    <a:lnTo>
                      <a:pt x="1236" y="716"/>
                    </a:lnTo>
                    <a:lnTo>
                      <a:pt x="1236" y="714"/>
                    </a:lnTo>
                    <a:lnTo>
                      <a:pt x="1236" y="713"/>
                    </a:lnTo>
                    <a:lnTo>
                      <a:pt x="1236" y="711"/>
                    </a:lnTo>
                    <a:lnTo>
                      <a:pt x="1237" y="711"/>
                    </a:lnTo>
                    <a:lnTo>
                      <a:pt x="1237" y="709"/>
                    </a:lnTo>
                    <a:lnTo>
                      <a:pt x="1236" y="707"/>
                    </a:lnTo>
                    <a:lnTo>
                      <a:pt x="1237" y="707"/>
                    </a:lnTo>
                    <a:lnTo>
                      <a:pt x="1237" y="706"/>
                    </a:lnTo>
                    <a:lnTo>
                      <a:pt x="1237" y="704"/>
                    </a:lnTo>
                    <a:lnTo>
                      <a:pt x="1237" y="702"/>
                    </a:lnTo>
                    <a:lnTo>
                      <a:pt x="1239" y="702"/>
                    </a:lnTo>
                    <a:lnTo>
                      <a:pt x="1239" y="701"/>
                    </a:lnTo>
                    <a:lnTo>
                      <a:pt x="1241" y="701"/>
                    </a:lnTo>
                    <a:lnTo>
                      <a:pt x="1241" y="699"/>
                    </a:lnTo>
                    <a:lnTo>
                      <a:pt x="1242" y="697"/>
                    </a:lnTo>
                    <a:lnTo>
                      <a:pt x="1244" y="696"/>
                    </a:lnTo>
                    <a:lnTo>
                      <a:pt x="1244" y="694"/>
                    </a:lnTo>
                    <a:lnTo>
                      <a:pt x="1244" y="692"/>
                    </a:lnTo>
                    <a:lnTo>
                      <a:pt x="1244" y="690"/>
                    </a:lnTo>
                    <a:lnTo>
                      <a:pt x="1244" y="689"/>
                    </a:lnTo>
                    <a:lnTo>
                      <a:pt x="1242" y="689"/>
                    </a:lnTo>
                    <a:lnTo>
                      <a:pt x="1242" y="687"/>
                    </a:lnTo>
                    <a:lnTo>
                      <a:pt x="1242" y="685"/>
                    </a:lnTo>
                    <a:lnTo>
                      <a:pt x="1244" y="685"/>
                    </a:lnTo>
                    <a:lnTo>
                      <a:pt x="1244" y="684"/>
                    </a:lnTo>
                    <a:lnTo>
                      <a:pt x="1246" y="684"/>
                    </a:lnTo>
                    <a:lnTo>
                      <a:pt x="1246" y="682"/>
                    </a:lnTo>
                    <a:lnTo>
                      <a:pt x="1247" y="682"/>
                    </a:lnTo>
                    <a:lnTo>
                      <a:pt x="1247" y="680"/>
                    </a:lnTo>
                    <a:lnTo>
                      <a:pt x="1247" y="679"/>
                    </a:lnTo>
                    <a:lnTo>
                      <a:pt x="1247" y="677"/>
                    </a:lnTo>
                    <a:lnTo>
                      <a:pt x="1249" y="677"/>
                    </a:lnTo>
                    <a:lnTo>
                      <a:pt x="1249" y="675"/>
                    </a:lnTo>
                    <a:lnTo>
                      <a:pt x="1251" y="675"/>
                    </a:lnTo>
                    <a:lnTo>
                      <a:pt x="1251" y="673"/>
                    </a:lnTo>
                    <a:lnTo>
                      <a:pt x="1251" y="672"/>
                    </a:lnTo>
                    <a:lnTo>
                      <a:pt x="1251" y="670"/>
                    </a:lnTo>
                    <a:lnTo>
                      <a:pt x="1253" y="670"/>
                    </a:lnTo>
                    <a:lnTo>
                      <a:pt x="1254" y="668"/>
                    </a:lnTo>
                    <a:lnTo>
                      <a:pt x="1256" y="668"/>
                    </a:lnTo>
                    <a:lnTo>
                      <a:pt x="1256" y="667"/>
                    </a:lnTo>
                    <a:lnTo>
                      <a:pt x="1258" y="667"/>
                    </a:lnTo>
                    <a:lnTo>
                      <a:pt x="1258" y="665"/>
                    </a:lnTo>
                    <a:lnTo>
                      <a:pt x="1258" y="663"/>
                    </a:lnTo>
                    <a:lnTo>
                      <a:pt x="1258" y="662"/>
                    </a:lnTo>
                    <a:lnTo>
                      <a:pt x="1258" y="660"/>
                    </a:lnTo>
                    <a:lnTo>
                      <a:pt x="1258" y="658"/>
                    </a:lnTo>
                    <a:lnTo>
                      <a:pt x="1258" y="656"/>
                    </a:lnTo>
                    <a:lnTo>
                      <a:pt x="1259" y="656"/>
                    </a:lnTo>
                    <a:lnTo>
                      <a:pt x="1259" y="655"/>
                    </a:lnTo>
                    <a:lnTo>
                      <a:pt x="1259" y="653"/>
                    </a:lnTo>
                    <a:lnTo>
                      <a:pt x="1261" y="651"/>
                    </a:lnTo>
                    <a:lnTo>
                      <a:pt x="1261" y="650"/>
                    </a:lnTo>
                    <a:lnTo>
                      <a:pt x="1263" y="650"/>
                    </a:lnTo>
                    <a:lnTo>
                      <a:pt x="1263" y="648"/>
                    </a:lnTo>
                    <a:lnTo>
                      <a:pt x="1263" y="646"/>
                    </a:lnTo>
                    <a:lnTo>
                      <a:pt x="1263" y="644"/>
                    </a:lnTo>
                    <a:lnTo>
                      <a:pt x="1263" y="643"/>
                    </a:lnTo>
                    <a:lnTo>
                      <a:pt x="1263" y="641"/>
                    </a:lnTo>
                    <a:lnTo>
                      <a:pt x="1263" y="639"/>
                    </a:lnTo>
                    <a:lnTo>
                      <a:pt x="1263" y="638"/>
                    </a:lnTo>
                    <a:lnTo>
                      <a:pt x="1263" y="636"/>
                    </a:lnTo>
                    <a:lnTo>
                      <a:pt x="1264" y="636"/>
                    </a:lnTo>
                    <a:lnTo>
                      <a:pt x="1264" y="634"/>
                    </a:lnTo>
                    <a:lnTo>
                      <a:pt x="1264" y="633"/>
                    </a:lnTo>
                    <a:lnTo>
                      <a:pt x="1264" y="631"/>
                    </a:lnTo>
                    <a:lnTo>
                      <a:pt x="1264" y="629"/>
                    </a:lnTo>
                    <a:lnTo>
                      <a:pt x="1264" y="627"/>
                    </a:lnTo>
                    <a:lnTo>
                      <a:pt x="1263" y="627"/>
                    </a:lnTo>
                    <a:lnTo>
                      <a:pt x="1264" y="627"/>
                    </a:lnTo>
                    <a:lnTo>
                      <a:pt x="1263" y="626"/>
                    </a:lnTo>
                    <a:lnTo>
                      <a:pt x="1264" y="626"/>
                    </a:lnTo>
                    <a:lnTo>
                      <a:pt x="1266" y="624"/>
                    </a:lnTo>
                    <a:lnTo>
                      <a:pt x="1266" y="622"/>
                    </a:lnTo>
                    <a:lnTo>
                      <a:pt x="1268" y="621"/>
                    </a:lnTo>
                    <a:lnTo>
                      <a:pt x="1268" y="619"/>
                    </a:lnTo>
                    <a:lnTo>
                      <a:pt x="1270" y="617"/>
                    </a:lnTo>
                    <a:lnTo>
                      <a:pt x="1270" y="616"/>
                    </a:lnTo>
                    <a:lnTo>
                      <a:pt x="1270" y="614"/>
                    </a:lnTo>
                    <a:lnTo>
                      <a:pt x="1271" y="612"/>
                    </a:lnTo>
                    <a:lnTo>
                      <a:pt x="1273" y="612"/>
                    </a:lnTo>
                    <a:lnTo>
                      <a:pt x="1273" y="610"/>
                    </a:lnTo>
                    <a:lnTo>
                      <a:pt x="1275" y="610"/>
                    </a:lnTo>
                    <a:lnTo>
                      <a:pt x="1275" y="609"/>
                    </a:lnTo>
                    <a:lnTo>
                      <a:pt x="1276" y="609"/>
                    </a:lnTo>
                    <a:lnTo>
                      <a:pt x="1276" y="607"/>
                    </a:lnTo>
                    <a:lnTo>
                      <a:pt x="1276" y="605"/>
                    </a:lnTo>
                    <a:lnTo>
                      <a:pt x="1276" y="604"/>
                    </a:lnTo>
                    <a:lnTo>
                      <a:pt x="1276" y="602"/>
                    </a:lnTo>
                    <a:lnTo>
                      <a:pt x="1276" y="600"/>
                    </a:lnTo>
                    <a:lnTo>
                      <a:pt x="1275" y="599"/>
                    </a:lnTo>
                    <a:lnTo>
                      <a:pt x="1273" y="599"/>
                    </a:lnTo>
                    <a:lnTo>
                      <a:pt x="1275" y="597"/>
                    </a:lnTo>
                    <a:lnTo>
                      <a:pt x="1273" y="597"/>
                    </a:lnTo>
                    <a:lnTo>
                      <a:pt x="1275" y="597"/>
                    </a:lnTo>
                    <a:lnTo>
                      <a:pt x="1275" y="595"/>
                    </a:lnTo>
                    <a:lnTo>
                      <a:pt x="1276" y="593"/>
                    </a:lnTo>
                    <a:lnTo>
                      <a:pt x="1275" y="593"/>
                    </a:lnTo>
                    <a:lnTo>
                      <a:pt x="1275" y="592"/>
                    </a:lnTo>
                    <a:lnTo>
                      <a:pt x="1275" y="590"/>
                    </a:lnTo>
                    <a:lnTo>
                      <a:pt x="1275" y="588"/>
                    </a:lnTo>
                    <a:lnTo>
                      <a:pt x="1273" y="588"/>
                    </a:lnTo>
                    <a:lnTo>
                      <a:pt x="1275" y="588"/>
                    </a:lnTo>
                    <a:lnTo>
                      <a:pt x="1275" y="587"/>
                    </a:lnTo>
                    <a:lnTo>
                      <a:pt x="1273" y="587"/>
                    </a:lnTo>
                    <a:lnTo>
                      <a:pt x="1273" y="585"/>
                    </a:lnTo>
                    <a:lnTo>
                      <a:pt x="1275" y="585"/>
                    </a:lnTo>
                    <a:lnTo>
                      <a:pt x="1275" y="583"/>
                    </a:lnTo>
                    <a:lnTo>
                      <a:pt x="1275" y="582"/>
                    </a:lnTo>
                    <a:lnTo>
                      <a:pt x="1276" y="582"/>
                    </a:lnTo>
                    <a:lnTo>
                      <a:pt x="1278" y="582"/>
                    </a:lnTo>
                    <a:lnTo>
                      <a:pt x="1280" y="580"/>
                    </a:lnTo>
                    <a:lnTo>
                      <a:pt x="1280" y="578"/>
                    </a:lnTo>
                    <a:lnTo>
                      <a:pt x="1278" y="578"/>
                    </a:lnTo>
                    <a:lnTo>
                      <a:pt x="1280" y="578"/>
                    </a:lnTo>
                    <a:lnTo>
                      <a:pt x="1280" y="576"/>
                    </a:lnTo>
                    <a:lnTo>
                      <a:pt x="1280" y="575"/>
                    </a:lnTo>
                    <a:lnTo>
                      <a:pt x="1280" y="573"/>
                    </a:lnTo>
                    <a:lnTo>
                      <a:pt x="1280" y="571"/>
                    </a:lnTo>
                    <a:lnTo>
                      <a:pt x="1281" y="571"/>
                    </a:lnTo>
                    <a:lnTo>
                      <a:pt x="1281" y="570"/>
                    </a:lnTo>
                    <a:lnTo>
                      <a:pt x="1280" y="570"/>
                    </a:lnTo>
                    <a:lnTo>
                      <a:pt x="1281" y="570"/>
                    </a:lnTo>
                    <a:lnTo>
                      <a:pt x="1281" y="568"/>
                    </a:lnTo>
                    <a:lnTo>
                      <a:pt x="1283" y="568"/>
                    </a:lnTo>
                    <a:lnTo>
                      <a:pt x="1283" y="566"/>
                    </a:lnTo>
                    <a:lnTo>
                      <a:pt x="1283" y="565"/>
                    </a:lnTo>
                    <a:lnTo>
                      <a:pt x="1281" y="565"/>
                    </a:lnTo>
                    <a:lnTo>
                      <a:pt x="1281" y="563"/>
                    </a:lnTo>
                    <a:lnTo>
                      <a:pt x="1281" y="561"/>
                    </a:lnTo>
                    <a:lnTo>
                      <a:pt x="1283" y="561"/>
                    </a:lnTo>
                    <a:lnTo>
                      <a:pt x="1283" y="559"/>
                    </a:lnTo>
                    <a:lnTo>
                      <a:pt x="1283" y="558"/>
                    </a:lnTo>
                    <a:lnTo>
                      <a:pt x="1285" y="556"/>
                    </a:lnTo>
                    <a:lnTo>
                      <a:pt x="1283" y="556"/>
                    </a:lnTo>
                    <a:lnTo>
                      <a:pt x="1283" y="554"/>
                    </a:lnTo>
                    <a:lnTo>
                      <a:pt x="1281" y="554"/>
                    </a:lnTo>
                    <a:lnTo>
                      <a:pt x="1281" y="553"/>
                    </a:lnTo>
                    <a:lnTo>
                      <a:pt x="1281" y="551"/>
                    </a:lnTo>
                    <a:lnTo>
                      <a:pt x="1280" y="549"/>
                    </a:lnTo>
                    <a:lnTo>
                      <a:pt x="1280" y="548"/>
                    </a:lnTo>
                    <a:lnTo>
                      <a:pt x="1280" y="546"/>
                    </a:lnTo>
                    <a:lnTo>
                      <a:pt x="1280" y="544"/>
                    </a:lnTo>
                    <a:lnTo>
                      <a:pt x="1280" y="542"/>
                    </a:lnTo>
                    <a:lnTo>
                      <a:pt x="1280" y="541"/>
                    </a:lnTo>
                    <a:lnTo>
                      <a:pt x="1280" y="539"/>
                    </a:lnTo>
                    <a:lnTo>
                      <a:pt x="1281" y="539"/>
                    </a:lnTo>
                    <a:lnTo>
                      <a:pt x="1280" y="539"/>
                    </a:lnTo>
                    <a:lnTo>
                      <a:pt x="1280" y="537"/>
                    </a:lnTo>
                    <a:lnTo>
                      <a:pt x="1281" y="536"/>
                    </a:lnTo>
                    <a:lnTo>
                      <a:pt x="1280" y="536"/>
                    </a:lnTo>
                    <a:lnTo>
                      <a:pt x="1280" y="534"/>
                    </a:lnTo>
                    <a:lnTo>
                      <a:pt x="1278" y="536"/>
                    </a:lnTo>
                    <a:lnTo>
                      <a:pt x="1278" y="534"/>
                    </a:lnTo>
                    <a:lnTo>
                      <a:pt x="1280" y="534"/>
                    </a:lnTo>
                    <a:lnTo>
                      <a:pt x="1280" y="532"/>
                    </a:lnTo>
                    <a:lnTo>
                      <a:pt x="1280" y="531"/>
                    </a:lnTo>
                    <a:lnTo>
                      <a:pt x="1280" y="529"/>
                    </a:lnTo>
                    <a:lnTo>
                      <a:pt x="1278" y="527"/>
                    </a:lnTo>
                    <a:lnTo>
                      <a:pt x="1278" y="525"/>
                    </a:lnTo>
                    <a:lnTo>
                      <a:pt x="1278" y="524"/>
                    </a:lnTo>
                    <a:lnTo>
                      <a:pt x="1278" y="522"/>
                    </a:lnTo>
                    <a:lnTo>
                      <a:pt x="1278" y="520"/>
                    </a:lnTo>
                    <a:lnTo>
                      <a:pt x="1278" y="519"/>
                    </a:lnTo>
                    <a:lnTo>
                      <a:pt x="1278" y="517"/>
                    </a:lnTo>
                    <a:lnTo>
                      <a:pt x="1276" y="517"/>
                    </a:lnTo>
                    <a:lnTo>
                      <a:pt x="1276" y="515"/>
                    </a:lnTo>
                    <a:lnTo>
                      <a:pt x="1276" y="514"/>
                    </a:lnTo>
                    <a:lnTo>
                      <a:pt x="1276" y="512"/>
                    </a:lnTo>
                    <a:lnTo>
                      <a:pt x="1276" y="510"/>
                    </a:lnTo>
                    <a:lnTo>
                      <a:pt x="1275" y="508"/>
                    </a:lnTo>
                    <a:lnTo>
                      <a:pt x="1276" y="508"/>
                    </a:lnTo>
                    <a:lnTo>
                      <a:pt x="1275" y="508"/>
                    </a:lnTo>
                    <a:lnTo>
                      <a:pt x="1275" y="507"/>
                    </a:lnTo>
                    <a:lnTo>
                      <a:pt x="1275" y="505"/>
                    </a:lnTo>
                    <a:lnTo>
                      <a:pt x="1276" y="505"/>
                    </a:lnTo>
                    <a:lnTo>
                      <a:pt x="1275" y="505"/>
                    </a:lnTo>
                    <a:lnTo>
                      <a:pt x="1275" y="503"/>
                    </a:lnTo>
                    <a:lnTo>
                      <a:pt x="1275" y="502"/>
                    </a:lnTo>
                    <a:lnTo>
                      <a:pt x="1276" y="502"/>
                    </a:lnTo>
                    <a:lnTo>
                      <a:pt x="1275" y="500"/>
                    </a:lnTo>
                    <a:lnTo>
                      <a:pt x="1276" y="500"/>
                    </a:lnTo>
                    <a:lnTo>
                      <a:pt x="1275" y="500"/>
                    </a:lnTo>
                    <a:lnTo>
                      <a:pt x="1275" y="498"/>
                    </a:lnTo>
                    <a:lnTo>
                      <a:pt x="1275" y="497"/>
                    </a:lnTo>
                    <a:lnTo>
                      <a:pt x="1275" y="495"/>
                    </a:lnTo>
                    <a:lnTo>
                      <a:pt x="1275" y="493"/>
                    </a:lnTo>
                    <a:lnTo>
                      <a:pt x="1273" y="493"/>
                    </a:lnTo>
                    <a:lnTo>
                      <a:pt x="1273" y="491"/>
                    </a:lnTo>
                    <a:lnTo>
                      <a:pt x="1275" y="490"/>
                    </a:lnTo>
                    <a:lnTo>
                      <a:pt x="1273" y="490"/>
                    </a:lnTo>
                    <a:lnTo>
                      <a:pt x="1275" y="490"/>
                    </a:lnTo>
                    <a:lnTo>
                      <a:pt x="1275" y="488"/>
                    </a:lnTo>
                    <a:lnTo>
                      <a:pt x="1273" y="488"/>
                    </a:lnTo>
                    <a:lnTo>
                      <a:pt x="1273" y="486"/>
                    </a:lnTo>
                    <a:lnTo>
                      <a:pt x="1273" y="485"/>
                    </a:lnTo>
                    <a:lnTo>
                      <a:pt x="1273" y="483"/>
                    </a:lnTo>
                    <a:lnTo>
                      <a:pt x="1275" y="483"/>
                    </a:lnTo>
                    <a:lnTo>
                      <a:pt x="1275" y="481"/>
                    </a:lnTo>
                    <a:lnTo>
                      <a:pt x="1275" y="479"/>
                    </a:lnTo>
                    <a:lnTo>
                      <a:pt x="1275" y="478"/>
                    </a:lnTo>
                    <a:lnTo>
                      <a:pt x="1275" y="476"/>
                    </a:lnTo>
                    <a:lnTo>
                      <a:pt x="1275" y="474"/>
                    </a:lnTo>
                    <a:lnTo>
                      <a:pt x="1275" y="473"/>
                    </a:lnTo>
                    <a:lnTo>
                      <a:pt x="1276" y="473"/>
                    </a:lnTo>
                    <a:lnTo>
                      <a:pt x="1276" y="471"/>
                    </a:lnTo>
                    <a:lnTo>
                      <a:pt x="1276" y="473"/>
                    </a:lnTo>
                    <a:lnTo>
                      <a:pt x="1278" y="474"/>
                    </a:lnTo>
                    <a:lnTo>
                      <a:pt x="1278" y="473"/>
                    </a:lnTo>
                    <a:lnTo>
                      <a:pt x="1280" y="473"/>
                    </a:lnTo>
                    <a:lnTo>
                      <a:pt x="1281" y="473"/>
                    </a:lnTo>
                    <a:lnTo>
                      <a:pt x="1280" y="471"/>
                    </a:lnTo>
                    <a:lnTo>
                      <a:pt x="1281" y="471"/>
                    </a:lnTo>
                    <a:lnTo>
                      <a:pt x="1281" y="469"/>
                    </a:lnTo>
                    <a:lnTo>
                      <a:pt x="1283" y="468"/>
                    </a:lnTo>
                    <a:lnTo>
                      <a:pt x="1283" y="469"/>
                    </a:lnTo>
                    <a:lnTo>
                      <a:pt x="1285" y="469"/>
                    </a:lnTo>
                    <a:lnTo>
                      <a:pt x="1285" y="468"/>
                    </a:lnTo>
                    <a:lnTo>
                      <a:pt x="1285" y="466"/>
                    </a:lnTo>
                    <a:lnTo>
                      <a:pt x="1285" y="464"/>
                    </a:lnTo>
                    <a:lnTo>
                      <a:pt x="1285" y="462"/>
                    </a:lnTo>
                    <a:lnTo>
                      <a:pt x="1283" y="462"/>
                    </a:lnTo>
                    <a:lnTo>
                      <a:pt x="1285" y="461"/>
                    </a:lnTo>
                    <a:lnTo>
                      <a:pt x="1285" y="459"/>
                    </a:lnTo>
                    <a:lnTo>
                      <a:pt x="1287" y="459"/>
                    </a:lnTo>
                    <a:lnTo>
                      <a:pt x="1287" y="461"/>
                    </a:lnTo>
                    <a:lnTo>
                      <a:pt x="1287" y="459"/>
                    </a:lnTo>
                    <a:lnTo>
                      <a:pt x="1288" y="459"/>
                    </a:lnTo>
                    <a:lnTo>
                      <a:pt x="1288" y="457"/>
                    </a:lnTo>
                    <a:lnTo>
                      <a:pt x="1288" y="456"/>
                    </a:lnTo>
                    <a:lnTo>
                      <a:pt x="1287" y="454"/>
                    </a:lnTo>
                    <a:lnTo>
                      <a:pt x="1287" y="452"/>
                    </a:lnTo>
                    <a:lnTo>
                      <a:pt x="1287" y="451"/>
                    </a:lnTo>
                    <a:lnTo>
                      <a:pt x="1287" y="449"/>
                    </a:lnTo>
                    <a:lnTo>
                      <a:pt x="1287" y="447"/>
                    </a:lnTo>
                    <a:lnTo>
                      <a:pt x="1288" y="447"/>
                    </a:lnTo>
                    <a:lnTo>
                      <a:pt x="1288" y="445"/>
                    </a:lnTo>
                    <a:lnTo>
                      <a:pt x="1287" y="445"/>
                    </a:lnTo>
                    <a:lnTo>
                      <a:pt x="1287" y="444"/>
                    </a:lnTo>
                    <a:lnTo>
                      <a:pt x="1287" y="442"/>
                    </a:lnTo>
                    <a:lnTo>
                      <a:pt x="1287" y="440"/>
                    </a:lnTo>
                    <a:lnTo>
                      <a:pt x="1287" y="439"/>
                    </a:lnTo>
                    <a:lnTo>
                      <a:pt x="1287" y="437"/>
                    </a:lnTo>
                    <a:lnTo>
                      <a:pt x="1287" y="435"/>
                    </a:lnTo>
                    <a:lnTo>
                      <a:pt x="1285" y="435"/>
                    </a:lnTo>
                    <a:lnTo>
                      <a:pt x="1285" y="434"/>
                    </a:lnTo>
                    <a:lnTo>
                      <a:pt x="1283" y="434"/>
                    </a:lnTo>
                    <a:lnTo>
                      <a:pt x="1281" y="432"/>
                    </a:lnTo>
                    <a:lnTo>
                      <a:pt x="1281" y="430"/>
                    </a:lnTo>
                    <a:lnTo>
                      <a:pt x="1280" y="428"/>
                    </a:lnTo>
                    <a:lnTo>
                      <a:pt x="1281" y="428"/>
                    </a:lnTo>
                    <a:lnTo>
                      <a:pt x="1281" y="427"/>
                    </a:lnTo>
                    <a:lnTo>
                      <a:pt x="1280" y="427"/>
                    </a:lnTo>
                    <a:lnTo>
                      <a:pt x="1281" y="425"/>
                    </a:lnTo>
                    <a:lnTo>
                      <a:pt x="1280" y="423"/>
                    </a:lnTo>
                    <a:lnTo>
                      <a:pt x="1281" y="423"/>
                    </a:lnTo>
                    <a:lnTo>
                      <a:pt x="1281" y="422"/>
                    </a:lnTo>
                    <a:lnTo>
                      <a:pt x="1280" y="422"/>
                    </a:lnTo>
                    <a:lnTo>
                      <a:pt x="1280" y="420"/>
                    </a:lnTo>
                    <a:lnTo>
                      <a:pt x="1280" y="418"/>
                    </a:lnTo>
                    <a:lnTo>
                      <a:pt x="1281" y="418"/>
                    </a:lnTo>
                    <a:lnTo>
                      <a:pt x="1281" y="417"/>
                    </a:lnTo>
                    <a:lnTo>
                      <a:pt x="1283" y="417"/>
                    </a:lnTo>
                    <a:lnTo>
                      <a:pt x="1285" y="415"/>
                    </a:lnTo>
                    <a:lnTo>
                      <a:pt x="1285" y="413"/>
                    </a:lnTo>
                    <a:lnTo>
                      <a:pt x="1287" y="411"/>
                    </a:lnTo>
                    <a:lnTo>
                      <a:pt x="1288" y="411"/>
                    </a:lnTo>
                    <a:lnTo>
                      <a:pt x="1288" y="410"/>
                    </a:lnTo>
                    <a:lnTo>
                      <a:pt x="1288" y="408"/>
                    </a:lnTo>
                    <a:lnTo>
                      <a:pt x="1287" y="408"/>
                    </a:lnTo>
                    <a:lnTo>
                      <a:pt x="1287" y="406"/>
                    </a:lnTo>
                    <a:lnTo>
                      <a:pt x="1288" y="406"/>
                    </a:lnTo>
                    <a:lnTo>
                      <a:pt x="1288" y="405"/>
                    </a:lnTo>
                    <a:lnTo>
                      <a:pt x="1288" y="403"/>
                    </a:lnTo>
                    <a:lnTo>
                      <a:pt x="1290" y="403"/>
                    </a:lnTo>
                    <a:lnTo>
                      <a:pt x="1290" y="401"/>
                    </a:lnTo>
                    <a:lnTo>
                      <a:pt x="1292" y="400"/>
                    </a:lnTo>
                    <a:lnTo>
                      <a:pt x="1292" y="398"/>
                    </a:lnTo>
                    <a:lnTo>
                      <a:pt x="1292" y="396"/>
                    </a:lnTo>
                    <a:lnTo>
                      <a:pt x="1290" y="396"/>
                    </a:lnTo>
                    <a:lnTo>
                      <a:pt x="1292" y="396"/>
                    </a:lnTo>
                    <a:lnTo>
                      <a:pt x="1292" y="394"/>
                    </a:lnTo>
                    <a:lnTo>
                      <a:pt x="1292" y="393"/>
                    </a:lnTo>
                    <a:lnTo>
                      <a:pt x="1292" y="391"/>
                    </a:lnTo>
                    <a:lnTo>
                      <a:pt x="1292" y="389"/>
                    </a:lnTo>
                    <a:lnTo>
                      <a:pt x="1292" y="388"/>
                    </a:lnTo>
                    <a:lnTo>
                      <a:pt x="1293" y="388"/>
                    </a:lnTo>
                    <a:lnTo>
                      <a:pt x="1292" y="386"/>
                    </a:lnTo>
                    <a:lnTo>
                      <a:pt x="1293" y="386"/>
                    </a:lnTo>
                    <a:lnTo>
                      <a:pt x="1292" y="386"/>
                    </a:lnTo>
                    <a:lnTo>
                      <a:pt x="1293" y="386"/>
                    </a:lnTo>
                    <a:lnTo>
                      <a:pt x="1292" y="384"/>
                    </a:lnTo>
                    <a:lnTo>
                      <a:pt x="1293" y="384"/>
                    </a:lnTo>
                    <a:lnTo>
                      <a:pt x="1292" y="384"/>
                    </a:lnTo>
                    <a:lnTo>
                      <a:pt x="1293" y="383"/>
                    </a:lnTo>
                    <a:lnTo>
                      <a:pt x="1293" y="381"/>
                    </a:lnTo>
                    <a:lnTo>
                      <a:pt x="1293" y="379"/>
                    </a:lnTo>
                    <a:lnTo>
                      <a:pt x="1295" y="377"/>
                    </a:lnTo>
                    <a:lnTo>
                      <a:pt x="1295" y="376"/>
                    </a:lnTo>
                    <a:lnTo>
                      <a:pt x="1295" y="374"/>
                    </a:lnTo>
                    <a:lnTo>
                      <a:pt x="1297" y="374"/>
                    </a:lnTo>
                    <a:lnTo>
                      <a:pt x="1297" y="372"/>
                    </a:lnTo>
                    <a:lnTo>
                      <a:pt x="1298" y="372"/>
                    </a:lnTo>
                    <a:lnTo>
                      <a:pt x="1300" y="372"/>
                    </a:lnTo>
                    <a:lnTo>
                      <a:pt x="1300" y="371"/>
                    </a:lnTo>
                    <a:lnTo>
                      <a:pt x="1300" y="369"/>
                    </a:lnTo>
                    <a:lnTo>
                      <a:pt x="1300" y="367"/>
                    </a:lnTo>
                    <a:lnTo>
                      <a:pt x="1302" y="367"/>
                    </a:lnTo>
                    <a:lnTo>
                      <a:pt x="1302" y="366"/>
                    </a:lnTo>
                    <a:lnTo>
                      <a:pt x="1300" y="366"/>
                    </a:lnTo>
                    <a:lnTo>
                      <a:pt x="1302" y="366"/>
                    </a:lnTo>
                    <a:lnTo>
                      <a:pt x="1300" y="364"/>
                    </a:lnTo>
                    <a:lnTo>
                      <a:pt x="1300" y="362"/>
                    </a:lnTo>
                    <a:lnTo>
                      <a:pt x="1298" y="360"/>
                    </a:lnTo>
                    <a:lnTo>
                      <a:pt x="1300" y="359"/>
                    </a:lnTo>
                    <a:lnTo>
                      <a:pt x="1300" y="357"/>
                    </a:lnTo>
                    <a:lnTo>
                      <a:pt x="1298" y="357"/>
                    </a:lnTo>
                    <a:lnTo>
                      <a:pt x="1298" y="355"/>
                    </a:lnTo>
                    <a:lnTo>
                      <a:pt x="1298" y="354"/>
                    </a:lnTo>
                    <a:lnTo>
                      <a:pt x="1298" y="352"/>
                    </a:lnTo>
                    <a:lnTo>
                      <a:pt x="1300" y="350"/>
                    </a:lnTo>
                    <a:lnTo>
                      <a:pt x="1300" y="352"/>
                    </a:lnTo>
                    <a:lnTo>
                      <a:pt x="1302" y="352"/>
                    </a:lnTo>
                    <a:lnTo>
                      <a:pt x="1302" y="350"/>
                    </a:lnTo>
                    <a:lnTo>
                      <a:pt x="1304" y="350"/>
                    </a:lnTo>
                    <a:lnTo>
                      <a:pt x="1302" y="349"/>
                    </a:lnTo>
                    <a:lnTo>
                      <a:pt x="1304" y="349"/>
                    </a:lnTo>
                    <a:lnTo>
                      <a:pt x="1304" y="347"/>
                    </a:lnTo>
                    <a:lnTo>
                      <a:pt x="1305" y="347"/>
                    </a:lnTo>
                    <a:lnTo>
                      <a:pt x="1305" y="345"/>
                    </a:lnTo>
                    <a:lnTo>
                      <a:pt x="1304" y="345"/>
                    </a:lnTo>
                    <a:lnTo>
                      <a:pt x="1304" y="343"/>
                    </a:lnTo>
                    <a:lnTo>
                      <a:pt x="1304" y="342"/>
                    </a:lnTo>
                    <a:lnTo>
                      <a:pt x="1304" y="340"/>
                    </a:lnTo>
                    <a:lnTo>
                      <a:pt x="1305" y="338"/>
                    </a:lnTo>
                    <a:lnTo>
                      <a:pt x="1307" y="337"/>
                    </a:lnTo>
                    <a:lnTo>
                      <a:pt x="1305" y="337"/>
                    </a:lnTo>
                    <a:lnTo>
                      <a:pt x="1305" y="335"/>
                    </a:lnTo>
                    <a:lnTo>
                      <a:pt x="1307" y="335"/>
                    </a:lnTo>
                    <a:lnTo>
                      <a:pt x="1307" y="333"/>
                    </a:lnTo>
                    <a:lnTo>
                      <a:pt x="1307" y="331"/>
                    </a:lnTo>
                    <a:lnTo>
                      <a:pt x="1307" y="330"/>
                    </a:lnTo>
                    <a:lnTo>
                      <a:pt x="1309" y="330"/>
                    </a:lnTo>
                    <a:lnTo>
                      <a:pt x="1307" y="330"/>
                    </a:lnTo>
                    <a:lnTo>
                      <a:pt x="1307" y="328"/>
                    </a:lnTo>
                    <a:lnTo>
                      <a:pt x="1309" y="326"/>
                    </a:lnTo>
                    <a:lnTo>
                      <a:pt x="1309" y="325"/>
                    </a:lnTo>
                    <a:lnTo>
                      <a:pt x="1307" y="325"/>
                    </a:lnTo>
                    <a:lnTo>
                      <a:pt x="1307" y="323"/>
                    </a:lnTo>
                    <a:lnTo>
                      <a:pt x="1309" y="323"/>
                    </a:lnTo>
                    <a:lnTo>
                      <a:pt x="1310" y="323"/>
                    </a:lnTo>
                    <a:lnTo>
                      <a:pt x="1310" y="321"/>
                    </a:lnTo>
                    <a:lnTo>
                      <a:pt x="1310" y="320"/>
                    </a:lnTo>
                    <a:lnTo>
                      <a:pt x="1309" y="320"/>
                    </a:lnTo>
                    <a:lnTo>
                      <a:pt x="1309" y="318"/>
                    </a:lnTo>
                    <a:lnTo>
                      <a:pt x="1309" y="316"/>
                    </a:lnTo>
                    <a:lnTo>
                      <a:pt x="1309" y="314"/>
                    </a:lnTo>
                    <a:lnTo>
                      <a:pt x="1309" y="313"/>
                    </a:lnTo>
                    <a:lnTo>
                      <a:pt x="1309" y="311"/>
                    </a:lnTo>
                    <a:lnTo>
                      <a:pt x="1310" y="311"/>
                    </a:lnTo>
                    <a:lnTo>
                      <a:pt x="1310" y="309"/>
                    </a:lnTo>
                    <a:lnTo>
                      <a:pt x="1310" y="308"/>
                    </a:lnTo>
                    <a:lnTo>
                      <a:pt x="1309" y="306"/>
                    </a:lnTo>
                    <a:lnTo>
                      <a:pt x="1309" y="304"/>
                    </a:lnTo>
                    <a:lnTo>
                      <a:pt x="1307" y="304"/>
                    </a:lnTo>
                    <a:lnTo>
                      <a:pt x="1307" y="303"/>
                    </a:lnTo>
                    <a:lnTo>
                      <a:pt x="1307" y="301"/>
                    </a:lnTo>
                    <a:lnTo>
                      <a:pt x="1307" y="299"/>
                    </a:lnTo>
                    <a:lnTo>
                      <a:pt x="1309" y="299"/>
                    </a:lnTo>
                    <a:lnTo>
                      <a:pt x="1307" y="297"/>
                    </a:lnTo>
                    <a:lnTo>
                      <a:pt x="1309" y="297"/>
                    </a:lnTo>
                    <a:lnTo>
                      <a:pt x="1309" y="296"/>
                    </a:lnTo>
                    <a:lnTo>
                      <a:pt x="1310" y="296"/>
                    </a:lnTo>
                    <a:lnTo>
                      <a:pt x="1310" y="294"/>
                    </a:lnTo>
                    <a:lnTo>
                      <a:pt x="1309" y="294"/>
                    </a:lnTo>
                    <a:lnTo>
                      <a:pt x="1310" y="294"/>
                    </a:lnTo>
                    <a:lnTo>
                      <a:pt x="1310" y="292"/>
                    </a:lnTo>
                    <a:lnTo>
                      <a:pt x="1309" y="291"/>
                    </a:lnTo>
                    <a:lnTo>
                      <a:pt x="1310" y="291"/>
                    </a:lnTo>
                    <a:lnTo>
                      <a:pt x="1312" y="291"/>
                    </a:lnTo>
                    <a:lnTo>
                      <a:pt x="1312" y="289"/>
                    </a:lnTo>
                    <a:lnTo>
                      <a:pt x="1314" y="289"/>
                    </a:lnTo>
                    <a:lnTo>
                      <a:pt x="1314" y="287"/>
                    </a:lnTo>
                    <a:lnTo>
                      <a:pt x="1314" y="286"/>
                    </a:lnTo>
                    <a:lnTo>
                      <a:pt x="1315" y="287"/>
                    </a:lnTo>
                    <a:lnTo>
                      <a:pt x="1315" y="286"/>
                    </a:lnTo>
                    <a:lnTo>
                      <a:pt x="1315" y="284"/>
                    </a:lnTo>
                    <a:lnTo>
                      <a:pt x="1315" y="282"/>
                    </a:lnTo>
                    <a:lnTo>
                      <a:pt x="1317" y="282"/>
                    </a:lnTo>
                    <a:lnTo>
                      <a:pt x="1317" y="280"/>
                    </a:lnTo>
                    <a:lnTo>
                      <a:pt x="1317" y="279"/>
                    </a:lnTo>
                    <a:lnTo>
                      <a:pt x="1315" y="277"/>
                    </a:lnTo>
                    <a:lnTo>
                      <a:pt x="1315" y="275"/>
                    </a:lnTo>
                    <a:lnTo>
                      <a:pt x="1314" y="275"/>
                    </a:lnTo>
                    <a:lnTo>
                      <a:pt x="1315" y="274"/>
                    </a:lnTo>
                    <a:lnTo>
                      <a:pt x="1315" y="272"/>
                    </a:lnTo>
                    <a:lnTo>
                      <a:pt x="1315" y="270"/>
                    </a:lnTo>
                    <a:lnTo>
                      <a:pt x="1314" y="269"/>
                    </a:lnTo>
                    <a:lnTo>
                      <a:pt x="1314" y="267"/>
                    </a:lnTo>
                    <a:lnTo>
                      <a:pt x="1314" y="265"/>
                    </a:lnTo>
                    <a:lnTo>
                      <a:pt x="1312" y="265"/>
                    </a:lnTo>
                    <a:lnTo>
                      <a:pt x="1314" y="265"/>
                    </a:lnTo>
                    <a:lnTo>
                      <a:pt x="1312" y="265"/>
                    </a:lnTo>
                    <a:lnTo>
                      <a:pt x="1312" y="263"/>
                    </a:lnTo>
                    <a:lnTo>
                      <a:pt x="1312" y="262"/>
                    </a:lnTo>
                    <a:lnTo>
                      <a:pt x="1312" y="260"/>
                    </a:lnTo>
                    <a:lnTo>
                      <a:pt x="1312" y="258"/>
                    </a:lnTo>
                    <a:lnTo>
                      <a:pt x="1312" y="257"/>
                    </a:lnTo>
                    <a:lnTo>
                      <a:pt x="1312" y="255"/>
                    </a:lnTo>
                    <a:lnTo>
                      <a:pt x="1312" y="253"/>
                    </a:lnTo>
                    <a:lnTo>
                      <a:pt x="1312" y="252"/>
                    </a:lnTo>
                    <a:lnTo>
                      <a:pt x="1312" y="250"/>
                    </a:lnTo>
                    <a:lnTo>
                      <a:pt x="1314" y="250"/>
                    </a:lnTo>
                    <a:lnTo>
                      <a:pt x="1312" y="248"/>
                    </a:lnTo>
                    <a:lnTo>
                      <a:pt x="1314" y="248"/>
                    </a:lnTo>
                    <a:lnTo>
                      <a:pt x="1312" y="246"/>
                    </a:lnTo>
                    <a:lnTo>
                      <a:pt x="1314" y="246"/>
                    </a:lnTo>
                    <a:lnTo>
                      <a:pt x="1314" y="245"/>
                    </a:lnTo>
                    <a:lnTo>
                      <a:pt x="1314" y="243"/>
                    </a:lnTo>
                    <a:lnTo>
                      <a:pt x="1314" y="241"/>
                    </a:lnTo>
                    <a:lnTo>
                      <a:pt x="1314" y="240"/>
                    </a:lnTo>
                    <a:lnTo>
                      <a:pt x="1314" y="238"/>
                    </a:lnTo>
                    <a:lnTo>
                      <a:pt x="1314" y="236"/>
                    </a:lnTo>
                    <a:lnTo>
                      <a:pt x="1314" y="235"/>
                    </a:lnTo>
                    <a:lnTo>
                      <a:pt x="1314" y="233"/>
                    </a:lnTo>
                    <a:lnTo>
                      <a:pt x="1314" y="231"/>
                    </a:lnTo>
                    <a:lnTo>
                      <a:pt x="1314" y="229"/>
                    </a:lnTo>
                    <a:lnTo>
                      <a:pt x="1314" y="228"/>
                    </a:lnTo>
                    <a:lnTo>
                      <a:pt x="1314" y="226"/>
                    </a:lnTo>
                    <a:lnTo>
                      <a:pt x="1315" y="226"/>
                    </a:lnTo>
                    <a:lnTo>
                      <a:pt x="1315" y="224"/>
                    </a:lnTo>
                    <a:lnTo>
                      <a:pt x="1317" y="224"/>
                    </a:lnTo>
                    <a:lnTo>
                      <a:pt x="1317" y="223"/>
                    </a:lnTo>
                    <a:lnTo>
                      <a:pt x="1317" y="221"/>
                    </a:lnTo>
                    <a:lnTo>
                      <a:pt x="1317" y="219"/>
                    </a:lnTo>
                    <a:lnTo>
                      <a:pt x="1317" y="218"/>
                    </a:lnTo>
                    <a:lnTo>
                      <a:pt x="1317" y="216"/>
                    </a:lnTo>
                    <a:lnTo>
                      <a:pt x="1315" y="216"/>
                    </a:lnTo>
                    <a:lnTo>
                      <a:pt x="1315" y="214"/>
                    </a:lnTo>
                    <a:lnTo>
                      <a:pt x="1314" y="214"/>
                    </a:lnTo>
                    <a:lnTo>
                      <a:pt x="1314" y="216"/>
                    </a:lnTo>
                    <a:lnTo>
                      <a:pt x="1312" y="218"/>
                    </a:lnTo>
                    <a:lnTo>
                      <a:pt x="1312" y="216"/>
                    </a:lnTo>
                    <a:lnTo>
                      <a:pt x="1310" y="216"/>
                    </a:lnTo>
                    <a:lnTo>
                      <a:pt x="1310" y="214"/>
                    </a:lnTo>
                    <a:lnTo>
                      <a:pt x="1312" y="212"/>
                    </a:lnTo>
                    <a:lnTo>
                      <a:pt x="1310" y="212"/>
                    </a:lnTo>
                    <a:lnTo>
                      <a:pt x="1310" y="211"/>
                    </a:lnTo>
                    <a:lnTo>
                      <a:pt x="1312" y="209"/>
                    </a:lnTo>
                    <a:lnTo>
                      <a:pt x="1310" y="209"/>
                    </a:lnTo>
                    <a:lnTo>
                      <a:pt x="1310" y="207"/>
                    </a:lnTo>
                    <a:lnTo>
                      <a:pt x="1310" y="206"/>
                    </a:lnTo>
                    <a:lnTo>
                      <a:pt x="1312" y="206"/>
                    </a:lnTo>
                    <a:lnTo>
                      <a:pt x="1312" y="204"/>
                    </a:lnTo>
                    <a:lnTo>
                      <a:pt x="1312" y="202"/>
                    </a:lnTo>
                    <a:lnTo>
                      <a:pt x="1312" y="201"/>
                    </a:lnTo>
                    <a:lnTo>
                      <a:pt x="1312" y="199"/>
                    </a:lnTo>
                    <a:lnTo>
                      <a:pt x="1314" y="199"/>
                    </a:lnTo>
                    <a:lnTo>
                      <a:pt x="1314" y="201"/>
                    </a:lnTo>
                    <a:lnTo>
                      <a:pt x="1315" y="201"/>
                    </a:lnTo>
                    <a:lnTo>
                      <a:pt x="1317" y="201"/>
                    </a:lnTo>
                    <a:lnTo>
                      <a:pt x="1319" y="201"/>
                    </a:lnTo>
                    <a:lnTo>
                      <a:pt x="1319" y="199"/>
                    </a:lnTo>
                    <a:lnTo>
                      <a:pt x="1321" y="197"/>
                    </a:lnTo>
                    <a:lnTo>
                      <a:pt x="1321" y="195"/>
                    </a:lnTo>
                    <a:lnTo>
                      <a:pt x="1321" y="194"/>
                    </a:lnTo>
                    <a:lnTo>
                      <a:pt x="1322" y="194"/>
                    </a:lnTo>
                    <a:lnTo>
                      <a:pt x="1321" y="192"/>
                    </a:lnTo>
                    <a:lnTo>
                      <a:pt x="1321" y="190"/>
                    </a:lnTo>
                    <a:lnTo>
                      <a:pt x="1321" y="189"/>
                    </a:lnTo>
                    <a:lnTo>
                      <a:pt x="1322" y="187"/>
                    </a:lnTo>
                    <a:lnTo>
                      <a:pt x="1322" y="185"/>
                    </a:lnTo>
                    <a:lnTo>
                      <a:pt x="1322" y="184"/>
                    </a:lnTo>
                    <a:lnTo>
                      <a:pt x="1322" y="182"/>
                    </a:lnTo>
                    <a:lnTo>
                      <a:pt x="1322" y="180"/>
                    </a:lnTo>
                    <a:lnTo>
                      <a:pt x="1324" y="178"/>
                    </a:lnTo>
                    <a:lnTo>
                      <a:pt x="1322" y="178"/>
                    </a:lnTo>
                    <a:lnTo>
                      <a:pt x="1322" y="177"/>
                    </a:lnTo>
                    <a:lnTo>
                      <a:pt x="1322" y="175"/>
                    </a:lnTo>
                    <a:lnTo>
                      <a:pt x="1322" y="173"/>
                    </a:lnTo>
                    <a:lnTo>
                      <a:pt x="1324" y="172"/>
                    </a:lnTo>
                    <a:lnTo>
                      <a:pt x="1322" y="172"/>
                    </a:lnTo>
                    <a:lnTo>
                      <a:pt x="1324" y="170"/>
                    </a:lnTo>
                    <a:lnTo>
                      <a:pt x="1324" y="168"/>
                    </a:lnTo>
                    <a:lnTo>
                      <a:pt x="1324" y="166"/>
                    </a:lnTo>
                    <a:lnTo>
                      <a:pt x="1324" y="165"/>
                    </a:lnTo>
                    <a:lnTo>
                      <a:pt x="1324" y="163"/>
                    </a:lnTo>
                    <a:lnTo>
                      <a:pt x="1326" y="163"/>
                    </a:lnTo>
                    <a:lnTo>
                      <a:pt x="1324" y="163"/>
                    </a:lnTo>
                    <a:lnTo>
                      <a:pt x="1324" y="161"/>
                    </a:lnTo>
                    <a:lnTo>
                      <a:pt x="1326" y="161"/>
                    </a:lnTo>
                    <a:lnTo>
                      <a:pt x="1326" y="160"/>
                    </a:lnTo>
                    <a:lnTo>
                      <a:pt x="1326" y="158"/>
                    </a:lnTo>
                    <a:lnTo>
                      <a:pt x="1326" y="156"/>
                    </a:lnTo>
                    <a:lnTo>
                      <a:pt x="1326" y="155"/>
                    </a:lnTo>
                    <a:lnTo>
                      <a:pt x="1326" y="153"/>
                    </a:lnTo>
                    <a:lnTo>
                      <a:pt x="1326" y="151"/>
                    </a:lnTo>
                    <a:lnTo>
                      <a:pt x="1326" y="149"/>
                    </a:lnTo>
                    <a:lnTo>
                      <a:pt x="1326" y="148"/>
                    </a:lnTo>
                    <a:lnTo>
                      <a:pt x="1327" y="148"/>
                    </a:lnTo>
                    <a:lnTo>
                      <a:pt x="1327" y="146"/>
                    </a:lnTo>
                    <a:lnTo>
                      <a:pt x="1327" y="144"/>
                    </a:lnTo>
                    <a:lnTo>
                      <a:pt x="1329" y="144"/>
                    </a:lnTo>
                    <a:lnTo>
                      <a:pt x="1329" y="143"/>
                    </a:lnTo>
                    <a:lnTo>
                      <a:pt x="1329" y="141"/>
                    </a:lnTo>
                    <a:lnTo>
                      <a:pt x="1329" y="139"/>
                    </a:lnTo>
                    <a:lnTo>
                      <a:pt x="1329" y="138"/>
                    </a:lnTo>
                    <a:lnTo>
                      <a:pt x="1327" y="138"/>
                    </a:lnTo>
                    <a:lnTo>
                      <a:pt x="1329" y="136"/>
                    </a:lnTo>
                    <a:lnTo>
                      <a:pt x="1329" y="134"/>
                    </a:lnTo>
                    <a:lnTo>
                      <a:pt x="1329" y="132"/>
                    </a:lnTo>
                    <a:lnTo>
                      <a:pt x="1327" y="132"/>
                    </a:lnTo>
                    <a:lnTo>
                      <a:pt x="1327" y="131"/>
                    </a:lnTo>
                    <a:lnTo>
                      <a:pt x="1327" y="129"/>
                    </a:lnTo>
                    <a:lnTo>
                      <a:pt x="1327" y="127"/>
                    </a:lnTo>
                    <a:lnTo>
                      <a:pt x="1326" y="127"/>
                    </a:lnTo>
                    <a:lnTo>
                      <a:pt x="1326" y="126"/>
                    </a:lnTo>
                    <a:lnTo>
                      <a:pt x="1326" y="124"/>
                    </a:lnTo>
                    <a:lnTo>
                      <a:pt x="1327" y="122"/>
                    </a:lnTo>
                    <a:lnTo>
                      <a:pt x="1326" y="121"/>
                    </a:lnTo>
                    <a:lnTo>
                      <a:pt x="1327" y="121"/>
                    </a:lnTo>
                    <a:lnTo>
                      <a:pt x="1326" y="121"/>
                    </a:lnTo>
                    <a:lnTo>
                      <a:pt x="1326" y="119"/>
                    </a:lnTo>
                    <a:lnTo>
                      <a:pt x="1324" y="117"/>
                    </a:lnTo>
                    <a:lnTo>
                      <a:pt x="1326" y="117"/>
                    </a:lnTo>
                    <a:lnTo>
                      <a:pt x="1324" y="117"/>
                    </a:lnTo>
                    <a:lnTo>
                      <a:pt x="1324" y="115"/>
                    </a:lnTo>
                    <a:lnTo>
                      <a:pt x="1326" y="115"/>
                    </a:lnTo>
                    <a:lnTo>
                      <a:pt x="1324" y="115"/>
                    </a:lnTo>
                    <a:lnTo>
                      <a:pt x="1324" y="114"/>
                    </a:lnTo>
                    <a:lnTo>
                      <a:pt x="1326" y="114"/>
                    </a:lnTo>
                    <a:lnTo>
                      <a:pt x="1324" y="114"/>
                    </a:lnTo>
                    <a:lnTo>
                      <a:pt x="1326" y="112"/>
                    </a:lnTo>
                    <a:lnTo>
                      <a:pt x="1324" y="110"/>
                    </a:lnTo>
                    <a:lnTo>
                      <a:pt x="1324" y="109"/>
                    </a:lnTo>
                    <a:lnTo>
                      <a:pt x="1324" y="107"/>
                    </a:lnTo>
                    <a:lnTo>
                      <a:pt x="1326" y="107"/>
                    </a:lnTo>
                    <a:lnTo>
                      <a:pt x="1326" y="105"/>
                    </a:lnTo>
                    <a:lnTo>
                      <a:pt x="1326" y="104"/>
                    </a:lnTo>
                    <a:lnTo>
                      <a:pt x="1326" y="102"/>
                    </a:lnTo>
                    <a:lnTo>
                      <a:pt x="1326" y="100"/>
                    </a:lnTo>
                    <a:lnTo>
                      <a:pt x="1327" y="100"/>
                    </a:lnTo>
                    <a:lnTo>
                      <a:pt x="1327" y="98"/>
                    </a:lnTo>
                    <a:lnTo>
                      <a:pt x="1326" y="97"/>
                    </a:lnTo>
                    <a:lnTo>
                      <a:pt x="1327" y="95"/>
                    </a:lnTo>
                    <a:lnTo>
                      <a:pt x="1326" y="95"/>
                    </a:lnTo>
                    <a:lnTo>
                      <a:pt x="1326" y="93"/>
                    </a:lnTo>
                    <a:lnTo>
                      <a:pt x="1327" y="93"/>
                    </a:lnTo>
                    <a:lnTo>
                      <a:pt x="1327" y="92"/>
                    </a:lnTo>
                    <a:lnTo>
                      <a:pt x="1327" y="90"/>
                    </a:lnTo>
                    <a:lnTo>
                      <a:pt x="1327" y="88"/>
                    </a:lnTo>
                    <a:lnTo>
                      <a:pt x="1327" y="87"/>
                    </a:lnTo>
                    <a:lnTo>
                      <a:pt x="1326" y="87"/>
                    </a:lnTo>
                    <a:lnTo>
                      <a:pt x="1327" y="87"/>
                    </a:lnTo>
                    <a:lnTo>
                      <a:pt x="1326" y="85"/>
                    </a:lnTo>
                    <a:lnTo>
                      <a:pt x="1327" y="85"/>
                    </a:lnTo>
                    <a:lnTo>
                      <a:pt x="1327" y="83"/>
                    </a:lnTo>
                    <a:lnTo>
                      <a:pt x="1326" y="83"/>
                    </a:lnTo>
                    <a:lnTo>
                      <a:pt x="1326" y="81"/>
                    </a:lnTo>
                    <a:lnTo>
                      <a:pt x="1326" y="80"/>
                    </a:lnTo>
                    <a:lnTo>
                      <a:pt x="1326" y="78"/>
                    </a:lnTo>
                    <a:lnTo>
                      <a:pt x="1326" y="76"/>
                    </a:lnTo>
                    <a:lnTo>
                      <a:pt x="1324" y="75"/>
                    </a:lnTo>
                    <a:lnTo>
                      <a:pt x="1324" y="73"/>
                    </a:lnTo>
                    <a:lnTo>
                      <a:pt x="1324" y="71"/>
                    </a:lnTo>
                    <a:lnTo>
                      <a:pt x="1324" y="70"/>
                    </a:lnTo>
                    <a:lnTo>
                      <a:pt x="1324" y="68"/>
                    </a:lnTo>
                    <a:lnTo>
                      <a:pt x="1324" y="66"/>
                    </a:lnTo>
                    <a:lnTo>
                      <a:pt x="1322" y="66"/>
                    </a:lnTo>
                    <a:lnTo>
                      <a:pt x="1322" y="64"/>
                    </a:lnTo>
                    <a:lnTo>
                      <a:pt x="1322" y="63"/>
                    </a:lnTo>
                    <a:lnTo>
                      <a:pt x="1322" y="61"/>
                    </a:lnTo>
                    <a:lnTo>
                      <a:pt x="1322" y="59"/>
                    </a:lnTo>
                    <a:lnTo>
                      <a:pt x="1322" y="58"/>
                    </a:lnTo>
                    <a:lnTo>
                      <a:pt x="1322" y="56"/>
                    </a:lnTo>
                    <a:lnTo>
                      <a:pt x="1321" y="56"/>
                    </a:lnTo>
                    <a:lnTo>
                      <a:pt x="1321" y="54"/>
                    </a:lnTo>
                    <a:lnTo>
                      <a:pt x="1321" y="53"/>
                    </a:lnTo>
                    <a:lnTo>
                      <a:pt x="1321" y="51"/>
                    </a:lnTo>
                    <a:lnTo>
                      <a:pt x="1321" y="49"/>
                    </a:lnTo>
                    <a:lnTo>
                      <a:pt x="1321" y="47"/>
                    </a:lnTo>
                    <a:lnTo>
                      <a:pt x="1319" y="47"/>
                    </a:lnTo>
                    <a:lnTo>
                      <a:pt x="1319" y="46"/>
                    </a:lnTo>
                    <a:lnTo>
                      <a:pt x="1319" y="44"/>
                    </a:lnTo>
                    <a:lnTo>
                      <a:pt x="1321" y="44"/>
                    </a:lnTo>
                    <a:lnTo>
                      <a:pt x="1319" y="42"/>
                    </a:lnTo>
                    <a:lnTo>
                      <a:pt x="1321" y="42"/>
                    </a:lnTo>
                    <a:lnTo>
                      <a:pt x="1321" y="41"/>
                    </a:lnTo>
                    <a:lnTo>
                      <a:pt x="1319" y="41"/>
                    </a:lnTo>
                    <a:lnTo>
                      <a:pt x="1321" y="39"/>
                    </a:lnTo>
                    <a:lnTo>
                      <a:pt x="1321" y="37"/>
                    </a:lnTo>
                    <a:lnTo>
                      <a:pt x="1321" y="36"/>
                    </a:lnTo>
                    <a:lnTo>
                      <a:pt x="1321" y="34"/>
                    </a:lnTo>
                    <a:lnTo>
                      <a:pt x="1321" y="32"/>
                    </a:lnTo>
                    <a:lnTo>
                      <a:pt x="1321" y="30"/>
                    </a:lnTo>
                    <a:lnTo>
                      <a:pt x="1319" y="30"/>
                    </a:lnTo>
                    <a:lnTo>
                      <a:pt x="1319" y="29"/>
                    </a:lnTo>
                    <a:lnTo>
                      <a:pt x="1321" y="29"/>
                    </a:lnTo>
                    <a:lnTo>
                      <a:pt x="1322" y="29"/>
                    </a:lnTo>
                    <a:lnTo>
                      <a:pt x="1324" y="29"/>
                    </a:lnTo>
                    <a:lnTo>
                      <a:pt x="1326" y="29"/>
                    </a:lnTo>
                    <a:lnTo>
                      <a:pt x="1327" y="29"/>
                    </a:lnTo>
                    <a:lnTo>
                      <a:pt x="1329" y="27"/>
                    </a:lnTo>
                    <a:lnTo>
                      <a:pt x="1331" y="27"/>
                    </a:lnTo>
                    <a:lnTo>
                      <a:pt x="1331" y="25"/>
                    </a:lnTo>
                    <a:lnTo>
                      <a:pt x="1332" y="25"/>
                    </a:lnTo>
                    <a:lnTo>
                      <a:pt x="1334" y="25"/>
                    </a:lnTo>
                    <a:lnTo>
                      <a:pt x="1334" y="24"/>
                    </a:lnTo>
                    <a:lnTo>
                      <a:pt x="1336" y="24"/>
                    </a:lnTo>
                    <a:lnTo>
                      <a:pt x="1338" y="22"/>
                    </a:lnTo>
                    <a:lnTo>
                      <a:pt x="1339" y="22"/>
                    </a:lnTo>
                    <a:lnTo>
                      <a:pt x="1339" y="20"/>
                    </a:lnTo>
                    <a:lnTo>
                      <a:pt x="1339" y="18"/>
                    </a:lnTo>
                    <a:lnTo>
                      <a:pt x="1339" y="17"/>
                    </a:lnTo>
                    <a:lnTo>
                      <a:pt x="1339" y="15"/>
                    </a:lnTo>
                    <a:lnTo>
                      <a:pt x="1339" y="13"/>
                    </a:lnTo>
                    <a:lnTo>
                      <a:pt x="1338" y="13"/>
                    </a:lnTo>
                    <a:lnTo>
                      <a:pt x="1339" y="12"/>
                    </a:lnTo>
                    <a:lnTo>
                      <a:pt x="1338" y="12"/>
                    </a:lnTo>
                    <a:lnTo>
                      <a:pt x="1338" y="10"/>
                    </a:lnTo>
                    <a:lnTo>
                      <a:pt x="1338" y="8"/>
                    </a:lnTo>
                    <a:lnTo>
                      <a:pt x="1336" y="8"/>
                    </a:lnTo>
                    <a:lnTo>
                      <a:pt x="1338" y="7"/>
                    </a:lnTo>
                    <a:lnTo>
                      <a:pt x="1338" y="5"/>
                    </a:lnTo>
                    <a:lnTo>
                      <a:pt x="1339" y="5"/>
                    </a:lnTo>
                    <a:lnTo>
                      <a:pt x="1341" y="5"/>
                    </a:lnTo>
                    <a:lnTo>
                      <a:pt x="1343" y="5"/>
                    </a:lnTo>
                    <a:lnTo>
                      <a:pt x="1344" y="3"/>
                    </a:lnTo>
                    <a:lnTo>
                      <a:pt x="1346" y="1"/>
                    </a:lnTo>
                    <a:lnTo>
                      <a:pt x="1349" y="0"/>
                    </a:lnTo>
                    <a:lnTo>
                      <a:pt x="1349" y="3"/>
                    </a:lnTo>
                    <a:lnTo>
                      <a:pt x="1351" y="5"/>
                    </a:lnTo>
                    <a:lnTo>
                      <a:pt x="1353" y="7"/>
                    </a:lnTo>
                    <a:lnTo>
                      <a:pt x="1353" y="8"/>
                    </a:lnTo>
                    <a:lnTo>
                      <a:pt x="1355" y="8"/>
                    </a:lnTo>
                    <a:lnTo>
                      <a:pt x="1355" y="10"/>
                    </a:lnTo>
                    <a:lnTo>
                      <a:pt x="1355" y="12"/>
                    </a:lnTo>
                    <a:lnTo>
                      <a:pt x="1355" y="13"/>
                    </a:lnTo>
                    <a:lnTo>
                      <a:pt x="1355" y="15"/>
                    </a:lnTo>
                    <a:lnTo>
                      <a:pt x="1356" y="15"/>
                    </a:lnTo>
                    <a:lnTo>
                      <a:pt x="1356" y="17"/>
                    </a:lnTo>
                    <a:lnTo>
                      <a:pt x="1358" y="17"/>
                    </a:lnTo>
                    <a:lnTo>
                      <a:pt x="1360" y="17"/>
                    </a:lnTo>
                    <a:lnTo>
                      <a:pt x="1361" y="17"/>
                    </a:lnTo>
                    <a:lnTo>
                      <a:pt x="1361" y="18"/>
                    </a:lnTo>
                    <a:lnTo>
                      <a:pt x="1363" y="18"/>
                    </a:lnTo>
                    <a:lnTo>
                      <a:pt x="1363" y="20"/>
                    </a:lnTo>
                    <a:lnTo>
                      <a:pt x="1361" y="20"/>
                    </a:lnTo>
                    <a:lnTo>
                      <a:pt x="1363" y="20"/>
                    </a:lnTo>
                    <a:lnTo>
                      <a:pt x="1361" y="20"/>
                    </a:lnTo>
                    <a:lnTo>
                      <a:pt x="1361" y="22"/>
                    </a:lnTo>
                    <a:lnTo>
                      <a:pt x="1360" y="22"/>
                    </a:lnTo>
                    <a:lnTo>
                      <a:pt x="1360" y="24"/>
                    </a:lnTo>
                    <a:lnTo>
                      <a:pt x="1361" y="24"/>
                    </a:lnTo>
                    <a:lnTo>
                      <a:pt x="1361" y="25"/>
                    </a:lnTo>
                    <a:lnTo>
                      <a:pt x="1363" y="25"/>
                    </a:lnTo>
                    <a:lnTo>
                      <a:pt x="1363" y="27"/>
                    </a:lnTo>
                    <a:lnTo>
                      <a:pt x="1363" y="29"/>
                    </a:lnTo>
                    <a:lnTo>
                      <a:pt x="1363" y="30"/>
                    </a:lnTo>
                    <a:lnTo>
                      <a:pt x="1363" y="32"/>
                    </a:lnTo>
                    <a:lnTo>
                      <a:pt x="1365" y="32"/>
                    </a:lnTo>
                    <a:lnTo>
                      <a:pt x="1365" y="34"/>
                    </a:lnTo>
                    <a:lnTo>
                      <a:pt x="1365" y="36"/>
                    </a:lnTo>
                    <a:lnTo>
                      <a:pt x="1365" y="37"/>
                    </a:lnTo>
                    <a:lnTo>
                      <a:pt x="1365" y="39"/>
                    </a:lnTo>
                    <a:lnTo>
                      <a:pt x="1363" y="39"/>
                    </a:lnTo>
                    <a:lnTo>
                      <a:pt x="1365" y="39"/>
                    </a:lnTo>
                    <a:lnTo>
                      <a:pt x="1365" y="41"/>
                    </a:lnTo>
                    <a:lnTo>
                      <a:pt x="1365" y="42"/>
                    </a:lnTo>
                    <a:lnTo>
                      <a:pt x="1366" y="42"/>
                    </a:lnTo>
                    <a:lnTo>
                      <a:pt x="1366" y="44"/>
                    </a:lnTo>
                    <a:lnTo>
                      <a:pt x="1366" y="46"/>
                    </a:lnTo>
                    <a:lnTo>
                      <a:pt x="1368" y="47"/>
                    </a:lnTo>
                    <a:lnTo>
                      <a:pt x="1368" y="49"/>
                    </a:lnTo>
                    <a:lnTo>
                      <a:pt x="1366" y="49"/>
                    </a:lnTo>
                    <a:lnTo>
                      <a:pt x="1366" y="51"/>
                    </a:lnTo>
                    <a:lnTo>
                      <a:pt x="1368" y="51"/>
                    </a:lnTo>
                    <a:lnTo>
                      <a:pt x="1368" y="53"/>
                    </a:lnTo>
                    <a:lnTo>
                      <a:pt x="1368" y="54"/>
                    </a:lnTo>
                    <a:lnTo>
                      <a:pt x="1370" y="54"/>
                    </a:lnTo>
                    <a:lnTo>
                      <a:pt x="1372" y="56"/>
                    </a:lnTo>
                    <a:lnTo>
                      <a:pt x="1373" y="56"/>
                    </a:lnTo>
                    <a:lnTo>
                      <a:pt x="1373" y="58"/>
                    </a:lnTo>
                    <a:lnTo>
                      <a:pt x="1375" y="58"/>
                    </a:lnTo>
                    <a:lnTo>
                      <a:pt x="1375" y="59"/>
                    </a:lnTo>
                    <a:lnTo>
                      <a:pt x="1377" y="59"/>
                    </a:lnTo>
                    <a:lnTo>
                      <a:pt x="1377" y="61"/>
                    </a:lnTo>
                    <a:lnTo>
                      <a:pt x="1378" y="61"/>
                    </a:lnTo>
                    <a:lnTo>
                      <a:pt x="1378" y="63"/>
                    </a:lnTo>
                    <a:lnTo>
                      <a:pt x="1380" y="63"/>
                    </a:lnTo>
                    <a:lnTo>
                      <a:pt x="1382" y="64"/>
                    </a:lnTo>
                    <a:lnTo>
                      <a:pt x="1382" y="66"/>
                    </a:lnTo>
                    <a:lnTo>
                      <a:pt x="1383" y="66"/>
                    </a:lnTo>
                    <a:lnTo>
                      <a:pt x="1383" y="68"/>
                    </a:lnTo>
                    <a:lnTo>
                      <a:pt x="1383" y="70"/>
                    </a:lnTo>
                    <a:lnTo>
                      <a:pt x="1382" y="71"/>
                    </a:lnTo>
                    <a:lnTo>
                      <a:pt x="1382" y="73"/>
                    </a:lnTo>
                    <a:lnTo>
                      <a:pt x="1380" y="73"/>
                    </a:lnTo>
                    <a:lnTo>
                      <a:pt x="1380" y="75"/>
                    </a:lnTo>
                    <a:lnTo>
                      <a:pt x="1378" y="75"/>
                    </a:lnTo>
                    <a:lnTo>
                      <a:pt x="1378" y="76"/>
                    </a:lnTo>
                    <a:lnTo>
                      <a:pt x="1378" y="78"/>
                    </a:lnTo>
                    <a:lnTo>
                      <a:pt x="1377" y="78"/>
                    </a:lnTo>
                    <a:lnTo>
                      <a:pt x="1375" y="78"/>
                    </a:lnTo>
                    <a:lnTo>
                      <a:pt x="1375" y="80"/>
                    </a:lnTo>
                    <a:lnTo>
                      <a:pt x="1377" y="80"/>
                    </a:lnTo>
                    <a:lnTo>
                      <a:pt x="1378" y="81"/>
                    </a:lnTo>
                    <a:lnTo>
                      <a:pt x="1378" y="83"/>
                    </a:lnTo>
                    <a:lnTo>
                      <a:pt x="1380" y="83"/>
                    </a:lnTo>
                    <a:lnTo>
                      <a:pt x="1382" y="83"/>
                    </a:lnTo>
                    <a:lnTo>
                      <a:pt x="1380" y="83"/>
                    </a:lnTo>
                    <a:lnTo>
                      <a:pt x="1380" y="85"/>
                    </a:lnTo>
                    <a:lnTo>
                      <a:pt x="1382" y="85"/>
                    </a:lnTo>
                    <a:lnTo>
                      <a:pt x="1382" y="87"/>
                    </a:lnTo>
                    <a:lnTo>
                      <a:pt x="1380" y="87"/>
                    </a:lnTo>
                    <a:lnTo>
                      <a:pt x="1380" y="88"/>
                    </a:lnTo>
                    <a:lnTo>
                      <a:pt x="1380" y="90"/>
                    </a:lnTo>
                    <a:lnTo>
                      <a:pt x="1378" y="90"/>
                    </a:lnTo>
                    <a:lnTo>
                      <a:pt x="1377" y="90"/>
                    </a:lnTo>
                    <a:lnTo>
                      <a:pt x="1375" y="92"/>
                    </a:lnTo>
                    <a:lnTo>
                      <a:pt x="1373" y="92"/>
                    </a:lnTo>
                    <a:lnTo>
                      <a:pt x="1373" y="93"/>
                    </a:lnTo>
                    <a:lnTo>
                      <a:pt x="1375" y="93"/>
                    </a:lnTo>
                    <a:lnTo>
                      <a:pt x="1375" y="95"/>
                    </a:lnTo>
                    <a:lnTo>
                      <a:pt x="1375" y="97"/>
                    </a:lnTo>
                    <a:lnTo>
                      <a:pt x="1375" y="98"/>
                    </a:lnTo>
                    <a:lnTo>
                      <a:pt x="1377" y="98"/>
                    </a:lnTo>
                    <a:lnTo>
                      <a:pt x="1377" y="100"/>
                    </a:lnTo>
                    <a:lnTo>
                      <a:pt x="1377" y="102"/>
                    </a:lnTo>
                    <a:lnTo>
                      <a:pt x="1375" y="102"/>
                    </a:lnTo>
                    <a:lnTo>
                      <a:pt x="1373" y="102"/>
                    </a:lnTo>
                    <a:lnTo>
                      <a:pt x="1373" y="104"/>
                    </a:lnTo>
                    <a:lnTo>
                      <a:pt x="1373" y="105"/>
                    </a:lnTo>
                    <a:lnTo>
                      <a:pt x="1375" y="105"/>
                    </a:lnTo>
                    <a:lnTo>
                      <a:pt x="1375" y="107"/>
                    </a:lnTo>
                    <a:lnTo>
                      <a:pt x="1377" y="107"/>
                    </a:lnTo>
                    <a:lnTo>
                      <a:pt x="1378" y="107"/>
                    </a:lnTo>
                    <a:lnTo>
                      <a:pt x="1378" y="109"/>
                    </a:lnTo>
                    <a:lnTo>
                      <a:pt x="1380" y="109"/>
                    </a:lnTo>
                    <a:lnTo>
                      <a:pt x="1382" y="109"/>
                    </a:lnTo>
                    <a:lnTo>
                      <a:pt x="1382" y="110"/>
                    </a:lnTo>
                    <a:lnTo>
                      <a:pt x="1383" y="110"/>
                    </a:lnTo>
                    <a:lnTo>
                      <a:pt x="1383" y="112"/>
                    </a:lnTo>
                    <a:lnTo>
                      <a:pt x="1382" y="112"/>
                    </a:lnTo>
                    <a:lnTo>
                      <a:pt x="1382" y="114"/>
                    </a:lnTo>
                    <a:lnTo>
                      <a:pt x="1380" y="114"/>
                    </a:lnTo>
                    <a:lnTo>
                      <a:pt x="1380" y="115"/>
                    </a:lnTo>
                    <a:lnTo>
                      <a:pt x="1380" y="117"/>
                    </a:lnTo>
                    <a:lnTo>
                      <a:pt x="1380" y="119"/>
                    </a:lnTo>
                    <a:lnTo>
                      <a:pt x="1380" y="121"/>
                    </a:lnTo>
                    <a:lnTo>
                      <a:pt x="1382" y="122"/>
                    </a:lnTo>
                    <a:lnTo>
                      <a:pt x="1383" y="122"/>
                    </a:lnTo>
                    <a:lnTo>
                      <a:pt x="1385" y="122"/>
                    </a:lnTo>
                    <a:lnTo>
                      <a:pt x="1385" y="124"/>
                    </a:lnTo>
                    <a:lnTo>
                      <a:pt x="1387" y="124"/>
                    </a:lnTo>
                    <a:lnTo>
                      <a:pt x="1387" y="126"/>
                    </a:lnTo>
                    <a:lnTo>
                      <a:pt x="1389" y="126"/>
                    </a:lnTo>
                    <a:lnTo>
                      <a:pt x="1389" y="127"/>
                    </a:lnTo>
                    <a:lnTo>
                      <a:pt x="1389" y="129"/>
                    </a:lnTo>
                    <a:lnTo>
                      <a:pt x="1392" y="134"/>
                    </a:lnTo>
                    <a:lnTo>
                      <a:pt x="1392" y="136"/>
                    </a:lnTo>
                    <a:lnTo>
                      <a:pt x="1392" y="138"/>
                    </a:lnTo>
                    <a:lnTo>
                      <a:pt x="1392" y="141"/>
                    </a:lnTo>
                    <a:lnTo>
                      <a:pt x="1392" y="143"/>
                    </a:lnTo>
                    <a:lnTo>
                      <a:pt x="1392" y="144"/>
                    </a:lnTo>
                    <a:lnTo>
                      <a:pt x="1392" y="146"/>
                    </a:lnTo>
                    <a:lnTo>
                      <a:pt x="1394" y="148"/>
                    </a:lnTo>
                    <a:lnTo>
                      <a:pt x="1395" y="149"/>
                    </a:lnTo>
                    <a:lnTo>
                      <a:pt x="1395" y="151"/>
                    </a:lnTo>
                    <a:lnTo>
                      <a:pt x="1397" y="153"/>
                    </a:lnTo>
                    <a:lnTo>
                      <a:pt x="1397" y="155"/>
                    </a:lnTo>
                    <a:lnTo>
                      <a:pt x="1397" y="160"/>
                    </a:lnTo>
                    <a:lnTo>
                      <a:pt x="1397" y="161"/>
                    </a:lnTo>
                    <a:lnTo>
                      <a:pt x="1399" y="161"/>
                    </a:lnTo>
                    <a:lnTo>
                      <a:pt x="1399" y="163"/>
                    </a:lnTo>
                    <a:lnTo>
                      <a:pt x="1400" y="163"/>
                    </a:lnTo>
                    <a:lnTo>
                      <a:pt x="1400" y="165"/>
                    </a:lnTo>
                    <a:lnTo>
                      <a:pt x="1400" y="166"/>
                    </a:lnTo>
                    <a:lnTo>
                      <a:pt x="1400" y="168"/>
                    </a:lnTo>
                    <a:lnTo>
                      <a:pt x="1402" y="168"/>
                    </a:lnTo>
                    <a:lnTo>
                      <a:pt x="1400" y="170"/>
                    </a:lnTo>
                    <a:lnTo>
                      <a:pt x="1402" y="170"/>
                    </a:lnTo>
                    <a:lnTo>
                      <a:pt x="1400" y="172"/>
                    </a:lnTo>
                    <a:lnTo>
                      <a:pt x="1400" y="173"/>
                    </a:lnTo>
                    <a:lnTo>
                      <a:pt x="1400" y="175"/>
                    </a:lnTo>
                    <a:lnTo>
                      <a:pt x="1402" y="175"/>
                    </a:lnTo>
                    <a:lnTo>
                      <a:pt x="1402" y="177"/>
                    </a:lnTo>
                    <a:lnTo>
                      <a:pt x="1402" y="178"/>
                    </a:lnTo>
                    <a:lnTo>
                      <a:pt x="1402" y="180"/>
                    </a:lnTo>
                    <a:lnTo>
                      <a:pt x="1404" y="180"/>
                    </a:lnTo>
                    <a:lnTo>
                      <a:pt x="1404" y="182"/>
                    </a:lnTo>
                    <a:lnTo>
                      <a:pt x="1404" y="184"/>
                    </a:lnTo>
                    <a:lnTo>
                      <a:pt x="1402" y="184"/>
                    </a:lnTo>
                    <a:lnTo>
                      <a:pt x="1402" y="185"/>
                    </a:lnTo>
                    <a:lnTo>
                      <a:pt x="1404" y="185"/>
                    </a:lnTo>
                    <a:lnTo>
                      <a:pt x="1402" y="187"/>
                    </a:lnTo>
                    <a:lnTo>
                      <a:pt x="1404" y="189"/>
                    </a:lnTo>
                    <a:lnTo>
                      <a:pt x="1402" y="189"/>
                    </a:lnTo>
                    <a:lnTo>
                      <a:pt x="1404" y="189"/>
                    </a:lnTo>
                    <a:lnTo>
                      <a:pt x="1402" y="190"/>
                    </a:lnTo>
                    <a:lnTo>
                      <a:pt x="1402" y="192"/>
                    </a:lnTo>
                    <a:lnTo>
                      <a:pt x="1404" y="192"/>
                    </a:lnTo>
                    <a:lnTo>
                      <a:pt x="1406" y="192"/>
                    </a:lnTo>
                    <a:lnTo>
                      <a:pt x="1414" y="194"/>
                    </a:lnTo>
                    <a:lnTo>
                      <a:pt x="1416" y="194"/>
                    </a:lnTo>
                    <a:lnTo>
                      <a:pt x="1426" y="190"/>
                    </a:lnTo>
                    <a:close/>
                    <a:moveTo>
                      <a:pt x="1378" y="1498"/>
                    </a:moveTo>
                    <a:lnTo>
                      <a:pt x="1378" y="1500"/>
                    </a:lnTo>
                    <a:lnTo>
                      <a:pt x="1378" y="1517"/>
                    </a:lnTo>
                    <a:lnTo>
                      <a:pt x="1378" y="1531"/>
                    </a:lnTo>
                    <a:lnTo>
                      <a:pt x="1378" y="1536"/>
                    </a:lnTo>
                    <a:lnTo>
                      <a:pt x="1378" y="1539"/>
                    </a:lnTo>
                    <a:lnTo>
                      <a:pt x="1378" y="1551"/>
                    </a:lnTo>
                    <a:lnTo>
                      <a:pt x="1377" y="1563"/>
                    </a:lnTo>
                    <a:lnTo>
                      <a:pt x="1377" y="1570"/>
                    </a:lnTo>
                    <a:lnTo>
                      <a:pt x="1377" y="1582"/>
                    </a:lnTo>
                    <a:lnTo>
                      <a:pt x="1377" y="1595"/>
                    </a:lnTo>
                    <a:lnTo>
                      <a:pt x="1377" y="1597"/>
                    </a:lnTo>
                    <a:lnTo>
                      <a:pt x="1377" y="1604"/>
                    </a:lnTo>
                    <a:lnTo>
                      <a:pt x="1377" y="1606"/>
                    </a:lnTo>
                    <a:lnTo>
                      <a:pt x="1377" y="1607"/>
                    </a:lnTo>
                    <a:lnTo>
                      <a:pt x="1377" y="1609"/>
                    </a:lnTo>
                    <a:lnTo>
                      <a:pt x="1377" y="1621"/>
                    </a:lnTo>
                    <a:lnTo>
                      <a:pt x="1377" y="1626"/>
                    </a:lnTo>
                    <a:lnTo>
                      <a:pt x="1375" y="1624"/>
                    </a:lnTo>
                    <a:lnTo>
                      <a:pt x="1373" y="1623"/>
                    </a:lnTo>
                    <a:lnTo>
                      <a:pt x="1372" y="1623"/>
                    </a:lnTo>
                    <a:lnTo>
                      <a:pt x="1372" y="1624"/>
                    </a:lnTo>
                    <a:lnTo>
                      <a:pt x="1373" y="1624"/>
                    </a:lnTo>
                    <a:lnTo>
                      <a:pt x="1373" y="1626"/>
                    </a:lnTo>
                    <a:lnTo>
                      <a:pt x="1375" y="1626"/>
                    </a:lnTo>
                    <a:lnTo>
                      <a:pt x="1375" y="1628"/>
                    </a:lnTo>
                    <a:lnTo>
                      <a:pt x="1373" y="1628"/>
                    </a:lnTo>
                    <a:lnTo>
                      <a:pt x="1372" y="1629"/>
                    </a:lnTo>
                    <a:lnTo>
                      <a:pt x="1370" y="1629"/>
                    </a:lnTo>
                    <a:lnTo>
                      <a:pt x="1368" y="1629"/>
                    </a:lnTo>
                    <a:lnTo>
                      <a:pt x="1366" y="1629"/>
                    </a:lnTo>
                    <a:lnTo>
                      <a:pt x="1365" y="1629"/>
                    </a:lnTo>
                    <a:lnTo>
                      <a:pt x="1365" y="1631"/>
                    </a:lnTo>
                    <a:lnTo>
                      <a:pt x="1363" y="1629"/>
                    </a:lnTo>
                    <a:lnTo>
                      <a:pt x="1361" y="1629"/>
                    </a:lnTo>
                    <a:lnTo>
                      <a:pt x="1360" y="1629"/>
                    </a:lnTo>
                    <a:lnTo>
                      <a:pt x="1358" y="1628"/>
                    </a:lnTo>
                    <a:lnTo>
                      <a:pt x="1356" y="1628"/>
                    </a:lnTo>
                    <a:lnTo>
                      <a:pt x="1355" y="1628"/>
                    </a:lnTo>
                    <a:lnTo>
                      <a:pt x="1353" y="1628"/>
                    </a:lnTo>
                    <a:lnTo>
                      <a:pt x="1351" y="1626"/>
                    </a:lnTo>
                    <a:lnTo>
                      <a:pt x="1349" y="1626"/>
                    </a:lnTo>
                    <a:lnTo>
                      <a:pt x="1348" y="1626"/>
                    </a:lnTo>
                    <a:lnTo>
                      <a:pt x="1348" y="1624"/>
                    </a:lnTo>
                    <a:lnTo>
                      <a:pt x="1346" y="1624"/>
                    </a:lnTo>
                    <a:lnTo>
                      <a:pt x="1344" y="1624"/>
                    </a:lnTo>
                    <a:lnTo>
                      <a:pt x="1343" y="1623"/>
                    </a:lnTo>
                    <a:lnTo>
                      <a:pt x="1343" y="1621"/>
                    </a:lnTo>
                    <a:lnTo>
                      <a:pt x="1344" y="1619"/>
                    </a:lnTo>
                    <a:lnTo>
                      <a:pt x="1344" y="1621"/>
                    </a:lnTo>
                    <a:lnTo>
                      <a:pt x="1344" y="1619"/>
                    </a:lnTo>
                    <a:lnTo>
                      <a:pt x="1344" y="1618"/>
                    </a:lnTo>
                    <a:lnTo>
                      <a:pt x="1344" y="1616"/>
                    </a:lnTo>
                    <a:lnTo>
                      <a:pt x="1344" y="1618"/>
                    </a:lnTo>
                    <a:lnTo>
                      <a:pt x="1344" y="1619"/>
                    </a:lnTo>
                    <a:lnTo>
                      <a:pt x="1343" y="1621"/>
                    </a:lnTo>
                    <a:lnTo>
                      <a:pt x="1343" y="1619"/>
                    </a:lnTo>
                    <a:lnTo>
                      <a:pt x="1343" y="1618"/>
                    </a:lnTo>
                    <a:lnTo>
                      <a:pt x="1341" y="1616"/>
                    </a:lnTo>
                    <a:lnTo>
                      <a:pt x="1341" y="1614"/>
                    </a:lnTo>
                    <a:lnTo>
                      <a:pt x="1341" y="1616"/>
                    </a:lnTo>
                    <a:lnTo>
                      <a:pt x="1341" y="1618"/>
                    </a:lnTo>
                    <a:lnTo>
                      <a:pt x="1343" y="1619"/>
                    </a:lnTo>
                    <a:lnTo>
                      <a:pt x="1341" y="1619"/>
                    </a:lnTo>
                    <a:lnTo>
                      <a:pt x="1341" y="1621"/>
                    </a:lnTo>
                    <a:lnTo>
                      <a:pt x="1343" y="1621"/>
                    </a:lnTo>
                    <a:lnTo>
                      <a:pt x="1343" y="1619"/>
                    </a:lnTo>
                    <a:lnTo>
                      <a:pt x="1343" y="1621"/>
                    </a:lnTo>
                    <a:lnTo>
                      <a:pt x="1343" y="1623"/>
                    </a:lnTo>
                    <a:lnTo>
                      <a:pt x="1341" y="1623"/>
                    </a:lnTo>
                    <a:lnTo>
                      <a:pt x="1339" y="1623"/>
                    </a:lnTo>
                    <a:lnTo>
                      <a:pt x="1339" y="1621"/>
                    </a:lnTo>
                    <a:lnTo>
                      <a:pt x="1339" y="1619"/>
                    </a:lnTo>
                    <a:lnTo>
                      <a:pt x="1341" y="1619"/>
                    </a:lnTo>
                    <a:lnTo>
                      <a:pt x="1341" y="1618"/>
                    </a:lnTo>
                    <a:lnTo>
                      <a:pt x="1339" y="1618"/>
                    </a:lnTo>
                    <a:lnTo>
                      <a:pt x="1339" y="1616"/>
                    </a:lnTo>
                    <a:lnTo>
                      <a:pt x="1339" y="1618"/>
                    </a:lnTo>
                    <a:lnTo>
                      <a:pt x="1341" y="1619"/>
                    </a:lnTo>
                    <a:lnTo>
                      <a:pt x="1339" y="1619"/>
                    </a:lnTo>
                    <a:lnTo>
                      <a:pt x="1339" y="1621"/>
                    </a:lnTo>
                    <a:lnTo>
                      <a:pt x="1339" y="1623"/>
                    </a:lnTo>
                    <a:lnTo>
                      <a:pt x="1338" y="1623"/>
                    </a:lnTo>
                    <a:lnTo>
                      <a:pt x="1336" y="1623"/>
                    </a:lnTo>
                    <a:lnTo>
                      <a:pt x="1334" y="1623"/>
                    </a:lnTo>
                    <a:lnTo>
                      <a:pt x="1332" y="1623"/>
                    </a:lnTo>
                    <a:lnTo>
                      <a:pt x="1332" y="1621"/>
                    </a:lnTo>
                    <a:lnTo>
                      <a:pt x="1332" y="1619"/>
                    </a:lnTo>
                    <a:lnTo>
                      <a:pt x="1332" y="1618"/>
                    </a:lnTo>
                    <a:lnTo>
                      <a:pt x="1332" y="1616"/>
                    </a:lnTo>
                    <a:lnTo>
                      <a:pt x="1332" y="1618"/>
                    </a:lnTo>
                    <a:lnTo>
                      <a:pt x="1332" y="1619"/>
                    </a:lnTo>
                    <a:lnTo>
                      <a:pt x="1332" y="1621"/>
                    </a:lnTo>
                    <a:lnTo>
                      <a:pt x="1332" y="1623"/>
                    </a:lnTo>
                    <a:lnTo>
                      <a:pt x="1332" y="1624"/>
                    </a:lnTo>
                    <a:lnTo>
                      <a:pt x="1331" y="1624"/>
                    </a:lnTo>
                    <a:lnTo>
                      <a:pt x="1329" y="1624"/>
                    </a:lnTo>
                    <a:lnTo>
                      <a:pt x="1327" y="1624"/>
                    </a:lnTo>
                    <a:lnTo>
                      <a:pt x="1329" y="1623"/>
                    </a:lnTo>
                    <a:lnTo>
                      <a:pt x="1329" y="1621"/>
                    </a:lnTo>
                    <a:lnTo>
                      <a:pt x="1327" y="1623"/>
                    </a:lnTo>
                    <a:lnTo>
                      <a:pt x="1327" y="1621"/>
                    </a:lnTo>
                    <a:lnTo>
                      <a:pt x="1327" y="1623"/>
                    </a:lnTo>
                    <a:lnTo>
                      <a:pt x="1326" y="1624"/>
                    </a:lnTo>
                    <a:lnTo>
                      <a:pt x="1324" y="1624"/>
                    </a:lnTo>
                    <a:lnTo>
                      <a:pt x="1324" y="1623"/>
                    </a:lnTo>
                    <a:lnTo>
                      <a:pt x="1324" y="1624"/>
                    </a:lnTo>
                    <a:lnTo>
                      <a:pt x="1326" y="1624"/>
                    </a:lnTo>
                    <a:lnTo>
                      <a:pt x="1324" y="1624"/>
                    </a:lnTo>
                    <a:lnTo>
                      <a:pt x="1322" y="1624"/>
                    </a:lnTo>
                    <a:lnTo>
                      <a:pt x="1321" y="1624"/>
                    </a:lnTo>
                    <a:lnTo>
                      <a:pt x="1321" y="1623"/>
                    </a:lnTo>
                    <a:lnTo>
                      <a:pt x="1321" y="1621"/>
                    </a:lnTo>
                    <a:lnTo>
                      <a:pt x="1321" y="1619"/>
                    </a:lnTo>
                    <a:lnTo>
                      <a:pt x="1322" y="1618"/>
                    </a:lnTo>
                    <a:lnTo>
                      <a:pt x="1324" y="1616"/>
                    </a:lnTo>
                    <a:lnTo>
                      <a:pt x="1326" y="1614"/>
                    </a:lnTo>
                    <a:lnTo>
                      <a:pt x="1324" y="1614"/>
                    </a:lnTo>
                    <a:lnTo>
                      <a:pt x="1322" y="1614"/>
                    </a:lnTo>
                    <a:lnTo>
                      <a:pt x="1322" y="1616"/>
                    </a:lnTo>
                    <a:lnTo>
                      <a:pt x="1322" y="1618"/>
                    </a:lnTo>
                    <a:lnTo>
                      <a:pt x="1321" y="1618"/>
                    </a:lnTo>
                    <a:lnTo>
                      <a:pt x="1321" y="1619"/>
                    </a:lnTo>
                    <a:lnTo>
                      <a:pt x="1321" y="1621"/>
                    </a:lnTo>
                    <a:lnTo>
                      <a:pt x="1319" y="1623"/>
                    </a:lnTo>
                    <a:lnTo>
                      <a:pt x="1319" y="1624"/>
                    </a:lnTo>
                    <a:lnTo>
                      <a:pt x="1319" y="1623"/>
                    </a:lnTo>
                    <a:lnTo>
                      <a:pt x="1317" y="1623"/>
                    </a:lnTo>
                    <a:lnTo>
                      <a:pt x="1315" y="1621"/>
                    </a:lnTo>
                    <a:lnTo>
                      <a:pt x="1314" y="1621"/>
                    </a:lnTo>
                    <a:lnTo>
                      <a:pt x="1312" y="1621"/>
                    </a:lnTo>
                    <a:lnTo>
                      <a:pt x="1312" y="1619"/>
                    </a:lnTo>
                    <a:lnTo>
                      <a:pt x="1310" y="1619"/>
                    </a:lnTo>
                    <a:lnTo>
                      <a:pt x="1312" y="1619"/>
                    </a:lnTo>
                    <a:lnTo>
                      <a:pt x="1310" y="1619"/>
                    </a:lnTo>
                    <a:lnTo>
                      <a:pt x="1310" y="1621"/>
                    </a:lnTo>
                    <a:lnTo>
                      <a:pt x="1309" y="1621"/>
                    </a:lnTo>
                    <a:lnTo>
                      <a:pt x="1309" y="1623"/>
                    </a:lnTo>
                    <a:lnTo>
                      <a:pt x="1307" y="1621"/>
                    </a:lnTo>
                    <a:lnTo>
                      <a:pt x="1307" y="1623"/>
                    </a:lnTo>
                    <a:lnTo>
                      <a:pt x="1307" y="1624"/>
                    </a:lnTo>
                    <a:lnTo>
                      <a:pt x="1307" y="1623"/>
                    </a:lnTo>
                    <a:lnTo>
                      <a:pt x="1305" y="1623"/>
                    </a:lnTo>
                    <a:lnTo>
                      <a:pt x="1304" y="1623"/>
                    </a:lnTo>
                    <a:lnTo>
                      <a:pt x="1302" y="1623"/>
                    </a:lnTo>
                    <a:lnTo>
                      <a:pt x="1304" y="1621"/>
                    </a:lnTo>
                    <a:lnTo>
                      <a:pt x="1304" y="1619"/>
                    </a:lnTo>
                    <a:lnTo>
                      <a:pt x="1304" y="1621"/>
                    </a:lnTo>
                    <a:lnTo>
                      <a:pt x="1304" y="1619"/>
                    </a:lnTo>
                    <a:lnTo>
                      <a:pt x="1305" y="1619"/>
                    </a:lnTo>
                    <a:lnTo>
                      <a:pt x="1307" y="1619"/>
                    </a:lnTo>
                    <a:lnTo>
                      <a:pt x="1309" y="1618"/>
                    </a:lnTo>
                    <a:lnTo>
                      <a:pt x="1310" y="1618"/>
                    </a:lnTo>
                    <a:lnTo>
                      <a:pt x="1310" y="1616"/>
                    </a:lnTo>
                    <a:lnTo>
                      <a:pt x="1312" y="1616"/>
                    </a:lnTo>
                    <a:lnTo>
                      <a:pt x="1314" y="1616"/>
                    </a:lnTo>
                    <a:lnTo>
                      <a:pt x="1314" y="1614"/>
                    </a:lnTo>
                    <a:lnTo>
                      <a:pt x="1315" y="1614"/>
                    </a:lnTo>
                    <a:lnTo>
                      <a:pt x="1315" y="1612"/>
                    </a:lnTo>
                    <a:lnTo>
                      <a:pt x="1317" y="1612"/>
                    </a:lnTo>
                    <a:lnTo>
                      <a:pt x="1317" y="1611"/>
                    </a:lnTo>
                    <a:lnTo>
                      <a:pt x="1315" y="1611"/>
                    </a:lnTo>
                    <a:lnTo>
                      <a:pt x="1314" y="1611"/>
                    </a:lnTo>
                    <a:lnTo>
                      <a:pt x="1312" y="1611"/>
                    </a:lnTo>
                    <a:lnTo>
                      <a:pt x="1312" y="1612"/>
                    </a:lnTo>
                    <a:lnTo>
                      <a:pt x="1310" y="1614"/>
                    </a:lnTo>
                    <a:lnTo>
                      <a:pt x="1312" y="1614"/>
                    </a:lnTo>
                    <a:lnTo>
                      <a:pt x="1312" y="1616"/>
                    </a:lnTo>
                    <a:lnTo>
                      <a:pt x="1310" y="1616"/>
                    </a:lnTo>
                    <a:lnTo>
                      <a:pt x="1309" y="1616"/>
                    </a:lnTo>
                    <a:lnTo>
                      <a:pt x="1309" y="1618"/>
                    </a:lnTo>
                    <a:lnTo>
                      <a:pt x="1307" y="1618"/>
                    </a:lnTo>
                    <a:lnTo>
                      <a:pt x="1307" y="1616"/>
                    </a:lnTo>
                    <a:lnTo>
                      <a:pt x="1305" y="1616"/>
                    </a:lnTo>
                    <a:lnTo>
                      <a:pt x="1305" y="1618"/>
                    </a:lnTo>
                    <a:lnTo>
                      <a:pt x="1304" y="1618"/>
                    </a:lnTo>
                    <a:lnTo>
                      <a:pt x="1305" y="1618"/>
                    </a:lnTo>
                    <a:lnTo>
                      <a:pt x="1304" y="1619"/>
                    </a:lnTo>
                    <a:lnTo>
                      <a:pt x="1304" y="1618"/>
                    </a:lnTo>
                    <a:lnTo>
                      <a:pt x="1302" y="1619"/>
                    </a:lnTo>
                    <a:lnTo>
                      <a:pt x="1302" y="1618"/>
                    </a:lnTo>
                    <a:lnTo>
                      <a:pt x="1300" y="1618"/>
                    </a:lnTo>
                    <a:lnTo>
                      <a:pt x="1298" y="1618"/>
                    </a:lnTo>
                    <a:lnTo>
                      <a:pt x="1300" y="1618"/>
                    </a:lnTo>
                    <a:lnTo>
                      <a:pt x="1300" y="1616"/>
                    </a:lnTo>
                    <a:lnTo>
                      <a:pt x="1302" y="1616"/>
                    </a:lnTo>
                    <a:lnTo>
                      <a:pt x="1304" y="1614"/>
                    </a:lnTo>
                    <a:lnTo>
                      <a:pt x="1305" y="1614"/>
                    </a:lnTo>
                    <a:lnTo>
                      <a:pt x="1304" y="1614"/>
                    </a:lnTo>
                    <a:lnTo>
                      <a:pt x="1302" y="1614"/>
                    </a:lnTo>
                    <a:lnTo>
                      <a:pt x="1302" y="1612"/>
                    </a:lnTo>
                    <a:lnTo>
                      <a:pt x="1300" y="1612"/>
                    </a:lnTo>
                    <a:lnTo>
                      <a:pt x="1300" y="1614"/>
                    </a:lnTo>
                    <a:lnTo>
                      <a:pt x="1298" y="1614"/>
                    </a:lnTo>
                    <a:lnTo>
                      <a:pt x="1300" y="1614"/>
                    </a:lnTo>
                    <a:lnTo>
                      <a:pt x="1300" y="1616"/>
                    </a:lnTo>
                    <a:lnTo>
                      <a:pt x="1298" y="1618"/>
                    </a:lnTo>
                    <a:lnTo>
                      <a:pt x="1298" y="1619"/>
                    </a:lnTo>
                    <a:lnTo>
                      <a:pt x="1297" y="1619"/>
                    </a:lnTo>
                    <a:lnTo>
                      <a:pt x="1295" y="1618"/>
                    </a:lnTo>
                    <a:lnTo>
                      <a:pt x="1297" y="1618"/>
                    </a:lnTo>
                    <a:lnTo>
                      <a:pt x="1297" y="1616"/>
                    </a:lnTo>
                    <a:lnTo>
                      <a:pt x="1298" y="1616"/>
                    </a:lnTo>
                    <a:lnTo>
                      <a:pt x="1298" y="1614"/>
                    </a:lnTo>
                    <a:lnTo>
                      <a:pt x="1300" y="1614"/>
                    </a:lnTo>
                    <a:lnTo>
                      <a:pt x="1298" y="1614"/>
                    </a:lnTo>
                    <a:lnTo>
                      <a:pt x="1297" y="1614"/>
                    </a:lnTo>
                    <a:lnTo>
                      <a:pt x="1297" y="1616"/>
                    </a:lnTo>
                    <a:lnTo>
                      <a:pt x="1297" y="1614"/>
                    </a:lnTo>
                    <a:lnTo>
                      <a:pt x="1298" y="1614"/>
                    </a:lnTo>
                    <a:lnTo>
                      <a:pt x="1298" y="1612"/>
                    </a:lnTo>
                    <a:lnTo>
                      <a:pt x="1297" y="1612"/>
                    </a:lnTo>
                    <a:lnTo>
                      <a:pt x="1298" y="1612"/>
                    </a:lnTo>
                    <a:lnTo>
                      <a:pt x="1298" y="1611"/>
                    </a:lnTo>
                    <a:lnTo>
                      <a:pt x="1300" y="1611"/>
                    </a:lnTo>
                    <a:lnTo>
                      <a:pt x="1298" y="1611"/>
                    </a:lnTo>
                    <a:lnTo>
                      <a:pt x="1297" y="1611"/>
                    </a:lnTo>
                    <a:lnTo>
                      <a:pt x="1297" y="1609"/>
                    </a:lnTo>
                    <a:lnTo>
                      <a:pt x="1295" y="1609"/>
                    </a:lnTo>
                    <a:lnTo>
                      <a:pt x="1297" y="1611"/>
                    </a:lnTo>
                    <a:lnTo>
                      <a:pt x="1295" y="1612"/>
                    </a:lnTo>
                    <a:lnTo>
                      <a:pt x="1295" y="1611"/>
                    </a:lnTo>
                    <a:lnTo>
                      <a:pt x="1293" y="1612"/>
                    </a:lnTo>
                    <a:lnTo>
                      <a:pt x="1293" y="1614"/>
                    </a:lnTo>
                    <a:lnTo>
                      <a:pt x="1292" y="1614"/>
                    </a:lnTo>
                    <a:lnTo>
                      <a:pt x="1290" y="1614"/>
                    </a:lnTo>
                    <a:lnTo>
                      <a:pt x="1292" y="1614"/>
                    </a:lnTo>
                    <a:lnTo>
                      <a:pt x="1290" y="1612"/>
                    </a:lnTo>
                    <a:lnTo>
                      <a:pt x="1288" y="1614"/>
                    </a:lnTo>
                    <a:lnTo>
                      <a:pt x="1288" y="1612"/>
                    </a:lnTo>
                    <a:lnTo>
                      <a:pt x="1287" y="1612"/>
                    </a:lnTo>
                    <a:lnTo>
                      <a:pt x="1287" y="1611"/>
                    </a:lnTo>
                    <a:lnTo>
                      <a:pt x="1288" y="1611"/>
                    </a:lnTo>
                    <a:lnTo>
                      <a:pt x="1290" y="1612"/>
                    </a:lnTo>
                    <a:lnTo>
                      <a:pt x="1290" y="1611"/>
                    </a:lnTo>
                    <a:lnTo>
                      <a:pt x="1292" y="1611"/>
                    </a:lnTo>
                    <a:lnTo>
                      <a:pt x="1293" y="1611"/>
                    </a:lnTo>
                    <a:lnTo>
                      <a:pt x="1292" y="1611"/>
                    </a:lnTo>
                    <a:lnTo>
                      <a:pt x="1290" y="1611"/>
                    </a:lnTo>
                    <a:lnTo>
                      <a:pt x="1288" y="1609"/>
                    </a:lnTo>
                    <a:lnTo>
                      <a:pt x="1288" y="1607"/>
                    </a:lnTo>
                    <a:lnTo>
                      <a:pt x="1290" y="1607"/>
                    </a:lnTo>
                    <a:lnTo>
                      <a:pt x="1292" y="1607"/>
                    </a:lnTo>
                    <a:lnTo>
                      <a:pt x="1290" y="1607"/>
                    </a:lnTo>
                    <a:lnTo>
                      <a:pt x="1288" y="1607"/>
                    </a:lnTo>
                    <a:lnTo>
                      <a:pt x="1290" y="1606"/>
                    </a:lnTo>
                    <a:lnTo>
                      <a:pt x="1288" y="1606"/>
                    </a:lnTo>
                    <a:lnTo>
                      <a:pt x="1290" y="1604"/>
                    </a:lnTo>
                    <a:lnTo>
                      <a:pt x="1288" y="1606"/>
                    </a:lnTo>
                    <a:lnTo>
                      <a:pt x="1288" y="1607"/>
                    </a:lnTo>
                    <a:lnTo>
                      <a:pt x="1287" y="1607"/>
                    </a:lnTo>
                    <a:lnTo>
                      <a:pt x="1287" y="1606"/>
                    </a:lnTo>
                    <a:lnTo>
                      <a:pt x="1287" y="1604"/>
                    </a:lnTo>
                    <a:lnTo>
                      <a:pt x="1287" y="1606"/>
                    </a:lnTo>
                    <a:lnTo>
                      <a:pt x="1287" y="1607"/>
                    </a:lnTo>
                    <a:lnTo>
                      <a:pt x="1285" y="1606"/>
                    </a:lnTo>
                    <a:lnTo>
                      <a:pt x="1283" y="1604"/>
                    </a:lnTo>
                    <a:lnTo>
                      <a:pt x="1285" y="1606"/>
                    </a:lnTo>
                    <a:lnTo>
                      <a:pt x="1285" y="1607"/>
                    </a:lnTo>
                    <a:lnTo>
                      <a:pt x="1283" y="1606"/>
                    </a:lnTo>
                    <a:lnTo>
                      <a:pt x="1283" y="1607"/>
                    </a:lnTo>
                    <a:lnTo>
                      <a:pt x="1285" y="1607"/>
                    </a:lnTo>
                    <a:lnTo>
                      <a:pt x="1287" y="1607"/>
                    </a:lnTo>
                    <a:lnTo>
                      <a:pt x="1287" y="1609"/>
                    </a:lnTo>
                    <a:lnTo>
                      <a:pt x="1287" y="1611"/>
                    </a:lnTo>
                    <a:lnTo>
                      <a:pt x="1285" y="1609"/>
                    </a:lnTo>
                    <a:lnTo>
                      <a:pt x="1287" y="1609"/>
                    </a:lnTo>
                    <a:lnTo>
                      <a:pt x="1285" y="1609"/>
                    </a:lnTo>
                    <a:lnTo>
                      <a:pt x="1283" y="1609"/>
                    </a:lnTo>
                    <a:lnTo>
                      <a:pt x="1285" y="1609"/>
                    </a:lnTo>
                    <a:lnTo>
                      <a:pt x="1285" y="1611"/>
                    </a:lnTo>
                    <a:lnTo>
                      <a:pt x="1285" y="1612"/>
                    </a:lnTo>
                    <a:lnTo>
                      <a:pt x="1283" y="1612"/>
                    </a:lnTo>
                    <a:lnTo>
                      <a:pt x="1283" y="1611"/>
                    </a:lnTo>
                    <a:lnTo>
                      <a:pt x="1281" y="1611"/>
                    </a:lnTo>
                    <a:lnTo>
                      <a:pt x="1283" y="1612"/>
                    </a:lnTo>
                    <a:lnTo>
                      <a:pt x="1281" y="1612"/>
                    </a:lnTo>
                    <a:lnTo>
                      <a:pt x="1281" y="1614"/>
                    </a:lnTo>
                    <a:lnTo>
                      <a:pt x="1280" y="1614"/>
                    </a:lnTo>
                    <a:lnTo>
                      <a:pt x="1280" y="1612"/>
                    </a:lnTo>
                    <a:lnTo>
                      <a:pt x="1280" y="1611"/>
                    </a:lnTo>
                    <a:lnTo>
                      <a:pt x="1280" y="1609"/>
                    </a:lnTo>
                    <a:lnTo>
                      <a:pt x="1281" y="1609"/>
                    </a:lnTo>
                    <a:lnTo>
                      <a:pt x="1281" y="1607"/>
                    </a:lnTo>
                    <a:lnTo>
                      <a:pt x="1280" y="1609"/>
                    </a:lnTo>
                    <a:lnTo>
                      <a:pt x="1280" y="1611"/>
                    </a:lnTo>
                    <a:lnTo>
                      <a:pt x="1280" y="1612"/>
                    </a:lnTo>
                    <a:lnTo>
                      <a:pt x="1280" y="1611"/>
                    </a:lnTo>
                    <a:lnTo>
                      <a:pt x="1278" y="1612"/>
                    </a:lnTo>
                    <a:lnTo>
                      <a:pt x="1278" y="1611"/>
                    </a:lnTo>
                    <a:lnTo>
                      <a:pt x="1278" y="1609"/>
                    </a:lnTo>
                    <a:lnTo>
                      <a:pt x="1278" y="1611"/>
                    </a:lnTo>
                    <a:lnTo>
                      <a:pt x="1276" y="1611"/>
                    </a:lnTo>
                    <a:lnTo>
                      <a:pt x="1276" y="1609"/>
                    </a:lnTo>
                    <a:lnTo>
                      <a:pt x="1278" y="1609"/>
                    </a:lnTo>
                    <a:lnTo>
                      <a:pt x="1278" y="1607"/>
                    </a:lnTo>
                    <a:lnTo>
                      <a:pt x="1278" y="1609"/>
                    </a:lnTo>
                    <a:lnTo>
                      <a:pt x="1276" y="1607"/>
                    </a:lnTo>
                    <a:lnTo>
                      <a:pt x="1276" y="1609"/>
                    </a:lnTo>
                    <a:lnTo>
                      <a:pt x="1275" y="1611"/>
                    </a:lnTo>
                    <a:lnTo>
                      <a:pt x="1276" y="1611"/>
                    </a:lnTo>
                    <a:lnTo>
                      <a:pt x="1275" y="1612"/>
                    </a:lnTo>
                    <a:lnTo>
                      <a:pt x="1275" y="1611"/>
                    </a:lnTo>
                    <a:lnTo>
                      <a:pt x="1275" y="1609"/>
                    </a:lnTo>
                    <a:lnTo>
                      <a:pt x="1276" y="1609"/>
                    </a:lnTo>
                    <a:lnTo>
                      <a:pt x="1276" y="1607"/>
                    </a:lnTo>
                    <a:lnTo>
                      <a:pt x="1275" y="1609"/>
                    </a:lnTo>
                    <a:lnTo>
                      <a:pt x="1273" y="1609"/>
                    </a:lnTo>
                    <a:lnTo>
                      <a:pt x="1271" y="1607"/>
                    </a:lnTo>
                    <a:lnTo>
                      <a:pt x="1273" y="1609"/>
                    </a:lnTo>
                    <a:lnTo>
                      <a:pt x="1271" y="1611"/>
                    </a:lnTo>
                    <a:lnTo>
                      <a:pt x="1271" y="1609"/>
                    </a:lnTo>
                    <a:lnTo>
                      <a:pt x="1270" y="1607"/>
                    </a:lnTo>
                    <a:lnTo>
                      <a:pt x="1270" y="1609"/>
                    </a:lnTo>
                    <a:lnTo>
                      <a:pt x="1271" y="1611"/>
                    </a:lnTo>
                    <a:lnTo>
                      <a:pt x="1270" y="1611"/>
                    </a:lnTo>
                    <a:lnTo>
                      <a:pt x="1268" y="1611"/>
                    </a:lnTo>
                    <a:lnTo>
                      <a:pt x="1266" y="1611"/>
                    </a:lnTo>
                    <a:lnTo>
                      <a:pt x="1264" y="1609"/>
                    </a:lnTo>
                    <a:lnTo>
                      <a:pt x="1266" y="1609"/>
                    </a:lnTo>
                    <a:lnTo>
                      <a:pt x="1268" y="1609"/>
                    </a:lnTo>
                    <a:lnTo>
                      <a:pt x="1268" y="1607"/>
                    </a:lnTo>
                    <a:lnTo>
                      <a:pt x="1266" y="1607"/>
                    </a:lnTo>
                    <a:lnTo>
                      <a:pt x="1266" y="1606"/>
                    </a:lnTo>
                    <a:lnTo>
                      <a:pt x="1264" y="1607"/>
                    </a:lnTo>
                    <a:lnTo>
                      <a:pt x="1264" y="1606"/>
                    </a:lnTo>
                    <a:lnTo>
                      <a:pt x="1264" y="1604"/>
                    </a:lnTo>
                    <a:lnTo>
                      <a:pt x="1263" y="1604"/>
                    </a:lnTo>
                    <a:lnTo>
                      <a:pt x="1264" y="1602"/>
                    </a:lnTo>
                    <a:lnTo>
                      <a:pt x="1264" y="1604"/>
                    </a:lnTo>
                    <a:lnTo>
                      <a:pt x="1266" y="1606"/>
                    </a:lnTo>
                    <a:lnTo>
                      <a:pt x="1264" y="1604"/>
                    </a:lnTo>
                    <a:lnTo>
                      <a:pt x="1264" y="1602"/>
                    </a:lnTo>
                    <a:lnTo>
                      <a:pt x="1266" y="1604"/>
                    </a:lnTo>
                    <a:lnTo>
                      <a:pt x="1264" y="1602"/>
                    </a:lnTo>
                    <a:lnTo>
                      <a:pt x="1264" y="1600"/>
                    </a:lnTo>
                    <a:lnTo>
                      <a:pt x="1266" y="1600"/>
                    </a:lnTo>
                    <a:lnTo>
                      <a:pt x="1268" y="1600"/>
                    </a:lnTo>
                    <a:lnTo>
                      <a:pt x="1268" y="1602"/>
                    </a:lnTo>
                    <a:lnTo>
                      <a:pt x="1268" y="1604"/>
                    </a:lnTo>
                    <a:lnTo>
                      <a:pt x="1268" y="1602"/>
                    </a:lnTo>
                    <a:lnTo>
                      <a:pt x="1268" y="1600"/>
                    </a:lnTo>
                    <a:lnTo>
                      <a:pt x="1270" y="1602"/>
                    </a:lnTo>
                    <a:lnTo>
                      <a:pt x="1270" y="1604"/>
                    </a:lnTo>
                    <a:lnTo>
                      <a:pt x="1270" y="1606"/>
                    </a:lnTo>
                    <a:lnTo>
                      <a:pt x="1271" y="1606"/>
                    </a:lnTo>
                    <a:lnTo>
                      <a:pt x="1273" y="1606"/>
                    </a:lnTo>
                    <a:lnTo>
                      <a:pt x="1275" y="1607"/>
                    </a:lnTo>
                    <a:lnTo>
                      <a:pt x="1275" y="1606"/>
                    </a:lnTo>
                    <a:lnTo>
                      <a:pt x="1273" y="1606"/>
                    </a:lnTo>
                    <a:lnTo>
                      <a:pt x="1275" y="1606"/>
                    </a:lnTo>
                    <a:lnTo>
                      <a:pt x="1273" y="1604"/>
                    </a:lnTo>
                    <a:lnTo>
                      <a:pt x="1271" y="1602"/>
                    </a:lnTo>
                    <a:lnTo>
                      <a:pt x="1273" y="1602"/>
                    </a:lnTo>
                    <a:lnTo>
                      <a:pt x="1275" y="1604"/>
                    </a:lnTo>
                    <a:lnTo>
                      <a:pt x="1276" y="1604"/>
                    </a:lnTo>
                    <a:lnTo>
                      <a:pt x="1276" y="1606"/>
                    </a:lnTo>
                    <a:lnTo>
                      <a:pt x="1276" y="1604"/>
                    </a:lnTo>
                    <a:lnTo>
                      <a:pt x="1278" y="1606"/>
                    </a:lnTo>
                    <a:lnTo>
                      <a:pt x="1280" y="1606"/>
                    </a:lnTo>
                    <a:lnTo>
                      <a:pt x="1278" y="1604"/>
                    </a:lnTo>
                    <a:lnTo>
                      <a:pt x="1276" y="1604"/>
                    </a:lnTo>
                    <a:lnTo>
                      <a:pt x="1275" y="1604"/>
                    </a:lnTo>
                    <a:lnTo>
                      <a:pt x="1276" y="1602"/>
                    </a:lnTo>
                    <a:lnTo>
                      <a:pt x="1275" y="1602"/>
                    </a:lnTo>
                    <a:lnTo>
                      <a:pt x="1273" y="1602"/>
                    </a:lnTo>
                    <a:lnTo>
                      <a:pt x="1275" y="1600"/>
                    </a:lnTo>
                    <a:lnTo>
                      <a:pt x="1273" y="1600"/>
                    </a:lnTo>
                    <a:lnTo>
                      <a:pt x="1271" y="1600"/>
                    </a:lnTo>
                    <a:lnTo>
                      <a:pt x="1270" y="1600"/>
                    </a:lnTo>
                    <a:lnTo>
                      <a:pt x="1268" y="1600"/>
                    </a:lnTo>
                    <a:lnTo>
                      <a:pt x="1268" y="1599"/>
                    </a:lnTo>
                    <a:lnTo>
                      <a:pt x="1270" y="1599"/>
                    </a:lnTo>
                    <a:lnTo>
                      <a:pt x="1271" y="1600"/>
                    </a:lnTo>
                    <a:lnTo>
                      <a:pt x="1270" y="1599"/>
                    </a:lnTo>
                    <a:lnTo>
                      <a:pt x="1271" y="1599"/>
                    </a:lnTo>
                    <a:lnTo>
                      <a:pt x="1270" y="1599"/>
                    </a:lnTo>
                    <a:lnTo>
                      <a:pt x="1270" y="1597"/>
                    </a:lnTo>
                    <a:lnTo>
                      <a:pt x="1271" y="1599"/>
                    </a:lnTo>
                    <a:lnTo>
                      <a:pt x="1270" y="1597"/>
                    </a:lnTo>
                    <a:lnTo>
                      <a:pt x="1271" y="1597"/>
                    </a:lnTo>
                    <a:lnTo>
                      <a:pt x="1273" y="1597"/>
                    </a:lnTo>
                    <a:lnTo>
                      <a:pt x="1273" y="1599"/>
                    </a:lnTo>
                    <a:lnTo>
                      <a:pt x="1275" y="1599"/>
                    </a:lnTo>
                    <a:lnTo>
                      <a:pt x="1275" y="1600"/>
                    </a:lnTo>
                    <a:lnTo>
                      <a:pt x="1276" y="1600"/>
                    </a:lnTo>
                    <a:lnTo>
                      <a:pt x="1276" y="1602"/>
                    </a:lnTo>
                    <a:lnTo>
                      <a:pt x="1278" y="1602"/>
                    </a:lnTo>
                    <a:lnTo>
                      <a:pt x="1278" y="1604"/>
                    </a:lnTo>
                    <a:lnTo>
                      <a:pt x="1280" y="1604"/>
                    </a:lnTo>
                    <a:lnTo>
                      <a:pt x="1280" y="1602"/>
                    </a:lnTo>
                    <a:lnTo>
                      <a:pt x="1278" y="1602"/>
                    </a:lnTo>
                    <a:lnTo>
                      <a:pt x="1280" y="1602"/>
                    </a:lnTo>
                    <a:lnTo>
                      <a:pt x="1281" y="1602"/>
                    </a:lnTo>
                    <a:lnTo>
                      <a:pt x="1280" y="1602"/>
                    </a:lnTo>
                    <a:lnTo>
                      <a:pt x="1278" y="1600"/>
                    </a:lnTo>
                    <a:lnTo>
                      <a:pt x="1276" y="1600"/>
                    </a:lnTo>
                    <a:lnTo>
                      <a:pt x="1278" y="1600"/>
                    </a:lnTo>
                    <a:lnTo>
                      <a:pt x="1278" y="1599"/>
                    </a:lnTo>
                    <a:lnTo>
                      <a:pt x="1276" y="1597"/>
                    </a:lnTo>
                    <a:lnTo>
                      <a:pt x="1278" y="1597"/>
                    </a:lnTo>
                    <a:lnTo>
                      <a:pt x="1278" y="1599"/>
                    </a:lnTo>
                    <a:lnTo>
                      <a:pt x="1280" y="1599"/>
                    </a:lnTo>
                    <a:lnTo>
                      <a:pt x="1280" y="1597"/>
                    </a:lnTo>
                    <a:lnTo>
                      <a:pt x="1280" y="1599"/>
                    </a:lnTo>
                    <a:lnTo>
                      <a:pt x="1278" y="1597"/>
                    </a:lnTo>
                    <a:lnTo>
                      <a:pt x="1280" y="1597"/>
                    </a:lnTo>
                    <a:lnTo>
                      <a:pt x="1280" y="1599"/>
                    </a:lnTo>
                    <a:lnTo>
                      <a:pt x="1281" y="1599"/>
                    </a:lnTo>
                    <a:lnTo>
                      <a:pt x="1283" y="1599"/>
                    </a:lnTo>
                    <a:lnTo>
                      <a:pt x="1281" y="1599"/>
                    </a:lnTo>
                    <a:lnTo>
                      <a:pt x="1283" y="1599"/>
                    </a:lnTo>
                    <a:lnTo>
                      <a:pt x="1285" y="1599"/>
                    </a:lnTo>
                    <a:lnTo>
                      <a:pt x="1285" y="1600"/>
                    </a:lnTo>
                    <a:lnTo>
                      <a:pt x="1285" y="1599"/>
                    </a:lnTo>
                    <a:lnTo>
                      <a:pt x="1287" y="1599"/>
                    </a:lnTo>
                    <a:lnTo>
                      <a:pt x="1285" y="1599"/>
                    </a:lnTo>
                    <a:lnTo>
                      <a:pt x="1283" y="1599"/>
                    </a:lnTo>
                    <a:lnTo>
                      <a:pt x="1283" y="1597"/>
                    </a:lnTo>
                    <a:lnTo>
                      <a:pt x="1285" y="1597"/>
                    </a:lnTo>
                    <a:lnTo>
                      <a:pt x="1283" y="1595"/>
                    </a:lnTo>
                    <a:lnTo>
                      <a:pt x="1285" y="1597"/>
                    </a:lnTo>
                    <a:lnTo>
                      <a:pt x="1285" y="1595"/>
                    </a:lnTo>
                    <a:lnTo>
                      <a:pt x="1287" y="1595"/>
                    </a:lnTo>
                    <a:lnTo>
                      <a:pt x="1287" y="1597"/>
                    </a:lnTo>
                    <a:lnTo>
                      <a:pt x="1288" y="1597"/>
                    </a:lnTo>
                    <a:lnTo>
                      <a:pt x="1290" y="1599"/>
                    </a:lnTo>
                    <a:lnTo>
                      <a:pt x="1292" y="1599"/>
                    </a:lnTo>
                    <a:lnTo>
                      <a:pt x="1290" y="1599"/>
                    </a:lnTo>
                    <a:lnTo>
                      <a:pt x="1290" y="1600"/>
                    </a:lnTo>
                    <a:lnTo>
                      <a:pt x="1292" y="1600"/>
                    </a:lnTo>
                    <a:lnTo>
                      <a:pt x="1292" y="1599"/>
                    </a:lnTo>
                    <a:lnTo>
                      <a:pt x="1293" y="1599"/>
                    </a:lnTo>
                    <a:lnTo>
                      <a:pt x="1292" y="1600"/>
                    </a:lnTo>
                    <a:lnTo>
                      <a:pt x="1293" y="1600"/>
                    </a:lnTo>
                    <a:lnTo>
                      <a:pt x="1293" y="1602"/>
                    </a:lnTo>
                    <a:lnTo>
                      <a:pt x="1293" y="1600"/>
                    </a:lnTo>
                    <a:lnTo>
                      <a:pt x="1293" y="1599"/>
                    </a:lnTo>
                    <a:lnTo>
                      <a:pt x="1295" y="1600"/>
                    </a:lnTo>
                    <a:lnTo>
                      <a:pt x="1297" y="1600"/>
                    </a:lnTo>
                    <a:lnTo>
                      <a:pt x="1298" y="1600"/>
                    </a:lnTo>
                    <a:lnTo>
                      <a:pt x="1298" y="1602"/>
                    </a:lnTo>
                    <a:lnTo>
                      <a:pt x="1298" y="1604"/>
                    </a:lnTo>
                    <a:lnTo>
                      <a:pt x="1300" y="1604"/>
                    </a:lnTo>
                    <a:lnTo>
                      <a:pt x="1300" y="1602"/>
                    </a:lnTo>
                    <a:lnTo>
                      <a:pt x="1300" y="1600"/>
                    </a:lnTo>
                    <a:lnTo>
                      <a:pt x="1298" y="1600"/>
                    </a:lnTo>
                    <a:lnTo>
                      <a:pt x="1300" y="1599"/>
                    </a:lnTo>
                    <a:lnTo>
                      <a:pt x="1300" y="1597"/>
                    </a:lnTo>
                    <a:lnTo>
                      <a:pt x="1300" y="1595"/>
                    </a:lnTo>
                    <a:lnTo>
                      <a:pt x="1300" y="1594"/>
                    </a:lnTo>
                    <a:lnTo>
                      <a:pt x="1302" y="1595"/>
                    </a:lnTo>
                    <a:lnTo>
                      <a:pt x="1302" y="1594"/>
                    </a:lnTo>
                    <a:lnTo>
                      <a:pt x="1304" y="1594"/>
                    </a:lnTo>
                    <a:lnTo>
                      <a:pt x="1305" y="1594"/>
                    </a:lnTo>
                    <a:lnTo>
                      <a:pt x="1307" y="1594"/>
                    </a:lnTo>
                    <a:lnTo>
                      <a:pt x="1307" y="1595"/>
                    </a:lnTo>
                    <a:lnTo>
                      <a:pt x="1307" y="1594"/>
                    </a:lnTo>
                    <a:lnTo>
                      <a:pt x="1309" y="1595"/>
                    </a:lnTo>
                    <a:lnTo>
                      <a:pt x="1309" y="1594"/>
                    </a:lnTo>
                    <a:lnTo>
                      <a:pt x="1310" y="1594"/>
                    </a:lnTo>
                    <a:lnTo>
                      <a:pt x="1312" y="1594"/>
                    </a:lnTo>
                    <a:lnTo>
                      <a:pt x="1312" y="1595"/>
                    </a:lnTo>
                    <a:lnTo>
                      <a:pt x="1310" y="1595"/>
                    </a:lnTo>
                    <a:lnTo>
                      <a:pt x="1310" y="1597"/>
                    </a:lnTo>
                    <a:lnTo>
                      <a:pt x="1309" y="1597"/>
                    </a:lnTo>
                    <a:lnTo>
                      <a:pt x="1309" y="1599"/>
                    </a:lnTo>
                    <a:lnTo>
                      <a:pt x="1307" y="1599"/>
                    </a:lnTo>
                    <a:lnTo>
                      <a:pt x="1307" y="1600"/>
                    </a:lnTo>
                    <a:lnTo>
                      <a:pt x="1309" y="1600"/>
                    </a:lnTo>
                    <a:lnTo>
                      <a:pt x="1307" y="1602"/>
                    </a:lnTo>
                    <a:lnTo>
                      <a:pt x="1307" y="1604"/>
                    </a:lnTo>
                    <a:lnTo>
                      <a:pt x="1305" y="1606"/>
                    </a:lnTo>
                    <a:lnTo>
                      <a:pt x="1305" y="1607"/>
                    </a:lnTo>
                    <a:lnTo>
                      <a:pt x="1305" y="1609"/>
                    </a:lnTo>
                    <a:lnTo>
                      <a:pt x="1305" y="1611"/>
                    </a:lnTo>
                    <a:lnTo>
                      <a:pt x="1305" y="1609"/>
                    </a:lnTo>
                    <a:lnTo>
                      <a:pt x="1307" y="1609"/>
                    </a:lnTo>
                    <a:lnTo>
                      <a:pt x="1307" y="1607"/>
                    </a:lnTo>
                    <a:lnTo>
                      <a:pt x="1307" y="1606"/>
                    </a:lnTo>
                    <a:lnTo>
                      <a:pt x="1309" y="1607"/>
                    </a:lnTo>
                    <a:lnTo>
                      <a:pt x="1309" y="1609"/>
                    </a:lnTo>
                    <a:lnTo>
                      <a:pt x="1310" y="1609"/>
                    </a:lnTo>
                    <a:lnTo>
                      <a:pt x="1309" y="1607"/>
                    </a:lnTo>
                    <a:lnTo>
                      <a:pt x="1307" y="1606"/>
                    </a:lnTo>
                    <a:lnTo>
                      <a:pt x="1309" y="1604"/>
                    </a:lnTo>
                    <a:lnTo>
                      <a:pt x="1309" y="1602"/>
                    </a:lnTo>
                    <a:lnTo>
                      <a:pt x="1309" y="1600"/>
                    </a:lnTo>
                    <a:lnTo>
                      <a:pt x="1310" y="1600"/>
                    </a:lnTo>
                    <a:lnTo>
                      <a:pt x="1310" y="1599"/>
                    </a:lnTo>
                    <a:lnTo>
                      <a:pt x="1312" y="1599"/>
                    </a:lnTo>
                    <a:lnTo>
                      <a:pt x="1312" y="1597"/>
                    </a:lnTo>
                    <a:lnTo>
                      <a:pt x="1314" y="1599"/>
                    </a:lnTo>
                    <a:lnTo>
                      <a:pt x="1315" y="1600"/>
                    </a:lnTo>
                    <a:lnTo>
                      <a:pt x="1317" y="1602"/>
                    </a:lnTo>
                    <a:lnTo>
                      <a:pt x="1315" y="1602"/>
                    </a:lnTo>
                    <a:lnTo>
                      <a:pt x="1317" y="1602"/>
                    </a:lnTo>
                    <a:lnTo>
                      <a:pt x="1319" y="1602"/>
                    </a:lnTo>
                    <a:lnTo>
                      <a:pt x="1319" y="1604"/>
                    </a:lnTo>
                    <a:lnTo>
                      <a:pt x="1321" y="1604"/>
                    </a:lnTo>
                    <a:lnTo>
                      <a:pt x="1319" y="1604"/>
                    </a:lnTo>
                    <a:lnTo>
                      <a:pt x="1321" y="1604"/>
                    </a:lnTo>
                    <a:lnTo>
                      <a:pt x="1321" y="1606"/>
                    </a:lnTo>
                    <a:lnTo>
                      <a:pt x="1322" y="1607"/>
                    </a:lnTo>
                    <a:lnTo>
                      <a:pt x="1324" y="1607"/>
                    </a:lnTo>
                    <a:lnTo>
                      <a:pt x="1324" y="1609"/>
                    </a:lnTo>
                    <a:lnTo>
                      <a:pt x="1324" y="1607"/>
                    </a:lnTo>
                    <a:lnTo>
                      <a:pt x="1326" y="1609"/>
                    </a:lnTo>
                    <a:lnTo>
                      <a:pt x="1324" y="1607"/>
                    </a:lnTo>
                    <a:lnTo>
                      <a:pt x="1322" y="1607"/>
                    </a:lnTo>
                    <a:lnTo>
                      <a:pt x="1322" y="1606"/>
                    </a:lnTo>
                    <a:lnTo>
                      <a:pt x="1321" y="1606"/>
                    </a:lnTo>
                    <a:lnTo>
                      <a:pt x="1321" y="1604"/>
                    </a:lnTo>
                    <a:lnTo>
                      <a:pt x="1322" y="1604"/>
                    </a:lnTo>
                    <a:lnTo>
                      <a:pt x="1324" y="1604"/>
                    </a:lnTo>
                    <a:lnTo>
                      <a:pt x="1326" y="1606"/>
                    </a:lnTo>
                    <a:lnTo>
                      <a:pt x="1327" y="1607"/>
                    </a:lnTo>
                    <a:lnTo>
                      <a:pt x="1327" y="1606"/>
                    </a:lnTo>
                    <a:lnTo>
                      <a:pt x="1326" y="1606"/>
                    </a:lnTo>
                    <a:lnTo>
                      <a:pt x="1324" y="1604"/>
                    </a:lnTo>
                    <a:lnTo>
                      <a:pt x="1326" y="1604"/>
                    </a:lnTo>
                    <a:lnTo>
                      <a:pt x="1324" y="1604"/>
                    </a:lnTo>
                    <a:lnTo>
                      <a:pt x="1322" y="1602"/>
                    </a:lnTo>
                    <a:lnTo>
                      <a:pt x="1321" y="1602"/>
                    </a:lnTo>
                    <a:lnTo>
                      <a:pt x="1319" y="1600"/>
                    </a:lnTo>
                    <a:lnTo>
                      <a:pt x="1317" y="1600"/>
                    </a:lnTo>
                    <a:lnTo>
                      <a:pt x="1317" y="1599"/>
                    </a:lnTo>
                    <a:lnTo>
                      <a:pt x="1315" y="1599"/>
                    </a:lnTo>
                    <a:lnTo>
                      <a:pt x="1317" y="1597"/>
                    </a:lnTo>
                    <a:lnTo>
                      <a:pt x="1315" y="1597"/>
                    </a:lnTo>
                    <a:lnTo>
                      <a:pt x="1314" y="1597"/>
                    </a:lnTo>
                    <a:lnTo>
                      <a:pt x="1314" y="1595"/>
                    </a:lnTo>
                    <a:lnTo>
                      <a:pt x="1315" y="1594"/>
                    </a:lnTo>
                    <a:lnTo>
                      <a:pt x="1314" y="1594"/>
                    </a:lnTo>
                    <a:lnTo>
                      <a:pt x="1314" y="1592"/>
                    </a:lnTo>
                    <a:lnTo>
                      <a:pt x="1312" y="1590"/>
                    </a:lnTo>
                    <a:lnTo>
                      <a:pt x="1310" y="1590"/>
                    </a:lnTo>
                    <a:lnTo>
                      <a:pt x="1309" y="1590"/>
                    </a:lnTo>
                    <a:lnTo>
                      <a:pt x="1307" y="1590"/>
                    </a:lnTo>
                    <a:lnTo>
                      <a:pt x="1305" y="1590"/>
                    </a:lnTo>
                    <a:lnTo>
                      <a:pt x="1304" y="1590"/>
                    </a:lnTo>
                    <a:lnTo>
                      <a:pt x="1304" y="1589"/>
                    </a:lnTo>
                    <a:lnTo>
                      <a:pt x="1302" y="1589"/>
                    </a:lnTo>
                    <a:lnTo>
                      <a:pt x="1302" y="1587"/>
                    </a:lnTo>
                    <a:lnTo>
                      <a:pt x="1300" y="1585"/>
                    </a:lnTo>
                    <a:lnTo>
                      <a:pt x="1302" y="1585"/>
                    </a:lnTo>
                    <a:lnTo>
                      <a:pt x="1300" y="1583"/>
                    </a:lnTo>
                    <a:lnTo>
                      <a:pt x="1302" y="1583"/>
                    </a:lnTo>
                    <a:lnTo>
                      <a:pt x="1302" y="1585"/>
                    </a:lnTo>
                    <a:lnTo>
                      <a:pt x="1304" y="1585"/>
                    </a:lnTo>
                    <a:lnTo>
                      <a:pt x="1302" y="1585"/>
                    </a:lnTo>
                    <a:lnTo>
                      <a:pt x="1302" y="1583"/>
                    </a:lnTo>
                    <a:lnTo>
                      <a:pt x="1300" y="1582"/>
                    </a:lnTo>
                    <a:lnTo>
                      <a:pt x="1300" y="1580"/>
                    </a:lnTo>
                    <a:lnTo>
                      <a:pt x="1300" y="1582"/>
                    </a:lnTo>
                    <a:lnTo>
                      <a:pt x="1302" y="1582"/>
                    </a:lnTo>
                    <a:lnTo>
                      <a:pt x="1304" y="1582"/>
                    </a:lnTo>
                    <a:lnTo>
                      <a:pt x="1304" y="1583"/>
                    </a:lnTo>
                    <a:lnTo>
                      <a:pt x="1305" y="1583"/>
                    </a:lnTo>
                    <a:lnTo>
                      <a:pt x="1305" y="1585"/>
                    </a:lnTo>
                    <a:lnTo>
                      <a:pt x="1307" y="1585"/>
                    </a:lnTo>
                    <a:lnTo>
                      <a:pt x="1309" y="1585"/>
                    </a:lnTo>
                    <a:lnTo>
                      <a:pt x="1309" y="1587"/>
                    </a:lnTo>
                    <a:lnTo>
                      <a:pt x="1310" y="1589"/>
                    </a:lnTo>
                    <a:lnTo>
                      <a:pt x="1312" y="1589"/>
                    </a:lnTo>
                    <a:lnTo>
                      <a:pt x="1314" y="1589"/>
                    </a:lnTo>
                    <a:lnTo>
                      <a:pt x="1314" y="1590"/>
                    </a:lnTo>
                    <a:lnTo>
                      <a:pt x="1315" y="1590"/>
                    </a:lnTo>
                    <a:lnTo>
                      <a:pt x="1317" y="1590"/>
                    </a:lnTo>
                    <a:lnTo>
                      <a:pt x="1317" y="1592"/>
                    </a:lnTo>
                    <a:lnTo>
                      <a:pt x="1319" y="1592"/>
                    </a:lnTo>
                    <a:lnTo>
                      <a:pt x="1321" y="1592"/>
                    </a:lnTo>
                    <a:lnTo>
                      <a:pt x="1321" y="1594"/>
                    </a:lnTo>
                    <a:lnTo>
                      <a:pt x="1322" y="1594"/>
                    </a:lnTo>
                    <a:lnTo>
                      <a:pt x="1322" y="1595"/>
                    </a:lnTo>
                    <a:lnTo>
                      <a:pt x="1321" y="1595"/>
                    </a:lnTo>
                    <a:lnTo>
                      <a:pt x="1322" y="1595"/>
                    </a:lnTo>
                    <a:lnTo>
                      <a:pt x="1324" y="1595"/>
                    </a:lnTo>
                    <a:lnTo>
                      <a:pt x="1324" y="1597"/>
                    </a:lnTo>
                    <a:lnTo>
                      <a:pt x="1326" y="1599"/>
                    </a:lnTo>
                    <a:lnTo>
                      <a:pt x="1327" y="1599"/>
                    </a:lnTo>
                    <a:lnTo>
                      <a:pt x="1327" y="1597"/>
                    </a:lnTo>
                    <a:lnTo>
                      <a:pt x="1326" y="1597"/>
                    </a:lnTo>
                    <a:lnTo>
                      <a:pt x="1327" y="1597"/>
                    </a:lnTo>
                    <a:lnTo>
                      <a:pt x="1326" y="1597"/>
                    </a:lnTo>
                    <a:lnTo>
                      <a:pt x="1327" y="1595"/>
                    </a:lnTo>
                    <a:lnTo>
                      <a:pt x="1329" y="1595"/>
                    </a:lnTo>
                    <a:lnTo>
                      <a:pt x="1329" y="1597"/>
                    </a:lnTo>
                    <a:lnTo>
                      <a:pt x="1331" y="1597"/>
                    </a:lnTo>
                    <a:lnTo>
                      <a:pt x="1329" y="1595"/>
                    </a:lnTo>
                    <a:lnTo>
                      <a:pt x="1327" y="1595"/>
                    </a:lnTo>
                    <a:lnTo>
                      <a:pt x="1326" y="1595"/>
                    </a:lnTo>
                    <a:lnTo>
                      <a:pt x="1326" y="1594"/>
                    </a:lnTo>
                    <a:lnTo>
                      <a:pt x="1324" y="1594"/>
                    </a:lnTo>
                    <a:lnTo>
                      <a:pt x="1324" y="1592"/>
                    </a:lnTo>
                    <a:lnTo>
                      <a:pt x="1326" y="1592"/>
                    </a:lnTo>
                    <a:lnTo>
                      <a:pt x="1327" y="1592"/>
                    </a:lnTo>
                    <a:lnTo>
                      <a:pt x="1327" y="1590"/>
                    </a:lnTo>
                    <a:lnTo>
                      <a:pt x="1327" y="1589"/>
                    </a:lnTo>
                    <a:lnTo>
                      <a:pt x="1329" y="1589"/>
                    </a:lnTo>
                    <a:lnTo>
                      <a:pt x="1331" y="1589"/>
                    </a:lnTo>
                    <a:lnTo>
                      <a:pt x="1332" y="1590"/>
                    </a:lnTo>
                    <a:lnTo>
                      <a:pt x="1332" y="1592"/>
                    </a:lnTo>
                    <a:lnTo>
                      <a:pt x="1334" y="1592"/>
                    </a:lnTo>
                    <a:lnTo>
                      <a:pt x="1332" y="1592"/>
                    </a:lnTo>
                    <a:lnTo>
                      <a:pt x="1332" y="1594"/>
                    </a:lnTo>
                    <a:lnTo>
                      <a:pt x="1334" y="1595"/>
                    </a:lnTo>
                    <a:lnTo>
                      <a:pt x="1332" y="1595"/>
                    </a:lnTo>
                    <a:lnTo>
                      <a:pt x="1332" y="1597"/>
                    </a:lnTo>
                    <a:lnTo>
                      <a:pt x="1334" y="1595"/>
                    </a:lnTo>
                    <a:lnTo>
                      <a:pt x="1334" y="1597"/>
                    </a:lnTo>
                    <a:lnTo>
                      <a:pt x="1336" y="1597"/>
                    </a:lnTo>
                    <a:lnTo>
                      <a:pt x="1336" y="1599"/>
                    </a:lnTo>
                    <a:lnTo>
                      <a:pt x="1334" y="1599"/>
                    </a:lnTo>
                    <a:lnTo>
                      <a:pt x="1336" y="1599"/>
                    </a:lnTo>
                    <a:lnTo>
                      <a:pt x="1338" y="1600"/>
                    </a:lnTo>
                    <a:lnTo>
                      <a:pt x="1336" y="1600"/>
                    </a:lnTo>
                    <a:lnTo>
                      <a:pt x="1336" y="1602"/>
                    </a:lnTo>
                    <a:lnTo>
                      <a:pt x="1334" y="1604"/>
                    </a:lnTo>
                    <a:lnTo>
                      <a:pt x="1336" y="1604"/>
                    </a:lnTo>
                    <a:lnTo>
                      <a:pt x="1336" y="1602"/>
                    </a:lnTo>
                    <a:lnTo>
                      <a:pt x="1338" y="1602"/>
                    </a:lnTo>
                    <a:lnTo>
                      <a:pt x="1338" y="1600"/>
                    </a:lnTo>
                    <a:lnTo>
                      <a:pt x="1338" y="1602"/>
                    </a:lnTo>
                    <a:lnTo>
                      <a:pt x="1339" y="1602"/>
                    </a:lnTo>
                    <a:lnTo>
                      <a:pt x="1339" y="1604"/>
                    </a:lnTo>
                    <a:lnTo>
                      <a:pt x="1339" y="1606"/>
                    </a:lnTo>
                    <a:lnTo>
                      <a:pt x="1338" y="1606"/>
                    </a:lnTo>
                    <a:lnTo>
                      <a:pt x="1338" y="1607"/>
                    </a:lnTo>
                    <a:lnTo>
                      <a:pt x="1338" y="1606"/>
                    </a:lnTo>
                    <a:lnTo>
                      <a:pt x="1339" y="1606"/>
                    </a:lnTo>
                    <a:lnTo>
                      <a:pt x="1339" y="1607"/>
                    </a:lnTo>
                    <a:lnTo>
                      <a:pt x="1341" y="1607"/>
                    </a:lnTo>
                    <a:lnTo>
                      <a:pt x="1339" y="1607"/>
                    </a:lnTo>
                    <a:lnTo>
                      <a:pt x="1339" y="1609"/>
                    </a:lnTo>
                    <a:lnTo>
                      <a:pt x="1341" y="1607"/>
                    </a:lnTo>
                    <a:lnTo>
                      <a:pt x="1339" y="1606"/>
                    </a:lnTo>
                    <a:lnTo>
                      <a:pt x="1341" y="1604"/>
                    </a:lnTo>
                    <a:lnTo>
                      <a:pt x="1341" y="1602"/>
                    </a:lnTo>
                    <a:lnTo>
                      <a:pt x="1339" y="1600"/>
                    </a:lnTo>
                    <a:lnTo>
                      <a:pt x="1339" y="1599"/>
                    </a:lnTo>
                    <a:lnTo>
                      <a:pt x="1338" y="1599"/>
                    </a:lnTo>
                    <a:lnTo>
                      <a:pt x="1338" y="1597"/>
                    </a:lnTo>
                    <a:lnTo>
                      <a:pt x="1338" y="1595"/>
                    </a:lnTo>
                    <a:lnTo>
                      <a:pt x="1338" y="1594"/>
                    </a:lnTo>
                    <a:lnTo>
                      <a:pt x="1336" y="1594"/>
                    </a:lnTo>
                    <a:lnTo>
                      <a:pt x="1336" y="1592"/>
                    </a:lnTo>
                    <a:lnTo>
                      <a:pt x="1336" y="1590"/>
                    </a:lnTo>
                    <a:lnTo>
                      <a:pt x="1338" y="1590"/>
                    </a:lnTo>
                    <a:lnTo>
                      <a:pt x="1339" y="1592"/>
                    </a:lnTo>
                    <a:lnTo>
                      <a:pt x="1341" y="1592"/>
                    </a:lnTo>
                    <a:lnTo>
                      <a:pt x="1341" y="1594"/>
                    </a:lnTo>
                    <a:lnTo>
                      <a:pt x="1343" y="1594"/>
                    </a:lnTo>
                    <a:lnTo>
                      <a:pt x="1344" y="1594"/>
                    </a:lnTo>
                    <a:lnTo>
                      <a:pt x="1344" y="1595"/>
                    </a:lnTo>
                    <a:lnTo>
                      <a:pt x="1343" y="1597"/>
                    </a:lnTo>
                    <a:lnTo>
                      <a:pt x="1344" y="1597"/>
                    </a:lnTo>
                    <a:lnTo>
                      <a:pt x="1344" y="1599"/>
                    </a:lnTo>
                    <a:lnTo>
                      <a:pt x="1343" y="1600"/>
                    </a:lnTo>
                    <a:lnTo>
                      <a:pt x="1344" y="1602"/>
                    </a:lnTo>
                    <a:lnTo>
                      <a:pt x="1346" y="1602"/>
                    </a:lnTo>
                    <a:lnTo>
                      <a:pt x="1344" y="1600"/>
                    </a:lnTo>
                    <a:lnTo>
                      <a:pt x="1344" y="1599"/>
                    </a:lnTo>
                    <a:lnTo>
                      <a:pt x="1346" y="1599"/>
                    </a:lnTo>
                    <a:lnTo>
                      <a:pt x="1344" y="1597"/>
                    </a:lnTo>
                    <a:lnTo>
                      <a:pt x="1346" y="1599"/>
                    </a:lnTo>
                    <a:lnTo>
                      <a:pt x="1348" y="1600"/>
                    </a:lnTo>
                    <a:lnTo>
                      <a:pt x="1348" y="1599"/>
                    </a:lnTo>
                    <a:lnTo>
                      <a:pt x="1346" y="1599"/>
                    </a:lnTo>
                    <a:lnTo>
                      <a:pt x="1348" y="1599"/>
                    </a:lnTo>
                    <a:lnTo>
                      <a:pt x="1346" y="1597"/>
                    </a:lnTo>
                    <a:lnTo>
                      <a:pt x="1346" y="1595"/>
                    </a:lnTo>
                    <a:lnTo>
                      <a:pt x="1346" y="1594"/>
                    </a:lnTo>
                    <a:lnTo>
                      <a:pt x="1348" y="1594"/>
                    </a:lnTo>
                    <a:lnTo>
                      <a:pt x="1349" y="1594"/>
                    </a:lnTo>
                    <a:lnTo>
                      <a:pt x="1349" y="1595"/>
                    </a:lnTo>
                    <a:lnTo>
                      <a:pt x="1351" y="1595"/>
                    </a:lnTo>
                    <a:lnTo>
                      <a:pt x="1351" y="1597"/>
                    </a:lnTo>
                    <a:lnTo>
                      <a:pt x="1353" y="1597"/>
                    </a:lnTo>
                    <a:lnTo>
                      <a:pt x="1355" y="1599"/>
                    </a:lnTo>
                    <a:lnTo>
                      <a:pt x="1356" y="1599"/>
                    </a:lnTo>
                    <a:lnTo>
                      <a:pt x="1356" y="1600"/>
                    </a:lnTo>
                    <a:lnTo>
                      <a:pt x="1358" y="1600"/>
                    </a:lnTo>
                    <a:lnTo>
                      <a:pt x="1358" y="1602"/>
                    </a:lnTo>
                    <a:lnTo>
                      <a:pt x="1356" y="1602"/>
                    </a:lnTo>
                    <a:lnTo>
                      <a:pt x="1356" y="1604"/>
                    </a:lnTo>
                    <a:lnTo>
                      <a:pt x="1355" y="1606"/>
                    </a:lnTo>
                    <a:lnTo>
                      <a:pt x="1355" y="1607"/>
                    </a:lnTo>
                    <a:lnTo>
                      <a:pt x="1353" y="1607"/>
                    </a:lnTo>
                    <a:lnTo>
                      <a:pt x="1353" y="1609"/>
                    </a:lnTo>
                    <a:lnTo>
                      <a:pt x="1351" y="1609"/>
                    </a:lnTo>
                    <a:lnTo>
                      <a:pt x="1353" y="1611"/>
                    </a:lnTo>
                    <a:lnTo>
                      <a:pt x="1351" y="1611"/>
                    </a:lnTo>
                    <a:lnTo>
                      <a:pt x="1351" y="1612"/>
                    </a:lnTo>
                    <a:lnTo>
                      <a:pt x="1349" y="1612"/>
                    </a:lnTo>
                    <a:lnTo>
                      <a:pt x="1348" y="1612"/>
                    </a:lnTo>
                    <a:lnTo>
                      <a:pt x="1349" y="1614"/>
                    </a:lnTo>
                    <a:lnTo>
                      <a:pt x="1351" y="1612"/>
                    </a:lnTo>
                    <a:lnTo>
                      <a:pt x="1353" y="1612"/>
                    </a:lnTo>
                    <a:lnTo>
                      <a:pt x="1353" y="1614"/>
                    </a:lnTo>
                    <a:lnTo>
                      <a:pt x="1353" y="1616"/>
                    </a:lnTo>
                    <a:lnTo>
                      <a:pt x="1353" y="1614"/>
                    </a:lnTo>
                    <a:lnTo>
                      <a:pt x="1353" y="1612"/>
                    </a:lnTo>
                    <a:lnTo>
                      <a:pt x="1353" y="1611"/>
                    </a:lnTo>
                    <a:lnTo>
                      <a:pt x="1355" y="1611"/>
                    </a:lnTo>
                    <a:lnTo>
                      <a:pt x="1355" y="1609"/>
                    </a:lnTo>
                    <a:lnTo>
                      <a:pt x="1355" y="1607"/>
                    </a:lnTo>
                    <a:lnTo>
                      <a:pt x="1356" y="1606"/>
                    </a:lnTo>
                    <a:lnTo>
                      <a:pt x="1358" y="1606"/>
                    </a:lnTo>
                    <a:lnTo>
                      <a:pt x="1358" y="1604"/>
                    </a:lnTo>
                    <a:lnTo>
                      <a:pt x="1358" y="1606"/>
                    </a:lnTo>
                    <a:lnTo>
                      <a:pt x="1360" y="1607"/>
                    </a:lnTo>
                    <a:lnTo>
                      <a:pt x="1361" y="1607"/>
                    </a:lnTo>
                    <a:lnTo>
                      <a:pt x="1360" y="1606"/>
                    </a:lnTo>
                    <a:lnTo>
                      <a:pt x="1360" y="1604"/>
                    </a:lnTo>
                    <a:lnTo>
                      <a:pt x="1360" y="1602"/>
                    </a:lnTo>
                    <a:lnTo>
                      <a:pt x="1361" y="1600"/>
                    </a:lnTo>
                    <a:lnTo>
                      <a:pt x="1363" y="1600"/>
                    </a:lnTo>
                    <a:lnTo>
                      <a:pt x="1365" y="1600"/>
                    </a:lnTo>
                    <a:lnTo>
                      <a:pt x="1365" y="1602"/>
                    </a:lnTo>
                    <a:lnTo>
                      <a:pt x="1366" y="1602"/>
                    </a:lnTo>
                    <a:lnTo>
                      <a:pt x="1365" y="1600"/>
                    </a:lnTo>
                    <a:lnTo>
                      <a:pt x="1366" y="1600"/>
                    </a:lnTo>
                    <a:lnTo>
                      <a:pt x="1365" y="1599"/>
                    </a:lnTo>
                    <a:lnTo>
                      <a:pt x="1363" y="1599"/>
                    </a:lnTo>
                    <a:lnTo>
                      <a:pt x="1363" y="1597"/>
                    </a:lnTo>
                    <a:lnTo>
                      <a:pt x="1361" y="1597"/>
                    </a:lnTo>
                    <a:lnTo>
                      <a:pt x="1360" y="1597"/>
                    </a:lnTo>
                    <a:lnTo>
                      <a:pt x="1360" y="1595"/>
                    </a:lnTo>
                    <a:lnTo>
                      <a:pt x="1358" y="1595"/>
                    </a:lnTo>
                    <a:lnTo>
                      <a:pt x="1358" y="1594"/>
                    </a:lnTo>
                    <a:lnTo>
                      <a:pt x="1356" y="1594"/>
                    </a:lnTo>
                    <a:lnTo>
                      <a:pt x="1355" y="1592"/>
                    </a:lnTo>
                    <a:lnTo>
                      <a:pt x="1353" y="1592"/>
                    </a:lnTo>
                    <a:lnTo>
                      <a:pt x="1351" y="1592"/>
                    </a:lnTo>
                    <a:lnTo>
                      <a:pt x="1351" y="1590"/>
                    </a:lnTo>
                    <a:lnTo>
                      <a:pt x="1349" y="1590"/>
                    </a:lnTo>
                    <a:lnTo>
                      <a:pt x="1348" y="1590"/>
                    </a:lnTo>
                    <a:lnTo>
                      <a:pt x="1348" y="1589"/>
                    </a:lnTo>
                    <a:lnTo>
                      <a:pt x="1346" y="1589"/>
                    </a:lnTo>
                    <a:lnTo>
                      <a:pt x="1344" y="1587"/>
                    </a:lnTo>
                    <a:lnTo>
                      <a:pt x="1343" y="1587"/>
                    </a:lnTo>
                    <a:lnTo>
                      <a:pt x="1341" y="1587"/>
                    </a:lnTo>
                    <a:lnTo>
                      <a:pt x="1341" y="1585"/>
                    </a:lnTo>
                    <a:lnTo>
                      <a:pt x="1339" y="1585"/>
                    </a:lnTo>
                    <a:lnTo>
                      <a:pt x="1338" y="1585"/>
                    </a:lnTo>
                    <a:lnTo>
                      <a:pt x="1336" y="1583"/>
                    </a:lnTo>
                    <a:lnTo>
                      <a:pt x="1334" y="1583"/>
                    </a:lnTo>
                    <a:lnTo>
                      <a:pt x="1334" y="1582"/>
                    </a:lnTo>
                    <a:lnTo>
                      <a:pt x="1332" y="1582"/>
                    </a:lnTo>
                    <a:lnTo>
                      <a:pt x="1331" y="1580"/>
                    </a:lnTo>
                    <a:lnTo>
                      <a:pt x="1329" y="1580"/>
                    </a:lnTo>
                    <a:lnTo>
                      <a:pt x="1331" y="1580"/>
                    </a:lnTo>
                    <a:lnTo>
                      <a:pt x="1331" y="1578"/>
                    </a:lnTo>
                    <a:lnTo>
                      <a:pt x="1329" y="1578"/>
                    </a:lnTo>
                    <a:lnTo>
                      <a:pt x="1329" y="1577"/>
                    </a:lnTo>
                    <a:lnTo>
                      <a:pt x="1329" y="1575"/>
                    </a:lnTo>
                    <a:lnTo>
                      <a:pt x="1329" y="1573"/>
                    </a:lnTo>
                    <a:lnTo>
                      <a:pt x="1327" y="1573"/>
                    </a:lnTo>
                    <a:lnTo>
                      <a:pt x="1327" y="1572"/>
                    </a:lnTo>
                    <a:lnTo>
                      <a:pt x="1327" y="1570"/>
                    </a:lnTo>
                    <a:lnTo>
                      <a:pt x="1327" y="1568"/>
                    </a:lnTo>
                    <a:lnTo>
                      <a:pt x="1326" y="1568"/>
                    </a:lnTo>
                    <a:lnTo>
                      <a:pt x="1326" y="1566"/>
                    </a:lnTo>
                    <a:lnTo>
                      <a:pt x="1326" y="1565"/>
                    </a:lnTo>
                    <a:lnTo>
                      <a:pt x="1326" y="1563"/>
                    </a:lnTo>
                    <a:lnTo>
                      <a:pt x="1326" y="1561"/>
                    </a:lnTo>
                    <a:lnTo>
                      <a:pt x="1326" y="1560"/>
                    </a:lnTo>
                    <a:lnTo>
                      <a:pt x="1327" y="1560"/>
                    </a:lnTo>
                    <a:lnTo>
                      <a:pt x="1329" y="1558"/>
                    </a:lnTo>
                    <a:lnTo>
                      <a:pt x="1331" y="1558"/>
                    </a:lnTo>
                    <a:lnTo>
                      <a:pt x="1332" y="1558"/>
                    </a:lnTo>
                    <a:lnTo>
                      <a:pt x="1334" y="1556"/>
                    </a:lnTo>
                    <a:lnTo>
                      <a:pt x="1334" y="1555"/>
                    </a:lnTo>
                    <a:lnTo>
                      <a:pt x="1336" y="1555"/>
                    </a:lnTo>
                    <a:lnTo>
                      <a:pt x="1338" y="1555"/>
                    </a:lnTo>
                    <a:lnTo>
                      <a:pt x="1339" y="1555"/>
                    </a:lnTo>
                    <a:lnTo>
                      <a:pt x="1341" y="1555"/>
                    </a:lnTo>
                    <a:lnTo>
                      <a:pt x="1343" y="1555"/>
                    </a:lnTo>
                    <a:lnTo>
                      <a:pt x="1343" y="1553"/>
                    </a:lnTo>
                    <a:lnTo>
                      <a:pt x="1344" y="1553"/>
                    </a:lnTo>
                    <a:lnTo>
                      <a:pt x="1344" y="1551"/>
                    </a:lnTo>
                    <a:lnTo>
                      <a:pt x="1346" y="1551"/>
                    </a:lnTo>
                    <a:lnTo>
                      <a:pt x="1348" y="1549"/>
                    </a:lnTo>
                    <a:lnTo>
                      <a:pt x="1349" y="1549"/>
                    </a:lnTo>
                    <a:lnTo>
                      <a:pt x="1349" y="1548"/>
                    </a:lnTo>
                    <a:lnTo>
                      <a:pt x="1351" y="1548"/>
                    </a:lnTo>
                    <a:lnTo>
                      <a:pt x="1353" y="1548"/>
                    </a:lnTo>
                    <a:lnTo>
                      <a:pt x="1353" y="1546"/>
                    </a:lnTo>
                    <a:lnTo>
                      <a:pt x="1355" y="1546"/>
                    </a:lnTo>
                    <a:lnTo>
                      <a:pt x="1355" y="1544"/>
                    </a:lnTo>
                    <a:lnTo>
                      <a:pt x="1355" y="1543"/>
                    </a:lnTo>
                    <a:lnTo>
                      <a:pt x="1355" y="1541"/>
                    </a:lnTo>
                    <a:lnTo>
                      <a:pt x="1355" y="1539"/>
                    </a:lnTo>
                    <a:lnTo>
                      <a:pt x="1353" y="1539"/>
                    </a:lnTo>
                    <a:lnTo>
                      <a:pt x="1353" y="1538"/>
                    </a:lnTo>
                    <a:lnTo>
                      <a:pt x="1351" y="1538"/>
                    </a:lnTo>
                    <a:lnTo>
                      <a:pt x="1349" y="1538"/>
                    </a:lnTo>
                    <a:lnTo>
                      <a:pt x="1348" y="1538"/>
                    </a:lnTo>
                    <a:lnTo>
                      <a:pt x="1346" y="1538"/>
                    </a:lnTo>
                    <a:lnTo>
                      <a:pt x="1344" y="1538"/>
                    </a:lnTo>
                    <a:lnTo>
                      <a:pt x="1343" y="1538"/>
                    </a:lnTo>
                    <a:lnTo>
                      <a:pt x="1341" y="1538"/>
                    </a:lnTo>
                    <a:lnTo>
                      <a:pt x="1339" y="1538"/>
                    </a:lnTo>
                    <a:lnTo>
                      <a:pt x="1338" y="1539"/>
                    </a:lnTo>
                    <a:lnTo>
                      <a:pt x="1336" y="1539"/>
                    </a:lnTo>
                    <a:lnTo>
                      <a:pt x="1334" y="1539"/>
                    </a:lnTo>
                    <a:lnTo>
                      <a:pt x="1332" y="1539"/>
                    </a:lnTo>
                    <a:lnTo>
                      <a:pt x="1331" y="1541"/>
                    </a:lnTo>
                    <a:lnTo>
                      <a:pt x="1329" y="1541"/>
                    </a:lnTo>
                    <a:lnTo>
                      <a:pt x="1329" y="1543"/>
                    </a:lnTo>
                    <a:lnTo>
                      <a:pt x="1327" y="1543"/>
                    </a:lnTo>
                    <a:lnTo>
                      <a:pt x="1326" y="1543"/>
                    </a:lnTo>
                    <a:lnTo>
                      <a:pt x="1326" y="1544"/>
                    </a:lnTo>
                    <a:lnTo>
                      <a:pt x="1324" y="1544"/>
                    </a:lnTo>
                    <a:lnTo>
                      <a:pt x="1322" y="1544"/>
                    </a:lnTo>
                    <a:lnTo>
                      <a:pt x="1322" y="1543"/>
                    </a:lnTo>
                    <a:lnTo>
                      <a:pt x="1321" y="1543"/>
                    </a:lnTo>
                    <a:lnTo>
                      <a:pt x="1321" y="1541"/>
                    </a:lnTo>
                    <a:lnTo>
                      <a:pt x="1321" y="1539"/>
                    </a:lnTo>
                    <a:lnTo>
                      <a:pt x="1319" y="1539"/>
                    </a:lnTo>
                    <a:lnTo>
                      <a:pt x="1317" y="1539"/>
                    </a:lnTo>
                    <a:lnTo>
                      <a:pt x="1315" y="1539"/>
                    </a:lnTo>
                    <a:lnTo>
                      <a:pt x="1315" y="1538"/>
                    </a:lnTo>
                    <a:lnTo>
                      <a:pt x="1315" y="1536"/>
                    </a:lnTo>
                    <a:lnTo>
                      <a:pt x="1317" y="1534"/>
                    </a:lnTo>
                    <a:lnTo>
                      <a:pt x="1319" y="1534"/>
                    </a:lnTo>
                    <a:lnTo>
                      <a:pt x="1317" y="1534"/>
                    </a:lnTo>
                    <a:lnTo>
                      <a:pt x="1315" y="1536"/>
                    </a:lnTo>
                    <a:lnTo>
                      <a:pt x="1315" y="1534"/>
                    </a:lnTo>
                    <a:lnTo>
                      <a:pt x="1315" y="1532"/>
                    </a:lnTo>
                    <a:lnTo>
                      <a:pt x="1315" y="1531"/>
                    </a:lnTo>
                    <a:lnTo>
                      <a:pt x="1315" y="1529"/>
                    </a:lnTo>
                    <a:lnTo>
                      <a:pt x="1317" y="1527"/>
                    </a:lnTo>
                    <a:lnTo>
                      <a:pt x="1317" y="1526"/>
                    </a:lnTo>
                    <a:lnTo>
                      <a:pt x="1317" y="1524"/>
                    </a:lnTo>
                    <a:lnTo>
                      <a:pt x="1315" y="1524"/>
                    </a:lnTo>
                    <a:lnTo>
                      <a:pt x="1317" y="1522"/>
                    </a:lnTo>
                    <a:lnTo>
                      <a:pt x="1317" y="1521"/>
                    </a:lnTo>
                    <a:lnTo>
                      <a:pt x="1317" y="1519"/>
                    </a:lnTo>
                    <a:lnTo>
                      <a:pt x="1317" y="1517"/>
                    </a:lnTo>
                    <a:lnTo>
                      <a:pt x="1319" y="1517"/>
                    </a:lnTo>
                    <a:lnTo>
                      <a:pt x="1319" y="1515"/>
                    </a:lnTo>
                    <a:lnTo>
                      <a:pt x="1321" y="1515"/>
                    </a:lnTo>
                    <a:lnTo>
                      <a:pt x="1321" y="1517"/>
                    </a:lnTo>
                    <a:lnTo>
                      <a:pt x="1319" y="1517"/>
                    </a:lnTo>
                    <a:lnTo>
                      <a:pt x="1321" y="1519"/>
                    </a:lnTo>
                    <a:lnTo>
                      <a:pt x="1321" y="1521"/>
                    </a:lnTo>
                    <a:lnTo>
                      <a:pt x="1319" y="1521"/>
                    </a:lnTo>
                    <a:lnTo>
                      <a:pt x="1321" y="1521"/>
                    </a:lnTo>
                    <a:lnTo>
                      <a:pt x="1322" y="1521"/>
                    </a:lnTo>
                    <a:lnTo>
                      <a:pt x="1324" y="1521"/>
                    </a:lnTo>
                    <a:lnTo>
                      <a:pt x="1324" y="1519"/>
                    </a:lnTo>
                    <a:lnTo>
                      <a:pt x="1326" y="1519"/>
                    </a:lnTo>
                    <a:lnTo>
                      <a:pt x="1327" y="1519"/>
                    </a:lnTo>
                    <a:lnTo>
                      <a:pt x="1327" y="1517"/>
                    </a:lnTo>
                    <a:lnTo>
                      <a:pt x="1327" y="1515"/>
                    </a:lnTo>
                    <a:lnTo>
                      <a:pt x="1329" y="1514"/>
                    </a:lnTo>
                    <a:lnTo>
                      <a:pt x="1327" y="1512"/>
                    </a:lnTo>
                    <a:lnTo>
                      <a:pt x="1327" y="1510"/>
                    </a:lnTo>
                    <a:lnTo>
                      <a:pt x="1326" y="1512"/>
                    </a:lnTo>
                    <a:lnTo>
                      <a:pt x="1326" y="1510"/>
                    </a:lnTo>
                    <a:lnTo>
                      <a:pt x="1324" y="1510"/>
                    </a:lnTo>
                    <a:lnTo>
                      <a:pt x="1322" y="1510"/>
                    </a:lnTo>
                    <a:lnTo>
                      <a:pt x="1322" y="1512"/>
                    </a:lnTo>
                    <a:lnTo>
                      <a:pt x="1321" y="1512"/>
                    </a:lnTo>
                    <a:lnTo>
                      <a:pt x="1322" y="1510"/>
                    </a:lnTo>
                    <a:lnTo>
                      <a:pt x="1322" y="1509"/>
                    </a:lnTo>
                    <a:lnTo>
                      <a:pt x="1322" y="1507"/>
                    </a:lnTo>
                    <a:lnTo>
                      <a:pt x="1321" y="1505"/>
                    </a:lnTo>
                    <a:lnTo>
                      <a:pt x="1319" y="1505"/>
                    </a:lnTo>
                    <a:lnTo>
                      <a:pt x="1317" y="1505"/>
                    </a:lnTo>
                    <a:lnTo>
                      <a:pt x="1317" y="1504"/>
                    </a:lnTo>
                    <a:lnTo>
                      <a:pt x="1319" y="1504"/>
                    </a:lnTo>
                    <a:lnTo>
                      <a:pt x="1321" y="1504"/>
                    </a:lnTo>
                    <a:lnTo>
                      <a:pt x="1322" y="1504"/>
                    </a:lnTo>
                    <a:lnTo>
                      <a:pt x="1324" y="1504"/>
                    </a:lnTo>
                    <a:lnTo>
                      <a:pt x="1326" y="1502"/>
                    </a:lnTo>
                    <a:lnTo>
                      <a:pt x="1327" y="1502"/>
                    </a:lnTo>
                    <a:lnTo>
                      <a:pt x="1327" y="1504"/>
                    </a:lnTo>
                    <a:lnTo>
                      <a:pt x="1329" y="1505"/>
                    </a:lnTo>
                    <a:lnTo>
                      <a:pt x="1329" y="1507"/>
                    </a:lnTo>
                    <a:lnTo>
                      <a:pt x="1331" y="1509"/>
                    </a:lnTo>
                    <a:lnTo>
                      <a:pt x="1332" y="1509"/>
                    </a:lnTo>
                    <a:lnTo>
                      <a:pt x="1334" y="1509"/>
                    </a:lnTo>
                    <a:lnTo>
                      <a:pt x="1336" y="1507"/>
                    </a:lnTo>
                    <a:lnTo>
                      <a:pt x="1336" y="1505"/>
                    </a:lnTo>
                    <a:lnTo>
                      <a:pt x="1338" y="1505"/>
                    </a:lnTo>
                    <a:lnTo>
                      <a:pt x="1339" y="1505"/>
                    </a:lnTo>
                    <a:lnTo>
                      <a:pt x="1341" y="1504"/>
                    </a:lnTo>
                    <a:lnTo>
                      <a:pt x="1343" y="1502"/>
                    </a:lnTo>
                    <a:lnTo>
                      <a:pt x="1343" y="1500"/>
                    </a:lnTo>
                    <a:lnTo>
                      <a:pt x="1344" y="1498"/>
                    </a:lnTo>
                    <a:lnTo>
                      <a:pt x="1344" y="1497"/>
                    </a:lnTo>
                    <a:lnTo>
                      <a:pt x="1344" y="1495"/>
                    </a:lnTo>
                    <a:lnTo>
                      <a:pt x="1344" y="1493"/>
                    </a:lnTo>
                    <a:lnTo>
                      <a:pt x="1344" y="1492"/>
                    </a:lnTo>
                    <a:lnTo>
                      <a:pt x="1346" y="1492"/>
                    </a:lnTo>
                    <a:lnTo>
                      <a:pt x="1346" y="1490"/>
                    </a:lnTo>
                    <a:lnTo>
                      <a:pt x="1348" y="1490"/>
                    </a:lnTo>
                    <a:lnTo>
                      <a:pt x="1349" y="1488"/>
                    </a:lnTo>
                    <a:lnTo>
                      <a:pt x="1348" y="1488"/>
                    </a:lnTo>
                    <a:lnTo>
                      <a:pt x="1349" y="1488"/>
                    </a:lnTo>
                    <a:lnTo>
                      <a:pt x="1348" y="1488"/>
                    </a:lnTo>
                    <a:lnTo>
                      <a:pt x="1349" y="1488"/>
                    </a:lnTo>
                    <a:lnTo>
                      <a:pt x="1351" y="1487"/>
                    </a:lnTo>
                    <a:lnTo>
                      <a:pt x="1353" y="1488"/>
                    </a:lnTo>
                    <a:lnTo>
                      <a:pt x="1353" y="1490"/>
                    </a:lnTo>
                    <a:lnTo>
                      <a:pt x="1355" y="1492"/>
                    </a:lnTo>
                    <a:lnTo>
                      <a:pt x="1355" y="1493"/>
                    </a:lnTo>
                    <a:lnTo>
                      <a:pt x="1355" y="1495"/>
                    </a:lnTo>
                    <a:lnTo>
                      <a:pt x="1356" y="1497"/>
                    </a:lnTo>
                    <a:lnTo>
                      <a:pt x="1356" y="1498"/>
                    </a:lnTo>
                    <a:lnTo>
                      <a:pt x="1358" y="1498"/>
                    </a:lnTo>
                    <a:lnTo>
                      <a:pt x="1360" y="1500"/>
                    </a:lnTo>
                    <a:lnTo>
                      <a:pt x="1361" y="1500"/>
                    </a:lnTo>
                    <a:lnTo>
                      <a:pt x="1363" y="1500"/>
                    </a:lnTo>
                    <a:lnTo>
                      <a:pt x="1363" y="1498"/>
                    </a:lnTo>
                    <a:lnTo>
                      <a:pt x="1365" y="1498"/>
                    </a:lnTo>
                    <a:lnTo>
                      <a:pt x="1366" y="1498"/>
                    </a:lnTo>
                    <a:lnTo>
                      <a:pt x="1368" y="1497"/>
                    </a:lnTo>
                    <a:lnTo>
                      <a:pt x="1370" y="1497"/>
                    </a:lnTo>
                    <a:lnTo>
                      <a:pt x="1372" y="1497"/>
                    </a:lnTo>
                    <a:lnTo>
                      <a:pt x="1372" y="1495"/>
                    </a:lnTo>
                    <a:lnTo>
                      <a:pt x="1373" y="1495"/>
                    </a:lnTo>
                    <a:lnTo>
                      <a:pt x="1373" y="1493"/>
                    </a:lnTo>
                    <a:lnTo>
                      <a:pt x="1373" y="1492"/>
                    </a:lnTo>
                    <a:lnTo>
                      <a:pt x="1373" y="1493"/>
                    </a:lnTo>
                    <a:lnTo>
                      <a:pt x="1375" y="1493"/>
                    </a:lnTo>
                    <a:lnTo>
                      <a:pt x="1375" y="1495"/>
                    </a:lnTo>
                    <a:lnTo>
                      <a:pt x="1377" y="1497"/>
                    </a:lnTo>
                    <a:lnTo>
                      <a:pt x="1378" y="1497"/>
                    </a:lnTo>
                    <a:lnTo>
                      <a:pt x="1378" y="1498"/>
                    </a:lnTo>
                    <a:close/>
                    <a:moveTo>
                      <a:pt x="1200" y="954"/>
                    </a:moveTo>
                    <a:lnTo>
                      <a:pt x="1200" y="956"/>
                    </a:lnTo>
                    <a:lnTo>
                      <a:pt x="1202" y="957"/>
                    </a:lnTo>
                    <a:lnTo>
                      <a:pt x="1200" y="957"/>
                    </a:lnTo>
                    <a:lnTo>
                      <a:pt x="1198" y="957"/>
                    </a:lnTo>
                    <a:lnTo>
                      <a:pt x="1198" y="956"/>
                    </a:lnTo>
                    <a:lnTo>
                      <a:pt x="1196" y="957"/>
                    </a:lnTo>
                    <a:lnTo>
                      <a:pt x="1196" y="956"/>
                    </a:lnTo>
                    <a:lnTo>
                      <a:pt x="1196" y="957"/>
                    </a:lnTo>
                    <a:lnTo>
                      <a:pt x="1198" y="957"/>
                    </a:lnTo>
                    <a:lnTo>
                      <a:pt x="1198" y="959"/>
                    </a:lnTo>
                    <a:lnTo>
                      <a:pt x="1200" y="959"/>
                    </a:lnTo>
                    <a:lnTo>
                      <a:pt x="1202" y="959"/>
                    </a:lnTo>
                    <a:lnTo>
                      <a:pt x="1202" y="957"/>
                    </a:lnTo>
                    <a:lnTo>
                      <a:pt x="1203" y="957"/>
                    </a:lnTo>
                    <a:lnTo>
                      <a:pt x="1203" y="959"/>
                    </a:lnTo>
                    <a:lnTo>
                      <a:pt x="1205" y="961"/>
                    </a:lnTo>
                    <a:lnTo>
                      <a:pt x="1203" y="963"/>
                    </a:lnTo>
                    <a:lnTo>
                      <a:pt x="1205" y="963"/>
                    </a:lnTo>
                    <a:lnTo>
                      <a:pt x="1205" y="961"/>
                    </a:lnTo>
                    <a:lnTo>
                      <a:pt x="1205" y="963"/>
                    </a:lnTo>
                    <a:lnTo>
                      <a:pt x="1205" y="961"/>
                    </a:lnTo>
                    <a:lnTo>
                      <a:pt x="1207" y="961"/>
                    </a:lnTo>
                    <a:lnTo>
                      <a:pt x="1205" y="961"/>
                    </a:lnTo>
                    <a:lnTo>
                      <a:pt x="1205" y="959"/>
                    </a:lnTo>
                    <a:lnTo>
                      <a:pt x="1203" y="959"/>
                    </a:lnTo>
                    <a:lnTo>
                      <a:pt x="1205" y="959"/>
                    </a:lnTo>
                    <a:lnTo>
                      <a:pt x="1205" y="957"/>
                    </a:lnTo>
                    <a:lnTo>
                      <a:pt x="1207" y="957"/>
                    </a:lnTo>
                    <a:lnTo>
                      <a:pt x="1207" y="956"/>
                    </a:lnTo>
                    <a:lnTo>
                      <a:pt x="1208" y="956"/>
                    </a:lnTo>
                    <a:lnTo>
                      <a:pt x="1208" y="957"/>
                    </a:lnTo>
                    <a:lnTo>
                      <a:pt x="1210" y="956"/>
                    </a:lnTo>
                    <a:lnTo>
                      <a:pt x="1212" y="956"/>
                    </a:lnTo>
                    <a:lnTo>
                      <a:pt x="1212" y="957"/>
                    </a:lnTo>
                    <a:lnTo>
                      <a:pt x="1213" y="957"/>
                    </a:lnTo>
                    <a:lnTo>
                      <a:pt x="1213" y="959"/>
                    </a:lnTo>
                    <a:lnTo>
                      <a:pt x="1212" y="959"/>
                    </a:lnTo>
                    <a:lnTo>
                      <a:pt x="1213" y="959"/>
                    </a:lnTo>
                    <a:lnTo>
                      <a:pt x="1213" y="961"/>
                    </a:lnTo>
                    <a:lnTo>
                      <a:pt x="1213" y="959"/>
                    </a:lnTo>
                    <a:lnTo>
                      <a:pt x="1212" y="959"/>
                    </a:lnTo>
                    <a:lnTo>
                      <a:pt x="1212" y="961"/>
                    </a:lnTo>
                    <a:lnTo>
                      <a:pt x="1213" y="961"/>
                    </a:lnTo>
                    <a:lnTo>
                      <a:pt x="1212" y="961"/>
                    </a:lnTo>
                    <a:lnTo>
                      <a:pt x="1212" y="963"/>
                    </a:lnTo>
                    <a:lnTo>
                      <a:pt x="1213" y="963"/>
                    </a:lnTo>
                    <a:lnTo>
                      <a:pt x="1213" y="964"/>
                    </a:lnTo>
                    <a:lnTo>
                      <a:pt x="1213" y="966"/>
                    </a:lnTo>
                    <a:lnTo>
                      <a:pt x="1215" y="966"/>
                    </a:lnTo>
                    <a:lnTo>
                      <a:pt x="1215" y="968"/>
                    </a:lnTo>
                    <a:lnTo>
                      <a:pt x="1215" y="969"/>
                    </a:lnTo>
                    <a:lnTo>
                      <a:pt x="1215" y="971"/>
                    </a:lnTo>
                    <a:lnTo>
                      <a:pt x="1213" y="969"/>
                    </a:lnTo>
                    <a:lnTo>
                      <a:pt x="1213" y="971"/>
                    </a:lnTo>
                    <a:lnTo>
                      <a:pt x="1215" y="973"/>
                    </a:lnTo>
                    <a:lnTo>
                      <a:pt x="1217" y="975"/>
                    </a:lnTo>
                    <a:lnTo>
                      <a:pt x="1219" y="975"/>
                    </a:lnTo>
                    <a:lnTo>
                      <a:pt x="1219" y="976"/>
                    </a:lnTo>
                    <a:lnTo>
                      <a:pt x="1217" y="976"/>
                    </a:lnTo>
                    <a:lnTo>
                      <a:pt x="1219" y="976"/>
                    </a:lnTo>
                    <a:lnTo>
                      <a:pt x="1219" y="978"/>
                    </a:lnTo>
                    <a:lnTo>
                      <a:pt x="1219" y="980"/>
                    </a:lnTo>
                    <a:lnTo>
                      <a:pt x="1217" y="980"/>
                    </a:lnTo>
                    <a:lnTo>
                      <a:pt x="1215" y="980"/>
                    </a:lnTo>
                    <a:lnTo>
                      <a:pt x="1215" y="978"/>
                    </a:lnTo>
                    <a:lnTo>
                      <a:pt x="1215" y="980"/>
                    </a:lnTo>
                    <a:lnTo>
                      <a:pt x="1213" y="980"/>
                    </a:lnTo>
                    <a:lnTo>
                      <a:pt x="1212" y="980"/>
                    </a:lnTo>
                    <a:lnTo>
                      <a:pt x="1210" y="981"/>
                    </a:lnTo>
                    <a:lnTo>
                      <a:pt x="1208" y="981"/>
                    </a:lnTo>
                    <a:lnTo>
                      <a:pt x="1207" y="983"/>
                    </a:lnTo>
                    <a:lnTo>
                      <a:pt x="1208" y="983"/>
                    </a:lnTo>
                    <a:lnTo>
                      <a:pt x="1208" y="985"/>
                    </a:lnTo>
                    <a:lnTo>
                      <a:pt x="1208" y="986"/>
                    </a:lnTo>
                    <a:lnTo>
                      <a:pt x="1207" y="986"/>
                    </a:lnTo>
                    <a:lnTo>
                      <a:pt x="1208" y="988"/>
                    </a:lnTo>
                    <a:lnTo>
                      <a:pt x="1210" y="988"/>
                    </a:lnTo>
                    <a:lnTo>
                      <a:pt x="1210" y="990"/>
                    </a:lnTo>
                    <a:lnTo>
                      <a:pt x="1208" y="988"/>
                    </a:lnTo>
                    <a:lnTo>
                      <a:pt x="1208" y="990"/>
                    </a:lnTo>
                    <a:lnTo>
                      <a:pt x="1207" y="990"/>
                    </a:lnTo>
                    <a:lnTo>
                      <a:pt x="1205" y="990"/>
                    </a:lnTo>
                    <a:lnTo>
                      <a:pt x="1205" y="988"/>
                    </a:lnTo>
                    <a:lnTo>
                      <a:pt x="1203" y="988"/>
                    </a:lnTo>
                    <a:lnTo>
                      <a:pt x="1205" y="988"/>
                    </a:lnTo>
                    <a:lnTo>
                      <a:pt x="1205" y="986"/>
                    </a:lnTo>
                    <a:lnTo>
                      <a:pt x="1205" y="985"/>
                    </a:lnTo>
                    <a:lnTo>
                      <a:pt x="1205" y="986"/>
                    </a:lnTo>
                    <a:lnTo>
                      <a:pt x="1203" y="986"/>
                    </a:lnTo>
                    <a:lnTo>
                      <a:pt x="1203" y="988"/>
                    </a:lnTo>
                    <a:lnTo>
                      <a:pt x="1203" y="990"/>
                    </a:lnTo>
                    <a:lnTo>
                      <a:pt x="1205" y="990"/>
                    </a:lnTo>
                    <a:lnTo>
                      <a:pt x="1205" y="992"/>
                    </a:lnTo>
                    <a:lnTo>
                      <a:pt x="1203" y="992"/>
                    </a:lnTo>
                    <a:lnTo>
                      <a:pt x="1203" y="993"/>
                    </a:lnTo>
                    <a:lnTo>
                      <a:pt x="1205" y="993"/>
                    </a:lnTo>
                    <a:lnTo>
                      <a:pt x="1205" y="995"/>
                    </a:lnTo>
                    <a:lnTo>
                      <a:pt x="1207" y="995"/>
                    </a:lnTo>
                    <a:lnTo>
                      <a:pt x="1208" y="995"/>
                    </a:lnTo>
                    <a:lnTo>
                      <a:pt x="1207" y="995"/>
                    </a:lnTo>
                    <a:lnTo>
                      <a:pt x="1207" y="997"/>
                    </a:lnTo>
                    <a:lnTo>
                      <a:pt x="1208" y="997"/>
                    </a:lnTo>
                    <a:lnTo>
                      <a:pt x="1208" y="998"/>
                    </a:lnTo>
                    <a:lnTo>
                      <a:pt x="1210" y="998"/>
                    </a:lnTo>
                    <a:lnTo>
                      <a:pt x="1210" y="1000"/>
                    </a:lnTo>
                    <a:lnTo>
                      <a:pt x="1212" y="998"/>
                    </a:lnTo>
                    <a:lnTo>
                      <a:pt x="1212" y="1000"/>
                    </a:lnTo>
                    <a:lnTo>
                      <a:pt x="1213" y="1000"/>
                    </a:lnTo>
                    <a:lnTo>
                      <a:pt x="1213" y="1002"/>
                    </a:lnTo>
                    <a:lnTo>
                      <a:pt x="1213" y="1003"/>
                    </a:lnTo>
                    <a:lnTo>
                      <a:pt x="1215" y="1005"/>
                    </a:lnTo>
                    <a:lnTo>
                      <a:pt x="1213" y="1005"/>
                    </a:lnTo>
                    <a:lnTo>
                      <a:pt x="1213" y="1007"/>
                    </a:lnTo>
                    <a:lnTo>
                      <a:pt x="1213" y="1005"/>
                    </a:lnTo>
                    <a:lnTo>
                      <a:pt x="1213" y="1003"/>
                    </a:lnTo>
                    <a:lnTo>
                      <a:pt x="1213" y="1005"/>
                    </a:lnTo>
                    <a:lnTo>
                      <a:pt x="1212" y="1005"/>
                    </a:lnTo>
                    <a:lnTo>
                      <a:pt x="1210" y="1005"/>
                    </a:lnTo>
                    <a:lnTo>
                      <a:pt x="1210" y="1003"/>
                    </a:lnTo>
                    <a:lnTo>
                      <a:pt x="1210" y="1002"/>
                    </a:lnTo>
                    <a:lnTo>
                      <a:pt x="1208" y="1002"/>
                    </a:lnTo>
                    <a:lnTo>
                      <a:pt x="1210" y="1003"/>
                    </a:lnTo>
                    <a:lnTo>
                      <a:pt x="1208" y="1003"/>
                    </a:lnTo>
                    <a:lnTo>
                      <a:pt x="1210" y="1003"/>
                    </a:lnTo>
                    <a:lnTo>
                      <a:pt x="1210" y="1005"/>
                    </a:lnTo>
                    <a:lnTo>
                      <a:pt x="1208" y="1005"/>
                    </a:lnTo>
                    <a:lnTo>
                      <a:pt x="1208" y="1003"/>
                    </a:lnTo>
                    <a:lnTo>
                      <a:pt x="1207" y="1003"/>
                    </a:lnTo>
                    <a:lnTo>
                      <a:pt x="1205" y="1003"/>
                    </a:lnTo>
                    <a:lnTo>
                      <a:pt x="1205" y="1005"/>
                    </a:lnTo>
                    <a:lnTo>
                      <a:pt x="1207" y="1005"/>
                    </a:lnTo>
                    <a:lnTo>
                      <a:pt x="1208" y="1005"/>
                    </a:lnTo>
                    <a:lnTo>
                      <a:pt x="1208" y="1007"/>
                    </a:lnTo>
                    <a:lnTo>
                      <a:pt x="1208" y="1009"/>
                    </a:lnTo>
                    <a:lnTo>
                      <a:pt x="1210" y="1009"/>
                    </a:lnTo>
                    <a:lnTo>
                      <a:pt x="1212" y="1009"/>
                    </a:lnTo>
                    <a:lnTo>
                      <a:pt x="1212" y="1010"/>
                    </a:lnTo>
                    <a:lnTo>
                      <a:pt x="1212" y="1012"/>
                    </a:lnTo>
                    <a:lnTo>
                      <a:pt x="1213" y="1014"/>
                    </a:lnTo>
                    <a:lnTo>
                      <a:pt x="1212" y="1014"/>
                    </a:lnTo>
                    <a:lnTo>
                      <a:pt x="1212" y="1012"/>
                    </a:lnTo>
                    <a:lnTo>
                      <a:pt x="1210" y="1012"/>
                    </a:lnTo>
                    <a:lnTo>
                      <a:pt x="1208" y="1012"/>
                    </a:lnTo>
                    <a:lnTo>
                      <a:pt x="1208" y="1014"/>
                    </a:lnTo>
                    <a:lnTo>
                      <a:pt x="1210" y="1014"/>
                    </a:lnTo>
                    <a:lnTo>
                      <a:pt x="1212" y="1014"/>
                    </a:lnTo>
                    <a:lnTo>
                      <a:pt x="1213" y="1014"/>
                    </a:lnTo>
                    <a:lnTo>
                      <a:pt x="1213" y="1015"/>
                    </a:lnTo>
                    <a:lnTo>
                      <a:pt x="1213" y="1017"/>
                    </a:lnTo>
                    <a:lnTo>
                      <a:pt x="1212" y="1015"/>
                    </a:lnTo>
                    <a:lnTo>
                      <a:pt x="1210" y="1015"/>
                    </a:lnTo>
                    <a:lnTo>
                      <a:pt x="1208" y="1015"/>
                    </a:lnTo>
                    <a:lnTo>
                      <a:pt x="1208" y="1017"/>
                    </a:lnTo>
                    <a:lnTo>
                      <a:pt x="1207" y="1017"/>
                    </a:lnTo>
                    <a:lnTo>
                      <a:pt x="1207" y="1015"/>
                    </a:lnTo>
                    <a:lnTo>
                      <a:pt x="1205" y="1015"/>
                    </a:lnTo>
                    <a:lnTo>
                      <a:pt x="1205" y="1017"/>
                    </a:lnTo>
                    <a:lnTo>
                      <a:pt x="1205" y="1019"/>
                    </a:lnTo>
                    <a:lnTo>
                      <a:pt x="1205" y="1020"/>
                    </a:lnTo>
                    <a:lnTo>
                      <a:pt x="1205" y="1022"/>
                    </a:lnTo>
                    <a:lnTo>
                      <a:pt x="1207" y="1022"/>
                    </a:lnTo>
                    <a:lnTo>
                      <a:pt x="1207" y="1024"/>
                    </a:lnTo>
                    <a:lnTo>
                      <a:pt x="1208" y="1024"/>
                    </a:lnTo>
                    <a:lnTo>
                      <a:pt x="1208" y="1026"/>
                    </a:lnTo>
                    <a:lnTo>
                      <a:pt x="1207" y="1026"/>
                    </a:lnTo>
                    <a:lnTo>
                      <a:pt x="1205" y="1026"/>
                    </a:lnTo>
                    <a:lnTo>
                      <a:pt x="1203" y="1026"/>
                    </a:lnTo>
                    <a:lnTo>
                      <a:pt x="1203" y="1024"/>
                    </a:lnTo>
                    <a:lnTo>
                      <a:pt x="1202" y="1024"/>
                    </a:lnTo>
                    <a:lnTo>
                      <a:pt x="1200" y="1024"/>
                    </a:lnTo>
                    <a:lnTo>
                      <a:pt x="1202" y="1024"/>
                    </a:lnTo>
                    <a:lnTo>
                      <a:pt x="1203" y="1026"/>
                    </a:lnTo>
                    <a:lnTo>
                      <a:pt x="1203" y="1027"/>
                    </a:lnTo>
                    <a:lnTo>
                      <a:pt x="1203" y="1029"/>
                    </a:lnTo>
                    <a:lnTo>
                      <a:pt x="1202" y="1029"/>
                    </a:lnTo>
                    <a:lnTo>
                      <a:pt x="1202" y="1027"/>
                    </a:lnTo>
                    <a:lnTo>
                      <a:pt x="1203" y="1029"/>
                    </a:lnTo>
                    <a:lnTo>
                      <a:pt x="1202" y="1031"/>
                    </a:lnTo>
                    <a:lnTo>
                      <a:pt x="1200" y="1031"/>
                    </a:lnTo>
                    <a:lnTo>
                      <a:pt x="1200" y="1029"/>
                    </a:lnTo>
                    <a:lnTo>
                      <a:pt x="1198" y="1027"/>
                    </a:lnTo>
                    <a:lnTo>
                      <a:pt x="1196" y="1027"/>
                    </a:lnTo>
                    <a:lnTo>
                      <a:pt x="1196" y="1029"/>
                    </a:lnTo>
                    <a:lnTo>
                      <a:pt x="1196" y="1027"/>
                    </a:lnTo>
                    <a:lnTo>
                      <a:pt x="1195" y="1027"/>
                    </a:lnTo>
                    <a:lnTo>
                      <a:pt x="1195" y="1026"/>
                    </a:lnTo>
                    <a:lnTo>
                      <a:pt x="1193" y="1026"/>
                    </a:lnTo>
                    <a:lnTo>
                      <a:pt x="1193" y="1027"/>
                    </a:lnTo>
                    <a:lnTo>
                      <a:pt x="1195" y="1027"/>
                    </a:lnTo>
                    <a:lnTo>
                      <a:pt x="1193" y="1027"/>
                    </a:lnTo>
                    <a:lnTo>
                      <a:pt x="1193" y="1029"/>
                    </a:lnTo>
                    <a:lnTo>
                      <a:pt x="1191" y="1027"/>
                    </a:lnTo>
                    <a:lnTo>
                      <a:pt x="1193" y="1027"/>
                    </a:lnTo>
                    <a:lnTo>
                      <a:pt x="1191" y="1026"/>
                    </a:lnTo>
                    <a:lnTo>
                      <a:pt x="1191" y="1024"/>
                    </a:lnTo>
                    <a:lnTo>
                      <a:pt x="1191" y="1026"/>
                    </a:lnTo>
                    <a:lnTo>
                      <a:pt x="1191" y="1027"/>
                    </a:lnTo>
                    <a:lnTo>
                      <a:pt x="1190" y="1026"/>
                    </a:lnTo>
                    <a:lnTo>
                      <a:pt x="1190" y="1027"/>
                    </a:lnTo>
                    <a:lnTo>
                      <a:pt x="1188" y="1026"/>
                    </a:lnTo>
                    <a:lnTo>
                      <a:pt x="1186" y="1026"/>
                    </a:lnTo>
                    <a:lnTo>
                      <a:pt x="1186" y="1024"/>
                    </a:lnTo>
                    <a:lnTo>
                      <a:pt x="1185" y="1024"/>
                    </a:lnTo>
                    <a:lnTo>
                      <a:pt x="1183" y="1024"/>
                    </a:lnTo>
                    <a:lnTo>
                      <a:pt x="1183" y="1022"/>
                    </a:lnTo>
                    <a:lnTo>
                      <a:pt x="1183" y="1020"/>
                    </a:lnTo>
                    <a:lnTo>
                      <a:pt x="1185" y="1019"/>
                    </a:lnTo>
                    <a:lnTo>
                      <a:pt x="1185" y="1017"/>
                    </a:lnTo>
                    <a:lnTo>
                      <a:pt x="1186" y="1017"/>
                    </a:lnTo>
                    <a:lnTo>
                      <a:pt x="1186" y="1015"/>
                    </a:lnTo>
                    <a:lnTo>
                      <a:pt x="1185" y="1015"/>
                    </a:lnTo>
                    <a:lnTo>
                      <a:pt x="1186" y="1015"/>
                    </a:lnTo>
                    <a:lnTo>
                      <a:pt x="1185" y="1015"/>
                    </a:lnTo>
                    <a:lnTo>
                      <a:pt x="1185" y="1014"/>
                    </a:lnTo>
                    <a:lnTo>
                      <a:pt x="1186" y="1014"/>
                    </a:lnTo>
                    <a:lnTo>
                      <a:pt x="1188" y="1012"/>
                    </a:lnTo>
                    <a:lnTo>
                      <a:pt x="1188" y="1010"/>
                    </a:lnTo>
                    <a:lnTo>
                      <a:pt x="1190" y="1009"/>
                    </a:lnTo>
                    <a:lnTo>
                      <a:pt x="1190" y="1007"/>
                    </a:lnTo>
                    <a:lnTo>
                      <a:pt x="1188" y="1007"/>
                    </a:lnTo>
                    <a:lnTo>
                      <a:pt x="1190" y="1007"/>
                    </a:lnTo>
                    <a:lnTo>
                      <a:pt x="1190" y="1005"/>
                    </a:lnTo>
                    <a:lnTo>
                      <a:pt x="1191" y="1005"/>
                    </a:lnTo>
                    <a:lnTo>
                      <a:pt x="1191" y="1003"/>
                    </a:lnTo>
                    <a:lnTo>
                      <a:pt x="1191" y="1002"/>
                    </a:lnTo>
                    <a:lnTo>
                      <a:pt x="1191" y="1000"/>
                    </a:lnTo>
                    <a:lnTo>
                      <a:pt x="1191" y="998"/>
                    </a:lnTo>
                    <a:lnTo>
                      <a:pt x="1191" y="997"/>
                    </a:lnTo>
                    <a:lnTo>
                      <a:pt x="1191" y="995"/>
                    </a:lnTo>
                    <a:lnTo>
                      <a:pt x="1191" y="993"/>
                    </a:lnTo>
                    <a:lnTo>
                      <a:pt x="1193" y="993"/>
                    </a:lnTo>
                    <a:lnTo>
                      <a:pt x="1191" y="993"/>
                    </a:lnTo>
                    <a:lnTo>
                      <a:pt x="1191" y="992"/>
                    </a:lnTo>
                    <a:lnTo>
                      <a:pt x="1191" y="990"/>
                    </a:lnTo>
                    <a:lnTo>
                      <a:pt x="1190" y="988"/>
                    </a:lnTo>
                    <a:lnTo>
                      <a:pt x="1190" y="986"/>
                    </a:lnTo>
                    <a:lnTo>
                      <a:pt x="1190" y="985"/>
                    </a:lnTo>
                    <a:lnTo>
                      <a:pt x="1190" y="983"/>
                    </a:lnTo>
                    <a:lnTo>
                      <a:pt x="1191" y="983"/>
                    </a:lnTo>
                    <a:lnTo>
                      <a:pt x="1191" y="981"/>
                    </a:lnTo>
                    <a:lnTo>
                      <a:pt x="1191" y="980"/>
                    </a:lnTo>
                    <a:lnTo>
                      <a:pt x="1191" y="978"/>
                    </a:lnTo>
                    <a:lnTo>
                      <a:pt x="1190" y="976"/>
                    </a:lnTo>
                    <a:lnTo>
                      <a:pt x="1191" y="976"/>
                    </a:lnTo>
                    <a:lnTo>
                      <a:pt x="1191" y="975"/>
                    </a:lnTo>
                    <a:lnTo>
                      <a:pt x="1191" y="973"/>
                    </a:lnTo>
                    <a:lnTo>
                      <a:pt x="1193" y="973"/>
                    </a:lnTo>
                    <a:lnTo>
                      <a:pt x="1193" y="971"/>
                    </a:lnTo>
                    <a:lnTo>
                      <a:pt x="1195" y="971"/>
                    </a:lnTo>
                    <a:lnTo>
                      <a:pt x="1195" y="969"/>
                    </a:lnTo>
                    <a:lnTo>
                      <a:pt x="1195" y="968"/>
                    </a:lnTo>
                    <a:lnTo>
                      <a:pt x="1195" y="966"/>
                    </a:lnTo>
                    <a:lnTo>
                      <a:pt x="1195" y="964"/>
                    </a:lnTo>
                    <a:lnTo>
                      <a:pt x="1195" y="963"/>
                    </a:lnTo>
                    <a:lnTo>
                      <a:pt x="1195" y="961"/>
                    </a:lnTo>
                    <a:lnTo>
                      <a:pt x="1196" y="961"/>
                    </a:lnTo>
                    <a:lnTo>
                      <a:pt x="1196" y="959"/>
                    </a:lnTo>
                    <a:lnTo>
                      <a:pt x="1195" y="959"/>
                    </a:lnTo>
                    <a:lnTo>
                      <a:pt x="1195" y="957"/>
                    </a:lnTo>
                    <a:lnTo>
                      <a:pt x="1195" y="956"/>
                    </a:lnTo>
                    <a:lnTo>
                      <a:pt x="1195" y="954"/>
                    </a:lnTo>
                    <a:lnTo>
                      <a:pt x="1196" y="954"/>
                    </a:lnTo>
                    <a:lnTo>
                      <a:pt x="1196" y="956"/>
                    </a:lnTo>
                    <a:lnTo>
                      <a:pt x="1198" y="956"/>
                    </a:lnTo>
                    <a:lnTo>
                      <a:pt x="1200" y="954"/>
                    </a:lnTo>
                    <a:close/>
                    <a:moveTo>
                      <a:pt x="1174" y="1286"/>
                    </a:moveTo>
                    <a:lnTo>
                      <a:pt x="1176" y="1286"/>
                    </a:lnTo>
                    <a:lnTo>
                      <a:pt x="1176" y="1288"/>
                    </a:lnTo>
                    <a:lnTo>
                      <a:pt x="1174" y="1289"/>
                    </a:lnTo>
                    <a:lnTo>
                      <a:pt x="1176" y="1289"/>
                    </a:lnTo>
                    <a:lnTo>
                      <a:pt x="1176" y="1288"/>
                    </a:lnTo>
                    <a:lnTo>
                      <a:pt x="1178" y="1289"/>
                    </a:lnTo>
                    <a:lnTo>
                      <a:pt x="1176" y="1289"/>
                    </a:lnTo>
                    <a:lnTo>
                      <a:pt x="1176" y="1291"/>
                    </a:lnTo>
                    <a:lnTo>
                      <a:pt x="1176" y="1293"/>
                    </a:lnTo>
                    <a:lnTo>
                      <a:pt x="1178" y="1293"/>
                    </a:lnTo>
                    <a:lnTo>
                      <a:pt x="1176" y="1294"/>
                    </a:lnTo>
                    <a:lnTo>
                      <a:pt x="1174" y="1296"/>
                    </a:lnTo>
                    <a:lnTo>
                      <a:pt x="1176" y="1296"/>
                    </a:lnTo>
                    <a:lnTo>
                      <a:pt x="1176" y="1294"/>
                    </a:lnTo>
                    <a:lnTo>
                      <a:pt x="1178" y="1294"/>
                    </a:lnTo>
                    <a:lnTo>
                      <a:pt x="1178" y="1293"/>
                    </a:lnTo>
                    <a:lnTo>
                      <a:pt x="1178" y="1291"/>
                    </a:lnTo>
                    <a:lnTo>
                      <a:pt x="1178" y="1289"/>
                    </a:lnTo>
                    <a:lnTo>
                      <a:pt x="1178" y="1288"/>
                    </a:lnTo>
                    <a:lnTo>
                      <a:pt x="1179" y="1288"/>
                    </a:lnTo>
                    <a:lnTo>
                      <a:pt x="1181" y="1288"/>
                    </a:lnTo>
                    <a:lnTo>
                      <a:pt x="1181" y="1289"/>
                    </a:lnTo>
                    <a:lnTo>
                      <a:pt x="1181" y="1291"/>
                    </a:lnTo>
                    <a:lnTo>
                      <a:pt x="1181" y="1293"/>
                    </a:lnTo>
                    <a:lnTo>
                      <a:pt x="1181" y="1294"/>
                    </a:lnTo>
                    <a:lnTo>
                      <a:pt x="1181" y="1296"/>
                    </a:lnTo>
                    <a:lnTo>
                      <a:pt x="1179" y="1296"/>
                    </a:lnTo>
                    <a:lnTo>
                      <a:pt x="1179" y="1298"/>
                    </a:lnTo>
                    <a:lnTo>
                      <a:pt x="1178" y="1298"/>
                    </a:lnTo>
                    <a:lnTo>
                      <a:pt x="1178" y="1299"/>
                    </a:lnTo>
                    <a:lnTo>
                      <a:pt x="1176" y="1299"/>
                    </a:lnTo>
                    <a:lnTo>
                      <a:pt x="1178" y="1299"/>
                    </a:lnTo>
                    <a:lnTo>
                      <a:pt x="1178" y="1298"/>
                    </a:lnTo>
                    <a:lnTo>
                      <a:pt x="1179" y="1298"/>
                    </a:lnTo>
                    <a:lnTo>
                      <a:pt x="1179" y="1296"/>
                    </a:lnTo>
                    <a:lnTo>
                      <a:pt x="1181" y="1296"/>
                    </a:lnTo>
                    <a:lnTo>
                      <a:pt x="1181" y="1298"/>
                    </a:lnTo>
                    <a:lnTo>
                      <a:pt x="1181" y="1299"/>
                    </a:lnTo>
                    <a:lnTo>
                      <a:pt x="1183" y="1299"/>
                    </a:lnTo>
                    <a:lnTo>
                      <a:pt x="1183" y="1301"/>
                    </a:lnTo>
                    <a:lnTo>
                      <a:pt x="1181" y="1301"/>
                    </a:lnTo>
                    <a:lnTo>
                      <a:pt x="1181" y="1303"/>
                    </a:lnTo>
                    <a:lnTo>
                      <a:pt x="1179" y="1303"/>
                    </a:lnTo>
                    <a:lnTo>
                      <a:pt x="1181" y="1303"/>
                    </a:lnTo>
                    <a:lnTo>
                      <a:pt x="1181" y="1305"/>
                    </a:lnTo>
                    <a:lnTo>
                      <a:pt x="1181" y="1306"/>
                    </a:lnTo>
                    <a:lnTo>
                      <a:pt x="1183" y="1308"/>
                    </a:lnTo>
                    <a:lnTo>
                      <a:pt x="1183" y="1310"/>
                    </a:lnTo>
                    <a:lnTo>
                      <a:pt x="1183" y="1308"/>
                    </a:lnTo>
                    <a:lnTo>
                      <a:pt x="1181" y="1310"/>
                    </a:lnTo>
                    <a:lnTo>
                      <a:pt x="1183" y="1311"/>
                    </a:lnTo>
                    <a:lnTo>
                      <a:pt x="1183" y="1313"/>
                    </a:lnTo>
                    <a:lnTo>
                      <a:pt x="1183" y="1315"/>
                    </a:lnTo>
                    <a:lnTo>
                      <a:pt x="1183" y="1316"/>
                    </a:lnTo>
                    <a:lnTo>
                      <a:pt x="1183" y="1318"/>
                    </a:lnTo>
                    <a:lnTo>
                      <a:pt x="1183" y="1320"/>
                    </a:lnTo>
                    <a:lnTo>
                      <a:pt x="1181" y="1320"/>
                    </a:lnTo>
                    <a:lnTo>
                      <a:pt x="1181" y="1322"/>
                    </a:lnTo>
                    <a:lnTo>
                      <a:pt x="1183" y="1322"/>
                    </a:lnTo>
                    <a:lnTo>
                      <a:pt x="1183" y="1323"/>
                    </a:lnTo>
                    <a:lnTo>
                      <a:pt x="1181" y="1323"/>
                    </a:lnTo>
                    <a:lnTo>
                      <a:pt x="1181" y="1325"/>
                    </a:lnTo>
                    <a:lnTo>
                      <a:pt x="1181" y="1327"/>
                    </a:lnTo>
                    <a:lnTo>
                      <a:pt x="1181" y="1328"/>
                    </a:lnTo>
                    <a:lnTo>
                      <a:pt x="1179" y="1328"/>
                    </a:lnTo>
                    <a:lnTo>
                      <a:pt x="1178" y="1328"/>
                    </a:lnTo>
                    <a:lnTo>
                      <a:pt x="1179" y="1328"/>
                    </a:lnTo>
                    <a:lnTo>
                      <a:pt x="1179" y="1330"/>
                    </a:lnTo>
                    <a:lnTo>
                      <a:pt x="1179" y="1328"/>
                    </a:lnTo>
                    <a:lnTo>
                      <a:pt x="1179" y="1330"/>
                    </a:lnTo>
                    <a:lnTo>
                      <a:pt x="1181" y="1332"/>
                    </a:lnTo>
                    <a:lnTo>
                      <a:pt x="1181" y="1333"/>
                    </a:lnTo>
                    <a:lnTo>
                      <a:pt x="1179" y="1335"/>
                    </a:lnTo>
                    <a:lnTo>
                      <a:pt x="1179" y="1333"/>
                    </a:lnTo>
                    <a:lnTo>
                      <a:pt x="1178" y="1335"/>
                    </a:lnTo>
                    <a:lnTo>
                      <a:pt x="1178" y="1337"/>
                    </a:lnTo>
                    <a:lnTo>
                      <a:pt x="1179" y="1337"/>
                    </a:lnTo>
                    <a:lnTo>
                      <a:pt x="1178" y="1339"/>
                    </a:lnTo>
                    <a:lnTo>
                      <a:pt x="1176" y="1337"/>
                    </a:lnTo>
                    <a:lnTo>
                      <a:pt x="1178" y="1339"/>
                    </a:lnTo>
                    <a:lnTo>
                      <a:pt x="1179" y="1339"/>
                    </a:lnTo>
                    <a:lnTo>
                      <a:pt x="1179" y="1337"/>
                    </a:lnTo>
                    <a:lnTo>
                      <a:pt x="1179" y="1335"/>
                    </a:lnTo>
                    <a:lnTo>
                      <a:pt x="1181" y="1335"/>
                    </a:lnTo>
                    <a:lnTo>
                      <a:pt x="1183" y="1337"/>
                    </a:lnTo>
                    <a:lnTo>
                      <a:pt x="1183" y="1339"/>
                    </a:lnTo>
                    <a:lnTo>
                      <a:pt x="1183" y="1340"/>
                    </a:lnTo>
                    <a:lnTo>
                      <a:pt x="1183" y="1342"/>
                    </a:lnTo>
                    <a:lnTo>
                      <a:pt x="1181" y="1342"/>
                    </a:lnTo>
                    <a:lnTo>
                      <a:pt x="1181" y="1340"/>
                    </a:lnTo>
                    <a:lnTo>
                      <a:pt x="1179" y="1340"/>
                    </a:lnTo>
                    <a:lnTo>
                      <a:pt x="1179" y="1342"/>
                    </a:lnTo>
                    <a:lnTo>
                      <a:pt x="1181" y="1342"/>
                    </a:lnTo>
                    <a:lnTo>
                      <a:pt x="1181" y="1344"/>
                    </a:lnTo>
                    <a:lnTo>
                      <a:pt x="1183" y="1344"/>
                    </a:lnTo>
                    <a:lnTo>
                      <a:pt x="1183" y="1345"/>
                    </a:lnTo>
                    <a:lnTo>
                      <a:pt x="1183" y="1347"/>
                    </a:lnTo>
                    <a:lnTo>
                      <a:pt x="1183" y="1349"/>
                    </a:lnTo>
                    <a:lnTo>
                      <a:pt x="1181" y="1350"/>
                    </a:lnTo>
                    <a:lnTo>
                      <a:pt x="1181" y="1349"/>
                    </a:lnTo>
                    <a:lnTo>
                      <a:pt x="1181" y="1347"/>
                    </a:lnTo>
                    <a:lnTo>
                      <a:pt x="1179" y="1347"/>
                    </a:lnTo>
                    <a:lnTo>
                      <a:pt x="1181" y="1347"/>
                    </a:lnTo>
                    <a:lnTo>
                      <a:pt x="1181" y="1349"/>
                    </a:lnTo>
                    <a:lnTo>
                      <a:pt x="1181" y="1350"/>
                    </a:lnTo>
                    <a:lnTo>
                      <a:pt x="1181" y="1352"/>
                    </a:lnTo>
                    <a:lnTo>
                      <a:pt x="1179" y="1352"/>
                    </a:lnTo>
                    <a:lnTo>
                      <a:pt x="1181" y="1352"/>
                    </a:lnTo>
                    <a:lnTo>
                      <a:pt x="1179" y="1354"/>
                    </a:lnTo>
                    <a:lnTo>
                      <a:pt x="1178" y="1352"/>
                    </a:lnTo>
                    <a:lnTo>
                      <a:pt x="1178" y="1350"/>
                    </a:lnTo>
                    <a:lnTo>
                      <a:pt x="1176" y="1350"/>
                    </a:lnTo>
                    <a:lnTo>
                      <a:pt x="1176" y="1349"/>
                    </a:lnTo>
                    <a:lnTo>
                      <a:pt x="1176" y="1347"/>
                    </a:lnTo>
                    <a:lnTo>
                      <a:pt x="1174" y="1349"/>
                    </a:lnTo>
                    <a:lnTo>
                      <a:pt x="1176" y="1349"/>
                    </a:lnTo>
                    <a:lnTo>
                      <a:pt x="1176" y="1350"/>
                    </a:lnTo>
                    <a:lnTo>
                      <a:pt x="1178" y="1352"/>
                    </a:lnTo>
                    <a:lnTo>
                      <a:pt x="1179" y="1354"/>
                    </a:lnTo>
                    <a:lnTo>
                      <a:pt x="1178" y="1354"/>
                    </a:lnTo>
                    <a:lnTo>
                      <a:pt x="1178" y="1356"/>
                    </a:lnTo>
                    <a:lnTo>
                      <a:pt x="1176" y="1356"/>
                    </a:lnTo>
                    <a:lnTo>
                      <a:pt x="1176" y="1357"/>
                    </a:lnTo>
                    <a:lnTo>
                      <a:pt x="1174" y="1357"/>
                    </a:lnTo>
                    <a:lnTo>
                      <a:pt x="1174" y="1356"/>
                    </a:lnTo>
                    <a:lnTo>
                      <a:pt x="1174" y="1357"/>
                    </a:lnTo>
                    <a:lnTo>
                      <a:pt x="1173" y="1357"/>
                    </a:lnTo>
                    <a:lnTo>
                      <a:pt x="1173" y="1356"/>
                    </a:lnTo>
                    <a:lnTo>
                      <a:pt x="1174" y="1356"/>
                    </a:lnTo>
                    <a:lnTo>
                      <a:pt x="1174" y="1354"/>
                    </a:lnTo>
                    <a:lnTo>
                      <a:pt x="1174" y="1356"/>
                    </a:lnTo>
                    <a:lnTo>
                      <a:pt x="1173" y="1356"/>
                    </a:lnTo>
                    <a:lnTo>
                      <a:pt x="1173" y="1357"/>
                    </a:lnTo>
                    <a:lnTo>
                      <a:pt x="1173" y="1356"/>
                    </a:lnTo>
                    <a:lnTo>
                      <a:pt x="1173" y="1357"/>
                    </a:lnTo>
                    <a:lnTo>
                      <a:pt x="1171" y="1357"/>
                    </a:lnTo>
                    <a:lnTo>
                      <a:pt x="1169" y="1357"/>
                    </a:lnTo>
                    <a:lnTo>
                      <a:pt x="1168" y="1357"/>
                    </a:lnTo>
                    <a:lnTo>
                      <a:pt x="1169" y="1356"/>
                    </a:lnTo>
                    <a:lnTo>
                      <a:pt x="1168" y="1357"/>
                    </a:lnTo>
                    <a:lnTo>
                      <a:pt x="1168" y="1356"/>
                    </a:lnTo>
                    <a:lnTo>
                      <a:pt x="1166" y="1354"/>
                    </a:lnTo>
                    <a:lnTo>
                      <a:pt x="1168" y="1354"/>
                    </a:lnTo>
                    <a:lnTo>
                      <a:pt x="1168" y="1352"/>
                    </a:lnTo>
                    <a:lnTo>
                      <a:pt x="1169" y="1352"/>
                    </a:lnTo>
                    <a:lnTo>
                      <a:pt x="1171" y="1350"/>
                    </a:lnTo>
                    <a:lnTo>
                      <a:pt x="1173" y="1350"/>
                    </a:lnTo>
                    <a:lnTo>
                      <a:pt x="1174" y="1350"/>
                    </a:lnTo>
                    <a:lnTo>
                      <a:pt x="1174" y="1352"/>
                    </a:lnTo>
                    <a:lnTo>
                      <a:pt x="1176" y="1352"/>
                    </a:lnTo>
                    <a:lnTo>
                      <a:pt x="1174" y="1350"/>
                    </a:lnTo>
                    <a:lnTo>
                      <a:pt x="1173" y="1350"/>
                    </a:lnTo>
                    <a:lnTo>
                      <a:pt x="1173" y="1349"/>
                    </a:lnTo>
                    <a:lnTo>
                      <a:pt x="1171" y="1350"/>
                    </a:lnTo>
                    <a:lnTo>
                      <a:pt x="1169" y="1350"/>
                    </a:lnTo>
                    <a:lnTo>
                      <a:pt x="1168" y="1352"/>
                    </a:lnTo>
                    <a:lnTo>
                      <a:pt x="1166" y="1354"/>
                    </a:lnTo>
                    <a:lnTo>
                      <a:pt x="1168" y="1352"/>
                    </a:lnTo>
                    <a:lnTo>
                      <a:pt x="1166" y="1352"/>
                    </a:lnTo>
                    <a:lnTo>
                      <a:pt x="1166" y="1350"/>
                    </a:lnTo>
                    <a:lnTo>
                      <a:pt x="1166" y="1349"/>
                    </a:lnTo>
                    <a:lnTo>
                      <a:pt x="1168" y="1349"/>
                    </a:lnTo>
                    <a:lnTo>
                      <a:pt x="1166" y="1347"/>
                    </a:lnTo>
                    <a:lnTo>
                      <a:pt x="1168" y="1347"/>
                    </a:lnTo>
                    <a:lnTo>
                      <a:pt x="1166" y="1345"/>
                    </a:lnTo>
                    <a:lnTo>
                      <a:pt x="1168" y="1345"/>
                    </a:lnTo>
                    <a:lnTo>
                      <a:pt x="1168" y="1347"/>
                    </a:lnTo>
                    <a:lnTo>
                      <a:pt x="1169" y="1347"/>
                    </a:lnTo>
                    <a:lnTo>
                      <a:pt x="1169" y="1349"/>
                    </a:lnTo>
                    <a:lnTo>
                      <a:pt x="1171" y="1347"/>
                    </a:lnTo>
                    <a:lnTo>
                      <a:pt x="1173" y="1347"/>
                    </a:lnTo>
                    <a:lnTo>
                      <a:pt x="1173" y="1345"/>
                    </a:lnTo>
                    <a:lnTo>
                      <a:pt x="1174" y="1345"/>
                    </a:lnTo>
                    <a:lnTo>
                      <a:pt x="1176" y="1344"/>
                    </a:lnTo>
                    <a:lnTo>
                      <a:pt x="1174" y="1345"/>
                    </a:lnTo>
                    <a:lnTo>
                      <a:pt x="1173" y="1345"/>
                    </a:lnTo>
                    <a:lnTo>
                      <a:pt x="1171" y="1347"/>
                    </a:lnTo>
                    <a:lnTo>
                      <a:pt x="1169" y="1347"/>
                    </a:lnTo>
                    <a:lnTo>
                      <a:pt x="1168" y="1345"/>
                    </a:lnTo>
                    <a:lnTo>
                      <a:pt x="1169" y="1345"/>
                    </a:lnTo>
                    <a:lnTo>
                      <a:pt x="1169" y="1344"/>
                    </a:lnTo>
                    <a:lnTo>
                      <a:pt x="1169" y="1342"/>
                    </a:lnTo>
                    <a:lnTo>
                      <a:pt x="1171" y="1342"/>
                    </a:lnTo>
                    <a:lnTo>
                      <a:pt x="1173" y="1342"/>
                    </a:lnTo>
                    <a:lnTo>
                      <a:pt x="1171" y="1342"/>
                    </a:lnTo>
                    <a:lnTo>
                      <a:pt x="1171" y="1340"/>
                    </a:lnTo>
                    <a:lnTo>
                      <a:pt x="1173" y="1340"/>
                    </a:lnTo>
                    <a:lnTo>
                      <a:pt x="1171" y="1340"/>
                    </a:lnTo>
                    <a:lnTo>
                      <a:pt x="1171" y="1342"/>
                    </a:lnTo>
                    <a:lnTo>
                      <a:pt x="1169" y="1342"/>
                    </a:lnTo>
                    <a:lnTo>
                      <a:pt x="1169" y="1344"/>
                    </a:lnTo>
                    <a:lnTo>
                      <a:pt x="1168" y="1345"/>
                    </a:lnTo>
                    <a:lnTo>
                      <a:pt x="1168" y="1344"/>
                    </a:lnTo>
                    <a:lnTo>
                      <a:pt x="1166" y="1344"/>
                    </a:lnTo>
                    <a:lnTo>
                      <a:pt x="1166" y="1342"/>
                    </a:lnTo>
                    <a:lnTo>
                      <a:pt x="1166" y="1340"/>
                    </a:lnTo>
                    <a:lnTo>
                      <a:pt x="1168" y="1340"/>
                    </a:lnTo>
                    <a:lnTo>
                      <a:pt x="1166" y="1339"/>
                    </a:lnTo>
                    <a:lnTo>
                      <a:pt x="1166" y="1337"/>
                    </a:lnTo>
                    <a:lnTo>
                      <a:pt x="1168" y="1337"/>
                    </a:lnTo>
                    <a:lnTo>
                      <a:pt x="1166" y="1335"/>
                    </a:lnTo>
                    <a:lnTo>
                      <a:pt x="1166" y="1333"/>
                    </a:lnTo>
                    <a:lnTo>
                      <a:pt x="1168" y="1333"/>
                    </a:lnTo>
                    <a:lnTo>
                      <a:pt x="1169" y="1333"/>
                    </a:lnTo>
                    <a:lnTo>
                      <a:pt x="1169" y="1335"/>
                    </a:lnTo>
                    <a:lnTo>
                      <a:pt x="1171" y="1335"/>
                    </a:lnTo>
                    <a:lnTo>
                      <a:pt x="1173" y="1335"/>
                    </a:lnTo>
                    <a:lnTo>
                      <a:pt x="1171" y="1335"/>
                    </a:lnTo>
                    <a:lnTo>
                      <a:pt x="1171" y="1333"/>
                    </a:lnTo>
                    <a:lnTo>
                      <a:pt x="1171" y="1332"/>
                    </a:lnTo>
                    <a:lnTo>
                      <a:pt x="1173" y="1332"/>
                    </a:lnTo>
                    <a:lnTo>
                      <a:pt x="1171" y="1330"/>
                    </a:lnTo>
                    <a:lnTo>
                      <a:pt x="1171" y="1332"/>
                    </a:lnTo>
                    <a:lnTo>
                      <a:pt x="1171" y="1333"/>
                    </a:lnTo>
                    <a:lnTo>
                      <a:pt x="1169" y="1333"/>
                    </a:lnTo>
                    <a:lnTo>
                      <a:pt x="1168" y="1333"/>
                    </a:lnTo>
                    <a:lnTo>
                      <a:pt x="1168" y="1332"/>
                    </a:lnTo>
                    <a:lnTo>
                      <a:pt x="1166" y="1332"/>
                    </a:lnTo>
                    <a:lnTo>
                      <a:pt x="1168" y="1332"/>
                    </a:lnTo>
                    <a:lnTo>
                      <a:pt x="1168" y="1330"/>
                    </a:lnTo>
                    <a:lnTo>
                      <a:pt x="1168" y="1328"/>
                    </a:lnTo>
                    <a:lnTo>
                      <a:pt x="1169" y="1328"/>
                    </a:lnTo>
                    <a:lnTo>
                      <a:pt x="1171" y="1327"/>
                    </a:lnTo>
                    <a:lnTo>
                      <a:pt x="1173" y="1325"/>
                    </a:lnTo>
                    <a:lnTo>
                      <a:pt x="1174" y="1325"/>
                    </a:lnTo>
                    <a:lnTo>
                      <a:pt x="1176" y="1325"/>
                    </a:lnTo>
                    <a:lnTo>
                      <a:pt x="1174" y="1323"/>
                    </a:lnTo>
                    <a:lnTo>
                      <a:pt x="1173" y="1325"/>
                    </a:lnTo>
                    <a:lnTo>
                      <a:pt x="1173" y="1323"/>
                    </a:lnTo>
                    <a:lnTo>
                      <a:pt x="1173" y="1322"/>
                    </a:lnTo>
                    <a:lnTo>
                      <a:pt x="1174" y="1322"/>
                    </a:lnTo>
                    <a:lnTo>
                      <a:pt x="1176" y="1320"/>
                    </a:lnTo>
                    <a:lnTo>
                      <a:pt x="1176" y="1318"/>
                    </a:lnTo>
                    <a:lnTo>
                      <a:pt x="1176" y="1320"/>
                    </a:lnTo>
                    <a:lnTo>
                      <a:pt x="1174" y="1320"/>
                    </a:lnTo>
                    <a:lnTo>
                      <a:pt x="1174" y="1322"/>
                    </a:lnTo>
                    <a:lnTo>
                      <a:pt x="1173" y="1322"/>
                    </a:lnTo>
                    <a:lnTo>
                      <a:pt x="1173" y="1323"/>
                    </a:lnTo>
                    <a:lnTo>
                      <a:pt x="1173" y="1322"/>
                    </a:lnTo>
                    <a:lnTo>
                      <a:pt x="1171" y="1322"/>
                    </a:lnTo>
                    <a:lnTo>
                      <a:pt x="1169" y="1320"/>
                    </a:lnTo>
                    <a:lnTo>
                      <a:pt x="1171" y="1322"/>
                    </a:lnTo>
                    <a:lnTo>
                      <a:pt x="1171" y="1323"/>
                    </a:lnTo>
                    <a:lnTo>
                      <a:pt x="1173" y="1323"/>
                    </a:lnTo>
                    <a:lnTo>
                      <a:pt x="1171" y="1325"/>
                    </a:lnTo>
                    <a:lnTo>
                      <a:pt x="1169" y="1327"/>
                    </a:lnTo>
                    <a:lnTo>
                      <a:pt x="1168" y="1327"/>
                    </a:lnTo>
                    <a:lnTo>
                      <a:pt x="1168" y="1328"/>
                    </a:lnTo>
                    <a:lnTo>
                      <a:pt x="1168" y="1327"/>
                    </a:lnTo>
                    <a:lnTo>
                      <a:pt x="1168" y="1325"/>
                    </a:lnTo>
                    <a:lnTo>
                      <a:pt x="1168" y="1323"/>
                    </a:lnTo>
                    <a:lnTo>
                      <a:pt x="1168" y="1325"/>
                    </a:lnTo>
                    <a:lnTo>
                      <a:pt x="1168" y="1327"/>
                    </a:lnTo>
                    <a:lnTo>
                      <a:pt x="1168" y="1328"/>
                    </a:lnTo>
                    <a:lnTo>
                      <a:pt x="1166" y="1330"/>
                    </a:lnTo>
                    <a:lnTo>
                      <a:pt x="1164" y="1330"/>
                    </a:lnTo>
                    <a:lnTo>
                      <a:pt x="1164" y="1328"/>
                    </a:lnTo>
                    <a:lnTo>
                      <a:pt x="1166" y="1327"/>
                    </a:lnTo>
                    <a:lnTo>
                      <a:pt x="1164" y="1327"/>
                    </a:lnTo>
                    <a:lnTo>
                      <a:pt x="1164" y="1325"/>
                    </a:lnTo>
                    <a:lnTo>
                      <a:pt x="1164" y="1327"/>
                    </a:lnTo>
                    <a:lnTo>
                      <a:pt x="1164" y="1328"/>
                    </a:lnTo>
                    <a:lnTo>
                      <a:pt x="1162" y="1327"/>
                    </a:lnTo>
                    <a:lnTo>
                      <a:pt x="1162" y="1328"/>
                    </a:lnTo>
                    <a:lnTo>
                      <a:pt x="1164" y="1328"/>
                    </a:lnTo>
                    <a:lnTo>
                      <a:pt x="1164" y="1330"/>
                    </a:lnTo>
                    <a:lnTo>
                      <a:pt x="1162" y="1330"/>
                    </a:lnTo>
                    <a:lnTo>
                      <a:pt x="1162" y="1328"/>
                    </a:lnTo>
                    <a:lnTo>
                      <a:pt x="1162" y="1330"/>
                    </a:lnTo>
                    <a:lnTo>
                      <a:pt x="1164" y="1332"/>
                    </a:lnTo>
                    <a:lnTo>
                      <a:pt x="1162" y="1332"/>
                    </a:lnTo>
                    <a:lnTo>
                      <a:pt x="1164" y="1332"/>
                    </a:lnTo>
                    <a:lnTo>
                      <a:pt x="1164" y="1333"/>
                    </a:lnTo>
                    <a:lnTo>
                      <a:pt x="1162" y="1333"/>
                    </a:lnTo>
                    <a:lnTo>
                      <a:pt x="1162" y="1332"/>
                    </a:lnTo>
                    <a:lnTo>
                      <a:pt x="1161" y="1332"/>
                    </a:lnTo>
                    <a:lnTo>
                      <a:pt x="1161" y="1330"/>
                    </a:lnTo>
                    <a:lnTo>
                      <a:pt x="1159" y="1330"/>
                    </a:lnTo>
                    <a:lnTo>
                      <a:pt x="1161" y="1332"/>
                    </a:lnTo>
                    <a:lnTo>
                      <a:pt x="1162" y="1333"/>
                    </a:lnTo>
                    <a:lnTo>
                      <a:pt x="1164" y="1333"/>
                    </a:lnTo>
                    <a:lnTo>
                      <a:pt x="1162" y="1335"/>
                    </a:lnTo>
                    <a:lnTo>
                      <a:pt x="1162" y="1337"/>
                    </a:lnTo>
                    <a:lnTo>
                      <a:pt x="1162" y="1339"/>
                    </a:lnTo>
                    <a:lnTo>
                      <a:pt x="1162" y="1337"/>
                    </a:lnTo>
                    <a:lnTo>
                      <a:pt x="1164" y="1337"/>
                    </a:lnTo>
                    <a:lnTo>
                      <a:pt x="1164" y="1335"/>
                    </a:lnTo>
                    <a:lnTo>
                      <a:pt x="1164" y="1333"/>
                    </a:lnTo>
                    <a:lnTo>
                      <a:pt x="1164" y="1335"/>
                    </a:lnTo>
                    <a:lnTo>
                      <a:pt x="1166" y="1335"/>
                    </a:lnTo>
                    <a:lnTo>
                      <a:pt x="1164" y="1335"/>
                    </a:lnTo>
                    <a:lnTo>
                      <a:pt x="1164" y="1337"/>
                    </a:lnTo>
                    <a:lnTo>
                      <a:pt x="1164" y="1339"/>
                    </a:lnTo>
                    <a:lnTo>
                      <a:pt x="1162" y="1340"/>
                    </a:lnTo>
                    <a:lnTo>
                      <a:pt x="1162" y="1339"/>
                    </a:lnTo>
                    <a:lnTo>
                      <a:pt x="1162" y="1340"/>
                    </a:lnTo>
                    <a:lnTo>
                      <a:pt x="1162" y="1342"/>
                    </a:lnTo>
                    <a:lnTo>
                      <a:pt x="1162" y="1344"/>
                    </a:lnTo>
                    <a:lnTo>
                      <a:pt x="1162" y="1342"/>
                    </a:lnTo>
                    <a:lnTo>
                      <a:pt x="1162" y="1340"/>
                    </a:lnTo>
                    <a:lnTo>
                      <a:pt x="1164" y="1340"/>
                    </a:lnTo>
                    <a:lnTo>
                      <a:pt x="1164" y="1339"/>
                    </a:lnTo>
                    <a:lnTo>
                      <a:pt x="1164" y="1340"/>
                    </a:lnTo>
                    <a:lnTo>
                      <a:pt x="1164" y="1342"/>
                    </a:lnTo>
                    <a:lnTo>
                      <a:pt x="1164" y="1340"/>
                    </a:lnTo>
                    <a:lnTo>
                      <a:pt x="1166" y="1342"/>
                    </a:lnTo>
                    <a:lnTo>
                      <a:pt x="1166" y="1344"/>
                    </a:lnTo>
                    <a:lnTo>
                      <a:pt x="1164" y="1344"/>
                    </a:lnTo>
                    <a:lnTo>
                      <a:pt x="1166" y="1344"/>
                    </a:lnTo>
                    <a:lnTo>
                      <a:pt x="1164" y="1344"/>
                    </a:lnTo>
                    <a:lnTo>
                      <a:pt x="1164" y="1345"/>
                    </a:lnTo>
                    <a:lnTo>
                      <a:pt x="1164" y="1344"/>
                    </a:lnTo>
                    <a:lnTo>
                      <a:pt x="1164" y="1345"/>
                    </a:lnTo>
                    <a:lnTo>
                      <a:pt x="1164" y="1347"/>
                    </a:lnTo>
                    <a:lnTo>
                      <a:pt x="1162" y="1347"/>
                    </a:lnTo>
                    <a:lnTo>
                      <a:pt x="1164" y="1347"/>
                    </a:lnTo>
                    <a:lnTo>
                      <a:pt x="1162" y="1349"/>
                    </a:lnTo>
                    <a:lnTo>
                      <a:pt x="1161" y="1349"/>
                    </a:lnTo>
                    <a:lnTo>
                      <a:pt x="1161" y="1347"/>
                    </a:lnTo>
                    <a:lnTo>
                      <a:pt x="1161" y="1345"/>
                    </a:lnTo>
                    <a:lnTo>
                      <a:pt x="1161" y="1347"/>
                    </a:lnTo>
                    <a:lnTo>
                      <a:pt x="1159" y="1347"/>
                    </a:lnTo>
                    <a:lnTo>
                      <a:pt x="1157" y="1345"/>
                    </a:lnTo>
                    <a:lnTo>
                      <a:pt x="1157" y="1344"/>
                    </a:lnTo>
                    <a:lnTo>
                      <a:pt x="1157" y="1342"/>
                    </a:lnTo>
                    <a:lnTo>
                      <a:pt x="1159" y="1342"/>
                    </a:lnTo>
                    <a:lnTo>
                      <a:pt x="1157" y="1342"/>
                    </a:lnTo>
                    <a:lnTo>
                      <a:pt x="1156" y="1342"/>
                    </a:lnTo>
                    <a:lnTo>
                      <a:pt x="1156" y="1340"/>
                    </a:lnTo>
                    <a:lnTo>
                      <a:pt x="1156" y="1339"/>
                    </a:lnTo>
                    <a:lnTo>
                      <a:pt x="1154" y="1339"/>
                    </a:lnTo>
                    <a:lnTo>
                      <a:pt x="1156" y="1339"/>
                    </a:lnTo>
                    <a:lnTo>
                      <a:pt x="1157" y="1337"/>
                    </a:lnTo>
                    <a:lnTo>
                      <a:pt x="1156" y="1337"/>
                    </a:lnTo>
                    <a:lnTo>
                      <a:pt x="1154" y="1337"/>
                    </a:lnTo>
                    <a:lnTo>
                      <a:pt x="1156" y="1337"/>
                    </a:lnTo>
                    <a:lnTo>
                      <a:pt x="1154" y="1337"/>
                    </a:lnTo>
                    <a:lnTo>
                      <a:pt x="1154" y="1335"/>
                    </a:lnTo>
                    <a:lnTo>
                      <a:pt x="1156" y="1337"/>
                    </a:lnTo>
                    <a:lnTo>
                      <a:pt x="1157" y="1337"/>
                    </a:lnTo>
                    <a:lnTo>
                      <a:pt x="1157" y="1335"/>
                    </a:lnTo>
                    <a:lnTo>
                      <a:pt x="1157" y="1337"/>
                    </a:lnTo>
                    <a:lnTo>
                      <a:pt x="1156" y="1337"/>
                    </a:lnTo>
                    <a:lnTo>
                      <a:pt x="1156" y="1335"/>
                    </a:lnTo>
                    <a:lnTo>
                      <a:pt x="1154" y="1335"/>
                    </a:lnTo>
                    <a:lnTo>
                      <a:pt x="1156" y="1335"/>
                    </a:lnTo>
                    <a:lnTo>
                      <a:pt x="1156" y="1333"/>
                    </a:lnTo>
                    <a:lnTo>
                      <a:pt x="1157" y="1333"/>
                    </a:lnTo>
                    <a:lnTo>
                      <a:pt x="1157" y="1332"/>
                    </a:lnTo>
                    <a:lnTo>
                      <a:pt x="1157" y="1333"/>
                    </a:lnTo>
                    <a:lnTo>
                      <a:pt x="1156" y="1333"/>
                    </a:lnTo>
                    <a:lnTo>
                      <a:pt x="1156" y="1335"/>
                    </a:lnTo>
                    <a:lnTo>
                      <a:pt x="1154" y="1335"/>
                    </a:lnTo>
                    <a:lnTo>
                      <a:pt x="1152" y="1335"/>
                    </a:lnTo>
                    <a:lnTo>
                      <a:pt x="1152" y="1333"/>
                    </a:lnTo>
                    <a:lnTo>
                      <a:pt x="1154" y="1333"/>
                    </a:lnTo>
                    <a:lnTo>
                      <a:pt x="1154" y="1332"/>
                    </a:lnTo>
                    <a:lnTo>
                      <a:pt x="1156" y="1332"/>
                    </a:lnTo>
                    <a:lnTo>
                      <a:pt x="1157" y="1332"/>
                    </a:lnTo>
                    <a:lnTo>
                      <a:pt x="1156" y="1332"/>
                    </a:lnTo>
                    <a:lnTo>
                      <a:pt x="1156" y="1330"/>
                    </a:lnTo>
                    <a:lnTo>
                      <a:pt x="1157" y="1330"/>
                    </a:lnTo>
                    <a:lnTo>
                      <a:pt x="1157" y="1328"/>
                    </a:lnTo>
                    <a:lnTo>
                      <a:pt x="1157" y="1330"/>
                    </a:lnTo>
                    <a:lnTo>
                      <a:pt x="1157" y="1328"/>
                    </a:lnTo>
                    <a:lnTo>
                      <a:pt x="1156" y="1330"/>
                    </a:lnTo>
                    <a:lnTo>
                      <a:pt x="1154" y="1330"/>
                    </a:lnTo>
                    <a:lnTo>
                      <a:pt x="1154" y="1332"/>
                    </a:lnTo>
                    <a:lnTo>
                      <a:pt x="1154" y="1330"/>
                    </a:lnTo>
                    <a:lnTo>
                      <a:pt x="1152" y="1330"/>
                    </a:lnTo>
                    <a:lnTo>
                      <a:pt x="1152" y="1328"/>
                    </a:lnTo>
                    <a:lnTo>
                      <a:pt x="1154" y="1328"/>
                    </a:lnTo>
                    <a:lnTo>
                      <a:pt x="1156" y="1327"/>
                    </a:lnTo>
                    <a:lnTo>
                      <a:pt x="1154" y="1327"/>
                    </a:lnTo>
                    <a:lnTo>
                      <a:pt x="1156" y="1327"/>
                    </a:lnTo>
                    <a:lnTo>
                      <a:pt x="1156" y="1325"/>
                    </a:lnTo>
                    <a:lnTo>
                      <a:pt x="1156" y="1327"/>
                    </a:lnTo>
                    <a:lnTo>
                      <a:pt x="1154" y="1327"/>
                    </a:lnTo>
                    <a:lnTo>
                      <a:pt x="1154" y="1328"/>
                    </a:lnTo>
                    <a:lnTo>
                      <a:pt x="1152" y="1328"/>
                    </a:lnTo>
                    <a:lnTo>
                      <a:pt x="1152" y="1330"/>
                    </a:lnTo>
                    <a:lnTo>
                      <a:pt x="1152" y="1328"/>
                    </a:lnTo>
                    <a:lnTo>
                      <a:pt x="1151" y="1327"/>
                    </a:lnTo>
                    <a:lnTo>
                      <a:pt x="1152" y="1325"/>
                    </a:lnTo>
                    <a:lnTo>
                      <a:pt x="1151" y="1325"/>
                    </a:lnTo>
                    <a:lnTo>
                      <a:pt x="1151" y="1327"/>
                    </a:lnTo>
                    <a:lnTo>
                      <a:pt x="1152" y="1325"/>
                    </a:lnTo>
                    <a:lnTo>
                      <a:pt x="1151" y="1327"/>
                    </a:lnTo>
                    <a:lnTo>
                      <a:pt x="1149" y="1328"/>
                    </a:lnTo>
                    <a:lnTo>
                      <a:pt x="1149" y="1327"/>
                    </a:lnTo>
                    <a:lnTo>
                      <a:pt x="1151" y="1325"/>
                    </a:lnTo>
                    <a:lnTo>
                      <a:pt x="1152" y="1323"/>
                    </a:lnTo>
                    <a:lnTo>
                      <a:pt x="1151" y="1323"/>
                    </a:lnTo>
                    <a:lnTo>
                      <a:pt x="1151" y="1325"/>
                    </a:lnTo>
                    <a:lnTo>
                      <a:pt x="1149" y="1325"/>
                    </a:lnTo>
                    <a:lnTo>
                      <a:pt x="1149" y="1323"/>
                    </a:lnTo>
                    <a:lnTo>
                      <a:pt x="1147" y="1323"/>
                    </a:lnTo>
                    <a:lnTo>
                      <a:pt x="1147" y="1322"/>
                    </a:lnTo>
                    <a:lnTo>
                      <a:pt x="1149" y="1320"/>
                    </a:lnTo>
                    <a:lnTo>
                      <a:pt x="1147" y="1320"/>
                    </a:lnTo>
                    <a:lnTo>
                      <a:pt x="1147" y="1318"/>
                    </a:lnTo>
                    <a:lnTo>
                      <a:pt x="1147" y="1316"/>
                    </a:lnTo>
                    <a:lnTo>
                      <a:pt x="1149" y="1316"/>
                    </a:lnTo>
                    <a:lnTo>
                      <a:pt x="1151" y="1315"/>
                    </a:lnTo>
                    <a:lnTo>
                      <a:pt x="1151" y="1316"/>
                    </a:lnTo>
                    <a:lnTo>
                      <a:pt x="1152" y="1315"/>
                    </a:lnTo>
                    <a:lnTo>
                      <a:pt x="1152" y="1316"/>
                    </a:lnTo>
                    <a:lnTo>
                      <a:pt x="1151" y="1316"/>
                    </a:lnTo>
                    <a:lnTo>
                      <a:pt x="1151" y="1318"/>
                    </a:lnTo>
                    <a:lnTo>
                      <a:pt x="1149" y="1318"/>
                    </a:lnTo>
                    <a:lnTo>
                      <a:pt x="1149" y="1320"/>
                    </a:lnTo>
                    <a:lnTo>
                      <a:pt x="1149" y="1318"/>
                    </a:lnTo>
                    <a:lnTo>
                      <a:pt x="1151" y="1318"/>
                    </a:lnTo>
                    <a:lnTo>
                      <a:pt x="1152" y="1316"/>
                    </a:lnTo>
                    <a:lnTo>
                      <a:pt x="1152" y="1318"/>
                    </a:lnTo>
                    <a:lnTo>
                      <a:pt x="1151" y="1318"/>
                    </a:lnTo>
                    <a:lnTo>
                      <a:pt x="1152" y="1318"/>
                    </a:lnTo>
                    <a:lnTo>
                      <a:pt x="1152" y="1320"/>
                    </a:lnTo>
                    <a:lnTo>
                      <a:pt x="1152" y="1322"/>
                    </a:lnTo>
                    <a:lnTo>
                      <a:pt x="1154" y="1322"/>
                    </a:lnTo>
                    <a:lnTo>
                      <a:pt x="1154" y="1323"/>
                    </a:lnTo>
                    <a:lnTo>
                      <a:pt x="1156" y="1325"/>
                    </a:lnTo>
                    <a:lnTo>
                      <a:pt x="1157" y="1325"/>
                    </a:lnTo>
                    <a:lnTo>
                      <a:pt x="1157" y="1327"/>
                    </a:lnTo>
                    <a:lnTo>
                      <a:pt x="1159" y="1327"/>
                    </a:lnTo>
                    <a:lnTo>
                      <a:pt x="1157" y="1327"/>
                    </a:lnTo>
                    <a:lnTo>
                      <a:pt x="1157" y="1325"/>
                    </a:lnTo>
                    <a:lnTo>
                      <a:pt x="1156" y="1325"/>
                    </a:lnTo>
                    <a:lnTo>
                      <a:pt x="1156" y="1323"/>
                    </a:lnTo>
                    <a:lnTo>
                      <a:pt x="1156" y="1325"/>
                    </a:lnTo>
                    <a:lnTo>
                      <a:pt x="1157" y="1323"/>
                    </a:lnTo>
                    <a:lnTo>
                      <a:pt x="1159" y="1323"/>
                    </a:lnTo>
                    <a:lnTo>
                      <a:pt x="1159" y="1325"/>
                    </a:lnTo>
                    <a:lnTo>
                      <a:pt x="1161" y="1323"/>
                    </a:lnTo>
                    <a:lnTo>
                      <a:pt x="1162" y="1323"/>
                    </a:lnTo>
                    <a:lnTo>
                      <a:pt x="1164" y="1323"/>
                    </a:lnTo>
                    <a:lnTo>
                      <a:pt x="1162" y="1323"/>
                    </a:lnTo>
                    <a:lnTo>
                      <a:pt x="1161" y="1323"/>
                    </a:lnTo>
                    <a:lnTo>
                      <a:pt x="1159" y="1323"/>
                    </a:lnTo>
                    <a:lnTo>
                      <a:pt x="1157" y="1323"/>
                    </a:lnTo>
                    <a:lnTo>
                      <a:pt x="1156" y="1323"/>
                    </a:lnTo>
                    <a:lnTo>
                      <a:pt x="1157" y="1323"/>
                    </a:lnTo>
                    <a:lnTo>
                      <a:pt x="1156" y="1323"/>
                    </a:lnTo>
                    <a:lnTo>
                      <a:pt x="1156" y="1322"/>
                    </a:lnTo>
                    <a:lnTo>
                      <a:pt x="1154" y="1322"/>
                    </a:lnTo>
                    <a:lnTo>
                      <a:pt x="1156" y="1322"/>
                    </a:lnTo>
                    <a:lnTo>
                      <a:pt x="1154" y="1322"/>
                    </a:lnTo>
                    <a:lnTo>
                      <a:pt x="1154" y="1320"/>
                    </a:lnTo>
                    <a:lnTo>
                      <a:pt x="1154" y="1318"/>
                    </a:lnTo>
                    <a:lnTo>
                      <a:pt x="1156" y="1320"/>
                    </a:lnTo>
                    <a:lnTo>
                      <a:pt x="1154" y="1318"/>
                    </a:lnTo>
                    <a:lnTo>
                      <a:pt x="1152" y="1318"/>
                    </a:lnTo>
                    <a:lnTo>
                      <a:pt x="1152" y="1316"/>
                    </a:lnTo>
                    <a:lnTo>
                      <a:pt x="1154" y="1316"/>
                    </a:lnTo>
                    <a:lnTo>
                      <a:pt x="1154" y="1315"/>
                    </a:lnTo>
                    <a:lnTo>
                      <a:pt x="1152" y="1315"/>
                    </a:lnTo>
                    <a:lnTo>
                      <a:pt x="1154" y="1315"/>
                    </a:lnTo>
                    <a:lnTo>
                      <a:pt x="1156" y="1315"/>
                    </a:lnTo>
                    <a:lnTo>
                      <a:pt x="1156" y="1316"/>
                    </a:lnTo>
                    <a:lnTo>
                      <a:pt x="1156" y="1315"/>
                    </a:lnTo>
                    <a:lnTo>
                      <a:pt x="1156" y="1316"/>
                    </a:lnTo>
                    <a:lnTo>
                      <a:pt x="1157" y="1316"/>
                    </a:lnTo>
                    <a:lnTo>
                      <a:pt x="1156" y="1316"/>
                    </a:lnTo>
                    <a:lnTo>
                      <a:pt x="1157" y="1316"/>
                    </a:lnTo>
                    <a:lnTo>
                      <a:pt x="1157" y="1318"/>
                    </a:lnTo>
                    <a:lnTo>
                      <a:pt x="1157" y="1320"/>
                    </a:lnTo>
                    <a:lnTo>
                      <a:pt x="1159" y="1320"/>
                    </a:lnTo>
                    <a:lnTo>
                      <a:pt x="1157" y="1320"/>
                    </a:lnTo>
                    <a:lnTo>
                      <a:pt x="1159" y="1320"/>
                    </a:lnTo>
                    <a:lnTo>
                      <a:pt x="1159" y="1322"/>
                    </a:lnTo>
                    <a:lnTo>
                      <a:pt x="1159" y="1320"/>
                    </a:lnTo>
                    <a:lnTo>
                      <a:pt x="1161" y="1320"/>
                    </a:lnTo>
                    <a:lnTo>
                      <a:pt x="1162" y="1320"/>
                    </a:lnTo>
                    <a:lnTo>
                      <a:pt x="1161" y="1320"/>
                    </a:lnTo>
                    <a:lnTo>
                      <a:pt x="1159" y="1320"/>
                    </a:lnTo>
                    <a:lnTo>
                      <a:pt x="1157" y="1318"/>
                    </a:lnTo>
                    <a:lnTo>
                      <a:pt x="1159" y="1318"/>
                    </a:lnTo>
                    <a:lnTo>
                      <a:pt x="1159" y="1316"/>
                    </a:lnTo>
                    <a:lnTo>
                      <a:pt x="1157" y="1318"/>
                    </a:lnTo>
                    <a:lnTo>
                      <a:pt x="1157" y="1316"/>
                    </a:lnTo>
                    <a:lnTo>
                      <a:pt x="1157" y="1315"/>
                    </a:lnTo>
                    <a:lnTo>
                      <a:pt x="1157" y="1316"/>
                    </a:lnTo>
                    <a:lnTo>
                      <a:pt x="1159" y="1316"/>
                    </a:lnTo>
                    <a:lnTo>
                      <a:pt x="1161" y="1318"/>
                    </a:lnTo>
                    <a:lnTo>
                      <a:pt x="1161" y="1320"/>
                    </a:lnTo>
                    <a:lnTo>
                      <a:pt x="1162" y="1320"/>
                    </a:lnTo>
                    <a:lnTo>
                      <a:pt x="1161" y="1318"/>
                    </a:lnTo>
                    <a:lnTo>
                      <a:pt x="1159" y="1316"/>
                    </a:lnTo>
                    <a:lnTo>
                      <a:pt x="1161" y="1316"/>
                    </a:lnTo>
                    <a:lnTo>
                      <a:pt x="1159" y="1316"/>
                    </a:lnTo>
                    <a:lnTo>
                      <a:pt x="1159" y="1315"/>
                    </a:lnTo>
                    <a:lnTo>
                      <a:pt x="1161" y="1315"/>
                    </a:lnTo>
                    <a:lnTo>
                      <a:pt x="1161" y="1316"/>
                    </a:lnTo>
                    <a:lnTo>
                      <a:pt x="1161" y="1315"/>
                    </a:lnTo>
                    <a:lnTo>
                      <a:pt x="1162" y="1316"/>
                    </a:lnTo>
                    <a:lnTo>
                      <a:pt x="1164" y="1316"/>
                    </a:lnTo>
                    <a:lnTo>
                      <a:pt x="1164" y="1318"/>
                    </a:lnTo>
                    <a:lnTo>
                      <a:pt x="1164" y="1316"/>
                    </a:lnTo>
                    <a:lnTo>
                      <a:pt x="1162" y="1316"/>
                    </a:lnTo>
                    <a:lnTo>
                      <a:pt x="1162" y="1315"/>
                    </a:lnTo>
                    <a:lnTo>
                      <a:pt x="1164" y="1315"/>
                    </a:lnTo>
                    <a:lnTo>
                      <a:pt x="1162" y="1315"/>
                    </a:lnTo>
                    <a:lnTo>
                      <a:pt x="1161" y="1315"/>
                    </a:lnTo>
                    <a:lnTo>
                      <a:pt x="1161" y="1313"/>
                    </a:lnTo>
                    <a:lnTo>
                      <a:pt x="1162" y="1313"/>
                    </a:lnTo>
                    <a:lnTo>
                      <a:pt x="1162" y="1315"/>
                    </a:lnTo>
                    <a:lnTo>
                      <a:pt x="1162" y="1313"/>
                    </a:lnTo>
                    <a:lnTo>
                      <a:pt x="1161" y="1313"/>
                    </a:lnTo>
                    <a:lnTo>
                      <a:pt x="1161" y="1311"/>
                    </a:lnTo>
                    <a:lnTo>
                      <a:pt x="1162" y="1313"/>
                    </a:lnTo>
                    <a:lnTo>
                      <a:pt x="1162" y="1315"/>
                    </a:lnTo>
                    <a:lnTo>
                      <a:pt x="1164" y="1315"/>
                    </a:lnTo>
                    <a:lnTo>
                      <a:pt x="1164" y="1316"/>
                    </a:lnTo>
                    <a:lnTo>
                      <a:pt x="1166" y="1318"/>
                    </a:lnTo>
                    <a:lnTo>
                      <a:pt x="1168" y="1318"/>
                    </a:lnTo>
                    <a:lnTo>
                      <a:pt x="1168" y="1320"/>
                    </a:lnTo>
                    <a:lnTo>
                      <a:pt x="1166" y="1322"/>
                    </a:lnTo>
                    <a:lnTo>
                      <a:pt x="1168" y="1322"/>
                    </a:lnTo>
                    <a:lnTo>
                      <a:pt x="1168" y="1320"/>
                    </a:lnTo>
                    <a:lnTo>
                      <a:pt x="1168" y="1318"/>
                    </a:lnTo>
                    <a:lnTo>
                      <a:pt x="1168" y="1316"/>
                    </a:lnTo>
                    <a:lnTo>
                      <a:pt x="1168" y="1315"/>
                    </a:lnTo>
                    <a:lnTo>
                      <a:pt x="1168" y="1313"/>
                    </a:lnTo>
                    <a:lnTo>
                      <a:pt x="1169" y="1313"/>
                    </a:lnTo>
                    <a:lnTo>
                      <a:pt x="1169" y="1315"/>
                    </a:lnTo>
                    <a:lnTo>
                      <a:pt x="1169" y="1313"/>
                    </a:lnTo>
                    <a:lnTo>
                      <a:pt x="1168" y="1313"/>
                    </a:lnTo>
                    <a:lnTo>
                      <a:pt x="1168" y="1311"/>
                    </a:lnTo>
                    <a:lnTo>
                      <a:pt x="1169" y="1311"/>
                    </a:lnTo>
                    <a:lnTo>
                      <a:pt x="1171" y="1311"/>
                    </a:lnTo>
                    <a:lnTo>
                      <a:pt x="1171" y="1313"/>
                    </a:lnTo>
                    <a:lnTo>
                      <a:pt x="1171" y="1311"/>
                    </a:lnTo>
                    <a:lnTo>
                      <a:pt x="1169" y="1311"/>
                    </a:lnTo>
                    <a:lnTo>
                      <a:pt x="1169" y="1310"/>
                    </a:lnTo>
                    <a:lnTo>
                      <a:pt x="1169" y="1308"/>
                    </a:lnTo>
                    <a:lnTo>
                      <a:pt x="1169" y="1306"/>
                    </a:lnTo>
                    <a:lnTo>
                      <a:pt x="1171" y="1306"/>
                    </a:lnTo>
                    <a:lnTo>
                      <a:pt x="1169" y="1306"/>
                    </a:lnTo>
                    <a:lnTo>
                      <a:pt x="1169" y="1305"/>
                    </a:lnTo>
                    <a:lnTo>
                      <a:pt x="1168" y="1305"/>
                    </a:lnTo>
                    <a:lnTo>
                      <a:pt x="1168" y="1303"/>
                    </a:lnTo>
                    <a:lnTo>
                      <a:pt x="1166" y="1303"/>
                    </a:lnTo>
                    <a:lnTo>
                      <a:pt x="1166" y="1301"/>
                    </a:lnTo>
                    <a:lnTo>
                      <a:pt x="1168" y="1301"/>
                    </a:lnTo>
                    <a:lnTo>
                      <a:pt x="1169" y="1301"/>
                    </a:lnTo>
                    <a:lnTo>
                      <a:pt x="1169" y="1299"/>
                    </a:lnTo>
                    <a:lnTo>
                      <a:pt x="1169" y="1301"/>
                    </a:lnTo>
                    <a:lnTo>
                      <a:pt x="1171" y="1301"/>
                    </a:lnTo>
                    <a:lnTo>
                      <a:pt x="1171" y="1303"/>
                    </a:lnTo>
                    <a:lnTo>
                      <a:pt x="1173" y="1303"/>
                    </a:lnTo>
                    <a:lnTo>
                      <a:pt x="1173" y="1305"/>
                    </a:lnTo>
                    <a:lnTo>
                      <a:pt x="1171" y="1303"/>
                    </a:lnTo>
                    <a:lnTo>
                      <a:pt x="1171" y="1301"/>
                    </a:lnTo>
                    <a:lnTo>
                      <a:pt x="1169" y="1299"/>
                    </a:lnTo>
                    <a:lnTo>
                      <a:pt x="1171" y="1299"/>
                    </a:lnTo>
                    <a:lnTo>
                      <a:pt x="1171" y="1298"/>
                    </a:lnTo>
                    <a:lnTo>
                      <a:pt x="1171" y="1299"/>
                    </a:lnTo>
                    <a:lnTo>
                      <a:pt x="1169" y="1299"/>
                    </a:lnTo>
                    <a:lnTo>
                      <a:pt x="1168" y="1299"/>
                    </a:lnTo>
                    <a:lnTo>
                      <a:pt x="1168" y="1301"/>
                    </a:lnTo>
                    <a:lnTo>
                      <a:pt x="1166" y="1301"/>
                    </a:lnTo>
                    <a:lnTo>
                      <a:pt x="1164" y="1301"/>
                    </a:lnTo>
                    <a:lnTo>
                      <a:pt x="1164" y="1299"/>
                    </a:lnTo>
                    <a:lnTo>
                      <a:pt x="1166" y="1299"/>
                    </a:lnTo>
                    <a:lnTo>
                      <a:pt x="1168" y="1299"/>
                    </a:lnTo>
                    <a:lnTo>
                      <a:pt x="1166" y="1299"/>
                    </a:lnTo>
                    <a:lnTo>
                      <a:pt x="1164" y="1299"/>
                    </a:lnTo>
                    <a:lnTo>
                      <a:pt x="1164" y="1298"/>
                    </a:lnTo>
                    <a:lnTo>
                      <a:pt x="1166" y="1298"/>
                    </a:lnTo>
                    <a:lnTo>
                      <a:pt x="1168" y="1298"/>
                    </a:lnTo>
                    <a:lnTo>
                      <a:pt x="1169" y="1296"/>
                    </a:lnTo>
                    <a:lnTo>
                      <a:pt x="1168" y="1296"/>
                    </a:lnTo>
                    <a:lnTo>
                      <a:pt x="1168" y="1298"/>
                    </a:lnTo>
                    <a:lnTo>
                      <a:pt x="1168" y="1296"/>
                    </a:lnTo>
                    <a:lnTo>
                      <a:pt x="1168" y="1298"/>
                    </a:lnTo>
                    <a:lnTo>
                      <a:pt x="1166" y="1298"/>
                    </a:lnTo>
                    <a:lnTo>
                      <a:pt x="1164" y="1298"/>
                    </a:lnTo>
                    <a:lnTo>
                      <a:pt x="1162" y="1296"/>
                    </a:lnTo>
                    <a:lnTo>
                      <a:pt x="1164" y="1296"/>
                    </a:lnTo>
                    <a:lnTo>
                      <a:pt x="1166" y="1294"/>
                    </a:lnTo>
                    <a:lnTo>
                      <a:pt x="1168" y="1294"/>
                    </a:lnTo>
                    <a:lnTo>
                      <a:pt x="1169" y="1294"/>
                    </a:lnTo>
                    <a:lnTo>
                      <a:pt x="1168" y="1294"/>
                    </a:lnTo>
                    <a:lnTo>
                      <a:pt x="1169" y="1293"/>
                    </a:lnTo>
                    <a:lnTo>
                      <a:pt x="1168" y="1293"/>
                    </a:lnTo>
                    <a:lnTo>
                      <a:pt x="1168" y="1294"/>
                    </a:lnTo>
                    <a:lnTo>
                      <a:pt x="1166" y="1294"/>
                    </a:lnTo>
                    <a:lnTo>
                      <a:pt x="1164" y="1296"/>
                    </a:lnTo>
                    <a:lnTo>
                      <a:pt x="1162" y="1296"/>
                    </a:lnTo>
                    <a:lnTo>
                      <a:pt x="1162" y="1294"/>
                    </a:lnTo>
                    <a:lnTo>
                      <a:pt x="1162" y="1293"/>
                    </a:lnTo>
                    <a:lnTo>
                      <a:pt x="1162" y="1291"/>
                    </a:lnTo>
                    <a:lnTo>
                      <a:pt x="1164" y="1291"/>
                    </a:lnTo>
                    <a:lnTo>
                      <a:pt x="1164" y="1293"/>
                    </a:lnTo>
                    <a:lnTo>
                      <a:pt x="1166" y="1293"/>
                    </a:lnTo>
                    <a:lnTo>
                      <a:pt x="1168" y="1294"/>
                    </a:lnTo>
                    <a:lnTo>
                      <a:pt x="1168" y="1293"/>
                    </a:lnTo>
                    <a:lnTo>
                      <a:pt x="1166" y="1293"/>
                    </a:lnTo>
                    <a:lnTo>
                      <a:pt x="1164" y="1291"/>
                    </a:lnTo>
                    <a:lnTo>
                      <a:pt x="1166" y="1291"/>
                    </a:lnTo>
                    <a:lnTo>
                      <a:pt x="1166" y="1289"/>
                    </a:lnTo>
                    <a:lnTo>
                      <a:pt x="1164" y="1291"/>
                    </a:lnTo>
                    <a:lnTo>
                      <a:pt x="1162" y="1289"/>
                    </a:lnTo>
                    <a:lnTo>
                      <a:pt x="1164" y="1289"/>
                    </a:lnTo>
                    <a:lnTo>
                      <a:pt x="1166" y="1289"/>
                    </a:lnTo>
                    <a:lnTo>
                      <a:pt x="1168" y="1288"/>
                    </a:lnTo>
                    <a:lnTo>
                      <a:pt x="1168" y="1289"/>
                    </a:lnTo>
                    <a:lnTo>
                      <a:pt x="1168" y="1288"/>
                    </a:lnTo>
                    <a:lnTo>
                      <a:pt x="1169" y="1288"/>
                    </a:lnTo>
                    <a:lnTo>
                      <a:pt x="1168" y="1288"/>
                    </a:lnTo>
                    <a:lnTo>
                      <a:pt x="1169" y="1286"/>
                    </a:lnTo>
                    <a:lnTo>
                      <a:pt x="1169" y="1288"/>
                    </a:lnTo>
                    <a:lnTo>
                      <a:pt x="1169" y="1286"/>
                    </a:lnTo>
                    <a:lnTo>
                      <a:pt x="1171" y="1286"/>
                    </a:lnTo>
                    <a:lnTo>
                      <a:pt x="1171" y="1288"/>
                    </a:lnTo>
                    <a:lnTo>
                      <a:pt x="1171" y="1289"/>
                    </a:lnTo>
                    <a:lnTo>
                      <a:pt x="1169" y="1288"/>
                    </a:lnTo>
                    <a:lnTo>
                      <a:pt x="1169" y="1289"/>
                    </a:lnTo>
                    <a:lnTo>
                      <a:pt x="1171" y="1291"/>
                    </a:lnTo>
                    <a:lnTo>
                      <a:pt x="1171" y="1289"/>
                    </a:lnTo>
                    <a:lnTo>
                      <a:pt x="1171" y="1288"/>
                    </a:lnTo>
                    <a:lnTo>
                      <a:pt x="1171" y="1286"/>
                    </a:lnTo>
                    <a:lnTo>
                      <a:pt x="1173" y="1286"/>
                    </a:lnTo>
                    <a:lnTo>
                      <a:pt x="1173" y="1284"/>
                    </a:lnTo>
                    <a:lnTo>
                      <a:pt x="1174" y="1286"/>
                    </a:lnTo>
                    <a:close/>
                    <a:moveTo>
                      <a:pt x="1264" y="1498"/>
                    </a:moveTo>
                    <a:lnTo>
                      <a:pt x="1266" y="1498"/>
                    </a:lnTo>
                    <a:lnTo>
                      <a:pt x="1266" y="1500"/>
                    </a:lnTo>
                    <a:lnTo>
                      <a:pt x="1268" y="1500"/>
                    </a:lnTo>
                    <a:lnTo>
                      <a:pt x="1270" y="1500"/>
                    </a:lnTo>
                    <a:lnTo>
                      <a:pt x="1271" y="1500"/>
                    </a:lnTo>
                    <a:lnTo>
                      <a:pt x="1273" y="1500"/>
                    </a:lnTo>
                    <a:lnTo>
                      <a:pt x="1275" y="1500"/>
                    </a:lnTo>
                    <a:lnTo>
                      <a:pt x="1276" y="1500"/>
                    </a:lnTo>
                    <a:lnTo>
                      <a:pt x="1278" y="1498"/>
                    </a:lnTo>
                    <a:lnTo>
                      <a:pt x="1280" y="1498"/>
                    </a:lnTo>
                    <a:lnTo>
                      <a:pt x="1281" y="1497"/>
                    </a:lnTo>
                    <a:lnTo>
                      <a:pt x="1281" y="1498"/>
                    </a:lnTo>
                    <a:lnTo>
                      <a:pt x="1281" y="1500"/>
                    </a:lnTo>
                    <a:lnTo>
                      <a:pt x="1283" y="1500"/>
                    </a:lnTo>
                    <a:lnTo>
                      <a:pt x="1283" y="1502"/>
                    </a:lnTo>
                    <a:lnTo>
                      <a:pt x="1285" y="1502"/>
                    </a:lnTo>
                    <a:lnTo>
                      <a:pt x="1283" y="1504"/>
                    </a:lnTo>
                    <a:lnTo>
                      <a:pt x="1285" y="1505"/>
                    </a:lnTo>
                    <a:lnTo>
                      <a:pt x="1283" y="1507"/>
                    </a:lnTo>
                    <a:lnTo>
                      <a:pt x="1285" y="1505"/>
                    </a:lnTo>
                    <a:lnTo>
                      <a:pt x="1285" y="1507"/>
                    </a:lnTo>
                    <a:lnTo>
                      <a:pt x="1283" y="1507"/>
                    </a:lnTo>
                    <a:lnTo>
                      <a:pt x="1283" y="1509"/>
                    </a:lnTo>
                    <a:lnTo>
                      <a:pt x="1281" y="1509"/>
                    </a:lnTo>
                    <a:lnTo>
                      <a:pt x="1280" y="1509"/>
                    </a:lnTo>
                    <a:lnTo>
                      <a:pt x="1278" y="1510"/>
                    </a:lnTo>
                    <a:lnTo>
                      <a:pt x="1276" y="1510"/>
                    </a:lnTo>
                    <a:lnTo>
                      <a:pt x="1276" y="1512"/>
                    </a:lnTo>
                    <a:lnTo>
                      <a:pt x="1275" y="1512"/>
                    </a:lnTo>
                    <a:lnTo>
                      <a:pt x="1275" y="1514"/>
                    </a:lnTo>
                    <a:lnTo>
                      <a:pt x="1273" y="1514"/>
                    </a:lnTo>
                    <a:lnTo>
                      <a:pt x="1271" y="1515"/>
                    </a:lnTo>
                    <a:lnTo>
                      <a:pt x="1270" y="1515"/>
                    </a:lnTo>
                    <a:lnTo>
                      <a:pt x="1270" y="1517"/>
                    </a:lnTo>
                    <a:lnTo>
                      <a:pt x="1268" y="1517"/>
                    </a:lnTo>
                    <a:lnTo>
                      <a:pt x="1266" y="1517"/>
                    </a:lnTo>
                    <a:lnTo>
                      <a:pt x="1266" y="1519"/>
                    </a:lnTo>
                    <a:lnTo>
                      <a:pt x="1266" y="1521"/>
                    </a:lnTo>
                    <a:lnTo>
                      <a:pt x="1264" y="1521"/>
                    </a:lnTo>
                    <a:lnTo>
                      <a:pt x="1264" y="1522"/>
                    </a:lnTo>
                    <a:lnTo>
                      <a:pt x="1263" y="1524"/>
                    </a:lnTo>
                    <a:lnTo>
                      <a:pt x="1263" y="1526"/>
                    </a:lnTo>
                    <a:lnTo>
                      <a:pt x="1261" y="1524"/>
                    </a:lnTo>
                    <a:lnTo>
                      <a:pt x="1261" y="1526"/>
                    </a:lnTo>
                    <a:lnTo>
                      <a:pt x="1259" y="1526"/>
                    </a:lnTo>
                    <a:lnTo>
                      <a:pt x="1259" y="1524"/>
                    </a:lnTo>
                    <a:lnTo>
                      <a:pt x="1258" y="1524"/>
                    </a:lnTo>
                    <a:lnTo>
                      <a:pt x="1258" y="1522"/>
                    </a:lnTo>
                    <a:lnTo>
                      <a:pt x="1256" y="1521"/>
                    </a:lnTo>
                    <a:lnTo>
                      <a:pt x="1254" y="1521"/>
                    </a:lnTo>
                    <a:lnTo>
                      <a:pt x="1253" y="1519"/>
                    </a:lnTo>
                    <a:lnTo>
                      <a:pt x="1251" y="1519"/>
                    </a:lnTo>
                    <a:lnTo>
                      <a:pt x="1253" y="1521"/>
                    </a:lnTo>
                    <a:lnTo>
                      <a:pt x="1254" y="1521"/>
                    </a:lnTo>
                    <a:lnTo>
                      <a:pt x="1254" y="1522"/>
                    </a:lnTo>
                    <a:lnTo>
                      <a:pt x="1256" y="1522"/>
                    </a:lnTo>
                    <a:lnTo>
                      <a:pt x="1254" y="1522"/>
                    </a:lnTo>
                    <a:lnTo>
                      <a:pt x="1256" y="1524"/>
                    </a:lnTo>
                    <a:lnTo>
                      <a:pt x="1254" y="1524"/>
                    </a:lnTo>
                    <a:lnTo>
                      <a:pt x="1254" y="1522"/>
                    </a:lnTo>
                    <a:lnTo>
                      <a:pt x="1253" y="1522"/>
                    </a:lnTo>
                    <a:lnTo>
                      <a:pt x="1253" y="1521"/>
                    </a:lnTo>
                    <a:lnTo>
                      <a:pt x="1251" y="1521"/>
                    </a:lnTo>
                    <a:lnTo>
                      <a:pt x="1251" y="1522"/>
                    </a:lnTo>
                    <a:lnTo>
                      <a:pt x="1251" y="1521"/>
                    </a:lnTo>
                    <a:lnTo>
                      <a:pt x="1249" y="1521"/>
                    </a:lnTo>
                    <a:lnTo>
                      <a:pt x="1247" y="1521"/>
                    </a:lnTo>
                    <a:lnTo>
                      <a:pt x="1247" y="1522"/>
                    </a:lnTo>
                    <a:lnTo>
                      <a:pt x="1247" y="1521"/>
                    </a:lnTo>
                    <a:lnTo>
                      <a:pt x="1246" y="1522"/>
                    </a:lnTo>
                    <a:lnTo>
                      <a:pt x="1244" y="1522"/>
                    </a:lnTo>
                    <a:lnTo>
                      <a:pt x="1246" y="1522"/>
                    </a:lnTo>
                    <a:lnTo>
                      <a:pt x="1247" y="1522"/>
                    </a:lnTo>
                    <a:lnTo>
                      <a:pt x="1249" y="1522"/>
                    </a:lnTo>
                    <a:lnTo>
                      <a:pt x="1251" y="1522"/>
                    </a:lnTo>
                    <a:lnTo>
                      <a:pt x="1253" y="1524"/>
                    </a:lnTo>
                    <a:lnTo>
                      <a:pt x="1253" y="1526"/>
                    </a:lnTo>
                    <a:lnTo>
                      <a:pt x="1254" y="1526"/>
                    </a:lnTo>
                    <a:lnTo>
                      <a:pt x="1256" y="1526"/>
                    </a:lnTo>
                    <a:lnTo>
                      <a:pt x="1256" y="1527"/>
                    </a:lnTo>
                    <a:lnTo>
                      <a:pt x="1258" y="1529"/>
                    </a:lnTo>
                    <a:lnTo>
                      <a:pt x="1256" y="1529"/>
                    </a:lnTo>
                    <a:lnTo>
                      <a:pt x="1254" y="1529"/>
                    </a:lnTo>
                    <a:lnTo>
                      <a:pt x="1253" y="1529"/>
                    </a:lnTo>
                    <a:lnTo>
                      <a:pt x="1251" y="1529"/>
                    </a:lnTo>
                    <a:lnTo>
                      <a:pt x="1251" y="1527"/>
                    </a:lnTo>
                    <a:lnTo>
                      <a:pt x="1251" y="1529"/>
                    </a:lnTo>
                    <a:lnTo>
                      <a:pt x="1253" y="1529"/>
                    </a:lnTo>
                    <a:lnTo>
                      <a:pt x="1253" y="1531"/>
                    </a:lnTo>
                    <a:lnTo>
                      <a:pt x="1251" y="1531"/>
                    </a:lnTo>
                    <a:lnTo>
                      <a:pt x="1249" y="1531"/>
                    </a:lnTo>
                    <a:lnTo>
                      <a:pt x="1249" y="1529"/>
                    </a:lnTo>
                    <a:lnTo>
                      <a:pt x="1249" y="1527"/>
                    </a:lnTo>
                    <a:lnTo>
                      <a:pt x="1249" y="1529"/>
                    </a:lnTo>
                    <a:lnTo>
                      <a:pt x="1247" y="1529"/>
                    </a:lnTo>
                    <a:lnTo>
                      <a:pt x="1246" y="1527"/>
                    </a:lnTo>
                    <a:lnTo>
                      <a:pt x="1246" y="1529"/>
                    </a:lnTo>
                    <a:lnTo>
                      <a:pt x="1247" y="1529"/>
                    </a:lnTo>
                    <a:lnTo>
                      <a:pt x="1249" y="1531"/>
                    </a:lnTo>
                    <a:lnTo>
                      <a:pt x="1247" y="1531"/>
                    </a:lnTo>
                    <a:lnTo>
                      <a:pt x="1246" y="1529"/>
                    </a:lnTo>
                    <a:lnTo>
                      <a:pt x="1244" y="1529"/>
                    </a:lnTo>
                    <a:lnTo>
                      <a:pt x="1242" y="1529"/>
                    </a:lnTo>
                    <a:lnTo>
                      <a:pt x="1244" y="1529"/>
                    </a:lnTo>
                    <a:lnTo>
                      <a:pt x="1246" y="1531"/>
                    </a:lnTo>
                    <a:lnTo>
                      <a:pt x="1247" y="1531"/>
                    </a:lnTo>
                    <a:lnTo>
                      <a:pt x="1247" y="1532"/>
                    </a:lnTo>
                    <a:lnTo>
                      <a:pt x="1249" y="1531"/>
                    </a:lnTo>
                    <a:lnTo>
                      <a:pt x="1249" y="1532"/>
                    </a:lnTo>
                    <a:lnTo>
                      <a:pt x="1247" y="1532"/>
                    </a:lnTo>
                    <a:lnTo>
                      <a:pt x="1249" y="1534"/>
                    </a:lnTo>
                    <a:lnTo>
                      <a:pt x="1247" y="1534"/>
                    </a:lnTo>
                    <a:lnTo>
                      <a:pt x="1246" y="1534"/>
                    </a:lnTo>
                    <a:lnTo>
                      <a:pt x="1246" y="1532"/>
                    </a:lnTo>
                    <a:lnTo>
                      <a:pt x="1246" y="1534"/>
                    </a:lnTo>
                    <a:lnTo>
                      <a:pt x="1246" y="1536"/>
                    </a:lnTo>
                    <a:lnTo>
                      <a:pt x="1246" y="1538"/>
                    </a:lnTo>
                    <a:lnTo>
                      <a:pt x="1246" y="1539"/>
                    </a:lnTo>
                    <a:lnTo>
                      <a:pt x="1244" y="1539"/>
                    </a:lnTo>
                    <a:lnTo>
                      <a:pt x="1242" y="1539"/>
                    </a:lnTo>
                    <a:lnTo>
                      <a:pt x="1242" y="1538"/>
                    </a:lnTo>
                    <a:lnTo>
                      <a:pt x="1241" y="1538"/>
                    </a:lnTo>
                    <a:lnTo>
                      <a:pt x="1242" y="1538"/>
                    </a:lnTo>
                    <a:lnTo>
                      <a:pt x="1242" y="1539"/>
                    </a:lnTo>
                    <a:lnTo>
                      <a:pt x="1244" y="1539"/>
                    </a:lnTo>
                    <a:lnTo>
                      <a:pt x="1244" y="1541"/>
                    </a:lnTo>
                    <a:lnTo>
                      <a:pt x="1242" y="1543"/>
                    </a:lnTo>
                    <a:lnTo>
                      <a:pt x="1244" y="1541"/>
                    </a:lnTo>
                    <a:lnTo>
                      <a:pt x="1246" y="1539"/>
                    </a:lnTo>
                    <a:lnTo>
                      <a:pt x="1246" y="1541"/>
                    </a:lnTo>
                    <a:lnTo>
                      <a:pt x="1247" y="1541"/>
                    </a:lnTo>
                    <a:lnTo>
                      <a:pt x="1247" y="1543"/>
                    </a:lnTo>
                    <a:lnTo>
                      <a:pt x="1249" y="1544"/>
                    </a:lnTo>
                    <a:lnTo>
                      <a:pt x="1249" y="1546"/>
                    </a:lnTo>
                    <a:lnTo>
                      <a:pt x="1251" y="1546"/>
                    </a:lnTo>
                    <a:lnTo>
                      <a:pt x="1251" y="1548"/>
                    </a:lnTo>
                    <a:lnTo>
                      <a:pt x="1249" y="1548"/>
                    </a:lnTo>
                    <a:lnTo>
                      <a:pt x="1247" y="1548"/>
                    </a:lnTo>
                    <a:lnTo>
                      <a:pt x="1246" y="1548"/>
                    </a:lnTo>
                    <a:lnTo>
                      <a:pt x="1244" y="1548"/>
                    </a:lnTo>
                    <a:lnTo>
                      <a:pt x="1246" y="1548"/>
                    </a:lnTo>
                    <a:lnTo>
                      <a:pt x="1246" y="1546"/>
                    </a:lnTo>
                    <a:lnTo>
                      <a:pt x="1244" y="1546"/>
                    </a:lnTo>
                    <a:lnTo>
                      <a:pt x="1242" y="1546"/>
                    </a:lnTo>
                    <a:lnTo>
                      <a:pt x="1242" y="1544"/>
                    </a:lnTo>
                    <a:lnTo>
                      <a:pt x="1244" y="1544"/>
                    </a:lnTo>
                    <a:lnTo>
                      <a:pt x="1242" y="1543"/>
                    </a:lnTo>
                    <a:lnTo>
                      <a:pt x="1242" y="1544"/>
                    </a:lnTo>
                    <a:lnTo>
                      <a:pt x="1241" y="1544"/>
                    </a:lnTo>
                    <a:lnTo>
                      <a:pt x="1239" y="1543"/>
                    </a:lnTo>
                    <a:lnTo>
                      <a:pt x="1237" y="1541"/>
                    </a:lnTo>
                    <a:lnTo>
                      <a:pt x="1237" y="1539"/>
                    </a:lnTo>
                    <a:lnTo>
                      <a:pt x="1237" y="1541"/>
                    </a:lnTo>
                    <a:lnTo>
                      <a:pt x="1237" y="1543"/>
                    </a:lnTo>
                    <a:lnTo>
                      <a:pt x="1236" y="1541"/>
                    </a:lnTo>
                    <a:lnTo>
                      <a:pt x="1237" y="1539"/>
                    </a:lnTo>
                    <a:lnTo>
                      <a:pt x="1236" y="1539"/>
                    </a:lnTo>
                    <a:lnTo>
                      <a:pt x="1234" y="1539"/>
                    </a:lnTo>
                    <a:lnTo>
                      <a:pt x="1232" y="1539"/>
                    </a:lnTo>
                    <a:lnTo>
                      <a:pt x="1234" y="1538"/>
                    </a:lnTo>
                    <a:lnTo>
                      <a:pt x="1232" y="1538"/>
                    </a:lnTo>
                    <a:lnTo>
                      <a:pt x="1230" y="1538"/>
                    </a:lnTo>
                    <a:lnTo>
                      <a:pt x="1230" y="1536"/>
                    </a:lnTo>
                    <a:lnTo>
                      <a:pt x="1230" y="1534"/>
                    </a:lnTo>
                    <a:lnTo>
                      <a:pt x="1229" y="1534"/>
                    </a:lnTo>
                    <a:lnTo>
                      <a:pt x="1229" y="1532"/>
                    </a:lnTo>
                    <a:lnTo>
                      <a:pt x="1229" y="1534"/>
                    </a:lnTo>
                    <a:lnTo>
                      <a:pt x="1227" y="1534"/>
                    </a:lnTo>
                    <a:lnTo>
                      <a:pt x="1227" y="1532"/>
                    </a:lnTo>
                    <a:lnTo>
                      <a:pt x="1225" y="1534"/>
                    </a:lnTo>
                    <a:lnTo>
                      <a:pt x="1225" y="1532"/>
                    </a:lnTo>
                    <a:lnTo>
                      <a:pt x="1224" y="1532"/>
                    </a:lnTo>
                    <a:lnTo>
                      <a:pt x="1225" y="1531"/>
                    </a:lnTo>
                    <a:lnTo>
                      <a:pt x="1224" y="1532"/>
                    </a:lnTo>
                    <a:lnTo>
                      <a:pt x="1222" y="1531"/>
                    </a:lnTo>
                    <a:lnTo>
                      <a:pt x="1222" y="1529"/>
                    </a:lnTo>
                    <a:lnTo>
                      <a:pt x="1222" y="1531"/>
                    </a:lnTo>
                    <a:lnTo>
                      <a:pt x="1224" y="1529"/>
                    </a:lnTo>
                    <a:lnTo>
                      <a:pt x="1222" y="1529"/>
                    </a:lnTo>
                    <a:lnTo>
                      <a:pt x="1222" y="1527"/>
                    </a:lnTo>
                    <a:lnTo>
                      <a:pt x="1220" y="1527"/>
                    </a:lnTo>
                    <a:lnTo>
                      <a:pt x="1220" y="1526"/>
                    </a:lnTo>
                    <a:lnTo>
                      <a:pt x="1222" y="1527"/>
                    </a:lnTo>
                    <a:lnTo>
                      <a:pt x="1224" y="1527"/>
                    </a:lnTo>
                    <a:lnTo>
                      <a:pt x="1225" y="1527"/>
                    </a:lnTo>
                    <a:lnTo>
                      <a:pt x="1225" y="1529"/>
                    </a:lnTo>
                    <a:lnTo>
                      <a:pt x="1225" y="1527"/>
                    </a:lnTo>
                    <a:lnTo>
                      <a:pt x="1227" y="1527"/>
                    </a:lnTo>
                    <a:lnTo>
                      <a:pt x="1229" y="1527"/>
                    </a:lnTo>
                    <a:lnTo>
                      <a:pt x="1229" y="1529"/>
                    </a:lnTo>
                    <a:lnTo>
                      <a:pt x="1229" y="1527"/>
                    </a:lnTo>
                    <a:lnTo>
                      <a:pt x="1230" y="1527"/>
                    </a:lnTo>
                    <a:lnTo>
                      <a:pt x="1230" y="1529"/>
                    </a:lnTo>
                    <a:lnTo>
                      <a:pt x="1232" y="1527"/>
                    </a:lnTo>
                    <a:lnTo>
                      <a:pt x="1230" y="1527"/>
                    </a:lnTo>
                    <a:lnTo>
                      <a:pt x="1232" y="1527"/>
                    </a:lnTo>
                    <a:lnTo>
                      <a:pt x="1230" y="1527"/>
                    </a:lnTo>
                    <a:lnTo>
                      <a:pt x="1232" y="1527"/>
                    </a:lnTo>
                    <a:lnTo>
                      <a:pt x="1234" y="1527"/>
                    </a:lnTo>
                    <a:lnTo>
                      <a:pt x="1232" y="1529"/>
                    </a:lnTo>
                    <a:lnTo>
                      <a:pt x="1234" y="1529"/>
                    </a:lnTo>
                    <a:lnTo>
                      <a:pt x="1236" y="1529"/>
                    </a:lnTo>
                    <a:lnTo>
                      <a:pt x="1236" y="1531"/>
                    </a:lnTo>
                    <a:lnTo>
                      <a:pt x="1236" y="1529"/>
                    </a:lnTo>
                    <a:lnTo>
                      <a:pt x="1237" y="1531"/>
                    </a:lnTo>
                    <a:lnTo>
                      <a:pt x="1239" y="1531"/>
                    </a:lnTo>
                    <a:lnTo>
                      <a:pt x="1239" y="1532"/>
                    </a:lnTo>
                    <a:lnTo>
                      <a:pt x="1237" y="1532"/>
                    </a:lnTo>
                    <a:lnTo>
                      <a:pt x="1239" y="1532"/>
                    </a:lnTo>
                    <a:lnTo>
                      <a:pt x="1237" y="1534"/>
                    </a:lnTo>
                    <a:lnTo>
                      <a:pt x="1239" y="1534"/>
                    </a:lnTo>
                    <a:lnTo>
                      <a:pt x="1237" y="1534"/>
                    </a:lnTo>
                    <a:lnTo>
                      <a:pt x="1239" y="1534"/>
                    </a:lnTo>
                    <a:lnTo>
                      <a:pt x="1239" y="1532"/>
                    </a:lnTo>
                    <a:lnTo>
                      <a:pt x="1241" y="1532"/>
                    </a:lnTo>
                    <a:lnTo>
                      <a:pt x="1239" y="1531"/>
                    </a:lnTo>
                    <a:lnTo>
                      <a:pt x="1237" y="1531"/>
                    </a:lnTo>
                    <a:lnTo>
                      <a:pt x="1237" y="1529"/>
                    </a:lnTo>
                    <a:lnTo>
                      <a:pt x="1236" y="1529"/>
                    </a:lnTo>
                    <a:lnTo>
                      <a:pt x="1236" y="1527"/>
                    </a:lnTo>
                    <a:lnTo>
                      <a:pt x="1236" y="1529"/>
                    </a:lnTo>
                    <a:lnTo>
                      <a:pt x="1236" y="1527"/>
                    </a:lnTo>
                    <a:lnTo>
                      <a:pt x="1237" y="1527"/>
                    </a:lnTo>
                    <a:lnTo>
                      <a:pt x="1239" y="1529"/>
                    </a:lnTo>
                    <a:lnTo>
                      <a:pt x="1239" y="1527"/>
                    </a:lnTo>
                    <a:lnTo>
                      <a:pt x="1237" y="1527"/>
                    </a:lnTo>
                    <a:lnTo>
                      <a:pt x="1237" y="1526"/>
                    </a:lnTo>
                    <a:lnTo>
                      <a:pt x="1239" y="1526"/>
                    </a:lnTo>
                    <a:lnTo>
                      <a:pt x="1241" y="1527"/>
                    </a:lnTo>
                    <a:lnTo>
                      <a:pt x="1239" y="1526"/>
                    </a:lnTo>
                    <a:lnTo>
                      <a:pt x="1241" y="1526"/>
                    </a:lnTo>
                    <a:lnTo>
                      <a:pt x="1241" y="1527"/>
                    </a:lnTo>
                    <a:lnTo>
                      <a:pt x="1241" y="1526"/>
                    </a:lnTo>
                    <a:lnTo>
                      <a:pt x="1239" y="1526"/>
                    </a:lnTo>
                    <a:lnTo>
                      <a:pt x="1241" y="1526"/>
                    </a:lnTo>
                    <a:lnTo>
                      <a:pt x="1239" y="1526"/>
                    </a:lnTo>
                    <a:lnTo>
                      <a:pt x="1239" y="1524"/>
                    </a:lnTo>
                    <a:lnTo>
                      <a:pt x="1239" y="1526"/>
                    </a:lnTo>
                    <a:lnTo>
                      <a:pt x="1237" y="1526"/>
                    </a:lnTo>
                    <a:lnTo>
                      <a:pt x="1237" y="1524"/>
                    </a:lnTo>
                    <a:lnTo>
                      <a:pt x="1236" y="1526"/>
                    </a:lnTo>
                    <a:lnTo>
                      <a:pt x="1234" y="1526"/>
                    </a:lnTo>
                    <a:lnTo>
                      <a:pt x="1232" y="1524"/>
                    </a:lnTo>
                    <a:lnTo>
                      <a:pt x="1230" y="1524"/>
                    </a:lnTo>
                    <a:lnTo>
                      <a:pt x="1232" y="1522"/>
                    </a:lnTo>
                    <a:lnTo>
                      <a:pt x="1232" y="1524"/>
                    </a:lnTo>
                    <a:lnTo>
                      <a:pt x="1232" y="1522"/>
                    </a:lnTo>
                    <a:lnTo>
                      <a:pt x="1234" y="1522"/>
                    </a:lnTo>
                    <a:lnTo>
                      <a:pt x="1234" y="1521"/>
                    </a:lnTo>
                    <a:lnTo>
                      <a:pt x="1236" y="1521"/>
                    </a:lnTo>
                    <a:lnTo>
                      <a:pt x="1236" y="1519"/>
                    </a:lnTo>
                    <a:lnTo>
                      <a:pt x="1234" y="1519"/>
                    </a:lnTo>
                    <a:lnTo>
                      <a:pt x="1234" y="1521"/>
                    </a:lnTo>
                    <a:lnTo>
                      <a:pt x="1232" y="1521"/>
                    </a:lnTo>
                    <a:lnTo>
                      <a:pt x="1232" y="1519"/>
                    </a:lnTo>
                    <a:lnTo>
                      <a:pt x="1232" y="1517"/>
                    </a:lnTo>
                    <a:lnTo>
                      <a:pt x="1232" y="1515"/>
                    </a:lnTo>
                    <a:lnTo>
                      <a:pt x="1230" y="1514"/>
                    </a:lnTo>
                    <a:lnTo>
                      <a:pt x="1232" y="1514"/>
                    </a:lnTo>
                    <a:lnTo>
                      <a:pt x="1232" y="1512"/>
                    </a:lnTo>
                    <a:lnTo>
                      <a:pt x="1234" y="1512"/>
                    </a:lnTo>
                    <a:lnTo>
                      <a:pt x="1232" y="1512"/>
                    </a:lnTo>
                    <a:lnTo>
                      <a:pt x="1232" y="1510"/>
                    </a:lnTo>
                    <a:lnTo>
                      <a:pt x="1230" y="1510"/>
                    </a:lnTo>
                    <a:lnTo>
                      <a:pt x="1230" y="1509"/>
                    </a:lnTo>
                    <a:lnTo>
                      <a:pt x="1232" y="1509"/>
                    </a:lnTo>
                    <a:lnTo>
                      <a:pt x="1234" y="1509"/>
                    </a:lnTo>
                    <a:lnTo>
                      <a:pt x="1236" y="1507"/>
                    </a:lnTo>
                    <a:lnTo>
                      <a:pt x="1236" y="1505"/>
                    </a:lnTo>
                    <a:lnTo>
                      <a:pt x="1237" y="1505"/>
                    </a:lnTo>
                    <a:lnTo>
                      <a:pt x="1237" y="1507"/>
                    </a:lnTo>
                    <a:lnTo>
                      <a:pt x="1236" y="1507"/>
                    </a:lnTo>
                    <a:lnTo>
                      <a:pt x="1237" y="1507"/>
                    </a:lnTo>
                    <a:lnTo>
                      <a:pt x="1239" y="1505"/>
                    </a:lnTo>
                    <a:lnTo>
                      <a:pt x="1239" y="1504"/>
                    </a:lnTo>
                    <a:lnTo>
                      <a:pt x="1241" y="1502"/>
                    </a:lnTo>
                    <a:lnTo>
                      <a:pt x="1242" y="1502"/>
                    </a:lnTo>
                    <a:lnTo>
                      <a:pt x="1242" y="1504"/>
                    </a:lnTo>
                    <a:lnTo>
                      <a:pt x="1244" y="1505"/>
                    </a:lnTo>
                    <a:lnTo>
                      <a:pt x="1242" y="1505"/>
                    </a:lnTo>
                    <a:lnTo>
                      <a:pt x="1242" y="1507"/>
                    </a:lnTo>
                    <a:lnTo>
                      <a:pt x="1241" y="1509"/>
                    </a:lnTo>
                    <a:lnTo>
                      <a:pt x="1239" y="1510"/>
                    </a:lnTo>
                    <a:lnTo>
                      <a:pt x="1239" y="1512"/>
                    </a:lnTo>
                    <a:lnTo>
                      <a:pt x="1241" y="1512"/>
                    </a:lnTo>
                    <a:lnTo>
                      <a:pt x="1241" y="1510"/>
                    </a:lnTo>
                    <a:lnTo>
                      <a:pt x="1241" y="1509"/>
                    </a:lnTo>
                    <a:lnTo>
                      <a:pt x="1242" y="1509"/>
                    </a:lnTo>
                    <a:lnTo>
                      <a:pt x="1242" y="1507"/>
                    </a:lnTo>
                    <a:lnTo>
                      <a:pt x="1244" y="1507"/>
                    </a:lnTo>
                    <a:lnTo>
                      <a:pt x="1246" y="1507"/>
                    </a:lnTo>
                    <a:lnTo>
                      <a:pt x="1244" y="1509"/>
                    </a:lnTo>
                    <a:lnTo>
                      <a:pt x="1242" y="1509"/>
                    </a:lnTo>
                    <a:lnTo>
                      <a:pt x="1242" y="1510"/>
                    </a:lnTo>
                    <a:lnTo>
                      <a:pt x="1244" y="1509"/>
                    </a:lnTo>
                    <a:lnTo>
                      <a:pt x="1246" y="1507"/>
                    </a:lnTo>
                    <a:lnTo>
                      <a:pt x="1246" y="1509"/>
                    </a:lnTo>
                    <a:lnTo>
                      <a:pt x="1244" y="1509"/>
                    </a:lnTo>
                    <a:lnTo>
                      <a:pt x="1244" y="1510"/>
                    </a:lnTo>
                    <a:lnTo>
                      <a:pt x="1244" y="1509"/>
                    </a:lnTo>
                    <a:lnTo>
                      <a:pt x="1246" y="1509"/>
                    </a:lnTo>
                    <a:lnTo>
                      <a:pt x="1247" y="1507"/>
                    </a:lnTo>
                    <a:lnTo>
                      <a:pt x="1247" y="1509"/>
                    </a:lnTo>
                    <a:lnTo>
                      <a:pt x="1247" y="1507"/>
                    </a:lnTo>
                    <a:lnTo>
                      <a:pt x="1247" y="1509"/>
                    </a:lnTo>
                    <a:lnTo>
                      <a:pt x="1249" y="1510"/>
                    </a:lnTo>
                    <a:lnTo>
                      <a:pt x="1249" y="1509"/>
                    </a:lnTo>
                    <a:lnTo>
                      <a:pt x="1249" y="1507"/>
                    </a:lnTo>
                    <a:lnTo>
                      <a:pt x="1251" y="1507"/>
                    </a:lnTo>
                    <a:lnTo>
                      <a:pt x="1251" y="1505"/>
                    </a:lnTo>
                    <a:lnTo>
                      <a:pt x="1253" y="1505"/>
                    </a:lnTo>
                    <a:lnTo>
                      <a:pt x="1254" y="1504"/>
                    </a:lnTo>
                    <a:lnTo>
                      <a:pt x="1254" y="1502"/>
                    </a:lnTo>
                    <a:lnTo>
                      <a:pt x="1256" y="1502"/>
                    </a:lnTo>
                    <a:lnTo>
                      <a:pt x="1258" y="1500"/>
                    </a:lnTo>
                    <a:lnTo>
                      <a:pt x="1258" y="1498"/>
                    </a:lnTo>
                    <a:lnTo>
                      <a:pt x="1259" y="1498"/>
                    </a:lnTo>
                    <a:lnTo>
                      <a:pt x="1261" y="1498"/>
                    </a:lnTo>
                    <a:lnTo>
                      <a:pt x="1263" y="1500"/>
                    </a:lnTo>
                    <a:lnTo>
                      <a:pt x="1263" y="1498"/>
                    </a:lnTo>
                    <a:lnTo>
                      <a:pt x="1264" y="1497"/>
                    </a:lnTo>
                    <a:lnTo>
                      <a:pt x="1264" y="1498"/>
                    </a:lnTo>
                    <a:close/>
                    <a:moveTo>
                      <a:pt x="1382" y="1628"/>
                    </a:moveTo>
                    <a:lnTo>
                      <a:pt x="1383" y="1629"/>
                    </a:lnTo>
                    <a:lnTo>
                      <a:pt x="1385" y="1629"/>
                    </a:lnTo>
                    <a:lnTo>
                      <a:pt x="1385" y="1631"/>
                    </a:lnTo>
                    <a:lnTo>
                      <a:pt x="1387" y="1631"/>
                    </a:lnTo>
                    <a:lnTo>
                      <a:pt x="1387" y="1633"/>
                    </a:lnTo>
                    <a:lnTo>
                      <a:pt x="1389" y="1635"/>
                    </a:lnTo>
                    <a:lnTo>
                      <a:pt x="1389" y="1636"/>
                    </a:lnTo>
                    <a:lnTo>
                      <a:pt x="1387" y="1636"/>
                    </a:lnTo>
                    <a:lnTo>
                      <a:pt x="1385" y="1636"/>
                    </a:lnTo>
                    <a:lnTo>
                      <a:pt x="1385" y="1635"/>
                    </a:lnTo>
                    <a:lnTo>
                      <a:pt x="1383" y="1635"/>
                    </a:lnTo>
                    <a:lnTo>
                      <a:pt x="1385" y="1636"/>
                    </a:lnTo>
                    <a:lnTo>
                      <a:pt x="1385" y="1638"/>
                    </a:lnTo>
                    <a:lnTo>
                      <a:pt x="1383" y="1640"/>
                    </a:lnTo>
                    <a:lnTo>
                      <a:pt x="1382" y="1640"/>
                    </a:lnTo>
                    <a:lnTo>
                      <a:pt x="1380" y="1638"/>
                    </a:lnTo>
                    <a:lnTo>
                      <a:pt x="1378" y="1638"/>
                    </a:lnTo>
                    <a:lnTo>
                      <a:pt x="1380" y="1638"/>
                    </a:lnTo>
                    <a:lnTo>
                      <a:pt x="1380" y="1640"/>
                    </a:lnTo>
                    <a:lnTo>
                      <a:pt x="1380" y="1641"/>
                    </a:lnTo>
                    <a:lnTo>
                      <a:pt x="1378" y="1641"/>
                    </a:lnTo>
                    <a:lnTo>
                      <a:pt x="1377" y="1641"/>
                    </a:lnTo>
                    <a:lnTo>
                      <a:pt x="1375" y="1641"/>
                    </a:lnTo>
                    <a:lnTo>
                      <a:pt x="1373" y="1641"/>
                    </a:lnTo>
                    <a:lnTo>
                      <a:pt x="1373" y="1640"/>
                    </a:lnTo>
                    <a:lnTo>
                      <a:pt x="1372" y="1640"/>
                    </a:lnTo>
                    <a:lnTo>
                      <a:pt x="1370" y="1640"/>
                    </a:lnTo>
                    <a:lnTo>
                      <a:pt x="1370" y="1638"/>
                    </a:lnTo>
                    <a:lnTo>
                      <a:pt x="1368" y="1638"/>
                    </a:lnTo>
                    <a:lnTo>
                      <a:pt x="1368" y="1636"/>
                    </a:lnTo>
                    <a:lnTo>
                      <a:pt x="1366" y="1636"/>
                    </a:lnTo>
                    <a:lnTo>
                      <a:pt x="1365" y="1635"/>
                    </a:lnTo>
                    <a:lnTo>
                      <a:pt x="1363" y="1636"/>
                    </a:lnTo>
                    <a:lnTo>
                      <a:pt x="1365" y="1636"/>
                    </a:lnTo>
                    <a:lnTo>
                      <a:pt x="1366" y="1636"/>
                    </a:lnTo>
                    <a:lnTo>
                      <a:pt x="1366" y="1638"/>
                    </a:lnTo>
                    <a:lnTo>
                      <a:pt x="1366" y="1640"/>
                    </a:lnTo>
                    <a:lnTo>
                      <a:pt x="1368" y="1640"/>
                    </a:lnTo>
                    <a:lnTo>
                      <a:pt x="1370" y="1640"/>
                    </a:lnTo>
                    <a:lnTo>
                      <a:pt x="1370" y="1641"/>
                    </a:lnTo>
                    <a:lnTo>
                      <a:pt x="1372" y="1641"/>
                    </a:lnTo>
                    <a:lnTo>
                      <a:pt x="1372" y="1643"/>
                    </a:lnTo>
                    <a:lnTo>
                      <a:pt x="1372" y="1641"/>
                    </a:lnTo>
                    <a:lnTo>
                      <a:pt x="1372" y="1643"/>
                    </a:lnTo>
                    <a:lnTo>
                      <a:pt x="1373" y="1643"/>
                    </a:lnTo>
                    <a:lnTo>
                      <a:pt x="1375" y="1643"/>
                    </a:lnTo>
                    <a:lnTo>
                      <a:pt x="1375" y="1641"/>
                    </a:lnTo>
                    <a:lnTo>
                      <a:pt x="1377" y="1643"/>
                    </a:lnTo>
                    <a:lnTo>
                      <a:pt x="1378" y="1643"/>
                    </a:lnTo>
                    <a:lnTo>
                      <a:pt x="1380" y="1643"/>
                    </a:lnTo>
                    <a:lnTo>
                      <a:pt x="1382" y="1643"/>
                    </a:lnTo>
                    <a:lnTo>
                      <a:pt x="1383" y="1643"/>
                    </a:lnTo>
                    <a:lnTo>
                      <a:pt x="1385" y="1643"/>
                    </a:lnTo>
                    <a:lnTo>
                      <a:pt x="1387" y="1643"/>
                    </a:lnTo>
                    <a:lnTo>
                      <a:pt x="1387" y="1645"/>
                    </a:lnTo>
                    <a:lnTo>
                      <a:pt x="1389" y="1645"/>
                    </a:lnTo>
                    <a:lnTo>
                      <a:pt x="1390" y="1645"/>
                    </a:lnTo>
                    <a:lnTo>
                      <a:pt x="1390" y="1646"/>
                    </a:lnTo>
                    <a:lnTo>
                      <a:pt x="1389" y="1646"/>
                    </a:lnTo>
                    <a:lnTo>
                      <a:pt x="1387" y="1646"/>
                    </a:lnTo>
                    <a:lnTo>
                      <a:pt x="1389" y="1646"/>
                    </a:lnTo>
                    <a:lnTo>
                      <a:pt x="1390" y="1646"/>
                    </a:lnTo>
                    <a:lnTo>
                      <a:pt x="1392" y="1648"/>
                    </a:lnTo>
                    <a:lnTo>
                      <a:pt x="1394" y="1648"/>
                    </a:lnTo>
                    <a:lnTo>
                      <a:pt x="1394" y="1650"/>
                    </a:lnTo>
                    <a:lnTo>
                      <a:pt x="1392" y="1650"/>
                    </a:lnTo>
                    <a:lnTo>
                      <a:pt x="1390" y="1650"/>
                    </a:lnTo>
                    <a:lnTo>
                      <a:pt x="1389" y="1650"/>
                    </a:lnTo>
                    <a:lnTo>
                      <a:pt x="1387" y="1650"/>
                    </a:lnTo>
                    <a:lnTo>
                      <a:pt x="1385" y="1650"/>
                    </a:lnTo>
                    <a:lnTo>
                      <a:pt x="1383" y="1650"/>
                    </a:lnTo>
                    <a:lnTo>
                      <a:pt x="1382" y="1650"/>
                    </a:lnTo>
                    <a:lnTo>
                      <a:pt x="1383" y="1650"/>
                    </a:lnTo>
                    <a:lnTo>
                      <a:pt x="1383" y="1652"/>
                    </a:lnTo>
                    <a:lnTo>
                      <a:pt x="1382" y="1652"/>
                    </a:lnTo>
                    <a:lnTo>
                      <a:pt x="1380" y="1652"/>
                    </a:lnTo>
                    <a:lnTo>
                      <a:pt x="1378" y="1650"/>
                    </a:lnTo>
                    <a:lnTo>
                      <a:pt x="1378" y="1648"/>
                    </a:lnTo>
                    <a:lnTo>
                      <a:pt x="1377" y="1648"/>
                    </a:lnTo>
                    <a:lnTo>
                      <a:pt x="1375" y="1648"/>
                    </a:lnTo>
                    <a:lnTo>
                      <a:pt x="1377" y="1648"/>
                    </a:lnTo>
                    <a:lnTo>
                      <a:pt x="1378" y="1650"/>
                    </a:lnTo>
                    <a:lnTo>
                      <a:pt x="1377" y="1650"/>
                    </a:lnTo>
                    <a:lnTo>
                      <a:pt x="1378" y="1650"/>
                    </a:lnTo>
                    <a:lnTo>
                      <a:pt x="1378" y="1652"/>
                    </a:lnTo>
                    <a:lnTo>
                      <a:pt x="1378" y="1653"/>
                    </a:lnTo>
                    <a:lnTo>
                      <a:pt x="1380" y="1652"/>
                    </a:lnTo>
                    <a:lnTo>
                      <a:pt x="1382" y="1652"/>
                    </a:lnTo>
                    <a:lnTo>
                      <a:pt x="1380" y="1653"/>
                    </a:lnTo>
                    <a:lnTo>
                      <a:pt x="1380" y="1655"/>
                    </a:lnTo>
                    <a:lnTo>
                      <a:pt x="1382" y="1653"/>
                    </a:lnTo>
                    <a:lnTo>
                      <a:pt x="1383" y="1653"/>
                    </a:lnTo>
                    <a:lnTo>
                      <a:pt x="1385" y="1653"/>
                    </a:lnTo>
                    <a:lnTo>
                      <a:pt x="1387" y="1653"/>
                    </a:lnTo>
                    <a:lnTo>
                      <a:pt x="1389" y="1653"/>
                    </a:lnTo>
                    <a:lnTo>
                      <a:pt x="1389" y="1655"/>
                    </a:lnTo>
                    <a:lnTo>
                      <a:pt x="1390" y="1655"/>
                    </a:lnTo>
                    <a:lnTo>
                      <a:pt x="1389" y="1655"/>
                    </a:lnTo>
                    <a:lnTo>
                      <a:pt x="1389" y="1657"/>
                    </a:lnTo>
                    <a:lnTo>
                      <a:pt x="1390" y="1655"/>
                    </a:lnTo>
                    <a:lnTo>
                      <a:pt x="1392" y="1657"/>
                    </a:lnTo>
                    <a:lnTo>
                      <a:pt x="1392" y="1655"/>
                    </a:lnTo>
                    <a:lnTo>
                      <a:pt x="1394" y="1655"/>
                    </a:lnTo>
                    <a:lnTo>
                      <a:pt x="1395" y="1657"/>
                    </a:lnTo>
                    <a:lnTo>
                      <a:pt x="1394" y="1658"/>
                    </a:lnTo>
                    <a:lnTo>
                      <a:pt x="1394" y="1660"/>
                    </a:lnTo>
                    <a:lnTo>
                      <a:pt x="1395" y="1660"/>
                    </a:lnTo>
                    <a:lnTo>
                      <a:pt x="1397" y="1660"/>
                    </a:lnTo>
                    <a:lnTo>
                      <a:pt x="1399" y="1660"/>
                    </a:lnTo>
                    <a:lnTo>
                      <a:pt x="1397" y="1662"/>
                    </a:lnTo>
                    <a:lnTo>
                      <a:pt x="1395" y="1663"/>
                    </a:lnTo>
                    <a:lnTo>
                      <a:pt x="1397" y="1663"/>
                    </a:lnTo>
                    <a:lnTo>
                      <a:pt x="1397" y="1665"/>
                    </a:lnTo>
                    <a:lnTo>
                      <a:pt x="1397" y="1667"/>
                    </a:lnTo>
                    <a:lnTo>
                      <a:pt x="1399" y="1667"/>
                    </a:lnTo>
                    <a:lnTo>
                      <a:pt x="1399" y="1669"/>
                    </a:lnTo>
                    <a:lnTo>
                      <a:pt x="1399" y="1670"/>
                    </a:lnTo>
                    <a:lnTo>
                      <a:pt x="1397" y="1670"/>
                    </a:lnTo>
                    <a:lnTo>
                      <a:pt x="1399" y="1672"/>
                    </a:lnTo>
                    <a:lnTo>
                      <a:pt x="1397" y="1674"/>
                    </a:lnTo>
                    <a:lnTo>
                      <a:pt x="1397" y="1675"/>
                    </a:lnTo>
                    <a:lnTo>
                      <a:pt x="1395" y="1674"/>
                    </a:lnTo>
                    <a:lnTo>
                      <a:pt x="1395" y="1672"/>
                    </a:lnTo>
                    <a:lnTo>
                      <a:pt x="1394" y="1672"/>
                    </a:lnTo>
                    <a:lnTo>
                      <a:pt x="1395" y="1670"/>
                    </a:lnTo>
                    <a:lnTo>
                      <a:pt x="1394" y="1670"/>
                    </a:lnTo>
                    <a:lnTo>
                      <a:pt x="1394" y="1669"/>
                    </a:lnTo>
                    <a:lnTo>
                      <a:pt x="1394" y="1667"/>
                    </a:lnTo>
                    <a:lnTo>
                      <a:pt x="1394" y="1669"/>
                    </a:lnTo>
                    <a:lnTo>
                      <a:pt x="1392" y="1669"/>
                    </a:lnTo>
                    <a:lnTo>
                      <a:pt x="1392" y="1670"/>
                    </a:lnTo>
                    <a:lnTo>
                      <a:pt x="1392" y="1669"/>
                    </a:lnTo>
                    <a:lnTo>
                      <a:pt x="1390" y="1670"/>
                    </a:lnTo>
                    <a:lnTo>
                      <a:pt x="1389" y="1669"/>
                    </a:lnTo>
                    <a:lnTo>
                      <a:pt x="1390" y="1667"/>
                    </a:lnTo>
                    <a:lnTo>
                      <a:pt x="1390" y="1665"/>
                    </a:lnTo>
                    <a:lnTo>
                      <a:pt x="1392" y="1665"/>
                    </a:lnTo>
                    <a:lnTo>
                      <a:pt x="1392" y="1663"/>
                    </a:lnTo>
                    <a:lnTo>
                      <a:pt x="1390" y="1663"/>
                    </a:lnTo>
                    <a:lnTo>
                      <a:pt x="1389" y="1663"/>
                    </a:lnTo>
                    <a:lnTo>
                      <a:pt x="1389" y="1662"/>
                    </a:lnTo>
                    <a:lnTo>
                      <a:pt x="1389" y="1660"/>
                    </a:lnTo>
                    <a:lnTo>
                      <a:pt x="1387" y="1662"/>
                    </a:lnTo>
                    <a:lnTo>
                      <a:pt x="1389" y="1660"/>
                    </a:lnTo>
                    <a:lnTo>
                      <a:pt x="1387" y="1660"/>
                    </a:lnTo>
                    <a:lnTo>
                      <a:pt x="1387" y="1662"/>
                    </a:lnTo>
                    <a:lnTo>
                      <a:pt x="1385" y="1662"/>
                    </a:lnTo>
                    <a:lnTo>
                      <a:pt x="1383" y="1660"/>
                    </a:lnTo>
                    <a:lnTo>
                      <a:pt x="1383" y="1662"/>
                    </a:lnTo>
                    <a:lnTo>
                      <a:pt x="1382" y="1660"/>
                    </a:lnTo>
                    <a:lnTo>
                      <a:pt x="1380" y="1660"/>
                    </a:lnTo>
                    <a:lnTo>
                      <a:pt x="1382" y="1658"/>
                    </a:lnTo>
                    <a:lnTo>
                      <a:pt x="1382" y="1657"/>
                    </a:lnTo>
                    <a:lnTo>
                      <a:pt x="1380" y="1657"/>
                    </a:lnTo>
                    <a:lnTo>
                      <a:pt x="1380" y="1658"/>
                    </a:lnTo>
                    <a:lnTo>
                      <a:pt x="1380" y="1657"/>
                    </a:lnTo>
                    <a:lnTo>
                      <a:pt x="1378" y="1657"/>
                    </a:lnTo>
                    <a:lnTo>
                      <a:pt x="1380" y="1658"/>
                    </a:lnTo>
                    <a:lnTo>
                      <a:pt x="1378" y="1658"/>
                    </a:lnTo>
                    <a:lnTo>
                      <a:pt x="1380" y="1660"/>
                    </a:lnTo>
                    <a:lnTo>
                      <a:pt x="1378" y="1658"/>
                    </a:lnTo>
                    <a:lnTo>
                      <a:pt x="1378" y="1660"/>
                    </a:lnTo>
                    <a:lnTo>
                      <a:pt x="1377" y="1660"/>
                    </a:lnTo>
                    <a:lnTo>
                      <a:pt x="1375" y="1660"/>
                    </a:lnTo>
                    <a:lnTo>
                      <a:pt x="1375" y="1658"/>
                    </a:lnTo>
                    <a:lnTo>
                      <a:pt x="1373" y="1658"/>
                    </a:lnTo>
                    <a:lnTo>
                      <a:pt x="1373" y="1660"/>
                    </a:lnTo>
                    <a:lnTo>
                      <a:pt x="1372" y="1660"/>
                    </a:lnTo>
                    <a:lnTo>
                      <a:pt x="1373" y="1660"/>
                    </a:lnTo>
                    <a:lnTo>
                      <a:pt x="1375" y="1662"/>
                    </a:lnTo>
                    <a:lnTo>
                      <a:pt x="1373" y="1662"/>
                    </a:lnTo>
                    <a:lnTo>
                      <a:pt x="1373" y="1663"/>
                    </a:lnTo>
                    <a:lnTo>
                      <a:pt x="1372" y="1662"/>
                    </a:lnTo>
                    <a:lnTo>
                      <a:pt x="1370" y="1662"/>
                    </a:lnTo>
                    <a:lnTo>
                      <a:pt x="1370" y="1660"/>
                    </a:lnTo>
                    <a:lnTo>
                      <a:pt x="1368" y="1660"/>
                    </a:lnTo>
                    <a:lnTo>
                      <a:pt x="1368" y="1658"/>
                    </a:lnTo>
                    <a:lnTo>
                      <a:pt x="1366" y="1658"/>
                    </a:lnTo>
                    <a:lnTo>
                      <a:pt x="1368" y="1658"/>
                    </a:lnTo>
                    <a:lnTo>
                      <a:pt x="1368" y="1657"/>
                    </a:lnTo>
                    <a:lnTo>
                      <a:pt x="1370" y="1655"/>
                    </a:lnTo>
                    <a:lnTo>
                      <a:pt x="1372" y="1655"/>
                    </a:lnTo>
                    <a:lnTo>
                      <a:pt x="1373" y="1655"/>
                    </a:lnTo>
                    <a:lnTo>
                      <a:pt x="1373" y="1657"/>
                    </a:lnTo>
                    <a:lnTo>
                      <a:pt x="1373" y="1655"/>
                    </a:lnTo>
                    <a:lnTo>
                      <a:pt x="1372" y="1655"/>
                    </a:lnTo>
                    <a:lnTo>
                      <a:pt x="1370" y="1655"/>
                    </a:lnTo>
                    <a:lnTo>
                      <a:pt x="1368" y="1657"/>
                    </a:lnTo>
                    <a:lnTo>
                      <a:pt x="1366" y="1657"/>
                    </a:lnTo>
                    <a:lnTo>
                      <a:pt x="1368" y="1655"/>
                    </a:lnTo>
                    <a:lnTo>
                      <a:pt x="1368" y="1653"/>
                    </a:lnTo>
                    <a:lnTo>
                      <a:pt x="1370" y="1653"/>
                    </a:lnTo>
                    <a:lnTo>
                      <a:pt x="1368" y="1653"/>
                    </a:lnTo>
                    <a:lnTo>
                      <a:pt x="1370" y="1653"/>
                    </a:lnTo>
                    <a:lnTo>
                      <a:pt x="1370" y="1652"/>
                    </a:lnTo>
                    <a:lnTo>
                      <a:pt x="1370" y="1650"/>
                    </a:lnTo>
                    <a:lnTo>
                      <a:pt x="1370" y="1648"/>
                    </a:lnTo>
                    <a:lnTo>
                      <a:pt x="1372" y="1648"/>
                    </a:lnTo>
                    <a:lnTo>
                      <a:pt x="1372" y="1646"/>
                    </a:lnTo>
                    <a:lnTo>
                      <a:pt x="1370" y="1646"/>
                    </a:lnTo>
                    <a:lnTo>
                      <a:pt x="1372" y="1645"/>
                    </a:lnTo>
                    <a:lnTo>
                      <a:pt x="1373" y="1643"/>
                    </a:lnTo>
                    <a:lnTo>
                      <a:pt x="1372" y="1643"/>
                    </a:lnTo>
                    <a:lnTo>
                      <a:pt x="1372" y="1645"/>
                    </a:lnTo>
                    <a:lnTo>
                      <a:pt x="1370" y="1645"/>
                    </a:lnTo>
                    <a:lnTo>
                      <a:pt x="1370" y="1646"/>
                    </a:lnTo>
                    <a:lnTo>
                      <a:pt x="1370" y="1645"/>
                    </a:lnTo>
                    <a:lnTo>
                      <a:pt x="1368" y="1646"/>
                    </a:lnTo>
                    <a:lnTo>
                      <a:pt x="1368" y="1645"/>
                    </a:lnTo>
                    <a:lnTo>
                      <a:pt x="1368" y="1646"/>
                    </a:lnTo>
                    <a:lnTo>
                      <a:pt x="1366" y="1646"/>
                    </a:lnTo>
                    <a:lnTo>
                      <a:pt x="1368" y="1646"/>
                    </a:lnTo>
                    <a:lnTo>
                      <a:pt x="1366" y="1648"/>
                    </a:lnTo>
                    <a:lnTo>
                      <a:pt x="1366" y="1650"/>
                    </a:lnTo>
                    <a:lnTo>
                      <a:pt x="1366" y="1648"/>
                    </a:lnTo>
                    <a:lnTo>
                      <a:pt x="1365" y="1650"/>
                    </a:lnTo>
                    <a:lnTo>
                      <a:pt x="1365" y="1648"/>
                    </a:lnTo>
                    <a:lnTo>
                      <a:pt x="1363" y="1648"/>
                    </a:lnTo>
                    <a:lnTo>
                      <a:pt x="1363" y="1646"/>
                    </a:lnTo>
                    <a:lnTo>
                      <a:pt x="1361" y="1645"/>
                    </a:lnTo>
                    <a:lnTo>
                      <a:pt x="1361" y="1643"/>
                    </a:lnTo>
                    <a:lnTo>
                      <a:pt x="1361" y="1645"/>
                    </a:lnTo>
                    <a:lnTo>
                      <a:pt x="1361" y="1646"/>
                    </a:lnTo>
                    <a:lnTo>
                      <a:pt x="1363" y="1648"/>
                    </a:lnTo>
                    <a:lnTo>
                      <a:pt x="1361" y="1648"/>
                    </a:lnTo>
                    <a:lnTo>
                      <a:pt x="1360" y="1646"/>
                    </a:lnTo>
                    <a:lnTo>
                      <a:pt x="1360" y="1648"/>
                    </a:lnTo>
                    <a:lnTo>
                      <a:pt x="1360" y="1646"/>
                    </a:lnTo>
                    <a:lnTo>
                      <a:pt x="1358" y="1646"/>
                    </a:lnTo>
                    <a:lnTo>
                      <a:pt x="1360" y="1646"/>
                    </a:lnTo>
                    <a:lnTo>
                      <a:pt x="1358" y="1646"/>
                    </a:lnTo>
                    <a:lnTo>
                      <a:pt x="1358" y="1645"/>
                    </a:lnTo>
                    <a:lnTo>
                      <a:pt x="1358" y="1643"/>
                    </a:lnTo>
                    <a:lnTo>
                      <a:pt x="1356" y="1645"/>
                    </a:lnTo>
                    <a:lnTo>
                      <a:pt x="1356" y="1646"/>
                    </a:lnTo>
                    <a:lnTo>
                      <a:pt x="1358" y="1646"/>
                    </a:lnTo>
                    <a:lnTo>
                      <a:pt x="1358" y="1648"/>
                    </a:lnTo>
                    <a:lnTo>
                      <a:pt x="1356" y="1648"/>
                    </a:lnTo>
                    <a:lnTo>
                      <a:pt x="1356" y="1646"/>
                    </a:lnTo>
                    <a:lnTo>
                      <a:pt x="1356" y="1648"/>
                    </a:lnTo>
                    <a:lnTo>
                      <a:pt x="1355" y="1646"/>
                    </a:lnTo>
                    <a:lnTo>
                      <a:pt x="1355" y="1648"/>
                    </a:lnTo>
                    <a:lnTo>
                      <a:pt x="1356" y="1648"/>
                    </a:lnTo>
                    <a:lnTo>
                      <a:pt x="1358" y="1648"/>
                    </a:lnTo>
                    <a:lnTo>
                      <a:pt x="1358" y="1650"/>
                    </a:lnTo>
                    <a:lnTo>
                      <a:pt x="1356" y="1650"/>
                    </a:lnTo>
                    <a:lnTo>
                      <a:pt x="1356" y="1652"/>
                    </a:lnTo>
                    <a:lnTo>
                      <a:pt x="1355" y="1650"/>
                    </a:lnTo>
                    <a:lnTo>
                      <a:pt x="1353" y="1650"/>
                    </a:lnTo>
                    <a:lnTo>
                      <a:pt x="1355" y="1650"/>
                    </a:lnTo>
                    <a:lnTo>
                      <a:pt x="1353" y="1650"/>
                    </a:lnTo>
                    <a:lnTo>
                      <a:pt x="1351" y="1650"/>
                    </a:lnTo>
                    <a:lnTo>
                      <a:pt x="1353" y="1650"/>
                    </a:lnTo>
                    <a:lnTo>
                      <a:pt x="1351" y="1648"/>
                    </a:lnTo>
                    <a:lnTo>
                      <a:pt x="1351" y="1650"/>
                    </a:lnTo>
                    <a:lnTo>
                      <a:pt x="1351" y="1652"/>
                    </a:lnTo>
                    <a:lnTo>
                      <a:pt x="1351" y="1650"/>
                    </a:lnTo>
                    <a:lnTo>
                      <a:pt x="1353" y="1650"/>
                    </a:lnTo>
                    <a:lnTo>
                      <a:pt x="1355" y="1652"/>
                    </a:lnTo>
                    <a:lnTo>
                      <a:pt x="1356" y="1652"/>
                    </a:lnTo>
                    <a:lnTo>
                      <a:pt x="1355" y="1652"/>
                    </a:lnTo>
                    <a:lnTo>
                      <a:pt x="1355" y="1653"/>
                    </a:lnTo>
                    <a:lnTo>
                      <a:pt x="1356" y="1653"/>
                    </a:lnTo>
                    <a:lnTo>
                      <a:pt x="1356" y="1655"/>
                    </a:lnTo>
                    <a:lnTo>
                      <a:pt x="1356" y="1657"/>
                    </a:lnTo>
                    <a:lnTo>
                      <a:pt x="1358" y="1655"/>
                    </a:lnTo>
                    <a:lnTo>
                      <a:pt x="1358" y="1657"/>
                    </a:lnTo>
                    <a:lnTo>
                      <a:pt x="1360" y="1658"/>
                    </a:lnTo>
                    <a:lnTo>
                      <a:pt x="1358" y="1658"/>
                    </a:lnTo>
                    <a:lnTo>
                      <a:pt x="1356" y="1658"/>
                    </a:lnTo>
                    <a:lnTo>
                      <a:pt x="1356" y="1660"/>
                    </a:lnTo>
                    <a:lnTo>
                      <a:pt x="1358" y="1658"/>
                    </a:lnTo>
                    <a:lnTo>
                      <a:pt x="1358" y="1660"/>
                    </a:lnTo>
                    <a:lnTo>
                      <a:pt x="1356" y="1660"/>
                    </a:lnTo>
                    <a:lnTo>
                      <a:pt x="1358" y="1660"/>
                    </a:lnTo>
                    <a:lnTo>
                      <a:pt x="1360" y="1660"/>
                    </a:lnTo>
                    <a:lnTo>
                      <a:pt x="1358" y="1662"/>
                    </a:lnTo>
                    <a:lnTo>
                      <a:pt x="1360" y="1660"/>
                    </a:lnTo>
                    <a:lnTo>
                      <a:pt x="1360" y="1662"/>
                    </a:lnTo>
                    <a:lnTo>
                      <a:pt x="1360" y="1660"/>
                    </a:lnTo>
                    <a:lnTo>
                      <a:pt x="1361" y="1660"/>
                    </a:lnTo>
                    <a:lnTo>
                      <a:pt x="1363" y="1660"/>
                    </a:lnTo>
                    <a:lnTo>
                      <a:pt x="1363" y="1662"/>
                    </a:lnTo>
                    <a:lnTo>
                      <a:pt x="1361" y="1660"/>
                    </a:lnTo>
                    <a:lnTo>
                      <a:pt x="1360" y="1660"/>
                    </a:lnTo>
                    <a:lnTo>
                      <a:pt x="1361" y="1662"/>
                    </a:lnTo>
                    <a:lnTo>
                      <a:pt x="1360" y="1662"/>
                    </a:lnTo>
                    <a:lnTo>
                      <a:pt x="1361" y="1662"/>
                    </a:lnTo>
                    <a:lnTo>
                      <a:pt x="1363" y="1662"/>
                    </a:lnTo>
                    <a:lnTo>
                      <a:pt x="1361" y="1663"/>
                    </a:lnTo>
                    <a:lnTo>
                      <a:pt x="1360" y="1663"/>
                    </a:lnTo>
                    <a:lnTo>
                      <a:pt x="1360" y="1662"/>
                    </a:lnTo>
                    <a:lnTo>
                      <a:pt x="1360" y="1663"/>
                    </a:lnTo>
                    <a:lnTo>
                      <a:pt x="1360" y="1662"/>
                    </a:lnTo>
                    <a:lnTo>
                      <a:pt x="1358" y="1662"/>
                    </a:lnTo>
                    <a:lnTo>
                      <a:pt x="1358" y="1663"/>
                    </a:lnTo>
                    <a:lnTo>
                      <a:pt x="1356" y="1663"/>
                    </a:lnTo>
                    <a:lnTo>
                      <a:pt x="1355" y="1663"/>
                    </a:lnTo>
                    <a:lnTo>
                      <a:pt x="1355" y="1662"/>
                    </a:lnTo>
                    <a:lnTo>
                      <a:pt x="1355" y="1660"/>
                    </a:lnTo>
                    <a:lnTo>
                      <a:pt x="1355" y="1658"/>
                    </a:lnTo>
                    <a:lnTo>
                      <a:pt x="1355" y="1660"/>
                    </a:lnTo>
                    <a:lnTo>
                      <a:pt x="1353" y="1660"/>
                    </a:lnTo>
                    <a:lnTo>
                      <a:pt x="1355" y="1660"/>
                    </a:lnTo>
                    <a:lnTo>
                      <a:pt x="1355" y="1662"/>
                    </a:lnTo>
                    <a:lnTo>
                      <a:pt x="1353" y="1662"/>
                    </a:lnTo>
                    <a:lnTo>
                      <a:pt x="1355" y="1662"/>
                    </a:lnTo>
                    <a:lnTo>
                      <a:pt x="1353" y="1662"/>
                    </a:lnTo>
                    <a:lnTo>
                      <a:pt x="1353" y="1663"/>
                    </a:lnTo>
                    <a:lnTo>
                      <a:pt x="1353" y="1665"/>
                    </a:lnTo>
                    <a:lnTo>
                      <a:pt x="1351" y="1663"/>
                    </a:lnTo>
                    <a:lnTo>
                      <a:pt x="1353" y="1662"/>
                    </a:lnTo>
                    <a:lnTo>
                      <a:pt x="1351" y="1660"/>
                    </a:lnTo>
                    <a:lnTo>
                      <a:pt x="1351" y="1658"/>
                    </a:lnTo>
                    <a:lnTo>
                      <a:pt x="1349" y="1658"/>
                    </a:lnTo>
                    <a:lnTo>
                      <a:pt x="1349" y="1657"/>
                    </a:lnTo>
                    <a:lnTo>
                      <a:pt x="1351" y="1657"/>
                    </a:lnTo>
                    <a:lnTo>
                      <a:pt x="1353" y="1657"/>
                    </a:lnTo>
                    <a:lnTo>
                      <a:pt x="1351" y="1657"/>
                    </a:lnTo>
                    <a:lnTo>
                      <a:pt x="1349" y="1657"/>
                    </a:lnTo>
                    <a:lnTo>
                      <a:pt x="1349" y="1655"/>
                    </a:lnTo>
                    <a:lnTo>
                      <a:pt x="1351" y="1655"/>
                    </a:lnTo>
                    <a:lnTo>
                      <a:pt x="1349" y="1655"/>
                    </a:lnTo>
                    <a:lnTo>
                      <a:pt x="1348" y="1657"/>
                    </a:lnTo>
                    <a:lnTo>
                      <a:pt x="1346" y="1657"/>
                    </a:lnTo>
                    <a:lnTo>
                      <a:pt x="1344" y="1657"/>
                    </a:lnTo>
                    <a:lnTo>
                      <a:pt x="1344" y="1655"/>
                    </a:lnTo>
                    <a:lnTo>
                      <a:pt x="1346" y="1655"/>
                    </a:lnTo>
                    <a:lnTo>
                      <a:pt x="1348" y="1653"/>
                    </a:lnTo>
                    <a:lnTo>
                      <a:pt x="1346" y="1655"/>
                    </a:lnTo>
                    <a:lnTo>
                      <a:pt x="1346" y="1653"/>
                    </a:lnTo>
                    <a:lnTo>
                      <a:pt x="1344" y="1653"/>
                    </a:lnTo>
                    <a:lnTo>
                      <a:pt x="1344" y="1655"/>
                    </a:lnTo>
                    <a:lnTo>
                      <a:pt x="1343" y="1655"/>
                    </a:lnTo>
                    <a:lnTo>
                      <a:pt x="1343" y="1653"/>
                    </a:lnTo>
                    <a:lnTo>
                      <a:pt x="1344" y="1653"/>
                    </a:lnTo>
                    <a:lnTo>
                      <a:pt x="1344" y="1652"/>
                    </a:lnTo>
                    <a:lnTo>
                      <a:pt x="1343" y="1653"/>
                    </a:lnTo>
                    <a:lnTo>
                      <a:pt x="1341" y="1653"/>
                    </a:lnTo>
                    <a:lnTo>
                      <a:pt x="1339" y="1653"/>
                    </a:lnTo>
                    <a:lnTo>
                      <a:pt x="1338" y="1653"/>
                    </a:lnTo>
                    <a:lnTo>
                      <a:pt x="1339" y="1653"/>
                    </a:lnTo>
                    <a:lnTo>
                      <a:pt x="1339" y="1652"/>
                    </a:lnTo>
                    <a:lnTo>
                      <a:pt x="1341" y="1652"/>
                    </a:lnTo>
                    <a:lnTo>
                      <a:pt x="1339" y="1650"/>
                    </a:lnTo>
                    <a:lnTo>
                      <a:pt x="1341" y="1650"/>
                    </a:lnTo>
                    <a:lnTo>
                      <a:pt x="1343" y="1650"/>
                    </a:lnTo>
                    <a:lnTo>
                      <a:pt x="1344" y="1650"/>
                    </a:lnTo>
                    <a:lnTo>
                      <a:pt x="1346" y="1650"/>
                    </a:lnTo>
                    <a:lnTo>
                      <a:pt x="1348" y="1650"/>
                    </a:lnTo>
                    <a:lnTo>
                      <a:pt x="1346" y="1650"/>
                    </a:lnTo>
                    <a:lnTo>
                      <a:pt x="1344" y="1650"/>
                    </a:lnTo>
                    <a:lnTo>
                      <a:pt x="1343" y="1650"/>
                    </a:lnTo>
                    <a:lnTo>
                      <a:pt x="1344" y="1650"/>
                    </a:lnTo>
                    <a:lnTo>
                      <a:pt x="1344" y="1648"/>
                    </a:lnTo>
                    <a:lnTo>
                      <a:pt x="1343" y="1650"/>
                    </a:lnTo>
                    <a:lnTo>
                      <a:pt x="1343" y="1648"/>
                    </a:lnTo>
                    <a:lnTo>
                      <a:pt x="1344" y="1646"/>
                    </a:lnTo>
                    <a:lnTo>
                      <a:pt x="1346" y="1646"/>
                    </a:lnTo>
                    <a:lnTo>
                      <a:pt x="1348" y="1646"/>
                    </a:lnTo>
                    <a:lnTo>
                      <a:pt x="1348" y="1645"/>
                    </a:lnTo>
                    <a:lnTo>
                      <a:pt x="1349" y="1645"/>
                    </a:lnTo>
                    <a:lnTo>
                      <a:pt x="1349" y="1643"/>
                    </a:lnTo>
                    <a:lnTo>
                      <a:pt x="1348" y="1645"/>
                    </a:lnTo>
                    <a:lnTo>
                      <a:pt x="1346" y="1645"/>
                    </a:lnTo>
                    <a:lnTo>
                      <a:pt x="1344" y="1646"/>
                    </a:lnTo>
                    <a:lnTo>
                      <a:pt x="1343" y="1646"/>
                    </a:lnTo>
                    <a:lnTo>
                      <a:pt x="1343" y="1648"/>
                    </a:lnTo>
                    <a:lnTo>
                      <a:pt x="1341" y="1648"/>
                    </a:lnTo>
                    <a:lnTo>
                      <a:pt x="1339" y="1648"/>
                    </a:lnTo>
                    <a:lnTo>
                      <a:pt x="1339" y="1650"/>
                    </a:lnTo>
                    <a:lnTo>
                      <a:pt x="1338" y="1650"/>
                    </a:lnTo>
                    <a:lnTo>
                      <a:pt x="1336" y="1650"/>
                    </a:lnTo>
                    <a:lnTo>
                      <a:pt x="1334" y="1650"/>
                    </a:lnTo>
                    <a:lnTo>
                      <a:pt x="1336" y="1648"/>
                    </a:lnTo>
                    <a:lnTo>
                      <a:pt x="1334" y="1648"/>
                    </a:lnTo>
                    <a:lnTo>
                      <a:pt x="1332" y="1648"/>
                    </a:lnTo>
                    <a:lnTo>
                      <a:pt x="1332" y="1646"/>
                    </a:lnTo>
                    <a:lnTo>
                      <a:pt x="1334" y="1648"/>
                    </a:lnTo>
                    <a:lnTo>
                      <a:pt x="1336" y="1646"/>
                    </a:lnTo>
                    <a:lnTo>
                      <a:pt x="1334" y="1645"/>
                    </a:lnTo>
                    <a:lnTo>
                      <a:pt x="1332" y="1645"/>
                    </a:lnTo>
                    <a:lnTo>
                      <a:pt x="1331" y="1645"/>
                    </a:lnTo>
                    <a:lnTo>
                      <a:pt x="1332" y="1645"/>
                    </a:lnTo>
                    <a:lnTo>
                      <a:pt x="1334" y="1645"/>
                    </a:lnTo>
                    <a:lnTo>
                      <a:pt x="1336" y="1645"/>
                    </a:lnTo>
                    <a:lnTo>
                      <a:pt x="1338" y="1645"/>
                    </a:lnTo>
                    <a:lnTo>
                      <a:pt x="1336" y="1643"/>
                    </a:lnTo>
                    <a:lnTo>
                      <a:pt x="1336" y="1645"/>
                    </a:lnTo>
                    <a:lnTo>
                      <a:pt x="1334" y="1645"/>
                    </a:lnTo>
                    <a:lnTo>
                      <a:pt x="1332" y="1643"/>
                    </a:lnTo>
                    <a:lnTo>
                      <a:pt x="1334" y="1643"/>
                    </a:lnTo>
                    <a:lnTo>
                      <a:pt x="1332" y="1643"/>
                    </a:lnTo>
                    <a:lnTo>
                      <a:pt x="1331" y="1643"/>
                    </a:lnTo>
                    <a:lnTo>
                      <a:pt x="1331" y="1641"/>
                    </a:lnTo>
                    <a:lnTo>
                      <a:pt x="1331" y="1640"/>
                    </a:lnTo>
                    <a:lnTo>
                      <a:pt x="1332" y="1640"/>
                    </a:lnTo>
                    <a:lnTo>
                      <a:pt x="1332" y="1641"/>
                    </a:lnTo>
                    <a:lnTo>
                      <a:pt x="1334" y="1641"/>
                    </a:lnTo>
                    <a:lnTo>
                      <a:pt x="1332" y="1641"/>
                    </a:lnTo>
                    <a:lnTo>
                      <a:pt x="1332" y="1640"/>
                    </a:lnTo>
                    <a:lnTo>
                      <a:pt x="1334" y="1640"/>
                    </a:lnTo>
                    <a:lnTo>
                      <a:pt x="1334" y="1638"/>
                    </a:lnTo>
                    <a:lnTo>
                      <a:pt x="1336" y="1638"/>
                    </a:lnTo>
                    <a:lnTo>
                      <a:pt x="1338" y="1638"/>
                    </a:lnTo>
                    <a:lnTo>
                      <a:pt x="1339" y="1638"/>
                    </a:lnTo>
                    <a:lnTo>
                      <a:pt x="1339" y="1636"/>
                    </a:lnTo>
                    <a:lnTo>
                      <a:pt x="1341" y="1636"/>
                    </a:lnTo>
                    <a:lnTo>
                      <a:pt x="1343" y="1636"/>
                    </a:lnTo>
                    <a:lnTo>
                      <a:pt x="1343" y="1638"/>
                    </a:lnTo>
                    <a:lnTo>
                      <a:pt x="1343" y="1636"/>
                    </a:lnTo>
                    <a:lnTo>
                      <a:pt x="1344" y="1636"/>
                    </a:lnTo>
                    <a:lnTo>
                      <a:pt x="1346" y="1636"/>
                    </a:lnTo>
                    <a:lnTo>
                      <a:pt x="1346" y="1638"/>
                    </a:lnTo>
                    <a:lnTo>
                      <a:pt x="1346" y="1640"/>
                    </a:lnTo>
                    <a:lnTo>
                      <a:pt x="1348" y="1640"/>
                    </a:lnTo>
                    <a:lnTo>
                      <a:pt x="1346" y="1640"/>
                    </a:lnTo>
                    <a:lnTo>
                      <a:pt x="1348" y="1641"/>
                    </a:lnTo>
                    <a:lnTo>
                      <a:pt x="1348" y="1643"/>
                    </a:lnTo>
                    <a:lnTo>
                      <a:pt x="1346" y="1643"/>
                    </a:lnTo>
                    <a:lnTo>
                      <a:pt x="1348" y="1641"/>
                    </a:lnTo>
                    <a:lnTo>
                      <a:pt x="1348" y="1640"/>
                    </a:lnTo>
                    <a:lnTo>
                      <a:pt x="1348" y="1638"/>
                    </a:lnTo>
                    <a:lnTo>
                      <a:pt x="1346" y="1638"/>
                    </a:lnTo>
                    <a:lnTo>
                      <a:pt x="1348" y="1638"/>
                    </a:lnTo>
                    <a:lnTo>
                      <a:pt x="1346" y="1636"/>
                    </a:lnTo>
                    <a:lnTo>
                      <a:pt x="1346" y="1635"/>
                    </a:lnTo>
                    <a:lnTo>
                      <a:pt x="1348" y="1635"/>
                    </a:lnTo>
                    <a:lnTo>
                      <a:pt x="1349" y="1635"/>
                    </a:lnTo>
                    <a:lnTo>
                      <a:pt x="1351" y="1635"/>
                    </a:lnTo>
                    <a:lnTo>
                      <a:pt x="1351" y="1636"/>
                    </a:lnTo>
                    <a:lnTo>
                      <a:pt x="1349" y="1636"/>
                    </a:lnTo>
                    <a:lnTo>
                      <a:pt x="1351" y="1636"/>
                    </a:lnTo>
                    <a:lnTo>
                      <a:pt x="1353" y="1636"/>
                    </a:lnTo>
                    <a:lnTo>
                      <a:pt x="1355" y="1636"/>
                    </a:lnTo>
                    <a:lnTo>
                      <a:pt x="1353" y="1636"/>
                    </a:lnTo>
                    <a:lnTo>
                      <a:pt x="1353" y="1635"/>
                    </a:lnTo>
                    <a:lnTo>
                      <a:pt x="1353" y="1633"/>
                    </a:lnTo>
                    <a:lnTo>
                      <a:pt x="1355" y="1633"/>
                    </a:lnTo>
                    <a:lnTo>
                      <a:pt x="1356" y="1633"/>
                    </a:lnTo>
                    <a:lnTo>
                      <a:pt x="1358" y="1633"/>
                    </a:lnTo>
                    <a:lnTo>
                      <a:pt x="1358" y="1635"/>
                    </a:lnTo>
                    <a:lnTo>
                      <a:pt x="1360" y="1635"/>
                    </a:lnTo>
                    <a:lnTo>
                      <a:pt x="1358" y="1635"/>
                    </a:lnTo>
                    <a:lnTo>
                      <a:pt x="1358" y="1633"/>
                    </a:lnTo>
                    <a:lnTo>
                      <a:pt x="1360" y="1633"/>
                    </a:lnTo>
                    <a:lnTo>
                      <a:pt x="1361" y="1631"/>
                    </a:lnTo>
                    <a:lnTo>
                      <a:pt x="1361" y="1633"/>
                    </a:lnTo>
                    <a:lnTo>
                      <a:pt x="1363" y="1631"/>
                    </a:lnTo>
                    <a:lnTo>
                      <a:pt x="1363" y="1633"/>
                    </a:lnTo>
                    <a:lnTo>
                      <a:pt x="1365" y="1633"/>
                    </a:lnTo>
                    <a:lnTo>
                      <a:pt x="1365" y="1631"/>
                    </a:lnTo>
                    <a:lnTo>
                      <a:pt x="1366" y="1631"/>
                    </a:lnTo>
                    <a:lnTo>
                      <a:pt x="1368" y="1631"/>
                    </a:lnTo>
                    <a:lnTo>
                      <a:pt x="1370" y="1631"/>
                    </a:lnTo>
                    <a:lnTo>
                      <a:pt x="1372" y="1631"/>
                    </a:lnTo>
                    <a:lnTo>
                      <a:pt x="1373" y="1631"/>
                    </a:lnTo>
                    <a:lnTo>
                      <a:pt x="1373" y="1629"/>
                    </a:lnTo>
                    <a:lnTo>
                      <a:pt x="1375" y="1629"/>
                    </a:lnTo>
                    <a:lnTo>
                      <a:pt x="1377" y="1629"/>
                    </a:lnTo>
                    <a:lnTo>
                      <a:pt x="1378" y="1629"/>
                    </a:lnTo>
                    <a:lnTo>
                      <a:pt x="1380" y="1628"/>
                    </a:lnTo>
                    <a:lnTo>
                      <a:pt x="1382" y="1628"/>
                    </a:lnTo>
                    <a:close/>
                    <a:moveTo>
                      <a:pt x="1229" y="1539"/>
                    </a:moveTo>
                    <a:lnTo>
                      <a:pt x="1230" y="1539"/>
                    </a:lnTo>
                    <a:lnTo>
                      <a:pt x="1229" y="1541"/>
                    </a:lnTo>
                    <a:lnTo>
                      <a:pt x="1229" y="1543"/>
                    </a:lnTo>
                    <a:lnTo>
                      <a:pt x="1229" y="1541"/>
                    </a:lnTo>
                    <a:lnTo>
                      <a:pt x="1230" y="1541"/>
                    </a:lnTo>
                    <a:lnTo>
                      <a:pt x="1230" y="1543"/>
                    </a:lnTo>
                    <a:lnTo>
                      <a:pt x="1229" y="1544"/>
                    </a:lnTo>
                    <a:lnTo>
                      <a:pt x="1230" y="1544"/>
                    </a:lnTo>
                    <a:lnTo>
                      <a:pt x="1230" y="1546"/>
                    </a:lnTo>
                    <a:lnTo>
                      <a:pt x="1230" y="1544"/>
                    </a:lnTo>
                    <a:lnTo>
                      <a:pt x="1230" y="1543"/>
                    </a:lnTo>
                    <a:lnTo>
                      <a:pt x="1230" y="1541"/>
                    </a:lnTo>
                    <a:lnTo>
                      <a:pt x="1230" y="1539"/>
                    </a:lnTo>
                    <a:lnTo>
                      <a:pt x="1230" y="1541"/>
                    </a:lnTo>
                    <a:lnTo>
                      <a:pt x="1232" y="1541"/>
                    </a:lnTo>
                    <a:lnTo>
                      <a:pt x="1232" y="1543"/>
                    </a:lnTo>
                    <a:lnTo>
                      <a:pt x="1232" y="1541"/>
                    </a:lnTo>
                    <a:lnTo>
                      <a:pt x="1234" y="1543"/>
                    </a:lnTo>
                    <a:lnTo>
                      <a:pt x="1232" y="1543"/>
                    </a:lnTo>
                    <a:lnTo>
                      <a:pt x="1234" y="1543"/>
                    </a:lnTo>
                    <a:lnTo>
                      <a:pt x="1234" y="1544"/>
                    </a:lnTo>
                    <a:lnTo>
                      <a:pt x="1232" y="1544"/>
                    </a:lnTo>
                    <a:lnTo>
                      <a:pt x="1232" y="1546"/>
                    </a:lnTo>
                    <a:lnTo>
                      <a:pt x="1232" y="1548"/>
                    </a:lnTo>
                    <a:lnTo>
                      <a:pt x="1234" y="1546"/>
                    </a:lnTo>
                    <a:lnTo>
                      <a:pt x="1232" y="1546"/>
                    </a:lnTo>
                    <a:lnTo>
                      <a:pt x="1234" y="1544"/>
                    </a:lnTo>
                    <a:lnTo>
                      <a:pt x="1234" y="1546"/>
                    </a:lnTo>
                    <a:lnTo>
                      <a:pt x="1236" y="1546"/>
                    </a:lnTo>
                    <a:lnTo>
                      <a:pt x="1234" y="1548"/>
                    </a:lnTo>
                    <a:lnTo>
                      <a:pt x="1232" y="1548"/>
                    </a:lnTo>
                    <a:lnTo>
                      <a:pt x="1234" y="1548"/>
                    </a:lnTo>
                    <a:lnTo>
                      <a:pt x="1236" y="1548"/>
                    </a:lnTo>
                    <a:lnTo>
                      <a:pt x="1234" y="1548"/>
                    </a:lnTo>
                    <a:lnTo>
                      <a:pt x="1234" y="1549"/>
                    </a:lnTo>
                    <a:lnTo>
                      <a:pt x="1236" y="1549"/>
                    </a:lnTo>
                    <a:lnTo>
                      <a:pt x="1234" y="1551"/>
                    </a:lnTo>
                    <a:lnTo>
                      <a:pt x="1234" y="1553"/>
                    </a:lnTo>
                    <a:lnTo>
                      <a:pt x="1234" y="1555"/>
                    </a:lnTo>
                    <a:lnTo>
                      <a:pt x="1236" y="1555"/>
                    </a:lnTo>
                    <a:lnTo>
                      <a:pt x="1236" y="1553"/>
                    </a:lnTo>
                    <a:lnTo>
                      <a:pt x="1234" y="1553"/>
                    </a:lnTo>
                    <a:lnTo>
                      <a:pt x="1236" y="1551"/>
                    </a:lnTo>
                    <a:lnTo>
                      <a:pt x="1236" y="1549"/>
                    </a:lnTo>
                    <a:lnTo>
                      <a:pt x="1237" y="1549"/>
                    </a:lnTo>
                    <a:lnTo>
                      <a:pt x="1236" y="1548"/>
                    </a:lnTo>
                    <a:lnTo>
                      <a:pt x="1236" y="1546"/>
                    </a:lnTo>
                    <a:lnTo>
                      <a:pt x="1236" y="1544"/>
                    </a:lnTo>
                    <a:lnTo>
                      <a:pt x="1234" y="1543"/>
                    </a:lnTo>
                    <a:lnTo>
                      <a:pt x="1236" y="1543"/>
                    </a:lnTo>
                    <a:lnTo>
                      <a:pt x="1237" y="1544"/>
                    </a:lnTo>
                    <a:lnTo>
                      <a:pt x="1237" y="1546"/>
                    </a:lnTo>
                    <a:lnTo>
                      <a:pt x="1239" y="1546"/>
                    </a:lnTo>
                    <a:lnTo>
                      <a:pt x="1239" y="1548"/>
                    </a:lnTo>
                    <a:lnTo>
                      <a:pt x="1239" y="1549"/>
                    </a:lnTo>
                    <a:lnTo>
                      <a:pt x="1241" y="1551"/>
                    </a:lnTo>
                    <a:lnTo>
                      <a:pt x="1239" y="1551"/>
                    </a:lnTo>
                    <a:lnTo>
                      <a:pt x="1239" y="1553"/>
                    </a:lnTo>
                    <a:lnTo>
                      <a:pt x="1241" y="1551"/>
                    </a:lnTo>
                    <a:lnTo>
                      <a:pt x="1241" y="1553"/>
                    </a:lnTo>
                    <a:lnTo>
                      <a:pt x="1241" y="1555"/>
                    </a:lnTo>
                    <a:lnTo>
                      <a:pt x="1242" y="1553"/>
                    </a:lnTo>
                    <a:lnTo>
                      <a:pt x="1242" y="1551"/>
                    </a:lnTo>
                    <a:lnTo>
                      <a:pt x="1242" y="1549"/>
                    </a:lnTo>
                    <a:lnTo>
                      <a:pt x="1241" y="1549"/>
                    </a:lnTo>
                    <a:lnTo>
                      <a:pt x="1241" y="1548"/>
                    </a:lnTo>
                    <a:lnTo>
                      <a:pt x="1242" y="1548"/>
                    </a:lnTo>
                    <a:lnTo>
                      <a:pt x="1242" y="1549"/>
                    </a:lnTo>
                    <a:lnTo>
                      <a:pt x="1242" y="1548"/>
                    </a:lnTo>
                    <a:lnTo>
                      <a:pt x="1244" y="1549"/>
                    </a:lnTo>
                    <a:lnTo>
                      <a:pt x="1246" y="1549"/>
                    </a:lnTo>
                    <a:lnTo>
                      <a:pt x="1247" y="1549"/>
                    </a:lnTo>
                    <a:lnTo>
                      <a:pt x="1247" y="1551"/>
                    </a:lnTo>
                    <a:lnTo>
                      <a:pt x="1249" y="1551"/>
                    </a:lnTo>
                    <a:lnTo>
                      <a:pt x="1247" y="1553"/>
                    </a:lnTo>
                    <a:lnTo>
                      <a:pt x="1249" y="1553"/>
                    </a:lnTo>
                    <a:lnTo>
                      <a:pt x="1249" y="1551"/>
                    </a:lnTo>
                    <a:lnTo>
                      <a:pt x="1249" y="1553"/>
                    </a:lnTo>
                    <a:lnTo>
                      <a:pt x="1251" y="1553"/>
                    </a:lnTo>
                    <a:lnTo>
                      <a:pt x="1249" y="1555"/>
                    </a:lnTo>
                    <a:lnTo>
                      <a:pt x="1247" y="1555"/>
                    </a:lnTo>
                    <a:lnTo>
                      <a:pt x="1246" y="1555"/>
                    </a:lnTo>
                    <a:lnTo>
                      <a:pt x="1244" y="1555"/>
                    </a:lnTo>
                    <a:lnTo>
                      <a:pt x="1242" y="1555"/>
                    </a:lnTo>
                    <a:lnTo>
                      <a:pt x="1242" y="1556"/>
                    </a:lnTo>
                    <a:lnTo>
                      <a:pt x="1242" y="1558"/>
                    </a:lnTo>
                    <a:lnTo>
                      <a:pt x="1244" y="1558"/>
                    </a:lnTo>
                    <a:lnTo>
                      <a:pt x="1242" y="1558"/>
                    </a:lnTo>
                    <a:lnTo>
                      <a:pt x="1244" y="1558"/>
                    </a:lnTo>
                    <a:lnTo>
                      <a:pt x="1246" y="1558"/>
                    </a:lnTo>
                    <a:lnTo>
                      <a:pt x="1244" y="1558"/>
                    </a:lnTo>
                    <a:lnTo>
                      <a:pt x="1242" y="1558"/>
                    </a:lnTo>
                    <a:lnTo>
                      <a:pt x="1244" y="1556"/>
                    </a:lnTo>
                    <a:lnTo>
                      <a:pt x="1246" y="1556"/>
                    </a:lnTo>
                    <a:lnTo>
                      <a:pt x="1247" y="1555"/>
                    </a:lnTo>
                    <a:lnTo>
                      <a:pt x="1247" y="1556"/>
                    </a:lnTo>
                    <a:lnTo>
                      <a:pt x="1249" y="1556"/>
                    </a:lnTo>
                    <a:lnTo>
                      <a:pt x="1247" y="1556"/>
                    </a:lnTo>
                    <a:lnTo>
                      <a:pt x="1249" y="1556"/>
                    </a:lnTo>
                    <a:lnTo>
                      <a:pt x="1249" y="1558"/>
                    </a:lnTo>
                    <a:lnTo>
                      <a:pt x="1247" y="1558"/>
                    </a:lnTo>
                    <a:lnTo>
                      <a:pt x="1249" y="1558"/>
                    </a:lnTo>
                    <a:lnTo>
                      <a:pt x="1247" y="1558"/>
                    </a:lnTo>
                    <a:lnTo>
                      <a:pt x="1247" y="1560"/>
                    </a:lnTo>
                    <a:lnTo>
                      <a:pt x="1249" y="1560"/>
                    </a:lnTo>
                    <a:lnTo>
                      <a:pt x="1249" y="1558"/>
                    </a:lnTo>
                    <a:lnTo>
                      <a:pt x="1249" y="1556"/>
                    </a:lnTo>
                    <a:lnTo>
                      <a:pt x="1251" y="1556"/>
                    </a:lnTo>
                    <a:lnTo>
                      <a:pt x="1253" y="1556"/>
                    </a:lnTo>
                    <a:lnTo>
                      <a:pt x="1251" y="1558"/>
                    </a:lnTo>
                    <a:lnTo>
                      <a:pt x="1253" y="1558"/>
                    </a:lnTo>
                    <a:lnTo>
                      <a:pt x="1253" y="1556"/>
                    </a:lnTo>
                    <a:lnTo>
                      <a:pt x="1254" y="1558"/>
                    </a:lnTo>
                    <a:lnTo>
                      <a:pt x="1256" y="1558"/>
                    </a:lnTo>
                    <a:lnTo>
                      <a:pt x="1254" y="1560"/>
                    </a:lnTo>
                    <a:lnTo>
                      <a:pt x="1253" y="1560"/>
                    </a:lnTo>
                    <a:lnTo>
                      <a:pt x="1254" y="1560"/>
                    </a:lnTo>
                    <a:lnTo>
                      <a:pt x="1256" y="1560"/>
                    </a:lnTo>
                    <a:lnTo>
                      <a:pt x="1258" y="1560"/>
                    </a:lnTo>
                    <a:lnTo>
                      <a:pt x="1258" y="1561"/>
                    </a:lnTo>
                    <a:lnTo>
                      <a:pt x="1259" y="1563"/>
                    </a:lnTo>
                    <a:lnTo>
                      <a:pt x="1258" y="1563"/>
                    </a:lnTo>
                    <a:lnTo>
                      <a:pt x="1256" y="1563"/>
                    </a:lnTo>
                    <a:lnTo>
                      <a:pt x="1254" y="1563"/>
                    </a:lnTo>
                    <a:lnTo>
                      <a:pt x="1256" y="1563"/>
                    </a:lnTo>
                    <a:lnTo>
                      <a:pt x="1258" y="1565"/>
                    </a:lnTo>
                    <a:lnTo>
                      <a:pt x="1256" y="1565"/>
                    </a:lnTo>
                    <a:lnTo>
                      <a:pt x="1256" y="1566"/>
                    </a:lnTo>
                    <a:lnTo>
                      <a:pt x="1254" y="1566"/>
                    </a:lnTo>
                    <a:lnTo>
                      <a:pt x="1253" y="1565"/>
                    </a:lnTo>
                    <a:lnTo>
                      <a:pt x="1251" y="1563"/>
                    </a:lnTo>
                    <a:lnTo>
                      <a:pt x="1251" y="1565"/>
                    </a:lnTo>
                    <a:lnTo>
                      <a:pt x="1249" y="1565"/>
                    </a:lnTo>
                    <a:lnTo>
                      <a:pt x="1247" y="1565"/>
                    </a:lnTo>
                    <a:lnTo>
                      <a:pt x="1249" y="1565"/>
                    </a:lnTo>
                    <a:lnTo>
                      <a:pt x="1251" y="1565"/>
                    </a:lnTo>
                    <a:lnTo>
                      <a:pt x="1253" y="1565"/>
                    </a:lnTo>
                    <a:lnTo>
                      <a:pt x="1251" y="1566"/>
                    </a:lnTo>
                    <a:lnTo>
                      <a:pt x="1253" y="1566"/>
                    </a:lnTo>
                    <a:lnTo>
                      <a:pt x="1253" y="1568"/>
                    </a:lnTo>
                    <a:lnTo>
                      <a:pt x="1253" y="1570"/>
                    </a:lnTo>
                    <a:lnTo>
                      <a:pt x="1251" y="1570"/>
                    </a:lnTo>
                    <a:lnTo>
                      <a:pt x="1251" y="1568"/>
                    </a:lnTo>
                    <a:lnTo>
                      <a:pt x="1251" y="1570"/>
                    </a:lnTo>
                    <a:lnTo>
                      <a:pt x="1251" y="1568"/>
                    </a:lnTo>
                    <a:lnTo>
                      <a:pt x="1249" y="1568"/>
                    </a:lnTo>
                    <a:lnTo>
                      <a:pt x="1247" y="1568"/>
                    </a:lnTo>
                    <a:lnTo>
                      <a:pt x="1249" y="1568"/>
                    </a:lnTo>
                    <a:lnTo>
                      <a:pt x="1249" y="1570"/>
                    </a:lnTo>
                    <a:lnTo>
                      <a:pt x="1251" y="1570"/>
                    </a:lnTo>
                    <a:lnTo>
                      <a:pt x="1251" y="1572"/>
                    </a:lnTo>
                    <a:lnTo>
                      <a:pt x="1249" y="1572"/>
                    </a:lnTo>
                    <a:lnTo>
                      <a:pt x="1247" y="1572"/>
                    </a:lnTo>
                    <a:lnTo>
                      <a:pt x="1249" y="1572"/>
                    </a:lnTo>
                    <a:lnTo>
                      <a:pt x="1251" y="1573"/>
                    </a:lnTo>
                    <a:lnTo>
                      <a:pt x="1251" y="1575"/>
                    </a:lnTo>
                    <a:lnTo>
                      <a:pt x="1251" y="1573"/>
                    </a:lnTo>
                    <a:lnTo>
                      <a:pt x="1253" y="1575"/>
                    </a:lnTo>
                    <a:lnTo>
                      <a:pt x="1253" y="1577"/>
                    </a:lnTo>
                    <a:lnTo>
                      <a:pt x="1251" y="1577"/>
                    </a:lnTo>
                    <a:lnTo>
                      <a:pt x="1249" y="1577"/>
                    </a:lnTo>
                    <a:lnTo>
                      <a:pt x="1249" y="1578"/>
                    </a:lnTo>
                    <a:lnTo>
                      <a:pt x="1247" y="1578"/>
                    </a:lnTo>
                    <a:lnTo>
                      <a:pt x="1247" y="1577"/>
                    </a:lnTo>
                    <a:lnTo>
                      <a:pt x="1247" y="1575"/>
                    </a:lnTo>
                    <a:lnTo>
                      <a:pt x="1246" y="1575"/>
                    </a:lnTo>
                    <a:lnTo>
                      <a:pt x="1247" y="1575"/>
                    </a:lnTo>
                    <a:lnTo>
                      <a:pt x="1247" y="1573"/>
                    </a:lnTo>
                    <a:lnTo>
                      <a:pt x="1247" y="1572"/>
                    </a:lnTo>
                    <a:lnTo>
                      <a:pt x="1247" y="1573"/>
                    </a:lnTo>
                    <a:lnTo>
                      <a:pt x="1247" y="1575"/>
                    </a:lnTo>
                    <a:lnTo>
                      <a:pt x="1246" y="1575"/>
                    </a:lnTo>
                    <a:lnTo>
                      <a:pt x="1246" y="1573"/>
                    </a:lnTo>
                    <a:lnTo>
                      <a:pt x="1244" y="1575"/>
                    </a:lnTo>
                    <a:lnTo>
                      <a:pt x="1246" y="1575"/>
                    </a:lnTo>
                    <a:lnTo>
                      <a:pt x="1244" y="1575"/>
                    </a:lnTo>
                    <a:lnTo>
                      <a:pt x="1244" y="1577"/>
                    </a:lnTo>
                    <a:lnTo>
                      <a:pt x="1246" y="1577"/>
                    </a:lnTo>
                    <a:lnTo>
                      <a:pt x="1246" y="1578"/>
                    </a:lnTo>
                    <a:lnTo>
                      <a:pt x="1246" y="1580"/>
                    </a:lnTo>
                    <a:lnTo>
                      <a:pt x="1246" y="1578"/>
                    </a:lnTo>
                    <a:lnTo>
                      <a:pt x="1246" y="1580"/>
                    </a:lnTo>
                    <a:lnTo>
                      <a:pt x="1244" y="1580"/>
                    </a:lnTo>
                    <a:lnTo>
                      <a:pt x="1244" y="1578"/>
                    </a:lnTo>
                    <a:lnTo>
                      <a:pt x="1242" y="1580"/>
                    </a:lnTo>
                    <a:lnTo>
                      <a:pt x="1242" y="1578"/>
                    </a:lnTo>
                    <a:lnTo>
                      <a:pt x="1242" y="1580"/>
                    </a:lnTo>
                    <a:lnTo>
                      <a:pt x="1242" y="1578"/>
                    </a:lnTo>
                    <a:lnTo>
                      <a:pt x="1244" y="1577"/>
                    </a:lnTo>
                    <a:lnTo>
                      <a:pt x="1242" y="1577"/>
                    </a:lnTo>
                    <a:lnTo>
                      <a:pt x="1242" y="1578"/>
                    </a:lnTo>
                    <a:lnTo>
                      <a:pt x="1241" y="1580"/>
                    </a:lnTo>
                    <a:lnTo>
                      <a:pt x="1241" y="1578"/>
                    </a:lnTo>
                    <a:lnTo>
                      <a:pt x="1242" y="1577"/>
                    </a:lnTo>
                    <a:lnTo>
                      <a:pt x="1242" y="1575"/>
                    </a:lnTo>
                    <a:lnTo>
                      <a:pt x="1242" y="1577"/>
                    </a:lnTo>
                    <a:lnTo>
                      <a:pt x="1241" y="1578"/>
                    </a:lnTo>
                    <a:lnTo>
                      <a:pt x="1241" y="1580"/>
                    </a:lnTo>
                    <a:lnTo>
                      <a:pt x="1239" y="1578"/>
                    </a:lnTo>
                    <a:lnTo>
                      <a:pt x="1239" y="1580"/>
                    </a:lnTo>
                    <a:lnTo>
                      <a:pt x="1241" y="1580"/>
                    </a:lnTo>
                    <a:lnTo>
                      <a:pt x="1239" y="1582"/>
                    </a:lnTo>
                    <a:lnTo>
                      <a:pt x="1237" y="1580"/>
                    </a:lnTo>
                    <a:lnTo>
                      <a:pt x="1237" y="1582"/>
                    </a:lnTo>
                    <a:lnTo>
                      <a:pt x="1237" y="1580"/>
                    </a:lnTo>
                    <a:lnTo>
                      <a:pt x="1236" y="1580"/>
                    </a:lnTo>
                    <a:lnTo>
                      <a:pt x="1237" y="1580"/>
                    </a:lnTo>
                    <a:lnTo>
                      <a:pt x="1236" y="1580"/>
                    </a:lnTo>
                    <a:lnTo>
                      <a:pt x="1236" y="1582"/>
                    </a:lnTo>
                    <a:lnTo>
                      <a:pt x="1234" y="1582"/>
                    </a:lnTo>
                    <a:lnTo>
                      <a:pt x="1232" y="1582"/>
                    </a:lnTo>
                    <a:lnTo>
                      <a:pt x="1230" y="1582"/>
                    </a:lnTo>
                    <a:lnTo>
                      <a:pt x="1232" y="1580"/>
                    </a:lnTo>
                    <a:lnTo>
                      <a:pt x="1232" y="1582"/>
                    </a:lnTo>
                    <a:lnTo>
                      <a:pt x="1232" y="1580"/>
                    </a:lnTo>
                    <a:lnTo>
                      <a:pt x="1234" y="1580"/>
                    </a:lnTo>
                    <a:lnTo>
                      <a:pt x="1232" y="1580"/>
                    </a:lnTo>
                    <a:lnTo>
                      <a:pt x="1234" y="1580"/>
                    </a:lnTo>
                    <a:lnTo>
                      <a:pt x="1234" y="1578"/>
                    </a:lnTo>
                    <a:lnTo>
                      <a:pt x="1232" y="1580"/>
                    </a:lnTo>
                    <a:lnTo>
                      <a:pt x="1232" y="1578"/>
                    </a:lnTo>
                    <a:lnTo>
                      <a:pt x="1232" y="1580"/>
                    </a:lnTo>
                    <a:lnTo>
                      <a:pt x="1230" y="1580"/>
                    </a:lnTo>
                    <a:lnTo>
                      <a:pt x="1229" y="1580"/>
                    </a:lnTo>
                    <a:lnTo>
                      <a:pt x="1227" y="1578"/>
                    </a:lnTo>
                    <a:lnTo>
                      <a:pt x="1229" y="1578"/>
                    </a:lnTo>
                    <a:lnTo>
                      <a:pt x="1230" y="1578"/>
                    </a:lnTo>
                    <a:lnTo>
                      <a:pt x="1232" y="1578"/>
                    </a:lnTo>
                    <a:lnTo>
                      <a:pt x="1234" y="1578"/>
                    </a:lnTo>
                    <a:lnTo>
                      <a:pt x="1236" y="1578"/>
                    </a:lnTo>
                    <a:lnTo>
                      <a:pt x="1237" y="1580"/>
                    </a:lnTo>
                    <a:lnTo>
                      <a:pt x="1237" y="1578"/>
                    </a:lnTo>
                    <a:lnTo>
                      <a:pt x="1236" y="1578"/>
                    </a:lnTo>
                    <a:lnTo>
                      <a:pt x="1234" y="1578"/>
                    </a:lnTo>
                    <a:lnTo>
                      <a:pt x="1234" y="1577"/>
                    </a:lnTo>
                    <a:lnTo>
                      <a:pt x="1232" y="1578"/>
                    </a:lnTo>
                    <a:lnTo>
                      <a:pt x="1232" y="1577"/>
                    </a:lnTo>
                    <a:lnTo>
                      <a:pt x="1230" y="1578"/>
                    </a:lnTo>
                    <a:lnTo>
                      <a:pt x="1232" y="1577"/>
                    </a:lnTo>
                    <a:lnTo>
                      <a:pt x="1230" y="1575"/>
                    </a:lnTo>
                    <a:lnTo>
                      <a:pt x="1232" y="1577"/>
                    </a:lnTo>
                    <a:lnTo>
                      <a:pt x="1234" y="1577"/>
                    </a:lnTo>
                    <a:lnTo>
                      <a:pt x="1236" y="1577"/>
                    </a:lnTo>
                    <a:lnTo>
                      <a:pt x="1234" y="1577"/>
                    </a:lnTo>
                    <a:lnTo>
                      <a:pt x="1236" y="1577"/>
                    </a:lnTo>
                    <a:lnTo>
                      <a:pt x="1237" y="1577"/>
                    </a:lnTo>
                    <a:lnTo>
                      <a:pt x="1237" y="1578"/>
                    </a:lnTo>
                    <a:lnTo>
                      <a:pt x="1239" y="1578"/>
                    </a:lnTo>
                    <a:lnTo>
                      <a:pt x="1237" y="1577"/>
                    </a:lnTo>
                    <a:lnTo>
                      <a:pt x="1239" y="1577"/>
                    </a:lnTo>
                    <a:lnTo>
                      <a:pt x="1237" y="1577"/>
                    </a:lnTo>
                    <a:lnTo>
                      <a:pt x="1236" y="1577"/>
                    </a:lnTo>
                    <a:lnTo>
                      <a:pt x="1237" y="1575"/>
                    </a:lnTo>
                    <a:lnTo>
                      <a:pt x="1236" y="1575"/>
                    </a:lnTo>
                    <a:lnTo>
                      <a:pt x="1234" y="1575"/>
                    </a:lnTo>
                    <a:lnTo>
                      <a:pt x="1236" y="1575"/>
                    </a:lnTo>
                    <a:lnTo>
                      <a:pt x="1237" y="1575"/>
                    </a:lnTo>
                    <a:lnTo>
                      <a:pt x="1237" y="1573"/>
                    </a:lnTo>
                    <a:lnTo>
                      <a:pt x="1236" y="1575"/>
                    </a:lnTo>
                    <a:lnTo>
                      <a:pt x="1237" y="1573"/>
                    </a:lnTo>
                    <a:lnTo>
                      <a:pt x="1236" y="1573"/>
                    </a:lnTo>
                    <a:lnTo>
                      <a:pt x="1234" y="1573"/>
                    </a:lnTo>
                    <a:lnTo>
                      <a:pt x="1236" y="1572"/>
                    </a:lnTo>
                    <a:lnTo>
                      <a:pt x="1237" y="1572"/>
                    </a:lnTo>
                    <a:lnTo>
                      <a:pt x="1239" y="1572"/>
                    </a:lnTo>
                    <a:lnTo>
                      <a:pt x="1239" y="1573"/>
                    </a:lnTo>
                    <a:lnTo>
                      <a:pt x="1241" y="1573"/>
                    </a:lnTo>
                    <a:lnTo>
                      <a:pt x="1239" y="1573"/>
                    </a:lnTo>
                    <a:lnTo>
                      <a:pt x="1239" y="1572"/>
                    </a:lnTo>
                    <a:lnTo>
                      <a:pt x="1237" y="1572"/>
                    </a:lnTo>
                    <a:lnTo>
                      <a:pt x="1237" y="1570"/>
                    </a:lnTo>
                    <a:lnTo>
                      <a:pt x="1237" y="1572"/>
                    </a:lnTo>
                    <a:lnTo>
                      <a:pt x="1237" y="1570"/>
                    </a:lnTo>
                    <a:lnTo>
                      <a:pt x="1239" y="1568"/>
                    </a:lnTo>
                    <a:lnTo>
                      <a:pt x="1241" y="1568"/>
                    </a:lnTo>
                    <a:lnTo>
                      <a:pt x="1242" y="1568"/>
                    </a:lnTo>
                    <a:lnTo>
                      <a:pt x="1242" y="1566"/>
                    </a:lnTo>
                    <a:lnTo>
                      <a:pt x="1241" y="1566"/>
                    </a:lnTo>
                    <a:lnTo>
                      <a:pt x="1241" y="1568"/>
                    </a:lnTo>
                    <a:lnTo>
                      <a:pt x="1241" y="1566"/>
                    </a:lnTo>
                    <a:lnTo>
                      <a:pt x="1239" y="1566"/>
                    </a:lnTo>
                    <a:lnTo>
                      <a:pt x="1241" y="1566"/>
                    </a:lnTo>
                    <a:lnTo>
                      <a:pt x="1239" y="1566"/>
                    </a:lnTo>
                    <a:lnTo>
                      <a:pt x="1239" y="1568"/>
                    </a:lnTo>
                    <a:lnTo>
                      <a:pt x="1237" y="1568"/>
                    </a:lnTo>
                    <a:lnTo>
                      <a:pt x="1237" y="1570"/>
                    </a:lnTo>
                    <a:lnTo>
                      <a:pt x="1237" y="1568"/>
                    </a:lnTo>
                    <a:lnTo>
                      <a:pt x="1237" y="1566"/>
                    </a:lnTo>
                    <a:lnTo>
                      <a:pt x="1239" y="1566"/>
                    </a:lnTo>
                    <a:lnTo>
                      <a:pt x="1239" y="1565"/>
                    </a:lnTo>
                    <a:lnTo>
                      <a:pt x="1237" y="1566"/>
                    </a:lnTo>
                    <a:lnTo>
                      <a:pt x="1236" y="1568"/>
                    </a:lnTo>
                    <a:lnTo>
                      <a:pt x="1237" y="1568"/>
                    </a:lnTo>
                    <a:lnTo>
                      <a:pt x="1236" y="1568"/>
                    </a:lnTo>
                    <a:lnTo>
                      <a:pt x="1237" y="1570"/>
                    </a:lnTo>
                    <a:lnTo>
                      <a:pt x="1236" y="1570"/>
                    </a:lnTo>
                    <a:lnTo>
                      <a:pt x="1236" y="1572"/>
                    </a:lnTo>
                    <a:lnTo>
                      <a:pt x="1234" y="1572"/>
                    </a:lnTo>
                    <a:lnTo>
                      <a:pt x="1232" y="1572"/>
                    </a:lnTo>
                    <a:lnTo>
                      <a:pt x="1234" y="1572"/>
                    </a:lnTo>
                    <a:lnTo>
                      <a:pt x="1232" y="1572"/>
                    </a:lnTo>
                    <a:lnTo>
                      <a:pt x="1232" y="1570"/>
                    </a:lnTo>
                    <a:lnTo>
                      <a:pt x="1234" y="1570"/>
                    </a:lnTo>
                    <a:lnTo>
                      <a:pt x="1236" y="1570"/>
                    </a:lnTo>
                    <a:lnTo>
                      <a:pt x="1234" y="1570"/>
                    </a:lnTo>
                    <a:lnTo>
                      <a:pt x="1234" y="1568"/>
                    </a:lnTo>
                    <a:lnTo>
                      <a:pt x="1236" y="1568"/>
                    </a:lnTo>
                    <a:lnTo>
                      <a:pt x="1236" y="1566"/>
                    </a:lnTo>
                    <a:lnTo>
                      <a:pt x="1236" y="1565"/>
                    </a:lnTo>
                    <a:lnTo>
                      <a:pt x="1236" y="1563"/>
                    </a:lnTo>
                    <a:lnTo>
                      <a:pt x="1237" y="1563"/>
                    </a:lnTo>
                    <a:lnTo>
                      <a:pt x="1237" y="1561"/>
                    </a:lnTo>
                    <a:lnTo>
                      <a:pt x="1239" y="1561"/>
                    </a:lnTo>
                    <a:lnTo>
                      <a:pt x="1239" y="1560"/>
                    </a:lnTo>
                    <a:lnTo>
                      <a:pt x="1237" y="1561"/>
                    </a:lnTo>
                    <a:lnTo>
                      <a:pt x="1237" y="1563"/>
                    </a:lnTo>
                    <a:lnTo>
                      <a:pt x="1236" y="1561"/>
                    </a:lnTo>
                    <a:lnTo>
                      <a:pt x="1236" y="1563"/>
                    </a:lnTo>
                    <a:lnTo>
                      <a:pt x="1234" y="1563"/>
                    </a:lnTo>
                    <a:lnTo>
                      <a:pt x="1236" y="1563"/>
                    </a:lnTo>
                    <a:lnTo>
                      <a:pt x="1236" y="1565"/>
                    </a:lnTo>
                    <a:lnTo>
                      <a:pt x="1236" y="1566"/>
                    </a:lnTo>
                    <a:lnTo>
                      <a:pt x="1234" y="1566"/>
                    </a:lnTo>
                    <a:lnTo>
                      <a:pt x="1234" y="1568"/>
                    </a:lnTo>
                    <a:lnTo>
                      <a:pt x="1232" y="1568"/>
                    </a:lnTo>
                    <a:lnTo>
                      <a:pt x="1230" y="1568"/>
                    </a:lnTo>
                    <a:lnTo>
                      <a:pt x="1232" y="1568"/>
                    </a:lnTo>
                    <a:lnTo>
                      <a:pt x="1232" y="1566"/>
                    </a:lnTo>
                    <a:lnTo>
                      <a:pt x="1230" y="1568"/>
                    </a:lnTo>
                    <a:lnTo>
                      <a:pt x="1229" y="1568"/>
                    </a:lnTo>
                    <a:lnTo>
                      <a:pt x="1229" y="1566"/>
                    </a:lnTo>
                    <a:lnTo>
                      <a:pt x="1230" y="1566"/>
                    </a:lnTo>
                    <a:lnTo>
                      <a:pt x="1229" y="1565"/>
                    </a:lnTo>
                    <a:lnTo>
                      <a:pt x="1230" y="1565"/>
                    </a:lnTo>
                    <a:lnTo>
                      <a:pt x="1232" y="1565"/>
                    </a:lnTo>
                    <a:lnTo>
                      <a:pt x="1234" y="1565"/>
                    </a:lnTo>
                    <a:lnTo>
                      <a:pt x="1232" y="1565"/>
                    </a:lnTo>
                    <a:lnTo>
                      <a:pt x="1230" y="1565"/>
                    </a:lnTo>
                    <a:lnTo>
                      <a:pt x="1229" y="1565"/>
                    </a:lnTo>
                    <a:lnTo>
                      <a:pt x="1230" y="1563"/>
                    </a:lnTo>
                    <a:lnTo>
                      <a:pt x="1229" y="1563"/>
                    </a:lnTo>
                    <a:lnTo>
                      <a:pt x="1229" y="1565"/>
                    </a:lnTo>
                    <a:lnTo>
                      <a:pt x="1229" y="1563"/>
                    </a:lnTo>
                    <a:lnTo>
                      <a:pt x="1230" y="1563"/>
                    </a:lnTo>
                    <a:lnTo>
                      <a:pt x="1232" y="1563"/>
                    </a:lnTo>
                    <a:lnTo>
                      <a:pt x="1230" y="1563"/>
                    </a:lnTo>
                    <a:lnTo>
                      <a:pt x="1230" y="1561"/>
                    </a:lnTo>
                    <a:lnTo>
                      <a:pt x="1232" y="1561"/>
                    </a:lnTo>
                    <a:lnTo>
                      <a:pt x="1234" y="1561"/>
                    </a:lnTo>
                    <a:lnTo>
                      <a:pt x="1234" y="1560"/>
                    </a:lnTo>
                    <a:lnTo>
                      <a:pt x="1236" y="1560"/>
                    </a:lnTo>
                    <a:lnTo>
                      <a:pt x="1237" y="1560"/>
                    </a:lnTo>
                    <a:lnTo>
                      <a:pt x="1236" y="1560"/>
                    </a:lnTo>
                    <a:lnTo>
                      <a:pt x="1236" y="1558"/>
                    </a:lnTo>
                    <a:lnTo>
                      <a:pt x="1236" y="1556"/>
                    </a:lnTo>
                    <a:lnTo>
                      <a:pt x="1236" y="1558"/>
                    </a:lnTo>
                    <a:lnTo>
                      <a:pt x="1234" y="1558"/>
                    </a:lnTo>
                    <a:lnTo>
                      <a:pt x="1236" y="1558"/>
                    </a:lnTo>
                    <a:lnTo>
                      <a:pt x="1234" y="1560"/>
                    </a:lnTo>
                    <a:lnTo>
                      <a:pt x="1234" y="1558"/>
                    </a:lnTo>
                    <a:lnTo>
                      <a:pt x="1232" y="1558"/>
                    </a:lnTo>
                    <a:lnTo>
                      <a:pt x="1230" y="1558"/>
                    </a:lnTo>
                    <a:lnTo>
                      <a:pt x="1230" y="1556"/>
                    </a:lnTo>
                    <a:lnTo>
                      <a:pt x="1229" y="1558"/>
                    </a:lnTo>
                    <a:lnTo>
                      <a:pt x="1229" y="1556"/>
                    </a:lnTo>
                    <a:lnTo>
                      <a:pt x="1227" y="1556"/>
                    </a:lnTo>
                    <a:lnTo>
                      <a:pt x="1225" y="1556"/>
                    </a:lnTo>
                    <a:lnTo>
                      <a:pt x="1224" y="1556"/>
                    </a:lnTo>
                    <a:lnTo>
                      <a:pt x="1225" y="1556"/>
                    </a:lnTo>
                    <a:lnTo>
                      <a:pt x="1225" y="1555"/>
                    </a:lnTo>
                    <a:lnTo>
                      <a:pt x="1227" y="1555"/>
                    </a:lnTo>
                    <a:lnTo>
                      <a:pt x="1229" y="1556"/>
                    </a:lnTo>
                    <a:lnTo>
                      <a:pt x="1229" y="1555"/>
                    </a:lnTo>
                    <a:lnTo>
                      <a:pt x="1230" y="1555"/>
                    </a:lnTo>
                    <a:lnTo>
                      <a:pt x="1232" y="1555"/>
                    </a:lnTo>
                    <a:lnTo>
                      <a:pt x="1232" y="1553"/>
                    </a:lnTo>
                    <a:lnTo>
                      <a:pt x="1230" y="1551"/>
                    </a:lnTo>
                    <a:lnTo>
                      <a:pt x="1230" y="1553"/>
                    </a:lnTo>
                    <a:lnTo>
                      <a:pt x="1230" y="1555"/>
                    </a:lnTo>
                    <a:lnTo>
                      <a:pt x="1230" y="1553"/>
                    </a:lnTo>
                    <a:lnTo>
                      <a:pt x="1229" y="1555"/>
                    </a:lnTo>
                    <a:lnTo>
                      <a:pt x="1227" y="1553"/>
                    </a:lnTo>
                    <a:lnTo>
                      <a:pt x="1227" y="1555"/>
                    </a:lnTo>
                    <a:lnTo>
                      <a:pt x="1227" y="1553"/>
                    </a:lnTo>
                    <a:lnTo>
                      <a:pt x="1229" y="1553"/>
                    </a:lnTo>
                    <a:lnTo>
                      <a:pt x="1229" y="1551"/>
                    </a:lnTo>
                    <a:lnTo>
                      <a:pt x="1230" y="1551"/>
                    </a:lnTo>
                    <a:lnTo>
                      <a:pt x="1230" y="1549"/>
                    </a:lnTo>
                    <a:lnTo>
                      <a:pt x="1229" y="1549"/>
                    </a:lnTo>
                    <a:lnTo>
                      <a:pt x="1229" y="1551"/>
                    </a:lnTo>
                    <a:lnTo>
                      <a:pt x="1227" y="1549"/>
                    </a:lnTo>
                    <a:lnTo>
                      <a:pt x="1227" y="1551"/>
                    </a:lnTo>
                    <a:lnTo>
                      <a:pt x="1229" y="1551"/>
                    </a:lnTo>
                    <a:lnTo>
                      <a:pt x="1227" y="1551"/>
                    </a:lnTo>
                    <a:lnTo>
                      <a:pt x="1227" y="1553"/>
                    </a:lnTo>
                    <a:lnTo>
                      <a:pt x="1227" y="1555"/>
                    </a:lnTo>
                    <a:lnTo>
                      <a:pt x="1225" y="1553"/>
                    </a:lnTo>
                    <a:lnTo>
                      <a:pt x="1224" y="1555"/>
                    </a:lnTo>
                    <a:lnTo>
                      <a:pt x="1224" y="1553"/>
                    </a:lnTo>
                    <a:lnTo>
                      <a:pt x="1225" y="1551"/>
                    </a:lnTo>
                    <a:lnTo>
                      <a:pt x="1225" y="1553"/>
                    </a:lnTo>
                    <a:lnTo>
                      <a:pt x="1224" y="1553"/>
                    </a:lnTo>
                    <a:lnTo>
                      <a:pt x="1222" y="1553"/>
                    </a:lnTo>
                    <a:lnTo>
                      <a:pt x="1220" y="1553"/>
                    </a:lnTo>
                    <a:lnTo>
                      <a:pt x="1222" y="1551"/>
                    </a:lnTo>
                    <a:lnTo>
                      <a:pt x="1220" y="1551"/>
                    </a:lnTo>
                    <a:lnTo>
                      <a:pt x="1222" y="1551"/>
                    </a:lnTo>
                    <a:lnTo>
                      <a:pt x="1220" y="1551"/>
                    </a:lnTo>
                    <a:lnTo>
                      <a:pt x="1222" y="1551"/>
                    </a:lnTo>
                    <a:lnTo>
                      <a:pt x="1222" y="1549"/>
                    </a:lnTo>
                    <a:lnTo>
                      <a:pt x="1224" y="1549"/>
                    </a:lnTo>
                    <a:lnTo>
                      <a:pt x="1222" y="1549"/>
                    </a:lnTo>
                    <a:lnTo>
                      <a:pt x="1220" y="1549"/>
                    </a:lnTo>
                    <a:lnTo>
                      <a:pt x="1222" y="1549"/>
                    </a:lnTo>
                    <a:lnTo>
                      <a:pt x="1220" y="1549"/>
                    </a:lnTo>
                    <a:lnTo>
                      <a:pt x="1219" y="1549"/>
                    </a:lnTo>
                    <a:lnTo>
                      <a:pt x="1219" y="1548"/>
                    </a:lnTo>
                    <a:lnTo>
                      <a:pt x="1217" y="1548"/>
                    </a:lnTo>
                    <a:lnTo>
                      <a:pt x="1217" y="1546"/>
                    </a:lnTo>
                    <a:lnTo>
                      <a:pt x="1217" y="1544"/>
                    </a:lnTo>
                    <a:lnTo>
                      <a:pt x="1215" y="1544"/>
                    </a:lnTo>
                    <a:lnTo>
                      <a:pt x="1215" y="1543"/>
                    </a:lnTo>
                    <a:lnTo>
                      <a:pt x="1217" y="1544"/>
                    </a:lnTo>
                    <a:lnTo>
                      <a:pt x="1219" y="1544"/>
                    </a:lnTo>
                    <a:lnTo>
                      <a:pt x="1220" y="1544"/>
                    </a:lnTo>
                    <a:lnTo>
                      <a:pt x="1220" y="1546"/>
                    </a:lnTo>
                    <a:lnTo>
                      <a:pt x="1222" y="1544"/>
                    </a:lnTo>
                    <a:lnTo>
                      <a:pt x="1222" y="1546"/>
                    </a:lnTo>
                    <a:lnTo>
                      <a:pt x="1222" y="1548"/>
                    </a:lnTo>
                    <a:lnTo>
                      <a:pt x="1222" y="1546"/>
                    </a:lnTo>
                    <a:lnTo>
                      <a:pt x="1224" y="1546"/>
                    </a:lnTo>
                    <a:lnTo>
                      <a:pt x="1222" y="1546"/>
                    </a:lnTo>
                    <a:lnTo>
                      <a:pt x="1224" y="1544"/>
                    </a:lnTo>
                    <a:lnTo>
                      <a:pt x="1224" y="1546"/>
                    </a:lnTo>
                    <a:lnTo>
                      <a:pt x="1225" y="1544"/>
                    </a:lnTo>
                    <a:lnTo>
                      <a:pt x="1225" y="1546"/>
                    </a:lnTo>
                    <a:lnTo>
                      <a:pt x="1227" y="1546"/>
                    </a:lnTo>
                    <a:lnTo>
                      <a:pt x="1227" y="1548"/>
                    </a:lnTo>
                    <a:lnTo>
                      <a:pt x="1227" y="1546"/>
                    </a:lnTo>
                    <a:lnTo>
                      <a:pt x="1229" y="1548"/>
                    </a:lnTo>
                    <a:lnTo>
                      <a:pt x="1229" y="1546"/>
                    </a:lnTo>
                    <a:lnTo>
                      <a:pt x="1227" y="1546"/>
                    </a:lnTo>
                    <a:lnTo>
                      <a:pt x="1225" y="1546"/>
                    </a:lnTo>
                    <a:lnTo>
                      <a:pt x="1225" y="1544"/>
                    </a:lnTo>
                    <a:lnTo>
                      <a:pt x="1225" y="1543"/>
                    </a:lnTo>
                    <a:lnTo>
                      <a:pt x="1227" y="1543"/>
                    </a:lnTo>
                    <a:lnTo>
                      <a:pt x="1225" y="1543"/>
                    </a:lnTo>
                    <a:lnTo>
                      <a:pt x="1227" y="1543"/>
                    </a:lnTo>
                    <a:lnTo>
                      <a:pt x="1225" y="1543"/>
                    </a:lnTo>
                    <a:lnTo>
                      <a:pt x="1225" y="1541"/>
                    </a:lnTo>
                    <a:lnTo>
                      <a:pt x="1224" y="1541"/>
                    </a:lnTo>
                    <a:lnTo>
                      <a:pt x="1225" y="1541"/>
                    </a:lnTo>
                    <a:lnTo>
                      <a:pt x="1224" y="1539"/>
                    </a:lnTo>
                    <a:lnTo>
                      <a:pt x="1225" y="1539"/>
                    </a:lnTo>
                    <a:lnTo>
                      <a:pt x="1227" y="1539"/>
                    </a:lnTo>
                    <a:lnTo>
                      <a:pt x="1229" y="1539"/>
                    </a:lnTo>
                    <a:close/>
                    <a:moveTo>
                      <a:pt x="1400" y="1626"/>
                    </a:moveTo>
                    <a:lnTo>
                      <a:pt x="1402" y="1626"/>
                    </a:lnTo>
                    <a:lnTo>
                      <a:pt x="1402" y="1628"/>
                    </a:lnTo>
                    <a:lnTo>
                      <a:pt x="1404" y="1626"/>
                    </a:lnTo>
                    <a:lnTo>
                      <a:pt x="1404" y="1628"/>
                    </a:lnTo>
                    <a:lnTo>
                      <a:pt x="1406" y="1628"/>
                    </a:lnTo>
                    <a:lnTo>
                      <a:pt x="1407" y="1628"/>
                    </a:lnTo>
                    <a:lnTo>
                      <a:pt x="1409" y="1628"/>
                    </a:lnTo>
                    <a:lnTo>
                      <a:pt x="1407" y="1628"/>
                    </a:lnTo>
                    <a:lnTo>
                      <a:pt x="1409" y="1629"/>
                    </a:lnTo>
                    <a:lnTo>
                      <a:pt x="1409" y="1628"/>
                    </a:lnTo>
                    <a:lnTo>
                      <a:pt x="1411" y="1629"/>
                    </a:lnTo>
                    <a:lnTo>
                      <a:pt x="1411" y="1628"/>
                    </a:lnTo>
                    <a:lnTo>
                      <a:pt x="1412" y="1628"/>
                    </a:lnTo>
                    <a:lnTo>
                      <a:pt x="1414" y="1628"/>
                    </a:lnTo>
                    <a:lnTo>
                      <a:pt x="1416" y="1628"/>
                    </a:lnTo>
                    <a:lnTo>
                      <a:pt x="1416" y="1629"/>
                    </a:lnTo>
                    <a:lnTo>
                      <a:pt x="1417" y="1628"/>
                    </a:lnTo>
                    <a:lnTo>
                      <a:pt x="1419" y="1628"/>
                    </a:lnTo>
                    <a:lnTo>
                      <a:pt x="1421" y="1628"/>
                    </a:lnTo>
                    <a:lnTo>
                      <a:pt x="1423" y="1628"/>
                    </a:lnTo>
                    <a:lnTo>
                      <a:pt x="1423" y="1629"/>
                    </a:lnTo>
                    <a:lnTo>
                      <a:pt x="1424" y="1629"/>
                    </a:lnTo>
                    <a:lnTo>
                      <a:pt x="1426" y="1629"/>
                    </a:lnTo>
                    <a:lnTo>
                      <a:pt x="1428" y="1631"/>
                    </a:lnTo>
                    <a:lnTo>
                      <a:pt x="1428" y="1633"/>
                    </a:lnTo>
                    <a:lnTo>
                      <a:pt x="1429" y="1635"/>
                    </a:lnTo>
                    <a:lnTo>
                      <a:pt x="1429" y="1636"/>
                    </a:lnTo>
                    <a:lnTo>
                      <a:pt x="1429" y="1638"/>
                    </a:lnTo>
                    <a:lnTo>
                      <a:pt x="1431" y="1638"/>
                    </a:lnTo>
                    <a:lnTo>
                      <a:pt x="1431" y="1640"/>
                    </a:lnTo>
                    <a:lnTo>
                      <a:pt x="1431" y="1641"/>
                    </a:lnTo>
                    <a:lnTo>
                      <a:pt x="1429" y="1643"/>
                    </a:lnTo>
                    <a:lnTo>
                      <a:pt x="1429" y="1645"/>
                    </a:lnTo>
                    <a:lnTo>
                      <a:pt x="1428" y="1646"/>
                    </a:lnTo>
                    <a:lnTo>
                      <a:pt x="1426" y="1648"/>
                    </a:lnTo>
                    <a:lnTo>
                      <a:pt x="1426" y="1650"/>
                    </a:lnTo>
                    <a:lnTo>
                      <a:pt x="1424" y="1650"/>
                    </a:lnTo>
                    <a:lnTo>
                      <a:pt x="1424" y="1652"/>
                    </a:lnTo>
                    <a:lnTo>
                      <a:pt x="1423" y="1652"/>
                    </a:lnTo>
                    <a:lnTo>
                      <a:pt x="1421" y="1652"/>
                    </a:lnTo>
                    <a:lnTo>
                      <a:pt x="1419" y="1652"/>
                    </a:lnTo>
                    <a:lnTo>
                      <a:pt x="1417" y="1652"/>
                    </a:lnTo>
                    <a:lnTo>
                      <a:pt x="1417" y="1650"/>
                    </a:lnTo>
                    <a:lnTo>
                      <a:pt x="1417" y="1648"/>
                    </a:lnTo>
                    <a:lnTo>
                      <a:pt x="1417" y="1646"/>
                    </a:lnTo>
                    <a:lnTo>
                      <a:pt x="1419" y="1645"/>
                    </a:lnTo>
                    <a:lnTo>
                      <a:pt x="1417" y="1643"/>
                    </a:lnTo>
                    <a:lnTo>
                      <a:pt x="1416" y="1643"/>
                    </a:lnTo>
                    <a:lnTo>
                      <a:pt x="1414" y="1643"/>
                    </a:lnTo>
                    <a:lnTo>
                      <a:pt x="1412" y="1645"/>
                    </a:lnTo>
                    <a:lnTo>
                      <a:pt x="1411" y="1646"/>
                    </a:lnTo>
                    <a:lnTo>
                      <a:pt x="1412" y="1648"/>
                    </a:lnTo>
                    <a:lnTo>
                      <a:pt x="1411" y="1648"/>
                    </a:lnTo>
                    <a:lnTo>
                      <a:pt x="1409" y="1648"/>
                    </a:lnTo>
                    <a:lnTo>
                      <a:pt x="1407" y="1646"/>
                    </a:lnTo>
                    <a:lnTo>
                      <a:pt x="1407" y="1648"/>
                    </a:lnTo>
                    <a:lnTo>
                      <a:pt x="1406" y="1648"/>
                    </a:lnTo>
                    <a:lnTo>
                      <a:pt x="1404" y="1648"/>
                    </a:lnTo>
                    <a:lnTo>
                      <a:pt x="1402" y="1646"/>
                    </a:lnTo>
                    <a:lnTo>
                      <a:pt x="1404" y="1646"/>
                    </a:lnTo>
                    <a:lnTo>
                      <a:pt x="1402" y="1645"/>
                    </a:lnTo>
                    <a:lnTo>
                      <a:pt x="1404" y="1645"/>
                    </a:lnTo>
                    <a:lnTo>
                      <a:pt x="1404" y="1646"/>
                    </a:lnTo>
                    <a:lnTo>
                      <a:pt x="1406" y="1646"/>
                    </a:lnTo>
                    <a:lnTo>
                      <a:pt x="1407" y="1646"/>
                    </a:lnTo>
                    <a:lnTo>
                      <a:pt x="1406" y="1645"/>
                    </a:lnTo>
                    <a:lnTo>
                      <a:pt x="1404" y="1645"/>
                    </a:lnTo>
                    <a:lnTo>
                      <a:pt x="1404" y="1643"/>
                    </a:lnTo>
                    <a:lnTo>
                      <a:pt x="1402" y="1645"/>
                    </a:lnTo>
                    <a:lnTo>
                      <a:pt x="1402" y="1643"/>
                    </a:lnTo>
                    <a:lnTo>
                      <a:pt x="1400" y="1643"/>
                    </a:lnTo>
                    <a:lnTo>
                      <a:pt x="1400" y="1645"/>
                    </a:lnTo>
                    <a:lnTo>
                      <a:pt x="1399" y="1646"/>
                    </a:lnTo>
                    <a:lnTo>
                      <a:pt x="1399" y="1645"/>
                    </a:lnTo>
                    <a:lnTo>
                      <a:pt x="1399" y="1646"/>
                    </a:lnTo>
                    <a:lnTo>
                      <a:pt x="1397" y="1646"/>
                    </a:lnTo>
                    <a:lnTo>
                      <a:pt x="1395" y="1645"/>
                    </a:lnTo>
                    <a:lnTo>
                      <a:pt x="1394" y="1645"/>
                    </a:lnTo>
                    <a:lnTo>
                      <a:pt x="1394" y="1643"/>
                    </a:lnTo>
                    <a:lnTo>
                      <a:pt x="1395" y="1643"/>
                    </a:lnTo>
                    <a:lnTo>
                      <a:pt x="1397" y="1643"/>
                    </a:lnTo>
                    <a:lnTo>
                      <a:pt x="1395" y="1643"/>
                    </a:lnTo>
                    <a:lnTo>
                      <a:pt x="1394" y="1641"/>
                    </a:lnTo>
                    <a:lnTo>
                      <a:pt x="1394" y="1640"/>
                    </a:lnTo>
                    <a:lnTo>
                      <a:pt x="1394" y="1638"/>
                    </a:lnTo>
                    <a:lnTo>
                      <a:pt x="1394" y="1636"/>
                    </a:lnTo>
                    <a:lnTo>
                      <a:pt x="1394" y="1635"/>
                    </a:lnTo>
                    <a:lnTo>
                      <a:pt x="1394" y="1633"/>
                    </a:lnTo>
                    <a:lnTo>
                      <a:pt x="1392" y="1633"/>
                    </a:lnTo>
                    <a:lnTo>
                      <a:pt x="1394" y="1631"/>
                    </a:lnTo>
                    <a:lnTo>
                      <a:pt x="1392" y="1633"/>
                    </a:lnTo>
                    <a:lnTo>
                      <a:pt x="1392" y="1631"/>
                    </a:lnTo>
                    <a:lnTo>
                      <a:pt x="1392" y="1633"/>
                    </a:lnTo>
                    <a:lnTo>
                      <a:pt x="1390" y="1633"/>
                    </a:lnTo>
                    <a:lnTo>
                      <a:pt x="1389" y="1633"/>
                    </a:lnTo>
                    <a:lnTo>
                      <a:pt x="1387" y="1631"/>
                    </a:lnTo>
                    <a:lnTo>
                      <a:pt x="1387" y="1629"/>
                    </a:lnTo>
                    <a:lnTo>
                      <a:pt x="1385" y="1629"/>
                    </a:lnTo>
                    <a:lnTo>
                      <a:pt x="1387" y="1628"/>
                    </a:lnTo>
                    <a:lnTo>
                      <a:pt x="1389" y="1628"/>
                    </a:lnTo>
                    <a:lnTo>
                      <a:pt x="1390" y="1628"/>
                    </a:lnTo>
                    <a:lnTo>
                      <a:pt x="1392" y="1628"/>
                    </a:lnTo>
                    <a:lnTo>
                      <a:pt x="1390" y="1626"/>
                    </a:lnTo>
                    <a:lnTo>
                      <a:pt x="1392" y="1626"/>
                    </a:lnTo>
                    <a:lnTo>
                      <a:pt x="1394" y="1626"/>
                    </a:lnTo>
                    <a:lnTo>
                      <a:pt x="1395" y="1626"/>
                    </a:lnTo>
                    <a:lnTo>
                      <a:pt x="1397" y="1626"/>
                    </a:lnTo>
                    <a:lnTo>
                      <a:pt x="1399" y="1626"/>
                    </a:lnTo>
                    <a:lnTo>
                      <a:pt x="1400" y="1626"/>
                    </a:lnTo>
                    <a:close/>
                    <a:moveTo>
                      <a:pt x="1232" y="1075"/>
                    </a:moveTo>
                    <a:lnTo>
                      <a:pt x="1232" y="1077"/>
                    </a:lnTo>
                    <a:lnTo>
                      <a:pt x="1234" y="1077"/>
                    </a:lnTo>
                    <a:lnTo>
                      <a:pt x="1234" y="1078"/>
                    </a:lnTo>
                    <a:lnTo>
                      <a:pt x="1232" y="1080"/>
                    </a:lnTo>
                    <a:lnTo>
                      <a:pt x="1230" y="1082"/>
                    </a:lnTo>
                    <a:lnTo>
                      <a:pt x="1232" y="1082"/>
                    </a:lnTo>
                    <a:lnTo>
                      <a:pt x="1230" y="1082"/>
                    </a:lnTo>
                    <a:lnTo>
                      <a:pt x="1230" y="1083"/>
                    </a:lnTo>
                    <a:lnTo>
                      <a:pt x="1232" y="1082"/>
                    </a:lnTo>
                    <a:lnTo>
                      <a:pt x="1232" y="1080"/>
                    </a:lnTo>
                    <a:lnTo>
                      <a:pt x="1234" y="1080"/>
                    </a:lnTo>
                    <a:lnTo>
                      <a:pt x="1234" y="1078"/>
                    </a:lnTo>
                    <a:lnTo>
                      <a:pt x="1234" y="1077"/>
                    </a:lnTo>
                    <a:lnTo>
                      <a:pt x="1236" y="1078"/>
                    </a:lnTo>
                    <a:lnTo>
                      <a:pt x="1237" y="1078"/>
                    </a:lnTo>
                    <a:lnTo>
                      <a:pt x="1237" y="1080"/>
                    </a:lnTo>
                    <a:lnTo>
                      <a:pt x="1239" y="1080"/>
                    </a:lnTo>
                    <a:lnTo>
                      <a:pt x="1239" y="1082"/>
                    </a:lnTo>
                    <a:lnTo>
                      <a:pt x="1241" y="1082"/>
                    </a:lnTo>
                    <a:lnTo>
                      <a:pt x="1241" y="1083"/>
                    </a:lnTo>
                    <a:lnTo>
                      <a:pt x="1239" y="1083"/>
                    </a:lnTo>
                    <a:lnTo>
                      <a:pt x="1239" y="1085"/>
                    </a:lnTo>
                    <a:lnTo>
                      <a:pt x="1237" y="1087"/>
                    </a:lnTo>
                    <a:lnTo>
                      <a:pt x="1236" y="1087"/>
                    </a:lnTo>
                    <a:lnTo>
                      <a:pt x="1234" y="1087"/>
                    </a:lnTo>
                    <a:lnTo>
                      <a:pt x="1232" y="1085"/>
                    </a:lnTo>
                    <a:lnTo>
                      <a:pt x="1230" y="1085"/>
                    </a:lnTo>
                    <a:lnTo>
                      <a:pt x="1232" y="1085"/>
                    </a:lnTo>
                    <a:lnTo>
                      <a:pt x="1230" y="1085"/>
                    </a:lnTo>
                    <a:lnTo>
                      <a:pt x="1232" y="1085"/>
                    </a:lnTo>
                    <a:lnTo>
                      <a:pt x="1230" y="1087"/>
                    </a:lnTo>
                    <a:lnTo>
                      <a:pt x="1232" y="1087"/>
                    </a:lnTo>
                    <a:lnTo>
                      <a:pt x="1234" y="1087"/>
                    </a:lnTo>
                    <a:lnTo>
                      <a:pt x="1234" y="1088"/>
                    </a:lnTo>
                    <a:lnTo>
                      <a:pt x="1236" y="1088"/>
                    </a:lnTo>
                    <a:lnTo>
                      <a:pt x="1237" y="1088"/>
                    </a:lnTo>
                    <a:lnTo>
                      <a:pt x="1237" y="1090"/>
                    </a:lnTo>
                    <a:lnTo>
                      <a:pt x="1236" y="1090"/>
                    </a:lnTo>
                    <a:lnTo>
                      <a:pt x="1236" y="1092"/>
                    </a:lnTo>
                    <a:lnTo>
                      <a:pt x="1234" y="1094"/>
                    </a:lnTo>
                    <a:lnTo>
                      <a:pt x="1234" y="1092"/>
                    </a:lnTo>
                    <a:lnTo>
                      <a:pt x="1234" y="1094"/>
                    </a:lnTo>
                    <a:lnTo>
                      <a:pt x="1232" y="1094"/>
                    </a:lnTo>
                    <a:lnTo>
                      <a:pt x="1230" y="1095"/>
                    </a:lnTo>
                    <a:lnTo>
                      <a:pt x="1230" y="1097"/>
                    </a:lnTo>
                    <a:lnTo>
                      <a:pt x="1229" y="1097"/>
                    </a:lnTo>
                    <a:lnTo>
                      <a:pt x="1229" y="1099"/>
                    </a:lnTo>
                    <a:lnTo>
                      <a:pt x="1227" y="1099"/>
                    </a:lnTo>
                    <a:lnTo>
                      <a:pt x="1227" y="1100"/>
                    </a:lnTo>
                    <a:lnTo>
                      <a:pt x="1225" y="1100"/>
                    </a:lnTo>
                    <a:lnTo>
                      <a:pt x="1224" y="1100"/>
                    </a:lnTo>
                    <a:lnTo>
                      <a:pt x="1224" y="1102"/>
                    </a:lnTo>
                    <a:lnTo>
                      <a:pt x="1222" y="1100"/>
                    </a:lnTo>
                    <a:lnTo>
                      <a:pt x="1220" y="1100"/>
                    </a:lnTo>
                    <a:lnTo>
                      <a:pt x="1220" y="1099"/>
                    </a:lnTo>
                    <a:lnTo>
                      <a:pt x="1220" y="1100"/>
                    </a:lnTo>
                    <a:lnTo>
                      <a:pt x="1220" y="1099"/>
                    </a:lnTo>
                    <a:lnTo>
                      <a:pt x="1219" y="1099"/>
                    </a:lnTo>
                    <a:lnTo>
                      <a:pt x="1219" y="1097"/>
                    </a:lnTo>
                    <a:lnTo>
                      <a:pt x="1217" y="1097"/>
                    </a:lnTo>
                    <a:lnTo>
                      <a:pt x="1217" y="1095"/>
                    </a:lnTo>
                    <a:lnTo>
                      <a:pt x="1219" y="1095"/>
                    </a:lnTo>
                    <a:lnTo>
                      <a:pt x="1220" y="1095"/>
                    </a:lnTo>
                    <a:lnTo>
                      <a:pt x="1220" y="1094"/>
                    </a:lnTo>
                    <a:lnTo>
                      <a:pt x="1222" y="1095"/>
                    </a:lnTo>
                    <a:lnTo>
                      <a:pt x="1224" y="1095"/>
                    </a:lnTo>
                    <a:lnTo>
                      <a:pt x="1222" y="1094"/>
                    </a:lnTo>
                    <a:lnTo>
                      <a:pt x="1220" y="1092"/>
                    </a:lnTo>
                    <a:lnTo>
                      <a:pt x="1222" y="1092"/>
                    </a:lnTo>
                    <a:lnTo>
                      <a:pt x="1220" y="1092"/>
                    </a:lnTo>
                    <a:lnTo>
                      <a:pt x="1220" y="1094"/>
                    </a:lnTo>
                    <a:lnTo>
                      <a:pt x="1219" y="1094"/>
                    </a:lnTo>
                    <a:lnTo>
                      <a:pt x="1219" y="1095"/>
                    </a:lnTo>
                    <a:lnTo>
                      <a:pt x="1217" y="1094"/>
                    </a:lnTo>
                    <a:lnTo>
                      <a:pt x="1217" y="1092"/>
                    </a:lnTo>
                    <a:lnTo>
                      <a:pt x="1219" y="1092"/>
                    </a:lnTo>
                    <a:lnTo>
                      <a:pt x="1217" y="1092"/>
                    </a:lnTo>
                    <a:lnTo>
                      <a:pt x="1215" y="1092"/>
                    </a:lnTo>
                    <a:lnTo>
                      <a:pt x="1215" y="1090"/>
                    </a:lnTo>
                    <a:lnTo>
                      <a:pt x="1215" y="1088"/>
                    </a:lnTo>
                    <a:lnTo>
                      <a:pt x="1215" y="1087"/>
                    </a:lnTo>
                    <a:lnTo>
                      <a:pt x="1215" y="1088"/>
                    </a:lnTo>
                    <a:lnTo>
                      <a:pt x="1215" y="1087"/>
                    </a:lnTo>
                    <a:lnTo>
                      <a:pt x="1215" y="1085"/>
                    </a:lnTo>
                    <a:lnTo>
                      <a:pt x="1217" y="1085"/>
                    </a:lnTo>
                    <a:lnTo>
                      <a:pt x="1217" y="1083"/>
                    </a:lnTo>
                    <a:lnTo>
                      <a:pt x="1217" y="1085"/>
                    </a:lnTo>
                    <a:lnTo>
                      <a:pt x="1219" y="1085"/>
                    </a:lnTo>
                    <a:lnTo>
                      <a:pt x="1217" y="1085"/>
                    </a:lnTo>
                    <a:lnTo>
                      <a:pt x="1219" y="1085"/>
                    </a:lnTo>
                    <a:lnTo>
                      <a:pt x="1219" y="1087"/>
                    </a:lnTo>
                    <a:lnTo>
                      <a:pt x="1219" y="1085"/>
                    </a:lnTo>
                    <a:lnTo>
                      <a:pt x="1220" y="1085"/>
                    </a:lnTo>
                    <a:lnTo>
                      <a:pt x="1220" y="1087"/>
                    </a:lnTo>
                    <a:lnTo>
                      <a:pt x="1222" y="1087"/>
                    </a:lnTo>
                    <a:lnTo>
                      <a:pt x="1224" y="1087"/>
                    </a:lnTo>
                    <a:lnTo>
                      <a:pt x="1222" y="1085"/>
                    </a:lnTo>
                    <a:lnTo>
                      <a:pt x="1220" y="1085"/>
                    </a:lnTo>
                    <a:lnTo>
                      <a:pt x="1222" y="1085"/>
                    </a:lnTo>
                    <a:lnTo>
                      <a:pt x="1220" y="1083"/>
                    </a:lnTo>
                    <a:lnTo>
                      <a:pt x="1222" y="1083"/>
                    </a:lnTo>
                    <a:lnTo>
                      <a:pt x="1222" y="1082"/>
                    </a:lnTo>
                    <a:lnTo>
                      <a:pt x="1222" y="1083"/>
                    </a:lnTo>
                    <a:lnTo>
                      <a:pt x="1224" y="1083"/>
                    </a:lnTo>
                    <a:lnTo>
                      <a:pt x="1225" y="1083"/>
                    </a:lnTo>
                    <a:lnTo>
                      <a:pt x="1225" y="1085"/>
                    </a:lnTo>
                    <a:lnTo>
                      <a:pt x="1225" y="1083"/>
                    </a:lnTo>
                    <a:lnTo>
                      <a:pt x="1225" y="1082"/>
                    </a:lnTo>
                    <a:lnTo>
                      <a:pt x="1224" y="1082"/>
                    </a:lnTo>
                    <a:lnTo>
                      <a:pt x="1222" y="1082"/>
                    </a:lnTo>
                    <a:lnTo>
                      <a:pt x="1222" y="1080"/>
                    </a:lnTo>
                    <a:lnTo>
                      <a:pt x="1222" y="1078"/>
                    </a:lnTo>
                    <a:lnTo>
                      <a:pt x="1222" y="1077"/>
                    </a:lnTo>
                    <a:lnTo>
                      <a:pt x="1224" y="1077"/>
                    </a:lnTo>
                    <a:lnTo>
                      <a:pt x="1225" y="1077"/>
                    </a:lnTo>
                    <a:lnTo>
                      <a:pt x="1225" y="1078"/>
                    </a:lnTo>
                    <a:lnTo>
                      <a:pt x="1225" y="1077"/>
                    </a:lnTo>
                    <a:lnTo>
                      <a:pt x="1227" y="1077"/>
                    </a:lnTo>
                    <a:lnTo>
                      <a:pt x="1227" y="1075"/>
                    </a:lnTo>
                    <a:lnTo>
                      <a:pt x="1229" y="1075"/>
                    </a:lnTo>
                    <a:lnTo>
                      <a:pt x="1230" y="1075"/>
                    </a:lnTo>
                    <a:lnTo>
                      <a:pt x="1232" y="1075"/>
                    </a:lnTo>
                    <a:close/>
                    <a:moveTo>
                      <a:pt x="1315" y="1549"/>
                    </a:moveTo>
                    <a:lnTo>
                      <a:pt x="1315" y="1551"/>
                    </a:lnTo>
                    <a:lnTo>
                      <a:pt x="1315" y="1553"/>
                    </a:lnTo>
                    <a:lnTo>
                      <a:pt x="1315" y="1555"/>
                    </a:lnTo>
                    <a:lnTo>
                      <a:pt x="1315" y="1556"/>
                    </a:lnTo>
                    <a:lnTo>
                      <a:pt x="1315" y="1558"/>
                    </a:lnTo>
                    <a:lnTo>
                      <a:pt x="1315" y="1560"/>
                    </a:lnTo>
                    <a:lnTo>
                      <a:pt x="1315" y="1561"/>
                    </a:lnTo>
                    <a:lnTo>
                      <a:pt x="1317" y="1563"/>
                    </a:lnTo>
                    <a:lnTo>
                      <a:pt x="1315" y="1563"/>
                    </a:lnTo>
                    <a:lnTo>
                      <a:pt x="1317" y="1565"/>
                    </a:lnTo>
                    <a:lnTo>
                      <a:pt x="1315" y="1565"/>
                    </a:lnTo>
                    <a:lnTo>
                      <a:pt x="1317" y="1566"/>
                    </a:lnTo>
                    <a:lnTo>
                      <a:pt x="1315" y="1566"/>
                    </a:lnTo>
                    <a:lnTo>
                      <a:pt x="1315" y="1568"/>
                    </a:lnTo>
                    <a:lnTo>
                      <a:pt x="1317" y="1570"/>
                    </a:lnTo>
                    <a:lnTo>
                      <a:pt x="1319" y="1572"/>
                    </a:lnTo>
                    <a:lnTo>
                      <a:pt x="1319" y="1573"/>
                    </a:lnTo>
                    <a:lnTo>
                      <a:pt x="1321" y="1575"/>
                    </a:lnTo>
                    <a:lnTo>
                      <a:pt x="1319" y="1577"/>
                    </a:lnTo>
                    <a:lnTo>
                      <a:pt x="1317" y="1577"/>
                    </a:lnTo>
                    <a:lnTo>
                      <a:pt x="1317" y="1578"/>
                    </a:lnTo>
                    <a:lnTo>
                      <a:pt x="1315" y="1577"/>
                    </a:lnTo>
                    <a:lnTo>
                      <a:pt x="1314" y="1575"/>
                    </a:lnTo>
                    <a:lnTo>
                      <a:pt x="1312" y="1573"/>
                    </a:lnTo>
                    <a:lnTo>
                      <a:pt x="1310" y="1572"/>
                    </a:lnTo>
                    <a:lnTo>
                      <a:pt x="1309" y="1570"/>
                    </a:lnTo>
                    <a:lnTo>
                      <a:pt x="1309" y="1572"/>
                    </a:lnTo>
                    <a:lnTo>
                      <a:pt x="1309" y="1573"/>
                    </a:lnTo>
                    <a:lnTo>
                      <a:pt x="1310" y="1573"/>
                    </a:lnTo>
                    <a:lnTo>
                      <a:pt x="1310" y="1575"/>
                    </a:lnTo>
                    <a:lnTo>
                      <a:pt x="1312" y="1575"/>
                    </a:lnTo>
                    <a:lnTo>
                      <a:pt x="1312" y="1577"/>
                    </a:lnTo>
                    <a:lnTo>
                      <a:pt x="1312" y="1578"/>
                    </a:lnTo>
                    <a:lnTo>
                      <a:pt x="1312" y="1580"/>
                    </a:lnTo>
                    <a:lnTo>
                      <a:pt x="1312" y="1582"/>
                    </a:lnTo>
                    <a:lnTo>
                      <a:pt x="1314" y="1582"/>
                    </a:lnTo>
                    <a:lnTo>
                      <a:pt x="1314" y="1583"/>
                    </a:lnTo>
                    <a:lnTo>
                      <a:pt x="1314" y="1582"/>
                    </a:lnTo>
                    <a:lnTo>
                      <a:pt x="1315" y="1582"/>
                    </a:lnTo>
                    <a:lnTo>
                      <a:pt x="1315" y="1583"/>
                    </a:lnTo>
                    <a:lnTo>
                      <a:pt x="1317" y="1583"/>
                    </a:lnTo>
                    <a:lnTo>
                      <a:pt x="1317" y="1585"/>
                    </a:lnTo>
                    <a:lnTo>
                      <a:pt x="1319" y="1585"/>
                    </a:lnTo>
                    <a:lnTo>
                      <a:pt x="1321" y="1585"/>
                    </a:lnTo>
                    <a:lnTo>
                      <a:pt x="1322" y="1585"/>
                    </a:lnTo>
                    <a:lnTo>
                      <a:pt x="1321" y="1585"/>
                    </a:lnTo>
                    <a:lnTo>
                      <a:pt x="1322" y="1587"/>
                    </a:lnTo>
                    <a:lnTo>
                      <a:pt x="1321" y="1589"/>
                    </a:lnTo>
                    <a:lnTo>
                      <a:pt x="1322" y="1587"/>
                    </a:lnTo>
                    <a:lnTo>
                      <a:pt x="1324" y="1587"/>
                    </a:lnTo>
                    <a:lnTo>
                      <a:pt x="1324" y="1589"/>
                    </a:lnTo>
                    <a:lnTo>
                      <a:pt x="1322" y="1590"/>
                    </a:lnTo>
                    <a:lnTo>
                      <a:pt x="1321" y="1590"/>
                    </a:lnTo>
                    <a:lnTo>
                      <a:pt x="1319" y="1590"/>
                    </a:lnTo>
                    <a:lnTo>
                      <a:pt x="1317" y="1589"/>
                    </a:lnTo>
                    <a:lnTo>
                      <a:pt x="1315" y="1589"/>
                    </a:lnTo>
                    <a:lnTo>
                      <a:pt x="1314" y="1587"/>
                    </a:lnTo>
                    <a:lnTo>
                      <a:pt x="1315" y="1589"/>
                    </a:lnTo>
                    <a:lnTo>
                      <a:pt x="1314" y="1589"/>
                    </a:lnTo>
                    <a:lnTo>
                      <a:pt x="1312" y="1587"/>
                    </a:lnTo>
                    <a:lnTo>
                      <a:pt x="1310" y="1587"/>
                    </a:lnTo>
                    <a:lnTo>
                      <a:pt x="1309" y="1585"/>
                    </a:lnTo>
                    <a:lnTo>
                      <a:pt x="1307" y="1585"/>
                    </a:lnTo>
                    <a:lnTo>
                      <a:pt x="1305" y="1583"/>
                    </a:lnTo>
                    <a:lnTo>
                      <a:pt x="1305" y="1582"/>
                    </a:lnTo>
                    <a:lnTo>
                      <a:pt x="1304" y="1582"/>
                    </a:lnTo>
                    <a:lnTo>
                      <a:pt x="1304" y="1580"/>
                    </a:lnTo>
                    <a:lnTo>
                      <a:pt x="1305" y="1580"/>
                    </a:lnTo>
                    <a:lnTo>
                      <a:pt x="1304" y="1580"/>
                    </a:lnTo>
                    <a:lnTo>
                      <a:pt x="1302" y="1578"/>
                    </a:lnTo>
                    <a:lnTo>
                      <a:pt x="1302" y="1577"/>
                    </a:lnTo>
                    <a:lnTo>
                      <a:pt x="1302" y="1575"/>
                    </a:lnTo>
                    <a:lnTo>
                      <a:pt x="1302" y="1573"/>
                    </a:lnTo>
                    <a:lnTo>
                      <a:pt x="1302" y="1572"/>
                    </a:lnTo>
                    <a:lnTo>
                      <a:pt x="1300" y="1570"/>
                    </a:lnTo>
                    <a:lnTo>
                      <a:pt x="1302" y="1570"/>
                    </a:lnTo>
                    <a:lnTo>
                      <a:pt x="1304" y="1570"/>
                    </a:lnTo>
                    <a:lnTo>
                      <a:pt x="1302" y="1570"/>
                    </a:lnTo>
                    <a:lnTo>
                      <a:pt x="1302" y="1568"/>
                    </a:lnTo>
                    <a:lnTo>
                      <a:pt x="1300" y="1568"/>
                    </a:lnTo>
                    <a:lnTo>
                      <a:pt x="1300" y="1566"/>
                    </a:lnTo>
                    <a:lnTo>
                      <a:pt x="1302" y="1566"/>
                    </a:lnTo>
                    <a:lnTo>
                      <a:pt x="1302" y="1565"/>
                    </a:lnTo>
                    <a:lnTo>
                      <a:pt x="1304" y="1565"/>
                    </a:lnTo>
                    <a:lnTo>
                      <a:pt x="1305" y="1565"/>
                    </a:lnTo>
                    <a:lnTo>
                      <a:pt x="1307" y="1565"/>
                    </a:lnTo>
                    <a:lnTo>
                      <a:pt x="1309" y="1565"/>
                    </a:lnTo>
                    <a:lnTo>
                      <a:pt x="1309" y="1566"/>
                    </a:lnTo>
                    <a:lnTo>
                      <a:pt x="1310" y="1566"/>
                    </a:lnTo>
                    <a:lnTo>
                      <a:pt x="1310" y="1565"/>
                    </a:lnTo>
                    <a:lnTo>
                      <a:pt x="1310" y="1563"/>
                    </a:lnTo>
                    <a:lnTo>
                      <a:pt x="1309" y="1563"/>
                    </a:lnTo>
                    <a:lnTo>
                      <a:pt x="1307" y="1561"/>
                    </a:lnTo>
                    <a:lnTo>
                      <a:pt x="1307" y="1560"/>
                    </a:lnTo>
                    <a:lnTo>
                      <a:pt x="1307" y="1558"/>
                    </a:lnTo>
                    <a:lnTo>
                      <a:pt x="1307" y="1556"/>
                    </a:lnTo>
                    <a:lnTo>
                      <a:pt x="1309" y="1556"/>
                    </a:lnTo>
                    <a:lnTo>
                      <a:pt x="1310" y="1555"/>
                    </a:lnTo>
                    <a:lnTo>
                      <a:pt x="1312" y="1553"/>
                    </a:lnTo>
                    <a:lnTo>
                      <a:pt x="1312" y="1551"/>
                    </a:lnTo>
                    <a:lnTo>
                      <a:pt x="1312" y="1549"/>
                    </a:lnTo>
                    <a:lnTo>
                      <a:pt x="1314" y="1549"/>
                    </a:lnTo>
                    <a:lnTo>
                      <a:pt x="1315" y="1549"/>
                    </a:lnTo>
                    <a:close/>
                    <a:moveTo>
                      <a:pt x="1174" y="1502"/>
                    </a:moveTo>
                    <a:lnTo>
                      <a:pt x="1174" y="1504"/>
                    </a:lnTo>
                    <a:lnTo>
                      <a:pt x="1176" y="1504"/>
                    </a:lnTo>
                    <a:lnTo>
                      <a:pt x="1174" y="1504"/>
                    </a:lnTo>
                    <a:lnTo>
                      <a:pt x="1176" y="1505"/>
                    </a:lnTo>
                    <a:lnTo>
                      <a:pt x="1178" y="1505"/>
                    </a:lnTo>
                    <a:lnTo>
                      <a:pt x="1178" y="1507"/>
                    </a:lnTo>
                    <a:lnTo>
                      <a:pt x="1179" y="1507"/>
                    </a:lnTo>
                    <a:lnTo>
                      <a:pt x="1179" y="1505"/>
                    </a:lnTo>
                    <a:lnTo>
                      <a:pt x="1179" y="1507"/>
                    </a:lnTo>
                    <a:lnTo>
                      <a:pt x="1181" y="1507"/>
                    </a:lnTo>
                    <a:lnTo>
                      <a:pt x="1181" y="1509"/>
                    </a:lnTo>
                    <a:lnTo>
                      <a:pt x="1179" y="1509"/>
                    </a:lnTo>
                    <a:lnTo>
                      <a:pt x="1181" y="1509"/>
                    </a:lnTo>
                    <a:lnTo>
                      <a:pt x="1181" y="1510"/>
                    </a:lnTo>
                    <a:lnTo>
                      <a:pt x="1179" y="1510"/>
                    </a:lnTo>
                    <a:lnTo>
                      <a:pt x="1181" y="1510"/>
                    </a:lnTo>
                    <a:lnTo>
                      <a:pt x="1183" y="1510"/>
                    </a:lnTo>
                    <a:lnTo>
                      <a:pt x="1183" y="1512"/>
                    </a:lnTo>
                    <a:lnTo>
                      <a:pt x="1183" y="1510"/>
                    </a:lnTo>
                    <a:lnTo>
                      <a:pt x="1185" y="1510"/>
                    </a:lnTo>
                    <a:lnTo>
                      <a:pt x="1183" y="1512"/>
                    </a:lnTo>
                    <a:lnTo>
                      <a:pt x="1183" y="1514"/>
                    </a:lnTo>
                    <a:lnTo>
                      <a:pt x="1185" y="1514"/>
                    </a:lnTo>
                    <a:lnTo>
                      <a:pt x="1185" y="1515"/>
                    </a:lnTo>
                    <a:lnTo>
                      <a:pt x="1186" y="1515"/>
                    </a:lnTo>
                    <a:lnTo>
                      <a:pt x="1185" y="1515"/>
                    </a:lnTo>
                    <a:lnTo>
                      <a:pt x="1185" y="1514"/>
                    </a:lnTo>
                    <a:lnTo>
                      <a:pt x="1186" y="1514"/>
                    </a:lnTo>
                    <a:lnTo>
                      <a:pt x="1186" y="1512"/>
                    </a:lnTo>
                    <a:lnTo>
                      <a:pt x="1186" y="1514"/>
                    </a:lnTo>
                    <a:lnTo>
                      <a:pt x="1186" y="1515"/>
                    </a:lnTo>
                    <a:lnTo>
                      <a:pt x="1188" y="1515"/>
                    </a:lnTo>
                    <a:lnTo>
                      <a:pt x="1186" y="1517"/>
                    </a:lnTo>
                    <a:lnTo>
                      <a:pt x="1188" y="1515"/>
                    </a:lnTo>
                    <a:lnTo>
                      <a:pt x="1188" y="1514"/>
                    </a:lnTo>
                    <a:lnTo>
                      <a:pt x="1188" y="1515"/>
                    </a:lnTo>
                    <a:lnTo>
                      <a:pt x="1190" y="1515"/>
                    </a:lnTo>
                    <a:lnTo>
                      <a:pt x="1190" y="1517"/>
                    </a:lnTo>
                    <a:lnTo>
                      <a:pt x="1190" y="1515"/>
                    </a:lnTo>
                    <a:lnTo>
                      <a:pt x="1191" y="1517"/>
                    </a:lnTo>
                    <a:lnTo>
                      <a:pt x="1190" y="1517"/>
                    </a:lnTo>
                    <a:lnTo>
                      <a:pt x="1191" y="1517"/>
                    </a:lnTo>
                    <a:lnTo>
                      <a:pt x="1193" y="1519"/>
                    </a:lnTo>
                    <a:lnTo>
                      <a:pt x="1193" y="1517"/>
                    </a:lnTo>
                    <a:lnTo>
                      <a:pt x="1193" y="1515"/>
                    </a:lnTo>
                    <a:lnTo>
                      <a:pt x="1191" y="1515"/>
                    </a:lnTo>
                    <a:lnTo>
                      <a:pt x="1191" y="1514"/>
                    </a:lnTo>
                    <a:lnTo>
                      <a:pt x="1193" y="1514"/>
                    </a:lnTo>
                    <a:lnTo>
                      <a:pt x="1193" y="1515"/>
                    </a:lnTo>
                    <a:lnTo>
                      <a:pt x="1195" y="1515"/>
                    </a:lnTo>
                    <a:lnTo>
                      <a:pt x="1193" y="1515"/>
                    </a:lnTo>
                    <a:lnTo>
                      <a:pt x="1195" y="1517"/>
                    </a:lnTo>
                    <a:lnTo>
                      <a:pt x="1196" y="1517"/>
                    </a:lnTo>
                    <a:lnTo>
                      <a:pt x="1195" y="1517"/>
                    </a:lnTo>
                    <a:lnTo>
                      <a:pt x="1196" y="1517"/>
                    </a:lnTo>
                    <a:lnTo>
                      <a:pt x="1198" y="1517"/>
                    </a:lnTo>
                    <a:lnTo>
                      <a:pt x="1198" y="1519"/>
                    </a:lnTo>
                    <a:lnTo>
                      <a:pt x="1196" y="1517"/>
                    </a:lnTo>
                    <a:lnTo>
                      <a:pt x="1198" y="1519"/>
                    </a:lnTo>
                    <a:lnTo>
                      <a:pt x="1196" y="1519"/>
                    </a:lnTo>
                    <a:lnTo>
                      <a:pt x="1198" y="1519"/>
                    </a:lnTo>
                    <a:lnTo>
                      <a:pt x="1198" y="1521"/>
                    </a:lnTo>
                    <a:lnTo>
                      <a:pt x="1200" y="1521"/>
                    </a:lnTo>
                    <a:lnTo>
                      <a:pt x="1198" y="1521"/>
                    </a:lnTo>
                    <a:lnTo>
                      <a:pt x="1200" y="1521"/>
                    </a:lnTo>
                    <a:lnTo>
                      <a:pt x="1198" y="1519"/>
                    </a:lnTo>
                    <a:lnTo>
                      <a:pt x="1200" y="1519"/>
                    </a:lnTo>
                    <a:lnTo>
                      <a:pt x="1202" y="1519"/>
                    </a:lnTo>
                    <a:lnTo>
                      <a:pt x="1202" y="1521"/>
                    </a:lnTo>
                    <a:lnTo>
                      <a:pt x="1203" y="1522"/>
                    </a:lnTo>
                    <a:lnTo>
                      <a:pt x="1202" y="1521"/>
                    </a:lnTo>
                    <a:lnTo>
                      <a:pt x="1202" y="1519"/>
                    </a:lnTo>
                    <a:lnTo>
                      <a:pt x="1203" y="1521"/>
                    </a:lnTo>
                    <a:lnTo>
                      <a:pt x="1205" y="1522"/>
                    </a:lnTo>
                    <a:lnTo>
                      <a:pt x="1205" y="1521"/>
                    </a:lnTo>
                    <a:lnTo>
                      <a:pt x="1205" y="1522"/>
                    </a:lnTo>
                    <a:lnTo>
                      <a:pt x="1207" y="1522"/>
                    </a:lnTo>
                    <a:lnTo>
                      <a:pt x="1205" y="1522"/>
                    </a:lnTo>
                    <a:lnTo>
                      <a:pt x="1207" y="1522"/>
                    </a:lnTo>
                    <a:lnTo>
                      <a:pt x="1207" y="1524"/>
                    </a:lnTo>
                    <a:lnTo>
                      <a:pt x="1208" y="1524"/>
                    </a:lnTo>
                    <a:lnTo>
                      <a:pt x="1207" y="1524"/>
                    </a:lnTo>
                    <a:lnTo>
                      <a:pt x="1208" y="1524"/>
                    </a:lnTo>
                    <a:lnTo>
                      <a:pt x="1208" y="1526"/>
                    </a:lnTo>
                    <a:lnTo>
                      <a:pt x="1208" y="1527"/>
                    </a:lnTo>
                    <a:lnTo>
                      <a:pt x="1208" y="1526"/>
                    </a:lnTo>
                    <a:lnTo>
                      <a:pt x="1210" y="1526"/>
                    </a:lnTo>
                    <a:lnTo>
                      <a:pt x="1208" y="1526"/>
                    </a:lnTo>
                    <a:lnTo>
                      <a:pt x="1208" y="1524"/>
                    </a:lnTo>
                    <a:lnTo>
                      <a:pt x="1208" y="1522"/>
                    </a:lnTo>
                    <a:lnTo>
                      <a:pt x="1210" y="1522"/>
                    </a:lnTo>
                    <a:lnTo>
                      <a:pt x="1208" y="1522"/>
                    </a:lnTo>
                    <a:lnTo>
                      <a:pt x="1210" y="1524"/>
                    </a:lnTo>
                    <a:lnTo>
                      <a:pt x="1212" y="1524"/>
                    </a:lnTo>
                    <a:lnTo>
                      <a:pt x="1212" y="1526"/>
                    </a:lnTo>
                    <a:lnTo>
                      <a:pt x="1212" y="1527"/>
                    </a:lnTo>
                    <a:lnTo>
                      <a:pt x="1210" y="1527"/>
                    </a:lnTo>
                    <a:lnTo>
                      <a:pt x="1212" y="1529"/>
                    </a:lnTo>
                    <a:lnTo>
                      <a:pt x="1212" y="1531"/>
                    </a:lnTo>
                    <a:lnTo>
                      <a:pt x="1212" y="1532"/>
                    </a:lnTo>
                    <a:lnTo>
                      <a:pt x="1213" y="1532"/>
                    </a:lnTo>
                    <a:lnTo>
                      <a:pt x="1213" y="1534"/>
                    </a:lnTo>
                    <a:lnTo>
                      <a:pt x="1213" y="1532"/>
                    </a:lnTo>
                    <a:lnTo>
                      <a:pt x="1213" y="1531"/>
                    </a:lnTo>
                    <a:lnTo>
                      <a:pt x="1215" y="1531"/>
                    </a:lnTo>
                    <a:lnTo>
                      <a:pt x="1213" y="1531"/>
                    </a:lnTo>
                    <a:lnTo>
                      <a:pt x="1215" y="1529"/>
                    </a:lnTo>
                    <a:lnTo>
                      <a:pt x="1213" y="1531"/>
                    </a:lnTo>
                    <a:lnTo>
                      <a:pt x="1213" y="1529"/>
                    </a:lnTo>
                    <a:lnTo>
                      <a:pt x="1213" y="1527"/>
                    </a:lnTo>
                    <a:lnTo>
                      <a:pt x="1212" y="1527"/>
                    </a:lnTo>
                    <a:lnTo>
                      <a:pt x="1213" y="1527"/>
                    </a:lnTo>
                    <a:lnTo>
                      <a:pt x="1213" y="1526"/>
                    </a:lnTo>
                    <a:lnTo>
                      <a:pt x="1215" y="1526"/>
                    </a:lnTo>
                    <a:lnTo>
                      <a:pt x="1215" y="1527"/>
                    </a:lnTo>
                    <a:lnTo>
                      <a:pt x="1217" y="1527"/>
                    </a:lnTo>
                    <a:lnTo>
                      <a:pt x="1215" y="1527"/>
                    </a:lnTo>
                    <a:lnTo>
                      <a:pt x="1217" y="1527"/>
                    </a:lnTo>
                    <a:lnTo>
                      <a:pt x="1217" y="1529"/>
                    </a:lnTo>
                    <a:lnTo>
                      <a:pt x="1217" y="1527"/>
                    </a:lnTo>
                    <a:lnTo>
                      <a:pt x="1217" y="1529"/>
                    </a:lnTo>
                    <a:lnTo>
                      <a:pt x="1215" y="1529"/>
                    </a:lnTo>
                    <a:lnTo>
                      <a:pt x="1217" y="1529"/>
                    </a:lnTo>
                    <a:lnTo>
                      <a:pt x="1215" y="1529"/>
                    </a:lnTo>
                    <a:lnTo>
                      <a:pt x="1217" y="1529"/>
                    </a:lnTo>
                    <a:lnTo>
                      <a:pt x="1219" y="1529"/>
                    </a:lnTo>
                    <a:lnTo>
                      <a:pt x="1217" y="1529"/>
                    </a:lnTo>
                    <a:lnTo>
                      <a:pt x="1219" y="1529"/>
                    </a:lnTo>
                    <a:lnTo>
                      <a:pt x="1219" y="1531"/>
                    </a:lnTo>
                    <a:lnTo>
                      <a:pt x="1220" y="1531"/>
                    </a:lnTo>
                    <a:lnTo>
                      <a:pt x="1219" y="1531"/>
                    </a:lnTo>
                    <a:lnTo>
                      <a:pt x="1219" y="1532"/>
                    </a:lnTo>
                    <a:lnTo>
                      <a:pt x="1217" y="1532"/>
                    </a:lnTo>
                    <a:lnTo>
                      <a:pt x="1219" y="1532"/>
                    </a:lnTo>
                    <a:lnTo>
                      <a:pt x="1217" y="1532"/>
                    </a:lnTo>
                    <a:lnTo>
                      <a:pt x="1219" y="1532"/>
                    </a:lnTo>
                    <a:lnTo>
                      <a:pt x="1220" y="1532"/>
                    </a:lnTo>
                    <a:lnTo>
                      <a:pt x="1220" y="1534"/>
                    </a:lnTo>
                    <a:lnTo>
                      <a:pt x="1222" y="1534"/>
                    </a:lnTo>
                    <a:lnTo>
                      <a:pt x="1224" y="1534"/>
                    </a:lnTo>
                    <a:lnTo>
                      <a:pt x="1224" y="1536"/>
                    </a:lnTo>
                    <a:lnTo>
                      <a:pt x="1222" y="1536"/>
                    </a:lnTo>
                    <a:lnTo>
                      <a:pt x="1224" y="1536"/>
                    </a:lnTo>
                    <a:lnTo>
                      <a:pt x="1225" y="1536"/>
                    </a:lnTo>
                    <a:lnTo>
                      <a:pt x="1225" y="1538"/>
                    </a:lnTo>
                    <a:lnTo>
                      <a:pt x="1227" y="1538"/>
                    </a:lnTo>
                    <a:lnTo>
                      <a:pt x="1225" y="1539"/>
                    </a:lnTo>
                    <a:lnTo>
                      <a:pt x="1225" y="1538"/>
                    </a:lnTo>
                    <a:lnTo>
                      <a:pt x="1224" y="1539"/>
                    </a:lnTo>
                    <a:lnTo>
                      <a:pt x="1222" y="1539"/>
                    </a:lnTo>
                    <a:lnTo>
                      <a:pt x="1222" y="1538"/>
                    </a:lnTo>
                    <a:lnTo>
                      <a:pt x="1222" y="1539"/>
                    </a:lnTo>
                    <a:lnTo>
                      <a:pt x="1220" y="1539"/>
                    </a:lnTo>
                    <a:lnTo>
                      <a:pt x="1220" y="1538"/>
                    </a:lnTo>
                    <a:lnTo>
                      <a:pt x="1219" y="1538"/>
                    </a:lnTo>
                    <a:lnTo>
                      <a:pt x="1217" y="1536"/>
                    </a:lnTo>
                    <a:lnTo>
                      <a:pt x="1219" y="1536"/>
                    </a:lnTo>
                    <a:lnTo>
                      <a:pt x="1217" y="1536"/>
                    </a:lnTo>
                    <a:lnTo>
                      <a:pt x="1215" y="1536"/>
                    </a:lnTo>
                    <a:lnTo>
                      <a:pt x="1215" y="1538"/>
                    </a:lnTo>
                    <a:lnTo>
                      <a:pt x="1215" y="1536"/>
                    </a:lnTo>
                    <a:lnTo>
                      <a:pt x="1213" y="1538"/>
                    </a:lnTo>
                    <a:lnTo>
                      <a:pt x="1212" y="1538"/>
                    </a:lnTo>
                    <a:lnTo>
                      <a:pt x="1210" y="1538"/>
                    </a:lnTo>
                    <a:lnTo>
                      <a:pt x="1210" y="1536"/>
                    </a:lnTo>
                    <a:lnTo>
                      <a:pt x="1208" y="1534"/>
                    </a:lnTo>
                    <a:lnTo>
                      <a:pt x="1210" y="1534"/>
                    </a:lnTo>
                    <a:lnTo>
                      <a:pt x="1212" y="1534"/>
                    </a:lnTo>
                    <a:lnTo>
                      <a:pt x="1212" y="1536"/>
                    </a:lnTo>
                    <a:lnTo>
                      <a:pt x="1212" y="1534"/>
                    </a:lnTo>
                    <a:lnTo>
                      <a:pt x="1213" y="1536"/>
                    </a:lnTo>
                    <a:lnTo>
                      <a:pt x="1213" y="1534"/>
                    </a:lnTo>
                    <a:lnTo>
                      <a:pt x="1212" y="1534"/>
                    </a:lnTo>
                    <a:lnTo>
                      <a:pt x="1210" y="1534"/>
                    </a:lnTo>
                    <a:lnTo>
                      <a:pt x="1210" y="1532"/>
                    </a:lnTo>
                    <a:lnTo>
                      <a:pt x="1210" y="1531"/>
                    </a:lnTo>
                    <a:lnTo>
                      <a:pt x="1212" y="1531"/>
                    </a:lnTo>
                    <a:lnTo>
                      <a:pt x="1210" y="1531"/>
                    </a:lnTo>
                    <a:lnTo>
                      <a:pt x="1210" y="1529"/>
                    </a:lnTo>
                    <a:lnTo>
                      <a:pt x="1210" y="1531"/>
                    </a:lnTo>
                    <a:lnTo>
                      <a:pt x="1210" y="1529"/>
                    </a:lnTo>
                    <a:lnTo>
                      <a:pt x="1208" y="1527"/>
                    </a:lnTo>
                    <a:lnTo>
                      <a:pt x="1208" y="1529"/>
                    </a:lnTo>
                    <a:lnTo>
                      <a:pt x="1208" y="1531"/>
                    </a:lnTo>
                    <a:lnTo>
                      <a:pt x="1208" y="1529"/>
                    </a:lnTo>
                    <a:lnTo>
                      <a:pt x="1207" y="1529"/>
                    </a:lnTo>
                    <a:lnTo>
                      <a:pt x="1207" y="1527"/>
                    </a:lnTo>
                    <a:lnTo>
                      <a:pt x="1207" y="1526"/>
                    </a:lnTo>
                    <a:lnTo>
                      <a:pt x="1205" y="1526"/>
                    </a:lnTo>
                    <a:lnTo>
                      <a:pt x="1207" y="1527"/>
                    </a:lnTo>
                    <a:lnTo>
                      <a:pt x="1205" y="1527"/>
                    </a:lnTo>
                    <a:lnTo>
                      <a:pt x="1205" y="1529"/>
                    </a:lnTo>
                    <a:lnTo>
                      <a:pt x="1205" y="1527"/>
                    </a:lnTo>
                    <a:lnTo>
                      <a:pt x="1207" y="1527"/>
                    </a:lnTo>
                    <a:lnTo>
                      <a:pt x="1205" y="1527"/>
                    </a:lnTo>
                    <a:lnTo>
                      <a:pt x="1203" y="1527"/>
                    </a:lnTo>
                    <a:lnTo>
                      <a:pt x="1203" y="1526"/>
                    </a:lnTo>
                    <a:lnTo>
                      <a:pt x="1203" y="1524"/>
                    </a:lnTo>
                    <a:lnTo>
                      <a:pt x="1202" y="1524"/>
                    </a:lnTo>
                    <a:lnTo>
                      <a:pt x="1203" y="1526"/>
                    </a:lnTo>
                    <a:lnTo>
                      <a:pt x="1203" y="1527"/>
                    </a:lnTo>
                    <a:lnTo>
                      <a:pt x="1203" y="1526"/>
                    </a:lnTo>
                    <a:lnTo>
                      <a:pt x="1202" y="1526"/>
                    </a:lnTo>
                    <a:lnTo>
                      <a:pt x="1202" y="1524"/>
                    </a:lnTo>
                    <a:lnTo>
                      <a:pt x="1202" y="1522"/>
                    </a:lnTo>
                    <a:lnTo>
                      <a:pt x="1200" y="1522"/>
                    </a:lnTo>
                    <a:lnTo>
                      <a:pt x="1200" y="1521"/>
                    </a:lnTo>
                    <a:lnTo>
                      <a:pt x="1200" y="1522"/>
                    </a:lnTo>
                    <a:lnTo>
                      <a:pt x="1200" y="1524"/>
                    </a:lnTo>
                    <a:lnTo>
                      <a:pt x="1198" y="1522"/>
                    </a:lnTo>
                    <a:lnTo>
                      <a:pt x="1196" y="1524"/>
                    </a:lnTo>
                    <a:lnTo>
                      <a:pt x="1196" y="1522"/>
                    </a:lnTo>
                    <a:lnTo>
                      <a:pt x="1195" y="1522"/>
                    </a:lnTo>
                    <a:lnTo>
                      <a:pt x="1195" y="1521"/>
                    </a:lnTo>
                    <a:lnTo>
                      <a:pt x="1195" y="1522"/>
                    </a:lnTo>
                    <a:lnTo>
                      <a:pt x="1193" y="1521"/>
                    </a:lnTo>
                    <a:lnTo>
                      <a:pt x="1195" y="1522"/>
                    </a:lnTo>
                    <a:lnTo>
                      <a:pt x="1196" y="1524"/>
                    </a:lnTo>
                    <a:lnTo>
                      <a:pt x="1195" y="1524"/>
                    </a:lnTo>
                    <a:lnTo>
                      <a:pt x="1193" y="1526"/>
                    </a:lnTo>
                    <a:lnTo>
                      <a:pt x="1195" y="1524"/>
                    </a:lnTo>
                    <a:lnTo>
                      <a:pt x="1193" y="1524"/>
                    </a:lnTo>
                    <a:lnTo>
                      <a:pt x="1193" y="1522"/>
                    </a:lnTo>
                    <a:lnTo>
                      <a:pt x="1193" y="1524"/>
                    </a:lnTo>
                    <a:lnTo>
                      <a:pt x="1191" y="1522"/>
                    </a:lnTo>
                    <a:lnTo>
                      <a:pt x="1191" y="1524"/>
                    </a:lnTo>
                    <a:lnTo>
                      <a:pt x="1191" y="1522"/>
                    </a:lnTo>
                    <a:lnTo>
                      <a:pt x="1190" y="1522"/>
                    </a:lnTo>
                    <a:lnTo>
                      <a:pt x="1191" y="1524"/>
                    </a:lnTo>
                    <a:lnTo>
                      <a:pt x="1190" y="1524"/>
                    </a:lnTo>
                    <a:lnTo>
                      <a:pt x="1190" y="1522"/>
                    </a:lnTo>
                    <a:lnTo>
                      <a:pt x="1188" y="1521"/>
                    </a:lnTo>
                    <a:lnTo>
                      <a:pt x="1190" y="1521"/>
                    </a:lnTo>
                    <a:lnTo>
                      <a:pt x="1188" y="1519"/>
                    </a:lnTo>
                    <a:lnTo>
                      <a:pt x="1188" y="1521"/>
                    </a:lnTo>
                    <a:lnTo>
                      <a:pt x="1190" y="1522"/>
                    </a:lnTo>
                    <a:lnTo>
                      <a:pt x="1188" y="1524"/>
                    </a:lnTo>
                    <a:lnTo>
                      <a:pt x="1188" y="1526"/>
                    </a:lnTo>
                    <a:lnTo>
                      <a:pt x="1188" y="1524"/>
                    </a:lnTo>
                    <a:lnTo>
                      <a:pt x="1188" y="1522"/>
                    </a:lnTo>
                    <a:lnTo>
                      <a:pt x="1188" y="1524"/>
                    </a:lnTo>
                    <a:lnTo>
                      <a:pt x="1186" y="1524"/>
                    </a:lnTo>
                    <a:lnTo>
                      <a:pt x="1185" y="1524"/>
                    </a:lnTo>
                    <a:lnTo>
                      <a:pt x="1185" y="1522"/>
                    </a:lnTo>
                    <a:lnTo>
                      <a:pt x="1186" y="1522"/>
                    </a:lnTo>
                    <a:lnTo>
                      <a:pt x="1186" y="1521"/>
                    </a:lnTo>
                    <a:lnTo>
                      <a:pt x="1185" y="1521"/>
                    </a:lnTo>
                    <a:lnTo>
                      <a:pt x="1185" y="1519"/>
                    </a:lnTo>
                    <a:lnTo>
                      <a:pt x="1185" y="1521"/>
                    </a:lnTo>
                    <a:lnTo>
                      <a:pt x="1185" y="1522"/>
                    </a:lnTo>
                    <a:lnTo>
                      <a:pt x="1185" y="1521"/>
                    </a:lnTo>
                    <a:lnTo>
                      <a:pt x="1183" y="1521"/>
                    </a:lnTo>
                    <a:lnTo>
                      <a:pt x="1183" y="1519"/>
                    </a:lnTo>
                    <a:lnTo>
                      <a:pt x="1183" y="1517"/>
                    </a:lnTo>
                    <a:lnTo>
                      <a:pt x="1181" y="1517"/>
                    </a:lnTo>
                    <a:lnTo>
                      <a:pt x="1181" y="1515"/>
                    </a:lnTo>
                    <a:lnTo>
                      <a:pt x="1181" y="1517"/>
                    </a:lnTo>
                    <a:lnTo>
                      <a:pt x="1179" y="1517"/>
                    </a:lnTo>
                    <a:lnTo>
                      <a:pt x="1181" y="1515"/>
                    </a:lnTo>
                    <a:lnTo>
                      <a:pt x="1179" y="1517"/>
                    </a:lnTo>
                    <a:lnTo>
                      <a:pt x="1179" y="1515"/>
                    </a:lnTo>
                    <a:lnTo>
                      <a:pt x="1179" y="1514"/>
                    </a:lnTo>
                    <a:lnTo>
                      <a:pt x="1179" y="1512"/>
                    </a:lnTo>
                    <a:lnTo>
                      <a:pt x="1179" y="1514"/>
                    </a:lnTo>
                    <a:lnTo>
                      <a:pt x="1179" y="1515"/>
                    </a:lnTo>
                    <a:lnTo>
                      <a:pt x="1179" y="1514"/>
                    </a:lnTo>
                    <a:lnTo>
                      <a:pt x="1178" y="1515"/>
                    </a:lnTo>
                    <a:lnTo>
                      <a:pt x="1176" y="1515"/>
                    </a:lnTo>
                    <a:lnTo>
                      <a:pt x="1176" y="1514"/>
                    </a:lnTo>
                    <a:lnTo>
                      <a:pt x="1176" y="1512"/>
                    </a:lnTo>
                    <a:lnTo>
                      <a:pt x="1176" y="1510"/>
                    </a:lnTo>
                    <a:lnTo>
                      <a:pt x="1174" y="1510"/>
                    </a:lnTo>
                    <a:lnTo>
                      <a:pt x="1174" y="1509"/>
                    </a:lnTo>
                    <a:lnTo>
                      <a:pt x="1176" y="1509"/>
                    </a:lnTo>
                    <a:lnTo>
                      <a:pt x="1176" y="1510"/>
                    </a:lnTo>
                    <a:lnTo>
                      <a:pt x="1178" y="1510"/>
                    </a:lnTo>
                    <a:lnTo>
                      <a:pt x="1176" y="1510"/>
                    </a:lnTo>
                    <a:lnTo>
                      <a:pt x="1176" y="1509"/>
                    </a:lnTo>
                    <a:lnTo>
                      <a:pt x="1174" y="1509"/>
                    </a:lnTo>
                    <a:lnTo>
                      <a:pt x="1173" y="1507"/>
                    </a:lnTo>
                    <a:lnTo>
                      <a:pt x="1174" y="1507"/>
                    </a:lnTo>
                    <a:lnTo>
                      <a:pt x="1176" y="1507"/>
                    </a:lnTo>
                    <a:lnTo>
                      <a:pt x="1174" y="1507"/>
                    </a:lnTo>
                    <a:lnTo>
                      <a:pt x="1173" y="1505"/>
                    </a:lnTo>
                    <a:lnTo>
                      <a:pt x="1173" y="1504"/>
                    </a:lnTo>
                    <a:lnTo>
                      <a:pt x="1171" y="1502"/>
                    </a:lnTo>
                    <a:lnTo>
                      <a:pt x="1173" y="1504"/>
                    </a:lnTo>
                    <a:lnTo>
                      <a:pt x="1173" y="1502"/>
                    </a:lnTo>
                    <a:lnTo>
                      <a:pt x="1174" y="1502"/>
                    </a:lnTo>
                    <a:close/>
                    <a:moveTo>
                      <a:pt x="1278" y="1572"/>
                    </a:moveTo>
                    <a:lnTo>
                      <a:pt x="1276" y="1572"/>
                    </a:lnTo>
                    <a:lnTo>
                      <a:pt x="1278" y="1572"/>
                    </a:lnTo>
                    <a:lnTo>
                      <a:pt x="1280" y="1572"/>
                    </a:lnTo>
                    <a:lnTo>
                      <a:pt x="1280" y="1573"/>
                    </a:lnTo>
                    <a:lnTo>
                      <a:pt x="1280" y="1572"/>
                    </a:lnTo>
                    <a:lnTo>
                      <a:pt x="1281" y="1573"/>
                    </a:lnTo>
                    <a:lnTo>
                      <a:pt x="1280" y="1575"/>
                    </a:lnTo>
                    <a:lnTo>
                      <a:pt x="1281" y="1573"/>
                    </a:lnTo>
                    <a:lnTo>
                      <a:pt x="1280" y="1572"/>
                    </a:lnTo>
                    <a:lnTo>
                      <a:pt x="1281" y="1572"/>
                    </a:lnTo>
                    <a:lnTo>
                      <a:pt x="1283" y="1572"/>
                    </a:lnTo>
                    <a:lnTo>
                      <a:pt x="1283" y="1573"/>
                    </a:lnTo>
                    <a:lnTo>
                      <a:pt x="1281" y="1573"/>
                    </a:lnTo>
                    <a:lnTo>
                      <a:pt x="1283" y="1575"/>
                    </a:lnTo>
                    <a:lnTo>
                      <a:pt x="1283" y="1573"/>
                    </a:lnTo>
                    <a:lnTo>
                      <a:pt x="1283" y="1575"/>
                    </a:lnTo>
                    <a:lnTo>
                      <a:pt x="1285" y="1577"/>
                    </a:lnTo>
                    <a:lnTo>
                      <a:pt x="1283" y="1577"/>
                    </a:lnTo>
                    <a:lnTo>
                      <a:pt x="1285" y="1577"/>
                    </a:lnTo>
                    <a:lnTo>
                      <a:pt x="1285" y="1578"/>
                    </a:lnTo>
                    <a:lnTo>
                      <a:pt x="1283" y="1578"/>
                    </a:lnTo>
                    <a:lnTo>
                      <a:pt x="1283" y="1580"/>
                    </a:lnTo>
                    <a:lnTo>
                      <a:pt x="1285" y="1578"/>
                    </a:lnTo>
                    <a:lnTo>
                      <a:pt x="1285" y="1577"/>
                    </a:lnTo>
                    <a:lnTo>
                      <a:pt x="1285" y="1575"/>
                    </a:lnTo>
                    <a:lnTo>
                      <a:pt x="1285" y="1573"/>
                    </a:lnTo>
                    <a:lnTo>
                      <a:pt x="1285" y="1572"/>
                    </a:lnTo>
                    <a:lnTo>
                      <a:pt x="1287" y="1573"/>
                    </a:lnTo>
                    <a:lnTo>
                      <a:pt x="1288" y="1573"/>
                    </a:lnTo>
                    <a:lnTo>
                      <a:pt x="1288" y="1575"/>
                    </a:lnTo>
                    <a:lnTo>
                      <a:pt x="1288" y="1577"/>
                    </a:lnTo>
                    <a:lnTo>
                      <a:pt x="1288" y="1578"/>
                    </a:lnTo>
                    <a:lnTo>
                      <a:pt x="1290" y="1580"/>
                    </a:lnTo>
                    <a:lnTo>
                      <a:pt x="1288" y="1580"/>
                    </a:lnTo>
                    <a:lnTo>
                      <a:pt x="1287" y="1580"/>
                    </a:lnTo>
                    <a:lnTo>
                      <a:pt x="1288" y="1580"/>
                    </a:lnTo>
                    <a:lnTo>
                      <a:pt x="1290" y="1580"/>
                    </a:lnTo>
                    <a:lnTo>
                      <a:pt x="1290" y="1582"/>
                    </a:lnTo>
                    <a:lnTo>
                      <a:pt x="1290" y="1580"/>
                    </a:lnTo>
                    <a:lnTo>
                      <a:pt x="1290" y="1582"/>
                    </a:lnTo>
                    <a:lnTo>
                      <a:pt x="1290" y="1583"/>
                    </a:lnTo>
                    <a:lnTo>
                      <a:pt x="1290" y="1585"/>
                    </a:lnTo>
                    <a:lnTo>
                      <a:pt x="1292" y="1585"/>
                    </a:lnTo>
                    <a:lnTo>
                      <a:pt x="1292" y="1583"/>
                    </a:lnTo>
                    <a:lnTo>
                      <a:pt x="1292" y="1582"/>
                    </a:lnTo>
                    <a:lnTo>
                      <a:pt x="1292" y="1580"/>
                    </a:lnTo>
                    <a:lnTo>
                      <a:pt x="1293" y="1578"/>
                    </a:lnTo>
                    <a:lnTo>
                      <a:pt x="1293" y="1580"/>
                    </a:lnTo>
                    <a:lnTo>
                      <a:pt x="1293" y="1582"/>
                    </a:lnTo>
                    <a:lnTo>
                      <a:pt x="1292" y="1582"/>
                    </a:lnTo>
                    <a:lnTo>
                      <a:pt x="1293" y="1583"/>
                    </a:lnTo>
                    <a:lnTo>
                      <a:pt x="1293" y="1582"/>
                    </a:lnTo>
                    <a:lnTo>
                      <a:pt x="1293" y="1580"/>
                    </a:lnTo>
                    <a:lnTo>
                      <a:pt x="1293" y="1578"/>
                    </a:lnTo>
                    <a:lnTo>
                      <a:pt x="1295" y="1578"/>
                    </a:lnTo>
                    <a:lnTo>
                      <a:pt x="1295" y="1577"/>
                    </a:lnTo>
                    <a:lnTo>
                      <a:pt x="1295" y="1578"/>
                    </a:lnTo>
                    <a:lnTo>
                      <a:pt x="1297" y="1578"/>
                    </a:lnTo>
                    <a:lnTo>
                      <a:pt x="1297" y="1580"/>
                    </a:lnTo>
                    <a:lnTo>
                      <a:pt x="1298" y="1580"/>
                    </a:lnTo>
                    <a:lnTo>
                      <a:pt x="1298" y="1582"/>
                    </a:lnTo>
                    <a:lnTo>
                      <a:pt x="1297" y="1582"/>
                    </a:lnTo>
                    <a:lnTo>
                      <a:pt x="1298" y="1582"/>
                    </a:lnTo>
                    <a:lnTo>
                      <a:pt x="1297" y="1583"/>
                    </a:lnTo>
                    <a:lnTo>
                      <a:pt x="1297" y="1585"/>
                    </a:lnTo>
                    <a:lnTo>
                      <a:pt x="1295" y="1585"/>
                    </a:lnTo>
                    <a:lnTo>
                      <a:pt x="1295" y="1587"/>
                    </a:lnTo>
                    <a:lnTo>
                      <a:pt x="1297" y="1587"/>
                    </a:lnTo>
                    <a:lnTo>
                      <a:pt x="1297" y="1585"/>
                    </a:lnTo>
                    <a:lnTo>
                      <a:pt x="1297" y="1583"/>
                    </a:lnTo>
                    <a:lnTo>
                      <a:pt x="1298" y="1583"/>
                    </a:lnTo>
                    <a:lnTo>
                      <a:pt x="1298" y="1585"/>
                    </a:lnTo>
                    <a:lnTo>
                      <a:pt x="1298" y="1587"/>
                    </a:lnTo>
                    <a:lnTo>
                      <a:pt x="1298" y="1589"/>
                    </a:lnTo>
                    <a:lnTo>
                      <a:pt x="1297" y="1589"/>
                    </a:lnTo>
                    <a:lnTo>
                      <a:pt x="1298" y="1590"/>
                    </a:lnTo>
                    <a:lnTo>
                      <a:pt x="1298" y="1592"/>
                    </a:lnTo>
                    <a:lnTo>
                      <a:pt x="1297" y="1592"/>
                    </a:lnTo>
                    <a:lnTo>
                      <a:pt x="1295" y="1592"/>
                    </a:lnTo>
                    <a:lnTo>
                      <a:pt x="1297" y="1592"/>
                    </a:lnTo>
                    <a:lnTo>
                      <a:pt x="1297" y="1594"/>
                    </a:lnTo>
                    <a:lnTo>
                      <a:pt x="1295" y="1594"/>
                    </a:lnTo>
                    <a:lnTo>
                      <a:pt x="1293" y="1594"/>
                    </a:lnTo>
                    <a:lnTo>
                      <a:pt x="1293" y="1592"/>
                    </a:lnTo>
                    <a:lnTo>
                      <a:pt x="1292" y="1592"/>
                    </a:lnTo>
                    <a:lnTo>
                      <a:pt x="1293" y="1594"/>
                    </a:lnTo>
                    <a:lnTo>
                      <a:pt x="1295" y="1594"/>
                    </a:lnTo>
                    <a:lnTo>
                      <a:pt x="1295" y="1595"/>
                    </a:lnTo>
                    <a:lnTo>
                      <a:pt x="1293" y="1595"/>
                    </a:lnTo>
                    <a:lnTo>
                      <a:pt x="1295" y="1597"/>
                    </a:lnTo>
                    <a:lnTo>
                      <a:pt x="1293" y="1597"/>
                    </a:lnTo>
                    <a:lnTo>
                      <a:pt x="1292" y="1597"/>
                    </a:lnTo>
                    <a:lnTo>
                      <a:pt x="1292" y="1595"/>
                    </a:lnTo>
                    <a:lnTo>
                      <a:pt x="1292" y="1594"/>
                    </a:lnTo>
                    <a:lnTo>
                      <a:pt x="1292" y="1595"/>
                    </a:lnTo>
                    <a:lnTo>
                      <a:pt x="1290" y="1595"/>
                    </a:lnTo>
                    <a:lnTo>
                      <a:pt x="1290" y="1594"/>
                    </a:lnTo>
                    <a:lnTo>
                      <a:pt x="1288" y="1594"/>
                    </a:lnTo>
                    <a:lnTo>
                      <a:pt x="1287" y="1594"/>
                    </a:lnTo>
                    <a:lnTo>
                      <a:pt x="1287" y="1592"/>
                    </a:lnTo>
                    <a:lnTo>
                      <a:pt x="1285" y="1592"/>
                    </a:lnTo>
                    <a:lnTo>
                      <a:pt x="1285" y="1590"/>
                    </a:lnTo>
                    <a:lnTo>
                      <a:pt x="1287" y="1590"/>
                    </a:lnTo>
                    <a:lnTo>
                      <a:pt x="1288" y="1590"/>
                    </a:lnTo>
                    <a:lnTo>
                      <a:pt x="1290" y="1590"/>
                    </a:lnTo>
                    <a:lnTo>
                      <a:pt x="1290" y="1589"/>
                    </a:lnTo>
                    <a:lnTo>
                      <a:pt x="1292" y="1589"/>
                    </a:lnTo>
                    <a:lnTo>
                      <a:pt x="1290" y="1589"/>
                    </a:lnTo>
                    <a:lnTo>
                      <a:pt x="1290" y="1587"/>
                    </a:lnTo>
                    <a:lnTo>
                      <a:pt x="1290" y="1589"/>
                    </a:lnTo>
                    <a:lnTo>
                      <a:pt x="1288" y="1589"/>
                    </a:lnTo>
                    <a:lnTo>
                      <a:pt x="1287" y="1589"/>
                    </a:lnTo>
                    <a:lnTo>
                      <a:pt x="1287" y="1590"/>
                    </a:lnTo>
                    <a:lnTo>
                      <a:pt x="1287" y="1589"/>
                    </a:lnTo>
                    <a:lnTo>
                      <a:pt x="1287" y="1587"/>
                    </a:lnTo>
                    <a:lnTo>
                      <a:pt x="1287" y="1589"/>
                    </a:lnTo>
                    <a:lnTo>
                      <a:pt x="1285" y="1589"/>
                    </a:lnTo>
                    <a:lnTo>
                      <a:pt x="1283" y="1589"/>
                    </a:lnTo>
                    <a:lnTo>
                      <a:pt x="1283" y="1587"/>
                    </a:lnTo>
                    <a:lnTo>
                      <a:pt x="1281" y="1585"/>
                    </a:lnTo>
                    <a:lnTo>
                      <a:pt x="1283" y="1585"/>
                    </a:lnTo>
                    <a:lnTo>
                      <a:pt x="1283" y="1583"/>
                    </a:lnTo>
                    <a:lnTo>
                      <a:pt x="1283" y="1585"/>
                    </a:lnTo>
                    <a:lnTo>
                      <a:pt x="1283" y="1583"/>
                    </a:lnTo>
                    <a:lnTo>
                      <a:pt x="1285" y="1583"/>
                    </a:lnTo>
                    <a:lnTo>
                      <a:pt x="1285" y="1582"/>
                    </a:lnTo>
                    <a:lnTo>
                      <a:pt x="1285" y="1583"/>
                    </a:lnTo>
                    <a:lnTo>
                      <a:pt x="1283" y="1583"/>
                    </a:lnTo>
                    <a:lnTo>
                      <a:pt x="1283" y="1582"/>
                    </a:lnTo>
                    <a:lnTo>
                      <a:pt x="1285" y="1582"/>
                    </a:lnTo>
                    <a:lnTo>
                      <a:pt x="1285" y="1580"/>
                    </a:lnTo>
                    <a:lnTo>
                      <a:pt x="1283" y="1580"/>
                    </a:lnTo>
                    <a:lnTo>
                      <a:pt x="1283" y="1582"/>
                    </a:lnTo>
                    <a:lnTo>
                      <a:pt x="1283" y="1583"/>
                    </a:lnTo>
                    <a:lnTo>
                      <a:pt x="1281" y="1582"/>
                    </a:lnTo>
                    <a:lnTo>
                      <a:pt x="1280" y="1582"/>
                    </a:lnTo>
                    <a:lnTo>
                      <a:pt x="1281" y="1582"/>
                    </a:lnTo>
                    <a:lnTo>
                      <a:pt x="1281" y="1583"/>
                    </a:lnTo>
                    <a:lnTo>
                      <a:pt x="1281" y="1585"/>
                    </a:lnTo>
                    <a:lnTo>
                      <a:pt x="1280" y="1585"/>
                    </a:lnTo>
                    <a:lnTo>
                      <a:pt x="1281" y="1585"/>
                    </a:lnTo>
                    <a:lnTo>
                      <a:pt x="1280" y="1585"/>
                    </a:lnTo>
                    <a:lnTo>
                      <a:pt x="1281" y="1587"/>
                    </a:lnTo>
                    <a:lnTo>
                      <a:pt x="1281" y="1589"/>
                    </a:lnTo>
                    <a:lnTo>
                      <a:pt x="1281" y="1587"/>
                    </a:lnTo>
                    <a:lnTo>
                      <a:pt x="1283" y="1589"/>
                    </a:lnTo>
                    <a:lnTo>
                      <a:pt x="1285" y="1589"/>
                    </a:lnTo>
                    <a:lnTo>
                      <a:pt x="1285" y="1590"/>
                    </a:lnTo>
                    <a:lnTo>
                      <a:pt x="1283" y="1590"/>
                    </a:lnTo>
                    <a:lnTo>
                      <a:pt x="1283" y="1592"/>
                    </a:lnTo>
                    <a:lnTo>
                      <a:pt x="1285" y="1594"/>
                    </a:lnTo>
                    <a:lnTo>
                      <a:pt x="1283" y="1594"/>
                    </a:lnTo>
                    <a:lnTo>
                      <a:pt x="1281" y="1594"/>
                    </a:lnTo>
                    <a:lnTo>
                      <a:pt x="1280" y="1592"/>
                    </a:lnTo>
                    <a:lnTo>
                      <a:pt x="1281" y="1592"/>
                    </a:lnTo>
                    <a:lnTo>
                      <a:pt x="1280" y="1590"/>
                    </a:lnTo>
                    <a:lnTo>
                      <a:pt x="1280" y="1589"/>
                    </a:lnTo>
                    <a:lnTo>
                      <a:pt x="1281" y="1589"/>
                    </a:lnTo>
                    <a:lnTo>
                      <a:pt x="1280" y="1587"/>
                    </a:lnTo>
                    <a:lnTo>
                      <a:pt x="1281" y="1587"/>
                    </a:lnTo>
                    <a:lnTo>
                      <a:pt x="1280" y="1587"/>
                    </a:lnTo>
                    <a:lnTo>
                      <a:pt x="1280" y="1589"/>
                    </a:lnTo>
                    <a:lnTo>
                      <a:pt x="1280" y="1590"/>
                    </a:lnTo>
                    <a:lnTo>
                      <a:pt x="1278" y="1590"/>
                    </a:lnTo>
                    <a:lnTo>
                      <a:pt x="1278" y="1589"/>
                    </a:lnTo>
                    <a:lnTo>
                      <a:pt x="1278" y="1587"/>
                    </a:lnTo>
                    <a:lnTo>
                      <a:pt x="1278" y="1585"/>
                    </a:lnTo>
                    <a:lnTo>
                      <a:pt x="1280" y="1585"/>
                    </a:lnTo>
                    <a:lnTo>
                      <a:pt x="1278" y="1585"/>
                    </a:lnTo>
                    <a:lnTo>
                      <a:pt x="1278" y="1587"/>
                    </a:lnTo>
                    <a:lnTo>
                      <a:pt x="1276" y="1587"/>
                    </a:lnTo>
                    <a:lnTo>
                      <a:pt x="1278" y="1589"/>
                    </a:lnTo>
                    <a:lnTo>
                      <a:pt x="1276" y="1589"/>
                    </a:lnTo>
                    <a:lnTo>
                      <a:pt x="1275" y="1587"/>
                    </a:lnTo>
                    <a:lnTo>
                      <a:pt x="1275" y="1585"/>
                    </a:lnTo>
                    <a:lnTo>
                      <a:pt x="1275" y="1583"/>
                    </a:lnTo>
                    <a:lnTo>
                      <a:pt x="1273" y="1583"/>
                    </a:lnTo>
                    <a:lnTo>
                      <a:pt x="1275" y="1582"/>
                    </a:lnTo>
                    <a:lnTo>
                      <a:pt x="1276" y="1582"/>
                    </a:lnTo>
                    <a:lnTo>
                      <a:pt x="1276" y="1580"/>
                    </a:lnTo>
                    <a:lnTo>
                      <a:pt x="1278" y="1580"/>
                    </a:lnTo>
                    <a:lnTo>
                      <a:pt x="1278" y="1578"/>
                    </a:lnTo>
                    <a:lnTo>
                      <a:pt x="1278" y="1580"/>
                    </a:lnTo>
                    <a:lnTo>
                      <a:pt x="1276" y="1578"/>
                    </a:lnTo>
                    <a:lnTo>
                      <a:pt x="1276" y="1577"/>
                    </a:lnTo>
                    <a:lnTo>
                      <a:pt x="1275" y="1575"/>
                    </a:lnTo>
                    <a:lnTo>
                      <a:pt x="1276" y="1575"/>
                    </a:lnTo>
                    <a:lnTo>
                      <a:pt x="1275" y="1573"/>
                    </a:lnTo>
                    <a:lnTo>
                      <a:pt x="1276" y="1573"/>
                    </a:lnTo>
                    <a:lnTo>
                      <a:pt x="1276" y="1572"/>
                    </a:lnTo>
                    <a:lnTo>
                      <a:pt x="1278" y="1570"/>
                    </a:lnTo>
                    <a:lnTo>
                      <a:pt x="1278" y="1572"/>
                    </a:lnTo>
                    <a:close/>
                    <a:moveTo>
                      <a:pt x="1152" y="1354"/>
                    </a:moveTo>
                    <a:lnTo>
                      <a:pt x="1154" y="1354"/>
                    </a:lnTo>
                    <a:lnTo>
                      <a:pt x="1152" y="1356"/>
                    </a:lnTo>
                    <a:lnTo>
                      <a:pt x="1152" y="1357"/>
                    </a:lnTo>
                    <a:lnTo>
                      <a:pt x="1152" y="1356"/>
                    </a:lnTo>
                    <a:lnTo>
                      <a:pt x="1154" y="1356"/>
                    </a:lnTo>
                    <a:lnTo>
                      <a:pt x="1154" y="1357"/>
                    </a:lnTo>
                    <a:lnTo>
                      <a:pt x="1152" y="1357"/>
                    </a:lnTo>
                    <a:lnTo>
                      <a:pt x="1154" y="1359"/>
                    </a:lnTo>
                    <a:lnTo>
                      <a:pt x="1154" y="1357"/>
                    </a:lnTo>
                    <a:lnTo>
                      <a:pt x="1154" y="1356"/>
                    </a:lnTo>
                    <a:lnTo>
                      <a:pt x="1156" y="1356"/>
                    </a:lnTo>
                    <a:lnTo>
                      <a:pt x="1157" y="1356"/>
                    </a:lnTo>
                    <a:lnTo>
                      <a:pt x="1159" y="1356"/>
                    </a:lnTo>
                    <a:lnTo>
                      <a:pt x="1159" y="1357"/>
                    </a:lnTo>
                    <a:lnTo>
                      <a:pt x="1159" y="1359"/>
                    </a:lnTo>
                    <a:lnTo>
                      <a:pt x="1157" y="1359"/>
                    </a:lnTo>
                    <a:lnTo>
                      <a:pt x="1157" y="1361"/>
                    </a:lnTo>
                    <a:lnTo>
                      <a:pt x="1159" y="1359"/>
                    </a:lnTo>
                    <a:lnTo>
                      <a:pt x="1161" y="1359"/>
                    </a:lnTo>
                    <a:lnTo>
                      <a:pt x="1159" y="1359"/>
                    </a:lnTo>
                    <a:lnTo>
                      <a:pt x="1161" y="1359"/>
                    </a:lnTo>
                    <a:lnTo>
                      <a:pt x="1161" y="1361"/>
                    </a:lnTo>
                    <a:lnTo>
                      <a:pt x="1161" y="1362"/>
                    </a:lnTo>
                    <a:lnTo>
                      <a:pt x="1162" y="1362"/>
                    </a:lnTo>
                    <a:lnTo>
                      <a:pt x="1161" y="1361"/>
                    </a:lnTo>
                    <a:lnTo>
                      <a:pt x="1162" y="1359"/>
                    </a:lnTo>
                    <a:lnTo>
                      <a:pt x="1162" y="1357"/>
                    </a:lnTo>
                    <a:lnTo>
                      <a:pt x="1164" y="1357"/>
                    </a:lnTo>
                    <a:lnTo>
                      <a:pt x="1164" y="1359"/>
                    </a:lnTo>
                    <a:lnTo>
                      <a:pt x="1164" y="1361"/>
                    </a:lnTo>
                    <a:lnTo>
                      <a:pt x="1162" y="1362"/>
                    </a:lnTo>
                    <a:lnTo>
                      <a:pt x="1164" y="1361"/>
                    </a:lnTo>
                    <a:lnTo>
                      <a:pt x="1164" y="1362"/>
                    </a:lnTo>
                    <a:lnTo>
                      <a:pt x="1164" y="1361"/>
                    </a:lnTo>
                    <a:lnTo>
                      <a:pt x="1166" y="1361"/>
                    </a:lnTo>
                    <a:lnTo>
                      <a:pt x="1166" y="1362"/>
                    </a:lnTo>
                    <a:lnTo>
                      <a:pt x="1168" y="1362"/>
                    </a:lnTo>
                    <a:lnTo>
                      <a:pt x="1168" y="1364"/>
                    </a:lnTo>
                    <a:lnTo>
                      <a:pt x="1168" y="1362"/>
                    </a:lnTo>
                    <a:lnTo>
                      <a:pt x="1166" y="1361"/>
                    </a:lnTo>
                    <a:lnTo>
                      <a:pt x="1168" y="1362"/>
                    </a:lnTo>
                    <a:lnTo>
                      <a:pt x="1169" y="1362"/>
                    </a:lnTo>
                    <a:lnTo>
                      <a:pt x="1168" y="1362"/>
                    </a:lnTo>
                    <a:lnTo>
                      <a:pt x="1166" y="1361"/>
                    </a:lnTo>
                    <a:lnTo>
                      <a:pt x="1168" y="1361"/>
                    </a:lnTo>
                    <a:lnTo>
                      <a:pt x="1166" y="1359"/>
                    </a:lnTo>
                    <a:lnTo>
                      <a:pt x="1168" y="1361"/>
                    </a:lnTo>
                    <a:lnTo>
                      <a:pt x="1169" y="1361"/>
                    </a:lnTo>
                    <a:lnTo>
                      <a:pt x="1171" y="1362"/>
                    </a:lnTo>
                    <a:lnTo>
                      <a:pt x="1169" y="1362"/>
                    </a:lnTo>
                    <a:lnTo>
                      <a:pt x="1171" y="1364"/>
                    </a:lnTo>
                    <a:lnTo>
                      <a:pt x="1169" y="1364"/>
                    </a:lnTo>
                    <a:lnTo>
                      <a:pt x="1168" y="1364"/>
                    </a:lnTo>
                    <a:lnTo>
                      <a:pt x="1169" y="1364"/>
                    </a:lnTo>
                    <a:lnTo>
                      <a:pt x="1168" y="1364"/>
                    </a:lnTo>
                    <a:lnTo>
                      <a:pt x="1169" y="1364"/>
                    </a:lnTo>
                    <a:lnTo>
                      <a:pt x="1168" y="1364"/>
                    </a:lnTo>
                    <a:lnTo>
                      <a:pt x="1166" y="1364"/>
                    </a:lnTo>
                    <a:lnTo>
                      <a:pt x="1168" y="1364"/>
                    </a:lnTo>
                    <a:lnTo>
                      <a:pt x="1169" y="1366"/>
                    </a:lnTo>
                    <a:lnTo>
                      <a:pt x="1168" y="1367"/>
                    </a:lnTo>
                    <a:lnTo>
                      <a:pt x="1168" y="1366"/>
                    </a:lnTo>
                    <a:lnTo>
                      <a:pt x="1166" y="1366"/>
                    </a:lnTo>
                    <a:lnTo>
                      <a:pt x="1166" y="1367"/>
                    </a:lnTo>
                    <a:lnTo>
                      <a:pt x="1168" y="1367"/>
                    </a:lnTo>
                    <a:lnTo>
                      <a:pt x="1166" y="1367"/>
                    </a:lnTo>
                    <a:lnTo>
                      <a:pt x="1166" y="1366"/>
                    </a:lnTo>
                    <a:lnTo>
                      <a:pt x="1164" y="1366"/>
                    </a:lnTo>
                    <a:lnTo>
                      <a:pt x="1162" y="1367"/>
                    </a:lnTo>
                    <a:lnTo>
                      <a:pt x="1164" y="1366"/>
                    </a:lnTo>
                    <a:lnTo>
                      <a:pt x="1164" y="1367"/>
                    </a:lnTo>
                    <a:lnTo>
                      <a:pt x="1164" y="1369"/>
                    </a:lnTo>
                    <a:lnTo>
                      <a:pt x="1162" y="1369"/>
                    </a:lnTo>
                    <a:lnTo>
                      <a:pt x="1162" y="1371"/>
                    </a:lnTo>
                    <a:lnTo>
                      <a:pt x="1161" y="1371"/>
                    </a:lnTo>
                    <a:lnTo>
                      <a:pt x="1161" y="1373"/>
                    </a:lnTo>
                    <a:lnTo>
                      <a:pt x="1159" y="1371"/>
                    </a:lnTo>
                    <a:lnTo>
                      <a:pt x="1161" y="1373"/>
                    </a:lnTo>
                    <a:lnTo>
                      <a:pt x="1159" y="1373"/>
                    </a:lnTo>
                    <a:lnTo>
                      <a:pt x="1159" y="1374"/>
                    </a:lnTo>
                    <a:lnTo>
                      <a:pt x="1157" y="1373"/>
                    </a:lnTo>
                    <a:lnTo>
                      <a:pt x="1157" y="1374"/>
                    </a:lnTo>
                    <a:lnTo>
                      <a:pt x="1157" y="1376"/>
                    </a:lnTo>
                    <a:lnTo>
                      <a:pt x="1156" y="1378"/>
                    </a:lnTo>
                    <a:lnTo>
                      <a:pt x="1157" y="1376"/>
                    </a:lnTo>
                    <a:lnTo>
                      <a:pt x="1159" y="1376"/>
                    </a:lnTo>
                    <a:lnTo>
                      <a:pt x="1161" y="1376"/>
                    </a:lnTo>
                    <a:lnTo>
                      <a:pt x="1159" y="1376"/>
                    </a:lnTo>
                    <a:lnTo>
                      <a:pt x="1159" y="1374"/>
                    </a:lnTo>
                    <a:lnTo>
                      <a:pt x="1157" y="1374"/>
                    </a:lnTo>
                    <a:lnTo>
                      <a:pt x="1159" y="1374"/>
                    </a:lnTo>
                    <a:lnTo>
                      <a:pt x="1159" y="1373"/>
                    </a:lnTo>
                    <a:lnTo>
                      <a:pt x="1161" y="1373"/>
                    </a:lnTo>
                    <a:lnTo>
                      <a:pt x="1161" y="1371"/>
                    </a:lnTo>
                    <a:lnTo>
                      <a:pt x="1162" y="1371"/>
                    </a:lnTo>
                    <a:lnTo>
                      <a:pt x="1162" y="1369"/>
                    </a:lnTo>
                    <a:lnTo>
                      <a:pt x="1164" y="1369"/>
                    </a:lnTo>
                    <a:lnTo>
                      <a:pt x="1166" y="1369"/>
                    </a:lnTo>
                    <a:lnTo>
                      <a:pt x="1166" y="1371"/>
                    </a:lnTo>
                    <a:lnTo>
                      <a:pt x="1166" y="1373"/>
                    </a:lnTo>
                    <a:lnTo>
                      <a:pt x="1166" y="1374"/>
                    </a:lnTo>
                    <a:lnTo>
                      <a:pt x="1164" y="1373"/>
                    </a:lnTo>
                    <a:lnTo>
                      <a:pt x="1164" y="1374"/>
                    </a:lnTo>
                    <a:lnTo>
                      <a:pt x="1162" y="1373"/>
                    </a:lnTo>
                    <a:lnTo>
                      <a:pt x="1162" y="1374"/>
                    </a:lnTo>
                    <a:lnTo>
                      <a:pt x="1161" y="1374"/>
                    </a:lnTo>
                    <a:lnTo>
                      <a:pt x="1162" y="1374"/>
                    </a:lnTo>
                    <a:lnTo>
                      <a:pt x="1164" y="1374"/>
                    </a:lnTo>
                    <a:lnTo>
                      <a:pt x="1164" y="1376"/>
                    </a:lnTo>
                    <a:lnTo>
                      <a:pt x="1162" y="1374"/>
                    </a:lnTo>
                    <a:lnTo>
                      <a:pt x="1164" y="1376"/>
                    </a:lnTo>
                    <a:lnTo>
                      <a:pt x="1162" y="1376"/>
                    </a:lnTo>
                    <a:lnTo>
                      <a:pt x="1161" y="1376"/>
                    </a:lnTo>
                    <a:lnTo>
                      <a:pt x="1159" y="1376"/>
                    </a:lnTo>
                    <a:lnTo>
                      <a:pt x="1159" y="1378"/>
                    </a:lnTo>
                    <a:lnTo>
                      <a:pt x="1157" y="1378"/>
                    </a:lnTo>
                    <a:lnTo>
                      <a:pt x="1157" y="1379"/>
                    </a:lnTo>
                    <a:lnTo>
                      <a:pt x="1156" y="1379"/>
                    </a:lnTo>
                    <a:lnTo>
                      <a:pt x="1156" y="1378"/>
                    </a:lnTo>
                    <a:lnTo>
                      <a:pt x="1154" y="1379"/>
                    </a:lnTo>
                    <a:lnTo>
                      <a:pt x="1154" y="1378"/>
                    </a:lnTo>
                    <a:lnTo>
                      <a:pt x="1154" y="1379"/>
                    </a:lnTo>
                    <a:lnTo>
                      <a:pt x="1154" y="1378"/>
                    </a:lnTo>
                    <a:lnTo>
                      <a:pt x="1152" y="1378"/>
                    </a:lnTo>
                    <a:lnTo>
                      <a:pt x="1151" y="1378"/>
                    </a:lnTo>
                    <a:lnTo>
                      <a:pt x="1152" y="1378"/>
                    </a:lnTo>
                    <a:lnTo>
                      <a:pt x="1152" y="1376"/>
                    </a:lnTo>
                    <a:lnTo>
                      <a:pt x="1152" y="1374"/>
                    </a:lnTo>
                    <a:lnTo>
                      <a:pt x="1154" y="1374"/>
                    </a:lnTo>
                    <a:lnTo>
                      <a:pt x="1152" y="1374"/>
                    </a:lnTo>
                    <a:lnTo>
                      <a:pt x="1154" y="1374"/>
                    </a:lnTo>
                    <a:lnTo>
                      <a:pt x="1154" y="1373"/>
                    </a:lnTo>
                    <a:lnTo>
                      <a:pt x="1156" y="1373"/>
                    </a:lnTo>
                    <a:lnTo>
                      <a:pt x="1156" y="1371"/>
                    </a:lnTo>
                    <a:lnTo>
                      <a:pt x="1156" y="1369"/>
                    </a:lnTo>
                    <a:lnTo>
                      <a:pt x="1156" y="1371"/>
                    </a:lnTo>
                    <a:lnTo>
                      <a:pt x="1156" y="1373"/>
                    </a:lnTo>
                    <a:lnTo>
                      <a:pt x="1154" y="1373"/>
                    </a:lnTo>
                    <a:lnTo>
                      <a:pt x="1152" y="1373"/>
                    </a:lnTo>
                    <a:lnTo>
                      <a:pt x="1152" y="1374"/>
                    </a:lnTo>
                    <a:lnTo>
                      <a:pt x="1152" y="1373"/>
                    </a:lnTo>
                    <a:lnTo>
                      <a:pt x="1154" y="1373"/>
                    </a:lnTo>
                    <a:lnTo>
                      <a:pt x="1154" y="1371"/>
                    </a:lnTo>
                    <a:lnTo>
                      <a:pt x="1152" y="1371"/>
                    </a:lnTo>
                    <a:lnTo>
                      <a:pt x="1151" y="1373"/>
                    </a:lnTo>
                    <a:lnTo>
                      <a:pt x="1151" y="1374"/>
                    </a:lnTo>
                    <a:lnTo>
                      <a:pt x="1149" y="1374"/>
                    </a:lnTo>
                    <a:lnTo>
                      <a:pt x="1149" y="1376"/>
                    </a:lnTo>
                    <a:lnTo>
                      <a:pt x="1149" y="1378"/>
                    </a:lnTo>
                    <a:lnTo>
                      <a:pt x="1147" y="1378"/>
                    </a:lnTo>
                    <a:lnTo>
                      <a:pt x="1145" y="1376"/>
                    </a:lnTo>
                    <a:lnTo>
                      <a:pt x="1147" y="1376"/>
                    </a:lnTo>
                    <a:lnTo>
                      <a:pt x="1149" y="1374"/>
                    </a:lnTo>
                    <a:lnTo>
                      <a:pt x="1149" y="1373"/>
                    </a:lnTo>
                    <a:lnTo>
                      <a:pt x="1149" y="1374"/>
                    </a:lnTo>
                    <a:lnTo>
                      <a:pt x="1147" y="1374"/>
                    </a:lnTo>
                    <a:lnTo>
                      <a:pt x="1147" y="1373"/>
                    </a:lnTo>
                    <a:lnTo>
                      <a:pt x="1147" y="1371"/>
                    </a:lnTo>
                    <a:lnTo>
                      <a:pt x="1147" y="1369"/>
                    </a:lnTo>
                    <a:lnTo>
                      <a:pt x="1149" y="1369"/>
                    </a:lnTo>
                    <a:lnTo>
                      <a:pt x="1149" y="1367"/>
                    </a:lnTo>
                    <a:lnTo>
                      <a:pt x="1147" y="1367"/>
                    </a:lnTo>
                    <a:lnTo>
                      <a:pt x="1149" y="1366"/>
                    </a:lnTo>
                    <a:lnTo>
                      <a:pt x="1147" y="1366"/>
                    </a:lnTo>
                    <a:lnTo>
                      <a:pt x="1149" y="1366"/>
                    </a:lnTo>
                    <a:lnTo>
                      <a:pt x="1149" y="1364"/>
                    </a:lnTo>
                    <a:lnTo>
                      <a:pt x="1149" y="1362"/>
                    </a:lnTo>
                    <a:lnTo>
                      <a:pt x="1151" y="1362"/>
                    </a:lnTo>
                    <a:lnTo>
                      <a:pt x="1152" y="1362"/>
                    </a:lnTo>
                    <a:lnTo>
                      <a:pt x="1152" y="1364"/>
                    </a:lnTo>
                    <a:lnTo>
                      <a:pt x="1154" y="1364"/>
                    </a:lnTo>
                    <a:lnTo>
                      <a:pt x="1154" y="1366"/>
                    </a:lnTo>
                    <a:lnTo>
                      <a:pt x="1152" y="1366"/>
                    </a:lnTo>
                    <a:lnTo>
                      <a:pt x="1151" y="1364"/>
                    </a:lnTo>
                    <a:lnTo>
                      <a:pt x="1151" y="1366"/>
                    </a:lnTo>
                    <a:lnTo>
                      <a:pt x="1152" y="1366"/>
                    </a:lnTo>
                    <a:lnTo>
                      <a:pt x="1154" y="1366"/>
                    </a:lnTo>
                    <a:lnTo>
                      <a:pt x="1154" y="1367"/>
                    </a:lnTo>
                    <a:lnTo>
                      <a:pt x="1156" y="1367"/>
                    </a:lnTo>
                    <a:lnTo>
                      <a:pt x="1156" y="1369"/>
                    </a:lnTo>
                    <a:lnTo>
                      <a:pt x="1157" y="1367"/>
                    </a:lnTo>
                    <a:lnTo>
                      <a:pt x="1157" y="1366"/>
                    </a:lnTo>
                    <a:lnTo>
                      <a:pt x="1157" y="1364"/>
                    </a:lnTo>
                    <a:lnTo>
                      <a:pt x="1159" y="1362"/>
                    </a:lnTo>
                    <a:lnTo>
                      <a:pt x="1159" y="1361"/>
                    </a:lnTo>
                    <a:lnTo>
                      <a:pt x="1159" y="1362"/>
                    </a:lnTo>
                    <a:lnTo>
                      <a:pt x="1157" y="1362"/>
                    </a:lnTo>
                    <a:lnTo>
                      <a:pt x="1159" y="1362"/>
                    </a:lnTo>
                    <a:lnTo>
                      <a:pt x="1157" y="1364"/>
                    </a:lnTo>
                    <a:lnTo>
                      <a:pt x="1156" y="1362"/>
                    </a:lnTo>
                    <a:lnTo>
                      <a:pt x="1154" y="1362"/>
                    </a:lnTo>
                    <a:lnTo>
                      <a:pt x="1154" y="1361"/>
                    </a:lnTo>
                    <a:lnTo>
                      <a:pt x="1152" y="1362"/>
                    </a:lnTo>
                    <a:lnTo>
                      <a:pt x="1152" y="1361"/>
                    </a:lnTo>
                    <a:lnTo>
                      <a:pt x="1152" y="1362"/>
                    </a:lnTo>
                    <a:lnTo>
                      <a:pt x="1151" y="1361"/>
                    </a:lnTo>
                    <a:lnTo>
                      <a:pt x="1151" y="1359"/>
                    </a:lnTo>
                    <a:lnTo>
                      <a:pt x="1149" y="1359"/>
                    </a:lnTo>
                    <a:lnTo>
                      <a:pt x="1149" y="1357"/>
                    </a:lnTo>
                    <a:lnTo>
                      <a:pt x="1149" y="1356"/>
                    </a:lnTo>
                    <a:lnTo>
                      <a:pt x="1151" y="1356"/>
                    </a:lnTo>
                    <a:lnTo>
                      <a:pt x="1151" y="1354"/>
                    </a:lnTo>
                    <a:lnTo>
                      <a:pt x="1151" y="1356"/>
                    </a:lnTo>
                    <a:lnTo>
                      <a:pt x="1151" y="1357"/>
                    </a:lnTo>
                    <a:lnTo>
                      <a:pt x="1151" y="1356"/>
                    </a:lnTo>
                    <a:lnTo>
                      <a:pt x="1151" y="1354"/>
                    </a:lnTo>
                    <a:lnTo>
                      <a:pt x="1152" y="1354"/>
                    </a:lnTo>
                    <a:close/>
                    <a:moveTo>
                      <a:pt x="1266" y="1565"/>
                    </a:moveTo>
                    <a:lnTo>
                      <a:pt x="1268" y="1566"/>
                    </a:lnTo>
                    <a:lnTo>
                      <a:pt x="1270" y="1568"/>
                    </a:lnTo>
                    <a:lnTo>
                      <a:pt x="1270" y="1570"/>
                    </a:lnTo>
                    <a:lnTo>
                      <a:pt x="1270" y="1572"/>
                    </a:lnTo>
                    <a:lnTo>
                      <a:pt x="1270" y="1573"/>
                    </a:lnTo>
                    <a:lnTo>
                      <a:pt x="1270" y="1572"/>
                    </a:lnTo>
                    <a:lnTo>
                      <a:pt x="1270" y="1570"/>
                    </a:lnTo>
                    <a:lnTo>
                      <a:pt x="1271" y="1570"/>
                    </a:lnTo>
                    <a:lnTo>
                      <a:pt x="1271" y="1568"/>
                    </a:lnTo>
                    <a:lnTo>
                      <a:pt x="1273" y="1568"/>
                    </a:lnTo>
                    <a:lnTo>
                      <a:pt x="1271" y="1570"/>
                    </a:lnTo>
                    <a:lnTo>
                      <a:pt x="1273" y="1568"/>
                    </a:lnTo>
                    <a:lnTo>
                      <a:pt x="1275" y="1570"/>
                    </a:lnTo>
                    <a:lnTo>
                      <a:pt x="1276" y="1570"/>
                    </a:lnTo>
                    <a:lnTo>
                      <a:pt x="1275" y="1572"/>
                    </a:lnTo>
                    <a:lnTo>
                      <a:pt x="1275" y="1573"/>
                    </a:lnTo>
                    <a:lnTo>
                      <a:pt x="1273" y="1573"/>
                    </a:lnTo>
                    <a:lnTo>
                      <a:pt x="1275" y="1575"/>
                    </a:lnTo>
                    <a:lnTo>
                      <a:pt x="1275" y="1577"/>
                    </a:lnTo>
                    <a:lnTo>
                      <a:pt x="1273" y="1577"/>
                    </a:lnTo>
                    <a:lnTo>
                      <a:pt x="1271" y="1577"/>
                    </a:lnTo>
                    <a:lnTo>
                      <a:pt x="1273" y="1577"/>
                    </a:lnTo>
                    <a:lnTo>
                      <a:pt x="1273" y="1578"/>
                    </a:lnTo>
                    <a:lnTo>
                      <a:pt x="1273" y="1580"/>
                    </a:lnTo>
                    <a:lnTo>
                      <a:pt x="1273" y="1578"/>
                    </a:lnTo>
                    <a:lnTo>
                      <a:pt x="1275" y="1578"/>
                    </a:lnTo>
                    <a:lnTo>
                      <a:pt x="1275" y="1577"/>
                    </a:lnTo>
                    <a:lnTo>
                      <a:pt x="1276" y="1578"/>
                    </a:lnTo>
                    <a:lnTo>
                      <a:pt x="1276" y="1580"/>
                    </a:lnTo>
                    <a:lnTo>
                      <a:pt x="1275" y="1582"/>
                    </a:lnTo>
                    <a:lnTo>
                      <a:pt x="1275" y="1580"/>
                    </a:lnTo>
                    <a:lnTo>
                      <a:pt x="1275" y="1582"/>
                    </a:lnTo>
                    <a:lnTo>
                      <a:pt x="1273" y="1582"/>
                    </a:lnTo>
                    <a:lnTo>
                      <a:pt x="1273" y="1583"/>
                    </a:lnTo>
                    <a:lnTo>
                      <a:pt x="1273" y="1582"/>
                    </a:lnTo>
                    <a:lnTo>
                      <a:pt x="1273" y="1583"/>
                    </a:lnTo>
                    <a:lnTo>
                      <a:pt x="1271" y="1583"/>
                    </a:lnTo>
                    <a:lnTo>
                      <a:pt x="1271" y="1582"/>
                    </a:lnTo>
                    <a:lnTo>
                      <a:pt x="1271" y="1583"/>
                    </a:lnTo>
                    <a:lnTo>
                      <a:pt x="1270" y="1582"/>
                    </a:lnTo>
                    <a:lnTo>
                      <a:pt x="1270" y="1580"/>
                    </a:lnTo>
                    <a:lnTo>
                      <a:pt x="1268" y="1580"/>
                    </a:lnTo>
                    <a:lnTo>
                      <a:pt x="1270" y="1578"/>
                    </a:lnTo>
                    <a:lnTo>
                      <a:pt x="1268" y="1580"/>
                    </a:lnTo>
                    <a:lnTo>
                      <a:pt x="1268" y="1578"/>
                    </a:lnTo>
                    <a:lnTo>
                      <a:pt x="1266" y="1577"/>
                    </a:lnTo>
                    <a:lnTo>
                      <a:pt x="1266" y="1575"/>
                    </a:lnTo>
                    <a:lnTo>
                      <a:pt x="1266" y="1577"/>
                    </a:lnTo>
                    <a:lnTo>
                      <a:pt x="1266" y="1578"/>
                    </a:lnTo>
                    <a:lnTo>
                      <a:pt x="1266" y="1580"/>
                    </a:lnTo>
                    <a:lnTo>
                      <a:pt x="1268" y="1580"/>
                    </a:lnTo>
                    <a:lnTo>
                      <a:pt x="1266" y="1582"/>
                    </a:lnTo>
                    <a:lnTo>
                      <a:pt x="1268" y="1582"/>
                    </a:lnTo>
                    <a:lnTo>
                      <a:pt x="1268" y="1583"/>
                    </a:lnTo>
                    <a:lnTo>
                      <a:pt x="1270" y="1582"/>
                    </a:lnTo>
                    <a:lnTo>
                      <a:pt x="1270" y="1583"/>
                    </a:lnTo>
                    <a:lnTo>
                      <a:pt x="1271" y="1583"/>
                    </a:lnTo>
                    <a:lnTo>
                      <a:pt x="1271" y="1585"/>
                    </a:lnTo>
                    <a:lnTo>
                      <a:pt x="1271" y="1587"/>
                    </a:lnTo>
                    <a:lnTo>
                      <a:pt x="1271" y="1585"/>
                    </a:lnTo>
                    <a:lnTo>
                      <a:pt x="1271" y="1587"/>
                    </a:lnTo>
                    <a:lnTo>
                      <a:pt x="1273" y="1587"/>
                    </a:lnTo>
                    <a:lnTo>
                      <a:pt x="1273" y="1589"/>
                    </a:lnTo>
                    <a:lnTo>
                      <a:pt x="1273" y="1590"/>
                    </a:lnTo>
                    <a:lnTo>
                      <a:pt x="1271" y="1590"/>
                    </a:lnTo>
                    <a:lnTo>
                      <a:pt x="1271" y="1589"/>
                    </a:lnTo>
                    <a:lnTo>
                      <a:pt x="1270" y="1589"/>
                    </a:lnTo>
                    <a:lnTo>
                      <a:pt x="1268" y="1589"/>
                    </a:lnTo>
                    <a:lnTo>
                      <a:pt x="1270" y="1589"/>
                    </a:lnTo>
                    <a:lnTo>
                      <a:pt x="1270" y="1590"/>
                    </a:lnTo>
                    <a:lnTo>
                      <a:pt x="1268" y="1590"/>
                    </a:lnTo>
                    <a:lnTo>
                      <a:pt x="1270" y="1590"/>
                    </a:lnTo>
                    <a:lnTo>
                      <a:pt x="1270" y="1592"/>
                    </a:lnTo>
                    <a:lnTo>
                      <a:pt x="1268" y="1592"/>
                    </a:lnTo>
                    <a:lnTo>
                      <a:pt x="1270" y="1592"/>
                    </a:lnTo>
                    <a:lnTo>
                      <a:pt x="1270" y="1594"/>
                    </a:lnTo>
                    <a:lnTo>
                      <a:pt x="1271" y="1594"/>
                    </a:lnTo>
                    <a:lnTo>
                      <a:pt x="1270" y="1594"/>
                    </a:lnTo>
                    <a:lnTo>
                      <a:pt x="1268" y="1594"/>
                    </a:lnTo>
                    <a:lnTo>
                      <a:pt x="1266" y="1594"/>
                    </a:lnTo>
                    <a:lnTo>
                      <a:pt x="1266" y="1592"/>
                    </a:lnTo>
                    <a:lnTo>
                      <a:pt x="1266" y="1594"/>
                    </a:lnTo>
                    <a:lnTo>
                      <a:pt x="1264" y="1594"/>
                    </a:lnTo>
                    <a:lnTo>
                      <a:pt x="1264" y="1592"/>
                    </a:lnTo>
                    <a:lnTo>
                      <a:pt x="1266" y="1592"/>
                    </a:lnTo>
                    <a:lnTo>
                      <a:pt x="1266" y="1590"/>
                    </a:lnTo>
                    <a:lnTo>
                      <a:pt x="1266" y="1589"/>
                    </a:lnTo>
                    <a:lnTo>
                      <a:pt x="1268" y="1589"/>
                    </a:lnTo>
                    <a:lnTo>
                      <a:pt x="1268" y="1587"/>
                    </a:lnTo>
                    <a:lnTo>
                      <a:pt x="1268" y="1589"/>
                    </a:lnTo>
                    <a:lnTo>
                      <a:pt x="1266" y="1587"/>
                    </a:lnTo>
                    <a:lnTo>
                      <a:pt x="1266" y="1589"/>
                    </a:lnTo>
                    <a:lnTo>
                      <a:pt x="1264" y="1587"/>
                    </a:lnTo>
                    <a:lnTo>
                      <a:pt x="1263" y="1587"/>
                    </a:lnTo>
                    <a:lnTo>
                      <a:pt x="1264" y="1587"/>
                    </a:lnTo>
                    <a:lnTo>
                      <a:pt x="1263" y="1587"/>
                    </a:lnTo>
                    <a:lnTo>
                      <a:pt x="1264" y="1587"/>
                    </a:lnTo>
                    <a:lnTo>
                      <a:pt x="1263" y="1585"/>
                    </a:lnTo>
                    <a:lnTo>
                      <a:pt x="1263" y="1587"/>
                    </a:lnTo>
                    <a:lnTo>
                      <a:pt x="1263" y="1585"/>
                    </a:lnTo>
                    <a:lnTo>
                      <a:pt x="1261" y="1585"/>
                    </a:lnTo>
                    <a:lnTo>
                      <a:pt x="1261" y="1583"/>
                    </a:lnTo>
                    <a:lnTo>
                      <a:pt x="1259" y="1583"/>
                    </a:lnTo>
                    <a:lnTo>
                      <a:pt x="1259" y="1582"/>
                    </a:lnTo>
                    <a:lnTo>
                      <a:pt x="1261" y="1583"/>
                    </a:lnTo>
                    <a:lnTo>
                      <a:pt x="1261" y="1582"/>
                    </a:lnTo>
                    <a:lnTo>
                      <a:pt x="1263" y="1583"/>
                    </a:lnTo>
                    <a:lnTo>
                      <a:pt x="1263" y="1582"/>
                    </a:lnTo>
                    <a:lnTo>
                      <a:pt x="1261" y="1582"/>
                    </a:lnTo>
                    <a:lnTo>
                      <a:pt x="1259" y="1582"/>
                    </a:lnTo>
                    <a:lnTo>
                      <a:pt x="1258" y="1580"/>
                    </a:lnTo>
                    <a:lnTo>
                      <a:pt x="1259" y="1580"/>
                    </a:lnTo>
                    <a:lnTo>
                      <a:pt x="1261" y="1580"/>
                    </a:lnTo>
                    <a:lnTo>
                      <a:pt x="1263" y="1580"/>
                    </a:lnTo>
                    <a:lnTo>
                      <a:pt x="1261" y="1580"/>
                    </a:lnTo>
                    <a:lnTo>
                      <a:pt x="1259" y="1578"/>
                    </a:lnTo>
                    <a:lnTo>
                      <a:pt x="1259" y="1577"/>
                    </a:lnTo>
                    <a:lnTo>
                      <a:pt x="1259" y="1578"/>
                    </a:lnTo>
                    <a:lnTo>
                      <a:pt x="1258" y="1578"/>
                    </a:lnTo>
                    <a:lnTo>
                      <a:pt x="1258" y="1580"/>
                    </a:lnTo>
                    <a:lnTo>
                      <a:pt x="1256" y="1580"/>
                    </a:lnTo>
                    <a:lnTo>
                      <a:pt x="1256" y="1578"/>
                    </a:lnTo>
                    <a:lnTo>
                      <a:pt x="1254" y="1577"/>
                    </a:lnTo>
                    <a:lnTo>
                      <a:pt x="1256" y="1577"/>
                    </a:lnTo>
                    <a:lnTo>
                      <a:pt x="1256" y="1575"/>
                    </a:lnTo>
                    <a:lnTo>
                      <a:pt x="1258" y="1573"/>
                    </a:lnTo>
                    <a:lnTo>
                      <a:pt x="1258" y="1572"/>
                    </a:lnTo>
                    <a:lnTo>
                      <a:pt x="1258" y="1573"/>
                    </a:lnTo>
                    <a:lnTo>
                      <a:pt x="1256" y="1573"/>
                    </a:lnTo>
                    <a:lnTo>
                      <a:pt x="1254" y="1575"/>
                    </a:lnTo>
                    <a:lnTo>
                      <a:pt x="1254" y="1573"/>
                    </a:lnTo>
                    <a:lnTo>
                      <a:pt x="1254" y="1572"/>
                    </a:lnTo>
                    <a:lnTo>
                      <a:pt x="1254" y="1570"/>
                    </a:lnTo>
                    <a:lnTo>
                      <a:pt x="1256" y="1568"/>
                    </a:lnTo>
                    <a:lnTo>
                      <a:pt x="1256" y="1570"/>
                    </a:lnTo>
                    <a:lnTo>
                      <a:pt x="1258" y="1570"/>
                    </a:lnTo>
                    <a:lnTo>
                      <a:pt x="1259" y="1570"/>
                    </a:lnTo>
                    <a:lnTo>
                      <a:pt x="1259" y="1572"/>
                    </a:lnTo>
                    <a:lnTo>
                      <a:pt x="1259" y="1573"/>
                    </a:lnTo>
                    <a:lnTo>
                      <a:pt x="1261" y="1573"/>
                    </a:lnTo>
                    <a:lnTo>
                      <a:pt x="1263" y="1573"/>
                    </a:lnTo>
                    <a:lnTo>
                      <a:pt x="1261" y="1573"/>
                    </a:lnTo>
                    <a:lnTo>
                      <a:pt x="1261" y="1572"/>
                    </a:lnTo>
                    <a:lnTo>
                      <a:pt x="1259" y="1570"/>
                    </a:lnTo>
                    <a:lnTo>
                      <a:pt x="1261" y="1570"/>
                    </a:lnTo>
                    <a:lnTo>
                      <a:pt x="1261" y="1572"/>
                    </a:lnTo>
                    <a:lnTo>
                      <a:pt x="1263" y="1572"/>
                    </a:lnTo>
                    <a:lnTo>
                      <a:pt x="1261" y="1572"/>
                    </a:lnTo>
                    <a:lnTo>
                      <a:pt x="1261" y="1570"/>
                    </a:lnTo>
                    <a:lnTo>
                      <a:pt x="1263" y="1570"/>
                    </a:lnTo>
                    <a:lnTo>
                      <a:pt x="1263" y="1568"/>
                    </a:lnTo>
                    <a:lnTo>
                      <a:pt x="1263" y="1570"/>
                    </a:lnTo>
                    <a:lnTo>
                      <a:pt x="1264" y="1568"/>
                    </a:lnTo>
                    <a:lnTo>
                      <a:pt x="1266" y="1568"/>
                    </a:lnTo>
                    <a:lnTo>
                      <a:pt x="1264" y="1566"/>
                    </a:lnTo>
                    <a:lnTo>
                      <a:pt x="1266" y="1565"/>
                    </a:lnTo>
                    <a:close/>
                    <a:moveTo>
                      <a:pt x="1152" y="1252"/>
                    </a:moveTo>
                    <a:lnTo>
                      <a:pt x="1154" y="1253"/>
                    </a:lnTo>
                    <a:lnTo>
                      <a:pt x="1152" y="1255"/>
                    </a:lnTo>
                    <a:lnTo>
                      <a:pt x="1154" y="1255"/>
                    </a:lnTo>
                    <a:lnTo>
                      <a:pt x="1152" y="1255"/>
                    </a:lnTo>
                    <a:lnTo>
                      <a:pt x="1151" y="1255"/>
                    </a:lnTo>
                    <a:lnTo>
                      <a:pt x="1152" y="1255"/>
                    </a:lnTo>
                    <a:lnTo>
                      <a:pt x="1152" y="1257"/>
                    </a:lnTo>
                    <a:lnTo>
                      <a:pt x="1152" y="1259"/>
                    </a:lnTo>
                    <a:lnTo>
                      <a:pt x="1152" y="1257"/>
                    </a:lnTo>
                    <a:lnTo>
                      <a:pt x="1152" y="1255"/>
                    </a:lnTo>
                    <a:lnTo>
                      <a:pt x="1154" y="1255"/>
                    </a:lnTo>
                    <a:lnTo>
                      <a:pt x="1154" y="1257"/>
                    </a:lnTo>
                    <a:lnTo>
                      <a:pt x="1152" y="1259"/>
                    </a:lnTo>
                    <a:lnTo>
                      <a:pt x="1152" y="1260"/>
                    </a:lnTo>
                    <a:lnTo>
                      <a:pt x="1152" y="1259"/>
                    </a:lnTo>
                    <a:lnTo>
                      <a:pt x="1154" y="1259"/>
                    </a:lnTo>
                    <a:lnTo>
                      <a:pt x="1156" y="1259"/>
                    </a:lnTo>
                    <a:lnTo>
                      <a:pt x="1154" y="1259"/>
                    </a:lnTo>
                    <a:lnTo>
                      <a:pt x="1154" y="1260"/>
                    </a:lnTo>
                    <a:lnTo>
                      <a:pt x="1156" y="1260"/>
                    </a:lnTo>
                    <a:lnTo>
                      <a:pt x="1156" y="1262"/>
                    </a:lnTo>
                    <a:lnTo>
                      <a:pt x="1154" y="1262"/>
                    </a:lnTo>
                    <a:lnTo>
                      <a:pt x="1154" y="1264"/>
                    </a:lnTo>
                    <a:lnTo>
                      <a:pt x="1156" y="1262"/>
                    </a:lnTo>
                    <a:lnTo>
                      <a:pt x="1156" y="1264"/>
                    </a:lnTo>
                    <a:lnTo>
                      <a:pt x="1157" y="1264"/>
                    </a:lnTo>
                    <a:lnTo>
                      <a:pt x="1157" y="1265"/>
                    </a:lnTo>
                    <a:lnTo>
                      <a:pt x="1156" y="1265"/>
                    </a:lnTo>
                    <a:lnTo>
                      <a:pt x="1156" y="1267"/>
                    </a:lnTo>
                    <a:lnTo>
                      <a:pt x="1157" y="1265"/>
                    </a:lnTo>
                    <a:lnTo>
                      <a:pt x="1157" y="1267"/>
                    </a:lnTo>
                    <a:lnTo>
                      <a:pt x="1157" y="1269"/>
                    </a:lnTo>
                    <a:lnTo>
                      <a:pt x="1159" y="1269"/>
                    </a:lnTo>
                    <a:lnTo>
                      <a:pt x="1159" y="1270"/>
                    </a:lnTo>
                    <a:lnTo>
                      <a:pt x="1159" y="1272"/>
                    </a:lnTo>
                    <a:lnTo>
                      <a:pt x="1157" y="1272"/>
                    </a:lnTo>
                    <a:lnTo>
                      <a:pt x="1159" y="1272"/>
                    </a:lnTo>
                    <a:lnTo>
                      <a:pt x="1157" y="1272"/>
                    </a:lnTo>
                    <a:lnTo>
                      <a:pt x="1157" y="1274"/>
                    </a:lnTo>
                    <a:lnTo>
                      <a:pt x="1159" y="1272"/>
                    </a:lnTo>
                    <a:lnTo>
                      <a:pt x="1159" y="1270"/>
                    </a:lnTo>
                    <a:lnTo>
                      <a:pt x="1161" y="1272"/>
                    </a:lnTo>
                    <a:lnTo>
                      <a:pt x="1161" y="1274"/>
                    </a:lnTo>
                    <a:lnTo>
                      <a:pt x="1162" y="1274"/>
                    </a:lnTo>
                    <a:lnTo>
                      <a:pt x="1161" y="1276"/>
                    </a:lnTo>
                    <a:lnTo>
                      <a:pt x="1161" y="1274"/>
                    </a:lnTo>
                    <a:lnTo>
                      <a:pt x="1161" y="1276"/>
                    </a:lnTo>
                    <a:lnTo>
                      <a:pt x="1159" y="1276"/>
                    </a:lnTo>
                    <a:lnTo>
                      <a:pt x="1161" y="1276"/>
                    </a:lnTo>
                    <a:lnTo>
                      <a:pt x="1159" y="1277"/>
                    </a:lnTo>
                    <a:lnTo>
                      <a:pt x="1161" y="1276"/>
                    </a:lnTo>
                    <a:lnTo>
                      <a:pt x="1162" y="1276"/>
                    </a:lnTo>
                    <a:lnTo>
                      <a:pt x="1162" y="1277"/>
                    </a:lnTo>
                    <a:lnTo>
                      <a:pt x="1161" y="1277"/>
                    </a:lnTo>
                    <a:lnTo>
                      <a:pt x="1162" y="1279"/>
                    </a:lnTo>
                    <a:lnTo>
                      <a:pt x="1162" y="1281"/>
                    </a:lnTo>
                    <a:lnTo>
                      <a:pt x="1162" y="1282"/>
                    </a:lnTo>
                    <a:lnTo>
                      <a:pt x="1161" y="1282"/>
                    </a:lnTo>
                    <a:lnTo>
                      <a:pt x="1159" y="1284"/>
                    </a:lnTo>
                    <a:lnTo>
                      <a:pt x="1161" y="1284"/>
                    </a:lnTo>
                    <a:lnTo>
                      <a:pt x="1159" y="1284"/>
                    </a:lnTo>
                    <a:lnTo>
                      <a:pt x="1159" y="1286"/>
                    </a:lnTo>
                    <a:lnTo>
                      <a:pt x="1157" y="1286"/>
                    </a:lnTo>
                    <a:lnTo>
                      <a:pt x="1156" y="1286"/>
                    </a:lnTo>
                    <a:lnTo>
                      <a:pt x="1156" y="1284"/>
                    </a:lnTo>
                    <a:lnTo>
                      <a:pt x="1157" y="1284"/>
                    </a:lnTo>
                    <a:lnTo>
                      <a:pt x="1156" y="1284"/>
                    </a:lnTo>
                    <a:lnTo>
                      <a:pt x="1157" y="1282"/>
                    </a:lnTo>
                    <a:lnTo>
                      <a:pt x="1159" y="1282"/>
                    </a:lnTo>
                    <a:lnTo>
                      <a:pt x="1157" y="1282"/>
                    </a:lnTo>
                    <a:lnTo>
                      <a:pt x="1156" y="1284"/>
                    </a:lnTo>
                    <a:lnTo>
                      <a:pt x="1156" y="1282"/>
                    </a:lnTo>
                    <a:lnTo>
                      <a:pt x="1156" y="1281"/>
                    </a:lnTo>
                    <a:lnTo>
                      <a:pt x="1157" y="1281"/>
                    </a:lnTo>
                    <a:lnTo>
                      <a:pt x="1156" y="1281"/>
                    </a:lnTo>
                    <a:lnTo>
                      <a:pt x="1154" y="1281"/>
                    </a:lnTo>
                    <a:lnTo>
                      <a:pt x="1156" y="1279"/>
                    </a:lnTo>
                    <a:lnTo>
                      <a:pt x="1154" y="1279"/>
                    </a:lnTo>
                    <a:lnTo>
                      <a:pt x="1154" y="1277"/>
                    </a:lnTo>
                    <a:lnTo>
                      <a:pt x="1156" y="1277"/>
                    </a:lnTo>
                    <a:lnTo>
                      <a:pt x="1154" y="1277"/>
                    </a:lnTo>
                    <a:lnTo>
                      <a:pt x="1154" y="1276"/>
                    </a:lnTo>
                    <a:lnTo>
                      <a:pt x="1154" y="1274"/>
                    </a:lnTo>
                    <a:lnTo>
                      <a:pt x="1156" y="1274"/>
                    </a:lnTo>
                    <a:lnTo>
                      <a:pt x="1156" y="1272"/>
                    </a:lnTo>
                    <a:lnTo>
                      <a:pt x="1157" y="1272"/>
                    </a:lnTo>
                    <a:lnTo>
                      <a:pt x="1156" y="1270"/>
                    </a:lnTo>
                    <a:lnTo>
                      <a:pt x="1156" y="1272"/>
                    </a:lnTo>
                    <a:lnTo>
                      <a:pt x="1154" y="1272"/>
                    </a:lnTo>
                    <a:lnTo>
                      <a:pt x="1154" y="1270"/>
                    </a:lnTo>
                    <a:lnTo>
                      <a:pt x="1154" y="1272"/>
                    </a:lnTo>
                    <a:lnTo>
                      <a:pt x="1154" y="1270"/>
                    </a:lnTo>
                    <a:lnTo>
                      <a:pt x="1154" y="1269"/>
                    </a:lnTo>
                    <a:lnTo>
                      <a:pt x="1156" y="1269"/>
                    </a:lnTo>
                    <a:lnTo>
                      <a:pt x="1156" y="1267"/>
                    </a:lnTo>
                    <a:lnTo>
                      <a:pt x="1156" y="1269"/>
                    </a:lnTo>
                    <a:lnTo>
                      <a:pt x="1154" y="1269"/>
                    </a:lnTo>
                    <a:lnTo>
                      <a:pt x="1152" y="1270"/>
                    </a:lnTo>
                    <a:lnTo>
                      <a:pt x="1151" y="1272"/>
                    </a:lnTo>
                    <a:lnTo>
                      <a:pt x="1151" y="1270"/>
                    </a:lnTo>
                    <a:lnTo>
                      <a:pt x="1151" y="1272"/>
                    </a:lnTo>
                    <a:lnTo>
                      <a:pt x="1149" y="1272"/>
                    </a:lnTo>
                    <a:lnTo>
                      <a:pt x="1147" y="1272"/>
                    </a:lnTo>
                    <a:lnTo>
                      <a:pt x="1149" y="1272"/>
                    </a:lnTo>
                    <a:lnTo>
                      <a:pt x="1147" y="1272"/>
                    </a:lnTo>
                    <a:lnTo>
                      <a:pt x="1145" y="1270"/>
                    </a:lnTo>
                    <a:lnTo>
                      <a:pt x="1145" y="1269"/>
                    </a:lnTo>
                    <a:lnTo>
                      <a:pt x="1147" y="1269"/>
                    </a:lnTo>
                    <a:lnTo>
                      <a:pt x="1149" y="1269"/>
                    </a:lnTo>
                    <a:lnTo>
                      <a:pt x="1151" y="1269"/>
                    </a:lnTo>
                    <a:lnTo>
                      <a:pt x="1152" y="1269"/>
                    </a:lnTo>
                    <a:lnTo>
                      <a:pt x="1152" y="1267"/>
                    </a:lnTo>
                    <a:lnTo>
                      <a:pt x="1151" y="1269"/>
                    </a:lnTo>
                    <a:lnTo>
                      <a:pt x="1151" y="1267"/>
                    </a:lnTo>
                    <a:lnTo>
                      <a:pt x="1152" y="1267"/>
                    </a:lnTo>
                    <a:lnTo>
                      <a:pt x="1152" y="1265"/>
                    </a:lnTo>
                    <a:lnTo>
                      <a:pt x="1151" y="1267"/>
                    </a:lnTo>
                    <a:lnTo>
                      <a:pt x="1151" y="1265"/>
                    </a:lnTo>
                    <a:lnTo>
                      <a:pt x="1152" y="1264"/>
                    </a:lnTo>
                    <a:lnTo>
                      <a:pt x="1152" y="1262"/>
                    </a:lnTo>
                    <a:lnTo>
                      <a:pt x="1151" y="1264"/>
                    </a:lnTo>
                    <a:lnTo>
                      <a:pt x="1151" y="1265"/>
                    </a:lnTo>
                    <a:lnTo>
                      <a:pt x="1151" y="1267"/>
                    </a:lnTo>
                    <a:lnTo>
                      <a:pt x="1149" y="1267"/>
                    </a:lnTo>
                    <a:lnTo>
                      <a:pt x="1151" y="1269"/>
                    </a:lnTo>
                    <a:lnTo>
                      <a:pt x="1149" y="1269"/>
                    </a:lnTo>
                    <a:lnTo>
                      <a:pt x="1149" y="1267"/>
                    </a:lnTo>
                    <a:lnTo>
                      <a:pt x="1149" y="1269"/>
                    </a:lnTo>
                    <a:lnTo>
                      <a:pt x="1147" y="1269"/>
                    </a:lnTo>
                    <a:lnTo>
                      <a:pt x="1147" y="1267"/>
                    </a:lnTo>
                    <a:lnTo>
                      <a:pt x="1149" y="1267"/>
                    </a:lnTo>
                    <a:lnTo>
                      <a:pt x="1149" y="1265"/>
                    </a:lnTo>
                    <a:lnTo>
                      <a:pt x="1149" y="1264"/>
                    </a:lnTo>
                    <a:lnTo>
                      <a:pt x="1151" y="1262"/>
                    </a:lnTo>
                    <a:lnTo>
                      <a:pt x="1149" y="1264"/>
                    </a:lnTo>
                    <a:lnTo>
                      <a:pt x="1149" y="1262"/>
                    </a:lnTo>
                    <a:lnTo>
                      <a:pt x="1151" y="1262"/>
                    </a:lnTo>
                    <a:lnTo>
                      <a:pt x="1151" y="1260"/>
                    </a:lnTo>
                    <a:lnTo>
                      <a:pt x="1149" y="1262"/>
                    </a:lnTo>
                    <a:lnTo>
                      <a:pt x="1149" y="1264"/>
                    </a:lnTo>
                    <a:lnTo>
                      <a:pt x="1147" y="1264"/>
                    </a:lnTo>
                    <a:lnTo>
                      <a:pt x="1145" y="1262"/>
                    </a:lnTo>
                    <a:lnTo>
                      <a:pt x="1147" y="1262"/>
                    </a:lnTo>
                    <a:lnTo>
                      <a:pt x="1147" y="1260"/>
                    </a:lnTo>
                    <a:lnTo>
                      <a:pt x="1145" y="1260"/>
                    </a:lnTo>
                    <a:lnTo>
                      <a:pt x="1145" y="1259"/>
                    </a:lnTo>
                    <a:lnTo>
                      <a:pt x="1144" y="1257"/>
                    </a:lnTo>
                    <a:lnTo>
                      <a:pt x="1145" y="1255"/>
                    </a:lnTo>
                    <a:lnTo>
                      <a:pt x="1147" y="1255"/>
                    </a:lnTo>
                    <a:lnTo>
                      <a:pt x="1147" y="1253"/>
                    </a:lnTo>
                    <a:lnTo>
                      <a:pt x="1147" y="1255"/>
                    </a:lnTo>
                    <a:lnTo>
                      <a:pt x="1147" y="1253"/>
                    </a:lnTo>
                    <a:lnTo>
                      <a:pt x="1149" y="1255"/>
                    </a:lnTo>
                    <a:lnTo>
                      <a:pt x="1149" y="1253"/>
                    </a:lnTo>
                    <a:lnTo>
                      <a:pt x="1149" y="1255"/>
                    </a:lnTo>
                    <a:lnTo>
                      <a:pt x="1149" y="1253"/>
                    </a:lnTo>
                    <a:lnTo>
                      <a:pt x="1149" y="1255"/>
                    </a:lnTo>
                    <a:lnTo>
                      <a:pt x="1149" y="1253"/>
                    </a:lnTo>
                    <a:lnTo>
                      <a:pt x="1151" y="1253"/>
                    </a:lnTo>
                    <a:lnTo>
                      <a:pt x="1149" y="1255"/>
                    </a:lnTo>
                    <a:lnTo>
                      <a:pt x="1149" y="1257"/>
                    </a:lnTo>
                    <a:lnTo>
                      <a:pt x="1149" y="1255"/>
                    </a:lnTo>
                    <a:lnTo>
                      <a:pt x="1151" y="1255"/>
                    </a:lnTo>
                    <a:lnTo>
                      <a:pt x="1151" y="1253"/>
                    </a:lnTo>
                    <a:lnTo>
                      <a:pt x="1151" y="1252"/>
                    </a:lnTo>
                    <a:lnTo>
                      <a:pt x="1152" y="1252"/>
                    </a:lnTo>
                    <a:close/>
                    <a:moveTo>
                      <a:pt x="1176" y="1393"/>
                    </a:moveTo>
                    <a:lnTo>
                      <a:pt x="1176" y="1395"/>
                    </a:lnTo>
                    <a:lnTo>
                      <a:pt x="1176" y="1393"/>
                    </a:lnTo>
                    <a:lnTo>
                      <a:pt x="1178" y="1393"/>
                    </a:lnTo>
                    <a:lnTo>
                      <a:pt x="1178" y="1395"/>
                    </a:lnTo>
                    <a:lnTo>
                      <a:pt x="1179" y="1393"/>
                    </a:lnTo>
                    <a:lnTo>
                      <a:pt x="1179" y="1395"/>
                    </a:lnTo>
                    <a:lnTo>
                      <a:pt x="1181" y="1395"/>
                    </a:lnTo>
                    <a:lnTo>
                      <a:pt x="1181" y="1396"/>
                    </a:lnTo>
                    <a:lnTo>
                      <a:pt x="1181" y="1395"/>
                    </a:lnTo>
                    <a:lnTo>
                      <a:pt x="1183" y="1396"/>
                    </a:lnTo>
                    <a:lnTo>
                      <a:pt x="1181" y="1398"/>
                    </a:lnTo>
                    <a:lnTo>
                      <a:pt x="1181" y="1396"/>
                    </a:lnTo>
                    <a:lnTo>
                      <a:pt x="1181" y="1398"/>
                    </a:lnTo>
                    <a:lnTo>
                      <a:pt x="1181" y="1400"/>
                    </a:lnTo>
                    <a:lnTo>
                      <a:pt x="1179" y="1400"/>
                    </a:lnTo>
                    <a:lnTo>
                      <a:pt x="1181" y="1400"/>
                    </a:lnTo>
                    <a:lnTo>
                      <a:pt x="1181" y="1398"/>
                    </a:lnTo>
                    <a:lnTo>
                      <a:pt x="1183" y="1398"/>
                    </a:lnTo>
                    <a:lnTo>
                      <a:pt x="1183" y="1400"/>
                    </a:lnTo>
                    <a:lnTo>
                      <a:pt x="1183" y="1401"/>
                    </a:lnTo>
                    <a:lnTo>
                      <a:pt x="1183" y="1403"/>
                    </a:lnTo>
                    <a:lnTo>
                      <a:pt x="1181" y="1403"/>
                    </a:lnTo>
                    <a:lnTo>
                      <a:pt x="1183" y="1403"/>
                    </a:lnTo>
                    <a:lnTo>
                      <a:pt x="1183" y="1405"/>
                    </a:lnTo>
                    <a:lnTo>
                      <a:pt x="1183" y="1403"/>
                    </a:lnTo>
                    <a:lnTo>
                      <a:pt x="1183" y="1405"/>
                    </a:lnTo>
                    <a:lnTo>
                      <a:pt x="1183" y="1403"/>
                    </a:lnTo>
                    <a:lnTo>
                      <a:pt x="1183" y="1405"/>
                    </a:lnTo>
                    <a:lnTo>
                      <a:pt x="1183" y="1407"/>
                    </a:lnTo>
                    <a:lnTo>
                      <a:pt x="1183" y="1405"/>
                    </a:lnTo>
                    <a:lnTo>
                      <a:pt x="1185" y="1407"/>
                    </a:lnTo>
                    <a:lnTo>
                      <a:pt x="1185" y="1408"/>
                    </a:lnTo>
                    <a:lnTo>
                      <a:pt x="1185" y="1410"/>
                    </a:lnTo>
                    <a:lnTo>
                      <a:pt x="1185" y="1412"/>
                    </a:lnTo>
                    <a:lnTo>
                      <a:pt x="1183" y="1410"/>
                    </a:lnTo>
                    <a:lnTo>
                      <a:pt x="1185" y="1412"/>
                    </a:lnTo>
                    <a:lnTo>
                      <a:pt x="1183" y="1412"/>
                    </a:lnTo>
                    <a:lnTo>
                      <a:pt x="1183" y="1410"/>
                    </a:lnTo>
                    <a:lnTo>
                      <a:pt x="1181" y="1408"/>
                    </a:lnTo>
                    <a:lnTo>
                      <a:pt x="1181" y="1407"/>
                    </a:lnTo>
                    <a:lnTo>
                      <a:pt x="1179" y="1407"/>
                    </a:lnTo>
                    <a:lnTo>
                      <a:pt x="1179" y="1408"/>
                    </a:lnTo>
                    <a:lnTo>
                      <a:pt x="1181" y="1408"/>
                    </a:lnTo>
                    <a:lnTo>
                      <a:pt x="1181" y="1410"/>
                    </a:lnTo>
                    <a:lnTo>
                      <a:pt x="1181" y="1412"/>
                    </a:lnTo>
                    <a:lnTo>
                      <a:pt x="1179" y="1412"/>
                    </a:lnTo>
                    <a:lnTo>
                      <a:pt x="1179" y="1410"/>
                    </a:lnTo>
                    <a:lnTo>
                      <a:pt x="1179" y="1412"/>
                    </a:lnTo>
                    <a:lnTo>
                      <a:pt x="1181" y="1412"/>
                    </a:lnTo>
                    <a:lnTo>
                      <a:pt x="1181" y="1413"/>
                    </a:lnTo>
                    <a:lnTo>
                      <a:pt x="1183" y="1413"/>
                    </a:lnTo>
                    <a:lnTo>
                      <a:pt x="1185" y="1415"/>
                    </a:lnTo>
                    <a:lnTo>
                      <a:pt x="1185" y="1417"/>
                    </a:lnTo>
                    <a:lnTo>
                      <a:pt x="1185" y="1418"/>
                    </a:lnTo>
                    <a:lnTo>
                      <a:pt x="1183" y="1418"/>
                    </a:lnTo>
                    <a:lnTo>
                      <a:pt x="1183" y="1417"/>
                    </a:lnTo>
                    <a:lnTo>
                      <a:pt x="1181" y="1417"/>
                    </a:lnTo>
                    <a:lnTo>
                      <a:pt x="1183" y="1418"/>
                    </a:lnTo>
                    <a:lnTo>
                      <a:pt x="1183" y="1420"/>
                    </a:lnTo>
                    <a:lnTo>
                      <a:pt x="1183" y="1418"/>
                    </a:lnTo>
                    <a:lnTo>
                      <a:pt x="1181" y="1418"/>
                    </a:lnTo>
                    <a:lnTo>
                      <a:pt x="1181" y="1417"/>
                    </a:lnTo>
                    <a:lnTo>
                      <a:pt x="1179" y="1418"/>
                    </a:lnTo>
                    <a:lnTo>
                      <a:pt x="1181" y="1418"/>
                    </a:lnTo>
                    <a:lnTo>
                      <a:pt x="1183" y="1420"/>
                    </a:lnTo>
                    <a:lnTo>
                      <a:pt x="1183" y="1422"/>
                    </a:lnTo>
                    <a:lnTo>
                      <a:pt x="1181" y="1422"/>
                    </a:lnTo>
                    <a:lnTo>
                      <a:pt x="1181" y="1420"/>
                    </a:lnTo>
                    <a:lnTo>
                      <a:pt x="1181" y="1418"/>
                    </a:lnTo>
                    <a:lnTo>
                      <a:pt x="1179" y="1420"/>
                    </a:lnTo>
                    <a:lnTo>
                      <a:pt x="1179" y="1418"/>
                    </a:lnTo>
                    <a:lnTo>
                      <a:pt x="1178" y="1420"/>
                    </a:lnTo>
                    <a:lnTo>
                      <a:pt x="1178" y="1418"/>
                    </a:lnTo>
                    <a:lnTo>
                      <a:pt x="1179" y="1418"/>
                    </a:lnTo>
                    <a:lnTo>
                      <a:pt x="1179" y="1417"/>
                    </a:lnTo>
                    <a:lnTo>
                      <a:pt x="1178" y="1417"/>
                    </a:lnTo>
                    <a:lnTo>
                      <a:pt x="1178" y="1415"/>
                    </a:lnTo>
                    <a:lnTo>
                      <a:pt x="1176" y="1413"/>
                    </a:lnTo>
                    <a:lnTo>
                      <a:pt x="1178" y="1412"/>
                    </a:lnTo>
                    <a:lnTo>
                      <a:pt x="1176" y="1412"/>
                    </a:lnTo>
                    <a:lnTo>
                      <a:pt x="1176" y="1410"/>
                    </a:lnTo>
                    <a:lnTo>
                      <a:pt x="1178" y="1410"/>
                    </a:lnTo>
                    <a:lnTo>
                      <a:pt x="1179" y="1410"/>
                    </a:lnTo>
                    <a:lnTo>
                      <a:pt x="1179" y="1408"/>
                    </a:lnTo>
                    <a:lnTo>
                      <a:pt x="1179" y="1410"/>
                    </a:lnTo>
                    <a:lnTo>
                      <a:pt x="1178" y="1410"/>
                    </a:lnTo>
                    <a:lnTo>
                      <a:pt x="1176" y="1410"/>
                    </a:lnTo>
                    <a:lnTo>
                      <a:pt x="1176" y="1408"/>
                    </a:lnTo>
                    <a:lnTo>
                      <a:pt x="1176" y="1410"/>
                    </a:lnTo>
                    <a:lnTo>
                      <a:pt x="1176" y="1412"/>
                    </a:lnTo>
                    <a:lnTo>
                      <a:pt x="1174" y="1413"/>
                    </a:lnTo>
                    <a:lnTo>
                      <a:pt x="1174" y="1412"/>
                    </a:lnTo>
                    <a:lnTo>
                      <a:pt x="1174" y="1413"/>
                    </a:lnTo>
                    <a:lnTo>
                      <a:pt x="1173" y="1413"/>
                    </a:lnTo>
                    <a:lnTo>
                      <a:pt x="1171" y="1413"/>
                    </a:lnTo>
                    <a:lnTo>
                      <a:pt x="1173" y="1412"/>
                    </a:lnTo>
                    <a:lnTo>
                      <a:pt x="1171" y="1412"/>
                    </a:lnTo>
                    <a:lnTo>
                      <a:pt x="1173" y="1412"/>
                    </a:lnTo>
                    <a:lnTo>
                      <a:pt x="1173" y="1410"/>
                    </a:lnTo>
                    <a:lnTo>
                      <a:pt x="1171" y="1410"/>
                    </a:lnTo>
                    <a:lnTo>
                      <a:pt x="1173" y="1410"/>
                    </a:lnTo>
                    <a:lnTo>
                      <a:pt x="1174" y="1410"/>
                    </a:lnTo>
                    <a:lnTo>
                      <a:pt x="1174" y="1408"/>
                    </a:lnTo>
                    <a:lnTo>
                      <a:pt x="1176" y="1408"/>
                    </a:lnTo>
                    <a:lnTo>
                      <a:pt x="1176" y="1407"/>
                    </a:lnTo>
                    <a:lnTo>
                      <a:pt x="1176" y="1405"/>
                    </a:lnTo>
                    <a:lnTo>
                      <a:pt x="1176" y="1407"/>
                    </a:lnTo>
                    <a:lnTo>
                      <a:pt x="1174" y="1407"/>
                    </a:lnTo>
                    <a:lnTo>
                      <a:pt x="1174" y="1408"/>
                    </a:lnTo>
                    <a:lnTo>
                      <a:pt x="1173" y="1408"/>
                    </a:lnTo>
                    <a:lnTo>
                      <a:pt x="1171" y="1408"/>
                    </a:lnTo>
                    <a:lnTo>
                      <a:pt x="1171" y="1407"/>
                    </a:lnTo>
                    <a:lnTo>
                      <a:pt x="1171" y="1408"/>
                    </a:lnTo>
                    <a:lnTo>
                      <a:pt x="1169" y="1408"/>
                    </a:lnTo>
                    <a:lnTo>
                      <a:pt x="1171" y="1408"/>
                    </a:lnTo>
                    <a:lnTo>
                      <a:pt x="1171" y="1410"/>
                    </a:lnTo>
                    <a:lnTo>
                      <a:pt x="1169" y="1412"/>
                    </a:lnTo>
                    <a:lnTo>
                      <a:pt x="1168" y="1412"/>
                    </a:lnTo>
                    <a:lnTo>
                      <a:pt x="1169" y="1410"/>
                    </a:lnTo>
                    <a:lnTo>
                      <a:pt x="1168" y="1410"/>
                    </a:lnTo>
                    <a:lnTo>
                      <a:pt x="1168" y="1412"/>
                    </a:lnTo>
                    <a:lnTo>
                      <a:pt x="1166" y="1410"/>
                    </a:lnTo>
                    <a:lnTo>
                      <a:pt x="1168" y="1410"/>
                    </a:lnTo>
                    <a:lnTo>
                      <a:pt x="1168" y="1408"/>
                    </a:lnTo>
                    <a:lnTo>
                      <a:pt x="1169" y="1407"/>
                    </a:lnTo>
                    <a:lnTo>
                      <a:pt x="1168" y="1407"/>
                    </a:lnTo>
                    <a:lnTo>
                      <a:pt x="1169" y="1407"/>
                    </a:lnTo>
                    <a:lnTo>
                      <a:pt x="1171" y="1407"/>
                    </a:lnTo>
                    <a:lnTo>
                      <a:pt x="1169" y="1407"/>
                    </a:lnTo>
                    <a:lnTo>
                      <a:pt x="1168" y="1407"/>
                    </a:lnTo>
                    <a:lnTo>
                      <a:pt x="1166" y="1407"/>
                    </a:lnTo>
                    <a:lnTo>
                      <a:pt x="1168" y="1405"/>
                    </a:lnTo>
                    <a:lnTo>
                      <a:pt x="1169" y="1405"/>
                    </a:lnTo>
                    <a:lnTo>
                      <a:pt x="1168" y="1405"/>
                    </a:lnTo>
                    <a:lnTo>
                      <a:pt x="1166" y="1405"/>
                    </a:lnTo>
                    <a:lnTo>
                      <a:pt x="1166" y="1407"/>
                    </a:lnTo>
                    <a:lnTo>
                      <a:pt x="1164" y="1407"/>
                    </a:lnTo>
                    <a:lnTo>
                      <a:pt x="1164" y="1405"/>
                    </a:lnTo>
                    <a:lnTo>
                      <a:pt x="1164" y="1403"/>
                    </a:lnTo>
                    <a:lnTo>
                      <a:pt x="1166" y="1403"/>
                    </a:lnTo>
                    <a:lnTo>
                      <a:pt x="1168" y="1403"/>
                    </a:lnTo>
                    <a:lnTo>
                      <a:pt x="1166" y="1403"/>
                    </a:lnTo>
                    <a:lnTo>
                      <a:pt x="1164" y="1401"/>
                    </a:lnTo>
                    <a:lnTo>
                      <a:pt x="1166" y="1401"/>
                    </a:lnTo>
                    <a:lnTo>
                      <a:pt x="1168" y="1401"/>
                    </a:lnTo>
                    <a:lnTo>
                      <a:pt x="1166" y="1401"/>
                    </a:lnTo>
                    <a:lnTo>
                      <a:pt x="1168" y="1401"/>
                    </a:lnTo>
                    <a:lnTo>
                      <a:pt x="1169" y="1401"/>
                    </a:lnTo>
                    <a:lnTo>
                      <a:pt x="1169" y="1403"/>
                    </a:lnTo>
                    <a:lnTo>
                      <a:pt x="1171" y="1403"/>
                    </a:lnTo>
                    <a:lnTo>
                      <a:pt x="1173" y="1403"/>
                    </a:lnTo>
                    <a:lnTo>
                      <a:pt x="1174" y="1403"/>
                    </a:lnTo>
                    <a:lnTo>
                      <a:pt x="1173" y="1405"/>
                    </a:lnTo>
                    <a:lnTo>
                      <a:pt x="1174" y="1405"/>
                    </a:lnTo>
                    <a:lnTo>
                      <a:pt x="1174" y="1403"/>
                    </a:lnTo>
                    <a:lnTo>
                      <a:pt x="1176" y="1403"/>
                    </a:lnTo>
                    <a:lnTo>
                      <a:pt x="1176" y="1405"/>
                    </a:lnTo>
                    <a:lnTo>
                      <a:pt x="1176" y="1403"/>
                    </a:lnTo>
                    <a:lnTo>
                      <a:pt x="1178" y="1403"/>
                    </a:lnTo>
                    <a:lnTo>
                      <a:pt x="1176" y="1401"/>
                    </a:lnTo>
                    <a:lnTo>
                      <a:pt x="1178" y="1401"/>
                    </a:lnTo>
                    <a:lnTo>
                      <a:pt x="1176" y="1401"/>
                    </a:lnTo>
                    <a:lnTo>
                      <a:pt x="1176" y="1403"/>
                    </a:lnTo>
                    <a:lnTo>
                      <a:pt x="1174" y="1401"/>
                    </a:lnTo>
                    <a:lnTo>
                      <a:pt x="1174" y="1400"/>
                    </a:lnTo>
                    <a:lnTo>
                      <a:pt x="1176" y="1400"/>
                    </a:lnTo>
                    <a:lnTo>
                      <a:pt x="1176" y="1398"/>
                    </a:lnTo>
                    <a:lnTo>
                      <a:pt x="1178" y="1400"/>
                    </a:lnTo>
                    <a:lnTo>
                      <a:pt x="1176" y="1400"/>
                    </a:lnTo>
                    <a:lnTo>
                      <a:pt x="1178" y="1400"/>
                    </a:lnTo>
                    <a:lnTo>
                      <a:pt x="1178" y="1398"/>
                    </a:lnTo>
                    <a:lnTo>
                      <a:pt x="1179" y="1398"/>
                    </a:lnTo>
                    <a:lnTo>
                      <a:pt x="1178" y="1398"/>
                    </a:lnTo>
                    <a:lnTo>
                      <a:pt x="1176" y="1398"/>
                    </a:lnTo>
                    <a:lnTo>
                      <a:pt x="1176" y="1396"/>
                    </a:lnTo>
                    <a:lnTo>
                      <a:pt x="1174" y="1396"/>
                    </a:lnTo>
                    <a:lnTo>
                      <a:pt x="1174" y="1395"/>
                    </a:lnTo>
                    <a:lnTo>
                      <a:pt x="1173" y="1395"/>
                    </a:lnTo>
                    <a:lnTo>
                      <a:pt x="1174" y="1393"/>
                    </a:lnTo>
                    <a:lnTo>
                      <a:pt x="1174" y="1391"/>
                    </a:lnTo>
                    <a:lnTo>
                      <a:pt x="1176" y="1393"/>
                    </a:lnTo>
                    <a:close/>
                    <a:moveTo>
                      <a:pt x="1173" y="1259"/>
                    </a:moveTo>
                    <a:lnTo>
                      <a:pt x="1174" y="1259"/>
                    </a:lnTo>
                    <a:lnTo>
                      <a:pt x="1174" y="1260"/>
                    </a:lnTo>
                    <a:lnTo>
                      <a:pt x="1174" y="1262"/>
                    </a:lnTo>
                    <a:lnTo>
                      <a:pt x="1173" y="1262"/>
                    </a:lnTo>
                    <a:lnTo>
                      <a:pt x="1174" y="1262"/>
                    </a:lnTo>
                    <a:lnTo>
                      <a:pt x="1174" y="1264"/>
                    </a:lnTo>
                    <a:lnTo>
                      <a:pt x="1174" y="1262"/>
                    </a:lnTo>
                    <a:lnTo>
                      <a:pt x="1176" y="1264"/>
                    </a:lnTo>
                    <a:lnTo>
                      <a:pt x="1174" y="1265"/>
                    </a:lnTo>
                    <a:lnTo>
                      <a:pt x="1176" y="1265"/>
                    </a:lnTo>
                    <a:lnTo>
                      <a:pt x="1174" y="1265"/>
                    </a:lnTo>
                    <a:lnTo>
                      <a:pt x="1176" y="1267"/>
                    </a:lnTo>
                    <a:lnTo>
                      <a:pt x="1178" y="1267"/>
                    </a:lnTo>
                    <a:lnTo>
                      <a:pt x="1178" y="1269"/>
                    </a:lnTo>
                    <a:lnTo>
                      <a:pt x="1178" y="1270"/>
                    </a:lnTo>
                    <a:lnTo>
                      <a:pt x="1178" y="1272"/>
                    </a:lnTo>
                    <a:lnTo>
                      <a:pt x="1176" y="1272"/>
                    </a:lnTo>
                    <a:lnTo>
                      <a:pt x="1174" y="1272"/>
                    </a:lnTo>
                    <a:lnTo>
                      <a:pt x="1176" y="1272"/>
                    </a:lnTo>
                    <a:lnTo>
                      <a:pt x="1176" y="1274"/>
                    </a:lnTo>
                    <a:lnTo>
                      <a:pt x="1178" y="1276"/>
                    </a:lnTo>
                    <a:lnTo>
                      <a:pt x="1178" y="1277"/>
                    </a:lnTo>
                    <a:lnTo>
                      <a:pt x="1178" y="1279"/>
                    </a:lnTo>
                    <a:lnTo>
                      <a:pt x="1178" y="1281"/>
                    </a:lnTo>
                    <a:lnTo>
                      <a:pt x="1179" y="1282"/>
                    </a:lnTo>
                    <a:lnTo>
                      <a:pt x="1179" y="1284"/>
                    </a:lnTo>
                    <a:lnTo>
                      <a:pt x="1181" y="1282"/>
                    </a:lnTo>
                    <a:lnTo>
                      <a:pt x="1179" y="1282"/>
                    </a:lnTo>
                    <a:lnTo>
                      <a:pt x="1179" y="1281"/>
                    </a:lnTo>
                    <a:lnTo>
                      <a:pt x="1181" y="1281"/>
                    </a:lnTo>
                    <a:lnTo>
                      <a:pt x="1181" y="1282"/>
                    </a:lnTo>
                    <a:lnTo>
                      <a:pt x="1181" y="1284"/>
                    </a:lnTo>
                    <a:lnTo>
                      <a:pt x="1181" y="1286"/>
                    </a:lnTo>
                    <a:lnTo>
                      <a:pt x="1179" y="1286"/>
                    </a:lnTo>
                    <a:lnTo>
                      <a:pt x="1178" y="1288"/>
                    </a:lnTo>
                    <a:lnTo>
                      <a:pt x="1178" y="1286"/>
                    </a:lnTo>
                    <a:lnTo>
                      <a:pt x="1176" y="1286"/>
                    </a:lnTo>
                    <a:lnTo>
                      <a:pt x="1176" y="1284"/>
                    </a:lnTo>
                    <a:lnTo>
                      <a:pt x="1174" y="1284"/>
                    </a:lnTo>
                    <a:lnTo>
                      <a:pt x="1173" y="1284"/>
                    </a:lnTo>
                    <a:lnTo>
                      <a:pt x="1174" y="1282"/>
                    </a:lnTo>
                    <a:lnTo>
                      <a:pt x="1173" y="1284"/>
                    </a:lnTo>
                    <a:lnTo>
                      <a:pt x="1171" y="1284"/>
                    </a:lnTo>
                    <a:lnTo>
                      <a:pt x="1169" y="1282"/>
                    </a:lnTo>
                    <a:lnTo>
                      <a:pt x="1168" y="1282"/>
                    </a:lnTo>
                    <a:lnTo>
                      <a:pt x="1166" y="1282"/>
                    </a:lnTo>
                    <a:lnTo>
                      <a:pt x="1166" y="1281"/>
                    </a:lnTo>
                    <a:lnTo>
                      <a:pt x="1166" y="1279"/>
                    </a:lnTo>
                    <a:lnTo>
                      <a:pt x="1166" y="1281"/>
                    </a:lnTo>
                    <a:lnTo>
                      <a:pt x="1166" y="1282"/>
                    </a:lnTo>
                    <a:lnTo>
                      <a:pt x="1164" y="1282"/>
                    </a:lnTo>
                    <a:lnTo>
                      <a:pt x="1164" y="1281"/>
                    </a:lnTo>
                    <a:lnTo>
                      <a:pt x="1164" y="1279"/>
                    </a:lnTo>
                    <a:lnTo>
                      <a:pt x="1164" y="1277"/>
                    </a:lnTo>
                    <a:lnTo>
                      <a:pt x="1164" y="1276"/>
                    </a:lnTo>
                    <a:lnTo>
                      <a:pt x="1164" y="1274"/>
                    </a:lnTo>
                    <a:lnTo>
                      <a:pt x="1166" y="1274"/>
                    </a:lnTo>
                    <a:lnTo>
                      <a:pt x="1166" y="1272"/>
                    </a:lnTo>
                    <a:lnTo>
                      <a:pt x="1168" y="1272"/>
                    </a:lnTo>
                    <a:lnTo>
                      <a:pt x="1168" y="1270"/>
                    </a:lnTo>
                    <a:lnTo>
                      <a:pt x="1169" y="1272"/>
                    </a:lnTo>
                    <a:lnTo>
                      <a:pt x="1169" y="1270"/>
                    </a:lnTo>
                    <a:lnTo>
                      <a:pt x="1171" y="1270"/>
                    </a:lnTo>
                    <a:lnTo>
                      <a:pt x="1171" y="1272"/>
                    </a:lnTo>
                    <a:lnTo>
                      <a:pt x="1171" y="1274"/>
                    </a:lnTo>
                    <a:lnTo>
                      <a:pt x="1171" y="1276"/>
                    </a:lnTo>
                    <a:lnTo>
                      <a:pt x="1171" y="1277"/>
                    </a:lnTo>
                    <a:lnTo>
                      <a:pt x="1171" y="1279"/>
                    </a:lnTo>
                    <a:lnTo>
                      <a:pt x="1171" y="1277"/>
                    </a:lnTo>
                    <a:lnTo>
                      <a:pt x="1171" y="1276"/>
                    </a:lnTo>
                    <a:lnTo>
                      <a:pt x="1173" y="1276"/>
                    </a:lnTo>
                    <a:lnTo>
                      <a:pt x="1173" y="1277"/>
                    </a:lnTo>
                    <a:lnTo>
                      <a:pt x="1173" y="1279"/>
                    </a:lnTo>
                    <a:lnTo>
                      <a:pt x="1173" y="1277"/>
                    </a:lnTo>
                    <a:lnTo>
                      <a:pt x="1173" y="1276"/>
                    </a:lnTo>
                    <a:lnTo>
                      <a:pt x="1174" y="1276"/>
                    </a:lnTo>
                    <a:lnTo>
                      <a:pt x="1174" y="1274"/>
                    </a:lnTo>
                    <a:lnTo>
                      <a:pt x="1174" y="1272"/>
                    </a:lnTo>
                    <a:lnTo>
                      <a:pt x="1173" y="1274"/>
                    </a:lnTo>
                    <a:lnTo>
                      <a:pt x="1173" y="1272"/>
                    </a:lnTo>
                    <a:lnTo>
                      <a:pt x="1171" y="1272"/>
                    </a:lnTo>
                    <a:lnTo>
                      <a:pt x="1171" y="1270"/>
                    </a:lnTo>
                    <a:lnTo>
                      <a:pt x="1171" y="1272"/>
                    </a:lnTo>
                    <a:lnTo>
                      <a:pt x="1173" y="1272"/>
                    </a:lnTo>
                    <a:lnTo>
                      <a:pt x="1171" y="1270"/>
                    </a:lnTo>
                    <a:lnTo>
                      <a:pt x="1171" y="1269"/>
                    </a:lnTo>
                    <a:lnTo>
                      <a:pt x="1171" y="1267"/>
                    </a:lnTo>
                    <a:lnTo>
                      <a:pt x="1171" y="1265"/>
                    </a:lnTo>
                    <a:lnTo>
                      <a:pt x="1171" y="1264"/>
                    </a:lnTo>
                    <a:lnTo>
                      <a:pt x="1173" y="1264"/>
                    </a:lnTo>
                    <a:lnTo>
                      <a:pt x="1171" y="1264"/>
                    </a:lnTo>
                    <a:lnTo>
                      <a:pt x="1173" y="1262"/>
                    </a:lnTo>
                    <a:lnTo>
                      <a:pt x="1173" y="1260"/>
                    </a:lnTo>
                    <a:lnTo>
                      <a:pt x="1173" y="1259"/>
                    </a:lnTo>
                    <a:lnTo>
                      <a:pt x="1173" y="1257"/>
                    </a:lnTo>
                    <a:lnTo>
                      <a:pt x="1173" y="1259"/>
                    </a:lnTo>
                    <a:close/>
                    <a:moveTo>
                      <a:pt x="1188" y="1466"/>
                    </a:moveTo>
                    <a:lnTo>
                      <a:pt x="1190" y="1466"/>
                    </a:lnTo>
                    <a:lnTo>
                      <a:pt x="1190" y="1468"/>
                    </a:lnTo>
                    <a:lnTo>
                      <a:pt x="1191" y="1466"/>
                    </a:lnTo>
                    <a:lnTo>
                      <a:pt x="1193" y="1466"/>
                    </a:lnTo>
                    <a:lnTo>
                      <a:pt x="1193" y="1468"/>
                    </a:lnTo>
                    <a:lnTo>
                      <a:pt x="1195" y="1468"/>
                    </a:lnTo>
                    <a:lnTo>
                      <a:pt x="1195" y="1470"/>
                    </a:lnTo>
                    <a:lnTo>
                      <a:pt x="1193" y="1471"/>
                    </a:lnTo>
                    <a:lnTo>
                      <a:pt x="1195" y="1471"/>
                    </a:lnTo>
                    <a:lnTo>
                      <a:pt x="1195" y="1470"/>
                    </a:lnTo>
                    <a:lnTo>
                      <a:pt x="1196" y="1470"/>
                    </a:lnTo>
                    <a:lnTo>
                      <a:pt x="1196" y="1471"/>
                    </a:lnTo>
                    <a:lnTo>
                      <a:pt x="1198" y="1471"/>
                    </a:lnTo>
                    <a:lnTo>
                      <a:pt x="1198" y="1473"/>
                    </a:lnTo>
                    <a:lnTo>
                      <a:pt x="1200" y="1473"/>
                    </a:lnTo>
                    <a:lnTo>
                      <a:pt x="1202" y="1475"/>
                    </a:lnTo>
                    <a:lnTo>
                      <a:pt x="1203" y="1475"/>
                    </a:lnTo>
                    <a:lnTo>
                      <a:pt x="1203" y="1476"/>
                    </a:lnTo>
                    <a:lnTo>
                      <a:pt x="1205" y="1478"/>
                    </a:lnTo>
                    <a:lnTo>
                      <a:pt x="1205" y="1480"/>
                    </a:lnTo>
                    <a:lnTo>
                      <a:pt x="1203" y="1481"/>
                    </a:lnTo>
                    <a:lnTo>
                      <a:pt x="1205" y="1481"/>
                    </a:lnTo>
                    <a:lnTo>
                      <a:pt x="1205" y="1480"/>
                    </a:lnTo>
                    <a:lnTo>
                      <a:pt x="1205" y="1481"/>
                    </a:lnTo>
                    <a:lnTo>
                      <a:pt x="1205" y="1483"/>
                    </a:lnTo>
                    <a:lnTo>
                      <a:pt x="1205" y="1485"/>
                    </a:lnTo>
                    <a:lnTo>
                      <a:pt x="1207" y="1487"/>
                    </a:lnTo>
                    <a:lnTo>
                      <a:pt x="1207" y="1488"/>
                    </a:lnTo>
                    <a:lnTo>
                      <a:pt x="1208" y="1488"/>
                    </a:lnTo>
                    <a:lnTo>
                      <a:pt x="1208" y="1490"/>
                    </a:lnTo>
                    <a:lnTo>
                      <a:pt x="1207" y="1488"/>
                    </a:lnTo>
                    <a:lnTo>
                      <a:pt x="1208" y="1490"/>
                    </a:lnTo>
                    <a:lnTo>
                      <a:pt x="1207" y="1490"/>
                    </a:lnTo>
                    <a:lnTo>
                      <a:pt x="1205" y="1490"/>
                    </a:lnTo>
                    <a:lnTo>
                      <a:pt x="1207" y="1490"/>
                    </a:lnTo>
                    <a:lnTo>
                      <a:pt x="1207" y="1492"/>
                    </a:lnTo>
                    <a:lnTo>
                      <a:pt x="1205" y="1492"/>
                    </a:lnTo>
                    <a:lnTo>
                      <a:pt x="1205" y="1493"/>
                    </a:lnTo>
                    <a:lnTo>
                      <a:pt x="1207" y="1493"/>
                    </a:lnTo>
                    <a:lnTo>
                      <a:pt x="1205" y="1493"/>
                    </a:lnTo>
                    <a:lnTo>
                      <a:pt x="1203" y="1493"/>
                    </a:lnTo>
                    <a:lnTo>
                      <a:pt x="1203" y="1492"/>
                    </a:lnTo>
                    <a:lnTo>
                      <a:pt x="1203" y="1493"/>
                    </a:lnTo>
                    <a:lnTo>
                      <a:pt x="1205" y="1493"/>
                    </a:lnTo>
                    <a:lnTo>
                      <a:pt x="1203" y="1495"/>
                    </a:lnTo>
                    <a:lnTo>
                      <a:pt x="1205" y="1495"/>
                    </a:lnTo>
                    <a:lnTo>
                      <a:pt x="1205" y="1493"/>
                    </a:lnTo>
                    <a:lnTo>
                      <a:pt x="1207" y="1495"/>
                    </a:lnTo>
                    <a:lnTo>
                      <a:pt x="1207" y="1497"/>
                    </a:lnTo>
                    <a:lnTo>
                      <a:pt x="1205" y="1497"/>
                    </a:lnTo>
                    <a:lnTo>
                      <a:pt x="1205" y="1498"/>
                    </a:lnTo>
                    <a:lnTo>
                      <a:pt x="1205" y="1500"/>
                    </a:lnTo>
                    <a:lnTo>
                      <a:pt x="1205" y="1498"/>
                    </a:lnTo>
                    <a:lnTo>
                      <a:pt x="1203" y="1500"/>
                    </a:lnTo>
                    <a:lnTo>
                      <a:pt x="1205" y="1500"/>
                    </a:lnTo>
                    <a:lnTo>
                      <a:pt x="1203" y="1500"/>
                    </a:lnTo>
                    <a:lnTo>
                      <a:pt x="1203" y="1502"/>
                    </a:lnTo>
                    <a:lnTo>
                      <a:pt x="1202" y="1502"/>
                    </a:lnTo>
                    <a:lnTo>
                      <a:pt x="1202" y="1500"/>
                    </a:lnTo>
                    <a:lnTo>
                      <a:pt x="1202" y="1502"/>
                    </a:lnTo>
                    <a:lnTo>
                      <a:pt x="1200" y="1502"/>
                    </a:lnTo>
                    <a:lnTo>
                      <a:pt x="1200" y="1504"/>
                    </a:lnTo>
                    <a:lnTo>
                      <a:pt x="1198" y="1504"/>
                    </a:lnTo>
                    <a:lnTo>
                      <a:pt x="1198" y="1502"/>
                    </a:lnTo>
                    <a:lnTo>
                      <a:pt x="1198" y="1500"/>
                    </a:lnTo>
                    <a:lnTo>
                      <a:pt x="1200" y="1500"/>
                    </a:lnTo>
                    <a:lnTo>
                      <a:pt x="1200" y="1498"/>
                    </a:lnTo>
                    <a:lnTo>
                      <a:pt x="1202" y="1497"/>
                    </a:lnTo>
                    <a:lnTo>
                      <a:pt x="1202" y="1495"/>
                    </a:lnTo>
                    <a:lnTo>
                      <a:pt x="1200" y="1497"/>
                    </a:lnTo>
                    <a:lnTo>
                      <a:pt x="1200" y="1498"/>
                    </a:lnTo>
                    <a:lnTo>
                      <a:pt x="1198" y="1498"/>
                    </a:lnTo>
                    <a:lnTo>
                      <a:pt x="1198" y="1500"/>
                    </a:lnTo>
                    <a:lnTo>
                      <a:pt x="1198" y="1498"/>
                    </a:lnTo>
                    <a:lnTo>
                      <a:pt x="1198" y="1497"/>
                    </a:lnTo>
                    <a:lnTo>
                      <a:pt x="1200" y="1495"/>
                    </a:lnTo>
                    <a:lnTo>
                      <a:pt x="1202" y="1495"/>
                    </a:lnTo>
                    <a:lnTo>
                      <a:pt x="1202" y="1493"/>
                    </a:lnTo>
                    <a:lnTo>
                      <a:pt x="1200" y="1495"/>
                    </a:lnTo>
                    <a:lnTo>
                      <a:pt x="1200" y="1493"/>
                    </a:lnTo>
                    <a:lnTo>
                      <a:pt x="1200" y="1495"/>
                    </a:lnTo>
                    <a:lnTo>
                      <a:pt x="1198" y="1495"/>
                    </a:lnTo>
                    <a:lnTo>
                      <a:pt x="1196" y="1497"/>
                    </a:lnTo>
                    <a:lnTo>
                      <a:pt x="1196" y="1495"/>
                    </a:lnTo>
                    <a:lnTo>
                      <a:pt x="1196" y="1497"/>
                    </a:lnTo>
                    <a:lnTo>
                      <a:pt x="1196" y="1498"/>
                    </a:lnTo>
                    <a:lnTo>
                      <a:pt x="1195" y="1497"/>
                    </a:lnTo>
                    <a:lnTo>
                      <a:pt x="1193" y="1497"/>
                    </a:lnTo>
                    <a:lnTo>
                      <a:pt x="1195" y="1497"/>
                    </a:lnTo>
                    <a:lnTo>
                      <a:pt x="1195" y="1495"/>
                    </a:lnTo>
                    <a:lnTo>
                      <a:pt x="1195" y="1493"/>
                    </a:lnTo>
                    <a:lnTo>
                      <a:pt x="1196" y="1493"/>
                    </a:lnTo>
                    <a:lnTo>
                      <a:pt x="1198" y="1493"/>
                    </a:lnTo>
                    <a:lnTo>
                      <a:pt x="1198" y="1492"/>
                    </a:lnTo>
                    <a:lnTo>
                      <a:pt x="1196" y="1493"/>
                    </a:lnTo>
                    <a:lnTo>
                      <a:pt x="1196" y="1492"/>
                    </a:lnTo>
                    <a:lnTo>
                      <a:pt x="1198" y="1492"/>
                    </a:lnTo>
                    <a:lnTo>
                      <a:pt x="1198" y="1490"/>
                    </a:lnTo>
                    <a:lnTo>
                      <a:pt x="1200" y="1490"/>
                    </a:lnTo>
                    <a:lnTo>
                      <a:pt x="1200" y="1488"/>
                    </a:lnTo>
                    <a:lnTo>
                      <a:pt x="1200" y="1490"/>
                    </a:lnTo>
                    <a:lnTo>
                      <a:pt x="1200" y="1492"/>
                    </a:lnTo>
                    <a:lnTo>
                      <a:pt x="1198" y="1492"/>
                    </a:lnTo>
                    <a:lnTo>
                      <a:pt x="1200" y="1490"/>
                    </a:lnTo>
                    <a:lnTo>
                      <a:pt x="1202" y="1490"/>
                    </a:lnTo>
                    <a:lnTo>
                      <a:pt x="1200" y="1490"/>
                    </a:lnTo>
                    <a:lnTo>
                      <a:pt x="1202" y="1488"/>
                    </a:lnTo>
                    <a:lnTo>
                      <a:pt x="1203" y="1487"/>
                    </a:lnTo>
                    <a:lnTo>
                      <a:pt x="1202" y="1487"/>
                    </a:lnTo>
                    <a:lnTo>
                      <a:pt x="1202" y="1488"/>
                    </a:lnTo>
                    <a:lnTo>
                      <a:pt x="1200" y="1488"/>
                    </a:lnTo>
                    <a:lnTo>
                      <a:pt x="1202" y="1487"/>
                    </a:lnTo>
                    <a:lnTo>
                      <a:pt x="1203" y="1487"/>
                    </a:lnTo>
                    <a:lnTo>
                      <a:pt x="1205" y="1487"/>
                    </a:lnTo>
                    <a:lnTo>
                      <a:pt x="1203" y="1487"/>
                    </a:lnTo>
                    <a:lnTo>
                      <a:pt x="1205" y="1487"/>
                    </a:lnTo>
                    <a:lnTo>
                      <a:pt x="1203" y="1487"/>
                    </a:lnTo>
                    <a:lnTo>
                      <a:pt x="1205" y="1485"/>
                    </a:lnTo>
                    <a:lnTo>
                      <a:pt x="1203" y="1485"/>
                    </a:lnTo>
                    <a:lnTo>
                      <a:pt x="1202" y="1485"/>
                    </a:lnTo>
                    <a:lnTo>
                      <a:pt x="1200" y="1483"/>
                    </a:lnTo>
                    <a:lnTo>
                      <a:pt x="1202" y="1483"/>
                    </a:lnTo>
                    <a:lnTo>
                      <a:pt x="1200" y="1483"/>
                    </a:lnTo>
                    <a:lnTo>
                      <a:pt x="1202" y="1483"/>
                    </a:lnTo>
                    <a:lnTo>
                      <a:pt x="1202" y="1481"/>
                    </a:lnTo>
                    <a:lnTo>
                      <a:pt x="1203" y="1481"/>
                    </a:lnTo>
                    <a:lnTo>
                      <a:pt x="1205" y="1481"/>
                    </a:lnTo>
                    <a:lnTo>
                      <a:pt x="1203" y="1481"/>
                    </a:lnTo>
                    <a:lnTo>
                      <a:pt x="1202" y="1481"/>
                    </a:lnTo>
                    <a:lnTo>
                      <a:pt x="1203" y="1480"/>
                    </a:lnTo>
                    <a:lnTo>
                      <a:pt x="1202" y="1480"/>
                    </a:lnTo>
                    <a:lnTo>
                      <a:pt x="1200" y="1480"/>
                    </a:lnTo>
                    <a:lnTo>
                      <a:pt x="1198" y="1478"/>
                    </a:lnTo>
                    <a:lnTo>
                      <a:pt x="1196" y="1476"/>
                    </a:lnTo>
                    <a:lnTo>
                      <a:pt x="1196" y="1475"/>
                    </a:lnTo>
                    <a:lnTo>
                      <a:pt x="1195" y="1475"/>
                    </a:lnTo>
                    <a:lnTo>
                      <a:pt x="1195" y="1473"/>
                    </a:lnTo>
                    <a:lnTo>
                      <a:pt x="1193" y="1473"/>
                    </a:lnTo>
                    <a:lnTo>
                      <a:pt x="1195" y="1471"/>
                    </a:lnTo>
                    <a:lnTo>
                      <a:pt x="1193" y="1471"/>
                    </a:lnTo>
                    <a:lnTo>
                      <a:pt x="1191" y="1470"/>
                    </a:lnTo>
                    <a:lnTo>
                      <a:pt x="1190" y="1468"/>
                    </a:lnTo>
                    <a:lnTo>
                      <a:pt x="1188" y="1468"/>
                    </a:lnTo>
                    <a:lnTo>
                      <a:pt x="1188" y="1466"/>
                    </a:lnTo>
                    <a:close/>
                    <a:moveTo>
                      <a:pt x="1319" y="1626"/>
                    </a:moveTo>
                    <a:lnTo>
                      <a:pt x="1321" y="1626"/>
                    </a:lnTo>
                    <a:lnTo>
                      <a:pt x="1321" y="1628"/>
                    </a:lnTo>
                    <a:lnTo>
                      <a:pt x="1319" y="1628"/>
                    </a:lnTo>
                    <a:lnTo>
                      <a:pt x="1317" y="1629"/>
                    </a:lnTo>
                    <a:lnTo>
                      <a:pt x="1319" y="1629"/>
                    </a:lnTo>
                    <a:lnTo>
                      <a:pt x="1321" y="1629"/>
                    </a:lnTo>
                    <a:lnTo>
                      <a:pt x="1321" y="1628"/>
                    </a:lnTo>
                    <a:lnTo>
                      <a:pt x="1322" y="1629"/>
                    </a:lnTo>
                    <a:lnTo>
                      <a:pt x="1322" y="1631"/>
                    </a:lnTo>
                    <a:lnTo>
                      <a:pt x="1322" y="1629"/>
                    </a:lnTo>
                    <a:lnTo>
                      <a:pt x="1324" y="1629"/>
                    </a:lnTo>
                    <a:lnTo>
                      <a:pt x="1322" y="1629"/>
                    </a:lnTo>
                    <a:lnTo>
                      <a:pt x="1324" y="1629"/>
                    </a:lnTo>
                    <a:lnTo>
                      <a:pt x="1322" y="1631"/>
                    </a:lnTo>
                    <a:lnTo>
                      <a:pt x="1321" y="1631"/>
                    </a:lnTo>
                    <a:lnTo>
                      <a:pt x="1321" y="1629"/>
                    </a:lnTo>
                    <a:lnTo>
                      <a:pt x="1319" y="1629"/>
                    </a:lnTo>
                    <a:lnTo>
                      <a:pt x="1321" y="1631"/>
                    </a:lnTo>
                    <a:lnTo>
                      <a:pt x="1321" y="1633"/>
                    </a:lnTo>
                    <a:lnTo>
                      <a:pt x="1319" y="1633"/>
                    </a:lnTo>
                    <a:lnTo>
                      <a:pt x="1317" y="1633"/>
                    </a:lnTo>
                    <a:lnTo>
                      <a:pt x="1319" y="1633"/>
                    </a:lnTo>
                    <a:lnTo>
                      <a:pt x="1317" y="1633"/>
                    </a:lnTo>
                    <a:lnTo>
                      <a:pt x="1315" y="1633"/>
                    </a:lnTo>
                    <a:lnTo>
                      <a:pt x="1315" y="1631"/>
                    </a:lnTo>
                    <a:lnTo>
                      <a:pt x="1315" y="1629"/>
                    </a:lnTo>
                    <a:lnTo>
                      <a:pt x="1314" y="1629"/>
                    </a:lnTo>
                    <a:lnTo>
                      <a:pt x="1315" y="1631"/>
                    </a:lnTo>
                    <a:lnTo>
                      <a:pt x="1314" y="1631"/>
                    </a:lnTo>
                    <a:lnTo>
                      <a:pt x="1314" y="1633"/>
                    </a:lnTo>
                    <a:lnTo>
                      <a:pt x="1312" y="1633"/>
                    </a:lnTo>
                    <a:lnTo>
                      <a:pt x="1310" y="1633"/>
                    </a:lnTo>
                    <a:lnTo>
                      <a:pt x="1312" y="1633"/>
                    </a:lnTo>
                    <a:lnTo>
                      <a:pt x="1310" y="1635"/>
                    </a:lnTo>
                    <a:lnTo>
                      <a:pt x="1309" y="1635"/>
                    </a:lnTo>
                    <a:lnTo>
                      <a:pt x="1310" y="1635"/>
                    </a:lnTo>
                    <a:lnTo>
                      <a:pt x="1309" y="1635"/>
                    </a:lnTo>
                    <a:lnTo>
                      <a:pt x="1309" y="1633"/>
                    </a:lnTo>
                    <a:lnTo>
                      <a:pt x="1307" y="1633"/>
                    </a:lnTo>
                    <a:lnTo>
                      <a:pt x="1307" y="1631"/>
                    </a:lnTo>
                    <a:lnTo>
                      <a:pt x="1307" y="1633"/>
                    </a:lnTo>
                    <a:lnTo>
                      <a:pt x="1305" y="1633"/>
                    </a:lnTo>
                    <a:lnTo>
                      <a:pt x="1307" y="1635"/>
                    </a:lnTo>
                    <a:lnTo>
                      <a:pt x="1307" y="1633"/>
                    </a:lnTo>
                    <a:lnTo>
                      <a:pt x="1309" y="1635"/>
                    </a:lnTo>
                    <a:lnTo>
                      <a:pt x="1310" y="1635"/>
                    </a:lnTo>
                    <a:lnTo>
                      <a:pt x="1310" y="1636"/>
                    </a:lnTo>
                    <a:lnTo>
                      <a:pt x="1312" y="1635"/>
                    </a:lnTo>
                    <a:lnTo>
                      <a:pt x="1314" y="1635"/>
                    </a:lnTo>
                    <a:lnTo>
                      <a:pt x="1315" y="1636"/>
                    </a:lnTo>
                    <a:lnTo>
                      <a:pt x="1314" y="1636"/>
                    </a:lnTo>
                    <a:lnTo>
                      <a:pt x="1315" y="1636"/>
                    </a:lnTo>
                    <a:lnTo>
                      <a:pt x="1314" y="1638"/>
                    </a:lnTo>
                    <a:lnTo>
                      <a:pt x="1315" y="1636"/>
                    </a:lnTo>
                    <a:lnTo>
                      <a:pt x="1317" y="1636"/>
                    </a:lnTo>
                    <a:lnTo>
                      <a:pt x="1319" y="1636"/>
                    </a:lnTo>
                    <a:lnTo>
                      <a:pt x="1321" y="1635"/>
                    </a:lnTo>
                    <a:lnTo>
                      <a:pt x="1319" y="1636"/>
                    </a:lnTo>
                    <a:lnTo>
                      <a:pt x="1321" y="1636"/>
                    </a:lnTo>
                    <a:lnTo>
                      <a:pt x="1322" y="1638"/>
                    </a:lnTo>
                    <a:lnTo>
                      <a:pt x="1321" y="1638"/>
                    </a:lnTo>
                    <a:lnTo>
                      <a:pt x="1319" y="1638"/>
                    </a:lnTo>
                    <a:lnTo>
                      <a:pt x="1321" y="1638"/>
                    </a:lnTo>
                    <a:lnTo>
                      <a:pt x="1321" y="1640"/>
                    </a:lnTo>
                    <a:lnTo>
                      <a:pt x="1322" y="1640"/>
                    </a:lnTo>
                    <a:lnTo>
                      <a:pt x="1321" y="1640"/>
                    </a:lnTo>
                    <a:lnTo>
                      <a:pt x="1322" y="1641"/>
                    </a:lnTo>
                    <a:lnTo>
                      <a:pt x="1321" y="1641"/>
                    </a:lnTo>
                    <a:lnTo>
                      <a:pt x="1321" y="1640"/>
                    </a:lnTo>
                    <a:lnTo>
                      <a:pt x="1321" y="1641"/>
                    </a:lnTo>
                    <a:lnTo>
                      <a:pt x="1319" y="1641"/>
                    </a:lnTo>
                    <a:lnTo>
                      <a:pt x="1319" y="1640"/>
                    </a:lnTo>
                    <a:lnTo>
                      <a:pt x="1317" y="1640"/>
                    </a:lnTo>
                    <a:lnTo>
                      <a:pt x="1317" y="1638"/>
                    </a:lnTo>
                    <a:lnTo>
                      <a:pt x="1317" y="1640"/>
                    </a:lnTo>
                    <a:lnTo>
                      <a:pt x="1315" y="1640"/>
                    </a:lnTo>
                    <a:lnTo>
                      <a:pt x="1317" y="1640"/>
                    </a:lnTo>
                    <a:lnTo>
                      <a:pt x="1315" y="1640"/>
                    </a:lnTo>
                    <a:lnTo>
                      <a:pt x="1315" y="1641"/>
                    </a:lnTo>
                    <a:lnTo>
                      <a:pt x="1317" y="1641"/>
                    </a:lnTo>
                    <a:lnTo>
                      <a:pt x="1319" y="1641"/>
                    </a:lnTo>
                    <a:lnTo>
                      <a:pt x="1319" y="1643"/>
                    </a:lnTo>
                    <a:lnTo>
                      <a:pt x="1317" y="1643"/>
                    </a:lnTo>
                    <a:lnTo>
                      <a:pt x="1319" y="1643"/>
                    </a:lnTo>
                    <a:lnTo>
                      <a:pt x="1317" y="1645"/>
                    </a:lnTo>
                    <a:lnTo>
                      <a:pt x="1317" y="1643"/>
                    </a:lnTo>
                    <a:lnTo>
                      <a:pt x="1315" y="1643"/>
                    </a:lnTo>
                    <a:lnTo>
                      <a:pt x="1314" y="1645"/>
                    </a:lnTo>
                    <a:lnTo>
                      <a:pt x="1315" y="1646"/>
                    </a:lnTo>
                    <a:lnTo>
                      <a:pt x="1314" y="1645"/>
                    </a:lnTo>
                    <a:lnTo>
                      <a:pt x="1314" y="1643"/>
                    </a:lnTo>
                    <a:lnTo>
                      <a:pt x="1312" y="1641"/>
                    </a:lnTo>
                    <a:lnTo>
                      <a:pt x="1312" y="1643"/>
                    </a:lnTo>
                    <a:lnTo>
                      <a:pt x="1312" y="1645"/>
                    </a:lnTo>
                    <a:lnTo>
                      <a:pt x="1314" y="1645"/>
                    </a:lnTo>
                    <a:lnTo>
                      <a:pt x="1312" y="1645"/>
                    </a:lnTo>
                    <a:lnTo>
                      <a:pt x="1310" y="1643"/>
                    </a:lnTo>
                    <a:lnTo>
                      <a:pt x="1312" y="1643"/>
                    </a:lnTo>
                    <a:lnTo>
                      <a:pt x="1312" y="1641"/>
                    </a:lnTo>
                    <a:lnTo>
                      <a:pt x="1312" y="1640"/>
                    </a:lnTo>
                    <a:lnTo>
                      <a:pt x="1314" y="1641"/>
                    </a:lnTo>
                    <a:lnTo>
                      <a:pt x="1312" y="1640"/>
                    </a:lnTo>
                    <a:lnTo>
                      <a:pt x="1314" y="1640"/>
                    </a:lnTo>
                    <a:lnTo>
                      <a:pt x="1312" y="1638"/>
                    </a:lnTo>
                    <a:lnTo>
                      <a:pt x="1312" y="1640"/>
                    </a:lnTo>
                    <a:lnTo>
                      <a:pt x="1310" y="1640"/>
                    </a:lnTo>
                    <a:lnTo>
                      <a:pt x="1310" y="1638"/>
                    </a:lnTo>
                    <a:lnTo>
                      <a:pt x="1310" y="1636"/>
                    </a:lnTo>
                    <a:lnTo>
                      <a:pt x="1312" y="1636"/>
                    </a:lnTo>
                    <a:lnTo>
                      <a:pt x="1310" y="1636"/>
                    </a:lnTo>
                    <a:lnTo>
                      <a:pt x="1309" y="1636"/>
                    </a:lnTo>
                    <a:lnTo>
                      <a:pt x="1310" y="1636"/>
                    </a:lnTo>
                    <a:lnTo>
                      <a:pt x="1310" y="1638"/>
                    </a:lnTo>
                    <a:lnTo>
                      <a:pt x="1310" y="1640"/>
                    </a:lnTo>
                    <a:lnTo>
                      <a:pt x="1310" y="1638"/>
                    </a:lnTo>
                    <a:lnTo>
                      <a:pt x="1309" y="1638"/>
                    </a:lnTo>
                    <a:lnTo>
                      <a:pt x="1309" y="1640"/>
                    </a:lnTo>
                    <a:lnTo>
                      <a:pt x="1307" y="1640"/>
                    </a:lnTo>
                    <a:lnTo>
                      <a:pt x="1307" y="1638"/>
                    </a:lnTo>
                    <a:lnTo>
                      <a:pt x="1307" y="1640"/>
                    </a:lnTo>
                    <a:lnTo>
                      <a:pt x="1307" y="1641"/>
                    </a:lnTo>
                    <a:lnTo>
                      <a:pt x="1307" y="1640"/>
                    </a:lnTo>
                    <a:lnTo>
                      <a:pt x="1305" y="1640"/>
                    </a:lnTo>
                    <a:lnTo>
                      <a:pt x="1305" y="1638"/>
                    </a:lnTo>
                    <a:lnTo>
                      <a:pt x="1305" y="1636"/>
                    </a:lnTo>
                    <a:lnTo>
                      <a:pt x="1307" y="1636"/>
                    </a:lnTo>
                    <a:lnTo>
                      <a:pt x="1305" y="1636"/>
                    </a:lnTo>
                    <a:lnTo>
                      <a:pt x="1304" y="1636"/>
                    </a:lnTo>
                    <a:lnTo>
                      <a:pt x="1304" y="1638"/>
                    </a:lnTo>
                    <a:lnTo>
                      <a:pt x="1302" y="1638"/>
                    </a:lnTo>
                    <a:lnTo>
                      <a:pt x="1302" y="1636"/>
                    </a:lnTo>
                    <a:lnTo>
                      <a:pt x="1300" y="1636"/>
                    </a:lnTo>
                    <a:lnTo>
                      <a:pt x="1300" y="1638"/>
                    </a:lnTo>
                    <a:lnTo>
                      <a:pt x="1300" y="1636"/>
                    </a:lnTo>
                    <a:lnTo>
                      <a:pt x="1298" y="1638"/>
                    </a:lnTo>
                    <a:lnTo>
                      <a:pt x="1298" y="1636"/>
                    </a:lnTo>
                    <a:lnTo>
                      <a:pt x="1297" y="1636"/>
                    </a:lnTo>
                    <a:lnTo>
                      <a:pt x="1297" y="1635"/>
                    </a:lnTo>
                    <a:lnTo>
                      <a:pt x="1298" y="1635"/>
                    </a:lnTo>
                    <a:lnTo>
                      <a:pt x="1297" y="1635"/>
                    </a:lnTo>
                    <a:lnTo>
                      <a:pt x="1297" y="1633"/>
                    </a:lnTo>
                    <a:lnTo>
                      <a:pt x="1298" y="1633"/>
                    </a:lnTo>
                    <a:lnTo>
                      <a:pt x="1298" y="1631"/>
                    </a:lnTo>
                    <a:lnTo>
                      <a:pt x="1297" y="1631"/>
                    </a:lnTo>
                    <a:lnTo>
                      <a:pt x="1297" y="1629"/>
                    </a:lnTo>
                    <a:lnTo>
                      <a:pt x="1298" y="1629"/>
                    </a:lnTo>
                    <a:lnTo>
                      <a:pt x="1300" y="1629"/>
                    </a:lnTo>
                    <a:lnTo>
                      <a:pt x="1300" y="1631"/>
                    </a:lnTo>
                    <a:lnTo>
                      <a:pt x="1300" y="1629"/>
                    </a:lnTo>
                    <a:lnTo>
                      <a:pt x="1302" y="1629"/>
                    </a:lnTo>
                    <a:lnTo>
                      <a:pt x="1302" y="1628"/>
                    </a:lnTo>
                    <a:lnTo>
                      <a:pt x="1302" y="1629"/>
                    </a:lnTo>
                    <a:lnTo>
                      <a:pt x="1302" y="1631"/>
                    </a:lnTo>
                    <a:lnTo>
                      <a:pt x="1304" y="1631"/>
                    </a:lnTo>
                    <a:lnTo>
                      <a:pt x="1304" y="1629"/>
                    </a:lnTo>
                    <a:lnTo>
                      <a:pt x="1305" y="1628"/>
                    </a:lnTo>
                    <a:lnTo>
                      <a:pt x="1305" y="1629"/>
                    </a:lnTo>
                    <a:lnTo>
                      <a:pt x="1307" y="1629"/>
                    </a:lnTo>
                    <a:lnTo>
                      <a:pt x="1307" y="1631"/>
                    </a:lnTo>
                    <a:lnTo>
                      <a:pt x="1305" y="1631"/>
                    </a:lnTo>
                    <a:lnTo>
                      <a:pt x="1307" y="1631"/>
                    </a:lnTo>
                    <a:lnTo>
                      <a:pt x="1309" y="1631"/>
                    </a:lnTo>
                    <a:lnTo>
                      <a:pt x="1309" y="1629"/>
                    </a:lnTo>
                    <a:lnTo>
                      <a:pt x="1309" y="1631"/>
                    </a:lnTo>
                    <a:lnTo>
                      <a:pt x="1310" y="1631"/>
                    </a:lnTo>
                    <a:lnTo>
                      <a:pt x="1312" y="1631"/>
                    </a:lnTo>
                    <a:lnTo>
                      <a:pt x="1310" y="1631"/>
                    </a:lnTo>
                    <a:lnTo>
                      <a:pt x="1310" y="1629"/>
                    </a:lnTo>
                    <a:lnTo>
                      <a:pt x="1312" y="1629"/>
                    </a:lnTo>
                    <a:lnTo>
                      <a:pt x="1312" y="1628"/>
                    </a:lnTo>
                    <a:lnTo>
                      <a:pt x="1314" y="1628"/>
                    </a:lnTo>
                    <a:lnTo>
                      <a:pt x="1315" y="1628"/>
                    </a:lnTo>
                    <a:lnTo>
                      <a:pt x="1315" y="1626"/>
                    </a:lnTo>
                    <a:lnTo>
                      <a:pt x="1317" y="1628"/>
                    </a:lnTo>
                    <a:lnTo>
                      <a:pt x="1317" y="1626"/>
                    </a:lnTo>
                    <a:lnTo>
                      <a:pt x="1319" y="1626"/>
                    </a:lnTo>
                    <a:close/>
                    <a:moveTo>
                      <a:pt x="1203" y="1104"/>
                    </a:moveTo>
                    <a:lnTo>
                      <a:pt x="1203" y="1105"/>
                    </a:lnTo>
                    <a:lnTo>
                      <a:pt x="1203" y="1104"/>
                    </a:lnTo>
                    <a:lnTo>
                      <a:pt x="1203" y="1105"/>
                    </a:lnTo>
                    <a:lnTo>
                      <a:pt x="1205" y="1105"/>
                    </a:lnTo>
                    <a:lnTo>
                      <a:pt x="1203" y="1105"/>
                    </a:lnTo>
                    <a:lnTo>
                      <a:pt x="1205" y="1107"/>
                    </a:lnTo>
                    <a:lnTo>
                      <a:pt x="1207" y="1107"/>
                    </a:lnTo>
                    <a:lnTo>
                      <a:pt x="1207" y="1109"/>
                    </a:lnTo>
                    <a:lnTo>
                      <a:pt x="1207" y="1111"/>
                    </a:lnTo>
                    <a:lnTo>
                      <a:pt x="1207" y="1112"/>
                    </a:lnTo>
                    <a:lnTo>
                      <a:pt x="1207" y="1114"/>
                    </a:lnTo>
                    <a:lnTo>
                      <a:pt x="1205" y="1114"/>
                    </a:lnTo>
                    <a:lnTo>
                      <a:pt x="1207" y="1114"/>
                    </a:lnTo>
                    <a:lnTo>
                      <a:pt x="1207" y="1116"/>
                    </a:lnTo>
                    <a:lnTo>
                      <a:pt x="1205" y="1116"/>
                    </a:lnTo>
                    <a:lnTo>
                      <a:pt x="1207" y="1116"/>
                    </a:lnTo>
                    <a:lnTo>
                      <a:pt x="1207" y="1117"/>
                    </a:lnTo>
                    <a:lnTo>
                      <a:pt x="1205" y="1117"/>
                    </a:lnTo>
                    <a:lnTo>
                      <a:pt x="1205" y="1119"/>
                    </a:lnTo>
                    <a:lnTo>
                      <a:pt x="1205" y="1117"/>
                    </a:lnTo>
                    <a:lnTo>
                      <a:pt x="1203" y="1117"/>
                    </a:lnTo>
                    <a:lnTo>
                      <a:pt x="1203" y="1116"/>
                    </a:lnTo>
                    <a:lnTo>
                      <a:pt x="1202" y="1116"/>
                    </a:lnTo>
                    <a:lnTo>
                      <a:pt x="1200" y="1116"/>
                    </a:lnTo>
                    <a:lnTo>
                      <a:pt x="1198" y="1116"/>
                    </a:lnTo>
                    <a:lnTo>
                      <a:pt x="1198" y="1117"/>
                    </a:lnTo>
                    <a:lnTo>
                      <a:pt x="1196" y="1116"/>
                    </a:lnTo>
                    <a:lnTo>
                      <a:pt x="1196" y="1114"/>
                    </a:lnTo>
                    <a:lnTo>
                      <a:pt x="1198" y="1114"/>
                    </a:lnTo>
                    <a:lnTo>
                      <a:pt x="1200" y="1114"/>
                    </a:lnTo>
                    <a:lnTo>
                      <a:pt x="1202" y="1114"/>
                    </a:lnTo>
                    <a:lnTo>
                      <a:pt x="1200" y="1114"/>
                    </a:lnTo>
                    <a:lnTo>
                      <a:pt x="1198" y="1114"/>
                    </a:lnTo>
                    <a:lnTo>
                      <a:pt x="1196" y="1114"/>
                    </a:lnTo>
                    <a:lnTo>
                      <a:pt x="1195" y="1114"/>
                    </a:lnTo>
                    <a:lnTo>
                      <a:pt x="1195" y="1112"/>
                    </a:lnTo>
                    <a:lnTo>
                      <a:pt x="1195" y="1114"/>
                    </a:lnTo>
                    <a:lnTo>
                      <a:pt x="1195" y="1112"/>
                    </a:lnTo>
                    <a:lnTo>
                      <a:pt x="1193" y="1112"/>
                    </a:lnTo>
                    <a:lnTo>
                      <a:pt x="1195" y="1112"/>
                    </a:lnTo>
                    <a:lnTo>
                      <a:pt x="1195" y="1111"/>
                    </a:lnTo>
                    <a:lnTo>
                      <a:pt x="1193" y="1112"/>
                    </a:lnTo>
                    <a:lnTo>
                      <a:pt x="1191" y="1112"/>
                    </a:lnTo>
                    <a:lnTo>
                      <a:pt x="1191" y="1111"/>
                    </a:lnTo>
                    <a:lnTo>
                      <a:pt x="1191" y="1109"/>
                    </a:lnTo>
                    <a:lnTo>
                      <a:pt x="1191" y="1107"/>
                    </a:lnTo>
                    <a:lnTo>
                      <a:pt x="1191" y="1109"/>
                    </a:lnTo>
                    <a:lnTo>
                      <a:pt x="1191" y="1111"/>
                    </a:lnTo>
                    <a:lnTo>
                      <a:pt x="1191" y="1112"/>
                    </a:lnTo>
                    <a:lnTo>
                      <a:pt x="1190" y="1112"/>
                    </a:lnTo>
                    <a:lnTo>
                      <a:pt x="1188" y="1111"/>
                    </a:lnTo>
                    <a:lnTo>
                      <a:pt x="1188" y="1109"/>
                    </a:lnTo>
                    <a:lnTo>
                      <a:pt x="1188" y="1107"/>
                    </a:lnTo>
                    <a:lnTo>
                      <a:pt x="1190" y="1107"/>
                    </a:lnTo>
                    <a:lnTo>
                      <a:pt x="1191" y="1105"/>
                    </a:lnTo>
                    <a:lnTo>
                      <a:pt x="1193" y="1105"/>
                    </a:lnTo>
                    <a:lnTo>
                      <a:pt x="1193" y="1107"/>
                    </a:lnTo>
                    <a:lnTo>
                      <a:pt x="1193" y="1105"/>
                    </a:lnTo>
                    <a:lnTo>
                      <a:pt x="1195" y="1105"/>
                    </a:lnTo>
                    <a:lnTo>
                      <a:pt x="1195" y="1107"/>
                    </a:lnTo>
                    <a:lnTo>
                      <a:pt x="1195" y="1105"/>
                    </a:lnTo>
                    <a:lnTo>
                      <a:pt x="1196" y="1105"/>
                    </a:lnTo>
                    <a:lnTo>
                      <a:pt x="1198" y="1105"/>
                    </a:lnTo>
                    <a:lnTo>
                      <a:pt x="1200" y="1104"/>
                    </a:lnTo>
                    <a:lnTo>
                      <a:pt x="1202" y="1104"/>
                    </a:lnTo>
                    <a:lnTo>
                      <a:pt x="1203" y="1104"/>
                    </a:lnTo>
                    <a:close/>
                    <a:moveTo>
                      <a:pt x="1179" y="1376"/>
                    </a:moveTo>
                    <a:lnTo>
                      <a:pt x="1179" y="1378"/>
                    </a:lnTo>
                    <a:lnTo>
                      <a:pt x="1179" y="1379"/>
                    </a:lnTo>
                    <a:lnTo>
                      <a:pt x="1181" y="1379"/>
                    </a:lnTo>
                    <a:lnTo>
                      <a:pt x="1183" y="1379"/>
                    </a:lnTo>
                    <a:lnTo>
                      <a:pt x="1183" y="1378"/>
                    </a:lnTo>
                    <a:lnTo>
                      <a:pt x="1185" y="1379"/>
                    </a:lnTo>
                    <a:lnTo>
                      <a:pt x="1185" y="1381"/>
                    </a:lnTo>
                    <a:lnTo>
                      <a:pt x="1185" y="1383"/>
                    </a:lnTo>
                    <a:lnTo>
                      <a:pt x="1186" y="1384"/>
                    </a:lnTo>
                    <a:lnTo>
                      <a:pt x="1185" y="1384"/>
                    </a:lnTo>
                    <a:lnTo>
                      <a:pt x="1186" y="1384"/>
                    </a:lnTo>
                    <a:lnTo>
                      <a:pt x="1186" y="1386"/>
                    </a:lnTo>
                    <a:lnTo>
                      <a:pt x="1186" y="1388"/>
                    </a:lnTo>
                    <a:lnTo>
                      <a:pt x="1186" y="1386"/>
                    </a:lnTo>
                    <a:lnTo>
                      <a:pt x="1188" y="1388"/>
                    </a:lnTo>
                    <a:lnTo>
                      <a:pt x="1186" y="1388"/>
                    </a:lnTo>
                    <a:lnTo>
                      <a:pt x="1188" y="1388"/>
                    </a:lnTo>
                    <a:lnTo>
                      <a:pt x="1188" y="1390"/>
                    </a:lnTo>
                    <a:lnTo>
                      <a:pt x="1190" y="1390"/>
                    </a:lnTo>
                    <a:lnTo>
                      <a:pt x="1190" y="1391"/>
                    </a:lnTo>
                    <a:lnTo>
                      <a:pt x="1188" y="1391"/>
                    </a:lnTo>
                    <a:lnTo>
                      <a:pt x="1186" y="1390"/>
                    </a:lnTo>
                    <a:lnTo>
                      <a:pt x="1186" y="1391"/>
                    </a:lnTo>
                    <a:lnTo>
                      <a:pt x="1186" y="1390"/>
                    </a:lnTo>
                    <a:lnTo>
                      <a:pt x="1185" y="1390"/>
                    </a:lnTo>
                    <a:lnTo>
                      <a:pt x="1186" y="1391"/>
                    </a:lnTo>
                    <a:lnTo>
                      <a:pt x="1188" y="1391"/>
                    </a:lnTo>
                    <a:lnTo>
                      <a:pt x="1188" y="1393"/>
                    </a:lnTo>
                    <a:lnTo>
                      <a:pt x="1186" y="1391"/>
                    </a:lnTo>
                    <a:lnTo>
                      <a:pt x="1188" y="1393"/>
                    </a:lnTo>
                    <a:lnTo>
                      <a:pt x="1188" y="1391"/>
                    </a:lnTo>
                    <a:lnTo>
                      <a:pt x="1190" y="1391"/>
                    </a:lnTo>
                    <a:lnTo>
                      <a:pt x="1190" y="1393"/>
                    </a:lnTo>
                    <a:lnTo>
                      <a:pt x="1190" y="1395"/>
                    </a:lnTo>
                    <a:lnTo>
                      <a:pt x="1191" y="1395"/>
                    </a:lnTo>
                    <a:lnTo>
                      <a:pt x="1191" y="1396"/>
                    </a:lnTo>
                    <a:lnTo>
                      <a:pt x="1191" y="1398"/>
                    </a:lnTo>
                    <a:lnTo>
                      <a:pt x="1191" y="1400"/>
                    </a:lnTo>
                    <a:lnTo>
                      <a:pt x="1190" y="1400"/>
                    </a:lnTo>
                    <a:lnTo>
                      <a:pt x="1190" y="1398"/>
                    </a:lnTo>
                    <a:lnTo>
                      <a:pt x="1190" y="1400"/>
                    </a:lnTo>
                    <a:lnTo>
                      <a:pt x="1188" y="1400"/>
                    </a:lnTo>
                    <a:lnTo>
                      <a:pt x="1188" y="1398"/>
                    </a:lnTo>
                    <a:lnTo>
                      <a:pt x="1188" y="1400"/>
                    </a:lnTo>
                    <a:lnTo>
                      <a:pt x="1188" y="1398"/>
                    </a:lnTo>
                    <a:lnTo>
                      <a:pt x="1190" y="1398"/>
                    </a:lnTo>
                    <a:lnTo>
                      <a:pt x="1188" y="1396"/>
                    </a:lnTo>
                    <a:lnTo>
                      <a:pt x="1188" y="1398"/>
                    </a:lnTo>
                    <a:lnTo>
                      <a:pt x="1188" y="1396"/>
                    </a:lnTo>
                    <a:lnTo>
                      <a:pt x="1188" y="1395"/>
                    </a:lnTo>
                    <a:lnTo>
                      <a:pt x="1188" y="1396"/>
                    </a:lnTo>
                    <a:lnTo>
                      <a:pt x="1186" y="1396"/>
                    </a:lnTo>
                    <a:lnTo>
                      <a:pt x="1186" y="1398"/>
                    </a:lnTo>
                    <a:lnTo>
                      <a:pt x="1186" y="1396"/>
                    </a:lnTo>
                    <a:lnTo>
                      <a:pt x="1185" y="1395"/>
                    </a:lnTo>
                    <a:lnTo>
                      <a:pt x="1185" y="1396"/>
                    </a:lnTo>
                    <a:lnTo>
                      <a:pt x="1186" y="1396"/>
                    </a:lnTo>
                    <a:lnTo>
                      <a:pt x="1186" y="1398"/>
                    </a:lnTo>
                    <a:lnTo>
                      <a:pt x="1186" y="1400"/>
                    </a:lnTo>
                    <a:lnTo>
                      <a:pt x="1186" y="1401"/>
                    </a:lnTo>
                    <a:lnTo>
                      <a:pt x="1186" y="1400"/>
                    </a:lnTo>
                    <a:lnTo>
                      <a:pt x="1185" y="1400"/>
                    </a:lnTo>
                    <a:lnTo>
                      <a:pt x="1186" y="1400"/>
                    </a:lnTo>
                    <a:lnTo>
                      <a:pt x="1185" y="1400"/>
                    </a:lnTo>
                    <a:lnTo>
                      <a:pt x="1185" y="1398"/>
                    </a:lnTo>
                    <a:lnTo>
                      <a:pt x="1183" y="1396"/>
                    </a:lnTo>
                    <a:lnTo>
                      <a:pt x="1183" y="1395"/>
                    </a:lnTo>
                    <a:lnTo>
                      <a:pt x="1181" y="1395"/>
                    </a:lnTo>
                    <a:lnTo>
                      <a:pt x="1183" y="1395"/>
                    </a:lnTo>
                    <a:lnTo>
                      <a:pt x="1181" y="1395"/>
                    </a:lnTo>
                    <a:lnTo>
                      <a:pt x="1181" y="1393"/>
                    </a:lnTo>
                    <a:lnTo>
                      <a:pt x="1179" y="1395"/>
                    </a:lnTo>
                    <a:lnTo>
                      <a:pt x="1179" y="1393"/>
                    </a:lnTo>
                    <a:lnTo>
                      <a:pt x="1179" y="1391"/>
                    </a:lnTo>
                    <a:lnTo>
                      <a:pt x="1181" y="1393"/>
                    </a:lnTo>
                    <a:lnTo>
                      <a:pt x="1181" y="1391"/>
                    </a:lnTo>
                    <a:lnTo>
                      <a:pt x="1179" y="1391"/>
                    </a:lnTo>
                    <a:lnTo>
                      <a:pt x="1179" y="1393"/>
                    </a:lnTo>
                    <a:lnTo>
                      <a:pt x="1178" y="1391"/>
                    </a:lnTo>
                    <a:lnTo>
                      <a:pt x="1179" y="1391"/>
                    </a:lnTo>
                    <a:lnTo>
                      <a:pt x="1179" y="1390"/>
                    </a:lnTo>
                    <a:lnTo>
                      <a:pt x="1181" y="1390"/>
                    </a:lnTo>
                    <a:lnTo>
                      <a:pt x="1179" y="1390"/>
                    </a:lnTo>
                    <a:lnTo>
                      <a:pt x="1178" y="1390"/>
                    </a:lnTo>
                    <a:lnTo>
                      <a:pt x="1178" y="1391"/>
                    </a:lnTo>
                    <a:lnTo>
                      <a:pt x="1178" y="1390"/>
                    </a:lnTo>
                    <a:lnTo>
                      <a:pt x="1176" y="1390"/>
                    </a:lnTo>
                    <a:lnTo>
                      <a:pt x="1176" y="1388"/>
                    </a:lnTo>
                    <a:lnTo>
                      <a:pt x="1176" y="1390"/>
                    </a:lnTo>
                    <a:lnTo>
                      <a:pt x="1174" y="1390"/>
                    </a:lnTo>
                    <a:lnTo>
                      <a:pt x="1176" y="1390"/>
                    </a:lnTo>
                    <a:lnTo>
                      <a:pt x="1176" y="1388"/>
                    </a:lnTo>
                    <a:lnTo>
                      <a:pt x="1178" y="1388"/>
                    </a:lnTo>
                    <a:lnTo>
                      <a:pt x="1176" y="1388"/>
                    </a:lnTo>
                    <a:lnTo>
                      <a:pt x="1178" y="1388"/>
                    </a:lnTo>
                    <a:lnTo>
                      <a:pt x="1178" y="1386"/>
                    </a:lnTo>
                    <a:lnTo>
                      <a:pt x="1179" y="1386"/>
                    </a:lnTo>
                    <a:lnTo>
                      <a:pt x="1179" y="1384"/>
                    </a:lnTo>
                    <a:lnTo>
                      <a:pt x="1181" y="1384"/>
                    </a:lnTo>
                    <a:lnTo>
                      <a:pt x="1181" y="1383"/>
                    </a:lnTo>
                    <a:lnTo>
                      <a:pt x="1183" y="1383"/>
                    </a:lnTo>
                    <a:lnTo>
                      <a:pt x="1183" y="1384"/>
                    </a:lnTo>
                    <a:lnTo>
                      <a:pt x="1183" y="1383"/>
                    </a:lnTo>
                    <a:lnTo>
                      <a:pt x="1185" y="1383"/>
                    </a:lnTo>
                    <a:lnTo>
                      <a:pt x="1183" y="1381"/>
                    </a:lnTo>
                    <a:lnTo>
                      <a:pt x="1183" y="1383"/>
                    </a:lnTo>
                    <a:lnTo>
                      <a:pt x="1181" y="1381"/>
                    </a:lnTo>
                    <a:lnTo>
                      <a:pt x="1179" y="1381"/>
                    </a:lnTo>
                    <a:lnTo>
                      <a:pt x="1181" y="1379"/>
                    </a:lnTo>
                    <a:lnTo>
                      <a:pt x="1179" y="1381"/>
                    </a:lnTo>
                    <a:lnTo>
                      <a:pt x="1179" y="1383"/>
                    </a:lnTo>
                    <a:lnTo>
                      <a:pt x="1179" y="1381"/>
                    </a:lnTo>
                    <a:lnTo>
                      <a:pt x="1178" y="1381"/>
                    </a:lnTo>
                    <a:lnTo>
                      <a:pt x="1176" y="1381"/>
                    </a:lnTo>
                    <a:lnTo>
                      <a:pt x="1176" y="1379"/>
                    </a:lnTo>
                    <a:lnTo>
                      <a:pt x="1176" y="1381"/>
                    </a:lnTo>
                    <a:lnTo>
                      <a:pt x="1174" y="1381"/>
                    </a:lnTo>
                    <a:lnTo>
                      <a:pt x="1174" y="1379"/>
                    </a:lnTo>
                    <a:lnTo>
                      <a:pt x="1173" y="1381"/>
                    </a:lnTo>
                    <a:lnTo>
                      <a:pt x="1174" y="1379"/>
                    </a:lnTo>
                    <a:lnTo>
                      <a:pt x="1176" y="1378"/>
                    </a:lnTo>
                    <a:lnTo>
                      <a:pt x="1178" y="1376"/>
                    </a:lnTo>
                    <a:lnTo>
                      <a:pt x="1179" y="1376"/>
                    </a:lnTo>
                    <a:close/>
                    <a:moveTo>
                      <a:pt x="1157" y="1255"/>
                    </a:moveTo>
                    <a:lnTo>
                      <a:pt x="1159" y="1255"/>
                    </a:lnTo>
                    <a:lnTo>
                      <a:pt x="1161" y="1255"/>
                    </a:lnTo>
                    <a:lnTo>
                      <a:pt x="1159" y="1257"/>
                    </a:lnTo>
                    <a:lnTo>
                      <a:pt x="1161" y="1257"/>
                    </a:lnTo>
                    <a:lnTo>
                      <a:pt x="1162" y="1257"/>
                    </a:lnTo>
                    <a:lnTo>
                      <a:pt x="1161" y="1255"/>
                    </a:lnTo>
                    <a:lnTo>
                      <a:pt x="1162" y="1255"/>
                    </a:lnTo>
                    <a:lnTo>
                      <a:pt x="1164" y="1257"/>
                    </a:lnTo>
                    <a:lnTo>
                      <a:pt x="1166" y="1259"/>
                    </a:lnTo>
                    <a:lnTo>
                      <a:pt x="1164" y="1260"/>
                    </a:lnTo>
                    <a:lnTo>
                      <a:pt x="1166" y="1259"/>
                    </a:lnTo>
                    <a:lnTo>
                      <a:pt x="1166" y="1260"/>
                    </a:lnTo>
                    <a:lnTo>
                      <a:pt x="1168" y="1259"/>
                    </a:lnTo>
                    <a:lnTo>
                      <a:pt x="1168" y="1260"/>
                    </a:lnTo>
                    <a:lnTo>
                      <a:pt x="1168" y="1262"/>
                    </a:lnTo>
                    <a:lnTo>
                      <a:pt x="1166" y="1262"/>
                    </a:lnTo>
                    <a:lnTo>
                      <a:pt x="1166" y="1264"/>
                    </a:lnTo>
                    <a:lnTo>
                      <a:pt x="1168" y="1262"/>
                    </a:lnTo>
                    <a:lnTo>
                      <a:pt x="1168" y="1264"/>
                    </a:lnTo>
                    <a:lnTo>
                      <a:pt x="1166" y="1264"/>
                    </a:lnTo>
                    <a:lnTo>
                      <a:pt x="1166" y="1265"/>
                    </a:lnTo>
                    <a:lnTo>
                      <a:pt x="1166" y="1264"/>
                    </a:lnTo>
                    <a:lnTo>
                      <a:pt x="1168" y="1264"/>
                    </a:lnTo>
                    <a:lnTo>
                      <a:pt x="1169" y="1262"/>
                    </a:lnTo>
                    <a:lnTo>
                      <a:pt x="1169" y="1260"/>
                    </a:lnTo>
                    <a:lnTo>
                      <a:pt x="1171" y="1260"/>
                    </a:lnTo>
                    <a:lnTo>
                      <a:pt x="1171" y="1262"/>
                    </a:lnTo>
                    <a:lnTo>
                      <a:pt x="1169" y="1262"/>
                    </a:lnTo>
                    <a:lnTo>
                      <a:pt x="1171" y="1262"/>
                    </a:lnTo>
                    <a:lnTo>
                      <a:pt x="1171" y="1264"/>
                    </a:lnTo>
                    <a:lnTo>
                      <a:pt x="1169" y="1264"/>
                    </a:lnTo>
                    <a:lnTo>
                      <a:pt x="1169" y="1265"/>
                    </a:lnTo>
                    <a:lnTo>
                      <a:pt x="1168" y="1265"/>
                    </a:lnTo>
                    <a:lnTo>
                      <a:pt x="1168" y="1267"/>
                    </a:lnTo>
                    <a:lnTo>
                      <a:pt x="1168" y="1265"/>
                    </a:lnTo>
                    <a:lnTo>
                      <a:pt x="1169" y="1265"/>
                    </a:lnTo>
                    <a:lnTo>
                      <a:pt x="1169" y="1264"/>
                    </a:lnTo>
                    <a:lnTo>
                      <a:pt x="1171" y="1264"/>
                    </a:lnTo>
                    <a:lnTo>
                      <a:pt x="1169" y="1264"/>
                    </a:lnTo>
                    <a:lnTo>
                      <a:pt x="1169" y="1265"/>
                    </a:lnTo>
                    <a:lnTo>
                      <a:pt x="1169" y="1267"/>
                    </a:lnTo>
                    <a:lnTo>
                      <a:pt x="1169" y="1265"/>
                    </a:lnTo>
                    <a:lnTo>
                      <a:pt x="1169" y="1267"/>
                    </a:lnTo>
                    <a:lnTo>
                      <a:pt x="1171" y="1267"/>
                    </a:lnTo>
                    <a:lnTo>
                      <a:pt x="1169" y="1269"/>
                    </a:lnTo>
                    <a:lnTo>
                      <a:pt x="1171" y="1269"/>
                    </a:lnTo>
                    <a:lnTo>
                      <a:pt x="1169" y="1270"/>
                    </a:lnTo>
                    <a:lnTo>
                      <a:pt x="1168" y="1270"/>
                    </a:lnTo>
                    <a:lnTo>
                      <a:pt x="1169" y="1269"/>
                    </a:lnTo>
                    <a:lnTo>
                      <a:pt x="1168" y="1270"/>
                    </a:lnTo>
                    <a:lnTo>
                      <a:pt x="1166" y="1272"/>
                    </a:lnTo>
                    <a:lnTo>
                      <a:pt x="1164" y="1274"/>
                    </a:lnTo>
                    <a:lnTo>
                      <a:pt x="1162" y="1274"/>
                    </a:lnTo>
                    <a:lnTo>
                      <a:pt x="1162" y="1272"/>
                    </a:lnTo>
                    <a:lnTo>
                      <a:pt x="1162" y="1270"/>
                    </a:lnTo>
                    <a:lnTo>
                      <a:pt x="1161" y="1270"/>
                    </a:lnTo>
                    <a:lnTo>
                      <a:pt x="1161" y="1269"/>
                    </a:lnTo>
                    <a:lnTo>
                      <a:pt x="1161" y="1267"/>
                    </a:lnTo>
                    <a:lnTo>
                      <a:pt x="1162" y="1267"/>
                    </a:lnTo>
                    <a:lnTo>
                      <a:pt x="1161" y="1267"/>
                    </a:lnTo>
                    <a:lnTo>
                      <a:pt x="1161" y="1269"/>
                    </a:lnTo>
                    <a:lnTo>
                      <a:pt x="1159" y="1267"/>
                    </a:lnTo>
                    <a:lnTo>
                      <a:pt x="1159" y="1265"/>
                    </a:lnTo>
                    <a:lnTo>
                      <a:pt x="1159" y="1264"/>
                    </a:lnTo>
                    <a:lnTo>
                      <a:pt x="1161" y="1264"/>
                    </a:lnTo>
                    <a:lnTo>
                      <a:pt x="1162" y="1264"/>
                    </a:lnTo>
                    <a:lnTo>
                      <a:pt x="1161" y="1264"/>
                    </a:lnTo>
                    <a:lnTo>
                      <a:pt x="1159" y="1264"/>
                    </a:lnTo>
                    <a:lnTo>
                      <a:pt x="1161" y="1264"/>
                    </a:lnTo>
                    <a:lnTo>
                      <a:pt x="1161" y="1262"/>
                    </a:lnTo>
                    <a:lnTo>
                      <a:pt x="1161" y="1264"/>
                    </a:lnTo>
                    <a:lnTo>
                      <a:pt x="1159" y="1264"/>
                    </a:lnTo>
                    <a:lnTo>
                      <a:pt x="1157" y="1264"/>
                    </a:lnTo>
                    <a:lnTo>
                      <a:pt x="1159" y="1262"/>
                    </a:lnTo>
                    <a:lnTo>
                      <a:pt x="1157" y="1264"/>
                    </a:lnTo>
                    <a:lnTo>
                      <a:pt x="1157" y="1262"/>
                    </a:lnTo>
                    <a:lnTo>
                      <a:pt x="1159" y="1260"/>
                    </a:lnTo>
                    <a:lnTo>
                      <a:pt x="1157" y="1260"/>
                    </a:lnTo>
                    <a:lnTo>
                      <a:pt x="1157" y="1262"/>
                    </a:lnTo>
                    <a:lnTo>
                      <a:pt x="1157" y="1260"/>
                    </a:lnTo>
                    <a:lnTo>
                      <a:pt x="1159" y="1260"/>
                    </a:lnTo>
                    <a:lnTo>
                      <a:pt x="1161" y="1259"/>
                    </a:lnTo>
                    <a:lnTo>
                      <a:pt x="1159" y="1259"/>
                    </a:lnTo>
                    <a:lnTo>
                      <a:pt x="1159" y="1260"/>
                    </a:lnTo>
                    <a:lnTo>
                      <a:pt x="1157" y="1260"/>
                    </a:lnTo>
                    <a:lnTo>
                      <a:pt x="1157" y="1259"/>
                    </a:lnTo>
                    <a:lnTo>
                      <a:pt x="1159" y="1259"/>
                    </a:lnTo>
                    <a:lnTo>
                      <a:pt x="1157" y="1259"/>
                    </a:lnTo>
                    <a:lnTo>
                      <a:pt x="1157" y="1257"/>
                    </a:lnTo>
                    <a:lnTo>
                      <a:pt x="1157" y="1259"/>
                    </a:lnTo>
                    <a:lnTo>
                      <a:pt x="1156" y="1257"/>
                    </a:lnTo>
                    <a:lnTo>
                      <a:pt x="1156" y="1255"/>
                    </a:lnTo>
                    <a:lnTo>
                      <a:pt x="1157" y="1255"/>
                    </a:lnTo>
                    <a:close/>
                    <a:moveTo>
                      <a:pt x="1183" y="1447"/>
                    </a:moveTo>
                    <a:lnTo>
                      <a:pt x="1185" y="1447"/>
                    </a:lnTo>
                    <a:lnTo>
                      <a:pt x="1185" y="1449"/>
                    </a:lnTo>
                    <a:lnTo>
                      <a:pt x="1183" y="1449"/>
                    </a:lnTo>
                    <a:lnTo>
                      <a:pt x="1185" y="1451"/>
                    </a:lnTo>
                    <a:lnTo>
                      <a:pt x="1185" y="1449"/>
                    </a:lnTo>
                    <a:lnTo>
                      <a:pt x="1186" y="1449"/>
                    </a:lnTo>
                    <a:lnTo>
                      <a:pt x="1186" y="1451"/>
                    </a:lnTo>
                    <a:lnTo>
                      <a:pt x="1185" y="1451"/>
                    </a:lnTo>
                    <a:lnTo>
                      <a:pt x="1186" y="1451"/>
                    </a:lnTo>
                    <a:lnTo>
                      <a:pt x="1186" y="1449"/>
                    </a:lnTo>
                    <a:lnTo>
                      <a:pt x="1186" y="1451"/>
                    </a:lnTo>
                    <a:lnTo>
                      <a:pt x="1186" y="1453"/>
                    </a:lnTo>
                    <a:lnTo>
                      <a:pt x="1186" y="1451"/>
                    </a:lnTo>
                    <a:lnTo>
                      <a:pt x="1186" y="1453"/>
                    </a:lnTo>
                    <a:lnTo>
                      <a:pt x="1188" y="1453"/>
                    </a:lnTo>
                    <a:lnTo>
                      <a:pt x="1190" y="1453"/>
                    </a:lnTo>
                    <a:lnTo>
                      <a:pt x="1190" y="1454"/>
                    </a:lnTo>
                    <a:lnTo>
                      <a:pt x="1190" y="1453"/>
                    </a:lnTo>
                    <a:lnTo>
                      <a:pt x="1191" y="1454"/>
                    </a:lnTo>
                    <a:lnTo>
                      <a:pt x="1191" y="1456"/>
                    </a:lnTo>
                    <a:lnTo>
                      <a:pt x="1190" y="1456"/>
                    </a:lnTo>
                    <a:lnTo>
                      <a:pt x="1191" y="1456"/>
                    </a:lnTo>
                    <a:lnTo>
                      <a:pt x="1193" y="1456"/>
                    </a:lnTo>
                    <a:lnTo>
                      <a:pt x="1193" y="1454"/>
                    </a:lnTo>
                    <a:lnTo>
                      <a:pt x="1193" y="1456"/>
                    </a:lnTo>
                    <a:lnTo>
                      <a:pt x="1193" y="1454"/>
                    </a:lnTo>
                    <a:lnTo>
                      <a:pt x="1195" y="1456"/>
                    </a:lnTo>
                    <a:lnTo>
                      <a:pt x="1193" y="1456"/>
                    </a:lnTo>
                    <a:lnTo>
                      <a:pt x="1195" y="1458"/>
                    </a:lnTo>
                    <a:lnTo>
                      <a:pt x="1195" y="1456"/>
                    </a:lnTo>
                    <a:lnTo>
                      <a:pt x="1195" y="1458"/>
                    </a:lnTo>
                    <a:lnTo>
                      <a:pt x="1196" y="1458"/>
                    </a:lnTo>
                    <a:lnTo>
                      <a:pt x="1196" y="1459"/>
                    </a:lnTo>
                    <a:lnTo>
                      <a:pt x="1196" y="1461"/>
                    </a:lnTo>
                    <a:lnTo>
                      <a:pt x="1198" y="1459"/>
                    </a:lnTo>
                    <a:lnTo>
                      <a:pt x="1198" y="1461"/>
                    </a:lnTo>
                    <a:lnTo>
                      <a:pt x="1198" y="1459"/>
                    </a:lnTo>
                    <a:lnTo>
                      <a:pt x="1198" y="1461"/>
                    </a:lnTo>
                    <a:lnTo>
                      <a:pt x="1200" y="1461"/>
                    </a:lnTo>
                    <a:lnTo>
                      <a:pt x="1202" y="1461"/>
                    </a:lnTo>
                    <a:lnTo>
                      <a:pt x="1202" y="1463"/>
                    </a:lnTo>
                    <a:lnTo>
                      <a:pt x="1203" y="1463"/>
                    </a:lnTo>
                    <a:lnTo>
                      <a:pt x="1203" y="1464"/>
                    </a:lnTo>
                    <a:lnTo>
                      <a:pt x="1205" y="1466"/>
                    </a:lnTo>
                    <a:lnTo>
                      <a:pt x="1205" y="1468"/>
                    </a:lnTo>
                    <a:lnTo>
                      <a:pt x="1207" y="1468"/>
                    </a:lnTo>
                    <a:lnTo>
                      <a:pt x="1207" y="1470"/>
                    </a:lnTo>
                    <a:lnTo>
                      <a:pt x="1207" y="1471"/>
                    </a:lnTo>
                    <a:lnTo>
                      <a:pt x="1208" y="1473"/>
                    </a:lnTo>
                    <a:lnTo>
                      <a:pt x="1208" y="1475"/>
                    </a:lnTo>
                    <a:lnTo>
                      <a:pt x="1207" y="1475"/>
                    </a:lnTo>
                    <a:lnTo>
                      <a:pt x="1207" y="1473"/>
                    </a:lnTo>
                    <a:lnTo>
                      <a:pt x="1205" y="1473"/>
                    </a:lnTo>
                    <a:lnTo>
                      <a:pt x="1205" y="1471"/>
                    </a:lnTo>
                    <a:lnTo>
                      <a:pt x="1203" y="1471"/>
                    </a:lnTo>
                    <a:lnTo>
                      <a:pt x="1203" y="1470"/>
                    </a:lnTo>
                    <a:lnTo>
                      <a:pt x="1202" y="1470"/>
                    </a:lnTo>
                    <a:lnTo>
                      <a:pt x="1202" y="1468"/>
                    </a:lnTo>
                    <a:lnTo>
                      <a:pt x="1200" y="1468"/>
                    </a:lnTo>
                    <a:lnTo>
                      <a:pt x="1198" y="1468"/>
                    </a:lnTo>
                    <a:lnTo>
                      <a:pt x="1198" y="1466"/>
                    </a:lnTo>
                    <a:lnTo>
                      <a:pt x="1196" y="1466"/>
                    </a:lnTo>
                    <a:lnTo>
                      <a:pt x="1196" y="1464"/>
                    </a:lnTo>
                    <a:lnTo>
                      <a:pt x="1195" y="1464"/>
                    </a:lnTo>
                    <a:lnTo>
                      <a:pt x="1193" y="1463"/>
                    </a:lnTo>
                    <a:lnTo>
                      <a:pt x="1193" y="1464"/>
                    </a:lnTo>
                    <a:lnTo>
                      <a:pt x="1193" y="1463"/>
                    </a:lnTo>
                    <a:lnTo>
                      <a:pt x="1195" y="1463"/>
                    </a:lnTo>
                    <a:lnTo>
                      <a:pt x="1196" y="1463"/>
                    </a:lnTo>
                    <a:lnTo>
                      <a:pt x="1196" y="1464"/>
                    </a:lnTo>
                    <a:lnTo>
                      <a:pt x="1198" y="1464"/>
                    </a:lnTo>
                    <a:lnTo>
                      <a:pt x="1196" y="1464"/>
                    </a:lnTo>
                    <a:lnTo>
                      <a:pt x="1195" y="1463"/>
                    </a:lnTo>
                    <a:lnTo>
                      <a:pt x="1193" y="1461"/>
                    </a:lnTo>
                    <a:lnTo>
                      <a:pt x="1193" y="1459"/>
                    </a:lnTo>
                    <a:lnTo>
                      <a:pt x="1193" y="1461"/>
                    </a:lnTo>
                    <a:lnTo>
                      <a:pt x="1191" y="1461"/>
                    </a:lnTo>
                    <a:lnTo>
                      <a:pt x="1191" y="1459"/>
                    </a:lnTo>
                    <a:lnTo>
                      <a:pt x="1190" y="1459"/>
                    </a:lnTo>
                    <a:lnTo>
                      <a:pt x="1188" y="1459"/>
                    </a:lnTo>
                    <a:lnTo>
                      <a:pt x="1188" y="1458"/>
                    </a:lnTo>
                    <a:lnTo>
                      <a:pt x="1186" y="1458"/>
                    </a:lnTo>
                    <a:lnTo>
                      <a:pt x="1188" y="1456"/>
                    </a:lnTo>
                    <a:lnTo>
                      <a:pt x="1186" y="1456"/>
                    </a:lnTo>
                    <a:lnTo>
                      <a:pt x="1186" y="1458"/>
                    </a:lnTo>
                    <a:lnTo>
                      <a:pt x="1185" y="1456"/>
                    </a:lnTo>
                    <a:lnTo>
                      <a:pt x="1183" y="1454"/>
                    </a:lnTo>
                    <a:lnTo>
                      <a:pt x="1185" y="1454"/>
                    </a:lnTo>
                    <a:lnTo>
                      <a:pt x="1183" y="1454"/>
                    </a:lnTo>
                    <a:lnTo>
                      <a:pt x="1183" y="1453"/>
                    </a:lnTo>
                    <a:lnTo>
                      <a:pt x="1183" y="1451"/>
                    </a:lnTo>
                    <a:lnTo>
                      <a:pt x="1183" y="1453"/>
                    </a:lnTo>
                    <a:lnTo>
                      <a:pt x="1181" y="1451"/>
                    </a:lnTo>
                    <a:lnTo>
                      <a:pt x="1181" y="1449"/>
                    </a:lnTo>
                    <a:lnTo>
                      <a:pt x="1183" y="1449"/>
                    </a:lnTo>
                    <a:lnTo>
                      <a:pt x="1181" y="1449"/>
                    </a:lnTo>
                    <a:lnTo>
                      <a:pt x="1179" y="1447"/>
                    </a:lnTo>
                    <a:lnTo>
                      <a:pt x="1179" y="1446"/>
                    </a:lnTo>
                    <a:lnTo>
                      <a:pt x="1181" y="1447"/>
                    </a:lnTo>
                    <a:lnTo>
                      <a:pt x="1183" y="1447"/>
                    </a:lnTo>
                    <a:close/>
                    <a:moveTo>
                      <a:pt x="1343" y="1626"/>
                    </a:moveTo>
                    <a:lnTo>
                      <a:pt x="1344" y="1626"/>
                    </a:lnTo>
                    <a:lnTo>
                      <a:pt x="1346" y="1626"/>
                    </a:lnTo>
                    <a:lnTo>
                      <a:pt x="1348" y="1626"/>
                    </a:lnTo>
                    <a:lnTo>
                      <a:pt x="1349" y="1628"/>
                    </a:lnTo>
                    <a:lnTo>
                      <a:pt x="1348" y="1628"/>
                    </a:lnTo>
                    <a:lnTo>
                      <a:pt x="1349" y="1628"/>
                    </a:lnTo>
                    <a:lnTo>
                      <a:pt x="1348" y="1629"/>
                    </a:lnTo>
                    <a:lnTo>
                      <a:pt x="1348" y="1631"/>
                    </a:lnTo>
                    <a:lnTo>
                      <a:pt x="1349" y="1629"/>
                    </a:lnTo>
                    <a:lnTo>
                      <a:pt x="1349" y="1628"/>
                    </a:lnTo>
                    <a:lnTo>
                      <a:pt x="1351" y="1628"/>
                    </a:lnTo>
                    <a:lnTo>
                      <a:pt x="1353" y="1628"/>
                    </a:lnTo>
                    <a:lnTo>
                      <a:pt x="1355" y="1628"/>
                    </a:lnTo>
                    <a:lnTo>
                      <a:pt x="1355" y="1629"/>
                    </a:lnTo>
                    <a:lnTo>
                      <a:pt x="1356" y="1629"/>
                    </a:lnTo>
                    <a:lnTo>
                      <a:pt x="1358" y="1629"/>
                    </a:lnTo>
                    <a:lnTo>
                      <a:pt x="1360" y="1629"/>
                    </a:lnTo>
                    <a:lnTo>
                      <a:pt x="1360" y="1631"/>
                    </a:lnTo>
                    <a:lnTo>
                      <a:pt x="1361" y="1631"/>
                    </a:lnTo>
                    <a:lnTo>
                      <a:pt x="1360" y="1631"/>
                    </a:lnTo>
                    <a:lnTo>
                      <a:pt x="1358" y="1631"/>
                    </a:lnTo>
                    <a:lnTo>
                      <a:pt x="1356" y="1631"/>
                    </a:lnTo>
                    <a:lnTo>
                      <a:pt x="1355" y="1631"/>
                    </a:lnTo>
                    <a:lnTo>
                      <a:pt x="1353" y="1631"/>
                    </a:lnTo>
                    <a:lnTo>
                      <a:pt x="1355" y="1631"/>
                    </a:lnTo>
                    <a:lnTo>
                      <a:pt x="1355" y="1633"/>
                    </a:lnTo>
                    <a:lnTo>
                      <a:pt x="1353" y="1633"/>
                    </a:lnTo>
                    <a:lnTo>
                      <a:pt x="1351" y="1633"/>
                    </a:lnTo>
                    <a:lnTo>
                      <a:pt x="1351" y="1635"/>
                    </a:lnTo>
                    <a:lnTo>
                      <a:pt x="1349" y="1635"/>
                    </a:lnTo>
                    <a:lnTo>
                      <a:pt x="1349" y="1633"/>
                    </a:lnTo>
                    <a:lnTo>
                      <a:pt x="1349" y="1631"/>
                    </a:lnTo>
                    <a:lnTo>
                      <a:pt x="1349" y="1633"/>
                    </a:lnTo>
                    <a:lnTo>
                      <a:pt x="1348" y="1633"/>
                    </a:lnTo>
                    <a:lnTo>
                      <a:pt x="1348" y="1635"/>
                    </a:lnTo>
                    <a:lnTo>
                      <a:pt x="1346" y="1635"/>
                    </a:lnTo>
                    <a:lnTo>
                      <a:pt x="1344" y="1635"/>
                    </a:lnTo>
                    <a:lnTo>
                      <a:pt x="1343" y="1635"/>
                    </a:lnTo>
                    <a:lnTo>
                      <a:pt x="1343" y="1636"/>
                    </a:lnTo>
                    <a:lnTo>
                      <a:pt x="1341" y="1635"/>
                    </a:lnTo>
                    <a:lnTo>
                      <a:pt x="1341" y="1636"/>
                    </a:lnTo>
                    <a:lnTo>
                      <a:pt x="1339" y="1636"/>
                    </a:lnTo>
                    <a:lnTo>
                      <a:pt x="1338" y="1636"/>
                    </a:lnTo>
                    <a:lnTo>
                      <a:pt x="1338" y="1635"/>
                    </a:lnTo>
                    <a:lnTo>
                      <a:pt x="1338" y="1636"/>
                    </a:lnTo>
                    <a:lnTo>
                      <a:pt x="1338" y="1635"/>
                    </a:lnTo>
                    <a:lnTo>
                      <a:pt x="1338" y="1636"/>
                    </a:lnTo>
                    <a:lnTo>
                      <a:pt x="1336" y="1636"/>
                    </a:lnTo>
                    <a:lnTo>
                      <a:pt x="1334" y="1636"/>
                    </a:lnTo>
                    <a:lnTo>
                      <a:pt x="1334" y="1635"/>
                    </a:lnTo>
                    <a:lnTo>
                      <a:pt x="1332" y="1633"/>
                    </a:lnTo>
                    <a:lnTo>
                      <a:pt x="1334" y="1633"/>
                    </a:lnTo>
                    <a:lnTo>
                      <a:pt x="1334" y="1631"/>
                    </a:lnTo>
                    <a:lnTo>
                      <a:pt x="1334" y="1633"/>
                    </a:lnTo>
                    <a:lnTo>
                      <a:pt x="1332" y="1631"/>
                    </a:lnTo>
                    <a:lnTo>
                      <a:pt x="1334" y="1629"/>
                    </a:lnTo>
                    <a:lnTo>
                      <a:pt x="1336" y="1629"/>
                    </a:lnTo>
                    <a:lnTo>
                      <a:pt x="1338" y="1631"/>
                    </a:lnTo>
                    <a:lnTo>
                      <a:pt x="1338" y="1629"/>
                    </a:lnTo>
                    <a:lnTo>
                      <a:pt x="1336" y="1629"/>
                    </a:lnTo>
                    <a:lnTo>
                      <a:pt x="1334" y="1628"/>
                    </a:lnTo>
                    <a:lnTo>
                      <a:pt x="1334" y="1629"/>
                    </a:lnTo>
                    <a:lnTo>
                      <a:pt x="1332" y="1628"/>
                    </a:lnTo>
                    <a:lnTo>
                      <a:pt x="1334" y="1628"/>
                    </a:lnTo>
                    <a:lnTo>
                      <a:pt x="1334" y="1626"/>
                    </a:lnTo>
                    <a:lnTo>
                      <a:pt x="1336" y="1628"/>
                    </a:lnTo>
                    <a:lnTo>
                      <a:pt x="1336" y="1626"/>
                    </a:lnTo>
                    <a:lnTo>
                      <a:pt x="1338" y="1626"/>
                    </a:lnTo>
                    <a:lnTo>
                      <a:pt x="1339" y="1628"/>
                    </a:lnTo>
                    <a:lnTo>
                      <a:pt x="1339" y="1629"/>
                    </a:lnTo>
                    <a:lnTo>
                      <a:pt x="1339" y="1631"/>
                    </a:lnTo>
                    <a:lnTo>
                      <a:pt x="1341" y="1629"/>
                    </a:lnTo>
                    <a:lnTo>
                      <a:pt x="1343" y="1629"/>
                    </a:lnTo>
                    <a:lnTo>
                      <a:pt x="1341" y="1631"/>
                    </a:lnTo>
                    <a:lnTo>
                      <a:pt x="1343" y="1631"/>
                    </a:lnTo>
                    <a:lnTo>
                      <a:pt x="1343" y="1629"/>
                    </a:lnTo>
                    <a:lnTo>
                      <a:pt x="1341" y="1629"/>
                    </a:lnTo>
                    <a:lnTo>
                      <a:pt x="1341" y="1628"/>
                    </a:lnTo>
                    <a:lnTo>
                      <a:pt x="1343" y="1629"/>
                    </a:lnTo>
                    <a:lnTo>
                      <a:pt x="1341" y="1629"/>
                    </a:lnTo>
                    <a:lnTo>
                      <a:pt x="1341" y="1628"/>
                    </a:lnTo>
                    <a:lnTo>
                      <a:pt x="1339" y="1628"/>
                    </a:lnTo>
                    <a:lnTo>
                      <a:pt x="1339" y="1626"/>
                    </a:lnTo>
                    <a:lnTo>
                      <a:pt x="1341" y="1626"/>
                    </a:lnTo>
                    <a:lnTo>
                      <a:pt x="1343" y="1626"/>
                    </a:lnTo>
                    <a:close/>
                    <a:moveTo>
                      <a:pt x="1152" y="1272"/>
                    </a:moveTo>
                    <a:lnTo>
                      <a:pt x="1152" y="1274"/>
                    </a:lnTo>
                    <a:lnTo>
                      <a:pt x="1152" y="1276"/>
                    </a:lnTo>
                    <a:lnTo>
                      <a:pt x="1151" y="1276"/>
                    </a:lnTo>
                    <a:lnTo>
                      <a:pt x="1152" y="1276"/>
                    </a:lnTo>
                    <a:lnTo>
                      <a:pt x="1152" y="1277"/>
                    </a:lnTo>
                    <a:lnTo>
                      <a:pt x="1152" y="1276"/>
                    </a:lnTo>
                    <a:lnTo>
                      <a:pt x="1152" y="1274"/>
                    </a:lnTo>
                    <a:lnTo>
                      <a:pt x="1152" y="1272"/>
                    </a:lnTo>
                    <a:lnTo>
                      <a:pt x="1154" y="1272"/>
                    </a:lnTo>
                    <a:lnTo>
                      <a:pt x="1154" y="1274"/>
                    </a:lnTo>
                    <a:lnTo>
                      <a:pt x="1154" y="1276"/>
                    </a:lnTo>
                    <a:lnTo>
                      <a:pt x="1154" y="1277"/>
                    </a:lnTo>
                    <a:lnTo>
                      <a:pt x="1152" y="1277"/>
                    </a:lnTo>
                    <a:lnTo>
                      <a:pt x="1154" y="1277"/>
                    </a:lnTo>
                    <a:lnTo>
                      <a:pt x="1154" y="1279"/>
                    </a:lnTo>
                    <a:lnTo>
                      <a:pt x="1156" y="1279"/>
                    </a:lnTo>
                    <a:lnTo>
                      <a:pt x="1154" y="1281"/>
                    </a:lnTo>
                    <a:lnTo>
                      <a:pt x="1154" y="1282"/>
                    </a:lnTo>
                    <a:lnTo>
                      <a:pt x="1154" y="1284"/>
                    </a:lnTo>
                    <a:lnTo>
                      <a:pt x="1152" y="1284"/>
                    </a:lnTo>
                    <a:lnTo>
                      <a:pt x="1152" y="1286"/>
                    </a:lnTo>
                    <a:lnTo>
                      <a:pt x="1151" y="1286"/>
                    </a:lnTo>
                    <a:lnTo>
                      <a:pt x="1151" y="1288"/>
                    </a:lnTo>
                    <a:lnTo>
                      <a:pt x="1149" y="1289"/>
                    </a:lnTo>
                    <a:lnTo>
                      <a:pt x="1149" y="1288"/>
                    </a:lnTo>
                    <a:lnTo>
                      <a:pt x="1149" y="1289"/>
                    </a:lnTo>
                    <a:lnTo>
                      <a:pt x="1147" y="1289"/>
                    </a:lnTo>
                    <a:lnTo>
                      <a:pt x="1145" y="1291"/>
                    </a:lnTo>
                    <a:lnTo>
                      <a:pt x="1144" y="1291"/>
                    </a:lnTo>
                    <a:lnTo>
                      <a:pt x="1144" y="1289"/>
                    </a:lnTo>
                    <a:lnTo>
                      <a:pt x="1142" y="1289"/>
                    </a:lnTo>
                    <a:lnTo>
                      <a:pt x="1142" y="1288"/>
                    </a:lnTo>
                    <a:lnTo>
                      <a:pt x="1142" y="1286"/>
                    </a:lnTo>
                    <a:lnTo>
                      <a:pt x="1142" y="1284"/>
                    </a:lnTo>
                    <a:lnTo>
                      <a:pt x="1144" y="1284"/>
                    </a:lnTo>
                    <a:lnTo>
                      <a:pt x="1144" y="1286"/>
                    </a:lnTo>
                    <a:lnTo>
                      <a:pt x="1145" y="1286"/>
                    </a:lnTo>
                    <a:lnTo>
                      <a:pt x="1147" y="1286"/>
                    </a:lnTo>
                    <a:lnTo>
                      <a:pt x="1147" y="1288"/>
                    </a:lnTo>
                    <a:lnTo>
                      <a:pt x="1147" y="1286"/>
                    </a:lnTo>
                    <a:lnTo>
                      <a:pt x="1149" y="1286"/>
                    </a:lnTo>
                    <a:lnTo>
                      <a:pt x="1151" y="1286"/>
                    </a:lnTo>
                    <a:lnTo>
                      <a:pt x="1151" y="1284"/>
                    </a:lnTo>
                    <a:lnTo>
                      <a:pt x="1152" y="1282"/>
                    </a:lnTo>
                    <a:lnTo>
                      <a:pt x="1154" y="1282"/>
                    </a:lnTo>
                    <a:lnTo>
                      <a:pt x="1154" y="1281"/>
                    </a:lnTo>
                    <a:lnTo>
                      <a:pt x="1152" y="1282"/>
                    </a:lnTo>
                    <a:lnTo>
                      <a:pt x="1152" y="1284"/>
                    </a:lnTo>
                    <a:lnTo>
                      <a:pt x="1151" y="1284"/>
                    </a:lnTo>
                    <a:lnTo>
                      <a:pt x="1149" y="1286"/>
                    </a:lnTo>
                    <a:lnTo>
                      <a:pt x="1147" y="1286"/>
                    </a:lnTo>
                    <a:lnTo>
                      <a:pt x="1145" y="1286"/>
                    </a:lnTo>
                    <a:lnTo>
                      <a:pt x="1144" y="1286"/>
                    </a:lnTo>
                    <a:lnTo>
                      <a:pt x="1144" y="1284"/>
                    </a:lnTo>
                    <a:lnTo>
                      <a:pt x="1144" y="1282"/>
                    </a:lnTo>
                    <a:lnTo>
                      <a:pt x="1145" y="1282"/>
                    </a:lnTo>
                    <a:lnTo>
                      <a:pt x="1145" y="1284"/>
                    </a:lnTo>
                    <a:lnTo>
                      <a:pt x="1147" y="1284"/>
                    </a:lnTo>
                    <a:lnTo>
                      <a:pt x="1149" y="1284"/>
                    </a:lnTo>
                    <a:lnTo>
                      <a:pt x="1147" y="1282"/>
                    </a:lnTo>
                    <a:lnTo>
                      <a:pt x="1149" y="1282"/>
                    </a:lnTo>
                    <a:lnTo>
                      <a:pt x="1151" y="1282"/>
                    </a:lnTo>
                    <a:lnTo>
                      <a:pt x="1151" y="1281"/>
                    </a:lnTo>
                    <a:lnTo>
                      <a:pt x="1152" y="1281"/>
                    </a:lnTo>
                    <a:lnTo>
                      <a:pt x="1151" y="1281"/>
                    </a:lnTo>
                    <a:lnTo>
                      <a:pt x="1149" y="1282"/>
                    </a:lnTo>
                    <a:lnTo>
                      <a:pt x="1147" y="1282"/>
                    </a:lnTo>
                    <a:lnTo>
                      <a:pt x="1145" y="1282"/>
                    </a:lnTo>
                    <a:lnTo>
                      <a:pt x="1147" y="1282"/>
                    </a:lnTo>
                    <a:lnTo>
                      <a:pt x="1147" y="1281"/>
                    </a:lnTo>
                    <a:lnTo>
                      <a:pt x="1149" y="1281"/>
                    </a:lnTo>
                    <a:lnTo>
                      <a:pt x="1151" y="1279"/>
                    </a:lnTo>
                    <a:lnTo>
                      <a:pt x="1152" y="1277"/>
                    </a:lnTo>
                    <a:lnTo>
                      <a:pt x="1151" y="1279"/>
                    </a:lnTo>
                    <a:lnTo>
                      <a:pt x="1149" y="1279"/>
                    </a:lnTo>
                    <a:lnTo>
                      <a:pt x="1149" y="1281"/>
                    </a:lnTo>
                    <a:lnTo>
                      <a:pt x="1147" y="1281"/>
                    </a:lnTo>
                    <a:lnTo>
                      <a:pt x="1147" y="1282"/>
                    </a:lnTo>
                    <a:lnTo>
                      <a:pt x="1145" y="1282"/>
                    </a:lnTo>
                    <a:lnTo>
                      <a:pt x="1144" y="1282"/>
                    </a:lnTo>
                    <a:lnTo>
                      <a:pt x="1145" y="1281"/>
                    </a:lnTo>
                    <a:lnTo>
                      <a:pt x="1144" y="1281"/>
                    </a:lnTo>
                    <a:lnTo>
                      <a:pt x="1144" y="1282"/>
                    </a:lnTo>
                    <a:lnTo>
                      <a:pt x="1142" y="1282"/>
                    </a:lnTo>
                    <a:lnTo>
                      <a:pt x="1144" y="1281"/>
                    </a:lnTo>
                    <a:lnTo>
                      <a:pt x="1142" y="1281"/>
                    </a:lnTo>
                    <a:lnTo>
                      <a:pt x="1142" y="1279"/>
                    </a:lnTo>
                    <a:lnTo>
                      <a:pt x="1144" y="1279"/>
                    </a:lnTo>
                    <a:lnTo>
                      <a:pt x="1142" y="1277"/>
                    </a:lnTo>
                    <a:lnTo>
                      <a:pt x="1144" y="1276"/>
                    </a:lnTo>
                    <a:lnTo>
                      <a:pt x="1142" y="1276"/>
                    </a:lnTo>
                    <a:lnTo>
                      <a:pt x="1142" y="1274"/>
                    </a:lnTo>
                    <a:lnTo>
                      <a:pt x="1144" y="1274"/>
                    </a:lnTo>
                    <a:lnTo>
                      <a:pt x="1144" y="1272"/>
                    </a:lnTo>
                    <a:lnTo>
                      <a:pt x="1145" y="1272"/>
                    </a:lnTo>
                    <a:lnTo>
                      <a:pt x="1145" y="1274"/>
                    </a:lnTo>
                    <a:lnTo>
                      <a:pt x="1147" y="1274"/>
                    </a:lnTo>
                    <a:lnTo>
                      <a:pt x="1147" y="1276"/>
                    </a:lnTo>
                    <a:lnTo>
                      <a:pt x="1147" y="1274"/>
                    </a:lnTo>
                    <a:lnTo>
                      <a:pt x="1149" y="1274"/>
                    </a:lnTo>
                    <a:lnTo>
                      <a:pt x="1147" y="1274"/>
                    </a:lnTo>
                    <a:lnTo>
                      <a:pt x="1149" y="1274"/>
                    </a:lnTo>
                    <a:lnTo>
                      <a:pt x="1151" y="1272"/>
                    </a:lnTo>
                    <a:lnTo>
                      <a:pt x="1151" y="1274"/>
                    </a:lnTo>
                    <a:lnTo>
                      <a:pt x="1151" y="1276"/>
                    </a:lnTo>
                    <a:lnTo>
                      <a:pt x="1151" y="1274"/>
                    </a:lnTo>
                    <a:lnTo>
                      <a:pt x="1151" y="1272"/>
                    </a:lnTo>
                    <a:lnTo>
                      <a:pt x="1152" y="1272"/>
                    </a:lnTo>
                    <a:close/>
                    <a:moveTo>
                      <a:pt x="1195" y="1240"/>
                    </a:moveTo>
                    <a:lnTo>
                      <a:pt x="1195" y="1242"/>
                    </a:lnTo>
                    <a:lnTo>
                      <a:pt x="1196" y="1242"/>
                    </a:lnTo>
                    <a:lnTo>
                      <a:pt x="1196" y="1243"/>
                    </a:lnTo>
                    <a:lnTo>
                      <a:pt x="1198" y="1243"/>
                    </a:lnTo>
                    <a:lnTo>
                      <a:pt x="1200" y="1243"/>
                    </a:lnTo>
                    <a:lnTo>
                      <a:pt x="1202" y="1245"/>
                    </a:lnTo>
                    <a:lnTo>
                      <a:pt x="1202" y="1243"/>
                    </a:lnTo>
                    <a:lnTo>
                      <a:pt x="1203" y="1243"/>
                    </a:lnTo>
                    <a:lnTo>
                      <a:pt x="1205" y="1245"/>
                    </a:lnTo>
                    <a:lnTo>
                      <a:pt x="1203" y="1247"/>
                    </a:lnTo>
                    <a:lnTo>
                      <a:pt x="1203" y="1248"/>
                    </a:lnTo>
                    <a:lnTo>
                      <a:pt x="1202" y="1248"/>
                    </a:lnTo>
                    <a:lnTo>
                      <a:pt x="1200" y="1248"/>
                    </a:lnTo>
                    <a:lnTo>
                      <a:pt x="1202" y="1247"/>
                    </a:lnTo>
                    <a:lnTo>
                      <a:pt x="1200" y="1247"/>
                    </a:lnTo>
                    <a:lnTo>
                      <a:pt x="1198" y="1248"/>
                    </a:lnTo>
                    <a:lnTo>
                      <a:pt x="1196" y="1248"/>
                    </a:lnTo>
                    <a:lnTo>
                      <a:pt x="1195" y="1248"/>
                    </a:lnTo>
                    <a:lnTo>
                      <a:pt x="1193" y="1248"/>
                    </a:lnTo>
                    <a:lnTo>
                      <a:pt x="1191" y="1248"/>
                    </a:lnTo>
                    <a:lnTo>
                      <a:pt x="1190" y="1250"/>
                    </a:lnTo>
                    <a:lnTo>
                      <a:pt x="1190" y="1248"/>
                    </a:lnTo>
                    <a:lnTo>
                      <a:pt x="1188" y="1250"/>
                    </a:lnTo>
                    <a:lnTo>
                      <a:pt x="1186" y="1250"/>
                    </a:lnTo>
                    <a:lnTo>
                      <a:pt x="1186" y="1248"/>
                    </a:lnTo>
                    <a:lnTo>
                      <a:pt x="1186" y="1247"/>
                    </a:lnTo>
                    <a:lnTo>
                      <a:pt x="1185" y="1247"/>
                    </a:lnTo>
                    <a:lnTo>
                      <a:pt x="1185" y="1248"/>
                    </a:lnTo>
                    <a:lnTo>
                      <a:pt x="1185" y="1247"/>
                    </a:lnTo>
                    <a:lnTo>
                      <a:pt x="1183" y="1247"/>
                    </a:lnTo>
                    <a:lnTo>
                      <a:pt x="1181" y="1247"/>
                    </a:lnTo>
                    <a:lnTo>
                      <a:pt x="1181" y="1245"/>
                    </a:lnTo>
                    <a:lnTo>
                      <a:pt x="1183" y="1245"/>
                    </a:lnTo>
                    <a:lnTo>
                      <a:pt x="1185" y="1247"/>
                    </a:lnTo>
                    <a:lnTo>
                      <a:pt x="1185" y="1245"/>
                    </a:lnTo>
                    <a:lnTo>
                      <a:pt x="1183" y="1245"/>
                    </a:lnTo>
                    <a:lnTo>
                      <a:pt x="1183" y="1243"/>
                    </a:lnTo>
                    <a:lnTo>
                      <a:pt x="1185" y="1243"/>
                    </a:lnTo>
                    <a:lnTo>
                      <a:pt x="1185" y="1242"/>
                    </a:lnTo>
                    <a:lnTo>
                      <a:pt x="1186" y="1242"/>
                    </a:lnTo>
                    <a:lnTo>
                      <a:pt x="1186" y="1243"/>
                    </a:lnTo>
                    <a:lnTo>
                      <a:pt x="1188" y="1243"/>
                    </a:lnTo>
                    <a:lnTo>
                      <a:pt x="1188" y="1245"/>
                    </a:lnTo>
                    <a:lnTo>
                      <a:pt x="1190" y="1245"/>
                    </a:lnTo>
                    <a:lnTo>
                      <a:pt x="1191" y="1245"/>
                    </a:lnTo>
                    <a:lnTo>
                      <a:pt x="1190" y="1245"/>
                    </a:lnTo>
                    <a:lnTo>
                      <a:pt x="1190" y="1243"/>
                    </a:lnTo>
                    <a:lnTo>
                      <a:pt x="1188" y="1243"/>
                    </a:lnTo>
                    <a:lnTo>
                      <a:pt x="1188" y="1242"/>
                    </a:lnTo>
                    <a:lnTo>
                      <a:pt x="1186" y="1242"/>
                    </a:lnTo>
                    <a:lnTo>
                      <a:pt x="1188" y="1240"/>
                    </a:lnTo>
                    <a:lnTo>
                      <a:pt x="1190" y="1242"/>
                    </a:lnTo>
                    <a:lnTo>
                      <a:pt x="1190" y="1240"/>
                    </a:lnTo>
                    <a:lnTo>
                      <a:pt x="1191" y="1242"/>
                    </a:lnTo>
                    <a:lnTo>
                      <a:pt x="1193" y="1242"/>
                    </a:lnTo>
                    <a:lnTo>
                      <a:pt x="1195" y="1242"/>
                    </a:lnTo>
                    <a:lnTo>
                      <a:pt x="1195" y="1243"/>
                    </a:lnTo>
                    <a:lnTo>
                      <a:pt x="1196" y="1243"/>
                    </a:lnTo>
                    <a:lnTo>
                      <a:pt x="1195" y="1242"/>
                    </a:lnTo>
                    <a:lnTo>
                      <a:pt x="1193" y="1242"/>
                    </a:lnTo>
                    <a:lnTo>
                      <a:pt x="1191" y="1242"/>
                    </a:lnTo>
                    <a:lnTo>
                      <a:pt x="1191" y="1240"/>
                    </a:lnTo>
                    <a:lnTo>
                      <a:pt x="1193" y="1240"/>
                    </a:lnTo>
                    <a:lnTo>
                      <a:pt x="1195" y="1240"/>
                    </a:lnTo>
                    <a:close/>
                    <a:moveTo>
                      <a:pt x="1147" y="1333"/>
                    </a:moveTo>
                    <a:lnTo>
                      <a:pt x="1149" y="1333"/>
                    </a:lnTo>
                    <a:lnTo>
                      <a:pt x="1151" y="1333"/>
                    </a:lnTo>
                    <a:lnTo>
                      <a:pt x="1151" y="1335"/>
                    </a:lnTo>
                    <a:lnTo>
                      <a:pt x="1151" y="1333"/>
                    </a:lnTo>
                    <a:lnTo>
                      <a:pt x="1151" y="1332"/>
                    </a:lnTo>
                    <a:lnTo>
                      <a:pt x="1152" y="1333"/>
                    </a:lnTo>
                    <a:lnTo>
                      <a:pt x="1152" y="1335"/>
                    </a:lnTo>
                    <a:lnTo>
                      <a:pt x="1154" y="1337"/>
                    </a:lnTo>
                    <a:lnTo>
                      <a:pt x="1152" y="1337"/>
                    </a:lnTo>
                    <a:lnTo>
                      <a:pt x="1152" y="1339"/>
                    </a:lnTo>
                    <a:lnTo>
                      <a:pt x="1152" y="1337"/>
                    </a:lnTo>
                    <a:lnTo>
                      <a:pt x="1154" y="1339"/>
                    </a:lnTo>
                    <a:lnTo>
                      <a:pt x="1154" y="1340"/>
                    </a:lnTo>
                    <a:lnTo>
                      <a:pt x="1156" y="1342"/>
                    </a:lnTo>
                    <a:lnTo>
                      <a:pt x="1156" y="1344"/>
                    </a:lnTo>
                    <a:lnTo>
                      <a:pt x="1156" y="1345"/>
                    </a:lnTo>
                    <a:lnTo>
                      <a:pt x="1157" y="1345"/>
                    </a:lnTo>
                    <a:lnTo>
                      <a:pt x="1157" y="1347"/>
                    </a:lnTo>
                    <a:lnTo>
                      <a:pt x="1157" y="1349"/>
                    </a:lnTo>
                    <a:lnTo>
                      <a:pt x="1156" y="1349"/>
                    </a:lnTo>
                    <a:lnTo>
                      <a:pt x="1157" y="1349"/>
                    </a:lnTo>
                    <a:lnTo>
                      <a:pt x="1156" y="1349"/>
                    </a:lnTo>
                    <a:lnTo>
                      <a:pt x="1156" y="1347"/>
                    </a:lnTo>
                    <a:lnTo>
                      <a:pt x="1154" y="1347"/>
                    </a:lnTo>
                    <a:lnTo>
                      <a:pt x="1154" y="1345"/>
                    </a:lnTo>
                    <a:lnTo>
                      <a:pt x="1152" y="1345"/>
                    </a:lnTo>
                    <a:lnTo>
                      <a:pt x="1154" y="1345"/>
                    </a:lnTo>
                    <a:lnTo>
                      <a:pt x="1154" y="1347"/>
                    </a:lnTo>
                    <a:lnTo>
                      <a:pt x="1154" y="1349"/>
                    </a:lnTo>
                    <a:lnTo>
                      <a:pt x="1152" y="1349"/>
                    </a:lnTo>
                    <a:lnTo>
                      <a:pt x="1151" y="1347"/>
                    </a:lnTo>
                    <a:lnTo>
                      <a:pt x="1151" y="1345"/>
                    </a:lnTo>
                    <a:lnTo>
                      <a:pt x="1149" y="1345"/>
                    </a:lnTo>
                    <a:lnTo>
                      <a:pt x="1149" y="1344"/>
                    </a:lnTo>
                    <a:lnTo>
                      <a:pt x="1151" y="1344"/>
                    </a:lnTo>
                    <a:lnTo>
                      <a:pt x="1151" y="1342"/>
                    </a:lnTo>
                    <a:lnTo>
                      <a:pt x="1152" y="1342"/>
                    </a:lnTo>
                    <a:lnTo>
                      <a:pt x="1151" y="1342"/>
                    </a:lnTo>
                    <a:lnTo>
                      <a:pt x="1151" y="1340"/>
                    </a:lnTo>
                    <a:lnTo>
                      <a:pt x="1151" y="1339"/>
                    </a:lnTo>
                    <a:lnTo>
                      <a:pt x="1151" y="1340"/>
                    </a:lnTo>
                    <a:lnTo>
                      <a:pt x="1149" y="1342"/>
                    </a:lnTo>
                    <a:lnTo>
                      <a:pt x="1147" y="1342"/>
                    </a:lnTo>
                    <a:lnTo>
                      <a:pt x="1147" y="1344"/>
                    </a:lnTo>
                    <a:lnTo>
                      <a:pt x="1145" y="1344"/>
                    </a:lnTo>
                    <a:lnTo>
                      <a:pt x="1144" y="1344"/>
                    </a:lnTo>
                    <a:lnTo>
                      <a:pt x="1144" y="1345"/>
                    </a:lnTo>
                    <a:lnTo>
                      <a:pt x="1144" y="1347"/>
                    </a:lnTo>
                    <a:lnTo>
                      <a:pt x="1142" y="1347"/>
                    </a:lnTo>
                    <a:lnTo>
                      <a:pt x="1142" y="1345"/>
                    </a:lnTo>
                    <a:lnTo>
                      <a:pt x="1142" y="1344"/>
                    </a:lnTo>
                    <a:lnTo>
                      <a:pt x="1140" y="1344"/>
                    </a:lnTo>
                    <a:lnTo>
                      <a:pt x="1140" y="1342"/>
                    </a:lnTo>
                    <a:lnTo>
                      <a:pt x="1142" y="1342"/>
                    </a:lnTo>
                    <a:lnTo>
                      <a:pt x="1144" y="1340"/>
                    </a:lnTo>
                    <a:lnTo>
                      <a:pt x="1145" y="1340"/>
                    </a:lnTo>
                    <a:lnTo>
                      <a:pt x="1145" y="1339"/>
                    </a:lnTo>
                    <a:lnTo>
                      <a:pt x="1145" y="1340"/>
                    </a:lnTo>
                    <a:lnTo>
                      <a:pt x="1145" y="1339"/>
                    </a:lnTo>
                    <a:lnTo>
                      <a:pt x="1144" y="1339"/>
                    </a:lnTo>
                    <a:lnTo>
                      <a:pt x="1144" y="1337"/>
                    </a:lnTo>
                    <a:lnTo>
                      <a:pt x="1142" y="1337"/>
                    </a:lnTo>
                    <a:lnTo>
                      <a:pt x="1144" y="1337"/>
                    </a:lnTo>
                    <a:lnTo>
                      <a:pt x="1142" y="1335"/>
                    </a:lnTo>
                    <a:lnTo>
                      <a:pt x="1144" y="1335"/>
                    </a:lnTo>
                    <a:lnTo>
                      <a:pt x="1144" y="1333"/>
                    </a:lnTo>
                    <a:lnTo>
                      <a:pt x="1145" y="1333"/>
                    </a:lnTo>
                    <a:lnTo>
                      <a:pt x="1147" y="1333"/>
                    </a:lnTo>
                    <a:lnTo>
                      <a:pt x="1147" y="1335"/>
                    </a:lnTo>
                    <a:lnTo>
                      <a:pt x="1147" y="1333"/>
                    </a:lnTo>
                    <a:lnTo>
                      <a:pt x="1147" y="1332"/>
                    </a:lnTo>
                    <a:lnTo>
                      <a:pt x="1147" y="1333"/>
                    </a:lnTo>
                    <a:close/>
                    <a:moveTo>
                      <a:pt x="1193" y="1085"/>
                    </a:moveTo>
                    <a:lnTo>
                      <a:pt x="1195" y="1085"/>
                    </a:lnTo>
                    <a:lnTo>
                      <a:pt x="1196" y="1085"/>
                    </a:lnTo>
                    <a:lnTo>
                      <a:pt x="1195" y="1085"/>
                    </a:lnTo>
                    <a:lnTo>
                      <a:pt x="1196" y="1085"/>
                    </a:lnTo>
                    <a:lnTo>
                      <a:pt x="1198" y="1085"/>
                    </a:lnTo>
                    <a:lnTo>
                      <a:pt x="1200" y="1087"/>
                    </a:lnTo>
                    <a:lnTo>
                      <a:pt x="1202" y="1088"/>
                    </a:lnTo>
                    <a:lnTo>
                      <a:pt x="1200" y="1088"/>
                    </a:lnTo>
                    <a:lnTo>
                      <a:pt x="1202" y="1088"/>
                    </a:lnTo>
                    <a:lnTo>
                      <a:pt x="1202" y="1090"/>
                    </a:lnTo>
                    <a:lnTo>
                      <a:pt x="1200" y="1090"/>
                    </a:lnTo>
                    <a:lnTo>
                      <a:pt x="1198" y="1090"/>
                    </a:lnTo>
                    <a:lnTo>
                      <a:pt x="1196" y="1090"/>
                    </a:lnTo>
                    <a:lnTo>
                      <a:pt x="1196" y="1088"/>
                    </a:lnTo>
                    <a:lnTo>
                      <a:pt x="1198" y="1088"/>
                    </a:lnTo>
                    <a:lnTo>
                      <a:pt x="1196" y="1088"/>
                    </a:lnTo>
                    <a:lnTo>
                      <a:pt x="1196" y="1090"/>
                    </a:lnTo>
                    <a:lnTo>
                      <a:pt x="1196" y="1092"/>
                    </a:lnTo>
                    <a:lnTo>
                      <a:pt x="1195" y="1092"/>
                    </a:lnTo>
                    <a:lnTo>
                      <a:pt x="1195" y="1094"/>
                    </a:lnTo>
                    <a:lnTo>
                      <a:pt x="1193" y="1094"/>
                    </a:lnTo>
                    <a:lnTo>
                      <a:pt x="1191" y="1094"/>
                    </a:lnTo>
                    <a:lnTo>
                      <a:pt x="1190" y="1094"/>
                    </a:lnTo>
                    <a:lnTo>
                      <a:pt x="1190" y="1095"/>
                    </a:lnTo>
                    <a:lnTo>
                      <a:pt x="1188" y="1095"/>
                    </a:lnTo>
                    <a:lnTo>
                      <a:pt x="1186" y="1095"/>
                    </a:lnTo>
                    <a:lnTo>
                      <a:pt x="1185" y="1094"/>
                    </a:lnTo>
                    <a:lnTo>
                      <a:pt x="1185" y="1092"/>
                    </a:lnTo>
                    <a:lnTo>
                      <a:pt x="1185" y="1090"/>
                    </a:lnTo>
                    <a:lnTo>
                      <a:pt x="1186" y="1090"/>
                    </a:lnTo>
                    <a:lnTo>
                      <a:pt x="1188" y="1090"/>
                    </a:lnTo>
                    <a:lnTo>
                      <a:pt x="1188" y="1092"/>
                    </a:lnTo>
                    <a:lnTo>
                      <a:pt x="1190" y="1090"/>
                    </a:lnTo>
                    <a:lnTo>
                      <a:pt x="1188" y="1092"/>
                    </a:lnTo>
                    <a:lnTo>
                      <a:pt x="1190" y="1092"/>
                    </a:lnTo>
                    <a:lnTo>
                      <a:pt x="1191" y="1092"/>
                    </a:lnTo>
                    <a:lnTo>
                      <a:pt x="1193" y="1092"/>
                    </a:lnTo>
                    <a:lnTo>
                      <a:pt x="1191" y="1092"/>
                    </a:lnTo>
                    <a:lnTo>
                      <a:pt x="1190" y="1092"/>
                    </a:lnTo>
                    <a:lnTo>
                      <a:pt x="1190" y="1090"/>
                    </a:lnTo>
                    <a:lnTo>
                      <a:pt x="1188" y="1090"/>
                    </a:lnTo>
                    <a:lnTo>
                      <a:pt x="1186" y="1090"/>
                    </a:lnTo>
                    <a:lnTo>
                      <a:pt x="1185" y="1090"/>
                    </a:lnTo>
                    <a:lnTo>
                      <a:pt x="1183" y="1090"/>
                    </a:lnTo>
                    <a:lnTo>
                      <a:pt x="1183" y="1088"/>
                    </a:lnTo>
                    <a:lnTo>
                      <a:pt x="1183" y="1087"/>
                    </a:lnTo>
                    <a:lnTo>
                      <a:pt x="1185" y="1087"/>
                    </a:lnTo>
                    <a:lnTo>
                      <a:pt x="1186" y="1087"/>
                    </a:lnTo>
                    <a:lnTo>
                      <a:pt x="1186" y="1085"/>
                    </a:lnTo>
                    <a:lnTo>
                      <a:pt x="1188" y="1085"/>
                    </a:lnTo>
                    <a:lnTo>
                      <a:pt x="1190" y="1085"/>
                    </a:lnTo>
                    <a:lnTo>
                      <a:pt x="1191" y="1085"/>
                    </a:lnTo>
                    <a:lnTo>
                      <a:pt x="1193" y="1085"/>
                    </a:lnTo>
                    <a:close/>
                    <a:moveTo>
                      <a:pt x="1176" y="1418"/>
                    </a:moveTo>
                    <a:lnTo>
                      <a:pt x="1178" y="1418"/>
                    </a:lnTo>
                    <a:lnTo>
                      <a:pt x="1178" y="1420"/>
                    </a:lnTo>
                    <a:lnTo>
                      <a:pt x="1179" y="1422"/>
                    </a:lnTo>
                    <a:lnTo>
                      <a:pt x="1179" y="1424"/>
                    </a:lnTo>
                    <a:lnTo>
                      <a:pt x="1178" y="1424"/>
                    </a:lnTo>
                    <a:lnTo>
                      <a:pt x="1178" y="1422"/>
                    </a:lnTo>
                    <a:lnTo>
                      <a:pt x="1179" y="1422"/>
                    </a:lnTo>
                    <a:lnTo>
                      <a:pt x="1178" y="1420"/>
                    </a:lnTo>
                    <a:lnTo>
                      <a:pt x="1178" y="1422"/>
                    </a:lnTo>
                    <a:lnTo>
                      <a:pt x="1178" y="1424"/>
                    </a:lnTo>
                    <a:lnTo>
                      <a:pt x="1178" y="1425"/>
                    </a:lnTo>
                    <a:lnTo>
                      <a:pt x="1178" y="1424"/>
                    </a:lnTo>
                    <a:lnTo>
                      <a:pt x="1176" y="1422"/>
                    </a:lnTo>
                    <a:lnTo>
                      <a:pt x="1174" y="1422"/>
                    </a:lnTo>
                    <a:lnTo>
                      <a:pt x="1174" y="1420"/>
                    </a:lnTo>
                    <a:lnTo>
                      <a:pt x="1174" y="1422"/>
                    </a:lnTo>
                    <a:lnTo>
                      <a:pt x="1176" y="1422"/>
                    </a:lnTo>
                    <a:lnTo>
                      <a:pt x="1176" y="1424"/>
                    </a:lnTo>
                    <a:lnTo>
                      <a:pt x="1178" y="1424"/>
                    </a:lnTo>
                    <a:lnTo>
                      <a:pt x="1176" y="1425"/>
                    </a:lnTo>
                    <a:lnTo>
                      <a:pt x="1178" y="1425"/>
                    </a:lnTo>
                    <a:lnTo>
                      <a:pt x="1178" y="1427"/>
                    </a:lnTo>
                    <a:lnTo>
                      <a:pt x="1178" y="1425"/>
                    </a:lnTo>
                    <a:lnTo>
                      <a:pt x="1178" y="1427"/>
                    </a:lnTo>
                    <a:lnTo>
                      <a:pt x="1178" y="1429"/>
                    </a:lnTo>
                    <a:lnTo>
                      <a:pt x="1176" y="1429"/>
                    </a:lnTo>
                    <a:lnTo>
                      <a:pt x="1176" y="1430"/>
                    </a:lnTo>
                    <a:lnTo>
                      <a:pt x="1176" y="1429"/>
                    </a:lnTo>
                    <a:lnTo>
                      <a:pt x="1174" y="1429"/>
                    </a:lnTo>
                    <a:lnTo>
                      <a:pt x="1176" y="1427"/>
                    </a:lnTo>
                    <a:lnTo>
                      <a:pt x="1174" y="1427"/>
                    </a:lnTo>
                    <a:lnTo>
                      <a:pt x="1174" y="1425"/>
                    </a:lnTo>
                    <a:lnTo>
                      <a:pt x="1174" y="1424"/>
                    </a:lnTo>
                    <a:lnTo>
                      <a:pt x="1173" y="1425"/>
                    </a:lnTo>
                    <a:lnTo>
                      <a:pt x="1173" y="1424"/>
                    </a:lnTo>
                    <a:lnTo>
                      <a:pt x="1171" y="1424"/>
                    </a:lnTo>
                    <a:lnTo>
                      <a:pt x="1173" y="1425"/>
                    </a:lnTo>
                    <a:lnTo>
                      <a:pt x="1173" y="1427"/>
                    </a:lnTo>
                    <a:lnTo>
                      <a:pt x="1171" y="1429"/>
                    </a:lnTo>
                    <a:lnTo>
                      <a:pt x="1171" y="1427"/>
                    </a:lnTo>
                    <a:lnTo>
                      <a:pt x="1171" y="1429"/>
                    </a:lnTo>
                    <a:lnTo>
                      <a:pt x="1171" y="1430"/>
                    </a:lnTo>
                    <a:lnTo>
                      <a:pt x="1171" y="1429"/>
                    </a:lnTo>
                    <a:lnTo>
                      <a:pt x="1169" y="1429"/>
                    </a:lnTo>
                    <a:lnTo>
                      <a:pt x="1169" y="1430"/>
                    </a:lnTo>
                    <a:lnTo>
                      <a:pt x="1171" y="1430"/>
                    </a:lnTo>
                    <a:lnTo>
                      <a:pt x="1169" y="1432"/>
                    </a:lnTo>
                    <a:lnTo>
                      <a:pt x="1168" y="1432"/>
                    </a:lnTo>
                    <a:lnTo>
                      <a:pt x="1168" y="1430"/>
                    </a:lnTo>
                    <a:lnTo>
                      <a:pt x="1168" y="1432"/>
                    </a:lnTo>
                    <a:lnTo>
                      <a:pt x="1166" y="1432"/>
                    </a:lnTo>
                    <a:lnTo>
                      <a:pt x="1168" y="1432"/>
                    </a:lnTo>
                    <a:lnTo>
                      <a:pt x="1166" y="1432"/>
                    </a:lnTo>
                    <a:lnTo>
                      <a:pt x="1166" y="1430"/>
                    </a:lnTo>
                    <a:lnTo>
                      <a:pt x="1166" y="1432"/>
                    </a:lnTo>
                    <a:lnTo>
                      <a:pt x="1164" y="1432"/>
                    </a:lnTo>
                    <a:lnTo>
                      <a:pt x="1164" y="1430"/>
                    </a:lnTo>
                    <a:lnTo>
                      <a:pt x="1164" y="1432"/>
                    </a:lnTo>
                    <a:lnTo>
                      <a:pt x="1164" y="1434"/>
                    </a:lnTo>
                    <a:lnTo>
                      <a:pt x="1162" y="1434"/>
                    </a:lnTo>
                    <a:lnTo>
                      <a:pt x="1161" y="1434"/>
                    </a:lnTo>
                    <a:lnTo>
                      <a:pt x="1162" y="1432"/>
                    </a:lnTo>
                    <a:lnTo>
                      <a:pt x="1161" y="1432"/>
                    </a:lnTo>
                    <a:lnTo>
                      <a:pt x="1162" y="1432"/>
                    </a:lnTo>
                    <a:lnTo>
                      <a:pt x="1161" y="1430"/>
                    </a:lnTo>
                    <a:lnTo>
                      <a:pt x="1162" y="1430"/>
                    </a:lnTo>
                    <a:lnTo>
                      <a:pt x="1164" y="1430"/>
                    </a:lnTo>
                    <a:lnTo>
                      <a:pt x="1164" y="1429"/>
                    </a:lnTo>
                    <a:lnTo>
                      <a:pt x="1166" y="1429"/>
                    </a:lnTo>
                    <a:lnTo>
                      <a:pt x="1168" y="1427"/>
                    </a:lnTo>
                    <a:lnTo>
                      <a:pt x="1169" y="1425"/>
                    </a:lnTo>
                    <a:lnTo>
                      <a:pt x="1168" y="1425"/>
                    </a:lnTo>
                    <a:lnTo>
                      <a:pt x="1168" y="1427"/>
                    </a:lnTo>
                    <a:lnTo>
                      <a:pt x="1168" y="1425"/>
                    </a:lnTo>
                    <a:lnTo>
                      <a:pt x="1168" y="1427"/>
                    </a:lnTo>
                    <a:lnTo>
                      <a:pt x="1166" y="1427"/>
                    </a:lnTo>
                    <a:lnTo>
                      <a:pt x="1164" y="1429"/>
                    </a:lnTo>
                    <a:lnTo>
                      <a:pt x="1164" y="1427"/>
                    </a:lnTo>
                    <a:lnTo>
                      <a:pt x="1162" y="1425"/>
                    </a:lnTo>
                    <a:lnTo>
                      <a:pt x="1164" y="1425"/>
                    </a:lnTo>
                    <a:lnTo>
                      <a:pt x="1164" y="1424"/>
                    </a:lnTo>
                    <a:lnTo>
                      <a:pt x="1166" y="1424"/>
                    </a:lnTo>
                    <a:lnTo>
                      <a:pt x="1166" y="1422"/>
                    </a:lnTo>
                    <a:lnTo>
                      <a:pt x="1168" y="1422"/>
                    </a:lnTo>
                    <a:lnTo>
                      <a:pt x="1168" y="1424"/>
                    </a:lnTo>
                    <a:lnTo>
                      <a:pt x="1168" y="1422"/>
                    </a:lnTo>
                    <a:lnTo>
                      <a:pt x="1168" y="1424"/>
                    </a:lnTo>
                    <a:lnTo>
                      <a:pt x="1168" y="1422"/>
                    </a:lnTo>
                    <a:lnTo>
                      <a:pt x="1169" y="1424"/>
                    </a:lnTo>
                    <a:lnTo>
                      <a:pt x="1169" y="1422"/>
                    </a:lnTo>
                    <a:lnTo>
                      <a:pt x="1168" y="1422"/>
                    </a:lnTo>
                    <a:lnTo>
                      <a:pt x="1168" y="1420"/>
                    </a:lnTo>
                    <a:lnTo>
                      <a:pt x="1169" y="1420"/>
                    </a:lnTo>
                    <a:lnTo>
                      <a:pt x="1171" y="1420"/>
                    </a:lnTo>
                    <a:lnTo>
                      <a:pt x="1169" y="1420"/>
                    </a:lnTo>
                    <a:lnTo>
                      <a:pt x="1169" y="1418"/>
                    </a:lnTo>
                    <a:lnTo>
                      <a:pt x="1171" y="1418"/>
                    </a:lnTo>
                    <a:lnTo>
                      <a:pt x="1171" y="1420"/>
                    </a:lnTo>
                    <a:lnTo>
                      <a:pt x="1171" y="1418"/>
                    </a:lnTo>
                    <a:lnTo>
                      <a:pt x="1173" y="1418"/>
                    </a:lnTo>
                    <a:lnTo>
                      <a:pt x="1174" y="1418"/>
                    </a:lnTo>
                    <a:lnTo>
                      <a:pt x="1176" y="1418"/>
                    </a:lnTo>
                    <a:close/>
                    <a:moveTo>
                      <a:pt x="1151" y="1379"/>
                    </a:moveTo>
                    <a:lnTo>
                      <a:pt x="1151" y="1381"/>
                    </a:lnTo>
                    <a:lnTo>
                      <a:pt x="1151" y="1379"/>
                    </a:lnTo>
                    <a:lnTo>
                      <a:pt x="1152" y="1379"/>
                    </a:lnTo>
                    <a:lnTo>
                      <a:pt x="1154" y="1379"/>
                    </a:lnTo>
                    <a:lnTo>
                      <a:pt x="1152" y="1381"/>
                    </a:lnTo>
                    <a:lnTo>
                      <a:pt x="1152" y="1383"/>
                    </a:lnTo>
                    <a:lnTo>
                      <a:pt x="1152" y="1381"/>
                    </a:lnTo>
                    <a:lnTo>
                      <a:pt x="1154" y="1381"/>
                    </a:lnTo>
                    <a:lnTo>
                      <a:pt x="1156" y="1381"/>
                    </a:lnTo>
                    <a:lnTo>
                      <a:pt x="1157" y="1381"/>
                    </a:lnTo>
                    <a:lnTo>
                      <a:pt x="1159" y="1381"/>
                    </a:lnTo>
                    <a:lnTo>
                      <a:pt x="1161" y="1381"/>
                    </a:lnTo>
                    <a:lnTo>
                      <a:pt x="1161" y="1383"/>
                    </a:lnTo>
                    <a:lnTo>
                      <a:pt x="1159" y="1383"/>
                    </a:lnTo>
                    <a:lnTo>
                      <a:pt x="1157" y="1384"/>
                    </a:lnTo>
                    <a:lnTo>
                      <a:pt x="1157" y="1383"/>
                    </a:lnTo>
                    <a:lnTo>
                      <a:pt x="1157" y="1384"/>
                    </a:lnTo>
                    <a:lnTo>
                      <a:pt x="1156" y="1384"/>
                    </a:lnTo>
                    <a:lnTo>
                      <a:pt x="1157" y="1386"/>
                    </a:lnTo>
                    <a:lnTo>
                      <a:pt x="1156" y="1386"/>
                    </a:lnTo>
                    <a:lnTo>
                      <a:pt x="1156" y="1388"/>
                    </a:lnTo>
                    <a:lnTo>
                      <a:pt x="1156" y="1386"/>
                    </a:lnTo>
                    <a:lnTo>
                      <a:pt x="1154" y="1386"/>
                    </a:lnTo>
                    <a:lnTo>
                      <a:pt x="1152" y="1384"/>
                    </a:lnTo>
                    <a:lnTo>
                      <a:pt x="1154" y="1383"/>
                    </a:lnTo>
                    <a:lnTo>
                      <a:pt x="1152" y="1384"/>
                    </a:lnTo>
                    <a:lnTo>
                      <a:pt x="1152" y="1386"/>
                    </a:lnTo>
                    <a:lnTo>
                      <a:pt x="1154" y="1388"/>
                    </a:lnTo>
                    <a:lnTo>
                      <a:pt x="1156" y="1388"/>
                    </a:lnTo>
                    <a:lnTo>
                      <a:pt x="1154" y="1390"/>
                    </a:lnTo>
                    <a:lnTo>
                      <a:pt x="1152" y="1390"/>
                    </a:lnTo>
                    <a:lnTo>
                      <a:pt x="1152" y="1388"/>
                    </a:lnTo>
                    <a:lnTo>
                      <a:pt x="1152" y="1390"/>
                    </a:lnTo>
                    <a:lnTo>
                      <a:pt x="1154" y="1390"/>
                    </a:lnTo>
                    <a:lnTo>
                      <a:pt x="1156" y="1390"/>
                    </a:lnTo>
                    <a:lnTo>
                      <a:pt x="1154" y="1391"/>
                    </a:lnTo>
                    <a:lnTo>
                      <a:pt x="1152" y="1391"/>
                    </a:lnTo>
                    <a:lnTo>
                      <a:pt x="1154" y="1391"/>
                    </a:lnTo>
                    <a:lnTo>
                      <a:pt x="1154" y="1393"/>
                    </a:lnTo>
                    <a:lnTo>
                      <a:pt x="1152" y="1393"/>
                    </a:lnTo>
                    <a:lnTo>
                      <a:pt x="1154" y="1393"/>
                    </a:lnTo>
                    <a:lnTo>
                      <a:pt x="1154" y="1395"/>
                    </a:lnTo>
                    <a:lnTo>
                      <a:pt x="1154" y="1396"/>
                    </a:lnTo>
                    <a:lnTo>
                      <a:pt x="1152" y="1398"/>
                    </a:lnTo>
                    <a:lnTo>
                      <a:pt x="1152" y="1396"/>
                    </a:lnTo>
                    <a:lnTo>
                      <a:pt x="1152" y="1398"/>
                    </a:lnTo>
                    <a:lnTo>
                      <a:pt x="1152" y="1396"/>
                    </a:lnTo>
                    <a:lnTo>
                      <a:pt x="1152" y="1395"/>
                    </a:lnTo>
                    <a:lnTo>
                      <a:pt x="1152" y="1396"/>
                    </a:lnTo>
                    <a:lnTo>
                      <a:pt x="1151" y="1396"/>
                    </a:lnTo>
                    <a:lnTo>
                      <a:pt x="1149" y="1396"/>
                    </a:lnTo>
                    <a:lnTo>
                      <a:pt x="1149" y="1395"/>
                    </a:lnTo>
                    <a:lnTo>
                      <a:pt x="1147" y="1395"/>
                    </a:lnTo>
                    <a:lnTo>
                      <a:pt x="1149" y="1395"/>
                    </a:lnTo>
                    <a:lnTo>
                      <a:pt x="1147" y="1395"/>
                    </a:lnTo>
                    <a:lnTo>
                      <a:pt x="1149" y="1393"/>
                    </a:lnTo>
                    <a:lnTo>
                      <a:pt x="1147" y="1393"/>
                    </a:lnTo>
                    <a:lnTo>
                      <a:pt x="1147" y="1391"/>
                    </a:lnTo>
                    <a:lnTo>
                      <a:pt x="1149" y="1391"/>
                    </a:lnTo>
                    <a:lnTo>
                      <a:pt x="1151" y="1391"/>
                    </a:lnTo>
                    <a:lnTo>
                      <a:pt x="1149" y="1391"/>
                    </a:lnTo>
                    <a:lnTo>
                      <a:pt x="1149" y="1390"/>
                    </a:lnTo>
                    <a:lnTo>
                      <a:pt x="1147" y="1391"/>
                    </a:lnTo>
                    <a:lnTo>
                      <a:pt x="1147" y="1390"/>
                    </a:lnTo>
                    <a:lnTo>
                      <a:pt x="1145" y="1390"/>
                    </a:lnTo>
                    <a:lnTo>
                      <a:pt x="1147" y="1388"/>
                    </a:lnTo>
                    <a:lnTo>
                      <a:pt x="1147" y="1390"/>
                    </a:lnTo>
                    <a:lnTo>
                      <a:pt x="1149" y="1390"/>
                    </a:lnTo>
                    <a:lnTo>
                      <a:pt x="1147" y="1388"/>
                    </a:lnTo>
                    <a:lnTo>
                      <a:pt x="1147" y="1386"/>
                    </a:lnTo>
                    <a:lnTo>
                      <a:pt x="1149" y="1386"/>
                    </a:lnTo>
                    <a:lnTo>
                      <a:pt x="1147" y="1386"/>
                    </a:lnTo>
                    <a:lnTo>
                      <a:pt x="1149" y="1386"/>
                    </a:lnTo>
                    <a:lnTo>
                      <a:pt x="1151" y="1388"/>
                    </a:lnTo>
                    <a:lnTo>
                      <a:pt x="1151" y="1386"/>
                    </a:lnTo>
                    <a:lnTo>
                      <a:pt x="1149" y="1386"/>
                    </a:lnTo>
                    <a:lnTo>
                      <a:pt x="1151" y="1386"/>
                    </a:lnTo>
                    <a:lnTo>
                      <a:pt x="1151" y="1384"/>
                    </a:lnTo>
                    <a:lnTo>
                      <a:pt x="1149" y="1386"/>
                    </a:lnTo>
                    <a:lnTo>
                      <a:pt x="1149" y="1384"/>
                    </a:lnTo>
                    <a:lnTo>
                      <a:pt x="1147" y="1383"/>
                    </a:lnTo>
                    <a:lnTo>
                      <a:pt x="1147" y="1381"/>
                    </a:lnTo>
                    <a:lnTo>
                      <a:pt x="1147" y="1379"/>
                    </a:lnTo>
                    <a:lnTo>
                      <a:pt x="1149" y="1381"/>
                    </a:lnTo>
                    <a:lnTo>
                      <a:pt x="1149" y="1379"/>
                    </a:lnTo>
                    <a:lnTo>
                      <a:pt x="1147" y="1379"/>
                    </a:lnTo>
                    <a:lnTo>
                      <a:pt x="1149" y="1379"/>
                    </a:lnTo>
                    <a:lnTo>
                      <a:pt x="1151" y="1379"/>
                    </a:lnTo>
                    <a:close/>
                    <a:moveTo>
                      <a:pt x="1147" y="1293"/>
                    </a:moveTo>
                    <a:lnTo>
                      <a:pt x="1149" y="1293"/>
                    </a:lnTo>
                    <a:lnTo>
                      <a:pt x="1147" y="1294"/>
                    </a:lnTo>
                    <a:lnTo>
                      <a:pt x="1147" y="1296"/>
                    </a:lnTo>
                    <a:lnTo>
                      <a:pt x="1145" y="1296"/>
                    </a:lnTo>
                    <a:lnTo>
                      <a:pt x="1147" y="1296"/>
                    </a:lnTo>
                    <a:lnTo>
                      <a:pt x="1147" y="1294"/>
                    </a:lnTo>
                    <a:lnTo>
                      <a:pt x="1149" y="1294"/>
                    </a:lnTo>
                    <a:lnTo>
                      <a:pt x="1149" y="1293"/>
                    </a:lnTo>
                    <a:lnTo>
                      <a:pt x="1151" y="1293"/>
                    </a:lnTo>
                    <a:lnTo>
                      <a:pt x="1151" y="1294"/>
                    </a:lnTo>
                    <a:lnTo>
                      <a:pt x="1149" y="1294"/>
                    </a:lnTo>
                    <a:lnTo>
                      <a:pt x="1149" y="1296"/>
                    </a:lnTo>
                    <a:lnTo>
                      <a:pt x="1151" y="1294"/>
                    </a:lnTo>
                    <a:lnTo>
                      <a:pt x="1151" y="1296"/>
                    </a:lnTo>
                    <a:lnTo>
                      <a:pt x="1152" y="1296"/>
                    </a:lnTo>
                    <a:lnTo>
                      <a:pt x="1152" y="1298"/>
                    </a:lnTo>
                    <a:lnTo>
                      <a:pt x="1152" y="1296"/>
                    </a:lnTo>
                    <a:lnTo>
                      <a:pt x="1152" y="1294"/>
                    </a:lnTo>
                    <a:lnTo>
                      <a:pt x="1151" y="1294"/>
                    </a:lnTo>
                    <a:lnTo>
                      <a:pt x="1152" y="1293"/>
                    </a:lnTo>
                    <a:lnTo>
                      <a:pt x="1151" y="1294"/>
                    </a:lnTo>
                    <a:lnTo>
                      <a:pt x="1152" y="1293"/>
                    </a:lnTo>
                    <a:lnTo>
                      <a:pt x="1154" y="1294"/>
                    </a:lnTo>
                    <a:lnTo>
                      <a:pt x="1156" y="1294"/>
                    </a:lnTo>
                    <a:lnTo>
                      <a:pt x="1156" y="1296"/>
                    </a:lnTo>
                    <a:lnTo>
                      <a:pt x="1156" y="1298"/>
                    </a:lnTo>
                    <a:lnTo>
                      <a:pt x="1156" y="1299"/>
                    </a:lnTo>
                    <a:lnTo>
                      <a:pt x="1156" y="1301"/>
                    </a:lnTo>
                    <a:lnTo>
                      <a:pt x="1157" y="1301"/>
                    </a:lnTo>
                    <a:lnTo>
                      <a:pt x="1157" y="1303"/>
                    </a:lnTo>
                    <a:lnTo>
                      <a:pt x="1157" y="1305"/>
                    </a:lnTo>
                    <a:lnTo>
                      <a:pt x="1156" y="1305"/>
                    </a:lnTo>
                    <a:lnTo>
                      <a:pt x="1156" y="1306"/>
                    </a:lnTo>
                    <a:lnTo>
                      <a:pt x="1156" y="1305"/>
                    </a:lnTo>
                    <a:lnTo>
                      <a:pt x="1154" y="1306"/>
                    </a:lnTo>
                    <a:lnTo>
                      <a:pt x="1154" y="1305"/>
                    </a:lnTo>
                    <a:lnTo>
                      <a:pt x="1154" y="1303"/>
                    </a:lnTo>
                    <a:lnTo>
                      <a:pt x="1154" y="1301"/>
                    </a:lnTo>
                    <a:lnTo>
                      <a:pt x="1154" y="1299"/>
                    </a:lnTo>
                    <a:lnTo>
                      <a:pt x="1154" y="1298"/>
                    </a:lnTo>
                    <a:lnTo>
                      <a:pt x="1152" y="1299"/>
                    </a:lnTo>
                    <a:lnTo>
                      <a:pt x="1151" y="1299"/>
                    </a:lnTo>
                    <a:lnTo>
                      <a:pt x="1152" y="1298"/>
                    </a:lnTo>
                    <a:lnTo>
                      <a:pt x="1151" y="1299"/>
                    </a:lnTo>
                    <a:lnTo>
                      <a:pt x="1151" y="1301"/>
                    </a:lnTo>
                    <a:lnTo>
                      <a:pt x="1149" y="1301"/>
                    </a:lnTo>
                    <a:lnTo>
                      <a:pt x="1149" y="1303"/>
                    </a:lnTo>
                    <a:lnTo>
                      <a:pt x="1147" y="1305"/>
                    </a:lnTo>
                    <a:lnTo>
                      <a:pt x="1145" y="1303"/>
                    </a:lnTo>
                    <a:lnTo>
                      <a:pt x="1144" y="1301"/>
                    </a:lnTo>
                    <a:lnTo>
                      <a:pt x="1145" y="1301"/>
                    </a:lnTo>
                    <a:lnTo>
                      <a:pt x="1147" y="1299"/>
                    </a:lnTo>
                    <a:lnTo>
                      <a:pt x="1147" y="1301"/>
                    </a:lnTo>
                    <a:lnTo>
                      <a:pt x="1147" y="1299"/>
                    </a:lnTo>
                    <a:lnTo>
                      <a:pt x="1149" y="1299"/>
                    </a:lnTo>
                    <a:lnTo>
                      <a:pt x="1147" y="1299"/>
                    </a:lnTo>
                    <a:lnTo>
                      <a:pt x="1147" y="1298"/>
                    </a:lnTo>
                    <a:lnTo>
                      <a:pt x="1147" y="1299"/>
                    </a:lnTo>
                    <a:lnTo>
                      <a:pt x="1145" y="1299"/>
                    </a:lnTo>
                    <a:lnTo>
                      <a:pt x="1145" y="1301"/>
                    </a:lnTo>
                    <a:lnTo>
                      <a:pt x="1144" y="1299"/>
                    </a:lnTo>
                    <a:lnTo>
                      <a:pt x="1142" y="1299"/>
                    </a:lnTo>
                    <a:lnTo>
                      <a:pt x="1142" y="1298"/>
                    </a:lnTo>
                    <a:lnTo>
                      <a:pt x="1142" y="1299"/>
                    </a:lnTo>
                    <a:lnTo>
                      <a:pt x="1142" y="1298"/>
                    </a:lnTo>
                    <a:lnTo>
                      <a:pt x="1142" y="1296"/>
                    </a:lnTo>
                    <a:lnTo>
                      <a:pt x="1142" y="1294"/>
                    </a:lnTo>
                    <a:lnTo>
                      <a:pt x="1144" y="1293"/>
                    </a:lnTo>
                    <a:lnTo>
                      <a:pt x="1145" y="1294"/>
                    </a:lnTo>
                    <a:lnTo>
                      <a:pt x="1144" y="1293"/>
                    </a:lnTo>
                    <a:lnTo>
                      <a:pt x="1145" y="1293"/>
                    </a:lnTo>
                    <a:lnTo>
                      <a:pt x="1144" y="1293"/>
                    </a:lnTo>
                    <a:lnTo>
                      <a:pt x="1145" y="1293"/>
                    </a:lnTo>
                    <a:lnTo>
                      <a:pt x="1145" y="1291"/>
                    </a:lnTo>
                    <a:lnTo>
                      <a:pt x="1147" y="1293"/>
                    </a:lnTo>
                    <a:close/>
                    <a:moveTo>
                      <a:pt x="1168" y="1442"/>
                    </a:moveTo>
                    <a:lnTo>
                      <a:pt x="1169" y="1442"/>
                    </a:lnTo>
                    <a:lnTo>
                      <a:pt x="1171" y="1442"/>
                    </a:lnTo>
                    <a:lnTo>
                      <a:pt x="1171" y="1444"/>
                    </a:lnTo>
                    <a:lnTo>
                      <a:pt x="1169" y="1444"/>
                    </a:lnTo>
                    <a:lnTo>
                      <a:pt x="1171" y="1444"/>
                    </a:lnTo>
                    <a:lnTo>
                      <a:pt x="1169" y="1446"/>
                    </a:lnTo>
                    <a:lnTo>
                      <a:pt x="1171" y="1446"/>
                    </a:lnTo>
                    <a:lnTo>
                      <a:pt x="1171" y="1447"/>
                    </a:lnTo>
                    <a:lnTo>
                      <a:pt x="1169" y="1447"/>
                    </a:lnTo>
                    <a:lnTo>
                      <a:pt x="1169" y="1449"/>
                    </a:lnTo>
                    <a:lnTo>
                      <a:pt x="1169" y="1447"/>
                    </a:lnTo>
                    <a:lnTo>
                      <a:pt x="1171" y="1447"/>
                    </a:lnTo>
                    <a:lnTo>
                      <a:pt x="1171" y="1449"/>
                    </a:lnTo>
                    <a:lnTo>
                      <a:pt x="1171" y="1451"/>
                    </a:lnTo>
                    <a:lnTo>
                      <a:pt x="1169" y="1451"/>
                    </a:lnTo>
                    <a:lnTo>
                      <a:pt x="1171" y="1451"/>
                    </a:lnTo>
                    <a:lnTo>
                      <a:pt x="1171" y="1453"/>
                    </a:lnTo>
                    <a:lnTo>
                      <a:pt x="1171" y="1454"/>
                    </a:lnTo>
                    <a:lnTo>
                      <a:pt x="1169" y="1454"/>
                    </a:lnTo>
                    <a:lnTo>
                      <a:pt x="1169" y="1456"/>
                    </a:lnTo>
                    <a:lnTo>
                      <a:pt x="1169" y="1458"/>
                    </a:lnTo>
                    <a:lnTo>
                      <a:pt x="1169" y="1459"/>
                    </a:lnTo>
                    <a:lnTo>
                      <a:pt x="1168" y="1459"/>
                    </a:lnTo>
                    <a:lnTo>
                      <a:pt x="1169" y="1459"/>
                    </a:lnTo>
                    <a:lnTo>
                      <a:pt x="1169" y="1461"/>
                    </a:lnTo>
                    <a:lnTo>
                      <a:pt x="1168" y="1461"/>
                    </a:lnTo>
                    <a:lnTo>
                      <a:pt x="1169" y="1461"/>
                    </a:lnTo>
                    <a:lnTo>
                      <a:pt x="1168" y="1461"/>
                    </a:lnTo>
                    <a:lnTo>
                      <a:pt x="1168" y="1463"/>
                    </a:lnTo>
                    <a:lnTo>
                      <a:pt x="1166" y="1463"/>
                    </a:lnTo>
                    <a:lnTo>
                      <a:pt x="1168" y="1463"/>
                    </a:lnTo>
                    <a:lnTo>
                      <a:pt x="1168" y="1464"/>
                    </a:lnTo>
                    <a:lnTo>
                      <a:pt x="1166" y="1464"/>
                    </a:lnTo>
                    <a:lnTo>
                      <a:pt x="1168" y="1466"/>
                    </a:lnTo>
                    <a:lnTo>
                      <a:pt x="1166" y="1468"/>
                    </a:lnTo>
                    <a:lnTo>
                      <a:pt x="1164" y="1468"/>
                    </a:lnTo>
                    <a:lnTo>
                      <a:pt x="1166" y="1470"/>
                    </a:lnTo>
                    <a:lnTo>
                      <a:pt x="1166" y="1468"/>
                    </a:lnTo>
                    <a:lnTo>
                      <a:pt x="1166" y="1470"/>
                    </a:lnTo>
                    <a:lnTo>
                      <a:pt x="1164" y="1470"/>
                    </a:lnTo>
                    <a:lnTo>
                      <a:pt x="1164" y="1468"/>
                    </a:lnTo>
                    <a:lnTo>
                      <a:pt x="1166" y="1466"/>
                    </a:lnTo>
                    <a:lnTo>
                      <a:pt x="1164" y="1468"/>
                    </a:lnTo>
                    <a:lnTo>
                      <a:pt x="1164" y="1470"/>
                    </a:lnTo>
                    <a:lnTo>
                      <a:pt x="1162" y="1470"/>
                    </a:lnTo>
                    <a:lnTo>
                      <a:pt x="1162" y="1468"/>
                    </a:lnTo>
                    <a:lnTo>
                      <a:pt x="1164" y="1468"/>
                    </a:lnTo>
                    <a:lnTo>
                      <a:pt x="1164" y="1466"/>
                    </a:lnTo>
                    <a:lnTo>
                      <a:pt x="1164" y="1464"/>
                    </a:lnTo>
                    <a:lnTo>
                      <a:pt x="1164" y="1466"/>
                    </a:lnTo>
                    <a:lnTo>
                      <a:pt x="1162" y="1466"/>
                    </a:lnTo>
                    <a:lnTo>
                      <a:pt x="1164" y="1464"/>
                    </a:lnTo>
                    <a:lnTo>
                      <a:pt x="1162" y="1464"/>
                    </a:lnTo>
                    <a:lnTo>
                      <a:pt x="1162" y="1466"/>
                    </a:lnTo>
                    <a:lnTo>
                      <a:pt x="1162" y="1464"/>
                    </a:lnTo>
                    <a:lnTo>
                      <a:pt x="1161" y="1464"/>
                    </a:lnTo>
                    <a:lnTo>
                      <a:pt x="1161" y="1463"/>
                    </a:lnTo>
                    <a:lnTo>
                      <a:pt x="1161" y="1461"/>
                    </a:lnTo>
                    <a:lnTo>
                      <a:pt x="1162" y="1461"/>
                    </a:lnTo>
                    <a:lnTo>
                      <a:pt x="1164" y="1459"/>
                    </a:lnTo>
                    <a:lnTo>
                      <a:pt x="1162" y="1459"/>
                    </a:lnTo>
                    <a:lnTo>
                      <a:pt x="1162" y="1458"/>
                    </a:lnTo>
                    <a:lnTo>
                      <a:pt x="1162" y="1456"/>
                    </a:lnTo>
                    <a:lnTo>
                      <a:pt x="1164" y="1456"/>
                    </a:lnTo>
                    <a:lnTo>
                      <a:pt x="1164" y="1454"/>
                    </a:lnTo>
                    <a:lnTo>
                      <a:pt x="1164" y="1453"/>
                    </a:lnTo>
                    <a:lnTo>
                      <a:pt x="1164" y="1451"/>
                    </a:lnTo>
                    <a:lnTo>
                      <a:pt x="1166" y="1453"/>
                    </a:lnTo>
                    <a:lnTo>
                      <a:pt x="1164" y="1453"/>
                    </a:lnTo>
                    <a:lnTo>
                      <a:pt x="1166" y="1454"/>
                    </a:lnTo>
                    <a:lnTo>
                      <a:pt x="1166" y="1456"/>
                    </a:lnTo>
                    <a:lnTo>
                      <a:pt x="1166" y="1454"/>
                    </a:lnTo>
                    <a:lnTo>
                      <a:pt x="1166" y="1456"/>
                    </a:lnTo>
                    <a:lnTo>
                      <a:pt x="1164" y="1458"/>
                    </a:lnTo>
                    <a:lnTo>
                      <a:pt x="1166" y="1458"/>
                    </a:lnTo>
                    <a:lnTo>
                      <a:pt x="1166" y="1456"/>
                    </a:lnTo>
                    <a:lnTo>
                      <a:pt x="1166" y="1458"/>
                    </a:lnTo>
                    <a:lnTo>
                      <a:pt x="1166" y="1456"/>
                    </a:lnTo>
                    <a:lnTo>
                      <a:pt x="1168" y="1454"/>
                    </a:lnTo>
                    <a:lnTo>
                      <a:pt x="1168" y="1456"/>
                    </a:lnTo>
                    <a:lnTo>
                      <a:pt x="1168" y="1458"/>
                    </a:lnTo>
                    <a:lnTo>
                      <a:pt x="1168" y="1459"/>
                    </a:lnTo>
                    <a:lnTo>
                      <a:pt x="1168" y="1458"/>
                    </a:lnTo>
                    <a:lnTo>
                      <a:pt x="1168" y="1456"/>
                    </a:lnTo>
                    <a:lnTo>
                      <a:pt x="1168" y="1454"/>
                    </a:lnTo>
                    <a:lnTo>
                      <a:pt x="1169" y="1454"/>
                    </a:lnTo>
                    <a:lnTo>
                      <a:pt x="1169" y="1453"/>
                    </a:lnTo>
                    <a:lnTo>
                      <a:pt x="1168" y="1454"/>
                    </a:lnTo>
                    <a:lnTo>
                      <a:pt x="1168" y="1453"/>
                    </a:lnTo>
                    <a:lnTo>
                      <a:pt x="1168" y="1451"/>
                    </a:lnTo>
                    <a:lnTo>
                      <a:pt x="1168" y="1453"/>
                    </a:lnTo>
                    <a:lnTo>
                      <a:pt x="1168" y="1451"/>
                    </a:lnTo>
                    <a:lnTo>
                      <a:pt x="1166" y="1451"/>
                    </a:lnTo>
                    <a:lnTo>
                      <a:pt x="1168" y="1449"/>
                    </a:lnTo>
                    <a:lnTo>
                      <a:pt x="1169" y="1449"/>
                    </a:lnTo>
                    <a:lnTo>
                      <a:pt x="1168" y="1447"/>
                    </a:lnTo>
                    <a:lnTo>
                      <a:pt x="1166" y="1446"/>
                    </a:lnTo>
                    <a:lnTo>
                      <a:pt x="1166" y="1444"/>
                    </a:lnTo>
                    <a:lnTo>
                      <a:pt x="1168" y="1444"/>
                    </a:lnTo>
                    <a:lnTo>
                      <a:pt x="1166" y="1444"/>
                    </a:lnTo>
                    <a:lnTo>
                      <a:pt x="1164" y="1444"/>
                    </a:lnTo>
                    <a:lnTo>
                      <a:pt x="1166" y="1442"/>
                    </a:lnTo>
                    <a:lnTo>
                      <a:pt x="1168" y="1441"/>
                    </a:lnTo>
                    <a:lnTo>
                      <a:pt x="1168" y="1442"/>
                    </a:lnTo>
                    <a:close/>
                    <a:moveTo>
                      <a:pt x="1188" y="1468"/>
                    </a:moveTo>
                    <a:lnTo>
                      <a:pt x="1190" y="1468"/>
                    </a:lnTo>
                    <a:lnTo>
                      <a:pt x="1190" y="1470"/>
                    </a:lnTo>
                    <a:lnTo>
                      <a:pt x="1191" y="1470"/>
                    </a:lnTo>
                    <a:lnTo>
                      <a:pt x="1191" y="1471"/>
                    </a:lnTo>
                    <a:lnTo>
                      <a:pt x="1193" y="1471"/>
                    </a:lnTo>
                    <a:lnTo>
                      <a:pt x="1193" y="1473"/>
                    </a:lnTo>
                    <a:lnTo>
                      <a:pt x="1195" y="1473"/>
                    </a:lnTo>
                    <a:lnTo>
                      <a:pt x="1195" y="1475"/>
                    </a:lnTo>
                    <a:lnTo>
                      <a:pt x="1196" y="1476"/>
                    </a:lnTo>
                    <a:lnTo>
                      <a:pt x="1196" y="1478"/>
                    </a:lnTo>
                    <a:lnTo>
                      <a:pt x="1198" y="1480"/>
                    </a:lnTo>
                    <a:lnTo>
                      <a:pt x="1196" y="1478"/>
                    </a:lnTo>
                    <a:lnTo>
                      <a:pt x="1198" y="1478"/>
                    </a:lnTo>
                    <a:lnTo>
                      <a:pt x="1198" y="1480"/>
                    </a:lnTo>
                    <a:lnTo>
                      <a:pt x="1200" y="1480"/>
                    </a:lnTo>
                    <a:lnTo>
                      <a:pt x="1200" y="1481"/>
                    </a:lnTo>
                    <a:lnTo>
                      <a:pt x="1198" y="1481"/>
                    </a:lnTo>
                    <a:lnTo>
                      <a:pt x="1198" y="1480"/>
                    </a:lnTo>
                    <a:lnTo>
                      <a:pt x="1196" y="1480"/>
                    </a:lnTo>
                    <a:lnTo>
                      <a:pt x="1198" y="1481"/>
                    </a:lnTo>
                    <a:lnTo>
                      <a:pt x="1198" y="1483"/>
                    </a:lnTo>
                    <a:lnTo>
                      <a:pt x="1196" y="1483"/>
                    </a:lnTo>
                    <a:lnTo>
                      <a:pt x="1196" y="1481"/>
                    </a:lnTo>
                    <a:lnTo>
                      <a:pt x="1195" y="1481"/>
                    </a:lnTo>
                    <a:lnTo>
                      <a:pt x="1195" y="1480"/>
                    </a:lnTo>
                    <a:lnTo>
                      <a:pt x="1196" y="1481"/>
                    </a:lnTo>
                    <a:lnTo>
                      <a:pt x="1196" y="1483"/>
                    </a:lnTo>
                    <a:lnTo>
                      <a:pt x="1195" y="1481"/>
                    </a:lnTo>
                    <a:lnTo>
                      <a:pt x="1196" y="1483"/>
                    </a:lnTo>
                    <a:lnTo>
                      <a:pt x="1195" y="1485"/>
                    </a:lnTo>
                    <a:lnTo>
                      <a:pt x="1195" y="1483"/>
                    </a:lnTo>
                    <a:lnTo>
                      <a:pt x="1193" y="1485"/>
                    </a:lnTo>
                    <a:lnTo>
                      <a:pt x="1191" y="1485"/>
                    </a:lnTo>
                    <a:lnTo>
                      <a:pt x="1191" y="1483"/>
                    </a:lnTo>
                    <a:lnTo>
                      <a:pt x="1191" y="1485"/>
                    </a:lnTo>
                    <a:lnTo>
                      <a:pt x="1190" y="1485"/>
                    </a:lnTo>
                    <a:lnTo>
                      <a:pt x="1191" y="1483"/>
                    </a:lnTo>
                    <a:lnTo>
                      <a:pt x="1190" y="1481"/>
                    </a:lnTo>
                    <a:lnTo>
                      <a:pt x="1191" y="1481"/>
                    </a:lnTo>
                    <a:lnTo>
                      <a:pt x="1191" y="1480"/>
                    </a:lnTo>
                    <a:lnTo>
                      <a:pt x="1193" y="1480"/>
                    </a:lnTo>
                    <a:lnTo>
                      <a:pt x="1191" y="1480"/>
                    </a:lnTo>
                    <a:lnTo>
                      <a:pt x="1191" y="1481"/>
                    </a:lnTo>
                    <a:lnTo>
                      <a:pt x="1190" y="1481"/>
                    </a:lnTo>
                    <a:lnTo>
                      <a:pt x="1188" y="1481"/>
                    </a:lnTo>
                    <a:lnTo>
                      <a:pt x="1188" y="1483"/>
                    </a:lnTo>
                    <a:lnTo>
                      <a:pt x="1188" y="1481"/>
                    </a:lnTo>
                    <a:lnTo>
                      <a:pt x="1188" y="1480"/>
                    </a:lnTo>
                    <a:lnTo>
                      <a:pt x="1190" y="1480"/>
                    </a:lnTo>
                    <a:lnTo>
                      <a:pt x="1191" y="1480"/>
                    </a:lnTo>
                    <a:lnTo>
                      <a:pt x="1191" y="1478"/>
                    </a:lnTo>
                    <a:lnTo>
                      <a:pt x="1191" y="1480"/>
                    </a:lnTo>
                    <a:lnTo>
                      <a:pt x="1190" y="1478"/>
                    </a:lnTo>
                    <a:lnTo>
                      <a:pt x="1190" y="1476"/>
                    </a:lnTo>
                    <a:lnTo>
                      <a:pt x="1190" y="1475"/>
                    </a:lnTo>
                    <a:lnTo>
                      <a:pt x="1191" y="1475"/>
                    </a:lnTo>
                    <a:lnTo>
                      <a:pt x="1191" y="1476"/>
                    </a:lnTo>
                    <a:lnTo>
                      <a:pt x="1191" y="1475"/>
                    </a:lnTo>
                    <a:lnTo>
                      <a:pt x="1191" y="1473"/>
                    </a:lnTo>
                    <a:lnTo>
                      <a:pt x="1190" y="1475"/>
                    </a:lnTo>
                    <a:lnTo>
                      <a:pt x="1190" y="1473"/>
                    </a:lnTo>
                    <a:lnTo>
                      <a:pt x="1188" y="1473"/>
                    </a:lnTo>
                    <a:lnTo>
                      <a:pt x="1190" y="1473"/>
                    </a:lnTo>
                    <a:lnTo>
                      <a:pt x="1188" y="1473"/>
                    </a:lnTo>
                    <a:lnTo>
                      <a:pt x="1186" y="1473"/>
                    </a:lnTo>
                    <a:lnTo>
                      <a:pt x="1186" y="1475"/>
                    </a:lnTo>
                    <a:lnTo>
                      <a:pt x="1185" y="1473"/>
                    </a:lnTo>
                    <a:lnTo>
                      <a:pt x="1185" y="1471"/>
                    </a:lnTo>
                    <a:lnTo>
                      <a:pt x="1183" y="1473"/>
                    </a:lnTo>
                    <a:lnTo>
                      <a:pt x="1181" y="1473"/>
                    </a:lnTo>
                    <a:lnTo>
                      <a:pt x="1181" y="1471"/>
                    </a:lnTo>
                    <a:lnTo>
                      <a:pt x="1183" y="1470"/>
                    </a:lnTo>
                    <a:lnTo>
                      <a:pt x="1183" y="1471"/>
                    </a:lnTo>
                    <a:lnTo>
                      <a:pt x="1185" y="1471"/>
                    </a:lnTo>
                    <a:lnTo>
                      <a:pt x="1185" y="1473"/>
                    </a:lnTo>
                    <a:lnTo>
                      <a:pt x="1186" y="1473"/>
                    </a:lnTo>
                    <a:lnTo>
                      <a:pt x="1185" y="1473"/>
                    </a:lnTo>
                    <a:lnTo>
                      <a:pt x="1186" y="1473"/>
                    </a:lnTo>
                    <a:lnTo>
                      <a:pt x="1186" y="1471"/>
                    </a:lnTo>
                    <a:lnTo>
                      <a:pt x="1185" y="1471"/>
                    </a:lnTo>
                    <a:lnTo>
                      <a:pt x="1183" y="1471"/>
                    </a:lnTo>
                    <a:lnTo>
                      <a:pt x="1183" y="1470"/>
                    </a:lnTo>
                    <a:lnTo>
                      <a:pt x="1185" y="1470"/>
                    </a:lnTo>
                    <a:lnTo>
                      <a:pt x="1185" y="1468"/>
                    </a:lnTo>
                    <a:lnTo>
                      <a:pt x="1186" y="1468"/>
                    </a:lnTo>
                    <a:lnTo>
                      <a:pt x="1188" y="1468"/>
                    </a:lnTo>
                    <a:close/>
                    <a:moveTo>
                      <a:pt x="1195" y="1437"/>
                    </a:moveTo>
                    <a:lnTo>
                      <a:pt x="1195" y="1439"/>
                    </a:lnTo>
                    <a:lnTo>
                      <a:pt x="1193" y="1437"/>
                    </a:lnTo>
                    <a:lnTo>
                      <a:pt x="1195" y="1439"/>
                    </a:lnTo>
                    <a:lnTo>
                      <a:pt x="1195" y="1441"/>
                    </a:lnTo>
                    <a:lnTo>
                      <a:pt x="1196" y="1441"/>
                    </a:lnTo>
                    <a:lnTo>
                      <a:pt x="1195" y="1442"/>
                    </a:lnTo>
                    <a:lnTo>
                      <a:pt x="1196" y="1442"/>
                    </a:lnTo>
                    <a:lnTo>
                      <a:pt x="1196" y="1444"/>
                    </a:lnTo>
                    <a:lnTo>
                      <a:pt x="1196" y="1446"/>
                    </a:lnTo>
                    <a:lnTo>
                      <a:pt x="1195" y="1446"/>
                    </a:lnTo>
                    <a:lnTo>
                      <a:pt x="1196" y="1447"/>
                    </a:lnTo>
                    <a:lnTo>
                      <a:pt x="1198" y="1447"/>
                    </a:lnTo>
                    <a:lnTo>
                      <a:pt x="1198" y="1446"/>
                    </a:lnTo>
                    <a:lnTo>
                      <a:pt x="1198" y="1447"/>
                    </a:lnTo>
                    <a:lnTo>
                      <a:pt x="1198" y="1449"/>
                    </a:lnTo>
                    <a:lnTo>
                      <a:pt x="1200" y="1449"/>
                    </a:lnTo>
                    <a:lnTo>
                      <a:pt x="1198" y="1451"/>
                    </a:lnTo>
                    <a:lnTo>
                      <a:pt x="1200" y="1451"/>
                    </a:lnTo>
                    <a:lnTo>
                      <a:pt x="1202" y="1453"/>
                    </a:lnTo>
                    <a:lnTo>
                      <a:pt x="1203" y="1454"/>
                    </a:lnTo>
                    <a:lnTo>
                      <a:pt x="1203" y="1456"/>
                    </a:lnTo>
                    <a:lnTo>
                      <a:pt x="1203" y="1458"/>
                    </a:lnTo>
                    <a:lnTo>
                      <a:pt x="1205" y="1458"/>
                    </a:lnTo>
                    <a:lnTo>
                      <a:pt x="1205" y="1459"/>
                    </a:lnTo>
                    <a:lnTo>
                      <a:pt x="1207" y="1461"/>
                    </a:lnTo>
                    <a:lnTo>
                      <a:pt x="1207" y="1463"/>
                    </a:lnTo>
                    <a:lnTo>
                      <a:pt x="1205" y="1463"/>
                    </a:lnTo>
                    <a:lnTo>
                      <a:pt x="1203" y="1463"/>
                    </a:lnTo>
                    <a:lnTo>
                      <a:pt x="1203" y="1461"/>
                    </a:lnTo>
                    <a:lnTo>
                      <a:pt x="1202" y="1459"/>
                    </a:lnTo>
                    <a:lnTo>
                      <a:pt x="1202" y="1458"/>
                    </a:lnTo>
                    <a:lnTo>
                      <a:pt x="1203" y="1458"/>
                    </a:lnTo>
                    <a:lnTo>
                      <a:pt x="1202" y="1458"/>
                    </a:lnTo>
                    <a:lnTo>
                      <a:pt x="1200" y="1458"/>
                    </a:lnTo>
                    <a:lnTo>
                      <a:pt x="1202" y="1458"/>
                    </a:lnTo>
                    <a:lnTo>
                      <a:pt x="1200" y="1456"/>
                    </a:lnTo>
                    <a:lnTo>
                      <a:pt x="1202" y="1456"/>
                    </a:lnTo>
                    <a:lnTo>
                      <a:pt x="1200" y="1456"/>
                    </a:lnTo>
                    <a:lnTo>
                      <a:pt x="1198" y="1456"/>
                    </a:lnTo>
                    <a:lnTo>
                      <a:pt x="1198" y="1454"/>
                    </a:lnTo>
                    <a:lnTo>
                      <a:pt x="1198" y="1453"/>
                    </a:lnTo>
                    <a:lnTo>
                      <a:pt x="1196" y="1453"/>
                    </a:lnTo>
                    <a:lnTo>
                      <a:pt x="1198" y="1453"/>
                    </a:lnTo>
                    <a:lnTo>
                      <a:pt x="1198" y="1451"/>
                    </a:lnTo>
                    <a:lnTo>
                      <a:pt x="1198" y="1453"/>
                    </a:lnTo>
                    <a:lnTo>
                      <a:pt x="1196" y="1451"/>
                    </a:lnTo>
                    <a:lnTo>
                      <a:pt x="1195" y="1451"/>
                    </a:lnTo>
                    <a:lnTo>
                      <a:pt x="1195" y="1453"/>
                    </a:lnTo>
                    <a:lnTo>
                      <a:pt x="1195" y="1451"/>
                    </a:lnTo>
                    <a:lnTo>
                      <a:pt x="1196" y="1451"/>
                    </a:lnTo>
                    <a:lnTo>
                      <a:pt x="1195" y="1451"/>
                    </a:lnTo>
                    <a:lnTo>
                      <a:pt x="1193" y="1451"/>
                    </a:lnTo>
                    <a:lnTo>
                      <a:pt x="1193" y="1449"/>
                    </a:lnTo>
                    <a:lnTo>
                      <a:pt x="1191" y="1449"/>
                    </a:lnTo>
                    <a:lnTo>
                      <a:pt x="1191" y="1447"/>
                    </a:lnTo>
                    <a:lnTo>
                      <a:pt x="1190" y="1447"/>
                    </a:lnTo>
                    <a:lnTo>
                      <a:pt x="1188" y="1447"/>
                    </a:lnTo>
                    <a:lnTo>
                      <a:pt x="1190" y="1447"/>
                    </a:lnTo>
                    <a:lnTo>
                      <a:pt x="1190" y="1446"/>
                    </a:lnTo>
                    <a:lnTo>
                      <a:pt x="1188" y="1446"/>
                    </a:lnTo>
                    <a:lnTo>
                      <a:pt x="1188" y="1444"/>
                    </a:lnTo>
                    <a:lnTo>
                      <a:pt x="1190" y="1444"/>
                    </a:lnTo>
                    <a:lnTo>
                      <a:pt x="1191" y="1446"/>
                    </a:lnTo>
                    <a:lnTo>
                      <a:pt x="1191" y="1444"/>
                    </a:lnTo>
                    <a:lnTo>
                      <a:pt x="1190" y="1444"/>
                    </a:lnTo>
                    <a:lnTo>
                      <a:pt x="1191" y="1444"/>
                    </a:lnTo>
                    <a:lnTo>
                      <a:pt x="1190" y="1442"/>
                    </a:lnTo>
                    <a:lnTo>
                      <a:pt x="1191" y="1444"/>
                    </a:lnTo>
                    <a:lnTo>
                      <a:pt x="1193" y="1444"/>
                    </a:lnTo>
                    <a:lnTo>
                      <a:pt x="1191" y="1444"/>
                    </a:lnTo>
                    <a:lnTo>
                      <a:pt x="1191" y="1442"/>
                    </a:lnTo>
                    <a:lnTo>
                      <a:pt x="1193" y="1442"/>
                    </a:lnTo>
                    <a:lnTo>
                      <a:pt x="1191" y="1442"/>
                    </a:lnTo>
                    <a:lnTo>
                      <a:pt x="1191" y="1441"/>
                    </a:lnTo>
                    <a:lnTo>
                      <a:pt x="1191" y="1439"/>
                    </a:lnTo>
                    <a:lnTo>
                      <a:pt x="1193" y="1441"/>
                    </a:lnTo>
                    <a:lnTo>
                      <a:pt x="1191" y="1439"/>
                    </a:lnTo>
                    <a:lnTo>
                      <a:pt x="1193" y="1439"/>
                    </a:lnTo>
                    <a:lnTo>
                      <a:pt x="1193" y="1441"/>
                    </a:lnTo>
                    <a:lnTo>
                      <a:pt x="1195" y="1441"/>
                    </a:lnTo>
                    <a:lnTo>
                      <a:pt x="1193" y="1441"/>
                    </a:lnTo>
                    <a:lnTo>
                      <a:pt x="1195" y="1441"/>
                    </a:lnTo>
                    <a:lnTo>
                      <a:pt x="1193" y="1439"/>
                    </a:lnTo>
                    <a:lnTo>
                      <a:pt x="1193" y="1437"/>
                    </a:lnTo>
                    <a:lnTo>
                      <a:pt x="1195" y="1437"/>
                    </a:lnTo>
                    <a:lnTo>
                      <a:pt x="1195" y="1435"/>
                    </a:lnTo>
                    <a:lnTo>
                      <a:pt x="1195" y="1437"/>
                    </a:lnTo>
                    <a:close/>
                    <a:moveTo>
                      <a:pt x="1183" y="1126"/>
                    </a:moveTo>
                    <a:lnTo>
                      <a:pt x="1185" y="1126"/>
                    </a:lnTo>
                    <a:lnTo>
                      <a:pt x="1183" y="1126"/>
                    </a:lnTo>
                    <a:lnTo>
                      <a:pt x="1185" y="1126"/>
                    </a:lnTo>
                    <a:lnTo>
                      <a:pt x="1186" y="1126"/>
                    </a:lnTo>
                    <a:lnTo>
                      <a:pt x="1186" y="1128"/>
                    </a:lnTo>
                    <a:lnTo>
                      <a:pt x="1188" y="1128"/>
                    </a:lnTo>
                    <a:lnTo>
                      <a:pt x="1186" y="1129"/>
                    </a:lnTo>
                    <a:lnTo>
                      <a:pt x="1185" y="1129"/>
                    </a:lnTo>
                    <a:lnTo>
                      <a:pt x="1186" y="1129"/>
                    </a:lnTo>
                    <a:lnTo>
                      <a:pt x="1188" y="1128"/>
                    </a:lnTo>
                    <a:lnTo>
                      <a:pt x="1188" y="1129"/>
                    </a:lnTo>
                    <a:lnTo>
                      <a:pt x="1190" y="1131"/>
                    </a:lnTo>
                    <a:lnTo>
                      <a:pt x="1188" y="1131"/>
                    </a:lnTo>
                    <a:lnTo>
                      <a:pt x="1186" y="1131"/>
                    </a:lnTo>
                    <a:lnTo>
                      <a:pt x="1188" y="1131"/>
                    </a:lnTo>
                    <a:lnTo>
                      <a:pt x="1186" y="1131"/>
                    </a:lnTo>
                    <a:lnTo>
                      <a:pt x="1185" y="1131"/>
                    </a:lnTo>
                    <a:lnTo>
                      <a:pt x="1186" y="1131"/>
                    </a:lnTo>
                    <a:lnTo>
                      <a:pt x="1186" y="1133"/>
                    </a:lnTo>
                    <a:lnTo>
                      <a:pt x="1188" y="1131"/>
                    </a:lnTo>
                    <a:lnTo>
                      <a:pt x="1190" y="1131"/>
                    </a:lnTo>
                    <a:lnTo>
                      <a:pt x="1190" y="1133"/>
                    </a:lnTo>
                    <a:lnTo>
                      <a:pt x="1190" y="1134"/>
                    </a:lnTo>
                    <a:lnTo>
                      <a:pt x="1190" y="1136"/>
                    </a:lnTo>
                    <a:lnTo>
                      <a:pt x="1190" y="1138"/>
                    </a:lnTo>
                    <a:lnTo>
                      <a:pt x="1188" y="1138"/>
                    </a:lnTo>
                    <a:lnTo>
                      <a:pt x="1186" y="1138"/>
                    </a:lnTo>
                    <a:lnTo>
                      <a:pt x="1185" y="1138"/>
                    </a:lnTo>
                    <a:lnTo>
                      <a:pt x="1185" y="1136"/>
                    </a:lnTo>
                    <a:lnTo>
                      <a:pt x="1185" y="1138"/>
                    </a:lnTo>
                    <a:lnTo>
                      <a:pt x="1186" y="1138"/>
                    </a:lnTo>
                    <a:lnTo>
                      <a:pt x="1185" y="1138"/>
                    </a:lnTo>
                    <a:lnTo>
                      <a:pt x="1183" y="1138"/>
                    </a:lnTo>
                    <a:lnTo>
                      <a:pt x="1181" y="1138"/>
                    </a:lnTo>
                    <a:lnTo>
                      <a:pt x="1183" y="1138"/>
                    </a:lnTo>
                    <a:lnTo>
                      <a:pt x="1185" y="1138"/>
                    </a:lnTo>
                    <a:lnTo>
                      <a:pt x="1186" y="1138"/>
                    </a:lnTo>
                    <a:lnTo>
                      <a:pt x="1186" y="1140"/>
                    </a:lnTo>
                    <a:lnTo>
                      <a:pt x="1185" y="1140"/>
                    </a:lnTo>
                    <a:lnTo>
                      <a:pt x="1183" y="1140"/>
                    </a:lnTo>
                    <a:lnTo>
                      <a:pt x="1185" y="1140"/>
                    </a:lnTo>
                    <a:lnTo>
                      <a:pt x="1185" y="1141"/>
                    </a:lnTo>
                    <a:lnTo>
                      <a:pt x="1183" y="1141"/>
                    </a:lnTo>
                    <a:lnTo>
                      <a:pt x="1181" y="1141"/>
                    </a:lnTo>
                    <a:lnTo>
                      <a:pt x="1179" y="1140"/>
                    </a:lnTo>
                    <a:lnTo>
                      <a:pt x="1181" y="1140"/>
                    </a:lnTo>
                    <a:lnTo>
                      <a:pt x="1181" y="1138"/>
                    </a:lnTo>
                    <a:lnTo>
                      <a:pt x="1181" y="1136"/>
                    </a:lnTo>
                    <a:lnTo>
                      <a:pt x="1181" y="1134"/>
                    </a:lnTo>
                    <a:lnTo>
                      <a:pt x="1179" y="1134"/>
                    </a:lnTo>
                    <a:lnTo>
                      <a:pt x="1179" y="1133"/>
                    </a:lnTo>
                    <a:lnTo>
                      <a:pt x="1181" y="1133"/>
                    </a:lnTo>
                    <a:lnTo>
                      <a:pt x="1179" y="1134"/>
                    </a:lnTo>
                    <a:lnTo>
                      <a:pt x="1181" y="1133"/>
                    </a:lnTo>
                    <a:lnTo>
                      <a:pt x="1181" y="1134"/>
                    </a:lnTo>
                    <a:lnTo>
                      <a:pt x="1183" y="1133"/>
                    </a:lnTo>
                    <a:lnTo>
                      <a:pt x="1181" y="1133"/>
                    </a:lnTo>
                    <a:lnTo>
                      <a:pt x="1181" y="1131"/>
                    </a:lnTo>
                    <a:lnTo>
                      <a:pt x="1181" y="1129"/>
                    </a:lnTo>
                    <a:lnTo>
                      <a:pt x="1181" y="1128"/>
                    </a:lnTo>
                    <a:lnTo>
                      <a:pt x="1183" y="1128"/>
                    </a:lnTo>
                    <a:lnTo>
                      <a:pt x="1183" y="1126"/>
                    </a:lnTo>
                    <a:close/>
                    <a:moveTo>
                      <a:pt x="1162" y="1305"/>
                    </a:moveTo>
                    <a:lnTo>
                      <a:pt x="1162" y="1303"/>
                    </a:lnTo>
                    <a:lnTo>
                      <a:pt x="1162" y="1305"/>
                    </a:lnTo>
                    <a:lnTo>
                      <a:pt x="1164" y="1305"/>
                    </a:lnTo>
                    <a:lnTo>
                      <a:pt x="1164" y="1306"/>
                    </a:lnTo>
                    <a:lnTo>
                      <a:pt x="1164" y="1305"/>
                    </a:lnTo>
                    <a:lnTo>
                      <a:pt x="1164" y="1303"/>
                    </a:lnTo>
                    <a:lnTo>
                      <a:pt x="1166" y="1303"/>
                    </a:lnTo>
                    <a:lnTo>
                      <a:pt x="1168" y="1305"/>
                    </a:lnTo>
                    <a:lnTo>
                      <a:pt x="1168" y="1306"/>
                    </a:lnTo>
                    <a:lnTo>
                      <a:pt x="1169" y="1308"/>
                    </a:lnTo>
                    <a:lnTo>
                      <a:pt x="1168" y="1308"/>
                    </a:lnTo>
                    <a:lnTo>
                      <a:pt x="1168" y="1310"/>
                    </a:lnTo>
                    <a:lnTo>
                      <a:pt x="1168" y="1308"/>
                    </a:lnTo>
                    <a:lnTo>
                      <a:pt x="1168" y="1310"/>
                    </a:lnTo>
                    <a:lnTo>
                      <a:pt x="1168" y="1311"/>
                    </a:lnTo>
                    <a:lnTo>
                      <a:pt x="1168" y="1313"/>
                    </a:lnTo>
                    <a:lnTo>
                      <a:pt x="1168" y="1315"/>
                    </a:lnTo>
                    <a:lnTo>
                      <a:pt x="1168" y="1316"/>
                    </a:lnTo>
                    <a:lnTo>
                      <a:pt x="1166" y="1316"/>
                    </a:lnTo>
                    <a:lnTo>
                      <a:pt x="1164" y="1315"/>
                    </a:lnTo>
                    <a:lnTo>
                      <a:pt x="1166" y="1315"/>
                    </a:lnTo>
                    <a:lnTo>
                      <a:pt x="1164" y="1315"/>
                    </a:lnTo>
                    <a:lnTo>
                      <a:pt x="1164" y="1313"/>
                    </a:lnTo>
                    <a:lnTo>
                      <a:pt x="1162" y="1313"/>
                    </a:lnTo>
                    <a:lnTo>
                      <a:pt x="1162" y="1311"/>
                    </a:lnTo>
                    <a:lnTo>
                      <a:pt x="1161" y="1311"/>
                    </a:lnTo>
                    <a:lnTo>
                      <a:pt x="1161" y="1310"/>
                    </a:lnTo>
                    <a:lnTo>
                      <a:pt x="1159" y="1310"/>
                    </a:lnTo>
                    <a:lnTo>
                      <a:pt x="1157" y="1310"/>
                    </a:lnTo>
                    <a:lnTo>
                      <a:pt x="1156" y="1310"/>
                    </a:lnTo>
                    <a:lnTo>
                      <a:pt x="1157" y="1310"/>
                    </a:lnTo>
                    <a:lnTo>
                      <a:pt x="1157" y="1308"/>
                    </a:lnTo>
                    <a:lnTo>
                      <a:pt x="1159" y="1308"/>
                    </a:lnTo>
                    <a:lnTo>
                      <a:pt x="1161" y="1308"/>
                    </a:lnTo>
                    <a:lnTo>
                      <a:pt x="1159" y="1308"/>
                    </a:lnTo>
                    <a:lnTo>
                      <a:pt x="1159" y="1306"/>
                    </a:lnTo>
                    <a:lnTo>
                      <a:pt x="1157" y="1308"/>
                    </a:lnTo>
                    <a:lnTo>
                      <a:pt x="1156" y="1310"/>
                    </a:lnTo>
                    <a:lnTo>
                      <a:pt x="1156" y="1308"/>
                    </a:lnTo>
                    <a:lnTo>
                      <a:pt x="1156" y="1306"/>
                    </a:lnTo>
                    <a:lnTo>
                      <a:pt x="1157" y="1306"/>
                    </a:lnTo>
                    <a:lnTo>
                      <a:pt x="1157" y="1305"/>
                    </a:lnTo>
                    <a:lnTo>
                      <a:pt x="1159" y="1305"/>
                    </a:lnTo>
                    <a:lnTo>
                      <a:pt x="1159" y="1303"/>
                    </a:lnTo>
                    <a:lnTo>
                      <a:pt x="1159" y="1305"/>
                    </a:lnTo>
                    <a:lnTo>
                      <a:pt x="1159" y="1303"/>
                    </a:lnTo>
                    <a:lnTo>
                      <a:pt x="1161" y="1303"/>
                    </a:lnTo>
                    <a:lnTo>
                      <a:pt x="1161" y="1305"/>
                    </a:lnTo>
                    <a:lnTo>
                      <a:pt x="1161" y="1303"/>
                    </a:lnTo>
                    <a:lnTo>
                      <a:pt x="1159" y="1303"/>
                    </a:lnTo>
                    <a:lnTo>
                      <a:pt x="1159" y="1301"/>
                    </a:lnTo>
                    <a:lnTo>
                      <a:pt x="1161" y="1301"/>
                    </a:lnTo>
                    <a:lnTo>
                      <a:pt x="1161" y="1303"/>
                    </a:lnTo>
                    <a:lnTo>
                      <a:pt x="1162" y="1303"/>
                    </a:lnTo>
                    <a:lnTo>
                      <a:pt x="1162" y="1305"/>
                    </a:lnTo>
                    <a:close/>
                    <a:moveTo>
                      <a:pt x="1208" y="1126"/>
                    </a:moveTo>
                    <a:lnTo>
                      <a:pt x="1210" y="1126"/>
                    </a:lnTo>
                    <a:lnTo>
                      <a:pt x="1212" y="1126"/>
                    </a:lnTo>
                    <a:lnTo>
                      <a:pt x="1212" y="1128"/>
                    </a:lnTo>
                    <a:lnTo>
                      <a:pt x="1212" y="1129"/>
                    </a:lnTo>
                    <a:lnTo>
                      <a:pt x="1210" y="1129"/>
                    </a:lnTo>
                    <a:lnTo>
                      <a:pt x="1210" y="1128"/>
                    </a:lnTo>
                    <a:lnTo>
                      <a:pt x="1208" y="1128"/>
                    </a:lnTo>
                    <a:lnTo>
                      <a:pt x="1210" y="1129"/>
                    </a:lnTo>
                    <a:lnTo>
                      <a:pt x="1208" y="1129"/>
                    </a:lnTo>
                    <a:lnTo>
                      <a:pt x="1210" y="1129"/>
                    </a:lnTo>
                    <a:lnTo>
                      <a:pt x="1212" y="1129"/>
                    </a:lnTo>
                    <a:lnTo>
                      <a:pt x="1210" y="1131"/>
                    </a:lnTo>
                    <a:lnTo>
                      <a:pt x="1210" y="1133"/>
                    </a:lnTo>
                    <a:lnTo>
                      <a:pt x="1210" y="1134"/>
                    </a:lnTo>
                    <a:lnTo>
                      <a:pt x="1212" y="1134"/>
                    </a:lnTo>
                    <a:lnTo>
                      <a:pt x="1212" y="1136"/>
                    </a:lnTo>
                    <a:lnTo>
                      <a:pt x="1210" y="1134"/>
                    </a:lnTo>
                    <a:lnTo>
                      <a:pt x="1208" y="1134"/>
                    </a:lnTo>
                    <a:lnTo>
                      <a:pt x="1207" y="1133"/>
                    </a:lnTo>
                    <a:lnTo>
                      <a:pt x="1208" y="1134"/>
                    </a:lnTo>
                    <a:lnTo>
                      <a:pt x="1208" y="1136"/>
                    </a:lnTo>
                    <a:lnTo>
                      <a:pt x="1210" y="1136"/>
                    </a:lnTo>
                    <a:lnTo>
                      <a:pt x="1210" y="1138"/>
                    </a:lnTo>
                    <a:lnTo>
                      <a:pt x="1210" y="1140"/>
                    </a:lnTo>
                    <a:lnTo>
                      <a:pt x="1208" y="1141"/>
                    </a:lnTo>
                    <a:lnTo>
                      <a:pt x="1208" y="1140"/>
                    </a:lnTo>
                    <a:lnTo>
                      <a:pt x="1207" y="1140"/>
                    </a:lnTo>
                    <a:lnTo>
                      <a:pt x="1207" y="1138"/>
                    </a:lnTo>
                    <a:lnTo>
                      <a:pt x="1205" y="1138"/>
                    </a:lnTo>
                    <a:lnTo>
                      <a:pt x="1205" y="1136"/>
                    </a:lnTo>
                    <a:lnTo>
                      <a:pt x="1203" y="1138"/>
                    </a:lnTo>
                    <a:lnTo>
                      <a:pt x="1203" y="1136"/>
                    </a:lnTo>
                    <a:lnTo>
                      <a:pt x="1203" y="1134"/>
                    </a:lnTo>
                    <a:lnTo>
                      <a:pt x="1203" y="1133"/>
                    </a:lnTo>
                    <a:lnTo>
                      <a:pt x="1205" y="1131"/>
                    </a:lnTo>
                    <a:lnTo>
                      <a:pt x="1205" y="1129"/>
                    </a:lnTo>
                    <a:lnTo>
                      <a:pt x="1205" y="1128"/>
                    </a:lnTo>
                    <a:lnTo>
                      <a:pt x="1207" y="1126"/>
                    </a:lnTo>
                    <a:lnTo>
                      <a:pt x="1207" y="1124"/>
                    </a:lnTo>
                    <a:lnTo>
                      <a:pt x="1207" y="1126"/>
                    </a:lnTo>
                    <a:lnTo>
                      <a:pt x="1208" y="1126"/>
                    </a:lnTo>
                    <a:close/>
                    <a:moveTo>
                      <a:pt x="1162" y="1245"/>
                    </a:moveTo>
                    <a:lnTo>
                      <a:pt x="1164" y="1245"/>
                    </a:lnTo>
                    <a:lnTo>
                      <a:pt x="1164" y="1247"/>
                    </a:lnTo>
                    <a:lnTo>
                      <a:pt x="1164" y="1248"/>
                    </a:lnTo>
                    <a:lnTo>
                      <a:pt x="1162" y="1248"/>
                    </a:lnTo>
                    <a:lnTo>
                      <a:pt x="1164" y="1248"/>
                    </a:lnTo>
                    <a:lnTo>
                      <a:pt x="1164" y="1250"/>
                    </a:lnTo>
                    <a:lnTo>
                      <a:pt x="1166" y="1250"/>
                    </a:lnTo>
                    <a:lnTo>
                      <a:pt x="1164" y="1250"/>
                    </a:lnTo>
                    <a:lnTo>
                      <a:pt x="1166" y="1250"/>
                    </a:lnTo>
                    <a:lnTo>
                      <a:pt x="1168" y="1252"/>
                    </a:lnTo>
                    <a:lnTo>
                      <a:pt x="1169" y="1252"/>
                    </a:lnTo>
                    <a:lnTo>
                      <a:pt x="1171" y="1253"/>
                    </a:lnTo>
                    <a:lnTo>
                      <a:pt x="1169" y="1255"/>
                    </a:lnTo>
                    <a:lnTo>
                      <a:pt x="1171" y="1253"/>
                    </a:lnTo>
                    <a:lnTo>
                      <a:pt x="1171" y="1255"/>
                    </a:lnTo>
                    <a:lnTo>
                      <a:pt x="1171" y="1257"/>
                    </a:lnTo>
                    <a:lnTo>
                      <a:pt x="1171" y="1255"/>
                    </a:lnTo>
                    <a:lnTo>
                      <a:pt x="1169" y="1255"/>
                    </a:lnTo>
                    <a:lnTo>
                      <a:pt x="1168" y="1255"/>
                    </a:lnTo>
                    <a:lnTo>
                      <a:pt x="1166" y="1255"/>
                    </a:lnTo>
                    <a:lnTo>
                      <a:pt x="1164" y="1253"/>
                    </a:lnTo>
                    <a:lnTo>
                      <a:pt x="1162" y="1253"/>
                    </a:lnTo>
                    <a:lnTo>
                      <a:pt x="1161" y="1253"/>
                    </a:lnTo>
                    <a:lnTo>
                      <a:pt x="1162" y="1253"/>
                    </a:lnTo>
                    <a:lnTo>
                      <a:pt x="1164" y="1253"/>
                    </a:lnTo>
                    <a:lnTo>
                      <a:pt x="1164" y="1255"/>
                    </a:lnTo>
                    <a:lnTo>
                      <a:pt x="1166" y="1255"/>
                    </a:lnTo>
                    <a:lnTo>
                      <a:pt x="1166" y="1257"/>
                    </a:lnTo>
                    <a:lnTo>
                      <a:pt x="1166" y="1255"/>
                    </a:lnTo>
                    <a:lnTo>
                      <a:pt x="1168" y="1257"/>
                    </a:lnTo>
                    <a:lnTo>
                      <a:pt x="1169" y="1257"/>
                    </a:lnTo>
                    <a:lnTo>
                      <a:pt x="1169" y="1259"/>
                    </a:lnTo>
                    <a:lnTo>
                      <a:pt x="1168" y="1260"/>
                    </a:lnTo>
                    <a:lnTo>
                      <a:pt x="1168" y="1259"/>
                    </a:lnTo>
                    <a:lnTo>
                      <a:pt x="1168" y="1257"/>
                    </a:lnTo>
                    <a:lnTo>
                      <a:pt x="1166" y="1257"/>
                    </a:lnTo>
                    <a:lnTo>
                      <a:pt x="1164" y="1257"/>
                    </a:lnTo>
                    <a:lnTo>
                      <a:pt x="1164" y="1255"/>
                    </a:lnTo>
                    <a:lnTo>
                      <a:pt x="1162" y="1255"/>
                    </a:lnTo>
                    <a:lnTo>
                      <a:pt x="1161" y="1255"/>
                    </a:lnTo>
                    <a:lnTo>
                      <a:pt x="1159" y="1255"/>
                    </a:lnTo>
                    <a:lnTo>
                      <a:pt x="1159" y="1253"/>
                    </a:lnTo>
                    <a:lnTo>
                      <a:pt x="1159" y="1255"/>
                    </a:lnTo>
                    <a:lnTo>
                      <a:pt x="1159" y="1253"/>
                    </a:lnTo>
                    <a:lnTo>
                      <a:pt x="1161" y="1253"/>
                    </a:lnTo>
                    <a:lnTo>
                      <a:pt x="1159" y="1253"/>
                    </a:lnTo>
                    <a:lnTo>
                      <a:pt x="1161" y="1253"/>
                    </a:lnTo>
                    <a:lnTo>
                      <a:pt x="1161" y="1252"/>
                    </a:lnTo>
                    <a:lnTo>
                      <a:pt x="1159" y="1252"/>
                    </a:lnTo>
                    <a:lnTo>
                      <a:pt x="1161" y="1252"/>
                    </a:lnTo>
                    <a:lnTo>
                      <a:pt x="1162" y="1252"/>
                    </a:lnTo>
                    <a:lnTo>
                      <a:pt x="1161" y="1252"/>
                    </a:lnTo>
                    <a:lnTo>
                      <a:pt x="1162" y="1250"/>
                    </a:lnTo>
                    <a:lnTo>
                      <a:pt x="1162" y="1252"/>
                    </a:lnTo>
                    <a:lnTo>
                      <a:pt x="1164" y="1252"/>
                    </a:lnTo>
                    <a:lnTo>
                      <a:pt x="1164" y="1250"/>
                    </a:lnTo>
                    <a:lnTo>
                      <a:pt x="1162" y="1250"/>
                    </a:lnTo>
                    <a:lnTo>
                      <a:pt x="1161" y="1250"/>
                    </a:lnTo>
                    <a:lnTo>
                      <a:pt x="1159" y="1250"/>
                    </a:lnTo>
                    <a:lnTo>
                      <a:pt x="1161" y="1252"/>
                    </a:lnTo>
                    <a:lnTo>
                      <a:pt x="1159" y="1252"/>
                    </a:lnTo>
                    <a:lnTo>
                      <a:pt x="1157" y="1252"/>
                    </a:lnTo>
                    <a:lnTo>
                      <a:pt x="1156" y="1252"/>
                    </a:lnTo>
                    <a:lnTo>
                      <a:pt x="1156" y="1253"/>
                    </a:lnTo>
                    <a:lnTo>
                      <a:pt x="1156" y="1252"/>
                    </a:lnTo>
                    <a:lnTo>
                      <a:pt x="1157" y="1250"/>
                    </a:lnTo>
                    <a:lnTo>
                      <a:pt x="1159" y="1250"/>
                    </a:lnTo>
                    <a:lnTo>
                      <a:pt x="1159" y="1248"/>
                    </a:lnTo>
                    <a:lnTo>
                      <a:pt x="1157" y="1250"/>
                    </a:lnTo>
                    <a:lnTo>
                      <a:pt x="1159" y="1250"/>
                    </a:lnTo>
                    <a:lnTo>
                      <a:pt x="1157" y="1250"/>
                    </a:lnTo>
                    <a:lnTo>
                      <a:pt x="1156" y="1250"/>
                    </a:lnTo>
                    <a:lnTo>
                      <a:pt x="1157" y="1250"/>
                    </a:lnTo>
                    <a:lnTo>
                      <a:pt x="1157" y="1248"/>
                    </a:lnTo>
                    <a:lnTo>
                      <a:pt x="1159" y="1248"/>
                    </a:lnTo>
                    <a:lnTo>
                      <a:pt x="1157" y="1248"/>
                    </a:lnTo>
                    <a:lnTo>
                      <a:pt x="1159" y="1248"/>
                    </a:lnTo>
                    <a:lnTo>
                      <a:pt x="1161" y="1248"/>
                    </a:lnTo>
                    <a:lnTo>
                      <a:pt x="1161" y="1247"/>
                    </a:lnTo>
                    <a:lnTo>
                      <a:pt x="1162" y="1247"/>
                    </a:lnTo>
                    <a:lnTo>
                      <a:pt x="1162" y="1245"/>
                    </a:lnTo>
                    <a:close/>
                    <a:moveTo>
                      <a:pt x="1159" y="1420"/>
                    </a:moveTo>
                    <a:lnTo>
                      <a:pt x="1159" y="1422"/>
                    </a:lnTo>
                    <a:lnTo>
                      <a:pt x="1159" y="1424"/>
                    </a:lnTo>
                    <a:lnTo>
                      <a:pt x="1159" y="1425"/>
                    </a:lnTo>
                    <a:lnTo>
                      <a:pt x="1157" y="1425"/>
                    </a:lnTo>
                    <a:lnTo>
                      <a:pt x="1159" y="1427"/>
                    </a:lnTo>
                    <a:lnTo>
                      <a:pt x="1157" y="1427"/>
                    </a:lnTo>
                    <a:lnTo>
                      <a:pt x="1157" y="1429"/>
                    </a:lnTo>
                    <a:lnTo>
                      <a:pt x="1159" y="1429"/>
                    </a:lnTo>
                    <a:lnTo>
                      <a:pt x="1157" y="1427"/>
                    </a:lnTo>
                    <a:lnTo>
                      <a:pt x="1159" y="1425"/>
                    </a:lnTo>
                    <a:lnTo>
                      <a:pt x="1159" y="1424"/>
                    </a:lnTo>
                    <a:lnTo>
                      <a:pt x="1161" y="1424"/>
                    </a:lnTo>
                    <a:lnTo>
                      <a:pt x="1161" y="1425"/>
                    </a:lnTo>
                    <a:lnTo>
                      <a:pt x="1162" y="1425"/>
                    </a:lnTo>
                    <a:lnTo>
                      <a:pt x="1162" y="1427"/>
                    </a:lnTo>
                    <a:lnTo>
                      <a:pt x="1162" y="1429"/>
                    </a:lnTo>
                    <a:lnTo>
                      <a:pt x="1162" y="1427"/>
                    </a:lnTo>
                    <a:lnTo>
                      <a:pt x="1161" y="1427"/>
                    </a:lnTo>
                    <a:lnTo>
                      <a:pt x="1162" y="1429"/>
                    </a:lnTo>
                    <a:lnTo>
                      <a:pt x="1162" y="1430"/>
                    </a:lnTo>
                    <a:lnTo>
                      <a:pt x="1161" y="1429"/>
                    </a:lnTo>
                    <a:lnTo>
                      <a:pt x="1161" y="1427"/>
                    </a:lnTo>
                    <a:lnTo>
                      <a:pt x="1161" y="1429"/>
                    </a:lnTo>
                    <a:lnTo>
                      <a:pt x="1161" y="1430"/>
                    </a:lnTo>
                    <a:lnTo>
                      <a:pt x="1161" y="1429"/>
                    </a:lnTo>
                    <a:lnTo>
                      <a:pt x="1161" y="1430"/>
                    </a:lnTo>
                    <a:lnTo>
                      <a:pt x="1159" y="1432"/>
                    </a:lnTo>
                    <a:lnTo>
                      <a:pt x="1159" y="1430"/>
                    </a:lnTo>
                    <a:lnTo>
                      <a:pt x="1159" y="1432"/>
                    </a:lnTo>
                    <a:lnTo>
                      <a:pt x="1159" y="1434"/>
                    </a:lnTo>
                    <a:lnTo>
                      <a:pt x="1159" y="1432"/>
                    </a:lnTo>
                    <a:lnTo>
                      <a:pt x="1157" y="1432"/>
                    </a:lnTo>
                    <a:lnTo>
                      <a:pt x="1159" y="1430"/>
                    </a:lnTo>
                    <a:lnTo>
                      <a:pt x="1157" y="1430"/>
                    </a:lnTo>
                    <a:lnTo>
                      <a:pt x="1157" y="1432"/>
                    </a:lnTo>
                    <a:lnTo>
                      <a:pt x="1157" y="1434"/>
                    </a:lnTo>
                    <a:lnTo>
                      <a:pt x="1157" y="1435"/>
                    </a:lnTo>
                    <a:lnTo>
                      <a:pt x="1157" y="1437"/>
                    </a:lnTo>
                    <a:lnTo>
                      <a:pt x="1157" y="1439"/>
                    </a:lnTo>
                    <a:lnTo>
                      <a:pt x="1157" y="1441"/>
                    </a:lnTo>
                    <a:lnTo>
                      <a:pt x="1156" y="1439"/>
                    </a:lnTo>
                    <a:lnTo>
                      <a:pt x="1156" y="1437"/>
                    </a:lnTo>
                    <a:lnTo>
                      <a:pt x="1156" y="1439"/>
                    </a:lnTo>
                    <a:lnTo>
                      <a:pt x="1156" y="1441"/>
                    </a:lnTo>
                    <a:lnTo>
                      <a:pt x="1156" y="1442"/>
                    </a:lnTo>
                    <a:lnTo>
                      <a:pt x="1154" y="1441"/>
                    </a:lnTo>
                    <a:lnTo>
                      <a:pt x="1152" y="1442"/>
                    </a:lnTo>
                    <a:lnTo>
                      <a:pt x="1152" y="1441"/>
                    </a:lnTo>
                    <a:lnTo>
                      <a:pt x="1151" y="1441"/>
                    </a:lnTo>
                    <a:lnTo>
                      <a:pt x="1151" y="1439"/>
                    </a:lnTo>
                    <a:lnTo>
                      <a:pt x="1152" y="1439"/>
                    </a:lnTo>
                    <a:lnTo>
                      <a:pt x="1152" y="1437"/>
                    </a:lnTo>
                    <a:lnTo>
                      <a:pt x="1151" y="1437"/>
                    </a:lnTo>
                    <a:lnTo>
                      <a:pt x="1152" y="1435"/>
                    </a:lnTo>
                    <a:lnTo>
                      <a:pt x="1152" y="1437"/>
                    </a:lnTo>
                    <a:lnTo>
                      <a:pt x="1152" y="1435"/>
                    </a:lnTo>
                    <a:lnTo>
                      <a:pt x="1154" y="1435"/>
                    </a:lnTo>
                    <a:lnTo>
                      <a:pt x="1154" y="1434"/>
                    </a:lnTo>
                    <a:lnTo>
                      <a:pt x="1154" y="1435"/>
                    </a:lnTo>
                    <a:lnTo>
                      <a:pt x="1156" y="1434"/>
                    </a:lnTo>
                    <a:lnTo>
                      <a:pt x="1156" y="1432"/>
                    </a:lnTo>
                    <a:lnTo>
                      <a:pt x="1154" y="1432"/>
                    </a:lnTo>
                    <a:lnTo>
                      <a:pt x="1156" y="1430"/>
                    </a:lnTo>
                    <a:lnTo>
                      <a:pt x="1156" y="1429"/>
                    </a:lnTo>
                    <a:lnTo>
                      <a:pt x="1157" y="1429"/>
                    </a:lnTo>
                    <a:lnTo>
                      <a:pt x="1157" y="1427"/>
                    </a:lnTo>
                    <a:lnTo>
                      <a:pt x="1156" y="1427"/>
                    </a:lnTo>
                    <a:lnTo>
                      <a:pt x="1156" y="1425"/>
                    </a:lnTo>
                    <a:lnTo>
                      <a:pt x="1156" y="1424"/>
                    </a:lnTo>
                    <a:lnTo>
                      <a:pt x="1157" y="1424"/>
                    </a:lnTo>
                    <a:lnTo>
                      <a:pt x="1157" y="1422"/>
                    </a:lnTo>
                    <a:lnTo>
                      <a:pt x="1159" y="1420"/>
                    </a:lnTo>
                    <a:close/>
                    <a:moveTo>
                      <a:pt x="1154" y="1303"/>
                    </a:moveTo>
                    <a:lnTo>
                      <a:pt x="1152" y="1303"/>
                    </a:lnTo>
                    <a:lnTo>
                      <a:pt x="1151" y="1303"/>
                    </a:lnTo>
                    <a:lnTo>
                      <a:pt x="1152" y="1305"/>
                    </a:lnTo>
                    <a:lnTo>
                      <a:pt x="1152" y="1303"/>
                    </a:lnTo>
                    <a:lnTo>
                      <a:pt x="1154" y="1303"/>
                    </a:lnTo>
                    <a:lnTo>
                      <a:pt x="1154" y="1305"/>
                    </a:lnTo>
                    <a:lnTo>
                      <a:pt x="1154" y="1306"/>
                    </a:lnTo>
                    <a:lnTo>
                      <a:pt x="1154" y="1308"/>
                    </a:lnTo>
                    <a:lnTo>
                      <a:pt x="1152" y="1308"/>
                    </a:lnTo>
                    <a:lnTo>
                      <a:pt x="1152" y="1310"/>
                    </a:lnTo>
                    <a:lnTo>
                      <a:pt x="1152" y="1308"/>
                    </a:lnTo>
                    <a:lnTo>
                      <a:pt x="1151" y="1308"/>
                    </a:lnTo>
                    <a:lnTo>
                      <a:pt x="1151" y="1310"/>
                    </a:lnTo>
                    <a:lnTo>
                      <a:pt x="1151" y="1311"/>
                    </a:lnTo>
                    <a:lnTo>
                      <a:pt x="1149" y="1311"/>
                    </a:lnTo>
                    <a:lnTo>
                      <a:pt x="1151" y="1310"/>
                    </a:lnTo>
                    <a:lnTo>
                      <a:pt x="1149" y="1310"/>
                    </a:lnTo>
                    <a:lnTo>
                      <a:pt x="1151" y="1308"/>
                    </a:lnTo>
                    <a:lnTo>
                      <a:pt x="1149" y="1310"/>
                    </a:lnTo>
                    <a:lnTo>
                      <a:pt x="1149" y="1311"/>
                    </a:lnTo>
                    <a:lnTo>
                      <a:pt x="1149" y="1310"/>
                    </a:lnTo>
                    <a:lnTo>
                      <a:pt x="1149" y="1311"/>
                    </a:lnTo>
                    <a:lnTo>
                      <a:pt x="1147" y="1310"/>
                    </a:lnTo>
                    <a:lnTo>
                      <a:pt x="1149" y="1311"/>
                    </a:lnTo>
                    <a:lnTo>
                      <a:pt x="1147" y="1311"/>
                    </a:lnTo>
                    <a:lnTo>
                      <a:pt x="1147" y="1313"/>
                    </a:lnTo>
                    <a:lnTo>
                      <a:pt x="1149" y="1313"/>
                    </a:lnTo>
                    <a:lnTo>
                      <a:pt x="1147" y="1315"/>
                    </a:lnTo>
                    <a:lnTo>
                      <a:pt x="1145" y="1315"/>
                    </a:lnTo>
                    <a:lnTo>
                      <a:pt x="1144" y="1315"/>
                    </a:lnTo>
                    <a:lnTo>
                      <a:pt x="1144" y="1313"/>
                    </a:lnTo>
                    <a:lnTo>
                      <a:pt x="1142" y="1315"/>
                    </a:lnTo>
                    <a:lnTo>
                      <a:pt x="1142" y="1313"/>
                    </a:lnTo>
                    <a:lnTo>
                      <a:pt x="1142" y="1311"/>
                    </a:lnTo>
                    <a:lnTo>
                      <a:pt x="1142" y="1313"/>
                    </a:lnTo>
                    <a:lnTo>
                      <a:pt x="1144" y="1313"/>
                    </a:lnTo>
                    <a:lnTo>
                      <a:pt x="1142" y="1311"/>
                    </a:lnTo>
                    <a:lnTo>
                      <a:pt x="1144" y="1311"/>
                    </a:lnTo>
                    <a:lnTo>
                      <a:pt x="1142" y="1311"/>
                    </a:lnTo>
                    <a:lnTo>
                      <a:pt x="1142" y="1310"/>
                    </a:lnTo>
                    <a:lnTo>
                      <a:pt x="1144" y="1308"/>
                    </a:lnTo>
                    <a:lnTo>
                      <a:pt x="1145" y="1306"/>
                    </a:lnTo>
                    <a:lnTo>
                      <a:pt x="1145" y="1308"/>
                    </a:lnTo>
                    <a:lnTo>
                      <a:pt x="1144" y="1310"/>
                    </a:lnTo>
                    <a:lnTo>
                      <a:pt x="1144" y="1311"/>
                    </a:lnTo>
                    <a:lnTo>
                      <a:pt x="1144" y="1310"/>
                    </a:lnTo>
                    <a:lnTo>
                      <a:pt x="1145" y="1310"/>
                    </a:lnTo>
                    <a:lnTo>
                      <a:pt x="1145" y="1308"/>
                    </a:lnTo>
                    <a:lnTo>
                      <a:pt x="1147" y="1308"/>
                    </a:lnTo>
                    <a:lnTo>
                      <a:pt x="1145" y="1308"/>
                    </a:lnTo>
                    <a:lnTo>
                      <a:pt x="1145" y="1306"/>
                    </a:lnTo>
                    <a:lnTo>
                      <a:pt x="1147" y="1306"/>
                    </a:lnTo>
                    <a:lnTo>
                      <a:pt x="1149" y="1305"/>
                    </a:lnTo>
                    <a:lnTo>
                      <a:pt x="1149" y="1306"/>
                    </a:lnTo>
                    <a:lnTo>
                      <a:pt x="1149" y="1305"/>
                    </a:lnTo>
                    <a:lnTo>
                      <a:pt x="1151" y="1305"/>
                    </a:lnTo>
                    <a:lnTo>
                      <a:pt x="1149" y="1305"/>
                    </a:lnTo>
                    <a:lnTo>
                      <a:pt x="1149" y="1303"/>
                    </a:lnTo>
                    <a:lnTo>
                      <a:pt x="1151" y="1301"/>
                    </a:lnTo>
                    <a:lnTo>
                      <a:pt x="1151" y="1299"/>
                    </a:lnTo>
                    <a:lnTo>
                      <a:pt x="1152" y="1299"/>
                    </a:lnTo>
                    <a:lnTo>
                      <a:pt x="1152" y="1301"/>
                    </a:lnTo>
                    <a:lnTo>
                      <a:pt x="1154" y="1301"/>
                    </a:lnTo>
                    <a:lnTo>
                      <a:pt x="1154" y="1303"/>
                    </a:lnTo>
                    <a:close/>
                    <a:moveTo>
                      <a:pt x="1212" y="1539"/>
                    </a:moveTo>
                    <a:lnTo>
                      <a:pt x="1212" y="1541"/>
                    </a:lnTo>
                    <a:lnTo>
                      <a:pt x="1213" y="1541"/>
                    </a:lnTo>
                    <a:lnTo>
                      <a:pt x="1213" y="1539"/>
                    </a:lnTo>
                    <a:lnTo>
                      <a:pt x="1215" y="1539"/>
                    </a:lnTo>
                    <a:lnTo>
                      <a:pt x="1217" y="1539"/>
                    </a:lnTo>
                    <a:lnTo>
                      <a:pt x="1217" y="1541"/>
                    </a:lnTo>
                    <a:lnTo>
                      <a:pt x="1219" y="1543"/>
                    </a:lnTo>
                    <a:lnTo>
                      <a:pt x="1217" y="1543"/>
                    </a:lnTo>
                    <a:lnTo>
                      <a:pt x="1217" y="1541"/>
                    </a:lnTo>
                    <a:lnTo>
                      <a:pt x="1217" y="1543"/>
                    </a:lnTo>
                    <a:lnTo>
                      <a:pt x="1215" y="1543"/>
                    </a:lnTo>
                    <a:lnTo>
                      <a:pt x="1215" y="1544"/>
                    </a:lnTo>
                    <a:lnTo>
                      <a:pt x="1213" y="1544"/>
                    </a:lnTo>
                    <a:lnTo>
                      <a:pt x="1213" y="1546"/>
                    </a:lnTo>
                    <a:lnTo>
                      <a:pt x="1215" y="1546"/>
                    </a:lnTo>
                    <a:lnTo>
                      <a:pt x="1213" y="1544"/>
                    </a:lnTo>
                    <a:lnTo>
                      <a:pt x="1215" y="1544"/>
                    </a:lnTo>
                    <a:lnTo>
                      <a:pt x="1217" y="1546"/>
                    </a:lnTo>
                    <a:lnTo>
                      <a:pt x="1217" y="1548"/>
                    </a:lnTo>
                    <a:lnTo>
                      <a:pt x="1219" y="1548"/>
                    </a:lnTo>
                    <a:lnTo>
                      <a:pt x="1217" y="1548"/>
                    </a:lnTo>
                    <a:lnTo>
                      <a:pt x="1219" y="1549"/>
                    </a:lnTo>
                    <a:lnTo>
                      <a:pt x="1217" y="1548"/>
                    </a:lnTo>
                    <a:lnTo>
                      <a:pt x="1217" y="1549"/>
                    </a:lnTo>
                    <a:lnTo>
                      <a:pt x="1219" y="1549"/>
                    </a:lnTo>
                    <a:lnTo>
                      <a:pt x="1219" y="1551"/>
                    </a:lnTo>
                    <a:lnTo>
                      <a:pt x="1217" y="1551"/>
                    </a:lnTo>
                    <a:lnTo>
                      <a:pt x="1215" y="1549"/>
                    </a:lnTo>
                    <a:lnTo>
                      <a:pt x="1215" y="1551"/>
                    </a:lnTo>
                    <a:lnTo>
                      <a:pt x="1213" y="1551"/>
                    </a:lnTo>
                    <a:lnTo>
                      <a:pt x="1213" y="1549"/>
                    </a:lnTo>
                    <a:lnTo>
                      <a:pt x="1212" y="1548"/>
                    </a:lnTo>
                    <a:lnTo>
                      <a:pt x="1213" y="1549"/>
                    </a:lnTo>
                    <a:lnTo>
                      <a:pt x="1212" y="1549"/>
                    </a:lnTo>
                    <a:lnTo>
                      <a:pt x="1213" y="1551"/>
                    </a:lnTo>
                    <a:lnTo>
                      <a:pt x="1212" y="1551"/>
                    </a:lnTo>
                    <a:lnTo>
                      <a:pt x="1210" y="1551"/>
                    </a:lnTo>
                    <a:lnTo>
                      <a:pt x="1212" y="1549"/>
                    </a:lnTo>
                    <a:lnTo>
                      <a:pt x="1210" y="1549"/>
                    </a:lnTo>
                    <a:lnTo>
                      <a:pt x="1212" y="1549"/>
                    </a:lnTo>
                    <a:lnTo>
                      <a:pt x="1210" y="1549"/>
                    </a:lnTo>
                    <a:lnTo>
                      <a:pt x="1208" y="1548"/>
                    </a:lnTo>
                    <a:lnTo>
                      <a:pt x="1208" y="1549"/>
                    </a:lnTo>
                    <a:lnTo>
                      <a:pt x="1210" y="1549"/>
                    </a:lnTo>
                    <a:lnTo>
                      <a:pt x="1208" y="1549"/>
                    </a:lnTo>
                    <a:lnTo>
                      <a:pt x="1207" y="1548"/>
                    </a:lnTo>
                    <a:lnTo>
                      <a:pt x="1208" y="1546"/>
                    </a:lnTo>
                    <a:lnTo>
                      <a:pt x="1207" y="1546"/>
                    </a:lnTo>
                    <a:lnTo>
                      <a:pt x="1205" y="1548"/>
                    </a:lnTo>
                    <a:lnTo>
                      <a:pt x="1205" y="1546"/>
                    </a:lnTo>
                    <a:lnTo>
                      <a:pt x="1205" y="1544"/>
                    </a:lnTo>
                    <a:lnTo>
                      <a:pt x="1203" y="1544"/>
                    </a:lnTo>
                    <a:lnTo>
                      <a:pt x="1205" y="1544"/>
                    </a:lnTo>
                    <a:lnTo>
                      <a:pt x="1203" y="1544"/>
                    </a:lnTo>
                    <a:lnTo>
                      <a:pt x="1203" y="1543"/>
                    </a:lnTo>
                    <a:lnTo>
                      <a:pt x="1203" y="1541"/>
                    </a:lnTo>
                    <a:lnTo>
                      <a:pt x="1205" y="1543"/>
                    </a:lnTo>
                    <a:lnTo>
                      <a:pt x="1207" y="1544"/>
                    </a:lnTo>
                    <a:lnTo>
                      <a:pt x="1207" y="1546"/>
                    </a:lnTo>
                    <a:lnTo>
                      <a:pt x="1207" y="1544"/>
                    </a:lnTo>
                    <a:lnTo>
                      <a:pt x="1207" y="1546"/>
                    </a:lnTo>
                    <a:lnTo>
                      <a:pt x="1208" y="1546"/>
                    </a:lnTo>
                    <a:lnTo>
                      <a:pt x="1208" y="1544"/>
                    </a:lnTo>
                    <a:lnTo>
                      <a:pt x="1208" y="1546"/>
                    </a:lnTo>
                    <a:lnTo>
                      <a:pt x="1210" y="1546"/>
                    </a:lnTo>
                    <a:lnTo>
                      <a:pt x="1212" y="1546"/>
                    </a:lnTo>
                    <a:lnTo>
                      <a:pt x="1210" y="1548"/>
                    </a:lnTo>
                    <a:lnTo>
                      <a:pt x="1212" y="1548"/>
                    </a:lnTo>
                    <a:lnTo>
                      <a:pt x="1213" y="1548"/>
                    </a:lnTo>
                    <a:lnTo>
                      <a:pt x="1213" y="1549"/>
                    </a:lnTo>
                    <a:lnTo>
                      <a:pt x="1215" y="1549"/>
                    </a:lnTo>
                    <a:lnTo>
                      <a:pt x="1213" y="1548"/>
                    </a:lnTo>
                    <a:lnTo>
                      <a:pt x="1212" y="1548"/>
                    </a:lnTo>
                    <a:lnTo>
                      <a:pt x="1212" y="1546"/>
                    </a:lnTo>
                    <a:lnTo>
                      <a:pt x="1210" y="1546"/>
                    </a:lnTo>
                    <a:lnTo>
                      <a:pt x="1210" y="1544"/>
                    </a:lnTo>
                    <a:lnTo>
                      <a:pt x="1208" y="1544"/>
                    </a:lnTo>
                    <a:lnTo>
                      <a:pt x="1208" y="1543"/>
                    </a:lnTo>
                    <a:lnTo>
                      <a:pt x="1210" y="1544"/>
                    </a:lnTo>
                    <a:lnTo>
                      <a:pt x="1210" y="1543"/>
                    </a:lnTo>
                    <a:lnTo>
                      <a:pt x="1212" y="1544"/>
                    </a:lnTo>
                    <a:lnTo>
                      <a:pt x="1213" y="1544"/>
                    </a:lnTo>
                    <a:lnTo>
                      <a:pt x="1212" y="1543"/>
                    </a:lnTo>
                    <a:lnTo>
                      <a:pt x="1213" y="1543"/>
                    </a:lnTo>
                    <a:lnTo>
                      <a:pt x="1212" y="1543"/>
                    </a:lnTo>
                    <a:lnTo>
                      <a:pt x="1210" y="1543"/>
                    </a:lnTo>
                    <a:lnTo>
                      <a:pt x="1210" y="1541"/>
                    </a:lnTo>
                    <a:lnTo>
                      <a:pt x="1210" y="1539"/>
                    </a:lnTo>
                    <a:lnTo>
                      <a:pt x="1212" y="1539"/>
                    </a:lnTo>
                    <a:close/>
                    <a:moveTo>
                      <a:pt x="1191" y="1097"/>
                    </a:moveTo>
                    <a:lnTo>
                      <a:pt x="1193" y="1099"/>
                    </a:lnTo>
                    <a:lnTo>
                      <a:pt x="1195" y="1099"/>
                    </a:lnTo>
                    <a:lnTo>
                      <a:pt x="1196" y="1099"/>
                    </a:lnTo>
                    <a:lnTo>
                      <a:pt x="1198" y="1099"/>
                    </a:lnTo>
                    <a:lnTo>
                      <a:pt x="1198" y="1100"/>
                    </a:lnTo>
                    <a:lnTo>
                      <a:pt x="1200" y="1102"/>
                    </a:lnTo>
                    <a:lnTo>
                      <a:pt x="1200" y="1104"/>
                    </a:lnTo>
                    <a:lnTo>
                      <a:pt x="1198" y="1104"/>
                    </a:lnTo>
                    <a:lnTo>
                      <a:pt x="1196" y="1104"/>
                    </a:lnTo>
                    <a:lnTo>
                      <a:pt x="1195" y="1104"/>
                    </a:lnTo>
                    <a:lnTo>
                      <a:pt x="1195" y="1102"/>
                    </a:lnTo>
                    <a:lnTo>
                      <a:pt x="1195" y="1104"/>
                    </a:lnTo>
                    <a:lnTo>
                      <a:pt x="1193" y="1102"/>
                    </a:lnTo>
                    <a:lnTo>
                      <a:pt x="1195" y="1102"/>
                    </a:lnTo>
                    <a:lnTo>
                      <a:pt x="1195" y="1104"/>
                    </a:lnTo>
                    <a:lnTo>
                      <a:pt x="1195" y="1105"/>
                    </a:lnTo>
                    <a:lnTo>
                      <a:pt x="1193" y="1104"/>
                    </a:lnTo>
                    <a:lnTo>
                      <a:pt x="1193" y="1105"/>
                    </a:lnTo>
                    <a:lnTo>
                      <a:pt x="1191" y="1105"/>
                    </a:lnTo>
                    <a:lnTo>
                      <a:pt x="1191" y="1104"/>
                    </a:lnTo>
                    <a:lnTo>
                      <a:pt x="1190" y="1104"/>
                    </a:lnTo>
                    <a:lnTo>
                      <a:pt x="1190" y="1105"/>
                    </a:lnTo>
                    <a:lnTo>
                      <a:pt x="1188" y="1105"/>
                    </a:lnTo>
                    <a:lnTo>
                      <a:pt x="1186" y="1105"/>
                    </a:lnTo>
                    <a:lnTo>
                      <a:pt x="1185" y="1105"/>
                    </a:lnTo>
                    <a:lnTo>
                      <a:pt x="1185" y="1104"/>
                    </a:lnTo>
                    <a:lnTo>
                      <a:pt x="1183" y="1104"/>
                    </a:lnTo>
                    <a:lnTo>
                      <a:pt x="1185" y="1104"/>
                    </a:lnTo>
                    <a:lnTo>
                      <a:pt x="1186" y="1102"/>
                    </a:lnTo>
                    <a:lnTo>
                      <a:pt x="1188" y="1100"/>
                    </a:lnTo>
                    <a:lnTo>
                      <a:pt x="1188" y="1099"/>
                    </a:lnTo>
                    <a:lnTo>
                      <a:pt x="1190" y="1099"/>
                    </a:lnTo>
                    <a:lnTo>
                      <a:pt x="1191" y="1097"/>
                    </a:lnTo>
                    <a:close/>
                    <a:moveTo>
                      <a:pt x="1174" y="1449"/>
                    </a:moveTo>
                    <a:lnTo>
                      <a:pt x="1174" y="1451"/>
                    </a:lnTo>
                    <a:lnTo>
                      <a:pt x="1174" y="1453"/>
                    </a:lnTo>
                    <a:lnTo>
                      <a:pt x="1176" y="1453"/>
                    </a:lnTo>
                    <a:lnTo>
                      <a:pt x="1174" y="1453"/>
                    </a:lnTo>
                    <a:lnTo>
                      <a:pt x="1174" y="1454"/>
                    </a:lnTo>
                    <a:lnTo>
                      <a:pt x="1173" y="1454"/>
                    </a:lnTo>
                    <a:lnTo>
                      <a:pt x="1173" y="1456"/>
                    </a:lnTo>
                    <a:lnTo>
                      <a:pt x="1174" y="1456"/>
                    </a:lnTo>
                    <a:lnTo>
                      <a:pt x="1174" y="1454"/>
                    </a:lnTo>
                    <a:lnTo>
                      <a:pt x="1176" y="1454"/>
                    </a:lnTo>
                    <a:lnTo>
                      <a:pt x="1176" y="1453"/>
                    </a:lnTo>
                    <a:lnTo>
                      <a:pt x="1176" y="1454"/>
                    </a:lnTo>
                    <a:lnTo>
                      <a:pt x="1176" y="1456"/>
                    </a:lnTo>
                    <a:lnTo>
                      <a:pt x="1176" y="1454"/>
                    </a:lnTo>
                    <a:lnTo>
                      <a:pt x="1176" y="1453"/>
                    </a:lnTo>
                    <a:lnTo>
                      <a:pt x="1176" y="1454"/>
                    </a:lnTo>
                    <a:lnTo>
                      <a:pt x="1176" y="1456"/>
                    </a:lnTo>
                    <a:lnTo>
                      <a:pt x="1176" y="1458"/>
                    </a:lnTo>
                    <a:lnTo>
                      <a:pt x="1174" y="1458"/>
                    </a:lnTo>
                    <a:lnTo>
                      <a:pt x="1173" y="1458"/>
                    </a:lnTo>
                    <a:lnTo>
                      <a:pt x="1174" y="1459"/>
                    </a:lnTo>
                    <a:lnTo>
                      <a:pt x="1173" y="1461"/>
                    </a:lnTo>
                    <a:lnTo>
                      <a:pt x="1173" y="1463"/>
                    </a:lnTo>
                    <a:lnTo>
                      <a:pt x="1173" y="1461"/>
                    </a:lnTo>
                    <a:lnTo>
                      <a:pt x="1173" y="1463"/>
                    </a:lnTo>
                    <a:lnTo>
                      <a:pt x="1173" y="1461"/>
                    </a:lnTo>
                    <a:lnTo>
                      <a:pt x="1174" y="1461"/>
                    </a:lnTo>
                    <a:lnTo>
                      <a:pt x="1174" y="1463"/>
                    </a:lnTo>
                    <a:lnTo>
                      <a:pt x="1173" y="1463"/>
                    </a:lnTo>
                    <a:lnTo>
                      <a:pt x="1173" y="1464"/>
                    </a:lnTo>
                    <a:lnTo>
                      <a:pt x="1173" y="1466"/>
                    </a:lnTo>
                    <a:lnTo>
                      <a:pt x="1173" y="1464"/>
                    </a:lnTo>
                    <a:lnTo>
                      <a:pt x="1171" y="1466"/>
                    </a:lnTo>
                    <a:lnTo>
                      <a:pt x="1173" y="1466"/>
                    </a:lnTo>
                    <a:lnTo>
                      <a:pt x="1171" y="1466"/>
                    </a:lnTo>
                    <a:lnTo>
                      <a:pt x="1171" y="1468"/>
                    </a:lnTo>
                    <a:lnTo>
                      <a:pt x="1169" y="1468"/>
                    </a:lnTo>
                    <a:lnTo>
                      <a:pt x="1169" y="1470"/>
                    </a:lnTo>
                    <a:lnTo>
                      <a:pt x="1169" y="1471"/>
                    </a:lnTo>
                    <a:lnTo>
                      <a:pt x="1168" y="1471"/>
                    </a:lnTo>
                    <a:lnTo>
                      <a:pt x="1168" y="1470"/>
                    </a:lnTo>
                    <a:lnTo>
                      <a:pt x="1166" y="1470"/>
                    </a:lnTo>
                    <a:lnTo>
                      <a:pt x="1168" y="1468"/>
                    </a:lnTo>
                    <a:lnTo>
                      <a:pt x="1168" y="1466"/>
                    </a:lnTo>
                    <a:lnTo>
                      <a:pt x="1169" y="1466"/>
                    </a:lnTo>
                    <a:lnTo>
                      <a:pt x="1169" y="1464"/>
                    </a:lnTo>
                    <a:lnTo>
                      <a:pt x="1171" y="1464"/>
                    </a:lnTo>
                    <a:lnTo>
                      <a:pt x="1169" y="1464"/>
                    </a:lnTo>
                    <a:lnTo>
                      <a:pt x="1169" y="1463"/>
                    </a:lnTo>
                    <a:lnTo>
                      <a:pt x="1169" y="1464"/>
                    </a:lnTo>
                    <a:lnTo>
                      <a:pt x="1168" y="1464"/>
                    </a:lnTo>
                    <a:lnTo>
                      <a:pt x="1169" y="1464"/>
                    </a:lnTo>
                    <a:lnTo>
                      <a:pt x="1168" y="1464"/>
                    </a:lnTo>
                    <a:lnTo>
                      <a:pt x="1169" y="1463"/>
                    </a:lnTo>
                    <a:lnTo>
                      <a:pt x="1169" y="1461"/>
                    </a:lnTo>
                    <a:lnTo>
                      <a:pt x="1171" y="1459"/>
                    </a:lnTo>
                    <a:lnTo>
                      <a:pt x="1169" y="1461"/>
                    </a:lnTo>
                    <a:lnTo>
                      <a:pt x="1169" y="1459"/>
                    </a:lnTo>
                    <a:lnTo>
                      <a:pt x="1169" y="1458"/>
                    </a:lnTo>
                    <a:lnTo>
                      <a:pt x="1171" y="1458"/>
                    </a:lnTo>
                    <a:lnTo>
                      <a:pt x="1171" y="1456"/>
                    </a:lnTo>
                    <a:lnTo>
                      <a:pt x="1171" y="1454"/>
                    </a:lnTo>
                    <a:lnTo>
                      <a:pt x="1171" y="1453"/>
                    </a:lnTo>
                    <a:lnTo>
                      <a:pt x="1173" y="1454"/>
                    </a:lnTo>
                    <a:lnTo>
                      <a:pt x="1173" y="1453"/>
                    </a:lnTo>
                    <a:lnTo>
                      <a:pt x="1173" y="1454"/>
                    </a:lnTo>
                    <a:lnTo>
                      <a:pt x="1173" y="1453"/>
                    </a:lnTo>
                    <a:lnTo>
                      <a:pt x="1173" y="1454"/>
                    </a:lnTo>
                    <a:lnTo>
                      <a:pt x="1173" y="1453"/>
                    </a:lnTo>
                    <a:lnTo>
                      <a:pt x="1171" y="1453"/>
                    </a:lnTo>
                    <a:lnTo>
                      <a:pt x="1173" y="1451"/>
                    </a:lnTo>
                    <a:lnTo>
                      <a:pt x="1174" y="1449"/>
                    </a:lnTo>
                    <a:close/>
                    <a:moveTo>
                      <a:pt x="1186" y="1075"/>
                    </a:moveTo>
                    <a:lnTo>
                      <a:pt x="1188" y="1075"/>
                    </a:lnTo>
                    <a:lnTo>
                      <a:pt x="1188" y="1077"/>
                    </a:lnTo>
                    <a:lnTo>
                      <a:pt x="1190" y="1078"/>
                    </a:lnTo>
                    <a:lnTo>
                      <a:pt x="1190" y="1080"/>
                    </a:lnTo>
                    <a:lnTo>
                      <a:pt x="1188" y="1080"/>
                    </a:lnTo>
                    <a:lnTo>
                      <a:pt x="1186" y="1080"/>
                    </a:lnTo>
                    <a:lnTo>
                      <a:pt x="1185" y="1080"/>
                    </a:lnTo>
                    <a:lnTo>
                      <a:pt x="1186" y="1080"/>
                    </a:lnTo>
                    <a:lnTo>
                      <a:pt x="1188" y="1080"/>
                    </a:lnTo>
                    <a:lnTo>
                      <a:pt x="1190" y="1080"/>
                    </a:lnTo>
                    <a:lnTo>
                      <a:pt x="1190" y="1078"/>
                    </a:lnTo>
                    <a:lnTo>
                      <a:pt x="1191" y="1080"/>
                    </a:lnTo>
                    <a:lnTo>
                      <a:pt x="1191" y="1082"/>
                    </a:lnTo>
                    <a:lnTo>
                      <a:pt x="1191" y="1080"/>
                    </a:lnTo>
                    <a:lnTo>
                      <a:pt x="1191" y="1082"/>
                    </a:lnTo>
                    <a:lnTo>
                      <a:pt x="1193" y="1083"/>
                    </a:lnTo>
                    <a:lnTo>
                      <a:pt x="1191" y="1083"/>
                    </a:lnTo>
                    <a:lnTo>
                      <a:pt x="1190" y="1083"/>
                    </a:lnTo>
                    <a:lnTo>
                      <a:pt x="1188" y="1083"/>
                    </a:lnTo>
                    <a:lnTo>
                      <a:pt x="1186" y="1083"/>
                    </a:lnTo>
                    <a:lnTo>
                      <a:pt x="1185" y="1083"/>
                    </a:lnTo>
                    <a:lnTo>
                      <a:pt x="1185" y="1082"/>
                    </a:lnTo>
                    <a:lnTo>
                      <a:pt x="1185" y="1080"/>
                    </a:lnTo>
                    <a:lnTo>
                      <a:pt x="1183" y="1080"/>
                    </a:lnTo>
                    <a:lnTo>
                      <a:pt x="1181" y="1080"/>
                    </a:lnTo>
                    <a:lnTo>
                      <a:pt x="1183" y="1080"/>
                    </a:lnTo>
                    <a:lnTo>
                      <a:pt x="1183" y="1082"/>
                    </a:lnTo>
                    <a:lnTo>
                      <a:pt x="1185" y="1083"/>
                    </a:lnTo>
                    <a:lnTo>
                      <a:pt x="1183" y="1083"/>
                    </a:lnTo>
                    <a:lnTo>
                      <a:pt x="1183" y="1082"/>
                    </a:lnTo>
                    <a:lnTo>
                      <a:pt x="1183" y="1083"/>
                    </a:lnTo>
                    <a:lnTo>
                      <a:pt x="1183" y="1082"/>
                    </a:lnTo>
                    <a:lnTo>
                      <a:pt x="1183" y="1083"/>
                    </a:lnTo>
                    <a:lnTo>
                      <a:pt x="1183" y="1082"/>
                    </a:lnTo>
                    <a:lnTo>
                      <a:pt x="1181" y="1082"/>
                    </a:lnTo>
                    <a:lnTo>
                      <a:pt x="1179" y="1082"/>
                    </a:lnTo>
                    <a:lnTo>
                      <a:pt x="1178" y="1080"/>
                    </a:lnTo>
                    <a:lnTo>
                      <a:pt x="1178" y="1078"/>
                    </a:lnTo>
                    <a:lnTo>
                      <a:pt x="1179" y="1077"/>
                    </a:lnTo>
                    <a:lnTo>
                      <a:pt x="1181" y="1077"/>
                    </a:lnTo>
                    <a:lnTo>
                      <a:pt x="1183" y="1077"/>
                    </a:lnTo>
                    <a:lnTo>
                      <a:pt x="1183" y="1078"/>
                    </a:lnTo>
                    <a:lnTo>
                      <a:pt x="1185" y="1077"/>
                    </a:lnTo>
                    <a:lnTo>
                      <a:pt x="1186" y="1075"/>
                    </a:lnTo>
                    <a:close/>
                    <a:moveTo>
                      <a:pt x="1169" y="1390"/>
                    </a:moveTo>
                    <a:lnTo>
                      <a:pt x="1169" y="1391"/>
                    </a:lnTo>
                    <a:lnTo>
                      <a:pt x="1171" y="1390"/>
                    </a:lnTo>
                    <a:lnTo>
                      <a:pt x="1171" y="1391"/>
                    </a:lnTo>
                    <a:lnTo>
                      <a:pt x="1173" y="1391"/>
                    </a:lnTo>
                    <a:lnTo>
                      <a:pt x="1171" y="1393"/>
                    </a:lnTo>
                    <a:lnTo>
                      <a:pt x="1171" y="1391"/>
                    </a:lnTo>
                    <a:lnTo>
                      <a:pt x="1171" y="1393"/>
                    </a:lnTo>
                    <a:lnTo>
                      <a:pt x="1171" y="1395"/>
                    </a:lnTo>
                    <a:lnTo>
                      <a:pt x="1169" y="1393"/>
                    </a:lnTo>
                    <a:lnTo>
                      <a:pt x="1169" y="1395"/>
                    </a:lnTo>
                    <a:lnTo>
                      <a:pt x="1171" y="1395"/>
                    </a:lnTo>
                    <a:lnTo>
                      <a:pt x="1169" y="1395"/>
                    </a:lnTo>
                    <a:lnTo>
                      <a:pt x="1171" y="1396"/>
                    </a:lnTo>
                    <a:lnTo>
                      <a:pt x="1171" y="1395"/>
                    </a:lnTo>
                    <a:lnTo>
                      <a:pt x="1173" y="1396"/>
                    </a:lnTo>
                    <a:lnTo>
                      <a:pt x="1173" y="1398"/>
                    </a:lnTo>
                    <a:lnTo>
                      <a:pt x="1171" y="1398"/>
                    </a:lnTo>
                    <a:lnTo>
                      <a:pt x="1169" y="1398"/>
                    </a:lnTo>
                    <a:lnTo>
                      <a:pt x="1171" y="1398"/>
                    </a:lnTo>
                    <a:lnTo>
                      <a:pt x="1173" y="1398"/>
                    </a:lnTo>
                    <a:lnTo>
                      <a:pt x="1171" y="1400"/>
                    </a:lnTo>
                    <a:lnTo>
                      <a:pt x="1173" y="1400"/>
                    </a:lnTo>
                    <a:lnTo>
                      <a:pt x="1173" y="1401"/>
                    </a:lnTo>
                    <a:lnTo>
                      <a:pt x="1173" y="1400"/>
                    </a:lnTo>
                    <a:lnTo>
                      <a:pt x="1173" y="1398"/>
                    </a:lnTo>
                    <a:lnTo>
                      <a:pt x="1173" y="1396"/>
                    </a:lnTo>
                    <a:lnTo>
                      <a:pt x="1174" y="1398"/>
                    </a:lnTo>
                    <a:lnTo>
                      <a:pt x="1174" y="1400"/>
                    </a:lnTo>
                    <a:lnTo>
                      <a:pt x="1174" y="1401"/>
                    </a:lnTo>
                    <a:lnTo>
                      <a:pt x="1173" y="1401"/>
                    </a:lnTo>
                    <a:lnTo>
                      <a:pt x="1173" y="1403"/>
                    </a:lnTo>
                    <a:lnTo>
                      <a:pt x="1171" y="1403"/>
                    </a:lnTo>
                    <a:lnTo>
                      <a:pt x="1171" y="1401"/>
                    </a:lnTo>
                    <a:lnTo>
                      <a:pt x="1169" y="1401"/>
                    </a:lnTo>
                    <a:lnTo>
                      <a:pt x="1168" y="1401"/>
                    </a:lnTo>
                    <a:lnTo>
                      <a:pt x="1166" y="1400"/>
                    </a:lnTo>
                    <a:lnTo>
                      <a:pt x="1168" y="1400"/>
                    </a:lnTo>
                    <a:lnTo>
                      <a:pt x="1166" y="1400"/>
                    </a:lnTo>
                    <a:lnTo>
                      <a:pt x="1164" y="1400"/>
                    </a:lnTo>
                    <a:lnTo>
                      <a:pt x="1164" y="1398"/>
                    </a:lnTo>
                    <a:lnTo>
                      <a:pt x="1166" y="1398"/>
                    </a:lnTo>
                    <a:lnTo>
                      <a:pt x="1168" y="1400"/>
                    </a:lnTo>
                    <a:lnTo>
                      <a:pt x="1166" y="1398"/>
                    </a:lnTo>
                    <a:lnTo>
                      <a:pt x="1168" y="1398"/>
                    </a:lnTo>
                    <a:lnTo>
                      <a:pt x="1166" y="1398"/>
                    </a:lnTo>
                    <a:lnTo>
                      <a:pt x="1168" y="1398"/>
                    </a:lnTo>
                    <a:lnTo>
                      <a:pt x="1166" y="1398"/>
                    </a:lnTo>
                    <a:lnTo>
                      <a:pt x="1164" y="1396"/>
                    </a:lnTo>
                    <a:lnTo>
                      <a:pt x="1166" y="1396"/>
                    </a:lnTo>
                    <a:lnTo>
                      <a:pt x="1166" y="1398"/>
                    </a:lnTo>
                    <a:lnTo>
                      <a:pt x="1168" y="1398"/>
                    </a:lnTo>
                    <a:lnTo>
                      <a:pt x="1168" y="1396"/>
                    </a:lnTo>
                    <a:lnTo>
                      <a:pt x="1166" y="1396"/>
                    </a:lnTo>
                    <a:lnTo>
                      <a:pt x="1164" y="1396"/>
                    </a:lnTo>
                    <a:lnTo>
                      <a:pt x="1164" y="1395"/>
                    </a:lnTo>
                    <a:lnTo>
                      <a:pt x="1166" y="1396"/>
                    </a:lnTo>
                    <a:lnTo>
                      <a:pt x="1168" y="1396"/>
                    </a:lnTo>
                    <a:lnTo>
                      <a:pt x="1166" y="1396"/>
                    </a:lnTo>
                    <a:lnTo>
                      <a:pt x="1166" y="1395"/>
                    </a:lnTo>
                    <a:lnTo>
                      <a:pt x="1164" y="1395"/>
                    </a:lnTo>
                    <a:lnTo>
                      <a:pt x="1166" y="1395"/>
                    </a:lnTo>
                    <a:lnTo>
                      <a:pt x="1164" y="1395"/>
                    </a:lnTo>
                    <a:lnTo>
                      <a:pt x="1164" y="1393"/>
                    </a:lnTo>
                    <a:lnTo>
                      <a:pt x="1166" y="1393"/>
                    </a:lnTo>
                    <a:lnTo>
                      <a:pt x="1168" y="1393"/>
                    </a:lnTo>
                    <a:lnTo>
                      <a:pt x="1168" y="1395"/>
                    </a:lnTo>
                    <a:lnTo>
                      <a:pt x="1166" y="1393"/>
                    </a:lnTo>
                    <a:lnTo>
                      <a:pt x="1168" y="1395"/>
                    </a:lnTo>
                    <a:lnTo>
                      <a:pt x="1169" y="1393"/>
                    </a:lnTo>
                    <a:lnTo>
                      <a:pt x="1168" y="1393"/>
                    </a:lnTo>
                    <a:lnTo>
                      <a:pt x="1168" y="1391"/>
                    </a:lnTo>
                    <a:lnTo>
                      <a:pt x="1166" y="1391"/>
                    </a:lnTo>
                    <a:lnTo>
                      <a:pt x="1164" y="1391"/>
                    </a:lnTo>
                    <a:lnTo>
                      <a:pt x="1164" y="1390"/>
                    </a:lnTo>
                    <a:lnTo>
                      <a:pt x="1166" y="1391"/>
                    </a:lnTo>
                    <a:lnTo>
                      <a:pt x="1166" y="1390"/>
                    </a:lnTo>
                    <a:lnTo>
                      <a:pt x="1168" y="1390"/>
                    </a:lnTo>
                    <a:lnTo>
                      <a:pt x="1168" y="1391"/>
                    </a:lnTo>
                    <a:lnTo>
                      <a:pt x="1169" y="1391"/>
                    </a:lnTo>
                    <a:lnTo>
                      <a:pt x="1169" y="1393"/>
                    </a:lnTo>
                    <a:lnTo>
                      <a:pt x="1169" y="1391"/>
                    </a:lnTo>
                    <a:lnTo>
                      <a:pt x="1168" y="1390"/>
                    </a:lnTo>
                    <a:lnTo>
                      <a:pt x="1169" y="1390"/>
                    </a:lnTo>
                    <a:close/>
                    <a:moveTo>
                      <a:pt x="1195" y="1114"/>
                    </a:moveTo>
                    <a:lnTo>
                      <a:pt x="1196" y="1114"/>
                    </a:lnTo>
                    <a:lnTo>
                      <a:pt x="1195" y="1114"/>
                    </a:lnTo>
                    <a:lnTo>
                      <a:pt x="1196" y="1116"/>
                    </a:lnTo>
                    <a:lnTo>
                      <a:pt x="1196" y="1117"/>
                    </a:lnTo>
                    <a:lnTo>
                      <a:pt x="1198" y="1117"/>
                    </a:lnTo>
                    <a:lnTo>
                      <a:pt x="1200" y="1117"/>
                    </a:lnTo>
                    <a:lnTo>
                      <a:pt x="1202" y="1116"/>
                    </a:lnTo>
                    <a:lnTo>
                      <a:pt x="1203" y="1116"/>
                    </a:lnTo>
                    <a:lnTo>
                      <a:pt x="1203" y="1117"/>
                    </a:lnTo>
                    <a:lnTo>
                      <a:pt x="1203" y="1119"/>
                    </a:lnTo>
                    <a:lnTo>
                      <a:pt x="1205" y="1119"/>
                    </a:lnTo>
                    <a:lnTo>
                      <a:pt x="1205" y="1121"/>
                    </a:lnTo>
                    <a:lnTo>
                      <a:pt x="1205" y="1122"/>
                    </a:lnTo>
                    <a:lnTo>
                      <a:pt x="1203" y="1121"/>
                    </a:lnTo>
                    <a:lnTo>
                      <a:pt x="1203" y="1122"/>
                    </a:lnTo>
                    <a:lnTo>
                      <a:pt x="1203" y="1121"/>
                    </a:lnTo>
                    <a:lnTo>
                      <a:pt x="1202" y="1122"/>
                    </a:lnTo>
                    <a:lnTo>
                      <a:pt x="1202" y="1121"/>
                    </a:lnTo>
                    <a:lnTo>
                      <a:pt x="1200" y="1121"/>
                    </a:lnTo>
                    <a:lnTo>
                      <a:pt x="1200" y="1122"/>
                    </a:lnTo>
                    <a:lnTo>
                      <a:pt x="1198" y="1122"/>
                    </a:lnTo>
                    <a:lnTo>
                      <a:pt x="1200" y="1121"/>
                    </a:lnTo>
                    <a:lnTo>
                      <a:pt x="1198" y="1122"/>
                    </a:lnTo>
                    <a:lnTo>
                      <a:pt x="1196" y="1122"/>
                    </a:lnTo>
                    <a:lnTo>
                      <a:pt x="1196" y="1121"/>
                    </a:lnTo>
                    <a:lnTo>
                      <a:pt x="1195" y="1121"/>
                    </a:lnTo>
                    <a:lnTo>
                      <a:pt x="1193" y="1121"/>
                    </a:lnTo>
                    <a:lnTo>
                      <a:pt x="1193" y="1119"/>
                    </a:lnTo>
                    <a:lnTo>
                      <a:pt x="1193" y="1121"/>
                    </a:lnTo>
                    <a:lnTo>
                      <a:pt x="1193" y="1122"/>
                    </a:lnTo>
                    <a:lnTo>
                      <a:pt x="1193" y="1121"/>
                    </a:lnTo>
                    <a:lnTo>
                      <a:pt x="1193" y="1119"/>
                    </a:lnTo>
                    <a:lnTo>
                      <a:pt x="1191" y="1121"/>
                    </a:lnTo>
                    <a:lnTo>
                      <a:pt x="1193" y="1119"/>
                    </a:lnTo>
                    <a:lnTo>
                      <a:pt x="1191" y="1119"/>
                    </a:lnTo>
                    <a:lnTo>
                      <a:pt x="1191" y="1117"/>
                    </a:lnTo>
                    <a:lnTo>
                      <a:pt x="1191" y="1116"/>
                    </a:lnTo>
                    <a:lnTo>
                      <a:pt x="1191" y="1114"/>
                    </a:lnTo>
                    <a:lnTo>
                      <a:pt x="1193" y="1116"/>
                    </a:lnTo>
                    <a:lnTo>
                      <a:pt x="1195" y="1114"/>
                    </a:lnTo>
                    <a:close/>
                    <a:moveTo>
                      <a:pt x="1288" y="1623"/>
                    </a:moveTo>
                    <a:lnTo>
                      <a:pt x="1290" y="1623"/>
                    </a:lnTo>
                    <a:lnTo>
                      <a:pt x="1292" y="1623"/>
                    </a:lnTo>
                    <a:lnTo>
                      <a:pt x="1290" y="1623"/>
                    </a:lnTo>
                    <a:lnTo>
                      <a:pt x="1292" y="1621"/>
                    </a:lnTo>
                    <a:lnTo>
                      <a:pt x="1292" y="1623"/>
                    </a:lnTo>
                    <a:lnTo>
                      <a:pt x="1293" y="1623"/>
                    </a:lnTo>
                    <a:lnTo>
                      <a:pt x="1293" y="1624"/>
                    </a:lnTo>
                    <a:lnTo>
                      <a:pt x="1293" y="1623"/>
                    </a:lnTo>
                    <a:lnTo>
                      <a:pt x="1293" y="1624"/>
                    </a:lnTo>
                    <a:lnTo>
                      <a:pt x="1295" y="1624"/>
                    </a:lnTo>
                    <a:lnTo>
                      <a:pt x="1295" y="1626"/>
                    </a:lnTo>
                    <a:lnTo>
                      <a:pt x="1297" y="1624"/>
                    </a:lnTo>
                    <a:lnTo>
                      <a:pt x="1298" y="1624"/>
                    </a:lnTo>
                    <a:lnTo>
                      <a:pt x="1297" y="1624"/>
                    </a:lnTo>
                    <a:lnTo>
                      <a:pt x="1297" y="1626"/>
                    </a:lnTo>
                    <a:lnTo>
                      <a:pt x="1298" y="1626"/>
                    </a:lnTo>
                    <a:lnTo>
                      <a:pt x="1300" y="1626"/>
                    </a:lnTo>
                    <a:lnTo>
                      <a:pt x="1298" y="1628"/>
                    </a:lnTo>
                    <a:lnTo>
                      <a:pt x="1297" y="1628"/>
                    </a:lnTo>
                    <a:lnTo>
                      <a:pt x="1298" y="1628"/>
                    </a:lnTo>
                    <a:lnTo>
                      <a:pt x="1300" y="1628"/>
                    </a:lnTo>
                    <a:lnTo>
                      <a:pt x="1298" y="1629"/>
                    </a:lnTo>
                    <a:lnTo>
                      <a:pt x="1298" y="1628"/>
                    </a:lnTo>
                    <a:lnTo>
                      <a:pt x="1297" y="1628"/>
                    </a:lnTo>
                    <a:lnTo>
                      <a:pt x="1297" y="1629"/>
                    </a:lnTo>
                    <a:lnTo>
                      <a:pt x="1295" y="1629"/>
                    </a:lnTo>
                    <a:lnTo>
                      <a:pt x="1293" y="1629"/>
                    </a:lnTo>
                    <a:lnTo>
                      <a:pt x="1293" y="1628"/>
                    </a:lnTo>
                    <a:lnTo>
                      <a:pt x="1292" y="1629"/>
                    </a:lnTo>
                    <a:lnTo>
                      <a:pt x="1292" y="1628"/>
                    </a:lnTo>
                    <a:lnTo>
                      <a:pt x="1293" y="1628"/>
                    </a:lnTo>
                    <a:lnTo>
                      <a:pt x="1295" y="1626"/>
                    </a:lnTo>
                    <a:lnTo>
                      <a:pt x="1293" y="1626"/>
                    </a:lnTo>
                    <a:lnTo>
                      <a:pt x="1292" y="1626"/>
                    </a:lnTo>
                    <a:lnTo>
                      <a:pt x="1292" y="1628"/>
                    </a:lnTo>
                    <a:lnTo>
                      <a:pt x="1292" y="1626"/>
                    </a:lnTo>
                    <a:lnTo>
                      <a:pt x="1292" y="1628"/>
                    </a:lnTo>
                    <a:lnTo>
                      <a:pt x="1290" y="1628"/>
                    </a:lnTo>
                    <a:lnTo>
                      <a:pt x="1290" y="1626"/>
                    </a:lnTo>
                    <a:lnTo>
                      <a:pt x="1290" y="1624"/>
                    </a:lnTo>
                    <a:lnTo>
                      <a:pt x="1292" y="1624"/>
                    </a:lnTo>
                    <a:lnTo>
                      <a:pt x="1290" y="1624"/>
                    </a:lnTo>
                    <a:lnTo>
                      <a:pt x="1288" y="1626"/>
                    </a:lnTo>
                    <a:lnTo>
                      <a:pt x="1288" y="1624"/>
                    </a:lnTo>
                    <a:lnTo>
                      <a:pt x="1287" y="1624"/>
                    </a:lnTo>
                    <a:lnTo>
                      <a:pt x="1288" y="1624"/>
                    </a:lnTo>
                    <a:lnTo>
                      <a:pt x="1288" y="1626"/>
                    </a:lnTo>
                    <a:lnTo>
                      <a:pt x="1287" y="1626"/>
                    </a:lnTo>
                    <a:lnTo>
                      <a:pt x="1287" y="1628"/>
                    </a:lnTo>
                    <a:lnTo>
                      <a:pt x="1285" y="1628"/>
                    </a:lnTo>
                    <a:lnTo>
                      <a:pt x="1287" y="1629"/>
                    </a:lnTo>
                    <a:lnTo>
                      <a:pt x="1285" y="1629"/>
                    </a:lnTo>
                    <a:lnTo>
                      <a:pt x="1285" y="1628"/>
                    </a:lnTo>
                    <a:lnTo>
                      <a:pt x="1285" y="1626"/>
                    </a:lnTo>
                    <a:lnTo>
                      <a:pt x="1285" y="1628"/>
                    </a:lnTo>
                    <a:lnTo>
                      <a:pt x="1283" y="1628"/>
                    </a:lnTo>
                    <a:lnTo>
                      <a:pt x="1283" y="1629"/>
                    </a:lnTo>
                    <a:lnTo>
                      <a:pt x="1281" y="1629"/>
                    </a:lnTo>
                    <a:lnTo>
                      <a:pt x="1281" y="1628"/>
                    </a:lnTo>
                    <a:lnTo>
                      <a:pt x="1283" y="1626"/>
                    </a:lnTo>
                    <a:lnTo>
                      <a:pt x="1281" y="1626"/>
                    </a:lnTo>
                    <a:lnTo>
                      <a:pt x="1281" y="1624"/>
                    </a:lnTo>
                    <a:lnTo>
                      <a:pt x="1283" y="1624"/>
                    </a:lnTo>
                    <a:lnTo>
                      <a:pt x="1283" y="1623"/>
                    </a:lnTo>
                    <a:lnTo>
                      <a:pt x="1283" y="1621"/>
                    </a:lnTo>
                    <a:lnTo>
                      <a:pt x="1285" y="1623"/>
                    </a:lnTo>
                    <a:lnTo>
                      <a:pt x="1285" y="1621"/>
                    </a:lnTo>
                    <a:lnTo>
                      <a:pt x="1287" y="1623"/>
                    </a:lnTo>
                    <a:lnTo>
                      <a:pt x="1288" y="1623"/>
                    </a:lnTo>
                    <a:lnTo>
                      <a:pt x="1287" y="1621"/>
                    </a:lnTo>
                    <a:lnTo>
                      <a:pt x="1288" y="1623"/>
                    </a:lnTo>
                    <a:close/>
                    <a:moveTo>
                      <a:pt x="1207" y="1082"/>
                    </a:moveTo>
                    <a:lnTo>
                      <a:pt x="1208" y="1083"/>
                    </a:lnTo>
                    <a:lnTo>
                      <a:pt x="1210" y="1083"/>
                    </a:lnTo>
                    <a:lnTo>
                      <a:pt x="1208" y="1085"/>
                    </a:lnTo>
                    <a:lnTo>
                      <a:pt x="1208" y="1083"/>
                    </a:lnTo>
                    <a:lnTo>
                      <a:pt x="1207" y="1083"/>
                    </a:lnTo>
                    <a:lnTo>
                      <a:pt x="1208" y="1083"/>
                    </a:lnTo>
                    <a:lnTo>
                      <a:pt x="1208" y="1085"/>
                    </a:lnTo>
                    <a:lnTo>
                      <a:pt x="1210" y="1085"/>
                    </a:lnTo>
                    <a:lnTo>
                      <a:pt x="1210" y="1087"/>
                    </a:lnTo>
                    <a:lnTo>
                      <a:pt x="1208" y="1087"/>
                    </a:lnTo>
                    <a:lnTo>
                      <a:pt x="1210" y="1088"/>
                    </a:lnTo>
                    <a:lnTo>
                      <a:pt x="1208" y="1088"/>
                    </a:lnTo>
                    <a:lnTo>
                      <a:pt x="1208" y="1090"/>
                    </a:lnTo>
                    <a:lnTo>
                      <a:pt x="1207" y="1090"/>
                    </a:lnTo>
                    <a:lnTo>
                      <a:pt x="1207" y="1092"/>
                    </a:lnTo>
                    <a:lnTo>
                      <a:pt x="1207" y="1090"/>
                    </a:lnTo>
                    <a:lnTo>
                      <a:pt x="1208" y="1090"/>
                    </a:lnTo>
                    <a:lnTo>
                      <a:pt x="1208" y="1088"/>
                    </a:lnTo>
                    <a:lnTo>
                      <a:pt x="1210" y="1088"/>
                    </a:lnTo>
                    <a:lnTo>
                      <a:pt x="1210" y="1090"/>
                    </a:lnTo>
                    <a:lnTo>
                      <a:pt x="1212" y="1090"/>
                    </a:lnTo>
                    <a:lnTo>
                      <a:pt x="1210" y="1090"/>
                    </a:lnTo>
                    <a:lnTo>
                      <a:pt x="1210" y="1092"/>
                    </a:lnTo>
                    <a:lnTo>
                      <a:pt x="1210" y="1090"/>
                    </a:lnTo>
                    <a:lnTo>
                      <a:pt x="1210" y="1092"/>
                    </a:lnTo>
                    <a:lnTo>
                      <a:pt x="1210" y="1090"/>
                    </a:lnTo>
                    <a:lnTo>
                      <a:pt x="1208" y="1092"/>
                    </a:lnTo>
                    <a:lnTo>
                      <a:pt x="1207" y="1092"/>
                    </a:lnTo>
                    <a:lnTo>
                      <a:pt x="1205" y="1092"/>
                    </a:lnTo>
                    <a:lnTo>
                      <a:pt x="1205" y="1090"/>
                    </a:lnTo>
                    <a:lnTo>
                      <a:pt x="1203" y="1090"/>
                    </a:lnTo>
                    <a:lnTo>
                      <a:pt x="1203" y="1088"/>
                    </a:lnTo>
                    <a:lnTo>
                      <a:pt x="1202" y="1088"/>
                    </a:lnTo>
                    <a:lnTo>
                      <a:pt x="1202" y="1087"/>
                    </a:lnTo>
                    <a:lnTo>
                      <a:pt x="1200" y="1085"/>
                    </a:lnTo>
                    <a:lnTo>
                      <a:pt x="1202" y="1085"/>
                    </a:lnTo>
                    <a:lnTo>
                      <a:pt x="1203" y="1087"/>
                    </a:lnTo>
                    <a:lnTo>
                      <a:pt x="1203" y="1088"/>
                    </a:lnTo>
                    <a:lnTo>
                      <a:pt x="1203" y="1087"/>
                    </a:lnTo>
                    <a:lnTo>
                      <a:pt x="1203" y="1085"/>
                    </a:lnTo>
                    <a:lnTo>
                      <a:pt x="1203" y="1083"/>
                    </a:lnTo>
                    <a:lnTo>
                      <a:pt x="1205" y="1083"/>
                    </a:lnTo>
                    <a:lnTo>
                      <a:pt x="1205" y="1082"/>
                    </a:lnTo>
                    <a:lnTo>
                      <a:pt x="1205" y="1083"/>
                    </a:lnTo>
                    <a:lnTo>
                      <a:pt x="1207" y="1082"/>
                    </a:lnTo>
                    <a:close/>
                    <a:moveTo>
                      <a:pt x="1207" y="1145"/>
                    </a:moveTo>
                    <a:lnTo>
                      <a:pt x="1207" y="1146"/>
                    </a:lnTo>
                    <a:lnTo>
                      <a:pt x="1208" y="1146"/>
                    </a:lnTo>
                    <a:lnTo>
                      <a:pt x="1208" y="1148"/>
                    </a:lnTo>
                    <a:lnTo>
                      <a:pt x="1207" y="1148"/>
                    </a:lnTo>
                    <a:lnTo>
                      <a:pt x="1208" y="1148"/>
                    </a:lnTo>
                    <a:lnTo>
                      <a:pt x="1208" y="1150"/>
                    </a:lnTo>
                    <a:lnTo>
                      <a:pt x="1207" y="1150"/>
                    </a:lnTo>
                    <a:lnTo>
                      <a:pt x="1208" y="1150"/>
                    </a:lnTo>
                    <a:lnTo>
                      <a:pt x="1208" y="1151"/>
                    </a:lnTo>
                    <a:lnTo>
                      <a:pt x="1207" y="1151"/>
                    </a:lnTo>
                    <a:lnTo>
                      <a:pt x="1208" y="1153"/>
                    </a:lnTo>
                    <a:lnTo>
                      <a:pt x="1207" y="1155"/>
                    </a:lnTo>
                    <a:lnTo>
                      <a:pt x="1205" y="1153"/>
                    </a:lnTo>
                    <a:lnTo>
                      <a:pt x="1203" y="1153"/>
                    </a:lnTo>
                    <a:lnTo>
                      <a:pt x="1203" y="1151"/>
                    </a:lnTo>
                    <a:lnTo>
                      <a:pt x="1203" y="1150"/>
                    </a:lnTo>
                    <a:lnTo>
                      <a:pt x="1205" y="1148"/>
                    </a:lnTo>
                    <a:lnTo>
                      <a:pt x="1207" y="1148"/>
                    </a:lnTo>
                    <a:lnTo>
                      <a:pt x="1205" y="1150"/>
                    </a:lnTo>
                    <a:lnTo>
                      <a:pt x="1207" y="1150"/>
                    </a:lnTo>
                    <a:lnTo>
                      <a:pt x="1205" y="1148"/>
                    </a:lnTo>
                    <a:lnTo>
                      <a:pt x="1207" y="1148"/>
                    </a:lnTo>
                    <a:lnTo>
                      <a:pt x="1207" y="1146"/>
                    </a:lnTo>
                    <a:lnTo>
                      <a:pt x="1205" y="1146"/>
                    </a:lnTo>
                    <a:lnTo>
                      <a:pt x="1203" y="1146"/>
                    </a:lnTo>
                    <a:lnTo>
                      <a:pt x="1203" y="1148"/>
                    </a:lnTo>
                    <a:lnTo>
                      <a:pt x="1205" y="1148"/>
                    </a:lnTo>
                    <a:lnTo>
                      <a:pt x="1203" y="1148"/>
                    </a:lnTo>
                    <a:lnTo>
                      <a:pt x="1203" y="1150"/>
                    </a:lnTo>
                    <a:lnTo>
                      <a:pt x="1202" y="1148"/>
                    </a:lnTo>
                    <a:lnTo>
                      <a:pt x="1202" y="1150"/>
                    </a:lnTo>
                    <a:lnTo>
                      <a:pt x="1203" y="1150"/>
                    </a:lnTo>
                    <a:lnTo>
                      <a:pt x="1203" y="1151"/>
                    </a:lnTo>
                    <a:lnTo>
                      <a:pt x="1202" y="1151"/>
                    </a:lnTo>
                    <a:lnTo>
                      <a:pt x="1200" y="1151"/>
                    </a:lnTo>
                    <a:lnTo>
                      <a:pt x="1200" y="1150"/>
                    </a:lnTo>
                    <a:lnTo>
                      <a:pt x="1198" y="1150"/>
                    </a:lnTo>
                    <a:lnTo>
                      <a:pt x="1200" y="1150"/>
                    </a:lnTo>
                    <a:lnTo>
                      <a:pt x="1200" y="1148"/>
                    </a:lnTo>
                    <a:lnTo>
                      <a:pt x="1200" y="1146"/>
                    </a:lnTo>
                    <a:lnTo>
                      <a:pt x="1202" y="1146"/>
                    </a:lnTo>
                    <a:lnTo>
                      <a:pt x="1203" y="1146"/>
                    </a:lnTo>
                    <a:lnTo>
                      <a:pt x="1205" y="1145"/>
                    </a:lnTo>
                    <a:lnTo>
                      <a:pt x="1203" y="1145"/>
                    </a:lnTo>
                    <a:lnTo>
                      <a:pt x="1205" y="1145"/>
                    </a:lnTo>
                    <a:lnTo>
                      <a:pt x="1205" y="1143"/>
                    </a:lnTo>
                    <a:lnTo>
                      <a:pt x="1207" y="1143"/>
                    </a:lnTo>
                    <a:lnTo>
                      <a:pt x="1207" y="1145"/>
                    </a:lnTo>
                    <a:close/>
                    <a:moveTo>
                      <a:pt x="1196" y="1065"/>
                    </a:moveTo>
                    <a:lnTo>
                      <a:pt x="1196" y="1066"/>
                    </a:lnTo>
                    <a:lnTo>
                      <a:pt x="1198" y="1066"/>
                    </a:lnTo>
                    <a:lnTo>
                      <a:pt x="1200" y="1066"/>
                    </a:lnTo>
                    <a:lnTo>
                      <a:pt x="1200" y="1068"/>
                    </a:lnTo>
                    <a:lnTo>
                      <a:pt x="1202" y="1068"/>
                    </a:lnTo>
                    <a:lnTo>
                      <a:pt x="1200" y="1068"/>
                    </a:lnTo>
                    <a:lnTo>
                      <a:pt x="1198" y="1068"/>
                    </a:lnTo>
                    <a:lnTo>
                      <a:pt x="1198" y="1070"/>
                    </a:lnTo>
                    <a:lnTo>
                      <a:pt x="1196" y="1068"/>
                    </a:lnTo>
                    <a:lnTo>
                      <a:pt x="1195" y="1068"/>
                    </a:lnTo>
                    <a:lnTo>
                      <a:pt x="1196" y="1070"/>
                    </a:lnTo>
                    <a:lnTo>
                      <a:pt x="1198" y="1071"/>
                    </a:lnTo>
                    <a:lnTo>
                      <a:pt x="1196" y="1070"/>
                    </a:lnTo>
                    <a:lnTo>
                      <a:pt x="1198" y="1070"/>
                    </a:lnTo>
                    <a:lnTo>
                      <a:pt x="1200" y="1071"/>
                    </a:lnTo>
                    <a:lnTo>
                      <a:pt x="1202" y="1071"/>
                    </a:lnTo>
                    <a:lnTo>
                      <a:pt x="1202" y="1070"/>
                    </a:lnTo>
                    <a:lnTo>
                      <a:pt x="1203" y="1070"/>
                    </a:lnTo>
                    <a:lnTo>
                      <a:pt x="1203" y="1071"/>
                    </a:lnTo>
                    <a:lnTo>
                      <a:pt x="1205" y="1071"/>
                    </a:lnTo>
                    <a:lnTo>
                      <a:pt x="1205" y="1073"/>
                    </a:lnTo>
                    <a:lnTo>
                      <a:pt x="1203" y="1073"/>
                    </a:lnTo>
                    <a:lnTo>
                      <a:pt x="1202" y="1073"/>
                    </a:lnTo>
                    <a:lnTo>
                      <a:pt x="1200" y="1073"/>
                    </a:lnTo>
                    <a:lnTo>
                      <a:pt x="1200" y="1071"/>
                    </a:lnTo>
                    <a:lnTo>
                      <a:pt x="1200" y="1073"/>
                    </a:lnTo>
                    <a:lnTo>
                      <a:pt x="1198" y="1073"/>
                    </a:lnTo>
                    <a:lnTo>
                      <a:pt x="1198" y="1071"/>
                    </a:lnTo>
                    <a:lnTo>
                      <a:pt x="1198" y="1073"/>
                    </a:lnTo>
                    <a:lnTo>
                      <a:pt x="1196" y="1073"/>
                    </a:lnTo>
                    <a:lnTo>
                      <a:pt x="1196" y="1071"/>
                    </a:lnTo>
                    <a:lnTo>
                      <a:pt x="1196" y="1073"/>
                    </a:lnTo>
                    <a:lnTo>
                      <a:pt x="1196" y="1071"/>
                    </a:lnTo>
                    <a:lnTo>
                      <a:pt x="1195" y="1071"/>
                    </a:lnTo>
                    <a:lnTo>
                      <a:pt x="1193" y="1070"/>
                    </a:lnTo>
                    <a:lnTo>
                      <a:pt x="1195" y="1068"/>
                    </a:lnTo>
                    <a:lnTo>
                      <a:pt x="1193" y="1068"/>
                    </a:lnTo>
                    <a:lnTo>
                      <a:pt x="1193" y="1066"/>
                    </a:lnTo>
                    <a:lnTo>
                      <a:pt x="1193" y="1065"/>
                    </a:lnTo>
                    <a:lnTo>
                      <a:pt x="1195" y="1065"/>
                    </a:lnTo>
                    <a:lnTo>
                      <a:pt x="1195" y="1063"/>
                    </a:lnTo>
                    <a:lnTo>
                      <a:pt x="1196" y="1063"/>
                    </a:lnTo>
                    <a:lnTo>
                      <a:pt x="1196" y="1065"/>
                    </a:lnTo>
                    <a:close/>
                    <a:moveTo>
                      <a:pt x="1254" y="1578"/>
                    </a:moveTo>
                    <a:lnTo>
                      <a:pt x="1254" y="1580"/>
                    </a:lnTo>
                    <a:lnTo>
                      <a:pt x="1254" y="1578"/>
                    </a:lnTo>
                    <a:lnTo>
                      <a:pt x="1256" y="1580"/>
                    </a:lnTo>
                    <a:lnTo>
                      <a:pt x="1254" y="1582"/>
                    </a:lnTo>
                    <a:lnTo>
                      <a:pt x="1256" y="1580"/>
                    </a:lnTo>
                    <a:lnTo>
                      <a:pt x="1256" y="1582"/>
                    </a:lnTo>
                    <a:lnTo>
                      <a:pt x="1258" y="1582"/>
                    </a:lnTo>
                    <a:lnTo>
                      <a:pt x="1256" y="1582"/>
                    </a:lnTo>
                    <a:lnTo>
                      <a:pt x="1256" y="1583"/>
                    </a:lnTo>
                    <a:lnTo>
                      <a:pt x="1254" y="1582"/>
                    </a:lnTo>
                    <a:lnTo>
                      <a:pt x="1254" y="1583"/>
                    </a:lnTo>
                    <a:lnTo>
                      <a:pt x="1254" y="1585"/>
                    </a:lnTo>
                    <a:lnTo>
                      <a:pt x="1254" y="1587"/>
                    </a:lnTo>
                    <a:lnTo>
                      <a:pt x="1253" y="1585"/>
                    </a:lnTo>
                    <a:lnTo>
                      <a:pt x="1253" y="1587"/>
                    </a:lnTo>
                    <a:lnTo>
                      <a:pt x="1254" y="1587"/>
                    </a:lnTo>
                    <a:lnTo>
                      <a:pt x="1253" y="1589"/>
                    </a:lnTo>
                    <a:lnTo>
                      <a:pt x="1251" y="1589"/>
                    </a:lnTo>
                    <a:lnTo>
                      <a:pt x="1251" y="1587"/>
                    </a:lnTo>
                    <a:lnTo>
                      <a:pt x="1249" y="1587"/>
                    </a:lnTo>
                    <a:lnTo>
                      <a:pt x="1251" y="1587"/>
                    </a:lnTo>
                    <a:lnTo>
                      <a:pt x="1249" y="1589"/>
                    </a:lnTo>
                    <a:lnTo>
                      <a:pt x="1251" y="1589"/>
                    </a:lnTo>
                    <a:lnTo>
                      <a:pt x="1253" y="1590"/>
                    </a:lnTo>
                    <a:lnTo>
                      <a:pt x="1251" y="1590"/>
                    </a:lnTo>
                    <a:lnTo>
                      <a:pt x="1249" y="1589"/>
                    </a:lnTo>
                    <a:lnTo>
                      <a:pt x="1249" y="1590"/>
                    </a:lnTo>
                    <a:lnTo>
                      <a:pt x="1247" y="1590"/>
                    </a:lnTo>
                    <a:lnTo>
                      <a:pt x="1247" y="1589"/>
                    </a:lnTo>
                    <a:lnTo>
                      <a:pt x="1246" y="1589"/>
                    </a:lnTo>
                    <a:lnTo>
                      <a:pt x="1247" y="1587"/>
                    </a:lnTo>
                    <a:lnTo>
                      <a:pt x="1247" y="1589"/>
                    </a:lnTo>
                    <a:lnTo>
                      <a:pt x="1247" y="1587"/>
                    </a:lnTo>
                    <a:lnTo>
                      <a:pt x="1246" y="1587"/>
                    </a:lnTo>
                    <a:lnTo>
                      <a:pt x="1247" y="1585"/>
                    </a:lnTo>
                    <a:lnTo>
                      <a:pt x="1249" y="1585"/>
                    </a:lnTo>
                    <a:lnTo>
                      <a:pt x="1251" y="1585"/>
                    </a:lnTo>
                    <a:lnTo>
                      <a:pt x="1249" y="1585"/>
                    </a:lnTo>
                    <a:lnTo>
                      <a:pt x="1249" y="1583"/>
                    </a:lnTo>
                    <a:lnTo>
                      <a:pt x="1251" y="1585"/>
                    </a:lnTo>
                    <a:lnTo>
                      <a:pt x="1251" y="1583"/>
                    </a:lnTo>
                    <a:lnTo>
                      <a:pt x="1253" y="1583"/>
                    </a:lnTo>
                    <a:lnTo>
                      <a:pt x="1253" y="1582"/>
                    </a:lnTo>
                    <a:lnTo>
                      <a:pt x="1251" y="1583"/>
                    </a:lnTo>
                    <a:lnTo>
                      <a:pt x="1249" y="1583"/>
                    </a:lnTo>
                    <a:lnTo>
                      <a:pt x="1249" y="1582"/>
                    </a:lnTo>
                    <a:lnTo>
                      <a:pt x="1251" y="1582"/>
                    </a:lnTo>
                    <a:lnTo>
                      <a:pt x="1251" y="1580"/>
                    </a:lnTo>
                    <a:lnTo>
                      <a:pt x="1249" y="1580"/>
                    </a:lnTo>
                    <a:lnTo>
                      <a:pt x="1249" y="1578"/>
                    </a:lnTo>
                    <a:lnTo>
                      <a:pt x="1251" y="1578"/>
                    </a:lnTo>
                    <a:lnTo>
                      <a:pt x="1253" y="1578"/>
                    </a:lnTo>
                    <a:lnTo>
                      <a:pt x="1253" y="1577"/>
                    </a:lnTo>
                    <a:lnTo>
                      <a:pt x="1254" y="1578"/>
                    </a:lnTo>
                    <a:close/>
                    <a:moveTo>
                      <a:pt x="1421" y="1667"/>
                    </a:moveTo>
                    <a:lnTo>
                      <a:pt x="1419" y="1669"/>
                    </a:lnTo>
                    <a:lnTo>
                      <a:pt x="1421" y="1669"/>
                    </a:lnTo>
                    <a:lnTo>
                      <a:pt x="1419" y="1670"/>
                    </a:lnTo>
                    <a:lnTo>
                      <a:pt x="1421" y="1670"/>
                    </a:lnTo>
                    <a:lnTo>
                      <a:pt x="1419" y="1672"/>
                    </a:lnTo>
                    <a:lnTo>
                      <a:pt x="1421" y="1672"/>
                    </a:lnTo>
                    <a:lnTo>
                      <a:pt x="1419" y="1674"/>
                    </a:lnTo>
                    <a:lnTo>
                      <a:pt x="1421" y="1675"/>
                    </a:lnTo>
                    <a:lnTo>
                      <a:pt x="1421" y="1674"/>
                    </a:lnTo>
                    <a:lnTo>
                      <a:pt x="1423" y="1674"/>
                    </a:lnTo>
                    <a:lnTo>
                      <a:pt x="1424" y="1675"/>
                    </a:lnTo>
                    <a:lnTo>
                      <a:pt x="1423" y="1675"/>
                    </a:lnTo>
                    <a:lnTo>
                      <a:pt x="1423" y="1677"/>
                    </a:lnTo>
                    <a:lnTo>
                      <a:pt x="1424" y="1677"/>
                    </a:lnTo>
                    <a:lnTo>
                      <a:pt x="1424" y="1679"/>
                    </a:lnTo>
                    <a:lnTo>
                      <a:pt x="1423" y="1679"/>
                    </a:lnTo>
                    <a:lnTo>
                      <a:pt x="1421" y="1680"/>
                    </a:lnTo>
                    <a:lnTo>
                      <a:pt x="1421" y="1679"/>
                    </a:lnTo>
                    <a:lnTo>
                      <a:pt x="1421" y="1677"/>
                    </a:lnTo>
                    <a:lnTo>
                      <a:pt x="1419" y="1679"/>
                    </a:lnTo>
                    <a:lnTo>
                      <a:pt x="1419" y="1677"/>
                    </a:lnTo>
                    <a:lnTo>
                      <a:pt x="1417" y="1679"/>
                    </a:lnTo>
                    <a:lnTo>
                      <a:pt x="1417" y="1677"/>
                    </a:lnTo>
                    <a:lnTo>
                      <a:pt x="1416" y="1677"/>
                    </a:lnTo>
                    <a:lnTo>
                      <a:pt x="1414" y="1677"/>
                    </a:lnTo>
                    <a:lnTo>
                      <a:pt x="1414" y="1675"/>
                    </a:lnTo>
                    <a:lnTo>
                      <a:pt x="1412" y="1675"/>
                    </a:lnTo>
                    <a:lnTo>
                      <a:pt x="1414" y="1675"/>
                    </a:lnTo>
                    <a:lnTo>
                      <a:pt x="1416" y="1675"/>
                    </a:lnTo>
                    <a:lnTo>
                      <a:pt x="1414" y="1675"/>
                    </a:lnTo>
                    <a:lnTo>
                      <a:pt x="1414" y="1674"/>
                    </a:lnTo>
                    <a:lnTo>
                      <a:pt x="1412" y="1672"/>
                    </a:lnTo>
                    <a:lnTo>
                      <a:pt x="1414" y="1672"/>
                    </a:lnTo>
                    <a:lnTo>
                      <a:pt x="1414" y="1670"/>
                    </a:lnTo>
                    <a:lnTo>
                      <a:pt x="1416" y="1670"/>
                    </a:lnTo>
                    <a:lnTo>
                      <a:pt x="1416" y="1672"/>
                    </a:lnTo>
                    <a:lnTo>
                      <a:pt x="1417" y="1672"/>
                    </a:lnTo>
                    <a:lnTo>
                      <a:pt x="1417" y="1674"/>
                    </a:lnTo>
                    <a:lnTo>
                      <a:pt x="1417" y="1675"/>
                    </a:lnTo>
                    <a:lnTo>
                      <a:pt x="1419" y="1675"/>
                    </a:lnTo>
                    <a:lnTo>
                      <a:pt x="1419" y="1674"/>
                    </a:lnTo>
                    <a:lnTo>
                      <a:pt x="1419" y="1672"/>
                    </a:lnTo>
                    <a:lnTo>
                      <a:pt x="1417" y="1672"/>
                    </a:lnTo>
                    <a:lnTo>
                      <a:pt x="1417" y="1670"/>
                    </a:lnTo>
                    <a:lnTo>
                      <a:pt x="1417" y="1669"/>
                    </a:lnTo>
                    <a:lnTo>
                      <a:pt x="1416" y="1669"/>
                    </a:lnTo>
                    <a:lnTo>
                      <a:pt x="1417" y="1667"/>
                    </a:lnTo>
                    <a:lnTo>
                      <a:pt x="1419" y="1667"/>
                    </a:lnTo>
                    <a:lnTo>
                      <a:pt x="1419" y="1665"/>
                    </a:lnTo>
                    <a:lnTo>
                      <a:pt x="1421" y="1665"/>
                    </a:lnTo>
                    <a:lnTo>
                      <a:pt x="1421" y="1667"/>
                    </a:lnTo>
                    <a:close/>
                    <a:moveTo>
                      <a:pt x="1198" y="1131"/>
                    </a:moveTo>
                    <a:lnTo>
                      <a:pt x="1196" y="1131"/>
                    </a:lnTo>
                    <a:lnTo>
                      <a:pt x="1198" y="1131"/>
                    </a:lnTo>
                    <a:lnTo>
                      <a:pt x="1200" y="1131"/>
                    </a:lnTo>
                    <a:lnTo>
                      <a:pt x="1200" y="1133"/>
                    </a:lnTo>
                    <a:lnTo>
                      <a:pt x="1202" y="1133"/>
                    </a:lnTo>
                    <a:lnTo>
                      <a:pt x="1202" y="1134"/>
                    </a:lnTo>
                    <a:lnTo>
                      <a:pt x="1200" y="1134"/>
                    </a:lnTo>
                    <a:lnTo>
                      <a:pt x="1202" y="1136"/>
                    </a:lnTo>
                    <a:lnTo>
                      <a:pt x="1200" y="1136"/>
                    </a:lnTo>
                    <a:lnTo>
                      <a:pt x="1200" y="1138"/>
                    </a:lnTo>
                    <a:lnTo>
                      <a:pt x="1198" y="1140"/>
                    </a:lnTo>
                    <a:lnTo>
                      <a:pt x="1196" y="1140"/>
                    </a:lnTo>
                    <a:lnTo>
                      <a:pt x="1195" y="1140"/>
                    </a:lnTo>
                    <a:lnTo>
                      <a:pt x="1195" y="1138"/>
                    </a:lnTo>
                    <a:lnTo>
                      <a:pt x="1195" y="1136"/>
                    </a:lnTo>
                    <a:lnTo>
                      <a:pt x="1195" y="1134"/>
                    </a:lnTo>
                    <a:lnTo>
                      <a:pt x="1193" y="1134"/>
                    </a:lnTo>
                    <a:lnTo>
                      <a:pt x="1193" y="1133"/>
                    </a:lnTo>
                    <a:lnTo>
                      <a:pt x="1195" y="1133"/>
                    </a:lnTo>
                    <a:lnTo>
                      <a:pt x="1195" y="1131"/>
                    </a:lnTo>
                    <a:lnTo>
                      <a:pt x="1196" y="1131"/>
                    </a:lnTo>
                    <a:lnTo>
                      <a:pt x="1196" y="1129"/>
                    </a:lnTo>
                    <a:lnTo>
                      <a:pt x="1198" y="1131"/>
                    </a:lnTo>
                    <a:close/>
                    <a:moveTo>
                      <a:pt x="1202" y="1153"/>
                    </a:moveTo>
                    <a:lnTo>
                      <a:pt x="1203" y="1153"/>
                    </a:lnTo>
                    <a:lnTo>
                      <a:pt x="1205" y="1155"/>
                    </a:lnTo>
                    <a:lnTo>
                      <a:pt x="1203" y="1155"/>
                    </a:lnTo>
                    <a:lnTo>
                      <a:pt x="1203" y="1157"/>
                    </a:lnTo>
                    <a:lnTo>
                      <a:pt x="1205" y="1155"/>
                    </a:lnTo>
                    <a:lnTo>
                      <a:pt x="1207" y="1155"/>
                    </a:lnTo>
                    <a:lnTo>
                      <a:pt x="1208" y="1157"/>
                    </a:lnTo>
                    <a:lnTo>
                      <a:pt x="1208" y="1158"/>
                    </a:lnTo>
                    <a:lnTo>
                      <a:pt x="1207" y="1158"/>
                    </a:lnTo>
                    <a:lnTo>
                      <a:pt x="1207" y="1160"/>
                    </a:lnTo>
                    <a:lnTo>
                      <a:pt x="1207" y="1162"/>
                    </a:lnTo>
                    <a:lnTo>
                      <a:pt x="1205" y="1163"/>
                    </a:lnTo>
                    <a:lnTo>
                      <a:pt x="1205" y="1162"/>
                    </a:lnTo>
                    <a:lnTo>
                      <a:pt x="1203" y="1162"/>
                    </a:lnTo>
                    <a:lnTo>
                      <a:pt x="1202" y="1160"/>
                    </a:lnTo>
                    <a:lnTo>
                      <a:pt x="1203" y="1160"/>
                    </a:lnTo>
                    <a:lnTo>
                      <a:pt x="1205" y="1160"/>
                    </a:lnTo>
                    <a:lnTo>
                      <a:pt x="1203" y="1160"/>
                    </a:lnTo>
                    <a:lnTo>
                      <a:pt x="1202" y="1160"/>
                    </a:lnTo>
                    <a:lnTo>
                      <a:pt x="1202" y="1158"/>
                    </a:lnTo>
                    <a:lnTo>
                      <a:pt x="1202" y="1157"/>
                    </a:lnTo>
                    <a:lnTo>
                      <a:pt x="1200" y="1157"/>
                    </a:lnTo>
                    <a:lnTo>
                      <a:pt x="1198" y="1157"/>
                    </a:lnTo>
                    <a:lnTo>
                      <a:pt x="1200" y="1157"/>
                    </a:lnTo>
                    <a:lnTo>
                      <a:pt x="1200" y="1155"/>
                    </a:lnTo>
                    <a:lnTo>
                      <a:pt x="1200" y="1153"/>
                    </a:lnTo>
                    <a:lnTo>
                      <a:pt x="1202" y="1153"/>
                    </a:lnTo>
                    <a:close/>
                    <a:moveTo>
                      <a:pt x="1179" y="1257"/>
                    </a:moveTo>
                    <a:lnTo>
                      <a:pt x="1179" y="1259"/>
                    </a:lnTo>
                    <a:lnTo>
                      <a:pt x="1181" y="1259"/>
                    </a:lnTo>
                    <a:lnTo>
                      <a:pt x="1183" y="1260"/>
                    </a:lnTo>
                    <a:lnTo>
                      <a:pt x="1183" y="1262"/>
                    </a:lnTo>
                    <a:lnTo>
                      <a:pt x="1185" y="1262"/>
                    </a:lnTo>
                    <a:lnTo>
                      <a:pt x="1185" y="1264"/>
                    </a:lnTo>
                    <a:lnTo>
                      <a:pt x="1186" y="1265"/>
                    </a:lnTo>
                    <a:lnTo>
                      <a:pt x="1185" y="1265"/>
                    </a:lnTo>
                    <a:lnTo>
                      <a:pt x="1185" y="1267"/>
                    </a:lnTo>
                    <a:lnTo>
                      <a:pt x="1183" y="1267"/>
                    </a:lnTo>
                    <a:lnTo>
                      <a:pt x="1183" y="1269"/>
                    </a:lnTo>
                    <a:lnTo>
                      <a:pt x="1181" y="1269"/>
                    </a:lnTo>
                    <a:lnTo>
                      <a:pt x="1179" y="1269"/>
                    </a:lnTo>
                    <a:lnTo>
                      <a:pt x="1179" y="1267"/>
                    </a:lnTo>
                    <a:lnTo>
                      <a:pt x="1179" y="1265"/>
                    </a:lnTo>
                    <a:lnTo>
                      <a:pt x="1181" y="1265"/>
                    </a:lnTo>
                    <a:lnTo>
                      <a:pt x="1179" y="1265"/>
                    </a:lnTo>
                    <a:lnTo>
                      <a:pt x="1179" y="1264"/>
                    </a:lnTo>
                    <a:lnTo>
                      <a:pt x="1181" y="1262"/>
                    </a:lnTo>
                    <a:lnTo>
                      <a:pt x="1183" y="1260"/>
                    </a:lnTo>
                    <a:lnTo>
                      <a:pt x="1181" y="1260"/>
                    </a:lnTo>
                    <a:lnTo>
                      <a:pt x="1181" y="1262"/>
                    </a:lnTo>
                    <a:lnTo>
                      <a:pt x="1179" y="1262"/>
                    </a:lnTo>
                    <a:lnTo>
                      <a:pt x="1179" y="1264"/>
                    </a:lnTo>
                    <a:lnTo>
                      <a:pt x="1179" y="1265"/>
                    </a:lnTo>
                    <a:lnTo>
                      <a:pt x="1178" y="1265"/>
                    </a:lnTo>
                    <a:lnTo>
                      <a:pt x="1178" y="1264"/>
                    </a:lnTo>
                    <a:lnTo>
                      <a:pt x="1178" y="1262"/>
                    </a:lnTo>
                    <a:lnTo>
                      <a:pt x="1178" y="1260"/>
                    </a:lnTo>
                    <a:lnTo>
                      <a:pt x="1179" y="1260"/>
                    </a:lnTo>
                    <a:lnTo>
                      <a:pt x="1178" y="1260"/>
                    </a:lnTo>
                    <a:lnTo>
                      <a:pt x="1178" y="1259"/>
                    </a:lnTo>
                    <a:lnTo>
                      <a:pt x="1178" y="1260"/>
                    </a:lnTo>
                    <a:lnTo>
                      <a:pt x="1178" y="1259"/>
                    </a:lnTo>
                    <a:lnTo>
                      <a:pt x="1179" y="1259"/>
                    </a:lnTo>
                    <a:lnTo>
                      <a:pt x="1181" y="1259"/>
                    </a:lnTo>
                    <a:lnTo>
                      <a:pt x="1179" y="1259"/>
                    </a:lnTo>
                    <a:lnTo>
                      <a:pt x="1179" y="1257"/>
                    </a:lnTo>
                    <a:lnTo>
                      <a:pt x="1178" y="1257"/>
                    </a:lnTo>
                    <a:lnTo>
                      <a:pt x="1179" y="1257"/>
                    </a:lnTo>
                    <a:close/>
                    <a:moveTo>
                      <a:pt x="1196" y="1126"/>
                    </a:moveTo>
                    <a:lnTo>
                      <a:pt x="1198" y="1126"/>
                    </a:lnTo>
                    <a:lnTo>
                      <a:pt x="1200" y="1126"/>
                    </a:lnTo>
                    <a:lnTo>
                      <a:pt x="1200" y="1128"/>
                    </a:lnTo>
                    <a:lnTo>
                      <a:pt x="1202" y="1126"/>
                    </a:lnTo>
                    <a:lnTo>
                      <a:pt x="1202" y="1128"/>
                    </a:lnTo>
                    <a:lnTo>
                      <a:pt x="1202" y="1126"/>
                    </a:lnTo>
                    <a:lnTo>
                      <a:pt x="1203" y="1126"/>
                    </a:lnTo>
                    <a:lnTo>
                      <a:pt x="1203" y="1128"/>
                    </a:lnTo>
                    <a:lnTo>
                      <a:pt x="1203" y="1129"/>
                    </a:lnTo>
                    <a:lnTo>
                      <a:pt x="1202" y="1131"/>
                    </a:lnTo>
                    <a:lnTo>
                      <a:pt x="1202" y="1133"/>
                    </a:lnTo>
                    <a:lnTo>
                      <a:pt x="1200" y="1131"/>
                    </a:lnTo>
                    <a:lnTo>
                      <a:pt x="1200" y="1129"/>
                    </a:lnTo>
                    <a:lnTo>
                      <a:pt x="1200" y="1131"/>
                    </a:lnTo>
                    <a:lnTo>
                      <a:pt x="1198" y="1131"/>
                    </a:lnTo>
                    <a:lnTo>
                      <a:pt x="1198" y="1129"/>
                    </a:lnTo>
                    <a:lnTo>
                      <a:pt x="1196" y="1129"/>
                    </a:lnTo>
                    <a:lnTo>
                      <a:pt x="1195" y="1129"/>
                    </a:lnTo>
                    <a:lnTo>
                      <a:pt x="1195" y="1131"/>
                    </a:lnTo>
                    <a:lnTo>
                      <a:pt x="1193" y="1131"/>
                    </a:lnTo>
                    <a:lnTo>
                      <a:pt x="1193" y="1133"/>
                    </a:lnTo>
                    <a:lnTo>
                      <a:pt x="1191" y="1131"/>
                    </a:lnTo>
                    <a:lnTo>
                      <a:pt x="1193" y="1131"/>
                    </a:lnTo>
                    <a:lnTo>
                      <a:pt x="1193" y="1129"/>
                    </a:lnTo>
                    <a:lnTo>
                      <a:pt x="1195" y="1129"/>
                    </a:lnTo>
                    <a:lnTo>
                      <a:pt x="1193" y="1129"/>
                    </a:lnTo>
                    <a:lnTo>
                      <a:pt x="1193" y="1128"/>
                    </a:lnTo>
                    <a:lnTo>
                      <a:pt x="1195" y="1126"/>
                    </a:lnTo>
                    <a:lnTo>
                      <a:pt x="1196" y="1126"/>
                    </a:lnTo>
                    <a:lnTo>
                      <a:pt x="1198" y="1126"/>
                    </a:lnTo>
                    <a:lnTo>
                      <a:pt x="1196" y="1126"/>
                    </a:lnTo>
                    <a:lnTo>
                      <a:pt x="1195" y="1126"/>
                    </a:lnTo>
                    <a:lnTo>
                      <a:pt x="1195" y="1124"/>
                    </a:lnTo>
                    <a:lnTo>
                      <a:pt x="1196" y="1126"/>
                    </a:lnTo>
                    <a:close/>
                    <a:moveTo>
                      <a:pt x="1156" y="1291"/>
                    </a:moveTo>
                    <a:lnTo>
                      <a:pt x="1157" y="1291"/>
                    </a:lnTo>
                    <a:lnTo>
                      <a:pt x="1157" y="1293"/>
                    </a:lnTo>
                    <a:lnTo>
                      <a:pt x="1159" y="1293"/>
                    </a:lnTo>
                    <a:lnTo>
                      <a:pt x="1161" y="1293"/>
                    </a:lnTo>
                    <a:lnTo>
                      <a:pt x="1161" y="1294"/>
                    </a:lnTo>
                    <a:lnTo>
                      <a:pt x="1161" y="1296"/>
                    </a:lnTo>
                    <a:lnTo>
                      <a:pt x="1162" y="1296"/>
                    </a:lnTo>
                    <a:lnTo>
                      <a:pt x="1162" y="1298"/>
                    </a:lnTo>
                    <a:lnTo>
                      <a:pt x="1161" y="1296"/>
                    </a:lnTo>
                    <a:lnTo>
                      <a:pt x="1161" y="1298"/>
                    </a:lnTo>
                    <a:lnTo>
                      <a:pt x="1159" y="1296"/>
                    </a:lnTo>
                    <a:lnTo>
                      <a:pt x="1159" y="1298"/>
                    </a:lnTo>
                    <a:lnTo>
                      <a:pt x="1161" y="1298"/>
                    </a:lnTo>
                    <a:lnTo>
                      <a:pt x="1162" y="1299"/>
                    </a:lnTo>
                    <a:lnTo>
                      <a:pt x="1161" y="1299"/>
                    </a:lnTo>
                    <a:lnTo>
                      <a:pt x="1159" y="1301"/>
                    </a:lnTo>
                    <a:lnTo>
                      <a:pt x="1157" y="1301"/>
                    </a:lnTo>
                    <a:lnTo>
                      <a:pt x="1157" y="1303"/>
                    </a:lnTo>
                    <a:lnTo>
                      <a:pt x="1157" y="1301"/>
                    </a:lnTo>
                    <a:lnTo>
                      <a:pt x="1157" y="1299"/>
                    </a:lnTo>
                    <a:lnTo>
                      <a:pt x="1156" y="1299"/>
                    </a:lnTo>
                    <a:lnTo>
                      <a:pt x="1156" y="1298"/>
                    </a:lnTo>
                    <a:lnTo>
                      <a:pt x="1156" y="1296"/>
                    </a:lnTo>
                    <a:lnTo>
                      <a:pt x="1156" y="1294"/>
                    </a:lnTo>
                    <a:lnTo>
                      <a:pt x="1157" y="1296"/>
                    </a:lnTo>
                    <a:lnTo>
                      <a:pt x="1156" y="1294"/>
                    </a:lnTo>
                    <a:lnTo>
                      <a:pt x="1154" y="1294"/>
                    </a:lnTo>
                    <a:lnTo>
                      <a:pt x="1154" y="1293"/>
                    </a:lnTo>
                    <a:lnTo>
                      <a:pt x="1154" y="1291"/>
                    </a:lnTo>
                    <a:lnTo>
                      <a:pt x="1156" y="1291"/>
                    </a:lnTo>
                    <a:close/>
                    <a:moveTo>
                      <a:pt x="1202" y="1046"/>
                    </a:moveTo>
                    <a:lnTo>
                      <a:pt x="1202" y="1048"/>
                    </a:lnTo>
                    <a:lnTo>
                      <a:pt x="1203" y="1048"/>
                    </a:lnTo>
                    <a:lnTo>
                      <a:pt x="1203" y="1049"/>
                    </a:lnTo>
                    <a:lnTo>
                      <a:pt x="1202" y="1049"/>
                    </a:lnTo>
                    <a:lnTo>
                      <a:pt x="1200" y="1049"/>
                    </a:lnTo>
                    <a:lnTo>
                      <a:pt x="1200" y="1051"/>
                    </a:lnTo>
                    <a:lnTo>
                      <a:pt x="1198" y="1049"/>
                    </a:lnTo>
                    <a:lnTo>
                      <a:pt x="1198" y="1051"/>
                    </a:lnTo>
                    <a:lnTo>
                      <a:pt x="1200" y="1051"/>
                    </a:lnTo>
                    <a:lnTo>
                      <a:pt x="1200" y="1053"/>
                    </a:lnTo>
                    <a:lnTo>
                      <a:pt x="1202" y="1053"/>
                    </a:lnTo>
                    <a:lnTo>
                      <a:pt x="1200" y="1053"/>
                    </a:lnTo>
                    <a:lnTo>
                      <a:pt x="1200" y="1054"/>
                    </a:lnTo>
                    <a:lnTo>
                      <a:pt x="1198" y="1054"/>
                    </a:lnTo>
                    <a:lnTo>
                      <a:pt x="1196" y="1054"/>
                    </a:lnTo>
                    <a:lnTo>
                      <a:pt x="1196" y="1053"/>
                    </a:lnTo>
                    <a:lnTo>
                      <a:pt x="1196" y="1051"/>
                    </a:lnTo>
                    <a:lnTo>
                      <a:pt x="1196" y="1053"/>
                    </a:lnTo>
                    <a:lnTo>
                      <a:pt x="1195" y="1053"/>
                    </a:lnTo>
                    <a:lnTo>
                      <a:pt x="1193" y="1053"/>
                    </a:lnTo>
                    <a:lnTo>
                      <a:pt x="1193" y="1051"/>
                    </a:lnTo>
                    <a:lnTo>
                      <a:pt x="1191" y="1051"/>
                    </a:lnTo>
                    <a:lnTo>
                      <a:pt x="1191" y="1049"/>
                    </a:lnTo>
                    <a:lnTo>
                      <a:pt x="1191" y="1048"/>
                    </a:lnTo>
                    <a:lnTo>
                      <a:pt x="1193" y="1048"/>
                    </a:lnTo>
                    <a:lnTo>
                      <a:pt x="1195" y="1048"/>
                    </a:lnTo>
                    <a:lnTo>
                      <a:pt x="1196" y="1049"/>
                    </a:lnTo>
                    <a:lnTo>
                      <a:pt x="1198" y="1049"/>
                    </a:lnTo>
                    <a:lnTo>
                      <a:pt x="1200" y="1049"/>
                    </a:lnTo>
                    <a:lnTo>
                      <a:pt x="1200" y="1048"/>
                    </a:lnTo>
                    <a:lnTo>
                      <a:pt x="1202" y="1048"/>
                    </a:lnTo>
                    <a:lnTo>
                      <a:pt x="1202" y="1046"/>
                    </a:lnTo>
                    <a:close/>
                    <a:moveTo>
                      <a:pt x="1185" y="1325"/>
                    </a:moveTo>
                    <a:lnTo>
                      <a:pt x="1186" y="1327"/>
                    </a:lnTo>
                    <a:lnTo>
                      <a:pt x="1186" y="1328"/>
                    </a:lnTo>
                    <a:lnTo>
                      <a:pt x="1188" y="1328"/>
                    </a:lnTo>
                    <a:lnTo>
                      <a:pt x="1188" y="1330"/>
                    </a:lnTo>
                    <a:lnTo>
                      <a:pt x="1188" y="1332"/>
                    </a:lnTo>
                    <a:lnTo>
                      <a:pt x="1188" y="1333"/>
                    </a:lnTo>
                    <a:lnTo>
                      <a:pt x="1186" y="1333"/>
                    </a:lnTo>
                    <a:lnTo>
                      <a:pt x="1185" y="1333"/>
                    </a:lnTo>
                    <a:lnTo>
                      <a:pt x="1185" y="1335"/>
                    </a:lnTo>
                    <a:lnTo>
                      <a:pt x="1183" y="1335"/>
                    </a:lnTo>
                    <a:lnTo>
                      <a:pt x="1183" y="1333"/>
                    </a:lnTo>
                    <a:lnTo>
                      <a:pt x="1181" y="1333"/>
                    </a:lnTo>
                    <a:lnTo>
                      <a:pt x="1183" y="1333"/>
                    </a:lnTo>
                    <a:lnTo>
                      <a:pt x="1183" y="1332"/>
                    </a:lnTo>
                    <a:lnTo>
                      <a:pt x="1183" y="1330"/>
                    </a:lnTo>
                    <a:lnTo>
                      <a:pt x="1181" y="1328"/>
                    </a:lnTo>
                    <a:lnTo>
                      <a:pt x="1181" y="1327"/>
                    </a:lnTo>
                    <a:lnTo>
                      <a:pt x="1183" y="1327"/>
                    </a:lnTo>
                    <a:lnTo>
                      <a:pt x="1183" y="1325"/>
                    </a:lnTo>
                    <a:lnTo>
                      <a:pt x="1183" y="1323"/>
                    </a:lnTo>
                    <a:lnTo>
                      <a:pt x="1185" y="1325"/>
                    </a:lnTo>
                    <a:close/>
                    <a:moveTo>
                      <a:pt x="1169" y="1242"/>
                    </a:moveTo>
                    <a:lnTo>
                      <a:pt x="1171" y="1242"/>
                    </a:lnTo>
                    <a:lnTo>
                      <a:pt x="1171" y="1243"/>
                    </a:lnTo>
                    <a:lnTo>
                      <a:pt x="1171" y="1245"/>
                    </a:lnTo>
                    <a:lnTo>
                      <a:pt x="1171" y="1247"/>
                    </a:lnTo>
                    <a:lnTo>
                      <a:pt x="1169" y="1247"/>
                    </a:lnTo>
                    <a:lnTo>
                      <a:pt x="1169" y="1245"/>
                    </a:lnTo>
                    <a:lnTo>
                      <a:pt x="1169" y="1247"/>
                    </a:lnTo>
                    <a:lnTo>
                      <a:pt x="1169" y="1248"/>
                    </a:lnTo>
                    <a:lnTo>
                      <a:pt x="1168" y="1248"/>
                    </a:lnTo>
                    <a:lnTo>
                      <a:pt x="1169" y="1248"/>
                    </a:lnTo>
                    <a:lnTo>
                      <a:pt x="1171" y="1248"/>
                    </a:lnTo>
                    <a:lnTo>
                      <a:pt x="1171" y="1250"/>
                    </a:lnTo>
                    <a:lnTo>
                      <a:pt x="1171" y="1252"/>
                    </a:lnTo>
                    <a:lnTo>
                      <a:pt x="1169" y="1252"/>
                    </a:lnTo>
                    <a:lnTo>
                      <a:pt x="1168" y="1252"/>
                    </a:lnTo>
                    <a:lnTo>
                      <a:pt x="1168" y="1250"/>
                    </a:lnTo>
                    <a:lnTo>
                      <a:pt x="1166" y="1250"/>
                    </a:lnTo>
                    <a:lnTo>
                      <a:pt x="1164" y="1250"/>
                    </a:lnTo>
                    <a:lnTo>
                      <a:pt x="1164" y="1248"/>
                    </a:lnTo>
                    <a:lnTo>
                      <a:pt x="1164" y="1247"/>
                    </a:lnTo>
                    <a:lnTo>
                      <a:pt x="1166" y="1248"/>
                    </a:lnTo>
                    <a:lnTo>
                      <a:pt x="1168" y="1248"/>
                    </a:lnTo>
                    <a:lnTo>
                      <a:pt x="1166" y="1248"/>
                    </a:lnTo>
                    <a:lnTo>
                      <a:pt x="1164" y="1247"/>
                    </a:lnTo>
                    <a:lnTo>
                      <a:pt x="1166" y="1247"/>
                    </a:lnTo>
                    <a:lnTo>
                      <a:pt x="1164" y="1245"/>
                    </a:lnTo>
                    <a:lnTo>
                      <a:pt x="1166" y="1245"/>
                    </a:lnTo>
                    <a:lnTo>
                      <a:pt x="1166" y="1243"/>
                    </a:lnTo>
                    <a:lnTo>
                      <a:pt x="1168" y="1245"/>
                    </a:lnTo>
                    <a:lnTo>
                      <a:pt x="1168" y="1243"/>
                    </a:lnTo>
                    <a:lnTo>
                      <a:pt x="1168" y="1245"/>
                    </a:lnTo>
                    <a:lnTo>
                      <a:pt x="1168" y="1243"/>
                    </a:lnTo>
                    <a:lnTo>
                      <a:pt x="1169" y="1243"/>
                    </a:lnTo>
                    <a:lnTo>
                      <a:pt x="1168" y="1243"/>
                    </a:lnTo>
                    <a:lnTo>
                      <a:pt x="1166" y="1242"/>
                    </a:lnTo>
                    <a:lnTo>
                      <a:pt x="1168" y="1242"/>
                    </a:lnTo>
                    <a:lnTo>
                      <a:pt x="1169" y="1242"/>
                    </a:lnTo>
                    <a:close/>
                    <a:moveTo>
                      <a:pt x="1162" y="1286"/>
                    </a:moveTo>
                    <a:lnTo>
                      <a:pt x="1162" y="1288"/>
                    </a:lnTo>
                    <a:lnTo>
                      <a:pt x="1162" y="1289"/>
                    </a:lnTo>
                    <a:lnTo>
                      <a:pt x="1162" y="1291"/>
                    </a:lnTo>
                    <a:lnTo>
                      <a:pt x="1161" y="1291"/>
                    </a:lnTo>
                    <a:lnTo>
                      <a:pt x="1161" y="1293"/>
                    </a:lnTo>
                    <a:lnTo>
                      <a:pt x="1161" y="1294"/>
                    </a:lnTo>
                    <a:lnTo>
                      <a:pt x="1159" y="1293"/>
                    </a:lnTo>
                    <a:lnTo>
                      <a:pt x="1157" y="1291"/>
                    </a:lnTo>
                    <a:lnTo>
                      <a:pt x="1156" y="1291"/>
                    </a:lnTo>
                    <a:lnTo>
                      <a:pt x="1156" y="1289"/>
                    </a:lnTo>
                    <a:lnTo>
                      <a:pt x="1156" y="1291"/>
                    </a:lnTo>
                    <a:lnTo>
                      <a:pt x="1156" y="1289"/>
                    </a:lnTo>
                    <a:lnTo>
                      <a:pt x="1157" y="1288"/>
                    </a:lnTo>
                    <a:lnTo>
                      <a:pt x="1159" y="1288"/>
                    </a:lnTo>
                    <a:lnTo>
                      <a:pt x="1159" y="1289"/>
                    </a:lnTo>
                    <a:lnTo>
                      <a:pt x="1159" y="1288"/>
                    </a:lnTo>
                    <a:lnTo>
                      <a:pt x="1157" y="1288"/>
                    </a:lnTo>
                    <a:lnTo>
                      <a:pt x="1159" y="1286"/>
                    </a:lnTo>
                    <a:lnTo>
                      <a:pt x="1161" y="1284"/>
                    </a:lnTo>
                    <a:lnTo>
                      <a:pt x="1161" y="1282"/>
                    </a:lnTo>
                    <a:lnTo>
                      <a:pt x="1162" y="1282"/>
                    </a:lnTo>
                    <a:lnTo>
                      <a:pt x="1162" y="1284"/>
                    </a:lnTo>
                    <a:lnTo>
                      <a:pt x="1162" y="1286"/>
                    </a:lnTo>
                    <a:close/>
                    <a:moveTo>
                      <a:pt x="1188" y="1265"/>
                    </a:moveTo>
                    <a:lnTo>
                      <a:pt x="1188" y="1267"/>
                    </a:lnTo>
                    <a:lnTo>
                      <a:pt x="1188" y="1269"/>
                    </a:lnTo>
                    <a:lnTo>
                      <a:pt x="1190" y="1270"/>
                    </a:lnTo>
                    <a:lnTo>
                      <a:pt x="1188" y="1270"/>
                    </a:lnTo>
                    <a:lnTo>
                      <a:pt x="1190" y="1270"/>
                    </a:lnTo>
                    <a:lnTo>
                      <a:pt x="1190" y="1272"/>
                    </a:lnTo>
                    <a:lnTo>
                      <a:pt x="1191" y="1274"/>
                    </a:lnTo>
                    <a:lnTo>
                      <a:pt x="1190" y="1276"/>
                    </a:lnTo>
                    <a:lnTo>
                      <a:pt x="1188" y="1276"/>
                    </a:lnTo>
                    <a:lnTo>
                      <a:pt x="1188" y="1274"/>
                    </a:lnTo>
                    <a:lnTo>
                      <a:pt x="1186" y="1274"/>
                    </a:lnTo>
                    <a:lnTo>
                      <a:pt x="1188" y="1274"/>
                    </a:lnTo>
                    <a:lnTo>
                      <a:pt x="1188" y="1272"/>
                    </a:lnTo>
                    <a:lnTo>
                      <a:pt x="1186" y="1272"/>
                    </a:lnTo>
                    <a:lnTo>
                      <a:pt x="1185" y="1272"/>
                    </a:lnTo>
                    <a:lnTo>
                      <a:pt x="1183" y="1270"/>
                    </a:lnTo>
                    <a:lnTo>
                      <a:pt x="1181" y="1270"/>
                    </a:lnTo>
                    <a:lnTo>
                      <a:pt x="1181" y="1269"/>
                    </a:lnTo>
                    <a:lnTo>
                      <a:pt x="1183" y="1269"/>
                    </a:lnTo>
                    <a:lnTo>
                      <a:pt x="1185" y="1269"/>
                    </a:lnTo>
                    <a:lnTo>
                      <a:pt x="1185" y="1270"/>
                    </a:lnTo>
                    <a:lnTo>
                      <a:pt x="1186" y="1270"/>
                    </a:lnTo>
                    <a:lnTo>
                      <a:pt x="1188" y="1272"/>
                    </a:lnTo>
                    <a:lnTo>
                      <a:pt x="1186" y="1270"/>
                    </a:lnTo>
                    <a:lnTo>
                      <a:pt x="1185" y="1269"/>
                    </a:lnTo>
                    <a:lnTo>
                      <a:pt x="1185" y="1267"/>
                    </a:lnTo>
                    <a:lnTo>
                      <a:pt x="1186" y="1265"/>
                    </a:lnTo>
                    <a:lnTo>
                      <a:pt x="1188" y="1265"/>
                    </a:lnTo>
                    <a:close/>
                    <a:moveTo>
                      <a:pt x="1186" y="1403"/>
                    </a:moveTo>
                    <a:lnTo>
                      <a:pt x="1186" y="1405"/>
                    </a:lnTo>
                    <a:lnTo>
                      <a:pt x="1188" y="1407"/>
                    </a:lnTo>
                    <a:lnTo>
                      <a:pt x="1188" y="1408"/>
                    </a:lnTo>
                    <a:lnTo>
                      <a:pt x="1188" y="1410"/>
                    </a:lnTo>
                    <a:lnTo>
                      <a:pt x="1188" y="1412"/>
                    </a:lnTo>
                    <a:lnTo>
                      <a:pt x="1190" y="1412"/>
                    </a:lnTo>
                    <a:lnTo>
                      <a:pt x="1190" y="1413"/>
                    </a:lnTo>
                    <a:lnTo>
                      <a:pt x="1190" y="1415"/>
                    </a:lnTo>
                    <a:lnTo>
                      <a:pt x="1190" y="1417"/>
                    </a:lnTo>
                    <a:lnTo>
                      <a:pt x="1191" y="1418"/>
                    </a:lnTo>
                    <a:lnTo>
                      <a:pt x="1190" y="1418"/>
                    </a:lnTo>
                    <a:lnTo>
                      <a:pt x="1190" y="1420"/>
                    </a:lnTo>
                    <a:lnTo>
                      <a:pt x="1188" y="1420"/>
                    </a:lnTo>
                    <a:lnTo>
                      <a:pt x="1188" y="1422"/>
                    </a:lnTo>
                    <a:lnTo>
                      <a:pt x="1188" y="1420"/>
                    </a:lnTo>
                    <a:lnTo>
                      <a:pt x="1188" y="1418"/>
                    </a:lnTo>
                    <a:lnTo>
                      <a:pt x="1188" y="1417"/>
                    </a:lnTo>
                    <a:lnTo>
                      <a:pt x="1186" y="1415"/>
                    </a:lnTo>
                    <a:lnTo>
                      <a:pt x="1188" y="1415"/>
                    </a:lnTo>
                    <a:lnTo>
                      <a:pt x="1186" y="1413"/>
                    </a:lnTo>
                    <a:lnTo>
                      <a:pt x="1186" y="1412"/>
                    </a:lnTo>
                    <a:lnTo>
                      <a:pt x="1186" y="1410"/>
                    </a:lnTo>
                    <a:lnTo>
                      <a:pt x="1186" y="1408"/>
                    </a:lnTo>
                    <a:lnTo>
                      <a:pt x="1185" y="1407"/>
                    </a:lnTo>
                    <a:lnTo>
                      <a:pt x="1186" y="1407"/>
                    </a:lnTo>
                    <a:lnTo>
                      <a:pt x="1185" y="1407"/>
                    </a:lnTo>
                    <a:lnTo>
                      <a:pt x="1186" y="1407"/>
                    </a:lnTo>
                    <a:lnTo>
                      <a:pt x="1186" y="1405"/>
                    </a:lnTo>
                    <a:lnTo>
                      <a:pt x="1185" y="1405"/>
                    </a:lnTo>
                    <a:lnTo>
                      <a:pt x="1185" y="1403"/>
                    </a:lnTo>
                    <a:lnTo>
                      <a:pt x="1186" y="1403"/>
                    </a:lnTo>
                    <a:close/>
                    <a:moveTo>
                      <a:pt x="1185" y="1112"/>
                    </a:moveTo>
                    <a:lnTo>
                      <a:pt x="1186" y="1114"/>
                    </a:lnTo>
                    <a:lnTo>
                      <a:pt x="1188" y="1114"/>
                    </a:lnTo>
                    <a:lnTo>
                      <a:pt x="1188" y="1116"/>
                    </a:lnTo>
                    <a:lnTo>
                      <a:pt x="1188" y="1114"/>
                    </a:lnTo>
                    <a:lnTo>
                      <a:pt x="1190" y="1114"/>
                    </a:lnTo>
                    <a:lnTo>
                      <a:pt x="1190" y="1116"/>
                    </a:lnTo>
                    <a:lnTo>
                      <a:pt x="1190" y="1117"/>
                    </a:lnTo>
                    <a:lnTo>
                      <a:pt x="1188" y="1117"/>
                    </a:lnTo>
                    <a:lnTo>
                      <a:pt x="1190" y="1117"/>
                    </a:lnTo>
                    <a:lnTo>
                      <a:pt x="1190" y="1119"/>
                    </a:lnTo>
                    <a:lnTo>
                      <a:pt x="1190" y="1121"/>
                    </a:lnTo>
                    <a:lnTo>
                      <a:pt x="1188" y="1121"/>
                    </a:lnTo>
                    <a:lnTo>
                      <a:pt x="1188" y="1119"/>
                    </a:lnTo>
                    <a:lnTo>
                      <a:pt x="1188" y="1117"/>
                    </a:lnTo>
                    <a:lnTo>
                      <a:pt x="1188" y="1116"/>
                    </a:lnTo>
                    <a:lnTo>
                      <a:pt x="1188" y="1114"/>
                    </a:lnTo>
                    <a:lnTo>
                      <a:pt x="1186" y="1116"/>
                    </a:lnTo>
                    <a:lnTo>
                      <a:pt x="1188" y="1117"/>
                    </a:lnTo>
                    <a:lnTo>
                      <a:pt x="1186" y="1117"/>
                    </a:lnTo>
                    <a:lnTo>
                      <a:pt x="1186" y="1116"/>
                    </a:lnTo>
                    <a:lnTo>
                      <a:pt x="1186" y="1117"/>
                    </a:lnTo>
                    <a:lnTo>
                      <a:pt x="1186" y="1119"/>
                    </a:lnTo>
                    <a:lnTo>
                      <a:pt x="1186" y="1121"/>
                    </a:lnTo>
                    <a:lnTo>
                      <a:pt x="1186" y="1119"/>
                    </a:lnTo>
                    <a:lnTo>
                      <a:pt x="1185" y="1119"/>
                    </a:lnTo>
                    <a:lnTo>
                      <a:pt x="1185" y="1117"/>
                    </a:lnTo>
                    <a:lnTo>
                      <a:pt x="1183" y="1117"/>
                    </a:lnTo>
                    <a:lnTo>
                      <a:pt x="1183" y="1116"/>
                    </a:lnTo>
                    <a:lnTo>
                      <a:pt x="1183" y="1114"/>
                    </a:lnTo>
                    <a:lnTo>
                      <a:pt x="1183" y="1112"/>
                    </a:lnTo>
                    <a:lnTo>
                      <a:pt x="1185" y="1112"/>
                    </a:lnTo>
                    <a:close/>
                    <a:moveTo>
                      <a:pt x="1161" y="1235"/>
                    </a:moveTo>
                    <a:lnTo>
                      <a:pt x="1159" y="1236"/>
                    </a:lnTo>
                    <a:lnTo>
                      <a:pt x="1161" y="1236"/>
                    </a:lnTo>
                    <a:lnTo>
                      <a:pt x="1161" y="1238"/>
                    </a:lnTo>
                    <a:lnTo>
                      <a:pt x="1159" y="1240"/>
                    </a:lnTo>
                    <a:lnTo>
                      <a:pt x="1157" y="1240"/>
                    </a:lnTo>
                    <a:lnTo>
                      <a:pt x="1159" y="1240"/>
                    </a:lnTo>
                    <a:lnTo>
                      <a:pt x="1161" y="1240"/>
                    </a:lnTo>
                    <a:lnTo>
                      <a:pt x="1162" y="1240"/>
                    </a:lnTo>
                    <a:lnTo>
                      <a:pt x="1162" y="1242"/>
                    </a:lnTo>
                    <a:lnTo>
                      <a:pt x="1161" y="1242"/>
                    </a:lnTo>
                    <a:lnTo>
                      <a:pt x="1161" y="1243"/>
                    </a:lnTo>
                    <a:lnTo>
                      <a:pt x="1159" y="1243"/>
                    </a:lnTo>
                    <a:lnTo>
                      <a:pt x="1157" y="1243"/>
                    </a:lnTo>
                    <a:lnTo>
                      <a:pt x="1157" y="1242"/>
                    </a:lnTo>
                    <a:lnTo>
                      <a:pt x="1156" y="1240"/>
                    </a:lnTo>
                    <a:lnTo>
                      <a:pt x="1156" y="1242"/>
                    </a:lnTo>
                    <a:lnTo>
                      <a:pt x="1157" y="1243"/>
                    </a:lnTo>
                    <a:lnTo>
                      <a:pt x="1156" y="1243"/>
                    </a:lnTo>
                    <a:lnTo>
                      <a:pt x="1156" y="1242"/>
                    </a:lnTo>
                    <a:lnTo>
                      <a:pt x="1156" y="1240"/>
                    </a:lnTo>
                    <a:lnTo>
                      <a:pt x="1154" y="1240"/>
                    </a:lnTo>
                    <a:lnTo>
                      <a:pt x="1152" y="1240"/>
                    </a:lnTo>
                    <a:lnTo>
                      <a:pt x="1151" y="1240"/>
                    </a:lnTo>
                    <a:lnTo>
                      <a:pt x="1151" y="1242"/>
                    </a:lnTo>
                    <a:lnTo>
                      <a:pt x="1151" y="1240"/>
                    </a:lnTo>
                    <a:lnTo>
                      <a:pt x="1151" y="1238"/>
                    </a:lnTo>
                    <a:lnTo>
                      <a:pt x="1152" y="1238"/>
                    </a:lnTo>
                    <a:lnTo>
                      <a:pt x="1152" y="1236"/>
                    </a:lnTo>
                    <a:lnTo>
                      <a:pt x="1152" y="1238"/>
                    </a:lnTo>
                    <a:lnTo>
                      <a:pt x="1154" y="1236"/>
                    </a:lnTo>
                    <a:lnTo>
                      <a:pt x="1154" y="1238"/>
                    </a:lnTo>
                    <a:lnTo>
                      <a:pt x="1154" y="1240"/>
                    </a:lnTo>
                    <a:lnTo>
                      <a:pt x="1154" y="1238"/>
                    </a:lnTo>
                    <a:lnTo>
                      <a:pt x="1156" y="1238"/>
                    </a:lnTo>
                    <a:lnTo>
                      <a:pt x="1157" y="1238"/>
                    </a:lnTo>
                    <a:lnTo>
                      <a:pt x="1157" y="1236"/>
                    </a:lnTo>
                    <a:lnTo>
                      <a:pt x="1159" y="1236"/>
                    </a:lnTo>
                    <a:lnTo>
                      <a:pt x="1157" y="1236"/>
                    </a:lnTo>
                    <a:lnTo>
                      <a:pt x="1159" y="1235"/>
                    </a:lnTo>
                    <a:lnTo>
                      <a:pt x="1161" y="1235"/>
                    </a:lnTo>
                    <a:close/>
                    <a:moveTo>
                      <a:pt x="1234" y="1456"/>
                    </a:moveTo>
                    <a:lnTo>
                      <a:pt x="1234" y="1458"/>
                    </a:lnTo>
                    <a:lnTo>
                      <a:pt x="1232" y="1458"/>
                    </a:lnTo>
                    <a:lnTo>
                      <a:pt x="1232" y="1459"/>
                    </a:lnTo>
                    <a:lnTo>
                      <a:pt x="1232" y="1461"/>
                    </a:lnTo>
                    <a:lnTo>
                      <a:pt x="1230" y="1461"/>
                    </a:lnTo>
                    <a:lnTo>
                      <a:pt x="1230" y="1463"/>
                    </a:lnTo>
                    <a:lnTo>
                      <a:pt x="1230" y="1464"/>
                    </a:lnTo>
                    <a:lnTo>
                      <a:pt x="1229" y="1464"/>
                    </a:lnTo>
                    <a:lnTo>
                      <a:pt x="1229" y="1466"/>
                    </a:lnTo>
                    <a:lnTo>
                      <a:pt x="1227" y="1466"/>
                    </a:lnTo>
                    <a:lnTo>
                      <a:pt x="1225" y="1466"/>
                    </a:lnTo>
                    <a:lnTo>
                      <a:pt x="1225" y="1464"/>
                    </a:lnTo>
                    <a:lnTo>
                      <a:pt x="1225" y="1463"/>
                    </a:lnTo>
                    <a:lnTo>
                      <a:pt x="1225" y="1461"/>
                    </a:lnTo>
                    <a:lnTo>
                      <a:pt x="1227" y="1461"/>
                    </a:lnTo>
                    <a:lnTo>
                      <a:pt x="1227" y="1459"/>
                    </a:lnTo>
                    <a:lnTo>
                      <a:pt x="1229" y="1458"/>
                    </a:lnTo>
                    <a:lnTo>
                      <a:pt x="1230" y="1458"/>
                    </a:lnTo>
                    <a:lnTo>
                      <a:pt x="1230" y="1456"/>
                    </a:lnTo>
                    <a:lnTo>
                      <a:pt x="1232" y="1456"/>
                    </a:lnTo>
                    <a:lnTo>
                      <a:pt x="1234" y="1456"/>
                    </a:lnTo>
                    <a:lnTo>
                      <a:pt x="1234" y="1454"/>
                    </a:lnTo>
                    <a:lnTo>
                      <a:pt x="1234" y="1456"/>
                    </a:lnTo>
                    <a:close/>
                    <a:moveTo>
                      <a:pt x="1183" y="1117"/>
                    </a:moveTo>
                    <a:lnTo>
                      <a:pt x="1185" y="1117"/>
                    </a:lnTo>
                    <a:lnTo>
                      <a:pt x="1185" y="1119"/>
                    </a:lnTo>
                    <a:lnTo>
                      <a:pt x="1186" y="1119"/>
                    </a:lnTo>
                    <a:lnTo>
                      <a:pt x="1186" y="1121"/>
                    </a:lnTo>
                    <a:lnTo>
                      <a:pt x="1186" y="1122"/>
                    </a:lnTo>
                    <a:lnTo>
                      <a:pt x="1188" y="1124"/>
                    </a:lnTo>
                    <a:lnTo>
                      <a:pt x="1186" y="1124"/>
                    </a:lnTo>
                    <a:lnTo>
                      <a:pt x="1185" y="1124"/>
                    </a:lnTo>
                    <a:lnTo>
                      <a:pt x="1183" y="1124"/>
                    </a:lnTo>
                    <a:lnTo>
                      <a:pt x="1183" y="1122"/>
                    </a:lnTo>
                    <a:lnTo>
                      <a:pt x="1181" y="1122"/>
                    </a:lnTo>
                    <a:lnTo>
                      <a:pt x="1179" y="1122"/>
                    </a:lnTo>
                    <a:lnTo>
                      <a:pt x="1179" y="1121"/>
                    </a:lnTo>
                    <a:lnTo>
                      <a:pt x="1179" y="1119"/>
                    </a:lnTo>
                    <a:lnTo>
                      <a:pt x="1181" y="1117"/>
                    </a:lnTo>
                    <a:lnTo>
                      <a:pt x="1183" y="1117"/>
                    </a:lnTo>
                    <a:close/>
                    <a:moveTo>
                      <a:pt x="1173" y="1373"/>
                    </a:moveTo>
                    <a:lnTo>
                      <a:pt x="1174" y="1373"/>
                    </a:lnTo>
                    <a:lnTo>
                      <a:pt x="1174" y="1374"/>
                    </a:lnTo>
                    <a:lnTo>
                      <a:pt x="1176" y="1374"/>
                    </a:lnTo>
                    <a:lnTo>
                      <a:pt x="1178" y="1374"/>
                    </a:lnTo>
                    <a:lnTo>
                      <a:pt x="1176" y="1374"/>
                    </a:lnTo>
                    <a:lnTo>
                      <a:pt x="1178" y="1374"/>
                    </a:lnTo>
                    <a:lnTo>
                      <a:pt x="1178" y="1376"/>
                    </a:lnTo>
                    <a:lnTo>
                      <a:pt x="1176" y="1376"/>
                    </a:lnTo>
                    <a:lnTo>
                      <a:pt x="1176" y="1378"/>
                    </a:lnTo>
                    <a:lnTo>
                      <a:pt x="1176" y="1376"/>
                    </a:lnTo>
                    <a:lnTo>
                      <a:pt x="1176" y="1378"/>
                    </a:lnTo>
                    <a:lnTo>
                      <a:pt x="1174" y="1378"/>
                    </a:lnTo>
                    <a:lnTo>
                      <a:pt x="1174" y="1379"/>
                    </a:lnTo>
                    <a:lnTo>
                      <a:pt x="1173" y="1379"/>
                    </a:lnTo>
                    <a:lnTo>
                      <a:pt x="1173" y="1381"/>
                    </a:lnTo>
                    <a:lnTo>
                      <a:pt x="1171" y="1381"/>
                    </a:lnTo>
                    <a:lnTo>
                      <a:pt x="1169" y="1379"/>
                    </a:lnTo>
                    <a:lnTo>
                      <a:pt x="1171" y="1379"/>
                    </a:lnTo>
                    <a:lnTo>
                      <a:pt x="1171" y="1378"/>
                    </a:lnTo>
                    <a:lnTo>
                      <a:pt x="1171" y="1379"/>
                    </a:lnTo>
                    <a:lnTo>
                      <a:pt x="1171" y="1378"/>
                    </a:lnTo>
                    <a:lnTo>
                      <a:pt x="1171" y="1376"/>
                    </a:lnTo>
                    <a:lnTo>
                      <a:pt x="1171" y="1378"/>
                    </a:lnTo>
                    <a:lnTo>
                      <a:pt x="1169" y="1378"/>
                    </a:lnTo>
                    <a:lnTo>
                      <a:pt x="1169" y="1376"/>
                    </a:lnTo>
                    <a:lnTo>
                      <a:pt x="1171" y="1376"/>
                    </a:lnTo>
                    <a:lnTo>
                      <a:pt x="1171" y="1374"/>
                    </a:lnTo>
                    <a:lnTo>
                      <a:pt x="1173" y="1374"/>
                    </a:lnTo>
                    <a:lnTo>
                      <a:pt x="1173" y="1373"/>
                    </a:lnTo>
                    <a:close/>
                    <a:moveTo>
                      <a:pt x="1436" y="1645"/>
                    </a:moveTo>
                    <a:lnTo>
                      <a:pt x="1438" y="1645"/>
                    </a:lnTo>
                    <a:lnTo>
                      <a:pt x="1438" y="1646"/>
                    </a:lnTo>
                    <a:lnTo>
                      <a:pt x="1438" y="1648"/>
                    </a:lnTo>
                    <a:lnTo>
                      <a:pt x="1438" y="1650"/>
                    </a:lnTo>
                    <a:lnTo>
                      <a:pt x="1438" y="1652"/>
                    </a:lnTo>
                    <a:lnTo>
                      <a:pt x="1436" y="1652"/>
                    </a:lnTo>
                    <a:lnTo>
                      <a:pt x="1438" y="1653"/>
                    </a:lnTo>
                    <a:lnTo>
                      <a:pt x="1436" y="1652"/>
                    </a:lnTo>
                    <a:lnTo>
                      <a:pt x="1436" y="1653"/>
                    </a:lnTo>
                    <a:lnTo>
                      <a:pt x="1434" y="1653"/>
                    </a:lnTo>
                    <a:lnTo>
                      <a:pt x="1433" y="1653"/>
                    </a:lnTo>
                    <a:lnTo>
                      <a:pt x="1431" y="1653"/>
                    </a:lnTo>
                    <a:lnTo>
                      <a:pt x="1431" y="1652"/>
                    </a:lnTo>
                    <a:lnTo>
                      <a:pt x="1431" y="1650"/>
                    </a:lnTo>
                    <a:lnTo>
                      <a:pt x="1431" y="1648"/>
                    </a:lnTo>
                    <a:lnTo>
                      <a:pt x="1433" y="1646"/>
                    </a:lnTo>
                    <a:lnTo>
                      <a:pt x="1434" y="1645"/>
                    </a:lnTo>
                    <a:lnTo>
                      <a:pt x="1436" y="1645"/>
                    </a:lnTo>
                    <a:close/>
                    <a:moveTo>
                      <a:pt x="1171" y="1036"/>
                    </a:moveTo>
                    <a:lnTo>
                      <a:pt x="1173" y="1036"/>
                    </a:lnTo>
                    <a:lnTo>
                      <a:pt x="1174" y="1036"/>
                    </a:lnTo>
                    <a:lnTo>
                      <a:pt x="1176" y="1037"/>
                    </a:lnTo>
                    <a:lnTo>
                      <a:pt x="1176" y="1039"/>
                    </a:lnTo>
                    <a:lnTo>
                      <a:pt x="1178" y="1039"/>
                    </a:lnTo>
                    <a:lnTo>
                      <a:pt x="1176" y="1039"/>
                    </a:lnTo>
                    <a:lnTo>
                      <a:pt x="1176" y="1041"/>
                    </a:lnTo>
                    <a:lnTo>
                      <a:pt x="1174" y="1041"/>
                    </a:lnTo>
                    <a:lnTo>
                      <a:pt x="1173" y="1041"/>
                    </a:lnTo>
                    <a:lnTo>
                      <a:pt x="1171" y="1041"/>
                    </a:lnTo>
                    <a:lnTo>
                      <a:pt x="1171" y="1043"/>
                    </a:lnTo>
                    <a:lnTo>
                      <a:pt x="1169" y="1041"/>
                    </a:lnTo>
                    <a:lnTo>
                      <a:pt x="1169" y="1039"/>
                    </a:lnTo>
                    <a:lnTo>
                      <a:pt x="1169" y="1037"/>
                    </a:lnTo>
                    <a:lnTo>
                      <a:pt x="1168" y="1037"/>
                    </a:lnTo>
                    <a:lnTo>
                      <a:pt x="1169" y="1037"/>
                    </a:lnTo>
                    <a:lnTo>
                      <a:pt x="1168" y="1036"/>
                    </a:lnTo>
                    <a:lnTo>
                      <a:pt x="1169" y="1037"/>
                    </a:lnTo>
                    <a:lnTo>
                      <a:pt x="1171" y="1037"/>
                    </a:lnTo>
                    <a:lnTo>
                      <a:pt x="1171" y="1036"/>
                    </a:lnTo>
                    <a:lnTo>
                      <a:pt x="1171" y="1034"/>
                    </a:lnTo>
                    <a:lnTo>
                      <a:pt x="1171" y="1036"/>
                    </a:lnTo>
                    <a:close/>
                    <a:moveTo>
                      <a:pt x="1195" y="1420"/>
                    </a:moveTo>
                    <a:lnTo>
                      <a:pt x="1196" y="1420"/>
                    </a:lnTo>
                    <a:lnTo>
                      <a:pt x="1198" y="1420"/>
                    </a:lnTo>
                    <a:lnTo>
                      <a:pt x="1198" y="1422"/>
                    </a:lnTo>
                    <a:lnTo>
                      <a:pt x="1198" y="1424"/>
                    </a:lnTo>
                    <a:lnTo>
                      <a:pt x="1198" y="1425"/>
                    </a:lnTo>
                    <a:lnTo>
                      <a:pt x="1196" y="1424"/>
                    </a:lnTo>
                    <a:lnTo>
                      <a:pt x="1196" y="1425"/>
                    </a:lnTo>
                    <a:lnTo>
                      <a:pt x="1198" y="1427"/>
                    </a:lnTo>
                    <a:lnTo>
                      <a:pt x="1196" y="1427"/>
                    </a:lnTo>
                    <a:lnTo>
                      <a:pt x="1195" y="1429"/>
                    </a:lnTo>
                    <a:lnTo>
                      <a:pt x="1195" y="1427"/>
                    </a:lnTo>
                    <a:lnTo>
                      <a:pt x="1193" y="1425"/>
                    </a:lnTo>
                    <a:lnTo>
                      <a:pt x="1193" y="1424"/>
                    </a:lnTo>
                    <a:lnTo>
                      <a:pt x="1193" y="1425"/>
                    </a:lnTo>
                    <a:lnTo>
                      <a:pt x="1193" y="1424"/>
                    </a:lnTo>
                    <a:lnTo>
                      <a:pt x="1193" y="1422"/>
                    </a:lnTo>
                    <a:lnTo>
                      <a:pt x="1193" y="1420"/>
                    </a:lnTo>
                    <a:lnTo>
                      <a:pt x="1195" y="1420"/>
                    </a:lnTo>
                    <a:close/>
                    <a:moveTo>
                      <a:pt x="1412" y="1680"/>
                    </a:moveTo>
                    <a:lnTo>
                      <a:pt x="1414" y="1680"/>
                    </a:lnTo>
                    <a:lnTo>
                      <a:pt x="1416" y="1682"/>
                    </a:lnTo>
                    <a:lnTo>
                      <a:pt x="1414" y="1682"/>
                    </a:lnTo>
                    <a:lnTo>
                      <a:pt x="1414" y="1684"/>
                    </a:lnTo>
                    <a:lnTo>
                      <a:pt x="1412" y="1684"/>
                    </a:lnTo>
                    <a:lnTo>
                      <a:pt x="1414" y="1684"/>
                    </a:lnTo>
                    <a:lnTo>
                      <a:pt x="1414" y="1686"/>
                    </a:lnTo>
                    <a:lnTo>
                      <a:pt x="1412" y="1686"/>
                    </a:lnTo>
                    <a:lnTo>
                      <a:pt x="1412" y="1684"/>
                    </a:lnTo>
                    <a:lnTo>
                      <a:pt x="1412" y="1686"/>
                    </a:lnTo>
                    <a:lnTo>
                      <a:pt x="1411" y="1687"/>
                    </a:lnTo>
                    <a:lnTo>
                      <a:pt x="1411" y="1686"/>
                    </a:lnTo>
                    <a:lnTo>
                      <a:pt x="1411" y="1684"/>
                    </a:lnTo>
                    <a:lnTo>
                      <a:pt x="1412" y="1684"/>
                    </a:lnTo>
                    <a:lnTo>
                      <a:pt x="1411" y="1682"/>
                    </a:lnTo>
                    <a:lnTo>
                      <a:pt x="1411" y="1684"/>
                    </a:lnTo>
                    <a:lnTo>
                      <a:pt x="1409" y="1684"/>
                    </a:lnTo>
                    <a:lnTo>
                      <a:pt x="1409" y="1686"/>
                    </a:lnTo>
                    <a:lnTo>
                      <a:pt x="1407" y="1686"/>
                    </a:lnTo>
                    <a:lnTo>
                      <a:pt x="1407" y="1684"/>
                    </a:lnTo>
                    <a:lnTo>
                      <a:pt x="1407" y="1682"/>
                    </a:lnTo>
                    <a:lnTo>
                      <a:pt x="1407" y="1684"/>
                    </a:lnTo>
                    <a:lnTo>
                      <a:pt x="1406" y="1684"/>
                    </a:lnTo>
                    <a:lnTo>
                      <a:pt x="1406" y="1686"/>
                    </a:lnTo>
                    <a:lnTo>
                      <a:pt x="1404" y="1686"/>
                    </a:lnTo>
                    <a:lnTo>
                      <a:pt x="1404" y="1684"/>
                    </a:lnTo>
                    <a:lnTo>
                      <a:pt x="1404" y="1686"/>
                    </a:lnTo>
                    <a:lnTo>
                      <a:pt x="1402" y="1686"/>
                    </a:lnTo>
                    <a:lnTo>
                      <a:pt x="1402" y="1684"/>
                    </a:lnTo>
                    <a:lnTo>
                      <a:pt x="1402" y="1682"/>
                    </a:lnTo>
                    <a:lnTo>
                      <a:pt x="1402" y="1680"/>
                    </a:lnTo>
                    <a:lnTo>
                      <a:pt x="1404" y="1682"/>
                    </a:lnTo>
                    <a:lnTo>
                      <a:pt x="1404" y="1680"/>
                    </a:lnTo>
                    <a:lnTo>
                      <a:pt x="1406" y="1680"/>
                    </a:lnTo>
                    <a:lnTo>
                      <a:pt x="1406" y="1682"/>
                    </a:lnTo>
                    <a:lnTo>
                      <a:pt x="1406" y="1680"/>
                    </a:lnTo>
                    <a:lnTo>
                      <a:pt x="1407" y="1682"/>
                    </a:lnTo>
                    <a:lnTo>
                      <a:pt x="1409" y="1680"/>
                    </a:lnTo>
                    <a:lnTo>
                      <a:pt x="1409" y="1682"/>
                    </a:lnTo>
                    <a:lnTo>
                      <a:pt x="1411" y="1680"/>
                    </a:lnTo>
                    <a:lnTo>
                      <a:pt x="1411" y="1682"/>
                    </a:lnTo>
                    <a:lnTo>
                      <a:pt x="1411" y="1680"/>
                    </a:lnTo>
                    <a:lnTo>
                      <a:pt x="1412" y="1682"/>
                    </a:lnTo>
                    <a:lnTo>
                      <a:pt x="1414" y="1680"/>
                    </a:lnTo>
                    <a:lnTo>
                      <a:pt x="1412" y="1680"/>
                    </a:lnTo>
                    <a:lnTo>
                      <a:pt x="1412" y="1679"/>
                    </a:lnTo>
                    <a:lnTo>
                      <a:pt x="1412" y="1680"/>
                    </a:lnTo>
                    <a:close/>
                    <a:moveTo>
                      <a:pt x="1162" y="1446"/>
                    </a:moveTo>
                    <a:lnTo>
                      <a:pt x="1164" y="1447"/>
                    </a:lnTo>
                    <a:lnTo>
                      <a:pt x="1162" y="1449"/>
                    </a:lnTo>
                    <a:lnTo>
                      <a:pt x="1164" y="1449"/>
                    </a:lnTo>
                    <a:lnTo>
                      <a:pt x="1162" y="1451"/>
                    </a:lnTo>
                    <a:lnTo>
                      <a:pt x="1164" y="1451"/>
                    </a:lnTo>
                    <a:lnTo>
                      <a:pt x="1164" y="1453"/>
                    </a:lnTo>
                    <a:lnTo>
                      <a:pt x="1162" y="1453"/>
                    </a:lnTo>
                    <a:lnTo>
                      <a:pt x="1162" y="1454"/>
                    </a:lnTo>
                    <a:lnTo>
                      <a:pt x="1162" y="1456"/>
                    </a:lnTo>
                    <a:lnTo>
                      <a:pt x="1161" y="1456"/>
                    </a:lnTo>
                    <a:lnTo>
                      <a:pt x="1161" y="1458"/>
                    </a:lnTo>
                    <a:lnTo>
                      <a:pt x="1159" y="1458"/>
                    </a:lnTo>
                    <a:lnTo>
                      <a:pt x="1159" y="1456"/>
                    </a:lnTo>
                    <a:lnTo>
                      <a:pt x="1161" y="1454"/>
                    </a:lnTo>
                    <a:lnTo>
                      <a:pt x="1161" y="1453"/>
                    </a:lnTo>
                    <a:lnTo>
                      <a:pt x="1159" y="1453"/>
                    </a:lnTo>
                    <a:lnTo>
                      <a:pt x="1159" y="1451"/>
                    </a:lnTo>
                    <a:lnTo>
                      <a:pt x="1161" y="1451"/>
                    </a:lnTo>
                    <a:lnTo>
                      <a:pt x="1159" y="1449"/>
                    </a:lnTo>
                    <a:lnTo>
                      <a:pt x="1161" y="1447"/>
                    </a:lnTo>
                    <a:lnTo>
                      <a:pt x="1161" y="1449"/>
                    </a:lnTo>
                    <a:lnTo>
                      <a:pt x="1161" y="1447"/>
                    </a:lnTo>
                    <a:lnTo>
                      <a:pt x="1162" y="1447"/>
                    </a:lnTo>
                    <a:lnTo>
                      <a:pt x="1162" y="1446"/>
                    </a:lnTo>
                    <a:close/>
                    <a:moveTo>
                      <a:pt x="1312" y="1623"/>
                    </a:moveTo>
                    <a:lnTo>
                      <a:pt x="1314" y="1623"/>
                    </a:lnTo>
                    <a:lnTo>
                      <a:pt x="1315" y="1623"/>
                    </a:lnTo>
                    <a:lnTo>
                      <a:pt x="1317" y="1623"/>
                    </a:lnTo>
                    <a:lnTo>
                      <a:pt x="1315" y="1624"/>
                    </a:lnTo>
                    <a:lnTo>
                      <a:pt x="1317" y="1624"/>
                    </a:lnTo>
                    <a:lnTo>
                      <a:pt x="1319" y="1624"/>
                    </a:lnTo>
                    <a:lnTo>
                      <a:pt x="1317" y="1626"/>
                    </a:lnTo>
                    <a:lnTo>
                      <a:pt x="1315" y="1626"/>
                    </a:lnTo>
                    <a:lnTo>
                      <a:pt x="1314" y="1626"/>
                    </a:lnTo>
                    <a:lnTo>
                      <a:pt x="1314" y="1628"/>
                    </a:lnTo>
                    <a:lnTo>
                      <a:pt x="1312" y="1626"/>
                    </a:lnTo>
                    <a:lnTo>
                      <a:pt x="1312" y="1628"/>
                    </a:lnTo>
                    <a:lnTo>
                      <a:pt x="1310" y="1628"/>
                    </a:lnTo>
                    <a:lnTo>
                      <a:pt x="1310" y="1626"/>
                    </a:lnTo>
                    <a:lnTo>
                      <a:pt x="1309" y="1628"/>
                    </a:lnTo>
                    <a:lnTo>
                      <a:pt x="1309" y="1626"/>
                    </a:lnTo>
                    <a:lnTo>
                      <a:pt x="1307" y="1624"/>
                    </a:lnTo>
                    <a:lnTo>
                      <a:pt x="1307" y="1626"/>
                    </a:lnTo>
                    <a:lnTo>
                      <a:pt x="1305" y="1626"/>
                    </a:lnTo>
                    <a:lnTo>
                      <a:pt x="1305" y="1624"/>
                    </a:lnTo>
                    <a:lnTo>
                      <a:pt x="1307" y="1624"/>
                    </a:lnTo>
                    <a:lnTo>
                      <a:pt x="1307" y="1623"/>
                    </a:lnTo>
                    <a:lnTo>
                      <a:pt x="1309" y="1623"/>
                    </a:lnTo>
                    <a:lnTo>
                      <a:pt x="1309" y="1624"/>
                    </a:lnTo>
                    <a:lnTo>
                      <a:pt x="1310" y="1623"/>
                    </a:lnTo>
                    <a:lnTo>
                      <a:pt x="1312" y="1623"/>
                    </a:lnTo>
                    <a:close/>
                    <a:moveTo>
                      <a:pt x="1179" y="1133"/>
                    </a:moveTo>
                    <a:lnTo>
                      <a:pt x="1179" y="1134"/>
                    </a:lnTo>
                    <a:lnTo>
                      <a:pt x="1178" y="1134"/>
                    </a:lnTo>
                    <a:lnTo>
                      <a:pt x="1178" y="1136"/>
                    </a:lnTo>
                    <a:lnTo>
                      <a:pt x="1178" y="1138"/>
                    </a:lnTo>
                    <a:lnTo>
                      <a:pt x="1178" y="1140"/>
                    </a:lnTo>
                    <a:lnTo>
                      <a:pt x="1176" y="1141"/>
                    </a:lnTo>
                    <a:lnTo>
                      <a:pt x="1176" y="1140"/>
                    </a:lnTo>
                    <a:lnTo>
                      <a:pt x="1174" y="1141"/>
                    </a:lnTo>
                    <a:lnTo>
                      <a:pt x="1173" y="1140"/>
                    </a:lnTo>
                    <a:lnTo>
                      <a:pt x="1174" y="1140"/>
                    </a:lnTo>
                    <a:lnTo>
                      <a:pt x="1173" y="1140"/>
                    </a:lnTo>
                    <a:lnTo>
                      <a:pt x="1173" y="1138"/>
                    </a:lnTo>
                    <a:lnTo>
                      <a:pt x="1174" y="1136"/>
                    </a:lnTo>
                    <a:lnTo>
                      <a:pt x="1174" y="1134"/>
                    </a:lnTo>
                    <a:lnTo>
                      <a:pt x="1176" y="1133"/>
                    </a:lnTo>
                    <a:lnTo>
                      <a:pt x="1178" y="1133"/>
                    </a:lnTo>
                    <a:lnTo>
                      <a:pt x="1179" y="1133"/>
                    </a:lnTo>
                    <a:close/>
                    <a:moveTo>
                      <a:pt x="1166" y="1473"/>
                    </a:moveTo>
                    <a:lnTo>
                      <a:pt x="1168" y="1473"/>
                    </a:lnTo>
                    <a:lnTo>
                      <a:pt x="1169" y="1473"/>
                    </a:lnTo>
                    <a:lnTo>
                      <a:pt x="1169" y="1475"/>
                    </a:lnTo>
                    <a:lnTo>
                      <a:pt x="1171" y="1475"/>
                    </a:lnTo>
                    <a:lnTo>
                      <a:pt x="1171" y="1476"/>
                    </a:lnTo>
                    <a:lnTo>
                      <a:pt x="1173" y="1476"/>
                    </a:lnTo>
                    <a:lnTo>
                      <a:pt x="1174" y="1475"/>
                    </a:lnTo>
                    <a:lnTo>
                      <a:pt x="1176" y="1473"/>
                    </a:lnTo>
                    <a:lnTo>
                      <a:pt x="1176" y="1475"/>
                    </a:lnTo>
                    <a:lnTo>
                      <a:pt x="1176" y="1476"/>
                    </a:lnTo>
                    <a:lnTo>
                      <a:pt x="1174" y="1476"/>
                    </a:lnTo>
                    <a:lnTo>
                      <a:pt x="1176" y="1478"/>
                    </a:lnTo>
                    <a:lnTo>
                      <a:pt x="1174" y="1478"/>
                    </a:lnTo>
                    <a:lnTo>
                      <a:pt x="1176" y="1480"/>
                    </a:lnTo>
                    <a:lnTo>
                      <a:pt x="1174" y="1480"/>
                    </a:lnTo>
                    <a:lnTo>
                      <a:pt x="1173" y="1478"/>
                    </a:lnTo>
                    <a:lnTo>
                      <a:pt x="1173" y="1480"/>
                    </a:lnTo>
                    <a:lnTo>
                      <a:pt x="1174" y="1480"/>
                    </a:lnTo>
                    <a:lnTo>
                      <a:pt x="1173" y="1480"/>
                    </a:lnTo>
                    <a:lnTo>
                      <a:pt x="1171" y="1480"/>
                    </a:lnTo>
                    <a:lnTo>
                      <a:pt x="1169" y="1480"/>
                    </a:lnTo>
                    <a:lnTo>
                      <a:pt x="1171" y="1478"/>
                    </a:lnTo>
                    <a:lnTo>
                      <a:pt x="1169" y="1478"/>
                    </a:lnTo>
                    <a:lnTo>
                      <a:pt x="1171" y="1476"/>
                    </a:lnTo>
                    <a:lnTo>
                      <a:pt x="1169" y="1476"/>
                    </a:lnTo>
                    <a:lnTo>
                      <a:pt x="1168" y="1476"/>
                    </a:lnTo>
                    <a:lnTo>
                      <a:pt x="1166" y="1475"/>
                    </a:lnTo>
                    <a:lnTo>
                      <a:pt x="1166" y="1473"/>
                    </a:lnTo>
                    <a:close/>
                    <a:moveTo>
                      <a:pt x="1178" y="1459"/>
                    </a:moveTo>
                    <a:lnTo>
                      <a:pt x="1179" y="1459"/>
                    </a:lnTo>
                    <a:lnTo>
                      <a:pt x="1181" y="1459"/>
                    </a:lnTo>
                    <a:lnTo>
                      <a:pt x="1181" y="1461"/>
                    </a:lnTo>
                    <a:lnTo>
                      <a:pt x="1179" y="1461"/>
                    </a:lnTo>
                    <a:lnTo>
                      <a:pt x="1181" y="1461"/>
                    </a:lnTo>
                    <a:lnTo>
                      <a:pt x="1179" y="1463"/>
                    </a:lnTo>
                    <a:lnTo>
                      <a:pt x="1179" y="1464"/>
                    </a:lnTo>
                    <a:lnTo>
                      <a:pt x="1178" y="1464"/>
                    </a:lnTo>
                    <a:lnTo>
                      <a:pt x="1178" y="1466"/>
                    </a:lnTo>
                    <a:lnTo>
                      <a:pt x="1176" y="1464"/>
                    </a:lnTo>
                    <a:lnTo>
                      <a:pt x="1176" y="1466"/>
                    </a:lnTo>
                    <a:lnTo>
                      <a:pt x="1176" y="1464"/>
                    </a:lnTo>
                    <a:lnTo>
                      <a:pt x="1176" y="1463"/>
                    </a:lnTo>
                    <a:lnTo>
                      <a:pt x="1176" y="1464"/>
                    </a:lnTo>
                    <a:lnTo>
                      <a:pt x="1174" y="1464"/>
                    </a:lnTo>
                    <a:lnTo>
                      <a:pt x="1176" y="1464"/>
                    </a:lnTo>
                    <a:lnTo>
                      <a:pt x="1176" y="1466"/>
                    </a:lnTo>
                    <a:lnTo>
                      <a:pt x="1174" y="1466"/>
                    </a:lnTo>
                    <a:lnTo>
                      <a:pt x="1174" y="1468"/>
                    </a:lnTo>
                    <a:lnTo>
                      <a:pt x="1174" y="1466"/>
                    </a:lnTo>
                    <a:lnTo>
                      <a:pt x="1173" y="1468"/>
                    </a:lnTo>
                    <a:lnTo>
                      <a:pt x="1173" y="1466"/>
                    </a:lnTo>
                    <a:lnTo>
                      <a:pt x="1173" y="1464"/>
                    </a:lnTo>
                    <a:lnTo>
                      <a:pt x="1174" y="1463"/>
                    </a:lnTo>
                    <a:lnTo>
                      <a:pt x="1176" y="1461"/>
                    </a:lnTo>
                    <a:lnTo>
                      <a:pt x="1176" y="1463"/>
                    </a:lnTo>
                    <a:lnTo>
                      <a:pt x="1178" y="1463"/>
                    </a:lnTo>
                    <a:lnTo>
                      <a:pt x="1176" y="1461"/>
                    </a:lnTo>
                    <a:lnTo>
                      <a:pt x="1178" y="1459"/>
                    </a:lnTo>
                    <a:lnTo>
                      <a:pt x="1178" y="1458"/>
                    </a:lnTo>
                    <a:lnTo>
                      <a:pt x="1178" y="1459"/>
                    </a:lnTo>
                    <a:close/>
                    <a:moveTo>
                      <a:pt x="1202" y="1094"/>
                    </a:moveTo>
                    <a:lnTo>
                      <a:pt x="1203" y="1094"/>
                    </a:lnTo>
                    <a:lnTo>
                      <a:pt x="1203" y="1095"/>
                    </a:lnTo>
                    <a:lnTo>
                      <a:pt x="1203" y="1097"/>
                    </a:lnTo>
                    <a:lnTo>
                      <a:pt x="1205" y="1099"/>
                    </a:lnTo>
                    <a:lnTo>
                      <a:pt x="1205" y="1100"/>
                    </a:lnTo>
                    <a:lnTo>
                      <a:pt x="1203" y="1100"/>
                    </a:lnTo>
                    <a:lnTo>
                      <a:pt x="1205" y="1100"/>
                    </a:lnTo>
                    <a:lnTo>
                      <a:pt x="1205" y="1102"/>
                    </a:lnTo>
                    <a:lnTo>
                      <a:pt x="1203" y="1102"/>
                    </a:lnTo>
                    <a:lnTo>
                      <a:pt x="1202" y="1102"/>
                    </a:lnTo>
                    <a:lnTo>
                      <a:pt x="1202" y="1100"/>
                    </a:lnTo>
                    <a:lnTo>
                      <a:pt x="1200" y="1100"/>
                    </a:lnTo>
                    <a:lnTo>
                      <a:pt x="1200" y="1099"/>
                    </a:lnTo>
                    <a:lnTo>
                      <a:pt x="1200" y="1097"/>
                    </a:lnTo>
                    <a:lnTo>
                      <a:pt x="1200" y="1099"/>
                    </a:lnTo>
                    <a:lnTo>
                      <a:pt x="1202" y="1099"/>
                    </a:lnTo>
                    <a:lnTo>
                      <a:pt x="1203" y="1099"/>
                    </a:lnTo>
                    <a:lnTo>
                      <a:pt x="1202" y="1099"/>
                    </a:lnTo>
                    <a:lnTo>
                      <a:pt x="1202" y="1097"/>
                    </a:lnTo>
                    <a:lnTo>
                      <a:pt x="1200" y="1097"/>
                    </a:lnTo>
                    <a:lnTo>
                      <a:pt x="1200" y="1095"/>
                    </a:lnTo>
                    <a:lnTo>
                      <a:pt x="1200" y="1094"/>
                    </a:lnTo>
                    <a:lnTo>
                      <a:pt x="1202" y="1094"/>
                    </a:lnTo>
                    <a:close/>
                    <a:moveTo>
                      <a:pt x="1195" y="1140"/>
                    </a:moveTo>
                    <a:lnTo>
                      <a:pt x="1196" y="1140"/>
                    </a:lnTo>
                    <a:lnTo>
                      <a:pt x="1198" y="1141"/>
                    </a:lnTo>
                    <a:lnTo>
                      <a:pt x="1200" y="1140"/>
                    </a:lnTo>
                    <a:lnTo>
                      <a:pt x="1200" y="1141"/>
                    </a:lnTo>
                    <a:lnTo>
                      <a:pt x="1198" y="1141"/>
                    </a:lnTo>
                    <a:lnTo>
                      <a:pt x="1198" y="1143"/>
                    </a:lnTo>
                    <a:lnTo>
                      <a:pt x="1198" y="1145"/>
                    </a:lnTo>
                    <a:lnTo>
                      <a:pt x="1198" y="1146"/>
                    </a:lnTo>
                    <a:lnTo>
                      <a:pt x="1198" y="1148"/>
                    </a:lnTo>
                    <a:lnTo>
                      <a:pt x="1196" y="1150"/>
                    </a:lnTo>
                    <a:lnTo>
                      <a:pt x="1196" y="1148"/>
                    </a:lnTo>
                    <a:lnTo>
                      <a:pt x="1196" y="1146"/>
                    </a:lnTo>
                    <a:lnTo>
                      <a:pt x="1196" y="1145"/>
                    </a:lnTo>
                    <a:lnTo>
                      <a:pt x="1195" y="1146"/>
                    </a:lnTo>
                    <a:lnTo>
                      <a:pt x="1195" y="1145"/>
                    </a:lnTo>
                    <a:lnTo>
                      <a:pt x="1195" y="1143"/>
                    </a:lnTo>
                    <a:lnTo>
                      <a:pt x="1195" y="1145"/>
                    </a:lnTo>
                    <a:lnTo>
                      <a:pt x="1193" y="1143"/>
                    </a:lnTo>
                    <a:lnTo>
                      <a:pt x="1193" y="1141"/>
                    </a:lnTo>
                    <a:lnTo>
                      <a:pt x="1195" y="1141"/>
                    </a:lnTo>
                    <a:lnTo>
                      <a:pt x="1195" y="1140"/>
                    </a:lnTo>
                    <a:close/>
                    <a:moveTo>
                      <a:pt x="1219" y="1575"/>
                    </a:moveTo>
                    <a:lnTo>
                      <a:pt x="1217" y="1575"/>
                    </a:lnTo>
                    <a:lnTo>
                      <a:pt x="1217" y="1577"/>
                    </a:lnTo>
                    <a:lnTo>
                      <a:pt x="1219" y="1575"/>
                    </a:lnTo>
                    <a:lnTo>
                      <a:pt x="1220" y="1575"/>
                    </a:lnTo>
                    <a:lnTo>
                      <a:pt x="1219" y="1577"/>
                    </a:lnTo>
                    <a:lnTo>
                      <a:pt x="1220" y="1577"/>
                    </a:lnTo>
                    <a:lnTo>
                      <a:pt x="1220" y="1578"/>
                    </a:lnTo>
                    <a:lnTo>
                      <a:pt x="1219" y="1578"/>
                    </a:lnTo>
                    <a:lnTo>
                      <a:pt x="1220" y="1578"/>
                    </a:lnTo>
                    <a:lnTo>
                      <a:pt x="1220" y="1577"/>
                    </a:lnTo>
                    <a:lnTo>
                      <a:pt x="1222" y="1577"/>
                    </a:lnTo>
                    <a:lnTo>
                      <a:pt x="1222" y="1578"/>
                    </a:lnTo>
                    <a:lnTo>
                      <a:pt x="1222" y="1580"/>
                    </a:lnTo>
                    <a:lnTo>
                      <a:pt x="1222" y="1578"/>
                    </a:lnTo>
                    <a:lnTo>
                      <a:pt x="1224" y="1578"/>
                    </a:lnTo>
                    <a:lnTo>
                      <a:pt x="1224" y="1580"/>
                    </a:lnTo>
                    <a:lnTo>
                      <a:pt x="1222" y="1580"/>
                    </a:lnTo>
                    <a:lnTo>
                      <a:pt x="1224" y="1580"/>
                    </a:lnTo>
                    <a:lnTo>
                      <a:pt x="1222" y="1582"/>
                    </a:lnTo>
                    <a:lnTo>
                      <a:pt x="1222" y="1580"/>
                    </a:lnTo>
                    <a:lnTo>
                      <a:pt x="1222" y="1582"/>
                    </a:lnTo>
                    <a:lnTo>
                      <a:pt x="1220" y="1580"/>
                    </a:lnTo>
                    <a:lnTo>
                      <a:pt x="1220" y="1578"/>
                    </a:lnTo>
                    <a:lnTo>
                      <a:pt x="1220" y="1580"/>
                    </a:lnTo>
                    <a:lnTo>
                      <a:pt x="1220" y="1582"/>
                    </a:lnTo>
                    <a:lnTo>
                      <a:pt x="1220" y="1583"/>
                    </a:lnTo>
                    <a:lnTo>
                      <a:pt x="1220" y="1582"/>
                    </a:lnTo>
                    <a:lnTo>
                      <a:pt x="1219" y="1582"/>
                    </a:lnTo>
                    <a:lnTo>
                      <a:pt x="1217" y="1582"/>
                    </a:lnTo>
                    <a:lnTo>
                      <a:pt x="1219" y="1582"/>
                    </a:lnTo>
                    <a:lnTo>
                      <a:pt x="1219" y="1580"/>
                    </a:lnTo>
                    <a:lnTo>
                      <a:pt x="1219" y="1578"/>
                    </a:lnTo>
                    <a:lnTo>
                      <a:pt x="1217" y="1578"/>
                    </a:lnTo>
                    <a:lnTo>
                      <a:pt x="1217" y="1580"/>
                    </a:lnTo>
                    <a:lnTo>
                      <a:pt x="1215" y="1578"/>
                    </a:lnTo>
                    <a:lnTo>
                      <a:pt x="1213" y="1578"/>
                    </a:lnTo>
                    <a:lnTo>
                      <a:pt x="1215" y="1578"/>
                    </a:lnTo>
                    <a:lnTo>
                      <a:pt x="1215" y="1577"/>
                    </a:lnTo>
                    <a:lnTo>
                      <a:pt x="1215" y="1575"/>
                    </a:lnTo>
                    <a:lnTo>
                      <a:pt x="1217" y="1577"/>
                    </a:lnTo>
                    <a:lnTo>
                      <a:pt x="1217" y="1575"/>
                    </a:lnTo>
                    <a:lnTo>
                      <a:pt x="1217" y="1573"/>
                    </a:lnTo>
                    <a:lnTo>
                      <a:pt x="1219" y="1575"/>
                    </a:lnTo>
                    <a:close/>
                    <a:moveTo>
                      <a:pt x="1191" y="1422"/>
                    </a:moveTo>
                    <a:lnTo>
                      <a:pt x="1191" y="1424"/>
                    </a:lnTo>
                    <a:lnTo>
                      <a:pt x="1191" y="1425"/>
                    </a:lnTo>
                    <a:lnTo>
                      <a:pt x="1191" y="1427"/>
                    </a:lnTo>
                    <a:lnTo>
                      <a:pt x="1193" y="1427"/>
                    </a:lnTo>
                    <a:lnTo>
                      <a:pt x="1191" y="1427"/>
                    </a:lnTo>
                    <a:lnTo>
                      <a:pt x="1191" y="1429"/>
                    </a:lnTo>
                    <a:lnTo>
                      <a:pt x="1191" y="1427"/>
                    </a:lnTo>
                    <a:lnTo>
                      <a:pt x="1193" y="1429"/>
                    </a:lnTo>
                    <a:lnTo>
                      <a:pt x="1193" y="1430"/>
                    </a:lnTo>
                    <a:lnTo>
                      <a:pt x="1193" y="1432"/>
                    </a:lnTo>
                    <a:lnTo>
                      <a:pt x="1191" y="1430"/>
                    </a:lnTo>
                    <a:lnTo>
                      <a:pt x="1191" y="1432"/>
                    </a:lnTo>
                    <a:lnTo>
                      <a:pt x="1191" y="1430"/>
                    </a:lnTo>
                    <a:lnTo>
                      <a:pt x="1190" y="1432"/>
                    </a:lnTo>
                    <a:lnTo>
                      <a:pt x="1190" y="1430"/>
                    </a:lnTo>
                    <a:lnTo>
                      <a:pt x="1188" y="1430"/>
                    </a:lnTo>
                    <a:lnTo>
                      <a:pt x="1188" y="1429"/>
                    </a:lnTo>
                    <a:lnTo>
                      <a:pt x="1190" y="1429"/>
                    </a:lnTo>
                    <a:lnTo>
                      <a:pt x="1188" y="1427"/>
                    </a:lnTo>
                    <a:lnTo>
                      <a:pt x="1188" y="1425"/>
                    </a:lnTo>
                    <a:lnTo>
                      <a:pt x="1188" y="1424"/>
                    </a:lnTo>
                    <a:lnTo>
                      <a:pt x="1190" y="1424"/>
                    </a:lnTo>
                    <a:lnTo>
                      <a:pt x="1191" y="1422"/>
                    </a:lnTo>
                    <a:close/>
                    <a:moveTo>
                      <a:pt x="1159" y="1094"/>
                    </a:moveTo>
                    <a:lnTo>
                      <a:pt x="1159" y="1095"/>
                    </a:lnTo>
                    <a:lnTo>
                      <a:pt x="1161" y="1095"/>
                    </a:lnTo>
                    <a:lnTo>
                      <a:pt x="1161" y="1097"/>
                    </a:lnTo>
                    <a:lnTo>
                      <a:pt x="1162" y="1097"/>
                    </a:lnTo>
                    <a:lnTo>
                      <a:pt x="1161" y="1099"/>
                    </a:lnTo>
                    <a:lnTo>
                      <a:pt x="1161" y="1100"/>
                    </a:lnTo>
                    <a:lnTo>
                      <a:pt x="1159" y="1100"/>
                    </a:lnTo>
                    <a:lnTo>
                      <a:pt x="1157" y="1100"/>
                    </a:lnTo>
                    <a:lnTo>
                      <a:pt x="1157" y="1099"/>
                    </a:lnTo>
                    <a:lnTo>
                      <a:pt x="1157" y="1097"/>
                    </a:lnTo>
                    <a:lnTo>
                      <a:pt x="1156" y="1097"/>
                    </a:lnTo>
                    <a:lnTo>
                      <a:pt x="1156" y="1095"/>
                    </a:lnTo>
                    <a:lnTo>
                      <a:pt x="1157" y="1095"/>
                    </a:lnTo>
                    <a:lnTo>
                      <a:pt x="1157" y="1094"/>
                    </a:lnTo>
                    <a:lnTo>
                      <a:pt x="1159" y="1094"/>
                    </a:lnTo>
                    <a:close/>
                    <a:moveTo>
                      <a:pt x="1448" y="1643"/>
                    </a:moveTo>
                    <a:lnTo>
                      <a:pt x="1450" y="1643"/>
                    </a:lnTo>
                    <a:lnTo>
                      <a:pt x="1451" y="1643"/>
                    </a:lnTo>
                    <a:lnTo>
                      <a:pt x="1451" y="1645"/>
                    </a:lnTo>
                    <a:lnTo>
                      <a:pt x="1450" y="1645"/>
                    </a:lnTo>
                    <a:lnTo>
                      <a:pt x="1450" y="1646"/>
                    </a:lnTo>
                    <a:lnTo>
                      <a:pt x="1448" y="1648"/>
                    </a:lnTo>
                    <a:lnTo>
                      <a:pt x="1450" y="1648"/>
                    </a:lnTo>
                    <a:lnTo>
                      <a:pt x="1448" y="1648"/>
                    </a:lnTo>
                    <a:lnTo>
                      <a:pt x="1446" y="1648"/>
                    </a:lnTo>
                    <a:lnTo>
                      <a:pt x="1446" y="1650"/>
                    </a:lnTo>
                    <a:lnTo>
                      <a:pt x="1445" y="1648"/>
                    </a:lnTo>
                    <a:lnTo>
                      <a:pt x="1445" y="1650"/>
                    </a:lnTo>
                    <a:lnTo>
                      <a:pt x="1445" y="1648"/>
                    </a:lnTo>
                    <a:lnTo>
                      <a:pt x="1445" y="1646"/>
                    </a:lnTo>
                    <a:lnTo>
                      <a:pt x="1445" y="1645"/>
                    </a:lnTo>
                    <a:lnTo>
                      <a:pt x="1446" y="1643"/>
                    </a:lnTo>
                    <a:lnTo>
                      <a:pt x="1448" y="1643"/>
                    </a:lnTo>
                    <a:close/>
                    <a:moveTo>
                      <a:pt x="1181" y="1272"/>
                    </a:moveTo>
                    <a:lnTo>
                      <a:pt x="1183" y="1272"/>
                    </a:lnTo>
                    <a:lnTo>
                      <a:pt x="1185" y="1272"/>
                    </a:lnTo>
                    <a:lnTo>
                      <a:pt x="1185" y="1274"/>
                    </a:lnTo>
                    <a:lnTo>
                      <a:pt x="1186" y="1274"/>
                    </a:lnTo>
                    <a:lnTo>
                      <a:pt x="1188" y="1274"/>
                    </a:lnTo>
                    <a:lnTo>
                      <a:pt x="1188" y="1276"/>
                    </a:lnTo>
                    <a:lnTo>
                      <a:pt x="1188" y="1277"/>
                    </a:lnTo>
                    <a:lnTo>
                      <a:pt x="1186" y="1277"/>
                    </a:lnTo>
                    <a:lnTo>
                      <a:pt x="1185" y="1277"/>
                    </a:lnTo>
                    <a:lnTo>
                      <a:pt x="1185" y="1279"/>
                    </a:lnTo>
                    <a:lnTo>
                      <a:pt x="1183" y="1277"/>
                    </a:lnTo>
                    <a:lnTo>
                      <a:pt x="1183" y="1276"/>
                    </a:lnTo>
                    <a:lnTo>
                      <a:pt x="1181" y="1274"/>
                    </a:lnTo>
                    <a:lnTo>
                      <a:pt x="1181" y="1272"/>
                    </a:lnTo>
                    <a:lnTo>
                      <a:pt x="1181" y="1270"/>
                    </a:lnTo>
                    <a:lnTo>
                      <a:pt x="1181" y="1272"/>
                    </a:lnTo>
                    <a:close/>
                    <a:moveTo>
                      <a:pt x="1181" y="1090"/>
                    </a:moveTo>
                    <a:lnTo>
                      <a:pt x="1183" y="1092"/>
                    </a:lnTo>
                    <a:lnTo>
                      <a:pt x="1183" y="1094"/>
                    </a:lnTo>
                    <a:lnTo>
                      <a:pt x="1185" y="1094"/>
                    </a:lnTo>
                    <a:lnTo>
                      <a:pt x="1185" y="1095"/>
                    </a:lnTo>
                    <a:lnTo>
                      <a:pt x="1186" y="1095"/>
                    </a:lnTo>
                    <a:lnTo>
                      <a:pt x="1186" y="1097"/>
                    </a:lnTo>
                    <a:lnTo>
                      <a:pt x="1185" y="1097"/>
                    </a:lnTo>
                    <a:lnTo>
                      <a:pt x="1183" y="1097"/>
                    </a:lnTo>
                    <a:lnTo>
                      <a:pt x="1181" y="1097"/>
                    </a:lnTo>
                    <a:lnTo>
                      <a:pt x="1181" y="1095"/>
                    </a:lnTo>
                    <a:lnTo>
                      <a:pt x="1179" y="1095"/>
                    </a:lnTo>
                    <a:lnTo>
                      <a:pt x="1179" y="1094"/>
                    </a:lnTo>
                    <a:lnTo>
                      <a:pt x="1178" y="1092"/>
                    </a:lnTo>
                    <a:lnTo>
                      <a:pt x="1179" y="1092"/>
                    </a:lnTo>
                    <a:lnTo>
                      <a:pt x="1179" y="1090"/>
                    </a:lnTo>
                    <a:lnTo>
                      <a:pt x="1179" y="1092"/>
                    </a:lnTo>
                    <a:lnTo>
                      <a:pt x="1181" y="1092"/>
                    </a:lnTo>
                    <a:lnTo>
                      <a:pt x="1181" y="1090"/>
                    </a:lnTo>
                    <a:close/>
                    <a:moveTo>
                      <a:pt x="1191" y="1077"/>
                    </a:moveTo>
                    <a:lnTo>
                      <a:pt x="1193" y="1078"/>
                    </a:lnTo>
                    <a:lnTo>
                      <a:pt x="1195" y="1078"/>
                    </a:lnTo>
                    <a:lnTo>
                      <a:pt x="1196" y="1078"/>
                    </a:lnTo>
                    <a:lnTo>
                      <a:pt x="1198" y="1078"/>
                    </a:lnTo>
                    <a:lnTo>
                      <a:pt x="1198" y="1080"/>
                    </a:lnTo>
                    <a:lnTo>
                      <a:pt x="1200" y="1082"/>
                    </a:lnTo>
                    <a:lnTo>
                      <a:pt x="1198" y="1082"/>
                    </a:lnTo>
                    <a:lnTo>
                      <a:pt x="1198" y="1083"/>
                    </a:lnTo>
                    <a:lnTo>
                      <a:pt x="1196" y="1083"/>
                    </a:lnTo>
                    <a:lnTo>
                      <a:pt x="1195" y="1083"/>
                    </a:lnTo>
                    <a:lnTo>
                      <a:pt x="1193" y="1083"/>
                    </a:lnTo>
                    <a:lnTo>
                      <a:pt x="1193" y="1082"/>
                    </a:lnTo>
                    <a:lnTo>
                      <a:pt x="1191" y="1082"/>
                    </a:lnTo>
                    <a:lnTo>
                      <a:pt x="1191" y="1080"/>
                    </a:lnTo>
                    <a:lnTo>
                      <a:pt x="1193" y="1080"/>
                    </a:lnTo>
                    <a:lnTo>
                      <a:pt x="1195" y="1080"/>
                    </a:lnTo>
                    <a:lnTo>
                      <a:pt x="1196" y="1080"/>
                    </a:lnTo>
                    <a:lnTo>
                      <a:pt x="1196" y="1082"/>
                    </a:lnTo>
                    <a:lnTo>
                      <a:pt x="1195" y="1082"/>
                    </a:lnTo>
                    <a:lnTo>
                      <a:pt x="1193" y="1082"/>
                    </a:lnTo>
                    <a:lnTo>
                      <a:pt x="1195" y="1082"/>
                    </a:lnTo>
                    <a:lnTo>
                      <a:pt x="1196" y="1082"/>
                    </a:lnTo>
                    <a:lnTo>
                      <a:pt x="1198" y="1082"/>
                    </a:lnTo>
                    <a:lnTo>
                      <a:pt x="1196" y="1082"/>
                    </a:lnTo>
                    <a:lnTo>
                      <a:pt x="1198" y="1080"/>
                    </a:lnTo>
                    <a:lnTo>
                      <a:pt x="1196" y="1080"/>
                    </a:lnTo>
                    <a:lnTo>
                      <a:pt x="1195" y="1080"/>
                    </a:lnTo>
                    <a:lnTo>
                      <a:pt x="1193" y="1080"/>
                    </a:lnTo>
                    <a:lnTo>
                      <a:pt x="1191" y="1080"/>
                    </a:lnTo>
                    <a:lnTo>
                      <a:pt x="1191" y="1078"/>
                    </a:lnTo>
                    <a:lnTo>
                      <a:pt x="1193" y="1078"/>
                    </a:lnTo>
                    <a:lnTo>
                      <a:pt x="1191" y="1078"/>
                    </a:lnTo>
                    <a:lnTo>
                      <a:pt x="1190" y="1077"/>
                    </a:lnTo>
                    <a:lnTo>
                      <a:pt x="1191" y="1077"/>
                    </a:lnTo>
                    <a:close/>
                    <a:moveTo>
                      <a:pt x="1327" y="1628"/>
                    </a:moveTo>
                    <a:lnTo>
                      <a:pt x="1329" y="1628"/>
                    </a:lnTo>
                    <a:lnTo>
                      <a:pt x="1329" y="1629"/>
                    </a:lnTo>
                    <a:lnTo>
                      <a:pt x="1327" y="1629"/>
                    </a:lnTo>
                    <a:lnTo>
                      <a:pt x="1329" y="1629"/>
                    </a:lnTo>
                    <a:lnTo>
                      <a:pt x="1331" y="1628"/>
                    </a:lnTo>
                    <a:lnTo>
                      <a:pt x="1332" y="1629"/>
                    </a:lnTo>
                    <a:lnTo>
                      <a:pt x="1332" y="1631"/>
                    </a:lnTo>
                    <a:lnTo>
                      <a:pt x="1331" y="1633"/>
                    </a:lnTo>
                    <a:lnTo>
                      <a:pt x="1329" y="1633"/>
                    </a:lnTo>
                    <a:lnTo>
                      <a:pt x="1331" y="1631"/>
                    </a:lnTo>
                    <a:lnTo>
                      <a:pt x="1331" y="1629"/>
                    </a:lnTo>
                    <a:lnTo>
                      <a:pt x="1329" y="1631"/>
                    </a:lnTo>
                    <a:lnTo>
                      <a:pt x="1329" y="1633"/>
                    </a:lnTo>
                    <a:lnTo>
                      <a:pt x="1327" y="1635"/>
                    </a:lnTo>
                    <a:lnTo>
                      <a:pt x="1327" y="1633"/>
                    </a:lnTo>
                    <a:lnTo>
                      <a:pt x="1326" y="1635"/>
                    </a:lnTo>
                    <a:lnTo>
                      <a:pt x="1326" y="1633"/>
                    </a:lnTo>
                    <a:lnTo>
                      <a:pt x="1326" y="1635"/>
                    </a:lnTo>
                    <a:lnTo>
                      <a:pt x="1324" y="1635"/>
                    </a:lnTo>
                    <a:lnTo>
                      <a:pt x="1324" y="1633"/>
                    </a:lnTo>
                    <a:lnTo>
                      <a:pt x="1326" y="1631"/>
                    </a:lnTo>
                    <a:lnTo>
                      <a:pt x="1324" y="1631"/>
                    </a:lnTo>
                    <a:lnTo>
                      <a:pt x="1326" y="1631"/>
                    </a:lnTo>
                    <a:lnTo>
                      <a:pt x="1327" y="1631"/>
                    </a:lnTo>
                    <a:lnTo>
                      <a:pt x="1327" y="1629"/>
                    </a:lnTo>
                    <a:lnTo>
                      <a:pt x="1326" y="1629"/>
                    </a:lnTo>
                    <a:lnTo>
                      <a:pt x="1327" y="1629"/>
                    </a:lnTo>
                    <a:lnTo>
                      <a:pt x="1326" y="1629"/>
                    </a:lnTo>
                    <a:lnTo>
                      <a:pt x="1324" y="1629"/>
                    </a:lnTo>
                    <a:lnTo>
                      <a:pt x="1326" y="1628"/>
                    </a:lnTo>
                    <a:lnTo>
                      <a:pt x="1327" y="1628"/>
                    </a:lnTo>
                    <a:close/>
                    <a:moveTo>
                      <a:pt x="1191" y="1269"/>
                    </a:moveTo>
                    <a:lnTo>
                      <a:pt x="1193" y="1270"/>
                    </a:lnTo>
                    <a:lnTo>
                      <a:pt x="1195" y="1272"/>
                    </a:lnTo>
                    <a:lnTo>
                      <a:pt x="1196" y="1272"/>
                    </a:lnTo>
                    <a:lnTo>
                      <a:pt x="1196" y="1274"/>
                    </a:lnTo>
                    <a:lnTo>
                      <a:pt x="1196" y="1276"/>
                    </a:lnTo>
                    <a:lnTo>
                      <a:pt x="1196" y="1277"/>
                    </a:lnTo>
                    <a:lnTo>
                      <a:pt x="1195" y="1276"/>
                    </a:lnTo>
                    <a:lnTo>
                      <a:pt x="1193" y="1276"/>
                    </a:lnTo>
                    <a:lnTo>
                      <a:pt x="1193" y="1274"/>
                    </a:lnTo>
                    <a:lnTo>
                      <a:pt x="1191" y="1274"/>
                    </a:lnTo>
                    <a:lnTo>
                      <a:pt x="1191" y="1272"/>
                    </a:lnTo>
                    <a:lnTo>
                      <a:pt x="1190" y="1272"/>
                    </a:lnTo>
                    <a:lnTo>
                      <a:pt x="1190" y="1270"/>
                    </a:lnTo>
                    <a:lnTo>
                      <a:pt x="1190" y="1269"/>
                    </a:lnTo>
                    <a:lnTo>
                      <a:pt x="1191" y="1269"/>
                    </a:lnTo>
                    <a:close/>
                    <a:moveTo>
                      <a:pt x="1195" y="1121"/>
                    </a:moveTo>
                    <a:lnTo>
                      <a:pt x="1196" y="1121"/>
                    </a:lnTo>
                    <a:lnTo>
                      <a:pt x="1196" y="1122"/>
                    </a:lnTo>
                    <a:lnTo>
                      <a:pt x="1196" y="1124"/>
                    </a:lnTo>
                    <a:lnTo>
                      <a:pt x="1195" y="1124"/>
                    </a:lnTo>
                    <a:lnTo>
                      <a:pt x="1196" y="1124"/>
                    </a:lnTo>
                    <a:lnTo>
                      <a:pt x="1196" y="1122"/>
                    </a:lnTo>
                    <a:lnTo>
                      <a:pt x="1198" y="1122"/>
                    </a:lnTo>
                    <a:lnTo>
                      <a:pt x="1200" y="1122"/>
                    </a:lnTo>
                    <a:lnTo>
                      <a:pt x="1202" y="1122"/>
                    </a:lnTo>
                    <a:lnTo>
                      <a:pt x="1203" y="1122"/>
                    </a:lnTo>
                    <a:lnTo>
                      <a:pt x="1203" y="1124"/>
                    </a:lnTo>
                    <a:lnTo>
                      <a:pt x="1202" y="1124"/>
                    </a:lnTo>
                    <a:lnTo>
                      <a:pt x="1202" y="1126"/>
                    </a:lnTo>
                    <a:lnTo>
                      <a:pt x="1200" y="1126"/>
                    </a:lnTo>
                    <a:lnTo>
                      <a:pt x="1198" y="1126"/>
                    </a:lnTo>
                    <a:lnTo>
                      <a:pt x="1198" y="1124"/>
                    </a:lnTo>
                    <a:lnTo>
                      <a:pt x="1198" y="1126"/>
                    </a:lnTo>
                    <a:lnTo>
                      <a:pt x="1198" y="1124"/>
                    </a:lnTo>
                    <a:lnTo>
                      <a:pt x="1196" y="1124"/>
                    </a:lnTo>
                    <a:lnTo>
                      <a:pt x="1195" y="1124"/>
                    </a:lnTo>
                    <a:lnTo>
                      <a:pt x="1195" y="1122"/>
                    </a:lnTo>
                    <a:lnTo>
                      <a:pt x="1193" y="1122"/>
                    </a:lnTo>
                    <a:lnTo>
                      <a:pt x="1193" y="1121"/>
                    </a:lnTo>
                    <a:lnTo>
                      <a:pt x="1195" y="1121"/>
                    </a:lnTo>
                    <a:close/>
                    <a:moveTo>
                      <a:pt x="1225" y="1051"/>
                    </a:moveTo>
                    <a:lnTo>
                      <a:pt x="1225" y="1053"/>
                    </a:lnTo>
                    <a:lnTo>
                      <a:pt x="1225" y="1054"/>
                    </a:lnTo>
                    <a:lnTo>
                      <a:pt x="1225" y="1056"/>
                    </a:lnTo>
                    <a:lnTo>
                      <a:pt x="1225" y="1058"/>
                    </a:lnTo>
                    <a:lnTo>
                      <a:pt x="1224" y="1058"/>
                    </a:lnTo>
                    <a:lnTo>
                      <a:pt x="1222" y="1058"/>
                    </a:lnTo>
                    <a:lnTo>
                      <a:pt x="1222" y="1056"/>
                    </a:lnTo>
                    <a:lnTo>
                      <a:pt x="1220" y="1056"/>
                    </a:lnTo>
                    <a:lnTo>
                      <a:pt x="1222" y="1054"/>
                    </a:lnTo>
                    <a:lnTo>
                      <a:pt x="1222" y="1053"/>
                    </a:lnTo>
                    <a:lnTo>
                      <a:pt x="1224" y="1053"/>
                    </a:lnTo>
                    <a:lnTo>
                      <a:pt x="1225" y="1051"/>
                    </a:lnTo>
                    <a:close/>
                    <a:moveTo>
                      <a:pt x="1203" y="1422"/>
                    </a:moveTo>
                    <a:lnTo>
                      <a:pt x="1205" y="1422"/>
                    </a:lnTo>
                    <a:lnTo>
                      <a:pt x="1205" y="1424"/>
                    </a:lnTo>
                    <a:lnTo>
                      <a:pt x="1205" y="1425"/>
                    </a:lnTo>
                    <a:lnTo>
                      <a:pt x="1205" y="1427"/>
                    </a:lnTo>
                    <a:lnTo>
                      <a:pt x="1205" y="1429"/>
                    </a:lnTo>
                    <a:lnTo>
                      <a:pt x="1205" y="1427"/>
                    </a:lnTo>
                    <a:lnTo>
                      <a:pt x="1203" y="1427"/>
                    </a:lnTo>
                    <a:lnTo>
                      <a:pt x="1202" y="1427"/>
                    </a:lnTo>
                    <a:lnTo>
                      <a:pt x="1200" y="1427"/>
                    </a:lnTo>
                    <a:lnTo>
                      <a:pt x="1200" y="1425"/>
                    </a:lnTo>
                    <a:lnTo>
                      <a:pt x="1202" y="1425"/>
                    </a:lnTo>
                    <a:lnTo>
                      <a:pt x="1203" y="1425"/>
                    </a:lnTo>
                    <a:lnTo>
                      <a:pt x="1203" y="1424"/>
                    </a:lnTo>
                    <a:lnTo>
                      <a:pt x="1202" y="1425"/>
                    </a:lnTo>
                    <a:lnTo>
                      <a:pt x="1200" y="1425"/>
                    </a:lnTo>
                    <a:lnTo>
                      <a:pt x="1200" y="1424"/>
                    </a:lnTo>
                    <a:lnTo>
                      <a:pt x="1200" y="1422"/>
                    </a:lnTo>
                    <a:lnTo>
                      <a:pt x="1202" y="1422"/>
                    </a:lnTo>
                    <a:lnTo>
                      <a:pt x="1202" y="1420"/>
                    </a:lnTo>
                    <a:lnTo>
                      <a:pt x="1203" y="1420"/>
                    </a:lnTo>
                    <a:lnTo>
                      <a:pt x="1203" y="1422"/>
                    </a:lnTo>
                    <a:close/>
                    <a:moveTo>
                      <a:pt x="3" y="349"/>
                    </a:moveTo>
                    <a:lnTo>
                      <a:pt x="5" y="349"/>
                    </a:lnTo>
                    <a:lnTo>
                      <a:pt x="5" y="350"/>
                    </a:lnTo>
                    <a:lnTo>
                      <a:pt x="7" y="350"/>
                    </a:lnTo>
                    <a:lnTo>
                      <a:pt x="7" y="352"/>
                    </a:lnTo>
                    <a:lnTo>
                      <a:pt x="5" y="352"/>
                    </a:lnTo>
                    <a:lnTo>
                      <a:pt x="3" y="352"/>
                    </a:lnTo>
                    <a:lnTo>
                      <a:pt x="3" y="354"/>
                    </a:lnTo>
                    <a:lnTo>
                      <a:pt x="1" y="354"/>
                    </a:lnTo>
                    <a:lnTo>
                      <a:pt x="0" y="354"/>
                    </a:lnTo>
                    <a:lnTo>
                      <a:pt x="0" y="352"/>
                    </a:lnTo>
                    <a:lnTo>
                      <a:pt x="1" y="352"/>
                    </a:lnTo>
                    <a:lnTo>
                      <a:pt x="1" y="350"/>
                    </a:lnTo>
                    <a:lnTo>
                      <a:pt x="1" y="349"/>
                    </a:lnTo>
                    <a:lnTo>
                      <a:pt x="3" y="349"/>
                    </a:lnTo>
                    <a:close/>
                    <a:moveTo>
                      <a:pt x="1208" y="1054"/>
                    </a:moveTo>
                    <a:lnTo>
                      <a:pt x="1208" y="1056"/>
                    </a:lnTo>
                    <a:lnTo>
                      <a:pt x="1210" y="1056"/>
                    </a:lnTo>
                    <a:lnTo>
                      <a:pt x="1210" y="1058"/>
                    </a:lnTo>
                    <a:lnTo>
                      <a:pt x="1208" y="1058"/>
                    </a:lnTo>
                    <a:lnTo>
                      <a:pt x="1208" y="1060"/>
                    </a:lnTo>
                    <a:lnTo>
                      <a:pt x="1210" y="1060"/>
                    </a:lnTo>
                    <a:lnTo>
                      <a:pt x="1210" y="1061"/>
                    </a:lnTo>
                    <a:lnTo>
                      <a:pt x="1210" y="1063"/>
                    </a:lnTo>
                    <a:lnTo>
                      <a:pt x="1208" y="1063"/>
                    </a:lnTo>
                    <a:lnTo>
                      <a:pt x="1208" y="1061"/>
                    </a:lnTo>
                    <a:lnTo>
                      <a:pt x="1208" y="1060"/>
                    </a:lnTo>
                    <a:lnTo>
                      <a:pt x="1208" y="1061"/>
                    </a:lnTo>
                    <a:lnTo>
                      <a:pt x="1208" y="1060"/>
                    </a:lnTo>
                    <a:lnTo>
                      <a:pt x="1207" y="1060"/>
                    </a:lnTo>
                    <a:lnTo>
                      <a:pt x="1207" y="1058"/>
                    </a:lnTo>
                    <a:lnTo>
                      <a:pt x="1205" y="1058"/>
                    </a:lnTo>
                    <a:lnTo>
                      <a:pt x="1205" y="1056"/>
                    </a:lnTo>
                    <a:lnTo>
                      <a:pt x="1207" y="1054"/>
                    </a:lnTo>
                    <a:lnTo>
                      <a:pt x="1208" y="1054"/>
                    </a:lnTo>
                    <a:close/>
                    <a:moveTo>
                      <a:pt x="1321" y="1577"/>
                    </a:moveTo>
                    <a:lnTo>
                      <a:pt x="1322" y="1578"/>
                    </a:lnTo>
                    <a:lnTo>
                      <a:pt x="1321" y="1580"/>
                    </a:lnTo>
                    <a:lnTo>
                      <a:pt x="1321" y="1582"/>
                    </a:lnTo>
                    <a:lnTo>
                      <a:pt x="1321" y="1583"/>
                    </a:lnTo>
                    <a:lnTo>
                      <a:pt x="1319" y="1583"/>
                    </a:lnTo>
                    <a:lnTo>
                      <a:pt x="1317" y="1582"/>
                    </a:lnTo>
                    <a:lnTo>
                      <a:pt x="1315" y="1582"/>
                    </a:lnTo>
                    <a:lnTo>
                      <a:pt x="1315" y="1580"/>
                    </a:lnTo>
                    <a:lnTo>
                      <a:pt x="1314" y="1578"/>
                    </a:lnTo>
                    <a:lnTo>
                      <a:pt x="1315" y="1578"/>
                    </a:lnTo>
                    <a:lnTo>
                      <a:pt x="1317" y="1578"/>
                    </a:lnTo>
                    <a:lnTo>
                      <a:pt x="1319" y="1578"/>
                    </a:lnTo>
                    <a:lnTo>
                      <a:pt x="1321" y="1577"/>
                    </a:lnTo>
                    <a:close/>
                    <a:moveTo>
                      <a:pt x="1164" y="1282"/>
                    </a:moveTo>
                    <a:lnTo>
                      <a:pt x="1164" y="1284"/>
                    </a:lnTo>
                    <a:lnTo>
                      <a:pt x="1166" y="1284"/>
                    </a:lnTo>
                    <a:lnTo>
                      <a:pt x="1168" y="1284"/>
                    </a:lnTo>
                    <a:lnTo>
                      <a:pt x="1169" y="1284"/>
                    </a:lnTo>
                    <a:lnTo>
                      <a:pt x="1171" y="1284"/>
                    </a:lnTo>
                    <a:lnTo>
                      <a:pt x="1171" y="1286"/>
                    </a:lnTo>
                    <a:lnTo>
                      <a:pt x="1169" y="1286"/>
                    </a:lnTo>
                    <a:lnTo>
                      <a:pt x="1168" y="1286"/>
                    </a:lnTo>
                    <a:lnTo>
                      <a:pt x="1168" y="1288"/>
                    </a:lnTo>
                    <a:lnTo>
                      <a:pt x="1166" y="1288"/>
                    </a:lnTo>
                    <a:lnTo>
                      <a:pt x="1166" y="1289"/>
                    </a:lnTo>
                    <a:lnTo>
                      <a:pt x="1164" y="1289"/>
                    </a:lnTo>
                    <a:lnTo>
                      <a:pt x="1162" y="1289"/>
                    </a:lnTo>
                    <a:lnTo>
                      <a:pt x="1162" y="1288"/>
                    </a:lnTo>
                    <a:lnTo>
                      <a:pt x="1164" y="1288"/>
                    </a:lnTo>
                    <a:lnTo>
                      <a:pt x="1164" y="1286"/>
                    </a:lnTo>
                    <a:lnTo>
                      <a:pt x="1166" y="1286"/>
                    </a:lnTo>
                    <a:lnTo>
                      <a:pt x="1166" y="1288"/>
                    </a:lnTo>
                    <a:lnTo>
                      <a:pt x="1166" y="1286"/>
                    </a:lnTo>
                    <a:lnTo>
                      <a:pt x="1168" y="1288"/>
                    </a:lnTo>
                    <a:lnTo>
                      <a:pt x="1168" y="1286"/>
                    </a:lnTo>
                    <a:lnTo>
                      <a:pt x="1166" y="1286"/>
                    </a:lnTo>
                    <a:lnTo>
                      <a:pt x="1164" y="1286"/>
                    </a:lnTo>
                    <a:lnTo>
                      <a:pt x="1164" y="1284"/>
                    </a:lnTo>
                    <a:lnTo>
                      <a:pt x="1164" y="1282"/>
                    </a:lnTo>
                    <a:close/>
                    <a:moveTo>
                      <a:pt x="1222" y="1563"/>
                    </a:moveTo>
                    <a:lnTo>
                      <a:pt x="1224" y="1563"/>
                    </a:lnTo>
                    <a:lnTo>
                      <a:pt x="1225" y="1563"/>
                    </a:lnTo>
                    <a:lnTo>
                      <a:pt x="1227" y="1563"/>
                    </a:lnTo>
                    <a:lnTo>
                      <a:pt x="1227" y="1565"/>
                    </a:lnTo>
                    <a:lnTo>
                      <a:pt x="1227" y="1566"/>
                    </a:lnTo>
                    <a:lnTo>
                      <a:pt x="1227" y="1568"/>
                    </a:lnTo>
                    <a:lnTo>
                      <a:pt x="1227" y="1566"/>
                    </a:lnTo>
                    <a:lnTo>
                      <a:pt x="1225" y="1568"/>
                    </a:lnTo>
                    <a:lnTo>
                      <a:pt x="1224" y="1568"/>
                    </a:lnTo>
                    <a:lnTo>
                      <a:pt x="1224" y="1570"/>
                    </a:lnTo>
                    <a:lnTo>
                      <a:pt x="1225" y="1568"/>
                    </a:lnTo>
                    <a:lnTo>
                      <a:pt x="1225" y="1570"/>
                    </a:lnTo>
                    <a:lnTo>
                      <a:pt x="1224" y="1570"/>
                    </a:lnTo>
                    <a:lnTo>
                      <a:pt x="1222" y="1568"/>
                    </a:lnTo>
                    <a:lnTo>
                      <a:pt x="1224" y="1568"/>
                    </a:lnTo>
                    <a:lnTo>
                      <a:pt x="1222" y="1568"/>
                    </a:lnTo>
                    <a:lnTo>
                      <a:pt x="1222" y="1566"/>
                    </a:lnTo>
                    <a:lnTo>
                      <a:pt x="1224" y="1568"/>
                    </a:lnTo>
                    <a:lnTo>
                      <a:pt x="1224" y="1566"/>
                    </a:lnTo>
                    <a:lnTo>
                      <a:pt x="1224" y="1565"/>
                    </a:lnTo>
                    <a:lnTo>
                      <a:pt x="1224" y="1566"/>
                    </a:lnTo>
                    <a:lnTo>
                      <a:pt x="1222" y="1566"/>
                    </a:lnTo>
                    <a:lnTo>
                      <a:pt x="1224" y="1565"/>
                    </a:lnTo>
                    <a:lnTo>
                      <a:pt x="1222" y="1566"/>
                    </a:lnTo>
                    <a:lnTo>
                      <a:pt x="1220" y="1566"/>
                    </a:lnTo>
                    <a:lnTo>
                      <a:pt x="1220" y="1565"/>
                    </a:lnTo>
                    <a:lnTo>
                      <a:pt x="1220" y="1566"/>
                    </a:lnTo>
                    <a:lnTo>
                      <a:pt x="1220" y="1565"/>
                    </a:lnTo>
                    <a:lnTo>
                      <a:pt x="1222" y="1565"/>
                    </a:lnTo>
                    <a:lnTo>
                      <a:pt x="1224" y="1565"/>
                    </a:lnTo>
                    <a:lnTo>
                      <a:pt x="1222" y="1565"/>
                    </a:lnTo>
                    <a:lnTo>
                      <a:pt x="1220" y="1565"/>
                    </a:lnTo>
                    <a:lnTo>
                      <a:pt x="1222" y="1563"/>
                    </a:lnTo>
                    <a:lnTo>
                      <a:pt x="1220" y="1565"/>
                    </a:lnTo>
                    <a:lnTo>
                      <a:pt x="1220" y="1563"/>
                    </a:lnTo>
                    <a:lnTo>
                      <a:pt x="1222" y="1563"/>
                    </a:lnTo>
                    <a:close/>
                    <a:moveTo>
                      <a:pt x="1186" y="1202"/>
                    </a:moveTo>
                    <a:lnTo>
                      <a:pt x="1188" y="1204"/>
                    </a:lnTo>
                    <a:lnTo>
                      <a:pt x="1186" y="1206"/>
                    </a:lnTo>
                    <a:lnTo>
                      <a:pt x="1185" y="1208"/>
                    </a:lnTo>
                    <a:lnTo>
                      <a:pt x="1183" y="1208"/>
                    </a:lnTo>
                    <a:lnTo>
                      <a:pt x="1183" y="1209"/>
                    </a:lnTo>
                    <a:lnTo>
                      <a:pt x="1181" y="1209"/>
                    </a:lnTo>
                    <a:lnTo>
                      <a:pt x="1181" y="1208"/>
                    </a:lnTo>
                    <a:lnTo>
                      <a:pt x="1181" y="1206"/>
                    </a:lnTo>
                    <a:lnTo>
                      <a:pt x="1181" y="1204"/>
                    </a:lnTo>
                    <a:lnTo>
                      <a:pt x="1183" y="1204"/>
                    </a:lnTo>
                    <a:lnTo>
                      <a:pt x="1185" y="1204"/>
                    </a:lnTo>
                    <a:lnTo>
                      <a:pt x="1185" y="1202"/>
                    </a:lnTo>
                    <a:lnTo>
                      <a:pt x="1186" y="1202"/>
                    </a:lnTo>
                    <a:close/>
                    <a:moveTo>
                      <a:pt x="1210" y="983"/>
                    </a:moveTo>
                    <a:lnTo>
                      <a:pt x="1212" y="983"/>
                    </a:lnTo>
                    <a:lnTo>
                      <a:pt x="1213" y="983"/>
                    </a:lnTo>
                    <a:lnTo>
                      <a:pt x="1212" y="983"/>
                    </a:lnTo>
                    <a:lnTo>
                      <a:pt x="1212" y="985"/>
                    </a:lnTo>
                    <a:lnTo>
                      <a:pt x="1213" y="985"/>
                    </a:lnTo>
                    <a:lnTo>
                      <a:pt x="1213" y="986"/>
                    </a:lnTo>
                    <a:lnTo>
                      <a:pt x="1215" y="986"/>
                    </a:lnTo>
                    <a:lnTo>
                      <a:pt x="1215" y="988"/>
                    </a:lnTo>
                    <a:lnTo>
                      <a:pt x="1217" y="988"/>
                    </a:lnTo>
                    <a:lnTo>
                      <a:pt x="1217" y="990"/>
                    </a:lnTo>
                    <a:lnTo>
                      <a:pt x="1217" y="992"/>
                    </a:lnTo>
                    <a:lnTo>
                      <a:pt x="1215" y="992"/>
                    </a:lnTo>
                    <a:lnTo>
                      <a:pt x="1215" y="990"/>
                    </a:lnTo>
                    <a:lnTo>
                      <a:pt x="1217" y="990"/>
                    </a:lnTo>
                    <a:lnTo>
                      <a:pt x="1215" y="990"/>
                    </a:lnTo>
                    <a:lnTo>
                      <a:pt x="1215" y="988"/>
                    </a:lnTo>
                    <a:lnTo>
                      <a:pt x="1213" y="988"/>
                    </a:lnTo>
                    <a:lnTo>
                      <a:pt x="1212" y="986"/>
                    </a:lnTo>
                    <a:lnTo>
                      <a:pt x="1210" y="986"/>
                    </a:lnTo>
                    <a:lnTo>
                      <a:pt x="1208" y="986"/>
                    </a:lnTo>
                    <a:lnTo>
                      <a:pt x="1208" y="985"/>
                    </a:lnTo>
                    <a:lnTo>
                      <a:pt x="1210" y="985"/>
                    </a:lnTo>
                    <a:lnTo>
                      <a:pt x="1208" y="985"/>
                    </a:lnTo>
                    <a:lnTo>
                      <a:pt x="1208" y="983"/>
                    </a:lnTo>
                    <a:lnTo>
                      <a:pt x="1210" y="981"/>
                    </a:lnTo>
                    <a:lnTo>
                      <a:pt x="1210" y="983"/>
                    </a:lnTo>
                    <a:close/>
                    <a:moveTo>
                      <a:pt x="1176" y="1087"/>
                    </a:moveTo>
                    <a:lnTo>
                      <a:pt x="1178" y="1087"/>
                    </a:lnTo>
                    <a:lnTo>
                      <a:pt x="1178" y="1085"/>
                    </a:lnTo>
                    <a:lnTo>
                      <a:pt x="1178" y="1087"/>
                    </a:lnTo>
                    <a:lnTo>
                      <a:pt x="1179" y="1087"/>
                    </a:lnTo>
                    <a:lnTo>
                      <a:pt x="1181" y="1087"/>
                    </a:lnTo>
                    <a:lnTo>
                      <a:pt x="1181" y="1088"/>
                    </a:lnTo>
                    <a:lnTo>
                      <a:pt x="1181" y="1090"/>
                    </a:lnTo>
                    <a:lnTo>
                      <a:pt x="1179" y="1090"/>
                    </a:lnTo>
                    <a:lnTo>
                      <a:pt x="1178" y="1090"/>
                    </a:lnTo>
                    <a:lnTo>
                      <a:pt x="1176" y="1088"/>
                    </a:lnTo>
                    <a:lnTo>
                      <a:pt x="1176" y="1090"/>
                    </a:lnTo>
                    <a:lnTo>
                      <a:pt x="1174" y="1088"/>
                    </a:lnTo>
                    <a:lnTo>
                      <a:pt x="1173" y="1088"/>
                    </a:lnTo>
                    <a:lnTo>
                      <a:pt x="1174" y="1088"/>
                    </a:lnTo>
                    <a:lnTo>
                      <a:pt x="1174" y="1087"/>
                    </a:lnTo>
                    <a:lnTo>
                      <a:pt x="1176" y="1087"/>
                    </a:lnTo>
                    <a:lnTo>
                      <a:pt x="1176" y="1085"/>
                    </a:lnTo>
                    <a:lnTo>
                      <a:pt x="1176" y="1087"/>
                    </a:lnTo>
                    <a:close/>
                    <a:moveTo>
                      <a:pt x="1195" y="1071"/>
                    </a:moveTo>
                    <a:lnTo>
                      <a:pt x="1196" y="1073"/>
                    </a:lnTo>
                    <a:lnTo>
                      <a:pt x="1198" y="1073"/>
                    </a:lnTo>
                    <a:lnTo>
                      <a:pt x="1200" y="1073"/>
                    </a:lnTo>
                    <a:lnTo>
                      <a:pt x="1200" y="1075"/>
                    </a:lnTo>
                    <a:lnTo>
                      <a:pt x="1200" y="1077"/>
                    </a:lnTo>
                    <a:lnTo>
                      <a:pt x="1200" y="1078"/>
                    </a:lnTo>
                    <a:lnTo>
                      <a:pt x="1198" y="1078"/>
                    </a:lnTo>
                    <a:lnTo>
                      <a:pt x="1198" y="1077"/>
                    </a:lnTo>
                    <a:lnTo>
                      <a:pt x="1196" y="1077"/>
                    </a:lnTo>
                    <a:lnTo>
                      <a:pt x="1195" y="1077"/>
                    </a:lnTo>
                    <a:lnTo>
                      <a:pt x="1195" y="1075"/>
                    </a:lnTo>
                    <a:lnTo>
                      <a:pt x="1193" y="1073"/>
                    </a:lnTo>
                    <a:lnTo>
                      <a:pt x="1193" y="1071"/>
                    </a:lnTo>
                    <a:lnTo>
                      <a:pt x="1195" y="1071"/>
                    </a:lnTo>
                    <a:close/>
                    <a:moveTo>
                      <a:pt x="1185" y="1107"/>
                    </a:moveTo>
                    <a:lnTo>
                      <a:pt x="1186" y="1107"/>
                    </a:lnTo>
                    <a:lnTo>
                      <a:pt x="1186" y="1109"/>
                    </a:lnTo>
                    <a:lnTo>
                      <a:pt x="1188" y="1109"/>
                    </a:lnTo>
                    <a:lnTo>
                      <a:pt x="1188" y="1111"/>
                    </a:lnTo>
                    <a:lnTo>
                      <a:pt x="1188" y="1112"/>
                    </a:lnTo>
                    <a:lnTo>
                      <a:pt x="1186" y="1112"/>
                    </a:lnTo>
                    <a:lnTo>
                      <a:pt x="1186" y="1111"/>
                    </a:lnTo>
                    <a:lnTo>
                      <a:pt x="1186" y="1112"/>
                    </a:lnTo>
                    <a:lnTo>
                      <a:pt x="1185" y="1111"/>
                    </a:lnTo>
                    <a:lnTo>
                      <a:pt x="1185" y="1112"/>
                    </a:lnTo>
                    <a:lnTo>
                      <a:pt x="1185" y="1111"/>
                    </a:lnTo>
                    <a:lnTo>
                      <a:pt x="1183" y="1111"/>
                    </a:lnTo>
                    <a:lnTo>
                      <a:pt x="1183" y="1109"/>
                    </a:lnTo>
                    <a:lnTo>
                      <a:pt x="1183" y="1107"/>
                    </a:lnTo>
                    <a:lnTo>
                      <a:pt x="1183" y="1105"/>
                    </a:lnTo>
                    <a:lnTo>
                      <a:pt x="1185" y="1107"/>
                    </a:lnTo>
                    <a:close/>
                    <a:moveTo>
                      <a:pt x="1188" y="1138"/>
                    </a:moveTo>
                    <a:lnTo>
                      <a:pt x="1190" y="1140"/>
                    </a:lnTo>
                    <a:lnTo>
                      <a:pt x="1188" y="1140"/>
                    </a:lnTo>
                    <a:lnTo>
                      <a:pt x="1188" y="1141"/>
                    </a:lnTo>
                    <a:lnTo>
                      <a:pt x="1186" y="1141"/>
                    </a:lnTo>
                    <a:lnTo>
                      <a:pt x="1188" y="1141"/>
                    </a:lnTo>
                    <a:lnTo>
                      <a:pt x="1190" y="1141"/>
                    </a:lnTo>
                    <a:lnTo>
                      <a:pt x="1190" y="1140"/>
                    </a:lnTo>
                    <a:lnTo>
                      <a:pt x="1191" y="1140"/>
                    </a:lnTo>
                    <a:lnTo>
                      <a:pt x="1191" y="1141"/>
                    </a:lnTo>
                    <a:lnTo>
                      <a:pt x="1191" y="1140"/>
                    </a:lnTo>
                    <a:lnTo>
                      <a:pt x="1191" y="1141"/>
                    </a:lnTo>
                    <a:lnTo>
                      <a:pt x="1193" y="1141"/>
                    </a:lnTo>
                    <a:lnTo>
                      <a:pt x="1191" y="1141"/>
                    </a:lnTo>
                    <a:lnTo>
                      <a:pt x="1193" y="1143"/>
                    </a:lnTo>
                    <a:lnTo>
                      <a:pt x="1191" y="1143"/>
                    </a:lnTo>
                    <a:lnTo>
                      <a:pt x="1190" y="1143"/>
                    </a:lnTo>
                    <a:lnTo>
                      <a:pt x="1188" y="1143"/>
                    </a:lnTo>
                    <a:lnTo>
                      <a:pt x="1188" y="1145"/>
                    </a:lnTo>
                    <a:lnTo>
                      <a:pt x="1186" y="1143"/>
                    </a:lnTo>
                    <a:lnTo>
                      <a:pt x="1186" y="1141"/>
                    </a:lnTo>
                    <a:lnTo>
                      <a:pt x="1185" y="1141"/>
                    </a:lnTo>
                    <a:lnTo>
                      <a:pt x="1186" y="1140"/>
                    </a:lnTo>
                    <a:lnTo>
                      <a:pt x="1186" y="1138"/>
                    </a:lnTo>
                    <a:lnTo>
                      <a:pt x="1188" y="1138"/>
                    </a:lnTo>
                    <a:close/>
                    <a:moveTo>
                      <a:pt x="1162" y="1390"/>
                    </a:moveTo>
                    <a:lnTo>
                      <a:pt x="1164" y="1391"/>
                    </a:lnTo>
                    <a:lnTo>
                      <a:pt x="1162" y="1391"/>
                    </a:lnTo>
                    <a:lnTo>
                      <a:pt x="1164" y="1393"/>
                    </a:lnTo>
                    <a:lnTo>
                      <a:pt x="1162" y="1393"/>
                    </a:lnTo>
                    <a:lnTo>
                      <a:pt x="1164" y="1395"/>
                    </a:lnTo>
                    <a:lnTo>
                      <a:pt x="1162" y="1395"/>
                    </a:lnTo>
                    <a:lnTo>
                      <a:pt x="1164" y="1395"/>
                    </a:lnTo>
                    <a:lnTo>
                      <a:pt x="1162" y="1395"/>
                    </a:lnTo>
                    <a:lnTo>
                      <a:pt x="1164" y="1396"/>
                    </a:lnTo>
                    <a:lnTo>
                      <a:pt x="1162" y="1396"/>
                    </a:lnTo>
                    <a:lnTo>
                      <a:pt x="1164" y="1396"/>
                    </a:lnTo>
                    <a:lnTo>
                      <a:pt x="1162" y="1398"/>
                    </a:lnTo>
                    <a:lnTo>
                      <a:pt x="1162" y="1396"/>
                    </a:lnTo>
                    <a:lnTo>
                      <a:pt x="1161" y="1396"/>
                    </a:lnTo>
                    <a:lnTo>
                      <a:pt x="1161" y="1395"/>
                    </a:lnTo>
                    <a:lnTo>
                      <a:pt x="1159" y="1393"/>
                    </a:lnTo>
                    <a:lnTo>
                      <a:pt x="1161" y="1391"/>
                    </a:lnTo>
                    <a:lnTo>
                      <a:pt x="1161" y="1393"/>
                    </a:lnTo>
                    <a:lnTo>
                      <a:pt x="1161" y="1391"/>
                    </a:lnTo>
                    <a:lnTo>
                      <a:pt x="1161" y="1390"/>
                    </a:lnTo>
                    <a:lnTo>
                      <a:pt x="1162" y="1390"/>
                    </a:lnTo>
                    <a:lnTo>
                      <a:pt x="1162" y="1388"/>
                    </a:lnTo>
                    <a:lnTo>
                      <a:pt x="1162" y="1390"/>
                    </a:lnTo>
                    <a:lnTo>
                      <a:pt x="1162" y="1391"/>
                    </a:lnTo>
                    <a:lnTo>
                      <a:pt x="1162" y="1390"/>
                    </a:lnTo>
                    <a:lnTo>
                      <a:pt x="1164" y="1388"/>
                    </a:lnTo>
                    <a:lnTo>
                      <a:pt x="1164" y="1390"/>
                    </a:lnTo>
                    <a:lnTo>
                      <a:pt x="1162" y="1390"/>
                    </a:lnTo>
                    <a:close/>
                    <a:moveTo>
                      <a:pt x="1431" y="1631"/>
                    </a:moveTo>
                    <a:lnTo>
                      <a:pt x="1433" y="1633"/>
                    </a:lnTo>
                    <a:lnTo>
                      <a:pt x="1434" y="1633"/>
                    </a:lnTo>
                    <a:lnTo>
                      <a:pt x="1436" y="1633"/>
                    </a:lnTo>
                    <a:lnTo>
                      <a:pt x="1436" y="1635"/>
                    </a:lnTo>
                    <a:lnTo>
                      <a:pt x="1438" y="1635"/>
                    </a:lnTo>
                    <a:lnTo>
                      <a:pt x="1438" y="1636"/>
                    </a:lnTo>
                    <a:lnTo>
                      <a:pt x="1438" y="1638"/>
                    </a:lnTo>
                    <a:lnTo>
                      <a:pt x="1440" y="1640"/>
                    </a:lnTo>
                    <a:lnTo>
                      <a:pt x="1438" y="1640"/>
                    </a:lnTo>
                    <a:lnTo>
                      <a:pt x="1436" y="1638"/>
                    </a:lnTo>
                    <a:lnTo>
                      <a:pt x="1434" y="1636"/>
                    </a:lnTo>
                    <a:lnTo>
                      <a:pt x="1433" y="1635"/>
                    </a:lnTo>
                    <a:lnTo>
                      <a:pt x="1431" y="1635"/>
                    </a:lnTo>
                    <a:lnTo>
                      <a:pt x="1431" y="1633"/>
                    </a:lnTo>
                    <a:lnTo>
                      <a:pt x="1431" y="1631"/>
                    </a:lnTo>
                    <a:close/>
                    <a:moveTo>
                      <a:pt x="1196" y="1094"/>
                    </a:moveTo>
                    <a:lnTo>
                      <a:pt x="1198" y="1094"/>
                    </a:lnTo>
                    <a:lnTo>
                      <a:pt x="1198" y="1095"/>
                    </a:lnTo>
                    <a:lnTo>
                      <a:pt x="1198" y="1097"/>
                    </a:lnTo>
                    <a:lnTo>
                      <a:pt x="1196" y="1097"/>
                    </a:lnTo>
                    <a:lnTo>
                      <a:pt x="1198" y="1097"/>
                    </a:lnTo>
                    <a:lnTo>
                      <a:pt x="1196" y="1097"/>
                    </a:lnTo>
                    <a:lnTo>
                      <a:pt x="1195" y="1097"/>
                    </a:lnTo>
                    <a:lnTo>
                      <a:pt x="1193" y="1097"/>
                    </a:lnTo>
                    <a:lnTo>
                      <a:pt x="1191" y="1097"/>
                    </a:lnTo>
                    <a:lnTo>
                      <a:pt x="1191" y="1095"/>
                    </a:lnTo>
                    <a:lnTo>
                      <a:pt x="1190" y="1095"/>
                    </a:lnTo>
                    <a:lnTo>
                      <a:pt x="1191" y="1095"/>
                    </a:lnTo>
                    <a:lnTo>
                      <a:pt x="1193" y="1095"/>
                    </a:lnTo>
                    <a:lnTo>
                      <a:pt x="1195" y="1094"/>
                    </a:lnTo>
                    <a:lnTo>
                      <a:pt x="1196" y="1094"/>
                    </a:lnTo>
                    <a:close/>
                    <a:moveTo>
                      <a:pt x="1178" y="1468"/>
                    </a:moveTo>
                    <a:lnTo>
                      <a:pt x="1176" y="1468"/>
                    </a:lnTo>
                    <a:lnTo>
                      <a:pt x="1176" y="1470"/>
                    </a:lnTo>
                    <a:lnTo>
                      <a:pt x="1174" y="1470"/>
                    </a:lnTo>
                    <a:lnTo>
                      <a:pt x="1176" y="1470"/>
                    </a:lnTo>
                    <a:lnTo>
                      <a:pt x="1174" y="1471"/>
                    </a:lnTo>
                    <a:lnTo>
                      <a:pt x="1176" y="1471"/>
                    </a:lnTo>
                    <a:lnTo>
                      <a:pt x="1174" y="1473"/>
                    </a:lnTo>
                    <a:lnTo>
                      <a:pt x="1174" y="1471"/>
                    </a:lnTo>
                    <a:lnTo>
                      <a:pt x="1173" y="1473"/>
                    </a:lnTo>
                    <a:lnTo>
                      <a:pt x="1173" y="1471"/>
                    </a:lnTo>
                    <a:lnTo>
                      <a:pt x="1173" y="1473"/>
                    </a:lnTo>
                    <a:lnTo>
                      <a:pt x="1174" y="1473"/>
                    </a:lnTo>
                    <a:lnTo>
                      <a:pt x="1173" y="1473"/>
                    </a:lnTo>
                    <a:lnTo>
                      <a:pt x="1171" y="1475"/>
                    </a:lnTo>
                    <a:lnTo>
                      <a:pt x="1171" y="1473"/>
                    </a:lnTo>
                    <a:lnTo>
                      <a:pt x="1171" y="1471"/>
                    </a:lnTo>
                    <a:lnTo>
                      <a:pt x="1169" y="1471"/>
                    </a:lnTo>
                    <a:lnTo>
                      <a:pt x="1171" y="1471"/>
                    </a:lnTo>
                    <a:lnTo>
                      <a:pt x="1171" y="1470"/>
                    </a:lnTo>
                    <a:lnTo>
                      <a:pt x="1173" y="1470"/>
                    </a:lnTo>
                    <a:lnTo>
                      <a:pt x="1174" y="1468"/>
                    </a:lnTo>
                    <a:lnTo>
                      <a:pt x="1176" y="1468"/>
                    </a:lnTo>
                    <a:lnTo>
                      <a:pt x="1176" y="1466"/>
                    </a:lnTo>
                    <a:lnTo>
                      <a:pt x="1178" y="1468"/>
                    </a:lnTo>
                    <a:close/>
                    <a:moveTo>
                      <a:pt x="1210" y="1092"/>
                    </a:moveTo>
                    <a:lnTo>
                      <a:pt x="1210" y="1094"/>
                    </a:lnTo>
                    <a:lnTo>
                      <a:pt x="1210" y="1095"/>
                    </a:lnTo>
                    <a:lnTo>
                      <a:pt x="1210" y="1097"/>
                    </a:lnTo>
                    <a:lnTo>
                      <a:pt x="1208" y="1097"/>
                    </a:lnTo>
                    <a:lnTo>
                      <a:pt x="1207" y="1097"/>
                    </a:lnTo>
                    <a:lnTo>
                      <a:pt x="1207" y="1095"/>
                    </a:lnTo>
                    <a:lnTo>
                      <a:pt x="1205" y="1095"/>
                    </a:lnTo>
                    <a:lnTo>
                      <a:pt x="1205" y="1094"/>
                    </a:lnTo>
                    <a:lnTo>
                      <a:pt x="1205" y="1092"/>
                    </a:lnTo>
                    <a:lnTo>
                      <a:pt x="1207" y="1094"/>
                    </a:lnTo>
                    <a:lnTo>
                      <a:pt x="1207" y="1092"/>
                    </a:lnTo>
                    <a:lnTo>
                      <a:pt x="1208" y="1092"/>
                    </a:lnTo>
                    <a:lnTo>
                      <a:pt x="1210" y="1092"/>
                    </a:lnTo>
                    <a:close/>
                    <a:moveTo>
                      <a:pt x="1161" y="1235"/>
                    </a:moveTo>
                    <a:lnTo>
                      <a:pt x="1162" y="1235"/>
                    </a:lnTo>
                    <a:lnTo>
                      <a:pt x="1164" y="1235"/>
                    </a:lnTo>
                    <a:lnTo>
                      <a:pt x="1164" y="1236"/>
                    </a:lnTo>
                    <a:lnTo>
                      <a:pt x="1164" y="1238"/>
                    </a:lnTo>
                    <a:lnTo>
                      <a:pt x="1164" y="1236"/>
                    </a:lnTo>
                    <a:lnTo>
                      <a:pt x="1164" y="1235"/>
                    </a:lnTo>
                    <a:lnTo>
                      <a:pt x="1164" y="1236"/>
                    </a:lnTo>
                    <a:lnTo>
                      <a:pt x="1166" y="1236"/>
                    </a:lnTo>
                    <a:lnTo>
                      <a:pt x="1166" y="1238"/>
                    </a:lnTo>
                    <a:lnTo>
                      <a:pt x="1168" y="1238"/>
                    </a:lnTo>
                    <a:lnTo>
                      <a:pt x="1168" y="1240"/>
                    </a:lnTo>
                    <a:lnTo>
                      <a:pt x="1166" y="1240"/>
                    </a:lnTo>
                    <a:lnTo>
                      <a:pt x="1166" y="1238"/>
                    </a:lnTo>
                    <a:lnTo>
                      <a:pt x="1166" y="1240"/>
                    </a:lnTo>
                    <a:lnTo>
                      <a:pt x="1164" y="1240"/>
                    </a:lnTo>
                    <a:lnTo>
                      <a:pt x="1162" y="1240"/>
                    </a:lnTo>
                    <a:lnTo>
                      <a:pt x="1162" y="1238"/>
                    </a:lnTo>
                    <a:lnTo>
                      <a:pt x="1161" y="1238"/>
                    </a:lnTo>
                    <a:lnTo>
                      <a:pt x="1161" y="1236"/>
                    </a:lnTo>
                    <a:lnTo>
                      <a:pt x="1161" y="1235"/>
                    </a:lnTo>
                    <a:close/>
                    <a:moveTo>
                      <a:pt x="1249" y="1592"/>
                    </a:moveTo>
                    <a:lnTo>
                      <a:pt x="1251" y="1592"/>
                    </a:lnTo>
                    <a:lnTo>
                      <a:pt x="1251" y="1594"/>
                    </a:lnTo>
                    <a:lnTo>
                      <a:pt x="1253" y="1594"/>
                    </a:lnTo>
                    <a:lnTo>
                      <a:pt x="1254" y="1594"/>
                    </a:lnTo>
                    <a:lnTo>
                      <a:pt x="1253" y="1594"/>
                    </a:lnTo>
                    <a:lnTo>
                      <a:pt x="1253" y="1595"/>
                    </a:lnTo>
                    <a:lnTo>
                      <a:pt x="1251" y="1594"/>
                    </a:lnTo>
                    <a:lnTo>
                      <a:pt x="1251" y="1595"/>
                    </a:lnTo>
                    <a:lnTo>
                      <a:pt x="1253" y="1595"/>
                    </a:lnTo>
                    <a:lnTo>
                      <a:pt x="1253" y="1597"/>
                    </a:lnTo>
                    <a:lnTo>
                      <a:pt x="1251" y="1597"/>
                    </a:lnTo>
                    <a:lnTo>
                      <a:pt x="1251" y="1595"/>
                    </a:lnTo>
                    <a:lnTo>
                      <a:pt x="1249" y="1595"/>
                    </a:lnTo>
                    <a:lnTo>
                      <a:pt x="1249" y="1597"/>
                    </a:lnTo>
                    <a:lnTo>
                      <a:pt x="1249" y="1599"/>
                    </a:lnTo>
                    <a:lnTo>
                      <a:pt x="1247" y="1600"/>
                    </a:lnTo>
                    <a:lnTo>
                      <a:pt x="1247" y="1599"/>
                    </a:lnTo>
                    <a:lnTo>
                      <a:pt x="1247" y="1597"/>
                    </a:lnTo>
                    <a:lnTo>
                      <a:pt x="1246" y="1597"/>
                    </a:lnTo>
                    <a:lnTo>
                      <a:pt x="1246" y="1595"/>
                    </a:lnTo>
                    <a:lnTo>
                      <a:pt x="1246" y="1594"/>
                    </a:lnTo>
                    <a:lnTo>
                      <a:pt x="1247" y="1595"/>
                    </a:lnTo>
                    <a:lnTo>
                      <a:pt x="1246" y="1594"/>
                    </a:lnTo>
                    <a:lnTo>
                      <a:pt x="1247" y="1594"/>
                    </a:lnTo>
                    <a:lnTo>
                      <a:pt x="1249" y="1594"/>
                    </a:lnTo>
                    <a:lnTo>
                      <a:pt x="1249" y="1592"/>
                    </a:lnTo>
                    <a:close/>
                    <a:moveTo>
                      <a:pt x="1198" y="1061"/>
                    </a:moveTo>
                    <a:lnTo>
                      <a:pt x="1200" y="1061"/>
                    </a:lnTo>
                    <a:lnTo>
                      <a:pt x="1200" y="1063"/>
                    </a:lnTo>
                    <a:lnTo>
                      <a:pt x="1202" y="1063"/>
                    </a:lnTo>
                    <a:lnTo>
                      <a:pt x="1200" y="1065"/>
                    </a:lnTo>
                    <a:lnTo>
                      <a:pt x="1202" y="1065"/>
                    </a:lnTo>
                    <a:lnTo>
                      <a:pt x="1203" y="1066"/>
                    </a:lnTo>
                    <a:lnTo>
                      <a:pt x="1202" y="1065"/>
                    </a:lnTo>
                    <a:lnTo>
                      <a:pt x="1203" y="1065"/>
                    </a:lnTo>
                    <a:lnTo>
                      <a:pt x="1203" y="1066"/>
                    </a:lnTo>
                    <a:lnTo>
                      <a:pt x="1202" y="1066"/>
                    </a:lnTo>
                    <a:lnTo>
                      <a:pt x="1200" y="1066"/>
                    </a:lnTo>
                    <a:lnTo>
                      <a:pt x="1198" y="1066"/>
                    </a:lnTo>
                    <a:lnTo>
                      <a:pt x="1196" y="1065"/>
                    </a:lnTo>
                    <a:lnTo>
                      <a:pt x="1196" y="1063"/>
                    </a:lnTo>
                    <a:lnTo>
                      <a:pt x="1198" y="1063"/>
                    </a:lnTo>
                    <a:lnTo>
                      <a:pt x="1198" y="1061"/>
                    </a:lnTo>
                    <a:close/>
                    <a:moveTo>
                      <a:pt x="1198" y="1442"/>
                    </a:moveTo>
                    <a:lnTo>
                      <a:pt x="1200" y="1442"/>
                    </a:lnTo>
                    <a:lnTo>
                      <a:pt x="1200" y="1444"/>
                    </a:lnTo>
                    <a:lnTo>
                      <a:pt x="1200" y="1446"/>
                    </a:lnTo>
                    <a:lnTo>
                      <a:pt x="1202" y="1444"/>
                    </a:lnTo>
                    <a:lnTo>
                      <a:pt x="1202" y="1446"/>
                    </a:lnTo>
                    <a:lnTo>
                      <a:pt x="1202" y="1447"/>
                    </a:lnTo>
                    <a:lnTo>
                      <a:pt x="1202" y="1449"/>
                    </a:lnTo>
                    <a:lnTo>
                      <a:pt x="1202" y="1447"/>
                    </a:lnTo>
                    <a:lnTo>
                      <a:pt x="1203" y="1447"/>
                    </a:lnTo>
                    <a:lnTo>
                      <a:pt x="1202" y="1447"/>
                    </a:lnTo>
                    <a:lnTo>
                      <a:pt x="1203" y="1446"/>
                    </a:lnTo>
                    <a:lnTo>
                      <a:pt x="1203" y="1447"/>
                    </a:lnTo>
                    <a:lnTo>
                      <a:pt x="1205" y="1449"/>
                    </a:lnTo>
                    <a:lnTo>
                      <a:pt x="1205" y="1451"/>
                    </a:lnTo>
                    <a:lnTo>
                      <a:pt x="1203" y="1449"/>
                    </a:lnTo>
                    <a:lnTo>
                      <a:pt x="1203" y="1451"/>
                    </a:lnTo>
                    <a:lnTo>
                      <a:pt x="1203" y="1453"/>
                    </a:lnTo>
                    <a:lnTo>
                      <a:pt x="1202" y="1451"/>
                    </a:lnTo>
                    <a:lnTo>
                      <a:pt x="1202" y="1449"/>
                    </a:lnTo>
                    <a:lnTo>
                      <a:pt x="1200" y="1449"/>
                    </a:lnTo>
                    <a:lnTo>
                      <a:pt x="1202" y="1447"/>
                    </a:lnTo>
                    <a:lnTo>
                      <a:pt x="1200" y="1449"/>
                    </a:lnTo>
                    <a:lnTo>
                      <a:pt x="1200" y="1447"/>
                    </a:lnTo>
                    <a:lnTo>
                      <a:pt x="1200" y="1446"/>
                    </a:lnTo>
                    <a:lnTo>
                      <a:pt x="1200" y="1447"/>
                    </a:lnTo>
                    <a:lnTo>
                      <a:pt x="1200" y="1446"/>
                    </a:lnTo>
                    <a:lnTo>
                      <a:pt x="1198" y="1446"/>
                    </a:lnTo>
                    <a:lnTo>
                      <a:pt x="1198" y="1444"/>
                    </a:lnTo>
                    <a:lnTo>
                      <a:pt x="1198" y="1442"/>
                    </a:lnTo>
                    <a:close/>
                    <a:moveTo>
                      <a:pt x="1263" y="1565"/>
                    </a:moveTo>
                    <a:lnTo>
                      <a:pt x="1261" y="1566"/>
                    </a:lnTo>
                    <a:lnTo>
                      <a:pt x="1261" y="1568"/>
                    </a:lnTo>
                    <a:lnTo>
                      <a:pt x="1261" y="1566"/>
                    </a:lnTo>
                    <a:lnTo>
                      <a:pt x="1261" y="1568"/>
                    </a:lnTo>
                    <a:lnTo>
                      <a:pt x="1261" y="1570"/>
                    </a:lnTo>
                    <a:lnTo>
                      <a:pt x="1259" y="1570"/>
                    </a:lnTo>
                    <a:lnTo>
                      <a:pt x="1261" y="1570"/>
                    </a:lnTo>
                    <a:lnTo>
                      <a:pt x="1261" y="1568"/>
                    </a:lnTo>
                    <a:lnTo>
                      <a:pt x="1263" y="1570"/>
                    </a:lnTo>
                    <a:lnTo>
                      <a:pt x="1261" y="1570"/>
                    </a:lnTo>
                    <a:lnTo>
                      <a:pt x="1261" y="1572"/>
                    </a:lnTo>
                    <a:lnTo>
                      <a:pt x="1261" y="1570"/>
                    </a:lnTo>
                    <a:lnTo>
                      <a:pt x="1259" y="1570"/>
                    </a:lnTo>
                    <a:lnTo>
                      <a:pt x="1259" y="1568"/>
                    </a:lnTo>
                    <a:lnTo>
                      <a:pt x="1258" y="1568"/>
                    </a:lnTo>
                    <a:lnTo>
                      <a:pt x="1256" y="1568"/>
                    </a:lnTo>
                    <a:lnTo>
                      <a:pt x="1256" y="1566"/>
                    </a:lnTo>
                    <a:lnTo>
                      <a:pt x="1258" y="1566"/>
                    </a:lnTo>
                    <a:lnTo>
                      <a:pt x="1258" y="1565"/>
                    </a:lnTo>
                    <a:lnTo>
                      <a:pt x="1259" y="1565"/>
                    </a:lnTo>
                    <a:lnTo>
                      <a:pt x="1261" y="1563"/>
                    </a:lnTo>
                    <a:lnTo>
                      <a:pt x="1263" y="1565"/>
                    </a:lnTo>
                    <a:close/>
                    <a:moveTo>
                      <a:pt x="1166" y="1413"/>
                    </a:moveTo>
                    <a:lnTo>
                      <a:pt x="1168" y="1413"/>
                    </a:lnTo>
                    <a:lnTo>
                      <a:pt x="1168" y="1415"/>
                    </a:lnTo>
                    <a:lnTo>
                      <a:pt x="1169" y="1413"/>
                    </a:lnTo>
                    <a:lnTo>
                      <a:pt x="1169" y="1415"/>
                    </a:lnTo>
                    <a:lnTo>
                      <a:pt x="1168" y="1417"/>
                    </a:lnTo>
                    <a:lnTo>
                      <a:pt x="1166" y="1417"/>
                    </a:lnTo>
                    <a:lnTo>
                      <a:pt x="1164" y="1415"/>
                    </a:lnTo>
                    <a:lnTo>
                      <a:pt x="1164" y="1417"/>
                    </a:lnTo>
                    <a:lnTo>
                      <a:pt x="1162" y="1417"/>
                    </a:lnTo>
                    <a:lnTo>
                      <a:pt x="1162" y="1415"/>
                    </a:lnTo>
                    <a:lnTo>
                      <a:pt x="1162" y="1413"/>
                    </a:lnTo>
                    <a:lnTo>
                      <a:pt x="1164" y="1413"/>
                    </a:lnTo>
                    <a:lnTo>
                      <a:pt x="1166" y="1413"/>
                    </a:lnTo>
                    <a:lnTo>
                      <a:pt x="1166" y="1415"/>
                    </a:lnTo>
                    <a:lnTo>
                      <a:pt x="1166" y="1413"/>
                    </a:lnTo>
                    <a:lnTo>
                      <a:pt x="1164" y="1413"/>
                    </a:lnTo>
                    <a:lnTo>
                      <a:pt x="1164" y="1412"/>
                    </a:lnTo>
                    <a:lnTo>
                      <a:pt x="1166" y="1413"/>
                    </a:lnTo>
                    <a:close/>
                    <a:moveTo>
                      <a:pt x="1183" y="1126"/>
                    </a:moveTo>
                    <a:lnTo>
                      <a:pt x="1181" y="1126"/>
                    </a:lnTo>
                    <a:lnTo>
                      <a:pt x="1181" y="1128"/>
                    </a:lnTo>
                    <a:lnTo>
                      <a:pt x="1181" y="1129"/>
                    </a:lnTo>
                    <a:lnTo>
                      <a:pt x="1181" y="1131"/>
                    </a:lnTo>
                    <a:lnTo>
                      <a:pt x="1181" y="1133"/>
                    </a:lnTo>
                    <a:lnTo>
                      <a:pt x="1179" y="1133"/>
                    </a:lnTo>
                    <a:lnTo>
                      <a:pt x="1179" y="1131"/>
                    </a:lnTo>
                    <a:lnTo>
                      <a:pt x="1178" y="1131"/>
                    </a:lnTo>
                    <a:lnTo>
                      <a:pt x="1178" y="1129"/>
                    </a:lnTo>
                    <a:lnTo>
                      <a:pt x="1178" y="1128"/>
                    </a:lnTo>
                    <a:lnTo>
                      <a:pt x="1179" y="1128"/>
                    </a:lnTo>
                    <a:lnTo>
                      <a:pt x="1179" y="1126"/>
                    </a:lnTo>
                    <a:lnTo>
                      <a:pt x="1181" y="1126"/>
                    </a:lnTo>
                    <a:lnTo>
                      <a:pt x="1183" y="1126"/>
                    </a:lnTo>
                    <a:close/>
                    <a:moveTo>
                      <a:pt x="1142" y="1301"/>
                    </a:moveTo>
                    <a:lnTo>
                      <a:pt x="1144" y="1303"/>
                    </a:lnTo>
                    <a:lnTo>
                      <a:pt x="1145" y="1303"/>
                    </a:lnTo>
                    <a:lnTo>
                      <a:pt x="1145" y="1305"/>
                    </a:lnTo>
                    <a:lnTo>
                      <a:pt x="1147" y="1305"/>
                    </a:lnTo>
                    <a:lnTo>
                      <a:pt x="1147" y="1306"/>
                    </a:lnTo>
                    <a:lnTo>
                      <a:pt x="1145" y="1306"/>
                    </a:lnTo>
                    <a:lnTo>
                      <a:pt x="1145" y="1305"/>
                    </a:lnTo>
                    <a:lnTo>
                      <a:pt x="1145" y="1306"/>
                    </a:lnTo>
                    <a:lnTo>
                      <a:pt x="1144" y="1305"/>
                    </a:lnTo>
                    <a:lnTo>
                      <a:pt x="1144" y="1306"/>
                    </a:lnTo>
                    <a:lnTo>
                      <a:pt x="1142" y="1305"/>
                    </a:lnTo>
                    <a:lnTo>
                      <a:pt x="1142" y="1303"/>
                    </a:lnTo>
                    <a:lnTo>
                      <a:pt x="1140" y="1303"/>
                    </a:lnTo>
                    <a:lnTo>
                      <a:pt x="1139" y="1303"/>
                    </a:lnTo>
                    <a:lnTo>
                      <a:pt x="1140" y="1301"/>
                    </a:lnTo>
                    <a:lnTo>
                      <a:pt x="1142" y="1301"/>
                    </a:lnTo>
                    <a:close/>
                    <a:moveTo>
                      <a:pt x="1210" y="990"/>
                    </a:moveTo>
                    <a:lnTo>
                      <a:pt x="1210" y="992"/>
                    </a:lnTo>
                    <a:lnTo>
                      <a:pt x="1210" y="993"/>
                    </a:lnTo>
                    <a:lnTo>
                      <a:pt x="1210" y="995"/>
                    </a:lnTo>
                    <a:lnTo>
                      <a:pt x="1212" y="997"/>
                    </a:lnTo>
                    <a:lnTo>
                      <a:pt x="1212" y="995"/>
                    </a:lnTo>
                    <a:lnTo>
                      <a:pt x="1212" y="997"/>
                    </a:lnTo>
                    <a:lnTo>
                      <a:pt x="1210" y="997"/>
                    </a:lnTo>
                    <a:lnTo>
                      <a:pt x="1210" y="995"/>
                    </a:lnTo>
                    <a:lnTo>
                      <a:pt x="1208" y="995"/>
                    </a:lnTo>
                    <a:lnTo>
                      <a:pt x="1208" y="993"/>
                    </a:lnTo>
                    <a:lnTo>
                      <a:pt x="1207" y="993"/>
                    </a:lnTo>
                    <a:lnTo>
                      <a:pt x="1207" y="995"/>
                    </a:lnTo>
                    <a:lnTo>
                      <a:pt x="1205" y="993"/>
                    </a:lnTo>
                    <a:lnTo>
                      <a:pt x="1205" y="992"/>
                    </a:lnTo>
                    <a:lnTo>
                      <a:pt x="1207" y="992"/>
                    </a:lnTo>
                    <a:lnTo>
                      <a:pt x="1208" y="992"/>
                    </a:lnTo>
                    <a:lnTo>
                      <a:pt x="1210" y="992"/>
                    </a:lnTo>
                    <a:lnTo>
                      <a:pt x="1210" y="990"/>
                    </a:lnTo>
                    <a:close/>
                    <a:moveTo>
                      <a:pt x="1202" y="1524"/>
                    </a:moveTo>
                    <a:lnTo>
                      <a:pt x="1202" y="1526"/>
                    </a:lnTo>
                    <a:lnTo>
                      <a:pt x="1202" y="1527"/>
                    </a:lnTo>
                    <a:lnTo>
                      <a:pt x="1203" y="1527"/>
                    </a:lnTo>
                    <a:lnTo>
                      <a:pt x="1203" y="1529"/>
                    </a:lnTo>
                    <a:lnTo>
                      <a:pt x="1205" y="1529"/>
                    </a:lnTo>
                    <a:lnTo>
                      <a:pt x="1203" y="1529"/>
                    </a:lnTo>
                    <a:lnTo>
                      <a:pt x="1203" y="1531"/>
                    </a:lnTo>
                    <a:lnTo>
                      <a:pt x="1202" y="1529"/>
                    </a:lnTo>
                    <a:lnTo>
                      <a:pt x="1202" y="1527"/>
                    </a:lnTo>
                    <a:lnTo>
                      <a:pt x="1200" y="1527"/>
                    </a:lnTo>
                    <a:lnTo>
                      <a:pt x="1200" y="1526"/>
                    </a:lnTo>
                    <a:lnTo>
                      <a:pt x="1200" y="1527"/>
                    </a:lnTo>
                    <a:lnTo>
                      <a:pt x="1198" y="1527"/>
                    </a:lnTo>
                    <a:lnTo>
                      <a:pt x="1198" y="1526"/>
                    </a:lnTo>
                    <a:lnTo>
                      <a:pt x="1198" y="1524"/>
                    </a:lnTo>
                    <a:lnTo>
                      <a:pt x="1200" y="1524"/>
                    </a:lnTo>
                    <a:lnTo>
                      <a:pt x="1202" y="1524"/>
                    </a:lnTo>
                    <a:close/>
                    <a:moveTo>
                      <a:pt x="1176" y="1413"/>
                    </a:moveTo>
                    <a:lnTo>
                      <a:pt x="1176" y="1415"/>
                    </a:lnTo>
                    <a:lnTo>
                      <a:pt x="1178" y="1417"/>
                    </a:lnTo>
                    <a:lnTo>
                      <a:pt x="1176" y="1417"/>
                    </a:lnTo>
                    <a:lnTo>
                      <a:pt x="1174" y="1417"/>
                    </a:lnTo>
                    <a:lnTo>
                      <a:pt x="1174" y="1418"/>
                    </a:lnTo>
                    <a:lnTo>
                      <a:pt x="1173" y="1418"/>
                    </a:lnTo>
                    <a:lnTo>
                      <a:pt x="1173" y="1417"/>
                    </a:lnTo>
                    <a:lnTo>
                      <a:pt x="1171" y="1417"/>
                    </a:lnTo>
                    <a:lnTo>
                      <a:pt x="1171" y="1415"/>
                    </a:lnTo>
                    <a:lnTo>
                      <a:pt x="1173" y="1415"/>
                    </a:lnTo>
                    <a:lnTo>
                      <a:pt x="1171" y="1415"/>
                    </a:lnTo>
                    <a:lnTo>
                      <a:pt x="1173" y="1415"/>
                    </a:lnTo>
                    <a:lnTo>
                      <a:pt x="1174" y="1415"/>
                    </a:lnTo>
                    <a:lnTo>
                      <a:pt x="1174" y="1413"/>
                    </a:lnTo>
                    <a:lnTo>
                      <a:pt x="1176" y="1413"/>
                    </a:lnTo>
                    <a:lnTo>
                      <a:pt x="1176" y="1412"/>
                    </a:lnTo>
                    <a:lnTo>
                      <a:pt x="1176" y="1413"/>
                    </a:lnTo>
                    <a:close/>
                    <a:moveTo>
                      <a:pt x="1186" y="1068"/>
                    </a:moveTo>
                    <a:lnTo>
                      <a:pt x="1188" y="1070"/>
                    </a:lnTo>
                    <a:lnTo>
                      <a:pt x="1188" y="1071"/>
                    </a:lnTo>
                    <a:lnTo>
                      <a:pt x="1186" y="1071"/>
                    </a:lnTo>
                    <a:lnTo>
                      <a:pt x="1185" y="1071"/>
                    </a:lnTo>
                    <a:lnTo>
                      <a:pt x="1183" y="1070"/>
                    </a:lnTo>
                    <a:lnTo>
                      <a:pt x="1183" y="1068"/>
                    </a:lnTo>
                    <a:lnTo>
                      <a:pt x="1185" y="1068"/>
                    </a:lnTo>
                    <a:lnTo>
                      <a:pt x="1186" y="1068"/>
                    </a:lnTo>
                    <a:close/>
                    <a:moveTo>
                      <a:pt x="1205" y="1548"/>
                    </a:moveTo>
                    <a:lnTo>
                      <a:pt x="1207" y="1548"/>
                    </a:lnTo>
                    <a:lnTo>
                      <a:pt x="1207" y="1549"/>
                    </a:lnTo>
                    <a:lnTo>
                      <a:pt x="1208" y="1549"/>
                    </a:lnTo>
                    <a:lnTo>
                      <a:pt x="1207" y="1549"/>
                    </a:lnTo>
                    <a:lnTo>
                      <a:pt x="1208" y="1549"/>
                    </a:lnTo>
                    <a:lnTo>
                      <a:pt x="1208" y="1551"/>
                    </a:lnTo>
                    <a:lnTo>
                      <a:pt x="1207" y="1551"/>
                    </a:lnTo>
                    <a:lnTo>
                      <a:pt x="1205" y="1551"/>
                    </a:lnTo>
                    <a:lnTo>
                      <a:pt x="1205" y="1549"/>
                    </a:lnTo>
                    <a:lnTo>
                      <a:pt x="1203" y="1548"/>
                    </a:lnTo>
                    <a:lnTo>
                      <a:pt x="1203" y="1549"/>
                    </a:lnTo>
                    <a:lnTo>
                      <a:pt x="1203" y="1551"/>
                    </a:lnTo>
                    <a:lnTo>
                      <a:pt x="1202" y="1551"/>
                    </a:lnTo>
                    <a:lnTo>
                      <a:pt x="1203" y="1549"/>
                    </a:lnTo>
                    <a:lnTo>
                      <a:pt x="1202" y="1549"/>
                    </a:lnTo>
                    <a:lnTo>
                      <a:pt x="1200" y="1549"/>
                    </a:lnTo>
                    <a:lnTo>
                      <a:pt x="1200" y="1548"/>
                    </a:lnTo>
                    <a:lnTo>
                      <a:pt x="1202" y="1548"/>
                    </a:lnTo>
                    <a:lnTo>
                      <a:pt x="1203" y="1549"/>
                    </a:lnTo>
                    <a:lnTo>
                      <a:pt x="1202" y="1548"/>
                    </a:lnTo>
                    <a:lnTo>
                      <a:pt x="1203" y="1548"/>
                    </a:lnTo>
                    <a:lnTo>
                      <a:pt x="1203" y="1546"/>
                    </a:lnTo>
                    <a:lnTo>
                      <a:pt x="1205" y="1546"/>
                    </a:lnTo>
                    <a:lnTo>
                      <a:pt x="1205" y="1548"/>
                    </a:lnTo>
                    <a:close/>
                    <a:moveTo>
                      <a:pt x="1229" y="1558"/>
                    </a:moveTo>
                    <a:lnTo>
                      <a:pt x="1230" y="1558"/>
                    </a:lnTo>
                    <a:lnTo>
                      <a:pt x="1232" y="1560"/>
                    </a:lnTo>
                    <a:lnTo>
                      <a:pt x="1234" y="1560"/>
                    </a:lnTo>
                    <a:lnTo>
                      <a:pt x="1234" y="1561"/>
                    </a:lnTo>
                    <a:lnTo>
                      <a:pt x="1232" y="1560"/>
                    </a:lnTo>
                    <a:lnTo>
                      <a:pt x="1232" y="1561"/>
                    </a:lnTo>
                    <a:lnTo>
                      <a:pt x="1232" y="1560"/>
                    </a:lnTo>
                    <a:lnTo>
                      <a:pt x="1230" y="1561"/>
                    </a:lnTo>
                    <a:lnTo>
                      <a:pt x="1229" y="1561"/>
                    </a:lnTo>
                    <a:lnTo>
                      <a:pt x="1227" y="1561"/>
                    </a:lnTo>
                    <a:lnTo>
                      <a:pt x="1225" y="1561"/>
                    </a:lnTo>
                    <a:lnTo>
                      <a:pt x="1227" y="1560"/>
                    </a:lnTo>
                    <a:lnTo>
                      <a:pt x="1229" y="1560"/>
                    </a:lnTo>
                    <a:lnTo>
                      <a:pt x="1229" y="1561"/>
                    </a:lnTo>
                    <a:lnTo>
                      <a:pt x="1229" y="1560"/>
                    </a:lnTo>
                    <a:lnTo>
                      <a:pt x="1227" y="1560"/>
                    </a:lnTo>
                    <a:lnTo>
                      <a:pt x="1229" y="1558"/>
                    </a:lnTo>
                    <a:lnTo>
                      <a:pt x="1227" y="1558"/>
                    </a:lnTo>
                    <a:lnTo>
                      <a:pt x="1229" y="1558"/>
                    </a:lnTo>
                    <a:close/>
                    <a:moveTo>
                      <a:pt x="1411" y="1662"/>
                    </a:moveTo>
                    <a:lnTo>
                      <a:pt x="1412" y="1663"/>
                    </a:lnTo>
                    <a:lnTo>
                      <a:pt x="1412" y="1665"/>
                    </a:lnTo>
                    <a:lnTo>
                      <a:pt x="1412" y="1667"/>
                    </a:lnTo>
                    <a:lnTo>
                      <a:pt x="1414" y="1667"/>
                    </a:lnTo>
                    <a:lnTo>
                      <a:pt x="1414" y="1669"/>
                    </a:lnTo>
                    <a:lnTo>
                      <a:pt x="1412" y="1669"/>
                    </a:lnTo>
                    <a:lnTo>
                      <a:pt x="1412" y="1667"/>
                    </a:lnTo>
                    <a:lnTo>
                      <a:pt x="1411" y="1667"/>
                    </a:lnTo>
                    <a:lnTo>
                      <a:pt x="1411" y="1669"/>
                    </a:lnTo>
                    <a:lnTo>
                      <a:pt x="1409" y="1669"/>
                    </a:lnTo>
                    <a:lnTo>
                      <a:pt x="1407" y="1669"/>
                    </a:lnTo>
                    <a:lnTo>
                      <a:pt x="1409" y="1667"/>
                    </a:lnTo>
                    <a:lnTo>
                      <a:pt x="1409" y="1665"/>
                    </a:lnTo>
                    <a:lnTo>
                      <a:pt x="1411" y="1667"/>
                    </a:lnTo>
                    <a:lnTo>
                      <a:pt x="1409" y="1665"/>
                    </a:lnTo>
                    <a:lnTo>
                      <a:pt x="1409" y="1663"/>
                    </a:lnTo>
                    <a:lnTo>
                      <a:pt x="1409" y="1662"/>
                    </a:lnTo>
                    <a:lnTo>
                      <a:pt x="1411" y="1662"/>
                    </a:lnTo>
                    <a:close/>
                    <a:moveTo>
                      <a:pt x="1207" y="1245"/>
                    </a:moveTo>
                    <a:lnTo>
                      <a:pt x="1208" y="1245"/>
                    </a:lnTo>
                    <a:lnTo>
                      <a:pt x="1208" y="1247"/>
                    </a:lnTo>
                    <a:lnTo>
                      <a:pt x="1208" y="1248"/>
                    </a:lnTo>
                    <a:lnTo>
                      <a:pt x="1208" y="1250"/>
                    </a:lnTo>
                    <a:lnTo>
                      <a:pt x="1208" y="1252"/>
                    </a:lnTo>
                    <a:lnTo>
                      <a:pt x="1207" y="1252"/>
                    </a:lnTo>
                    <a:lnTo>
                      <a:pt x="1208" y="1250"/>
                    </a:lnTo>
                    <a:lnTo>
                      <a:pt x="1207" y="1250"/>
                    </a:lnTo>
                    <a:lnTo>
                      <a:pt x="1205" y="1250"/>
                    </a:lnTo>
                    <a:lnTo>
                      <a:pt x="1205" y="1248"/>
                    </a:lnTo>
                    <a:lnTo>
                      <a:pt x="1207" y="1248"/>
                    </a:lnTo>
                    <a:lnTo>
                      <a:pt x="1205" y="1248"/>
                    </a:lnTo>
                    <a:lnTo>
                      <a:pt x="1205" y="1247"/>
                    </a:lnTo>
                    <a:lnTo>
                      <a:pt x="1205" y="1245"/>
                    </a:lnTo>
                    <a:lnTo>
                      <a:pt x="1207" y="1245"/>
                    </a:lnTo>
                    <a:close/>
                    <a:moveTo>
                      <a:pt x="1156" y="1311"/>
                    </a:moveTo>
                    <a:lnTo>
                      <a:pt x="1157" y="1311"/>
                    </a:lnTo>
                    <a:lnTo>
                      <a:pt x="1157" y="1313"/>
                    </a:lnTo>
                    <a:lnTo>
                      <a:pt x="1159" y="1313"/>
                    </a:lnTo>
                    <a:lnTo>
                      <a:pt x="1159" y="1311"/>
                    </a:lnTo>
                    <a:lnTo>
                      <a:pt x="1161" y="1313"/>
                    </a:lnTo>
                    <a:lnTo>
                      <a:pt x="1159" y="1313"/>
                    </a:lnTo>
                    <a:lnTo>
                      <a:pt x="1161" y="1315"/>
                    </a:lnTo>
                    <a:lnTo>
                      <a:pt x="1159" y="1315"/>
                    </a:lnTo>
                    <a:lnTo>
                      <a:pt x="1157" y="1315"/>
                    </a:lnTo>
                    <a:lnTo>
                      <a:pt x="1156" y="1315"/>
                    </a:lnTo>
                    <a:lnTo>
                      <a:pt x="1156" y="1313"/>
                    </a:lnTo>
                    <a:lnTo>
                      <a:pt x="1156" y="1311"/>
                    </a:lnTo>
                    <a:close/>
                    <a:moveTo>
                      <a:pt x="1193" y="1531"/>
                    </a:moveTo>
                    <a:lnTo>
                      <a:pt x="1193" y="1532"/>
                    </a:lnTo>
                    <a:lnTo>
                      <a:pt x="1195" y="1532"/>
                    </a:lnTo>
                    <a:lnTo>
                      <a:pt x="1193" y="1534"/>
                    </a:lnTo>
                    <a:lnTo>
                      <a:pt x="1193" y="1536"/>
                    </a:lnTo>
                    <a:lnTo>
                      <a:pt x="1191" y="1536"/>
                    </a:lnTo>
                    <a:lnTo>
                      <a:pt x="1190" y="1536"/>
                    </a:lnTo>
                    <a:lnTo>
                      <a:pt x="1190" y="1538"/>
                    </a:lnTo>
                    <a:lnTo>
                      <a:pt x="1188" y="1538"/>
                    </a:lnTo>
                    <a:lnTo>
                      <a:pt x="1188" y="1536"/>
                    </a:lnTo>
                    <a:lnTo>
                      <a:pt x="1186" y="1536"/>
                    </a:lnTo>
                    <a:lnTo>
                      <a:pt x="1188" y="1534"/>
                    </a:lnTo>
                    <a:lnTo>
                      <a:pt x="1190" y="1534"/>
                    </a:lnTo>
                    <a:lnTo>
                      <a:pt x="1190" y="1532"/>
                    </a:lnTo>
                    <a:lnTo>
                      <a:pt x="1191" y="1532"/>
                    </a:lnTo>
                    <a:lnTo>
                      <a:pt x="1193" y="1531"/>
                    </a:lnTo>
                    <a:close/>
                    <a:moveTo>
                      <a:pt x="1169" y="1083"/>
                    </a:moveTo>
                    <a:lnTo>
                      <a:pt x="1171" y="1083"/>
                    </a:lnTo>
                    <a:lnTo>
                      <a:pt x="1173" y="1085"/>
                    </a:lnTo>
                    <a:lnTo>
                      <a:pt x="1171" y="1085"/>
                    </a:lnTo>
                    <a:lnTo>
                      <a:pt x="1173" y="1087"/>
                    </a:lnTo>
                    <a:lnTo>
                      <a:pt x="1171" y="1087"/>
                    </a:lnTo>
                    <a:lnTo>
                      <a:pt x="1173" y="1088"/>
                    </a:lnTo>
                    <a:lnTo>
                      <a:pt x="1171" y="1088"/>
                    </a:lnTo>
                    <a:lnTo>
                      <a:pt x="1169" y="1088"/>
                    </a:lnTo>
                    <a:lnTo>
                      <a:pt x="1169" y="1087"/>
                    </a:lnTo>
                    <a:lnTo>
                      <a:pt x="1169" y="1085"/>
                    </a:lnTo>
                    <a:lnTo>
                      <a:pt x="1169" y="1083"/>
                    </a:lnTo>
                    <a:close/>
                    <a:moveTo>
                      <a:pt x="1423" y="1680"/>
                    </a:moveTo>
                    <a:lnTo>
                      <a:pt x="1424" y="1682"/>
                    </a:lnTo>
                    <a:lnTo>
                      <a:pt x="1426" y="1684"/>
                    </a:lnTo>
                    <a:lnTo>
                      <a:pt x="1426" y="1686"/>
                    </a:lnTo>
                    <a:lnTo>
                      <a:pt x="1424" y="1686"/>
                    </a:lnTo>
                    <a:lnTo>
                      <a:pt x="1423" y="1684"/>
                    </a:lnTo>
                    <a:lnTo>
                      <a:pt x="1421" y="1684"/>
                    </a:lnTo>
                    <a:lnTo>
                      <a:pt x="1421" y="1682"/>
                    </a:lnTo>
                    <a:lnTo>
                      <a:pt x="1421" y="1680"/>
                    </a:lnTo>
                    <a:lnTo>
                      <a:pt x="1419" y="1682"/>
                    </a:lnTo>
                    <a:lnTo>
                      <a:pt x="1417" y="1680"/>
                    </a:lnTo>
                    <a:lnTo>
                      <a:pt x="1419" y="1680"/>
                    </a:lnTo>
                    <a:lnTo>
                      <a:pt x="1421" y="1680"/>
                    </a:lnTo>
                    <a:lnTo>
                      <a:pt x="1423" y="1680"/>
                    </a:lnTo>
                    <a:close/>
                    <a:moveTo>
                      <a:pt x="1251" y="1549"/>
                    </a:moveTo>
                    <a:lnTo>
                      <a:pt x="1249" y="1549"/>
                    </a:lnTo>
                    <a:lnTo>
                      <a:pt x="1251" y="1549"/>
                    </a:lnTo>
                    <a:lnTo>
                      <a:pt x="1251" y="1551"/>
                    </a:lnTo>
                    <a:lnTo>
                      <a:pt x="1253" y="1551"/>
                    </a:lnTo>
                    <a:lnTo>
                      <a:pt x="1254" y="1551"/>
                    </a:lnTo>
                    <a:lnTo>
                      <a:pt x="1253" y="1553"/>
                    </a:lnTo>
                    <a:lnTo>
                      <a:pt x="1254" y="1553"/>
                    </a:lnTo>
                    <a:lnTo>
                      <a:pt x="1256" y="1555"/>
                    </a:lnTo>
                    <a:lnTo>
                      <a:pt x="1254" y="1555"/>
                    </a:lnTo>
                    <a:lnTo>
                      <a:pt x="1254" y="1556"/>
                    </a:lnTo>
                    <a:lnTo>
                      <a:pt x="1253" y="1555"/>
                    </a:lnTo>
                    <a:lnTo>
                      <a:pt x="1251" y="1555"/>
                    </a:lnTo>
                    <a:lnTo>
                      <a:pt x="1251" y="1553"/>
                    </a:lnTo>
                    <a:lnTo>
                      <a:pt x="1249" y="1553"/>
                    </a:lnTo>
                    <a:lnTo>
                      <a:pt x="1249" y="1551"/>
                    </a:lnTo>
                    <a:lnTo>
                      <a:pt x="1249" y="1549"/>
                    </a:lnTo>
                    <a:lnTo>
                      <a:pt x="1251" y="1549"/>
                    </a:lnTo>
                    <a:close/>
                    <a:moveTo>
                      <a:pt x="1332" y="1652"/>
                    </a:moveTo>
                    <a:lnTo>
                      <a:pt x="1334" y="1652"/>
                    </a:lnTo>
                    <a:lnTo>
                      <a:pt x="1332" y="1653"/>
                    </a:lnTo>
                    <a:lnTo>
                      <a:pt x="1331" y="1653"/>
                    </a:lnTo>
                    <a:lnTo>
                      <a:pt x="1332" y="1653"/>
                    </a:lnTo>
                    <a:lnTo>
                      <a:pt x="1332" y="1655"/>
                    </a:lnTo>
                    <a:lnTo>
                      <a:pt x="1331" y="1655"/>
                    </a:lnTo>
                    <a:lnTo>
                      <a:pt x="1331" y="1657"/>
                    </a:lnTo>
                    <a:lnTo>
                      <a:pt x="1329" y="1657"/>
                    </a:lnTo>
                    <a:lnTo>
                      <a:pt x="1331" y="1655"/>
                    </a:lnTo>
                    <a:lnTo>
                      <a:pt x="1329" y="1655"/>
                    </a:lnTo>
                    <a:lnTo>
                      <a:pt x="1329" y="1653"/>
                    </a:lnTo>
                    <a:lnTo>
                      <a:pt x="1327" y="1653"/>
                    </a:lnTo>
                    <a:lnTo>
                      <a:pt x="1326" y="1653"/>
                    </a:lnTo>
                    <a:lnTo>
                      <a:pt x="1327" y="1652"/>
                    </a:lnTo>
                    <a:lnTo>
                      <a:pt x="1326" y="1652"/>
                    </a:lnTo>
                    <a:lnTo>
                      <a:pt x="1327" y="1652"/>
                    </a:lnTo>
                    <a:lnTo>
                      <a:pt x="1329" y="1652"/>
                    </a:lnTo>
                    <a:lnTo>
                      <a:pt x="1329" y="1653"/>
                    </a:lnTo>
                    <a:lnTo>
                      <a:pt x="1331" y="1653"/>
                    </a:lnTo>
                    <a:lnTo>
                      <a:pt x="1331" y="1652"/>
                    </a:lnTo>
                    <a:lnTo>
                      <a:pt x="1332" y="1652"/>
                    </a:lnTo>
                    <a:close/>
                    <a:moveTo>
                      <a:pt x="1339" y="1655"/>
                    </a:moveTo>
                    <a:lnTo>
                      <a:pt x="1341" y="1655"/>
                    </a:lnTo>
                    <a:lnTo>
                      <a:pt x="1343" y="1655"/>
                    </a:lnTo>
                    <a:lnTo>
                      <a:pt x="1343" y="1657"/>
                    </a:lnTo>
                    <a:lnTo>
                      <a:pt x="1344" y="1657"/>
                    </a:lnTo>
                    <a:lnTo>
                      <a:pt x="1343" y="1658"/>
                    </a:lnTo>
                    <a:lnTo>
                      <a:pt x="1343" y="1657"/>
                    </a:lnTo>
                    <a:lnTo>
                      <a:pt x="1341" y="1657"/>
                    </a:lnTo>
                    <a:lnTo>
                      <a:pt x="1343" y="1658"/>
                    </a:lnTo>
                    <a:lnTo>
                      <a:pt x="1341" y="1658"/>
                    </a:lnTo>
                    <a:lnTo>
                      <a:pt x="1343" y="1658"/>
                    </a:lnTo>
                    <a:lnTo>
                      <a:pt x="1343" y="1660"/>
                    </a:lnTo>
                    <a:lnTo>
                      <a:pt x="1341" y="1658"/>
                    </a:lnTo>
                    <a:lnTo>
                      <a:pt x="1341" y="1660"/>
                    </a:lnTo>
                    <a:lnTo>
                      <a:pt x="1341" y="1658"/>
                    </a:lnTo>
                    <a:lnTo>
                      <a:pt x="1341" y="1660"/>
                    </a:lnTo>
                    <a:lnTo>
                      <a:pt x="1339" y="1658"/>
                    </a:lnTo>
                    <a:lnTo>
                      <a:pt x="1339" y="1660"/>
                    </a:lnTo>
                    <a:lnTo>
                      <a:pt x="1338" y="1660"/>
                    </a:lnTo>
                    <a:lnTo>
                      <a:pt x="1338" y="1658"/>
                    </a:lnTo>
                    <a:lnTo>
                      <a:pt x="1339" y="1658"/>
                    </a:lnTo>
                    <a:lnTo>
                      <a:pt x="1339" y="1657"/>
                    </a:lnTo>
                    <a:lnTo>
                      <a:pt x="1339" y="1655"/>
                    </a:lnTo>
                    <a:close/>
                    <a:moveTo>
                      <a:pt x="1212" y="1007"/>
                    </a:moveTo>
                    <a:lnTo>
                      <a:pt x="1213" y="1007"/>
                    </a:lnTo>
                    <a:lnTo>
                      <a:pt x="1215" y="1009"/>
                    </a:lnTo>
                    <a:lnTo>
                      <a:pt x="1217" y="1009"/>
                    </a:lnTo>
                    <a:lnTo>
                      <a:pt x="1217" y="1010"/>
                    </a:lnTo>
                    <a:lnTo>
                      <a:pt x="1219" y="1010"/>
                    </a:lnTo>
                    <a:lnTo>
                      <a:pt x="1219" y="1012"/>
                    </a:lnTo>
                    <a:lnTo>
                      <a:pt x="1219" y="1010"/>
                    </a:lnTo>
                    <a:lnTo>
                      <a:pt x="1217" y="1010"/>
                    </a:lnTo>
                    <a:lnTo>
                      <a:pt x="1215" y="1010"/>
                    </a:lnTo>
                    <a:lnTo>
                      <a:pt x="1213" y="1010"/>
                    </a:lnTo>
                    <a:lnTo>
                      <a:pt x="1213" y="1009"/>
                    </a:lnTo>
                    <a:lnTo>
                      <a:pt x="1212" y="1009"/>
                    </a:lnTo>
                    <a:lnTo>
                      <a:pt x="1210" y="1009"/>
                    </a:lnTo>
                    <a:lnTo>
                      <a:pt x="1210" y="1007"/>
                    </a:lnTo>
                    <a:lnTo>
                      <a:pt x="1212" y="1007"/>
                    </a:lnTo>
                    <a:close/>
                    <a:moveTo>
                      <a:pt x="1263" y="1609"/>
                    </a:moveTo>
                    <a:lnTo>
                      <a:pt x="1264" y="1611"/>
                    </a:lnTo>
                    <a:lnTo>
                      <a:pt x="1264" y="1612"/>
                    </a:lnTo>
                    <a:lnTo>
                      <a:pt x="1266" y="1612"/>
                    </a:lnTo>
                    <a:lnTo>
                      <a:pt x="1266" y="1614"/>
                    </a:lnTo>
                    <a:lnTo>
                      <a:pt x="1266" y="1612"/>
                    </a:lnTo>
                    <a:lnTo>
                      <a:pt x="1266" y="1614"/>
                    </a:lnTo>
                    <a:lnTo>
                      <a:pt x="1268" y="1614"/>
                    </a:lnTo>
                    <a:lnTo>
                      <a:pt x="1266" y="1614"/>
                    </a:lnTo>
                    <a:lnTo>
                      <a:pt x="1266" y="1616"/>
                    </a:lnTo>
                    <a:lnTo>
                      <a:pt x="1266" y="1618"/>
                    </a:lnTo>
                    <a:lnTo>
                      <a:pt x="1266" y="1616"/>
                    </a:lnTo>
                    <a:lnTo>
                      <a:pt x="1264" y="1616"/>
                    </a:lnTo>
                    <a:lnTo>
                      <a:pt x="1264" y="1614"/>
                    </a:lnTo>
                    <a:lnTo>
                      <a:pt x="1264" y="1612"/>
                    </a:lnTo>
                    <a:lnTo>
                      <a:pt x="1263" y="1614"/>
                    </a:lnTo>
                    <a:lnTo>
                      <a:pt x="1263" y="1612"/>
                    </a:lnTo>
                    <a:lnTo>
                      <a:pt x="1263" y="1611"/>
                    </a:lnTo>
                    <a:lnTo>
                      <a:pt x="1263" y="1612"/>
                    </a:lnTo>
                    <a:lnTo>
                      <a:pt x="1261" y="1612"/>
                    </a:lnTo>
                    <a:lnTo>
                      <a:pt x="1261" y="1611"/>
                    </a:lnTo>
                    <a:lnTo>
                      <a:pt x="1263" y="1609"/>
                    </a:lnTo>
                    <a:close/>
                    <a:moveTo>
                      <a:pt x="1168" y="1417"/>
                    </a:moveTo>
                    <a:lnTo>
                      <a:pt x="1169" y="1417"/>
                    </a:lnTo>
                    <a:lnTo>
                      <a:pt x="1169" y="1418"/>
                    </a:lnTo>
                    <a:lnTo>
                      <a:pt x="1168" y="1420"/>
                    </a:lnTo>
                    <a:lnTo>
                      <a:pt x="1166" y="1420"/>
                    </a:lnTo>
                    <a:lnTo>
                      <a:pt x="1168" y="1418"/>
                    </a:lnTo>
                    <a:lnTo>
                      <a:pt x="1166" y="1418"/>
                    </a:lnTo>
                    <a:lnTo>
                      <a:pt x="1164" y="1418"/>
                    </a:lnTo>
                    <a:lnTo>
                      <a:pt x="1164" y="1420"/>
                    </a:lnTo>
                    <a:lnTo>
                      <a:pt x="1162" y="1420"/>
                    </a:lnTo>
                    <a:lnTo>
                      <a:pt x="1162" y="1418"/>
                    </a:lnTo>
                    <a:lnTo>
                      <a:pt x="1164" y="1417"/>
                    </a:lnTo>
                    <a:lnTo>
                      <a:pt x="1166" y="1417"/>
                    </a:lnTo>
                    <a:lnTo>
                      <a:pt x="1168" y="1417"/>
                    </a:lnTo>
                    <a:close/>
                    <a:moveTo>
                      <a:pt x="1203" y="1075"/>
                    </a:moveTo>
                    <a:lnTo>
                      <a:pt x="1203" y="1077"/>
                    </a:lnTo>
                    <a:lnTo>
                      <a:pt x="1202" y="1077"/>
                    </a:lnTo>
                    <a:lnTo>
                      <a:pt x="1200" y="1078"/>
                    </a:lnTo>
                    <a:lnTo>
                      <a:pt x="1202" y="1077"/>
                    </a:lnTo>
                    <a:lnTo>
                      <a:pt x="1203" y="1077"/>
                    </a:lnTo>
                    <a:lnTo>
                      <a:pt x="1202" y="1078"/>
                    </a:lnTo>
                    <a:lnTo>
                      <a:pt x="1203" y="1077"/>
                    </a:lnTo>
                    <a:lnTo>
                      <a:pt x="1205" y="1077"/>
                    </a:lnTo>
                    <a:lnTo>
                      <a:pt x="1205" y="1078"/>
                    </a:lnTo>
                    <a:lnTo>
                      <a:pt x="1203" y="1078"/>
                    </a:lnTo>
                    <a:lnTo>
                      <a:pt x="1202" y="1078"/>
                    </a:lnTo>
                    <a:lnTo>
                      <a:pt x="1200" y="1078"/>
                    </a:lnTo>
                    <a:lnTo>
                      <a:pt x="1200" y="1077"/>
                    </a:lnTo>
                    <a:lnTo>
                      <a:pt x="1202" y="1075"/>
                    </a:lnTo>
                    <a:lnTo>
                      <a:pt x="1203" y="1075"/>
                    </a:lnTo>
                    <a:close/>
                    <a:moveTo>
                      <a:pt x="1222" y="1071"/>
                    </a:moveTo>
                    <a:lnTo>
                      <a:pt x="1222" y="1073"/>
                    </a:lnTo>
                    <a:lnTo>
                      <a:pt x="1224" y="1071"/>
                    </a:lnTo>
                    <a:lnTo>
                      <a:pt x="1224" y="1073"/>
                    </a:lnTo>
                    <a:lnTo>
                      <a:pt x="1225" y="1075"/>
                    </a:lnTo>
                    <a:lnTo>
                      <a:pt x="1224" y="1075"/>
                    </a:lnTo>
                    <a:lnTo>
                      <a:pt x="1222" y="1075"/>
                    </a:lnTo>
                    <a:lnTo>
                      <a:pt x="1220" y="1075"/>
                    </a:lnTo>
                    <a:lnTo>
                      <a:pt x="1220" y="1073"/>
                    </a:lnTo>
                    <a:lnTo>
                      <a:pt x="1222" y="1071"/>
                    </a:lnTo>
                    <a:close/>
                    <a:moveTo>
                      <a:pt x="1229" y="954"/>
                    </a:moveTo>
                    <a:lnTo>
                      <a:pt x="1229" y="956"/>
                    </a:lnTo>
                    <a:lnTo>
                      <a:pt x="1230" y="956"/>
                    </a:lnTo>
                    <a:lnTo>
                      <a:pt x="1230" y="957"/>
                    </a:lnTo>
                    <a:lnTo>
                      <a:pt x="1230" y="959"/>
                    </a:lnTo>
                    <a:lnTo>
                      <a:pt x="1229" y="957"/>
                    </a:lnTo>
                    <a:lnTo>
                      <a:pt x="1227" y="957"/>
                    </a:lnTo>
                    <a:lnTo>
                      <a:pt x="1227" y="956"/>
                    </a:lnTo>
                    <a:lnTo>
                      <a:pt x="1225" y="956"/>
                    </a:lnTo>
                    <a:lnTo>
                      <a:pt x="1227" y="956"/>
                    </a:lnTo>
                    <a:lnTo>
                      <a:pt x="1229" y="956"/>
                    </a:lnTo>
                    <a:lnTo>
                      <a:pt x="1227" y="956"/>
                    </a:lnTo>
                    <a:lnTo>
                      <a:pt x="1227" y="954"/>
                    </a:lnTo>
                    <a:lnTo>
                      <a:pt x="1227" y="952"/>
                    </a:lnTo>
                    <a:lnTo>
                      <a:pt x="1227" y="954"/>
                    </a:lnTo>
                    <a:lnTo>
                      <a:pt x="1227" y="952"/>
                    </a:lnTo>
                    <a:lnTo>
                      <a:pt x="1229" y="952"/>
                    </a:lnTo>
                    <a:lnTo>
                      <a:pt x="1229" y="954"/>
                    </a:lnTo>
                    <a:close/>
                    <a:moveTo>
                      <a:pt x="1208" y="1073"/>
                    </a:moveTo>
                    <a:lnTo>
                      <a:pt x="1208" y="1075"/>
                    </a:lnTo>
                    <a:lnTo>
                      <a:pt x="1207" y="1075"/>
                    </a:lnTo>
                    <a:lnTo>
                      <a:pt x="1207" y="1077"/>
                    </a:lnTo>
                    <a:lnTo>
                      <a:pt x="1208" y="1077"/>
                    </a:lnTo>
                    <a:lnTo>
                      <a:pt x="1208" y="1078"/>
                    </a:lnTo>
                    <a:lnTo>
                      <a:pt x="1207" y="1078"/>
                    </a:lnTo>
                    <a:lnTo>
                      <a:pt x="1205" y="1077"/>
                    </a:lnTo>
                    <a:lnTo>
                      <a:pt x="1205" y="1075"/>
                    </a:lnTo>
                    <a:lnTo>
                      <a:pt x="1203" y="1075"/>
                    </a:lnTo>
                    <a:lnTo>
                      <a:pt x="1205" y="1075"/>
                    </a:lnTo>
                    <a:lnTo>
                      <a:pt x="1207" y="1073"/>
                    </a:lnTo>
                    <a:lnTo>
                      <a:pt x="1207" y="1075"/>
                    </a:lnTo>
                    <a:lnTo>
                      <a:pt x="1208" y="1075"/>
                    </a:lnTo>
                    <a:lnTo>
                      <a:pt x="1207" y="1073"/>
                    </a:lnTo>
                    <a:lnTo>
                      <a:pt x="1208" y="1073"/>
                    </a:lnTo>
                    <a:close/>
                    <a:moveTo>
                      <a:pt x="1166" y="1420"/>
                    </a:moveTo>
                    <a:lnTo>
                      <a:pt x="1168" y="1422"/>
                    </a:lnTo>
                    <a:lnTo>
                      <a:pt x="1166" y="1422"/>
                    </a:lnTo>
                    <a:lnTo>
                      <a:pt x="1166" y="1424"/>
                    </a:lnTo>
                    <a:lnTo>
                      <a:pt x="1164" y="1424"/>
                    </a:lnTo>
                    <a:lnTo>
                      <a:pt x="1162" y="1424"/>
                    </a:lnTo>
                    <a:lnTo>
                      <a:pt x="1162" y="1425"/>
                    </a:lnTo>
                    <a:lnTo>
                      <a:pt x="1162" y="1424"/>
                    </a:lnTo>
                    <a:lnTo>
                      <a:pt x="1161" y="1424"/>
                    </a:lnTo>
                    <a:lnTo>
                      <a:pt x="1161" y="1422"/>
                    </a:lnTo>
                    <a:lnTo>
                      <a:pt x="1162" y="1422"/>
                    </a:lnTo>
                    <a:lnTo>
                      <a:pt x="1164" y="1422"/>
                    </a:lnTo>
                    <a:lnTo>
                      <a:pt x="1162" y="1422"/>
                    </a:lnTo>
                    <a:lnTo>
                      <a:pt x="1164" y="1420"/>
                    </a:lnTo>
                    <a:lnTo>
                      <a:pt x="1164" y="1422"/>
                    </a:lnTo>
                    <a:lnTo>
                      <a:pt x="1164" y="1420"/>
                    </a:lnTo>
                    <a:lnTo>
                      <a:pt x="1166" y="1420"/>
                    </a:lnTo>
                    <a:close/>
                    <a:moveTo>
                      <a:pt x="1247" y="968"/>
                    </a:moveTo>
                    <a:lnTo>
                      <a:pt x="1247" y="969"/>
                    </a:lnTo>
                    <a:lnTo>
                      <a:pt x="1247" y="971"/>
                    </a:lnTo>
                    <a:lnTo>
                      <a:pt x="1247" y="973"/>
                    </a:lnTo>
                    <a:lnTo>
                      <a:pt x="1246" y="973"/>
                    </a:lnTo>
                    <a:lnTo>
                      <a:pt x="1246" y="971"/>
                    </a:lnTo>
                    <a:lnTo>
                      <a:pt x="1244" y="971"/>
                    </a:lnTo>
                    <a:lnTo>
                      <a:pt x="1242" y="971"/>
                    </a:lnTo>
                    <a:lnTo>
                      <a:pt x="1244" y="969"/>
                    </a:lnTo>
                    <a:lnTo>
                      <a:pt x="1244" y="968"/>
                    </a:lnTo>
                    <a:lnTo>
                      <a:pt x="1246" y="968"/>
                    </a:lnTo>
                    <a:lnTo>
                      <a:pt x="1244" y="969"/>
                    </a:lnTo>
                    <a:lnTo>
                      <a:pt x="1246" y="968"/>
                    </a:lnTo>
                    <a:lnTo>
                      <a:pt x="1247" y="968"/>
                    </a:lnTo>
                    <a:close/>
                    <a:moveTo>
                      <a:pt x="1188" y="1099"/>
                    </a:moveTo>
                    <a:lnTo>
                      <a:pt x="1186" y="1100"/>
                    </a:lnTo>
                    <a:lnTo>
                      <a:pt x="1186" y="1102"/>
                    </a:lnTo>
                    <a:lnTo>
                      <a:pt x="1185" y="1102"/>
                    </a:lnTo>
                    <a:lnTo>
                      <a:pt x="1183" y="1102"/>
                    </a:lnTo>
                    <a:lnTo>
                      <a:pt x="1181" y="1100"/>
                    </a:lnTo>
                    <a:lnTo>
                      <a:pt x="1181" y="1099"/>
                    </a:lnTo>
                    <a:lnTo>
                      <a:pt x="1183" y="1100"/>
                    </a:lnTo>
                    <a:lnTo>
                      <a:pt x="1185" y="1100"/>
                    </a:lnTo>
                    <a:lnTo>
                      <a:pt x="1186" y="1099"/>
                    </a:lnTo>
                    <a:lnTo>
                      <a:pt x="1186" y="1100"/>
                    </a:lnTo>
                    <a:lnTo>
                      <a:pt x="1186" y="1099"/>
                    </a:lnTo>
                    <a:lnTo>
                      <a:pt x="1188" y="1099"/>
                    </a:lnTo>
                    <a:close/>
                    <a:moveTo>
                      <a:pt x="1169" y="1133"/>
                    </a:moveTo>
                    <a:lnTo>
                      <a:pt x="1169" y="1134"/>
                    </a:lnTo>
                    <a:lnTo>
                      <a:pt x="1171" y="1134"/>
                    </a:lnTo>
                    <a:lnTo>
                      <a:pt x="1169" y="1134"/>
                    </a:lnTo>
                    <a:lnTo>
                      <a:pt x="1168" y="1134"/>
                    </a:lnTo>
                    <a:lnTo>
                      <a:pt x="1169" y="1134"/>
                    </a:lnTo>
                    <a:lnTo>
                      <a:pt x="1171" y="1134"/>
                    </a:lnTo>
                    <a:lnTo>
                      <a:pt x="1171" y="1136"/>
                    </a:lnTo>
                    <a:lnTo>
                      <a:pt x="1171" y="1138"/>
                    </a:lnTo>
                    <a:lnTo>
                      <a:pt x="1171" y="1140"/>
                    </a:lnTo>
                    <a:lnTo>
                      <a:pt x="1171" y="1138"/>
                    </a:lnTo>
                    <a:lnTo>
                      <a:pt x="1169" y="1138"/>
                    </a:lnTo>
                    <a:lnTo>
                      <a:pt x="1169" y="1136"/>
                    </a:lnTo>
                    <a:lnTo>
                      <a:pt x="1168" y="1136"/>
                    </a:lnTo>
                    <a:lnTo>
                      <a:pt x="1168" y="1134"/>
                    </a:lnTo>
                    <a:lnTo>
                      <a:pt x="1168" y="1133"/>
                    </a:lnTo>
                    <a:lnTo>
                      <a:pt x="1169" y="1133"/>
                    </a:lnTo>
                    <a:close/>
                    <a:moveTo>
                      <a:pt x="1185" y="1240"/>
                    </a:moveTo>
                    <a:lnTo>
                      <a:pt x="1185" y="1242"/>
                    </a:lnTo>
                    <a:lnTo>
                      <a:pt x="1183" y="1242"/>
                    </a:lnTo>
                    <a:lnTo>
                      <a:pt x="1183" y="1243"/>
                    </a:lnTo>
                    <a:lnTo>
                      <a:pt x="1181" y="1243"/>
                    </a:lnTo>
                    <a:lnTo>
                      <a:pt x="1181" y="1245"/>
                    </a:lnTo>
                    <a:lnTo>
                      <a:pt x="1179" y="1245"/>
                    </a:lnTo>
                    <a:lnTo>
                      <a:pt x="1179" y="1243"/>
                    </a:lnTo>
                    <a:lnTo>
                      <a:pt x="1181" y="1243"/>
                    </a:lnTo>
                    <a:lnTo>
                      <a:pt x="1181" y="1242"/>
                    </a:lnTo>
                    <a:lnTo>
                      <a:pt x="1181" y="1240"/>
                    </a:lnTo>
                    <a:lnTo>
                      <a:pt x="1183" y="1240"/>
                    </a:lnTo>
                    <a:lnTo>
                      <a:pt x="1185" y="1240"/>
                    </a:lnTo>
                    <a:close/>
                    <a:moveTo>
                      <a:pt x="1205" y="1026"/>
                    </a:moveTo>
                    <a:lnTo>
                      <a:pt x="1207" y="1026"/>
                    </a:lnTo>
                    <a:lnTo>
                      <a:pt x="1207" y="1027"/>
                    </a:lnTo>
                    <a:lnTo>
                      <a:pt x="1208" y="1027"/>
                    </a:lnTo>
                    <a:lnTo>
                      <a:pt x="1207" y="1027"/>
                    </a:lnTo>
                    <a:lnTo>
                      <a:pt x="1207" y="1029"/>
                    </a:lnTo>
                    <a:lnTo>
                      <a:pt x="1205" y="1029"/>
                    </a:lnTo>
                    <a:lnTo>
                      <a:pt x="1205" y="1027"/>
                    </a:lnTo>
                    <a:lnTo>
                      <a:pt x="1203" y="1029"/>
                    </a:lnTo>
                    <a:lnTo>
                      <a:pt x="1203" y="1027"/>
                    </a:lnTo>
                    <a:lnTo>
                      <a:pt x="1203" y="1026"/>
                    </a:lnTo>
                    <a:lnTo>
                      <a:pt x="1205" y="1026"/>
                    </a:lnTo>
                    <a:close/>
                    <a:moveTo>
                      <a:pt x="1154" y="1282"/>
                    </a:moveTo>
                    <a:lnTo>
                      <a:pt x="1156" y="1284"/>
                    </a:lnTo>
                    <a:lnTo>
                      <a:pt x="1156" y="1286"/>
                    </a:lnTo>
                    <a:lnTo>
                      <a:pt x="1156" y="1288"/>
                    </a:lnTo>
                    <a:lnTo>
                      <a:pt x="1154" y="1288"/>
                    </a:lnTo>
                    <a:lnTo>
                      <a:pt x="1154" y="1286"/>
                    </a:lnTo>
                    <a:lnTo>
                      <a:pt x="1154" y="1288"/>
                    </a:lnTo>
                    <a:lnTo>
                      <a:pt x="1152" y="1288"/>
                    </a:lnTo>
                    <a:lnTo>
                      <a:pt x="1154" y="1286"/>
                    </a:lnTo>
                    <a:lnTo>
                      <a:pt x="1152" y="1286"/>
                    </a:lnTo>
                    <a:lnTo>
                      <a:pt x="1152" y="1288"/>
                    </a:lnTo>
                    <a:lnTo>
                      <a:pt x="1151" y="1288"/>
                    </a:lnTo>
                    <a:lnTo>
                      <a:pt x="1152" y="1286"/>
                    </a:lnTo>
                    <a:lnTo>
                      <a:pt x="1152" y="1284"/>
                    </a:lnTo>
                    <a:lnTo>
                      <a:pt x="1154" y="1284"/>
                    </a:lnTo>
                    <a:lnTo>
                      <a:pt x="1154" y="1282"/>
                    </a:lnTo>
                    <a:close/>
                    <a:moveTo>
                      <a:pt x="1193" y="1071"/>
                    </a:moveTo>
                    <a:lnTo>
                      <a:pt x="1193" y="1073"/>
                    </a:lnTo>
                    <a:lnTo>
                      <a:pt x="1193" y="1075"/>
                    </a:lnTo>
                    <a:lnTo>
                      <a:pt x="1193" y="1077"/>
                    </a:lnTo>
                    <a:lnTo>
                      <a:pt x="1191" y="1077"/>
                    </a:lnTo>
                    <a:lnTo>
                      <a:pt x="1191" y="1075"/>
                    </a:lnTo>
                    <a:lnTo>
                      <a:pt x="1190" y="1075"/>
                    </a:lnTo>
                    <a:lnTo>
                      <a:pt x="1191" y="1073"/>
                    </a:lnTo>
                    <a:lnTo>
                      <a:pt x="1191" y="1071"/>
                    </a:lnTo>
                    <a:lnTo>
                      <a:pt x="1193" y="1071"/>
                    </a:lnTo>
                    <a:close/>
                    <a:moveTo>
                      <a:pt x="1176" y="1381"/>
                    </a:moveTo>
                    <a:lnTo>
                      <a:pt x="1176" y="1383"/>
                    </a:lnTo>
                    <a:lnTo>
                      <a:pt x="1176" y="1384"/>
                    </a:lnTo>
                    <a:lnTo>
                      <a:pt x="1176" y="1386"/>
                    </a:lnTo>
                    <a:lnTo>
                      <a:pt x="1174" y="1386"/>
                    </a:lnTo>
                    <a:lnTo>
                      <a:pt x="1173" y="1386"/>
                    </a:lnTo>
                    <a:lnTo>
                      <a:pt x="1174" y="1386"/>
                    </a:lnTo>
                    <a:lnTo>
                      <a:pt x="1174" y="1384"/>
                    </a:lnTo>
                    <a:lnTo>
                      <a:pt x="1174" y="1383"/>
                    </a:lnTo>
                    <a:lnTo>
                      <a:pt x="1173" y="1384"/>
                    </a:lnTo>
                    <a:lnTo>
                      <a:pt x="1174" y="1383"/>
                    </a:lnTo>
                    <a:lnTo>
                      <a:pt x="1173" y="1383"/>
                    </a:lnTo>
                    <a:lnTo>
                      <a:pt x="1174" y="1381"/>
                    </a:lnTo>
                    <a:lnTo>
                      <a:pt x="1176" y="1381"/>
                    </a:lnTo>
                    <a:close/>
                    <a:moveTo>
                      <a:pt x="1253" y="1597"/>
                    </a:moveTo>
                    <a:lnTo>
                      <a:pt x="1254" y="1597"/>
                    </a:lnTo>
                    <a:lnTo>
                      <a:pt x="1254" y="1599"/>
                    </a:lnTo>
                    <a:lnTo>
                      <a:pt x="1256" y="1597"/>
                    </a:lnTo>
                    <a:lnTo>
                      <a:pt x="1254" y="1599"/>
                    </a:lnTo>
                    <a:lnTo>
                      <a:pt x="1256" y="1599"/>
                    </a:lnTo>
                    <a:lnTo>
                      <a:pt x="1256" y="1600"/>
                    </a:lnTo>
                    <a:lnTo>
                      <a:pt x="1254" y="1602"/>
                    </a:lnTo>
                    <a:lnTo>
                      <a:pt x="1254" y="1600"/>
                    </a:lnTo>
                    <a:lnTo>
                      <a:pt x="1254" y="1599"/>
                    </a:lnTo>
                    <a:lnTo>
                      <a:pt x="1254" y="1600"/>
                    </a:lnTo>
                    <a:lnTo>
                      <a:pt x="1253" y="1602"/>
                    </a:lnTo>
                    <a:lnTo>
                      <a:pt x="1253" y="1600"/>
                    </a:lnTo>
                    <a:lnTo>
                      <a:pt x="1251" y="1599"/>
                    </a:lnTo>
                    <a:lnTo>
                      <a:pt x="1251" y="1597"/>
                    </a:lnTo>
                    <a:lnTo>
                      <a:pt x="1253" y="1597"/>
                    </a:lnTo>
                    <a:close/>
                    <a:moveTo>
                      <a:pt x="1414" y="1669"/>
                    </a:moveTo>
                    <a:lnTo>
                      <a:pt x="1414" y="1670"/>
                    </a:lnTo>
                    <a:lnTo>
                      <a:pt x="1412" y="1670"/>
                    </a:lnTo>
                    <a:lnTo>
                      <a:pt x="1412" y="1672"/>
                    </a:lnTo>
                    <a:lnTo>
                      <a:pt x="1412" y="1674"/>
                    </a:lnTo>
                    <a:lnTo>
                      <a:pt x="1412" y="1672"/>
                    </a:lnTo>
                    <a:lnTo>
                      <a:pt x="1411" y="1674"/>
                    </a:lnTo>
                    <a:lnTo>
                      <a:pt x="1409" y="1674"/>
                    </a:lnTo>
                    <a:lnTo>
                      <a:pt x="1411" y="1674"/>
                    </a:lnTo>
                    <a:lnTo>
                      <a:pt x="1409" y="1672"/>
                    </a:lnTo>
                    <a:lnTo>
                      <a:pt x="1411" y="1672"/>
                    </a:lnTo>
                    <a:lnTo>
                      <a:pt x="1411" y="1670"/>
                    </a:lnTo>
                    <a:lnTo>
                      <a:pt x="1412" y="1670"/>
                    </a:lnTo>
                    <a:lnTo>
                      <a:pt x="1411" y="1670"/>
                    </a:lnTo>
                    <a:lnTo>
                      <a:pt x="1411" y="1669"/>
                    </a:lnTo>
                    <a:lnTo>
                      <a:pt x="1412" y="1667"/>
                    </a:lnTo>
                    <a:lnTo>
                      <a:pt x="1412" y="1669"/>
                    </a:lnTo>
                    <a:lnTo>
                      <a:pt x="1414" y="1669"/>
                    </a:lnTo>
                    <a:close/>
                    <a:moveTo>
                      <a:pt x="1205" y="1049"/>
                    </a:moveTo>
                    <a:lnTo>
                      <a:pt x="1205" y="1051"/>
                    </a:lnTo>
                    <a:lnTo>
                      <a:pt x="1205" y="1053"/>
                    </a:lnTo>
                    <a:lnTo>
                      <a:pt x="1205" y="1051"/>
                    </a:lnTo>
                    <a:lnTo>
                      <a:pt x="1205" y="1053"/>
                    </a:lnTo>
                    <a:lnTo>
                      <a:pt x="1203" y="1053"/>
                    </a:lnTo>
                    <a:lnTo>
                      <a:pt x="1202" y="1053"/>
                    </a:lnTo>
                    <a:lnTo>
                      <a:pt x="1202" y="1051"/>
                    </a:lnTo>
                    <a:lnTo>
                      <a:pt x="1200" y="1051"/>
                    </a:lnTo>
                    <a:lnTo>
                      <a:pt x="1202" y="1049"/>
                    </a:lnTo>
                    <a:lnTo>
                      <a:pt x="1202" y="1051"/>
                    </a:lnTo>
                    <a:lnTo>
                      <a:pt x="1203" y="1049"/>
                    </a:lnTo>
                    <a:lnTo>
                      <a:pt x="1203" y="1051"/>
                    </a:lnTo>
                    <a:lnTo>
                      <a:pt x="1203" y="1049"/>
                    </a:lnTo>
                    <a:lnTo>
                      <a:pt x="1205" y="1049"/>
                    </a:lnTo>
                    <a:close/>
                    <a:moveTo>
                      <a:pt x="1217" y="1551"/>
                    </a:moveTo>
                    <a:lnTo>
                      <a:pt x="1219" y="1551"/>
                    </a:lnTo>
                    <a:lnTo>
                      <a:pt x="1220" y="1553"/>
                    </a:lnTo>
                    <a:lnTo>
                      <a:pt x="1222" y="1555"/>
                    </a:lnTo>
                    <a:lnTo>
                      <a:pt x="1220" y="1555"/>
                    </a:lnTo>
                    <a:lnTo>
                      <a:pt x="1222" y="1555"/>
                    </a:lnTo>
                    <a:lnTo>
                      <a:pt x="1220" y="1555"/>
                    </a:lnTo>
                    <a:lnTo>
                      <a:pt x="1219" y="1553"/>
                    </a:lnTo>
                    <a:lnTo>
                      <a:pt x="1217" y="1551"/>
                    </a:lnTo>
                    <a:lnTo>
                      <a:pt x="1219" y="1553"/>
                    </a:lnTo>
                    <a:lnTo>
                      <a:pt x="1217" y="1553"/>
                    </a:lnTo>
                    <a:lnTo>
                      <a:pt x="1215" y="1553"/>
                    </a:lnTo>
                    <a:lnTo>
                      <a:pt x="1215" y="1555"/>
                    </a:lnTo>
                    <a:lnTo>
                      <a:pt x="1213" y="1553"/>
                    </a:lnTo>
                    <a:lnTo>
                      <a:pt x="1215" y="1553"/>
                    </a:lnTo>
                    <a:lnTo>
                      <a:pt x="1215" y="1551"/>
                    </a:lnTo>
                    <a:lnTo>
                      <a:pt x="1217" y="1551"/>
                    </a:lnTo>
                    <a:close/>
                    <a:moveTo>
                      <a:pt x="1361" y="1653"/>
                    </a:moveTo>
                    <a:lnTo>
                      <a:pt x="1361" y="1655"/>
                    </a:lnTo>
                    <a:lnTo>
                      <a:pt x="1363" y="1655"/>
                    </a:lnTo>
                    <a:lnTo>
                      <a:pt x="1363" y="1657"/>
                    </a:lnTo>
                    <a:lnTo>
                      <a:pt x="1361" y="1657"/>
                    </a:lnTo>
                    <a:lnTo>
                      <a:pt x="1363" y="1657"/>
                    </a:lnTo>
                    <a:lnTo>
                      <a:pt x="1365" y="1657"/>
                    </a:lnTo>
                    <a:lnTo>
                      <a:pt x="1365" y="1658"/>
                    </a:lnTo>
                    <a:lnTo>
                      <a:pt x="1366" y="1658"/>
                    </a:lnTo>
                    <a:lnTo>
                      <a:pt x="1366" y="1660"/>
                    </a:lnTo>
                    <a:lnTo>
                      <a:pt x="1365" y="1660"/>
                    </a:lnTo>
                    <a:lnTo>
                      <a:pt x="1365" y="1658"/>
                    </a:lnTo>
                    <a:lnTo>
                      <a:pt x="1363" y="1658"/>
                    </a:lnTo>
                    <a:lnTo>
                      <a:pt x="1363" y="1657"/>
                    </a:lnTo>
                    <a:lnTo>
                      <a:pt x="1361" y="1657"/>
                    </a:lnTo>
                    <a:lnTo>
                      <a:pt x="1361" y="1655"/>
                    </a:lnTo>
                    <a:lnTo>
                      <a:pt x="1360" y="1653"/>
                    </a:lnTo>
                    <a:lnTo>
                      <a:pt x="1358" y="1653"/>
                    </a:lnTo>
                    <a:lnTo>
                      <a:pt x="1360" y="1652"/>
                    </a:lnTo>
                    <a:lnTo>
                      <a:pt x="1361" y="1653"/>
                    </a:lnTo>
                    <a:close/>
                    <a:moveTo>
                      <a:pt x="1171" y="1247"/>
                    </a:moveTo>
                    <a:lnTo>
                      <a:pt x="1173" y="1248"/>
                    </a:lnTo>
                    <a:lnTo>
                      <a:pt x="1173" y="1250"/>
                    </a:lnTo>
                    <a:lnTo>
                      <a:pt x="1173" y="1252"/>
                    </a:lnTo>
                    <a:lnTo>
                      <a:pt x="1173" y="1253"/>
                    </a:lnTo>
                    <a:lnTo>
                      <a:pt x="1171" y="1252"/>
                    </a:lnTo>
                    <a:lnTo>
                      <a:pt x="1173" y="1253"/>
                    </a:lnTo>
                    <a:lnTo>
                      <a:pt x="1173" y="1252"/>
                    </a:lnTo>
                    <a:lnTo>
                      <a:pt x="1171" y="1252"/>
                    </a:lnTo>
                    <a:lnTo>
                      <a:pt x="1171" y="1250"/>
                    </a:lnTo>
                    <a:lnTo>
                      <a:pt x="1171" y="1248"/>
                    </a:lnTo>
                    <a:lnTo>
                      <a:pt x="1171" y="1247"/>
                    </a:lnTo>
                    <a:close/>
                    <a:moveTo>
                      <a:pt x="1370" y="1646"/>
                    </a:moveTo>
                    <a:lnTo>
                      <a:pt x="1370" y="1648"/>
                    </a:lnTo>
                    <a:lnTo>
                      <a:pt x="1368" y="1650"/>
                    </a:lnTo>
                    <a:lnTo>
                      <a:pt x="1370" y="1650"/>
                    </a:lnTo>
                    <a:lnTo>
                      <a:pt x="1368" y="1652"/>
                    </a:lnTo>
                    <a:lnTo>
                      <a:pt x="1368" y="1653"/>
                    </a:lnTo>
                    <a:lnTo>
                      <a:pt x="1366" y="1653"/>
                    </a:lnTo>
                    <a:lnTo>
                      <a:pt x="1368" y="1653"/>
                    </a:lnTo>
                    <a:lnTo>
                      <a:pt x="1366" y="1653"/>
                    </a:lnTo>
                    <a:lnTo>
                      <a:pt x="1366" y="1652"/>
                    </a:lnTo>
                    <a:lnTo>
                      <a:pt x="1366" y="1650"/>
                    </a:lnTo>
                    <a:lnTo>
                      <a:pt x="1368" y="1648"/>
                    </a:lnTo>
                    <a:lnTo>
                      <a:pt x="1368" y="1646"/>
                    </a:lnTo>
                    <a:lnTo>
                      <a:pt x="1370" y="1646"/>
                    </a:lnTo>
                    <a:close/>
                    <a:moveTo>
                      <a:pt x="1346" y="1658"/>
                    </a:moveTo>
                    <a:lnTo>
                      <a:pt x="1348" y="1658"/>
                    </a:lnTo>
                    <a:lnTo>
                      <a:pt x="1348" y="1660"/>
                    </a:lnTo>
                    <a:lnTo>
                      <a:pt x="1349" y="1660"/>
                    </a:lnTo>
                    <a:lnTo>
                      <a:pt x="1349" y="1662"/>
                    </a:lnTo>
                    <a:lnTo>
                      <a:pt x="1348" y="1663"/>
                    </a:lnTo>
                    <a:lnTo>
                      <a:pt x="1348" y="1662"/>
                    </a:lnTo>
                    <a:lnTo>
                      <a:pt x="1348" y="1660"/>
                    </a:lnTo>
                    <a:lnTo>
                      <a:pt x="1346" y="1660"/>
                    </a:lnTo>
                    <a:lnTo>
                      <a:pt x="1344" y="1660"/>
                    </a:lnTo>
                    <a:lnTo>
                      <a:pt x="1346" y="1658"/>
                    </a:lnTo>
                    <a:lnTo>
                      <a:pt x="1344" y="1658"/>
                    </a:lnTo>
                    <a:lnTo>
                      <a:pt x="1344" y="1657"/>
                    </a:lnTo>
                    <a:lnTo>
                      <a:pt x="1346" y="1658"/>
                    </a:lnTo>
                    <a:close/>
                    <a:moveTo>
                      <a:pt x="1179" y="1140"/>
                    </a:moveTo>
                    <a:lnTo>
                      <a:pt x="1179" y="1141"/>
                    </a:lnTo>
                    <a:lnTo>
                      <a:pt x="1181" y="1141"/>
                    </a:lnTo>
                    <a:lnTo>
                      <a:pt x="1181" y="1143"/>
                    </a:lnTo>
                    <a:lnTo>
                      <a:pt x="1179" y="1145"/>
                    </a:lnTo>
                    <a:lnTo>
                      <a:pt x="1179" y="1143"/>
                    </a:lnTo>
                    <a:lnTo>
                      <a:pt x="1178" y="1143"/>
                    </a:lnTo>
                    <a:lnTo>
                      <a:pt x="1176" y="1143"/>
                    </a:lnTo>
                    <a:lnTo>
                      <a:pt x="1178" y="1143"/>
                    </a:lnTo>
                    <a:lnTo>
                      <a:pt x="1178" y="1141"/>
                    </a:lnTo>
                    <a:lnTo>
                      <a:pt x="1178" y="1140"/>
                    </a:lnTo>
                    <a:lnTo>
                      <a:pt x="1179" y="1140"/>
                    </a:lnTo>
                    <a:close/>
                    <a:moveTo>
                      <a:pt x="1205" y="1453"/>
                    </a:moveTo>
                    <a:lnTo>
                      <a:pt x="1205" y="1454"/>
                    </a:lnTo>
                    <a:lnTo>
                      <a:pt x="1207" y="1454"/>
                    </a:lnTo>
                    <a:lnTo>
                      <a:pt x="1207" y="1456"/>
                    </a:lnTo>
                    <a:lnTo>
                      <a:pt x="1207" y="1458"/>
                    </a:lnTo>
                    <a:lnTo>
                      <a:pt x="1207" y="1459"/>
                    </a:lnTo>
                    <a:lnTo>
                      <a:pt x="1205" y="1458"/>
                    </a:lnTo>
                    <a:lnTo>
                      <a:pt x="1205" y="1456"/>
                    </a:lnTo>
                    <a:lnTo>
                      <a:pt x="1203" y="1456"/>
                    </a:lnTo>
                    <a:lnTo>
                      <a:pt x="1203" y="1454"/>
                    </a:lnTo>
                    <a:lnTo>
                      <a:pt x="1203" y="1453"/>
                    </a:lnTo>
                    <a:lnTo>
                      <a:pt x="1205" y="1453"/>
                    </a:lnTo>
                    <a:close/>
                    <a:moveTo>
                      <a:pt x="1429" y="1680"/>
                    </a:moveTo>
                    <a:lnTo>
                      <a:pt x="1429" y="1682"/>
                    </a:lnTo>
                    <a:lnTo>
                      <a:pt x="1428" y="1682"/>
                    </a:lnTo>
                    <a:lnTo>
                      <a:pt x="1429" y="1684"/>
                    </a:lnTo>
                    <a:lnTo>
                      <a:pt x="1429" y="1686"/>
                    </a:lnTo>
                    <a:lnTo>
                      <a:pt x="1431" y="1686"/>
                    </a:lnTo>
                    <a:lnTo>
                      <a:pt x="1429" y="1687"/>
                    </a:lnTo>
                    <a:lnTo>
                      <a:pt x="1429" y="1686"/>
                    </a:lnTo>
                    <a:lnTo>
                      <a:pt x="1428" y="1686"/>
                    </a:lnTo>
                    <a:lnTo>
                      <a:pt x="1426" y="1686"/>
                    </a:lnTo>
                    <a:lnTo>
                      <a:pt x="1426" y="1684"/>
                    </a:lnTo>
                    <a:lnTo>
                      <a:pt x="1428" y="1682"/>
                    </a:lnTo>
                    <a:lnTo>
                      <a:pt x="1429" y="1680"/>
                    </a:lnTo>
                    <a:close/>
                    <a:moveTo>
                      <a:pt x="1186" y="1073"/>
                    </a:moveTo>
                    <a:lnTo>
                      <a:pt x="1188" y="1073"/>
                    </a:lnTo>
                    <a:lnTo>
                      <a:pt x="1188" y="1075"/>
                    </a:lnTo>
                    <a:lnTo>
                      <a:pt x="1186" y="1075"/>
                    </a:lnTo>
                    <a:lnTo>
                      <a:pt x="1185" y="1075"/>
                    </a:lnTo>
                    <a:lnTo>
                      <a:pt x="1183" y="1075"/>
                    </a:lnTo>
                    <a:lnTo>
                      <a:pt x="1183" y="1077"/>
                    </a:lnTo>
                    <a:lnTo>
                      <a:pt x="1181" y="1075"/>
                    </a:lnTo>
                    <a:lnTo>
                      <a:pt x="1183" y="1075"/>
                    </a:lnTo>
                    <a:lnTo>
                      <a:pt x="1183" y="1073"/>
                    </a:lnTo>
                    <a:lnTo>
                      <a:pt x="1183" y="1075"/>
                    </a:lnTo>
                    <a:lnTo>
                      <a:pt x="1185" y="1075"/>
                    </a:lnTo>
                    <a:lnTo>
                      <a:pt x="1183" y="1073"/>
                    </a:lnTo>
                    <a:lnTo>
                      <a:pt x="1185" y="1073"/>
                    </a:lnTo>
                    <a:lnTo>
                      <a:pt x="1185" y="1071"/>
                    </a:lnTo>
                    <a:lnTo>
                      <a:pt x="1186" y="1073"/>
                    </a:lnTo>
                    <a:close/>
                    <a:moveTo>
                      <a:pt x="1202" y="1485"/>
                    </a:moveTo>
                    <a:lnTo>
                      <a:pt x="1202" y="1487"/>
                    </a:lnTo>
                    <a:lnTo>
                      <a:pt x="1200" y="1487"/>
                    </a:lnTo>
                    <a:lnTo>
                      <a:pt x="1200" y="1488"/>
                    </a:lnTo>
                    <a:lnTo>
                      <a:pt x="1198" y="1488"/>
                    </a:lnTo>
                    <a:lnTo>
                      <a:pt x="1196" y="1488"/>
                    </a:lnTo>
                    <a:lnTo>
                      <a:pt x="1198" y="1487"/>
                    </a:lnTo>
                    <a:lnTo>
                      <a:pt x="1198" y="1485"/>
                    </a:lnTo>
                    <a:lnTo>
                      <a:pt x="1200" y="1485"/>
                    </a:lnTo>
                    <a:lnTo>
                      <a:pt x="1202" y="1485"/>
                    </a:lnTo>
                    <a:close/>
                    <a:moveTo>
                      <a:pt x="1179" y="1242"/>
                    </a:moveTo>
                    <a:lnTo>
                      <a:pt x="1179" y="1243"/>
                    </a:lnTo>
                    <a:lnTo>
                      <a:pt x="1178" y="1243"/>
                    </a:lnTo>
                    <a:lnTo>
                      <a:pt x="1178" y="1245"/>
                    </a:lnTo>
                    <a:lnTo>
                      <a:pt x="1176" y="1245"/>
                    </a:lnTo>
                    <a:lnTo>
                      <a:pt x="1176" y="1243"/>
                    </a:lnTo>
                    <a:lnTo>
                      <a:pt x="1176" y="1242"/>
                    </a:lnTo>
                    <a:lnTo>
                      <a:pt x="1178" y="1242"/>
                    </a:lnTo>
                    <a:lnTo>
                      <a:pt x="1179" y="1242"/>
                    </a:lnTo>
                    <a:close/>
                    <a:moveTo>
                      <a:pt x="1196" y="1526"/>
                    </a:moveTo>
                    <a:lnTo>
                      <a:pt x="1198" y="1526"/>
                    </a:lnTo>
                    <a:lnTo>
                      <a:pt x="1196" y="1527"/>
                    </a:lnTo>
                    <a:lnTo>
                      <a:pt x="1198" y="1527"/>
                    </a:lnTo>
                    <a:lnTo>
                      <a:pt x="1200" y="1529"/>
                    </a:lnTo>
                    <a:lnTo>
                      <a:pt x="1200" y="1531"/>
                    </a:lnTo>
                    <a:lnTo>
                      <a:pt x="1200" y="1529"/>
                    </a:lnTo>
                    <a:lnTo>
                      <a:pt x="1198" y="1529"/>
                    </a:lnTo>
                    <a:lnTo>
                      <a:pt x="1198" y="1527"/>
                    </a:lnTo>
                    <a:lnTo>
                      <a:pt x="1198" y="1529"/>
                    </a:lnTo>
                    <a:lnTo>
                      <a:pt x="1196" y="1529"/>
                    </a:lnTo>
                    <a:lnTo>
                      <a:pt x="1196" y="1527"/>
                    </a:lnTo>
                    <a:lnTo>
                      <a:pt x="1195" y="1527"/>
                    </a:lnTo>
                    <a:lnTo>
                      <a:pt x="1195" y="1529"/>
                    </a:lnTo>
                    <a:lnTo>
                      <a:pt x="1195" y="1527"/>
                    </a:lnTo>
                    <a:lnTo>
                      <a:pt x="1193" y="1526"/>
                    </a:lnTo>
                    <a:lnTo>
                      <a:pt x="1195" y="1526"/>
                    </a:lnTo>
                    <a:lnTo>
                      <a:pt x="1196" y="1526"/>
                    </a:lnTo>
                    <a:close/>
                    <a:moveTo>
                      <a:pt x="1166" y="1435"/>
                    </a:moveTo>
                    <a:lnTo>
                      <a:pt x="1166" y="1437"/>
                    </a:lnTo>
                    <a:lnTo>
                      <a:pt x="1164" y="1437"/>
                    </a:lnTo>
                    <a:lnTo>
                      <a:pt x="1166" y="1437"/>
                    </a:lnTo>
                    <a:lnTo>
                      <a:pt x="1164" y="1437"/>
                    </a:lnTo>
                    <a:lnTo>
                      <a:pt x="1164" y="1435"/>
                    </a:lnTo>
                    <a:lnTo>
                      <a:pt x="1164" y="1437"/>
                    </a:lnTo>
                    <a:lnTo>
                      <a:pt x="1162" y="1437"/>
                    </a:lnTo>
                    <a:lnTo>
                      <a:pt x="1162" y="1435"/>
                    </a:lnTo>
                    <a:lnTo>
                      <a:pt x="1162" y="1434"/>
                    </a:lnTo>
                    <a:lnTo>
                      <a:pt x="1164" y="1434"/>
                    </a:lnTo>
                    <a:lnTo>
                      <a:pt x="1166" y="1432"/>
                    </a:lnTo>
                    <a:lnTo>
                      <a:pt x="1166" y="1434"/>
                    </a:lnTo>
                    <a:lnTo>
                      <a:pt x="1166" y="1435"/>
                    </a:lnTo>
                    <a:close/>
                    <a:moveTo>
                      <a:pt x="1217" y="1107"/>
                    </a:moveTo>
                    <a:lnTo>
                      <a:pt x="1217" y="1109"/>
                    </a:lnTo>
                    <a:lnTo>
                      <a:pt x="1219" y="1111"/>
                    </a:lnTo>
                    <a:lnTo>
                      <a:pt x="1219" y="1112"/>
                    </a:lnTo>
                    <a:lnTo>
                      <a:pt x="1217" y="1112"/>
                    </a:lnTo>
                    <a:lnTo>
                      <a:pt x="1215" y="1111"/>
                    </a:lnTo>
                    <a:lnTo>
                      <a:pt x="1215" y="1109"/>
                    </a:lnTo>
                    <a:lnTo>
                      <a:pt x="1215" y="1111"/>
                    </a:lnTo>
                    <a:lnTo>
                      <a:pt x="1215" y="1109"/>
                    </a:lnTo>
                    <a:lnTo>
                      <a:pt x="1215" y="1107"/>
                    </a:lnTo>
                    <a:lnTo>
                      <a:pt x="1217" y="1107"/>
                    </a:lnTo>
                    <a:close/>
                    <a:moveTo>
                      <a:pt x="1202" y="1141"/>
                    </a:moveTo>
                    <a:lnTo>
                      <a:pt x="1203" y="1141"/>
                    </a:lnTo>
                    <a:lnTo>
                      <a:pt x="1203" y="1143"/>
                    </a:lnTo>
                    <a:lnTo>
                      <a:pt x="1205" y="1143"/>
                    </a:lnTo>
                    <a:lnTo>
                      <a:pt x="1203" y="1143"/>
                    </a:lnTo>
                    <a:lnTo>
                      <a:pt x="1203" y="1145"/>
                    </a:lnTo>
                    <a:lnTo>
                      <a:pt x="1202" y="1145"/>
                    </a:lnTo>
                    <a:lnTo>
                      <a:pt x="1200" y="1145"/>
                    </a:lnTo>
                    <a:lnTo>
                      <a:pt x="1202" y="1143"/>
                    </a:lnTo>
                    <a:lnTo>
                      <a:pt x="1200" y="1145"/>
                    </a:lnTo>
                    <a:lnTo>
                      <a:pt x="1200" y="1143"/>
                    </a:lnTo>
                    <a:lnTo>
                      <a:pt x="1202" y="1141"/>
                    </a:lnTo>
                    <a:close/>
                    <a:moveTo>
                      <a:pt x="1168" y="1407"/>
                    </a:moveTo>
                    <a:lnTo>
                      <a:pt x="1169" y="1407"/>
                    </a:lnTo>
                    <a:lnTo>
                      <a:pt x="1168" y="1408"/>
                    </a:lnTo>
                    <a:lnTo>
                      <a:pt x="1166" y="1408"/>
                    </a:lnTo>
                    <a:lnTo>
                      <a:pt x="1166" y="1410"/>
                    </a:lnTo>
                    <a:lnTo>
                      <a:pt x="1164" y="1412"/>
                    </a:lnTo>
                    <a:lnTo>
                      <a:pt x="1164" y="1410"/>
                    </a:lnTo>
                    <a:lnTo>
                      <a:pt x="1166" y="1410"/>
                    </a:lnTo>
                    <a:lnTo>
                      <a:pt x="1166" y="1408"/>
                    </a:lnTo>
                    <a:lnTo>
                      <a:pt x="1164" y="1408"/>
                    </a:lnTo>
                    <a:lnTo>
                      <a:pt x="1166" y="1408"/>
                    </a:lnTo>
                    <a:lnTo>
                      <a:pt x="1166" y="1407"/>
                    </a:lnTo>
                    <a:lnTo>
                      <a:pt x="1168" y="1407"/>
                    </a:lnTo>
                    <a:close/>
                    <a:moveTo>
                      <a:pt x="965" y="610"/>
                    </a:moveTo>
                    <a:lnTo>
                      <a:pt x="969" y="610"/>
                    </a:lnTo>
                    <a:lnTo>
                      <a:pt x="969" y="614"/>
                    </a:lnTo>
                    <a:lnTo>
                      <a:pt x="965" y="614"/>
                    </a:lnTo>
                    <a:lnTo>
                      <a:pt x="965" y="610"/>
                    </a:lnTo>
                    <a:close/>
                    <a:moveTo>
                      <a:pt x="1229" y="1071"/>
                    </a:moveTo>
                    <a:lnTo>
                      <a:pt x="1230" y="1071"/>
                    </a:lnTo>
                    <a:lnTo>
                      <a:pt x="1230" y="1073"/>
                    </a:lnTo>
                    <a:lnTo>
                      <a:pt x="1229" y="1073"/>
                    </a:lnTo>
                    <a:lnTo>
                      <a:pt x="1229" y="1075"/>
                    </a:lnTo>
                    <a:lnTo>
                      <a:pt x="1227" y="1075"/>
                    </a:lnTo>
                    <a:lnTo>
                      <a:pt x="1227" y="1073"/>
                    </a:lnTo>
                    <a:lnTo>
                      <a:pt x="1227" y="1075"/>
                    </a:lnTo>
                    <a:lnTo>
                      <a:pt x="1225" y="1075"/>
                    </a:lnTo>
                    <a:lnTo>
                      <a:pt x="1225" y="1073"/>
                    </a:lnTo>
                    <a:lnTo>
                      <a:pt x="1227" y="1073"/>
                    </a:lnTo>
                    <a:lnTo>
                      <a:pt x="1227" y="1071"/>
                    </a:lnTo>
                    <a:lnTo>
                      <a:pt x="1229" y="1071"/>
                    </a:lnTo>
                    <a:close/>
                    <a:moveTo>
                      <a:pt x="1174" y="1242"/>
                    </a:moveTo>
                    <a:lnTo>
                      <a:pt x="1174" y="1243"/>
                    </a:lnTo>
                    <a:lnTo>
                      <a:pt x="1176" y="1245"/>
                    </a:lnTo>
                    <a:lnTo>
                      <a:pt x="1174" y="1245"/>
                    </a:lnTo>
                    <a:lnTo>
                      <a:pt x="1173" y="1245"/>
                    </a:lnTo>
                    <a:lnTo>
                      <a:pt x="1174" y="1245"/>
                    </a:lnTo>
                    <a:lnTo>
                      <a:pt x="1173" y="1245"/>
                    </a:lnTo>
                    <a:lnTo>
                      <a:pt x="1173" y="1243"/>
                    </a:lnTo>
                    <a:lnTo>
                      <a:pt x="1173" y="1242"/>
                    </a:lnTo>
                    <a:lnTo>
                      <a:pt x="1174" y="1242"/>
                    </a:lnTo>
                    <a:close/>
                    <a:moveTo>
                      <a:pt x="1198" y="803"/>
                    </a:moveTo>
                    <a:lnTo>
                      <a:pt x="1200" y="803"/>
                    </a:lnTo>
                    <a:lnTo>
                      <a:pt x="1200" y="804"/>
                    </a:lnTo>
                    <a:lnTo>
                      <a:pt x="1202" y="804"/>
                    </a:lnTo>
                    <a:lnTo>
                      <a:pt x="1200" y="804"/>
                    </a:lnTo>
                    <a:lnTo>
                      <a:pt x="1202" y="804"/>
                    </a:lnTo>
                    <a:lnTo>
                      <a:pt x="1200" y="804"/>
                    </a:lnTo>
                    <a:lnTo>
                      <a:pt x="1200" y="806"/>
                    </a:lnTo>
                    <a:lnTo>
                      <a:pt x="1198" y="806"/>
                    </a:lnTo>
                    <a:lnTo>
                      <a:pt x="1198" y="804"/>
                    </a:lnTo>
                    <a:lnTo>
                      <a:pt x="1198" y="803"/>
                    </a:lnTo>
                    <a:lnTo>
                      <a:pt x="1198" y="801"/>
                    </a:lnTo>
                    <a:lnTo>
                      <a:pt x="1198" y="803"/>
                    </a:lnTo>
                    <a:close/>
                    <a:moveTo>
                      <a:pt x="1178" y="1453"/>
                    </a:moveTo>
                    <a:lnTo>
                      <a:pt x="1178" y="1454"/>
                    </a:lnTo>
                    <a:lnTo>
                      <a:pt x="1178" y="1456"/>
                    </a:lnTo>
                    <a:lnTo>
                      <a:pt x="1178" y="1454"/>
                    </a:lnTo>
                    <a:lnTo>
                      <a:pt x="1178" y="1456"/>
                    </a:lnTo>
                    <a:lnTo>
                      <a:pt x="1176" y="1458"/>
                    </a:lnTo>
                    <a:lnTo>
                      <a:pt x="1178" y="1458"/>
                    </a:lnTo>
                    <a:lnTo>
                      <a:pt x="1178" y="1456"/>
                    </a:lnTo>
                    <a:lnTo>
                      <a:pt x="1178" y="1458"/>
                    </a:lnTo>
                    <a:lnTo>
                      <a:pt x="1176" y="1458"/>
                    </a:lnTo>
                    <a:lnTo>
                      <a:pt x="1176" y="1459"/>
                    </a:lnTo>
                    <a:lnTo>
                      <a:pt x="1174" y="1459"/>
                    </a:lnTo>
                    <a:lnTo>
                      <a:pt x="1174" y="1458"/>
                    </a:lnTo>
                    <a:lnTo>
                      <a:pt x="1176" y="1458"/>
                    </a:lnTo>
                    <a:lnTo>
                      <a:pt x="1176" y="1456"/>
                    </a:lnTo>
                    <a:lnTo>
                      <a:pt x="1176" y="1454"/>
                    </a:lnTo>
                    <a:lnTo>
                      <a:pt x="1178" y="1454"/>
                    </a:lnTo>
                    <a:lnTo>
                      <a:pt x="1178" y="1453"/>
                    </a:lnTo>
                    <a:close/>
                    <a:moveTo>
                      <a:pt x="1208" y="1068"/>
                    </a:moveTo>
                    <a:lnTo>
                      <a:pt x="1208" y="1070"/>
                    </a:lnTo>
                    <a:lnTo>
                      <a:pt x="1207" y="1071"/>
                    </a:lnTo>
                    <a:lnTo>
                      <a:pt x="1205" y="1071"/>
                    </a:lnTo>
                    <a:lnTo>
                      <a:pt x="1205" y="1070"/>
                    </a:lnTo>
                    <a:lnTo>
                      <a:pt x="1205" y="1068"/>
                    </a:lnTo>
                    <a:lnTo>
                      <a:pt x="1207" y="1070"/>
                    </a:lnTo>
                    <a:lnTo>
                      <a:pt x="1207" y="1068"/>
                    </a:lnTo>
                    <a:lnTo>
                      <a:pt x="1208" y="1068"/>
                    </a:lnTo>
                    <a:close/>
                    <a:moveTo>
                      <a:pt x="1278" y="1614"/>
                    </a:moveTo>
                    <a:lnTo>
                      <a:pt x="1278" y="1616"/>
                    </a:lnTo>
                    <a:lnTo>
                      <a:pt x="1280" y="1616"/>
                    </a:lnTo>
                    <a:lnTo>
                      <a:pt x="1278" y="1618"/>
                    </a:lnTo>
                    <a:lnTo>
                      <a:pt x="1276" y="1619"/>
                    </a:lnTo>
                    <a:lnTo>
                      <a:pt x="1276" y="1618"/>
                    </a:lnTo>
                    <a:lnTo>
                      <a:pt x="1276" y="1616"/>
                    </a:lnTo>
                    <a:lnTo>
                      <a:pt x="1275" y="1616"/>
                    </a:lnTo>
                    <a:lnTo>
                      <a:pt x="1276" y="1616"/>
                    </a:lnTo>
                    <a:lnTo>
                      <a:pt x="1276" y="1614"/>
                    </a:lnTo>
                    <a:lnTo>
                      <a:pt x="1278" y="1614"/>
                    </a:lnTo>
                    <a:close/>
                    <a:moveTo>
                      <a:pt x="1174" y="1369"/>
                    </a:moveTo>
                    <a:lnTo>
                      <a:pt x="1176" y="1369"/>
                    </a:lnTo>
                    <a:lnTo>
                      <a:pt x="1178" y="1369"/>
                    </a:lnTo>
                    <a:lnTo>
                      <a:pt x="1176" y="1371"/>
                    </a:lnTo>
                    <a:lnTo>
                      <a:pt x="1176" y="1369"/>
                    </a:lnTo>
                    <a:lnTo>
                      <a:pt x="1176" y="1371"/>
                    </a:lnTo>
                    <a:lnTo>
                      <a:pt x="1174" y="1371"/>
                    </a:lnTo>
                    <a:lnTo>
                      <a:pt x="1173" y="1371"/>
                    </a:lnTo>
                    <a:lnTo>
                      <a:pt x="1171" y="1371"/>
                    </a:lnTo>
                    <a:lnTo>
                      <a:pt x="1171" y="1369"/>
                    </a:lnTo>
                    <a:lnTo>
                      <a:pt x="1173" y="1369"/>
                    </a:lnTo>
                    <a:lnTo>
                      <a:pt x="1174" y="1369"/>
                    </a:lnTo>
                    <a:lnTo>
                      <a:pt x="1174" y="1371"/>
                    </a:lnTo>
                    <a:lnTo>
                      <a:pt x="1174" y="1369"/>
                    </a:lnTo>
                    <a:close/>
                    <a:moveTo>
                      <a:pt x="1200" y="1054"/>
                    </a:moveTo>
                    <a:lnTo>
                      <a:pt x="1202" y="1054"/>
                    </a:lnTo>
                    <a:lnTo>
                      <a:pt x="1203" y="1054"/>
                    </a:lnTo>
                    <a:lnTo>
                      <a:pt x="1203" y="1056"/>
                    </a:lnTo>
                    <a:lnTo>
                      <a:pt x="1202" y="1056"/>
                    </a:lnTo>
                    <a:lnTo>
                      <a:pt x="1200" y="1056"/>
                    </a:lnTo>
                    <a:lnTo>
                      <a:pt x="1198" y="1054"/>
                    </a:lnTo>
                    <a:lnTo>
                      <a:pt x="1200" y="1054"/>
                    </a:lnTo>
                    <a:close/>
                    <a:moveTo>
                      <a:pt x="1292" y="1629"/>
                    </a:moveTo>
                    <a:lnTo>
                      <a:pt x="1292" y="1631"/>
                    </a:lnTo>
                    <a:lnTo>
                      <a:pt x="1290" y="1631"/>
                    </a:lnTo>
                    <a:lnTo>
                      <a:pt x="1290" y="1633"/>
                    </a:lnTo>
                    <a:lnTo>
                      <a:pt x="1290" y="1635"/>
                    </a:lnTo>
                    <a:lnTo>
                      <a:pt x="1290" y="1633"/>
                    </a:lnTo>
                    <a:lnTo>
                      <a:pt x="1288" y="1633"/>
                    </a:lnTo>
                    <a:lnTo>
                      <a:pt x="1288" y="1631"/>
                    </a:lnTo>
                    <a:lnTo>
                      <a:pt x="1288" y="1629"/>
                    </a:lnTo>
                    <a:lnTo>
                      <a:pt x="1290" y="1629"/>
                    </a:lnTo>
                    <a:lnTo>
                      <a:pt x="1292" y="1629"/>
                    </a:lnTo>
                    <a:close/>
                    <a:moveTo>
                      <a:pt x="1251" y="1502"/>
                    </a:moveTo>
                    <a:lnTo>
                      <a:pt x="1251" y="1504"/>
                    </a:lnTo>
                    <a:lnTo>
                      <a:pt x="1249" y="1505"/>
                    </a:lnTo>
                    <a:lnTo>
                      <a:pt x="1247" y="1505"/>
                    </a:lnTo>
                    <a:lnTo>
                      <a:pt x="1247" y="1504"/>
                    </a:lnTo>
                    <a:lnTo>
                      <a:pt x="1247" y="1505"/>
                    </a:lnTo>
                    <a:lnTo>
                      <a:pt x="1247" y="1504"/>
                    </a:lnTo>
                    <a:lnTo>
                      <a:pt x="1247" y="1502"/>
                    </a:lnTo>
                    <a:lnTo>
                      <a:pt x="1249" y="1502"/>
                    </a:lnTo>
                    <a:lnTo>
                      <a:pt x="1251" y="1502"/>
                    </a:lnTo>
                    <a:close/>
                    <a:moveTo>
                      <a:pt x="1258" y="1595"/>
                    </a:moveTo>
                    <a:lnTo>
                      <a:pt x="1259" y="1595"/>
                    </a:lnTo>
                    <a:lnTo>
                      <a:pt x="1259" y="1597"/>
                    </a:lnTo>
                    <a:lnTo>
                      <a:pt x="1259" y="1595"/>
                    </a:lnTo>
                    <a:lnTo>
                      <a:pt x="1259" y="1597"/>
                    </a:lnTo>
                    <a:lnTo>
                      <a:pt x="1261" y="1597"/>
                    </a:lnTo>
                    <a:lnTo>
                      <a:pt x="1259" y="1599"/>
                    </a:lnTo>
                    <a:lnTo>
                      <a:pt x="1259" y="1597"/>
                    </a:lnTo>
                    <a:lnTo>
                      <a:pt x="1259" y="1599"/>
                    </a:lnTo>
                    <a:lnTo>
                      <a:pt x="1258" y="1599"/>
                    </a:lnTo>
                    <a:lnTo>
                      <a:pt x="1258" y="1597"/>
                    </a:lnTo>
                    <a:lnTo>
                      <a:pt x="1258" y="1599"/>
                    </a:lnTo>
                    <a:lnTo>
                      <a:pt x="1258" y="1597"/>
                    </a:lnTo>
                    <a:lnTo>
                      <a:pt x="1259" y="1597"/>
                    </a:lnTo>
                    <a:lnTo>
                      <a:pt x="1258" y="1597"/>
                    </a:lnTo>
                    <a:lnTo>
                      <a:pt x="1256" y="1597"/>
                    </a:lnTo>
                    <a:lnTo>
                      <a:pt x="1256" y="1595"/>
                    </a:lnTo>
                    <a:lnTo>
                      <a:pt x="1258" y="1595"/>
                    </a:lnTo>
                    <a:close/>
                    <a:moveTo>
                      <a:pt x="1145" y="1325"/>
                    </a:moveTo>
                    <a:lnTo>
                      <a:pt x="1147" y="1327"/>
                    </a:lnTo>
                    <a:lnTo>
                      <a:pt x="1147" y="1328"/>
                    </a:lnTo>
                    <a:lnTo>
                      <a:pt x="1147" y="1330"/>
                    </a:lnTo>
                    <a:lnTo>
                      <a:pt x="1147" y="1328"/>
                    </a:lnTo>
                    <a:lnTo>
                      <a:pt x="1145" y="1328"/>
                    </a:lnTo>
                    <a:lnTo>
                      <a:pt x="1145" y="1327"/>
                    </a:lnTo>
                    <a:lnTo>
                      <a:pt x="1144" y="1327"/>
                    </a:lnTo>
                    <a:lnTo>
                      <a:pt x="1144" y="1325"/>
                    </a:lnTo>
                    <a:lnTo>
                      <a:pt x="1145" y="1325"/>
                    </a:lnTo>
                    <a:lnTo>
                      <a:pt x="1145" y="1327"/>
                    </a:lnTo>
                    <a:lnTo>
                      <a:pt x="1145" y="1325"/>
                    </a:lnTo>
                    <a:close/>
                    <a:moveTo>
                      <a:pt x="1310" y="1509"/>
                    </a:moveTo>
                    <a:lnTo>
                      <a:pt x="1309" y="1509"/>
                    </a:lnTo>
                    <a:lnTo>
                      <a:pt x="1309" y="1510"/>
                    </a:lnTo>
                    <a:lnTo>
                      <a:pt x="1307" y="1512"/>
                    </a:lnTo>
                    <a:lnTo>
                      <a:pt x="1305" y="1512"/>
                    </a:lnTo>
                    <a:lnTo>
                      <a:pt x="1305" y="1510"/>
                    </a:lnTo>
                    <a:lnTo>
                      <a:pt x="1307" y="1510"/>
                    </a:lnTo>
                    <a:lnTo>
                      <a:pt x="1309" y="1509"/>
                    </a:lnTo>
                    <a:lnTo>
                      <a:pt x="1310" y="1509"/>
                    </a:lnTo>
                    <a:close/>
                    <a:moveTo>
                      <a:pt x="1275" y="1590"/>
                    </a:moveTo>
                    <a:lnTo>
                      <a:pt x="1276" y="1592"/>
                    </a:lnTo>
                    <a:lnTo>
                      <a:pt x="1276" y="1594"/>
                    </a:lnTo>
                    <a:lnTo>
                      <a:pt x="1276" y="1592"/>
                    </a:lnTo>
                    <a:lnTo>
                      <a:pt x="1275" y="1594"/>
                    </a:lnTo>
                    <a:lnTo>
                      <a:pt x="1273" y="1592"/>
                    </a:lnTo>
                    <a:lnTo>
                      <a:pt x="1271" y="1592"/>
                    </a:lnTo>
                    <a:lnTo>
                      <a:pt x="1271" y="1590"/>
                    </a:lnTo>
                    <a:lnTo>
                      <a:pt x="1273" y="1590"/>
                    </a:lnTo>
                    <a:lnTo>
                      <a:pt x="1275" y="1590"/>
                    </a:lnTo>
                    <a:close/>
                    <a:moveTo>
                      <a:pt x="1390" y="1641"/>
                    </a:moveTo>
                    <a:lnTo>
                      <a:pt x="1390" y="1643"/>
                    </a:lnTo>
                    <a:lnTo>
                      <a:pt x="1392" y="1643"/>
                    </a:lnTo>
                    <a:lnTo>
                      <a:pt x="1392" y="1645"/>
                    </a:lnTo>
                    <a:lnTo>
                      <a:pt x="1390" y="1645"/>
                    </a:lnTo>
                    <a:lnTo>
                      <a:pt x="1389" y="1645"/>
                    </a:lnTo>
                    <a:lnTo>
                      <a:pt x="1389" y="1643"/>
                    </a:lnTo>
                    <a:lnTo>
                      <a:pt x="1387" y="1643"/>
                    </a:lnTo>
                    <a:lnTo>
                      <a:pt x="1389" y="1641"/>
                    </a:lnTo>
                    <a:lnTo>
                      <a:pt x="1390" y="1641"/>
                    </a:lnTo>
                    <a:close/>
                    <a:moveTo>
                      <a:pt x="1230" y="998"/>
                    </a:moveTo>
                    <a:lnTo>
                      <a:pt x="1232" y="998"/>
                    </a:lnTo>
                    <a:lnTo>
                      <a:pt x="1232" y="997"/>
                    </a:lnTo>
                    <a:lnTo>
                      <a:pt x="1232" y="998"/>
                    </a:lnTo>
                    <a:lnTo>
                      <a:pt x="1232" y="1000"/>
                    </a:lnTo>
                    <a:lnTo>
                      <a:pt x="1232" y="998"/>
                    </a:lnTo>
                    <a:lnTo>
                      <a:pt x="1230" y="998"/>
                    </a:lnTo>
                    <a:lnTo>
                      <a:pt x="1230" y="1000"/>
                    </a:lnTo>
                    <a:lnTo>
                      <a:pt x="1232" y="1000"/>
                    </a:lnTo>
                    <a:lnTo>
                      <a:pt x="1232" y="1002"/>
                    </a:lnTo>
                    <a:lnTo>
                      <a:pt x="1232" y="1000"/>
                    </a:lnTo>
                    <a:lnTo>
                      <a:pt x="1232" y="1002"/>
                    </a:lnTo>
                    <a:lnTo>
                      <a:pt x="1230" y="1002"/>
                    </a:lnTo>
                    <a:lnTo>
                      <a:pt x="1230" y="1000"/>
                    </a:lnTo>
                    <a:lnTo>
                      <a:pt x="1230" y="998"/>
                    </a:lnTo>
                    <a:lnTo>
                      <a:pt x="1229" y="998"/>
                    </a:lnTo>
                    <a:lnTo>
                      <a:pt x="1229" y="997"/>
                    </a:lnTo>
                    <a:lnTo>
                      <a:pt x="1230" y="997"/>
                    </a:lnTo>
                    <a:lnTo>
                      <a:pt x="1230" y="998"/>
                    </a:lnTo>
                    <a:close/>
                    <a:moveTo>
                      <a:pt x="1229" y="976"/>
                    </a:moveTo>
                    <a:lnTo>
                      <a:pt x="1229" y="978"/>
                    </a:lnTo>
                    <a:lnTo>
                      <a:pt x="1227" y="978"/>
                    </a:lnTo>
                    <a:lnTo>
                      <a:pt x="1227" y="980"/>
                    </a:lnTo>
                    <a:lnTo>
                      <a:pt x="1225" y="980"/>
                    </a:lnTo>
                    <a:lnTo>
                      <a:pt x="1225" y="978"/>
                    </a:lnTo>
                    <a:lnTo>
                      <a:pt x="1224" y="978"/>
                    </a:lnTo>
                    <a:lnTo>
                      <a:pt x="1225" y="976"/>
                    </a:lnTo>
                    <a:lnTo>
                      <a:pt x="1225" y="978"/>
                    </a:lnTo>
                    <a:lnTo>
                      <a:pt x="1227" y="978"/>
                    </a:lnTo>
                    <a:lnTo>
                      <a:pt x="1225" y="976"/>
                    </a:lnTo>
                    <a:lnTo>
                      <a:pt x="1225" y="978"/>
                    </a:lnTo>
                    <a:lnTo>
                      <a:pt x="1225" y="976"/>
                    </a:lnTo>
                    <a:lnTo>
                      <a:pt x="1227" y="976"/>
                    </a:lnTo>
                    <a:lnTo>
                      <a:pt x="1229" y="976"/>
                    </a:lnTo>
                    <a:close/>
                    <a:moveTo>
                      <a:pt x="1203" y="1138"/>
                    </a:moveTo>
                    <a:lnTo>
                      <a:pt x="1205" y="1138"/>
                    </a:lnTo>
                    <a:lnTo>
                      <a:pt x="1205" y="1140"/>
                    </a:lnTo>
                    <a:lnTo>
                      <a:pt x="1207" y="1140"/>
                    </a:lnTo>
                    <a:lnTo>
                      <a:pt x="1207" y="1141"/>
                    </a:lnTo>
                    <a:lnTo>
                      <a:pt x="1205" y="1141"/>
                    </a:lnTo>
                    <a:lnTo>
                      <a:pt x="1203" y="1140"/>
                    </a:lnTo>
                    <a:lnTo>
                      <a:pt x="1203" y="1138"/>
                    </a:lnTo>
                    <a:lnTo>
                      <a:pt x="1203" y="1136"/>
                    </a:lnTo>
                    <a:lnTo>
                      <a:pt x="1203" y="1138"/>
                    </a:lnTo>
                    <a:close/>
                    <a:moveTo>
                      <a:pt x="1200" y="1470"/>
                    </a:moveTo>
                    <a:lnTo>
                      <a:pt x="1200" y="1471"/>
                    </a:lnTo>
                    <a:lnTo>
                      <a:pt x="1202" y="1471"/>
                    </a:lnTo>
                    <a:lnTo>
                      <a:pt x="1203" y="1471"/>
                    </a:lnTo>
                    <a:lnTo>
                      <a:pt x="1203" y="1473"/>
                    </a:lnTo>
                    <a:lnTo>
                      <a:pt x="1203" y="1475"/>
                    </a:lnTo>
                    <a:lnTo>
                      <a:pt x="1202" y="1475"/>
                    </a:lnTo>
                    <a:lnTo>
                      <a:pt x="1202" y="1473"/>
                    </a:lnTo>
                    <a:lnTo>
                      <a:pt x="1200" y="1473"/>
                    </a:lnTo>
                    <a:lnTo>
                      <a:pt x="1200" y="1471"/>
                    </a:lnTo>
                    <a:lnTo>
                      <a:pt x="1198" y="1471"/>
                    </a:lnTo>
                    <a:lnTo>
                      <a:pt x="1198" y="1470"/>
                    </a:lnTo>
                    <a:lnTo>
                      <a:pt x="1200" y="1470"/>
                    </a:lnTo>
                    <a:close/>
                    <a:moveTo>
                      <a:pt x="1033" y="605"/>
                    </a:moveTo>
                    <a:lnTo>
                      <a:pt x="1033" y="607"/>
                    </a:lnTo>
                    <a:lnTo>
                      <a:pt x="1035" y="607"/>
                    </a:lnTo>
                    <a:lnTo>
                      <a:pt x="1035" y="609"/>
                    </a:lnTo>
                    <a:lnTo>
                      <a:pt x="1035" y="607"/>
                    </a:lnTo>
                    <a:lnTo>
                      <a:pt x="1033" y="607"/>
                    </a:lnTo>
                    <a:lnTo>
                      <a:pt x="1032" y="607"/>
                    </a:lnTo>
                    <a:lnTo>
                      <a:pt x="1030" y="607"/>
                    </a:lnTo>
                    <a:lnTo>
                      <a:pt x="1030" y="609"/>
                    </a:lnTo>
                    <a:lnTo>
                      <a:pt x="1030" y="607"/>
                    </a:lnTo>
                    <a:lnTo>
                      <a:pt x="1032" y="607"/>
                    </a:lnTo>
                    <a:lnTo>
                      <a:pt x="1032" y="605"/>
                    </a:lnTo>
                    <a:lnTo>
                      <a:pt x="1033" y="605"/>
                    </a:lnTo>
                    <a:close/>
                    <a:moveTo>
                      <a:pt x="1174" y="1427"/>
                    </a:moveTo>
                    <a:lnTo>
                      <a:pt x="1173" y="1427"/>
                    </a:lnTo>
                    <a:lnTo>
                      <a:pt x="1174" y="1429"/>
                    </a:lnTo>
                    <a:lnTo>
                      <a:pt x="1173" y="1430"/>
                    </a:lnTo>
                    <a:lnTo>
                      <a:pt x="1173" y="1432"/>
                    </a:lnTo>
                    <a:lnTo>
                      <a:pt x="1171" y="1432"/>
                    </a:lnTo>
                    <a:lnTo>
                      <a:pt x="1171" y="1430"/>
                    </a:lnTo>
                    <a:lnTo>
                      <a:pt x="1173" y="1429"/>
                    </a:lnTo>
                    <a:lnTo>
                      <a:pt x="1173" y="1427"/>
                    </a:lnTo>
                    <a:lnTo>
                      <a:pt x="1173" y="1425"/>
                    </a:lnTo>
                    <a:lnTo>
                      <a:pt x="1174" y="1427"/>
                    </a:lnTo>
                    <a:close/>
                    <a:moveTo>
                      <a:pt x="1193" y="1068"/>
                    </a:moveTo>
                    <a:lnTo>
                      <a:pt x="1193" y="1070"/>
                    </a:lnTo>
                    <a:lnTo>
                      <a:pt x="1193" y="1071"/>
                    </a:lnTo>
                    <a:lnTo>
                      <a:pt x="1191" y="1071"/>
                    </a:lnTo>
                    <a:lnTo>
                      <a:pt x="1190" y="1070"/>
                    </a:lnTo>
                    <a:lnTo>
                      <a:pt x="1190" y="1068"/>
                    </a:lnTo>
                    <a:lnTo>
                      <a:pt x="1191" y="1070"/>
                    </a:lnTo>
                    <a:lnTo>
                      <a:pt x="1191" y="1068"/>
                    </a:lnTo>
                    <a:lnTo>
                      <a:pt x="1193" y="1068"/>
                    </a:lnTo>
                    <a:close/>
                    <a:moveTo>
                      <a:pt x="1273" y="1611"/>
                    </a:moveTo>
                    <a:lnTo>
                      <a:pt x="1273" y="1612"/>
                    </a:lnTo>
                    <a:lnTo>
                      <a:pt x="1275" y="1612"/>
                    </a:lnTo>
                    <a:lnTo>
                      <a:pt x="1275" y="1614"/>
                    </a:lnTo>
                    <a:lnTo>
                      <a:pt x="1273" y="1614"/>
                    </a:lnTo>
                    <a:lnTo>
                      <a:pt x="1273" y="1616"/>
                    </a:lnTo>
                    <a:lnTo>
                      <a:pt x="1271" y="1614"/>
                    </a:lnTo>
                    <a:lnTo>
                      <a:pt x="1271" y="1616"/>
                    </a:lnTo>
                    <a:lnTo>
                      <a:pt x="1271" y="1614"/>
                    </a:lnTo>
                    <a:lnTo>
                      <a:pt x="1270" y="1614"/>
                    </a:lnTo>
                    <a:lnTo>
                      <a:pt x="1271" y="1614"/>
                    </a:lnTo>
                    <a:lnTo>
                      <a:pt x="1273" y="1614"/>
                    </a:lnTo>
                    <a:lnTo>
                      <a:pt x="1271" y="1614"/>
                    </a:lnTo>
                    <a:lnTo>
                      <a:pt x="1271" y="1612"/>
                    </a:lnTo>
                    <a:lnTo>
                      <a:pt x="1271" y="1611"/>
                    </a:lnTo>
                    <a:lnTo>
                      <a:pt x="1273" y="1611"/>
                    </a:lnTo>
                    <a:close/>
                    <a:moveTo>
                      <a:pt x="1162" y="1376"/>
                    </a:moveTo>
                    <a:lnTo>
                      <a:pt x="1161" y="1376"/>
                    </a:lnTo>
                    <a:lnTo>
                      <a:pt x="1162" y="1376"/>
                    </a:lnTo>
                    <a:lnTo>
                      <a:pt x="1162" y="1378"/>
                    </a:lnTo>
                    <a:lnTo>
                      <a:pt x="1162" y="1379"/>
                    </a:lnTo>
                    <a:lnTo>
                      <a:pt x="1161" y="1379"/>
                    </a:lnTo>
                    <a:lnTo>
                      <a:pt x="1159" y="1379"/>
                    </a:lnTo>
                    <a:lnTo>
                      <a:pt x="1159" y="1378"/>
                    </a:lnTo>
                    <a:lnTo>
                      <a:pt x="1161" y="1376"/>
                    </a:lnTo>
                    <a:lnTo>
                      <a:pt x="1161" y="1378"/>
                    </a:lnTo>
                    <a:lnTo>
                      <a:pt x="1161" y="1376"/>
                    </a:lnTo>
                    <a:lnTo>
                      <a:pt x="1162" y="1376"/>
                    </a:lnTo>
                    <a:close/>
                    <a:moveTo>
                      <a:pt x="1213" y="1119"/>
                    </a:moveTo>
                    <a:lnTo>
                      <a:pt x="1215" y="1121"/>
                    </a:lnTo>
                    <a:lnTo>
                      <a:pt x="1213" y="1122"/>
                    </a:lnTo>
                    <a:lnTo>
                      <a:pt x="1212" y="1121"/>
                    </a:lnTo>
                    <a:lnTo>
                      <a:pt x="1210" y="1121"/>
                    </a:lnTo>
                    <a:lnTo>
                      <a:pt x="1210" y="1122"/>
                    </a:lnTo>
                    <a:lnTo>
                      <a:pt x="1210" y="1121"/>
                    </a:lnTo>
                    <a:lnTo>
                      <a:pt x="1212" y="1119"/>
                    </a:lnTo>
                    <a:lnTo>
                      <a:pt x="1213" y="1119"/>
                    </a:lnTo>
                    <a:close/>
                    <a:moveTo>
                      <a:pt x="1178" y="1112"/>
                    </a:moveTo>
                    <a:lnTo>
                      <a:pt x="1179" y="1112"/>
                    </a:lnTo>
                    <a:lnTo>
                      <a:pt x="1179" y="1116"/>
                    </a:lnTo>
                    <a:lnTo>
                      <a:pt x="1178" y="1116"/>
                    </a:lnTo>
                    <a:lnTo>
                      <a:pt x="1178" y="1112"/>
                    </a:lnTo>
                    <a:close/>
                    <a:moveTo>
                      <a:pt x="1232" y="949"/>
                    </a:moveTo>
                    <a:lnTo>
                      <a:pt x="1234" y="951"/>
                    </a:lnTo>
                    <a:lnTo>
                      <a:pt x="1232" y="951"/>
                    </a:lnTo>
                    <a:lnTo>
                      <a:pt x="1234" y="951"/>
                    </a:lnTo>
                    <a:lnTo>
                      <a:pt x="1232" y="951"/>
                    </a:lnTo>
                    <a:lnTo>
                      <a:pt x="1230" y="951"/>
                    </a:lnTo>
                    <a:lnTo>
                      <a:pt x="1232" y="952"/>
                    </a:lnTo>
                    <a:lnTo>
                      <a:pt x="1230" y="952"/>
                    </a:lnTo>
                    <a:lnTo>
                      <a:pt x="1230" y="951"/>
                    </a:lnTo>
                    <a:lnTo>
                      <a:pt x="1230" y="949"/>
                    </a:lnTo>
                    <a:lnTo>
                      <a:pt x="1232" y="949"/>
                    </a:lnTo>
                    <a:close/>
                    <a:moveTo>
                      <a:pt x="1176" y="1481"/>
                    </a:moveTo>
                    <a:lnTo>
                      <a:pt x="1176" y="1483"/>
                    </a:lnTo>
                    <a:lnTo>
                      <a:pt x="1174" y="1483"/>
                    </a:lnTo>
                    <a:lnTo>
                      <a:pt x="1173" y="1483"/>
                    </a:lnTo>
                    <a:lnTo>
                      <a:pt x="1173" y="1481"/>
                    </a:lnTo>
                    <a:lnTo>
                      <a:pt x="1173" y="1483"/>
                    </a:lnTo>
                    <a:lnTo>
                      <a:pt x="1174" y="1481"/>
                    </a:lnTo>
                    <a:lnTo>
                      <a:pt x="1176" y="1481"/>
                    </a:lnTo>
                    <a:close/>
                    <a:moveTo>
                      <a:pt x="1185" y="1063"/>
                    </a:moveTo>
                    <a:lnTo>
                      <a:pt x="1186" y="1063"/>
                    </a:lnTo>
                    <a:lnTo>
                      <a:pt x="1188" y="1063"/>
                    </a:lnTo>
                    <a:lnTo>
                      <a:pt x="1188" y="1065"/>
                    </a:lnTo>
                    <a:lnTo>
                      <a:pt x="1186" y="1065"/>
                    </a:lnTo>
                    <a:lnTo>
                      <a:pt x="1185" y="1066"/>
                    </a:lnTo>
                    <a:lnTo>
                      <a:pt x="1185" y="1065"/>
                    </a:lnTo>
                    <a:lnTo>
                      <a:pt x="1186" y="1065"/>
                    </a:lnTo>
                    <a:lnTo>
                      <a:pt x="1185" y="1065"/>
                    </a:lnTo>
                    <a:lnTo>
                      <a:pt x="1185" y="1063"/>
                    </a:lnTo>
                    <a:close/>
                    <a:moveTo>
                      <a:pt x="1244" y="1582"/>
                    </a:moveTo>
                    <a:lnTo>
                      <a:pt x="1246" y="1582"/>
                    </a:lnTo>
                    <a:lnTo>
                      <a:pt x="1244" y="1583"/>
                    </a:lnTo>
                    <a:lnTo>
                      <a:pt x="1242" y="1583"/>
                    </a:lnTo>
                    <a:lnTo>
                      <a:pt x="1242" y="1582"/>
                    </a:lnTo>
                    <a:lnTo>
                      <a:pt x="1241" y="1582"/>
                    </a:lnTo>
                    <a:lnTo>
                      <a:pt x="1241" y="1580"/>
                    </a:lnTo>
                    <a:lnTo>
                      <a:pt x="1242" y="1582"/>
                    </a:lnTo>
                    <a:lnTo>
                      <a:pt x="1242" y="1580"/>
                    </a:lnTo>
                    <a:lnTo>
                      <a:pt x="1244" y="1582"/>
                    </a:lnTo>
                    <a:close/>
                    <a:moveTo>
                      <a:pt x="1212" y="1116"/>
                    </a:moveTo>
                    <a:lnTo>
                      <a:pt x="1213" y="1116"/>
                    </a:lnTo>
                    <a:lnTo>
                      <a:pt x="1213" y="1117"/>
                    </a:lnTo>
                    <a:lnTo>
                      <a:pt x="1213" y="1119"/>
                    </a:lnTo>
                    <a:lnTo>
                      <a:pt x="1212" y="1119"/>
                    </a:lnTo>
                    <a:lnTo>
                      <a:pt x="1210" y="1119"/>
                    </a:lnTo>
                    <a:lnTo>
                      <a:pt x="1210" y="1117"/>
                    </a:lnTo>
                    <a:lnTo>
                      <a:pt x="1212" y="1117"/>
                    </a:lnTo>
                    <a:lnTo>
                      <a:pt x="1212" y="1116"/>
                    </a:lnTo>
                    <a:close/>
                    <a:moveTo>
                      <a:pt x="1145" y="1264"/>
                    </a:moveTo>
                    <a:lnTo>
                      <a:pt x="1149" y="1264"/>
                    </a:lnTo>
                    <a:lnTo>
                      <a:pt x="1149" y="1269"/>
                    </a:lnTo>
                    <a:lnTo>
                      <a:pt x="1145" y="1269"/>
                    </a:lnTo>
                    <a:lnTo>
                      <a:pt x="1145" y="1264"/>
                    </a:lnTo>
                    <a:close/>
                    <a:moveTo>
                      <a:pt x="1176" y="1475"/>
                    </a:moveTo>
                    <a:lnTo>
                      <a:pt x="1178" y="1475"/>
                    </a:lnTo>
                    <a:lnTo>
                      <a:pt x="1178" y="1480"/>
                    </a:lnTo>
                    <a:lnTo>
                      <a:pt x="1176" y="1480"/>
                    </a:lnTo>
                    <a:lnTo>
                      <a:pt x="1176" y="1475"/>
                    </a:lnTo>
                    <a:close/>
                    <a:moveTo>
                      <a:pt x="1151" y="1289"/>
                    </a:moveTo>
                    <a:lnTo>
                      <a:pt x="1152" y="1289"/>
                    </a:lnTo>
                    <a:lnTo>
                      <a:pt x="1151" y="1291"/>
                    </a:lnTo>
                    <a:lnTo>
                      <a:pt x="1149" y="1291"/>
                    </a:lnTo>
                    <a:lnTo>
                      <a:pt x="1147" y="1293"/>
                    </a:lnTo>
                    <a:lnTo>
                      <a:pt x="1147" y="1291"/>
                    </a:lnTo>
                    <a:lnTo>
                      <a:pt x="1149" y="1291"/>
                    </a:lnTo>
                    <a:lnTo>
                      <a:pt x="1149" y="1289"/>
                    </a:lnTo>
                    <a:lnTo>
                      <a:pt x="1151" y="1289"/>
                    </a:lnTo>
                    <a:close/>
                    <a:moveTo>
                      <a:pt x="1178" y="1247"/>
                    </a:moveTo>
                    <a:lnTo>
                      <a:pt x="1179" y="1247"/>
                    </a:lnTo>
                    <a:lnTo>
                      <a:pt x="1178" y="1248"/>
                    </a:lnTo>
                    <a:lnTo>
                      <a:pt x="1176" y="1250"/>
                    </a:lnTo>
                    <a:lnTo>
                      <a:pt x="1176" y="1248"/>
                    </a:lnTo>
                    <a:lnTo>
                      <a:pt x="1176" y="1247"/>
                    </a:lnTo>
                    <a:lnTo>
                      <a:pt x="1178" y="1247"/>
                    </a:lnTo>
                    <a:close/>
                    <a:moveTo>
                      <a:pt x="1162" y="1301"/>
                    </a:moveTo>
                    <a:lnTo>
                      <a:pt x="1164" y="1301"/>
                    </a:lnTo>
                    <a:lnTo>
                      <a:pt x="1164" y="1303"/>
                    </a:lnTo>
                    <a:lnTo>
                      <a:pt x="1162" y="1303"/>
                    </a:lnTo>
                    <a:lnTo>
                      <a:pt x="1164" y="1303"/>
                    </a:lnTo>
                    <a:lnTo>
                      <a:pt x="1164" y="1305"/>
                    </a:lnTo>
                    <a:lnTo>
                      <a:pt x="1162" y="1303"/>
                    </a:lnTo>
                    <a:lnTo>
                      <a:pt x="1161" y="1303"/>
                    </a:lnTo>
                    <a:lnTo>
                      <a:pt x="1161" y="1301"/>
                    </a:lnTo>
                    <a:lnTo>
                      <a:pt x="1162" y="1301"/>
                    </a:lnTo>
                    <a:close/>
                    <a:moveTo>
                      <a:pt x="1423" y="1687"/>
                    </a:moveTo>
                    <a:lnTo>
                      <a:pt x="1424" y="1687"/>
                    </a:lnTo>
                    <a:lnTo>
                      <a:pt x="1424" y="1689"/>
                    </a:lnTo>
                    <a:lnTo>
                      <a:pt x="1426" y="1691"/>
                    </a:lnTo>
                    <a:lnTo>
                      <a:pt x="1424" y="1689"/>
                    </a:lnTo>
                    <a:lnTo>
                      <a:pt x="1424" y="1691"/>
                    </a:lnTo>
                    <a:lnTo>
                      <a:pt x="1423" y="1691"/>
                    </a:lnTo>
                    <a:lnTo>
                      <a:pt x="1423" y="1689"/>
                    </a:lnTo>
                    <a:lnTo>
                      <a:pt x="1421" y="1687"/>
                    </a:lnTo>
                    <a:lnTo>
                      <a:pt x="1421" y="1689"/>
                    </a:lnTo>
                    <a:lnTo>
                      <a:pt x="1421" y="1687"/>
                    </a:lnTo>
                    <a:lnTo>
                      <a:pt x="1423" y="1687"/>
                    </a:lnTo>
                    <a:close/>
                    <a:moveTo>
                      <a:pt x="1212" y="1061"/>
                    </a:moveTo>
                    <a:lnTo>
                      <a:pt x="1215" y="1061"/>
                    </a:lnTo>
                    <a:lnTo>
                      <a:pt x="1215" y="1065"/>
                    </a:lnTo>
                    <a:lnTo>
                      <a:pt x="1212" y="1065"/>
                    </a:lnTo>
                    <a:lnTo>
                      <a:pt x="1212" y="1061"/>
                    </a:lnTo>
                    <a:close/>
                    <a:moveTo>
                      <a:pt x="1331" y="1635"/>
                    </a:moveTo>
                    <a:lnTo>
                      <a:pt x="1331" y="1636"/>
                    </a:lnTo>
                    <a:lnTo>
                      <a:pt x="1329" y="1636"/>
                    </a:lnTo>
                    <a:lnTo>
                      <a:pt x="1329" y="1638"/>
                    </a:lnTo>
                    <a:lnTo>
                      <a:pt x="1327" y="1636"/>
                    </a:lnTo>
                    <a:lnTo>
                      <a:pt x="1329" y="1635"/>
                    </a:lnTo>
                    <a:lnTo>
                      <a:pt x="1331" y="1635"/>
                    </a:lnTo>
                    <a:lnTo>
                      <a:pt x="1332" y="1633"/>
                    </a:lnTo>
                    <a:lnTo>
                      <a:pt x="1331" y="1635"/>
                    </a:lnTo>
                    <a:close/>
                    <a:moveTo>
                      <a:pt x="1256" y="1587"/>
                    </a:moveTo>
                    <a:lnTo>
                      <a:pt x="1259" y="1587"/>
                    </a:lnTo>
                    <a:lnTo>
                      <a:pt x="1259" y="1592"/>
                    </a:lnTo>
                    <a:lnTo>
                      <a:pt x="1256" y="1592"/>
                    </a:lnTo>
                    <a:lnTo>
                      <a:pt x="1256" y="1587"/>
                    </a:lnTo>
                    <a:close/>
                    <a:moveTo>
                      <a:pt x="1208" y="1077"/>
                    </a:moveTo>
                    <a:lnTo>
                      <a:pt x="1212" y="1077"/>
                    </a:lnTo>
                    <a:lnTo>
                      <a:pt x="1212" y="1080"/>
                    </a:lnTo>
                    <a:lnTo>
                      <a:pt x="1208" y="1080"/>
                    </a:lnTo>
                    <a:lnTo>
                      <a:pt x="1208" y="1077"/>
                    </a:lnTo>
                    <a:close/>
                    <a:moveTo>
                      <a:pt x="1375" y="1663"/>
                    </a:moveTo>
                    <a:lnTo>
                      <a:pt x="1377" y="1663"/>
                    </a:lnTo>
                    <a:lnTo>
                      <a:pt x="1377" y="1665"/>
                    </a:lnTo>
                    <a:lnTo>
                      <a:pt x="1378" y="1665"/>
                    </a:lnTo>
                    <a:lnTo>
                      <a:pt x="1378" y="1667"/>
                    </a:lnTo>
                    <a:lnTo>
                      <a:pt x="1377" y="1667"/>
                    </a:lnTo>
                    <a:lnTo>
                      <a:pt x="1377" y="1665"/>
                    </a:lnTo>
                    <a:lnTo>
                      <a:pt x="1375" y="1665"/>
                    </a:lnTo>
                    <a:lnTo>
                      <a:pt x="1375" y="1663"/>
                    </a:lnTo>
                    <a:lnTo>
                      <a:pt x="1373" y="1663"/>
                    </a:lnTo>
                    <a:lnTo>
                      <a:pt x="1375" y="1663"/>
                    </a:lnTo>
                    <a:close/>
                    <a:moveTo>
                      <a:pt x="1185" y="1061"/>
                    </a:moveTo>
                    <a:lnTo>
                      <a:pt x="1186" y="1061"/>
                    </a:lnTo>
                    <a:lnTo>
                      <a:pt x="1188" y="1061"/>
                    </a:lnTo>
                    <a:lnTo>
                      <a:pt x="1190" y="1063"/>
                    </a:lnTo>
                    <a:lnTo>
                      <a:pt x="1188" y="1063"/>
                    </a:lnTo>
                    <a:lnTo>
                      <a:pt x="1186" y="1063"/>
                    </a:lnTo>
                    <a:lnTo>
                      <a:pt x="1185" y="1063"/>
                    </a:lnTo>
                    <a:lnTo>
                      <a:pt x="1185" y="1061"/>
                    </a:lnTo>
                    <a:close/>
                    <a:moveTo>
                      <a:pt x="1208" y="1080"/>
                    </a:moveTo>
                    <a:lnTo>
                      <a:pt x="1210" y="1082"/>
                    </a:lnTo>
                    <a:lnTo>
                      <a:pt x="1208" y="1082"/>
                    </a:lnTo>
                    <a:lnTo>
                      <a:pt x="1207" y="1082"/>
                    </a:lnTo>
                    <a:lnTo>
                      <a:pt x="1207" y="1080"/>
                    </a:lnTo>
                    <a:lnTo>
                      <a:pt x="1208" y="1082"/>
                    </a:lnTo>
                    <a:lnTo>
                      <a:pt x="1208" y="1080"/>
                    </a:lnTo>
                    <a:lnTo>
                      <a:pt x="1207" y="1080"/>
                    </a:lnTo>
                    <a:lnTo>
                      <a:pt x="1208" y="1080"/>
                    </a:lnTo>
                    <a:close/>
                    <a:moveTo>
                      <a:pt x="1193" y="1493"/>
                    </a:moveTo>
                    <a:lnTo>
                      <a:pt x="1193" y="1495"/>
                    </a:lnTo>
                    <a:lnTo>
                      <a:pt x="1195" y="1493"/>
                    </a:lnTo>
                    <a:lnTo>
                      <a:pt x="1195" y="1495"/>
                    </a:lnTo>
                    <a:lnTo>
                      <a:pt x="1193" y="1495"/>
                    </a:lnTo>
                    <a:lnTo>
                      <a:pt x="1193" y="1497"/>
                    </a:lnTo>
                    <a:lnTo>
                      <a:pt x="1191" y="1495"/>
                    </a:lnTo>
                    <a:lnTo>
                      <a:pt x="1191" y="1497"/>
                    </a:lnTo>
                    <a:lnTo>
                      <a:pt x="1191" y="1495"/>
                    </a:lnTo>
                    <a:lnTo>
                      <a:pt x="1190" y="1495"/>
                    </a:lnTo>
                    <a:lnTo>
                      <a:pt x="1191" y="1495"/>
                    </a:lnTo>
                    <a:lnTo>
                      <a:pt x="1191" y="1493"/>
                    </a:lnTo>
                    <a:lnTo>
                      <a:pt x="1191" y="1495"/>
                    </a:lnTo>
                    <a:lnTo>
                      <a:pt x="1191" y="1493"/>
                    </a:lnTo>
                    <a:lnTo>
                      <a:pt x="1191" y="1495"/>
                    </a:lnTo>
                    <a:lnTo>
                      <a:pt x="1193" y="1493"/>
                    </a:lnTo>
                    <a:close/>
                    <a:moveTo>
                      <a:pt x="1161" y="1247"/>
                    </a:moveTo>
                    <a:lnTo>
                      <a:pt x="1159" y="1247"/>
                    </a:lnTo>
                    <a:lnTo>
                      <a:pt x="1159" y="1248"/>
                    </a:lnTo>
                    <a:lnTo>
                      <a:pt x="1157" y="1248"/>
                    </a:lnTo>
                    <a:lnTo>
                      <a:pt x="1156" y="1250"/>
                    </a:lnTo>
                    <a:lnTo>
                      <a:pt x="1156" y="1248"/>
                    </a:lnTo>
                    <a:lnTo>
                      <a:pt x="1156" y="1250"/>
                    </a:lnTo>
                    <a:lnTo>
                      <a:pt x="1154" y="1250"/>
                    </a:lnTo>
                    <a:lnTo>
                      <a:pt x="1156" y="1250"/>
                    </a:lnTo>
                    <a:lnTo>
                      <a:pt x="1154" y="1250"/>
                    </a:lnTo>
                    <a:lnTo>
                      <a:pt x="1156" y="1250"/>
                    </a:lnTo>
                    <a:lnTo>
                      <a:pt x="1156" y="1248"/>
                    </a:lnTo>
                    <a:lnTo>
                      <a:pt x="1157" y="1247"/>
                    </a:lnTo>
                    <a:lnTo>
                      <a:pt x="1157" y="1248"/>
                    </a:lnTo>
                    <a:lnTo>
                      <a:pt x="1157" y="1247"/>
                    </a:lnTo>
                    <a:lnTo>
                      <a:pt x="1159" y="1247"/>
                    </a:lnTo>
                    <a:lnTo>
                      <a:pt x="1161" y="1245"/>
                    </a:lnTo>
                    <a:lnTo>
                      <a:pt x="1161" y="1247"/>
                    </a:lnTo>
                    <a:close/>
                    <a:moveTo>
                      <a:pt x="1195" y="1063"/>
                    </a:moveTo>
                    <a:lnTo>
                      <a:pt x="1193" y="1065"/>
                    </a:lnTo>
                    <a:lnTo>
                      <a:pt x="1191" y="1065"/>
                    </a:lnTo>
                    <a:lnTo>
                      <a:pt x="1191" y="1063"/>
                    </a:lnTo>
                    <a:lnTo>
                      <a:pt x="1193" y="1063"/>
                    </a:lnTo>
                    <a:lnTo>
                      <a:pt x="1195" y="1063"/>
                    </a:lnTo>
                    <a:close/>
                    <a:moveTo>
                      <a:pt x="1196" y="1466"/>
                    </a:moveTo>
                    <a:lnTo>
                      <a:pt x="1198" y="1466"/>
                    </a:lnTo>
                    <a:lnTo>
                      <a:pt x="1198" y="1468"/>
                    </a:lnTo>
                    <a:lnTo>
                      <a:pt x="1200" y="1468"/>
                    </a:lnTo>
                    <a:lnTo>
                      <a:pt x="1198" y="1468"/>
                    </a:lnTo>
                    <a:lnTo>
                      <a:pt x="1198" y="1470"/>
                    </a:lnTo>
                    <a:lnTo>
                      <a:pt x="1198" y="1468"/>
                    </a:lnTo>
                    <a:lnTo>
                      <a:pt x="1196" y="1470"/>
                    </a:lnTo>
                    <a:lnTo>
                      <a:pt x="1196" y="1468"/>
                    </a:lnTo>
                    <a:lnTo>
                      <a:pt x="1195" y="1466"/>
                    </a:lnTo>
                    <a:lnTo>
                      <a:pt x="1196" y="1466"/>
                    </a:lnTo>
                    <a:close/>
                    <a:moveTo>
                      <a:pt x="1213" y="1515"/>
                    </a:moveTo>
                    <a:lnTo>
                      <a:pt x="1212" y="1515"/>
                    </a:lnTo>
                    <a:lnTo>
                      <a:pt x="1212" y="1517"/>
                    </a:lnTo>
                    <a:lnTo>
                      <a:pt x="1210" y="1517"/>
                    </a:lnTo>
                    <a:lnTo>
                      <a:pt x="1212" y="1515"/>
                    </a:lnTo>
                    <a:lnTo>
                      <a:pt x="1210" y="1515"/>
                    </a:lnTo>
                    <a:lnTo>
                      <a:pt x="1210" y="1514"/>
                    </a:lnTo>
                    <a:lnTo>
                      <a:pt x="1212" y="1514"/>
                    </a:lnTo>
                    <a:lnTo>
                      <a:pt x="1210" y="1514"/>
                    </a:lnTo>
                    <a:lnTo>
                      <a:pt x="1212" y="1514"/>
                    </a:lnTo>
                    <a:lnTo>
                      <a:pt x="1213" y="1514"/>
                    </a:lnTo>
                    <a:lnTo>
                      <a:pt x="1213" y="1515"/>
                    </a:lnTo>
                    <a:close/>
                    <a:moveTo>
                      <a:pt x="1378" y="1660"/>
                    </a:moveTo>
                    <a:lnTo>
                      <a:pt x="1378" y="1662"/>
                    </a:lnTo>
                    <a:lnTo>
                      <a:pt x="1378" y="1660"/>
                    </a:lnTo>
                    <a:lnTo>
                      <a:pt x="1380" y="1662"/>
                    </a:lnTo>
                    <a:lnTo>
                      <a:pt x="1378" y="1662"/>
                    </a:lnTo>
                    <a:lnTo>
                      <a:pt x="1378" y="1663"/>
                    </a:lnTo>
                    <a:lnTo>
                      <a:pt x="1377" y="1663"/>
                    </a:lnTo>
                    <a:lnTo>
                      <a:pt x="1377" y="1662"/>
                    </a:lnTo>
                    <a:lnTo>
                      <a:pt x="1378" y="1662"/>
                    </a:lnTo>
                    <a:lnTo>
                      <a:pt x="1377" y="1662"/>
                    </a:lnTo>
                    <a:lnTo>
                      <a:pt x="1375" y="1662"/>
                    </a:lnTo>
                    <a:lnTo>
                      <a:pt x="1375" y="1660"/>
                    </a:lnTo>
                    <a:lnTo>
                      <a:pt x="1377" y="1660"/>
                    </a:lnTo>
                    <a:lnTo>
                      <a:pt x="1378" y="1660"/>
                    </a:lnTo>
                    <a:close/>
                    <a:moveTo>
                      <a:pt x="1263" y="1604"/>
                    </a:moveTo>
                    <a:lnTo>
                      <a:pt x="1263" y="1606"/>
                    </a:lnTo>
                    <a:lnTo>
                      <a:pt x="1264" y="1606"/>
                    </a:lnTo>
                    <a:lnTo>
                      <a:pt x="1264" y="1607"/>
                    </a:lnTo>
                    <a:lnTo>
                      <a:pt x="1266" y="1607"/>
                    </a:lnTo>
                    <a:lnTo>
                      <a:pt x="1264" y="1607"/>
                    </a:lnTo>
                    <a:lnTo>
                      <a:pt x="1263" y="1607"/>
                    </a:lnTo>
                    <a:lnTo>
                      <a:pt x="1261" y="1606"/>
                    </a:lnTo>
                    <a:lnTo>
                      <a:pt x="1263" y="1604"/>
                    </a:lnTo>
                    <a:close/>
                    <a:moveTo>
                      <a:pt x="1173" y="1359"/>
                    </a:moveTo>
                    <a:lnTo>
                      <a:pt x="1174" y="1359"/>
                    </a:lnTo>
                    <a:lnTo>
                      <a:pt x="1173" y="1361"/>
                    </a:lnTo>
                    <a:lnTo>
                      <a:pt x="1171" y="1361"/>
                    </a:lnTo>
                    <a:lnTo>
                      <a:pt x="1171" y="1359"/>
                    </a:lnTo>
                    <a:lnTo>
                      <a:pt x="1173" y="1359"/>
                    </a:lnTo>
                    <a:close/>
                    <a:moveTo>
                      <a:pt x="1363" y="1665"/>
                    </a:moveTo>
                    <a:lnTo>
                      <a:pt x="1366" y="1665"/>
                    </a:lnTo>
                    <a:lnTo>
                      <a:pt x="1366" y="1672"/>
                    </a:lnTo>
                    <a:lnTo>
                      <a:pt x="1363" y="1672"/>
                    </a:lnTo>
                    <a:lnTo>
                      <a:pt x="1363" y="1665"/>
                    </a:lnTo>
                    <a:close/>
                    <a:moveTo>
                      <a:pt x="1253" y="1590"/>
                    </a:moveTo>
                    <a:lnTo>
                      <a:pt x="1256" y="1590"/>
                    </a:lnTo>
                    <a:lnTo>
                      <a:pt x="1256" y="1594"/>
                    </a:lnTo>
                    <a:lnTo>
                      <a:pt x="1253" y="1594"/>
                    </a:lnTo>
                    <a:lnTo>
                      <a:pt x="1253" y="1590"/>
                    </a:lnTo>
                    <a:close/>
                    <a:moveTo>
                      <a:pt x="1217" y="971"/>
                    </a:moveTo>
                    <a:lnTo>
                      <a:pt x="1219" y="971"/>
                    </a:lnTo>
                    <a:lnTo>
                      <a:pt x="1219" y="973"/>
                    </a:lnTo>
                    <a:lnTo>
                      <a:pt x="1217" y="973"/>
                    </a:lnTo>
                    <a:lnTo>
                      <a:pt x="1217" y="971"/>
                    </a:lnTo>
                    <a:lnTo>
                      <a:pt x="1215" y="971"/>
                    </a:lnTo>
                    <a:lnTo>
                      <a:pt x="1217" y="969"/>
                    </a:lnTo>
                    <a:lnTo>
                      <a:pt x="1217" y="971"/>
                    </a:lnTo>
                    <a:close/>
                    <a:moveTo>
                      <a:pt x="1203" y="1473"/>
                    </a:moveTo>
                    <a:lnTo>
                      <a:pt x="1207" y="1473"/>
                    </a:lnTo>
                    <a:lnTo>
                      <a:pt x="1207" y="1478"/>
                    </a:lnTo>
                    <a:lnTo>
                      <a:pt x="1203" y="1478"/>
                    </a:lnTo>
                    <a:lnTo>
                      <a:pt x="1203" y="1473"/>
                    </a:lnTo>
                    <a:close/>
                    <a:moveTo>
                      <a:pt x="1232" y="1600"/>
                    </a:moveTo>
                    <a:lnTo>
                      <a:pt x="1230" y="1602"/>
                    </a:lnTo>
                    <a:lnTo>
                      <a:pt x="1229" y="1602"/>
                    </a:lnTo>
                    <a:lnTo>
                      <a:pt x="1227" y="1602"/>
                    </a:lnTo>
                    <a:lnTo>
                      <a:pt x="1227" y="1600"/>
                    </a:lnTo>
                    <a:lnTo>
                      <a:pt x="1229" y="1600"/>
                    </a:lnTo>
                    <a:lnTo>
                      <a:pt x="1230" y="1600"/>
                    </a:lnTo>
                    <a:lnTo>
                      <a:pt x="1232" y="1600"/>
                    </a:lnTo>
                    <a:close/>
                    <a:moveTo>
                      <a:pt x="1331" y="1633"/>
                    </a:moveTo>
                    <a:lnTo>
                      <a:pt x="1334" y="1633"/>
                    </a:lnTo>
                    <a:lnTo>
                      <a:pt x="1334" y="1636"/>
                    </a:lnTo>
                    <a:lnTo>
                      <a:pt x="1331" y="1636"/>
                    </a:lnTo>
                    <a:lnTo>
                      <a:pt x="1331" y="1633"/>
                    </a:lnTo>
                    <a:close/>
                    <a:moveTo>
                      <a:pt x="1263" y="1589"/>
                    </a:moveTo>
                    <a:lnTo>
                      <a:pt x="1264" y="1589"/>
                    </a:lnTo>
                    <a:lnTo>
                      <a:pt x="1264" y="1590"/>
                    </a:lnTo>
                    <a:lnTo>
                      <a:pt x="1263" y="1590"/>
                    </a:lnTo>
                    <a:lnTo>
                      <a:pt x="1264" y="1590"/>
                    </a:lnTo>
                    <a:lnTo>
                      <a:pt x="1263" y="1590"/>
                    </a:lnTo>
                    <a:lnTo>
                      <a:pt x="1261" y="1590"/>
                    </a:lnTo>
                    <a:lnTo>
                      <a:pt x="1261" y="1589"/>
                    </a:lnTo>
                    <a:lnTo>
                      <a:pt x="1263" y="1589"/>
                    </a:lnTo>
                    <a:close/>
                    <a:moveTo>
                      <a:pt x="1181" y="1464"/>
                    </a:moveTo>
                    <a:lnTo>
                      <a:pt x="1179" y="1466"/>
                    </a:lnTo>
                    <a:lnTo>
                      <a:pt x="1178" y="1466"/>
                    </a:lnTo>
                    <a:lnTo>
                      <a:pt x="1178" y="1468"/>
                    </a:lnTo>
                    <a:lnTo>
                      <a:pt x="1178" y="1466"/>
                    </a:lnTo>
                    <a:lnTo>
                      <a:pt x="1178" y="1464"/>
                    </a:lnTo>
                    <a:lnTo>
                      <a:pt x="1179" y="1464"/>
                    </a:lnTo>
                    <a:lnTo>
                      <a:pt x="1181" y="1463"/>
                    </a:lnTo>
                    <a:lnTo>
                      <a:pt x="1181" y="1464"/>
                    </a:lnTo>
                    <a:close/>
                    <a:moveTo>
                      <a:pt x="1327" y="1645"/>
                    </a:moveTo>
                    <a:lnTo>
                      <a:pt x="1329" y="1645"/>
                    </a:lnTo>
                    <a:lnTo>
                      <a:pt x="1329" y="1646"/>
                    </a:lnTo>
                    <a:lnTo>
                      <a:pt x="1331" y="1646"/>
                    </a:lnTo>
                    <a:lnTo>
                      <a:pt x="1329" y="1646"/>
                    </a:lnTo>
                    <a:lnTo>
                      <a:pt x="1329" y="1648"/>
                    </a:lnTo>
                    <a:lnTo>
                      <a:pt x="1331" y="1648"/>
                    </a:lnTo>
                    <a:lnTo>
                      <a:pt x="1332" y="1648"/>
                    </a:lnTo>
                    <a:lnTo>
                      <a:pt x="1331" y="1648"/>
                    </a:lnTo>
                    <a:lnTo>
                      <a:pt x="1329" y="1648"/>
                    </a:lnTo>
                    <a:lnTo>
                      <a:pt x="1327" y="1648"/>
                    </a:lnTo>
                    <a:lnTo>
                      <a:pt x="1329" y="1646"/>
                    </a:lnTo>
                    <a:lnTo>
                      <a:pt x="1327" y="1646"/>
                    </a:lnTo>
                    <a:lnTo>
                      <a:pt x="1327" y="1645"/>
                    </a:lnTo>
                    <a:close/>
                    <a:moveTo>
                      <a:pt x="1217" y="1500"/>
                    </a:moveTo>
                    <a:lnTo>
                      <a:pt x="1219" y="1500"/>
                    </a:lnTo>
                    <a:lnTo>
                      <a:pt x="1219" y="1502"/>
                    </a:lnTo>
                    <a:lnTo>
                      <a:pt x="1217" y="1502"/>
                    </a:lnTo>
                    <a:lnTo>
                      <a:pt x="1215" y="1502"/>
                    </a:lnTo>
                    <a:lnTo>
                      <a:pt x="1217" y="1502"/>
                    </a:lnTo>
                    <a:lnTo>
                      <a:pt x="1215" y="1502"/>
                    </a:lnTo>
                    <a:lnTo>
                      <a:pt x="1217" y="1500"/>
                    </a:lnTo>
                    <a:lnTo>
                      <a:pt x="1219" y="1498"/>
                    </a:lnTo>
                    <a:lnTo>
                      <a:pt x="1219" y="1500"/>
                    </a:lnTo>
                    <a:lnTo>
                      <a:pt x="1217" y="1500"/>
                    </a:lnTo>
                    <a:close/>
                    <a:moveTo>
                      <a:pt x="1171" y="1446"/>
                    </a:moveTo>
                    <a:lnTo>
                      <a:pt x="1174" y="1446"/>
                    </a:lnTo>
                    <a:lnTo>
                      <a:pt x="1174" y="1451"/>
                    </a:lnTo>
                    <a:lnTo>
                      <a:pt x="1171" y="1451"/>
                    </a:lnTo>
                    <a:lnTo>
                      <a:pt x="1171" y="1446"/>
                    </a:lnTo>
                    <a:close/>
                    <a:moveTo>
                      <a:pt x="1190" y="1119"/>
                    </a:moveTo>
                    <a:lnTo>
                      <a:pt x="1191" y="1119"/>
                    </a:lnTo>
                    <a:lnTo>
                      <a:pt x="1191" y="1122"/>
                    </a:lnTo>
                    <a:lnTo>
                      <a:pt x="1190" y="1122"/>
                    </a:lnTo>
                    <a:lnTo>
                      <a:pt x="1190" y="1119"/>
                    </a:lnTo>
                    <a:close/>
                    <a:moveTo>
                      <a:pt x="1222" y="1570"/>
                    </a:moveTo>
                    <a:lnTo>
                      <a:pt x="1224" y="1570"/>
                    </a:lnTo>
                    <a:lnTo>
                      <a:pt x="1224" y="1572"/>
                    </a:lnTo>
                    <a:lnTo>
                      <a:pt x="1222" y="1572"/>
                    </a:lnTo>
                    <a:lnTo>
                      <a:pt x="1222" y="1570"/>
                    </a:lnTo>
                    <a:lnTo>
                      <a:pt x="1220" y="1572"/>
                    </a:lnTo>
                    <a:lnTo>
                      <a:pt x="1220" y="1570"/>
                    </a:lnTo>
                    <a:lnTo>
                      <a:pt x="1222" y="1570"/>
                    </a:lnTo>
                    <a:close/>
                    <a:moveTo>
                      <a:pt x="1205" y="1019"/>
                    </a:moveTo>
                    <a:lnTo>
                      <a:pt x="1208" y="1019"/>
                    </a:lnTo>
                    <a:lnTo>
                      <a:pt x="1208" y="1022"/>
                    </a:lnTo>
                    <a:lnTo>
                      <a:pt x="1205" y="1022"/>
                    </a:lnTo>
                    <a:lnTo>
                      <a:pt x="1205" y="1019"/>
                    </a:lnTo>
                    <a:close/>
                    <a:moveTo>
                      <a:pt x="1164" y="1366"/>
                    </a:moveTo>
                    <a:lnTo>
                      <a:pt x="1168" y="1366"/>
                    </a:lnTo>
                    <a:lnTo>
                      <a:pt x="1168" y="1371"/>
                    </a:lnTo>
                    <a:lnTo>
                      <a:pt x="1164" y="1371"/>
                    </a:lnTo>
                    <a:lnTo>
                      <a:pt x="1164" y="1366"/>
                    </a:lnTo>
                    <a:close/>
                    <a:moveTo>
                      <a:pt x="1191" y="1498"/>
                    </a:moveTo>
                    <a:lnTo>
                      <a:pt x="1193" y="1498"/>
                    </a:lnTo>
                    <a:lnTo>
                      <a:pt x="1193" y="1500"/>
                    </a:lnTo>
                    <a:lnTo>
                      <a:pt x="1191" y="1502"/>
                    </a:lnTo>
                    <a:lnTo>
                      <a:pt x="1191" y="1500"/>
                    </a:lnTo>
                    <a:lnTo>
                      <a:pt x="1193" y="1500"/>
                    </a:lnTo>
                    <a:lnTo>
                      <a:pt x="1191" y="1500"/>
                    </a:lnTo>
                    <a:lnTo>
                      <a:pt x="1191" y="1498"/>
                    </a:lnTo>
                    <a:lnTo>
                      <a:pt x="1190" y="1498"/>
                    </a:lnTo>
                    <a:lnTo>
                      <a:pt x="1190" y="1497"/>
                    </a:lnTo>
                    <a:lnTo>
                      <a:pt x="1191" y="1497"/>
                    </a:lnTo>
                    <a:lnTo>
                      <a:pt x="1191" y="1498"/>
                    </a:lnTo>
                    <a:close/>
                    <a:moveTo>
                      <a:pt x="1186" y="1060"/>
                    </a:moveTo>
                    <a:lnTo>
                      <a:pt x="1188" y="1061"/>
                    </a:lnTo>
                    <a:lnTo>
                      <a:pt x="1188" y="1060"/>
                    </a:lnTo>
                    <a:lnTo>
                      <a:pt x="1190" y="1061"/>
                    </a:lnTo>
                    <a:lnTo>
                      <a:pt x="1191" y="1061"/>
                    </a:lnTo>
                    <a:lnTo>
                      <a:pt x="1190" y="1061"/>
                    </a:lnTo>
                    <a:lnTo>
                      <a:pt x="1188" y="1061"/>
                    </a:lnTo>
                    <a:lnTo>
                      <a:pt x="1186" y="1061"/>
                    </a:lnTo>
                    <a:lnTo>
                      <a:pt x="1185" y="1061"/>
                    </a:lnTo>
                    <a:lnTo>
                      <a:pt x="1185" y="1060"/>
                    </a:lnTo>
                    <a:lnTo>
                      <a:pt x="1186" y="1060"/>
                    </a:lnTo>
                    <a:close/>
                    <a:moveTo>
                      <a:pt x="1191" y="1449"/>
                    </a:moveTo>
                    <a:lnTo>
                      <a:pt x="1193" y="1451"/>
                    </a:lnTo>
                    <a:lnTo>
                      <a:pt x="1195" y="1451"/>
                    </a:lnTo>
                    <a:lnTo>
                      <a:pt x="1196" y="1453"/>
                    </a:lnTo>
                    <a:lnTo>
                      <a:pt x="1195" y="1453"/>
                    </a:lnTo>
                    <a:lnTo>
                      <a:pt x="1195" y="1454"/>
                    </a:lnTo>
                    <a:lnTo>
                      <a:pt x="1193" y="1453"/>
                    </a:lnTo>
                    <a:lnTo>
                      <a:pt x="1195" y="1453"/>
                    </a:lnTo>
                    <a:lnTo>
                      <a:pt x="1193" y="1453"/>
                    </a:lnTo>
                    <a:lnTo>
                      <a:pt x="1193" y="1451"/>
                    </a:lnTo>
                    <a:lnTo>
                      <a:pt x="1191" y="1451"/>
                    </a:lnTo>
                    <a:lnTo>
                      <a:pt x="1191" y="1449"/>
                    </a:lnTo>
                    <a:lnTo>
                      <a:pt x="1191" y="1451"/>
                    </a:lnTo>
                    <a:lnTo>
                      <a:pt x="1191" y="1449"/>
                    </a:lnTo>
                    <a:close/>
                    <a:moveTo>
                      <a:pt x="1215" y="993"/>
                    </a:moveTo>
                    <a:lnTo>
                      <a:pt x="1213" y="995"/>
                    </a:lnTo>
                    <a:lnTo>
                      <a:pt x="1213" y="993"/>
                    </a:lnTo>
                    <a:lnTo>
                      <a:pt x="1212" y="995"/>
                    </a:lnTo>
                    <a:lnTo>
                      <a:pt x="1212" y="993"/>
                    </a:lnTo>
                    <a:lnTo>
                      <a:pt x="1213" y="993"/>
                    </a:lnTo>
                    <a:lnTo>
                      <a:pt x="1213" y="992"/>
                    </a:lnTo>
                    <a:lnTo>
                      <a:pt x="1215" y="993"/>
                    </a:lnTo>
                    <a:close/>
                    <a:moveTo>
                      <a:pt x="1426" y="1677"/>
                    </a:moveTo>
                    <a:lnTo>
                      <a:pt x="1428" y="1677"/>
                    </a:lnTo>
                    <a:lnTo>
                      <a:pt x="1428" y="1679"/>
                    </a:lnTo>
                    <a:lnTo>
                      <a:pt x="1426" y="1679"/>
                    </a:lnTo>
                    <a:lnTo>
                      <a:pt x="1426" y="1680"/>
                    </a:lnTo>
                    <a:lnTo>
                      <a:pt x="1424" y="1680"/>
                    </a:lnTo>
                    <a:lnTo>
                      <a:pt x="1424" y="1679"/>
                    </a:lnTo>
                    <a:lnTo>
                      <a:pt x="1426" y="1677"/>
                    </a:lnTo>
                    <a:close/>
                    <a:moveTo>
                      <a:pt x="1213" y="747"/>
                    </a:moveTo>
                    <a:lnTo>
                      <a:pt x="1213" y="748"/>
                    </a:lnTo>
                    <a:lnTo>
                      <a:pt x="1213" y="747"/>
                    </a:lnTo>
                    <a:lnTo>
                      <a:pt x="1212" y="748"/>
                    </a:lnTo>
                    <a:lnTo>
                      <a:pt x="1212" y="747"/>
                    </a:lnTo>
                    <a:lnTo>
                      <a:pt x="1212" y="745"/>
                    </a:lnTo>
                    <a:lnTo>
                      <a:pt x="1212" y="747"/>
                    </a:lnTo>
                    <a:lnTo>
                      <a:pt x="1213" y="747"/>
                    </a:lnTo>
                    <a:close/>
                    <a:moveTo>
                      <a:pt x="1220" y="993"/>
                    </a:moveTo>
                    <a:lnTo>
                      <a:pt x="1222" y="993"/>
                    </a:lnTo>
                    <a:lnTo>
                      <a:pt x="1222" y="995"/>
                    </a:lnTo>
                    <a:lnTo>
                      <a:pt x="1220" y="995"/>
                    </a:lnTo>
                    <a:lnTo>
                      <a:pt x="1219" y="993"/>
                    </a:lnTo>
                    <a:lnTo>
                      <a:pt x="1220" y="993"/>
                    </a:lnTo>
                    <a:close/>
                    <a:moveTo>
                      <a:pt x="1168" y="1259"/>
                    </a:moveTo>
                    <a:lnTo>
                      <a:pt x="1171" y="1259"/>
                    </a:lnTo>
                    <a:lnTo>
                      <a:pt x="1171" y="1262"/>
                    </a:lnTo>
                    <a:lnTo>
                      <a:pt x="1168" y="1262"/>
                    </a:lnTo>
                    <a:lnTo>
                      <a:pt x="1168" y="1259"/>
                    </a:lnTo>
                    <a:close/>
                    <a:moveTo>
                      <a:pt x="1159" y="1252"/>
                    </a:moveTo>
                    <a:lnTo>
                      <a:pt x="1161" y="1253"/>
                    </a:lnTo>
                    <a:lnTo>
                      <a:pt x="1159" y="1253"/>
                    </a:lnTo>
                    <a:lnTo>
                      <a:pt x="1157" y="1255"/>
                    </a:lnTo>
                    <a:lnTo>
                      <a:pt x="1157" y="1253"/>
                    </a:lnTo>
                    <a:lnTo>
                      <a:pt x="1159" y="1253"/>
                    </a:lnTo>
                    <a:lnTo>
                      <a:pt x="1157" y="1253"/>
                    </a:lnTo>
                    <a:lnTo>
                      <a:pt x="1156" y="1253"/>
                    </a:lnTo>
                    <a:lnTo>
                      <a:pt x="1157" y="1253"/>
                    </a:lnTo>
                    <a:lnTo>
                      <a:pt x="1159" y="1252"/>
                    </a:lnTo>
                    <a:close/>
                    <a:moveTo>
                      <a:pt x="1290" y="1575"/>
                    </a:moveTo>
                    <a:lnTo>
                      <a:pt x="1292" y="1575"/>
                    </a:lnTo>
                    <a:lnTo>
                      <a:pt x="1292" y="1580"/>
                    </a:lnTo>
                    <a:lnTo>
                      <a:pt x="1290" y="1580"/>
                    </a:lnTo>
                    <a:lnTo>
                      <a:pt x="1290" y="1575"/>
                    </a:lnTo>
                    <a:close/>
                    <a:moveTo>
                      <a:pt x="1290" y="1629"/>
                    </a:moveTo>
                    <a:lnTo>
                      <a:pt x="1293" y="1629"/>
                    </a:lnTo>
                    <a:lnTo>
                      <a:pt x="1293" y="1635"/>
                    </a:lnTo>
                    <a:lnTo>
                      <a:pt x="1290" y="1635"/>
                    </a:lnTo>
                    <a:lnTo>
                      <a:pt x="1290" y="1629"/>
                    </a:lnTo>
                    <a:close/>
                    <a:moveTo>
                      <a:pt x="1161" y="1245"/>
                    </a:moveTo>
                    <a:lnTo>
                      <a:pt x="1159" y="1247"/>
                    </a:lnTo>
                    <a:lnTo>
                      <a:pt x="1157" y="1247"/>
                    </a:lnTo>
                    <a:lnTo>
                      <a:pt x="1157" y="1245"/>
                    </a:lnTo>
                    <a:lnTo>
                      <a:pt x="1159" y="1245"/>
                    </a:lnTo>
                    <a:lnTo>
                      <a:pt x="1157" y="1245"/>
                    </a:lnTo>
                    <a:lnTo>
                      <a:pt x="1159" y="1245"/>
                    </a:lnTo>
                    <a:lnTo>
                      <a:pt x="1161" y="1245"/>
                    </a:lnTo>
                    <a:lnTo>
                      <a:pt x="1161" y="1243"/>
                    </a:lnTo>
                    <a:lnTo>
                      <a:pt x="1161" y="1245"/>
                    </a:lnTo>
                    <a:close/>
                    <a:moveTo>
                      <a:pt x="1210" y="1017"/>
                    </a:moveTo>
                    <a:lnTo>
                      <a:pt x="1213" y="1017"/>
                    </a:lnTo>
                    <a:lnTo>
                      <a:pt x="1213" y="1020"/>
                    </a:lnTo>
                    <a:lnTo>
                      <a:pt x="1210" y="1020"/>
                    </a:lnTo>
                    <a:lnTo>
                      <a:pt x="1210" y="1017"/>
                    </a:lnTo>
                    <a:close/>
                    <a:moveTo>
                      <a:pt x="1200" y="1085"/>
                    </a:moveTo>
                    <a:lnTo>
                      <a:pt x="1200" y="1087"/>
                    </a:lnTo>
                    <a:lnTo>
                      <a:pt x="1198" y="1085"/>
                    </a:lnTo>
                    <a:lnTo>
                      <a:pt x="1196" y="1085"/>
                    </a:lnTo>
                    <a:lnTo>
                      <a:pt x="1198" y="1085"/>
                    </a:lnTo>
                    <a:lnTo>
                      <a:pt x="1200" y="1083"/>
                    </a:lnTo>
                    <a:lnTo>
                      <a:pt x="1200" y="1085"/>
                    </a:lnTo>
                    <a:close/>
                    <a:moveTo>
                      <a:pt x="1210" y="1253"/>
                    </a:moveTo>
                    <a:lnTo>
                      <a:pt x="1210" y="1255"/>
                    </a:lnTo>
                    <a:lnTo>
                      <a:pt x="1212" y="1255"/>
                    </a:lnTo>
                    <a:lnTo>
                      <a:pt x="1212" y="1257"/>
                    </a:lnTo>
                    <a:lnTo>
                      <a:pt x="1210" y="1255"/>
                    </a:lnTo>
                    <a:lnTo>
                      <a:pt x="1208" y="1255"/>
                    </a:lnTo>
                    <a:lnTo>
                      <a:pt x="1208" y="1253"/>
                    </a:lnTo>
                    <a:lnTo>
                      <a:pt x="1210" y="1253"/>
                    </a:lnTo>
                    <a:close/>
                    <a:moveTo>
                      <a:pt x="1156" y="1187"/>
                    </a:moveTo>
                    <a:lnTo>
                      <a:pt x="1157" y="1189"/>
                    </a:lnTo>
                    <a:lnTo>
                      <a:pt x="1159" y="1191"/>
                    </a:lnTo>
                    <a:lnTo>
                      <a:pt x="1157" y="1191"/>
                    </a:lnTo>
                    <a:lnTo>
                      <a:pt x="1156" y="1189"/>
                    </a:lnTo>
                    <a:lnTo>
                      <a:pt x="1154" y="1189"/>
                    </a:lnTo>
                    <a:lnTo>
                      <a:pt x="1156" y="1187"/>
                    </a:lnTo>
                    <a:close/>
                    <a:moveTo>
                      <a:pt x="1219" y="1119"/>
                    </a:moveTo>
                    <a:lnTo>
                      <a:pt x="1217" y="1121"/>
                    </a:lnTo>
                    <a:lnTo>
                      <a:pt x="1215" y="1121"/>
                    </a:lnTo>
                    <a:lnTo>
                      <a:pt x="1217" y="1119"/>
                    </a:lnTo>
                    <a:lnTo>
                      <a:pt x="1215" y="1119"/>
                    </a:lnTo>
                    <a:lnTo>
                      <a:pt x="1217" y="1119"/>
                    </a:lnTo>
                    <a:lnTo>
                      <a:pt x="1219" y="1119"/>
                    </a:lnTo>
                    <a:close/>
                    <a:moveTo>
                      <a:pt x="1210" y="1242"/>
                    </a:moveTo>
                    <a:lnTo>
                      <a:pt x="1210" y="1243"/>
                    </a:lnTo>
                    <a:lnTo>
                      <a:pt x="1208" y="1243"/>
                    </a:lnTo>
                    <a:lnTo>
                      <a:pt x="1207" y="1243"/>
                    </a:lnTo>
                    <a:lnTo>
                      <a:pt x="1207" y="1242"/>
                    </a:lnTo>
                    <a:lnTo>
                      <a:pt x="1208" y="1242"/>
                    </a:lnTo>
                    <a:lnTo>
                      <a:pt x="1210" y="1242"/>
                    </a:lnTo>
                    <a:close/>
                    <a:moveTo>
                      <a:pt x="1151" y="1291"/>
                    </a:moveTo>
                    <a:lnTo>
                      <a:pt x="1154" y="1291"/>
                    </a:lnTo>
                    <a:lnTo>
                      <a:pt x="1154" y="1294"/>
                    </a:lnTo>
                    <a:lnTo>
                      <a:pt x="1151" y="1294"/>
                    </a:lnTo>
                    <a:lnTo>
                      <a:pt x="1151" y="1291"/>
                    </a:lnTo>
                    <a:close/>
                    <a:moveTo>
                      <a:pt x="1164" y="1476"/>
                    </a:moveTo>
                    <a:lnTo>
                      <a:pt x="1168" y="1476"/>
                    </a:lnTo>
                    <a:lnTo>
                      <a:pt x="1168" y="1480"/>
                    </a:lnTo>
                    <a:lnTo>
                      <a:pt x="1164" y="1480"/>
                    </a:lnTo>
                    <a:lnTo>
                      <a:pt x="1164" y="1476"/>
                    </a:lnTo>
                    <a:close/>
                    <a:moveTo>
                      <a:pt x="1188" y="1475"/>
                    </a:moveTo>
                    <a:lnTo>
                      <a:pt x="1188" y="1476"/>
                    </a:lnTo>
                    <a:lnTo>
                      <a:pt x="1186" y="1476"/>
                    </a:lnTo>
                    <a:lnTo>
                      <a:pt x="1186" y="1475"/>
                    </a:lnTo>
                    <a:lnTo>
                      <a:pt x="1188" y="1475"/>
                    </a:lnTo>
                    <a:lnTo>
                      <a:pt x="1186" y="1475"/>
                    </a:lnTo>
                    <a:lnTo>
                      <a:pt x="1185" y="1475"/>
                    </a:lnTo>
                    <a:lnTo>
                      <a:pt x="1186" y="1475"/>
                    </a:lnTo>
                    <a:lnTo>
                      <a:pt x="1188" y="1473"/>
                    </a:lnTo>
                    <a:lnTo>
                      <a:pt x="1190" y="1475"/>
                    </a:lnTo>
                    <a:lnTo>
                      <a:pt x="1188" y="1475"/>
                    </a:lnTo>
                    <a:close/>
                    <a:moveTo>
                      <a:pt x="1186" y="1119"/>
                    </a:moveTo>
                    <a:lnTo>
                      <a:pt x="1188" y="1119"/>
                    </a:lnTo>
                    <a:lnTo>
                      <a:pt x="1188" y="1124"/>
                    </a:lnTo>
                    <a:lnTo>
                      <a:pt x="1186" y="1124"/>
                    </a:lnTo>
                    <a:lnTo>
                      <a:pt x="1186" y="1119"/>
                    </a:lnTo>
                    <a:close/>
                    <a:moveTo>
                      <a:pt x="1326" y="1648"/>
                    </a:moveTo>
                    <a:lnTo>
                      <a:pt x="1327" y="1650"/>
                    </a:lnTo>
                    <a:lnTo>
                      <a:pt x="1329" y="1650"/>
                    </a:lnTo>
                    <a:lnTo>
                      <a:pt x="1327" y="1650"/>
                    </a:lnTo>
                    <a:lnTo>
                      <a:pt x="1326" y="1650"/>
                    </a:lnTo>
                    <a:lnTo>
                      <a:pt x="1324" y="1650"/>
                    </a:lnTo>
                    <a:lnTo>
                      <a:pt x="1324" y="1648"/>
                    </a:lnTo>
                    <a:lnTo>
                      <a:pt x="1326" y="1648"/>
                    </a:lnTo>
                    <a:close/>
                    <a:moveTo>
                      <a:pt x="1205" y="1065"/>
                    </a:moveTo>
                    <a:lnTo>
                      <a:pt x="1208" y="1065"/>
                    </a:lnTo>
                    <a:lnTo>
                      <a:pt x="1208" y="1066"/>
                    </a:lnTo>
                    <a:lnTo>
                      <a:pt x="1205" y="1066"/>
                    </a:lnTo>
                    <a:lnTo>
                      <a:pt x="1205" y="1065"/>
                    </a:lnTo>
                    <a:close/>
                    <a:moveTo>
                      <a:pt x="1198" y="1068"/>
                    </a:moveTo>
                    <a:lnTo>
                      <a:pt x="1202" y="1068"/>
                    </a:lnTo>
                    <a:lnTo>
                      <a:pt x="1202" y="1071"/>
                    </a:lnTo>
                    <a:lnTo>
                      <a:pt x="1198" y="1071"/>
                    </a:lnTo>
                    <a:lnTo>
                      <a:pt x="1198" y="1068"/>
                    </a:lnTo>
                    <a:close/>
                    <a:moveTo>
                      <a:pt x="1210" y="1022"/>
                    </a:moveTo>
                    <a:lnTo>
                      <a:pt x="1210" y="1024"/>
                    </a:lnTo>
                    <a:lnTo>
                      <a:pt x="1210" y="1022"/>
                    </a:lnTo>
                    <a:lnTo>
                      <a:pt x="1208" y="1022"/>
                    </a:lnTo>
                    <a:lnTo>
                      <a:pt x="1208" y="1020"/>
                    </a:lnTo>
                    <a:lnTo>
                      <a:pt x="1208" y="1019"/>
                    </a:lnTo>
                    <a:lnTo>
                      <a:pt x="1210" y="1019"/>
                    </a:lnTo>
                    <a:lnTo>
                      <a:pt x="1210" y="1020"/>
                    </a:lnTo>
                    <a:lnTo>
                      <a:pt x="1210" y="1022"/>
                    </a:lnTo>
                    <a:close/>
                    <a:moveTo>
                      <a:pt x="1178" y="1383"/>
                    </a:moveTo>
                    <a:lnTo>
                      <a:pt x="1181" y="1383"/>
                    </a:lnTo>
                    <a:lnTo>
                      <a:pt x="1181" y="1386"/>
                    </a:lnTo>
                    <a:lnTo>
                      <a:pt x="1178" y="1386"/>
                    </a:lnTo>
                    <a:lnTo>
                      <a:pt x="1178" y="1383"/>
                    </a:lnTo>
                    <a:close/>
                    <a:moveTo>
                      <a:pt x="1205" y="1104"/>
                    </a:moveTo>
                    <a:lnTo>
                      <a:pt x="1208" y="1104"/>
                    </a:lnTo>
                    <a:lnTo>
                      <a:pt x="1208" y="1107"/>
                    </a:lnTo>
                    <a:lnTo>
                      <a:pt x="1205" y="1107"/>
                    </a:lnTo>
                    <a:lnTo>
                      <a:pt x="1205" y="1104"/>
                    </a:lnTo>
                    <a:close/>
                    <a:moveTo>
                      <a:pt x="1205" y="1053"/>
                    </a:moveTo>
                    <a:lnTo>
                      <a:pt x="1203" y="1054"/>
                    </a:lnTo>
                    <a:lnTo>
                      <a:pt x="1202" y="1054"/>
                    </a:lnTo>
                    <a:lnTo>
                      <a:pt x="1202" y="1053"/>
                    </a:lnTo>
                    <a:lnTo>
                      <a:pt x="1203" y="1053"/>
                    </a:lnTo>
                    <a:lnTo>
                      <a:pt x="1205" y="1053"/>
                    </a:lnTo>
                    <a:close/>
                    <a:moveTo>
                      <a:pt x="1191" y="1396"/>
                    </a:moveTo>
                    <a:lnTo>
                      <a:pt x="1193" y="1396"/>
                    </a:lnTo>
                    <a:lnTo>
                      <a:pt x="1193" y="1400"/>
                    </a:lnTo>
                    <a:lnTo>
                      <a:pt x="1191" y="1400"/>
                    </a:lnTo>
                    <a:lnTo>
                      <a:pt x="1191" y="1396"/>
                    </a:lnTo>
                    <a:close/>
                    <a:moveTo>
                      <a:pt x="1224" y="1556"/>
                    </a:moveTo>
                    <a:lnTo>
                      <a:pt x="1224" y="1558"/>
                    </a:lnTo>
                    <a:lnTo>
                      <a:pt x="1224" y="1556"/>
                    </a:lnTo>
                    <a:lnTo>
                      <a:pt x="1224" y="1558"/>
                    </a:lnTo>
                    <a:lnTo>
                      <a:pt x="1222" y="1558"/>
                    </a:lnTo>
                    <a:lnTo>
                      <a:pt x="1220" y="1558"/>
                    </a:lnTo>
                    <a:lnTo>
                      <a:pt x="1222" y="1558"/>
                    </a:lnTo>
                    <a:lnTo>
                      <a:pt x="1224" y="1556"/>
                    </a:lnTo>
                    <a:lnTo>
                      <a:pt x="1222" y="1558"/>
                    </a:lnTo>
                    <a:lnTo>
                      <a:pt x="1220" y="1558"/>
                    </a:lnTo>
                    <a:lnTo>
                      <a:pt x="1222" y="1556"/>
                    </a:lnTo>
                    <a:lnTo>
                      <a:pt x="1224" y="1556"/>
                    </a:lnTo>
                    <a:close/>
                    <a:moveTo>
                      <a:pt x="1356" y="1663"/>
                    </a:moveTo>
                    <a:lnTo>
                      <a:pt x="1358" y="1663"/>
                    </a:lnTo>
                    <a:lnTo>
                      <a:pt x="1356" y="1665"/>
                    </a:lnTo>
                    <a:lnTo>
                      <a:pt x="1355" y="1665"/>
                    </a:lnTo>
                    <a:lnTo>
                      <a:pt x="1356" y="1667"/>
                    </a:lnTo>
                    <a:lnTo>
                      <a:pt x="1355" y="1665"/>
                    </a:lnTo>
                    <a:lnTo>
                      <a:pt x="1355" y="1663"/>
                    </a:lnTo>
                    <a:lnTo>
                      <a:pt x="1356" y="1663"/>
                    </a:lnTo>
                    <a:close/>
                    <a:moveTo>
                      <a:pt x="1183" y="1464"/>
                    </a:moveTo>
                    <a:lnTo>
                      <a:pt x="1186" y="1464"/>
                    </a:lnTo>
                    <a:lnTo>
                      <a:pt x="1186" y="1468"/>
                    </a:lnTo>
                    <a:lnTo>
                      <a:pt x="1183" y="1468"/>
                    </a:lnTo>
                    <a:lnTo>
                      <a:pt x="1183" y="1464"/>
                    </a:lnTo>
                    <a:close/>
                    <a:moveTo>
                      <a:pt x="1268" y="1614"/>
                    </a:moveTo>
                    <a:lnTo>
                      <a:pt x="1271" y="1614"/>
                    </a:lnTo>
                    <a:lnTo>
                      <a:pt x="1271" y="1619"/>
                    </a:lnTo>
                    <a:lnTo>
                      <a:pt x="1268" y="1619"/>
                    </a:lnTo>
                    <a:lnTo>
                      <a:pt x="1268" y="1614"/>
                    </a:lnTo>
                    <a:close/>
                    <a:moveTo>
                      <a:pt x="1202" y="1544"/>
                    </a:moveTo>
                    <a:lnTo>
                      <a:pt x="1203" y="1544"/>
                    </a:lnTo>
                    <a:lnTo>
                      <a:pt x="1203" y="1546"/>
                    </a:lnTo>
                    <a:lnTo>
                      <a:pt x="1202" y="1546"/>
                    </a:lnTo>
                    <a:lnTo>
                      <a:pt x="1202" y="1544"/>
                    </a:lnTo>
                    <a:close/>
                    <a:moveTo>
                      <a:pt x="1176" y="1487"/>
                    </a:moveTo>
                    <a:lnTo>
                      <a:pt x="1179" y="1487"/>
                    </a:lnTo>
                    <a:lnTo>
                      <a:pt x="1179" y="1488"/>
                    </a:lnTo>
                    <a:lnTo>
                      <a:pt x="1176" y="1488"/>
                    </a:lnTo>
                    <a:lnTo>
                      <a:pt x="1176" y="1487"/>
                    </a:lnTo>
                    <a:close/>
                    <a:moveTo>
                      <a:pt x="1181" y="1328"/>
                    </a:moveTo>
                    <a:lnTo>
                      <a:pt x="1183" y="1328"/>
                    </a:lnTo>
                    <a:lnTo>
                      <a:pt x="1183" y="1333"/>
                    </a:lnTo>
                    <a:lnTo>
                      <a:pt x="1181" y="1333"/>
                    </a:lnTo>
                    <a:lnTo>
                      <a:pt x="1181" y="1328"/>
                    </a:lnTo>
                    <a:close/>
                    <a:moveTo>
                      <a:pt x="1200" y="1080"/>
                    </a:moveTo>
                    <a:lnTo>
                      <a:pt x="1202" y="1080"/>
                    </a:lnTo>
                    <a:lnTo>
                      <a:pt x="1202" y="1082"/>
                    </a:lnTo>
                    <a:lnTo>
                      <a:pt x="1200" y="1082"/>
                    </a:lnTo>
                    <a:lnTo>
                      <a:pt x="1200" y="1080"/>
                    </a:lnTo>
                    <a:close/>
                    <a:moveTo>
                      <a:pt x="1171" y="1252"/>
                    </a:moveTo>
                    <a:lnTo>
                      <a:pt x="1173" y="1252"/>
                    </a:lnTo>
                    <a:lnTo>
                      <a:pt x="1173" y="1257"/>
                    </a:lnTo>
                    <a:lnTo>
                      <a:pt x="1171" y="1257"/>
                    </a:lnTo>
                    <a:lnTo>
                      <a:pt x="1171" y="1252"/>
                    </a:lnTo>
                    <a:close/>
                    <a:moveTo>
                      <a:pt x="1217" y="1082"/>
                    </a:moveTo>
                    <a:lnTo>
                      <a:pt x="1220" y="1082"/>
                    </a:lnTo>
                    <a:lnTo>
                      <a:pt x="1220" y="1085"/>
                    </a:lnTo>
                    <a:lnTo>
                      <a:pt x="1217" y="1085"/>
                    </a:lnTo>
                    <a:lnTo>
                      <a:pt x="1217" y="1082"/>
                    </a:lnTo>
                    <a:close/>
                    <a:moveTo>
                      <a:pt x="1162" y="1407"/>
                    </a:moveTo>
                    <a:lnTo>
                      <a:pt x="1164" y="1407"/>
                    </a:lnTo>
                    <a:lnTo>
                      <a:pt x="1162" y="1408"/>
                    </a:lnTo>
                    <a:lnTo>
                      <a:pt x="1161" y="1408"/>
                    </a:lnTo>
                    <a:lnTo>
                      <a:pt x="1161" y="1407"/>
                    </a:lnTo>
                    <a:lnTo>
                      <a:pt x="1162" y="1407"/>
                    </a:lnTo>
                    <a:close/>
                    <a:moveTo>
                      <a:pt x="1149" y="1373"/>
                    </a:moveTo>
                    <a:lnTo>
                      <a:pt x="1152" y="1373"/>
                    </a:lnTo>
                    <a:lnTo>
                      <a:pt x="1152" y="1376"/>
                    </a:lnTo>
                    <a:lnTo>
                      <a:pt x="1149" y="1376"/>
                    </a:lnTo>
                    <a:lnTo>
                      <a:pt x="1149" y="1373"/>
                    </a:lnTo>
                    <a:close/>
                    <a:moveTo>
                      <a:pt x="1217" y="985"/>
                    </a:moveTo>
                    <a:lnTo>
                      <a:pt x="1220" y="985"/>
                    </a:lnTo>
                    <a:lnTo>
                      <a:pt x="1220" y="986"/>
                    </a:lnTo>
                    <a:lnTo>
                      <a:pt x="1217" y="986"/>
                    </a:lnTo>
                    <a:lnTo>
                      <a:pt x="1217" y="985"/>
                    </a:lnTo>
                    <a:close/>
                    <a:moveTo>
                      <a:pt x="1161" y="1356"/>
                    </a:moveTo>
                    <a:lnTo>
                      <a:pt x="1162" y="1356"/>
                    </a:lnTo>
                    <a:lnTo>
                      <a:pt x="1162" y="1361"/>
                    </a:lnTo>
                    <a:lnTo>
                      <a:pt x="1161" y="1361"/>
                    </a:lnTo>
                    <a:lnTo>
                      <a:pt x="1161" y="1356"/>
                    </a:lnTo>
                    <a:close/>
                    <a:moveTo>
                      <a:pt x="1154" y="1364"/>
                    </a:moveTo>
                    <a:lnTo>
                      <a:pt x="1157" y="1364"/>
                    </a:lnTo>
                    <a:lnTo>
                      <a:pt x="1157" y="1367"/>
                    </a:lnTo>
                    <a:lnTo>
                      <a:pt x="1154" y="1367"/>
                    </a:lnTo>
                    <a:lnTo>
                      <a:pt x="1154" y="1364"/>
                    </a:lnTo>
                    <a:close/>
                    <a:moveTo>
                      <a:pt x="1365" y="1650"/>
                    </a:moveTo>
                    <a:lnTo>
                      <a:pt x="1366" y="1650"/>
                    </a:lnTo>
                    <a:lnTo>
                      <a:pt x="1366" y="1653"/>
                    </a:lnTo>
                    <a:lnTo>
                      <a:pt x="1365" y="1653"/>
                    </a:lnTo>
                    <a:lnTo>
                      <a:pt x="1365" y="1650"/>
                    </a:lnTo>
                    <a:close/>
                    <a:moveTo>
                      <a:pt x="1246" y="1590"/>
                    </a:moveTo>
                    <a:lnTo>
                      <a:pt x="1246" y="1589"/>
                    </a:lnTo>
                    <a:lnTo>
                      <a:pt x="1247" y="1590"/>
                    </a:lnTo>
                    <a:lnTo>
                      <a:pt x="1249" y="1592"/>
                    </a:lnTo>
                    <a:lnTo>
                      <a:pt x="1247" y="1592"/>
                    </a:lnTo>
                    <a:lnTo>
                      <a:pt x="1247" y="1590"/>
                    </a:lnTo>
                    <a:lnTo>
                      <a:pt x="1246" y="1590"/>
                    </a:lnTo>
                    <a:lnTo>
                      <a:pt x="1244" y="1590"/>
                    </a:lnTo>
                    <a:lnTo>
                      <a:pt x="1246" y="1590"/>
                    </a:lnTo>
                    <a:lnTo>
                      <a:pt x="1246" y="1589"/>
                    </a:lnTo>
                    <a:lnTo>
                      <a:pt x="1246" y="1590"/>
                    </a:lnTo>
                    <a:close/>
                    <a:moveTo>
                      <a:pt x="1202" y="1090"/>
                    </a:moveTo>
                    <a:lnTo>
                      <a:pt x="1203" y="1092"/>
                    </a:lnTo>
                    <a:lnTo>
                      <a:pt x="1202" y="1092"/>
                    </a:lnTo>
                    <a:lnTo>
                      <a:pt x="1200" y="1092"/>
                    </a:lnTo>
                    <a:lnTo>
                      <a:pt x="1198" y="1092"/>
                    </a:lnTo>
                    <a:lnTo>
                      <a:pt x="1200" y="1092"/>
                    </a:lnTo>
                    <a:lnTo>
                      <a:pt x="1200" y="1090"/>
                    </a:lnTo>
                    <a:lnTo>
                      <a:pt x="1202" y="1090"/>
                    </a:lnTo>
                    <a:close/>
                    <a:moveTo>
                      <a:pt x="1185" y="1524"/>
                    </a:moveTo>
                    <a:lnTo>
                      <a:pt x="1186" y="1524"/>
                    </a:lnTo>
                    <a:lnTo>
                      <a:pt x="1186" y="1527"/>
                    </a:lnTo>
                    <a:lnTo>
                      <a:pt x="1185" y="1527"/>
                    </a:lnTo>
                    <a:lnTo>
                      <a:pt x="1185" y="1524"/>
                    </a:lnTo>
                    <a:close/>
                    <a:moveTo>
                      <a:pt x="1210" y="1058"/>
                    </a:moveTo>
                    <a:lnTo>
                      <a:pt x="1212" y="1058"/>
                    </a:lnTo>
                    <a:lnTo>
                      <a:pt x="1212" y="1061"/>
                    </a:lnTo>
                    <a:lnTo>
                      <a:pt x="1210" y="1061"/>
                    </a:lnTo>
                    <a:lnTo>
                      <a:pt x="1210" y="1058"/>
                    </a:lnTo>
                    <a:close/>
                    <a:moveTo>
                      <a:pt x="1246" y="964"/>
                    </a:moveTo>
                    <a:lnTo>
                      <a:pt x="1247" y="964"/>
                    </a:lnTo>
                    <a:lnTo>
                      <a:pt x="1247" y="968"/>
                    </a:lnTo>
                    <a:lnTo>
                      <a:pt x="1246" y="968"/>
                    </a:lnTo>
                    <a:lnTo>
                      <a:pt x="1246" y="964"/>
                    </a:lnTo>
                    <a:close/>
                    <a:moveTo>
                      <a:pt x="1186" y="1027"/>
                    </a:moveTo>
                    <a:lnTo>
                      <a:pt x="1188" y="1027"/>
                    </a:lnTo>
                    <a:lnTo>
                      <a:pt x="1188" y="1031"/>
                    </a:lnTo>
                    <a:lnTo>
                      <a:pt x="1186" y="1031"/>
                    </a:lnTo>
                    <a:lnTo>
                      <a:pt x="1186" y="1027"/>
                    </a:lnTo>
                    <a:close/>
                    <a:moveTo>
                      <a:pt x="1144" y="1322"/>
                    </a:moveTo>
                    <a:lnTo>
                      <a:pt x="1147" y="1322"/>
                    </a:lnTo>
                    <a:lnTo>
                      <a:pt x="1147" y="1325"/>
                    </a:lnTo>
                    <a:lnTo>
                      <a:pt x="1144" y="1325"/>
                    </a:lnTo>
                    <a:lnTo>
                      <a:pt x="1144" y="1322"/>
                    </a:lnTo>
                    <a:close/>
                    <a:moveTo>
                      <a:pt x="1202" y="1536"/>
                    </a:moveTo>
                    <a:lnTo>
                      <a:pt x="1202" y="1538"/>
                    </a:lnTo>
                    <a:lnTo>
                      <a:pt x="1202" y="1536"/>
                    </a:lnTo>
                    <a:lnTo>
                      <a:pt x="1203" y="1538"/>
                    </a:lnTo>
                    <a:lnTo>
                      <a:pt x="1202" y="1538"/>
                    </a:lnTo>
                    <a:lnTo>
                      <a:pt x="1200" y="1536"/>
                    </a:lnTo>
                    <a:lnTo>
                      <a:pt x="1202" y="1536"/>
                    </a:lnTo>
                    <a:close/>
                    <a:moveTo>
                      <a:pt x="1368" y="1663"/>
                    </a:moveTo>
                    <a:lnTo>
                      <a:pt x="1372" y="1663"/>
                    </a:lnTo>
                    <a:lnTo>
                      <a:pt x="1372" y="1665"/>
                    </a:lnTo>
                    <a:lnTo>
                      <a:pt x="1368" y="1665"/>
                    </a:lnTo>
                    <a:lnTo>
                      <a:pt x="1368" y="1663"/>
                    </a:lnTo>
                    <a:close/>
                    <a:moveTo>
                      <a:pt x="1307" y="1640"/>
                    </a:moveTo>
                    <a:lnTo>
                      <a:pt x="1310" y="1640"/>
                    </a:lnTo>
                    <a:lnTo>
                      <a:pt x="1310" y="1643"/>
                    </a:lnTo>
                    <a:lnTo>
                      <a:pt x="1307" y="1643"/>
                    </a:lnTo>
                    <a:lnTo>
                      <a:pt x="1307" y="1640"/>
                    </a:lnTo>
                    <a:close/>
                    <a:moveTo>
                      <a:pt x="1188" y="1058"/>
                    </a:moveTo>
                    <a:lnTo>
                      <a:pt x="1190" y="1058"/>
                    </a:lnTo>
                    <a:lnTo>
                      <a:pt x="1191" y="1058"/>
                    </a:lnTo>
                    <a:lnTo>
                      <a:pt x="1190" y="1060"/>
                    </a:lnTo>
                    <a:lnTo>
                      <a:pt x="1188" y="1060"/>
                    </a:lnTo>
                    <a:lnTo>
                      <a:pt x="1186" y="1058"/>
                    </a:lnTo>
                    <a:lnTo>
                      <a:pt x="1188" y="1058"/>
                    </a:lnTo>
                    <a:close/>
                    <a:moveTo>
                      <a:pt x="1178" y="1485"/>
                    </a:moveTo>
                    <a:lnTo>
                      <a:pt x="1181" y="1485"/>
                    </a:lnTo>
                    <a:lnTo>
                      <a:pt x="1181" y="1487"/>
                    </a:lnTo>
                    <a:lnTo>
                      <a:pt x="1178" y="1487"/>
                    </a:lnTo>
                    <a:lnTo>
                      <a:pt x="1178" y="1485"/>
                    </a:lnTo>
                    <a:close/>
                    <a:moveTo>
                      <a:pt x="1210" y="1551"/>
                    </a:moveTo>
                    <a:lnTo>
                      <a:pt x="1213" y="1551"/>
                    </a:lnTo>
                    <a:lnTo>
                      <a:pt x="1213" y="1555"/>
                    </a:lnTo>
                    <a:lnTo>
                      <a:pt x="1210" y="1555"/>
                    </a:lnTo>
                    <a:lnTo>
                      <a:pt x="1210" y="1551"/>
                    </a:lnTo>
                    <a:close/>
                    <a:moveTo>
                      <a:pt x="1360" y="1667"/>
                    </a:moveTo>
                    <a:lnTo>
                      <a:pt x="1361" y="1667"/>
                    </a:lnTo>
                    <a:lnTo>
                      <a:pt x="1361" y="1670"/>
                    </a:lnTo>
                    <a:lnTo>
                      <a:pt x="1360" y="1670"/>
                    </a:lnTo>
                    <a:lnTo>
                      <a:pt x="1360" y="1667"/>
                    </a:lnTo>
                    <a:close/>
                    <a:moveTo>
                      <a:pt x="1210" y="1242"/>
                    </a:moveTo>
                    <a:lnTo>
                      <a:pt x="1213" y="1242"/>
                    </a:lnTo>
                    <a:lnTo>
                      <a:pt x="1213" y="1245"/>
                    </a:lnTo>
                    <a:lnTo>
                      <a:pt x="1210" y="1245"/>
                    </a:lnTo>
                    <a:lnTo>
                      <a:pt x="1210" y="1242"/>
                    </a:lnTo>
                    <a:close/>
                    <a:moveTo>
                      <a:pt x="1200" y="1541"/>
                    </a:moveTo>
                    <a:lnTo>
                      <a:pt x="1203" y="1541"/>
                    </a:lnTo>
                    <a:lnTo>
                      <a:pt x="1203" y="1543"/>
                    </a:lnTo>
                    <a:lnTo>
                      <a:pt x="1200" y="1543"/>
                    </a:lnTo>
                    <a:lnTo>
                      <a:pt x="1200" y="1541"/>
                    </a:lnTo>
                    <a:close/>
                    <a:moveTo>
                      <a:pt x="1151" y="1330"/>
                    </a:moveTo>
                    <a:lnTo>
                      <a:pt x="1154" y="1330"/>
                    </a:lnTo>
                    <a:lnTo>
                      <a:pt x="1154" y="1333"/>
                    </a:lnTo>
                    <a:lnTo>
                      <a:pt x="1151" y="1333"/>
                    </a:lnTo>
                    <a:lnTo>
                      <a:pt x="1151" y="1330"/>
                    </a:lnTo>
                    <a:close/>
                    <a:moveTo>
                      <a:pt x="1205" y="1080"/>
                    </a:moveTo>
                    <a:lnTo>
                      <a:pt x="1207" y="1080"/>
                    </a:lnTo>
                    <a:lnTo>
                      <a:pt x="1207" y="1082"/>
                    </a:lnTo>
                    <a:lnTo>
                      <a:pt x="1205" y="1082"/>
                    </a:lnTo>
                    <a:lnTo>
                      <a:pt x="1205" y="1080"/>
                    </a:lnTo>
                    <a:close/>
                    <a:moveTo>
                      <a:pt x="1225" y="1580"/>
                    </a:moveTo>
                    <a:lnTo>
                      <a:pt x="1227" y="1580"/>
                    </a:lnTo>
                    <a:lnTo>
                      <a:pt x="1227" y="1583"/>
                    </a:lnTo>
                    <a:lnTo>
                      <a:pt x="1225" y="1583"/>
                    </a:lnTo>
                    <a:lnTo>
                      <a:pt x="1225" y="1580"/>
                    </a:lnTo>
                    <a:close/>
                    <a:moveTo>
                      <a:pt x="1195" y="1146"/>
                    </a:moveTo>
                    <a:lnTo>
                      <a:pt x="1195" y="1148"/>
                    </a:lnTo>
                    <a:lnTo>
                      <a:pt x="1193" y="1148"/>
                    </a:lnTo>
                    <a:lnTo>
                      <a:pt x="1191" y="1146"/>
                    </a:lnTo>
                    <a:lnTo>
                      <a:pt x="1193" y="1146"/>
                    </a:lnTo>
                    <a:lnTo>
                      <a:pt x="1195" y="1146"/>
                    </a:lnTo>
                    <a:close/>
                    <a:moveTo>
                      <a:pt x="1290" y="1616"/>
                    </a:moveTo>
                    <a:lnTo>
                      <a:pt x="1288" y="1618"/>
                    </a:lnTo>
                    <a:lnTo>
                      <a:pt x="1287" y="1616"/>
                    </a:lnTo>
                    <a:lnTo>
                      <a:pt x="1288" y="1616"/>
                    </a:lnTo>
                    <a:lnTo>
                      <a:pt x="1290" y="1616"/>
                    </a:lnTo>
                    <a:lnTo>
                      <a:pt x="1288" y="1616"/>
                    </a:lnTo>
                    <a:lnTo>
                      <a:pt x="1290" y="1616"/>
                    </a:lnTo>
                    <a:close/>
                    <a:moveTo>
                      <a:pt x="1171" y="1366"/>
                    </a:moveTo>
                    <a:lnTo>
                      <a:pt x="1174" y="1366"/>
                    </a:lnTo>
                    <a:lnTo>
                      <a:pt x="1174" y="1369"/>
                    </a:lnTo>
                    <a:lnTo>
                      <a:pt x="1171" y="1369"/>
                    </a:lnTo>
                    <a:lnTo>
                      <a:pt x="1171" y="1366"/>
                    </a:lnTo>
                    <a:close/>
                    <a:moveTo>
                      <a:pt x="1176" y="1447"/>
                    </a:moveTo>
                    <a:lnTo>
                      <a:pt x="1178" y="1447"/>
                    </a:lnTo>
                    <a:lnTo>
                      <a:pt x="1178" y="1451"/>
                    </a:lnTo>
                    <a:lnTo>
                      <a:pt x="1176" y="1451"/>
                    </a:lnTo>
                    <a:lnTo>
                      <a:pt x="1176" y="1447"/>
                    </a:lnTo>
                    <a:close/>
                    <a:moveTo>
                      <a:pt x="1198" y="1157"/>
                    </a:moveTo>
                    <a:lnTo>
                      <a:pt x="1200" y="1157"/>
                    </a:lnTo>
                    <a:lnTo>
                      <a:pt x="1200" y="1158"/>
                    </a:lnTo>
                    <a:lnTo>
                      <a:pt x="1198" y="1158"/>
                    </a:lnTo>
                    <a:lnTo>
                      <a:pt x="1198" y="1157"/>
                    </a:lnTo>
                    <a:close/>
                    <a:moveTo>
                      <a:pt x="1312" y="1633"/>
                    </a:moveTo>
                    <a:lnTo>
                      <a:pt x="1314" y="1633"/>
                    </a:lnTo>
                    <a:lnTo>
                      <a:pt x="1314" y="1635"/>
                    </a:lnTo>
                    <a:lnTo>
                      <a:pt x="1314" y="1633"/>
                    </a:lnTo>
                    <a:lnTo>
                      <a:pt x="1312" y="1633"/>
                    </a:lnTo>
                    <a:lnTo>
                      <a:pt x="1314" y="1635"/>
                    </a:lnTo>
                    <a:lnTo>
                      <a:pt x="1312" y="1635"/>
                    </a:lnTo>
                    <a:lnTo>
                      <a:pt x="1310" y="1635"/>
                    </a:lnTo>
                    <a:lnTo>
                      <a:pt x="1310" y="1633"/>
                    </a:lnTo>
                    <a:lnTo>
                      <a:pt x="1312" y="1633"/>
                    </a:lnTo>
                    <a:close/>
                    <a:moveTo>
                      <a:pt x="1186" y="1279"/>
                    </a:moveTo>
                    <a:lnTo>
                      <a:pt x="1185" y="1279"/>
                    </a:lnTo>
                    <a:lnTo>
                      <a:pt x="1185" y="1281"/>
                    </a:lnTo>
                    <a:lnTo>
                      <a:pt x="1183" y="1281"/>
                    </a:lnTo>
                    <a:lnTo>
                      <a:pt x="1183" y="1279"/>
                    </a:lnTo>
                    <a:lnTo>
                      <a:pt x="1185" y="1279"/>
                    </a:lnTo>
                    <a:lnTo>
                      <a:pt x="1183" y="1279"/>
                    </a:lnTo>
                    <a:lnTo>
                      <a:pt x="1185" y="1279"/>
                    </a:lnTo>
                    <a:lnTo>
                      <a:pt x="1186" y="1277"/>
                    </a:lnTo>
                    <a:lnTo>
                      <a:pt x="1188" y="1277"/>
                    </a:lnTo>
                    <a:lnTo>
                      <a:pt x="1186" y="1279"/>
                    </a:lnTo>
                    <a:close/>
                    <a:moveTo>
                      <a:pt x="1156" y="1185"/>
                    </a:moveTo>
                    <a:lnTo>
                      <a:pt x="1157" y="1185"/>
                    </a:lnTo>
                    <a:lnTo>
                      <a:pt x="1157" y="1189"/>
                    </a:lnTo>
                    <a:lnTo>
                      <a:pt x="1156" y="1189"/>
                    </a:lnTo>
                    <a:lnTo>
                      <a:pt x="1156" y="1185"/>
                    </a:lnTo>
                    <a:close/>
                    <a:moveTo>
                      <a:pt x="1183" y="1476"/>
                    </a:moveTo>
                    <a:lnTo>
                      <a:pt x="1186" y="1476"/>
                    </a:lnTo>
                    <a:lnTo>
                      <a:pt x="1186" y="1478"/>
                    </a:lnTo>
                    <a:lnTo>
                      <a:pt x="1183" y="1478"/>
                    </a:lnTo>
                    <a:lnTo>
                      <a:pt x="1183" y="1476"/>
                    </a:lnTo>
                    <a:close/>
                    <a:moveTo>
                      <a:pt x="1217" y="1500"/>
                    </a:moveTo>
                    <a:lnTo>
                      <a:pt x="1219" y="1500"/>
                    </a:lnTo>
                    <a:lnTo>
                      <a:pt x="1219" y="1504"/>
                    </a:lnTo>
                    <a:lnTo>
                      <a:pt x="1217" y="1504"/>
                    </a:lnTo>
                    <a:lnTo>
                      <a:pt x="1217" y="1500"/>
                    </a:lnTo>
                    <a:close/>
                    <a:moveTo>
                      <a:pt x="1213" y="1556"/>
                    </a:moveTo>
                    <a:lnTo>
                      <a:pt x="1215" y="1556"/>
                    </a:lnTo>
                    <a:lnTo>
                      <a:pt x="1215" y="1558"/>
                    </a:lnTo>
                    <a:lnTo>
                      <a:pt x="1213" y="1558"/>
                    </a:lnTo>
                    <a:lnTo>
                      <a:pt x="1213" y="1556"/>
                    </a:lnTo>
                    <a:close/>
                    <a:moveTo>
                      <a:pt x="1315" y="1633"/>
                    </a:moveTo>
                    <a:lnTo>
                      <a:pt x="1319" y="1633"/>
                    </a:lnTo>
                    <a:lnTo>
                      <a:pt x="1319" y="1636"/>
                    </a:lnTo>
                    <a:lnTo>
                      <a:pt x="1315" y="1636"/>
                    </a:lnTo>
                    <a:lnTo>
                      <a:pt x="1315" y="1633"/>
                    </a:lnTo>
                    <a:close/>
                    <a:moveTo>
                      <a:pt x="1229" y="1585"/>
                    </a:moveTo>
                    <a:lnTo>
                      <a:pt x="1232" y="1585"/>
                    </a:lnTo>
                    <a:lnTo>
                      <a:pt x="1232" y="1587"/>
                    </a:lnTo>
                    <a:lnTo>
                      <a:pt x="1229" y="1587"/>
                    </a:lnTo>
                    <a:lnTo>
                      <a:pt x="1229" y="1585"/>
                    </a:lnTo>
                    <a:close/>
                    <a:moveTo>
                      <a:pt x="1378" y="1662"/>
                    </a:moveTo>
                    <a:lnTo>
                      <a:pt x="1382" y="1662"/>
                    </a:lnTo>
                    <a:lnTo>
                      <a:pt x="1382" y="1667"/>
                    </a:lnTo>
                    <a:lnTo>
                      <a:pt x="1378" y="1667"/>
                    </a:lnTo>
                    <a:lnTo>
                      <a:pt x="1378" y="1662"/>
                    </a:lnTo>
                    <a:close/>
                    <a:moveTo>
                      <a:pt x="1227" y="992"/>
                    </a:moveTo>
                    <a:lnTo>
                      <a:pt x="1230" y="992"/>
                    </a:lnTo>
                    <a:lnTo>
                      <a:pt x="1230" y="995"/>
                    </a:lnTo>
                    <a:lnTo>
                      <a:pt x="1227" y="995"/>
                    </a:lnTo>
                    <a:lnTo>
                      <a:pt x="1227" y="992"/>
                    </a:lnTo>
                    <a:close/>
                    <a:moveTo>
                      <a:pt x="1166" y="1432"/>
                    </a:moveTo>
                    <a:lnTo>
                      <a:pt x="1168" y="1432"/>
                    </a:lnTo>
                    <a:lnTo>
                      <a:pt x="1168" y="1435"/>
                    </a:lnTo>
                    <a:lnTo>
                      <a:pt x="1166" y="1435"/>
                    </a:lnTo>
                    <a:lnTo>
                      <a:pt x="1166" y="1432"/>
                    </a:lnTo>
                    <a:close/>
                    <a:moveTo>
                      <a:pt x="1241" y="1587"/>
                    </a:moveTo>
                    <a:lnTo>
                      <a:pt x="1242" y="1587"/>
                    </a:lnTo>
                    <a:lnTo>
                      <a:pt x="1242" y="1590"/>
                    </a:lnTo>
                    <a:lnTo>
                      <a:pt x="1241" y="1590"/>
                    </a:lnTo>
                    <a:lnTo>
                      <a:pt x="1241" y="1587"/>
                    </a:lnTo>
                    <a:close/>
                    <a:moveTo>
                      <a:pt x="1179" y="1136"/>
                    </a:moveTo>
                    <a:lnTo>
                      <a:pt x="1181" y="1136"/>
                    </a:lnTo>
                    <a:lnTo>
                      <a:pt x="1181" y="1140"/>
                    </a:lnTo>
                    <a:lnTo>
                      <a:pt x="1179" y="1140"/>
                    </a:lnTo>
                    <a:lnTo>
                      <a:pt x="1179" y="1136"/>
                    </a:lnTo>
                    <a:close/>
                    <a:moveTo>
                      <a:pt x="1220" y="978"/>
                    </a:moveTo>
                    <a:lnTo>
                      <a:pt x="1222" y="978"/>
                    </a:lnTo>
                    <a:lnTo>
                      <a:pt x="1222" y="980"/>
                    </a:lnTo>
                    <a:lnTo>
                      <a:pt x="1220" y="980"/>
                    </a:lnTo>
                    <a:lnTo>
                      <a:pt x="1220" y="978"/>
                    </a:lnTo>
                    <a:close/>
                    <a:moveTo>
                      <a:pt x="1215" y="1505"/>
                    </a:moveTo>
                    <a:lnTo>
                      <a:pt x="1217" y="1505"/>
                    </a:lnTo>
                    <a:lnTo>
                      <a:pt x="1215" y="1507"/>
                    </a:lnTo>
                    <a:lnTo>
                      <a:pt x="1215" y="1505"/>
                    </a:lnTo>
                    <a:lnTo>
                      <a:pt x="1215" y="1507"/>
                    </a:lnTo>
                    <a:lnTo>
                      <a:pt x="1213" y="1505"/>
                    </a:lnTo>
                    <a:lnTo>
                      <a:pt x="1212" y="1505"/>
                    </a:lnTo>
                    <a:lnTo>
                      <a:pt x="1213" y="1505"/>
                    </a:lnTo>
                    <a:lnTo>
                      <a:pt x="1215" y="1505"/>
                    </a:lnTo>
                    <a:lnTo>
                      <a:pt x="1215" y="1507"/>
                    </a:lnTo>
                    <a:lnTo>
                      <a:pt x="1215" y="1505"/>
                    </a:lnTo>
                    <a:close/>
                    <a:moveTo>
                      <a:pt x="1389" y="1633"/>
                    </a:moveTo>
                    <a:lnTo>
                      <a:pt x="1392" y="1633"/>
                    </a:lnTo>
                    <a:lnTo>
                      <a:pt x="1392" y="1635"/>
                    </a:lnTo>
                    <a:lnTo>
                      <a:pt x="1389" y="1635"/>
                    </a:lnTo>
                    <a:lnTo>
                      <a:pt x="1389" y="1633"/>
                    </a:lnTo>
                    <a:close/>
                    <a:moveTo>
                      <a:pt x="1275" y="1597"/>
                    </a:moveTo>
                    <a:lnTo>
                      <a:pt x="1276" y="1597"/>
                    </a:lnTo>
                    <a:lnTo>
                      <a:pt x="1276" y="1600"/>
                    </a:lnTo>
                    <a:lnTo>
                      <a:pt x="1275" y="1600"/>
                    </a:lnTo>
                    <a:lnTo>
                      <a:pt x="1275" y="1597"/>
                    </a:lnTo>
                    <a:close/>
                    <a:moveTo>
                      <a:pt x="1399" y="1645"/>
                    </a:moveTo>
                    <a:lnTo>
                      <a:pt x="1402" y="1645"/>
                    </a:lnTo>
                    <a:lnTo>
                      <a:pt x="1402" y="1648"/>
                    </a:lnTo>
                    <a:lnTo>
                      <a:pt x="1399" y="1648"/>
                    </a:lnTo>
                    <a:lnTo>
                      <a:pt x="1399" y="1645"/>
                    </a:lnTo>
                    <a:close/>
                    <a:moveTo>
                      <a:pt x="1178" y="1138"/>
                    </a:moveTo>
                    <a:lnTo>
                      <a:pt x="1179" y="1138"/>
                    </a:lnTo>
                    <a:lnTo>
                      <a:pt x="1179" y="1141"/>
                    </a:lnTo>
                    <a:lnTo>
                      <a:pt x="1178" y="1141"/>
                    </a:lnTo>
                    <a:lnTo>
                      <a:pt x="1178" y="1138"/>
                    </a:lnTo>
                    <a:close/>
                    <a:moveTo>
                      <a:pt x="1229" y="944"/>
                    </a:moveTo>
                    <a:lnTo>
                      <a:pt x="1232" y="944"/>
                    </a:lnTo>
                    <a:lnTo>
                      <a:pt x="1232" y="946"/>
                    </a:lnTo>
                    <a:lnTo>
                      <a:pt x="1229" y="946"/>
                    </a:lnTo>
                    <a:lnTo>
                      <a:pt x="1229" y="944"/>
                    </a:lnTo>
                    <a:close/>
                    <a:moveTo>
                      <a:pt x="1183" y="1427"/>
                    </a:moveTo>
                    <a:lnTo>
                      <a:pt x="1186" y="1427"/>
                    </a:lnTo>
                    <a:lnTo>
                      <a:pt x="1186" y="1429"/>
                    </a:lnTo>
                    <a:lnTo>
                      <a:pt x="1183" y="1429"/>
                    </a:lnTo>
                    <a:lnTo>
                      <a:pt x="1183" y="1427"/>
                    </a:lnTo>
                    <a:close/>
                    <a:moveTo>
                      <a:pt x="1196" y="1150"/>
                    </a:moveTo>
                    <a:lnTo>
                      <a:pt x="1198" y="1150"/>
                    </a:lnTo>
                    <a:lnTo>
                      <a:pt x="1198" y="1153"/>
                    </a:lnTo>
                    <a:lnTo>
                      <a:pt x="1196" y="1153"/>
                    </a:lnTo>
                    <a:lnTo>
                      <a:pt x="1196" y="1150"/>
                    </a:lnTo>
                    <a:close/>
                    <a:moveTo>
                      <a:pt x="1169" y="1417"/>
                    </a:moveTo>
                    <a:lnTo>
                      <a:pt x="1171" y="1417"/>
                    </a:lnTo>
                    <a:lnTo>
                      <a:pt x="1171" y="1418"/>
                    </a:lnTo>
                    <a:lnTo>
                      <a:pt x="1169" y="1418"/>
                    </a:lnTo>
                    <a:lnTo>
                      <a:pt x="1169" y="1417"/>
                    </a:lnTo>
                    <a:close/>
                    <a:moveTo>
                      <a:pt x="1188" y="1066"/>
                    </a:moveTo>
                    <a:lnTo>
                      <a:pt x="1188" y="1068"/>
                    </a:lnTo>
                    <a:lnTo>
                      <a:pt x="1190" y="1068"/>
                    </a:lnTo>
                    <a:lnTo>
                      <a:pt x="1188" y="1068"/>
                    </a:lnTo>
                    <a:lnTo>
                      <a:pt x="1186" y="1066"/>
                    </a:lnTo>
                    <a:lnTo>
                      <a:pt x="1188" y="1066"/>
                    </a:lnTo>
                    <a:close/>
                    <a:moveTo>
                      <a:pt x="1171" y="1475"/>
                    </a:moveTo>
                    <a:lnTo>
                      <a:pt x="1173" y="1475"/>
                    </a:lnTo>
                    <a:lnTo>
                      <a:pt x="1173" y="1476"/>
                    </a:lnTo>
                    <a:lnTo>
                      <a:pt x="1171" y="1476"/>
                    </a:lnTo>
                    <a:lnTo>
                      <a:pt x="1171" y="1475"/>
                    </a:lnTo>
                    <a:close/>
                    <a:moveTo>
                      <a:pt x="1224" y="1071"/>
                    </a:moveTo>
                    <a:lnTo>
                      <a:pt x="1227" y="1071"/>
                    </a:lnTo>
                    <a:lnTo>
                      <a:pt x="1227" y="1073"/>
                    </a:lnTo>
                    <a:lnTo>
                      <a:pt x="1224" y="1073"/>
                    </a:lnTo>
                    <a:lnTo>
                      <a:pt x="1224" y="1071"/>
                    </a:lnTo>
                    <a:close/>
                    <a:moveTo>
                      <a:pt x="1185" y="1262"/>
                    </a:moveTo>
                    <a:lnTo>
                      <a:pt x="1188" y="1262"/>
                    </a:lnTo>
                    <a:lnTo>
                      <a:pt x="1188" y="1265"/>
                    </a:lnTo>
                    <a:lnTo>
                      <a:pt x="1185" y="1265"/>
                    </a:lnTo>
                    <a:lnTo>
                      <a:pt x="1185" y="1262"/>
                    </a:lnTo>
                    <a:close/>
                    <a:moveTo>
                      <a:pt x="1188" y="1128"/>
                    </a:moveTo>
                    <a:lnTo>
                      <a:pt x="1191" y="1128"/>
                    </a:lnTo>
                    <a:lnTo>
                      <a:pt x="1191" y="1131"/>
                    </a:lnTo>
                    <a:lnTo>
                      <a:pt x="1188" y="1131"/>
                    </a:lnTo>
                    <a:lnTo>
                      <a:pt x="1188" y="1128"/>
                    </a:lnTo>
                    <a:close/>
                    <a:moveTo>
                      <a:pt x="1202" y="1080"/>
                    </a:moveTo>
                    <a:lnTo>
                      <a:pt x="1205" y="1080"/>
                    </a:lnTo>
                    <a:lnTo>
                      <a:pt x="1205" y="1082"/>
                    </a:lnTo>
                    <a:lnTo>
                      <a:pt x="1202" y="1082"/>
                    </a:lnTo>
                    <a:lnTo>
                      <a:pt x="1202" y="1080"/>
                    </a:lnTo>
                    <a:close/>
                    <a:moveTo>
                      <a:pt x="1185" y="1141"/>
                    </a:moveTo>
                    <a:lnTo>
                      <a:pt x="1185" y="1143"/>
                    </a:lnTo>
                    <a:lnTo>
                      <a:pt x="1183" y="1143"/>
                    </a:lnTo>
                    <a:lnTo>
                      <a:pt x="1181" y="1143"/>
                    </a:lnTo>
                    <a:lnTo>
                      <a:pt x="1183" y="1143"/>
                    </a:lnTo>
                    <a:lnTo>
                      <a:pt x="1185" y="1141"/>
                    </a:lnTo>
                    <a:close/>
                    <a:moveTo>
                      <a:pt x="1276" y="1612"/>
                    </a:moveTo>
                    <a:lnTo>
                      <a:pt x="1280" y="1612"/>
                    </a:lnTo>
                    <a:lnTo>
                      <a:pt x="1280" y="1614"/>
                    </a:lnTo>
                    <a:lnTo>
                      <a:pt x="1276" y="1614"/>
                    </a:lnTo>
                    <a:lnTo>
                      <a:pt x="1276" y="1612"/>
                    </a:lnTo>
                    <a:close/>
                    <a:moveTo>
                      <a:pt x="1208" y="1502"/>
                    </a:moveTo>
                    <a:lnTo>
                      <a:pt x="1210" y="1502"/>
                    </a:lnTo>
                    <a:lnTo>
                      <a:pt x="1210" y="1505"/>
                    </a:lnTo>
                    <a:lnTo>
                      <a:pt x="1208" y="1505"/>
                    </a:lnTo>
                    <a:lnTo>
                      <a:pt x="1208" y="1502"/>
                    </a:lnTo>
                    <a:close/>
                    <a:moveTo>
                      <a:pt x="1219" y="1538"/>
                    </a:moveTo>
                    <a:lnTo>
                      <a:pt x="1222" y="1538"/>
                    </a:lnTo>
                    <a:lnTo>
                      <a:pt x="1222" y="1541"/>
                    </a:lnTo>
                    <a:lnTo>
                      <a:pt x="1219" y="1541"/>
                    </a:lnTo>
                    <a:lnTo>
                      <a:pt x="1219" y="1538"/>
                    </a:lnTo>
                    <a:close/>
                    <a:moveTo>
                      <a:pt x="1373" y="1641"/>
                    </a:moveTo>
                    <a:lnTo>
                      <a:pt x="1375" y="1641"/>
                    </a:lnTo>
                    <a:lnTo>
                      <a:pt x="1375" y="1643"/>
                    </a:lnTo>
                    <a:lnTo>
                      <a:pt x="1373" y="1643"/>
                    </a:lnTo>
                    <a:lnTo>
                      <a:pt x="1373" y="1641"/>
                    </a:lnTo>
                    <a:lnTo>
                      <a:pt x="1372" y="1641"/>
                    </a:lnTo>
                    <a:lnTo>
                      <a:pt x="1373" y="1641"/>
                    </a:lnTo>
                    <a:close/>
                    <a:moveTo>
                      <a:pt x="1198" y="1485"/>
                    </a:moveTo>
                    <a:lnTo>
                      <a:pt x="1196" y="1485"/>
                    </a:lnTo>
                    <a:lnTo>
                      <a:pt x="1195" y="1487"/>
                    </a:lnTo>
                    <a:lnTo>
                      <a:pt x="1193" y="1487"/>
                    </a:lnTo>
                    <a:lnTo>
                      <a:pt x="1195" y="1485"/>
                    </a:lnTo>
                    <a:lnTo>
                      <a:pt x="1196" y="1485"/>
                    </a:lnTo>
                    <a:lnTo>
                      <a:pt x="1198" y="1485"/>
                    </a:lnTo>
                    <a:close/>
                    <a:moveTo>
                      <a:pt x="1161" y="1243"/>
                    </a:moveTo>
                    <a:lnTo>
                      <a:pt x="1162" y="1243"/>
                    </a:lnTo>
                    <a:lnTo>
                      <a:pt x="1162" y="1247"/>
                    </a:lnTo>
                    <a:lnTo>
                      <a:pt x="1161" y="1247"/>
                    </a:lnTo>
                    <a:lnTo>
                      <a:pt x="1161" y="1243"/>
                    </a:lnTo>
                    <a:close/>
                    <a:moveTo>
                      <a:pt x="1178" y="1478"/>
                    </a:moveTo>
                    <a:lnTo>
                      <a:pt x="1179" y="1478"/>
                    </a:lnTo>
                    <a:lnTo>
                      <a:pt x="1179" y="1481"/>
                    </a:lnTo>
                    <a:lnTo>
                      <a:pt x="1178" y="1481"/>
                    </a:lnTo>
                    <a:lnTo>
                      <a:pt x="1178" y="1478"/>
                    </a:lnTo>
                    <a:close/>
                    <a:moveTo>
                      <a:pt x="1181" y="1437"/>
                    </a:moveTo>
                    <a:lnTo>
                      <a:pt x="1185" y="1437"/>
                    </a:lnTo>
                    <a:lnTo>
                      <a:pt x="1185" y="1439"/>
                    </a:lnTo>
                    <a:lnTo>
                      <a:pt x="1181" y="1439"/>
                    </a:lnTo>
                    <a:lnTo>
                      <a:pt x="1181" y="1437"/>
                    </a:lnTo>
                    <a:close/>
                    <a:moveTo>
                      <a:pt x="1168" y="1432"/>
                    </a:moveTo>
                    <a:lnTo>
                      <a:pt x="1171" y="1432"/>
                    </a:lnTo>
                    <a:lnTo>
                      <a:pt x="1171" y="1434"/>
                    </a:lnTo>
                    <a:lnTo>
                      <a:pt x="1168" y="1434"/>
                    </a:lnTo>
                    <a:lnTo>
                      <a:pt x="1168" y="1432"/>
                    </a:lnTo>
                    <a:close/>
                    <a:moveTo>
                      <a:pt x="1219" y="983"/>
                    </a:moveTo>
                    <a:lnTo>
                      <a:pt x="1220" y="983"/>
                    </a:lnTo>
                    <a:lnTo>
                      <a:pt x="1220" y="985"/>
                    </a:lnTo>
                    <a:lnTo>
                      <a:pt x="1219" y="985"/>
                    </a:lnTo>
                    <a:lnTo>
                      <a:pt x="1219" y="983"/>
                    </a:lnTo>
                    <a:close/>
                    <a:moveTo>
                      <a:pt x="1249" y="1599"/>
                    </a:moveTo>
                    <a:lnTo>
                      <a:pt x="1251" y="1599"/>
                    </a:lnTo>
                    <a:lnTo>
                      <a:pt x="1251" y="1600"/>
                    </a:lnTo>
                    <a:lnTo>
                      <a:pt x="1249" y="1600"/>
                    </a:lnTo>
                    <a:lnTo>
                      <a:pt x="1249" y="1599"/>
                    </a:lnTo>
                    <a:close/>
                    <a:moveTo>
                      <a:pt x="1179" y="1134"/>
                    </a:moveTo>
                    <a:lnTo>
                      <a:pt x="1179" y="1138"/>
                    </a:lnTo>
                    <a:lnTo>
                      <a:pt x="1179" y="1134"/>
                    </a:lnTo>
                    <a:close/>
                    <a:moveTo>
                      <a:pt x="1174" y="1367"/>
                    </a:moveTo>
                    <a:lnTo>
                      <a:pt x="1178" y="1367"/>
                    </a:lnTo>
                    <a:lnTo>
                      <a:pt x="1178" y="1369"/>
                    </a:lnTo>
                    <a:lnTo>
                      <a:pt x="1174" y="1369"/>
                    </a:lnTo>
                    <a:lnTo>
                      <a:pt x="1174" y="1367"/>
                    </a:lnTo>
                    <a:close/>
                    <a:moveTo>
                      <a:pt x="1188" y="1056"/>
                    </a:moveTo>
                    <a:lnTo>
                      <a:pt x="1191" y="1056"/>
                    </a:lnTo>
                    <a:lnTo>
                      <a:pt x="1191" y="1058"/>
                    </a:lnTo>
                    <a:lnTo>
                      <a:pt x="1188" y="1058"/>
                    </a:lnTo>
                    <a:lnTo>
                      <a:pt x="1188" y="1056"/>
                    </a:lnTo>
                    <a:close/>
                    <a:moveTo>
                      <a:pt x="1241" y="1495"/>
                    </a:moveTo>
                    <a:lnTo>
                      <a:pt x="1244" y="1495"/>
                    </a:lnTo>
                    <a:lnTo>
                      <a:pt x="1244" y="1497"/>
                    </a:lnTo>
                    <a:lnTo>
                      <a:pt x="1241" y="1497"/>
                    </a:lnTo>
                    <a:lnTo>
                      <a:pt x="1241" y="1495"/>
                    </a:lnTo>
                    <a:close/>
                    <a:moveTo>
                      <a:pt x="1208" y="1539"/>
                    </a:moveTo>
                    <a:lnTo>
                      <a:pt x="1208" y="1538"/>
                    </a:lnTo>
                    <a:lnTo>
                      <a:pt x="1210" y="1539"/>
                    </a:lnTo>
                    <a:lnTo>
                      <a:pt x="1208" y="1539"/>
                    </a:lnTo>
                    <a:lnTo>
                      <a:pt x="1207" y="1539"/>
                    </a:lnTo>
                    <a:lnTo>
                      <a:pt x="1207" y="1538"/>
                    </a:lnTo>
                    <a:lnTo>
                      <a:pt x="1208" y="1539"/>
                    </a:lnTo>
                    <a:close/>
                    <a:moveTo>
                      <a:pt x="1222" y="1556"/>
                    </a:moveTo>
                    <a:lnTo>
                      <a:pt x="1225" y="1556"/>
                    </a:lnTo>
                    <a:lnTo>
                      <a:pt x="1225" y="1560"/>
                    </a:lnTo>
                    <a:lnTo>
                      <a:pt x="1222" y="1560"/>
                    </a:lnTo>
                    <a:lnTo>
                      <a:pt x="1222" y="1556"/>
                    </a:lnTo>
                    <a:close/>
                    <a:moveTo>
                      <a:pt x="1186" y="1526"/>
                    </a:moveTo>
                    <a:lnTo>
                      <a:pt x="1188" y="1526"/>
                    </a:lnTo>
                    <a:lnTo>
                      <a:pt x="1188" y="1529"/>
                    </a:lnTo>
                    <a:lnTo>
                      <a:pt x="1186" y="1529"/>
                    </a:lnTo>
                    <a:lnTo>
                      <a:pt x="1186" y="1526"/>
                    </a:lnTo>
                    <a:close/>
                    <a:moveTo>
                      <a:pt x="1259" y="1597"/>
                    </a:moveTo>
                    <a:lnTo>
                      <a:pt x="1261" y="1597"/>
                    </a:lnTo>
                    <a:lnTo>
                      <a:pt x="1261" y="1600"/>
                    </a:lnTo>
                    <a:lnTo>
                      <a:pt x="1259" y="1600"/>
                    </a:lnTo>
                    <a:lnTo>
                      <a:pt x="1259" y="1597"/>
                    </a:lnTo>
                    <a:close/>
                    <a:moveTo>
                      <a:pt x="1321" y="1631"/>
                    </a:moveTo>
                    <a:lnTo>
                      <a:pt x="1322" y="1631"/>
                    </a:lnTo>
                    <a:lnTo>
                      <a:pt x="1322" y="1633"/>
                    </a:lnTo>
                    <a:lnTo>
                      <a:pt x="1321" y="1633"/>
                    </a:lnTo>
                    <a:lnTo>
                      <a:pt x="1321" y="1631"/>
                    </a:lnTo>
                    <a:close/>
                    <a:moveTo>
                      <a:pt x="1207" y="1539"/>
                    </a:moveTo>
                    <a:lnTo>
                      <a:pt x="1208" y="1539"/>
                    </a:lnTo>
                    <a:lnTo>
                      <a:pt x="1208" y="1541"/>
                    </a:lnTo>
                    <a:lnTo>
                      <a:pt x="1207" y="1541"/>
                    </a:lnTo>
                    <a:lnTo>
                      <a:pt x="1207" y="1539"/>
                    </a:lnTo>
                    <a:close/>
                    <a:moveTo>
                      <a:pt x="1188" y="1208"/>
                    </a:moveTo>
                    <a:lnTo>
                      <a:pt x="1191" y="1208"/>
                    </a:lnTo>
                    <a:lnTo>
                      <a:pt x="1191" y="1211"/>
                    </a:lnTo>
                    <a:lnTo>
                      <a:pt x="1188" y="1211"/>
                    </a:lnTo>
                    <a:lnTo>
                      <a:pt x="1188" y="1208"/>
                    </a:lnTo>
                    <a:close/>
                    <a:moveTo>
                      <a:pt x="1151" y="1327"/>
                    </a:moveTo>
                    <a:lnTo>
                      <a:pt x="1152" y="1327"/>
                    </a:lnTo>
                    <a:lnTo>
                      <a:pt x="1152" y="1330"/>
                    </a:lnTo>
                    <a:lnTo>
                      <a:pt x="1151" y="1330"/>
                    </a:lnTo>
                    <a:lnTo>
                      <a:pt x="1151" y="1327"/>
                    </a:lnTo>
                    <a:close/>
                    <a:moveTo>
                      <a:pt x="1179" y="1444"/>
                    </a:moveTo>
                    <a:lnTo>
                      <a:pt x="1181" y="1444"/>
                    </a:lnTo>
                    <a:lnTo>
                      <a:pt x="1181" y="1446"/>
                    </a:lnTo>
                    <a:lnTo>
                      <a:pt x="1179" y="1446"/>
                    </a:lnTo>
                    <a:lnTo>
                      <a:pt x="1178" y="1444"/>
                    </a:lnTo>
                    <a:lnTo>
                      <a:pt x="1179" y="1444"/>
                    </a:lnTo>
                    <a:close/>
                    <a:moveTo>
                      <a:pt x="1178" y="1480"/>
                    </a:moveTo>
                    <a:lnTo>
                      <a:pt x="1181" y="1480"/>
                    </a:lnTo>
                    <a:lnTo>
                      <a:pt x="1181" y="1483"/>
                    </a:lnTo>
                    <a:lnTo>
                      <a:pt x="1178" y="1483"/>
                    </a:lnTo>
                    <a:lnTo>
                      <a:pt x="1178" y="1480"/>
                    </a:lnTo>
                    <a:close/>
                    <a:moveTo>
                      <a:pt x="1213" y="1104"/>
                    </a:moveTo>
                    <a:lnTo>
                      <a:pt x="1215" y="1104"/>
                    </a:lnTo>
                    <a:lnTo>
                      <a:pt x="1215" y="1107"/>
                    </a:lnTo>
                    <a:lnTo>
                      <a:pt x="1213" y="1107"/>
                    </a:lnTo>
                    <a:lnTo>
                      <a:pt x="1213" y="1104"/>
                    </a:lnTo>
                    <a:close/>
                    <a:moveTo>
                      <a:pt x="1202" y="1510"/>
                    </a:moveTo>
                    <a:lnTo>
                      <a:pt x="1203" y="1510"/>
                    </a:lnTo>
                    <a:lnTo>
                      <a:pt x="1203" y="1512"/>
                    </a:lnTo>
                    <a:lnTo>
                      <a:pt x="1202" y="1512"/>
                    </a:lnTo>
                    <a:lnTo>
                      <a:pt x="1202" y="1510"/>
                    </a:lnTo>
                    <a:close/>
                    <a:moveTo>
                      <a:pt x="1212" y="990"/>
                    </a:moveTo>
                    <a:lnTo>
                      <a:pt x="1213" y="990"/>
                    </a:lnTo>
                    <a:lnTo>
                      <a:pt x="1213" y="992"/>
                    </a:lnTo>
                    <a:lnTo>
                      <a:pt x="1212" y="992"/>
                    </a:lnTo>
                    <a:lnTo>
                      <a:pt x="1212" y="990"/>
                    </a:lnTo>
                    <a:close/>
                    <a:moveTo>
                      <a:pt x="1254" y="1493"/>
                    </a:moveTo>
                    <a:lnTo>
                      <a:pt x="1256" y="1493"/>
                    </a:lnTo>
                    <a:lnTo>
                      <a:pt x="1256" y="1497"/>
                    </a:lnTo>
                    <a:lnTo>
                      <a:pt x="1254" y="1497"/>
                    </a:lnTo>
                    <a:lnTo>
                      <a:pt x="1254" y="1493"/>
                    </a:lnTo>
                    <a:close/>
                    <a:moveTo>
                      <a:pt x="1222" y="990"/>
                    </a:moveTo>
                    <a:lnTo>
                      <a:pt x="1224" y="990"/>
                    </a:lnTo>
                    <a:lnTo>
                      <a:pt x="1224" y="993"/>
                    </a:lnTo>
                    <a:lnTo>
                      <a:pt x="1222" y="993"/>
                    </a:lnTo>
                    <a:lnTo>
                      <a:pt x="1222" y="990"/>
                    </a:lnTo>
                    <a:close/>
                    <a:moveTo>
                      <a:pt x="1382" y="1640"/>
                    </a:moveTo>
                    <a:lnTo>
                      <a:pt x="1385" y="1640"/>
                    </a:lnTo>
                    <a:lnTo>
                      <a:pt x="1385" y="1641"/>
                    </a:lnTo>
                    <a:lnTo>
                      <a:pt x="1382" y="1641"/>
                    </a:lnTo>
                    <a:lnTo>
                      <a:pt x="1382" y="1640"/>
                    </a:lnTo>
                    <a:close/>
                    <a:moveTo>
                      <a:pt x="1181" y="1492"/>
                    </a:moveTo>
                    <a:lnTo>
                      <a:pt x="1185" y="1492"/>
                    </a:lnTo>
                    <a:lnTo>
                      <a:pt x="1185" y="1493"/>
                    </a:lnTo>
                    <a:lnTo>
                      <a:pt x="1181" y="1493"/>
                    </a:lnTo>
                    <a:lnTo>
                      <a:pt x="1181" y="1492"/>
                    </a:lnTo>
                    <a:close/>
                    <a:moveTo>
                      <a:pt x="1217" y="1538"/>
                    </a:moveTo>
                    <a:lnTo>
                      <a:pt x="1220" y="1538"/>
                    </a:lnTo>
                    <a:lnTo>
                      <a:pt x="1220" y="1539"/>
                    </a:lnTo>
                    <a:lnTo>
                      <a:pt x="1217" y="1539"/>
                    </a:lnTo>
                    <a:lnTo>
                      <a:pt x="1217" y="1538"/>
                    </a:lnTo>
                    <a:close/>
                    <a:moveTo>
                      <a:pt x="1219" y="1566"/>
                    </a:moveTo>
                    <a:lnTo>
                      <a:pt x="1220" y="1566"/>
                    </a:lnTo>
                    <a:lnTo>
                      <a:pt x="1220" y="1568"/>
                    </a:lnTo>
                    <a:lnTo>
                      <a:pt x="1219" y="1568"/>
                    </a:lnTo>
                    <a:lnTo>
                      <a:pt x="1219" y="1566"/>
                    </a:lnTo>
                    <a:close/>
                    <a:moveTo>
                      <a:pt x="1200" y="1073"/>
                    </a:moveTo>
                    <a:lnTo>
                      <a:pt x="1202" y="1073"/>
                    </a:lnTo>
                    <a:lnTo>
                      <a:pt x="1202" y="1077"/>
                    </a:lnTo>
                    <a:lnTo>
                      <a:pt x="1200" y="1077"/>
                    </a:lnTo>
                    <a:lnTo>
                      <a:pt x="1200" y="1073"/>
                    </a:lnTo>
                    <a:close/>
                    <a:moveTo>
                      <a:pt x="1176" y="1439"/>
                    </a:moveTo>
                    <a:lnTo>
                      <a:pt x="1178" y="1439"/>
                    </a:lnTo>
                    <a:lnTo>
                      <a:pt x="1178" y="1441"/>
                    </a:lnTo>
                    <a:lnTo>
                      <a:pt x="1176" y="1441"/>
                    </a:lnTo>
                    <a:lnTo>
                      <a:pt x="1176" y="1439"/>
                    </a:lnTo>
                    <a:close/>
                    <a:moveTo>
                      <a:pt x="1336" y="1653"/>
                    </a:moveTo>
                    <a:lnTo>
                      <a:pt x="1339" y="1653"/>
                    </a:lnTo>
                    <a:lnTo>
                      <a:pt x="1339" y="1655"/>
                    </a:lnTo>
                    <a:lnTo>
                      <a:pt x="1336" y="1655"/>
                    </a:lnTo>
                    <a:lnTo>
                      <a:pt x="1336" y="1653"/>
                    </a:lnTo>
                    <a:close/>
                    <a:moveTo>
                      <a:pt x="1147" y="1330"/>
                    </a:moveTo>
                    <a:lnTo>
                      <a:pt x="1149" y="1330"/>
                    </a:lnTo>
                    <a:lnTo>
                      <a:pt x="1149" y="1332"/>
                    </a:lnTo>
                    <a:lnTo>
                      <a:pt x="1147" y="1332"/>
                    </a:lnTo>
                    <a:lnTo>
                      <a:pt x="1147" y="1330"/>
                    </a:lnTo>
                    <a:close/>
                    <a:moveTo>
                      <a:pt x="1205" y="1551"/>
                    </a:moveTo>
                    <a:lnTo>
                      <a:pt x="1207" y="1551"/>
                    </a:lnTo>
                    <a:lnTo>
                      <a:pt x="1207" y="1553"/>
                    </a:lnTo>
                    <a:lnTo>
                      <a:pt x="1205" y="1553"/>
                    </a:lnTo>
                    <a:lnTo>
                      <a:pt x="1205" y="1551"/>
                    </a:lnTo>
                    <a:close/>
                    <a:moveTo>
                      <a:pt x="1186" y="1534"/>
                    </a:moveTo>
                    <a:lnTo>
                      <a:pt x="1188" y="1534"/>
                    </a:lnTo>
                    <a:lnTo>
                      <a:pt x="1188" y="1536"/>
                    </a:lnTo>
                    <a:lnTo>
                      <a:pt x="1186" y="1536"/>
                    </a:lnTo>
                    <a:lnTo>
                      <a:pt x="1186" y="1534"/>
                    </a:lnTo>
                    <a:close/>
                    <a:moveTo>
                      <a:pt x="1169" y="1437"/>
                    </a:moveTo>
                    <a:lnTo>
                      <a:pt x="1173" y="1437"/>
                    </a:lnTo>
                    <a:lnTo>
                      <a:pt x="1173" y="1439"/>
                    </a:lnTo>
                    <a:lnTo>
                      <a:pt x="1169" y="1439"/>
                    </a:lnTo>
                    <a:lnTo>
                      <a:pt x="1169" y="1437"/>
                    </a:lnTo>
                    <a:close/>
                    <a:moveTo>
                      <a:pt x="1202" y="1066"/>
                    </a:moveTo>
                    <a:lnTo>
                      <a:pt x="1203" y="1066"/>
                    </a:lnTo>
                    <a:lnTo>
                      <a:pt x="1203" y="1068"/>
                    </a:lnTo>
                    <a:lnTo>
                      <a:pt x="1202" y="1068"/>
                    </a:lnTo>
                    <a:lnTo>
                      <a:pt x="1202" y="1066"/>
                    </a:lnTo>
                    <a:close/>
                    <a:moveTo>
                      <a:pt x="1264" y="1595"/>
                    </a:moveTo>
                    <a:lnTo>
                      <a:pt x="1268" y="1595"/>
                    </a:lnTo>
                    <a:lnTo>
                      <a:pt x="1268" y="1597"/>
                    </a:lnTo>
                    <a:lnTo>
                      <a:pt x="1264" y="1597"/>
                    </a:lnTo>
                    <a:lnTo>
                      <a:pt x="1264" y="1595"/>
                    </a:lnTo>
                    <a:close/>
                    <a:moveTo>
                      <a:pt x="1220" y="1543"/>
                    </a:moveTo>
                    <a:lnTo>
                      <a:pt x="1222" y="1543"/>
                    </a:lnTo>
                    <a:lnTo>
                      <a:pt x="1222" y="1544"/>
                    </a:lnTo>
                    <a:lnTo>
                      <a:pt x="1220" y="1544"/>
                    </a:lnTo>
                    <a:lnTo>
                      <a:pt x="1220" y="1543"/>
                    </a:lnTo>
                    <a:close/>
                    <a:moveTo>
                      <a:pt x="1191" y="1060"/>
                    </a:moveTo>
                    <a:lnTo>
                      <a:pt x="1195" y="1060"/>
                    </a:lnTo>
                    <a:lnTo>
                      <a:pt x="1195" y="1061"/>
                    </a:lnTo>
                    <a:lnTo>
                      <a:pt x="1191" y="1061"/>
                    </a:lnTo>
                    <a:lnTo>
                      <a:pt x="1191" y="1060"/>
                    </a:lnTo>
                    <a:close/>
                    <a:moveTo>
                      <a:pt x="1179" y="1422"/>
                    </a:moveTo>
                    <a:lnTo>
                      <a:pt x="1181" y="1422"/>
                    </a:lnTo>
                    <a:lnTo>
                      <a:pt x="1181" y="1424"/>
                    </a:lnTo>
                    <a:lnTo>
                      <a:pt x="1179" y="1424"/>
                    </a:lnTo>
                    <a:lnTo>
                      <a:pt x="1179" y="1422"/>
                    </a:lnTo>
                    <a:close/>
                    <a:moveTo>
                      <a:pt x="1183" y="1463"/>
                    </a:moveTo>
                    <a:lnTo>
                      <a:pt x="1185" y="1463"/>
                    </a:lnTo>
                    <a:lnTo>
                      <a:pt x="1185" y="1464"/>
                    </a:lnTo>
                    <a:lnTo>
                      <a:pt x="1183" y="1464"/>
                    </a:lnTo>
                    <a:lnTo>
                      <a:pt x="1183" y="1463"/>
                    </a:lnTo>
                    <a:close/>
                    <a:moveTo>
                      <a:pt x="1397" y="1663"/>
                    </a:moveTo>
                    <a:lnTo>
                      <a:pt x="1400" y="1663"/>
                    </a:lnTo>
                    <a:lnTo>
                      <a:pt x="1400" y="1665"/>
                    </a:lnTo>
                    <a:lnTo>
                      <a:pt x="1397" y="1665"/>
                    </a:lnTo>
                    <a:lnTo>
                      <a:pt x="1397" y="1663"/>
                    </a:lnTo>
                    <a:close/>
                    <a:moveTo>
                      <a:pt x="1190" y="1413"/>
                    </a:moveTo>
                    <a:lnTo>
                      <a:pt x="1191" y="1413"/>
                    </a:lnTo>
                    <a:lnTo>
                      <a:pt x="1191" y="1417"/>
                    </a:lnTo>
                    <a:lnTo>
                      <a:pt x="1190" y="1417"/>
                    </a:lnTo>
                    <a:lnTo>
                      <a:pt x="1190" y="1413"/>
                    </a:lnTo>
                    <a:close/>
                    <a:moveTo>
                      <a:pt x="1208" y="1449"/>
                    </a:moveTo>
                    <a:lnTo>
                      <a:pt x="1210" y="1449"/>
                    </a:lnTo>
                    <a:lnTo>
                      <a:pt x="1210" y="1451"/>
                    </a:lnTo>
                    <a:lnTo>
                      <a:pt x="1208" y="1451"/>
                    </a:lnTo>
                    <a:lnTo>
                      <a:pt x="1208" y="1449"/>
                    </a:lnTo>
                    <a:close/>
                    <a:moveTo>
                      <a:pt x="1222" y="976"/>
                    </a:moveTo>
                    <a:lnTo>
                      <a:pt x="1224" y="976"/>
                    </a:lnTo>
                    <a:lnTo>
                      <a:pt x="1224" y="980"/>
                    </a:lnTo>
                    <a:lnTo>
                      <a:pt x="1222" y="980"/>
                    </a:lnTo>
                    <a:lnTo>
                      <a:pt x="1222" y="976"/>
                    </a:lnTo>
                    <a:close/>
                    <a:moveTo>
                      <a:pt x="1346" y="1662"/>
                    </a:moveTo>
                    <a:lnTo>
                      <a:pt x="1348" y="1662"/>
                    </a:lnTo>
                    <a:lnTo>
                      <a:pt x="1348" y="1663"/>
                    </a:lnTo>
                    <a:lnTo>
                      <a:pt x="1346" y="1663"/>
                    </a:lnTo>
                    <a:lnTo>
                      <a:pt x="1346" y="1662"/>
                    </a:lnTo>
                    <a:close/>
                    <a:moveTo>
                      <a:pt x="1210" y="1063"/>
                    </a:moveTo>
                    <a:lnTo>
                      <a:pt x="1212" y="1063"/>
                    </a:lnTo>
                    <a:lnTo>
                      <a:pt x="1212" y="1065"/>
                    </a:lnTo>
                    <a:lnTo>
                      <a:pt x="1210" y="1065"/>
                    </a:lnTo>
                    <a:lnTo>
                      <a:pt x="1210" y="1063"/>
                    </a:lnTo>
                    <a:close/>
                    <a:moveTo>
                      <a:pt x="1161" y="1349"/>
                    </a:moveTo>
                    <a:lnTo>
                      <a:pt x="1162" y="1349"/>
                    </a:lnTo>
                    <a:lnTo>
                      <a:pt x="1162" y="1350"/>
                    </a:lnTo>
                    <a:lnTo>
                      <a:pt x="1161" y="1350"/>
                    </a:lnTo>
                    <a:lnTo>
                      <a:pt x="1161" y="1349"/>
                    </a:lnTo>
                    <a:close/>
                    <a:moveTo>
                      <a:pt x="1207" y="1529"/>
                    </a:moveTo>
                    <a:lnTo>
                      <a:pt x="1210" y="1529"/>
                    </a:lnTo>
                    <a:lnTo>
                      <a:pt x="1210" y="1532"/>
                    </a:lnTo>
                    <a:lnTo>
                      <a:pt x="1207" y="1532"/>
                    </a:lnTo>
                    <a:lnTo>
                      <a:pt x="1207" y="1529"/>
                    </a:lnTo>
                    <a:close/>
                    <a:moveTo>
                      <a:pt x="1205" y="1541"/>
                    </a:moveTo>
                    <a:lnTo>
                      <a:pt x="1207" y="1541"/>
                    </a:lnTo>
                    <a:lnTo>
                      <a:pt x="1207" y="1543"/>
                    </a:lnTo>
                    <a:lnTo>
                      <a:pt x="1205" y="1543"/>
                    </a:lnTo>
                    <a:lnTo>
                      <a:pt x="1205" y="1541"/>
                    </a:lnTo>
                    <a:close/>
                    <a:moveTo>
                      <a:pt x="1152" y="1257"/>
                    </a:moveTo>
                    <a:lnTo>
                      <a:pt x="1156" y="1257"/>
                    </a:lnTo>
                    <a:lnTo>
                      <a:pt x="1156" y="1259"/>
                    </a:lnTo>
                    <a:lnTo>
                      <a:pt x="1152" y="1259"/>
                    </a:lnTo>
                    <a:lnTo>
                      <a:pt x="1152" y="1257"/>
                    </a:lnTo>
                    <a:close/>
                    <a:moveTo>
                      <a:pt x="1152" y="1310"/>
                    </a:moveTo>
                    <a:lnTo>
                      <a:pt x="1154" y="1310"/>
                    </a:lnTo>
                    <a:lnTo>
                      <a:pt x="1154" y="1311"/>
                    </a:lnTo>
                    <a:lnTo>
                      <a:pt x="1152" y="1311"/>
                    </a:lnTo>
                    <a:lnTo>
                      <a:pt x="1152" y="1310"/>
                    </a:lnTo>
                    <a:close/>
                    <a:moveTo>
                      <a:pt x="1174" y="1478"/>
                    </a:moveTo>
                    <a:lnTo>
                      <a:pt x="1178" y="1478"/>
                    </a:lnTo>
                    <a:lnTo>
                      <a:pt x="1178" y="1481"/>
                    </a:lnTo>
                    <a:lnTo>
                      <a:pt x="1174" y="1481"/>
                    </a:lnTo>
                    <a:lnTo>
                      <a:pt x="1174" y="1478"/>
                    </a:lnTo>
                    <a:close/>
                    <a:moveTo>
                      <a:pt x="1164" y="1332"/>
                    </a:moveTo>
                    <a:lnTo>
                      <a:pt x="1166" y="1332"/>
                    </a:lnTo>
                    <a:lnTo>
                      <a:pt x="1166" y="1335"/>
                    </a:lnTo>
                    <a:lnTo>
                      <a:pt x="1164" y="1335"/>
                    </a:lnTo>
                    <a:lnTo>
                      <a:pt x="1164" y="1332"/>
                    </a:lnTo>
                    <a:close/>
                    <a:moveTo>
                      <a:pt x="1220" y="986"/>
                    </a:moveTo>
                    <a:lnTo>
                      <a:pt x="1222" y="986"/>
                    </a:lnTo>
                    <a:lnTo>
                      <a:pt x="1222" y="988"/>
                    </a:lnTo>
                    <a:lnTo>
                      <a:pt x="1220" y="988"/>
                    </a:lnTo>
                    <a:lnTo>
                      <a:pt x="1220" y="986"/>
                    </a:lnTo>
                    <a:close/>
                    <a:moveTo>
                      <a:pt x="1166" y="1383"/>
                    </a:moveTo>
                    <a:lnTo>
                      <a:pt x="1168" y="1383"/>
                    </a:lnTo>
                    <a:lnTo>
                      <a:pt x="1168" y="1384"/>
                    </a:lnTo>
                    <a:lnTo>
                      <a:pt x="1166" y="1384"/>
                    </a:lnTo>
                    <a:lnTo>
                      <a:pt x="1166" y="1383"/>
                    </a:lnTo>
                    <a:close/>
                    <a:moveTo>
                      <a:pt x="1173" y="1245"/>
                    </a:moveTo>
                    <a:lnTo>
                      <a:pt x="1174" y="1245"/>
                    </a:lnTo>
                    <a:lnTo>
                      <a:pt x="1174" y="1248"/>
                    </a:lnTo>
                    <a:lnTo>
                      <a:pt x="1173" y="1248"/>
                    </a:lnTo>
                    <a:lnTo>
                      <a:pt x="1173" y="1245"/>
                    </a:lnTo>
                    <a:close/>
                    <a:moveTo>
                      <a:pt x="1185" y="1099"/>
                    </a:moveTo>
                    <a:lnTo>
                      <a:pt x="1186" y="1099"/>
                    </a:lnTo>
                    <a:lnTo>
                      <a:pt x="1186" y="1100"/>
                    </a:lnTo>
                    <a:lnTo>
                      <a:pt x="1185" y="1100"/>
                    </a:lnTo>
                    <a:lnTo>
                      <a:pt x="1185" y="1099"/>
                    </a:lnTo>
                    <a:close/>
                    <a:moveTo>
                      <a:pt x="1215" y="981"/>
                    </a:moveTo>
                    <a:lnTo>
                      <a:pt x="1217" y="981"/>
                    </a:lnTo>
                    <a:lnTo>
                      <a:pt x="1217" y="983"/>
                    </a:lnTo>
                    <a:lnTo>
                      <a:pt x="1215" y="983"/>
                    </a:lnTo>
                    <a:lnTo>
                      <a:pt x="1215" y="981"/>
                    </a:lnTo>
                    <a:close/>
                    <a:moveTo>
                      <a:pt x="1154" y="1354"/>
                    </a:moveTo>
                    <a:lnTo>
                      <a:pt x="1154" y="1357"/>
                    </a:lnTo>
                    <a:lnTo>
                      <a:pt x="1154" y="1354"/>
                    </a:lnTo>
                    <a:close/>
                    <a:moveTo>
                      <a:pt x="1276" y="1595"/>
                    </a:moveTo>
                    <a:lnTo>
                      <a:pt x="1280" y="1595"/>
                    </a:lnTo>
                    <a:lnTo>
                      <a:pt x="1280" y="1597"/>
                    </a:lnTo>
                    <a:lnTo>
                      <a:pt x="1276" y="1597"/>
                    </a:lnTo>
                    <a:lnTo>
                      <a:pt x="1276" y="1595"/>
                    </a:lnTo>
                    <a:close/>
                    <a:moveTo>
                      <a:pt x="1190" y="1066"/>
                    </a:moveTo>
                    <a:lnTo>
                      <a:pt x="1191" y="1066"/>
                    </a:lnTo>
                    <a:lnTo>
                      <a:pt x="1190" y="1066"/>
                    </a:lnTo>
                    <a:close/>
                    <a:moveTo>
                      <a:pt x="1292" y="1616"/>
                    </a:moveTo>
                    <a:lnTo>
                      <a:pt x="1293" y="1616"/>
                    </a:lnTo>
                    <a:lnTo>
                      <a:pt x="1293" y="1618"/>
                    </a:lnTo>
                    <a:lnTo>
                      <a:pt x="1292" y="1618"/>
                    </a:lnTo>
                    <a:lnTo>
                      <a:pt x="1292" y="1616"/>
                    </a:lnTo>
                    <a:close/>
                    <a:moveTo>
                      <a:pt x="1149" y="1311"/>
                    </a:moveTo>
                    <a:lnTo>
                      <a:pt x="1151" y="1311"/>
                    </a:lnTo>
                    <a:lnTo>
                      <a:pt x="1151" y="1313"/>
                    </a:lnTo>
                    <a:lnTo>
                      <a:pt x="1149" y="1313"/>
                    </a:lnTo>
                    <a:lnTo>
                      <a:pt x="1149" y="1311"/>
                    </a:lnTo>
                    <a:close/>
                    <a:moveTo>
                      <a:pt x="1203" y="1429"/>
                    </a:moveTo>
                    <a:lnTo>
                      <a:pt x="1205" y="1429"/>
                    </a:lnTo>
                    <a:lnTo>
                      <a:pt x="1205" y="1430"/>
                    </a:lnTo>
                    <a:lnTo>
                      <a:pt x="1203" y="1430"/>
                    </a:lnTo>
                    <a:lnTo>
                      <a:pt x="1203" y="1429"/>
                    </a:lnTo>
                    <a:close/>
                    <a:moveTo>
                      <a:pt x="1246" y="1582"/>
                    </a:moveTo>
                    <a:lnTo>
                      <a:pt x="1247" y="1582"/>
                    </a:lnTo>
                    <a:lnTo>
                      <a:pt x="1247" y="1583"/>
                    </a:lnTo>
                    <a:lnTo>
                      <a:pt x="1246" y="1583"/>
                    </a:lnTo>
                    <a:lnTo>
                      <a:pt x="1246" y="1582"/>
                    </a:lnTo>
                    <a:close/>
                    <a:moveTo>
                      <a:pt x="1149" y="1342"/>
                    </a:moveTo>
                    <a:lnTo>
                      <a:pt x="1151" y="1342"/>
                    </a:lnTo>
                    <a:lnTo>
                      <a:pt x="1151" y="1345"/>
                    </a:lnTo>
                    <a:lnTo>
                      <a:pt x="1149" y="1345"/>
                    </a:lnTo>
                    <a:lnTo>
                      <a:pt x="1149" y="1342"/>
                    </a:lnTo>
                    <a:close/>
                    <a:moveTo>
                      <a:pt x="1203" y="1104"/>
                    </a:moveTo>
                    <a:lnTo>
                      <a:pt x="1205" y="1104"/>
                    </a:lnTo>
                    <a:lnTo>
                      <a:pt x="1205" y="1105"/>
                    </a:lnTo>
                    <a:lnTo>
                      <a:pt x="1203" y="1105"/>
                    </a:lnTo>
                    <a:lnTo>
                      <a:pt x="1203" y="1104"/>
                    </a:lnTo>
                    <a:close/>
                    <a:moveTo>
                      <a:pt x="1213" y="1107"/>
                    </a:moveTo>
                    <a:lnTo>
                      <a:pt x="1215" y="1107"/>
                    </a:lnTo>
                    <a:lnTo>
                      <a:pt x="1215" y="1109"/>
                    </a:lnTo>
                    <a:lnTo>
                      <a:pt x="1213" y="1109"/>
                    </a:lnTo>
                    <a:lnTo>
                      <a:pt x="1213" y="1107"/>
                    </a:lnTo>
                    <a:close/>
                    <a:moveTo>
                      <a:pt x="1183" y="1194"/>
                    </a:moveTo>
                    <a:lnTo>
                      <a:pt x="1185" y="1194"/>
                    </a:lnTo>
                    <a:lnTo>
                      <a:pt x="1185" y="1196"/>
                    </a:lnTo>
                    <a:lnTo>
                      <a:pt x="1183" y="1196"/>
                    </a:lnTo>
                    <a:lnTo>
                      <a:pt x="1183" y="1194"/>
                    </a:lnTo>
                    <a:close/>
                    <a:moveTo>
                      <a:pt x="1368" y="1662"/>
                    </a:moveTo>
                    <a:lnTo>
                      <a:pt x="1370" y="1662"/>
                    </a:lnTo>
                    <a:lnTo>
                      <a:pt x="1370" y="1663"/>
                    </a:lnTo>
                    <a:lnTo>
                      <a:pt x="1368" y="1663"/>
                    </a:lnTo>
                    <a:lnTo>
                      <a:pt x="1368" y="1662"/>
                    </a:lnTo>
                    <a:close/>
                    <a:moveTo>
                      <a:pt x="1329" y="1626"/>
                    </a:moveTo>
                    <a:lnTo>
                      <a:pt x="1331" y="1626"/>
                    </a:lnTo>
                    <a:lnTo>
                      <a:pt x="1329" y="1626"/>
                    </a:lnTo>
                    <a:lnTo>
                      <a:pt x="1331" y="1626"/>
                    </a:lnTo>
                    <a:lnTo>
                      <a:pt x="1329" y="1626"/>
                    </a:lnTo>
                    <a:lnTo>
                      <a:pt x="1327" y="1626"/>
                    </a:lnTo>
                    <a:lnTo>
                      <a:pt x="1329" y="1626"/>
                    </a:lnTo>
                    <a:close/>
                    <a:moveTo>
                      <a:pt x="1219" y="992"/>
                    </a:moveTo>
                    <a:lnTo>
                      <a:pt x="1222" y="992"/>
                    </a:lnTo>
                    <a:lnTo>
                      <a:pt x="1222" y="993"/>
                    </a:lnTo>
                    <a:lnTo>
                      <a:pt x="1219" y="993"/>
                    </a:lnTo>
                    <a:lnTo>
                      <a:pt x="1219" y="992"/>
                    </a:lnTo>
                    <a:close/>
                    <a:moveTo>
                      <a:pt x="1169" y="1388"/>
                    </a:moveTo>
                    <a:lnTo>
                      <a:pt x="1171" y="1388"/>
                    </a:lnTo>
                    <a:lnTo>
                      <a:pt x="1171" y="1390"/>
                    </a:lnTo>
                    <a:lnTo>
                      <a:pt x="1169" y="1390"/>
                    </a:lnTo>
                    <a:lnTo>
                      <a:pt x="1169" y="1388"/>
                    </a:lnTo>
                    <a:close/>
                    <a:moveTo>
                      <a:pt x="1185" y="1476"/>
                    </a:moveTo>
                    <a:lnTo>
                      <a:pt x="1186" y="1476"/>
                    </a:lnTo>
                    <a:lnTo>
                      <a:pt x="1186" y="1478"/>
                    </a:lnTo>
                    <a:lnTo>
                      <a:pt x="1185" y="1478"/>
                    </a:lnTo>
                    <a:lnTo>
                      <a:pt x="1185" y="1476"/>
                    </a:lnTo>
                    <a:close/>
                    <a:moveTo>
                      <a:pt x="1220" y="1058"/>
                    </a:moveTo>
                    <a:lnTo>
                      <a:pt x="1222" y="1058"/>
                    </a:lnTo>
                    <a:lnTo>
                      <a:pt x="1222" y="1060"/>
                    </a:lnTo>
                    <a:lnTo>
                      <a:pt x="1220" y="1060"/>
                    </a:lnTo>
                    <a:lnTo>
                      <a:pt x="1220" y="1058"/>
                    </a:lnTo>
                    <a:close/>
                    <a:moveTo>
                      <a:pt x="1186" y="1476"/>
                    </a:moveTo>
                    <a:lnTo>
                      <a:pt x="1190" y="1476"/>
                    </a:lnTo>
                    <a:lnTo>
                      <a:pt x="1190" y="1478"/>
                    </a:lnTo>
                    <a:lnTo>
                      <a:pt x="1186" y="1478"/>
                    </a:lnTo>
                    <a:lnTo>
                      <a:pt x="1186" y="1476"/>
                    </a:lnTo>
                    <a:close/>
                    <a:moveTo>
                      <a:pt x="1334" y="1653"/>
                    </a:moveTo>
                    <a:lnTo>
                      <a:pt x="1334" y="1657"/>
                    </a:lnTo>
                    <a:lnTo>
                      <a:pt x="1334" y="1653"/>
                    </a:lnTo>
                    <a:close/>
                    <a:moveTo>
                      <a:pt x="1200" y="1141"/>
                    </a:moveTo>
                    <a:lnTo>
                      <a:pt x="1202" y="1141"/>
                    </a:lnTo>
                    <a:lnTo>
                      <a:pt x="1202" y="1143"/>
                    </a:lnTo>
                    <a:lnTo>
                      <a:pt x="1200" y="1143"/>
                    </a:lnTo>
                    <a:lnTo>
                      <a:pt x="1200" y="1141"/>
                    </a:lnTo>
                    <a:close/>
                    <a:moveTo>
                      <a:pt x="1140" y="1306"/>
                    </a:moveTo>
                    <a:lnTo>
                      <a:pt x="1142" y="1306"/>
                    </a:lnTo>
                    <a:lnTo>
                      <a:pt x="1142" y="1310"/>
                    </a:lnTo>
                    <a:lnTo>
                      <a:pt x="1140" y="1310"/>
                    </a:lnTo>
                    <a:lnTo>
                      <a:pt x="1140" y="1306"/>
                    </a:lnTo>
                    <a:close/>
                    <a:moveTo>
                      <a:pt x="1190" y="1524"/>
                    </a:moveTo>
                    <a:lnTo>
                      <a:pt x="1191" y="1524"/>
                    </a:lnTo>
                    <a:lnTo>
                      <a:pt x="1191" y="1526"/>
                    </a:lnTo>
                    <a:lnTo>
                      <a:pt x="1190" y="1526"/>
                    </a:lnTo>
                    <a:lnTo>
                      <a:pt x="1190" y="1524"/>
                    </a:lnTo>
                    <a:close/>
                    <a:moveTo>
                      <a:pt x="1200" y="1060"/>
                    </a:moveTo>
                    <a:lnTo>
                      <a:pt x="1202" y="1060"/>
                    </a:lnTo>
                    <a:lnTo>
                      <a:pt x="1202" y="1061"/>
                    </a:lnTo>
                    <a:lnTo>
                      <a:pt x="1200" y="1061"/>
                    </a:lnTo>
                    <a:lnTo>
                      <a:pt x="1200" y="1060"/>
                    </a:lnTo>
                    <a:close/>
                    <a:moveTo>
                      <a:pt x="1161" y="1298"/>
                    </a:moveTo>
                    <a:lnTo>
                      <a:pt x="1162" y="1298"/>
                    </a:lnTo>
                    <a:lnTo>
                      <a:pt x="1162" y="1299"/>
                    </a:lnTo>
                    <a:lnTo>
                      <a:pt x="1161" y="1299"/>
                    </a:lnTo>
                    <a:lnTo>
                      <a:pt x="1161" y="1298"/>
                    </a:lnTo>
                    <a:close/>
                    <a:moveTo>
                      <a:pt x="1207" y="1492"/>
                    </a:moveTo>
                    <a:lnTo>
                      <a:pt x="1208" y="1492"/>
                    </a:lnTo>
                    <a:lnTo>
                      <a:pt x="1208" y="1493"/>
                    </a:lnTo>
                    <a:lnTo>
                      <a:pt x="1207" y="1493"/>
                    </a:lnTo>
                    <a:lnTo>
                      <a:pt x="1207" y="1492"/>
                    </a:lnTo>
                    <a:close/>
                    <a:moveTo>
                      <a:pt x="1416" y="1680"/>
                    </a:moveTo>
                    <a:lnTo>
                      <a:pt x="1417" y="1680"/>
                    </a:lnTo>
                    <a:lnTo>
                      <a:pt x="1417" y="1682"/>
                    </a:lnTo>
                    <a:lnTo>
                      <a:pt x="1416" y="1682"/>
                    </a:lnTo>
                    <a:lnTo>
                      <a:pt x="1416" y="1680"/>
                    </a:lnTo>
                    <a:close/>
                    <a:moveTo>
                      <a:pt x="1244" y="1502"/>
                    </a:moveTo>
                    <a:lnTo>
                      <a:pt x="1246" y="1502"/>
                    </a:lnTo>
                    <a:lnTo>
                      <a:pt x="1246" y="1504"/>
                    </a:lnTo>
                    <a:lnTo>
                      <a:pt x="1244" y="1504"/>
                    </a:lnTo>
                    <a:lnTo>
                      <a:pt x="1244" y="1502"/>
                    </a:lnTo>
                    <a:close/>
                    <a:moveTo>
                      <a:pt x="1193" y="1124"/>
                    </a:moveTo>
                    <a:lnTo>
                      <a:pt x="1193" y="1126"/>
                    </a:lnTo>
                    <a:lnTo>
                      <a:pt x="1193" y="1124"/>
                    </a:lnTo>
                    <a:close/>
                    <a:moveTo>
                      <a:pt x="1176" y="1117"/>
                    </a:moveTo>
                    <a:lnTo>
                      <a:pt x="1178" y="1117"/>
                    </a:lnTo>
                    <a:lnTo>
                      <a:pt x="1178" y="1119"/>
                    </a:lnTo>
                    <a:lnTo>
                      <a:pt x="1176" y="1119"/>
                    </a:lnTo>
                    <a:lnTo>
                      <a:pt x="1176" y="1117"/>
                    </a:lnTo>
                    <a:close/>
                    <a:moveTo>
                      <a:pt x="1161" y="1160"/>
                    </a:moveTo>
                    <a:lnTo>
                      <a:pt x="1162" y="1160"/>
                    </a:lnTo>
                    <a:lnTo>
                      <a:pt x="1162" y="1162"/>
                    </a:lnTo>
                    <a:lnTo>
                      <a:pt x="1161" y="1162"/>
                    </a:lnTo>
                    <a:lnTo>
                      <a:pt x="1161" y="1160"/>
                    </a:lnTo>
                    <a:close/>
                    <a:moveTo>
                      <a:pt x="1190" y="1060"/>
                    </a:moveTo>
                    <a:lnTo>
                      <a:pt x="1193" y="1060"/>
                    </a:lnTo>
                    <a:lnTo>
                      <a:pt x="1190" y="1060"/>
                    </a:lnTo>
                    <a:close/>
                    <a:moveTo>
                      <a:pt x="1162" y="1405"/>
                    </a:moveTo>
                    <a:lnTo>
                      <a:pt x="1164" y="1405"/>
                    </a:lnTo>
                    <a:lnTo>
                      <a:pt x="1164" y="1407"/>
                    </a:lnTo>
                    <a:lnTo>
                      <a:pt x="1162" y="1407"/>
                    </a:lnTo>
                    <a:lnTo>
                      <a:pt x="1162" y="1405"/>
                    </a:lnTo>
                    <a:close/>
                    <a:moveTo>
                      <a:pt x="1176" y="1470"/>
                    </a:moveTo>
                    <a:lnTo>
                      <a:pt x="1178" y="1470"/>
                    </a:lnTo>
                    <a:lnTo>
                      <a:pt x="1178" y="1471"/>
                    </a:lnTo>
                    <a:lnTo>
                      <a:pt x="1176" y="1471"/>
                    </a:lnTo>
                    <a:lnTo>
                      <a:pt x="1176" y="1470"/>
                    </a:lnTo>
                    <a:close/>
                    <a:moveTo>
                      <a:pt x="1212" y="1105"/>
                    </a:moveTo>
                    <a:lnTo>
                      <a:pt x="1213" y="1105"/>
                    </a:lnTo>
                    <a:lnTo>
                      <a:pt x="1212" y="1105"/>
                    </a:lnTo>
                    <a:close/>
                    <a:moveTo>
                      <a:pt x="1205" y="1097"/>
                    </a:moveTo>
                    <a:lnTo>
                      <a:pt x="1207" y="1097"/>
                    </a:lnTo>
                    <a:lnTo>
                      <a:pt x="1207" y="1099"/>
                    </a:lnTo>
                    <a:lnTo>
                      <a:pt x="1205" y="1099"/>
                    </a:lnTo>
                    <a:lnTo>
                      <a:pt x="1205" y="1097"/>
                    </a:lnTo>
                    <a:close/>
                    <a:moveTo>
                      <a:pt x="1241" y="1592"/>
                    </a:moveTo>
                    <a:lnTo>
                      <a:pt x="1242" y="1592"/>
                    </a:lnTo>
                    <a:lnTo>
                      <a:pt x="1242" y="1594"/>
                    </a:lnTo>
                    <a:lnTo>
                      <a:pt x="1241" y="1594"/>
                    </a:lnTo>
                    <a:lnTo>
                      <a:pt x="1241" y="1592"/>
                    </a:lnTo>
                    <a:close/>
                    <a:moveTo>
                      <a:pt x="1185" y="1461"/>
                    </a:moveTo>
                    <a:lnTo>
                      <a:pt x="1185" y="1463"/>
                    </a:lnTo>
                    <a:lnTo>
                      <a:pt x="1185" y="1461"/>
                    </a:lnTo>
                    <a:close/>
                    <a:moveTo>
                      <a:pt x="1191" y="1122"/>
                    </a:moveTo>
                    <a:lnTo>
                      <a:pt x="1193" y="1122"/>
                    </a:lnTo>
                    <a:lnTo>
                      <a:pt x="1193" y="1124"/>
                    </a:lnTo>
                    <a:lnTo>
                      <a:pt x="1191" y="1124"/>
                    </a:lnTo>
                    <a:lnTo>
                      <a:pt x="1191" y="1122"/>
                    </a:lnTo>
                    <a:close/>
                    <a:moveTo>
                      <a:pt x="1232" y="959"/>
                    </a:moveTo>
                    <a:lnTo>
                      <a:pt x="1234" y="959"/>
                    </a:lnTo>
                    <a:lnTo>
                      <a:pt x="1232" y="959"/>
                    </a:lnTo>
                    <a:close/>
                    <a:moveTo>
                      <a:pt x="1332" y="1590"/>
                    </a:moveTo>
                    <a:lnTo>
                      <a:pt x="1334" y="1590"/>
                    </a:lnTo>
                    <a:lnTo>
                      <a:pt x="1332" y="1590"/>
                    </a:lnTo>
                    <a:close/>
                    <a:moveTo>
                      <a:pt x="1179" y="1488"/>
                    </a:moveTo>
                    <a:lnTo>
                      <a:pt x="1179" y="1490"/>
                    </a:lnTo>
                    <a:lnTo>
                      <a:pt x="1179" y="1488"/>
                    </a:lnTo>
                    <a:close/>
                    <a:moveTo>
                      <a:pt x="1298" y="1621"/>
                    </a:moveTo>
                    <a:lnTo>
                      <a:pt x="1300" y="1621"/>
                    </a:lnTo>
                    <a:lnTo>
                      <a:pt x="1300" y="1624"/>
                    </a:lnTo>
                    <a:lnTo>
                      <a:pt x="1298" y="1624"/>
                    </a:lnTo>
                    <a:lnTo>
                      <a:pt x="1298" y="1621"/>
                    </a:lnTo>
                    <a:close/>
                    <a:moveTo>
                      <a:pt x="1258" y="1558"/>
                    </a:moveTo>
                    <a:lnTo>
                      <a:pt x="1259" y="1558"/>
                    </a:lnTo>
                    <a:lnTo>
                      <a:pt x="1259" y="1560"/>
                    </a:lnTo>
                    <a:lnTo>
                      <a:pt x="1258" y="1560"/>
                    </a:lnTo>
                    <a:lnTo>
                      <a:pt x="1258" y="1558"/>
                    </a:lnTo>
                    <a:close/>
                    <a:moveTo>
                      <a:pt x="1162" y="1376"/>
                    </a:moveTo>
                    <a:lnTo>
                      <a:pt x="1164" y="1376"/>
                    </a:lnTo>
                    <a:lnTo>
                      <a:pt x="1164" y="1378"/>
                    </a:lnTo>
                    <a:lnTo>
                      <a:pt x="1162" y="1378"/>
                    </a:lnTo>
                    <a:lnTo>
                      <a:pt x="1162" y="1376"/>
                    </a:lnTo>
                    <a:close/>
                    <a:moveTo>
                      <a:pt x="1210" y="1490"/>
                    </a:moveTo>
                    <a:lnTo>
                      <a:pt x="1210" y="1492"/>
                    </a:lnTo>
                    <a:lnTo>
                      <a:pt x="1210" y="1490"/>
                    </a:lnTo>
                    <a:close/>
                    <a:moveTo>
                      <a:pt x="1208" y="1553"/>
                    </a:moveTo>
                    <a:lnTo>
                      <a:pt x="1208" y="1556"/>
                    </a:lnTo>
                    <a:lnTo>
                      <a:pt x="1208" y="1553"/>
                    </a:lnTo>
                    <a:close/>
                    <a:moveTo>
                      <a:pt x="1264" y="1595"/>
                    </a:moveTo>
                    <a:lnTo>
                      <a:pt x="1266" y="1595"/>
                    </a:lnTo>
                    <a:lnTo>
                      <a:pt x="1266" y="1597"/>
                    </a:lnTo>
                    <a:lnTo>
                      <a:pt x="1264" y="1597"/>
                    </a:lnTo>
                    <a:lnTo>
                      <a:pt x="1264" y="1595"/>
                    </a:lnTo>
                    <a:close/>
                    <a:moveTo>
                      <a:pt x="1208" y="1478"/>
                    </a:moveTo>
                    <a:lnTo>
                      <a:pt x="1210" y="1478"/>
                    </a:lnTo>
                    <a:lnTo>
                      <a:pt x="1210" y="1480"/>
                    </a:lnTo>
                    <a:lnTo>
                      <a:pt x="1208" y="1480"/>
                    </a:lnTo>
                    <a:lnTo>
                      <a:pt x="1208" y="1478"/>
                    </a:lnTo>
                    <a:close/>
                    <a:moveTo>
                      <a:pt x="1173" y="1408"/>
                    </a:moveTo>
                    <a:lnTo>
                      <a:pt x="1174" y="1408"/>
                    </a:lnTo>
                    <a:lnTo>
                      <a:pt x="1174" y="1410"/>
                    </a:lnTo>
                    <a:lnTo>
                      <a:pt x="1173" y="1410"/>
                    </a:lnTo>
                    <a:lnTo>
                      <a:pt x="1173" y="1408"/>
                    </a:lnTo>
                    <a:close/>
                    <a:moveTo>
                      <a:pt x="1358" y="1650"/>
                    </a:moveTo>
                    <a:lnTo>
                      <a:pt x="1360" y="1650"/>
                    </a:lnTo>
                    <a:lnTo>
                      <a:pt x="1360" y="1652"/>
                    </a:lnTo>
                    <a:lnTo>
                      <a:pt x="1358" y="1652"/>
                    </a:lnTo>
                    <a:lnTo>
                      <a:pt x="1358" y="1650"/>
                    </a:lnTo>
                    <a:close/>
                    <a:moveTo>
                      <a:pt x="1179" y="1276"/>
                    </a:moveTo>
                    <a:lnTo>
                      <a:pt x="1181" y="1276"/>
                    </a:lnTo>
                    <a:lnTo>
                      <a:pt x="1181" y="1277"/>
                    </a:lnTo>
                    <a:lnTo>
                      <a:pt x="1179" y="1277"/>
                    </a:lnTo>
                    <a:lnTo>
                      <a:pt x="1179" y="1276"/>
                    </a:lnTo>
                    <a:close/>
                    <a:moveTo>
                      <a:pt x="1253" y="1572"/>
                    </a:moveTo>
                    <a:lnTo>
                      <a:pt x="1254" y="1572"/>
                    </a:lnTo>
                    <a:lnTo>
                      <a:pt x="1254" y="1575"/>
                    </a:lnTo>
                    <a:lnTo>
                      <a:pt x="1253" y="1575"/>
                    </a:lnTo>
                    <a:lnTo>
                      <a:pt x="1253" y="1572"/>
                    </a:lnTo>
                    <a:close/>
                    <a:moveTo>
                      <a:pt x="1156" y="1245"/>
                    </a:moveTo>
                    <a:lnTo>
                      <a:pt x="1157" y="1245"/>
                    </a:lnTo>
                    <a:lnTo>
                      <a:pt x="1157" y="1247"/>
                    </a:lnTo>
                    <a:lnTo>
                      <a:pt x="1156" y="1247"/>
                    </a:lnTo>
                    <a:lnTo>
                      <a:pt x="1156" y="1245"/>
                    </a:lnTo>
                    <a:close/>
                    <a:moveTo>
                      <a:pt x="1202" y="1243"/>
                    </a:moveTo>
                    <a:lnTo>
                      <a:pt x="1203" y="1243"/>
                    </a:lnTo>
                    <a:lnTo>
                      <a:pt x="1203" y="1245"/>
                    </a:lnTo>
                    <a:lnTo>
                      <a:pt x="1202" y="1245"/>
                    </a:lnTo>
                    <a:lnTo>
                      <a:pt x="1202" y="1243"/>
                    </a:lnTo>
                    <a:close/>
                    <a:moveTo>
                      <a:pt x="1254" y="1573"/>
                    </a:moveTo>
                    <a:lnTo>
                      <a:pt x="1254" y="1577"/>
                    </a:lnTo>
                    <a:lnTo>
                      <a:pt x="1254" y="1573"/>
                    </a:lnTo>
                    <a:close/>
                    <a:moveTo>
                      <a:pt x="1176" y="1119"/>
                    </a:moveTo>
                    <a:lnTo>
                      <a:pt x="1178" y="1119"/>
                    </a:lnTo>
                    <a:lnTo>
                      <a:pt x="1178" y="1121"/>
                    </a:lnTo>
                    <a:lnTo>
                      <a:pt x="1176" y="1121"/>
                    </a:lnTo>
                    <a:lnTo>
                      <a:pt x="1176" y="1119"/>
                    </a:lnTo>
                    <a:close/>
                    <a:moveTo>
                      <a:pt x="1227" y="1582"/>
                    </a:moveTo>
                    <a:lnTo>
                      <a:pt x="1227" y="1585"/>
                    </a:lnTo>
                    <a:lnTo>
                      <a:pt x="1227" y="1582"/>
                    </a:lnTo>
                    <a:close/>
                    <a:moveTo>
                      <a:pt x="1190" y="1483"/>
                    </a:moveTo>
                    <a:lnTo>
                      <a:pt x="1190" y="1485"/>
                    </a:lnTo>
                    <a:lnTo>
                      <a:pt x="1190" y="1483"/>
                    </a:lnTo>
                    <a:close/>
                    <a:moveTo>
                      <a:pt x="1176" y="1197"/>
                    </a:moveTo>
                    <a:lnTo>
                      <a:pt x="1178" y="1197"/>
                    </a:lnTo>
                    <a:lnTo>
                      <a:pt x="1178" y="1199"/>
                    </a:lnTo>
                    <a:lnTo>
                      <a:pt x="1176" y="1199"/>
                    </a:lnTo>
                    <a:lnTo>
                      <a:pt x="1176" y="1197"/>
                    </a:lnTo>
                    <a:close/>
                    <a:moveTo>
                      <a:pt x="1253" y="1498"/>
                    </a:moveTo>
                    <a:lnTo>
                      <a:pt x="1253" y="1500"/>
                    </a:lnTo>
                    <a:lnTo>
                      <a:pt x="1253" y="1498"/>
                    </a:lnTo>
                    <a:close/>
                    <a:moveTo>
                      <a:pt x="1186" y="1384"/>
                    </a:moveTo>
                    <a:lnTo>
                      <a:pt x="1188" y="1384"/>
                    </a:lnTo>
                    <a:lnTo>
                      <a:pt x="1188" y="1386"/>
                    </a:lnTo>
                    <a:lnTo>
                      <a:pt x="1186" y="1386"/>
                    </a:lnTo>
                    <a:lnTo>
                      <a:pt x="1186" y="1384"/>
                    </a:lnTo>
                    <a:close/>
                    <a:moveTo>
                      <a:pt x="1207" y="1071"/>
                    </a:moveTo>
                    <a:lnTo>
                      <a:pt x="1208" y="1071"/>
                    </a:lnTo>
                    <a:lnTo>
                      <a:pt x="1208" y="1073"/>
                    </a:lnTo>
                    <a:lnTo>
                      <a:pt x="1207" y="1073"/>
                    </a:lnTo>
                    <a:lnTo>
                      <a:pt x="1207" y="1071"/>
                    </a:lnTo>
                    <a:close/>
                    <a:moveTo>
                      <a:pt x="1225" y="1575"/>
                    </a:moveTo>
                    <a:lnTo>
                      <a:pt x="1229" y="1575"/>
                    </a:lnTo>
                    <a:lnTo>
                      <a:pt x="1229" y="1577"/>
                    </a:lnTo>
                    <a:lnTo>
                      <a:pt x="1225" y="1577"/>
                    </a:lnTo>
                    <a:lnTo>
                      <a:pt x="1225" y="1575"/>
                    </a:lnTo>
                    <a:close/>
                    <a:moveTo>
                      <a:pt x="1220" y="980"/>
                    </a:moveTo>
                    <a:lnTo>
                      <a:pt x="1222" y="980"/>
                    </a:lnTo>
                    <a:lnTo>
                      <a:pt x="1220" y="980"/>
                    </a:lnTo>
                    <a:close/>
                    <a:moveTo>
                      <a:pt x="1186" y="1191"/>
                    </a:moveTo>
                    <a:lnTo>
                      <a:pt x="1188" y="1191"/>
                    </a:lnTo>
                    <a:lnTo>
                      <a:pt x="1188" y="1192"/>
                    </a:lnTo>
                    <a:lnTo>
                      <a:pt x="1186" y="1192"/>
                    </a:lnTo>
                    <a:lnTo>
                      <a:pt x="1186" y="1191"/>
                    </a:lnTo>
                    <a:close/>
                    <a:moveTo>
                      <a:pt x="1224" y="1580"/>
                    </a:moveTo>
                    <a:lnTo>
                      <a:pt x="1224" y="1582"/>
                    </a:lnTo>
                    <a:lnTo>
                      <a:pt x="1224" y="1580"/>
                    </a:lnTo>
                    <a:close/>
                    <a:moveTo>
                      <a:pt x="1208" y="1553"/>
                    </a:moveTo>
                    <a:lnTo>
                      <a:pt x="1210" y="1553"/>
                    </a:lnTo>
                    <a:lnTo>
                      <a:pt x="1210" y="1555"/>
                    </a:lnTo>
                    <a:lnTo>
                      <a:pt x="1208" y="1555"/>
                    </a:lnTo>
                    <a:lnTo>
                      <a:pt x="1208" y="1553"/>
                    </a:lnTo>
                    <a:close/>
                    <a:moveTo>
                      <a:pt x="1219" y="1524"/>
                    </a:moveTo>
                    <a:lnTo>
                      <a:pt x="1222" y="1524"/>
                    </a:lnTo>
                    <a:lnTo>
                      <a:pt x="1222" y="1526"/>
                    </a:lnTo>
                    <a:lnTo>
                      <a:pt x="1219" y="1526"/>
                    </a:lnTo>
                    <a:lnTo>
                      <a:pt x="1219" y="1524"/>
                    </a:lnTo>
                    <a:close/>
                    <a:moveTo>
                      <a:pt x="1139" y="1310"/>
                    </a:moveTo>
                    <a:lnTo>
                      <a:pt x="1142" y="1310"/>
                    </a:lnTo>
                    <a:lnTo>
                      <a:pt x="1142" y="1311"/>
                    </a:lnTo>
                    <a:lnTo>
                      <a:pt x="1139" y="1311"/>
                    </a:lnTo>
                    <a:lnTo>
                      <a:pt x="1139" y="1310"/>
                    </a:lnTo>
                    <a:close/>
                    <a:moveTo>
                      <a:pt x="1225" y="981"/>
                    </a:moveTo>
                    <a:lnTo>
                      <a:pt x="1227" y="981"/>
                    </a:lnTo>
                    <a:lnTo>
                      <a:pt x="1227" y="983"/>
                    </a:lnTo>
                    <a:lnTo>
                      <a:pt x="1225" y="983"/>
                    </a:lnTo>
                    <a:lnTo>
                      <a:pt x="1225" y="981"/>
                    </a:lnTo>
                    <a:close/>
                    <a:moveTo>
                      <a:pt x="1140" y="1303"/>
                    </a:moveTo>
                    <a:lnTo>
                      <a:pt x="1142" y="1303"/>
                    </a:lnTo>
                    <a:lnTo>
                      <a:pt x="1142" y="1306"/>
                    </a:lnTo>
                    <a:lnTo>
                      <a:pt x="1140" y="1306"/>
                    </a:lnTo>
                    <a:lnTo>
                      <a:pt x="1140" y="1303"/>
                    </a:lnTo>
                    <a:close/>
                    <a:moveTo>
                      <a:pt x="1326" y="1653"/>
                    </a:moveTo>
                    <a:lnTo>
                      <a:pt x="1327" y="1653"/>
                    </a:lnTo>
                    <a:lnTo>
                      <a:pt x="1326" y="1653"/>
                    </a:lnTo>
                    <a:close/>
                    <a:moveTo>
                      <a:pt x="1246" y="1534"/>
                    </a:moveTo>
                    <a:lnTo>
                      <a:pt x="1247" y="1534"/>
                    </a:lnTo>
                    <a:lnTo>
                      <a:pt x="1247" y="1536"/>
                    </a:lnTo>
                    <a:lnTo>
                      <a:pt x="1246" y="1536"/>
                    </a:lnTo>
                    <a:lnTo>
                      <a:pt x="1246" y="1534"/>
                    </a:lnTo>
                    <a:close/>
                    <a:moveTo>
                      <a:pt x="1276" y="1590"/>
                    </a:moveTo>
                    <a:lnTo>
                      <a:pt x="1278" y="1590"/>
                    </a:lnTo>
                    <a:lnTo>
                      <a:pt x="1278" y="1592"/>
                    </a:lnTo>
                    <a:lnTo>
                      <a:pt x="1276" y="1592"/>
                    </a:lnTo>
                    <a:lnTo>
                      <a:pt x="1276" y="1590"/>
                    </a:lnTo>
                    <a:close/>
                    <a:moveTo>
                      <a:pt x="1270" y="1602"/>
                    </a:moveTo>
                    <a:lnTo>
                      <a:pt x="1271" y="1602"/>
                    </a:lnTo>
                    <a:lnTo>
                      <a:pt x="1271" y="1604"/>
                    </a:lnTo>
                    <a:lnTo>
                      <a:pt x="1270" y="1604"/>
                    </a:lnTo>
                    <a:lnTo>
                      <a:pt x="1270" y="1602"/>
                    </a:lnTo>
                    <a:close/>
                    <a:moveTo>
                      <a:pt x="1217" y="1555"/>
                    </a:moveTo>
                    <a:lnTo>
                      <a:pt x="1219" y="1555"/>
                    </a:lnTo>
                    <a:lnTo>
                      <a:pt x="1217" y="1555"/>
                    </a:lnTo>
                    <a:close/>
                    <a:moveTo>
                      <a:pt x="1183" y="1099"/>
                    </a:moveTo>
                    <a:lnTo>
                      <a:pt x="1185" y="1099"/>
                    </a:lnTo>
                    <a:lnTo>
                      <a:pt x="1185" y="1100"/>
                    </a:lnTo>
                    <a:lnTo>
                      <a:pt x="1183" y="1100"/>
                    </a:lnTo>
                    <a:lnTo>
                      <a:pt x="1183" y="1099"/>
                    </a:lnTo>
                    <a:close/>
                    <a:moveTo>
                      <a:pt x="1230" y="1449"/>
                    </a:moveTo>
                    <a:lnTo>
                      <a:pt x="1232" y="1449"/>
                    </a:lnTo>
                    <a:lnTo>
                      <a:pt x="1232" y="1451"/>
                    </a:lnTo>
                    <a:lnTo>
                      <a:pt x="1230" y="1451"/>
                    </a:lnTo>
                    <a:lnTo>
                      <a:pt x="1230" y="1449"/>
                    </a:lnTo>
                    <a:close/>
                    <a:moveTo>
                      <a:pt x="1181" y="1374"/>
                    </a:moveTo>
                    <a:lnTo>
                      <a:pt x="1181" y="1376"/>
                    </a:lnTo>
                    <a:lnTo>
                      <a:pt x="1181" y="1374"/>
                    </a:lnTo>
                    <a:close/>
                    <a:moveTo>
                      <a:pt x="1208" y="1116"/>
                    </a:moveTo>
                    <a:lnTo>
                      <a:pt x="1210" y="1116"/>
                    </a:lnTo>
                    <a:lnTo>
                      <a:pt x="1210" y="1117"/>
                    </a:lnTo>
                    <a:lnTo>
                      <a:pt x="1208" y="1117"/>
                    </a:lnTo>
                    <a:lnTo>
                      <a:pt x="1208" y="1116"/>
                    </a:lnTo>
                    <a:close/>
                    <a:moveTo>
                      <a:pt x="1268" y="1521"/>
                    </a:moveTo>
                    <a:lnTo>
                      <a:pt x="1270" y="1521"/>
                    </a:lnTo>
                    <a:lnTo>
                      <a:pt x="1270" y="1524"/>
                    </a:lnTo>
                    <a:lnTo>
                      <a:pt x="1268" y="1524"/>
                    </a:lnTo>
                    <a:lnTo>
                      <a:pt x="1268" y="1521"/>
                    </a:lnTo>
                    <a:close/>
                    <a:moveTo>
                      <a:pt x="1162" y="1243"/>
                    </a:moveTo>
                    <a:lnTo>
                      <a:pt x="1164" y="1243"/>
                    </a:lnTo>
                    <a:lnTo>
                      <a:pt x="1164" y="1245"/>
                    </a:lnTo>
                    <a:lnTo>
                      <a:pt x="1162" y="1245"/>
                    </a:lnTo>
                    <a:lnTo>
                      <a:pt x="1162" y="1243"/>
                    </a:lnTo>
                    <a:close/>
                    <a:moveTo>
                      <a:pt x="1225" y="959"/>
                    </a:moveTo>
                    <a:lnTo>
                      <a:pt x="1227" y="959"/>
                    </a:lnTo>
                    <a:lnTo>
                      <a:pt x="1227" y="961"/>
                    </a:lnTo>
                    <a:lnTo>
                      <a:pt x="1225" y="961"/>
                    </a:lnTo>
                    <a:lnTo>
                      <a:pt x="1225" y="959"/>
                    </a:lnTo>
                    <a:close/>
                    <a:moveTo>
                      <a:pt x="1179" y="1424"/>
                    </a:moveTo>
                    <a:lnTo>
                      <a:pt x="1181" y="1424"/>
                    </a:lnTo>
                    <a:lnTo>
                      <a:pt x="1181" y="1425"/>
                    </a:lnTo>
                    <a:lnTo>
                      <a:pt x="1179" y="1425"/>
                    </a:lnTo>
                    <a:lnTo>
                      <a:pt x="1179" y="1424"/>
                    </a:lnTo>
                    <a:close/>
                    <a:moveTo>
                      <a:pt x="1154" y="1187"/>
                    </a:moveTo>
                    <a:lnTo>
                      <a:pt x="1156" y="1187"/>
                    </a:lnTo>
                    <a:lnTo>
                      <a:pt x="1154" y="1187"/>
                    </a:lnTo>
                    <a:close/>
                    <a:moveTo>
                      <a:pt x="1217" y="1553"/>
                    </a:moveTo>
                    <a:lnTo>
                      <a:pt x="1220" y="1553"/>
                    </a:lnTo>
                    <a:lnTo>
                      <a:pt x="1220" y="1555"/>
                    </a:lnTo>
                    <a:lnTo>
                      <a:pt x="1217" y="1555"/>
                    </a:lnTo>
                    <a:lnTo>
                      <a:pt x="1217" y="1553"/>
                    </a:lnTo>
                    <a:close/>
                    <a:moveTo>
                      <a:pt x="1164" y="1134"/>
                    </a:moveTo>
                    <a:lnTo>
                      <a:pt x="1166" y="1134"/>
                    </a:lnTo>
                    <a:lnTo>
                      <a:pt x="1166" y="1136"/>
                    </a:lnTo>
                    <a:lnTo>
                      <a:pt x="1164" y="1136"/>
                    </a:lnTo>
                    <a:lnTo>
                      <a:pt x="1164" y="1134"/>
                    </a:lnTo>
                    <a:close/>
                    <a:moveTo>
                      <a:pt x="1224" y="954"/>
                    </a:moveTo>
                    <a:lnTo>
                      <a:pt x="1225" y="954"/>
                    </a:lnTo>
                    <a:lnTo>
                      <a:pt x="1225" y="956"/>
                    </a:lnTo>
                    <a:lnTo>
                      <a:pt x="1224" y="956"/>
                    </a:lnTo>
                    <a:lnTo>
                      <a:pt x="1224" y="954"/>
                    </a:lnTo>
                    <a:close/>
                    <a:moveTo>
                      <a:pt x="1145" y="1252"/>
                    </a:moveTo>
                    <a:lnTo>
                      <a:pt x="1149" y="1252"/>
                    </a:lnTo>
                    <a:lnTo>
                      <a:pt x="1149" y="1253"/>
                    </a:lnTo>
                    <a:lnTo>
                      <a:pt x="1145" y="1253"/>
                    </a:lnTo>
                    <a:lnTo>
                      <a:pt x="1145" y="1252"/>
                    </a:lnTo>
                    <a:close/>
                    <a:moveTo>
                      <a:pt x="1169" y="1415"/>
                    </a:moveTo>
                    <a:lnTo>
                      <a:pt x="1171" y="1415"/>
                    </a:lnTo>
                    <a:lnTo>
                      <a:pt x="1171" y="1417"/>
                    </a:lnTo>
                    <a:lnTo>
                      <a:pt x="1169" y="1417"/>
                    </a:lnTo>
                    <a:lnTo>
                      <a:pt x="1169" y="1415"/>
                    </a:lnTo>
                    <a:close/>
                    <a:moveTo>
                      <a:pt x="1198" y="1427"/>
                    </a:moveTo>
                    <a:lnTo>
                      <a:pt x="1200" y="1427"/>
                    </a:lnTo>
                    <a:lnTo>
                      <a:pt x="1200" y="1429"/>
                    </a:lnTo>
                    <a:lnTo>
                      <a:pt x="1198" y="1429"/>
                    </a:lnTo>
                    <a:lnTo>
                      <a:pt x="1198" y="1427"/>
                    </a:lnTo>
                    <a:close/>
                    <a:moveTo>
                      <a:pt x="1186" y="1485"/>
                    </a:moveTo>
                    <a:lnTo>
                      <a:pt x="1188" y="1485"/>
                    </a:lnTo>
                    <a:lnTo>
                      <a:pt x="1188" y="1487"/>
                    </a:lnTo>
                    <a:lnTo>
                      <a:pt x="1186" y="1487"/>
                    </a:lnTo>
                    <a:lnTo>
                      <a:pt x="1186" y="1485"/>
                    </a:lnTo>
                    <a:close/>
                    <a:moveTo>
                      <a:pt x="1186" y="1459"/>
                    </a:moveTo>
                    <a:lnTo>
                      <a:pt x="1186" y="1461"/>
                    </a:lnTo>
                    <a:lnTo>
                      <a:pt x="1186" y="1459"/>
                    </a:lnTo>
                    <a:close/>
                    <a:moveTo>
                      <a:pt x="1185" y="1461"/>
                    </a:moveTo>
                    <a:lnTo>
                      <a:pt x="1186" y="1461"/>
                    </a:lnTo>
                    <a:lnTo>
                      <a:pt x="1186" y="1463"/>
                    </a:lnTo>
                    <a:lnTo>
                      <a:pt x="1185" y="1463"/>
                    </a:lnTo>
                    <a:lnTo>
                      <a:pt x="1185" y="1461"/>
                    </a:lnTo>
                    <a:close/>
                    <a:moveTo>
                      <a:pt x="1164" y="1242"/>
                    </a:moveTo>
                    <a:lnTo>
                      <a:pt x="1166" y="1242"/>
                    </a:lnTo>
                    <a:lnTo>
                      <a:pt x="1166" y="1243"/>
                    </a:lnTo>
                    <a:lnTo>
                      <a:pt x="1164" y="1243"/>
                    </a:lnTo>
                    <a:lnTo>
                      <a:pt x="1164" y="1242"/>
                    </a:lnTo>
                    <a:close/>
                    <a:moveTo>
                      <a:pt x="1241" y="1493"/>
                    </a:moveTo>
                    <a:lnTo>
                      <a:pt x="1242" y="1493"/>
                    </a:lnTo>
                    <a:lnTo>
                      <a:pt x="1242" y="1495"/>
                    </a:lnTo>
                    <a:lnTo>
                      <a:pt x="1241" y="1495"/>
                    </a:lnTo>
                    <a:lnTo>
                      <a:pt x="1241" y="1493"/>
                    </a:lnTo>
                    <a:close/>
                    <a:moveTo>
                      <a:pt x="1200" y="1250"/>
                    </a:moveTo>
                    <a:lnTo>
                      <a:pt x="1203" y="1250"/>
                    </a:lnTo>
                    <a:lnTo>
                      <a:pt x="1200" y="1250"/>
                    </a:lnTo>
                    <a:close/>
                    <a:moveTo>
                      <a:pt x="1208" y="1065"/>
                    </a:moveTo>
                    <a:lnTo>
                      <a:pt x="1210" y="1065"/>
                    </a:lnTo>
                    <a:lnTo>
                      <a:pt x="1210" y="1066"/>
                    </a:lnTo>
                    <a:lnTo>
                      <a:pt x="1208" y="1066"/>
                    </a:lnTo>
                    <a:lnTo>
                      <a:pt x="1208" y="1065"/>
                    </a:lnTo>
                    <a:close/>
                    <a:moveTo>
                      <a:pt x="1220" y="1555"/>
                    </a:moveTo>
                    <a:lnTo>
                      <a:pt x="1222" y="1555"/>
                    </a:lnTo>
                    <a:lnTo>
                      <a:pt x="1222" y="1556"/>
                    </a:lnTo>
                    <a:lnTo>
                      <a:pt x="1220" y="1556"/>
                    </a:lnTo>
                    <a:lnTo>
                      <a:pt x="1220" y="1555"/>
                    </a:lnTo>
                    <a:close/>
                    <a:moveTo>
                      <a:pt x="1203" y="1532"/>
                    </a:moveTo>
                    <a:lnTo>
                      <a:pt x="1207" y="1532"/>
                    </a:lnTo>
                    <a:lnTo>
                      <a:pt x="1207" y="1534"/>
                    </a:lnTo>
                    <a:lnTo>
                      <a:pt x="1203" y="1534"/>
                    </a:lnTo>
                    <a:lnTo>
                      <a:pt x="1203" y="1532"/>
                    </a:lnTo>
                    <a:close/>
                    <a:moveTo>
                      <a:pt x="1173" y="1391"/>
                    </a:moveTo>
                    <a:lnTo>
                      <a:pt x="1174" y="1391"/>
                    </a:lnTo>
                    <a:lnTo>
                      <a:pt x="1174" y="1393"/>
                    </a:lnTo>
                    <a:lnTo>
                      <a:pt x="1173" y="1393"/>
                    </a:lnTo>
                    <a:lnTo>
                      <a:pt x="1173" y="1391"/>
                    </a:lnTo>
                    <a:close/>
                    <a:moveTo>
                      <a:pt x="1200" y="1442"/>
                    </a:moveTo>
                    <a:lnTo>
                      <a:pt x="1202" y="1442"/>
                    </a:lnTo>
                    <a:lnTo>
                      <a:pt x="1202" y="1444"/>
                    </a:lnTo>
                    <a:lnTo>
                      <a:pt x="1200" y="1444"/>
                    </a:lnTo>
                    <a:lnTo>
                      <a:pt x="1200" y="1442"/>
                    </a:lnTo>
                    <a:close/>
                    <a:moveTo>
                      <a:pt x="1383" y="1663"/>
                    </a:moveTo>
                    <a:lnTo>
                      <a:pt x="1385" y="1663"/>
                    </a:lnTo>
                    <a:lnTo>
                      <a:pt x="1385" y="1665"/>
                    </a:lnTo>
                    <a:lnTo>
                      <a:pt x="1383" y="1665"/>
                    </a:lnTo>
                    <a:lnTo>
                      <a:pt x="1383" y="1663"/>
                    </a:lnTo>
                    <a:close/>
                    <a:moveTo>
                      <a:pt x="1343" y="1657"/>
                    </a:moveTo>
                    <a:lnTo>
                      <a:pt x="1344" y="1657"/>
                    </a:lnTo>
                    <a:lnTo>
                      <a:pt x="1344" y="1660"/>
                    </a:lnTo>
                    <a:lnTo>
                      <a:pt x="1343" y="1660"/>
                    </a:lnTo>
                    <a:lnTo>
                      <a:pt x="1343" y="1657"/>
                    </a:lnTo>
                    <a:close/>
                    <a:moveTo>
                      <a:pt x="1215" y="1105"/>
                    </a:moveTo>
                    <a:lnTo>
                      <a:pt x="1217" y="1105"/>
                    </a:lnTo>
                    <a:lnTo>
                      <a:pt x="1217" y="1109"/>
                    </a:lnTo>
                    <a:lnTo>
                      <a:pt x="1215" y="1109"/>
                    </a:lnTo>
                    <a:lnTo>
                      <a:pt x="1215" y="1105"/>
                    </a:lnTo>
                    <a:close/>
                    <a:moveTo>
                      <a:pt x="1210" y="1071"/>
                    </a:moveTo>
                    <a:lnTo>
                      <a:pt x="1210" y="1073"/>
                    </a:lnTo>
                    <a:lnTo>
                      <a:pt x="1210" y="1071"/>
                    </a:lnTo>
                    <a:close/>
                    <a:moveTo>
                      <a:pt x="1169" y="1481"/>
                    </a:moveTo>
                    <a:lnTo>
                      <a:pt x="1171" y="1481"/>
                    </a:lnTo>
                    <a:lnTo>
                      <a:pt x="1169" y="1481"/>
                    </a:lnTo>
                    <a:close/>
                    <a:moveTo>
                      <a:pt x="1154" y="1306"/>
                    </a:moveTo>
                    <a:lnTo>
                      <a:pt x="1156" y="1306"/>
                    </a:lnTo>
                    <a:lnTo>
                      <a:pt x="1156" y="1310"/>
                    </a:lnTo>
                    <a:lnTo>
                      <a:pt x="1154" y="1310"/>
                    </a:lnTo>
                    <a:lnTo>
                      <a:pt x="1154" y="1306"/>
                    </a:lnTo>
                    <a:close/>
                    <a:moveTo>
                      <a:pt x="1292" y="1577"/>
                    </a:moveTo>
                    <a:lnTo>
                      <a:pt x="1293" y="1577"/>
                    </a:lnTo>
                    <a:lnTo>
                      <a:pt x="1293" y="1578"/>
                    </a:lnTo>
                    <a:lnTo>
                      <a:pt x="1292" y="1578"/>
                    </a:lnTo>
                    <a:lnTo>
                      <a:pt x="1292" y="1577"/>
                    </a:lnTo>
                    <a:close/>
                    <a:moveTo>
                      <a:pt x="1227" y="997"/>
                    </a:moveTo>
                    <a:lnTo>
                      <a:pt x="1229" y="997"/>
                    </a:lnTo>
                    <a:lnTo>
                      <a:pt x="1229" y="998"/>
                    </a:lnTo>
                    <a:lnTo>
                      <a:pt x="1227" y="998"/>
                    </a:lnTo>
                    <a:lnTo>
                      <a:pt x="1227" y="997"/>
                    </a:lnTo>
                    <a:close/>
                    <a:moveTo>
                      <a:pt x="1151" y="1185"/>
                    </a:moveTo>
                    <a:lnTo>
                      <a:pt x="1152" y="1185"/>
                    </a:lnTo>
                    <a:lnTo>
                      <a:pt x="1152" y="1187"/>
                    </a:lnTo>
                    <a:lnTo>
                      <a:pt x="1151" y="1187"/>
                    </a:lnTo>
                    <a:lnTo>
                      <a:pt x="1151" y="1185"/>
                    </a:lnTo>
                    <a:close/>
                    <a:moveTo>
                      <a:pt x="1205" y="1478"/>
                    </a:moveTo>
                    <a:lnTo>
                      <a:pt x="1207" y="1478"/>
                    </a:lnTo>
                    <a:lnTo>
                      <a:pt x="1207" y="1480"/>
                    </a:lnTo>
                    <a:lnTo>
                      <a:pt x="1205" y="1480"/>
                    </a:lnTo>
                    <a:lnTo>
                      <a:pt x="1205" y="1478"/>
                    </a:lnTo>
                    <a:close/>
                    <a:moveTo>
                      <a:pt x="1169" y="1357"/>
                    </a:moveTo>
                    <a:lnTo>
                      <a:pt x="1171" y="1357"/>
                    </a:lnTo>
                    <a:lnTo>
                      <a:pt x="1169" y="1357"/>
                    </a:lnTo>
                    <a:close/>
                    <a:moveTo>
                      <a:pt x="1186" y="1071"/>
                    </a:moveTo>
                    <a:lnTo>
                      <a:pt x="1188" y="1071"/>
                    </a:lnTo>
                    <a:lnTo>
                      <a:pt x="1188" y="1073"/>
                    </a:lnTo>
                    <a:lnTo>
                      <a:pt x="1186" y="1073"/>
                    </a:lnTo>
                    <a:lnTo>
                      <a:pt x="1186" y="1071"/>
                    </a:lnTo>
                    <a:close/>
                    <a:moveTo>
                      <a:pt x="1198" y="1439"/>
                    </a:moveTo>
                    <a:lnTo>
                      <a:pt x="1198" y="1441"/>
                    </a:lnTo>
                    <a:lnTo>
                      <a:pt x="1198" y="1439"/>
                    </a:lnTo>
                    <a:close/>
                    <a:moveTo>
                      <a:pt x="1196" y="1485"/>
                    </a:moveTo>
                    <a:lnTo>
                      <a:pt x="1198" y="1485"/>
                    </a:lnTo>
                    <a:lnTo>
                      <a:pt x="1198" y="1488"/>
                    </a:lnTo>
                    <a:lnTo>
                      <a:pt x="1196" y="1488"/>
                    </a:lnTo>
                    <a:lnTo>
                      <a:pt x="1196" y="1485"/>
                    </a:lnTo>
                    <a:close/>
                    <a:moveTo>
                      <a:pt x="1300" y="1638"/>
                    </a:moveTo>
                    <a:lnTo>
                      <a:pt x="1302" y="1638"/>
                    </a:lnTo>
                    <a:lnTo>
                      <a:pt x="1302" y="1640"/>
                    </a:lnTo>
                    <a:lnTo>
                      <a:pt x="1300" y="1640"/>
                    </a:lnTo>
                    <a:lnTo>
                      <a:pt x="1300" y="1638"/>
                    </a:lnTo>
                    <a:close/>
                    <a:moveTo>
                      <a:pt x="1259" y="1595"/>
                    </a:moveTo>
                    <a:lnTo>
                      <a:pt x="1261" y="1595"/>
                    </a:lnTo>
                    <a:lnTo>
                      <a:pt x="1259" y="1595"/>
                    </a:lnTo>
                    <a:close/>
                    <a:moveTo>
                      <a:pt x="1168" y="1480"/>
                    </a:moveTo>
                    <a:lnTo>
                      <a:pt x="1169" y="1480"/>
                    </a:lnTo>
                    <a:lnTo>
                      <a:pt x="1169" y="1481"/>
                    </a:lnTo>
                    <a:lnTo>
                      <a:pt x="1168" y="1481"/>
                    </a:lnTo>
                    <a:lnTo>
                      <a:pt x="1168" y="1480"/>
                    </a:lnTo>
                    <a:close/>
                    <a:moveTo>
                      <a:pt x="1179" y="1458"/>
                    </a:moveTo>
                    <a:lnTo>
                      <a:pt x="1179" y="1459"/>
                    </a:lnTo>
                    <a:lnTo>
                      <a:pt x="1179" y="1458"/>
                    </a:lnTo>
                    <a:close/>
                    <a:moveTo>
                      <a:pt x="1331" y="1655"/>
                    </a:moveTo>
                    <a:lnTo>
                      <a:pt x="1332" y="1655"/>
                    </a:lnTo>
                    <a:lnTo>
                      <a:pt x="1332" y="1657"/>
                    </a:lnTo>
                    <a:lnTo>
                      <a:pt x="1331" y="1657"/>
                    </a:lnTo>
                    <a:lnTo>
                      <a:pt x="1331" y="1655"/>
                    </a:lnTo>
                    <a:close/>
                    <a:moveTo>
                      <a:pt x="1259" y="1558"/>
                    </a:moveTo>
                    <a:lnTo>
                      <a:pt x="1261" y="1558"/>
                    </a:lnTo>
                    <a:lnTo>
                      <a:pt x="1261" y="1560"/>
                    </a:lnTo>
                    <a:lnTo>
                      <a:pt x="1259" y="1560"/>
                    </a:lnTo>
                    <a:lnTo>
                      <a:pt x="1259" y="1558"/>
                    </a:lnTo>
                    <a:close/>
                    <a:moveTo>
                      <a:pt x="1164" y="1388"/>
                    </a:moveTo>
                    <a:lnTo>
                      <a:pt x="1166" y="1388"/>
                    </a:lnTo>
                    <a:lnTo>
                      <a:pt x="1166" y="1390"/>
                    </a:lnTo>
                    <a:lnTo>
                      <a:pt x="1164" y="1390"/>
                    </a:lnTo>
                    <a:lnTo>
                      <a:pt x="1164" y="1388"/>
                    </a:lnTo>
                    <a:close/>
                    <a:moveTo>
                      <a:pt x="1261" y="1607"/>
                    </a:moveTo>
                    <a:lnTo>
                      <a:pt x="1263" y="1607"/>
                    </a:lnTo>
                    <a:lnTo>
                      <a:pt x="1263" y="1609"/>
                    </a:lnTo>
                    <a:lnTo>
                      <a:pt x="1261" y="1609"/>
                    </a:lnTo>
                    <a:lnTo>
                      <a:pt x="1261" y="1607"/>
                    </a:lnTo>
                    <a:close/>
                    <a:moveTo>
                      <a:pt x="1246" y="1505"/>
                    </a:moveTo>
                    <a:lnTo>
                      <a:pt x="1247" y="1505"/>
                    </a:lnTo>
                    <a:lnTo>
                      <a:pt x="1247" y="1507"/>
                    </a:lnTo>
                    <a:lnTo>
                      <a:pt x="1246" y="1507"/>
                    </a:lnTo>
                    <a:lnTo>
                      <a:pt x="1246" y="1505"/>
                    </a:lnTo>
                    <a:close/>
                    <a:moveTo>
                      <a:pt x="1185" y="1427"/>
                    </a:moveTo>
                    <a:lnTo>
                      <a:pt x="1186" y="1427"/>
                    </a:lnTo>
                    <a:lnTo>
                      <a:pt x="1185" y="1427"/>
                    </a:lnTo>
                    <a:close/>
                    <a:moveTo>
                      <a:pt x="1186" y="1461"/>
                    </a:moveTo>
                    <a:lnTo>
                      <a:pt x="1188" y="1461"/>
                    </a:lnTo>
                    <a:lnTo>
                      <a:pt x="1188" y="1463"/>
                    </a:lnTo>
                    <a:lnTo>
                      <a:pt x="1186" y="1463"/>
                    </a:lnTo>
                    <a:lnTo>
                      <a:pt x="1186" y="1461"/>
                    </a:lnTo>
                    <a:close/>
                    <a:moveTo>
                      <a:pt x="1236" y="995"/>
                    </a:moveTo>
                    <a:lnTo>
                      <a:pt x="1236" y="997"/>
                    </a:lnTo>
                    <a:lnTo>
                      <a:pt x="1236" y="995"/>
                    </a:lnTo>
                    <a:close/>
                    <a:moveTo>
                      <a:pt x="1196" y="1437"/>
                    </a:moveTo>
                    <a:lnTo>
                      <a:pt x="1198" y="1437"/>
                    </a:lnTo>
                    <a:lnTo>
                      <a:pt x="1198" y="1439"/>
                    </a:lnTo>
                    <a:lnTo>
                      <a:pt x="1196" y="1439"/>
                    </a:lnTo>
                    <a:lnTo>
                      <a:pt x="1196" y="1437"/>
                    </a:lnTo>
                    <a:close/>
                    <a:moveTo>
                      <a:pt x="1171" y="1390"/>
                    </a:moveTo>
                    <a:lnTo>
                      <a:pt x="1173" y="1390"/>
                    </a:lnTo>
                    <a:lnTo>
                      <a:pt x="1173" y="1391"/>
                    </a:lnTo>
                    <a:lnTo>
                      <a:pt x="1171" y="1391"/>
                    </a:lnTo>
                    <a:lnTo>
                      <a:pt x="1171" y="1390"/>
                    </a:lnTo>
                    <a:close/>
                    <a:moveTo>
                      <a:pt x="1191" y="1119"/>
                    </a:moveTo>
                    <a:lnTo>
                      <a:pt x="1191" y="1121"/>
                    </a:lnTo>
                    <a:lnTo>
                      <a:pt x="1191" y="1119"/>
                    </a:lnTo>
                    <a:close/>
                    <a:moveTo>
                      <a:pt x="1191" y="1061"/>
                    </a:moveTo>
                    <a:lnTo>
                      <a:pt x="1191" y="1063"/>
                    </a:lnTo>
                    <a:lnTo>
                      <a:pt x="1191" y="1061"/>
                    </a:lnTo>
                    <a:close/>
                    <a:moveTo>
                      <a:pt x="1212" y="1107"/>
                    </a:moveTo>
                    <a:lnTo>
                      <a:pt x="1213" y="1107"/>
                    </a:lnTo>
                    <a:lnTo>
                      <a:pt x="1213" y="1109"/>
                    </a:lnTo>
                    <a:lnTo>
                      <a:pt x="1212" y="1109"/>
                    </a:lnTo>
                    <a:lnTo>
                      <a:pt x="1212" y="1107"/>
                    </a:lnTo>
                    <a:close/>
                    <a:moveTo>
                      <a:pt x="1212" y="1524"/>
                    </a:moveTo>
                    <a:lnTo>
                      <a:pt x="1213" y="1524"/>
                    </a:lnTo>
                    <a:lnTo>
                      <a:pt x="1213" y="1526"/>
                    </a:lnTo>
                    <a:lnTo>
                      <a:pt x="1212" y="1526"/>
                    </a:lnTo>
                    <a:lnTo>
                      <a:pt x="1212" y="1524"/>
                    </a:lnTo>
                    <a:close/>
                    <a:moveTo>
                      <a:pt x="1212" y="1558"/>
                    </a:moveTo>
                    <a:lnTo>
                      <a:pt x="1213" y="1558"/>
                    </a:lnTo>
                    <a:lnTo>
                      <a:pt x="1213" y="1560"/>
                    </a:lnTo>
                    <a:lnTo>
                      <a:pt x="1212" y="1560"/>
                    </a:lnTo>
                    <a:lnTo>
                      <a:pt x="1212" y="1558"/>
                    </a:lnTo>
                    <a:close/>
                    <a:moveTo>
                      <a:pt x="1179" y="1420"/>
                    </a:moveTo>
                    <a:lnTo>
                      <a:pt x="1179" y="1422"/>
                    </a:lnTo>
                    <a:lnTo>
                      <a:pt x="1179" y="1420"/>
                    </a:lnTo>
                    <a:close/>
                    <a:moveTo>
                      <a:pt x="1440" y="1650"/>
                    </a:moveTo>
                    <a:lnTo>
                      <a:pt x="1440" y="1652"/>
                    </a:lnTo>
                    <a:lnTo>
                      <a:pt x="1440" y="1650"/>
                    </a:lnTo>
                    <a:close/>
                    <a:moveTo>
                      <a:pt x="1208" y="1243"/>
                    </a:moveTo>
                    <a:lnTo>
                      <a:pt x="1210" y="1243"/>
                    </a:lnTo>
                    <a:lnTo>
                      <a:pt x="1208" y="1243"/>
                    </a:lnTo>
                    <a:close/>
                    <a:moveTo>
                      <a:pt x="1293" y="1616"/>
                    </a:moveTo>
                    <a:lnTo>
                      <a:pt x="1295" y="1616"/>
                    </a:lnTo>
                    <a:lnTo>
                      <a:pt x="1293" y="1616"/>
                    </a:lnTo>
                    <a:close/>
                    <a:moveTo>
                      <a:pt x="1341" y="1648"/>
                    </a:moveTo>
                    <a:lnTo>
                      <a:pt x="1343" y="1648"/>
                    </a:lnTo>
                    <a:lnTo>
                      <a:pt x="1343" y="1650"/>
                    </a:lnTo>
                    <a:lnTo>
                      <a:pt x="1341" y="1650"/>
                    </a:lnTo>
                    <a:lnTo>
                      <a:pt x="1341" y="1648"/>
                    </a:lnTo>
                    <a:close/>
                    <a:moveTo>
                      <a:pt x="1185" y="1463"/>
                    </a:moveTo>
                    <a:lnTo>
                      <a:pt x="1186" y="1463"/>
                    </a:lnTo>
                    <a:lnTo>
                      <a:pt x="1186" y="1464"/>
                    </a:lnTo>
                    <a:lnTo>
                      <a:pt x="1185" y="1464"/>
                    </a:lnTo>
                    <a:lnTo>
                      <a:pt x="1185" y="1463"/>
                    </a:lnTo>
                    <a:close/>
                    <a:moveTo>
                      <a:pt x="1212" y="1100"/>
                    </a:moveTo>
                    <a:lnTo>
                      <a:pt x="1213" y="1100"/>
                    </a:lnTo>
                    <a:lnTo>
                      <a:pt x="1213" y="1102"/>
                    </a:lnTo>
                    <a:lnTo>
                      <a:pt x="1212" y="1102"/>
                    </a:lnTo>
                    <a:lnTo>
                      <a:pt x="1212" y="1100"/>
                    </a:lnTo>
                    <a:close/>
                    <a:moveTo>
                      <a:pt x="1166" y="1337"/>
                    </a:moveTo>
                    <a:lnTo>
                      <a:pt x="1166" y="1339"/>
                    </a:lnTo>
                    <a:lnTo>
                      <a:pt x="1166" y="1337"/>
                    </a:lnTo>
                    <a:close/>
                    <a:moveTo>
                      <a:pt x="1185" y="1441"/>
                    </a:moveTo>
                    <a:lnTo>
                      <a:pt x="1186" y="1441"/>
                    </a:lnTo>
                    <a:lnTo>
                      <a:pt x="1186" y="1442"/>
                    </a:lnTo>
                    <a:lnTo>
                      <a:pt x="1185" y="1442"/>
                    </a:lnTo>
                    <a:lnTo>
                      <a:pt x="1185" y="1441"/>
                    </a:lnTo>
                    <a:close/>
                    <a:moveTo>
                      <a:pt x="1212" y="1260"/>
                    </a:moveTo>
                    <a:lnTo>
                      <a:pt x="1213" y="1260"/>
                    </a:lnTo>
                    <a:lnTo>
                      <a:pt x="1212" y="1260"/>
                    </a:lnTo>
                    <a:close/>
                    <a:moveTo>
                      <a:pt x="1225" y="956"/>
                    </a:moveTo>
                    <a:lnTo>
                      <a:pt x="1227" y="956"/>
                    </a:lnTo>
                    <a:lnTo>
                      <a:pt x="1227" y="957"/>
                    </a:lnTo>
                    <a:lnTo>
                      <a:pt x="1225" y="957"/>
                    </a:lnTo>
                    <a:lnTo>
                      <a:pt x="1225" y="956"/>
                    </a:lnTo>
                    <a:close/>
                    <a:moveTo>
                      <a:pt x="1270" y="1614"/>
                    </a:moveTo>
                    <a:lnTo>
                      <a:pt x="1271" y="1614"/>
                    </a:lnTo>
                    <a:lnTo>
                      <a:pt x="1270" y="1614"/>
                    </a:lnTo>
                    <a:close/>
                    <a:moveTo>
                      <a:pt x="1326" y="1635"/>
                    </a:moveTo>
                    <a:lnTo>
                      <a:pt x="1327" y="1635"/>
                    </a:lnTo>
                    <a:lnTo>
                      <a:pt x="1326" y="1635"/>
                    </a:lnTo>
                    <a:close/>
                    <a:moveTo>
                      <a:pt x="1159" y="1415"/>
                    </a:moveTo>
                    <a:lnTo>
                      <a:pt x="1159" y="1417"/>
                    </a:lnTo>
                    <a:lnTo>
                      <a:pt x="1159" y="1415"/>
                    </a:lnTo>
                    <a:close/>
                    <a:moveTo>
                      <a:pt x="1196" y="1430"/>
                    </a:moveTo>
                    <a:lnTo>
                      <a:pt x="1198" y="1430"/>
                    </a:lnTo>
                    <a:lnTo>
                      <a:pt x="1198" y="1432"/>
                    </a:lnTo>
                    <a:lnTo>
                      <a:pt x="1196" y="1432"/>
                    </a:lnTo>
                    <a:lnTo>
                      <a:pt x="1196" y="1430"/>
                    </a:lnTo>
                    <a:close/>
                    <a:moveTo>
                      <a:pt x="1208" y="1141"/>
                    </a:moveTo>
                    <a:lnTo>
                      <a:pt x="1208" y="1143"/>
                    </a:lnTo>
                    <a:lnTo>
                      <a:pt x="1208" y="1141"/>
                    </a:lnTo>
                    <a:close/>
                    <a:moveTo>
                      <a:pt x="1263" y="1597"/>
                    </a:moveTo>
                    <a:lnTo>
                      <a:pt x="1264" y="1597"/>
                    </a:lnTo>
                    <a:lnTo>
                      <a:pt x="1264" y="1599"/>
                    </a:lnTo>
                    <a:lnTo>
                      <a:pt x="1263" y="1599"/>
                    </a:lnTo>
                    <a:lnTo>
                      <a:pt x="1263" y="1597"/>
                    </a:lnTo>
                    <a:close/>
                    <a:moveTo>
                      <a:pt x="1225" y="1563"/>
                    </a:moveTo>
                    <a:lnTo>
                      <a:pt x="1227" y="1563"/>
                    </a:lnTo>
                    <a:lnTo>
                      <a:pt x="1225" y="1563"/>
                    </a:lnTo>
                    <a:lnTo>
                      <a:pt x="1224" y="1563"/>
                    </a:lnTo>
                    <a:lnTo>
                      <a:pt x="1225" y="1563"/>
                    </a:lnTo>
                    <a:close/>
                    <a:moveTo>
                      <a:pt x="1256" y="1592"/>
                    </a:moveTo>
                    <a:lnTo>
                      <a:pt x="1258" y="1592"/>
                    </a:lnTo>
                    <a:lnTo>
                      <a:pt x="1258" y="1594"/>
                    </a:lnTo>
                    <a:lnTo>
                      <a:pt x="1256" y="1594"/>
                    </a:lnTo>
                    <a:lnTo>
                      <a:pt x="1256" y="1592"/>
                    </a:lnTo>
                    <a:close/>
                    <a:moveTo>
                      <a:pt x="1203" y="1134"/>
                    </a:moveTo>
                    <a:lnTo>
                      <a:pt x="1203" y="1136"/>
                    </a:lnTo>
                    <a:lnTo>
                      <a:pt x="1203" y="1134"/>
                    </a:lnTo>
                    <a:close/>
                    <a:moveTo>
                      <a:pt x="1205" y="1073"/>
                    </a:moveTo>
                    <a:lnTo>
                      <a:pt x="1207" y="1073"/>
                    </a:lnTo>
                    <a:lnTo>
                      <a:pt x="1205" y="1073"/>
                    </a:lnTo>
                    <a:close/>
                    <a:moveTo>
                      <a:pt x="1229" y="1583"/>
                    </a:moveTo>
                    <a:lnTo>
                      <a:pt x="1230" y="1583"/>
                    </a:lnTo>
                    <a:lnTo>
                      <a:pt x="1230" y="1585"/>
                    </a:lnTo>
                    <a:lnTo>
                      <a:pt x="1229" y="1585"/>
                    </a:lnTo>
                    <a:lnTo>
                      <a:pt x="1229" y="1583"/>
                    </a:lnTo>
                    <a:close/>
                    <a:moveTo>
                      <a:pt x="1287" y="1595"/>
                    </a:moveTo>
                    <a:lnTo>
                      <a:pt x="1288" y="1595"/>
                    </a:lnTo>
                    <a:lnTo>
                      <a:pt x="1288" y="1597"/>
                    </a:lnTo>
                    <a:lnTo>
                      <a:pt x="1287" y="1597"/>
                    </a:lnTo>
                    <a:lnTo>
                      <a:pt x="1287" y="1595"/>
                    </a:lnTo>
                    <a:close/>
                    <a:moveTo>
                      <a:pt x="1230" y="1572"/>
                    </a:moveTo>
                    <a:lnTo>
                      <a:pt x="1232" y="1572"/>
                    </a:lnTo>
                    <a:lnTo>
                      <a:pt x="1232" y="1573"/>
                    </a:lnTo>
                    <a:lnTo>
                      <a:pt x="1230" y="1573"/>
                    </a:lnTo>
                    <a:lnTo>
                      <a:pt x="1230" y="1572"/>
                    </a:lnTo>
                    <a:close/>
                    <a:moveTo>
                      <a:pt x="1297" y="1611"/>
                    </a:moveTo>
                    <a:lnTo>
                      <a:pt x="1297" y="1612"/>
                    </a:lnTo>
                    <a:lnTo>
                      <a:pt x="1297" y="1611"/>
                    </a:lnTo>
                    <a:close/>
                    <a:moveTo>
                      <a:pt x="1230" y="940"/>
                    </a:moveTo>
                    <a:lnTo>
                      <a:pt x="1232" y="940"/>
                    </a:lnTo>
                    <a:lnTo>
                      <a:pt x="1232" y="942"/>
                    </a:lnTo>
                    <a:lnTo>
                      <a:pt x="1230" y="942"/>
                    </a:lnTo>
                    <a:lnTo>
                      <a:pt x="1230" y="940"/>
                    </a:lnTo>
                    <a:close/>
                    <a:moveTo>
                      <a:pt x="1191" y="1461"/>
                    </a:moveTo>
                    <a:lnTo>
                      <a:pt x="1193" y="1461"/>
                    </a:lnTo>
                    <a:lnTo>
                      <a:pt x="1193" y="1463"/>
                    </a:lnTo>
                    <a:lnTo>
                      <a:pt x="1191" y="1463"/>
                    </a:lnTo>
                    <a:lnTo>
                      <a:pt x="1191" y="1461"/>
                    </a:lnTo>
                    <a:close/>
                    <a:moveTo>
                      <a:pt x="1186" y="1424"/>
                    </a:moveTo>
                    <a:lnTo>
                      <a:pt x="1186" y="1425"/>
                    </a:lnTo>
                    <a:lnTo>
                      <a:pt x="1186" y="1424"/>
                    </a:lnTo>
                    <a:close/>
                    <a:moveTo>
                      <a:pt x="1263" y="1614"/>
                    </a:moveTo>
                    <a:lnTo>
                      <a:pt x="1263" y="1616"/>
                    </a:lnTo>
                    <a:lnTo>
                      <a:pt x="1263" y="1614"/>
                    </a:lnTo>
                    <a:close/>
                    <a:moveTo>
                      <a:pt x="1176" y="1468"/>
                    </a:moveTo>
                    <a:lnTo>
                      <a:pt x="1178" y="1468"/>
                    </a:lnTo>
                    <a:lnTo>
                      <a:pt x="1178" y="1470"/>
                    </a:lnTo>
                    <a:lnTo>
                      <a:pt x="1176" y="1470"/>
                    </a:lnTo>
                    <a:lnTo>
                      <a:pt x="1176" y="1468"/>
                    </a:lnTo>
                    <a:close/>
                    <a:moveTo>
                      <a:pt x="1358" y="1646"/>
                    </a:moveTo>
                    <a:lnTo>
                      <a:pt x="1360" y="1646"/>
                    </a:lnTo>
                    <a:lnTo>
                      <a:pt x="1358" y="1646"/>
                    </a:lnTo>
                    <a:close/>
                    <a:moveTo>
                      <a:pt x="1162" y="1143"/>
                    </a:moveTo>
                    <a:lnTo>
                      <a:pt x="1164" y="1143"/>
                    </a:lnTo>
                    <a:lnTo>
                      <a:pt x="1162" y="1143"/>
                    </a:lnTo>
                    <a:close/>
                    <a:moveTo>
                      <a:pt x="1385" y="1662"/>
                    </a:moveTo>
                    <a:lnTo>
                      <a:pt x="1387" y="1662"/>
                    </a:lnTo>
                    <a:lnTo>
                      <a:pt x="1387" y="1663"/>
                    </a:lnTo>
                    <a:lnTo>
                      <a:pt x="1385" y="1663"/>
                    </a:lnTo>
                    <a:lnTo>
                      <a:pt x="1385" y="1662"/>
                    </a:lnTo>
                    <a:close/>
                    <a:moveTo>
                      <a:pt x="1173" y="1240"/>
                    </a:moveTo>
                    <a:lnTo>
                      <a:pt x="1174" y="1240"/>
                    </a:lnTo>
                    <a:lnTo>
                      <a:pt x="1174" y="1242"/>
                    </a:lnTo>
                    <a:lnTo>
                      <a:pt x="1173" y="1242"/>
                    </a:lnTo>
                    <a:lnTo>
                      <a:pt x="1173" y="1240"/>
                    </a:lnTo>
                    <a:close/>
                    <a:moveTo>
                      <a:pt x="1212" y="1111"/>
                    </a:moveTo>
                    <a:lnTo>
                      <a:pt x="1213" y="1111"/>
                    </a:lnTo>
                    <a:lnTo>
                      <a:pt x="1213" y="1112"/>
                    </a:lnTo>
                    <a:lnTo>
                      <a:pt x="1212" y="1112"/>
                    </a:lnTo>
                    <a:lnTo>
                      <a:pt x="1212" y="1111"/>
                    </a:lnTo>
                    <a:close/>
                    <a:moveTo>
                      <a:pt x="1375" y="1663"/>
                    </a:moveTo>
                    <a:lnTo>
                      <a:pt x="1377" y="1663"/>
                    </a:lnTo>
                    <a:lnTo>
                      <a:pt x="1377" y="1665"/>
                    </a:lnTo>
                    <a:lnTo>
                      <a:pt x="1375" y="1665"/>
                    </a:lnTo>
                    <a:lnTo>
                      <a:pt x="1375" y="1663"/>
                    </a:lnTo>
                    <a:close/>
                    <a:moveTo>
                      <a:pt x="1227" y="1572"/>
                    </a:moveTo>
                    <a:lnTo>
                      <a:pt x="1229" y="1572"/>
                    </a:lnTo>
                    <a:lnTo>
                      <a:pt x="1227" y="1572"/>
                    </a:lnTo>
                    <a:close/>
                    <a:moveTo>
                      <a:pt x="1225" y="1577"/>
                    </a:moveTo>
                    <a:lnTo>
                      <a:pt x="1227" y="1577"/>
                    </a:lnTo>
                    <a:lnTo>
                      <a:pt x="1225" y="1577"/>
                    </a:lnTo>
                    <a:close/>
                    <a:moveTo>
                      <a:pt x="1174" y="1100"/>
                    </a:moveTo>
                    <a:lnTo>
                      <a:pt x="1176" y="1100"/>
                    </a:lnTo>
                    <a:lnTo>
                      <a:pt x="1176" y="1102"/>
                    </a:lnTo>
                    <a:lnTo>
                      <a:pt x="1174" y="1102"/>
                    </a:lnTo>
                    <a:lnTo>
                      <a:pt x="1174" y="1100"/>
                    </a:lnTo>
                    <a:close/>
                    <a:moveTo>
                      <a:pt x="1278" y="423"/>
                    </a:moveTo>
                    <a:lnTo>
                      <a:pt x="1278" y="425"/>
                    </a:lnTo>
                    <a:lnTo>
                      <a:pt x="1278" y="423"/>
                    </a:lnTo>
                    <a:close/>
                    <a:moveTo>
                      <a:pt x="1208" y="1124"/>
                    </a:moveTo>
                    <a:lnTo>
                      <a:pt x="1210" y="1124"/>
                    </a:lnTo>
                    <a:lnTo>
                      <a:pt x="1210" y="1126"/>
                    </a:lnTo>
                    <a:lnTo>
                      <a:pt x="1208" y="1126"/>
                    </a:lnTo>
                    <a:lnTo>
                      <a:pt x="1208" y="1124"/>
                    </a:lnTo>
                    <a:close/>
                    <a:moveTo>
                      <a:pt x="1304" y="1638"/>
                    </a:moveTo>
                    <a:lnTo>
                      <a:pt x="1304" y="1640"/>
                    </a:lnTo>
                    <a:lnTo>
                      <a:pt x="1304" y="1638"/>
                    </a:lnTo>
                    <a:close/>
                    <a:moveTo>
                      <a:pt x="1222" y="1066"/>
                    </a:moveTo>
                    <a:lnTo>
                      <a:pt x="1224" y="1066"/>
                    </a:lnTo>
                    <a:lnTo>
                      <a:pt x="1224" y="1068"/>
                    </a:lnTo>
                    <a:lnTo>
                      <a:pt x="1222" y="1068"/>
                    </a:lnTo>
                    <a:lnTo>
                      <a:pt x="1222" y="1066"/>
                    </a:lnTo>
                    <a:close/>
                    <a:moveTo>
                      <a:pt x="1258" y="1568"/>
                    </a:moveTo>
                    <a:lnTo>
                      <a:pt x="1258" y="1570"/>
                    </a:lnTo>
                    <a:lnTo>
                      <a:pt x="1258" y="1568"/>
                    </a:lnTo>
                    <a:close/>
                    <a:moveTo>
                      <a:pt x="1174" y="1117"/>
                    </a:moveTo>
                    <a:lnTo>
                      <a:pt x="1176" y="1117"/>
                    </a:lnTo>
                    <a:lnTo>
                      <a:pt x="1176" y="1119"/>
                    </a:lnTo>
                    <a:lnTo>
                      <a:pt x="1174" y="1119"/>
                    </a:lnTo>
                    <a:lnTo>
                      <a:pt x="1174" y="1117"/>
                    </a:lnTo>
                    <a:close/>
                    <a:moveTo>
                      <a:pt x="1185" y="1400"/>
                    </a:moveTo>
                    <a:lnTo>
                      <a:pt x="1185" y="1401"/>
                    </a:lnTo>
                    <a:lnTo>
                      <a:pt x="1185" y="1400"/>
                    </a:lnTo>
                    <a:close/>
                    <a:moveTo>
                      <a:pt x="1213" y="1519"/>
                    </a:moveTo>
                    <a:lnTo>
                      <a:pt x="1215" y="1519"/>
                    </a:lnTo>
                    <a:lnTo>
                      <a:pt x="1215" y="1521"/>
                    </a:lnTo>
                    <a:lnTo>
                      <a:pt x="1213" y="1521"/>
                    </a:lnTo>
                    <a:lnTo>
                      <a:pt x="1213" y="1519"/>
                    </a:lnTo>
                    <a:close/>
                    <a:moveTo>
                      <a:pt x="1219" y="1543"/>
                    </a:moveTo>
                    <a:lnTo>
                      <a:pt x="1220" y="1543"/>
                    </a:lnTo>
                    <a:lnTo>
                      <a:pt x="1220" y="1544"/>
                    </a:lnTo>
                    <a:lnTo>
                      <a:pt x="1219" y="1544"/>
                    </a:lnTo>
                    <a:lnTo>
                      <a:pt x="1219" y="1543"/>
                    </a:lnTo>
                    <a:close/>
                    <a:moveTo>
                      <a:pt x="1205" y="1066"/>
                    </a:moveTo>
                    <a:lnTo>
                      <a:pt x="1205" y="1068"/>
                    </a:lnTo>
                    <a:lnTo>
                      <a:pt x="1205" y="1066"/>
                    </a:lnTo>
                    <a:close/>
                    <a:moveTo>
                      <a:pt x="1191" y="1126"/>
                    </a:moveTo>
                    <a:lnTo>
                      <a:pt x="1193" y="1126"/>
                    </a:lnTo>
                    <a:lnTo>
                      <a:pt x="1193" y="1128"/>
                    </a:lnTo>
                    <a:lnTo>
                      <a:pt x="1191" y="1128"/>
                    </a:lnTo>
                    <a:lnTo>
                      <a:pt x="1191" y="1126"/>
                    </a:lnTo>
                    <a:close/>
                    <a:moveTo>
                      <a:pt x="1176" y="1441"/>
                    </a:moveTo>
                    <a:lnTo>
                      <a:pt x="1179" y="1441"/>
                    </a:lnTo>
                    <a:lnTo>
                      <a:pt x="1179" y="1442"/>
                    </a:lnTo>
                    <a:lnTo>
                      <a:pt x="1176" y="1442"/>
                    </a:lnTo>
                    <a:lnTo>
                      <a:pt x="1176" y="1441"/>
                    </a:lnTo>
                    <a:close/>
                    <a:moveTo>
                      <a:pt x="1227" y="730"/>
                    </a:moveTo>
                    <a:lnTo>
                      <a:pt x="1229" y="730"/>
                    </a:lnTo>
                    <a:lnTo>
                      <a:pt x="1229" y="731"/>
                    </a:lnTo>
                    <a:lnTo>
                      <a:pt x="1227" y="731"/>
                    </a:lnTo>
                    <a:lnTo>
                      <a:pt x="1227" y="730"/>
                    </a:lnTo>
                    <a:close/>
                    <a:moveTo>
                      <a:pt x="1195" y="1048"/>
                    </a:moveTo>
                    <a:lnTo>
                      <a:pt x="1196" y="1048"/>
                    </a:lnTo>
                    <a:lnTo>
                      <a:pt x="1195" y="1048"/>
                    </a:lnTo>
                    <a:close/>
                    <a:moveTo>
                      <a:pt x="1207" y="1060"/>
                    </a:moveTo>
                    <a:lnTo>
                      <a:pt x="1208" y="1060"/>
                    </a:lnTo>
                    <a:lnTo>
                      <a:pt x="1208" y="1061"/>
                    </a:lnTo>
                    <a:lnTo>
                      <a:pt x="1207" y="1061"/>
                    </a:lnTo>
                    <a:lnTo>
                      <a:pt x="1207" y="1060"/>
                    </a:lnTo>
                    <a:close/>
                    <a:moveTo>
                      <a:pt x="1207" y="1102"/>
                    </a:moveTo>
                    <a:lnTo>
                      <a:pt x="1208" y="1102"/>
                    </a:lnTo>
                    <a:lnTo>
                      <a:pt x="1208" y="1104"/>
                    </a:lnTo>
                    <a:lnTo>
                      <a:pt x="1207" y="1104"/>
                    </a:lnTo>
                    <a:lnTo>
                      <a:pt x="1207" y="1102"/>
                    </a:lnTo>
                    <a:close/>
                    <a:moveTo>
                      <a:pt x="1166" y="1136"/>
                    </a:moveTo>
                    <a:lnTo>
                      <a:pt x="1168" y="1136"/>
                    </a:lnTo>
                    <a:lnTo>
                      <a:pt x="1168" y="1138"/>
                    </a:lnTo>
                    <a:lnTo>
                      <a:pt x="1166" y="1138"/>
                    </a:lnTo>
                    <a:lnTo>
                      <a:pt x="1166" y="1136"/>
                    </a:lnTo>
                    <a:close/>
                    <a:moveTo>
                      <a:pt x="1178" y="1277"/>
                    </a:moveTo>
                    <a:lnTo>
                      <a:pt x="1178" y="1281"/>
                    </a:lnTo>
                    <a:lnTo>
                      <a:pt x="1178" y="1277"/>
                    </a:lnTo>
                    <a:close/>
                    <a:moveTo>
                      <a:pt x="1188" y="1483"/>
                    </a:moveTo>
                    <a:lnTo>
                      <a:pt x="1190" y="1483"/>
                    </a:lnTo>
                    <a:lnTo>
                      <a:pt x="1188" y="1483"/>
                    </a:lnTo>
                    <a:close/>
                    <a:moveTo>
                      <a:pt x="1178" y="1373"/>
                    </a:moveTo>
                    <a:lnTo>
                      <a:pt x="1178" y="1374"/>
                    </a:lnTo>
                    <a:lnTo>
                      <a:pt x="1178" y="1373"/>
                    </a:lnTo>
                    <a:close/>
                    <a:moveTo>
                      <a:pt x="1389" y="1663"/>
                    </a:moveTo>
                    <a:lnTo>
                      <a:pt x="1389" y="1665"/>
                    </a:lnTo>
                    <a:lnTo>
                      <a:pt x="1389" y="1663"/>
                    </a:lnTo>
                    <a:close/>
                    <a:moveTo>
                      <a:pt x="1417" y="1684"/>
                    </a:moveTo>
                    <a:lnTo>
                      <a:pt x="1419" y="1684"/>
                    </a:lnTo>
                    <a:lnTo>
                      <a:pt x="1419" y="1686"/>
                    </a:lnTo>
                    <a:lnTo>
                      <a:pt x="1417" y="1686"/>
                    </a:lnTo>
                    <a:lnTo>
                      <a:pt x="1417" y="1684"/>
                    </a:lnTo>
                    <a:close/>
                    <a:moveTo>
                      <a:pt x="1181" y="1481"/>
                    </a:moveTo>
                    <a:lnTo>
                      <a:pt x="1183" y="1481"/>
                    </a:lnTo>
                    <a:lnTo>
                      <a:pt x="1181" y="1481"/>
                    </a:lnTo>
                    <a:close/>
                    <a:moveTo>
                      <a:pt x="1213" y="1070"/>
                    </a:moveTo>
                    <a:lnTo>
                      <a:pt x="1213" y="1071"/>
                    </a:lnTo>
                    <a:lnTo>
                      <a:pt x="1213" y="1070"/>
                    </a:lnTo>
                    <a:close/>
                    <a:moveTo>
                      <a:pt x="1225" y="1570"/>
                    </a:moveTo>
                    <a:lnTo>
                      <a:pt x="1227" y="1570"/>
                    </a:lnTo>
                    <a:lnTo>
                      <a:pt x="1225" y="1570"/>
                    </a:lnTo>
                    <a:close/>
                    <a:moveTo>
                      <a:pt x="1145" y="1332"/>
                    </a:moveTo>
                    <a:lnTo>
                      <a:pt x="1145" y="1333"/>
                    </a:lnTo>
                    <a:lnTo>
                      <a:pt x="1145" y="1332"/>
                    </a:lnTo>
                    <a:close/>
                    <a:moveTo>
                      <a:pt x="1236" y="1075"/>
                    </a:moveTo>
                    <a:lnTo>
                      <a:pt x="1237" y="1075"/>
                    </a:lnTo>
                    <a:lnTo>
                      <a:pt x="1237" y="1077"/>
                    </a:lnTo>
                    <a:lnTo>
                      <a:pt x="1236" y="1077"/>
                    </a:lnTo>
                    <a:lnTo>
                      <a:pt x="1236" y="1075"/>
                    </a:lnTo>
                    <a:close/>
                    <a:moveTo>
                      <a:pt x="1164" y="1332"/>
                    </a:moveTo>
                    <a:lnTo>
                      <a:pt x="1166" y="1332"/>
                    </a:lnTo>
                    <a:lnTo>
                      <a:pt x="1166" y="1333"/>
                    </a:lnTo>
                    <a:lnTo>
                      <a:pt x="1164" y="1333"/>
                    </a:lnTo>
                    <a:lnTo>
                      <a:pt x="1164" y="1332"/>
                    </a:lnTo>
                    <a:close/>
                    <a:moveTo>
                      <a:pt x="1162" y="1357"/>
                    </a:moveTo>
                    <a:lnTo>
                      <a:pt x="1162" y="1359"/>
                    </a:lnTo>
                    <a:lnTo>
                      <a:pt x="1162" y="1357"/>
                    </a:lnTo>
                    <a:close/>
                    <a:moveTo>
                      <a:pt x="1280" y="1614"/>
                    </a:moveTo>
                    <a:lnTo>
                      <a:pt x="1281" y="1614"/>
                    </a:lnTo>
                    <a:lnTo>
                      <a:pt x="1281" y="1616"/>
                    </a:lnTo>
                    <a:lnTo>
                      <a:pt x="1280" y="1616"/>
                    </a:lnTo>
                    <a:lnTo>
                      <a:pt x="1280" y="1614"/>
                    </a:lnTo>
                    <a:close/>
                    <a:moveTo>
                      <a:pt x="1185" y="1458"/>
                    </a:moveTo>
                    <a:lnTo>
                      <a:pt x="1186" y="1458"/>
                    </a:lnTo>
                    <a:lnTo>
                      <a:pt x="1186" y="1459"/>
                    </a:lnTo>
                    <a:lnTo>
                      <a:pt x="1185" y="1459"/>
                    </a:lnTo>
                    <a:lnTo>
                      <a:pt x="1185" y="1458"/>
                    </a:lnTo>
                    <a:close/>
                    <a:moveTo>
                      <a:pt x="1321" y="1583"/>
                    </a:moveTo>
                    <a:lnTo>
                      <a:pt x="1322" y="1583"/>
                    </a:lnTo>
                    <a:lnTo>
                      <a:pt x="1322" y="1585"/>
                    </a:lnTo>
                    <a:lnTo>
                      <a:pt x="1321" y="1585"/>
                    </a:lnTo>
                    <a:lnTo>
                      <a:pt x="1321" y="1583"/>
                    </a:lnTo>
                    <a:close/>
                    <a:moveTo>
                      <a:pt x="1219" y="1471"/>
                    </a:moveTo>
                    <a:lnTo>
                      <a:pt x="1220" y="1471"/>
                    </a:lnTo>
                    <a:lnTo>
                      <a:pt x="1220" y="1473"/>
                    </a:lnTo>
                    <a:lnTo>
                      <a:pt x="1219" y="1473"/>
                    </a:lnTo>
                    <a:lnTo>
                      <a:pt x="1219" y="1471"/>
                    </a:lnTo>
                    <a:close/>
                    <a:moveTo>
                      <a:pt x="1188" y="1463"/>
                    </a:moveTo>
                    <a:lnTo>
                      <a:pt x="1190" y="1463"/>
                    </a:lnTo>
                    <a:lnTo>
                      <a:pt x="1188" y="1463"/>
                    </a:lnTo>
                    <a:close/>
                    <a:moveTo>
                      <a:pt x="1249" y="1597"/>
                    </a:moveTo>
                    <a:lnTo>
                      <a:pt x="1251" y="1597"/>
                    </a:lnTo>
                    <a:lnTo>
                      <a:pt x="1251" y="1599"/>
                    </a:lnTo>
                    <a:lnTo>
                      <a:pt x="1249" y="1599"/>
                    </a:lnTo>
                    <a:lnTo>
                      <a:pt x="1249" y="1597"/>
                    </a:lnTo>
                    <a:close/>
                    <a:moveTo>
                      <a:pt x="1332" y="1645"/>
                    </a:moveTo>
                    <a:lnTo>
                      <a:pt x="1334" y="1645"/>
                    </a:lnTo>
                    <a:lnTo>
                      <a:pt x="1334" y="1646"/>
                    </a:lnTo>
                    <a:lnTo>
                      <a:pt x="1332" y="1646"/>
                    </a:lnTo>
                    <a:lnTo>
                      <a:pt x="1332" y="1645"/>
                    </a:lnTo>
                    <a:close/>
                    <a:moveTo>
                      <a:pt x="1142" y="1306"/>
                    </a:moveTo>
                    <a:lnTo>
                      <a:pt x="1142" y="1310"/>
                    </a:lnTo>
                    <a:lnTo>
                      <a:pt x="1142" y="1306"/>
                    </a:lnTo>
                    <a:close/>
                    <a:moveTo>
                      <a:pt x="1181" y="1492"/>
                    </a:moveTo>
                    <a:lnTo>
                      <a:pt x="1181" y="1493"/>
                    </a:lnTo>
                    <a:lnTo>
                      <a:pt x="1181" y="1492"/>
                    </a:lnTo>
                    <a:close/>
                    <a:moveTo>
                      <a:pt x="1159" y="1434"/>
                    </a:moveTo>
                    <a:lnTo>
                      <a:pt x="1159" y="1435"/>
                    </a:lnTo>
                    <a:lnTo>
                      <a:pt x="1159" y="1434"/>
                    </a:lnTo>
                    <a:close/>
                    <a:moveTo>
                      <a:pt x="1232" y="1582"/>
                    </a:moveTo>
                    <a:lnTo>
                      <a:pt x="1234" y="1582"/>
                    </a:lnTo>
                    <a:lnTo>
                      <a:pt x="1234" y="1583"/>
                    </a:lnTo>
                    <a:lnTo>
                      <a:pt x="1232" y="1583"/>
                    </a:lnTo>
                    <a:lnTo>
                      <a:pt x="1232" y="1582"/>
                    </a:lnTo>
                    <a:close/>
                    <a:moveTo>
                      <a:pt x="1212" y="1112"/>
                    </a:moveTo>
                    <a:lnTo>
                      <a:pt x="1213" y="1112"/>
                    </a:lnTo>
                    <a:lnTo>
                      <a:pt x="1213" y="1114"/>
                    </a:lnTo>
                    <a:lnTo>
                      <a:pt x="1212" y="1114"/>
                    </a:lnTo>
                    <a:lnTo>
                      <a:pt x="1212" y="1112"/>
                    </a:lnTo>
                    <a:close/>
                    <a:moveTo>
                      <a:pt x="1210" y="1504"/>
                    </a:moveTo>
                    <a:lnTo>
                      <a:pt x="1213" y="1504"/>
                    </a:lnTo>
                    <a:lnTo>
                      <a:pt x="1210" y="1504"/>
                    </a:lnTo>
                    <a:close/>
                    <a:moveTo>
                      <a:pt x="1181" y="1490"/>
                    </a:moveTo>
                    <a:lnTo>
                      <a:pt x="1183" y="1490"/>
                    </a:lnTo>
                    <a:lnTo>
                      <a:pt x="1183" y="1492"/>
                    </a:lnTo>
                    <a:lnTo>
                      <a:pt x="1181" y="1492"/>
                    </a:lnTo>
                    <a:lnTo>
                      <a:pt x="1181" y="1490"/>
                    </a:lnTo>
                    <a:close/>
                    <a:moveTo>
                      <a:pt x="1234" y="1124"/>
                    </a:moveTo>
                    <a:lnTo>
                      <a:pt x="1236" y="1124"/>
                    </a:lnTo>
                    <a:lnTo>
                      <a:pt x="1236" y="1126"/>
                    </a:lnTo>
                    <a:lnTo>
                      <a:pt x="1234" y="1126"/>
                    </a:lnTo>
                    <a:lnTo>
                      <a:pt x="1234" y="1124"/>
                    </a:lnTo>
                    <a:close/>
                    <a:moveTo>
                      <a:pt x="1261" y="1590"/>
                    </a:moveTo>
                    <a:lnTo>
                      <a:pt x="1261" y="1592"/>
                    </a:lnTo>
                    <a:lnTo>
                      <a:pt x="1261" y="1590"/>
                    </a:lnTo>
                    <a:close/>
                    <a:moveTo>
                      <a:pt x="1149" y="1376"/>
                    </a:moveTo>
                    <a:lnTo>
                      <a:pt x="1151" y="1376"/>
                    </a:lnTo>
                    <a:lnTo>
                      <a:pt x="1151" y="1378"/>
                    </a:lnTo>
                    <a:lnTo>
                      <a:pt x="1149" y="1378"/>
                    </a:lnTo>
                    <a:lnTo>
                      <a:pt x="1149" y="1376"/>
                    </a:lnTo>
                    <a:close/>
                    <a:moveTo>
                      <a:pt x="1183" y="1459"/>
                    </a:moveTo>
                    <a:lnTo>
                      <a:pt x="1185" y="1459"/>
                    </a:lnTo>
                    <a:lnTo>
                      <a:pt x="1185" y="1461"/>
                    </a:lnTo>
                    <a:lnTo>
                      <a:pt x="1183" y="1461"/>
                    </a:lnTo>
                    <a:lnTo>
                      <a:pt x="1183" y="1459"/>
                    </a:lnTo>
                    <a:close/>
                    <a:moveTo>
                      <a:pt x="1198" y="1424"/>
                    </a:moveTo>
                    <a:lnTo>
                      <a:pt x="1200" y="1424"/>
                    </a:lnTo>
                    <a:lnTo>
                      <a:pt x="1200" y="1425"/>
                    </a:lnTo>
                    <a:lnTo>
                      <a:pt x="1198" y="1425"/>
                    </a:lnTo>
                    <a:lnTo>
                      <a:pt x="1198" y="1424"/>
                    </a:lnTo>
                    <a:close/>
                    <a:moveTo>
                      <a:pt x="1208" y="1490"/>
                    </a:moveTo>
                    <a:lnTo>
                      <a:pt x="1208" y="1492"/>
                    </a:lnTo>
                    <a:lnTo>
                      <a:pt x="1208" y="1490"/>
                    </a:lnTo>
                    <a:close/>
                    <a:moveTo>
                      <a:pt x="1205" y="1058"/>
                    </a:moveTo>
                    <a:lnTo>
                      <a:pt x="1205" y="1060"/>
                    </a:lnTo>
                    <a:lnTo>
                      <a:pt x="1205" y="1058"/>
                    </a:lnTo>
                    <a:close/>
                    <a:moveTo>
                      <a:pt x="1281" y="1595"/>
                    </a:moveTo>
                    <a:lnTo>
                      <a:pt x="1283" y="1595"/>
                    </a:lnTo>
                    <a:lnTo>
                      <a:pt x="1281" y="1595"/>
                    </a:lnTo>
                    <a:close/>
                    <a:moveTo>
                      <a:pt x="1229" y="1570"/>
                    </a:moveTo>
                    <a:lnTo>
                      <a:pt x="1232" y="1570"/>
                    </a:lnTo>
                    <a:lnTo>
                      <a:pt x="1232" y="1572"/>
                    </a:lnTo>
                    <a:lnTo>
                      <a:pt x="1229" y="1572"/>
                    </a:lnTo>
                    <a:lnTo>
                      <a:pt x="1229" y="1570"/>
                    </a:lnTo>
                    <a:close/>
                    <a:moveTo>
                      <a:pt x="1181" y="1376"/>
                    </a:moveTo>
                    <a:lnTo>
                      <a:pt x="1183" y="1376"/>
                    </a:lnTo>
                    <a:lnTo>
                      <a:pt x="1181" y="1376"/>
                    </a:lnTo>
                    <a:close/>
                    <a:moveTo>
                      <a:pt x="1191" y="1233"/>
                    </a:moveTo>
                    <a:lnTo>
                      <a:pt x="1193" y="1233"/>
                    </a:lnTo>
                    <a:lnTo>
                      <a:pt x="1191" y="1233"/>
                    </a:lnTo>
                    <a:close/>
                    <a:moveTo>
                      <a:pt x="1215" y="983"/>
                    </a:moveTo>
                    <a:lnTo>
                      <a:pt x="1215" y="985"/>
                    </a:lnTo>
                    <a:lnTo>
                      <a:pt x="1215" y="983"/>
                    </a:lnTo>
                    <a:close/>
                    <a:moveTo>
                      <a:pt x="1208" y="1097"/>
                    </a:moveTo>
                    <a:lnTo>
                      <a:pt x="1208" y="1099"/>
                    </a:lnTo>
                    <a:lnTo>
                      <a:pt x="1208" y="1097"/>
                    </a:lnTo>
                    <a:close/>
                    <a:moveTo>
                      <a:pt x="1183" y="1495"/>
                    </a:moveTo>
                    <a:lnTo>
                      <a:pt x="1185" y="1495"/>
                    </a:lnTo>
                    <a:lnTo>
                      <a:pt x="1185" y="1497"/>
                    </a:lnTo>
                    <a:lnTo>
                      <a:pt x="1183" y="1497"/>
                    </a:lnTo>
                    <a:lnTo>
                      <a:pt x="1183" y="1495"/>
                    </a:lnTo>
                    <a:close/>
                    <a:moveTo>
                      <a:pt x="1183" y="1475"/>
                    </a:moveTo>
                    <a:lnTo>
                      <a:pt x="1185" y="1475"/>
                    </a:lnTo>
                    <a:lnTo>
                      <a:pt x="1183" y="1475"/>
                    </a:lnTo>
                    <a:close/>
                    <a:moveTo>
                      <a:pt x="1225" y="1570"/>
                    </a:moveTo>
                    <a:lnTo>
                      <a:pt x="1227" y="1570"/>
                    </a:lnTo>
                    <a:lnTo>
                      <a:pt x="1227" y="1572"/>
                    </a:lnTo>
                    <a:lnTo>
                      <a:pt x="1225" y="1572"/>
                    </a:lnTo>
                    <a:lnTo>
                      <a:pt x="1225" y="1570"/>
                    </a:lnTo>
                    <a:close/>
                    <a:moveTo>
                      <a:pt x="1259" y="1600"/>
                    </a:moveTo>
                    <a:lnTo>
                      <a:pt x="1259" y="1602"/>
                    </a:lnTo>
                    <a:lnTo>
                      <a:pt x="1259" y="1600"/>
                    </a:lnTo>
                    <a:close/>
                    <a:moveTo>
                      <a:pt x="1210" y="1124"/>
                    </a:moveTo>
                    <a:lnTo>
                      <a:pt x="1212" y="1124"/>
                    </a:lnTo>
                    <a:lnTo>
                      <a:pt x="1210" y="1124"/>
                    </a:lnTo>
                    <a:close/>
                    <a:moveTo>
                      <a:pt x="1183" y="1427"/>
                    </a:moveTo>
                    <a:lnTo>
                      <a:pt x="1185" y="1427"/>
                    </a:lnTo>
                    <a:lnTo>
                      <a:pt x="1183" y="1427"/>
                    </a:lnTo>
                    <a:close/>
                    <a:moveTo>
                      <a:pt x="1188" y="1097"/>
                    </a:moveTo>
                    <a:lnTo>
                      <a:pt x="1190" y="1097"/>
                    </a:lnTo>
                    <a:lnTo>
                      <a:pt x="1188" y="1097"/>
                    </a:lnTo>
                    <a:close/>
                    <a:moveTo>
                      <a:pt x="1188" y="1463"/>
                    </a:moveTo>
                    <a:lnTo>
                      <a:pt x="1190" y="1463"/>
                    </a:lnTo>
                    <a:lnTo>
                      <a:pt x="1190" y="1464"/>
                    </a:lnTo>
                    <a:lnTo>
                      <a:pt x="1188" y="1464"/>
                    </a:lnTo>
                    <a:lnTo>
                      <a:pt x="1188" y="1463"/>
                    </a:lnTo>
                    <a:close/>
                    <a:moveTo>
                      <a:pt x="1179" y="1257"/>
                    </a:moveTo>
                    <a:lnTo>
                      <a:pt x="1181" y="1257"/>
                    </a:lnTo>
                    <a:lnTo>
                      <a:pt x="1179" y="1257"/>
                    </a:lnTo>
                    <a:close/>
                    <a:moveTo>
                      <a:pt x="1181" y="1116"/>
                    </a:moveTo>
                    <a:lnTo>
                      <a:pt x="1181" y="1117"/>
                    </a:lnTo>
                    <a:lnTo>
                      <a:pt x="1181" y="1116"/>
                    </a:lnTo>
                    <a:close/>
                    <a:moveTo>
                      <a:pt x="1162" y="1160"/>
                    </a:moveTo>
                    <a:lnTo>
                      <a:pt x="1164" y="1160"/>
                    </a:lnTo>
                    <a:lnTo>
                      <a:pt x="1164" y="1162"/>
                    </a:lnTo>
                    <a:lnTo>
                      <a:pt x="1162" y="1162"/>
                    </a:lnTo>
                    <a:lnTo>
                      <a:pt x="1162" y="1160"/>
                    </a:lnTo>
                    <a:close/>
                    <a:moveTo>
                      <a:pt x="1181" y="1099"/>
                    </a:moveTo>
                    <a:lnTo>
                      <a:pt x="1183" y="1099"/>
                    </a:lnTo>
                    <a:lnTo>
                      <a:pt x="1181" y="1099"/>
                    </a:lnTo>
                    <a:close/>
                    <a:moveTo>
                      <a:pt x="1144" y="1306"/>
                    </a:moveTo>
                    <a:lnTo>
                      <a:pt x="1144" y="1308"/>
                    </a:lnTo>
                    <a:lnTo>
                      <a:pt x="1144" y="1306"/>
                    </a:lnTo>
                    <a:close/>
                    <a:moveTo>
                      <a:pt x="1185" y="1066"/>
                    </a:moveTo>
                    <a:lnTo>
                      <a:pt x="1186" y="1066"/>
                    </a:lnTo>
                    <a:lnTo>
                      <a:pt x="1185" y="1066"/>
                    </a:lnTo>
                    <a:close/>
                    <a:moveTo>
                      <a:pt x="1208" y="1075"/>
                    </a:moveTo>
                    <a:lnTo>
                      <a:pt x="1208" y="1077"/>
                    </a:lnTo>
                    <a:lnTo>
                      <a:pt x="1208" y="1075"/>
                    </a:lnTo>
                    <a:close/>
                    <a:moveTo>
                      <a:pt x="1239" y="1456"/>
                    </a:moveTo>
                    <a:lnTo>
                      <a:pt x="1241" y="1456"/>
                    </a:lnTo>
                    <a:lnTo>
                      <a:pt x="1241" y="1458"/>
                    </a:lnTo>
                    <a:lnTo>
                      <a:pt x="1239" y="1458"/>
                    </a:lnTo>
                    <a:lnTo>
                      <a:pt x="1239" y="1456"/>
                    </a:lnTo>
                    <a:close/>
                    <a:moveTo>
                      <a:pt x="1193" y="1464"/>
                    </a:moveTo>
                    <a:lnTo>
                      <a:pt x="1193" y="1466"/>
                    </a:lnTo>
                    <a:lnTo>
                      <a:pt x="1193" y="1464"/>
                    </a:lnTo>
                    <a:close/>
                    <a:moveTo>
                      <a:pt x="1166" y="1344"/>
                    </a:moveTo>
                    <a:lnTo>
                      <a:pt x="1168" y="1344"/>
                    </a:lnTo>
                    <a:lnTo>
                      <a:pt x="1168" y="1345"/>
                    </a:lnTo>
                    <a:lnTo>
                      <a:pt x="1166" y="1345"/>
                    </a:lnTo>
                    <a:lnTo>
                      <a:pt x="1166" y="1344"/>
                    </a:lnTo>
                    <a:close/>
                    <a:moveTo>
                      <a:pt x="1237" y="1582"/>
                    </a:moveTo>
                    <a:lnTo>
                      <a:pt x="1239" y="1582"/>
                    </a:lnTo>
                    <a:lnTo>
                      <a:pt x="1239" y="1583"/>
                    </a:lnTo>
                    <a:lnTo>
                      <a:pt x="1237" y="1583"/>
                    </a:lnTo>
                    <a:lnTo>
                      <a:pt x="1237" y="1582"/>
                    </a:lnTo>
                    <a:close/>
                    <a:moveTo>
                      <a:pt x="1200" y="1522"/>
                    </a:moveTo>
                    <a:lnTo>
                      <a:pt x="1202" y="1522"/>
                    </a:lnTo>
                    <a:lnTo>
                      <a:pt x="1202" y="1524"/>
                    </a:lnTo>
                    <a:lnTo>
                      <a:pt x="1200" y="1524"/>
                    </a:lnTo>
                    <a:lnTo>
                      <a:pt x="1200" y="1522"/>
                    </a:lnTo>
                    <a:close/>
                    <a:moveTo>
                      <a:pt x="1247" y="951"/>
                    </a:moveTo>
                    <a:lnTo>
                      <a:pt x="1249" y="951"/>
                    </a:lnTo>
                    <a:lnTo>
                      <a:pt x="1247" y="951"/>
                    </a:lnTo>
                    <a:close/>
                    <a:moveTo>
                      <a:pt x="1281" y="1597"/>
                    </a:moveTo>
                    <a:lnTo>
                      <a:pt x="1283" y="1597"/>
                    </a:lnTo>
                    <a:lnTo>
                      <a:pt x="1283" y="1599"/>
                    </a:lnTo>
                    <a:lnTo>
                      <a:pt x="1281" y="1599"/>
                    </a:lnTo>
                    <a:lnTo>
                      <a:pt x="1281" y="1597"/>
                    </a:lnTo>
                    <a:close/>
                    <a:moveTo>
                      <a:pt x="1288" y="1621"/>
                    </a:moveTo>
                    <a:lnTo>
                      <a:pt x="1290" y="1621"/>
                    </a:lnTo>
                    <a:lnTo>
                      <a:pt x="1288" y="1621"/>
                    </a:lnTo>
                    <a:close/>
                    <a:moveTo>
                      <a:pt x="1329" y="1648"/>
                    </a:moveTo>
                    <a:lnTo>
                      <a:pt x="1331" y="1648"/>
                    </a:lnTo>
                    <a:lnTo>
                      <a:pt x="1329" y="1648"/>
                    </a:lnTo>
                    <a:close/>
                    <a:moveTo>
                      <a:pt x="1261" y="1587"/>
                    </a:moveTo>
                    <a:lnTo>
                      <a:pt x="1263" y="1587"/>
                    </a:lnTo>
                    <a:lnTo>
                      <a:pt x="1261" y="1587"/>
                    </a:lnTo>
                    <a:close/>
                    <a:moveTo>
                      <a:pt x="1152" y="1185"/>
                    </a:moveTo>
                    <a:lnTo>
                      <a:pt x="1154" y="1185"/>
                    </a:lnTo>
                    <a:lnTo>
                      <a:pt x="1154" y="1187"/>
                    </a:lnTo>
                    <a:lnTo>
                      <a:pt x="1152" y="1187"/>
                    </a:lnTo>
                    <a:lnTo>
                      <a:pt x="1152" y="1185"/>
                    </a:lnTo>
                    <a:close/>
                    <a:moveTo>
                      <a:pt x="1193" y="1492"/>
                    </a:moveTo>
                    <a:lnTo>
                      <a:pt x="1195" y="1492"/>
                    </a:lnTo>
                    <a:lnTo>
                      <a:pt x="1193" y="1492"/>
                    </a:lnTo>
                    <a:close/>
                    <a:moveTo>
                      <a:pt x="1183" y="1425"/>
                    </a:moveTo>
                    <a:lnTo>
                      <a:pt x="1185" y="1425"/>
                    </a:lnTo>
                    <a:lnTo>
                      <a:pt x="1185" y="1427"/>
                    </a:lnTo>
                    <a:lnTo>
                      <a:pt x="1183" y="1427"/>
                    </a:lnTo>
                    <a:lnTo>
                      <a:pt x="1183" y="1425"/>
                    </a:lnTo>
                    <a:close/>
                    <a:moveTo>
                      <a:pt x="1164" y="1396"/>
                    </a:moveTo>
                    <a:lnTo>
                      <a:pt x="1164" y="1398"/>
                    </a:lnTo>
                    <a:lnTo>
                      <a:pt x="1164" y="1396"/>
                    </a:lnTo>
                    <a:close/>
                    <a:moveTo>
                      <a:pt x="1220" y="1526"/>
                    </a:moveTo>
                    <a:lnTo>
                      <a:pt x="1222" y="1526"/>
                    </a:lnTo>
                    <a:lnTo>
                      <a:pt x="1222" y="1527"/>
                    </a:lnTo>
                    <a:lnTo>
                      <a:pt x="1220" y="1527"/>
                    </a:lnTo>
                    <a:lnTo>
                      <a:pt x="1220" y="1526"/>
                    </a:lnTo>
                    <a:close/>
                    <a:moveTo>
                      <a:pt x="1178" y="1517"/>
                    </a:moveTo>
                    <a:lnTo>
                      <a:pt x="1179" y="1517"/>
                    </a:lnTo>
                    <a:lnTo>
                      <a:pt x="1178" y="1517"/>
                    </a:lnTo>
                    <a:close/>
                    <a:moveTo>
                      <a:pt x="1159" y="1356"/>
                    </a:moveTo>
                    <a:lnTo>
                      <a:pt x="1161" y="1356"/>
                    </a:lnTo>
                    <a:lnTo>
                      <a:pt x="1159" y="1356"/>
                    </a:lnTo>
                    <a:close/>
                    <a:moveTo>
                      <a:pt x="1159" y="1390"/>
                    </a:moveTo>
                    <a:lnTo>
                      <a:pt x="1161" y="1390"/>
                    </a:lnTo>
                    <a:lnTo>
                      <a:pt x="1159" y="1390"/>
                    </a:lnTo>
                    <a:close/>
                    <a:moveTo>
                      <a:pt x="1176" y="1386"/>
                    </a:moveTo>
                    <a:lnTo>
                      <a:pt x="1178" y="1386"/>
                    </a:lnTo>
                    <a:lnTo>
                      <a:pt x="1176" y="1386"/>
                    </a:lnTo>
                    <a:close/>
                    <a:moveTo>
                      <a:pt x="1438" y="1680"/>
                    </a:moveTo>
                    <a:lnTo>
                      <a:pt x="1440" y="1680"/>
                    </a:lnTo>
                    <a:lnTo>
                      <a:pt x="1440" y="1682"/>
                    </a:lnTo>
                    <a:lnTo>
                      <a:pt x="1438" y="1682"/>
                    </a:lnTo>
                    <a:lnTo>
                      <a:pt x="1438" y="1680"/>
                    </a:lnTo>
                    <a:close/>
                    <a:moveTo>
                      <a:pt x="1193" y="1140"/>
                    </a:moveTo>
                    <a:lnTo>
                      <a:pt x="1195" y="1140"/>
                    </a:lnTo>
                    <a:lnTo>
                      <a:pt x="1195" y="1141"/>
                    </a:lnTo>
                    <a:lnTo>
                      <a:pt x="1193" y="1141"/>
                    </a:lnTo>
                    <a:lnTo>
                      <a:pt x="1193" y="1140"/>
                    </a:lnTo>
                    <a:close/>
                    <a:moveTo>
                      <a:pt x="1159" y="1420"/>
                    </a:moveTo>
                    <a:lnTo>
                      <a:pt x="1159" y="1422"/>
                    </a:lnTo>
                    <a:lnTo>
                      <a:pt x="1159" y="1420"/>
                    </a:lnTo>
                    <a:close/>
                    <a:moveTo>
                      <a:pt x="1365" y="1660"/>
                    </a:moveTo>
                    <a:lnTo>
                      <a:pt x="1366" y="1660"/>
                    </a:lnTo>
                    <a:lnTo>
                      <a:pt x="1365" y="1660"/>
                    </a:lnTo>
                    <a:close/>
                    <a:moveTo>
                      <a:pt x="1205" y="1500"/>
                    </a:moveTo>
                    <a:lnTo>
                      <a:pt x="1207" y="1500"/>
                    </a:lnTo>
                    <a:lnTo>
                      <a:pt x="1207" y="1502"/>
                    </a:lnTo>
                    <a:lnTo>
                      <a:pt x="1205" y="1502"/>
                    </a:lnTo>
                    <a:lnTo>
                      <a:pt x="1205" y="1500"/>
                    </a:lnTo>
                    <a:close/>
                    <a:moveTo>
                      <a:pt x="1208" y="1053"/>
                    </a:moveTo>
                    <a:lnTo>
                      <a:pt x="1208" y="1054"/>
                    </a:lnTo>
                    <a:lnTo>
                      <a:pt x="1208" y="1053"/>
                    </a:lnTo>
                    <a:close/>
                    <a:moveTo>
                      <a:pt x="1179" y="1425"/>
                    </a:moveTo>
                    <a:lnTo>
                      <a:pt x="1179" y="1427"/>
                    </a:lnTo>
                    <a:lnTo>
                      <a:pt x="1179" y="1425"/>
                    </a:lnTo>
                    <a:close/>
                    <a:moveTo>
                      <a:pt x="1268" y="1597"/>
                    </a:moveTo>
                    <a:lnTo>
                      <a:pt x="1270" y="1597"/>
                    </a:lnTo>
                    <a:lnTo>
                      <a:pt x="1270" y="1599"/>
                    </a:lnTo>
                    <a:lnTo>
                      <a:pt x="1268" y="1599"/>
                    </a:lnTo>
                    <a:lnTo>
                      <a:pt x="1268" y="1597"/>
                    </a:lnTo>
                    <a:close/>
                    <a:moveTo>
                      <a:pt x="1220" y="1560"/>
                    </a:moveTo>
                    <a:lnTo>
                      <a:pt x="1222" y="1560"/>
                    </a:lnTo>
                    <a:lnTo>
                      <a:pt x="1220" y="1560"/>
                    </a:lnTo>
                    <a:close/>
                    <a:moveTo>
                      <a:pt x="1229" y="1570"/>
                    </a:moveTo>
                    <a:lnTo>
                      <a:pt x="1230" y="1570"/>
                    </a:lnTo>
                    <a:lnTo>
                      <a:pt x="1230" y="1572"/>
                    </a:lnTo>
                    <a:lnTo>
                      <a:pt x="1229" y="1572"/>
                    </a:lnTo>
                    <a:lnTo>
                      <a:pt x="1229" y="1570"/>
                    </a:lnTo>
                    <a:close/>
                    <a:moveTo>
                      <a:pt x="1176" y="1245"/>
                    </a:moveTo>
                    <a:lnTo>
                      <a:pt x="1178" y="1245"/>
                    </a:lnTo>
                    <a:lnTo>
                      <a:pt x="1178" y="1247"/>
                    </a:lnTo>
                    <a:lnTo>
                      <a:pt x="1176" y="1247"/>
                    </a:lnTo>
                    <a:lnTo>
                      <a:pt x="1176" y="1245"/>
                    </a:lnTo>
                    <a:close/>
                    <a:moveTo>
                      <a:pt x="1203" y="1549"/>
                    </a:moveTo>
                    <a:lnTo>
                      <a:pt x="1205" y="1549"/>
                    </a:lnTo>
                    <a:lnTo>
                      <a:pt x="1205" y="1551"/>
                    </a:lnTo>
                    <a:lnTo>
                      <a:pt x="1203" y="1551"/>
                    </a:lnTo>
                    <a:lnTo>
                      <a:pt x="1203" y="1549"/>
                    </a:lnTo>
                    <a:close/>
                    <a:moveTo>
                      <a:pt x="1205" y="1095"/>
                    </a:moveTo>
                    <a:lnTo>
                      <a:pt x="1205" y="1097"/>
                    </a:lnTo>
                    <a:lnTo>
                      <a:pt x="1205" y="1095"/>
                    </a:lnTo>
                    <a:close/>
                    <a:moveTo>
                      <a:pt x="1224" y="976"/>
                    </a:moveTo>
                    <a:lnTo>
                      <a:pt x="1225" y="976"/>
                    </a:lnTo>
                    <a:lnTo>
                      <a:pt x="1225" y="978"/>
                    </a:lnTo>
                    <a:lnTo>
                      <a:pt x="1224" y="978"/>
                    </a:lnTo>
                    <a:lnTo>
                      <a:pt x="1224" y="976"/>
                    </a:lnTo>
                    <a:close/>
                    <a:moveTo>
                      <a:pt x="1390" y="1645"/>
                    </a:moveTo>
                    <a:lnTo>
                      <a:pt x="1392" y="1645"/>
                    </a:lnTo>
                    <a:lnTo>
                      <a:pt x="1392" y="1646"/>
                    </a:lnTo>
                    <a:lnTo>
                      <a:pt x="1390" y="1646"/>
                    </a:lnTo>
                    <a:lnTo>
                      <a:pt x="1390" y="1645"/>
                    </a:lnTo>
                    <a:close/>
                    <a:moveTo>
                      <a:pt x="1205" y="1119"/>
                    </a:moveTo>
                    <a:lnTo>
                      <a:pt x="1207" y="1119"/>
                    </a:lnTo>
                    <a:lnTo>
                      <a:pt x="1205" y="1119"/>
                    </a:lnTo>
                    <a:close/>
                    <a:moveTo>
                      <a:pt x="1200" y="1248"/>
                    </a:moveTo>
                    <a:lnTo>
                      <a:pt x="1202" y="1248"/>
                    </a:lnTo>
                    <a:lnTo>
                      <a:pt x="1202" y="1250"/>
                    </a:lnTo>
                    <a:lnTo>
                      <a:pt x="1200" y="1250"/>
                    </a:lnTo>
                    <a:lnTo>
                      <a:pt x="1200" y="1248"/>
                    </a:lnTo>
                    <a:close/>
                    <a:moveTo>
                      <a:pt x="1395" y="1655"/>
                    </a:moveTo>
                    <a:lnTo>
                      <a:pt x="1397" y="1655"/>
                    </a:lnTo>
                    <a:lnTo>
                      <a:pt x="1397" y="1657"/>
                    </a:lnTo>
                    <a:lnTo>
                      <a:pt x="1395" y="1657"/>
                    </a:lnTo>
                    <a:lnTo>
                      <a:pt x="1395" y="1655"/>
                    </a:lnTo>
                    <a:close/>
                    <a:moveTo>
                      <a:pt x="1159" y="1349"/>
                    </a:moveTo>
                    <a:lnTo>
                      <a:pt x="1161" y="1349"/>
                    </a:lnTo>
                    <a:lnTo>
                      <a:pt x="1159" y="1349"/>
                    </a:lnTo>
                    <a:close/>
                    <a:moveTo>
                      <a:pt x="1198" y="1437"/>
                    </a:moveTo>
                    <a:lnTo>
                      <a:pt x="1198" y="1439"/>
                    </a:lnTo>
                    <a:lnTo>
                      <a:pt x="1198" y="1437"/>
                    </a:lnTo>
                    <a:close/>
                    <a:moveTo>
                      <a:pt x="1217" y="1561"/>
                    </a:moveTo>
                    <a:lnTo>
                      <a:pt x="1219" y="1561"/>
                    </a:lnTo>
                    <a:lnTo>
                      <a:pt x="1217" y="1561"/>
                    </a:lnTo>
                    <a:close/>
                    <a:moveTo>
                      <a:pt x="1174" y="1446"/>
                    </a:moveTo>
                    <a:lnTo>
                      <a:pt x="1174" y="1447"/>
                    </a:lnTo>
                    <a:lnTo>
                      <a:pt x="1174" y="1446"/>
                    </a:lnTo>
                    <a:close/>
                    <a:moveTo>
                      <a:pt x="1185" y="1063"/>
                    </a:moveTo>
                    <a:lnTo>
                      <a:pt x="1185" y="1065"/>
                    </a:lnTo>
                    <a:lnTo>
                      <a:pt x="1185" y="1063"/>
                    </a:lnTo>
                    <a:close/>
                    <a:moveTo>
                      <a:pt x="1368" y="1669"/>
                    </a:moveTo>
                    <a:lnTo>
                      <a:pt x="1368" y="1670"/>
                    </a:lnTo>
                    <a:lnTo>
                      <a:pt x="1368" y="1669"/>
                    </a:lnTo>
                    <a:close/>
                    <a:moveTo>
                      <a:pt x="1196" y="1488"/>
                    </a:moveTo>
                    <a:lnTo>
                      <a:pt x="1198" y="1488"/>
                    </a:lnTo>
                    <a:lnTo>
                      <a:pt x="1198" y="1490"/>
                    </a:lnTo>
                    <a:lnTo>
                      <a:pt x="1196" y="1490"/>
                    </a:lnTo>
                    <a:lnTo>
                      <a:pt x="1196" y="1488"/>
                    </a:lnTo>
                    <a:close/>
                    <a:moveTo>
                      <a:pt x="1156" y="1362"/>
                    </a:moveTo>
                    <a:lnTo>
                      <a:pt x="1156" y="1364"/>
                    </a:lnTo>
                    <a:lnTo>
                      <a:pt x="1156" y="1362"/>
                    </a:lnTo>
                    <a:close/>
                    <a:moveTo>
                      <a:pt x="1207" y="1155"/>
                    </a:moveTo>
                    <a:lnTo>
                      <a:pt x="1208" y="1155"/>
                    </a:lnTo>
                    <a:lnTo>
                      <a:pt x="1207" y="1155"/>
                    </a:lnTo>
                    <a:close/>
                    <a:moveTo>
                      <a:pt x="1224" y="956"/>
                    </a:moveTo>
                    <a:lnTo>
                      <a:pt x="1225" y="956"/>
                    </a:lnTo>
                    <a:lnTo>
                      <a:pt x="1225" y="957"/>
                    </a:lnTo>
                    <a:lnTo>
                      <a:pt x="1224" y="957"/>
                    </a:lnTo>
                    <a:lnTo>
                      <a:pt x="1224" y="956"/>
                    </a:lnTo>
                    <a:close/>
                    <a:moveTo>
                      <a:pt x="1196" y="1453"/>
                    </a:moveTo>
                    <a:lnTo>
                      <a:pt x="1198" y="1453"/>
                    </a:lnTo>
                    <a:lnTo>
                      <a:pt x="1198" y="1454"/>
                    </a:lnTo>
                    <a:lnTo>
                      <a:pt x="1196" y="1454"/>
                    </a:lnTo>
                    <a:lnTo>
                      <a:pt x="1196" y="1453"/>
                    </a:lnTo>
                    <a:close/>
                    <a:moveTo>
                      <a:pt x="1193" y="1487"/>
                    </a:moveTo>
                    <a:lnTo>
                      <a:pt x="1193" y="1488"/>
                    </a:lnTo>
                    <a:lnTo>
                      <a:pt x="1193" y="1487"/>
                    </a:lnTo>
                    <a:close/>
                    <a:moveTo>
                      <a:pt x="1191" y="1140"/>
                    </a:moveTo>
                    <a:lnTo>
                      <a:pt x="1193" y="1140"/>
                    </a:lnTo>
                    <a:lnTo>
                      <a:pt x="1191" y="1140"/>
                    </a:lnTo>
                    <a:close/>
                    <a:moveTo>
                      <a:pt x="1222" y="1568"/>
                    </a:moveTo>
                    <a:lnTo>
                      <a:pt x="1224" y="1568"/>
                    </a:lnTo>
                    <a:lnTo>
                      <a:pt x="1222" y="1568"/>
                    </a:lnTo>
                    <a:close/>
                    <a:moveTo>
                      <a:pt x="1220" y="1071"/>
                    </a:moveTo>
                    <a:lnTo>
                      <a:pt x="1220" y="1073"/>
                    </a:lnTo>
                    <a:lnTo>
                      <a:pt x="1220" y="1071"/>
                    </a:lnTo>
                    <a:close/>
                    <a:moveTo>
                      <a:pt x="1440" y="1665"/>
                    </a:moveTo>
                    <a:lnTo>
                      <a:pt x="1440" y="1667"/>
                    </a:lnTo>
                    <a:lnTo>
                      <a:pt x="1440" y="1665"/>
                    </a:lnTo>
                    <a:close/>
                    <a:moveTo>
                      <a:pt x="1149" y="1328"/>
                    </a:moveTo>
                    <a:lnTo>
                      <a:pt x="1149" y="1330"/>
                    </a:lnTo>
                    <a:lnTo>
                      <a:pt x="1149" y="1328"/>
                    </a:lnTo>
                    <a:close/>
                    <a:moveTo>
                      <a:pt x="1188" y="1485"/>
                    </a:moveTo>
                    <a:lnTo>
                      <a:pt x="1188" y="1487"/>
                    </a:lnTo>
                    <a:lnTo>
                      <a:pt x="1188" y="1485"/>
                    </a:lnTo>
                    <a:close/>
                    <a:moveTo>
                      <a:pt x="1174" y="1102"/>
                    </a:moveTo>
                    <a:lnTo>
                      <a:pt x="1176" y="1102"/>
                    </a:lnTo>
                    <a:lnTo>
                      <a:pt x="1176" y="1104"/>
                    </a:lnTo>
                    <a:lnTo>
                      <a:pt x="1174" y="1104"/>
                    </a:lnTo>
                    <a:lnTo>
                      <a:pt x="1174" y="1102"/>
                    </a:lnTo>
                    <a:close/>
                    <a:moveTo>
                      <a:pt x="1389" y="1628"/>
                    </a:moveTo>
                    <a:lnTo>
                      <a:pt x="1390" y="1628"/>
                    </a:lnTo>
                    <a:lnTo>
                      <a:pt x="1389" y="1628"/>
                    </a:lnTo>
                    <a:close/>
                    <a:moveTo>
                      <a:pt x="1220" y="1060"/>
                    </a:moveTo>
                    <a:lnTo>
                      <a:pt x="1222" y="1060"/>
                    </a:lnTo>
                    <a:lnTo>
                      <a:pt x="1222" y="1061"/>
                    </a:lnTo>
                    <a:lnTo>
                      <a:pt x="1220" y="1061"/>
                    </a:lnTo>
                    <a:lnTo>
                      <a:pt x="1220" y="1060"/>
                    </a:lnTo>
                    <a:close/>
                    <a:moveTo>
                      <a:pt x="1225" y="1556"/>
                    </a:moveTo>
                    <a:lnTo>
                      <a:pt x="1225" y="1558"/>
                    </a:lnTo>
                    <a:lnTo>
                      <a:pt x="1225" y="1556"/>
                    </a:lnTo>
                    <a:close/>
                    <a:moveTo>
                      <a:pt x="1190" y="1097"/>
                    </a:moveTo>
                    <a:lnTo>
                      <a:pt x="1190" y="1099"/>
                    </a:lnTo>
                    <a:lnTo>
                      <a:pt x="1190" y="1097"/>
                    </a:lnTo>
                    <a:close/>
                    <a:moveTo>
                      <a:pt x="1188" y="1487"/>
                    </a:moveTo>
                    <a:lnTo>
                      <a:pt x="1190" y="1487"/>
                    </a:lnTo>
                    <a:lnTo>
                      <a:pt x="1190" y="1488"/>
                    </a:lnTo>
                    <a:lnTo>
                      <a:pt x="1188" y="1488"/>
                    </a:lnTo>
                    <a:lnTo>
                      <a:pt x="1188" y="1487"/>
                    </a:lnTo>
                    <a:close/>
                    <a:moveTo>
                      <a:pt x="1196" y="1092"/>
                    </a:moveTo>
                    <a:lnTo>
                      <a:pt x="1198" y="1092"/>
                    </a:lnTo>
                    <a:lnTo>
                      <a:pt x="1196" y="1092"/>
                    </a:lnTo>
                    <a:close/>
                    <a:moveTo>
                      <a:pt x="1166" y="1236"/>
                    </a:moveTo>
                    <a:lnTo>
                      <a:pt x="1168" y="1236"/>
                    </a:lnTo>
                    <a:lnTo>
                      <a:pt x="1166" y="1236"/>
                    </a:lnTo>
                    <a:close/>
                    <a:moveTo>
                      <a:pt x="1181" y="1473"/>
                    </a:moveTo>
                    <a:lnTo>
                      <a:pt x="1183" y="1473"/>
                    </a:lnTo>
                    <a:lnTo>
                      <a:pt x="1183" y="1475"/>
                    </a:lnTo>
                    <a:lnTo>
                      <a:pt x="1181" y="1475"/>
                    </a:lnTo>
                    <a:lnTo>
                      <a:pt x="1181" y="1473"/>
                    </a:lnTo>
                    <a:close/>
                    <a:moveTo>
                      <a:pt x="1152" y="1187"/>
                    </a:moveTo>
                    <a:lnTo>
                      <a:pt x="1154" y="1187"/>
                    </a:lnTo>
                    <a:lnTo>
                      <a:pt x="1152" y="1187"/>
                    </a:lnTo>
                    <a:close/>
                    <a:moveTo>
                      <a:pt x="1219" y="1583"/>
                    </a:moveTo>
                    <a:lnTo>
                      <a:pt x="1220" y="1583"/>
                    </a:lnTo>
                    <a:lnTo>
                      <a:pt x="1220" y="1585"/>
                    </a:lnTo>
                    <a:lnTo>
                      <a:pt x="1219" y="1585"/>
                    </a:lnTo>
                    <a:lnTo>
                      <a:pt x="1219" y="1583"/>
                    </a:lnTo>
                    <a:close/>
                    <a:moveTo>
                      <a:pt x="1162" y="1240"/>
                    </a:moveTo>
                    <a:lnTo>
                      <a:pt x="1164" y="1240"/>
                    </a:lnTo>
                    <a:lnTo>
                      <a:pt x="1164" y="1242"/>
                    </a:lnTo>
                    <a:lnTo>
                      <a:pt x="1162" y="1242"/>
                    </a:lnTo>
                    <a:lnTo>
                      <a:pt x="1162" y="1240"/>
                    </a:lnTo>
                    <a:close/>
                    <a:moveTo>
                      <a:pt x="1237" y="1590"/>
                    </a:moveTo>
                    <a:lnTo>
                      <a:pt x="1237" y="1592"/>
                    </a:lnTo>
                    <a:lnTo>
                      <a:pt x="1237" y="1590"/>
                    </a:lnTo>
                    <a:close/>
                    <a:moveTo>
                      <a:pt x="1239" y="1582"/>
                    </a:moveTo>
                    <a:lnTo>
                      <a:pt x="1241" y="1582"/>
                    </a:lnTo>
                    <a:lnTo>
                      <a:pt x="1241" y="1583"/>
                    </a:lnTo>
                    <a:lnTo>
                      <a:pt x="1239" y="1583"/>
                    </a:lnTo>
                    <a:lnTo>
                      <a:pt x="1239" y="1582"/>
                    </a:lnTo>
                    <a:close/>
                    <a:moveTo>
                      <a:pt x="1190" y="1485"/>
                    </a:moveTo>
                    <a:lnTo>
                      <a:pt x="1191" y="1485"/>
                    </a:lnTo>
                    <a:lnTo>
                      <a:pt x="1191" y="1487"/>
                    </a:lnTo>
                    <a:lnTo>
                      <a:pt x="1190" y="1487"/>
                    </a:lnTo>
                    <a:lnTo>
                      <a:pt x="1190" y="1485"/>
                    </a:lnTo>
                    <a:close/>
                    <a:moveTo>
                      <a:pt x="1220" y="1541"/>
                    </a:moveTo>
                    <a:lnTo>
                      <a:pt x="1224" y="1541"/>
                    </a:lnTo>
                    <a:lnTo>
                      <a:pt x="1224" y="1543"/>
                    </a:lnTo>
                    <a:lnTo>
                      <a:pt x="1220" y="1543"/>
                    </a:lnTo>
                    <a:lnTo>
                      <a:pt x="1220" y="1541"/>
                    </a:lnTo>
                    <a:close/>
                    <a:moveTo>
                      <a:pt x="1183" y="1483"/>
                    </a:moveTo>
                    <a:lnTo>
                      <a:pt x="1185" y="1483"/>
                    </a:lnTo>
                    <a:lnTo>
                      <a:pt x="1183" y="1483"/>
                    </a:lnTo>
                    <a:close/>
                    <a:moveTo>
                      <a:pt x="1210" y="1560"/>
                    </a:moveTo>
                    <a:lnTo>
                      <a:pt x="1212" y="1560"/>
                    </a:lnTo>
                    <a:lnTo>
                      <a:pt x="1210" y="1560"/>
                    </a:lnTo>
                    <a:close/>
                    <a:moveTo>
                      <a:pt x="1205" y="1119"/>
                    </a:moveTo>
                    <a:lnTo>
                      <a:pt x="1205" y="1121"/>
                    </a:lnTo>
                    <a:lnTo>
                      <a:pt x="1205" y="1119"/>
                    </a:lnTo>
                    <a:close/>
                    <a:moveTo>
                      <a:pt x="1280" y="432"/>
                    </a:moveTo>
                    <a:lnTo>
                      <a:pt x="1280" y="434"/>
                    </a:lnTo>
                    <a:lnTo>
                      <a:pt x="1280" y="432"/>
                    </a:lnTo>
                    <a:close/>
                    <a:moveTo>
                      <a:pt x="1171" y="1381"/>
                    </a:moveTo>
                    <a:lnTo>
                      <a:pt x="1173" y="1381"/>
                    </a:lnTo>
                    <a:lnTo>
                      <a:pt x="1171" y="1381"/>
                    </a:lnTo>
                    <a:close/>
                    <a:moveTo>
                      <a:pt x="1219" y="956"/>
                    </a:moveTo>
                    <a:lnTo>
                      <a:pt x="1219" y="957"/>
                    </a:lnTo>
                    <a:lnTo>
                      <a:pt x="1219" y="956"/>
                    </a:lnTo>
                    <a:close/>
                    <a:moveTo>
                      <a:pt x="1229" y="1566"/>
                    </a:moveTo>
                    <a:lnTo>
                      <a:pt x="1230" y="1566"/>
                    </a:lnTo>
                    <a:lnTo>
                      <a:pt x="1229" y="1566"/>
                    </a:lnTo>
                    <a:close/>
                    <a:moveTo>
                      <a:pt x="1280" y="1595"/>
                    </a:moveTo>
                    <a:lnTo>
                      <a:pt x="1281" y="1595"/>
                    </a:lnTo>
                    <a:lnTo>
                      <a:pt x="1281" y="1597"/>
                    </a:lnTo>
                    <a:lnTo>
                      <a:pt x="1280" y="1597"/>
                    </a:lnTo>
                    <a:lnTo>
                      <a:pt x="1280" y="1595"/>
                    </a:lnTo>
                    <a:close/>
                    <a:moveTo>
                      <a:pt x="1219" y="1556"/>
                    </a:moveTo>
                    <a:lnTo>
                      <a:pt x="1222" y="1556"/>
                    </a:lnTo>
                    <a:lnTo>
                      <a:pt x="1219" y="1556"/>
                    </a:lnTo>
                    <a:close/>
                    <a:moveTo>
                      <a:pt x="1360" y="1648"/>
                    </a:moveTo>
                    <a:lnTo>
                      <a:pt x="1361" y="1648"/>
                    </a:lnTo>
                    <a:lnTo>
                      <a:pt x="1361" y="1650"/>
                    </a:lnTo>
                    <a:lnTo>
                      <a:pt x="1360" y="1650"/>
                    </a:lnTo>
                    <a:lnTo>
                      <a:pt x="1360" y="1648"/>
                    </a:lnTo>
                    <a:close/>
                    <a:moveTo>
                      <a:pt x="1254" y="1595"/>
                    </a:moveTo>
                    <a:lnTo>
                      <a:pt x="1254" y="1597"/>
                    </a:lnTo>
                    <a:lnTo>
                      <a:pt x="1254" y="1595"/>
                    </a:lnTo>
                    <a:close/>
                    <a:moveTo>
                      <a:pt x="1154" y="1243"/>
                    </a:moveTo>
                    <a:lnTo>
                      <a:pt x="1156" y="1243"/>
                    </a:lnTo>
                    <a:lnTo>
                      <a:pt x="1156" y="1245"/>
                    </a:lnTo>
                    <a:lnTo>
                      <a:pt x="1154" y="1245"/>
                    </a:lnTo>
                    <a:lnTo>
                      <a:pt x="1154" y="1243"/>
                    </a:lnTo>
                    <a:close/>
                    <a:moveTo>
                      <a:pt x="1205" y="1094"/>
                    </a:moveTo>
                    <a:lnTo>
                      <a:pt x="1205" y="1095"/>
                    </a:lnTo>
                    <a:lnTo>
                      <a:pt x="1205" y="1094"/>
                    </a:lnTo>
                    <a:close/>
                    <a:moveTo>
                      <a:pt x="1188" y="1276"/>
                    </a:moveTo>
                    <a:lnTo>
                      <a:pt x="1190" y="1276"/>
                    </a:lnTo>
                    <a:lnTo>
                      <a:pt x="1190" y="1277"/>
                    </a:lnTo>
                    <a:lnTo>
                      <a:pt x="1188" y="1277"/>
                    </a:lnTo>
                    <a:lnTo>
                      <a:pt x="1188" y="1276"/>
                    </a:lnTo>
                    <a:close/>
                    <a:moveTo>
                      <a:pt x="1159" y="1388"/>
                    </a:moveTo>
                    <a:lnTo>
                      <a:pt x="1161" y="1388"/>
                    </a:lnTo>
                    <a:lnTo>
                      <a:pt x="1161" y="1390"/>
                    </a:lnTo>
                    <a:lnTo>
                      <a:pt x="1159" y="1390"/>
                    </a:lnTo>
                    <a:lnTo>
                      <a:pt x="1159" y="1388"/>
                    </a:lnTo>
                    <a:close/>
                    <a:moveTo>
                      <a:pt x="1205" y="1250"/>
                    </a:moveTo>
                    <a:lnTo>
                      <a:pt x="1207" y="1250"/>
                    </a:lnTo>
                    <a:lnTo>
                      <a:pt x="1207" y="1252"/>
                    </a:lnTo>
                    <a:lnTo>
                      <a:pt x="1205" y="1252"/>
                    </a:lnTo>
                    <a:lnTo>
                      <a:pt x="1205" y="1250"/>
                    </a:lnTo>
                    <a:close/>
                    <a:moveTo>
                      <a:pt x="1166" y="1242"/>
                    </a:moveTo>
                    <a:lnTo>
                      <a:pt x="1166" y="1243"/>
                    </a:lnTo>
                    <a:lnTo>
                      <a:pt x="1166" y="1242"/>
                    </a:lnTo>
                    <a:close/>
                    <a:moveTo>
                      <a:pt x="1263" y="1590"/>
                    </a:moveTo>
                    <a:lnTo>
                      <a:pt x="1264" y="1590"/>
                    </a:lnTo>
                    <a:lnTo>
                      <a:pt x="1264" y="1592"/>
                    </a:lnTo>
                    <a:lnTo>
                      <a:pt x="1263" y="1592"/>
                    </a:lnTo>
                    <a:lnTo>
                      <a:pt x="1263" y="1590"/>
                    </a:lnTo>
                    <a:close/>
                    <a:moveTo>
                      <a:pt x="1321" y="1626"/>
                    </a:moveTo>
                    <a:lnTo>
                      <a:pt x="1322" y="1626"/>
                    </a:lnTo>
                    <a:lnTo>
                      <a:pt x="1321" y="1626"/>
                    </a:lnTo>
                    <a:close/>
                    <a:moveTo>
                      <a:pt x="1176" y="1432"/>
                    </a:moveTo>
                    <a:lnTo>
                      <a:pt x="1178" y="1432"/>
                    </a:lnTo>
                    <a:lnTo>
                      <a:pt x="1176" y="1432"/>
                    </a:lnTo>
                    <a:close/>
                    <a:moveTo>
                      <a:pt x="1220" y="1556"/>
                    </a:moveTo>
                    <a:lnTo>
                      <a:pt x="1220" y="1558"/>
                    </a:lnTo>
                    <a:lnTo>
                      <a:pt x="1220" y="1556"/>
                    </a:lnTo>
                    <a:close/>
                    <a:moveTo>
                      <a:pt x="1202" y="1058"/>
                    </a:moveTo>
                    <a:lnTo>
                      <a:pt x="1203" y="1058"/>
                    </a:lnTo>
                    <a:lnTo>
                      <a:pt x="1203" y="1060"/>
                    </a:lnTo>
                    <a:lnTo>
                      <a:pt x="1202" y="1060"/>
                    </a:lnTo>
                    <a:lnTo>
                      <a:pt x="1202" y="1058"/>
                    </a:lnTo>
                    <a:close/>
                    <a:moveTo>
                      <a:pt x="1339" y="1660"/>
                    </a:moveTo>
                    <a:lnTo>
                      <a:pt x="1339" y="1662"/>
                    </a:lnTo>
                    <a:lnTo>
                      <a:pt x="1339" y="1660"/>
                    </a:lnTo>
                    <a:close/>
                    <a:moveTo>
                      <a:pt x="1205" y="1122"/>
                    </a:moveTo>
                    <a:lnTo>
                      <a:pt x="1205" y="1124"/>
                    </a:lnTo>
                    <a:lnTo>
                      <a:pt x="1205" y="1122"/>
                    </a:lnTo>
                    <a:close/>
                    <a:moveTo>
                      <a:pt x="1295" y="1616"/>
                    </a:moveTo>
                    <a:lnTo>
                      <a:pt x="1297" y="1616"/>
                    </a:lnTo>
                    <a:lnTo>
                      <a:pt x="1297" y="1618"/>
                    </a:lnTo>
                    <a:lnTo>
                      <a:pt x="1295" y="1618"/>
                    </a:lnTo>
                    <a:lnTo>
                      <a:pt x="1295" y="1616"/>
                    </a:lnTo>
                    <a:close/>
                    <a:moveTo>
                      <a:pt x="1326" y="1650"/>
                    </a:moveTo>
                    <a:lnTo>
                      <a:pt x="1327" y="1650"/>
                    </a:lnTo>
                    <a:lnTo>
                      <a:pt x="1327" y="1652"/>
                    </a:lnTo>
                    <a:lnTo>
                      <a:pt x="1326" y="1652"/>
                    </a:lnTo>
                    <a:lnTo>
                      <a:pt x="1326" y="1650"/>
                    </a:lnTo>
                    <a:close/>
                    <a:moveTo>
                      <a:pt x="1169" y="1434"/>
                    </a:moveTo>
                    <a:lnTo>
                      <a:pt x="1171" y="1434"/>
                    </a:lnTo>
                    <a:lnTo>
                      <a:pt x="1169" y="1434"/>
                    </a:lnTo>
                    <a:close/>
                    <a:moveTo>
                      <a:pt x="1251" y="1597"/>
                    </a:moveTo>
                    <a:lnTo>
                      <a:pt x="1251" y="1599"/>
                    </a:lnTo>
                    <a:lnTo>
                      <a:pt x="1251" y="1597"/>
                    </a:lnTo>
                    <a:close/>
                    <a:moveTo>
                      <a:pt x="1159" y="1349"/>
                    </a:moveTo>
                    <a:lnTo>
                      <a:pt x="1161" y="1349"/>
                    </a:lnTo>
                    <a:lnTo>
                      <a:pt x="1159" y="1349"/>
                    </a:lnTo>
                    <a:close/>
                    <a:moveTo>
                      <a:pt x="1227" y="1583"/>
                    </a:moveTo>
                    <a:lnTo>
                      <a:pt x="1229" y="1583"/>
                    </a:lnTo>
                    <a:lnTo>
                      <a:pt x="1227" y="1583"/>
                    </a:lnTo>
                    <a:close/>
                    <a:moveTo>
                      <a:pt x="1219" y="1524"/>
                    </a:moveTo>
                    <a:lnTo>
                      <a:pt x="1220" y="1524"/>
                    </a:lnTo>
                    <a:lnTo>
                      <a:pt x="1220" y="1526"/>
                    </a:lnTo>
                    <a:lnTo>
                      <a:pt x="1219" y="1526"/>
                    </a:lnTo>
                    <a:lnTo>
                      <a:pt x="1219" y="1524"/>
                    </a:lnTo>
                    <a:close/>
                    <a:moveTo>
                      <a:pt x="1188" y="1447"/>
                    </a:moveTo>
                    <a:lnTo>
                      <a:pt x="1190" y="1447"/>
                    </a:lnTo>
                    <a:lnTo>
                      <a:pt x="1190" y="1449"/>
                    </a:lnTo>
                    <a:lnTo>
                      <a:pt x="1188" y="1449"/>
                    </a:lnTo>
                    <a:lnTo>
                      <a:pt x="1188" y="1447"/>
                    </a:lnTo>
                    <a:close/>
                    <a:moveTo>
                      <a:pt x="1154" y="1185"/>
                    </a:moveTo>
                    <a:lnTo>
                      <a:pt x="1156" y="1185"/>
                    </a:lnTo>
                    <a:lnTo>
                      <a:pt x="1156" y="1187"/>
                    </a:lnTo>
                    <a:lnTo>
                      <a:pt x="1154" y="1187"/>
                    </a:lnTo>
                    <a:lnTo>
                      <a:pt x="1154" y="1185"/>
                    </a:lnTo>
                    <a:close/>
                    <a:moveTo>
                      <a:pt x="1149" y="1332"/>
                    </a:moveTo>
                    <a:lnTo>
                      <a:pt x="1151" y="1332"/>
                    </a:lnTo>
                    <a:lnTo>
                      <a:pt x="1149" y="1332"/>
                    </a:lnTo>
                    <a:close/>
                    <a:moveTo>
                      <a:pt x="1385" y="1662"/>
                    </a:moveTo>
                    <a:lnTo>
                      <a:pt x="1385" y="1663"/>
                    </a:lnTo>
                    <a:lnTo>
                      <a:pt x="1385" y="1662"/>
                    </a:lnTo>
                    <a:close/>
                    <a:moveTo>
                      <a:pt x="1186" y="1485"/>
                    </a:moveTo>
                    <a:lnTo>
                      <a:pt x="1188" y="1485"/>
                    </a:lnTo>
                    <a:lnTo>
                      <a:pt x="1186" y="1485"/>
                    </a:lnTo>
                    <a:close/>
                    <a:moveTo>
                      <a:pt x="1181" y="1459"/>
                    </a:moveTo>
                    <a:lnTo>
                      <a:pt x="1181" y="1461"/>
                    </a:lnTo>
                    <a:lnTo>
                      <a:pt x="1181" y="1459"/>
                    </a:lnTo>
                    <a:close/>
                    <a:moveTo>
                      <a:pt x="1361" y="1670"/>
                    </a:moveTo>
                    <a:lnTo>
                      <a:pt x="1363" y="1670"/>
                    </a:lnTo>
                    <a:lnTo>
                      <a:pt x="1361" y="1670"/>
                    </a:lnTo>
                    <a:close/>
                    <a:moveTo>
                      <a:pt x="1210" y="1090"/>
                    </a:moveTo>
                    <a:lnTo>
                      <a:pt x="1212" y="1090"/>
                    </a:lnTo>
                    <a:lnTo>
                      <a:pt x="1212" y="1092"/>
                    </a:lnTo>
                    <a:lnTo>
                      <a:pt x="1210" y="1092"/>
                    </a:lnTo>
                    <a:lnTo>
                      <a:pt x="1210" y="1090"/>
                    </a:lnTo>
                    <a:close/>
                    <a:moveTo>
                      <a:pt x="1183" y="1071"/>
                    </a:moveTo>
                    <a:lnTo>
                      <a:pt x="1183" y="1073"/>
                    </a:lnTo>
                    <a:lnTo>
                      <a:pt x="1183" y="1071"/>
                    </a:lnTo>
                    <a:close/>
                    <a:moveTo>
                      <a:pt x="1205" y="1105"/>
                    </a:moveTo>
                    <a:lnTo>
                      <a:pt x="1207" y="1105"/>
                    </a:lnTo>
                    <a:lnTo>
                      <a:pt x="1205" y="1105"/>
                    </a:lnTo>
                    <a:close/>
                    <a:moveTo>
                      <a:pt x="1258" y="1602"/>
                    </a:moveTo>
                    <a:lnTo>
                      <a:pt x="1259" y="1602"/>
                    </a:lnTo>
                    <a:lnTo>
                      <a:pt x="1258" y="1602"/>
                    </a:lnTo>
                    <a:close/>
                    <a:moveTo>
                      <a:pt x="1220" y="1505"/>
                    </a:moveTo>
                    <a:lnTo>
                      <a:pt x="1222" y="1505"/>
                    </a:lnTo>
                    <a:lnTo>
                      <a:pt x="1222" y="1507"/>
                    </a:lnTo>
                    <a:lnTo>
                      <a:pt x="1220" y="1507"/>
                    </a:lnTo>
                    <a:lnTo>
                      <a:pt x="1220" y="1505"/>
                    </a:lnTo>
                    <a:close/>
                    <a:moveTo>
                      <a:pt x="1186" y="1444"/>
                    </a:moveTo>
                    <a:lnTo>
                      <a:pt x="1188" y="1444"/>
                    </a:lnTo>
                    <a:lnTo>
                      <a:pt x="1186" y="1444"/>
                    </a:lnTo>
                    <a:close/>
                    <a:moveTo>
                      <a:pt x="1404" y="1648"/>
                    </a:moveTo>
                    <a:lnTo>
                      <a:pt x="1406" y="1648"/>
                    </a:lnTo>
                    <a:lnTo>
                      <a:pt x="1404" y="1648"/>
                    </a:lnTo>
                    <a:close/>
                    <a:moveTo>
                      <a:pt x="1378" y="1665"/>
                    </a:moveTo>
                    <a:lnTo>
                      <a:pt x="1380" y="1665"/>
                    </a:lnTo>
                    <a:lnTo>
                      <a:pt x="1378" y="1665"/>
                    </a:lnTo>
                    <a:close/>
                    <a:moveTo>
                      <a:pt x="1343" y="1663"/>
                    </a:moveTo>
                    <a:lnTo>
                      <a:pt x="1344" y="1663"/>
                    </a:lnTo>
                    <a:lnTo>
                      <a:pt x="1344" y="1665"/>
                    </a:lnTo>
                    <a:lnTo>
                      <a:pt x="1343" y="1665"/>
                    </a:lnTo>
                    <a:lnTo>
                      <a:pt x="1343" y="1663"/>
                    </a:lnTo>
                    <a:close/>
                    <a:moveTo>
                      <a:pt x="1414" y="1679"/>
                    </a:moveTo>
                    <a:lnTo>
                      <a:pt x="1416" y="1679"/>
                    </a:lnTo>
                    <a:lnTo>
                      <a:pt x="1416" y="1680"/>
                    </a:lnTo>
                    <a:lnTo>
                      <a:pt x="1414" y="1680"/>
                    </a:lnTo>
                    <a:lnTo>
                      <a:pt x="1414" y="1679"/>
                    </a:lnTo>
                    <a:close/>
                    <a:moveTo>
                      <a:pt x="1220" y="1075"/>
                    </a:moveTo>
                    <a:lnTo>
                      <a:pt x="1220" y="1077"/>
                    </a:lnTo>
                    <a:lnTo>
                      <a:pt x="1220" y="1075"/>
                    </a:lnTo>
                    <a:close/>
                    <a:moveTo>
                      <a:pt x="1222" y="1561"/>
                    </a:moveTo>
                    <a:lnTo>
                      <a:pt x="1224" y="1561"/>
                    </a:lnTo>
                    <a:lnTo>
                      <a:pt x="1222" y="1561"/>
                    </a:lnTo>
                    <a:close/>
                    <a:moveTo>
                      <a:pt x="1176" y="1141"/>
                    </a:moveTo>
                    <a:lnTo>
                      <a:pt x="1178" y="1141"/>
                    </a:lnTo>
                    <a:lnTo>
                      <a:pt x="1178" y="1143"/>
                    </a:lnTo>
                    <a:lnTo>
                      <a:pt x="1176" y="1143"/>
                    </a:lnTo>
                    <a:lnTo>
                      <a:pt x="1176" y="1141"/>
                    </a:lnTo>
                    <a:close/>
                    <a:moveTo>
                      <a:pt x="1356" y="1653"/>
                    </a:moveTo>
                    <a:lnTo>
                      <a:pt x="1358" y="1653"/>
                    </a:lnTo>
                    <a:lnTo>
                      <a:pt x="1358" y="1655"/>
                    </a:lnTo>
                    <a:lnTo>
                      <a:pt x="1356" y="1655"/>
                    </a:lnTo>
                    <a:lnTo>
                      <a:pt x="1356" y="1653"/>
                    </a:lnTo>
                    <a:close/>
                    <a:moveTo>
                      <a:pt x="1213" y="1012"/>
                    </a:moveTo>
                    <a:lnTo>
                      <a:pt x="1215" y="1012"/>
                    </a:lnTo>
                    <a:lnTo>
                      <a:pt x="1215" y="1014"/>
                    </a:lnTo>
                    <a:lnTo>
                      <a:pt x="1213" y="1014"/>
                    </a:lnTo>
                    <a:lnTo>
                      <a:pt x="1213" y="1012"/>
                    </a:lnTo>
                    <a:close/>
                    <a:moveTo>
                      <a:pt x="1139" y="1311"/>
                    </a:moveTo>
                    <a:lnTo>
                      <a:pt x="1140" y="1311"/>
                    </a:lnTo>
                    <a:lnTo>
                      <a:pt x="1140" y="1313"/>
                    </a:lnTo>
                    <a:lnTo>
                      <a:pt x="1139" y="1313"/>
                    </a:lnTo>
                    <a:lnTo>
                      <a:pt x="1139" y="1311"/>
                    </a:lnTo>
                    <a:close/>
                    <a:moveTo>
                      <a:pt x="1215" y="1517"/>
                    </a:moveTo>
                    <a:lnTo>
                      <a:pt x="1217" y="1517"/>
                    </a:lnTo>
                    <a:lnTo>
                      <a:pt x="1215" y="1517"/>
                    </a:lnTo>
                    <a:close/>
                    <a:moveTo>
                      <a:pt x="1178" y="1444"/>
                    </a:moveTo>
                    <a:lnTo>
                      <a:pt x="1179" y="1444"/>
                    </a:lnTo>
                    <a:lnTo>
                      <a:pt x="1178" y="1444"/>
                    </a:lnTo>
                    <a:close/>
                    <a:moveTo>
                      <a:pt x="1188" y="1430"/>
                    </a:moveTo>
                    <a:lnTo>
                      <a:pt x="1190" y="1430"/>
                    </a:lnTo>
                    <a:lnTo>
                      <a:pt x="1188" y="1430"/>
                    </a:lnTo>
                    <a:close/>
                    <a:moveTo>
                      <a:pt x="1203" y="1082"/>
                    </a:moveTo>
                    <a:lnTo>
                      <a:pt x="1205" y="1082"/>
                    </a:lnTo>
                    <a:lnTo>
                      <a:pt x="1203" y="1082"/>
                    </a:lnTo>
                    <a:close/>
                    <a:moveTo>
                      <a:pt x="1225" y="1575"/>
                    </a:moveTo>
                    <a:lnTo>
                      <a:pt x="1227" y="1575"/>
                    </a:lnTo>
                    <a:lnTo>
                      <a:pt x="1225" y="1575"/>
                    </a:lnTo>
                    <a:close/>
                    <a:moveTo>
                      <a:pt x="1258" y="1587"/>
                    </a:moveTo>
                    <a:lnTo>
                      <a:pt x="1258" y="1589"/>
                    </a:lnTo>
                    <a:lnTo>
                      <a:pt x="1258" y="1587"/>
                    </a:lnTo>
                    <a:close/>
                    <a:moveTo>
                      <a:pt x="1183" y="1446"/>
                    </a:moveTo>
                    <a:lnTo>
                      <a:pt x="1185" y="1446"/>
                    </a:lnTo>
                    <a:lnTo>
                      <a:pt x="1185" y="1447"/>
                    </a:lnTo>
                    <a:lnTo>
                      <a:pt x="1183" y="1447"/>
                    </a:lnTo>
                    <a:lnTo>
                      <a:pt x="1183" y="1446"/>
                    </a:lnTo>
                    <a:close/>
                    <a:moveTo>
                      <a:pt x="1142" y="1301"/>
                    </a:moveTo>
                    <a:lnTo>
                      <a:pt x="1144" y="1301"/>
                    </a:lnTo>
                    <a:lnTo>
                      <a:pt x="1142" y="1301"/>
                    </a:lnTo>
                    <a:close/>
                    <a:moveTo>
                      <a:pt x="1185" y="1425"/>
                    </a:moveTo>
                    <a:lnTo>
                      <a:pt x="1186" y="1425"/>
                    </a:lnTo>
                    <a:lnTo>
                      <a:pt x="1185" y="1425"/>
                    </a:lnTo>
                    <a:close/>
                    <a:moveTo>
                      <a:pt x="1283" y="1612"/>
                    </a:moveTo>
                    <a:lnTo>
                      <a:pt x="1283" y="1614"/>
                    </a:lnTo>
                    <a:lnTo>
                      <a:pt x="1283" y="1612"/>
                    </a:lnTo>
                    <a:close/>
                    <a:moveTo>
                      <a:pt x="1191" y="1126"/>
                    </a:moveTo>
                    <a:lnTo>
                      <a:pt x="1191" y="1128"/>
                    </a:lnTo>
                    <a:lnTo>
                      <a:pt x="1191" y="1126"/>
                    </a:lnTo>
                    <a:close/>
                    <a:moveTo>
                      <a:pt x="1261" y="1590"/>
                    </a:moveTo>
                    <a:lnTo>
                      <a:pt x="1261" y="1592"/>
                    </a:lnTo>
                    <a:lnTo>
                      <a:pt x="1261" y="1590"/>
                    </a:lnTo>
                    <a:close/>
                    <a:moveTo>
                      <a:pt x="1190" y="1071"/>
                    </a:moveTo>
                    <a:lnTo>
                      <a:pt x="1190" y="1073"/>
                    </a:lnTo>
                    <a:lnTo>
                      <a:pt x="1190" y="1071"/>
                    </a:lnTo>
                    <a:close/>
                    <a:moveTo>
                      <a:pt x="1193" y="1140"/>
                    </a:moveTo>
                    <a:lnTo>
                      <a:pt x="1195" y="1140"/>
                    </a:lnTo>
                    <a:lnTo>
                      <a:pt x="1195" y="1141"/>
                    </a:lnTo>
                    <a:lnTo>
                      <a:pt x="1193" y="1141"/>
                    </a:lnTo>
                    <a:lnTo>
                      <a:pt x="1193" y="1140"/>
                    </a:lnTo>
                    <a:close/>
                    <a:moveTo>
                      <a:pt x="1360" y="1665"/>
                    </a:moveTo>
                    <a:lnTo>
                      <a:pt x="1361" y="1665"/>
                    </a:lnTo>
                    <a:lnTo>
                      <a:pt x="1360" y="1665"/>
                    </a:lnTo>
                    <a:close/>
                    <a:moveTo>
                      <a:pt x="1213" y="1517"/>
                    </a:moveTo>
                    <a:lnTo>
                      <a:pt x="1213" y="1519"/>
                    </a:lnTo>
                    <a:lnTo>
                      <a:pt x="1213" y="1517"/>
                    </a:lnTo>
                    <a:close/>
                    <a:moveTo>
                      <a:pt x="1229" y="1577"/>
                    </a:moveTo>
                    <a:lnTo>
                      <a:pt x="1230" y="1577"/>
                    </a:lnTo>
                    <a:lnTo>
                      <a:pt x="1229" y="1577"/>
                    </a:lnTo>
                    <a:close/>
                    <a:moveTo>
                      <a:pt x="1169" y="1415"/>
                    </a:moveTo>
                    <a:lnTo>
                      <a:pt x="1171" y="1415"/>
                    </a:lnTo>
                    <a:lnTo>
                      <a:pt x="1169" y="1415"/>
                    </a:lnTo>
                    <a:close/>
                    <a:moveTo>
                      <a:pt x="1219" y="1565"/>
                    </a:moveTo>
                    <a:lnTo>
                      <a:pt x="1220" y="1565"/>
                    </a:lnTo>
                    <a:lnTo>
                      <a:pt x="1219" y="1565"/>
                    </a:lnTo>
                    <a:close/>
                    <a:moveTo>
                      <a:pt x="1142" y="1299"/>
                    </a:moveTo>
                    <a:lnTo>
                      <a:pt x="1144" y="1299"/>
                    </a:lnTo>
                    <a:lnTo>
                      <a:pt x="1142" y="1299"/>
                    </a:lnTo>
                    <a:close/>
                    <a:moveTo>
                      <a:pt x="1273" y="1609"/>
                    </a:moveTo>
                    <a:lnTo>
                      <a:pt x="1275" y="1609"/>
                    </a:lnTo>
                    <a:lnTo>
                      <a:pt x="1275" y="1611"/>
                    </a:lnTo>
                    <a:lnTo>
                      <a:pt x="1273" y="1611"/>
                    </a:lnTo>
                    <a:lnTo>
                      <a:pt x="1273" y="1609"/>
                    </a:lnTo>
                    <a:close/>
                    <a:moveTo>
                      <a:pt x="1217" y="1565"/>
                    </a:moveTo>
                    <a:lnTo>
                      <a:pt x="1219" y="1565"/>
                    </a:lnTo>
                    <a:lnTo>
                      <a:pt x="1217" y="1565"/>
                    </a:lnTo>
                    <a:close/>
                    <a:moveTo>
                      <a:pt x="1183" y="1439"/>
                    </a:moveTo>
                    <a:lnTo>
                      <a:pt x="1185" y="1439"/>
                    </a:lnTo>
                    <a:lnTo>
                      <a:pt x="1185" y="1441"/>
                    </a:lnTo>
                    <a:lnTo>
                      <a:pt x="1183" y="1441"/>
                    </a:lnTo>
                    <a:lnTo>
                      <a:pt x="1183" y="1439"/>
                    </a:lnTo>
                    <a:close/>
                    <a:moveTo>
                      <a:pt x="1361" y="1599"/>
                    </a:moveTo>
                    <a:lnTo>
                      <a:pt x="1363" y="1599"/>
                    </a:lnTo>
                    <a:lnTo>
                      <a:pt x="1363" y="1600"/>
                    </a:lnTo>
                    <a:lnTo>
                      <a:pt x="1361" y="1600"/>
                    </a:lnTo>
                    <a:lnTo>
                      <a:pt x="1361" y="1599"/>
                    </a:lnTo>
                    <a:close/>
                    <a:moveTo>
                      <a:pt x="1219" y="1136"/>
                    </a:moveTo>
                    <a:lnTo>
                      <a:pt x="1220" y="1136"/>
                    </a:lnTo>
                    <a:lnTo>
                      <a:pt x="1219" y="1136"/>
                    </a:lnTo>
                    <a:close/>
                    <a:moveTo>
                      <a:pt x="1232" y="1507"/>
                    </a:moveTo>
                    <a:lnTo>
                      <a:pt x="1234" y="1507"/>
                    </a:lnTo>
                    <a:lnTo>
                      <a:pt x="1232" y="1507"/>
                    </a:lnTo>
                    <a:close/>
                    <a:moveTo>
                      <a:pt x="1358" y="1655"/>
                    </a:moveTo>
                    <a:lnTo>
                      <a:pt x="1360" y="1655"/>
                    </a:lnTo>
                    <a:lnTo>
                      <a:pt x="1360" y="1657"/>
                    </a:lnTo>
                    <a:lnTo>
                      <a:pt x="1358" y="1657"/>
                    </a:lnTo>
                    <a:lnTo>
                      <a:pt x="1358" y="1655"/>
                    </a:lnTo>
                    <a:close/>
                    <a:moveTo>
                      <a:pt x="1151" y="1330"/>
                    </a:moveTo>
                    <a:lnTo>
                      <a:pt x="1152" y="1330"/>
                    </a:lnTo>
                    <a:lnTo>
                      <a:pt x="1152" y="1332"/>
                    </a:lnTo>
                    <a:lnTo>
                      <a:pt x="1151" y="1332"/>
                    </a:lnTo>
                    <a:lnTo>
                      <a:pt x="1151" y="1330"/>
                    </a:lnTo>
                    <a:close/>
                    <a:moveTo>
                      <a:pt x="1200" y="1527"/>
                    </a:moveTo>
                    <a:lnTo>
                      <a:pt x="1202" y="1527"/>
                    </a:lnTo>
                    <a:lnTo>
                      <a:pt x="1202" y="1529"/>
                    </a:lnTo>
                    <a:lnTo>
                      <a:pt x="1200" y="1529"/>
                    </a:lnTo>
                    <a:lnTo>
                      <a:pt x="1200" y="1527"/>
                    </a:lnTo>
                    <a:close/>
                    <a:moveTo>
                      <a:pt x="1215" y="1555"/>
                    </a:moveTo>
                    <a:lnTo>
                      <a:pt x="1217" y="1555"/>
                    </a:lnTo>
                    <a:lnTo>
                      <a:pt x="1215" y="1555"/>
                    </a:lnTo>
                    <a:close/>
                    <a:moveTo>
                      <a:pt x="1295" y="1612"/>
                    </a:moveTo>
                    <a:lnTo>
                      <a:pt x="1295" y="1614"/>
                    </a:lnTo>
                    <a:lnTo>
                      <a:pt x="1295" y="1612"/>
                    </a:lnTo>
                    <a:close/>
                    <a:moveTo>
                      <a:pt x="1222" y="1068"/>
                    </a:moveTo>
                    <a:lnTo>
                      <a:pt x="1224" y="1068"/>
                    </a:lnTo>
                    <a:lnTo>
                      <a:pt x="1224" y="1070"/>
                    </a:lnTo>
                    <a:lnTo>
                      <a:pt x="1222" y="1070"/>
                    </a:lnTo>
                    <a:lnTo>
                      <a:pt x="1222" y="1068"/>
                    </a:lnTo>
                    <a:close/>
                    <a:moveTo>
                      <a:pt x="1344" y="1660"/>
                    </a:moveTo>
                    <a:lnTo>
                      <a:pt x="1346" y="1660"/>
                    </a:lnTo>
                    <a:lnTo>
                      <a:pt x="1346" y="1662"/>
                    </a:lnTo>
                    <a:lnTo>
                      <a:pt x="1344" y="1662"/>
                    </a:lnTo>
                    <a:lnTo>
                      <a:pt x="1344" y="1660"/>
                    </a:lnTo>
                    <a:close/>
                    <a:moveTo>
                      <a:pt x="1207" y="1498"/>
                    </a:moveTo>
                    <a:lnTo>
                      <a:pt x="1208" y="1498"/>
                    </a:lnTo>
                    <a:lnTo>
                      <a:pt x="1208" y="1500"/>
                    </a:lnTo>
                    <a:lnTo>
                      <a:pt x="1207" y="1500"/>
                    </a:lnTo>
                    <a:lnTo>
                      <a:pt x="1207" y="1498"/>
                    </a:lnTo>
                    <a:close/>
                    <a:moveTo>
                      <a:pt x="1171" y="1230"/>
                    </a:moveTo>
                    <a:lnTo>
                      <a:pt x="1173" y="1230"/>
                    </a:lnTo>
                    <a:lnTo>
                      <a:pt x="1173" y="1231"/>
                    </a:lnTo>
                    <a:lnTo>
                      <a:pt x="1171" y="1231"/>
                    </a:lnTo>
                    <a:lnTo>
                      <a:pt x="1171" y="1230"/>
                    </a:lnTo>
                    <a:close/>
                    <a:moveTo>
                      <a:pt x="1151" y="1310"/>
                    </a:moveTo>
                    <a:lnTo>
                      <a:pt x="1152" y="1310"/>
                    </a:lnTo>
                    <a:lnTo>
                      <a:pt x="1151" y="1310"/>
                    </a:lnTo>
                    <a:close/>
                    <a:moveTo>
                      <a:pt x="1246" y="1504"/>
                    </a:moveTo>
                    <a:lnTo>
                      <a:pt x="1246" y="1505"/>
                    </a:lnTo>
                    <a:lnTo>
                      <a:pt x="1246" y="1504"/>
                    </a:lnTo>
                    <a:close/>
                    <a:moveTo>
                      <a:pt x="1254" y="1575"/>
                    </a:moveTo>
                    <a:lnTo>
                      <a:pt x="1256" y="1575"/>
                    </a:lnTo>
                    <a:lnTo>
                      <a:pt x="1254" y="1575"/>
                    </a:lnTo>
                    <a:close/>
                    <a:moveTo>
                      <a:pt x="1198" y="1092"/>
                    </a:moveTo>
                    <a:lnTo>
                      <a:pt x="1200" y="1092"/>
                    </a:lnTo>
                    <a:lnTo>
                      <a:pt x="1198" y="1092"/>
                    </a:lnTo>
                    <a:close/>
                    <a:moveTo>
                      <a:pt x="1191" y="1379"/>
                    </a:moveTo>
                    <a:lnTo>
                      <a:pt x="1193" y="1379"/>
                    </a:lnTo>
                    <a:lnTo>
                      <a:pt x="1191" y="1379"/>
                    </a:lnTo>
                    <a:close/>
                    <a:moveTo>
                      <a:pt x="1154" y="1288"/>
                    </a:moveTo>
                    <a:lnTo>
                      <a:pt x="1154" y="1289"/>
                    </a:lnTo>
                    <a:lnTo>
                      <a:pt x="1154" y="1288"/>
                    </a:lnTo>
                    <a:close/>
                    <a:moveTo>
                      <a:pt x="1173" y="1395"/>
                    </a:moveTo>
                    <a:lnTo>
                      <a:pt x="1174" y="1395"/>
                    </a:lnTo>
                    <a:lnTo>
                      <a:pt x="1173" y="1395"/>
                    </a:lnTo>
                    <a:close/>
                    <a:moveTo>
                      <a:pt x="1219" y="1568"/>
                    </a:moveTo>
                    <a:lnTo>
                      <a:pt x="1219" y="1570"/>
                    </a:lnTo>
                    <a:lnTo>
                      <a:pt x="1219" y="1568"/>
                    </a:lnTo>
                    <a:close/>
                    <a:moveTo>
                      <a:pt x="1200" y="1094"/>
                    </a:moveTo>
                    <a:lnTo>
                      <a:pt x="1202" y="1094"/>
                    </a:lnTo>
                    <a:lnTo>
                      <a:pt x="1200" y="1094"/>
                    </a:lnTo>
                    <a:close/>
                    <a:moveTo>
                      <a:pt x="1205" y="1060"/>
                    </a:moveTo>
                    <a:lnTo>
                      <a:pt x="1207" y="1060"/>
                    </a:lnTo>
                    <a:lnTo>
                      <a:pt x="1207" y="1061"/>
                    </a:lnTo>
                    <a:lnTo>
                      <a:pt x="1205" y="1061"/>
                    </a:lnTo>
                    <a:lnTo>
                      <a:pt x="1205" y="1060"/>
                    </a:lnTo>
                    <a:close/>
                    <a:moveTo>
                      <a:pt x="1215" y="1502"/>
                    </a:moveTo>
                    <a:lnTo>
                      <a:pt x="1217" y="1502"/>
                    </a:lnTo>
                    <a:lnTo>
                      <a:pt x="1217" y="1504"/>
                    </a:lnTo>
                    <a:lnTo>
                      <a:pt x="1215" y="1504"/>
                    </a:lnTo>
                    <a:lnTo>
                      <a:pt x="1215" y="1502"/>
                    </a:lnTo>
                    <a:close/>
                    <a:moveTo>
                      <a:pt x="1254" y="1492"/>
                    </a:moveTo>
                    <a:lnTo>
                      <a:pt x="1254" y="1493"/>
                    </a:lnTo>
                    <a:lnTo>
                      <a:pt x="1254" y="1492"/>
                    </a:lnTo>
                    <a:close/>
                    <a:moveTo>
                      <a:pt x="1174" y="1473"/>
                    </a:moveTo>
                    <a:lnTo>
                      <a:pt x="1174" y="1475"/>
                    </a:lnTo>
                    <a:lnTo>
                      <a:pt x="1174" y="1473"/>
                    </a:lnTo>
                    <a:close/>
                    <a:moveTo>
                      <a:pt x="1298" y="1641"/>
                    </a:moveTo>
                    <a:lnTo>
                      <a:pt x="1300" y="1641"/>
                    </a:lnTo>
                    <a:lnTo>
                      <a:pt x="1298" y="1641"/>
                    </a:lnTo>
                    <a:close/>
                    <a:moveTo>
                      <a:pt x="1207" y="1527"/>
                    </a:moveTo>
                    <a:lnTo>
                      <a:pt x="1207" y="1529"/>
                    </a:lnTo>
                    <a:lnTo>
                      <a:pt x="1207" y="1527"/>
                    </a:lnTo>
                    <a:close/>
                    <a:moveTo>
                      <a:pt x="1421" y="1669"/>
                    </a:moveTo>
                    <a:lnTo>
                      <a:pt x="1423" y="1669"/>
                    </a:lnTo>
                    <a:lnTo>
                      <a:pt x="1421" y="1669"/>
                    </a:lnTo>
                    <a:close/>
                    <a:moveTo>
                      <a:pt x="1263" y="1600"/>
                    </a:moveTo>
                    <a:lnTo>
                      <a:pt x="1264" y="1600"/>
                    </a:lnTo>
                    <a:lnTo>
                      <a:pt x="1264" y="1602"/>
                    </a:lnTo>
                    <a:lnTo>
                      <a:pt x="1263" y="1602"/>
                    </a:lnTo>
                    <a:lnTo>
                      <a:pt x="1263" y="1600"/>
                    </a:lnTo>
                    <a:close/>
                    <a:moveTo>
                      <a:pt x="1222" y="1068"/>
                    </a:moveTo>
                    <a:lnTo>
                      <a:pt x="1224" y="1068"/>
                    </a:lnTo>
                    <a:lnTo>
                      <a:pt x="1224" y="1070"/>
                    </a:lnTo>
                    <a:lnTo>
                      <a:pt x="1222" y="1070"/>
                    </a:lnTo>
                    <a:lnTo>
                      <a:pt x="1222" y="1068"/>
                    </a:lnTo>
                    <a:close/>
                    <a:moveTo>
                      <a:pt x="1181" y="1298"/>
                    </a:moveTo>
                    <a:lnTo>
                      <a:pt x="1183" y="1298"/>
                    </a:lnTo>
                    <a:lnTo>
                      <a:pt x="1181" y="1298"/>
                    </a:lnTo>
                    <a:close/>
                    <a:moveTo>
                      <a:pt x="1195" y="1454"/>
                    </a:moveTo>
                    <a:lnTo>
                      <a:pt x="1196" y="1454"/>
                    </a:lnTo>
                    <a:lnTo>
                      <a:pt x="1195" y="1454"/>
                    </a:lnTo>
                    <a:close/>
                    <a:moveTo>
                      <a:pt x="1181" y="1211"/>
                    </a:moveTo>
                    <a:lnTo>
                      <a:pt x="1183" y="1211"/>
                    </a:lnTo>
                    <a:lnTo>
                      <a:pt x="1181" y="1211"/>
                    </a:lnTo>
                    <a:close/>
                    <a:moveTo>
                      <a:pt x="1147" y="1289"/>
                    </a:moveTo>
                    <a:lnTo>
                      <a:pt x="1149" y="1289"/>
                    </a:lnTo>
                    <a:lnTo>
                      <a:pt x="1147" y="1289"/>
                    </a:lnTo>
                    <a:close/>
                    <a:moveTo>
                      <a:pt x="1183" y="1316"/>
                    </a:moveTo>
                    <a:lnTo>
                      <a:pt x="1183" y="1318"/>
                    </a:lnTo>
                    <a:lnTo>
                      <a:pt x="1183" y="1316"/>
                    </a:lnTo>
                    <a:close/>
                    <a:moveTo>
                      <a:pt x="1232" y="1544"/>
                    </a:moveTo>
                    <a:lnTo>
                      <a:pt x="1234" y="1544"/>
                    </a:lnTo>
                    <a:lnTo>
                      <a:pt x="1234" y="1546"/>
                    </a:lnTo>
                    <a:lnTo>
                      <a:pt x="1232" y="1546"/>
                    </a:lnTo>
                    <a:lnTo>
                      <a:pt x="1232" y="1544"/>
                    </a:lnTo>
                    <a:close/>
                    <a:moveTo>
                      <a:pt x="1185" y="1463"/>
                    </a:moveTo>
                    <a:lnTo>
                      <a:pt x="1186" y="1463"/>
                    </a:lnTo>
                    <a:lnTo>
                      <a:pt x="1186" y="1464"/>
                    </a:lnTo>
                    <a:lnTo>
                      <a:pt x="1185" y="1464"/>
                    </a:lnTo>
                    <a:lnTo>
                      <a:pt x="1185" y="1463"/>
                    </a:lnTo>
                    <a:close/>
                    <a:moveTo>
                      <a:pt x="1178" y="1434"/>
                    </a:moveTo>
                    <a:lnTo>
                      <a:pt x="1179" y="1434"/>
                    </a:lnTo>
                    <a:lnTo>
                      <a:pt x="1178" y="1434"/>
                    </a:lnTo>
                    <a:close/>
                    <a:moveTo>
                      <a:pt x="1162" y="1245"/>
                    </a:moveTo>
                    <a:lnTo>
                      <a:pt x="1162" y="1247"/>
                    </a:lnTo>
                    <a:lnTo>
                      <a:pt x="1162" y="1245"/>
                    </a:lnTo>
                    <a:close/>
                    <a:moveTo>
                      <a:pt x="1229" y="1039"/>
                    </a:moveTo>
                    <a:lnTo>
                      <a:pt x="1229" y="1041"/>
                    </a:lnTo>
                    <a:lnTo>
                      <a:pt x="1229" y="1039"/>
                    </a:lnTo>
                    <a:close/>
                    <a:moveTo>
                      <a:pt x="1183" y="1289"/>
                    </a:moveTo>
                    <a:lnTo>
                      <a:pt x="1185" y="1289"/>
                    </a:lnTo>
                    <a:lnTo>
                      <a:pt x="1183" y="1289"/>
                    </a:lnTo>
                    <a:close/>
                    <a:moveTo>
                      <a:pt x="1402" y="1645"/>
                    </a:moveTo>
                    <a:lnTo>
                      <a:pt x="1402" y="1646"/>
                    </a:lnTo>
                    <a:lnTo>
                      <a:pt x="1402" y="1645"/>
                    </a:lnTo>
                    <a:close/>
                    <a:moveTo>
                      <a:pt x="1213" y="1556"/>
                    </a:moveTo>
                    <a:lnTo>
                      <a:pt x="1215" y="1556"/>
                    </a:lnTo>
                    <a:lnTo>
                      <a:pt x="1213" y="1556"/>
                    </a:lnTo>
                    <a:close/>
                    <a:moveTo>
                      <a:pt x="1191" y="1412"/>
                    </a:moveTo>
                    <a:lnTo>
                      <a:pt x="1191" y="1413"/>
                    </a:lnTo>
                    <a:lnTo>
                      <a:pt x="1191" y="1412"/>
                    </a:lnTo>
                    <a:close/>
                    <a:moveTo>
                      <a:pt x="1179" y="1430"/>
                    </a:moveTo>
                    <a:lnTo>
                      <a:pt x="1181" y="1430"/>
                    </a:lnTo>
                    <a:lnTo>
                      <a:pt x="1179" y="1430"/>
                    </a:lnTo>
                    <a:close/>
                    <a:moveTo>
                      <a:pt x="1183" y="1463"/>
                    </a:moveTo>
                    <a:lnTo>
                      <a:pt x="1185" y="1463"/>
                    </a:lnTo>
                    <a:lnTo>
                      <a:pt x="1183" y="1463"/>
                    </a:lnTo>
                    <a:close/>
                    <a:moveTo>
                      <a:pt x="1152" y="1187"/>
                    </a:moveTo>
                    <a:lnTo>
                      <a:pt x="1154" y="1187"/>
                    </a:lnTo>
                    <a:lnTo>
                      <a:pt x="1152" y="1187"/>
                    </a:lnTo>
                    <a:close/>
                    <a:moveTo>
                      <a:pt x="1358" y="1657"/>
                    </a:moveTo>
                    <a:lnTo>
                      <a:pt x="1360" y="1657"/>
                    </a:lnTo>
                    <a:lnTo>
                      <a:pt x="1358" y="1657"/>
                    </a:lnTo>
                    <a:close/>
                    <a:moveTo>
                      <a:pt x="1178" y="1425"/>
                    </a:moveTo>
                    <a:lnTo>
                      <a:pt x="1179" y="1425"/>
                    </a:lnTo>
                    <a:lnTo>
                      <a:pt x="1179" y="1427"/>
                    </a:lnTo>
                    <a:lnTo>
                      <a:pt x="1178" y="1427"/>
                    </a:lnTo>
                    <a:lnTo>
                      <a:pt x="1178" y="1425"/>
                    </a:lnTo>
                    <a:close/>
                    <a:moveTo>
                      <a:pt x="1154" y="1313"/>
                    </a:moveTo>
                    <a:lnTo>
                      <a:pt x="1156" y="1313"/>
                    </a:lnTo>
                    <a:lnTo>
                      <a:pt x="1154" y="1313"/>
                    </a:lnTo>
                    <a:close/>
                    <a:moveTo>
                      <a:pt x="1185" y="1527"/>
                    </a:moveTo>
                    <a:lnTo>
                      <a:pt x="1185" y="1529"/>
                    </a:lnTo>
                    <a:lnTo>
                      <a:pt x="1185" y="1527"/>
                    </a:lnTo>
                    <a:close/>
                    <a:moveTo>
                      <a:pt x="1380" y="1667"/>
                    </a:moveTo>
                    <a:lnTo>
                      <a:pt x="1382" y="1667"/>
                    </a:lnTo>
                    <a:lnTo>
                      <a:pt x="1380" y="1667"/>
                    </a:lnTo>
                    <a:close/>
                    <a:moveTo>
                      <a:pt x="1205" y="1527"/>
                    </a:moveTo>
                    <a:lnTo>
                      <a:pt x="1207" y="1527"/>
                    </a:lnTo>
                    <a:lnTo>
                      <a:pt x="1207" y="1529"/>
                    </a:lnTo>
                    <a:lnTo>
                      <a:pt x="1205" y="1529"/>
                    </a:lnTo>
                    <a:lnTo>
                      <a:pt x="1205" y="1527"/>
                    </a:lnTo>
                    <a:close/>
                    <a:moveTo>
                      <a:pt x="1397" y="1663"/>
                    </a:moveTo>
                    <a:lnTo>
                      <a:pt x="1397" y="1665"/>
                    </a:lnTo>
                    <a:lnTo>
                      <a:pt x="1397" y="1663"/>
                    </a:lnTo>
                    <a:close/>
                    <a:moveTo>
                      <a:pt x="1358" y="1667"/>
                    </a:moveTo>
                    <a:lnTo>
                      <a:pt x="1360" y="1667"/>
                    </a:lnTo>
                    <a:lnTo>
                      <a:pt x="1358" y="1667"/>
                    </a:lnTo>
                    <a:close/>
                    <a:moveTo>
                      <a:pt x="1190" y="1231"/>
                    </a:moveTo>
                    <a:lnTo>
                      <a:pt x="1191" y="1231"/>
                    </a:lnTo>
                    <a:lnTo>
                      <a:pt x="1190" y="1231"/>
                    </a:lnTo>
                    <a:close/>
                    <a:moveTo>
                      <a:pt x="1168" y="1136"/>
                    </a:moveTo>
                    <a:lnTo>
                      <a:pt x="1169" y="1136"/>
                    </a:lnTo>
                    <a:lnTo>
                      <a:pt x="1169" y="1138"/>
                    </a:lnTo>
                    <a:lnTo>
                      <a:pt x="1168" y="1138"/>
                    </a:lnTo>
                    <a:lnTo>
                      <a:pt x="1168" y="1136"/>
                    </a:lnTo>
                    <a:close/>
                    <a:moveTo>
                      <a:pt x="1183" y="1430"/>
                    </a:moveTo>
                    <a:lnTo>
                      <a:pt x="1185" y="1430"/>
                    </a:lnTo>
                    <a:lnTo>
                      <a:pt x="1183" y="1430"/>
                    </a:lnTo>
                    <a:close/>
                    <a:moveTo>
                      <a:pt x="1220" y="1083"/>
                    </a:moveTo>
                    <a:lnTo>
                      <a:pt x="1220" y="1085"/>
                    </a:lnTo>
                    <a:lnTo>
                      <a:pt x="1220" y="1083"/>
                    </a:lnTo>
                    <a:close/>
                    <a:moveTo>
                      <a:pt x="1183" y="1299"/>
                    </a:moveTo>
                    <a:lnTo>
                      <a:pt x="1183" y="1301"/>
                    </a:lnTo>
                    <a:lnTo>
                      <a:pt x="1183" y="1299"/>
                    </a:lnTo>
                    <a:close/>
                    <a:moveTo>
                      <a:pt x="1254" y="1590"/>
                    </a:moveTo>
                    <a:lnTo>
                      <a:pt x="1256" y="1590"/>
                    </a:lnTo>
                    <a:lnTo>
                      <a:pt x="1254" y="1590"/>
                    </a:lnTo>
                    <a:close/>
                    <a:moveTo>
                      <a:pt x="1222" y="1070"/>
                    </a:moveTo>
                    <a:lnTo>
                      <a:pt x="1224" y="1070"/>
                    </a:lnTo>
                    <a:lnTo>
                      <a:pt x="1222" y="1070"/>
                    </a:lnTo>
                    <a:close/>
                    <a:moveTo>
                      <a:pt x="1161" y="1470"/>
                    </a:moveTo>
                    <a:lnTo>
                      <a:pt x="1162" y="1470"/>
                    </a:lnTo>
                    <a:lnTo>
                      <a:pt x="1161" y="1470"/>
                    </a:lnTo>
                    <a:close/>
                    <a:moveTo>
                      <a:pt x="1343" y="1655"/>
                    </a:moveTo>
                    <a:lnTo>
                      <a:pt x="1344" y="1655"/>
                    </a:lnTo>
                    <a:lnTo>
                      <a:pt x="1343" y="1655"/>
                    </a:lnTo>
                    <a:close/>
                    <a:moveTo>
                      <a:pt x="1171" y="1413"/>
                    </a:moveTo>
                    <a:lnTo>
                      <a:pt x="1173" y="1413"/>
                    </a:lnTo>
                    <a:lnTo>
                      <a:pt x="1173" y="1415"/>
                    </a:lnTo>
                    <a:lnTo>
                      <a:pt x="1171" y="1415"/>
                    </a:lnTo>
                    <a:lnTo>
                      <a:pt x="1171" y="1413"/>
                    </a:lnTo>
                    <a:close/>
                    <a:moveTo>
                      <a:pt x="1169" y="1473"/>
                    </a:moveTo>
                    <a:lnTo>
                      <a:pt x="1169" y="1475"/>
                    </a:lnTo>
                    <a:lnTo>
                      <a:pt x="1169" y="1473"/>
                    </a:lnTo>
                    <a:close/>
                    <a:moveTo>
                      <a:pt x="1159" y="1247"/>
                    </a:moveTo>
                    <a:lnTo>
                      <a:pt x="1161" y="1247"/>
                    </a:lnTo>
                    <a:lnTo>
                      <a:pt x="1161" y="1248"/>
                    </a:lnTo>
                    <a:lnTo>
                      <a:pt x="1159" y="1248"/>
                    </a:lnTo>
                    <a:lnTo>
                      <a:pt x="1159" y="1247"/>
                    </a:lnTo>
                    <a:close/>
                    <a:moveTo>
                      <a:pt x="1154" y="1191"/>
                    </a:moveTo>
                    <a:lnTo>
                      <a:pt x="1156" y="1191"/>
                    </a:lnTo>
                    <a:lnTo>
                      <a:pt x="1154" y="1191"/>
                    </a:lnTo>
                    <a:close/>
                    <a:moveTo>
                      <a:pt x="1186" y="1441"/>
                    </a:moveTo>
                    <a:lnTo>
                      <a:pt x="1186" y="1442"/>
                    </a:lnTo>
                    <a:lnTo>
                      <a:pt x="1186" y="1441"/>
                    </a:lnTo>
                    <a:close/>
                    <a:moveTo>
                      <a:pt x="1152" y="1330"/>
                    </a:moveTo>
                    <a:lnTo>
                      <a:pt x="1154" y="1330"/>
                    </a:lnTo>
                    <a:lnTo>
                      <a:pt x="1152" y="1330"/>
                    </a:lnTo>
                    <a:close/>
                    <a:moveTo>
                      <a:pt x="1173" y="1430"/>
                    </a:moveTo>
                    <a:lnTo>
                      <a:pt x="1174" y="1430"/>
                    </a:lnTo>
                    <a:lnTo>
                      <a:pt x="1174" y="1432"/>
                    </a:lnTo>
                    <a:lnTo>
                      <a:pt x="1173" y="1432"/>
                    </a:lnTo>
                    <a:lnTo>
                      <a:pt x="1173" y="1430"/>
                    </a:lnTo>
                    <a:close/>
                    <a:moveTo>
                      <a:pt x="1242" y="1589"/>
                    </a:moveTo>
                    <a:lnTo>
                      <a:pt x="1242" y="1590"/>
                    </a:lnTo>
                    <a:lnTo>
                      <a:pt x="1242" y="1589"/>
                    </a:lnTo>
                    <a:close/>
                    <a:moveTo>
                      <a:pt x="1144" y="1269"/>
                    </a:moveTo>
                    <a:lnTo>
                      <a:pt x="1144" y="1270"/>
                    </a:lnTo>
                    <a:lnTo>
                      <a:pt x="1144" y="1269"/>
                    </a:lnTo>
                    <a:close/>
                    <a:moveTo>
                      <a:pt x="1193" y="1126"/>
                    </a:moveTo>
                    <a:lnTo>
                      <a:pt x="1193" y="1128"/>
                    </a:lnTo>
                    <a:lnTo>
                      <a:pt x="1193" y="1126"/>
                    </a:lnTo>
                    <a:close/>
                    <a:moveTo>
                      <a:pt x="1270" y="1592"/>
                    </a:moveTo>
                    <a:lnTo>
                      <a:pt x="1271" y="1592"/>
                    </a:lnTo>
                    <a:lnTo>
                      <a:pt x="1270" y="1592"/>
                    </a:lnTo>
                    <a:close/>
                    <a:moveTo>
                      <a:pt x="1210" y="1242"/>
                    </a:moveTo>
                    <a:lnTo>
                      <a:pt x="1212" y="1242"/>
                    </a:lnTo>
                    <a:lnTo>
                      <a:pt x="1210" y="1242"/>
                    </a:lnTo>
                    <a:close/>
                    <a:moveTo>
                      <a:pt x="1203" y="1061"/>
                    </a:moveTo>
                    <a:lnTo>
                      <a:pt x="1205" y="1061"/>
                    </a:lnTo>
                    <a:lnTo>
                      <a:pt x="1203" y="1061"/>
                    </a:lnTo>
                    <a:close/>
                    <a:moveTo>
                      <a:pt x="1185" y="1493"/>
                    </a:moveTo>
                    <a:lnTo>
                      <a:pt x="1185" y="1495"/>
                    </a:lnTo>
                    <a:lnTo>
                      <a:pt x="1185" y="1493"/>
                    </a:lnTo>
                    <a:close/>
                    <a:moveTo>
                      <a:pt x="1208" y="1070"/>
                    </a:moveTo>
                    <a:lnTo>
                      <a:pt x="1210" y="1070"/>
                    </a:lnTo>
                    <a:lnTo>
                      <a:pt x="1210" y="1071"/>
                    </a:lnTo>
                    <a:lnTo>
                      <a:pt x="1208" y="1071"/>
                    </a:lnTo>
                    <a:lnTo>
                      <a:pt x="1208" y="1070"/>
                    </a:lnTo>
                    <a:close/>
                    <a:moveTo>
                      <a:pt x="1157" y="1236"/>
                    </a:moveTo>
                    <a:lnTo>
                      <a:pt x="1157" y="1238"/>
                    </a:lnTo>
                    <a:lnTo>
                      <a:pt x="1157" y="1236"/>
                    </a:lnTo>
                    <a:close/>
                    <a:moveTo>
                      <a:pt x="1207" y="1063"/>
                    </a:moveTo>
                    <a:lnTo>
                      <a:pt x="1207" y="1065"/>
                    </a:lnTo>
                    <a:lnTo>
                      <a:pt x="1207" y="1063"/>
                    </a:lnTo>
                    <a:close/>
                    <a:moveTo>
                      <a:pt x="1205" y="1556"/>
                    </a:moveTo>
                    <a:lnTo>
                      <a:pt x="1207" y="1556"/>
                    </a:lnTo>
                    <a:lnTo>
                      <a:pt x="1205" y="1556"/>
                    </a:lnTo>
                    <a:close/>
                    <a:moveTo>
                      <a:pt x="1419" y="1674"/>
                    </a:moveTo>
                    <a:lnTo>
                      <a:pt x="1421" y="1674"/>
                    </a:lnTo>
                    <a:lnTo>
                      <a:pt x="1419" y="1674"/>
                    </a:lnTo>
                    <a:close/>
                    <a:moveTo>
                      <a:pt x="1300" y="1568"/>
                    </a:moveTo>
                    <a:lnTo>
                      <a:pt x="1302" y="1568"/>
                    </a:lnTo>
                    <a:lnTo>
                      <a:pt x="1300" y="1568"/>
                    </a:lnTo>
                    <a:close/>
                    <a:moveTo>
                      <a:pt x="1207" y="1053"/>
                    </a:moveTo>
                    <a:lnTo>
                      <a:pt x="1207" y="1054"/>
                    </a:lnTo>
                    <a:lnTo>
                      <a:pt x="1207" y="1053"/>
                    </a:lnTo>
                    <a:close/>
                    <a:moveTo>
                      <a:pt x="1297" y="1594"/>
                    </a:moveTo>
                    <a:lnTo>
                      <a:pt x="1298" y="1594"/>
                    </a:lnTo>
                    <a:lnTo>
                      <a:pt x="1297" y="1594"/>
                    </a:lnTo>
                    <a:close/>
                    <a:moveTo>
                      <a:pt x="1319" y="1514"/>
                    </a:moveTo>
                    <a:lnTo>
                      <a:pt x="1321" y="1514"/>
                    </a:lnTo>
                    <a:lnTo>
                      <a:pt x="1321" y="1515"/>
                    </a:lnTo>
                    <a:lnTo>
                      <a:pt x="1319" y="1515"/>
                    </a:lnTo>
                    <a:lnTo>
                      <a:pt x="1319" y="1514"/>
                    </a:lnTo>
                    <a:close/>
                    <a:moveTo>
                      <a:pt x="1191" y="1464"/>
                    </a:moveTo>
                    <a:lnTo>
                      <a:pt x="1193" y="1464"/>
                    </a:lnTo>
                    <a:lnTo>
                      <a:pt x="1191" y="1464"/>
                    </a:lnTo>
                    <a:close/>
                    <a:moveTo>
                      <a:pt x="1219" y="1568"/>
                    </a:moveTo>
                    <a:lnTo>
                      <a:pt x="1220" y="1568"/>
                    </a:lnTo>
                    <a:lnTo>
                      <a:pt x="1220" y="1570"/>
                    </a:lnTo>
                    <a:lnTo>
                      <a:pt x="1219" y="1570"/>
                    </a:lnTo>
                    <a:lnTo>
                      <a:pt x="1219" y="1568"/>
                    </a:lnTo>
                    <a:close/>
                    <a:moveTo>
                      <a:pt x="1203" y="1054"/>
                    </a:moveTo>
                    <a:lnTo>
                      <a:pt x="1205" y="1054"/>
                    </a:lnTo>
                    <a:lnTo>
                      <a:pt x="1203" y="1054"/>
                    </a:lnTo>
                    <a:close/>
                    <a:moveTo>
                      <a:pt x="1360" y="1657"/>
                    </a:moveTo>
                    <a:lnTo>
                      <a:pt x="1360" y="1658"/>
                    </a:lnTo>
                    <a:lnTo>
                      <a:pt x="1360" y="1657"/>
                    </a:lnTo>
                    <a:close/>
                    <a:moveTo>
                      <a:pt x="1234" y="1124"/>
                    </a:moveTo>
                    <a:lnTo>
                      <a:pt x="1236" y="1124"/>
                    </a:lnTo>
                    <a:lnTo>
                      <a:pt x="1236" y="1126"/>
                    </a:lnTo>
                    <a:lnTo>
                      <a:pt x="1234" y="1126"/>
                    </a:lnTo>
                    <a:lnTo>
                      <a:pt x="1234" y="1124"/>
                    </a:lnTo>
                    <a:close/>
                    <a:moveTo>
                      <a:pt x="1322" y="1628"/>
                    </a:moveTo>
                    <a:lnTo>
                      <a:pt x="1322" y="1629"/>
                    </a:lnTo>
                    <a:lnTo>
                      <a:pt x="1322" y="1628"/>
                    </a:lnTo>
                    <a:close/>
                    <a:moveTo>
                      <a:pt x="1215" y="1538"/>
                    </a:moveTo>
                    <a:lnTo>
                      <a:pt x="1217" y="1538"/>
                    </a:lnTo>
                    <a:lnTo>
                      <a:pt x="1215" y="1538"/>
                    </a:lnTo>
                    <a:close/>
                    <a:moveTo>
                      <a:pt x="1200" y="1082"/>
                    </a:moveTo>
                    <a:lnTo>
                      <a:pt x="1200" y="1083"/>
                    </a:lnTo>
                    <a:lnTo>
                      <a:pt x="1200" y="1082"/>
                    </a:lnTo>
                    <a:close/>
                    <a:moveTo>
                      <a:pt x="1188" y="1497"/>
                    </a:moveTo>
                    <a:lnTo>
                      <a:pt x="1190" y="1497"/>
                    </a:lnTo>
                    <a:lnTo>
                      <a:pt x="1188" y="1497"/>
                    </a:lnTo>
                    <a:close/>
                    <a:moveTo>
                      <a:pt x="1213" y="1500"/>
                    </a:moveTo>
                    <a:lnTo>
                      <a:pt x="1215" y="1500"/>
                    </a:lnTo>
                    <a:lnTo>
                      <a:pt x="1213" y="1500"/>
                    </a:lnTo>
                    <a:close/>
                    <a:moveTo>
                      <a:pt x="1310" y="1641"/>
                    </a:moveTo>
                    <a:lnTo>
                      <a:pt x="1310" y="1643"/>
                    </a:lnTo>
                    <a:lnTo>
                      <a:pt x="1310" y="1641"/>
                    </a:lnTo>
                    <a:close/>
                    <a:moveTo>
                      <a:pt x="1171" y="1432"/>
                    </a:moveTo>
                    <a:lnTo>
                      <a:pt x="1173" y="1432"/>
                    </a:lnTo>
                    <a:lnTo>
                      <a:pt x="1171" y="1432"/>
                    </a:lnTo>
                    <a:close/>
                    <a:moveTo>
                      <a:pt x="1208" y="1461"/>
                    </a:moveTo>
                    <a:lnTo>
                      <a:pt x="1208" y="1463"/>
                    </a:lnTo>
                    <a:lnTo>
                      <a:pt x="1208" y="1461"/>
                    </a:lnTo>
                    <a:close/>
                    <a:moveTo>
                      <a:pt x="1232" y="1475"/>
                    </a:moveTo>
                    <a:lnTo>
                      <a:pt x="1232" y="1476"/>
                    </a:lnTo>
                    <a:lnTo>
                      <a:pt x="1232" y="1475"/>
                    </a:lnTo>
                    <a:close/>
                    <a:moveTo>
                      <a:pt x="1229" y="1575"/>
                    </a:moveTo>
                    <a:lnTo>
                      <a:pt x="1229" y="1577"/>
                    </a:lnTo>
                    <a:lnTo>
                      <a:pt x="1229" y="1575"/>
                    </a:lnTo>
                    <a:close/>
                    <a:moveTo>
                      <a:pt x="1183" y="1422"/>
                    </a:moveTo>
                    <a:lnTo>
                      <a:pt x="1185" y="1422"/>
                    </a:lnTo>
                    <a:lnTo>
                      <a:pt x="1185" y="1424"/>
                    </a:lnTo>
                    <a:lnTo>
                      <a:pt x="1183" y="1424"/>
                    </a:lnTo>
                    <a:lnTo>
                      <a:pt x="1183" y="1422"/>
                    </a:lnTo>
                    <a:close/>
                    <a:moveTo>
                      <a:pt x="1169" y="1242"/>
                    </a:moveTo>
                    <a:lnTo>
                      <a:pt x="1171" y="1242"/>
                    </a:lnTo>
                    <a:lnTo>
                      <a:pt x="1169" y="1242"/>
                    </a:lnTo>
                    <a:close/>
                    <a:moveTo>
                      <a:pt x="1162" y="1459"/>
                    </a:moveTo>
                    <a:lnTo>
                      <a:pt x="1162" y="1461"/>
                    </a:lnTo>
                    <a:lnTo>
                      <a:pt x="1162" y="1459"/>
                    </a:lnTo>
                    <a:close/>
                    <a:moveTo>
                      <a:pt x="1329" y="1645"/>
                    </a:moveTo>
                    <a:lnTo>
                      <a:pt x="1331" y="1645"/>
                    </a:lnTo>
                    <a:lnTo>
                      <a:pt x="1329" y="1645"/>
                    </a:lnTo>
                    <a:close/>
                    <a:moveTo>
                      <a:pt x="1178" y="1384"/>
                    </a:moveTo>
                    <a:lnTo>
                      <a:pt x="1178" y="1386"/>
                    </a:lnTo>
                    <a:lnTo>
                      <a:pt x="1178" y="1384"/>
                    </a:lnTo>
                    <a:close/>
                    <a:moveTo>
                      <a:pt x="1298" y="1621"/>
                    </a:moveTo>
                    <a:lnTo>
                      <a:pt x="1300" y="1621"/>
                    </a:lnTo>
                    <a:lnTo>
                      <a:pt x="1298" y="1621"/>
                    </a:lnTo>
                    <a:close/>
                    <a:moveTo>
                      <a:pt x="1188" y="1492"/>
                    </a:moveTo>
                    <a:lnTo>
                      <a:pt x="1190" y="1492"/>
                    </a:lnTo>
                    <a:lnTo>
                      <a:pt x="1188" y="1492"/>
                    </a:lnTo>
                    <a:close/>
                    <a:moveTo>
                      <a:pt x="1140" y="1298"/>
                    </a:moveTo>
                    <a:lnTo>
                      <a:pt x="1140" y="1299"/>
                    </a:lnTo>
                    <a:lnTo>
                      <a:pt x="1140" y="1298"/>
                    </a:lnTo>
                    <a:close/>
                    <a:moveTo>
                      <a:pt x="1208" y="1534"/>
                    </a:moveTo>
                    <a:lnTo>
                      <a:pt x="1210" y="1534"/>
                    </a:lnTo>
                    <a:lnTo>
                      <a:pt x="1210" y="1536"/>
                    </a:lnTo>
                    <a:lnTo>
                      <a:pt x="1208" y="1536"/>
                    </a:lnTo>
                    <a:lnTo>
                      <a:pt x="1208" y="1534"/>
                    </a:lnTo>
                    <a:close/>
                    <a:moveTo>
                      <a:pt x="1196" y="1454"/>
                    </a:moveTo>
                    <a:lnTo>
                      <a:pt x="1198" y="1454"/>
                    </a:lnTo>
                    <a:lnTo>
                      <a:pt x="1196" y="1454"/>
                    </a:lnTo>
                    <a:close/>
                    <a:moveTo>
                      <a:pt x="1154" y="1250"/>
                    </a:moveTo>
                    <a:lnTo>
                      <a:pt x="1154" y="1252"/>
                    </a:lnTo>
                    <a:lnTo>
                      <a:pt x="1154" y="1250"/>
                    </a:lnTo>
                    <a:close/>
                    <a:moveTo>
                      <a:pt x="1193" y="1054"/>
                    </a:moveTo>
                    <a:lnTo>
                      <a:pt x="1195" y="1054"/>
                    </a:lnTo>
                    <a:lnTo>
                      <a:pt x="1193" y="1054"/>
                    </a:lnTo>
                    <a:close/>
                    <a:moveTo>
                      <a:pt x="1414" y="1669"/>
                    </a:moveTo>
                    <a:lnTo>
                      <a:pt x="1416" y="1669"/>
                    </a:lnTo>
                    <a:lnTo>
                      <a:pt x="1414" y="1669"/>
                    </a:lnTo>
                    <a:close/>
                    <a:moveTo>
                      <a:pt x="1287" y="1626"/>
                    </a:moveTo>
                    <a:lnTo>
                      <a:pt x="1287" y="1628"/>
                    </a:lnTo>
                    <a:lnTo>
                      <a:pt x="1287" y="1626"/>
                    </a:lnTo>
                    <a:close/>
                    <a:moveTo>
                      <a:pt x="1196" y="1417"/>
                    </a:moveTo>
                    <a:lnTo>
                      <a:pt x="1198" y="1417"/>
                    </a:lnTo>
                    <a:lnTo>
                      <a:pt x="1198" y="1418"/>
                    </a:lnTo>
                    <a:lnTo>
                      <a:pt x="1196" y="1418"/>
                    </a:lnTo>
                    <a:lnTo>
                      <a:pt x="1196" y="1417"/>
                    </a:lnTo>
                    <a:close/>
                    <a:moveTo>
                      <a:pt x="1191" y="1141"/>
                    </a:moveTo>
                    <a:lnTo>
                      <a:pt x="1193" y="1141"/>
                    </a:lnTo>
                    <a:lnTo>
                      <a:pt x="1191" y="1141"/>
                    </a:lnTo>
                    <a:close/>
                    <a:moveTo>
                      <a:pt x="1207" y="1051"/>
                    </a:moveTo>
                    <a:lnTo>
                      <a:pt x="1208" y="1051"/>
                    </a:lnTo>
                    <a:lnTo>
                      <a:pt x="1207" y="1051"/>
                    </a:lnTo>
                    <a:close/>
                    <a:moveTo>
                      <a:pt x="1202" y="952"/>
                    </a:moveTo>
                    <a:lnTo>
                      <a:pt x="1203" y="952"/>
                    </a:lnTo>
                    <a:lnTo>
                      <a:pt x="1202" y="952"/>
                    </a:lnTo>
                    <a:close/>
                    <a:moveTo>
                      <a:pt x="1212" y="1560"/>
                    </a:moveTo>
                    <a:lnTo>
                      <a:pt x="1213" y="1560"/>
                    </a:lnTo>
                    <a:lnTo>
                      <a:pt x="1212" y="1560"/>
                    </a:lnTo>
                    <a:close/>
                    <a:moveTo>
                      <a:pt x="1168" y="1390"/>
                    </a:moveTo>
                    <a:lnTo>
                      <a:pt x="1168" y="1391"/>
                    </a:lnTo>
                    <a:lnTo>
                      <a:pt x="1168" y="1390"/>
                    </a:lnTo>
                    <a:close/>
                    <a:moveTo>
                      <a:pt x="1186" y="1060"/>
                    </a:moveTo>
                    <a:lnTo>
                      <a:pt x="1188" y="1060"/>
                    </a:lnTo>
                    <a:lnTo>
                      <a:pt x="1186" y="1060"/>
                    </a:lnTo>
                    <a:close/>
                    <a:moveTo>
                      <a:pt x="1169" y="1478"/>
                    </a:moveTo>
                    <a:lnTo>
                      <a:pt x="1169" y="1480"/>
                    </a:lnTo>
                    <a:lnTo>
                      <a:pt x="1169" y="1478"/>
                    </a:lnTo>
                    <a:close/>
                    <a:moveTo>
                      <a:pt x="1297" y="1592"/>
                    </a:moveTo>
                    <a:lnTo>
                      <a:pt x="1298" y="1592"/>
                    </a:lnTo>
                    <a:lnTo>
                      <a:pt x="1297" y="1592"/>
                    </a:lnTo>
                    <a:close/>
                    <a:moveTo>
                      <a:pt x="1324" y="1635"/>
                    </a:moveTo>
                    <a:lnTo>
                      <a:pt x="1326" y="1635"/>
                    </a:lnTo>
                    <a:lnTo>
                      <a:pt x="1324" y="1635"/>
                    </a:lnTo>
                    <a:close/>
                    <a:moveTo>
                      <a:pt x="1176" y="1449"/>
                    </a:moveTo>
                    <a:lnTo>
                      <a:pt x="1176" y="1451"/>
                    </a:lnTo>
                    <a:lnTo>
                      <a:pt x="1176" y="1449"/>
                    </a:lnTo>
                    <a:close/>
                    <a:moveTo>
                      <a:pt x="1181" y="1420"/>
                    </a:moveTo>
                    <a:lnTo>
                      <a:pt x="1181" y="1422"/>
                    </a:lnTo>
                    <a:lnTo>
                      <a:pt x="1181" y="1420"/>
                    </a:lnTo>
                    <a:close/>
                    <a:moveTo>
                      <a:pt x="1176" y="1459"/>
                    </a:moveTo>
                    <a:lnTo>
                      <a:pt x="1176" y="1461"/>
                    </a:lnTo>
                    <a:lnTo>
                      <a:pt x="1176" y="1459"/>
                    </a:lnTo>
                    <a:close/>
                    <a:moveTo>
                      <a:pt x="1225" y="1556"/>
                    </a:moveTo>
                    <a:lnTo>
                      <a:pt x="1225" y="1558"/>
                    </a:lnTo>
                    <a:lnTo>
                      <a:pt x="1225" y="1556"/>
                    </a:lnTo>
                    <a:close/>
                    <a:moveTo>
                      <a:pt x="1281" y="1614"/>
                    </a:moveTo>
                    <a:lnTo>
                      <a:pt x="1281" y="1616"/>
                    </a:lnTo>
                    <a:lnTo>
                      <a:pt x="1281" y="1614"/>
                    </a:lnTo>
                    <a:close/>
                    <a:moveTo>
                      <a:pt x="1370" y="1646"/>
                    </a:moveTo>
                    <a:lnTo>
                      <a:pt x="1372" y="1646"/>
                    </a:lnTo>
                    <a:lnTo>
                      <a:pt x="1372" y="1648"/>
                    </a:lnTo>
                    <a:lnTo>
                      <a:pt x="1370" y="1648"/>
                    </a:lnTo>
                    <a:lnTo>
                      <a:pt x="1370" y="1646"/>
                    </a:lnTo>
                    <a:close/>
                    <a:moveTo>
                      <a:pt x="1416" y="1679"/>
                    </a:moveTo>
                    <a:lnTo>
                      <a:pt x="1416" y="1680"/>
                    </a:lnTo>
                    <a:lnTo>
                      <a:pt x="1416" y="1679"/>
                    </a:lnTo>
                    <a:close/>
                    <a:moveTo>
                      <a:pt x="1169" y="1444"/>
                    </a:moveTo>
                    <a:lnTo>
                      <a:pt x="1171" y="1444"/>
                    </a:lnTo>
                    <a:lnTo>
                      <a:pt x="1169" y="1444"/>
                    </a:lnTo>
                    <a:close/>
                    <a:moveTo>
                      <a:pt x="1370" y="1640"/>
                    </a:moveTo>
                    <a:lnTo>
                      <a:pt x="1372" y="1640"/>
                    </a:lnTo>
                    <a:lnTo>
                      <a:pt x="1372" y="1641"/>
                    </a:lnTo>
                    <a:lnTo>
                      <a:pt x="1370" y="1641"/>
                    </a:lnTo>
                    <a:lnTo>
                      <a:pt x="1370" y="1640"/>
                    </a:lnTo>
                    <a:close/>
                    <a:moveTo>
                      <a:pt x="1181" y="1432"/>
                    </a:moveTo>
                    <a:lnTo>
                      <a:pt x="1183" y="1432"/>
                    </a:lnTo>
                    <a:lnTo>
                      <a:pt x="1181" y="1432"/>
                    </a:lnTo>
                    <a:close/>
                    <a:moveTo>
                      <a:pt x="1222" y="1566"/>
                    </a:moveTo>
                    <a:lnTo>
                      <a:pt x="1222" y="1568"/>
                    </a:lnTo>
                    <a:lnTo>
                      <a:pt x="1222" y="1566"/>
                    </a:lnTo>
                    <a:close/>
                    <a:moveTo>
                      <a:pt x="1154" y="1379"/>
                    </a:moveTo>
                    <a:lnTo>
                      <a:pt x="1156" y="1379"/>
                    </a:lnTo>
                    <a:lnTo>
                      <a:pt x="1154" y="1379"/>
                    </a:lnTo>
                    <a:close/>
                    <a:moveTo>
                      <a:pt x="1237" y="1544"/>
                    </a:moveTo>
                    <a:lnTo>
                      <a:pt x="1239" y="1544"/>
                    </a:lnTo>
                    <a:lnTo>
                      <a:pt x="1239" y="1546"/>
                    </a:lnTo>
                    <a:lnTo>
                      <a:pt x="1237" y="1546"/>
                    </a:lnTo>
                    <a:lnTo>
                      <a:pt x="1237" y="1544"/>
                    </a:lnTo>
                    <a:close/>
                    <a:moveTo>
                      <a:pt x="1321" y="1633"/>
                    </a:moveTo>
                    <a:lnTo>
                      <a:pt x="1322" y="1633"/>
                    </a:lnTo>
                    <a:lnTo>
                      <a:pt x="1322" y="1635"/>
                    </a:lnTo>
                    <a:lnTo>
                      <a:pt x="1321" y="1635"/>
                    </a:lnTo>
                    <a:lnTo>
                      <a:pt x="1321" y="1633"/>
                    </a:lnTo>
                    <a:close/>
                    <a:moveTo>
                      <a:pt x="1157" y="1233"/>
                    </a:moveTo>
                    <a:lnTo>
                      <a:pt x="1157" y="1235"/>
                    </a:lnTo>
                    <a:lnTo>
                      <a:pt x="1157" y="1233"/>
                    </a:lnTo>
                    <a:close/>
                    <a:moveTo>
                      <a:pt x="1193" y="1435"/>
                    </a:moveTo>
                    <a:lnTo>
                      <a:pt x="1195" y="1435"/>
                    </a:lnTo>
                    <a:lnTo>
                      <a:pt x="1193" y="1435"/>
                    </a:lnTo>
                    <a:close/>
                    <a:moveTo>
                      <a:pt x="1247" y="1505"/>
                    </a:moveTo>
                    <a:lnTo>
                      <a:pt x="1247" y="1507"/>
                    </a:lnTo>
                    <a:lnTo>
                      <a:pt x="1247" y="1505"/>
                    </a:lnTo>
                    <a:close/>
                    <a:moveTo>
                      <a:pt x="1210" y="1240"/>
                    </a:moveTo>
                    <a:lnTo>
                      <a:pt x="1212" y="1240"/>
                    </a:lnTo>
                    <a:lnTo>
                      <a:pt x="1212" y="1242"/>
                    </a:lnTo>
                    <a:lnTo>
                      <a:pt x="1210" y="1242"/>
                    </a:lnTo>
                    <a:lnTo>
                      <a:pt x="1210" y="1240"/>
                    </a:lnTo>
                    <a:close/>
                    <a:moveTo>
                      <a:pt x="1285" y="1619"/>
                    </a:moveTo>
                    <a:lnTo>
                      <a:pt x="1285" y="1621"/>
                    </a:lnTo>
                    <a:lnTo>
                      <a:pt x="1285" y="1619"/>
                    </a:lnTo>
                    <a:close/>
                    <a:moveTo>
                      <a:pt x="1207" y="1451"/>
                    </a:moveTo>
                    <a:lnTo>
                      <a:pt x="1207" y="1453"/>
                    </a:lnTo>
                    <a:lnTo>
                      <a:pt x="1207" y="1451"/>
                    </a:lnTo>
                    <a:close/>
                    <a:moveTo>
                      <a:pt x="1178" y="1481"/>
                    </a:moveTo>
                    <a:lnTo>
                      <a:pt x="1178" y="1483"/>
                    </a:lnTo>
                    <a:lnTo>
                      <a:pt x="1178" y="1481"/>
                    </a:lnTo>
                    <a:close/>
                    <a:moveTo>
                      <a:pt x="1213" y="1104"/>
                    </a:moveTo>
                    <a:lnTo>
                      <a:pt x="1213" y="1105"/>
                    </a:lnTo>
                    <a:lnTo>
                      <a:pt x="1213" y="1104"/>
                    </a:lnTo>
                    <a:close/>
                    <a:moveTo>
                      <a:pt x="1190" y="1420"/>
                    </a:moveTo>
                    <a:lnTo>
                      <a:pt x="1190" y="1422"/>
                    </a:lnTo>
                    <a:lnTo>
                      <a:pt x="1190" y="1420"/>
                    </a:lnTo>
                    <a:close/>
                    <a:moveTo>
                      <a:pt x="1195" y="1145"/>
                    </a:moveTo>
                    <a:lnTo>
                      <a:pt x="1195" y="1146"/>
                    </a:lnTo>
                    <a:lnTo>
                      <a:pt x="1195" y="1145"/>
                    </a:lnTo>
                    <a:close/>
                    <a:moveTo>
                      <a:pt x="1195" y="1077"/>
                    </a:moveTo>
                    <a:lnTo>
                      <a:pt x="1196" y="1077"/>
                    </a:lnTo>
                    <a:lnTo>
                      <a:pt x="1195" y="1077"/>
                    </a:lnTo>
                    <a:close/>
                    <a:moveTo>
                      <a:pt x="1200" y="1527"/>
                    </a:moveTo>
                    <a:lnTo>
                      <a:pt x="1200" y="1529"/>
                    </a:lnTo>
                    <a:lnTo>
                      <a:pt x="1200" y="1527"/>
                    </a:lnTo>
                    <a:close/>
                    <a:moveTo>
                      <a:pt x="1219" y="1100"/>
                    </a:moveTo>
                    <a:lnTo>
                      <a:pt x="1219" y="1102"/>
                    </a:lnTo>
                    <a:lnTo>
                      <a:pt x="1219" y="1100"/>
                    </a:lnTo>
                    <a:close/>
                    <a:moveTo>
                      <a:pt x="1198" y="1092"/>
                    </a:moveTo>
                    <a:lnTo>
                      <a:pt x="1198" y="1094"/>
                    </a:lnTo>
                    <a:lnTo>
                      <a:pt x="1198" y="1092"/>
                    </a:lnTo>
                    <a:close/>
                    <a:moveTo>
                      <a:pt x="1229" y="1570"/>
                    </a:moveTo>
                    <a:lnTo>
                      <a:pt x="1230" y="1570"/>
                    </a:lnTo>
                    <a:lnTo>
                      <a:pt x="1229" y="1570"/>
                    </a:lnTo>
                    <a:close/>
                    <a:moveTo>
                      <a:pt x="1229" y="1580"/>
                    </a:moveTo>
                    <a:lnTo>
                      <a:pt x="1230" y="1580"/>
                    </a:lnTo>
                    <a:lnTo>
                      <a:pt x="1230" y="1582"/>
                    </a:lnTo>
                    <a:lnTo>
                      <a:pt x="1229" y="1582"/>
                    </a:lnTo>
                    <a:lnTo>
                      <a:pt x="1229" y="1580"/>
                    </a:lnTo>
                    <a:close/>
                    <a:moveTo>
                      <a:pt x="1169" y="1413"/>
                    </a:moveTo>
                    <a:lnTo>
                      <a:pt x="1171" y="1413"/>
                    </a:lnTo>
                    <a:lnTo>
                      <a:pt x="1169" y="1413"/>
                    </a:lnTo>
                    <a:close/>
                    <a:moveTo>
                      <a:pt x="1178" y="1441"/>
                    </a:moveTo>
                    <a:lnTo>
                      <a:pt x="1179" y="1441"/>
                    </a:lnTo>
                    <a:lnTo>
                      <a:pt x="1178" y="1441"/>
                    </a:lnTo>
                    <a:close/>
                    <a:moveTo>
                      <a:pt x="1161" y="1398"/>
                    </a:moveTo>
                    <a:lnTo>
                      <a:pt x="1162" y="1398"/>
                    </a:lnTo>
                    <a:lnTo>
                      <a:pt x="1161" y="1398"/>
                    </a:lnTo>
                    <a:close/>
                    <a:moveTo>
                      <a:pt x="1217" y="1504"/>
                    </a:moveTo>
                    <a:lnTo>
                      <a:pt x="1219" y="1504"/>
                    </a:lnTo>
                    <a:lnTo>
                      <a:pt x="1219" y="1505"/>
                    </a:lnTo>
                    <a:lnTo>
                      <a:pt x="1217" y="1505"/>
                    </a:lnTo>
                    <a:lnTo>
                      <a:pt x="1217" y="1504"/>
                    </a:lnTo>
                    <a:close/>
                    <a:moveTo>
                      <a:pt x="1183" y="1308"/>
                    </a:moveTo>
                    <a:lnTo>
                      <a:pt x="1183" y="1310"/>
                    </a:lnTo>
                    <a:lnTo>
                      <a:pt x="1183" y="1308"/>
                    </a:lnTo>
                    <a:close/>
                    <a:moveTo>
                      <a:pt x="1161" y="1357"/>
                    </a:moveTo>
                    <a:lnTo>
                      <a:pt x="1162" y="1357"/>
                    </a:lnTo>
                    <a:lnTo>
                      <a:pt x="1161" y="1357"/>
                    </a:lnTo>
                    <a:close/>
                    <a:moveTo>
                      <a:pt x="1176" y="1367"/>
                    </a:moveTo>
                    <a:lnTo>
                      <a:pt x="1178" y="1367"/>
                    </a:lnTo>
                    <a:lnTo>
                      <a:pt x="1176" y="1367"/>
                    </a:lnTo>
                    <a:close/>
                    <a:moveTo>
                      <a:pt x="1305" y="1623"/>
                    </a:moveTo>
                    <a:lnTo>
                      <a:pt x="1307" y="1623"/>
                    </a:lnTo>
                    <a:lnTo>
                      <a:pt x="1307" y="1624"/>
                    </a:lnTo>
                    <a:lnTo>
                      <a:pt x="1305" y="1624"/>
                    </a:lnTo>
                    <a:lnTo>
                      <a:pt x="1305" y="1623"/>
                    </a:lnTo>
                    <a:close/>
                    <a:moveTo>
                      <a:pt x="1149" y="1333"/>
                    </a:moveTo>
                    <a:lnTo>
                      <a:pt x="1151" y="1333"/>
                    </a:lnTo>
                    <a:lnTo>
                      <a:pt x="1149" y="1333"/>
                    </a:lnTo>
                    <a:close/>
                    <a:moveTo>
                      <a:pt x="1213" y="1102"/>
                    </a:moveTo>
                    <a:lnTo>
                      <a:pt x="1213" y="1104"/>
                    </a:lnTo>
                    <a:lnTo>
                      <a:pt x="1213" y="1102"/>
                    </a:lnTo>
                    <a:close/>
                    <a:moveTo>
                      <a:pt x="1154" y="1248"/>
                    </a:moveTo>
                    <a:lnTo>
                      <a:pt x="1156" y="1248"/>
                    </a:lnTo>
                    <a:lnTo>
                      <a:pt x="1154" y="1248"/>
                    </a:lnTo>
                    <a:close/>
                    <a:moveTo>
                      <a:pt x="1358" y="1652"/>
                    </a:moveTo>
                    <a:lnTo>
                      <a:pt x="1358" y="1653"/>
                    </a:lnTo>
                    <a:lnTo>
                      <a:pt x="1358" y="1652"/>
                    </a:lnTo>
                    <a:close/>
                    <a:moveTo>
                      <a:pt x="1259" y="1590"/>
                    </a:moveTo>
                    <a:lnTo>
                      <a:pt x="1259" y="1592"/>
                    </a:lnTo>
                    <a:lnTo>
                      <a:pt x="1259" y="1590"/>
                    </a:lnTo>
                    <a:close/>
                    <a:moveTo>
                      <a:pt x="1266" y="1599"/>
                    </a:moveTo>
                    <a:lnTo>
                      <a:pt x="1266" y="1600"/>
                    </a:lnTo>
                    <a:lnTo>
                      <a:pt x="1266" y="1599"/>
                    </a:lnTo>
                    <a:close/>
                    <a:moveTo>
                      <a:pt x="1188" y="1066"/>
                    </a:moveTo>
                    <a:lnTo>
                      <a:pt x="1188" y="1068"/>
                    </a:lnTo>
                    <a:lnTo>
                      <a:pt x="1188" y="1066"/>
                    </a:lnTo>
                    <a:close/>
                    <a:moveTo>
                      <a:pt x="1154" y="1272"/>
                    </a:moveTo>
                    <a:lnTo>
                      <a:pt x="1156" y="1272"/>
                    </a:lnTo>
                    <a:lnTo>
                      <a:pt x="1156" y="1274"/>
                    </a:lnTo>
                    <a:lnTo>
                      <a:pt x="1154" y="1274"/>
                    </a:lnTo>
                    <a:lnTo>
                      <a:pt x="1154" y="1272"/>
                    </a:lnTo>
                    <a:close/>
                    <a:moveTo>
                      <a:pt x="1309" y="1635"/>
                    </a:moveTo>
                    <a:lnTo>
                      <a:pt x="1310" y="1635"/>
                    </a:lnTo>
                    <a:lnTo>
                      <a:pt x="1309" y="1635"/>
                    </a:lnTo>
                    <a:close/>
                    <a:moveTo>
                      <a:pt x="1220" y="1077"/>
                    </a:moveTo>
                    <a:lnTo>
                      <a:pt x="1222" y="1077"/>
                    </a:lnTo>
                    <a:lnTo>
                      <a:pt x="1220" y="1077"/>
                    </a:lnTo>
                    <a:close/>
                    <a:moveTo>
                      <a:pt x="1205" y="1507"/>
                    </a:moveTo>
                    <a:lnTo>
                      <a:pt x="1207" y="1507"/>
                    </a:lnTo>
                    <a:lnTo>
                      <a:pt x="1205" y="1507"/>
                    </a:lnTo>
                    <a:close/>
                    <a:moveTo>
                      <a:pt x="1229" y="1558"/>
                    </a:moveTo>
                    <a:lnTo>
                      <a:pt x="1230" y="1558"/>
                    </a:lnTo>
                    <a:lnTo>
                      <a:pt x="1229" y="1558"/>
                    </a:lnTo>
                    <a:close/>
                    <a:moveTo>
                      <a:pt x="1198" y="1435"/>
                    </a:moveTo>
                    <a:lnTo>
                      <a:pt x="1198" y="1437"/>
                    </a:lnTo>
                    <a:lnTo>
                      <a:pt x="1198" y="1435"/>
                    </a:lnTo>
                    <a:close/>
                    <a:moveTo>
                      <a:pt x="1271" y="1595"/>
                    </a:moveTo>
                    <a:lnTo>
                      <a:pt x="1273" y="1595"/>
                    </a:lnTo>
                    <a:lnTo>
                      <a:pt x="1271" y="1595"/>
                    </a:lnTo>
                    <a:close/>
                    <a:moveTo>
                      <a:pt x="1186" y="1490"/>
                    </a:moveTo>
                    <a:lnTo>
                      <a:pt x="1188" y="1490"/>
                    </a:lnTo>
                    <a:lnTo>
                      <a:pt x="1186" y="1490"/>
                    </a:lnTo>
                    <a:close/>
                    <a:moveTo>
                      <a:pt x="1246" y="1507"/>
                    </a:moveTo>
                    <a:lnTo>
                      <a:pt x="1247" y="1507"/>
                    </a:lnTo>
                    <a:lnTo>
                      <a:pt x="1247" y="1509"/>
                    </a:lnTo>
                    <a:lnTo>
                      <a:pt x="1246" y="1509"/>
                    </a:lnTo>
                    <a:lnTo>
                      <a:pt x="1246" y="1507"/>
                    </a:lnTo>
                    <a:close/>
                    <a:moveTo>
                      <a:pt x="1368" y="1662"/>
                    </a:moveTo>
                    <a:lnTo>
                      <a:pt x="1370" y="1662"/>
                    </a:lnTo>
                    <a:lnTo>
                      <a:pt x="1368" y="1662"/>
                    </a:lnTo>
                    <a:close/>
                    <a:moveTo>
                      <a:pt x="1220" y="1544"/>
                    </a:moveTo>
                    <a:lnTo>
                      <a:pt x="1222" y="1544"/>
                    </a:lnTo>
                    <a:lnTo>
                      <a:pt x="1220" y="1544"/>
                    </a:lnTo>
                    <a:close/>
                    <a:moveTo>
                      <a:pt x="1162" y="1388"/>
                    </a:moveTo>
                    <a:lnTo>
                      <a:pt x="1164" y="1388"/>
                    </a:lnTo>
                    <a:lnTo>
                      <a:pt x="1162" y="1388"/>
                    </a:lnTo>
                    <a:close/>
                    <a:moveTo>
                      <a:pt x="1210" y="1242"/>
                    </a:moveTo>
                    <a:lnTo>
                      <a:pt x="1210" y="1243"/>
                    </a:lnTo>
                    <a:lnTo>
                      <a:pt x="1210" y="1242"/>
                    </a:lnTo>
                    <a:close/>
                    <a:moveTo>
                      <a:pt x="1196" y="1439"/>
                    </a:moveTo>
                    <a:lnTo>
                      <a:pt x="1198" y="1439"/>
                    </a:lnTo>
                    <a:lnTo>
                      <a:pt x="1198" y="1441"/>
                    </a:lnTo>
                    <a:lnTo>
                      <a:pt x="1196" y="1441"/>
                    </a:lnTo>
                    <a:lnTo>
                      <a:pt x="1196" y="1439"/>
                    </a:lnTo>
                    <a:close/>
                    <a:moveTo>
                      <a:pt x="1205" y="1481"/>
                    </a:moveTo>
                    <a:lnTo>
                      <a:pt x="1207" y="1481"/>
                    </a:lnTo>
                    <a:lnTo>
                      <a:pt x="1205" y="1481"/>
                    </a:lnTo>
                    <a:close/>
                    <a:moveTo>
                      <a:pt x="1190" y="1112"/>
                    </a:moveTo>
                    <a:lnTo>
                      <a:pt x="1191" y="1112"/>
                    </a:lnTo>
                    <a:lnTo>
                      <a:pt x="1191" y="1114"/>
                    </a:lnTo>
                    <a:lnTo>
                      <a:pt x="1190" y="1114"/>
                    </a:lnTo>
                    <a:lnTo>
                      <a:pt x="1190" y="1112"/>
                    </a:lnTo>
                    <a:close/>
                    <a:moveTo>
                      <a:pt x="1210" y="1481"/>
                    </a:moveTo>
                    <a:lnTo>
                      <a:pt x="1210" y="1483"/>
                    </a:lnTo>
                    <a:lnTo>
                      <a:pt x="1210" y="1481"/>
                    </a:lnTo>
                    <a:close/>
                    <a:moveTo>
                      <a:pt x="1312" y="1512"/>
                    </a:moveTo>
                    <a:lnTo>
                      <a:pt x="1312" y="1514"/>
                    </a:lnTo>
                    <a:lnTo>
                      <a:pt x="1312" y="1512"/>
                    </a:lnTo>
                    <a:close/>
                    <a:moveTo>
                      <a:pt x="1380" y="1662"/>
                    </a:moveTo>
                    <a:lnTo>
                      <a:pt x="1382" y="1662"/>
                    </a:lnTo>
                    <a:lnTo>
                      <a:pt x="1380" y="1662"/>
                    </a:lnTo>
                    <a:close/>
                    <a:moveTo>
                      <a:pt x="1210" y="1493"/>
                    </a:moveTo>
                    <a:lnTo>
                      <a:pt x="1212" y="1493"/>
                    </a:lnTo>
                    <a:lnTo>
                      <a:pt x="1210" y="1493"/>
                    </a:lnTo>
                    <a:close/>
                    <a:moveTo>
                      <a:pt x="1207" y="1099"/>
                    </a:moveTo>
                    <a:lnTo>
                      <a:pt x="1207" y="1100"/>
                    </a:lnTo>
                    <a:lnTo>
                      <a:pt x="1207" y="1099"/>
                    </a:lnTo>
                    <a:close/>
                    <a:moveTo>
                      <a:pt x="1154" y="1250"/>
                    </a:moveTo>
                    <a:lnTo>
                      <a:pt x="1156" y="1250"/>
                    </a:lnTo>
                    <a:lnTo>
                      <a:pt x="1154" y="1250"/>
                    </a:lnTo>
                    <a:close/>
                    <a:moveTo>
                      <a:pt x="1219" y="1549"/>
                    </a:moveTo>
                    <a:lnTo>
                      <a:pt x="1220" y="1549"/>
                    </a:lnTo>
                    <a:lnTo>
                      <a:pt x="1220" y="1551"/>
                    </a:lnTo>
                    <a:lnTo>
                      <a:pt x="1219" y="1551"/>
                    </a:lnTo>
                    <a:lnTo>
                      <a:pt x="1219" y="1549"/>
                    </a:lnTo>
                    <a:close/>
                    <a:moveTo>
                      <a:pt x="1210" y="1085"/>
                    </a:moveTo>
                    <a:lnTo>
                      <a:pt x="1210" y="1087"/>
                    </a:lnTo>
                    <a:lnTo>
                      <a:pt x="1210" y="1085"/>
                    </a:lnTo>
                    <a:close/>
                    <a:moveTo>
                      <a:pt x="1159" y="1347"/>
                    </a:moveTo>
                    <a:lnTo>
                      <a:pt x="1159" y="1349"/>
                    </a:lnTo>
                    <a:lnTo>
                      <a:pt x="1159" y="1347"/>
                    </a:lnTo>
                    <a:close/>
                    <a:moveTo>
                      <a:pt x="1219" y="1555"/>
                    </a:moveTo>
                    <a:lnTo>
                      <a:pt x="1220" y="1555"/>
                    </a:lnTo>
                    <a:lnTo>
                      <a:pt x="1219" y="1555"/>
                    </a:lnTo>
                    <a:close/>
                    <a:moveTo>
                      <a:pt x="1230" y="1570"/>
                    </a:moveTo>
                    <a:lnTo>
                      <a:pt x="1232" y="1570"/>
                    </a:lnTo>
                    <a:lnTo>
                      <a:pt x="1230" y="1570"/>
                    </a:lnTo>
                    <a:close/>
                    <a:moveTo>
                      <a:pt x="1144" y="1299"/>
                    </a:moveTo>
                    <a:lnTo>
                      <a:pt x="1144" y="1301"/>
                    </a:lnTo>
                    <a:lnTo>
                      <a:pt x="1144" y="1299"/>
                    </a:lnTo>
                    <a:close/>
                    <a:moveTo>
                      <a:pt x="1394" y="1635"/>
                    </a:moveTo>
                    <a:lnTo>
                      <a:pt x="1394" y="1636"/>
                    </a:lnTo>
                    <a:lnTo>
                      <a:pt x="1394" y="1635"/>
                    </a:lnTo>
                    <a:close/>
                    <a:moveTo>
                      <a:pt x="1236" y="1582"/>
                    </a:moveTo>
                    <a:lnTo>
                      <a:pt x="1236" y="1583"/>
                    </a:lnTo>
                    <a:lnTo>
                      <a:pt x="1236" y="1582"/>
                    </a:lnTo>
                    <a:close/>
                    <a:moveTo>
                      <a:pt x="1207" y="1514"/>
                    </a:moveTo>
                    <a:lnTo>
                      <a:pt x="1208" y="1514"/>
                    </a:lnTo>
                    <a:lnTo>
                      <a:pt x="1207" y="1514"/>
                    </a:lnTo>
                    <a:close/>
                    <a:moveTo>
                      <a:pt x="1220" y="1117"/>
                    </a:moveTo>
                    <a:lnTo>
                      <a:pt x="1222" y="1117"/>
                    </a:lnTo>
                    <a:lnTo>
                      <a:pt x="1220" y="1117"/>
                    </a:lnTo>
                    <a:close/>
                    <a:moveTo>
                      <a:pt x="1229" y="1039"/>
                    </a:moveTo>
                    <a:lnTo>
                      <a:pt x="1230" y="1039"/>
                    </a:lnTo>
                    <a:lnTo>
                      <a:pt x="1230" y="1041"/>
                    </a:lnTo>
                    <a:lnTo>
                      <a:pt x="1229" y="1041"/>
                    </a:lnTo>
                    <a:lnTo>
                      <a:pt x="1229" y="1039"/>
                    </a:lnTo>
                    <a:close/>
                    <a:moveTo>
                      <a:pt x="1178" y="1488"/>
                    </a:moveTo>
                    <a:lnTo>
                      <a:pt x="1179" y="1488"/>
                    </a:lnTo>
                    <a:lnTo>
                      <a:pt x="1179" y="1490"/>
                    </a:lnTo>
                    <a:lnTo>
                      <a:pt x="1178" y="1490"/>
                    </a:lnTo>
                    <a:lnTo>
                      <a:pt x="1178" y="1488"/>
                    </a:lnTo>
                    <a:close/>
                    <a:moveTo>
                      <a:pt x="1173" y="1435"/>
                    </a:moveTo>
                    <a:lnTo>
                      <a:pt x="1174" y="1435"/>
                    </a:lnTo>
                    <a:lnTo>
                      <a:pt x="1174" y="1437"/>
                    </a:lnTo>
                    <a:lnTo>
                      <a:pt x="1173" y="1437"/>
                    </a:lnTo>
                    <a:lnTo>
                      <a:pt x="1173" y="1435"/>
                    </a:lnTo>
                    <a:close/>
                    <a:moveTo>
                      <a:pt x="1202" y="1063"/>
                    </a:moveTo>
                    <a:lnTo>
                      <a:pt x="1203" y="1063"/>
                    </a:lnTo>
                    <a:lnTo>
                      <a:pt x="1202" y="1063"/>
                    </a:lnTo>
                    <a:close/>
                    <a:moveTo>
                      <a:pt x="1154" y="1250"/>
                    </a:moveTo>
                    <a:lnTo>
                      <a:pt x="1154" y="1252"/>
                    </a:lnTo>
                    <a:lnTo>
                      <a:pt x="1154" y="1250"/>
                    </a:lnTo>
                    <a:close/>
                    <a:moveTo>
                      <a:pt x="1178" y="1432"/>
                    </a:moveTo>
                    <a:lnTo>
                      <a:pt x="1179" y="1432"/>
                    </a:lnTo>
                    <a:lnTo>
                      <a:pt x="1178" y="1432"/>
                    </a:lnTo>
                    <a:close/>
                    <a:moveTo>
                      <a:pt x="1188" y="1480"/>
                    </a:moveTo>
                    <a:lnTo>
                      <a:pt x="1190" y="1480"/>
                    </a:lnTo>
                    <a:lnTo>
                      <a:pt x="1188" y="1480"/>
                    </a:lnTo>
                    <a:close/>
                    <a:moveTo>
                      <a:pt x="1360" y="1629"/>
                    </a:moveTo>
                    <a:lnTo>
                      <a:pt x="1361" y="1629"/>
                    </a:lnTo>
                    <a:lnTo>
                      <a:pt x="1361" y="1631"/>
                    </a:lnTo>
                    <a:lnTo>
                      <a:pt x="1360" y="1631"/>
                    </a:lnTo>
                    <a:lnTo>
                      <a:pt x="1360" y="1629"/>
                    </a:lnTo>
                    <a:close/>
                    <a:moveTo>
                      <a:pt x="1181" y="1117"/>
                    </a:moveTo>
                    <a:lnTo>
                      <a:pt x="1183" y="1117"/>
                    </a:lnTo>
                    <a:lnTo>
                      <a:pt x="1181" y="1117"/>
                    </a:lnTo>
                    <a:close/>
                    <a:moveTo>
                      <a:pt x="1346" y="1657"/>
                    </a:moveTo>
                    <a:lnTo>
                      <a:pt x="1348" y="1657"/>
                    </a:lnTo>
                    <a:lnTo>
                      <a:pt x="1348" y="1658"/>
                    </a:lnTo>
                    <a:lnTo>
                      <a:pt x="1346" y="1658"/>
                    </a:lnTo>
                    <a:lnTo>
                      <a:pt x="1346" y="1657"/>
                    </a:lnTo>
                    <a:close/>
                    <a:moveTo>
                      <a:pt x="1145" y="1332"/>
                    </a:moveTo>
                    <a:lnTo>
                      <a:pt x="1147" y="1332"/>
                    </a:lnTo>
                    <a:lnTo>
                      <a:pt x="1147" y="1333"/>
                    </a:lnTo>
                    <a:lnTo>
                      <a:pt x="1145" y="1333"/>
                    </a:lnTo>
                    <a:lnTo>
                      <a:pt x="1145" y="1332"/>
                    </a:lnTo>
                    <a:close/>
                    <a:moveTo>
                      <a:pt x="1215" y="1504"/>
                    </a:moveTo>
                    <a:lnTo>
                      <a:pt x="1217" y="1504"/>
                    </a:lnTo>
                    <a:lnTo>
                      <a:pt x="1215" y="1504"/>
                    </a:lnTo>
                    <a:close/>
                    <a:moveTo>
                      <a:pt x="1149" y="1253"/>
                    </a:moveTo>
                    <a:lnTo>
                      <a:pt x="1151" y="1253"/>
                    </a:lnTo>
                    <a:lnTo>
                      <a:pt x="1149" y="1253"/>
                    </a:lnTo>
                    <a:close/>
                    <a:moveTo>
                      <a:pt x="1329" y="1643"/>
                    </a:moveTo>
                    <a:lnTo>
                      <a:pt x="1331" y="1643"/>
                    </a:lnTo>
                    <a:lnTo>
                      <a:pt x="1329" y="1643"/>
                    </a:lnTo>
                    <a:close/>
                    <a:moveTo>
                      <a:pt x="1193" y="1453"/>
                    </a:moveTo>
                    <a:lnTo>
                      <a:pt x="1193" y="1454"/>
                    </a:lnTo>
                    <a:lnTo>
                      <a:pt x="1193" y="1453"/>
                    </a:lnTo>
                    <a:close/>
                    <a:moveTo>
                      <a:pt x="1203" y="1063"/>
                    </a:moveTo>
                    <a:lnTo>
                      <a:pt x="1203" y="1065"/>
                    </a:lnTo>
                    <a:lnTo>
                      <a:pt x="1203" y="1063"/>
                    </a:lnTo>
                    <a:close/>
                    <a:moveTo>
                      <a:pt x="1310" y="212"/>
                    </a:moveTo>
                    <a:lnTo>
                      <a:pt x="1310" y="214"/>
                    </a:lnTo>
                    <a:lnTo>
                      <a:pt x="1310" y="212"/>
                    </a:lnTo>
                    <a:close/>
                    <a:moveTo>
                      <a:pt x="1361" y="1667"/>
                    </a:moveTo>
                    <a:lnTo>
                      <a:pt x="1363" y="1667"/>
                    </a:lnTo>
                    <a:lnTo>
                      <a:pt x="1361" y="1667"/>
                    </a:lnTo>
                    <a:close/>
                    <a:moveTo>
                      <a:pt x="1166" y="1405"/>
                    </a:moveTo>
                    <a:lnTo>
                      <a:pt x="1168" y="1405"/>
                    </a:lnTo>
                    <a:lnTo>
                      <a:pt x="1168" y="1407"/>
                    </a:lnTo>
                    <a:lnTo>
                      <a:pt x="1166" y="1407"/>
                    </a:lnTo>
                    <a:lnTo>
                      <a:pt x="1166" y="1405"/>
                    </a:lnTo>
                    <a:close/>
                    <a:moveTo>
                      <a:pt x="1215" y="1555"/>
                    </a:moveTo>
                    <a:lnTo>
                      <a:pt x="1217" y="1555"/>
                    </a:lnTo>
                    <a:lnTo>
                      <a:pt x="1215" y="1555"/>
                    </a:lnTo>
                    <a:close/>
                    <a:moveTo>
                      <a:pt x="1191" y="1437"/>
                    </a:moveTo>
                    <a:lnTo>
                      <a:pt x="1193" y="1437"/>
                    </a:lnTo>
                    <a:lnTo>
                      <a:pt x="1191" y="1437"/>
                    </a:lnTo>
                    <a:close/>
                    <a:moveTo>
                      <a:pt x="1251" y="1522"/>
                    </a:moveTo>
                    <a:lnTo>
                      <a:pt x="1253" y="1522"/>
                    </a:lnTo>
                    <a:lnTo>
                      <a:pt x="1251" y="1522"/>
                    </a:lnTo>
                    <a:close/>
                    <a:moveTo>
                      <a:pt x="1207" y="1498"/>
                    </a:moveTo>
                    <a:lnTo>
                      <a:pt x="1208" y="1498"/>
                    </a:lnTo>
                    <a:lnTo>
                      <a:pt x="1208" y="1500"/>
                    </a:lnTo>
                    <a:lnTo>
                      <a:pt x="1207" y="1500"/>
                    </a:lnTo>
                    <a:lnTo>
                      <a:pt x="1207" y="1498"/>
                    </a:lnTo>
                    <a:close/>
                    <a:moveTo>
                      <a:pt x="1186" y="1439"/>
                    </a:moveTo>
                    <a:lnTo>
                      <a:pt x="1186" y="1441"/>
                    </a:lnTo>
                    <a:lnTo>
                      <a:pt x="1186" y="1439"/>
                    </a:lnTo>
                    <a:close/>
                    <a:moveTo>
                      <a:pt x="1176" y="1116"/>
                    </a:moveTo>
                    <a:lnTo>
                      <a:pt x="1178" y="1116"/>
                    </a:lnTo>
                    <a:lnTo>
                      <a:pt x="1176" y="1116"/>
                    </a:lnTo>
                    <a:close/>
                    <a:moveTo>
                      <a:pt x="1188" y="1209"/>
                    </a:moveTo>
                    <a:lnTo>
                      <a:pt x="1190" y="1209"/>
                    </a:lnTo>
                    <a:lnTo>
                      <a:pt x="1188" y="1209"/>
                    </a:lnTo>
                    <a:close/>
                    <a:moveTo>
                      <a:pt x="1159" y="1347"/>
                    </a:moveTo>
                    <a:lnTo>
                      <a:pt x="1161" y="1347"/>
                    </a:lnTo>
                    <a:lnTo>
                      <a:pt x="1159" y="1347"/>
                    </a:lnTo>
                    <a:close/>
                    <a:moveTo>
                      <a:pt x="1215" y="1105"/>
                    </a:moveTo>
                    <a:lnTo>
                      <a:pt x="1215" y="1107"/>
                    </a:lnTo>
                    <a:lnTo>
                      <a:pt x="1215" y="1105"/>
                    </a:lnTo>
                    <a:close/>
                    <a:moveTo>
                      <a:pt x="1162" y="1347"/>
                    </a:moveTo>
                    <a:lnTo>
                      <a:pt x="1164" y="1347"/>
                    </a:lnTo>
                    <a:lnTo>
                      <a:pt x="1162" y="1347"/>
                    </a:lnTo>
                    <a:close/>
                    <a:moveTo>
                      <a:pt x="1210" y="1116"/>
                    </a:moveTo>
                    <a:lnTo>
                      <a:pt x="1212" y="1116"/>
                    </a:lnTo>
                    <a:lnTo>
                      <a:pt x="1210" y="1116"/>
                    </a:lnTo>
                    <a:close/>
                    <a:moveTo>
                      <a:pt x="1259" y="1493"/>
                    </a:moveTo>
                    <a:lnTo>
                      <a:pt x="1261" y="1493"/>
                    </a:lnTo>
                    <a:lnTo>
                      <a:pt x="1259" y="1493"/>
                    </a:lnTo>
                    <a:close/>
                    <a:moveTo>
                      <a:pt x="1207" y="1521"/>
                    </a:moveTo>
                    <a:lnTo>
                      <a:pt x="1208" y="1521"/>
                    </a:lnTo>
                    <a:lnTo>
                      <a:pt x="1208" y="1522"/>
                    </a:lnTo>
                    <a:lnTo>
                      <a:pt x="1207" y="1522"/>
                    </a:lnTo>
                    <a:lnTo>
                      <a:pt x="1207" y="1521"/>
                    </a:lnTo>
                    <a:close/>
                    <a:moveTo>
                      <a:pt x="1212" y="1070"/>
                    </a:moveTo>
                    <a:lnTo>
                      <a:pt x="1212" y="1071"/>
                    </a:lnTo>
                    <a:lnTo>
                      <a:pt x="1212" y="1070"/>
                    </a:lnTo>
                    <a:close/>
                    <a:moveTo>
                      <a:pt x="1190" y="1068"/>
                    </a:moveTo>
                    <a:lnTo>
                      <a:pt x="1191" y="1068"/>
                    </a:lnTo>
                    <a:lnTo>
                      <a:pt x="1190" y="1068"/>
                    </a:lnTo>
                    <a:close/>
                    <a:moveTo>
                      <a:pt x="1213" y="1555"/>
                    </a:moveTo>
                    <a:lnTo>
                      <a:pt x="1215" y="1555"/>
                    </a:lnTo>
                    <a:lnTo>
                      <a:pt x="1215" y="1556"/>
                    </a:lnTo>
                    <a:lnTo>
                      <a:pt x="1213" y="1556"/>
                    </a:lnTo>
                    <a:lnTo>
                      <a:pt x="1213" y="1555"/>
                    </a:lnTo>
                    <a:close/>
                    <a:moveTo>
                      <a:pt x="1212" y="1555"/>
                    </a:moveTo>
                    <a:lnTo>
                      <a:pt x="1213" y="1555"/>
                    </a:lnTo>
                    <a:lnTo>
                      <a:pt x="1212" y="1555"/>
                    </a:lnTo>
                    <a:close/>
                    <a:moveTo>
                      <a:pt x="1212" y="1500"/>
                    </a:moveTo>
                    <a:lnTo>
                      <a:pt x="1212" y="1502"/>
                    </a:lnTo>
                    <a:lnTo>
                      <a:pt x="1212" y="1500"/>
                    </a:lnTo>
                    <a:close/>
                    <a:moveTo>
                      <a:pt x="1156" y="1250"/>
                    </a:moveTo>
                    <a:lnTo>
                      <a:pt x="1156" y="1252"/>
                    </a:lnTo>
                    <a:lnTo>
                      <a:pt x="1156" y="1250"/>
                    </a:lnTo>
                    <a:close/>
                    <a:moveTo>
                      <a:pt x="1205" y="1073"/>
                    </a:moveTo>
                    <a:lnTo>
                      <a:pt x="1207" y="1073"/>
                    </a:lnTo>
                    <a:lnTo>
                      <a:pt x="1207" y="1075"/>
                    </a:lnTo>
                    <a:lnTo>
                      <a:pt x="1205" y="1075"/>
                    </a:lnTo>
                    <a:lnTo>
                      <a:pt x="1205" y="1073"/>
                    </a:lnTo>
                    <a:close/>
                    <a:moveTo>
                      <a:pt x="1208" y="1082"/>
                    </a:moveTo>
                    <a:lnTo>
                      <a:pt x="1210" y="1082"/>
                    </a:lnTo>
                    <a:lnTo>
                      <a:pt x="1208" y="1082"/>
                    </a:lnTo>
                    <a:close/>
                    <a:moveTo>
                      <a:pt x="1169" y="1434"/>
                    </a:moveTo>
                    <a:lnTo>
                      <a:pt x="1171" y="1434"/>
                    </a:lnTo>
                    <a:lnTo>
                      <a:pt x="1171" y="1435"/>
                    </a:lnTo>
                    <a:lnTo>
                      <a:pt x="1169" y="1435"/>
                    </a:lnTo>
                    <a:lnTo>
                      <a:pt x="1169" y="1434"/>
                    </a:lnTo>
                    <a:close/>
                    <a:moveTo>
                      <a:pt x="1191" y="1114"/>
                    </a:moveTo>
                    <a:lnTo>
                      <a:pt x="1191" y="1116"/>
                    </a:lnTo>
                    <a:lnTo>
                      <a:pt x="1191" y="1114"/>
                    </a:lnTo>
                    <a:close/>
                    <a:moveTo>
                      <a:pt x="1178" y="1374"/>
                    </a:moveTo>
                    <a:lnTo>
                      <a:pt x="1178" y="1376"/>
                    </a:lnTo>
                    <a:lnTo>
                      <a:pt x="1178" y="1374"/>
                    </a:lnTo>
                    <a:close/>
                    <a:moveTo>
                      <a:pt x="1208" y="1075"/>
                    </a:moveTo>
                    <a:lnTo>
                      <a:pt x="1210" y="1075"/>
                    </a:lnTo>
                    <a:lnTo>
                      <a:pt x="1208" y="1075"/>
                    </a:lnTo>
                    <a:close/>
                    <a:moveTo>
                      <a:pt x="1205" y="1053"/>
                    </a:moveTo>
                    <a:lnTo>
                      <a:pt x="1205" y="1054"/>
                    </a:lnTo>
                    <a:lnTo>
                      <a:pt x="1205" y="1053"/>
                    </a:lnTo>
                    <a:close/>
                    <a:moveTo>
                      <a:pt x="1186" y="1383"/>
                    </a:moveTo>
                    <a:lnTo>
                      <a:pt x="1186" y="1384"/>
                    </a:lnTo>
                    <a:lnTo>
                      <a:pt x="1186" y="1383"/>
                    </a:lnTo>
                    <a:close/>
                    <a:moveTo>
                      <a:pt x="1169" y="1133"/>
                    </a:moveTo>
                    <a:lnTo>
                      <a:pt x="1171" y="1133"/>
                    </a:lnTo>
                    <a:lnTo>
                      <a:pt x="1171" y="1134"/>
                    </a:lnTo>
                    <a:lnTo>
                      <a:pt x="1169" y="1134"/>
                    </a:lnTo>
                    <a:lnTo>
                      <a:pt x="1169" y="1133"/>
                    </a:lnTo>
                    <a:close/>
                    <a:moveTo>
                      <a:pt x="1383" y="1628"/>
                    </a:moveTo>
                    <a:lnTo>
                      <a:pt x="1383" y="1629"/>
                    </a:lnTo>
                    <a:lnTo>
                      <a:pt x="1383" y="1628"/>
                    </a:lnTo>
                    <a:close/>
                    <a:moveTo>
                      <a:pt x="1232" y="1583"/>
                    </a:moveTo>
                    <a:lnTo>
                      <a:pt x="1234" y="1583"/>
                    </a:lnTo>
                    <a:lnTo>
                      <a:pt x="1232" y="1583"/>
                    </a:lnTo>
                    <a:close/>
                    <a:moveTo>
                      <a:pt x="1353" y="1682"/>
                    </a:moveTo>
                    <a:lnTo>
                      <a:pt x="1355" y="1682"/>
                    </a:lnTo>
                    <a:lnTo>
                      <a:pt x="1353" y="1682"/>
                    </a:lnTo>
                    <a:close/>
                    <a:moveTo>
                      <a:pt x="1185" y="1429"/>
                    </a:moveTo>
                    <a:lnTo>
                      <a:pt x="1185" y="1430"/>
                    </a:lnTo>
                    <a:lnTo>
                      <a:pt x="1185" y="1429"/>
                    </a:lnTo>
                    <a:close/>
                    <a:moveTo>
                      <a:pt x="1205" y="1054"/>
                    </a:moveTo>
                    <a:lnTo>
                      <a:pt x="1207" y="1054"/>
                    </a:lnTo>
                    <a:lnTo>
                      <a:pt x="1205" y="1054"/>
                    </a:lnTo>
                    <a:close/>
                    <a:moveTo>
                      <a:pt x="1283" y="1595"/>
                    </a:moveTo>
                    <a:lnTo>
                      <a:pt x="1283" y="1597"/>
                    </a:lnTo>
                    <a:lnTo>
                      <a:pt x="1283" y="1595"/>
                    </a:lnTo>
                    <a:close/>
                    <a:moveTo>
                      <a:pt x="1185" y="1429"/>
                    </a:moveTo>
                    <a:lnTo>
                      <a:pt x="1186" y="1429"/>
                    </a:lnTo>
                    <a:lnTo>
                      <a:pt x="1186" y="1430"/>
                    </a:lnTo>
                    <a:lnTo>
                      <a:pt x="1185" y="1430"/>
                    </a:lnTo>
                    <a:lnTo>
                      <a:pt x="1185" y="1429"/>
                    </a:lnTo>
                    <a:close/>
                    <a:moveTo>
                      <a:pt x="1220" y="1549"/>
                    </a:moveTo>
                    <a:lnTo>
                      <a:pt x="1220" y="1551"/>
                    </a:lnTo>
                    <a:lnTo>
                      <a:pt x="1220" y="1549"/>
                    </a:lnTo>
                    <a:close/>
                    <a:moveTo>
                      <a:pt x="1174" y="1116"/>
                    </a:moveTo>
                    <a:lnTo>
                      <a:pt x="1174" y="1117"/>
                    </a:lnTo>
                    <a:lnTo>
                      <a:pt x="1174" y="1116"/>
                    </a:lnTo>
                    <a:close/>
                    <a:moveTo>
                      <a:pt x="1314" y="1577"/>
                    </a:moveTo>
                    <a:lnTo>
                      <a:pt x="1315" y="1577"/>
                    </a:lnTo>
                    <a:lnTo>
                      <a:pt x="1314" y="1577"/>
                    </a:lnTo>
                    <a:close/>
                    <a:moveTo>
                      <a:pt x="1207" y="1507"/>
                    </a:moveTo>
                    <a:lnTo>
                      <a:pt x="1208" y="1507"/>
                    </a:lnTo>
                    <a:lnTo>
                      <a:pt x="1207" y="1507"/>
                    </a:lnTo>
                    <a:close/>
                    <a:moveTo>
                      <a:pt x="1380" y="1660"/>
                    </a:moveTo>
                    <a:lnTo>
                      <a:pt x="1380" y="1662"/>
                    </a:lnTo>
                    <a:lnTo>
                      <a:pt x="1380" y="1660"/>
                    </a:lnTo>
                    <a:close/>
                    <a:moveTo>
                      <a:pt x="1224" y="1572"/>
                    </a:moveTo>
                    <a:lnTo>
                      <a:pt x="1225" y="1572"/>
                    </a:lnTo>
                    <a:lnTo>
                      <a:pt x="1224" y="1572"/>
                    </a:lnTo>
                    <a:close/>
                    <a:moveTo>
                      <a:pt x="1331" y="1648"/>
                    </a:moveTo>
                    <a:lnTo>
                      <a:pt x="1332" y="1648"/>
                    </a:lnTo>
                    <a:lnTo>
                      <a:pt x="1331" y="1648"/>
                    </a:lnTo>
                    <a:close/>
                    <a:moveTo>
                      <a:pt x="1198" y="1549"/>
                    </a:moveTo>
                    <a:lnTo>
                      <a:pt x="1200" y="1549"/>
                    </a:lnTo>
                    <a:lnTo>
                      <a:pt x="1198" y="1549"/>
                    </a:lnTo>
                    <a:close/>
                    <a:moveTo>
                      <a:pt x="1174" y="1435"/>
                    </a:moveTo>
                    <a:lnTo>
                      <a:pt x="1174" y="1437"/>
                    </a:lnTo>
                    <a:lnTo>
                      <a:pt x="1174" y="1435"/>
                    </a:lnTo>
                    <a:close/>
                    <a:moveTo>
                      <a:pt x="1176" y="1255"/>
                    </a:moveTo>
                    <a:lnTo>
                      <a:pt x="1178" y="1255"/>
                    </a:lnTo>
                    <a:lnTo>
                      <a:pt x="1176" y="1255"/>
                    </a:lnTo>
                    <a:close/>
                    <a:moveTo>
                      <a:pt x="1156" y="1191"/>
                    </a:moveTo>
                    <a:lnTo>
                      <a:pt x="1157" y="1191"/>
                    </a:lnTo>
                    <a:lnTo>
                      <a:pt x="1156" y="1191"/>
                    </a:lnTo>
                    <a:close/>
                    <a:moveTo>
                      <a:pt x="1208" y="956"/>
                    </a:moveTo>
                    <a:lnTo>
                      <a:pt x="1210" y="956"/>
                    </a:lnTo>
                    <a:lnTo>
                      <a:pt x="1208" y="956"/>
                    </a:lnTo>
                    <a:close/>
                    <a:moveTo>
                      <a:pt x="1220" y="1563"/>
                    </a:moveTo>
                    <a:lnTo>
                      <a:pt x="1222" y="1563"/>
                    </a:lnTo>
                    <a:lnTo>
                      <a:pt x="1220" y="1563"/>
                    </a:lnTo>
                    <a:close/>
                    <a:moveTo>
                      <a:pt x="1207" y="949"/>
                    </a:moveTo>
                    <a:lnTo>
                      <a:pt x="1207" y="951"/>
                    </a:lnTo>
                    <a:lnTo>
                      <a:pt x="1207" y="949"/>
                    </a:lnTo>
                    <a:close/>
                    <a:moveTo>
                      <a:pt x="1220" y="1056"/>
                    </a:moveTo>
                    <a:lnTo>
                      <a:pt x="1222" y="1056"/>
                    </a:lnTo>
                    <a:lnTo>
                      <a:pt x="1222" y="1058"/>
                    </a:lnTo>
                    <a:lnTo>
                      <a:pt x="1220" y="1058"/>
                    </a:lnTo>
                    <a:lnTo>
                      <a:pt x="1220" y="1056"/>
                    </a:lnTo>
                    <a:close/>
                    <a:moveTo>
                      <a:pt x="1232" y="1575"/>
                    </a:moveTo>
                    <a:lnTo>
                      <a:pt x="1234" y="1575"/>
                    </a:lnTo>
                    <a:lnTo>
                      <a:pt x="1232" y="1575"/>
                    </a:lnTo>
                    <a:close/>
                    <a:moveTo>
                      <a:pt x="1378" y="1665"/>
                    </a:moveTo>
                    <a:lnTo>
                      <a:pt x="1378" y="1667"/>
                    </a:lnTo>
                    <a:lnTo>
                      <a:pt x="1378" y="1665"/>
                    </a:lnTo>
                    <a:close/>
                    <a:moveTo>
                      <a:pt x="1227" y="1556"/>
                    </a:moveTo>
                    <a:lnTo>
                      <a:pt x="1229" y="1556"/>
                    </a:lnTo>
                    <a:lnTo>
                      <a:pt x="1229" y="1558"/>
                    </a:lnTo>
                    <a:lnTo>
                      <a:pt x="1227" y="1558"/>
                    </a:lnTo>
                    <a:lnTo>
                      <a:pt x="1227" y="1556"/>
                    </a:lnTo>
                    <a:close/>
                    <a:moveTo>
                      <a:pt x="1229" y="1534"/>
                    </a:moveTo>
                    <a:lnTo>
                      <a:pt x="1229" y="1536"/>
                    </a:lnTo>
                    <a:lnTo>
                      <a:pt x="1229" y="1534"/>
                    </a:lnTo>
                    <a:close/>
                    <a:moveTo>
                      <a:pt x="1183" y="1461"/>
                    </a:moveTo>
                    <a:lnTo>
                      <a:pt x="1185" y="1461"/>
                    </a:lnTo>
                    <a:lnTo>
                      <a:pt x="1185" y="1463"/>
                    </a:lnTo>
                    <a:lnTo>
                      <a:pt x="1183" y="1463"/>
                    </a:lnTo>
                    <a:lnTo>
                      <a:pt x="1183" y="1461"/>
                    </a:lnTo>
                    <a:close/>
                    <a:moveTo>
                      <a:pt x="1183" y="1298"/>
                    </a:moveTo>
                    <a:lnTo>
                      <a:pt x="1183" y="1299"/>
                    </a:lnTo>
                    <a:lnTo>
                      <a:pt x="1183" y="1298"/>
                    </a:lnTo>
                    <a:close/>
                    <a:moveTo>
                      <a:pt x="1227" y="1522"/>
                    </a:moveTo>
                    <a:lnTo>
                      <a:pt x="1229" y="1522"/>
                    </a:lnTo>
                    <a:lnTo>
                      <a:pt x="1229" y="1524"/>
                    </a:lnTo>
                    <a:lnTo>
                      <a:pt x="1227" y="1524"/>
                    </a:lnTo>
                    <a:lnTo>
                      <a:pt x="1227" y="1522"/>
                    </a:lnTo>
                    <a:close/>
                    <a:moveTo>
                      <a:pt x="1203" y="1541"/>
                    </a:moveTo>
                    <a:lnTo>
                      <a:pt x="1205" y="1541"/>
                    </a:lnTo>
                    <a:lnTo>
                      <a:pt x="1203" y="1541"/>
                    </a:lnTo>
                    <a:close/>
                    <a:moveTo>
                      <a:pt x="1256" y="1524"/>
                    </a:moveTo>
                    <a:lnTo>
                      <a:pt x="1256" y="1526"/>
                    </a:lnTo>
                    <a:lnTo>
                      <a:pt x="1256" y="1524"/>
                    </a:lnTo>
                    <a:close/>
                    <a:moveTo>
                      <a:pt x="1307" y="1643"/>
                    </a:moveTo>
                    <a:lnTo>
                      <a:pt x="1307" y="1645"/>
                    </a:lnTo>
                    <a:lnTo>
                      <a:pt x="1307" y="1643"/>
                    </a:lnTo>
                    <a:close/>
                    <a:moveTo>
                      <a:pt x="1210" y="1502"/>
                    </a:moveTo>
                    <a:lnTo>
                      <a:pt x="1212" y="1502"/>
                    </a:lnTo>
                    <a:lnTo>
                      <a:pt x="1210" y="1502"/>
                    </a:lnTo>
                    <a:close/>
                    <a:moveTo>
                      <a:pt x="1179" y="1432"/>
                    </a:moveTo>
                    <a:lnTo>
                      <a:pt x="1179" y="1434"/>
                    </a:lnTo>
                    <a:lnTo>
                      <a:pt x="1179" y="1432"/>
                    </a:lnTo>
                    <a:close/>
                    <a:moveTo>
                      <a:pt x="1365" y="1665"/>
                    </a:moveTo>
                    <a:lnTo>
                      <a:pt x="1365" y="1667"/>
                    </a:lnTo>
                    <a:lnTo>
                      <a:pt x="1365" y="1665"/>
                    </a:lnTo>
                    <a:close/>
                    <a:moveTo>
                      <a:pt x="1234" y="1077"/>
                    </a:moveTo>
                    <a:lnTo>
                      <a:pt x="1234" y="1078"/>
                    </a:lnTo>
                    <a:lnTo>
                      <a:pt x="1234" y="1077"/>
                    </a:lnTo>
                    <a:close/>
                    <a:moveTo>
                      <a:pt x="1173" y="1466"/>
                    </a:moveTo>
                    <a:lnTo>
                      <a:pt x="1173" y="1468"/>
                    </a:lnTo>
                    <a:lnTo>
                      <a:pt x="1173" y="1466"/>
                    </a:lnTo>
                    <a:close/>
                    <a:moveTo>
                      <a:pt x="1220" y="1558"/>
                    </a:moveTo>
                    <a:lnTo>
                      <a:pt x="1220" y="1560"/>
                    </a:lnTo>
                    <a:lnTo>
                      <a:pt x="1220" y="1558"/>
                    </a:lnTo>
                    <a:close/>
                    <a:moveTo>
                      <a:pt x="1300" y="1618"/>
                    </a:moveTo>
                    <a:lnTo>
                      <a:pt x="1300" y="1619"/>
                    </a:lnTo>
                    <a:lnTo>
                      <a:pt x="1300" y="1618"/>
                    </a:lnTo>
                    <a:close/>
                    <a:moveTo>
                      <a:pt x="1230" y="1558"/>
                    </a:moveTo>
                    <a:lnTo>
                      <a:pt x="1232" y="1558"/>
                    </a:lnTo>
                    <a:lnTo>
                      <a:pt x="1230" y="1558"/>
                    </a:lnTo>
                    <a:close/>
                    <a:moveTo>
                      <a:pt x="1212" y="1257"/>
                    </a:moveTo>
                    <a:lnTo>
                      <a:pt x="1212" y="1259"/>
                    </a:lnTo>
                    <a:lnTo>
                      <a:pt x="1212" y="1257"/>
                    </a:lnTo>
                    <a:close/>
                    <a:moveTo>
                      <a:pt x="1210" y="1509"/>
                    </a:moveTo>
                    <a:lnTo>
                      <a:pt x="1212" y="1509"/>
                    </a:lnTo>
                    <a:lnTo>
                      <a:pt x="1210" y="1509"/>
                    </a:lnTo>
                    <a:close/>
                    <a:moveTo>
                      <a:pt x="1219" y="1568"/>
                    </a:moveTo>
                    <a:lnTo>
                      <a:pt x="1220" y="1568"/>
                    </a:lnTo>
                    <a:lnTo>
                      <a:pt x="1219" y="1568"/>
                    </a:lnTo>
                    <a:close/>
                    <a:moveTo>
                      <a:pt x="1186" y="1383"/>
                    </a:moveTo>
                    <a:lnTo>
                      <a:pt x="1188" y="1383"/>
                    </a:lnTo>
                    <a:lnTo>
                      <a:pt x="1186" y="1383"/>
                    </a:lnTo>
                    <a:close/>
                    <a:moveTo>
                      <a:pt x="1183" y="1420"/>
                    </a:moveTo>
                    <a:lnTo>
                      <a:pt x="1185" y="1420"/>
                    </a:lnTo>
                    <a:lnTo>
                      <a:pt x="1183" y="1420"/>
                    </a:lnTo>
                    <a:close/>
                    <a:moveTo>
                      <a:pt x="1200" y="1145"/>
                    </a:moveTo>
                    <a:lnTo>
                      <a:pt x="1200" y="1146"/>
                    </a:lnTo>
                    <a:lnTo>
                      <a:pt x="1200" y="1145"/>
                    </a:lnTo>
                    <a:close/>
                    <a:moveTo>
                      <a:pt x="1205" y="1505"/>
                    </a:moveTo>
                    <a:lnTo>
                      <a:pt x="1205" y="1507"/>
                    </a:lnTo>
                    <a:lnTo>
                      <a:pt x="1205" y="1505"/>
                    </a:lnTo>
                    <a:close/>
                    <a:moveTo>
                      <a:pt x="1232" y="1575"/>
                    </a:moveTo>
                    <a:lnTo>
                      <a:pt x="1234" y="1575"/>
                    </a:lnTo>
                    <a:lnTo>
                      <a:pt x="1232" y="1575"/>
                    </a:lnTo>
                    <a:close/>
                    <a:moveTo>
                      <a:pt x="1234" y="1453"/>
                    </a:moveTo>
                    <a:lnTo>
                      <a:pt x="1234" y="1454"/>
                    </a:lnTo>
                    <a:lnTo>
                      <a:pt x="1234" y="1453"/>
                    </a:lnTo>
                    <a:close/>
                    <a:moveTo>
                      <a:pt x="1242" y="1497"/>
                    </a:moveTo>
                    <a:lnTo>
                      <a:pt x="1244" y="1497"/>
                    </a:lnTo>
                    <a:lnTo>
                      <a:pt x="1244" y="1498"/>
                    </a:lnTo>
                    <a:lnTo>
                      <a:pt x="1242" y="1498"/>
                    </a:lnTo>
                    <a:lnTo>
                      <a:pt x="1242" y="1497"/>
                    </a:lnTo>
                    <a:close/>
                    <a:moveTo>
                      <a:pt x="1219" y="1505"/>
                    </a:moveTo>
                    <a:lnTo>
                      <a:pt x="1220" y="1505"/>
                    </a:lnTo>
                    <a:lnTo>
                      <a:pt x="1219" y="1505"/>
                    </a:lnTo>
                    <a:close/>
                    <a:moveTo>
                      <a:pt x="1191" y="1117"/>
                    </a:moveTo>
                    <a:lnTo>
                      <a:pt x="1191" y="1119"/>
                    </a:lnTo>
                    <a:lnTo>
                      <a:pt x="1191" y="1117"/>
                    </a:lnTo>
                    <a:close/>
                    <a:moveTo>
                      <a:pt x="1166" y="1361"/>
                    </a:moveTo>
                    <a:lnTo>
                      <a:pt x="1166" y="1362"/>
                    </a:lnTo>
                    <a:lnTo>
                      <a:pt x="1166" y="1361"/>
                    </a:lnTo>
                    <a:close/>
                    <a:moveTo>
                      <a:pt x="1147" y="1286"/>
                    </a:moveTo>
                    <a:lnTo>
                      <a:pt x="1149" y="1286"/>
                    </a:lnTo>
                    <a:lnTo>
                      <a:pt x="1147" y="1286"/>
                    </a:lnTo>
                    <a:close/>
                  </a:path>
                </a:pathLst>
              </a:custGeom>
              <a:solidFill>
                <a:schemeClr val="accent1"/>
              </a:solidFill>
              <a:ln w="635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pic>
          <p:nvPicPr>
            <p:cNvPr id="21" name="Picture 20">
              <a:extLst>
                <a:ext uri="{FF2B5EF4-FFF2-40B4-BE49-F238E27FC236}">
                  <a16:creationId xmlns:a16="http://schemas.microsoft.com/office/drawing/2014/main" id="{B8DE7221-0518-82BA-3D98-4150178BC360}"/>
                </a:ext>
              </a:extLst>
            </p:cNvPr>
            <p:cNvPicPr>
              <a:picLocks/>
            </p:cNvPicPr>
            <p:nvPr/>
          </p:nvPicPr>
          <p:blipFill>
            <a:blip r:embed="rId71" cstate="screen">
              <a:extLst>
                <a:ext uri="{28A0092B-C50C-407E-A947-70E740481C1C}">
                  <a14:useLocalDpi xmlns:a14="http://schemas.microsoft.com/office/drawing/2010/main"/>
                </a:ext>
              </a:extLst>
            </a:blip>
            <a:stretch>
              <a:fillRect/>
            </a:stretch>
          </p:blipFill>
          <p:spPr>
            <a:xfrm>
              <a:off x="1615441" y="2734812"/>
              <a:ext cx="259080" cy="167383"/>
            </a:xfrm>
            <a:prstGeom prst="rect">
              <a:avLst/>
            </a:prstGeom>
            <a:ln>
              <a:solidFill>
                <a:srgbClr val="CCCCCC"/>
              </a:solidFill>
            </a:ln>
          </p:spPr>
        </p:pic>
      </p:grpSp>
      <p:pic>
        <p:nvPicPr>
          <p:cNvPr id="48" name="Picture 47">
            <a:extLst>
              <a:ext uri="{FF2B5EF4-FFF2-40B4-BE49-F238E27FC236}">
                <a16:creationId xmlns:a16="http://schemas.microsoft.com/office/drawing/2014/main" id="{514005F7-9F5A-EB3E-5A5B-9C69C3096C5E}"/>
              </a:ext>
            </a:extLst>
          </p:cNvPr>
          <p:cNvPicPr>
            <a:picLocks noChangeAspect="1"/>
          </p:cNvPicPr>
          <p:nvPr>
            <p:custDataLst>
              <p:tags r:id="rId59"/>
            </p:custDataLst>
          </p:nvPr>
        </p:nvPicPr>
        <p:blipFill>
          <a:blip r:embed="rId72" cstate="screen">
            <a:extLst>
              <a:ext uri="{28A0092B-C50C-407E-A947-70E740481C1C}">
                <a14:useLocalDpi xmlns:a14="http://schemas.microsoft.com/office/drawing/2010/main"/>
              </a:ext>
            </a:extLst>
          </a:blip>
          <a:stretch>
            <a:fillRect/>
          </a:stretch>
        </p:blipFill>
        <p:spPr>
          <a:xfrm>
            <a:off x="7407102" y="2407122"/>
            <a:ext cx="330994" cy="228018"/>
          </a:xfrm>
          <a:prstGeom prst="rect">
            <a:avLst/>
          </a:prstGeom>
        </p:spPr>
      </p:pic>
      <p:pic>
        <p:nvPicPr>
          <p:cNvPr id="49" name="Picture 2">
            <a:extLst>
              <a:ext uri="{FF2B5EF4-FFF2-40B4-BE49-F238E27FC236}">
                <a16:creationId xmlns:a16="http://schemas.microsoft.com/office/drawing/2014/main" id="{7535B79D-298A-72F6-08A9-491167368FEE}"/>
              </a:ext>
            </a:extLst>
          </p:cNvPr>
          <p:cNvPicPr>
            <a:picLocks noChangeAspect="1" noChangeArrowheads="1"/>
          </p:cNvPicPr>
          <p:nvPr/>
        </p:nvPicPr>
        <p:blipFill>
          <a:blip r:embed="rId73" cstate="screen">
            <a:extLst>
              <a:ext uri="{28A0092B-C50C-407E-A947-70E740481C1C}">
                <a14:useLocalDpi xmlns:a14="http://schemas.microsoft.com/office/drawing/2010/main"/>
              </a:ext>
            </a:extLst>
          </a:blip>
          <a:srcRect/>
          <a:stretch>
            <a:fillRect/>
          </a:stretch>
        </p:blipFill>
        <p:spPr bwMode="auto">
          <a:xfrm>
            <a:off x="7259638" y="2655240"/>
            <a:ext cx="600989" cy="1818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94001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 hidden="1">
            <a:extLst>
              <a:ext uri="{FF2B5EF4-FFF2-40B4-BE49-F238E27FC236}">
                <a16:creationId xmlns:a16="http://schemas.microsoft.com/office/drawing/2014/main" id="{578D55DE-3BB1-3BCB-BC1B-44EF337F1908}"/>
              </a:ext>
            </a:extLst>
          </p:cNvPr>
          <p:cNvGraphicFramePr>
            <a:graphicFrameLocks noChangeAspect="1"/>
          </p:cNvGraphicFramePr>
          <p:nvPr>
            <p:custDataLst>
              <p:tags r:id="rId1"/>
            </p:custDataLst>
            <p:extLst>
              <p:ext uri="{D42A27DB-BD31-4B8C-83A1-F6EECF244321}">
                <p14:modId xmlns:p14="http://schemas.microsoft.com/office/powerpoint/2010/main" val="1376054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7" imgW="395" imgH="396" progId="TCLayout.ActiveDocument.1">
                  <p:embed/>
                </p:oleObj>
              </mc:Choice>
              <mc:Fallback>
                <p:oleObj name="think-cell Slide" r:id="rId67" imgW="395" imgH="396" progId="TCLayout.ActiveDocument.1">
                  <p:embed/>
                  <p:pic>
                    <p:nvPicPr>
                      <p:cNvPr id="15" name="Object 1" hidden="1">
                        <a:extLst>
                          <a:ext uri="{FF2B5EF4-FFF2-40B4-BE49-F238E27FC236}">
                            <a16:creationId xmlns:a16="http://schemas.microsoft.com/office/drawing/2014/main" id="{578D55DE-3BB1-3BCB-BC1B-44EF337F1908}"/>
                          </a:ext>
                        </a:extLst>
                      </p:cNvPr>
                      <p:cNvPicPr/>
                      <p:nvPr/>
                    </p:nvPicPr>
                    <p:blipFill>
                      <a:blip r:embed="rId68"/>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idx="4294967295"/>
          </p:nvPr>
        </p:nvSpPr>
        <p:spPr>
          <a:xfrm>
            <a:off x="262527" y="236449"/>
            <a:ext cx="9411698" cy="830997"/>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ctr" anchorCtr="0">
            <a:spAutoFit/>
          </a:bodyPr>
          <a:lstStyle/>
          <a:p>
            <a:r>
              <a:rPr lang="en-CA" sz="2400" dirty="0"/>
              <a:t>Brazil is a traditional mining house with established gold operations but with a challenging gold mining frontier in Amazon region</a:t>
            </a:r>
          </a:p>
        </p:txBody>
      </p:sp>
      <p:sp>
        <p:nvSpPr>
          <p:cNvPr id="51" name="5. Source">
            <a:extLst>
              <a:ext uri="{FF2B5EF4-FFF2-40B4-BE49-F238E27FC236}">
                <a16:creationId xmlns:a16="http://schemas.microsoft.com/office/drawing/2014/main" id="{FEA89F67-585A-557F-A85D-1AAFAD031886}"/>
              </a:ext>
            </a:extLst>
          </p:cNvPr>
          <p:cNvSpPr txBox="1"/>
          <p:nvPr>
            <p:custDataLst>
              <p:tags r:id="rId2"/>
            </p:custDataLst>
          </p:nvPr>
        </p:nvSpPr>
        <p:spPr>
          <a:xfrm>
            <a:off x="346356"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ource: CIA World Factbook, World Bank WDI, IMF (WEO), Oxford Economics, </a:t>
            </a:r>
            <a:r>
              <a:rPr kumimoji="0" lang="en-US" sz="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MineSpans</a:t>
            </a: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en-US" sz="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Dentos</a:t>
            </a: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Global Mining Guide, </a:t>
            </a:r>
            <a:r>
              <a:rPr kumimoji="0" lang="en-US" sz="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Lexology</a:t>
            </a: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press search</a:t>
            </a:r>
          </a:p>
        </p:txBody>
      </p:sp>
      <p:cxnSp>
        <p:nvCxnSpPr>
          <p:cNvPr id="34" name="Straight Connector 33">
            <a:extLst>
              <a:ext uri="{FF2B5EF4-FFF2-40B4-BE49-F238E27FC236}">
                <a16:creationId xmlns:a16="http://schemas.microsoft.com/office/drawing/2014/main" id="{EB3C492B-2B23-BBB8-FD5D-B1EF650D1AA8}"/>
              </a:ext>
            </a:extLst>
          </p:cNvPr>
          <p:cNvCxnSpPr>
            <a:cxnSpLocks/>
          </p:cNvCxnSpPr>
          <p:nvPr>
            <p:custDataLst>
              <p:tags r:id="rId3"/>
            </p:custDataLst>
          </p:nvPr>
        </p:nvCxnSpPr>
        <p:spPr>
          <a:xfrm>
            <a:off x="346074" y="4332061"/>
            <a:ext cx="5524265" cy="0"/>
          </a:xfrm>
          <a:prstGeom prst="line">
            <a:avLst/>
          </a:prstGeom>
          <a:ln w="6350">
            <a:solidFill>
              <a:srgbClr val="757575"/>
            </a:solidFill>
            <a:prstDash val="soli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D80A1D05-FAF3-BED8-FD5C-2BE9D20B7596}"/>
              </a:ext>
            </a:extLst>
          </p:cNvPr>
          <p:cNvCxnSpPr>
            <a:cxnSpLocks/>
          </p:cNvCxnSpPr>
          <p:nvPr>
            <p:custDataLst>
              <p:tags r:id="rId4"/>
            </p:custDataLst>
          </p:nvPr>
        </p:nvCxnSpPr>
        <p:spPr>
          <a:xfrm>
            <a:off x="346074" y="2362759"/>
            <a:ext cx="5524265" cy="0"/>
          </a:xfrm>
          <a:prstGeom prst="line">
            <a:avLst/>
          </a:prstGeom>
          <a:ln w="6350">
            <a:solidFill>
              <a:srgbClr val="757575"/>
            </a:solidFill>
            <a:prstDash val="soli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E48FF427-B204-0939-2F10-F61E62D6A4AB}"/>
              </a:ext>
            </a:extLst>
          </p:cNvPr>
          <p:cNvCxnSpPr>
            <a:cxnSpLocks/>
          </p:cNvCxnSpPr>
          <p:nvPr>
            <p:custDataLst>
              <p:tags r:id="rId5"/>
            </p:custDataLst>
          </p:nvPr>
        </p:nvCxnSpPr>
        <p:spPr>
          <a:xfrm>
            <a:off x="346074" y="3485840"/>
            <a:ext cx="5524265" cy="0"/>
          </a:xfrm>
          <a:prstGeom prst="line">
            <a:avLst/>
          </a:prstGeom>
          <a:ln w="6350">
            <a:solidFill>
              <a:srgbClr val="757575"/>
            </a:solidFill>
            <a:prstDash val="soli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64A3520-D2D9-CE31-EF86-4AF475BF887E}"/>
              </a:ext>
            </a:extLst>
          </p:cNvPr>
          <p:cNvCxnSpPr>
            <a:cxnSpLocks/>
          </p:cNvCxnSpPr>
          <p:nvPr>
            <p:custDataLst>
              <p:tags r:id="rId6"/>
            </p:custDataLst>
          </p:nvPr>
        </p:nvCxnSpPr>
        <p:spPr>
          <a:xfrm>
            <a:off x="6197600" y="3128633"/>
            <a:ext cx="5689601" cy="0"/>
          </a:xfrm>
          <a:prstGeom prst="line">
            <a:avLst/>
          </a:prstGeom>
          <a:ln w="6350">
            <a:solidFill>
              <a:srgbClr val="757575"/>
            </a:solidFill>
            <a:prstDash val="solid"/>
          </a:ln>
        </p:spPr>
        <p:style>
          <a:lnRef idx="1">
            <a:schemeClr val="accent1"/>
          </a:lnRef>
          <a:fillRef idx="0">
            <a:schemeClr val="accent1"/>
          </a:fillRef>
          <a:effectRef idx="0">
            <a:schemeClr val="accent1"/>
          </a:effectRef>
          <a:fontRef idx="minor">
            <a:schemeClr val="tx1"/>
          </a:fontRef>
        </p:style>
      </p:cxnSp>
      <p:sp>
        <p:nvSpPr>
          <p:cNvPr id="42" name="Rectangle 8">
            <a:extLst>
              <a:ext uri="{FF2B5EF4-FFF2-40B4-BE49-F238E27FC236}">
                <a16:creationId xmlns:a16="http://schemas.microsoft.com/office/drawing/2014/main" id="{EF0C4F77-5819-4FF8-28E6-3CC6E87DC0F5}"/>
              </a:ext>
            </a:extLst>
          </p:cNvPr>
          <p:cNvSpPr txBox="1">
            <a:spLocks/>
          </p:cNvSpPr>
          <p:nvPr>
            <p:custDataLst>
              <p:tags r:id="rId7"/>
            </p:custDataLst>
          </p:nvPr>
        </p:nvSpPr>
        <p:spPr>
          <a:xfrm>
            <a:off x="6197598" y="3188945"/>
            <a:ext cx="896621" cy="1801067"/>
          </a:xfrm>
          <a:prstGeom prst="rect">
            <a:avLst/>
          </a:prstGeom>
          <a:solidFill>
            <a:schemeClr val="accent1"/>
          </a:solidFill>
          <a:ln w="9525">
            <a:noFill/>
            <a:miter lim="800000"/>
            <a:headEnd/>
            <a:tailEnd/>
          </a:ln>
          <a:effectLst/>
        </p:spPr>
        <p:txBody>
          <a:bodyPr vert="horz" wrap="square" lIns="36576" tIns="76200" rIns="36576" bIns="76200" numCol="1" anchor="ctr" anchorCtr="0" compatLnSpc="1">
            <a:prstTxWarp prst="textNoShape">
              <a:avLst/>
            </a:prstTxWarp>
            <a:noAutofit/>
          </a:bodyPr>
          <a:lstStyle>
            <a:defPPr>
              <a:defRPr lang="en-US"/>
            </a:defPPr>
            <a:lvl1pPr marL="0" lvl="0" indent="0" defTabSz="913526" eaLnBrk="1" hangingPunct="1">
              <a:buClr>
                <a:schemeClr val="tx2"/>
              </a:buClr>
              <a:defRPr sz="1000" b="1"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Fiscal and regulatory terms relevant to gold industry</a:t>
            </a:r>
            <a:endParaRPr kumimoji="0" lang="en-CA"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endParaRPr>
          </a:p>
        </p:txBody>
      </p:sp>
      <p:sp>
        <p:nvSpPr>
          <p:cNvPr id="93" name="TextBox 92">
            <a:extLst>
              <a:ext uri="{FF2B5EF4-FFF2-40B4-BE49-F238E27FC236}">
                <a16:creationId xmlns:a16="http://schemas.microsoft.com/office/drawing/2014/main" id="{973EABFE-AA29-2CE1-B02E-CAAF3B875086}"/>
              </a:ext>
            </a:extLst>
          </p:cNvPr>
          <p:cNvSpPr txBox="1">
            <a:spLocks/>
          </p:cNvSpPr>
          <p:nvPr/>
        </p:nvSpPr>
        <p:spPr>
          <a:xfrm>
            <a:off x="7174991" y="3188945"/>
            <a:ext cx="4712209" cy="180106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Exploration and mining activities are regulated by the Mining Code and its regulatory decree, Federal laws on specific mining regimes, the National Policy on Dams Safety, and regulations from the National Mining Agency (</a:t>
            </a:r>
            <a:r>
              <a:rPr kumimoji="0" lang="en-US" sz="9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Agência</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Nacional de </a:t>
            </a:r>
            <a:r>
              <a:rPr kumimoji="0" lang="en-US" sz="9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Mineração</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or ANM)</a:t>
            </a:r>
          </a:p>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The corporate income tax rate is generally 34 percent</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combined tax rates of the CIT 25% and the Social Contribution Tax (SCT) 9 percent ). Dividends paid from profits accrued are currently not subject to Withholding Income Tax (WHT) in Brazil</a:t>
            </a:r>
          </a:p>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Other main taxes are: </a:t>
            </a: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Royalties (CFEM): 1.5%</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on net revenue for gold, </a:t>
            </a:r>
            <a:r>
              <a:rPr kumimoji="0" lang="fr-F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PIS/COFINS: 9.5%</a:t>
            </a:r>
            <a:r>
              <a:rPr kumimoji="0" lang="fr-F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on </a:t>
            </a:r>
            <a:r>
              <a:rPr kumimoji="0" lang="fr-FR" sz="9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gross</a:t>
            </a:r>
            <a:r>
              <a:rPr kumimoji="0" lang="fr-F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revenues; </a:t>
            </a:r>
            <a:r>
              <a:rPr kumimoji="0" lang="fr-F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ICMS (State VAT): 17-30%</a:t>
            </a:r>
            <a:r>
              <a:rPr kumimoji="0" lang="fr-F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a:t>
            </a:r>
            <a:r>
              <a:rPr kumimoji="0" lang="fr-FR" sz="9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depending</a:t>
            </a:r>
            <a:r>
              <a:rPr kumimoji="0" lang="fr-F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on the state and good</a:t>
            </a: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 </a:t>
            </a: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PIS/COFINS and ICMS are exempted for export revenues</a:t>
            </a:r>
            <a:endPar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endParaRPr>
          </a:p>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There are ongoing discussions on tax reforms in Brazil</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 while measures to simplify the tax framework are expected, items like div</a:t>
            </a:r>
            <a:r>
              <a:rPr kumimoji="0" lang="en-US" sz="9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idend</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taxation and potential new state taxes on resource industries could also be included</a:t>
            </a:r>
            <a:endPar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endParaRPr>
          </a:p>
        </p:txBody>
      </p:sp>
      <p:grpSp>
        <p:nvGrpSpPr>
          <p:cNvPr id="52" name="Group 51">
            <a:extLst>
              <a:ext uri="{FF2B5EF4-FFF2-40B4-BE49-F238E27FC236}">
                <a16:creationId xmlns:a16="http://schemas.microsoft.com/office/drawing/2014/main" id="{C32527C6-8F39-29AE-C7E5-1BB6A0DF8596}"/>
              </a:ext>
            </a:extLst>
          </p:cNvPr>
          <p:cNvGrpSpPr/>
          <p:nvPr/>
        </p:nvGrpSpPr>
        <p:grpSpPr>
          <a:xfrm>
            <a:off x="346075" y="3605074"/>
            <a:ext cx="5524261" cy="607753"/>
            <a:chOff x="346075" y="3738544"/>
            <a:chExt cx="5524261" cy="607753"/>
          </a:xfrm>
        </p:grpSpPr>
        <p:sp>
          <p:nvSpPr>
            <p:cNvPr id="33" name="Rectangle 8">
              <a:extLst>
                <a:ext uri="{FF2B5EF4-FFF2-40B4-BE49-F238E27FC236}">
                  <a16:creationId xmlns:a16="http://schemas.microsoft.com/office/drawing/2014/main" id="{CB027349-3B9C-8384-4834-48368D61E2E8}"/>
                </a:ext>
              </a:extLst>
            </p:cNvPr>
            <p:cNvSpPr txBox="1">
              <a:spLocks/>
            </p:cNvSpPr>
            <p:nvPr>
              <p:custDataLst>
                <p:tags r:id="rId64"/>
              </p:custDataLst>
            </p:nvPr>
          </p:nvSpPr>
          <p:spPr>
            <a:xfrm>
              <a:off x="346075" y="3738544"/>
              <a:ext cx="1194435" cy="606315"/>
            </a:xfrm>
            <a:prstGeom prst="rect">
              <a:avLst/>
            </a:prstGeom>
            <a:solidFill>
              <a:schemeClr val="accent1"/>
            </a:solidFill>
            <a:ln w="9525">
              <a:noFill/>
              <a:miter lim="800000"/>
              <a:headEnd/>
              <a:tailEnd/>
            </a:ln>
            <a:effectLst/>
          </p:spPr>
          <p:txBody>
            <a:bodyPr vert="horz" wrap="square" lIns="36576" tIns="76200" rIns="36576" bIns="76200" numCol="1" anchor="ctr" anchorCtr="0" compatLnSpc="1">
              <a:prstTxWarp prst="textNoShape">
                <a:avLst/>
              </a:prstTxWarp>
              <a:noAutofit/>
            </a:bodyPr>
            <a:lstStyle>
              <a:defPPr>
                <a:defRPr lang="en-US"/>
              </a:defPPr>
              <a:lvl1pPr marL="0" lvl="0" indent="0" defTabSz="913526" eaLnBrk="1" hangingPunct="1">
                <a:buClr>
                  <a:schemeClr val="tx2"/>
                </a:buClr>
                <a:defRPr sz="1000" b="1"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Comparable opera-</a:t>
              </a:r>
              <a:r>
                <a:rPr kumimoji="0" lang="en-US" sz="1000" b="1" i="0" u="none" strike="noStrike" kern="1200" cap="none" spc="0" normalizeH="0" baseline="0" noProof="0" dirty="0" err="1">
                  <a:ln>
                    <a:noFill/>
                  </a:ln>
                  <a:solidFill>
                    <a:srgbClr val="FFFFFF"/>
                  </a:solidFill>
                  <a:effectLst/>
                  <a:uLnTx/>
                  <a:uFillTx/>
                  <a:latin typeface="Calibri" panose="020F0502020204030204" pitchFamily="34" charset="0"/>
                  <a:ea typeface="ＭＳ Ｐゴシック"/>
                  <a:cs typeface="Calibri" panose="020F0502020204030204" pitchFamily="34" charset="0"/>
                </a:rPr>
                <a:t>tional</a:t>
              </a: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 environments</a:t>
              </a:r>
              <a:endParaRPr kumimoji="0" lang="en-CA"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endParaRPr>
            </a:p>
          </p:txBody>
        </p:sp>
        <p:sp>
          <p:nvSpPr>
            <p:cNvPr id="91" name="TextBox 90">
              <a:extLst>
                <a:ext uri="{FF2B5EF4-FFF2-40B4-BE49-F238E27FC236}">
                  <a16:creationId xmlns:a16="http://schemas.microsoft.com/office/drawing/2014/main" id="{BEE782B9-C50C-7145-E203-58E3D3C475B7}"/>
                </a:ext>
              </a:extLst>
            </p:cNvPr>
            <p:cNvSpPr txBox="1">
              <a:spLocks/>
            </p:cNvSpPr>
            <p:nvPr/>
          </p:nvSpPr>
          <p:spPr>
            <a:xfrm>
              <a:off x="1615439" y="3738545"/>
              <a:ext cx="4254897" cy="60775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Chile – presence of traditional mining hubs and a long history of mining investments</a:t>
              </a:r>
            </a:p>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Peru – areas with presence of sensitive environmental regions with traditional communities</a:t>
              </a:r>
            </a:p>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Australia – presence of granite/greenstone gold deposits</a:t>
              </a:r>
            </a:p>
          </p:txBody>
        </p:sp>
      </p:grpSp>
      <p:grpSp>
        <p:nvGrpSpPr>
          <p:cNvPr id="54" name="Group 53">
            <a:extLst>
              <a:ext uri="{FF2B5EF4-FFF2-40B4-BE49-F238E27FC236}">
                <a16:creationId xmlns:a16="http://schemas.microsoft.com/office/drawing/2014/main" id="{4710B841-E415-0BDB-053A-2164562BC794}"/>
              </a:ext>
            </a:extLst>
          </p:cNvPr>
          <p:cNvGrpSpPr/>
          <p:nvPr/>
        </p:nvGrpSpPr>
        <p:grpSpPr>
          <a:xfrm>
            <a:off x="346075" y="4451294"/>
            <a:ext cx="5361782" cy="538718"/>
            <a:chOff x="346075" y="4451294"/>
            <a:chExt cx="5361782" cy="538718"/>
          </a:xfrm>
        </p:grpSpPr>
        <p:sp>
          <p:nvSpPr>
            <p:cNvPr id="41" name="Rectangle 8">
              <a:extLst>
                <a:ext uri="{FF2B5EF4-FFF2-40B4-BE49-F238E27FC236}">
                  <a16:creationId xmlns:a16="http://schemas.microsoft.com/office/drawing/2014/main" id="{EA08B892-A175-5A1E-4459-FB7C21FBFBD3}"/>
                </a:ext>
              </a:extLst>
            </p:cNvPr>
            <p:cNvSpPr txBox="1">
              <a:spLocks/>
            </p:cNvSpPr>
            <p:nvPr>
              <p:custDataLst>
                <p:tags r:id="rId63"/>
              </p:custDataLst>
            </p:nvPr>
          </p:nvSpPr>
          <p:spPr>
            <a:xfrm>
              <a:off x="346075" y="4451294"/>
              <a:ext cx="1194435" cy="538718"/>
            </a:xfrm>
            <a:prstGeom prst="rect">
              <a:avLst/>
            </a:prstGeom>
            <a:solidFill>
              <a:schemeClr val="accent1"/>
            </a:solidFill>
            <a:ln w="9525">
              <a:noFill/>
              <a:miter lim="800000"/>
              <a:headEnd/>
              <a:tailEnd/>
            </a:ln>
            <a:effectLst/>
          </p:spPr>
          <p:txBody>
            <a:bodyPr vert="horz" wrap="square" lIns="36576" tIns="76200" rIns="36576" bIns="76200" numCol="1" anchor="ctr"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Other relevant factors</a:t>
              </a:r>
              <a:endParaRPr kumimoji="0" lang="en-CA"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endParaRPr>
            </a:p>
          </p:txBody>
        </p:sp>
        <p:sp>
          <p:nvSpPr>
            <p:cNvPr id="92" name="TextBox 91">
              <a:extLst>
                <a:ext uri="{FF2B5EF4-FFF2-40B4-BE49-F238E27FC236}">
                  <a16:creationId xmlns:a16="http://schemas.microsoft.com/office/drawing/2014/main" id="{234F2287-030E-8A2F-7325-FADEC940D7CA}"/>
                </a:ext>
              </a:extLst>
            </p:cNvPr>
            <p:cNvSpPr txBox="1">
              <a:spLocks/>
            </p:cNvSpPr>
            <p:nvPr/>
          </p:nvSpPr>
          <p:spPr>
            <a:xfrm>
              <a:off x="1615441" y="4451294"/>
              <a:ext cx="4092416" cy="53871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Large presence of illegal miners in remote regions (especially Amazon), which presents security and environmental risk</a:t>
              </a:r>
            </a:p>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Country ranks well in the Fraser Institute Survey for Regulation Enforcement (92%), Environmental Regulation (85%), and Skilled Labor Availability (83%)</a:t>
              </a:r>
            </a:p>
          </p:txBody>
        </p:sp>
      </p:grpSp>
      <p:grpSp>
        <p:nvGrpSpPr>
          <p:cNvPr id="48" name="Group 47">
            <a:extLst>
              <a:ext uri="{FF2B5EF4-FFF2-40B4-BE49-F238E27FC236}">
                <a16:creationId xmlns:a16="http://schemas.microsoft.com/office/drawing/2014/main" id="{DB88C218-5BBD-0E4E-22F8-EB4E6387916E}"/>
              </a:ext>
            </a:extLst>
          </p:cNvPr>
          <p:cNvGrpSpPr/>
          <p:nvPr/>
        </p:nvGrpSpPr>
        <p:grpSpPr>
          <a:xfrm>
            <a:off x="346075" y="1370013"/>
            <a:ext cx="5524265" cy="873512"/>
            <a:chOff x="346075" y="1742180"/>
            <a:chExt cx="5524265" cy="873512"/>
          </a:xfrm>
        </p:grpSpPr>
        <p:sp>
          <p:nvSpPr>
            <p:cNvPr id="46" name="Rectangle 8">
              <a:extLst>
                <a:ext uri="{FF2B5EF4-FFF2-40B4-BE49-F238E27FC236}">
                  <a16:creationId xmlns:a16="http://schemas.microsoft.com/office/drawing/2014/main" id="{DF62B165-B198-85FE-915A-1686D3ACAA0E}"/>
                </a:ext>
              </a:extLst>
            </p:cNvPr>
            <p:cNvSpPr txBox="1">
              <a:spLocks/>
            </p:cNvSpPr>
            <p:nvPr>
              <p:custDataLst>
                <p:tags r:id="rId62"/>
              </p:custDataLst>
            </p:nvPr>
          </p:nvSpPr>
          <p:spPr>
            <a:xfrm>
              <a:off x="346075" y="1742180"/>
              <a:ext cx="1194435" cy="873512"/>
            </a:xfrm>
            <a:prstGeom prst="rect">
              <a:avLst/>
            </a:prstGeom>
            <a:solidFill>
              <a:schemeClr val="accent1"/>
            </a:solidFill>
            <a:ln w="9525">
              <a:noFill/>
              <a:miter lim="800000"/>
              <a:headEnd/>
              <a:tailEnd/>
            </a:ln>
            <a:effectLst/>
          </p:spPr>
          <p:txBody>
            <a:bodyPr vert="horz" wrap="square" lIns="36576" tIns="76200" rIns="36576" bIns="76200" numCol="1" anchor="ctr"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Government overview and key stakeholders</a:t>
              </a:r>
              <a:endParaRPr kumimoji="0" lang="en-CA"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endParaRPr>
            </a:p>
          </p:txBody>
        </p:sp>
        <p:sp>
          <p:nvSpPr>
            <p:cNvPr id="132" name="TextBox 131">
              <a:extLst>
                <a:ext uri="{FF2B5EF4-FFF2-40B4-BE49-F238E27FC236}">
                  <a16:creationId xmlns:a16="http://schemas.microsoft.com/office/drawing/2014/main" id="{92FF2AEE-7746-7067-2EA0-26A153EB1600}"/>
                </a:ext>
              </a:extLst>
            </p:cNvPr>
            <p:cNvSpPr txBox="1">
              <a:spLocks/>
            </p:cNvSpPr>
            <p:nvPr/>
          </p:nvSpPr>
          <p:spPr>
            <a:xfrm>
              <a:off x="1615442" y="1887603"/>
              <a:ext cx="913446" cy="13652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Parliament type:</a:t>
              </a:r>
            </a:p>
          </p:txBody>
        </p:sp>
        <p:sp>
          <p:nvSpPr>
            <p:cNvPr id="133" name="TextBox 132">
              <a:extLst>
                <a:ext uri="{FF2B5EF4-FFF2-40B4-BE49-F238E27FC236}">
                  <a16:creationId xmlns:a16="http://schemas.microsoft.com/office/drawing/2014/main" id="{045FCAF2-5034-7D0C-CAC2-3B228E3769BA}"/>
                </a:ext>
              </a:extLst>
            </p:cNvPr>
            <p:cNvSpPr txBox="1">
              <a:spLocks/>
            </p:cNvSpPr>
            <p:nvPr/>
          </p:nvSpPr>
          <p:spPr>
            <a:xfrm>
              <a:off x="2600326" y="1887603"/>
              <a:ext cx="3270014"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Bicameral National Congress</a:t>
              </a:r>
              <a:endPar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endParaRPr>
            </a:p>
          </p:txBody>
        </p:sp>
        <p:sp>
          <p:nvSpPr>
            <p:cNvPr id="128" name="TextBox 127">
              <a:extLst>
                <a:ext uri="{FF2B5EF4-FFF2-40B4-BE49-F238E27FC236}">
                  <a16:creationId xmlns:a16="http://schemas.microsoft.com/office/drawing/2014/main" id="{08BB0351-7469-B33B-7341-A6C5B691B92D}"/>
                </a:ext>
              </a:extLst>
            </p:cNvPr>
            <p:cNvSpPr txBox="1">
              <a:spLocks/>
            </p:cNvSpPr>
            <p:nvPr/>
          </p:nvSpPr>
          <p:spPr>
            <a:xfrm>
              <a:off x="1615442" y="1742180"/>
              <a:ext cx="913446" cy="13652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Government type:</a:t>
              </a:r>
            </a:p>
          </p:txBody>
        </p:sp>
        <p:sp>
          <p:nvSpPr>
            <p:cNvPr id="129" name="TextBox 128">
              <a:extLst>
                <a:ext uri="{FF2B5EF4-FFF2-40B4-BE49-F238E27FC236}">
                  <a16:creationId xmlns:a16="http://schemas.microsoft.com/office/drawing/2014/main" id="{1591AFA9-25E4-06CF-CED4-57D391FB4D61}"/>
                </a:ext>
              </a:extLst>
            </p:cNvPr>
            <p:cNvSpPr txBox="1">
              <a:spLocks/>
            </p:cNvSpPr>
            <p:nvPr/>
          </p:nvSpPr>
          <p:spPr>
            <a:xfrm>
              <a:off x="2600326" y="1742180"/>
              <a:ext cx="3270014" cy="13652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Democracy</a:t>
              </a:r>
            </a:p>
          </p:txBody>
        </p:sp>
        <p:sp>
          <p:nvSpPr>
            <p:cNvPr id="135" name="TextBox 134">
              <a:extLst>
                <a:ext uri="{FF2B5EF4-FFF2-40B4-BE49-F238E27FC236}">
                  <a16:creationId xmlns:a16="http://schemas.microsoft.com/office/drawing/2014/main" id="{8FC8F185-8320-ED7C-8C9C-C417ECD7A218}"/>
                </a:ext>
              </a:extLst>
            </p:cNvPr>
            <p:cNvSpPr txBox="1">
              <a:spLocks/>
            </p:cNvSpPr>
            <p:nvPr/>
          </p:nvSpPr>
          <p:spPr>
            <a:xfrm>
              <a:off x="1615442" y="2035000"/>
              <a:ext cx="913446" cy="13493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President:</a:t>
              </a:r>
            </a:p>
          </p:txBody>
        </p:sp>
        <p:sp>
          <p:nvSpPr>
            <p:cNvPr id="136" name="TextBox 135">
              <a:extLst>
                <a:ext uri="{FF2B5EF4-FFF2-40B4-BE49-F238E27FC236}">
                  <a16:creationId xmlns:a16="http://schemas.microsoft.com/office/drawing/2014/main" id="{286FD3F8-A9FB-E0FA-11D2-E82BA030CF9B}"/>
                </a:ext>
              </a:extLst>
            </p:cNvPr>
            <p:cNvSpPr txBox="1">
              <a:spLocks/>
            </p:cNvSpPr>
            <p:nvPr/>
          </p:nvSpPr>
          <p:spPr>
            <a:xfrm>
              <a:off x="2600326" y="2035000"/>
              <a:ext cx="3270014" cy="138499"/>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Luiz Inácio Lula da Silva</a:t>
              </a:r>
              <a:r>
                <a:rPr kumimoji="0" lang="es-E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a:t>
              </a:r>
              <a:r>
                <a:rPr kumimoji="0" lang="es-ES" sz="9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since</a:t>
              </a:r>
              <a:r>
                <a:rPr kumimoji="0" lang="es-E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2023)</a:t>
              </a:r>
              <a:endPar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endParaRPr>
            </a:p>
          </p:txBody>
        </p:sp>
        <p:sp>
          <p:nvSpPr>
            <p:cNvPr id="139" name="TextBox 138">
              <a:extLst>
                <a:ext uri="{FF2B5EF4-FFF2-40B4-BE49-F238E27FC236}">
                  <a16:creationId xmlns:a16="http://schemas.microsoft.com/office/drawing/2014/main" id="{CC8673C0-B27B-4146-B381-90AA05457754}"/>
                </a:ext>
              </a:extLst>
            </p:cNvPr>
            <p:cNvSpPr txBox="1">
              <a:spLocks/>
            </p:cNvSpPr>
            <p:nvPr/>
          </p:nvSpPr>
          <p:spPr>
            <a:xfrm>
              <a:off x="1615442" y="2182397"/>
              <a:ext cx="913446"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Next election:</a:t>
              </a:r>
            </a:p>
          </p:txBody>
        </p:sp>
        <p:sp>
          <p:nvSpPr>
            <p:cNvPr id="140" name="TextBox 139">
              <a:extLst>
                <a:ext uri="{FF2B5EF4-FFF2-40B4-BE49-F238E27FC236}">
                  <a16:creationId xmlns:a16="http://schemas.microsoft.com/office/drawing/2014/main" id="{3ED62777-DDCE-5F21-D331-4AEE1668ECF3}"/>
                </a:ext>
              </a:extLst>
            </p:cNvPr>
            <p:cNvSpPr txBox="1">
              <a:spLocks/>
            </p:cNvSpPr>
            <p:nvPr/>
          </p:nvSpPr>
          <p:spPr>
            <a:xfrm>
              <a:off x="2600326" y="2182397"/>
              <a:ext cx="3270014"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2026</a:t>
              </a:r>
            </a:p>
          </p:txBody>
        </p:sp>
        <p:sp>
          <p:nvSpPr>
            <p:cNvPr id="143" name="TextBox 142">
              <a:extLst>
                <a:ext uri="{FF2B5EF4-FFF2-40B4-BE49-F238E27FC236}">
                  <a16:creationId xmlns:a16="http://schemas.microsoft.com/office/drawing/2014/main" id="{CA777830-90B0-AC47-B276-1B852CEBD625}"/>
                </a:ext>
              </a:extLst>
            </p:cNvPr>
            <p:cNvSpPr txBox="1">
              <a:spLocks/>
            </p:cNvSpPr>
            <p:nvPr/>
          </p:nvSpPr>
          <p:spPr>
            <a:xfrm>
              <a:off x="1615442" y="2329794"/>
              <a:ext cx="913446" cy="13493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Mining ministry:</a:t>
              </a:r>
            </a:p>
          </p:txBody>
        </p:sp>
        <p:sp>
          <p:nvSpPr>
            <p:cNvPr id="144" name="TextBox 143">
              <a:extLst>
                <a:ext uri="{FF2B5EF4-FFF2-40B4-BE49-F238E27FC236}">
                  <a16:creationId xmlns:a16="http://schemas.microsoft.com/office/drawing/2014/main" id="{0F6E1B82-5A40-B08E-4FCB-69D6C6C2E0A8}"/>
                </a:ext>
              </a:extLst>
            </p:cNvPr>
            <p:cNvSpPr txBox="1">
              <a:spLocks/>
            </p:cNvSpPr>
            <p:nvPr/>
          </p:nvSpPr>
          <p:spPr>
            <a:xfrm>
              <a:off x="2600326" y="2329794"/>
              <a:ext cx="3270014"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Ministry of Mines and Energy</a:t>
              </a:r>
            </a:p>
          </p:txBody>
        </p:sp>
        <p:sp>
          <p:nvSpPr>
            <p:cNvPr id="146" name="TextBox 145">
              <a:extLst>
                <a:ext uri="{FF2B5EF4-FFF2-40B4-BE49-F238E27FC236}">
                  <a16:creationId xmlns:a16="http://schemas.microsoft.com/office/drawing/2014/main" id="{C9C2C543-5312-BA95-CE37-7BA9D157C26F}"/>
                </a:ext>
              </a:extLst>
            </p:cNvPr>
            <p:cNvSpPr txBox="1">
              <a:spLocks/>
            </p:cNvSpPr>
            <p:nvPr/>
          </p:nvSpPr>
          <p:spPr>
            <a:xfrm>
              <a:off x="1615442" y="2477193"/>
              <a:ext cx="913446" cy="13493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Affiliations:</a:t>
              </a:r>
            </a:p>
          </p:txBody>
        </p:sp>
        <p:sp>
          <p:nvSpPr>
            <p:cNvPr id="147" name="TextBox 146">
              <a:extLst>
                <a:ext uri="{FF2B5EF4-FFF2-40B4-BE49-F238E27FC236}">
                  <a16:creationId xmlns:a16="http://schemas.microsoft.com/office/drawing/2014/main" id="{7343889F-A382-98A9-7730-3C431ABAD8B5}"/>
                </a:ext>
              </a:extLst>
            </p:cNvPr>
            <p:cNvSpPr txBox="1">
              <a:spLocks/>
            </p:cNvSpPr>
            <p:nvPr/>
          </p:nvSpPr>
          <p:spPr>
            <a:xfrm>
              <a:off x="2600326" y="2477193"/>
              <a:ext cx="3270014"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BASIC, CAN (associate), WTO, IFC, OAS, UN, Mercosur (among others)</a:t>
              </a:r>
            </a:p>
          </p:txBody>
        </p:sp>
      </p:grpSp>
      <p:cxnSp>
        <p:nvCxnSpPr>
          <p:cNvPr id="112" name="Straight Connector 111">
            <a:extLst>
              <a:ext uri="{FF2B5EF4-FFF2-40B4-BE49-F238E27FC236}">
                <a16:creationId xmlns:a16="http://schemas.microsoft.com/office/drawing/2014/main" id="{5F66926C-576E-AABA-7FC9-3DE28A7C9518}"/>
              </a:ext>
            </a:extLst>
          </p:cNvPr>
          <p:cNvCxnSpPr>
            <a:cxnSpLocks/>
          </p:cNvCxnSpPr>
          <p:nvPr/>
        </p:nvCxnSpPr>
        <p:spPr>
          <a:xfrm>
            <a:off x="6033969" y="1370014"/>
            <a:ext cx="0" cy="4991101"/>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9A2E677B-9ECD-1427-A512-F2EB69E09BAA}"/>
              </a:ext>
            </a:extLst>
          </p:cNvPr>
          <p:cNvGrpSpPr/>
          <p:nvPr/>
        </p:nvGrpSpPr>
        <p:grpSpPr>
          <a:xfrm>
            <a:off x="346075" y="2481993"/>
            <a:ext cx="5524265" cy="884613"/>
            <a:chOff x="346075" y="2734812"/>
            <a:chExt cx="5524265" cy="884613"/>
          </a:xfrm>
        </p:grpSpPr>
        <p:sp>
          <p:nvSpPr>
            <p:cNvPr id="43" name="Rectangle 8">
              <a:extLst>
                <a:ext uri="{FF2B5EF4-FFF2-40B4-BE49-F238E27FC236}">
                  <a16:creationId xmlns:a16="http://schemas.microsoft.com/office/drawing/2014/main" id="{F8D474FE-B311-2170-5018-2B21548A87C7}"/>
                </a:ext>
              </a:extLst>
            </p:cNvPr>
            <p:cNvSpPr txBox="1">
              <a:spLocks/>
            </p:cNvSpPr>
            <p:nvPr>
              <p:custDataLst>
                <p:tags r:id="rId61"/>
              </p:custDataLst>
            </p:nvPr>
          </p:nvSpPr>
          <p:spPr>
            <a:xfrm>
              <a:off x="346075" y="2734812"/>
              <a:ext cx="1194435" cy="884613"/>
            </a:xfrm>
            <a:prstGeom prst="rect">
              <a:avLst/>
            </a:prstGeom>
            <a:solidFill>
              <a:schemeClr val="accent1"/>
            </a:solidFill>
            <a:ln w="9525">
              <a:noFill/>
              <a:miter lim="800000"/>
              <a:headEnd/>
              <a:tailEnd/>
            </a:ln>
            <a:effectLst/>
          </p:spPr>
          <p:txBody>
            <a:bodyPr vert="horz" wrap="square" lIns="36576" tIns="76200" rIns="36576" bIns="76200" numCol="1" anchor="ctr"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Country overview</a:t>
              </a:r>
              <a:endParaRPr kumimoji="0" lang="en-CA"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endParaRPr>
            </a:p>
          </p:txBody>
        </p:sp>
        <p:grpSp>
          <p:nvGrpSpPr>
            <p:cNvPr id="117" name="Group 116">
              <a:extLst>
                <a:ext uri="{FF2B5EF4-FFF2-40B4-BE49-F238E27FC236}">
                  <a16:creationId xmlns:a16="http://schemas.microsoft.com/office/drawing/2014/main" id="{0D700741-E291-821A-8C10-BB317B1AF13D}"/>
                </a:ext>
              </a:extLst>
            </p:cNvPr>
            <p:cNvGrpSpPr/>
            <p:nvPr/>
          </p:nvGrpSpPr>
          <p:grpSpPr>
            <a:xfrm>
              <a:off x="1615442" y="2734812"/>
              <a:ext cx="4254898" cy="138499"/>
              <a:chOff x="1615442" y="2734812"/>
              <a:chExt cx="4254898" cy="138499"/>
            </a:xfrm>
          </p:grpSpPr>
          <p:sp>
            <p:nvSpPr>
              <p:cNvPr id="149" name="TextBox 148">
                <a:extLst>
                  <a:ext uri="{FF2B5EF4-FFF2-40B4-BE49-F238E27FC236}">
                    <a16:creationId xmlns:a16="http://schemas.microsoft.com/office/drawing/2014/main" id="{AE99F63B-9356-119E-2124-9025192EC592}"/>
                  </a:ext>
                </a:extLst>
              </p:cNvPr>
              <p:cNvSpPr txBox="1">
                <a:spLocks/>
              </p:cNvSpPr>
              <p:nvPr/>
            </p:nvSpPr>
            <p:spPr>
              <a:xfrm>
                <a:off x="1615442" y="2734812"/>
                <a:ext cx="913446" cy="13493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Population:</a:t>
                </a:r>
              </a:p>
            </p:txBody>
          </p:sp>
          <p:sp>
            <p:nvSpPr>
              <p:cNvPr id="150" name="TextBox 149">
                <a:extLst>
                  <a:ext uri="{FF2B5EF4-FFF2-40B4-BE49-F238E27FC236}">
                    <a16:creationId xmlns:a16="http://schemas.microsoft.com/office/drawing/2014/main" id="{AB7C5F20-D7EE-1CF5-FE7D-7AAB651A0DE7}"/>
                  </a:ext>
                </a:extLst>
              </p:cNvPr>
              <p:cNvSpPr txBox="1">
                <a:spLocks/>
              </p:cNvSpPr>
              <p:nvPr/>
            </p:nvSpPr>
            <p:spPr>
              <a:xfrm>
                <a:off x="2600326" y="2734812"/>
                <a:ext cx="3270014" cy="138499"/>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218 M</a:t>
                </a:r>
              </a:p>
            </p:txBody>
          </p:sp>
        </p:grpSp>
        <p:grpSp>
          <p:nvGrpSpPr>
            <p:cNvPr id="118" name="Group 117">
              <a:extLst>
                <a:ext uri="{FF2B5EF4-FFF2-40B4-BE49-F238E27FC236}">
                  <a16:creationId xmlns:a16="http://schemas.microsoft.com/office/drawing/2014/main" id="{75D92D83-F78D-2A33-183E-21E55BE40F5E}"/>
                </a:ext>
              </a:extLst>
            </p:cNvPr>
            <p:cNvGrpSpPr/>
            <p:nvPr/>
          </p:nvGrpSpPr>
          <p:grpSpPr>
            <a:xfrm>
              <a:off x="1615442" y="2884747"/>
              <a:ext cx="4254898" cy="134938"/>
              <a:chOff x="1615442" y="2884747"/>
              <a:chExt cx="4254898" cy="134938"/>
            </a:xfrm>
          </p:grpSpPr>
          <p:sp>
            <p:nvSpPr>
              <p:cNvPr id="152" name="TextBox 151">
                <a:extLst>
                  <a:ext uri="{FF2B5EF4-FFF2-40B4-BE49-F238E27FC236}">
                    <a16:creationId xmlns:a16="http://schemas.microsoft.com/office/drawing/2014/main" id="{313CD90E-654F-4BD9-14E0-95192A35D357}"/>
                  </a:ext>
                </a:extLst>
              </p:cNvPr>
              <p:cNvSpPr txBox="1">
                <a:spLocks/>
              </p:cNvSpPr>
              <p:nvPr/>
            </p:nvSpPr>
            <p:spPr>
              <a:xfrm>
                <a:off x="1615442" y="2884747"/>
                <a:ext cx="913446" cy="13493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Language:</a:t>
                </a:r>
              </a:p>
            </p:txBody>
          </p:sp>
          <p:sp>
            <p:nvSpPr>
              <p:cNvPr id="153" name="TextBox 152">
                <a:extLst>
                  <a:ext uri="{FF2B5EF4-FFF2-40B4-BE49-F238E27FC236}">
                    <a16:creationId xmlns:a16="http://schemas.microsoft.com/office/drawing/2014/main" id="{E254005B-DA49-EDF3-48A6-CCA356330855}"/>
                  </a:ext>
                </a:extLst>
              </p:cNvPr>
              <p:cNvSpPr txBox="1">
                <a:spLocks/>
              </p:cNvSpPr>
              <p:nvPr/>
            </p:nvSpPr>
            <p:spPr>
              <a:xfrm>
                <a:off x="2600326" y="2884747"/>
                <a:ext cx="3270014" cy="134938"/>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Portuguese</a:t>
                </a:r>
              </a:p>
            </p:txBody>
          </p:sp>
        </p:grpSp>
        <p:grpSp>
          <p:nvGrpSpPr>
            <p:cNvPr id="119" name="Group 118">
              <a:extLst>
                <a:ext uri="{FF2B5EF4-FFF2-40B4-BE49-F238E27FC236}">
                  <a16:creationId xmlns:a16="http://schemas.microsoft.com/office/drawing/2014/main" id="{E3276519-0FBA-B8DD-DEB5-94D4112A275E}"/>
                </a:ext>
              </a:extLst>
            </p:cNvPr>
            <p:cNvGrpSpPr/>
            <p:nvPr/>
          </p:nvGrpSpPr>
          <p:grpSpPr>
            <a:xfrm>
              <a:off x="1615442" y="3031121"/>
              <a:ext cx="4254898" cy="138499"/>
              <a:chOff x="1615442" y="3031121"/>
              <a:chExt cx="4254898" cy="138499"/>
            </a:xfrm>
          </p:grpSpPr>
          <p:sp>
            <p:nvSpPr>
              <p:cNvPr id="155" name="TextBox 154">
                <a:extLst>
                  <a:ext uri="{FF2B5EF4-FFF2-40B4-BE49-F238E27FC236}">
                    <a16:creationId xmlns:a16="http://schemas.microsoft.com/office/drawing/2014/main" id="{E1CEF0DF-2075-199B-7D67-0C756649C778}"/>
                  </a:ext>
                </a:extLst>
              </p:cNvPr>
              <p:cNvSpPr txBox="1">
                <a:spLocks/>
              </p:cNvSpPr>
              <p:nvPr/>
            </p:nvSpPr>
            <p:spPr>
              <a:xfrm>
                <a:off x="1615442" y="3031121"/>
                <a:ext cx="913446" cy="13493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Currency:</a:t>
                </a:r>
              </a:p>
            </p:txBody>
          </p:sp>
          <p:sp>
            <p:nvSpPr>
              <p:cNvPr id="156" name="TextBox 155">
                <a:extLst>
                  <a:ext uri="{FF2B5EF4-FFF2-40B4-BE49-F238E27FC236}">
                    <a16:creationId xmlns:a16="http://schemas.microsoft.com/office/drawing/2014/main" id="{E8E68DDD-ED49-C541-1AE5-B7EEC7DC9112}"/>
                  </a:ext>
                </a:extLst>
              </p:cNvPr>
              <p:cNvSpPr txBox="1">
                <a:spLocks/>
              </p:cNvSpPr>
              <p:nvPr/>
            </p:nvSpPr>
            <p:spPr>
              <a:xfrm>
                <a:off x="2600326" y="3031121"/>
                <a:ext cx="3270014" cy="138499"/>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BR Real (BRL)</a:t>
                </a:r>
              </a:p>
            </p:txBody>
          </p:sp>
        </p:grpSp>
        <p:grpSp>
          <p:nvGrpSpPr>
            <p:cNvPr id="120" name="Group 119">
              <a:extLst>
                <a:ext uri="{FF2B5EF4-FFF2-40B4-BE49-F238E27FC236}">
                  <a16:creationId xmlns:a16="http://schemas.microsoft.com/office/drawing/2014/main" id="{35AFA302-D84E-EE58-CF86-DF61DA597128}"/>
                </a:ext>
              </a:extLst>
            </p:cNvPr>
            <p:cNvGrpSpPr/>
            <p:nvPr/>
          </p:nvGrpSpPr>
          <p:grpSpPr>
            <a:xfrm>
              <a:off x="1615442" y="3181056"/>
              <a:ext cx="4254898" cy="138499"/>
              <a:chOff x="1615442" y="3181056"/>
              <a:chExt cx="4254898" cy="138499"/>
            </a:xfrm>
          </p:grpSpPr>
          <p:sp>
            <p:nvSpPr>
              <p:cNvPr id="159" name="TextBox 158">
                <a:extLst>
                  <a:ext uri="{FF2B5EF4-FFF2-40B4-BE49-F238E27FC236}">
                    <a16:creationId xmlns:a16="http://schemas.microsoft.com/office/drawing/2014/main" id="{E77F8775-5EF5-5DA0-F571-01185669986D}"/>
                  </a:ext>
                </a:extLst>
              </p:cNvPr>
              <p:cNvSpPr txBox="1">
                <a:spLocks/>
              </p:cNvSpPr>
              <p:nvPr/>
            </p:nvSpPr>
            <p:spPr>
              <a:xfrm>
                <a:off x="1615442" y="3181056"/>
                <a:ext cx="913446"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Exchange rate:</a:t>
                </a:r>
              </a:p>
            </p:txBody>
          </p:sp>
          <p:sp>
            <p:nvSpPr>
              <p:cNvPr id="160" name="TextBox 159">
                <a:extLst>
                  <a:ext uri="{FF2B5EF4-FFF2-40B4-BE49-F238E27FC236}">
                    <a16:creationId xmlns:a16="http://schemas.microsoft.com/office/drawing/2014/main" id="{8D2084E0-1F0A-EA53-2101-573D4A0B7D35}"/>
                  </a:ext>
                </a:extLst>
              </p:cNvPr>
              <p:cNvSpPr txBox="1">
                <a:spLocks/>
              </p:cNvSpPr>
              <p:nvPr/>
            </p:nvSpPr>
            <p:spPr>
              <a:xfrm>
                <a:off x="2600326" y="3181056"/>
                <a:ext cx="3270014" cy="138499"/>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1 USD = 5.5 BRL</a:t>
                </a:r>
              </a:p>
            </p:txBody>
          </p:sp>
        </p:grpSp>
        <p:grpSp>
          <p:nvGrpSpPr>
            <p:cNvPr id="122" name="Group 121">
              <a:extLst>
                <a:ext uri="{FF2B5EF4-FFF2-40B4-BE49-F238E27FC236}">
                  <a16:creationId xmlns:a16="http://schemas.microsoft.com/office/drawing/2014/main" id="{1B8844CB-0FC0-9D73-DA72-21471BD615A7}"/>
                </a:ext>
              </a:extLst>
            </p:cNvPr>
            <p:cNvGrpSpPr/>
            <p:nvPr/>
          </p:nvGrpSpPr>
          <p:grpSpPr>
            <a:xfrm>
              <a:off x="1615442" y="3330991"/>
              <a:ext cx="4254898" cy="138499"/>
              <a:chOff x="1615442" y="3330991"/>
              <a:chExt cx="4254898" cy="138499"/>
            </a:xfrm>
          </p:grpSpPr>
          <p:sp>
            <p:nvSpPr>
              <p:cNvPr id="162" name="TextBox 161">
                <a:extLst>
                  <a:ext uri="{FF2B5EF4-FFF2-40B4-BE49-F238E27FC236}">
                    <a16:creationId xmlns:a16="http://schemas.microsoft.com/office/drawing/2014/main" id="{76B76856-C654-E263-B4BA-6F7F2F92C6D5}"/>
                  </a:ext>
                </a:extLst>
              </p:cNvPr>
              <p:cNvSpPr txBox="1">
                <a:spLocks/>
              </p:cNvSpPr>
              <p:nvPr/>
            </p:nvSpPr>
            <p:spPr>
              <a:xfrm>
                <a:off x="1615442" y="3330991"/>
                <a:ext cx="913446" cy="13652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Unemployment:</a:t>
                </a:r>
              </a:p>
            </p:txBody>
          </p:sp>
          <p:sp>
            <p:nvSpPr>
              <p:cNvPr id="163" name="TextBox 162">
                <a:extLst>
                  <a:ext uri="{FF2B5EF4-FFF2-40B4-BE49-F238E27FC236}">
                    <a16:creationId xmlns:a16="http://schemas.microsoft.com/office/drawing/2014/main" id="{5056F202-CE90-6AAF-63E3-548B804AE4F1}"/>
                  </a:ext>
                </a:extLst>
              </p:cNvPr>
              <p:cNvSpPr txBox="1">
                <a:spLocks/>
              </p:cNvSpPr>
              <p:nvPr/>
            </p:nvSpPr>
            <p:spPr>
              <a:xfrm>
                <a:off x="2600326" y="3330991"/>
                <a:ext cx="3270014" cy="138499"/>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7.8% (2023)</a:t>
                </a:r>
              </a:p>
            </p:txBody>
          </p:sp>
        </p:grpSp>
        <p:grpSp>
          <p:nvGrpSpPr>
            <p:cNvPr id="121" name="Group 120">
              <a:extLst>
                <a:ext uri="{FF2B5EF4-FFF2-40B4-BE49-F238E27FC236}">
                  <a16:creationId xmlns:a16="http://schemas.microsoft.com/office/drawing/2014/main" id="{6996271A-FA53-38D8-C9B4-8E1C1D06E063}"/>
                </a:ext>
              </a:extLst>
            </p:cNvPr>
            <p:cNvGrpSpPr/>
            <p:nvPr/>
          </p:nvGrpSpPr>
          <p:grpSpPr>
            <a:xfrm>
              <a:off x="1615442" y="3480926"/>
              <a:ext cx="4254898" cy="138499"/>
              <a:chOff x="1615442" y="3480926"/>
              <a:chExt cx="4254898" cy="138499"/>
            </a:xfrm>
          </p:grpSpPr>
          <p:sp>
            <p:nvSpPr>
              <p:cNvPr id="165" name="TextBox 164">
                <a:extLst>
                  <a:ext uri="{FF2B5EF4-FFF2-40B4-BE49-F238E27FC236}">
                    <a16:creationId xmlns:a16="http://schemas.microsoft.com/office/drawing/2014/main" id="{444C5EFD-7B02-49E1-5490-7F10EC8CD8AC}"/>
                  </a:ext>
                </a:extLst>
              </p:cNvPr>
              <p:cNvSpPr txBox="1">
                <a:spLocks/>
              </p:cNvSpPr>
              <p:nvPr/>
            </p:nvSpPr>
            <p:spPr>
              <a:xfrm>
                <a:off x="1615442" y="3480926"/>
                <a:ext cx="913446"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Inflation (CPI):</a:t>
                </a:r>
              </a:p>
            </p:txBody>
          </p:sp>
          <p:sp>
            <p:nvSpPr>
              <p:cNvPr id="166" name="TextBox 165">
                <a:extLst>
                  <a:ext uri="{FF2B5EF4-FFF2-40B4-BE49-F238E27FC236}">
                    <a16:creationId xmlns:a16="http://schemas.microsoft.com/office/drawing/2014/main" id="{0740A040-C3E7-6D3E-153A-B12C72258648}"/>
                  </a:ext>
                </a:extLst>
              </p:cNvPr>
              <p:cNvSpPr txBox="1">
                <a:spLocks/>
              </p:cNvSpPr>
              <p:nvPr/>
            </p:nvSpPr>
            <p:spPr>
              <a:xfrm>
                <a:off x="2600326" y="3480926"/>
                <a:ext cx="3270014" cy="138499"/>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5.3% (2022)</a:t>
                </a:r>
              </a:p>
            </p:txBody>
          </p:sp>
        </p:grpSp>
        <p:grpSp>
          <p:nvGrpSpPr>
            <p:cNvPr id="30" name="Group 29">
              <a:extLst>
                <a:ext uri="{FF2B5EF4-FFF2-40B4-BE49-F238E27FC236}">
                  <a16:creationId xmlns:a16="http://schemas.microsoft.com/office/drawing/2014/main" id="{01DCF41D-C81B-9E91-E9BE-BB08DC5EDC92}"/>
                </a:ext>
              </a:extLst>
            </p:cNvPr>
            <p:cNvGrpSpPr/>
            <p:nvPr/>
          </p:nvGrpSpPr>
          <p:grpSpPr>
            <a:xfrm>
              <a:off x="3740224" y="2751667"/>
              <a:ext cx="2130116" cy="850903"/>
              <a:chOff x="3957324" y="2769132"/>
              <a:chExt cx="2130116" cy="850903"/>
            </a:xfrm>
          </p:grpSpPr>
          <p:sp>
            <p:nvSpPr>
              <p:cNvPr id="16" name="Freeform: Shape 15">
                <a:extLst>
                  <a:ext uri="{FF2B5EF4-FFF2-40B4-BE49-F238E27FC236}">
                    <a16:creationId xmlns:a16="http://schemas.microsoft.com/office/drawing/2014/main" id="{F9B5D8D3-C6A0-E8FB-9318-5C03935D715E}"/>
                  </a:ext>
                </a:extLst>
              </p:cNvPr>
              <p:cNvSpPr/>
              <p:nvPr/>
            </p:nvSpPr>
            <p:spPr>
              <a:xfrm>
                <a:off x="4503493" y="2851785"/>
                <a:ext cx="1186750" cy="529625"/>
              </a:xfrm>
              <a:custGeom>
                <a:avLst/>
                <a:gdLst>
                  <a:gd name="connsiteX0" fmla="*/ 1013460 w 1018540"/>
                  <a:gd name="connsiteY0" fmla="*/ 88900 h 624840"/>
                  <a:gd name="connsiteX1" fmla="*/ 0 w 1018540"/>
                  <a:gd name="connsiteY1" fmla="*/ 0 h 624840"/>
                  <a:gd name="connsiteX2" fmla="*/ 0 w 1018540"/>
                  <a:gd name="connsiteY2" fmla="*/ 624840 h 624840"/>
                  <a:gd name="connsiteX3" fmla="*/ 1018540 w 1018540"/>
                  <a:gd name="connsiteY3" fmla="*/ 147320 h 624840"/>
                  <a:gd name="connsiteX4" fmla="*/ 1013460 w 1018540"/>
                  <a:gd name="connsiteY4" fmla="*/ 88900 h 624840"/>
                  <a:gd name="connsiteX0" fmla="*/ 1013460 w 1018540"/>
                  <a:gd name="connsiteY0" fmla="*/ 88900 h 501015"/>
                  <a:gd name="connsiteX1" fmla="*/ 0 w 1018540"/>
                  <a:gd name="connsiteY1" fmla="*/ 0 h 501015"/>
                  <a:gd name="connsiteX2" fmla="*/ 470535 w 1018540"/>
                  <a:gd name="connsiteY2" fmla="*/ 501015 h 501015"/>
                  <a:gd name="connsiteX3" fmla="*/ 1018540 w 1018540"/>
                  <a:gd name="connsiteY3" fmla="*/ 147320 h 501015"/>
                  <a:gd name="connsiteX4" fmla="*/ 1013460 w 1018540"/>
                  <a:gd name="connsiteY4" fmla="*/ 88900 h 501015"/>
                  <a:gd name="connsiteX0" fmla="*/ 691515 w 696595"/>
                  <a:gd name="connsiteY0" fmla="*/ 41275 h 453390"/>
                  <a:gd name="connsiteX1" fmla="*/ 0 w 696595"/>
                  <a:gd name="connsiteY1" fmla="*/ 0 h 453390"/>
                  <a:gd name="connsiteX2" fmla="*/ 148590 w 696595"/>
                  <a:gd name="connsiteY2" fmla="*/ 453390 h 453390"/>
                  <a:gd name="connsiteX3" fmla="*/ 696595 w 696595"/>
                  <a:gd name="connsiteY3" fmla="*/ 99695 h 453390"/>
                  <a:gd name="connsiteX4" fmla="*/ 691515 w 696595"/>
                  <a:gd name="connsiteY4" fmla="*/ 41275 h 453390"/>
                  <a:gd name="connsiteX0" fmla="*/ 691515 w 692785"/>
                  <a:gd name="connsiteY0" fmla="*/ 41275 h 453390"/>
                  <a:gd name="connsiteX1" fmla="*/ 0 w 692785"/>
                  <a:gd name="connsiteY1" fmla="*/ 0 h 453390"/>
                  <a:gd name="connsiteX2" fmla="*/ 148590 w 692785"/>
                  <a:gd name="connsiteY2" fmla="*/ 453390 h 453390"/>
                  <a:gd name="connsiteX3" fmla="*/ 692785 w 692785"/>
                  <a:gd name="connsiteY3" fmla="*/ 76835 h 453390"/>
                  <a:gd name="connsiteX4" fmla="*/ 691515 w 692785"/>
                  <a:gd name="connsiteY4" fmla="*/ 41275 h 453390"/>
                  <a:gd name="connsiteX0" fmla="*/ 874395 w 875665"/>
                  <a:gd name="connsiteY0" fmla="*/ 79375 h 491490"/>
                  <a:gd name="connsiteX1" fmla="*/ 0 w 875665"/>
                  <a:gd name="connsiteY1" fmla="*/ 0 h 491490"/>
                  <a:gd name="connsiteX2" fmla="*/ 331470 w 875665"/>
                  <a:gd name="connsiteY2" fmla="*/ 491490 h 491490"/>
                  <a:gd name="connsiteX3" fmla="*/ 875665 w 875665"/>
                  <a:gd name="connsiteY3" fmla="*/ 114935 h 491490"/>
                  <a:gd name="connsiteX4" fmla="*/ 874395 w 875665"/>
                  <a:gd name="connsiteY4" fmla="*/ 79375 h 491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5665" h="491490">
                    <a:moveTo>
                      <a:pt x="874395" y="79375"/>
                    </a:moveTo>
                    <a:lnTo>
                      <a:pt x="0" y="0"/>
                    </a:lnTo>
                    <a:lnTo>
                      <a:pt x="331470" y="491490"/>
                    </a:lnTo>
                    <a:lnTo>
                      <a:pt x="875665" y="114935"/>
                    </a:lnTo>
                    <a:cubicBezTo>
                      <a:pt x="875242" y="103082"/>
                      <a:pt x="874818" y="91228"/>
                      <a:pt x="874395" y="79375"/>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Freeform 11">
                <a:extLst>
                  <a:ext uri="{FF2B5EF4-FFF2-40B4-BE49-F238E27FC236}">
                    <a16:creationId xmlns:a16="http://schemas.microsoft.com/office/drawing/2014/main" id="{ED43C623-77B2-0000-B9F1-AF0F22E61AA1}"/>
                  </a:ext>
                </a:extLst>
              </p:cNvPr>
              <p:cNvSpPr>
                <a:spLocks noEditPoints="1"/>
              </p:cNvSpPr>
              <p:nvPr/>
            </p:nvSpPr>
            <p:spPr bwMode="auto">
              <a:xfrm>
                <a:off x="5648622" y="3168297"/>
                <a:ext cx="197672" cy="435584"/>
              </a:xfrm>
              <a:custGeom>
                <a:avLst/>
                <a:gdLst>
                  <a:gd name="T0" fmla="*/ 418 w 673"/>
                  <a:gd name="T1" fmla="*/ 65 h 1483"/>
                  <a:gd name="T2" fmla="*/ 512 w 673"/>
                  <a:gd name="T3" fmla="*/ 116 h 1483"/>
                  <a:gd name="T4" fmla="*/ 527 w 673"/>
                  <a:gd name="T5" fmla="*/ 158 h 1483"/>
                  <a:gd name="T6" fmla="*/ 513 w 673"/>
                  <a:gd name="T7" fmla="*/ 204 h 1483"/>
                  <a:gd name="T8" fmla="*/ 597 w 673"/>
                  <a:gd name="T9" fmla="*/ 206 h 1483"/>
                  <a:gd name="T10" fmla="*/ 641 w 673"/>
                  <a:gd name="T11" fmla="*/ 155 h 1483"/>
                  <a:gd name="T12" fmla="*/ 668 w 673"/>
                  <a:gd name="T13" fmla="*/ 155 h 1483"/>
                  <a:gd name="T14" fmla="*/ 658 w 673"/>
                  <a:gd name="T15" fmla="*/ 204 h 1483"/>
                  <a:gd name="T16" fmla="*/ 614 w 673"/>
                  <a:gd name="T17" fmla="*/ 233 h 1483"/>
                  <a:gd name="T18" fmla="*/ 566 w 673"/>
                  <a:gd name="T19" fmla="*/ 287 h 1483"/>
                  <a:gd name="T20" fmla="*/ 529 w 673"/>
                  <a:gd name="T21" fmla="*/ 357 h 1483"/>
                  <a:gd name="T22" fmla="*/ 512 w 673"/>
                  <a:gd name="T23" fmla="*/ 440 h 1483"/>
                  <a:gd name="T24" fmla="*/ 530 w 673"/>
                  <a:gd name="T25" fmla="*/ 502 h 1483"/>
                  <a:gd name="T26" fmla="*/ 566 w 673"/>
                  <a:gd name="T27" fmla="*/ 565 h 1483"/>
                  <a:gd name="T28" fmla="*/ 532 w 673"/>
                  <a:gd name="T29" fmla="*/ 648 h 1483"/>
                  <a:gd name="T30" fmla="*/ 430 w 673"/>
                  <a:gd name="T31" fmla="*/ 677 h 1483"/>
                  <a:gd name="T32" fmla="*/ 384 w 673"/>
                  <a:gd name="T33" fmla="*/ 691 h 1483"/>
                  <a:gd name="T34" fmla="*/ 376 w 673"/>
                  <a:gd name="T35" fmla="*/ 738 h 1483"/>
                  <a:gd name="T36" fmla="*/ 320 w 673"/>
                  <a:gd name="T37" fmla="*/ 767 h 1483"/>
                  <a:gd name="T38" fmla="*/ 286 w 673"/>
                  <a:gd name="T39" fmla="*/ 774 h 1483"/>
                  <a:gd name="T40" fmla="*/ 309 w 673"/>
                  <a:gd name="T41" fmla="*/ 832 h 1483"/>
                  <a:gd name="T42" fmla="*/ 330 w 673"/>
                  <a:gd name="T43" fmla="*/ 849 h 1483"/>
                  <a:gd name="T44" fmla="*/ 311 w 673"/>
                  <a:gd name="T45" fmla="*/ 856 h 1483"/>
                  <a:gd name="T46" fmla="*/ 281 w 673"/>
                  <a:gd name="T47" fmla="*/ 920 h 1483"/>
                  <a:gd name="T48" fmla="*/ 248 w 673"/>
                  <a:gd name="T49" fmla="*/ 952 h 1483"/>
                  <a:gd name="T50" fmla="*/ 202 w 673"/>
                  <a:gd name="T51" fmla="*/ 1002 h 1483"/>
                  <a:gd name="T52" fmla="*/ 265 w 673"/>
                  <a:gd name="T53" fmla="*/ 1065 h 1483"/>
                  <a:gd name="T54" fmla="*/ 235 w 673"/>
                  <a:gd name="T55" fmla="*/ 1121 h 1483"/>
                  <a:gd name="T56" fmla="*/ 192 w 673"/>
                  <a:gd name="T57" fmla="*/ 1203 h 1483"/>
                  <a:gd name="T58" fmla="*/ 155 w 673"/>
                  <a:gd name="T59" fmla="*/ 1279 h 1483"/>
                  <a:gd name="T60" fmla="*/ 56 w 673"/>
                  <a:gd name="T61" fmla="*/ 1308 h 1483"/>
                  <a:gd name="T62" fmla="*/ 43 w 673"/>
                  <a:gd name="T63" fmla="*/ 1242 h 1483"/>
                  <a:gd name="T64" fmla="*/ 2 w 673"/>
                  <a:gd name="T65" fmla="*/ 1201 h 1483"/>
                  <a:gd name="T66" fmla="*/ 36 w 673"/>
                  <a:gd name="T67" fmla="*/ 1131 h 1483"/>
                  <a:gd name="T68" fmla="*/ 43 w 673"/>
                  <a:gd name="T69" fmla="*/ 1072 h 1483"/>
                  <a:gd name="T70" fmla="*/ 60 w 673"/>
                  <a:gd name="T71" fmla="*/ 1009 h 1483"/>
                  <a:gd name="T72" fmla="*/ 66 w 673"/>
                  <a:gd name="T73" fmla="*/ 951 h 1483"/>
                  <a:gd name="T74" fmla="*/ 85 w 673"/>
                  <a:gd name="T75" fmla="*/ 929 h 1483"/>
                  <a:gd name="T76" fmla="*/ 68 w 673"/>
                  <a:gd name="T77" fmla="*/ 886 h 1483"/>
                  <a:gd name="T78" fmla="*/ 53 w 673"/>
                  <a:gd name="T79" fmla="*/ 830 h 1483"/>
                  <a:gd name="T80" fmla="*/ 58 w 673"/>
                  <a:gd name="T81" fmla="*/ 774 h 1483"/>
                  <a:gd name="T82" fmla="*/ 65 w 673"/>
                  <a:gd name="T83" fmla="*/ 716 h 1483"/>
                  <a:gd name="T84" fmla="*/ 90 w 673"/>
                  <a:gd name="T85" fmla="*/ 663 h 1483"/>
                  <a:gd name="T86" fmla="*/ 83 w 673"/>
                  <a:gd name="T87" fmla="*/ 597 h 1483"/>
                  <a:gd name="T88" fmla="*/ 107 w 673"/>
                  <a:gd name="T89" fmla="*/ 554 h 1483"/>
                  <a:gd name="T90" fmla="*/ 119 w 673"/>
                  <a:gd name="T91" fmla="*/ 486 h 1483"/>
                  <a:gd name="T92" fmla="*/ 121 w 673"/>
                  <a:gd name="T93" fmla="*/ 427 h 1483"/>
                  <a:gd name="T94" fmla="*/ 104 w 673"/>
                  <a:gd name="T95" fmla="*/ 354 h 1483"/>
                  <a:gd name="T96" fmla="*/ 126 w 673"/>
                  <a:gd name="T97" fmla="*/ 304 h 1483"/>
                  <a:gd name="T98" fmla="*/ 138 w 673"/>
                  <a:gd name="T99" fmla="*/ 243 h 1483"/>
                  <a:gd name="T100" fmla="*/ 175 w 673"/>
                  <a:gd name="T101" fmla="*/ 196 h 1483"/>
                  <a:gd name="T102" fmla="*/ 170 w 673"/>
                  <a:gd name="T103" fmla="*/ 110 h 1483"/>
                  <a:gd name="T104" fmla="*/ 253 w 673"/>
                  <a:gd name="T105" fmla="*/ 2 h 1483"/>
                  <a:gd name="T106" fmla="*/ 315 w 673"/>
                  <a:gd name="T107" fmla="*/ 32 h 1483"/>
                  <a:gd name="T108" fmla="*/ 180 w 673"/>
                  <a:gd name="T109" fmla="*/ 1362 h 1483"/>
                  <a:gd name="T110" fmla="*/ 213 w 673"/>
                  <a:gd name="T111" fmla="*/ 1425 h 1483"/>
                  <a:gd name="T112" fmla="*/ 282 w 673"/>
                  <a:gd name="T113" fmla="*/ 1466 h 1483"/>
                  <a:gd name="T114" fmla="*/ 223 w 673"/>
                  <a:gd name="T115" fmla="*/ 1475 h 1483"/>
                  <a:gd name="T116" fmla="*/ 320 w 673"/>
                  <a:gd name="T117" fmla="*/ 1465 h 1483"/>
                  <a:gd name="T118" fmla="*/ 301 w 673"/>
                  <a:gd name="T119" fmla="*/ 1466 h 1483"/>
                  <a:gd name="T120" fmla="*/ 206 w 673"/>
                  <a:gd name="T121" fmla="*/ 1473 h 1483"/>
                  <a:gd name="T122" fmla="*/ 269 w 673"/>
                  <a:gd name="T123" fmla="*/ 954 h 1483"/>
                  <a:gd name="T124" fmla="*/ 383 w 673"/>
                  <a:gd name="T125" fmla="*/ 721 h 1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73" h="1483">
                    <a:moveTo>
                      <a:pt x="369" y="17"/>
                    </a:moveTo>
                    <a:lnTo>
                      <a:pt x="371" y="17"/>
                    </a:lnTo>
                    <a:lnTo>
                      <a:pt x="371" y="19"/>
                    </a:lnTo>
                    <a:lnTo>
                      <a:pt x="369" y="19"/>
                    </a:lnTo>
                    <a:lnTo>
                      <a:pt x="371" y="19"/>
                    </a:lnTo>
                    <a:lnTo>
                      <a:pt x="372" y="20"/>
                    </a:lnTo>
                    <a:lnTo>
                      <a:pt x="372" y="22"/>
                    </a:lnTo>
                    <a:lnTo>
                      <a:pt x="374" y="22"/>
                    </a:lnTo>
                    <a:lnTo>
                      <a:pt x="376" y="22"/>
                    </a:lnTo>
                    <a:lnTo>
                      <a:pt x="376" y="24"/>
                    </a:lnTo>
                    <a:lnTo>
                      <a:pt x="377" y="24"/>
                    </a:lnTo>
                    <a:lnTo>
                      <a:pt x="379" y="24"/>
                    </a:lnTo>
                    <a:lnTo>
                      <a:pt x="379" y="25"/>
                    </a:lnTo>
                    <a:lnTo>
                      <a:pt x="379" y="24"/>
                    </a:lnTo>
                    <a:lnTo>
                      <a:pt x="379" y="25"/>
                    </a:lnTo>
                    <a:lnTo>
                      <a:pt x="381" y="25"/>
                    </a:lnTo>
                    <a:lnTo>
                      <a:pt x="379" y="25"/>
                    </a:lnTo>
                    <a:lnTo>
                      <a:pt x="381" y="25"/>
                    </a:lnTo>
                    <a:lnTo>
                      <a:pt x="381" y="27"/>
                    </a:lnTo>
                    <a:lnTo>
                      <a:pt x="383" y="27"/>
                    </a:lnTo>
                    <a:lnTo>
                      <a:pt x="384" y="27"/>
                    </a:lnTo>
                    <a:lnTo>
                      <a:pt x="383" y="29"/>
                    </a:lnTo>
                    <a:lnTo>
                      <a:pt x="384" y="29"/>
                    </a:lnTo>
                    <a:lnTo>
                      <a:pt x="383" y="29"/>
                    </a:lnTo>
                    <a:lnTo>
                      <a:pt x="383" y="31"/>
                    </a:lnTo>
                    <a:lnTo>
                      <a:pt x="383" y="32"/>
                    </a:lnTo>
                    <a:lnTo>
                      <a:pt x="384" y="31"/>
                    </a:lnTo>
                    <a:lnTo>
                      <a:pt x="384" y="32"/>
                    </a:lnTo>
                    <a:lnTo>
                      <a:pt x="384" y="34"/>
                    </a:lnTo>
                    <a:lnTo>
                      <a:pt x="384" y="36"/>
                    </a:lnTo>
                    <a:lnTo>
                      <a:pt x="386" y="37"/>
                    </a:lnTo>
                    <a:lnTo>
                      <a:pt x="388" y="39"/>
                    </a:lnTo>
                    <a:lnTo>
                      <a:pt x="388" y="41"/>
                    </a:lnTo>
                    <a:lnTo>
                      <a:pt x="389" y="42"/>
                    </a:lnTo>
                    <a:lnTo>
                      <a:pt x="389" y="44"/>
                    </a:lnTo>
                    <a:lnTo>
                      <a:pt x="391" y="44"/>
                    </a:lnTo>
                    <a:lnTo>
                      <a:pt x="391" y="46"/>
                    </a:lnTo>
                    <a:lnTo>
                      <a:pt x="393" y="46"/>
                    </a:lnTo>
                    <a:lnTo>
                      <a:pt x="394" y="48"/>
                    </a:lnTo>
                    <a:lnTo>
                      <a:pt x="396" y="48"/>
                    </a:lnTo>
                    <a:lnTo>
                      <a:pt x="396" y="49"/>
                    </a:lnTo>
                    <a:lnTo>
                      <a:pt x="398" y="49"/>
                    </a:lnTo>
                    <a:lnTo>
                      <a:pt x="398" y="51"/>
                    </a:lnTo>
                    <a:lnTo>
                      <a:pt x="400" y="51"/>
                    </a:lnTo>
                    <a:lnTo>
                      <a:pt x="400" y="53"/>
                    </a:lnTo>
                    <a:lnTo>
                      <a:pt x="401" y="53"/>
                    </a:lnTo>
                    <a:lnTo>
                      <a:pt x="401" y="54"/>
                    </a:lnTo>
                    <a:lnTo>
                      <a:pt x="403" y="54"/>
                    </a:lnTo>
                    <a:lnTo>
                      <a:pt x="405" y="54"/>
                    </a:lnTo>
                    <a:lnTo>
                      <a:pt x="405" y="56"/>
                    </a:lnTo>
                    <a:lnTo>
                      <a:pt x="406" y="56"/>
                    </a:lnTo>
                    <a:lnTo>
                      <a:pt x="406" y="58"/>
                    </a:lnTo>
                    <a:lnTo>
                      <a:pt x="408" y="58"/>
                    </a:lnTo>
                    <a:lnTo>
                      <a:pt x="408" y="59"/>
                    </a:lnTo>
                    <a:lnTo>
                      <a:pt x="410" y="59"/>
                    </a:lnTo>
                    <a:lnTo>
                      <a:pt x="410" y="61"/>
                    </a:lnTo>
                    <a:lnTo>
                      <a:pt x="411" y="61"/>
                    </a:lnTo>
                    <a:lnTo>
                      <a:pt x="413" y="61"/>
                    </a:lnTo>
                    <a:lnTo>
                      <a:pt x="415" y="61"/>
                    </a:lnTo>
                    <a:lnTo>
                      <a:pt x="415" y="63"/>
                    </a:lnTo>
                    <a:lnTo>
                      <a:pt x="417" y="63"/>
                    </a:lnTo>
                    <a:lnTo>
                      <a:pt x="417" y="65"/>
                    </a:lnTo>
                    <a:lnTo>
                      <a:pt x="418" y="65"/>
                    </a:lnTo>
                    <a:lnTo>
                      <a:pt x="420" y="65"/>
                    </a:lnTo>
                    <a:lnTo>
                      <a:pt x="420" y="66"/>
                    </a:lnTo>
                    <a:lnTo>
                      <a:pt x="422" y="66"/>
                    </a:lnTo>
                    <a:lnTo>
                      <a:pt x="422" y="68"/>
                    </a:lnTo>
                    <a:lnTo>
                      <a:pt x="422" y="70"/>
                    </a:lnTo>
                    <a:lnTo>
                      <a:pt x="423" y="70"/>
                    </a:lnTo>
                    <a:lnTo>
                      <a:pt x="423" y="71"/>
                    </a:lnTo>
                    <a:lnTo>
                      <a:pt x="425" y="73"/>
                    </a:lnTo>
                    <a:lnTo>
                      <a:pt x="425" y="75"/>
                    </a:lnTo>
                    <a:lnTo>
                      <a:pt x="427" y="75"/>
                    </a:lnTo>
                    <a:lnTo>
                      <a:pt x="427" y="73"/>
                    </a:lnTo>
                    <a:lnTo>
                      <a:pt x="428" y="75"/>
                    </a:lnTo>
                    <a:lnTo>
                      <a:pt x="430" y="76"/>
                    </a:lnTo>
                    <a:lnTo>
                      <a:pt x="432" y="76"/>
                    </a:lnTo>
                    <a:lnTo>
                      <a:pt x="434" y="76"/>
                    </a:lnTo>
                    <a:lnTo>
                      <a:pt x="435" y="76"/>
                    </a:lnTo>
                    <a:lnTo>
                      <a:pt x="435" y="78"/>
                    </a:lnTo>
                    <a:lnTo>
                      <a:pt x="437" y="78"/>
                    </a:lnTo>
                    <a:lnTo>
                      <a:pt x="439" y="78"/>
                    </a:lnTo>
                    <a:lnTo>
                      <a:pt x="439" y="80"/>
                    </a:lnTo>
                    <a:lnTo>
                      <a:pt x="440" y="80"/>
                    </a:lnTo>
                    <a:lnTo>
                      <a:pt x="442" y="80"/>
                    </a:lnTo>
                    <a:lnTo>
                      <a:pt x="444" y="80"/>
                    </a:lnTo>
                    <a:lnTo>
                      <a:pt x="445" y="80"/>
                    </a:lnTo>
                    <a:lnTo>
                      <a:pt x="445" y="82"/>
                    </a:lnTo>
                    <a:lnTo>
                      <a:pt x="447" y="82"/>
                    </a:lnTo>
                    <a:lnTo>
                      <a:pt x="449" y="83"/>
                    </a:lnTo>
                    <a:lnTo>
                      <a:pt x="451" y="83"/>
                    </a:lnTo>
                    <a:lnTo>
                      <a:pt x="452" y="83"/>
                    </a:lnTo>
                    <a:lnTo>
                      <a:pt x="454" y="83"/>
                    </a:lnTo>
                    <a:lnTo>
                      <a:pt x="456" y="82"/>
                    </a:lnTo>
                    <a:lnTo>
                      <a:pt x="457" y="82"/>
                    </a:lnTo>
                    <a:lnTo>
                      <a:pt x="466" y="87"/>
                    </a:lnTo>
                    <a:lnTo>
                      <a:pt x="473" y="92"/>
                    </a:lnTo>
                    <a:lnTo>
                      <a:pt x="476" y="93"/>
                    </a:lnTo>
                    <a:lnTo>
                      <a:pt x="478" y="95"/>
                    </a:lnTo>
                    <a:lnTo>
                      <a:pt x="478" y="97"/>
                    </a:lnTo>
                    <a:lnTo>
                      <a:pt x="479" y="97"/>
                    </a:lnTo>
                    <a:lnTo>
                      <a:pt x="481" y="99"/>
                    </a:lnTo>
                    <a:lnTo>
                      <a:pt x="483" y="100"/>
                    </a:lnTo>
                    <a:lnTo>
                      <a:pt x="485" y="100"/>
                    </a:lnTo>
                    <a:lnTo>
                      <a:pt x="485" y="102"/>
                    </a:lnTo>
                    <a:lnTo>
                      <a:pt x="486" y="102"/>
                    </a:lnTo>
                    <a:lnTo>
                      <a:pt x="488" y="104"/>
                    </a:lnTo>
                    <a:lnTo>
                      <a:pt x="490" y="104"/>
                    </a:lnTo>
                    <a:lnTo>
                      <a:pt x="491" y="105"/>
                    </a:lnTo>
                    <a:lnTo>
                      <a:pt x="493" y="105"/>
                    </a:lnTo>
                    <a:lnTo>
                      <a:pt x="495" y="107"/>
                    </a:lnTo>
                    <a:lnTo>
                      <a:pt x="496" y="107"/>
                    </a:lnTo>
                    <a:lnTo>
                      <a:pt x="496" y="109"/>
                    </a:lnTo>
                    <a:lnTo>
                      <a:pt x="498" y="109"/>
                    </a:lnTo>
                    <a:lnTo>
                      <a:pt x="498" y="110"/>
                    </a:lnTo>
                    <a:lnTo>
                      <a:pt x="500" y="110"/>
                    </a:lnTo>
                    <a:lnTo>
                      <a:pt x="502" y="110"/>
                    </a:lnTo>
                    <a:lnTo>
                      <a:pt x="503" y="110"/>
                    </a:lnTo>
                    <a:lnTo>
                      <a:pt x="503" y="112"/>
                    </a:lnTo>
                    <a:lnTo>
                      <a:pt x="505" y="112"/>
                    </a:lnTo>
                    <a:lnTo>
                      <a:pt x="507" y="112"/>
                    </a:lnTo>
                    <a:lnTo>
                      <a:pt x="508" y="112"/>
                    </a:lnTo>
                    <a:lnTo>
                      <a:pt x="510" y="112"/>
                    </a:lnTo>
                    <a:lnTo>
                      <a:pt x="510" y="114"/>
                    </a:lnTo>
                    <a:lnTo>
                      <a:pt x="512" y="114"/>
                    </a:lnTo>
                    <a:lnTo>
                      <a:pt x="512" y="116"/>
                    </a:lnTo>
                    <a:lnTo>
                      <a:pt x="513" y="116"/>
                    </a:lnTo>
                    <a:lnTo>
                      <a:pt x="513" y="117"/>
                    </a:lnTo>
                    <a:lnTo>
                      <a:pt x="515" y="117"/>
                    </a:lnTo>
                    <a:lnTo>
                      <a:pt x="515" y="119"/>
                    </a:lnTo>
                    <a:lnTo>
                      <a:pt x="515" y="117"/>
                    </a:lnTo>
                    <a:lnTo>
                      <a:pt x="517" y="117"/>
                    </a:lnTo>
                    <a:lnTo>
                      <a:pt x="517" y="116"/>
                    </a:lnTo>
                    <a:lnTo>
                      <a:pt x="519" y="116"/>
                    </a:lnTo>
                    <a:lnTo>
                      <a:pt x="520" y="117"/>
                    </a:lnTo>
                    <a:lnTo>
                      <a:pt x="522" y="117"/>
                    </a:lnTo>
                    <a:lnTo>
                      <a:pt x="522" y="119"/>
                    </a:lnTo>
                    <a:lnTo>
                      <a:pt x="524" y="119"/>
                    </a:lnTo>
                    <a:lnTo>
                      <a:pt x="524" y="121"/>
                    </a:lnTo>
                    <a:lnTo>
                      <a:pt x="525" y="119"/>
                    </a:lnTo>
                    <a:lnTo>
                      <a:pt x="525" y="121"/>
                    </a:lnTo>
                    <a:lnTo>
                      <a:pt x="525" y="119"/>
                    </a:lnTo>
                    <a:lnTo>
                      <a:pt x="525" y="121"/>
                    </a:lnTo>
                    <a:lnTo>
                      <a:pt x="525" y="119"/>
                    </a:lnTo>
                    <a:lnTo>
                      <a:pt x="527" y="121"/>
                    </a:lnTo>
                    <a:lnTo>
                      <a:pt x="529" y="121"/>
                    </a:lnTo>
                    <a:lnTo>
                      <a:pt x="530" y="121"/>
                    </a:lnTo>
                    <a:lnTo>
                      <a:pt x="532" y="122"/>
                    </a:lnTo>
                    <a:lnTo>
                      <a:pt x="532" y="124"/>
                    </a:lnTo>
                    <a:lnTo>
                      <a:pt x="534" y="124"/>
                    </a:lnTo>
                    <a:lnTo>
                      <a:pt x="534" y="126"/>
                    </a:lnTo>
                    <a:lnTo>
                      <a:pt x="536" y="126"/>
                    </a:lnTo>
                    <a:lnTo>
                      <a:pt x="534" y="126"/>
                    </a:lnTo>
                    <a:lnTo>
                      <a:pt x="536" y="127"/>
                    </a:lnTo>
                    <a:lnTo>
                      <a:pt x="536" y="129"/>
                    </a:lnTo>
                    <a:lnTo>
                      <a:pt x="537" y="129"/>
                    </a:lnTo>
                    <a:lnTo>
                      <a:pt x="536" y="129"/>
                    </a:lnTo>
                    <a:lnTo>
                      <a:pt x="536" y="131"/>
                    </a:lnTo>
                    <a:lnTo>
                      <a:pt x="537" y="131"/>
                    </a:lnTo>
                    <a:lnTo>
                      <a:pt x="537" y="133"/>
                    </a:lnTo>
                    <a:lnTo>
                      <a:pt x="539" y="133"/>
                    </a:lnTo>
                    <a:lnTo>
                      <a:pt x="541" y="133"/>
                    </a:lnTo>
                    <a:lnTo>
                      <a:pt x="541" y="134"/>
                    </a:lnTo>
                    <a:lnTo>
                      <a:pt x="541" y="136"/>
                    </a:lnTo>
                    <a:lnTo>
                      <a:pt x="541" y="138"/>
                    </a:lnTo>
                    <a:lnTo>
                      <a:pt x="541" y="139"/>
                    </a:lnTo>
                    <a:lnTo>
                      <a:pt x="539" y="139"/>
                    </a:lnTo>
                    <a:lnTo>
                      <a:pt x="539" y="141"/>
                    </a:lnTo>
                    <a:lnTo>
                      <a:pt x="537" y="141"/>
                    </a:lnTo>
                    <a:lnTo>
                      <a:pt x="537" y="143"/>
                    </a:lnTo>
                    <a:lnTo>
                      <a:pt x="536" y="143"/>
                    </a:lnTo>
                    <a:lnTo>
                      <a:pt x="534" y="144"/>
                    </a:lnTo>
                    <a:lnTo>
                      <a:pt x="536" y="144"/>
                    </a:lnTo>
                    <a:lnTo>
                      <a:pt x="536" y="146"/>
                    </a:lnTo>
                    <a:lnTo>
                      <a:pt x="534" y="146"/>
                    </a:lnTo>
                    <a:lnTo>
                      <a:pt x="532" y="146"/>
                    </a:lnTo>
                    <a:lnTo>
                      <a:pt x="532" y="148"/>
                    </a:lnTo>
                    <a:lnTo>
                      <a:pt x="534" y="148"/>
                    </a:lnTo>
                    <a:lnTo>
                      <a:pt x="534" y="150"/>
                    </a:lnTo>
                    <a:lnTo>
                      <a:pt x="532" y="150"/>
                    </a:lnTo>
                    <a:lnTo>
                      <a:pt x="530" y="150"/>
                    </a:lnTo>
                    <a:lnTo>
                      <a:pt x="530" y="151"/>
                    </a:lnTo>
                    <a:lnTo>
                      <a:pt x="532" y="153"/>
                    </a:lnTo>
                    <a:lnTo>
                      <a:pt x="530" y="153"/>
                    </a:lnTo>
                    <a:lnTo>
                      <a:pt x="530" y="155"/>
                    </a:lnTo>
                    <a:lnTo>
                      <a:pt x="530" y="156"/>
                    </a:lnTo>
                    <a:lnTo>
                      <a:pt x="529" y="156"/>
                    </a:lnTo>
                    <a:lnTo>
                      <a:pt x="529" y="158"/>
                    </a:lnTo>
                    <a:lnTo>
                      <a:pt x="527" y="158"/>
                    </a:lnTo>
                    <a:lnTo>
                      <a:pt x="527" y="160"/>
                    </a:lnTo>
                    <a:lnTo>
                      <a:pt x="525" y="160"/>
                    </a:lnTo>
                    <a:lnTo>
                      <a:pt x="524" y="160"/>
                    </a:lnTo>
                    <a:lnTo>
                      <a:pt x="524" y="161"/>
                    </a:lnTo>
                    <a:lnTo>
                      <a:pt x="522" y="161"/>
                    </a:lnTo>
                    <a:lnTo>
                      <a:pt x="522" y="163"/>
                    </a:lnTo>
                    <a:lnTo>
                      <a:pt x="520" y="163"/>
                    </a:lnTo>
                    <a:lnTo>
                      <a:pt x="522" y="163"/>
                    </a:lnTo>
                    <a:lnTo>
                      <a:pt x="522" y="165"/>
                    </a:lnTo>
                    <a:lnTo>
                      <a:pt x="520" y="165"/>
                    </a:lnTo>
                    <a:lnTo>
                      <a:pt x="520" y="167"/>
                    </a:lnTo>
                    <a:lnTo>
                      <a:pt x="520" y="168"/>
                    </a:lnTo>
                    <a:lnTo>
                      <a:pt x="520" y="170"/>
                    </a:lnTo>
                    <a:lnTo>
                      <a:pt x="519" y="170"/>
                    </a:lnTo>
                    <a:lnTo>
                      <a:pt x="519" y="172"/>
                    </a:lnTo>
                    <a:lnTo>
                      <a:pt x="520" y="172"/>
                    </a:lnTo>
                    <a:lnTo>
                      <a:pt x="520" y="173"/>
                    </a:lnTo>
                    <a:lnTo>
                      <a:pt x="519" y="173"/>
                    </a:lnTo>
                    <a:lnTo>
                      <a:pt x="519" y="175"/>
                    </a:lnTo>
                    <a:lnTo>
                      <a:pt x="519" y="177"/>
                    </a:lnTo>
                    <a:lnTo>
                      <a:pt x="520" y="177"/>
                    </a:lnTo>
                    <a:lnTo>
                      <a:pt x="520" y="178"/>
                    </a:lnTo>
                    <a:lnTo>
                      <a:pt x="519" y="178"/>
                    </a:lnTo>
                    <a:lnTo>
                      <a:pt x="520" y="180"/>
                    </a:lnTo>
                    <a:lnTo>
                      <a:pt x="519" y="180"/>
                    </a:lnTo>
                    <a:lnTo>
                      <a:pt x="517" y="180"/>
                    </a:lnTo>
                    <a:lnTo>
                      <a:pt x="517" y="182"/>
                    </a:lnTo>
                    <a:lnTo>
                      <a:pt x="519" y="184"/>
                    </a:lnTo>
                    <a:lnTo>
                      <a:pt x="517" y="184"/>
                    </a:lnTo>
                    <a:lnTo>
                      <a:pt x="517" y="185"/>
                    </a:lnTo>
                    <a:lnTo>
                      <a:pt x="515" y="185"/>
                    </a:lnTo>
                    <a:lnTo>
                      <a:pt x="515" y="187"/>
                    </a:lnTo>
                    <a:lnTo>
                      <a:pt x="515" y="189"/>
                    </a:lnTo>
                    <a:lnTo>
                      <a:pt x="513" y="189"/>
                    </a:lnTo>
                    <a:lnTo>
                      <a:pt x="513" y="190"/>
                    </a:lnTo>
                    <a:lnTo>
                      <a:pt x="512" y="190"/>
                    </a:lnTo>
                    <a:lnTo>
                      <a:pt x="510" y="190"/>
                    </a:lnTo>
                    <a:lnTo>
                      <a:pt x="510" y="192"/>
                    </a:lnTo>
                    <a:lnTo>
                      <a:pt x="510" y="194"/>
                    </a:lnTo>
                    <a:lnTo>
                      <a:pt x="508" y="194"/>
                    </a:lnTo>
                    <a:lnTo>
                      <a:pt x="510" y="196"/>
                    </a:lnTo>
                    <a:lnTo>
                      <a:pt x="508" y="196"/>
                    </a:lnTo>
                    <a:lnTo>
                      <a:pt x="507" y="196"/>
                    </a:lnTo>
                    <a:lnTo>
                      <a:pt x="508" y="196"/>
                    </a:lnTo>
                    <a:lnTo>
                      <a:pt x="507" y="197"/>
                    </a:lnTo>
                    <a:lnTo>
                      <a:pt x="508" y="197"/>
                    </a:lnTo>
                    <a:lnTo>
                      <a:pt x="507" y="197"/>
                    </a:lnTo>
                    <a:lnTo>
                      <a:pt x="505" y="197"/>
                    </a:lnTo>
                    <a:lnTo>
                      <a:pt x="505" y="199"/>
                    </a:lnTo>
                    <a:lnTo>
                      <a:pt x="503" y="199"/>
                    </a:lnTo>
                    <a:lnTo>
                      <a:pt x="503" y="201"/>
                    </a:lnTo>
                    <a:lnTo>
                      <a:pt x="505" y="201"/>
                    </a:lnTo>
                    <a:lnTo>
                      <a:pt x="505" y="202"/>
                    </a:lnTo>
                    <a:lnTo>
                      <a:pt x="507" y="202"/>
                    </a:lnTo>
                    <a:lnTo>
                      <a:pt x="507" y="204"/>
                    </a:lnTo>
                    <a:lnTo>
                      <a:pt x="505" y="204"/>
                    </a:lnTo>
                    <a:lnTo>
                      <a:pt x="505" y="206"/>
                    </a:lnTo>
                    <a:lnTo>
                      <a:pt x="507" y="206"/>
                    </a:lnTo>
                    <a:lnTo>
                      <a:pt x="507" y="204"/>
                    </a:lnTo>
                    <a:lnTo>
                      <a:pt x="508" y="204"/>
                    </a:lnTo>
                    <a:lnTo>
                      <a:pt x="510" y="204"/>
                    </a:lnTo>
                    <a:lnTo>
                      <a:pt x="512" y="204"/>
                    </a:lnTo>
                    <a:lnTo>
                      <a:pt x="513" y="204"/>
                    </a:lnTo>
                    <a:lnTo>
                      <a:pt x="515" y="204"/>
                    </a:lnTo>
                    <a:lnTo>
                      <a:pt x="517" y="204"/>
                    </a:lnTo>
                    <a:lnTo>
                      <a:pt x="519" y="204"/>
                    </a:lnTo>
                    <a:lnTo>
                      <a:pt x="520" y="204"/>
                    </a:lnTo>
                    <a:lnTo>
                      <a:pt x="522" y="204"/>
                    </a:lnTo>
                    <a:lnTo>
                      <a:pt x="524" y="204"/>
                    </a:lnTo>
                    <a:lnTo>
                      <a:pt x="525" y="204"/>
                    </a:lnTo>
                    <a:lnTo>
                      <a:pt x="527" y="204"/>
                    </a:lnTo>
                    <a:lnTo>
                      <a:pt x="529" y="204"/>
                    </a:lnTo>
                    <a:lnTo>
                      <a:pt x="530" y="204"/>
                    </a:lnTo>
                    <a:lnTo>
                      <a:pt x="532" y="206"/>
                    </a:lnTo>
                    <a:lnTo>
                      <a:pt x="534" y="206"/>
                    </a:lnTo>
                    <a:lnTo>
                      <a:pt x="536" y="206"/>
                    </a:lnTo>
                    <a:lnTo>
                      <a:pt x="537" y="206"/>
                    </a:lnTo>
                    <a:lnTo>
                      <a:pt x="537" y="207"/>
                    </a:lnTo>
                    <a:lnTo>
                      <a:pt x="539" y="207"/>
                    </a:lnTo>
                    <a:lnTo>
                      <a:pt x="541" y="209"/>
                    </a:lnTo>
                    <a:lnTo>
                      <a:pt x="542" y="209"/>
                    </a:lnTo>
                    <a:lnTo>
                      <a:pt x="542" y="211"/>
                    </a:lnTo>
                    <a:lnTo>
                      <a:pt x="544" y="211"/>
                    </a:lnTo>
                    <a:lnTo>
                      <a:pt x="546" y="211"/>
                    </a:lnTo>
                    <a:lnTo>
                      <a:pt x="546" y="209"/>
                    </a:lnTo>
                    <a:lnTo>
                      <a:pt x="547" y="209"/>
                    </a:lnTo>
                    <a:lnTo>
                      <a:pt x="549" y="209"/>
                    </a:lnTo>
                    <a:lnTo>
                      <a:pt x="551" y="211"/>
                    </a:lnTo>
                    <a:lnTo>
                      <a:pt x="553" y="211"/>
                    </a:lnTo>
                    <a:lnTo>
                      <a:pt x="554" y="211"/>
                    </a:lnTo>
                    <a:lnTo>
                      <a:pt x="556" y="213"/>
                    </a:lnTo>
                    <a:lnTo>
                      <a:pt x="558" y="213"/>
                    </a:lnTo>
                    <a:lnTo>
                      <a:pt x="559" y="213"/>
                    </a:lnTo>
                    <a:lnTo>
                      <a:pt x="559" y="211"/>
                    </a:lnTo>
                    <a:lnTo>
                      <a:pt x="561" y="211"/>
                    </a:lnTo>
                    <a:lnTo>
                      <a:pt x="561" y="209"/>
                    </a:lnTo>
                    <a:lnTo>
                      <a:pt x="563" y="209"/>
                    </a:lnTo>
                    <a:lnTo>
                      <a:pt x="564" y="209"/>
                    </a:lnTo>
                    <a:lnTo>
                      <a:pt x="564" y="211"/>
                    </a:lnTo>
                    <a:lnTo>
                      <a:pt x="566" y="211"/>
                    </a:lnTo>
                    <a:lnTo>
                      <a:pt x="568" y="213"/>
                    </a:lnTo>
                    <a:lnTo>
                      <a:pt x="570" y="213"/>
                    </a:lnTo>
                    <a:lnTo>
                      <a:pt x="570" y="211"/>
                    </a:lnTo>
                    <a:lnTo>
                      <a:pt x="571" y="211"/>
                    </a:lnTo>
                    <a:lnTo>
                      <a:pt x="573" y="211"/>
                    </a:lnTo>
                    <a:lnTo>
                      <a:pt x="575" y="211"/>
                    </a:lnTo>
                    <a:lnTo>
                      <a:pt x="576" y="211"/>
                    </a:lnTo>
                    <a:lnTo>
                      <a:pt x="576" y="213"/>
                    </a:lnTo>
                    <a:lnTo>
                      <a:pt x="578" y="213"/>
                    </a:lnTo>
                    <a:lnTo>
                      <a:pt x="578" y="214"/>
                    </a:lnTo>
                    <a:lnTo>
                      <a:pt x="581" y="216"/>
                    </a:lnTo>
                    <a:lnTo>
                      <a:pt x="581" y="214"/>
                    </a:lnTo>
                    <a:lnTo>
                      <a:pt x="583" y="214"/>
                    </a:lnTo>
                    <a:lnTo>
                      <a:pt x="583" y="213"/>
                    </a:lnTo>
                    <a:lnTo>
                      <a:pt x="585" y="211"/>
                    </a:lnTo>
                    <a:lnTo>
                      <a:pt x="583" y="211"/>
                    </a:lnTo>
                    <a:lnTo>
                      <a:pt x="583" y="209"/>
                    </a:lnTo>
                    <a:lnTo>
                      <a:pt x="585" y="209"/>
                    </a:lnTo>
                    <a:lnTo>
                      <a:pt x="587" y="209"/>
                    </a:lnTo>
                    <a:lnTo>
                      <a:pt x="587" y="207"/>
                    </a:lnTo>
                    <a:lnTo>
                      <a:pt x="588" y="206"/>
                    </a:lnTo>
                    <a:lnTo>
                      <a:pt x="590" y="206"/>
                    </a:lnTo>
                    <a:lnTo>
                      <a:pt x="592" y="206"/>
                    </a:lnTo>
                    <a:lnTo>
                      <a:pt x="593" y="206"/>
                    </a:lnTo>
                    <a:lnTo>
                      <a:pt x="595" y="207"/>
                    </a:lnTo>
                    <a:lnTo>
                      <a:pt x="597" y="206"/>
                    </a:lnTo>
                    <a:lnTo>
                      <a:pt x="598" y="207"/>
                    </a:lnTo>
                    <a:lnTo>
                      <a:pt x="598" y="209"/>
                    </a:lnTo>
                    <a:lnTo>
                      <a:pt x="600" y="209"/>
                    </a:lnTo>
                    <a:lnTo>
                      <a:pt x="600" y="211"/>
                    </a:lnTo>
                    <a:lnTo>
                      <a:pt x="602" y="211"/>
                    </a:lnTo>
                    <a:lnTo>
                      <a:pt x="604" y="209"/>
                    </a:lnTo>
                    <a:lnTo>
                      <a:pt x="604" y="207"/>
                    </a:lnTo>
                    <a:lnTo>
                      <a:pt x="605" y="207"/>
                    </a:lnTo>
                    <a:lnTo>
                      <a:pt x="607" y="207"/>
                    </a:lnTo>
                    <a:lnTo>
                      <a:pt x="607" y="206"/>
                    </a:lnTo>
                    <a:lnTo>
                      <a:pt x="607" y="204"/>
                    </a:lnTo>
                    <a:lnTo>
                      <a:pt x="609" y="204"/>
                    </a:lnTo>
                    <a:lnTo>
                      <a:pt x="609" y="202"/>
                    </a:lnTo>
                    <a:lnTo>
                      <a:pt x="607" y="202"/>
                    </a:lnTo>
                    <a:lnTo>
                      <a:pt x="607" y="201"/>
                    </a:lnTo>
                    <a:lnTo>
                      <a:pt x="607" y="199"/>
                    </a:lnTo>
                    <a:lnTo>
                      <a:pt x="609" y="201"/>
                    </a:lnTo>
                    <a:lnTo>
                      <a:pt x="609" y="199"/>
                    </a:lnTo>
                    <a:lnTo>
                      <a:pt x="609" y="197"/>
                    </a:lnTo>
                    <a:lnTo>
                      <a:pt x="610" y="197"/>
                    </a:lnTo>
                    <a:lnTo>
                      <a:pt x="612" y="197"/>
                    </a:lnTo>
                    <a:lnTo>
                      <a:pt x="612" y="196"/>
                    </a:lnTo>
                    <a:lnTo>
                      <a:pt x="612" y="194"/>
                    </a:lnTo>
                    <a:lnTo>
                      <a:pt x="614" y="194"/>
                    </a:lnTo>
                    <a:lnTo>
                      <a:pt x="615" y="192"/>
                    </a:lnTo>
                    <a:lnTo>
                      <a:pt x="617" y="192"/>
                    </a:lnTo>
                    <a:lnTo>
                      <a:pt x="619" y="190"/>
                    </a:lnTo>
                    <a:lnTo>
                      <a:pt x="621" y="192"/>
                    </a:lnTo>
                    <a:lnTo>
                      <a:pt x="622" y="192"/>
                    </a:lnTo>
                    <a:lnTo>
                      <a:pt x="622" y="190"/>
                    </a:lnTo>
                    <a:lnTo>
                      <a:pt x="622" y="189"/>
                    </a:lnTo>
                    <a:lnTo>
                      <a:pt x="624" y="187"/>
                    </a:lnTo>
                    <a:lnTo>
                      <a:pt x="626" y="185"/>
                    </a:lnTo>
                    <a:lnTo>
                      <a:pt x="627" y="185"/>
                    </a:lnTo>
                    <a:lnTo>
                      <a:pt x="629" y="185"/>
                    </a:lnTo>
                    <a:lnTo>
                      <a:pt x="629" y="184"/>
                    </a:lnTo>
                    <a:lnTo>
                      <a:pt x="629" y="182"/>
                    </a:lnTo>
                    <a:lnTo>
                      <a:pt x="631" y="180"/>
                    </a:lnTo>
                    <a:lnTo>
                      <a:pt x="632" y="180"/>
                    </a:lnTo>
                    <a:lnTo>
                      <a:pt x="632" y="182"/>
                    </a:lnTo>
                    <a:lnTo>
                      <a:pt x="634" y="180"/>
                    </a:lnTo>
                    <a:lnTo>
                      <a:pt x="634" y="178"/>
                    </a:lnTo>
                    <a:lnTo>
                      <a:pt x="634" y="177"/>
                    </a:lnTo>
                    <a:lnTo>
                      <a:pt x="634" y="175"/>
                    </a:lnTo>
                    <a:lnTo>
                      <a:pt x="636" y="175"/>
                    </a:lnTo>
                    <a:lnTo>
                      <a:pt x="636" y="173"/>
                    </a:lnTo>
                    <a:lnTo>
                      <a:pt x="638" y="173"/>
                    </a:lnTo>
                    <a:lnTo>
                      <a:pt x="638" y="172"/>
                    </a:lnTo>
                    <a:lnTo>
                      <a:pt x="638" y="170"/>
                    </a:lnTo>
                    <a:lnTo>
                      <a:pt x="638" y="168"/>
                    </a:lnTo>
                    <a:lnTo>
                      <a:pt x="639" y="168"/>
                    </a:lnTo>
                    <a:lnTo>
                      <a:pt x="639" y="167"/>
                    </a:lnTo>
                    <a:lnTo>
                      <a:pt x="638" y="165"/>
                    </a:lnTo>
                    <a:lnTo>
                      <a:pt x="639" y="165"/>
                    </a:lnTo>
                    <a:lnTo>
                      <a:pt x="641" y="165"/>
                    </a:lnTo>
                    <a:lnTo>
                      <a:pt x="641" y="163"/>
                    </a:lnTo>
                    <a:lnTo>
                      <a:pt x="639" y="163"/>
                    </a:lnTo>
                    <a:lnTo>
                      <a:pt x="639" y="161"/>
                    </a:lnTo>
                    <a:lnTo>
                      <a:pt x="639" y="160"/>
                    </a:lnTo>
                    <a:lnTo>
                      <a:pt x="639" y="158"/>
                    </a:lnTo>
                    <a:lnTo>
                      <a:pt x="638" y="156"/>
                    </a:lnTo>
                    <a:lnTo>
                      <a:pt x="639" y="155"/>
                    </a:lnTo>
                    <a:lnTo>
                      <a:pt x="641" y="155"/>
                    </a:lnTo>
                    <a:lnTo>
                      <a:pt x="641" y="153"/>
                    </a:lnTo>
                    <a:lnTo>
                      <a:pt x="641" y="151"/>
                    </a:lnTo>
                    <a:lnTo>
                      <a:pt x="641" y="150"/>
                    </a:lnTo>
                    <a:lnTo>
                      <a:pt x="641" y="148"/>
                    </a:lnTo>
                    <a:lnTo>
                      <a:pt x="639" y="148"/>
                    </a:lnTo>
                    <a:lnTo>
                      <a:pt x="639" y="146"/>
                    </a:lnTo>
                    <a:lnTo>
                      <a:pt x="639" y="144"/>
                    </a:lnTo>
                    <a:lnTo>
                      <a:pt x="639" y="143"/>
                    </a:lnTo>
                    <a:lnTo>
                      <a:pt x="641" y="143"/>
                    </a:lnTo>
                    <a:lnTo>
                      <a:pt x="641" y="141"/>
                    </a:lnTo>
                    <a:lnTo>
                      <a:pt x="643" y="141"/>
                    </a:lnTo>
                    <a:lnTo>
                      <a:pt x="643" y="139"/>
                    </a:lnTo>
                    <a:lnTo>
                      <a:pt x="643" y="141"/>
                    </a:lnTo>
                    <a:lnTo>
                      <a:pt x="644" y="141"/>
                    </a:lnTo>
                    <a:lnTo>
                      <a:pt x="646" y="143"/>
                    </a:lnTo>
                    <a:lnTo>
                      <a:pt x="646" y="144"/>
                    </a:lnTo>
                    <a:lnTo>
                      <a:pt x="648" y="144"/>
                    </a:lnTo>
                    <a:lnTo>
                      <a:pt x="646" y="143"/>
                    </a:lnTo>
                    <a:lnTo>
                      <a:pt x="648" y="143"/>
                    </a:lnTo>
                    <a:lnTo>
                      <a:pt x="648" y="141"/>
                    </a:lnTo>
                    <a:lnTo>
                      <a:pt x="649" y="141"/>
                    </a:lnTo>
                    <a:lnTo>
                      <a:pt x="649" y="139"/>
                    </a:lnTo>
                    <a:lnTo>
                      <a:pt x="651" y="139"/>
                    </a:lnTo>
                    <a:lnTo>
                      <a:pt x="653" y="141"/>
                    </a:lnTo>
                    <a:lnTo>
                      <a:pt x="653" y="139"/>
                    </a:lnTo>
                    <a:lnTo>
                      <a:pt x="655" y="139"/>
                    </a:lnTo>
                    <a:lnTo>
                      <a:pt x="655" y="138"/>
                    </a:lnTo>
                    <a:lnTo>
                      <a:pt x="656" y="138"/>
                    </a:lnTo>
                    <a:lnTo>
                      <a:pt x="658" y="136"/>
                    </a:lnTo>
                    <a:lnTo>
                      <a:pt x="658" y="138"/>
                    </a:lnTo>
                    <a:lnTo>
                      <a:pt x="658" y="139"/>
                    </a:lnTo>
                    <a:lnTo>
                      <a:pt x="656" y="139"/>
                    </a:lnTo>
                    <a:lnTo>
                      <a:pt x="658" y="141"/>
                    </a:lnTo>
                    <a:lnTo>
                      <a:pt x="658" y="139"/>
                    </a:lnTo>
                    <a:lnTo>
                      <a:pt x="660" y="139"/>
                    </a:lnTo>
                    <a:lnTo>
                      <a:pt x="661" y="139"/>
                    </a:lnTo>
                    <a:lnTo>
                      <a:pt x="661" y="141"/>
                    </a:lnTo>
                    <a:lnTo>
                      <a:pt x="663" y="141"/>
                    </a:lnTo>
                    <a:lnTo>
                      <a:pt x="661" y="141"/>
                    </a:lnTo>
                    <a:lnTo>
                      <a:pt x="663" y="141"/>
                    </a:lnTo>
                    <a:lnTo>
                      <a:pt x="663" y="143"/>
                    </a:lnTo>
                    <a:lnTo>
                      <a:pt x="663" y="141"/>
                    </a:lnTo>
                    <a:lnTo>
                      <a:pt x="665" y="141"/>
                    </a:lnTo>
                    <a:lnTo>
                      <a:pt x="665" y="143"/>
                    </a:lnTo>
                    <a:lnTo>
                      <a:pt x="665" y="141"/>
                    </a:lnTo>
                    <a:lnTo>
                      <a:pt x="665" y="143"/>
                    </a:lnTo>
                    <a:lnTo>
                      <a:pt x="666" y="143"/>
                    </a:lnTo>
                    <a:lnTo>
                      <a:pt x="666" y="144"/>
                    </a:lnTo>
                    <a:lnTo>
                      <a:pt x="665" y="144"/>
                    </a:lnTo>
                    <a:lnTo>
                      <a:pt x="666" y="144"/>
                    </a:lnTo>
                    <a:lnTo>
                      <a:pt x="665" y="144"/>
                    </a:lnTo>
                    <a:lnTo>
                      <a:pt x="666" y="144"/>
                    </a:lnTo>
                    <a:lnTo>
                      <a:pt x="666" y="146"/>
                    </a:lnTo>
                    <a:lnTo>
                      <a:pt x="666" y="148"/>
                    </a:lnTo>
                    <a:lnTo>
                      <a:pt x="668" y="150"/>
                    </a:lnTo>
                    <a:lnTo>
                      <a:pt x="666" y="150"/>
                    </a:lnTo>
                    <a:lnTo>
                      <a:pt x="666" y="151"/>
                    </a:lnTo>
                    <a:lnTo>
                      <a:pt x="668" y="151"/>
                    </a:lnTo>
                    <a:lnTo>
                      <a:pt x="666" y="153"/>
                    </a:lnTo>
                    <a:lnTo>
                      <a:pt x="668" y="153"/>
                    </a:lnTo>
                    <a:lnTo>
                      <a:pt x="666" y="153"/>
                    </a:lnTo>
                    <a:lnTo>
                      <a:pt x="666" y="155"/>
                    </a:lnTo>
                    <a:lnTo>
                      <a:pt x="668" y="155"/>
                    </a:lnTo>
                    <a:lnTo>
                      <a:pt x="668" y="156"/>
                    </a:lnTo>
                    <a:lnTo>
                      <a:pt x="670" y="158"/>
                    </a:lnTo>
                    <a:lnTo>
                      <a:pt x="670" y="160"/>
                    </a:lnTo>
                    <a:lnTo>
                      <a:pt x="672" y="161"/>
                    </a:lnTo>
                    <a:lnTo>
                      <a:pt x="673" y="163"/>
                    </a:lnTo>
                    <a:lnTo>
                      <a:pt x="673" y="165"/>
                    </a:lnTo>
                    <a:lnTo>
                      <a:pt x="673" y="167"/>
                    </a:lnTo>
                    <a:lnTo>
                      <a:pt x="673" y="168"/>
                    </a:lnTo>
                    <a:lnTo>
                      <a:pt x="672" y="168"/>
                    </a:lnTo>
                    <a:lnTo>
                      <a:pt x="672" y="170"/>
                    </a:lnTo>
                    <a:lnTo>
                      <a:pt x="672" y="172"/>
                    </a:lnTo>
                    <a:lnTo>
                      <a:pt x="672" y="173"/>
                    </a:lnTo>
                    <a:lnTo>
                      <a:pt x="672" y="175"/>
                    </a:lnTo>
                    <a:lnTo>
                      <a:pt x="670" y="175"/>
                    </a:lnTo>
                    <a:lnTo>
                      <a:pt x="672" y="175"/>
                    </a:lnTo>
                    <a:lnTo>
                      <a:pt x="670" y="177"/>
                    </a:lnTo>
                    <a:lnTo>
                      <a:pt x="672" y="177"/>
                    </a:lnTo>
                    <a:lnTo>
                      <a:pt x="670" y="177"/>
                    </a:lnTo>
                    <a:lnTo>
                      <a:pt x="670" y="178"/>
                    </a:lnTo>
                    <a:lnTo>
                      <a:pt x="670" y="180"/>
                    </a:lnTo>
                    <a:lnTo>
                      <a:pt x="672" y="180"/>
                    </a:lnTo>
                    <a:lnTo>
                      <a:pt x="670" y="182"/>
                    </a:lnTo>
                    <a:lnTo>
                      <a:pt x="672" y="182"/>
                    </a:lnTo>
                    <a:lnTo>
                      <a:pt x="670" y="182"/>
                    </a:lnTo>
                    <a:lnTo>
                      <a:pt x="670" y="184"/>
                    </a:lnTo>
                    <a:lnTo>
                      <a:pt x="670" y="182"/>
                    </a:lnTo>
                    <a:lnTo>
                      <a:pt x="670" y="184"/>
                    </a:lnTo>
                    <a:lnTo>
                      <a:pt x="672" y="184"/>
                    </a:lnTo>
                    <a:lnTo>
                      <a:pt x="670" y="185"/>
                    </a:lnTo>
                    <a:lnTo>
                      <a:pt x="672" y="185"/>
                    </a:lnTo>
                    <a:lnTo>
                      <a:pt x="672" y="187"/>
                    </a:lnTo>
                    <a:lnTo>
                      <a:pt x="673" y="189"/>
                    </a:lnTo>
                    <a:lnTo>
                      <a:pt x="672" y="189"/>
                    </a:lnTo>
                    <a:lnTo>
                      <a:pt x="672" y="190"/>
                    </a:lnTo>
                    <a:lnTo>
                      <a:pt x="672" y="192"/>
                    </a:lnTo>
                    <a:lnTo>
                      <a:pt x="672" y="190"/>
                    </a:lnTo>
                    <a:lnTo>
                      <a:pt x="672" y="192"/>
                    </a:lnTo>
                    <a:lnTo>
                      <a:pt x="670" y="192"/>
                    </a:lnTo>
                    <a:lnTo>
                      <a:pt x="672" y="194"/>
                    </a:lnTo>
                    <a:lnTo>
                      <a:pt x="670" y="194"/>
                    </a:lnTo>
                    <a:lnTo>
                      <a:pt x="670" y="196"/>
                    </a:lnTo>
                    <a:lnTo>
                      <a:pt x="668" y="194"/>
                    </a:lnTo>
                    <a:lnTo>
                      <a:pt x="668" y="196"/>
                    </a:lnTo>
                    <a:lnTo>
                      <a:pt x="670" y="196"/>
                    </a:lnTo>
                    <a:lnTo>
                      <a:pt x="668" y="196"/>
                    </a:lnTo>
                    <a:lnTo>
                      <a:pt x="668" y="197"/>
                    </a:lnTo>
                    <a:lnTo>
                      <a:pt x="668" y="196"/>
                    </a:lnTo>
                    <a:lnTo>
                      <a:pt x="668" y="197"/>
                    </a:lnTo>
                    <a:lnTo>
                      <a:pt x="668" y="199"/>
                    </a:lnTo>
                    <a:lnTo>
                      <a:pt x="666" y="199"/>
                    </a:lnTo>
                    <a:lnTo>
                      <a:pt x="668" y="199"/>
                    </a:lnTo>
                    <a:lnTo>
                      <a:pt x="666" y="199"/>
                    </a:lnTo>
                    <a:lnTo>
                      <a:pt x="666" y="201"/>
                    </a:lnTo>
                    <a:lnTo>
                      <a:pt x="666" y="199"/>
                    </a:lnTo>
                    <a:lnTo>
                      <a:pt x="665" y="199"/>
                    </a:lnTo>
                    <a:lnTo>
                      <a:pt x="665" y="201"/>
                    </a:lnTo>
                    <a:lnTo>
                      <a:pt x="663" y="199"/>
                    </a:lnTo>
                    <a:lnTo>
                      <a:pt x="663" y="201"/>
                    </a:lnTo>
                    <a:lnTo>
                      <a:pt x="661" y="201"/>
                    </a:lnTo>
                    <a:lnTo>
                      <a:pt x="661" y="202"/>
                    </a:lnTo>
                    <a:lnTo>
                      <a:pt x="660" y="202"/>
                    </a:lnTo>
                    <a:lnTo>
                      <a:pt x="660" y="204"/>
                    </a:lnTo>
                    <a:lnTo>
                      <a:pt x="658" y="204"/>
                    </a:lnTo>
                    <a:lnTo>
                      <a:pt x="658" y="206"/>
                    </a:lnTo>
                    <a:lnTo>
                      <a:pt x="656" y="206"/>
                    </a:lnTo>
                    <a:lnTo>
                      <a:pt x="656" y="204"/>
                    </a:lnTo>
                    <a:lnTo>
                      <a:pt x="655" y="204"/>
                    </a:lnTo>
                    <a:lnTo>
                      <a:pt x="655" y="206"/>
                    </a:lnTo>
                    <a:lnTo>
                      <a:pt x="655" y="207"/>
                    </a:lnTo>
                    <a:lnTo>
                      <a:pt x="653" y="209"/>
                    </a:lnTo>
                    <a:lnTo>
                      <a:pt x="653" y="211"/>
                    </a:lnTo>
                    <a:lnTo>
                      <a:pt x="651" y="211"/>
                    </a:lnTo>
                    <a:lnTo>
                      <a:pt x="651" y="209"/>
                    </a:lnTo>
                    <a:lnTo>
                      <a:pt x="649" y="209"/>
                    </a:lnTo>
                    <a:lnTo>
                      <a:pt x="649" y="211"/>
                    </a:lnTo>
                    <a:lnTo>
                      <a:pt x="648" y="211"/>
                    </a:lnTo>
                    <a:lnTo>
                      <a:pt x="648" y="209"/>
                    </a:lnTo>
                    <a:lnTo>
                      <a:pt x="646" y="209"/>
                    </a:lnTo>
                    <a:lnTo>
                      <a:pt x="646" y="211"/>
                    </a:lnTo>
                    <a:lnTo>
                      <a:pt x="646" y="213"/>
                    </a:lnTo>
                    <a:lnTo>
                      <a:pt x="644" y="213"/>
                    </a:lnTo>
                    <a:lnTo>
                      <a:pt x="643" y="213"/>
                    </a:lnTo>
                    <a:lnTo>
                      <a:pt x="643" y="211"/>
                    </a:lnTo>
                    <a:lnTo>
                      <a:pt x="641" y="211"/>
                    </a:lnTo>
                    <a:lnTo>
                      <a:pt x="641" y="213"/>
                    </a:lnTo>
                    <a:lnTo>
                      <a:pt x="641" y="214"/>
                    </a:lnTo>
                    <a:lnTo>
                      <a:pt x="639" y="214"/>
                    </a:lnTo>
                    <a:lnTo>
                      <a:pt x="639" y="213"/>
                    </a:lnTo>
                    <a:lnTo>
                      <a:pt x="638" y="213"/>
                    </a:lnTo>
                    <a:lnTo>
                      <a:pt x="638" y="214"/>
                    </a:lnTo>
                    <a:lnTo>
                      <a:pt x="639" y="214"/>
                    </a:lnTo>
                    <a:lnTo>
                      <a:pt x="638" y="216"/>
                    </a:lnTo>
                    <a:lnTo>
                      <a:pt x="638" y="214"/>
                    </a:lnTo>
                    <a:lnTo>
                      <a:pt x="636" y="214"/>
                    </a:lnTo>
                    <a:lnTo>
                      <a:pt x="636" y="216"/>
                    </a:lnTo>
                    <a:lnTo>
                      <a:pt x="634" y="216"/>
                    </a:lnTo>
                    <a:lnTo>
                      <a:pt x="634" y="214"/>
                    </a:lnTo>
                    <a:lnTo>
                      <a:pt x="632" y="216"/>
                    </a:lnTo>
                    <a:lnTo>
                      <a:pt x="632" y="218"/>
                    </a:lnTo>
                    <a:lnTo>
                      <a:pt x="631" y="218"/>
                    </a:lnTo>
                    <a:lnTo>
                      <a:pt x="631" y="219"/>
                    </a:lnTo>
                    <a:lnTo>
                      <a:pt x="631" y="221"/>
                    </a:lnTo>
                    <a:lnTo>
                      <a:pt x="631" y="223"/>
                    </a:lnTo>
                    <a:lnTo>
                      <a:pt x="629" y="223"/>
                    </a:lnTo>
                    <a:lnTo>
                      <a:pt x="627" y="223"/>
                    </a:lnTo>
                    <a:lnTo>
                      <a:pt x="627" y="224"/>
                    </a:lnTo>
                    <a:lnTo>
                      <a:pt x="626" y="223"/>
                    </a:lnTo>
                    <a:lnTo>
                      <a:pt x="624" y="223"/>
                    </a:lnTo>
                    <a:lnTo>
                      <a:pt x="624" y="224"/>
                    </a:lnTo>
                    <a:lnTo>
                      <a:pt x="626" y="224"/>
                    </a:lnTo>
                    <a:lnTo>
                      <a:pt x="627" y="224"/>
                    </a:lnTo>
                    <a:lnTo>
                      <a:pt x="626" y="226"/>
                    </a:lnTo>
                    <a:lnTo>
                      <a:pt x="624" y="226"/>
                    </a:lnTo>
                    <a:lnTo>
                      <a:pt x="624" y="228"/>
                    </a:lnTo>
                    <a:lnTo>
                      <a:pt x="622" y="228"/>
                    </a:lnTo>
                    <a:lnTo>
                      <a:pt x="622" y="226"/>
                    </a:lnTo>
                    <a:lnTo>
                      <a:pt x="621" y="226"/>
                    </a:lnTo>
                    <a:lnTo>
                      <a:pt x="621" y="228"/>
                    </a:lnTo>
                    <a:lnTo>
                      <a:pt x="619" y="228"/>
                    </a:lnTo>
                    <a:lnTo>
                      <a:pt x="619" y="230"/>
                    </a:lnTo>
                    <a:lnTo>
                      <a:pt x="617" y="228"/>
                    </a:lnTo>
                    <a:lnTo>
                      <a:pt x="615" y="230"/>
                    </a:lnTo>
                    <a:lnTo>
                      <a:pt x="615" y="231"/>
                    </a:lnTo>
                    <a:lnTo>
                      <a:pt x="614" y="231"/>
                    </a:lnTo>
                    <a:lnTo>
                      <a:pt x="615" y="233"/>
                    </a:lnTo>
                    <a:lnTo>
                      <a:pt x="614" y="233"/>
                    </a:lnTo>
                    <a:lnTo>
                      <a:pt x="612" y="235"/>
                    </a:lnTo>
                    <a:lnTo>
                      <a:pt x="610" y="235"/>
                    </a:lnTo>
                    <a:lnTo>
                      <a:pt x="610" y="236"/>
                    </a:lnTo>
                    <a:lnTo>
                      <a:pt x="609" y="236"/>
                    </a:lnTo>
                    <a:lnTo>
                      <a:pt x="609" y="238"/>
                    </a:lnTo>
                    <a:lnTo>
                      <a:pt x="607" y="238"/>
                    </a:lnTo>
                    <a:lnTo>
                      <a:pt x="607" y="236"/>
                    </a:lnTo>
                    <a:lnTo>
                      <a:pt x="607" y="238"/>
                    </a:lnTo>
                    <a:lnTo>
                      <a:pt x="605" y="238"/>
                    </a:lnTo>
                    <a:lnTo>
                      <a:pt x="605" y="240"/>
                    </a:lnTo>
                    <a:lnTo>
                      <a:pt x="604" y="240"/>
                    </a:lnTo>
                    <a:lnTo>
                      <a:pt x="602" y="240"/>
                    </a:lnTo>
                    <a:lnTo>
                      <a:pt x="602" y="241"/>
                    </a:lnTo>
                    <a:lnTo>
                      <a:pt x="602" y="243"/>
                    </a:lnTo>
                    <a:lnTo>
                      <a:pt x="604" y="243"/>
                    </a:lnTo>
                    <a:lnTo>
                      <a:pt x="605" y="243"/>
                    </a:lnTo>
                    <a:lnTo>
                      <a:pt x="605" y="245"/>
                    </a:lnTo>
                    <a:lnTo>
                      <a:pt x="604" y="247"/>
                    </a:lnTo>
                    <a:lnTo>
                      <a:pt x="604" y="248"/>
                    </a:lnTo>
                    <a:lnTo>
                      <a:pt x="604" y="247"/>
                    </a:lnTo>
                    <a:lnTo>
                      <a:pt x="602" y="245"/>
                    </a:lnTo>
                    <a:lnTo>
                      <a:pt x="600" y="245"/>
                    </a:lnTo>
                    <a:lnTo>
                      <a:pt x="598" y="245"/>
                    </a:lnTo>
                    <a:lnTo>
                      <a:pt x="597" y="247"/>
                    </a:lnTo>
                    <a:lnTo>
                      <a:pt x="597" y="248"/>
                    </a:lnTo>
                    <a:lnTo>
                      <a:pt x="598" y="250"/>
                    </a:lnTo>
                    <a:lnTo>
                      <a:pt x="597" y="250"/>
                    </a:lnTo>
                    <a:lnTo>
                      <a:pt x="595" y="250"/>
                    </a:lnTo>
                    <a:lnTo>
                      <a:pt x="593" y="250"/>
                    </a:lnTo>
                    <a:lnTo>
                      <a:pt x="593" y="252"/>
                    </a:lnTo>
                    <a:lnTo>
                      <a:pt x="593" y="253"/>
                    </a:lnTo>
                    <a:lnTo>
                      <a:pt x="593" y="255"/>
                    </a:lnTo>
                    <a:lnTo>
                      <a:pt x="592" y="255"/>
                    </a:lnTo>
                    <a:lnTo>
                      <a:pt x="592" y="257"/>
                    </a:lnTo>
                    <a:lnTo>
                      <a:pt x="590" y="257"/>
                    </a:lnTo>
                    <a:lnTo>
                      <a:pt x="590" y="258"/>
                    </a:lnTo>
                    <a:lnTo>
                      <a:pt x="588" y="258"/>
                    </a:lnTo>
                    <a:lnTo>
                      <a:pt x="588" y="260"/>
                    </a:lnTo>
                    <a:lnTo>
                      <a:pt x="587" y="262"/>
                    </a:lnTo>
                    <a:lnTo>
                      <a:pt x="585" y="262"/>
                    </a:lnTo>
                    <a:lnTo>
                      <a:pt x="583" y="262"/>
                    </a:lnTo>
                    <a:lnTo>
                      <a:pt x="583" y="264"/>
                    </a:lnTo>
                    <a:lnTo>
                      <a:pt x="583" y="265"/>
                    </a:lnTo>
                    <a:lnTo>
                      <a:pt x="583" y="267"/>
                    </a:lnTo>
                    <a:lnTo>
                      <a:pt x="581" y="267"/>
                    </a:lnTo>
                    <a:lnTo>
                      <a:pt x="581" y="269"/>
                    </a:lnTo>
                    <a:lnTo>
                      <a:pt x="580" y="269"/>
                    </a:lnTo>
                    <a:lnTo>
                      <a:pt x="580" y="270"/>
                    </a:lnTo>
                    <a:lnTo>
                      <a:pt x="580" y="272"/>
                    </a:lnTo>
                    <a:lnTo>
                      <a:pt x="580" y="274"/>
                    </a:lnTo>
                    <a:lnTo>
                      <a:pt x="576" y="274"/>
                    </a:lnTo>
                    <a:lnTo>
                      <a:pt x="575" y="274"/>
                    </a:lnTo>
                    <a:lnTo>
                      <a:pt x="575" y="275"/>
                    </a:lnTo>
                    <a:lnTo>
                      <a:pt x="573" y="275"/>
                    </a:lnTo>
                    <a:lnTo>
                      <a:pt x="573" y="277"/>
                    </a:lnTo>
                    <a:lnTo>
                      <a:pt x="571" y="277"/>
                    </a:lnTo>
                    <a:lnTo>
                      <a:pt x="571" y="279"/>
                    </a:lnTo>
                    <a:lnTo>
                      <a:pt x="571" y="281"/>
                    </a:lnTo>
                    <a:lnTo>
                      <a:pt x="570" y="284"/>
                    </a:lnTo>
                    <a:lnTo>
                      <a:pt x="568" y="284"/>
                    </a:lnTo>
                    <a:lnTo>
                      <a:pt x="568" y="286"/>
                    </a:lnTo>
                    <a:lnTo>
                      <a:pt x="568" y="287"/>
                    </a:lnTo>
                    <a:lnTo>
                      <a:pt x="566" y="287"/>
                    </a:lnTo>
                    <a:lnTo>
                      <a:pt x="566" y="289"/>
                    </a:lnTo>
                    <a:lnTo>
                      <a:pt x="564" y="289"/>
                    </a:lnTo>
                    <a:lnTo>
                      <a:pt x="564" y="291"/>
                    </a:lnTo>
                    <a:lnTo>
                      <a:pt x="563" y="291"/>
                    </a:lnTo>
                    <a:lnTo>
                      <a:pt x="563" y="292"/>
                    </a:lnTo>
                    <a:lnTo>
                      <a:pt x="561" y="292"/>
                    </a:lnTo>
                    <a:lnTo>
                      <a:pt x="561" y="294"/>
                    </a:lnTo>
                    <a:lnTo>
                      <a:pt x="561" y="296"/>
                    </a:lnTo>
                    <a:lnTo>
                      <a:pt x="559" y="296"/>
                    </a:lnTo>
                    <a:lnTo>
                      <a:pt x="559" y="298"/>
                    </a:lnTo>
                    <a:lnTo>
                      <a:pt x="558" y="298"/>
                    </a:lnTo>
                    <a:lnTo>
                      <a:pt x="558" y="299"/>
                    </a:lnTo>
                    <a:lnTo>
                      <a:pt x="556" y="299"/>
                    </a:lnTo>
                    <a:lnTo>
                      <a:pt x="554" y="301"/>
                    </a:lnTo>
                    <a:lnTo>
                      <a:pt x="553" y="299"/>
                    </a:lnTo>
                    <a:lnTo>
                      <a:pt x="553" y="301"/>
                    </a:lnTo>
                    <a:lnTo>
                      <a:pt x="551" y="301"/>
                    </a:lnTo>
                    <a:lnTo>
                      <a:pt x="549" y="303"/>
                    </a:lnTo>
                    <a:lnTo>
                      <a:pt x="549" y="304"/>
                    </a:lnTo>
                    <a:lnTo>
                      <a:pt x="549" y="306"/>
                    </a:lnTo>
                    <a:lnTo>
                      <a:pt x="549" y="308"/>
                    </a:lnTo>
                    <a:lnTo>
                      <a:pt x="549" y="309"/>
                    </a:lnTo>
                    <a:lnTo>
                      <a:pt x="547" y="309"/>
                    </a:lnTo>
                    <a:lnTo>
                      <a:pt x="546" y="309"/>
                    </a:lnTo>
                    <a:lnTo>
                      <a:pt x="546" y="311"/>
                    </a:lnTo>
                    <a:lnTo>
                      <a:pt x="544" y="311"/>
                    </a:lnTo>
                    <a:lnTo>
                      <a:pt x="544" y="313"/>
                    </a:lnTo>
                    <a:lnTo>
                      <a:pt x="542" y="315"/>
                    </a:lnTo>
                    <a:lnTo>
                      <a:pt x="541" y="316"/>
                    </a:lnTo>
                    <a:lnTo>
                      <a:pt x="539" y="316"/>
                    </a:lnTo>
                    <a:lnTo>
                      <a:pt x="537" y="316"/>
                    </a:lnTo>
                    <a:lnTo>
                      <a:pt x="539" y="316"/>
                    </a:lnTo>
                    <a:lnTo>
                      <a:pt x="539" y="318"/>
                    </a:lnTo>
                    <a:lnTo>
                      <a:pt x="539" y="320"/>
                    </a:lnTo>
                    <a:lnTo>
                      <a:pt x="539" y="321"/>
                    </a:lnTo>
                    <a:lnTo>
                      <a:pt x="539" y="323"/>
                    </a:lnTo>
                    <a:lnTo>
                      <a:pt x="537" y="323"/>
                    </a:lnTo>
                    <a:lnTo>
                      <a:pt x="536" y="325"/>
                    </a:lnTo>
                    <a:lnTo>
                      <a:pt x="534" y="325"/>
                    </a:lnTo>
                    <a:lnTo>
                      <a:pt x="534" y="326"/>
                    </a:lnTo>
                    <a:lnTo>
                      <a:pt x="532" y="326"/>
                    </a:lnTo>
                    <a:lnTo>
                      <a:pt x="530" y="326"/>
                    </a:lnTo>
                    <a:lnTo>
                      <a:pt x="530" y="328"/>
                    </a:lnTo>
                    <a:lnTo>
                      <a:pt x="530" y="330"/>
                    </a:lnTo>
                    <a:lnTo>
                      <a:pt x="530" y="332"/>
                    </a:lnTo>
                    <a:lnTo>
                      <a:pt x="532" y="333"/>
                    </a:lnTo>
                    <a:lnTo>
                      <a:pt x="532" y="335"/>
                    </a:lnTo>
                    <a:lnTo>
                      <a:pt x="532" y="337"/>
                    </a:lnTo>
                    <a:lnTo>
                      <a:pt x="532" y="338"/>
                    </a:lnTo>
                    <a:lnTo>
                      <a:pt x="532" y="340"/>
                    </a:lnTo>
                    <a:lnTo>
                      <a:pt x="532" y="344"/>
                    </a:lnTo>
                    <a:lnTo>
                      <a:pt x="532" y="345"/>
                    </a:lnTo>
                    <a:lnTo>
                      <a:pt x="530" y="345"/>
                    </a:lnTo>
                    <a:lnTo>
                      <a:pt x="529" y="345"/>
                    </a:lnTo>
                    <a:lnTo>
                      <a:pt x="529" y="347"/>
                    </a:lnTo>
                    <a:lnTo>
                      <a:pt x="530" y="347"/>
                    </a:lnTo>
                    <a:lnTo>
                      <a:pt x="530" y="349"/>
                    </a:lnTo>
                    <a:lnTo>
                      <a:pt x="530" y="350"/>
                    </a:lnTo>
                    <a:lnTo>
                      <a:pt x="530" y="352"/>
                    </a:lnTo>
                    <a:lnTo>
                      <a:pt x="529" y="352"/>
                    </a:lnTo>
                    <a:lnTo>
                      <a:pt x="529" y="354"/>
                    </a:lnTo>
                    <a:lnTo>
                      <a:pt x="529" y="355"/>
                    </a:lnTo>
                    <a:lnTo>
                      <a:pt x="529" y="357"/>
                    </a:lnTo>
                    <a:lnTo>
                      <a:pt x="529" y="359"/>
                    </a:lnTo>
                    <a:lnTo>
                      <a:pt x="527" y="361"/>
                    </a:lnTo>
                    <a:lnTo>
                      <a:pt x="527" y="362"/>
                    </a:lnTo>
                    <a:lnTo>
                      <a:pt x="527" y="364"/>
                    </a:lnTo>
                    <a:lnTo>
                      <a:pt x="525" y="364"/>
                    </a:lnTo>
                    <a:lnTo>
                      <a:pt x="524" y="366"/>
                    </a:lnTo>
                    <a:lnTo>
                      <a:pt x="524" y="367"/>
                    </a:lnTo>
                    <a:lnTo>
                      <a:pt x="525" y="367"/>
                    </a:lnTo>
                    <a:lnTo>
                      <a:pt x="525" y="369"/>
                    </a:lnTo>
                    <a:lnTo>
                      <a:pt x="527" y="369"/>
                    </a:lnTo>
                    <a:lnTo>
                      <a:pt x="527" y="371"/>
                    </a:lnTo>
                    <a:lnTo>
                      <a:pt x="527" y="372"/>
                    </a:lnTo>
                    <a:lnTo>
                      <a:pt x="525" y="376"/>
                    </a:lnTo>
                    <a:lnTo>
                      <a:pt x="525" y="378"/>
                    </a:lnTo>
                    <a:lnTo>
                      <a:pt x="524" y="381"/>
                    </a:lnTo>
                    <a:lnTo>
                      <a:pt x="522" y="381"/>
                    </a:lnTo>
                    <a:lnTo>
                      <a:pt x="520" y="381"/>
                    </a:lnTo>
                    <a:lnTo>
                      <a:pt x="520" y="383"/>
                    </a:lnTo>
                    <a:lnTo>
                      <a:pt x="520" y="384"/>
                    </a:lnTo>
                    <a:lnTo>
                      <a:pt x="520" y="386"/>
                    </a:lnTo>
                    <a:lnTo>
                      <a:pt x="522" y="388"/>
                    </a:lnTo>
                    <a:lnTo>
                      <a:pt x="522" y="389"/>
                    </a:lnTo>
                    <a:lnTo>
                      <a:pt x="522" y="391"/>
                    </a:lnTo>
                    <a:lnTo>
                      <a:pt x="520" y="391"/>
                    </a:lnTo>
                    <a:lnTo>
                      <a:pt x="520" y="393"/>
                    </a:lnTo>
                    <a:lnTo>
                      <a:pt x="520" y="395"/>
                    </a:lnTo>
                    <a:lnTo>
                      <a:pt x="522" y="396"/>
                    </a:lnTo>
                    <a:lnTo>
                      <a:pt x="522" y="398"/>
                    </a:lnTo>
                    <a:lnTo>
                      <a:pt x="524" y="398"/>
                    </a:lnTo>
                    <a:lnTo>
                      <a:pt x="524" y="400"/>
                    </a:lnTo>
                    <a:lnTo>
                      <a:pt x="522" y="400"/>
                    </a:lnTo>
                    <a:lnTo>
                      <a:pt x="522" y="401"/>
                    </a:lnTo>
                    <a:lnTo>
                      <a:pt x="520" y="401"/>
                    </a:lnTo>
                    <a:lnTo>
                      <a:pt x="520" y="403"/>
                    </a:lnTo>
                    <a:lnTo>
                      <a:pt x="520" y="405"/>
                    </a:lnTo>
                    <a:lnTo>
                      <a:pt x="519" y="406"/>
                    </a:lnTo>
                    <a:lnTo>
                      <a:pt x="520" y="406"/>
                    </a:lnTo>
                    <a:lnTo>
                      <a:pt x="520" y="408"/>
                    </a:lnTo>
                    <a:lnTo>
                      <a:pt x="520" y="410"/>
                    </a:lnTo>
                    <a:lnTo>
                      <a:pt x="520" y="412"/>
                    </a:lnTo>
                    <a:lnTo>
                      <a:pt x="522" y="413"/>
                    </a:lnTo>
                    <a:lnTo>
                      <a:pt x="520" y="413"/>
                    </a:lnTo>
                    <a:lnTo>
                      <a:pt x="522" y="413"/>
                    </a:lnTo>
                    <a:lnTo>
                      <a:pt x="522" y="415"/>
                    </a:lnTo>
                    <a:lnTo>
                      <a:pt x="522" y="417"/>
                    </a:lnTo>
                    <a:lnTo>
                      <a:pt x="522" y="418"/>
                    </a:lnTo>
                    <a:lnTo>
                      <a:pt x="522" y="420"/>
                    </a:lnTo>
                    <a:lnTo>
                      <a:pt x="522" y="422"/>
                    </a:lnTo>
                    <a:lnTo>
                      <a:pt x="522" y="423"/>
                    </a:lnTo>
                    <a:lnTo>
                      <a:pt x="524" y="425"/>
                    </a:lnTo>
                    <a:lnTo>
                      <a:pt x="524" y="427"/>
                    </a:lnTo>
                    <a:lnTo>
                      <a:pt x="524" y="429"/>
                    </a:lnTo>
                    <a:lnTo>
                      <a:pt x="522" y="429"/>
                    </a:lnTo>
                    <a:lnTo>
                      <a:pt x="522" y="430"/>
                    </a:lnTo>
                    <a:lnTo>
                      <a:pt x="520" y="430"/>
                    </a:lnTo>
                    <a:lnTo>
                      <a:pt x="519" y="432"/>
                    </a:lnTo>
                    <a:lnTo>
                      <a:pt x="517" y="432"/>
                    </a:lnTo>
                    <a:lnTo>
                      <a:pt x="515" y="432"/>
                    </a:lnTo>
                    <a:lnTo>
                      <a:pt x="513" y="432"/>
                    </a:lnTo>
                    <a:lnTo>
                      <a:pt x="513" y="434"/>
                    </a:lnTo>
                    <a:lnTo>
                      <a:pt x="513" y="439"/>
                    </a:lnTo>
                    <a:lnTo>
                      <a:pt x="513" y="440"/>
                    </a:lnTo>
                    <a:lnTo>
                      <a:pt x="512" y="440"/>
                    </a:lnTo>
                    <a:lnTo>
                      <a:pt x="512" y="442"/>
                    </a:lnTo>
                    <a:lnTo>
                      <a:pt x="510" y="444"/>
                    </a:lnTo>
                    <a:lnTo>
                      <a:pt x="510" y="447"/>
                    </a:lnTo>
                    <a:lnTo>
                      <a:pt x="510" y="449"/>
                    </a:lnTo>
                    <a:lnTo>
                      <a:pt x="510" y="451"/>
                    </a:lnTo>
                    <a:lnTo>
                      <a:pt x="510" y="456"/>
                    </a:lnTo>
                    <a:lnTo>
                      <a:pt x="510" y="457"/>
                    </a:lnTo>
                    <a:lnTo>
                      <a:pt x="512" y="459"/>
                    </a:lnTo>
                    <a:lnTo>
                      <a:pt x="512" y="461"/>
                    </a:lnTo>
                    <a:lnTo>
                      <a:pt x="512" y="463"/>
                    </a:lnTo>
                    <a:lnTo>
                      <a:pt x="512" y="464"/>
                    </a:lnTo>
                    <a:lnTo>
                      <a:pt x="512" y="466"/>
                    </a:lnTo>
                    <a:lnTo>
                      <a:pt x="512" y="468"/>
                    </a:lnTo>
                    <a:lnTo>
                      <a:pt x="513" y="469"/>
                    </a:lnTo>
                    <a:lnTo>
                      <a:pt x="515" y="469"/>
                    </a:lnTo>
                    <a:lnTo>
                      <a:pt x="513" y="469"/>
                    </a:lnTo>
                    <a:lnTo>
                      <a:pt x="513" y="471"/>
                    </a:lnTo>
                    <a:lnTo>
                      <a:pt x="513" y="473"/>
                    </a:lnTo>
                    <a:lnTo>
                      <a:pt x="513" y="474"/>
                    </a:lnTo>
                    <a:lnTo>
                      <a:pt x="513" y="476"/>
                    </a:lnTo>
                    <a:lnTo>
                      <a:pt x="513" y="478"/>
                    </a:lnTo>
                    <a:lnTo>
                      <a:pt x="512" y="480"/>
                    </a:lnTo>
                    <a:lnTo>
                      <a:pt x="510" y="480"/>
                    </a:lnTo>
                    <a:lnTo>
                      <a:pt x="510" y="481"/>
                    </a:lnTo>
                    <a:lnTo>
                      <a:pt x="512" y="481"/>
                    </a:lnTo>
                    <a:lnTo>
                      <a:pt x="512" y="483"/>
                    </a:lnTo>
                    <a:lnTo>
                      <a:pt x="512" y="485"/>
                    </a:lnTo>
                    <a:lnTo>
                      <a:pt x="510" y="483"/>
                    </a:lnTo>
                    <a:lnTo>
                      <a:pt x="510" y="485"/>
                    </a:lnTo>
                    <a:lnTo>
                      <a:pt x="510" y="486"/>
                    </a:lnTo>
                    <a:lnTo>
                      <a:pt x="508" y="486"/>
                    </a:lnTo>
                    <a:lnTo>
                      <a:pt x="508" y="485"/>
                    </a:lnTo>
                    <a:lnTo>
                      <a:pt x="507" y="485"/>
                    </a:lnTo>
                    <a:lnTo>
                      <a:pt x="507" y="486"/>
                    </a:lnTo>
                    <a:lnTo>
                      <a:pt x="508" y="486"/>
                    </a:lnTo>
                    <a:lnTo>
                      <a:pt x="510" y="486"/>
                    </a:lnTo>
                    <a:lnTo>
                      <a:pt x="510" y="488"/>
                    </a:lnTo>
                    <a:lnTo>
                      <a:pt x="510" y="490"/>
                    </a:lnTo>
                    <a:lnTo>
                      <a:pt x="512" y="490"/>
                    </a:lnTo>
                    <a:lnTo>
                      <a:pt x="510" y="490"/>
                    </a:lnTo>
                    <a:lnTo>
                      <a:pt x="512" y="490"/>
                    </a:lnTo>
                    <a:lnTo>
                      <a:pt x="512" y="491"/>
                    </a:lnTo>
                    <a:lnTo>
                      <a:pt x="513" y="491"/>
                    </a:lnTo>
                    <a:lnTo>
                      <a:pt x="513" y="493"/>
                    </a:lnTo>
                    <a:lnTo>
                      <a:pt x="515" y="495"/>
                    </a:lnTo>
                    <a:lnTo>
                      <a:pt x="515" y="493"/>
                    </a:lnTo>
                    <a:lnTo>
                      <a:pt x="515" y="495"/>
                    </a:lnTo>
                    <a:lnTo>
                      <a:pt x="517" y="495"/>
                    </a:lnTo>
                    <a:lnTo>
                      <a:pt x="517" y="497"/>
                    </a:lnTo>
                    <a:lnTo>
                      <a:pt x="519" y="497"/>
                    </a:lnTo>
                    <a:lnTo>
                      <a:pt x="519" y="498"/>
                    </a:lnTo>
                    <a:lnTo>
                      <a:pt x="520" y="498"/>
                    </a:lnTo>
                    <a:lnTo>
                      <a:pt x="522" y="498"/>
                    </a:lnTo>
                    <a:lnTo>
                      <a:pt x="524" y="498"/>
                    </a:lnTo>
                    <a:lnTo>
                      <a:pt x="524" y="500"/>
                    </a:lnTo>
                    <a:lnTo>
                      <a:pt x="525" y="500"/>
                    </a:lnTo>
                    <a:lnTo>
                      <a:pt x="527" y="500"/>
                    </a:lnTo>
                    <a:lnTo>
                      <a:pt x="527" y="502"/>
                    </a:lnTo>
                    <a:lnTo>
                      <a:pt x="529" y="502"/>
                    </a:lnTo>
                    <a:lnTo>
                      <a:pt x="529" y="503"/>
                    </a:lnTo>
                    <a:lnTo>
                      <a:pt x="529" y="502"/>
                    </a:lnTo>
                    <a:lnTo>
                      <a:pt x="530" y="503"/>
                    </a:lnTo>
                    <a:lnTo>
                      <a:pt x="530" y="502"/>
                    </a:lnTo>
                    <a:lnTo>
                      <a:pt x="532" y="503"/>
                    </a:lnTo>
                    <a:lnTo>
                      <a:pt x="534" y="505"/>
                    </a:lnTo>
                    <a:lnTo>
                      <a:pt x="536" y="505"/>
                    </a:lnTo>
                    <a:lnTo>
                      <a:pt x="536" y="507"/>
                    </a:lnTo>
                    <a:lnTo>
                      <a:pt x="537" y="507"/>
                    </a:lnTo>
                    <a:lnTo>
                      <a:pt x="539" y="507"/>
                    </a:lnTo>
                    <a:lnTo>
                      <a:pt x="539" y="509"/>
                    </a:lnTo>
                    <a:lnTo>
                      <a:pt x="541" y="509"/>
                    </a:lnTo>
                    <a:lnTo>
                      <a:pt x="542" y="510"/>
                    </a:lnTo>
                    <a:lnTo>
                      <a:pt x="544" y="510"/>
                    </a:lnTo>
                    <a:lnTo>
                      <a:pt x="544" y="512"/>
                    </a:lnTo>
                    <a:lnTo>
                      <a:pt x="546" y="512"/>
                    </a:lnTo>
                    <a:lnTo>
                      <a:pt x="546" y="514"/>
                    </a:lnTo>
                    <a:lnTo>
                      <a:pt x="547" y="514"/>
                    </a:lnTo>
                    <a:lnTo>
                      <a:pt x="547" y="515"/>
                    </a:lnTo>
                    <a:lnTo>
                      <a:pt x="549" y="515"/>
                    </a:lnTo>
                    <a:lnTo>
                      <a:pt x="549" y="517"/>
                    </a:lnTo>
                    <a:lnTo>
                      <a:pt x="551" y="517"/>
                    </a:lnTo>
                    <a:lnTo>
                      <a:pt x="551" y="519"/>
                    </a:lnTo>
                    <a:lnTo>
                      <a:pt x="553" y="520"/>
                    </a:lnTo>
                    <a:lnTo>
                      <a:pt x="553" y="522"/>
                    </a:lnTo>
                    <a:lnTo>
                      <a:pt x="554" y="522"/>
                    </a:lnTo>
                    <a:lnTo>
                      <a:pt x="554" y="524"/>
                    </a:lnTo>
                    <a:lnTo>
                      <a:pt x="554" y="526"/>
                    </a:lnTo>
                    <a:lnTo>
                      <a:pt x="556" y="526"/>
                    </a:lnTo>
                    <a:lnTo>
                      <a:pt x="556" y="527"/>
                    </a:lnTo>
                    <a:lnTo>
                      <a:pt x="556" y="529"/>
                    </a:lnTo>
                    <a:lnTo>
                      <a:pt x="554" y="529"/>
                    </a:lnTo>
                    <a:lnTo>
                      <a:pt x="554" y="531"/>
                    </a:lnTo>
                    <a:lnTo>
                      <a:pt x="553" y="531"/>
                    </a:lnTo>
                    <a:lnTo>
                      <a:pt x="553" y="532"/>
                    </a:lnTo>
                    <a:lnTo>
                      <a:pt x="551" y="534"/>
                    </a:lnTo>
                    <a:lnTo>
                      <a:pt x="551" y="536"/>
                    </a:lnTo>
                    <a:lnTo>
                      <a:pt x="549" y="537"/>
                    </a:lnTo>
                    <a:lnTo>
                      <a:pt x="549" y="539"/>
                    </a:lnTo>
                    <a:lnTo>
                      <a:pt x="547" y="539"/>
                    </a:lnTo>
                    <a:lnTo>
                      <a:pt x="549" y="539"/>
                    </a:lnTo>
                    <a:lnTo>
                      <a:pt x="547" y="539"/>
                    </a:lnTo>
                    <a:lnTo>
                      <a:pt x="547" y="541"/>
                    </a:lnTo>
                    <a:lnTo>
                      <a:pt x="547" y="543"/>
                    </a:lnTo>
                    <a:lnTo>
                      <a:pt x="547" y="544"/>
                    </a:lnTo>
                    <a:lnTo>
                      <a:pt x="547" y="546"/>
                    </a:lnTo>
                    <a:lnTo>
                      <a:pt x="547" y="548"/>
                    </a:lnTo>
                    <a:lnTo>
                      <a:pt x="547" y="549"/>
                    </a:lnTo>
                    <a:lnTo>
                      <a:pt x="547" y="551"/>
                    </a:lnTo>
                    <a:lnTo>
                      <a:pt x="549" y="551"/>
                    </a:lnTo>
                    <a:lnTo>
                      <a:pt x="549" y="553"/>
                    </a:lnTo>
                    <a:lnTo>
                      <a:pt x="549" y="554"/>
                    </a:lnTo>
                    <a:lnTo>
                      <a:pt x="551" y="554"/>
                    </a:lnTo>
                    <a:lnTo>
                      <a:pt x="551" y="556"/>
                    </a:lnTo>
                    <a:lnTo>
                      <a:pt x="551" y="558"/>
                    </a:lnTo>
                    <a:lnTo>
                      <a:pt x="553" y="558"/>
                    </a:lnTo>
                    <a:lnTo>
                      <a:pt x="553" y="560"/>
                    </a:lnTo>
                    <a:lnTo>
                      <a:pt x="554" y="560"/>
                    </a:lnTo>
                    <a:lnTo>
                      <a:pt x="554" y="561"/>
                    </a:lnTo>
                    <a:lnTo>
                      <a:pt x="556" y="561"/>
                    </a:lnTo>
                    <a:lnTo>
                      <a:pt x="556" y="563"/>
                    </a:lnTo>
                    <a:lnTo>
                      <a:pt x="558" y="563"/>
                    </a:lnTo>
                    <a:lnTo>
                      <a:pt x="559" y="565"/>
                    </a:lnTo>
                    <a:lnTo>
                      <a:pt x="561" y="565"/>
                    </a:lnTo>
                    <a:lnTo>
                      <a:pt x="563" y="565"/>
                    </a:lnTo>
                    <a:lnTo>
                      <a:pt x="564" y="565"/>
                    </a:lnTo>
                    <a:lnTo>
                      <a:pt x="566" y="565"/>
                    </a:lnTo>
                    <a:lnTo>
                      <a:pt x="568" y="565"/>
                    </a:lnTo>
                    <a:lnTo>
                      <a:pt x="568" y="563"/>
                    </a:lnTo>
                    <a:lnTo>
                      <a:pt x="570" y="563"/>
                    </a:lnTo>
                    <a:lnTo>
                      <a:pt x="570" y="565"/>
                    </a:lnTo>
                    <a:lnTo>
                      <a:pt x="570" y="566"/>
                    </a:lnTo>
                    <a:lnTo>
                      <a:pt x="570" y="568"/>
                    </a:lnTo>
                    <a:lnTo>
                      <a:pt x="571" y="571"/>
                    </a:lnTo>
                    <a:lnTo>
                      <a:pt x="571" y="573"/>
                    </a:lnTo>
                    <a:lnTo>
                      <a:pt x="571" y="575"/>
                    </a:lnTo>
                    <a:lnTo>
                      <a:pt x="571" y="577"/>
                    </a:lnTo>
                    <a:lnTo>
                      <a:pt x="571" y="578"/>
                    </a:lnTo>
                    <a:lnTo>
                      <a:pt x="571" y="580"/>
                    </a:lnTo>
                    <a:lnTo>
                      <a:pt x="571" y="582"/>
                    </a:lnTo>
                    <a:lnTo>
                      <a:pt x="571" y="583"/>
                    </a:lnTo>
                    <a:lnTo>
                      <a:pt x="571" y="585"/>
                    </a:lnTo>
                    <a:lnTo>
                      <a:pt x="571" y="587"/>
                    </a:lnTo>
                    <a:lnTo>
                      <a:pt x="571" y="588"/>
                    </a:lnTo>
                    <a:lnTo>
                      <a:pt x="570" y="590"/>
                    </a:lnTo>
                    <a:lnTo>
                      <a:pt x="568" y="592"/>
                    </a:lnTo>
                    <a:lnTo>
                      <a:pt x="568" y="594"/>
                    </a:lnTo>
                    <a:lnTo>
                      <a:pt x="566" y="595"/>
                    </a:lnTo>
                    <a:lnTo>
                      <a:pt x="566" y="597"/>
                    </a:lnTo>
                    <a:lnTo>
                      <a:pt x="564" y="599"/>
                    </a:lnTo>
                    <a:lnTo>
                      <a:pt x="563" y="600"/>
                    </a:lnTo>
                    <a:lnTo>
                      <a:pt x="563" y="602"/>
                    </a:lnTo>
                    <a:lnTo>
                      <a:pt x="561" y="604"/>
                    </a:lnTo>
                    <a:lnTo>
                      <a:pt x="561" y="605"/>
                    </a:lnTo>
                    <a:lnTo>
                      <a:pt x="559" y="605"/>
                    </a:lnTo>
                    <a:lnTo>
                      <a:pt x="559" y="607"/>
                    </a:lnTo>
                    <a:lnTo>
                      <a:pt x="558" y="609"/>
                    </a:lnTo>
                    <a:lnTo>
                      <a:pt x="558" y="611"/>
                    </a:lnTo>
                    <a:lnTo>
                      <a:pt x="558" y="612"/>
                    </a:lnTo>
                    <a:lnTo>
                      <a:pt x="556" y="612"/>
                    </a:lnTo>
                    <a:lnTo>
                      <a:pt x="556" y="614"/>
                    </a:lnTo>
                    <a:lnTo>
                      <a:pt x="554" y="614"/>
                    </a:lnTo>
                    <a:lnTo>
                      <a:pt x="554" y="616"/>
                    </a:lnTo>
                    <a:lnTo>
                      <a:pt x="553" y="617"/>
                    </a:lnTo>
                    <a:lnTo>
                      <a:pt x="551" y="619"/>
                    </a:lnTo>
                    <a:lnTo>
                      <a:pt x="549" y="621"/>
                    </a:lnTo>
                    <a:lnTo>
                      <a:pt x="547" y="622"/>
                    </a:lnTo>
                    <a:lnTo>
                      <a:pt x="546" y="624"/>
                    </a:lnTo>
                    <a:lnTo>
                      <a:pt x="546" y="626"/>
                    </a:lnTo>
                    <a:lnTo>
                      <a:pt x="544" y="626"/>
                    </a:lnTo>
                    <a:lnTo>
                      <a:pt x="544" y="628"/>
                    </a:lnTo>
                    <a:lnTo>
                      <a:pt x="542" y="629"/>
                    </a:lnTo>
                    <a:lnTo>
                      <a:pt x="542" y="631"/>
                    </a:lnTo>
                    <a:lnTo>
                      <a:pt x="542" y="633"/>
                    </a:lnTo>
                    <a:lnTo>
                      <a:pt x="542" y="634"/>
                    </a:lnTo>
                    <a:lnTo>
                      <a:pt x="542" y="636"/>
                    </a:lnTo>
                    <a:lnTo>
                      <a:pt x="542" y="638"/>
                    </a:lnTo>
                    <a:lnTo>
                      <a:pt x="542" y="636"/>
                    </a:lnTo>
                    <a:lnTo>
                      <a:pt x="542" y="638"/>
                    </a:lnTo>
                    <a:lnTo>
                      <a:pt x="542" y="639"/>
                    </a:lnTo>
                    <a:lnTo>
                      <a:pt x="541" y="639"/>
                    </a:lnTo>
                    <a:lnTo>
                      <a:pt x="539" y="641"/>
                    </a:lnTo>
                    <a:lnTo>
                      <a:pt x="539" y="643"/>
                    </a:lnTo>
                    <a:lnTo>
                      <a:pt x="537" y="643"/>
                    </a:lnTo>
                    <a:lnTo>
                      <a:pt x="537" y="645"/>
                    </a:lnTo>
                    <a:lnTo>
                      <a:pt x="536" y="645"/>
                    </a:lnTo>
                    <a:lnTo>
                      <a:pt x="534" y="645"/>
                    </a:lnTo>
                    <a:lnTo>
                      <a:pt x="534" y="646"/>
                    </a:lnTo>
                    <a:lnTo>
                      <a:pt x="532" y="646"/>
                    </a:lnTo>
                    <a:lnTo>
                      <a:pt x="532" y="648"/>
                    </a:lnTo>
                    <a:lnTo>
                      <a:pt x="530" y="648"/>
                    </a:lnTo>
                    <a:lnTo>
                      <a:pt x="529" y="648"/>
                    </a:lnTo>
                    <a:lnTo>
                      <a:pt x="527" y="650"/>
                    </a:lnTo>
                    <a:lnTo>
                      <a:pt x="525" y="650"/>
                    </a:lnTo>
                    <a:lnTo>
                      <a:pt x="525" y="651"/>
                    </a:lnTo>
                    <a:lnTo>
                      <a:pt x="524" y="651"/>
                    </a:lnTo>
                    <a:lnTo>
                      <a:pt x="522" y="653"/>
                    </a:lnTo>
                    <a:lnTo>
                      <a:pt x="520" y="653"/>
                    </a:lnTo>
                    <a:lnTo>
                      <a:pt x="519" y="655"/>
                    </a:lnTo>
                    <a:lnTo>
                      <a:pt x="517" y="655"/>
                    </a:lnTo>
                    <a:lnTo>
                      <a:pt x="515" y="655"/>
                    </a:lnTo>
                    <a:lnTo>
                      <a:pt x="515" y="656"/>
                    </a:lnTo>
                    <a:lnTo>
                      <a:pt x="513" y="656"/>
                    </a:lnTo>
                    <a:lnTo>
                      <a:pt x="512" y="656"/>
                    </a:lnTo>
                    <a:lnTo>
                      <a:pt x="510" y="658"/>
                    </a:lnTo>
                    <a:lnTo>
                      <a:pt x="508" y="658"/>
                    </a:lnTo>
                    <a:lnTo>
                      <a:pt x="507" y="658"/>
                    </a:lnTo>
                    <a:lnTo>
                      <a:pt x="507" y="660"/>
                    </a:lnTo>
                    <a:lnTo>
                      <a:pt x="505" y="660"/>
                    </a:lnTo>
                    <a:lnTo>
                      <a:pt x="503" y="660"/>
                    </a:lnTo>
                    <a:lnTo>
                      <a:pt x="502" y="660"/>
                    </a:lnTo>
                    <a:lnTo>
                      <a:pt x="500" y="662"/>
                    </a:lnTo>
                    <a:lnTo>
                      <a:pt x="498" y="662"/>
                    </a:lnTo>
                    <a:lnTo>
                      <a:pt x="496" y="663"/>
                    </a:lnTo>
                    <a:lnTo>
                      <a:pt x="495" y="663"/>
                    </a:lnTo>
                    <a:lnTo>
                      <a:pt x="493" y="663"/>
                    </a:lnTo>
                    <a:lnTo>
                      <a:pt x="491" y="665"/>
                    </a:lnTo>
                    <a:lnTo>
                      <a:pt x="490" y="665"/>
                    </a:lnTo>
                    <a:lnTo>
                      <a:pt x="488" y="665"/>
                    </a:lnTo>
                    <a:lnTo>
                      <a:pt x="486" y="665"/>
                    </a:lnTo>
                    <a:lnTo>
                      <a:pt x="485" y="667"/>
                    </a:lnTo>
                    <a:lnTo>
                      <a:pt x="483" y="667"/>
                    </a:lnTo>
                    <a:lnTo>
                      <a:pt x="481" y="667"/>
                    </a:lnTo>
                    <a:lnTo>
                      <a:pt x="479" y="667"/>
                    </a:lnTo>
                    <a:lnTo>
                      <a:pt x="479" y="668"/>
                    </a:lnTo>
                    <a:lnTo>
                      <a:pt x="478" y="668"/>
                    </a:lnTo>
                    <a:lnTo>
                      <a:pt x="476" y="668"/>
                    </a:lnTo>
                    <a:lnTo>
                      <a:pt x="474" y="668"/>
                    </a:lnTo>
                    <a:lnTo>
                      <a:pt x="473" y="668"/>
                    </a:lnTo>
                    <a:lnTo>
                      <a:pt x="471" y="668"/>
                    </a:lnTo>
                    <a:lnTo>
                      <a:pt x="469" y="670"/>
                    </a:lnTo>
                    <a:lnTo>
                      <a:pt x="468" y="670"/>
                    </a:lnTo>
                    <a:lnTo>
                      <a:pt x="466" y="670"/>
                    </a:lnTo>
                    <a:lnTo>
                      <a:pt x="464" y="672"/>
                    </a:lnTo>
                    <a:lnTo>
                      <a:pt x="462" y="672"/>
                    </a:lnTo>
                    <a:lnTo>
                      <a:pt x="461" y="672"/>
                    </a:lnTo>
                    <a:lnTo>
                      <a:pt x="459" y="672"/>
                    </a:lnTo>
                    <a:lnTo>
                      <a:pt x="457" y="672"/>
                    </a:lnTo>
                    <a:lnTo>
                      <a:pt x="456" y="672"/>
                    </a:lnTo>
                    <a:lnTo>
                      <a:pt x="454" y="672"/>
                    </a:lnTo>
                    <a:lnTo>
                      <a:pt x="454" y="674"/>
                    </a:lnTo>
                    <a:lnTo>
                      <a:pt x="452" y="674"/>
                    </a:lnTo>
                    <a:lnTo>
                      <a:pt x="449" y="674"/>
                    </a:lnTo>
                    <a:lnTo>
                      <a:pt x="447" y="674"/>
                    </a:lnTo>
                    <a:lnTo>
                      <a:pt x="445" y="675"/>
                    </a:lnTo>
                    <a:lnTo>
                      <a:pt x="444" y="675"/>
                    </a:lnTo>
                    <a:lnTo>
                      <a:pt x="442" y="675"/>
                    </a:lnTo>
                    <a:lnTo>
                      <a:pt x="440" y="675"/>
                    </a:lnTo>
                    <a:lnTo>
                      <a:pt x="439" y="675"/>
                    </a:lnTo>
                    <a:lnTo>
                      <a:pt x="435" y="677"/>
                    </a:lnTo>
                    <a:lnTo>
                      <a:pt x="434" y="677"/>
                    </a:lnTo>
                    <a:lnTo>
                      <a:pt x="432" y="677"/>
                    </a:lnTo>
                    <a:lnTo>
                      <a:pt x="430" y="677"/>
                    </a:lnTo>
                    <a:lnTo>
                      <a:pt x="428" y="677"/>
                    </a:lnTo>
                    <a:lnTo>
                      <a:pt x="427" y="677"/>
                    </a:lnTo>
                    <a:lnTo>
                      <a:pt x="425" y="677"/>
                    </a:lnTo>
                    <a:lnTo>
                      <a:pt x="423" y="679"/>
                    </a:lnTo>
                    <a:lnTo>
                      <a:pt x="422" y="679"/>
                    </a:lnTo>
                    <a:lnTo>
                      <a:pt x="420" y="679"/>
                    </a:lnTo>
                    <a:lnTo>
                      <a:pt x="418" y="679"/>
                    </a:lnTo>
                    <a:lnTo>
                      <a:pt x="417" y="679"/>
                    </a:lnTo>
                    <a:lnTo>
                      <a:pt x="415" y="679"/>
                    </a:lnTo>
                    <a:lnTo>
                      <a:pt x="411" y="679"/>
                    </a:lnTo>
                    <a:lnTo>
                      <a:pt x="410" y="679"/>
                    </a:lnTo>
                    <a:lnTo>
                      <a:pt x="408" y="679"/>
                    </a:lnTo>
                    <a:lnTo>
                      <a:pt x="406" y="679"/>
                    </a:lnTo>
                    <a:lnTo>
                      <a:pt x="405" y="679"/>
                    </a:lnTo>
                    <a:lnTo>
                      <a:pt x="403" y="679"/>
                    </a:lnTo>
                    <a:lnTo>
                      <a:pt x="401" y="677"/>
                    </a:lnTo>
                    <a:lnTo>
                      <a:pt x="400" y="677"/>
                    </a:lnTo>
                    <a:lnTo>
                      <a:pt x="398" y="679"/>
                    </a:lnTo>
                    <a:lnTo>
                      <a:pt x="396" y="677"/>
                    </a:lnTo>
                    <a:lnTo>
                      <a:pt x="394" y="677"/>
                    </a:lnTo>
                    <a:lnTo>
                      <a:pt x="393" y="677"/>
                    </a:lnTo>
                    <a:lnTo>
                      <a:pt x="393" y="675"/>
                    </a:lnTo>
                    <a:lnTo>
                      <a:pt x="391" y="675"/>
                    </a:lnTo>
                    <a:lnTo>
                      <a:pt x="389" y="675"/>
                    </a:lnTo>
                    <a:lnTo>
                      <a:pt x="389" y="674"/>
                    </a:lnTo>
                    <a:lnTo>
                      <a:pt x="388" y="674"/>
                    </a:lnTo>
                    <a:lnTo>
                      <a:pt x="388" y="672"/>
                    </a:lnTo>
                    <a:lnTo>
                      <a:pt x="386" y="670"/>
                    </a:lnTo>
                    <a:lnTo>
                      <a:pt x="384" y="670"/>
                    </a:lnTo>
                    <a:lnTo>
                      <a:pt x="383" y="668"/>
                    </a:lnTo>
                    <a:lnTo>
                      <a:pt x="383" y="670"/>
                    </a:lnTo>
                    <a:lnTo>
                      <a:pt x="381" y="668"/>
                    </a:lnTo>
                    <a:lnTo>
                      <a:pt x="379" y="668"/>
                    </a:lnTo>
                    <a:lnTo>
                      <a:pt x="381" y="668"/>
                    </a:lnTo>
                    <a:lnTo>
                      <a:pt x="381" y="670"/>
                    </a:lnTo>
                    <a:lnTo>
                      <a:pt x="379" y="670"/>
                    </a:lnTo>
                    <a:lnTo>
                      <a:pt x="379" y="672"/>
                    </a:lnTo>
                    <a:lnTo>
                      <a:pt x="381" y="670"/>
                    </a:lnTo>
                    <a:lnTo>
                      <a:pt x="381" y="672"/>
                    </a:lnTo>
                    <a:lnTo>
                      <a:pt x="383" y="672"/>
                    </a:lnTo>
                    <a:lnTo>
                      <a:pt x="381" y="672"/>
                    </a:lnTo>
                    <a:lnTo>
                      <a:pt x="379" y="672"/>
                    </a:lnTo>
                    <a:lnTo>
                      <a:pt x="379" y="674"/>
                    </a:lnTo>
                    <a:lnTo>
                      <a:pt x="381" y="674"/>
                    </a:lnTo>
                    <a:lnTo>
                      <a:pt x="379" y="675"/>
                    </a:lnTo>
                    <a:lnTo>
                      <a:pt x="379" y="677"/>
                    </a:lnTo>
                    <a:lnTo>
                      <a:pt x="381" y="677"/>
                    </a:lnTo>
                    <a:lnTo>
                      <a:pt x="383" y="677"/>
                    </a:lnTo>
                    <a:lnTo>
                      <a:pt x="384" y="677"/>
                    </a:lnTo>
                    <a:lnTo>
                      <a:pt x="386" y="679"/>
                    </a:lnTo>
                    <a:lnTo>
                      <a:pt x="384" y="679"/>
                    </a:lnTo>
                    <a:lnTo>
                      <a:pt x="383" y="680"/>
                    </a:lnTo>
                    <a:lnTo>
                      <a:pt x="381" y="680"/>
                    </a:lnTo>
                    <a:lnTo>
                      <a:pt x="381" y="682"/>
                    </a:lnTo>
                    <a:lnTo>
                      <a:pt x="381" y="684"/>
                    </a:lnTo>
                    <a:lnTo>
                      <a:pt x="381" y="685"/>
                    </a:lnTo>
                    <a:lnTo>
                      <a:pt x="381" y="687"/>
                    </a:lnTo>
                    <a:lnTo>
                      <a:pt x="381" y="689"/>
                    </a:lnTo>
                    <a:lnTo>
                      <a:pt x="383" y="689"/>
                    </a:lnTo>
                    <a:lnTo>
                      <a:pt x="381" y="689"/>
                    </a:lnTo>
                    <a:lnTo>
                      <a:pt x="381" y="691"/>
                    </a:lnTo>
                    <a:lnTo>
                      <a:pt x="383" y="691"/>
                    </a:lnTo>
                    <a:lnTo>
                      <a:pt x="384" y="691"/>
                    </a:lnTo>
                    <a:lnTo>
                      <a:pt x="386" y="691"/>
                    </a:lnTo>
                    <a:lnTo>
                      <a:pt x="388" y="691"/>
                    </a:lnTo>
                    <a:lnTo>
                      <a:pt x="388" y="692"/>
                    </a:lnTo>
                    <a:lnTo>
                      <a:pt x="389" y="692"/>
                    </a:lnTo>
                    <a:lnTo>
                      <a:pt x="389" y="694"/>
                    </a:lnTo>
                    <a:lnTo>
                      <a:pt x="391" y="694"/>
                    </a:lnTo>
                    <a:lnTo>
                      <a:pt x="391" y="696"/>
                    </a:lnTo>
                    <a:lnTo>
                      <a:pt x="391" y="697"/>
                    </a:lnTo>
                    <a:lnTo>
                      <a:pt x="389" y="696"/>
                    </a:lnTo>
                    <a:lnTo>
                      <a:pt x="388" y="696"/>
                    </a:lnTo>
                    <a:lnTo>
                      <a:pt x="388" y="694"/>
                    </a:lnTo>
                    <a:lnTo>
                      <a:pt x="386" y="694"/>
                    </a:lnTo>
                    <a:lnTo>
                      <a:pt x="386" y="692"/>
                    </a:lnTo>
                    <a:lnTo>
                      <a:pt x="384" y="691"/>
                    </a:lnTo>
                    <a:lnTo>
                      <a:pt x="384" y="692"/>
                    </a:lnTo>
                    <a:lnTo>
                      <a:pt x="384" y="691"/>
                    </a:lnTo>
                    <a:lnTo>
                      <a:pt x="383" y="692"/>
                    </a:lnTo>
                    <a:lnTo>
                      <a:pt x="384" y="692"/>
                    </a:lnTo>
                    <a:lnTo>
                      <a:pt x="384" y="694"/>
                    </a:lnTo>
                    <a:lnTo>
                      <a:pt x="386" y="694"/>
                    </a:lnTo>
                    <a:lnTo>
                      <a:pt x="386" y="696"/>
                    </a:lnTo>
                    <a:lnTo>
                      <a:pt x="388" y="696"/>
                    </a:lnTo>
                    <a:lnTo>
                      <a:pt x="388" y="697"/>
                    </a:lnTo>
                    <a:lnTo>
                      <a:pt x="389" y="697"/>
                    </a:lnTo>
                    <a:lnTo>
                      <a:pt x="389" y="699"/>
                    </a:lnTo>
                    <a:lnTo>
                      <a:pt x="389" y="701"/>
                    </a:lnTo>
                    <a:lnTo>
                      <a:pt x="389" y="702"/>
                    </a:lnTo>
                    <a:lnTo>
                      <a:pt x="388" y="702"/>
                    </a:lnTo>
                    <a:lnTo>
                      <a:pt x="388" y="704"/>
                    </a:lnTo>
                    <a:lnTo>
                      <a:pt x="388" y="706"/>
                    </a:lnTo>
                    <a:lnTo>
                      <a:pt x="388" y="708"/>
                    </a:lnTo>
                    <a:lnTo>
                      <a:pt x="388" y="709"/>
                    </a:lnTo>
                    <a:lnTo>
                      <a:pt x="388" y="711"/>
                    </a:lnTo>
                    <a:lnTo>
                      <a:pt x="388" y="713"/>
                    </a:lnTo>
                    <a:lnTo>
                      <a:pt x="388" y="714"/>
                    </a:lnTo>
                    <a:lnTo>
                      <a:pt x="388" y="716"/>
                    </a:lnTo>
                    <a:lnTo>
                      <a:pt x="388" y="718"/>
                    </a:lnTo>
                    <a:lnTo>
                      <a:pt x="386" y="718"/>
                    </a:lnTo>
                    <a:lnTo>
                      <a:pt x="386" y="716"/>
                    </a:lnTo>
                    <a:lnTo>
                      <a:pt x="384" y="716"/>
                    </a:lnTo>
                    <a:lnTo>
                      <a:pt x="384" y="718"/>
                    </a:lnTo>
                    <a:lnTo>
                      <a:pt x="383" y="718"/>
                    </a:lnTo>
                    <a:lnTo>
                      <a:pt x="383" y="716"/>
                    </a:lnTo>
                    <a:lnTo>
                      <a:pt x="381" y="716"/>
                    </a:lnTo>
                    <a:lnTo>
                      <a:pt x="381" y="718"/>
                    </a:lnTo>
                    <a:lnTo>
                      <a:pt x="381" y="719"/>
                    </a:lnTo>
                    <a:lnTo>
                      <a:pt x="381" y="721"/>
                    </a:lnTo>
                    <a:lnTo>
                      <a:pt x="381" y="723"/>
                    </a:lnTo>
                    <a:lnTo>
                      <a:pt x="379" y="723"/>
                    </a:lnTo>
                    <a:lnTo>
                      <a:pt x="379" y="725"/>
                    </a:lnTo>
                    <a:lnTo>
                      <a:pt x="379" y="726"/>
                    </a:lnTo>
                    <a:lnTo>
                      <a:pt x="379" y="728"/>
                    </a:lnTo>
                    <a:lnTo>
                      <a:pt x="381" y="728"/>
                    </a:lnTo>
                    <a:lnTo>
                      <a:pt x="381" y="730"/>
                    </a:lnTo>
                    <a:lnTo>
                      <a:pt x="379" y="730"/>
                    </a:lnTo>
                    <a:lnTo>
                      <a:pt x="379" y="731"/>
                    </a:lnTo>
                    <a:lnTo>
                      <a:pt x="377" y="731"/>
                    </a:lnTo>
                    <a:lnTo>
                      <a:pt x="377" y="733"/>
                    </a:lnTo>
                    <a:lnTo>
                      <a:pt x="376" y="733"/>
                    </a:lnTo>
                    <a:lnTo>
                      <a:pt x="376" y="735"/>
                    </a:lnTo>
                    <a:lnTo>
                      <a:pt x="374" y="735"/>
                    </a:lnTo>
                    <a:lnTo>
                      <a:pt x="374" y="736"/>
                    </a:lnTo>
                    <a:lnTo>
                      <a:pt x="376" y="738"/>
                    </a:lnTo>
                    <a:lnTo>
                      <a:pt x="376" y="740"/>
                    </a:lnTo>
                    <a:lnTo>
                      <a:pt x="376" y="742"/>
                    </a:lnTo>
                    <a:lnTo>
                      <a:pt x="377" y="742"/>
                    </a:lnTo>
                    <a:lnTo>
                      <a:pt x="377" y="743"/>
                    </a:lnTo>
                    <a:lnTo>
                      <a:pt x="379" y="743"/>
                    </a:lnTo>
                    <a:lnTo>
                      <a:pt x="381" y="745"/>
                    </a:lnTo>
                    <a:lnTo>
                      <a:pt x="383" y="747"/>
                    </a:lnTo>
                    <a:lnTo>
                      <a:pt x="384" y="747"/>
                    </a:lnTo>
                    <a:lnTo>
                      <a:pt x="384" y="748"/>
                    </a:lnTo>
                    <a:lnTo>
                      <a:pt x="386" y="748"/>
                    </a:lnTo>
                    <a:lnTo>
                      <a:pt x="386" y="750"/>
                    </a:lnTo>
                    <a:lnTo>
                      <a:pt x="384" y="752"/>
                    </a:lnTo>
                    <a:lnTo>
                      <a:pt x="383" y="753"/>
                    </a:lnTo>
                    <a:lnTo>
                      <a:pt x="383" y="755"/>
                    </a:lnTo>
                    <a:lnTo>
                      <a:pt x="383" y="757"/>
                    </a:lnTo>
                    <a:lnTo>
                      <a:pt x="381" y="759"/>
                    </a:lnTo>
                    <a:lnTo>
                      <a:pt x="381" y="760"/>
                    </a:lnTo>
                    <a:lnTo>
                      <a:pt x="379" y="762"/>
                    </a:lnTo>
                    <a:lnTo>
                      <a:pt x="377" y="762"/>
                    </a:lnTo>
                    <a:lnTo>
                      <a:pt x="377" y="764"/>
                    </a:lnTo>
                    <a:lnTo>
                      <a:pt x="376" y="764"/>
                    </a:lnTo>
                    <a:lnTo>
                      <a:pt x="374" y="764"/>
                    </a:lnTo>
                    <a:lnTo>
                      <a:pt x="372" y="764"/>
                    </a:lnTo>
                    <a:lnTo>
                      <a:pt x="372" y="765"/>
                    </a:lnTo>
                    <a:lnTo>
                      <a:pt x="371" y="765"/>
                    </a:lnTo>
                    <a:lnTo>
                      <a:pt x="369" y="767"/>
                    </a:lnTo>
                    <a:lnTo>
                      <a:pt x="367" y="767"/>
                    </a:lnTo>
                    <a:lnTo>
                      <a:pt x="367" y="769"/>
                    </a:lnTo>
                    <a:lnTo>
                      <a:pt x="366" y="769"/>
                    </a:lnTo>
                    <a:lnTo>
                      <a:pt x="366" y="767"/>
                    </a:lnTo>
                    <a:lnTo>
                      <a:pt x="364" y="767"/>
                    </a:lnTo>
                    <a:lnTo>
                      <a:pt x="364" y="769"/>
                    </a:lnTo>
                    <a:lnTo>
                      <a:pt x="362" y="769"/>
                    </a:lnTo>
                    <a:lnTo>
                      <a:pt x="362" y="770"/>
                    </a:lnTo>
                    <a:lnTo>
                      <a:pt x="360" y="770"/>
                    </a:lnTo>
                    <a:lnTo>
                      <a:pt x="359" y="770"/>
                    </a:lnTo>
                    <a:lnTo>
                      <a:pt x="357" y="772"/>
                    </a:lnTo>
                    <a:lnTo>
                      <a:pt x="355" y="772"/>
                    </a:lnTo>
                    <a:lnTo>
                      <a:pt x="355" y="774"/>
                    </a:lnTo>
                    <a:lnTo>
                      <a:pt x="354" y="774"/>
                    </a:lnTo>
                    <a:lnTo>
                      <a:pt x="352" y="774"/>
                    </a:lnTo>
                    <a:lnTo>
                      <a:pt x="350" y="774"/>
                    </a:lnTo>
                    <a:lnTo>
                      <a:pt x="349" y="774"/>
                    </a:lnTo>
                    <a:lnTo>
                      <a:pt x="347" y="774"/>
                    </a:lnTo>
                    <a:lnTo>
                      <a:pt x="345" y="774"/>
                    </a:lnTo>
                    <a:lnTo>
                      <a:pt x="343" y="774"/>
                    </a:lnTo>
                    <a:lnTo>
                      <a:pt x="342" y="774"/>
                    </a:lnTo>
                    <a:lnTo>
                      <a:pt x="340" y="774"/>
                    </a:lnTo>
                    <a:lnTo>
                      <a:pt x="338" y="774"/>
                    </a:lnTo>
                    <a:lnTo>
                      <a:pt x="337" y="774"/>
                    </a:lnTo>
                    <a:lnTo>
                      <a:pt x="335" y="774"/>
                    </a:lnTo>
                    <a:lnTo>
                      <a:pt x="333" y="774"/>
                    </a:lnTo>
                    <a:lnTo>
                      <a:pt x="332" y="774"/>
                    </a:lnTo>
                    <a:lnTo>
                      <a:pt x="330" y="774"/>
                    </a:lnTo>
                    <a:lnTo>
                      <a:pt x="330" y="772"/>
                    </a:lnTo>
                    <a:lnTo>
                      <a:pt x="328" y="772"/>
                    </a:lnTo>
                    <a:lnTo>
                      <a:pt x="326" y="772"/>
                    </a:lnTo>
                    <a:lnTo>
                      <a:pt x="326" y="770"/>
                    </a:lnTo>
                    <a:lnTo>
                      <a:pt x="325" y="769"/>
                    </a:lnTo>
                    <a:lnTo>
                      <a:pt x="323" y="769"/>
                    </a:lnTo>
                    <a:lnTo>
                      <a:pt x="321" y="769"/>
                    </a:lnTo>
                    <a:lnTo>
                      <a:pt x="321" y="767"/>
                    </a:lnTo>
                    <a:lnTo>
                      <a:pt x="320" y="767"/>
                    </a:lnTo>
                    <a:lnTo>
                      <a:pt x="321" y="767"/>
                    </a:lnTo>
                    <a:lnTo>
                      <a:pt x="321" y="765"/>
                    </a:lnTo>
                    <a:lnTo>
                      <a:pt x="320" y="765"/>
                    </a:lnTo>
                    <a:lnTo>
                      <a:pt x="320" y="767"/>
                    </a:lnTo>
                    <a:lnTo>
                      <a:pt x="318" y="767"/>
                    </a:lnTo>
                    <a:lnTo>
                      <a:pt x="316" y="767"/>
                    </a:lnTo>
                    <a:lnTo>
                      <a:pt x="315" y="765"/>
                    </a:lnTo>
                    <a:lnTo>
                      <a:pt x="313" y="765"/>
                    </a:lnTo>
                    <a:lnTo>
                      <a:pt x="313" y="764"/>
                    </a:lnTo>
                    <a:lnTo>
                      <a:pt x="311" y="764"/>
                    </a:lnTo>
                    <a:lnTo>
                      <a:pt x="309" y="762"/>
                    </a:lnTo>
                    <a:lnTo>
                      <a:pt x="308" y="762"/>
                    </a:lnTo>
                    <a:lnTo>
                      <a:pt x="306" y="760"/>
                    </a:lnTo>
                    <a:lnTo>
                      <a:pt x="304" y="760"/>
                    </a:lnTo>
                    <a:lnTo>
                      <a:pt x="303" y="760"/>
                    </a:lnTo>
                    <a:lnTo>
                      <a:pt x="301" y="759"/>
                    </a:lnTo>
                    <a:lnTo>
                      <a:pt x="299" y="759"/>
                    </a:lnTo>
                    <a:lnTo>
                      <a:pt x="298" y="759"/>
                    </a:lnTo>
                    <a:lnTo>
                      <a:pt x="296" y="759"/>
                    </a:lnTo>
                    <a:lnTo>
                      <a:pt x="294" y="759"/>
                    </a:lnTo>
                    <a:lnTo>
                      <a:pt x="292" y="759"/>
                    </a:lnTo>
                    <a:lnTo>
                      <a:pt x="294" y="757"/>
                    </a:lnTo>
                    <a:lnTo>
                      <a:pt x="296" y="757"/>
                    </a:lnTo>
                    <a:lnTo>
                      <a:pt x="298" y="757"/>
                    </a:lnTo>
                    <a:lnTo>
                      <a:pt x="298" y="759"/>
                    </a:lnTo>
                    <a:lnTo>
                      <a:pt x="299" y="757"/>
                    </a:lnTo>
                    <a:lnTo>
                      <a:pt x="298" y="757"/>
                    </a:lnTo>
                    <a:lnTo>
                      <a:pt x="299" y="757"/>
                    </a:lnTo>
                    <a:lnTo>
                      <a:pt x="298" y="757"/>
                    </a:lnTo>
                    <a:lnTo>
                      <a:pt x="296" y="757"/>
                    </a:lnTo>
                    <a:lnTo>
                      <a:pt x="298" y="755"/>
                    </a:lnTo>
                    <a:lnTo>
                      <a:pt x="296" y="755"/>
                    </a:lnTo>
                    <a:lnTo>
                      <a:pt x="298" y="755"/>
                    </a:lnTo>
                    <a:lnTo>
                      <a:pt x="296" y="755"/>
                    </a:lnTo>
                    <a:lnTo>
                      <a:pt x="296" y="753"/>
                    </a:lnTo>
                    <a:lnTo>
                      <a:pt x="294" y="753"/>
                    </a:lnTo>
                    <a:lnTo>
                      <a:pt x="292" y="753"/>
                    </a:lnTo>
                    <a:lnTo>
                      <a:pt x="291" y="753"/>
                    </a:lnTo>
                    <a:lnTo>
                      <a:pt x="292" y="753"/>
                    </a:lnTo>
                    <a:lnTo>
                      <a:pt x="291" y="753"/>
                    </a:lnTo>
                    <a:lnTo>
                      <a:pt x="291" y="755"/>
                    </a:lnTo>
                    <a:lnTo>
                      <a:pt x="292" y="753"/>
                    </a:lnTo>
                    <a:lnTo>
                      <a:pt x="292" y="755"/>
                    </a:lnTo>
                    <a:lnTo>
                      <a:pt x="294" y="755"/>
                    </a:lnTo>
                    <a:lnTo>
                      <a:pt x="292" y="755"/>
                    </a:lnTo>
                    <a:lnTo>
                      <a:pt x="291" y="755"/>
                    </a:lnTo>
                    <a:lnTo>
                      <a:pt x="289" y="755"/>
                    </a:lnTo>
                    <a:lnTo>
                      <a:pt x="289" y="757"/>
                    </a:lnTo>
                    <a:lnTo>
                      <a:pt x="287" y="757"/>
                    </a:lnTo>
                    <a:lnTo>
                      <a:pt x="287" y="759"/>
                    </a:lnTo>
                    <a:lnTo>
                      <a:pt x="286" y="759"/>
                    </a:lnTo>
                    <a:lnTo>
                      <a:pt x="286" y="760"/>
                    </a:lnTo>
                    <a:lnTo>
                      <a:pt x="286" y="762"/>
                    </a:lnTo>
                    <a:lnTo>
                      <a:pt x="284" y="764"/>
                    </a:lnTo>
                    <a:lnTo>
                      <a:pt x="284" y="765"/>
                    </a:lnTo>
                    <a:lnTo>
                      <a:pt x="284" y="767"/>
                    </a:lnTo>
                    <a:lnTo>
                      <a:pt x="284" y="769"/>
                    </a:lnTo>
                    <a:lnTo>
                      <a:pt x="284" y="770"/>
                    </a:lnTo>
                    <a:lnTo>
                      <a:pt x="286" y="770"/>
                    </a:lnTo>
                    <a:lnTo>
                      <a:pt x="286" y="772"/>
                    </a:lnTo>
                    <a:lnTo>
                      <a:pt x="286" y="774"/>
                    </a:lnTo>
                    <a:lnTo>
                      <a:pt x="284" y="774"/>
                    </a:lnTo>
                    <a:lnTo>
                      <a:pt x="286" y="774"/>
                    </a:lnTo>
                    <a:lnTo>
                      <a:pt x="286" y="776"/>
                    </a:lnTo>
                    <a:lnTo>
                      <a:pt x="286" y="777"/>
                    </a:lnTo>
                    <a:lnTo>
                      <a:pt x="286" y="779"/>
                    </a:lnTo>
                    <a:lnTo>
                      <a:pt x="286" y="781"/>
                    </a:lnTo>
                    <a:lnTo>
                      <a:pt x="287" y="781"/>
                    </a:lnTo>
                    <a:lnTo>
                      <a:pt x="287" y="782"/>
                    </a:lnTo>
                    <a:lnTo>
                      <a:pt x="287" y="784"/>
                    </a:lnTo>
                    <a:lnTo>
                      <a:pt x="287" y="786"/>
                    </a:lnTo>
                    <a:lnTo>
                      <a:pt x="289" y="787"/>
                    </a:lnTo>
                    <a:lnTo>
                      <a:pt x="291" y="789"/>
                    </a:lnTo>
                    <a:lnTo>
                      <a:pt x="291" y="791"/>
                    </a:lnTo>
                    <a:lnTo>
                      <a:pt x="289" y="791"/>
                    </a:lnTo>
                    <a:lnTo>
                      <a:pt x="291" y="793"/>
                    </a:lnTo>
                    <a:lnTo>
                      <a:pt x="289" y="793"/>
                    </a:lnTo>
                    <a:lnTo>
                      <a:pt x="289" y="794"/>
                    </a:lnTo>
                    <a:lnTo>
                      <a:pt x="289" y="796"/>
                    </a:lnTo>
                    <a:lnTo>
                      <a:pt x="289" y="798"/>
                    </a:lnTo>
                    <a:lnTo>
                      <a:pt x="289" y="799"/>
                    </a:lnTo>
                    <a:lnTo>
                      <a:pt x="289" y="801"/>
                    </a:lnTo>
                    <a:lnTo>
                      <a:pt x="291" y="801"/>
                    </a:lnTo>
                    <a:lnTo>
                      <a:pt x="289" y="801"/>
                    </a:lnTo>
                    <a:lnTo>
                      <a:pt x="289" y="803"/>
                    </a:lnTo>
                    <a:lnTo>
                      <a:pt x="289" y="804"/>
                    </a:lnTo>
                    <a:lnTo>
                      <a:pt x="289" y="806"/>
                    </a:lnTo>
                    <a:lnTo>
                      <a:pt x="287" y="806"/>
                    </a:lnTo>
                    <a:lnTo>
                      <a:pt x="287" y="808"/>
                    </a:lnTo>
                    <a:lnTo>
                      <a:pt x="287" y="810"/>
                    </a:lnTo>
                    <a:lnTo>
                      <a:pt x="287" y="811"/>
                    </a:lnTo>
                    <a:lnTo>
                      <a:pt x="287" y="813"/>
                    </a:lnTo>
                    <a:lnTo>
                      <a:pt x="289" y="815"/>
                    </a:lnTo>
                    <a:lnTo>
                      <a:pt x="289" y="816"/>
                    </a:lnTo>
                    <a:lnTo>
                      <a:pt x="291" y="816"/>
                    </a:lnTo>
                    <a:lnTo>
                      <a:pt x="291" y="818"/>
                    </a:lnTo>
                    <a:lnTo>
                      <a:pt x="292" y="818"/>
                    </a:lnTo>
                    <a:lnTo>
                      <a:pt x="292" y="820"/>
                    </a:lnTo>
                    <a:lnTo>
                      <a:pt x="294" y="820"/>
                    </a:lnTo>
                    <a:lnTo>
                      <a:pt x="296" y="820"/>
                    </a:lnTo>
                    <a:lnTo>
                      <a:pt x="298" y="820"/>
                    </a:lnTo>
                    <a:lnTo>
                      <a:pt x="298" y="822"/>
                    </a:lnTo>
                    <a:lnTo>
                      <a:pt x="299" y="822"/>
                    </a:lnTo>
                    <a:lnTo>
                      <a:pt x="301" y="822"/>
                    </a:lnTo>
                    <a:lnTo>
                      <a:pt x="303" y="822"/>
                    </a:lnTo>
                    <a:lnTo>
                      <a:pt x="304" y="822"/>
                    </a:lnTo>
                    <a:lnTo>
                      <a:pt x="306" y="822"/>
                    </a:lnTo>
                    <a:lnTo>
                      <a:pt x="306" y="823"/>
                    </a:lnTo>
                    <a:lnTo>
                      <a:pt x="306" y="822"/>
                    </a:lnTo>
                    <a:lnTo>
                      <a:pt x="308" y="823"/>
                    </a:lnTo>
                    <a:lnTo>
                      <a:pt x="306" y="823"/>
                    </a:lnTo>
                    <a:lnTo>
                      <a:pt x="306" y="825"/>
                    </a:lnTo>
                    <a:lnTo>
                      <a:pt x="304" y="825"/>
                    </a:lnTo>
                    <a:lnTo>
                      <a:pt x="304" y="827"/>
                    </a:lnTo>
                    <a:lnTo>
                      <a:pt x="304" y="828"/>
                    </a:lnTo>
                    <a:lnTo>
                      <a:pt x="303" y="830"/>
                    </a:lnTo>
                    <a:lnTo>
                      <a:pt x="303" y="832"/>
                    </a:lnTo>
                    <a:lnTo>
                      <a:pt x="304" y="832"/>
                    </a:lnTo>
                    <a:lnTo>
                      <a:pt x="304" y="830"/>
                    </a:lnTo>
                    <a:lnTo>
                      <a:pt x="304" y="832"/>
                    </a:lnTo>
                    <a:lnTo>
                      <a:pt x="306" y="830"/>
                    </a:lnTo>
                    <a:lnTo>
                      <a:pt x="306" y="832"/>
                    </a:lnTo>
                    <a:lnTo>
                      <a:pt x="308" y="832"/>
                    </a:lnTo>
                    <a:lnTo>
                      <a:pt x="308" y="830"/>
                    </a:lnTo>
                    <a:lnTo>
                      <a:pt x="308" y="832"/>
                    </a:lnTo>
                    <a:lnTo>
                      <a:pt x="309" y="832"/>
                    </a:lnTo>
                    <a:lnTo>
                      <a:pt x="311" y="832"/>
                    </a:lnTo>
                    <a:lnTo>
                      <a:pt x="311" y="830"/>
                    </a:lnTo>
                    <a:lnTo>
                      <a:pt x="311" y="832"/>
                    </a:lnTo>
                    <a:lnTo>
                      <a:pt x="313" y="830"/>
                    </a:lnTo>
                    <a:lnTo>
                      <a:pt x="315" y="830"/>
                    </a:lnTo>
                    <a:lnTo>
                      <a:pt x="316" y="830"/>
                    </a:lnTo>
                    <a:lnTo>
                      <a:pt x="318" y="830"/>
                    </a:lnTo>
                    <a:lnTo>
                      <a:pt x="320" y="832"/>
                    </a:lnTo>
                    <a:lnTo>
                      <a:pt x="320" y="830"/>
                    </a:lnTo>
                    <a:lnTo>
                      <a:pt x="321" y="830"/>
                    </a:lnTo>
                    <a:lnTo>
                      <a:pt x="321" y="828"/>
                    </a:lnTo>
                    <a:lnTo>
                      <a:pt x="323" y="828"/>
                    </a:lnTo>
                    <a:lnTo>
                      <a:pt x="321" y="827"/>
                    </a:lnTo>
                    <a:lnTo>
                      <a:pt x="323" y="827"/>
                    </a:lnTo>
                    <a:lnTo>
                      <a:pt x="321" y="825"/>
                    </a:lnTo>
                    <a:lnTo>
                      <a:pt x="321" y="823"/>
                    </a:lnTo>
                    <a:lnTo>
                      <a:pt x="320" y="823"/>
                    </a:lnTo>
                    <a:lnTo>
                      <a:pt x="318" y="823"/>
                    </a:lnTo>
                    <a:lnTo>
                      <a:pt x="316" y="823"/>
                    </a:lnTo>
                    <a:lnTo>
                      <a:pt x="316" y="822"/>
                    </a:lnTo>
                    <a:lnTo>
                      <a:pt x="315" y="823"/>
                    </a:lnTo>
                    <a:lnTo>
                      <a:pt x="313" y="823"/>
                    </a:lnTo>
                    <a:lnTo>
                      <a:pt x="311" y="823"/>
                    </a:lnTo>
                    <a:lnTo>
                      <a:pt x="311" y="822"/>
                    </a:lnTo>
                    <a:lnTo>
                      <a:pt x="313" y="822"/>
                    </a:lnTo>
                    <a:lnTo>
                      <a:pt x="316" y="822"/>
                    </a:lnTo>
                    <a:lnTo>
                      <a:pt x="318" y="820"/>
                    </a:lnTo>
                    <a:lnTo>
                      <a:pt x="320" y="820"/>
                    </a:lnTo>
                    <a:lnTo>
                      <a:pt x="321" y="820"/>
                    </a:lnTo>
                    <a:lnTo>
                      <a:pt x="323" y="820"/>
                    </a:lnTo>
                    <a:lnTo>
                      <a:pt x="323" y="818"/>
                    </a:lnTo>
                    <a:lnTo>
                      <a:pt x="325" y="818"/>
                    </a:lnTo>
                    <a:lnTo>
                      <a:pt x="325" y="816"/>
                    </a:lnTo>
                    <a:lnTo>
                      <a:pt x="326" y="816"/>
                    </a:lnTo>
                    <a:lnTo>
                      <a:pt x="328" y="816"/>
                    </a:lnTo>
                    <a:lnTo>
                      <a:pt x="328" y="815"/>
                    </a:lnTo>
                    <a:lnTo>
                      <a:pt x="330" y="815"/>
                    </a:lnTo>
                    <a:lnTo>
                      <a:pt x="332" y="815"/>
                    </a:lnTo>
                    <a:lnTo>
                      <a:pt x="333" y="816"/>
                    </a:lnTo>
                    <a:lnTo>
                      <a:pt x="333" y="818"/>
                    </a:lnTo>
                    <a:lnTo>
                      <a:pt x="333" y="820"/>
                    </a:lnTo>
                    <a:lnTo>
                      <a:pt x="335" y="822"/>
                    </a:lnTo>
                    <a:lnTo>
                      <a:pt x="335" y="823"/>
                    </a:lnTo>
                    <a:lnTo>
                      <a:pt x="337" y="825"/>
                    </a:lnTo>
                    <a:lnTo>
                      <a:pt x="337" y="827"/>
                    </a:lnTo>
                    <a:lnTo>
                      <a:pt x="337" y="828"/>
                    </a:lnTo>
                    <a:lnTo>
                      <a:pt x="337" y="830"/>
                    </a:lnTo>
                    <a:lnTo>
                      <a:pt x="337" y="832"/>
                    </a:lnTo>
                    <a:lnTo>
                      <a:pt x="337" y="833"/>
                    </a:lnTo>
                    <a:lnTo>
                      <a:pt x="337" y="835"/>
                    </a:lnTo>
                    <a:lnTo>
                      <a:pt x="337" y="837"/>
                    </a:lnTo>
                    <a:lnTo>
                      <a:pt x="338" y="837"/>
                    </a:lnTo>
                    <a:lnTo>
                      <a:pt x="338" y="839"/>
                    </a:lnTo>
                    <a:lnTo>
                      <a:pt x="338" y="840"/>
                    </a:lnTo>
                    <a:lnTo>
                      <a:pt x="337" y="840"/>
                    </a:lnTo>
                    <a:lnTo>
                      <a:pt x="337" y="842"/>
                    </a:lnTo>
                    <a:lnTo>
                      <a:pt x="337" y="844"/>
                    </a:lnTo>
                    <a:lnTo>
                      <a:pt x="337" y="845"/>
                    </a:lnTo>
                    <a:lnTo>
                      <a:pt x="337" y="847"/>
                    </a:lnTo>
                    <a:lnTo>
                      <a:pt x="335" y="847"/>
                    </a:lnTo>
                    <a:lnTo>
                      <a:pt x="333" y="849"/>
                    </a:lnTo>
                    <a:lnTo>
                      <a:pt x="332" y="849"/>
                    </a:lnTo>
                    <a:lnTo>
                      <a:pt x="330" y="849"/>
                    </a:lnTo>
                    <a:lnTo>
                      <a:pt x="328" y="849"/>
                    </a:lnTo>
                    <a:lnTo>
                      <a:pt x="328" y="850"/>
                    </a:lnTo>
                    <a:lnTo>
                      <a:pt x="326" y="850"/>
                    </a:lnTo>
                    <a:lnTo>
                      <a:pt x="325" y="850"/>
                    </a:lnTo>
                    <a:lnTo>
                      <a:pt x="323" y="850"/>
                    </a:lnTo>
                    <a:lnTo>
                      <a:pt x="321" y="850"/>
                    </a:lnTo>
                    <a:lnTo>
                      <a:pt x="321" y="852"/>
                    </a:lnTo>
                    <a:lnTo>
                      <a:pt x="320" y="852"/>
                    </a:lnTo>
                    <a:lnTo>
                      <a:pt x="318" y="850"/>
                    </a:lnTo>
                    <a:lnTo>
                      <a:pt x="316" y="849"/>
                    </a:lnTo>
                    <a:lnTo>
                      <a:pt x="316" y="847"/>
                    </a:lnTo>
                    <a:lnTo>
                      <a:pt x="315" y="847"/>
                    </a:lnTo>
                    <a:lnTo>
                      <a:pt x="315" y="845"/>
                    </a:lnTo>
                    <a:lnTo>
                      <a:pt x="316" y="844"/>
                    </a:lnTo>
                    <a:lnTo>
                      <a:pt x="315" y="842"/>
                    </a:lnTo>
                    <a:lnTo>
                      <a:pt x="316" y="842"/>
                    </a:lnTo>
                    <a:lnTo>
                      <a:pt x="316" y="840"/>
                    </a:lnTo>
                    <a:lnTo>
                      <a:pt x="315" y="840"/>
                    </a:lnTo>
                    <a:lnTo>
                      <a:pt x="315" y="839"/>
                    </a:lnTo>
                    <a:lnTo>
                      <a:pt x="313" y="839"/>
                    </a:lnTo>
                    <a:lnTo>
                      <a:pt x="313" y="837"/>
                    </a:lnTo>
                    <a:lnTo>
                      <a:pt x="311" y="837"/>
                    </a:lnTo>
                    <a:lnTo>
                      <a:pt x="311" y="835"/>
                    </a:lnTo>
                    <a:lnTo>
                      <a:pt x="309" y="835"/>
                    </a:lnTo>
                    <a:lnTo>
                      <a:pt x="308" y="835"/>
                    </a:lnTo>
                    <a:lnTo>
                      <a:pt x="306" y="835"/>
                    </a:lnTo>
                    <a:lnTo>
                      <a:pt x="306" y="833"/>
                    </a:lnTo>
                    <a:lnTo>
                      <a:pt x="304" y="833"/>
                    </a:lnTo>
                    <a:lnTo>
                      <a:pt x="303" y="835"/>
                    </a:lnTo>
                    <a:lnTo>
                      <a:pt x="301" y="835"/>
                    </a:lnTo>
                    <a:lnTo>
                      <a:pt x="299" y="835"/>
                    </a:lnTo>
                    <a:lnTo>
                      <a:pt x="299" y="837"/>
                    </a:lnTo>
                    <a:lnTo>
                      <a:pt x="298" y="837"/>
                    </a:lnTo>
                    <a:lnTo>
                      <a:pt x="298" y="839"/>
                    </a:lnTo>
                    <a:lnTo>
                      <a:pt x="296" y="839"/>
                    </a:lnTo>
                    <a:lnTo>
                      <a:pt x="296" y="840"/>
                    </a:lnTo>
                    <a:lnTo>
                      <a:pt x="294" y="840"/>
                    </a:lnTo>
                    <a:lnTo>
                      <a:pt x="292" y="840"/>
                    </a:lnTo>
                    <a:lnTo>
                      <a:pt x="291" y="840"/>
                    </a:lnTo>
                    <a:lnTo>
                      <a:pt x="291" y="842"/>
                    </a:lnTo>
                    <a:lnTo>
                      <a:pt x="291" y="844"/>
                    </a:lnTo>
                    <a:lnTo>
                      <a:pt x="289" y="844"/>
                    </a:lnTo>
                    <a:lnTo>
                      <a:pt x="289" y="845"/>
                    </a:lnTo>
                    <a:lnTo>
                      <a:pt x="289" y="847"/>
                    </a:lnTo>
                    <a:lnTo>
                      <a:pt x="291" y="847"/>
                    </a:lnTo>
                    <a:lnTo>
                      <a:pt x="291" y="849"/>
                    </a:lnTo>
                    <a:lnTo>
                      <a:pt x="291" y="847"/>
                    </a:lnTo>
                    <a:lnTo>
                      <a:pt x="292" y="847"/>
                    </a:lnTo>
                    <a:lnTo>
                      <a:pt x="292" y="849"/>
                    </a:lnTo>
                    <a:lnTo>
                      <a:pt x="294" y="849"/>
                    </a:lnTo>
                    <a:lnTo>
                      <a:pt x="294" y="850"/>
                    </a:lnTo>
                    <a:lnTo>
                      <a:pt x="296" y="850"/>
                    </a:lnTo>
                    <a:lnTo>
                      <a:pt x="298" y="850"/>
                    </a:lnTo>
                    <a:lnTo>
                      <a:pt x="299" y="852"/>
                    </a:lnTo>
                    <a:lnTo>
                      <a:pt x="301" y="852"/>
                    </a:lnTo>
                    <a:lnTo>
                      <a:pt x="301" y="854"/>
                    </a:lnTo>
                    <a:lnTo>
                      <a:pt x="303" y="854"/>
                    </a:lnTo>
                    <a:lnTo>
                      <a:pt x="304" y="854"/>
                    </a:lnTo>
                    <a:lnTo>
                      <a:pt x="306" y="854"/>
                    </a:lnTo>
                    <a:lnTo>
                      <a:pt x="306" y="856"/>
                    </a:lnTo>
                    <a:lnTo>
                      <a:pt x="308" y="856"/>
                    </a:lnTo>
                    <a:lnTo>
                      <a:pt x="309" y="856"/>
                    </a:lnTo>
                    <a:lnTo>
                      <a:pt x="311" y="856"/>
                    </a:lnTo>
                    <a:lnTo>
                      <a:pt x="313" y="854"/>
                    </a:lnTo>
                    <a:lnTo>
                      <a:pt x="313" y="856"/>
                    </a:lnTo>
                    <a:lnTo>
                      <a:pt x="313" y="857"/>
                    </a:lnTo>
                    <a:lnTo>
                      <a:pt x="311" y="857"/>
                    </a:lnTo>
                    <a:lnTo>
                      <a:pt x="311" y="859"/>
                    </a:lnTo>
                    <a:lnTo>
                      <a:pt x="309" y="859"/>
                    </a:lnTo>
                    <a:lnTo>
                      <a:pt x="309" y="861"/>
                    </a:lnTo>
                    <a:lnTo>
                      <a:pt x="308" y="861"/>
                    </a:lnTo>
                    <a:lnTo>
                      <a:pt x="306" y="861"/>
                    </a:lnTo>
                    <a:lnTo>
                      <a:pt x="304" y="862"/>
                    </a:lnTo>
                    <a:lnTo>
                      <a:pt x="303" y="862"/>
                    </a:lnTo>
                    <a:lnTo>
                      <a:pt x="301" y="864"/>
                    </a:lnTo>
                    <a:lnTo>
                      <a:pt x="298" y="864"/>
                    </a:lnTo>
                    <a:lnTo>
                      <a:pt x="294" y="866"/>
                    </a:lnTo>
                    <a:lnTo>
                      <a:pt x="294" y="867"/>
                    </a:lnTo>
                    <a:lnTo>
                      <a:pt x="291" y="869"/>
                    </a:lnTo>
                    <a:lnTo>
                      <a:pt x="289" y="871"/>
                    </a:lnTo>
                    <a:lnTo>
                      <a:pt x="289" y="873"/>
                    </a:lnTo>
                    <a:lnTo>
                      <a:pt x="287" y="874"/>
                    </a:lnTo>
                    <a:lnTo>
                      <a:pt x="289" y="874"/>
                    </a:lnTo>
                    <a:lnTo>
                      <a:pt x="289" y="876"/>
                    </a:lnTo>
                    <a:lnTo>
                      <a:pt x="287" y="876"/>
                    </a:lnTo>
                    <a:lnTo>
                      <a:pt x="287" y="878"/>
                    </a:lnTo>
                    <a:lnTo>
                      <a:pt x="286" y="878"/>
                    </a:lnTo>
                    <a:lnTo>
                      <a:pt x="286" y="879"/>
                    </a:lnTo>
                    <a:lnTo>
                      <a:pt x="284" y="879"/>
                    </a:lnTo>
                    <a:lnTo>
                      <a:pt x="284" y="881"/>
                    </a:lnTo>
                    <a:lnTo>
                      <a:pt x="284" y="883"/>
                    </a:lnTo>
                    <a:lnTo>
                      <a:pt x="282" y="883"/>
                    </a:lnTo>
                    <a:lnTo>
                      <a:pt x="282" y="884"/>
                    </a:lnTo>
                    <a:lnTo>
                      <a:pt x="281" y="884"/>
                    </a:lnTo>
                    <a:lnTo>
                      <a:pt x="281" y="886"/>
                    </a:lnTo>
                    <a:lnTo>
                      <a:pt x="279" y="886"/>
                    </a:lnTo>
                    <a:lnTo>
                      <a:pt x="279" y="888"/>
                    </a:lnTo>
                    <a:lnTo>
                      <a:pt x="279" y="890"/>
                    </a:lnTo>
                    <a:lnTo>
                      <a:pt x="279" y="891"/>
                    </a:lnTo>
                    <a:lnTo>
                      <a:pt x="279" y="893"/>
                    </a:lnTo>
                    <a:lnTo>
                      <a:pt x="279" y="895"/>
                    </a:lnTo>
                    <a:lnTo>
                      <a:pt x="279" y="896"/>
                    </a:lnTo>
                    <a:lnTo>
                      <a:pt x="279" y="898"/>
                    </a:lnTo>
                    <a:lnTo>
                      <a:pt x="279" y="900"/>
                    </a:lnTo>
                    <a:lnTo>
                      <a:pt x="281" y="900"/>
                    </a:lnTo>
                    <a:lnTo>
                      <a:pt x="281" y="901"/>
                    </a:lnTo>
                    <a:lnTo>
                      <a:pt x="281" y="903"/>
                    </a:lnTo>
                    <a:lnTo>
                      <a:pt x="282" y="903"/>
                    </a:lnTo>
                    <a:lnTo>
                      <a:pt x="281" y="903"/>
                    </a:lnTo>
                    <a:lnTo>
                      <a:pt x="282" y="905"/>
                    </a:lnTo>
                    <a:lnTo>
                      <a:pt x="282" y="907"/>
                    </a:lnTo>
                    <a:lnTo>
                      <a:pt x="284" y="905"/>
                    </a:lnTo>
                    <a:lnTo>
                      <a:pt x="282" y="907"/>
                    </a:lnTo>
                    <a:lnTo>
                      <a:pt x="282" y="908"/>
                    </a:lnTo>
                    <a:lnTo>
                      <a:pt x="282" y="910"/>
                    </a:lnTo>
                    <a:lnTo>
                      <a:pt x="282" y="912"/>
                    </a:lnTo>
                    <a:lnTo>
                      <a:pt x="281" y="910"/>
                    </a:lnTo>
                    <a:lnTo>
                      <a:pt x="281" y="912"/>
                    </a:lnTo>
                    <a:lnTo>
                      <a:pt x="279" y="912"/>
                    </a:lnTo>
                    <a:lnTo>
                      <a:pt x="279" y="913"/>
                    </a:lnTo>
                    <a:lnTo>
                      <a:pt x="279" y="915"/>
                    </a:lnTo>
                    <a:lnTo>
                      <a:pt x="281" y="915"/>
                    </a:lnTo>
                    <a:lnTo>
                      <a:pt x="281" y="917"/>
                    </a:lnTo>
                    <a:lnTo>
                      <a:pt x="281" y="918"/>
                    </a:lnTo>
                    <a:lnTo>
                      <a:pt x="282" y="918"/>
                    </a:lnTo>
                    <a:lnTo>
                      <a:pt x="281" y="920"/>
                    </a:lnTo>
                    <a:lnTo>
                      <a:pt x="282" y="920"/>
                    </a:lnTo>
                    <a:lnTo>
                      <a:pt x="282" y="922"/>
                    </a:lnTo>
                    <a:lnTo>
                      <a:pt x="281" y="922"/>
                    </a:lnTo>
                    <a:lnTo>
                      <a:pt x="281" y="924"/>
                    </a:lnTo>
                    <a:lnTo>
                      <a:pt x="279" y="924"/>
                    </a:lnTo>
                    <a:lnTo>
                      <a:pt x="279" y="925"/>
                    </a:lnTo>
                    <a:lnTo>
                      <a:pt x="279" y="927"/>
                    </a:lnTo>
                    <a:lnTo>
                      <a:pt x="281" y="927"/>
                    </a:lnTo>
                    <a:lnTo>
                      <a:pt x="281" y="929"/>
                    </a:lnTo>
                    <a:lnTo>
                      <a:pt x="279" y="929"/>
                    </a:lnTo>
                    <a:lnTo>
                      <a:pt x="277" y="929"/>
                    </a:lnTo>
                    <a:lnTo>
                      <a:pt x="277" y="930"/>
                    </a:lnTo>
                    <a:lnTo>
                      <a:pt x="277" y="932"/>
                    </a:lnTo>
                    <a:lnTo>
                      <a:pt x="277" y="930"/>
                    </a:lnTo>
                    <a:lnTo>
                      <a:pt x="277" y="932"/>
                    </a:lnTo>
                    <a:lnTo>
                      <a:pt x="275" y="930"/>
                    </a:lnTo>
                    <a:lnTo>
                      <a:pt x="274" y="930"/>
                    </a:lnTo>
                    <a:lnTo>
                      <a:pt x="274" y="932"/>
                    </a:lnTo>
                    <a:lnTo>
                      <a:pt x="272" y="932"/>
                    </a:lnTo>
                    <a:lnTo>
                      <a:pt x="272" y="934"/>
                    </a:lnTo>
                    <a:lnTo>
                      <a:pt x="270" y="934"/>
                    </a:lnTo>
                    <a:lnTo>
                      <a:pt x="269" y="935"/>
                    </a:lnTo>
                    <a:lnTo>
                      <a:pt x="267" y="937"/>
                    </a:lnTo>
                    <a:lnTo>
                      <a:pt x="267" y="939"/>
                    </a:lnTo>
                    <a:lnTo>
                      <a:pt x="267" y="941"/>
                    </a:lnTo>
                    <a:lnTo>
                      <a:pt x="267" y="942"/>
                    </a:lnTo>
                    <a:lnTo>
                      <a:pt x="265" y="942"/>
                    </a:lnTo>
                    <a:lnTo>
                      <a:pt x="265" y="944"/>
                    </a:lnTo>
                    <a:lnTo>
                      <a:pt x="265" y="946"/>
                    </a:lnTo>
                    <a:lnTo>
                      <a:pt x="267" y="946"/>
                    </a:lnTo>
                    <a:lnTo>
                      <a:pt x="269" y="946"/>
                    </a:lnTo>
                    <a:lnTo>
                      <a:pt x="270" y="947"/>
                    </a:lnTo>
                    <a:lnTo>
                      <a:pt x="270" y="946"/>
                    </a:lnTo>
                    <a:lnTo>
                      <a:pt x="270" y="947"/>
                    </a:lnTo>
                    <a:lnTo>
                      <a:pt x="272" y="947"/>
                    </a:lnTo>
                    <a:lnTo>
                      <a:pt x="272" y="949"/>
                    </a:lnTo>
                    <a:lnTo>
                      <a:pt x="270" y="949"/>
                    </a:lnTo>
                    <a:lnTo>
                      <a:pt x="270" y="951"/>
                    </a:lnTo>
                    <a:lnTo>
                      <a:pt x="269" y="951"/>
                    </a:lnTo>
                    <a:lnTo>
                      <a:pt x="269" y="952"/>
                    </a:lnTo>
                    <a:lnTo>
                      <a:pt x="270" y="952"/>
                    </a:lnTo>
                    <a:lnTo>
                      <a:pt x="269" y="952"/>
                    </a:lnTo>
                    <a:lnTo>
                      <a:pt x="269" y="954"/>
                    </a:lnTo>
                    <a:lnTo>
                      <a:pt x="269" y="952"/>
                    </a:lnTo>
                    <a:lnTo>
                      <a:pt x="267" y="952"/>
                    </a:lnTo>
                    <a:lnTo>
                      <a:pt x="267" y="954"/>
                    </a:lnTo>
                    <a:lnTo>
                      <a:pt x="265" y="952"/>
                    </a:lnTo>
                    <a:lnTo>
                      <a:pt x="264" y="952"/>
                    </a:lnTo>
                    <a:lnTo>
                      <a:pt x="262" y="952"/>
                    </a:lnTo>
                    <a:lnTo>
                      <a:pt x="264" y="952"/>
                    </a:lnTo>
                    <a:lnTo>
                      <a:pt x="262" y="952"/>
                    </a:lnTo>
                    <a:lnTo>
                      <a:pt x="262" y="951"/>
                    </a:lnTo>
                    <a:lnTo>
                      <a:pt x="260" y="951"/>
                    </a:lnTo>
                    <a:lnTo>
                      <a:pt x="260" y="952"/>
                    </a:lnTo>
                    <a:lnTo>
                      <a:pt x="258" y="952"/>
                    </a:lnTo>
                    <a:lnTo>
                      <a:pt x="258" y="954"/>
                    </a:lnTo>
                    <a:lnTo>
                      <a:pt x="257" y="954"/>
                    </a:lnTo>
                    <a:lnTo>
                      <a:pt x="257" y="952"/>
                    </a:lnTo>
                    <a:lnTo>
                      <a:pt x="255" y="951"/>
                    </a:lnTo>
                    <a:lnTo>
                      <a:pt x="253" y="951"/>
                    </a:lnTo>
                    <a:lnTo>
                      <a:pt x="252" y="951"/>
                    </a:lnTo>
                    <a:lnTo>
                      <a:pt x="250" y="951"/>
                    </a:lnTo>
                    <a:lnTo>
                      <a:pt x="248" y="952"/>
                    </a:lnTo>
                    <a:lnTo>
                      <a:pt x="247" y="954"/>
                    </a:lnTo>
                    <a:lnTo>
                      <a:pt x="245" y="954"/>
                    </a:lnTo>
                    <a:lnTo>
                      <a:pt x="245" y="952"/>
                    </a:lnTo>
                    <a:lnTo>
                      <a:pt x="243" y="954"/>
                    </a:lnTo>
                    <a:lnTo>
                      <a:pt x="245" y="954"/>
                    </a:lnTo>
                    <a:lnTo>
                      <a:pt x="243" y="954"/>
                    </a:lnTo>
                    <a:lnTo>
                      <a:pt x="241" y="954"/>
                    </a:lnTo>
                    <a:lnTo>
                      <a:pt x="240" y="954"/>
                    </a:lnTo>
                    <a:lnTo>
                      <a:pt x="240" y="956"/>
                    </a:lnTo>
                    <a:lnTo>
                      <a:pt x="238" y="958"/>
                    </a:lnTo>
                    <a:lnTo>
                      <a:pt x="238" y="959"/>
                    </a:lnTo>
                    <a:lnTo>
                      <a:pt x="240" y="958"/>
                    </a:lnTo>
                    <a:lnTo>
                      <a:pt x="240" y="959"/>
                    </a:lnTo>
                    <a:lnTo>
                      <a:pt x="238" y="959"/>
                    </a:lnTo>
                    <a:lnTo>
                      <a:pt x="238" y="958"/>
                    </a:lnTo>
                    <a:lnTo>
                      <a:pt x="236" y="958"/>
                    </a:lnTo>
                    <a:lnTo>
                      <a:pt x="236" y="959"/>
                    </a:lnTo>
                    <a:lnTo>
                      <a:pt x="238" y="959"/>
                    </a:lnTo>
                    <a:lnTo>
                      <a:pt x="238" y="961"/>
                    </a:lnTo>
                    <a:lnTo>
                      <a:pt x="238" y="963"/>
                    </a:lnTo>
                    <a:lnTo>
                      <a:pt x="238" y="961"/>
                    </a:lnTo>
                    <a:lnTo>
                      <a:pt x="236" y="961"/>
                    </a:lnTo>
                    <a:lnTo>
                      <a:pt x="235" y="961"/>
                    </a:lnTo>
                    <a:lnTo>
                      <a:pt x="233" y="961"/>
                    </a:lnTo>
                    <a:lnTo>
                      <a:pt x="233" y="963"/>
                    </a:lnTo>
                    <a:lnTo>
                      <a:pt x="231" y="963"/>
                    </a:lnTo>
                    <a:lnTo>
                      <a:pt x="230" y="963"/>
                    </a:lnTo>
                    <a:lnTo>
                      <a:pt x="228" y="963"/>
                    </a:lnTo>
                    <a:lnTo>
                      <a:pt x="226" y="963"/>
                    </a:lnTo>
                    <a:lnTo>
                      <a:pt x="224" y="964"/>
                    </a:lnTo>
                    <a:lnTo>
                      <a:pt x="223" y="966"/>
                    </a:lnTo>
                    <a:lnTo>
                      <a:pt x="221" y="966"/>
                    </a:lnTo>
                    <a:lnTo>
                      <a:pt x="221" y="968"/>
                    </a:lnTo>
                    <a:lnTo>
                      <a:pt x="219" y="969"/>
                    </a:lnTo>
                    <a:lnTo>
                      <a:pt x="218" y="971"/>
                    </a:lnTo>
                    <a:lnTo>
                      <a:pt x="218" y="973"/>
                    </a:lnTo>
                    <a:lnTo>
                      <a:pt x="216" y="975"/>
                    </a:lnTo>
                    <a:lnTo>
                      <a:pt x="214" y="976"/>
                    </a:lnTo>
                    <a:lnTo>
                      <a:pt x="214" y="978"/>
                    </a:lnTo>
                    <a:lnTo>
                      <a:pt x="213" y="978"/>
                    </a:lnTo>
                    <a:lnTo>
                      <a:pt x="213" y="980"/>
                    </a:lnTo>
                    <a:lnTo>
                      <a:pt x="211" y="980"/>
                    </a:lnTo>
                    <a:lnTo>
                      <a:pt x="211" y="981"/>
                    </a:lnTo>
                    <a:lnTo>
                      <a:pt x="211" y="983"/>
                    </a:lnTo>
                    <a:lnTo>
                      <a:pt x="211" y="985"/>
                    </a:lnTo>
                    <a:lnTo>
                      <a:pt x="211" y="987"/>
                    </a:lnTo>
                    <a:lnTo>
                      <a:pt x="209" y="987"/>
                    </a:lnTo>
                    <a:lnTo>
                      <a:pt x="211" y="988"/>
                    </a:lnTo>
                    <a:lnTo>
                      <a:pt x="209" y="988"/>
                    </a:lnTo>
                    <a:lnTo>
                      <a:pt x="211" y="990"/>
                    </a:lnTo>
                    <a:lnTo>
                      <a:pt x="209" y="990"/>
                    </a:lnTo>
                    <a:lnTo>
                      <a:pt x="207" y="990"/>
                    </a:lnTo>
                    <a:lnTo>
                      <a:pt x="207" y="992"/>
                    </a:lnTo>
                    <a:lnTo>
                      <a:pt x="206" y="992"/>
                    </a:lnTo>
                    <a:lnTo>
                      <a:pt x="207" y="993"/>
                    </a:lnTo>
                    <a:lnTo>
                      <a:pt x="206" y="993"/>
                    </a:lnTo>
                    <a:lnTo>
                      <a:pt x="206" y="995"/>
                    </a:lnTo>
                    <a:lnTo>
                      <a:pt x="204" y="995"/>
                    </a:lnTo>
                    <a:lnTo>
                      <a:pt x="204" y="997"/>
                    </a:lnTo>
                    <a:lnTo>
                      <a:pt x="204" y="998"/>
                    </a:lnTo>
                    <a:lnTo>
                      <a:pt x="202" y="998"/>
                    </a:lnTo>
                    <a:lnTo>
                      <a:pt x="202" y="1000"/>
                    </a:lnTo>
                    <a:lnTo>
                      <a:pt x="202" y="1002"/>
                    </a:lnTo>
                    <a:lnTo>
                      <a:pt x="201" y="1002"/>
                    </a:lnTo>
                    <a:lnTo>
                      <a:pt x="202" y="1002"/>
                    </a:lnTo>
                    <a:lnTo>
                      <a:pt x="201" y="1004"/>
                    </a:lnTo>
                    <a:lnTo>
                      <a:pt x="201" y="1005"/>
                    </a:lnTo>
                    <a:lnTo>
                      <a:pt x="201" y="1007"/>
                    </a:lnTo>
                    <a:lnTo>
                      <a:pt x="202" y="1009"/>
                    </a:lnTo>
                    <a:lnTo>
                      <a:pt x="202" y="1012"/>
                    </a:lnTo>
                    <a:lnTo>
                      <a:pt x="202" y="1014"/>
                    </a:lnTo>
                    <a:lnTo>
                      <a:pt x="202" y="1015"/>
                    </a:lnTo>
                    <a:lnTo>
                      <a:pt x="204" y="1017"/>
                    </a:lnTo>
                    <a:lnTo>
                      <a:pt x="204" y="1019"/>
                    </a:lnTo>
                    <a:lnTo>
                      <a:pt x="206" y="1021"/>
                    </a:lnTo>
                    <a:lnTo>
                      <a:pt x="206" y="1022"/>
                    </a:lnTo>
                    <a:lnTo>
                      <a:pt x="206" y="1024"/>
                    </a:lnTo>
                    <a:lnTo>
                      <a:pt x="207" y="1024"/>
                    </a:lnTo>
                    <a:lnTo>
                      <a:pt x="207" y="1027"/>
                    </a:lnTo>
                    <a:lnTo>
                      <a:pt x="209" y="1027"/>
                    </a:lnTo>
                    <a:lnTo>
                      <a:pt x="209" y="1029"/>
                    </a:lnTo>
                    <a:lnTo>
                      <a:pt x="211" y="1029"/>
                    </a:lnTo>
                    <a:lnTo>
                      <a:pt x="211" y="1031"/>
                    </a:lnTo>
                    <a:lnTo>
                      <a:pt x="213" y="1031"/>
                    </a:lnTo>
                    <a:lnTo>
                      <a:pt x="214" y="1031"/>
                    </a:lnTo>
                    <a:lnTo>
                      <a:pt x="214" y="1032"/>
                    </a:lnTo>
                    <a:lnTo>
                      <a:pt x="216" y="1032"/>
                    </a:lnTo>
                    <a:lnTo>
                      <a:pt x="218" y="1034"/>
                    </a:lnTo>
                    <a:lnTo>
                      <a:pt x="219" y="1036"/>
                    </a:lnTo>
                    <a:lnTo>
                      <a:pt x="219" y="1038"/>
                    </a:lnTo>
                    <a:lnTo>
                      <a:pt x="221" y="1038"/>
                    </a:lnTo>
                    <a:lnTo>
                      <a:pt x="221" y="1039"/>
                    </a:lnTo>
                    <a:lnTo>
                      <a:pt x="223" y="1041"/>
                    </a:lnTo>
                    <a:lnTo>
                      <a:pt x="224" y="1043"/>
                    </a:lnTo>
                    <a:lnTo>
                      <a:pt x="226" y="1044"/>
                    </a:lnTo>
                    <a:lnTo>
                      <a:pt x="228" y="1046"/>
                    </a:lnTo>
                    <a:lnTo>
                      <a:pt x="228" y="1048"/>
                    </a:lnTo>
                    <a:lnTo>
                      <a:pt x="230" y="1048"/>
                    </a:lnTo>
                    <a:lnTo>
                      <a:pt x="230" y="1049"/>
                    </a:lnTo>
                    <a:lnTo>
                      <a:pt x="231" y="1049"/>
                    </a:lnTo>
                    <a:lnTo>
                      <a:pt x="233" y="1049"/>
                    </a:lnTo>
                    <a:lnTo>
                      <a:pt x="235" y="1051"/>
                    </a:lnTo>
                    <a:lnTo>
                      <a:pt x="236" y="1051"/>
                    </a:lnTo>
                    <a:lnTo>
                      <a:pt x="238" y="1051"/>
                    </a:lnTo>
                    <a:lnTo>
                      <a:pt x="240" y="1051"/>
                    </a:lnTo>
                    <a:lnTo>
                      <a:pt x="241" y="1051"/>
                    </a:lnTo>
                    <a:lnTo>
                      <a:pt x="243" y="1051"/>
                    </a:lnTo>
                    <a:lnTo>
                      <a:pt x="245" y="1051"/>
                    </a:lnTo>
                    <a:lnTo>
                      <a:pt x="245" y="1053"/>
                    </a:lnTo>
                    <a:lnTo>
                      <a:pt x="247" y="1053"/>
                    </a:lnTo>
                    <a:lnTo>
                      <a:pt x="248" y="1053"/>
                    </a:lnTo>
                    <a:lnTo>
                      <a:pt x="250" y="1053"/>
                    </a:lnTo>
                    <a:lnTo>
                      <a:pt x="252" y="1053"/>
                    </a:lnTo>
                    <a:lnTo>
                      <a:pt x="253" y="1053"/>
                    </a:lnTo>
                    <a:lnTo>
                      <a:pt x="255" y="1053"/>
                    </a:lnTo>
                    <a:lnTo>
                      <a:pt x="257" y="1053"/>
                    </a:lnTo>
                    <a:lnTo>
                      <a:pt x="258" y="1053"/>
                    </a:lnTo>
                    <a:lnTo>
                      <a:pt x="260" y="1053"/>
                    </a:lnTo>
                    <a:lnTo>
                      <a:pt x="262" y="1055"/>
                    </a:lnTo>
                    <a:lnTo>
                      <a:pt x="262" y="1056"/>
                    </a:lnTo>
                    <a:lnTo>
                      <a:pt x="264" y="1056"/>
                    </a:lnTo>
                    <a:lnTo>
                      <a:pt x="265" y="1058"/>
                    </a:lnTo>
                    <a:lnTo>
                      <a:pt x="265" y="1060"/>
                    </a:lnTo>
                    <a:lnTo>
                      <a:pt x="265" y="1061"/>
                    </a:lnTo>
                    <a:lnTo>
                      <a:pt x="265" y="1063"/>
                    </a:lnTo>
                    <a:lnTo>
                      <a:pt x="265" y="1065"/>
                    </a:lnTo>
                    <a:lnTo>
                      <a:pt x="265" y="1066"/>
                    </a:lnTo>
                    <a:lnTo>
                      <a:pt x="265" y="1068"/>
                    </a:lnTo>
                    <a:lnTo>
                      <a:pt x="265" y="1070"/>
                    </a:lnTo>
                    <a:lnTo>
                      <a:pt x="265" y="1072"/>
                    </a:lnTo>
                    <a:lnTo>
                      <a:pt x="265" y="1073"/>
                    </a:lnTo>
                    <a:lnTo>
                      <a:pt x="265" y="1075"/>
                    </a:lnTo>
                    <a:lnTo>
                      <a:pt x="265" y="1077"/>
                    </a:lnTo>
                    <a:lnTo>
                      <a:pt x="264" y="1077"/>
                    </a:lnTo>
                    <a:lnTo>
                      <a:pt x="264" y="1078"/>
                    </a:lnTo>
                    <a:lnTo>
                      <a:pt x="264" y="1080"/>
                    </a:lnTo>
                    <a:lnTo>
                      <a:pt x="262" y="1082"/>
                    </a:lnTo>
                    <a:lnTo>
                      <a:pt x="262" y="1083"/>
                    </a:lnTo>
                    <a:lnTo>
                      <a:pt x="262" y="1085"/>
                    </a:lnTo>
                    <a:lnTo>
                      <a:pt x="260" y="1087"/>
                    </a:lnTo>
                    <a:lnTo>
                      <a:pt x="260" y="1089"/>
                    </a:lnTo>
                    <a:lnTo>
                      <a:pt x="260" y="1090"/>
                    </a:lnTo>
                    <a:lnTo>
                      <a:pt x="260" y="1092"/>
                    </a:lnTo>
                    <a:lnTo>
                      <a:pt x="262" y="1092"/>
                    </a:lnTo>
                    <a:lnTo>
                      <a:pt x="262" y="1094"/>
                    </a:lnTo>
                    <a:lnTo>
                      <a:pt x="264" y="1094"/>
                    </a:lnTo>
                    <a:lnTo>
                      <a:pt x="264" y="1095"/>
                    </a:lnTo>
                    <a:lnTo>
                      <a:pt x="262" y="1097"/>
                    </a:lnTo>
                    <a:lnTo>
                      <a:pt x="262" y="1095"/>
                    </a:lnTo>
                    <a:lnTo>
                      <a:pt x="260" y="1095"/>
                    </a:lnTo>
                    <a:lnTo>
                      <a:pt x="258" y="1095"/>
                    </a:lnTo>
                    <a:lnTo>
                      <a:pt x="258" y="1097"/>
                    </a:lnTo>
                    <a:lnTo>
                      <a:pt x="258" y="1099"/>
                    </a:lnTo>
                    <a:lnTo>
                      <a:pt x="258" y="1100"/>
                    </a:lnTo>
                    <a:lnTo>
                      <a:pt x="257" y="1100"/>
                    </a:lnTo>
                    <a:lnTo>
                      <a:pt x="257" y="1102"/>
                    </a:lnTo>
                    <a:lnTo>
                      <a:pt x="258" y="1102"/>
                    </a:lnTo>
                    <a:lnTo>
                      <a:pt x="260" y="1102"/>
                    </a:lnTo>
                    <a:lnTo>
                      <a:pt x="260" y="1104"/>
                    </a:lnTo>
                    <a:lnTo>
                      <a:pt x="258" y="1104"/>
                    </a:lnTo>
                    <a:lnTo>
                      <a:pt x="260" y="1104"/>
                    </a:lnTo>
                    <a:lnTo>
                      <a:pt x="258" y="1104"/>
                    </a:lnTo>
                    <a:lnTo>
                      <a:pt x="257" y="1104"/>
                    </a:lnTo>
                    <a:lnTo>
                      <a:pt x="255" y="1104"/>
                    </a:lnTo>
                    <a:lnTo>
                      <a:pt x="253" y="1104"/>
                    </a:lnTo>
                    <a:lnTo>
                      <a:pt x="252" y="1104"/>
                    </a:lnTo>
                    <a:lnTo>
                      <a:pt x="252" y="1106"/>
                    </a:lnTo>
                    <a:lnTo>
                      <a:pt x="252" y="1107"/>
                    </a:lnTo>
                    <a:lnTo>
                      <a:pt x="250" y="1107"/>
                    </a:lnTo>
                    <a:lnTo>
                      <a:pt x="252" y="1109"/>
                    </a:lnTo>
                    <a:lnTo>
                      <a:pt x="250" y="1109"/>
                    </a:lnTo>
                    <a:lnTo>
                      <a:pt x="248" y="1109"/>
                    </a:lnTo>
                    <a:lnTo>
                      <a:pt x="247" y="1111"/>
                    </a:lnTo>
                    <a:lnTo>
                      <a:pt x="247" y="1112"/>
                    </a:lnTo>
                    <a:lnTo>
                      <a:pt x="245" y="1112"/>
                    </a:lnTo>
                    <a:lnTo>
                      <a:pt x="245" y="1114"/>
                    </a:lnTo>
                    <a:lnTo>
                      <a:pt x="245" y="1116"/>
                    </a:lnTo>
                    <a:lnTo>
                      <a:pt x="245" y="1117"/>
                    </a:lnTo>
                    <a:lnTo>
                      <a:pt x="245" y="1116"/>
                    </a:lnTo>
                    <a:lnTo>
                      <a:pt x="245" y="1117"/>
                    </a:lnTo>
                    <a:lnTo>
                      <a:pt x="243" y="1116"/>
                    </a:lnTo>
                    <a:lnTo>
                      <a:pt x="241" y="1116"/>
                    </a:lnTo>
                    <a:lnTo>
                      <a:pt x="240" y="1117"/>
                    </a:lnTo>
                    <a:lnTo>
                      <a:pt x="240" y="1119"/>
                    </a:lnTo>
                    <a:lnTo>
                      <a:pt x="238" y="1119"/>
                    </a:lnTo>
                    <a:lnTo>
                      <a:pt x="238" y="1121"/>
                    </a:lnTo>
                    <a:lnTo>
                      <a:pt x="238" y="1119"/>
                    </a:lnTo>
                    <a:lnTo>
                      <a:pt x="236" y="1119"/>
                    </a:lnTo>
                    <a:lnTo>
                      <a:pt x="235" y="1121"/>
                    </a:lnTo>
                    <a:lnTo>
                      <a:pt x="233" y="1121"/>
                    </a:lnTo>
                    <a:lnTo>
                      <a:pt x="231" y="1123"/>
                    </a:lnTo>
                    <a:lnTo>
                      <a:pt x="230" y="1124"/>
                    </a:lnTo>
                    <a:lnTo>
                      <a:pt x="228" y="1124"/>
                    </a:lnTo>
                    <a:lnTo>
                      <a:pt x="228" y="1126"/>
                    </a:lnTo>
                    <a:lnTo>
                      <a:pt x="226" y="1128"/>
                    </a:lnTo>
                    <a:lnTo>
                      <a:pt x="226" y="1129"/>
                    </a:lnTo>
                    <a:lnTo>
                      <a:pt x="224" y="1129"/>
                    </a:lnTo>
                    <a:lnTo>
                      <a:pt x="223" y="1129"/>
                    </a:lnTo>
                    <a:lnTo>
                      <a:pt x="221" y="1131"/>
                    </a:lnTo>
                    <a:lnTo>
                      <a:pt x="219" y="1133"/>
                    </a:lnTo>
                    <a:lnTo>
                      <a:pt x="218" y="1133"/>
                    </a:lnTo>
                    <a:lnTo>
                      <a:pt x="218" y="1135"/>
                    </a:lnTo>
                    <a:lnTo>
                      <a:pt x="218" y="1136"/>
                    </a:lnTo>
                    <a:lnTo>
                      <a:pt x="218" y="1138"/>
                    </a:lnTo>
                    <a:lnTo>
                      <a:pt x="216" y="1138"/>
                    </a:lnTo>
                    <a:lnTo>
                      <a:pt x="216" y="1140"/>
                    </a:lnTo>
                    <a:lnTo>
                      <a:pt x="216" y="1141"/>
                    </a:lnTo>
                    <a:lnTo>
                      <a:pt x="214" y="1141"/>
                    </a:lnTo>
                    <a:lnTo>
                      <a:pt x="213" y="1143"/>
                    </a:lnTo>
                    <a:lnTo>
                      <a:pt x="211" y="1143"/>
                    </a:lnTo>
                    <a:lnTo>
                      <a:pt x="209" y="1145"/>
                    </a:lnTo>
                    <a:lnTo>
                      <a:pt x="206" y="1146"/>
                    </a:lnTo>
                    <a:lnTo>
                      <a:pt x="206" y="1148"/>
                    </a:lnTo>
                    <a:lnTo>
                      <a:pt x="204" y="1150"/>
                    </a:lnTo>
                    <a:lnTo>
                      <a:pt x="204" y="1152"/>
                    </a:lnTo>
                    <a:lnTo>
                      <a:pt x="202" y="1152"/>
                    </a:lnTo>
                    <a:lnTo>
                      <a:pt x="202" y="1155"/>
                    </a:lnTo>
                    <a:lnTo>
                      <a:pt x="201" y="1157"/>
                    </a:lnTo>
                    <a:lnTo>
                      <a:pt x="202" y="1158"/>
                    </a:lnTo>
                    <a:lnTo>
                      <a:pt x="201" y="1160"/>
                    </a:lnTo>
                    <a:lnTo>
                      <a:pt x="199" y="1162"/>
                    </a:lnTo>
                    <a:lnTo>
                      <a:pt x="201" y="1162"/>
                    </a:lnTo>
                    <a:lnTo>
                      <a:pt x="199" y="1162"/>
                    </a:lnTo>
                    <a:lnTo>
                      <a:pt x="201" y="1163"/>
                    </a:lnTo>
                    <a:lnTo>
                      <a:pt x="202" y="1162"/>
                    </a:lnTo>
                    <a:lnTo>
                      <a:pt x="202" y="1163"/>
                    </a:lnTo>
                    <a:lnTo>
                      <a:pt x="202" y="1165"/>
                    </a:lnTo>
                    <a:lnTo>
                      <a:pt x="202" y="1167"/>
                    </a:lnTo>
                    <a:lnTo>
                      <a:pt x="201" y="1167"/>
                    </a:lnTo>
                    <a:lnTo>
                      <a:pt x="201" y="1169"/>
                    </a:lnTo>
                    <a:lnTo>
                      <a:pt x="201" y="1170"/>
                    </a:lnTo>
                    <a:lnTo>
                      <a:pt x="201" y="1172"/>
                    </a:lnTo>
                    <a:lnTo>
                      <a:pt x="199" y="1174"/>
                    </a:lnTo>
                    <a:lnTo>
                      <a:pt x="199" y="1175"/>
                    </a:lnTo>
                    <a:lnTo>
                      <a:pt x="199" y="1177"/>
                    </a:lnTo>
                    <a:lnTo>
                      <a:pt x="199" y="1179"/>
                    </a:lnTo>
                    <a:lnTo>
                      <a:pt x="199" y="1180"/>
                    </a:lnTo>
                    <a:lnTo>
                      <a:pt x="199" y="1182"/>
                    </a:lnTo>
                    <a:lnTo>
                      <a:pt x="199" y="1184"/>
                    </a:lnTo>
                    <a:lnTo>
                      <a:pt x="199" y="1186"/>
                    </a:lnTo>
                    <a:lnTo>
                      <a:pt x="199" y="1187"/>
                    </a:lnTo>
                    <a:lnTo>
                      <a:pt x="197" y="1189"/>
                    </a:lnTo>
                    <a:lnTo>
                      <a:pt x="197" y="1191"/>
                    </a:lnTo>
                    <a:lnTo>
                      <a:pt x="197" y="1192"/>
                    </a:lnTo>
                    <a:lnTo>
                      <a:pt x="196" y="1194"/>
                    </a:lnTo>
                    <a:lnTo>
                      <a:pt x="196" y="1196"/>
                    </a:lnTo>
                    <a:lnTo>
                      <a:pt x="196" y="1197"/>
                    </a:lnTo>
                    <a:lnTo>
                      <a:pt x="194" y="1197"/>
                    </a:lnTo>
                    <a:lnTo>
                      <a:pt x="194" y="1199"/>
                    </a:lnTo>
                    <a:lnTo>
                      <a:pt x="194" y="1201"/>
                    </a:lnTo>
                    <a:lnTo>
                      <a:pt x="192" y="1201"/>
                    </a:lnTo>
                    <a:lnTo>
                      <a:pt x="192" y="1203"/>
                    </a:lnTo>
                    <a:lnTo>
                      <a:pt x="190" y="1203"/>
                    </a:lnTo>
                    <a:lnTo>
                      <a:pt x="189" y="1204"/>
                    </a:lnTo>
                    <a:lnTo>
                      <a:pt x="187" y="1204"/>
                    </a:lnTo>
                    <a:lnTo>
                      <a:pt x="187" y="1206"/>
                    </a:lnTo>
                    <a:lnTo>
                      <a:pt x="185" y="1206"/>
                    </a:lnTo>
                    <a:lnTo>
                      <a:pt x="184" y="1208"/>
                    </a:lnTo>
                    <a:lnTo>
                      <a:pt x="182" y="1208"/>
                    </a:lnTo>
                    <a:lnTo>
                      <a:pt x="180" y="1208"/>
                    </a:lnTo>
                    <a:lnTo>
                      <a:pt x="179" y="1208"/>
                    </a:lnTo>
                    <a:lnTo>
                      <a:pt x="177" y="1208"/>
                    </a:lnTo>
                    <a:lnTo>
                      <a:pt x="177" y="1209"/>
                    </a:lnTo>
                    <a:lnTo>
                      <a:pt x="177" y="1211"/>
                    </a:lnTo>
                    <a:lnTo>
                      <a:pt x="175" y="1211"/>
                    </a:lnTo>
                    <a:lnTo>
                      <a:pt x="173" y="1213"/>
                    </a:lnTo>
                    <a:lnTo>
                      <a:pt x="172" y="1213"/>
                    </a:lnTo>
                    <a:lnTo>
                      <a:pt x="170" y="1213"/>
                    </a:lnTo>
                    <a:lnTo>
                      <a:pt x="170" y="1214"/>
                    </a:lnTo>
                    <a:lnTo>
                      <a:pt x="168" y="1214"/>
                    </a:lnTo>
                    <a:lnTo>
                      <a:pt x="167" y="1214"/>
                    </a:lnTo>
                    <a:lnTo>
                      <a:pt x="167" y="1216"/>
                    </a:lnTo>
                    <a:lnTo>
                      <a:pt x="167" y="1214"/>
                    </a:lnTo>
                    <a:lnTo>
                      <a:pt x="167" y="1216"/>
                    </a:lnTo>
                    <a:lnTo>
                      <a:pt x="165" y="1216"/>
                    </a:lnTo>
                    <a:lnTo>
                      <a:pt x="163" y="1216"/>
                    </a:lnTo>
                    <a:lnTo>
                      <a:pt x="162" y="1218"/>
                    </a:lnTo>
                    <a:lnTo>
                      <a:pt x="160" y="1218"/>
                    </a:lnTo>
                    <a:lnTo>
                      <a:pt x="160" y="1220"/>
                    </a:lnTo>
                    <a:lnTo>
                      <a:pt x="158" y="1220"/>
                    </a:lnTo>
                    <a:lnTo>
                      <a:pt x="160" y="1221"/>
                    </a:lnTo>
                    <a:lnTo>
                      <a:pt x="158" y="1221"/>
                    </a:lnTo>
                    <a:lnTo>
                      <a:pt x="156" y="1223"/>
                    </a:lnTo>
                    <a:lnTo>
                      <a:pt x="156" y="1225"/>
                    </a:lnTo>
                    <a:lnTo>
                      <a:pt x="155" y="1225"/>
                    </a:lnTo>
                    <a:lnTo>
                      <a:pt x="155" y="1226"/>
                    </a:lnTo>
                    <a:lnTo>
                      <a:pt x="153" y="1228"/>
                    </a:lnTo>
                    <a:lnTo>
                      <a:pt x="153" y="1230"/>
                    </a:lnTo>
                    <a:lnTo>
                      <a:pt x="153" y="1231"/>
                    </a:lnTo>
                    <a:lnTo>
                      <a:pt x="153" y="1233"/>
                    </a:lnTo>
                    <a:lnTo>
                      <a:pt x="151" y="1233"/>
                    </a:lnTo>
                    <a:lnTo>
                      <a:pt x="151" y="1235"/>
                    </a:lnTo>
                    <a:lnTo>
                      <a:pt x="151" y="1237"/>
                    </a:lnTo>
                    <a:lnTo>
                      <a:pt x="151" y="1238"/>
                    </a:lnTo>
                    <a:lnTo>
                      <a:pt x="150" y="1240"/>
                    </a:lnTo>
                    <a:lnTo>
                      <a:pt x="150" y="1242"/>
                    </a:lnTo>
                    <a:lnTo>
                      <a:pt x="151" y="1243"/>
                    </a:lnTo>
                    <a:lnTo>
                      <a:pt x="151" y="1245"/>
                    </a:lnTo>
                    <a:lnTo>
                      <a:pt x="151" y="1247"/>
                    </a:lnTo>
                    <a:lnTo>
                      <a:pt x="151" y="1248"/>
                    </a:lnTo>
                    <a:lnTo>
                      <a:pt x="150" y="1250"/>
                    </a:lnTo>
                    <a:lnTo>
                      <a:pt x="148" y="1252"/>
                    </a:lnTo>
                    <a:lnTo>
                      <a:pt x="148" y="1254"/>
                    </a:lnTo>
                    <a:lnTo>
                      <a:pt x="150" y="1254"/>
                    </a:lnTo>
                    <a:lnTo>
                      <a:pt x="150" y="1255"/>
                    </a:lnTo>
                    <a:lnTo>
                      <a:pt x="150" y="1257"/>
                    </a:lnTo>
                    <a:lnTo>
                      <a:pt x="150" y="1259"/>
                    </a:lnTo>
                    <a:lnTo>
                      <a:pt x="151" y="1264"/>
                    </a:lnTo>
                    <a:lnTo>
                      <a:pt x="151" y="1265"/>
                    </a:lnTo>
                    <a:lnTo>
                      <a:pt x="153" y="1267"/>
                    </a:lnTo>
                    <a:lnTo>
                      <a:pt x="153" y="1269"/>
                    </a:lnTo>
                    <a:lnTo>
                      <a:pt x="153" y="1271"/>
                    </a:lnTo>
                    <a:lnTo>
                      <a:pt x="155" y="1274"/>
                    </a:lnTo>
                    <a:lnTo>
                      <a:pt x="155" y="1276"/>
                    </a:lnTo>
                    <a:lnTo>
                      <a:pt x="155" y="1279"/>
                    </a:lnTo>
                    <a:lnTo>
                      <a:pt x="156" y="1281"/>
                    </a:lnTo>
                    <a:lnTo>
                      <a:pt x="156" y="1282"/>
                    </a:lnTo>
                    <a:lnTo>
                      <a:pt x="156" y="1284"/>
                    </a:lnTo>
                    <a:lnTo>
                      <a:pt x="156" y="1286"/>
                    </a:lnTo>
                    <a:lnTo>
                      <a:pt x="155" y="1286"/>
                    </a:lnTo>
                    <a:lnTo>
                      <a:pt x="155" y="1288"/>
                    </a:lnTo>
                    <a:lnTo>
                      <a:pt x="156" y="1288"/>
                    </a:lnTo>
                    <a:lnTo>
                      <a:pt x="156" y="1289"/>
                    </a:lnTo>
                    <a:lnTo>
                      <a:pt x="156" y="1291"/>
                    </a:lnTo>
                    <a:lnTo>
                      <a:pt x="158" y="1293"/>
                    </a:lnTo>
                    <a:lnTo>
                      <a:pt x="160" y="1296"/>
                    </a:lnTo>
                    <a:lnTo>
                      <a:pt x="162" y="1300"/>
                    </a:lnTo>
                    <a:lnTo>
                      <a:pt x="163" y="1305"/>
                    </a:lnTo>
                    <a:lnTo>
                      <a:pt x="165" y="1308"/>
                    </a:lnTo>
                    <a:lnTo>
                      <a:pt x="167" y="1310"/>
                    </a:lnTo>
                    <a:lnTo>
                      <a:pt x="168" y="1315"/>
                    </a:lnTo>
                    <a:lnTo>
                      <a:pt x="170" y="1317"/>
                    </a:lnTo>
                    <a:lnTo>
                      <a:pt x="173" y="1322"/>
                    </a:lnTo>
                    <a:lnTo>
                      <a:pt x="175" y="1325"/>
                    </a:lnTo>
                    <a:lnTo>
                      <a:pt x="177" y="1325"/>
                    </a:lnTo>
                    <a:lnTo>
                      <a:pt x="177" y="1327"/>
                    </a:lnTo>
                    <a:lnTo>
                      <a:pt x="177" y="1328"/>
                    </a:lnTo>
                    <a:lnTo>
                      <a:pt x="175" y="1328"/>
                    </a:lnTo>
                    <a:lnTo>
                      <a:pt x="175" y="1330"/>
                    </a:lnTo>
                    <a:lnTo>
                      <a:pt x="175" y="1328"/>
                    </a:lnTo>
                    <a:lnTo>
                      <a:pt x="175" y="1327"/>
                    </a:lnTo>
                    <a:lnTo>
                      <a:pt x="173" y="1327"/>
                    </a:lnTo>
                    <a:lnTo>
                      <a:pt x="172" y="1327"/>
                    </a:lnTo>
                    <a:lnTo>
                      <a:pt x="170" y="1327"/>
                    </a:lnTo>
                    <a:lnTo>
                      <a:pt x="168" y="1327"/>
                    </a:lnTo>
                    <a:lnTo>
                      <a:pt x="168" y="1325"/>
                    </a:lnTo>
                    <a:lnTo>
                      <a:pt x="167" y="1325"/>
                    </a:lnTo>
                    <a:lnTo>
                      <a:pt x="165" y="1325"/>
                    </a:lnTo>
                    <a:lnTo>
                      <a:pt x="163" y="1325"/>
                    </a:lnTo>
                    <a:lnTo>
                      <a:pt x="163" y="1323"/>
                    </a:lnTo>
                    <a:lnTo>
                      <a:pt x="162" y="1323"/>
                    </a:lnTo>
                    <a:lnTo>
                      <a:pt x="158" y="1322"/>
                    </a:lnTo>
                    <a:lnTo>
                      <a:pt x="156" y="1322"/>
                    </a:lnTo>
                    <a:lnTo>
                      <a:pt x="155" y="1320"/>
                    </a:lnTo>
                    <a:lnTo>
                      <a:pt x="153" y="1320"/>
                    </a:lnTo>
                    <a:lnTo>
                      <a:pt x="151" y="1320"/>
                    </a:lnTo>
                    <a:lnTo>
                      <a:pt x="150" y="1318"/>
                    </a:lnTo>
                    <a:lnTo>
                      <a:pt x="148" y="1318"/>
                    </a:lnTo>
                    <a:lnTo>
                      <a:pt x="145" y="1318"/>
                    </a:lnTo>
                    <a:lnTo>
                      <a:pt x="141" y="1318"/>
                    </a:lnTo>
                    <a:lnTo>
                      <a:pt x="139" y="1317"/>
                    </a:lnTo>
                    <a:lnTo>
                      <a:pt x="138" y="1317"/>
                    </a:lnTo>
                    <a:lnTo>
                      <a:pt x="134" y="1315"/>
                    </a:lnTo>
                    <a:lnTo>
                      <a:pt x="131" y="1313"/>
                    </a:lnTo>
                    <a:lnTo>
                      <a:pt x="128" y="1313"/>
                    </a:lnTo>
                    <a:lnTo>
                      <a:pt x="126" y="1311"/>
                    </a:lnTo>
                    <a:lnTo>
                      <a:pt x="124" y="1310"/>
                    </a:lnTo>
                    <a:lnTo>
                      <a:pt x="121" y="1308"/>
                    </a:lnTo>
                    <a:lnTo>
                      <a:pt x="109" y="1310"/>
                    </a:lnTo>
                    <a:lnTo>
                      <a:pt x="104" y="1308"/>
                    </a:lnTo>
                    <a:lnTo>
                      <a:pt x="99" y="1310"/>
                    </a:lnTo>
                    <a:lnTo>
                      <a:pt x="92" y="1308"/>
                    </a:lnTo>
                    <a:lnTo>
                      <a:pt x="78" y="1310"/>
                    </a:lnTo>
                    <a:lnTo>
                      <a:pt x="75" y="1308"/>
                    </a:lnTo>
                    <a:lnTo>
                      <a:pt x="73" y="1308"/>
                    </a:lnTo>
                    <a:lnTo>
                      <a:pt x="65" y="1308"/>
                    </a:lnTo>
                    <a:lnTo>
                      <a:pt x="56" y="1310"/>
                    </a:lnTo>
                    <a:lnTo>
                      <a:pt x="56" y="1308"/>
                    </a:lnTo>
                    <a:lnTo>
                      <a:pt x="54" y="1308"/>
                    </a:lnTo>
                    <a:lnTo>
                      <a:pt x="53" y="1308"/>
                    </a:lnTo>
                    <a:lnTo>
                      <a:pt x="53" y="1306"/>
                    </a:lnTo>
                    <a:lnTo>
                      <a:pt x="54" y="1306"/>
                    </a:lnTo>
                    <a:lnTo>
                      <a:pt x="54" y="1305"/>
                    </a:lnTo>
                    <a:lnTo>
                      <a:pt x="56" y="1305"/>
                    </a:lnTo>
                    <a:lnTo>
                      <a:pt x="56" y="1303"/>
                    </a:lnTo>
                    <a:lnTo>
                      <a:pt x="54" y="1301"/>
                    </a:lnTo>
                    <a:lnTo>
                      <a:pt x="54" y="1300"/>
                    </a:lnTo>
                    <a:lnTo>
                      <a:pt x="53" y="1300"/>
                    </a:lnTo>
                    <a:lnTo>
                      <a:pt x="53" y="1298"/>
                    </a:lnTo>
                    <a:lnTo>
                      <a:pt x="51" y="1298"/>
                    </a:lnTo>
                    <a:lnTo>
                      <a:pt x="51" y="1296"/>
                    </a:lnTo>
                    <a:lnTo>
                      <a:pt x="49" y="1296"/>
                    </a:lnTo>
                    <a:lnTo>
                      <a:pt x="49" y="1294"/>
                    </a:lnTo>
                    <a:lnTo>
                      <a:pt x="48" y="1294"/>
                    </a:lnTo>
                    <a:lnTo>
                      <a:pt x="48" y="1293"/>
                    </a:lnTo>
                    <a:lnTo>
                      <a:pt x="46" y="1293"/>
                    </a:lnTo>
                    <a:lnTo>
                      <a:pt x="44" y="1293"/>
                    </a:lnTo>
                    <a:lnTo>
                      <a:pt x="44" y="1291"/>
                    </a:lnTo>
                    <a:lnTo>
                      <a:pt x="44" y="1289"/>
                    </a:lnTo>
                    <a:lnTo>
                      <a:pt x="43" y="1288"/>
                    </a:lnTo>
                    <a:lnTo>
                      <a:pt x="43" y="1286"/>
                    </a:lnTo>
                    <a:lnTo>
                      <a:pt x="41" y="1286"/>
                    </a:lnTo>
                    <a:lnTo>
                      <a:pt x="39" y="1286"/>
                    </a:lnTo>
                    <a:lnTo>
                      <a:pt x="39" y="1284"/>
                    </a:lnTo>
                    <a:lnTo>
                      <a:pt x="41" y="1282"/>
                    </a:lnTo>
                    <a:lnTo>
                      <a:pt x="39" y="1282"/>
                    </a:lnTo>
                    <a:lnTo>
                      <a:pt x="41" y="1282"/>
                    </a:lnTo>
                    <a:lnTo>
                      <a:pt x="43" y="1282"/>
                    </a:lnTo>
                    <a:lnTo>
                      <a:pt x="43" y="1281"/>
                    </a:lnTo>
                    <a:lnTo>
                      <a:pt x="43" y="1279"/>
                    </a:lnTo>
                    <a:lnTo>
                      <a:pt x="43" y="1277"/>
                    </a:lnTo>
                    <a:lnTo>
                      <a:pt x="43" y="1276"/>
                    </a:lnTo>
                    <a:lnTo>
                      <a:pt x="43" y="1274"/>
                    </a:lnTo>
                    <a:lnTo>
                      <a:pt x="41" y="1272"/>
                    </a:lnTo>
                    <a:lnTo>
                      <a:pt x="43" y="1272"/>
                    </a:lnTo>
                    <a:lnTo>
                      <a:pt x="43" y="1271"/>
                    </a:lnTo>
                    <a:lnTo>
                      <a:pt x="44" y="1271"/>
                    </a:lnTo>
                    <a:lnTo>
                      <a:pt x="44" y="1269"/>
                    </a:lnTo>
                    <a:lnTo>
                      <a:pt x="44" y="1267"/>
                    </a:lnTo>
                    <a:lnTo>
                      <a:pt x="44" y="1265"/>
                    </a:lnTo>
                    <a:lnTo>
                      <a:pt x="43" y="1265"/>
                    </a:lnTo>
                    <a:lnTo>
                      <a:pt x="41" y="1264"/>
                    </a:lnTo>
                    <a:lnTo>
                      <a:pt x="41" y="1262"/>
                    </a:lnTo>
                    <a:lnTo>
                      <a:pt x="41" y="1260"/>
                    </a:lnTo>
                    <a:lnTo>
                      <a:pt x="39" y="1260"/>
                    </a:lnTo>
                    <a:lnTo>
                      <a:pt x="41" y="1259"/>
                    </a:lnTo>
                    <a:lnTo>
                      <a:pt x="41" y="1257"/>
                    </a:lnTo>
                    <a:lnTo>
                      <a:pt x="41" y="1255"/>
                    </a:lnTo>
                    <a:lnTo>
                      <a:pt x="43" y="1255"/>
                    </a:lnTo>
                    <a:lnTo>
                      <a:pt x="43" y="1257"/>
                    </a:lnTo>
                    <a:lnTo>
                      <a:pt x="44" y="1257"/>
                    </a:lnTo>
                    <a:lnTo>
                      <a:pt x="44" y="1255"/>
                    </a:lnTo>
                    <a:lnTo>
                      <a:pt x="44" y="1254"/>
                    </a:lnTo>
                    <a:lnTo>
                      <a:pt x="44" y="1252"/>
                    </a:lnTo>
                    <a:lnTo>
                      <a:pt x="46" y="1250"/>
                    </a:lnTo>
                    <a:lnTo>
                      <a:pt x="46" y="1248"/>
                    </a:lnTo>
                    <a:lnTo>
                      <a:pt x="44" y="1247"/>
                    </a:lnTo>
                    <a:lnTo>
                      <a:pt x="44" y="1245"/>
                    </a:lnTo>
                    <a:lnTo>
                      <a:pt x="44" y="1243"/>
                    </a:lnTo>
                    <a:lnTo>
                      <a:pt x="43" y="1243"/>
                    </a:lnTo>
                    <a:lnTo>
                      <a:pt x="43" y="1242"/>
                    </a:lnTo>
                    <a:lnTo>
                      <a:pt x="43" y="1240"/>
                    </a:lnTo>
                    <a:lnTo>
                      <a:pt x="44" y="1238"/>
                    </a:lnTo>
                    <a:lnTo>
                      <a:pt x="44" y="1237"/>
                    </a:lnTo>
                    <a:lnTo>
                      <a:pt x="43" y="1237"/>
                    </a:lnTo>
                    <a:lnTo>
                      <a:pt x="43" y="1235"/>
                    </a:lnTo>
                    <a:lnTo>
                      <a:pt x="41" y="1235"/>
                    </a:lnTo>
                    <a:lnTo>
                      <a:pt x="39" y="1235"/>
                    </a:lnTo>
                    <a:lnTo>
                      <a:pt x="37" y="1233"/>
                    </a:lnTo>
                    <a:lnTo>
                      <a:pt x="36" y="1235"/>
                    </a:lnTo>
                    <a:lnTo>
                      <a:pt x="34" y="1235"/>
                    </a:lnTo>
                    <a:lnTo>
                      <a:pt x="34" y="1237"/>
                    </a:lnTo>
                    <a:lnTo>
                      <a:pt x="34" y="1238"/>
                    </a:lnTo>
                    <a:lnTo>
                      <a:pt x="32" y="1237"/>
                    </a:lnTo>
                    <a:lnTo>
                      <a:pt x="31" y="1235"/>
                    </a:lnTo>
                    <a:lnTo>
                      <a:pt x="31" y="1237"/>
                    </a:lnTo>
                    <a:lnTo>
                      <a:pt x="29" y="1235"/>
                    </a:lnTo>
                    <a:lnTo>
                      <a:pt x="27" y="1235"/>
                    </a:lnTo>
                    <a:lnTo>
                      <a:pt x="26" y="1237"/>
                    </a:lnTo>
                    <a:lnTo>
                      <a:pt x="24" y="1237"/>
                    </a:lnTo>
                    <a:lnTo>
                      <a:pt x="24" y="1238"/>
                    </a:lnTo>
                    <a:lnTo>
                      <a:pt x="22" y="1238"/>
                    </a:lnTo>
                    <a:lnTo>
                      <a:pt x="22" y="1240"/>
                    </a:lnTo>
                    <a:lnTo>
                      <a:pt x="20" y="1242"/>
                    </a:lnTo>
                    <a:lnTo>
                      <a:pt x="19" y="1242"/>
                    </a:lnTo>
                    <a:lnTo>
                      <a:pt x="17" y="1243"/>
                    </a:lnTo>
                    <a:lnTo>
                      <a:pt x="17" y="1242"/>
                    </a:lnTo>
                    <a:lnTo>
                      <a:pt x="15" y="1243"/>
                    </a:lnTo>
                    <a:lnTo>
                      <a:pt x="14" y="1245"/>
                    </a:lnTo>
                    <a:lnTo>
                      <a:pt x="12" y="1245"/>
                    </a:lnTo>
                    <a:lnTo>
                      <a:pt x="10" y="1245"/>
                    </a:lnTo>
                    <a:lnTo>
                      <a:pt x="10" y="1243"/>
                    </a:lnTo>
                    <a:lnTo>
                      <a:pt x="10" y="1242"/>
                    </a:lnTo>
                    <a:lnTo>
                      <a:pt x="10" y="1240"/>
                    </a:lnTo>
                    <a:lnTo>
                      <a:pt x="12" y="1240"/>
                    </a:lnTo>
                    <a:lnTo>
                      <a:pt x="14" y="1238"/>
                    </a:lnTo>
                    <a:lnTo>
                      <a:pt x="14" y="1237"/>
                    </a:lnTo>
                    <a:lnTo>
                      <a:pt x="12" y="1237"/>
                    </a:lnTo>
                    <a:lnTo>
                      <a:pt x="10" y="1235"/>
                    </a:lnTo>
                    <a:lnTo>
                      <a:pt x="10" y="1233"/>
                    </a:lnTo>
                    <a:lnTo>
                      <a:pt x="10" y="1231"/>
                    </a:lnTo>
                    <a:lnTo>
                      <a:pt x="9" y="1231"/>
                    </a:lnTo>
                    <a:lnTo>
                      <a:pt x="9" y="1230"/>
                    </a:lnTo>
                    <a:lnTo>
                      <a:pt x="7" y="1228"/>
                    </a:lnTo>
                    <a:lnTo>
                      <a:pt x="9" y="1228"/>
                    </a:lnTo>
                    <a:lnTo>
                      <a:pt x="7" y="1226"/>
                    </a:lnTo>
                    <a:lnTo>
                      <a:pt x="5" y="1226"/>
                    </a:lnTo>
                    <a:lnTo>
                      <a:pt x="7" y="1226"/>
                    </a:lnTo>
                    <a:lnTo>
                      <a:pt x="5" y="1225"/>
                    </a:lnTo>
                    <a:lnTo>
                      <a:pt x="3" y="1221"/>
                    </a:lnTo>
                    <a:lnTo>
                      <a:pt x="3" y="1220"/>
                    </a:lnTo>
                    <a:lnTo>
                      <a:pt x="3" y="1218"/>
                    </a:lnTo>
                    <a:lnTo>
                      <a:pt x="2" y="1218"/>
                    </a:lnTo>
                    <a:lnTo>
                      <a:pt x="2" y="1216"/>
                    </a:lnTo>
                    <a:lnTo>
                      <a:pt x="0" y="1214"/>
                    </a:lnTo>
                    <a:lnTo>
                      <a:pt x="2" y="1213"/>
                    </a:lnTo>
                    <a:lnTo>
                      <a:pt x="2" y="1211"/>
                    </a:lnTo>
                    <a:lnTo>
                      <a:pt x="2" y="1209"/>
                    </a:lnTo>
                    <a:lnTo>
                      <a:pt x="2" y="1208"/>
                    </a:lnTo>
                    <a:lnTo>
                      <a:pt x="3" y="1206"/>
                    </a:lnTo>
                    <a:lnTo>
                      <a:pt x="3" y="1204"/>
                    </a:lnTo>
                    <a:lnTo>
                      <a:pt x="2" y="1204"/>
                    </a:lnTo>
                    <a:lnTo>
                      <a:pt x="2" y="1203"/>
                    </a:lnTo>
                    <a:lnTo>
                      <a:pt x="2" y="1201"/>
                    </a:lnTo>
                    <a:lnTo>
                      <a:pt x="3" y="1199"/>
                    </a:lnTo>
                    <a:lnTo>
                      <a:pt x="2" y="1199"/>
                    </a:lnTo>
                    <a:lnTo>
                      <a:pt x="2" y="1197"/>
                    </a:lnTo>
                    <a:lnTo>
                      <a:pt x="2" y="1196"/>
                    </a:lnTo>
                    <a:lnTo>
                      <a:pt x="3" y="1196"/>
                    </a:lnTo>
                    <a:lnTo>
                      <a:pt x="3" y="1194"/>
                    </a:lnTo>
                    <a:lnTo>
                      <a:pt x="3" y="1192"/>
                    </a:lnTo>
                    <a:lnTo>
                      <a:pt x="5" y="1191"/>
                    </a:lnTo>
                    <a:lnTo>
                      <a:pt x="5" y="1189"/>
                    </a:lnTo>
                    <a:lnTo>
                      <a:pt x="3" y="1187"/>
                    </a:lnTo>
                    <a:lnTo>
                      <a:pt x="3" y="1186"/>
                    </a:lnTo>
                    <a:lnTo>
                      <a:pt x="3" y="1184"/>
                    </a:lnTo>
                    <a:lnTo>
                      <a:pt x="3" y="1182"/>
                    </a:lnTo>
                    <a:lnTo>
                      <a:pt x="5" y="1182"/>
                    </a:lnTo>
                    <a:lnTo>
                      <a:pt x="3" y="1180"/>
                    </a:lnTo>
                    <a:lnTo>
                      <a:pt x="3" y="1179"/>
                    </a:lnTo>
                    <a:lnTo>
                      <a:pt x="2" y="1179"/>
                    </a:lnTo>
                    <a:lnTo>
                      <a:pt x="2" y="1177"/>
                    </a:lnTo>
                    <a:lnTo>
                      <a:pt x="2" y="1175"/>
                    </a:lnTo>
                    <a:lnTo>
                      <a:pt x="3" y="1175"/>
                    </a:lnTo>
                    <a:lnTo>
                      <a:pt x="3" y="1174"/>
                    </a:lnTo>
                    <a:lnTo>
                      <a:pt x="3" y="1172"/>
                    </a:lnTo>
                    <a:lnTo>
                      <a:pt x="3" y="1170"/>
                    </a:lnTo>
                    <a:lnTo>
                      <a:pt x="5" y="1170"/>
                    </a:lnTo>
                    <a:lnTo>
                      <a:pt x="5" y="1169"/>
                    </a:lnTo>
                    <a:lnTo>
                      <a:pt x="5" y="1167"/>
                    </a:lnTo>
                    <a:lnTo>
                      <a:pt x="7" y="1165"/>
                    </a:lnTo>
                    <a:lnTo>
                      <a:pt x="5" y="1165"/>
                    </a:lnTo>
                    <a:lnTo>
                      <a:pt x="3" y="1163"/>
                    </a:lnTo>
                    <a:lnTo>
                      <a:pt x="3" y="1162"/>
                    </a:lnTo>
                    <a:lnTo>
                      <a:pt x="3" y="1160"/>
                    </a:lnTo>
                    <a:lnTo>
                      <a:pt x="17" y="1163"/>
                    </a:lnTo>
                    <a:lnTo>
                      <a:pt x="19" y="1163"/>
                    </a:lnTo>
                    <a:lnTo>
                      <a:pt x="17" y="1163"/>
                    </a:lnTo>
                    <a:lnTo>
                      <a:pt x="17" y="1162"/>
                    </a:lnTo>
                    <a:lnTo>
                      <a:pt x="17" y="1163"/>
                    </a:lnTo>
                    <a:lnTo>
                      <a:pt x="15" y="1163"/>
                    </a:lnTo>
                    <a:lnTo>
                      <a:pt x="15" y="1162"/>
                    </a:lnTo>
                    <a:lnTo>
                      <a:pt x="15" y="1160"/>
                    </a:lnTo>
                    <a:lnTo>
                      <a:pt x="15" y="1158"/>
                    </a:lnTo>
                    <a:lnTo>
                      <a:pt x="17" y="1157"/>
                    </a:lnTo>
                    <a:lnTo>
                      <a:pt x="19" y="1155"/>
                    </a:lnTo>
                    <a:lnTo>
                      <a:pt x="19" y="1153"/>
                    </a:lnTo>
                    <a:lnTo>
                      <a:pt x="20" y="1153"/>
                    </a:lnTo>
                    <a:lnTo>
                      <a:pt x="20" y="1152"/>
                    </a:lnTo>
                    <a:lnTo>
                      <a:pt x="20" y="1150"/>
                    </a:lnTo>
                    <a:lnTo>
                      <a:pt x="20" y="1148"/>
                    </a:lnTo>
                    <a:lnTo>
                      <a:pt x="22" y="1148"/>
                    </a:lnTo>
                    <a:lnTo>
                      <a:pt x="22" y="1146"/>
                    </a:lnTo>
                    <a:lnTo>
                      <a:pt x="24" y="1146"/>
                    </a:lnTo>
                    <a:lnTo>
                      <a:pt x="26" y="1148"/>
                    </a:lnTo>
                    <a:lnTo>
                      <a:pt x="27" y="1148"/>
                    </a:lnTo>
                    <a:lnTo>
                      <a:pt x="27" y="1146"/>
                    </a:lnTo>
                    <a:lnTo>
                      <a:pt x="29" y="1145"/>
                    </a:lnTo>
                    <a:lnTo>
                      <a:pt x="31" y="1145"/>
                    </a:lnTo>
                    <a:lnTo>
                      <a:pt x="31" y="1143"/>
                    </a:lnTo>
                    <a:lnTo>
                      <a:pt x="32" y="1141"/>
                    </a:lnTo>
                    <a:lnTo>
                      <a:pt x="34" y="1140"/>
                    </a:lnTo>
                    <a:lnTo>
                      <a:pt x="36" y="1140"/>
                    </a:lnTo>
                    <a:lnTo>
                      <a:pt x="36" y="1138"/>
                    </a:lnTo>
                    <a:lnTo>
                      <a:pt x="36" y="1136"/>
                    </a:lnTo>
                    <a:lnTo>
                      <a:pt x="36" y="1135"/>
                    </a:lnTo>
                    <a:lnTo>
                      <a:pt x="36" y="1131"/>
                    </a:lnTo>
                    <a:lnTo>
                      <a:pt x="34" y="1124"/>
                    </a:lnTo>
                    <a:lnTo>
                      <a:pt x="34" y="1123"/>
                    </a:lnTo>
                    <a:lnTo>
                      <a:pt x="36" y="1123"/>
                    </a:lnTo>
                    <a:lnTo>
                      <a:pt x="36" y="1124"/>
                    </a:lnTo>
                    <a:lnTo>
                      <a:pt x="37" y="1124"/>
                    </a:lnTo>
                    <a:lnTo>
                      <a:pt x="39" y="1124"/>
                    </a:lnTo>
                    <a:lnTo>
                      <a:pt x="41" y="1123"/>
                    </a:lnTo>
                    <a:lnTo>
                      <a:pt x="41" y="1121"/>
                    </a:lnTo>
                    <a:lnTo>
                      <a:pt x="39" y="1121"/>
                    </a:lnTo>
                    <a:lnTo>
                      <a:pt x="39" y="1119"/>
                    </a:lnTo>
                    <a:lnTo>
                      <a:pt x="41" y="1119"/>
                    </a:lnTo>
                    <a:lnTo>
                      <a:pt x="43" y="1117"/>
                    </a:lnTo>
                    <a:lnTo>
                      <a:pt x="41" y="1117"/>
                    </a:lnTo>
                    <a:lnTo>
                      <a:pt x="41" y="1116"/>
                    </a:lnTo>
                    <a:lnTo>
                      <a:pt x="43" y="1116"/>
                    </a:lnTo>
                    <a:lnTo>
                      <a:pt x="43" y="1117"/>
                    </a:lnTo>
                    <a:lnTo>
                      <a:pt x="43" y="1116"/>
                    </a:lnTo>
                    <a:lnTo>
                      <a:pt x="44" y="1117"/>
                    </a:lnTo>
                    <a:lnTo>
                      <a:pt x="44" y="1116"/>
                    </a:lnTo>
                    <a:lnTo>
                      <a:pt x="46" y="1116"/>
                    </a:lnTo>
                    <a:lnTo>
                      <a:pt x="46" y="1114"/>
                    </a:lnTo>
                    <a:lnTo>
                      <a:pt x="44" y="1112"/>
                    </a:lnTo>
                    <a:lnTo>
                      <a:pt x="44" y="1111"/>
                    </a:lnTo>
                    <a:lnTo>
                      <a:pt x="43" y="1111"/>
                    </a:lnTo>
                    <a:lnTo>
                      <a:pt x="43" y="1109"/>
                    </a:lnTo>
                    <a:lnTo>
                      <a:pt x="44" y="1109"/>
                    </a:lnTo>
                    <a:lnTo>
                      <a:pt x="43" y="1107"/>
                    </a:lnTo>
                    <a:lnTo>
                      <a:pt x="44" y="1106"/>
                    </a:lnTo>
                    <a:lnTo>
                      <a:pt x="43" y="1106"/>
                    </a:lnTo>
                    <a:lnTo>
                      <a:pt x="43" y="1104"/>
                    </a:lnTo>
                    <a:lnTo>
                      <a:pt x="41" y="1104"/>
                    </a:lnTo>
                    <a:lnTo>
                      <a:pt x="41" y="1102"/>
                    </a:lnTo>
                    <a:lnTo>
                      <a:pt x="39" y="1102"/>
                    </a:lnTo>
                    <a:lnTo>
                      <a:pt x="39" y="1100"/>
                    </a:lnTo>
                    <a:lnTo>
                      <a:pt x="39" y="1099"/>
                    </a:lnTo>
                    <a:lnTo>
                      <a:pt x="39" y="1097"/>
                    </a:lnTo>
                    <a:lnTo>
                      <a:pt x="37" y="1097"/>
                    </a:lnTo>
                    <a:lnTo>
                      <a:pt x="36" y="1095"/>
                    </a:lnTo>
                    <a:lnTo>
                      <a:pt x="36" y="1094"/>
                    </a:lnTo>
                    <a:lnTo>
                      <a:pt x="37" y="1094"/>
                    </a:lnTo>
                    <a:lnTo>
                      <a:pt x="37" y="1092"/>
                    </a:lnTo>
                    <a:lnTo>
                      <a:pt x="37" y="1090"/>
                    </a:lnTo>
                    <a:lnTo>
                      <a:pt x="37" y="1089"/>
                    </a:lnTo>
                    <a:lnTo>
                      <a:pt x="37" y="1087"/>
                    </a:lnTo>
                    <a:lnTo>
                      <a:pt x="36" y="1087"/>
                    </a:lnTo>
                    <a:lnTo>
                      <a:pt x="36" y="1085"/>
                    </a:lnTo>
                    <a:lnTo>
                      <a:pt x="37" y="1087"/>
                    </a:lnTo>
                    <a:lnTo>
                      <a:pt x="39" y="1087"/>
                    </a:lnTo>
                    <a:lnTo>
                      <a:pt x="41" y="1087"/>
                    </a:lnTo>
                    <a:lnTo>
                      <a:pt x="41" y="1085"/>
                    </a:lnTo>
                    <a:lnTo>
                      <a:pt x="39" y="1085"/>
                    </a:lnTo>
                    <a:lnTo>
                      <a:pt x="39" y="1083"/>
                    </a:lnTo>
                    <a:lnTo>
                      <a:pt x="39" y="1082"/>
                    </a:lnTo>
                    <a:lnTo>
                      <a:pt x="41" y="1082"/>
                    </a:lnTo>
                    <a:lnTo>
                      <a:pt x="41" y="1080"/>
                    </a:lnTo>
                    <a:lnTo>
                      <a:pt x="43" y="1080"/>
                    </a:lnTo>
                    <a:lnTo>
                      <a:pt x="43" y="1078"/>
                    </a:lnTo>
                    <a:lnTo>
                      <a:pt x="43" y="1077"/>
                    </a:lnTo>
                    <a:lnTo>
                      <a:pt x="43" y="1075"/>
                    </a:lnTo>
                    <a:lnTo>
                      <a:pt x="44" y="1075"/>
                    </a:lnTo>
                    <a:lnTo>
                      <a:pt x="44" y="1073"/>
                    </a:lnTo>
                    <a:lnTo>
                      <a:pt x="43" y="1073"/>
                    </a:lnTo>
                    <a:lnTo>
                      <a:pt x="43" y="1072"/>
                    </a:lnTo>
                    <a:lnTo>
                      <a:pt x="43" y="1073"/>
                    </a:lnTo>
                    <a:lnTo>
                      <a:pt x="43" y="1072"/>
                    </a:lnTo>
                    <a:lnTo>
                      <a:pt x="44" y="1072"/>
                    </a:lnTo>
                    <a:lnTo>
                      <a:pt x="44" y="1070"/>
                    </a:lnTo>
                    <a:lnTo>
                      <a:pt x="46" y="1070"/>
                    </a:lnTo>
                    <a:lnTo>
                      <a:pt x="46" y="1068"/>
                    </a:lnTo>
                    <a:lnTo>
                      <a:pt x="48" y="1070"/>
                    </a:lnTo>
                    <a:lnTo>
                      <a:pt x="48" y="1068"/>
                    </a:lnTo>
                    <a:lnTo>
                      <a:pt x="49" y="1066"/>
                    </a:lnTo>
                    <a:lnTo>
                      <a:pt x="49" y="1065"/>
                    </a:lnTo>
                    <a:lnTo>
                      <a:pt x="51" y="1065"/>
                    </a:lnTo>
                    <a:lnTo>
                      <a:pt x="53" y="1065"/>
                    </a:lnTo>
                    <a:lnTo>
                      <a:pt x="53" y="1063"/>
                    </a:lnTo>
                    <a:lnTo>
                      <a:pt x="54" y="1063"/>
                    </a:lnTo>
                    <a:lnTo>
                      <a:pt x="53" y="1061"/>
                    </a:lnTo>
                    <a:lnTo>
                      <a:pt x="54" y="1060"/>
                    </a:lnTo>
                    <a:lnTo>
                      <a:pt x="53" y="1058"/>
                    </a:lnTo>
                    <a:lnTo>
                      <a:pt x="54" y="1060"/>
                    </a:lnTo>
                    <a:lnTo>
                      <a:pt x="56" y="1060"/>
                    </a:lnTo>
                    <a:lnTo>
                      <a:pt x="58" y="1060"/>
                    </a:lnTo>
                    <a:lnTo>
                      <a:pt x="58" y="1058"/>
                    </a:lnTo>
                    <a:lnTo>
                      <a:pt x="58" y="1056"/>
                    </a:lnTo>
                    <a:lnTo>
                      <a:pt x="60" y="1056"/>
                    </a:lnTo>
                    <a:lnTo>
                      <a:pt x="58" y="1056"/>
                    </a:lnTo>
                    <a:lnTo>
                      <a:pt x="58" y="1055"/>
                    </a:lnTo>
                    <a:lnTo>
                      <a:pt x="56" y="1053"/>
                    </a:lnTo>
                    <a:lnTo>
                      <a:pt x="54" y="1053"/>
                    </a:lnTo>
                    <a:lnTo>
                      <a:pt x="56" y="1051"/>
                    </a:lnTo>
                    <a:lnTo>
                      <a:pt x="58" y="1049"/>
                    </a:lnTo>
                    <a:lnTo>
                      <a:pt x="58" y="1048"/>
                    </a:lnTo>
                    <a:lnTo>
                      <a:pt x="56" y="1048"/>
                    </a:lnTo>
                    <a:lnTo>
                      <a:pt x="54" y="1048"/>
                    </a:lnTo>
                    <a:lnTo>
                      <a:pt x="56" y="1046"/>
                    </a:lnTo>
                    <a:lnTo>
                      <a:pt x="54" y="1046"/>
                    </a:lnTo>
                    <a:lnTo>
                      <a:pt x="54" y="1044"/>
                    </a:lnTo>
                    <a:lnTo>
                      <a:pt x="54" y="1043"/>
                    </a:lnTo>
                    <a:lnTo>
                      <a:pt x="56" y="1043"/>
                    </a:lnTo>
                    <a:lnTo>
                      <a:pt x="56" y="1041"/>
                    </a:lnTo>
                    <a:lnTo>
                      <a:pt x="54" y="1039"/>
                    </a:lnTo>
                    <a:lnTo>
                      <a:pt x="56" y="1039"/>
                    </a:lnTo>
                    <a:lnTo>
                      <a:pt x="58" y="1039"/>
                    </a:lnTo>
                    <a:lnTo>
                      <a:pt x="60" y="1039"/>
                    </a:lnTo>
                    <a:lnTo>
                      <a:pt x="60" y="1038"/>
                    </a:lnTo>
                    <a:lnTo>
                      <a:pt x="61" y="1038"/>
                    </a:lnTo>
                    <a:lnTo>
                      <a:pt x="61" y="1036"/>
                    </a:lnTo>
                    <a:lnTo>
                      <a:pt x="63" y="1036"/>
                    </a:lnTo>
                    <a:lnTo>
                      <a:pt x="63" y="1034"/>
                    </a:lnTo>
                    <a:lnTo>
                      <a:pt x="65" y="1034"/>
                    </a:lnTo>
                    <a:lnTo>
                      <a:pt x="66" y="1032"/>
                    </a:lnTo>
                    <a:lnTo>
                      <a:pt x="65" y="1031"/>
                    </a:lnTo>
                    <a:lnTo>
                      <a:pt x="66" y="1031"/>
                    </a:lnTo>
                    <a:lnTo>
                      <a:pt x="65" y="1029"/>
                    </a:lnTo>
                    <a:lnTo>
                      <a:pt x="65" y="1027"/>
                    </a:lnTo>
                    <a:lnTo>
                      <a:pt x="65" y="1026"/>
                    </a:lnTo>
                    <a:lnTo>
                      <a:pt x="65" y="1024"/>
                    </a:lnTo>
                    <a:lnTo>
                      <a:pt x="63" y="1021"/>
                    </a:lnTo>
                    <a:lnTo>
                      <a:pt x="63" y="1017"/>
                    </a:lnTo>
                    <a:lnTo>
                      <a:pt x="63" y="1015"/>
                    </a:lnTo>
                    <a:lnTo>
                      <a:pt x="63" y="1014"/>
                    </a:lnTo>
                    <a:lnTo>
                      <a:pt x="63" y="1012"/>
                    </a:lnTo>
                    <a:lnTo>
                      <a:pt x="61" y="1010"/>
                    </a:lnTo>
                    <a:lnTo>
                      <a:pt x="61" y="1009"/>
                    </a:lnTo>
                    <a:lnTo>
                      <a:pt x="60" y="1009"/>
                    </a:lnTo>
                    <a:lnTo>
                      <a:pt x="58" y="1009"/>
                    </a:lnTo>
                    <a:lnTo>
                      <a:pt x="58" y="1007"/>
                    </a:lnTo>
                    <a:lnTo>
                      <a:pt x="56" y="1007"/>
                    </a:lnTo>
                    <a:lnTo>
                      <a:pt x="58" y="1005"/>
                    </a:lnTo>
                    <a:lnTo>
                      <a:pt x="60" y="1005"/>
                    </a:lnTo>
                    <a:lnTo>
                      <a:pt x="61" y="1005"/>
                    </a:lnTo>
                    <a:lnTo>
                      <a:pt x="61" y="1004"/>
                    </a:lnTo>
                    <a:lnTo>
                      <a:pt x="63" y="1004"/>
                    </a:lnTo>
                    <a:lnTo>
                      <a:pt x="65" y="1004"/>
                    </a:lnTo>
                    <a:lnTo>
                      <a:pt x="65" y="1002"/>
                    </a:lnTo>
                    <a:lnTo>
                      <a:pt x="65" y="1000"/>
                    </a:lnTo>
                    <a:lnTo>
                      <a:pt x="66" y="1000"/>
                    </a:lnTo>
                    <a:lnTo>
                      <a:pt x="66" y="998"/>
                    </a:lnTo>
                    <a:lnTo>
                      <a:pt x="66" y="997"/>
                    </a:lnTo>
                    <a:lnTo>
                      <a:pt x="66" y="995"/>
                    </a:lnTo>
                    <a:lnTo>
                      <a:pt x="65" y="993"/>
                    </a:lnTo>
                    <a:lnTo>
                      <a:pt x="63" y="993"/>
                    </a:lnTo>
                    <a:lnTo>
                      <a:pt x="63" y="992"/>
                    </a:lnTo>
                    <a:lnTo>
                      <a:pt x="63" y="993"/>
                    </a:lnTo>
                    <a:lnTo>
                      <a:pt x="61" y="992"/>
                    </a:lnTo>
                    <a:lnTo>
                      <a:pt x="63" y="990"/>
                    </a:lnTo>
                    <a:lnTo>
                      <a:pt x="61" y="990"/>
                    </a:lnTo>
                    <a:lnTo>
                      <a:pt x="61" y="988"/>
                    </a:lnTo>
                    <a:lnTo>
                      <a:pt x="61" y="987"/>
                    </a:lnTo>
                    <a:lnTo>
                      <a:pt x="61" y="985"/>
                    </a:lnTo>
                    <a:lnTo>
                      <a:pt x="61" y="983"/>
                    </a:lnTo>
                    <a:lnTo>
                      <a:pt x="61" y="981"/>
                    </a:lnTo>
                    <a:lnTo>
                      <a:pt x="63" y="980"/>
                    </a:lnTo>
                    <a:lnTo>
                      <a:pt x="61" y="980"/>
                    </a:lnTo>
                    <a:lnTo>
                      <a:pt x="61" y="978"/>
                    </a:lnTo>
                    <a:lnTo>
                      <a:pt x="63" y="978"/>
                    </a:lnTo>
                    <a:lnTo>
                      <a:pt x="63" y="976"/>
                    </a:lnTo>
                    <a:lnTo>
                      <a:pt x="65" y="976"/>
                    </a:lnTo>
                    <a:lnTo>
                      <a:pt x="66" y="976"/>
                    </a:lnTo>
                    <a:lnTo>
                      <a:pt x="68" y="976"/>
                    </a:lnTo>
                    <a:lnTo>
                      <a:pt x="70" y="976"/>
                    </a:lnTo>
                    <a:lnTo>
                      <a:pt x="70" y="975"/>
                    </a:lnTo>
                    <a:lnTo>
                      <a:pt x="71" y="975"/>
                    </a:lnTo>
                    <a:lnTo>
                      <a:pt x="70" y="973"/>
                    </a:lnTo>
                    <a:lnTo>
                      <a:pt x="70" y="971"/>
                    </a:lnTo>
                    <a:lnTo>
                      <a:pt x="70" y="969"/>
                    </a:lnTo>
                    <a:lnTo>
                      <a:pt x="71" y="969"/>
                    </a:lnTo>
                    <a:lnTo>
                      <a:pt x="73" y="969"/>
                    </a:lnTo>
                    <a:lnTo>
                      <a:pt x="73" y="968"/>
                    </a:lnTo>
                    <a:lnTo>
                      <a:pt x="75" y="968"/>
                    </a:lnTo>
                    <a:lnTo>
                      <a:pt x="77" y="968"/>
                    </a:lnTo>
                    <a:lnTo>
                      <a:pt x="77" y="966"/>
                    </a:lnTo>
                    <a:lnTo>
                      <a:pt x="77" y="964"/>
                    </a:lnTo>
                    <a:lnTo>
                      <a:pt x="75" y="964"/>
                    </a:lnTo>
                    <a:lnTo>
                      <a:pt x="77" y="963"/>
                    </a:lnTo>
                    <a:lnTo>
                      <a:pt x="75" y="963"/>
                    </a:lnTo>
                    <a:lnTo>
                      <a:pt x="75" y="961"/>
                    </a:lnTo>
                    <a:lnTo>
                      <a:pt x="73" y="961"/>
                    </a:lnTo>
                    <a:lnTo>
                      <a:pt x="73" y="959"/>
                    </a:lnTo>
                    <a:lnTo>
                      <a:pt x="71" y="958"/>
                    </a:lnTo>
                    <a:lnTo>
                      <a:pt x="71" y="956"/>
                    </a:lnTo>
                    <a:lnTo>
                      <a:pt x="70" y="956"/>
                    </a:lnTo>
                    <a:lnTo>
                      <a:pt x="70" y="954"/>
                    </a:lnTo>
                    <a:lnTo>
                      <a:pt x="68" y="952"/>
                    </a:lnTo>
                    <a:lnTo>
                      <a:pt x="68" y="951"/>
                    </a:lnTo>
                    <a:lnTo>
                      <a:pt x="70" y="951"/>
                    </a:lnTo>
                    <a:lnTo>
                      <a:pt x="68" y="951"/>
                    </a:lnTo>
                    <a:lnTo>
                      <a:pt x="66" y="951"/>
                    </a:lnTo>
                    <a:lnTo>
                      <a:pt x="66" y="949"/>
                    </a:lnTo>
                    <a:lnTo>
                      <a:pt x="65" y="951"/>
                    </a:lnTo>
                    <a:lnTo>
                      <a:pt x="65" y="949"/>
                    </a:lnTo>
                    <a:lnTo>
                      <a:pt x="63" y="949"/>
                    </a:lnTo>
                    <a:lnTo>
                      <a:pt x="61" y="947"/>
                    </a:lnTo>
                    <a:lnTo>
                      <a:pt x="61" y="949"/>
                    </a:lnTo>
                    <a:lnTo>
                      <a:pt x="60" y="947"/>
                    </a:lnTo>
                    <a:lnTo>
                      <a:pt x="58" y="947"/>
                    </a:lnTo>
                    <a:lnTo>
                      <a:pt x="58" y="949"/>
                    </a:lnTo>
                    <a:lnTo>
                      <a:pt x="56" y="949"/>
                    </a:lnTo>
                    <a:lnTo>
                      <a:pt x="56" y="947"/>
                    </a:lnTo>
                    <a:lnTo>
                      <a:pt x="54" y="947"/>
                    </a:lnTo>
                    <a:lnTo>
                      <a:pt x="53" y="946"/>
                    </a:lnTo>
                    <a:lnTo>
                      <a:pt x="53" y="947"/>
                    </a:lnTo>
                    <a:lnTo>
                      <a:pt x="53" y="946"/>
                    </a:lnTo>
                    <a:lnTo>
                      <a:pt x="51" y="946"/>
                    </a:lnTo>
                    <a:lnTo>
                      <a:pt x="53" y="944"/>
                    </a:lnTo>
                    <a:lnTo>
                      <a:pt x="51" y="944"/>
                    </a:lnTo>
                    <a:lnTo>
                      <a:pt x="53" y="944"/>
                    </a:lnTo>
                    <a:lnTo>
                      <a:pt x="53" y="942"/>
                    </a:lnTo>
                    <a:lnTo>
                      <a:pt x="51" y="942"/>
                    </a:lnTo>
                    <a:lnTo>
                      <a:pt x="51" y="941"/>
                    </a:lnTo>
                    <a:lnTo>
                      <a:pt x="51" y="939"/>
                    </a:lnTo>
                    <a:lnTo>
                      <a:pt x="53" y="941"/>
                    </a:lnTo>
                    <a:lnTo>
                      <a:pt x="54" y="941"/>
                    </a:lnTo>
                    <a:lnTo>
                      <a:pt x="56" y="941"/>
                    </a:lnTo>
                    <a:lnTo>
                      <a:pt x="56" y="942"/>
                    </a:lnTo>
                    <a:lnTo>
                      <a:pt x="56" y="941"/>
                    </a:lnTo>
                    <a:lnTo>
                      <a:pt x="58" y="941"/>
                    </a:lnTo>
                    <a:lnTo>
                      <a:pt x="58" y="942"/>
                    </a:lnTo>
                    <a:lnTo>
                      <a:pt x="60" y="941"/>
                    </a:lnTo>
                    <a:lnTo>
                      <a:pt x="60" y="942"/>
                    </a:lnTo>
                    <a:lnTo>
                      <a:pt x="60" y="941"/>
                    </a:lnTo>
                    <a:lnTo>
                      <a:pt x="61" y="939"/>
                    </a:lnTo>
                    <a:lnTo>
                      <a:pt x="61" y="941"/>
                    </a:lnTo>
                    <a:lnTo>
                      <a:pt x="63" y="941"/>
                    </a:lnTo>
                    <a:lnTo>
                      <a:pt x="65" y="941"/>
                    </a:lnTo>
                    <a:lnTo>
                      <a:pt x="66" y="941"/>
                    </a:lnTo>
                    <a:lnTo>
                      <a:pt x="68" y="941"/>
                    </a:lnTo>
                    <a:lnTo>
                      <a:pt x="68" y="939"/>
                    </a:lnTo>
                    <a:lnTo>
                      <a:pt x="68" y="941"/>
                    </a:lnTo>
                    <a:lnTo>
                      <a:pt x="70" y="939"/>
                    </a:lnTo>
                    <a:lnTo>
                      <a:pt x="71" y="939"/>
                    </a:lnTo>
                    <a:lnTo>
                      <a:pt x="73" y="939"/>
                    </a:lnTo>
                    <a:lnTo>
                      <a:pt x="73" y="941"/>
                    </a:lnTo>
                    <a:lnTo>
                      <a:pt x="75" y="941"/>
                    </a:lnTo>
                    <a:lnTo>
                      <a:pt x="75" y="942"/>
                    </a:lnTo>
                    <a:lnTo>
                      <a:pt x="77" y="942"/>
                    </a:lnTo>
                    <a:lnTo>
                      <a:pt x="78" y="942"/>
                    </a:lnTo>
                    <a:lnTo>
                      <a:pt x="78" y="941"/>
                    </a:lnTo>
                    <a:lnTo>
                      <a:pt x="80" y="941"/>
                    </a:lnTo>
                    <a:lnTo>
                      <a:pt x="80" y="939"/>
                    </a:lnTo>
                    <a:lnTo>
                      <a:pt x="80" y="937"/>
                    </a:lnTo>
                    <a:lnTo>
                      <a:pt x="82" y="935"/>
                    </a:lnTo>
                    <a:lnTo>
                      <a:pt x="80" y="935"/>
                    </a:lnTo>
                    <a:lnTo>
                      <a:pt x="80" y="934"/>
                    </a:lnTo>
                    <a:lnTo>
                      <a:pt x="82" y="932"/>
                    </a:lnTo>
                    <a:lnTo>
                      <a:pt x="80" y="932"/>
                    </a:lnTo>
                    <a:lnTo>
                      <a:pt x="82" y="932"/>
                    </a:lnTo>
                    <a:lnTo>
                      <a:pt x="83" y="932"/>
                    </a:lnTo>
                    <a:lnTo>
                      <a:pt x="85" y="932"/>
                    </a:lnTo>
                    <a:lnTo>
                      <a:pt x="83" y="930"/>
                    </a:lnTo>
                    <a:lnTo>
                      <a:pt x="85" y="929"/>
                    </a:lnTo>
                    <a:lnTo>
                      <a:pt x="83" y="929"/>
                    </a:lnTo>
                    <a:lnTo>
                      <a:pt x="82" y="927"/>
                    </a:lnTo>
                    <a:lnTo>
                      <a:pt x="83" y="927"/>
                    </a:lnTo>
                    <a:lnTo>
                      <a:pt x="83" y="925"/>
                    </a:lnTo>
                    <a:lnTo>
                      <a:pt x="82" y="925"/>
                    </a:lnTo>
                    <a:lnTo>
                      <a:pt x="80" y="924"/>
                    </a:lnTo>
                    <a:lnTo>
                      <a:pt x="80" y="925"/>
                    </a:lnTo>
                    <a:lnTo>
                      <a:pt x="80" y="924"/>
                    </a:lnTo>
                    <a:lnTo>
                      <a:pt x="78" y="924"/>
                    </a:lnTo>
                    <a:lnTo>
                      <a:pt x="77" y="924"/>
                    </a:lnTo>
                    <a:lnTo>
                      <a:pt x="75" y="924"/>
                    </a:lnTo>
                    <a:lnTo>
                      <a:pt x="75" y="922"/>
                    </a:lnTo>
                    <a:lnTo>
                      <a:pt x="73" y="922"/>
                    </a:lnTo>
                    <a:lnTo>
                      <a:pt x="71" y="922"/>
                    </a:lnTo>
                    <a:lnTo>
                      <a:pt x="71" y="924"/>
                    </a:lnTo>
                    <a:lnTo>
                      <a:pt x="70" y="922"/>
                    </a:lnTo>
                    <a:lnTo>
                      <a:pt x="70" y="924"/>
                    </a:lnTo>
                    <a:lnTo>
                      <a:pt x="68" y="924"/>
                    </a:lnTo>
                    <a:lnTo>
                      <a:pt x="66" y="922"/>
                    </a:lnTo>
                    <a:lnTo>
                      <a:pt x="66" y="924"/>
                    </a:lnTo>
                    <a:lnTo>
                      <a:pt x="65" y="924"/>
                    </a:lnTo>
                    <a:lnTo>
                      <a:pt x="65" y="922"/>
                    </a:lnTo>
                    <a:lnTo>
                      <a:pt x="63" y="922"/>
                    </a:lnTo>
                    <a:lnTo>
                      <a:pt x="63" y="924"/>
                    </a:lnTo>
                    <a:lnTo>
                      <a:pt x="61" y="924"/>
                    </a:lnTo>
                    <a:lnTo>
                      <a:pt x="60" y="924"/>
                    </a:lnTo>
                    <a:lnTo>
                      <a:pt x="60" y="922"/>
                    </a:lnTo>
                    <a:lnTo>
                      <a:pt x="60" y="920"/>
                    </a:lnTo>
                    <a:lnTo>
                      <a:pt x="61" y="920"/>
                    </a:lnTo>
                    <a:lnTo>
                      <a:pt x="61" y="918"/>
                    </a:lnTo>
                    <a:lnTo>
                      <a:pt x="60" y="917"/>
                    </a:lnTo>
                    <a:lnTo>
                      <a:pt x="60" y="915"/>
                    </a:lnTo>
                    <a:lnTo>
                      <a:pt x="61" y="913"/>
                    </a:lnTo>
                    <a:lnTo>
                      <a:pt x="60" y="913"/>
                    </a:lnTo>
                    <a:lnTo>
                      <a:pt x="60" y="912"/>
                    </a:lnTo>
                    <a:lnTo>
                      <a:pt x="58" y="910"/>
                    </a:lnTo>
                    <a:lnTo>
                      <a:pt x="60" y="910"/>
                    </a:lnTo>
                    <a:lnTo>
                      <a:pt x="61" y="910"/>
                    </a:lnTo>
                    <a:lnTo>
                      <a:pt x="63" y="908"/>
                    </a:lnTo>
                    <a:lnTo>
                      <a:pt x="63" y="907"/>
                    </a:lnTo>
                    <a:lnTo>
                      <a:pt x="63" y="905"/>
                    </a:lnTo>
                    <a:lnTo>
                      <a:pt x="65" y="905"/>
                    </a:lnTo>
                    <a:lnTo>
                      <a:pt x="65" y="903"/>
                    </a:lnTo>
                    <a:lnTo>
                      <a:pt x="65" y="901"/>
                    </a:lnTo>
                    <a:lnTo>
                      <a:pt x="66" y="901"/>
                    </a:lnTo>
                    <a:lnTo>
                      <a:pt x="65" y="900"/>
                    </a:lnTo>
                    <a:lnTo>
                      <a:pt x="63" y="900"/>
                    </a:lnTo>
                    <a:lnTo>
                      <a:pt x="63" y="898"/>
                    </a:lnTo>
                    <a:lnTo>
                      <a:pt x="63" y="896"/>
                    </a:lnTo>
                    <a:lnTo>
                      <a:pt x="61" y="896"/>
                    </a:lnTo>
                    <a:lnTo>
                      <a:pt x="63" y="896"/>
                    </a:lnTo>
                    <a:lnTo>
                      <a:pt x="61" y="896"/>
                    </a:lnTo>
                    <a:lnTo>
                      <a:pt x="63" y="895"/>
                    </a:lnTo>
                    <a:lnTo>
                      <a:pt x="61" y="895"/>
                    </a:lnTo>
                    <a:lnTo>
                      <a:pt x="63" y="893"/>
                    </a:lnTo>
                    <a:lnTo>
                      <a:pt x="65" y="891"/>
                    </a:lnTo>
                    <a:lnTo>
                      <a:pt x="65" y="890"/>
                    </a:lnTo>
                    <a:lnTo>
                      <a:pt x="66" y="890"/>
                    </a:lnTo>
                    <a:lnTo>
                      <a:pt x="68" y="890"/>
                    </a:lnTo>
                    <a:lnTo>
                      <a:pt x="66" y="890"/>
                    </a:lnTo>
                    <a:lnTo>
                      <a:pt x="68" y="890"/>
                    </a:lnTo>
                    <a:lnTo>
                      <a:pt x="68" y="888"/>
                    </a:lnTo>
                    <a:lnTo>
                      <a:pt x="68" y="886"/>
                    </a:lnTo>
                    <a:lnTo>
                      <a:pt x="66" y="886"/>
                    </a:lnTo>
                    <a:lnTo>
                      <a:pt x="65" y="886"/>
                    </a:lnTo>
                    <a:lnTo>
                      <a:pt x="63" y="886"/>
                    </a:lnTo>
                    <a:lnTo>
                      <a:pt x="63" y="884"/>
                    </a:lnTo>
                    <a:lnTo>
                      <a:pt x="61" y="884"/>
                    </a:lnTo>
                    <a:lnTo>
                      <a:pt x="61" y="883"/>
                    </a:lnTo>
                    <a:lnTo>
                      <a:pt x="60" y="883"/>
                    </a:lnTo>
                    <a:lnTo>
                      <a:pt x="58" y="883"/>
                    </a:lnTo>
                    <a:lnTo>
                      <a:pt x="58" y="881"/>
                    </a:lnTo>
                    <a:lnTo>
                      <a:pt x="60" y="879"/>
                    </a:lnTo>
                    <a:lnTo>
                      <a:pt x="58" y="879"/>
                    </a:lnTo>
                    <a:lnTo>
                      <a:pt x="58" y="878"/>
                    </a:lnTo>
                    <a:lnTo>
                      <a:pt x="58" y="879"/>
                    </a:lnTo>
                    <a:lnTo>
                      <a:pt x="56" y="879"/>
                    </a:lnTo>
                    <a:lnTo>
                      <a:pt x="56" y="878"/>
                    </a:lnTo>
                    <a:lnTo>
                      <a:pt x="56" y="876"/>
                    </a:lnTo>
                    <a:lnTo>
                      <a:pt x="58" y="874"/>
                    </a:lnTo>
                    <a:lnTo>
                      <a:pt x="58" y="873"/>
                    </a:lnTo>
                    <a:lnTo>
                      <a:pt x="56" y="873"/>
                    </a:lnTo>
                    <a:lnTo>
                      <a:pt x="58" y="873"/>
                    </a:lnTo>
                    <a:lnTo>
                      <a:pt x="60" y="873"/>
                    </a:lnTo>
                    <a:lnTo>
                      <a:pt x="61" y="873"/>
                    </a:lnTo>
                    <a:lnTo>
                      <a:pt x="61" y="871"/>
                    </a:lnTo>
                    <a:lnTo>
                      <a:pt x="61" y="873"/>
                    </a:lnTo>
                    <a:lnTo>
                      <a:pt x="63" y="873"/>
                    </a:lnTo>
                    <a:lnTo>
                      <a:pt x="63" y="871"/>
                    </a:lnTo>
                    <a:lnTo>
                      <a:pt x="63" y="869"/>
                    </a:lnTo>
                    <a:lnTo>
                      <a:pt x="61" y="867"/>
                    </a:lnTo>
                    <a:lnTo>
                      <a:pt x="63" y="867"/>
                    </a:lnTo>
                    <a:lnTo>
                      <a:pt x="63" y="866"/>
                    </a:lnTo>
                    <a:lnTo>
                      <a:pt x="61" y="866"/>
                    </a:lnTo>
                    <a:lnTo>
                      <a:pt x="61" y="864"/>
                    </a:lnTo>
                    <a:lnTo>
                      <a:pt x="60" y="864"/>
                    </a:lnTo>
                    <a:lnTo>
                      <a:pt x="58" y="864"/>
                    </a:lnTo>
                    <a:lnTo>
                      <a:pt x="58" y="862"/>
                    </a:lnTo>
                    <a:lnTo>
                      <a:pt x="56" y="862"/>
                    </a:lnTo>
                    <a:lnTo>
                      <a:pt x="56" y="861"/>
                    </a:lnTo>
                    <a:lnTo>
                      <a:pt x="54" y="859"/>
                    </a:lnTo>
                    <a:lnTo>
                      <a:pt x="53" y="859"/>
                    </a:lnTo>
                    <a:lnTo>
                      <a:pt x="53" y="857"/>
                    </a:lnTo>
                    <a:lnTo>
                      <a:pt x="51" y="857"/>
                    </a:lnTo>
                    <a:lnTo>
                      <a:pt x="51" y="856"/>
                    </a:lnTo>
                    <a:lnTo>
                      <a:pt x="49" y="854"/>
                    </a:lnTo>
                    <a:lnTo>
                      <a:pt x="49" y="852"/>
                    </a:lnTo>
                    <a:lnTo>
                      <a:pt x="49" y="850"/>
                    </a:lnTo>
                    <a:lnTo>
                      <a:pt x="49" y="849"/>
                    </a:lnTo>
                    <a:lnTo>
                      <a:pt x="48" y="849"/>
                    </a:lnTo>
                    <a:lnTo>
                      <a:pt x="49" y="849"/>
                    </a:lnTo>
                    <a:lnTo>
                      <a:pt x="49" y="847"/>
                    </a:lnTo>
                    <a:lnTo>
                      <a:pt x="49" y="845"/>
                    </a:lnTo>
                    <a:lnTo>
                      <a:pt x="49" y="844"/>
                    </a:lnTo>
                    <a:lnTo>
                      <a:pt x="48" y="844"/>
                    </a:lnTo>
                    <a:lnTo>
                      <a:pt x="48" y="842"/>
                    </a:lnTo>
                    <a:lnTo>
                      <a:pt x="49" y="842"/>
                    </a:lnTo>
                    <a:lnTo>
                      <a:pt x="49" y="840"/>
                    </a:lnTo>
                    <a:lnTo>
                      <a:pt x="49" y="839"/>
                    </a:lnTo>
                    <a:lnTo>
                      <a:pt x="51" y="839"/>
                    </a:lnTo>
                    <a:lnTo>
                      <a:pt x="51" y="837"/>
                    </a:lnTo>
                    <a:lnTo>
                      <a:pt x="53" y="837"/>
                    </a:lnTo>
                    <a:lnTo>
                      <a:pt x="53" y="835"/>
                    </a:lnTo>
                    <a:lnTo>
                      <a:pt x="53" y="833"/>
                    </a:lnTo>
                    <a:lnTo>
                      <a:pt x="53" y="832"/>
                    </a:lnTo>
                    <a:lnTo>
                      <a:pt x="53" y="830"/>
                    </a:lnTo>
                    <a:lnTo>
                      <a:pt x="51" y="830"/>
                    </a:lnTo>
                    <a:lnTo>
                      <a:pt x="51" y="828"/>
                    </a:lnTo>
                    <a:lnTo>
                      <a:pt x="49" y="830"/>
                    </a:lnTo>
                    <a:lnTo>
                      <a:pt x="49" y="828"/>
                    </a:lnTo>
                    <a:lnTo>
                      <a:pt x="49" y="827"/>
                    </a:lnTo>
                    <a:lnTo>
                      <a:pt x="49" y="825"/>
                    </a:lnTo>
                    <a:lnTo>
                      <a:pt x="48" y="823"/>
                    </a:lnTo>
                    <a:lnTo>
                      <a:pt x="49" y="823"/>
                    </a:lnTo>
                    <a:lnTo>
                      <a:pt x="48" y="822"/>
                    </a:lnTo>
                    <a:lnTo>
                      <a:pt x="48" y="820"/>
                    </a:lnTo>
                    <a:lnTo>
                      <a:pt x="48" y="818"/>
                    </a:lnTo>
                    <a:lnTo>
                      <a:pt x="49" y="818"/>
                    </a:lnTo>
                    <a:lnTo>
                      <a:pt x="51" y="818"/>
                    </a:lnTo>
                    <a:lnTo>
                      <a:pt x="51" y="816"/>
                    </a:lnTo>
                    <a:lnTo>
                      <a:pt x="53" y="816"/>
                    </a:lnTo>
                    <a:lnTo>
                      <a:pt x="53" y="818"/>
                    </a:lnTo>
                    <a:lnTo>
                      <a:pt x="54" y="818"/>
                    </a:lnTo>
                    <a:lnTo>
                      <a:pt x="56" y="820"/>
                    </a:lnTo>
                    <a:lnTo>
                      <a:pt x="58" y="820"/>
                    </a:lnTo>
                    <a:lnTo>
                      <a:pt x="58" y="818"/>
                    </a:lnTo>
                    <a:lnTo>
                      <a:pt x="60" y="818"/>
                    </a:lnTo>
                    <a:lnTo>
                      <a:pt x="60" y="820"/>
                    </a:lnTo>
                    <a:lnTo>
                      <a:pt x="60" y="818"/>
                    </a:lnTo>
                    <a:lnTo>
                      <a:pt x="61" y="818"/>
                    </a:lnTo>
                    <a:lnTo>
                      <a:pt x="63" y="818"/>
                    </a:lnTo>
                    <a:lnTo>
                      <a:pt x="63" y="816"/>
                    </a:lnTo>
                    <a:lnTo>
                      <a:pt x="63" y="815"/>
                    </a:lnTo>
                    <a:lnTo>
                      <a:pt x="63" y="813"/>
                    </a:lnTo>
                    <a:lnTo>
                      <a:pt x="61" y="813"/>
                    </a:lnTo>
                    <a:lnTo>
                      <a:pt x="61" y="811"/>
                    </a:lnTo>
                    <a:lnTo>
                      <a:pt x="61" y="810"/>
                    </a:lnTo>
                    <a:lnTo>
                      <a:pt x="61" y="808"/>
                    </a:lnTo>
                    <a:lnTo>
                      <a:pt x="61" y="806"/>
                    </a:lnTo>
                    <a:lnTo>
                      <a:pt x="61" y="804"/>
                    </a:lnTo>
                    <a:lnTo>
                      <a:pt x="61" y="803"/>
                    </a:lnTo>
                    <a:lnTo>
                      <a:pt x="61" y="801"/>
                    </a:lnTo>
                    <a:lnTo>
                      <a:pt x="61" y="799"/>
                    </a:lnTo>
                    <a:lnTo>
                      <a:pt x="60" y="799"/>
                    </a:lnTo>
                    <a:lnTo>
                      <a:pt x="61" y="798"/>
                    </a:lnTo>
                    <a:lnTo>
                      <a:pt x="60" y="798"/>
                    </a:lnTo>
                    <a:lnTo>
                      <a:pt x="60" y="796"/>
                    </a:lnTo>
                    <a:lnTo>
                      <a:pt x="58" y="796"/>
                    </a:lnTo>
                    <a:lnTo>
                      <a:pt x="58" y="794"/>
                    </a:lnTo>
                    <a:lnTo>
                      <a:pt x="58" y="793"/>
                    </a:lnTo>
                    <a:lnTo>
                      <a:pt x="60" y="793"/>
                    </a:lnTo>
                    <a:lnTo>
                      <a:pt x="60" y="791"/>
                    </a:lnTo>
                    <a:lnTo>
                      <a:pt x="60" y="789"/>
                    </a:lnTo>
                    <a:lnTo>
                      <a:pt x="60" y="787"/>
                    </a:lnTo>
                    <a:lnTo>
                      <a:pt x="60" y="786"/>
                    </a:lnTo>
                    <a:lnTo>
                      <a:pt x="58" y="786"/>
                    </a:lnTo>
                    <a:lnTo>
                      <a:pt x="58" y="784"/>
                    </a:lnTo>
                    <a:lnTo>
                      <a:pt x="58" y="782"/>
                    </a:lnTo>
                    <a:lnTo>
                      <a:pt x="56" y="782"/>
                    </a:lnTo>
                    <a:lnTo>
                      <a:pt x="58" y="782"/>
                    </a:lnTo>
                    <a:lnTo>
                      <a:pt x="58" y="781"/>
                    </a:lnTo>
                    <a:lnTo>
                      <a:pt x="58" y="779"/>
                    </a:lnTo>
                    <a:lnTo>
                      <a:pt x="58" y="777"/>
                    </a:lnTo>
                    <a:lnTo>
                      <a:pt x="60" y="779"/>
                    </a:lnTo>
                    <a:lnTo>
                      <a:pt x="58" y="777"/>
                    </a:lnTo>
                    <a:lnTo>
                      <a:pt x="60" y="777"/>
                    </a:lnTo>
                    <a:lnTo>
                      <a:pt x="58" y="777"/>
                    </a:lnTo>
                    <a:lnTo>
                      <a:pt x="58" y="776"/>
                    </a:lnTo>
                    <a:lnTo>
                      <a:pt x="58" y="774"/>
                    </a:lnTo>
                    <a:lnTo>
                      <a:pt x="60" y="774"/>
                    </a:lnTo>
                    <a:lnTo>
                      <a:pt x="60" y="772"/>
                    </a:lnTo>
                    <a:lnTo>
                      <a:pt x="60" y="770"/>
                    </a:lnTo>
                    <a:lnTo>
                      <a:pt x="60" y="769"/>
                    </a:lnTo>
                    <a:lnTo>
                      <a:pt x="58" y="769"/>
                    </a:lnTo>
                    <a:lnTo>
                      <a:pt x="58" y="767"/>
                    </a:lnTo>
                    <a:lnTo>
                      <a:pt x="58" y="765"/>
                    </a:lnTo>
                    <a:lnTo>
                      <a:pt x="56" y="765"/>
                    </a:lnTo>
                    <a:lnTo>
                      <a:pt x="58" y="765"/>
                    </a:lnTo>
                    <a:lnTo>
                      <a:pt x="58" y="764"/>
                    </a:lnTo>
                    <a:lnTo>
                      <a:pt x="58" y="762"/>
                    </a:lnTo>
                    <a:lnTo>
                      <a:pt x="58" y="760"/>
                    </a:lnTo>
                    <a:lnTo>
                      <a:pt x="58" y="762"/>
                    </a:lnTo>
                    <a:lnTo>
                      <a:pt x="58" y="760"/>
                    </a:lnTo>
                    <a:lnTo>
                      <a:pt x="56" y="760"/>
                    </a:lnTo>
                    <a:lnTo>
                      <a:pt x="56" y="759"/>
                    </a:lnTo>
                    <a:lnTo>
                      <a:pt x="56" y="757"/>
                    </a:lnTo>
                    <a:lnTo>
                      <a:pt x="56" y="755"/>
                    </a:lnTo>
                    <a:lnTo>
                      <a:pt x="54" y="755"/>
                    </a:lnTo>
                    <a:lnTo>
                      <a:pt x="54" y="753"/>
                    </a:lnTo>
                    <a:lnTo>
                      <a:pt x="56" y="753"/>
                    </a:lnTo>
                    <a:lnTo>
                      <a:pt x="58" y="752"/>
                    </a:lnTo>
                    <a:lnTo>
                      <a:pt x="58" y="750"/>
                    </a:lnTo>
                    <a:lnTo>
                      <a:pt x="60" y="750"/>
                    </a:lnTo>
                    <a:lnTo>
                      <a:pt x="60" y="748"/>
                    </a:lnTo>
                    <a:lnTo>
                      <a:pt x="58" y="748"/>
                    </a:lnTo>
                    <a:lnTo>
                      <a:pt x="58" y="747"/>
                    </a:lnTo>
                    <a:lnTo>
                      <a:pt x="60" y="745"/>
                    </a:lnTo>
                    <a:lnTo>
                      <a:pt x="58" y="745"/>
                    </a:lnTo>
                    <a:lnTo>
                      <a:pt x="60" y="743"/>
                    </a:lnTo>
                    <a:lnTo>
                      <a:pt x="60" y="742"/>
                    </a:lnTo>
                    <a:lnTo>
                      <a:pt x="61" y="740"/>
                    </a:lnTo>
                    <a:lnTo>
                      <a:pt x="61" y="742"/>
                    </a:lnTo>
                    <a:lnTo>
                      <a:pt x="61" y="740"/>
                    </a:lnTo>
                    <a:lnTo>
                      <a:pt x="63" y="742"/>
                    </a:lnTo>
                    <a:lnTo>
                      <a:pt x="65" y="740"/>
                    </a:lnTo>
                    <a:lnTo>
                      <a:pt x="65" y="738"/>
                    </a:lnTo>
                    <a:lnTo>
                      <a:pt x="65" y="736"/>
                    </a:lnTo>
                    <a:lnTo>
                      <a:pt x="65" y="735"/>
                    </a:lnTo>
                    <a:lnTo>
                      <a:pt x="63" y="735"/>
                    </a:lnTo>
                    <a:lnTo>
                      <a:pt x="61" y="735"/>
                    </a:lnTo>
                    <a:lnTo>
                      <a:pt x="60" y="733"/>
                    </a:lnTo>
                    <a:lnTo>
                      <a:pt x="61" y="733"/>
                    </a:lnTo>
                    <a:lnTo>
                      <a:pt x="60" y="733"/>
                    </a:lnTo>
                    <a:lnTo>
                      <a:pt x="60" y="731"/>
                    </a:lnTo>
                    <a:lnTo>
                      <a:pt x="61" y="730"/>
                    </a:lnTo>
                    <a:lnTo>
                      <a:pt x="60" y="730"/>
                    </a:lnTo>
                    <a:lnTo>
                      <a:pt x="60" y="728"/>
                    </a:lnTo>
                    <a:lnTo>
                      <a:pt x="61" y="728"/>
                    </a:lnTo>
                    <a:lnTo>
                      <a:pt x="60" y="726"/>
                    </a:lnTo>
                    <a:lnTo>
                      <a:pt x="61" y="726"/>
                    </a:lnTo>
                    <a:lnTo>
                      <a:pt x="63" y="726"/>
                    </a:lnTo>
                    <a:lnTo>
                      <a:pt x="65" y="728"/>
                    </a:lnTo>
                    <a:lnTo>
                      <a:pt x="65" y="726"/>
                    </a:lnTo>
                    <a:lnTo>
                      <a:pt x="65" y="725"/>
                    </a:lnTo>
                    <a:lnTo>
                      <a:pt x="65" y="723"/>
                    </a:lnTo>
                    <a:lnTo>
                      <a:pt x="65" y="721"/>
                    </a:lnTo>
                    <a:lnTo>
                      <a:pt x="66" y="721"/>
                    </a:lnTo>
                    <a:lnTo>
                      <a:pt x="66" y="719"/>
                    </a:lnTo>
                    <a:lnTo>
                      <a:pt x="68" y="719"/>
                    </a:lnTo>
                    <a:lnTo>
                      <a:pt x="68" y="718"/>
                    </a:lnTo>
                    <a:lnTo>
                      <a:pt x="66" y="716"/>
                    </a:lnTo>
                    <a:lnTo>
                      <a:pt x="65" y="716"/>
                    </a:lnTo>
                    <a:lnTo>
                      <a:pt x="65" y="714"/>
                    </a:lnTo>
                    <a:lnTo>
                      <a:pt x="65" y="713"/>
                    </a:lnTo>
                    <a:lnTo>
                      <a:pt x="65" y="711"/>
                    </a:lnTo>
                    <a:lnTo>
                      <a:pt x="63" y="711"/>
                    </a:lnTo>
                    <a:lnTo>
                      <a:pt x="63" y="709"/>
                    </a:lnTo>
                    <a:lnTo>
                      <a:pt x="65" y="709"/>
                    </a:lnTo>
                    <a:lnTo>
                      <a:pt x="63" y="709"/>
                    </a:lnTo>
                    <a:lnTo>
                      <a:pt x="65" y="709"/>
                    </a:lnTo>
                    <a:lnTo>
                      <a:pt x="65" y="708"/>
                    </a:lnTo>
                    <a:lnTo>
                      <a:pt x="63" y="706"/>
                    </a:lnTo>
                    <a:lnTo>
                      <a:pt x="65" y="706"/>
                    </a:lnTo>
                    <a:lnTo>
                      <a:pt x="65" y="704"/>
                    </a:lnTo>
                    <a:lnTo>
                      <a:pt x="65" y="702"/>
                    </a:lnTo>
                    <a:lnTo>
                      <a:pt x="65" y="704"/>
                    </a:lnTo>
                    <a:lnTo>
                      <a:pt x="66" y="704"/>
                    </a:lnTo>
                    <a:lnTo>
                      <a:pt x="66" y="706"/>
                    </a:lnTo>
                    <a:lnTo>
                      <a:pt x="68" y="706"/>
                    </a:lnTo>
                    <a:lnTo>
                      <a:pt x="70" y="706"/>
                    </a:lnTo>
                    <a:lnTo>
                      <a:pt x="71" y="706"/>
                    </a:lnTo>
                    <a:lnTo>
                      <a:pt x="71" y="704"/>
                    </a:lnTo>
                    <a:lnTo>
                      <a:pt x="71" y="702"/>
                    </a:lnTo>
                    <a:lnTo>
                      <a:pt x="70" y="702"/>
                    </a:lnTo>
                    <a:lnTo>
                      <a:pt x="70" y="701"/>
                    </a:lnTo>
                    <a:lnTo>
                      <a:pt x="71" y="699"/>
                    </a:lnTo>
                    <a:lnTo>
                      <a:pt x="71" y="697"/>
                    </a:lnTo>
                    <a:lnTo>
                      <a:pt x="73" y="697"/>
                    </a:lnTo>
                    <a:lnTo>
                      <a:pt x="71" y="697"/>
                    </a:lnTo>
                    <a:lnTo>
                      <a:pt x="73" y="696"/>
                    </a:lnTo>
                    <a:lnTo>
                      <a:pt x="71" y="696"/>
                    </a:lnTo>
                    <a:lnTo>
                      <a:pt x="71" y="694"/>
                    </a:lnTo>
                    <a:lnTo>
                      <a:pt x="73" y="694"/>
                    </a:lnTo>
                    <a:lnTo>
                      <a:pt x="75" y="694"/>
                    </a:lnTo>
                    <a:lnTo>
                      <a:pt x="75" y="692"/>
                    </a:lnTo>
                    <a:lnTo>
                      <a:pt x="75" y="691"/>
                    </a:lnTo>
                    <a:lnTo>
                      <a:pt x="75" y="689"/>
                    </a:lnTo>
                    <a:lnTo>
                      <a:pt x="75" y="687"/>
                    </a:lnTo>
                    <a:lnTo>
                      <a:pt x="73" y="685"/>
                    </a:lnTo>
                    <a:lnTo>
                      <a:pt x="73" y="684"/>
                    </a:lnTo>
                    <a:lnTo>
                      <a:pt x="73" y="682"/>
                    </a:lnTo>
                    <a:lnTo>
                      <a:pt x="73" y="680"/>
                    </a:lnTo>
                    <a:lnTo>
                      <a:pt x="75" y="680"/>
                    </a:lnTo>
                    <a:lnTo>
                      <a:pt x="73" y="680"/>
                    </a:lnTo>
                    <a:lnTo>
                      <a:pt x="73" y="679"/>
                    </a:lnTo>
                    <a:lnTo>
                      <a:pt x="73" y="677"/>
                    </a:lnTo>
                    <a:lnTo>
                      <a:pt x="73" y="675"/>
                    </a:lnTo>
                    <a:lnTo>
                      <a:pt x="75" y="675"/>
                    </a:lnTo>
                    <a:lnTo>
                      <a:pt x="75" y="674"/>
                    </a:lnTo>
                    <a:lnTo>
                      <a:pt x="77" y="674"/>
                    </a:lnTo>
                    <a:lnTo>
                      <a:pt x="78" y="672"/>
                    </a:lnTo>
                    <a:lnTo>
                      <a:pt x="78" y="670"/>
                    </a:lnTo>
                    <a:lnTo>
                      <a:pt x="80" y="670"/>
                    </a:lnTo>
                    <a:lnTo>
                      <a:pt x="82" y="670"/>
                    </a:lnTo>
                    <a:lnTo>
                      <a:pt x="83" y="670"/>
                    </a:lnTo>
                    <a:lnTo>
                      <a:pt x="83" y="668"/>
                    </a:lnTo>
                    <a:lnTo>
                      <a:pt x="85" y="668"/>
                    </a:lnTo>
                    <a:lnTo>
                      <a:pt x="87" y="668"/>
                    </a:lnTo>
                    <a:lnTo>
                      <a:pt x="88" y="668"/>
                    </a:lnTo>
                    <a:lnTo>
                      <a:pt x="90" y="668"/>
                    </a:lnTo>
                    <a:lnTo>
                      <a:pt x="90" y="667"/>
                    </a:lnTo>
                    <a:lnTo>
                      <a:pt x="92" y="667"/>
                    </a:lnTo>
                    <a:lnTo>
                      <a:pt x="92" y="665"/>
                    </a:lnTo>
                    <a:lnTo>
                      <a:pt x="90" y="665"/>
                    </a:lnTo>
                    <a:lnTo>
                      <a:pt x="90" y="663"/>
                    </a:lnTo>
                    <a:lnTo>
                      <a:pt x="92" y="663"/>
                    </a:lnTo>
                    <a:lnTo>
                      <a:pt x="92" y="662"/>
                    </a:lnTo>
                    <a:lnTo>
                      <a:pt x="94" y="662"/>
                    </a:lnTo>
                    <a:lnTo>
                      <a:pt x="94" y="660"/>
                    </a:lnTo>
                    <a:lnTo>
                      <a:pt x="94" y="658"/>
                    </a:lnTo>
                    <a:lnTo>
                      <a:pt x="92" y="658"/>
                    </a:lnTo>
                    <a:lnTo>
                      <a:pt x="92" y="656"/>
                    </a:lnTo>
                    <a:lnTo>
                      <a:pt x="90" y="656"/>
                    </a:lnTo>
                    <a:lnTo>
                      <a:pt x="90" y="655"/>
                    </a:lnTo>
                    <a:lnTo>
                      <a:pt x="88" y="655"/>
                    </a:lnTo>
                    <a:lnTo>
                      <a:pt x="88" y="653"/>
                    </a:lnTo>
                    <a:lnTo>
                      <a:pt x="88" y="651"/>
                    </a:lnTo>
                    <a:lnTo>
                      <a:pt x="87" y="650"/>
                    </a:lnTo>
                    <a:lnTo>
                      <a:pt x="88" y="650"/>
                    </a:lnTo>
                    <a:lnTo>
                      <a:pt x="87" y="650"/>
                    </a:lnTo>
                    <a:lnTo>
                      <a:pt x="87" y="648"/>
                    </a:lnTo>
                    <a:lnTo>
                      <a:pt x="87" y="646"/>
                    </a:lnTo>
                    <a:lnTo>
                      <a:pt x="87" y="645"/>
                    </a:lnTo>
                    <a:lnTo>
                      <a:pt x="88" y="645"/>
                    </a:lnTo>
                    <a:lnTo>
                      <a:pt x="88" y="643"/>
                    </a:lnTo>
                    <a:lnTo>
                      <a:pt x="87" y="641"/>
                    </a:lnTo>
                    <a:lnTo>
                      <a:pt x="85" y="639"/>
                    </a:lnTo>
                    <a:lnTo>
                      <a:pt x="87" y="639"/>
                    </a:lnTo>
                    <a:lnTo>
                      <a:pt x="88" y="639"/>
                    </a:lnTo>
                    <a:lnTo>
                      <a:pt x="87" y="639"/>
                    </a:lnTo>
                    <a:lnTo>
                      <a:pt x="87" y="638"/>
                    </a:lnTo>
                    <a:lnTo>
                      <a:pt x="85" y="638"/>
                    </a:lnTo>
                    <a:lnTo>
                      <a:pt x="85" y="636"/>
                    </a:lnTo>
                    <a:lnTo>
                      <a:pt x="85" y="634"/>
                    </a:lnTo>
                    <a:lnTo>
                      <a:pt x="83" y="633"/>
                    </a:lnTo>
                    <a:lnTo>
                      <a:pt x="83" y="631"/>
                    </a:lnTo>
                    <a:lnTo>
                      <a:pt x="83" y="629"/>
                    </a:lnTo>
                    <a:lnTo>
                      <a:pt x="82" y="629"/>
                    </a:lnTo>
                    <a:lnTo>
                      <a:pt x="82" y="628"/>
                    </a:lnTo>
                    <a:lnTo>
                      <a:pt x="83" y="628"/>
                    </a:lnTo>
                    <a:lnTo>
                      <a:pt x="82" y="628"/>
                    </a:lnTo>
                    <a:lnTo>
                      <a:pt x="82" y="626"/>
                    </a:lnTo>
                    <a:lnTo>
                      <a:pt x="82" y="624"/>
                    </a:lnTo>
                    <a:lnTo>
                      <a:pt x="82" y="622"/>
                    </a:lnTo>
                    <a:lnTo>
                      <a:pt x="80" y="622"/>
                    </a:lnTo>
                    <a:lnTo>
                      <a:pt x="80" y="621"/>
                    </a:lnTo>
                    <a:lnTo>
                      <a:pt x="82" y="619"/>
                    </a:lnTo>
                    <a:lnTo>
                      <a:pt x="83" y="617"/>
                    </a:lnTo>
                    <a:lnTo>
                      <a:pt x="83" y="616"/>
                    </a:lnTo>
                    <a:lnTo>
                      <a:pt x="82" y="616"/>
                    </a:lnTo>
                    <a:lnTo>
                      <a:pt x="83" y="616"/>
                    </a:lnTo>
                    <a:lnTo>
                      <a:pt x="83" y="614"/>
                    </a:lnTo>
                    <a:lnTo>
                      <a:pt x="83" y="612"/>
                    </a:lnTo>
                    <a:lnTo>
                      <a:pt x="83" y="611"/>
                    </a:lnTo>
                    <a:lnTo>
                      <a:pt x="82" y="609"/>
                    </a:lnTo>
                    <a:lnTo>
                      <a:pt x="80" y="609"/>
                    </a:lnTo>
                    <a:lnTo>
                      <a:pt x="82" y="607"/>
                    </a:lnTo>
                    <a:lnTo>
                      <a:pt x="80" y="607"/>
                    </a:lnTo>
                    <a:lnTo>
                      <a:pt x="80" y="605"/>
                    </a:lnTo>
                    <a:lnTo>
                      <a:pt x="80" y="604"/>
                    </a:lnTo>
                    <a:lnTo>
                      <a:pt x="82" y="604"/>
                    </a:lnTo>
                    <a:lnTo>
                      <a:pt x="82" y="602"/>
                    </a:lnTo>
                    <a:lnTo>
                      <a:pt x="83" y="602"/>
                    </a:lnTo>
                    <a:lnTo>
                      <a:pt x="83" y="600"/>
                    </a:lnTo>
                    <a:lnTo>
                      <a:pt x="83" y="599"/>
                    </a:lnTo>
                    <a:lnTo>
                      <a:pt x="85" y="599"/>
                    </a:lnTo>
                    <a:lnTo>
                      <a:pt x="85" y="597"/>
                    </a:lnTo>
                    <a:lnTo>
                      <a:pt x="83" y="597"/>
                    </a:lnTo>
                    <a:lnTo>
                      <a:pt x="83" y="595"/>
                    </a:lnTo>
                    <a:lnTo>
                      <a:pt x="83" y="594"/>
                    </a:lnTo>
                    <a:lnTo>
                      <a:pt x="82" y="594"/>
                    </a:lnTo>
                    <a:lnTo>
                      <a:pt x="82" y="592"/>
                    </a:lnTo>
                    <a:lnTo>
                      <a:pt x="80" y="592"/>
                    </a:lnTo>
                    <a:lnTo>
                      <a:pt x="82" y="592"/>
                    </a:lnTo>
                    <a:lnTo>
                      <a:pt x="83" y="592"/>
                    </a:lnTo>
                    <a:lnTo>
                      <a:pt x="83" y="590"/>
                    </a:lnTo>
                    <a:lnTo>
                      <a:pt x="85" y="590"/>
                    </a:lnTo>
                    <a:lnTo>
                      <a:pt x="83" y="590"/>
                    </a:lnTo>
                    <a:lnTo>
                      <a:pt x="82" y="588"/>
                    </a:lnTo>
                    <a:lnTo>
                      <a:pt x="83" y="588"/>
                    </a:lnTo>
                    <a:lnTo>
                      <a:pt x="83" y="587"/>
                    </a:lnTo>
                    <a:lnTo>
                      <a:pt x="82" y="587"/>
                    </a:lnTo>
                    <a:lnTo>
                      <a:pt x="82" y="585"/>
                    </a:lnTo>
                    <a:lnTo>
                      <a:pt x="83" y="585"/>
                    </a:lnTo>
                    <a:lnTo>
                      <a:pt x="83" y="583"/>
                    </a:lnTo>
                    <a:lnTo>
                      <a:pt x="83" y="582"/>
                    </a:lnTo>
                    <a:lnTo>
                      <a:pt x="83" y="580"/>
                    </a:lnTo>
                    <a:lnTo>
                      <a:pt x="83" y="578"/>
                    </a:lnTo>
                    <a:lnTo>
                      <a:pt x="85" y="578"/>
                    </a:lnTo>
                    <a:lnTo>
                      <a:pt x="85" y="580"/>
                    </a:lnTo>
                    <a:lnTo>
                      <a:pt x="87" y="580"/>
                    </a:lnTo>
                    <a:lnTo>
                      <a:pt x="87" y="578"/>
                    </a:lnTo>
                    <a:lnTo>
                      <a:pt x="87" y="577"/>
                    </a:lnTo>
                    <a:lnTo>
                      <a:pt x="85" y="577"/>
                    </a:lnTo>
                    <a:lnTo>
                      <a:pt x="87" y="575"/>
                    </a:lnTo>
                    <a:lnTo>
                      <a:pt x="85" y="575"/>
                    </a:lnTo>
                    <a:lnTo>
                      <a:pt x="87" y="573"/>
                    </a:lnTo>
                    <a:lnTo>
                      <a:pt x="85" y="573"/>
                    </a:lnTo>
                    <a:lnTo>
                      <a:pt x="87" y="571"/>
                    </a:lnTo>
                    <a:lnTo>
                      <a:pt x="87" y="570"/>
                    </a:lnTo>
                    <a:lnTo>
                      <a:pt x="87" y="571"/>
                    </a:lnTo>
                    <a:lnTo>
                      <a:pt x="88" y="571"/>
                    </a:lnTo>
                    <a:lnTo>
                      <a:pt x="90" y="571"/>
                    </a:lnTo>
                    <a:lnTo>
                      <a:pt x="90" y="570"/>
                    </a:lnTo>
                    <a:lnTo>
                      <a:pt x="92" y="570"/>
                    </a:lnTo>
                    <a:lnTo>
                      <a:pt x="92" y="568"/>
                    </a:lnTo>
                    <a:lnTo>
                      <a:pt x="92" y="566"/>
                    </a:lnTo>
                    <a:lnTo>
                      <a:pt x="92" y="568"/>
                    </a:lnTo>
                    <a:lnTo>
                      <a:pt x="94" y="568"/>
                    </a:lnTo>
                    <a:lnTo>
                      <a:pt x="94" y="566"/>
                    </a:lnTo>
                    <a:lnTo>
                      <a:pt x="94" y="568"/>
                    </a:lnTo>
                    <a:lnTo>
                      <a:pt x="95" y="568"/>
                    </a:lnTo>
                    <a:lnTo>
                      <a:pt x="97" y="568"/>
                    </a:lnTo>
                    <a:lnTo>
                      <a:pt x="99" y="568"/>
                    </a:lnTo>
                    <a:lnTo>
                      <a:pt x="99" y="566"/>
                    </a:lnTo>
                    <a:lnTo>
                      <a:pt x="97" y="566"/>
                    </a:lnTo>
                    <a:lnTo>
                      <a:pt x="97" y="565"/>
                    </a:lnTo>
                    <a:lnTo>
                      <a:pt x="99" y="563"/>
                    </a:lnTo>
                    <a:lnTo>
                      <a:pt x="97" y="561"/>
                    </a:lnTo>
                    <a:lnTo>
                      <a:pt x="99" y="561"/>
                    </a:lnTo>
                    <a:lnTo>
                      <a:pt x="100" y="561"/>
                    </a:lnTo>
                    <a:lnTo>
                      <a:pt x="100" y="560"/>
                    </a:lnTo>
                    <a:lnTo>
                      <a:pt x="100" y="558"/>
                    </a:lnTo>
                    <a:lnTo>
                      <a:pt x="102" y="558"/>
                    </a:lnTo>
                    <a:lnTo>
                      <a:pt x="102" y="556"/>
                    </a:lnTo>
                    <a:lnTo>
                      <a:pt x="104" y="556"/>
                    </a:lnTo>
                    <a:lnTo>
                      <a:pt x="104" y="558"/>
                    </a:lnTo>
                    <a:lnTo>
                      <a:pt x="105" y="558"/>
                    </a:lnTo>
                    <a:lnTo>
                      <a:pt x="107" y="558"/>
                    </a:lnTo>
                    <a:lnTo>
                      <a:pt x="107" y="556"/>
                    </a:lnTo>
                    <a:lnTo>
                      <a:pt x="107" y="554"/>
                    </a:lnTo>
                    <a:lnTo>
                      <a:pt x="107" y="553"/>
                    </a:lnTo>
                    <a:lnTo>
                      <a:pt x="109" y="553"/>
                    </a:lnTo>
                    <a:lnTo>
                      <a:pt x="109" y="551"/>
                    </a:lnTo>
                    <a:lnTo>
                      <a:pt x="109" y="549"/>
                    </a:lnTo>
                    <a:lnTo>
                      <a:pt x="107" y="549"/>
                    </a:lnTo>
                    <a:lnTo>
                      <a:pt x="109" y="548"/>
                    </a:lnTo>
                    <a:lnTo>
                      <a:pt x="107" y="548"/>
                    </a:lnTo>
                    <a:lnTo>
                      <a:pt x="107" y="546"/>
                    </a:lnTo>
                    <a:lnTo>
                      <a:pt x="107" y="544"/>
                    </a:lnTo>
                    <a:lnTo>
                      <a:pt x="109" y="544"/>
                    </a:lnTo>
                    <a:lnTo>
                      <a:pt x="111" y="544"/>
                    </a:lnTo>
                    <a:lnTo>
                      <a:pt x="111" y="543"/>
                    </a:lnTo>
                    <a:lnTo>
                      <a:pt x="109" y="543"/>
                    </a:lnTo>
                    <a:lnTo>
                      <a:pt x="109" y="541"/>
                    </a:lnTo>
                    <a:lnTo>
                      <a:pt x="109" y="539"/>
                    </a:lnTo>
                    <a:lnTo>
                      <a:pt x="109" y="537"/>
                    </a:lnTo>
                    <a:lnTo>
                      <a:pt x="107" y="537"/>
                    </a:lnTo>
                    <a:lnTo>
                      <a:pt x="107" y="536"/>
                    </a:lnTo>
                    <a:lnTo>
                      <a:pt x="109" y="534"/>
                    </a:lnTo>
                    <a:lnTo>
                      <a:pt x="107" y="532"/>
                    </a:lnTo>
                    <a:lnTo>
                      <a:pt x="107" y="531"/>
                    </a:lnTo>
                    <a:lnTo>
                      <a:pt x="109" y="531"/>
                    </a:lnTo>
                    <a:lnTo>
                      <a:pt x="107" y="529"/>
                    </a:lnTo>
                    <a:lnTo>
                      <a:pt x="105" y="529"/>
                    </a:lnTo>
                    <a:lnTo>
                      <a:pt x="107" y="527"/>
                    </a:lnTo>
                    <a:lnTo>
                      <a:pt x="105" y="527"/>
                    </a:lnTo>
                    <a:lnTo>
                      <a:pt x="107" y="526"/>
                    </a:lnTo>
                    <a:lnTo>
                      <a:pt x="105" y="526"/>
                    </a:lnTo>
                    <a:lnTo>
                      <a:pt x="107" y="524"/>
                    </a:lnTo>
                    <a:lnTo>
                      <a:pt x="107" y="522"/>
                    </a:lnTo>
                    <a:lnTo>
                      <a:pt x="105" y="522"/>
                    </a:lnTo>
                    <a:lnTo>
                      <a:pt x="104" y="522"/>
                    </a:lnTo>
                    <a:lnTo>
                      <a:pt x="102" y="522"/>
                    </a:lnTo>
                    <a:lnTo>
                      <a:pt x="102" y="520"/>
                    </a:lnTo>
                    <a:lnTo>
                      <a:pt x="102" y="519"/>
                    </a:lnTo>
                    <a:lnTo>
                      <a:pt x="102" y="517"/>
                    </a:lnTo>
                    <a:lnTo>
                      <a:pt x="104" y="517"/>
                    </a:lnTo>
                    <a:lnTo>
                      <a:pt x="105" y="517"/>
                    </a:lnTo>
                    <a:lnTo>
                      <a:pt x="107" y="517"/>
                    </a:lnTo>
                    <a:lnTo>
                      <a:pt x="109" y="517"/>
                    </a:lnTo>
                    <a:lnTo>
                      <a:pt x="109" y="515"/>
                    </a:lnTo>
                    <a:lnTo>
                      <a:pt x="109" y="514"/>
                    </a:lnTo>
                    <a:lnTo>
                      <a:pt x="109" y="512"/>
                    </a:lnTo>
                    <a:lnTo>
                      <a:pt x="109" y="510"/>
                    </a:lnTo>
                    <a:lnTo>
                      <a:pt x="109" y="509"/>
                    </a:lnTo>
                    <a:lnTo>
                      <a:pt x="111" y="509"/>
                    </a:lnTo>
                    <a:lnTo>
                      <a:pt x="111" y="507"/>
                    </a:lnTo>
                    <a:lnTo>
                      <a:pt x="111" y="505"/>
                    </a:lnTo>
                    <a:lnTo>
                      <a:pt x="112" y="503"/>
                    </a:lnTo>
                    <a:lnTo>
                      <a:pt x="112" y="502"/>
                    </a:lnTo>
                    <a:lnTo>
                      <a:pt x="112" y="500"/>
                    </a:lnTo>
                    <a:lnTo>
                      <a:pt x="111" y="500"/>
                    </a:lnTo>
                    <a:lnTo>
                      <a:pt x="111" y="498"/>
                    </a:lnTo>
                    <a:lnTo>
                      <a:pt x="112" y="498"/>
                    </a:lnTo>
                    <a:lnTo>
                      <a:pt x="112" y="497"/>
                    </a:lnTo>
                    <a:lnTo>
                      <a:pt x="114" y="497"/>
                    </a:lnTo>
                    <a:lnTo>
                      <a:pt x="114" y="495"/>
                    </a:lnTo>
                    <a:lnTo>
                      <a:pt x="114" y="493"/>
                    </a:lnTo>
                    <a:lnTo>
                      <a:pt x="116" y="491"/>
                    </a:lnTo>
                    <a:lnTo>
                      <a:pt x="116" y="490"/>
                    </a:lnTo>
                    <a:lnTo>
                      <a:pt x="117" y="488"/>
                    </a:lnTo>
                    <a:lnTo>
                      <a:pt x="119" y="488"/>
                    </a:lnTo>
                    <a:lnTo>
                      <a:pt x="119" y="486"/>
                    </a:lnTo>
                    <a:lnTo>
                      <a:pt x="121" y="485"/>
                    </a:lnTo>
                    <a:lnTo>
                      <a:pt x="121" y="483"/>
                    </a:lnTo>
                    <a:lnTo>
                      <a:pt x="121" y="481"/>
                    </a:lnTo>
                    <a:lnTo>
                      <a:pt x="121" y="480"/>
                    </a:lnTo>
                    <a:lnTo>
                      <a:pt x="122" y="480"/>
                    </a:lnTo>
                    <a:lnTo>
                      <a:pt x="122" y="478"/>
                    </a:lnTo>
                    <a:lnTo>
                      <a:pt x="122" y="480"/>
                    </a:lnTo>
                    <a:lnTo>
                      <a:pt x="124" y="480"/>
                    </a:lnTo>
                    <a:lnTo>
                      <a:pt x="126" y="480"/>
                    </a:lnTo>
                    <a:lnTo>
                      <a:pt x="126" y="478"/>
                    </a:lnTo>
                    <a:lnTo>
                      <a:pt x="128" y="478"/>
                    </a:lnTo>
                    <a:lnTo>
                      <a:pt x="128" y="476"/>
                    </a:lnTo>
                    <a:lnTo>
                      <a:pt x="128" y="474"/>
                    </a:lnTo>
                    <a:lnTo>
                      <a:pt x="126" y="474"/>
                    </a:lnTo>
                    <a:lnTo>
                      <a:pt x="126" y="473"/>
                    </a:lnTo>
                    <a:lnTo>
                      <a:pt x="128" y="471"/>
                    </a:lnTo>
                    <a:lnTo>
                      <a:pt x="126" y="471"/>
                    </a:lnTo>
                    <a:lnTo>
                      <a:pt x="126" y="469"/>
                    </a:lnTo>
                    <a:lnTo>
                      <a:pt x="128" y="469"/>
                    </a:lnTo>
                    <a:lnTo>
                      <a:pt x="126" y="468"/>
                    </a:lnTo>
                    <a:lnTo>
                      <a:pt x="126" y="466"/>
                    </a:lnTo>
                    <a:lnTo>
                      <a:pt x="126" y="468"/>
                    </a:lnTo>
                    <a:lnTo>
                      <a:pt x="124" y="466"/>
                    </a:lnTo>
                    <a:lnTo>
                      <a:pt x="124" y="464"/>
                    </a:lnTo>
                    <a:lnTo>
                      <a:pt x="126" y="464"/>
                    </a:lnTo>
                    <a:lnTo>
                      <a:pt x="126" y="463"/>
                    </a:lnTo>
                    <a:lnTo>
                      <a:pt x="124" y="463"/>
                    </a:lnTo>
                    <a:lnTo>
                      <a:pt x="124" y="461"/>
                    </a:lnTo>
                    <a:lnTo>
                      <a:pt x="124" y="459"/>
                    </a:lnTo>
                    <a:lnTo>
                      <a:pt x="124" y="457"/>
                    </a:lnTo>
                    <a:lnTo>
                      <a:pt x="126" y="457"/>
                    </a:lnTo>
                    <a:lnTo>
                      <a:pt x="126" y="456"/>
                    </a:lnTo>
                    <a:lnTo>
                      <a:pt x="126" y="454"/>
                    </a:lnTo>
                    <a:lnTo>
                      <a:pt x="126" y="452"/>
                    </a:lnTo>
                    <a:lnTo>
                      <a:pt x="126" y="451"/>
                    </a:lnTo>
                    <a:lnTo>
                      <a:pt x="126" y="449"/>
                    </a:lnTo>
                    <a:lnTo>
                      <a:pt x="128" y="449"/>
                    </a:lnTo>
                    <a:lnTo>
                      <a:pt x="128" y="447"/>
                    </a:lnTo>
                    <a:lnTo>
                      <a:pt x="128" y="446"/>
                    </a:lnTo>
                    <a:lnTo>
                      <a:pt x="128" y="444"/>
                    </a:lnTo>
                    <a:lnTo>
                      <a:pt x="129" y="444"/>
                    </a:lnTo>
                    <a:lnTo>
                      <a:pt x="129" y="442"/>
                    </a:lnTo>
                    <a:lnTo>
                      <a:pt x="129" y="440"/>
                    </a:lnTo>
                    <a:lnTo>
                      <a:pt x="128" y="440"/>
                    </a:lnTo>
                    <a:lnTo>
                      <a:pt x="128" y="439"/>
                    </a:lnTo>
                    <a:lnTo>
                      <a:pt x="126" y="439"/>
                    </a:lnTo>
                    <a:lnTo>
                      <a:pt x="124" y="439"/>
                    </a:lnTo>
                    <a:lnTo>
                      <a:pt x="124" y="437"/>
                    </a:lnTo>
                    <a:lnTo>
                      <a:pt x="124" y="439"/>
                    </a:lnTo>
                    <a:lnTo>
                      <a:pt x="122" y="439"/>
                    </a:lnTo>
                    <a:lnTo>
                      <a:pt x="122" y="440"/>
                    </a:lnTo>
                    <a:lnTo>
                      <a:pt x="121" y="440"/>
                    </a:lnTo>
                    <a:lnTo>
                      <a:pt x="121" y="439"/>
                    </a:lnTo>
                    <a:lnTo>
                      <a:pt x="121" y="437"/>
                    </a:lnTo>
                    <a:lnTo>
                      <a:pt x="119" y="437"/>
                    </a:lnTo>
                    <a:lnTo>
                      <a:pt x="119" y="435"/>
                    </a:lnTo>
                    <a:lnTo>
                      <a:pt x="119" y="434"/>
                    </a:lnTo>
                    <a:lnTo>
                      <a:pt x="119" y="432"/>
                    </a:lnTo>
                    <a:lnTo>
                      <a:pt x="119" y="430"/>
                    </a:lnTo>
                    <a:lnTo>
                      <a:pt x="117" y="430"/>
                    </a:lnTo>
                    <a:lnTo>
                      <a:pt x="119" y="429"/>
                    </a:lnTo>
                    <a:lnTo>
                      <a:pt x="121" y="429"/>
                    </a:lnTo>
                    <a:lnTo>
                      <a:pt x="121" y="427"/>
                    </a:lnTo>
                    <a:lnTo>
                      <a:pt x="122" y="427"/>
                    </a:lnTo>
                    <a:lnTo>
                      <a:pt x="121" y="427"/>
                    </a:lnTo>
                    <a:lnTo>
                      <a:pt x="121" y="425"/>
                    </a:lnTo>
                    <a:lnTo>
                      <a:pt x="121" y="423"/>
                    </a:lnTo>
                    <a:lnTo>
                      <a:pt x="119" y="422"/>
                    </a:lnTo>
                    <a:lnTo>
                      <a:pt x="119" y="420"/>
                    </a:lnTo>
                    <a:lnTo>
                      <a:pt x="117" y="420"/>
                    </a:lnTo>
                    <a:lnTo>
                      <a:pt x="117" y="418"/>
                    </a:lnTo>
                    <a:lnTo>
                      <a:pt x="117" y="417"/>
                    </a:lnTo>
                    <a:lnTo>
                      <a:pt x="116" y="417"/>
                    </a:lnTo>
                    <a:lnTo>
                      <a:pt x="116" y="415"/>
                    </a:lnTo>
                    <a:lnTo>
                      <a:pt x="116" y="413"/>
                    </a:lnTo>
                    <a:lnTo>
                      <a:pt x="116" y="412"/>
                    </a:lnTo>
                    <a:lnTo>
                      <a:pt x="117" y="410"/>
                    </a:lnTo>
                    <a:lnTo>
                      <a:pt x="117" y="408"/>
                    </a:lnTo>
                    <a:lnTo>
                      <a:pt x="116" y="408"/>
                    </a:lnTo>
                    <a:lnTo>
                      <a:pt x="117" y="406"/>
                    </a:lnTo>
                    <a:lnTo>
                      <a:pt x="116" y="406"/>
                    </a:lnTo>
                    <a:lnTo>
                      <a:pt x="114" y="405"/>
                    </a:lnTo>
                    <a:lnTo>
                      <a:pt x="114" y="403"/>
                    </a:lnTo>
                    <a:lnTo>
                      <a:pt x="114" y="401"/>
                    </a:lnTo>
                    <a:lnTo>
                      <a:pt x="114" y="400"/>
                    </a:lnTo>
                    <a:lnTo>
                      <a:pt x="112" y="400"/>
                    </a:lnTo>
                    <a:lnTo>
                      <a:pt x="111" y="398"/>
                    </a:lnTo>
                    <a:lnTo>
                      <a:pt x="111" y="396"/>
                    </a:lnTo>
                    <a:lnTo>
                      <a:pt x="111" y="395"/>
                    </a:lnTo>
                    <a:lnTo>
                      <a:pt x="111" y="393"/>
                    </a:lnTo>
                    <a:lnTo>
                      <a:pt x="111" y="391"/>
                    </a:lnTo>
                    <a:lnTo>
                      <a:pt x="109" y="391"/>
                    </a:lnTo>
                    <a:lnTo>
                      <a:pt x="111" y="391"/>
                    </a:lnTo>
                    <a:lnTo>
                      <a:pt x="109" y="389"/>
                    </a:lnTo>
                    <a:lnTo>
                      <a:pt x="109" y="388"/>
                    </a:lnTo>
                    <a:lnTo>
                      <a:pt x="111" y="389"/>
                    </a:lnTo>
                    <a:lnTo>
                      <a:pt x="112" y="389"/>
                    </a:lnTo>
                    <a:lnTo>
                      <a:pt x="112" y="388"/>
                    </a:lnTo>
                    <a:lnTo>
                      <a:pt x="114" y="386"/>
                    </a:lnTo>
                    <a:lnTo>
                      <a:pt x="114" y="384"/>
                    </a:lnTo>
                    <a:lnTo>
                      <a:pt x="112" y="384"/>
                    </a:lnTo>
                    <a:lnTo>
                      <a:pt x="112" y="383"/>
                    </a:lnTo>
                    <a:lnTo>
                      <a:pt x="111" y="383"/>
                    </a:lnTo>
                    <a:lnTo>
                      <a:pt x="109" y="383"/>
                    </a:lnTo>
                    <a:lnTo>
                      <a:pt x="107" y="383"/>
                    </a:lnTo>
                    <a:lnTo>
                      <a:pt x="105" y="381"/>
                    </a:lnTo>
                    <a:lnTo>
                      <a:pt x="105" y="379"/>
                    </a:lnTo>
                    <a:lnTo>
                      <a:pt x="105" y="378"/>
                    </a:lnTo>
                    <a:lnTo>
                      <a:pt x="105" y="376"/>
                    </a:lnTo>
                    <a:lnTo>
                      <a:pt x="105" y="374"/>
                    </a:lnTo>
                    <a:lnTo>
                      <a:pt x="104" y="374"/>
                    </a:lnTo>
                    <a:lnTo>
                      <a:pt x="104" y="372"/>
                    </a:lnTo>
                    <a:lnTo>
                      <a:pt x="102" y="372"/>
                    </a:lnTo>
                    <a:lnTo>
                      <a:pt x="102" y="371"/>
                    </a:lnTo>
                    <a:lnTo>
                      <a:pt x="102" y="369"/>
                    </a:lnTo>
                    <a:lnTo>
                      <a:pt x="102" y="367"/>
                    </a:lnTo>
                    <a:lnTo>
                      <a:pt x="102" y="366"/>
                    </a:lnTo>
                    <a:lnTo>
                      <a:pt x="102" y="364"/>
                    </a:lnTo>
                    <a:lnTo>
                      <a:pt x="104" y="364"/>
                    </a:lnTo>
                    <a:lnTo>
                      <a:pt x="104" y="362"/>
                    </a:lnTo>
                    <a:lnTo>
                      <a:pt x="104" y="361"/>
                    </a:lnTo>
                    <a:lnTo>
                      <a:pt x="102" y="361"/>
                    </a:lnTo>
                    <a:lnTo>
                      <a:pt x="104" y="359"/>
                    </a:lnTo>
                    <a:lnTo>
                      <a:pt x="104" y="357"/>
                    </a:lnTo>
                    <a:lnTo>
                      <a:pt x="104" y="355"/>
                    </a:lnTo>
                    <a:lnTo>
                      <a:pt x="104" y="354"/>
                    </a:lnTo>
                    <a:lnTo>
                      <a:pt x="104" y="352"/>
                    </a:lnTo>
                    <a:lnTo>
                      <a:pt x="105" y="352"/>
                    </a:lnTo>
                    <a:lnTo>
                      <a:pt x="105" y="350"/>
                    </a:lnTo>
                    <a:lnTo>
                      <a:pt x="105" y="352"/>
                    </a:lnTo>
                    <a:lnTo>
                      <a:pt x="107" y="352"/>
                    </a:lnTo>
                    <a:lnTo>
                      <a:pt x="107" y="354"/>
                    </a:lnTo>
                    <a:lnTo>
                      <a:pt x="107" y="355"/>
                    </a:lnTo>
                    <a:lnTo>
                      <a:pt x="109" y="354"/>
                    </a:lnTo>
                    <a:lnTo>
                      <a:pt x="109" y="352"/>
                    </a:lnTo>
                    <a:lnTo>
                      <a:pt x="109" y="350"/>
                    </a:lnTo>
                    <a:lnTo>
                      <a:pt x="111" y="350"/>
                    </a:lnTo>
                    <a:lnTo>
                      <a:pt x="112" y="350"/>
                    </a:lnTo>
                    <a:lnTo>
                      <a:pt x="112" y="349"/>
                    </a:lnTo>
                    <a:lnTo>
                      <a:pt x="111" y="349"/>
                    </a:lnTo>
                    <a:lnTo>
                      <a:pt x="111" y="347"/>
                    </a:lnTo>
                    <a:lnTo>
                      <a:pt x="111" y="345"/>
                    </a:lnTo>
                    <a:lnTo>
                      <a:pt x="111" y="344"/>
                    </a:lnTo>
                    <a:lnTo>
                      <a:pt x="111" y="342"/>
                    </a:lnTo>
                    <a:lnTo>
                      <a:pt x="112" y="342"/>
                    </a:lnTo>
                    <a:lnTo>
                      <a:pt x="112" y="340"/>
                    </a:lnTo>
                    <a:lnTo>
                      <a:pt x="112" y="338"/>
                    </a:lnTo>
                    <a:lnTo>
                      <a:pt x="112" y="337"/>
                    </a:lnTo>
                    <a:lnTo>
                      <a:pt x="112" y="335"/>
                    </a:lnTo>
                    <a:lnTo>
                      <a:pt x="114" y="335"/>
                    </a:lnTo>
                    <a:lnTo>
                      <a:pt x="112" y="335"/>
                    </a:lnTo>
                    <a:lnTo>
                      <a:pt x="112" y="333"/>
                    </a:lnTo>
                    <a:lnTo>
                      <a:pt x="114" y="333"/>
                    </a:lnTo>
                    <a:lnTo>
                      <a:pt x="114" y="332"/>
                    </a:lnTo>
                    <a:lnTo>
                      <a:pt x="114" y="330"/>
                    </a:lnTo>
                    <a:lnTo>
                      <a:pt x="116" y="328"/>
                    </a:lnTo>
                    <a:lnTo>
                      <a:pt x="114" y="328"/>
                    </a:lnTo>
                    <a:lnTo>
                      <a:pt x="116" y="328"/>
                    </a:lnTo>
                    <a:lnTo>
                      <a:pt x="116" y="326"/>
                    </a:lnTo>
                    <a:lnTo>
                      <a:pt x="117" y="326"/>
                    </a:lnTo>
                    <a:lnTo>
                      <a:pt x="117" y="325"/>
                    </a:lnTo>
                    <a:lnTo>
                      <a:pt x="116" y="323"/>
                    </a:lnTo>
                    <a:lnTo>
                      <a:pt x="117" y="321"/>
                    </a:lnTo>
                    <a:lnTo>
                      <a:pt x="117" y="323"/>
                    </a:lnTo>
                    <a:lnTo>
                      <a:pt x="119" y="323"/>
                    </a:lnTo>
                    <a:lnTo>
                      <a:pt x="119" y="325"/>
                    </a:lnTo>
                    <a:lnTo>
                      <a:pt x="121" y="325"/>
                    </a:lnTo>
                    <a:lnTo>
                      <a:pt x="121" y="323"/>
                    </a:lnTo>
                    <a:lnTo>
                      <a:pt x="122" y="323"/>
                    </a:lnTo>
                    <a:lnTo>
                      <a:pt x="124" y="323"/>
                    </a:lnTo>
                    <a:lnTo>
                      <a:pt x="124" y="321"/>
                    </a:lnTo>
                    <a:lnTo>
                      <a:pt x="124" y="320"/>
                    </a:lnTo>
                    <a:lnTo>
                      <a:pt x="126" y="320"/>
                    </a:lnTo>
                    <a:lnTo>
                      <a:pt x="126" y="318"/>
                    </a:lnTo>
                    <a:lnTo>
                      <a:pt x="126" y="316"/>
                    </a:lnTo>
                    <a:lnTo>
                      <a:pt x="126" y="318"/>
                    </a:lnTo>
                    <a:lnTo>
                      <a:pt x="128" y="318"/>
                    </a:lnTo>
                    <a:lnTo>
                      <a:pt x="128" y="316"/>
                    </a:lnTo>
                    <a:lnTo>
                      <a:pt x="128" y="315"/>
                    </a:lnTo>
                    <a:lnTo>
                      <a:pt x="126" y="315"/>
                    </a:lnTo>
                    <a:lnTo>
                      <a:pt x="126" y="313"/>
                    </a:lnTo>
                    <a:lnTo>
                      <a:pt x="124" y="313"/>
                    </a:lnTo>
                    <a:lnTo>
                      <a:pt x="122" y="313"/>
                    </a:lnTo>
                    <a:lnTo>
                      <a:pt x="122" y="311"/>
                    </a:lnTo>
                    <a:lnTo>
                      <a:pt x="124" y="311"/>
                    </a:lnTo>
                    <a:lnTo>
                      <a:pt x="124" y="309"/>
                    </a:lnTo>
                    <a:lnTo>
                      <a:pt x="124" y="308"/>
                    </a:lnTo>
                    <a:lnTo>
                      <a:pt x="124" y="306"/>
                    </a:lnTo>
                    <a:lnTo>
                      <a:pt x="126" y="304"/>
                    </a:lnTo>
                    <a:lnTo>
                      <a:pt x="124" y="304"/>
                    </a:lnTo>
                    <a:lnTo>
                      <a:pt x="126" y="303"/>
                    </a:lnTo>
                    <a:lnTo>
                      <a:pt x="124" y="303"/>
                    </a:lnTo>
                    <a:lnTo>
                      <a:pt x="124" y="301"/>
                    </a:lnTo>
                    <a:lnTo>
                      <a:pt x="124" y="299"/>
                    </a:lnTo>
                    <a:lnTo>
                      <a:pt x="126" y="299"/>
                    </a:lnTo>
                    <a:lnTo>
                      <a:pt x="126" y="298"/>
                    </a:lnTo>
                    <a:lnTo>
                      <a:pt x="124" y="298"/>
                    </a:lnTo>
                    <a:lnTo>
                      <a:pt x="124" y="296"/>
                    </a:lnTo>
                    <a:lnTo>
                      <a:pt x="122" y="296"/>
                    </a:lnTo>
                    <a:lnTo>
                      <a:pt x="122" y="294"/>
                    </a:lnTo>
                    <a:lnTo>
                      <a:pt x="124" y="294"/>
                    </a:lnTo>
                    <a:lnTo>
                      <a:pt x="122" y="294"/>
                    </a:lnTo>
                    <a:lnTo>
                      <a:pt x="124" y="292"/>
                    </a:lnTo>
                    <a:lnTo>
                      <a:pt x="122" y="292"/>
                    </a:lnTo>
                    <a:lnTo>
                      <a:pt x="124" y="291"/>
                    </a:lnTo>
                    <a:lnTo>
                      <a:pt x="122" y="291"/>
                    </a:lnTo>
                    <a:lnTo>
                      <a:pt x="122" y="289"/>
                    </a:lnTo>
                    <a:lnTo>
                      <a:pt x="122" y="287"/>
                    </a:lnTo>
                    <a:lnTo>
                      <a:pt x="122" y="286"/>
                    </a:lnTo>
                    <a:lnTo>
                      <a:pt x="121" y="286"/>
                    </a:lnTo>
                    <a:lnTo>
                      <a:pt x="121" y="284"/>
                    </a:lnTo>
                    <a:lnTo>
                      <a:pt x="121" y="282"/>
                    </a:lnTo>
                    <a:lnTo>
                      <a:pt x="121" y="281"/>
                    </a:lnTo>
                    <a:lnTo>
                      <a:pt x="122" y="281"/>
                    </a:lnTo>
                    <a:lnTo>
                      <a:pt x="122" y="279"/>
                    </a:lnTo>
                    <a:lnTo>
                      <a:pt x="122" y="277"/>
                    </a:lnTo>
                    <a:lnTo>
                      <a:pt x="124" y="277"/>
                    </a:lnTo>
                    <a:lnTo>
                      <a:pt x="124" y="275"/>
                    </a:lnTo>
                    <a:lnTo>
                      <a:pt x="126" y="275"/>
                    </a:lnTo>
                    <a:lnTo>
                      <a:pt x="128" y="275"/>
                    </a:lnTo>
                    <a:lnTo>
                      <a:pt x="128" y="274"/>
                    </a:lnTo>
                    <a:lnTo>
                      <a:pt x="129" y="274"/>
                    </a:lnTo>
                    <a:lnTo>
                      <a:pt x="128" y="274"/>
                    </a:lnTo>
                    <a:lnTo>
                      <a:pt x="128" y="272"/>
                    </a:lnTo>
                    <a:lnTo>
                      <a:pt x="129" y="272"/>
                    </a:lnTo>
                    <a:lnTo>
                      <a:pt x="128" y="270"/>
                    </a:lnTo>
                    <a:lnTo>
                      <a:pt x="129" y="270"/>
                    </a:lnTo>
                    <a:lnTo>
                      <a:pt x="129" y="269"/>
                    </a:lnTo>
                    <a:lnTo>
                      <a:pt x="129" y="267"/>
                    </a:lnTo>
                    <a:lnTo>
                      <a:pt x="129" y="265"/>
                    </a:lnTo>
                    <a:lnTo>
                      <a:pt x="129" y="264"/>
                    </a:lnTo>
                    <a:lnTo>
                      <a:pt x="131" y="264"/>
                    </a:lnTo>
                    <a:lnTo>
                      <a:pt x="131" y="262"/>
                    </a:lnTo>
                    <a:lnTo>
                      <a:pt x="131" y="260"/>
                    </a:lnTo>
                    <a:lnTo>
                      <a:pt x="131" y="258"/>
                    </a:lnTo>
                    <a:lnTo>
                      <a:pt x="131" y="257"/>
                    </a:lnTo>
                    <a:lnTo>
                      <a:pt x="131" y="255"/>
                    </a:lnTo>
                    <a:lnTo>
                      <a:pt x="133" y="255"/>
                    </a:lnTo>
                    <a:lnTo>
                      <a:pt x="131" y="253"/>
                    </a:lnTo>
                    <a:lnTo>
                      <a:pt x="133" y="253"/>
                    </a:lnTo>
                    <a:lnTo>
                      <a:pt x="133" y="252"/>
                    </a:lnTo>
                    <a:lnTo>
                      <a:pt x="133" y="250"/>
                    </a:lnTo>
                    <a:lnTo>
                      <a:pt x="133" y="248"/>
                    </a:lnTo>
                    <a:lnTo>
                      <a:pt x="134" y="248"/>
                    </a:lnTo>
                    <a:lnTo>
                      <a:pt x="133" y="248"/>
                    </a:lnTo>
                    <a:lnTo>
                      <a:pt x="133" y="247"/>
                    </a:lnTo>
                    <a:lnTo>
                      <a:pt x="134" y="247"/>
                    </a:lnTo>
                    <a:lnTo>
                      <a:pt x="136" y="247"/>
                    </a:lnTo>
                    <a:lnTo>
                      <a:pt x="134" y="245"/>
                    </a:lnTo>
                    <a:lnTo>
                      <a:pt x="136" y="245"/>
                    </a:lnTo>
                    <a:lnTo>
                      <a:pt x="138" y="245"/>
                    </a:lnTo>
                    <a:lnTo>
                      <a:pt x="138" y="243"/>
                    </a:lnTo>
                    <a:lnTo>
                      <a:pt x="138" y="241"/>
                    </a:lnTo>
                    <a:lnTo>
                      <a:pt x="139" y="241"/>
                    </a:lnTo>
                    <a:lnTo>
                      <a:pt x="139" y="240"/>
                    </a:lnTo>
                    <a:lnTo>
                      <a:pt x="139" y="238"/>
                    </a:lnTo>
                    <a:lnTo>
                      <a:pt x="141" y="240"/>
                    </a:lnTo>
                    <a:lnTo>
                      <a:pt x="143" y="240"/>
                    </a:lnTo>
                    <a:lnTo>
                      <a:pt x="143" y="238"/>
                    </a:lnTo>
                    <a:lnTo>
                      <a:pt x="145" y="236"/>
                    </a:lnTo>
                    <a:lnTo>
                      <a:pt x="145" y="235"/>
                    </a:lnTo>
                    <a:lnTo>
                      <a:pt x="146" y="233"/>
                    </a:lnTo>
                    <a:lnTo>
                      <a:pt x="146" y="231"/>
                    </a:lnTo>
                    <a:lnTo>
                      <a:pt x="148" y="230"/>
                    </a:lnTo>
                    <a:lnTo>
                      <a:pt x="150" y="231"/>
                    </a:lnTo>
                    <a:lnTo>
                      <a:pt x="150" y="230"/>
                    </a:lnTo>
                    <a:lnTo>
                      <a:pt x="150" y="228"/>
                    </a:lnTo>
                    <a:lnTo>
                      <a:pt x="151" y="228"/>
                    </a:lnTo>
                    <a:lnTo>
                      <a:pt x="151" y="226"/>
                    </a:lnTo>
                    <a:lnTo>
                      <a:pt x="151" y="224"/>
                    </a:lnTo>
                    <a:lnTo>
                      <a:pt x="151" y="223"/>
                    </a:lnTo>
                    <a:lnTo>
                      <a:pt x="151" y="221"/>
                    </a:lnTo>
                    <a:lnTo>
                      <a:pt x="153" y="221"/>
                    </a:lnTo>
                    <a:lnTo>
                      <a:pt x="153" y="219"/>
                    </a:lnTo>
                    <a:lnTo>
                      <a:pt x="153" y="218"/>
                    </a:lnTo>
                    <a:lnTo>
                      <a:pt x="153" y="216"/>
                    </a:lnTo>
                    <a:lnTo>
                      <a:pt x="155" y="216"/>
                    </a:lnTo>
                    <a:lnTo>
                      <a:pt x="156" y="214"/>
                    </a:lnTo>
                    <a:lnTo>
                      <a:pt x="155" y="214"/>
                    </a:lnTo>
                    <a:lnTo>
                      <a:pt x="156" y="214"/>
                    </a:lnTo>
                    <a:lnTo>
                      <a:pt x="156" y="213"/>
                    </a:lnTo>
                    <a:lnTo>
                      <a:pt x="156" y="211"/>
                    </a:lnTo>
                    <a:lnTo>
                      <a:pt x="155" y="211"/>
                    </a:lnTo>
                    <a:lnTo>
                      <a:pt x="156" y="211"/>
                    </a:lnTo>
                    <a:lnTo>
                      <a:pt x="156" y="209"/>
                    </a:lnTo>
                    <a:lnTo>
                      <a:pt x="156" y="211"/>
                    </a:lnTo>
                    <a:lnTo>
                      <a:pt x="158" y="209"/>
                    </a:lnTo>
                    <a:lnTo>
                      <a:pt x="156" y="209"/>
                    </a:lnTo>
                    <a:lnTo>
                      <a:pt x="158" y="209"/>
                    </a:lnTo>
                    <a:lnTo>
                      <a:pt x="158" y="207"/>
                    </a:lnTo>
                    <a:lnTo>
                      <a:pt x="158" y="206"/>
                    </a:lnTo>
                    <a:lnTo>
                      <a:pt x="160" y="206"/>
                    </a:lnTo>
                    <a:lnTo>
                      <a:pt x="160" y="204"/>
                    </a:lnTo>
                    <a:lnTo>
                      <a:pt x="162" y="204"/>
                    </a:lnTo>
                    <a:lnTo>
                      <a:pt x="160" y="204"/>
                    </a:lnTo>
                    <a:lnTo>
                      <a:pt x="160" y="202"/>
                    </a:lnTo>
                    <a:lnTo>
                      <a:pt x="160" y="201"/>
                    </a:lnTo>
                    <a:lnTo>
                      <a:pt x="160" y="199"/>
                    </a:lnTo>
                    <a:lnTo>
                      <a:pt x="162" y="199"/>
                    </a:lnTo>
                    <a:lnTo>
                      <a:pt x="162" y="197"/>
                    </a:lnTo>
                    <a:lnTo>
                      <a:pt x="163" y="197"/>
                    </a:lnTo>
                    <a:lnTo>
                      <a:pt x="165" y="197"/>
                    </a:lnTo>
                    <a:lnTo>
                      <a:pt x="167" y="197"/>
                    </a:lnTo>
                    <a:lnTo>
                      <a:pt x="167" y="199"/>
                    </a:lnTo>
                    <a:lnTo>
                      <a:pt x="168" y="201"/>
                    </a:lnTo>
                    <a:lnTo>
                      <a:pt x="168" y="199"/>
                    </a:lnTo>
                    <a:lnTo>
                      <a:pt x="170" y="201"/>
                    </a:lnTo>
                    <a:lnTo>
                      <a:pt x="170" y="199"/>
                    </a:lnTo>
                    <a:lnTo>
                      <a:pt x="170" y="197"/>
                    </a:lnTo>
                    <a:lnTo>
                      <a:pt x="172" y="199"/>
                    </a:lnTo>
                    <a:lnTo>
                      <a:pt x="173" y="197"/>
                    </a:lnTo>
                    <a:lnTo>
                      <a:pt x="172" y="196"/>
                    </a:lnTo>
                    <a:lnTo>
                      <a:pt x="173" y="197"/>
                    </a:lnTo>
                    <a:lnTo>
                      <a:pt x="173" y="196"/>
                    </a:lnTo>
                    <a:lnTo>
                      <a:pt x="175" y="196"/>
                    </a:lnTo>
                    <a:lnTo>
                      <a:pt x="177" y="196"/>
                    </a:lnTo>
                    <a:lnTo>
                      <a:pt x="179" y="196"/>
                    </a:lnTo>
                    <a:lnTo>
                      <a:pt x="179" y="194"/>
                    </a:lnTo>
                    <a:lnTo>
                      <a:pt x="179" y="192"/>
                    </a:lnTo>
                    <a:lnTo>
                      <a:pt x="179" y="190"/>
                    </a:lnTo>
                    <a:lnTo>
                      <a:pt x="180" y="190"/>
                    </a:lnTo>
                    <a:lnTo>
                      <a:pt x="179" y="190"/>
                    </a:lnTo>
                    <a:lnTo>
                      <a:pt x="179" y="189"/>
                    </a:lnTo>
                    <a:lnTo>
                      <a:pt x="177" y="187"/>
                    </a:lnTo>
                    <a:lnTo>
                      <a:pt x="177" y="185"/>
                    </a:lnTo>
                    <a:lnTo>
                      <a:pt x="175" y="185"/>
                    </a:lnTo>
                    <a:lnTo>
                      <a:pt x="173" y="182"/>
                    </a:lnTo>
                    <a:lnTo>
                      <a:pt x="173" y="180"/>
                    </a:lnTo>
                    <a:lnTo>
                      <a:pt x="172" y="180"/>
                    </a:lnTo>
                    <a:lnTo>
                      <a:pt x="172" y="178"/>
                    </a:lnTo>
                    <a:lnTo>
                      <a:pt x="170" y="177"/>
                    </a:lnTo>
                    <a:lnTo>
                      <a:pt x="170" y="175"/>
                    </a:lnTo>
                    <a:lnTo>
                      <a:pt x="168" y="173"/>
                    </a:lnTo>
                    <a:lnTo>
                      <a:pt x="168" y="172"/>
                    </a:lnTo>
                    <a:lnTo>
                      <a:pt x="170" y="170"/>
                    </a:lnTo>
                    <a:lnTo>
                      <a:pt x="170" y="167"/>
                    </a:lnTo>
                    <a:lnTo>
                      <a:pt x="172" y="165"/>
                    </a:lnTo>
                    <a:lnTo>
                      <a:pt x="173" y="163"/>
                    </a:lnTo>
                    <a:lnTo>
                      <a:pt x="175" y="163"/>
                    </a:lnTo>
                    <a:lnTo>
                      <a:pt x="175" y="160"/>
                    </a:lnTo>
                    <a:lnTo>
                      <a:pt x="175" y="156"/>
                    </a:lnTo>
                    <a:lnTo>
                      <a:pt x="175" y="155"/>
                    </a:lnTo>
                    <a:lnTo>
                      <a:pt x="173" y="151"/>
                    </a:lnTo>
                    <a:lnTo>
                      <a:pt x="173" y="146"/>
                    </a:lnTo>
                    <a:lnTo>
                      <a:pt x="172" y="144"/>
                    </a:lnTo>
                    <a:lnTo>
                      <a:pt x="172" y="143"/>
                    </a:lnTo>
                    <a:lnTo>
                      <a:pt x="170" y="143"/>
                    </a:lnTo>
                    <a:lnTo>
                      <a:pt x="170" y="141"/>
                    </a:lnTo>
                    <a:lnTo>
                      <a:pt x="172" y="139"/>
                    </a:lnTo>
                    <a:lnTo>
                      <a:pt x="170" y="139"/>
                    </a:lnTo>
                    <a:lnTo>
                      <a:pt x="170" y="138"/>
                    </a:lnTo>
                    <a:lnTo>
                      <a:pt x="170" y="136"/>
                    </a:lnTo>
                    <a:lnTo>
                      <a:pt x="168" y="134"/>
                    </a:lnTo>
                    <a:lnTo>
                      <a:pt x="170" y="134"/>
                    </a:lnTo>
                    <a:lnTo>
                      <a:pt x="170" y="133"/>
                    </a:lnTo>
                    <a:lnTo>
                      <a:pt x="172" y="133"/>
                    </a:lnTo>
                    <a:lnTo>
                      <a:pt x="172" y="131"/>
                    </a:lnTo>
                    <a:lnTo>
                      <a:pt x="170" y="131"/>
                    </a:lnTo>
                    <a:lnTo>
                      <a:pt x="170" y="129"/>
                    </a:lnTo>
                    <a:lnTo>
                      <a:pt x="170" y="127"/>
                    </a:lnTo>
                    <a:lnTo>
                      <a:pt x="172" y="127"/>
                    </a:lnTo>
                    <a:lnTo>
                      <a:pt x="172" y="126"/>
                    </a:lnTo>
                    <a:lnTo>
                      <a:pt x="172" y="124"/>
                    </a:lnTo>
                    <a:lnTo>
                      <a:pt x="173" y="122"/>
                    </a:lnTo>
                    <a:lnTo>
                      <a:pt x="175" y="122"/>
                    </a:lnTo>
                    <a:lnTo>
                      <a:pt x="175" y="124"/>
                    </a:lnTo>
                    <a:lnTo>
                      <a:pt x="175" y="122"/>
                    </a:lnTo>
                    <a:lnTo>
                      <a:pt x="177" y="122"/>
                    </a:lnTo>
                    <a:lnTo>
                      <a:pt x="177" y="121"/>
                    </a:lnTo>
                    <a:lnTo>
                      <a:pt x="177" y="119"/>
                    </a:lnTo>
                    <a:lnTo>
                      <a:pt x="175" y="119"/>
                    </a:lnTo>
                    <a:lnTo>
                      <a:pt x="175" y="117"/>
                    </a:lnTo>
                    <a:lnTo>
                      <a:pt x="173" y="117"/>
                    </a:lnTo>
                    <a:lnTo>
                      <a:pt x="173" y="116"/>
                    </a:lnTo>
                    <a:lnTo>
                      <a:pt x="173" y="114"/>
                    </a:lnTo>
                    <a:lnTo>
                      <a:pt x="172" y="114"/>
                    </a:lnTo>
                    <a:lnTo>
                      <a:pt x="170" y="112"/>
                    </a:lnTo>
                    <a:lnTo>
                      <a:pt x="170" y="110"/>
                    </a:lnTo>
                    <a:lnTo>
                      <a:pt x="170" y="109"/>
                    </a:lnTo>
                    <a:lnTo>
                      <a:pt x="170" y="107"/>
                    </a:lnTo>
                    <a:lnTo>
                      <a:pt x="172" y="107"/>
                    </a:lnTo>
                    <a:lnTo>
                      <a:pt x="172" y="105"/>
                    </a:lnTo>
                    <a:lnTo>
                      <a:pt x="172" y="104"/>
                    </a:lnTo>
                    <a:lnTo>
                      <a:pt x="173" y="104"/>
                    </a:lnTo>
                    <a:lnTo>
                      <a:pt x="173" y="102"/>
                    </a:lnTo>
                    <a:lnTo>
                      <a:pt x="175" y="102"/>
                    </a:lnTo>
                    <a:lnTo>
                      <a:pt x="175" y="100"/>
                    </a:lnTo>
                    <a:lnTo>
                      <a:pt x="175" y="99"/>
                    </a:lnTo>
                    <a:lnTo>
                      <a:pt x="177" y="99"/>
                    </a:lnTo>
                    <a:lnTo>
                      <a:pt x="177" y="100"/>
                    </a:lnTo>
                    <a:lnTo>
                      <a:pt x="179" y="99"/>
                    </a:lnTo>
                    <a:lnTo>
                      <a:pt x="179" y="97"/>
                    </a:lnTo>
                    <a:lnTo>
                      <a:pt x="180" y="97"/>
                    </a:lnTo>
                    <a:lnTo>
                      <a:pt x="180" y="95"/>
                    </a:lnTo>
                    <a:lnTo>
                      <a:pt x="187" y="93"/>
                    </a:lnTo>
                    <a:lnTo>
                      <a:pt x="189" y="92"/>
                    </a:lnTo>
                    <a:lnTo>
                      <a:pt x="190" y="92"/>
                    </a:lnTo>
                    <a:lnTo>
                      <a:pt x="199" y="88"/>
                    </a:lnTo>
                    <a:lnTo>
                      <a:pt x="206" y="85"/>
                    </a:lnTo>
                    <a:lnTo>
                      <a:pt x="211" y="83"/>
                    </a:lnTo>
                    <a:lnTo>
                      <a:pt x="214" y="73"/>
                    </a:lnTo>
                    <a:lnTo>
                      <a:pt x="214" y="71"/>
                    </a:lnTo>
                    <a:lnTo>
                      <a:pt x="218" y="61"/>
                    </a:lnTo>
                    <a:lnTo>
                      <a:pt x="219" y="54"/>
                    </a:lnTo>
                    <a:lnTo>
                      <a:pt x="219" y="53"/>
                    </a:lnTo>
                    <a:lnTo>
                      <a:pt x="223" y="44"/>
                    </a:lnTo>
                    <a:lnTo>
                      <a:pt x="219" y="41"/>
                    </a:lnTo>
                    <a:lnTo>
                      <a:pt x="216" y="37"/>
                    </a:lnTo>
                    <a:lnTo>
                      <a:pt x="218" y="34"/>
                    </a:lnTo>
                    <a:lnTo>
                      <a:pt x="223" y="32"/>
                    </a:lnTo>
                    <a:lnTo>
                      <a:pt x="223" y="31"/>
                    </a:lnTo>
                    <a:lnTo>
                      <a:pt x="221" y="31"/>
                    </a:lnTo>
                    <a:lnTo>
                      <a:pt x="221" y="29"/>
                    </a:lnTo>
                    <a:lnTo>
                      <a:pt x="221" y="27"/>
                    </a:lnTo>
                    <a:lnTo>
                      <a:pt x="223" y="27"/>
                    </a:lnTo>
                    <a:lnTo>
                      <a:pt x="224" y="25"/>
                    </a:lnTo>
                    <a:lnTo>
                      <a:pt x="226" y="25"/>
                    </a:lnTo>
                    <a:lnTo>
                      <a:pt x="230" y="24"/>
                    </a:lnTo>
                    <a:lnTo>
                      <a:pt x="230" y="22"/>
                    </a:lnTo>
                    <a:lnTo>
                      <a:pt x="230" y="20"/>
                    </a:lnTo>
                    <a:lnTo>
                      <a:pt x="231" y="20"/>
                    </a:lnTo>
                    <a:lnTo>
                      <a:pt x="231" y="19"/>
                    </a:lnTo>
                    <a:lnTo>
                      <a:pt x="231" y="17"/>
                    </a:lnTo>
                    <a:lnTo>
                      <a:pt x="233" y="15"/>
                    </a:lnTo>
                    <a:lnTo>
                      <a:pt x="235" y="15"/>
                    </a:lnTo>
                    <a:lnTo>
                      <a:pt x="241" y="13"/>
                    </a:lnTo>
                    <a:lnTo>
                      <a:pt x="245" y="12"/>
                    </a:lnTo>
                    <a:lnTo>
                      <a:pt x="247" y="12"/>
                    </a:lnTo>
                    <a:lnTo>
                      <a:pt x="247" y="10"/>
                    </a:lnTo>
                    <a:lnTo>
                      <a:pt x="247" y="8"/>
                    </a:lnTo>
                    <a:lnTo>
                      <a:pt x="247" y="7"/>
                    </a:lnTo>
                    <a:lnTo>
                      <a:pt x="247" y="5"/>
                    </a:lnTo>
                    <a:lnTo>
                      <a:pt x="248" y="5"/>
                    </a:lnTo>
                    <a:lnTo>
                      <a:pt x="247" y="5"/>
                    </a:lnTo>
                    <a:lnTo>
                      <a:pt x="248" y="5"/>
                    </a:lnTo>
                    <a:lnTo>
                      <a:pt x="248" y="3"/>
                    </a:lnTo>
                    <a:lnTo>
                      <a:pt x="248" y="2"/>
                    </a:lnTo>
                    <a:lnTo>
                      <a:pt x="248" y="0"/>
                    </a:lnTo>
                    <a:lnTo>
                      <a:pt x="250" y="0"/>
                    </a:lnTo>
                    <a:lnTo>
                      <a:pt x="252" y="2"/>
                    </a:lnTo>
                    <a:lnTo>
                      <a:pt x="253" y="2"/>
                    </a:lnTo>
                    <a:lnTo>
                      <a:pt x="255" y="3"/>
                    </a:lnTo>
                    <a:lnTo>
                      <a:pt x="255" y="5"/>
                    </a:lnTo>
                    <a:lnTo>
                      <a:pt x="257" y="5"/>
                    </a:lnTo>
                    <a:lnTo>
                      <a:pt x="258" y="5"/>
                    </a:lnTo>
                    <a:lnTo>
                      <a:pt x="260" y="8"/>
                    </a:lnTo>
                    <a:lnTo>
                      <a:pt x="262" y="10"/>
                    </a:lnTo>
                    <a:lnTo>
                      <a:pt x="264" y="10"/>
                    </a:lnTo>
                    <a:lnTo>
                      <a:pt x="264" y="12"/>
                    </a:lnTo>
                    <a:lnTo>
                      <a:pt x="265" y="12"/>
                    </a:lnTo>
                    <a:lnTo>
                      <a:pt x="267" y="12"/>
                    </a:lnTo>
                    <a:lnTo>
                      <a:pt x="269" y="12"/>
                    </a:lnTo>
                    <a:lnTo>
                      <a:pt x="270" y="12"/>
                    </a:lnTo>
                    <a:lnTo>
                      <a:pt x="270" y="10"/>
                    </a:lnTo>
                    <a:lnTo>
                      <a:pt x="274" y="12"/>
                    </a:lnTo>
                    <a:lnTo>
                      <a:pt x="275" y="12"/>
                    </a:lnTo>
                    <a:lnTo>
                      <a:pt x="277" y="12"/>
                    </a:lnTo>
                    <a:lnTo>
                      <a:pt x="281" y="12"/>
                    </a:lnTo>
                    <a:lnTo>
                      <a:pt x="281" y="10"/>
                    </a:lnTo>
                    <a:lnTo>
                      <a:pt x="281" y="12"/>
                    </a:lnTo>
                    <a:lnTo>
                      <a:pt x="284" y="10"/>
                    </a:lnTo>
                    <a:lnTo>
                      <a:pt x="287" y="10"/>
                    </a:lnTo>
                    <a:lnTo>
                      <a:pt x="289" y="10"/>
                    </a:lnTo>
                    <a:lnTo>
                      <a:pt x="291" y="10"/>
                    </a:lnTo>
                    <a:lnTo>
                      <a:pt x="291" y="12"/>
                    </a:lnTo>
                    <a:lnTo>
                      <a:pt x="292" y="12"/>
                    </a:lnTo>
                    <a:lnTo>
                      <a:pt x="294" y="12"/>
                    </a:lnTo>
                    <a:lnTo>
                      <a:pt x="296" y="13"/>
                    </a:lnTo>
                    <a:lnTo>
                      <a:pt x="298" y="13"/>
                    </a:lnTo>
                    <a:lnTo>
                      <a:pt x="299" y="15"/>
                    </a:lnTo>
                    <a:lnTo>
                      <a:pt x="301" y="15"/>
                    </a:lnTo>
                    <a:lnTo>
                      <a:pt x="303" y="15"/>
                    </a:lnTo>
                    <a:lnTo>
                      <a:pt x="304" y="17"/>
                    </a:lnTo>
                    <a:lnTo>
                      <a:pt x="306" y="17"/>
                    </a:lnTo>
                    <a:lnTo>
                      <a:pt x="306" y="19"/>
                    </a:lnTo>
                    <a:lnTo>
                      <a:pt x="304" y="20"/>
                    </a:lnTo>
                    <a:lnTo>
                      <a:pt x="304" y="22"/>
                    </a:lnTo>
                    <a:lnTo>
                      <a:pt x="306" y="22"/>
                    </a:lnTo>
                    <a:lnTo>
                      <a:pt x="306" y="24"/>
                    </a:lnTo>
                    <a:lnTo>
                      <a:pt x="308" y="24"/>
                    </a:lnTo>
                    <a:lnTo>
                      <a:pt x="308" y="25"/>
                    </a:lnTo>
                    <a:lnTo>
                      <a:pt x="309" y="25"/>
                    </a:lnTo>
                    <a:lnTo>
                      <a:pt x="308" y="27"/>
                    </a:lnTo>
                    <a:lnTo>
                      <a:pt x="309" y="27"/>
                    </a:lnTo>
                    <a:lnTo>
                      <a:pt x="309" y="29"/>
                    </a:lnTo>
                    <a:lnTo>
                      <a:pt x="309" y="31"/>
                    </a:lnTo>
                    <a:lnTo>
                      <a:pt x="309" y="32"/>
                    </a:lnTo>
                    <a:lnTo>
                      <a:pt x="311" y="32"/>
                    </a:lnTo>
                    <a:lnTo>
                      <a:pt x="311" y="34"/>
                    </a:lnTo>
                    <a:lnTo>
                      <a:pt x="309" y="34"/>
                    </a:lnTo>
                    <a:lnTo>
                      <a:pt x="311" y="34"/>
                    </a:lnTo>
                    <a:lnTo>
                      <a:pt x="313" y="36"/>
                    </a:lnTo>
                    <a:lnTo>
                      <a:pt x="313" y="37"/>
                    </a:lnTo>
                    <a:lnTo>
                      <a:pt x="311" y="37"/>
                    </a:lnTo>
                    <a:lnTo>
                      <a:pt x="313" y="37"/>
                    </a:lnTo>
                    <a:lnTo>
                      <a:pt x="313" y="39"/>
                    </a:lnTo>
                    <a:lnTo>
                      <a:pt x="313" y="41"/>
                    </a:lnTo>
                    <a:lnTo>
                      <a:pt x="313" y="39"/>
                    </a:lnTo>
                    <a:lnTo>
                      <a:pt x="315" y="39"/>
                    </a:lnTo>
                    <a:lnTo>
                      <a:pt x="313" y="39"/>
                    </a:lnTo>
                    <a:lnTo>
                      <a:pt x="315" y="37"/>
                    </a:lnTo>
                    <a:lnTo>
                      <a:pt x="315" y="36"/>
                    </a:lnTo>
                    <a:lnTo>
                      <a:pt x="315" y="34"/>
                    </a:lnTo>
                    <a:lnTo>
                      <a:pt x="315" y="32"/>
                    </a:lnTo>
                    <a:lnTo>
                      <a:pt x="315" y="31"/>
                    </a:lnTo>
                    <a:lnTo>
                      <a:pt x="316" y="31"/>
                    </a:lnTo>
                    <a:lnTo>
                      <a:pt x="316" y="29"/>
                    </a:lnTo>
                    <a:lnTo>
                      <a:pt x="315" y="29"/>
                    </a:lnTo>
                    <a:lnTo>
                      <a:pt x="316" y="29"/>
                    </a:lnTo>
                    <a:lnTo>
                      <a:pt x="316" y="27"/>
                    </a:lnTo>
                    <a:lnTo>
                      <a:pt x="316" y="25"/>
                    </a:lnTo>
                    <a:lnTo>
                      <a:pt x="318" y="25"/>
                    </a:lnTo>
                    <a:lnTo>
                      <a:pt x="318" y="24"/>
                    </a:lnTo>
                    <a:lnTo>
                      <a:pt x="320" y="24"/>
                    </a:lnTo>
                    <a:lnTo>
                      <a:pt x="320" y="22"/>
                    </a:lnTo>
                    <a:lnTo>
                      <a:pt x="320" y="20"/>
                    </a:lnTo>
                    <a:lnTo>
                      <a:pt x="321" y="19"/>
                    </a:lnTo>
                    <a:lnTo>
                      <a:pt x="321" y="17"/>
                    </a:lnTo>
                    <a:lnTo>
                      <a:pt x="323" y="17"/>
                    </a:lnTo>
                    <a:lnTo>
                      <a:pt x="323" y="15"/>
                    </a:lnTo>
                    <a:lnTo>
                      <a:pt x="323" y="13"/>
                    </a:lnTo>
                    <a:lnTo>
                      <a:pt x="325" y="12"/>
                    </a:lnTo>
                    <a:lnTo>
                      <a:pt x="323" y="12"/>
                    </a:lnTo>
                    <a:lnTo>
                      <a:pt x="325" y="12"/>
                    </a:lnTo>
                    <a:lnTo>
                      <a:pt x="325" y="10"/>
                    </a:lnTo>
                    <a:lnTo>
                      <a:pt x="325" y="8"/>
                    </a:lnTo>
                    <a:lnTo>
                      <a:pt x="326" y="8"/>
                    </a:lnTo>
                    <a:lnTo>
                      <a:pt x="332" y="8"/>
                    </a:lnTo>
                    <a:lnTo>
                      <a:pt x="333" y="8"/>
                    </a:lnTo>
                    <a:lnTo>
                      <a:pt x="335" y="8"/>
                    </a:lnTo>
                    <a:lnTo>
                      <a:pt x="335" y="10"/>
                    </a:lnTo>
                    <a:lnTo>
                      <a:pt x="335" y="8"/>
                    </a:lnTo>
                    <a:lnTo>
                      <a:pt x="354" y="8"/>
                    </a:lnTo>
                    <a:lnTo>
                      <a:pt x="364" y="8"/>
                    </a:lnTo>
                    <a:lnTo>
                      <a:pt x="364" y="10"/>
                    </a:lnTo>
                    <a:lnTo>
                      <a:pt x="364" y="12"/>
                    </a:lnTo>
                    <a:lnTo>
                      <a:pt x="364" y="13"/>
                    </a:lnTo>
                    <a:lnTo>
                      <a:pt x="366" y="13"/>
                    </a:lnTo>
                    <a:lnTo>
                      <a:pt x="367" y="13"/>
                    </a:lnTo>
                    <a:lnTo>
                      <a:pt x="367" y="15"/>
                    </a:lnTo>
                    <a:lnTo>
                      <a:pt x="369" y="15"/>
                    </a:lnTo>
                    <a:lnTo>
                      <a:pt x="369" y="17"/>
                    </a:lnTo>
                    <a:close/>
                    <a:moveTo>
                      <a:pt x="167" y="1473"/>
                    </a:moveTo>
                    <a:lnTo>
                      <a:pt x="167" y="1468"/>
                    </a:lnTo>
                    <a:lnTo>
                      <a:pt x="167" y="1456"/>
                    </a:lnTo>
                    <a:lnTo>
                      <a:pt x="167" y="1454"/>
                    </a:lnTo>
                    <a:lnTo>
                      <a:pt x="167" y="1453"/>
                    </a:lnTo>
                    <a:lnTo>
                      <a:pt x="167" y="1451"/>
                    </a:lnTo>
                    <a:lnTo>
                      <a:pt x="167" y="1444"/>
                    </a:lnTo>
                    <a:lnTo>
                      <a:pt x="167" y="1442"/>
                    </a:lnTo>
                    <a:lnTo>
                      <a:pt x="167" y="1429"/>
                    </a:lnTo>
                    <a:lnTo>
                      <a:pt x="167" y="1417"/>
                    </a:lnTo>
                    <a:lnTo>
                      <a:pt x="167" y="1410"/>
                    </a:lnTo>
                    <a:lnTo>
                      <a:pt x="168" y="1398"/>
                    </a:lnTo>
                    <a:lnTo>
                      <a:pt x="168" y="1386"/>
                    </a:lnTo>
                    <a:lnTo>
                      <a:pt x="168" y="1383"/>
                    </a:lnTo>
                    <a:lnTo>
                      <a:pt x="168" y="1378"/>
                    </a:lnTo>
                    <a:lnTo>
                      <a:pt x="168" y="1364"/>
                    </a:lnTo>
                    <a:lnTo>
                      <a:pt x="168" y="1347"/>
                    </a:lnTo>
                    <a:lnTo>
                      <a:pt x="168" y="1345"/>
                    </a:lnTo>
                    <a:lnTo>
                      <a:pt x="168" y="1347"/>
                    </a:lnTo>
                    <a:lnTo>
                      <a:pt x="170" y="1349"/>
                    </a:lnTo>
                    <a:lnTo>
                      <a:pt x="173" y="1352"/>
                    </a:lnTo>
                    <a:lnTo>
                      <a:pt x="175" y="1356"/>
                    </a:lnTo>
                    <a:lnTo>
                      <a:pt x="177" y="1359"/>
                    </a:lnTo>
                    <a:lnTo>
                      <a:pt x="179" y="1361"/>
                    </a:lnTo>
                    <a:lnTo>
                      <a:pt x="180" y="1362"/>
                    </a:lnTo>
                    <a:lnTo>
                      <a:pt x="180" y="1366"/>
                    </a:lnTo>
                    <a:lnTo>
                      <a:pt x="180" y="1368"/>
                    </a:lnTo>
                    <a:lnTo>
                      <a:pt x="182" y="1371"/>
                    </a:lnTo>
                    <a:lnTo>
                      <a:pt x="182" y="1373"/>
                    </a:lnTo>
                    <a:lnTo>
                      <a:pt x="182" y="1371"/>
                    </a:lnTo>
                    <a:lnTo>
                      <a:pt x="180" y="1369"/>
                    </a:lnTo>
                    <a:lnTo>
                      <a:pt x="180" y="1368"/>
                    </a:lnTo>
                    <a:lnTo>
                      <a:pt x="180" y="1366"/>
                    </a:lnTo>
                    <a:lnTo>
                      <a:pt x="179" y="1364"/>
                    </a:lnTo>
                    <a:lnTo>
                      <a:pt x="179" y="1366"/>
                    </a:lnTo>
                    <a:lnTo>
                      <a:pt x="177" y="1366"/>
                    </a:lnTo>
                    <a:lnTo>
                      <a:pt x="175" y="1366"/>
                    </a:lnTo>
                    <a:lnTo>
                      <a:pt x="175" y="1368"/>
                    </a:lnTo>
                    <a:lnTo>
                      <a:pt x="173" y="1369"/>
                    </a:lnTo>
                    <a:lnTo>
                      <a:pt x="172" y="1371"/>
                    </a:lnTo>
                    <a:lnTo>
                      <a:pt x="172" y="1373"/>
                    </a:lnTo>
                    <a:lnTo>
                      <a:pt x="170" y="1373"/>
                    </a:lnTo>
                    <a:lnTo>
                      <a:pt x="170" y="1374"/>
                    </a:lnTo>
                    <a:lnTo>
                      <a:pt x="170" y="1376"/>
                    </a:lnTo>
                    <a:lnTo>
                      <a:pt x="170" y="1378"/>
                    </a:lnTo>
                    <a:lnTo>
                      <a:pt x="172" y="1379"/>
                    </a:lnTo>
                    <a:lnTo>
                      <a:pt x="173" y="1381"/>
                    </a:lnTo>
                    <a:lnTo>
                      <a:pt x="175" y="1381"/>
                    </a:lnTo>
                    <a:lnTo>
                      <a:pt x="177" y="1381"/>
                    </a:lnTo>
                    <a:lnTo>
                      <a:pt x="177" y="1383"/>
                    </a:lnTo>
                    <a:lnTo>
                      <a:pt x="179" y="1383"/>
                    </a:lnTo>
                    <a:lnTo>
                      <a:pt x="180" y="1381"/>
                    </a:lnTo>
                    <a:lnTo>
                      <a:pt x="182" y="1381"/>
                    </a:lnTo>
                    <a:lnTo>
                      <a:pt x="182" y="1383"/>
                    </a:lnTo>
                    <a:lnTo>
                      <a:pt x="184" y="1383"/>
                    </a:lnTo>
                    <a:lnTo>
                      <a:pt x="185" y="1385"/>
                    </a:lnTo>
                    <a:lnTo>
                      <a:pt x="185" y="1386"/>
                    </a:lnTo>
                    <a:lnTo>
                      <a:pt x="185" y="1388"/>
                    </a:lnTo>
                    <a:lnTo>
                      <a:pt x="187" y="1390"/>
                    </a:lnTo>
                    <a:lnTo>
                      <a:pt x="187" y="1391"/>
                    </a:lnTo>
                    <a:lnTo>
                      <a:pt x="187" y="1393"/>
                    </a:lnTo>
                    <a:lnTo>
                      <a:pt x="189" y="1395"/>
                    </a:lnTo>
                    <a:lnTo>
                      <a:pt x="189" y="1396"/>
                    </a:lnTo>
                    <a:lnTo>
                      <a:pt x="189" y="1398"/>
                    </a:lnTo>
                    <a:lnTo>
                      <a:pt x="190" y="1398"/>
                    </a:lnTo>
                    <a:lnTo>
                      <a:pt x="190" y="1400"/>
                    </a:lnTo>
                    <a:lnTo>
                      <a:pt x="192" y="1402"/>
                    </a:lnTo>
                    <a:lnTo>
                      <a:pt x="194" y="1403"/>
                    </a:lnTo>
                    <a:lnTo>
                      <a:pt x="194" y="1405"/>
                    </a:lnTo>
                    <a:lnTo>
                      <a:pt x="196" y="1405"/>
                    </a:lnTo>
                    <a:lnTo>
                      <a:pt x="197" y="1407"/>
                    </a:lnTo>
                    <a:lnTo>
                      <a:pt x="199" y="1408"/>
                    </a:lnTo>
                    <a:lnTo>
                      <a:pt x="201" y="1410"/>
                    </a:lnTo>
                    <a:lnTo>
                      <a:pt x="202" y="1412"/>
                    </a:lnTo>
                    <a:lnTo>
                      <a:pt x="204" y="1412"/>
                    </a:lnTo>
                    <a:lnTo>
                      <a:pt x="202" y="1413"/>
                    </a:lnTo>
                    <a:lnTo>
                      <a:pt x="204" y="1415"/>
                    </a:lnTo>
                    <a:lnTo>
                      <a:pt x="204" y="1417"/>
                    </a:lnTo>
                    <a:lnTo>
                      <a:pt x="206" y="1417"/>
                    </a:lnTo>
                    <a:lnTo>
                      <a:pt x="206" y="1419"/>
                    </a:lnTo>
                    <a:lnTo>
                      <a:pt x="207" y="1419"/>
                    </a:lnTo>
                    <a:lnTo>
                      <a:pt x="207" y="1420"/>
                    </a:lnTo>
                    <a:lnTo>
                      <a:pt x="209" y="1420"/>
                    </a:lnTo>
                    <a:lnTo>
                      <a:pt x="209" y="1422"/>
                    </a:lnTo>
                    <a:lnTo>
                      <a:pt x="211" y="1422"/>
                    </a:lnTo>
                    <a:lnTo>
                      <a:pt x="211" y="1424"/>
                    </a:lnTo>
                    <a:lnTo>
                      <a:pt x="213" y="1424"/>
                    </a:lnTo>
                    <a:lnTo>
                      <a:pt x="213" y="1425"/>
                    </a:lnTo>
                    <a:lnTo>
                      <a:pt x="214" y="1425"/>
                    </a:lnTo>
                    <a:lnTo>
                      <a:pt x="216" y="1427"/>
                    </a:lnTo>
                    <a:lnTo>
                      <a:pt x="218" y="1427"/>
                    </a:lnTo>
                    <a:lnTo>
                      <a:pt x="218" y="1429"/>
                    </a:lnTo>
                    <a:lnTo>
                      <a:pt x="219" y="1429"/>
                    </a:lnTo>
                    <a:lnTo>
                      <a:pt x="221" y="1430"/>
                    </a:lnTo>
                    <a:lnTo>
                      <a:pt x="223" y="1430"/>
                    </a:lnTo>
                    <a:lnTo>
                      <a:pt x="224" y="1432"/>
                    </a:lnTo>
                    <a:lnTo>
                      <a:pt x="226" y="1434"/>
                    </a:lnTo>
                    <a:lnTo>
                      <a:pt x="228" y="1434"/>
                    </a:lnTo>
                    <a:lnTo>
                      <a:pt x="230" y="1436"/>
                    </a:lnTo>
                    <a:lnTo>
                      <a:pt x="231" y="1436"/>
                    </a:lnTo>
                    <a:lnTo>
                      <a:pt x="231" y="1437"/>
                    </a:lnTo>
                    <a:lnTo>
                      <a:pt x="233" y="1437"/>
                    </a:lnTo>
                    <a:lnTo>
                      <a:pt x="233" y="1439"/>
                    </a:lnTo>
                    <a:lnTo>
                      <a:pt x="233" y="1441"/>
                    </a:lnTo>
                    <a:lnTo>
                      <a:pt x="235" y="1441"/>
                    </a:lnTo>
                    <a:lnTo>
                      <a:pt x="235" y="1442"/>
                    </a:lnTo>
                    <a:lnTo>
                      <a:pt x="236" y="1442"/>
                    </a:lnTo>
                    <a:lnTo>
                      <a:pt x="236" y="1444"/>
                    </a:lnTo>
                    <a:lnTo>
                      <a:pt x="238" y="1444"/>
                    </a:lnTo>
                    <a:lnTo>
                      <a:pt x="238" y="1446"/>
                    </a:lnTo>
                    <a:lnTo>
                      <a:pt x="240" y="1447"/>
                    </a:lnTo>
                    <a:lnTo>
                      <a:pt x="240" y="1449"/>
                    </a:lnTo>
                    <a:lnTo>
                      <a:pt x="241" y="1449"/>
                    </a:lnTo>
                    <a:lnTo>
                      <a:pt x="243" y="1449"/>
                    </a:lnTo>
                    <a:lnTo>
                      <a:pt x="245" y="1451"/>
                    </a:lnTo>
                    <a:lnTo>
                      <a:pt x="247" y="1451"/>
                    </a:lnTo>
                    <a:lnTo>
                      <a:pt x="248" y="1453"/>
                    </a:lnTo>
                    <a:lnTo>
                      <a:pt x="250" y="1453"/>
                    </a:lnTo>
                    <a:lnTo>
                      <a:pt x="252" y="1454"/>
                    </a:lnTo>
                    <a:lnTo>
                      <a:pt x="253" y="1454"/>
                    </a:lnTo>
                    <a:lnTo>
                      <a:pt x="255" y="1454"/>
                    </a:lnTo>
                    <a:lnTo>
                      <a:pt x="257" y="1456"/>
                    </a:lnTo>
                    <a:lnTo>
                      <a:pt x="258" y="1456"/>
                    </a:lnTo>
                    <a:lnTo>
                      <a:pt x="260" y="1456"/>
                    </a:lnTo>
                    <a:lnTo>
                      <a:pt x="260" y="1458"/>
                    </a:lnTo>
                    <a:lnTo>
                      <a:pt x="262" y="1458"/>
                    </a:lnTo>
                    <a:lnTo>
                      <a:pt x="264" y="1459"/>
                    </a:lnTo>
                    <a:lnTo>
                      <a:pt x="265" y="1459"/>
                    </a:lnTo>
                    <a:lnTo>
                      <a:pt x="267" y="1459"/>
                    </a:lnTo>
                    <a:lnTo>
                      <a:pt x="269" y="1459"/>
                    </a:lnTo>
                    <a:lnTo>
                      <a:pt x="270" y="1459"/>
                    </a:lnTo>
                    <a:lnTo>
                      <a:pt x="272" y="1459"/>
                    </a:lnTo>
                    <a:lnTo>
                      <a:pt x="274" y="1459"/>
                    </a:lnTo>
                    <a:lnTo>
                      <a:pt x="275" y="1458"/>
                    </a:lnTo>
                    <a:lnTo>
                      <a:pt x="275" y="1459"/>
                    </a:lnTo>
                    <a:lnTo>
                      <a:pt x="275" y="1458"/>
                    </a:lnTo>
                    <a:lnTo>
                      <a:pt x="277" y="1458"/>
                    </a:lnTo>
                    <a:lnTo>
                      <a:pt x="279" y="1458"/>
                    </a:lnTo>
                    <a:lnTo>
                      <a:pt x="281" y="1458"/>
                    </a:lnTo>
                    <a:lnTo>
                      <a:pt x="282" y="1458"/>
                    </a:lnTo>
                    <a:lnTo>
                      <a:pt x="282" y="1459"/>
                    </a:lnTo>
                    <a:lnTo>
                      <a:pt x="282" y="1458"/>
                    </a:lnTo>
                    <a:lnTo>
                      <a:pt x="282" y="1459"/>
                    </a:lnTo>
                    <a:lnTo>
                      <a:pt x="284" y="1459"/>
                    </a:lnTo>
                    <a:lnTo>
                      <a:pt x="286" y="1459"/>
                    </a:lnTo>
                    <a:lnTo>
                      <a:pt x="284" y="1461"/>
                    </a:lnTo>
                    <a:lnTo>
                      <a:pt x="284" y="1463"/>
                    </a:lnTo>
                    <a:lnTo>
                      <a:pt x="284" y="1465"/>
                    </a:lnTo>
                    <a:lnTo>
                      <a:pt x="282" y="1465"/>
                    </a:lnTo>
                    <a:lnTo>
                      <a:pt x="284" y="1465"/>
                    </a:lnTo>
                    <a:lnTo>
                      <a:pt x="282" y="1466"/>
                    </a:lnTo>
                    <a:lnTo>
                      <a:pt x="282" y="1468"/>
                    </a:lnTo>
                    <a:lnTo>
                      <a:pt x="281" y="1468"/>
                    </a:lnTo>
                    <a:lnTo>
                      <a:pt x="282" y="1468"/>
                    </a:lnTo>
                    <a:lnTo>
                      <a:pt x="282" y="1470"/>
                    </a:lnTo>
                    <a:lnTo>
                      <a:pt x="281" y="1470"/>
                    </a:lnTo>
                    <a:lnTo>
                      <a:pt x="281" y="1471"/>
                    </a:lnTo>
                    <a:lnTo>
                      <a:pt x="279" y="1471"/>
                    </a:lnTo>
                    <a:lnTo>
                      <a:pt x="279" y="1473"/>
                    </a:lnTo>
                    <a:lnTo>
                      <a:pt x="279" y="1475"/>
                    </a:lnTo>
                    <a:lnTo>
                      <a:pt x="277" y="1476"/>
                    </a:lnTo>
                    <a:lnTo>
                      <a:pt x="275" y="1476"/>
                    </a:lnTo>
                    <a:lnTo>
                      <a:pt x="275" y="1475"/>
                    </a:lnTo>
                    <a:lnTo>
                      <a:pt x="275" y="1473"/>
                    </a:lnTo>
                    <a:lnTo>
                      <a:pt x="274" y="1473"/>
                    </a:lnTo>
                    <a:lnTo>
                      <a:pt x="274" y="1475"/>
                    </a:lnTo>
                    <a:lnTo>
                      <a:pt x="272" y="1476"/>
                    </a:lnTo>
                    <a:lnTo>
                      <a:pt x="270" y="1476"/>
                    </a:lnTo>
                    <a:lnTo>
                      <a:pt x="269" y="1476"/>
                    </a:lnTo>
                    <a:lnTo>
                      <a:pt x="269" y="1478"/>
                    </a:lnTo>
                    <a:lnTo>
                      <a:pt x="267" y="1478"/>
                    </a:lnTo>
                    <a:lnTo>
                      <a:pt x="265" y="1478"/>
                    </a:lnTo>
                    <a:lnTo>
                      <a:pt x="265" y="1476"/>
                    </a:lnTo>
                    <a:lnTo>
                      <a:pt x="265" y="1475"/>
                    </a:lnTo>
                    <a:lnTo>
                      <a:pt x="264" y="1473"/>
                    </a:lnTo>
                    <a:lnTo>
                      <a:pt x="264" y="1475"/>
                    </a:lnTo>
                    <a:lnTo>
                      <a:pt x="262" y="1475"/>
                    </a:lnTo>
                    <a:lnTo>
                      <a:pt x="262" y="1473"/>
                    </a:lnTo>
                    <a:lnTo>
                      <a:pt x="260" y="1473"/>
                    </a:lnTo>
                    <a:lnTo>
                      <a:pt x="258" y="1475"/>
                    </a:lnTo>
                    <a:lnTo>
                      <a:pt x="258" y="1473"/>
                    </a:lnTo>
                    <a:lnTo>
                      <a:pt x="257" y="1473"/>
                    </a:lnTo>
                    <a:lnTo>
                      <a:pt x="257" y="1475"/>
                    </a:lnTo>
                    <a:lnTo>
                      <a:pt x="258" y="1476"/>
                    </a:lnTo>
                    <a:lnTo>
                      <a:pt x="257" y="1478"/>
                    </a:lnTo>
                    <a:lnTo>
                      <a:pt x="255" y="1478"/>
                    </a:lnTo>
                    <a:lnTo>
                      <a:pt x="253" y="1478"/>
                    </a:lnTo>
                    <a:lnTo>
                      <a:pt x="252" y="1478"/>
                    </a:lnTo>
                    <a:lnTo>
                      <a:pt x="250" y="1478"/>
                    </a:lnTo>
                    <a:lnTo>
                      <a:pt x="250" y="1480"/>
                    </a:lnTo>
                    <a:lnTo>
                      <a:pt x="248" y="1478"/>
                    </a:lnTo>
                    <a:lnTo>
                      <a:pt x="247" y="1478"/>
                    </a:lnTo>
                    <a:lnTo>
                      <a:pt x="245" y="1478"/>
                    </a:lnTo>
                    <a:lnTo>
                      <a:pt x="245" y="1480"/>
                    </a:lnTo>
                    <a:lnTo>
                      <a:pt x="243" y="1480"/>
                    </a:lnTo>
                    <a:lnTo>
                      <a:pt x="245" y="1482"/>
                    </a:lnTo>
                    <a:lnTo>
                      <a:pt x="243" y="1482"/>
                    </a:lnTo>
                    <a:lnTo>
                      <a:pt x="241" y="1482"/>
                    </a:lnTo>
                    <a:lnTo>
                      <a:pt x="241" y="1483"/>
                    </a:lnTo>
                    <a:lnTo>
                      <a:pt x="240" y="1482"/>
                    </a:lnTo>
                    <a:lnTo>
                      <a:pt x="238" y="1483"/>
                    </a:lnTo>
                    <a:lnTo>
                      <a:pt x="238" y="1482"/>
                    </a:lnTo>
                    <a:lnTo>
                      <a:pt x="236" y="1482"/>
                    </a:lnTo>
                    <a:lnTo>
                      <a:pt x="235" y="1482"/>
                    </a:lnTo>
                    <a:lnTo>
                      <a:pt x="233" y="1480"/>
                    </a:lnTo>
                    <a:lnTo>
                      <a:pt x="231" y="1480"/>
                    </a:lnTo>
                    <a:lnTo>
                      <a:pt x="231" y="1478"/>
                    </a:lnTo>
                    <a:lnTo>
                      <a:pt x="231" y="1476"/>
                    </a:lnTo>
                    <a:lnTo>
                      <a:pt x="230" y="1476"/>
                    </a:lnTo>
                    <a:lnTo>
                      <a:pt x="228" y="1476"/>
                    </a:lnTo>
                    <a:lnTo>
                      <a:pt x="226" y="1476"/>
                    </a:lnTo>
                    <a:lnTo>
                      <a:pt x="224" y="1476"/>
                    </a:lnTo>
                    <a:lnTo>
                      <a:pt x="224" y="1475"/>
                    </a:lnTo>
                    <a:lnTo>
                      <a:pt x="223" y="1475"/>
                    </a:lnTo>
                    <a:lnTo>
                      <a:pt x="221" y="1475"/>
                    </a:lnTo>
                    <a:lnTo>
                      <a:pt x="219" y="1475"/>
                    </a:lnTo>
                    <a:lnTo>
                      <a:pt x="219" y="1473"/>
                    </a:lnTo>
                    <a:lnTo>
                      <a:pt x="218" y="1473"/>
                    </a:lnTo>
                    <a:lnTo>
                      <a:pt x="216" y="1473"/>
                    </a:lnTo>
                    <a:lnTo>
                      <a:pt x="214" y="1473"/>
                    </a:lnTo>
                    <a:lnTo>
                      <a:pt x="213" y="1473"/>
                    </a:lnTo>
                    <a:lnTo>
                      <a:pt x="213" y="1471"/>
                    </a:lnTo>
                    <a:lnTo>
                      <a:pt x="213" y="1473"/>
                    </a:lnTo>
                    <a:lnTo>
                      <a:pt x="213" y="1471"/>
                    </a:lnTo>
                    <a:lnTo>
                      <a:pt x="213" y="1473"/>
                    </a:lnTo>
                    <a:lnTo>
                      <a:pt x="211" y="1471"/>
                    </a:lnTo>
                    <a:lnTo>
                      <a:pt x="213" y="1473"/>
                    </a:lnTo>
                    <a:lnTo>
                      <a:pt x="211" y="1473"/>
                    </a:lnTo>
                    <a:lnTo>
                      <a:pt x="211" y="1471"/>
                    </a:lnTo>
                    <a:lnTo>
                      <a:pt x="209" y="1471"/>
                    </a:lnTo>
                    <a:lnTo>
                      <a:pt x="211" y="1473"/>
                    </a:lnTo>
                    <a:lnTo>
                      <a:pt x="209" y="1473"/>
                    </a:lnTo>
                    <a:lnTo>
                      <a:pt x="207" y="1473"/>
                    </a:lnTo>
                    <a:lnTo>
                      <a:pt x="207" y="1471"/>
                    </a:lnTo>
                    <a:lnTo>
                      <a:pt x="206" y="1471"/>
                    </a:lnTo>
                    <a:lnTo>
                      <a:pt x="204" y="1471"/>
                    </a:lnTo>
                    <a:lnTo>
                      <a:pt x="202" y="1471"/>
                    </a:lnTo>
                    <a:lnTo>
                      <a:pt x="202" y="1473"/>
                    </a:lnTo>
                    <a:lnTo>
                      <a:pt x="201" y="1473"/>
                    </a:lnTo>
                    <a:lnTo>
                      <a:pt x="199" y="1473"/>
                    </a:lnTo>
                    <a:lnTo>
                      <a:pt x="197" y="1473"/>
                    </a:lnTo>
                    <a:lnTo>
                      <a:pt x="196" y="1471"/>
                    </a:lnTo>
                    <a:lnTo>
                      <a:pt x="194" y="1471"/>
                    </a:lnTo>
                    <a:lnTo>
                      <a:pt x="192" y="1471"/>
                    </a:lnTo>
                    <a:lnTo>
                      <a:pt x="190" y="1471"/>
                    </a:lnTo>
                    <a:lnTo>
                      <a:pt x="189" y="1471"/>
                    </a:lnTo>
                    <a:lnTo>
                      <a:pt x="189" y="1470"/>
                    </a:lnTo>
                    <a:lnTo>
                      <a:pt x="187" y="1471"/>
                    </a:lnTo>
                    <a:lnTo>
                      <a:pt x="187" y="1470"/>
                    </a:lnTo>
                    <a:lnTo>
                      <a:pt x="185" y="1470"/>
                    </a:lnTo>
                    <a:lnTo>
                      <a:pt x="184" y="1470"/>
                    </a:lnTo>
                    <a:lnTo>
                      <a:pt x="182" y="1468"/>
                    </a:lnTo>
                    <a:lnTo>
                      <a:pt x="180" y="1468"/>
                    </a:lnTo>
                    <a:lnTo>
                      <a:pt x="179" y="1468"/>
                    </a:lnTo>
                    <a:lnTo>
                      <a:pt x="179" y="1470"/>
                    </a:lnTo>
                    <a:lnTo>
                      <a:pt x="180" y="1470"/>
                    </a:lnTo>
                    <a:lnTo>
                      <a:pt x="179" y="1470"/>
                    </a:lnTo>
                    <a:lnTo>
                      <a:pt x="177" y="1470"/>
                    </a:lnTo>
                    <a:lnTo>
                      <a:pt x="175" y="1471"/>
                    </a:lnTo>
                    <a:lnTo>
                      <a:pt x="173" y="1471"/>
                    </a:lnTo>
                    <a:lnTo>
                      <a:pt x="172" y="1470"/>
                    </a:lnTo>
                    <a:lnTo>
                      <a:pt x="172" y="1471"/>
                    </a:lnTo>
                    <a:lnTo>
                      <a:pt x="170" y="1471"/>
                    </a:lnTo>
                    <a:lnTo>
                      <a:pt x="172" y="1471"/>
                    </a:lnTo>
                    <a:lnTo>
                      <a:pt x="170" y="1473"/>
                    </a:lnTo>
                    <a:lnTo>
                      <a:pt x="168" y="1473"/>
                    </a:lnTo>
                    <a:lnTo>
                      <a:pt x="167" y="1473"/>
                    </a:lnTo>
                    <a:close/>
                    <a:moveTo>
                      <a:pt x="313" y="1465"/>
                    </a:moveTo>
                    <a:lnTo>
                      <a:pt x="315" y="1463"/>
                    </a:lnTo>
                    <a:lnTo>
                      <a:pt x="315" y="1465"/>
                    </a:lnTo>
                    <a:lnTo>
                      <a:pt x="316" y="1463"/>
                    </a:lnTo>
                    <a:lnTo>
                      <a:pt x="318" y="1465"/>
                    </a:lnTo>
                    <a:lnTo>
                      <a:pt x="318" y="1466"/>
                    </a:lnTo>
                    <a:lnTo>
                      <a:pt x="320" y="1465"/>
                    </a:lnTo>
                    <a:lnTo>
                      <a:pt x="318" y="1465"/>
                    </a:lnTo>
                    <a:lnTo>
                      <a:pt x="318" y="1463"/>
                    </a:lnTo>
                    <a:lnTo>
                      <a:pt x="320" y="1465"/>
                    </a:lnTo>
                    <a:lnTo>
                      <a:pt x="321" y="1465"/>
                    </a:lnTo>
                    <a:lnTo>
                      <a:pt x="321" y="1463"/>
                    </a:lnTo>
                    <a:lnTo>
                      <a:pt x="323" y="1465"/>
                    </a:lnTo>
                    <a:lnTo>
                      <a:pt x="321" y="1466"/>
                    </a:lnTo>
                    <a:lnTo>
                      <a:pt x="323" y="1466"/>
                    </a:lnTo>
                    <a:lnTo>
                      <a:pt x="323" y="1465"/>
                    </a:lnTo>
                    <a:lnTo>
                      <a:pt x="325" y="1465"/>
                    </a:lnTo>
                    <a:lnTo>
                      <a:pt x="326" y="1463"/>
                    </a:lnTo>
                    <a:lnTo>
                      <a:pt x="328" y="1463"/>
                    </a:lnTo>
                    <a:lnTo>
                      <a:pt x="328" y="1465"/>
                    </a:lnTo>
                    <a:lnTo>
                      <a:pt x="330" y="1463"/>
                    </a:lnTo>
                    <a:lnTo>
                      <a:pt x="330" y="1465"/>
                    </a:lnTo>
                    <a:lnTo>
                      <a:pt x="328" y="1466"/>
                    </a:lnTo>
                    <a:lnTo>
                      <a:pt x="328" y="1468"/>
                    </a:lnTo>
                    <a:lnTo>
                      <a:pt x="328" y="1466"/>
                    </a:lnTo>
                    <a:lnTo>
                      <a:pt x="326" y="1466"/>
                    </a:lnTo>
                    <a:lnTo>
                      <a:pt x="326" y="1468"/>
                    </a:lnTo>
                    <a:lnTo>
                      <a:pt x="325" y="1468"/>
                    </a:lnTo>
                    <a:lnTo>
                      <a:pt x="325" y="1466"/>
                    </a:lnTo>
                    <a:lnTo>
                      <a:pt x="323" y="1466"/>
                    </a:lnTo>
                    <a:lnTo>
                      <a:pt x="323" y="1468"/>
                    </a:lnTo>
                    <a:lnTo>
                      <a:pt x="321" y="1468"/>
                    </a:lnTo>
                    <a:lnTo>
                      <a:pt x="321" y="1466"/>
                    </a:lnTo>
                    <a:lnTo>
                      <a:pt x="321" y="1468"/>
                    </a:lnTo>
                    <a:lnTo>
                      <a:pt x="320" y="1468"/>
                    </a:lnTo>
                    <a:lnTo>
                      <a:pt x="320" y="1470"/>
                    </a:lnTo>
                    <a:lnTo>
                      <a:pt x="320" y="1468"/>
                    </a:lnTo>
                    <a:lnTo>
                      <a:pt x="318" y="1470"/>
                    </a:lnTo>
                    <a:lnTo>
                      <a:pt x="316" y="1470"/>
                    </a:lnTo>
                    <a:lnTo>
                      <a:pt x="316" y="1471"/>
                    </a:lnTo>
                    <a:lnTo>
                      <a:pt x="316" y="1470"/>
                    </a:lnTo>
                    <a:lnTo>
                      <a:pt x="316" y="1468"/>
                    </a:lnTo>
                    <a:lnTo>
                      <a:pt x="316" y="1466"/>
                    </a:lnTo>
                    <a:lnTo>
                      <a:pt x="315" y="1468"/>
                    </a:lnTo>
                    <a:lnTo>
                      <a:pt x="315" y="1466"/>
                    </a:lnTo>
                    <a:lnTo>
                      <a:pt x="313" y="1466"/>
                    </a:lnTo>
                    <a:lnTo>
                      <a:pt x="313" y="1468"/>
                    </a:lnTo>
                    <a:lnTo>
                      <a:pt x="313" y="1470"/>
                    </a:lnTo>
                    <a:lnTo>
                      <a:pt x="311" y="1470"/>
                    </a:lnTo>
                    <a:lnTo>
                      <a:pt x="309" y="1471"/>
                    </a:lnTo>
                    <a:lnTo>
                      <a:pt x="308" y="1471"/>
                    </a:lnTo>
                    <a:lnTo>
                      <a:pt x="308" y="1470"/>
                    </a:lnTo>
                    <a:lnTo>
                      <a:pt x="309" y="1470"/>
                    </a:lnTo>
                    <a:lnTo>
                      <a:pt x="308" y="1470"/>
                    </a:lnTo>
                    <a:lnTo>
                      <a:pt x="306" y="1471"/>
                    </a:lnTo>
                    <a:lnTo>
                      <a:pt x="306" y="1473"/>
                    </a:lnTo>
                    <a:lnTo>
                      <a:pt x="304" y="1473"/>
                    </a:lnTo>
                    <a:lnTo>
                      <a:pt x="303" y="1475"/>
                    </a:lnTo>
                    <a:lnTo>
                      <a:pt x="303" y="1473"/>
                    </a:lnTo>
                    <a:lnTo>
                      <a:pt x="301" y="1475"/>
                    </a:lnTo>
                    <a:lnTo>
                      <a:pt x="299" y="1475"/>
                    </a:lnTo>
                    <a:lnTo>
                      <a:pt x="299" y="1473"/>
                    </a:lnTo>
                    <a:lnTo>
                      <a:pt x="301" y="1473"/>
                    </a:lnTo>
                    <a:lnTo>
                      <a:pt x="303" y="1473"/>
                    </a:lnTo>
                    <a:lnTo>
                      <a:pt x="301" y="1471"/>
                    </a:lnTo>
                    <a:lnTo>
                      <a:pt x="301" y="1470"/>
                    </a:lnTo>
                    <a:lnTo>
                      <a:pt x="299" y="1471"/>
                    </a:lnTo>
                    <a:lnTo>
                      <a:pt x="298" y="1470"/>
                    </a:lnTo>
                    <a:lnTo>
                      <a:pt x="299" y="1470"/>
                    </a:lnTo>
                    <a:lnTo>
                      <a:pt x="299" y="1468"/>
                    </a:lnTo>
                    <a:lnTo>
                      <a:pt x="299" y="1466"/>
                    </a:lnTo>
                    <a:lnTo>
                      <a:pt x="301" y="1468"/>
                    </a:lnTo>
                    <a:lnTo>
                      <a:pt x="301" y="1466"/>
                    </a:lnTo>
                    <a:lnTo>
                      <a:pt x="303" y="1466"/>
                    </a:lnTo>
                    <a:lnTo>
                      <a:pt x="303" y="1468"/>
                    </a:lnTo>
                    <a:lnTo>
                      <a:pt x="304" y="1468"/>
                    </a:lnTo>
                    <a:lnTo>
                      <a:pt x="306" y="1468"/>
                    </a:lnTo>
                    <a:lnTo>
                      <a:pt x="306" y="1466"/>
                    </a:lnTo>
                    <a:lnTo>
                      <a:pt x="306" y="1465"/>
                    </a:lnTo>
                    <a:lnTo>
                      <a:pt x="306" y="1463"/>
                    </a:lnTo>
                    <a:lnTo>
                      <a:pt x="306" y="1465"/>
                    </a:lnTo>
                    <a:lnTo>
                      <a:pt x="308" y="1466"/>
                    </a:lnTo>
                    <a:lnTo>
                      <a:pt x="309" y="1465"/>
                    </a:lnTo>
                    <a:lnTo>
                      <a:pt x="309" y="1466"/>
                    </a:lnTo>
                    <a:lnTo>
                      <a:pt x="309" y="1465"/>
                    </a:lnTo>
                    <a:lnTo>
                      <a:pt x="311" y="1465"/>
                    </a:lnTo>
                    <a:lnTo>
                      <a:pt x="311" y="1466"/>
                    </a:lnTo>
                    <a:lnTo>
                      <a:pt x="311" y="1465"/>
                    </a:lnTo>
                    <a:lnTo>
                      <a:pt x="313" y="1463"/>
                    </a:lnTo>
                    <a:lnTo>
                      <a:pt x="313" y="1465"/>
                    </a:lnTo>
                    <a:close/>
                    <a:moveTo>
                      <a:pt x="391" y="682"/>
                    </a:moveTo>
                    <a:lnTo>
                      <a:pt x="393" y="682"/>
                    </a:lnTo>
                    <a:lnTo>
                      <a:pt x="394" y="682"/>
                    </a:lnTo>
                    <a:lnTo>
                      <a:pt x="394" y="684"/>
                    </a:lnTo>
                    <a:lnTo>
                      <a:pt x="396" y="684"/>
                    </a:lnTo>
                    <a:lnTo>
                      <a:pt x="396" y="685"/>
                    </a:lnTo>
                    <a:lnTo>
                      <a:pt x="396" y="687"/>
                    </a:lnTo>
                    <a:lnTo>
                      <a:pt x="396" y="689"/>
                    </a:lnTo>
                    <a:lnTo>
                      <a:pt x="394" y="689"/>
                    </a:lnTo>
                    <a:lnTo>
                      <a:pt x="394" y="687"/>
                    </a:lnTo>
                    <a:lnTo>
                      <a:pt x="393" y="687"/>
                    </a:lnTo>
                    <a:lnTo>
                      <a:pt x="391" y="687"/>
                    </a:lnTo>
                    <a:lnTo>
                      <a:pt x="391" y="685"/>
                    </a:lnTo>
                    <a:lnTo>
                      <a:pt x="389" y="685"/>
                    </a:lnTo>
                    <a:lnTo>
                      <a:pt x="389" y="684"/>
                    </a:lnTo>
                    <a:lnTo>
                      <a:pt x="388" y="684"/>
                    </a:lnTo>
                    <a:lnTo>
                      <a:pt x="388" y="682"/>
                    </a:lnTo>
                    <a:lnTo>
                      <a:pt x="389" y="682"/>
                    </a:lnTo>
                    <a:lnTo>
                      <a:pt x="391" y="682"/>
                    </a:lnTo>
                    <a:close/>
                    <a:moveTo>
                      <a:pt x="388" y="718"/>
                    </a:moveTo>
                    <a:lnTo>
                      <a:pt x="388" y="719"/>
                    </a:lnTo>
                    <a:lnTo>
                      <a:pt x="388" y="721"/>
                    </a:lnTo>
                    <a:lnTo>
                      <a:pt x="386" y="719"/>
                    </a:lnTo>
                    <a:lnTo>
                      <a:pt x="384" y="719"/>
                    </a:lnTo>
                    <a:lnTo>
                      <a:pt x="384" y="718"/>
                    </a:lnTo>
                    <a:lnTo>
                      <a:pt x="386" y="718"/>
                    </a:lnTo>
                    <a:lnTo>
                      <a:pt x="386" y="716"/>
                    </a:lnTo>
                    <a:lnTo>
                      <a:pt x="386" y="718"/>
                    </a:lnTo>
                    <a:lnTo>
                      <a:pt x="388" y="718"/>
                    </a:lnTo>
                    <a:close/>
                    <a:moveTo>
                      <a:pt x="386" y="742"/>
                    </a:moveTo>
                    <a:lnTo>
                      <a:pt x="386" y="743"/>
                    </a:lnTo>
                    <a:lnTo>
                      <a:pt x="386" y="745"/>
                    </a:lnTo>
                    <a:lnTo>
                      <a:pt x="386" y="747"/>
                    </a:lnTo>
                    <a:lnTo>
                      <a:pt x="384" y="745"/>
                    </a:lnTo>
                    <a:lnTo>
                      <a:pt x="383" y="745"/>
                    </a:lnTo>
                    <a:lnTo>
                      <a:pt x="384" y="743"/>
                    </a:lnTo>
                    <a:lnTo>
                      <a:pt x="384" y="742"/>
                    </a:lnTo>
                    <a:lnTo>
                      <a:pt x="386" y="742"/>
                    </a:lnTo>
                    <a:close/>
                    <a:moveTo>
                      <a:pt x="207" y="1473"/>
                    </a:moveTo>
                    <a:lnTo>
                      <a:pt x="209" y="1473"/>
                    </a:lnTo>
                    <a:lnTo>
                      <a:pt x="209" y="1475"/>
                    </a:lnTo>
                    <a:lnTo>
                      <a:pt x="207" y="1473"/>
                    </a:lnTo>
                    <a:lnTo>
                      <a:pt x="206" y="1475"/>
                    </a:lnTo>
                    <a:lnTo>
                      <a:pt x="204" y="1473"/>
                    </a:lnTo>
                    <a:lnTo>
                      <a:pt x="206" y="1471"/>
                    </a:lnTo>
                    <a:lnTo>
                      <a:pt x="206" y="1473"/>
                    </a:lnTo>
                    <a:lnTo>
                      <a:pt x="206" y="1471"/>
                    </a:lnTo>
                    <a:lnTo>
                      <a:pt x="207" y="1471"/>
                    </a:lnTo>
                    <a:lnTo>
                      <a:pt x="207" y="1473"/>
                    </a:lnTo>
                    <a:close/>
                    <a:moveTo>
                      <a:pt x="384" y="738"/>
                    </a:moveTo>
                    <a:lnTo>
                      <a:pt x="386" y="738"/>
                    </a:lnTo>
                    <a:lnTo>
                      <a:pt x="386" y="742"/>
                    </a:lnTo>
                    <a:lnTo>
                      <a:pt x="384" y="742"/>
                    </a:lnTo>
                    <a:lnTo>
                      <a:pt x="384" y="738"/>
                    </a:lnTo>
                    <a:close/>
                    <a:moveTo>
                      <a:pt x="386" y="687"/>
                    </a:moveTo>
                    <a:lnTo>
                      <a:pt x="389" y="687"/>
                    </a:lnTo>
                    <a:lnTo>
                      <a:pt x="389" y="689"/>
                    </a:lnTo>
                    <a:lnTo>
                      <a:pt x="386" y="689"/>
                    </a:lnTo>
                    <a:lnTo>
                      <a:pt x="386" y="687"/>
                    </a:lnTo>
                    <a:close/>
                    <a:moveTo>
                      <a:pt x="389" y="679"/>
                    </a:moveTo>
                    <a:lnTo>
                      <a:pt x="391" y="679"/>
                    </a:lnTo>
                    <a:lnTo>
                      <a:pt x="391" y="680"/>
                    </a:lnTo>
                    <a:lnTo>
                      <a:pt x="389" y="680"/>
                    </a:lnTo>
                    <a:lnTo>
                      <a:pt x="389" y="679"/>
                    </a:lnTo>
                    <a:close/>
                    <a:moveTo>
                      <a:pt x="381" y="672"/>
                    </a:moveTo>
                    <a:lnTo>
                      <a:pt x="383" y="672"/>
                    </a:lnTo>
                    <a:lnTo>
                      <a:pt x="383" y="675"/>
                    </a:lnTo>
                    <a:lnTo>
                      <a:pt x="381" y="675"/>
                    </a:lnTo>
                    <a:lnTo>
                      <a:pt x="381" y="672"/>
                    </a:lnTo>
                    <a:close/>
                    <a:moveTo>
                      <a:pt x="386" y="679"/>
                    </a:moveTo>
                    <a:lnTo>
                      <a:pt x="389" y="679"/>
                    </a:lnTo>
                    <a:lnTo>
                      <a:pt x="389" y="680"/>
                    </a:lnTo>
                    <a:lnTo>
                      <a:pt x="386" y="680"/>
                    </a:lnTo>
                    <a:lnTo>
                      <a:pt x="386" y="679"/>
                    </a:lnTo>
                    <a:close/>
                    <a:moveTo>
                      <a:pt x="386" y="728"/>
                    </a:moveTo>
                    <a:lnTo>
                      <a:pt x="388" y="728"/>
                    </a:lnTo>
                    <a:lnTo>
                      <a:pt x="388" y="731"/>
                    </a:lnTo>
                    <a:lnTo>
                      <a:pt x="386" y="731"/>
                    </a:lnTo>
                    <a:lnTo>
                      <a:pt x="386" y="728"/>
                    </a:lnTo>
                    <a:close/>
                    <a:moveTo>
                      <a:pt x="515" y="476"/>
                    </a:moveTo>
                    <a:lnTo>
                      <a:pt x="517" y="476"/>
                    </a:lnTo>
                    <a:lnTo>
                      <a:pt x="517" y="478"/>
                    </a:lnTo>
                    <a:lnTo>
                      <a:pt x="515" y="478"/>
                    </a:lnTo>
                    <a:lnTo>
                      <a:pt x="515" y="476"/>
                    </a:lnTo>
                    <a:close/>
                    <a:moveTo>
                      <a:pt x="386" y="677"/>
                    </a:moveTo>
                    <a:lnTo>
                      <a:pt x="388" y="677"/>
                    </a:lnTo>
                    <a:lnTo>
                      <a:pt x="388" y="679"/>
                    </a:lnTo>
                    <a:lnTo>
                      <a:pt x="386" y="679"/>
                    </a:lnTo>
                    <a:lnTo>
                      <a:pt x="386" y="677"/>
                    </a:lnTo>
                    <a:close/>
                    <a:moveTo>
                      <a:pt x="381" y="675"/>
                    </a:moveTo>
                    <a:lnTo>
                      <a:pt x="384" y="675"/>
                    </a:lnTo>
                    <a:lnTo>
                      <a:pt x="384" y="677"/>
                    </a:lnTo>
                    <a:lnTo>
                      <a:pt x="381" y="677"/>
                    </a:lnTo>
                    <a:lnTo>
                      <a:pt x="381" y="675"/>
                    </a:lnTo>
                    <a:close/>
                    <a:moveTo>
                      <a:pt x="255" y="956"/>
                    </a:moveTo>
                    <a:lnTo>
                      <a:pt x="257" y="956"/>
                    </a:lnTo>
                    <a:lnTo>
                      <a:pt x="255" y="956"/>
                    </a:lnTo>
                    <a:close/>
                    <a:moveTo>
                      <a:pt x="513" y="493"/>
                    </a:moveTo>
                    <a:lnTo>
                      <a:pt x="515" y="493"/>
                    </a:lnTo>
                    <a:lnTo>
                      <a:pt x="513" y="493"/>
                    </a:lnTo>
                    <a:close/>
                    <a:moveTo>
                      <a:pt x="318" y="1458"/>
                    </a:moveTo>
                    <a:lnTo>
                      <a:pt x="320" y="1458"/>
                    </a:lnTo>
                    <a:lnTo>
                      <a:pt x="320" y="1459"/>
                    </a:lnTo>
                    <a:lnTo>
                      <a:pt x="318" y="1459"/>
                    </a:lnTo>
                    <a:lnTo>
                      <a:pt x="318" y="1458"/>
                    </a:lnTo>
                    <a:close/>
                    <a:moveTo>
                      <a:pt x="269" y="952"/>
                    </a:moveTo>
                    <a:lnTo>
                      <a:pt x="270" y="952"/>
                    </a:lnTo>
                    <a:lnTo>
                      <a:pt x="270" y="954"/>
                    </a:lnTo>
                    <a:lnTo>
                      <a:pt x="269" y="954"/>
                    </a:lnTo>
                    <a:lnTo>
                      <a:pt x="269" y="952"/>
                    </a:lnTo>
                    <a:close/>
                    <a:moveTo>
                      <a:pt x="389" y="689"/>
                    </a:moveTo>
                    <a:lnTo>
                      <a:pt x="391" y="689"/>
                    </a:lnTo>
                    <a:lnTo>
                      <a:pt x="389" y="689"/>
                    </a:lnTo>
                    <a:close/>
                    <a:moveTo>
                      <a:pt x="383" y="718"/>
                    </a:moveTo>
                    <a:lnTo>
                      <a:pt x="384" y="718"/>
                    </a:lnTo>
                    <a:lnTo>
                      <a:pt x="384" y="719"/>
                    </a:lnTo>
                    <a:lnTo>
                      <a:pt x="383" y="719"/>
                    </a:lnTo>
                    <a:lnTo>
                      <a:pt x="383" y="718"/>
                    </a:lnTo>
                    <a:close/>
                    <a:moveTo>
                      <a:pt x="529" y="502"/>
                    </a:moveTo>
                    <a:lnTo>
                      <a:pt x="530" y="502"/>
                    </a:lnTo>
                    <a:lnTo>
                      <a:pt x="530" y="503"/>
                    </a:lnTo>
                    <a:lnTo>
                      <a:pt x="529" y="503"/>
                    </a:lnTo>
                    <a:lnTo>
                      <a:pt x="529" y="502"/>
                    </a:lnTo>
                    <a:close/>
                    <a:moveTo>
                      <a:pt x="515" y="474"/>
                    </a:moveTo>
                    <a:lnTo>
                      <a:pt x="515" y="476"/>
                    </a:lnTo>
                    <a:lnTo>
                      <a:pt x="515" y="474"/>
                    </a:lnTo>
                    <a:close/>
                    <a:moveTo>
                      <a:pt x="381" y="716"/>
                    </a:moveTo>
                    <a:lnTo>
                      <a:pt x="383" y="716"/>
                    </a:lnTo>
                    <a:lnTo>
                      <a:pt x="383" y="718"/>
                    </a:lnTo>
                    <a:lnTo>
                      <a:pt x="381" y="718"/>
                    </a:lnTo>
                    <a:lnTo>
                      <a:pt x="381" y="716"/>
                    </a:lnTo>
                    <a:close/>
                    <a:moveTo>
                      <a:pt x="383" y="674"/>
                    </a:moveTo>
                    <a:lnTo>
                      <a:pt x="384" y="674"/>
                    </a:lnTo>
                    <a:lnTo>
                      <a:pt x="384" y="675"/>
                    </a:lnTo>
                    <a:lnTo>
                      <a:pt x="383" y="675"/>
                    </a:lnTo>
                    <a:lnTo>
                      <a:pt x="383" y="674"/>
                    </a:lnTo>
                    <a:close/>
                    <a:moveTo>
                      <a:pt x="315" y="1459"/>
                    </a:moveTo>
                    <a:lnTo>
                      <a:pt x="315" y="1461"/>
                    </a:lnTo>
                    <a:lnTo>
                      <a:pt x="315" y="1459"/>
                    </a:lnTo>
                    <a:close/>
                    <a:moveTo>
                      <a:pt x="515" y="476"/>
                    </a:moveTo>
                    <a:lnTo>
                      <a:pt x="515" y="478"/>
                    </a:lnTo>
                    <a:lnTo>
                      <a:pt x="515" y="476"/>
                    </a:lnTo>
                    <a:close/>
                    <a:moveTo>
                      <a:pt x="517" y="474"/>
                    </a:moveTo>
                    <a:lnTo>
                      <a:pt x="519" y="474"/>
                    </a:lnTo>
                    <a:lnTo>
                      <a:pt x="519" y="476"/>
                    </a:lnTo>
                    <a:lnTo>
                      <a:pt x="517" y="476"/>
                    </a:lnTo>
                    <a:lnTo>
                      <a:pt x="517" y="474"/>
                    </a:lnTo>
                    <a:close/>
                    <a:moveTo>
                      <a:pt x="383" y="687"/>
                    </a:moveTo>
                    <a:lnTo>
                      <a:pt x="384" y="687"/>
                    </a:lnTo>
                    <a:lnTo>
                      <a:pt x="383" y="687"/>
                    </a:lnTo>
                    <a:close/>
                    <a:moveTo>
                      <a:pt x="257" y="956"/>
                    </a:moveTo>
                    <a:lnTo>
                      <a:pt x="258" y="956"/>
                    </a:lnTo>
                    <a:lnTo>
                      <a:pt x="258" y="958"/>
                    </a:lnTo>
                    <a:lnTo>
                      <a:pt x="257" y="958"/>
                    </a:lnTo>
                    <a:lnTo>
                      <a:pt x="257" y="956"/>
                    </a:lnTo>
                    <a:close/>
                    <a:moveTo>
                      <a:pt x="384" y="675"/>
                    </a:moveTo>
                    <a:lnTo>
                      <a:pt x="386" y="675"/>
                    </a:lnTo>
                    <a:lnTo>
                      <a:pt x="384" y="675"/>
                    </a:lnTo>
                    <a:close/>
                    <a:moveTo>
                      <a:pt x="386" y="723"/>
                    </a:moveTo>
                    <a:lnTo>
                      <a:pt x="388" y="723"/>
                    </a:lnTo>
                    <a:lnTo>
                      <a:pt x="388" y="725"/>
                    </a:lnTo>
                    <a:lnTo>
                      <a:pt x="386" y="725"/>
                    </a:lnTo>
                    <a:lnTo>
                      <a:pt x="386" y="723"/>
                    </a:lnTo>
                    <a:close/>
                    <a:moveTo>
                      <a:pt x="265" y="954"/>
                    </a:moveTo>
                    <a:lnTo>
                      <a:pt x="267" y="954"/>
                    </a:lnTo>
                    <a:lnTo>
                      <a:pt x="265" y="954"/>
                    </a:lnTo>
                    <a:close/>
                    <a:moveTo>
                      <a:pt x="381" y="721"/>
                    </a:moveTo>
                    <a:lnTo>
                      <a:pt x="383" y="721"/>
                    </a:lnTo>
                    <a:lnTo>
                      <a:pt x="381" y="721"/>
                    </a:lnTo>
                    <a:close/>
                    <a:moveTo>
                      <a:pt x="383" y="721"/>
                    </a:moveTo>
                    <a:lnTo>
                      <a:pt x="383" y="723"/>
                    </a:lnTo>
                    <a:lnTo>
                      <a:pt x="383" y="721"/>
                    </a:lnTo>
                    <a:close/>
                    <a:moveTo>
                      <a:pt x="274" y="951"/>
                    </a:moveTo>
                    <a:lnTo>
                      <a:pt x="274" y="952"/>
                    </a:lnTo>
                    <a:lnTo>
                      <a:pt x="274" y="951"/>
                    </a:lnTo>
                    <a:close/>
                    <a:moveTo>
                      <a:pt x="367" y="767"/>
                    </a:moveTo>
                    <a:lnTo>
                      <a:pt x="369" y="767"/>
                    </a:lnTo>
                    <a:lnTo>
                      <a:pt x="367" y="767"/>
                    </a:lnTo>
                    <a:close/>
                    <a:moveTo>
                      <a:pt x="517" y="474"/>
                    </a:moveTo>
                    <a:lnTo>
                      <a:pt x="519" y="474"/>
                    </a:lnTo>
                    <a:lnTo>
                      <a:pt x="517" y="474"/>
                    </a:lnTo>
                    <a:close/>
                    <a:moveTo>
                      <a:pt x="515" y="471"/>
                    </a:moveTo>
                    <a:lnTo>
                      <a:pt x="515" y="473"/>
                    </a:lnTo>
                    <a:lnTo>
                      <a:pt x="515" y="471"/>
                    </a:lnTo>
                    <a:close/>
                    <a:moveTo>
                      <a:pt x="513" y="476"/>
                    </a:moveTo>
                    <a:lnTo>
                      <a:pt x="515" y="476"/>
                    </a:lnTo>
                    <a:lnTo>
                      <a:pt x="513" y="476"/>
                    </a:lnTo>
                    <a:close/>
                    <a:moveTo>
                      <a:pt x="209" y="1473"/>
                    </a:moveTo>
                    <a:lnTo>
                      <a:pt x="209" y="1475"/>
                    </a:lnTo>
                    <a:lnTo>
                      <a:pt x="209" y="1473"/>
                    </a:lnTo>
                    <a:close/>
                    <a:moveTo>
                      <a:pt x="388" y="721"/>
                    </a:moveTo>
                    <a:lnTo>
                      <a:pt x="389" y="721"/>
                    </a:lnTo>
                    <a:lnTo>
                      <a:pt x="389" y="723"/>
                    </a:lnTo>
                    <a:lnTo>
                      <a:pt x="388" y="723"/>
                    </a:lnTo>
                    <a:lnTo>
                      <a:pt x="388" y="721"/>
                    </a:lnTo>
                    <a:close/>
                    <a:moveTo>
                      <a:pt x="384" y="677"/>
                    </a:moveTo>
                    <a:lnTo>
                      <a:pt x="386" y="677"/>
                    </a:lnTo>
                    <a:lnTo>
                      <a:pt x="384" y="677"/>
                    </a:lnTo>
                    <a:close/>
                    <a:moveTo>
                      <a:pt x="394" y="680"/>
                    </a:moveTo>
                    <a:lnTo>
                      <a:pt x="394" y="682"/>
                    </a:lnTo>
                    <a:lnTo>
                      <a:pt x="394" y="680"/>
                    </a:lnTo>
                    <a:close/>
                    <a:moveTo>
                      <a:pt x="512" y="464"/>
                    </a:moveTo>
                    <a:lnTo>
                      <a:pt x="512" y="466"/>
                    </a:lnTo>
                    <a:lnTo>
                      <a:pt x="512" y="46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2" name="Freeform 12">
                <a:extLst>
                  <a:ext uri="{FF2B5EF4-FFF2-40B4-BE49-F238E27FC236}">
                    <a16:creationId xmlns:a16="http://schemas.microsoft.com/office/drawing/2014/main" id="{D0CA2042-1D74-2124-C35A-4E189A90A6EC}"/>
                  </a:ext>
                </a:extLst>
              </p:cNvPr>
              <p:cNvSpPr>
                <a:spLocks noEditPoints="1"/>
              </p:cNvSpPr>
              <p:nvPr/>
            </p:nvSpPr>
            <p:spPr bwMode="auto">
              <a:xfrm>
                <a:off x="5683575" y="2820535"/>
                <a:ext cx="2056" cy="2056"/>
              </a:xfrm>
              <a:custGeom>
                <a:avLst/>
                <a:gdLst>
                  <a:gd name="T0" fmla="*/ 0 w 7"/>
                  <a:gd name="T1" fmla="*/ 0 h 7"/>
                  <a:gd name="T2" fmla="*/ 2 w 7"/>
                  <a:gd name="T3" fmla="*/ 0 h 7"/>
                  <a:gd name="T4" fmla="*/ 2 w 7"/>
                  <a:gd name="T5" fmla="*/ 2 h 7"/>
                  <a:gd name="T6" fmla="*/ 3 w 7"/>
                  <a:gd name="T7" fmla="*/ 2 h 7"/>
                  <a:gd name="T8" fmla="*/ 3 w 7"/>
                  <a:gd name="T9" fmla="*/ 3 h 7"/>
                  <a:gd name="T10" fmla="*/ 5 w 7"/>
                  <a:gd name="T11" fmla="*/ 3 h 7"/>
                  <a:gd name="T12" fmla="*/ 5 w 7"/>
                  <a:gd name="T13" fmla="*/ 5 h 7"/>
                  <a:gd name="T14" fmla="*/ 7 w 7"/>
                  <a:gd name="T15" fmla="*/ 5 h 7"/>
                  <a:gd name="T16" fmla="*/ 7 w 7"/>
                  <a:gd name="T17" fmla="*/ 7 h 7"/>
                  <a:gd name="T18" fmla="*/ 5 w 7"/>
                  <a:gd name="T19" fmla="*/ 7 h 7"/>
                  <a:gd name="T20" fmla="*/ 3 w 7"/>
                  <a:gd name="T21" fmla="*/ 7 h 7"/>
                  <a:gd name="T22" fmla="*/ 3 w 7"/>
                  <a:gd name="T23" fmla="*/ 5 h 7"/>
                  <a:gd name="T24" fmla="*/ 2 w 7"/>
                  <a:gd name="T25" fmla="*/ 5 h 7"/>
                  <a:gd name="T26" fmla="*/ 2 w 7"/>
                  <a:gd name="T27" fmla="*/ 3 h 7"/>
                  <a:gd name="T28" fmla="*/ 0 w 7"/>
                  <a:gd name="T29" fmla="*/ 3 h 7"/>
                  <a:gd name="T30" fmla="*/ 0 w 7"/>
                  <a:gd name="T31" fmla="*/ 2 h 7"/>
                  <a:gd name="T32" fmla="*/ 0 w 7"/>
                  <a:gd name="T33" fmla="*/ 0 h 7"/>
                  <a:gd name="T34" fmla="*/ 2 w 7"/>
                  <a:gd name="T35" fmla="*/ 5 h 7"/>
                  <a:gd name="T36" fmla="*/ 3 w 7"/>
                  <a:gd name="T37" fmla="*/ 5 h 7"/>
                  <a:gd name="T38" fmla="*/ 2 w 7"/>
                  <a:gd name="T3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 h="7">
                    <a:moveTo>
                      <a:pt x="0" y="0"/>
                    </a:moveTo>
                    <a:lnTo>
                      <a:pt x="2" y="0"/>
                    </a:lnTo>
                    <a:lnTo>
                      <a:pt x="2" y="2"/>
                    </a:lnTo>
                    <a:lnTo>
                      <a:pt x="3" y="2"/>
                    </a:lnTo>
                    <a:lnTo>
                      <a:pt x="3" y="3"/>
                    </a:lnTo>
                    <a:lnTo>
                      <a:pt x="5" y="3"/>
                    </a:lnTo>
                    <a:lnTo>
                      <a:pt x="5" y="5"/>
                    </a:lnTo>
                    <a:lnTo>
                      <a:pt x="7" y="5"/>
                    </a:lnTo>
                    <a:lnTo>
                      <a:pt x="7" y="7"/>
                    </a:lnTo>
                    <a:lnTo>
                      <a:pt x="5" y="7"/>
                    </a:lnTo>
                    <a:lnTo>
                      <a:pt x="3" y="7"/>
                    </a:lnTo>
                    <a:lnTo>
                      <a:pt x="3" y="5"/>
                    </a:lnTo>
                    <a:lnTo>
                      <a:pt x="2" y="5"/>
                    </a:lnTo>
                    <a:lnTo>
                      <a:pt x="2" y="3"/>
                    </a:lnTo>
                    <a:lnTo>
                      <a:pt x="0" y="3"/>
                    </a:lnTo>
                    <a:lnTo>
                      <a:pt x="0" y="2"/>
                    </a:lnTo>
                    <a:lnTo>
                      <a:pt x="0" y="0"/>
                    </a:lnTo>
                    <a:close/>
                    <a:moveTo>
                      <a:pt x="2" y="5"/>
                    </a:moveTo>
                    <a:lnTo>
                      <a:pt x="3" y="5"/>
                    </a:lnTo>
                    <a:lnTo>
                      <a:pt x="2" y="5"/>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4" name="Freeform 14">
                <a:extLst>
                  <a:ext uri="{FF2B5EF4-FFF2-40B4-BE49-F238E27FC236}">
                    <a16:creationId xmlns:a16="http://schemas.microsoft.com/office/drawing/2014/main" id="{EE4B53D8-7570-EF59-47F0-6E1A39F2832D}"/>
                  </a:ext>
                </a:extLst>
              </p:cNvPr>
              <p:cNvSpPr>
                <a:spLocks/>
              </p:cNvSpPr>
              <p:nvPr/>
            </p:nvSpPr>
            <p:spPr bwMode="auto">
              <a:xfrm>
                <a:off x="5786963" y="2813485"/>
                <a:ext cx="2056" cy="2644"/>
              </a:xfrm>
              <a:custGeom>
                <a:avLst/>
                <a:gdLst>
                  <a:gd name="T0" fmla="*/ 2 w 7"/>
                  <a:gd name="T1" fmla="*/ 0 h 9"/>
                  <a:gd name="T2" fmla="*/ 2 w 7"/>
                  <a:gd name="T3" fmla="*/ 2 h 9"/>
                  <a:gd name="T4" fmla="*/ 3 w 7"/>
                  <a:gd name="T5" fmla="*/ 2 h 9"/>
                  <a:gd name="T6" fmla="*/ 3 w 7"/>
                  <a:gd name="T7" fmla="*/ 4 h 9"/>
                  <a:gd name="T8" fmla="*/ 5 w 7"/>
                  <a:gd name="T9" fmla="*/ 4 h 9"/>
                  <a:gd name="T10" fmla="*/ 5 w 7"/>
                  <a:gd name="T11" fmla="*/ 5 h 9"/>
                  <a:gd name="T12" fmla="*/ 7 w 7"/>
                  <a:gd name="T13" fmla="*/ 5 h 9"/>
                  <a:gd name="T14" fmla="*/ 7 w 7"/>
                  <a:gd name="T15" fmla="*/ 7 h 9"/>
                  <a:gd name="T16" fmla="*/ 7 w 7"/>
                  <a:gd name="T17" fmla="*/ 9 h 9"/>
                  <a:gd name="T18" fmla="*/ 5 w 7"/>
                  <a:gd name="T19" fmla="*/ 9 h 9"/>
                  <a:gd name="T20" fmla="*/ 3 w 7"/>
                  <a:gd name="T21" fmla="*/ 9 h 9"/>
                  <a:gd name="T22" fmla="*/ 2 w 7"/>
                  <a:gd name="T23" fmla="*/ 9 h 9"/>
                  <a:gd name="T24" fmla="*/ 0 w 7"/>
                  <a:gd name="T25" fmla="*/ 7 h 9"/>
                  <a:gd name="T26" fmla="*/ 0 w 7"/>
                  <a:gd name="T27" fmla="*/ 5 h 9"/>
                  <a:gd name="T28" fmla="*/ 0 w 7"/>
                  <a:gd name="T29" fmla="*/ 4 h 9"/>
                  <a:gd name="T30" fmla="*/ 0 w 7"/>
                  <a:gd name="T31" fmla="*/ 2 h 9"/>
                  <a:gd name="T32" fmla="*/ 0 w 7"/>
                  <a:gd name="T33" fmla="*/ 0 h 9"/>
                  <a:gd name="T34" fmla="*/ 2 w 7"/>
                  <a:gd name="T3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9">
                    <a:moveTo>
                      <a:pt x="2" y="0"/>
                    </a:moveTo>
                    <a:lnTo>
                      <a:pt x="2" y="2"/>
                    </a:lnTo>
                    <a:lnTo>
                      <a:pt x="3" y="2"/>
                    </a:lnTo>
                    <a:lnTo>
                      <a:pt x="3" y="4"/>
                    </a:lnTo>
                    <a:lnTo>
                      <a:pt x="5" y="4"/>
                    </a:lnTo>
                    <a:lnTo>
                      <a:pt x="5" y="5"/>
                    </a:lnTo>
                    <a:lnTo>
                      <a:pt x="7" y="5"/>
                    </a:lnTo>
                    <a:lnTo>
                      <a:pt x="7" y="7"/>
                    </a:lnTo>
                    <a:lnTo>
                      <a:pt x="7" y="9"/>
                    </a:lnTo>
                    <a:lnTo>
                      <a:pt x="5" y="9"/>
                    </a:lnTo>
                    <a:lnTo>
                      <a:pt x="3" y="9"/>
                    </a:lnTo>
                    <a:lnTo>
                      <a:pt x="2" y="9"/>
                    </a:lnTo>
                    <a:lnTo>
                      <a:pt x="0" y="7"/>
                    </a:lnTo>
                    <a:lnTo>
                      <a:pt x="0" y="5"/>
                    </a:lnTo>
                    <a:lnTo>
                      <a:pt x="0" y="4"/>
                    </a:lnTo>
                    <a:lnTo>
                      <a:pt x="0" y="2"/>
                    </a:lnTo>
                    <a:lnTo>
                      <a:pt x="0" y="0"/>
                    </a:lnTo>
                    <a:lnTo>
                      <a:pt x="2"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 name="Freeform 16">
                <a:extLst>
                  <a:ext uri="{FF2B5EF4-FFF2-40B4-BE49-F238E27FC236}">
                    <a16:creationId xmlns:a16="http://schemas.microsoft.com/office/drawing/2014/main" id="{57A9C2A5-739D-4E9A-26A2-CF3307E8F913}"/>
                  </a:ext>
                </a:extLst>
              </p:cNvPr>
              <p:cNvSpPr>
                <a:spLocks/>
              </p:cNvSpPr>
              <p:nvPr/>
            </p:nvSpPr>
            <p:spPr bwMode="auto">
              <a:xfrm>
                <a:off x="5687688" y="3043466"/>
                <a:ext cx="120719" cy="136874"/>
              </a:xfrm>
              <a:custGeom>
                <a:avLst/>
                <a:gdLst>
                  <a:gd name="T0" fmla="*/ 306 w 411"/>
                  <a:gd name="T1" fmla="*/ 342 h 466"/>
                  <a:gd name="T2" fmla="*/ 231 w 411"/>
                  <a:gd name="T3" fmla="*/ 435 h 466"/>
                  <a:gd name="T4" fmla="*/ 188 w 411"/>
                  <a:gd name="T5" fmla="*/ 444 h 466"/>
                  <a:gd name="T6" fmla="*/ 182 w 411"/>
                  <a:gd name="T7" fmla="*/ 464 h 466"/>
                  <a:gd name="T8" fmla="*/ 175 w 411"/>
                  <a:gd name="T9" fmla="*/ 450 h 466"/>
                  <a:gd name="T10" fmla="*/ 156 w 411"/>
                  <a:gd name="T11" fmla="*/ 435 h 466"/>
                  <a:gd name="T12" fmla="*/ 125 w 411"/>
                  <a:gd name="T13" fmla="*/ 430 h 466"/>
                  <a:gd name="T14" fmla="*/ 112 w 411"/>
                  <a:gd name="T15" fmla="*/ 437 h 466"/>
                  <a:gd name="T16" fmla="*/ 85 w 411"/>
                  <a:gd name="T17" fmla="*/ 459 h 466"/>
                  <a:gd name="T18" fmla="*/ 59 w 411"/>
                  <a:gd name="T19" fmla="*/ 452 h 466"/>
                  <a:gd name="T20" fmla="*/ 54 w 411"/>
                  <a:gd name="T21" fmla="*/ 427 h 466"/>
                  <a:gd name="T22" fmla="*/ 42 w 411"/>
                  <a:gd name="T23" fmla="*/ 394 h 466"/>
                  <a:gd name="T24" fmla="*/ 32 w 411"/>
                  <a:gd name="T25" fmla="*/ 379 h 466"/>
                  <a:gd name="T26" fmla="*/ 37 w 411"/>
                  <a:gd name="T27" fmla="*/ 362 h 466"/>
                  <a:gd name="T28" fmla="*/ 37 w 411"/>
                  <a:gd name="T29" fmla="*/ 347 h 466"/>
                  <a:gd name="T30" fmla="*/ 29 w 411"/>
                  <a:gd name="T31" fmla="*/ 328 h 466"/>
                  <a:gd name="T32" fmla="*/ 22 w 411"/>
                  <a:gd name="T33" fmla="*/ 308 h 466"/>
                  <a:gd name="T34" fmla="*/ 18 w 411"/>
                  <a:gd name="T35" fmla="*/ 290 h 466"/>
                  <a:gd name="T36" fmla="*/ 6 w 411"/>
                  <a:gd name="T37" fmla="*/ 267 h 466"/>
                  <a:gd name="T38" fmla="*/ 10 w 411"/>
                  <a:gd name="T39" fmla="*/ 253 h 466"/>
                  <a:gd name="T40" fmla="*/ 22 w 411"/>
                  <a:gd name="T41" fmla="*/ 234 h 466"/>
                  <a:gd name="T42" fmla="*/ 12 w 411"/>
                  <a:gd name="T43" fmla="*/ 200 h 466"/>
                  <a:gd name="T44" fmla="*/ 13 w 411"/>
                  <a:gd name="T45" fmla="*/ 188 h 466"/>
                  <a:gd name="T46" fmla="*/ 15 w 411"/>
                  <a:gd name="T47" fmla="*/ 168 h 466"/>
                  <a:gd name="T48" fmla="*/ 27 w 411"/>
                  <a:gd name="T49" fmla="*/ 154 h 466"/>
                  <a:gd name="T50" fmla="*/ 23 w 411"/>
                  <a:gd name="T51" fmla="*/ 136 h 466"/>
                  <a:gd name="T52" fmla="*/ 27 w 411"/>
                  <a:gd name="T53" fmla="*/ 114 h 466"/>
                  <a:gd name="T54" fmla="*/ 32 w 411"/>
                  <a:gd name="T55" fmla="*/ 100 h 466"/>
                  <a:gd name="T56" fmla="*/ 18 w 411"/>
                  <a:gd name="T57" fmla="*/ 68 h 466"/>
                  <a:gd name="T58" fmla="*/ 6 w 411"/>
                  <a:gd name="T59" fmla="*/ 42 h 466"/>
                  <a:gd name="T60" fmla="*/ 23 w 411"/>
                  <a:gd name="T61" fmla="*/ 44 h 466"/>
                  <a:gd name="T62" fmla="*/ 39 w 411"/>
                  <a:gd name="T63" fmla="*/ 46 h 466"/>
                  <a:gd name="T64" fmla="*/ 54 w 411"/>
                  <a:gd name="T65" fmla="*/ 34 h 466"/>
                  <a:gd name="T66" fmla="*/ 71 w 411"/>
                  <a:gd name="T67" fmla="*/ 27 h 466"/>
                  <a:gd name="T68" fmla="*/ 86 w 411"/>
                  <a:gd name="T69" fmla="*/ 20 h 466"/>
                  <a:gd name="T70" fmla="*/ 103 w 411"/>
                  <a:gd name="T71" fmla="*/ 6 h 466"/>
                  <a:gd name="T72" fmla="*/ 120 w 411"/>
                  <a:gd name="T73" fmla="*/ 3 h 466"/>
                  <a:gd name="T74" fmla="*/ 132 w 411"/>
                  <a:gd name="T75" fmla="*/ 3 h 466"/>
                  <a:gd name="T76" fmla="*/ 141 w 411"/>
                  <a:gd name="T77" fmla="*/ 3 h 466"/>
                  <a:gd name="T78" fmla="*/ 148 w 411"/>
                  <a:gd name="T79" fmla="*/ 13 h 466"/>
                  <a:gd name="T80" fmla="*/ 146 w 411"/>
                  <a:gd name="T81" fmla="*/ 34 h 466"/>
                  <a:gd name="T82" fmla="*/ 146 w 411"/>
                  <a:gd name="T83" fmla="*/ 54 h 466"/>
                  <a:gd name="T84" fmla="*/ 154 w 411"/>
                  <a:gd name="T85" fmla="*/ 69 h 466"/>
                  <a:gd name="T86" fmla="*/ 166 w 411"/>
                  <a:gd name="T87" fmla="*/ 85 h 466"/>
                  <a:gd name="T88" fmla="*/ 175 w 411"/>
                  <a:gd name="T89" fmla="*/ 93 h 466"/>
                  <a:gd name="T90" fmla="*/ 193 w 411"/>
                  <a:gd name="T91" fmla="*/ 97 h 466"/>
                  <a:gd name="T92" fmla="*/ 212 w 411"/>
                  <a:gd name="T93" fmla="*/ 102 h 466"/>
                  <a:gd name="T94" fmla="*/ 226 w 411"/>
                  <a:gd name="T95" fmla="*/ 108 h 466"/>
                  <a:gd name="T96" fmla="*/ 241 w 411"/>
                  <a:gd name="T97" fmla="*/ 117 h 466"/>
                  <a:gd name="T98" fmla="*/ 255 w 411"/>
                  <a:gd name="T99" fmla="*/ 119 h 466"/>
                  <a:gd name="T100" fmla="*/ 268 w 411"/>
                  <a:gd name="T101" fmla="*/ 132 h 466"/>
                  <a:gd name="T102" fmla="*/ 285 w 411"/>
                  <a:gd name="T103" fmla="*/ 132 h 466"/>
                  <a:gd name="T104" fmla="*/ 301 w 411"/>
                  <a:gd name="T105" fmla="*/ 137 h 466"/>
                  <a:gd name="T106" fmla="*/ 309 w 411"/>
                  <a:gd name="T107" fmla="*/ 144 h 466"/>
                  <a:gd name="T108" fmla="*/ 312 w 411"/>
                  <a:gd name="T109" fmla="*/ 165 h 466"/>
                  <a:gd name="T110" fmla="*/ 306 w 411"/>
                  <a:gd name="T111" fmla="*/ 187 h 466"/>
                  <a:gd name="T112" fmla="*/ 343 w 411"/>
                  <a:gd name="T113" fmla="*/ 228 h 466"/>
                  <a:gd name="T114" fmla="*/ 380 w 411"/>
                  <a:gd name="T115" fmla="*/ 233 h 466"/>
                  <a:gd name="T116" fmla="*/ 379 w 411"/>
                  <a:gd name="T117" fmla="*/ 256 h 466"/>
                  <a:gd name="T118" fmla="*/ 396 w 411"/>
                  <a:gd name="T119" fmla="*/ 272 h 466"/>
                  <a:gd name="T120" fmla="*/ 408 w 411"/>
                  <a:gd name="T121" fmla="*/ 294 h 466"/>
                  <a:gd name="T122" fmla="*/ 403 w 411"/>
                  <a:gd name="T123" fmla="*/ 325 h 466"/>
                  <a:gd name="T124" fmla="*/ 392 w 411"/>
                  <a:gd name="T125" fmla="*/ 36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1" h="466">
                    <a:moveTo>
                      <a:pt x="387" y="367"/>
                    </a:moveTo>
                    <a:lnTo>
                      <a:pt x="387" y="365"/>
                    </a:lnTo>
                    <a:lnTo>
                      <a:pt x="389" y="365"/>
                    </a:lnTo>
                    <a:lnTo>
                      <a:pt x="389" y="364"/>
                    </a:lnTo>
                    <a:lnTo>
                      <a:pt x="387" y="364"/>
                    </a:lnTo>
                    <a:lnTo>
                      <a:pt x="387" y="362"/>
                    </a:lnTo>
                    <a:lnTo>
                      <a:pt x="387" y="360"/>
                    </a:lnTo>
                    <a:lnTo>
                      <a:pt x="387" y="359"/>
                    </a:lnTo>
                    <a:lnTo>
                      <a:pt x="386" y="359"/>
                    </a:lnTo>
                    <a:lnTo>
                      <a:pt x="387" y="359"/>
                    </a:lnTo>
                    <a:lnTo>
                      <a:pt x="387" y="357"/>
                    </a:lnTo>
                    <a:lnTo>
                      <a:pt x="386" y="357"/>
                    </a:lnTo>
                    <a:lnTo>
                      <a:pt x="387" y="355"/>
                    </a:lnTo>
                    <a:lnTo>
                      <a:pt x="379" y="348"/>
                    </a:lnTo>
                    <a:lnTo>
                      <a:pt x="375" y="347"/>
                    </a:lnTo>
                    <a:lnTo>
                      <a:pt x="358" y="335"/>
                    </a:lnTo>
                    <a:lnTo>
                      <a:pt x="326" y="335"/>
                    </a:lnTo>
                    <a:lnTo>
                      <a:pt x="306" y="342"/>
                    </a:lnTo>
                    <a:lnTo>
                      <a:pt x="268" y="348"/>
                    </a:lnTo>
                    <a:lnTo>
                      <a:pt x="267" y="348"/>
                    </a:lnTo>
                    <a:lnTo>
                      <a:pt x="261" y="362"/>
                    </a:lnTo>
                    <a:lnTo>
                      <a:pt x="261" y="364"/>
                    </a:lnTo>
                    <a:lnTo>
                      <a:pt x="251" y="377"/>
                    </a:lnTo>
                    <a:lnTo>
                      <a:pt x="250" y="381"/>
                    </a:lnTo>
                    <a:lnTo>
                      <a:pt x="250" y="396"/>
                    </a:lnTo>
                    <a:lnTo>
                      <a:pt x="250" y="399"/>
                    </a:lnTo>
                    <a:lnTo>
                      <a:pt x="243" y="421"/>
                    </a:lnTo>
                    <a:lnTo>
                      <a:pt x="239" y="430"/>
                    </a:lnTo>
                    <a:lnTo>
                      <a:pt x="236" y="442"/>
                    </a:lnTo>
                    <a:lnTo>
                      <a:pt x="236" y="440"/>
                    </a:lnTo>
                    <a:lnTo>
                      <a:pt x="234" y="440"/>
                    </a:lnTo>
                    <a:lnTo>
                      <a:pt x="234" y="438"/>
                    </a:lnTo>
                    <a:lnTo>
                      <a:pt x="233" y="438"/>
                    </a:lnTo>
                    <a:lnTo>
                      <a:pt x="231" y="438"/>
                    </a:lnTo>
                    <a:lnTo>
                      <a:pt x="231" y="437"/>
                    </a:lnTo>
                    <a:lnTo>
                      <a:pt x="231" y="435"/>
                    </a:lnTo>
                    <a:lnTo>
                      <a:pt x="231" y="433"/>
                    </a:lnTo>
                    <a:lnTo>
                      <a:pt x="221" y="433"/>
                    </a:lnTo>
                    <a:lnTo>
                      <a:pt x="202" y="433"/>
                    </a:lnTo>
                    <a:lnTo>
                      <a:pt x="202" y="435"/>
                    </a:lnTo>
                    <a:lnTo>
                      <a:pt x="202" y="433"/>
                    </a:lnTo>
                    <a:lnTo>
                      <a:pt x="200" y="433"/>
                    </a:lnTo>
                    <a:lnTo>
                      <a:pt x="199" y="433"/>
                    </a:lnTo>
                    <a:lnTo>
                      <a:pt x="193" y="433"/>
                    </a:lnTo>
                    <a:lnTo>
                      <a:pt x="192" y="433"/>
                    </a:lnTo>
                    <a:lnTo>
                      <a:pt x="192" y="435"/>
                    </a:lnTo>
                    <a:lnTo>
                      <a:pt x="192" y="437"/>
                    </a:lnTo>
                    <a:lnTo>
                      <a:pt x="190" y="437"/>
                    </a:lnTo>
                    <a:lnTo>
                      <a:pt x="192" y="437"/>
                    </a:lnTo>
                    <a:lnTo>
                      <a:pt x="190" y="438"/>
                    </a:lnTo>
                    <a:lnTo>
                      <a:pt x="190" y="440"/>
                    </a:lnTo>
                    <a:lnTo>
                      <a:pt x="190" y="442"/>
                    </a:lnTo>
                    <a:lnTo>
                      <a:pt x="188" y="442"/>
                    </a:lnTo>
                    <a:lnTo>
                      <a:pt x="188" y="444"/>
                    </a:lnTo>
                    <a:lnTo>
                      <a:pt x="187" y="445"/>
                    </a:lnTo>
                    <a:lnTo>
                      <a:pt x="187" y="447"/>
                    </a:lnTo>
                    <a:lnTo>
                      <a:pt x="187" y="449"/>
                    </a:lnTo>
                    <a:lnTo>
                      <a:pt x="185" y="449"/>
                    </a:lnTo>
                    <a:lnTo>
                      <a:pt x="185" y="450"/>
                    </a:lnTo>
                    <a:lnTo>
                      <a:pt x="183" y="450"/>
                    </a:lnTo>
                    <a:lnTo>
                      <a:pt x="183" y="452"/>
                    </a:lnTo>
                    <a:lnTo>
                      <a:pt x="183" y="454"/>
                    </a:lnTo>
                    <a:lnTo>
                      <a:pt x="182" y="454"/>
                    </a:lnTo>
                    <a:lnTo>
                      <a:pt x="183" y="454"/>
                    </a:lnTo>
                    <a:lnTo>
                      <a:pt x="183" y="456"/>
                    </a:lnTo>
                    <a:lnTo>
                      <a:pt x="182" y="456"/>
                    </a:lnTo>
                    <a:lnTo>
                      <a:pt x="182" y="457"/>
                    </a:lnTo>
                    <a:lnTo>
                      <a:pt x="182" y="459"/>
                    </a:lnTo>
                    <a:lnTo>
                      <a:pt x="182" y="461"/>
                    </a:lnTo>
                    <a:lnTo>
                      <a:pt x="182" y="462"/>
                    </a:lnTo>
                    <a:lnTo>
                      <a:pt x="180" y="464"/>
                    </a:lnTo>
                    <a:lnTo>
                      <a:pt x="182" y="464"/>
                    </a:lnTo>
                    <a:lnTo>
                      <a:pt x="180" y="464"/>
                    </a:lnTo>
                    <a:lnTo>
                      <a:pt x="180" y="466"/>
                    </a:lnTo>
                    <a:lnTo>
                      <a:pt x="180" y="464"/>
                    </a:lnTo>
                    <a:lnTo>
                      <a:pt x="180" y="462"/>
                    </a:lnTo>
                    <a:lnTo>
                      <a:pt x="178" y="462"/>
                    </a:lnTo>
                    <a:lnTo>
                      <a:pt x="180" y="462"/>
                    </a:lnTo>
                    <a:lnTo>
                      <a:pt x="180" y="461"/>
                    </a:lnTo>
                    <a:lnTo>
                      <a:pt x="178" y="459"/>
                    </a:lnTo>
                    <a:lnTo>
                      <a:pt x="176" y="459"/>
                    </a:lnTo>
                    <a:lnTo>
                      <a:pt x="178" y="459"/>
                    </a:lnTo>
                    <a:lnTo>
                      <a:pt x="178" y="457"/>
                    </a:lnTo>
                    <a:lnTo>
                      <a:pt x="176" y="457"/>
                    </a:lnTo>
                    <a:lnTo>
                      <a:pt x="176" y="456"/>
                    </a:lnTo>
                    <a:lnTo>
                      <a:pt x="176" y="454"/>
                    </a:lnTo>
                    <a:lnTo>
                      <a:pt x="176" y="452"/>
                    </a:lnTo>
                    <a:lnTo>
                      <a:pt x="175" y="452"/>
                    </a:lnTo>
                    <a:lnTo>
                      <a:pt x="176" y="450"/>
                    </a:lnTo>
                    <a:lnTo>
                      <a:pt x="175" y="450"/>
                    </a:lnTo>
                    <a:lnTo>
                      <a:pt x="175" y="449"/>
                    </a:lnTo>
                    <a:lnTo>
                      <a:pt x="173" y="449"/>
                    </a:lnTo>
                    <a:lnTo>
                      <a:pt x="173" y="447"/>
                    </a:lnTo>
                    <a:lnTo>
                      <a:pt x="171" y="447"/>
                    </a:lnTo>
                    <a:lnTo>
                      <a:pt x="171" y="445"/>
                    </a:lnTo>
                    <a:lnTo>
                      <a:pt x="173" y="444"/>
                    </a:lnTo>
                    <a:lnTo>
                      <a:pt x="173" y="442"/>
                    </a:lnTo>
                    <a:lnTo>
                      <a:pt x="171" y="442"/>
                    </a:lnTo>
                    <a:lnTo>
                      <a:pt x="170" y="440"/>
                    </a:lnTo>
                    <a:lnTo>
                      <a:pt x="168" y="440"/>
                    </a:lnTo>
                    <a:lnTo>
                      <a:pt x="166" y="440"/>
                    </a:lnTo>
                    <a:lnTo>
                      <a:pt x="165" y="438"/>
                    </a:lnTo>
                    <a:lnTo>
                      <a:pt x="163" y="438"/>
                    </a:lnTo>
                    <a:lnTo>
                      <a:pt x="161" y="437"/>
                    </a:lnTo>
                    <a:lnTo>
                      <a:pt x="159" y="437"/>
                    </a:lnTo>
                    <a:lnTo>
                      <a:pt x="158" y="437"/>
                    </a:lnTo>
                    <a:lnTo>
                      <a:pt x="158" y="435"/>
                    </a:lnTo>
                    <a:lnTo>
                      <a:pt x="156" y="435"/>
                    </a:lnTo>
                    <a:lnTo>
                      <a:pt x="154" y="435"/>
                    </a:lnTo>
                    <a:lnTo>
                      <a:pt x="151" y="435"/>
                    </a:lnTo>
                    <a:lnTo>
                      <a:pt x="148" y="437"/>
                    </a:lnTo>
                    <a:lnTo>
                      <a:pt x="148" y="435"/>
                    </a:lnTo>
                    <a:lnTo>
                      <a:pt x="148" y="437"/>
                    </a:lnTo>
                    <a:lnTo>
                      <a:pt x="144" y="437"/>
                    </a:lnTo>
                    <a:lnTo>
                      <a:pt x="142" y="437"/>
                    </a:lnTo>
                    <a:lnTo>
                      <a:pt x="141" y="437"/>
                    </a:lnTo>
                    <a:lnTo>
                      <a:pt x="137" y="435"/>
                    </a:lnTo>
                    <a:lnTo>
                      <a:pt x="137" y="437"/>
                    </a:lnTo>
                    <a:lnTo>
                      <a:pt x="136" y="437"/>
                    </a:lnTo>
                    <a:lnTo>
                      <a:pt x="134" y="437"/>
                    </a:lnTo>
                    <a:lnTo>
                      <a:pt x="132" y="437"/>
                    </a:lnTo>
                    <a:lnTo>
                      <a:pt x="131" y="437"/>
                    </a:lnTo>
                    <a:lnTo>
                      <a:pt x="131" y="435"/>
                    </a:lnTo>
                    <a:lnTo>
                      <a:pt x="129" y="435"/>
                    </a:lnTo>
                    <a:lnTo>
                      <a:pt x="127" y="433"/>
                    </a:lnTo>
                    <a:lnTo>
                      <a:pt x="125" y="430"/>
                    </a:lnTo>
                    <a:lnTo>
                      <a:pt x="124" y="430"/>
                    </a:lnTo>
                    <a:lnTo>
                      <a:pt x="122" y="430"/>
                    </a:lnTo>
                    <a:lnTo>
                      <a:pt x="122" y="428"/>
                    </a:lnTo>
                    <a:lnTo>
                      <a:pt x="120" y="427"/>
                    </a:lnTo>
                    <a:lnTo>
                      <a:pt x="119" y="427"/>
                    </a:lnTo>
                    <a:lnTo>
                      <a:pt x="117" y="425"/>
                    </a:lnTo>
                    <a:lnTo>
                      <a:pt x="115" y="425"/>
                    </a:lnTo>
                    <a:lnTo>
                      <a:pt x="115" y="427"/>
                    </a:lnTo>
                    <a:lnTo>
                      <a:pt x="115" y="428"/>
                    </a:lnTo>
                    <a:lnTo>
                      <a:pt x="115" y="430"/>
                    </a:lnTo>
                    <a:lnTo>
                      <a:pt x="114" y="430"/>
                    </a:lnTo>
                    <a:lnTo>
                      <a:pt x="115" y="430"/>
                    </a:lnTo>
                    <a:lnTo>
                      <a:pt x="114" y="430"/>
                    </a:lnTo>
                    <a:lnTo>
                      <a:pt x="114" y="432"/>
                    </a:lnTo>
                    <a:lnTo>
                      <a:pt x="114" y="433"/>
                    </a:lnTo>
                    <a:lnTo>
                      <a:pt x="114" y="435"/>
                    </a:lnTo>
                    <a:lnTo>
                      <a:pt x="114" y="437"/>
                    </a:lnTo>
                    <a:lnTo>
                      <a:pt x="112" y="437"/>
                    </a:lnTo>
                    <a:lnTo>
                      <a:pt x="108" y="438"/>
                    </a:lnTo>
                    <a:lnTo>
                      <a:pt x="102" y="440"/>
                    </a:lnTo>
                    <a:lnTo>
                      <a:pt x="100" y="440"/>
                    </a:lnTo>
                    <a:lnTo>
                      <a:pt x="98" y="442"/>
                    </a:lnTo>
                    <a:lnTo>
                      <a:pt x="98" y="444"/>
                    </a:lnTo>
                    <a:lnTo>
                      <a:pt x="98" y="445"/>
                    </a:lnTo>
                    <a:lnTo>
                      <a:pt x="97" y="445"/>
                    </a:lnTo>
                    <a:lnTo>
                      <a:pt x="97" y="447"/>
                    </a:lnTo>
                    <a:lnTo>
                      <a:pt x="97" y="449"/>
                    </a:lnTo>
                    <a:lnTo>
                      <a:pt x="93" y="450"/>
                    </a:lnTo>
                    <a:lnTo>
                      <a:pt x="91" y="450"/>
                    </a:lnTo>
                    <a:lnTo>
                      <a:pt x="90" y="452"/>
                    </a:lnTo>
                    <a:lnTo>
                      <a:pt x="88" y="452"/>
                    </a:lnTo>
                    <a:lnTo>
                      <a:pt x="88" y="454"/>
                    </a:lnTo>
                    <a:lnTo>
                      <a:pt x="88" y="456"/>
                    </a:lnTo>
                    <a:lnTo>
                      <a:pt x="90" y="456"/>
                    </a:lnTo>
                    <a:lnTo>
                      <a:pt x="90" y="457"/>
                    </a:lnTo>
                    <a:lnTo>
                      <a:pt x="85" y="459"/>
                    </a:lnTo>
                    <a:lnTo>
                      <a:pt x="83" y="462"/>
                    </a:lnTo>
                    <a:lnTo>
                      <a:pt x="73" y="466"/>
                    </a:lnTo>
                    <a:lnTo>
                      <a:pt x="71" y="466"/>
                    </a:lnTo>
                    <a:lnTo>
                      <a:pt x="63" y="464"/>
                    </a:lnTo>
                    <a:lnTo>
                      <a:pt x="61" y="464"/>
                    </a:lnTo>
                    <a:lnTo>
                      <a:pt x="59" y="464"/>
                    </a:lnTo>
                    <a:lnTo>
                      <a:pt x="59" y="462"/>
                    </a:lnTo>
                    <a:lnTo>
                      <a:pt x="61" y="461"/>
                    </a:lnTo>
                    <a:lnTo>
                      <a:pt x="59" y="461"/>
                    </a:lnTo>
                    <a:lnTo>
                      <a:pt x="61" y="461"/>
                    </a:lnTo>
                    <a:lnTo>
                      <a:pt x="59" y="459"/>
                    </a:lnTo>
                    <a:lnTo>
                      <a:pt x="61" y="457"/>
                    </a:lnTo>
                    <a:lnTo>
                      <a:pt x="59" y="457"/>
                    </a:lnTo>
                    <a:lnTo>
                      <a:pt x="59" y="456"/>
                    </a:lnTo>
                    <a:lnTo>
                      <a:pt x="61" y="456"/>
                    </a:lnTo>
                    <a:lnTo>
                      <a:pt x="61" y="454"/>
                    </a:lnTo>
                    <a:lnTo>
                      <a:pt x="61" y="452"/>
                    </a:lnTo>
                    <a:lnTo>
                      <a:pt x="59" y="452"/>
                    </a:lnTo>
                    <a:lnTo>
                      <a:pt x="59" y="450"/>
                    </a:lnTo>
                    <a:lnTo>
                      <a:pt x="59" y="449"/>
                    </a:lnTo>
                    <a:lnTo>
                      <a:pt x="59" y="447"/>
                    </a:lnTo>
                    <a:lnTo>
                      <a:pt x="57" y="447"/>
                    </a:lnTo>
                    <a:lnTo>
                      <a:pt x="57" y="445"/>
                    </a:lnTo>
                    <a:lnTo>
                      <a:pt x="57" y="444"/>
                    </a:lnTo>
                    <a:lnTo>
                      <a:pt x="59" y="442"/>
                    </a:lnTo>
                    <a:lnTo>
                      <a:pt x="57" y="442"/>
                    </a:lnTo>
                    <a:lnTo>
                      <a:pt x="59" y="440"/>
                    </a:lnTo>
                    <a:lnTo>
                      <a:pt x="57" y="440"/>
                    </a:lnTo>
                    <a:lnTo>
                      <a:pt x="57" y="438"/>
                    </a:lnTo>
                    <a:lnTo>
                      <a:pt x="57" y="437"/>
                    </a:lnTo>
                    <a:lnTo>
                      <a:pt x="57" y="435"/>
                    </a:lnTo>
                    <a:lnTo>
                      <a:pt x="56" y="435"/>
                    </a:lnTo>
                    <a:lnTo>
                      <a:pt x="56" y="433"/>
                    </a:lnTo>
                    <a:lnTo>
                      <a:pt x="54" y="433"/>
                    </a:lnTo>
                    <a:lnTo>
                      <a:pt x="54" y="432"/>
                    </a:lnTo>
                    <a:lnTo>
                      <a:pt x="54" y="427"/>
                    </a:lnTo>
                    <a:lnTo>
                      <a:pt x="54" y="425"/>
                    </a:lnTo>
                    <a:lnTo>
                      <a:pt x="52" y="423"/>
                    </a:lnTo>
                    <a:lnTo>
                      <a:pt x="52" y="421"/>
                    </a:lnTo>
                    <a:lnTo>
                      <a:pt x="51" y="420"/>
                    </a:lnTo>
                    <a:lnTo>
                      <a:pt x="49" y="418"/>
                    </a:lnTo>
                    <a:lnTo>
                      <a:pt x="49" y="416"/>
                    </a:lnTo>
                    <a:lnTo>
                      <a:pt x="49" y="415"/>
                    </a:lnTo>
                    <a:lnTo>
                      <a:pt x="49" y="413"/>
                    </a:lnTo>
                    <a:lnTo>
                      <a:pt x="49" y="410"/>
                    </a:lnTo>
                    <a:lnTo>
                      <a:pt x="49" y="408"/>
                    </a:lnTo>
                    <a:lnTo>
                      <a:pt x="49" y="406"/>
                    </a:lnTo>
                    <a:lnTo>
                      <a:pt x="46" y="401"/>
                    </a:lnTo>
                    <a:lnTo>
                      <a:pt x="46" y="399"/>
                    </a:lnTo>
                    <a:lnTo>
                      <a:pt x="46" y="398"/>
                    </a:lnTo>
                    <a:lnTo>
                      <a:pt x="44" y="398"/>
                    </a:lnTo>
                    <a:lnTo>
                      <a:pt x="44" y="396"/>
                    </a:lnTo>
                    <a:lnTo>
                      <a:pt x="42" y="396"/>
                    </a:lnTo>
                    <a:lnTo>
                      <a:pt x="42" y="394"/>
                    </a:lnTo>
                    <a:lnTo>
                      <a:pt x="40" y="394"/>
                    </a:lnTo>
                    <a:lnTo>
                      <a:pt x="39" y="394"/>
                    </a:lnTo>
                    <a:lnTo>
                      <a:pt x="37" y="393"/>
                    </a:lnTo>
                    <a:lnTo>
                      <a:pt x="37" y="391"/>
                    </a:lnTo>
                    <a:lnTo>
                      <a:pt x="37" y="389"/>
                    </a:lnTo>
                    <a:lnTo>
                      <a:pt x="37" y="387"/>
                    </a:lnTo>
                    <a:lnTo>
                      <a:pt x="37" y="386"/>
                    </a:lnTo>
                    <a:lnTo>
                      <a:pt x="39" y="386"/>
                    </a:lnTo>
                    <a:lnTo>
                      <a:pt x="39" y="384"/>
                    </a:lnTo>
                    <a:lnTo>
                      <a:pt x="40" y="384"/>
                    </a:lnTo>
                    <a:lnTo>
                      <a:pt x="40" y="382"/>
                    </a:lnTo>
                    <a:lnTo>
                      <a:pt x="39" y="382"/>
                    </a:lnTo>
                    <a:lnTo>
                      <a:pt x="39" y="381"/>
                    </a:lnTo>
                    <a:lnTo>
                      <a:pt x="37" y="381"/>
                    </a:lnTo>
                    <a:lnTo>
                      <a:pt x="35" y="381"/>
                    </a:lnTo>
                    <a:lnTo>
                      <a:pt x="35" y="379"/>
                    </a:lnTo>
                    <a:lnTo>
                      <a:pt x="34" y="379"/>
                    </a:lnTo>
                    <a:lnTo>
                      <a:pt x="32" y="379"/>
                    </a:lnTo>
                    <a:lnTo>
                      <a:pt x="32" y="377"/>
                    </a:lnTo>
                    <a:lnTo>
                      <a:pt x="30" y="377"/>
                    </a:lnTo>
                    <a:lnTo>
                      <a:pt x="30" y="376"/>
                    </a:lnTo>
                    <a:lnTo>
                      <a:pt x="30" y="374"/>
                    </a:lnTo>
                    <a:lnTo>
                      <a:pt x="32" y="374"/>
                    </a:lnTo>
                    <a:lnTo>
                      <a:pt x="34" y="374"/>
                    </a:lnTo>
                    <a:lnTo>
                      <a:pt x="34" y="372"/>
                    </a:lnTo>
                    <a:lnTo>
                      <a:pt x="34" y="370"/>
                    </a:lnTo>
                    <a:lnTo>
                      <a:pt x="32" y="370"/>
                    </a:lnTo>
                    <a:lnTo>
                      <a:pt x="32" y="369"/>
                    </a:lnTo>
                    <a:lnTo>
                      <a:pt x="32" y="367"/>
                    </a:lnTo>
                    <a:lnTo>
                      <a:pt x="32" y="365"/>
                    </a:lnTo>
                    <a:lnTo>
                      <a:pt x="30" y="365"/>
                    </a:lnTo>
                    <a:lnTo>
                      <a:pt x="30" y="364"/>
                    </a:lnTo>
                    <a:lnTo>
                      <a:pt x="32" y="364"/>
                    </a:lnTo>
                    <a:lnTo>
                      <a:pt x="34" y="362"/>
                    </a:lnTo>
                    <a:lnTo>
                      <a:pt x="35" y="362"/>
                    </a:lnTo>
                    <a:lnTo>
                      <a:pt x="37" y="362"/>
                    </a:lnTo>
                    <a:lnTo>
                      <a:pt x="37" y="360"/>
                    </a:lnTo>
                    <a:lnTo>
                      <a:pt x="37" y="359"/>
                    </a:lnTo>
                    <a:lnTo>
                      <a:pt x="39" y="359"/>
                    </a:lnTo>
                    <a:lnTo>
                      <a:pt x="39" y="357"/>
                    </a:lnTo>
                    <a:lnTo>
                      <a:pt x="37" y="357"/>
                    </a:lnTo>
                    <a:lnTo>
                      <a:pt x="37" y="355"/>
                    </a:lnTo>
                    <a:lnTo>
                      <a:pt x="39" y="355"/>
                    </a:lnTo>
                    <a:lnTo>
                      <a:pt x="37" y="355"/>
                    </a:lnTo>
                    <a:lnTo>
                      <a:pt x="35" y="355"/>
                    </a:lnTo>
                    <a:lnTo>
                      <a:pt x="35" y="353"/>
                    </a:lnTo>
                    <a:lnTo>
                      <a:pt x="34" y="352"/>
                    </a:lnTo>
                    <a:lnTo>
                      <a:pt x="32" y="352"/>
                    </a:lnTo>
                    <a:lnTo>
                      <a:pt x="32" y="350"/>
                    </a:lnTo>
                    <a:lnTo>
                      <a:pt x="34" y="350"/>
                    </a:lnTo>
                    <a:lnTo>
                      <a:pt x="35" y="350"/>
                    </a:lnTo>
                    <a:lnTo>
                      <a:pt x="35" y="348"/>
                    </a:lnTo>
                    <a:lnTo>
                      <a:pt x="35" y="347"/>
                    </a:lnTo>
                    <a:lnTo>
                      <a:pt x="37" y="347"/>
                    </a:lnTo>
                    <a:lnTo>
                      <a:pt x="37" y="345"/>
                    </a:lnTo>
                    <a:lnTo>
                      <a:pt x="39" y="345"/>
                    </a:lnTo>
                    <a:lnTo>
                      <a:pt x="39" y="343"/>
                    </a:lnTo>
                    <a:lnTo>
                      <a:pt x="40" y="342"/>
                    </a:lnTo>
                    <a:lnTo>
                      <a:pt x="40" y="340"/>
                    </a:lnTo>
                    <a:lnTo>
                      <a:pt x="40" y="338"/>
                    </a:lnTo>
                    <a:lnTo>
                      <a:pt x="39" y="338"/>
                    </a:lnTo>
                    <a:lnTo>
                      <a:pt x="39" y="336"/>
                    </a:lnTo>
                    <a:lnTo>
                      <a:pt x="37" y="335"/>
                    </a:lnTo>
                    <a:lnTo>
                      <a:pt x="35" y="335"/>
                    </a:lnTo>
                    <a:lnTo>
                      <a:pt x="35" y="333"/>
                    </a:lnTo>
                    <a:lnTo>
                      <a:pt x="34" y="333"/>
                    </a:lnTo>
                    <a:lnTo>
                      <a:pt x="34" y="331"/>
                    </a:lnTo>
                    <a:lnTo>
                      <a:pt x="32" y="331"/>
                    </a:lnTo>
                    <a:lnTo>
                      <a:pt x="32" y="330"/>
                    </a:lnTo>
                    <a:lnTo>
                      <a:pt x="30" y="330"/>
                    </a:lnTo>
                    <a:lnTo>
                      <a:pt x="30" y="328"/>
                    </a:lnTo>
                    <a:lnTo>
                      <a:pt x="29" y="328"/>
                    </a:lnTo>
                    <a:lnTo>
                      <a:pt x="27" y="326"/>
                    </a:lnTo>
                    <a:lnTo>
                      <a:pt x="25" y="326"/>
                    </a:lnTo>
                    <a:lnTo>
                      <a:pt x="25" y="325"/>
                    </a:lnTo>
                    <a:lnTo>
                      <a:pt x="25" y="323"/>
                    </a:lnTo>
                    <a:lnTo>
                      <a:pt x="23" y="323"/>
                    </a:lnTo>
                    <a:lnTo>
                      <a:pt x="23" y="321"/>
                    </a:lnTo>
                    <a:lnTo>
                      <a:pt x="25" y="321"/>
                    </a:lnTo>
                    <a:lnTo>
                      <a:pt x="25" y="319"/>
                    </a:lnTo>
                    <a:lnTo>
                      <a:pt x="23" y="318"/>
                    </a:lnTo>
                    <a:lnTo>
                      <a:pt x="23" y="316"/>
                    </a:lnTo>
                    <a:lnTo>
                      <a:pt x="23" y="314"/>
                    </a:lnTo>
                    <a:lnTo>
                      <a:pt x="22" y="314"/>
                    </a:lnTo>
                    <a:lnTo>
                      <a:pt x="22" y="313"/>
                    </a:lnTo>
                    <a:lnTo>
                      <a:pt x="22" y="311"/>
                    </a:lnTo>
                    <a:lnTo>
                      <a:pt x="20" y="311"/>
                    </a:lnTo>
                    <a:lnTo>
                      <a:pt x="22" y="311"/>
                    </a:lnTo>
                    <a:lnTo>
                      <a:pt x="22" y="309"/>
                    </a:lnTo>
                    <a:lnTo>
                      <a:pt x="22" y="308"/>
                    </a:lnTo>
                    <a:lnTo>
                      <a:pt x="22" y="306"/>
                    </a:lnTo>
                    <a:lnTo>
                      <a:pt x="22" y="304"/>
                    </a:lnTo>
                    <a:lnTo>
                      <a:pt x="20" y="304"/>
                    </a:lnTo>
                    <a:lnTo>
                      <a:pt x="20" y="302"/>
                    </a:lnTo>
                    <a:lnTo>
                      <a:pt x="20" y="301"/>
                    </a:lnTo>
                    <a:lnTo>
                      <a:pt x="20" y="299"/>
                    </a:lnTo>
                    <a:lnTo>
                      <a:pt x="20" y="297"/>
                    </a:lnTo>
                    <a:lnTo>
                      <a:pt x="18" y="297"/>
                    </a:lnTo>
                    <a:lnTo>
                      <a:pt x="18" y="296"/>
                    </a:lnTo>
                    <a:lnTo>
                      <a:pt x="17" y="296"/>
                    </a:lnTo>
                    <a:lnTo>
                      <a:pt x="17" y="294"/>
                    </a:lnTo>
                    <a:lnTo>
                      <a:pt x="18" y="294"/>
                    </a:lnTo>
                    <a:lnTo>
                      <a:pt x="18" y="292"/>
                    </a:lnTo>
                    <a:lnTo>
                      <a:pt x="20" y="292"/>
                    </a:lnTo>
                    <a:lnTo>
                      <a:pt x="18" y="292"/>
                    </a:lnTo>
                    <a:lnTo>
                      <a:pt x="20" y="292"/>
                    </a:lnTo>
                    <a:lnTo>
                      <a:pt x="20" y="290"/>
                    </a:lnTo>
                    <a:lnTo>
                      <a:pt x="18" y="290"/>
                    </a:lnTo>
                    <a:lnTo>
                      <a:pt x="18" y="289"/>
                    </a:lnTo>
                    <a:lnTo>
                      <a:pt x="17" y="289"/>
                    </a:lnTo>
                    <a:lnTo>
                      <a:pt x="15" y="289"/>
                    </a:lnTo>
                    <a:lnTo>
                      <a:pt x="13" y="289"/>
                    </a:lnTo>
                    <a:lnTo>
                      <a:pt x="13" y="287"/>
                    </a:lnTo>
                    <a:lnTo>
                      <a:pt x="12" y="287"/>
                    </a:lnTo>
                    <a:lnTo>
                      <a:pt x="12" y="285"/>
                    </a:lnTo>
                    <a:lnTo>
                      <a:pt x="12" y="284"/>
                    </a:lnTo>
                    <a:lnTo>
                      <a:pt x="12" y="282"/>
                    </a:lnTo>
                    <a:lnTo>
                      <a:pt x="12" y="280"/>
                    </a:lnTo>
                    <a:lnTo>
                      <a:pt x="10" y="280"/>
                    </a:lnTo>
                    <a:lnTo>
                      <a:pt x="10" y="279"/>
                    </a:lnTo>
                    <a:lnTo>
                      <a:pt x="8" y="277"/>
                    </a:lnTo>
                    <a:lnTo>
                      <a:pt x="6" y="275"/>
                    </a:lnTo>
                    <a:lnTo>
                      <a:pt x="6" y="272"/>
                    </a:lnTo>
                    <a:lnTo>
                      <a:pt x="6" y="270"/>
                    </a:lnTo>
                    <a:lnTo>
                      <a:pt x="6" y="268"/>
                    </a:lnTo>
                    <a:lnTo>
                      <a:pt x="6" y="267"/>
                    </a:lnTo>
                    <a:lnTo>
                      <a:pt x="5" y="267"/>
                    </a:lnTo>
                    <a:lnTo>
                      <a:pt x="3" y="263"/>
                    </a:lnTo>
                    <a:lnTo>
                      <a:pt x="1" y="263"/>
                    </a:lnTo>
                    <a:lnTo>
                      <a:pt x="0" y="263"/>
                    </a:lnTo>
                    <a:lnTo>
                      <a:pt x="1" y="263"/>
                    </a:lnTo>
                    <a:lnTo>
                      <a:pt x="1" y="262"/>
                    </a:lnTo>
                    <a:lnTo>
                      <a:pt x="3" y="262"/>
                    </a:lnTo>
                    <a:lnTo>
                      <a:pt x="3" y="260"/>
                    </a:lnTo>
                    <a:lnTo>
                      <a:pt x="5" y="260"/>
                    </a:lnTo>
                    <a:lnTo>
                      <a:pt x="5" y="258"/>
                    </a:lnTo>
                    <a:lnTo>
                      <a:pt x="6" y="256"/>
                    </a:lnTo>
                    <a:lnTo>
                      <a:pt x="6" y="258"/>
                    </a:lnTo>
                    <a:lnTo>
                      <a:pt x="8" y="258"/>
                    </a:lnTo>
                    <a:lnTo>
                      <a:pt x="8" y="256"/>
                    </a:lnTo>
                    <a:lnTo>
                      <a:pt x="10" y="256"/>
                    </a:lnTo>
                    <a:lnTo>
                      <a:pt x="10" y="255"/>
                    </a:lnTo>
                    <a:lnTo>
                      <a:pt x="8" y="255"/>
                    </a:lnTo>
                    <a:lnTo>
                      <a:pt x="10" y="253"/>
                    </a:lnTo>
                    <a:lnTo>
                      <a:pt x="12" y="253"/>
                    </a:lnTo>
                    <a:lnTo>
                      <a:pt x="12" y="251"/>
                    </a:lnTo>
                    <a:lnTo>
                      <a:pt x="12" y="250"/>
                    </a:lnTo>
                    <a:lnTo>
                      <a:pt x="13" y="250"/>
                    </a:lnTo>
                    <a:lnTo>
                      <a:pt x="13" y="248"/>
                    </a:lnTo>
                    <a:lnTo>
                      <a:pt x="15" y="248"/>
                    </a:lnTo>
                    <a:lnTo>
                      <a:pt x="15" y="246"/>
                    </a:lnTo>
                    <a:lnTo>
                      <a:pt x="17" y="246"/>
                    </a:lnTo>
                    <a:lnTo>
                      <a:pt x="17" y="245"/>
                    </a:lnTo>
                    <a:lnTo>
                      <a:pt x="18" y="243"/>
                    </a:lnTo>
                    <a:lnTo>
                      <a:pt x="20" y="243"/>
                    </a:lnTo>
                    <a:lnTo>
                      <a:pt x="22" y="243"/>
                    </a:lnTo>
                    <a:lnTo>
                      <a:pt x="22" y="241"/>
                    </a:lnTo>
                    <a:lnTo>
                      <a:pt x="22" y="239"/>
                    </a:lnTo>
                    <a:lnTo>
                      <a:pt x="20" y="239"/>
                    </a:lnTo>
                    <a:lnTo>
                      <a:pt x="20" y="238"/>
                    </a:lnTo>
                    <a:lnTo>
                      <a:pt x="22" y="236"/>
                    </a:lnTo>
                    <a:lnTo>
                      <a:pt x="22" y="234"/>
                    </a:lnTo>
                    <a:lnTo>
                      <a:pt x="23" y="234"/>
                    </a:lnTo>
                    <a:lnTo>
                      <a:pt x="29" y="231"/>
                    </a:lnTo>
                    <a:lnTo>
                      <a:pt x="29" y="229"/>
                    </a:lnTo>
                    <a:lnTo>
                      <a:pt x="27" y="228"/>
                    </a:lnTo>
                    <a:lnTo>
                      <a:pt x="25" y="228"/>
                    </a:lnTo>
                    <a:lnTo>
                      <a:pt x="23" y="226"/>
                    </a:lnTo>
                    <a:lnTo>
                      <a:pt x="22" y="226"/>
                    </a:lnTo>
                    <a:lnTo>
                      <a:pt x="20" y="226"/>
                    </a:lnTo>
                    <a:lnTo>
                      <a:pt x="18" y="226"/>
                    </a:lnTo>
                    <a:lnTo>
                      <a:pt x="15" y="224"/>
                    </a:lnTo>
                    <a:lnTo>
                      <a:pt x="13" y="224"/>
                    </a:lnTo>
                    <a:lnTo>
                      <a:pt x="12" y="219"/>
                    </a:lnTo>
                    <a:lnTo>
                      <a:pt x="12" y="214"/>
                    </a:lnTo>
                    <a:lnTo>
                      <a:pt x="10" y="211"/>
                    </a:lnTo>
                    <a:lnTo>
                      <a:pt x="10" y="209"/>
                    </a:lnTo>
                    <a:lnTo>
                      <a:pt x="8" y="205"/>
                    </a:lnTo>
                    <a:lnTo>
                      <a:pt x="12" y="202"/>
                    </a:lnTo>
                    <a:lnTo>
                      <a:pt x="12" y="200"/>
                    </a:lnTo>
                    <a:lnTo>
                      <a:pt x="12" y="199"/>
                    </a:lnTo>
                    <a:lnTo>
                      <a:pt x="13" y="200"/>
                    </a:lnTo>
                    <a:lnTo>
                      <a:pt x="13" y="199"/>
                    </a:lnTo>
                    <a:lnTo>
                      <a:pt x="15" y="199"/>
                    </a:lnTo>
                    <a:lnTo>
                      <a:pt x="13" y="199"/>
                    </a:lnTo>
                    <a:lnTo>
                      <a:pt x="13" y="197"/>
                    </a:lnTo>
                    <a:lnTo>
                      <a:pt x="15" y="195"/>
                    </a:lnTo>
                    <a:lnTo>
                      <a:pt x="15" y="194"/>
                    </a:lnTo>
                    <a:lnTo>
                      <a:pt x="17" y="194"/>
                    </a:lnTo>
                    <a:lnTo>
                      <a:pt x="17" y="192"/>
                    </a:lnTo>
                    <a:lnTo>
                      <a:pt x="17" y="194"/>
                    </a:lnTo>
                    <a:lnTo>
                      <a:pt x="17" y="192"/>
                    </a:lnTo>
                    <a:lnTo>
                      <a:pt x="18" y="192"/>
                    </a:lnTo>
                    <a:lnTo>
                      <a:pt x="17" y="192"/>
                    </a:lnTo>
                    <a:lnTo>
                      <a:pt x="17" y="190"/>
                    </a:lnTo>
                    <a:lnTo>
                      <a:pt x="15" y="188"/>
                    </a:lnTo>
                    <a:lnTo>
                      <a:pt x="13" y="187"/>
                    </a:lnTo>
                    <a:lnTo>
                      <a:pt x="13" y="188"/>
                    </a:lnTo>
                    <a:lnTo>
                      <a:pt x="13" y="187"/>
                    </a:lnTo>
                    <a:lnTo>
                      <a:pt x="12" y="187"/>
                    </a:lnTo>
                    <a:lnTo>
                      <a:pt x="12" y="185"/>
                    </a:lnTo>
                    <a:lnTo>
                      <a:pt x="12" y="183"/>
                    </a:lnTo>
                    <a:lnTo>
                      <a:pt x="10" y="183"/>
                    </a:lnTo>
                    <a:lnTo>
                      <a:pt x="10" y="182"/>
                    </a:lnTo>
                    <a:lnTo>
                      <a:pt x="10" y="180"/>
                    </a:lnTo>
                    <a:lnTo>
                      <a:pt x="10" y="178"/>
                    </a:lnTo>
                    <a:lnTo>
                      <a:pt x="10" y="177"/>
                    </a:lnTo>
                    <a:lnTo>
                      <a:pt x="12" y="177"/>
                    </a:lnTo>
                    <a:lnTo>
                      <a:pt x="12" y="175"/>
                    </a:lnTo>
                    <a:lnTo>
                      <a:pt x="13" y="175"/>
                    </a:lnTo>
                    <a:lnTo>
                      <a:pt x="15" y="175"/>
                    </a:lnTo>
                    <a:lnTo>
                      <a:pt x="13" y="173"/>
                    </a:lnTo>
                    <a:lnTo>
                      <a:pt x="13" y="171"/>
                    </a:lnTo>
                    <a:lnTo>
                      <a:pt x="15" y="171"/>
                    </a:lnTo>
                    <a:lnTo>
                      <a:pt x="15" y="170"/>
                    </a:lnTo>
                    <a:lnTo>
                      <a:pt x="15" y="168"/>
                    </a:lnTo>
                    <a:lnTo>
                      <a:pt x="17" y="170"/>
                    </a:lnTo>
                    <a:lnTo>
                      <a:pt x="17" y="168"/>
                    </a:lnTo>
                    <a:lnTo>
                      <a:pt x="17" y="166"/>
                    </a:lnTo>
                    <a:lnTo>
                      <a:pt x="18" y="166"/>
                    </a:lnTo>
                    <a:lnTo>
                      <a:pt x="18" y="165"/>
                    </a:lnTo>
                    <a:lnTo>
                      <a:pt x="20" y="165"/>
                    </a:lnTo>
                    <a:lnTo>
                      <a:pt x="20" y="163"/>
                    </a:lnTo>
                    <a:lnTo>
                      <a:pt x="22" y="163"/>
                    </a:lnTo>
                    <a:lnTo>
                      <a:pt x="22" y="161"/>
                    </a:lnTo>
                    <a:lnTo>
                      <a:pt x="22" y="160"/>
                    </a:lnTo>
                    <a:lnTo>
                      <a:pt x="22" y="158"/>
                    </a:lnTo>
                    <a:lnTo>
                      <a:pt x="22" y="156"/>
                    </a:lnTo>
                    <a:lnTo>
                      <a:pt x="23" y="156"/>
                    </a:lnTo>
                    <a:lnTo>
                      <a:pt x="25" y="156"/>
                    </a:lnTo>
                    <a:lnTo>
                      <a:pt x="27" y="156"/>
                    </a:lnTo>
                    <a:lnTo>
                      <a:pt x="29" y="156"/>
                    </a:lnTo>
                    <a:lnTo>
                      <a:pt x="27" y="156"/>
                    </a:lnTo>
                    <a:lnTo>
                      <a:pt x="27" y="154"/>
                    </a:lnTo>
                    <a:lnTo>
                      <a:pt x="27" y="153"/>
                    </a:lnTo>
                    <a:lnTo>
                      <a:pt x="27" y="151"/>
                    </a:lnTo>
                    <a:lnTo>
                      <a:pt x="25" y="151"/>
                    </a:lnTo>
                    <a:lnTo>
                      <a:pt x="25" y="149"/>
                    </a:lnTo>
                    <a:lnTo>
                      <a:pt x="23" y="149"/>
                    </a:lnTo>
                    <a:lnTo>
                      <a:pt x="23" y="148"/>
                    </a:lnTo>
                    <a:lnTo>
                      <a:pt x="23" y="146"/>
                    </a:lnTo>
                    <a:lnTo>
                      <a:pt x="22" y="146"/>
                    </a:lnTo>
                    <a:lnTo>
                      <a:pt x="23" y="144"/>
                    </a:lnTo>
                    <a:lnTo>
                      <a:pt x="22" y="144"/>
                    </a:lnTo>
                    <a:lnTo>
                      <a:pt x="22" y="143"/>
                    </a:lnTo>
                    <a:lnTo>
                      <a:pt x="22" y="141"/>
                    </a:lnTo>
                    <a:lnTo>
                      <a:pt x="22" y="139"/>
                    </a:lnTo>
                    <a:lnTo>
                      <a:pt x="20" y="139"/>
                    </a:lnTo>
                    <a:lnTo>
                      <a:pt x="20" y="137"/>
                    </a:lnTo>
                    <a:lnTo>
                      <a:pt x="20" y="136"/>
                    </a:lnTo>
                    <a:lnTo>
                      <a:pt x="22" y="136"/>
                    </a:lnTo>
                    <a:lnTo>
                      <a:pt x="23" y="136"/>
                    </a:lnTo>
                    <a:lnTo>
                      <a:pt x="23" y="134"/>
                    </a:lnTo>
                    <a:lnTo>
                      <a:pt x="23" y="132"/>
                    </a:lnTo>
                    <a:lnTo>
                      <a:pt x="25" y="132"/>
                    </a:lnTo>
                    <a:lnTo>
                      <a:pt x="25" y="131"/>
                    </a:lnTo>
                    <a:lnTo>
                      <a:pt x="25" y="129"/>
                    </a:lnTo>
                    <a:lnTo>
                      <a:pt x="25" y="127"/>
                    </a:lnTo>
                    <a:lnTo>
                      <a:pt x="27" y="125"/>
                    </a:lnTo>
                    <a:lnTo>
                      <a:pt x="25" y="125"/>
                    </a:lnTo>
                    <a:lnTo>
                      <a:pt x="27" y="125"/>
                    </a:lnTo>
                    <a:lnTo>
                      <a:pt x="27" y="124"/>
                    </a:lnTo>
                    <a:lnTo>
                      <a:pt x="27" y="122"/>
                    </a:lnTo>
                    <a:lnTo>
                      <a:pt x="27" y="120"/>
                    </a:lnTo>
                    <a:lnTo>
                      <a:pt x="27" y="119"/>
                    </a:lnTo>
                    <a:lnTo>
                      <a:pt x="27" y="117"/>
                    </a:lnTo>
                    <a:lnTo>
                      <a:pt x="27" y="115"/>
                    </a:lnTo>
                    <a:lnTo>
                      <a:pt x="27" y="114"/>
                    </a:lnTo>
                    <a:lnTo>
                      <a:pt x="27" y="112"/>
                    </a:lnTo>
                    <a:lnTo>
                      <a:pt x="27" y="114"/>
                    </a:lnTo>
                    <a:lnTo>
                      <a:pt x="25" y="112"/>
                    </a:lnTo>
                    <a:lnTo>
                      <a:pt x="27" y="112"/>
                    </a:lnTo>
                    <a:lnTo>
                      <a:pt x="27" y="110"/>
                    </a:lnTo>
                    <a:lnTo>
                      <a:pt x="27" y="108"/>
                    </a:lnTo>
                    <a:lnTo>
                      <a:pt x="29" y="108"/>
                    </a:lnTo>
                    <a:lnTo>
                      <a:pt x="27" y="107"/>
                    </a:lnTo>
                    <a:lnTo>
                      <a:pt x="29" y="107"/>
                    </a:lnTo>
                    <a:lnTo>
                      <a:pt x="29" y="105"/>
                    </a:lnTo>
                    <a:lnTo>
                      <a:pt x="30" y="105"/>
                    </a:lnTo>
                    <a:lnTo>
                      <a:pt x="30" y="103"/>
                    </a:lnTo>
                    <a:lnTo>
                      <a:pt x="32" y="103"/>
                    </a:lnTo>
                    <a:lnTo>
                      <a:pt x="30" y="103"/>
                    </a:lnTo>
                    <a:lnTo>
                      <a:pt x="32" y="103"/>
                    </a:lnTo>
                    <a:lnTo>
                      <a:pt x="30" y="103"/>
                    </a:lnTo>
                    <a:lnTo>
                      <a:pt x="32" y="103"/>
                    </a:lnTo>
                    <a:lnTo>
                      <a:pt x="30" y="102"/>
                    </a:lnTo>
                    <a:lnTo>
                      <a:pt x="30" y="100"/>
                    </a:lnTo>
                    <a:lnTo>
                      <a:pt x="32" y="100"/>
                    </a:lnTo>
                    <a:lnTo>
                      <a:pt x="32" y="98"/>
                    </a:lnTo>
                    <a:lnTo>
                      <a:pt x="34" y="98"/>
                    </a:lnTo>
                    <a:lnTo>
                      <a:pt x="34" y="97"/>
                    </a:lnTo>
                    <a:lnTo>
                      <a:pt x="32" y="97"/>
                    </a:lnTo>
                    <a:lnTo>
                      <a:pt x="34" y="97"/>
                    </a:lnTo>
                    <a:lnTo>
                      <a:pt x="34" y="98"/>
                    </a:lnTo>
                    <a:lnTo>
                      <a:pt x="34" y="97"/>
                    </a:lnTo>
                    <a:lnTo>
                      <a:pt x="32" y="93"/>
                    </a:lnTo>
                    <a:lnTo>
                      <a:pt x="29" y="86"/>
                    </a:lnTo>
                    <a:lnTo>
                      <a:pt x="27" y="85"/>
                    </a:lnTo>
                    <a:lnTo>
                      <a:pt x="25" y="81"/>
                    </a:lnTo>
                    <a:lnTo>
                      <a:pt x="25" y="80"/>
                    </a:lnTo>
                    <a:lnTo>
                      <a:pt x="23" y="78"/>
                    </a:lnTo>
                    <a:lnTo>
                      <a:pt x="23" y="76"/>
                    </a:lnTo>
                    <a:lnTo>
                      <a:pt x="22" y="74"/>
                    </a:lnTo>
                    <a:lnTo>
                      <a:pt x="20" y="73"/>
                    </a:lnTo>
                    <a:lnTo>
                      <a:pt x="20" y="69"/>
                    </a:lnTo>
                    <a:lnTo>
                      <a:pt x="18" y="68"/>
                    </a:lnTo>
                    <a:lnTo>
                      <a:pt x="18" y="66"/>
                    </a:lnTo>
                    <a:lnTo>
                      <a:pt x="15" y="64"/>
                    </a:lnTo>
                    <a:lnTo>
                      <a:pt x="15" y="61"/>
                    </a:lnTo>
                    <a:lnTo>
                      <a:pt x="13" y="61"/>
                    </a:lnTo>
                    <a:lnTo>
                      <a:pt x="13" y="59"/>
                    </a:lnTo>
                    <a:lnTo>
                      <a:pt x="12" y="56"/>
                    </a:lnTo>
                    <a:lnTo>
                      <a:pt x="10" y="54"/>
                    </a:lnTo>
                    <a:lnTo>
                      <a:pt x="8" y="52"/>
                    </a:lnTo>
                    <a:lnTo>
                      <a:pt x="6" y="51"/>
                    </a:lnTo>
                    <a:lnTo>
                      <a:pt x="6" y="49"/>
                    </a:lnTo>
                    <a:lnTo>
                      <a:pt x="5" y="46"/>
                    </a:lnTo>
                    <a:lnTo>
                      <a:pt x="3" y="44"/>
                    </a:lnTo>
                    <a:lnTo>
                      <a:pt x="3" y="42"/>
                    </a:lnTo>
                    <a:lnTo>
                      <a:pt x="3" y="44"/>
                    </a:lnTo>
                    <a:lnTo>
                      <a:pt x="3" y="42"/>
                    </a:lnTo>
                    <a:lnTo>
                      <a:pt x="5" y="42"/>
                    </a:lnTo>
                    <a:lnTo>
                      <a:pt x="6" y="44"/>
                    </a:lnTo>
                    <a:lnTo>
                      <a:pt x="6" y="42"/>
                    </a:lnTo>
                    <a:lnTo>
                      <a:pt x="8" y="42"/>
                    </a:lnTo>
                    <a:lnTo>
                      <a:pt x="10" y="44"/>
                    </a:lnTo>
                    <a:lnTo>
                      <a:pt x="10" y="42"/>
                    </a:lnTo>
                    <a:lnTo>
                      <a:pt x="10" y="44"/>
                    </a:lnTo>
                    <a:lnTo>
                      <a:pt x="12" y="42"/>
                    </a:lnTo>
                    <a:lnTo>
                      <a:pt x="13" y="42"/>
                    </a:lnTo>
                    <a:lnTo>
                      <a:pt x="13" y="44"/>
                    </a:lnTo>
                    <a:lnTo>
                      <a:pt x="13" y="42"/>
                    </a:lnTo>
                    <a:lnTo>
                      <a:pt x="15" y="42"/>
                    </a:lnTo>
                    <a:lnTo>
                      <a:pt x="15" y="44"/>
                    </a:lnTo>
                    <a:lnTo>
                      <a:pt x="15" y="42"/>
                    </a:lnTo>
                    <a:lnTo>
                      <a:pt x="17" y="44"/>
                    </a:lnTo>
                    <a:lnTo>
                      <a:pt x="18" y="44"/>
                    </a:lnTo>
                    <a:lnTo>
                      <a:pt x="20" y="44"/>
                    </a:lnTo>
                    <a:lnTo>
                      <a:pt x="22" y="44"/>
                    </a:lnTo>
                    <a:lnTo>
                      <a:pt x="22" y="46"/>
                    </a:lnTo>
                    <a:lnTo>
                      <a:pt x="22" y="44"/>
                    </a:lnTo>
                    <a:lnTo>
                      <a:pt x="23" y="44"/>
                    </a:lnTo>
                    <a:lnTo>
                      <a:pt x="23" y="46"/>
                    </a:lnTo>
                    <a:lnTo>
                      <a:pt x="25" y="46"/>
                    </a:lnTo>
                    <a:lnTo>
                      <a:pt x="27" y="46"/>
                    </a:lnTo>
                    <a:lnTo>
                      <a:pt x="25" y="46"/>
                    </a:lnTo>
                    <a:lnTo>
                      <a:pt x="27" y="46"/>
                    </a:lnTo>
                    <a:lnTo>
                      <a:pt x="27" y="44"/>
                    </a:lnTo>
                    <a:lnTo>
                      <a:pt x="29" y="46"/>
                    </a:lnTo>
                    <a:lnTo>
                      <a:pt x="29" y="44"/>
                    </a:lnTo>
                    <a:lnTo>
                      <a:pt x="29" y="46"/>
                    </a:lnTo>
                    <a:lnTo>
                      <a:pt x="30" y="44"/>
                    </a:lnTo>
                    <a:lnTo>
                      <a:pt x="30" y="46"/>
                    </a:lnTo>
                    <a:lnTo>
                      <a:pt x="30" y="47"/>
                    </a:lnTo>
                    <a:lnTo>
                      <a:pt x="32" y="49"/>
                    </a:lnTo>
                    <a:lnTo>
                      <a:pt x="32" y="51"/>
                    </a:lnTo>
                    <a:lnTo>
                      <a:pt x="37" y="49"/>
                    </a:lnTo>
                    <a:lnTo>
                      <a:pt x="37" y="47"/>
                    </a:lnTo>
                    <a:lnTo>
                      <a:pt x="39" y="47"/>
                    </a:lnTo>
                    <a:lnTo>
                      <a:pt x="39" y="46"/>
                    </a:lnTo>
                    <a:lnTo>
                      <a:pt x="40" y="47"/>
                    </a:lnTo>
                    <a:lnTo>
                      <a:pt x="40" y="46"/>
                    </a:lnTo>
                    <a:lnTo>
                      <a:pt x="42" y="46"/>
                    </a:lnTo>
                    <a:lnTo>
                      <a:pt x="42" y="47"/>
                    </a:lnTo>
                    <a:lnTo>
                      <a:pt x="42" y="46"/>
                    </a:lnTo>
                    <a:lnTo>
                      <a:pt x="44" y="46"/>
                    </a:lnTo>
                    <a:lnTo>
                      <a:pt x="46" y="46"/>
                    </a:lnTo>
                    <a:lnTo>
                      <a:pt x="46" y="44"/>
                    </a:lnTo>
                    <a:lnTo>
                      <a:pt x="47" y="44"/>
                    </a:lnTo>
                    <a:lnTo>
                      <a:pt x="47" y="42"/>
                    </a:lnTo>
                    <a:lnTo>
                      <a:pt x="49" y="42"/>
                    </a:lnTo>
                    <a:lnTo>
                      <a:pt x="49" y="40"/>
                    </a:lnTo>
                    <a:lnTo>
                      <a:pt x="51" y="39"/>
                    </a:lnTo>
                    <a:lnTo>
                      <a:pt x="51" y="37"/>
                    </a:lnTo>
                    <a:lnTo>
                      <a:pt x="52" y="37"/>
                    </a:lnTo>
                    <a:lnTo>
                      <a:pt x="52" y="35"/>
                    </a:lnTo>
                    <a:lnTo>
                      <a:pt x="52" y="34"/>
                    </a:lnTo>
                    <a:lnTo>
                      <a:pt x="54" y="34"/>
                    </a:lnTo>
                    <a:lnTo>
                      <a:pt x="56" y="32"/>
                    </a:lnTo>
                    <a:lnTo>
                      <a:pt x="56" y="34"/>
                    </a:lnTo>
                    <a:lnTo>
                      <a:pt x="57" y="32"/>
                    </a:lnTo>
                    <a:lnTo>
                      <a:pt x="57" y="34"/>
                    </a:lnTo>
                    <a:lnTo>
                      <a:pt x="59" y="32"/>
                    </a:lnTo>
                    <a:lnTo>
                      <a:pt x="61" y="32"/>
                    </a:lnTo>
                    <a:lnTo>
                      <a:pt x="63" y="34"/>
                    </a:lnTo>
                    <a:lnTo>
                      <a:pt x="64" y="34"/>
                    </a:lnTo>
                    <a:lnTo>
                      <a:pt x="64" y="35"/>
                    </a:lnTo>
                    <a:lnTo>
                      <a:pt x="66" y="35"/>
                    </a:lnTo>
                    <a:lnTo>
                      <a:pt x="66" y="34"/>
                    </a:lnTo>
                    <a:lnTo>
                      <a:pt x="66" y="32"/>
                    </a:lnTo>
                    <a:lnTo>
                      <a:pt x="66" y="30"/>
                    </a:lnTo>
                    <a:lnTo>
                      <a:pt x="68" y="32"/>
                    </a:lnTo>
                    <a:lnTo>
                      <a:pt x="68" y="30"/>
                    </a:lnTo>
                    <a:lnTo>
                      <a:pt x="69" y="30"/>
                    </a:lnTo>
                    <a:lnTo>
                      <a:pt x="69" y="29"/>
                    </a:lnTo>
                    <a:lnTo>
                      <a:pt x="71" y="27"/>
                    </a:lnTo>
                    <a:lnTo>
                      <a:pt x="73" y="27"/>
                    </a:lnTo>
                    <a:lnTo>
                      <a:pt x="74" y="25"/>
                    </a:lnTo>
                    <a:lnTo>
                      <a:pt x="74" y="27"/>
                    </a:lnTo>
                    <a:lnTo>
                      <a:pt x="74" y="25"/>
                    </a:lnTo>
                    <a:lnTo>
                      <a:pt x="76" y="25"/>
                    </a:lnTo>
                    <a:lnTo>
                      <a:pt x="76" y="23"/>
                    </a:lnTo>
                    <a:lnTo>
                      <a:pt x="74" y="23"/>
                    </a:lnTo>
                    <a:lnTo>
                      <a:pt x="76" y="23"/>
                    </a:lnTo>
                    <a:lnTo>
                      <a:pt x="78" y="23"/>
                    </a:lnTo>
                    <a:lnTo>
                      <a:pt x="80" y="23"/>
                    </a:lnTo>
                    <a:lnTo>
                      <a:pt x="80" y="22"/>
                    </a:lnTo>
                    <a:lnTo>
                      <a:pt x="78" y="22"/>
                    </a:lnTo>
                    <a:lnTo>
                      <a:pt x="80" y="22"/>
                    </a:lnTo>
                    <a:lnTo>
                      <a:pt x="81" y="22"/>
                    </a:lnTo>
                    <a:lnTo>
                      <a:pt x="83" y="22"/>
                    </a:lnTo>
                    <a:lnTo>
                      <a:pt x="85" y="22"/>
                    </a:lnTo>
                    <a:lnTo>
                      <a:pt x="85" y="20"/>
                    </a:lnTo>
                    <a:lnTo>
                      <a:pt x="86" y="20"/>
                    </a:lnTo>
                    <a:lnTo>
                      <a:pt x="88" y="20"/>
                    </a:lnTo>
                    <a:lnTo>
                      <a:pt x="90" y="18"/>
                    </a:lnTo>
                    <a:lnTo>
                      <a:pt x="90" y="17"/>
                    </a:lnTo>
                    <a:lnTo>
                      <a:pt x="91" y="17"/>
                    </a:lnTo>
                    <a:lnTo>
                      <a:pt x="91" y="15"/>
                    </a:lnTo>
                    <a:lnTo>
                      <a:pt x="93" y="15"/>
                    </a:lnTo>
                    <a:lnTo>
                      <a:pt x="91" y="15"/>
                    </a:lnTo>
                    <a:lnTo>
                      <a:pt x="93" y="15"/>
                    </a:lnTo>
                    <a:lnTo>
                      <a:pt x="93" y="13"/>
                    </a:lnTo>
                    <a:lnTo>
                      <a:pt x="95" y="13"/>
                    </a:lnTo>
                    <a:lnTo>
                      <a:pt x="95" y="12"/>
                    </a:lnTo>
                    <a:lnTo>
                      <a:pt x="97" y="12"/>
                    </a:lnTo>
                    <a:lnTo>
                      <a:pt x="98" y="10"/>
                    </a:lnTo>
                    <a:lnTo>
                      <a:pt x="100" y="10"/>
                    </a:lnTo>
                    <a:lnTo>
                      <a:pt x="100" y="8"/>
                    </a:lnTo>
                    <a:lnTo>
                      <a:pt x="102" y="8"/>
                    </a:lnTo>
                    <a:lnTo>
                      <a:pt x="102" y="6"/>
                    </a:lnTo>
                    <a:lnTo>
                      <a:pt x="103" y="6"/>
                    </a:lnTo>
                    <a:lnTo>
                      <a:pt x="105" y="6"/>
                    </a:lnTo>
                    <a:lnTo>
                      <a:pt x="107" y="6"/>
                    </a:lnTo>
                    <a:lnTo>
                      <a:pt x="108" y="6"/>
                    </a:lnTo>
                    <a:lnTo>
                      <a:pt x="110" y="6"/>
                    </a:lnTo>
                    <a:lnTo>
                      <a:pt x="108" y="6"/>
                    </a:lnTo>
                    <a:lnTo>
                      <a:pt x="110" y="6"/>
                    </a:lnTo>
                    <a:lnTo>
                      <a:pt x="112" y="6"/>
                    </a:lnTo>
                    <a:lnTo>
                      <a:pt x="112" y="5"/>
                    </a:lnTo>
                    <a:lnTo>
                      <a:pt x="114" y="5"/>
                    </a:lnTo>
                    <a:lnTo>
                      <a:pt x="115" y="5"/>
                    </a:lnTo>
                    <a:lnTo>
                      <a:pt x="115" y="3"/>
                    </a:lnTo>
                    <a:lnTo>
                      <a:pt x="115" y="5"/>
                    </a:lnTo>
                    <a:lnTo>
                      <a:pt x="117" y="5"/>
                    </a:lnTo>
                    <a:lnTo>
                      <a:pt x="117" y="3"/>
                    </a:lnTo>
                    <a:lnTo>
                      <a:pt x="119" y="3"/>
                    </a:lnTo>
                    <a:lnTo>
                      <a:pt x="120" y="3"/>
                    </a:lnTo>
                    <a:lnTo>
                      <a:pt x="120" y="5"/>
                    </a:lnTo>
                    <a:lnTo>
                      <a:pt x="120" y="3"/>
                    </a:lnTo>
                    <a:lnTo>
                      <a:pt x="122" y="3"/>
                    </a:lnTo>
                    <a:lnTo>
                      <a:pt x="122" y="5"/>
                    </a:lnTo>
                    <a:lnTo>
                      <a:pt x="122" y="3"/>
                    </a:lnTo>
                    <a:lnTo>
                      <a:pt x="124" y="3"/>
                    </a:lnTo>
                    <a:lnTo>
                      <a:pt x="125" y="3"/>
                    </a:lnTo>
                    <a:lnTo>
                      <a:pt x="125" y="1"/>
                    </a:lnTo>
                    <a:lnTo>
                      <a:pt x="125" y="3"/>
                    </a:lnTo>
                    <a:lnTo>
                      <a:pt x="125" y="1"/>
                    </a:lnTo>
                    <a:lnTo>
                      <a:pt x="127" y="3"/>
                    </a:lnTo>
                    <a:lnTo>
                      <a:pt x="127" y="1"/>
                    </a:lnTo>
                    <a:lnTo>
                      <a:pt x="127" y="3"/>
                    </a:lnTo>
                    <a:lnTo>
                      <a:pt x="129" y="3"/>
                    </a:lnTo>
                    <a:lnTo>
                      <a:pt x="129" y="1"/>
                    </a:lnTo>
                    <a:lnTo>
                      <a:pt x="131" y="1"/>
                    </a:lnTo>
                    <a:lnTo>
                      <a:pt x="129" y="3"/>
                    </a:lnTo>
                    <a:lnTo>
                      <a:pt x="131" y="3"/>
                    </a:lnTo>
                    <a:lnTo>
                      <a:pt x="131" y="1"/>
                    </a:lnTo>
                    <a:lnTo>
                      <a:pt x="132" y="3"/>
                    </a:lnTo>
                    <a:lnTo>
                      <a:pt x="132" y="1"/>
                    </a:lnTo>
                    <a:lnTo>
                      <a:pt x="134" y="1"/>
                    </a:lnTo>
                    <a:lnTo>
                      <a:pt x="134" y="3"/>
                    </a:lnTo>
                    <a:lnTo>
                      <a:pt x="132" y="3"/>
                    </a:lnTo>
                    <a:lnTo>
                      <a:pt x="134" y="3"/>
                    </a:lnTo>
                    <a:lnTo>
                      <a:pt x="132" y="3"/>
                    </a:lnTo>
                    <a:lnTo>
                      <a:pt x="134" y="5"/>
                    </a:lnTo>
                    <a:lnTo>
                      <a:pt x="134" y="3"/>
                    </a:lnTo>
                    <a:lnTo>
                      <a:pt x="136" y="3"/>
                    </a:lnTo>
                    <a:lnTo>
                      <a:pt x="136" y="5"/>
                    </a:lnTo>
                    <a:lnTo>
                      <a:pt x="136" y="3"/>
                    </a:lnTo>
                    <a:lnTo>
                      <a:pt x="136" y="5"/>
                    </a:lnTo>
                    <a:lnTo>
                      <a:pt x="137" y="5"/>
                    </a:lnTo>
                    <a:lnTo>
                      <a:pt x="139" y="5"/>
                    </a:lnTo>
                    <a:lnTo>
                      <a:pt x="137" y="5"/>
                    </a:lnTo>
                    <a:lnTo>
                      <a:pt x="137" y="3"/>
                    </a:lnTo>
                    <a:lnTo>
                      <a:pt x="139" y="3"/>
                    </a:lnTo>
                    <a:lnTo>
                      <a:pt x="141" y="3"/>
                    </a:lnTo>
                    <a:lnTo>
                      <a:pt x="141" y="1"/>
                    </a:lnTo>
                    <a:lnTo>
                      <a:pt x="141" y="0"/>
                    </a:lnTo>
                    <a:lnTo>
                      <a:pt x="141" y="1"/>
                    </a:lnTo>
                    <a:lnTo>
                      <a:pt x="141" y="0"/>
                    </a:lnTo>
                    <a:lnTo>
                      <a:pt x="142" y="0"/>
                    </a:lnTo>
                    <a:lnTo>
                      <a:pt x="144" y="0"/>
                    </a:lnTo>
                    <a:lnTo>
                      <a:pt x="144" y="1"/>
                    </a:lnTo>
                    <a:lnTo>
                      <a:pt x="146" y="1"/>
                    </a:lnTo>
                    <a:lnTo>
                      <a:pt x="146" y="3"/>
                    </a:lnTo>
                    <a:lnTo>
                      <a:pt x="146" y="5"/>
                    </a:lnTo>
                    <a:lnTo>
                      <a:pt x="148" y="5"/>
                    </a:lnTo>
                    <a:lnTo>
                      <a:pt x="148" y="6"/>
                    </a:lnTo>
                    <a:lnTo>
                      <a:pt x="146" y="6"/>
                    </a:lnTo>
                    <a:lnTo>
                      <a:pt x="146" y="8"/>
                    </a:lnTo>
                    <a:lnTo>
                      <a:pt x="146" y="10"/>
                    </a:lnTo>
                    <a:lnTo>
                      <a:pt x="146" y="12"/>
                    </a:lnTo>
                    <a:lnTo>
                      <a:pt x="146" y="13"/>
                    </a:lnTo>
                    <a:lnTo>
                      <a:pt x="148" y="13"/>
                    </a:lnTo>
                    <a:lnTo>
                      <a:pt x="148" y="15"/>
                    </a:lnTo>
                    <a:lnTo>
                      <a:pt x="146" y="17"/>
                    </a:lnTo>
                    <a:lnTo>
                      <a:pt x="148" y="17"/>
                    </a:lnTo>
                    <a:lnTo>
                      <a:pt x="148" y="18"/>
                    </a:lnTo>
                    <a:lnTo>
                      <a:pt x="146" y="18"/>
                    </a:lnTo>
                    <a:lnTo>
                      <a:pt x="146" y="20"/>
                    </a:lnTo>
                    <a:lnTo>
                      <a:pt x="146" y="22"/>
                    </a:lnTo>
                    <a:lnTo>
                      <a:pt x="144" y="22"/>
                    </a:lnTo>
                    <a:lnTo>
                      <a:pt x="144" y="23"/>
                    </a:lnTo>
                    <a:lnTo>
                      <a:pt x="144" y="25"/>
                    </a:lnTo>
                    <a:lnTo>
                      <a:pt x="144" y="27"/>
                    </a:lnTo>
                    <a:lnTo>
                      <a:pt x="142" y="27"/>
                    </a:lnTo>
                    <a:lnTo>
                      <a:pt x="142" y="29"/>
                    </a:lnTo>
                    <a:lnTo>
                      <a:pt x="144" y="29"/>
                    </a:lnTo>
                    <a:lnTo>
                      <a:pt x="144" y="30"/>
                    </a:lnTo>
                    <a:lnTo>
                      <a:pt x="142" y="30"/>
                    </a:lnTo>
                    <a:lnTo>
                      <a:pt x="144" y="32"/>
                    </a:lnTo>
                    <a:lnTo>
                      <a:pt x="146" y="34"/>
                    </a:lnTo>
                    <a:lnTo>
                      <a:pt x="146" y="35"/>
                    </a:lnTo>
                    <a:lnTo>
                      <a:pt x="146" y="37"/>
                    </a:lnTo>
                    <a:lnTo>
                      <a:pt x="146" y="39"/>
                    </a:lnTo>
                    <a:lnTo>
                      <a:pt x="148" y="39"/>
                    </a:lnTo>
                    <a:lnTo>
                      <a:pt x="148" y="40"/>
                    </a:lnTo>
                    <a:lnTo>
                      <a:pt x="148" y="42"/>
                    </a:lnTo>
                    <a:lnTo>
                      <a:pt x="148" y="44"/>
                    </a:lnTo>
                    <a:lnTo>
                      <a:pt x="149" y="44"/>
                    </a:lnTo>
                    <a:lnTo>
                      <a:pt x="148" y="46"/>
                    </a:lnTo>
                    <a:lnTo>
                      <a:pt x="148" y="47"/>
                    </a:lnTo>
                    <a:lnTo>
                      <a:pt x="146" y="49"/>
                    </a:lnTo>
                    <a:lnTo>
                      <a:pt x="144" y="49"/>
                    </a:lnTo>
                    <a:lnTo>
                      <a:pt x="144" y="51"/>
                    </a:lnTo>
                    <a:lnTo>
                      <a:pt x="146" y="51"/>
                    </a:lnTo>
                    <a:lnTo>
                      <a:pt x="146" y="52"/>
                    </a:lnTo>
                    <a:lnTo>
                      <a:pt x="144" y="52"/>
                    </a:lnTo>
                    <a:lnTo>
                      <a:pt x="144" y="54"/>
                    </a:lnTo>
                    <a:lnTo>
                      <a:pt x="146" y="54"/>
                    </a:lnTo>
                    <a:lnTo>
                      <a:pt x="146" y="56"/>
                    </a:lnTo>
                    <a:lnTo>
                      <a:pt x="148" y="56"/>
                    </a:lnTo>
                    <a:lnTo>
                      <a:pt x="146" y="56"/>
                    </a:lnTo>
                    <a:lnTo>
                      <a:pt x="146" y="57"/>
                    </a:lnTo>
                    <a:lnTo>
                      <a:pt x="146" y="59"/>
                    </a:lnTo>
                    <a:lnTo>
                      <a:pt x="146" y="61"/>
                    </a:lnTo>
                    <a:lnTo>
                      <a:pt x="148" y="63"/>
                    </a:lnTo>
                    <a:lnTo>
                      <a:pt x="149" y="63"/>
                    </a:lnTo>
                    <a:lnTo>
                      <a:pt x="149" y="64"/>
                    </a:lnTo>
                    <a:lnTo>
                      <a:pt x="149" y="66"/>
                    </a:lnTo>
                    <a:lnTo>
                      <a:pt x="149" y="68"/>
                    </a:lnTo>
                    <a:lnTo>
                      <a:pt x="148" y="69"/>
                    </a:lnTo>
                    <a:lnTo>
                      <a:pt x="149" y="69"/>
                    </a:lnTo>
                    <a:lnTo>
                      <a:pt x="149" y="71"/>
                    </a:lnTo>
                    <a:lnTo>
                      <a:pt x="151" y="71"/>
                    </a:lnTo>
                    <a:lnTo>
                      <a:pt x="151" y="69"/>
                    </a:lnTo>
                    <a:lnTo>
                      <a:pt x="153" y="69"/>
                    </a:lnTo>
                    <a:lnTo>
                      <a:pt x="154" y="69"/>
                    </a:lnTo>
                    <a:lnTo>
                      <a:pt x="154" y="71"/>
                    </a:lnTo>
                    <a:lnTo>
                      <a:pt x="154" y="73"/>
                    </a:lnTo>
                    <a:lnTo>
                      <a:pt x="154" y="74"/>
                    </a:lnTo>
                    <a:lnTo>
                      <a:pt x="156" y="74"/>
                    </a:lnTo>
                    <a:lnTo>
                      <a:pt x="156" y="76"/>
                    </a:lnTo>
                    <a:lnTo>
                      <a:pt x="156" y="78"/>
                    </a:lnTo>
                    <a:lnTo>
                      <a:pt x="156" y="80"/>
                    </a:lnTo>
                    <a:lnTo>
                      <a:pt x="158" y="80"/>
                    </a:lnTo>
                    <a:lnTo>
                      <a:pt x="159" y="80"/>
                    </a:lnTo>
                    <a:lnTo>
                      <a:pt x="161" y="80"/>
                    </a:lnTo>
                    <a:lnTo>
                      <a:pt x="163" y="80"/>
                    </a:lnTo>
                    <a:lnTo>
                      <a:pt x="163" y="81"/>
                    </a:lnTo>
                    <a:lnTo>
                      <a:pt x="163" y="83"/>
                    </a:lnTo>
                    <a:lnTo>
                      <a:pt x="163" y="81"/>
                    </a:lnTo>
                    <a:lnTo>
                      <a:pt x="165" y="81"/>
                    </a:lnTo>
                    <a:lnTo>
                      <a:pt x="165" y="83"/>
                    </a:lnTo>
                    <a:lnTo>
                      <a:pt x="165" y="85"/>
                    </a:lnTo>
                    <a:lnTo>
                      <a:pt x="166" y="85"/>
                    </a:lnTo>
                    <a:lnTo>
                      <a:pt x="166" y="83"/>
                    </a:lnTo>
                    <a:lnTo>
                      <a:pt x="166" y="81"/>
                    </a:lnTo>
                    <a:lnTo>
                      <a:pt x="166" y="83"/>
                    </a:lnTo>
                    <a:lnTo>
                      <a:pt x="168" y="83"/>
                    </a:lnTo>
                    <a:lnTo>
                      <a:pt x="166" y="83"/>
                    </a:lnTo>
                    <a:lnTo>
                      <a:pt x="166" y="85"/>
                    </a:lnTo>
                    <a:lnTo>
                      <a:pt x="168" y="86"/>
                    </a:lnTo>
                    <a:lnTo>
                      <a:pt x="170" y="86"/>
                    </a:lnTo>
                    <a:lnTo>
                      <a:pt x="171" y="86"/>
                    </a:lnTo>
                    <a:lnTo>
                      <a:pt x="171" y="88"/>
                    </a:lnTo>
                    <a:lnTo>
                      <a:pt x="173" y="88"/>
                    </a:lnTo>
                    <a:lnTo>
                      <a:pt x="173" y="86"/>
                    </a:lnTo>
                    <a:lnTo>
                      <a:pt x="173" y="88"/>
                    </a:lnTo>
                    <a:lnTo>
                      <a:pt x="175" y="88"/>
                    </a:lnTo>
                    <a:lnTo>
                      <a:pt x="175" y="90"/>
                    </a:lnTo>
                    <a:lnTo>
                      <a:pt x="173" y="91"/>
                    </a:lnTo>
                    <a:lnTo>
                      <a:pt x="175" y="91"/>
                    </a:lnTo>
                    <a:lnTo>
                      <a:pt x="175" y="93"/>
                    </a:lnTo>
                    <a:lnTo>
                      <a:pt x="176" y="93"/>
                    </a:lnTo>
                    <a:lnTo>
                      <a:pt x="176" y="95"/>
                    </a:lnTo>
                    <a:lnTo>
                      <a:pt x="178" y="95"/>
                    </a:lnTo>
                    <a:lnTo>
                      <a:pt x="180" y="95"/>
                    </a:lnTo>
                    <a:lnTo>
                      <a:pt x="182" y="95"/>
                    </a:lnTo>
                    <a:lnTo>
                      <a:pt x="180" y="97"/>
                    </a:lnTo>
                    <a:lnTo>
                      <a:pt x="182" y="97"/>
                    </a:lnTo>
                    <a:lnTo>
                      <a:pt x="182" y="95"/>
                    </a:lnTo>
                    <a:lnTo>
                      <a:pt x="183" y="95"/>
                    </a:lnTo>
                    <a:lnTo>
                      <a:pt x="185" y="95"/>
                    </a:lnTo>
                    <a:lnTo>
                      <a:pt x="185" y="97"/>
                    </a:lnTo>
                    <a:lnTo>
                      <a:pt x="187" y="97"/>
                    </a:lnTo>
                    <a:lnTo>
                      <a:pt x="187" y="95"/>
                    </a:lnTo>
                    <a:lnTo>
                      <a:pt x="187" y="97"/>
                    </a:lnTo>
                    <a:lnTo>
                      <a:pt x="188" y="97"/>
                    </a:lnTo>
                    <a:lnTo>
                      <a:pt x="190" y="97"/>
                    </a:lnTo>
                    <a:lnTo>
                      <a:pt x="192" y="97"/>
                    </a:lnTo>
                    <a:lnTo>
                      <a:pt x="193" y="97"/>
                    </a:lnTo>
                    <a:lnTo>
                      <a:pt x="195" y="95"/>
                    </a:lnTo>
                    <a:lnTo>
                      <a:pt x="197" y="95"/>
                    </a:lnTo>
                    <a:lnTo>
                      <a:pt x="199" y="93"/>
                    </a:lnTo>
                    <a:lnTo>
                      <a:pt x="199" y="95"/>
                    </a:lnTo>
                    <a:lnTo>
                      <a:pt x="200" y="95"/>
                    </a:lnTo>
                    <a:lnTo>
                      <a:pt x="202" y="95"/>
                    </a:lnTo>
                    <a:lnTo>
                      <a:pt x="204" y="95"/>
                    </a:lnTo>
                    <a:lnTo>
                      <a:pt x="204" y="97"/>
                    </a:lnTo>
                    <a:lnTo>
                      <a:pt x="205" y="97"/>
                    </a:lnTo>
                    <a:lnTo>
                      <a:pt x="207" y="97"/>
                    </a:lnTo>
                    <a:lnTo>
                      <a:pt x="207" y="98"/>
                    </a:lnTo>
                    <a:lnTo>
                      <a:pt x="209" y="98"/>
                    </a:lnTo>
                    <a:lnTo>
                      <a:pt x="210" y="98"/>
                    </a:lnTo>
                    <a:lnTo>
                      <a:pt x="210" y="100"/>
                    </a:lnTo>
                    <a:lnTo>
                      <a:pt x="209" y="100"/>
                    </a:lnTo>
                    <a:lnTo>
                      <a:pt x="210" y="100"/>
                    </a:lnTo>
                    <a:lnTo>
                      <a:pt x="210" y="102"/>
                    </a:lnTo>
                    <a:lnTo>
                      <a:pt x="212" y="102"/>
                    </a:lnTo>
                    <a:lnTo>
                      <a:pt x="214" y="102"/>
                    </a:lnTo>
                    <a:lnTo>
                      <a:pt x="214" y="103"/>
                    </a:lnTo>
                    <a:lnTo>
                      <a:pt x="216" y="103"/>
                    </a:lnTo>
                    <a:lnTo>
                      <a:pt x="217" y="103"/>
                    </a:lnTo>
                    <a:lnTo>
                      <a:pt x="216" y="102"/>
                    </a:lnTo>
                    <a:lnTo>
                      <a:pt x="217" y="102"/>
                    </a:lnTo>
                    <a:lnTo>
                      <a:pt x="217" y="100"/>
                    </a:lnTo>
                    <a:lnTo>
                      <a:pt x="219" y="102"/>
                    </a:lnTo>
                    <a:lnTo>
                      <a:pt x="219" y="100"/>
                    </a:lnTo>
                    <a:lnTo>
                      <a:pt x="219" y="102"/>
                    </a:lnTo>
                    <a:lnTo>
                      <a:pt x="221" y="102"/>
                    </a:lnTo>
                    <a:lnTo>
                      <a:pt x="221" y="103"/>
                    </a:lnTo>
                    <a:lnTo>
                      <a:pt x="222" y="103"/>
                    </a:lnTo>
                    <a:lnTo>
                      <a:pt x="222" y="105"/>
                    </a:lnTo>
                    <a:lnTo>
                      <a:pt x="224" y="105"/>
                    </a:lnTo>
                    <a:lnTo>
                      <a:pt x="224" y="107"/>
                    </a:lnTo>
                    <a:lnTo>
                      <a:pt x="224" y="108"/>
                    </a:lnTo>
                    <a:lnTo>
                      <a:pt x="226" y="108"/>
                    </a:lnTo>
                    <a:lnTo>
                      <a:pt x="227" y="108"/>
                    </a:lnTo>
                    <a:lnTo>
                      <a:pt x="227" y="110"/>
                    </a:lnTo>
                    <a:lnTo>
                      <a:pt x="229" y="110"/>
                    </a:lnTo>
                    <a:lnTo>
                      <a:pt x="229" y="112"/>
                    </a:lnTo>
                    <a:lnTo>
                      <a:pt x="231" y="112"/>
                    </a:lnTo>
                    <a:lnTo>
                      <a:pt x="231" y="114"/>
                    </a:lnTo>
                    <a:lnTo>
                      <a:pt x="233" y="114"/>
                    </a:lnTo>
                    <a:lnTo>
                      <a:pt x="234" y="115"/>
                    </a:lnTo>
                    <a:lnTo>
                      <a:pt x="234" y="114"/>
                    </a:lnTo>
                    <a:lnTo>
                      <a:pt x="236" y="114"/>
                    </a:lnTo>
                    <a:lnTo>
                      <a:pt x="236" y="112"/>
                    </a:lnTo>
                    <a:lnTo>
                      <a:pt x="236" y="114"/>
                    </a:lnTo>
                    <a:lnTo>
                      <a:pt x="238" y="114"/>
                    </a:lnTo>
                    <a:lnTo>
                      <a:pt x="238" y="115"/>
                    </a:lnTo>
                    <a:lnTo>
                      <a:pt x="239" y="115"/>
                    </a:lnTo>
                    <a:lnTo>
                      <a:pt x="239" y="117"/>
                    </a:lnTo>
                    <a:lnTo>
                      <a:pt x="241" y="115"/>
                    </a:lnTo>
                    <a:lnTo>
                      <a:pt x="241" y="117"/>
                    </a:lnTo>
                    <a:lnTo>
                      <a:pt x="243" y="117"/>
                    </a:lnTo>
                    <a:lnTo>
                      <a:pt x="243" y="115"/>
                    </a:lnTo>
                    <a:lnTo>
                      <a:pt x="243" y="117"/>
                    </a:lnTo>
                    <a:lnTo>
                      <a:pt x="244" y="117"/>
                    </a:lnTo>
                    <a:lnTo>
                      <a:pt x="244" y="119"/>
                    </a:lnTo>
                    <a:lnTo>
                      <a:pt x="244" y="117"/>
                    </a:lnTo>
                    <a:lnTo>
                      <a:pt x="244" y="119"/>
                    </a:lnTo>
                    <a:lnTo>
                      <a:pt x="246" y="119"/>
                    </a:lnTo>
                    <a:lnTo>
                      <a:pt x="248" y="119"/>
                    </a:lnTo>
                    <a:lnTo>
                      <a:pt x="250" y="119"/>
                    </a:lnTo>
                    <a:lnTo>
                      <a:pt x="250" y="117"/>
                    </a:lnTo>
                    <a:lnTo>
                      <a:pt x="251" y="117"/>
                    </a:lnTo>
                    <a:lnTo>
                      <a:pt x="251" y="119"/>
                    </a:lnTo>
                    <a:lnTo>
                      <a:pt x="253" y="119"/>
                    </a:lnTo>
                    <a:lnTo>
                      <a:pt x="251" y="117"/>
                    </a:lnTo>
                    <a:lnTo>
                      <a:pt x="253" y="117"/>
                    </a:lnTo>
                    <a:lnTo>
                      <a:pt x="253" y="119"/>
                    </a:lnTo>
                    <a:lnTo>
                      <a:pt x="255" y="119"/>
                    </a:lnTo>
                    <a:lnTo>
                      <a:pt x="255" y="120"/>
                    </a:lnTo>
                    <a:lnTo>
                      <a:pt x="255" y="122"/>
                    </a:lnTo>
                    <a:lnTo>
                      <a:pt x="255" y="124"/>
                    </a:lnTo>
                    <a:lnTo>
                      <a:pt x="256" y="124"/>
                    </a:lnTo>
                    <a:lnTo>
                      <a:pt x="256" y="125"/>
                    </a:lnTo>
                    <a:lnTo>
                      <a:pt x="258" y="125"/>
                    </a:lnTo>
                    <a:lnTo>
                      <a:pt x="258" y="127"/>
                    </a:lnTo>
                    <a:lnTo>
                      <a:pt x="258" y="125"/>
                    </a:lnTo>
                    <a:lnTo>
                      <a:pt x="260" y="127"/>
                    </a:lnTo>
                    <a:lnTo>
                      <a:pt x="260" y="129"/>
                    </a:lnTo>
                    <a:lnTo>
                      <a:pt x="260" y="127"/>
                    </a:lnTo>
                    <a:lnTo>
                      <a:pt x="261" y="129"/>
                    </a:lnTo>
                    <a:lnTo>
                      <a:pt x="261" y="131"/>
                    </a:lnTo>
                    <a:lnTo>
                      <a:pt x="263" y="131"/>
                    </a:lnTo>
                    <a:lnTo>
                      <a:pt x="263" y="132"/>
                    </a:lnTo>
                    <a:lnTo>
                      <a:pt x="265" y="132"/>
                    </a:lnTo>
                    <a:lnTo>
                      <a:pt x="267" y="132"/>
                    </a:lnTo>
                    <a:lnTo>
                      <a:pt x="268" y="132"/>
                    </a:lnTo>
                    <a:lnTo>
                      <a:pt x="268" y="131"/>
                    </a:lnTo>
                    <a:lnTo>
                      <a:pt x="270" y="131"/>
                    </a:lnTo>
                    <a:lnTo>
                      <a:pt x="270" y="132"/>
                    </a:lnTo>
                    <a:lnTo>
                      <a:pt x="270" y="131"/>
                    </a:lnTo>
                    <a:lnTo>
                      <a:pt x="272" y="132"/>
                    </a:lnTo>
                    <a:lnTo>
                      <a:pt x="272" y="131"/>
                    </a:lnTo>
                    <a:lnTo>
                      <a:pt x="273" y="132"/>
                    </a:lnTo>
                    <a:lnTo>
                      <a:pt x="275" y="132"/>
                    </a:lnTo>
                    <a:lnTo>
                      <a:pt x="277" y="132"/>
                    </a:lnTo>
                    <a:lnTo>
                      <a:pt x="278" y="132"/>
                    </a:lnTo>
                    <a:lnTo>
                      <a:pt x="280" y="132"/>
                    </a:lnTo>
                    <a:lnTo>
                      <a:pt x="280" y="131"/>
                    </a:lnTo>
                    <a:lnTo>
                      <a:pt x="282" y="131"/>
                    </a:lnTo>
                    <a:lnTo>
                      <a:pt x="284" y="131"/>
                    </a:lnTo>
                    <a:lnTo>
                      <a:pt x="284" y="132"/>
                    </a:lnTo>
                    <a:lnTo>
                      <a:pt x="285" y="132"/>
                    </a:lnTo>
                    <a:lnTo>
                      <a:pt x="285" y="131"/>
                    </a:lnTo>
                    <a:lnTo>
                      <a:pt x="285" y="132"/>
                    </a:lnTo>
                    <a:lnTo>
                      <a:pt x="287" y="132"/>
                    </a:lnTo>
                    <a:lnTo>
                      <a:pt x="287" y="131"/>
                    </a:lnTo>
                    <a:lnTo>
                      <a:pt x="287" y="132"/>
                    </a:lnTo>
                    <a:lnTo>
                      <a:pt x="289" y="132"/>
                    </a:lnTo>
                    <a:lnTo>
                      <a:pt x="289" y="131"/>
                    </a:lnTo>
                    <a:lnTo>
                      <a:pt x="290" y="131"/>
                    </a:lnTo>
                    <a:lnTo>
                      <a:pt x="290" y="132"/>
                    </a:lnTo>
                    <a:lnTo>
                      <a:pt x="290" y="131"/>
                    </a:lnTo>
                    <a:lnTo>
                      <a:pt x="292" y="131"/>
                    </a:lnTo>
                    <a:lnTo>
                      <a:pt x="292" y="132"/>
                    </a:lnTo>
                    <a:lnTo>
                      <a:pt x="294" y="132"/>
                    </a:lnTo>
                    <a:lnTo>
                      <a:pt x="295" y="132"/>
                    </a:lnTo>
                    <a:lnTo>
                      <a:pt x="295" y="134"/>
                    </a:lnTo>
                    <a:lnTo>
                      <a:pt x="295" y="136"/>
                    </a:lnTo>
                    <a:lnTo>
                      <a:pt x="297" y="136"/>
                    </a:lnTo>
                    <a:lnTo>
                      <a:pt x="299" y="136"/>
                    </a:lnTo>
                    <a:lnTo>
                      <a:pt x="299" y="137"/>
                    </a:lnTo>
                    <a:lnTo>
                      <a:pt x="301" y="137"/>
                    </a:lnTo>
                    <a:lnTo>
                      <a:pt x="302" y="137"/>
                    </a:lnTo>
                    <a:lnTo>
                      <a:pt x="302" y="139"/>
                    </a:lnTo>
                    <a:lnTo>
                      <a:pt x="302" y="137"/>
                    </a:lnTo>
                    <a:lnTo>
                      <a:pt x="302" y="139"/>
                    </a:lnTo>
                    <a:lnTo>
                      <a:pt x="304" y="139"/>
                    </a:lnTo>
                    <a:lnTo>
                      <a:pt x="306" y="139"/>
                    </a:lnTo>
                    <a:lnTo>
                      <a:pt x="307" y="141"/>
                    </a:lnTo>
                    <a:lnTo>
                      <a:pt x="309" y="141"/>
                    </a:lnTo>
                    <a:lnTo>
                      <a:pt x="311" y="141"/>
                    </a:lnTo>
                    <a:lnTo>
                      <a:pt x="309" y="143"/>
                    </a:lnTo>
                    <a:lnTo>
                      <a:pt x="311" y="143"/>
                    </a:lnTo>
                    <a:lnTo>
                      <a:pt x="309" y="143"/>
                    </a:lnTo>
                    <a:lnTo>
                      <a:pt x="311" y="143"/>
                    </a:lnTo>
                    <a:lnTo>
                      <a:pt x="309" y="143"/>
                    </a:lnTo>
                    <a:lnTo>
                      <a:pt x="309" y="144"/>
                    </a:lnTo>
                    <a:lnTo>
                      <a:pt x="309" y="143"/>
                    </a:lnTo>
                    <a:lnTo>
                      <a:pt x="311" y="144"/>
                    </a:lnTo>
                    <a:lnTo>
                      <a:pt x="309" y="144"/>
                    </a:lnTo>
                    <a:lnTo>
                      <a:pt x="311" y="144"/>
                    </a:lnTo>
                    <a:lnTo>
                      <a:pt x="311" y="146"/>
                    </a:lnTo>
                    <a:lnTo>
                      <a:pt x="311" y="148"/>
                    </a:lnTo>
                    <a:lnTo>
                      <a:pt x="312" y="148"/>
                    </a:lnTo>
                    <a:lnTo>
                      <a:pt x="312" y="149"/>
                    </a:lnTo>
                    <a:lnTo>
                      <a:pt x="311" y="149"/>
                    </a:lnTo>
                    <a:lnTo>
                      <a:pt x="311" y="151"/>
                    </a:lnTo>
                    <a:lnTo>
                      <a:pt x="309" y="151"/>
                    </a:lnTo>
                    <a:lnTo>
                      <a:pt x="309" y="153"/>
                    </a:lnTo>
                    <a:lnTo>
                      <a:pt x="309" y="154"/>
                    </a:lnTo>
                    <a:lnTo>
                      <a:pt x="309" y="156"/>
                    </a:lnTo>
                    <a:lnTo>
                      <a:pt x="311" y="156"/>
                    </a:lnTo>
                    <a:lnTo>
                      <a:pt x="311" y="158"/>
                    </a:lnTo>
                    <a:lnTo>
                      <a:pt x="311" y="160"/>
                    </a:lnTo>
                    <a:lnTo>
                      <a:pt x="311" y="161"/>
                    </a:lnTo>
                    <a:lnTo>
                      <a:pt x="312" y="161"/>
                    </a:lnTo>
                    <a:lnTo>
                      <a:pt x="312" y="163"/>
                    </a:lnTo>
                    <a:lnTo>
                      <a:pt x="312" y="165"/>
                    </a:lnTo>
                    <a:lnTo>
                      <a:pt x="314" y="165"/>
                    </a:lnTo>
                    <a:lnTo>
                      <a:pt x="314" y="166"/>
                    </a:lnTo>
                    <a:lnTo>
                      <a:pt x="314" y="168"/>
                    </a:lnTo>
                    <a:lnTo>
                      <a:pt x="314" y="170"/>
                    </a:lnTo>
                    <a:lnTo>
                      <a:pt x="316" y="170"/>
                    </a:lnTo>
                    <a:lnTo>
                      <a:pt x="316" y="171"/>
                    </a:lnTo>
                    <a:lnTo>
                      <a:pt x="318" y="173"/>
                    </a:lnTo>
                    <a:lnTo>
                      <a:pt x="318" y="175"/>
                    </a:lnTo>
                    <a:lnTo>
                      <a:pt x="318" y="177"/>
                    </a:lnTo>
                    <a:lnTo>
                      <a:pt x="318" y="180"/>
                    </a:lnTo>
                    <a:lnTo>
                      <a:pt x="318" y="182"/>
                    </a:lnTo>
                    <a:lnTo>
                      <a:pt x="318" y="183"/>
                    </a:lnTo>
                    <a:lnTo>
                      <a:pt x="318" y="187"/>
                    </a:lnTo>
                    <a:lnTo>
                      <a:pt x="316" y="187"/>
                    </a:lnTo>
                    <a:lnTo>
                      <a:pt x="314" y="187"/>
                    </a:lnTo>
                    <a:lnTo>
                      <a:pt x="311" y="187"/>
                    </a:lnTo>
                    <a:lnTo>
                      <a:pt x="309" y="187"/>
                    </a:lnTo>
                    <a:lnTo>
                      <a:pt x="306" y="187"/>
                    </a:lnTo>
                    <a:lnTo>
                      <a:pt x="309" y="190"/>
                    </a:lnTo>
                    <a:lnTo>
                      <a:pt x="314" y="195"/>
                    </a:lnTo>
                    <a:lnTo>
                      <a:pt x="316" y="199"/>
                    </a:lnTo>
                    <a:lnTo>
                      <a:pt x="318" y="200"/>
                    </a:lnTo>
                    <a:lnTo>
                      <a:pt x="318" y="202"/>
                    </a:lnTo>
                    <a:lnTo>
                      <a:pt x="318" y="204"/>
                    </a:lnTo>
                    <a:lnTo>
                      <a:pt x="319" y="221"/>
                    </a:lnTo>
                    <a:lnTo>
                      <a:pt x="319" y="224"/>
                    </a:lnTo>
                    <a:lnTo>
                      <a:pt x="319" y="228"/>
                    </a:lnTo>
                    <a:lnTo>
                      <a:pt x="321" y="228"/>
                    </a:lnTo>
                    <a:lnTo>
                      <a:pt x="323" y="228"/>
                    </a:lnTo>
                    <a:lnTo>
                      <a:pt x="324" y="228"/>
                    </a:lnTo>
                    <a:lnTo>
                      <a:pt x="326" y="228"/>
                    </a:lnTo>
                    <a:lnTo>
                      <a:pt x="329" y="228"/>
                    </a:lnTo>
                    <a:lnTo>
                      <a:pt x="331" y="228"/>
                    </a:lnTo>
                    <a:lnTo>
                      <a:pt x="335" y="228"/>
                    </a:lnTo>
                    <a:lnTo>
                      <a:pt x="341" y="228"/>
                    </a:lnTo>
                    <a:lnTo>
                      <a:pt x="343" y="228"/>
                    </a:lnTo>
                    <a:lnTo>
                      <a:pt x="345" y="228"/>
                    </a:lnTo>
                    <a:lnTo>
                      <a:pt x="348" y="228"/>
                    </a:lnTo>
                    <a:lnTo>
                      <a:pt x="352" y="229"/>
                    </a:lnTo>
                    <a:lnTo>
                      <a:pt x="353" y="229"/>
                    </a:lnTo>
                    <a:lnTo>
                      <a:pt x="355" y="229"/>
                    </a:lnTo>
                    <a:lnTo>
                      <a:pt x="360" y="229"/>
                    </a:lnTo>
                    <a:lnTo>
                      <a:pt x="367" y="229"/>
                    </a:lnTo>
                    <a:lnTo>
                      <a:pt x="369" y="229"/>
                    </a:lnTo>
                    <a:lnTo>
                      <a:pt x="370" y="229"/>
                    </a:lnTo>
                    <a:lnTo>
                      <a:pt x="375" y="229"/>
                    </a:lnTo>
                    <a:lnTo>
                      <a:pt x="379" y="229"/>
                    </a:lnTo>
                    <a:lnTo>
                      <a:pt x="380" y="229"/>
                    </a:lnTo>
                    <a:lnTo>
                      <a:pt x="380" y="228"/>
                    </a:lnTo>
                    <a:lnTo>
                      <a:pt x="382" y="228"/>
                    </a:lnTo>
                    <a:lnTo>
                      <a:pt x="382" y="229"/>
                    </a:lnTo>
                    <a:lnTo>
                      <a:pt x="382" y="231"/>
                    </a:lnTo>
                    <a:lnTo>
                      <a:pt x="382" y="233"/>
                    </a:lnTo>
                    <a:lnTo>
                      <a:pt x="380" y="233"/>
                    </a:lnTo>
                    <a:lnTo>
                      <a:pt x="380" y="234"/>
                    </a:lnTo>
                    <a:lnTo>
                      <a:pt x="382" y="234"/>
                    </a:lnTo>
                    <a:lnTo>
                      <a:pt x="382" y="236"/>
                    </a:lnTo>
                    <a:lnTo>
                      <a:pt x="380" y="238"/>
                    </a:lnTo>
                    <a:lnTo>
                      <a:pt x="379" y="238"/>
                    </a:lnTo>
                    <a:lnTo>
                      <a:pt x="379" y="239"/>
                    </a:lnTo>
                    <a:lnTo>
                      <a:pt x="379" y="241"/>
                    </a:lnTo>
                    <a:lnTo>
                      <a:pt x="377" y="241"/>
                    </a:lnTo>
                    <a:lnTo>
                      <a:pt x="377" y="243"/>
                    </a:lnTo>
                    <a:lnTo>
                      <a:pt x="377" y="245"/>
                    </a:lnTo>
                    <a:lnTo>
                      <a:pt x="377" y="246"/>
                    </a:lnTo>
                    <a:lnTo>
                      <a:pt x="377" y="248"/>
                    </a:lnTo>
                    <a:lnTo>
                      <a:pt x="377" y="250"/>
                    </a:lnTo>
                    <a:lnTo>
                      <a:pt x="377" y="251"/>
                    </a:lnTo>
                    <a:lnTo>
                      <a:pt x="377" y="253"/>
                    </a:lnTo>
                    <a:lnTo>
                      <a:pt x="379" y="253"/>
                    </a:lnTo>
                    <a:lnTo>
                      <a:pt x="379" y="255"/>
                    </a:lnTo>
                    <a:lnTo>
                      <a:pt x="379" y="256"/>
                    </a:lnTo>
                    <a:lnTo>
                      <a:pt x="380" y="256"/>
                    </a:lnTo>
                    <a:lnTo>
                      <a:pt x="380" y="258"/>
                    </a:lnTo>
                    <a:lnTo>
                      <a:pt x="380" y="260"/>
                    </a:lnTo>
                    <a:lnTo>
                      <a:pt x="380" y="262"/>
                    </a:lnTo>
                    <a:lnTo>
                      <a:pt x="382" y="262"/>
                    </a:lnTo>
                    <a:lnTo>
                      <a:pt x="382" y="263"/>
                    </a:lnTo>
                    <a:lnTo>
                      <a:pt x="384" y="263"/>
                    </a:lnTo>
                    <a:lnTo>
                      <a:pt x="384" y="265"/>
                    </a:lnTo>
                    <a:lnTo>
                      <a:pt x="384" y="267"/>
                    </a:lnTo>
                    <a:lnTo>
                      <a:pt x="386" y="267"/>
                    </a:lnTo>
                    <a:lnTo>
                      <a:pt x="387" y="267"/>
                    </a:lnTo>
                    <a:lnTo>
                      <a:pt x="389" y="268"/>
                    </a:lnTo>
                    <a:lnTo>
                      <a:pt x="389" y="270"/>
                    </a:lnTo>
                    <a:lnTo>
                      <a:pt x="391" y="270"/>
                    </a:lnTo>
                    <a:lnTo>
                      <a:pt x="392" y="270"/>
                    </a:lnTo>
                    <a:lnTo>
                      <a:pt x="392" y="272"/>
                    </a:lnTo>
                    <a:lnTo>
                      <a:pt x="394" y="272"/>
                    </a:lnTo>
                    <a:lnTo>
                      <a:pt x="396" y="272"/>
                    </a:lnTo>
                    <a:lnTo>
                      <a:pt x="396" y="270"/>
                    </a:lnTo>
                    <a:lnTo>
                      <a:pt x="397" y="270"/>
                    </a:lnTo>
                    <a:lnTo>
                      <a:pt x="399" y="272"/>
                    </a:lnTo>
                    <a:lnTo>
                      <a:pt x="401" y="273"/>
                    </a:lnTo>
                    <a:lnTo>
                      <a:pt x="403" y="273"/>
                    </a:lnTo>
                    <a:lnTo>
                      <a:pt x="401" y="273"/>
                    </a:lnTo>
                    <a:lnTo>
                      <a:pt x="401" y="275"/>
                    </a:lnTo>
                    <a:lnTo>
                      <a:pt x="401" y="277"/>
                    </a:lnTo>
                    <a:lnTo>
                      <a:pt x="401" y="279"/>
                    </a:lnTo>
                    <a:lnTo>
                      <a:pt x="403" y="279"/>
                    </a:lnTo>
                    <a:lnTo>
                      <a:pt x="403" y="280"/>
                    </a:lnTo>
                    <a:lnTo>
                      <a:pt x="404" y="282"/>
                    </a:lnTo>
                    <a:lnTo>
                      <a:pt x="404" y="284"/>
                    </a:lnTo>
                    <a:lnTo>
                      <a:pt x="403" y="284"/>
                    </a:lnTo>
                    <a:lnTo>
                      <a:pt x="406" y="289"/>
                    </a:lnTo>
                    <a:lnTo>
                      <a:pt x="406" y="290"/>
                    </a:lnTo>
                    <a:lnTo>
                      <a:pt x="408" y="292"/>
                    </a:lnTo>
                    <a:lnTo>
                      <a:pt x="408" y="294"/>
                    </a:lnTo>
                    <a:lnTo>
                      <a:pt x="409" y="296"/>
                    </a:lnTo>
                    <a:lnTo>
                      <a:pt x="411" y="296"/>
                    </a:lnTo>
                    <a:lnTo>
                      <a:pt x="411" y="297"/>
                    </a:lnTo>
                    <a:lnTo>
                      <a:pt x="409" y="297"/>
                    </a:lnTo>
                    <a:lnTo>
                      <a:pt x="408" y="297"/>
                    </a:lnTo>
                    <a:lnTo>
                      <a:pt x="408" y="299"/>
                    </a:lnTo>
                    <a:lnTo>
                      <a:pt x="408" y="301"/>
                    </a:lnTo>
                    <a:lnTo>
                      <a:pt x="406" y="308"/>
                    </a:lnTo>
                    <a:lnTo>
                      <a:pt x="404" y="309"/>
                    </a:lnTo>
                    <a:lnTo>
                      <a:pt x="404" y="313"/>
                    </a:lnTo>
                    <a:lnTo>
                      <a:pt x="403" y="314"/>
                    </a:lnTo>
                    <a:lnTo>
                      <a:pt x="403" y="316"/>
                    </a:lnTo>
                    <a:lnTo>
                      <a:pt x="403" y="318"/>
                    </a:lnTo>
                    <a:lnTo>
                      <a:pt x="401" y="319"/>
                    </a:lnTo>
                    <a:lnTo>
                      <a:pt x="401" y="321"/>
                    </a:lnTo>
                    <a:lnTo>
                      <a:pt x="403" y="321"/>
                    </a:lnTo>
                    <a:lnTo>
                      <a:pt x="403" y="323"/>
                    </a:lnTo>
                    <a:lnTo>
                      <a:pt x="403" y="325"/>
                    </a:lnTo>
                    <a:lnTo>
                      <a:pt x="404" y="325"/>
                    </a:lnTo>
                    <a:lnTo>
                      <a:pt x="403" y="325"/>
                    </a:lnTo>
                    <a:lnTo>
                      <a:pt x="403" y="326"/>
                    </a:lnTo>
                    <a:lnTo>
                      <a:pt x="401" y="326"/>
                    </a:lnTo>
                    <a:lnTo>
                      <a:pt x="399" y="330"/>
                    </a:lnTo>
                    <a:lnTo>
                      <a:pt x="397" y="331"/>
                    </a:lnTo>
                    <a:lnTo>
                      <a:pt x="397" y="333"/>
                    </a:lnTo>
                    <a:lnTo>
                      <a:pt x="397" y="335"/>
                    </a:lnTo>
                    <a:lnTo>
                      <a:pt x="394" y="342"/>
                    </a:lnTo>
                    <a:lnTo>
                      <a:pt x="391" y="348"/>
                    </a:lnTo>
                    <a:lnTo>
                      <a:pt x="389" y="352"/>
                    </a:lnTo>
                    <a:lnTo>
                      <a:pt x="394" y="355"/>
                    </a:lnTo>
                    <a:lnTo>
                      <a:pt x="397" y="359"/>
                    </a:lnTo>
                    <a:lnTo>
                      <a:pt x="397" y="360"/>
                    </a:lnTo>
                    <a:lnTo>
                      <a:pt x="397" y="362"/>
                    </a:lnTo>
                    <a:lnTo>
                      <a:pt x="396" y="362"/>
                    </a:lnTo>
                    <a:lnTo>
                      <a:pt x="394" y="362"/>
                    </a:lnTo>
                    <a:lnTo>
                      <a:pt x="392" y="362"/>
                    </a:lnTo>
                    <a:lnTo>
                      <a:pt x="392" y="364"/>
                    </a:lnTo>
                    <a:lnTo>
                      <a:pt x="391" y="364"/>
                    </a:lnTo>
                    <a:lnTo>
                      <a:pt x="391" y="365"/>
                    </a:lnTo>
                    <a:lnTo>
                      <a:pt x="389" y="365"/>
                    </a:lnTo>
                    <a:lnTo>
                      <a:pt x="387" y="36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8" name="Freeform 17">
                <a:extLst>
                  <a:ext uri="{FF2B5EF4-FFF2-40B4-BE49-F238E27FC236}">
                    <a16:creationId xmlns:a16="http://schemas.microsoft.com/office/drawing/2014/main" id="{F891C738-8B7F-A920-D907-FF661EB76FF3}"/>
                  </a:ext>
                </a:extLst>
              </p:cNvPr>
              <p:cNvSpPr>
                <a:spLocks noEditPoints="1"/>
              </p:cNvSpPr>
              <p:nvPr/>
            </p:nvSpPr>
            <p:spPr bwMode="auto">
              <a:xfrm>
                <a:off x="5700022" y="2769132"/>
                <a:ext cx="54044" cy="57276"/>
              </a:xfrm>
              <a:custGeom>
                <a:avLst/>
                <a:gdLst>
                  <a:gd name="T0" fmla="*/ 2 w 184"/>
                  <a:gd name="T1" fmla="*/ 187 h 195"/>
                  <a:gd name="T2" fmla="*/ 4 w 184"/>
                  <a:gd name="T3" fmla="*/ 187 h 195"/>
                  <a:gd name="T4" fmla="*/ 4 w 184"/>
                  <a:gd name="T5" fmla="*/ 189 h 195"/>
                  <a:gd name="T6" fmla="*/ 5 w 184"/>
                  <a:gd name="T7" fmla="*/ 189 h 195"/>
                  <a:gd name="T8" fmla="*/ 7 w 184"/>
                  <a:gd name="T9" fmla="*/ 189 h 195"/>
                  <a:gd name="T10" fmla="*/ 7 w 184"/>
                  <a:gd name="T11" fmla="*/ 190 h 195"/>
                  <a:gd name="T12" fmla="*/ 7 w 184"/>
                  <a:gd name="T13" fmla="*/ 192 h 195"/>
                  <a:gd name="T14" fmla="*/ 7 w 184"/>
                  <a:gd name="T15" fmla="*/ 194 h 195"/>
                  <a:gd name="T16" fmla="*/ 5 w 184"/>
                  <a:gd name="T17" fmla="*/ 192 h 195"/>
                  <a:gd name="T18" fmla="*/ 5 w 184"/>
                  <a:gd name="T19" fmla="*/ 194 h 195"/>
                  <a:gd name="T20" fmla="*/ 7 w 184"/>
                  <a:gd name="T21" fmla="*/ 195 h 195"/>
                  <a:gd name="T22" fmla="*/ 5 w 184"/>
                  <a:gd name="T23" fmla="*/ 195 h 195"/>
                  <a:gd name="T24" fmla="*/ 4 w 184"/>
                  <a:gd name="T25" fmla="*/ 195 h 195"/>
                  <a:gd name="T26" fmla="*/ 4 w 184"/>
                  <a:gd name="T27" fmla="*/ 194 h 195"/>
                  <a:gd name="T28" fmla="*/ 4 w 184"/>
                  <a:gd name="T29" fmla="*/ 192 h 195"/>
                  <a:gd name="T30" fmla="*/ 5 w 184"/>
                  <a:gd name="T31" fmla="*/ 192 h 195"/>
                  <a:gd name="T32" fmla="*/ 4 w 184"/>
                  <a:gd name="T33" fmla="*/ 192 h 195"/>
                  <a:gd name="T34" fmla="*/ 4 w 184"/>
                  <a:gd name="T35" fmla="*/ 190 h 195"/>
                  <a:gd name="T36" fmla="*/ 4 w 184"/>
                  <a:gd name="T37" fmla="*/ 189 h 195"/>
                  <a:gd name="T38" fmla="*/ 2 w 184"/>
                  <a:gd name="T39" fmla="*/ 189 h 195"/>
                  <a:gd name="T40" fmla="*/ 0 w 184"/>
                  <a:gd name="T41" fmla="*/ 189 h 195"/>
                  <a:gd name="T42" fmla="*/ 0 w 184"/>
                  <a:gd name="T43" fmla="*/ 187 h 195"/>
                  <a:gd name="T44" fmla="*/ 0 w 184"/>
                  <a:gd name="T45" fmla="*/ 185 h 195"/>
                  <a:gd name="T46" fmla="*/ 2 w 184"/>
                  <a:gd name="T47" fmla="*/ 187 h 195"/>
                  <a:gd name="T48" fmla="*/ 182 w 184"/>
                  <a:gd name="T49" fmla="*/ 3 h 195"/>
                  <a:gd name="T50" fmla="*/ 184 w 184"/>
                  <a:gd name="T51" fmla="*/ 3 h 195"/>
                  <a:gd name="T52" fmla="*/ 184 w 184"/>
                  <a:gd name="T53" fmla="*/ 5 h 195"/>
                  <a:gd name="T54" fmla="*/ 182 w 184"/>
                  <a:gd name="T55" fmla="*/ 5 h 195"/>
                  <a:gd name="T56" fmla="*/ 182 w 184"/>
                  <a:gd name="T57" fmla="*/ 3 h 195"/>
                  <a:gd name="T58" fmla="*/ 174 w 184"/>
                  <a:gd name="T59" fmla="*/ 0 h 195"/>
                  <a:gd name="T60" fmla="*/ 175 w 184"/>
                  <a:gd name="T61" fmla="*/ 0 h 195"/>
                  <a:gd name="T62" fmla="*/ 174 w 184"/>
                  <a:gd name="T63" fmla="*/ 0 h 195"/>
                  <a:gd name="T64" fmla="*/ 2 w 184"/>
                  <a:gd name="T65" fmla="*/ 190 h 195"/>
                  <a:gd name="T66" fmla="*/ 4 w 184"/>
                  <a:gd name="T67" fmla="*/ 190 h 195"/>
                  <a:gd name="T68" fmla="*/ 4 w 184"/>
                  <a:gd name="T69" fmla="*/ 192 h 195"/>
                  <a:gd name="T70" fmla="*/ 2 w 184"/>
                  <a:gd name="T71" fmla="*/ 192 h 195"/>
                  <a:gd name="T72" fmla="*/ 2 w 184"/>
                  <a:gd name="T73" fmla="*/ 19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4" h="195">
                    <a:moveTo>
                      <a:pt x="2" y="187"/>
                    </a:moveTo>
                    <a:lnTo>
                      <a:pt x="4" y="187"/>
                    </a:lnTo>
                    <a:lnTo>
                      <a:pt x="4" y="189"/>
                    </a:lnTo>
                    <a:lnTo>
                      <a:pt x="5" y="189"/>
                    </a:lnTo>
                    <a:lnTo>
                      <a:pt x="7" y="189"/>
                    </a:lnTo>
                    <a:lnTo>
                      <a:pt x="7" y="190"/>
                    </a:lnTo>
                    <a:lnTo>
                      <a:pt x="7" y="192"/>
                    </a:lnTo>
                    <a:lnTo>
                      <a:pt x="7" y="194"/>
                    </a:lnTo>
                    <a:lnTo>
                      <a:pt x="5" y="192"/>
                    </a:lnTo>
                    <a:lnTo>
                      <a:pt x="5" y="194"/>
                    </a:lnTo>
                    <a:lnTo>
                      <a:pt x="7" y="195"/>
                    </a:lnTo>
                    <a:lnTo>
                      <a:pt x="5" y="195"/>
                    </a:lnTo>
                    <a:lnTo>
                      <a:pt x="4" y="195"/>
                    </a:lnTo>
                    <a:lnTo>
                      <a:pt x="4" y="194"/>
                    </a:lnTo>
                    <a:lnTo>
                      <a:pt x="4" y="192"/>
                    </a:lnTo>
                    <a:lnTo>
                      <a:pt x="5" y="192"/>
                    </a:lnTo>
                    <a:lnTo>
                      <a:pt x="4" y="192"/>
                    </a:lnTo>
                    <a:lnTo>
                      <a:pt x="4" y="190"/>
                    </a:lnTo>
                    <a:lnTo>
                      <a:pt x="4" y="189"/>
                    </a:lnTo>
                    <a:lnTo>
                      <a:pt x="2" y="189"/>
                    </a:lnTo>
                    <a:lnTo>
                      <a:pt x="0" y="189"/>
                    </a:lnTo>
                    <a:lnTo>
                      <a:pt x="0" y="187"/>
                    </a:lnTo>
                    <a:lnTo>
                      <a:pt x="0" y="185"/>
                    </a:lnTo>
                    <a:lnTo>
                      <a:pt x="2" y="187"/>
                    </a:lnTo>
                    <a:close/>
                    <a:moveTo>
                      <a:pt x="182" y="3"/>
                    </a:moveTo>
                    <a:lnTo>
                      <a:pt x="184" y="3"/>
                    </a:lnTo>
                    <a:lnTo>
                      <a:pt x="184" y="5"/>
                    </a:lnTo>
                    <a:lnTo>
                      <a:pt x="182" y="5"/>
                    </a:lnTo>
                    <a:lnTo>
                      <a:pt x="182" y="3"/>
                    </a:lnTo>
                    <a:close/>
                    <a:moveTo>
                      <a:pt x="174" y="0"/>
                    </a:moveTo>
                    <a:lnTo>
                      <a:pt x="175" y="0"/>
                    </a:lnTo>
                    <a:lnTo>
                      <a:pt x="174" y="0"/>
                    </a:lnTo>
                    <a:close/>
                    <a:moveTo>
                      <a:pt x="2" y="190"/>
                    </a:moveTo>
                    <a:lnTo>
                      <a:pt x="4" y="190"/>
                    </a:lnTo>
                    <a:lnTo>
                      <a:pt x="4" y="192"/>
                    </a:lnTo>
                    <a:lnTo>
                      <a:pt x="2" y="192"/>
                    </a:lnTo>
                    <a:lnTo>
                      <a:pt x="2" y="19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9" name="Freeform 18">
                <a:extLst>
                  <a:ext uri="{FF2B5EF4-FFF2-40B4-BE49-F238E27FC236}">
                    <a16:creationId xmlns:a16="http://schemas.microsoft.com/office/drawing/2014/main" id="{4E88C0F6-0275-140C-B363-E9B295EBEBA7}"/>
                  </a:ext>
                </a:extLst>
              </p:cNvPr>
              <p:cNvSpPr>
                <a:spLocks noEditPoints="1"/>
              </p:cNvSpPr>
              <p:nvPr/>
            </p:nvSpPr>
            <p:spPr bwMode="auto">
              <a:xfrm>
                <a:off x="5644513" y="2894550"/>
                <a:ext cx="442927" cy="407976"/>
              </a:xfrm>
              <a:custGeom>
                <a:avLst/>
                <a:gdLst>
                  <a:gd name="T0" fmla="*/ 84 w 1508"/>
                  <a:gd name="T1" fmla="*/ 517 h 1389"/>
                  <a:gd name="T2" fmla="*/ 6 w 1508"/>
                  <a:gd name="T3" fmla="*/ 437 h 1389"/>
                  <a:gd name="T4" fmla="*/ 45 w 1508"/>
                  <a:gd name="T5" fmla="*/ 348 h 1389"/>
                  <a:gd name="T6" fmla="*/ 119 w 1508"/>
                  <a:gd name="T7" fmla="*/ 318 h 1389"/>
                  <a:gd name="T8" fmla="*/ 138 w 1508"/>
                  <a:gd name="T9" fmla="*/ 158 h 1389"/>
                  <a:gd name="T10" fmla="*/ 194 w 1508"/>
                  <a:gd name="T11" fmla="*/ 117 h 1389"/>
                  <a:gd name="T12" fmla="*/ 286 w 1508"/>
                  <a:gd name="T13" fmla="*/ 144 h 1389"/>
                  <a:gd name="T14" fmla="*/ 349 w 1508"/>
                  <a:gd name="T15" fmla="*/ 109 h 1389"/>
                  <a:gd name="T16" fmla="*/ 323 w 1508"/>
                  <a:gd name="T17" fmla="*/ 39 h 1389"/>
                  <a:gd name="T18" fmla="*/ 395 w 1508"/>
                  <a:gd name="T19" fmla="*/ 39 h 1389"/>
                  <a:gd name="T20" fmla="*/ 473 w 1508"/>
                  <a:gd name="T21" fmla="*/ 10 h 1389"/>
                  <a:gd name="T22" fmla="*/ 475 w 1508"/>
                  <a:gd name="T23" fmla="*/ 93 h 1389"/>
                  <a:gd name="T24" fmla="*/ 539 w 1508"/>
                  <a:gd name="T25" fmla="*/ 126 h 1389"/>
                  <a:gd name="T26" fmla="*/ 609 w 1508"/>
                  <a:gd name="T27" fmla="*/ 93 h 1389"/>
                  <a:gd name="T28" fmla="*/ 708 w 1508"/>
                  <a:gd name="T29" fmla="*/ 103 h 1389"/>
                  <a:gd name="T30" fmla="*/ 764 w 1508"/>
                  <a:gd name="T31" fmla="*/ 30 h 1389"/>
                  <a:gd name="T32" fmla="*/ 813 w 1508"/>
                  <a:gd name="T33" fmla="*/ 120 h 1389"/>
                  <a:gd name="T34" fmla="*/ 786 w 1508"/>
                  <a:gd name="T35" fmla="*/ 183 h 1389"/>
                  <a:gd name="T36" fmla="*/ 854 w 1508"/>
                  <a:gd name="T37" fmla="*/ 187 h 1389"/>
                  <a:gd name="T38" fmla="*/ 861 w 1508"/>
                  <a:gd name="T39" fmla="*/ 223 h 1389"/>
                  <a:gd name="T40" fmla="*/ 896 w 1508"/>
                  <a:gd name="T41" fmla="*/ 199 h 1389"/>
                  <a:gd name="T42" fmla="*/ 924 w 1508"/>
                  <a:gd name="T43" fmla="*/ 211 h 1389"/>
                  <a:gd name="T44" fmla="*/ 949 w 1508"/>
                  <a:gd name="T45" fmla="*/ 219 h 1389"/>
                  <a:gd name="T46" fmla="*/ 969 w 1508"/>
                  <a:gd name="T47" fmla="*/ 234 h 1389"/>
                  <a:gd name="T48" fmla="*/ 988 w 1508"/>
                  <a:gd name="T49" fmla="*/ 258 h 1389"/>
                  <a:gd name="T50" fmla="*/ 1012 w 1508"/>
                  <a:gd name="T51" fmla="*/ 263 h 1389"/>
                  <a:gd name="T52" fmla="*/ 1049 w 1508"/>
                  <a:gd name="T53" fmla="*/ 262 h 1389"/>
                  <a:gd name="T54" fmla="*/ 1153 w 1508"/>
                  <a:gd name="T55" fmla="*/ 275 h 1389"/>
                  <a:gd name="T56" fmla="*/ 1264 w 1508"/>
                  <a:gd name="T57" fmla="*/ 350 h 1389"/>
                  <a:gd name="T58" fmla="*/ 1323 w 1508"/>
                  <a:gd name="T59" fmla="*/ 437 h 1389"/>
                  <a:gd name="T60" fmla="*/ 1258 w 1508"/>
                  <a:gd name="T61" fmla="*/ 539 h 1389"/>
                  <a:gd name="T62" fmla="*/ 1192 w 1508"/>
                  <a:gd name="T63" fmla="*/ 607 h 1389"/>
                  <a:gd name="T64" fmla="*/ 1180 w 1508"/>
                  <a:gd name="T65" fmla="*/ 672 h 1389"/>
                  <a:gd name="T66" fmla="*/ 1163 w 1508"/>
                  <a:gd name="T67" fmla="*/ 797 h 1389"/>
                  <a:gd name="T68" fmla="*/ 1117 w 1508"/>
                  <a:gd name="T69" fmla="*/ 908 h 1389"/>
                  <a:gd name="T70" fmla="*/ 1044 w 1508"/>
                  <a:gd name="T71" fmla="*/ 976 h 1389"/>
                  <a:gd name="T72" fmla="*/ 1002 w 1508"/>
                  <a:gd name="T73" fmla="*/ 974 h 1389"/>
                  <a:gd name="T74" fmla="*/ 949 w 1508"/>
                  <a:gd name="T75" fmla="*/ 1005 h 1389"/>
                  <a:gd name="T76" fmla="*/ 859 w 1508"/>
                  <a:gd name="T77" fmla="*/ 1085 h 1389"/>
                  <a:gd name="T78" fmla="*/ 856 w 1508"/>
                  <a:gd name="T79" fmla="*/ 1170 h 1389"/>
                  <a:gd name="T80" fmla="*/ 743 w 1508"/>
                  <a:gd name="T81" fmla="*/ 1320 h 1389"/>
                  <a:gd name="T82" fmla="*/ 687 w 1508"/>
                  <a:gd name="T83" fmla="*/ 1332 h 1389"/>
                  <a:gd name="T84" fmla="*/ 607 w 1508"/>
                  <a:gd name="T85" fmla="*/ 1272 h 1389"/>
                  <a:gd name="T86" fmla="*/ 585 w 1508"/>
                  <a:gd name="T87" fmla="*/ 1213 h 1389"/>
                  <a:gd name="T88" fmla="*/ 653 w 1508"/>
                  <a:gd name="T89" fmla="*/ 1146 h 1389"/>
                  <a:gd name="T90" fmla="*/ 680 w 1508"/>
                  <a:gd name="T91" fmla="*/ 1078 h 1389"/>
                  <a:gd name="T92" fmla="*/ 650 w 1508"/>
                  <a:gd name="T93" fmla="*/ 1008 h 1389"/>
                  <a:gd name="T94" fmla="*/ 594 w 1508"/>
                  <a:gd name="T95" fmla="*/ 944 h 1389"/>
                  <a:gd name="T96" fmla="*/ 546 w 1508"/>
                  <a:gd name="T97" fmla="*/ 905 h 1389"/>
                  <a:gd name="T98" fmla="*/ 543 w 1508"/>
                  <a:gd name="T99" fmla="*/ 779 h 1389"/>
                  <a:gd name="T100" fmla="*/ 456 w 1508"/>
                  <a:gd name="T101" fmla="*/ 663 h 1389"/>
                  <a:gd name="T102" fmla="*/ 391 w 1508"/>
                  <a:gd name="T103" fmla="*/ 624 h 1389"/>
                  <a:gd name="T104" fmla="*/ 312 w 1508"/>
                  <a:gd name="T105" fmla="*/ 588 h 1389"/>
                  <a:gd name="T106" fmla="*/ 281 w 1508"/>
                  <a:gd name="T107" fmla="*/ 510 h 1389"/>
                  <a:gd name="T108" fmla="*/ 203 w 1508"/>
                  <a:gd name="T109" fmla="*/ 539 h 1389"/>
                  <a:gd name="T110" fmla="*/ 930 w 1508"/>
                  <a:gd name="T111" fmla="*/ 209 h 1389"/>
                  <a:gd name="T112" fmla="*/ 781 w 1508"/>
                  <a:gd name="T113" fmla="*/ 177 h 1389"/>
                  <a:gd name="T114" fmla="*/ 818 w 1508"/>
                  <a:gd name="T115" fmla="*/ 173 h 1389"/>
                  <a:gd name="T116" fmla="*/ 793 w 1508"/>
                  <a:gd name="T117" fmla="*/ 168 h 1389"/>
                  <a:gd name="T118" fmla="*/ 990 w 1508"/>
                  <a:gd name="T119" fmla="*/ 285 h 1389"/>
                  <a:gd name="T120" fmla="*/ 986 w 1508"/>
                  <a:gd name="T121" fmla="*/ 228 h 1389"/>
                  <a:gd name="T122" fmla="*/ 1189 w 1508"/>
                  <a:gd name="T123" fmla="*/ 621 h 1389"/>
                  <a:gd name="T124" fmla="*/ 973 w 1508"/>
                  <a:gd name="T125" fmla="*/ 1007 h 1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08" h="1389">
                    <a:moveTo>
                      <a:pt x="150" y="549"/>
                    </a:moveTo>
                    <a:lnTo>
                      <a:pt x="148" y="549"/>
                    </a:lnTo>
                    <a:lnTo>
                      <a:pt x="148" y="551"/>
                    </a:lnTo>
                    <a:lnTo>
                      <a:pt x="148" y="549"/>
                    </a:lnTo>
                    <a:lnTo>
                      <a:pt x="148" y="551"/>
                    </a:lnTo>
                    <a:lnTo>
                      <a:pt x="147" y="551"/>
                    </a:lnTo>
                    <a:lnTo>
                      <a:pt x="145" y="551"/>
                    </a:lnTo>
                    <a:lnTo>
                      <a:pt x="143" y="551"/>
                    </a:lnTo>
                    <a:lnTo>
                      <a:pt x="143" y="549"/>
                    </a:lnTo>
                    <a:lnTo>
                      <a:pt x="142" y="549"/>
                    </a:lnTo>
                    <a:lnTo>
                      <a:pt x="140" y="549"/>
                    </a:lnTo>
                    <a:lnTo>
                      <a:pt x="138" y="549"/>
                    </a:lnTo>
                    <a:lnTo>
                      <a:pt x="136" y="549"/>
                    </a:lnTo>
                    <a:lnTo>
                      <a:pt x="136" y="551"/>
                    </a:lnTo>
                    <a:lnTo>
                      <a:pt x="135" y="549"/>
                    </a:lnTo>
                    <a:lnTo>
                      <a:pt x="135" y="551"/>
                    </a:lnTo>
                    <a:lnTo>
                      <a:pt x="133" y="551"/>
                    </a:lnTo>
                    <a:lnTo>
                      <a:pt x="131" y="551"/>
                    </a:lnTo>
                    <a:lnTo>
                      <a:pt x="131" y="553"/>
                    </a:lnTo>
                    <a:lnTo>
                      <a:pt x="130" y="553"/>
                    </a:lnTo>
                    <a:lnTo>
                      <a:pt x="128" y="554"/>
                    </a:lnTo>
                    <a:lnTo>
                      <a:pt x="128" y="553"/>
                    </a:lnTo>
                    <a:lnTo>
                      <a:pt x="128" y="554"/>
                    </a:lnTo>
                    <a:lnTo>
                      <a:pt x="126" y="553"/>
                    </a:lnTo>
                    <a:lnTo>
                      <a:pt x="126" y="554"/>
                    </a:lnTo>
                    <a:lnTo>
                      <a:pt x="125" y="554"/>
                    </a:lnTo>
                    <a:lnTo>
                      <a:pt x="123" y="554"/>
                    </a:lnTo>
                    <a:lnTo>
                      <a:pt x="123" y="553"/>
                    </a:lnTo>
                    <a:lnTo>
                      <a:pt x="121" y="553"/>
                    </a:lnTo>
                    <a:lnTo>
                      <a:pt x="119" y="551"/>
                    </a:lnTo>
                    <a:lnTo>
                      <a:pt x="118" y="549"/>
                    </a:lnTo>
                    <a:lnTo>
                      <a:pt x="114" y="551"/>
                    </a:lnTo>
                    <a:lnTo>
                      <a:pt x="114" y="542"/>
                    </a:lnTo>
                    <a:lnTo>
                      <a:pt x="114" y="539"/>
                    </a:lnTo>
                    <a:lnTo>
                      <a:pt x="114" y="537"/>
                    </a:lnTo>
                    <a:lnTo>
                      <a:pt x="114" y="534"/>
                    </a:lnTo>
                    <a:lnTo>
                      <a:pt x="114" y="532"/>
                    </a:lnTo>
                    <a:lnTo>
                      <a:pt x="114" y="530"/>
                    </a:lnTo>
                    <a:lnTo>
                      <a:pt x="114" y="529"/>
                    </a:lnTo>
                    <a:lnTo>
                      <a:pt x="114" y="525"/>
                    </a:lnTo>
                    <a:lnTo>
                      <a:pt x="114" y="524"/>
                    </a:lnTo>
                    <a:lnTo>
                      <a:pt x="114" y="522"/>
                    </a:lnTo>
                    <a:lnTo>
                      <a:pt x="114" y="520"/>
                    </a:lnTo>
                    <a:lnTo>
                      <a:pt x="114" y="519"/>
                    </a:lnTo>
                    <a:lnTo>
                      <a:pt x="114" y="517"/>
                    </a:lnTo>
                    <a:lnTo>
                      <a:pt x="114" y="513"/>
                    </a:lnTo>
                    <a:lnTo>
                      <a:pt x="114" y="512"/>
                    </a:lnTo>
                    <a:lnTo>
                      <a:pt x="114" y="510"/>
                    </a:lnTo>
                    <a:lnTo>
                      <a:pt x="116" y="510"/>
                    </a:lnTo>
                    <a:lnTo>
                      <a:pt x="118" y="510"/>
                    </a:lnTo>
                    <a:lnTo>
                      <a:pt x="118" y="508"/>
                    </a:lnTo>
                    <a:lnTo>
                      <a:pt x="118" y="507"/>
                    </a:lnTo>
                    <a:lnTo>
                      <a:pt x="116" y="507"/>
                    </a:lnTo>
                    <a:lnTo>
                      <a:pt x="116" y="505"/>
                    </a:lnTo>
                    <a:lnTo>
                      <a:pt x="114" y="503"/>
                    </a:lnTo>
                    <a:lnTo>
                      <a:pt x="116" y="503"/>
                    </a:lnTo>
                    <a:lnTo>
                      <a:pt x="114" y="502"/>
                    </a:lnTo>
                    <a:lnTo>
                      <a:pt x="116" y="502"/>
                    </a:lnTo>
                    <a:lnTo>
                      <a:pt x="116" y="503"/>
                    </a:lnTo>
                    <a:lnTo>
                      <a:pt x="116" y="502"/>
                    </a:lnTo>
                    <a:lnTo>
                      <a:pt x="116" y="503"/>
                    </a:lnTo>
                    <a:lnTo>
                      <a:pt x="116" y="502"/>
                    </a:lnTo>
                    <a:lnTo>
                      <a:pt x="118" y="502"/>
                    </a:lnTo>
                    <a:lnTo>
                      <a:pt x="116" y="502"/>
                    </a:lnTo>
                    <a:lnTo>
                      <a:pt x="118" y="502"/>
                    </a:lnTo>
                    <a:lnTo>
                      <a:pt x="118" y="500"/>
                    </a:lnTo>
                    <a:lnTo>
                      <a:pt x="118" y="498"/>
                    </a:lnTo>
                    <a:lnTo>
                      <a:pt x="116" y="498"/>
                    </a:lnTo>
                    <a:lnTo>
                      <a:pt x="114" y="498"/>
                    </a:lnTo>
                    <a:lnTo>
                      <a:pt x="114" y="500"/>
                    </a:lnTo>
                    <a:lnTo>
                      <a:pt x="113" y="500"/>
                    </a:lnTo>
                    <a:lnTo>
                      <a:pt x="113" y="502"/>
                    </a:lnTo>
                    <a:lnTo>
                      <a:pt x="111" y="502"/>
                    </a:lnTo>
                    <a:lnTo>
                      <a:pt x="111" y="503"/>
                    </a:lnTo>
                    <a:lnTo>
                      <a:pt x="109" y="502"/>
                    </a:lnTo>
                    <a:lnTo>
                      <a:pt x="109" y="503"/>
                    </a:lnTo>
                    <a:lnTo>
                      <a:pt x="109" y="505"/>
                    </a:lnTo>
                    <a:lnTo>
                      <a:pt x="108" y="505"/>
                    </a:lnTo>
                    <a:lnTo>
                      <a:pt x="106" y="505"/>
                    </a:lnTo>
                    <a:lnTo>
                      <a:pt x="106" y="507"/>
                    </a:lnTo>
                    <a:lnTo>
                      <a:pt x="104" y="508"/>
                    </a:lnTo>
                    <a:lnTo>
                      <a:pt x="102" y="508"/>
                    </a:lnTo>
                    <a:lnTo>
                      <a:pt x="102" y="510"/>
                    </a:lnTo>
                    <a:lnTo>
                      <a:pt x="102" y="512"/>
                    </a:lnTo>
                    <a:lnTo>
                      <a:pt x="101" y="512"/>
                    </a:lnTo>
                    <a:lnTo>
                      <a:pt x="99" y="512"/>
                    </a:lnTo>
                    <a:lnTo>
                      <a:pt x="97" y="512"/>
                    </a:lnTo>
                    <a:lnTo>
                      <a:pt x="97" y="513"/>
                    </a:lnTo>
                    <a:lnTo>
                      <a:pt x="96" y="513"/>
                    </a:lnTo>
                    <a:lnTo>
                      <a:pt x="96" y="515"/>
                    </a:lnTo>
                    <a:lnTo>
                      <a:pt x="94" y="515"/>
                    </a:lnTo>
                    <a:lnTo>
                      <a:pt x="94" y="517"/>
                    </a:lnTo>
                    <a:lnTo>
                      <a:pt x="92" y="517"/>
                    </a:lnTo>
                    <a:lnTo>
                      <a:pt x="91" y="517"/>
                    </a:lnTo>
                    <a:lnTo>
                      <a:pt x="89" y="517"/>
                    </a:lnTo>
                    <a:lnTo>
                      <a:pt x="85" y="517"/>
                    </a:lnTo>
                    <a:lnTo>
                      <a:pt x="84" y="517"/>
                    </a:lnTo>
                    <a:lnTo>
                      <a:pt x="80" y="517"/>
                    </a:lnTo>
                    <a:lnTo>
                      <a:pt x="77" y="517"/>
                    </a:lnTo>
                    <a:lnTo>
                      <a:pt x="74" y="517"/>
                    </a:lnTo>
                    <a:lnTo>
                      <a:pt x="70" y="517"/>
                    </a:lnTo>
                    <a:lnTo>
                      <a:pt x="67" y="517"/>
                    </a:lnTo>
                    <a:lnTo>
                      <a:pt x="62" y="517"/>
                    </a:lnTo>
                    <a:lnTo>
                      <a:pt x="63" y="517"/>
                    </a:lnTo>
                    <a:lnTo>
                      <a:pt x="62" y="515"/>
                    </a:lnTo>
                    <a:lnTo>
                      <a:pt x="62" y="513"/>
                    </a:lnTo>
                    <a:lnTo>
                      <a:pt x="63" y="513"/>
                    </a:lnTo>
                    <a:lnTo>
                      <a:pt x="62" y="512"/>
                    </a:lnTo>
                    <a:lnTo>
                      <a:pt x="63" y="512"/>
                    </a:lnTo>
                    <a:lnTo>
                      <a:pt x="62" y="512"/>
                    </a:lnTo>
                    <a:lnTo>
                      <a:pt x="63" y="510"/>
                    </a:lnTo>
                    <a:lnTo>
                      <a:pt x="62" y="510"/>
                    </a:lnTo>
                    <a:lnTo>
                      <a:pt x="60" y="510"/>
                    </a:lnTo>
                    <a:lnTo>
                      <a:pt x="60" y="508"/>
                    </a:lnTo>
                    <a:lnTo>
                      <a:pt x="58" y="508"/>
                    </a:lnTo>
                    <a:lnTo>
                      <a:pt x="60" y="508"/>
                    </a:lnTo>
                    <a:lnTo>
                      <a:pt x="58" y="507"/>
                    </a:lnTo>
                    <a:lnTo>
                      <a:pt x="60" y="507"/>
                    </a:lnTo>
                    <a:lnTo>
                      <a:pt x="60" y="505"/>
                    </a:lnTo>
                    <a:lnTo>
                      <a:pt x="58" y="505"/>
                    </a:lnTo>
                    <a:lnTo>
                      <a:pt x="60" y="505"/>
                    </a:lnTo>
                    <a:lnTo>
                      <a:pt x="58" y="505"/>
                    </a:lnTo>
                    <a:lnTo>
                      <a:pt x="58" y="503"/>
                    </a:lnTo>
                    <a:lnTo>
                      <a:pt x="58" y="502"/>
                    </a:lnTo>
                    <a:lnTo>
                      <a:pt x="57" y="502"/>
                    </a:lnTo>
                    <a:lnTo>
                      <a:pt x="57" y="500"/>
                    </a:lnTo>
                    <a:lnTo>
                      <a:pt x="55" y="500"/>
                    </a:lnTo>
                    <a:lnTo>
                      <a:pt x="53" y="500"/>
                    </a:lnTo>
                    <a:lnTo>
                      <a:pt x="51" y="500"/>
                    </a:lnTo>
                    <a:lnTo>
                      <a:pt x="50" y="500"/>
                    </a:lnTo>
                    <a:lnTo>
                      <a:pt x="48" y="500"/>
                    </a:lnTo>
                    <a:lnTo>
                      <a:pt x="48" y="498"/>
                    </a:lnTo>
                    <a:lnTo>
                      <a:pt x="46" y="498"/>
                    </a:lnTo>
                    <a:lnTo>
                      <a:pt x="45" y="498"/>
                    </a:lnTo>
                    <a:lnTo>
                      <a:pt x="43" y="498"/>
                    </a:lnTo>
                    <a:lnTo>
                      <a:pt x="43" y="496"/>
                    </a:lnTo>
                    <a:lnTo>
                      <a:pt x="36" y="496"/>
                    </a:lnTo>
                    <a:lnTo>
                      <a:pt x="28" y="496"/>
                    </a:lnTo>
                    <a:lnTo>
                      <a:pt x="28" y="495"/>
                    </a:lnTo>
                    <a:lnTo>
                      <a:pt x="29" y="495"/>
                    </a:lnTo>
                    <a:lnTo>
                      <a:pt x="31" y="493"/>
                    </a:lnTo>
                    <a:lnTo>
                      <a:pt x="31" y="491"/>
                    </a:lnTo>
                    <a:lnTo>
                      <a:pt x="33" y="491"/>
                    </a:lnTo>
                    <a:lnTo>
                      <a:pt x="34" y="490"/>
                    </a:lnTo>
                    <a:lnTo>
                      <a:pt x="33" y="490"/>
                    </a:lnTo>
                    <a:lnTo>
                      <a:pt x="34" y="488"/>
                    </a:lnTo>
                    <a:lnTo>
                      <a:pt x="36" y="488"/>
                    </a:lnTo>
                    <a:lnTo>
                      <a:pt x="36" y="486"/>
                    </a:lnTo>
                    <a:lnTo>
                      <a:pt x="36" y="485"/>
                    </a:lnTo>
                    <a:lnTo>
                      <a:pt x="36" y="483"/>
                    </a:lnTo>
                    <a:lnTo>
                      <a:pt x="34" y="483"/>
                    </a:lnTo>
                    <a:lnTo>
                      <a:pt x="34" y="481"/>
                    </a:lnTo>
                    <a:lnTo>
                      <a:pt x="33" y="479"/>
                    </a:lnTo>
                    <a:lnTo>
                      <a:pt x="31" y="478"/>
                    </a:lnTo>
                    <a:lnTo>
                      <a:pt x="29" y="476"/>
                    </a:lnTo>
                    <a:lnTo>
                      <a:pt x="29" y="474"/>
                    </a:lnTo>
                    <a:lnTo>
                      <a:pt x="29" y="473"/>
                    </a:lnTo>
                    <a:lnTo>
                      <a:pt x="28" y="473"/>
                    </a:lnTo>
                    <a:lnTo>
                      <a:pt x="26" y="473"/>
                    </a:lnTo>
                    <a:lnTo>
                      <a:pt x="24" y="473"/>
                    </a:lnTo>
                    <a:lnTo>
                      <a:pt x="24" y="471"/>
                    </a:lnTo>
                    <a:lnTo>
                      <a:pt x="23" y="471"/>
                    </a:lnTo>
                    <a:lnTo>
                      <a:pt x="23" y="469"/>
                    </a:lnTo>
                    <a:lnTo>
                      <a:pt x="23" y="467"/>
                    </a:lnTo>
                    <a:lnTo>
                      <a:pt x="23" y="466"/>
                    </a:lnTo>
                    <a:lnTo>
                      <a:pt x="21" y="466"/>
                    </a:lnTo>
                    <a:lnTo>
                      <a:pt x="21" y="464"/>
                    </a:lnTo>
                    <a:lnTo>
                      <a:pt x="21" y="462"/>
                    </a:lnTo>
                    <a:lnTo>
                      <a:pt x="19" y="462"/>
                    </a:lnTo>
                    <a:lnTo>
                      <a:pt x="17" y="462"/>
                    </a:lnTo>
                    <a:lnTo>
                      <a:pt x="16" y="461"/>
                    </a:lnTo>
                    <a:lnTo>
                      <a:pt x="16" y="459"/>
                    </a:lnTo>
                    <a:lnTo>
                      <a:pt x="16" y="457"/>
                    </a:lnTo>
                    <a:lnTo>
                      <a:pt x="14" y="456"/>
                    </a:lnTo>
                    <a:lnTo>
                      <a:pt x="14" y="454"/>
                    </a:lnTo>
                    <a:lnTo>
                      <a:pt x="14" y="452"/>
                    </a:lnTo>
                    <a:lnTo>
                      <a:pt x="12" y="450"/>
                    </a:lnTo>
                    <a:lnTo>
                      <a:pt x="12" y="449"/>
                    </a:lnTo>
                    <a:lnTo>
                      <a:pt x="11" y="449"/>
                    </a:lnTo>
                    <a:lnTo>
                      <a:pt x="11" y="447"/>
                    </a:lnTo>
                    <a:lnTo>
                      <a:pt x="9" y="447"/>
                    </a:lnTo>
                    <a:lnTo>
                      <a:pt x="9" y="445"/>
                    </a:lnTo>
                    <a:lnTo>
                      <a:pt x="7" y="445"/>
                    </a:lnTo>
                    <a:lnTo>
                      <a:pt x="9" y="445"/>
                    </a:lnTo>
                    <a:lnTo>
                      <a:pt x="9" y="444"/>
                    </a:lnTo>
                    <a:lnTo>
                      <a:pt x="9" y="445"/>
                    </a:lnTo>
                    <a:lnTo>
                      <a:pt x="11" y="444"/>
                    </a:lnTo>
                    <a:lnTo>
                      <a:pt x="11" y="442"/>
                    </a:lnTo>
                    <a:lnTo>
                      <a:pt x="11" y="440"/>
                    </a:lnTo>
                    <a:lnTo>
                      <a:pt x="9" y="440"/>
                    </a:lnTo>
                    <a:lnTo>
                      <a:pt x="7" y="440"/>
                    </a:lnTo>
                    <a:lnTo>
                      <a:pt x="7" y="439"/>
                    </a:lnTo>
                    <a:lnTo>
                      <a:pt x="6" y="439"/>
                    </a:lnTo>
                    <a:lnTo>
                      <a:pt x="6" y="437"/>
                    </a:lnTo>
                    <a:lnTo>
                      <a:pt x="4" y="437"/>
                    </a:lnTo>
                    <a:lnTo>
                      <a:pt x="2" y="435"/>
                    </a:lnTo>
                    <a:lnTo>
                      <a:pt x="0" y="433"/>
                    </a:lnTo>
                    <a:lnTo>
                      <a:pt x="2" y="433"/>
                    </a:lnTo>
                    <a:lnTo>
                      <a:pt x="2" y="432"/>
                    </a:lnTo>
                    <a:lnTo>
                      <a:pt x="2" y="430"/>
                    </a:lnTo>
                    <a:lnTo>
                      <a:pt x="2" y="427"/>
                    </a:lnTo>
                    <a:lnTo>
                      <a:pt x="4" y="428"/>
                    </a:lnTo>
                    <a:lnTo>
                      <a:pt x="6" y="427"/>
                    </a:lnTo>
                    <a:lnTo>
                      <a:pt x="7" y="427"/>
                    </a:lnTo>
                    <a:lnTo>
                      <a:pt x="9" y="427"/>
                    </a:lnTo>
                    <a:lnTo>
                      <a:pt x="9" y="425"/>
                    </a:lnTo>
                    <a:lnTo>
                      <a:pt x="11" y="425"/>
                    </a:lnTo>
                    <a:lnTo>
                      <a:pt x="11" y="423"/>
                    </a:lnTo>
                    <a:lnTo>
                      <a:pt x="9" y="422"/>
                    </a:lnTo>
                    <a:lnTo>
                      <a:pt x="7" y="418"/>
                    </a:lnTo>
                    <a:lnTo>
                      <a:pt x="9" y="416"/>
                    </a:lnTo>
                    <a:lnTo>
                      <a:pt x="9" y="415"/>
                    </a:lnTo>
                    <a:lnTo>
                      <a:pt x="9" y="413"/>
                    </a:lnTo>
                    <a:lnTo>
                      <a:pt x="9" y="411"/>
                    </a:lnTo>
                    <a:lnTo>
                      <a:pt x="9" y="410"/>
                    </a:lnTo>
                    <a:lnTo>
                      <a:pt x="11" y="410"/>
                    </a:lnTo>
                    <a:lnTo>
                      <a:pt x="11" y="408"/>
                    </a:lnTo>
                    <a:lnTo>
                      <a:pt x="12" y="408"/>
                    </a:lnTo>
                    <a:lnTo>
                      <a:pt x="12" y="406"/>
                    </a:lnTo>
                    <a:lnTo>
                      <a:pt x="14" y="406"/>
                    </a:lnTo>
                    <a:lnTo>
                      <a:pt x="16" y="406"/>
                    </a:lnTo>
                    <a:lnTo>
                      <a:pt x="16" y="405"/>
                    </a:lnTo>
                    <a:lnTo>
                      <a:pt x="17" y="403"/>
                    </a:lnTo>
                    <a:lnTo>
                      <a:pt x="17" y="405"/>
                    </a:lnTo>
                    <a:lnTo>
                      <a:pt x="17" y="403"/>
                    </a:lnTo>
                    <a:lnTo>
                      <a:pt x="19" y="403"/>
                    </a:lnTo>
                    <a:lnTo>
                      <a:pt x="21" y="403"/>
                    </a:lnTo>
                    <a:lnTo>
                      <a:pt x="21" y="401"/>
                    </a:lnTo>
                    <a:lnTo>
                      <a:pt x="23" y="401"/>
                    </a:lnTo>
                    <a:lnTo>
                      <a:pt x="24" y="401"/>
                    </a:lnTo>
                    <a:lnTo>
                      <a:pt x="26" y="401"/>
                    </a:lnTo>
                    <a:lnTo>
                      <a:pt x="26" y="399"/>
                    </a:lnTo>
                    <a:lnTo>
                      <a:pt x="28" y="401"/>
                    </a:lnTo>
                    <a:lnTo>
                      <a:pt x="28" y="399"/>
                    </a:lnTo>
                    <a:lnTo>
                      <a:pt x="28" y="398"/>
                    </a:lnTo>
                    <a:lnTo>
                      <a:pt x="29" y="399"/>
                    </a:lnTo>
                    <a:lnTo>
                      <a:pt x="29" y="398"/>
                    </a:lnTo>
                    <a:lnTo>
                      <a:pt x="29" y="396"/>
                    </a:lnTo>
                    <a:lnTo>
                      <a:pt x="31" y="396"/>
                    </a:lnTo>
                    <a:lnTo>
                      <a:pt x="29" y="396"/>
                    </a:lnTo>
                    <a:lnTo>
                      <a:pt x="31" y="394"/>
                    </a:lnTo>
                    <a:lnTo>
                      <a:pt x="29" y="394"/>
                    </a:lnTo>
                    <a:lnTo>
                      <a:pt x="29" y="393"/>
                    </a:lnTo>
                    <a:lnTo>
                      <a:pt x="29" y="391"/>
                    </a:lnTo>
                    <a:lnTo>
                      <a:pt x="28" y="391"/>
                    </a:lnTo>
                    <a:lnTo>
                      <a:pt x="29" y="391"/>
                    </a:lnTo>
                    <a:lnTo>
                      <a:pt x="28" y="389"/>
                    </a:lnTo>
                    <a:lnTo>
                      <a:pt x="28" y="388"/>
                    </a:lnTo>
                    <a:lnTo>
                      <a:pt x="26" y="388"/>
                    </a:lnTo>
                    <a:lnTo>
                      <a:pt x="28" y="388"/>
                    </a:lnTo>
                    <a:lnTo>
                      <a:pt x="26" y="388"/>
                    </a:lnTo>
                    <a:lnTo>
                      <a:pt x="26" y="386"/>
                    </a:lnTo>
                    <a:lnTo>
                      <a:pt x="26" y="384"/>
                    </a:lnTo>
                    <a:lnTo>
                      <a:pt x="26" y="382"/>
                    </a:lnTo>
                    <a:lnTo>
                      <a:pt x="26" y="381"/>
                    </a:lnTo>
                    <a:lnTo>
                      <a:pt x="28" y="382"/>
                    </a:lnTo>
                    <a:lnTo>
                      <a:pt x="26" y="381"/>
                    </a:lnTo>
                    <a:lnTo>
                      <a:pt x="28" y="381"/>
                    </a:lnTo>
                    <a:lnTo>
                      <a:pt x="28" y="379"/>
                    </a:lnTo>
                    <a:lnTo>
                      <a:pt x="28" y="377"/>
                    </a:lnTo>
                    <a:lnTo>
                      <a:pt x="29" y="377"/>
                    </a:lnTo>
                    <a:lnTo>
                      <a:pt x="29" y="376"/>
                    </a:lnTo>
                    <a:lnTo>
                      <a:pt x="31" y="376"/>
                    </a:lnTo>
                    <a:lnTo>
                      <a:pt x="31" y="374"/>
                    </a:lnTo>
                    <a:lnTo>
                      <a:pt x="33" y="374"/>
                    </a:lnTo>
                    <a:lnTo>
                      <a:pt x="33" y="372"/>
                    </a:lnTo>
                    <a:lnTo>
                      <a:pt x="34" y="372"/>
                    </a:lnTo>
                    <a:lnTo>
                      <a:pt x="34" y="371"/>
                    </a:lnTo>
                    <a:lnTo>
                      <a:pt x="34" y="369"/>
                    </a:lnTo>
                    <a:lnTo>
                      <a:pt x="36" y="369"/>
                    </a:lnTo>
                    <a:lnTo>
                      <a:pt x="34" y="369"/>
                    </a:lnTo>
                    <a:lnTo>
                      <a:pt x="34" y="367"/>
                    </a:lnTo>
                    <a:lnTo>
                      <a:pt x="36" y="367"/>
                    </a:lnTo>
                    <a:lnTo>
                      <a:pt x="36" y="365"/>
                    </a:lnTo>
                    <a:lnTo>
                      <a:pt x="36" y="364"/>
                    </a:lnTo>
                    <a:lnTo>
                      <a:pt x="34" y="364"/>
                    </a:lnTo>
                    <a:lnTo>
                      <a:pt x="36" y="364"/>
                    </a:lnTo>
                    <a:lnTo>
                      <a:pt x="36" y="362"/>
                    </a:lnTo>
                    <a:lnTo>
                      <a:pt x="36" y="360"/>
                    </a:lnTo>
                    <a:lnTo>
                      <a:pt x="38" y="360"/>
                    </a:lnTo>
                    <a:lnTo>
                      <a:pt x="38" y="359"/>
                    </a:lnTo>
                    <a:lnTo>
                      <a:pt x="38" y="357"/>
                    </a:lnTo>
                    <a:lnTo>
                      <a:pt x="38" y="355"/>
                    </a:lnTo>
                    <a:lnTo>
                      <a:pt x="38" y="354"/>
                    </a:lnTo>
                    <a:lnTo>
                      <a:pt x="38" y="352"/>
                    </a:lnTo>
                    <a:lnTo>
                      <a:pt x="40" y="352"/>
                    </a:lnTo>
                    <a:lnTo>
                      <a:pt x="40" y="350"/>
                    </a:lnTo>
                    <a:lnTo>
                      <a:pt x="41" y="350"/>
                    </a:lnTo>
                    <a:lnTo>
                      <a:pt x="43" y="350"/>
                    </a:lnTo>
                    <a:lnTo>
                      <a:pt x="43" y="348"/>
                    </a:lnTo>
                    <a:lnTo>
                      <a:pt x="45" y="348"/>
                    </a:lnTo>
                    <a:lnTo>
                      <a:pt x="46" y="348"/>
                    </a:lnTo>
                    <a:lnTo>
                      <a:pt x="48" y="348"/>
                    </a:lnTo>
                    <a:lnTo>
                      <a:pt x="46" y="347"/>
                    </a:lnTo>
                    <a:lnTo>
                      <a:pt x="48" y="347"/>
                    </a:lnTo>
                    <a:lnTo>
                      <a:pt x="46" y="347"/>
                    </a:lnTo>
                    <a:lnTo>
                      <a:pt x="48" y="347"/>
                    </a:lnTo>
                    <a:lnTo>
                      <a:pt x="50" y="345"/>
                    </a:lnTo>
                    <a:lnTo>
                      <a:pt x="51" y="345"/>
                    </a:lnTo>
                    <a:lnTo>
                      <a:pt x="53" y="343"/>
                    </a:lnTo>
                    <a:lnTo>
                      <a:pt x="51" y="343"/>
                    </a:lnTo>
                    <a:lnTo>
                      <a:pt x="53" y="343"/>
                    </a:lnTo>
                    <a:lnTo>
                      <a:pt x="55" y="343"/>
                    </a:lnTo>
                    <a:lnTo>
                      <a:pt x="55" y="342"/>
                    </a:lnTo>
                    <a:lnTo>
                      <a:pt x="55" y="340"/>
                    </a:lnTo>
                    <a:lnTo>
                      <a:pt x="57" y="340"/>
                    </a:lnTo>
                    <a:lnTo>
                      <a:pt x="58" y="340"/>
                    </a:lnTo>
                    <a:lnTo>
                      <a:pt x="60" y="340"/>
                    </a:lnTo>
                    <a:lnTo>
                      <a:pt x="58" y="338"/>
                    </a:lnTo>
                    <a:lnTo>
                      <a:pt x="60" y="340"/>
                    </a:lnTo>
                    <a:lnTo>
                      <a:pt x="60" y="338"/>
                    </a:lnTo>
                    <a:lnTo>
                      <a:pt x="62" y="338"/>
                    </a:lnTo>
                    <a:lnTo>
                      <a:pt x="63" y="337"/>
                    </a:lnTo>
                    <a:lnTo>
                      <a:pt x="63" y="338"/>
                    </a:lnTo>
                    <a:lnTo>
                      <a:pt x="63" y="337"/>
                    </a:lnTo>
                    <a:lnTo>
                      <a:pt x="65" y="337"/>
                    </a:lnTo>
                    <a:lnTo>
                      <a:pt x="65" y="335"/>
                    </a:lnTo>
                    <a:lnTo>
                      <a:pt x="67" y="335"/>
                    </a:lnTo>
                    <a:lnTo>
                      <a:pt x="68" y="335"/>
                    </a:lnTo>
                    <a:lnTo>
                      <a:pt x="68" y="333"/>
                    </a:lnTo>
                    <a:lnTo>
                      <a:pt x="70" y="333"/>
                    </a:lnTo>
                    <a:lnTo>
                      <a:pt x="70" y="331"/>
                    </a:lnTo>
                    <a:lnTo>
                      <a:pt x="72" y="331"/>
                    </a:lnTo>
                    <a:lnTo>
                      <a:pt x="70" y="330"/>
                    </a:lnTo>
                    <a:lnTo>
                      <a:pt x="72" y="330"/>
                    </a:lnTo>
                    <a:lnTo>
                      <a:pt x="72" y="331"/>
                    </a:lnTo>
                    <a:lnTo>
                      <a:pt x="72" y="330"/>
                    </a:lnTo>
                    <a:lnTo>
                      <a:pt x="74" y="330"/>
                    </a:lnTo>
                    <a:lnTo>
                      <a:pt x="75" y="330"/>
                    </a:lnTo>
                    <a:lnTo>
                      <a:pt x="77" y="330"/>
                    </a:lnTo>
                    <a:lnTo>
                      <a:pt x="75" y="330"/>
                    </a:lnTo>
                    <a:lnTo>
                      <a:pt x="77" y="330"/>
                    </a:lnTo>
                    <a:lnTo>
                      <a:pt x="79" y="330"/>
                    </a:lnTo>
                    <a:lnTo>
                      <a:pt x="80" y="330"/>
                    </a:lnTo>
                    <a:lnTo>
                      <a:pt x="80" y="331"/>
                    </a:lnTo>
                    <a:lnTo>
                      <a:pt x="82" y="331"/>
                    </a:lnTo>
                    <a:lnTo>
                      <a:pt x="82" y="330"/>
                    </a:lnTo>
                    <a:lnTo>
                      <a:pt x="84" y="330"/>
                    </a:lnTo>
                    <a:lnTo>
                      <a:pt x="84" y="328"/>
                    </a:lnTo>
                    <a:lnTo>
                      <a:pt x="84" y="330"/>
                    </a:lnTo>
                    <a:lnTo>
                      <a:pt x="85" y="330"/>
                    </a:lnTo>
                    <a:lnTo>
                      <a:pt x="84" y="328"/>
                    </a:lnTo>
                    <a:lnTo>
                      <a:pt x="85" y="328"/>
                    </a:lnTo>
                    <a:lnTo>
                      <a:pt x="87" y="328"/>
                    </a:lnTo>
                    <a:lnTo>
                      <a:pt x="87" y="330"/>
                    </a:lnTo>
                    <a:lnTo>
                      <a:pt x="87" y="328"/>
                    </a:lnTo>
                    <a:lnTo>
                      <a:pt x="89" y="328"/>
                    </a:lnTo>
                    <a:lnTo>
                      <a:pt x="91" y="328"/>
                    </a:lnTo>
                    <a:lnTo>
                      <a:pt x="91" y="326"/>
                    </a:lnTo>
                    <a:lnTo>
                      <a:pt x="91" y="328"/>
                    </a:lnTo>
                    <a:lnTo>
                      <a:pt x="92" y="328"/>
                    </a:lnTo>
                    <a:lnTo>
                      <a:pt x="92" y="326"/>
                    </a:lnTo>
                    <a:lnTo>
                      <a:pt x="94" y="326"/>
                    </a:lnTo>
                    <a:lnTo>
                      <a:pt x="96" y="328"/>
                    </a:lnTo>
                    <a:lnTo>
                      <a:pt x="96" y="326"/>
                    </a:lnTo>
                    <a:lnTo>
                      <a:pt x="97" y="326"/>
                    </a:lnTo>
                    <a:lnTo>
                      <a:pt x="99" y="326"/>
                    </a:lnTo>
                    <a:lnTo>
                      <a:pt x="101" y="326"/>
                    </a:lnTo>
                    <a:lnTo>
                      <a:pt x="102" y="326"/>
                    </a:lnTo>
                    <a:lnTo>
                      <a:pt x="102" y="325"/>
                    </a:lnTo>
                    <a:lnTo>
                      <a:pt x="101" y="325"/>
                    </a:lnTo>
                    <a:lnTo>
                      <a:pt x="102" y="325"/>
                    </a:lnTo>
                    <a:lnTo>
                      <a:pt x="102" y="326"/>
                    </a:lnTo>
                    <a:lnTo>
                      <a:pt x="104" y="326"/>
                    </a:lnTo>
                    <a:lnTo>
                      <a:pt x="104" y="325"/>
                    </a:lnTo>
                    <a:lnTo>
                      <a:pt x="106" y="325"/>
                    </a:lnTo>
                    <a:lnTo>
                      <a:pt x="106" y="323"/>
                    </a:lnTo>
                    <a:lnTo>
                      <a:pt x="106" y="321"/>
                    </a:lnTo>
                    <a:lnTo>
                      <a:pt x="108" y="321"/>
                    </a:lnTo>
                    <a:lnTo>
                      <a:pt x="108" y="319"/>
                    </a:lnTo>
                    <a:lnTo>
                      <a:pt x="109" y="319"/>
                    </a:lnTo>
                    <a:lnTo>
                      <a:pt x="109" y="318"/>
                    </a:lnTo>
                    <a:lnTo>
                      <a:pt x="111" y="319"/>
                    </a:lnTo>
                    <a:lnTo>
                      <a:pt x="113" y="319"/>
                    </a:lnTo>
                    <a:lnTo>
                      <a:pt x="113" y="318"/>
                    </a:lnTo>
                    <a:lnTo>
                      <a:pt x="114" y="318"/>
                    </a:lnTo>
                    <a:lnTo>
                      <a:pt x="114" y="319"/>
                    </a:lnTo>
                    <a:lnTo>
                      <a:pt x="116" y="319"/>
                    </a:lnTo>
                    <a:lnTo>
                      <a:pt x="118" y="318"/>
                    </a:lnTo>
                    <a:lnTo>
                      <a:pt x="116" y="318"/>
                    </a:lnTo>
                    <a:lnTo>
                      <a:pt x="118" y="318"/>
                    </a:lnTo>
                    <a:lnTo>
                      <a:pt x="118" y="319"/>
                    </a:lnTo>
                    <a:lnTo>
                      <a:pt x="119" y="319"/>
                    </a:lnTo>
                    <a:lnTo>
                      <a:pt x="119" y="318"/>
                    </a:lnTo>
                    <a:lnTo>
                      <a:pt x="119" y="319"/>
                    </a:lnTo>
                    <a:lnTo>
                      <a:pt x="119" y="318"/>
                    </a:lnTo>
                    <a:lnTo>
                      <a:pt x="121" y="318"/>
                    </a:lnTo>
                    <a:lnTo>
                      <a:pt x="119" y="318"/>
                    </a:lnTo>
                    <a:lnTo>
                      <a:pt x="121" y="318"/>
                    </a:lnTo>
                    <a:lnTo>
                      <a:pt x="123" y="318"/>
                    </a:lnTo>
                    <a:lnTo>
                      <a:pt x="123" y="319"/>
                    </a:lnTo>
                    <a:lnTo>
                      <a:pt x="125" y="319"/>
                    </a:lnTo>
                    <a:lnTo>
                      <a:pt x="125" y="318"/>
                    </a:lnTo>
                    <a:lnTo>
                      <a:pt x="126" y="319"/>
                    </a:lnTo>
                    <a:lnTo>
                      <a:pt x="126" y="321"/>
                    </a:lnTo>
                    <a:lnTo>
                      <a:pt x="125" y="321"/>
                    </a:lnTo>
                    <a:lnTo>
                      <a:pt x="126" y="323"/>
                    </a:lnTo>
                    <a:lnTo>
                      <a:pt x="128" y="325"/>
                    </a:lnTo>
                    <a:lnTo>
                      <a:pt x="128" y="323"/>
                    </a:lnTo>
                    <a:lnTo>
                      <a:pt x="128" y="325"/>
                    </a:lnTo>
                    <a:lnTo>
                      <a:pt x="130" y="325"/>
                    </a:lnTo>
                    <a:lnTo>
                      <a:pt x="130" y="323"/>
                    </a:lnTo>
                    <a:lnTo>
                      <a:pt x="131" y="323"/>
                    </a:lnTo>
                    <a:lnTo>
                      <a:pt x="131" y="321"/>
                    </a:lnTo>
                    <a:lnTo>
                      <a:pt x="131" y="323"/>
                    </a:lnTo>
                    <a:lnTo>
                      <a:pt x="133" y="323"/>
                    </a:lnTo>
                    <a:lnTo>
                      <a:pt x="133" y="325"/>
                    </a:lnTo>
                    <a:lnTo>
                      <a:pt x="135" y="326"/>
                    </a:lnTo>
                    <a:lnTo>
                      <a:pt x="136" y="326"/>
                    </a:lnTo>
                    <a:lnTo>
                      <a:pt x="136" y="325"/>
                    </a:lnTo>
                    <a:lnTo>
                      <a:pt x="136" y="323"/>
                    </a:lnTo>
                    <a:lnTo>
                      <a:pt x="136" y="321"/>
                    </a:lnTo>
                    <a:lnTo>
                      <a:pt x="138" y="321"/>
                    </a:lnTo>
                    <a:lnTo>
                      <a:pt x="140" y="311"/>
                    </a:lnTo>
                    <a:lnTo>
                      <a:pt x="142" y="302"/>
                    </a:lnTo>
                    <a:lnTo>
                      <a:pt x="145" y="279"/>
                    </a:lnTo>
                    <a:lnTo>
                      <a:pt x="145" y="275"/>
                    </a:lnTo>
                    <a:lnTo>
                      <a:pt x="148" y="260"/>
                    </a:lnTo>
                    <a:lnTo>
                      <a:pt x="148" y="255"/>
                    </a:lnTo>
                    <a:lnTo>
                      <a:pt x="150" y="250"/>
                    </a:lnTo>
                    <a:lnTo>
                      <a:pt x="152" y="245"/>
                    </a:lnTo>
                    <a:lnTo>
                      <a:pt x="152" y="238"/>
                    </a:lnTo>
                    <a:lnTo>
                      <a:pt x="153" y="229"/>
                    </a:lnTo>
                    <a:lnTo>
                      <a:pt x="153" y="228"/>
                    </a:lnTo>
                    <a:lnTo>
                      <a:pt x="155" y="228"/>
                    </a:lnTo>
                    <a:lnTo>
                      <a:pt x="155" y="226"/>
                    </a:lnTo>
                    <a:lnTo>
                      <a:pt x="153" y="226"/>
                    </a:lnTo>
                    <a:lnTo>
                      <a:pt x="155" y="224"/>
                    </a:lnTo>
                    <a:lnTo>
                      <a:pt x="155" y="223"/>
                    </a:lnTo>
                    <a:lnTo>
                      <a:pt x="155" y="221"/>
                    </a:lnTo>
                    <a:lnTo>
                      <a:pt x="155" y="219"/>
                    </a:lnTo>
                    <a:lnTo>
                      <a:pt x="155" y="217"/>
                    </a:lnTo>
                    <a:lnTo>
                      <a:pt x="155" y="216"/>
                    </a:lnTo>
                    <a:lnTo>
                      <a:pt x="155" y="214"/>
                    </a:lnTo>
                    <a:lnTo>
                      <a:pt x="155" y="212"/>
                    </a:lnTo>
                    <a:lnTo>
                      <a:pt x="153" y="212"/>
                    </a:lnTo>
                    <a:lnTo>
                      <a:pt x="155" y="212"/>
                    </a:lnTo>
                    <a:lnTo>
                      <a:pt x="153" y="211"/>
                    </a:lnTo>
                    <a:lnTo>
                      <a:pt x="152" y="209"/>
                    </a:lnTo>
                    <a:lnTo>
                      <a:pt x="152" y="211"/>
                    </a:lnTo>
                    <a:lnTo>
                      <a:pt x="152" y="209"/>
                    </a:lnTo>
                    <a:lnTo>
                      <a:pt x="152" y="207"/>
                    </a:lnTo>
                    <a:lnTo>
                      <a:pt x="150" y="207"/>
                    </a:lnTo>
                    <a:lnTo>
                      <a:pt x="150" y="206"/>
                    </a:lnTo>
                    <a:lnTo>
                      <a:pt x="148" y="204"/>
                    </a:lnTo>
                    <a:lnTo>
                      <a:pt x="150" y="204"/>
                    </a:lnTo>
                    <a:lnTo>
                      <a:pt x="148" y="204"/>
                    </a:lnTo>
                    <a:lnTo>
                      <a:pt x="148" y="202"/>
                    </a:lnTo>
                    <a:lnTo>
                      <a:pt x="148" y="200"/>
                    </a:lnTo>
                    <a:lnTo>
                      <a:pt x="150" y="200"/>
                    </a:lnTo>
                    <a:lnTo>
                      <a:pt x="150" y="199"/>
                    </a:lnTo>
                    <a:lnTo>
                      <a:pt x="148" y="199"/>
                    </a:lnTo>
                    <a:lnTo>
                      <a:pt x="148" y="197"/>
                    </a:lnTo>
                    <a:lnTo>
                      <a:pt x="148" y="195"/>
                    </a:lnTo>
                    <a:lnTo>
                      <a:pt x="148" y="194"/>
                    </a:lnTo>
                    <a:lnTo>
                      <a:pt x="147" y="195"/>
                    </a:lnTo>
                    <a:lnTo>
                      <a:pt x="147" y="194"/>
                    </a:lnTo>
                    <a:lnTo>
                      <a:pt x="145" y="194"/>
                    </a:lnTo>
                    <a:lnTo>
                      <a:pt x="143" y="192"/>
                    </a:lnTo>
                    <a:lnTo>
                      <a:pt x="142" y="192"/>
                    </a:lnTo>
                    <a:lnTo>
                      <a:pt x="142" y="190"/>
                    </a:lnTo>
                    <a:lnTo>
                      <a:pt x="140" y="189"/>
                    </a:lnTo>
                    <a:lnTo>
                      <a:pt x="138" y="190"/>
                    </a:lnTo>
                    <a:lnTo>
                      <a:pt x="138" y="189"/>
                    </a:lnTo>
                    <a:lnTo>
                      <a:pt x="136" y="189"/>
                    </a:lnTo>
                    <a:lnTo>
                      <a:pt x="136" y="187"/>
                    </a:lnTo>
                    <a:lnTo>
                      <a:pt x="135" y="185"/>
                    </a:lnTo>
                    <a:lnTo>
                      <a:pt x="135" y="183"/>
                    </a:lnTo>
                    <a:lnTo>
                      <a:pt x="135" y="182"/>
                    </a:lnTo>
                    <a:lnTo>
                      <a:pt x="133" y="182"/>
                    </a:lnTo>
                    <a:lnTo>
                      <a:pt x="133" y="178"/>
                    </a:lnTo>
                    <a:lnTo>
                      <a:pt x="133" y="175"/>
                    </a:lnTo>
                    <a:lnTo>
                      <a:pt x="133" y="172"/>
                    </a:lnTo>
                    <a:lnTo>
                      <a:pt x="133" y="170"/>
                    </a:lnTo>
                    <a:lnTo>
                      <a:pt x="133" y="168"/>
                    </a:lnTo>
                    <a:lnTo>
                      <a:pt x="133" y="166"/>
                    </a:lnTo>
                    <a:lnTo>
                      <a:pt x="133" y="165"/>
                    </a:lnTo>
                    <a:lnTo>
                      <a:pt x="133" y="161"/>
                    </a:lnTo>
                    <a:lnTo>
                      <a:pt x="133" y="160"/>
                    </a:lnTo>
                    <a:lnTo>
                      <a:pt x="135" y="160"/>
                    </a:lnTo>
                    <a:lnTo>
                      <a:pt x="135" y="158"/>
                    </a:lnTo>
                    <a:lnTo>
                      <a:pt x="136" y="158"/>
                    </a:lnTo>
                    <a:lnTo>
                      <a:pt x="136" y="160"/>
                    </a:lnTo>
                    <a:lnTo>
                      <a:pt x="138" y="160"/>
                    </a:lnTo>
                    <a:lnTo>
                      <a:pt x="138" y="158"/>
                    </a:lnTo>
                    <a:lnTo>
                      <a:pt x="140" y="158"/>
                    </a:lnTo>
                    <a:lnTo>
                      <a:pt x="142" y="158"/>
                    </a:lnTo>
                    <a:lnTo>
                      <a:pt x="143" y="158"/>
                    </a:lnTo>
                    <a:lnTo>
                      <a:pt x="143" y="156"/>
                    </a:lnTo>
                    <a:lnTo>
                      <a:pt x="145" y="158"/>
                    </a:lnTo>
                    <a:lnTo>
                      <a:pt x="145" y="156"/>
                    </a:lnTo>
                    <a:lnTo>
                      <a:pt x="147" y="154"/>
                    </a:lnTo>
                    <a:lnTo>
                      <a:pt x="147" y="156"/>
                    </a:lnTo>
                    <a:lnTo>
                      <a:pt x="148" y="156"/>
                    </a:lnTo>
                    <a:lnTo>
                      <a:pt x="148" y="158"/>
                    </a:lnTo>
                    <a:lnTo>
                      <a:pt x="148" y="156"/>
                    </a:lnTo>
                    <a:lnTo>
                      <a:pt x="150" y="156"/>
                    </a:lnTo>
                    <a:lnTo>
                      <a:pt x="150" y="154"/>
                    </a:lnTo>
                    <a:lnTo>
                      <a:pt x="152" y="154"/>
                    </a:lnTo>
                    <a:lnTo>
                      <a:pt x="152" y="153"/>
                    </a:lnTo>
                    <a:lnTo>
                      <a:pt x="153" y="153"/>
                    </a:lnTo>
                    <a:lnTo>
                      <a:pt x="155" y="154"/>
                    </a:lnTo>
                    <a:lnTo>
                      <a:pt x="155" y="156"/>
                    </a:lnTo>
                    <a:lnTo>
                      <a:pt x="157" y="156"/>
                    </a:lnTo>
                    <a:lnTo>
                      <a:pt x="157" y="158"/>
                    </a:lnTo>
                    <a:lnTo>
                      <a:pt x="157" y="156"/>
                    </a:lnTo>
                    <a:lnTo>
                      <a:pt x="159" y="156"/>
                    </a:lnTo>
                    <a:lnTo>
                      <a:pt x="159" y="158"/>
                    </a:lnTo>
                    <a:lnTo>
                      <a:pt x="160" y="158"/>
                    </a:lnTo>
                    <a:lnTo>
                      <a:pt x="162" y="158"/>
                    </a:lnTo>
                    <a:lnTo>
                      <a:pt x="162" y="156"/>
                    </a:lnTo>
                    <a:lnTo>
                      <a:pt x="164" y="156"/>
                    </a:lnTo>
                    <a:lnTo>
                      <a:pt x="165" y="156"/>
                    </a:lnTo>
                    <a:lnTo>
                      <a:pt x="165" y="154"/>
                    </a:lnTo>
                    <a:lnTo>
                      <a:pt x="164" y="154"/>
                    </a:lnTo>
                    <a:lnTo>
                      <a:pt x="162" y="153"/>
                    </a:lnTo>
                    <a:lnTo>
                      <a:pt x="164" y="153"/>
                    </a:lnTo>
                    <a:lnTo>
                      <a:pt x="164" y="151"/>
                    </a:lnTo>
                    <a:lnTo>
                      <a:pt x="164" y="149"/>
                    </a:lnTo>
                    <a:lnTo>
                      <a:pt x="164" y="148"/>
                    </a:lnTo>
                    <a:lnTo>
                      <a:pt x="162" y="148"/>
                    </a:lnTo>
                    <a:lnTo>
                      <a:pt x="162" y="146"/>
                    </a:lnTo>
                    <a:lnTo>
                      <a:pt x="164" y="146"/>
                    </a:lnTo>
                    <a:lnTo>
                      <a:pt x="162" y="146"/>
                    </a:lnTo>
                    <a:lnTo>
                      <a:pt x="162" y="144"/>
                    </a:lnTo>
                    <a:lnTo>
                      <a:pt x="162" y="143"/>
                    </a:lnTo>
                    <a:lnTo>
                      <a:pt x="160" y="143"/>
                    </a:lnTo>
                    <a:lnTo>
                      <a:pt x="159" y="143"/>
                    </a:lnTo>
                    <a:lnTo>
                      <a:pt x="159" y="141"/>
                    </a:lnTo>
                    <a:lnTo>
                      <a:pt x="157" y="141"/>
                    </a:lnTo>
                    <a:lnTo>
                      <a:pt x="155" y="143"/>
                    </a:lnTo>
                    <a:lnTo>
                      <a:pt x="153" y="141"/>
                    </a:lnTo>
                    <a:lnTo>
                      <a:pt x="152" y="141"/>
                    </a:lnTo>
                    <a:lnTo>
                      <a:pt x="150" y="141"/>
                    </a:lnTo>
                    <a:lnTo>
                      <a:pt x="148" y="141"/>
                    </a:lnTo>
                    <a:lnTo>
                      <a:pt x="147" y="141"/>
                    </a:lnTo>
                    <a:lnTo>
                      <a:pt x="145" y="141"/>
                    </a:lnTo>
                    <a:lnTo>
                      <a:pt x="143" y="141"/>
                    </a:lnTo>
                    <a:lnTo>
                      <a:pt x="142" y="141"/>
                    </a:lnTo>
                    <a:lnTo>
                      <a:pt x="142" y="143"/>
                    </a:lnTo>
                    <a:lnTo>
                      <a:pt x="142" y="141"/>
                    </a:lnTo>
                    <a:lnTo>
                      <a:pt x="140" y="141"/>
                    </a:lnTo>
                    <a:lnTo>
                      <a:pt x="140" y="139"/>
                    </a:lnTo>
                    <a:lnTo>
                      <a:pt x="140" y="136"/>
                    </a:lnTo>
                    <a:lnTo>
                      <a:pt x="140" y="134"/>
                    </a:lnTo>
                    <a:lnTo>
                      <a:pt x="140" y="132"/>
                    </a:lnTo>
                    <a:lnTo>
                      <a:pt x="140" y="129"/>
                    </a:lnTo>
                    <a:lnTo>
                      <a:pt x="140" y="126"/>
                    </a:lnTo>
                    <a:lnTo>
                      <a:pt x="140" y="122"/>
                    </a:lnTo>
                    <a:lnTo>
                      <a:pt x="140" y="120"/>
                    </a:lnTo>
                    <a:lnTo>
                      <a:pt x="142" y="120"/>
                    </a:lnTo>
                    <a:lnTo>
                      <a:pt x="143" y="120"/>
                    </a:lnTo>
                    <a:lnTo>
                      <a:pt x="143" y="119"/>
                    </a:lnTo>
                    <a:lnTo>
                      <a:pt x="145" y="119"/>
                    </a:lnTo>
                    <a:lnTo>
                      <a:pt x="147" y="119"/>
                    </a:lnTo>
                    <a:lnTo>
                      <a:pt x="147" y="120"/>
                    </a:lnTo>
                    <a:lnTo>
                      <a:pt x="147" y="119"/>
                    </a:lnTo>
                    <a:lnTo>
                      <a:pt x="147" y="120"/>
                    </a:lnTo>
                    <a:lnTo>
                      <a:pt x="147" y="119"/>
                    </a:lnTo>
                    <a:lnTo>
                      <a:pt x="148" y="120"/>
                    </a:lnTo>
                    <a:lnTo>
                      <a:pt x="148" y="119"/>
                    </a:lnTo>
                    <a:lnTo>
                      <a:pt x="150" y="119"/>
                    </a:lnTo>
                    <a:lnTo>
                      <a:pt x="152" y="117"/>
                    </a:lnTo>
                    <a:lnTo>
                      <a:pt x="152" y="119"/>
                    </a:lnTo>
                    <a:lnTo>
                      <a:pt x="153" y="119"/>
                    </a:lnTo>
                    <a:lnTo>
                      <a:pt x="155" y="119"/>
                    </a:lnTo>
                    <a:lnTo>
                      <a:pt x="159" y="119"/>
                    </a:lnTo>
                    <a:lnTo>
                      <a:pt x="164" y="119"/>
                    </a:lnTo>
                    <a:lnTo>
                      <a:pt x="169" y="119"/>
                    </a:lnTo>
                    <a:lnTo>
                      <a:pt x="174" y="119"/>
                    </a:lnTo>
                    <a:lnTo>
                      <a:pt x="184" y="119"/>
                    </a:lnTo>
                    <a:lnTo>
                      <a:pt x="198" y="119"/>
                    </a:lnTo>
                    <a:lnTo>
                      <a:pt x="196" y="119"/>
                    </a:lnTo>
                    <a:lnTo>
                      <a:pt x="196" y="117"/>
                    </a:lnTo>
                    <a:lnTo>
                      <a:pt x="196" y="119"/>
                    </a:lnTo>
                    <a:lnTo>
                      <a:pt x="194" y="117"/>
                    </a:lnTo>
                    <a:lnTo>
                      <a:pt x="194" y="119"/>
                    </a:lnTo>
                    <a:lnTo>
                      <a:pt x="194" y="117"/>
                    </a:lnTo>
                    <a:lnTo>
                      <a:pt x="194" y="115"/>
                    </a:lnTo>
                    <a:lnTo>
                      <a:pt x="194" y="117"/>
                    </a:lnTo>
                    <a:lnTo>
                      <a:pt x="194" y="115"/>
                    </a:lnTo>
                    <a:lnTo>
                      <a:pt x="194" y="117"/>
                    </a:lnTo>
                    <a:lnTo>
                      <a:pt x="193" y="115"/>
                    </a:lnTo>
                    <a:lnTo>
                      <a:pt x="194" y="115"/>
                    </a:lnTo>
                    <a:lnTo>
                      <a:pt x="193" y="115"/>
                    </a:lnTo>
                    <a:lnTo>
                      <a:pt x="194" y="115"/>
                    </a:lnTo>
                    <a:lnTo>
                      <a:pt x="194" y="114"/>
                    </a:lnTo>
                    <a:lnTo>
                      <a:pt x="194" y="112"/>
                    </a:lnTo>
                    <a:lnTo>
                      <a:pt x="196" y="112"/>
                    </a:lnTo>
                    <a:lnTo>
                      <a:pt x="196" y="110"/>
                    </a:lnTo>
                    <a:lnTo>
                      <a:pt x="196" y="109"/>
                    </a:lnTo>
                    <a:lnTo>
                      <a:pt x="196" y="110"/>
                    </a:lnTo>
                    <a:lnTo>
                      <a:pt x="196" y="112"/>
                    </a:lnTo>
                    <a:lnTo>
                      <a:pt x="198" y="112"/>
                    </a:lnTo>
                    <a:lnTo>
                      <a:pt x="198" y="110"/>
                    </a:lnTo>
                    <a:lnTo>
                      <a:pt x="198" y="112"/>
                    </a:lnTo>
                    <a:lnTo>
                      <a:pt x="199" y="112"/>
                    </a:lnTo>
                    <a:lnTo>
                      <a:pt x="199" y="114"/>
                    </a:lnTo>
                    <a:lnTo>
                      <a:pt x="201" y="114"/>
                    </a:lnTo>
                    <a:lnTo>
                      <a:pt x="203" y="114"/>
                    </a:lnTo>
                    <a:lnTo>
                      <a:pt x="203" y="115"/>
                    </a:lnTo>
                    <a:lnTo>
                      <a:pt x="204" y="115"/>
                    </a:lnTo>
                    <a:lnTo>
                      <a:pt x="204" y="117"/>
                    </a:lnTo>
                    <a:lnTo>
                      <a:pt x="206" y="117"/>
                    </a:lnTo>
                    <a:lnTo>
                      <a:pt x="206" y="115"/>
                    </a:lnTo>
                    <a:lnTo>
                      <a:pt x="208" y="114"/>
                    </a:lnTo>
                    <a:lnTo>
                      <a:pt x="208" y="112"/>
                    </a:lnTo>
                    <a:lnTo>
                      <a:pt x="210" y="112"/>
                    </a:lnTo>
                    <a:lnTo>
                      <a:pt x="210" y="110"/>
                    </a:lnTo>
                    <a:lnTo>
                      <a:pt x="211" y="110"/>
                    </a:lnTo>
                    <a:lnTo>
                      <a:pt x="211" y="109"/>
                    </a:lnTo>
                    <a:lnTo>
                      <a:pt x="213" y="109"/>
                    </a:lnTo>
                    <a:lnTo>
                      <a:pt x="215" y="109"/>
                    </a:lnTo>
                    <a:lnTo>
                      <a:pt x="216" y="109"/>
                    </a:lnTo>
                    <a:lnTo>
                      <a:pt x="218" y="109"/>
                    </a:lnTo>
                    <a:lnTo>
                      <a:pt x="218" y="107"/>
                    </a:lnTo>
                    <a:lnTo>
                      <a:pt x="220" y="107"/>
                    </a:lnTo>
                    <a:lnTo>
                      <a:pt x="220" y="105"/>
                    </a:lnTo>
                    <a:lnTo>
                      <a:pt x="221" y="105"/>
                    </a:lnTo>
                    <a:lnTo>
                      <a:pt x="221" y="103"/>
                    </a:lnTo>
                    <a:lnTo>
                      <a:pt x="223" y="102"/>
                    </a:lnTo>
                    <a:lnTo>
                      <a:pt x="223" y="103"/>
                    </a:lnTo>
                    <a:lnTo>
                      <a:pt x="225" y="103"/>
                    </a:lnTo>
                    <a:lnTo>
                      <a:pt x="223" y="103"/>
                    </a:lnTo>
                    <a:lnTo>
                      <a:pt x="223" y="105"/>
                    </a:lnTo>
                    <a:lnTo>
                      <a:pt x="225" y="105"/>
                    </a:lnTo>
                    <a:lnTo>
                      <a:pt x="225" y="107"/>
                    </a:lnTo>
                    <a:lnTo>
                      <a:pt x="225" y="109"/>
                    </a:lnTo>
                    <a:lnTo>
                      <a:pt x="225" y="110"/>
                    </a:lnTo>
                    <a:lnTo>
                      <a:pt x="225" y="112"/>
                    </a:lnTo>
                    <a:lnTo>
                      <a:pt x="227" y="112"/>
                    </a:lnTo>
                    <a:lnTo>
                      <a:pt x="227" y="114"/>
                    </a:lnTo>
                    <a:lnTo>
                      <a:pt x="228" y="115"/>
                    </a:lnTo>
                    <a:lnTo>
                      <a:pt x="230" y="115"/>
                    </a:lnTo>
                    <a:lnTo>
                      <a:pt x="232" y="115"/>
                    </a:lnTo>
                    <a:lnTo>
                      <a:pt x="232" y="117"/>
                    </a:lnTo>
                    <a:lnTo>
                      <a:pt x="232" y="119"/>
                    </a:lnTo>
                    <a:lnTo>
                      <a:pt x="232" y="120"/>
                    </a:lnTo>
                    <a:lnTo>
                      <a:pt x="232" y="122"/>
                    </a:lnTo>
                    <a:lnTo>
                      <a:pt x="232" y="124"/>
                    </a:lnTo>
                    <a:lnTo>
                      <a:pt x="233" y="124"/>
                    </a:lnTo>
                    <a:lnTo>
                      <a:pt x="232" y="126"/>
                    </a:lnTo>
                    <a:lnTo>
                      <a:pt x="232" y="127"/>
                    </a:lnTo>
                    <a:lnTo>
                      <a:pt x="233" y="127"/>
                    </a:lnTo>
                    <a:lnTo>
                      <a:pt x="233" y="129"/>
                    </a:lnTo>
                    <a:lnTo>
                      <a:pt x="233" y="131"/>
                    </a:lnTo>
                    <a:lnTo>
                      <a:pt x="233" y="132"/>
                    </a:lnTo>
                    <a:lnTo>
                      <a:pt x="232" y="132"/>
                    </a:lnTo>
                    <a:lnTo>
                      <a:pt x="232" y="134"/>
                    </a:lnTo>
                    <a:lnTo>
                      <a:pt x="233" y="134"/>
                    </a:lnTo>
                    <a:lnTo>
                      <a:pt x="233" y="136"/>
                    </a:lnTo>
                    <a:lnTo>
                      <a:pt x="233" y="137"/>
                    </a:lnTo>
                    <a:lnTo>
                      <a:pt x="233" y="139"/>
                    </a:lnTo>
                    <a:lnTo>
                      <a:pt x="235" y="137"/>
                    </a:lnTo>
                    <a:lnTo>
                      <a:pt x="240" y="137"/>
                    </a:lnTo>
                    <a:lnTo>
                      <a:pt x="242" y="136"/>
                    </a:lnTo>
                    <a:lnTo>
                      <a:pt x="259" y="153"/>
                    </a:lnTo>
                    <a:lnTo>
                      <a:pt x="261" y="153"/>
                    </a:lnTo>
                    <a:lnTo>
                      <a:pt x="262" y="151"/>
                    </a:lnTo>
                    <a:lnTo>
                      <a:pt x="264" y="151"/>
                    </a:lnTo>
                    <a:lnTo>
                      <a:pt x="264" y="153"/>
                    </a:lnTo>
                    <a:lnTo>
                      <a:pt x="266" y="153"/>
                    </a:lnTo>
                    <a:lnTo>
                      <a:pt x="267" y="153"/>
                    </a:lnTo>
                    <a:lnTo>
                      <a:pt x="267" y="151"/>
                    </a:lnTo>
                    <a:lnTo>
                      <a:pt x="269" y="151"/>
                    </a:lnTo>
                    <a:lnTo>
                      <a:pt x="271" y="151"/>
                    </a:lnTo>
                    <a:lnTo>
                      <a:pt x="271" y="149"/>
                    </a:lnTo>
                    <a:lnTo>
                      <a:pt x="272" y="149"/>
                    </a:lnTo>
                    <a:lnTo>
                      <a:pt x="272" y="148"/>
                    </a:lnTo>
                    <a:lnTo>
                      <a:pt x="274" y="148"/>
                    </a:lnTo>
                    <a:lnTo>
                      <a:pt x="274" y="146"/>
                    </a:lnTo>
                    <a:lnTo>
                      <a:pt x="276" y="146"/>
                    </a:lnTo>
                    <a:lnTo>
                      <a:pt x="278" y="146"/>
                    </a:lnTo>
                    <a:lnTo>
                      <a:pt x="278" y="144"/>
                    </a:lnTo>
                    <a:lnTo>
                      <a:pt x="279" y="144"/>
                    </a:lnTo>
                    <a:lnTo>
                      <a:pt x="281" y="144"/>
                    </a:lnTo>
                    <a:lnTo>
                      <a:pt x="283" y="144"/>
                    </a:lnTo>
                    <a:lnTo>
                      <a:pt x="284" y="144"/>
                    </a:lnTo>
                    <a:lnTo>
                      <a:pt x="286" y="144"/>
                    </a:lnTo>
                    <a:lnTo>
                      <a:pt x="286" y="146"/>
                    </a:lnTo>
                    <a:lnTo>
                      <a:pt x="286" y="148"/>
                    </a:lnTo>
                    <a:lnTo>
                      <a:pt x="288" y="148"/>
                    </a:lnTo>
                    <a:lnTo>
                      <a:pt x="288" y="149"/>
                    </a:lnTo>
                    <a:lnTo>
                      <a:pt x="286" y="149"/>
                    </a:lnTo>
                    <a:lnTo>
                      <a:pt x="286" y="151"/>
                    </a:lnTo>
                    <a:lnTo>
                      <a:pt x="284" y="153"/>
                    </a:lnTo>
                    <a:lnTo>
                      <a:pt x="284" y="154"/>
                    </a:lnTo>
                    <a:lnTo>
                      <a:pt x="286" y="156"/>
                    </a:lnTo>
                    <a:lnTo>
                      <a:pt x="286" y="154"/>
                    </a:lnTo>
                    <a:lnTo>
                      <a:pt x="288" y="154"/>
                    </a:lnTo>
                    <a:lnTo>
                      <a:pt x="289" y="154"/>
                    </a:lnTo>
                    <a:lnTo>
                      <a:pt x="289" y="153"/>
                    </a:lnTo>
                    <a:lnTo>
                      <a:pt x="291" y="153"/>
                    </a:lnTo>
                    <a:lnTo>
                      <a:pt x="291" y="151"/>
                    </a:lnTo>
                    <a:lnTo>
                      <a:pt x="289" y="151"/>
                    </a:lnTo>
                    <a:lnTo>
                      <a:pt x="291" y="149"/>
                    </a:lnTo>
                    <a:lnTo>
                      <a:pt x="293" y="148"/>
                    </a:lnTo>
                    <a:lnTo>
                      <a:pt x="291" y="148"/>
                    </a:lnTo>
                    <a:lnTo>
                      <a:pt x="293" y="148"/>
                    </a:lnTo>
                    <a:lnTo>
                      <a:pt x="293" y="146"/>
                    </a:lnTo>
                    <a:lnTo>
                      <a:pt x="295" y="146"/>
                    </a:lnTo>
                    <a:lnTo>
                      <a:pt x="296" y="146"/>
                    </a:lnTo>
                    <a:lnTo>
                      <a:pt x="296" y="148"/>
                    </a:lnTo>
                    <a:lnTo>
                      <a:pt x="298" y="148"/>
                    </a:lnTo>
                    <a:lnTo>
                      <a:pt x="298" y="146"/>
                    </a:lnTo>
                    <a:lnTo>
                      <a:pt x="298" y="144"/>
                    </a:lnTo>
                    <a:lnTo>
                      <a:pt x="300" y="144"/>
                    </a:lnTo>
                    <a:lnTo>
                      <a:pt x="298" y="143"/>
                    </a:lnTo>
                    <a:lnTo>
                      <a:pt x="298" y="141"/>
                    </a:lnTo>
                    <a:lnTo>
                      <a:pt x="300" y="141"/>
                    </a:lnTo>
                    <a:lnTo>
                      <a:pt x="298" y="139"/>
                    </a:lnTo>
                    <a:lnTo>
                      <a:pt x="300" y="139"/>
                    </a:lnTo>
                    <a:lnTo>
                      <a:pt x="301" y="139"/>
                    </a:lnTo>
                    <a:lnTo>
                      <a:pt x="301" y="141"/>
                    </a:lnTo>
                    <a:lnTo>
                      <a:pt x="303" y="141"/>
                    </a:lnTo>
                    <a:lnTo>
                      <a:pt x="303" y="139"/>
                    </a:lnTo>
                    <a:lnTo>
                      <a:pt x="305" y="139"/>
                    </a:lnTo>
                    <a:lnTo>
                      <a:pt x="305" y="137"/>
                    </a:lnTo>
                    <a:lnTo>
                      <a:pt x="305" y="136"/>
                    </a:lnTo>
                    <a:lnTo>
                      <a:pt x="306" y="136"/>
                    </a:lnTo>
                    <a:lnTo>
                      <a:pt x="306" y="137"/>
                    </a:lnTo>
                    <a:lnTo>
                      <a:pt x="306" y="136"/>
                    </a:lnTo>
                    <a:lnTo>
                      <a:pt x="308" y="136"/>
                    </a:lnTo>
                    <a:lnTo>
                      <a:pt x="310" y="136"/>
                    </a:lnTo>
                    <a:lnTo>
                      <a:pt x="308" y="134"/>
                    </a:lnTo>
                    <a:lnTo>
                      <a:pt x="310" y="134"/>
                    </a:lnTo>
                    <a:lnTo>
                      <a:pt x="312" y="134"/>
                    </a:lnTo>
                    <a:lnTo>
                      <a:pt x="312" y="136"/>
                    </a:lnTo>
                    <a:lnTo>
                      <a:pt x="313" y="136"/>
                    </a:lnTo>
                    <a:lnTo>
                      <a:pt x="313" y="134"/>
                    </a:lnTo>
                    <a:lnTo>
                      <a:pt x="315" y="134"/>
                    </a:lnTo>
                    <a:lnTo>
                      <a:pt x="317" y="134"/>
                    </a:lnTo>
                    <a:lnTo>
                      <a:pt x="317" y="132"/>
                    </a:lnTo>
                    <a:lnTo>
                      <a:pt x="318" y="132"/>
                    </a:lnTo>
                    <a:lnTo>
                      <a:pt x="318" y="131"/>
                    </a:lnTo>
                    <a:lnTo>
                      <a:pt x="320" y="129"/>
                    </a:lnTo>
                    <a:lnTo>
                      <a:pt x="322" y="129"/>
                    </a:lnTo>
                    <a:lnTo>
                      <a:pt x="322" y="127"/>
                    </a:lnTo>
                    <a:lnTo>
                      <a:pt x="323" y="127"/>
                    </a:lnTo>
                    <a:lnTo>
                      <a:pt x="325" y="126"/>
                    </a:lnTo>
                    <a:lnTo>
                      <a:pt x="325" y="127"/>
                    </a:lnTo>
                    <a:lnTo>
                      <a:pt x="325" y="126"/>
                    </a:lnTo>
                    <a:lnTo>
                      <a:pt x="325" y="127"/>
                    </a:lnTo>
                    <a:lnTo>
                      <a:pt x="325" y="129"/>
                    </a:lnTo>
                    <a:lnTo>
                      <a:pt x="325" y="131"/>
                    </a:lnTo>
                    <a:lnTo>
                      <a:pt x="323" y="131"/>
                    </a:lnTo>
                    <a:lnTo>
                      <a:pt x="325" y="131"/>
                    </a:lnTo>
                    <a:lnTo>
                      <a:pt x="327" y="132"/>
                    </a:lnTo>
                    <a:lnTo>
                      <a:pt x="327" y="131"/>
                    </a:lnTo>
                    <a:lnTo>
                      <a:pt x="327" y="129"/>
                    </a:lnTo>
                    <a:lnTo>
                      <a:pt x="329" y="127"/>
                    </a:lnTo>
                    <a:lnTo>
                      <a:pt x="330" y="127"/>
                    </a:lnTo>
                    <a:lnTo>
                      <a:pt x="332" y="127"/>
                    </a:lnTo>
                    <a:lnTo>
                      <a:pt x="332" y="126"/>
                    </a:lnTo>
                    <a:lnTo>
                      <a:pt x="332" y="124"/>
                    </a:lnTo>
                    <a:lnTo>
                      <a:pt x="334" y="124"/>
                    </a:lnTo>
                    <a:lnTo>
                      <a:pt x="335" y="124"/>
                    </a:lnTo>
                    <a:lnTo>
                      <a:pt x="335" y="122"/>
                    </a:lnTo>
                    <a:lnTo>
                      <a:pt x="335" y="120"/>
                    </a:lnTo>
                    <a:lnTo>
                      <a:pt x="335" y="119"/>
                    </a:lnTo>
                    <a:lnTo>
                      <a:pt x="335" y="117"/>
                    </a:lnTo>
                    <a:lnTo>
                      <a:pt x="335" y="115"/>
                    </a:lnTo>
                    <a:lnTo>
                      <a:pt x="335" y="114"/>
                    </a:lnTo>
                    <a:lnTo>
                      <a:pt x="335" y="112"/>
                    </a:lnTo>
                    <a:lnTo>
                      <a:pt x="337" y="112"/>
                    </a:lnTo>
                    <a:lnTo>
                      <a:pt x="337" y="110"/>
                    </a:lnTo>
                    <a:lnTo>
                      <a:pt x="339" y="110"/>
                    </a:lnTo>
                    <a:lnTo>
                      <a:pt x="340" y="110"/>
                    </a:lnTo>
                    <a:lnTo>
                      <a:pt x="342" y="110"/>
                    </a:lnTo>
                    <a:lnTo>
                      <a:pt x="344" y="112"/>
                    </a:lnTo>
                    <a:lnTo>
                      <a:pt x="344" y="110"/>
                    </a:lnTo>
                    <a:lnTo>
                      <a:pt x="346" y="110"/>
                    </a:lnTo>
                    <a:lnTo>
                      <a:pt x="347" y="110"/>
                    </a:lnTo>
                    <a:lnTo>
                      <a:pt x="347" y="109"/>
                    </a:lnTo>
                    <a:lnTo>
                      <a:pt x="349" y="110"/>
                    </a:lnTo>
                    <a:lnTo>
                      <a:pt x="349" y="109"/>
                    </a:lnTo>
                    <a:lnTo>
                      <a:pt x="351" y="109"/>
                    </a:lnTo>
                    <a:lnTo>
                      <a:pt x="351" y="107"/>
                    </a:lnTo>
                    <a:lnTo>
                      <a:pt x="352" y="107"/>
                    </a:lnTo>
                    <a:lnTo>
                      <a:pt x="352" y="105"/>
                    </a:lnTo>
                    <a:lnTo>
                      <a:pt x="354" y="105"/>
                    </a:lnTo>
                    <a:lnTo>
                      <a:pt x="354" y="107"/>
                    </a:lnTo>
                    <a:lnTo>
                      <a:pt x="356" y="107"/>
                    </a:lnTo>
                    <a:lnTo>
                      <a:pt x="356" y="105"/>
                    </a:lnTo>
                    <a:lnTo>
                      <a:pt x="356" y="107"/>
                    </a:lnTo>
                    <a:lnTo>
                      <a:pt x="357" y="105"/>
                    </a:lnTo>
                    <a:lnTo>
                      <a:pt x="359" y="103"/>
                    </a:lnTo>
                    <a:lnTo>
                      <a:pt x="357" y="103"/>
                    </a:lnTo>
                    <a:lnTo>
                      <a:pt x="359" y="103"/>
                    </a:lnTo>
                    <a:lnTo>
                      <a:pt x="359" y="102"/>
                    </a:lnTo>
                    <a:lnTo>
                      <a:pt x="359" y="100"/>
                    </a:lnTo>
                    <a:lnTo>
                      <a:pt x="359" y="98"/>
                    </a:lnTo>
                    <a:lnTo>
                      <a:pt x="359" y="97"/>
                    </a:lnTo>
                    <a:lnTo>
                      <a:pt x="359" y="95"/>
                    </a:lnTo>
                    <a:lnTo>
                      <a:pt x="357" y="95"/>
                    </a:lnTo>
                    <a:lnTo>
                      <a:pt x="356" y="95"/>
                    </a:lnTo>
                    <a:lnTo>
                      <a:pt x="354" y="97"/>
                    </a:lnTo>
                    <a:lnTo>
                      <a:pt x="352" y="97"/>
                    </a:lnTo>
                    <a:lnTo>
                      <a:pt x="351" y="97"/>
                    </a:lnTo>
                    <a:lnTo>
                      <a:pt x="349" y="97"/>
                    </a:lnTo>
                    <a:lnTo>
                      <a:pt x="347" y="97"/>
                    </a:lnTo>
                    <a:lnTo>
                      <a:pt x="346" y="97"/>
                    </a:lnTo>
                    <a:lnTo>
                      <a:pt x="344" y="97"/>
                    </a:lnTo>
                    <a:lnTo>
                      <a:pt x="342" y="95"/>
                    </a:lnTo>
                    <a:lnTo>
                      <a:pt x="340" y="95"/>
                    </a:lnTo>
                    <a:lnTo>
                      <a:pt x="339" y="95"/>
                    </a:lnTo>
                    <a:lnTo>
                      <a:pt x="337" y="93"/>
                    </a:lnTo>
                    <a:lnTo>
                      <a:pt x="337" y="95"/>
                    </a:lnTo>
                    <a:lnTo>
                      <a:pt x="337" y="93"/>
                    </a:lnTo>
                    <a:lnTo>
                      <a:pt x="335" y="93"/>
                    </a:lnTo>
                    <a:lnTo>
                      <a:pt x="335" y="92"/>
                    </a:lnTo>
                    <a:lnTo>
                      <a:pt x="337" y="92"/>
                    </a:lnTo>
                    <a:lnTo>
                      <a:pt x="337" y="90"/>
                    </a:lnTo>
                    <a:lnTo>
                      <a:pt x="337" y="88"/>
                    </a:lnTo>
                    <a:lnTo>
                      <a:pt x="339" y="88"/>
                    </a:lnTo>
                    <a:lnTo>
                      <a:pt x="339" y="86"/>
                    </a:lnTo>
                    <a:lnTo>
                      <a:pt x="337" y="86"/>
                    </a:lnTo>
                    <a:lnTo>
                      <a:pt x="339" y="86"/>
                    </a:lnTo>
                    <a:lnTo>
                      <a:pt x="337" y="85"/>
                    </a:lnTo>
                    <a:lnTo>
                      <a:pt x="339" y="85"/>
                    </a:lnTo>
                    <a:lnTo>
                      <a:pt x="337" y="85"/>
                    </a:lnTo>
                    <a:lnTo>
                      <a:pt x="337" y="83"/>
                    </a:lnTo>
                    <a:lnTo>
                      <a:pt x="335" y="81"/>
                    </a:lnTo>
                    <a:lnTo>
                      <a:pt x="335" y="80"/>
                    </a:lnTo>
                    <a:lnTo>
                      <a:pt x="335" y="78"/>
                    </a:lnTo>
                    <a:lnTo>
                      <a:pt x="334" y="78"/>
                    </a:lnTo>
                    <a:lnTo>
                      <a:pt x="334" y="76"/>
                    </a:lnTo>
                    <a:lnTo>
                      <a:pt x="332" y="76"/>
                    </a:lnTo>
                    <a:lnTo>
                      <a:pt x="332" y="75"/>
                    </a:lnTo>
                    <a:lnTo>
                      <a:pt x="330" y="73"/>
                    </a:lnTo>
                    <a:lnTo>
                      <a:pt x="330" y="71"/>
                    </a:lnTo>
                    <a:lnTo>
                      <a:pt x="330" y="69"/>
                    </a:lnTo>
                    <a:lnTo>
                      <a:pt x="330" y="68"/>
                    </a:lnTo>
                    <a:lnTo>
                      <a:pt x="330" y="66"/>
                    </a:lnTo>
                    <a:lnTo>
                      <a:pt x="330" y="64"/>
                    </a:lnTo>
                    <a:lnTo>
                      <a:pt x="330" y="63"/>
                    </a:lnTo>
                    <a:lnTo>
                      <a:pt x="329" y="63"/>
                    </a:lnTo>
                    <a:lnTo>
                      <a:pt x="330" y="61"/>
                    </a:lnTo>
                    <a:lnTo>
                      <a:pt x="332" y="59"/>
                    </a:lnTo>
                    <a:lnTo>
                      <a:pt x="332" y="58"/>
                    </a:lnTo>
                    <a:lnTo>
                      <a:pt x="330" y="56"/>
                    </a:lnTo>
                    <a:lnTo>
                      <a:pt x="329" y="54"/>
                    </a:lnTo>
                    <a:lnTo>
                      <a:pt x="329" y="52"/>
                    </a:lnTo>
                    <a:lnTo>
                      <a:pt x="327" y="52"/>
                    </a:lnTo>
                    <a:lnTo>
                      <a:pt x="327" y="51"/>
                    </a:lnTo>
                    <a:lnTo>
                      <a:pt x="325" y="51"/>
                    </a:lnTo>
                    <a:lnTo>
                      <a:pt x="323" y="51"/>
                    </a:lnTo>
                    <a:lnTo>
                      <a:pt x="322" y="51"/>
                    </a:lnTo>
                    <a:lnTo>
                      <a:pt x="322" y="49"/>
                    </a:lnTo>
                    <a:lnTo>
                      <a:pt x="320" y="49"/>
                    </a:lnTo>
                    <a:lnTo>
                      <a:pt x="320" y="47"/>
                    </a:lnTo>
                    <a:lnTo>
                      <a:pt x="318" y="47"/>
                    </a:lnTo>
                    <a:lnTo>
                      <a:pt x="318" y="46"/>
                    </a:lnTo>
                    <a:lnTo>
                      <a:pt x="317" y="44"/>
                    </a:lnTo>
                    <a:lnTo>
                      <a:pt x="315" y="42"/>
                    </a:lnTo>
                    <a:lnTo>
                      <a:pt x="315" y="41"/>
                    </a:lnTo>
                    <a:lnTo>
                      <a:pt x="313" y="41"/>
                    </a:lnTo>
                    <a:lnTo>
                      <a:pt x="313" y="39"/>
                    </a:lnTo>
                    <a:lnTo>
                      <a:pt x="312" y="39"/>
                    </a:lnTo>
                    <a:lnTo>
                      <a:pt x="312" y="37"/>
                    </a:lnTo>
                    <a:lnTo>
                      <a:pt x="310" y="37"/>
                    </a:lnTo>
                    <a:lnTo>
                      <a:pt x="310" y="35"/>
                    </a:lnTo>
                    <a:lnTo>
                      <a:pt x="310" y="34"/>
                    </a:lnTo>
                    <a:lnTo>
                      <a:pt x="312" y="34"/>
                    </a:lnTo>
                    <a:lnTo>
                      <a:pt x="313" y="34"/>
                    </a:lnTo>
                    <a:lnTo>
                      <a:pt x="315" y="34"/>
                    </a:lnTo>
                    <a:lnTo>
                      <a:pt x="315" y="35"/>
                    </a:lnTo>
                    <a:lnTo>
                      <a:pt x="317" y="37"/>
                    </a:lnTo>
                    <a:lnTo>
                      <a:pt x="317" y="39"/>
                    </a:lnTo>
                    <a:lnTo>
                      <a:pt x="318" y="39"/>
                    </a:lnTo>
                    <a:lnTo>
                      <a:pt x="320" y="39"/>
                    </a:lnTo>
                    <a:lnTo>
                      <a:pt x="322" y="39"/>
                    </a:lnTo>
                    <a:lnTo>
                      <a:pt x="323" y="39"/>
                    </a:lnTo>
                    <a:lnTo>
                      <a:pt x="323" y="37"/>
                    </a:lnTo>
                    <a:lnTo>
                      <a:pt x="323" y="39"/>
                    </a:lnTo>
                    <a:lnTo>
                      <a:pt x="325" y="37"/>
                    </a:lnTo>
                    <a:lnTo>
                      <a:pt x="325" y="39"/>
                    </a:lnTo>
                    <a:lnTo>
                      <a:pt x="327" y="39"/>
                    </a:lnTo>
                    <a:lnTo>
                      <a:pt x="329" y="37"/>
                    </a:lnTo>
                    <a:lnTo>
                      <a:pt x="329" y="39"/>
                    </a:lnTo>
                    <a:lnTo>
                      <a:pt x="330" y="39"/>
                    </a:lnTo>
                    <a:lnTo>
                      <a:pt x="332" y="39"/>
                    </a:lnTo>
                    <a:lnTo>
                      <a:pt x="334" y="39"/>
                    </a:lnTo>
                    <a:lnTo>
                      <a:pt x="334" y="41"/>
                    </a:lnTo>
                    <a:lnTo>
                      <a:pt x="335" y="41"/>
                    </a:lnTo>
                    <a:lnTo>
                      <a:pt x="334" y="42"/>
                    </a:lnTo>
                    <a:lnTo>
                      <a:pt x="335" y="42"/>
                    </a:lnTo>
                    <a:lnTo>
                      <a:pt x="335" y="44"/>
                    </a:lnTo>
                    <a:lnTo>
                      <a:pt x="337" y="46"/>
                    </a:lnTo>
                    <a:lnTo>
                      <a:pt x="339" y="46"/>
                    </a:lnTo>
                    <a:lnTo>
                      <a:pt x="339" y="47"/>
                    </a:lnTo>
                    <a:lnTo>
                      <a:pt x="339" y="46"/>
                    </a:lnTo>
                    <a:lnTo>
                      <a:pt x="340" y="46"/>
                    </a:lnTo>
                    <a:lnTo>
                      <a:pt x="342" y="46"/>
                    </a:lnTo>
                    <a:lnTo>
                      <a:pt x="342" y="44"/>
                    </a:lnTo>
                    <a:lnTo>
                      <a:pt x="344" y="44"/>
                    </a:lnTo>
                    <a:lnTo>
                      <a:pt x="344" y="46"/>
                    </a:lnTo>
                    <a:lnTo>
                      <a:pt x="346" y="46"/>
                    </a:lnTo>
                    <a:lnTo>
                      <a:pt x="346" y="44"/>
                    </a:lnTo>
                    <a:lnTo>
                      <a:pt x="347" y="46"/>
                    </a:lnTo>
                    <a:lnTo>
                      <a:pt x="349" y="46"/>
                    </a:lnTo>
                    <a:lnTo>
                      <a:pt x="347" y="44"/>
                    </a:lnTo>
                    <a:lnTo>
                      <a:pt x="349" y="42"/>
                    </a:lnTo>
                    <a:lnTo>
                      <a:pt x="349" y="44"/>
                    </a:lnTo>
                    <a:lnTo>
                      <a:pt x="351" y="44"/>
                    </a:lnTo>
                    <a:lnTo>
                      <a:pt x="351" y="46"/>
                    </a:lnTo>
                    <a:lnTo>
                      <a:pt x="352" y="46"/>
                    </a:lnTo>
                    <a:lnTo>
                      <a:pt x="351" y="46"/>
                    </a:lnTo>
                    <a:lnTo>
                      <a:pt x="352" y="47"/>
                    </a:lnTo>
                    <a:lnTo>
                      <a:pt x="352" y="46"/>
                    </a:lnTo>
                    <a:lnTo>
                      <a:pt x="352" y="47"/>
                    </a:lnTo>
                    <a:lnTo>
                      <a:pt x="354" y="47"/>
                    </a:lnTo>
                    <a:lnTo>
                      <a:pt x="356" y="47"/>
                    </a:lnTo>
                    <a:lnTo>
                      <a:pt x="357" y="47"/>
                    </a:lnTo>
                    <a:lnTo>
                      <a:pt x="357" y="46"/>
                    </a:lnTo>
                    <a:lnTo>
                      <a:pt x="357" y="44"/>
                    </a:lnTo>
                    <a:lnTo>
                      <a:pt x="356" y="44"/>
                    </a:lnTo>
                    <a:lnTo>
                      <a:pt x="357" y="44"/>
                    </a:lnTo>
                    <a:lnTo>
                      <a:pt x="359" y="44"/>
                    </a:lnTo>
                    <a:lnTo>
                      <a:pt x="361" y="44"/>
                    </a:lnTo>
                    <a:lnTo>
                      <a:pt x="363" y="44"/>
                    </a:lnTo>
                    <a:lnTo>
                      <a:pt x="364" y="44"/>
                    </a:lnTo>
                    <a:lnTo>
                      <a:pt x="364" y="46"/>
                    </a:lnTo>
                    <a:lnTo>
                      <a:pt x="364" y="47"/>
                    </a:lnTo>
                    <a:lnTo>
                      <a:pt x="364" y="49"/>
                    </a:lnTo>
                    <a:lnTo>
                      <a:pt x="366" y="49"/>
                    </a:lnTo>
                    <a:lnTo>
                      <a:pt x="368" y="49"/>
                    </a:lnTo>
                    <a:lnTo>
                      <a:pt x="368" y="51"/>
                    </a:lnTo>
                    <a:lnTo>
                      <a:pt x="369" y="51"/>
                    </a:lnTo>
                    <a:lnTo>
                      <a:pt x="369" y="52"/>
                    </a:lnTo>
                    <a:lnTo>
                      <a:pt x="369" y="54"/>
                    </a:lnTo>
                    <a:lnTo>
                      <a:pt x="371" y="54"/>
                    </a:lnTo>
                    <a:lnTo>
                      <a:pt x="371" y="56"/>
                    </a:lnTo>
                    <a:lnTo>
                      <a:pt x="373" y="56"/>
                    </a:lnTo>
                    <a:lnTo>
                      <a:pt x="374" y="56"/>
                    </a:lnTo>
                    <a:lnTo>
                      <a:pt x="374" y="54"/>
                    </a:lnTo>
                    <a:lnTo>
                      <a:pt x="376" y="52"/>
                    </a:lnTo>
                    <a:lnTo>
                      <a:pt x="378" y="51"/>
                    </a:lnTo>
                    <a:lnTo>
                      <a:pt x="378" y="52"/>
                    </a:lnTo>
                    <a:lnTo>
                      <a:pt x="380" y="52"/>
                    </a:lnTo>
                    <a:lnTo>
                      <a:pt x="380" y="54"/>
                    </a:lnTo>
                    <a:lnTo>
                      <a:pt x="380" y="52"/>
                    </a:lnTo>
                    <a:lnTo>
                      <a:pt x="381" y="52"/>
                    </a:lnTo>
                    <a:lnTo>
                      <a:pt x="380" y="51"/>
                    </a:lnTo>
                    <a:lnTo>
                      <a:pt x="381" y="51"/>
                    </a:lnTo>
                    <a:lnTo>
                      <a:pt x="380" y="49"/>
                    </a:lnTo>
                    <a:lnTo>
                      <a:pt x="381" y="49"/>
                    </a:lnTo>
                    <a:lnTo>
                      <a:pt x="380" y="49"/>
                    </a:lnTo>
                    <a:lnTo>
                      <a:pt x="380" y="47"/>
                    </a:lnTo>
                    <a:lnTo>
                      <a:pt x="378" y="46"/>
                    </a:lnTo>
                    <a:lnTo>
                      <a:pt x="380" y="46"/>
                    </a:lnTo>
                    <a:lnTo>
                      <a:pt x="380" y="44"/>
                    </a:lnTo>
                    <a:lnTo>
                      <a:pt x="380" y="42"/>
                    </a:lnTo>
                    <a:lnTo>
                      <a:pt x="380" y="41"/>
                    </a:lnTo>
                    <a:lnTo>
                      <a:pt x="381" y="42"/>
                    </a:lnTo>
                    <a:lnTo>
                      <a:pt x="383" y="41"/>
                    </a:lnTo>
                    <a:lnTo>
                      <a:pt x="383" y="42"/>
                    </a:lnTo>
                    <a:lnTo>
                      <a:pt x="383" y="41"/>
                    </a:lnTo>
                    <a:lnTo>
                      <a:pt x="385" y="41"/>
                    </a:lnTo>
                    <a:lnTo>
                      <a:pt x="385" y="42"/>
                    </a:lnTo>
                    <a:lnTo>
                      <a:pt x="386" y="42"/>
                    </a:lnTo>
                    <a:lnTo>
                      <a:pt x="386" y="41"/>
                    </a:lnTo>
                    <a:lnTo>
                      <a:pt x="386" y="39"/>
                    </a:lnTo>
                    <a:lnTo>
                      <a:pt x="388" y="39"/>
                    </a:lnTo>
                    <a:lnTo>
                      <a:pt x="388" y="37"/>
                    </a:lnTo>
                    <a:lnTo>
                      <a:pt x="390" y="39"/>
                    </a:lnTo>
                    <a:lnTo>
                      <a:pt x="390" y="37"/>
                    </a:lnTo>
                    <a:lnTo>
                      <a:pt x="391" y="37"/>
                    </a:lnTo>
                    <a:lnTo>
                      <a:pt x="393" y="37"/>
                    </a:lnTo>
                    <a:lnTo>
                      <a:pt x="395" y="39"/>
                    </a:lnTo>
                    <a:lnTo>
                      <a:pt x="395" y="37"/>
                    </a:lnTo>
                    <a:lnTo>
                      <a:pt x="395" y="39"/>
                    </a:lnTo>
                    <a:lnTo>
                      <a:pt x="395" y="37"/>
                    </a:lnTo>
                    <a:lnTo>
                      <a:pt x="397" y="39"/>
                    </a:lnTo>
                    <a:lnTo>
                      <a:pt x="398" y="39"/>
                    </a:lnTo>
                    <a:lnTo>
                      <a:pt x="400" y="39"/>
                    </a:lnTo>
                    <a:lnTo>
                      <a:pt x="400" y="41"/>
                    </a:lnTo>
                    <a:lnTo>
                      <a:pt x="402" y="39"/>
                    </a:lnTo>
                    <a:lnTo>
                      <a:pt x="403" y="39"/>
                    </a:lnTo>
                    <a:lnTo>
                      <a:pt x="402" y="37"/>
                    </a:lnTo>
                    <a:lnTo>
                      <a:pt x="403" y="37"/>
                    </a:lnTo>
                    <a:lnTo>
                      <a:pt x="405" y="37"/>
                    </a:lnTo>
                    <a:lnTo>
                      <a:pt x="407" y="37"/>
                    </a:lnTo>
                    <a:lnTo>
                      <a:pt x="407" y="39"/>
                    </a:lnTo>
                    <a:lnTo>
                      <a:pt x="408" y="39"/>
                    </a:lnTo>
                    <a:lnTo>
                      <a:pt x="408" y="37"/>
                    </a:lnTo>
                    <a:lnTo>
                      <a:pt x="410" y="37"/>
                    </a:lnTo>
                    <a:lnTo>
                      <a:pt x="412" y="37"/>
                    </a:lnTo>
                    <a:lnTo>
                      <a:pt x="412" y="35"/>
                    </a:lnTo>
                    <a:lnTo>
                      <a:pt x="414" y="35"/>
                    </a:lnTo>
                    <a:lnTo>
                      <a:pt x="414" y="34"/>
                    </a:lnTo>
                    <a:lnTo>
                      <a:pt x="415" y="34"/>
                    </a:lnTo>
                    <a:lnTo>
                      <a:pt x="417" y="34"/>
                    </a:lnTo>
                    <a:lnTo>
                      <a:pt x="417" y="35"/>
                    </a:lnTo>
                    <a:lnTo>
                      <a:pt x="417" y="34"/>
                    </a:lnTo>
                    <a:lnTo>
                      <a:pt x="419" y="34"/>
                    </a:lnTo>
                    <a:lnTo>
                      <a:pt x="420" y="34"/>
                    </a:lnTo>
                    <a:lnTo>
                      <a:pt x="422" y="34"/>
                    </a:lnTo>
                    <a:lnTo>
                      <a:pt x="422" y="32"/>
                    </a:lnTo>
                    <a:lnTo>
                      <a:pt x="422" y="30"/>
                    </a:lnTo>
                    <a:lnTo>
                      <a:pt x="422" y="29"/>
                    </a:lnTo>
                    <a:lnTo>
                      <a:pt x="424" y="29"/>
                    </a:lnTo>
                    <a:lnTo>
                      <a:pt x="425" y="29"/>
                    </a:lnTo>
                    <a:lnTo>
                      <a:pt x="427" y="29"/>
                    </a:lnTo>
                    <a:lnTo>
                      <a:pt x="429" y="29"/>
                    </a:lnTo>
                    <a:lnTo>
                      <a:pt x="429" y="27"/>
                    </a:lnTo>
                    <a:lnTo>
                      <a:pt x="429" y="25"/>
                    </a:lnTo>
                    <a:lnTo>
                      <a:pt x="427" y="25"/>
                    </a:lnTo>
                    <a:lnTo>
                      <a:pt x="429" y="25"/>
                    </a:lnTo>
                    <a:lnTo>
                      <a:pt x="431" y="25"/>
                    </a:lnTo>
                    <a:lnTo>
                      <a:pt x="432" y="25"/>
                    </a:lnTo>
                    <a:lnTo>
                      <a:pt x="434" y="25"/>
                    </a:lnTo>
                    <a:lnTo>
                      <a:pt x="434" y="27"/>
                    </a:lnTo>
                    <a:lnTo>
                      <a:pt x="434" y="25"/>
                    </a:lnTo>
                    <a:lnTo>
                      <a:pt x="436" y="25"/>
                    </a:lnTo>
                    <a:lnTo>
                      <a:pt x="437" y="25"/>
                    </a:lnTo>
                    <a:lnTo>
                      <a:pt x="439" y="25"/>
                    </a:lnTo>
                    <a:lnTo>
                      <a:pt x="439" y="24"/>
                    </a:lnTo>
                    <a:lnTo>
                      <a:pt x="441" y="24"/>
                    </a:lnTo>
                    <a:lnTo>
                      <a:pt x="441" y="22"/>
                    </a:lnTo>
                    <a:lnTo>
                      <a:pt x="441" y="20"/>
                    </a:lnTo>
                    <a:lnTo>
                      <a:pt x="442" y="20"/>
                    </a:lnTo>
                    <a:lnTo>
                      <a:pt x="442" y="18"/>
                    </a:lnTo>
                    <a:lnTo>
                      <a:pt x="444" y="18"/>
                    </a:lnTo>
                    <a:lnTo>
                      <a:pt x="446" y="18"/>
                    </a:lnTo>
                    <a:lnTo>
                      <a:pt x="446" y="17"/>
                    </a:lnTo>
                    <a:lnTo>
                      <a:pt x="448" y="17"/>
                    </a:lnTo>
                    <a:lnTo>
                      <a:pt x="448" y="15"/>
                    </a:lnTo>
                    <a:lnTo>
                      <a:pt x="449" y="15"/>
                    </a:lnTo>
                    <a:lnTo>
                      <a:pt x="449" y="13"/>
                    </a:lnTo>
                    <a:lnTo>
                      <a:pt x="451" y="13"/>
                    </a:lnTo>
                    <a:lnTo>
                      <a:pt x="451" y="12"/>
                    </a:lnTo>
                    <a:lnTo>
                      <a:pt x="453" y="12"/>
                    </a:lnTo>
                    <a:lnTo>
                      <a:pt x="453" y="10"/>
                    </a:lnTo>
                    <a:lnTo>
                      <a:pt x="453" y="8"/>
                    </a:lnTo>
                    <a:lnTo>
                      <a:pt x="451" y="8"/>
                    </a:lnTo>
                    <a:lnTo>
                      <a:pt x="451" y="6"/>
                    </a:lnTo>
                    <a:lnTo>
                      <a:pt x="451" y="5"/>
                    </a:lnTo>
                    <a:lnTo>
                      <a:pt x="451" y="3"/>
                    </a:lnTo>
                    <a:lnTo>
                      <a:pt x="449" y="3"/>
                    </a:lnTo>
                    <a:lnTo>
                      <a:pt x="449" y="1"/>
                    </a:lnTo>
                    <a:lnTo>
                      <a:pt x="448" y="1"/>
                    </a:lnTo>
                    <a:lnTo>
                      <a:pt x="449" y="1"/>
                    </a:lnTo>
                    <a:lnTo>
                      <a:pt x="451" y="1"/>
                    </a:lnTo>
                    <a:lnTo>
                      <a:pt x="453" y="1"/>
                    </a:lnTo>
                    <a:lnTo>
                      <a:pt x="454" y="1"/>
                    </a:lnTo>
                    <a:lnTo>
                      <a:pt x="456" y="1"/>
                    </a:lnTo>
                    <a:lnTo>
                      <a:pt x="458" y="1"/>
                    </a:lnTo>
                    <a:lnTo>
                      <a:pt x="458" y="3"/>
                    </a:lnTo>
                    <a:lnTo>
                      <a:pt x="458" y="1"/>
                    </a:lnTo>
                    <a:lnTo>
                      <a:pt x="459" y="1"/>
                    </a:lnTo>
                    <a:lnTo>
                      <a:pt x="461" y="1"/>
                    </a:lnTo>
                    <a:lnTo>
                      <a:pt x="463" y="1"/>
                    </a:lnTo>
                    <a:lnTo>
                      <a:pt x="465" y="0"/>
                    </a:lnTo>
                    <a:lnTo>
                      <a:pt x="466" y="0"/>
                    </a:lnTo>
                    <a:lnTo>
                      <a:pt x="466" y="1"/>
                    </a:lnTo>
                    <a:lnTo>
                      <a:pt x="468" y="1"/>
                    </a:lnTo>
                    <a:lnTo>
                      <a:pt x="468" y="0"/>
                    </a:lnTo>
                    <a:lnTo>
                      <a:pt x="468" y="1"/>
                    </a:lnTo>
                    <a:lnTo>
                      <a:pt x="470" y="1"/>
                    </a:lnTo>
                    <a:lnTo>
                      <a:pt x="470" y="3"/>
                    </a:lnTo>
                    <a:lnTo>
                      <a:pt x="470" y="5"/>
                    </a:lnTo>
                    <a:lnTo>
                      <a:pt x="471" y="5"/>
                    </a:lnTo>
                    <a:lnTo>
                      <a:pt x="471" y="6"/>
                    </a:lnTo>
                    <a:lnTo>
                      <a:pt x="473" y="6"/>
                    </a:lnTo>
                    <a:lnTo>
                      <a:pt x="473" y="8"/>
                    </a:lnTo>
                    <a:lnTo>
                      <a:pt x="473" y="10"/>
                    </a:lnTo>
                    <a:lnTo>
                      <a:pt x="473" y="12"/>
                    </a:lnTo>
                    <a:lnTo>
                      <a:pt x="473" y="13"/>
                    </a:lnTo>
                    <a:lnTo>
                      <a:pt x="471" y="15"/>
                    </a:lnTo>
                    <a:lnTo>
                      <a:pt x="471" y="17"/>
                    </a:lnTo>
                    <a:lnTo>
                      <a:pt x="471" y="18"/>
                    </a:lnTo>
                    <a:lnTo>
                      <a:pt x="471" y="20"/>
                    </a:lnTo>
                    <a:lnTo>
                      <a:pt x="470" y="20"/>
                    </a:lnTo>
                    <a:lnTo>
                      <a:pt x="470" y="22"/>
                    </a:lnTo>
                    <a:lnTo>
                      <a:pt x="468" y="22"/>
                    </a:lnTo>
                    <a:lnTo>
                      <a:pt x="468" y="24"/>
                    </a:lnTo>
                    <a:lnTo>
                      <a:pt x="468" y="25"/>
                    </a:lnTo>
                    <a:lnTo>
                      <a:pt x="470" y="25"/>
                    </a:lnTo>
                    <a:lnTo>
                      <a:pt x="471" y="25"/>
                    </a:lnTo>
                    <a:lnTo>
                      <a:pt x="470" y="25"/>
                    </a:lnTo>
                    <a:lnTo>
                      <a:pt x="471" y="25"/>
                    </a:lnTo>
                    <a:lnTo>
                      <a:pt x="471" y="27"/>
                    </a:lnTo>
                    <a:lnTo>
                      <a:pt x="473" y="25"/>
                    </a:lnTo>
                    <a:lnTo>
                      <a:pt x="473" y="27"/>
                    </a:lnTo>
                    <a:lnTo>
                      <a:pt x="473" y="25"/>
                    </a:lnTo>
                    <a:lnTo>
                      <a:pt x="475" y="25"/>
                    </a:lnTo>
                    <a:lnTo>
                      <a:pt x="475" y="27"/>
                    </a:lnTo>
                    <a:lnTo>
                      <a:pt x="476" y="27"/>
                    </a:lnTo>
                    <a:lnTo>
                      <a:pt x="478" y="27"/>
                    </a:lnTo>
                    <a:lnTo>
                      <a:pt x="476" y="27"/>
                    </a:lnTo>
                    <a:lnTo>
                      <a:pt x="478" y="27"/>
                    </a:lnTo>
                    <a:lnTo>
                      <a:pt x="480" y="27"/>
                    </a:lnTo>
                    <a:lnTo>
                      <a:pt x="482" y="29"/>
                    </a:lnTo>
                    <a:lnTo>
                      <a:pt x="482" y="30"/>
                    </a:lnTo>
                    <a:lnTo>
                      <a:pt x="483" y="30"/>
                    </a:lnTo>
                    <a:lnTo>
                      <a:pt x="483" y="32"/>
                    </a:lnTo>
                    <a:lnTo>
                      <a:pt x="482" y="32"/>
                    </a:lnTo>
                    <a:lnTo>
                      <a:pt x="482" y="34"/>
                    </a:lnTo>
                    <a:lnTo>
                      <a:pt x="483" y="34"/>
                    </a:lnTo>
                    <a:lnTo>
                      <a:pt x="482" y="34"/>
                    </a:lnTo>
                    <a:lnTo>
                      <a:pt x="482" y="35"/>
                    </a:lnTo>
                    <a:lnTo>
                      <a:pt x="482" y="37"/>
                    </a:lnTo>
                    <a:lnTo>
                      <a:pt x="483" y="37"/>
                    </a:lnTo>
                    <a:lnTo>
                      <a:pt x="485" y="37"/>
                    </a:lnTo>
                    <a:lnTo>
                      <a:pt x="485" y="39"/>
                    </a:lnTo>
                    <a:lnTo>
                      <a:pt x="485" y="41"/>
                    </a:lnTo>
                    <a:lnTo>
                      <a:pt x="487" y="42"/>
                    </a:lnTo>
                    <a:lnTo>
                      <a:pt x="487" y="44"/>
                    </a:lnTo>
                    <a:lnTo>
                      <a:pt x="488" y="44"/>
                    </a:lnTo>
                    <a:lnTo>
                      <a:pt x="488" y="46"/>
                    </a:lnTo>
                    <a:lnTo>
                      <a:pt x="487" y="46"/>
                    </a:lnTo>
                    <a:lnTo>
                      <a:pt x="487" y="47"/>
                    </a:lnTo>
                    <a:lnTo>
                      <a:pt x="487" y="49"/>
                    </a:lnTo>
                    <a:lnTo>
                      <a:pt x="485" y="49"/>
                    </a:lnTo>
                    <a:lnTo>
                      <a:pt x="485" y="51"/>
                    </a:lnTo>
                    <a:lnTo>
                      <a:pt x="485" y="49"/>
                    </a:lnTo>
                    <a:lnTo>
                      <a:pt x="485" y="51"/>
                    </a:lnTo>
                    <a:lnTo>
                      <a:pt x="483" y="51"/>
                    </a:lnTo>
                    <a:lnTo>
                      <a:pt x="483" y="52"/>
                    </a:lnTo>
                    <a:lnTo>
                      <a:pt x="482" y="54"/>
                    </a:lnTo>
                    <a:lnTo>
                      <a:pt x="480" y="56"/>
                    </a:lnTo>
                    <a:lnTo>
                      <a:pt x="478" y="56"/>
                    </a:lnTo>
                    <a:lnTo>
                      <a:pt x="478" y="58"/>
                    </a:lnTo>
                    <a:lnTo>
                      <a:pt x="476" y="58"/>
                    </a:lnTo>
                    <a:lnTo>
                      <a:pt x="478" y="58"/>
                    </a:lnTo>
                    <a:lnTo>
                      <a:pt x="476" y="58"/>
                    </a:lnTo>
                    <a:lnTo>
                      <a:pt x="478" y="58"/>
                    </a:lnTo>
                    <a:lnTo>
                      <a:pt x="478" y="59"/>
                    </a:lnTo>
                    <a:lnTo>
                      <a:pt x="480" y="59"/>
                    </a:lnTo>
                    <a:lnTo>
                      <a:pt x="478" y="61"/>
                    </a:lnTo>
                    <a:lnTo>
                      <a:pt x="480" y="61"/>
                    </a:lnTo>
                    <a:lnTo>
                      <a:pt x="478" y="61"/>
                    </a:lnTo>
                    <a:lnTo>
                      <a:pt x="478" y="63"/>
                    </a:lnTo>
                    <a:lnTo>
                      <a:pt x="480" y="63"/>
                    </a:lnTo>
                    <a:lnTo>
                      <a:pt x="478" y="63"/>
                    </a:lnTo>
                    <a:lnTo>
                      <a:pt x="480" y="63"/>
                    </a:lnTo>
                    <a:lnTo>
                      <a:pt x="480" y="64"/>
                    </a:lnTo>
                    <a:lnTo>
                      <a:pt x="478" y="64"/>
                    </a:lnTo>
                    <a:lnTo>
                      <a:pt x="478" y="66"/>
                    </a:lnTo>
                    <a:lnTo>
                      <a:pt x="478" y="68"/>
                    </a:lnTo>
                    <a:lnTo>
                      <a:pt x="476" y="68"/>
                    </a:lnTo>
                    <a:lnTo>
                      <a:pt x="476" y="69"/>
                    </a:lnTo>
                    <a:lnTo>
                      <a:pt x="476" y="71"/>
                    </a:lnTo>
                    <a:lnTo>
                      <a:pt x="475" y="71"/>
                    </a:lnTo>
                    <a:lnTo>
                      <a:pt x="476" y="71"/>
                    </a:lnTo>
                    <a:lnTo>
                      <a:pt x="475" y="73"/>
                    </a:lnTo>
                    <a:lnTo>
                      <a:pt x="476" y="73"/>
                    </a:lnTo>
                    <a:lnTo>
                      <a:pt x="475" y="73"/>
                    </a:lnTo>
                    <a:lnTo>
                      <a:pt x="475" y="75"/>
                    </a:lnTo>
                    <a:lnTo>
                      <a:pt x="475" y="76"/>
                    </a:lnTo>
                    <a:lnTo>
                      <a:pt x="475" y="78"/>
                    </a:lnTo>
                    <a:lnTo>
                      <a:pt x="473" y="78"/>
                    </a:lnTo>
                    <a:lnTo>
                      <a:pt x="473" y="80"/>
                    </a:lnTo>
                    <a:lnTo>
                      <a:pt x="473" y="81"/>
                    </a:lnTo>
                    <a:lnTo>
                      <a:pt x="473" y="83"/>
                    </a:lnTo>
                    <a:lnTo>
                      <a:pt x="473" y="85"/>
                    </a:lnTo>
                    <a:lnTo>
                      <a:pt x="473" y="86"/>
                    </a:lnTo>
                    <a:lnTo>
                      <a:pt x="473" y="88"/>
                    </a:lnTo>
                    <a:lnTo>
                      <a:pt x="475" y="90"/>
                    </a:lnTo>
                    <a:lnTo>
                      <a:pt x="473" y="90"/>
                    </a:lnTo>
                    <a:lnTo>
                      <a:pt x="475" y="90"/>
                    </a:lnTo>
                    <a:lnTo>
                      <a:pt x="475" y="92"/>
                    </a:lnTo>
                    <a:lnTo>
                      <a:pt x="475" y="93"/>
                    </a:lnTo>
                    <a:lnTo>
                      <a:pt x="476" y="93"/>
                    </a:lnTo>
                    <a:lnTo>
                      <a:pt x="476" y="95"/>
                    </a:lnTo>
                    <a:lnTo>
                      <a:pt x="476" y="97"/>
                    </a:lnTo>
                    <a:lnTo>
                      <a:pt x="476" y="98"/>
                    </a:lnTo>
                    <a:lnTo>
                      <a:pt x="478" y="98"/>
                    </a:lnTo>
                    <a:lnTo>
                      <a:pt x="478" y="100"/>
                    </a:lnTo>
                    <a:lnTo>
                      <a:pt x="478" y="98"/>
                    </a:lnTo>
                    <a:lnTo>
                      <a:pt x="478" y="100"/>
                    </a:lnTo>
                    <a:lnTo>
                      <a:pt x="480" y="100"/>
                    </a:lnTo>
                    <a:lnTo>
                      <a:pt x="482" y="100"/>
                    </a:lnTo>
                    <a:lnTo>
                      <a:pt x="482" y="102"/>
                    </a:lnTo>
                    <a:lnTo>
                      <a:pt x="482" y="103"/>
                    </a:lnTo>
                    <a:lnTo>
                      <a:pt x="482" y="105"/>
                    </a:lnTo>
                    <a:lnTo>
                      <a:pt x="482" y="107"/>
                    </a:lnTo>
                    <a:lnTo>
                      <a:pt x="482" y="109"/>
                    </a:lnTo>
                    <a:lnTo>
                      <a:pt x="482" y="110"/>
                    </a:lnTo>
                    <a:lnTo>
                      <a:pt x="482" y="112"/>
                    </a:lnTo>
                    <a:lnTo>
                      <a:pt x="482" y="114"/>
                    </a:lnTo>
                    <a:lnTo>
                      <a:pt x="482" y="115"/>
                    </a:lnTo>
                    <a:lnTo>
                      <a:pt x="483" y="115"/>
                    </a:lnTo>
                    <a:lnTo>
                      <a:pt x="485" y="115"/>
                    </a:lnTo>
                    <a:lnTo>
                      <a:pt x="485" y="117"/>
                    </a:lnTo>
                    <a:lnTo>
                      <a:pt x="483" y="117"/>
                    </a:lnTo>
                    <a:lnTo>
                      <a:pt x="483" y="119"/>
                    </a:lnTo>
                    <a:lnTo>
                      <a:pt x="485" y="119"/>
                    </a:lnTo>
                    <a:lnTo>
                      <a:pt x="485" y="120"/>
                    </a:lnTo>
                    <a:lnTo>
                      <a:pt x="487" y="120"/>
                    </a:lnTo>
                    <a:lnTo>
                      <a:pt x="487" y="119"/>
                    </a:lnTo>
                    <a:lnTo>
                      <a:pt x="488" y="119"/>
                    </a:lnTo>
                    <a:lnTo>
                      <a:pt x="488" y="120"/>
                    </a:lnTo>
                    <a:lnTo>
                      <a:pt x="490" y="122"/>
                    </a:lnTo>
                    <a:lnTo>
                      <a:pt x="490" y="120"/>
                    </a:lnTo>
                    <a:lnTo>
                      <a:pt x="490" y="122"/>
                    </a:lnTo>
                    <a:lnTo>
                      <a:pt x="490" y="124"/>
                    </a:lnTo>
                    <a:lnTo>
                      <a:pt x="492" y="124"/>
                    </a:lnTo>
                    <a:lnTo>
                      <a:pt x="492" y="126"/>
                    </a:lnTo>
                    <a:lnTo>
                      <a:pt x="493" y="126"/>
                    </a:lnTo>
                    <a:lnTo>
                      <a:pt x="493" y="127"/>
                    </a:lnTo>
                    <a:lnTo>
                      <a:pt x="495" y="127"/>
                    </a:lnTo>
                    <a:lnTo>
                      <a:pt x="495" y="129"/>
                    </a:lnTo>
                    <a:lnTo>
                      <a:pt x="497" y="129"/>
                    </a:lnTo>
                    <a:lnTo>
                      <a:pt x="497" y="131"/>
                    </a:lnTo>
                    <a:lnTo>
                      <a:pt x="499" y="131"/>
                    </a:lnTo>
                    <a:lnTo>
                      <a:pt x="500" y="131"/>
                    </a:lnTo>
                    <a:lnTo>
                      <a:pt x="500" y="132"/>
                    </a:lnTo>
                    <a:lnTo>
                      <a:pt x="502" y="132"/>
                    </a:lnTo>
                    <a:lnTo>
                      <a:pt x="504" y="132"/>
                    </a:lnTo>
                    <a:lnTo>
                      <a:pt x="505" y="132"/>
                    </a:lnTo>
                    <a:lnTo>
                      <a:pt x="507" y="132"/>
                    </a:lnTo>
                    <a:lnTo>
                      <a:pt x="507" y="134"/>
                    </a:lnTo>
                    <a:lnTo>
                      <a:pt x="509" y="134"/>
                    </a:lnTo>
                    <a:lnTo>
                      <a:pt x="510" y="134"/>
                    </a:lnTo>
                    <a:lnTo>
                      <a:pt x="510" y="136"/>
                    </a:lnTo>
                    <a:lnTo>
                      <a:pt x="509" y="136"/>
                    </a:lnTo>
                    <a:lnTo>
                      <a:pt x="510" y="136"/>
                    </a:lnTo>
                    <a:lnTo>
                      <a:pt x="510" y="137"/>
                    </a:lnTo>
                    <a:lnTo>
                      <a:pt x="512" y="137"/>
                    </a:lnTo>
                    <a:lnTo>
                      <a:pt x="514" y="137"/>
                    </a:lnTo>
                    <a:lnTo>
                      <a:pt x="516" y="137"/>
                    </a:lnTo>
                    <a:lnTo>
                      <a:pt x="516" y="136"/>
                    </a:lnTo>
                    <a:lnTo>
                      <a:pt x="516" y="134"/>
                    </a:lnTo>
                    <a:lnTo>
                      <a:pt x="517" y="134"/>
                    </a:lnTo>
                    <a:lnTo>
                      <a:pt x="519" y="134"/>
                    </a:lnTo>
                    <a:lnTo>
                      <a:pt x="521" y="134"/>
                    </a:lnTo>
                    <a:lnTo>
                      <a:pt x="521" y="136"/>
                    </a:lnTo>
                    <a:lnTo>
                      <a:pt x="521" y="134"/>
                    </a:lnTo>
                    <a:lnTo>
                      <a:pt x="522" y="134"/>
                    </a:lnTo>
                    <a:lnTo>
                      <a:pt x="522" y="136"/>
                    </a:lnTo>
                    <a:lnTo>
                      <a:pt x="522" y="134"/>
                    </a:lnTo>
                    <a:lnTo>
                      <a:pt x="524" y="136"/>
                    </a:lnTo>
                    <a:lnTo>
                      <a:pt x="524" y="134"/>
                    </a:lnTo>
                    <a:lnTo>
                      <a:pt x="524" y="132"/>
                    </a:lnTo>
                    <a:lnTo>
                      <a:pt x="524" y="131"/>
                    </a:lnTo>
                    <a:lnTo>
                      <a:pt x="522" y="131"/>
                    </a:lnTo>
                    <a:lnTo>
                      <a:pt x="524" y="129"/>
                    </a:lnTo>
                    <a:lnTo>
                      <a:pt x="522" y="129"/>
                    </a:lnTo>
                    <a:lnTo>
                      <a:pt x="524" y="129"/>
                    </a:lnTo>
                    <a:lnTo>
                      <a:pt x="526" y="129"/>
                    </a:lnTo>
                    <a:lnTo>
                      <a:pt x="526" y="127"/>
                    </a:lnTo>
                    <a:lnTo>
                      <a:pt x="527" y="129"/>
                    </a:lnTo>
                    <a:lnTo>
                      <a:pt x="527" y="127"/>
                    </a:lnTo>
                    <a:lnTo>
                      <a:pt x="527" y="126"/>
                    </a:lnTo>
                    <a:lnTo>
                      <a:pt x="529" y="126"/>
                    </a:lnTo>
                    <a:lnTo>
                      <a:pt x="529" y="124"/>
                    </a:lnTo>
                    <a:lnTo>
                      <a:pt x="529" y="126"/>
                    </a:lnTo>
                    <a:lnTo>
                      <a:pt x="531" y="126"/>
                    </a:lnTo>
                    <a:lnTo>
                      <a:pt x="531" y="124"/>
                    </a:lnTo>
                    <a:lnTo>
                      <a:pt x="531" y="126"/>
                    </a:lnTo>
                    <a:lnTo>
                      <a:pt x="533" y="126"/>
                    </a:lnTo>
                    <a:lnTo>
                      <a:pt x="534" y="126"/>
                    </a:lnTo>
                    <a:lnTo>
                      <a:pt x="536" y="127"/>
                    </a:lnTo>
                    <a:lnTo>
                      <a:pt x="534" y="127"/>
                    </a:lnTo>
                    <a:lnTo>
                      <a:pt x="536" y="127"/>
                    </a:lnTo>
                    <a:lnTo>
                      <a:pt x="538" y="127"/>
                    </a:lnTo>
                    <a:lnTo>
                      <a:pt x="538" y="126"/>
                    </a:lnTo>
                    <a:lnTo>
                      <a:pt x="539" y="127"/>
                    </a:lnTo>
                    <a:lnTo>
                      <a:pt x="539" y="126"/>
                    </a:lnTo>
                    <a:lnTo>
                      <a:pt x="541" y="126"/>
                    </a:lnTo>
                    <a:lnTo>
                      <a:pt x="541" y="124"/>
                    </a:lnTo>
                    <a:lnTo>
                      <a:pt x="541" y="122"/>
                    </a:lnTo>
                    <a:lnTo>
                      <a:pt x="539" y="122"/>
                    </a:lnTo>
                    <a:lnTo>
                      <a:pt x="541" y="122"/>
                    </a:lnTo>
                    <a:lnTo>
                      <a:pt x="543" y="122"/>
                    </a:lnTo>
                    <a:lnTo>
                      <a:pt x="544" y="122"/>
                    </a:lnTo>
                    <a:lnTo>
                      <a:pt x="544" y="120"/>
                    </a:lnTo>
                    <a:lnTo>
                      <a:pt x="544" y="122"/>
                    </a:lnTo>
                    <a:lnTo>
                      <a:pt x="546" y="120"/>
                    </a:lnTo>
                    <a:lnTo>
                      <a:pt x="548" y="120"/>
                    </a:lnTo>
                    <a:lnTo>
                      <a:pt x="548" y="119"/>
                    </a:lnTo>
                    <a:lnTo>
                      <a:pt x="548" y="120"/>
                    </a:lnTo>
                    <a:lnTo>
                      <a:pt x="550" y="119"/>
                    </a:lnTo>
                    <a:lnTo>
                      <a:pt x="550" y="120"/>
                    </a:lnTo>
                    <a:lnTo>
                      <a:pt x="550" y="119"/>
                    </a:lnTo>
                    <a:lnTo>
                      <a:pt x="550" y="120"/>
                    </a:lnTo>
                    <a:lnTo>
                      <a:pt x="551" y="120"/>
                    </a:lnTo>
                    <a:lnTo>
                      <a:pt x="553" y="120"/>
                    </a:lnTo>
                    <a:lnTo>
                      <a:pt x="555" y="120"/>
                    </a:lnTo>
                    <a:lnTo>
                      <a:pt x="556" y="120"/>
                    </a:lnTo>
                    <a:lnTo>
                      <a:pt x="556" y="119"/>
                    </a:lnTo>
                    <a:lnTo>
                      <a:pt x="556" y="117"/>
                    </a:lnTo>
                    <a:lnTo>
                      <a:pt x="558" y="117"/>
                    </a:lnTo>
                    <a:lnTo>
                      <a:pt x="560" y="115"/>
                    </a:lnTo>
                    <a:lnTo>
                      <a:pt x="558" y="115"/>
                    </a:lnTo>
                    <a:lnTo>
                      <a:pt x="560" y="115"/>
                    </a:lnTo>
                    <a:lnTo>
                      <a:pt x="560" y="114"/>
                    </a:lnTo>
                    <a:lnTo>
                      <a:pt x="561" y="112"/>
                    </a:lnTo>
                    <a:lnTo>
                      <a:pt x="561" y="114"/>
                    </a:lnTo>
                    <a:lnTo>
                      <a:pt x="561" y="112"/>
                    </a:lnTo>
                    <a:lnTo>
                      <a:pt x="561" y="110"/>
                    </a:lnTo>
                    <a:lnTo>
                      <a:pt x="563" y="110"/>
                    </a:lnTo>
                    <a:lnTo>
                      <a:pt x="565" y="110"/>
                    </a:lnTo>
                    <a:lnTo>
                      <a:pt x="565" y="112"/>
                    </a:lnTo>
                    <a:lnTo>
                      <a:pt x="567" y="112"/>
                    </a:lnTo>
                    <a:lnTo>
                      <a:pt x="567" y="110"/>
                    </a:lnTo>
                    <a:lnTo>
                      <a:pt x="568" y="110"/>
                    </a:lnTo>
                    <a:lnTo>
                      <a:pt x="570" y="110"/>
                    </a:lnTo>
                    <a:lnTo>
                      <a:pt x="570" y="109"/>
                    </a:lnTo>
                    <a:lnTo>
                      <a:pt x="570" y="110"/>
                    </a:lnTo>
                    <a:lnTo>
                      <a:pt x="572" y="110"/>
                    </a:lnTo>
                    <a:lnTo>
                      <a:pt x="572" y="112"/>
                    </a:lnTo>
                    <a:lnTo>
                      <a:pt x="573" y="112"/>
                    </a:lnTo>
                    <a:lnTo>
                      <a:pt x="573" y="114"/>
                    </a:lnTo>
                    <a:lnTo>
                      <a:pt x="575" y="114"/>
                    </a:lnTo>
                    <a:lnTo>
                      <a:pt x="577" y="112"/>
                    </a:lnTo>
                    <a:lnTo>
                      <a:pt x="577" y="114"/>
                    </a:lnTo>
                    <a:lnTo>
                      <a:pt x="578" y="114"/>
                    </a:lnTo>
                    <a:lnTo>
                      <a:pt x="580" y="114"/>
                    </a:lnTo>
                    <a:lnTo>
                      <a:pt x="580" y="115"/>
                    </a:lnTo>
                    <a:lnTo>
                      <a:pt x="582" y="115"/>
                    </a:lnTo>
                    <a:lnTo>
                      <a:pt x="582" y="114"/>
                    </a:lnTo>
                    <a:lnTo>
                      <a:pt x="584" y="112"/>
                    </a:lnTo>
                    <a:lnTo>
                      <a:pt x="584" y="114"/>
                    </a:lnTo>
                    <a:lnTo>
                      <a:pt x="585" y="114"/>
                    </a:lnTo>
                    <a:lnTo>
                      <a:pt x="585" y="112"/>
                    </a:lnTo>
                    <a:lnTo>
                      <a:pt x="587" y="112"/>
                    </a:lnTo>
                    <a:lnTo>
                      <a:pt x="589" y="114"/>
                    </a:lnTo>
                    <a:lnTo>
                      <a:pt x="590" y="112"/>
                    </a:lnTo>
                    <a:lnTo>
                      <a:pt x="592" y="112"/>
                    </a:lnTo>
                    <a:lnTo>
                      <a:pt x="594" y="112"/>
                    </a:lnTo>
                    <a:lnTo>
                      <a:pt x="594" y="114"/>
                    </a:lnTo>
                    <a:lnTo>
                      <a:pt x="594" y="112"/>
                    </a:lnTo>
                    <a:lnTo>
                      <a:pt x="595" y="112"/>
                    </a:lnTo>
                    <a:lnTo>
                      <a:pt x="597" y="112"/>
                    </a:lnTo>
                    <a:lnTo>
                      <a:pt x="597" y="114"/>
                    </a:lnTo>
                    <a:lnTo>
                      <a:pt x="599" y="114"/>
                    </a:lnTo>
                    <a:lnTo>
                      <a:pt x="601" y="114"/>
                    </a:lnTo>
                    <a:lnTo>
                      <a:pt x="602" y="114"/>
                    </a:lnTo>
                    <a:lnTo>
                      <a:pt x="604" y="115"/>
                    </a:lnTo>
                    <a:lnTo>
                      <a:pt x="606" y="115"/>
                    </a:lnTo>
                    <a:lnTo>
                      <a:pt x="607" y="115"/>
                    </a:lnTo>
                    <a:lnTo>
                      <a:pt x="609" y="115"/>
                    </a:lnTo>
                    <a:lnTo>
                      <a:pt x="611" y="114"/>
                    </a:lnTo>
                    <a:lnTo>
                      <a:pt x="611" y="112"/>
                    </a:lnTo>
                    <a:lnTo>
                      <a:pt x="609" y="110"/>
                    </a:lnTo>
                    <a:lnTo>
                      <a:pt x="611" y="110"/>
                    </a:lnTo>
                    <a:lnTo>
                      <a:pt x="611" y="109"/>
                    </a:lnTo>
                    <a:lnTo>
                      <a:pt x="611" y="107"/>
                    </a:lnTo>
                    <a:lnTo>
                      <a:pt x="609" y="107"/>
                    </a:lnTo>
                    <a:lnTo>
                      <a:pt x="609" y="105"/>
                    </a:lnTo>
                    <a:lnTo>
                      <a:pt x="607" y="105"/>
                    </a:lnTo>
                    <a:lnTo>
                      <a:pt x="606" y="105"/>
                    </a:lnTo>
                    <a:lnTo>
                      <a:pt x="606" y="103"/>
                    </a:lnTo>
                    <a:lnTo>
                      <a:pt x="606" y="102"/>
                    </a:lnTo>
                    <a:lnTo>
                      <a:pt x="604" y="102"/>
                    </a:lnTo>
                    <a:lnTo>
                      <a:pt x="602" y="102"/>
                    </a:lnTo>
                    <a:lnTo>
                      <a:pt x="604" y="100"/>
                    </a:lnTo>
                    <a:lnTo>
                      <a:pt x="604" y="98"/>
                    </a:lnTo>
                    <a:lnTo>
                      <a:pt x="606" y="98"/>
                    </a:lnTo>
                    <a:lnTo>
                      <a:pt x="607" y="98"/>
                    </a:lnTo>
                    <a:lnTo>
                      <a:pt x="606" y="98"/>
                    </a:lnTo>
                    <a:lnTo>
                      <a:pt x="607" y="97"/>
                    </a:lnTo>
                    <a:lnTo>
                      <a:pt x="607" y="95"/>
                    </a:lnTo>
                    <a:lnTo>
                      <a:pt x="607" y="93"/>
                    </a:lnTo>
                    <a:lnTo>
                      <a:pt x="609" y="93"/>
                    </a:lnTo>
                    <a:lnTo>
                      <a:pt x="607" y="93"/>
                    </a:lnTo>
                    <a:lnTo>
                      <a:pt x="609" y="93"/>
                    </a:lnTo>
                    <a:lnTo>
                      <a:pt x="609" y="92"/>
                    </a:lnTo>
                    <a:lnTo>
                      <a:pt x="611" y="92"/>
                    </a:lnTo>
                    <a:lnTo>
                      <a:pt x="611" y="93"/>
                    </a:lnTo>
                    <a:lnTo>
                      <a:pt x="612" y="93"/>
                    </a:lnTo>
                    <a:lnTo>
                      <a:pt x="612" y="95"/>
                    </a:lnTo>
                    <a:lnTo>
                      <a:pt x="614" y="95"/>
                    </a:lnTo>
                    <a:lnTo>
                      <a:pt x="616" y="95"/>
                    </a:lnTo>
                    <a:lnTo>
                      <a:pt x="616" y="97"/>
                    </a:lnTo>
                    <a:lnTo>
                      <a:pt x="618" y="97"/>
                    </a:lnTo>
                    <a:lnTo>
                      <a:pt x="619" y="97"/>
                    </a:lnTo>
                    <a:lnTo>
                      <a:pt x="621" y="97"/>
                    </a:lnTo>
                    <a:lnTo>
                      <a:pt x="621" y="95"/>
                    </a:lnTo>
                    <a:lnTo>
                      <a:pt x="623" y="95"/>
                    </a:lnTo>
                    <a:lnTo>
                      <a:pt x="623" y="97"/>
                    </a:lnTo>
                    <a:lnTo>
                      <a:pt x="623" y="95"/>
                    </a:lnTo>
                    <a:lnTo>
                      <a:pt x="624" y="95"/>
                    </a:lnTo>
                    <a:lnTo>
                      <a:pt x="626" y="95"/>
                    </a:lnTo>
                    <a:lnTo>
                      <a:pt x="628" y="95"/>
                    </a:lnTo>
                    <a:lnTo>
                      <a:pt x="628" y="97"/>
                    </a:lnTo>
                    <a:lnTo>
                      <a:pt x="629" y="97"/>
                    </a:lnTo>
                    <a:lnTo>
                      <a:pt x="629" y="95"/>
                    </a:lnTo>
                    <a:lnTo>
                      <a:pt x="629" y="93"/>
                    </a:lnTo>
                    <a:lnTo>
                      <a:pt x="631" y="93"/>
                    </a:lnTo>
                    <a:lnTo>
                      <a:pt x="633" y="93"/>
                    </a:lnTo>
                    <a:lnTo>
                      <a:pt x="635" y="93"/>
                    </a:lnTo>
                    <a:lnTo>
                      <a:pt x="635" y="92"/>
                    </a:lnTo>
                    <a:lnTo>
                      <a:pt x="636" y="92"/>
                    </a:lnTo>
                    <a:lnTo>
                      <a:pt x="638" y="92"/>
                    </a:lnTo>
                    <a:lnTo>
                      <a:pt x="638" y="93"/>
                    </a:lnTo>
                    <a:lnTo>
                      <a:pt x="638" y="92"/>
                    </a:lnTo>
                    <a:lnTo>
                      <a:pt x="640" y="92"/>
                    </a:lnTo>
                    <a:lnTo>
                      <a:pt x="641" y="92"/>
                    </a:lnTo>
                    <a:lnTo>
                      <a:pt x="641" y="90"/>
                    </a:lnTo>
                    <a:lnTo>
                      <a:pt x="643" y="90"/>
                    </a:lnTo>
                    <a:lnTo>
                      <a:pt x="643" y="92"/>
                    </a:lnTo>
                    <a:lnTo>
                      <a:pt x="643" y="93"/>
                    </a:lnTo>
                    <a:lnTo>
                      <a:pt x="645" y="93"/>
                    </a:lnTo>
                    <a:lnTo>
                      <a:pt x="645" y="95"/>
                    </a:lnTo>
                    <a:lnTo>
                      <a:pt x="646" y="95"/>
                    </a:lnTo>
                    <a:lnTo>
                      <a:pt x="648" y="95"/>
                    </a:lnTo>
                    <a:lnTo>
                      <a:pt x="650" y="95"/>
                    </a:lnTo>
                    <a:lnTo>
                      <a:pt x="652" y="95"/>
                    </a:lnTo>
                    <a:lnTo>
                      <a:pt x="652" y="97"/>
                    </a:lnTo>
                    <a:lnTo>
                      <a:pt x="652" y="98"/>
                    </a:lnTo>
                    <a:lnTo>
                      <a:pt x="653" y="98"/>
                    </a:lnTo>
                    <a:lnTo>
                      <a:pt x="655" y="98"/>
                    </a:lnTo>
                    <a:lnTo>
                      <a:pt x="655" y="100"/>
                    </a:lnTo>
                    <a:lnTo>
                      <a:pt x="657" y="100"/>
                    </a:lnTo>
                    <a:lnTo>
                      <a:pt x="657" y="102"/>
                    </a:lnTo>
                    <a:lnTo>
                      <a:pt x="658" y="102"/>
                    </a:lnTo>
                    <a:lnTo>
                      <a:pt x="660" y="103"/>
                    </a:lnTo>
                    <a:lnTo>
                      <a:pt x="662" y="103"/>
                    </a:lnTo>
                    <a:lnTo>
                      <a:pt x="663" y="103"/>
                    </a:lnTo>
                    <a:lnTo>
                      <a:pt x="663" y="105"/>
                    </a:lnTo>
                    <a:lnTo>
                      <a:pt x="665" y="105"/>
                    </a:lnTo>
                    <a:lnTo>
                      <a:pt x="667" y="105"/>
                    </a:lnTo>
                    <a:lnTo>
                      <a:pt x="669" y="105"/>
                    </a:lnTo>
                    <a:lnTo>
                      <a:pt x="670" y="105"/>
                    </a:lnTo>
                    <a:lnTo>
                      <a:pt x="670" y="107"/>
                    </a:lnTo>
                    <a:lnTo>
                      <a:pt x="672" y="107"/>
                    </a:lnTo>
                    <a:lnTo>
                      <a:pt x="672" y="105"/>
                    </a:lnTo>
                    <a:lnTo>
                      <a:pt x="672" y="103"/>
                    </a:lnTo>
                    <a:lnTo>
                      <a:pt x="674" y="103"/>
                    </a:lnTo>
                    <a:lnTo>
                      <a:pt x="675" y="103"/>
                    </a:lnTo>
                    <a:lnTo>
                      <a:pt x="677" y="103"/>
                    </a:lnTo>
                    <a:lnTo>
                      <a:pt x="677" y="102"/>
                    </a:lnTo>
                    <a:lnTo>
                      <a:pt x="677" y="100"/>
                    </a:lnTo>
                    <a:lnTo>
                      <a:pt x="677" y="102"/>
                    </a:lnTo>
                    <a:lnTo>
                      <a:pt x="679" y="102"/>
                    </a:lnTo>
                    <a:lnTo>
                      <a:pt x="679" y="100"/>
                    </a:lnTo>
                    <a:lnTo>
                      <a:pt x="680" y="100"/>
                    </a:lnTo>
                    <a:lnTo>
                      <a:pt x="682" y="100"/>
                    </a:lnTo>
                    <a:lnTo>
                      <a:pt x="680" y="100"/>
                    </a:lnTo>
                    <a:lnTo>
                      <a:pt x="680" y="98"/>
                    </a:lnTo>
                    <a:lnTo>
                      <a:pt x="682" y="98"/>
                    </a:lnTo>
                    <a:lnTo>
                      <a:pt x="684" y="98"/>
                    </a:lnTo>
                    <a:lnTo>
                      <a:pt x="684" y="100"/>
                    </a:lnTo>
                    <a:lnTo>
                      <a:pt x="686" y="100"/>
                    </a:lnTo>
                    <a:lnTo>
                      <a:pt x="687" y="100"/>
                    </a:lnTo>
                    <a:lnTo>
                      <a:pt x="689" y="100"/>
                    </a:lnTo>
                    <a:lnTo>
                      <a:pt x="689" y="102"/>
                    </a:lnTo>
                    <a:lnTo>
                      <a:pt x="691" y="102"/>
                    </a:lnTo>
                    <a:lnTo>
                      <a:pt x="692" y="102"/>
                    </a:lnTo>
                    <a:lnTo>
                      <a:pt x="694" y="100"/>
                    </a:lnTo>
                    <a:lnTo>
                      <a:pt x="696" y="100"/>
                    </a:lnTo>
                    <a:lnTo>
                      <a:pt x="697" y="100"/>
                    </a:lnTo>
                    <a:lnTo>
                      <a:pt x="699" y="100"/>
                    </a:lnTo>
                    <a:lnTo>
                      <a:pt x="701" y="100"/>
                    </a:lnTo>
                    <a:lnTo>
                      <a:pt x="701" y="102"/>
                    </a:lnTo>
                    <a:lnTo>
                      <a:pt x="701" y="103"/>
                    </a:lnTo>
                    <a:lnTo>
                      <a:pt x="703" y="103"/>
                    </a:lnTo>
                    <a:lnTo>
                      <a:pt x="704" y="103"/>
                    </a:lnTo>
                    <a:lnTo>
                      <a:pt x="706" y="102"/>
                    </a:lnTo>
                    <a:lnTo>
                      <a:pt x="706" y="103"/>
                    </a:lnTo>
                    <a:lnTo>
                      <a:pt x="708" y="103"/>
                    </a:lnTo>
                    <a:lnTo>
                      <a:pt x="709" y="103"/>
                    </a:lnTo>
                    <a:lnTo>
                      <a:pt x="709" y="105"/>
                    </a:lnTo>
                    <a:lnTo>
                      <a:pt x="711" y="105"/>
                    </a:lnTo>
                    <a:lnTo>
                      <a:pt x="711" y="103"/>
                    </a:lnTo>
                    <a:lnTo>
                      <a:pt x="713" y="103"/>
                    </a:lnTo>
                    <a:lnTo>
                      <a:pt x="713" y="102"/>
                    </a:lnTo>
                    <a:lnTo>
                      <a:pt x="714" y="102"/>
                    </a:lnTo>
                    <a:lnTo>
                      <a:pt x="714" y="100"/>
                    </a:lnTo>
                    <a:lnTo>
                      <a:pt x="716" y="100"/>
                    </a:lnTo>
                    <a:lnTo>
                      <a:pt x="718" y="98"/>
                    </a:lnTo>
                    <a:lnTo>
                      <a:pt x="720" y="98"/>
                    </a:lnTo>
                    <a:lnTo>
                      <a:pt x="721" y="98"/>
                    </a:lnTo>
                    <a:lnTo>
                      <a:pt x="721" y="97"/>
                    </a:lnTo>
                    <a:lnTo>
                      <a:pt x="721" y="95"/>
                    </a:lnTo>
                    <a:lnTo>
                      <a:pt x="723" y="95"/>
                    </a:lnTo>
                    <a:lnTo>
                      <a:pt x="721" y="95"/>
                    </a:lnTo>
                    <a:lnTo>
                      <a:pt x="723" y="95"/>
                    </a:lnTo>
                    <a:lnTo>
                      <a:pt x="723" y="93"/>
                    </a:lnTo>
                    <a:lnTo>
                      <a:pt x="725" y="93"/>
                    </a:lnTo>
                    <a:lnTo>
                      <a:pt x="725" y="92"/>
                    </a:lnTo>
                    <a:lnTo>
                      <a:pt x="725" y="90"/>
                    </a:lnTo>
                    <a:lnTo>
                      <a:pt x="725" y="88"/>
                    </a:lnTo>
                    <a:lnTo>
                      <a:pt x="725" y="86"/>
                    </a:lnTo>
                    <a:lnTo>
                      <a:pt x="726" y="86"/>
                    </a:lnTo>
                    <a:lnTo>
                      <a:pt x="726" y="85"/>
                    </a:lnTo>
                    <a:lnTo>
                      <a:pt x="726" y="83"/>
                    </a:lnTo>
                    <a:lnTo>
                      <a:pt x="728" y="83"/>
                    </a:lnTo>
                    <a:lnTo>
                      <a:pt x="728" y="81"/>
                    </a:lnTo>
                    <a:lnTo>
                      <a:pt x="728" y="80"/>
                    </a:lnTo>
                    <a:lnTo>
                      <a:pt x="730" y="80"/>
                    </a:lnTo>
                    <a:lnTo>
                      <a:pt x="730" y="78"/>
                    </a:lnTo>
                    <a:lnTo>
                      <a:pt x="730" y="76"/>
                    </a:lnTo>
                    <a:lnTo>
                      <a:pt x="731" y="76"/>
                    </a:lnTo>
                    <a:lnTo>
                      <a:pt x="731" y="75"/>
                    </a:lnTo>
                    <a:lnTo>
                      <a:pt x="731" y="73"/>
                    </a:lnTo>
                    <a:lnTo>
                      <a:pt x="731" y="71"/>
                    </a:lnTo>
                    <a:lnTo>
                      <a:pt x="733" y="71"/>
                    </a:lnTo>
                    <a:lnTo>
                      <a:pt x="733" y="69"/>
                    </a:lnTo>
                    <a:lnTo>
                      <a:pt x="733" y="68"/>
                    </a:lnTo>
                    <a:lnTo>
                      <a:pt x="735" y="68"/>
                    </a:lnTo>
                    <a:lnTo>
                      <a:pt x="737" y="68"/>
                    </a:lnTo>
                    <a:lnTo>
                      <a:pt x="737" y="66"/>
                    </a:lnTo>
                    <a:lnTo>
                      <a:pt x="737" y="64"/>
                    </a:lnTo>
                    <a:lnTo>
                      <a:pt x="738" y="64"/>
                    </a:lnTo>
                    <a:lnTo>
                      <a:pt x="738" y="63"/>
                    </a:lnTo>
                    <a:lnTo>
                      <a:pt x="738" y="61"/>
                    </a:lnTo>
                    <a:lnTo>
                      <a:pt x="740" y="61"/>
                    </a:lnTo>
                    <a:lnTo>
                      <a:pt x="740" y="59"/>
                    </a:lnTo>
                    <a:lnTo>
                      <a:pt x="742" y="59"/>
                    </a:lnTo>
                    <a:lnTo>
                      <a:pt x="742" y="58"/>
                    </a:lnTo>
                    <a:lnTo>
                      <a:pt x="742" y="56"/>
                    </a:lnTo>
                    <a:lnTo>
                      <a:pt x="743" y="56"/>
                    </a:lnTo>
                    <a:lnTo>
                      <a:pt x="743" y="54"/>
                    </a:lnTo>
                    <a:lnTo>
                      <a:pt x="743" y="52"/>
                    </a:lnTo>
                    <a:lnTo>
                      <a:pt x="745" y="52"/>
                    </a:lnTo>
                    <a:lnTo>
                      <a:pt x="745" y="51"/>
                    </a:lnTo>
                    <a:lnTo>
                      <a:pt x="747" y="49"/>
                    </a:lnTo>
                    <a:lnTo>
                      <a:pt x="748" y="47"/>
                    </a:lnTo>
                    <a:lnTo>
                      <a:pt x="750" y="47"/>
                    </a:lnTo>
                    <a:lnTo>
                      <a:pt x="750" y="46"/>
                    </a:lnTo>
                    <a:lnTo>
                      <a:pt x="750" y="44"/>
                    </a:lnTo>
                    <a:lnTo>
                      <a:pt x="752" y="42"/>
                    </a:lnTo>
                    <a:lnTo>
                      <a:pt x="754" y="42"/>
                    </a:lnTo>
                    <a:lnTo>
                      <a:pt x="754" y="41"/>
                    </a:lnTo>
                    <a:lnTo>
                      <a:pt x="755" y="41"/>
                    </a:lnTo>
                    <a:lnTo>
                      <a:pt x="755" y="39"/>
                    </a:lnTo>
                    <a:lnTo>
                      <a:pt x="755" y="37"/>
                    </a:lnTo>
                    <a:lnTo>
                      <a:pt x="757" y="37"/>
                    </a:lnTo>
                    <a:lnTo>
                      <a:pt x="755" y="35"/>
                    </a:lnTo>
                    <a:lnTo>
                      <a:pt x="757" y="35"/>
                    </a:lnTo>
                    <a:lnTo>
                      <a:pt x="757" y="34"/>
                    </a:lnTo>
                    <a:lnTo>
                      <a:pt x="757" y="35"/>
                    </a:lnTo>
                    <a:lnTo>
                      <a:pt x="759" y="37"/>
                    </a:lnTo>
                    <a:lnTo>
                      <a:pt x="759" y="39"/>
                    </a:lnTo>
                    <a:lnTo>
                      <a:pt x="759" y="41"/>
                    </a:lnTo>
                    <a:lnTo>
                      <a:pt x="760" y="41"/>
                    </a:lnTo>
                    <a:lnTo>
                      <a:pt x="760" y="42"/>
                    </a:lnTo>
                    <a:lnTo>
                      <a:pt x="760" y="44"/>
                    </a:lnTo>
                    <a:lnTo>
                      <a:pt x="762" y="44"/>
                    </a:lnTo>
                    <a:lnTo>
                      <a:pt x="760" y="44"/>
                    </a:lnTo>
                    <a:lnTo>
                      <a:pt x="760" y="42"/>
                    </a:lnTo>
                    <a:lnTo>
                      <a:pt x="760" y="41"/>
                    </a:lnTo>
                    <a:lnTo>
                      <a:pt x="760" y="39"/>
                    </a:lnTo>
                    <a:lnTo>
                      <a:pt x="759" y="39"/>
                    </a:lnTo>
                    <a:lnTo>
                      <a:pt x="759" y="37"/>
                    </a:lnTo>
                    <a:lnTo>
                      <a:pt x="759" y="35"/>
                    </a:lnTo>
                    <a:lnTo>
                      <a:pt x="759" y="34"/>
                    </a:lnTo>
                    <a:lnTo>
                      <a:pt x="757" y="34"/>
                    </a:lnTo>
                    <a:lnTo>
                      <a:pt x="757" y="32"/>
                    </a:lnTo>
                    <a:lnTo>
                      <a:pt x="757" y="30"/>
                    </a:lnTo>
                    <a:lnTo>
                      <a:pt x="757" y="29"/>
                    </a:lnTo>
                    <a:lnTo>
                      <a:pt x="759" y="29"/>
                    </a:lnTo>
                    <a:lnTo>
                      <a:pt x="759" y="27"/>
                    </a:lnTo>
                    <a:lnTo>
                      <a:pt x="760" y="29"/>
                    </a:lnTo>
                    <a:lnTo>
                      <a:pt x="762" y="29"/>
                    </a:lnTo>
                    <a:lnTo>
                      <a:pt x="762" y="30"/>
                    </a:lnTo>
                    <a:lnTo>
                      <a:pt x="764" y="30"/>
                    </a:lnTo>
                    <a:lnTo>
                      <a:pt x="764" y="32"/>
                    </a:lnTo>
                    <a:lnTo>
                      <a:pt x="765" y="32"/>
                    </a:lnTo>
                    <a:lnTo>
                      <a:pt x="765" y="34"/>
                    </a:lnTo>
                    <a:lnTo>
                      <a:pt x="767" y="34"/>
                    </a:lnTo>
                    <a:lnTo>
                      <a:pt x="767" y="35"/>
                    </a:lnTo>
                    <a:lnTo>
                      <a:pt x="769" y="37"/>
                    </a:lnTo>
                    <a:lnTo>
                      <a:pt x="769" y="39"/>
                    </a:lnTo>
                    <a:lnTo>
                      <a:pt x="771" y="39"/>
                    </a:lnTo>
                    <a:lnTo>
                      <a:pt x="771" y="41"/>
                    </a:lnTo>
                    <a:lnTo>
                      <a:pt x="771" y="42"/>
                    </a:lnTo>
                    <a:lnTo>
                      <a:pt x="771" y="44"/>
                    </a:lnTo>
                    <a:lnTo>
                      <a:pt x="771" y="46"/>
                    </a:lnTo>
                    <a:lnTo>
                      <a:pt x="771" y="47"/>
                    </a:lnTo>
                    <a:lnTo>
                      <a:pt x="771" y="49"/>
                    </a:lnTo>
                    <a:lnTo>
                      <a:pt x="771" y="51"/>
                    </a:lnTo>
                    <a:lnTo>
                      <a:pt x="771" y="52"/>
                    </a:lnTo>
                    <a:lnTo>
                      <a:pt x="769" y="54"/>
                    </a:lnTo>
                    <a:lnTo>
                      <a:pt x="771" y="52"/>
                    </a:lnTo>
                    <a:lnTo>
                      <a:pt x="771" y="51"/>
                    </a:lnTo>
                    <a:lnTo>
                      <a:pt x="771" y="49"/>
                    </a:lnTo>
                    <a:lnTo>
                      <a:pt x="771" y="47"/>
                    </a:lnTo>
                    <a:lnTo>
                      <a:pt x="772" y="47"/>
                    </a:lnTo>
                    <a:lnTo>
                      <a:pt x="772" y="46"/>
                    </a:lnTo>
                    <a:lnTo>
                      <a:pt x="774" y="46"/>
                    </a:lnTo>
                    <a:lnTo>
                      <a:pt x="774" y="47"/>
                    </a:lnTo>
                    <a:lnTo>
                      <a:pt x="774" y="49"/>
                    </a:lnTo>
                    <a:lnTo>
                      <a:pt x="774" y="51"/>
                    </a:lnTo>
                    <a:lnTo>
                      <a:pt x="774" y="52"/>
                    </a:lnTo>
                    <a:lnTo>
                      <a:pt x="774" y="54"/>
                    </a:lnTo>
                    <a:lnTo>
                      <a:pt x="774" y="56"/>
                    </a:lnTo>
                    <a:lnTo>
                      <a:pt x="774" y="58"/>
                    </a:lnTo>
                    <a:lnTo>
                      <a:pt x="774" y="59"/>
                    </a:lnTo>
                    <a:lnTo>
                      <a:pt x="774" y="61"/>
                    </a:lnTo>
                    <a:lnTo>
                      <a:pt x="772" y="61"/>
                    </a:lnTo>
                    <a:lnTo>
                      <a:pt x="774" y="63"/>
                    </a:lnTo>
                    <a:lnTo>
                      <a:pt x="774" y="64"/>
                    </a:lnTo>
                    <a:lnTo>
                      <a:pt x="774" y="66"/>
                    </a:lnTo>
                    <a:lnTo>
                      <a:pt x="774" y="68"/>
                    </a:lnTo>
                    <a:lnTo>
                      <a:pt x="776" y="68"/>
                    </a:lnTo>
                    <a:lnTo>
                      <a:pt x="776" y="69"/>
                    </a:lnTo>
                    <a:lnTo>
                      <a:pt x="776" y="71"/>
                    </a:lnTo>
                    <a:lnTo>
                      <a:pt x="776" y="73"/>
                    </a:lnTo>
                    <a:lnTo>
                      <a:pt x="776" y="75"/>
                    </a:lnTo>
                    <a:lnTo>
                      <a:pt x="776" y="76"/>
                    </a:lnTo>
                    <a:lnTo>
                      <a:pt x="777" y="76"/>
                    </a:lnTo>
                    <a:lnTo>
                      <a:pt x="777" y="78"/>
                    </a:lnTo>
                    <a:lnTo>
                      <a:pt x="777" y="80"/>
                    </a:lnTo>
                    <a:lnTo>
                      <a:pt x="779" y="81"/>
                    </a:lnTo>
                    <a:lnTo>
                      <a:pt x="777" y="81"/>
                    </a:lnTo>
                    <a:lnTo>
                      <a:pt x="779" y="83"/>
                    </a:lnTo>
                    <a:lnTo>
                      <a:pt x="779" y="85"/>
                    </a:lnTo>
                    <a:lnTo>
                      <a:pt x="781" y="85"/>
                    </a:lnTo>
                    <a:lnTo>
                      <a:pt x="781" y="86"/>
                    </a:lnTo>
                    <a:lnTo>
                      <a:pt x="781" y="88"/>
                    </a:lnTo>
                    <a:lnTo>
                      <a:pt x="782" y="88"/>
                    </a:lnTo>
                    <a:lnTo>
                      <a:pt x="782" y="90"/>
                    </a:lnTo>
                    <a:lnTo>
                      <a:pt x="782" y="92"/>
                    </a:lnTo>
                    <a:lnTo>
                      <a:pt x="782" y="93"/>
                    </a:lnTo>
                    <a:lnTo>
                      <a:pt x="781" y="93"/>
                    </a:lnTo>
                    <a:lnTo>
                      <a:pt x="782" y="93"/>
                    </a:lnTo>
                    <a:lnTo>
                      <a:pt x="784" y="93"/>
                    </a:lnTo>
                    <a:lnTo>
                      <a:pt x="784" y="95"/>
                    </a:lnTo>
                    <a:lnTo>
                      <a:pt x="784" y="97"/>
                    </a:lnTo>
                    <a:lnTo>
                      <a:pt x="784" y="98"/>
                    </a:lnTo>
                    <a:lnTo>
                      <a:pt x="786" y="98"/>
                    </a:lnTo>
                    <a:lnTo>
                      <a:pt x="786" y="100"/>
                    </a:lnTo>
                    <a:lnTo>
                      <a:pt x="786" y="102"/>
                    </a:lnTo>
                    <a:lnTo>
                      <a:pt x="786" y="103"/>
                    </a:lnTo>
                    <a:lnTo>
                      <a:pt x="788" y="103"/>
                    </a:lnTo>
                    <a:lnTo>
                      <a:pt x="788" y="105"/>
                    </a:lnTo>
                    <a:lnTo>
                      <a:pt x="786" y="105"/>
                    </a:lnTo>
                    <a:lnTo>
                      <a:pt x="786" y="107"/>
                    </a:lnTo>
                    <a:lnTo>
                      <a:pt x="784" y="107"/>
                    </a:lnTo>
                    <a:lnTo>
                      <a:pt x="786" y="107"/>
                    </a:lnTo>
                    <a:lnTo>
                      <a:pt x="788" y="105"/>
                    </a:lnTo>
                    <a:lnTo>
                      <a:pt x="788" y="107"/>
                    </a:lnTo>
                    <a:lnTo>
                      <a:pt x="789" y="107"/>
                    </a:lnTo>
                    <a:lnTo>
                      <a:pt x="791" y="109"/>
                    </a:lnTo>
                    <a:lnTo>
                      <a:pt x="789" y="109"/>
                    </a:lnTo>
                    <a:lnTo>
                      <a:pt x="789" y="110"/>
                    </a:lnTo>
                    <a:lnTo>
                      <a:pt x="791" y="110"/>
                    </a:lnTo>
                    <a:lnTo>
                      <a:pt x="791" y="112"/>
                    </a:lnTo>
                    <a:lnTo>
                      <a:pt x="793" y="112"/>
                    </a:lnTo>
                    <a:lnTo>
                      <a:pt x="793" y="114"/>
                    </a:lnTo>
                    <a:lnTo>
                      <a:pt x="794" y="115"/>
                    </a:lnTo>
                    <a:lnTo>
                      <a:pt x="794" y="117"/>
                    </a:lnTo>
                    <a:lnTo>
                      <a:pt x="796" y="117"/>
                    </a:lnTo>
                    <a:lnTo>
                      <a:pt x="798" y="117"/>
                    </a:lnTo>
                    <a:lnTo>
                      <a:pt x="799" y="117"/>
                    </a:lnTo>
                    <a:lnTo>
                      <a:pt x="801" y="117"/>
                    </a:lnTo>
                    <a:lnTo>
                      <a:pt x="803" y="117"/>
                    </a:lnTo>
                    <a:lnTo>
                      <a:pt x="805" y="117"/>
                    </a:lnTo>
                    <a:lnTo>
                      <a:pt x="806" y="117"/>
                    </a:lnTo>
                    <a:lnTo>
                      <a:pt x="808" y="117"/>
                    </a:lnTo>
                    <a:lnTo>
                      <a:pt x="810" y="119"/>
                    </a:lnTo>
                    <a:lnTo>
                      <a:pt x="811" y="119"/>
                    </a:lnTo>
                    <a:lnTo>
                      <a:pt x="813" y="120"/>
                    </a:lnTo>
                    <a:lnTo>
                      <a:pt x="813" y="122"/>
                    </a:lnTo>
                    <a:lnTo>
                      <a:pt x="813" y="124"/>
                    </a:lnTo>
                    <a:lnTo>
                      <a:pt x="813" y="126"/>
                    </a:lnTo>
                    <a:lnTo>
                      <a:pt x="813" y="127"/>
                    </a:lnTo>
                    <a:lnTo>
                      <a:pt x="815" y="127"/>
                    </a:lnTo>
                    <a:lnTo>
                      <a:pt x="815" y="129"/>
                    </a:lnTo>
                    <a:lnTo>
                      <a:pt x="815" y="131"/>
                    </a:lnTo>
                    <a:lnTo>
                      <a:pt x="815" y="132"/>
                    </a:lnTo>
                    <a:lnTo>
                      <a:pt x="813" y="134"/>
                    </a:lnTo>
                    <a:lnTo>
                      <a:pt x="813" y="136"/>
                    </a:lnTo>
                    <a:lnTo>
                      <a:pt x="811" y="136"/>
                    </a:lnTo>
                    <a:lnTo>
                      <a:pt x="810" y="136"/>
                    </a:lnTo>
                    <a:lnTo>
                      <a:pt x="808" y="136"/>
                    </a:lnTo>
                    <a:lnTo>
                      <a:pt x="806" y="136"/>
                    </a:lnTo>
                    <a:lnTo>
                      <a:pt x="806" y="137"/>
                    </a:lnTo>
                    <a:lnTo>
                      <a:pt x="806" y="136"/>
                    </a:lnTo>
                    <a:lnTo>
                      <a:pt x="806" y="134"/>
                    </a:lnTo>
                    <a:lnTo>
                      <a:pt x="806" y="132"/>
                    </a:lnTo>
                    <a:lnTo>
                      <a:pt x="805" y="132"/>
                    </a:lnTo>
                    <a:lnTo>
                      <a:pt x="803" y="132"/>
                    </a:lnTo>
                    <a:lnTo>
                      <a:pt x="801" y="132"/>
                    </a:lnTo>
                    <a:lnTo>
                      <a:pt x="801" y="134"/>
                    </a:lnTo>
                    <a:lnTo>
                      <a:pt x="803" y="132"/>
                    </a:lnTo>
                    <a:lnTo>
                      <a:pt x="805" y="132"/>
                    </a:lnTo>
                    <a:lnTo>
                      <a:pt x="806" y="132"/>
                    </a:lnTo>
                    <a:lnTo>
                      <a:pt x="806" y="134"/>
                    </a:lnTo>
                    <a:lnTo>
                      <a:pt x="805" y="136"/>
                    </a:lnTo>
                    <a:lnTo>
                      <a:pt x="805" y="137"/>
                    </a:lnTo>
                    <a:lnTo>
                      <a:pt x="806" y="137"/>
                    </a:lnTo>
                    <a:lnTo>
                      <a:pt x="808" y="137"/>
                    </a:lnTo>
                    <a:lnTo>
                      <a:pt x="810" y="137"/>
                    </a:lnTo>
                    <a:lnTo>
                      <a:pt x="811" y="137"/>
                    </a:lnTo>
                    <a:lnTo>
                      <a:pt x="811" y="136"/>
                    </a:lnTo>
                    <a:lnTo>
                      <a:pt x="813" y="136"/>
                    </a:lnTo>
                    <a:lnTo>
                      <a:pt x="813" y="137"/>
                    </a:lnTo>
                    <a:lnTo>
                      <a:pt x="815" y="137"/>
                    </a:lnTo>
                    <a:lnTo>
                      <a:pt x="815" y="139"/>
                    </a:lnTo>
                    <a:lnTo>
                      <a:pt x="813" y="139"/>
                    </a:lnTo>
                    <a:lnTo>
                      <a:pt x="813" y="141"/>
                    </a:lnTo>
                    <a:lnTo>
                      <a:pt x="811" y="141"/>
                    </a:lnTo>
                    <a:lnTo>
                      <a:pt x="810" y="143"/>
                    </a:lnTo>
                    <a:lnTo>
                      <a:pt x="808" y="143"/>
                    </a:lnTo>
                    <a:lnTo>
                      <a:pt x="808" y="144"/>
                    </a:lnTo>
                    <a:lnTo>
                      <a:pt x="806" y="144"/>
                    </a:lnTo>
                    <a:lnTo>
                      <a:pt x="806" y="146"/>
                    </a:lnTo>
                    <a:lnTo>
                      <a:pt x="805" y="146"/>
                    </a:lnTo>
                    <a:lnTo>
                      <a:pt x="805" y="148"/>
                    </a:lnTo>
                    <a:lnTo>
                      <a:pt x="803" y="148"/>
                    </a:lnTo>
                    <a:lnTo>
                      <a:pt x="801" y="148"/>
                    </a:lnTo>
                    <a:lnTo>
                      <a:pt x="801" y="149"/>
                    </a:lnTo>
                    <a:lnTo>
                      <a:pt x="799" y="149"/>
                    </a:lnTo>
                    <a:lnTo>
                      <a:pt x="799" y="151"/>
                    </a:lnTo>
                    <a:lnTo>
                      <a:pt x="799" y="153"/>
                    </a:lnTo>
                    <a:lnTo>
                      <a:pt x="798" y="153"/>
                    </a:lnTo>
                    <a:lnTo>
                      <a:pt x="798" y="154"/>
                    </a:lnTo>
                    <a:lnTo>
                      <a:pt x="796" y="154"/>
                    </a:lnTo>
                    <a:lnTo>
                      <a:pt x="794" y="156"/>
                    </a:lnTo>
                    <a:lnTo>
                      <a:pt x="794" y="158"/>
                    </a:lnTo>
                    <a:lnTo>
                      <a:pt x="793" y="158"/>
                    </a:lnTo>
                    <a:lnTo>
                      <a:pt x="793" y="160"/>
                    </a:lnTo>
                    <a:lnTo>
                      <a:pt x="793" y="161"/>
                    </a:lnTo>
                    <a:lnTo>
                      <a:pt x="791" y="161"/>
                    </a:lnTo>
                    <a:lnTo>
                      <a:pt x="791" y="163"/>
                    </a:lnTo>
                    <a:lnTo>
                      <a:pt x="791" y="165"/>
                    </a:lnTo>
                    <a:lnTo>
                      <a:pt x="789" y="165"/>
                    </a:lnTo>
                    <a:lnTo>
                      <a:pt x="789" y="166"/>
                    </a:lnTo>
                    <a:lnTo>
                      <a:pt x="788" y="166"/>
                    </a:lnTo>
                    <a:lnTo>
                      <a:pt x="788" y="168"/>
                    </a:lnTo>
                    <a:lnTo>
                      <a:pt x="786" y="168"/>
                    </a:lnTo>
                    <a:lnTo>
                      <a:pt x="786" y="170"/>
                    </a:lnTo>
                    <a:lnTo>
                      <a:pt x="784" y="170"/>
                    </a:lnTo>
                    <a:lnTo>
                      <a:pt x="784" y="172"/>
                    </a:lnTo>
                    <a:lnTo>
                      <a:pt x="782" y="172"/>
                    </a:lnTo>
                    <a:lnTo>
                      <a:pt x="781" y="172"/>
                    </a:lnTo>
                    <a:lnTo>
                      <a:pt x="779" y="172"/>
                    </a:lnTo>
                    <a:lnTo>
                      <a:pt x="779" y="173"/>
                    </a:lnTo>
                    <a:lnTo>
                      <a:pt x="777" y="173"/>
                    </a:lnTo>
                    <a:lnTo>
                      <a:pt x="776" y="175"/>
                    </a:lnTo>
                    <a:lnTo>
                      <a:pt x="776" y="177"/>
                    </a:lnTo>
                    <a:lnTo>
                      <a:pt x="774" y="177"/>
                    </a:lnTo>
                    <a:lnTo>
                      <a:pt x="774" y="178"/>
                    </a:lnTo>
                    <a:lnTo>
                      <a:pt x="774" y="180"/>
                    </a:lnTo>
                    <a:lnTo>
                      <a:pt x="777" y="182"/>
                    </a:lnTo>
                    <a:lnTo>
                      <a:pt x="777" y="180"/>
                    </a:lnTo>
                    <a:lnTo>
                      <a:pt x="779" y="180"/>
                    </a:lnTo>
                    <a:lnTo>
                      <a:pt x="781" y="180"/>
                    </a:lnTo>
                    <a:lnTo>
                      <a:pt x="782" y="180"/>
                    </a:lnTo>
                    <a:lnTo>
                      <a:pt x="782" y="178"/>
                    </a:lnTo>
                    <a:lnTo>
                      <a:pt x="784" y="178"/>
                    </a:lnTo>
                    <a:lnTo>
                      <a:pt x="786" y="178"/>
                    </a:lnTo>
                    <a:lnTo>
                      <a:pt x="788" y="178"/>
                    </a:lnTo>
                    <a:lnTo>
                      <a:pt x="788" y="180"/>
                    </a:lnTo>
                    <a:lnTo>
                      <a:pt x="789" y="180"/>
                    </a:lnTo>
                    <a:lnTo>
                      <a:pt x="789" y="182"/>
                    </a:lnTo>
                    <a:lnTo>
                      <a:pt x="788" y="182"/>
                    </a:lnTo>
                    <a:lnTo>
                      <a:pt x="788" y="183"/>
                    </a:lnTo>
                    <a:lnTo>
                      <a:pt x="786" y="183"/>
                    </a:lnTo>
                    <a:lnTo>
                      <a:pt x="784" y="185"/>
                    </a:lnTo>
                    <a:lnTo>
                      <a:pt x="782" y="185"/>
                    </a:lnTo>
                    <a:lnTo>
                      <a:pt x="782" y="187"/>
                    </a:lnTo>
                    <a:lnTo>
                      <a:pt x="781" y="187"/>
                    </a:lnTo>
                    <a:lnTo>
                      <a:pt x="779" y="189"/>
                    </a:lnTo>
                    <a:lnTo>
                      <a:pt x="777" y="190"/>
                    </a:lnTo>
                    <a:lnTo>
                      <a:pt x="776" y="190"/>
                    </a:lnTo>
                    <a:lnTo>
                      <a:pt x="777" y="192"/>
                    </a:lnTo>
                    <a:lnTo>
                      <a:pt x="777" y="190"/>
                    </a:lnTo>
                    <a:lnTo>
                      <a:pt x="779" y="190"/>
                    </a:lnTo>
                    <a:lnTo>
                      <a:pt x="781" y="190"/>
                    </a:lnTo>
                    <a:lnTo>
                      <a:pt x="782" y="190"/>
                    </a:lnTo>
                    <a:lnTo>
                      <a:pt x="782" y="192"/>
                    </a:lnTo>
                    <a:lnTo>
                      <a:pt x="782" y="190"/>
                    </a:lnTo>
                    <a:lnTo>
                      <a:pt x="784" y="190"/>
                    </a:lnTo>
                    <a:lnTo>
                      <a:pt x="784" y="192"/>
                    </a:lnTo>
                    <a:lnTo>
                      <a:pt x="784" y="194"/>
                    </a:lnTo>
                    <a:lnTo>
                      <a:pt x="782" y="194"/>
                    </a:lnTo>
                    <a:lnTo>
                      <a:pt x="782" y="195"/>
                    </a:lnTo>
                    <a:lnTo>
                      <a:pt x="781" y="195"/>
                    </a:lnTo>
                    <a:lnTo>
                      <a:pt x="779" y="195"/>
                    </a:lnTo>
                    <a:lnTo>
                      <a:pt x="779" y="197"/>
                    </a:lnTo>
                    <a:lnTo>
                      <a:pt x="777" y="197"/>
                    </a:lnTo>
                    <a:lnTo>
                      <a:pt x="776" y="197"/>
                    </a:lnTo>
                    <a:lnTo>
                      <a:pt x="776" y="199"/>
                    </a:lnTo>
                    <a:lnTo>
                      <a:pt x="776" y="200"/>
                    </a:lnTo>
                    <a:lnTo>
                      <a:pt x="774" y="200"/>
                    </a:lnTo>
                    <a:lnTo>
                      <a:pt x="776" y="200"/>
                    </a:lnTo>
                    <a:lnTo>
                      <a:pt x="777" y="199"/>
                    </a:lnTo>
                    <a:lnTo>
                      <a:pt x="779" y="197"/>
                    </a:lnTo>
                    <a:lnTo>
                      <a:pt x="781" y="197"/>
                    </a:lnTo>
                    <a:lnTo>
                      <a:pt x="782" y="197"/>
                    </a:lnTo>
                    <a:lnTo>
                      <a:pt x="782" y="199"/>
                    </a:lnTo>
                    <a:lnTo>
                      <a:pt x="782" y="200"/>
                    </a:lnTo>
                    <a:lnTo>
                      <a:pt x="782" y="202"/>
                    </a:lnTo>
                    <a:lnTo>
                      <a:pt x="782" y="204"/>
                    </a:lnTo>
                    <a:lnTo>
                      <a:pt x="784" y="204"/>
                    </a:lnTo>
                    <a:lnTo>
                      <a:pt x="784" y="202"/>
                    </a:lnTo>
                    <a:lnTo>
                      <a:pt x="784" y="200"/>
                    </a:lnTo>
                    <a:lnTo>
                      <a:pt x="784" y="199"/>
                    </a:lnTo>
                    <a:lnTo>
                      <a:pt x="784" y="197"/>
                    </a:lnTo>
                    <a:lnTo>
                      <a:pt x="786" y="197"/>
                    </a:lnTo>
                    <a:lnTo>
                      <a:pt x="786" y="195"/>
                    </a:lnTo>
                    <a:lnTo>
                      <a:pt x="786" y="194"/>
                    </a:lnTo>
                    <a:lnTo>
                      <a:pt x="786" y="192"/>
                    </a:lnTo>
                    <a:lnTo>
                      <a:pt x="786" y="190"/>
                    </a:lnTo>
                    <a:lnTo>
                      <a:pt x="788" y="190"/>
                    </a:lnTo>
                    <a:lnTo>
                      <a:pt x="788" y="189"/>
                    </a:lnTo>
                    <a:lnTo>
                      <a:pt x="788" y="187"/>
                    </a:lnTo>
                    <a:lnTo>
                      <a:pt x="789" y="187"/>
                    </a:lnTo>
                    <a:lnTo>
                      <a:pt x="789" y="185"/>
                    </a:lnTo>
                    <a:lnTo>
                      <a:pt x="791" y="185"/>
                    </a:lnTo>
                    <a:lnTo>
                      <a:pt x="791" y="183"/>
                    </a:lnTo>
                    <a:lnTo>
                      <a:pt x="793" y="183"/>
                    </a:lnTo>
                    <a:lnTo>
                      <a:pt x="794" y="183"/>
                    </a:lnTo>
                    <a:lnTo>
                      <a:pt x="794" y="182"/>
                    </a:lnTo>
                    <a:lnTo>
                      <a:pt x="796" y="182"/>
                    </a:lnTo>
                    <a:lnTo>
                      <a:pt x="798" y="182"/>
                    </a:lnTo>
                    <a:lnTo>
                      <a:pt x="799" y="182"/>
                    </a:lnTo>
                    <a:lnTo>
                      <a:pt x="801" y="182"/>
                    </a:lnTo>
                    <a:lnTo>
                      <a:pt x="803" y="182"/>
                    </a:lnTo>
                    <a:lnTo>
                      <a:pt x="805" y="182"/>
                    </a:lnTo>
                    <a:lnTo>
                      <a:pt x="806" y="182"/>
                    </a:lnTo>
                    <a:lnTo>
                      <a:pt x="806" y="183"/>
                    </a:lnTo>
                    <a:lnTo>
                      <a:pt x="808" y="183"/>
                    </a:lnTo>
                    <a:lnTo>
                      <a:pt x="810" y="183"/>
                    </a:lnTo>
                    <a:lnTo>
                      <a:pt x="811" y="183"/>
                    </a:lnTo>
                    <a:lnTo>
                      <a:pt x="813" y="183"/>
                    </a:lnTo>
                    <a:lnTo>
                      <a:pt x="815" y="183"/>
                    </a:lnTo>
                    <a:lnTo>
                      <a:pt x="815" y="185"/>
                    </a:lnTo>
                    <a:lnTo>
                      <a:pt x="816" y="185"/>
                    </a:lnTo>
                    <a:lnTo>
                      <a:pt x="818" y="185"/>
                    </a:lnTo>
                    <a:lnTo>
                      <a:pt x="820" y="185"/>
                    </a:lnTo>
                    <a:lnTo>
                      <a:pt x="822" y="185"/>
                    </a:lnTo>
                    <a:lnTo>
                      <a:pt x="823" y="187"/>
                    </a:lnTo>
                    <a:lnTo>
                      <a:pt x="823" y="185"/>
                    </a:lnTo>
                    <a:lnTo>
                      <a:pt x="825" y="185"/>
                    </a:lnTo>
                    <a:lnTo>
                      <a:pt x="827" y="185"/>
                    </a:lnTo>
                    <a:lnTo>
                      <a:pt x="828" y="185"/>
                    </a:lnTo>
                    <a:lnTo>
                      <a:pt x="830" y="185"/>
                    </a:lnTo>
                    <a:lnTo>
                      <a:pt x="830" y="183"/>
                    </a:lnTo>
                    <a:lnTo>
                      <a:pt x="832" y="183"/>
                    </a:lnTo>
                    <a:lnTo>
                      <a:pt x="833" y="183"/>
                    </a:lnTo>
                    <a:lnTo>
                      <a:pt x="835" y="183"/>
                    </a:lnTo>
                    <a:lnTo>
                      <a:pt x="837" y="183"/>
                    </a:lnTo>
                    <a:lnTo>
                      <a:pt x="837" y="182"/>
                    </a:lnTo>
                    <a:lnTo>
                      <a:pt x="839" y="183"/>
                    </a:lnTo>
                    <a:lnTo>
                      <a:pt x="840" y="183"/>
                    </a:lnTo>
                    <a:lnTo>
                      <a:pt x="842" y="183"/>
                    </a:lnTo>
                    <a:lnTo>
                      <a:pt x="844" y="183"/>
                    </a:lnTo>
                    <a:lnTo>
                      <a:pt x="845" y="185"/>
                    </a:lnTo>
                    <a:lnTo>
                      <a:pt x="847" y="185"/>
                    </a:lnTo>
                    <a:lnTo>
                      <a:pt x="849" y="185"/>
                    </a:lnTo>
                    <a:lnTo>
                      <a:pt x="850" y="185"/>
                    </a:lnTo>
                    <a:lnTo>
                      <a:pt x="852" y="185"/>
                    </a:lnTo>
                    <a:lnTo>
                      <a:pt x="852" y="187"/>
                    </a:lnTo>
                    <a:lnTo>
                      <a:pt x="854" y="187"/>
                    </a:lnTo>
                    <a:lnTo>
                      <a:pt x="856" y="187"/>
                    </a:lnTo>
                    <a:lnTo>
                      <a:pt x="856" y="185"/>
                    </a:lnTo>
                    <a:lnTo>
                      <a:pt x="857" y="185"/>
                    </a:lnTo>
                    <a:lnTo>
                      <a:pt x="859" y="185"/>
                    </a:lnTo>
                    <a:lnTo>
                      <a:pt x="861" y="185"/>
                    </a:lnTo>
                    <a:lnTo>
                      <a:pt x="861" y="187"/>
                    </a:lnTo>
                    <a:lnTo>
                      <a:pt x="861" y="185"/>
                    </a:lnTo>
                    <a:lnTo>
                      <a:pt x="862" y="185"/>
                    </a:lnTo>
                    <a:lnTo>
                      <a:pt x="864" y="187"/>
                    </a:lnTo>
                    <a:lnTo>
                      <a:pt x="866" y="187"/>
                    </a:lnTo>
                    <a:lnTo>
                      <a:pt x="866" y="189"/>
                    </a:lnTo>
                    <a:lnTo>
                      <a:pt x="864" y="189"/>
                    </a:lnTo>
                    <a:lnTo>
                      <a:pt x="864" y="190"/>
                    </a:lnTo>
                    <a:lnTo>
                      <a:pt x="864" y="192"/>
                    </a:lnTo>
                    <a:lnTo>
                      <a:pt x="862" y="192"/>
                    </a:lnTo>
                    <a:lnTo>
                      <a:pt x="862" y="194"/>
                    </a:lnTo>
                    <a:lnTo>
                      <a:pt x="862" y="195"/>
                    </a:lnTo>
                    <a:lnTo>
                      <a:pt x="862" y="197"/>
                    </a:lnTo>
                    <a:lnTo>
                      <a:pt x="862" y="199"/>
                    </a:lnTo>
                    <a:lnTo>
                      <a:pt x="861" y="199"/>
                    </a:lnTo>
                    <a:lnTo>
                      <a:pt x="862" y="199"/>
                    </a:lnTo>
                    <a:lnTo>
                      <a:pt x="861" y="200"/>
                    </a:lnTo>
                    <a:lnTo>
                      <a:pt x="862" y="200"/>
                    </a:lnTo>
                    <a:lnTo>
                      <a:pt x="861" y="200"/>
                    </a:lnTo>
                    <a:lnTo>
                      <a:pt x="861" y="202"/>
                    </a:lnTo>
                    <a:lnTo>
                      <a:pt x="861" y="204"/>
                    </a:lnTo>
                    <a:lnTo>
                      <a:pt x="861" y="206"/>
                    </a:lnTo>
                    <a:lnTo>
                      <a:pt x="861" y="207"/>
                    </a:lnTo>
                    <a:lnTo>
                      <a:pt x="861" y="209"/>
                    </a:lnTo>
                    <a:lnTo>
                      <a:pt x="859" y="209"/>
                    </a:lnTo>
                    <a:lnTo>
                      <a:pt x="857" y="211"/>
                    </a:lnTo>
                    <a:lnTo>
                      <a:pt x="856" y="212"/>
                    </a:lnTo>
                    <a:lnTo>
                      <a:pt x="857" y="212"/>
                    </a:lnTo>
                    <a:lnTo>
                      <a:pt x="857" y="214"/>
                    </a:lnTo>
                    <a:lnTo>
                      <a:pt x="856" y="214"/>
                    </a:lnTo>
                    <a:lnTo>
                      <a:pt x="856" y="216"/>
                    </a:lnTo>
                    <a:lnTo>
                      <a:pt x="854" y="216"/>
                    </a:lnTo>
                    <a:lnTo>
                      <a:pt x="854" y="217"/>
                    </a:lnTo>
                    <a:lnTo>
                      <a:pt x="852" y="217"/>
                    </a:lnTo>
                    <a:lnTo>
                      <a:pt x="852" y="219"/>
                    </a:lnTo>
                    <a:lnTo>
                      <a:pt x="852" y="221"/>
                    </a:lnTo>
                    <a:lnTo>
                      <a:pt x="850" y="221"/>
                    </a:lnTo>
                    <a:lnTo>
                      <a:pt x="850" y="223"/>
                    </a:lnTo>
                    <a:lnTo>
                      <a:pt x="850" y="224"/>
                    </a:lnTo>
                    <a:lnTo>
                      <a:pt x="850" y="226"/>
                    </a:lnTo>
                    <a:lnTo>
                      <a:pt x="850" y="228"/>
                    </a:lnTo>
                    <a:lnTo>
                      <a:pt x="849" y="228"/>
                    </a:lnTo>
                    <a:lnTo>
                      <a:pt x="847" y="228"/>
                    </a:lnTo>
                    <a:lnTo>
                      <a:pt x="847" y="229"/>
                    </a:lnTo>
                    <a:lnTo>
                      <a:pt x="847" y="231"/>
                    </a:lnTo>
                    <a:lnTo>
                      <a:pt x="847" y="233"/>
                    </a:lnTo>
                    <a:lnTo>
                      <a:pt x="847" y="234"/>
                    </a:lnTo>
                    <a:lnTo>
                      <a:pt x="845" y="234"/>
                    </a:lnTo>
                    <a:lnTo>
                      <a:pt x="845" y="236"/>
                    </a:lnTo>
                    <a:lnTo>
                      <a:pt x="847" y="236"/>
                    </a:lnTo>
                    <a:lnTo>
                      <a:pt x="845" y="238"/>
                    </a:lnTo>
                    <a:lnTo>
                      <a:pt x="844" y="238"/>
                    </a:lnTo>
                    <a:lnTo>
                      <a:pt x="844" y="240"/>
                    </a:lnTo>
                    <a:lnTo>
                      <a:pt x="842" y="241"/>
                    </a:lnTo>
                    <a:lnTo>
                      <a:pt x="842" y="240"/>
                    </a:lnTo>
                    <a:lnTo>
                      <a:pt x="842" y="241"/>
                    </a:lnTo>
                    <a:lnTo>
                      <a:pt x="844" y="240"/>
                    </a:lnTo>
                    <a:lnTo>
                      <a:pt x="845" y="240"/>
                    </a:lnTo>
                    <a:lnTo>
                      <a:pt x="845" y="238"/>
                    </a:lnTo>
                    <a:lnTo>
                      <a:pt x="847" y="238"/>
                    </a:lnTo>
                    <a:lnTo>
                      <a:pt x="847" y="236"/>
                    </a:lnTo>
                    <a:lnTo>
                      <a:pt x="849" y="236"/>
                    </a:lnTo>
                    <a:lnTo>
                      <a:pt x="849" y="234"/>
                    </a:lnTo>
                    <a:lnTo>
                      <a:pt x="849" y="233"/>
                    </a:lnTo>
                    <a:lnTo>
                      <a:pt x="850" y="233"/>
                    </a:lnTo>
                    <a:lnTo>
                      <a:pt x="850" y="231"/>
                    </a:lnTo>
                    <a:lnTo>
                      <a:pt x="852" y="231"/>
                    </a:lnTo>
                    <a:lnTo>
                      <a:pt x="852" y="229"/>
                    </a:lnTo>
                    <a:lnTo>
                      <a:pt x="854" y="229"/>
                    </a:lnTo>
                    <a:lnTo>
                      <a:pt x="854" y="228"/>
                    </a:lnTo>
                    <a:lnTo>
                      <a:pt x="854" y="226"/>
                    </a:lnTo>
                    <a:lnTo>
                      <a:pt x="856" y="226"/>
                    </a:lnTo>
                    <a:lnTo>
                      <a:pt x="856" y="224"/>
                    </a:lnTo>
                    <a:lnTo>
                      <a:pt x="857" y="224"/>
                    </a:lnTo>
                    <a:lnTo>
                      <a:pt x="857" y="223"/>
                    </a:lnTo>
                    <a:lnTo>
                      <a:pt x="859" y="223"/>
                    </a:lnTo>
                    <a:lnTo>
                      <a:pt x="859" y="224"/>
                    </a:lnTo>
                    <a:lnTo>
                      <a:pt x="861" y="224"/>
                    </a:lnTo>
                    <a:lnTo>
                      <a:pt x="861" y="226"/>
                    </a:lnTo>
                    <a:lnTo>
                      <a:pt x="859" y="226"/>
                    </a:lnTo>
                    <a:lnTo>
                      <a:pt x="859" y="228"/>
                    </a:lnTo>
                    <a:lnTo>
                      <a:pt x="861" y="228"/>
                    </a:lnTo>
                    <a:lnTo>
                      <a:pt x="861" y="229"/>
                    </a:lnTo>
                    <a:lnTo>
                      <a:pt x="861" y="228"/>
                    </a:lnTo>
                    <a:lnTo>
                      <a:pt x="862" y="228"/>
                    </a:lnTo>
                    <a:lnTo>
                      <a:pt x="864" y="228"/>
                    </a:lnTo>
                    <a:lnTo>
                      <a:pt x="862" y="228"/>
                    </a:lnTo>
                    <a:lnTo>
                      <a:pt x="861" y="228"/>
                    </a:lnTo>
                    <a:lnTo>
                      <a:pt x="861" y="226"/>
                    </a:lnTo>
                    <a:lnTo>
                      <a:pt x="861" y="224"/>
                    </a:lnTo>
                    <a:lnTo>
                      <a:pt x="862" y="224"/>
                    </a:lnTo>
                    <a:lnTo>
                      <a:pt x="861" y="223"/>
                    </a:lnTo>
                    <a:lnTo>
                      <a:pt x="861" y="221"/>
                    </a:lnTo>
                    <a:lnTo>
                      <a:pt x="862" y="221"/>
                    </a:lnTo>
                    <a:lnTo>
                      <a:pt x="862" y="219"/>
                    </a:lnTo>
                    <a:lnTo>
                      <a:pt x="864" y="219"/>
                    </a:lnTo>
                    <a:lnTo>
                      <a:pt x="862" y="217"/>
                    </a:lnTo>
                    <a:lnTo>
                      <a:pt x="862" y="216"/>
                    </a:lnTo>
                    <a:lnTo>
                      <a:pt x="864" y="216"/>
                    </a:lnTo>
                    <a:lnTo>
                      <a:pt x="864" y="214"/>
                    </a:lnTo>
                    <a:lnTo>
                      <a:pt x="864" y="216"/>
                    </a:lnTo>
                    <a:lnTo>
                      <a:pt x="864" y="214"/>
                    </a:lnTo>
                    <a:lnTo>
                      <a:pt x="866" y="214"/>
                    </a:lnTo>
                    <a:lnTo>
                      <a:pt x="867" y="214"/>
                    </a:lnTo>
                    <a:lnTo>
                      <a:pt x="866" y="214"/>
                    </a:lnTo>
                    <a:lnTo>
                      <a:pt x="867" y="216"/>
                    </a:lnTo>
                    <a:lnTo>
                      <a:pt x="867" y="214"/>
                    </a:lnTo>
                    <a:lnTo>
                      <a:pt x="867" y="212"/>
                    </a:lnTo>
                    <a:lnTo>
                      <a:pt x="867" y="211"/>
                    </a:lnTo>
                    <a:lnTo>
                      <a:pt x="867" y="209"/>
                    </a:lnTo>
                    <a:lnTo>
                      <a:pt x="869" y="209"/>
                    </a:lnTo>
                    <a:lnTo>
                      <a:pt x="869" y="207"/>
                    </a:lnTo>
                    <a:lnTo>
                      <a:pt x="871" y="206"/>
                    </a:lnTo>
                    <a:lnTo>
                      <a:pt x="873" y="206"/>
                    </a:lnTo>
                    <a:lnTo>
                      <a:pt x="873" y="207"/>
                    </a:lnTo>
                    <a:lnTo>
                      <a:pt x="873" y="206"/>
                    </a:lnTo>
                    <a:lnTo>
                      <a:pt x="873" y="204"/>
                    </a:lnTo>
                    <a:lnTo>
                      <a:pt x="874" y="204"/>
                    </a:lnTo>
                    <a:lnTo>
                      <a:pt x="874" y="202"/>
                    </a:lnTo>
                    <a:lnTo>
                      <a:pt x="876" y="200"/>
                    </a:lnTo>
                    <a:lnTo>
                      <a:pt x="878" y="200"/>
                    </a:lnTo>
                    <a:lnTo>
                      <a:pt x="878" y="202"/>
                    </a:lnTo>
                    <a:lnTo>
                      <a:pt x="878" y="200"/>
                    </a:lnTo>
                    <a:lnTo>
                      <a:pt x="878" y="202"/>
                    </a:lnTo>
                    <a:lnTo>
                      <a:pt x="878" y="200"/>
                    </a:lnTo>
                    <a:lnTo>
                      <a:pt x="879" y="202"/>
                    </a:lnTo>
                    <a:lnTo>
                      <a:pt x="879" y="204"/>
                    </a:lnTo>
                    <a:lnTo>
                      <a:pt x="879" y="202"/>
                    </a:lnTo>
                    <a:lnTo>
                      <a:pt x="879" y="200"/>
                    </a:lnTo>
                    <a:lnTo>
                      <a:pt x="879" y="199"/>
                    </a:lnTo>
                    <a:lnTo>
                      <a:pt x="881" y="199"/>
                    </a:lnTo>
                    <a:lnTo>
                      <a:pt x="881" y="197"/>
                    </a:lnTo>
                    <a:lnTo>
                      <a:pt x="883" y="197"/>
                    </a:lnTo>
                    <a:lnTo>
                      <a:pt x="883" y="199"/>
                    </a:lnTo>
                    <a:lnTo>
                      <a:pt x="883" y="200"/>
                    </a:lnTo>
                    <a:lnTo>
                      <a:pt x="883" y="202"/>
                    </a:lnTo>
                    <a:lnTo>
                      <a:pt x="883" y="200"/>
                    </a:lnTo>
                    <a:lnTo>
                      <a:pt x="884" y="200"/>
                    </a:lnTo>
                    <a:lnTo>
                      <a:pt x="884" y="199"/>
                    </a:lnTo>
                    <a:lnTo>
                      <a:pt x="883" y="199"/>
                    </a:lnTo>
                    <a:lnTo>
                      <a:pt x="884" y="199"/>
                    </a:lnTo>
                    <a:lnTo>
                      <a:pt x="884" y="197"/>
                    </a:lnTo>
                    <a:lnTo>
                      <a:pt x="884" y="199"/>
                    </a:lnTo>
                    <a:lnTo>
                      <a:pt x="884" y="197"/>
                    </a:lnTo>
                    <a:lnTo>
                      <a:pt x="884" y="199"/>
                    </a:lnTo>
                    <a:lnTo>
                      <a:pt x="886" y="199"/>
                    </a:lnTo>
                    <a:lnTo>
                      <a:pt x="884" y="199"/>
                    </a:lnTo>
                    <a:lnTo>
                      <a:pt x="886" y="199"/>
                    </a:lnTo>
                    <a:lnTo>
                      <a:pt x="888" y="200"/>
                    </a:lnTo>
                    <a:lnTo>
                      <a:pt x="888" y="199"/>
                    </a:lnTo>
                    <a:lnTo>
                      <a:pt x="886" y="199"/>
                    </a:lnTo>
                    <a:lnTo>
                      <a:pt x="886" y="197"/>
                    </a:lnTo>
                    <a:lnTo>
                      <a:pt x="886" y="195"/>
                    </a:lnTo>
                    <a:lnTo>
                      <a:pt x="888" y="195"/>
                    </a:lnTo>
                    <a:lnTo>
                      <a:pt x="888" y="197"/>
                    </a:lnTo>
                    <a:lnTo>
                      <a:pt x="888" y="199"/>
                    </a:lnTo>
                    <a:lnTo>
                      <a:pt x="888" y="197"/>
                    </a:lnTo>
                    <a:lnTo>
                      <a:pt x="890" y="197"/>
                    </a:lnTo>
                    <a:lnTo>
                      <a:pt x="890" y="199"/>
                    </a:lnTo>
                    <a:lnTo>
                      <a:pt x="890" y="200"/>
                    </a:lnTo>
                    <a:lnTo>
                      <a:pt x="890" y="202"/>
                    </a:lnTo>
                    <a:lnTo>
                      <a:pt x="890" y="200"/>
                    </a:lnTo>
                    <a:lnTo>
                      <a:pt x="890" y="202"/>
                    </a:lnTo>
                    <a:lnTo>
                      <a:pt x="888" y="202"/>
                    </a:lnTo>
                    <a:lnTo>
                      <a:pt x="886" y="202"/>
                    </a:lnTo>
                    <a:lnTo>
                      <a:pt x="886" y="204"/>
                    </a:lnTo>
                    <a:lnTo>
                      <a:pt x="888" y="204"/>
                    </a:lnTo>
                    <a:lnTo>
                      <a:pt x="888" y="202"/>
                    </a:lnTo>
                    <a:lnTo>
                      <a:pt x="890" y="202"/>
                    </a:lnTo>
                    <a:lnTo>
                      <a:pt x="891" y="202"/>
                    </a:lnTo>
                    <a:lnTo>
                      <a:pt x="891" y="200"/>
                    </a:lnTo>
                    <a:lnTo>
                      <a:pt x="891" y="199"/>
                    </a:lnTo>
                    <a:lnTo>
                      <a:pt x="893" y="199"/>
                    </a:lnTo>
                    <a:lnTo>
                      <a:pt x="891" y="199"/>
                    </a:lnTo>
                    <a:lnTo>
                      <a:pt x="891" y="197"/>
                    </a:lnTo>
                    <a:lnTo>
                      <a:pt x="893" y="197"/>
                    </a:lnTo>
                    <a:lnTo>
                      <a:pt x="893" y="199"/>
                    </a:lnTo>
                    <a:lnTo>
                      <a:pt x="893" y="200"/>
                    </a:lnTo>
                    <a:lnTo>
                      <a:pt x="895" y="200"/>
                    </a:lnTo>
                    <a:lnTo>
                      <a:pt x="895" y="202"/>
                    </a:lnTo>
                    <a:lnTo>
                      <a:pt x="895" y="204"/>
                    </a:lnTo>
                    <a:lnTo>
                      <a:pt x="896" y="204"/>
                    </a:lnTo>
                    <a:lnTo>
                      <a:pt x="898" y="204"/>
                    </a:lnTo>
                    <a:lnTo>
                      <a:pt x="898" y="206"/>
                    </a:lnTo>
                    <a:lnTo>
                      <a:pt x="898" y="204"/>
                    </a:lnTo>
                    <a:lnTo>
                      <a:pt x="896" y="202"/>
                    </a:lnTo>
                    <a:lnTo>
                      <a:pt x="896" y="200"/>
                    </a:lnTo>
                    <a:lnTo>
                      <a:pt x="895" y="200"/>
                    </a:lnTo>
                    <a:lnTo>
                      <a:pt x="896" y="199"/>
                    </a:lnTo>
                    <a:lnTo>
                      <a:pt x="895" y="199"/>
                    </a:lnTo>
                    <a:lnTo>
                      <a:pt x="896" y="199"/>
                    </a:lnTo>
                    <a:lnTo>
                      <a:pt x="895" y="199"/>
                    </a:lnTo>
                    <a:lnTo>
                      <a:pt x="895" y="197"/>
                    </a:lnTo>
                    <a:lnTo>
                      <a:pt x="896" y="197"/>
                    </a:lnTo>
                    <a:lnTo>
                      <a:pt x="898" y="197"/>
                    </a:lnTo>
                    <a:lnTo>
                      <a:pt x="898" y="199"/>
                    </a:lnTo>
                    <a:lnTo>
                      <a:pt x="896" y="199"/>
                    </a:lnTo>
                    <a:lnTo>
                      <a:pt x="898" y="199"/>
                    </a:lnTo>
                    <a:lnTo>
                      <a:pt x="896" y="199"/>
                    </a:lnTo>
                    <a:lnTo>
                      <a:pt x="896" y="200"/>
                    </a:lnTo>
                    <a:lnTo>
                      <a:pt x="898" y="199"/>
                    </a:lnTo>
                    <a:lnTo>
                      <a:pt x="898" y="200"/>
                    </a:lnTo>
                    <a:lnTo>
                      <a:pt x="898" y="199"/>
                    </a:lnTo>
                    <a:lnTo>
                      <a:pt x="900" y="199"/>
                    </a:lnTo>
                    <a:lnTo>
                      <a:pt x="898" y="199"/>
                    </a:lnTo>
                    <a:lnTo>
                      <a:pt x="900" y="199"/>
                    </a:lnTo>
                    <a:lnTo>
                      <a:pt x="901" y="197"/>
                    </a:lnTo>
                    <a:lnTo>
                      <a:pt x="901" y="199"/>
                    </a:lnTo>
                    <a:lnTo>
                      <a:pt x="901" y="200"/>
                    </a:lnTo>
                    <a:lnTo>
                      <a:pt x="901" y="199"/>
                    </a:lnTo>
                    <a:lnTo>
                      <a:pt x="903" y="200"/>
                    </a:lnTo>
                    <a:lnTo>
                      <a:pt x="903" y="199"/>
                    </a:lnTo>
                    <a:lnTo>
                      <a:pt x="905" y="199"/>
                    </a:lnTo>
                    <a:lnTo>
                      <a:pt x="905" y="200"/>
                    </a:lnTo>
                    <a:lnTo>
                      <a:pt x="903" y="200"/>
                    </a:lnTo>
                    <a:lnTo>
                      <a:pt x="903" y="202"/>
                    </a:lnTo>
                    <a:lnTo>
                      <a:pt x="905" y="202"/>
                    </a:lnTo>
                    <a:lnTo>
                      <a:pt x="905" y="200"/>
                    </a:lnTo>
                    <a:lnTo>
                      <a:pt x="907" y="200"/>
                    </a:lnTo>
                    <a:lnTo>
                      <a:pt x="907" y="202"/>
                    </a:lnTo>
                    <a:lnTo>
                      <a:pt x="905" y="202"/>
                    </a:lnTo>
                    <a:lnTo>
                      <a:pt x="905" y="204"/>
                    </a:lnTo>
                    <a:lnTo>
                      <a:pt x="907" y="204"/>
                    </a:lnTo>
                    <a:lnTo>
                      <a:pt x="907" y="206"/>
                    </a:lnTo>
                    <a:lnTo>
                      <a:pt x="907" y="204"/>
                    </a:lnTo>
                    <a:lnTo>
                      <a:pt x="907" y="202"/>
                    </a:lnTo>
                    <a:lnTo>
                      <a:pt x="907" y="204"/>
                    </a:lnTo>
                    <a:lnTo>
                      <a:pt x="907" y="202"/>
                    </a:lnTo>
                    <a:lnTo>
                      <a:pt x="908" y="202"/>
                    </a:lnTo>
                    <a:lnTo>
                      <a:pt x="907" y="200"/>
                    </a:lnTo>
                    <a:lnTo>
                      <a:pt x="908" y="200"/>
                    </a:lnTo>
                    <a:lnTo>
                      <a:pt x="908" y="202"/>
                    </a:lnTo>
                    <a:lnTo>
                      <a:pt x="908" y="204"/>
                    </a:lnTo>
                    <a:lnTo>
                      <a:pt x="908" y="206"/>
                    </a:lnTo>
                    <a:lnTo>
                      <a:pt x="910" y="204"/>
                    </a:lnTo>
                    <a:lnTo>
                      <a:pt x="910" y="206"/>
                    </a:lnTo>
                    <a:lnTo>
                      <a:pt x="908" y="206"/>
                    </a:lnTo>
                    <a:lnTo>
                      <a:pt x="908" y="207"/>
                    </a:lnTo>
                    <a:lnTo>
                      <a:pt x="908" y="206"/>
                    </a:lnTo>
                    <a:lnTo>
                      <a:pt x="910" y="206"/>
                    </a:lnTo>
                    <a:lnTo>
                      <a:pt x="912" y="206"/>
                    </a:lnTo>
                    <a:lnTo>
                      <a:pt x="910" y="206"/>
                    </a:lnTo>
                    <a:lnTo>
                      <a:pt x="910" y="204"/>
                    </a:lnTo>
                    <a:lnTo>
                      <a:pt x="912" y="204"/>
                    </a:lnTo>
                    <a:lnTo>
                      <a:pt x="912" y="202"/>
                    </a:lnTo>
                    <a:lnTo>
                      <a:pt x="913" y="202"/>
                    </a:lnTo>
                    <a:lnTo>
                      <a:pt x="913" y="204"/>
                    </a:lnTo>
                    <a:lnTo>
                      <a:pt x="912" y="204"/>
                    </a:lnTo>
                    <a:lnTo>
                      <a:pt x="913" y="204"/>
                    </a:lnTo>
                    <a:lnTo>
                      <a:pt x="913" y="206"/>
                    </a:lnTo>
                    <a:lnTo>
                      <a:pt x="913" y="207"/>
                    </a:lnTo>
                    <a:lnTo>
                      <a:pt x="915" y="207"/>
                    </a:lnTo>
                    <a:lnTo>
                      <a:pt x="915" y="206"/>
                    </a:lnTo>
                    <a:lnTo>
                      <a:pt x="915" y="204"/>
                    </a:lnTo>
                    <a:lnTo>
                      <a:pt x="917" y="204"/>
                    </a:lnTo>
                    <a:lnTo>
                      <a:pt x="917" y="202"/>
                    </a:lnTo>
                    <a:lnTo>
                      <a:pt x="917" y="204"/>
                    </a:lnTo>
                    <a:lnTo>
                      <a:pt x="917" y="206"/>
                    </a:lnTo>
                    <a:lnTo>
                      <a:pt x="917" y="207"/>
                    </a:lnTo>
                    <a:lnTo>
                      <a:pt x="918" y="206"/>
                    </a:lnTo>
                    <a:lnTo>
                      <a:pt x="918" y="207"/>
                    </a:lnTo>
                    <a:lnTo>
                      <a:pt x="917" y="207"/>
                    </a:lnTo>
                    <a:lnTo>
                      <a:pt x="918" y="209"/>
                    </a:lnTo>
                    <a:lnTo>
                      <a:pt x="918" y="207"/>
                    </a:lnTo>
                    <a:lnTo>
                      <a:pt x="918" y="206"/>
                    </a:lnTo>
                    <a:lnTo>
                      <a:pt x="920" y="206"/>
                    </a:lnTo>
                    <a:lnTo>
                      <a:pt x="920" y="207"/>
                    </a:lnTo>
                    <a:lnTo>
                      <a:pt x="920" y="209"/>
                    </a:lnTo>
                    <a:lnTo>
                      <a:pt x="922" y="209"/>
                    </a:lnTo>
                    <a:lnTo>
                      <a:pt x="920" y="207"/>
                    </a:lnTo>
                    <a:lnTo>
                      <a:pt x="922" y="207"/>
                    </a:lnTo>
                    <a:lnTo>
                      <a:pt x="922" y="206"/>
                    </a:lnTo>
                    <a:lnTo>
                      <a:pt x="922" y="207"/>
                    </a:lnTo>
                    <a:lnTo>
                      <a:pt x="924" y="207"/>
                    </a:lnTo>
                    <a:lnTo>
                      <a:pt x="922" y="206"/>
                    </a:lnTo>
                    <a:lnTo>
                      <a:pt x="924" y="206"/>
                    </a:lnTo>
                    <a:lnTo>
                      <a:pt x="922" y="204"/>
                    </a:lnTo>
                    <a:lnTo>
                      <a:pt x="924" y="204"/>
                    </a:lnTo>
                    <a:lnTo>
                      <a:pt x="924" y="206"/>
                    </a:lnTo>
                    <a:lnTo>
                      <a:pt x="925" y="206"/>
                    </a:lnTo>
                    <a:lnTo>
                      <a:pt x="925" y="207"/>
                    </a:lnTo>
                    <a:lnTo>
                      <a:pt x="924" y="207"/>
                    </a:lnTo>
                    <a:lnTo>
                      <a:pt x="925" y="207"/>
                    </a:lnTo>
                    <a:lnTo>
                      <a:pt x="924" y="207"/>
                    </a:lnTo>
                    <a:lnTo>
                      <a:pt x="924" y="209"/>
                    </a:lnTo>
                    <a:lnTo>
                      <a:pt x="924" y="211"/>
                    </a:lnTo>
                    <a:lnTo>
                      <a:pt x="922" y="211"/>
                    </a:lnTo>
                    <a:lnTo>
                      <a:pt x="920" y="211"/>
                    </a:lnTo>
                    <a:lnTo>
                      <a:pt x="922" y="211"/>
                    </a:lnTo>
                    <a:lnTo>
                      <a:pt x="924" y="211"/>
                    </a:lnTo>
                    <a:lnTo>
                      <a:pt x="925" y="211"/>
                    </a:lnTo>
                    <a:lnTo>
                      <a:pt x="927" y="211"/>
                    </a:lnTo>
                    <a:lnTo>
                      <a:pt x="927" y="209"/>
                    </a:lnTo>
                    <a:lnTo>
                      <a:pt x="927" y="211"/>
                    </a:lnTo>
                    <a:lnTo>
                      <a:pt x="929" y="209"/>
                    </a:lnTo>
                    <a:lnTo>
                      <a:pt x="929" y="207"/>
                    </a:lnTo>
                    <a:lnTo>
                      <a:pt x="929" y="209"/>
                    </a:lnTo>
                    <a:lnTo>
                      <a:pt x="930" y="207"/>
                    </a:lnTo>
                    <a:lnTo>
                      <a:pt x="932" y="207"/>
                    </a:lnTo>
                    <a:lnTo>
                      <a:pt x="930" y="207"/>
                    </a:lnTo>
                    <a:lnTo>
                      <a:pt x="930" y="209"/>
                    </a:lnTo>
                    <a:lnTo>
                      <a:pt x="929" y="209"/>
                    </a:lnTo>
                    <a:lnTo>
                      <a:pt x="929" y="211"/>
                    </a:lnTo>
                    <a:lnTo>
                      <a:pt x="930" y="212"/>
                    </a:lnTo>
                    <a:lnTo>
                      <a:pt x="929" y="212"/>
                    </a:lnTo>
                    <a:lnTo>
                      <a:pt x="930" y="212"/>
                    </a:lnTo>
                    <a:lnTo>
                      <a:pt x="932" y="212"/>
                    </a:lnTo>
                    <a:lnTo>
                      <a:pt x="930" y="212"/>
                    </a:lnTo>
                    <a:lnTo>
                      <a:pt x="932" y="212"/>
                    </a:lnTo>
                    <a:lnTo>
                      <a:pt x="932" y="211"/>
                    </a:lnTo>
                    <a:lnTo>
                      <a:pt x="932" y="212"/>
                    </a:lnTo>
                    <a:lnTo>
                      <a:pt x="934" y="212"/>
                    </a:lnTo>
                    <a:lnTo>
                      <a:pt x="934" y="214"/>
                    </a:lnTo>
                    <a:lnTo>
                      <a:pt x="934" y="212"/>
                    </a:lnTo>
                    <a:lnTo>
                      <a:pt x="935" y="212"/>
                    </a:lnTo>
                    <a:lnTo>
                      <a:pt x="935" y="214"/>
                    </a:lnTo>
                    <a:lnTo>
                      <a:pt x="935" y="212"/>
                    </a:lnTo>
                    <a:lnTo>
                      <a:pt x="935" y="211"/>
                    </a:lnTo>
                    <a:lnTo>
                      <a:pt x="937" y="209"/>
                    </a:lnTo>
                    <a:lnTo>
                      <a:pt x="935" y="209"/>
                    </a:lnTo>
                    <a:lnTo>
                      <a:pt x="937" y="209"/>
                    </a:lnTo>
                    <a:lnTo>
                      <a:pt x="937" y="207"/>
                    </a:lnTo>
                    <a:lnTo>
                      <a:pt x="939" y="207"/>
                    </a:lnTo>
                    <a:lnTo>
                      <a:pt x="939" y="209"/>
                    </a:lnTo>
                    <a:lnTo>
                      <a:pt x="939" y="211"/>
                    </a:lnTo>
                    <a:lnTo>
                      <a:pt x="937" y="211"/>
                    </a:lnTo>
                    <a:lnTo>
                      <a:pt x="937" y="212"/>
                    </a:lnTo>
                    <a:lnTo>
                      <a:pt x="939" y="212"/>
                    </a:lnTo>
                    <a:lnTo>
                      <a:pt x="939" y="214"/>
                    </a:lnTo>
                    <a:lnTo>
                      <a:pt x="937" y="214"/>
                    </a:lnTo>
                    <a:lnTo>
                      <a:pt x="937" y="216"/>
                    </a:lnTo>
                    <a:lnTo>
                      <a:pt x="937" y="217"/>
                    </a:lnTo>
                    <a:lnTo>
                      <a:pt x="935" y="217"/>
                    </a:lnTo>
                    <a:lnTo>
                      <a:pt x="937" y="217"/>
                    </a:lnTo>
                    <a:lnTo>
                      <a:pt x="937" y="216"/>
                    </a:lnTo>
                    <a:lnTo>
                      <a:pt x="939" y="214"/>
                    </a:lnTo>
                    <a:lnTo>
                      <a:pt x="939" y="212"/>
                    </a:lnTo>
                    <a:lnTo>
                      <a:pt x="941" y="212"/>
                    </a:lnTo>
                    <a:lnTo>
                      <a:pt x="941" y="214"/>
                    </a:lnTo>
                    <a:lnTo>
                      <a:pt x="939" y="214"/>
                    </a:lnTo>
                    <a:lnTo>
                      <a:pt x="939" y="216"/>
                    </a:lnTo>
                    <a:lnTo>
                      <a:pt x="939" y="214"/>
                    </a:lnTo>
                    <a:lnTo>
                      <a:pt x="941" y="214"/>
                    </a:lnTo>
                    <a:lnTo>
                      <a:pt x="941" y="216"/>
                    </a:lnTo>
                    <a:lnTo>
                      <a:pt x="941" y="214"/>
                    </a:lnTo>
                    <a:lnTo>
                      <a:pt x="942" y="212"/>
                    </a:lnTo>
                    <a:lnTo>
                      <a:pt x="942" y="214"/>
                    </a:lnTo>
                    <a:lnTo>
                      <a:pt x="942" y="212"/>
                    </a:lnTo>
                    <a:lnTo>
                      <a:pt x="942" y="214"/>
                    </a:lnTo>
                    <a:lnTo>
                      <a:pt x="942" y="216"/>
                    </a:lnTo>
                    <a:lnTo>
                      <a:pt x="944" y="216"/>
                    </a:lnTo>
                    <a:lnTo>
                      <a:pt x="942" y="216"/>
                    </a:lnTo>
                    <a:lnTo>
                      <a:pt x="942" y="217"/>
                    </a:lnTo>
                    <a:lnTo>
                      <a:pt x="942" y="219"/>
                    </a:lnTo>
                    <a:lnTo>
                      <a:pt x="941" y="219"/>
                    </a:lnTo>
                    <a:lnTo>
                      <a:pt x="942" y="219"/>
                    </a:lnTo>
                    <a:lnTo>
                      <a:pt x="942" y="217"/>
                    </a:lnTo>
                    <a:lnTo>
                      <a:pt x="942" y="216"/>
                    </a:lnTo>
                    <a:lnTo>
                      <a:pt x="944" y="216"/>
                    </a:lnTo>
                    <a:lnTo>
                      <a:pt x="944" y="217"/>
                    </a:lnTo>
                    <a:lnTo>
                      <a:pt x="944" y="216"/>
                    </a:lnTo>
                    <a:lnTo>
                      <a:pt x="944" y="214"/>
                    </a:lnTo>
                    <a:lnTo>
                      <a:pt x="946" y="214"/>
                    </a:lnTo>
                    <a:lnTo>
                      <a:pt x="946" y="216"/>
                    </a:lnTo>
                    <a:lnTo>
                      <a:pt x="947" y="216"/>
                    </a:lnTo>
                    <a:lnTo>
                      <a:pt x="946" y="216"/>
                    </a:lnTo>
                    <a:lnTo>
                      <a:pt x="946" y="217"/>
                    </a:lnTo>
                    <a:lnTo>
                      <a:pt x="944" y="217"/>
                    </a:lnTo>
                    <a:lnTo>
                      <a:pt x="946" y="217"/>
                    </a:lnTo>
                    <a:lnTo>
                      <a:pt x="947" y="219"/>
                    </a:lnTo>
                    <a:lnTo>
                      <a:pt x="946" y="219"/>
                    </a:lnTo>
                    <a:lnTo>
                      <a:pt x="947" y="219"/>
                    </a:lnTo>
                    <a:lnTo>
                      <a:pt x="947" y="217"/>
                    </a:lnTo>
                    <a:lnTo>
                      <a:pt x="947" y="216"/>
                    </a:lnTo>
                    <a:lnTo>
                      <a:pt x="949" y="216"/>
                    </a:lnTo>
                    <a:lnTo>
                      <a:pt x="949" y="214"/>
                    </a:lnTo>
                    <a:lnTo>
                      <a:pt x="951" y="214"/>
                    </a:lnTo>
                    <a:lnTo>
                      <a:pt x="951" y="216"/>
                    </a:lnTo>
                    <a:lnTo>
                      <a:pt x="949" y="216"/>
                    </a:lnTo>
                    <a:lnTo>
                      <a:pt x="949" y="217"/>
                    </a:lnTo>
                    <a:lnTo>
                      <a:pt x="947" y="217"/>
                    </a:lnTo>
                    <a:lnTo>
                      <a:pt x="949" y="217"/>
                    </a:lnTo>
                    <a:lnTo>
                      <a:pt x="949" y="219"/>
                    </a:lnTo>
                    <a:lnTo>
                      <a:pt x="951" y="219"/>
                    </a:lnTo>
                    <a:lnTo>
                      <a:pt x="949" y="219"/>
                    </a:lnTo>
                    <a:lnTo>
                      <a:pt x="951" y="219"/>
                    </a:lnTo>
                    <a:lnTo>
                      <a:pt x="949" y="219"/>
                    </a:lnTo>
                    <a:lnTo>
                      <a:pt x="949" y="221"/>
                    </a:lnTo>
                    <a:lnTo>
                      <a:pt x="951" y="221"/>
                    </a:lnTo>
                    <a:lnTo>
                      <a:pt x="951" y="219"/>
                    </a:lnTo>
                    <a:lnTo>
                      <a:pt x="951" y="217"/>
                    </a:lnTo>
                    <a:lnTo>
                      <a:pt x="952" y="217"/>
                    </a:lnTo>
                    <a:lnTo>
                      <a:pt x="951" y="219"/>
                    </a:lnTo>
                    <a:lnTo>
                      <a:pt x="952" y="219"/>
                    </a:lnTo>
                    <a:lnTo>
                      <a:pt x="951" y="219"/>
                    </a:lnTo>
                    <a:lnTo>
                      <a:pt x="951" y="221"/>
                    </a:lnTo>
                    <a:lnTo>
                      <a:pt x="952" y="219"/>
                    </a:lnTo>
                    <a:lnTo>
                      <a:pt x="952" y="217"/>
                    </a:lnTo>
                    <a:lnTo>
                      <a:pt x="954" y="217"/>
                    </a:lnTo>
                    <a:lnTo>
                      <a:pt x="954" y="216"/>
                    </a:lnTo>
                    <a:lnTo>
                      <a:pt x="956" y="216"/>
                    </a:lnTo>
                    <a:lnTo>
                      <a:pt x="956" y="217"/>
                    </a:lnTo>
                    <a:lnTo>
                      <a:pt x="954" y="217"/>
                    </a:lnTo>
                    <a:lnTo>
                      <a:pt x="954" y="219"/>
                    </a:lnTo>
                    <a:lnTo>
                      <a:pt x="954" y="221"/>
                    </a:lnTo>
                    <a:lnTo>
                      <a:pt x="956" y="221"/>
                    </a:lnTo>
                    <a:lnTo>
                      <a:pt x="954" y="223"/>
                    </a:lnTo>
                    <a:lnTo>
                      <a:pt x="956" y="223"/>
                    </a:lnTo>
                    <a:lnTo>
                      <a:pt x="956" y="224"/>
                    </a:lnTo>
                    <a:lnTo>
                      <a:pt x="954" y="224"/>
                    </a:lnTo>
                    <a:lnTo>
                      <a:pt x="956" y="224"/>
                    </a:lnTo>
                    <a:lnTo>
                      <a:pt x="956" y="226"/>
                    </a:lnTo>
                    <a:lnTo>
                      <a:pt x="956" y="224"/>
                    </a:lnTo>
                    <a:lnTo>
                      <a:pt x="958" y="224"/>
                    </a:lnTo>
                    <a:lnTo>
                      <a:pt x="958" y="223"/>
                    </a:lnTo>
                    <a:lnTo>
                      <a:pt x="958" y="221"/>
                    </a:lnTo>
                    <a:lnTo>
                      <a:pt x="959" y="221"/>
                    </a:lnTo>
                    <a:lnTo>
                      <a:pt x="959" y="223"/>
                    </a:lnTo>
                    <a:lnTo>
                      <a:pt x="959" y="221"/>
                    </a:lnTo>
                    <a:lnTo>
                      <a:pt x="959" y="223"/>
                    </a:lnTo>
                    <a:lnTo>
                      <a:pt x="961" y="223"/>
                    </a:lnTo>
                    <a:lnTo>
                      <a:pt x="961" y="224"/>
                    </a:lnTo>
                    <a:lnTo>
                      <a:pt x="961" y="226"/>
                    </a:lnTo>
                    <a:lnTo>
                      <a:pt x="959" y="224"/>
                    </a:lnTo>
                    <a:lnTo>
                      <a:pt x="959" y="226"/>
                    </a:lnTo>
                    <a:lnTo>
                      <a:pt x="959" y="224"/>
                    </a:lnTo>
                    <a:lnTo>
                      <a:pt x="961" y="226"/>
                    </a:lnTo>
                    <a:lnTo>
                      <a:pt x="961" y="224"/>
                    </a:lnTo>
                    <a:lnTo>
                      <a:pt x="963" y="224"/>
                    </a:lnTo>
                    <a:lnTo>
                      <a:pt x="963" y="223"/>
                    </a:lnTo>
                    <a:lnTo>
                      <a:pt x="963" y="224"/>
                    </a:lnTo>
                    <a:lnTo>
                      <a:pt x="963" y="223"/>
                    </a:lnTo>
                    <a:lnTo>
                      <a:pt x="964" y="223"/>
                    </a:lnTo>
                    <a:lnTo>
                      <a:pt x="964" y="221"/>
                    </a:lnTo>
                    <a:lnTo>
                      <a:pt x="966" y="223"/>
                    </a:lnTo>
                    <a:lnTo>
                      <a:pt x="964" y="223"/>
                    </a:lnTo>
                    <a:lnTo>
                      <a:pt x="964" y="224"/>
                    </a:lnTo>
                    <a:lnTo>
                      <a:pt x="963" y="224"/>
                    </a:lnTo>
                    <a:lnTo>
                      <a:pt x="963" y="226"/>
                    </a:lnTo>
                    <a:lnTo>
                      <a:pt x="963" y="228"/>
                    </a:lnTo>
                    <a:lnTo>
                      <a:pt x="964" y="228"/>
                    </a:lnTo>
                    <a:lnTo>
                      <a:pt x="963" y="228"/>
                    </a:lnTo>
                    <a:lnTo>
                      <a:pt x="964" y="228"/>
                    </a:lnTo>
                    <a:lnTo>
                      <a:pt x="964" y="226"/>
                    </a:lnTo>
                    <a:lnTo>
                      <a:pt x="966" y="226"/>
                    </a:lnTo>
                    <a:lnTo>
                      <a:pt x="966" y="224"/>
                    </a:lnTo>
                    <a:lnTo>
                      <a:pt x="968" y="223"/>
                    </a:lnTo>
                    <a:lnTo>
                      <a:pt x="966" y="223"/>
                    </a:lnTo>
                    <a:lnTo>
                      <a:pt x="968" y="223"/>
                    </a:lnTo>
                    <a:lnTo>
                      <a:pt x="969" y="223"/>
                    </a:lnTo>
                    <a:lnTo>
                      <a:pt x="968" y="223"/>
                    </a:lnTo>
                    <a:lnTo>
                      <a:pt x="969" y="224"/>
                    </a:lnTo>
                    <a:lnTo>
                      <a:pt x="968" y="224"/>
                    </a:lnTo>
                    <a:lnTo>
                      <a:pt x="969" y="224"/>
                    </a:lnTo>
                    <a:lnTo>
                      <a:pt x="969" y="226"/>
                    </a:lnTo>
                    <a:lnTo>
                      <a:pt x="968" y="226"/>
                    </a:lnTo>
                    <a:lnTo>
                      <a:pt x="968" y="228"/>
                    </a:lnTo>
                    <a:lnTo>
                      <a:pt x="966" y="228"/>
                    </a:lnTo>
                    <a:lnTo>
                      <a:pt x="968" y="228"/>
                    </a:lnTo>
                    <a:lnTo>
                      <a:pt x="969" y="228"/>
                    </a:lnTo>
                    <a:lnTo>
                      <a:pt x="968" y="229"/>
                    </a:lnTo>
                    <a:lnTo>
                      <a:pt x="968" y="231"/>
                    </a:lnTo>
                    <a:lnTo>
                      <a:pt x="968" y="233"/>
                    </a:lnTo>
                    <a:lnTo>
                      <a:pt x="968" y="234"/>
                    </a:lnTo>
                    <a:lnTo>
                      <a:pt x="966" y="234"/>
                    </a:lnTo>
                    <a:lnTo>
                      <a:pt x="966" y="236"/>
                    </a:lnTo>
                    <a:lnTo>
                      <a:pt x="968" y="236"/>
                    </a:lnTo>
                    <a:lnTo>
                      <a:pt x="969" y="236"/>
                    </a:lnTo>
                    <a:lnTo>
                      <a:pt x="969" y="238"/>
                    </a:lnTo>
                    <a:lnTo>
                      <a:pt x="971" y="238"/>
                    </a:lnTo>
                    <a:lnTo>
                      <a:pt x="971" y="240"/>
                    </a:lnTo>
                    <a:lnTo>
                      <a:pt x="971" y="241"/>
                    </a:lnTo>
                    <a:lnTo>
                      <a:pt x="973" y="241"/>
                    </a:lnTo>
                    <a:lnTo>
                      <a:pt x="973" y="240"/>
                    </a:lnTo>
                    <a:lnTo>
                      <a:pt x="971" y="241"/>
                    </a:lnTo>
                    <a:lnTo>
                      <a:pt x="971" y="240"/>
                    </a:lnTo>
                    <a:lnTo>
                      <a:pt x="971" y="238"/>
                    </a:lnTo>
                    <a:lnTo>
                      <a:pt x="971" y="236"/>
                    </a:lnTo>
                    <a:lnTo>
                      <a:pt x="969" y="236"/>
                    </a:lnTo>
                    <a:lnTo>
                      <a:pt x="969" y="234"/>
                    </a:lnTo>
                    <a:lnTo>
                      <a:pt x="971" y="234"/>
                    </a:lnTo>
                    <a:lnTo>
                      <a:pt x="971" y="233"/>
                    </a:lnTo>
                    <a:lnTo>
                      <a:pt x="971" y="231"/>
                    </a:lnTo>
                    <a:lnTo>
                      <a:pt x="971" y="229"/>
                    </a:lnTo>
                    <a:lnTo>
                      <a:pt x="973" y="229"/>
                    </a:lnTo>
                    <a:lnTo>
                      <a:pt x="973" y="228"/>
                    </a:lnTo>
                    <a:lnTo>
                      <a:pt x="973" y="229"/>
                    </a:lnTo>
                    <a:lnTo>
                      <a:pt x="973" y="228"/>
                    </a:lnTo>
                    <a:lnTo>
                      <a:pt x="975" y="228"/>
                    </a:lnTo>
                    <a:lnTo>
                      <a:pt x="975" y="229"/>
                    </a:lnTo>
                    <a:lnTo>
                      <a:pt x="975" y="228"/>
                    </a:lnTo>
                    <a:lnTo>
                      <a:pt x="976" y="228"/>
                    </a:lnTo>
                    <a:lnTo>
                      <a:pt x="978" y="228"/>
                    </a:lnTo>
                    <a:lnTo>
                      <a:pt x="980" y="229"/>
                    </a:lnTo>
                    <a:lnTo>
                      <a:pt x="978" y="229"/>
                    </a:lnTo>
                    <a:lnTo>
                      <a:pt x="980" y="229"/>
                    </a:lnTo>
                    <a:lnTo>
                      <a:pt x="980" y="231"/>
                    </a:lnTo>
                    <a:lnTo>
                      <a:pt x="978" y="231"/>
                    </a:lnTo>
                    <a:lnTo>
                      <a:pt x="980" y="231"/>
                    </a:lnTo>
                    <a:lnTo>
                      <a:pt x="981" y="231"/>
                    </a:lnTo>
                    <a:lnTo>
                      <a:pt x="981" y="229"/>
                    </a:lnTo>
                    <a:lnTo>
                      <a:pt x="980" y="229"/>
                    </a:lnTo>
                    <a:lnTo>
                      <a:pt x="980" y="228"/>
                    </a:lnTo>
                    <a:lnTo>
                      <a:pt x="981" y="228"/>
                    </a:lnTo>
                    <a:lnTo>
                      <a:pt x="983" y="226"/>
                    </a:lnTo>
                    <a:lnTo>
                      <a:pt x="985" y="226"/>
                    </a:lnTo>
                    <a:lnTo>
                      <a:pt x="985" y="228"/>
                    </a:lnTo>
                    <a:lnTo>
                      <a:pt x="983" y="228"/>
                    </a:lnTo>
                    <a:lnTo>
                      <a:pt x="983" y="229"/>
                    </a:lnTo>
                    <a:lnTo>
                      <a:pt x="981" y="229"/>
                    </a:lnTo>
                    <a:lnTo>
                      <a:pt x="981" y="231"/>
                    </a:lnTo>
                    <a:lnTo>
                      <a:pt x="981" y="233"/>
                    </a:lnTo>
                    <a:lnTo>
                      <a:pt x="983" y="233"/>
                    </a:lnTo>
                    <a:lnTo>
                      <a:pt x="985" y="233"/>
                    </a:lnTo>
                    <a:lnTo>
                      <a:pt x="985" y="231"/>
                    </a:lnTo>
                    <a:lnTo>
                      <a:pt x="986" y="231"/>
                    </a:lnTo>
                    <a:lnTo>
                      <a:pt x="986" y="233"/>
                    </a:lnTo>
                    <a:lnTo>
                      <a:pt x="986" y="231"/>
                    </a:lnTo>
                    <a:lnTo>
                      <a:pt x="988" y="231"/>
                    </a:lnTo>
                    <a:lnTo>
                      <a:pt x="988" y="233"/>
                    </a:lnTo>
                    <a:lnTo>
                      <a:pt x="988" y="231"/>
                    </a:lnTo>
                    <a:lnTo>
                      <a:pt x="990" y="231"/>
                    </a:lnTo>
                    <a:lnTo>
                      <a:pt x="992" y="233"/>
                    </a:lnTo>
                    <a:lnTo>
                      <a:pt x="990" y="234"/>
                    </a:lnTo>
                    <a:lnTo>
                      <a:pt x="990" y="233"/>
                    </a:lnTo>
                    <a:lnTo>
                      <a:pt x="988" y="233"/>
                    </a:lnTo>
                    <a:lnTo>
                      <a:pt x="988" y="234"/>
                    </a:lnTo>
                    <a:lnTo>
                      <a:pt x="986" y="234"/>
                    </a:lnTo>
                    <a:lnTo>
                      <a:pt x="986" y="236"/>
                    </a:lnTo>
                    <a:lnTo>
                      <a:pt x="988" y="236"/>
                    </a:lnTo>
                    <a:lnTo>
                      <a:pt x="990" y="236"/>
                    </a:lnTo>
                    <a:lnTo>
                      <a:pt x="988" y="236"/>
                    </a:lnTo>
                    <a:lnTo>
                      <a:pt x="988" y="238"/>
                    </a:lnTo>
                    <a:lnTo>
                      <a:pt x="986" y="238"/>
                    </a:lnTo>
                    <a:lnTo>
                      <a:pt x="988" y="238"/>
                    </a:lnTo>
                    <a:lnTo>
                      <a:pt x="990" y="238"/>
                    </a:lnTo>
                    <a:lnTo>
                      <a:pt x="992" y="238"/>
                    </a:lnTo>
                    <a:lnTo>
                      <a:pt x="990" y="236"/>
                    </a:lnTo>
                    <a:lnTo>
                      <a:pt x="992" y="236"/>
                    </a:lnTo>
                    <a:lnTo>
                      <a:pt x="993" y="236"/>
                    </a:lnTo>
                    <a:lnTo>
                      <a:pt x="992" y="236"/>
                    </a:lnTo>
                    <a:lnTo>
                      <a:pt x="992" y="238"/>
                    </a:lnTo>
                    <a:lnTo>
                      <a:pt x="993" y="238"/>
                    </a:lnTo>
                    <a:lnTo>
                      <a:pt x="992" y="238"/>
                    </a:lnTo>
                    <a:lnTo>
                      <a:pt x="993" y="240"/>
                    </a:lnTo>
                    <a:lnTo>
                      <a:pt x="993" y="238"/>
                    </a:lnTo>
                    <a:lnTo>
                      <a:pt x="993" y="240"/>
                    </a:lnTo>
                    <a:lnTo>
                      <a:pt x="995" y="240"/>
                    </a:lnTo>
                    <a:lnTo>
                      <a:pt x="995" y="241"/>
                    </a:lnTo>
                    <a:lnTo>
                      <a:pt x="993" y="241"/>
                    </a:lnTo>
                    <a:lnTo>
                      <a:pt x="995" y="241"/>
                    </a:lnTo>
                    <a:lnTo>
                      <a:pt x="997" y="243"/>
                    </a:lnTo>
                    <a:lnTo>
                      <a:pt x="997" y="245"/>
                    </a:lnTo>
                    <a:lnTo>
                      <a:pt x="995" y="245"/>
                    </a:lnTo>
                    <a:lnTo>
                      <a:pt x="997" y="245"/>
                    </a:lnTo>
                    <a:lnTo>
                      <a:pt x="995" y="246"/>
                    </a:lnTo>
                    <a:lnTo>
                      <a:pt x="993" y="246"/>
                    </a:lnTo>
                    <a:lnTo>
                      <a:pt x="995" y="246"/>
                    </a:lnTo>
                    <a:lnTo>
                      <a:pt x="997" y="246"/>
                    </a:lnTo>
                    <a:lnTo>
                      <a:pt x="995" y="248"/>
                    </a:lnTo>
                    <a:lnTo>
                      <a:pt x="993" y="248"/>
                    </a:lnTo>
                    <a:lnTo>
                      <a:pt x="993" y="250"/>
                    </a:lnTo>
                    <a:lnTo>
                      <a:pt x="993" y="251"/>
                    </a:lnTo>
                    <a:lnTo>
                      <a:pt x="992" y="251"/>
                    </a:lnTo>
                    <a:lnTo>
                      <a:pt x="992" y="253"/>
                    </a:lnTo>
                    <a:lnTo>
                      <a:pt x="990" y="253"/>
                    </a:lnTo>
                    <a:lnTo>
                      <a:pt x="990" y="255"/>
                    </a:lnTo>
                    <a:lnTo>
                      <a:pt x="990" y="253"/>
                    </a:lnTo>
                    <a:lnTo>
                      <a:pt x="990" y="255"/>
                    </a:lnTo>
                    <a:lnTo>
                      <a:pt x="988" y="255"/>
                    </a:lnTo>
                    <a:lnTo>
                      <a:pt x="986" y="255"/>
                    </a:lnTo>
                    <a:lnTo>
                      <a:pt x="988" y="255"/>
                    </a:lnTo>
                    <a:lnTo>
                      <a:pt x="990" y="255"/>
                    </a:lnTo>
                    <a:lnTo>
                      <a:pt x="992" y="255"/>
                    </a:lnTo>
                    <a:lnTo>
                      <a:pt x="990" y="257"/>
                    </a:lnTo>
                    <a:lnTo>
                      <a:pt x="990" y="258"/>
                    </a:lnTo>
                    <a:lnTo>
                      <a:pt x="988" y="258"/>
                    </a:lnTo>
                    <a:lnTo>
                      <a:pt x="990" y="258"/>
                    </a:lnTo>
                    <a:lnTo>
                      <a:pt x="992" y="258"/>
                    </a:lnTo>
                    <a:lnTo>
                      <a:pt x="990" y="257"/>
                    </a:lnTo>
                    <a:lnTo>
                      <a:pt x="992" y="257"/>
                    </a:lnTo>
                    <a:lnTo>
                      <a:pt x="992" y="255"/>
                    </a:lnTo>
                    <a:lnTo>
                      <a:pt x="993" y="253"/>
                    </a:lnTo>
                    <a:lnTo>
                      <a:pt x="995" y="253"/>
                    </a:lnTo>
                    <a:lnTo>
                      <a:pt x="993" y="253"/>
                    </a:lnTo>
                    <a:lnTo>
                      <a:pt x="995" y="251"/>
                    </a:lnTo>
                    <a:lnTo>
                      <a:pt x="995" y="250"/>
                    </a:lnTo>
                    <a:lnTo>
                      <a:pt x="997" y="250"/>
                    </a:lnTo>
                    <a:lnTo>
                      <a:pt x="998" y="251"/>
                    </a:lnTo>
                    <a:lnTo>
                      <a:pt x="1000" y="253"/>
                    </a:lnTo>
                    <a:lnTo>
                      <a:pt x="998" y="253"/>
                    </a:lnTo>
                    <a:lnTo>
                      <a:pt x="1000" y="253"/>
                    </a:lnTo>
                    <a:lnTo>
                      <a:pt x="1000" y="255"/>
                    </a:lnTo>
                    <a:lnTo>
                      <a:pt x="1000" y="257"/>
                    </a:lnTo>
                    <a:lnTo>
                      <a:pt x="1000" y="258"/>
                    </a:lnTo>
                    <a:lnTo>
                      <a:pt x="1000" y="260"/>
                    </a:lnTo>
                    <a:lnTo>
                      <a:pt x="998" y="260"/>
                    </a:lnTo>
                    <a:lnTo>
                      <a:pt x="997" y="260"/>
                    </a:lnTo>
                    <a:lnTo>
                      <a:pt x="997" y="258"/>
                    </a:lnTo>
                    <a:lnTo>
                      <a:pt x="995" y="258"/>
                    </a:lnTo>
                    <a:lnTo>
                      <a:pt x="997" y="258"/>
                    </a:lnTo>
                    <a:lnTo>
                      <a:pt x="997" y="260"/>
                    </a:lnTo>
                    <a:lnTo>
                      <a:pt x="995" y="260"/>
                    </a:lnTo>
                    <a:lnTo>
                      <a:pt x="995" y="262"/>
                    </a:lnTo>
                    <a:lnTo>
                      <a:pt x="997" y="262"/>
                    </a:lnTo>
                    <a:lnTo>
                      <a:pt x="995" y="262"/>
                    </a:lnTo>
                    <a:lnTo>
                      <a:pt x="995" y="263"/>
                    </a:lnTo>
                    <a:lnTo>
                      <a:pt x="993" y="263"/>
                    </a:lnTo>
                    <a:lnTo>
                      <a:pt x="993" y="265"/>
                    </a:lnTo>
                    <a:lnTo>
                      <a:pt x="993" y="263"/>
                    </a:lnTo>
                    <a:lnTo>
                      <a:pt x="995" y="263"/>
                    </a:lnTo>
                    <a:lnTo>
                      <a:pt x="995" y="265"/>
                    </a:lnTo>
                    <a:lnTo>
                      <a:pt x="993" y="265"/>
                    </a:lnTo>
                    <a:lnTo>
                      <a:pt x="993" y="267"/>
                    </a:lnTo>
                    <a:lnTo>
                      <a:pt x="993" y="268"/>
                    </a:lnTo>
                    <a:lnTo>
                      <a:pt x="992" y="268"/>
                    </a:lnTo>
                    <a:lnTo>
                      <a:pt x="992" y="270"/>
                    </a:lnTo>
                    <a:lnTo>
                      <a:pt x="992" y="272"/>
                    </a:lnTo>
                    <a:lnTo>
                      <a:pt x="992" y="274"/>
                    </a:lnTo>
                    <a:lnTo>
                      <a:pt x="992" y="275"/>
                    </a:lnTo>
                    <a:lnTo>
                      <a:pt x="990" y="275"/>
                    </a:lnTo>
                    <a:lnTo>
                      <a:pt x="990" y="277"/>
                    </a:lnTo>
                    <a:lnTo>
                      <a:pt x="990" y="279"/>
                    </a:lnTo>
                    <a:lnTo>
                      <a:pt x="992" y="280"/>
                    </a:lnTo>
                    <a:lnTo>
                      <a:pt x="992" y="282"/>
                    </a:lnTo>
                    <a:lnTo>
                      <a:pt x="990" y="282"/>
                    </a:lnTo>
                    <a:lnTo>
                      <a:pt x="990" y="284"/>
                    </a:lnTo>
                    <a:lnTo>
                      <a:pt x="988" y="284"/>
                    </a:lnTo>
                    <a:lnTo>
                      <a:pt x="988" y="285"/>
                    </a:lnTo>
                    <a:lnTo>
                      <a:pt x="986" y="285"/>
                    </a:lnTo>
                    <a:lnTo>
                      <a:pt x="986" y="287"/>
                    </a:lnTo>
                    <a:lnTo>
                      <a:pt x="986" y="289"/>
                    </a:lnTo>
                    <a:lnTo>
                      <a:pt x="986" y="291"/>
                    </a:lnTo>
                    <a:lnTo>
                      <a:pt x="988" y="291"/>
                    </a:lnTo>
                    <a:lnTo>
                      <a:pt x="988" y="289"/>
                    </a:lnTo>
                    <a:lnTo>
                      <a:pt x="986" y="287"/>
                    </a:lnTo>
                    <a:lnTo>
                      <a:pt x="988" y="287"/>
                    </a:lnTo>
                    <a:lnTo>
                      <a:pt x="988" y="285"/>
                    </a:lnTo>
                    <a:lnTo>
                      <a:pt x="990" y="285"/>
                    </a:lnTo>
                    <a:lnTo>
                      <a:pt x="992" y="285"/>
                    </a:lnTo>
                    <a:lnTo>
                      <a:pt x="992" y="284"/>
                    </a:lnTo>
                    <a:lnTo>
                      <a:pt x="995" y="282"/>
                    </a:lnTo>
                    <a:lnTo>
                      <a:pt x="995" y="280"/>
                    </a:lnTo>
                    <a:lnTo>
                      <a:pt x="997" y="280"/>
                    </a:lnTo>
                    <a:lnTo>
                      <a:pt x="997" y="279"/>
                    </a:lnTo>
                    <a:lnTo>
                      <a:pt x="998" y="279"/>
                    </a:lnTo>
                    <a:lnTo>
                      <a:pt x="998" y="277"/>
                    </a:lnTo>
                    <a:lnTo>
                      <a:pt x="998" y="275"/>
                    </a:lnTo>
                    <a:lnTo>
                      <a:pt x="998" y="274"/>
                    </a:lnTo>
                    <a:lnTo>
                      <a:pt x="998" y="272"/>
                    </a:lnTo>
                    <a:lnTo>
                      <a:pt x="1000" y="270"/>
                    </a:lnTo>
                    <a:lnTo>
                      <a:pt x="1000" y="268"/>
                    </a:lnTo>
                    <a:lnTo>
                      <a:pt x="1000" y="267"/>
                    </a:lnTo>
                    <a:lnTo>
                      <a:pt x="1000" y="265"/>
                    </a:lnTo>
                    <a:lnTo>
                      <a:pt x="1000" y="263"/>
                    </a:lnTo>
                    <a:lnTo>
                      <a:pt x="1002" y="263"/>
                    </a:lnTo>
                    <a:lnTo>
                      <a:pt x="1003" y="265"/>
                    </a:lnTo>
                    <a:lnTo>
                      <a:pt x="1003" y="263"/>
                    </a:lnTo>
                    <a:lnTo>
                      <a:pt x="1002" y="263"/>
                    </a:lnTo>
                    <a:lnTo>
                      <a:pt x="1003" y="263"/>
                    </a:lnTo>
                    <a:lnTo>
                      <a:pt x="1002" y="263"/>
                    </a:lnTo>
                    <a:lnTo>
                      <a:pt x="1002" y="262"/>
                    </a:lnTo>
                    <a:lnTo>
                      <a:pt x="1003" y="262"/>
                    </a:lnTo>
                    <a:lnTo>
                      <a:pt x="1005" y="262"/>
                    </a:lnTo>
                    <a:lnTo>
                      <a:pt x="1007" y="262"/>
                    </a:lnTo>
                    <a:lnTo>
                      <a:pt x="1007" y="260"/>
                    </a:lnTo>
                    <a:lnTo>
                      <a:pt x="1009" y="260"/>
                    </a:lnTo>
                    <a:lnTo>
                      <a:pt x="1010" y="260"/>
                    </a:lnTo>
                    <a:lnTo>
                      <a:pt x="1010" y="258"/>
                    </a:lnTo>
                    <a:lnTo>
                      <a:pt x="1012" y="260"/>
                    </a:lnTo>
                    <a:lnTo>
                      <a:pt x="1010" y="260"/>
                    </a:lnTo>
                    <a:lnTo>
                      <a:pt x="1010" y="262"/>
                    </a:lnTo>
                    <a:lnTo>
                      <a:pt x="1012" y="262"/>
                    </a:lnTo>
                    <a:lnTo>
                      <a:pt x="1012" y="263"/>
                    </a:lnTo>
                    <a:lnTo>
                      <a:pt x="1010" y="265"/>
                    </a:lnTo>
                    <a:lnTo>
                      <a:pt x="1009" y="265"/>
                    </a:lnTo>
                    <a:lnTo>
                      <a:pt x="1009" y="267"/>
                    </a:lnTo>
                    <a:lnTo>
                      <a:pt x="1009" y="268"/>
                    </a:lnTo>
                    <a:lnTo>
                      <a:pt x="1007" y="268"/>
                    </a:lnTo>
                    <a:lnTo>
                      <a:pt x="1005" y="268"/>
                    </a:lnTo>
                    <a:lnTo>
                      <a:pt x="1005" y="270"/>
                    </a:lnTo>
                    <a:lnTo>
                      <a:pt x="1003" y="270"/>
                    </a:lnTo>
                    <a:lnTo>
                      <a:pt x="1003" y="272"/>
                    </a:lnTo>
                    <a:lnTo>
                      <a:pt x="1002" y="272"/>
                    </a:lnTo>
                    <a:lnTo>
                      <a:pt x="1003" y="272"/>
                    </a:lnTo>
                    <a:lnTo>
                      <a:pt x="1003" y="274"/>
                    </a:lnTo>
                    <a:lnTo>
                      <a:pt x="1003" y="272"/>
                    </a:lnTo>
                    <a:lnTo>
                      <a:pt x="1005" y="272"/>
                    </a:lnTo>
                    <a:lnTo>
                      <a:pt x="1007" y="272"/>
                    </a:lnTo>
                    <a:lnTo>
                      <a:pt x="1007" y="274"/>
                    </a:lnTo>
                    <a:lnTo>
                      <a:pt x="1007" y="272"/>
                    </a:lnTo>
                    <a:lnTo>
                      <a:pt x="1009" y="272"/>
                    </a:lnTo>
                    <a:lnTo>
                      <a:pt x="1009" y="270"/>
                    </a:lnTo>
                    <a:lnTo>
                      <a:pt x="1010" y="272"/>
                    </a:lnTo>
                    <a:lnTo>
                      <a:pt x="1010" y="270"/>
                    </a:lnTo>
                    <a:lnTo>
                      <a:pt x="1010" y="272"/>
                    </a:lnTo>
                    <a:lnTo>
                      <a:pt x="1010" y="270"/>
                    </a:lnTo>
                    <a:lnTo>
                      <a:pt x="1012" y="268"/>
                    </a:lnTo>
                    <a:lnTo>
                      <a:pt x="1012" y="267"/>
                    </a:lnTo>
                    <a:lnTo>
                      <a:pt x="1014" y="267"/>
                    </a:lnTo>
                    <a:lnTo>
                      <a:pt x="1014" y="265"/>
                    </a:lnTo>
                    <a:lnTo>
                      <a:pt x="1015" y="265"/>
                    </a:lnTo>
                    <a:lnTo>
                      <a:pt x="1015" y="263"/>
                    </a:lnTo>
                    <a:lnTo>
                      <a:pt x="1017" y="265"/>
                    </a:lnTo>
                    <a:lnTo>
                      <a:pt x="1017" y="263"/>
                    </a:lnTo>
                    <a:lnTo>
                      <a:pt x="1019" y="263"/>
                    </a:lnTo>
                    <a:lnTo>
                      <a:pt x="1017" y="263"/>
                    </a:lnTo>
                    <a:lnTo>
                      <a:pt x="1019" y="262"/>
                    </a:lnTo>
                    <a:lnTo>
                      <a:pt x="1019" y="260"/>
                    </a:lnTo>
                    <a:lnTo>
                      <a:pt x="1019" y="258"/>
                    </a:lnTo>
                    <a:lnTo>
                      <a:pt x="1020" y="258"/>
                    </a:lnTo>
                    <a:lnTo>
                      <a:pt x="1019" y="260"/>
                    </a:lnTo>
                    <a:lnTo>
                      <a:pt x="1019" y="262"/>
                    </a:lnTo>
                    <a:lnTo>
                      <a:pt x="1019" y="260"/>
                    </a:lnTo>
                    <a:lnTo>
                      <a:pt x="1020" y="260"/>
                    </a:lnTo>
                    <a:lnTo>
                      <a:pt x="1022" y="258"/>
                    </a:lnTo>
                    <a:lnTo>
                      <a:pt x="1022" y="257"/>
                    </a:lnTo>
                    <a:lnTo>
                      <a:pt x="1022" y="255"/>
                    </a:lnTo>
                    <a:lnTo>
                      <a:pt x="1024" y="255"/>
                    </a:lnTo>
                    <a:lnTo>
                      <a:pt x="1026" y="255"/>
                    </a:lnTo>
                    <a:lnTo>
                      <a:pt x="1026" y="253"/>
                    </a:lnTo>
                    <a:lnTo>
                      <a:pt x="1026" y="255"/>
                    </a:lnTo>
                    <a:lnTo>
                      <a:pt x="1024" y="255"/>
                    </a:lnTo>
                    <a:lnTo>
                      <a:pt x="1024" y="257"/>
                    </a:lnTo>
                    <a:lnTo>
                      <a:pt x="1026" y="257"/>
                    </a:lnTo>
                    <a:lnTo>
                      <a:pt x="1026" y="258"/>
                    </a:lnTo>
                    <a:lnTo>
                      <a:pt x="1024" y="258"/>
                    </a:lnTo>
                    <a:lnTo>
                      <a:pt x="1024" y="260"/>
                    </a:lnTo>
                    <a:lnTo>
                      <a:pt x="1022" y="260"/>
                    </a:lnTo>
                    <a:lnTo>
                      <a:pt x="1020" y="260"/>
                    </a:lnTo>
                    <a:lnTo>
                      <a:pt x="1020" y="262"/>
                    </a:lnTo>
                    <a:lnTo>
                      <a:pt x="1020" y="263"/>
                    </a:lnTo>
                    <a:lnTo>
                      <a:pt x="1020" y="262"/>
                    </a:lnTo>
                    <a:lnTo>
                      <a:pt x="1022" y="262"/>
                    </a:lnTo>
                    <a:lnTo>
                      <a:pt x="1024" y="262"/>
                    </a:lnTo>
                    <a:lnTo>
                      <a:pt x="1022" y="262"/>
                    </a:lnTo>
                    <a:lnTo>
                      <a:pt x="1022" y="263"/>
                    </a:lnTo>
                    <a:lnTo>
                      <a:pt x="1024" y="263"/>
                    </a:lnTo>
                    <a:lnTo>
                      <a:pt x="1024" y="262"/>
                    </a:lnTo>
                    <a:lnTo>
                      <a:pt x="1026" y="262"/>
                    </a:lnTo>
                    <a:lnTo>
                      <a:pt x="1026" y="263"/>
                    </a:lnTo>
                    <a:lnTo>
                      <a:pt x="1026" y="262"/>
                    </a:lnTo>
                    <a:lnTo>
                      <a:pt x="1027" y="262"/>
                    </a:lnTo>
                    <a:lnTo>
                      <a:pt x="1026" y="262"/>
                    </a:lnTo>
                    <a:lnTo>
                      <a:pt x="1027" y="263"/>
                    </a:lnTo>
                    <a:lnTo>
                      <a:pt x="1027" y="262"/>
                    </a:lnTo>
                    <a:lnTo>
                      <a:pt x="1027" y="260"/>
                    </a:lnTo>
                    <a:lnTo>
                      <a:pt x="1029" y="260"/>
                    </a:lnTo>
                    <a:lnTo>
                      <a:pt x="1029" y="262"/>
                    </a:lnTo>
                    <a:lnTo>
                      <a:pt x="1031" y="262"/>
                    </a:lnTo>
                    <a:lnTo>
                      <a:pt x="1031" y="263"/>
                    </a:lnTo>
                    <a:lnTo>
                      <a:pt x="1031" y="262"/>
                    </a:lnTo>
                    <a:lnTo>
                      <a:pt x="1031" y="260"/>
                    </a:lnTo>
                    <a:lnTo>
                      <a:pt x="1032" y="260"/>
                    </a:lnTo>
                    <a:lnTo>
                      <a:pt x="1034" y="260"/>
                    </a:lnTo>
                    <a:lnTo>
                      <a:pt x="1032" y="260"/>
                    </a:lnTo>
                    <a:lnTo>
                      <a:pt x="1031" y="260"/>
                    </a:lnTo>
                    <a:lnTo>
                      <a:pt x="1031" y="258"/>
                    </a:lnTo>
                    <a:lnTo>
                      <a:pt x="1031" y="257"/>
                    </a:lnTo>
                    <a:lnTo>
                      <a:pt x="1032" y="257"/>
                    </a:lnTo>
                    <a:lnTo>
                      <a:pt x="1034" y="257"/>
                    </a:lnTo>
                    <a:lnTo>
                      <a:pt x="1036" y="257"/>
                    </a:lnTo>
                    <a:lnTo>
                      <a:pt x="1037" y="257"/>
                    </a:lnTo>
                    <a:lnTo>
                      <a:pt x="1039" y="258"/>
                    </a:lnTo>
                    <a:lnTo>
                      <a:pt x="1041" y="258"/>
                    </a:lnTo>
                    <a:lnTo>
                      <a:pt x="1043" y="258"/>
                    </a:lnTo>
                    <a:lnTo>
                      <a:pt x="1043" y="260"/>
                    </a:lnTo>
                    <a:lnTo>
                      <a:pt x="1044" y="260"/>
                    </a:lnTo>
                    <a:lnTo>
                      <a:pt x="1046" y="262"/>
                    </a:lnTo>
                    <a:lnTo>
                      <a:pt x="1048" y="262"/>
                    </a:lnTo>
                    <a:lnTo>
                      <a:pt x="1049" y="262"/>
                    </a:lnTo>
                    <a:lnTo>
                      <a:pt x="1049" y="263"/>
                    </a:lnTo>
                    <a:lnTo>
                      <a:pt x="1051" y="263"/>
                    </a:lnTo>
                    <a:lnTo>
                      <a:pt x="1053" y="263"/>
                    </a:lnTo>
                    <a:lnTo>
                      <a:pt x="1053" y="265"/>
                    </a:lnTo>
                    <a:lnTo>
                      <a:pt x="1054" y="265"/>
                    </a:lnTo>
                    <a:lnTo>
                      <a:pt x="1056" y="265"/>
                    </a:lnTo>
                    <a:lnTo>
                      <a:pt x="1058" y="267"/>
                    </a:lnTo>
                    <a:lnTo>
                      <a:pt x="1060" y="267"/>
                    </a:lnTo>
                    <a:lnTo>
                      <a:pt x="1061" y="268"/>
                    </a:lnTo>
                    <a:lnTo>
                      <a:pt x="1063" y="268"/>
                    </a:lnTo>
                    <a:lnTo>
                      <a:pt x="1065" y="268"/>
                    </a:lnTo>
                    <a:lnTo>
                      <a:pt x="1066" y="270"/>
                    </a:lnTo>
                    <a:lnTo>
                      <a:pt x="1068" y="270"/>
                    </a:lnTo>
                    <a:lnTo>
                      <a:pt x="1070" y="270"/>
                    </a:lnTo>
                    <a:lnTo>
                      <a:pt x="1071" y="270"/>
                    </a:lnTo>
                    <a:lnTo>
                      <a:pt x="1071" y="272"/>
                    </a:lnTo>
                    <a:lnTo>
                      <a:pt x="1073" y="274"/>
                    </a:lnTo>
                    <a:lnTo>
                      <a:pt x="1071" y="274"/>
                    </a:lnTo>
                    <a:lnTo>
                      <a:pt x="1073" y="274"/>
                    </a:lnTo>
                    <a:lnTo>
                      <a:pt x="1073" y="272"/>
                    </a:lnTo>
                    <a:lnTo>
                      <a:pt x="1073" y="274"/>
                    </a:lnTo>
                    <a:lnTo>
                      <a:pt x="1073" y="272"/>
                    </a:lnTo>
                    <a:lnTo>
                      <a:pt x="1073" y="274"/>
                    </a:lnTo>
                    <a:lnTo>
                      <a:pt x="1075" y="274"/>
                    </a:lnTo>
                    <a:lnTo>
                      <a:pt x="1075" y="272"/>
                    </a:lnTo>
                    <a:lnTo>
                      <a:pt x="1077" y="272"/>
                    </a:lnTo>
                    <a:lnTo>
                      <a:pt x="1075" y="272"/>
                    </a:lnTo>
                    <a:lnTo>
                      <a:pt x="1073" y="272"/>
                    </a:lnTo>
                    <a:lnTo>
                      <a:pt x="1075" y="272"/>
                    </a:lnTo>
                    <a:lnTo>
                      <a:pt x="1075" y="270"/>
                    </a:lnTo>
                    <a:lnTo>
                      <a:pt x="1077" y="272"/>
                    </a:lnTo>
                    <a:lnTo>
                      <a:pt x="1078" y="272"/>
                    </a:lnTo>
                    <a:lnTo>
                      <a:pt x="1078" y="274"/>
                    </a:lnTo>
                    <a:lnTo>
                      <a:pt x="1078" y="272"/>
                    </a:lnTo>
                    <a:lnTo>
                      <a:pt x="1080" y="272"/>
                    </a:lnTo>
                    <a:lnTo>
                      <a:pt x="1080" y="270"/>
                    </a:lnTo>
                    <a:lnTo>
                      <a:pt x="1082" y="270"/>
                    </a:lnTo>
                    <a:lnTo>
                      <a:pt x="1083" y="270"/>
                    </a:lnTo>
                    <a:lnTo>
                      <a:pt x="1085" y="270"/>
                    </a:lnTo>
                    <a:lnTo>
                      <a:pt x="1087" y="270"/>
                    </a:lnTo>
                    <a:lnTo>
                      <a:pt x="1085" y="272"/>
                    </a:lnTo>
                    <a:lnTo>
                      <a:pt x="1087" y="272"/>
                    </a:lnTo>
                    <a:lnTo>
                      <a:pt x="1087" y="270"/>
                    </a:lnTo>
                    <a:lnTo>
                      <a:pt x="1088" y="272"/>
                    </a:lnTo>
                    <a:lnTo>
                      <a:pt x="1090" y="272"/>
                    </a:lnTo>
                    <a:lnTo>
                      <a:pt x="1090" y="274"/>
                    </a:lnTo>
                    <a:lnTo>
                      <a:pt x="1092" y="274"/>
                    </a:lnTo>
                    <a:lnTo>
                      <a:pt x="1092" y="275"/>
                    </a:lnTo>
                    <a:lnTo>
                      <a:pt x="1094" y="275"/>
                    </a:lnTo>
                    <a:lnTo>
                      <a:pt x="1095" y="275"/>
                    </a:lnTo>
                    <a:lnTo>
                      <a:pt x="1095" y="277"/>
                    </a:lnTo>
                    <a:lnTo>
                      <a:pt x="1097" y="277"/>
                    </a:lnTo>
                    <a:lnTo>
                      <a:pt x="1097" y="275"/>
                    </a:lnTo>
                    <a:lnTo>
                      <a:pt x="1099" y="275"/>
                    </a:lnTo>
                    <a:lnTo>
                      <a:pt x="1099" y="277"/>
                    </a:lnTo>
                    <a:lnTo>
                      <a:pt x="1100" y="277"/>
                    </a:lnTo>
                    <a:lnTo>
                      <a:pt x="1100" y="275"/>
                    </a:lnTo>
                    <a:lnTo>
                      <a:pt x="1100" y="277"/>
                    </a:lnTo>
                    <a:lnTo>
                      <a:pt x="1102" y="277"/>
                    </a:lnTo>
                    <a:lnTo>
                      <a:pt x="1104" y="277"/>
                    </a:lnTo>
                    <a:lnTo>
                      <a:pt x="1104" y="275"/>
                    </a:lnTo>
                    <a:lnTo>
                      <a:pt x="1105" y="275"/>
                    </a:lnTo>
                    <a:lnTo>
                      <a:pt x="1107" y="275"/>
                    </a:lnTo>
                    <a:lnTo>
                      <a:pt x="1109" y="275"/>
                    </a:lnTo>
                    <a:lnTo>
                      <a:pt x="1111" y="275"/>
                    </a:lnTo>
                    <a:lnTo>
                      <a:pt x="1112" y="275"/>
                    </a:lnTo>
                    <a:lnTo>
                      <a:pt x="1114" y="275"/>
                    </a:lnTo>
                    <a:lnTo>
                      <a:pt x="1116" y="275"/>
                    </a:lnTo>
                    <a:lnTo>
                      <a:pt x="1117" y="275"/>
                    </a:lnTo>
                    <a:lnTo>
                      <a:pt x="1119" y="275"/>
                    </a:lnTo>
                    <a:lnTo>
                      <a:pt x="1121" y="275"/>
                    </a:lnTo>
                    <a:lnTo>
                      <a:pt x="1121" y="274"/>
                    </a:lnTo>
                    <a:lnTo>
                      <a:pt x="1122" y="274"/>
                    </a:lnTo>
                    <a:lnTo>
                      <a:pt x="1124" y="274"/>
                    </a:lnTo>
                    <a:lnTo>
                      <a:pt x="1126" y="274"/>
                    </a:lnTo>
                    <a:lnTo>
                      <a:pt x="1128" y="274"/>
                    </a:lnTo>
                    <a:lnTo>
                      <a:pt x="1129" y="274"/>
                    </a:lnTo>
                    <a:lnTo>
                      <a:pt x="1131" y="272"/>
                    </a:lnTo>
                    <a:lnTo>
                      <a:pt x="1133" y="272"/>
                    </a:lnTo>
                    <a:lnTo>
                      <a:pt x="1133" y="274"/>
                    </a:lnTo>
                    <a:lnTo>
                      <a:pt x="1134" y="274"/>
                    </a:lnTo>
                    <a:lnTo>
                      <a:pt x="1136" y="274"/>
                    </a:lnTo>
                    <a:lnTo>
                      <a:pt x="1136" y="272"/>
                    </a:lnTo>
                    <a:lnTo>
                      <a:pt x="1138" y="272"/>
                    </a:lnTo>
                    <a:lnTo>
                      <a:pt x="1138" y="274"/>
                    </a:lnTo>
                    <a:lnTo>
                      <a:pt x="1139" y="274"/>
                    </a:lnTo>
                    <a:lnTo>
                      <a:pt x="1141" y="274"/>
                    </a:lnTo>
                    <a:lnTo>
                      <a:pt x="1143" y="274"/>
                    </a:lnTo>
                    <a:lnTo>
                      <a:pt x="1145" y="274"/>
                    </a:lnTo>
                    <a:lnTo>
                      <a:pt x="1146" y="274"/>
                    </a:lnTo>
                    <a:lnTo>
                      <a:pt x="1148" y="274"/>
                    </a:lnTo>
                    <a:lnTo>
                      <a:pt x="1150" y="274"/>
                    </a:lnTo>
                    <a:lnTo>
                      <a:pt x="1150" y="275"/>
                    </a:lnTo>
                    <a:lnTo>
                      <a:pt x="1151" y="275"/>
                    </a:lnTo>
                    <a:lnTo>
                      <a:pt x="1150" y="275"/>
                    </a:lnTo>
                    <a:lnTo>
                      <a:pt x="1151" y="275"/>
                    </a:lnTo>
                    <a:lnTo>
                      <a:pt x="1153" y="275"/>
                    </a:lnTo>
                    <a:lnTo>
                      <a:pt x="1153" y="277"/>
                    </a:lnTo>
                    <a:lnTo>
                      <a:pt x="1155" y="277"/>
                    </a:lnTo>
                    <a:lnTo>
                      <a:pt x="1156" y="279"/>
                    </a:lnTo>
                    <a:lnTo>
                      <a:pt x="1158" y="279"/>
                    </a:lnTo>
                    <a:lnTo>
                      <a:pt x="1160" y="280"/>
                    </a:lnTo>
                    <a:lnTo>
                      <a:pt x="1162" y="280"/>
                    </a:lnTo>
                    <a:lnTo>
                      <a:pt x="1162" y="282"/>
                    </a:lnTo>
                    <a:lnTo>
                      <a:pt x="1163" y="282"/>
                    </a:lnTo>
                    <a:lnTo>
                      <a:pt x="1165" y="282"/>
                    </a:lnTo>
                    <a:lnTo>
                      <a:pt x="1165" y="284"/>
                    </a:lnTo>
                    <a:lnTo>
                      <a:pt x="1167" y="284"/>
                    </a:lnTo>
                    <a:lnTo>
                      <a:pt x="1168" y="285"/>
                    </a:lnTo>
                    <a:lnTo>
                      <a:pt x="1170" y="285"/>
                    </a:lnTo>
                    <a:lnTo>
                      <a:pt x="1172" y="285"/>
                    </a:lnTo>
                    <a:lnTo>
                      <a:pt x="1172" y="287"/>
                    </a:lnTo>
                    <a:lnTo>
                      <a:pt x="1173" y="287"/>
                    </a:lnTo>
                    <a:lnTo>
                      <a:pt x="1175" y="287"/>
                    </a:lnTo>
                    <a:lnTo>
                      <a:pt x="1175" y="289"/>
                    </a:lnTo>
                    <a:lnTo>
                      <a:pt x="1175" y="291"/>
                    </a:lnTo>
                    <a:lnTo>
                      <a:pt x="1177" y="291"/>
                    </a:lnTo>
                    <a:lnTo>
                      <a:pt x="1179" y="292"/>
                    </a:lnTo>
                    <a:lnTo>
                      <a:pt x="1180" y="294"/>
                    </a:lnTo>
                    <a:lnTo>
                      <a:pt x="1180" y="292"/>
                    </a:lnTo>
                    <a:lnTo>
                      <a:pt x="1182" y="292"/>
                    </a:lnTo>
                    <a:lnTo>
                      <a:pt x="1184" y="294"/>
                    </a:lnTo>
                    <a:lnTo>
                      <a:pt x="1184" y="296"/>
                    </a:lnTo>
                    <a:lnTo>
                      <a:pt x="1185" y="296"/>
                    </a:lnTo>
                    <a:lnTo>
                      <a:pt x="1185" y="297"/>
                    </a:lnTo>
                    <a:lnTo>
                      <a:pt x="1187" y="297"/>
                    </a:lnTo>
                    <a:lnTo>
                      <a:pt x="1189" y="297"/>
                    </a:lnTo>
                    <a:lnTo>
                      <a:pt x="1189" y="299"/>
                    </a:lnTo>
                    <a:lnTo>
                      <a:pt x="1190" y="301"/>
                    </a:lnTo>
                    <a:lnTo>
                      <a:pt x="1192" y="301"/>
                    </a:lnTo>
                    <a:lnTo>
                      <a:pt x="1192" y="302"/>
                    </a:lnTo>
                    <a:lnTo>
                      <a:pt x="1194" y="302"/>
                    </a:lnTo>
                    <a:lnTo>
                      <a:pt x="1196" y="302"/>
                    </a:lnTo>
                    <a:lnTo>
                      <a:pt x="1197" y="304"/>
                    </a:lnTo>
                    <a:lnTo>
                      <a:pt x="1199" y="304"/>
                    </a:lnTo>
                    <a:lnTo>
                      <a:pt x="1199" y="302"/>
                    </a:lnTo>
                    <a:lnTo>
                      <a:pt x="1199" y="304"/>
                    </a:lnTo>
                    <a:lnTo>
                      <a:pt x="1201" y="304"/>
                    </a:lnTo>
                    <a:lnTo>
                      <a:pt x="1201" y="306"/>
                    </a:lnTo>
                    <a:lnTo>
                      <a:pt x="1202" y="308"/>
                    </a:lnTo>
                    <a:lnTo>
                      <a:pt x="1202" y="309"/>
                    </a:lnTo>
                    <a:lnTo>
                      <a:pt x="1204" y="309"/>
                    </a:lnTo>
                    <a:lnTo>
                      <a:pt x="1204" y="311"/>
                    </a:lnTo>
                    <a:lnTo>
                      <a:pt x="1206" y="311"/>
                    </a:lnTo>
                    <a:lnTo>
                      <a:pt x="1207" y="313"/>
                    </a:lnTo>
                    <a:lnTo>
                      <a:pt x="1209" y="314"/>
                    </a:lnTo>
                    <a:lnTo>
                      <a:pt x="1209" y="316"/>
                    </a:lnTo>
                    <a:lnTo>
                      <a:pt x="1211" y="316"/>
                    </a:lnTo>
                    <a:lnTo>
                      <a:pt x="1211" y="318"/>
                    </a:lnTo>
                    <a:lnTo>
                      <a:pt x="1213" y="319"/>
                    </a:lnTo>
                    <a:lnTo>
                      <a:pt x="1214" y="321"/>
                    </a:lnTo>
                    <a:lnTo>
                      <a:pt x="1216" y="321"/>
                    </a:lnTo>
                    <a:lnTo>
                      <a:pt x="1216" y="323"/>
                    </a:lnTo>
                    <a:lnTo>
                      <a:pt x="1218" y="323"/>
                    </a:lnTo>
                    <a:lnTo>
                      <a:pt x="1218" y="325"/>
                    </a:lnTo>
                    <a:lnTo>
                      <a:pt x="1219" y="326"/>
                    </a:lnTo>
                    <a:lnTo>
                      <a:pt x="1221" y="326"/>
                    </a:lnTo>
                    <a:lnTo>
                      <a:pt x="1223" y="326"/>
                    </a:lnTo>
                    <a:lnTo>
                      <a:pt x="1223" y="328"/>
                    </a:lnTo>
                    <a:lnTo>
                      <a:pt x="1224" y="328"/>
                    </a:lnTo>
                    <a:lnTo>
                      <a:pt x="1224" y="330"/>
                    </a:lnTo>
                    <a:lnTo>
                      <a:pt x="1224" y="331"/>
                    </a:lnTo>
                    <a:lnTo>
                      <a:pt x="1226" y="331"/>
                    </a:lnTo>
                    <a:lnTo>
                      <a:pt x="1228" y="333"/>
                    </a:lnTo>
                    <a:lnTo>
                      <a:pt x="1230" y="335"/>
                    </a:lnTo>
                    <a:lnTo>
                      <a:pt x="1231" y="335"/>
                    </a:lnTo>
                    <a:lnTo>
                      <a:pt x="1233" y="335"/>
                    </a:lnTo>
                    <a:lnTo>
                      <a:pt x="1235" y="335"/>
                    </a:lnTo>
                    <a:lnTo>
                      <a:pt x="1235" y="337"/>
                    </a:lnTo>
                    <a:lnTo>
                      <a:pt x="1236" y="337"/>
                    </a:lnTo>
                    <a:lnTo>
                      <a:pt x="1238" y="337"/>
                    </a:lnTo>
                    <a:lnTo>
                      <a:pt x="1238" y="338"/>
                    </a:lnTo>
                    <a:lnTo>
                      <a:pt x="1240" y="338"/>
                    </a:lnTo>
                    <a:lnTo>
                      <a:pt x="1240" y="340"/>
                    </a:lnTo>
                    <a:lnTo>
                      <a:pt x="1240" y="342"/>
                    </a:lnTo>
                    <a:lnTo>
                      <a:pt x="1241" y="342"/>
                    </a:lnTo>
                    <a:lnTo>
                      <a:pt x="1241" y="343"/>
                    </a:lnTo>
                    <a:lnTo>
                      <a:pt x="1243" y="343"/>
                    </a:lnTo>
                    <a:lnTo>
                      <a:pt x="1243" y="345"/>
                    </a:lnTo>
                    <a:lnTo>
                      <a:pt x="1245" y="345"/>
                    </a:lnTo>
                    <a:lnTo>
                      <a:pt x="1247" y="345"/>
                    </a:lnTo>
                    <a:lnTo>
                      <a:pt x="1248" y="345"/>
                    </a:lnTo>
                    <a:lnTo>
                      <a:pt x="1250" y="345"/>
                    </a:lnTo>
                    <a:lnTo>
                      <a:pt x="1252" y="345"/>
                    </a:lnTo>
                    <a:lnTo>
                      <a:pt x="1253" y="345"/>
                    </a:lnTo>
                    <a:lnTo>
                      <a:pt x="1253" y="347"/>
                    </a:lnTo>
                    <a:lnTo>
                      <a:pt x="1255" y="347"/>
                    </a:lnTo>
                    <a:lnTo>
                      <a:pt x="1255" y="348"/>
                    </a:lnTo>
                    <a:lnTo>
                      <a:pt x="1257" y="348"/>
                    </a:lnTo>
                    <a:lnTo>
                      <a:pt x="1258" y="348"/>
                    </a:lnTo>
                    <a:lnTo>
                      <a:pt x="1258" y="350"/>
                    </a:lnTo>
                    <a:lnTo>
                      <a:pt x="1260" y="350"/>
                    </a:lnTo>
                    <a:lnTo>
                      <a:pt x="1262" y="350"/>
                    </a:lnTo>
                    <a:lnTo>
                      <a:pt x="1264" y="350"/>
                    </a:lnTo>
                    <a:lnTo>
                      <a:pt x="1262" y="350"/>
                    </a:lnTo>
                    <a:lnTo>
                      <a:pt x="1264" y="350"/>
                    </a:lnTo>
                    <a:lnTo>
                      <a:pt x="1265" y="350"/>
                    </a:lnTo>
                    <a:lnTo>
                      <a:pt x="1267" y="350"/>
                    </a:lnTo>
                    <a:lnTo>
                      <a:pt x="1267" y="348"/>
                    </a:lnTo>
                    <a:lnTo>
                      <a:pt x="1269" y="350"/>
                    </a:lnTo>
                    <a:lnTo>
                      <a:pt x="1270" y="350"/>
                    </a:lnTo>
                    <a:lnTo>
                      <a:pt x="1272" y="350"/>
                    </a:lnTo>
                    <a:lnTo>
                      <a:pt x="1274" y="350"/>
                    </a:lnTo>
                    <a:lnTo>
                      <a:pt x="1275" y="350"/>
                    </a:lnTo>
                    <a:lnTo>
                      <a:pt x="1277" y="350"/>
                    </a:lnTo>
                    <a:lnTo>
                      <a:pt x="1279" y="350"/>
                    </a:lnTo>
                    <a:lnTo>
                      <a:pt x="1281" y="348"/>
                    </a:lnTo>
                    <a:lnTo>
                      <a:pt x="1282" y="348"/>
                    </a:lnTo>
                    <a:lnTo>
                      <a:pt x="1284" y="348"/>
                    </a:lnTo>
                    <a:lnTo>
                      <a:pt x="1286" y="348"/>
                    </a:lnTo>
                    <a:lnTo>
                      <a:pt x="1287" y="348"/>
                    </a:lnTo>
                    <a:lnTo>
                      <a:pt x="1289" y="350"/>
                    </a:lnTo>
                    <a:lnTo>
                      <a:pt x="1291" y="350"/>
                    </a:lnTo>
                    <a:lnTo>
                      <a:pt x="1292" y="350"/>
                    </a:lnTo>
                    <a:lnTo>
                      <a:pt x="1294" y="350"/>
                    </a:lnTo>
                    <a:lnTo>
                      <a:pt x="1294" y="352"/>
                    </a:lnTo>
                    <a:lnTo>
                      <a:pt x="1296" y="350"/>
                    </a:lnTo>
                    <a:lnTo>
                      <a:pt x="1296" y="352"/>
                    </a:lnTo>
                    <a:lnTo>
                      <a:pt x="1298" y="352"/>
                    </a:lnTo>
                    <a:lnTo>
                      <a:pt x="1299" y="352"/>
                    </a:lnTo>
                    <a:lnTo>
                      <a:pt x="1301" y="352"/>
                    </a:lnTo>
                    <a:lnTo>
                      <a:pt x="1301" y="354"/>
                    </a:lnTo>
                    <a:lnTo>
                      <a:pt x="1303" y="354"/>
                    </a:lnTo>
                    <a:lnTo>
                      <a:pt x="1303" y="355"/>
                    </a:lnTo>
                    <a:lnTo>
                      <a:pt x="1304" y="357"/>
                    </a:lnTo>
                    <a:lnTo>
                      <a:pt x="1304" y="359"/>
                    </a:lnTo>
                    <a:lnTo>
                      <a:pt x="1306" y="360"/>
                    </a:lnTo>
                    <a:lnTo>
                      <a:pt x="1306" y="362"/>
                    </a:lnTo>
                    <a:lnTo>
                      <a:pt x="1308" y="364"/>
                    </a:lnTo>
                    <a:lnTo>
                      <a:pt x="1308" y="365"/>
                    </a:lnTo>
                    <a:lnTo>
                      <a:pt x="1308" y="367"/>
                    </a:lnTo>
                    <a:lnTo>
                      <a:pt x="1309" y="367"/>
                    </a:lnTo>
                    <a:lnTo>
                      <a:pt x="1309" y="369"/>
                    </a:lnTo>
                    <a:lnTo>
                      <a:pt x="1309" y="371"/>
                    </a:lnTo>
                    <a:lnTo>
                      <a:pt x="1309" y="372"/>
                    </a:lnTo>
                    <a:lnTo>
                      <a:pt x="1309" y="374"/>
                    </a:lnTo>
                    <a:lnTo>
                      <a:pt x="1311" y="374"/>
                    </a:lnTo>
                    <a:lnTo>
                      <a:pt x="1311" y="376"/>
                    </a:lnTo>
                    <a:lnTo>
                      <a:pt x="1311" y="377"/>
                    </a:lnTo>
                    <a:lnTo>
                      <a:pt x="1311" y="379"/>
                    </a:lnTo>
                    <a:lnTo>
                      <a:pt x="1313" y="379"/>
                    </a:lnTo>
                    <a:lnTo>
                      <a:pt x="1313" y="381"/>
                    </a:lnTo>
                    <a:lnTo>
                      <a:pt x="1313" y="382"/>
                    </a:lnTo>
                    <a:lnTo>
                      <a:pt x="1313" y="384"/>
                    </a:lnTo>
                    <a:lnTo>
                      <a:pt x="1313" y="386"/>
                    </a:lnTo>
                    <a:lnTo>
                      <a:pt x="1313" y="388"/>
                    </a:lnTo>
                    <a:lnTo>
                      <a:pt x="1315" y="388"/>
                    </a:lnTo>
                    <a:lnTo>
                      <a:pt x="1315" y="389"/>
                    </a:lnTo>
                    <a:lnTo>
                      <a:pt x="1315" y="391"/>
                    </a:lnTo>
                    <a:lnTo>
                      <a:pt x="1316" y="391"/>
                    </a:lnTo>
                    <a:lnTo>
                      <a:pt x="1315" y="391"/>
                    </a:lnTo>
                    <a:lnTo>
                      <a:pt x="1316" y="393"/>
                    </a:lnTo>
                    <a:lnTo>
                      <a:pt x="1316" y="394"/>
                    </a:lnTo>
                    <a:lnTo>
                      <a:pt x="1318" y="394"/>
                    </a:lnTo>
                    <a:lnTo>
                      <a:pt x="1318" y="396"/>
                    </a:lnTo>
                    <a:lnTo>
                      <a:pt x="1318" y="398"/>
                    </a:lnTo>
                    <a:lnTo>
                      <a:pt x="1318" y="399"/>
                    </a:lnTo>
                    <a:lnTo>
                      <a:pt x="1318" y="401"/>
                    </a:lnTo>
                    <a:lnTo>
                      <a:pt x="1318" y="403"/>
                    </a:lnTo>
                    <a:lnTo>
                      <a:pt x="1318" y="405"/>
                    </a:lnTo>
                    <a:lnTo>
                      <a:pt x="1320" y="405"/>
                    </a:lnTo>
                    <a:lnTo>
                      <a:pt x="1318" y="405"/>
                    </a:lnTo>
                    <a:lnTo>
                      <a:pt x="1320" y="405"/>
                    </a:lnTo>
                    <a:lnTo>
                      <a:pt x="1318" y="406"/>
                    </a:lnTo>
                    <a:lnTo>
                      <a:pt x="1320" y="406"/>
                    </a:lnTo>
                    <a:lnTo>
                      <a:pt x="1318" y="406"/>
                    </a:lnTo>
                    <a:lnTo>
                      <a:pt x="1320" y="406"/>
                    </a:lnTo>
                    <a:lnTo>
                      <a:pt x="1320" y="408"/>
                    </a:lnTo>
                    <a:lnTo>
                      <a:pt x="1320" y="410"/>
                    </a:lnTo>
                    <a:lnTo>
                      <a:pt x="1320" y="411"/>
                    </a:lnTo>
                    <a:lnTo>
                      <a:pt x="1321" y="411"/>
                    </a:lnTo>
                    <a:lnTo>
                      <a:pt x="1321" y="413"/>
                    </a:lnTo>
                    <a:lnTo>
                      <a:pt x="1323" y="413"/>
                    </a:lnTo>
                    <a:lnTo>
                      <a:pt x="1323" y="415"/>
                    </a:lnTo>
                    <a:lnTo>
                      <a:pt x="1323" y="416"/>
                    </a:lnTo>
                    <a:lnTo>
                      <a:pt x="1321" y="416"/>
                    </a:lnTo>
                    <a:lnTo>
                      <a:pt x="1323" y="418"/>
                    </a:lnTo>
                    <a:lnTo>
                      <a:pt x="1321" y="418"/>
                    </a:lnTo>
                    <a:lnTo>
                      <a:pt x="1323" y="418"/>
                    </a:lnTo>
                    <a:lnTo>
                      <a:pt x="1323" y="420"/>
                    </a:lnTo>
                    <a:lnTo>
                      <a:pt x="1323" y="422"/>
                    </a:lnTo>
                    <a:lnTo>
                      <a:pt x="1323" y="423"/>
                    </a:lnTo>
                    <a:lnTo>
                      <a:pt x="1323" y="425"/>
                    </a:lnTo>
                    <a:lnTo>
                      <a:pt x="1323" y="427"/>
                    </a:lnTo>
                    <a:lnTo>
                      <a:pt x="1323" y="428"/>
                    </a:lnTo>
                    <a:lnTo>
                      <a:pt x="1323" y="430"/>
                    </a:lnTo>
                    <a:lnTo>
                      <a:pt x="1323" y="432"/>
                    </a:lnTo>
                    <a:lnTo>
                      <a:pt x="1323" y="433"/>
                    </a:lnTo>
                    <a:lnTo>
                      <a:pt x="1321" y="433"/>
                    </a:lnTo>
                    <a:lnTo>
                      <a:pt x="1323" y="435"/>
                    </a:lnTo>
                    <a:lnTo>
                      <a:pt x="1323" y="437"/>
                    </a:lnTo>
                    <a:lnTo>
                      <a:pt x="1323" y="439"/>
                    </a:lnTo>
                    <a:lnTo>
                      <a:pt x="1321" y="439"/>
                    </a:lnTo>
                    <a:lnTo>
                      <a:pt x="1323" y="439"/>
                    </a:lnTo>
                    <a:lnTo>
                      <a:pt x="1321" y="439"/>
                    </a:lnTo>
                    <a:lnTo>
                      <a:pt x="1323" y="440"/>
                    </a:lnTo>
                    <a:lnTo>
                      <a:pt x="1321" y="442"/>
                    </a:lnTo>
                    <a:lnTo>
                      <a:pt x="1321" y="444"/>
                    </a:lnTo>
                    <a:lnTo>
                      <a:pt x="1323" y="445"/>
                    </a:lnTo>
                    <a:lnTo>
                      <a:pt x="1323" y="447"/>
                    </a:lnTo>
                    <a:lnTo>
                      <a:pt x="1321" y="449"/>
                    </a:lnTo>
                    <a:lnTo>
                      <a:pt x="1321" y="450"/>
                    </a:lnTo>
                    <a:lnTo>
                      <a:pt x="1320" y="452"/>
                    </a:lnTo>
                    <a:lnTo>
                      <a:pt x="1321" y="452"/>
                    </a:lnTo>
                    <a:lnTo>
                      <a:pt x="1320" y="452"/>
                    </a:lnTo>
                    <a:lnTo>
                      <a:pt x="1320" y="454"/>
                    </a:lnTo>
                    <a:lnTo>
                      <a:pt x="1320" y="456"/>
                    </a:lnTo>
                    <a:lnTo>
                      <a:pt x="1320" y="457"/>
                    </a:lnTo>
                    <a:lnTo>
                      <a:pt x="1318" y="457"/>
                    </a:lnTo>
                    <a:lnTo>
                      <a:pt x="1318" y="459"/>
                    </a:lnTo>
                    <a:lnTo>
                      <a:pt x="1318" y="461"/>
                    </a:lnTo>
                    <a:lnTo>
                      <a:pt x="1318" y="462"/>
                    </a:lnTo>
                    <a:lnTo>
                      <a:pt x="1318" y="464"/>
                    </a:lnTo>
                    <a:lnTo>
                      <a:pt x="1316" y="464"/>
                    </a:lnTo>
                    <a:lnTo>
                      <a:pt x="1316" y="466"/>
                    </a:lnTo>
                    <a:lnTo>
                      <a:pt x="1316" y="467"/>
                    </a:lnTo>
                    <a:lnTo>
                      <a:pt x="1315" y="469"/>
                    </a:lnTo>
                    <a:lnTo>
                      <a:pt x="1315" y="471"/>
                    </a:lnTo>
                    <a:lnTo>
                      <a:pt x="1315" y="473"/>
                    </a:lnTo>
                    <a:lnTo>
                      <a:pt x="1313" y="473"/>
                    </a:lnTo>
                    <a:lnTo>
                      <a:pt x="1315" y="473"/>
                    </a:lnTo>
                    <a:lnTo>
                      <a:pt x="1313" y="474"/>
                    </a:lnTo>
                    <a:lnTo>
                      <a:pt x="1313" y="476"/>
                    </a:lnTo>
                    <a:lnTo>
                      <a:pt x="1313" y="478"/>
                    </a:lnTo>
                    <a:lnTo>
                      <a:pt x="1311" y="478"/>
                    </a:lnTo>
                    <a:lnTo>
                      <a:pt x="1313" y="478"/>
                    </a:lnTo>
                    <a:lnTo>
                      <a:pt x="1311" y="479"/>
                    </a:lnTo>
                    <a:lnTo>
                      <a:pt x="1311" y="481"/>
                    </a:lnTo>
                    <a:lnTo>
                      <a:pt x="1311" y="483"/>
                    </a:lnTo>
                    <a:lnTo>
                      <a:pt x="1309" y="483"/>
                    </a:lnTo>
                    <a:lnTo>
                      <a:pt x="1309" y="485"/>
                    </a:lnTo>
                    <a:lnTo>
                      <a:pt x="1308" y="485"/>
                    </a:lnTo>
                    <a:lnTo>
                      <a:pt x="1308" y="486"/>
                    </a:lnTo>
                    <a:lnTo>
                      <a:pt x="1308" y="488"/>
                    </a:lnTo>
                    <a:lnTo>
                      <a:pt x="1306" y="488"/>
                    </a:lnTo>
                    <a:lnTo>
                      <a:pt x="1306" y="490"/>
                    </a:lnTo>
                    <a:lnTo>
                      <a:pt x="1306" y="491"/>
                    </a:lnTo>
                    <a:lnTo>
                      <a:pt x="1304" y="491"/>
                    </a:lnTo>
                    <a:lnTo>
                      <a:pt x="1304" y="493"/>
                    </a:lnTo>
                    <a:lnTo>
                      <a:pt x="1303" y="493"/>
                    </a:lnTo>
                    <a:lnTo>
                      <a:pt x="1303" y="495"/>
                    </a:lnTo>
                    <a:lnTo>
                      <a:pt x="1301" y="495"/>
                    </a:lnTo>
                    <a:lnTo>
                      <a:pt x="1301" y="496"/>
                    </a:lnTo>
                    <a:lnTo>
                      <a:pt x="1299" y="496"/>
                    </a:lnTo>
                    <a:lnTo>
                      <a:pt x="1299" y="498"/>
                    </a:lnTo>
                    <a:lnTo>
                      <a:pt x="1298" y="500"/>
                    </a:lnTo>
                    <a:lnTo>
                      <a:pt x="1296" y="500"/>
                    </a:lnTo>
                    <a:lnTo>
                      <a:pt x="1296" y="502"/>
                    </a:lnTo>
                    <a:lnTo>
                      <a:pt x="1294" y="502"/>
                    </a:lnTo>
                    <a:lnTo>
                      <a:pt x="1294" y="503"/>
                    </a:lnTo>
                    <a:lnTo>
                      <a:pt x="1292" y="505"/>
                    </a:lnTo>
                    <a:lnTo>
                      <a:pt x="1292" y="507"/>
                    </a:lnTo>
                    <a:lnTo>
                      <a:pt x="1291" y="507"/>
                    </a:lnTo>
                    <a:lnTo>
                      <a:pt x="1289" y="507"/>
                    </a:lnTo>
                    <a:lnTo>
                      <a:pt x="1289" y="508"/>
                    </a:lnTo>
                    <a:lnTo>
                      <a:pt x="1289" y="510"/>
                    </a:lnTo>
                    <a:lnTo>
                      <a:pt x="1287" y="510"/>
                    </a:lnTo>
                    <a:lnTo>
                      <a:pt x="1287" y="512"/>
                    </a:lnTo>
                    <a:lnTo>
                      <a:pt x="1286" y="512"/>
                    </a:lnTo>
                    <a:lnTo>
                      <a:pt x="1286" y="513"/>
                    </a:lnTo>
                    <a:lnTo>
                      <a:pt x="1284" y="513"/>
                    </a:lnTo>
                    <a:lnTo>
                      <a:pt x="1284" y="515"/>
                    </a:lnTo>
                    <a:lnTo>
                      <a:pt x="1284" y="517"/>
                    </a:lnTo>
                    <a:lnTo>
                      <a:pt x="1282" y="517"/>
                    </a:lnTo>
                    <a:lnTo>
                      <a:pt x="1282" y="519"/>
                    </a:lnTo>
                    <a:lnTo>
                      <a:pt x="1281" y="520"/>
                    </a:lnTo>
                    <a:lnTo>
                      <a:pt x="1279" y="520"/>
                    </a:lnTo>
                    <a:lnTo>
                      <a:pt x="1279" y="522"/>
                    </a:lnTo>
                    <a:lnTo>
                      <a:pt x="1279" y="524"/>
                    </a:lnTo>
                    <a:lnTo>
                      <a:pt x="1277" y="522"/>
                    </a:lnTo>
                    <a:lnTo>
                      <a:pt x="1277" y="524"/>
                    </a:lnTo>
                    <a:lnTo>
                      <a:pt x="1275" y="524"/>
                    </a:lnTo>
                    <a:lnTo>
                      <a:pt x="1275" y="525"/>
                    </a:lnTo>
                    <a:lnTo>
                      <a:pt x="1274" y="525"/>
                    </a:lnTo>
                    <a:lnTo>
                      <a:pt x="1274" y="527"/>
                    </a:lnTo>
                    <a:lnTo>
                      <a:pt x="1272" y="527"/>
                    </a:lnTo>
                    <a:lnTo>
                      <a:pt x="1272" y="529"/>
                    </a:lnTo>
                    <a:lnTo>
                      <a:pt x="1272" y="530"/>
                    </a:lnTo>
                    <a:lnTo>
                      <a:pt x="1270" y="532"/>
                    </a:lnTo>
                    <a:lnTo>
                      <a:pt x="1270" y="534"/>
                    </a:lnTo>
                    <a:lnTo>
                      <a:pt x="1269" y="534"/>
                    </a:lnTo>
                    <a:lnTo>
                      <a:pt x="1269" y="536"/>
                    </a:lnTo>
                    <a:lnTo>
                      <a:pt x="1267" y="536"/>
                    </a:lnTo>
                    <a:lnTo>
                      <a:pt x="1265" y="536"/>
                    </a:lnTo>
                    <a:lnTo>
                      <a:pt x="1264" y="537"/>
                    </a:lnTo>
                    <a:lnTo>
                      <a:pt x="1262" y="537"/>
                    </a:lnTo>
                    <a:lnTo>
                      <a:pt x="1260" y="539"/>
                    </a:lnTo>
                    <a:lnTo>
                      <a:pt x="1258" y="539"/>
                    </a:lnTo>
                    <a:lnTo>
                      <a:pt x="1258" y="541"/>
                    </a:lnTo>
                    <a:lnTo>
                      <a:pt x="1257" y="541"/>
                    </a:lnTo>
                    <a:lnTo>
                      <a:pt x="1255" y="541"/>
                    </a:lnTo>
                    <a:lnTo>
                      <a:pt x="1255" y="542"/>
                    </a:lnTo>
                    <a:lnTo>
                      <a:pt x="1253" y="542"/>
                    </a:lnTo>
                    <a:lnTo>
                      <a:pt x="1253" y="544"/>
                    </a:lnTo>
                    <a:lnTo>
                      <a:pt x="1252" y="546"/>
                    </a:lnTo>
                    <a:lnTo>
                      <a:pt x="1250" y="547"/>
                    </a:lnTo>
                    <a:lnTo>
                      <a:pt x="1248" y="549"/>
                    </a:lnTo>
                    <a:lnTo>
                      <a:pt x="1248" y="551"/>
                    </a:lnTo>
                    <a:lnTo>
                      <a:pt x="1248" y="549"/>
                    </a:lnTo>
                    <a:lnTo>
                      <a:pt x="1248" y="551"/>
                    </a:lnTo>
                    <a:lnTo>
                      <a:pt x="1247" y="551"/>
                    </a:lnTo>
                    <a:lnTo>
                      <a:pt x="1247" y="553"/>
                    </a:lnTo>
                    <a:lnTo>
                      <a:pt x="1245" y="554"/>
                    </a:lnTo>
                    <a:lnTo>
                      <a:pt x="1245" y="556"/>
                    </a:lnTo>
                    <a:lnTo>
                      <a:pt x="1243" y="556"/>
                    </a:lnTo>
                    <a:lnTo>
                      <a:pt x="1243" y="558"/>
                    </a:lnTo>
                    <a:lnTo>
                      <a:pt x="1243" y="559"/>
                    </a:lnTo>
                    <a:lnTo>
                      <a:pt x="1241" y="559"/>
                    </a:lnTo>
                    <a:lnTo>
                      <a:pt x="1241" y="561"/>
                    </a:lnTo>
                    <a:lnTo>
                      <a:pt x="1240" y="561"/>
                    </a:lnTo>
                    <a:lnTo>
                      <a:pt x="1240" y="563"/>
                    </a:lnTo>
                    <a:lnTo>
                      <a:pt x="1238" y="564"/>
                    </a:lnTo>
                    <a:lnTo>
                      <a:pt x="1238" y="566"/>
                    </a:lnTo>
                    <a:lnTo>
                      <a:pt x="1236" y="566"/>
                    </a:lnTo>
                    <a:lnTo>
                      <a:pt x="1238" y="568"/>
                    </a:lnTo>
                    <a:lnTo>
                      <a:pt x="1236" y="568"/>
                    </a:lnTo>
                    <a:lnTo>
                      <a:pt x="1236" y="570"/>
                    </a:lnTo>
                    <a:lnTo>
                      <a:pt x="1235" y="571"/>
                    </a:lnTo>
                    <a:lnTo>
                      <a:pt x="1233" y="573"/>
                    </a:lnTo>
                    <a:lnTo>
                      <a:pt x="1233" y="575"/>
                    </a:lnTo>
                    <a:lnTo>
                      <a:pt x="1233" y="576"/>
                    </a:lnTo>
                    <a:lnTo>
                      <a:pt x="1231" y="576"/>
                    </a:lnTo>
                    <a:lnTo>
                      <a:pt x="1231" y="578"/>
                    </a:lnTo>
                    <a:lnTo>
                      <a:pt x="1231" y="580"/>
                    </a:lnTo>
                    <a:lnTo>
                      <a:pt x="1230" y="581"/>
                    </a:lnTo>
                    <a:lnTo>
                      <a:pt x="1230" y="583"/>
                    </a:lnTo>
                    <a:lnTo>
                      <a:pt x="1228" y="585"/>
                    </a:lnTo>
                    <a:lnTo>
                      <a:pt x="1228" y="587"/>
                    </a:lnTo>
                    <a:lnTo>
                      <a:pt x="1226" y="588"/>
                    </a:lnTo>
                    <a:lnTo>
                      <a:pt x="1226" y="590"/>
                    </a:lnTo>
                    <a:lnTo>
                      <a:pt x="1224" y="592"/>
                    </a:lnTo>
                    <a:lnTo>
                      <a:pt x="1223" y="593"/>
                    </a:lnTo>
                    <a:lnTo>
                      <a:pt x="1223" y="595"/>
                    </a:lnTo>
                    <a:lnTo>
                      <a:pt x="1221" y="597"/>
                    </a:lnTo>
                    <a:lnTo>
                      <a:pt x="1221" y="598"/>
                    </a:lnTo>
                    <a:lnTo>
                      <a:pt x="1219" y="598"/>
                    </a:lnTo>
                    <a:lnTo>
                      <a:pt x="1219" y="600"/>
                    </a:lnTo>
                    <a:lnTo>
                      <a:pt x="1218" y="600"/>
                    </a:lnTo>
                    <a:lnTo>
                      <a:pt x="1218" y="602"/>
                    </a:lnTo>
                    <a:lnTo>
                      <a:pt x="1218" y="604"/>
                    </a:lnTo>
                    <a:lnTo>
                      <a:pt x="1216" y="604"/>
                    </a:lnTo>
                    <a:lnTo>
                      <a:pt x="1216" y="605"/>
                    </a:lnTo>
                    <a:lnTo>
                      <a:pt x="1214" y="607"/>
                    </a:lnTo>
                    <a:lnTo>
                      <a:pt x="1214" y="609"/>
                    </a:lnTo>
                    <a:lnTo>
                      <a:pt x="1213" y="609"/>
                    </a:lnTo>
                    <a:lnTo>
                      <a:pt x="1213" y="610"/>
                    </a:lnTo>
                    <a:lnTo>
                      <a:pt x="1211" y="610"/>
                    </a:lnTo>
                    <a:lnTo>
                      <a:pt x="1211" y="612"/>
                    </a:lnTo>
                    <a:lnTo>
                      <a:pt x="1209" y="612"/>
                    </a:lnTo>
                    <a:lnTo>
                      <a:pt x="1209" y="614"/>
                    </a:lnTo>
                    <a:lnTo>
                      <a:pt x="1207" y="614"/>
                    </a:lnTo>
                    <a:lnTo>
                      <a:pt x="1207" y="615"/>
                    </a:lnTo>
                    <a:lnTo>
                      <a:pt x="1206" y="615"/>
                    </a:lnTo>
                    <a:lnTo>
                      <a:pt x="1206" y="617"/>
                    </a:lnTo>
                    <a:lnTo>
                      <a:pt x="1204" y="617"/>
                    </a:lnTo>
                    <a:lnTo>
                      <a:pt x="1204" y="619"/>
                    </a:lnTo>
                    <a:lnTo>
                      <a:pt x="1202" y="619"/>
                    </a:lnTo>
                    <a:lnTo>
                      <a:pt x="1201" y="621"/>
                    </a:lnTo>
                    <a:lnTo>
                      <a:pt x="1199" y="621"/>
                    </a:lnTo>
                    <a:lnTo>
                      <a:pt x="1197" y="621"/>
                    </a:lnTo>
                    <a:lnTo>
                      <a:pt x="1199" y="619"/>
                    </a:lnTo>
                    <a:lnTo>
                      <a:pt x="1197" y="619"/>
                    </a:lnTo>
                    <a:lnTo>
                      <a:pt x="1199" y="617"/>
                    </a:lnTo>
                    <a:lnTo>
                      <a:pt x="1199" y="619"/>
                    </a:lnTo>
                    <a:lnTo>
                      <a:pt x="1199" y="617"/>
                    </a:lnTo>
                    <a:lnTo>
                      <a:pt x="1199" y="615"/>
                    </a:lnTo>
                    <a:lnTo>
                      <a:pt x="1199" y="614"/>
                    </a:lnTo>
                    <a:lnTo>
                      <a:pt x="1201" y="614"/>
                    </a:lnTo>
                    <a:lnTo>
                      <a:pt x="1201" y="612"/>
                    </a:lnTo>
                    <a:lnTo>
                      <a:pt x="1201" y="614"/>
                    </a:lnTo>
                    <a:lnTo>
                      <a:pt x="1201" y="612"/>
                    </a:lnTo>
                    <a:lnTo>
                      <a:pt x="1199" y="614"/>
                    </a:lnTo>
                    <a:lnTo>
                      <a:pt x="1199" y="612"/>
                    </a:lnTo>
                    <a:lnTo>
                      <a:pt x="1199" y="614"/>
                    </a:lnTo>
                    <a:lnTo>
                      <a:pt x="1199" y="612"/>
                    </a:lnTo>
                    <a:lnTo>
                      <a:pt x="1197" y="612"/>
                    </a:lnTo>
                    <a:lnTo>
                      <a:pt x="1197" y="610"/>
                    </a:lnTo>
                    <a:lnTo>
                      <a:pt x="1196" y="610"/>
                    </a:lnTo>
                    <a:lnTo>
                      <a:pt x="1196" y="612"/>
                    </a:lnTo>
                    <a:lnTo>
                      <a:pt x="1194" y="610"/>
                    </a:lnTo>
                    <a:lnTo>
                      <a:pt x="1194" y="609"/>
                    </a:lnTo>
                    <a:lnTo>
                      <a:pt x="1194" y="610"/>
                    </a:lnTo>
                    <a:lnTo>
                      <a:pt x="1194" y="609"/>
                    </a:lnTo>
                    <a:lnTo>
                      <a:pt x="1192" y="609"/>
                    </a:lnTo>
                    <a:lnTo>
                      <a:pt x="1192" y="607"/>
                    </a:lnTo>
                    <a:lnTo>
                      <a:pt x="1192" y="609"/>
                    </a:lnTo>
                    <a:lnTo>
                      <a:pt x="1190" y="609"/>
                    </a:lnTo>
                    <a:lnTo>
                      <a:pt x="1190" y="607"/>
                    </a:lnTo>
                    <a:lnTo>
                      <a:pt x="1190" y="609"/>
                    </a:lnTo>
                    <a:lnTo>
                      <a:pt x="1190" y="610"/>
                    </a:lnTo>
                    <a:lnTo>
                      <a:pt x="1190" y="612"/>
                    </a:lnTo>
                    <a:lnTo>
                      <a:pt x="1189" y="614"/>
                    </a:lnTo>
                    <a:lnTo>
                      <a:pt x="1189" y="615"/>
                    </a:lnTo>
                    <a:lnTo>
                      <a:pt x="1187" y="615"/>
                    </a:lnTo>
                    <a:lnTo>
                      <a:pt x="1187" y="614"/>
                    </a:lnTo>
                    <a:lnTo>
                      <a:pt x="1185" y="612"/>
                    </a:lnTo>
                    <a:lnTo>
                      <a:pt x="1185" y="610"/>
                    </a:lnTo>
                    <a:lnTo>
                      <a:pt x="1187" y="610"/>
                    </a:lnTo>
                    <a:lnTo>
                      <a:pt x="1187" y="609"/>
                    </a:lnTo>
                    <a:lnTo>
                      <a:pt x="1185" y="609"/>
                    </a:lnTo>
                    <a:lnTo>
                      <a:pt x="1187" y="609"/>
                    </a:lnTo>
                    <a:lnTo>
                      <a:pt x="1185" y="610"/>
                    </a:lnTo>
                    <a:lnTo>
                      <a:pt x="1185" y="609"/>
                    </a:lnTo>
                    <a:lnTo>
                      <a:pt x="1185" y="610"/>
                    </a:lnTo>
                    <a:lnTo>
                      <a:pt x="1184" y="612"/>
                    </a:lnTo>
                    <a:lnTo>
                      <a:pt x="1185" y="612"/>
                    </a:lnTo>
                    <a:lnTo>
                      <a:pt x="1185" y="614"/>
                    </a:lnTo>
                    <a:lnTo>
                      <a:pt x="1184" y="614"/>
                    </a:lnTo>
                    <a:lnTo>
                      <a:pt x="1185" y="614"/>
                    </a:lnTo>
                    <a:lnTo>
                      <a:pt x="1187" y="614"/>
                    </a:lnTo>
                    <a:lnTo>
                      <a:pt x="1185" y="614"/>
                    </a:lnTo>
                    <a:lnTo>
                      <a:pt x="1187" y="615"/>
                    </a:lnTo>
                    <a:lnTo>
                      <a:pt x="1189" y="615"/>
                    </a:lnTo>
                    <a:lnTo>
                      <a:pt x="1189" y="617"/>
                    </a:lnTo>
                    <a:lnTo>
                      <a:pt x="1190" y="615"/>
                    </a:lnTo>
                    <a:lnTo>
                      <a:pt x="1190" y="617"/>
                    </a:lnTo>
                    <a:lnTo>
                      <a:pt x="1189" y="617"/>
                    </a:lnTo>
                    <a:lnTo>
                      <a:pt x="1189" y="619"/>
                    </a:lnTo>
                    <a:lnTo>
                      <a:pt x="1189" y="621"/>
                    </a:lnTo>
                    <a:lnTo>
                      <a:pt x="1189" y="622"/>
                    </a:lnTo>
                    <a:lnTo>
                      <a:pt x="1190" y="622"/>
                    </a:lnTo>
                    <a:lnTo>
                      <a:pt x="1190" y="621"/>
                    </a:lnTo>
                    <a:lnTo>
                      <a:pt x="1192" y="621"/>
                    </a:lnTo>
                    <a:lnTo>
                      <a:pt x="1192" y="619"/>
                    </a:lnTo>
                    <a:lnTo>
                      <a:pt x="1192" y="617"/>
                    </a:lnTo>
                    <a:lnTo>
                      <a:pt x="1194" y="617"/>
                    </a:lnTo>
                    <a:lnTo>
                      <a:pt x="1194" y="619"/>
                    </a:lnTo>
                    <a:lnTo>
                      <a:pt x="1196" y="619"/>
                    </a:lnTo>
                    <a:lnTo>
                      <a:pt x="1194" y="621"/>
                    </a:lnTo>
                    <a:lnTo>
                      <a:pt x="1194" y="622"/>
                    </a:lnTo>
                    <a:lnTo>
                      <a:pt x="1192" y="622"/>
                    </a:lnTo>
                    <a:lnTo>
                      <a:pt x="1190" y="622"/>
                    </a:lnTo>
                    <a:lnTo>
                      <a:pt x="1190" y="624"/>
                    </a:lnTo>
                    <a:lnTo>
                      <a:pt x="1189" y="624"/>
                    </a:lnTo>
                    <a:lnTo>
                      <a:pt x="1189" y="626"/>
                    </a:lnTo>
                    <a:lnTo>
                      <a:pt x="1189" y="624"/>
                    </a:lnTo>
                    <a:lnTo>
                      <a:pt x="1187" y="624"/>
                    </a:lnTo>
                    <a:lnTo>
                      <a:pt x="1187" y="626"/>
                    </a:lnTo>
                    <a:lnTo>
                      <a:pt x="1189" y="626"/>
                    </a:lnTo>
                    <a:lnTo>
                      <a:pt x="1187" y="626"/>
                    </a:lnTo>
                    <a:lnTo>
                      <a:pt x="1187" y="627"/>
                    </a:lnTo>
                    <a:lnTo>
                      <a:pt x="1185" y="627"/>
                    </a:lnTo>
                    <a:lnTo>
                      <a:pt x="1184" y="629"/>
                    </a:lnTo>
                    <a:lnTo>
                      <a:pt x="1182" y="631"/>
                    </a:lnTo>
                    <a:lnTo>
                      <a:pt x="1182" y="632"/>
                    </a:lnTo>
                    <a:lnTo>
                      <a:pt x="1184" y="634"/>
                    </a:lnTo>
                    <a:lnTo>
                      <a:pt x="1185" y="634"/>
                    </a:lnTo>
                    <a:lnTo>
                      <a:pt x="1185" y="636"/>
                    </a:lnTo>
                    <a:lnTo>
                      <a:pt x="1185" y="638"/>
                    </a:lnTo>
                    <a:lnTo>
                      <a:pt x="1184" y="638"/>
                    </a:lnTo>
                    <a:lnTo>
                      <a:pt x="1185" y="638"/>
                    </a:lnTo>
                    <a:lnTo>
                      <a:pt x="1184" y="639"/>
                    </a:lnTo>
                    <a:lnTo>
                      <a:pt x="1184" y="641"/>
                    </a:lnTo>
                    <a:lnTo>
                      <a:pt x="1185" y="641"/>
                    </a:lnTo>
                    <a:lnTo>
                      <a:pt x="1185" y="643"/>
                    </a:lnTo>
                    <a:lnTo>
                      <a:pt x="1185" y="644"/>
                    </a:lnTo>
                    <a:lnTo>
                      <a:pt x="1184" y="644"/>
                    </a:lnTo>
                    <a:lnTo>
                      <a:pt x="1184" y="643"/>
                    </a:lnTo>
                    <a:lnTo>
                      <a:pt x="1184" y="644"/>
                    </a:lnTo>
                    <a:lnTo>
                      <a:pt x="1182" y="644"/>
                    </a:lnTo>
                    <a:lnTo>
                      <a:pt x="1182" y="646"/>
                    </a:lnTo>
                    <a:lnTo>
                      <a:pt x="1182" y="648"/>
                    </a:lnTo>
                    <a:lnTo>
                      <a:pt x="1182" y="650"/>
                    </a:lnTo>
                    <a:lnTo>
                      <a:pt x="1182" y="651"/>
                    </a:lnTo>
                    <a:lnTo>
                      <a:pt x="1180" y="651"/>
                    </a:lnTo>
                    <a:lnTo>
                      <a:pt x="1182" y="651"/>
                    </a:lnTo>
                    <a:lnTo>
                      <a:pt x="1182" y="653"/>
                    </a:lnTo>
                    <a:lnTo>
                      <a:pt x="1182" y="651"/>
                    </a:lnTo>
                    <a:lnTo>
                      <a:pt x="1184" y="651"/>
                    </a:lnTo>
                    <a:lnTo>
                      <a:pt x="1184" y="653"/>
                    </a:lnTo>
                    <a:lnTo>
                      <a:pt x="1184" y="655"/>
                    </a:lnTo>
                    <a:lnTo>
                      <a:pt x="1184" y="656"/>
                    </a:lnTo>
                    <a:lnTo>
                      <a:pt x="1184" y="658"/>
                    </a:lnTo>
                    <a:lnTo>
                      <a:pt x="1182" y="660"/>
                    </a:lnTo>
                    <a:lnTo>
                      <a:pt x="1182" y="661"/>
                    </a:lnTo>
                    <a:lnTo>
                      <a:pt x="1182" y="663"/>
                    </a:lnTo>
                    <a:lnTo>
                      <a:pt x="1182" y="665"/>
                    </a:lnTo>
                    <a:lnTo>
                      <a:pt x="1182" y="667"/>
                    </a:lnTo>
                    <a:lnTo>
                      <a:pt x="1182" y="668"/>
                    </a:lnTo>
                    <a:lnTo>
                      <a:pt x="1182" y="670"/>
                    </a:lnTo>
                    <a:lnTo>
                      <a:pt x="1180" y="670"/>
                    </a:lnTo>
                    <a:lnTo>
                      <a:pt x="1180" y="672"/>
                    </a:lnTo>
                    <a:lnTo>
                      <a:pt x="1180" y="673"/>
                    </a:lnTo>
                    <a:lnTo>
                      <a:pt x="1180" y="675"/>
                    </a:lnTo>
                    <a:lnTo>
                      <a:pt x="1180" y="677"/>
                    </a:lnTo>
                    <a:lnTo>
                      <a:pt x="1179" y="678"/>
                    </a:lnTo>
                    <a:lnTo>
                      <a:pt x="1179" y="680"/>
                    </a:lnTo>
                    <a:lnTo>
                      <a:pt x="1179" y="682"/>
                    </a:lnTo>
                    <a:lnTo>
                      <a:pt x="1180" y="682"/>
                    </a:lnTo>
                    <a:lnTo>
                      <a:pt x="1180" y="684"/>
                    </a:lnTo>
                    <a:lnTo>
                      <a:pt x="1180" y="682"/>
                    </a:lnTo>
                    <a:lnTo>
                      <a:pt x="1180" y="684"/>
                    </a:lnTo>
                    <a:lnTo>
                      <a:pt x="1180" y="685"/>
                    </a:lnTo>
                    <a:lnTo>
                      <a:pt x="1180" y="687"/>
                    </a:lnTo>
                    <a:lnTo>
                      <a:pt x="1180" y="689"/>
                    </a:lnTo>
                    <a:lnTo>
                      <a:pt x="1182" y="689"/>
                    </a:lnTo>
                    <a:lnTo>
                      <a:pt x="1182" y="690"/>
                    </a:lnTo>
                    <a:lnTo>
                      <a:pt x="1182" y="694"/>
                    </a:lnTo>
                    <a:lnTo>
                      <a:pt x="1182" y="695"/>
                    </a:lnTo>
                    <a:lnTo>
                      <a:pt x="1182" y="697"/>
                    </a:lnTo>
                    <a:lnTo>
                      <a:pt x="1182" y="699"/>
                    </a:lnTo>
                    <a:lnTo>
                      <a:pt x="1182" y="701"/>
                    </a:lnTo>
                    <a:lnTo>
                      <a:pt x="1182" y="702"/>
                    </a:lnTo>
                    <a:lnTo>
                      <a:pt x="1182" y="704"/>
                    </a:lnTo>
                    <a:lnTo>
                      <a:pt x="1184" y="706"/>
                    </a:lnTo>
                    <a:lnTo>
                      <a:pt x="1184" y="707"/>
                    </a:lnTo>
                    <a:lnTo>
                      <a:pt x="1184" y="709"/>
                    </a:lnTo>
                    <a:lnTo>
                      <a:pt x="1184" y="711"/>
                    </a:lnTo>
                    <a:lnTo>
                      <a:pt x="1184" y="712"/>
                    </a:lnTo>
                    <a:lnTo>
                      <a:pt x="1184" y="714"/>
                    </a:lnTo>
                    <a:lnTo>
                      <a:pt x="1184" y="716"/>
                    </a:lnTo>
                    <a:lnTo>
                      <a:pt x="1185" y="716"/>
                    </a:lnTo>
                    <a:lnTo>
                      <a:pt x="1185" y="718"/>
                    </a:lnTo>
                    <a:lnTo>
                      <a:pt x="1185" y="719"/>
                    </a:lnTo>
                    <a:lnTo>
                      <a:pt x="1187" y="719"/>
                    </a:lnTo>
                    <a:lnTo>
                      <a:pt x="1187" y="721"/>
                    </a:lnTo>
                    <a:lnTo>
                      <a:pt x="1185" y="721"/>
                    </a:lnTo>
                    <a:lnTo>
                      <a:pt x="1185" y="723"/>
                    </a:lnTo>
                    <a:lnTo>
                      <a:pt x="1185" y="724"/>
                    </a:lnTo>
                    <a:lnTo>
                      <a:pt x="1184" y="726"/>
                    </a:lnTo>
                    <a:lnTo>
                      <a:pt x="1184" y="728"/>
                    </a:lnTo>
                    <a:lnTo>
                      <a:pt x="1184" y="729"/>
                    </a:lnTo>
                    <a:lnTo>
                      <a:pt x="1184" y="731"/>
                    </a:lnTo>
                    <a:lnTo>
                      <a:pt x="1182" y="731"/>
                    </a:lnTo>
                    <a:lnTo>
                      <a:pt x="1182" y="733"/>
                    </a:lnTo>
                    <a:lnTo>
                      <a:pt x="1182" y="735"/>
                    </a:lnTo>
                    <a:lnTo>
                      <a:pt x="1180" y="735"/>
                    </a:lnTo>
                    <a:lnTo>
                      <a:pt x="1180" y="736"/>
                    </a:lnTo>
                    <a:lnTo>
                      <a:pt x="1182" y="736"/>
                    </a:lnTo>
                    <a:lnTo>
                      <a:pt x="1180" y="738"/>
                    </a:lnTo>
                    <a:lnTo>
                      <a:pt x="1182" y="738"/>
                    </a:lnTo>
                    <a:lnTo>
                      <a:pt x="1180" y="740"/>
                    </a:lnTo>
                    <a:lnTo>
                      <a:pt x="1180" y="741"/>
                    </a:lnTo>
                    <a:lnTo>
                      <a:pt x="1179" y="741"/>
                    </a:lnTo>
                    <a:lnTo>
                      <a:pt x="1180" y="741"/>
                    </a:lnTo>
                    <a:lnTo>
                      <a:pt x="1179" y="743"/>
                    </a:lnTo>
                    <a:lnTo>
                      <a:pt x="1179" y="745"/>
                    </a:lnTo>
                    <a:lnTo>
                      <a:pt x="1179" y="746"/>
                    </a:lnTo>
                    <a:lnTo>
                      <a:pt x="1179" y="748"/>
                    </a:lnTo>
                    <a:lnTo>
                      <a:pt x="1179" y="750"/>
                    </a:lnTo>
                    <a:lnTo>
                      <a:pt x="1177" y="750"/>
                    </a:lnTo>
                    <a:lnTo>
                      <a:pt x="1177" y="752"/>
                    </a:lnTo>
                    <a:lnTo>
                      <a:pt x="1177" y="753"/>
                    </a:lnTo>
                    <a:lnTo>
                      <a:pt x="1177" y="755"/>
                    </a:lnTo>
                    <a:lnTo>
                      <a:pt x="1177" y="757"/>
                    </a:lnTo>
                    <a:lnTo>
                      <a:pt x="1179" y="757"/>
                    </a:lnTo>
                    <a:lnTo>
                      <a:pt x="1177" y="757"/>
                    </a:lnTo>
                    <a:lnTo>
                      <a:pt x="1177" y="758"/>
                    </a:lnTo>
                    <a:lnTo>
                      <a:pt x="1177" y="760"/>
                    </a:lnTo>
                    <a:lnTo>
                      <a:pt x="1175" y="760"/>
                    </a:lnTo>
                    <a:lnTo>
                      <a:pt x="1175" y="762"/>
                    </a:lnTo>
                    <a:lnTo>
                      <a:pt x="1175" y="763"/>
                    </a:lnTo>
                    <a:lnTo>
                      <a:pt x="1175" y="765"/>
                    </a:lnTo>
                    <a:lnTo>
                      <a:pt x="1175" y="767"/>
                    </a:lnTo>
                    <a:lnTo>
                      <a:pt x="1173" y="769"/>
                    </a:lnTo>
                    <a:lnTo>
                      <a:pt x="1175" y="769"/>
                    </a:lnTo>
                    <a:lnTo>
                      <a:pt x="1173" y="770"/>
                    </a:lnTo>
                    <a:lnTo>
                      <a:pt x="1173" y="772"/>
                    </a:lnTo>
                    <a:lnTo>
                      <a:pt x="1175" y="774"/>
                    </a:lnTo>
                    <a:lnTo>
                      <a:pt x="1175" y="775"/>
                    </a:lnTo>
                    <a:lnTo>
                      <a:pt x="1175" y="777"/>
                    </a:lnTo>
                    <a:lnTo>
                      <a:pt x="1175" y="779"/>
                    </a:lnTo>
                    <a:lnTo>
                      <a:pt x="1175" y="780"/>
                    </a:lnTo>
                    <a:lnTo>
                      <a:pt x="1175" y="782"/>
                    </a:lnTo>
                    <a:lnTo>
                      <a:pt x="1175" y="784"/>
                    </a:lnTo>
                    <a:lnTo>
                      <a:pt x="1177" y="784"/>
                    </a:lnTo>
                    <a:lnTo>
                      <a:pt x="1177" y="786"/>
                    </a:lnTo>
                    <a:lnTo>
                      <a:pt x="1175" y="786"/>
                    </a:lnTo>
                    <a:lnTo>
                      <a:pt x="1175" y="787"/>
                    </a:lnTo>
                    <a:lnTo>
                      <a:pt x="1173" y="789"/>
                    </a:lnTo>
                    <a:lnTo>
                      <a:pt x="1173" y="791"/>
                    </a:lnTo>
                    <a:lnTo>
                      <a:pt x="1172" y="791"/>
                    </a:lnTo>
                    <a:lnTo>
                      <a:pt x="1172" y="792"/>
                    </a:lnTo>
                    <a:lnTo>
                      <a:pt x="1170" y="792"/>
                    </a:lnTo>
                    <a:lnTo>
                      <a:pt x="1168" y="792"/>
                    </a:lnTo>
                    <a:lnTo>
                      <a:pt x="1168" y="794"/>
                    </a:lnTo>
                    <a:lnTo>
                      <a:pt x="1167" y="794"/>
                    </a:lnTo>
                    <a:lnTo>
                      <a:pt x="1165" y="796"/>
                    </a:lnTo>
                    <a:lnTo>
                      <a:pt x="1163" y="797"/>
                    </a:lnTo>
                    <a:lnTo>
                      <a:pt x="1163" y="799"/>
                    </a:lnTo>
                    <a:lnTo>
                      <a:pt x="1162" y="801"/>
                    </a:lnTo>
                    <a:lnTo>
                      <a:pt x="1162" y="803"/>
                    </a:lnTo>
                    <a:lnTo>
                      <a:pt x="1160" y="804"/>
                    </a:lnTo>
                    <a:lnTo>
                      <a:pt x="1160" y="806"/>
                    </a:lnTo>
                    <a:lnTo>
                      <a:pt x="1160" y="808"/>
                    </a:lnTo>
                    <a:lnTo>
                      <a:pt x="1158" y="808"/>
                    </a:lnTo>
                    <a:lnTo>
                      <a:pt x="1158" y="809"/>
                    </a:lnTo>
                    <a:lnTo>
                      <a:pt x="1158" y="811"/>
                    </a:lnTo>
                    <a:lnTo>
                      <a:pt x="1158" y="813"/>
                    </a:lnTo>
                    <a:lnTo>
                      <a:pt x="1156" y="813"/>
                    </a:lnTo>
                    <a:lnTo>
                      <a:pt x="1156" y="815"/>
                    </a:lnTo>
                    <a:lnTo>
                      <a:pt x="1156" y="816"/>
                    </a:lnTo>
                    <a:lnTo>
                      <a:pt x="1156" y="818"/>
                    </a:lnTo>
                    <a:lnTo>
                      <a:pt x="1156" y="820"/>
                    </a:lnTo>
                    <a:lnTo>
                      <a:pt x="1156" y="821"/>
                    </a:lnTo>
                    <a:lnTo>
                      <a:pt x="1156" y="823"/>
                    </a:lnTo>
                    <a:lnTo>
                      <a:pt x="1156" y="825"/>
                    </a:lnTo>
                    <a:lnTo>
                      <a:pt x="1156" y="826"/>
                    </a:lnTo>
                    <a:lnTo>
                      <a:pt x="1156" y="828"/>
                    </a:lnTo>
                    <a:lnTo>
                      <a:pt x="1156" y="830"/>
                    </a:lnTo>
                    <a:lnTo>
                      <a:pt x="1156" y="832"/>
                    </a:lnTo>
                    <a:lnTo>
                      <a:pt x="1156" y="833"/>
                    </a:lnTo>
                    <a:lnTo>
                      <a:pt x="1156" y="835"/>
                    </a:lnTo>
                    <a:lnTo>
                      <a:pt x="1158" y="837"/>
                    </a:lnTo>
                    <a:lnTo>
                      <a:pt x="1158" y="838"/>
                    </a:lnTo>
                    <a:lnTo>
                      <a:pt x="1158" y="840"/>
                    </a:lnTo>
                    <a:lnTo>
                      <a:pt x="1158" y="842"/>
                    </a:lnTo>
                    <a:lnTo>
                      <a:pt x="1158" y="843"/>
                    </a:lnTo>
                    <a:lnTo>
                      <a:pt x="1158" y="845"/>
                    </a:lnTo>
                    <a:lnTo>
                      <a:pt x="1158" y="847"/>
                    </a:lnTo>
                    <a:lnTo>
                      <a:pt x="1156" y="849"/>
                    </a:lnTo>
                    <a:lnTo>
                      <a:pt x="1156" y="850"/>
                    </a:lnTo>
                    <a:lnTo>
                      <a:pt x="1156" y="852"/>
                    </a:lnTo>
                    <a:lnTo>
                      <a:pt x="1155" y="852"/>
                    </a:lnTo>
                    <a:lnTo>
                      <a:pt x="1155" y="854"/>
                    </a:lnTo>
                    <a:lnTo>
                      <a:pt x="1155" y="855"/>
                    </a:lnTo>
                    <a:lnTo>
                      <a:pt x="1153" y="855"/>
                    </a:lnTo>
                    <a:lnTo>
                      <a:pt x="1151" y="855"/>
                    </a:lnTo>
                    <a:lnTo>
                      <a:pt x="1150" y="857"/>
                    </a:lnTo>
                    <a:lnTo>
                      <a:pt x="1148" y="857"/>
                    </a:lnTo>
                    <a:lnTo>
                      <a:pt x="1148" y="859"/>
                    </a:lnTo>
                    <a:lnTo>
                      <a:pt x="1146" y="859"/>
                    </a:lnTo>
                    <a:lnTo>
                      <a:pt x="1146" y="860"/>
                    </a:lnTo>
                    <a:lnTo>
                      <a:pt x="1146" y="862"/>
                    </a:lnTo>
                    <a:lnTo>
                      <a:pt x="1145" y="862"/>
                    </a:lnTo>
                    <a:lnTo>
                      <a:pt x="1145" y="864"/>
                    </a:lnTo>
                    <a:lnTo>
                      <a:pt x="1145" y="866"/>
                    </a:lnTo>
                    <a:lnTo>
                      <a:pt x="1143" y="866"/>
                    </a:lnTo>
                    <a:lnTo>
                      <a:pt x="1143" y="867"/>
                    </a:lnTo>
                    <a:lnTo>
                      <a:pt x="1143" y="869"/>
                    </a:lnTo>
                    <a:lnTo>
                      <a:pt x="1141" y="869"/>
                    </a:lnTo>
                    <a:lnTo>
                      <a:pt x="1141" y="871"/>
                    </a:lnTo>
                    <a:lnTo>
                      <a:pt x="1141" y="872"/>
                    </a:lnTo>
                    <a:lnTo>
                      <a:pt x="1141" y="874"/>
                    </a:lnTo>
                    <a:lnTo>
                      <a:pt x="1141" y="876"/>
                    </a:lnTo>
                    <a:lnTo>
                      <a:pt x="1141" y="877"/>
                    </a:lnTo>
                    <a:lnTo>
                      <a:pt x="1139" y="877"/>
                    </a:lnTo>
                    <a:lnTo>
                      <a:pt x="1138" y="877"/>
                    </a:lnTo>
                    <a:lnTo>
                      <a:pt x="1138" y="879"/>
                    </a:lnTo>
                    <a:lnTo>
                      <a:pt x="1136" y="879"/>
                    </a:lnTo>
                    <a:lnTo>
                      <a:pt x="1138" y="879"/>
                    </a:lnTo>
                    <a:lnTo>
                      <a:pt x="1139" y="879"/>
                    </a:lnTo>
                    <a:lnTo>
                      <a:pt x="1138" y="879"/>
                    </a:lnTo>
                    <a:lnTo>
                      <a:pt x="1138" y="881"/>
                    </a:lnTo>
                    <a:lnTo>
                      <a:pt x="1138" y="883"/>
                    </a:lnTo>
                    <a:lnTo>
                      <a:pt x="1136" y="884"/>
                    </a:lnTo>
                    <a:lnTo>
                      <a:pt x="1136" y="886"/>
                    </a:lnTo>
                    <a:lnTo>
                      <a:pt x="1134" y="886"/>
                    </a:lnTo>
                    <a:lnTo>
                      <a:pt x="1134" y="888"/>
                    </a:lnTo>
                    <a:lnTo>
                      <a:pt x="1134" y="889"/>
                    </a:lnTo>
                    <a:lnTo>
                      <a:pt x="1133" y="889"/>
                    </a:lnTo>
                    <a:lnTo>
                      <a:pt x="1133" y="891"/>
                    </a:lnTo>
                    <a:lnTo>
                      <a:pt x="1133" y="889"/>
                    </a:lnTo>
                    <a:lnTo>
                      <a:pt x="1133" y="891"/>
                    </a:lnTo>
                    <a:lnTo>
                      <a:pt x="1131" y="891"/>
                    </a:lnTo>
                    <a:lnTo>
                      <a:pt x="1131" y="893"/>
                    </a:lnTo>
                    <a:lnTo>
                      <a:pt x="1129" y="893"/>
                    </a:lnTo>
                    <a:lnTo>
                      <a:pt x="1131" y="894"/>
                    </a:lnTo>
                    <a:lnTo>
                      <a:pt x="1129" y="894"/>
                    </a:lnTo>
                    <a:lnTo>
                      <a:pt x="1128" y="894"/>
                    </a:lnTo>
                    <a:lnTo>
                      <a:pt x="1129" y="896"/>
                    </a:lnTo>
                    <a:lnTo>
                      <a:pt x="1128" y="896"/>
                    </a:lnTo>
                    <a:lnTo>
                      <a:pt x="1128" y="898"/>
                    </a:lnTo>
                    <a:lnTo>
                      <a:pt x="1126" y="898"/>
                    </a:lnTo>
                    <a:lnTo>
                      <a:pt x="1126" y="896"/>
                    </a:lnTo>
                    <a:lnTo>
                      <a:pt x="1124" y="898"/>
                    </a:lnTo>
                    <a:lnTo>
                      <a:pt x="1122" y="898"/>
                    </a:lnTo>
                    <a:lnTo>
                      <a:pt x="1122" y="900"/>
                    </a:lnTo>
                    <a:lnTo>
                      <a:pt x="1121" y="900"/>
                    </a:lnTo>
                    <a:lnTo>
                      <a:pt x="1121" y="901"/>
                    </a:lnTo>
                    <a:lnTo>
                      <a:pt x="1121" y="903"/>
                    </a:lnTo>
                    <a:lnTo>
                      <a:pt x="1121" y="905"/>
                    </a:lnTo>
                    <a:lnTo>
                      <a:pt x="1119" y="905"/>
                    </a:lnTo>
                    <a:lnTo>
                      <a:pt x="1119" y="906"/>
                    </a:lnTo>
                    <a:lnTo>
                      <a:pt x="1119" y="908"/>
                    </a:lnTo>
                    <a:lnTo>
                      <a:pt x="1117" y="908"/>
                    </a:lnTo>
                    <a:lnTo>
                      <a:pt x="1117" y="910"/>
                    </a:lnTo>
                    <a:lnTo>
                      <a:pt x="1116" y="910"/>
                    </a:lnTo>
                    <a:lnTo>
                      <a:pt x="1116" y="911"/>
                    </a:lnTo>
                    <a:lnTo>
                      <a:pt x="1116" y="913"/>
                    </a:lnTo>
                    <a:lnTo>
                      <a:pt x="1116" y="915"/>
                    </a:lnTo>
                    <a:lnTo>
                      <a:pt x="1116" y="917"/>
                    </a:lnTo>
                    <a:lnTo>
                      <a:pt x="1114" y="918"/>
                    </a:lnTo>
                    <a:lnTo>
                      <a:pt x="1114" y="920"/>
                    </a:lnTo>
                    <a:lnTo>
                      <a:pt x="1112" y="920"/>
                    </a:lnTo>
                    <a:lnTo>
                      <a:pt x="1112" y="922"/>
                    </a:lnTo>
                    <a:lnTo>
                      <a:pt x="1112" y="923"/>
                    </a:lnTo>
                    <a:lnTo>
                      <a:pt x="1112" y="925"/>
                    </a:lnTo>
                    <a:lnTo>
                      <a:pt x="1114" y="925"/>
                    </a:lnTo>
                    <a:lnTo>
                      <a:pt x="1114" y="927"/>
                    </a:lnTo>
                    <a:lnTo>
                      <a:pt x="1114" y="928"/>
                    </a:lnTo>
                    <a:lnTo>
                      <a:pt x="1114" y="930"/>
                    </a:lnTo>
                    <a:lnTo>
                      <a:pt x="1114" y="932"/>
                    </a:lnTo>
                    <a:lnTo>
                      <a:pt x="1114" y="934"/>
                    </a:lnTo>
                    <a:lnTo>
                      <a:pt x="1114" y="935"/>
                    </a:lnTo>
                    <a:lnTo>
                      <a:pt x="1114" y="937"/>
                    </a:lnTo>
                    <a:lnTo>
                      <a:pt x="1116" y="937"/>
                    </a:lnTo>
                    <a:lnTo>
                      <a:pt x="1116" y="939"/>
                    </a:lnTo>
                    <a:lnTo>
                      <a:pt x="1114" y="939"/>
                    </a:lnTo>
                    <a:lnTo>
                      <a:pt x="1114" y="940"/>
                    </a:lnTo>
                    <a:lnTo>
                      <a:pt x="1112" y="940"/>
                    </a:lnTo>
                    <a:lnTo>
                      <a:pt x="1112" y="942"/>
                    </a:lnTo>
                    <a:lnTo>
                      <a:pt x="1111" y="942"/>
                    </a:lnTo>
                    <a:lnTo>
                      <a:pt x="1109" y="944"/>
                    </a:lnTo>
                    <a:lnTo>
                      <a:pt x="1107" y="944"/>
                    </a:lnTo>
                    <a:lnTo>
                      <a:pt x="1107" y="945"/>
                    </a:lnTo>
                    <a:lnTo>
                      <a:pt x="1105" y="945"/>
                    </a:lnTo>
                    <a:lnTo>
                      <a:pt x="1104" y="945"/>
                    </a:lnTo>
                    <a:lnTo>
                      <a:pt x="1102" y="945"/>
                    </a:lnTo>
                    <a:lnTo>
                      <a:pt x="1100" y="947"/>
                    </a:lnTo>
                    <a:lnTo>
                      <a:pt x="1099" y="947"/>
                    </a:lnTo>
                    <a:lnTo>
                      <a:pt x="1097" y="947"/>
                    </a:lnTo>
                    <a:lnTo>
                      <a:pt x="1095" y="949"/>
                    </a:lnTo>
                    <a:lnTo>
                      <a:pt x="1095" y="947"/>
                    </a:lnTo>
                    <a:lnTo>
                      <a:pt x="1095" y="949"/>
                    </a:lnTo>
                    <a:lnTo>
                      <a:pt x="1094" y="949"/>
                    </a:lnTo>
                    <a:lnTo>
                      <a:pt x="1092" y="951"/>
                    </a:lnTo>
                    <a:lnTo>
                      <a:pt x="1090" y="951"/>
                    </a:lnTo>
                    <a:lnTo>
                      <a:pt x="1090" y="952"/>
                    </a:lnTo>
                    <a:lnTo>
                      <a:pt x="1088" y="952"/>
                    </a:lnTo>
                    <a:lnTo>
                      <a:pt x="1088" y="954"/>
                    </a:lnTo>
                    <a:lnTo>
                      <a:pt x="1087" y="954"/>
                    </a:lnTo>
                    <a:lnTo>
                      <a:pt x="1087" y="956"/>
                    </a:lnTo>
                    <a:lnTo>
                      <a:pt x="1085" y="956"/>
                    </a:lnTo>
                    <a:lnTo>
                      <a:pt x="1085" y="957"/>
                    </a:lnTo>
                    <a:lnTo>
                      <a:pt x="1083" y="957"/>
                    </a:lnTo>
                    <a:lnTo>
                      <a:pt x="1083" y="959"/>
                    </a:lnTo>
                    <a:lnTo>
                      <a:pt x="1082" y="959"/>
                    </a:lnTo>
                    <a:lnTo>
                      <a:pt x="1082" y="961"/>
                    </a:lnTo>
                    <a:lnTo>
                      <a:pt x="1080" y="961"/>
                    </a:lnTo>
                    <a:lnTo>
                      <a:pt x="1080" y="963"/>
                    </a:lnTo>
                    <a:lnTo>
                      <a:pt x="1080" y="964"/>
                    </a:lnTo>
                    <a:lnTo>
                      <a:pt x="1080" y="966"/>
                    </a:lnTo>
                    <a:lnTo>
                      <a:pt x="1082" y="966"/>
                    </a:lnTo>
                    <a:lnTo>
                      <a:pt x="1082" y="968"/>
                    </a:lnTo>
                    <a:lnTo>
                      <a:pt x="1083" y="968"/>
                    </a:lnTo>
                    <a:lnTo>
                      <a:pt x="1085" y="966"/>
                    </a:lnTo>
                    <a:lnTo>
                      <a:pt x="1085" y="968"/>
                    </a:lnTo>
                    <a:lnTo>
                      <a:pt x="1083" y="968"/>
                    </a:lnTo>
                    <a:lnTo>
                      <a:pt x="1085" y="968"/>
                    </a:lnTo>
                    <a:lnTo>
                      <a:pt x="1083" y="968"/>
                    </a:lnTo>
                    <a:lnTo>
                      <a:pt x="1083" y="969"/>
                    </a:lnTo>
                    <a:lnTo>
                      <a:pt x="1082" y="969"/>
                    </a:lnTo>
                    <a:lnTo>
                      <a:pt x="1082" y="971"/>
                    </a:lnTo>
                    <a:lnTo>
                      <a:pt x="1080" y="971"/>
                    </a:lnTo>
                    <a:lnTo>
                      <a:pt x="1082" y="971"/>
                    </a:lnTo>
                    <a:lnTo>
                      <a:pt x="1080" y="973"/>
                    </a:lnTo>
                    <a:lnTo>
                      <a:pt x="1078" y="973"/>
                    </a:lnTo>
                    <a:lnTo>
                      <a:pt x="1080" y="974"/>
                    </a:lnTo>
                    <a:lnTo>
                      <a:pt x="1080" y="976"/>
                    </a:lnTo>
                    <a:lnTo>
                      <a:pt x="1078" y="974"/>
                    </a:lnTo>
                    <a:lnTo>
                      <a:pt x="1077" y="974"/>
                    </a:lnTo>
                    <a:lnTo>
                      <a:pt x="1075" y="974"/>
                    </a:lnTo>
                    <a:lnTo>
                      <a:pt x="1073" y="974"/>
                    </a:lnTo>
                    <a:lnTo>
                      <a:pt x="1071" y="974"/>
                    </a:lnTo>
                    <a:lnTo>
                      <a:pt x="1070" y="974"/>
                    </a:lnTo>
                    <a:lnTo>
                      <a:pt x="1068" y="974"/>
                    </a:lnTo>
                    <a:lnTo>
                      <a:pt x="1066" y="974"/>
                    </a:lnTo>
                    <a:lnTo>
                      <a:pt x="1065" y="974"/>
                    </a:lnTo>
                    <a:lnTo>
                      <a:pt x="1063" y="974"/>
                    </a:lnTo>
                    <a:lnTo>
                      <a:pt x="1061" y="974"/>
                    </a:lnTo>
                    <a:lnTo>
                      <a:pt x="1060" y="974"/>
                    </a:lnTo>
                    <a:lnTo>
                      <a:pt x="1058" y="974"/>
                    </a:lnTo>
                    <a:lnTo>
                      <a:pt x="1056" y="974"/>
                    </a:lnTo>
                    <a:lnTo>
                      <a:pt x="1054" y="974"/>
                    </a:lnTo>
                    <a:lnTo>
                      <a:pt x="1053" y="974"/>
                    </a:lnTo>
                    <a:lnTo>
                      <a:pt x="1051" y="974"/>
                    </a:lnTo>
                    <a:lnTo>
                      <a:pt x="1049" y="974"/>
                    </a:lnTo>
                    <a:lnTo>
                      <a:pt x="1049" y="976"/>
                    </a:lnTo>
                    <a:lnTo>
                      <a:pt x="1048" y="976"/>
                    </a:lnTo>
                    <a:lnTo>
                      <a:pt x="1046" y="974"/>
                    </a:lnTo>
                    <a:lnTo>
                      <a:pt x="1046" y="976"/>
                    </a:lnTo>
                    <a:lnTo>
                      <a:pt x="1044" y="976"/>
                    </a:lnTo>
                    <a:lnTo>
                      <a:pt x="1044" y="974"/>
                    </a:lnTo>
                    <a:lnTo>
                      <a:pt x="1043" y="974"/>
                    </a:lnTo>
                    <a:lnTo>
                      <a:pt x="1043" y="973"/>
                    </a:lnTo>
                    <a:lnTo>
                      <a:pt x="1043" y="974"/>
                    </a:lnTo>
                    <a:lnTo>
                      <a:pt x="1043" y="973"/>
                    </a:lnTo>
                    <a:lnTo>
                      <a:pt x="1043" y="971"/>
                    </a:lnTo>
                    <a:lnTo>
                      <a:pt x="1043" y="969"/>
                    </a:lnTo>
                    <a:lnTo>
                      <a:pt x="1044" y="969"/>
                    </a:lnTo>
                    <a:lnTo>
                      <a:pt x="1044" y="968"/>
                    </a:lnTo>
                    <a:lnTo>
                      <a:pt x="1046" y="968"/>
                    </a:lnTo>
                    <a:lnTo>
                      <a:pt x="1046" y="966"/>
                    </a:lnTo>
                    <a:lnTo>
                      <a:pt x="1044" y="964"/>
                    </a:lnTo>
                    <a:lnTo>
                      <a:pt x="1043" y="964"/>
                    </a:lnTo>
                    <a:lnTo>
                      <a:pt x="1043" y="966"/>
                    </a:lnTo>
                    <a:lnTo>
                      <a:pt x="1041" y="966"/>
                    </a:lnTo>
                    <a:lnTo>
                      <a:pt x="1039" y="966"/>
                    </a:lnTo>
                    <a:lnTo>
                      <a:pt x="1039" y="968"/>
                    </a:lnTo>
                    <a:lnTo>
                      <a:pt x="1039" y="966"/>
                    </a:lnTo>
                    <a:lnTo>
                      <a:pt x="1037" y="968"/>
                    </a:lnTo>
                    <a:lnTo>
                      <a:pt x="1037" y="969"/>
                    </a:lnTo>
                    <a:lnTo>
                      <a:pt x="1037" y="971"/>
                    </a:lnTo>
                    <a:lnTo>
                      <a:pt x="1039" y="971"/>
                    </a:lnTo>
                    <a:lnTo>
                      <a:pt x="1039" y="973"/>
                    </a:lnTo>
                    <a:lnTo>
                      <a:pt x="1041" y="973"/>
                    </a:lnTo>
                    <a:lnTo>
                      <a:pt x="1041" y="974"/>
                    </a:lnTo>
                    <a:lnTo>
                      <a:pt x="1041" y="976"/>
                    </a:lnTo>
                    <a:lnTo>
                      <a:pt x="1039" y="976"/>
                    </a:lnTo>
                    <a:lnTo>
                      <a:pt x="1037" y="976"/>
                    </a:lnTo>
                    <a:lnTo>
                      <a:pt x="1036" y="978"/>
                    </a:lnTo>
                    <a:lnTo>
                      <a:pt x="1036" y="976"/>
                    </a:lnTo>
                    <a:lnTo>
                      <a:pt x="1034" y="976"/>
                    </a:lnTo>
                    <a:lnTo>
                      <a:pt x="1032" y="976"/>
                    </a:lnTo>
                    <a:lnTo>
                      <a:pt x="1032" y="978"/>
                    </a:lnTo>
                    <a:lnTo>
                      <a:pt x="1031" y="978"/>
                    </a:lnTo>
                    <a:lnTo>
                      <a:pt x="1029" y="978"/>
                    </a:lnTo>
                    <a:lnTo>
                      <a:pt x="1027" y="978"/>
                    </a:lnTo>
                    <a:lnTo>
                      <a:pt x="1027" y="980"/>
                    </a:lnTo>
                    <a:lnTo>
                      <a:pt x="1027" y="978"/>
                    </a:lnTo>
                    <a:lnTo>
                      <a:pt x="1026" y="978"/>
                    </a:lnTo>
                    <a:lnTo>
                      <a:pt x="1024" y="978"/>
                    </a:lnTo>
                    <a:lnTo>
                      <a:pt x="1022" y="978"/>
                    </a:lnTo>
                    <a:lnTo>
                      <a:pt x="1020" y="978"/>
                    </a:lnTo>
                    <a:lnTo>
                      <a:pt x="1020" y="980"/>
                    </a:lnTo>
                    <a:lnTo>
                      <a:pt x="1019" y="980"/>
                    </a:lnTo>
                    <a:lnTo>
                      <a:pt x="1017" y="980"/>
                    </a:lnTo>
                    <a:lnTo>
                      <a:pt x="1015" y="980"/>
                    </a:lnTo>
                    <a:lnTo>
                      <a:pt x="1014" y="980"/>
                    </a:lnTo>
                    <a:lnTo>
                      <a:pt x="1012" y="980"/>
                    </a:lnTo>
                    <a:lnTo>
                      <a:pt x="1014" y="978"/>
                    </a:lnTo>
                    <a:lnTo>
                      <a:pt x="1015" y="978"/>
                    </a:lnTo>
                    <a:lnTo>
                      <a:pt x="1015" y="980"/>
                    </a:lnTo>
                    <a:lnTo>
                      <a:pt x="1017" y="980"/>
                    </a:lnTo>
                    <a:lnTo>
                      <a:pt x="1017" y="978"/>
                    </a:lnTo>
                    <a:lnTo>
                      <a:pt x="1015" y="978"/>
                    </a:lnTo>
                    <a:lnTo>
                      <a:pt x="1017" y="978"/>
                    </a:lnTo>
                    <a:lnTo>
                      <a:pt x="1019" y="978"/>
                    </a:lnTo>
                    <a:lnTo>
                      <a:pt x="1020" y="978"/>
                    </a:lnTo>
                    <a:lnTo>
                      <a:pt x="1022" y="978"/>
                    </a:lnTo>
                    <a:lnTo>
                      <a:pt x="1024" y="978"/>
                    </a:lnTo>
                    <a:lnTo>
                      <a:pt x="1026" y="978"/>
                    </a:lnTo>
                    <a:lnTo>
                      <a:pt x="1026" y="976"/>
                    </a:lnTo>
                    <a:lnTo>
                      <a:pt x="1024" y="976"/>
                    </a:lnTo>
                    <a:lnTo>
                      <a:pt x="1022" y="976"/>
                    </a:lnTo>
                    <a:lnTo>
                      <a:pt x="1022" y="974"/>
                    </a:lnTo>
                    <a:lnTo>
                      <a:pt x="1020" y="974"/>
                    </a:lnTo>
                    <a:lnTo>
                      <a:pt x="1020" y="973"/>
                    </a:lnTo>
                    <a:lnTo>
                      <a:pt x="1020" y="974"/>
                    </a:lnTo>
                    <a:lnTo>
                      <a:pt x="1020" y="973"/>
                    </a:lnTo>
                    <a:lnTo>
                      <a:pt x="1019" y="973"/>
                    </a:lnTo>
                    <a:lnTo>
                      <a:pt x="1019" y="974"/>
                    </a:lnTo>
                    <a:lnTo>
                      <a:pt x="1017" y="973"/>
                    </a:lnTo>
                    <a:lnTo>
                      <a:pt x="1019" y="973"/>
                    </a:lnTo>
                    <a:lnTo>
                      <a:pt x="1017" y="973"/>
                    </a:lnTo>
                    <a:lnTo>
                      <a:pt x="1015" y="974"/>
                    </a:lnTo>
                    <a:lnTo>
                      <a:pt x="1014" y="974"/>
                    </a:lnTo>
                    <a:lnTo>
                      <a:pt x="1012" y="974"/>
                    </a:lnTo>
                    <a:lnTo>
                      <a:pt x="1012" y="976"/>
                    </a:lnTo>
                    <a:lnTo>
                      <a:pt x="1010" y="976"/>
                    </a:lnTo>
                    <a:lnTo>
                      <a:pt x="1012" y="974"/>
                    </a:lnTo>
                    <a:lnTo>
                      <a:pt x="1010" y="974"/>
                    </a:lnTo>
                    <a:lnTo>
                      <a:pt x="1010" y="976"/>
                    </a:lnTo>
                    <a:lnTo>
                      <a:pt x="1009" y="978"/>
                    </a:lnTo>
                    <a:lnTo>
                      <a:pt x="1007" y="978"/>
                    </a:lnTo>
                    <a:lnTo>
                      <a:pt x="1005" y="978"/>
                    </a:lnTo>
                    <a:lnTo>
                      <a:pt x="1005" y="976"/>
                    </a:lnTo>
                    <a:lnTo>
                      <a:pt x="1003" y="976"/>
                    </a:lnTo>
                    <a:lnTo>
                      <a:pt x="1003" y="978"/>
                    </a:lnTo>
                    <a:lnTo>
                      <a:pt x="1002" y="976"/>
                    </a:lnTo>
                    <a:lnTo>
                      <a:pt x="1002" y="978"/>
                    </a:lnTo>
                    <a:lnTo>
                      <a:pt x="1000" y="978"/>
                    </a:lnTo>
                    <a:lnTo>
                      <a:pt x="1000" y="976"/>
                    </a:lnTo>
                    <a:lnTo>
                      <a:pt x="1002" y="976"/>
                    </a:lnTo>
                    <a:lnTo>
                      <a:pt x="1002" y="974"/>
                    </a:lnTo>
                    <a:lnTo>
                      <a:pt x="1003" y="974"/>
                    </a:lnTo>
                    <a:lnTo>
                      <a:pt x="1002" y="974"/>
                    </a:lnTo>
                    <a:lnTo>
                      <a:pt x="1000" y="974"/>
                    </a:lnTo>
                    <a:lnTo>
                      <a:pt x="1002" y="974"/>
                    </a:lnTo>
                    <a:lnTo>
                      <a:pt x="1000" y="974"/>
                    </a:lnTo>
                    <a:lnTo>
                      <a:pt x="1000" y="976"/>
                    </a:lnTo>
                    <a:lnTo>
                      <a:pt x="1000" y="974"/>
                    </a:lnTo>
                    <a:lnTo>
                      <a:pt x="998" y="974"/>
                    </a:lnTo>
                    <a:lnTo>
                      <a:pt x="998" y="976"/>
                    </a:lnTo>
                    <a:lnTo>
                      <a:pt x="998" y="978"/>
                    </a:lnTo>
                    <a:lnTo>
                      <a:pt x="997" y="976"/>
                    </a:lnTo>
                    <a:lnTo>
                      <a:pt x="997" y="978"/>
                    </a:lnTo>
                    <a:lnTo>
                      <a:pt x="995" y="978"/>
                    </a:lnTo>
                    <a:lnTo>
                      <a:pt x="993" y="978"/>
                    </a:lnTo>
                    <a:lnTo>
                      <a:pt x="993" y="980"/>
                    </a:lnTo>
                    <a:lnTo>
                      <a:pt x="993" y="978"/>
                    </a:lnTo>
                    <a:lnTo>
                      <a:pt x="992" y="978"/>
                    </a:lnTo>
                    <a:lnTo>
                      <a:pt x="990" y="978"/>
                    </a:lnTo>
                    <a:lnTo>
                      <a:pt x="990" y="980"/>
                    </a:lnTo>
                    <a:lnTo>
                      <a:pt x="990" y="981"/>
                    </a:lnTo>
                    <a:lnTo>
                      <a:pt x="988" y="983"/>
                    </a:lnTo>
                    <a:lnTo>
                      <a:pt x="990" y="983"/>
                    </a:lnTo>
                    <a:lnTo>
                      <a:pt x="988" y="983"/>
                    </a:lnTo>
                    <a:lnTo>
                      <a:pt x="988" y="985"/>
                    </a:lnTo>
                    <a:lnTo>
                      <a:pt x="990" y="985"/>
                    </a:lnTo>
                    <a:lnTo>
                      <a:pt x="992" y="983"/>
                    </a:lnTo>
                    <a:lnTo>
                      <a:pt x="992" y="985"/>
                    </a:lnTo>
                    <a:lnTo>
                      <a:pt x="990" y="985"/>
                    </a:lnTo>
                    <a:lnTo>
                      <a:pt x="990" y="986"/>
                    </a:lnTo>
                    <a:lnTo>
                      <a:pt x="990" y="985"/>
                    </a:lnTo>
                    <a:lnTo>
                      <a:pt x="992" y="985"/>
                    </a:lnTo>
                    <a:lnTo>
                      <a:pt x="992" y="986"/>
                    </a:lnTo>
                    <a:lnTo>
                      <a:pt x="990" y="986"/>
                    </a:lnTo>
                    <a:lnTo>
                      <a:pt x="992" y="988"/>
                    </a:lnTo>
                    <a:lnTo>
                      <a:pt x="992" y="986"/>
                    </a:lnTo>
                    <a:lnTo>
                      <a:pt x="993" y="985"/>
                    </a:lnTo>
                    <a:lnTo>
                      <a:pt x="993" y="986"/>
                    </a:lnTo>
                    <a:lnTo>
                      <a:pt x="995" y="986"/>
                    </a:lnTo>
                    <a:lnTo>
                      <a:pt x="995" y="988"/>
                    </a:lnTo>
                    <a:lnTo>
                      <a:pt x="995" y="986"/>
                    </a:lnTo>
                    <a:lnTo>
                      <a:pt x="995" y="988"/>
                    </a:lnTo>
                    <a:lnTo>
                      <a:pt x="993" y="988"/>
                    </a:lnTo>
                    <a:lnTo>
                      <a:pt x="993" y="990"/>
                    </a:lnTo>
                    <a:lnTo>
                      <a:pt x="992" y="990"/>
                    </a:lnTo>
                    <a:lnTo>
                      <a:pt x="992" y="988"/>
                    </a:lnTo>
                    <a:lnTo>
                      <a:pt x="992" y="990"/>
                    </a:lnTo>
                    <a:lnTo>
                      <a:pt x="992" y="988"/>
                    </a:lnTo>
                    <a:lnTo>
                      <a:pt x="990" y="990"/>
                    </a:lnTo>
                    <a:lnTo>
                      <a:pt x="990" y="988"/>
                    </a:lnTo>
                    <a:lnTo>
                      <a:pt x="990" y="990"/>
                    </a:lnTo>
                    <a:lnTo>
                      <a:pt x="990" y="988"/>
                    </a:lnTo>
                    <a:lnTo>
                      <a:pt x="988" y="990"/>
                    </a:lnTo>
                    <a:lnTo>
                      <a:pt x="986" y="990"/>
                    </a:lnTo>
                    <a:lnTo>
                      <a:pt x="985" y="990"/>
                    </a:lnTo>
                    <a:lnTo>
                      <a:pt x="985" y="991"/>
                    </a:lnTo>
                    <a:lnTo>
                      <a:pt x="985" y="990"/>
                    </a:lnTo>
                    <a:lnTo>
                      <a:pt x="983" y="990"/>
                    </a:lnTo>
                    <a:lnTo>
                      <a:pt x="981" y="988"/>
                    </a:lnTo>
                    <a:lnTo>
                      <a:pt x="981" y="990"/>
                    </a:lnTo>
                    <a:lnTo>
                      <a:pt x="980" y="990"/>
                    </a:lnTo>
                    <a:lnTo>
                      <a:pt x="980" y="991"/>
                    </a:lnTo>
                    <a:lnTo>
                      <a:pt x="978" y="991"/>
                    </a:lnTo>
                    <a:lnTo>
                      <a:pt x="976" y="991"/>
                    </a:lnTo>
                    <a:lnTo>
                      <a:pt x="976" y="993"/>
                    </a:lnTo>
                    <a:lnTo>
                      <a:pt x="978" y="993"/>
                    </a:lnTo>
                    <a:lnTo>
                      <a:pt x="976" y="993"/>
                    </a:lnTo>
                    <a:lnTo>
                      <a:pt x="976" y="995"/>
                    </a:lnTo>
                    <a:lnTo>
                      <a:pt x="975" y="995"/>
                    </a:lnTo>
                    <a:lnTo>
                      <a:pt x="975" y="997"/>
                    </a:lnTo>
                    <a:lnTo>
                      <a:pt x="975" y="995"/>
                    </a:lnTo>
                    <a:lnTo>
                      <a:pt x="973" y="995"/>
                    </a:lnTo>
                    <a:lnTo>
                      <a:pt x="973" y="997"/>
                    </a:lnTo>
                    <a:lnTo>
                      <a:pt x="973" y="995"/>
                    </a:lnTo>
                    <a:lnTo>
                      <a:pt x="971" y="995"/>
                    </a:lnTo>
                    <a:lnTo>
                      <a:pt x="971" y="997"/>
                    </a:lnTo>
                    <a:lnTo>
                      <a:pt x="971" y="998"/>
                    </a:lnTo>
                    <a:lnTo>
                      <a:pt x="969" y="998"/>
                    </a:lnTo>
                    <a:lnTo>
                      <a:pt x="969" y="997"/>
                    </a:lnTo>
                    <a:lnTo>
                      <a:pt x="968" y="998"/>
                    </a:lnTo>
                    <a:lnTo>
                      <a:pt x="968" y="1000"/>
                    </a:lnTo>
                    <a:lnTo>
                      <a:pt x="966" y="1000"/>
                    </a:lnTo>
                    <a:lnTo>
                      <a:pt x="964" y="1000"/>
                    </a:lnTo>
                    <a:lnTo>
                      <a:pt x="964" y="1002"/>
                    </a:lnTo>
                    <a:lnTo>
                      <a:pt x="964" y="1003"/>
                    </a:lnTo>
                    <a:lnTo>
                      <a:pt x="966" y="1003"/>
                    </a:lnTo>
                    <a:lnTo>
                      <a:pt x="964" y="1003"/>
                    </a:lnTo>
                    <a:lnTo>
                      <a:pt x="966" y="1005"/>
                    </a:lnTo>
                    <a:lnTo>
                      <a:pt x="966" y="1007"/>
                    </a:lnTo>
                    <a:lnTo>
                      <a:pt x="964" y="1007"/>
                    </a:lnTo>
                    <a:lnTo>
                      <a:pt x="963" y="1007"/>
                    </a:lnTo>
                    <a:lnTo>
                      <a:pt x="961" y="1007"/>
                    </a:lnTo>
                    <a:lnTo>
                      <a:pt x="959" y="1005"/>
                    </a:lnTo>
                    <a:lnTo>
                      <a:pt x="958" y="1005"/>
                    </a:lnTo>
                    <a:lnTo>
                      <a:pt x="958" y="1007"/>
                    </a:lnTo>
                    <a:lnTo>
                      <a:pt x="958" y="1005"/>
                    </a:lnTo>
                    <a:lnTo>
                      <a:pt x="956" y="1005"/>
                    </a:lnTo>
                    <a:lnTo>
                      <a:pt x="954" y="1005"/>
                    </a:lnTo>
                    <a:lnTo>
                      <a:pt x="952" y="1005"/>
                    </a:lnTo>
                    <a:lnTo>
                      <a:pt x="951" y="1003"/>
                    </a:lnTo>
                    <a:lnTo>
                      <a:pt x="951" y="1005"/>
                    </a:lnTo>
                    <a:lnTo>
                      <a:pt x="949" y="1005"/>
                    </a:lnTo>
                    <a:lnTo>
                      <a:pt x="947" y="1005"/>
                    </a:lnTo>
                    <a:lnTo>
                      <a:pt x="946" y="1005"/>
                    </a:lnTo>
                    <a:lnTo>
                      <a:pt x="944" y="1007"/>
                    </a:lnTo>
                    <a:lnTo>
                      <a:pt x="942" y="1007"/>
                    </a:lnTo>
                    <a:lnTo>
                      <a:pt x="941" y="1007"/>
                    </a:lnTo>
                    <a:lnTo>
                      <a:pt x="941" y="1008"/>
                    </a:lnTo>
                    <a:lnTo>
                      <a:pt x="941" y="1010"/>
                    </a:lnTo>
                    <a:lnTo>
                      <a:pt x="939" y="1010"/>
                    </a:lnTo>
                    <a:lnTo>
                      <a:pt x="941" y="1012"/>
                    </a:lnTo>
                    <a:lnTo>
                      <a:pt x="939" y="1012"/>
                    </a:lnTo>
                    <a:lnTo>
                      <a:pt x="939" y="1014"/>
                    </a:lnTo>
                    <a:lnTo>
                      <a:pt x="939" y="1012"/>
                    </a:lnTo>
                    <a:lnTo>
                      <a:pt x="937" y="1014"/>
                    </a:lnTo>
                    <a:lnTo>
                      <a:pt x="935" y="1014"/>
                    </a:lnTo>
                    <a:lnTo>
                      <a:pt x="935" y="1015"/>
                    </a:lnTo>
                    <a:lnTo>
                      <a:pt x="935" y="1014"/>
                    </a:lnTo>
                    <a:lnTo>
                      <a:pt x="934" y="1014"/>
                    </a:lnTo>
                    <a:lnTo>
                      <a:pt x="935" y="1014"/>
                    </a:lnTo>
                    <a:lnTo>
                      <a:pt x="934" y="1012"/>
                    </a:lnTo>
                    <a:lnTo>
                      <a:pt x="932" y="1012"/>
                    </a:lnTo>
                    <a:lnTo>
                      <a:pt x="932" y="1014"/>
                    </a:lnTo>
                    <a:lnTo>
                      <a:pt x="932" y="1015"/>
                    </a:lnTo>
                    <a:lnTo>
                      <a:pt x="932" y="1014"/>
                    </a:lnTo>
                    <a:lnTo>
                      <a:pt x="930" y="1014"/>
                    </a:lnTo>
                    <a:lnTo>
                      <a:pt x="929" y="1015"/>
                    </a:lnTo>
                    <a:lnTo>
                      <a:pt x="927" y="1015"/>
                    </a:lnTo>
                    <a:lnTo>
                      <a:pt x="925" y="1017"/>
                    </a:lnTo>
                    <a:lnTo>
                      <a:pt x="924" y="1017"/>
                    </a:lnTo>
                    <a:lnTo>
                      <a:pt x="922" y="1017"/>
                    </a:lnTo>
                    <a:lnTo>
                      <a:pt x="922" y="1019"/>
                    </a:lnTo>
                    <a:lnTo>
                      <a:pt x="920" y="1019"/>
                    </a:lnTo>
                    <a:lnTo>
                      <a:pt x="920" y="1020"/>
                    </a:lnTo>
                    <a:lnTo>
                      <a:pt x="918" y="1020"/>
                    </a:lnTo>
                    <a:lnTo>
                      <a:pt x="917" y="1020"/>
                    </a:lnTo>
                    <a:lnTo>
                      <a:pt x="917" y="1022"/>
                    </a:lnTo>
                    <a:lnTo>
                      <a:pt x="915" y="1022"/>
                    </a:lnTo>
                    <a:lnTo>
                      <a:pt x="913" y="1024"/>
                    </a:lnTo>
                    <a:lnTo>
                      <a:pt x="912" y="1025"/>
                    </a:lnTo>
                    <a:lnTo>
                      <a:pt x="912" y="1027"/>
                    </a:lnTo>
                    <a:lnTo>
                      <a:pt x="912" y="1029"/>
                    </a:lnTo>
                    <a:lnTo>
                      <a:pt x="910" y="1029"/>
                    </a:lnTo>
                    <a:lnTo>
                      <a:pt x="908" y="1031"/>
                    </a:lnTo>
                    <a:lnTo>
                      <a:pt x="907" y="1032"/>
                    </a:lnTo>
                    <a:lnTo>
                      <a:pt x="905" y="1032"/>
                    </a:lnTo>
                    <a:lnTo>
                      <a:pt x="905" y="1034"/>
                    </a:lnTo>
                    <a:lnTo>
                      <a:pt x="903" y="1034"/>
                    </a:lnTo>
                    <a:lnTo>
                      <a:pt x="901" y="1036"/>
                    </a:lnTo>
                    <a:lnTo>
                      <a:pt x="900" y="1036"/>
                    </a:lnTo>
                    <a:lnTo>
                      <a:pt x="900" y="1037"/>
                    </a:lnTo>
                    <a:lnTo>
                      <a:pt x="898" y="1037"/>
                    </a:lnTo>
                    <a:lnTo>
                      <a:pt x="896" y="1039"/>
                    </a:lnTo>
                    <a:lnTo>
                      <a:pt x="895" y="1039"/>
                    </a:lnTo>
                    <a:lnTo>
                      <a:pt x="895" y="1041"/>
                    </a:lnTo>
                    <a:lnTo>
                      <a:pt x="893" y="1041"/>
                    </a:lnTo>
                    <a:lnTo>
                      <a:pt x="891" y="1042"/>
                    </a:lnTo>
                    <a:lnTo>
                      <a:pt x="890" y="1042"/>
                    </a:lnTo>
                    <a:lnTo>
                      <a:pt x="890" y="1044"/>
                    </a:lnTo>
                    <a:lnTo>
                      <a:pt x="888" y="1044"/>
                    </a:lnTo>
                    <a:lnTo>
                      <a:pt x="888" y="1046"/>
                    </a:lnTo>
                    <a:lnTo>
                      <a:pt x="886" y="1046"/>
                    </a:lnTo>
                    <a:lnTo>
                      <a:pt x="884" y="1048"/>
                    </a:lnTo>
                    <a:lnTo>
                      <a:pt x="884" y="1049"/>
                    </a:lnTo>
                    <a:lnTo>
                      <a:pt x="883" y="1049"/>
                    </a:lnTo>
                    <a:lnTo>
                      <a:pt x="883" y="1051"/>
                    </a:lnTo>
                    <a:lnTo>
                      <a:pt x="881" y="1051"/>
                    </a:lnTo>
                    <a:lnTo>
                      <a:pt x="881" y="1053"/>
                    </a:lnTo>
                    <a:lnTo>
                      <a:pt x="881" y="1054"/>
                    </a:lnTo>
                    <a:lnTo>
                      <a:pt x="881" y="1056"/>
                    </a:lnTo>
                    <a:lnTo>
                      <a:pt x="879" y="1056"/>
                    </a:lnTo>
                    <a:lnTo>
                      <a:pt x="879" y="1058"/>
                    </a:lnTo>
                    <a:lnTo>
                      <a:pt x="878" y="1058"/>
                    </a:lnTo>
                    <a:lnTo>
                      <a:pt x="878" y="1059"/>
                    </a:lnTo>
                    <a:lnTo>
                      <a:pt x="876" y="1059"/>
                    </a:lnTo>
                    <a:lnTo>
                      <a:pt x="876" y="1061"/>
                    </a:lnTo>
                    <a:lnTo>
                      <a:pt x="874" y="1061"/>
                    </a:lnTo>
                    <a:lnTo>
                      <a:pt x="874" y="1063"/>
                    </a:lnTo>
                    <a:lnTo>
                      <a:pt x="873" y="1063"/>
                    </a:lnTo>
                    <a:lnTo>
                      <a:pt x="873" y="1065"/>
                    </a:lnTo>
                    <a:lnTo>
                      <a:pt x="871" y="1065"/>
                    </a:lnTo>
                    <a:lnTo>
                      <a:pt x="871" y="1066"/>
                    </a:lnTo>
                    <a:lnTo>
                      <a:pt x="871" y="1068"/>
                    </a:lnTo>
                    <a:lnTo>
                      <a:pt x="869" y="1068"/>
                    </a:lnTo>
                    <a:lnTo>
                      <a:pt x="867" y="1068"/>
                    </a:lnTo>
                    <a:lnTo>
                      <a:pt x="867" y="1070"/>
                    </a:lnTo>
                    <a:lnTo>
                      <a:pt x="867" y="1071"/>
                    </a:lnTo>
                    <a:lnTo>
                      <a:pt x="866" y="1071"/>
                    </a:lnTo>
                    <a:lnTo>
                      <a:pt x="866" y="1073"/>
                    </a:lnTo>
                    <a:lnTo>
                      <a:pt x="864" y="1073"/>
                    </a:lnTo>
                    <a:lnTo>
                      <a:pt x="862" y="1075"/>
                    </a:lnTo>
                    <a:lnTo>
                      <a:pt x="862" y="1076"/>
                    </a:lnTo>
                    <a:lnTo>
                      <a:pt x="861" y="1078"/>
                    </a:lnTo>
                    <a:lnTo>
                      <a:pt x="861" y="1080"/>
                    </a:lnTo>
                    <a:lnTo>
                      <a:pt x="859" y="1080"/>
                    </a:lnTo>
                    <a:lnTo>
                      <a:pt x="861" y="1082"/>
                    </a:lnTo>
                    <a:lnTo>
                      <a:pt x="859" y="1082"/>
                    </a:lnTo>
                    <a:lnTo>
                      <a:pt x="859" y="1083"/>
                    </a:lnTo>
                    <a:lnTo>
                      <a:pt x="859" y="1085"/>
                    </a:lnTo>
                    <a:lnTo>
                      <a:pt x="857" y="1085"/>
                    </a:lnTo>
                    <a:lnTo>
                      <a:pt x="857" y="1087"/>
                    </a:lnTo>
                    <a:lnTo>
                      <a:pt x="857" y="1088"/>
                    </a:lnTo>
                    <a:lnTo>
                      <a:pt x="857" y="1090"/>
                    </a:lnTo>
                    <a:lnTo>
                      <a:pt x="857" y="1092"/>
                    </a:lnTo>
                    <a:lnTo>
                      <a:pt x="857" y="1093"/>
                    </a:lnTo>
                    <a:lnTo>
                      <a:pt x="859" y="1093"/>
                    </a:lnTo>
                    <a:lnTo>
                      <a:pt x="861" y="1093"/>
                    </a:lnTo>
                    <a:lnTo>
                      <a:pt x="861" y="1095"/>
                    </a:lnTo>
                    <a:lnTo>
                      <a:pt x="861" y="1097"/>
                    </a:lnTo>
                    <a:lnTo>
                      <a:pt x="859" y="1099"/>
                    </a:lnTo>
                    <a:lnTo>
                      <a:pt x="859" y="1100"/>
                    </a:lnTo>
                    <a:lnTo>
                      <a:pt x="859" y="1102"/>
                    </a:lnTo>
                    <a:lnTo>
                      <a:pt x="857" y="1102"/>
                    </a:lnTo>
                    <a:lnTo>
                      <a:pt x="857" y="1104"/>
                    </a:lnTo>
                    <a:lnTo>
                      <a:pt x="857" y="1105"/>
                    </a:lnTo>
                    <a:lnTo>
                      <a:pt x="857" y="1107"/>
                    </a:lnTo>
                    <a:lnTo>
                      <a:pt x="856" y="1107"/>
                    </a:lnTo>
                    <a:lnTo>
                      <a:pt x="856" y="1109"/>
                    </a:lnTo>
                    <a:lnTo>
                      <a:pt x="856" y="1110"/>
                    </a:lnTo>
                    <a:lnTo>
                      <a:pt x="856" y="1112"/>
                    </a:lnTo>
                    <a:lnTo>
                      <a:pt x="854" y="1112"/>
                    </a:lnTo>
                    <a:lnTo>
                      <a:pt x="856" y="1112"/>
                    </a:lnTo>
                    <a:lnTo>
                      <a:pt x="854" y="1112"/>
                    </a:lnTo>
                    <a:lnTo>
                      <a:pt x="854" y="1114"/>
                    </a:lnTo>
                    <a:lnTo>
                      <a:pt x="856" y="1114"/>
                    </a:lnTo>
                    <a:lnTo>
                      <a:pt x="856" y="1116"/>
                    </a:lnTo>
                    <a:lnTo>
                      <a:pt x="856" y="1117"/>
                    </a:lnTo>
                    <a:lnTo>
                      <a:pt x="856" y="1116"/>
                    </a:lnTo>
                    <a:lnTo>
                      <a:pt x="857" y="1117"/>
                    </a:lnTo>
                    <a:lnTo>
                      <a:pt x="857" y="1119"/>
                    </a:lnTo>
                    <a:lnTo>
                      <a:pt x="856" y="1121"/>
                    </a:lnTo>
                    <a:lnTo>
                      <a:pt x="856" y="1122"/>
                    </a:lnTo>
                    <a:lnTo>
                      <a:pt x="857" y="1122"/>
                    </a:lnTo>
                    <a:lnTo>
                      <a:pt x="857" y="1124"/>
                    </a:lnTo>
                    <a:lnTo>
                      <a:pt x="856" y="1124"/>
                    </a:lnTo>
                    <a:lnTo>
                      <a:pt x="857" y="1126"/>
                    </a:lnTo>
                    <a:lnTo>
                      <a:pt x="859" y="1126"/>
                    </a:lnTo>
                    <a:lnTo>
                      <a:pt x="859" y="1128"/>
                    </a:lnTo>
                    <a:lnTo>
                      <a:pt x="857" y="1128"/>
                    </a:lnTo>
                    <a:lnTo>
                      <a:pt x="857" y="1129"/>
                    </a:lnTo>
                    <a:lnTo>
                      <a:pt x="857" y="1131"/>
                    </a:lnTo>
                    <a:lnTo>
                      <a:pt x="859" y="1131"/>
                    </a:lnTo>
                    <a:lnTo>
                      <a:pt x="861" y="1131"/>
                    </a:lnTo>
                    <a:lnTo>
                      <a:pt x="861" y="1129"/>
                    </a:lnTo>
                    <a:lnTo>
                      <a:pt x="861" y="1131"/>
                    </a:lnTo>
                    <a:lnTo>
                      <a:pt x="862" y="1131"/>
                    </a:lnTo>
                    <a:lnTo>
                      <a:pt x="861" y="1131"/>
                    </a:lnTo>
                    <a:lnTo>
                      <a:pt x="861" y="1133"/>
                    </a:lnTo>
                    <a:lnTo>
                      <a:pt x="862" y="1133"/>
                    </a:lnTo>
                    <a:lnTo>
                      <a:pt x="861" y="1134"/>
                    </a:lnTo>
                    <a:lnTo>
                      <a:pt x="861" y="1133"/>
                    </a:lnTo>
                    <a:lnTo>
                      <a:pt x="859" y="1133"/>
                    </a:lnTo>
                    <a:lnTo>
                      <a:pt x="857" y="1134"/>
                    </a:lnTo>
                    <a:lnTo>
                      <a:pt x="857" y="1136"/>
                    </a:lnTo>
                    <a:lnTo>
                      <a:pt x="857" y="1138"/>
                    </a:lnTo>
                    <a:lnTo>
                      <a:pt x="859" y="1138"/>
                    </a:lnTo>
                    <a:lnTo>
                      <a:pt x="859" y="1136"/>
                    </a:lnTo>
                    <a:lnTo>
                      <a:pt x="859" y="1138"/>
                    </a:lnTo>
                    <a:lnTo>
                      <a:pt x="861" y="1138"/>
                    </a:lnTo>
                    <a:lnTo>
                      <a:pt x="859" y="1139"/>
                    </a:lnTo>
                    <a:lnTo>
                      <a:pt x="861" y="1139"/>
                    </a:lnTo>
                    <a:lnTo>
                      <a:pt x="859" y="1139"/>
                    </a:lnTo>
                    <a:lnTo>
                      <a:pt x="859" y="1141"/>
                    </a:lnTo>
                    <a:lnTo>
                      <a:pt x="857" y="1141"/>
                    </a:lnTo>
                    <a:lnTo>
                      <a:pt x="857" y="1143"/>
                    </a:lnTo>
                    <a:lnTo>
                      <a:pt x="856" y="1143"/>
                    </a:lnTo>
                    <a:lnTo>
                      <a:pt x="856" y="1145"/>
                    </a:lnTo>
                    <a:lnTo>
                      <a:pt x="857" y="1145"/>
                    </a:lnTo>
                    <a:lnTo>
                      <a:pt x="857" y="1146"/>
                    </a:lnTo>
                    <a:lnTo>
                      <a:pt x="857" y="1148"/>
                    </a:lnTo>
                    <a:lnTo>
                      <a:pt x="859" y="1148"/>
                    </a:lnTo>
                    <a:lnTo>
                      <a:pt x="857" y="1150"/>
                    </a:lnTo>
                    <a:lnTo>
                      <a:pt x="857" y="1148"/>
                    </a:lnTo>
                    <a:lnTo>
                      <a:pt x="857" y="1150"/>
                    </a:lnTo>
                    <a:lnTo>
                      <a:pt x="856" y="1150"/>
                    </a:lnTo>
                    <a:lnTo>
                      <a:pt x="856" y="1151"/>
                    </a:lnTo>
                    <a:lnTo>
                      <a:pt x="857" y="1151"/>
                    </a:lnTo>
                    <a:lnTo>
                      <a:pt x="856" y="1151"/>
                    </a:lnTo>
                    <a:lnTo>
                      <a:pt x="856" y="1153"/>
                    </a:lnTo>
                    <a:lnTo>
                      <a:pt x="857" y="1155"/>
                    </a:lnTo>
                    <a:lnTo>
                      <a:pt x="856" y="1155"/>
                    </a:lnTo>
                    <a:lnTo>
                      <a:pt x="857" y="1155"/>
                    </a:lnTo>
                    <a:lnTo>
                      <a:pt x="857" y="1156"/>
                    </a:lnTo>
                    <a:lnTo>
                      <a:pt x="859" y="1158"/>
                    </a:lnTo>
                    <a:lnTo>
                      <a:pt x="857" y="1158"/>
                    </a:lnTo>
                    <a:lnTo>
                      <a:pt x="857" y="1160"/>
                    </a:lnTo>
                    <a:lnTo>
                      <a:pt x="859" y="1160"/>
                    </a:lnTo>
                    <a:lnTo>
                      <a:pt x="857" y="1160"/>
                    </a:lnTo>
                    <a:lnTo>
                      <a:pt x="857" y="1162"/>
                    </a:lnTo>
                    <a:lnTo>
                      <a:pt x="857" y="1163"/>
                    </a:lnTo>
                    <a:lnTo>
                      <a:pt x="857" y="1165"/>
                    </a:lnTo>
                    <a:lnTo>
                      <a:pt x="857" y="1167"/>
                    </a:lnTo>
                    <a:lnTo>
                      <a:pt x="856" y="1168"/>
                    </a:lnTo>
                    <a:lnTo>
                      <a:pt x="857" y="1168"/>
                    </a:lnTo>
                    <a:lnTo>
                      <a:pt x="856" y="1168"/>
                    </a:lnTo>
                    <a:lnTo>
                      <a:pt x="856" y="1170"/>
                    </a:lnTo>
                    <a:lnTo>
                      <a:pt x="856" y="1172"/>
                    </a:lnTo>
                    <a:lnTo>
                      <a:pt x="856" y="1173"/>
                    </a:lnTo>
                    <a:lnTo>
                      <a:pt x="854" y="1175"/>
                    </a:lnTo>
                    <a:lnTo>
                      <a:pt x="854" y="1177"/>
                    </a:lnTo>
                    <a:lnTo>
                      <a:pt x="852" y="1179"/>
                    </a:lnTo>
                    <a:lnTo>
                      <a:pt x="852" y="1180"/>
                    </a:lnTo>
                    <a:lnTo>
                      <a:pt x="852" y="1182"/>
                    </a:lnTo>
                    <a:lnTo>
                      <a:pt x="852" y="1184"/>
                    </a:lnTo>
                    <a:lnTo>
                      <a:pt x="852" y="1185"/>
                    </a:lnTo>
                    <a:lnTo>
                      <a:pt x="850" y="1185"/>
                    </a:lnTo>
                    <a:lnTo>
                      <a:pt x="850" y="1187"/>
                    </a:lnTo>
                    <a:lnTo>
                      <a:pt x="849" y="1187"/>
                    </a:lnTo>
                    <a:lnTo>
                      <a:pt x="847" y="1187"/>
                    </a:lnTo>
                    <a:lnTo>
                      <a:pt x="847" y="1189"/>
                    </a:lnTo>
                    <a:lnTo>
                      <a:pt x="845" y="1189"/>
                    </a:lnTo>
                    <a:lnTo>
                      <a:pt x="844" y="1190"/>
                    </a:lnTo>
                    <a:lnTo>
                      <a:pt x="840" y="1192"/>
                    </a:lnTo>
                    <a:lnTo>
                      <a:pt x="839" y="1194"/>
                    </a:lnTo>
                    <a:lnTo>
                      <a:pt x="837" y="1194"/>
                    </a:lnTo>
                    <a:lnTo>
                      <a:pt x="837" y="1196"/>
                    </a:lnTo>
                    <a:lnTo>
                      <a:pt x="833" y="1197"/>
                    </a:lnTo>
                    <a:lnTo>
                      <a:pt x="833" y="1199"/>
                    </a:lnTo>
                    <a:lnTo>
                      <a:pt x="832" y="1199"/>
                    </a:lnTo>
                    <a:lnTo>
                      <a:pt x="832" y="1201"/>
                    </a:lnTo>
                    <a:lnTo>
                      <a:pt x="828" y="1202"/>
                    </a:lnTo>
                    <a:lnTo>
                      <a:pt x="828" y="1204"/>
                    </a:lnTo>
                    <a:lnTo>
                      <a:pt x="827" y="1206"/>
                    </a:lnTo>
                    <a:lnTo>
                      <a:pt x="825" y="1207"/>
                    </a:lnTo>
                    <a:lnTo>
                      <a:pt x="823" y="1209"/>
                    </a:lnTo>
                    <a:lnTo>
                      <a:pt x="822" y="1211"/>
                    </a:lnTo>
                    <a:lnTo>
                      <a:pt x="822" y="1213"/>
                    </a:lnTo>
                    <a:lnTo>
                      <a:pt x="820" y="1213"/>
                    </a:lnTo>
                    <a:lnTo>
                      <a:pt x="820" y="1214"/>
                    </a:lnTo>
                    <a:lnTo>
                      <a:pt x="820" y="1216"/>
                    </a:lnTo>
                    <a:lnTo>
                      <a:pt x="818" y="1216"/>
                    </a:lnTo>
                    <a:lnTo>
                      <a:pt x="818" y="1218"/>
                    </a:lnTo>
                    <a:lnTo>
                      <a:pt x="816" y="1219"/>
                    </a:lnTo>
                    <a:lnTo>
                      <a:pt x="815" y="1221"/>
                    </a:lnTo>
                    <a:lnTo>
                      <a:pt x="815" y="1223"/>
                    </a:lnTo>
                    <a:lnTo>
                      <a:pt x="813" y="1224"/>
                    </a:lnTo>
                    <a:lnTo>
                      <a:pt x="813" y="1226"/>
                    </a:lnTo>
                    <a:lnTo>
                      <a:pt x="811" y="1228"/>
                    </a:lnTo>
                    <a:lnTo>
                      <a:pt x="810" y="1231"/>
                    </a:lnTo>
                    <a:lnTo>
                      <a:pt x="810" y="1233"/>
                    </a:lnTo>
                    <a:lnTo>
                      <a:pt x="808" y="1235"/>
                    </a:lnTo>
                    <a:lnTo>
                      <a:pt x="808" y="1236"/>
                    </a:lnTo>
                    <a:lnTo>
                      <a:pt x="806" y="1240"/>
                    </a:lnTo>
                    <a:lnTo>
                      <a:pt x="806" y="1241"/>
                    </a:lnTo>
                    <a:lnTo>
                      <a:pt x="805" y="1245"/>
                    </a:lnTo>
                    <a:lnTo>
                      <a:pt x="803" y="1250"/>
                    </a:lnTo>
                    <a:lnTo>
                      <a:pt x="801" y="1252"/>
                    </a:lnTo>
                    <a:lnTo>
                      <a:pt x="801" y="1253"/>
                    </a:lnTo>
                    <a:lnTo>
                      <a:pt x="799" y="1257"/>
                    </a:lnTo>
                    <a:lnTo>
                      <a:pt x="799" y="1258"/>
                    </a:lnTo>
                    <a:lnTo>
                      <a:pt x="799" y="1260"/>
                    </a:lnTo>
                    <a:lnTo>
                      <a:pt x="798" y="1262"/>
                    </a:lnTo>
                    <a:lnTo>
                      <a:pt x="798" y="1264"/>
                    </a:lnTo>
                    <a:lnTo>
                      <a:pt x="796" y="1267"/>
                    </a:lnTo>
                    <a:lnTo>
                      <a:pt x="794" y="1269"/>
                    </a:lnTo>
                    <a:lnTo>
                      <a:pt x="793" y="1270"/>
                    </a:lnTo>
                    <a:lnTo>
                      <a:pt x="793" y="1272"/>
                    </a:lnTo>
                    <a:lnTo>
                      <a:pt x="791" y="1272"/>
                    </a:lnTo>
                    <a:lnTo>
                      <a:pt x="791" y="1274"/>
                    </a:lnTo>
                    <a:lnTo>
                      <a:pt x="789" y="1276"/>
                    </a:lnTo>
                    <a:lnTo>
                      <a:pt x="789" y="1277"/>
                    </a:lnTo>
                    <a:lnTo>
                      <a:pt x="788" y="1279"/>
                    </a:lnTo>
                    <a:lnTo>
                      <a:pt x="786" y="1281"/>
                    </a:lnTo>
                    <a:lnTo>
                      <a:pt x="784" y="1284"/>
                    </a:lnTo>
                    <a:lnTo>
                      <a:pt x="784" y="1286"/>
                    </a:lnTo>
                    <a:lnTo>
                      <a:pt x="782" y="1286"/>
                    </a:lnTo>
                    <a:lnTo>
                      <a:pt x="782" y="1287"/>
                    </a:lnTo>
                    <a:lnTo>
                      <a:pt x="779" y="1289"/>
                    </a:lnTo>
                    <a:lnTo>
                      <a:pt x="779" y="1291"/>
                    </a:lnTo>
                    <a:lnTo>
                      <a:pt x="777" y="1293"/>
                    </a:lnTo>
                    <a:lnTo>
                      <a:pt x="776" y="1294"/>
                    </a:lnTo>
                    <a:lnTo>
                      <a:pt x="774" y="1294"/>
                    </a:lnTo>
                    <a:lnTo>
                      <a:pt x="774" y="1296"/>
                    </a:lnTo>
                    <a:lnTo>
                      <a:pt x="772" y="1298"/>
                    </a:lnTo>
                    <a:lnTo>
                      <a:pt x="771" y="1299"/>
                    </a:lnTo>
                    <a:lnTo>
                      <a:pt x="769" y="1301"/>
                    </a:lnTo>
                    <a:lnTo>
                      <a:pt x="769" y="1303"/>
                    </a:lnTo>
                    <a:lnTo>
                      <a:pt x="767" y="1303"/>
                    </a:lnTo>
                    <a:lnTo>
                      <a:pt x="765" y="1304"/>
                    </a:lnTo>
                    <a:lnTo>
                      <a:pt x="764" y="1306"/>
                    </a:lnTo>
                    <a:lnTo>
                      <a:pt x="762" y="1308"/>
                    </a:lnTo>
                    <a:lnTo>
                      <a:pt x="760" y="1308"/>
                    </a:lnTo>
                    <a:lnTo>
                      <a:pt x="759" y="1310"/>
                    </a:lnTo>
                    <a:lnTo>
                      <a:pt x="757" y="1311"/>
                    </a:lnTo>
                    <a:lnTo>
                      <a:pt x="755" y="1311"/>
                    </a:lnTo>
                    <a:lnTo>
                      <a:pt x="755" y="1313"/>
                    </a:lnTo>
                    <a:lnTo>
                      <a:pt x="754" y="1313"/>
                    </a:lnTo>
                    <a:lnTo>
                      <a:pt x="752" y="1315"/>
                    </a:lnTo>
                    <a:lnTo>
                      <a:pt x="750" y="1315"/>
                    </a:lnTo>
                    <a:lnTo>
                      <a:pt x="748" y="1316"/>
                    </a:lnTo>
                    <a:lnTo>
                      <a:pt x="747" y="1318"/>
                    </a:lnTo>
                    <a:lnTo>
                      <a:pt x="745" y="1320"/>
                    </a:lnTo>
                    <a:lnTo>
                      <a:pt x="743" y="1320"/>
                    </a:lnTo>
                    <a:lnTo>
                      <a:pt x="742" y="1323"/>
                    </a:lnTo>
                    <a:lnTo>
                      <a:pt x="742" y="1325"/>
                    </a:lnTo>
                    <a:lnTo>
                      <a:pt x="740" y="1325"/>
                    </a:lnTo>
                    <a:lnTo>
                      <a:pt x="740" y="1327"/>
                    </a:lnTo>
                    <a:lnTo>
                      <a:pt x="740" y="1325"/>
                    </a:lnTo>
                    <a:lnTo>
                      <a:pt x="740" y="1327"/>
                    </a:lnTo>
                    <a:lnTo>
                      <a:pt x="738" y="1327"/>
                    </a:lnTo>
                    <a:lnTo>
                      <a:pt x="737" y="1328"/>
                    </a:lnTo>
                    <a:lnTo>
                      <a:pt x="735" y="1330"/>
                    </a:lnTo>
                    <a:lnTo>
                      <a:pt x="733" y="1333"/>
                    </a:lnTo>
                    <a:lnTo>
                      <a:pt x="731" y="1335"/>
                    </a:lnTo>
                    <a:lnTo>
                      <a:pt x="731" y="1337"/>
                    </a:lnTo>
                    <a:lnTo>
                      <a:pt x="731" y="1338"/>
                    </a:lnTo>
                    <a:lnTo>
                      <a:pt x="730" y="1338"/>
                    </a:lnTo>
                    <a:lnTo>
                      <a:pt x="730" y="1342"/>
                    </a:lnTo>
                    <a:lnTo>
                      <a:pt x="730" y="1344"/>
                    </a:lnTo>
                    <a:lnTo>
                      <a:pt x="728" y="1344"/>
                    </a:lnTo>
                    <a:lnTo>
                      <a:pt x="728" y="1345"/>
                    </a:lnTo>
                    <a:lnTo>
                      <a:pt x="728" y="1347"/>
                    </a:lnTo>
                    <a:lnTo>
                      <a:pt x="728" y="1349"/>
                    </a:lnTo>
                    <a:lnTo>
                      <a:pt x="728" y="1350"/>
                    </a:lnTo>
                    <a:lnTo>
                      <a:pt x="726" y="1352"/>
                    </a:lnTo>
                    <a:lnTo>
                      <a:pt x="726" y="1354"/>
                    </a:lnTo>
                    <a:lnTo>
                      <a:pt x="726" y="1355"/>
                    </a:lnTo>
                    <a:lnTo>
                      <a:pt x="725" y="1355"/>
                    </a:lnTo>
                    <a:lnTo>
                      <a:pt x="725" y="1357"/>
                    </a:lnTo>
                    <a:lnTo>
                      <a:pt x="725" y="1359"/>
                    </a:lnTo>
                    <a:lnTo>
                      <a:pt x="723" y="1362"/>
                    </a:lnTo>
                    <a:lnTo>
                      <a:pt x="721" y="1364"/>
                    </a:lnTo>
                    <a:lnTo>
                      <a:pt x="721" y="1366"/>
                    </a:lnTo>
                    <a:lnTo>
                      <a:pt x="720" y="1366"/>
                    </a:lnTo>
                    <a:lnTo>
                      <a:pt x="720" y="1367"/>
                    </a:lnTo>
                    <a:lnTo>
                      <a:pt x="718" y="1369"/>
                    </a:lnTo>
                    <a:lnTo>
                      <a:pt x="716" y="1371"/>
                    </a:lnTo>
                    <a:lnTo>
                      <a:pt x="714" y="1372"/>
                    </a:lnTo>
                    <a:lnTo>
                      <a:pt x="713" y="1374"/>
                    </a:lnTo>
                    <a:lnTo>
                      <a:pt x="711" y="1376"/>
                    </a:lnTo>
                    <a:lnTo>
                      <a:pt x="709" y="1378"/>
                    </a:lnTo>
                    <a:lnTo>
                      <a:pt x="708" y="1379"/>
                    </a:lnTo>
                    <a:lnTo>
                      <a:pt x="706" y="1381"/>
                    </a:lnTo>
                    <a:lnTo>
                      <a:pt x="704" y="1383"/>
                    </a:lnTo>
                    <a:lnTo>
                      <a:pt x="704" y="1384"/>
                    </a:lnTo>
                    <a:lnTo>
                      <a:pt x="703" y="1384"/>
                    </a:lnTo>
                    <a:lnTo>
                      <a:pt x="701" y="1386"/>
                    </a:lnTo>
                    <a:lnTo>
                      <a:pt x="699" y="1388"/>
                    </a:lnTo>
                    <a:lnTo>
                      <a:pt x="697" y="1388"/>
                    </a:lnTo>
                    <a:lnTo>
                      <a:pt x="697" y="1389"/>
                    </a:lnTo>
                    <a:lnTo>
                      <a:pt x="696" y="1389"/>
                    </a:lnTo>
                    <a:lnTo>
                      <a:pt x="694" y="1389"/>
                    </a:lnTo>
                    <a:lnTo>
                      <a:pt x="694" y="1388"/>
                    </a:lnTo>
                    <a:lnTo>
                      <a:pt x="692" y="1388"/>
                    </a:lnTo>
                    <a:lnTo>
                      <a:pt x="691" y="1388"/>
                    </a:lnTo>
                    <a:lnTo>
                      <a:pt x="691" y="1386"/>
                    </a:lnTo>
                    <a:lnTo>
                      <a:pt x="691" y="1384"/>
                    </a:lnTo>
                    <a:lnTo>
                      <a:pt x="691" y="1383"/>
                    </a:lnTo>
                    <a:lnTo>
                      <a:pt x="691" y="1381"/>
                    </a:lnTo>
                    <a:lnTo>
                      <a:pt x="692" y="1379"/>
                    </a:lnTo>
                    <a:lnTo>
                      <a:pt x="692" y="1376"/>
                    </a:lnTo>
                    <a:lnTo>
                      <a:pt x="692" y="1374"/>
                    </a:lnTo>
                    <a:lnTo>
                      <a:pt x="691" y="1372"/>
                    </a:lnTo>
                    <a:lnTo>
                      <a:pt x="691" y="1371"/>
                    </a:lnTo>
                    <a:lnTo>
                      <a:pt x="691" y="1369"/>
                    </a:lnTo>
                    <a:lnTo>
                      <a:pt x="691" y="1367"/>
                    </a:lnTo>
                    <a:lnTo>
                      <a:pt x="692" y="1367"/>
                    </a:lnTo>
                    <a:lnTo>
                      <a:pt x="692" y="1366"/>
                    </a:lnTo>
                    <a:lnTo>
                      <a:pt x="692" y="1364"/>
                    </a:lnTo>
                    <a:lnTo>
                      <a:pt x="694" y="1364"/>
                    </a:lnTo>
                    <a:lnTo>
                      <a:pt x="697" y="1359"/>
                    </a:lnTo>
                    <a:lnTo>
                      <a:pt x="699" y="1359"/>
                    </a:lnTo>
                    <a:lnTo>
                      <a:pt x="699" y="1357"/>
                    </a:lnTo>
                    <a:lnTo>
                      <a:pt x="699" y="1355"/>
                    </a:lnTo>
                    <a:lnTo>
                      <a:pt x="699" y="1354"/>
                    </a:lnTo>
                    <a:lnTo>
                      <a:pt x="701" y="1354"/>
                    </a:lnTo>
                    <a:lnTo>
                      <a:pt x="701" y="1352"/>
                    </a:lnTo>
                    <a:lnTo>
                      <a:pt x="703" y="1350"/>
                    </a:lnTo>
                    <a:lnTo>
                      <a:pt x="704" y="1350"/>
                    </a:lnTo>
                    <a:lnTo>
                      <a:pt x="704" y="1349"/>
                    </a:lnTo>
                    <a:lnTo>
                      <a:pt x="706" y="1349"/>
                    </a:lnTo>
                    <a:lnTo>
                      <a:pt x="703" y="1347"/>
                    </a:lnTo>
                    <a:lnTo>
                      <a:pt x="703" y="1345"/>
                    </a:lnTo>
                    <a:lnTo>
                      <a:pt x="701" y="1345"/>
                    </a:lnTo>
                    <a:lnTo>
                      <a:pt x="701" y="1344"/>
                    </a:lnTo>
                    <a:lnTo>
                      <a:pt x="699" y="1344"/>
                    </a:lnTo>
                    <a:lnTo>
                      <a:pt x="697" y="1344"/>
                    </a:lnTo>
                    <a:lnTo>
                      <a:pt x="696" y="1342"/>
                    </a:lnTo>
                    <a:lnTo>
                      <a:pt x="696" y="1344"/>
                    </a:lnTo>
                    <a:lnTo>
                      <a:pt x="696" y="1342"/>
                    </a:lnTo>
                    <a:lnTo>
                      <a:pt x="694" y="1342"/>
                    </a:lnTo>
                    <a:lnTo>
                      <a:pt x="694" y="1340"/>
                    </a:lnTo>
                    <a:lnTo>
                      <a:pt x="694" y="1338"/>
                    </a:lnTo>
                    <a:lnTo>
                      <a:pt x="692" y="1338"/>
                    </a:lnTo>
                    <a:lnTo>
                      <a:pt x="691" y="1338"/>
                    </a:lnTo>
                    <a:lnTo>
                      <a:pt x="689" y="1337"/>
                    </a:lnTo>
                    <a:lnTo>
                      <a:pt x="689" y="1335"/>
                    </a:lnTo>
                    <a:lnTo>
                      <a:pt x="687" y="1335"/>
                    </a:lnTo>
                    <a:lnTo>
                      <a:pt x="687" y="1333"/>
                    </a:lnTo>
                    <a:lnTo>
                      <a:pt x="687" y="1332"/>
                    </a:lnTo>
                    <a:lnTo>
                      <a:pt x="687" y="1330"/>
                    </a:lnTo>
                    <a:lnTo>
                      <a:pt x="686" y="1330"/>
                    </a:lnTo>
                    <a:lnTo>
                      <a:pt x="686" y="1328"/>
                    </a:lnTo>
                    <a:lnTo>
                      <a:pt x="686" y="1327"/>
                    </a:lnTo>
                    <a:lnTo>
                      <a:pt x="684" y="1327"/>
                    </a:lnTo>
                    <a:lnTo>
                      <a:pt x="686" y="1325"/>
                    </a:lnTo>
                    <a:lnTo>
                      <a:pt x="684" y="1325"/>
                    </a:lnTo>
                    <a:lnTo>
                      <a:pt x="684" y="1323"/>
                    </a:lnTo>
                    <a:lnTo>
                      <a:pt x="682" y="1321"/>
                    </a:lnTo>
                    <a:lnTo>
                      <a:pt x="682" y="1323"/>
                    </a:lnTo>
                    <a:lnTo>
                      <a:pt x="680" y="1321"/>
                    </a:lnTo>
                    <a:lnTo>
                      <a:pt x="680" y="1320"/>
                    </a:lnTo>
                    <a:lnTo>
                      <a:pt x="679" y="1320"/>
                    </a:lnTo>
                    <a:lnTo>
                      <a:pt x="679" y="1318"/>
                    </a:lnTo>
                    <a:lnTo>
                      <a:pt x="677" y="1318"/>
                    </a:lnTo>
                    <a:lnTo>
                      <a:pt x="675" y="1316"/>
                    </a:lnTo>
                    <a:lnTo>
                      <a:pt x="677" y="1316"/>
                    </a:lnTo>
                    <a:lnTo>
                      <a:pt x="675" y="1316"/>
                    </a:lnTo>
                    <a:lnTo>
                      <a:pt x="674" y="1315"/>
                    </a:lnTo>
                    <a:lnTo>
                      <a:pt x="674" y="1316"/>
                    </a:lnTo>
                    <a:lnTo>
                      <a:pt x="672" y="1316"/>
                    </a:lnTo>
                    <a:lnTo>
                      <a:pt x="670" y="1316"/>
                    </a:lnTo>
                    <a:lnTo>
                      <a:pt x="670" y="1315"/>
                    </a:lnTo>
                    <a:lnTo>
                      <a:pt x="669" y="1315"/>
                    </a:lnTo>
                    <a:lnTo>
                      <a:pt x="669" y="1313"/>
                    </a:lnTo>
                    <a:lnTo>
                      <a:pt x="667" y="1313"/>
                    </a:lnTo>
                    <a:lnTo>
                      <a:pt x="667" y="1311"/>
                    </a:lnTo>
                    <a:lnTo>
                      <a:pt x="665" y="1311"/>
                    </a:lnTo>
                    <a:lnTo>
                      <a:pt x="663" y="1310"/>
                    </a:lnTo>
                    <a:lnTo>
                      <a:pt x="660" y="1306"/>
                    </a:lnTo>
                    <a:lnTo>
                      <a:pt x="660" y="1304"/>
                    </a:lnTo>
                    <a:lnTo>
                      <a:pt x="660" y="1303"/>
                    </a:lnTo>
                    <a:lnTo>
                      <a:pt x="658" y="1303"/>
                    </a:lnTo>
                    <a:lnTo>
                      <a:pt x="658" y="1301"/>
                    </a:lnTo>
                    <a:lnTo>
                      <a:pt x="658" y="1299"/>
                    </a:lnTo>
                    <a:lnTo>
                      <a:pt x="657" y="1299"/>
                    </a:lnTo>
                    <a:lnTo>
                      <a:pt x="655" y="1298"/>
                    </a:lnTo>
                    <a:lnTo>
                      <a:pt x="653" y="1298"/>
                    </a:lnTo>
                    <a:lnTo>
                      <a:pt x="652" y="1298"/>
                    </a:lnTo>
                    <a:lnTo>
                      <a:pt x="650" y="1296"/>
                    </a:lnTo>
                    <a:lnTo>
                      <a:pt x="650" y="1298"/>
                    </a:lnTo>
                    <a:lnTo>
                      <a:pt x="648" y="1298"/>
                    </a:lnTo>
                    <a:lnTo>
                      <a:pt x="646" y="1298"/>
                    </a:lnTo>
                    <a:lnTo>
                      <a:pt x="646" y="1296"/>
                    </a:lnTo>
                    <a:lnTo>
                      <a:pt x="645" y="1294"/>
                    </a:lnTo>
                    <a:lnTo>
                      <a:pt x="645" y="1296"/>
                    </a:lnTo>
                    <a:lnTo>
                      <a:pt x="643" y="1296"/>
                    </a:lnTo>
                    <a:lnTo>
                      <a:pt x="643" y="1294"/>
                    </a:lnTo>
                    <a:lnTo>
                      <a:pt x="643" y="1293"/>
                    </a:lnTo>
                    <a:lnTo>
                      <a:pt x="641" y="1293"/>
                    </a:lnTo>
                    <a:lnTo>
                      <a:pt x="641" y="1291"/>
                    </a:lnTo>
                    <a:lnTo>
                      <a:pt x="640" y="1291"/>
                    </a:lnTo>
                    <a:lnTo>
                      <a:pt x="640" y="1293"/>
                    </a:lnTo>
                    <a:lnTo>
                      <a:pt x="638" y="1293"/>
                    </a:lnTo>
                    <a:lnTo>
                      <a:pt x="636" y="1293"/>
                    </a:lnTo>
                    <a:lnTo>
                      <a:pt x="636" y="1291"/>
                    </a:lnTo>
                    <a:lnTo>
                      <a:pt x="635" y="1291"/>
                    </a:lnTo>
                    <a:lnTo>
                      <a:pt x="633" y="1291"/>
                    </a:lnTo>
                    <a:lnTo>
                      <a:pt x="633" y="1289"/>
                    </a:lnTo>
                    <a:lnTo>
                      <a:pt x="633" y="1287"/>
                    </a:lnTo>
                    <a:lnTo>
                      <a:pt x="631" y="1287"/>
                    </a:lnTo>
                    <a:lnTo>
                      <a:pt x="633" y="1287"/>
                    </a:lnTo>
                    <a:lnTo>
                      <a:pt x="631" y="1286"/>
                    </a:lnTo>
                    <a:lnTo>
                      <a:pt x="629" y="1286"/>
                    </a:lnTo>
                    <a:lnTo>
                      <a:pt x="631" y="1284"/>
                    </a:lnTo>
                    <a:lnTo>
                      <a:pt x="629" y="1284"/>
                    </a:lnTo>
                    <a:lnTo>
                      <a:pt x="629" y="1282"/>
                    </a:lnTo>
                    <a:lnTo>
                      <a:pt x="629" y="1281"/>
                    </a:lnTo>
                    <a:lnTo>
                      <a:pt x="628" y="1281"/>
                    </a:lnTo>
                    <a:lnTo>
                      <a:pt x="626" y="1281"/>
                    </a:lnTo>
                    <a:lnTo>
                      <a:pt x="628" y="1279"/>
                    </a:lnTo>
                    <a:lnTo>
                      <a:pt x="626" y="1279"/>
                    </a:lnTo>
                    <a:lnTo>
                      <a:pt x="626" y="1277"/>
                    </a:lnTo>
                    <a:lnTo>
                      <a:pt x="624" y="1277"/>
                    </a:lnTo>
                    <a:lnTo>
                      <a:pt x="624" y="1276"/>
                    </a:lnTo>
                    <a:lnTo>
                      <a:pt x="623" y="1276"/>
                    </a:lnTo>
                    <a:lnTo>
                      <a:pt x="623" y="1274"/>
                    </a:lnTo>
                    <a:lnTo>
                      <a:pt x="621" y="1274"/>
                    </a:lnTo>
                    <a:lnTo>
                      <a:pt x="619" y="1274"/>
                    </a:lnTo>
                    <a:lnTo>
                      <a:pt x="619" y="1276"/>
                    </a:lnTo>
                    <a:lnTo>
                      <a:pt x="619" y="1277"/>
                    </a:lnTo>
                    <a:lnTo>
                      <a:pt x="619" y="1279"/>
                    </a:lnTo>
                    <a:lnTo>
                      <a:pt x="618" y="1277"/>
                    </a:lnTo>
                    <a:lnTo>
                      <a:pt x="618" y="1279"/>
                    </a:lnTo>
                    <a:lnTo>
                      <a:pt x="618" y="1277"/>
                    </a:lnTo>
                    <a:lnTo>
                      <a:pt x="618" y="1279"/>
                    </a:lnTo>
                    <a:lnTo>
                      <a:pt x="616" y="1279"/>
                    </a:lnTo>
                    <a:lnTo>
                      <a:pt x="616" y="1281"/>
                    </a:lnTo>
                    <a:lnTo>
                      <a:pt x="614" y="1281"/>
                    </a:lnTo>
                    <a:lnTo>
                      <a:pt x="612" y="1281"/>
                    </a:lnTo>
                    <a:lnTo>
                      <a:pt x="612" y="1279"/>
                    </a:lnTo>
                    <a:lnTo>
                      <a:pt x="611" y="1279"/>
                    </a:lnTo>
                    <a:lnTo>
                      <a:pt x="611" y="1277"/>
                    </a:lnTo>
                    <a:lnTo>
                      <a:pt x="609" y="1277"/>
                    </a:lnTo>
                    <a:lnTo>
                      <a:pt x="609" y="1276"/>
                    </a:lnTo>
                    <a:lnTo>
                      <a:pt x="607" y="1274"/>
                    </a:lnTo>
                    <a:lnTo>
                      <a:pt x="607" y="1272"/>
                    </a:lnTo>
                    <a:lnTo>
                      <a:pt x="606" y="1270"/>
                    </a:lnTo>
                    <a:lnTo>
                      <a:pt x="604" y="1270"/>
                    </a:lnTo>
                    <a:lnTo>
                      <a:pt x="604" y="1269"/>
                    </a:lnTo>
                    <a:lnTo>
                      <a:pt x="604" y="1270"/>
                    </a:lnTo>
                    <a:lnTo>
                      <a:pt x="604" y="1269"/>
                    </a:lnTo>
                    <a:lnTo>
                      <a:pt x="602" y="1269"/>
                    </a:lnTo>
                    <a:lnTo>
                      <a:pt x="602" y="1267"/>
                    </a:lnTo>
                    <a:lnTo>
                      <a:pt x="602" y="1265"/>
                    </a:lnTo>
                    <a:lnTo>
                      <a:pt x="601" y="1264"/>
                    </a:lnTo>
                    <a:lnTo>
                      <a:pt x="601" y="1265"/>
                    </a:lnTo>
                    <a:lnTo>
                      <a:pt x="601" y="1264"/>
                    </a:lnTo>
                    <a:lnTo>
                      <a:pt x="599" y="1264"/>
                    </a:lnTo>
                    <a:lnTo>
                      <a:pt x="599" y="1262"/>
                    </a:lnTo>
                    <a:lnTo>
                      <a:pt x="597" y="1262"/>
                    </a:lnTo>
                    <a:lnTo>
                      <a:pt x="597" y="1260"/>
                    </a:lnTo>
                    <a:lnTo>
                      <a:pt x="595" y="1260"/>
                    </a:lnTo>
                    <a:lnTo>
                      <a:pt x="594" y="1260"/>
                    </a:lnTo>
                    <a:lnTo>
                      <a:pt x="594" y="1258"/>
                    </a:lnTo>
                    <a:lnTo>
                      <a:pt x="594" y="1257"/>
                    </a:lnTo>
                    <a:lnTo>
                      <a:pt x="594" y="1258"/>
                    </a:lnTo>
                    <a:lnTo>
                      <a:pt x="592" y="1257"/>
                    </a:lnTo>
                    <a:lnTo>
                      <a:pt x="592" y="1255"/>
                    </a:lnTo>
                    <a:lnTo>
                      <a:pt x="592" y="1257"/>
                    </a:lnTo>
                    <a:lnTo>
                      <a:pt x="590" y="1257"/>
                    </a:lnTo>
                    <a:lnTo>
                      <a:pt x="590" y="1255"/>
                    </a:lnTo>
                    <a:lnTo>
                      <a:pt x="589" y="1255"/>
                    </a:lnTo>
                    <a:lnTo>
                      <a:pt x="589" y="1253"/>
                    </a:lnTo>
                    <a:lnTo>
                      <a:pt x="590" y="1253"/>
                    </a:lnTo>
                    <a:lnTo>
                      <a:pt x="589" y="1253"/>
                    </a:lnTo>
                    <a:lnTo>
                      <a:pt x="589" y="1252"/>
                    </a:lnTo>
                    <a:lnTo>
                      <a:pt x="587" y="1252"/>
                    </a:lnTo>
                    <a:lnTo>
                      <a:pt x="587" y="1250"/>
                    </a:lnTo>
                    <a:lnTo>
                      <a:pt x="585" y="1250"/>
                    </a:lnTo>
                    <a:lnTo>
                      <a:pt x="585" y="1248"/>
                    </a:lnTo>
                    <a:lnTo>
                      <a:pt x="584" y="1248"/>
                    </a:lnTo>
                    <a:lnTo>
                      <a:pt x="582" y="1247"/>
                    </a:lnTo>
                    <a:lnTo>
                      <a:pt x="582" y="1245"/>
                    </a:lnTo>
                    <a:lnTo>
                      <a:pt x="580" y="1245"/>
                    </a:lnTo>
                    <a:lnTo>
                      <a:pt x="578" y="1245"/>
                    </a:lnTo>
                    <a:lnTo>
                      <a:pt x="577" y="1245"/>
                    </a:lnTo>
                    <a:lnTo>
                      <a:pt x="575" y="1245"/>
                    </a:lnTo>
                    <a:lnTo>
                      <a:pt x="573" y="1245"/>
                    </a:lnTo>
                    <a:lnTo>
                      <a:pt x="572" y="1245"/>
                    </a:lnTo>
                    <a:lnTo>
                      <a:pt x="570" y="1245"/>
                    </a:lnTo>
                    <a:lnTo>
                      <a:pt x="570" y="1247"/>
                    </a:lnTo>
                    <a:lnTo>
                      <a:pt x="568" y="1248"/>
                    </a:lnTo>
                    <a:lnTo>
                      <a:pt x="568" y="1250"/>
                    </a:lnTo>
                    <a:lnTo>
                      <a:pt x="567" y="1252"/>
                    </a:lnTo>
                    <a:lnTo>
                      <a:pt x="565" y="1252"/>
                    </a:lnTo>
                    <a:lnTo>
                      <a:pt x="563" y="1252"/>
                    </a:lnTo>
                    <a:lnTo>
                      <a:pt x="563" y="1250"/>
                    </a:lnTo>
                    <a:lnTo>
                      <a:pt x="563" y="1252"/>
                    </a:lnTo>
                    <a:lnTo>
                      <a:pt x="561" y="1252"/>
                    </a:lnTo>
                    <a:lnTo>
                      <a:pt x="561" y="1253"/>
                    </a:lnTo>
                    <a:lnTo>
                      <a:pt x="560" y="1253"/>
                    </a:lnTo>
                    <a:lnTo>
                      <a:pt x="560" y="1252"/>
                    </a:lnTo>
                    <a:lnTo>
                      <a:pt x="558" y="1252"/>
                    </a:lnTo>
                    <a:lnTo>
                      <a:pt x="556" y="1252"/>
                    </a:lnTo>
                    <a:lnTo>
                      <a:pt x="555" y="1252"/>
                    </a:lnTo>
                    <a:lnTo>
                      <a:pt x="555" y="1250"/>
                    </a:lnTo>
                    <a:lnTo>
                      <a:pt x="555" y="1248"/>
                    </a:lnTo>
                    <a:lnTo>
                      <a:pt x="553" y="1248"/>
                    </a:lnTo>
                    <a:lnTo>
                      <a:pt x="555" y="1248"/>
                    </a:lnTo>
                    <a:lnTo>
                      <a:pt x="556" y="1247"/>
                    </a:lnTo>
                    <a:lnTo>
                      <a:pt x="558" y="1245"/>
                    </a:lnTo>
                    <a:lnTo>
                      <a:pt x="558" y="1243"/>
                    </a:lnTo>
                    <a:lnTo>
                      <a:pt x="560" y="1243"/>
                    </a:lnTo>
                    <a:lnTo>
                      <a:pt x="560" y="1241"/>
                    </a:lnTo>
                    <a:lnTo>
                      <a:pt x="561" y="1241"/>
                    </a:lnTo>
                    <a:lnTo>
                      <a:pt x="563" y="1241"/>
                    </a:lnTo>
                    <a:lnTo>
                      <a:pt x="563" y="1240"/>
                    </a:lnTo>
                    <a:lnTo>
                      <a:pt x="563" y="1238"/>
                    </a:lnTo>
                    <a:lnTo>
                      <a:pt x="563" y="1236"/>
                    </a:lnTo>
                    <a:lnTo>
                      <a:pt x="563" y="1235"/>
                    </a:lnTo>
                    <a:lnTo>
                      <a:pt x="565" y="1233"/>
                    </a:lnTo>
                    <a:lnTo>
                      <a:pt x="567" y="1233"/>
                    </a:lnTo>
                    <a:lnTo>
                      <a:pt x="567" y="1231"/>
                    </a:lnTo>
                    <a:lnTo>
                      <a:pt x="568" y="1233"/>
                    </a:lnTo>
                    <a:lnTo>
                      <a:pt x="570" y="1231"/>
                    </a:lnTo>
                    <a:lnTo>
                      <a:pt x="572" y="1231"/>
                    </a:lnTo>
                    <a:lnTo>
                      <a:pt x="572" y="1230"/>
                    </a:lnTo>
                    <a:lnTo>
                      <a:pt x="573" y="1230"/>
                    </a:lnTo>
                    <a:lnTo>
                      <a:pt x="573" y="1228"/>
                    </a:lnTo>
                    <a:lnTo>
                      <a:pt x="575" y="1228"/>
                    </a:lnTo>
                    <a:lnTo>
                      <a:pt x="575" y="1226"/>
                    </a:lnTo>
                    <a:lnTo>
                      <a:pt x="575" y="1224"/>
                    </a:lnTo>
                    <a:lnTo>
                      <a:pt x="577" y="1224"/>
                    </a:lnTo>
                    <a:lnTo>
                      <a:pt x="577" y="1223"/>
                    </a:lnTo>
                    <a:lnTo>
                      <a:pt x="578" y="1223"/>
                    </a:lnTo>
                    <a:lnTo>
                      <a:pt x="578" y="1221"/>
                    </a:lnTo>
                    <a:lnTo>
                      <a:pt x="580" y="1221"/>
                    </a:lnTo>
                    <a:lnTo>
                      <a:pt x="580" y="1219"/>
                    </a:lnTo>
                    <a:lnTo>
                      <a:pt x="582" y="1219"/>
                    </a:lnTo>
                    <a:lnTo>
                      <a:pt x="582" y="1218"/>
                    </a:lnTo>
                    <a:lnTo>
                      <a:pt x="582" y="1216"/>
                    </a:lnTo>
                    <a:lnTo>
                      <a:pt x="584" y="1216"/>
                    </a:lnTo>
                    <a:lnTo>
                      <a:pt x="585" y="1213"/>
                    </a:lnTo>
                    <a:lnTo>
                      <a:pt x="585" y="1211"/>
                    </a:lnTo>
                    <a:lnTo>
                      <a:pt x="585" y="1209"/>
                    </a:lnTo>
                    <a:lnTo>
                      <a:pt x="587" y="1209"/>
                    </a:lnTo>
                    <a:lnTo>
                      <a:pt x="587" y="1207"/>
                    </a:lnTo>
                    <a:lnTo>
                      <a:pt x="589" y="1207"/>
                    </a:lnTo>
                    <a:lnTo>
                      <a:pt x="589" y="1206"/>
                    </a:lnTo>
                    <a:lnTo>
                      <a:pt x="590" y="1206"/>
                    </a:lnTo>
                    <a:lnTo>
                      <a:pt x="594" y="1206"/>
                    </a:lnTo>
                    <a:lnTo>
                      <a:pt x="594" y="1204"/>
                    </a:lnTo>
                    <a:lnTo>
                      <a:pt x="594" y="1202"/>
                    </a:lnTo>
                    <a:lnTo>
                      <a:pt x="594" y="1201"/>
                    </a:lnTo>
                    <a:lnTo>
                      <a:pt x="595" y="1201"/>
                    </a:lnTo>
                    <a:lnTo>
                      <a:pt x="595" y="1199"/>
                    </a:lnTo>
                    <a:lnTo>
                      <a:pt x="597" y="1199"/>
                    </a:lnTo>
                    <a:lnTo>
                      <a:pt x="597" y="1197"/>
                    </a:lnTo>
                    <a:lnTo>
                      <a:pt x="597" y="1196"/>
                    </a:lnTo>
                    <a:lnTo>
                      <a:pt x="597" y="1194"/>
                    </a:lnTo>
                    <a:lnTo>
                      <a:pt x="599" y="1194"/>
                    </a:lnTo>
                    <a:lnTo>
                      <a:pt x="601" y="1194"/>
                    </a:lnTo>
                    <a:lnTo>
                      <a:pt x="602" y="1192"/>
                    </a:lnTo>
                    <a:lnTo>
                      <a:pt x="602" y="1190"/>
                    </a:lnTo>
                    <a:lnTo>
                      <a:pt x="604" y="1190"/>
                    </a:lnTo>
                    <a:lnTo>
                      <a:pt x="604" y="1189"/>
                    </a:lnTo>
                    <a:lnTo>
                      <a:pt x="606" y="1189"/>
                    </a:lnTo>
                    <a:lnTo>
                      <a:pt x="606" y="1187"/>
                    </a:lnTo>
                    <a:lnTo>
                      <a:pt x="607" y="1187"/>
                    </a:lnTo>
                    <a:lnTo>
                      <a:pt x="607" y="1185"/>
                    </a:lnTo>
                    <a:lnTo>
                      <a:pt x="607" y="1184"/>
                    </a:lnTo>
                    <a:lnTo>
                      <a:pt x="607" y="1182"/>
                    </a:lnTo>
                    <a:lnTo>
                      <a:pt x="609" y="1182"/>
                    </a:lnTo>
                    <a:lnTo>
                      <a:pt x="611" y="1182"/>
                    </a:lnTo>
                    <a:lnTo>
                      <a:pt x="612" y="1182"/>
                    </a:lnTo>
                    <a:lnTo>
                      <a:pt x="611" y="1180"/>
                    </a:lnTo>
                    <a:lnTo>
                      <a:pt x="611" y="1179"/>
                    </a:lnTo>
                    <a:lnTo>
                      <a:pt x="612" y="1177"/>
                    </a:lnTo>
                    <a:lnTo>
                      <a:pt x="614" y="1177"/>
                    </a:lnTo>
                    <a:lnTo>
                      <a:pt x="616" y="1177"/>
                    </a:lnTo>
                    <a:lnTo>
                      <a:pt x="618" y="1179"/>
                    </a:lnTo>
                    <a:lnTo>
                      <a:pt x="618" y="1180"/>
                    </a:lnTo>
                    <a:lnTo>
                      <a:pt x="618" y="1179"/>
                    </a:lnTo>
                    <a:lnTo>
                      <a:pt x="619" y="1177"/>
                    </a:lnTo>
                    <a:lnTo>
                      <a:pt x="619" y="1175"/>
                    </a:lnTo>
                    <a:lnTo>
                      <a:pt x="618" y="1175"/>
                    </a:lnTo>
                    <a:lnTo>
                      <a:pt x="616" y="1175"/>
                    </a:lnTo>
                    <a:lnTo>
                      <a:pt x="616" y="1173"/>
                    </a:lnTo>
                    <a:lnTo>
                      <a:pt x="616" y="1172"/>
                    </a:lnTo>
                    <a:lnTo>
                      <a:pt x="618" y="1172"/>
                    </a:lnTo>
                    <a:lnTo>
                      <a:pt x="619" y="1172"/>
                    </a:lnTo>
                    <a:lnTo>
                      <a:pt x="619" y="1170"/>
                    </a:lnTo>
                    <a:lnTo>
                      <a:pt x="621" y="1170"/>
                    </a:lnTo>
                    <a:lnTo>
                      <a:pt x="621" y="1168"/>
                    </a:lnTo>
                    <a:lnTo>
                      <a:pt x="621" y="1170"/>
                    </a:lnTo>
                    <a:lnTo>
                      <a:pt x="623" y="1170"/>
                    </a:lnTo>
                    <a:lnTo>
                      <a:pt x="623" y="1168"/>
                    </a:lnTo>
                    <a:lnTo>
                      <a:pt x="624" y="1168"/>
                    </a:lnTo>
                    <a:lnTo>
                      <a:pt x="624" y="1167"/>
                    </a:lnTo>
                    <a:lnTo>
                      <a:pt x="626" y="1167"/>
                    </a:lnTo>
                    <a:lnTo>
                      <a:pt x="628" y="1165"/>
                    </a:lnTo>
                    <a:lnTo>
                      <a:pt x="629" y="1165"/>
                    </a:lnTo>
                    <a:lnTo>
                      <a:pt x="628" y="1163"/>
                    </a:lnTo>
                    <a:lnTo>
                      <a:pt x="629" y="1163"/>
                    </a:lnTo>
                    <a:lnTo>
                      <a:pt x="629" y="1162"/>
                    </a:lnTo>
                    <a:lnTo>
                      <a:pt x="631" y="1160"/>
                    </a:lnTo>
                    <a:lnTo>
                      <a:pt x="633" y="1162"/>
                    </a:lnTo>
                    <a:lnTo>
                      <a:pt x="633" y="1160"/>
                    </a:lnTo>
                    <a:lnTo>
                      <a:pt x="635" y="1160"/>
                    </a:lnTo>
                    <a:lnTo>
                      <a:pt x="635" y="1158"/>
                    </a:lnTo>
                    <a:lnTo>
                      <a:pt x="636" y="1158"/>
                    </a:lnTo>
                    <a:lnTo>
                      <a:pt x="636" y="1160"/>
                    </a:lnTo>
                    <a:lnTo>
                      <a:pt x="638" y="1160"/>
                    </a:lnTo>
                    <a:lnTo>
                      <a:pt x="638" y="1158"/>
                    </a:lnTo>
                    <a:lnTo>
                      <a:pt x="640" y="1158"/>
                    </a:lnTo>
                    <a:lnTo>
                      <a:pt x="641" y="1156"/>
                    </a:lnTo>
                    <a:lnTo>
                      <a:pt x="640" y="1156"/>
                    </a:lnTo>
                    <a:lnTo>
                      <a:pt x="638" y="1156"/>
                    </a:lnTo>
                    <a:lnTo>
                      <a:pt x="638" y="1155"/>
                    </a:lnTo>
                    <a:lnTo>
                      <a:pt x="640" y="1155"/>
                    </a:lnTo>
                    <a:lnTo>
                      <a:pt x="641" y="1156"/>
                    </a:lnTo>
                    <a:lnTo>
                      <a:pt x="641" y="1155"/>
                    </a:lnTo>
                    <a:lnTo>
                      <a:pt x="643" y="1155"/>
                    </a:lnTo>
                    <a:lnTo>
                      <a:pt x="645" y="1155"/>
                    </a:lnTo>
                    <a:lnTo>
                      <a:pt x="645" y="1153"/>
                    </a:lnTo>
                    <a:lnTo>
                      <a:pt x="645" y="1151"/>
                    </a:lnTo>
                    <a:lnTo>
                      <a:pt x="645" y="1150"/>
                    </a:lnTo>
                    <a:lnTo>
                      <a:pt x="646" y="1150"/>
                    </a:lnTo>
                    <a:lnTo>
                      <a:pt x="646" y="1148"/>
                    </a:lnTo>
                    <a:lnTo>
                      <a:pt x="648" y="1146"/>
                    </a:lnTo>
                    <a:lnTo>
                      <a:pt x="648" y="1148"/>
                    </a:lnTo>
                    <a:lnTo>
                      <a:pt x="650" y="1148"/>
                    </a:lnTo>
                    <a:lnTo>
                      <a:pt x="650" y="1146"/>
                    </a:lnTo>
                    <a:lnTo>
                      <a:pt x="652" y="1146"/>
                    </a:lnTo>
                    <a:lnTo>
                      <a:pt x="652" y="1148"/>
                    </a:lnTo>
                    <a:lnTo>
                      <a:pt x="653" y="1146"/>
                    </a:lnTo>
                    <a:lnTo>
                      <a:pt x="652" y="1146"/>
                    </a:lnTo>
                    <a:lnTo>
                      <a:pt x="652" y="1145"/>
                    </a:lnTo>
                    <a:lnTo>
                      <a:pt x="653" y="1145"/>
                    </a:lnTo>
                    <a:lnTo>
                      <a:pt x="653" y="1146"/>
                    </a:lnTo>
                    <a:lnTo>
                      <a:pt x="655" y="1146"/>
                    </a:lnTo>
                    <a:lnTo>
                      <a:pt x="655" y="1145"/>
                    </a:lnTo>
                    <a:lnTo>
                      <a:pt x="655" y="1143"/>
                    </a:lnTo>
                    <a:lnTo>
                      <a:pt x="657" y="1143"/>
                    </a:lnTo>
                    <a:lnTo>
                      <a:pt x="657" y="1145"/>
                    </a:lnTo>
                    <a:lnTo>
                      <a:pt x="658" y="1145"/>
                    </a:lnTo>
                    <a:lnTo>
                      <a:pt x="660" y="1145"/>
                    </a:lnTo>
                    <a:lnTo>
                      <a:pt x="660" y="1143"/>
                    </a:lnTo>
                    <a:lnTo>
                      <a:pt x="660" y="1141"/>
                    </a:lnTo>
                    <a:lnTo>
                      <a:pt x="662" y="1141"/>
                    </a:lnTo>
                    <a:lnTo>
                      <a:pt x="662" y="1143"/>
                    </a:lnTo>
                    <a:lnTo>
                      <a:pt x="663" y="1143"/>
                    </a:lnTo>
                    <a:lnTo>
                      <a:pt x="663" y="1141"/>
                    </a:lnTo>
                    <a:lnTo>
                      <a:pt x="665" y="1141"/>
                    </a:lnTo>
                    <a:lnTo>
                      <a:pt x="665" y="1143"/>
                    </a:lnTo>
                    <a:lnTo>
                      <a:pt x="667" y="1143"/>
                    </a:lnTo>
                    <a:lnTo>
                      <a:pt x="667" y="1141"/>
                    </a:lnTo>
                    <a:lnTo>
                      <a:pt x="669" y="1139"/>
                    </a:lnTo>
                    <a:lnTo>
                      <a:pt x="669" y="1138"/>
                    </a:lnTo>
                    <a:lnTo>
                      <a:pt x="669" y="1136"/>
                    </a:lnTo>
                    <a:lnTo>
                      <a:pt x="670" y="1136"/>
                    </a:lnTo>
                    <a:lnTo>
                      <a:pt x="670" y="1138"/>
                    </a:lnTo>
                    <a:lnTo>
                      <a:pt x="672" y="1138"/>
                    </a:lnTo>
                    <a:lnTo>
                      <a:pt x="672" y="1136"/>
                    </a:lnTo>
                    <a:lnTo>
                      <a:pt x="674" y="1136"/>
                    </a:lnTo>
                    <a:lnTo>
                      <a:pt x="674" y="1134"/>
                    </a:lnTo>
                    <a:lnTo>
                      <a:pt x="675" y="1134"/>
                    </a:lnTo>
                    <a:lnTo>
                      <a:pt x="675" y="1133"/>
                    </a:lnTo>
                    <a:lnTo>
                      <a:pt x="677" y="1133"/>
                    </a:lnTo>
                    <a:lnTo>
                      <a:pt x="677" y="1131"/>
                    </a:lnTo>
                    <a:lnTo>
                      <a:pt x="679" y="1133"/>
                    </a:lnTo>
                    <a:lnTo>
                      <a:pt x="679" y="1131"/>
                    </a:lnTo>
                    <a:lnTo>
                      <a:pt x="680" y="1131"/>
                    </a:lnTo>
                    <a:lnTo>
                      <a:pt x="680" y="1133"/>
                    </a:lnTo>
                    <a:lnTo>
                      <a:pt x="680" y="1131"/>
                    </a:lnTo>
                    <a:lnTo>
                      <a:pt x="682" y="1131"/>
                    </a:lnTo>
                    <a:lnTo>
                      <a:pt x="680" y="1131"/>
                    </a:lnTo>
                    <a:lnTo>
                      <a:pt x="682" y="1131"/>
                    </a:lnTo>
                    <a:lnTo>
                      <a:pt x="682" y="1129"/>
                    </a:lnTo>
                    <a:lnTo>
                      <a:pt x="682" y="1128"/>
                    </a:lnTo>
                    <a:lnTo>
                      <a:pt x="682" y="1129"/>
                    </a:lnTo>
                    <a:lnTo>
                      <a:pt x="682" y="1128"/>
                    </a:lnTo>
                    <a:lnTo>
                      <a:pt x="684" y="1128"/>
                    </a:lnTo>
                    <a:lnTo>
                      <a:pt x="682" y="1128"/>
                    </a:lnTo>
                    <a:lnTo>
                      <a:pt x="682" y="1126"/>
                    </a:lnTo>
                    <a:lnTo>
                      <a:pt x="684" y="1128"/>
                    </a:lnTo>
                    <a:lnTo>
                      <a:pt x="684" y="1126"/>
                    </a:lnTo>
                    <a:lnTo>
                      <a:pt x="686" y="1126"/>
                    </a:lnTo>
                    <a:lnTo>
                      <a:pt x="684" y="1124"/>
                    </a:lnTo>
                    <a:lnTo>
                      <a:pt x="686" y="1124"/>
                    </a:lnTo>
                    <a:lnTo>
                      <a:pt x="686" y="1122"/>
                    </a:lnTo>
                    <a:lnTo>
                      <a:pt x="686" y="1124"/>
                    </a:lnTo>
                    <a:lnTo>
                      <a:pt x="686" y="1122"/>
                    </a:lnTo>
                    <a:lnTo>
                      <a:pt x="686" y="1121"/>
                    </a:lnTo>
                    <a:lnTo>
                      <a:pt x="687" y="1121"/>
                    </a:lnTo>
                    <a:lnTo>
                      <a:pt x="686" y="1119"/>
                    </a:lnTo>
                    <a:lnTo>
                      <a:pt x="686" y="1117"/>
                    </a:lnTo>
                    <a:lnTo>
                      <a:pt x="684" y="1117"/>
                    </a:lnTo>
                    <a:lnTo>
                      <a:pt x="686" y="1116"/>
                    </a:lnTo>
                    <a:lnTo>
                      <a:pt x="684" y="1116"/>
                    </a:lnTo>
                    <a:lnTo>
                      <a:pt x="684" y="1114"/>
                    </a:lnTo>
                    <a:lnTo>
                      <a:pt x="684" y="1116"/>
                    </a:lnTo>
                    <a:lnTo>
                      <a:pt x="684" y="1114"/>
                    </a:lnTo>
                    <a:lnTo>
                      <a:pt x="686" y="1114"/>
                    </a:lnTo>
                    <a:lnTo>
                      <a:pt x="684" y="1114"/>
                    </a:lnTo>
                    <a:lnTo>
                      <a:pt x="686" y="1112"/>
                    </a:lnTo>
                    <a:lnTo>
                      <a:pt x="684" y="1112"/>
                    </a:lnTo>
                    <a:lnTo>
                      <a:pt x="684" y="1110"/>
                    </a:lnTo>
                    <a:lnTo>
                      <a:pt x="684" y="1109"/>
                    </a:lnTo>
                    <a:lnTo>
                      <a:pt x="686" y="1109"/>
                    </a:lnTo>
                    <a:lnTo>
                      <a:pt x="684" y="1109"/>
                    </a:lnTo>
                    <a:lnTo>
                      <a:pt x="686" y="1107"/>
                    </a:lnTo>
                    <a:lnTo>
                      <a:pt x="684" y="1107"/>
                    </a:lnTo>
                    <a:lnTo>
                      <a:pt x="686" y="1107"/>
                    </a:lnTo>
                    <a:lnTo>
                      <a:pt x="686" y="1105"/>
                    </a:lnTo>
                    <a:lnTo>
                      <a:pt x="686" y="1104"/>
                    </a:lnTo>
                    <a:lnTo>
                      <a:pt x="686" y="1102"/>
                    </a:lnTo>
                    <a:lnTo>
                      <a:pt x="686" y="1100"/>
                    </a:lnTo>
                    <a:lnTo>
                      <a:pt x="687" y="1100"/>
                    </a:lnTo>
                    <a:lnTo>
                      <a:pt x="687" y="1099"/>
                    </a:lnTo>
                    <a:lnTo>
                      <a:pt x="687" y="1097"/>
                    </a:lnTo>
                    <a:lnTo>
                      <a:pt x="687" y="1095"/>
                    </a:lnTo>
                    <a:lnTo>
                      <a:pt x="686" y="1093"/>
                    </a:lnTo>
                    <a:lnTo>
                      <a:pt x="684" y="1092"/>
                    </a:lnTo>
                    <a:lnTo>
                      <a:pt x="684" y="1090"/>
                    </a:lnTo>
                    <a:lnTo>
                      <a:pt x="682" y="1088"/>
                    </a:lnTo>
                    <a:lnTo>
                      <a:pt x="682" y="1087"/>
                    </a:lnTo>
                    <a:lnTo>
                      <a:pt x="680" y="1087"/>
                    </a:lnTo>
                    <a:lnTo>
                      <a:pt x="680" y="1085"/>
                    </a:lnTo>
                    <a:lnTo>
                      <a:pt x="682" y="1085"/>
                    </a:lnTo>
                    <a:lnTo>
                      <a:pt x="680" y="1085"/>
                    </a:lnTo>
                    <a:lnTo>
                      <a:pt x="682" y="1083"/>
                    </a:lnTo>
                    <a:lnTo>
                      <a:pt x="680" y="1083"/>
                    </a:lnTo>
                    <a:lnTo>
                      <a:pt x="680" y="1082"/>
                    </a:lnTo>
                    <a:lnTo>
                      <a:pt x="682" y="1082"/>
                    </a:lnTo>
                    <a:lnTo>
                      <a:pt x="680" y="1080"/>
                    </a:lnTo>
                    <a:lnTo>
                      <a:pt x="680" y="1078"/>
                    </a:lnTo>
                    <a:lnTo>
                      <a:pt x="680" y="1076"/>
                    </a:lnTo>
                    <a:lnTo>
                      <a:pt x="679" y="1076"/>
                    </a:lnTo>
                    <a:lnTo>
                      <a:pt x="680" y="1076"/>
                    </a:lnTo>
                    <a:lnTo>
                      <a:pt x="679" y="1076"/>
                    </a:lnTo>
                    <a:lnTo>
                      <a:pt x="680" y="1076"/>
                    </a:lnTo>
                    <a:lnTo>
                      <a:pt x="680" y="1075"/>
                    </a:lnTo>
                    <a:lnTo>
                      <a:pt x="679" y="1075"/>
                    </a:lnTo>
                    <a:lnTo>
                      <a:pt x="679" y="1073"/>
                    </a:lnTo>
                    <a:lnTo>
                      <a:pt x="679" y="1075"/>
                    </a:lnTo>
                    <a:lnTo>
                      <a:pt x="679" y="1073"/>
                    </a:lnTo>
                    <a:lnTo>
                      <a:pt x="677" y="1073"/>
                    </a:lnTo>
                    <a:lnTo>
                      <a:pt x="677" y="1075"/>
                    </a:lnTo>
                    <a:lnTo>
                      <a:pt x="677" y="1073"/>
                    </a:lnTo>
                    <a:lnTo>
                      <a:pt x="675" y="1073"/>
                    </a:lnTo>
                    <a:lnTo>
                      <a:pt x="677" y="1073"/>
                    </a:lnTo>
                    <a:lnTo>
                      <a:pt x="675" y="1073"/>
                    </a:lnTo>
                    <a:lnTo>
                      <a:pt x="675" y="1071"/>
                    </a:lnTo>
                    <a:lnTo>
                      <a:pt x="674" y="1071"/>
                    </a:lnTo>
                    <a:lnTo>
                      <a:pt x="672" y="1071"/>
                    </a:lnTo>
                    <a:lnTo>
                      <a:pt x="672" y="1073"/>
                    </a:lnTo>
                    <a:lnTo>
                      <a:pt x="670" y="1071"/>
                    </a:lnTo>
                    <a:lnTo>
                      <a:pt x="672" y="1071"/>
                    </a:lnTo>
                    <a:lnTo>
                      <a:pt x="672" y="1070"/>
                    </a:lnTo>
                    <a:lnTo>
                      <a:pt x="672" y="1068"/>
                    </a:lnTo>
                    <a:lnTo>
                      <a:pt x="670" y="1070"/>
                    </a:lnTo>
                    <a:lnTo>
                      <a:pt x="669" y="1070"/>
                    </a:lnTo>
                    <a:lnTo>
                      <a:pt x="669" y="1071"/>
                    </a:lnTo>
                    <a:lnTo>
                      <a:pt x="667" y="1071"/>
                    </a:lnTo>
                    <a:lnTo>
                      <a:pt x="667" y="1073"/>
                    </a:lnTo>
                    <a:lnTo>
                      <a:pt x="665" y="1071"/>
                    </a:lnTo>
                    <a:lnTo>
                      <a:pt x="663" y="1071"/>
                    </a:lnTo>
                    <a:lnTo>
                      <a:pt x="663" y="1073"/>
                    </a:lnTo>
                    <a:lnTo>
                      <a:pt x="662" y="1073"/>
                    </a:lnTo>
                    <a:lnTo>
                      <a:pt x="662" y="1075"/>
                    </a:lnTo>
                    <a:lnTo>
                      <a:pt x="660" y="1075"/>
                    </a:lnTo>
                    <a:lnTo>
                      <a:pt x="662" y="1076"/>
                    </a:lnTo>
                    <a:lnTo>
                      <a:pt x="660" y="1076"/>
                    </a:lnTo>
                    <a:lnTo>
                      <a:pt x="660" y="1075"/>
                    </a:lnTo>
                    <a:lnTo>
                      <a:pt x="658" y="1073"/>
                    </a:lnTo>
                    <a:lnTo>
                      <a:pt x="657" y="1073"/>
                    </a:lnTo>
                    <a:lnTo>
                      <a:pt x="657" y="1071"/>
                    </a:lnTo>
                    <a:lnTo>
                      <a:pt x="657" y="1073"/>
                    </a:lnTo>
                    <a:lnTo>
                      <a:pt x="655" y="1073"/>
                    </a:lnTo>
                    <a:lnTo>
                      <a:pt x="655" y="1071"/>
                    </a:lnTo>
                    <a:lnTo>
                      <a:pt x="655" y="1070"/>
                    </a:lnTo>
                    <a:lnTo>
                      <a:pt x="655" y="1068"/>
                    </a:lnTo>
                    <a:lnTo>
                      <a:pt x="655" y="1066"/>
                    </a:lnTo>
                    <a:lnTo>
                      <a:pt x="655" y="1065"/>
                    </a:lnTo>
                    <a:lnTo>
                      <a:pt x="657" y="1065"/>
                    </a:lnTo>
                    <a:lnTo>
                      <a:pt x="657" y="1063"/>
                    </a:lnTo>
                    <a:lnTo>
                      <a:pt x="658" y="1061"/>
                    </a:lnTo>
                    <a:lnTo>
                      <a:pt x="658" y="1059"/>
                    </a:lnTo>
                    <a:lnTo>
                      <a:pt x="660" y="1058"/>
                    </a:lnTo>
                    <a:lnTo>
                      <a:pt x="660" y="1056"/>
                    </a:lnTo>
                    <a:lnTo>
                      <a:pt x="660" y="1054"/>
                    </a:lnTo>
                    <a:lnTo>
                      <a:pt x="660" y="1053"/>
                    </a:lnTo>
                    <a:lnTo>
                      <a:pt x="660" y="1051"/>
                    </a:lnTo>
                    <a:lnTo>
                      <a:pt x="660" y="1049"/>
                    </a:lnTo>
                    <a:lnTo>
                      <a:pt x="660" y="1048"/>
                    </a:lnTo>
                    <a:lnTo>
                      <a:pt x="662" y="1046"/>
                    </a:lnTo>
                    <a:lnTo>
                      <a:pt x="662" y="1044"/>
                    </a:lnTo>
                    <a:lnTo>
                      <a:pt x="662" y="1042"/>
                    </a:lnTo>
                    <a:lnTo>
                      <a:pt x="663" y="1041"/>
                    </a:lnTo>
                    <a:lnTo>
                      <a:pt x="663" y="1039"/>
                    </a:lnTo>
                    <a:lnTo>
                      <a:pt x="663" y="1037"/>
                    </a:lnTo>
                    <a:lnTo>
                      <a:pt x="665" y="1037"/>
                    </a:lnTo>
                    <a:lnTo>
                      <a:pt x="665" y="1036"/>
                    </a:lnTo>
                    <a:lnTo>
                      <a:pt x="665" y="1034"/>
                    </a:lnTo>
                    <a:lnTo>
                      <a:pt x="663" y="1034"/>
                    </a:lnTo>
                    <a:lnTo>
                      <a:pt x="663" y="1032"/>
                    </a:lnTo>
                    <a:lnTo>
                      <a:pt x="663" y="1031"/>
                    </a:lnTo>
                    <a:lnTo>
                      <a:pt x="665" y="1031"/>
                    </a:lnTo>
                    <a:lnTo>
                      <a:pt x="665" y="1029"/>
                    </a:lnTo>
                    <a:lnTo>
                      <a:pt x="667" y="1027"/>
                    </a:lnTo>
                    <a:lnTo>
                      <a:pt x="667" y="1025"/>
                    </a:lnTo>
                    <a:lnTo>
                      <a:pt x="665" y="1024"/>
                    </a:lnTo>
                    <a:lnTo>
                      <a:pt x="665" y="1022"/>
                    </a:lnTo>
                    <a:lnTo>
                      <a:pt x="663" y="1022"/>
                    </a:lnTo>
                    <a:lnTo>
                      <a:pt x="663" y="1020"/>
                    </a:lnTo>
                    <a:lnTo>
                      <a:pt x="663" y="1019"/>
                    </a:lnTo>
                    <a:lnTo>
                      <a:pt x="663" y="1017"/>
                    </a:lnTo>
                    <a:lnTo>
                      <a:pt x="665" y="1017"/>
                    </a:lnTo>
                    <a:lnTo>
                      <a:pt x="665" y="1015"/>
                    </a:lnTo>
                    <a:lnTo>
                      <a:pt x="665" y="1014"/>
                    </a:lnTo>
                    <a:lnTo>
                      <a:pt x="663" y="1014"/>
                    </a:lnTo>
                    <a:lnTo>
                      <a:pt x="662" y="1012"/>
                    </a:lnTo>
                    <a:lnTo>
                      <a:pt x="660" y="1010"/>
                    </a:lnTo>
                    <a:lnTo>
                      <a:pt x="660" y="1008"/>
                    </a:lnTo>
                    <a:lnTo>
                      <a:pt x="658" y="1008"/>
                    </a:lnTo>
                    <a:lnTo>
                      <a:pt x="657" y="1008"/>
                    </a:lnTo>
                    <a:lnTo>
                      <a:pt x="655" y="1007"/>
                    </a:lnTo>
                    <a:lnTo>
                      <a:pt x="655" y="1008"/>
                    </a:lnTo>
                    <a:lnTo>
                      <a:pt x="655" y="1007"/>
                    </a:lnTo>
                    <a:lnTo>
                      <a:pt x="653" y="1007"/>
                    </a:lnTo>
                    <a:lnTo>
                      <a:pt x="652" y="1007"/>
                    </a:lnTo>
                    <a:lnTo>
                      <a:pt x="652" y="1008"/>
                    </a:lnTo>
                    <a:lnTo>
                      <a:pt x="650" y="1008"/>
                    </a:lnTo>
                    <a:lnTo>
                      <a:pt x="648" y="1008"/>
                    </a:lnTo>
                    <a:lnTo>
                      <a:pt x="646" y="1008"/>
                    </a:lnTo>
                    <a:lnTo>
                      <a:pt x="646" y="1010"/>
                    </a:lnTo>
                    <a:lnTo>
                      <a:pt x="645" y="1010"/>
                    </a:lnTo>
                    <a:lnTo>
                      <a:pt x="645" y="1012"/>
                    </a:lnTo>
                    <a:lnTo>
                      <a:pt x="643" y="1012"/>
                    </a:lnTo>
                    <a:lnTo>
                      <a:pt x="641" y="1012"/>
                    </a:lnTo>
                    <a:lnTo>
                      <a:pt x="640" y="1012"/>
                    </a:lnTo>
                    <a:lnTo>
                      <a:pt x="640" y="1014"/>
                    </a:lnTo>
                    <a:lnTo>
                      <a:pt x="640" y="1012"/>
                    </a:lnTo>
                    <a:lnTo>
                      <a:pt x="638" y="1012"/>
                    </a:lnTo>
                    <a:lnTo>
                      <a:pt x="636" y="1014"/>
                    </a:lnTo>
                    <a:lnTo>
                      <a:pt x="636" y="1012"/>
                    </a:lnTo>
                    <a:lnTo>
                      <a:pt x="636" y="1014"/>
                    </a:lnTo>
                    <a:lnTo>
                      <a:pt x="635" y="1014"/>
                    </a:lnTo>
                    <a:lnTo>
                      <a:pt x="633" y="1014"/>
                    </a:lnTo>
                    <a:lnTo>
                      <a:pt x="633" y="1012"/>
                    </a:lnTo>
                    <a:lnTo>
                      <a:pt x="631" y="1012"/>
                    </a:lnTo>
                    <a:lnTo>
                      <a:pt x="629" y="1014"/>
                    </a:lnTo>
                    <a:lnTo>
                      <a:pt x="629" y="1012"/>
                    </a:lnTo>
                    <a:lnTo>
                      <a:pt x="628" y="1012"/>
                    </a:lnTo>
                    <a:lnTo>
                      <a:pt x="628" y="1010"/>
                    </a:lnTo>
                    <a:lnTo>
                      <a:pt x="626" y="1010"/>
                    </a:lnTo>
                    <a:lnTo>
                      <a:pt x="626" y="1008"/>
                    </a:lnTo>
                    <a:lnTo>
                      <a:pt x="626" y="1007"/>
                    </a:lnTo>
                    <a:lnTo>
                      <a:pt x="626" y="1005"/>
                    </a:lnTo>
                    <a:lnTo>
                      <a:pt x="628" y="1005"/>
                    </a:lnTo>
                    <a:lnTo>
                      <a:pt x="626" y="1005"/>
                    </a:lnTo>
                    <a:lnTo>
                      <a:pt x="626" y="1003"/>
                    </a:lnTo>
                    <a:lnTo>
                      <a:pt x="626" y="1002"/>
                    </a:lnTo>
                    <a:lnTo>
                      <a:pt x="626" y="1000"/>
                    </a:lnTo>
                    <a:lnTo>
                      <a:pt x="624" y="1000"/>
                    </a:lnTo>
                    <a:lnTo>
                      <a:pt x="623" y="1000"/>
                    </a:lnTo>
                    <a:lnTo>
                      <a:pt x="623" y="998"/>
                    </a:lnTo>
                    <a:lnTo>
                      <a:pt x="624" y="998"/>
                    </a:lnTo>
                    <a:lnTo>
                      <a:pt x="624" y="997"/>
                    </a:lnTo>
                    <a:lnTo>
                      <a:pt x="623" y="997"/>
                    </a:lnTo>
                    <a:lnTo>
                      <a:pt x="623" y="995"/>
                    </a:lnTo>
                    <a:lnTo>
                      <a:pt x="623" y="993"/>
                    </a:lnTo>
                    <a:lnTo>
                      <a:pt x="624" y="991"/>
                    </a:lnTo>
                    <a:lnTo>
                      <a:pt x="624" y="990"/>
                    </a:lnTo>
                    <a:lnTo>
                      <a:pt x="623" y="988"/>
                    </a:lnTo>
                    <a:lnTo>
                      <a:pt x="623" y="986"/>
                    </a:lnTo>
                    <a:lnTo>
                      <a:pt x="624" y="986"/>
                    </a:lnTo>
                    <a:lnTo>
                      <a:pt x="623" y="986"/>
                    </a:lnTo>
                    <a:lnTo>
                      <a:pt x="623" y="985"/>
                    </a:lnTo>
                    <a:lnTo>
                      <a:pt x="624" y="985"/>
                    </a:lnTo>
                    <a:lnTo>
                      <a:pt x="624" y="983"/>
                    </a:lnTo>
                    <a:lnTo>
                      <a:pt x="623" y="983"/>
                    </a:lnTo>
                    <a:lnTo>
                      <a:pt x="623" y="981"/>
                    </a:lnTo>
                    <a:lnTo>
                      <a:pt x="621" y="981"/>
                    </a:lnTo>
                    <a:lnTo>
                      <a:pt x="621" y="980"/>
                    </a:lnTo>
                    <a:lnTo>
                      <a:pt x="621" y="978"/>
                    </a:lnTo>
                    <a:lnTo>
                      <a:pt x="619" y="978"/>
                    </a:lnTo>
                    <a:lnTo>
                      <a:pt x="621" y="976"/>
                    </a:lnTo>
                    <a:lnTo>
                      <a:pt x="619" y="974"/>
                    </a:lnTo>
                    <a:lnTo>
                      <a:pt x="619" y="973"/>
                    </a:lnTo>
                    <a:lnTo>
                      <a:pt x="619" y="971"/>
                    </a:lnTo>
                    <a:lnTo>
                      <a:pt x="619" y="969"/>
                    </a:lnTo>
                    <a:lnTo>
                      <a:pt x="619" y="968"/>
                    </a:lnTo>
                    <a:lnTo>
                      <a:pt x="621" y="968"/>
                    </a:lnTo>
                    <a:lnTo>
                      <a:pt x="621" y="966"/>
                    </a:lnTo>
                    <a:lnTo>
                      <a:pt x="621" y="964"/>
                    </a:lnTo>
                    <a:lnTo>
                      <a:pt x="621" y="963"/>
                    </a:lnTo>
                    <a:lnTo>
                      <a:pt x="619" y="963"/>
                    </a:lnTo>
                    <a:lnTo>
                      <a:pt x="619" y="961"/>
                    </a:lnTo>
                    <a:lnTo>
                      <a:pt x="618" y="961"/>
                    </a:lnTo>
                    <a:lnTo>
                      <a:pt x="618" y="959"/>
                    </a:lnTo>
                    <a:lnTo>
                      <a:pt x="616" y="959"/>
                    </a:lnTo>
                    <a:lnTo>
                      <a:pt x="616" y="957"/>
                    </a:lnTo>
                    <a:lnTo>
                      <a:pt x="616" y="956"/>
                    </a:lnTo>
                    <a:lnTo>
                      <a:pt x="618" y="956"/>
                    </a:lnTo>
                    <a:lnTo>
                      <a:pt x="616" y="956"/>
                    </a:lnTo>
                    <a:lnTo>
                      <a:pt x="616" y="954"/>
                    </a:lnTo>
                    <a:lnTo>
                      <a:pt x="614" y="954"/>
                    </a:lnTo>
                    <a:lnTo>
                      <a:pt x="614" y="952"/>
                    </a:lnTo>
                    <a:lnTo>
                      <a:pt x="612" y="951"/>
                    </a:lnTo>
                    <a:lnTo>
                      <a:pt x="611" y="951"/>
                    </a:lnTo>
                    <a:lnTo>
                      <a:pt x="609" y="951"/>
                    </a:lnTo>
                    <a:lnTo>
                      <a:pt x="607" y="951"/>
                    </a:lnTo>
                    <a:lnTo>
                      <a:pt x="606" y="951"/>
                    </a:lnTo>
                    <a:lnTo>
                      <a:pt x="604" y="951"/>
                    </a:lnTo>
                    <a:lnTo>
                      <a:pt x="604" y="949"/>
                    </a:lnTo>
                    <a:lnTo>
                      <a:pt x="604" y="951"/>
                    </a:lnTo>
                    <a:lnTo>
                      <a:pt x="602" y="951"/>
                    </a:lnTo>
                    <a:lnTo>
                      <a:pt x="601" y="949"/>
                    </a:lnTo>
                    <a:lnTo>
                      <a:pt x="601" y="951"/>
                    </a:lnTo>
                    <a:lnTo>
                      <a:pt x="601" y="949"/>
                    </a:lnTo>
                    <a:lnTo>
                      <a:pt x="599" y="949"/>
                    </a:lnTo>
                    <a:lnTo>
                      <a:pt x="599" y="947"/>
                    </a:lnTo>
                    <a:lnTo>
                      <a:pt x="597" y="947"/>
                    </a:lnTo>
                    <a:lnTo>
                      <a:pt x="595" y="947"/>
                    </a:lnTo>
                    <a:lnTo>
                      <a:pt x="595" y="945"/>
                    </a:lnTo>
                    <a:lnTo>
                      <a:pt x="595" y="944"/>
                    </a:lnTo>
                    <a:lnTo>
                      <a:pt x="594" y="944"/>
                    </a:lnTo>
                    <a:lnTo>
                      <a:pt x="594" y="942"/>
                    </a:lnTo>
                    <a:lnTo>
                      <a:pt x="594" y="944"/>
                    </a:lnTo>
                    <a:lnTo>
                      <a:pt x="592" y="942"/>
                    </a:lnTo>
                    <a:lnTo>
                      <a:pt x="592" y="944"/>
                    </a:lnTo>
                    <a:lnTo>
                      <a:pt x="590" y="944"/>
                    </a:lnTo>
                    <a:lnTo>
                      <a:pt x="590" y="945"/>
                    </a:lnTo>
                    <a:lnTo>
                      <a:pt x="589" y="945"/>
                    </a:lnTo>
                    <a:lnTo>
                      <a:pt x="590" y="945"/>
                    </a:lnTo>
                    <a:lnTo>
                      <a:pt x="589" y="945"/>
                    </a:lnTo>
                    <a:lnTo>
                      <a:pt x="589" y="947"/>
                    </a:lnTo>
                    <a:lnTo>
                      <a:pt x="587" y="947"/>
                    </a:lnTo>
                    <a:lnTo>
                      <a:pt x="587" y="949"/>
                    </a:lnTo>
                    <a:lnTo>
                      <a:pt x="585" y="949"/>
                    </a:lnTo>
                    <a:lnTo>
                      <a:pt x="587" y="949"/>
                    </a:lnTo>
                    <a:lnTo>
                      <a:pt x="585" y="949"/>
                    </a:lnTo>
                    <a:lnTo>
                      <a:pt x="585" y="947"/>
                    </a:lnTo>
                    <a:lnTo>
                      <a:pt x="584" y="947"/>
                    </a:lnTo>
                    <a:lnTo>
                      <a:pt x="584" y="949"/>
                    </a:lnTo>
                    <a:lnTo>
                      <a:pt x="582" y="949"/>
                    </a:lnTo>
                    <a:lnTo>
                      <a:pt x="580" y="949"/>
                    </a:lnTo>
                    <a:lnTo>
                      <a:pt x="580" y="951"/>
                    </a:lnTo>
                    <a:lnTo>
                      <a:pt x="578" y="951"/>
                    </a:lnTo>
                    <a:lnTo>
                      <a:pt x="578" y="949"/>
                    </a:lnTo>
                    <a:lnTo>
                      <a:pt x="577" y="949"/>
                    </a:lnTo>
                    <a:lnTo>
                      <a:pt x="575" y="949"/>
                    </a:lnTo>
                    <a:lnTo>
                      <a:pt x="573" y="947"/>
                    </a:lnTo>
                    <a:lnTo>
                      <a:pt x="573" y="949"/>
                    </a:lnTo>
                    <a:lnTo>
                      <a:pt x="572" y="949"/>
                    </a:lnTo>
                    <a:lnTo>
                      <a:pt x="570" y="949"/>
                    </a:lnTo>
                    <a:lnTo>
                      <a:pt x="570" y="947"/>
                    </a:lnTo>
                    <a:lnTo>
                      <a:pt x="568" y="949"/>
                    </a:lnTo>
                    <a:lnTo>
                      <a:pt x="568" y="947"/>
                    </a:lnTo>
                    <a:lnTo>
                      <a:pt x="567" y="947"/>
                    </a:lnTo>
                    <a:lnTo>
                      <a:pt x="567" y="949"/>
                    </a:lnTo>
                    <a:lnTo>
                      <a:pt x="565" y="949"/>
                    </a:lnTo>
                    <a:lnTo>
                      <a:pt x="565" y="947"/>
                    </a:lnTo>
                    <a:lnTo>
                      <a:pt x="563" y="949"/>
                    </a:lnTo>
                    <a:lnTo>
                      <a:pt x="561" y="947"/>
                    </a:lnTo>
                    <a:lnTo>
                      <a:pt x="561" y="949"/>
                    </a:lnTo>
                    <a:lnTo>
                      <a:pt x="561" y="947"/>
                    </a:lnTo>
                    <a:lnTo>
                      <a:pt x="560" y="947"/>
                    </a:lnTo>
                    <a:lnTo>
                      <a:pt x="558" y="947"/>
                    </a:lnTo>
                    <a:lnTo>
                      <a:pt x="556" y="947"/>
                    </a:lnTo>
                    <a:lnTo>
                      <a:pt x="556" y="945"/>
                    </a:lnTo>
                    <a:lnTo>
                      <a:pt x="556" y="947"/>
                    </a:lnTo>
                    <a:lnTo>
                      <a:pt x="555" y="945"/>
                    </a:lnTo>
                    <a:lnTo>
                      <a:pt x="553" y="945"/>
                    </a:lnTo>
                    <a:lnTo>
                      <a:pt x="553" y="944"/>
                    </a:lnTo>
                    <a:lnTo>
                      <a:pt x="551" y="944"/>
                    </a:lnTo>
                    <a:lnTo>
                      <a:pt x="550" y="944"/>
                    </a:lnTo>
                    <a:lnTo>
                      <a:pt x="550" y="945"/>
                    </a:lnTo>
                    <a:lnTo>
                      <a:pt x="548" y="945"/>
                    </a:lnTo>
                    <a:lnTo>
                      <a:pt x="548" y="944"/>
                    </a:lnTo>
                    <a:lnTo>
                      <a:pt x="546" y="945"/>
                    </a:lnTo>
                    <a:lnTo>
                      <a:pt x="546" y="944"/>
                    </a:lnTo>
                    <a:lnTo>
                      <a:pt x="544" y="944"/>
                    </a:lnTo>
                    <a:lnTo>
                      <a:pt x="544" y="945"/>
                    </a:lnTo>
                    <a:lnTo>
                      <a:pt x="544" y="944"/>
                    </a:lnTo>
                    <a:lnTo>
                      <a:pt x="543" y="944"/>
                    </a:lnTo>
                    <a:lnTo>
                      <a:pt x="543" y="942"/>
                    </a:lnTo>
                    <a:lnTo>
                      <a:pt x="541" y="942"/>
                    </a:lnTo>
                    <a:lnTo>
                      <a:pt x="541" y="944"/>
                    </a:lnTo>
                    <a:lnTo>
                      <a:pt x="541" y="942"/>
                    </a:lnTo>
                    <a:lnTo>
                      <a:pt x="539" y="942"/>
                    </a:lnTo>
                    <a:lnTo>
                      <a:pt x="539" y="940"/>
                    </a:lnTo>
                    <a:lnTo>
                      <a:pt x="541" y="940"/>
                    </a:lnTo>
                    <a:lnTo>
                      <a:pt x="541" y="939"/>
                    </a:lnTo>
                    <a:lnTo>
                      <a:pt x="543" y="939"/>
                    </a:lnTo>
                    <a:lnTo>
                      <a:pt x="543" y="937"/>
                    </a:lnTo>
                    <a:lnTo>
                      <a:pt x="543" y="935"/>
                    </a:lnTo>
                    <a:lnTo>
                      <a:pt x="541" y="935"/>
                    </a:lnTo>
                    <a:lnTo>
                      <a:pt x="541" y="934"/>
                    </a:lnTo>
                    <a:lnTo>
                      <a:pt x="543" y="934"/>
                    </a:lnTo>
                    <a:lnTo>
                      <a:pt x="543" y="932"/>
                    </a:lnTo>
                    <a:lnTo>
                      <a:pt x="543" y="930"/>
                    </a:lnTo>
                    <a:lnTo>
                      <a:pt x="544" y="928"/>
                    </a:lnTo>
                    <a:lnTo>
                      <a:pt x="543" y="928"/>
                    </a:lnTo>
                    <a:lnTo>
                      <a:pt x="543" y="927"/>
                    </a:lnTo>
                    <a:lnTo>
                      <a:pt x="543" y="925"/>
                    </a:lnTo>
                    <a:lnTo>
                      <a:pt x="543" y="923"/>
                    </a:lnTo>
                    <a:lnTo>
                      <a:pt x="541" y="923"/>
                    </a:lnTo>
                    <a:lnTo>
                      <a:pt x="541" y="922"/>
                    </a:lnTo>
                    <a:lnTo>
                      <a:pt x="543" y="922"/>
                    </a:lnTo>
                    <a:lnTo>
                      <a:pt x="543" y="920"/>
                    </a:lnTo>
                    <a:lnTo>
                      <a:pt x="543" y="918"/>
                    </a:lnTo>
                    <a:lnTo>
                      <a:pt x="544" y="918"/>
                    </a:lnTo>
                    <a:lnTo>
                      <a:pt x="544" y="917"/>
                    </a:lnTo>
                    <a:lnTo>
                      <a:pt x="544" y="915"/>
                    </a:lnTo>
                    <a:lnTo>
                      <a:pt x="543" y="913"/>
                    </a:lnTo>
                    <a:lnTo>
                      <a:pt x="544" y="913"/>
                    </a:lnTo>
                    <a:lnTo>
                      <a:pt x="544" y="911"/>
                    </a:lnTo>
                    <a:lnTo>
                      <a:pt x="546" y="911"/>
                    </a:lnTo>
                    <a:lnTo>
                      <a:pt x="546" y="910"/>
                    </a:lnTo>
                    <a:lnTo>
                      <a:pt x="544" y="910"/>
                    </a:lnTo>
                    <a:lnTo>
                      <a:pt x="544" y="908"/>
                    </a:lnTo>
                    <a:lnTo>
                      <a:pt x="546" y="906"/>
                    </a:lnTo>
                    <a:lnTo>
                      <a:pt x="544" y="906"/>
                    </a:lnTo>
                    <a:lnTo>
                      <a:pt x="544" y="905"/>
                    </a:lnTo>
                    <a:lnTo>
                      <a:pt x="546" y="905"/>
                    </a:lnTo>
                    <a:lnTo>
                      <a:pt x="546" y="903"/>
                    </a:lnTo>
                    <a:lnTo>
                      <a:pt x="546" y="901"/>
                    </a:lnTo>
                    <a:lnTo>
                      <a:pt x="544" y="901"/>
                    </a:lnTo>
                    <a:lnTo>
                      <a:pt x="544" y="900"/>
                    </a:lnTo>
                    <a:lnTo>
                      <a:pt x="543" y="900"/>
                    </a:lnTo>
                    <a:lnTo>
                      <a:pt x="544" y="900"/>
                    </a:lnTo>
                    <a:lnTo>
                      <a:pt x="544" y="898"/>
                    </a:lnTo>
                    <a:lnTo>
                      <a:pt x="544" y="896"/>
                    </a:lnTo>
                    <a:lnTo>
                      <a:pt x="543" y="896"/>
                    </a:lnTo>
                    <a:lnTo>
                      <a:pt x="541" y="896"/>
                    </a:lnTo>
                    <a:lnTo>
                      <a:pt x="543" y="894"/>
                    </a:lnTo>
                    <a:lnTo>
                      <a:pt x="544" y="894"/>
                    </a:lnTo>
                    <a:lnTo>
                      <a:pt x="544" y="893"/>
                    </a:lnTo>
                    <a:lnTo>
                      <a:pt x="543" y="893"/>
                    </a:lnTo>
                    <a:lnTo>
                      <a:pt x="543" y="891"/>
                    </a:lnTo>
                    <a:lnTo>
                      <a:pt x="543" y="893"/>
                    </a:lnTo>
                    <a:lnTo>
                      <a:pt x="541" y="893"/>
                    </a:lnTo>
                    <a:lnTo>
                      <a:pt x="541" y="891"/>
                    </a:lnTo>
                    <a:lnTo>
                      <a:pt x="541" y="889"/>
                    </a:lnTo>
                    <a:lnTo>
                      <a:pt x="539" y="889"/>
                    </a:lnTo>
                    <a:lnTo>
                      <a:pt x="541" y="888"/>
                    </a:lnTo>
                    <a:lnTo>
                      <a:pt x="539" y="888"/>
                    </a:lnTo>
                    <a:lnTo>
                      <a:pt x="539" y="886"/>
                    </a:lnTo>
                    <a:lnTo>
                      <a:pt x="539" y="884"/>
                    </a:lnTo>
                    <a:lnTo>
                      <a:pt x="541" y="884"/>
                    </a:lnTo>
                    <a:lnTo>
                      <a:pt x="541" y="883"/>
                    </a:lnTo>
                    <a:lnTo>
                      <a:pt x="539" y="883"/>
                    </a:lnTo>
                    <a:lnTo>
                      <a:pt x="538" y="881"/>
                    </a:lnTo>
                    <a:lnTo>
                      <a:pt x="538" y="879"/>
                    </a:lnTo>
                    <a:lnTo>
                      <a:pt x="536" y="879"/>
                    </a:lnTo>
                    <a:lnTo>
                      <a:pt x="538" y="877"/>
                    </a:lnTo>
                    <a:lnTo>
                      <a:pt x="536" y="876"/>
                    </a:lnTo>
                    <a:lnTo>
                      <a:pt x="536" y="877"/>
                    </a:lnTo>
                    <a:lnTo>
                      <a:pt x="534" y="877"/>
                    </a:lnTo>
                    <a:lnTo>
                      <a:pt x="534" y="876"/>
                    </a:lnTo>
                    <a:lnTo>
                      <a:pt x="536" y="876"/>
                    </a:lnTo>
                    <a:lnTo>
                      <a:pt x="536" y="874"/>
                    </a:lnTo>
                    <a:lnTo>
                      <a:pt x="534" y="874"/>
                    </a:lnTo>
                    <a:lnTo>
                      <a:pt x="536" y="872"/>
                    </a:lnTo>
                    <a:lnTo>
                      <a:pt x="538" y="872"/>
                    </a:lnTo>
                    <a:lnTo>
                      <a:pt x="538" y="871"/>
                    </a:lnTo>
                    <a:lnTo>
                      <a:pt x="539" y="871"/>
                    </a:lnTo>
                    <a:lnTo>
                      <a:pt x="539" y="869"/>
                    </a:lnTo>
                    <a:lnTo>
                      <a:pt x="541" y="869"/>
                    </a:lnTo>
                    <a:lnTo>
                      <a:pt x="543" y="869"/>
                    </a:lnTo>
                    <a:lnTo>
                      <a:pt x="544" y="869"/>
                    </a:lnTo>
                    <a:lnTo>
                      <a:pt x="544" y="867"/>
                    </a:lnTo>
                    <a:lnTo>
                      <a:pt x="544" y="866"/>
                    </a:lnTo>
                    <a:lnTo>
                      <a:pt x="541" y="862"/>
                    </a:lnTo>
                    <a:lnTo>
                      <a:pt x="536" y="859"/>
                    </a:lnTo>
                    <a:lnTo>
                      <a:pt x="538" y="855"/>
                    </a:lnTo>
                    <a:lnTo>
                      <a:pt x="541" y="849"/>
                    </a:lnTo>
                    <a:lnTo>
                      <a:pt x="544" y="842"/>
                    </a:lnTo>
                    <a:lnTo>
                      <a:pt x="544" y="840"/>
                    </a:lnTo>
                    <a:lnTo>
                      <a:pt x="544" y="838"/>
                    </a:lnTo>
                    <a:lnTo>
                      <a:pt x="546" y="837"/>
                    </a:lnTo>
                    <a:lnTo>
                      <a:pt x="548" y="833"/>
                    </a:lnTo>
                    <a:lnTo>
                      <a:pt x="550" y="833"/>
                    </a:lnTo>
                    <a:lnTo>
                      <a:pt x="550" y="832"/>
                    </a:lnTo>
                    <a:lnTo>
                      <a:pt x="551" y="832"/>
                    </a:lnTo>
                    <a:lnTo>
                      <a:pt x="550" y="832"/>
                    </a:lnTo>
                    <a:lnTo>
                      <a:pt x="550" y="830"/>
                    </a:lnTo>
                    <a:lnTo>
                      <a:pt x="550" y="828"/>
                    </a:lnTo>
                    <a:lnTo>
                      <a:pt x="548" y="828"/>
                    </a:lnTo>
                    <a:lnTo>
                      <a:pt x="548" y="826"/>
                    </a:lnTo>
                    <a:lnTo>
                      <a:pt x="550" y="825"/>
                    </a:lnTo>
                    <a:lnTo>
                      <a:pt x="550" y="823"/>
                    </a:lnTo>
                    <a:lnTo>
                      <a:pt x="550" y="821"/>
                    </a:lnTo>
                    <a:lnTo>
                      <a:pt x="551" y="820"/>
                    </a:lnTo>
                    <a:lnTo>
                      <a:pt x="551" y="816"/>
                    </a:lnTo>
                    <a:lnTo>
                      <a:pt x="553" y="815"/>
                    </a:lnTo>
                    <a:lnTo>
                      <a:pt x="555" y="808"/>
                    </a:lnTo>
                    <a:lnTo>
                      <a:pt x="555" y="806"/>
                    </a:lnTo>
                    <a:lnTo>
                      <a:pt x="555" y="804"/>
                    </a:lnTo>
                    <a:lnTo>
                      <a:pt x="556" y="804"/>
                    </a:lnTo>
                    <a:lnTo>
                      <a:pt x="558" y="804"/>
                    </a:lnTo>
                    <a:lnTo>
                      <a:pt x="558" y="803"/>
                    </a:lnTo>
                    <a:lnTo>
                      <a:pt x="556" y="803"/>
                    </a:lnTo>
                    <a:lnTo>
                      <a:pt x="555" y="801"/>
                    </a:lnTo>
                    <a:lnTo>
                      <a:pt x="555" y="799"/>
                    </a:lnTo>
                    <a:lnTo>
                      <a:pt x="553" y="797"/>
                    </a:lnTo>
                    <a:lnTo>
                      <a:pt x="553" y="796"/>
                    </a:lnTo>
                    <a:lnTo>
                      <a:pt x="550" y="791"/>
                    </a:lnTo>
                    <a:lnTo>
                      <a:pt x="551" y="791"/>
                    </a:lnTo>
                    <a:lnTo>
                      <a:pt x="551" y="789"/>
                    </a:lnTo>
                    <a:lnTo>
                      <a:pt x="550" y="787"/>
                    </a:lnTo>
                    <a:lnTo>
                      <a:pt x="550" y="786"/>
                    </a:lnTo>
                    <a:lnTo>
                      <a:pt x="548" y="786"/>
                    </a:lnTo>
                    <a:lnTo>
                      <a:pt x="548" y="784"/>
                    </a:lnTo>
                    <a:lnTo>
                      <a:pt x="548" y="782"/>
                    </a:lnTo>
                    <a:lnTo>
                      <a:pt x="548" y="780"/>
                    </a:lnTo>
                    <a:lnTo>
                      <a:pt x="550" y="780"/>
                    </a:lnTo>
                    <a:lnTo>
                      <a:pt x="548" y="780"/>
                    </a:lnTo>
                    <a:lnTo>
                      <a:pt x="546" y="779"/>
                    </a:lnTo>
                    <a:lnTo>
                      <a:pt x="544" y="777"/>
                    </a:lnTo>
                    <a:lnTo>
                      <a:pt x="543" y="777"/>
                    </a:lnTo>
                    <a:lnTo>
                      <a:pt x="543" y="779"/>
                    </a:lnTo>
                    <a:lnTo>
                      <a:pt x="541" y="779"/>
                    </a:lnTo>
                    <a:lnTo>
                      <a:pt x="539" y="779"/>
                    </a:lnTo>
                    <a:lnTo>
                      <a:pt x="539" y="777"/>
                    </a:lnTo>
                    <a:lnTo>
                      <a:pt x="538" y="777"/>
                    </a:lnTo>
                    <a:lnTo>
                      <a:pt x="536" y="777"/>
                    </a:lnTo>
                    <a:lnTo>
                      <a:pt x="536" y="775"/>
                    </a:lnTo>
                    <a:lnTo>
                      <a:pt x="534" y="774"/>
                    </a:lnTo>
                    <a:lnTo>
                      <a:pt x="533" y="774"/>
                    </a:lnTo>
                    <a:lnTo>
                      <a:pt x="531" y="774"/>
                    </a:lnTo>
                    <a:lnTo>
                      <a:pt x="531" y="772"/>
                    </a:lnTo>
                    <a:lnTo>
                      <a:pt x="531" y="770"/>
                    </a:lnTo>
                    <a:lnTo>
                      <a:pt x="529" y="770"/>
                    </a:lnTo>
                    <a:lnTo>
                      <a:pt x="529" y="769"/>
                    </a:lnTo>
                    <a:lnTo>
                      <a:pt x="527" y="769"/>
                    </a:lnTo>
                    <a:lnTo>
                      <a:pt x="527" y="767"/>
                    </a:lnTo>
                    <a:lnTo>
                      <a:pt x="527" y="765"/>
                    </a:lnTo>
                    <a:lnTo>
                      <a:pt x="527" y="763"/>
                    </a:lnTo>
                    <a:lnTo>
                      <a:pt x="526" y="763"/>
                    </a:lnTo>
                    <a:lnTo>
                      <a:pt x="526" y="762"/>
                    </a:lnTo>
                    <a:lnTo>
                      <a:pt x="526" y="760"/>
                    </a:lnTo>
                    <a:lnTo>
                      <a:pt x="524" y="760"/>
                    </a:lnTo>
                    <a:lnTo>
                      <a:pt x="524" y="758"/>
                    </a:lnTo>
                    <a:lnTo>
                      <a:pt x="524" y="757"/>
                    </a:lnTo>
                    <a:lnTo>
                      <a:pt x="524" y="755"/>
                    </a:lnTo>
                    <a:lnTo>
                      <a:pt x="524" y="753"/>
                    </a:lnTo>
                    <a:lnTo>
                      <a:pt x="524" y="752"/>
                    </a:lnTo>
                    <a:lnTo>
                      <a:pt x="524" y="750"/>
                    </a:lnTo>
                    <a:lnTo>
                      <a:pt x="524" y="748"/>
                    </a:lnTo>
                    <a:lnTo>
                      <a:pt x="526" y="748"/>
                    </a:lnTo>
                    <a:lnTo>
                      <a:pt x="526" y="746"/>
                    </a:lnTo>
                    <a:lnTo>
                      <a:pt x="526" y="745"/>
                    </a:lnTo>
                    <a:lnTo>
                      <a:pt x="527" y="745"/>
                    </a:lnTo>
                    <a:lnTo>
                      <a:pt x="529" y="743"/>
                    </a:lnTo>
                    <a:lnTo>
                      <a:pt x="529" y="741"/>
                    </a:lnTo>
                    <a:lnTo>
                      <a:pt x="527" y="741"/>
                    </a:lnTo>
                    <a:lnTo>
                      <a:pt x="527" y="740"/>
                    </a:lnTo>
                    <a:lnTo>
                      <a:pt x="529" y="740"/>
                    </a:lnTo>
                    <a:lnTo>
                      <a:pt x="529" y="738"/>
                    </a:lnTo>
                    <a:lnTo>
                      <a:pt x="529" y="736"/>
                    </a:lnTo>
                    <a:lnTo>
                      <a:pt x="529" y="735"/>
                    </a:lnTo>
                    <a:lnTo>
                      <a:pt x="527" y="735"/>
                    </a:lnTo>
                    <a:lnTo>
                      <a:pt x="527" y="736"/>
                    </a:lnTo>
                    <a:lnTo>
                      <a:pt x="526" y="736"/>
                    </a:lnTo>
                    <a:lnTo>
                      <a:pt x="522" y="736"/>
                    </a:lnTo>
                    <a:lnTo>
                      <a:pt x="517" y="736"/>
                    </a:lnTo>
                    <a:lnTo>
                      <a:pt x="516" y="736"/>
                    </a:lnTo>
                    <a:lnTo>
                      <a:pt x="514" y="736"/>
                    </a:lnTo>
                    <a:lnTo>
                      <a:pt x="507" y="736"/>
                    </a:lnTo>
                    <a:lnTo>
                      <a:pt x="502" y="736"/>
                    </a:lnTo>
                    <a:lnTo>
                      <a:pt x="500" y="736"/>
                    </a:lnTo>
                    <a:lnTo>
                      <a:pt x="499" y="736"/>
                    </a:lnTo>
                    <a:lnTo>
                      <a:pt x="495" y="735"/>
                    </a:lnTo>
                    <a:lnTo>
                      <a:pt x="492" y="735"/>
                    </a:lnTo>
                    <a:lnTo>
                      <a:pt x="490" y="735"/>
                    </a:lnTo>
                    <a:lnTo>
                      <a:pt x="488" y="735"/>
                    </a:lnTo>
                    <a:lnTo>
                      <a:pt x="482" y="735"/>
                    </a:lnTo>
                    <a:lnTo>
                      <a:pt x="478" y="735"/>
                    </a:lnTo>
                    <a:lnTo>
                      <a:pt x="476" y="735"/>
                    </a:lnTo>
                    <a:lnTo>
                      <a:pt x="473" y="735"/>
                    </a:lnTo>
                    <a:lnTo>
                      <a:pt x="471" y="735"/>
                    </a:lnTo>
                    <a:lnTo>
                      <a:pt x="470" y="735"/>
                    </a:lnTo>
                    <a:lnTo>
                      <a:pt x="468" y="735"/>
                    </a:lnTo>
                    <a:lnTo>
                      <a:pt x="466" y="735"/>
                    </a:lnTo>
                    <a:lnTo>
                      <a:pt x="466" y="731"/>
                    </a:lnTo>
                    <a:lnTo>
                      <a:pt x="466" y="728"/>
                    </a:lnTo>
                    <a:lnTo>
                      <a:pt x="465" y="711"/>
                    </a:lnTo>
                    <a:lnTo>
                      <a:pt x="465" y="709"/>
                    </a:lnTo>
                    <a:lnTo>
                      <a:pt x="465" y="707"/>
                    </a:lnTo>
                    <a:lnTo>
                      <a:pt x="463" y="706"/>
                    </a:lnTo>
                    <a:lnTo>
                      <a:pt x="461" y="702"/>
                    </a:lnTo>
                    <a:lnTo>
                      <a:pt x="456" y="697"/>
                    </a:lnTo>
                    <a:lnTo>
                      <a:pt x="453" y="694"/>
                    </a:lnTo>
                    <a:lnTo>
                      <a:pt x="456" y="694"/>
                    </a:lnTo>
                    <a:lnTo>
                      <a:pt x="458" y="694"/>
                    </a:lnTo>
                    <a:lnTo>
                      <a:pt x="461" y="694"/>
                    </a:lnTo>
                    <a:lnTo>
                      <a:pt x="463" y="694"/>
                    </a:lnTo>
                    <a:lnTo>
                      <a:pt x="465" y="694"/>
                    </a:lnTo>
                    <a:lnTo>
                      <a:pt x="465" y="690"/>
                    </a:lnTo>
                    <a:lnTo>
                      <a:pt x="465" y="689"/>
                    </a:lnTo>
                    <a:lnTo>
                      <a:pt x="465" y="687"/>
                    </a:lnTo>
                    <a:lnTo>
                      <a:pt x="465" y="684"/>
                    </a:lnTo>
                    <a:lnTo>
                      <a:pt x="465" y="682"/>
                    </a:lnTo>
                    <a:lnTo>
                      <a:pt x="465" y="680"/>
                    </a:lnTo>
                    <a:lnTo>
                      <a:pt x="463" y="678"/>
                    </a:lnTo>
                    <a:lnTo>
                      <a:pt x="463" y="677"/>
                    </a:lnTo>
                    <a:lnTo>
                      <a:pt x="461" y="677"/>
                    </a:lnTo>
                    <a:lnTo>
                      <a:pt x="461" y="675"/>
                    </a:lnTo>
                    <a:lnTo>
                      <a:pt x="461" y="673"/>
                    </a:lnTo>
                    <a:lnTo>
                      <a:pt x="461" y="672"/>
                    </a:lnTo>
                    <a:lnTo>
                      <a:pt x="459" y="672"/>
                    </a:lnTo>
                    <a:lnTo>
                      <a:pt x="459" y="670"/>
                    </a:lnTo>
                    <a:lnTo>
                      <a:pt x="459" y="668"/>
                    </a:lnTo>
                    <a:lnTo>
                      <a:pt x="458" y="668"/>
                    </a:lnTo>
                    <a:lnTo>
                      <a:pt x="458" y="667"/>
                    </a:lnTo>
                    <a:lnTo>
                      <a:pt x="458" y="665"/>
                    </a:lnTo>
                    <a:lnTo>
                      <a:pt x="458" y="663"/>
                    </a:lnTo>
                    <a:lnTo>
                      <a:pt x="456" y="663"/>
                    </a:lnTo>
                    <a:lnTo>
                      <a:pt x="456" y="661"/>
                    </a:lnTo>
                    <a:lnTo>
                      <a:pt x="456" y="660"/>
                    </a:lnTo>
                    <a:lnTo>
                      <a:pt x="456" y="658"/>
                    </a:lnTo>
                    <a:lnTo>
                      <a:pt x="458" y="658"/>
                    </a:lnTo>
                    <a:lnTo>
                      <a:pt x="458" y="656"/>
                    </a:lnTo>
                    <a:lnTo>
                      <a:pt x="459" y="656"/>
                    </a:lnTo>
                    <a:lnTo>
                      <a:pt x="459" y="655"/>
                    </a:lnTo>
                    <a:lnTo>
                      <a:pt x="458" y="655"/>
                    </a:lnTo>
                    <a:lnTo>
                      <a:pt x="458" y="653"/>
                    </a:lnTo>
                    <a:lnTo>
                      <a:pt x="458" y="651"/>
                    </a:lnTo>
                    <a:lnTo>
                      <a:pt x="456" y="651"/>
                    </a:lnTo>
                    <a:lnTo>
                      <a:pt x="458" y="651"/>
                    </a:lnTo>
                    <a:lnTo>
                      <a:pt x="456" y="650"/>
                    </a:lnTo>
                    <a:lnTo>
                      <a:pt x="456" y="651"/>
                    </a:lnTo>
                    <a:lnTo>
                      <a:pt x="456" y="650"/>
                    </a:lnTo>
                    <a:lnTo>
                      <a:pt x="458" y="650"/>
                    </a:lnTo>
                    <a:lnTo>
                      <a:pt x="456" y="650"/>
                    </a:lnTo>
                    <a:lnTo>
                      <a:pt x="458" y="650"/>
                    </a:lnTo>
                    <a:lnTo>
                      <a:pt x="456" y="650"/>
                    </a:lnTo>
                    <a:lnTo>
                      <a:pt x="458" y="648"/>
                    </a:lnTo>
                    <a:lnTo>
                      <a:pt x="456" y="648"/>
                    </a:lnTo>
                    <a:lnTo>
                      <a:pt x="454" y="648"/>
                    </a:lnTo>
                    <a:lnTo>
                      <a:pt x="453" y="646"/>
                    </a:lnTo>
                    <a:lnTo>
                      <a:pt x="451" y="646"/>
                    </a:lnTo>
                    <a:lnTo>
                      <a:pt x="449" y="646"/>
                    </a:lnTo>
                    <a:lnTo>
                      <a:pt x="449" y="644"/>
                    </a:lnTo>
                    <a:lnTo>
                      <a:pt x="449" y="646"/>
                    </a:lnTo>
                    <a:lnTo>
                      <a:pt x="449" y="644"/>
                    </a:lnTo>
                    <a:lnTo>
                      <a:pt x="448" y="644"/>
                    </a:lnTo>
                    <a:lnTo>
                      <a:pt x="446" y="644"/>
                    </a:lnTo>
                    <a:lnTo>
                      <a:pt x="446" y="643"/>
                    </a:lnTo>
                    <a:lnTo>
                      <a:pt x="444" y="643"/>
                    </a:lnTo>
                    <a:lnTo>
                      <a:pt x="442" y="643"/>
                    </a:lnTo>
                    <a:lnTo>
                      <a:pt x="442" y="641"/>
                    </a:lnTo>
                    <a:lnTo>
                      <a:pt x="442" y="639"/>
                    </a:lnTo>
                    <a:lnTo>
                      <a:pt x="441" y="639"/>
                    </a:lnTo>
                    <a:lnTo>
                      <a:pt x="439" y="639"/>
                    </a:lnTo>
                    <a:lnTo>
                      <a:pt x="439" y="638"/>
                    </a:lnTo>
                    <a:lnTo>
                      <a:pt x="437" y="638"/>
                    </a:lnTo>
                    <a:lnTo>
                      <a:pt x="437" y="639"/>
                    </a:lnTo>
                    <a:lnTo>
                      <a:pt x="437" y="638"/>
                    </a:lnTo>
                    <a:lnTo>
                      <a:pt x="436" y="638"/>
                    </a:lnTo>
                    <a:lnTo>
                      <a:pt x="436" y="639"/>
                    </a:lnTo>
                    <a:lnTo>
                      <a:pt x="434" y="639"/>
                    </a:lnTo>
                    <a:lnTo>
                      <a:pt x="434" y="638"/>
                    </a:lnTo>
                    <a:lnTo>
                      <a:pt x="434" y="639"/>
                    </a:lnTo>
                    <a:lnTo>
                      <a:pt x="432" y="639"/>
                    </a:lnTo>
                    <a:lnTo>
                      <a:pt x="432" y="638"/>
                    </a:lnTo>
                    <a:lnTo>
                      <a:pt x="432" y="639"/>
                    </a:lnTo>
                    <a:lnTo>
                      <a:pt x="431" y="639"/>
                    </a:lnTo>
                    <a:lnTo>
                      <a:pt x="431" y="638"/>
                    </a:lnTo>
                    <a:lnTo>
                      <a:pt x="429" y="638"/>
                    </a:lnTo>
                    <a:lnTo>
                      <a:pt x="427" y="638"/>
                    </a:lnTo>
                    <a:lnTo>
                      <a:pt x="427" y="639"/>
                    </a:lnTo>
                    <a:lnTo>
                      <a:pt x="425" y="639"/>
                    </a:lnTo>
                    <a:lnTo>
                      <a:pt x="424" y="639"/>
                    </a:lnTo>
                    <a:lnTo>
                      <a:pt x="422" y="639"/>
                    </a:lnTo>
                    <a:lnTo>
                      <a:pt x="420" y="639"/>
                    </a:lnTo>
                    <a:lnTo>
                      <a:pt x="419" y="638"/>
                    </a:lnTo>
                    <a:lnTo>
                      <a:pt x="419" y="639"/>
                    </a:lnTo>
                    <a:lnTo>
                      <a:pt x="417" y="638"/>
                    </a:lnTo>
                    <a:lnTo>
                      <a:pt x="417" y="639"/>
                    </a:lnTo>
                    <a:lnTo>
                      <a:pt x="417" y="638"/>
                    </a:lnTo>
                    <a:lnTo>
                      <a:pt x="415" y="638"/>
                    </a:lnTo>
                    <a:lnTo>
                      <a:pt x="415" y="639"/>
                    </a:lnTo>
                    <a:lnTo>
                      <a:pt x="414" y="639"/>
                    </a:lnTo>
                    <a:lnTo>
                      <a:pt x="412" y="639"/>
                    </a:lnTo>
                    <a:lnTo>
                      <a:pt x="410" y="639"/>
                    </a:lnTo>
                    <a:lnTo>
                      <a:pt x="410" y="638"/>
                    </a:lnTo>
                    <a:lnTo>
                      <a:pt x="408" y="638"/>
                    </a:lnTo>
                    <a:lnTo>
                      <a:pt x="408" y="636"/>
                    </a:lnTo>
                    <a:lnTo>
                      <a:pt x="407" y="634"/>
                    </a:lnTo>
                    <a:lnTo>
                      <a:pt x="407" y="636"/>
                    </a:lnTo>
                    <a:lnTo>
                      <a:pt x="407" y="634"/>
                    </a:lnTo>
                    <a:lnTo>
                      <a:pt x="405" y="632"/>
                    </a:lnTo>
                    <a:lnTo>
                      <a:pt x="405" y="634"/>
                    </a:lnTo>
                    <a:lnTo>
                      <a:pt x="405" y="632"/>
                    </a:lnTo>
                    <a:lnTo>
                      <a:pt x="403" y="632"/>
                    </a:lnTo>
                    <a:lnTo>
                      <a:pt x="403" y="631"/>
                    </a:lnTo>
                    <a:lnTo>
                      <a:pt x="402" y="631"/>
                    </a:lnTo>
                    <a:lnTo>
                      <a:pt x="402" y="629"/>
                    </a:lnTo>
                    <a:lnTo>
                      <a:pt x="402" y="627"/>
                    </a:lnTo>
                    <a:lnTo>
                      <a:pt x="402" y="626"/>
                    </a:lnTo>
                    <a:lnTo>
                      <a:pt x="400" y="626"/>
                    </a:lnTo>
                    <a:lnTo>
                      <a:pt x="400" y="624"/>
                    </a:lnTo>
                    <a:lnTo>
                      <a:pt x="398" y="624"/>
                    </a:lnTo>
                    <a:lnTo>
                      <a:pt x="400" y="626"/>
                    </a:lnTo>
                    <a:lnTo>
                      <a:pt x="398" y="626"/>
                    </a:lnTo>
                    <a:lnTo>
                      <a:pt x="398" y="624"/>
                    </a:lnTo>
                    <a:lnTo>
                      <a:pt x="397" y="624"/>
                    </a:lnTo>
                    <a:lnTo>
                      <a:pt x="397" y="626"/>
                    </a:lnTo>
                    <a:lnTo>
                      <a:pt x="395" y="626"/>
                    </a:lnTo>
                    <a:lnTo>
                      <a:pt x="393" y="626"/>
                    </a:lnTo>
                    <a:lnTo>
                      <a:pt x="391" y="626"/>
                    </a:lnTo>
                    <a:lnTo>
                      <a:pt x="391" y="624"/>
                    </a:lnTo>
                    <a:lnTo>
                      <a:pt x="391" y="626"/>
                    </a:lnTo>
                    <a:lnTo>
                      <a:pt x="391" y="624"/>
                    </a:lnTo>
                    <a:lnTo>
                      <a:pt x="390" y="624"/>
                    </a:lnTo>
                    <a:lnTo>
                      <a:pt x="390" y="622"/>
                    </a:lnTo>
                    <a:lnTo>
                      <a:pt x="390" y="624"/>
                    </a:lnTo>
                    <a:lnTo>
                      <a:pt x="388" y="624"/>
                    </a:lnTo>
                    <a:lnTo>
                      <a:pt x="388" y="622"/>
                    </a:lnTo>
                    <a:lnTo>
                      <a:pt x="386" y="624"/>
                    </a:lnTo>
                    <a:lnTo>
                      <a:pt x="386" y="622"/>
                    </a:lnTo>
                    <a:lnTo>
                      <a:pt x="385" y="622"/>
                    </a:lnTo>
                    <a:lnTo>
                      <a:pt x="385" y="621"/>
                    </a:lnTo>
                    <a:lnTo>
                      <a:pt x="383" y="621"/>
                    </a:lnTo>
                    <a:lnTo>
                      <a:pt x="383" y="619"/>
                    </a:lnTo>
                    <a:lnTo>
                      <a:pt x="383" y="621"/>
                    </a:lnTo>
                    <a:lnTo>
                      <a:pt x="381" y="621"/>
                    </a:lnTo>
                    <a:lnTo>
                      <a:pt x="381" y="622"/>
                    </a:lnTo>
                    <a:lnTo>
                      <a:pt x="380" y="621"/>
                    </a:lnTo>
                    <a:lnTo>
                      <a:pt x="378" y="621"/>
                    </a:lnTo>
                    <a:lnTo>
                      <a:pt x="378" y="619"/>
                    </a:lnTo>
                    <a:lnTo>
                      <a:pt x="376" y="619"/>
                    </a:lnTo>
                    <a:lnTo>
                      <a:pt x="376" y="617"/>
                    </a:lnTo>
                    <a:lnTo>
                      <a:pt x="374" y="617"/>
                    </a:lnTo>
                    <a:lnTo>
                      <a:pt x="374" y="615"/>
                    </a:lnTo>
                    <a:lnTo>
                      <a:pt x="373" y="615"/>
                    </a:lnTo>
                    <a:lnTo>
                      <a:pt x="371" y="615"/>
                    </a:lnTo>
                    <a:lnTo>
                      <a:pt x="371" y="614"/>
                    </a:lnTo>
                    <a:lnTo>
                      <a:pt x="371" y="612"/>
                    </a:lnTo>
                    <a:lnTo>
                      <a:pt x="369" y="612"/>
                    </a:lnTo>
                    <a:lnTo>
                      <a:pt x="369" y="610"/>
                    </a:lnTo>
                    <a:lnTo>
                      <a:pt x="368" y="610"/>
                    </a:lnTo>
                    <a:lnTo>
                      <a:pt x="368" y="609"/>
                    </a:lnTo>
                    <a:lnTo>
                      <a:pt x="366" y="609"/>
                    </a:lnTo>
                    <a:lnTo>
                      <a:pt x="366" y="607"/>
                    </a:lnTo>
                    <a:lnTo>
                      <a:pt x="366" y="609"/>
                    </a:lnTo>
                    <a:lnTo>
                      <a:pt x="364" y="607"/>
                    </a:lnTo>
                    <a:lnTo>
                      <a:pt x="364" y="609"/>
                    </a:lnTo>
                    <a:lnTo>
                      <a:pt x="363" y="609"/>
                    </a:lnTo>
                    <a:lnTo>
                      <a:pt x="364" y="610"/>
                    </a:lnTo>
                    <a:lnTo>
                      <a:pt x="363" y="610"/>
                    </a:lnTo>
                    <a:lnTo>
                      <a:pt x="361" y="610"/>
                    </a:lnTo>
                    <a:lnTo>
                      <a:pt x="361" y="609"/>
                    </a:lnTo>
                    <a:lnTo>
                      <a:pt x="359" y="609"/>
                    </a:lnTo>
                    <a:lnTo>
                      <a:pt x="357" y="609"/>
                    </a:lnTo>
                    <a:lnTo>
                      <a:pt x="357" y="607"/>
                    </a:lnTo>
                    <a:lnTo>
                      <a:pt x="356" y="607"/>
                    </a:lnTo>
                    <a:lnTo>
                      <a:pt x="357" y="607"/>
                    </a:lnTo>
                    <a:lnTo>
                      <a:pt x="357" y="605"/>
                    </a:lnTo>
                    <a:lnTo>
                      <a:pt x="356" y="605"/>
                    </a:lnTo>
                    <a:lnTo>
                      <a:pt x="354" y="605"/>
                    </a:lnTo>
                    <a:lnTo>
                      <a:pt x="354" y="604"/>
                    </a:lnTo>
                    <a:lnTo>
                      <a:pt x="352" y="604"/>
                    </a:lnTo>
                    <a:lnTo>
                      <a:pt x="351" y="604"/>
                    </a:lnTo>
                    <a:lnTo>
                      <a:pt x="351" y="602"/>
                    </a:lnTo>
                    <a:lnTo>
                      <a:pt x="349" y="602"/>
                    </a:lnTo>
                    <a:lnTo>
                      <a:pt x="347" y="602"/>
                    </a:lnTo>
                    <a:lnTo>
                      <a:pt x="346" y="602"/>
                    </a:lnTo>
                    <a:lnTo>
                      <a:pt x="346" y="600"/>
                    </a:lnTo>
                    <a:lnTo>
                      <a:pt x="344" y="602"/>
                    </a:lnTo>
                    <a:lnTo>
                      <a:pt x="342" y="602"/>
                    </a:lnTo>
                    <a:lnTo>
                      <a:pt x="340" y="604"/>
                    </a:lnTo>
                    <a:lnTo>
                      <a:pt x="339" y="604"/>
                    </a:lnTo>
                    <a:lnTo>
                      <a:pt x="337" y="604"/>
                    </a:lnTo>
                    <a:lnTo>
                      <a:pt x="335" y="604"/>
                    </a:lnTo>
                    <a:lnTo>
                      <a:pt x="334" y="604"/>
                    </a:lnTo>
                    <a:lnTo>
                      <a:pt x="334" y="602"/>
                    </a:lnTo>
                    <a:lnTo>
                      <a:pt x="334" y="604"/>
                    </a:lnTo>
                    <a:lnTo>
                      <a:pt x="332" y="604"/>
                    </a:lnTo>
                    <a:lnTo>
                      <a:pt x="332" y="602"/>
                    </a:lnTo>
                    <a:lnTo>
                      <a:pt x="330" y="602"/>
                    </a:lnTo>
                    <a:lnTo>
                      <a:pt x="329" y="602"/>
                    </a:lnTo>
                    <a:lnTo>
                      <a:pt x="329" y="604"/>
                    </a:lnTo>
                    <a:lnTo>
                      <a:pt x="327" y="604"/>
                    </a:lnTo>
                    <a:lnTo>
                      <a:pt x="329" y="602"/>
                    </a:lnTo>
                    <a:lnTo>
                      <a:pt x="327" y="602"/>
                    </a:lnTo>
                    <a:lnTo>
                      <a:pt x="325" y="602"/>
                    </a:lnTo>
                    <a:lnTo>
                      <a:pt x="323" y="602"/>
                    </a:lnTo>
                    <a:lnTo>
                      <a:pt x="323" y="600"/>
                    </a:lnTo>
                    <a:lnTo>
                      <a:pt x="322" y="600"/>
                    </a:lnTo>
                    <a:lnTo>
                      <a:pt x="322" y="598"/>
                    </a:lnTo>
                    <a:lnTo>
                      <a:pt x="320" y="598"/>
                    </a:lnTo>
                    <a:lnTo>
                      <a:pt x="322" y="597"/>
                    </a:lnTo>
                    <a:lnTo>
                      <a:pt x="322" y="595"/>
                    </a:lnTo>
                    <a:lnTo>
                      <a:pt x="320" y="595"/>
                    </a:lnTo>
                    <a:lnTo>
                      <a:pt x="320" y="593"/>
                    </a:lnTo>
                    <a:lnTo>
                      <a:pt x="320" y="595"/>
                    </a:lnTo>
                    <a:lnTo>
                      <a:pt x="318" y="595"/>
                    </a:lnTo>
                    <a:lnTo>
                      <a:pt x="318" y="593"/>
                    </a:lnTo>
                    <a:lnTo>
                      <a:pt x="317" y="593"/>
                    </a:lnTo>
                    <a:lnTo>
                      <a:pt x="315" y="593"/>
                    </a:lnTo>
                    <a:lnTo>
                      <a:pt x="313" y="592"/>
                    </a:lnTo>
                    <a:lnTo>
                      <a:pt x="313" y="590"/>
                    </a:lnTo>
                    <a:lnTo>
                      <a:pt x="315" y="590"/>
                    </a:lnTo>
                    <a:lnTo>
                      <a:pt x="313" y="590"/>
                    </a:lnTo>
                    <a:lnTo>
                      <a:pt x="313" y="588"/>
                    </a:lnTo>
                    <a:lnTo>
                      <a:pt x="313" y="590"/>
                    </a:lnTo>
                    <a:lnTo>
                      <a:pt x="313" y="592"/>
                    </a:lnTo>
                    <a:lnTo>
                      <a:pt x="312" y="592"/>
                    </a:lnTo>
                    <a:lnTo>
                      <a:pt x="312" y="590"/>
                    </a:lnTo>
                    <a:lnTo>
                      <a:pt x="312" y="588"/>
                    </a:lnTo>
                    <a:lnTo>
                      <a:pt x="310" y="588"/>
                    </a:lnTo>
                    <a:lnTo>
                      <a:pt x="310" y="590"/>
                    </a:lnTo>
                    <a:lnTo>
                      <a:pt x="310" y="588"/>
                    </a:lnTo>
                    <a:lnTo>
                      <a:pt x="310" y="587"/>
                    </a:lnTo>
                    <a:lnTo>
                      <a:pt x="308" y="587"/>
                    </a:lnTo>
                    <a:lnTo>
                      <a:pt x="306" y="587"/>
                    </a:lnTo>
                    <a:lnTo>
                      <a:pt x="305" y="587"/>
                    </a:lnTo>
                    <a:lnTo>
                      <a:pt x="303" y="587"/>
                    </a:lnTo>
                    <a:lnTo>
                      <a:pt x="303" y="585"/>
                    </a:lnTo>
                    <a:lnTo>
                      <a:pt x="303" y="583"/>
                    </a:lnTo>
                    <a:lnTo>
                      <a:pt x="303" y="581"/>
                    </a:lnTo>
                    <a:lnTo>
                      <a:pt x="301" y="581"/>
                    </a:lnTo>
                    <a:lnTo>
                      <a:pt x="301" y="580"/>
                    </a:lnTo>
                    <a:lnTo>
                      <a:pt x="301" y="578"/>
                    </a:lnTo>
                    <a:lnTo>
                      <a:pt x="301" y="576"/>
                    </a:lnTo>
                    <a:lnTo>
                      <a:pt x="300" y="576"/>
                    </a:lnTo>
                    <a:lnTo>
                      <a:pt x="298" y="576"/>
                    </a:lnTo>
                    <a:lnTo>
                      <a:pt x="298" y="578"/>
                    </a:lnTo>
                    <a:lnTo>
                      <a:pt x="296" y="578"/>
                    </a:lnTo>
                    <a:lnTo>
                      <a:pt x="296" y="576"/>
                    </a:lnTo>
                    <a:lnTo>
                      <a:pt x="295" y="576"/>
                    </a:lnTo>
                    <a:lnTo>
                      <a:pt x="296" y="575"/>
                    </a:lnTo>
                    <a:lnTo>
                      <a:pt x="296" y="573"/>
                    </a:lnTo>
                    <a:lnTo>
                      <a:pt x="296" y="571"/>
                    </a:lnTo>
                    <a:lnTo>
                      <a:pt x="296" y="570"/>
                    </a:lnTo>
                    <a:lnTo>
                      <a:pt x="295" y="570"/>
                    </a:lnTo>
                    <a:lnTo>
                      <a:pt x="293" y="568"/>
                    </a:lnTo>
                    <a:lnTo>
                      <a:pt x="293" y="566"/>
                    </a:lnTo>
                    <a:lnTo>
                      <a:pt x="293" y="564"/>
                    </a:lnTo>
                    <a:lnTo>
                      <a:pt x="293" y="563"/>
                    </a:lnTo>
                    <a:lnTo>
                      <a:pt x="295" y="563"/>
                    </a:lnTo>
                    <a:lnTo>
                      <a:pt x="293" y="563"/>
                    </a:lnTo>
                    <a:lnTo>
                      <a:pt x="293" y="561"/>
                    </a:lnTo>
                    <a:lnTo>
                      <a:pt x="291" y="561"/>
                    </a:lnTo>
                    <a:lnTo>
                      <a:pt x="291" y="559"/>
                    </a:lnTo>
                    <a:lnTo>
                      <a:pt x="293" y="559"/>
                    </a:lnTo>
                    <a:lnTo>
                      <a:pt x="293" y="558"/>
                    </a:lnTo>
                    <a:lnTo>
                      <a:pt x="291" y="558"/>
                    </a:lnTo>
                    <a:lnTo>
                      <a:pt x="291" y="556"/>
                    </a:lnTo>
                    <a:lnTo>
                      <a:pt x="293" y="556"/>
                    </a:lnTo>
                    <a:lnTo>
                      <a:pt x="295" y="554"/>
                    </a:lnTo>
                    <a:lnTo>
                      <a:pt x="295" y="553"/>
                    </a:lnTo>
                    <a:lnTo>
                      <a:pt x="296" y="551"/>
                    </a:lnTo>
                    <a:lnTo>
                      <a:pt x="295" y="551"/>
                    </a:lnTo>
                    <a:lnTo>
                      <a:pt x="295" y="549"/>
                    </a:lnTo>
                    <a:lnTo>
                      <a:pt x="295" y="547"/>
                    </a:lnTo>
                    <a:lnTo>
                      <a:pt x="295" y="546"/>
                    </a:lnTo>
                    <a:lnTo>
                      <a:pt x="293" y="546"/>
                    </a:lnTo>
                    <a:lnTo>
                      <a:pt x="293" y="544"/>
                    </a:lnTo>
                    <a:lnTo>
                      <a:pt x="293" y="542"/>
                    </a:lnTo>
                    <a:lnTo>
                      <a:pt x="293" y="541"/>
                    </a:lnTo>
                    <a:lnTo>
                      <a:pt x="291" y="539"/>
                    </a:lnTo>
                    <a:lnTo>
                      <a:pt x="289" y="537"/>
                    </a:lnTo>
                    <a:lnTo>
                      <a:pt x="291" y="537"/>
                    </a:lnTo>
                    <a:lnTo>
                      <a:pt x="291" y="536"/>
                    </a:lnTo>
                    <a:lnTo>
                      <a:pt x="289" y="536"/>
                    </a:lnTo>
                    <a:lnTo>
                      <a:pt x="289" y="534"/>
                    </a:lnTo>
                    <a:lnTo>
                      <a:pt x="291" y="534"/>
                    </a:lnTo>
                    <a:lnTo>
                      <a:pt x="291" y="532"/>
                    </a:lnTo>
                    <a:lnTo>
                      <a:pt x="291" y="530"/>
                    </a:lnTo>
                    <a:lnTo>
                      <a:pt x="291" y="529"/>
                    </a:lnTo>
                    <a:lnTo>
                      <a:pt x="293" y="529"/>
                    </a:lnTo>
                    <a:lnTo>
                      <a:pt x="293" y="527"/>
                    </a:lnTo>
                    <a:lnTo>
                      <a:pt x="293" y="525"/>
                    </a:lnTo>
                    <a:lnTo>
                      <a:pt x="295" y="525"/>
                    </a:lnTo>
                    <a:lnTo>
                      <a:pt x="295" y="524"/>
                    </a:lnTo>
                    <a:lnTo>
                      <a:pt x="293" y="524"/>
                    </a:lnTo>
                    <a:lnTo>
                      <a:pt x="295" y="522"/>
                    </a:lnTo>
                    <a:lnTo>
                      <a:pt x="295" y="520"/>
                    </a:lnTo>
                    <a:lnTo>
                      <a:pt x="293" y="520"/>
                    </a:lnTo>
                    <a:lnTo>
                      <a:pt x="293" y="519"/>
                    </a:lnTo>
                    <a:lnTo>
                      <a:pt x="293" y="517"/>
                    </a:lnTo>
                    <a:lnTo>
                      <a:pt x="293" y="515"/>
                    </a:lnTo>
                    <a:lnTo>
                      <a:pt x="293" y="513"/>
                    </a:lnTo>
                    <a:lnTo>
                      <a:pt x="295" y="513"/>
                    </a:lnTo>
                    <a:lnTo>
                      <a:pt x="295" y="512"/>
                    </a:lnTo>
                    <a:lnTo>
                      <a:pt x="293" y="512"/>
                    </a:lnTo>
                    <a:lnTo>
                      <a:pt x="293" y="510"/>
                    </a:lnTo>
                    <a:lnTo>
                      <a:pt x="293" y="508"/>
                    </a:lnTo>
                    <a:lnTo>
                      <a:pt x="291" y="508"/>
                    </a:lnTo>
                    <a:lnTo>
                      <a:pt x="291" y="507"/>
                    </a:lnTo>
                    <a:lnTo>
                      <a:pt x="289" y="507"/>
                    </a:lnTo>
                    <a:lnTo>
                      <a:pt x="288" y="507"/>
                    </a:lnTo>
                    <a:lnTo>
                      <a:pt x="288" y="508"/>
                    </a:lnTo>
                    <a:lnTo>
                      <a:pt x="288" y="507"/>
                    </a:lnTo>
                    <a:lnTo>
                      <a:pt x="288" y="508"/>
                    </a:lnTo>
                    <a:lnTo>
                      <a:pt x="288" y="510"/>
                    </a:lnTo>
                    <a:lnTo>
                      <a:pt x="286" y="510"/>
                    </a:lnTo>
                    <a:lnTo>
                      <a:pt x="284" y="510"/>
                    </a:lnTo>
                    <a:lnTo>
                      <a:pt x="284" y="512"/>
                    </a:lnTo>
                    <a:lnTo>
                      <a:pt x="286" y="512"/>
                    </a:lnTo>
                    <a:lnTo>
                      <a:pt x="284" y="512"/>
                    </a:lnTo>
                    <a:lnTo>
                      <a:pt x="283" y="512"/>
                    </a:lnTo>
                    <a:lnTo>
                      <a:pt x="283" y="510"/>
                    </a:lnTo>
                    <a:lnTo>
                      <a:pt x="283" y="512"/>
                    </a:lnTo>
                    <a:lnTo>
                      <a:pt x="283" y="510"/>
                    </a:lnTo>
                    <a:lnTo>
                      <a:pt x="281" y="510"/>
                    </a:lnTo>
                    <a:lnTo>
                      <a:pt x="281" y="512"/>
                    </a:lnTo>
                    <a:lnTo>
                      <a:pt x="279" y="510"/>
                    </a:lnTo>
                    <a:lnTo>
                      <a:pt x="281" y="510"/>
                    </a:lnTo>
                    <a:lnTo>
                      <a:pt x="279" y="510"/>
                    </a:lnTo>
                    <a:lnTo>
                      <a:pt x="281" y="510"/>
                    </a:lnTo>
                    <a:lnTo>
                      <a:pt x="281" y="508"/>
                    </a:lnTo>
                    <a:lnTo>
                      <a:pt x="279" y="508"/>
                    </a:lnTo>
                    <a:lnTo>
                      <a:pt x="279" y="510"/>
                    </a:lnTo>
                    <a:lnTo>
                      <a:pt x="278" y="508"/>
                    </a:lnTo>
                    <a:lnTo>
                      <a:pt x="278" y="510"/>
                    </a:lnTo>
                    <a:lnTo>
                      <a:pt x="276" y="510"/>
                    </a:lnTo>
                    <a:lnTo>
                      <a:pt x="278" y="508"/>
                    </a:lnTo>
                    <a:lnTo>
                      <a:pt x="276" y="508"/>
                    </a:lnTo>
                    <a:lnTo>
                      <a:pt x="276" y="510"/>
                    </a:lnTo>
                    <a:lnTo>
                      <a:pt x="274" y="510"/>
                    </a:lnTo>
                    <a:lnTo>
                      <a:pt x="274" y="508"/>
                    </a:lnTo>
                    <a:lnTo>
                      <a:pt x="274" y="510"/>
                    </a:lnTo>
                    <a:lnTo>
                      <a:pt x="272" y="508"/>
                    </a:lnTo>
                    <a:lnTo>
                      <a:pt x="272" y="510"/>
                    </a:lnTo>
                    <a:lnTo>
                      <a:pt x="272" y="508"/>
                    </a:lnTo>
                    <a:lnTo>
                      <a:pt x="272" y="510"/>
                    </a:lnTo>
                    <a:lnTo>
                      <a:pt x="271" y="510"/>
                    </a:lnTo>
                    <a:lnTo>
                      <a:pt x="269" y="510"/>
                    </a:lnTo>
                    <a:lnTo>
                      <a:pt x="269" y="512"/>
                    </a:lnTo>
                    <a:lnTo>
                      <a:pt x="269" y="510"/>
                    </a:lnTo>
                    <a:lnTo>
                      <a:pt x="267" y="510"/>
                    </a:lnTo>
                    <a:lnTo>
                      <a:pt x="267" y="512"/>
                    </a:lnTo>
                    <a:lnTo>
                      <a:pt x="267" y="510"/>
                    </a:lnTo>
                    <a:lnTo>
                      <a:pt x="266" y="510"/>
                    </a:lnTo>
                    <a:lnTo>
                      <a:pt x="264" y="510"/>
                    </a:lnTo>
                    <a:lnTo>
                      <a:pt x="264" y="512"/>
                    </a:lnTo>
                    <a:lnTo>
                      <a:pt x="262" y="512"/>
                    </a:lnTo>
                    <a:lnTo>
                      <a:pt x="262" y="510"/>
                    </a:lnTo>
                    <a:lnTo>
                      <a:pt x="262" y="512"/>
                    </a:lnTo>
                    <a:lnTo>
                      <a:pt x="261" y="512"/>
                    </a:lnTo>
                    <a:lnTo>
                      <a:pt x="259" y="512"/>
                    </a:lnTo>
                    <a:lnTo>
                      <a:pt x="259" y="513"/>
                    </a:lnTo>
                    <a:lnTo>
                      <a:pt x="257" y="513"/>
                    </a:lnTo>
                    <a:lnTo>
                      <a:pt x="255" y="513"/>
                    </a:lnTo>
                    <a:lnTo>
                      <a:pt x="257" y="513"/>
                    </a:lnTo>
                    <a:lnTo>
                      <a:pt x="255" y="513"/>
                    </a:lnTo>
                    <a:lnTo>
                      <a:pt x="254" y="513"/>
                    </a:lnTo>
                    <a:lnTo>
                      <a:pt x="252" y="513"/>
                    </a:lnTo>
                    <a:lnTo>
                      <a:pt x="250" y="513"/>
                    </a:lnTo>
                    <a:lnTo>
                      <a:pt x="249" y="513"/>
                    </a:lnTo>
                    <a:lnTo>
                      <a:pt x="249" y="515"/>
                    </a:lnTo>
                    <a:lnTo>
                      <a:pt x="247" y="515"/>
                    </a:lnTo>
                    <a:lnTo>
                      <a:pt x="247" y="517"/>
                    </a:lnTo>
                    <a:lnTo>
                      <a:pt x="245" y="517"/>
                    </a:lnTo>
                    <a:lnTo>
                      <a:pt x="244" y="519"/>
                    </a:lnTo>
                    <a:lnTo>
                      <a:pt x="242" y="519"/>
                    </a:lnTo>
                    <a:lnTo>
                      <a:pt x="242" y="520"/>
                    </a:lnTo>
                    <a:lnTo>
                      <a:pt x="240" y="520"/>
                    </a:lnTo>
                    <a:lnTo>
                      <a:pt x="240" y="522"/>
                    </a:lnTo>
                    <a:lnTo>
                      <a:pt x="238" y="522"/>
                    </a:lnTo>
                    <a:lnTo>
                      <a:pt x="240" y="522"/>
                    </a:lnTo>
                    <a:lnTo>
                      <a:pt x="238" y="522"/>
                    </a:lnTo>
                    <a:lnTo>
                      <a:pt x="238" y="524"/>
                    </a:lnTo>
                    <a:lnTo>
                      <a:pt x="237" y="524"/>
                    </a:lnTo>
                    <a:lnTo>
                      <a:pt x="237" y="525"/>
                    </a:lnTo>
                    <a:lnTo>
                      <a:pt x="235" y="527"/>
                    </a:lnTo>
                    <a:lnTo>
                      <a:pt x="233" y="527"/>
                    </a:lnTo>
                    <a:lnTo>
                      <a:pt x="232" y="527"/>
                    </a:lnTo>
                    <a:lnTo>
                      <a:pt x="232" y="529"/>
                    </a:lnTo>
                    <a:lnTo>
                      <a:pt x="230" y="529"/>
                    </a:lnTo>
                    <a:lnTo>
                      <a:pt x="228" y="529"/>
                    </a:lnTo>
                    <a:lnTo>
                      <a:pt x="227" y="529"/>
                    </a:lnTo>
                    <a:lnTo>
                      <a:pt x="225" y="529"/>
                    </a:lnTo>
                    <a:lnTo>
                      <a:pt x="227" y="529"/>
                    </a:lnTo>
                    <a:lnTo>
                      <a:pt x="227" y="530"/>
                    </a:lnTo>
                    <a:lnTo>
                      <a:pt x="225" y="530"/>
                    </a:lnTo>
                    <a:lnTo>
                      <a:pt x="223" y="530"/>
                    </a:lnTo>
                    <a:lnTo>
                      <a:pt x="221" y="530"/>
                    </a:lnTo>
                    <a:lnTo>
                      <a:pt x="223" y="530"/>
                    </a:lnTo>
                    <a:lnTo>
                      <a:pt x="223" y="532"/>
                    </a:lnTo>
                    <a:lnTo>
                      <a:pt x="221" y="532"/>
                    </a:lnTo>
                    <a:lnTo>
                      <a:pt x="221" y="534"/>
                    </a:lnTo>
                    <a:lnTo>
                      <a:pt x="221" y="532"/>
                    </a:lnTo>
                    <a:lnTo>
                      <a:pt x="220" y="534"/>
                    </a:lnTo>
                    <a:lnTo>
                      <a:pt x="218" y="534"/>
                    </a:lnTo>
                    <a:lnTo>
                      <a:pt x="216" y="536"/>
                    </a:lnTo>
                    <a:lnTo>
                      <a:pt x="216" y="537"/>
                    </a:lnTo>
                    <a:lnTo>
                      <a:pt x="215" y="537"/>
                    </a:lnTo>
                    <a:lnTo>
                      <a:pt x="215" y="539"/>
                    </a:lnTo>
                    <a:lnTo>
                      <a:pt x="213" y="537"/>
                    </a:lnTo>
                    <a:lnTo>
                      <a:pt x="213" y="539"/>
                    </a:lnTo>
                    <a:lnTo>
                      <a:pt x="213" y="541"/>
                    </a:lnTo>
                    <a:lnTo>
                      <a:pt x="213" y="542"/>
                    </a:lnTo>
                    <a:lnTo>
                      <a:pt x="211" y="542"/>
                    </a:lnTo>
                    <a:lnTo>
                      <a:pt x="211" y="541"/>
                    </a:lnTo>
                    <a:lnTo>
                      <a:pt x="210" y="541"/>
                    </a:lnTo>
                    <a:lnTo>
                      <a:pt x="208" y="539"/>
                    </a:lnTo>
                    <a:lnTo>
                      <a:pt x="206" y="539"/>
                    </a:lnTo>
                    <a:lnTo>
                      <a:pt x="204" y="541"/>
                    </a:lnTo>
                    <a:lnTo>
                      <a:pt x="204" y="539"/>
                    </a:lnTo>
                    <a:lnTo>
                      <a:pt x="203" y="541"/>
                    </a:lnTo>
                    <a:lnTo>
                      <a:pt x="203" y="539"/>
                    </a:lnTo>
                    <a:lnTo>
                      <a:pt x="201" y="541"/>
                    </a:lnTo>
                    <a:lnTo>
                      <a:pt x="199" y="541"/>
                    </a:lnTo>
                    <a:lnTo>
                      <a:pt x="199" y="542"/>
                    </a:lnTo>
                    <a:lnTo>
                      <a:pt x="199" y="544"/>
                    </a:lnTo>
                    <a:lnTo>
                      <a:pt x="198" y="544"/>
                    </a:lnTo>
                    <a:lnTo>
                      <a:pt x="198" y="546"/>
                    </a:lnTo>
                    <a:lnTo>
                      <a:pt x="196" y="547"/>
                    </a:lnTo>
                    <a:lnTo>
                      <a:pt x="196" y="549"/>
                    </a:lnTo>
                    <a:lnTo>
                      <a:pt x="194" y="549"/>
                    </a:lnTo>
                    <a:lnTo>
                      <a:pt x="194" y="551"/>
                    </a:lnTo>
                    <a:lnTo>
                      <a:pt x="193" y="551"/>
                    </a:lnTo>
                    <a:lnTo>
                      <a:pt x="193" y="553"/>
                    </a:lnTo>
                    <a:lnTo>
                      <a:pt x="191" y="553"/>
                    </a:lnTo>
                    <a:lnTo>
                      <a:pt x="189" y="553"/>
                    </a:lnTo>
                    <a:lnTo>
                      <a:pt x="189" y="554"/>
                    </a:lnTo>
                    <a:lnTo>
                      <a:pt x="189" y="553"/>
                    </a:lnTo>
                    <a:lnTo>
                      <a:pt x="187" y="553"/>
                    </a:lnTo>
                    <a:lnTo>
                      <a:pt x="187" y="554"/>
                    </a:lnTo>
                    <a:lnTo>
                      <a:pt x="186" y="553"/>
                    </a:lnTo>
                    <a:lnTo>
                      <a:pt x="186" y="554"/>
                    </a:lnTo>
                    <a:lnTo>
                      <a:pt x="184" y="554"/>
                    </a:lnTo>
                    <a:lnTo>
                      <a:pt x="184" y="556"/>
                    </a:lnTo>
                    <a:lnTo>
                      <a:pt x="179" y="558"/>
                    </a:lnTo>
                    <a:lnTo>
                      <a:pt x="179" y="556"/>
                    </a:lnTo>
                    <a:lnTo>
                      <a:pt x="177" y="554"/>
                    </a:lnTo>
                    <a:lnTo>
                      <a:pt x="177" y="553"/>
                    </a:lnTo>
                    <a:lnTo>
                      <a:pt x="177" y="551"/>
                    </a:lnTo>
                    <a:lnTo>
                      <a:pt x="176" y="553"/>
                    </a:lnTo>
                    <a:lnTo>
                      <a:pt x="176" y="551"/>
                    </a:lnTo>
                    <a:lnTo>
                      <a:pt x="176" y="553"/>
                    </a:lnTo>
                    <a:lnTo>
                      <a:pt x="174" y="551"/>
                    </a:lnTo>
                    <a:lnTo>
                      <a:pt x="174" y="553"/>
                    </a:lnTo>
                    <a:lnTo>
                      <a:pt x="172" y="553"/>
                    </a:lnTo>
                    <a:lnTo>
                      <a:pt x="174" y="553"/>
                    </a:lnTo>
                    <a:lnTo>
                      <a:pt x="172" y="553"/>
                    </a:lnTo>
                    <a:lnTo>
                      <a:pt x="170" y="553"/>
                    </a:lnTo>
                    <a:lnTo>
                      <a:pt x="170" y="551"/>
                    </a:lnTo>
                    <a:lnTo>
                      <a:pt x="169" y="551"/>
                    </a:lnTo>
                    <a:lnTo>
                      <a:pt x="169" y="553"/>
                    </a:lnTo>
                    <a:lnTo>
                      <a:pt x="169" y="551"/>
                    </a:lnTo>
                    <a:lnTo>
                      <a:pt x="167" y="551"/>
                    </a:lnTo>
                    <a:lnTo>
                      <a:pt x="165" y="551"/>
                    </a:lnTo>
                    <a:lnTo>
                      <a:pt x="164" y="551"/>
                    </a:lnTo>
                    <a:lnTo>
                      <a:pt x="162" y="549"/>
                    </a:lnTo>
                    <a:lnTo>
                      <a:pt x="162" y="551"/>
                    </a:lnTo>
                    <a:lnTo>
                      <a:pt x="162" y="549"/>
                    </a:lnTo>
                    <a:lnTo>
                      <a:pt x="160" y="549"/>
                    </a:lnTo>
                    <a:lnTo>
                      <a:pt x="160" y="551"/>
                    </a:lnTo>
                    <a:lnTo>
                      <a:pt x="160" y="549"/>
                    </a:lnTo>
                    <a:lnTo>
                      <a:pt x="159" y="549"/>
                    </a:lnTo>
                    <a:lnTo>
                      <a:pt x="157" y="551"/>
                    </a:lnTo>
                    <a:lnTo>
                      <a:pt x="157" y="549"/>
                    </a:lnTo>
                    <a:lnTo>
                      <a:pt x="157" y="551"/>
                    </a:lnTo>
                    <a:lnTo>
                      <a:pt x="155" y="549"/>
                    </a:lnTo>
                    <a:lnTo>
                      <a:pt x="153" y="549"/>
                    </a:lnTo>
                    <a:lnTo>
                      <a:pt x="153" y="551"/>
                    </a:lnTo>
                    <a:lnTo>
                      <a:pt x="152" y="549"/>
                    </a:lnTo>
                    <a:lnTo>
                      <a:pt x="150" y="549"/>
                    </a:lnTo>
                    <a:lnTo>
                      <a:pt x="150" y="551"/>
                    </a:lnTo>
                    <a:lnTo>
                      <a:pt x="150" y="549"/>
                    </a:lnTo>
                    <a:close/>
                    <a:moveTo>
                      <a:pt x="1401" y="308"/>
                    </a:moveTo>
                    <a:lnTo>
                      <a:pt x="1405" y="308"/>
                    </a:lnTo>
                    <a:lnTo>
                      <a:pt x="1405" y="309"/>
                    </a:lnTo>
                    <a:lnTo>
                      <a:pt x="1401" y="309"/>
                    </a:lnTo>
                    <a:lnTo>
                      <a:pt x="1401" y="308"/>
                    </a:lnTo>
                    <a:close/>
                    <a:moveTo>
                      <a:pt x="847" y="234"/>
                    </a:moveTo>
                    <a:lnTo>
                      <a:pt x="849" y="234"/>
                    </a:lnTo>
                    <a:lnTo>
                      <a:pt x="849" y="236"/>
                    </a:lnTo>
                    <a:lnTo>
                      <a:pt x="847" y="236"/>
                    </a:lnTo>
                    <a:lnTo>
                      <a:pt x="847" y="234"/>
                    </a:lnTo>
                    <a:close/>
                    <a:moveTo>
                      <a:pt x="847" y="231"/>
                    </a:moveTo>
                    <a:lnTo>
                      <a:pt x="849" y="231"/>
                    </a:lnTo>
                    <a:lnTo>
                      <a:pt x="847" y="231"/>
                    </a:lnTo>
                    <a:close/>
                    <a:moveTo>
                      <a:pt x="859" y="223"/>
                    </a:moveTo>
                    <a:lnTo>
                      <a:pt x="861" y="223"/>
                    </a:lnTo>
                    <a:lnTo>
                      <a:pt x="861" y="224"/>
                    </a:lnTo>
                    <a:lnTo>
                      <a:pt x="859" y="224"/>
                    </a:lnTo>
                    <a:lnTo>
                      <a:pt x="859" y="223"/>
                    </a:lnTo>
                    <a:close/>
                    <a:moveTo>
                      <a:pt x="859" y="221"/>
                    </a:moveTo>
                    <a:lnTo>
                      <a:pt x="861" y="221"/>
                    </a:lnTo>
                    <a:lnTo>
                      <a:pt x="861" y="223"/>
                    </a:lnTo>
                    <a:lnTo>
                      <a:pt x="859" y="223"/>
                    </a:lnTo>
                    <a:lnTo>
                      <a:pt x="859" y="221"/>
                    </a:lnTo>
                    <a:close/>
                    <a:moveTo>
                      <a:pt x="859" y="221"/>
                    </a:moveTo>
                    <a:lnTo>
                      <a:pt x="861" y="221"/>
                    </a:lnTo>
                    <a:lnTo>
                      <a:pt x="861" y="223"/>
                    </a:lnTo>
                    <a:lnTo>
                      <a:pt x="859" y="223"/>
                    </a:lnTo>
                    <a:lnTo>
                      <a:pt x="859" y="221"/>
                    </a:lnTo>
                    <a:close/>
                    <a:moveTo>
                      <a:pt x="861" y="219"/>
                    </a:moveTo>
                    <a:lnTo>
                      <a:pt x="861" y="221"/>
                    </a:lnTo>
                    <a:lnTo>
                      <a:pt x="861" y="219"/>
                    </a:lnTo>
                    <a:close/>
                    <a:moveTo>
                      <a:pt x="859" y="219"/>
                    </a:moveTo>
                    <a:lnTo>
                      <a:pt x="861" y="219"/>
                    </a:lnTo>
                    <a:lnTo>
                      <a:pt x="861" y="221"/>
                    </a:lnTo>
                    <a:lnTo>
                      <a:pt x="859" y="221"/>
                    </a:lnTo>
                    <a:lnTo>
                      <a:pt x="859" y="219"/>
                    </a:lnTo>
                    <a:close/>
                    <a:moveTo>
                      <a:pt x="930" y="209"/>
                    </a:moveTo>
                    <a:lnTo>
                      <a:pt x="932" y="209"/>
                    </a:lnTo>
                    <a:lnTo>
                      <a:pt x="932" y="211"/>
                    </a:lnTo>
                    <a:lnTo>
                      <a:pt x="930" y="211"/>
                    </a:lnTo>
                    <a:lnTo>
                      <a:pt x="930" y="209"/>
                    </a:lnTo>
                    <a:close/>
                    <a:moveTo>
                      <a:pt x="934" y="209"/>
                    </a:moveTo>
                    <a:lnTo>
                      <a:pt x="935" y="209"/>
                    </a:lnTo>
                    <a:lnTo>
                      <a:pt x="935" y="212"/>
                    </a:lnTo>
                    <a:lnTo>
                      <a:pt x="934" y="212"/>
                    </a:lnTo>
                    <a:lnTo>
                      <a:pt x="934" y="209"/>
                    </a:lnTo>
                    <a:close/>
                    <a:moveTo>
                      <a:pt x="920" y="204"/>
                    </a:moveTo>
                    <a:lnTo>
                      <a:pt x="922" y="204"/>
                    </a:lnTo>
                    <a:lnTo>
                      <a:pt x="920" y="204"/>
                    </a:lnTo>
                    <a:close/>
                    <a:moveTo>
                      <a:pt x="896" y="202"/>
                    </a:moveTo>
                    <a:lnTo>
                      <a:pt x="896" y="204"/>
                    </a:lnTo>
                    <a:lnTo>
                      <a:pt x="896" y="202"/>
                    </a:lnTo>
                    <a:close/>
                    <a:moveTo>
                      <a:pt x="878" y="200"/>
                    </a:moveTo>
                    <a:lnTo>
                      <a:pt x="878" y="202"/>
                    </a:lnTo>
                    <a:lnTo>
                      <a:pt x="878" y="200"/>
                    </a:lnTo>
                    <a:close/>
                    <a:moveTo>
                      <a:pt x="878" y="200"/>
                    </a:moveTo>
                    <a:lnTo>
                      <a:pt x="879" y="200"/>
                    </a:lnTo>
                    <a:lnTo>
                      <a:pt x="878" y="200"/>
                    </a:lnTo>
                    <a:close/>
                    <a:moveTo>
                      <a:pt x="883" y="199"/>
                    </a:moveTo>
                    <a:lnTo>
                      <a:pt x="884" y="199"/>
                    </a:lnTo>
                    <a:lnTo>
                      <a:pt x="884" y="200"/>
                    </a:lnTo>
                    <a:lnTo>
                      <a:pt x="883" y="200"/>
                    </a:lnTo>
                    <a:lnTo>
                      <a:pt x="883" y="199"/>
                    </a:lnTo>
                    <a:close/>
                    <a:moveTo>
                      <a:pt x="884" y="197"/>
                    </a:moveTo>
                    <a:lnTo>
                      <a:pt x="884" y="199"/>
                    </a:lnTo>
                    <a:lnTo>
                      <a:pt x="884" y="197"/>
                    </a:lnTo>
                    <a:close/>
                    <a:moveTo>
                      <a:pt x="784" y="190"/>
                    </a:moveTo>
                    <a:lnTo>
                      <a:pt x="782" y="190"/>
                    </a:lnTo>
                    <a:lnTo>
                      <a:pt x="781" y="190"/>
                    </a:lnTo>
                    <a:lnTo>
                      <a:pt x="779" y="190"/>
                    </a:lnTo>
                    <a:lnTo>
                      <a:pt x="779" y="189"/>
                    </a:lnTo>
                    <a:lnTo>
                      <a:pt x="781" y="189"/>
                    </a:lnTo>
                    <a:lnTo>
                      <a:pt x="782" y="187"/>
                    </a:lnTo>
                    <a:lnTo>
                      <a:pt x="784" y="187"/>
                    </a:lnTo>
                    <a:lnTo>
                      <a:pt x="784" y="185"/>
                    </a:lnTo>
                    <a:lnTo>
                      <a:pt x="784" y="187"/>
                    </a:lnTo>
                    <a:lnTo>
                      <a:pt x="784" y="189"/>
                    </a:lnTo>
                    <a:lnTo>
                      <a:pt x="784" y="190"/>
                    </a:lnTo>
                    <a:close/>
                    <a:moveTo>
                      <a:pt x="844" y="183"/>
                    </a:moveTo>
                    <a:lnTo>
                      <a:pt x="845" y="183"/>
                    </a:lnTo>
                    <a:lnTo>
                      <a:pt x="844" y="183"/>
                    </a:lnTo>
                    <a:close/>
                    <a:moveTo>
                      <a:pt x="793" y="183"/>
                    </a:moveTo>
                    <a:lnTo>
                      <a:pt x="794" y="183"/>
                    </a:lnTo>
                    <a:lnTo>
                      <a:pt x="793" y="183"/>
                    </a:lnTo>
                    <a:close/>
                    <a:moveTo>
                      <a:pt x="845" y="183"/>
                    </a:moveTo>
                    <a:lnTo>
                      <a:pt x="849" y="183"/>
                    </a:lnTo>
                    <a:lnTo>
                      <a:pt x="849" y="185"/>
                    </a:lnTo>
                    <a:lnTo>
                      <a:pt x="845" y="185"/>
                    </a:lnTo>
                    <a:lnTo>
                      <a:pt x="845" y="183"/>
                    </a:lnTo>
                    <a:close/>
                    <a:moveTo>
                      <a:pt x="839" y="182"/>
                    </a:moveTo>
                    <a:lnTo>
                      <a:pt x="840" y="182"/>
                    </a:lnTo>
                    <a:lnTo>
                      <a:pt x="840" y="183"/>
                    </a:lnTo>
                    <a:lnTo>
                      <a:pt x="839" y="183"/>
                    </a:lnTo>
                    <a:lnTo>
                      <a:pt x="839" y="182"/>
                    </a:lnTo>
                    <a:close/>
                    <a:moveTo>
                      <a:pt x="796" y="178"/>
                    </a:moveTo>
                    <a:lnTo>
                      <a:pt x="798" y="178"/>
                    </a:lnTo>
                    <a:lnTo>
                      <a:pt x="798" y="180"/>
                    </a:lnTo>
                    <a:lnTo>
                      <a:pt x="796" y="180"/>
                    </a:lnTo>
                    <a:lnTo>
                      <a:pt x="796" y="178"/>
                    </a:lnTo>
                    <a:close/>
                    <a:moveTo>
                      <a:pt x="789" y="178"/>
                    </a:moveTo>
                    <a:lnTo>
                      <a:pt x="791" y="178"/>
                    </a:lnTo>
                    <a:lnTo>
                      <a:pt x="791" y="180"/>
                    </a:lnTo>
                    <a:lnTo>
                      <a:pt x="789" y="180"/>
                    </a:lnTo>
                    <a:lnTo>
                      <a:pt x="789" y="178"/>
                    </a:lnTo>
                    <a:close/>
                    <a:moveTo>
                      <a:pt x="788" y="178"/>
                    </a:moveTo>
                    <a:lnTo>
                      <a:pt x="789" y="178"/>
                    </a:lnTo>
                    <a:lnTo>
                      <a:pt x="789" y="180"/>
                    </a:lnTo>
                    <a:lnTo>
                      <a:pt x="788" y="180"/>
                    </a:lnTo>
                    <a:lnTo>
                      <a:pt x="788" y="178"/>
                    </a:lnTo>
                    <a:close/>
                    <a:moveTo>
                      <a:pt x="789" y="178"/>
                    </a:moveTo>
                    <a:lnTo>
                      <a:pt x="791" y="178"/>
                    </a:lnTo>
                    <a:lnTo>
                      <a:pt x="789" y="178"/>
                    </a:lnTo>
                    <a:close/>
                    <a:moveTo>
                      <a:pt x="786" y="177"/>
                    </a:moveTo>
                    <a:lnTo>
                      <a:pt x="788" y="177"/>
                    </a:lnTo>
                    <a:lnTo>
                      <a:pt x="788" y="178"/>
                    </a:lnTo>
                    <a:lnTo>
                      <a:pt x="786" y="178"/>
                    </a:lnTo>
                    <a:lnTo>
                      <a:pt x="786" y="177"/>
                    </a:lnTo>
                    <a:close/>
                    <a:moveTo>
                      <a:pt x="779" y="177"/>
                    </a:moveTo>
                    <a:lnTo>
                      <a:pt x="781" y="177"/>
                    </a:lnTo>
                    <a:lnTo>
                      <a:pt x="779" y="177"/>
                    </a:lnTo>
                    <a:close/>
                    <a:moveTo>
                      <a:pt x="784" y="177"/>
                    </a:moveTo>
                    <a:lnTo>
                      <a:pt x="786" y="177"/>
                    </a:lnTo>
                    <a:lnTo>
                      <a:pt x="786" y="178"/>
                    </a:lnTo>
                    <a:lnTo>
                      <a:pt x="784" y="178"/>
                    </a:lnTo>
                    <a:lnTo>
                      <a:pt x="782" y="178"/>
                    </a:lnTo>
                    <a:lnTo>
                      <a:pt x="781" y="178"/>
                    </a:lnTo>
                    <a:lnTo>
                      <a:pt x="779" y="178"/>
                    </a:lnTo>
                    <a:lnTo>
                      <a:pt x="779" y="180"/>
                    </a:lnTo>
                    <a:lnTo>
                      <a:pt x="779" y="178"/>
                    </a:lnTo>
                    <a:lnTo>
                      <a:pt x="777" y="180"/>
                    </a:lnTo>
                    <a:lnTo>
                      <a:pt x="777" y="178"/>
                    </a:lnTo>
                    <a:lnTo>
                      <a:pt x="779" y="178"/>
                    </a:lnTo>
                    <a:lnTo>
                      <a:pt x="781" y="178"/>
                    </a:lnTo>
                    <a:lnTo>
                      <a:pt x="781" y="177"/>
                    </a:lnTo>
                    <a:lnTo>
                      <a:pt x="782" y="177"/>
                    </a:lnTo>
                    <a:lnTo>
                      <a:pt x="784" y="177"/>
                    </a:lnTo>
                    <a:close/>
                    <a:moveTo>
                      <a:pt x="825" y="175"/>
                    </a:moveTo>
                    <a:lnTo>
                      <a:pt x="827" y="175"/>
                    </a:lnTo>
                    <a:lnTo>
                      <a:pt x="828" y="175"/>
                    </a:lnTo>
                    <a:lnTo>
                      <a:pt x="830" y="175"/>
                    </a:lnTo>
                    <a:lnTo>
                      <a:pt x="830" y="177"/>
                    </a:lnTo>
                    <a:lnTo>
                      <a:pt x="832" y="177"/>
                    </a:lnTo>
                    <a:lnTo>
                      <a:pt x="830" y="177"/>
                    </a:lnTo>
                    <a:lnTo>
                      <a:pt x="832" y="177"/>
                    </a:lnTo>
                    <a:lnTo>
                      <a:pt x="832" y="178"/>
                    </a:lnTo>
                    <a:lnTo>
                      <a:pt x="832" y="180"/>
                    </a:lnTo>
                    <a:lnTo>
                      <a:pt x="830" y="180"/>
                    </a:lnTo>
                    <a:lnTo>
                      <a:pt x="828" y="182"/>
                    </a:lnTo>
                    <a:lnTo>
                      <a:pt x="827" y="182"/>
                    </a:lnTo>
                    <a:lnTo>
                      <a:pt x="825" y="182"/>
                    </a:lnTo>
                    <a:lnTo>
                      <a:pt x="823" y="182"/>
                    </a:lnTo>
                    <a:lnTo>
                      <a:pt x="822" y="182"/>
                    </a:lnTo>
                    <a:lnTo>
                      <a:pt x="822" y="183"/>
                    </a:lnTo>
                    <a:lnTo>
                      <a:pt x="820" y="182"/>
                    </a:lnTo>
                    <a:lnTo>
                      <a:pt x="818" y="182"/>
                    </a:lnTo>
                    <a:lnTo>
                      <a:pt x="816" y="182"/>
                    </a:lnTo>
                    <a:lnTo>
                      <a:pt x="816" y="180"/>
                    </a:lnTo>
                    <a:lnTo>
                      <a:pt x="816" y="178"/>
                    </a:lnTo>
                    <a:lnTo>
                      <a:pt x="818" y="178"/>
                    </a:lnTo>
                    <a:lnTo>
                      <a:pt x="820" y="178"/>
                    </a:lnTo>
                    <a:lnTo>
                      <a:pt x="820" y="177"/>
                    </a:lnTo>
                    <a:lnTo>
                      <a:pt x="822" y="177"/>
                    </a:lnTo>
                    <a:lnTo>
                      <a:pt x="823" y="175"/>
                    </a:lnTo>
                    <a:lnTo>
                      <a:pt x="825" y="175"/>
                    </a:lnTo>
                    <a:close/>
                    <a:moveTo>
                      <a:pt x="827" y="173"/>
                    </a:moveTo>
                    <a:lnTo>
                      <a:pt x="828" y="173"/>
                    </a:lnTo>
                    <a:lnTo>
                      <a:pt x="828" y="175"/>
                    </a:lnTo>
                    <a:lnTo>
                      <a:pt x="827" y="175"/>
                    </a:lnTo>
                    <a:lnTo>
                      <a:pt x="827" y="173"/>
                    </a:lnTo>
                    <a:close/>
                    <a:moveTo>
                      <a:pt x="818" y="173"/>
                    </a:moveTo>
                    <a:lnTo>
                      <a:pt x="820" y="173"/>
                    </a:lnTo>
                    <a:lnTo>
                      <a:pt x="820" y="175"/>
                    </a:lnTo>
                    <a:lnTo>
                      <a:pt x="818" y="175"/>
                    </a:lnTo>
                    <a:lnTo>
                      <a:pt x="818" y="173"/>
                    </a:lnTo>
                    <a:close/>
                    <a:moveTo>
                      <a:pt x="791" y="172"/>
                    </a:moveTo>
                    <a:lnTo>
                      <a:pt x="793" y="172"/>
                    </a:lnTo>
                    <a:lnTo>
                      <a:pt x="794" y="173"/>
                    </a:lnTo>
                    <a:lnTo>
                      <a:pt x="796" y="173"/>
                    </a:lnTo>
                    <a:lnTo>
                      <a:pt x="794" y="175"/>
                    </a:lnTo>
                    <a:lnTo>
                      <a:pt x="796" y="175"/>
                    </a:lnTo>
                    <a:lnTo>
                      <a:pt x="796" y="177"/>
                    </a:lnTo>
                    <a:lnTo>
                      <a:pt x="796" y="178"/>
                    </a:lnTo>
                    <a:lnTo>
                      <a:pt x="794" y="178"/>
                    </a:lnTo>
                    <a:lnTo>
                      <a:pt x="793" y="178"/>
                    </a:lnTo>
                    <a:lnTo>
                      <a:pt x="791" y="177"/>
                    </a:lnTo>
                    <a:lnTo>
                      <a:pt x="789" y="177"/>
                    </a:lnTo>
                    <a:lnTo>
                      <a:pt x="789" y="175"/>
                    </a:lnTo>
                    <a:lnTo>
                      <a:pt x="788" y="175"/>
                    </a:lnTo>
                    <a:lnTo>
                      <a:pt x="788" y="173"/>
                    </a:lnTo>
                    <a:lnTo>
                      <a:pt x="788" y="172"/>
                    </a:lnTo>
                    <a:lnTo>
                      <a:pt x="789" y="172"/>
                    </a:lnTo>
                    <a:lnTo>
                      <a:pt x="791" y="172"/>
                    </a:lnTo>
                    <a:close/>
                    <a:moveTo>
                      <a:pt x="788" y="172"/>
                    </a:moveTo>
                    <a:lnTo>
                      <a:pt x="789" y="172"/>
                    </a:lnTo>
                    <a:lnTo>
                      <a:pt x="788" y="172"/>
                    </a:lnTo>
                    <a:close/>
                    <a:moveTo>
                      <a:pt x="822" y="172"/>
                    </a:moveTo>
                    <a:lnTo>
                      <a:pt x="823" y="172"/>
                    </a:lnTo>
                    <a:lnTo>
                      <a:pt x="823" y="173"/>
                    </a:lnTo>
                    <a:lnTo>
                      <a:pt x="822" y="173"/>
                    </a:lnTo>
                    <a:lnTo>
                      <a:pt x="822" y="172"/>
                    </a:lnTo>
                    <a:close/>
                    <a:moveTo>
                      <a:pt x="789" y="172"/>
                    </a:moveTo>
                    <a:lnTo>
                      <a:pt x="791" y="172"/>
                    </a:lnTo>
                    <a:lnTo>
                      <a:pt x="789" y="172"/>
                    </a:lnTo>
                    <a:close/>
                    <a:moveTo>
                      <a:pt x="823" y="170"/>
                    </a:moveTo>
                    <a:lnTo>
                      <a:pt x="825" y="170"/>
                    </a:lnTo>
                    <a:lnTo>
                      <a:pt x="825" y="172"/>
                    </a:lnTo>
                    <a:lnTo>
                      <a:pt x="823" y="172"/>
                    </a:lnTo>
                    <a:lnTo>
                      <a:pt x="823" y="170"/>
                    </a:lnTo>
                    <a:close/>
                    <a:moveTo>
                      <a:pt x="806" y="168"/>
                    </a:moveTo>
                    <a:lnTo>
                      <a:pt x="806" y="170"/>
                    </a:lnTo>
                    <a:lnTo>
                      <a:pt x="805" y="170"/>
                    </a:lnTo>
                    <a:lnTo>
                      <a:pt x="803" y="170"/>
                    </a:lnTo>
                    <a:lnTo>
                      <a:pt x="803" y="168"/>
                    </a:lnTo>
                    <a:lnTo>
                      <a:pt x="805" y="168"/>
                    </a:lnTo>
                    <a:lnTo>
                      <a:pt x="805" y="166"/>
                    </a:lnTo>
                    <a:lnTo>
                      <a:pt x="806" y="166"/>
                    </a:lnTo>
                    <a:lnTo>
                      <a:pt x="808" y="166"/>
                    </a:lnTo>
                    <a:lnTo>
                      <a:pt x="808" y="168"/>
                    </a:lnTo>
                    <a:lnTo>
                      <a:pt x="806" y="168"/>
                    </a:lnTo>
                    <a:close/>
                    <a:moveTo>
                      <a:pt x="825" y="165"/>
                    </a:moveTo>
                    <a:lnTo>
                      <a:pt x="825" y="166"/>
                    </a:lnTo>
                    <a:lnTo>
                      <a:pt x="827" y="166"/>
                    </a:lnTo>
                    <a:lnTo>
                      <a:pt x="825" y="166"/>
                    </a:lnTo>
                    <a:lnTo>
                      <a:pt x="825" y="168"/>
                    </a:lnTo>
                    <a:lnTo>
                      <a:pt x="823" y="168"/>
                    </a:lnTo>
                    <a:lnTo>
                      <a:pt x="823" y="170"/>
                    </a:lnTo>
                    <a:lnTo>
                      <a:pt x="822" y="170"/>
                    </a:lnTo>
                    <a:lnTo>
                      <a:pt x="822" y="172"/>
                    </a:lnTo>
                    <a:lnTo>
                      <a:pt x="820" y="172"/>
                    </a:lnTo>
                    <a:lnTo>
                      <a:pt x="820" y="173"/>
                    </a:lnTo>
                    <a:lnTo>
                      <a:pt x="818" y="173"/>
                    </a:lnTo>
                    <a:lnTo>
                      <a:pt x="818" y="175"/>
                    </a:lnTo>
                    <a:lnTo>
                      <a:pt x="816" y="175"/>
                    </a:lnTo>
                    <a:lnTo>
                      <a:pt x="816" y="177"/>
                    </a:lnTo>
                    <a:lnTo>
                      <a:pt x="815" y="177"/>
                    </a:lnTo>
                    <a:lnTo>
                      <a:pt x="815" y="178"/>
                    </a:lnTo>
                    <a:lnTo>
                      <a:pt x="813" y="178"/>
                    </a:lnTo>
                    <a:lnTo>
                      <a:pt x="811" y="178"/>
                    </a:lnTo>
                    <a:lnTo>
                      <a:pt x="811" y="180"/>
                    </a:lnTo>
                    <a:lnTo>
                      <a:pt x="810" y="180"/>
                    </a:lnTo>
                    <a:lnTo>
                      <a:pt x="810" y="178"/>
                    </a:lnTo>
                    <a:lnTo>
                      <a:pt x="808" y="177"/>
                    </a:lnTo>
                    <a:lnTo>
                      <a:pt x="806" y="177"/>
                    </a:lnTo>
                    <a:lnTo>
                      <a:pt x="805" y="177"/>
                    </a:lnTo>
                    <a:lnTo>
                      <a:pt x="803" y="177"/>
                    </a:lnTo>
                    <a:lnTo>
                      <a:pt x="801" y="177"/>
                    </a:lnTo>
                    <a:lnTo>
                      <a:pt x="799" y="177"/>
                    </a:lnTo>
                    <a:lnTo>
                      <a:pt x="798" y="177"/>
                    </a:lnTo>
                    <a:lnTo>
                      <a:pt x="798" y="175"/>
                    </a:lnTo>
                    <a:lnTo>
                      <a:pt x="798" y="173"/>
                    </a:lnTo>
                    <a:lnTo>
                      <a:pt x="796" y="173"/>
                    </a:lnTo>
                    <a:lnTo>
                      <a:pt x="796" y="172"/>
                    </a:lnTo>
                    <a:lnTo>
                      <a:pt x="798" y="172"/>
                    </a:lnTo>
                    <a:lnTo>
                      <a:pt x="799" y="172"/>
                    </a:lnTo>
                    <a:lnTo>
                      <a:pt x="799" y="170"/>
                    </a:lnTo>
                    <a:lnTo>
                      <a:pt x="801" y="170"/>
                    </a:lnTo>
                    <a:lnTo>
                      <a:pt x="803" y="170"/>
                    </a:lnTo>
                    <a:lnTo>
                      <a:pt x="805" y="170"/>
                    </a:lnTo>
                    <a:lnTo>
                      <a:pt x="806" y="170"/>
                    </a:lnTo>
                    <a:lnTo>
                      <a:pt x="808" y="170"/>
                    </a:lnTo>
                    <a:lnTo>
                      <a:pt x="808" y="168"/>
                    </a:lnTo>
                    <a:lnTo>
                      <a:pt x="808" y="166"/>
                    </a:lnTo>
                    <a:lnTo>
                      <a:pt x="810" y="166"/>
                    </a:lnTo>
                    <a:lnTo>
                      <a:pt x="810" y="168"/>
                    </a:lnTo>
                    <a:lnTo>
                      <a:pt x="810" y="166"/>
                    </a:lnTo>
                    <a:lnTo>
                      <a:pt x="810" y="168"/>
                    </a:lnTo>
                    <a:lnTo>
                      <a:pt x="810" y="166"/>
                    </a:lnTo>
                    <a:lnTo>
                      <a:pt x="811" y="166"/>
                    </a:lnTo>
                    <a:lnTo>
                      <a:pt x="811" y="168"/>
                    </a:lnTo>
                    <a:lnTo>
                      <a:pt x="813" y="168"/>
                    </a:lnTo>
                    <a:lnTo>
                      <a:pt x="815" y="168"/>
                    </a:lnTo>
                    <a:lnTo>
                      <a:pt x="816" y="168"/>
                    </a:lnTo>
                    <a:lnTo>
                      <a:pt x="816" y="166"/>
                    </a:lnTo>
                    <a:lnTo>
                      <a:pt x="818" y="166"/>
                    </a:lnTo>
                    <a:lnTo>
                      <a:pt x="820" y="166"/>
                    </a:lnTo>
                    <a:lnTo>
                      <a:pt x="820" y="165"/>
                    </a:lnTo>
                    <a:lnTo>
                      <a:pt x="822" y="165"/>
                    </a:lnTo>
                    <a:lnTo>
                      <a:pt x="822" y="166"/>
                    </a:lnTo>
                    <a:lnTo>
                      <a:pt x="822" y="165"/>
                    </a:lnTo>
                    <a:lnTo>
                      <a:pt x="823" y="165"/>
                    </a:lnTo>
                    <a:lnTo>
                      <a:pt x="825" y="165"/>
                    </a:lnTo>
                    <a:close/>
                    <a:moveTo>
                      <a:pt x="803" y="156"/>
                    </a:moveTo>
                    <a:lnTo>
                      <a:pt x="805" y="156"/>
                    </a:lnTo>
                    <a:lnTo>
                      <a:pt x="803" y="156"/>
                    </a:lnTo>
                    <a:close/>
                    <a:moveTo>
                      <a:pt x="808" y="156"/>
                    </a:moveTo>
                    <a:lnTo>
                      <a:pt x="808" y="158"/>
                    </a:lnTo>
                    <a:lnTo>
                      <a:pt x="810" y="158"/>
                    </a:lnTo>
                    <a:lnTo>
                      <a:pt x="810" y="160"/>
                    </a:lnTo>
                    <a:lnTo>
                      <a:pt x="808" y="160"/>
                    </a:lnTo>
                    <a:lnTo>
                      <a:pt x="808" y="161"/>
                    </a:lnTo>
                    <a:lnTo>
                      <a:pt x="806" y="161"/>
                    </a:lnTo>
                    <a:lnTo>
                      <a:pt x="806" y="163"/>
                    </a:lnTo>
                    <a:lnTo>
                      <a:pt x="805" y="163"/>
                    </a:lnTo>
                    <a:lnTo>
                      <a:pt x="805" y="165"/>
                    </a:lnTo>
                    <a:lnTo>
                      <a:pt x="803" y="165"/>
                    </a:lnTo>
                    <a:lnTo>
                      <a:pt x="803" y="166"/>
                    </a:lnTo>
                    <a:lnTo>
                      <a:pt x="801" y="166"/>
                    </a:lnTo>
                    <a:lnTo>
                      <a:pt x="799" y="166"/>
                    </a:lnTo>
                    <a:lnTo>
                      <a:pt x="799" y="165"/>
                    </a:lnTo>
                    <a:lnTo>
                      <a:pt x="799" y="163"/>
                    </a:lnTo>
                    <a:lnTo>
                      <a:pt x="799" y="161"/>
                    </a:lnTo>
                    <a:lnTo>
                      <a:pt x="799" y="160"/>
                    </a:lnTo>
                    <a:lnTo>
                      <a:pt x="799" y="158"/>
                    </a:lnTo>
                    <a:lnTo>
                      <a:pt x="801" y="158"/>
                    </a:lnTo>
                    <a:lnTo>
                      <a:pt x="803" y="158"/>
                    </a:lnTo>
                    <a:lnTo>
                      <a:pt x="805" y="158"/>
                    </a:lnTo>
                    <a:lnTo>
                      <a:pt x="806" y="158"/>
                    </a:lnTo>
                    <a:lnTo>
                      <a:pt x="806" y="156"/>
                    </a:lnTo>
                    <a:lnTo>
                      <a:pt x="808" y="156"/>
                    </a:lnTo>
                    <a:close/>
                    <a:moveTo>
                      <a:pt x="799" y="156"/>
                    </a:moveTo>
                    <a:lnTo>
                      <a:pt x="801" y="158"/>
                    </a:lnTo>
                    <a:lnTo>
                      <a:pt x="799" y="158"/>
                    </a:lnTo>
                    <a:lnTo>
                      <a:pt x="799" y="160"/>
                    </a:lnTo>
                    <a:lnTo>
                      <a:pt x="799" y="161"/>
                    </a:lnTo>
                    <a:lnTo>
                      <a:pt x="799" y="163"/>
                    </a:lnTo>
                    <a:lnTo>
                      <a:pt x="799" y="165"/>
                    </a:lnTo>
                    <a:lnTo>
                      <a:pt x="799" y="166"/>
                    </a:lnTo>
                    <a:lnTo>
                      <a:pt x="799" y="168"/>
                    </a:lnTo>
                    <a:lnTo>
                      <a:pt x="799" y="170"/>
                    </a:lnTo>
                    <a:lnTo>
                      <a:pt x="798" y="170"/>
                    </a:lnTo>
                    <a:lnTo>
                      <a:pt x="796" y="170"/>
                    </a:lnTo>
                    <a:lnTo>
                      <a:pt x="796" y="172"/>
                    </a:lnTo>
                    <a:lnTo>
                      <a:pt x="796" y="173"/>
                    </a:lnTo>
                    <a:lnTo>
                      <a:pt x="794" y="172"/>
                    </a:lnTo>
                    <a:lnTo>
                      <a:pt x="793" y="172"/>
                    </a:lnTo>
                    <a:lnTo>
                      <a:pt x="793" y="170"/>
                    </a:lnTo>
                    <a:lnTo>
                      <a:pt x="791" y="170"/>
                    </a:lnTo>
                    <a:lnTo>
                      <a:pt x="793" y="168"/>
                    </a:lnTo>
                    <a:lnTo>
                      <a:pt x="794" y="168"/>
                    </a:lnTo>
                    <a:lnTo>
                      <a:pt x="796" y="165"/>
                    </a:lnTo>
                    <a:lnTo>
                      <a:pt x="796" y="163"/>
                    </a:lnTo>
                    <a:lnTo>
                      <a:pt x="796" y="161"/>
                    </a:lnTo>
                    <a:lnTo>
                      <a:pt x="796" y="160"/>
                    </a:lnTo>
                    <a:lnTo>
                      <a:pt x="796" y="158"/>
                    </a:lnTo>
                    <a:lnTo>
                      <a:pt x="798" y="158"/>
                    </a:lnTo>
                    <a:lnTo>
                      <a:pt x="798" y="156"/>
                    </a:lnTo>
                    <a:lnTo>
                      <a:pt x="799" y="156"/>
                    </a:lnTo>
                    <a:close/>
                    <a:moveTo>
                      <a:pt x="801" y="156"/>
                    </a:moveTo>
                    <a:lnTo>
                      <a:pt x="801" y="158"/>
                    </a:lnTo>
                    <a:lnTo>
                      <a:pt x="801" y="156"/>
                    </a:lnTo>
                    <a:close/>
                    <a:moveTo>
                      <a:pt x="789" y="166"/>
                    </a:moveTo>
                    <a:lnTo>
                      <a:pt x="791" y="166"/>
                    </a:lnTo>
                    <a:lnTo>
                      <a:pt x="791" y="168"/>
                    </a:lnTo>
                    <a:lnTo>
                      <a:pt x="789" y="168"/>
                    </a:lnTo>
                    <a:lnTo>
                      <a:pt x="789" y="166"/>
                    </a:lnTo>
                    <a:close/>
                    <a:moveTo>
                      <a:pt x="801" y="148"/>
                    </a:moveTo>
                    <a:lnTo>
                      <a:pt x="801" y="149"/>
                    </a:lnTo>
                    <a:lnTo>
                      <a:pt x="801" y="148"/>
                    </a:lnTo>
                    <a:close/>
                    <a:moveTo>
                      <a:pt x="810" y="148"/>
                    </a:moveTo>
                    <a:lnTo>
                      <a:pt x="811" y="148"/>
                    </a:lnTo>
                    <a:lnTo>
                      <a:pt x="810" y="148"/>
                    </a:lnTo>
                    <a:close/>
                    <a:moveTo>
                      <a:pt x="810" y="148"/>
                    </a:moveTo>
                    <a:lnTo>
                      <a:pt x="810" y="149"/>
                    </a:lnTo>
                    <a:lnTo>
                      <a:pt x="808" y="149"/>
                    </a:lnTo>
                    <a:lnTo>
                      <a:pt x="810" y="149"/>
                    </a:lnTo>
                    <a:lnTo>
                      <a:pt x="808" y="151"/>
                    </a:lnTo>
                    <a:lnTo>
                      <a:pt x="806" y="153"/>
                    </a:lnTo>
                    <a:lnTo>
                      <a:pt x="805" y="153"/>
                    </a:lnTo>
                    <a:lnTo>
                      <a:pt x="803" y="153"/>
                    </a:lnTo>
                    <a:lnTo>
                      <a:pt x="801" y="153"/>
                    </a:lnTo>
                    <a:lnTo>
                      <a:pt x="801" y="151"/>
                    </a:lnTo>
                    <a:lnTo>
                      <a:pt x="801" y="149"/>
                    </a:lnTo>
                    <a:lnTo>
                      <a:pt x="803" y="148"/>
                    </a:lnTo>
                    <a:lnTo>
                      <a:pt x="805" y="148"/>
                    </a:lnTo>
                    <a:lnTo>
                      <a:pt x="806" y="148"/>
                    </a:lnTo>
                    <a:lnTo>
                      <a:pt x="808" y="148"/>
                    </a:lnTo>
                    <a:lnTo>
                      <a:pt x="810" y="148"/>
                    </a:lnTo>
                    <a:close/>
                    <a:moveTo>
                      <a:pt x="806" y="146"/>
                    </a:moveTo>
                    <a:lnTo>
                      <a:pt x="810" y="146"/>
                    </a:lnTo>
                    <a:lnTo>
                      <a:pt x="810" y="148"/>
                    </a:lnTo>
                    <a:lnTo>
                      <a:pt x="806" y="148"/>
                    </a:lnTo>
                    <a:lnTo>
                      <a:pt x="806" y="146"/>
                    </a:lnTo>
                    <a:close/>
                    <a:moveTo>
                      <a:pt x="805" y="146"/>
                    </a:moveTo>
                    <a:lnTo>
                      <a:pt x="806" y="146"/>
                    </a:lnTo>
                    <a:lnTo>
                      <a:pt x="806" y="148"/>
                    </a:lnTo>
                    <a:lnTo>
                      <a:pt x="805" y="148"/>
                    </a:lnTo>
                    <a:lnTo>
                      <a:pt x="805" y="146"/>
                    </a:lnTo>
                    <a:close/>
                    <a:moveTo>
                      <a:pt x="813" y="141"/>
                    </a:moveTo>
                    <a:lnTo>
                      <a:pt x="813" y="143"/>
                    </a:lnTo>
                    <a:lnTo>
                      <a:pt x="813" y="144"/>
                    </a:lnTo>
                    <a:lnTo>
                      <a:pt x="811" y="146"/>
                    </a:lnTo>
                    <a:lnTo>
                      <a:pt x="810" y="146"/>
                    </a:lnTo>
                    <a:lnTo>
                      <a:pt x="808" y="146"/>
                    </a:lnTo>
                    <a:lnTo>
                      <a:pt x="806" y="146"/>
                    </a:lnTo>
                    <a:lnTo>
                      <a:pt x="806" y="144"/>
                    </a:lnTo>
                    <a:lnTo>
                      <a:pt x="808" y="144"/>
                    </a:lnTo>
                    <a:lnTo>
                      <a:pt x="808" y="143"/>
                    </a:lnTo>
                    <a:lnTo>
                      <a:pt x="810" y="143"/>
                    </a:lnTo>
                    <a:lnTo>
                      <a:pt x="811" y="143"/>
                    </a:lnTo>
                    <a:lnTo>
                      <a:pt x="811" y="141"/>
                    </a:lnTo>
                    <a:lnTo>
                      <a:pt x="813" y="141"/>
                    </a:lnTo>
                    <a:close/>
                    <a:moveTo>
                      <a:pt x="798" y="107"/>
                    </a:moveTo>
                    <a:lnTo>
                      <a:pt x="798" y="109"/>
                    </a:lnTo>
                    <a:lnTo>
                      <a:pt x="798" y="110"/>
                    </a:lnTo>
                    <a:lnTo>
                      <a:pt x="799" y="110"/>
                    </a:lnTo>
                    <a:lnTo>
                      <a:pt x="799" y="112"/>
                    </a:lnTo>
                    <a:lnTo>
                      <a:pt x="798" y="114"/>
                    </a:lnTo>
                    <a:lnTo>
                      <a:pt x="796" y="115"/>
                    </a:lnTo>
                    <a:lnTo>
                      <a:pt x="794" y="114"/>
                    </a:lnTo>
                    <a:lnTo>
                      <a:pt x="794" y="112"/>
                    </a:lnTo>
                    <a:lnTo>
                      <a:pt x="794" y="110"/>
                    </a:lnTo>
                    <a:lnTo>
                      <a:pt x="793" y="110"/>
                    </a:lnTo>
                    <a:lnTo>
                      <a:pt x="793" y="109"/>
                    </a:lnTo>
                    <a:lnTo>
                      <a:pt x="793" y="107"/>
                    </a:lnTo>
                    <a:lnTo>
                      <a:pt x="794" y="107"/>
                    </a:lnTo>
                    <a:lnTo>
                      <a:pt x="796" y="107"/>
                    </a:lnTo>
                    <a:lnTo>
                      <a:pt x="798" y="107"/>
                    </a:lnTo>
                    <a:close/>
                    <a:moveTo>
                      <a:pt x="786" y="105"/>
                    </a:moveTo>
                    <a:lnTo>
                      <a:pt x="786" y="107"/>
                    </a:lnTo>
                    <a:lnTo>
                      <a:pt x="786" y="105"/>
                    </a:lnTo>
                    <a:close/>
                    <a:moveTo>
                      <a:pt x="794" y="103"/>
                    </a:moveTo>
                    <a:lnTo>
                      <a:pt x="794" y="105"/>
                    </a:lnTo>
                    <a:lnTo>
                      <a:pt x="796" y="105"/>
                    </a:lnTo>
                    <a:lnTo>
                      <a:pt x="796" y="107"/>
                    </a:lnTo>
                    <a:lnTo>
                      <a:pt x="794" y="107"/>
                    </a:lnTo>
                    <a:lnTo>
                      <a:pt x="793" y="107"/>
                    </a:lnTo>
                    <a:lnTo>
                      <a:pt x="793" y="105"/>
                    </a:lnTo>
                    <a:lnTo>
                      <a:pt x="791" y="105"/>
                    </a:lnTo>
                    <a:lnTo>
                      <a:pt x="793" y="105"/>
                    </a:lnTo>
                    <a:lnTo>
                      <a:pt x="793" y="103"/>
                    </a:lnTo>
                    <a:lnTo>
                      <a:pt x="794" y="103"/>
                    </a:lnTo>
                    <a:close/>
                    <a:moveTo>
                      <a:pt x="990" y="284"/>
                    </a:moveTo>
                    <a:lnTo>
                      <a:pt x="992" y="284"/>
                    </a:lnTo>
                    <a:lnTo>
                      <a:pt x="992" y="285"/>
                    </a:lnTo>
                    <a:lnTo>
                      <a:pt x="990" y="285"/>
                    </a:lnTo>
                    <a:lnTo>
                      <a:pt x="990" y="284"/>
                    </a:lnTo>
                    <a:close/>
                    <a:moveTo>
                      <a:pt x="990" y="277"/>
                    </a:moveTo>
                    <a:lnTo>
                      <a:pt x="992" y="277"/>
                    </a:lnTo>
                    <a:lnTo>
                      <a:pt x="990" y="277"/>
                    </a:lnTo>
                    <a:close/>
                    <a:moveTo>
                      <a:pt x="1071" y="272"/>
                    </a:moveTo>
                    <a:lnTo>
                      <a:pt x="1073" y="272"/>
                    </a:lnTo>
                    <a:lnTo>
                      <a:pt x="1071" y="272"/>
                    </a:lnTo>
                    <a:close/>
                    <a:moveTo>
                      <a:pt x="997" y="270"/>
                    </a:moveTo>
                    <a:lnTo>
                      <a:pt x="997" y="272"/>
                    </a:lnTo>
                    <a:lnTo>
                      <a:pt x="997" y="274"/>
                    </a:lnTo>
                    <a:lnTo>
                      <a:pt x="997" y="275"/>
                    </a:lnTo>
                    <a:lnTo>
                      <a:pt x="997" y="277"/>
                    </a:lnTo>
                    <a:lnTo>
                      <a:pt x="997" y="279"/>
                    </a:lnTo>
                    <a:lnTo>
                      <a:pt x="995" y="279"/>
                    </a:lnTo>
                    <a:lnTo>
                      <a:pt x="995" y="280"/>
                    </a:lnTo>
                    <a:lnTo>
                      <a:pt x="993" y="280"/>
                    </a:lnTo>
                    <a:lnTo>
                      <a:pt x="992" y="279"/>
                    </a:lnTo>
                    <a:lnTo>
                      <a:pt x="992" y="277"/>
                    </a:lnTo>
                    <a:lnTo>
                      <a:pt x="993" y="275"/>
                    </a:lnTo>
                    <a:lnTo>
                      <a:pt x="993" y="274"/>
                    </a:lnTo>
                    <a:lnTo>
                      <a:pt x="993" y="272"/>
                    </a:lnTo>
                    <a:lnTo>
                      <a:pt x="995" y="272"/>
                    </a:lnTo>
                    <a:lnTo>
                      <a:pt x="995" y="270"/>
                    </a:lnTo>
                    <a:lnTo>
                      <a:pt x="997" y="270"/>
                    </a:lnTo>
                    <a:close/>
                    <a:moveTo>
                      <a:pt x="1073" y="270"/>
                    </a:moveTo>
                    <a:lnTo>
                      <a:pt x="1075" y="270"/>
                    </a:lnTo>
                    <a:lnTo>
                      <a:pt x="1077" y="270"/>
                    </a:lnTo>
                    <a:lnTo>
                      <a:pt x="1075" y="270"/>
                    </a:lnTo>
                    <a:lnTo>
                      <a:pt x="1075" y="272"/>
                    </a:lnTo>
                    <a:lnTo>
                      <a:pt x="1073" y="270"/>
                    </a:lnTo>
                    <a:lnTo>
                      <a:pt x="1071" y="270"/>
                    </a:lnTo>
                    <a:lnTo>
                      <a:pt x="1071" y="268"/>
                    </a:lnTo>
                    <a:lnTo>
                      <a:pt x="1073" y="268"/>
                    </a:lnTo>
                    <a:lnTo>
                      <a:pt x="1073" y="270"/>
                    </a:lnTo>
                    <a:close/>
                    <a:moveTo>
                      <a:pt x="1073" y="268"/>
                    </a:moveTo>
                    <a:lnTo>
                      <a:pt x="1075" y="268"/>
                    </a:lnTo>
                    <a:lnTo>
                      <a:pt x="1077" y="268"/>
                    </a:lnTo>
                    <a:lnTo>
                      <a:pt x="1078" y="268"/>
                    </a:lnTo>
                    <a:lnTo>
                      <a:pt x="1078" y="270"/>
                    </a:lnTo>
                    <a:lnTo>
                      <a:pt x="1080" y="270"/>
                    </a:lnTo>
                    <a:lnTo>
                      <a:pt x="1080" y="272"/>
                    </a:lnTo>
                    <a:lnTo>
                      <a:pt x="1078" y="272"/>
                    </a:lnTo>
                    <a:lnTo>
                      <a:pt x="1077" y="272"/>
                    </a:lnTo>
                    <a:lnTo>
                      <a:pt x="1077" y="270"/>
                    </a:lnTo>
                    <a:lnTo>
                      <a:pt x="1075" y="270"/>
                    </a:lnTo>
                    <a:lnTo>
                      <a:pt x="1073" y="268"/>
                    </a:lnTo>
                    <a:close/>
                    <a:moveTo>
                      <a:pt x="998" y="260"/>
                    </a:moveTo>
                    <a:lnTo>
                      <a:pt x="998" y="262"/>
                    </a:lnTo>
                    <a:lnTo>
                      <a:pt x="997" y="262"/>
                    </a:lnTo>
                    <a:lnTo>
                      <a:pt x="997" y="263"/>
                    </a:lnTo>
                    <a:lnTo>
                      <a:pt x="995" y="263"/>
                    </a:lnTo>
                    <a:lnTo>
                      <a:pt x="995" y="262"/>
                    </a:lnTo>
                    <a:lnTo>
                      <a:pt x="997" y="262"/>
                    </a:lnTo>
                    <a:lnTo>
                      <a:pt x="995" y="260"/>
                    </a:lnTo>
                    <a:lnTo>
                      <a:pt x="997" y="260"/>
                    </a:lnTo>
                    <a:lnTo>
                      <a:pt x="998" y="260"/>
                    </a:lnTo>
                    <a:close/>
                    <a:moveTo>
                      <a:pt x="1029" y="258"/>
                    </a:moveTo>
                    <a:lnTo>
                      <a:pt x="1029" y="260"/>
                    </a:lnTo>
                    <a:lnTo>
                      <a:pt x="1029" y="258"/>
                    </a:lnTo>
                    <a:close/>
                    <a:moveTo>
                      <a:pt x="1020" y="258"/>
                    </a:moveTo>
                    <a:lnTo>
                      <a:pt x="1020" y="260"/>
                    </a:lnTo>
                    <a:lnTo>
                      <a:pt x="1020" y="258"/>
                    </a:lnTo>
                    <a:close/>
                    <a:moveTo>
                      <a:pt x="1026" y="258"/>
                    </a:moveTo>
                    <a:lnTo>
                      <a:pt x="1029" y="258"/>
                    </a:lnTo>
                    <a:lnTo>
                      <a:pt x="1029" y="260"/>
                    </a:lnTo>
                    <a:lnTo>
                      <a:pt x="1026" y="260"/>
                    </a:lnTo>
                    <a:lnTo>
                      <a:pt x="1026" y="258"/>
                    </a:lnTo>
                    <a:close/>
                    <a:moveTo>
                      <a:pt x="1024" y="255"/>
                    </a:moveTo>
                    <a:lnTo>
                      <a:pt x="1026" y="255"/>
                    </a:lnTo>
                    <a:lnTo>
                      <a:pt x="1024" y="255"/>
                    </a:lnTo>
                    <a:close/>
                    <a:moveTo>
                      <a:pt x="1026" y="255"/>
                    </a:moveTo>
                    <a:lnTo>
                      <a:pt x="1027" y="255"/>
                    </a:lnTo>
                    <a:lnTo>
                      <a:pt x="1026" y="255"/>
                    </a:lnTo>
                    <a:close/>
                    <a:moveTo>
                      <a:pt x="986" y="234"/>
                    </a:moveTo>
                    <a:lnTo>
                      <a:pt x="988" y="234"/>
                    </a:lnTo>
                    <a:lnTo>
                      <a:pt x="986" y="234"/>
                    </a:lnTo>
                    <a:close/>
                    <a:moveTo>
                      <a:pt x="969" y="233"/>
                    </a:moveTo>
                    <a:lnTo>
                      <a:pt x="971" y="233"/>
                    </a:lnTo>
                    <a:lnTo>
                      <a:pt x="971" y="236"/>
                    </a:lnTo>
                    <a:lnTo>
                      <a:pt x="969" y="236"/>
                    </a:lnTo>
                    <a:lnTo>
                      <a:pt x="969" y="233"/>
                    </a:lnTo>
                    <a:close/>
                    <a:moveTo>
                      <a:pt x="969" y="233"/>
                    </a:moveTo>
                    <a:lnTo>
                      <a:pt x="968" y="234"/>
                    </a:lnTo>
                    <a:lnTo>
                      <a:pt x="969" y="234"/>
                    </a:lnTo>
                    <a:lnTo>
                      <a:pt x="969" y="236"/>
                    </a:lnTo>
                    <a:lnTo>
                      <a:pt x="968" y="236"/>
                    </a:lnTo>
                    <a:lnTo>
                      <a:pt x="968" y="234"/>
                    </a:lnTo>
                    <a:lnTo>
                      <a:pt x="968" y="233"/>
                    </a:lnTo>
                    <a:lnTo>
                      <a:pt x="969" y="231"/>
                    </a:lnTo>
                    <a:lnTo>
                      <a:pt x="969" y="233"/>
                    </a:lnTo>
                    <a:close/>
                    <a:moveTo>
                      <a:pt x="986" y="229"/>
                    </a:moveTo>
                    <a:lnTo>
                      <a:pt x="988" y="229"/>
                    </a:lnTo>
                    <a:lnTo>
                      <a:pt x="988" y="231"/>
                    </a:lnTo>
                    <a:lnTo>
                      <a:pt x="986" y="231"/>
                    </a:lnTo>
                    <a:lnTo>
                      <a:pt x="986" y="229"/>
                    </a:lnTo>
                    <a:close/>
                    <a:moveTo>
                      <a:pt x="985" y="228"/>
                    </a:moveTo>
                    <a:lnTo>
                      <a:pt x="986" y="228"/>
                    </a:lnTo>
                    <a:lnTo>
                      <a:pt x="986" y="231"/>
                    </a:lnTo>
                    <a:lnTo>
                      <a:pt x="985" y="231"/>
                    </a:lnTo>
                    <a:lnTo>
                      <a:pt x="985" y="228"/>
                    </a:lnTo>
                    <a:close/>
                    <a:moveTo>
                      <a:pt x="986" y="228"/>
                    </a:moveTo>
                    <a:lnTo>
                      <a:pt x="988" y="228"/>
                    </a:lnTo>
                    <a:lnTo>
                      <a:pt x="988" y="229"/>
                    </a:lnTo>
                    <a:lnTo>
                      <a:pt x="986" y="229"/>
                    </a:lnTo>
                    <a:lnTo>
                      <a:pt x="986" y="228"/>
                    </a:lnTo>
                    <a:close/>
                    <a:moveTo>
                      <a:pt x="976" y="226"/>
                    </a:moveTo>
                    <a:lnTo>
                      <a:pt x="976" y="228"/>
                    </a:lnTo>
                    <a:lnTo>
                      <a:pt x="976" y="226"/>
                    </a:lnTo>
                    <a:close/>
                    <a:moveTo>
                      <a:pt x="975" y="226"/>
                    </a:moveTo>
                    <a:lnTo>
                      <a:pt x="976" y="226"/>
                    </a:lnTo>
                    <a:lnTo>
                      <a:pt x="976" y="228"/>
                    </a:lnTo>
                    <a:lnTo>
                      <a:pt x="975" y="228"/>
                    </a:lnTo>
                    <a:lnTo>
                      <a:pt x="975" y="226"/>
                    </a:lnTo>
                    <a:close/>
                    <a:moveTo>
                      <a:pt x="964" y="226"/>
                    </a:moveTo>
                    <a:lnTo>
                      <a:pt x="966" y="226"/>
                    </a:lnTo>
                    <a:lnTo>
                      <a:pt x="964" y="226"/>
                    </a:lnTo>
                    <a:close/>
                    <a:moveTo>
                      <a:pt x="976" y="224"/>
                    </a:moveTo>
                    <a:lnTo>
                      <a:pt x="976" y="226"/>
                    </a:lnTo>
                    <a:lnTo>
                      <a:pt x="976" y="224"/>
                    </a:lnTo>
                    <a:close/>
                    <a:moveTo>
                      <a:pt x="975" y="224"/>
                    </a:moveTo>
                    <a:lnTo>
                      <a:pt x="976" y="224"/>
                    </a:lnTo>
                    <a:lnTo>
                      <a:pt x="976" y="226"/>
                    </a:lnTo>
                    <a:lnTo>
                      <a:pt x="975" y="226"/>
                    </a:lnTo>
                    <a:lnTo>
                      <a:pt x="975" y="224"/>
                    </a:lnTo>
                    <a:close/>
                    <a:moveTo>
                      <a:pt x="978" y="224"/>
                    </a:moveTo>
                    <a:lnTo>
                      <a:pt x="978" y="226"/>
                    </a:lnTo>
                    <a:lnTo>
                      <a:pt x="978" y="224"/>
                    </a:lnTo>
                    <a:close/>
                    <a:moveTo>
                      <a:pt x="983" y="223"/>
                    </a:moveTo>
                    <a:lnTo>
                      <a:pt x="983" y="224"/>
                    </a:lnTo>
                    <a:lnTo>
                      <a:pt x="983" y="223"/>
                    </a:lnTo>
                    <a:close/>
                    <a:moveTo>
                      <a:pt x="959" y="223"/>
                    </a:moveTo>
                    <a:lnTo>
                      <a:pt x="961" y="223"/>
                    </a:lnTo>
                    <a:lnTo>
                      <a:pt x="959" y="223"/>
                    </a:lnTo>
                    <a:close/>
                    <a:moveTo>
                      <a:pt x="959" y="221"/>
                    </a:moveTo>
                    <a:lnTo>
                      <a:pt x="961" y="221"/>
                    </a:lnTo>
                    <a:lnTo>
                      <a:pt x="961" y="223"/>
                    </a:lnTo>
                    <a:lnTo>
                      <a:pt x="959" y="223"/>
                    </a:lnTo>
                    <a:lnTo>
                      <a:pt x="959" y="221"/>
                    </a:lnTo>
                    <a:close/>
                    <a:moveTo>
                      <a:pt x="959" y="221"/>
                    </a:moveTo>
                    <a:lnTo>
                      <a:pt x="961" y="221"/>
                    </a:lnTo>
                    <a:lnTo>
                      <a:pt x="959" y="221"/>
                    </a:lnTo>
                    <a:close/>
                    <a:moveTo>
                      <a:pt x="980" y="221"/>
                    </a:moveTo>
                    <a:lnTo>
                      <a:pt x="981" y="221"/>
                    </a:lnTo>
                    <a:lnTo>
                      <a:pt x="983" y="221"/>
                    </a:lnTo>
                    <a:lnTo>
                      <a:pt x="983" y="223"/>
                    </a:lnTo>
                    <a:lnTo>
                      <a:pt x="983" y="221"/>
                    </a:lnTo>
                    <a:lnTo>
                      <a:pt x="983" y="223"/>
                    </a:lnTo>
                    <a:lnTo>
                      <a:pt x="981" y="223"/>
                    </a:lnTo>
                    <a:lnTo>
                      <a:pt x="981" y="224"/>
                    </a:lnTo>
                    <a:lnTo>
                      <a:pt x="980" y="224"/>
                    </a:lnTo>
                    <a:lnTo>
                      <a:pt x="980" y="226"/>
                    </a:lnTo>
                    <a:lnTo>
                      <a:pt x="978" y="224"/>
                    </a:lnTo>
                    <a:lnTo>
                      <a:pt x="978" y="223"/>
                    </a:lnTo>
                    <a:lnTo>
                      <a:pt x="980" y="223"/>
                    </a:lnTo>
                    <a:lnTo>
                      <a:pt x="980" y="221"/>
                    </a:lnTo>
                    <a:close/>
                    <a:moveTo>
                      <a:pt x="959" y="217"/>
                    </a:moveTo>
                    <a:lnTo>
                      <a:pt x="961" y="217"/>
                    </a:lnTo>
                    <a:lnTo>
                      <a:pt x="961" y="219"/>
                    </a:lnTo>
                    <a:lnTo>
                      <a:pt x="959" y="219"/>
                    </a:lnTo>
                    <a:lnTo>
                      <a:pt x="959" y="217"/>
                    </a:lnTo>
                    <a:close/>
                    <a:moveTo>
                      <a:pt x="956" y="217"/>
                    </a:moveTo>
                    <a:lnTo>
                      <a:pt x="956" y="221"/>
                    </a:lnTo>
                    <a:lnTo>
                      <a:pt x="956" y="217"/>
                    </a:lnTo>
                    <a:close/>
                    <a:moveTo>
                      <a:pt x="952" y="217"/>
                    </a:moveTo>
                    <a:lnTo>
                      <a:pt x="952" y="219"/>
                    </a:lnTo>
                    <a:lnTo>
                      <a:pt x="952" y="217"/>
                    </a:lnTo>
                    <a:close/>
                    <a:moveTo>
                      <a:pt x="944" y="216"/>
                    </a:moveTo>
                    <a:lnTo>
                      <a:pt x="947" y="216"/>
                    </a:lnTo>
                    <a:lnTo>
                      <a:pt x="947" y="217"/>
                    </a:lnTo>
                    <a:lnTo>
                      <a:pt x="944" y="217"/>
                    </a:lnTo>
                    <a:lnTo>
                      <a:pt x="944" y="216"/>
                    </a:lnTo>
                    <a:close/>
                    <a:moveTo>
                      <a:pt x="958" y="217"/>
                    </a:moveTo>
                    <a:lnTo>
                      <a:pt x="958" y="219"/>
                    </a:lnTo>
                    <a:lnTo>
                      <a:pt x="958" y="221"/>
                    </a:lnTo>
                    <a:lnTo>
                      <a:pt x="958" y="223"/>
                    </a:lnTo>
                    <a:lnTo>
                      <a:pt x="958" y="224"/>
                    </a:lnTo>
                    <a:lnTo>
                      <a:pt x="956" y="224"/>
                    </a:lnTo>
                    <a:lnTo>
                      <a:pt x="956" y="223"/>
                    </a:lnTo>
                    <a:lnTo>
                      <a:pt x="956" y="221"/>
                    </a:lnTo>
                    <a:lnTo>
                      <a:pt x="958" y="221"/>
                    </a:lnTo>
                    <a:lnTo>
                      <a:pt x="958" y="219"/>
                    </a:lnTo>
                    <a:lnTo>
                      <a:pt x="958" y="217"/>
                    </a:lnTo>
                    <a:lnTo>
                      <a:pt x="958" y="216"/>
                    </a:lnTo>
                    <a:lnTo>
                      <a:pt x="958" y="217"/>
                    </a:lnTo>
                    <a:close/>
                    <a:moveTo>
                      <a:pt x="951" y="216"/>
                    </a:moveTo>
                    <a:lnTo>
                      <a:pt x="952" y="216"/>
                    </a:lnTo>
                    <a:lnTo>
                      <a:pt x="952" y="217"/>
                    </a:lnTo>
                    <a:lnTo>
                      <a:pt x="951" y="217"/>
                    </a:lnTo>
                    <a:lnTo>
                      <a:pt x="951" y="216"/>
                    </a:lnTo>
                    <a:close/>
                    <a:moveTo>
                      <a:pt x="1189" y="621"/>
                    </a:moveTo>
                    <a:lnTo>
                      <a:pt x="1190" y="621"/>
                    </a:lnTo>
                    <a:lnTo>
                      <a:pt x="1190" y="622"/>
                    </a:lnTo>
                    <a:lnTo>
                      <a:pt x="1189" y="622"/>
                    </a:lnTo>
                    <a:lnTo>
                      <a:pt x="1189" y="621"/>
                    </a:lnTo>
                    <a:close/>
                    <a:moveTo>
                      <a:pt x="1189" y="621"/>
                    </a:moveTo>
                    <a:lnTo>
                      <a:pt x="1190" y="621"/>
                    </a:lnTo>
                    <a:lnTo>
                      <a:pt x="1189" y="621"/>
                    </a:lnTo>
                    <a:close/>
                    <a:moveTo>
                      <a:pt x="1194" y="612"/>
                    </a:moveTo>
                    <a:lnTo>
                      <a:pt x="1194" y="614"/>
                    </a:lnTo>
                    <a:lnTo>
                      <a:pt x="1194" y="612"/>
                    </a:lnTo>
                    <a:close/>
                    <a:moveTo>
                      <a:pt x="1197" y="612"/>
                    </a:moveTo>
                    <a:lnTo>
                      <a:pt x="1197" y="614"/>
                    </a:lnTo>
                    <a:lnTo>
                      <a:pt x="1197" y="612"/>
                    </a:lnTo>
                    <a:close/>
                    <a:moveTo>
                      <a:pt x="1194" y="612"/>
                    </a:moveTo>
                    <a:lnTo>
                      <a:pt x="1196" y="612"/>
                    </a:lnTo>
                    <a:lnTo>
                      <a:pt x="1194" y="612"/>
                    </a:lnTo>
                    <a:close/>
                    <a:moveTo>
                      <a:pt x="1190" y="609"/>
                    </a:moveTo>
                    <a:lnTo>
                      <a:pt x="1192" y="609"/>
                    </a:lnTo>
                    <a:lnTo>
                      <a:pt x="1192" y="610"/>
                    </a:lnTo>
                    <a:lnTo>
                      <a:pt x="1190" y="610"/>
                    </a:lnTo>
                    <a:lnTo>
                      <a:pt x="1190" y="609"/>
                    </a:lnTo>
                    <a:close/>
                    <a:moveTo>
                      <a:pt x="1507" y="884"/>
                    </a:moveTo>
                    <a:lnTo>
                      <a:pt x="1508" y="884"/>
                    </a:lnTo>
                    <a:lnTo>
                      <a:pt x="1508" y="886"/>
                    </a:lnTo>
                    <a:lnTo>
                      <a:pt x="1507" y="886"/>
                    </a:lnTo>
                    <a:lnTo>
                      <a:pt x="1507" y="884"/>
                    </a:lnTo>
                    <a:close/>
                    <a:moveTo>
                      <a:pt x="1007" y="985"/>
                    </a:moveTo>
                    <a:lnTo>
                      <a:pt x="1009" y="985"/>
                    </a:lnTo>
                    <a:lnTo>
                      <a:pt x="1007" y="985"/>
                    </a:lnTo>
                    <a:close/>
                    <a:moveTo>
                      <a:pt x="992" y="985"/>
                    </a:moveTo>
                    <a:lnTo>
                      <a:pt x="993" y="985"/>
                    </a:lnTo>
                    <a:lnTo>
                      <a:pt x="992" y="985"/>
                    </a:lnTo>
                    <a:close/>
                    <a:moveTo>
                      <a:pt x="990" y="981"/>
                    </a:moveTo>
                    <a:lnTo>
                      <a:pt x="990" y="983"/>
                    </a:lnTo>
                    <a:lnTo>
                      <a:pt x="990" y="981"/>
                    </a:lnTo>
                    <a:close/>
                    <a:moveTo>
                      <a:pt x="1005" y="980"/>
                    </a:moveTo>
                    <a:lnTo>
                      <a:pt x="1007" y="980"/>
                    </a:lnTo>
                    <a:lnTo>
                      <a:pt x="1005" y="980"/>
                    </a:lnTo>
                    <a:lnTo>
                      <a:pt x="1007" y="981"/>
                    </a:lnTo>
                    <a:lnTo>
                      <a:pt x="1009" y="981"/>
                    </a:lnTo>
                    <a:lnTo>
                      <a:pt x="1009" y="983"/>
                    </a:lnTo>
                    <a:lnTo>
                      <a:pt x="1009" y="981"/>
                    </a:lnTo>
                    <a:lnTo>
                      <a:pt x="1009" y="983"/>
                    </a:lnTo>
                    <a:lnTo>
                      <a:pt x="1010" y="983"/>
                    </a:lnTo>
                    <a:lnTo>
                      <a:pt x="1009" y="983"/>
                    </a:lnTo>
                    <a:lnTo>
                      <a:pt x="1007" y="983"/>
                    </a:lnTo>
                    <a:lnTo>
                      <a:pt x="1007" y="985"/>
                    </a:lnTo>
                    <a:lnTo>
                      <a:pt x="1005" y="983"/>
                    </a:lnTo>
                    <a:lnTo>
                      <a:pt x="1003" y="985"/>
                    </a:lnTo>
                    <a:lnTo>
                      <a:pt x="1003" y="983"/>
                    </a:lnTo>
                    <a:lnTo>
                      <a:pt x="1002" y="983"/>
                    </a:lnTo>
                    <a:lnTo>
                      <a:pt x="1002" y="985"/>
                    </a:lnTo>
                    <a:lnTo>
                      <a:pt x="1002" y="983"/>
                    </a:lnTo>
                    <a:lnTo>
                      <a:pt x="1000" y="983"/>
                    </a:lnTo>
                    <a:lnTo>
                      <a:pt x="1002" y="983"/>
                    </a:lnTo>
                    <a:lnTo>
                      <a:pt x="1002" y="981"/>
                    </a:lnTo>
                    <a:lnTo>
                      <a:pt x="1003" y="981"/>
                    </a:lnTo>
                    <a:lnTo>
                      <a:pt x="1005" y="981"/>
                    </a:lnTo>
                    <a:lnTo>
                      <a:pt x="1003" y="980"/>
                    </a:lnTo>
                    <a:lnTo>
                      <a:pt x="1005" y="980"/>
                    </a:lnTo>
                    <a:close/>
                    <a:moveTo>
                      <a:pt x="993" y="978"/>
                    </a:moveTo>
                    <a:lnTo>
                      <a:pt x="995" y="978"/>
                    </a:lnTo>
                    <a:lnTo>
                      <a:pt x="995" y="980"/>
                    </a:lnTo>
                    <a:lnTo>
                      <a:pt x="993" y="980"/>
                    </a:lnTo>
                    <a:lnTo>
                      <a:pt x="993" y="978"/>
                    </a:lnTo>
                    <a:close/>
                    <a:moveTo>
                      <a:pt x="995" y="978"/>
                    </a:moveTo>
                    <a:lnTo>
                      <a:pt x="997" y="978"/>
                    </a:lnTo>
                    <a:lnTo>
                      <a:pt x="995" y="978"/>
                    </a:lnTo>
                    <a:close/>
                    <a:moveTo>
                      <a:pt x="1000" y="978"/>
                    </a:moveTo>
                    <a:lnTo>
                      <a:pt x="1002" y="978"/>
                    </a:lnTo>
                    <a:lnTo>
                      <a:pt x="1002" y="980"/>
                    </a:lnTo>
                    <a:lnTo>
                      <a:pt x="1000" y="980"/>
                    </a:lnTo>
                    <a:lnTo>
                      <a:pt x="1000" y="978"/>
                    </a:lnTo>
                    <a:close/>
                    <a:moveTo>
                      <a:pt x="1010" y="976"/>
                    </a:moveTo>
                    <a:lnTo>
                      <a:pt x="1012" y="976"/>
                    </a:lnTo>
                    <a:lnTo>
                      <a:pt x="1010" y="976"/>
                    </a:lnTo>
                    <a:close/>
                    <a:moveTo>
                      <a:pt x="1080" y="976"/>
                    </a:moveTo>
                    <a:lnTo>
                      <a:pt x="1082" y="976"/>
                    </a:lnTo>
                    <a:lnTo>
                      <a:pt x="1080" y="976"/>
                    </a:lnTo>
                    <a:close/>
                    <a:moveTo>
                      <a:pt x="1015" y="974"/>
                    </a:moveTo>
                    <a:lnTo>
                      <a:pt x="1017" y="974"/>
                    </a:lnTo>
                    <a:lnTo>
                      <a:pt x="1015" y="974"/>
                    </a:lnTo>
                    <a:close/>
                    <a:moveTo>
                      <a:pt x="1041" y="968"/>
                    </a:moveTo>
                    <a:lnTo>
                      <a:pt x="1041" y="969"/>
                    </a:lnTo>
                    <a:lnTo>
                      <a:pt x="1041" y="971"/>
                    </a:lnTo>
                    <a:lnTo>
                      <a:pt x="1041" y="969"/>
                    </a:lnTo>
                    <a:lnTo>
                      <a:pt x="1039" y="969"/>
                    </a:lnTo>
                    <a:lnTo>
                      <a:pt x="1039" y="971"/>
                    </a:lnTo>
                    <a:lnTo>
                      <a:pt x="1037" y="969"/>
                    </a:lnTo>
                    <a:lnTo>
                      <a:pt x="1039" y="969"/>
                    </a:lnTo>
                    <a:lnTo>
                      <a:pt x="1039" y="968"/>
                    </a:lnTo>
                    <a:lnTo>
                      <a:pt x="1039" y="969"/>
                    </a:lnTo>
                    <a:lnTo>
                      <a:pt x="1041" y="969"/>
                    </a:lnTo>
                    <a:lnTo>
                      <a:pt x="1041" y="968"/>
                    </a:lnTo>
                    <a:close/>
                    <a:moveTo>
                      <a:pt x="1090" y="954"/>
                    </a:moveTo>
                    <a:lnTo>
                      <a:pt x="1090" y="956"/>
                    </a:lnTo>
                    <a:lnTo>
                      <a:pt x="1090" y="954"/>
                    </a:lnTo>
                    <a:close/>
                    <a:moveTo>
                      <a:pt x="973" y="1005"/>
                    </a:moveTo>
                    <a:lnTo>
                      <a:pt x="975" y="1005"/>
                    </a:lnTo>
                    <a:lnTo>
                      <a:pt x="975" y="1007"/>
                    </a:lnTo>
                    <a:lnTo>
                      <a:pt x="973" y="1007"/>
                    </a:lnTo>
                    <a:lnTo>
                      <a:pt x="973" y="1005"/>
                    </a:lnTo>
                    <a:close/>
                    <a:moveTo>
                      <a:pt x="978" y="1003"/>
                    </a:moveTo>
                    <a:lnTo>
                      <a:pt x="978" y="1005"/>
                    </a:lnTo>
                    <a:lnTo>
                      <a:pt x="978" y="1003"/>
                    </a:lnTo>
                    <a:close/>
                    <a:moveTo>
                      <a:pt x="968" y="1003"/>
                    </a:moveTo>
                    <a:lnTo>
                      <a:pt x="969" y="1003"/>
                    </a:lnTo>
                    <a:lnTo>
                      <a:pt x="971" y="1005"/>
                    </a:lnTo>
                    <a:lnTo>
                      <a:pt x="971" y="1007"/>
                    </a:lnTo>
                    <a:lnTo>
                      <a:pt x="969" y="1007"/>
                    </a:lnTo>
                    <a:lnTo>
                      <a:pt x="969" y="1008"/>
                    </a:lnTo>
                    <a:lnTo>
                      <a:pt x="971" y="1010"/>
                    </a:lnTo>
                    <a:lnTo>
                      <a:pt x="971" y="1008"/>
                    </a:lnTo>
                    <a:lnTo>
                      <a:pt x="971" y="1010"/>
                    </a:lnTo>
                    <a:lnTo>
                      <a:pt x="971" y="1012"/>
                    </a:lnTo>
                    <a:lnTo>
                      <a:pt x="969" y="1012"/>
                    </a:lnTo>
                    <a:lnTo>
                      <a:pt x="969" y="1010"/>
                    </a:lnTo>
                    <a:lnTo>
                      <a:pt x="968" y="1010"/>
                    </a:lnTo>
                    <a:lnTo>
                      <a:pt x="966" y="1010"/>
                    </a:lnTo>
                    <a:lnTo>
                      <a:pt x="964" y="1012"/>
                    </a:lnTo>
                    <a:lnTo>
                      <a:pt x="964" y="1010"/>
                    </a:lnTo>
                    <a:lnTo>
                      <a:pt x="963" y="1010"/>
                    </a:lnTo>
                    <a:lnTo>
                      <a:pt x="963" y="1008"/>
                    </a:lnTo>
                    <a:lnTo>
                      <a:pt x="964" y="1008"/>
                    </a:lnTo>
                    <a:lnTo>
                      <a:pt x="964" y="1007"/>
                    </a:lnTo>
                    <a:lnTo>
                      <a:pt x="966" y="1007"/>
                    </a:lnTo>
                    <a:lnTo>
                      <a:pt x="966" y="1005"/>
                    </a:lnTo>
                    <a:lnTo>
                      <a:pt x="968" y="1005"/>
                    </a:lnTo>
                    <a:lnTo>
                      <a:pt x="968" y="1003"/>
                    </a:lnTo>
                    <a:close/>
                    <a:moveTo>
                      <a:pt x="973" y="997"/>
                    </a:moveTo>
                    <a:lnTo>
                      <a:pt x="975" y="997"/>
                    </a:lnTo>
                    <a:lnTo>
                      <a:pt x="973" y="997"/>
                    </a:lnTo>
                    <a:close/>
                    <a:moveTo>
                      <a:pt x="976" y="997"/>
                    </a:moveTo>
                    <a:lnTo>
                      <a:pt x="978" y="997"/>
                    </a:lnTo>
                    <a:lnTo>
                      <a:pt x="976" y="997"/>
                    </a:lnTo>
                    <a:close/>
                    <a:moveTo>
                      <a:pt x="983" y="991"/>
                    </a:moveTo>
                    <a:lnTo>
                      <a:pt x="985" y="991"/>
                    </a:lnTo>
                    <a:lnTo>
                      <a:pt x="983" y="991"/>
                    </a:lnTo>
                    <a:close/>
                    <a:moveTo>
                      <a:pt x="861" y="1156"/>
                    </a:moveTo>
                    <a:lnTo>
                      <a:pt x="861" y="1158"/>
                    </a:lnTo>
                    <a:lnTo>
                      <a:pt x="861" y="1156"/>
                    </a:lnTo>
                    <a:close/>
                    <a:moveTo>
                      <a:pt x="864" y="1141"/>
                    </a:moveTo>
                    <a:lnTo>
                      <a:pt x="866" y="1143"/>
                    </a:lnTo>
                    <a:lnTo>
                      <a:pt x="866" y="1141"/>
                    </a:lnTo>
                    <a:lnTo>
                      <a:pt x="866" y="1143"/>
                    </a:lnTo>
                    <a:lnTo>
                      <a:pt x="866" y="1145"/>
                    </a:lnTo>
                    <a:lnTo>
                      <a:pt x="864" y="1145"/>
                    </a:lnTo>
                    <a:lnTo>
                      <a:pt x="864" y="1146"/>
                    </a:lnTo>
                    <a:lnTo>
                      <a:pt x="864" y="1148"/>
                    </a:lnTo>
                    <a:lnTo>
                      <a:pt x="862" y="1148"/>
                    </a:lnTo>
                    <a:lnTo>
                      <a:pt x="862" y="1150"/>
                    </a:lnTo>
                    <a:lnTo>
                      <a:pt x="862" y="1151"/>
                    </a:lnTo>
                    <a:lnTo>
                      <a:pt x="861" y="1151"/>
                    </a:lnTo>
                    <a:lnTo>
                      <a:pt x="861" y="1153"/>
                    </a:lnTo>
                    <a:lnTo>
                      <a:pt x="861" y="1155"/>
                    </a:lnTo>
                    <a:lnTo>
                      <a:pt x="862" y="1155"/>
                    </a:lnTo>
                    <a:lnTo>
                      <a:pt x="861" y="1155"/>
                    </a:lnTo>
                    <a:lnTo>
                      <a:pt x="861" y="1156"/>
                    </a:lnTo>
                    <a:lnTo>
                      <a:pt x="861" y="1155"/>
                    </a:lnTo>
                    <a:lnTo>
                      <a:pt x="859" y="1156"/>
                    </a:lnTo>
                    <a:lnTo>
                      <a:pt x="859" y="1155"/>
                    </a:lnTo>
                    <a:lnTo>
                      <a:pt x="859" y="1153"/>
                    </a:lnTo>
                    <a:lnTo>
                      <a:pt x="859" y="1151"/>
                    </a:lnTo>
                    <a:lnTo>
                      <a:pt x="859" y="1150"/>
                    </a:lnTo>
                    <a:lnTo>
                      <a:pt x="861" y="1150"/>
                    </a:lnTo>
                    <a:lnTo>
                      <a:pt x="859" y="1150"/>
                    </a:lnTo>
                    <a:lnTo>
                      <a:pt x="859" y="1148"/>
                    </a:lnTo>
                    <a:lnTo>
                      <a:pt x="861" y="1148"/>
                    </a:lnTo>
                    <a:lnTo>
                      <a:pt x="861" y="1146"/>
                    </a:lnTo>
                    <a:lnTo>
                      <a:pt x="861" y="1145"/>
                    </a:lnTo>
                    <a:lnTo>
                      <a:pt x="859" y="1145"/>
                    </a:lnTo>
                    <a:lnTo>
                      <a:pt x="859" y="1143"/>
                    </a:lnTo>
                    <a:lnTo>
                      <a:pt x="861" y="1143"/>
                    </a:lnTo>
                    <a:lnTo>
                      <a:pt x="859" y="1143"/>
                    </a:lnTo>
                    <a:lnTo>
                      <a:pt x="861" y="1143"/>
                    </a:lnTo>
                    <a:lnTo>
                      <a:pt x="861" y="1141"/>
                    </a:lnTo>
                    <a:lnTo>
                      <a:pt x="861" y="1143"/>
                    </a:lnTo>
                    <a:lnTo>
                      <a:pt x="862" y="1141"/>
                    </a:lnTo>
                    <a:lnTo>
                      <a:pt x="864" y="1141"/>
                    </a:lnTo>
                    <a:lnTo>
                      <a:pt x="862" y="1141"/>
                    </a:lnTo>
                    <a:lnTo>
                      <a:pt x="864" y="1139"/>
                    </a:lnTo>
                    <a:lnTo>
                      <a:pt x="864" y="1141"/>
                    </a:lnTo>
                    <a:close/>
                  </a:path>
                </a:pathLst>
              </a:custGeom>
              <a:solidFill>
                <a:schemeClr val="accent1"/>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8" name="Freeform 21">
                <a:extLst>
                  <a:ext uri="{FF2B5EF4-FFF2-40B4-BE49-F238E27FC236}">
                    <a16:creationId xmlns:a16="http://schemas.microsoft.com/office/drawing/2014/main" id="{638A737B-AC0B-D22D-457B-2E0830861D2D}"/>
                  </a:ext>
                </a:extLst>
              </p:cNvPr>
              <p:cNvSpPr>
                <a:spLocks noEditPoints="1"/>
              </p:cNvSpPr>
              <p:nvPr/>
            </p:nvSpPr>
            <p:spPr bwMode="auto">
              <a:xfrm>
                <a:off x="5293224" y="3123357"/>
                <a:ext cx="426185" cy="496678"/>
              </a:xfrm>
              <a:custGeom>
                <a:avLst/>
                <a:gdLst>
                  <a:gd name="T0" fmla="*/ 1322 w 1451"/>
                  <a:gd name="T1" fmla="*/ 542 h 1691"/>
                  <a:gd name="T2" fmla="*/ 1283 w 1451"/>
                  <a:gd name="T3" fmla="*/ 838 h 1691"/>
                  <a:gd name="T4" fmla="*/ 1278 w 1451"/>
                  <a:gd name="T5" fmla="*/ 1092 h 1691"/>
                  <a:gd name="T6" fmla="*/ 1217 w 1451"/>
                  <a:gd name="T7" fmla="*/ 1381 h 1691"/>
                  <a:gd name="T8" fmla="*/ 1264 w 1451"/>
                  <a:gd name="T9" fmla="*/ 1556 h 1691"/>
                  <a:gd name="T10" fmla="*/ 1205 w 1451"/>
                  <a:gd name="T11" fmla="*/ 1514 h 1691"/>
                  <a:gd name="T12" fmla="*/ 1234 w 1451"/>
                  <a:gd name="T13" fmla="*/ 1488 h 1691"/>
                  <a:gd name="T14" fmla="*/ 1208 w 1451"/>
                  <a:gd name="T15" fmla="*/ 1446 h 1691"/>
                  <a:gd name="T16" fmla="*/ 1196 w 1451"/>
                  <a:gd name="T17" fmla="*/ 1384 h 1691"/>
                  <a:gd name="T18" fmla="*/ 1200 w 1451"/>
                  <a:gd name="T19" fmla="*/ 1320 h 1691"/>
                  <a:gd name="T20" fmla="*/ 1219 w 1451"/>
                  <a:gd name="T21" fmla="*/ 1260 h 1691"/>
                  <a:gd name="T22" fmla="*/ 1196 w 1451"/>
                  <a:gd name="T23" fmla="*/ 1208 h 1691"/>
                  <a:gd name="T24" fmla="*/ 1169 w 1451"/>
                  <a:gd name="T25" fmla="*/ 1153 h 1691"/>
                  <a:gd name="T26" fmla="*/ 1222 w 1451"/>
                  <a:gd name="T27" fmla="*/ 1134 h 1691"/>
                  <a:gd name="T28" fmla="*/ 1236 w 1451"/>
                  <a:gd name="T29" fmla="*/ 988 h 1691"/>
                  <a:gd name="T30" fmla="*/ 1219 w 1451"/>
                  <a:gd name="T31" fmla="*/ 871 h 1691"/>
                  <a:gd name="T32" fmla="*/ 1285 w 1451"/>
                  <a:gd name="T33" fmla="*/ 556 h 1691"/>
                  <a:gd name="T34" fmla="*/ 1312 w 1451"/>
                  <a:gd name="T35" fmla="*/ 212 h 1691"/>
                  <a:gd name="T36" fmla="*/ 1389 w 1451"/>
                  <a:gd name="T37" fmla="*/ 127 h 1691"/>
                  <a:gd name="T38" fmla="*/ 1287 w 1451"/>
                  <a:gd name="T39" fmla="*/ 1609 h 1691"/>
                  <a:gd name="T40" fmla="*/ 1321 w 1451"/>
                  <a:gd name="T41" fmla="*/ 1595 h 1691"/>
                  <a:gd name="T42" fmla="*/ 1338 w 1451"/>
                  <a:gd name="T43" fmla="*/ 1505 h 1691"/>
                  <a:gd name="T44" fmla="*/ 1174 w 1451"/>
                  <a:gd name="T45" fmla="*/ 1286 h 1691"/>
                  <a:gd name="T46" fmla="*/ 1164 w 1451"/>
                  <a:gd name="T47" fmla="*/ 1344 h 1691"/>
                  <a:gd name="T48" fmla="*/ 1173 w 1451"/>
                  <a:gd name="T49" fmla="*/ 1284 h 1691"/>
                  <a:gd name="T50" fmla="*/ 1251 w 1451"/>
                  <a:gd name="T51" fmla="*/ 1505 h 1691"/>
                  <a:gd name="T52" fmla="*/ 1355 w 1451"/>
                  <a:gd name="T53" fmla="*/ 1662 h 1691"/>
                  <a:gd name="T54" fmla="*/ 1247 w 1451"/>
                  <a:gd name="T55" fmla="*/ 1568 h 1691"/>
                  <a:gd name="T56" fmla="*/ 1402 w 1451"/>
                  <a:gd name="T57" fmla="*/ 1628 h 1691"/>
                  <a:gd name="T58" fmla="*/ 1300 w 1451"/>
                  <a:gd name="T59" fmla="*/ 1566 h 1691"/>
                  <a:gd name="T60" fmla="*/ 1174 w 1451"/>
                  <a:gd name="T61" fmla="*/ 1502 h 1691"/>
                  <a:gd name="T62" fmla="*/ 1156 w 1451"/>
                  <a:gd name="T63" fmla="*/ 1379 h 1691"/>
                  <a:gd name="T64" fmla="*/ 1156 w 1451"/>
                  <a:gd name="T65" fmla="*/ 1284 h 1691"/>
                  <a:gd name="T66" fmla="*/ 1179 w 1451"/>
                  <a:gd name="T67" fmla="*/ 1282 h 1691"/>
                  <a:gd name="T68" fmla="*/ 1312 w 1451"/>
                  <a:gd name="T69" fmla="*/ 1643 h 1691"/>
                  <a:gd name="T70" fmla="*/ 1169 w 1451"/>
                  <a:gd name="T71" fmla="*/ 1265 h 1691"/>
                  <a:gd name="T72" fmla="*/ 1152 w 1451"/>
                  <a:gd name="T73" fmla="*/ 1277 h 1691"/>
                  <a:gd name="T74" fmla="*/ 1168 w 1451"/>
                  <a:gd name="T75" fmla="*/ 1422 h 1691"/>
                  <a:gd name="T76" fmla="*/ 1196 w 1451"/>
                  <a:gd name="T77" fmla="*/ 1481 h 1691"/>
                  <a:gd name="T78" fmla="*/ 1208 w 1451"/>
                  <a:gd name="T79" fmla="*/ 1126 h 1691"/>
                  <a:gd name="T80" fmla="*/ 1193 w 1451"/>
                  <a:gd name="T81" fmla="*/ 1099 h 1691"/>
                  <a:gd name="T82" fmla="*/ 1292 w 1451"/>
                  <a:gd name="T83" fmla="*/ 1626 h 1691"/>
                  <a:gd name="T84" fmla="*/ 1207 w 1451"/>
                  <a:gd name="T85" fmla="*/ 1155 h 1691"/>
                  <a:gd name="T86" fmla="*/ 1190 w 1451"/>
                  <a:gd name="T87" fmla="*/ 1114 h 1691"/>
                  <a:gd name="T88" fmla="*/ 1173 w 1451"/>
                  <a:gd name="T89" fmla="*/ 1138 h 1691"/>
                  <a:gd name="T90" fmla="*/ 1326 w 1451"/>
                  <a:gd name="T91" fmla="*/ 1629 h 1691"/>
                  <a:gd name="T92" fmla="*/ 1164 w 1451"/>
                  <a:gd name="T93" fmla="*/ 1391 h 1691"/>
                  <a:gd name="T94" fmla="*/ 1173 w 1451"/>
                  <a:gd name="T95" fmla="*/ 1417 h 1691"/>
                  <a:gd name="T96" fmla="*/ 1229 w 1451"/>
                  <a:gd name="T97" fmla="*/ 952 h 1691"/>
                  <a:gd name="T98" fmla="*/ 1183 w 1451"/>
                  <a:gd name="T99" fmla="*/ 1075 h 1691"/>
                  <a:gd name="T100" fmla="*/ 1229 w 1451"/>
                  <a:gd name="T101" fmla="*/ 976 h 1691"/>
                  <a:gd name="T102" fmla="*/ 1378 w 1451"/>
                  <a:gd name="T103" fmla="*/ 1660 h 1691"/>
                  <a:gd name="T104" fmla="*/ 1208 w 1451"/>
                  <a:gd name="T105" fmla="*/ 1065 h 1691"/>
                  <a:gd name="T106" fmla="*/ 1229 w 1451"/>
                  <a:gd name="T107" fmla="*/ 1585 h 1691"/>
                  <a:gd name="T108" fmla="*/ 1336 w 1451"/>
                  <a:gd name="T109" fmla="*/ 1653 h 1691"/>
                  <a:gd name="T110" fmla="*/ 1185 w 1451"/>
                  <a:gd name="T111" fmla="*/ 1463 h 1691"/>
                  <a:gd name="T112" fmla="*/ 1171 w 1451"/>
                  <a:gd name="T113" fmla="*/ 1481 h 1691"/>
                  <a:gd name="T114" fmla="*/ 1215 w 1451"/>
                  <a:gd name="T115" fmla="*/ 1521 h 1691"/>
                  <a:gd name="T116" fmla="*/ 1159 w 1451"/>
                  <a:gd name="T117" fmla="*/ 1356 h 1691"/>
                  <a:gd name="T118" fmla="*/ 1251 w 1451"/>
                  <a:gd name="T119" fmla="*/ 1597 h 1691"/>
                  <a:gd name="T120" fmla="*/ 1232 w 1451"/>
                  <a:gd name="T121" fmla="*/ 1546 h 1691"/>
                  <a:gd name="T122" fmla="*/ 1281 w 1451"/>
                  <a:gd name="T123" fmla="*/ 1614 h 1691"/>
                  <a:gd name="T124" fmla="*/ 1168 w 1451"/>
                  <a:gd name="T125" fmla="*/ 1405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51" h="1691">
                    <a:moveTo>
                      <a:pt x="1426" y="190"/>
                    </a:moveTo>
                    <a:lnTo>
                      <a:pt x="1429" y="194"/>
                    </a:lnTo>
                    <a:lnTo>
                      <a:pt x="1433" y="197"/>
                    </a:lnTo>
                    <a:lnTo>
                      <a:pt x="1429" y="206"/>
                    </a:lnTo>
                    <a:lnTo>
                      <a:pt x="1429" y="207"/>
                    </a:lnTo>
                    <a:lnTo>
                      <a:pt x="1428" y="214"/>
                    </a:lnTo>
                    <a:lnTo>
                      <a:pt x="1424" y="224"/>
                    </a:lnTo>
                    <a:lnTo>
                      <a:pt x="1424" y="226"/>
                    </a:lnTo>
                    <a:lnTo>
                      <a:pt x="1421" y="236"/>
                    </a:lnTo>
                    <a:lnTo>
                      <a:pt x="1416" y="238"/>
                    </a:lnTo>
                    <a:lnTo>
                      <a:pt x="1409" y="241"/>
                    </a:lnTo>
                    <a:lnTo>
                      <a:pt x="1400" y="245"/>
                    </a:lnTo>
                    <a:lnTo>
                      <a:pt x="1399" y="245"/>
                    </a:lnTo>
                    <a:lnTo>
                      <a:pt x="1397" y="246"/>
                    </a:lnTo>
                    <a:lnTo>
                      <a:pt x="1390" y="248"/>
                    </a:lnTo>
                    <a:lnTo>
                      <a:pt x="1390" y="250"/>
                    </a:lnTo>
                    <a:lnTo>
                      <a:pt x="1389" y="250"/>
                    </a:lnTo>
                    <a:lnTo>
                      <a:pt x="1389" y="252"/>
                    </a:lnTo>
                    <a:lnTo>
                      <a:pt x="1387" y="253"/>
                    </a:lnTo>
                    <a:lnTo>
                      <a:pt x="1387" y="252"/>
                    </a:lnTo>
                    <a:lnTo>
                      <a:pt x="1385" y="252"/>
                    </a:lnTo>
                    <a:lnTo>
                      <a:pt x="1385" y="253"/>
                    </a:lnTo>
                    <a:lnTo>
                      <a:pt x="1385" y="255"/>
                    </a:lnTo>
                    <a:lnTo>
                      <a:pt x="1383" y="255"/>
                    </a:lnTo>
                    <a:lnTo>
                      <a:pt x="1383" y="257"/>
                    </a:lnTo>
                    <a:lnTo>
                      <a:pt x="1382" y="257"/>
                    </a:lnTo>
                    <a:lnTo>
                      <a:pt x="1382" y="258"/>
                    </a:lnTo>
                    <a:lnTo>
                      <a:pt x="1382" y="260"/>
                    </a:lnTo>
                    <a:lnTo>
                      <a:pt x="1380" y="260"/>
                    </a:lnTo>
                    <a:lnTo>
                      <a:pt x="1380" y="262"/>
                    </a:lnTo>
                    <a:lnTo>
                      <a:pt x="1380" y="263"/>
                    </a:lnTo>
                    <a:lnTo>
                      <a:pt x="1380" y="265"/>
                    </a:lnTo>
                    <a:lnTo>
                      <a:pt x="1382" y="267"/>
                    </a:lnTo>
                    <a:lnTo>
                      <a:pt x="1383" y="267"/>
                    </a:lnTo>
                    <a:lnTo>
                      <a:pt x="1383" y="269"/>
                    </a:lnTo>
                    <a:lnTo>
                      <a:pt x="1383" y="270"/>
                    </a:lnTo>
                    <a:lnTo>
                      <a:pt x="1385" y="270"/>
                    </a:lnTo>
                    <a:lnTo>
                      <a:pt x="1385" y="272"/>
                    </a:lnTo>
                    <a:lnTo>
                      <a:pt x="1387" y="272"/>
                    </a:lnTo>
                    <a:lnTo>
                      <a:pt x="1387" y="274"/>
                    </a:lnTo>
                    <a:lnTo>
                      <a:pt x="1387" y="275"/>
                    </a:lnTo>
                    <a:lnTo>
                      <a:pt x="1385" y="275"/>
                    </a:lnTo>
                    <a:lnTo>
                      <a:pt x="1385" y="277"/>
                    </a:lnTo>
                    <a:lnTo>
                      <a:pt x="1385" y="275"/>
                    </a:lnTo>
                    <a:lnTo>
                      <a:pt x="1383" y="275"/>
                    </a:lnTo>
                    <a:lnTo>
                      <a:pt x="1382" y="277"/>
                    </a:lnTo>
                    <a:lnTo>
                      <a:pt x="1382" y="279"/>
                    </a:lnTo>
                    <a:lnTo>
                      <a:pt x="1382" y="280"/>
                    </a:lnTo>
                    <a:lnTo>
                      <a:pt x="1380" y="280"/>
                    </a:lnTo>
                    <a:lnTo>
                      <a:pt x="1380" y="282"/>
                    </a:lnTo>
                    <a:lnTo>
                      <a:pt x="1380" y="284"/>
                    </a:lnTo>
                    <a:lnTo>
                      <a:pt x="1382" y="284"/>
                    </a:lnTo>
                    <a:lnTo>
                      <a:pt x="1382" y="286"/>
                    </a:lnTo>
                    <a:lnTo>
                      <a:pt x="1380" y="286"/>
                    </a:lnTo>
                    <a:lnTo>
                      <a:pt x="1380" y="287"/>
                    </a:lnTo>
                    <a:lnTo>
                      <a:pt x="1378" y="287"/>
                    </a:lnTo>
                    <a:lnTo>
                      <a:pt x="1380" y="289"/>
                    </a:lnTo>
                    <a:lnTo>
                      <a:pt x="1380" y="291"/>
                    </a:lnTo>
                    <a:lnTo>
                      <a:pt x="1380" y="292"/>
                    </a:lnTo>
                    <a:lnTo>
                      <a:pt x="1382" y="292"/>
                    </a:lnTo>
                    <a:lnTo>
                      <a:pt x="1380" y="294"/>
                    </a:lnTo>
                    <a:lnTo>
                      <a:pt x="1380" y="296"/>
                    </a:lnTo>
                    <a:lnTo>
                      <a:pt x="1382" y="296"/>
                    </a:lnTo>
                    <a:lnTo>
                      <a:pt x="1382" y="297"/>
                    </a:lnTo>
                    <a:lnTo>
                      <a:pt x="1383" y="299"/>
                    </a:lnTo>
                    <a:lnTo>
                      <a:pt x="1383" y="304"/>
                    </a:lnTo>
                    <a:lnTo>
                      <a:pt x="1385" y="308"/>
                    </a:lnTo>
                    <a:lnTo>
                      <a:pt x="1385" y="309"/>
                    </a:lnTo>
                    <a:lnTo>
                      <a:pt x="1385" y="313"/>
                    </a:lnTo>
                    <a:lnTo>
                      <a:pt x="1385" y="316"/>
                    </a:lnTo>
                    <a:lnTo>
                      <a:pt x="1383" y="316"/>
                    </a:lnTo>
                    <a:lnTo>
                      <a:pt x="1382" y="318"/>
                    </a:lnTo>
                    <a:lnTo>
                      <a:pt x="1380" y="320"/>
                    </a:lnTo>
                    <a:lnTo>
                      <a:pt x="1380" y="323"/>
                    </a:lnTo>
                    <a:lnTo>
                      <a:pt x="1378" y="325"/>
                    </a:lnTo>
                    <a:lnTo>
                      <a:pt x="1378" y="326"/>
                    </a:lnTo>
                    <a:lnTo>
                      <a:pt x="1380" y="328"/>
                    </a:lnTo>
                    <a:lnTo>
                      <a:pt x="1380" y="330"/>
                    </a:lnTo>
                    <a:lnTo>
                      <a:pt x="1382" y="331"/>
                    </a:lnTo>
                    <a:lnTo>
                      <a:pt x="1382" y="333"/>
                    </a:lnTo>
                    <a:lnTo>
                      <a:pt x="1383" y="333"/>
                    </a:lnTo>
                    <a:lnTo>
                      <a:pt x="1383" y="335"/>
                    </a:lnTo>
                    <a:lnTo>
                      <a:pt x="1385" y="338"/>
                    </a:lnTo>
                    <a:lnTo>
                      <a:pt x="1387" y="338"/>
                    </a:lnTo>
                    <a:lnTo>
                      <a:pt x="1387" y="340"/>
                    </a:lnTo>
                    <a:lnTo>
                      <a:pt x="1389" y="342"/>
                    </a:lnTo>
                    <a:lnTo>
                      <a:pt x="1389" y="343"/>
                    </a:lnTo>
                    <a:lnTo>
                      <a:pt x="1390" y="343"/>
                    </a:lnTo>
                    <a:lnTo>
                      <a:pt x="1389" y="343"/>
                    </a:lnTo>
                    <a:lnTo>
                      <a:pt x="1389" y="345"/>
                    </a:lnTo>
                    <a:lnTo>
                      <a:pt x="1389" y="347"/>
                    </a:lnTo>
                    <a:lnTo>
                      <a:pt x="1389" y="349"/>
                    </a:lnTo>
                    <a:lnTo>
                      <a:pt x="1387" y="349"/>
                    </a:lnTo>
                    <a:lnTo>
                      <a:pt x="1385" y="349"/>
                    </a:lnTo>
                    <a:lnTo>
                      <a:pt x="1383" y="349"/>
                    </a:lnTo>
                    <a:lnTo>
                      <a:pt x="1383" y="350"/>
                    </a:lnTo>
                    <a:lnTo>
                      <a:pt x="1382" y="349"/>
                    </a:lnTo>
                    <a:lnTo>
                      <a:pt x="1383" y="350"/>
                    </a:lnTo>
                    <a:lnTo>
                      <a:pt x="1382" y="352"/>
                    </a:lnTo>
                    <a:lnTo>
                      <a:pt x="1380" y="350"/>
                    </a:lnTo>
                    <a:lnTo>
                      <a:pt x="1380" y="352"/>
                    </a:lnTo>
                    <a:lnTo>
                      <a:pt x="1380" y="354"/>
                    </a:lnTo>
                    <a:lnTo>
                      <a:pt x="1378" y="352"/>
                    </a:lnTo>
                    <a:lnTo>
                      <a:pt x="1378" y="354"/>
                    </a:lnTo>
                    <a:lnTo>
                      <a:pt x="1377" y="352"/>
                    </a:lnTo>
                    <a:lnTo>
                      <a:pt x="1377" y="350"/>
                    </a:lnTo>
                    <a:lnTo>
                      <a:pt x="1375" y="350"/>
                    </a:lnTo>
                    <a:lnTo>
                      <a:pt x="1373" y="350"/>
                    </a:lnTo>
                    <a:lnTo>
                      <a:pt x="1372" y="350"/>
                    </a:lnTo>
                    <a:lnTo>
                      <a:pt x="1372" y="352"/>
                    </a:lnTo>
                    <a:lnTo>
                      <a:pt x="1370" y="352"/>
                    </a:lnTo>
                    <a:lnTo>
                      <a:pt x="1370" y="354"/>
                    </a:lnTo>
                    <a:lnTo>
                      <a:pt x="1370" y="355"/>
                    </a:lnTo>
                    <a:lnTo>
                      <a:pt x="1370" y="357"/>
                    </a:lnTo>
                    <a:lnTo>
                      <a:pt x="1372" y="357"/>
                    </a:lnTo>
                    <a:lnTo>
                      <a:pt x="1370" y="357"/>
                    </a:lnTo>
                    <a:lnTo>
                      <a:pt x="1370" y="359"/>
                    </a:lnTo>
                    <a:lnTo>
                      <a:pt x="1368" y="359"/>
                    </a:lnTo>
                    <a:lnTo>
                      <a:pt x="1368" y="360"/>
                    </a:lnTo>
                    <a:lnTo>
                      <a:pt x="1368" y="362"/>
                    </a:lnTo>
                    <a:lnTo>
                      <a:pt x="1366" y="362"/>
                    </a:lnTo>
                    <a:lnTo>
                      <a:pt x="1368" y="362"/>
                    </a:lnTo>
                    <a:lnTo>
                      <a:pt x="1366" y="364"/>
                    </a:lnTo>
                    <a:lnTo>
                      <a:pt x="1366" y="362"/>
                    </a:lnTo>
                    <a:lnTo>
                      <a:pt x="1366" y="364"/>
                    </a:lnTo>
                    <a:lnTo>
                      <a:pt x="1365" y="364"/>
                    </a:lnTo>
                    <a:lnTo>
                      <a:pt x="1366" y="364"/>
                    </a:lnTo>
                    <a:lnTo>
                      <a:pt x="1366" y="366"/>
                    </a:lnTo>
                    <a:lnTo>
                      <a:pt x="1366" y="367"/>
                    </a:lnTo>
                    <a:lnTo>
                      <a:pt x="1365" y="367"/>
                    </a:lnTo>
                    <a:lnTo>
                      <a:pt x="1366" y="367"/>
                    </a:lnTo>
                    <a:lnTo>
                      <a:pt x="1365" y="369"/>
                    </a:lnTo>
                    <a:lnTo>
                      <a:pt x="1363" y="369"/>
                    </a:lnTo>
                    <a:lnTo>
                      <a:pt x="1363" y="371"/>
                    </a:lnTo>
                    <a:lnTo>
                      <a:pt x="1363" y="372"/>
                    </a:lnTo>
                    <a:lnTo>
                      <a:pt x="1363" y="374"/>
                    </a:lnTo>
                    <a:lnTo>
                      <a:pt x="1361" y="374"/>
                    </a:lnTo>
                    <a:lnTo>
                      <a:pt x="1361" y="376"/>
                    </a:lnTo>
                    <a:lnTo>
                      <a:pt x="1361" y="377"/>
                    </a:lnTo>
                    <a:lnTo>
                      <a:pt x="1361" y="379"/>
                    </a:lnTo>
                    <a:lnTo>
                      <a:pt x="1361" y="381"/>
                    </a:lnTo>
                    <a:lnTo>
                      <a:pt x="1360" y="381"/>
                    </a:lnTo>
                    <a:lnTo>
                      <a:pt x="1360" y="383"/>
                    </a:lnTo>
                    <a:lnTo>
                      <a:pt x="1360" y="384"/>
                    </a:lnTo>
                    <a:lnTo>
                      <a:pt x="1358" y="383"/>
                    </a:lnTo>
                    <a:lnTo>
                      <a:pt x="1356" y="384"/>
                    </a:lnTo>
                    <a:lnTo>
                      <a:pt x="1356" y="386"/>
                    </a:lnTo>
                    <a:lnTo>
                      <a:pt x="1355" y="388"/>
                    </a:lnTo>
                    <a:lnTo>
                      <a:pt x="1355" y="389"/>
                    </a:lnTo>
                    <a:lnTo>
                      <a:pt x="1353" y="391"/>
                    </a:lnTo>
                    <a:lnTo>
                      <a:pt x="1353" y="393"/>
                    </a:lnTo>
                    <a:lnTo>
                      <a:pt x="1351" y="393"/>
                    </a:lnTo>
                    <a:lnTo>
                      <a:pt x="1349" y="391"/>
                    </a:lnTo>
                    <a:lnTo>
                      <a:pt x="1349" y="393"/>
                    </a:lnTo>
                    <a:lnTo>
                      <a:pt x="1349" y="394"/>
                    </a:lnTo>
                    <a:lnTo>
                      <a:pt x="1348" y="394"/>
                    </a:lnTo>
                    <a:lnTo>
                      <a:pt x="1348" y="396"/>
                    </a:lnTo>
                    <a:lnTo>
                      <a:pt x="1348" y="398"/>
                    </a:lnTo>
                    <a:lnTo>
                      <a:pt x="1346" y="398"/>
                    </a:lnTo>
                    <a:lnTo>
                      <a:pt x="1344" y="398"/>
                    </a:lnTo>
                    <a:lnTo>
                      <a:pt x="1346" y="400"/>
                    </a:lnTo>
                    <a:lnTo>
                      <a:pt x="1344" y="400"/>
                    </a:lnTo>
                    <a:lnTo>
                      <a:pt x="1343" y="400"/>
                    </a:lnTo>
                    <a:lnTo>
                      <a:pt x="1343" y="401"/>
                    </a:lnTo>
                    <a:lnTo>
                      <a:pt x="1344" y="401"/>
                    </a:lnTo>
                    <a:lnTo>
                      <a:pt x="1343" y="401"/>
                    </a:lnTo>
                    <a:lnTo>
                      <a:pt x="1343" y="403"/>
                    </a:lnTo>
                    <a:lnTo>
                      <a:pt x="1343" y="405"/>
                    </a:lnTo>
                    <a:lnTo>
                      <a:pt x="1343" y="406"/>
                    </a:lnTo>
                    <a:lnTo>
                      <a:pt x="1341" y="406"/>
                    </a:lnTo>
                    <a:lnTo>
                      <a:pt x="1343" y="408"/>
                    </a:lnTo>
                    <a:lnTo>
                      <a:pt x="1341" y="408"/>
                    </a:lnTo>
                    <a:lnTo>
                      <a:pt x="1341" y="410"/>
                    </a:lnTo>
                    <a:lnTo>
                      <a:pt x="1341" y="411"/>
                    </a:lnTo>
                    <a:lnTo>
                      <a:pt x="1341" y="413"/>
                    </a:lnTo>
                    <a:lnTo>
                      <a:pt x="1341" y="415"/>
                    </a:lnTo>
                    <a:lnTo>
                      <a:pt x="1341" y="417"/>
                    </a:lnTo>
                    <a:lnTo>
                      <a:pt x="1339" y="417"/>
                    </a:lnTo>
                    <a:lnTo>
                      <a:pt x="1339" y="418"/>
                    </a:lnTo>
                    <a:lnTo>
                      <a:pt x="1339" y="420"/>
                    </a:lnTo>
                    <a:lnTo>
                      <a:pt x="1339" y="422"/>
                    </a:lnTo>
                    <a:lnTo>
                      <a:pt x="1339" y="423"/>
                    </a:lnTo>
                    <a:lnTo>
                      <a:pt x="1338" y="423"/>
                    </a:lnTo>
                    <a:lnTo>
                      <a:pt x="1339" y="425"/>
                    </a:lnTo>
                    <a:lnTo>
                      <a:pt x="1338" y="425"/>
                    </a:lnTo>
                    <a:lnTo>
                      <a:pt x="1338" y="427"/>
                    </a:lnTo>
                    <a:lnTo>
                      <a:pt x="1339" y="427"/>
                    </a:lnTo>
                    <a:lnTo>
                      <a:pt x="1338" y="427"/>
                    </a:lnTo>
                    <a:lnTo>
                      <a:pt x="1338" y="428"/>
                    </a:lnTo>
                    <a:lnTo>
                      <a:pt x="1336" y="428"/>
                    </a:lnTo>
                    <a:lnTo>
                      <a:pt x="1334" y="428"/>
                    </a:lnTo>
                    <a:lnTo>
                      <a:pt x="1334" y="430"/>
                    </a:lnTo>
                    <a:lnTo>
                      <a:pt x="1332" y="430"/>
                    </a:lnTo>
                    <a:lnTo>
                      <a:pt x="1332" y="432"/>
                    </a:lnTo>
                    <a:lnTo>
                      <a:pt x="1332" y="434"/>
                    </a:lnTo>
                    <a:lnTo>
                      <a:pt x="1331" y="434"/>
                    </a:lnTo>
                    <a:lnTo>
                      <a:pt x="1331" y="435"/>
                    </a:lnTo>
                    <a:lnTo>
                      <a:pt x="1331" y="437"/>
                    </a:lnTo>
                    <a:lnTo>
                      <a:pt x="1331" y="439"/>
                    </a:lnTo>
                    <a:lnTo>
                      <a:pt x="1332" y="439"/>
                    </a:lnTo>
                    <a:lnTo>
                      <a:pt x="1332" y="440"/>
                    </a:lnTo>
                    <a:lnTo>
                      <a:pt x="1332" y="442"/>
                    </a:lnTo>
                    <a:lnTo>
                      <a:pt x="1332" y="444"/>
                    </a:lnTo>
                    <a:lnTo>
                      <a:pt x="1334" y="444"/>
                    </a:lnTo>
                    <a:lnTo>
                      <a:pt x="1332" y="445"/>
                    </a:lnTo>
                    <a:lnTo>
                      <a:pt x="1334" y="445"/>
                    </a:lnTo>
                    <a:lnTo>
                      <a:pt x="1332" y="447"/>
                    </a:lnTo>
                    <a:lnTo>
                      <a:pt x="1334" y="447"/>
                    </a:lnTo>
                    <a:lnTo>
                      <a:pt x="1332" y="447"/>
                    </a:lnTo>
                    <a:lnTo>
                      <a:pt x="1332" y="449"/>
                    </a:lnTo>
                    <a:lnTo>
                      <a:pt x="1334" y="449"/>
                    </a:lnTo>
                    <a:lnTo>
                      <a:pt x="1334" y="451"/>
                    </a:lnTo>
                    <a:lnTo>
                      <a:pt x="1336" y="451"/>
                    </a:lnTo>
                    <a:lnTo>
                      <a:pt x="1336" y="452"/>
                    </a:lnTo>
                    <a:lnTo>
                      <a:pt x="1334" y="452"/>
                    </a:lnTo>
                    <a:lnTo>
                      <a:pt x="1334" y="454"/>
                    </a:lnTo>
                    <a:lnTo>
                      <a:pt x="1334" y="456"/>
                    </a:lnTo>
                    <a:lnTo>
                      <a:pt x="1336" y="456"/>
                    </a:lnTo>
                    <a:lnTo>
                      <a:pt x="1334" y="457"/>
                    </a:lnTo>
                    <a:lnTo>
                      <a:pt x="1336" y="457"/>
                    </a:lnTo>
                    <a:lnTo>
                      <a:pt x="1334" y="459"/>
                    </a:lnTo>
                    <a:lnTo>
                      <a:pt x="1334" y="461"/>
                    </a:lnTo>
                    <a:lnTo>
                      <a:pt x="1334" y="462"/>
                    </a:lnTo>
                    <a:lnTo>
                      <a:pt x="1334" y="464"/>
                    </a:lnTo>
                    <a:lnTo>
                      <a:pt x="1332" y="464"/>
                    </a:lnTo>
                    <a:lnTo>
                      <a:pt x="1332" y="466"/>
                    </a:lnTo>
                    <a:lnTo>
                      <a:pt x="1334" y="466"/>
                    </a:lnTo>
                    <a:lnTo>
                      <a:pt x="1336" y="466"/>
                    </a:lnTo>
                    <a:lnTo>
                      <a:pt x="1336" y="468"/>
                    </a:lnTo>
                    <a:lnTo>
                      <a:pt x="1338" y="468"/>
                    </a:lnTo>
                    <a:lnTo>
                      <a:pt x="1338" y="469"/>
                    </a:lnTo>
                    <a:lnTo>
                      <a:pt x="1338" y="471"/>
                    </a:lnTo>
                    <a:lnTo>
                      <a:pt x="1336" y="471"/>
                    </a:lnTo>
                    <a:lnTo>
                      <a:pt x="1336" y="469"/>
                    </a:lnTo>
                    <a:lnTo>
                      <a:pt x="1336" y="471"/>
                    </a:lnTo>
                    <a:lnTo>
                      <a:pt x="1336" y="473"/>
                    </a:lnTo>
                    <a:lnTo>
                      <a:pt x="1334" y="473"/>
                    </a:lnTo>
                    <a:lnTo>
                      <a:pt x="1334" y="474"/>
                    </a:lnTo>
                    <a:lnTo>
                      <a:pt x="1334" y="476"/>
                    </a:lnTo>
                    <a:lnTo>
                      <a:pt x="1332" y="476"/>
                    </a:lnTo>
                    <a:lnTo>
                      <a:pt x="1331" y="476"/>
                    </a:lnTo>
                    <a:lnTo>
                      <a:pt x="1331" y="478"/>
                    </a:lnTo>
                    <a:lnTo>
                      <a:pt x="1329" y="478"/>
                    </a:lnTo>
                    <a:lnTo>
                      <a:pt x="1329" y="476"/>
                    </a:lnTo>
                    <a:lnTo>
                      <a:pt x="1327" y="476"/>
                    </a:lnTo>
                    <a:lnTo>
                      <a:pt x="1327" y="474"/>
                    </a:lnTo>
                    <a:lnTo>
                      <a:pt x="1326" y="476"/>
                    </a:lnTo>
                    <a:lnTo>
                      <a:pt x="1327" y="478"/>
                    </a:lnTo>
                    <a:lnTo>
                      <a:pt x="1327" y="479"/>
                    </a:lnTo>
                    <a:lnTo>
                      <a:pt x="1326" y="479"/>
                    </a:lnTo>
                    <a:lnTo>
                      <a:pt x="1326" y="481"/>
                    </a:lnTo>
                    <a:lnTo>
                      <a:pt x="1324" y="481"/>
                    </a:lnTo>
                    <a:lnTo>
                      <a:pt x="1326" y="481"/>
                    </a:lnTo>
                    <a:lnTo>
                      <a:pt x="1324" y="483"/>
                    </a:lnTo>
                    <a:lnTo>
                      <a:pt x="1324" y="485"/>
                    </a:lnTo>
                    <a:lnTo>
                      <a:pt x="1324" y="486"/>
                    </a:lnTo>
                    <a:lnTo>
                      <a:pt x="1322" y="486"/>
                    </a:lnTo>
                    <a:lnTo>
                      <a:pt x="1322" y="488"/>
                    </a:lnTo>
                    <a:lnTo>
                      <a:pt x="1324" y="488"/>
                    </a:lnTo>
                    <a:lnTo>
                      <a:pt x="1322" y="488"/>
                    </a:lnTo>
                    <a:lnTo>
                      <a:pt x="1322" y="490"/>
                    </a:lnTo>
                    <a:lnTo>
                      <a:pt x="1322" y="491"/>
                    </a:lnTo>
                    <a:lnTo>
                      <a:pt x="1322" y="493"/>
                    </a:lnTo>
                    <a:lnTo>
                      <a:pt x="1322" y="495"/>
                    </a:lnTo>
                    <a:lnTo>
                      <a:pt x="1321" y="495"/>
                    </a:lnTo>
                    <a:lnTo>
                      <a:pt x="1321" y="497"/>
                    </a:lnTo>
                    <a:lnTo>
                      <a:pt x="1321" y="498"/>
                    </a:lnTo>
                    <a:lnTo>
                      <a:pt x="1321" y="500"/>
                    </a:lnTo>
                    <a:lnTo>
                      <a:pt x="1321" y="502"/>
                    </a:lnTo>
                    <a:lnTo>
                      <a:pt x="1322" y="502"/>
                    </a:lnTo>
                    <a:lnTo>
                      <a:pt x="1322" y="503"/>
                    </a:lnTo>
                    <a:lnTo>
                      <a:pt x="1321" y="503"/>
                    </a:lnTo>
                    <a:lnTo>
                      <a:pt x="1319" y="503"/>
                    </a:lnTo>
                    <a:lnTo>
                      <a:pt x="1319" y="505"/>
                    </a:lnTo>
                    <a:lnTo>
                      <a:pt x="1319" y="507"/>
                    </a:lnTo>
                    <a:lnTo>
                      <a:pt x="1317" y="508"/>
                    </a:lnTo>
                    <a:lnTo>
                      <a:pt x="1317" y="507"/>
                    </a:lnTo>
                    <a:lnTo>
                      <a:pt x="1317" y="505"/>
                    </a:lnTo>
                    <a:lnTo>
                      <a:pt x="1315" y="505"/>
                    </a:lnTo>
                    <a:lnTo>
                      <a:pt x="1315" y="503"/>
                    </a:lnTo>
                    <a:lnTo>
                      <a:pt x="1315" y="505"/>
                    </a:lnTo>
                    <a:lnTo>
                      <a:pt x="1314" y="505"/>
                    </a:lnTo>
                    <a:lnTo>
                      <a:pt x="1314" y="507"/>
                    </a:lnTo>
                    <a:lnTo>
                      <a:pt x="1314" y="508"/>
                    </a:lnTo>
                    <a:lnTo>
                      <a:pt x="1314" y="510"/>
                    </a:lnTo>
                    <a:lnTo>
                      <a:pt x="1314" y="512"/>
                    </a:lnTo>
                    <a:lnTo>
                      <a:pt x="1312" y="514"/>
                    </a:lnTo>
                    <a:lnTo>
                      <a:pt x="1314" y="514"/>
                    </a:lnTo>
                    <a:lnTo>
                      <a:pt x="1314" y="515"/>
                    </a:lnTo>
                    <a:lnTo>
                      <a:pt x="1314" y="517"/>
                    </a:lnTo>
                    <a:lnTo>
                      <a:pt x="1312" y="517"/>
                    </a:lnTo>
                    <a:lnTo>
                      <a:pt x="1312" y="519"/>
                    </a:lnTo>
                    <a:lnTo>
                      <a:pt x="1312" y="520"/>
                    </a:lnTo>
                    <a:lnTo>
                      <a:pt x="1312" y="522"/>
                    </a:lnTo>
                    <a:lnTo>
                      <a:pt x="1312" y="524"/>
                    </a:lnTo>
                    <a:lnTo>
                      <a:pt x="1312" y="525"/>
                    </a:lnTo>
                    <a:lnTo>
                      <a:pt x="1314" y="525"/>
                    </a:lnTo>
                    <a:lnTo>
                      <a:pt x="1314" y="527"/>
                    </a:lnTo>
                    <a:lnTo>
                      <a:pt x="1315" y="527"/>
                    </a:lnTo>
                    <a:lnTo>
                      <a:pt x="1315" y="529"/>
                    </a:lnTo>
                    <a:lnTo>
                      <a:pt x="1315" y="531"/>
                    </a:lnTo>
                    <a:lnTo>
                      <a:pt x="1315" y="532"/>
                    </a:lnTo>
                    <a:lnTo>
                      <a:pt x="1315" y="534"/>
                    </a:lnTo>
                    <a:lnTo>
                      <a:pt x="1317" y="536"/>
                    </a:lnTo>
                    <a:lnTo>
                      <a:pt x="1319" y="536"/>
                    </a:lnTo>
                    <a:lnTo>
                      <a:pt x="1321" y="536"/>
                    </a:lnTo>
                    <a:lnTo>
                      <a:pt x="1322" y="536"/>
                    </a:lnTo>
                    <a:lnTo>
                      <a:pt x="1322" y="537"/>
                    </a:lnTo>
                    <a:lnTo>
                      <a:pt x="1324" y="537"/>
                    </a:lnTo>
                    <a:lnTo>
                      <a:pt x="1324" y="539"/>
                    </a:lnTo>
                    <a:lnTo>
                      <a:pt x="1322" y="541"/>
                    </a:lnTo>
                    <a:lnTo>
                      <a:pt x="1322" y="542"/>
                    </a:lnTo>
                    <a:lnTo>
                      <a:pt x="1321" y="542"/>
                    </a:lnTo>
                    <a:lnTo>
                      <a:pt x="1319" y="541"/>
                    </a:lnTo>
                    <a:lnTo>
                      <a:pt x="1319" y="542"/>
                    </a:lnTo>
                    <a:lnTo>
                      <a:pt x="1321" y="544"/>
                    </a:lnTo>
                    <a:lnTo>
                      <a:pt x="1319" y="544"/>
                    </a:lnTo>
                    <a:lnTo>
                      <a:pt x="1321" y="544"/>
                    </a:lnTo>
                    <a:lnTo>
                      <a:pt x="1321" y="546"/>
                    </a:lnTo>
                    <a:lnTo>
                      <a:pt x="1321" y="548"/>
                    </a:lnTo>
                    <a:lnTo>
                      <a:pt x="1321" y="549"/>
                    </a:lnTo>
                    <a:lnTo>
                      <a:pt x="1321" y="551"/>
                    </a:lnTo>
                    <a:lnTo>
                      <a:pt x="1322" y="553"/>
                    </a:lnTo>
                    <a:lnTo>
                      <a:pt x="1324" y="553"/>
                    </a:lnTo>
                    <a:lnTo>
                      <a:pt x="1324" y="554"/>
                    </a:lnTo>
                    <a:lnTo>
                      <a:pt x="1324" y="556"/>
                    </a:lnTo>
                    <a:lnTo>
                      <a:pt x="1324" y="558"/>
                    </a:lnTo>
                    <a:lnTo>
                      <a:pt x="1326" y="559"/>
                    </a:lnTo>
                    <a:lnTo>
                      <a:pt x="1327" y="559"/>
                    </a:lnTo>
                    <a:lnTo>
                      <a:pt x="1326" y="561"/>
                    </a:lnTo>
                    <a:lnTo>
                      <a:pt x="1327" y="561"/>
                    </a:lnTo>
                    <a:lnTo>
                      <a:pt x="1327" y="563"/>
                    </a:lnTo>
                    <a:lnTo>
                      <a:pt x="1326" y="565"/>
                    </a:lnTo>
                    <a:lnTo>
                      <a:pt x="1326" y="566"/>
                    </a:lnTo>
                    <a:lnTo>
                      <a:pt x="1326" y="568"/>
                    </a:lnTo>
                    <a:lnTo>
                      <a:pt x="1326" y="570"/>
                    </a:lnTo>
                    <a:lnTo>
                      <a:pt x="1327" y="570"/>
                    </a:lnTo>
                    <a:lnTo>
                      <a:pt x="1327" y="571"/>
                    </a:lnTo>
                    <a:lnTo>
                      <a:pt x="1327" y="573"/>
                    </a:lnTo>
                    <a:lnTo>
                      <a:pt x="1329" y="573"/>
                    </a:lnTo>
                    <a:lnTo>
                      <a:pt x="1329" y="575"/>
                    </a:lnTo>
                    <a:lnTo>
                      <a:pt x="1331" y="576"/>
                    </a:lnTo>
                    <a:lnTo>
                      <a:pt x="1331" y="578"/>
                    </a:lnTo>
                    <a:lnTo>
                      <a:pt x="1331" y="580"/>
                    </a:lnTo>
                    <a:lnTo>
                      <a:pt x="1332" y="580"/>
                    </a:lnTo>
                    <a:lnTo>
                      <a:pt x="1331" y="580"/>
                    </a:lnTo>
                    <a:lnTo>
                      <a:pt x="1331" y="582"/>
                    </a:lnTo>
                    <a:lnTo>
                      <a:pt x="1329" y="582"/>
                    </a:lnTo>
                    <a:lnTo>
                      <a:pt x="1327" y="583"/>
                    </a:lnTo>
                    <a:lnTo>
                      <a:pt x="1329" y="583"/>
                    </a:lnTo>
                    <a:lnTo>
                      <a:pt x="1329" y="585"/>
                    </a:lnTo>
                    <a:lnTo>
                      <a:pt x="1329" y="587"/>
                    </a:lnTo>
                    <a:lnTo>
                      <a:pt x="1329" y="588"/>
                    </a:lnTo>
                    <a:lnTo>
                      <a:pt x="1329" y="590"/>
                    </a:lnTo>
                    <a:lnTo>
                      <a:pt x="1331" y="590"/>
                    </a:lnTo>
                    <a:lnTo>
                      <a:pt x="1331" y="592"/>
                    </a:lnTo>
                    <a:lnTo>
                      <a:pt x="1331" y="593"/>
                    </a:lnTo>
                    <a:lnTo>
                      <a:pt x="1332" y="593"/>
                    </a:lnTo>
                    <a:lnTo>
                      <a:pt x="1332" y="592"/>
                    </a:lnTo>
                    <a:lnTo>
                      <a:pt x="1334" y="592"/>
                    </a:lnTo>
                    <a:lnTo>
                      <a:pt x="1334" y="590"/>
                    </a:lnTo>
                    <a:lnTo>
                      <a:pt x="1334" y="592"/>
                    </a:lnTo>
                    <a:lnTo>
                      <a:pt x="1336" y="592"/>
                    </a:lnTo>
                    <a:lnTo>
                      <a:pt x="1338" y="592"/>
                    </a:lnTo>
                    <a:lnTo>
                      <a:pt x="1338" y="593"/>
                    </a:lnTo>
                    <a:lnTo>
                      <a:pt x="1339" y="593"/>
                    </a:lnTo>
                    <a:lnTo>
                      <a:pt x="1339" y="595"/>
                    </a:lnTo>
                    <a:lnTo>
                      <a:pt x="1339" y="597"/>
                    </a:lnTo>
                    <a:lnTo>
                      <a:pt x="1338" y="597"/>
                    </a:lnTo>
                    <a:lnTo>
                      <a:pt x="1338" y="599"/>
                    </a:lnTo>
                    <a:lnTo>
                      <a:pt x="1338" y="600"/>
                    </a:lnTo>
                    <a:lnTo>
                      <a:pt x="1338" y="602"/>
                    </a:lnTo>
                    <a:lnTo>
                      <a:pt x="1336" y="602"/>
                    </a:lnTo>
                    <a:lnTo>
                      <a:pt x="1336" y="604"/>
                    </a:lnTo>
                    <a:lnTo>
                      <a:pt x="1336" y="605"/>
                    </a:lnTo>
                    <a:lnTo>
                      <a:pt x="1336" y="607"/>
                    </a:lnTo>
                    <a:lnTo>
                      <a:pt x="1336" y="609"/>
                    </a:lnTo>
                    <a:lnTo>
                      <a:pt x="1336" y="610"/>
                    </a:lnTo>
                    <a:lnTo>
                      <a:pt x="1334" y="610"/>
                    </a:lnTo>
                    <a:lnTo>
                      <a:pt x="1334" y="612"/>
                    </a:lnTo>
                    <a:lnTo>
                      <a:pt x="1334" y="614"/>
                    </a:lnTo>
                    <a:lnTo>
                      <a:pt x="1334" y="616"/>
                    </a:lnTo>
                    <a:lnTo>
                      <a:pt x="1336" y="616"/>
                    </a:lnTo>
                    <a:lnTo>
                      <a:pt x="1336" y="617"/>
                    </a:lnTo>
                    <a:lnTo>
                      <a:pt x="1334" y="617"/>
                    </a:lnTo>
                    <a:lnTo>
                      <a:pt x="1334" y="619"/>
                    </a:lnTo>
                    <a:lnTo>
                      <a:pt x="1336" y="621"/>
                    </a:lnTo>
                    <a:lnTo>
                      <a:pt x="1336" y="619"/>
                    </a:lnTo>
                    <a:lnTo>
                      <a:pt x="1336" y="621"/>
                    </a:lnTo>
                    <a:lnTo>
                      <a:pt x="1338" y="622"/>
                    </a:lnTo>
                    <a:lnTo>
                      <a:pt x="1336" y="622"/>
                    </a:lnTo>
                    <a:lnTo>
                      <a:pt x="1336" y="624"/>
                    </a:lnTo>
                    <a:lnTo>
                      <a:pt x="1338" y="624"/>
                    </a:lnTo>
                    <a:lnTo>
                      <a:pt x="1336" y="626"/>
                    </a:lnTo>
                    <a:lnTo>
                      <a:pt x="1336" y="627"/>
                    </a:lnTo>
                    <a:lnTo>
                      <a:pt x="1338" y="627"/>
                    </a:lnTo>
                    <a:lnTo>
                      <a:pt x="1338" y="629"/>
                    </a:lnTo>
                    <a:lnTo>
                      <a:pt x="1338" y="631"/>
                    </a:lnTo>
                    <a:lnTo>
                      <a:pt x="1336" y="631"/>
                    </a:lnTo>
                    <a:lnTo>
                      <a:pt x="1336" y="633"/>
                    </a:lnTo>
                    <a:lnTo>
                      <a:pt x="1334" y="633"/>
                    </a:lnTo>
                    <a:lnTo>
                      <a:pt x="1332" y="633"/>
                    </a:lnTo>
                    <a:lnTo>
                      <a:pt x="1332" y="631"/>
                    </a:lnTo>
                    <a:lnTo>
                      <a:pt x="1332" y="633"/>
                    </a:lnTo>
                    <a:lnTo>
                      <a:pt x="1331" y="633"/>
                    </a:lnTo>
                    <a:lnTo>
                      <a:pt x="1331" y="634"/>
                    </a:lnTo>
                    <a:lnTo>
                      <a:pt x="1331" y="636"/>
                    </a:lnTo>
                    <a:lnTo>
                      <a:pt x="1331" y="638"/>
                    </a:lnTo>
                    <a:lnTo>
                      <a:pt x="1329" y="639"/>
                    </a:lnTo>
                    <a:lnTo>
                      <a:pt x="1329" y="641"/>
                    </a:lnTo>
                    <a:lnTo>
                      <a:pt x="1327" y="641"/>
                    </a:lnTo>
                    <a:lnTo>
                      <a:pt x="1326" y="643"/>
                    </a:lnTo>
                    <a:lnTo>
                      <a:pt x="1326" y="644"/>
                    </a:lnTo>
                    <a:lnTo>
                      <a:pt x="1324" y="646"/>
                    </a:lnTo>
                    <a:lnTo>
                      <a:pt x="1324" y="648"/>
                    </a:lnTo>
                    <a:lnTo>
                      <a:pt x="1324" y="650"/>
                    </a:lnTo>
                    <a:lnTo>
                      <a:pt x="1322" y="650"/>
                    </a:lnTo>
                    <a:lnTo>
                      <a:pt x="1322" y="651"/>
                    </a:lnTo>
                    <a:lnTo>
                      <a:pt x="1321" y="651"/>
                    </a:lnTo>
                    <a:lnTo>
                      <a:pt x="1321" y="653"/>
                    </a:lnTo>
                    <a:lnTo>
                      <a:pt x="1322" y="653"/>
                    </a:lnTo>
                    <a:lnTo>
                      <a:pt x="1322" y="655"/>
                    </a:lnTo>
                    <a:lnTo>
                      <a:pt x="1322" y="656"/>
                    </a:lnTo>
                    <a:lnTo>
                      <a:pt x="1321" y="658"/>
                    </a:lnTo>
                    <a:lnTo>
                      <a:pt x="1321" y="660"/>
                    </a:lnTo>
                    <a:lnTo>
                      <a:pt x="1321" y="662"/>
                    </a:lnTo>
                    <a:lnTo>
                      <a:pt x="1319" y="662"/>
                    </a:lnTo>
                    <a:lnTo>
                      <a:pt x="1319" y="663"/>
                    </a:lnTo>
                    <a:lnTo>
                      <a:pt x="1319" y="665"/>
                    </a:lnTo>
                    <a:lnTo>
                      <a:pt x="1319" y="667"/>
                    </a:lnTo>
                    <a:lnTo>
                      <a:pt x="1319" y="668"/>
                    </a:lnTo>
                    <a:lnTo>
                      <a:pt x="1319" y="670"/>
                    </a:lnTo>
                    <a:lnTo>
                      <a:pt x="1317" y="670"/>
                    </a:lnTo>
                    <a:lnTo>
                      <a:pt x="1315" y="670"/>
                    </a:lnTo>
                    <a:lnTo>
                      <a:pt x="1314" y="670"/>
                    </a:lnTo>
                    <a:lnTo>
                      <a:pt x="1312" y="670"/>
                    </a:lnTo>
                    <a:lnTo>
                      <a:pt x="1312" y="672"/>
                    </a:lnTo>
                    <a:lnTo>
                      <a:pt x="1312" y="673"/>
                    </a:lnTo>
                    <a:lnTo>
                      <a:pt x="1312" y="675"/>
                    </a:lnTo>
                    <a:lnTo>
                      <a:pt x="1314" y="675"/>
                    </a:lnTo>
                    <a:lnTo>
                      <a:pt x="1315" y="675"/>
                    </a:lnTo>
                    <a:lnTo>
                      <a:pt x="1317" y="675"/>
                    </a:lnTo>
                    <a:lnTo>
                      <a:pt x="1317" y="677"/>
                    </a:lnTo>
                    <a:lnTo>
                      <a:pt x="1315" y="679"/>
                    </a:lnTo>
                    <a:lnTo>
                      <a:pt x="1317" y="679"/>
                    </a:lnTo>
                    <a:lnTo>
                      <a:pt x="1315" y="680"/>
                    </a:lnTo>
                    <a:lnTo>
                      <a:pt x="1317" y="680"/>
                    </a:lnTo>
                    <a:lnTo>
                      <a:pt x="1315" y="682"/>
                    </a:lnTo>
                    <a:lnTo>
                      <a:pt x="1317" y="682"/>
                    </a:lnTo>
                    <a:lnTo>
                      <a:pt x="1319" y="684"/>
                    </a:lnTo>
                    <a:lnTo>
                      <a:pt x="1317" y="684"/>
                    </a:lnTo>
                    <a:lnTo>
                      <a:pt x="1317" y="685"/>
                    </a:lnTo>
                    <a:lnTo>
                      <a:pt x="1319" y="687"/>
                    </a:lnTo>
                    <a:lnTo>
                      <a:pt x="1317" y="689"/>
                    </a:lnTo>
                    <a:lnTo>
                      <a:pt x="1317" y="690"/>
                    </a:lnTo>
                    <a:lnTo>
                      <a:pt x="1319" y="690"/>
                    </a:lnTo>
                    <a:lnTo>
                      <a:pt x="1319" y="692"/>
                    </a:lnTo>
                    <a:lnTo>
                      <a:pt x="1319" y="694"/>
                    </a:lnTo>
                    <a:lnTo>
                      <a:pt x="1319" y="696"/>
                    </a:lnTo>
                    <a:lnTo>
                      <a:pt x="1321" y="696"/>
                    </a:lnTo>
                    <a:lnTo>
                      <a:pt x="1321" y="697"/>
                    </a:lnTo>
                    <a:lnTo>
                      <a:pt x="1319" y="697"/>
                    </a:lnTo>
                    <a:lnTo>
                      <a:pt x="1317" y="697"/>
                    </a:lnTo>
                    <a:lnTo>
                      <a:pt x="1317" y="699"/>
                    </a:lnTo>
                    <a:lnTo>
                      <a:pt x="1317" y="701"/>
                    </a:lnTo>
                    <a:lnTo>
                      <a:pt x="1319" y="701"/>
                    </a:lnTo>
                    <a:lnTo>
                      <a:pt x="1317" y="702"/>
                    </a:lnTo>
                    <a:lnTo>
                      <a:pt x="1319" y="702"/>
                    </a:lnTo>
                    <a:lnTo>
                      <a:pt x="1319" y="704"/>
                    </a:lnTo>
                    <a:lnTo>
                      <a:pt x="1319" y="706"/>
                    </a:lnTo>
                    <a:lnTo>
                      <a:pt x="1317" y="706"/>
                    </a:lnTo>
                    <a:lnTo>
                      <a:pt x="1317" y="707"/>
                    </a:lnTo>
                    <a:lnTo>
                      <a:pt x="1317" y="709"/>
                    </a:lnTo>
                    <a:lnTo>
                      <a:pt x="1317" y="711"/>
                    </a:lnTo>
                    <a:lnTo>
                      <a:pt x="1315" y="711"/>
                    </a:lnTo>
                    <a:lnTo>
                      <a:pt x="1314" y="711"/>
                    </a:lnTo>
                    <a:lnTo>
                      <a:pt x="1314" y="709"/>
                    </a:lnTo>
                    <a:lnTo>
                      <a:pt x="1312" y="709"/>
                    </a:lnTo>
                    <a:lnTo>
                      <a:pt x="1312" y="711"/>
                    </a:lnTo>
                    <a:lnTo>
                      <a:pt x="1310" y="711"/>
                    </a:lnTo>
                    <a:lnTo>
                      <a:pt x="1310" y="713"/>
                    </a:lnTo>
                    <a:lnTo>
                      <a:pt x="1310" y="714"/>
                    </a:lnTo>
                    <a:lnTo>
                      <a:pt x="1309" y="714"/>
                    </a:lnTo>
                    <a:lnTo>
                      <a:pt x="1307" y="714"/>
                    </a:lnTo>
                    <a:lnTo>
                      <a:pt x="1309" y="716"/>
                    </a:lnTo>
                    <a:lnTo>
                      <a:pt x="1307" y="718"/>
                    </a:lnTo>
                    <a:lnTo>
                      <a:pt x="1307" y="719"/>
                    </a:lnTo>
                    <a:lnTo>
                      <a:pt x="1309" y="719"/>
                    </a:lnTo>
                    <a:lnTo>
                      <a:pt x="1309" y="721"/>
                    </a:lnTo>
                    <a:lnTo>
                      <a:pt x="1307" y="721"/>
                    </a:lnTo>
                    <a:lnTo>
                      <a:pt x="1305" y="721"/>
                    </a:lnTo>
                    <a:lnTo>
                      <a:pt x="1304" y="721"/>
                    </a:lnTo>
                    <a:lnTo>
                      <a:pt x="1304" y="719"/>
                    </a:lnTo>
                    <a:lnTo>
                      <a:pt x="1304" y="721"/>
                    </a:lnTo>
                    <a:lnTo>
                      <a:pt x="1302" y="721"/>
                    </a:lnTo>
                    <a:lnTo>
                      <a:pt x="1302" y="719"/>
                    </a:lnTo>
                    <a:lnTo>
                      <a:pt x="1302" y="721"/>
                    </a:lnTo>
                    <a:lnTo>
                      <a:pt x="1302" y="723"/>
                    </a:lnTo>
                    <a:lnTo>
                      <a:pt x="1300" y="723"/>
                    </a:lnTo>
                    <a:lnTo>
                      <a:pt x="1300" y="724"/>
                    </a:lnTo>
                    <a:lnTo>
                      <a:pt x="1298" y="724"/>
                    </a:lnTo>
                    <a:lnTo>
                      <a:pt x="1297" y="724"/>
                    </a:lnTo>
                    <a:lnTo>
                      <a:pt x="1297" y="723"/>
                    </a:lnTo>
                    <a:lnTo>
                      <a:pt x="1297" y="724"/>
                    </a:lnTo>
                    <a:lnTo>
                      <a:pt x="1295" y="726"/>
                    </a:lnTo>
                    <a:lnTo>
                      <a:pt x="1297" y="726"/>
                    </a:lnTo>
                    <a:lnTo>
                      <a:pt x="1295" y="728"/>
                    </a:lnTo>
                    <a:lnTo>
                      <a:pt x="1297" y="728"/>
                    </a:lnTo>
                    <a:lnTo>
                      <a:pt x="1295" y="730"/>
                    </a:lnTo>
                    <a:lnTo>
                      <a:pt x="1297" y="730"/>
                    </a:lnTo>
                    <a:lnTo>
                      <a:pt x="1297" y="731"/>
                    </a:lnTo>
                    <a:lnTo>
                      <a:pt x="1297" y="733"/>
                    </a:lnTo>
                    <a:lnTo>
                      <a:pt x="1295" y="733"/>
                    </a:lnTo>
                    <a:lnTo>
                      <a:pt x="1295" y="731"/>
                    </a:lnTo>
                    <a:lnTo>
                      <a:pt x="1293" y="731"/>
                    </a:lnTo>
                    <a:lnTo>
                      <a:pt x="1293" y="733"/>
                    </a:lnTo>
                    <a:lnTo>
                      <a:pt x="1293" y="735"/>
                    </a:lnTo>
                    <a:lnTo>
                      <a:pt x="1293" y="736"/>
                    </a:lnTo>
                    <a:lnTo>
                      <a:pt x="1293" y="738"/>
                    </a:lnTo>
                    <a:lnTo>
                      <a:pt x="1292" y="738"/>
                    </a:lnTo>
                    <a:lnTo>
                      <a:pt x="1292" y="740"/>
                    </a:lnTo>
                    <a:lnTo>
                      <a:pt x="1293" y="740"/>
                    </a:lnTo>
                    <a:lnTo>
                      <a:pt x="1293" y="741"/>
                    </a:lnTo>
                    <a:lnTo>
                      <a:pt x="1292" y="741"/>
                    </a:lnTo>
                    <a:lnTo>
                      <a:pt x="1293" y="743"/>
                    </a:lnTo>
                    <a:lnTo>
                      <a:pt x="1295" y="743"/>
                    </a:lnTo>
                    <a:lnTo>
                      <a:pt x="1293" y="743"/>
                    </a:lnTo>
                    <a:lnTo>
                      <a:pt x="1293" y="745"/>
                    </a:lnTo>
                    <a:lnTo>
                      <a:pt x="1292" y="745"/>
                    </a:lnTo>
                    <a:lnTo>
                      <a:pt x="1290" y="745"/>
                    </a:lnTo>
                    <a:lnTo>
                      <a:pt x="1292" y="745"/>
                    </a:lnTo>
                    <a:lnTo>
                      <a:pt x="1292" y="747"/>
                    </a:lnTo>
                    <a:lnTo>
                      <a:pt x="1293" y="747"/>
                    </a:lnTo>
                    <a:lnTo>
                      <a:pt x="1293" y="748"/>
                    </a:lnTo>
                    <a:lnTo>
                      <a:pt x="1293" y="750"/>
                    </a:lnTo>
                    <a:lnTo>
                      <a:pt x="1295" y="750"/>
                    </a:lnTo>
                    <a:lnTo>
                      <a:pt x="1295" y="752"/>
                    </a:lnTo>
                    <a:lnTo>
                      <a:pt x="1293" y="752"/>
                    </a:lnTo>
                    <a:lnTo>
                      <a:pt x="1293" y="753"/>
                    </a:lnTo>
                    <a:lnTo>
                      <a:pt x="1293" y="755"/>
                    </a:lnTo>
                    <a:lnTo>
                      <a:pt x="1292" y="755"/>
                    </a:lnTo>
                    <a:lnTo>
                      <a:pt x="1292" y="757"/>
                    </a:lnTo>
                    <a:lnTo>
                      <a:pt x="1290" y="757"/>
                    </a:lnTo>
                    <a:lnTo>
                      <a:pt x="1290" y="758"/>
                    </a:lnTo>
                    <a:lnTo>
                      <a:pt x="1290" y="760"/>
                    </a:lnTo>
                    <a:lnTo>
                      <a:pt x="1292" y="760"/>
                    </a:lnTo>
                    <a:lnTo>
                      <a:pt x="1290" y="762"/>
                    </a:lnTo>
                    <a:lnTo>
                      <a:pt x="1292" y="762"/>
                    </a:lnTo>
                    <a:lnTo>
                      <a:pt x="1293" y="764"/>
                    </a:lnTo>
                    <a:lnTo>
                      <a:pt x="1293" y="765"/>
                    </a:lnTo>
                    <a:lnTo>
                      <a:pt x="1293" y="767"/>
                    </a:lnTo>
                    <a:lnTo>
                      <a:pt x="1293" y="769"/>
                    </a:lnTo>
                    <a:lnTo>
                      <a:pt x="1292" y="769"/>
                    </a:lnTo>
                    <a:lnTo>
                      <a:pt x="1293" y="769"/>
                    </a:lnTo>
                    <a:lnTo>
                      <a:pt x="1293" y="770"/>
                    </a:lnTo>
                    <a:lnTo>
                      <a:pt x="1292" y="772"/>
                    </a:lnTo>
                    <a:lnTo>
                      <a:pt x="1290" y="774"/>
                    </a:lnTo>
                    <a:lnTo>
                      <a:pt x="1290" y="775"/>
                    </a:lnTo>
                    <a:lnTo>
                      <a:pt x="1292" y="775"/>
                    </a:lnTo>
                    <a:lnTo>
                      <a:pt x="1292" y="777"/>
                    </a:lnTo>
                    <a:lnTo>
                      <a:pt x="1292" y="779"/>
                    </a:lnTo>
                    <a:lnTo>
                      <a:pt x="1292" y="781"/>
                    </a:lnTo>
                    <a:lnTo>
                      <a:pt x="1293" y="781"/>
                    </a:lnTo>
                    <a:lnTo>
                      <a:pt x="1292" y="781"/>
                    </a:lnTo>
                    <a:lnTo>
                      <a:pt x="1292" y="782"/>
                    </a:lnTo>
                    <a:lnTo>
                      <a:pt x="1293" y="782"/>
                    </a:lnTo>
                    <a:lnTo>
                      <a:pt x="1293" y="784"/>
                    </a:lnTo>
                    <a:lnTo>
                      <a:pt x="1293" y="786"/>
                    </a:lnTo>
                    <a:lnTo>
                      <a:pt x="1295" y="787"/>
                    </a:lnTo>
                    <a:lnTo>
                      <a:pt x="1295" y="789"/>
                    </a:lnTo>
                    <a:lnTo>
                      <a:pt x="1295" y="791"/>
                    </a:lnTo>
                    <a:lnTo>
                      <a:pt x="1297" y="791"/>
                    </a:lnTo>
                    <a:lnTo>
                      <a:pt x="1297" y="792"/>
                    </a:lnTo>
                    <a:lnTo>
                      <a:pt x="1298" y="792"/>
                    </a:lnTo>
                    <a:lnTo>
                      <a:pt x="1297" y="792"/>
                    </a:lnTo>
                    <a:lnTo>
                      <a:pt x="1295" y="792"/>
                    </a:lnTo>
                    <a:lnTo>
                      <a:pt x="1297" y="794"/>
                    </a:lnTo>
                    <a:lnTo>
                      <a:pt x="1298" y="796"/>
                    </a:lnTo>
                    <a:lnTo>
                      <a:pt x="1298" y="798"/>
                    </a:lnTo>
                    <a:lnTo>
                      <a:pt x="1297" y="798"/>
                    </a:lnTo>
                    <a:lnTo>
                      <a:pt x="1297" y="799"/>
                    </a:lnTo>
                    <a:lnTo>
                      <a:pt x="1297" y="801"/>
                    </a:lnTo>
                    <a:lnTo>
                      <a:pt x="1297" y="803"/>
                    </a:lnTo>
                    <a:lnTo>
                      <a:pt x="1298" y="803"/>
                    </a:lnTo>
                    <a:lnTo>
                      <a:pt x="1297" y="803"/>
                    </a:lnTo>
                    <a:lnTo>
                      <a:pt x="1298" y="804"/>
                    </a:lnTo>
                    <a:lnTo>
                      <a:pt x="1298" y="806"/>
                    </a:lnTo>
                    <a:lnTo>
                      <a:pt x="1298" y="808"/>
                    </a:lnTo>
                    <a:lnTo>
                      <a:pt x="1300" y="808"/>
                    </a:lnTo>
                    <a:lnTo>
                      <a:pt x="1300" y="809"/>
                    </a:lnTo>
                    <a:lnTo>
                      <a:pt x="1302" y="809"/>
                    </a:lnTo>
                    <a:lnTo>
                      <a:pt x="1302" y="811"/>
                    </a:lnTo>
                    <a:lnTo>
                      <a:pt x="1304" y="811"/>
                    </a:lnTo>
                    <a:lnTo>
                      <a:pt x="1304" y="813"/>
                    </a:lnTo>
                    <a:lnTo>
                      <a:pt x="1304" y="815"/>
                    </a:lnTo>
                    <a:lnTo>
                      <a:pt x="1302" y="815"/>
                    </a:lnTo>
                    <a:lnTo>
                      <a:pt x="1302" y="816"/>
                    </a:lnTo>
                    <a:lnTo>
                      <a:pt x="1300" y="816"/>
                    </a:lnTo>
                    <a:lnTo>
                      <a:pt x="1300" y="818"/>
                    </a:lnTo>
                    <a:lnTo>
                      <a:pt x="1302" y="818"/>
                    </a:lnTo>
                    <a:lnTo>
                      <a:pt x="1302" y="820"/>
                    </a:lnTo>
                    <a:lnTo>
                      <a:pt x="1300" y="820"/>
                    </a:lnTo>
                    <a:lnTo>
                      <a:pt x="1300" y="821"/>
                    </a:lnTo>
                    <a:lnTo>
                      <a:pt x="1298" y="821"/>
                    </a:lnTo>
                    <a:lnTo>
                      <a:pt x="1297" y="821"/>
                    </a:lnTo>
                    <a:lnTo>
                      <a:pt x="1295" y="821"/>
                    </a:lnTo>
                    <a:lnTo>
                      <a:pt x="1293" y="821"/>
                    </a:lnTo>
                    <a:lnTo>
                      <a:pt x="1293" y="823"/>
                    </a:lnTo>
                    <a:lnTo>
                      <a:pt x="1292" y="823"/>
                    </a:lnTo>
                    <a:lnTo>
                      <a:pt x="1290" y="823"/>
                    </a:lnTo>
                    <a:lnTo>
                      <a:pt x="1288" y="823"/>
                    </a:lnTo>
                    <a:lnTo>
                      <a:pt x="1288" y="825"/>
                    </a:lnTo>
                    <a:lnTo>
                      <a:pt x="1287" y="827"/>
                    </a:lnTo>
                    <a:lnTo>
                      <a:pt x="1285" y="827"/>
                    </a:lnTo>
                    <a:lnTo>
                      <a:pt x="1285" y="828"/>
                    </a:lnTo>
                    <a:lnTo>
                      <a:pt x="1283" y="828"/>
                    </a:lnTo>
                    <a:lnTo>
                      <a:pt x="1283" y="830"/>
                    </a:lnTo>
                    <a:lnTo>
                      <a:pt x="1283" y="832"/>
                    </a:lnTo>
                    <a:lnTo>
                      <a:pt x="1283" y="833"/>
                    </a:lnTo>
                    <a:lnTo>
                      <a:pt x="1285" y="833"/>
                    </a:lnTo>
                    <a:lnTo>
                      <a:pt x="1283" y="833"/>
                    </a:lnTo>
                    <a:lnTo>
                      <a:pt x="1283" y="835"/>
                    </a:lnTo>
                    <a:lnTo>
                      <a:pt x="1283" y="837"/>
                    </a:lnTo>
                    <a:lnTo>
                      <a:pt x="1283" y="838"/>
                    </a:lnTo>
                    <a:lnTo>
                      <a:pt x="1285" y="840"/>
                    </a:lnTo>
                    <a:lnTo>
                      <a:pt x="1285" y="842"/>
                    </a:lnTo>
                    <a:lnTo>
                      <a:pt x="1285" y="844"/>
                    </a:lnTo>
                    <a:lnTo>
                      <a:pt x="1285" y="845"/>
                    </a:lnTo>
                    <a:lnTo>
                      <a:pt x="1285" y="847"/>
                    </a:lnTo>
                    <a:lnTo>
                      <a:pt x="1283" y="847"/>
                    </a:lnTo>
                    <a:lnTo>
                      <a:pt x="1281" y="847"/>
                    </a:lnTo>
                    <a:lnTo>
                      <a:pt x="1281" y="849"/>
                    </a:lnTo>
                    <a:lnTo>
                      <a:pt x="1283" y="849"/>
                    </a:lnTo>
                    <a:lnTo>
                      <a:pt x="1281" y="850"/>
                    </a:lnTo>
                    <a:lnTo>
                      <a:pt x="1283" y="850"/>
                    </a:lnTo>
                    <a:lnTo>
                      <a:pt x="1281" y="850"/>
                    </a:lnTo>
                    <a:lnTo>
                      <a:pt x="1281" y="852"/>
                    </a:lnTo>
                    <a:lnTo>
                      <a:pt x="1280" y="854"/>
                    </a:lnTo>
                    <a:lnTo>
                      <a:pt x="1280" y="855"/>
                    </a:lnTo>
                    <a:lnTo>
                      <a:pt x="1281" y="855"/>
                    </a:lnTo>
                    <a:lnTo>
                      <a:pt x="1281" y="857"/>
                    </a:lnTo>
                    <a:lnTo>
                      <a:pt x="1281" y="859"/>
                    </a:lnTo>
                    <a:lnTo>
                      <a:pt x="1280" y="859"/>
                    </a:lnTo>
                    <a:lnTo>
                      <a:pt x="1278" y="859"/>
                    </a:lnTo>
                    <a:lnTo>
                      <a:pt x="1276" y="859"/>
                    </a:lnTo>
                    <a:lnTo>
                      <a:pt x="1276" y="857"/>
                    </a:lnTo>
                    <a:lnTo>
                      <a:pt x="1275" y="857"/>
                    </a:lnTo>
                    <a:lnTo>
                      <a:pt x="1275" y="855"/>
                    </a:lnTo>
                    <a:lnTo>
                      <a:pt x="1275" y="857"/>
                    </a:lnTo>
                    <a:lnTo>
                      <a:pt x="1275" y="859"/>
                    </a:lnTo>
                    <a:lnTo>
                      <a:pt x="1273" y="859"/>
                    </a:lnTo>
                    <a:lnTo>
                      <a:pt x="1275" y="861"/>
                    </a:lnTo>
                    <a:lnTo>
                      <a:pt x="1275" y="862"/>
                    </a:lnTo>
                    <a:lnTo>
                      <a:pt x="1273" y="862"/>
                    </a:lnTo>
                    <a:lnTo>
                      <a:pt x="1275" y="862"/>
                    </a:lnTo>
                    <a:lnTo>
                      <a:pt x="1273" y="862"/>
                    </a:lnTo>
                    <a:lnTo>
                      <a:pt x="1273" y="864"/>
                    </a:lnTo>
                    <a:lnTo>
                      <a:pt x="1275" y="864"/>
                    </a:lnTo>
                    <a:lnTo>
                      <a:pt x="1275" y="866"/>
                    </a:lnTo>
                    <a:lnTo>
                      <a:pt x="1275" y="867"/>
                    </a:lnTo>
                    <a:lnTo>
                      <a:pt x="1275" y="869"/>
                    </a:lnTo>
                    <a:lnTo>
                      <a:pt x="1276" y="869"/>
                    </a:lnTo>
                    <a:lnTo>
                      <a:pt x="1278" y="871"/>
                    </a:lnTo>
                    <a:lnTo>
                      <a:pt x="1278" y="872"/>
                    </a:lnTo>
                    <a:lnTo>
                      <a:pt x="1276" y="872"/>
                    </a:lnTo>
                    <a:lnTo>
                      <a:pt x="1276" y="874"/>
                    </a:lnTo>
                    <a:lnTo>
                      <a:pt x="1275" y="874"/>
                    </a:lnTo>
                    <a:lnTo>
                      <a:pt x="1275" y="876"/>
                    </a:lnTo>
                    <a:lnTo>
                      <a:pt x="1275" y="878"/>
                    </a:lnTo>
                    <a:lnTo>
                      <a:pt x="1275" y="879"/>
                    </a:lnTo>
                    <a:lnTo>
                      <a:pt x="1275" y="881"/>
                    </a:lnTo>
                    <a:lnTo>
                      <a:pt x="1273" y="879"/>
                    </a:lnTo>
                    <a:lnTo>
                      <a:pt x="1271" y="879"/>
                    </a:lnTo>
                    <a:lnTo>
                      <a:pt x="1270" y="879"/>
                    </a:lnTo>
                    <a:lnTo>
                      <a:pt x="1271" y="881"/>
                    </a:lnTo>
                    <a:lnTo>
                      <a:pt x="1270" y="881"/>
                    </a:lnTo>
                    <a:lnTo>
                      <a:pt x="1270" y="883"/>
                    </a:lnTo>
                    <a:lnTo>
                      <a:pt x="1271" y="883"/>
                    </a:lnTo>
                    <a:lnTo>
                      <a:pt x="1270" y="884"/>
                    </a:lnTo>
                    <a:lnTo>
                      <a:pt x="1270" y="886"/>
                    </a:lnTo>
                    <a:lnTo>
                      <a:pt x="1271" y="886"/>
                    </a:lnTo>
                    <a:lnTo>
                      <a:pt x="1270" y="886"/>
                    </a:lnTo>
                    <a:lnTo>
                      <a:pt x="1271" y="888"/>
                    </a:lnTo>
                    <a:lnTo>
                      <a:pt x="1273" y="888"/>
                    </a:lnTo>
                    <a:lnTo>
                      <a:pt x="1275" y="888"/>
                    </a:lnTo>
                    <a:lnTo>
                      <a:pt x="1275" y="889"/>
                    </a:lnTo>
                    <a:lnTo>
                      <a:pt x="1275" y="891"/>
                    </a:lnTo>
                    <a:lnTo>
                      <a:pt x="1275" y="893"/>
                    </a:lnTo>
                    <a:lnTo>
                      <a:pt x="1273" y="895"/>
                    </a:lnTo>
                    <a:lnTo>
                      <a:pt x="1271" y="893"/>
                    </a:lnTo>
                    <a:lnTo>
                      <a:pt x="1271" y="895"/>
                    </a:lnTo>
                    <a:lnTo>
                      <a:pt x="1271" y="893"/>
                    </a:lnTo>
                    <a:lnTo>
                      <a:pt x="1270" y="895"/>
                    </a:lnTo>
                    <a:lnTo>
                      <a:pt x="1270" y="896"/>
                    </a:lnTo>
                    <a:lnTo>
                      <a:pt x="1268" y="898"/>
                    </a:lnTo>
                    <a:lnTo>
                      <a:pt x="1270" y="898"/>
                    </a:lnTo>
                    <a:lnTo>
                      <a:pt x="1268" y="900"/>
                    </a:lnTo>
                    <a:lnTo>
                      <a:pt x="1268" y="901"/>
                    </a:lnTo>
                    <a:lnTo>
                      <a:pt x="1270" y="901"/>
                    </a:lnTo>
                    <a:lnTo>
                      <a:pt x="1270" y="903"/>
                    </a:lnTo>
                    <a:lnTo>
                      <a:pt x="1268" y="903"/>
                    </a:lnTo>
                    <a:lnTo>
                      <a:pt x="1268" y="905"/>
                    </a:lnTo>
                    <a:lnTo>
                      <a:pt x="1266" y="906"/>
                    </a:lnTo>
                    <a:lnTo>
                      <a:pt x="1264" y="906"/>
                    </a:lnTo>
                    <a:lnTo>
                      <a:pt x="1264" y="908"/>
                    </a:lnTo>
                    <a:lnTo>
                      <a:pt x="1266" y="908"/>
                    </a:lnTo>
                    <a:lnTo>
                      <a:pt x="1266" y="910"/>
                    </a:lnTo>
                    <a:lnTo>
                      <a:pt x="1266" y="912"/>
                    </a:lnTo>
                    <a:lnTo>
                      <a:pt x="1266" y="913"/>
                    </a:lnTo>
                    <a:lnTo>
                      <a:pt x="1268" y="913"/>
                    </a:lnTo>
                    <a:lnTo>
                      <a:pt x="1268" y="915"/>
                    </a:lnTo>
                    <a:lnTo>
                      <a:pt x="1268" y="913"/>
                    </a:lnTo>
                    <a:lnTo>
                      <a:pt x="1268" y="915"/>
                    </a:lnTo>
                    <a:lnTo>
                      <a:pt x="1268" y="917"/>
                    </a:lnTo>
                    <a:lnTo>
                      <a:pt x="1268" y="918"/>
                    </a:lnTo>
                    <a:lnTo>
                      <a:pt x="1266" y="918"/>
                    </a:lnTo>
                    <a:lnTo>
                      <a:pt x="1268" y="918"/>
                    </a:lnTo>
                    <a:lnTo>
                      <a:pt x="1268" y="920"/>
                    </a:lnTo>
                    <a:lnTo>
                      <a:pt x="1268" y="922"/>
                    </a:lnTo>
                    <a:lnTo>
                      <a:pt x="1270" y="922"/>
                    </a:lnTo>
                    <a:lnTo>
                      <a:pt x="1270" y="923"/>
                    </a:lnTo>
                    <a:lnTo>
                      <a:pt x="1270" y="925"/>
                    </a:lnTo>
                    <a:lnTo>
                      <a:pt x="1270" y="927"/>
                    </a:lnTo>
                    <a:lnTo>
                      <a:pt x="1268" y="927"/>
                    </a:lnTo>
                    <a:lnTo>
                      <a:pt x="1268" y="929"/>
                    </a:lnTo>
                    <a:lnTo>
                      <a:pt x="1268" y="930"/>
                    </a:lnTo>
                    <a:lnTo>
                      <a:pt x="1270" y="930"/>
                    </a:lnTo>
                    <a:lnTo>
                      <a:pt x="1268" y="930"/>
                    </a:lnTo>
                    <a:lnTo>
                      <a:pt x="1270" y="932"/>
                    </a:lnTo>
                    <a:lnTo>
                      <a:pt x="1268" y="930"/>
                    </a:lnTo>
                    <a:lnTo>
                      <a:pt x="1268" y="932"/>
                    </a:lnTo>
                    <a:lnTo>
                      <a:pt x="1268" y="934"/>
                    </a:lnTo>
                    <a:lnTo>
                      <a:pt x="1268" y="935"/>
                    </a:lnTo>
                    <a:lnTo>
                      <a:pt x="1266" y="935"/>
                    </a:lnTo>
                    <a:lnTo>
                      <a:pt x="1268" y="935"/>
                    </a:lnTo>
                    <a:lnTo>
                      <a:pt x="1268" y="937"/>
                    </a:lnTo>
                    <a:lnTo>
                      <a:pt x="1268" y="939"/>
                    </a:lnTo>
                    <a:lnTo>
                      <a:pt x="1270" y="939"/>
                    </a:lnTo>
                    <a:lnTo>
                      <a:pt x="1270" y="940"/>
                    </a:lnTo>
                    <a:lnTo>
                      <a:pt x="1270" y="942"/>
                    </a:lnTo>
                    <a:lnTo>
                      <a:pt x="1270" y="944"/>
                    </a:lnTo>
                    <a:lnTo>
                      <a:pt x="1270" y="946"/>
                    </a:lnTo>
                    <a:lnTo>
                      <a:pt x="1268" y="946"/>
                    </a:lnTo>
                    <a:lnTo>
                      <a:pt x="1268" y="947"/>
                    </a:lnTo>
                    <a:lnTo>
                      <a:pt x="1268" y="949"/>
                    </a:lnTo>
                    <a:lnTo>
                      <a:pt x="1270" y="949"/>
                    </a:lnTo>
                    <a:lnTo>
                      <a:pt x="1270" y="951"/>
                    </a:lnTo>
                    <a:lnTo>
                      <a:pt x="1271" y="951"/>
                    </a:lnTo>
                    <a:lnTo>
                      <a:pt x="1270" y="952"/>
                    </a:lnTo>
                    <a:lnTo>
                      <a:pt x="1271" y="952"/>
                    </a:lnTo>
                    <a:lnTo>
                      <a:pt x="1271" y="954"/>
                    </a:lnTo>
                    <a:lnTo>
                      <a:pt x="1271" y="956"/>
                    </a:lnTo>
                    <a:lnTo>
                      <a:pt x="1271" y="957"/>
                    </a:lnTo>
                    <a:lnTo>
                      <a:pt x="1271" y="959"/>
                    </a:lnTo>
                    <a:lnTo>
                      <a:pt x="1271" y="961"/>
                    </a:lnTo>
                    <a:lnTo>
                      <a:pt x="1271" y="963"/>
                    </a:lnTo>
                    <a:lnTo>
                      <a:pt x="1271" y="964"/>
                    </a:lnTo>
                    <a:lnTo>
                      <a:pt x="1271" y="966"/>
                    </a:lnTo>
                    <a:lnTo>
                      <a:pt x="1273" y="966"/>
                    </a:lnTo>
                    <a:lnTo>
                      <a:pt x="1273" y="968"/>
                    </a:lnTo>
                    <a:lnTo>
                      <a:pt x="1273" y="969"/>
                    </a:lnTo>
                    <a:lnTo>
                      <a:pt x="1273" y="971"/>
                    </a:lnTo>
                    <a:lnTo>
                      <a:pt x="1271" y="971"/>
                    </a:lnTo>
                    <a:lnTo>
                      <a:pt x="1270" y="971"/>
                    </a:lnTo>
                    <a:lnTo>
                      <a:pt x="1270" y="973"/>
                    </a:lnTo>
                    <a:lnTo>
                      <a:pt x="1270" y="971"/>
                    </a:lnTo>
                    <a:lnTo>
                      <a:pt x="1268" y="971"/>
                    </a:lnTo>
                    <a:lnTo>
                      <a:pt x="1268" y="973"/>
                    </a:lnTo>
                    <a:lnTo>
                      <a:pt x="1266" y="973"/>
                    </a:lnTo>
                    <a:lnTo>
                      <a:pt x="1264" y="971"/>
                    </a:lnTo>
                    <a:lnTo>
                      <a:pt x="1263" y="971"/>
                    </a:lnTo>
                    <a:lnTo>
                      <a:pt x="1263" y="969"/>
                    </a:lnTo>
                    <a:lnTo>
                      <a:pt x="1261" y="969"/>
                    </a:lnTo>
                    <a:lnTo>
                      <a:pt x="1261" y="971"/>
                    </a:lnTo>
                    <a:lnTo>
                      <a:pt x="1259" y="971"/>
                    </a:lnTo>
                    <a:lnTo>
                      <a:pt x="1258" y="971"/>
                    </a:lnTo>
                    <a:lnTo>
                      <a:pt x="1258" y="973"/>
                    </a:lnTo>
                    <a:lnTo>
                      <a:pt x="1258" y="975"/>
                    </a:lnTo>
                    <a:lnTo>
                      <a:pt x="1259" y="976"/>
                    </a:lnTo>
                    <a:lnTo>
                      <a:pt x="1258" y="976"/>
                    </a:lnTo>
                    <a:lnTo>
                      <a:pt x="1259" y="978"/>
                    </a:lnTo>
                    <a:lnTo>
                      <a:pt x="1259" y="980"/>
                    </a:lnTo>
                    <a:lnTo>
                      <a:pt x="1259" y="981"/>
                    </a:lnTo>
                    <a:lnTo>
                      <a:pt x="1259" y="983"/>
                    </a:lnTo>
                    <a:lnTo>
                      <a:pt x="1261" y="981"/>
                    </a:lnTo>
                    <a:lnTo>
                      <a:pt x="1261" y="983"/>
                    </a:lnTo>
                    <a:lnTo>
                      <a:pt x="1263" y="983"/>
                    </a:lnTo>
                    <a:lnTo>
                      <a:pt x="1263" y="985"/>
                    </a:lnTo>
                    <a:lnTo>
                      <a:pt x="1263" y="986"/>
                    </a:lnTo>
                    <a:lnTo>
                      <a:pt x="1263" y="988"/>
                    </a:lnTo>
                    <a:lnTo>
                      <a:pt x="1263" y="990"/>
                    </a:lnTo>
                    <a:lnTo>
                      <a:pt x="1261" y="990"/>
                    </a:lnTo>
                    <a:lnTo>
                      <a:pt x="1261" y="992"/>
                    </a:lnTo>
                    <a:lnTo>
                      <a:pt x="1259" y="992"/>
                    </a:lnTo>
                    <a:lnTo>
                      <a:pt x="1259" y="993"/>
                    </a:lnTo>
                    <a:lnTo>
                      <a:pt x="1259" y="995"/>
                    </a:lnTo>
                    <a:lnTo>
                      <a:pt x="1258" y="995"/>
                    </a:lnTo>
                    <a:lnTo>
                      <a:pt x="1258" y="997"/>
                    </a:lnTo>
                    <a:lnTo>
                      <a:pt x="1259" y="997"/>
                    </a:lnTo>
                    <a:lnTo>
                      <a:pt x="1259" y="998"/>
                    </a:lnTo>
                    <a:lnTo>
                      <a:pt x="1259" y="1000"/>
                    </a:lnTo>
                    <a:lnTo>
                      <a:pt x="1259" y="1002"/>
                    </a:lnTo>
                    <a:lnTo>
                      <a:pt x="1258" y="1002"/>
                    </a:lnTo>
                    <a:lnTo>
                      <a:pt x="1259" y="1002"/>
                    </a:lnTo>
                    <a:lnTo>
                      <a:pt x="1259" y="1003"/>
                    </a:lnTo>
                    <a:lnTo>
                      <a:pt x="1259" y="1005"/>
                    </a:lnTo>
                    <a:lnTo>
                      <a:pt x="1259" y="1007"/>
                    </a:lnTo>
                    <a:lnTo>
                      <a:pt x="1261" y="1009"/>
                    </a:lnTo>
                    <a:lnTo>
                      <a:pt x="1261" y="1010"/>
                    </a:lnTo>
                    <a:lnTo>
                      <a:pt x="1263" y="1010"/>
                    </a:lnTo>
                    <a:lnTo>
                      <a:pt x="1263" y="1012"/>
                    </a:lnTo>
                    <a:lnTo>
                      <a:pt x="1264" y="1012"/>
                    </a:lnTo>
                    <a:lnTo>
                      <a:pt x="1266" y="1014"/>
                    </a:lnTo>
                    <a:lnTo>
                      <a:pt x="1266" y="1015"/>
                    </a:lnTo>
                    <a:lnTo>
                      <a:pt x="1268" y="1015"/>
                    </a:lnTo>
                    <a:lnTo>
                      <a:pt x="1268" y="1017"/>
                    </a:lnTo>
                    <a:lnTo>
                      <a:pt x="1270" y="1017"/>
                    </a:lnTo>
                    <a:lnTo>
                      <a:pt x="1271" y="1017"/>
                    </a:lnTo>
                    <a:lnTo>
                      <a:pt x="1271" y="1019"/>
                    </a:lnTo>
                    <a:lnTo>
                      <a:pt x="1273" y="1019"/>
                    </a:lnTo>
                    <a:lnTo>
                      <a:pt x="1273" y="1020"/>
                    </a:lnTo>
                    <a:lnTo>
                      <a:pt x="1271" y="1020"/>
                    </a:lnTo>
                    <a:lnTo>
                      <a:pt x="1273" y="1022"/>
                    </a:lnTo>
                    <a:lnTo>
                      <a:pt x="1273" y="1024"/>
                    </a:lnTo>
                    <a:lnTo>
                      <a:pt x="1273" y="1026"/>
                    </a:lnTo>
                    <a:lnTo>
                      <a:pt x="1271" y="1026"/>
                    </a:lnTo>
                    <a:lnTo>
                      <a:pt x="1271" y="1024"/>
                    </a:lnTo>
                    <a:lnTo>
                      <a:pt x="1271" y="1026"/>
                    </a:lnTo>
                    <a:lnTo>
                      <a:pt x="1270" y="1026"/>
                    </a:lnTo>
                    <a:lnTo>
                      <a:pt x="1268" y="1026"/>
                    </a:lnTo>
                    <a:lnTo>
                      <a:pt x="1266" y="1026"/>
                    </a:lnTo>
                    <a:lnTo>
                      <a:pt x="1268" y="1026"/>
                    </a:lnTo>
                    <a:lnTo>
                      <a:pt x="1268" y="1027"/>
                    </a:lnTo>
                    <a:lnTo>
                      <a:pt x="1266" y="1029"/>
                    </a:lnTo>
                    <a:lnTo>
                      <a:pt x="1266" y="1031"/>
                    </a:lnTo>
                    <a:lnTo>
                      <a:pt x="1266" y="1032"/>
                    </a:lnTo>
                    <a:lnTo>
                      <a:pt x="1268" y="1032"/>
                    </a:lnTo>
                    <a:lnTo>
                      <a:pt x="1268" y="1031"/>
                    </a:lnTo>
                    <a:lnTo>
                      <a:pt x="1268" y="1032"/>
                    </a:lnTo>
                    <a:lnTo>
                      <a:pt x="1270" y="1032"/>
                    </a:lnTo>
                    <a:lnTo>
                      <a:pt x="1268" y="1034"/>
                    </a:lnTo>
                    <a:lnTo>
                      <a:pt x="1268" y="1036"/>
                    </a:lnTo>
                    <a:lnTo>
                      <a:pt x="1270" y="1036"/>
                    </a:lnTo>
                    <a:lnTo>
                      <a:pt x="1271" y="1036"/>
                    </a:lnTo>
                    <a:lnTo>
                      <a:pt x="1271" y="1037"/>
                    </a:lnTo>
                    <a:lnTo>
                      <a:pt x="1273" y="1037"/>
                    </a:lnTo>
                    <a:lnTo>
                      <a:pt x="1273" y="1039"/>
                    </a:lnTo>
                    <a:lnTo>
                      <a:pt x="1275" y="1039"/>
                    </a:lnTo>
                    <a:lnTo>
                      <a:pt x="1276" y="1039"/>
                    </a:lnTo>
                    <a:lnTo>
                      <a:pt x="1278" y="1039"/>
                    </a:lnTo>
                    <a:lnTo>
                      <a:pt x="1278" y="1041"/>
                    </a:lnTo>
                    <a:lnTo>
                      <a:pt x="1278" y="1043"/>
                    </a:lnTo>
                    <a:lnTo>
                      <a:pt x="1276" y="1043"/>
                    </a:lnTo>
                    <a:lnTo>
                      <a:pt x="1278" y="1043"/>
                    </a:lnTo>
                    <a:lnTo>
                      <a:pt x="1276" y="1043"/>
                    </a:lnTo>
                    <a:lnTo>
                      <a:pt x="1275" y="1043"/>
                    </a:lnTo>
                    <a:lnTo>
                      <a:pt x="1275" y="1044"/>
                    </a:lnTo>
                    <a:lnTo>
                      <a:pt x="1273" y="1046"/>
                    </a:lnTo>
                    <a:lnTo>
                      <a:pt x="1271" y="1048"/>
                    </a:lnTo>
                    <a:lnTo>
                      <a:pt x="1273" y="1048"/>
                    </a:lnTo>
                    <a:lnTo>
                      <a:pt x="1271" y="1049"/>
                    </a:lnTo>
                    <a:lnTo>
                      <a:pt x="1273" y="1049"/>
                    </a:lnTo>
                    <a:lnTo>
                      <a:pt x="1271" y="1049"/>
                    </a:lnTo>
                    <a:lnTo>
                      <a:pt x="1273" y="1049"/>
                    </a:lnTo>
                    <a:lnTo>
                      <a:pt x="1273" y="1051"/>
                    </a:lnTo>
                    <a:lnTo>
                      <a:pt x="1273" y="1053"/>
                    </a:lnTo>
                    <a:lnTo>
                      <a:pt x="1275" y="1053"/>
                    </a:lnTo>
                    <a:lnTo>
                      <a:pt x="1276" y="1054"/>
                    </a:lnTo>
                    <a:lnTo>
                      <a:pt x="1275" y="1054"/>
                    </a:lnTo>
                    <a:lnTo>
                      <a:pt x="1275" y="1056"/>
                    </a:lnTo>
                    <a:lnTo>
                      <a:pt x="1275" y="1058"/>
                    </a:lnTo>
                    <a:lnTo>
                      <a:pt x="1273" y="1058"/>
                    </a:lnTo>
                    <a:lnTo>
                      <a:pt x="1273" y="1060"/>
                    </a:lnTo>
                    <a:lnTo>
                      <a:pt x="1273" y="1061"/>
                    </a:lnTo>
                    <a:lnTo>
                      <a:pt x="1271" y="1063"/>
                    </a:lnTo>
                    <a:lnTo>
                      <a:pt x="1270" y="1063"/>
                    </a:lnTo>
                    <a:lnTo>
                      <a:pt x="1268" y="1063"/>
                    </a:lnTo>
                    <a:lnTo>
                      <a:pt x="1270" y="1065"/>
                    </a:lnTo>
                    <a:lnTo>
                      <a:pt x="1270" y="1066"/>
                    </a:lnTo>
                    <a:lnTo>
                      <a:pt x="1271" y="1066"/>
                    </a:lnTo>
                    <a:lnTo>
                      <a:pt x="1270" y="1068"/>
                    </a:lnTo>
                    <a:lnTo>
                      <a:pt x="1270" y="1070"/>
                    </a:lnTo>
                    <a:lnTo>
                      <a:pt x="1271" y="1071"/>
                    </a:lnTo>
                    <a:lnTo>
                      <a:pt x="1271" y="1073"/>
                    </a:lnTo>
                    <a:lnTo>
                      <a:pt x="1270" y="1073"/>
                    </a:lnTo>
                    <a:lnTo>
                      <a:pt x="1270" y="1075"/>
                    </a:lnTo>
                    <a:lnTo>
                      <a:pt x="1270" y="1077"/>
                    </a:lnTo>
                    <a:lnTo>
                      <a:pt x="1271" y="1077"/>
                    </a:lnTo>
                    <a:lnTo>
                      <a:pt x="1273" y="1077"/>
                    </a:lnTo>
                    <a:lnTo>
                      <a:pt x="1273" y="1075"/>
                    </a:lnTo>
                    <a:lnTo>
                      <a:pt x="1275" y="1075"/>
                    </a:lnTo>
                    <a:lnTo>
                      <a:pt x="1275" y="1077"/>
                    </a:lnTo>
                    <a:lnTo>
                      <a:pt x="1276" y="1077"/>
                    </a:lnTo>
                    <a:lnTo>
                      <a:pt x="1276" y="1075"/>
                    </a:lnTo>
                    <a:lnTo>
                      <a:pt x="1278" y="1077"/>
                    </a:lnTo>
                    <a:lnTo>
                      <a:pt x="1280" y="1077"/>
                    </a:lnTo>
                    <a:lnTo>
                      <a:pt x="1280" y="1075"/>
                    </a:lnTo>
                    <a:lnTo>
                      <a:pt x="1281" y="1077"/>
                    </a:lnTo>
                    <a:lnTo>
                      <a:pt x="1281" y="1075"/>
                    </a:lnTo>
                    <a:lnTo>
                      <a:pt x="1283" y="1075"/>
                    </a:lnTo>
                    <a:lnTo>
                      <a:pt x="1285" y="1075"/>
                    </a:lnTo>
                    <a:lnTo>
                      <a:pt x="1285" y="1077"/>
                    </a:lnTo>
                    <a:lnTo>
                      <a:pt x="1287" y="1077"/>
                    </a:lnTo>
                    <a:lnTo>
                      <a:pt x="1288" y="1077"/>
                    </a:lnTo>
                    <a:lnTo>
                      <a:pt x="1290" y="1077"/>
                    </a:lnTo>
                    <a:lnTo>
                      <a:pt x="1290" y="1078"/>
                    </a:lnTo>
                    <a:lnTo>
                      <a:pt x="1290" y="1077"/>
                    </a:lnTo>
                    <a:lnTo>
                      <a:pt x="1292" y="1078"/>
                    </a:lnTo>
                    <a:lnTo>
                      <a:pt x="1293" y="1078"/>
                    </a:lnTo>
                    <a:lnTo>
                      <a:pt x="1293" y="1080"/>
                    </a:lnTo>
                    <a:lnTo>
                      <a:pt x="1292" y="1080"/>
                    </a:lnTo>
                    <a:lnTo>
                      <a:pt x="1293" y="1082"/>
                    </a:lnTo>
                    <a:lnTo>
                      <a:pt x="1295" y="1082"/>
                    </a:lnTo>
                    <a:lnTo>
                      <a:pt x="1293" y="1083"/>
                    </a:lnTo>
                    <a:lnTo>
                      <a:pt x="1295" y="1085"/>
                    </a:lnTo>
                    <a:lnTo>
                      <a:pt x="1293" y="1085"/>
                    </a:lnTo>
                    <a:lnTo>
                      <a:pt x="1292" y="1085"/>
                    </a:lnTo>
                    <a:lnTo>
                      <a:pt x="1290" y="1085"/>
                    </a:lnTo>
                    <a:lnTo>
                      <a:pt x="1292" y="1085"/>
                    </a:lnTo>
                    <a:lnTo>
                      <a:pt x="1290" y="1087"/>
                    </a:lnTo>
                    <a:lnTo>
                      <a:pt x="1290" y="1088"/>
                    </a:lnTo>
                    <a:lnTo>
                      <a:pt x="1292" y="1088"/>
                    </a:lnTo>
                    <a:lnTo>
                      <a:pt x="1290" y="1090"/>
                    </a:lnTo>
                    <a:lnTo>
                      <a:pt x="1290" y="1092"/>
                    </a:lnTo>
                    <a:lnTo>
                      <a:pt x="1290" y="1094"/>
                    </a:lnTo>
                    <a:lnTo>
                      <a:pt x="1288" y="1094"/>
                    </a:lnTo>
                    <a:lnTo>
                      <a:pt x="1288" y="1095"/>
                    </a:lnTo>
                    <a:lnTo>
                      <a:pt x="1287" y="1095"/>
                    </a:lnTo>
                    <a:lnTo>
                      <a:pt x="1285" y="1095"/>
                    </a:lnTo>
                    <a:lnTo>
                      <a:pt x="1285" y="1094"/>
                    </a:lnTo>
                    <a:lnTo>
                      <a:pt x="1283" y="1094"/>
                    </a:lnTo>
                    <a:lnTo>
                      <a:pt x="1283" y="1092"/>
                    </a:lnTo>
                    <a:lnTo>
                      <a:pt x="1281" y="1092"/>
                    </a:lnTo>
                    <a:lnTo>
                      <a:pt x="1280" y="1092"/>
                    </a:lnTo>
                    <a:lnTo>
                      <a:pt x="1278" y="1094"/>
                    </a:lnTo>
                    <a:lnTo>
                      <a:pt x="1278" y="1092"/>
                    </a:lnTo>
                    <a:lnTo>
                      <a:pt x="1278" y="1094"/>
                    </a:lnTo>
                    <a:lnTo>
                      <a:pt x="1276" y="1094"/>
                    </a:lnTo>
                    <a:lnTo>
                      <a:pt x="1275" y="1094"/>
                    </a:lnTo>
                    <a:lnTo>
                      <a:pt x="1273" y="1094"/>
                    </a:lnTo>
                    <a:lnTo>
                      <a:pt x="1271" y="1094"/>
                    </a:lnTo>
                    <a:lnTo>
                      <a:pt x="1271" y="1092"/>
                    </a:lnTo>
                    <a:lnTo>
                      <a:pt x="1270" y="1094"/>
                    </a:lnTo>
                    <a:lnTo>
                      <a:pt x="1270" y="1095"/>
                    </a:lnTo>
                    <a:lnTo>
                      <a:pt x="1270" y="1094"/>
                    </a:lnTo>
                    <a:lnTo>
                      <a:pt x="1268" y="1095"/>
                    </a:lnTo>
                    <a:lnTo>
                      <a:pt x="1268" y="1094"/>
                    </a:lnTo>
                    <a:lnTo>
                      <a:pt x="1266" y="1094"/>
                    </a:lnTo>
                    <a:lnTo>
                      <a:pt x="1266" y="1095"/>
                    </a:lnTo>
                    <a:lnTo>
                      <a:pt x="1266" y="1094"/>
                    </a:lnTo>
                    <a:lnTo>
                      <a:pt x="1264" y="1094"/>
                    </a:lnTo>
                    <a:lnTo>
                      <a:pt x="1263" y="1094"/>
                    </a:lnTo>
                    <a:lnTo>
                      <a:pt x="1261" y="1092"/>
                    </a:lnTo>
                    <a:lnTo>
                      <a:pt x="1261" y="1094"/>
                    </a:lnTo>
                    <a:lnTo>
                      <a:pt x="1261" y="1095"/>
                    </a:lnTo>
                    <a:lnTo>
                      <a:pt x="1263" y="1095"/>
                    </a:lnTo>
                    <a:lnTo>
                      <a:pt x="1263" y="1097"/>
                    </a:lnTo>
                    <a:lnTo>
                      <a:pt x="1261" y="1097"/>
                    </a:lnTo>
                    <a:lnTo>
                      <a:pt x="1263" y="1097"/>
                    </a:lnTo>
                    <a:lnTo>
                      <a:pt x="1261" y="1099"/>
                    </a:lnTo>
                    <a:lnTo>
                      <a:pt x="1263" y="1099"/>
                    </a:lnTo>
                    <a:lnTo>
                      <a:pt x="1263" y="1100"/>
                    </a:lnTo>
                    <a:lnTo>
                      <a:pt x="1263" y="1099"/>
                    </a:lnTo>
                    <a:lnTo>
                      <a:pt x="1264" y="1100"/>
                    </a:lnTo>
                    <a:lnTo>
                      <a:pt x="1266" y="1100"/>
                    </a:lnTo>
                    <a:lnTo>
                      <a:pt x="1266" y="1102"/>
                    </a:lnTo>
                    <a:lnTo>
                      <a:pt x="1268" y="1102"/>
                    </a:lnTo>
                    <a:lnTo>
                      <a:pt x="1268" y="1100"/>
                    </a:lnTo>
                    <a:lnTo>
                      <a:pt x="1270" y="1100"/>
                    </a:lnTo>
                    <a:lnTo>
                      <a:pt x="1271" y="1102"/>
                    </a:lnTo>
                    <a:lnTo>
                      <a:pt x="1271" y="1100"/>
                    </a:lnTo>
                    <a:lnTo>
                      <a:pt x="1273" y="1102"/>
                    </a:lnTo>
                    <a:lnTo>
                      <a:pt x="1275" y="1102"/>
                    </a:lnTo>
                    <a:lnTo>
                      <a:pt x="1275" y="1104"/>
                    </a:lnTo>
                    <a:lnTo>
                      <a:pt x="1276" y="1102"/>
                    </a:lnTo>
                    <a:lnTo>
                      <a:pt x="1276" y="1104"/>
                    </a:lnTo>
                    <a:lnTo>
                      <a:pt x="1278" y="1104"/>
                    </a:lnTo>
                    <a:lnTo>
                      <a:pt x="1280" y="1104"/>
                    </a:lnTo>
                    <a:lnTo>
                      <a:pt x="1278" y="1104"/>
                    </a:lnTo>
                    <a:lnTo>
                      <a:pt x="1278" y="1105"/>
                    </a:lnTo>
                    <a:lnTo>
                      <a:pt x="1280" y="1107"/>
                    </a:lnTo>
                    <a:lnTo>
                      <a:pt x="1280" y="1109"/>
                    </a:lnTo>
                    <a:lnTo>
                      <a:pt x="1281" y="1109"/>
                    </a:lnTo>
                    <a:lnTo>
                      <a:pt x="1281" y="1111"/>
                    </a:lnTo>
                    <a:lnTo>
                      <a:pt x="1283" y="1112"/>
                    </a:lnTo>
                    <a:lnTo>
                      <a:pt x="1283" y="1114"/>
                    </a:lnTo>
                    <a:lnTo>
                      <a:pt x="1285" y="1114"/>
                    </a:lnTo>
                    <a:lnTo>
                      <a:pt x="1285" y="1116"/>
                    </a:lnTo>
                    <a:lnTo>
                      <a:pt x="1287" y="1116"/>
                    </a:lnTo>
                    <a:lnTo>
                      <a:pt x="1285" y="1117"/>
                    </a:lnTo>
                    <a:lnTo>
                      <a:pt x="1287" y="1117"/>
                    </a:lnTo>
                    <a:lnTo>
                      <a:pt x="1287" y="1119"/>
                    </a:lnTo>
                    <a:lnTo>
                      <a:pt x="1287" y="1121"/>
                    </a:lnTo>
                    <a:lnTo>
                      <a:pt x="1285" y="1121"/>
                    </a:lnTo>
                    <a:lnTo>
                      <a:pt x="1283" y="1121"/>
                    </a:lnTo>
                    <a:lnTo>
                      <a:pt x="1283" y="1122"/>
                    </a:lnTo>
                    <a:lnTo>
                      <a:pt x="1281" y="1122"/>
                    </a:lnTo>
                    <a:lnTo>
                      <a:pt x="1280" y="1122"/>
                    </a:lnTo>
                    <a:lnTo>
                      <a:pt x="1280" y="1124"/>
                    </a:lnTo>
                    <a:lnTo>
                      <a:pt x="1280" y="1126"/>
                    </a:lnTo>
                    <a:lnTo>
                      <a:pt x="1281" y="1128"/>
                    </a:lnTo>
                    <a:lnTo>
                      <a:pt x="1280" y="1128"/>
                    </a:lnTo>
                    <a:lnTo>
                      <a:pt x="1280" y="1129"/>
                    </a:lnTo>
                    <a:lnTo>
                      <a:pt x="1278" y="1129"/>
                    </a:lnTo>
                    <a:lnTo>
                      <a:pt x="1276" y="1129"/>
                    </a:lnTo>
                    <a:lnTo>
                      <a:pt x="1275" y="1129"/>
                    </a:lnTo>
                    <a:lnTo>
                      <a:pt x="1273" y="1129"/>
                    </a:lnTo>
                    <a:lnTo>
                      <a:pt x="1273" y="1131"/>
                    </a:lnTo>
                    <a:lnTo>
                      <a:pt x="1271" y="1131"/>
                    </a:lnTo>
                    <a:lnTo>
                      <a:pt x="1271" y="1133"/>
                    </a:lnTo>
                    <a:lnTo>
                      <a:pt x="1273" y="1133"/>
                    </a:lnTo>
                    <a:lnTo>
                      <a:pt x="1271" y="1134"/>
                    </a:lnTo>
                    <a:lnTo>
                      <a:pt x="1271" y="1136"/>
                    </a:lnTo>
                    <a:lnTo>
                      <a:pt x="1271" y="1138"/>
                    </a:lnTo>
                    <a:lnTo>
                      <a:pt x="1271" y="1140"/>
                    </a:lnTo>
                    <a:lnTo>
                      <a:pt x="1271" y="1141"/>
                    </a:lnTo>
                    <a:lnTo>
                      <a:pt x="1271" y="1143"/>
                    </a:lnTo>
                    <a:lnTo>
                      <a:pt x="1273" y="1143"/>
                    </a:lnTo>
                    <a:lnTo>
                      <a:pt x="1271" y="1145"/>
                    </a:lnTo>
                    <a:lnTo>
                      <a:pt x="1273" y="1146"/>
                    </a:lnTo>
                    <a:lnTo>
                      <a:pt x="1273" y="1145"/>
                    </a:lnTo>
                    <a:lnTo>
                      <a:pt x="1273" y="1146"/>
                    </a:lnTo>
                    <a:lnTo>
                      <a:pt x="1275" y="1146"/>
                    </a:lnTo>
                    <a:lnTo>
                      <a:pt x="1276" y="1148"/>
                    </a:lnTo>
                    <a:lnTo>
                      <a:pt x="1276" y="1150"/>
                    </a:lnTo>
                    <a:lnTo>
                      <a:pt x="1276" y="1151"/>
                    </a:lnTo>
                    <a:lnTo>
                      <a:pt x="1276" y="1153"/>
                    </a:lnTo>
                    <a:lnTo>
                      <a:pt x="1275" y="1153"/>
                    </a:lnTo>
                    <a:lnTo>
                      <a:pt x="1275" y="1155"/>
                    </a:lnTo>
                    <a:lnTo>
                      <a:pt x="1275" y="1157"/>
                    </a:lnTo>
                    <a:lnTo>
                      <a:pt x="1273" y="1157"/>
                    </a:lnTo>
                    <a:lnTo>
                      <a:pt x="1271" y="1157"/>
                    </a:lnTo>
                    <a:lnTo>
                      <a:pt x="1271" y="1158"/>
                    </a:lnTo>
                    <a:lnTo>
                      <a:pt x="1270" y="1158"/>
                    </a:lnTo>
                    <a:lnTo>
                      <a:pt x="1268" y="1158"/>
                    </a:lnTo>
                    <a:lnTo>
                      <a:pt x="1266" y="1160"/>
                    </a:lnTo>
                    <a:lnTo>
                      <a:pt x="1268" y="1160"/>
                    </a:lnTo>
                    <a:lnTo>
                      <a:pt x="1268" y="1162"/>
                    </a:lnTo>
                    <a:lnTo>
                      <a:pt x="1270" y="1162"/>
                    </a:lnTo>
                    <a:lnTo>
                      <a:pt x="1271" y="1162"/>
                    </a:lnTo>
                    <a:lnTo>
                      <a:pt x="1271" y="1163"/>
                    </a:lnTo>
                    <a:lnTo>
                      <a:pt x="1273" y="1165"/>
                    </a:lnTo>
                    <a:lnTo>
                      <a:pt x="1273" y="1167"/>
                    </a:lnTo>
                    <a:lnTo>
                      <a:pt x="1273" y="1168"/>
                    </a:lnTo>
                    <a:lnTo>
                      <a:pt x="1273" y="1170"/>
                    </a:lnTo>
                    <a:lnTo>
                      <a:pt x="1273" y="1174"/>
                    </a:lnTo>
                    <a:lnTo>
                      <a:pt x="1275" y="1177"/>
                    </a:lnTo>
                    <a:lnTo>
                      <a:pt x="1275" y="1179"/>
                    </a:lnTo>
                    <a:lnTo>
                      <a:pt x="1275" y="1180"/>
                    </a:lnTo>
                    <a:lnTo>
                      <a:pt x="1275" y="1182"/>
                    </a:lnTo>
                    <a:lnTo>
                      <a:pt x="1276" y="1184"/>
                    </a:lnTo>
                    <a:lnTo>
                      <a:pt x="1275" y="1184"/>
                    </a:lnTo>
                    <a:lnTo>
                      <a:pt x="1276" y="1185"/>
                    </a:lnTo>
                    <a:lnTo>
                      <a:pt x="1275" y="1187"/>
                    </a:lnTo>
                    <a:lnTo>
                      <a:pt x="1273" y="1187"/>
                    </a:lnTo>
                    <a:lnTo>
                      <a:pt x="1273" y="1189"/>
                    </a:lnTo>
                    <a:lnTo>
                      <a:pt x="1271" y="1189"/>
                    </a:lnTo>
                    <a:lnTo>
                      <a:pt x="1271" y="1191"/>
                    </a:lnTo>
                    <a:lnTo>
                      <a:pt x="1270" y="1191"/>
                    </a:lnTo>
                    <a:lnTo>
                      <a:pt x="1270" y="1192"/>
                    </a:lnTo>
                    <a:lnTo>
                      <a:pt x="1268" y="1192"/>
                    </a:lnTo>
                    <a:lnTo>
                      <a:pt x="1266" y="1192"/>
                    </a:lnTo>
                    <a:lnTo>
                      <a:pt x="1264" y="1192"/>
                    </a:lnTo>
                    <a:lnTo>
                      <a:pt x="1266" y="1194"/>
                    </a:lnTo>
                    <a:lnTo>
                      <a:pt x="1266" y="1196"/>
                    </a:lnTo>
                    <a:lnTo>
                      <a:pt x="1264" y="1196"/>
                    </a:lnTo>
                    <a:lnTo>
                      <a:pt x="1264" y="1197"/>
                    </a:lnTo>
                    <a:lnTo>
                      <a:pt x="1264" y="1199"/>
                    </a:lnTo>
                    <a:lnTo>
                      <a:pt x="1266" y="1199"/>
                    </a:lnTo>
                    <a:lnTo>
                      <a:pt x="1264" y="1201"/>
                    </a:lnTo>
                    <a:lnTo>
                      <a:pt x="1266" y="1201"/>
                    </a:lnTo>
                    <a:lnTo>
                      <a:pt x="1268" y="1201"/>
                    </a:lnTo>
                    <a:lnTo>
                      <a:pt x="1268" y="1202"/>
                    </a:lnTo>
                    <a:lnTo>
                      <a:pt x="1266" y="1204"/>
                    </a:lnTo>
                    <a:lnTo>
                      <a:pt x="1264" y="1206"/>
                    </a:lnTo>
                    <a:lnTo>
                      <a:pt x="1266" y="1206"/>
                    </a:lnTo>
                    <a:lnTo>
                      <a:pt x="1268" y="1208"/>
                    </a:lnTo>
                    <a:lnTo>
                      <a:pt x="1268" y="1209"/>
                    </a:lnTo>
                    <a:lnTo>
                      <a:pt x="1270" y="1209"/>
                    </a:lnTo>
                    <a:lnTo>
                      <a:pt x="1268" y="1209"/>
                    </a:lnTo>
                    <a:lnTo>
                      <a:pt x="1268" y="1211"/>
                    </a:lnTo>
                    <a:lnTo>
                      <a:pt x="1268" y="1213"/>
                    </a:lnTo>
                    <a:lnTo>
                      <a:pt x="1266" y="1213"/>
                    </a:lnTo>
                    <a:lnTo>
                      <a:pt x="1264" y="1213"/>
                    </a:lnTo>
                    <a:lnTo>
                      <a:pt x="1263" y="1211"/>
                    </a:lnTo>
                    <a:lnTo>
                      <a:pt x="1264" y="1213"/>
                    </a:lnTo>
                    <a:lnTo>
                      <a:pt x="1263" y="1214"/>
                    </a:lnTo>
                    <a:lnTo>
                      <a:pt x="1264" y="1216"/>
                    </a:lnTo>
                    <a:lnTo>
                      <a:pt x="1263" y="1216"/>
                    </a:lnTo>
                    <a:lnTo>
                      <a:pt x="1263" y="1218"/>
                    </a:lnTo>
                    <a:lnTo>
                      <a:pt x="1261" y="1218"/>
                    </a:lnTo>
                    <a:lnTo>
                      <a:pt x="1259" y="1218"/>
                    </a:lnTo>
                    <a:lnTo>
                      <a:pt x="1259" y="1219"/>
                    </a:lnTo>
                    <a:lnTo>
                      <a:pt x="1258" y="1221"/>
                    </a:lnTo>
                    <a:lnTo>
                      <a:pt x="1258" y="1223"/>
                    </a:lnTo>
                    <a:lnTo>
                      <a:pt x="1256" y="1221"/>
                    </a:lnTo>
                    <a:lnTo>
                      <a:pt x="1256" y="1223"/>
                    </a:lnTo>
                    <a:lnTo>
                      <a:pt x="1254" y="1223"/>
                    </a:lnTo>
                    <a:lnTo>
                      <a:pt x="1254" y="1225"/>
                    </a:lnTo>
                    <a:lnTo>
                      <a:pt x="1253" y="1225"/>
                    </a:lnTo>
                    <a:lnTo>
                      <a:pt x="1253" y="1226"/>
                    </a:lnTo>
                    <a:lnTo>
                      <a:pt x="1253" y="1225"/>
                    </a:lnTo>
                    <a:lnTo>
                      <a:pt x="1253" y="1226"/>
                    </a:lnTo>
                    <a:lnTo>
                      <a:pt x="1254" y="1226"/>
                    </a:lnTo>
                    <a:lnTo>
                      <a:pt x="1254" y="1228"/>
                    </a:lnTo>
                    <a:lnTo>
                      <a:pt x="1253" y="1228"/>
                    </a:lnTo>
                    <a:lnTo>
                      <a:pt x="1253" y="1230"/>
                    </a:lnTo>
                    <a:lnTo>
                      <a:pt x="1253" y="1231"/>
                    </a:lnTo>
                    <a:lnTo>
                      <a:pt x="1253" y="1233"/>
                    </a:lnTo>
                    <a:lnTo>
                      <a:pt x="1251" y="1233"/>
                    </a:lnTo>
                    <a:lnTo>
                      <a:pt x="1251" y="1235"/>
                    </a:lnTo>
                    <a:lnTo>
                      <a:pt x="1249" y="1235"/>
                    </a:lnTo>
                    <a:lnTo>
                      <a:pt x="1249" y="1236"/>
                    </a:lnTo>
                    <a:lnTo>
                      <a:pt x="1249" y="1238"/>
                    </a:lnTo>
                    <a:lnTo>
                      <a:pt x="1251" y="1238"/>
                    </a:lnTo>
                    <a:lnTo>
                      <a:pt x="1251" y="1240"/>
                    </a:lnTo>
                    <a:lnTo>
                      <a:pt x="1249" y="1240"/>
                    </a:lnTo>
                    <a:lnTo>
                      <a:pt x="1247" y="1240"/>
                    </a:lnTo>
                    <a:lnTo>
                      <a:pt x="1246" y="1238"/>
                    </a:lnTo>
                    <a:lnTo>
                      <a:pt x="1246" y="1240"/>
                    </a:lnTo>
                    <a:lnTo>
                      <a:pt x="1247" y="1240"/>
                    </a:lnTo>
                    <a:lnTo>
                      <a:pt x="1247" y="1242"/>
                    </a:lnTo>
                    <a:lnTo>
                      <a:pt x="1247" y="1243"/>
                    </a:lnTo>
                    <a:lnTo>
                      <a:pt x="1247" y="1245"/>
                    </a:lnTo>
                    <a:lnTo>
                      <a:pt x="1247" y="1247"/>
                    </a:lnTo>
                    <a:lnTo>
                      <a:pt x="1246" y="1247"/>
                    </a:lnTo>
                    <a:lnTo>
                      <a:pt x="1246" y="1248"/>
                    </a:lnTo>
                    <a:lnTo>
                      <a:pt x="1247" y="1250"/>
                    </a:lnTo>
                    <a:lnTo>
                      <a:pt x="1249" y="1250"/>
                    </a:lnTo>
                    <a:lnTo>
                      <a:pt x="1249" y="1252"/>
                    </a:lnTo>
                    <a:lnTo>
                      <a:pt x="1249" y="1253"/>
                    </a:lnTo>
                    <a:lnTo>
                      <a:pt x="1249" y="1255"/>
                    </a:lnTo>
                    <a:lnTo>
                      <a:pt x="1251" y="1255"/>
                    </a:lnTo>
                    <a:lnTo>
                      <a:pt x="1251" y="1257"/>
                    </a:lnTo>
                    <a:lnTo>
                      <a:pt x="1253" y="1257"/>
                    </a:lnTo>
                    <a:lnTo>
                      <a:pt x="1253" y="1259"/>
                    </a:lnTo>
                    <a:lnTo>
                      <a:pt x="1254" y="1259"/>
                    </a:lnTo>
                    <a:lnTo>
                      <a:pt x="1253" y="1260"/>
                    </a:lnTo>
                    <a:lnTo>
                      <a:pt x="1254" y="1262"/>
                    </a:lnTo>
                    <a:lnTo>
                      <a:pt x="1253" y="1262"/>
                    </a:lnTo>
                    <a:lnTo>
                      <a:pt x="1253" y="1264"/>
                    </a:lnTo>
                    <a:lnTo>
                      <a:pt x="1254" y="1264"/>
                    </a:lnTo>
                    <a:lnTo>
                      <a:pt x="1254" y="1265"/>
                    </a:lnTo>
                    <a:lnTo>
                      <a:pt x="1256" y="1267"/>
                    </a:lnTo>
                    <a:lnTo>
                      <a:pt x="1256" y="1269"/>
                    </a:lnTo>
                    <a:lnTo>
                      <a:pt x="1254" y="1269"/>
                    </a:lnTo>
                    <a:lnTo>
                      <a:pt x="1254" y="1270"/>
                    </a:lnTo>
                    <a:lnTo>
                      <a:pt x="1253" y="1269"/>
                    </a:lnTo>
                    <a:lnTo>
                      <a:pt x="1253" y="1270"/>
                    </a:lnTo>
                    <a:lnTo>
                      <a:pt x="1253" y="1269"/>
                    </a:lnTo>
                    <a:lnTo>
                      <a:pt x="1251" y="1269"/>
                    </a:lnTo>
                    <a:lnTo>
                      <a:pt x="1251" y="1270"/>
                    </a:lnTo>
                    <a:lnTo>
                      <a:pt x="1253" y="1270"/>
                    </a:lnTo>
                    <a:lnTo>
                      <a:pt x="1251" y="1272"/>
                    </a:lnTo>
                    <a:lnTo>
                      <a:pt x="1249" y="1272"/>
                    </a:lnTo>
                    <a:lnTo>
                      <a:pt x="1249" y="1274"/>
                    </a:lnTo>
                    <a:lnTo>
                      <a:pt x="1251" y="1274"/>
                    </a:lnTo>
                    <a:lnTo>
                      <a:pt x="1251" y="1276"/>
                    </a:lnTo>
                    <a:lnTo>
                      <a:pt x="1249" y="1277"/>
                    </a:lnTo>
                    <a:lnTo>
                      <a:pt x="1247" y="1277"/>
                    </a:lnTo>
                    <a:lnTo>
                      <a:pt x="1246" y="1277"/>
                    </a:lnTo>
                    <a:lnTo>
                      <a:pt x="1246" y="1276"/>
                    </a:lnTo>
                    <a:lnTo>
                      <a:pt x="1244" y="1276"/>
                    </a:lnTo>
                    <a:lnTo>
                      <a:pt x="1244" y="1277"/>
                    </a:lnTo>
                    <a:lnTo>
                      <a:pt x="1246" y="1284"/>
                    </a:lnTo>
                    <a:lnTo>
                      <a:pt x="1246" y="1288"/>
                    </a:lnTo>
                    <a:lnTo>
                      <a:pt x="1246" y="1289"/>
                    </a:lnTo>
                    <a:lnTo>
                      <a:pt x="1246" y="1291"/>
                    </a:lnTo>
                    <a:lnTo>
                      <a:pt x="1246" y="1293"/>
                    </a:lnTo>
                    <a:lnTo>
                      <a:pt x="1244" y="1293"/>
                    </a:lnTo>
                    <a:lnTo>
                      <a:pt x="1242" y="1294"/>
                    </a:lnTo>
                    <a:lnTo>
                      <a:pt x="1241" y="1296"/>
                    </a:lnTo>
                    <a:lnTo>
                      <a:pt x="1241" y="1298"/>
                    </a:lnTo>
                    <a:lnTo>
                      <a:pt x="1239" y="1298"/>
                    </a:lnTo>
                    <a:lnTo>
                      <a:pt x="1237" y="1299"/>
                    </a:lnTo>
                    <a:lnTo>
                      <a:pt x="1237" y="1301"/>
                    </a:lnTo>
                    <a:lnTo>
                      <a:pt x="1236" y="1301"/>
                    </a:lnTo>
                    <a:lnTo>
                      <a:pt x="1234" y="1299"/>
                    </a:lnTo>
                    <a:lnTo>
                      <a:pt x="1232" y="1299"/>
                    </a:lnTo>
                    <a:lnTo>
                      <a:pt x="1232" y="1301"/>
                    </a:lnTo>
                    <a:lnTo>
                      <a:pt x="1230" y="1301"/>
                    </a:lnTo>
                    <a:lnTo>
                      <a:pt x="1230" y="1303"/>
                    </a:lnTo>
                    <a:lnTo>
                      <a:pt x="1230" y="1305"/>
                    </a:lnTo>
                    <a:lnTo>
                      <a:pt x="1230" y="1306"/>
                    </a:lnTo>
                    <a:lnTo>
                      <a:pt x="1229" y="1306"/>
                    </a:lnTo>
                    <a:lnTo>
                      <a:pt x="1229" y="1308"/>
                    </a:lnTo>
                    <a:lnTo>
                      <a:pt x="1227" y="1310"/>
                    </a:lnTo>
                    <a:lnTo>
                      <a:pt x="1225" y="1311"/>
                    </a:lnTo>
                    <a:lnTo>
                      <a:pt x="1225" y="1313"/>
                    </a:lnTo>
                    <a:lnTo>
                      <a:pt x="1225" y="1315"/>
                    </a:lnTo>
                    <a:lnTo>
                      <a:pt x="1225" y="1316"/>
                    </a:lnTo>
                    <a:lnTo>
                      <a:pt x="1227" y="1316"/>
                    </a:lnTo>
                    <a:lnTo>
                      <a:pt x="1227" y="1315"/>
                    </a:lnTo>
                    <a:lnTo>
                      <a:pt x="1227" y="1316"/>
                    </a:lnTo>
                    <a:lnTo>
                      <a:pt x="1229" y="1316"/>
                    </a:lnTo>
                    <a:lnTo>
                      <a:pt x="1227" y="1316"/>
                    </a:lnTo>
                    <a:lnTo>
                      <a:pt x="1213" y="1313"/>
                    </a:lnTo>
                    <a:lnTo>
                      <a:pt x="1213" y="1315"/>
                    </a:lnTo>
                    <a:lnTo>
                      <a:pt x="1213" y="1316"/>
                    </a:lnTo>
                    <a:lnTo>
                      <a:pt x="1215" y="1318"/>
                    </a:lnTo>
                    <a:lnTo>
                      <a:pt x="1217" y="1318"/>
                    </a:lnTo>
                    <a:lnTo>
                      <a:pt x="1215" y="1320"/>
                    </a:lnTo>
                    <a:lnTo>
                      <a:pt x="1215" y="1322"/>
                    </a:lnTo>
                    <a:lnTo>
                      <a:pt x="1215" y="1323"/>
                    </a:lnTo>
                    <a:lnTo>
                      <a:pt x="1213" y="1323"/>
                    </a:lnTo>
                    <a:lnTo>
                      <a:pt x="1213" y="1325"/>
                    </a:lnTo>
                    <a:lnTo>
                      <a:pt x="1213" y="1327"/>
                    </a:lnTo>
                    <a:lnTo>
                      <a:pt x="1213" y="1328"/>
                    </a:lnTo>
                    <a:lnTo>
                      <a:pt x="1212" y="1328"/>
                    </a:lnTo>
                    <a:lnTo>
                      <a:pt x="1212" y="1330"/>
                    </a:lnTo>
                    <a:lnTo>
                      <a:pt x="1212" y="1332"/>
                    </a:lnTo>
                    <a:lnTo>
                      <a:pt x="1213" y="1332"/>
                    </a:lnTo>
                    <a:lnTo>
                      <a:pt x="1213" y="1333"/>
                    </a:lnTo>
                    <a:lnTo>
                      <a:pt x="1215" y="1335"/>
                    </a:lnTo>
                    <a:lnTo>
                      <a:pt x="1213" y="1335"/>
                    </a:lnTo>
                    <a:lnTo>
                      <a:pt x="1213" y="1337"/>
                    </a:lnTo>
                    <a:lnTo>
                      <a:pt x="1213" y="1339"/>
                    </a:lnTo>
                    <a:lnTo>
                      <a:pt x="1213" y="1340"/>
                    </a:lnTo>
                    <a:lnTo>
                      <a:pt x="1215" y="1342"/>
                    </a:lnTo>
                    <a:lnTo>
                      <a:pt x="1215" y="1344"/>
                    </a:lnTo>
                    <a:lnTo>
                      <a:pt x="1213" y="1345"/>
                    </a:lnTo>
                    <a:lnTo>
                      <a:pt x="1213" y="1347"/>
                    </a:lnTo>
                    <a:lnTo>
                      <a:pt x="1213" y="1349"/>
                    </a:lnTo>
                    <a:lnTo>
                      <a:pt x="1212" y="1349"/>
                    </a:lnTo>
                    <a:lnTo>
                      <a:pt x="1212" y="1350"/>
                    </a:lnTo>
                    <a:lnTo>
                      <a:pt x="1212" y="1352"/>
                    </a:lnTo>
                    <a:lnTo>
                      <a:pt x="1213" y="1352"/>
                    </a:lnTo>
                    <a:lnTo>
                      <a:pt x="1212" y="1354"/>
                    </a:lnTo>
                    <a:lnTo>
                      <a:pt x="1212" y="1356"/>
                    </a:lnTo>
                    <a:lnTo>
                      <a:pt x="1212" y="1357"/>
                    </a:lnTo>
                    <a:lnTo>
                      <a:pt x="1213" y="1357"/>
                    </a:lnTo>
                    <a:lnTo>
                      <a:pt x="1213" y="1359"/>
                    </a:lnTo>
                    <a:lnTo>
                      <a:pt x="1212" y="1361"/>
                    </a:lnTo>
                    <a:lnTo>
                      <a:pt x="1212" y="1362"/>
                    </a:lnTo>
                    <a:lnTo>
                      <a:pt x="1212" y="1364"/>
                    </a:lnTo>
                    <a:lnTo>
                      <a:pt x="1212" y="1366"/>
                    </a:lnTo>
                    <a:lnTo>
                      <a:pt x="1210" y="1367"/>
                    </a:lnTo>
                    <a:lnTo>
                      <a:pt x="1212" y="1369"/>
                    </a:lnTo>
                    <a:lnTo>
                      <a:pt x="1212" y="1371"/>
                    </a:lnTo>
                    <a:lnTo>
                      <a:pt x="1213" y="1371"/>
                    </a:lnTo>
                    <a:lnTo>
                      <a:pt x="1213" y="1373"/>
                    </a:lnTo>
                    <a:lnTo>
                      <a:pt x="1213" y="1374"/>
                    </a:lnTo>
                    <a:lnTo>
                      <a:pt x="1215" y="1378"/>
                    </a:lnTo>
                    <a:lnTo>
                      <a:pt x="1217" y="1379"/>
                    </a:lnTo>
                    <a:lnTo>
                      <a:pt x="1215" y="1379"/>
                    </a:lnTo>
                    <a:lnTo>
                      <a:pt x="1217" y="1379"/>
                    </a:lnTo>
                    <a:lnTo>
                      <a:pt x="1219" y="1381"/>
                    </a:lnTo>
                    <a:lnTo>
                      <a:pt x="1217" y="1381"/>
                    </a:lnTo>
                    <a:lnTo>
                      <a:pt x="1219" y="1383"/>
                    </a:lnTo>
                    <a:lnTo>
                      <a:pt x="1219" y="1384"/>
                    </a:lnTo>
                    <a:lnTo>
                      <a:pt x="1220" y="1384"/>
                    </a:lnTo>
                    <a:lnTo>
                      <a:pt x="1220" y="1386"/>
                    </a:lnTo>
                    <a:lnTo>
                      <a:pt x="1220" y="1388"/>
                    </a:lnTo>
                    <a:lnTo>
                      <a:pt x="1222" y="1390"/>
                    </a:lnTo>
                    <a:lnTo>
                      <a:pt x="1224" y="1390"/>
                    </a:lnTo>
                    <a:lnTo>
                      <a:pt x="1224" y="1391"/>
                    </a:lnTo>
                    <a:lnTo>
                      <a:pt x="1222" y="1393"/>
                    </a:lnTo>
                    <a:lnTo>
                      <a:pt x="1220" y="1393"/>
                    </a:lnTo>
                    <a:lnTo>
                      <a:pt x="1220" y="1395"/>
                    </a:lnTo>
                    <a:lnTo>
                      <a:pt x="1220" y="1396"/>
                    </a:lnTo>
                    <a:lnTo>
                      <a:pt x="1220" y="1398"/>
                    </a:lnTo>
                    <a:lnTo>
                      <a:pt x="1222" y="1398"/>
                    </a:lnTo>
                    <a:lnTo>
                      <a:pt x="1224" y="1398"/>
                    </a:lnTo>
                    <a:lnTo>
                      <a:pt x="1225" y="1396"/>
                    </a:lnTo>
                    <a:lnTo>
                      <a:pt x="1227" y="1395"/>
                    </a:lnTo>
                    <a:lnTo>
                      <a:pt x="1227" y="1396"/>
                    </a:lnTo>
                    <a:lnTo>
                      <a:pt x="1229" y="1395"/>
                    </a:lnTo>
                    <a:lnTo>
                      <a:pt x="1230" y="1395"/>
                    </a:lnTo>
                    <a:lnTo>
                      <a:pt x="1232" y="1393"/>
                    </a:lnTo>
                    <a:lnTo>
                      <a:pt x="1232" y="1391"/>
                    </a:lnTo>
                    <a:lnTo>
                      <a:pt x="1234" y="1391"/>
                    </a:lnTo>
                    <a:lnTo>
                      <a:pt x="1234" y="1390"/>
                    </a:lnTo>
                    <a:lnTo>
                      <a:pt x="1236" y="1390"/>
                    </a:lnTo>
                    <a:lnTo>
                      <a:pt x="1237" y="1388"/>
                    </a:lnTo>
                    <a:lnTo>
                      <a:pt x="1239" y="1388"/>
                    </a:lnTo>
                    <a:lnTo>
                      <a:pt x="1241" y="1390"/>
                    </a:lnTo>
                    <a:lnTo>
                      <a:pt x="1241" y="1388"/>
                    </a:lnTo>
                    <a:lnTo>
                      <a:pt x="1242" y="1390"/>
                    </a:lnTo>
                    <a:lnTo>
                      <a:pt x="1244" y="1391"/>
                    </a:lnTo>
                    <a:lnTo>
                      <a:pt x="1244" y="1390"/>
                    </a:lnTo>
                    <a:lnTo>
                      <a:pt x="1244" y="1388"/>
                    </a:lnTo>
                    <a:lnTo>
                      <a:pt x="1246" y="1388"/>
                    </a:lnTo>
                    <a:lnTo>
                      <a:pt x="1247" y="1386"/>
                    </a:lnTo>
                    <a:lnTo>
                      <a:pt x="1249" y="1388"/>
                    </a:lnTo>
                    <a:lnTo>
                      <a:pt x="1251" y="1388"/>
                    </a:lnTo>
                    <a:lnTo>
                      <a:pt x="1253" y="1388"/>
                    </a:lnTo>
                    <a:lnTo>
                      <a:pt x="1253" y="1390"/>
                    </a:lnTo>
                    <a:lnTo>
                      <a:pt x="1254" y="1390"/>
                    </a:lnTo>
                    <a:lnTo>
                      <a:pt x="1254" y="1391"/>
                    </a:lnTo>
                    <a:lnTo>
                      <a:pt x="1253" y="1393"/>
                    </a:lnTo>
                    <a:lnTo>
                      <a:pt x="1253" y="1395"/>
                    </a:lnTo>
                    <a:lnTo>
                      <a:pt x="1253" y="1396"/>
                    </a:lnTo>
                    <a:lnTo>
                      <a:pt x="1254" y="1396"/>
                    </a:lnTo>
                    <a:lnTo>
                      <a:pt x="1254" y="1398"/>
                    </a:lnTo>
                    <a:lnTo>
                      <a:pt x="1254" y="1400"/>
                    </a:lnTo>
                    <a:lnTo>
                      <a:pt x="1256" y="1401"/>
                    </a:lnTo>
                    <a:lnTo>
                      <a:pt x="1256" y="1403"/>
                    </a:lnTo>
                    <a:lnTo>
                      <a:pt x="1254" y="1405"/>
                    </a:lnTo>
                    <a:lnTo>
                      <a:pt x="1254" y="1407"/>
                    </a:lnTo>
                    <a:lnTo>
                      <a:pt x="1254" y="1408"/>
                    </a:lnTo>
                    <a:lnTo>
                      <a:pt x="1254" y="1410"/>
                    </a:lnTo>
                    <a:lnTo>
                      <a:pt x="1253" y="1410"/>
                    </a:lnTo>
                    <a:lnTo>
                      <a:pt x="1253" y="1408"/>
                    </a:lnTo>
                    <a:lnTo>
                      <a:pt x="1251" y="1408"/>
                    </a:lnTo>
                    <a:lnTo>
                      <a:pt x="1251" y="1410"/>
                    </a:lnTo>
                    <a:lnTo>
                      <a:pt x="1251" y="1412"/>
                    </a:lnTo>
                    <a:lnTo>
                      <a:pt x="1249" y="1413"/>
                    </a:lnTo>
                    <a:lnTo>
                      <a:pt x="1251" y="1413"/>
                    </a:lnTo>
                    <a:lnTo>
                      <a:pt x="1251" y="1415"/>
                    </a:lnTo>
                    <a:lnTo>
                      <a:pt x="1251" y="1417"/>
                    </a:lnTo>
                    <a:lnTo>
                      <a:pt x="1253" y="1418"/>
                    </a:lnTo>
                    <a:lnTo>
                      <a:pt x="1254" y="1418"/>
                    </a:lnTo>
                    <a:lnTo>
                      <a:pt x="1254" y="1420"/>
                    </a:lnTo>
                    <a:lnTo>
                      <a:pt x="1254" y="1422"/>
                    </a:lnTo>
                    <a:lnTo>
                      <a:pt x="1254" y="1424"/>
                    </a:lnTo>
                    <a:lnTo>
                      <a:pt x="1253" y="1424"/>
                    </a:lnTo>
                    <a:lnTo>
                      <a:pt x="1253" y="1425"/>
                    </a:lnTo>
                    <a:lnTo>
                      <a:pt x="1251" y="1425"/>
                    </a:lnTo>
                    <a:lnTo>
                      <a:pt x="1253" y="1427"/>
                    </a:lnTo>
                    <a:lnTo>
                      <a:pt x="1253" y="1429"/>
                    </a:lnTo>
                    <a:lnTo>
                      <a:pt x="1253" y="1430"/>
                    </a:lnTo>
                    <a:lnTo>
                      <a:pt x="1253" y="1432"/>
                    </a:lnTo>
                    <a:lnTo>
                      <a:pt x="1253" y="1434"/>
                    </a:lnTo>
                    <a:lnTo>
                      <a:pt x="1253" y="1435"/>
                    </a:lnTo>
                    <a:lnTo>
                      <a:pt x="1251" y="1435"/>
                    </a:lnTo>
                    <a:lnTo>
                      <a:pt x="1249" y="1435"/>
                    </a:lnTo>
                    <a:lnTo>
                      <a:pt x="1251" y="1435"/>
                    </a:lnTo>
                    <a:lnTo>
                      <a:pt x="1249" y="1437"/>
                    </a:lnTo>
                    <a:lnTo>
                      <a:pt x="1249" y="1439"/>
                    </a:lnTo>
                    <a:lnTo>
                      <a:pt x="1251" y="1439"/>
                    </a:lnTo>
                    <a:lnTo>
                      <a:pt x="1253" y="1439"/>
                    </a:lnTo>
                    <a:lnTo>
                      <a:pt x="1253" y="1441"/>
                    </a:lnTo>
                    <a:lnTo>
                      <a:pt x="1254" y="1442"/>
                    </a:lnTo>
                    <a:lnTo>
                      <a:pt x="1254" y="1444"/>
                    </a:lnTo>
                    <a:lnTo>
                      <a:pt x="1254" y="1446"/>
                    </a:lnTo>
                    <a:lnTo>
                      <a:pt x="1256" y="1446"/>
                    </a:lnTo>
                    <a:lnTo>
                      <a:pt x="1258" y="1446"/>
                    </a:lnTo>
                    <a:lnTo>
                      <a:pt x="1258" y="1447"/>
                    </a:lnTo>
                    <a:lnTo>
                      <a:pt x="1259" y="1447"/>
                    </a:lnTo>
                    <a:lnTo>
                      <a:pt x="1259" y="1449"/>
                    </a:lnTo>
                    <a:lnTo>
                      <a:pt x="1261" y="1449"/>
                    </a:lnTo>
                    <a:lnTo>
                      <a:pt x="1261" y="1451"/>
                    </a:lnTo>
                    <a:lnTo>
                      <a:pt x="1263" y="1451"/>
                    </a:lnTo>
                    <a:lnTo>
                      <a:pt x="1263" y="1453"/>
                    </a:lnTo>
                    <a:lnTo>
                      <a:pt x="1264" y="1453"/>
                    </a:lnTo>
                    <a:lnTo>
                      <a:pt x="1264" y="1454"/>
                    </a:lnTo>
                    <a:lnTo>
                      <a:pt x="1266" y="1456"/>
                    </a:lnTo>
                    <a:lnTo>
                      <a:pt x="1266" y="1458"/>
                    </a:lnTo>
                    <a:lnTo>
                      <a:pt x="1264" y="1458"/>
                    </a:lnTo>
                    <a:lnTo>
                      <a:pt x="1264" y="1459"/>
                    </a:lnTo>
                    <a:lnTo>
                      <a:pt x="1263" y="1459"/>
                    </a:lnTo>
                    <a:lnTo>
                      <a:pt x="1263" y="1461"/>
                    </a:lnTo>
                    <a:lnTo>
                      <a:pt x="1264" y="1461"/>
                    </a:lnTo>
                    <a:lnTo>
                      <a:pt x="1266" y="1461"/>
                    </a:lnTo>
                    <a:lnTo>
                      <a:pt x="1266" y="1463"/>
                    </a:lnTo>
                    <a:lnTo>
                      <a:pt x="1275" y="1461"/>
                    </a:lnTo>
                    <a:lnTo>
                      <a:pt x="1283" y="1461"/>
                    </a:lnTo>
                    <a:lnTo>
                      <a:pt x="1285" y="1461"/>
                    </a:lnTo>
                    <a:lnTo>
                      <a:pt x="1288" y="1463"/>
                    </a:lnTo>
                    <a:lnTo>
                      <a:pt x="1302" y="1461"/>
                    </a:lnTo>
                    <a:lnTo>
                      <a:pt x="1309" y="1463"/>
                    </a:lnTo>
                    <a:lnTo>
                      <a:pt x="1314" y="1461"/>
                    </a:lnTo>
                    <a:lnTo>
                      <a:pt x="1319" y="1463"/>
                    </a:lnTo>
                    <a:lnTo>
                      <a:pt x="1331" y="1461"/>
                    </a:lnTo>
                    <a:lnTo>
                      <a:pt x="1334" y="1463"/>
                    </a:lnTo>
                    <a:lnTo>
                      <a:pt x="1336" y="1464"/>
                    </a:lnTo>
                    <a:lnTo>
                      <a:pt x="1338" y="1466"/>
                    </a:lnTo>
                    <a:lnTo>
                      <a:pt x="1341" y="1466"/>
                    </a:lnTo>
                    <a:lnTo>
                      <a:pt x="1344" y="1468"/>
                    </a:lnTo>
                    <a:lnTo>
                      <a:pt x="1348" y="1470"/>
                    </a:lnTo>
                    <a:lnTo>
                      <a:pt x="1349" y="1470"/>
                    </a:lnTo>
                    <a:lnTo>
                      <a:pt x="1351" y="1471"/>
                    </a:lnTo>
                    <a:lnTo>
                      <a:pt x="1355" y="1471"/>
                    </a:lnTo>
                    <a:lnTo>
                      <a:pt x="1358" y="1471"/>
                    </a:lnTo>
                    <a:lnTo>
                      <a:pt x="1360" y="1471"/>
                    </a:lnTo>
                    <a:lnTo>
                      <a:pt x="1361" y="1473"/>
                    </a:lnTo>
                    <a:lnTo>
                      <a:pt x="1363" y="1473"/>
                    </a:lnTo>
                    <a:lnTo>
                      <a:pt x="1365" y="1473"/>
                    </a:lnTo>
                    <a:lnTo>
                      <a:pt x="1366" y="1475"/>
                    </a:lnTo>
                    <a:lnTo>
                      <a:pt x="1368" y="1475"/>
                    </a:lnTo>
                    <a:lnTo>
                      <a:pt x="1372" y="1476"/>
                    </a:lnTo>
                    <a:lnTo>
                      <a:pt x="1373" y="1476"/>
                    </a:lnTo>
                    <a:lnTo>
                      <a:pt x="1373" y="1478"/>
                    </a:lnTo>
                    <a:lnTo>
                      <a:pt x="1375" y="1478"/>
                    </a:lnTo>
                    <a:lnTo>
                      <a:pt x="1377" y="1478"/>
                    </a:lnTo>
                    <a:lnTo>
                      <a:pt x="1378" y="1478"/>
                    </a:lnTo>
                    <a:lnTo>
                      <a:pt x="1378" y="1480"/>
                    </a:lnTo>
                    <a:lnTo>
                      <a:pt x="1380" y="1480"/>
                    </a:lnTo>
                    <a:lnTo>
                      <a:pt x="1382" y="1480"/>
                    </a:lnTo>
                    <a:lnTo>
                      <a:pt x="1383" y="1480"/>
                    </a:lnTo>
                    <a:lnTo>
                      <a:pt x="1385" y="1480"/>
                    </a:lnTo>
                    <a:lnTo>
                      <a:pt x="1385" y="1481"/>
                    </a:lnTo>
                    <a:lnTo>
                      <a:pt x="1385" y="1483"/>
                    </a:lnTo>
                    <a:lnTo>
                      <a:pt x="1383" y="1483"/>
                    </a:lnTo>
                    <a:lnTo>
                      <a:pt x="1383" y="1481"/>
                    </a:lnTo>
                    <a:lnTo>
                      <a:pt x="1382" y="1481"/>
                    </a:lnTo>
                    <a:lnTo>
                      <a:pt x="1382" y="1480"/>
                    </a:lnTo>
                    <a:lnTo>
                      <a:pt x="1380" y="1481"/>
                    </a:lnTo>
                    <a:lnTo>
                      <a:pt x="1378" y="1480"/>
                    </a:lnTo>
                    <a:lnTo>
                      <a:pt x="1377" y="1480"/>
                    </a:lnTo>
                    <a:lnTo>
                      <a:pt x="1375" y="1480"/>
                    </a:lnTo>
                    <a:lnTo>
                      <a:pt x="1373" y="1480"/>
                    </a:lnTo>
                    <a:lnTo>
                      <a:pt x="1373" y="1478"/>
                    </a:lnTo>
                    <a:lnTo>
                      <a:pt x="1372" y="1480"/>
                    </a:lnTo>
                    <a:lnTo>
                      <a:pt x="1372" y="1478"/>
                    </a:lnTo>
                    <a:lnTo>
                      <a:pt x="1370" y="1480"/>
                    </a:lnTo>
                    <a:lnTo>
                      <a:pt x="1368" y="1478"/>
                    </a:lnTo>
                    <a:lnTo>
                      <a:pt x="1366" y="1478"/>
                    </a:lnTo>
                    <a:lnTo>
                      <a:pt x="1365" y="1476"/>
                    </a:lnTo>
                    <a:lnTo>
                      <a:pt x="1363" y="1475"/>
                    </a:lnTo>
                    <a:lnTo>
                      <a:pt x="1361" y="1475"/>
                    </a:lnTo>
                    <a:lnTo>
                      <a:pt x="1361" y="1473"/>
                    </a:lnTo>
                    <a:lnTo>
                      <a:pt x="1360" y="1473"/>
                    </a:lnTo>
                    <a:lnTo>
                      <a:pt x="1358" y="1473"/>
                    </a:lnTo>
                    <a:lnTo>
                      <a:pt x="1356" y="1473"/>
                    </a:lnTo>
                    <a:lnTo>
                      <a:pt x="1356" y="1475"/>
                    </a:lnTo>
                    <a:lnTo>
                      <a:pt x="1355" y="1475"/>
                    </a:lnTo>
                    <a:lnTo>
                      <a:pt x="1353" y="1475"/>
                    </a:lnTo>
                    <a:lnTo>
                      <a:pt x="1353" y="1476"/>
                    </a:lnTo>
                    <a:lnTo>
                      <a:pt x="1351" y="1476"/>
                    </a:lnTo>
                    <a:lnTo>
                      <a:pt x="1349" y="1476"/>
                    </a:lnTo>
                    <a:lnTo>
                      <a:pt x="1349" y="1478"/>
                    </a:lnTo>
                    <a:lnTo>
                      <a:pt x="1349" y="1480"/>
                    </a:lnTo>
                    <a:lnTo>
                      <a:pt x="1348" y="1480"/>
                    </a:lnTo>
                    <a:lnTo>
                      <a:pt x="1349" y="1481"/>
                    </a:lnTo>
                    <a:lnTo>
                      <a:pt x="1348" y="1481"/>
                    </a:lnTo>
                    <a:lnTo>
                      <a:pt x="1349" y="1483"/>
                    </a:lnTo>
                    <a:lnTo>
                      <a:pt x="1348" y="1483"/>
                    </a:lnTo>
                    <a:lnTo>
                      <a:pt x="1346" y="1485"/>
                    </a:lnTo>
                    <a:lnTo>
                      <a:pt x="1346" y="1487"/>
                    </a:lnTo>
                    <a:lnTo>
                      <a:pt x="1346" y="1488"/>
                    </a:lnTo>
                    <a:lnTo>
                      <a:pt x="1344" y="1488"/>
                    </a:lnTo>
                    <a:lnTo>
                      <a:pt x="1344" y="1490"/>
                    </a:lnTo>
                    <a:lnTo>
                      <a:pt x="1343" y="1492"/>
                    </a:lnTo>
                    <a:lnTo>
                      <a:pt x="1341" y="1492"/>
                    </a:lnTo>
                    <a:lnTo>
                      <a:pt x="1339" y="1492"/>
                    </a:lnTo>
                    <a:lnTo>
                      <a:pt x="1338" y="1490"/>
                    </a:lnTo>
                    <a:lnTo>
                      <a:pt x="1338" y="1488"/>
                    </a:lnTo>
                    <a:lnTo>
                      <a:pt x="1336" y="1488"/>
                    </a:lnTo>
                    <a:lnTo>
                      <a:pt x="1336" y="1490"/>
                    </a:lnTo>
                    <a:lnTo>
                      <a:pt x="1334" y="1490"/>
                    </a:lnTo>
                    <a:lnTo>
                      <a:pt x="1332" y="1492"/>
                    </a:lnTo>
                    <a:lnTo>
                      <a:pt x="1331" y="1492"/>
                    </a:lnTo>
                    <a:lnTo>
                      <a:pt x="1331" y="1493"/>
                    </a:lnTo>
                    <a:lnTo>
                      <a:pt x="1329" y="1493"/>
                    </a:lnTo>
                    <a:lnTo>
                      <a:pt x="1327" y="1493"/>
                    </a:lnTo>
                    <a:lnTo>
                      <a:pt x="1326" y="1495"/>
                    </a:lnTo>
                    <a:lnTo>
                      <a:pt x="1324" y="1495"/>
                    </a:lnTo>
                    <a:lnTo>
                      <a:pt x="1324" y="1497"/>
                    </a:lnTo>
                    <a:lnTo>
                      <a:pt x="1324" y="1498"/>
                    </a:lnTo>
                    <a:lnTo>
                      <a:pt x="1324" y="1497"/>
                    </a:lnTo>
                    <a:lnTo>
                      <a:pt x="1322" y="1497"/>
                    </a:lnTo>
                    <a:lnTo>
                      <a:pt x="1321" y="1497"/>
                    </a:lnTo>
                    <a:lnTo>
                      <a:pt x="1321" y="1498"/>
                    </a:lnTo>
                    <a:lnTo>
                      <a:pt x="1319" y="1498"/>
                    </a:lnTo>
                    <a:lnTo>
                      <a:pt x="1317" y="1500"/>
                    </a:lnTo>
                    <a:lnTo>
                      <a:pt x="1315" y="1500"/>
                    </a:lnTo>
                    <a:lnTo>
                      <a:pt x="1314" y="1502"/>
                    </a:lnTo>
                    <a:lnTo>
                      <a:pt x="1312" y="1502"/>
                    </a:lnTo>
                    <a:lnTo>
                      <a:pt x="1312" y="1500"/>
                    </a:lnTo>
                    <a:lnTo>
                      <a:pt x="1314" y="1500"/>
                    </a:lnTo>
                    <a:lnTo>
                      <a:pt x="1314" y="1498"/>
                    </a:lnTo>
                    <a:lnTo>
                      <a:pt x="1312" y="1498"/>
                    </a:lnTo>
                    <a:lnTo>
                      <a:pt x="1312" y="1500"/>
                    </a:lnTo>
                    <a:lnTo>
                      <a:pt x="1310" y="1502"/>
                    </a:lnTo>
                    <a:lnTo>
                      <a:pt x="1310" y="1500"/>
                    </a:lnTo>
                    <a:lnTo>
                      <a:pt x="1309" y="1502"/>
                    </a:lnTo>
                    <a:lnTo>
                      <a:pt x="1307" y="1502"/>
                    </a:lnTo>
                    <a:lnTo>
                      <a:pt x="1309" y="1504"/>
                    </a:lnTo>
                    <a:lnTo>
                      <a:pt x="1307" y="1504"/>
                    </a:lnTo>
                    <a:lnTo>
                      <a:pt x="1307" y="1502"/>
                    </a:lnTo>
                    <a:lnTo>
                      <a:pt x="1305" y="1502"/>
                    </a:lnTo>
                    <a:lnTo>
                      <a:pt x="1305" y="1504"/>
                    </a:lnTo>
                    <a:lnTo>
                      <a:pt x="1304" y="1504"/>
                    </a:lnTo>
                    <a:lnTo>
                      <a:pt x="1304" y="1502"/>
                    </a:lnTo>
                    <a:lnTo>
                      <a:pt x="1302" y="1502"/>
                    </a:lnTo>
                    <a:lnTo>
                      <a:pt x="1304" y="1502"/>
                    </a:lnTo>
                    <a:lnTo>
                      <a:pt x="1302" y="1502"/>
                    </a:lnTo>
                    <a:lnTo>
                      <a:pt x="1302" y="1504"/>
                    </a:lnTo>
                    <a:lnTo>
                      <a:pt x="1304" y="1504"/>
                    </a:lnTo>
                    <a:lnTo>
                      <a:pt x="1305" y="1504"/>
                    </a:lnTo>
                    <a:lnTo>
                      <a:pt x="1304" y="1505"/>
                    </a:lnTo>
                    <a:lnTo>
                      <a:pt x="1305" y="1505"/>
                    </a:lnTo>
                    <a:lnTo>
                      <a:pt x="1307" y="1505"/>
                    </a:lnTo>
                    <a:lnTo>
                      <a:pt x="1305" y="1507"/>
                    </a:lnTo>
                    <a:lnTo>
                      <a:pt x="1304" y="1507"/>
                    </a:lnTo>
                    <a:lnTo>
                      <a:pt x="1304" y="1509"/>
                    </a:lnTo>
                    <a:lnTo>
                      <a:pt x="1304" y="1507"/>
                    </a:lnTo>
                    <a:lnTo>
                      <a:pt x="1304" y="1509"/>
                    </a:lnTo>
                    <a:lnTo>
                      <a:pt x="1304" y="1510"/>
                    </a:lnTo>
                    <a:lnTo>
                      <a:pt x="1304" y="1512"/>
                    </a:lnTo>
                    <a:lnTo>
                      <a:pt x="1302" y="1512"/>
                    </a:lnTo>
                    <a:lnTo>
                      <a:pt x="1302" y="1514"/>
                    </a:lnTo>
                    <a:lnTo>
                      <a:pt x="1304" y="1514"/>
                    </a:lnTo>
                    <a:lnTo>
                      <a:pt x="1305" y="1514"/>
                    </a:lnTo>
                    <a:lnTo>
                      <a:pt x="1304" y="1515"/>
                    </a:lnTo>
                    <a:lnTo>
                      <a:pt x="1304" y="1517"/>
                    </a:lnTo>
                    <a:lnTo>
                      <a:pt x="1304" y="1519"/>
                    </a:lnTo>
                    <a:lnTo>
                      <a:pt x="1304" y="1521"/>
                    </a:lnTo>
                    <a:lnTo>
                      <a:pt x="1302" y="1521"/>
                    </a:lnTo>
                    <a:lnTo>
                      <a:pt x="1302" y="1522"/>
                    </a:lnTo>
                    <a:lnTo>
                      <a:pt x="1302" y="1524"/>
                    </a:lnTo>
                    <a:lnTo>
                      <a:pt x="1302" y="1526"/>
                    </a:lnTo>
                    <a:lnTo>
                      <a:pt x="1302" y="1527"/>
                    </a:lnTo>
                    <a:lnTo>
                      <a:pt x="1300" y="1527"/>
                    </a:lnTo>
                    <a:lnTo>
                      <a:pt x="1300" y="1529"/>
                    </a:lnTo>
                    <a:lnTo>
                      <a:pt x="1300" y="1531"/>
                    </a:lnTo>
                    <a:lnTo>
                      <a:pt x="1298" y="1532"/>
                    </a:lnTo>
                    <a:lnTo>
                      <a:pt x="1300" y="1532"/>
                    </a:lnTo>
                    <a:lnTo>
                      <a:pt x="1300" y="1534"/>
                    </a:lnTo>
                    <a:lnTo>
                      <a:pt x="1300" y="1536"/>
                    </a:lnTo>
                    <a:lnTo>
                      <a:pt x="1298" y="1538"/>
                    </a:lnTo>
                    <a:lnTo>
                      <a:pt x="1298" y="1539"/>
                    </a:lnTo>
                    <a:lnTo>
                      <a:pt x="1298" y="1541"/>
                    </a:lnTo>
                    <a:lnTo>
                      <a:pt x="1298" y="1543"/>
                    </a:lnTo>
                    <a:lnTo>
                      <a:pt x="1298" y="1544"/>
                    </a:lnTo>
                    <a:lnTo>
                      <a:pt x="1298" y="1546"/>
                    </a:lnTo>
                    <a:lnTo>
                      <a:pt x="1300" y="1548"/>
                    </a:lnTo>
                    <a:lnTo>
                      <a:pt x="1300" y="1549"/>
                    </a:lnTo>
                    <a:lnTo>
                      <a:pt x="1300" y="1551"/>
                    </a:lnTo>
                    <a:lnTo>
                      <a:pt x="1300" y="1553"/>
                    </a:lnTo>
                    <a:lnTo>
                      <a:pt x="1298" y="1553"/>
                    </a:lnTo>
                    <a:lnTo>
                      <a:pt x="1300" y="1555"/>
                    </a:lnTo>
                    <a:lnTo>
                      <a:pt x="1298" y="1556"/>
                    </a:lnTo>
                    <a:lnTo>
                      <a:pt x="1298" y="1558"/>
                    </a:lnTo>
                    <a:lnTo>
                      <a:pt x="1298" y="1560"/>
                    </a:lnTo>
                    <a:lnTo>
                      <a:pt x="1298" y="1561"/>
                    </a:lnTo>
                    <a:lnTo>
                      <a:pt x="1297" y="1561"/>
                    </a:lnTo>
                    <a:lnTo>
                      <a:pt x="1297" y="1563"/>
                    </a:lnTo>
                    <a:lnTo>
                      <a:pt x="1295" y="1565"/>
                    </a:lnTo>
                    <a:lnTo>
                      <a:pt x="1295" y="1563"/>
                    </a:lnTo>
                    <a:lnTo>
                      <a:pt x="1295" y="1565"/>
                    </a:lnTo>
                    <a:lnTo>
                      <a:pt x="1293" y="1565"/>
                    </a:lnTo>
                    <a:lnTo>
                      <a:pt x="1292" y="1566"/>
                    </a:lnTo>
                    <a:lnTo>
                      <a:pt x="1290" y="1566"/>
                    </a:lnTo>
                    <a:lnTo>
                      <a:pt x="1290" y="1568"/>
                    </a:lnTo>
                    <a:lnTo>
                      <a:pt x="1288" y="1568"/>
                    </a:lnTo>
                    <a:lnTo>
                      <a:pt x="1287" y="1568"/>
                    </a:lnTo>
                    <a:lnTo>
                      <a:pt x="1287" y="1566"/>
                    </a:lnTo>
                    <a:lnTo>
                      <a:pt x="1285" y="1566"/>
                    </a:lnTo>
                    <a:lnTo>
                      <a:pt x="1283" y="1565"/>
                    </a:lnTo>
                    <a:lnTo>
                      <a:pt x="1281" y="1565"/>
                    </a:lnTo>
                    <a:lnTo>
                      <a:pt x="1280" y="1565"/>
                    </a:lnTo>
                    <a:lnTo>
                      <a:pt x="1280" y="1563"/>
                    </a:lnTo>
                    <a:lnTo>
                      <a:pt x="1278" y="1563"/>
                    </a:lnTo>
                    <a:lnTo>
                      <a:pt x="1276" y="1563"/>
                    </a:lnTo>
                    <a:lnTo>
                      <a:pt x="1275" y="1563"/>
                    </a:lnTo>
                    <a:lnTo>
                      <a:pt x="1273" y="1563"/>
                    </a:lnTo>
                    <a:lnTo>
                      <a:pt x="1273" y="1561"/>
                    </a:lnTo>
                    <a:lnTo>
                      <a:pt x="1271" y="1561"/>
                    </a:lnTo>
                    <a:lnTo>
                      <a:pt x="1271" y="1560"/>
                    </a:lnTo>
                    <a:lnTo>
                      <a:pt x="1270" y="1560"/>
                    </a:lnTo>
                    <a:lnTo>
                      <a:pt x="1268" y="1560"/>
                    </a:lnTo>
                    <a:lnTo>
                      <a:pt x="1268" y="1558"/>
                    </a:lnTo>
                    <a:lnTo>
                      <a:pt x="1266" y="1556"/>
                    </a:lnTo>
                    <a:lnTo>
                      <a:pt x="1268" y="1556"/>
                    </a:lnTo>
                    <a:lnTo>
                      <a:pt x="1266" y="1556"/>
                    </a:lnTo>
                    <a:lnTo>
                      <a:pt x="1266" y="1558"/>
                    </a:lnTo>
                    <a:lnTo>
                      <a:pt x="1264" y="1558"/>
                    </a:lnTo>
                    <a:lnTo>
                      <a:pt x="1264" y="1556"/>
                    </a:lnTo>
                    <a:lnTo>
                      <a:pt x="1263" y="1556"/>
                    </a:lnTo>
                    <a:lnTo>
                      <a:pt x="1263" y="1558"/>
                    </a:lnTo>
                    <a:lnTo>
                      <a:pt x="1263" y="1556"/>
                    </a:lnTo>
                    <a:lnTo>
                      <a:pt x="1261" y="1556"/>
                    </a:lnTo>
                    <a:lnTo>
                      <a:pt x="1259" y="1556"/>
                    </a:lnTo>
                    <a:lnTo>
                      <a:pt x="1259" y="1555"/>
                    </a:lnTo>
                    <a:lnTo>
                      <a:pt x="1258" y="1555"/>
                    </a:lnTo>
                    <a:lnTo>
                      <a:pt x="1258" y="1553"/>
                    </a:lnTo>
                    <a:lnTo>
                      <a:pt x="1256" y="1553"/>
                    </a:lnTo>
                    <a:lnTo>
                      <a:pt x="1256" y="1551"/>
                    </a:lnTo>
                    <a:lnTo>
                      <a:pt x="1254" y="1551"/>
                    </a:lnTo>
                    <a:lnTo>
                      <a:pt x="1254" y="1549"/>
                    </a:lnTo>
                    <a:lnTo>
                      <a:pt x="1253" y="1549"/>
                    </a:lnTo>
                    <a:lnTo>
                      <a:pt x="1253" y="1548"/>
                    </a:lnTo>
                    <a:lnTo>
                      <a:pt x="1251" y="1546"/>
                    </a:lnTo>
                    <a:lnTo>
                      <a:pt x="1251" y="1544"/>
                    </a:lnTo>
                    <a:lnTo>
                      <a:pt x="1251" y="1546"/>
                    </a:lnTo>
                    <a:lnTo>
                      <a:pt x="1249" y="1544"/>
                    </a:lnTo>
                    <a:lnTo>
                      <a:pt x="1249" y="1543"/>
                    </a:lnTo>
                    <a:lnTo>
                      <a:pt x="1249" y="1541"/>
                    </a:lnTo>
                    <a:lnTo>
                      <a:pt x="1247" y="1541"/>
                    </a:lnTo>
                    <a:lnTo>
                      <a:pt x="1247" y="1539"/>
                    </a:lnTo>
                    <a:lnTo>
                      <a:pt x="1247" y="1538"/>
                    </a:lnTo>
                    <a:lnTo>
                      <a:pt x="1249" y="1539"/>
                    </a:lnTo>
                    <a:lnTo>
                      <a:pt x="1249" y="1538"/>
                    </a:lnTo>
                    <a:lnTo>
                      <a:pt x="1249" y="1536"/>
                    </a:lnTo>
                    <a:lnTo>
                      <a:pt x="1249" y="1534"/>
                    </a:lnTo>
                    <a:lnTo>
                      <a:pt x="1251" y="1534"/>
                    </a:lnTo>
                    <a:lnTo>
                      <a:pt x="1251" y="1532"/>
                    </a:lnTo>
                    <a:lnTo>
                      <a:pt x="1253" y="1532"/>
                    </a:lnTo>
                    <a:lnTo>
                      <a:pt x="1254" y="1531"/>
                    </a:lnTo>
                    <a:lnTo>
                      <a:pt x="1256" y="1532"/>
                    </a:lnTo>
                    <a:lnTo>
                      <a:pt x="1258" y="1532"/>
                    </a:lnTo>
                    <a:lnTo>
                      <a:pt x="1259" y="1532"/>
                    </a:lnTo>
                    <a:lnTo>
                      <a:pt x="1259" y="1531"/>
                    </a:lnTo>
                    <a:lnTo>
                      <a:pt x="1259" y="1532"/>
                    </a:lnTo>
                    <a:lnTo>
                      <a:pt x="1259" y="1534"/>
                    </a:lnTo>
                    <a:lnTo>
                      <a:pt x="1261" y="1534"/>
                    </a:lnTo>
                    <a:lnTo>
                      <a:pt x="1259" y="1536"/>
                    </a:lnTo>
                    <a:lnTo>
                      <a:pt x="1261" y="1536"/>
                    </a:lnTo>
                    <a:lnTo>
                      <a:pt x="1261" y="1538"/>
                    </a:lnTo>
                    <a:lnTo>
                      <a:pt x="1259" y="1539"/>
                    </a:lnTo>
                    <a:lnTo>
                      <a:pt x="1259" y="1541"/>
                    </a:lnTo>
                    <a:lnTo>
                      <a:pt x="1258" y="1541"/>
                    </a:lnTo>
                    <a:lnTo>
                      <a:pt x="1256" y="1543"/>
                    </a:lnTo>
                    <a:lnTo>
                      <a:pt x="1254" y="1541"/>
                    </a:lnTo>
                    <a:lnTo>
                      <a:pt x="1256" y="1543"/>
                    </a:lnTo>
                    <a:lnTo>
                      <a:pt x="1258" y="1543"/>
                    </a:lnTo>
                    <a:lnTo>
                      <a:pt x="1259" y="1541"/>
                    </a:lnTo>
                    <a:lnTo>
                      <a:pt x="1261" y="1541"/>
                    </a:lnTo>
                    <a:lnTo>
                      <a:pt x="1261" y="1539"/>
                    </a:lnTo>
                    <a:lnTo>
                      <a:pt x="1263" y="1539"/>
                    </a:lnTo>
                    <a:lnTo>
                      <a:pt x="1263" y="1538"/>
                    </a:lnTo>
                    <a:lnTo>
                      <a:pt x="1263" y="1536"/>
                    </a:lnTo>
                    <a:lnTo>
                      <a:pt x="1263" y="1534"/>
                    </a:lnTo>
                    <a:lnTo>
                      <a:pt x="1263" y="1532"/>
                    </a:lnTo>
                    <a:lnTo>
                      <a:pt x="1263" y="1531"/>
                    </a:lnTo>
                    <a:lnTo>
                      <a:pt x="1264" y="1531"/>
                    </a:lnTo>
                    <a:lnTo>
                      <a:pt x="1266" y="1531"/>
                    </a:lnTo>
                    <a:lnTo>
                      <a:pt x="1268" y="1531"/>
                    </a:lnTo>
                    <a:lnTo>
                      <a:pt x="1270" y="1531"/>
                    </a:lnTo>
                    <a:lnTo>
                      <a:pt x="1270" y="1532"/>
                    </a:lnTo>
                    <a:lnTo>
                      <a:pt x="1270" y="1534"/>
                    </a:lnTo>
                    <a:lnTo>
                      <a:pt x="1270" y="1536"/>
                    </a:lnTo>
                    <a:lnTo>
                      <a:pt x="1270" y="1538"/>
                    </a:lnTo>
                    <a:lnTo>
                      <a:pt x="1270" y="1539"/>
                    </a:lnTo>
                    <a:lnTo>
                      <a:pt x="1271" y="1541"/>
                    </a:lnTo>
                    <a:lnTo>
                      <a:pt x="1271" y="1543"/>
                    </a:lnTo>
                    <a:lnTo>
                      <a:pt x="1271" y="1541"/>
                    </a:lnTo>
                    <a:lnTo>
                      <a:pt x="1270" y="1543"/>
                    </a:lnTo>
                    <a:lnTo>
                      <a:pt x="1270" y="1544"/>
                    </a:lnTo>
                    <a:lnTo>
                      <a:pt x="1268" y="1544"/>
                    </a:lnTo>
                    <a:lnTo>
                      <a:pt x="1266" y="1546"/>
                    </a:lnTo>
                    <a:lnTo>
                      <a:pt x="1264" y="1546"/>
                    </a:lnTo>
                    <a:lnTo>
                      <a:pt x="1264" y="1548"/>
                    </a:lnTo>
                    <a:lnTo>
                      <a:pt x="1263" y="1548"/>
                    </a:lnTo>
                    <a:lnTo>
                      <a:pt x="1261" y="1548"/>
                    </a:lnTo>
                    <a:lnTo>
                      <a:pt x="1263" y="1548"/>
                    </a:lnTo>
                    <a:lnTo>
                      <a:pt x="1264" y="1549"/>
                    </a:lnTo>
                    <a:lnTo>
                      <a:pt x="1266" y="1548"/>
                    </a:lnTo>
                    <a:lnTo>
                      <a:pt x="1268" y="1548"/>
                    </a:lnTo>
                    <a:lnTo>
                      <a:pt x="1270" y="1546"/>
                    </a:lnTo>
                    <a:lnTo>
                      <a:pt x="1271" y="1544"/>
                    </a:lnTo>
                    <a:lnTo>
                      <a:pt x="1273" y="1543"/>
                    </a:lnTo>
                    <a:lnTo>
                      <a:pt x="1271" y="1543"/>
                    </a:lnTo>
                    <a:lnTo>
                      <a:pt x="1271" y="1541"/>
                    </a:lnTo>
                    <a:lnTo>
                      <a:pt x="1271" y="1539"/>
                    </a:lnTo>
                    <a:lnTo>
                      <a:pt x="1273" y="1538"/>
                    </a:lnTo>
                    <a:lnTo>
                      <a:pt x="1271" y="1538"/>
                    </a:lnTo>
                    <a:lnTo>
                      <a:pt x="1271" y="1536"/>
                    </a:lnTo>
                    <a:lnTo>
                      <a:pt x="1271" y="1534"/>
                    </a:lnTo>
                    <a:lnTo>
                      <a:pt x="1273" y="1536"/>
                    </a:lnTo>
                    <a:lnTo>
                      <a:pt x="1271" y="1534"/>
                    </a:lnTo>
                    <a:lnTo>
                      <a:pt x="1271" y="1532"/>
                    </a:lnTo>
                    <a:lnTo>
                      <a:pt x="1273" y="1532"/>
                    </a:lnTo>
                    <a:lnTo>
                      <a:pt x="1273" y="1531"/>
                    </a:lnTo>
                    <a:lnTo>
                      <a:pt x="1273" y="1529"/>
                    </a:lnTo>
                    <a:lnTo>
                      <a:pt x="1275" y="1529"/>
                    </a:lnTo>
                    <a:lnTo>
                      <a:pt x="1276" y="1529"/>
                    </a:lnTo>
                    <a:lnTo>
                      <a:pt x="1278" y="1527"/>
                    </a:lnTo>
                    <a:lnTo>
                      <a:pt x="1280" y="1527"/>
                    </a:lnTo>
                    <a:lnTo>
                      <a:pt x="1280" y="1526"/>
                    </a:lnTo>
                    <a:lnTo>
                      <a:pt x="1281" y="1526"/>
                    </a:lnTo>
                    <a:lnTo>
                      <a:pt x="1283" y="1526"/>
                    </a:lnTo>
                    <a:lnTo>
                      <a:pt x="1285" y="1524"/>
                    </a:lnTo>
                    <a:lnTo>
                      <a:pt x="1287" y="1524"/>
                    </a:lnTo>
                    <a:lnTo>
                      <a:pt x="1287" y="1522"/>
                    </a:lnTo>
                    <a:lnTo>
                      <a:pt x="1287" y="1521"/>
                    </a:lnTo>
                    <a:lnTo>
                      <a:pt x="1288" y="1521"/>
                    </a:lnTo>
                    <a:lnTo>
                      <a:pt x="1288" y="1519"/>
                    </a:lnTo>
                    <a:lnTo>
                      <a:pt x="1290" y="1517"/>
                    </a:lnTo>
                    <a:lnTo>
                      <a:pt x="1290" y="1515"/>
                    </a:lnTo>
                    <a:lnTo>
                      <a:pt x="1292" y="1515"/>
                    </a:lnTo>
                    <a:lnTo>
                      <a:pt x="1292" y="1514"/>
                    </a:lnTo>
                    <a:lnTo>
                      <a:pt x="1293" y="1514"/>
                    </a:lnTo>
                    <a:lnTo>
                      <a:pt x="1293" y="1512"/>
                    </a:lnTo>
                    <a:lnTo>
                      <a:pt x="1293" y="1510"/>
                    </a:lnTo>
                    <a:lnTo>
                      <a:pt x="1293" y="1509"/>
                    </a:lnTo>
                    <a:lnTo>
                      <a:pt x="1293" y="1507"/>
                    </a:lnTo>
                    <a:lnTo>
                      <a:pt x="1292" y="1507"/>
                    </a:lnTo>
                    <a:lnTo>
                      <a:pt x="1290" y="1507"/>
                    </a:lnTo>
                    <a:lnTo>
                      <a:pt x="1290" y="1505"/>
                    </a:lnTo>
                    <a:lnTo>
                      <a:pt x="1288" y="1505"/>
                    </a:lnTo>
                    <a:lnTo>
                      <a:pt x="1287" y="1507"/>
                    </a:lnTo>
                    <a:lnTo>
                      <a:pt x="1285" y="1507"/>
                    </a:lnTo>
                    <a:lnTo>
                      <a:pt x="1285" y="1505"/>
                    </a:lnTo>
                    <a:lnTo>
                      <a:pt x="1285" y="1504"/>
                    </a:lnTo>
                    <a:lnTo>
                      <a:pt x="1285" y="1502"/>
                    </a:lnTo>
                    <a:lnTo>
                      <a:pt x="1283" y="1502"/>
                    </a:lnTo>
                    <a:lnTo>
                      <a:pt x="1283" y="1500"/>
                    </a:lnTo>
                    <a:lnTo>
                      <a:pt x="1281" y="1498"/>
                    </a:lnTo>
                    <a:lnTo>
                      <a:pt x="1281" y="1497"/>
                    </a:lnTo>
                    <a:lnTo>
                      <a:pt x="1280" y="1497"/>
                    </a:lnTo>
                    <a:lnTo>
                      <a:pt x="1280" y="1495"/>
                    </a:lnTo>
                    <a:lnTo>
                      <a:pt x="1280" y="1493"/>
                    </a:lnTo>
                    <a:lnTo>
                      <a:pt x="1278" y="1493"/>
                    </a:lnTo>
                    <a:lnTo>
                      <a:pt x="1276" y="1493"/>
                    </a:lnTo>
                    <a:lnTo>
                      <a:pt x="1275" y="1493"/>
                    </a:lnTo>
                    <a:lnTo>
                      <a:pt x="1273" y="1493"/>
                    </a:lnTo>
                    <a:lnTo>
                      <a:pt x="1271" y="1493"/>
                    </a:lnTo>
                    <a:lnTo>
                      <a:pt x="1270" y="1493"/>
                    </a:lnTo>
                    <a:lnTo>
                      <a:pt x="1270" y="1492"/>
                    </a:lnTo>
                    <a:lnTo>
                      <a:pt x="1268" y="1492"/>
                    </a:lnTo>
                    <a:lnTo>
                      <a:pt x="1266" y="1492"/>
                    </a:lnTo>
                    <a:lnTo>
                      <a:pt x="1264" y="1492"/>
                    </a:lnTo>
                    <a:lnTo>
                      <a:pt x="1264" y="1493"/>
                    </a:lnTo>
                    <a:lnTo>
                      <a:pt x="1263" y="1492"/>
                    </a:lnTo>
                    <a:lnTo>
                      <a:pt x="1263" y="1493"/>
                    </a:lnTo>
                    <a:lnTo>
                      <a:pt x="1263" y="1492"/>
                    </a:lnTo>
                    <a:lnTo>
                      <a:pt x="1263" y="1493"/>
                    </a:lnTo>
                    <a:lnTo>
                      <a:pt x="1261" y="1492"/>
                    </a:lnTo>
                    <a:lnTo>
                      <a:pt x="1259" y="1492"/>
                    </a:lnTo>
                    <a:lnTo>
                      <a:pt x="1261" y="1492"/>
                    </a:lnTo>
                    <a:lnTo>
                      <a:pt x="1259" y="1493"/>
                    </a:lnTo>
                    <a:lnTo>
                      <a:pt x="1259" y="1492"/>
                    </a:lnTo>
                    <a:lnTo>
                      <a:pt x="1259" y="1490"/>
                    </a:lnTo>
                    <a:lnTo>
                      <a:pt x="1259" y="1492"/>
                    </a:lnTo>
                    <a:lnTo>
                      <a:pt x="1258" y="1490"/>
                    </a:lnTo>
                    <a:lnTo>
                      <a:pt x="1258" y="1492"/>
                    </a:lnTo>
                    <a:lnTo>
                      <a:pt x="1256" y="1492"/>
                    </a:lnTo>
                    <a:lnTo>
                      <a:pt x="1254" y="1492"/>
                    </a:lnTo>
                    <a:lnTo>
                      <a:pt x="1253" y="1492"/>
                    </a:lnTo>
                    <a:lnTo>
                      <a:pt x="1253" y="1493"/>
                    </a:lnTo>
                    <a:lnTo>
                      <a:pt x="1251" y="1495"/>
                    </a:lnTo>
                    <a:lnTo>
                      <a:pt x="1249" y="1495"/>
                    </a:lnTo>
                    <a:lnTo>
                      <a:pt x="1249" y="1497"/>
                    </a:lnTo>
                    <a:lnTo>
                      <a:pt x="1251" y="1497"/>
                    </a:lnTo>
                    <a:lnTo>
                      <a:pt x="1249" y="1498"/>
                    </a:lnTo>
                    <a:lnTo>
                      <a:pt x="1247" y="1498"/>
                    </a:lnTo>
                    <a:lnTo>
                      <a:pt x="1247" y="1497"/>
                    </a:lnTo>
                    <a:lnTo>
                      <a:pt x="1246" y="1497"/>
                    </a:lnTo>
                    <a:lnTo>
                      <a:pt x="1244" y="1495"/>
                    </a:lnTo>
                    <a:lnTo>
                      <a:pt x="1246" y="1495"/>
                    </a:lnTo>
                    <a:lnTo>
                      <a:pt x="1246" y="1493"/>
                    </a:lnTo>
                    <a:lnTo>
                      <a:pt x="1247" y="1493"/>
                    </a:lnTo>
                    <a:lnTo>
                      <a:pt x="1247" y="1492"/>
                    </a:lnTo>
                    <a:lnTo>
                      <a:pt x="1249" y="1493"/>
                    </a:lnTo>
                    <a:lnTo>
                      <a:pt x="1251" y="1493"/>
                    </a:lnTo>
                    <a:lnTo>
                      <a:pt x="1251" y="1492"/>
                    </a:lnTo>
                    <a:lnTo>
                      <a:pt x="1251" y="1490"/>
                    </a:lnTo>
                    <a:lnTo>
                      <a:pt x="1249" y="1490"/>
                    </a:lnTo>
                    <a:lnTo>
                      <a:pt x="1249" y="1492"/>
                    </a:lnTo>
                    <a:lnTo>
                      <a:pt x="1247" y="1492"/>
                    </a:lnTo>
                    <a:lnTo>
                      <a:pt x="1246" y="1492"/>
                    </a:lnTo>
                    <a:lnTo>
                      <a:pt x="1246" y="1493"/>
                    </a:lnTo>
                    <a:lnTo>
                      <a:pt x="1244" y="1493"/>
                    </a:lnTo>
                    <a:lnTo>
                      <a:pt x="1244" y="1495"/>
                    </a:lnTo>
                    <a:lnTo>
                      <a:pt x="1242" y="1493"/>
                    </a:lnTo>
                    <a:lnTo>
                      <a:pt x="1242" y="1492"/>
                    </a:lnTo>
                    <a:lnTo>
                      <a:pt x="1244" y="1490"/>
                    </a:lnTo>
                    <a:lnTo>
                      <a:pt x="1242" y="1492"/>
                    </a:lnTo>
                    <a:lnTo>
                      <a:pt x="1241" y="1492"/>
                    </a:lnTo>
                    <a:lnTo>
                      <a:pt x="1241" y="1493"/>
                    </a:lnTo>
                    <a:lnTo>
                      <a:pt x="1239" y="1493"/>
                    </a:lnTo>
                    <a:lnTo>
                      <a:pt x="1237" y="1493"/>
                    </a:lnTo>
                    <a:lnTo>
                      <a:pt x="1236" y="1492"/>
                    </a:lnTo>
                    <a:lnTo>
                      <a:pt x="1234" y="1492"/>
                    </a:lnTo>
                    <a:lnTo>
                      <a:pt x="1236" y="1493"/>
                    </a:lnTo>
                    <a:lnTo>
                      <a:pt x="1234" y="1493"/>
                    </a:lnTo>
                    <a:lnTo>
                      <a:pt x="1236" y="1493"/>
                    </a:lnTo>
                    <a:lnTo>
                      <a:pt x="1234" y="1493"/>
                    </a:lnTo>
                    <a:lnTo>
                      <a:pt x="1234" y="1495"/>
                    </a:lnTo>
                    <a:lnTo>
                      <a:pt x="1236" y="1495"/>
                    </a:lnTo>
                    <a:lnTo>
                      <a:pt x="1234" y="1495"/>
                    </a:lnTo>
                    <a:lnTo>
                      <a:pt x="1232" y="1495"/>
                    </a:lnTo>
                    <a:lnTo>
                      <a:pt x="1234" y="1495"/>
                    </a:lnTo>
                    <a:lnTo>
                      <a:pt x="1234" y="1497"/>
                    </a:lnTo>
                    <a:lnTo>
                      <a:pt x="1234" y="1498"/>
                    </a:lnTo>
                    <a:lnTo>
                      <a:pt x="1234" y="1497"/>
                    </a:lnTo>
                    <a:lnTo>
                      <a:pt x="1236" y="1497"/>
                    </a:lnTo>
                    <a:lnTo>
                      <a:pt x="1236" y="1495"/>
                    </a:lnTo>
                    <a:lnTo>
                      <a:pt x="1237" y="1497"/>
                    </a:lnTo>
                    <a:lnTo>
                      <a:pt x="1236" y="1498"/>
                    </a:lnTo>
                    <a:lnTo>
                      <a:pt x="1237" y="1497"/>
                    </a:lnTo>
                    <a:lnTo>
                      <a:pt x="1239" y="1497"/>
                    </a:lnTo>
                    <a:lnTo>
                      <a:pt x="1237" y="1498"/>
                    </a:lnTo>
                    <a:lnTo>
                      <a:pt x="1239" y="1497"/>
                    </a:lnTo>
                    <a:lnTo>
                      <a:pt x="1239" y="1498"/>
                    </a:lnTo>
                    <a:lnTo>
                      <a:pt x="1241" y="1498"/>
                    </a:lnTo>
                    <a:lnTo>
                      <a:pt x="1241" y="1500"/>
                    </a:lnTo>
                    <a:lnTo>
                      <a:pt x="1239" y="1502"/>
                    </a:lnTo>
                    <a:lnTo>
                      <a:pt x="1239" y="1504"/>
                    </a:lnTo>
                    <a:lnTo>
                      <a:pt x="1237" y="1504"/>
                    </a:lnTo>
                    <a:lnTo>
                      <a:pt x="1236" y="1505"/>
                    </a:lnTo>
                    <a:lnTo>
                      <a:pt x="1236" y="1507"/>
                    </a:lnTo>
                    <a:lnTo>
                      <a:pt x="1234" y="1507"/>
                    </a:lnTo>
                    <a:lnTo>
                      <a:pt x="1232" y="1505"/>
                    </a:lnTo>
                    <a:lnTo>
                      <a:pt x="1232" y="1507"/>
                    </a:lnTo>
                    <a:lnTo>
                      <a:pt x="1232" y="1509"/>
                    </a:lnTo>
                    <a:lnTo>
                      <a:pt x="1230" y="1509"/>
                    </a:lnTo>
                    <a:lnTo>
                      <a:pt x="1229" y="1509"/>
                    </a:lnTo>
                    <a:lnTo>
                      <a:pt x="1229" y="1510"/>
                    </a:lnTo>
                    <a:lnTo>
                      <a:pt x="1230" y="1510"/>
                    </a:lnTo>
                    <a:lnTo>
                      <a:pt x="1230" y="1512"/>
                    </a:lnTo>
                    <a:lnTo>
                      <a:pt x="1232" y="1512"/>
                    </a:lnTo>
                    <a:lnTo>
                      <a:pt x="1230" y="1514"/>
                    </a:lnTo>
                    <a:lnTo>
                      <a:pt x="1232" y="1515"/>
                    </a:lnTo>
                    <a:lnTo>
                      <a:pt x="1230" y="1515"/>
                    </a:lnTo>
                    <a:lnTo>
                      <a:pt x="1232" y="1515"/>
                    </a:lnTo>
                    <a:lnTo>
                      <a:pt x="1232" y="1517"/>
                    </a:lnTo>
                    <a:lnTo>
                      <a:pt x="1230" y="1517"/>
                    </a:lnTo>
                    <a:lnTo>
                      <a:pt x="1230" y="1519"/>
                    </a:lnTo>
                    <a:lnTo>
                      <a:pt x="1232" y="1519"/>
                    </a:lnTo>
                    <a:lnTo>
                      <a:pt x="1230" y="1521"/>
                    </a:lnTo>
                    <a:lnTo>
                      <a:pt x="1230" y="1522"/>
                    </a:lnTo>
                    <a:lnTo>
                      <a:pt x="1229" y="1521"/>
                    </a:lnTo>
                    <a:lnTo>
                      <a:pt x="1229" y="1522"/>
                    </a:lnTo>
                    <a:lnTo>
                      <a:pt x="1227" y="1522"/>
                    </a:lnTo>
                    <a:lnTo>
                      <a:pt x="1227" y="1524"/>
                    </a:lnTo>
                    <a:lnTo>
                      <a:pt x="1225" y="1524"/>
                    </a:lnTo>
                    <a:lnTo>
                      <a:pt x="1225" y="1522"/>
                    </a:lnTo>
                    <a:lnTo>
                      <a:pt x="1224" y="1521"/>
                    </a:lnTo>
                    <a:lnTo>
                      <a:pt x="1225" y="1521"/>
                    </a:lnTo>
                    <a:lnTo>
                      <a:pt x="1225" y="1519"/>
                    </a:lnTo>
                    <a:lnTo>
                      <a:pt x="1224" y="1519"/>
                    </a:lnTo>
                    <a:lnTo>
                      <a:pt x="1224" y="1521"/>
                    </a:lnTo>
                    <a:lnTo>
                      <a:pt x="1224" y="1522"/>
                    </a:lnTo>
                    <a:lnTo>
                      <a:pt x="1224" y="1524"/>
                    </a:lnTo>
                    <a:lnTo>
                      <a:pt x="1222" y="1522"/>
                    </a:lnTo>
                    <a:lnTo>
                      <a:pt x="1220" y="1522"/>
                    </a:lnTo>
                    <a:lnTo>
                      <a:pt x="1219" y="1522"/>
                    </a:lnTo>
                    <a:lnTo>
                      <a:pt x="1219" y="1521"/>
                    </a:lnTo>
                    <a:lnTo>
                      <a:pt x="1217" y="1521"/>
                    </a:lnTo>
                    <a:lnTo>
                      <a:pt x="1219" y="1521"/>
                    </a:lnTo>
                    <a:lnTo>
                      <a:pt x="1217" y="1521"/>
                    </a:lnTo>
                    <a:lnTo>
                      <a:pt x="1215" y="1519"/>
                    </a:lnTo>
                    <a:lnTo>
                      <a:pt x="1217" y="1517"/>
                    </a:lnTo>
                    <a:lnTo>
                      <a:pt x="1219" y="1517"/>
                    </a:lnTo>
                    <a:lnTo>
                      <a:pt x="1219" y="1519"/>
                    </a:lnTo>
                    <a:lnTo>
                      <a:pt x="1220" y="1517"/>
                    </a:lnTo>
                    <a:lnTo>
                      <a:pt x="1219" y="1517"/>
                    </a:lnTo>
                    <a:lnTo>
                      <a:pt x="1217" y="1515"/>
                    </a:lnTo>
                    <a:lnTo>
                      <a:pt x="1219" y="1515"/>
                    </a:lnTo>
                    <a:lnTo>
                      <a:pt x="1220" y="1515"/>
                    </a:lnTo>
                    <a:lnTo>
                      <a:pt x="1222" y="1515"/>
                    </a:lnTo>
                    <a:lnTo>
                      <a:pt x="1222" y="1517"/>
                    </a:lnTo>
                    <a:lnTo>
                      <a:pt x="1222" y="1515"/>
                    </a:lnTo>
                    <a:lnTo>
                      <a:pt x="1220" y="1515"/>
                    </a:lnTo>
                    <a:lnTo>
                      <a:pt x="1222" y="1514"/>
                    </a:lnTo>
                    <a:lnTo>
                      <a:pt x="1222" y="1512"/>
                    </a:lnTo>
                    <a:lnTo>
                      <a:pt x="1224" y="1512"/>
                    </a:lnTo>
                    <a:lnTo>
                      <a:pt x="1224" y="1514"/>
                    </a:lnTo>
                    <a:lnTo>
                      <a:pt x="1225" y="1514"/>
                    </a:lnTo>
                    <a:lnTo>
                      <a:pt x="1224" y="1512"/>
                    </a:lnTo>
                    <a:lnTo>
                      <a:pt x="1222" y="1512"/>
                    </a:lnTo>
                    <a:lnTo>
                      <a:pt x="1222" y="1514"/>
                    </a:lnTo>
                    <a:lnTo>
                      <a:pt x="1220" y="1514"/>
                    </a:lnTo>
                    <a:lnTo>
                      <a:pt x="1220" y="1512"/>
                    </a:lnTo>
                    <a:lnTo>
                      <a:pt x="1219" y="1514"/>
                    </a:lnTo>
                    <a:lnTo>
                      <a:pt x="1219" y="1512"/>
                    </a:lnTo>
                    <a:lnTo>
                      <a:pt x="1219" y="1514"/>
                    </a:lnTo>
                    <a:lnTo>
                      <a:pt x="1219" y="1512"/>
                    </a:lnTo>
                    <a:lnTo>
                      <a:pt x="1217" y="1512"/>
                    </a:lnTo>
                    <a:lnTo>
                      <a:pt x="1219" y="1514"/>
                    </a:lnTo>
                    <a:lnTo>
                      <a:pt x="1217" y="1514"/>
                    </a:lnTo>
                    <a:lnTo>
                      <a:pt x="1219" y="1515"/>
                    </a:lnTo>
                    <a:lnTo>
                      <a:pt x="1217" y="1515"/>
                    </a:lnTo>
                    <a:lnTo>
                      <a:pt x="1215" y="1515"/>
                    </a:lnTo>
                    <a:lnTo>
                      <a:pt x="1213" y="1515"/>
                    </a:lnTo>
                    <a:lnTo>
                      <a:pt x="1213" y="1514"/>
                    </a:lnTo>
                    <a:lnTo>
                      <a:pt x="1215" y="1514"/>
                    </a:lnTo>
                    <a:lnTo>
                      <a:pt x="1217" y="1514"/>
                    </a:lnTo>
                    <a:lnTo>
                      <a:pt x="1215" y="1512"/>
                    </a:lnTo>
                    <a:lnTo>
                      <a:pt x="1213" y="1512"/>
                    </a:lnTo>
                    <a:lnTo>
                      <a:pt x="1215" y="1514"/>
                    </a:lnTo>
                    <a:lnTo>
                      <a:pt x="1213" y="1514"/>
                    </a:lnTo>
                    <a:lnTo>
                      <a:pt x="1213" y="1512"/>
                    </a:lnTo>
                    <a:lnTo>
                      <a:pt x="1212" y="1512"/>
                    </a:lnTo>
                    <a:lnTo>
                      <a:pt x="1210" y="1512"/>
                    </a:lnTo>
                    <a:lnTo>
                      <a:pt x="1208" y="1512"/>
                    </a:lnTo>
                    <a:lnTo>
                      <a:pt x="1207" y="1512"/>
                    </a:lnTo>
                    <a:lnTo>
                      <a:pt x="1205" y="1514"/>
                    </a:lnTo>
                    <a:lnTo>
                      <a:pt x="1203" y="1514"/>
                    </a:lnTo>
                    <a:lnTo>
                      <a:pt x="1203" y="1512"/>
                    </a:lnTo>
                    <a:lnTo>
                      <a:pt x="1205" y="1512"/>
                    </a:lnTo>
                    <a:lnTo>
                      <a:pt x="1205" y="1510"/>
                    </a:lnTo>
                    <a:lnTo>
                      <a:pt x="1207" y="1510"/>
                    </a:lnTo>
                    <a:lnTo>
                      <a:pt x="1208" y="1509"/>
                    </a:lnTo>
                    <a:lnTo>
                      <a:pt x="1208" y="1510"/>
                    </a:lnTo>
                    <a:lnTo>
                      <a:pt x="1210" y="1510"/>
                    </a:lnTo>
                    <a:lnTo>
                      <a:pt x="1208" y="1509"/>
                    </a:lnTo>
                    <a:lnTo>
                      <a:pt x="1210" y="1509"/>
                    </a:lnTo>
                    <a:lnTo>
                      <a:pt x="1212" y="1510"/>
                    </a:lnTo>
                    <a:lnTo>
                      <a:pt x="1212" y="1509"/>
                    </a:lnTo>
                    <a:lnTo>
                      <a:pt x="1212" y="1510"/>
                    </a:lnTo>
                    <a:lnTo>
                      <a:pt x="1213" y="1510"/>
                    </a:lnTo>
                    <a:lnTo>
                      <a:pt x="1215" y="1510"/>
                    </a:lnTo>
                    <a:lnTo>
                      <a:pt x="1215" y="1512"/>
                    </a:lnTo>
                    <a:lnTo>
                      <a:pt x="1217" y="1510"/>
                    </a:lnTo>
                    <a:lnTo>
                      <a:pt x="1217" y="1512"/>
                    </a:lnTo>
                    <a:lnTo>
                      <a:pt x="1219" y="1512"/>
                    </a:lnTo>
                    <a:lnTo>
                      <a:pt x="1219" y="1510"/>
                    </a:lnTo>
                    <a:lnTo>
                      <a:pt x="1217" y="1510"/>
                    </a:lnTo>
                    <a:lnTo>
                      <a:pt x="1215" y="1510"/>
                    </a:lnTo>
                    <a:lnTo>
                      <a:pt x="1213" y="1510"/>
                    </a:lnTo>
                    <a:lnTo>
                      <a:pt x="1212" y="1509"/>
                    </a:lnTo>
                    <a:lnTo>
                      <a:pt x="1213" y="1509"/>
                    </a:lnTo>
                    <a:lnTo>
                      <a:pt x="1213" y="1510"/>
                    </a:lnTo>
                    <a:lnTo>
                      <a:pt x="1213" y="1509"/>
                    </a:lnTo>
                    <a:lnTo>
                      <a:pt x="1212" y="1509"/>
                    </a:lnTo>
                    <a:lnTo>
                      <a:pt x="1213" y="1509"/>
                    </a:lnTo>
                    <a:lnTo>
                      <a:pt x="1212" y="1507"/>
                    </a:lnTo>
                    <a:lnTo>
                      <a:pt x="1210" y="1507"/>
                    </a:lnTo>
                    <a:lnTo>
                      <a:pt x="1212" y="1507"/>
                    </a:lnTo>
                    <a:lnTo>
                      <a:pt x="1212" y="1505"/>
                    </a:lnTo>
                    <a:lnTo>
                      <a:pt x="1213" y="1505"/>
                    </a:lnTo>
                    <a:lnTo>
                      <a:pt x="1213" y="1507"/>
                    </a:lnTo>
                    <a:lnTo>
                      <a:pt x="1215" y="1507"/>
                    </a:lnTo>
                    <a:lnTo>
                      <a:pt x="1215" y="1509"/>
                    </a:lnTo>
                    <a:lnTo>
                      <a:pt x="1213" y="1509"/>
                    </a:lnTo>
                    <a:lnTo>
                      <a:pt x="1215" y="1509"/>
                    </a:lnTo>
                    <a:lnTo>
                      <a:pt x="1215" y="1507"/>
                    </a:lnTo>
                    <a:lnTo>
                      <a:pt x="1217" y="1505"/>
                    </a:lnTo>
                    <a:lnTo>
                      <a:pt x="1219" y="1507"/>
                    </a:lnTo>
                    <a:lnTo>
                      <a:pt x="1217" y="1507"/>
                    </a:lnTo>
                    <a:lnTo>
                      <a:pt x="1217" y="1509"/>
                    </a:lnTo>
                    <a:lnTo>
                      <a:pt x="1219" y="1509"/>
                    </a:lnTo>
                    <a:lnTo>
                      <a:pt x="1219" y="1507"/>
                    </a:lnTo>
                    <a:lnTo>
                      <a:pt x="1220" y="1509"/>
                    </a:lnTo>
                    <a:lnTo>
                      <a:pt x="1219" y="1507"/>
                    </a:lnTo>
                    <a:lnTo>
                      <a:pt x="1220" y="1507"/>
                    </a:lnTo>
                    <a:lnTo>
                      <a:pt x="1222" y="1507"/>
                    </a:lnTo>
                    <a:lnTo>
                      <a:pt x="1222" y="1505"/>
                    </a:lnTo>
                    <a:lnTo>
                      <a:pt x="1222" y="1504"/>
                    </a:lnTo>
                    <a:lnTo>
                      <a:pt x="1220" y="1505"/>
                    </a:lnTo>
                    <a:lnTo>
                      <a:pt x="1220" y="1504"/>
                    </a:lnTo>
                    <a:lnTo>
                      <a:pt x="1220" y="1502"/>
                    </a:lnTo>
                    <a:lnTo>
                      <a:pt x="1220" y="1504"/>
                    </a:lnTo>
                    <a:lnTo>
                      <a:pt x="1222" y="1504"/>
                    </a:lnTo>
                    <a:lnTo>
                      <a:pt x="1220" y="1502"/>
                    </a:lnTo>
                    <a:lnTo>
                      <a:pt x="1222" y="1502"/>
                    </a:lnTo>
                    <a:lnTo>
                      <a:pt x="1222" y="1500"/>
                    </a:lnTo>
                    <a:lnTo>
                      <a:pt x="1220" y="1500"/>
                    </a:lnTo>
                    <a:lnTo>
                      <a:pt x="1219" y="1500"/>
                    </a:lnTo>
                    <a:lnTo>
                      <a:pt x="1219" y="1498"/>
                    </a:lnTo>
                    <a:lnTo>
                      <a:pt x="1219" y="1497"/>
                    </a:lnTo>
                    <a:lnTo>
                      <a:pt x="1220" y="1497"/>
                    </a:lnTo>
                    <a:lnTo>
                      <a:pt x="1219" y="1497"/>
                    </a:lnTo>
                    <a:lnTo>
                      <a:pt x="1219" y="1495"/>
                    </a:lnTo>
                    <a:lnTo>
                      <a:pt x="1217" y="1495"/>
                    </a:lnTo>
                    <a:lnTo>
                      <a:pt x="1217" y="1493"/>
                    </a:lnTo>
                    <a:lnTo>
                      <a:pt x="1217" y="1495"/>
                    </a:lnTo>
                    <a:lnTo>
                      <a:pt x="1219" y="1495"/>
                    </a:lnTo>
                    <a:lnTo>
                      <a:pt x="1217" y="1495"/>
                    </a:lnTo>
                    <a:lnTo>
                      <a:pt x="1219" y="1497"/>
                    </a:lnTo>
                    <a:lnTo>
                      <a:pt x="1219" y="1498"/>
                    </a:lnTo>
                    <a:lnTo>
                      <a:pt x="1217" y="1498"/>
                    </a:lnTo>
                    <a:lnTo>
                      <a:pt x="1217" y="1500"/>
                    </a:lnTo>
                    <a:lnTo>
                      <a:pt x="1217" y="1498"/>
                    </a:lnTo>
                    <a:lnTo>
                      <a:pt x="1215" y="1500"/>
                    </a:lnTo>
                    <a:lnTo>
                      <a:pt x="1215" y="1498"/>
                    </a:lnTo>
                    <a:lnTo>
                      <a:pt x="1215" y="1500"/>
                    </a:lnTo>
                    <a:lnTo>
                      <a:pt x="1215" y="1498"/>
                    </a:lnTo>
                    <a:lnTo>
                      <a:pt x="1215" y="1500"/>
                    </a:lnTo>
                    <a:lnTo>
                      <a:pt x="1213" y="1498"/>
                    </a:lnTo>
                    <a:lnTo>
                      <a:pt x="1213" y="1500"/>
                    </a:lnTo>
                    <a:lnTo>
                      <a:pt x="1212" y="1498"/>
                    </a:lnTo>
                    <a:lnTo>
                      <a:pt x="1212" y="1500"/>
                    </a:lnTo>
                    <a:lnTo>
                      <a:pt x="1213" y="1500"/>
                    </a:lnTo>
                    <a:lnTo>
                      <a:pt x="1213" y="1502"/>
                    </a:lnTo>
                    <a:lnTo>
                      <a:pt x="1213" y="1500"/>
                    </a:lnTo>
                    <a:lnTo>
                      <a:pt x="1212" y="1500"/>
                    </a:lnTo>
                    <a:lnTo>
                      <a:pt x="1212" y="1502"/>
                    </a:lnTo>
                    <a:lnTo>
                      <a:pt x="1210" y="1502"/>
                    </a:lnTo>
                    <a:lnTo>
                      <a:pt x="1212" y="1502"/>
                    </a:lnTo>
                    <a:lnTo>
                      <a:pt x="1210" y="1504"/>
                    </a:lnTo>
                    <a:lnTo>
                      <a:pt x="1210" y="1502"/>
                    </a:lnTo>
                    <a:lnTo>
                      <a:pt x="1210" y="1504"/>
                    </a:lnTo>
                    <a:lnTo>
                      <a:pt x="1210" y="1502"/>
                    </a:lnTo>
                    <a:lnTo>
                      <a:pt x="1208" y="1502"/>
                    </a:lnTo>
                    <a:lnTo>
                      <a:pt x="1208" y="1504"/>
                    </a:lnTo>
                    <a:lnTo>
                      <a:pt x="1208" y="1505"/>
                    </a:lnTo>
                    <a:lnTo>
                      <a:pt x="1207" y="1505"/>
                    </a:lnTo>
                    <a:lnTo>
                      <a:pt x="1208" y="1505"/>
                    </a:lnTo>
                    <a:lnTo>
                      <a:pt x="1207" y="1505"/>
                    </a:lnTo>
                    <a:lnTo>
                      <a:pt x="1207" y="1504"/>
                    </a:lnTo>
                    <a:lnTo>
                      <a:pt x="1208" y="1504"/>
                    </a:lnTo>
                    <a:lnTo>
                      <a:pt x="1207" y="1504"/>
                    </a:lnTo>
                    <a:lnTo>
                      <a:pt x="1205" y="1504"/>
                    </a:lnTo>
                    <a:lnTo>
                      <a:pt x="1207" y="1502"/>
                    </a:lnTo>
                    <a:lnTo>
                      <a:pt x="1208" y="1502"/>
                    </a:lnTo>
                    <a:lnTo>
                      <a:pt x="1208" y="1500"/>
                    </a:lnTo>
                    <a:lnTo>
                      <a:pt x="1208" y="1498"/>
                    </a:lnTo>
                    <a:lnTo>
                      <a:pt x="1208" y="1500"/>
                    </a:lnTo>
                    <a:lnTo>
                      <a:pt x="1210" y="1498"/>
                    </a:lnTo>
                    <a:lnTo>
                      <a:pt x="1208" y="1500"/>
                    </a:lnTo>
                    <a:lnTo>
                      <a:pt x="1210" y="1500"/>
                    </a:lnTo>
                    <a:lnTo>
                      <a:pt x="1210" y="1498"/>
                    </a:lnTo>
                    <a:lnTo>
                      <a:pt x="1212" y="1498"/>
                    </a:lnTo>
                    <a:lnTo>
                      <a:pt x="1210" y="1498"/>
                    </a:lnTo>
                    <a:lnTo>
                      <a:pt x="1208" y="1498"/>
                    </a:lnTo>
                    <a:lnTo>
                      <a:pt x="1208" y="1497"/>
                    </a:lnTo>
                    <a:lnTo>
                      <a:pt x="1207" y="1497"/>
                    </a:lnTo>
                    <a:lnTo>
                      <a:pt x="1208" y="1497"/>
                    </a:lnTo>
                    <a:lnTo>
                      <a:pt x="1207" y="1497"/>
                    </a:lnTo>
                    <a:lnTo>
                      <a:pt x="1208" y="1495"/>
                    </a:lnTo>
                    <a:lnTo>
                      <a:pt x="1210" y="1495"/>
                    </a:lnTo>
                    <a:lnTo>
                      <a:pt x="1208" y="1495"/>
                    </a:lnTo>
                    <a:lnTo>
                      <a:pt x="1210" y="1493"/>
                    </a:lnTo>
                    <a:lnTo>
                      <a:pt x="1210" y="1495"/>
                    </a:lnTo>
                    <a:lnTo>
                      <a:pt x="1212" y="1495"/>
                    </a:lnTo>
                    <a:lnTo>
                      <a:pt x="1210" y="1493"/>
                    </a:lnTo>
                    <a:lnTo>
                      <a:pt x="1208" y="1492"/>
                    </a:lnTo>
                    <a:lnTo>
                      <a:pt x="1210" y="1493"/>
                    </a:lnTo>
                    <a:lnTo>
                      <a:pt x="1212" y="1493"/>
                    </a:lnTo>
                    <a:lnTo>
                      <a:pt x="1212" y="1495"/>
                    </a:lnTo>
                    <a:lnTo>
                      <a:pt x="1212" y="1493"/>
                    </a:lnTo>
                    <a:lnTo>
                      <a:pt x="1212" y="1492"/>
                    </a:lnTo>
                    <a:lnTo>
                      <a:pt x="1210" y="1492"/>
                    </a:lnTo>
                    <a:lnTo>
                      <a:pt x="1212" y="1490"/>
                    </a:lnTo>
                    <a:lnTo>
                      <a:pt x="1212" y="1488"/>
                    </a:lnTo>
                    <a:lnTo>
                      <a:pt x="1212" y="1490"/>
                    </a:lnTo>
                    <a:lnTo>
                      <a:pt x="1213" y="1490"/>
                    </a:lnTo>
                    <a:lnTo>
                      <a:pt x="1215" y="1490"/>
                    </a:lnTo>
                    <a:lnTo>
                      <a:pt x="1215" y="1488"/>
                    </a:lnTo>
                    <a:lnTo>
                      <a:pt x="1213" y="1488"/>
                    </a:lnTo>
                    <a:lnTo>
                      <a:pt x="1212" y="1488"/>
                    </a:lnTo>
                    <a:lnTo>
                      <a:pt x="1212" y="1487"/>
                    </a:lnTo>
                    <a:lnTo>
                      <a:pt x="1213" y="1487"/>
                    </a:lnTo>
                    <a:lnTo>
                      <a:pt x="1213" y="1485"/>
                    </a:lnTo>
                    <a:lnTo>
                      <a:pt x="1212" y="1487"/>
                    </a:lnTo>
                    <a:lnTo>
                      <a:pt x="1212" y="1488"/>
                    </a:lnTo>
                    <a:lnTo>
                      <a:pt x="1210" y="1488"/>
                    </a:lnTo>
                    <a:lnTo>
                      <a:pt x="1210" y="1487"/>
                    </a:lnTo>
                    <a:lnTo>
                      <a:pt x="1208" y="1487"/>
                    </a:lnTo>
                    <a:lnTo>
                      <a:pt x="1208" y="1485"/>
                    </a:lnTo>
                    <a:lnTo>
                      <a:pt x="1208" y="1483"/>
                    </a:lnTo>
                    <a:lnTo>
                      <a:pt x="1210" y="1483"/>
                    </a:lnTo>
                    <a:lnTo>
                      <a:pt x="1210" y="1485"/>
                    </a:lnTo>
                    <a:lnTo>
                      <a:pt x="1212" y="1483"/>
                    </a:lnTo>
                    <a:lnTo>
                      <a:pt x="1210" y="1481"/>
                    </a:lnTo>
                    <a:lnTo>
                      <a:pt x="1212" y="1481"/>
                    </a:lnTo>
                    <a:lnTo>
                      <a:pt x="1210" y="1481"/>
                    </a:lnTo>
                    <a:lnTo>
                      <a:pt x="1212" y="1481"/>
                    </a:lnTo>
                    <a:lnTo>
                      <a:pt x="1212" y="1480"/>
                    </a:lnTo>
                    <a:lnTo>
                      <a:pt x="1210" y="1480"/>
                    </a:lnTo>
                    <a:lnTo>
                      <a:pt x="1210" y="1478"/>
                    </a:lnTo>
                    <a:lnTo>
                      <a:pt x="1210" y="1476"/>
                    </a:lnTo>
                    <a:lnTo>
                      <a:pt x="1212" y="1475"/>
                    </a:lnTo>
                    <a:lnTo>
                      <a:pt x="1212" y="1473"/>
                    </a:lnTo>
                    <a:lnTo>
                      <a:pt x="1210" y="1473"/>
                    </a:lnTo>
                    <a:lnTo>
                      <a:pt x="1210" y="1471"/>
                    </a:lnTo>
                    <a:lnTo>
                      <a:pt x="1208" y="1471"/>
                    </a:lnTo>
                    <a:lnTo>
                      <a:pt x="1208" y="1470"/>
                    </a:lnTo>
                    <a:lnTo>
                      <a:pt x="1207" y="1468"/>
                    </a:lnTo>
                    <a:lnTo>
                      <a:pt x="1207" y="1466"/>
                    </a:lnTo>
                    <a:lnTo>
                      <a:pt x="1205" y="1466"/>
                    </a:lnTo>
                    <a:lnTo>
                      <a:pt x="1205" y="1464"/>
                    </a:lnTo>
                    <a:lnTo>
                      <a:pt x="1207" y="1463"/>
                    </a:lnTo>
                    <a:lnTo>
                      <a:pt x="1208" y="1464"/>
                    </a:lnTo>
                    <a:lnTo>
                      <a:pt x="1207" y="1466"/>
                    </a:lnTo>
                    <a:lnTo>
                      <a:pt x="1208" y="1466"/>
                    </a:lnTo>
                    <a:lnTo>
                      <a:pt x="1208" y="1468"/>
                    </a:lnTo>
                    <a:lnTo>
                      <a:pt x="1210" y="1468"/>
                    </a:lnTo>
                    <a:lnTo>
                      <a:pt x="1210" y="1470"/>
                    </a:lnTo>
                    <a:lnTo>
                      <a:pt x="1210" y="1471"/>
                    </a:lnTo>
                    <a:lnTo>
                      <a:pt x="1210" y="1470"/>
                    </a:lnTo>
                    <a:lnTo>
                      <a:pt x="1212" y="1470"/>
                    </a:lnTo>
                    <a:lnTo>
                      <a:pt x="1212" y="1471"/>
                    </a:lnTo>
                    <a:lnTo>
                      <a:pt x="1212" y="1473"/>
                    </a:lnTo>
                    <a:lnTo>
                      <a:pt x="1213" y="1473"/>
                    </a:lnTo>
                    <a:lnTo>
                      <a:pt x="1213" y="1471"/>
                    </a:lnTo>
                    <a:lnTo>
                      <a:pt x="1213" y="1470"/>
                    </a:lnTo>
                    <a:lnTo>
                      <a:pt x="1212" y="1470"/>
                    </a:lnTo>
                    <a:lnTo>
                      <a:pt x="1213" y="1470"/>
                    </a:lnTo>
                    <a:lnTo>
                      <a:pt x="1215" y="1470"/>
                    </a:lnTo>
                    <a:lnTo>
                      <a:pt x="1217" y="1471"/>
                    </a:lnTo>
                    <a:lnTo>
                      <a:pt x="1217" y="1473"/>
                    </a:lnTo>
                    <a:lnTo>
                      <a:pt x="1219" y="1475"/>
                    </a:lnTo>
                    <a:lnTo>
                      <a:pt x="1219" y="1473"/>
                    </a:lnTo>
                    <a:lnTo>
                      <a:pt x="1220" y="1473"/>
                    </a:lnTo>
                    <a:lnTo>
                      <a:pt x="1222" y="1473"/>
                    </a:lnTo>
                    <a:lnTo>
                      <a:pt x="1222" y="1471"/>
                    </a:lnTo>
                    <a:lnTo>
                      <a:pt x="1222" y="1470"/>
                    </a:lnTo>
                    <a:lnTo>
                      <a:pt x="1222" y="1468"/>
                    </a:lnTo>
                    <a:lnTo>
                      <a:pt x="1224" y="1468"/>
                    </a:lnTo>
                    <a:lnTo>
                      <a:pt x="1225" y="1470"/>
                    </a:lnTo>
                    <a:lnTo>
                      <a:pt x="1225" y="1468"/>
                    </a:lnTo>
                    <a:lnTo>
                      <a:pt x="1227" y="1466"/>
                    </a:lnTo>
                    <a:lnTo>
                      <a:pt x="1229" y="1466"/>
                    </a:lnTo>
                    <a:lnTo>
                      <a:pt x="1230" y="1464"/>
                    </a:lnTo>
                    <a:lnTo>
                      <a:pt x="1230" y="1466"/>
                    </a:lnTo>
                    <a:lnTo>
                      <a:pt x="1229" y="1466"/>
                    </a:lnTo>
                    <a:lnTo>
                      <a:pt x="1229" y="1468"/>
                    </a:lnTo>
                    <a:lnTo>
                      <a:pt x="1230" y="1470"/>
                    </a:lnTo>
                    <a:lnTo>
                      <a:pt x="1229" y="1470"/>
                    </a:lnTo>
                    <a:lnTo>
                      <a:pt x="1227" y="1470"/>
                    </a:lnTo>
                    <a:lnTo>
                      <a:pt x="1229" y="1471"/>
                    </a:lnTo>
                    <a:lnTo>
                      <a:pt x="1227" y="1471"/>
                    </a:lnTo>
                    <a:lnTo>
                      <a:pt x="1227" y="1473"/>
                    </a:lnTo>
                    <a:lnTo>
                      <a:pt x="1227" y="1475"/>
                    </a:lnTo>
                    <a:lnTo>
                      <a:pt x="1225" y="1475"/>
                    </a:lnTo>
                    <a:lnTo>
                      <a:pt x="1227" y="1475"/>
                    </a:lnTo>
                    <a:lnTo>
                      <a:pt x="1227" y="1473"/>
                    </a:lnTo>
                    <a:lnTo>
                      <a:pt x="1229" y="1471"/>
                    </a:lnTo>
                    <a:lnTo>
                      <a:pt x="1230" y="1471"/>
                    </a:lnTo>
                    <a:lnTo>
                      <a:pt x="1230" y="1473"/>
                    </a:lnTo>
                    <a:lnTo>
                      <a:pt x="1232" y="1473"/>
                    </a:lnTo>
                    <a:lnTo>
                      <a:pt x="1232" y="1475"/>
                    </a:lnTo>
                    <a:lnTo>
                      <a:pt x="1232" y="1476"/>
                    </a:lnTo>
                    <a:lnTo>
                      <a:pt x="1230" y="1476"/>
                    </a:lnTo>
                    <a:lnTo>
                      <a:pt x="1230" y="1478"/>
                    </a:lnTo>
                    <a:lnTo>
                      <a:pt x="1232" y="1478"/>
                    </a:lnTo>
                    <a:lnTo>
                      <a:pt x="1234" y="1478"/>
                    </a:lnTo>
                    <a:lnTo>
                      <a:pt x="1232" y="1476"/>
                    </a:lnTo>
                    <a:lnTo>
                      <a:pt x="1234" y="1476"/>
                    </a:lnTo>
                    <a:lnTo>
                      <a:pt x="1234" y="1478"/>
                    </a:lnTo>
                    <a:lnTo>
                      <a:pt x="1234" y="1476"/>
                    </a:lnTo>
                    <a:lnTo>
                      <a:pt x="1234" y="1475"/>
                    </a:lnTo>
                    <a:lnTo>
                      <a:pt x="1234" y="1473"/>
                    </a:lnTo>
                    <a:lnTo>
                      <a:pt x="1236" y="1473"/>
                    </a:lnTo>
                    <a:lnTo>
                      <a:pt x="1236" y="1471"/>
                    </a:lnTo>
                    <a:lnTo>
                      <a:pt x="1236" y="1470"/>
                    </a:lnTo>
                    <a:lnTo>
                      <a:pt x="1236" y="1468"/>
                    </a:lnTo>
                    <a:lnTo>
                      <a:pt x="1237" y="1468"/>
                    </a:lnTo>
                    <a:lnTo>
                      <a:pt x="1236" y="1466"/>
                    </a:lnTo>
                    <a:lnTo>
                      <a:pt x="1237" y="1468"/>
                    </a:lnTo>
                    <a:lnTo>
                      <a:pt x="1237" y="1466"/>
                    </a:lnTo>
                    <a:lnTo>
                      <a:pt x="1239" y="1466"/>
                    </a:lnTo>
                    <a:lnTo>
                      <a:pt x="1237" y="1464"/>
                    </a:lnTo>
                    <a:lnTo>
                      <a:pt x="1237" y="1466"/>
                    </a:lnTo>
                    <a:lnTo>
                      <a:pt x="1236" y="1466"/>
                    </a:lnTo>
                    <a:lnTo>
                      <a:pt x="1236" y="1468"/>
                    </a:lnTo>
                    <a:lnTo>
                      <a:pt x="1234" y="1470"/>
                    </a:lnTo>
                    <a:lnTo>
                      <a:pt x="1234" y="1471"/>
                    </a:lnTo>
                    <a:lnTo>
                      <a:pt x="1234" y="1473"/>
                    </a:lnTo>
                    <a:lnTo>
                      <a:pt x="1232" y="1475"/>
                    </a:lnTo>
                    <a:lnTo>
                      <a:pt x="1232" y="1473"/>
                    </a:lnTo>
                    <a:lnTo>
                      <a:pt x="1232" y="1471"/>
                    </a:lnTo>
                    <a:lnTo>
                      <a:pt x="1230" y="1471"/>
                    </a:lnTo>
                    <a:lnTo>
                      <a:pt x="1230" y="1470"/>
                    </a:lnTo>
                    <a:lnTo>
                      <a:pt x="1230" y="1468"/>
                    </a:lnTo>
                    <a:lnTo>
                      <a:pt x="1230" y="1466"/>
                    </a:lnTo>
                    <a:lnTo>
                      <a:pt x="1232" y="1466"/>
                    </a:lnTo>
                    <a:lnTo>
                      <a:pt x="1230" y="1466"/>
                    </a:lnTo>
                    <a:lnTo>
                      <a:pt x="1232" y="1464"/>
                    </a:lnTo>
                    <a:lnTo>
                      <a:pt x="1232" y="1466"/>
                    </a:lnTo>
                    <a:lnTo>
                      <a:pt x="1234" y="1466"/>
                    </a:lnTo>
                    <a:lnTo>
                      <a:pt x="1234" y="1464"/>
                    </a:lnTo>
                    <a:lnTo>
                      <a:pt x="1234" y="1463"/>
                    </a:lnTo>
                    <a:lnTo>
                      <a:pt x="1234" y="1461"/>
                    </a:lnTo>
                    <a:lnTo>
                      <a:pt x="1234" y="1459"/>
                    </a:lnTo>
                    <a:lnTo>
                      <a:pt x="1236" y="1459"/>
                    </a:lnTo>
                    <a:lnTo>
                      <a:pt x="1237" y="1459"/>
                    </a:lnTo>
                    <a:lnTo>
                      <a:pt x="1239" y="1459"/>
                    </a:lnTo>
                    <a:lnTo>
                      <a:pt x="1239" y="1461"/>
                    </a:lnTo>
                    <a:lnTo>
                      <a:pt x="1239" y="1463"/>
                    </a:lnTo>
                    <a:lnTo>
                      <a:pt x="1239" y="1464"/>
                    </a:lnTo>
                    <a:lnTo>
                      <a:pt x="1239" y="1466"/>
                    </a:lnTo>
                    <a:lnTo>
                      <a:pt x="1241" y="1468"/>
                    </a:lnTo>
                    <a:lnTo>
                      <a:pt x="1241" y="1470"/>
                    </a:lnTo>
                    <a:lnTo>
                      <a:pt x="1242" y="1470"/>
                    </a:lnTo>
                    <a:lnTo>
                      <a:pt x="1242" y="1468"/>
                    </a:lnTo>
                    <a:lnTo>
                      <a:pt x="1244" y="1470"/>
                    </a:lnTo>
                    <a:lnTo>
                      <a:pt x="1244" y="1471"/>
                    </a:lnTo>
                    <a:lnTo>
                      <a:pt x="1244" y="1473"/>
                    </a:lnTo>
                    <a:lnTo>
                      <a:pt x="1246" y="1473"/>
                    </a:lnTo>
                    <a:lnTo>
                      <a:pt x="1246" y="1475"/>
                    </a:lnTo>
                    <a:lnTo>
                      <a:pt x="1244" y="1475"/>
                    </a:lnTo>
                    <a:lnTo>
                      <a:pt x="1244" y="1476"/>
                    </a:lnTo>
                    <a:lnTo>
                      <a:pt x="1244" y="1478"/>
                    </a:lnTo>
                    <a:lnTo>
                      <a:pt x="1244" y="1480"/>
                    </a:lnTo>
                    <a:lnTo>
                      <a:pt x="1244" y="1481"/>
                    </a:lnTo>
                    <a:lnTo>
                      <a:pt x="1242" y="1481"/>
                    </a:lnTo>
                    <a:lnTo>
                      <a:pt x="1244" y="1481"/>
                    </a:lnTo>
                    <a:lnTo>
                      <a:pt x="1242" y="1481"/>
                    </a:lnTo>
                    <a:lnTo>
                      <a:pt x="1242" y="1483"/>
                    </a:lnTo>
                    <a:lnTo>
                      <a:pt x="1242" y="1481"/>
                    </a:lnTo>
                    <a:lnTo>
                      <a:pt x="1242" y="1483"/>
                    </a:lnTo>
                    <a:lnTo>
                      <a:pt x="1241" y="1481"/>
                    </a:lnTo>
                    <a:lnTo>
                      <a:pt x="1239" y="1481"/>
                    </a:lnTo>
                    <a:lnTo>
                      <a:pt x="1239" y="1483"/>
                    </a:lnTo>
                    <a:lnTo>
                      <a:pt x="1239" y="1485"/>
                    </a:lnTo>
                    <a:lnTo>
                      <a:pt x="1237" y="1483"/>
                    </a:lnTo>
                    <a:lnTo>
                      <a:pt x="1237" y="1485"/>
                    </a:lnTo>
                    <a:lnTo>
                      <a:pt x="1236" y="1485"/>
                    </a:lnTo>
                    <a:lnTo>
                      <a:pt x="1236" y="1487"/>
                    </a:lnTo>
                    <a:lnTo>
                      <a:pt x="1234" y="1487"/>
                    </a:lnTo>
                    <a:lnTo>
                      <a:pt x="1234" y="1488"/>
                    </a:lnTo>
                    <a:lnTo>
                      <a:pt x="1232" y="1488"/>
                    </a:lnTo>
                    <a:lnTo>
                      <a:pt x="1230" y="1488"/>
                    </a:lnTo>
                    <a:lnTo>
                      <a:pt x="1230" y="1490"/>
                    </a:lnTo>
                    <a:lnTo>
                      <a:pt x="1232" y="1490"/>
                    </a:lnTo>
                    <a:lnTo>
                      <a:pt x="1234" y="1488"/>
                    </a:lnTo>
                    <a:lnTo>
                      <a:pt x="1236" y="1488"/>
                    </a:lnTo>
                    <a:lnTo>
                      <a:pt x="1236" y="1487"/>
                    </a:lnTo>
                    <a:lnTo>
                      <a:pt x="1237" y="1487"/>
                    </a:lnTo>
                    <a:lnTo>
                      <a:pt x="1239" y="1487"/>
                    </a:lnTo>
                    <a:lnTo>
                      <a:pt x="1241" y="1487"/>
                    </a:lnTo>
                    <a:lnTo>
                      <a:pt x="1242" y="1487"/>
                    </a:lnTo>
                    <a:lnTo>
                      <a:pt x="1241" y="1487"/>
                    </a:lnTo>
                    <a:lnTo>
                      <a:pt x="1242" y="1487"/>
                    </a:lnTo>
                    <a:lnTo>
                      <a:pt x="1241" y="1485"/>
                    </a:lnTo>
                    <a:lnTo>
                      <a:pt x="1242" y="1485"/>
                    </a:lnTo>
                    <a:lnTo>
                      <a:pt x="1242" y="1483"/>
                    </a:lnTo>
                    <a:lnTo>
                      <a:pt x="1242" y="1485"/>
                    </a:lnTo>
                    <a:lnTo>
                      <a:pt x="1244" y="1483"/>
                    </a:lnTo>
                    <a:lnTo>
                      <a:pt x="1244" y="1485"/>
                    </a:lnTo>
                    <a:lnTo>
                      <a:pt x="1244" y="1483"/>
                    </a:lnTo>
                    <a:lnTo>
                      <a:pt x="1246" y="1483"/>
                    </a:lnTo>
                    <a:lnTo>
                      <a:pt x="1246" y="1481"/>
                    </a:lnTo>
                    <a:lnTo>
                      <a:pt x="1246" y="1480"/>
                    </a:lnTo>
                    <a:lnTo>
                      <a:pt x="1247" y="1478"/>
                    </a:lnTo>
                    <a:lnTo>
                      <a:pt x="1246" y="1478"/>
                    </a:lnTo>
                    <a:lnTo>
                      <a:pt x="1246" y="1476"/>
                    </a:lnTo>
                    <a:lnTo>
                      <a:pt x="1247" y="1476"/>
                    </a:lnTo>
                    <a:lnTo>
                      <a:pt x="1247" y="1475"/>
                    </a:lnTo>
                    <a:lnTo>
                      <a:pt x="1247" y="1473"/>
                    </a:lnTo>
                    <a:lnTo>
                      <a:pt x="1246" y="1473"/>
                    </a:lnTo>
                    <a:lnTo>
                      <a:pt x="1246" y="1471"/>
                    </a:lnTo>
                    <a:lnTo>
                      <a:pt x="1244" y="1470"/>
                    </a:lnTo>
                    <a:lnTo>
                      <a:pt x="1244" y="1468"/>
                    </a:lnTo>
                    <a:lnTo>
                      <a:pt x="1242" y="1466"/>
                    </a:lnTo>
                    <a:lnTo>
                      <a:pt x="1242" y="1464"/>
                    </a:lnTo>
                    <a:lnTo>
                      <a:pt x="1241" y="1464"/>
                    </a:lnTo>
                    <a:lnTo>
                      <a:pt x="1241" y="1463"/>
                    </a:lnTo>
                    <a:lnTo>
                      <a:pt x="1241" y="1461"/>
                    </a:lnTo>
                    <a:lnTo>
                      <a:pt x="1241" y="1459"/>
                    </a:lnTo>
                    <a:lnTo>
                      <a:pt x="1242" y="1458"/>
                    </a:lnTo>
                    <a:lnTo>
                      <a:pt x="1244" y="1458"/>
                    </a:lnTo>
                    <a:lnTo>
                      <a:pt x="1242" y="1458"/>
                    </a:lnTo>
                    <a:lnTo>
                      <a:pt x="1244" y="1459"/>
                    </a:lnTo>
                    <a:lnTo>
                      <a:pt x="1244" y="1461"/>
                    </a:lnTo>
                    <a:lnTo>
                      <a:pt x="1244" y="1459"/>
                    </a:lnTo>
                    <a:lnTo>
                      <a:pt x="1244" y="1458"/>
                    </a:lnTo>
                    <a:lnTo>
                      <a:pt x="1246" y="1459"/>
                    </a:lnTo>
                    <a:lnTo>
                      <a:pt x="1247" y="1458"/>
                    </a:lnTo>
                    <a:lnTo>
                      <a:pt x="1249" y="1458"/>
                    </a:lnTo>
                    <a:lnTo>
                      <a:pt x="1247" y="1456"/>
                    </a:lnTo>
                    <a:lnTo>
                      <a:pt x="1247" y="1454"/>
                    </a:lnTo>
                    <a:lnTo>
                      <a:pt x="1246" y="1453"/>
                    </a:lnTo>
                    <a:lnTo>
                      <a:pt x="1247" y="1453"/>
                    </a:lnTo>
                    <a:lnTo>
                      <a:pt x="1247" y="1451"/>
                    </a:lnTo>
                    <a:lnTo>
                      <a:pt x="1249" y="1449"/>
                    </a:lnTo>
                    <a:lnTo>
                      <a:pt x="1247" y="1449"/>
                    </a:lnTo>
                    <a:lnTo>
                      <a:pt x="1247" y="1447"/>
                    </a:lnTo>
                    <a:lnTo>
                      <a:pt x="1246" y="1447"/>
                    </a:lnTo>
                    <a:lnTo>
                      <a:pt x="1247" y="1446"/>
                    </a:lnTo>
                    <a:lnTo>
                      <a:pt x="1246" y="1446"/>
                    </a:lnTo>
                    <a:lnTo>
                      <a:pt x="1244" y="1444"/>
                    </a:lnTo>
                    <a:lnTo>
                      <a:pt x="1242" y="1444"/>
                    </a:lnTo>
                    <a:lnTo>
                      <a:pt x="1242" y="1442"/>
                    </a:lnTo>
                    <a:lnTo>
                      <a:pt x="1242" y="1441"/>
                    </a:lnTo>
                    <a:lnTo>
                      <a:pt x="1241" y="1441"/>
                    </a:lnTo>
                    <a:lnTo>
                      <a:pt x="1241" y="1439"/>
                    </a:lnTo>
                    <a:lnTo>
                      <a:pt x="1241" y="1441"/>
                    </a:lnTo>
                    <a:lnTo>
                      <a:pt x="1242" y="1441"/>
                    </a:lnTo>
                    <a:lnTo>
                      <a:pt x="1241" y="1442"/>
                    </a:lnTo>
                    <a:lnTo>
                      <a:pt x="1241" y="1441"/>
                    </a:lnTo>
                    <a:lnTo>
                      <a:pt x="1241" y="1439"/>
                    </a:lnTo>
                    <a:lnTo>
                      <a:pt x="1239" y="1439"/>
                    </a:lnTo>
                    <a:lnTo>
                      <a:pt x="1241" y="1439"/>
                    </a:lnTo>
                    <a:lnTo>
                      <a:pt x="1239" y="1439"/>
                    </a:lnTo>
                    <a:lnTo>
                      <a:pt x="1239" y="1437"/>
                    </a:lnTo>
                    <a:lnTo>
                      <a:pt x="1237" y="1439"/>
                    </a:lnTo>
                    <a:lnTo>
                      <a:pt x="1237" y="1437"/>
                    </a:lnTo>
                    <a:lnTo>
                      <a:pt x="1236" y="1437"/>
                    </a:lnTo>
                    <a:lnTo>
                      <a:pt x="1234" y="1437"/>
                    </a:lnTo>
                    <a:lnTo>
                      <a:pt x="1232" y="1435"/>
                    </a:lnTo>
                    <a:lnTo>
                      <a:pt x="1232" y="1434"/>
                    </a:lnTo>
                    <a:lnTo>
                      <a:pt x="1230" y="1434"/>
                    </a:lnTo>
                    <a:lnTo>
                      <a:pt x="1229" y="1434"/>
                    </a:lnTo>
                    <a:lnTo>
                      <a:pt x="1227" y="1434"/>
                    </a:lnTo>
                    <a:lnTo>
                      <a:pt x="1227" y="1432"/>
                    </a:lnTo>
                    <a:lnTo>
                      <a:pt x="1227" y="1430"/>
                    </a:lnTo>
                    <a:lnTo>
                      <a:pt x="1225" y="1432"/>
                    </a:lnTo>
                    <a:lnTo>
                      <a:pt x="1224" y="1432"/>
                    </a:lnTo>
                    <a:lnTo>
                      <a:pt x="1224" y="1434"/>
                    </a:lnTo>
                    <a:lnTo>
                      <a:pt x="1222" y="1432"/>
                    </a:lnTo>
                    <a:lnTo>
                      <a:pt x="1222" y="1434"/>
                    </a:lnTo>
                    <a:lnTo>
                      <a:pt x="1222" y="1432"/>
                    </a:lnTo>
                    <a:lnTo>
                      <a:pt x="1220" y="1434"/>
                    </a:lnTo>
                    <a:lnTo>
                      <a:pt x="1222" y="1434"/>
                    </a:lnTo>
                    <a:lnTo>
                      <a:pt x="1222" y="1435"/>
                    </a:lnTo>
                    <a:lnTo>
                      <a:pt x="1224" y="1435"/>
                    </a:lnTo>
                    <a:lnTo>
                      <a:pt x="1224" y="1434"/>
                    </a:lnTo>
                    <a:lnTo>
                      <a:pt x="1225" y="1434"/>
                    </a:lnTo>
                    <a:lnTo>
                      <a:pt x="1227" y="1434"/>
                    </a:lnTo>
                    <a:lnTo>
                      <a:pt x="1229" y="1434"/>
                    </a:lnTo>
                    <a:lnTo>
                      <a:pt x="1229" y="1435"/>
                    </a:lnTo>
                    <a:lnTo>
                      <a:pt x="1229" y="1437"/>
                    </a:lnTo>
                    <a:lnTo>
                      <a:pt x="1227" y="1439"/>
                    </a:lnTo>
                    <a:lnTo>
                      <a:pt x="1225" y="1439"/>
                    </a:lnTo>
                    <a:lnTo>
                      <a:pt x="1225" y="1441"/>
                    </a:lnTo>
                    <a:lnTo>
                      <a:pt x="1227" y="1439"/>
                    </a:lnTo>
                    <a:lnTo>
                      <a:pt x="1229" y="1439"/>
                    </a:lnTo>
                    <a:lnTo>
                      <a:pt x="1229" y="1437"/>
                    </a:lnTo>
                    <a:lnTo>
                      <a:pt x="1229" y="1435"/>
                    </a:lnTo>
                    <a:lnTo>
                      <a:pt x="1230" y="1435"/>
                    </a:lnTo>
                    <a:lnTo>
                      <a:pt x="1232" y="1437"/>
                    </a:lnTo>
                    <a:lnTo>
                      <a:pt x="1232" y="1439"/>
                    </a:lnTo>
                    <a:lnTo>
                      <a:pt x="1234" y="1437"/>
                    </a:lnTo>
                    <a:lnTo>
                      <a:pt x="1234" y="1439"/>
                    </a:lnTo>
                    <a:lnTo>
                      <a:pt x="1236" y="1441"/>
                    </a:lnTo>
                    <a:lnTo>
                      <a:pt x="1236" y="1439"/>
                    </a:lnTo>
                    <a:lnTo>
                      <a:pt x="1237" y="1439"/>
                    </a:lnTo>
                    <a:lnTo>
                      <a:pt x="1237" y="1441"/>
                    </a:lnTo>
                    <a:lnTo>
                      <a:pt x="1239" y="1441"/>
                    </a:lnTo>
                    <a:lnTo>
                      <a:pt x="1239" y="1442"/>
                    </a:lnTo>
                    <a:lnTo>
                      <a:pt x="1241" y="1444"/>
                    </a:lnTo>
                    <a:lnTo>
                      <a:pt x="1241" y="1446"/>
                    </a:lnTo>
                    <a:lnTo>
                      <a:pt x="1242" y="1444"/>
                    </a:lnTo>
                    <a:lnTo>
                      <a:pt x="1242" y="1446"/>
                    </a:lnTo>
                    <a:lnTo>
                      <a:pt x="1244" y="1446"/>
                    </a:lnTo>
                    <a:lnTo>
                      <a:pt x="1246" y="1446"/>
                    </a:lnTo>
                    <a:lnTo>
                      <a:pt x="1246" y="1447"/>
                    </a:lnTo>
                    <a:lnTo>
                      <a:pt x="1246" y="1449"/>
                    </a:lnTo>
                    <a:lnTo>
                      <a:pt x="1244" y="1451"/>
                    </a:lnTo>
                    <a:lnTo>
                      <a:pt x="1244" y="1453"/>
                    </a:lnTo>
                    <a:lnTo>
                      <a:pt x="1242" y="1453"/>
                    </a:lnTo>
                    <a:lnTo>
                      <a:pt x="1241" y="1453"/>
                    </a:lnTo>
                    <a:lnTo>
                      <a:pt x="1239" y="1451"/>
                    </a:lnTo>
                    <a:lnTo>
                      <a:pt x="1239" y="1453"/>
                    </a:lnTo>
                    <a:lnTo>
                      <a:pt x="1239" y="1451"/>
                    </a:lnTo>
                    <a:lnTo>
                      <a:pt x="1237" y="1451"/>
                    </a:lnTo>
                    <a:lnTo>
                      <a:pt x="1237" y="1449"/>
                    </a:lnTo>
                    <a:lnTo>
                      <a:pt x="1236" y="1449"/>
                    </a:lnTo>
                    <a:lnTo>
                      <a:pt x="1234" y="1447"/>
                    </a:lnTo>
                    <a:lnTo>
                      <a:pt x="1234" y="1449"/>
                    </a:lnTo>
                    <a:lnTo>
                      <a:pt x="1232" y="1447"/>
                    </a:lnTo>
                    <a:lnTo>
                      <a:pt x="1232" y="1449"/>
                    </a:lnTo>
                    <a:lnTo>
                      <a:pt x="1230" y="1449"/>
                    </a:lnTo>
                    <a:lnTo>
                      <a:pt x="1230" y="1447"/>
                    </a:lnTo>
                    <a:lnTo>
                      <a:pt x="1230" y="1446"/>
                    </a:lnTo>
                    <a:lnTo>
                      <a:pt x="1229" y="1446"/>
                    </a:lnTo>
                    <a:lnTo>
                      <a:pt x="1227" y="1446"/>
                    </a:lnTo>
                    <a:lnTo>
                      <a:pt x="1227" y="1444"/>
                    </a:lnTo>
                    <a:lnTo>
                      <a:pt x="1227" y="1446"/>
                    </a:lnTo>
                    <a:lnTo>
                      <a:pt x="1225" y="1446"/>
                    </a:lnTo>
                    <a:lnTo>
                      <a:pt x="1225" y="1444"/>
                    </a:lnTo>
                    <a:lnTo>
                      <a:pt x="1224" y="1444"/>
                    </a:lnTo>
                    <a:lnTo>
                      <a:pt x="1224" y="1442"/>
                    </a:lnTo>
                    <a:lnTo>
                      <a:pt x="1224" y="1441"/>
                    </a:lnTo>
                    <a:lnTo>
                      <a:pt x="1222" y="1441"/>
                    </a:lnTo>
                    <a:lnTo>
                      <a:pt x="1220" y="1439"/>
                    </a:lnTo>
                    <a:lnTo>
                      <a:pt x="1220" y="1441"/>
                    </a:lnTo>
                    <a:lnTo>
                      <a:pt x="1222" y="1441"/>
                    </a:lnTo>
                    <a:lnTo>
                      <a:pt x="1222" y="1442"/>
                    </a:lnTo>
                    <a:lnTo>
                      <a:pt x="1222" y="1444"/>
                    </a:lnTo>
                    <a:lnTo>
                      <a:pt x="1220" y="1444"/>
                    </a:lnTo>
                    <a:lnTo>
                      <a:pt x="1220" y="1446"/>
                    </a:lnTo>
                    <a:lnTo>
                      <a:pt x="1222" y="1444"/>
                    </a:lnTo>
                    <a:lnTo>
                      <a:pt x="1224" y="1446"/>
                    </a:lnTo>
                    <a:lnTo>
                      <a:pt x="1225" y="1446"/>
                    </a:lnTo>
                    <a:lnTo>
                      <a:pt x="1227" y="1446"/>
                    </a:lnTo>
                    <a:lnTo>
                      <a:pt x="1229" y="1447"/>
                    </a:lnTo>
                    <a:lnTo>
                      <a:pt x="1229" y="1449"/>
                    </a:lnTo>
                    <a:lnTo>
                      <a:pt x="1230" y="1451"/>
                    </a:lnTo>
                    <a:lnTo>
                      <a:pt x="1229" y="1451"/>
                    </a:lnTo>
                    <a:lnTo>
                      <a:pt x="1229" y="1449"/>
                    </a:lnTo>
                    <a:lnTo>
                      <a:pt x="1227" y="1447"/>
                    </a:lnTo>
                    <a:lnTo>
                      <a:pt x="1225" y="1449"/>
                    </a:lnTo>
                    <a:lnTo>
                      <a:pt x="1224" y="1449"/>
                    </a:lnTo>
                    <a:lnTo>
                      <a:pt x="1225" y="1451"/>
                    </a:lnTo>
                    <a:lnTo>
                      <a:pt x="1225" y="1449"/>
                    </a:lnTo>
                    <a:lnTo>
                      <a:pt x="1227" y="1449"/>
                    </a:lnTo>
                    <a:lnTo>
                      <a:pt x="1229" y="1449"/>
                    </a:lnTo>
                    <a:lnTo>
                      <a:pt x="1229" y="1451"/>
                    </a:lnTo>
                    <a:lnTo>
                      <a:pt x="1229" y="1453"/>
                    </a:lnTo>
                    <a:lnTo>
                      <a:pt x="1227" y="1453"/>
                    </a:lnTo>
                    <a:lnTo>
                      <a:pt x="1227" y="1454"/>
                    </a:lnTo>
                    <a:lnTo>
                      <a:pt x="1225" y="1454"/>
                    </a:lnTo>
                    <a:lnTo>
                      <a:pt x="1225" y="1456"/>
                    </a:lnTo>
                    <a:lnTo>
                      <a:pt x="1224" y="1454"/>
                    </a:lnTo>
                    <a:lnTo>
                      <a:pt x="1224" y="1456"/>
                    </a:lnTo>
                    <a:lnTo>
                      <a:pt x="1224" y="1454"/>
                    </a:lnTo>
                    <a:lnTo>
                      <a:pt x="1222" y="1456"/>
                    </a:lnTo>
                    <a:lnTo>
                      <a:pt x="1224" y="1456"/>
                    </a:lnTo>
                    <a:lnTo>
                      <a:pt x="1225" y="1456"/>
                    </a:lnTo>
                    <a:lnTo>
                      <a:pt x="1227" y="1456"/>
                    </a:lnTo>
                    <a:lnTo>
                      <a:pt x="1227" y="1454"/>
                    </a:lnTo>
                    <a:lnTo>
                      <a:pt x="1229" y="1454"/>
                    </a:lnTo>
                    <a:lnTo>
                      <a:pt x="1229" y="1453"/>
                    </a:lnTo>
                    <a:lnTo>
                      <a:pt x="1230" y="1453"/>
                    </a:lnTo>
                    <a:lnTo>
                      <a:pt x="1230" y="1451"/>
                    </a:lnTo>
                    <a:lnTo>
                      <a:pt x="1232" y="1453"/>
                    </a:lnTo>
                    <a:lnTo>
                      <a:pt x="1232" y="1454"/>
                    </a:lnTo>
                    <a:lnTo>
                      <a:pt x="1232" y="1453"/>
                    </a:lnTo>
                    <a:lnTo>
                      <a:pt x="1232" y="1454"/>
                    </a:lnTo>
                    <a:lnTo>
                      <a:pt x="1232" y="1456"/>
                    </a:lnTo>
                    <a:lnTo>
                      <a:pt x="1230" y="1456"/>
                    </a:lnTo>
                    <a:lnTo>
                      <a:pt x="1229" y="1458"/>
                    </a:lnTo>
                    <a:lnTo>
                      <a:pt x="1227" y="1458"/>
                    </a:lnTo>
                    <a:lnTo>
                      <a:pt x="1225" y="1459"/>
                    </a:lnTo>
                    <a:lnTo>
                      <a:pt x="1225" y="1461"/>
                    </a:lnTo>
                    <a:lnTo>
                      <a:pt x="1225" y="1463"/>
                    </a:lnTo>
                    <a:lnTo>
                      <a:pt x="1225" y="1464"/>
                    </a:lnTo>
                    <a:lnTo>
                      <a:pt x="1225" y="1466"/>
                    </a:lnTo>
                    <a:lnTo>
                      <a:pt x="1225" y="1468"/>
                    </a:lnTo>
                    <a:lnTo>
                      <a:pt x="1224" y="1468"/>
                    </a:lnTo>
                    <a:lnTo>
                      <a:pt x="1222" y="1468"/>
                    </a:lnTo>
                    <a:lnTo>
                      <a:pt x="1222" y="1466"/>
                    </a:lnTo>
                    <a:lnTo>
                      <a:pt x="1222" y="1464"/>
                    </a:lnTo>
                    <a:lnTo>
                      <a:pt x="1222" y="1463"/>
                    </a:lnTo>
                    <a:lnTo>
                      <a:pt x="1222" y="1461"/>
                    </a:lnTo>
                    <a:lnTo>
                      <a:pt x="1220" y="1459"/>
                    </a:lnTo>
                    <a:lnTo>
                      <a:pt x="1222" y="1458"/>
                    </a:lnTo>
                    <a:lnTo>
                      <a:pt x="1220" y="1456"/>
                    </a:lnTo>
                    <a:lnTo>
                      <a:pt x="1220" y="1458"/>
                    </a:lnTo>
                    <a:lnTo>
                      <a:pt x="1220" y="1456"/>
                    </a:lnTo>
                    <a:lnTo>
                      <a:pt x="1222" y="1456"/>
                    </a:lnTo>
                    <a:lnTo>
                      <a:pt x="1220" y="1454"/>
                    </a:lnTo>
                    <a:lnTo>
                      <a:pt x="1220" y="1453"/>
                    </a:lnTo>
                    <a:lnTo>
                      <a:pt x="1220" y="1451"/>
                    </a:lnTo>
                    <a:lnTo>
                      <a:pt x="1220" y="1449"/>
                    </a:lnTo>
                    <a:lnTo>
                      <a:pt x="1219" y="1449"/>
                    </a:lnTo>
                    <a:lnTo>
                      <a:pt x="1219" y="1447"/>
                    </a:lnTo>
                    <a:lnTo>
                      <a:pt x="1219" y="1446"/>
                    </a:lnTo>
                    <a:lnTo>
                      <a:pt x="1217" y="1444"/>
                    </a:lnTo>
                    <a:lnTo>
                      <a:pt x="1217" y="1442"/>
                    </a:lnTo>
                    <a:lnTo>
                      <a:pt x="1217" y="1444"/>
                    </a:lnTo>
                    <a:lnTo>
                      <a:pt x="1217" y="1446"/>
                    </a:lnTo>
                    <a:lnTo>
                      <a:pt x="1219" y="1446"/>
                    </a:lnTo>
                    <a:lnTo>
                      <a:pt x="1219" y="1447"/>
                    </a:lnTo>
                    <a:lnTo>
                      <a:pt x="1219" y="1449"/>
                    </a:lnTo>
                    <a:lnTo>
                      <a:pt x="1219" y="1451"/>
                    </a:lnTo>
                    <a:lnTo>
                      <a:pt x="1219" y="1453"/>
                    </a:lnTo>
                    <a:lnTo>
                      <a:pt x="1220" y="1454"/>
                    </a:lnTo>
                    <a:lnTo>
                      <a:pt x="1219" y="1453"/>
                    </a:lnTo>
                    <a:lnTo>
                      <a:pt x="1219" y="1454"/>
                    </a:lnTo>
                    <a:lnTo>
                      <a:pt x="1220" y="1454"/>
                    </a:lnTo>
                    <a:lnTo>
                      <a:pt x="1219" y="1456"/>
                    </a:lnTo>
                    <a:lnTo>
                      <a:pt x="1220" y="1458"/>
                    </a:lnTo>
                    <a:lnTo>
                      <a:pt x="1220" y="1459"/>
                    </a:lnTo>
                    <a:lnTo>
                      <a:pt x="1220" y="1461"/>
                    </a:lnTo>
                    <a:lnTo>
                      <a:pt x="1220" y="1463"/>
                    </a:lnTo>
                    <a:lnTo>
                      <a:pt x="1220" y="1464"/>
                    </a:lnTo>
                    <a:lnTo>
                      <a:pt x="1220" y="1466"/>
                    </a:lnTo>
                    <a:lnTo>
                      <a:pt x="1222" y="1468"/>
                    </a:lnTo>
                    <a:lnTo>
                      <a:pt x="1220" y="1470"/>
                    </a:lnTo>
                    <a:lnTo>
                      <a:pt x="1220" y="1471"/>
                    </a:lnTo>
                    <a:lnTo>
                      <a:pt x="1219" y="1471"/>
                    </a:lnTo>
                    <a:lnTo>
                      <a:pt x="1219" y="1470"/>
                    </a:lnTo>
                    <a:lnTo>
                      <a:pt x="1217" y="1470"/>
                    </a:lnTo>
                    <a:lnTo>
                      <a:pt x="1217" y="1468"/>
                    </a:lnTo>
                    <a:lnTo>
                      <a:pt x="1215" y="1468"/>
                    </a:lnTo>
                    <a:lnTo>
                      <a:pt x="1215" y="1466"/>
                    </a:lnTo>
                    <a:lnTo>
                      <a:pt x="1213" y="1466"/>
                    </a:lnTo>
                    <a:lnTo>
                      <a:pt x="1212" y="1464"/>
                    </a:lnTo>
                    <a:lnTo>
                      <a:pt x="1212" y="1463"/>
                    </a:lnTo>
                    <a:lnTo>
                      <a:pt x="1210" y="1463"/>
                    </a:lnTo>
                    <a:lnTo>
                      <a:pt x="1212" y="1463"/>
                    </a:lnTo>
                    <a:lnTo>
                      <a:pt x="1210" y="1463"/>
                    </a:lnTo>
                    <a:lnTo>
                      <a:pt x="1210" y="1461"/>
                    </a:lnTo>
                    <a:lnTo>
                      <a:pt x="1210" y="1459"/>
                    </a:lnTo>
                    <a:lnTo>
                      <a:pt x="1210" y="1458"/>
                    </a:lnTo>
                    <a:lnTo>
                      <a:pt x="1212" y="1458"/>
                    </a:lnTo>
                    <a:lnTo>
                      <a:pt x="1210" y="1458"/>
                    </a:lnTo>
                    <a:lnTo>
                      <a:pt x="1210" y="1456"/>
                    </a:lnTo>
                    <a:lnTo>
                      <a:pt x="1208" y="1456"/>
                    </a:lnTo>
                    <a:lnTo>
                      <a:pt x="1208" y="1454"/>
                    </a:lnTo>
                    <a:lnTo>
                      <a:pt x="1208" y="1453"/>
                    </a:lnTo>
                    <a:lnTo>
                      <a:pt x="1208" y="1451"/>
                    </a:lnTo>
                    <a:lnTo>
                      <a:pt x="1210" y="1453"/>
                    </a:lnTo>
                    <a:lnTo>
                      <a:pt x="1210" y="1451"/>
                    </a:lnTo>
                    <a:lnTo>
                      <a:pt x="1210" y="1453"/>
                    </a:lnTo>
                    <a:lnTo>
                      <a:pt x="1210" y="1454"/>
                    </a:lnTo>
                    <a:lnTo>
                      <a:pt x="1212" y="1454"/>
                    </a:lnTo>
                    <a:lnTo>
                      <a:pt x="1212" y="1456"/>
                    </a:lnTo>
                    <a:lnTo>
                      <a:pt x="1213" y="1458"/>
                    </a:lnTo>
                    <a:lnTo>
                      <a:pt x="1213" y="1459"/>
                    </a:lnTo>
                    <a:lnTo>
                      <a:pt x="1212" y="1458"/>
                    </a:lnTo>
                    <a:lnTo>
                      <a:pt x="1212" y="1459"/>
                    </a:lnTo>
                    <a:lnTo>
                      <a:pt x="1213" y="1459"/>
                    </a:lnTo>
                    <a:lnTo>
                      <a:pt x="1215" y="1461"/>
                    </a:lnTo>
                    <a:lnTo>
                      <a:pt x="1215" y="1463"/>
                    </a:lnTo>
                    <a:lnTo>
                      <a:pt x="1217" y="1464"/>
                    </a:lnTo>
                    <a:lnTo>
                      <a:pt x="1217" y="1463"/>
                    </a:lnTo>
                    <a:lnTo>
                      <a:pt x="1215" y="1461"/>
                    </a:lnTo>
                    <a:lnTo>
                      <a:pt x="1215" y="1459"/>
                    </a:lnTo>
                    <a:lnTo>
                      <a:pt x="1215" y="1458"/>
                    </a:lnTo>
                    <a:lnTo>
                      <a:pt x="1213" y="1458"/>
                    </a:lnTo>
                    <a:lnTo>
                      <a:pt x="1215" y="1456"/>
                    </a:lnTo>
                    <a:lnTo>
                      <a:pt x="1213" y="1456"/>
                    </a:lnTo>
                    <a:lnTo>
                      <a:pt x="1213" y="1454"/>
                    </a:lnTo>
                    <a:lnTo>
                      <a:pt x="1212" y="1453"/>
                    </a:lnTo>
                    <a:lnTo>
                      <a:pt x="1212" y="1451"/>
                    </a:lnTo>
                    <a:lnTo>
                      <a:pt x="1213" y="1451"/>
                    </a:lnTo>
                    <a:lnTo>
                      <a:pt x="1212" y="1451"/>
                    </a:lnTo>
                    <a:lnTo>
                      <a:pt x="1212" y="1449"/>
                    </a:lnTo>
                    <a:lnTo>
                      <a:pt x="1210" y="1449"/>
                    </a:lnTo>
                    <a:lnTo>
                      <a:pt x="1210" y="1447"/>
                    </a:lnTo>
                    <a:lnTo>
                      <a:pt x="1212" y="1447"/>
                    </a:lnTo>
                    <a:lnTo>
                      <a:pt x="1213" y="1447"/>
                    </a:lnTo>
                    <a:lnTo>
                      <a:pt x="1213" y="1446"/>
                    </a:lnTo>
                    <a:lnTo>
                      <a:pt x="1215" y="1444"/>
                    </a:lnTo>
                    <a:lnTo>
                      <a:pt x="1213" y="1444"/>
                    </a:lnTo>
                    <a:lnTo>
                      <a:pt x="1213" y="1446"/>
                    </a:lnTo>
                    <a:lnTo>
                      <a:pt x="1212" y="1446"/>
                    </a:lnTo>
                    <a:lnTo>
                      <a:pt x="1212" y="1447"/>
                    </a:lnTo>
                    <a:lnTo>
                      <a:pt x="1212" y="1446"/>
                    </a:lnTo>
                    <a:lnTo>
                      <a:pt x="1212" y="1444"/>
                    </a:lnTo>
                    <a:lnTo>
                      <a:pt x="1212" y="1446"/>
                    </a:lnTo>
                    <a:lnTo>
                      <a:pt x="1210" y="1447"/>
                    </a:lnTo>
                    <a:lnTo>
                      <a:pt x="1210" y="1446"/>
                    </a:lnTo>
                    <a:lnTo>
                      <a:pt x="1208" y="1446"/>
                    </a:lnTo>
                    <a:lnTo>
                      <a:pt x="1208" y="1444"/>
                    </a:lnTo>
                    <a:lnTo>
                      <a:pt x="1208" y="1442"/>
                    </a:lnTo>
                    <a:lnTo>
                      <a:pt x="1208" y="1444"/>
                    </a:lnTo>
                    <a:lnTo>
                      <a:pt x="1208" y="1446"/>
                    </a:lnTo>
                    <a:lnTo>
                      <a:pt x="1208" y="1447"/>
                    </a:lnTo>
                    <a:lnTo>
                      <a:pt x="1207" y="1447"/>
                    </a:lnTo>
                    <a:lnTo>
                      <a:pt x="1207" y="1449"/>
                    </a:lnTo>
                    <a:lnTo>
                      <a:pt x="1207" y="1451"/>
                    </a:lnTo>
                    <a:lnTo>
                      <a:pt x="1205" y="1449"/>
                    </a:lnTo>
                    <a:lnTo>
                      <a:pt x="1205" y="1447"/>
                    </a:lnTo>
                    <a:lnTo>
                      <a:pt x="1205" y="1446"/>
                    </a:lnTo>
                    <a:lnTo>
                      <a:pt x="1203" y="1446"/>
                    </a:lnTo>
                    <a:lnTo>
                      <a:pt x="1203" y="1444"/>
                    </a:lnTo>
                    <a:lnTo>
                      <a:pt x="1202" y="1444"/>
                    </a:lnTo>
                    <a:lnTo>
                      <a:pt x="1203" y="1442"/>
                    </a:lnTo>
                    <a:lnTo>
                      <a:pt x="1205" y="1442"/>
                    </a:lnTo>
                    <a:lnTo>
                      <a:pt x="1203" y="1442"/>
                    </a:lnTo>
                    <a:lnTo>
                      <a:pt x="1202" y="1442"/>
                    </a:lnTo>
                    <a:lnTo>
                      <a:pt x="1200" y="1442"/>
                    </a:lnTo>
                    <a:lnTo>
                      <a:pt x="1200" y="1441"/>
                    </a:lnTo>
                    <a:lnTo>
                      <a:pt x="1198" y="1441"/>
                    </a:lnTo>
                    <a:lnTo>
                      <a:pt x="1200" y="1441"/>
                    </a:lnTo>
                    <a:lnTo>
                      <a:pt x="1200" y="1439"/>
                    </a:lnTo>
                    <a:lnTo>
                      <a:pt x="1202" y="1439"/>
                    </a:lnTo>
                    <a:lnTo>
                      <a:pt x="1203" y="1439"/>
                    </a:lnTo>
                    <a:lnTo>
                      <a:pt x="1202" y="1439"/>
                    </a:lnTo>
                    <a:lnTo>
                      <a:pt x="1202" y="1437"/>
                    </a:lnTo>
                    <a:lnTo>
                      <a:pt x="1203" y="1437"/>
                    </a:lnTo>
                    <a:lnTo>
                      <a:pt x="1202" y="1437"/>
                    </a:lnTo>
                    <a:lnTo>
                      <a:pt x="1203" y="1435"/>
                    </a:lnTo>
                    <a:lnTo>
                      <a:pt x="1202" y="1437"/>
                    </a:lnTo>
                    <a:lnTo>
                      <a:pt x="1202" y="1435"/>
                    </a:lnTo>
                    <a:lnTo>
                      <a:pt x="1200" y="1437"/>
                    </a:lnTo>
                    <a:lnTo>
                      <a:pt x="1200" y="1439"/>
                    </a:lnTo>
                    <a:lnTo>
                      <a:pt x="1200" y="1437"/>
                    </a:lnTo>
                    <a:lnTo>
                      <a:pt x="1200" y="1435"/>
                    </a:lnTo>
                    <a:lnTo>
                      <a:pt x="1198" y="1435"/>
                    </a:lnTo>
                    <a:lnTo>
                      <a:pt x="1200" y="1435"/>
                    </a:lnTo>
                    <a:lnTo>
                      <a:pt x="1198" y="1435"/>
                    </a:lnTo>
                    <a:lnTo>
                      <a:pt x="1198" y="1434"/>
                    </a:lnTo>
                    <a:lnTo>
                      <a:pt x="1198" y="1435"/>
                    </a:lnTo>
                    <a:lnTo>
                      <a:pt x="1198" y="1434"/>
                    </a:lnTo>
                    <a:lnTo>
                      <a:pt x="1196" y="1435"/>
                    </a:lnTo>
                    <a:lnTo>
                      <a:pt x="1196" y="1434"/>
                    </a:lnTo>
                    <a:lnTo>
                      <a:pt x="1198" y="1432"/>
                    </a:lnTo>
                    <a:lnTo>
                      <a:pt x="1198" y="1434"/>
                    </a:lnTo>
                    <a:lnTo>
                      <a:pt x="1198" y="1432"/>
                    </a:lnTo>
                    <a:lnTo>
                      <a:pt x="1200" y="1432"/>
                    </a:lnTo>
                    <a:lnTo>
                      <a:pt x="1198" y="1432"/>
                    </a:lnTo>
                    <a:lnTo>
                      <a:pt x="1198" y="1430"/>
                    </a:lnTo>
                    <a:lnTo>
                      <a:pt x="1200" y="1430"/>
                    </a:lnTo>
                    <a:lnTo>
                      <a:pt x="1198" y="1430"/>
                    </a:lnTo>
                    <a:lnTo>
                      <a:pt x="1198" y="1429"/>
                    </a:lnTo>
                    <a:lnTo>
                      <a:pt x="1200" y="1429"/>
                    </a:lnTo>
                    <a:lnTo>
                      <a:pt x="1200" y="1427"/>
                    </a:lnTo>
                    <a:lnTo>
                      <a:pt x="1200" y="1429"/>
                    </a:lnTo>
                    <a:lnTo>
                      <a:pt x="1202" y="1429"/>
                    </a:lnTo>
                    <a:lnTo>
                      <a:pt x="1203" y="1429"/>
                    </a:lnTo>
                    <a:lnTo>
                      <a:pt x="1203" y="1430"/>
                    </a:lnTo>
                    <a:lnTo>
                      <a:pt x="1203" y="1432"/>
                    </a:lnTo>
                    <a:lnTo>
                      <a:pt x="1205" y="1432"/>
                    </a:lnTo>
                    <a:lnTo>
                      <a:pt x="1205" y="1434"/>
                    </a:lnTo>
                    <a:lnTo>
                      <a:pt x="1205" y="1432"/>
                    </a:lnTo>
                    <a:lnTo>
                      <a:pt x="1205" y="1430"/>
                    </a:lnTo>
                    <a:lnTo>
                      <a:pt x="1205" y="1432"/>
                    </a:lnTo>
                    <a:lnTo>
                      <a:pt x="1207" y="1434"/>
                    </a:lnTo>
                    <a:lnTo>
                      <a:pt x="1207" y="1435"/>
                    </a:lnTo>
                    <a:lnTo>
                      <a:pt x="1208" y="1437"/>
                    </a:lnTo>
                    <a:lnTo>
                      <a:pt x="1208" y="1439"/>
                    </a:lnTo>
                    <a:lnTo>
                      <a:pt x="1208" y="1441"/>
                    </a:lnTo>
                    <a:lnTo>
                      <a:pt x="1208" y="1442"/>
                    </a:lnTo>
                    <a:lnTo>
                      <a:pt x="1210" y="1441"/>
                    </a:lnTo>
                    <a:lnTo>
                      <a:pt x="1208" y="1439"/>
                    </a:lnTo>
                    <a:lnTo>
                      <a:pt x="1208" y="1437"/>
                    </a:lnTo>
                    <a:lnTo>
                      <a:pt x="1208" y="1435"/>
                    </a:lnTo>
                    <a:lnTo>
                      <a:pt x="1207" y="1434"/>
                    </a:lnTo>
                    <a:lnTo>
                      <a:pt x="1207" y="1435"/>
                    </a:lnTo>
                    <a:lnTo>
                      <a:pt x="1208" y="1435"/>
                    </a:lnTo>
                    <a:lnTo>
                      <a:pt x="1210" y="1435"/>
                    </a:lnTo>
                    <a:lnTo>
                      <a:pt x="1210" y="1437"/>
                    </a:lnTo>
                    <a:lnTo>
                      <a:pt x="1210" y="1435"/>
                    </a:lnTo>
                    <a:lnTo>
                      <a:pt x="1208" y="1435"/>
                    </a:lnTo>
                    <a:lnTo>
                      <a:pt x="1208" y="1434"/>
                    </a:lnTo>
                    <a:lnTo>
                      <a:pt x="1208" y="1432"/>
                    </a:lnTo>
                    <a:lnTo>
                      <a:pt x="1210" y="1432"/>
                    </a:lnTo>
                    <a:lnTo>
                      <a:pt x="1212" y="1432"/>
                    </a:lnTo>
                    <a:lnTo>
                      <a:pt x="1210" y="1432"/>
                    </a:lnTo>
                    <a:lnTo>
                      <a:pt x="1208" y="1432"/>
                    </a:lnTo>
                    <a:lnTo>
                      <a:pt x="1207" y="1430"/>
                    </a:lnTo>
                    <a:lnTo>
                      <a:pt x="1207" y="1429"/>
                    </a:lnTo>
                    <a:lnTo>
                      <a:pt x="1207" y="1427"/>
                    </a:lnTo>
                    <a:lnTo>
                      <a:pt x="1207" y="1425"/>
                    </a:lnTo>
                    <a:lnTo>
                      <a:pt x="1207" y="1427"/>
                    </a:lnTo>
                    <a:lnTo>
                      <a:pt x="1207" y="1425"/>
                    </a:lnTo>
                    <a:lnTo>
                      <a:pt x="1207" y="1424"/>
                    </a:lnTo>
                    <a:lnTo>
                      <a:pt x="1205" y="1422"/>
                    </a:lnTo>
                    <a:lnTo>
                      <a:pt x="1203" y="1420"/>
                    </a:lnTo>
                    <a:lnTo>
                      <a:pt x="1203" y="1418"/>
                    </a:lnTo>
                    <a:lnTo>
                      <a:pt x="1205" y="1418"/>
                    </a:lnTo>
                    <a:lnTo>
                      <a:pt x="1207" y="1418"/>
                    </a:lnTo>
                    <a:lnTo>
                      <a:pt x="1207" y="1420"/>
                    </a:lnTo>
                    <a:lnTo>
                      <a:pt x="1207" y="1422"/>
                    </a:lnTo>
                    <a:lnTo>
                      <a:pt x="1208" y="1422"/>
                    </a:lnTo>
                    <a:lnTo>
                      <a:pt x="1207" y="1422"/>
                    </a:lnTo>
                    <a:lnTo>
                      <a:pt x="1207" y="1420"/>
                    </a:lnTo>
                    <a:lnTo>
                      <a:pt x="1207" y="1418"/>
                    </a:lnTo>
                    <a:lnTo>
                      <a:pt x="1208" y="1418"/>
                    </a:lnTo>
                    <a:lnTo>
                      <a:pt x="1207" y="1418"/>
                    </a:lnTo>
                    <a:lnTo>
                      <a:pt x="1207" y="1417"/>
                    </a:lnTo>
                    <a:lnTo>
                      <a:pt x="1207" y="1415"/>
                    </a:lnTo>
                    <a:lnTo>
                      <a:pt x="1207" y="1417"/>
                    </a:lnTo>
                    <a:lnTo>
                      <a:pt x="1205" y="1417"/>
                    </a:lnTo>
                    <a:lnTo>
                      <a:pt x="1205" y="1415"/>
                    </a:lnTo>
                    <a:lnTo>
                      <a:pt x="1203" y="1413"/>
                    </a:lnTo>
                    <a:lnTo>
                      <a:pt x="1203" y="1412"/>
                    </a:lnTo>
                    <a:lnTo>
                      <a:pt x="1202" y="1412"/>
                    </a:lnTo>
                    <a:lnTo>
                      <a:pt x="1203" y="1412"/>
                    </a:lnTo>
                    <a:lnTo>
                      <a:pt x="1203" y="1413"/>
                    </a:lnTo>
                    <a:lnTo>
                      <a:pt x="1203" y="1415"/>
                    </a:lnTo>
                    <a:lnTo>
                      <a:pt x="1205" y="1415"/>
                    </a:lnTo>
                    <a:lnTo>
                      <a:pt x="1205" y="1417"/>
                    </a:lnTo>
                    <a:lnTo>
                      <a:pt x="1205" y="1418"/>
                    </a:lnTo>
                    <a:lnTo>
                      <a:pt x="1203" y="1418"/>
                    </a:lnTo>
                    <a:lnTo>
                      <a:pt x="1202" y="1420"/>
                    </a:lnTo>
                    <a:lnTo>
                      <a:pt x="1200" y="1422"/>
                    </a:lnTo>
                    <a:lnTo>
                      <a:pt x="1198" y="1420"/>
                    </a:lnTo>
                    <a:lnTo>
                      <a:pt x="1198" y="1418"/>
                    </a:lnTo>
                    <a:lnTo>
                      <a:pt x="1198" y="1417"/>
                    </a:lnTo>
                    <a:lnTo>
                      <a:pt x="1198" y="1415"/>
                    </a:lnTo>
                    <a:lnTo>
                      <a:pt x="1196" y="1415"/>
                    </a:lnTo>
                    <a:lnTo>
                      <a:pt x="1196" y="1413"/>
                    </a:lnTo>
                    <a:lnTo>
                      <a:pt x="1196" y="1415"/>
                    </a:lnTo>
                    <a:lnTo>
                      <a:pt x="1196" y="1417"/>
                    </a:lnTo>
                    <a:lnTo>
                      <a:pt x="1196" y="1418"/>
                    </a:lnTo>
                    <a:lnTo>
                      <a:pt x="1195" y="1418"/>
                    </a:lnTo>
                    <a:lnTo>
                      <a:pt x="1193" y="1418"/>
                    </a:lnTo>
                    <a:lnTo>
                      <a:pt x="1191" y="1417"/>
                    </a:lnTo>
                    <a:lnTo>
                      <a:pt x="1193" y="1415"/>
                    </a:lnTo>
                    <a:lnTo>
                      <a:pt x="1191" y="1413"/>
                    </a:lnTo>
                    <a:lnTo>
                      <a:pt x="1193" y="1413"/>
                    </a:lnTo>
                    <a:lnTo>
                      <a:pt x="1191" y="1413"/>
                    </a:lnTo>
                    <a:lnTo>
                      <a:pt x="1191" y="1412"/>
                    </a:lnTo>
                    <a:lnTo>
                      <a:pt x="1191" y="1410"/>
                    </a:lnTo>
                    <a:lnTo>
                      <a:pt x="1191" y="1412"/>
                    </a:lnTo>
                    <a:lnTo>
                      <a:pt x="1191" y="1410"/>
                    </a:lnTo>
                    <a:lnTo>
                      <a:pt x="1193" y="1410"/>
                    </a:lnTo>
                    <a:lnTo>
                      <a:pt x="1193" y="1408"/>
                    </a:lnTo>
                    <a:lnTo>
                      <a:pt x="1195" y="1408"/>
                    </a:lnTo>
                    <a:lnTo>
                      <a:pt x="1195" y="1407"/>
                    </a:lnTo>
                    <a:lnTo>
                      <a:pt x="1193" y="1407"/>
                    </a:lnTo>
                    <a:lnTo>
                      <a:pt x="1195" y="1405"/>
                    </a:lnTo>
                    <a:lnTo>
                      <a:pt x="1193" y="1407"/>
                    </a:lnTo>
                    <a:lnTo>
                      <a:pt x="1193" y="1405"/>
                    </a:lnTo>
                    <a:lnTo>
                      <a:pt x="1193" y="1407"/>
                    </a:lnTo>
                    <a:lnTo>
                      <a:pt x="1191" y="1408"/>
                    </a:lnTo>
                    <a:lnTo>
                      <a:pt x="1193" y="1407"/>
                    </a:lnTo>
                    <a:lnTo>
                      <a:pt x="1191" y="1407"/>
                    </a:lnTo>
                    <a:lnTo>
                      <a:pt x="1191" y="1408"/>
                    </a:lnTo>
                    <a:lnTo>
                      <a:pt x="1191" y="1410"/>
                    </a:lnTo>
                    <a:lnTo>
                      <a:pt x="1190" y="1410"/>
                    </a:lnTo>
                    <a:lnTo>
                      <a:pt x="1190" y="1408"/>
                    </a:lnTo>
                    <a:lnTo>
                      <a:pt x="1188" y="1408"/>
                    </a:lnTo>
                    <a:lnTo>
                      <a:pt x="1190" y="1407"/>
                    </a:lnTo>
                    <a:lnTo>
                      <a:pt x="1188" y="1407"/>
                    </a:lnTo>
                    <a:lnTo>
                      <a:pt x="1188" y="1405"/>
                    </a:lnTo>
                    <a:lnTo>
                      <a:pt x="1188" y="1403"/>
                    </a:lnTo>
                    <a:lnTo>
                      <a:pt x="1190" y="1403"/>
                    </a:lnTo>
                    <a:lnTo>
                      <a:pt x="1190" y="1401"/>
                    </a:lnTo>
                    <a:lnTo>
                      <a:pt x="1191" y="1401"/>
                    </a:lnTo>
                    <a:lnTo>
                      <a:pt x="1193" y="1400"/>
                    </a:lnTo>
                    <a:lnTo>
                      <a:pt x="1195" y="1401"/>
                    </a:lnTo>
                    <a:lnTo>
                      <a:pt x="1196" y="1401"/>
                    </a:lnTo>
                    <a:lnTo>
                      <a:pt x="1198" y="1401"/>
                    </a:lnTo>
                    <a:lnTo>
                      <a:pt x="1198" y="1403"/>
                    </a:lnTo>
                    <a:lnTo>
                      <a:pt x="1198" y="1401"/>
                    </a:lnTo>
                    <a:lnTo>
                      <a:pt x="1200" y="1400"/>
                    </a:lnTo>
                    <a:lnTo>
                      <a:pt x="1202" y="1401"/>
                    </a:lnTo>
                    <a:lnTo>
                      <a:pt x="1202" y="1403"/>
                    </a:lnTo>
                    <a:lnTo>
                      <a:pt x="1200" y="1405"/>
                    </a:lnTo>
                    <a:lnTo>
                      <a:pt x="1202" y="1405"/>
                    </a:lnTo>
                    <a:lnTo>
                      <a:pt x="1203" y="1405"/>
                    </a:lnTo>
                    <a:lnTo>
                      <a:pt x="1205" y="1405"/>
                    </a:lnTo>
                    <a:lnTo>
                      <a:pt x="1207" y="1405"/>
                    </a:lnTo>
                    <a:lnTo>
                      <a:pt x="1207" y="1403"/>
                    </a:lnTo>
                    <a:lnTo>
                      <a:pt x="1205" y="1405"/>
                    </a:lnTo>
                    <a:lnTo>
                      <a:pt x="1203" y="1403"/>
                    </a:lnTo>
                    <a:lnTo>
                      <a:pt x="1203" y="1401"/>
                    </a:lnTo>
                    <a:lnTo>
                      <a:pt x="1202" y="1401"/>
                    </a:lnTo>
                    <a:lnTo>
                      <a:pt x="1202" y="1400"/>
                    </a:lnTo>
                    <a:lnTo>
                      <a:pt x="1200" y="1400"/>
                    </a:lnTo>
                    <a:lnTo>
                      <a:pt x="1200" y="1398"/>
                    </a:lnTo>
                    <a:lnTo>
                      <a:pt x="1202" y="1398"/>
                    </a:lnTo>
                    <a:lnTo>
                      <a:pt x="1202" y="1396"/>
                    </a:lnTo>
                    <a:lnTo>
                      <a:pt x="1203" y="1396"/>
                    </a:lnTo>
                    <a:lnTo>
                      <a:pt x="1203" y="1398"/>
                    </a:lnTo>
                    <a:lnTo>
                      <a:pt x="1205" y="1398"/>
                    </a:lnTo>
                    <a:lnTo>
                      <a:pt x="1203" y="1398"/>
                    </a:lnTo>
                    <a:lnTo>
                      <a:pt x="1203" y="1396"/>
                    </a:lnTo>
                    <a:lnTo>
                      <a:pt x="1203" y="1395"/>
                    </a:lnTo>
                    <a:lnTo>
                      <a:pt x="1203" y="1393"/>
                    </a:lnTo>
                    <a:lnTo>
                      <a:pt x="1203" y="1391"/>
                    </a:lnTo>
                    <a:lnTo>
                      <a:pt x="1203" y="1390"/>
                    </a:lnTo>
                    <a:lnTo>
                      <a:pt x="1205" y="1390"/>
                    </a:lnTo>
                    <a:lnTo>
                      <a:pt x="1207" y="1390"/>
                    </a:lnTo>
                    <a:lnTo>
                      <a:pt x="1208" y="1388"/>
                    </a:lnTo>
                    <a:lnTo>
                      <a:pt x="1210" y="1390"/>
                    </a:lnTo>
                    <a:lnTo>
                      <a:pt x="1212" y="1390"/>
                    </a:lnTo>
                    <a:lnTo>
                      <a:pt x="1213" y="1391"/>
                    </a:lnTo>
                    <a:lnTo>
                      <a:pt x="1213" y="1390"/>
                    </a:lnTo>
                    <a:lnTo>
                      <a:pt x="1212" y="1390"/>
                    </a:lnTo>
                    <a:lnTo>
                      <a:pt x="1210" y="1388"/>
                    </a:lnTo>
                    <a:lnTo>
                      <a:pt x="1212" y="1388"/>
                    </a:lnTo>
                    <a:lnTo>
                      <a:pt x="1210" y="1386"/>
                    </a:lnTo>
                    <a:lnTo>
                      <a:pt x="1210" y="1388"/>
                    </a:lnTo>
                    <a:lnTo>
                      <a:pt x="1210" y="1386"/>
                    </a:lnTo>
                    <a:lnTo>
                      <a:pt x="1208" y="1388"/>
                    </a:lnTo>
                    <a:lnTo>
                      <a:pt x="1208" y="1386"/>
                    </a:lnTo>
                    <a:lnTo>
                      <a:pt x="1207" y="1386"/>
                    </a:lnTo>
                    <a:lnTo>
                      <a:pt x="1207" y="1384"/>
                    </a:lnTo>
                    <a:lnTo>
                      <a:pt x="1205" y="1384"/>
                    </a:lnTo>
                    <a:lnTo>
                      <a:pt x="1205" y="1383"/>
                    </a:lnTo>
                    <a:lnTo>
                      <a:pt x="1205" y="1381"/>
                    </a:lnTo>
                    <a:lnTo>
                      <a:pt x="1207" y="1381"/>
                    </a:lnTo>
                    <a:lnTo>
                      <a:pt x="1208" y="1381"/>
                    </a:lnTo>
                    <a:lnTo>
                      <a:pt x="1210" y="1381"/>
                    </a:lnTo>
                    <a:lnTo>
                      <a:pt x="1210" y="1379"/>
                    </a:lnTo>
                    <a:lnTo>
                      <a:pt x="1210" y="1378"/>
                    </a:lnTo>
                    <a:lnTo>
                      <a:pt x="1212" y="1378"/>
                    </a:lnTo>
                    <a:lnTo>
                      <a:pt x="1210" y="1376"/>
                    </a:lnTo>
                    <a:lnTo>
                      <a:pt x="1212" y="1376"/>
                    </a:lnTo>
                    <a:lnTo>
                      <a:pt x="1212" y="1374"/>
                    </a:lnTo>
                    <a:lnTo>
                      <a:pt x="1210" y="1374"/>
                    </a:lnTo>
                    <a:lnTo>
                      <a:pt x="1210" y="1376"/>
                    </a:lnTo>
                    <a:lnTo>
                      <a:pt x="1210" y="1378"/>
                    </a:lnTo>
                    <a:lnTo>
                      <a:pt x="1208" y="1379"/>
                    </a:lnTo>
                    <a:lnTo>
                      <a:pt x="1208" y="1381"/>
                    </a:lnTo>
                    <a:lnTo>
                      <a:pt x="1208" y="1379"/>
                    </a:lnTo>
                    <a:lnTo>
                      <a:pt x="1207" y="1381"/>
                    </a:lnTo>
                    <a:lnTo>
                      <a:pt x="1205" y="1381"/>
                    </a:lnTo>
                    <a:lnTo>
                      <a:pt x="1203" y="1383"/>
                    </a:lnTo>
                    <a:lnTo>
                      <a:pt x="1203" y="1384"/>
                    </a:lnTo>
                    <a:lnTo>
                      <a:pt x="1203" y="1386"/>
                    </a:lnTo>
                    <a:lnTo>
                      <a:pt x="1203" y="1388"/>
                    </a:lnTo>
                    <a:lnTo>
                      <a:pt x="1203" y="1390"/>
                    </a:lnTo>
                    <a:lnTo>
                      <a:pt x="1202" y="1391"/>
                    </a:lnTo>
                    <a:lnTo>
                      <a:pt x="1202" y="1393"/>
                    </a:lnTo>
                    <a:lnTo>
                      <a:pt x="1203" y="1393"/>
                    </a:lnTo>
                    <a:lnTo>
                      <a:pt x="1202" y="1395"/>
                    </a:lnTo>
                    <a:lnTo>
                      <a:pt x="1202" y="1396"/>
                    </a:lnTo>
                    <a:lnTo>
                      <a:pt x="1200" y="1396"/>
                    </a:lnTo>
                    <a:lnTo>
                      <a:pt x="1200" y="1398"/>
                    </a:lnTo>
                    <a:lnTo>
                      <a:pt x="1198" y="1400"/>
                    </a:lnTo>
                    <a:lnTo>
                      <a:pt x="1196" y="1400"/>
                    </a:lnTo>
                    <a:lnTo>
                      <a:pt x="1196" y="1398"/>
                    </a:lnTo>
                    <a:lnTo>
                      <a:pt x="1195" y="1400"/>
                    </a:lnTo>
                    <a:lnTo>
                      <a:pt x="1195" y="1398"/>
                    </a:lnTo>
                    <a:lnTo>
                      <a:pt x="1193" y="1396"/>
                    </a:lnTo>
                    <a:lnTo>
                      <a:pt x="1193" y="1395"/>
                    </a:lnTo>
                    <a:lnTo>
                      <a:pt x="1191" y="1395"/>
                    </a:lnTo>
                    <a:lnTo>
                      <a:pt x="1193" y="1395"/>
                    </a:lnTo>
                    <a:lnTo>
                      <a:pt x="1193" y="1393"/>
                    </a:lnTo>
                    <a:lnTo>
                      <a:pt x="1195" y="1393"/>
                    </a:lnTo>
                    <a:lnTo>
                      <a:pt x="1195" y="1391"/>
                    </a:lnTo>
                    <a:lnTo>
                      <a:pt x="1193" y="1391"/>
                    </a:lnTo>
                    <a:lnTo>
                      <a:pt x="1191" y="1391"/>
                    </a:lnTo>
                    <a:lnTo>
                      <a:pt x="1193" y="1391"/>
                    </a:lnTo>
                    <a:lnTo>
                      <a:pt x="1191" y="1393"/>
                    </a:lnTo>
                    <a:lnTo>
                      <a:pt x="1193" y="1395"/>
                    </a:lnTo>
                    <a:lnTo>
                      <a:pt x="1191" y="1395"/>
                    </a:lnTo>
                    <a:lnTo>
                      <a:pt x="1193" y="1395"/>
                    </a:lnTo>
                    <a:lnTo>
                      <a:pt x="1191" y="1393"/>
                    </a:lnTo>
                    <a:lnTo>
                      <a:pt x="1191" y="1391"/>
                    </a:lnTo>
                    <a:lnTo>
                      <a:pt x="1191" y="1390"/>
                    </a:lnTo>
                    <a:lnTo>
                      <a:pt x="1190" y="1390"/>
                    </a:lnTo>
                    <a:lnTo>
                      <a:pt x="1190" y="1388"/>
                    </a:lnTo>
                    <a:lnTo>
                      <a:pt x="1188" y="1386"/>
                    </a:lnTo>
                    <a:lnTo>
                      <a:pt x="1188" y="1384"/>
                    </a:lnTo>
                    <a:lnTo>
                      <a:pt x="1190" y="1384"/>
                    </a:lnTo>
                    <a:lnTo>
                      <a:pt x="1191" y="1383"/>
                    </a:lnTo>
                    <a:lnTo>
                      <a:pt x="1191" y="1384"/>
                    </a:lnTo>
                    <a:lnTo>
                      <a:pt x="1193" y="1384"/>
                    </a:lnTo>
                    <a:lnTo>
                      <a:pt x="1193" y="1386"/>
                    </a:lnTo>
                    <a:lnTo>
                      <a:pt x="1193" y="1384"/>
                    </a:lnTo>
                    <a:lnTo>
                      <a:pt x="1191" y="1384"/>
                    </a:lnTo>
                    <a:lnTo>
                      <a:pt x="1191" y="1383"/>
                    </a:lnTo>
                    <a:lnTo>
                      <a:pt x="1190" y="1383"/>
                    </a:lnTo>
                    <a:lnTo>
                      <a:pt x="1191" y="1383"/>
                    </a:lnTo>
                    <a:lnTo>
                      <a:pt x="1190" y="1384"/>
                    </a:lnTo>
                    <a:lnTo>
                      <a:pt x="1188" y="1384"/>
                    </a:lnTo>
                    <a:lnTo>
                      <a:pt x="1188" y="1383"/>
                    </a:lnTo>
                    <a:lnTo>
                      <a:pt x="1186" y="1381"/>
                    </a:lnTo>
                    <a:lnTo>
                      <a:pt x="1186" y="1379"/>
                    </a:lnTo>
                    <a:lnTo>
                      <a:pt x="1188" y="1379"/>
                    </a:lnTo>
                    <a:lnTo>
                      <a:pt x="1190" y="1379"/>
                    </a:lnTo>
                    <a:lnTo>
                      <a:pt x="1191" y="1381"/>
                    </a:lnTo>
                    <a:lnTo>
                      <a:pt x="1190" y="1381"/>
                    </a:lnTo>
                    <a:lnTo>
                      <a:pt x="1191" y="1383"/>
                    </a:lnTo>
                    <a:lnTo>
                      <a:pt x="1191" y="1381"/>
                    </a:lnTo>
                    <a:lnTo>
                      <a:pt x="1193" y="1383"/>
                    </a:lnTo>
                    <a:lnTo>
                      <a:pt x="1193" y="1381"/>
                    </a:lnTo>
                    <a:lnTo>
                      <a:pt x="1191" y="1381"/>
                    </a:lnTo>
                    <a:lnTo>
                      <a:pt x="1191" y="1379"/>
                    </a:lnTo>
                    <a:lnTo>
                      <a:pt x="1191" y="1381"/>
                    </a:lnTo>
                    <a:lnTo>
                      <a:pt x="1191" y="1379"/>
                    </a:lnTo>
                    <a:lnTo>
                      <a:pt x="1191" y="1381"/>
                    </a:lnTo>
                    <a:lnTo>
                      <a:pt x="1193" y="1381"/>
                    </a:lnTo>
                    <a:lnTo>
                      <a:pt x="1195" y="1381"/>
                    </a:lnTo>
                    <a:lnTo>
                      <a:pt x="1195" y="1383"/>
                    </a:lnTo>
                    <a:lnTo>
                      <a:pt x="1196" y="1383"/>
                    </a:lnTo>
                    <a:lnTo>
                      <a:pt x="1196" y="1384"/>
                    </a:lnTo>
                    <a:lnTo>
                      <a:pt x="1196" y="1386"/>
                    </a:lnTo>
                    <a:lnTo>
                      <a:pt x="1196" y="1384"/>
                    </a:lnTo>
                    <a:lnTo>
                      <a:pt x="1196" y="1383"/>
                    </a:lnTo>
                    <a:lnTo>
                      <a:pt x="1198" y="1383"/>
                    </a:lnTo>
                    <a:lnTo>
                      <a:pt x="1200" y="1383"/>
                    </a:lnTo>
                    <a:lnTo>
                      <a:pt x="1200" y="1384"/>
                    </a:lnTo>
                    <a:lnTo>
                      <a:pt x="1202" y="1384"/>
                    </a:lnTo>
                    <a:lnTo>
                      <a:pt x="1200" y="1383"/>
                    </a:lnTo>
                    <a:lnTo>
                      <a:pt x="1198" y="1383"/>
                    </a:lnTo>
                    <a:lnTo>
                      <a:pt x="1196" y="1383"/>
                    </a:lnTo>
                    <a:lnTo>
                      <a:pt x="1196" y="1381"/>
                    </a:lnTo>
                    <a:lnTo>
                      <a:pt x="1195" y="1381"/>
                    </a:lnTo>
                    <a:lnTo>
                      <a:pt x="1196" y="1379"/>
                    </a:lnTo>
                    <a:lnTo>
                      <a:pt x="1195" y="1379"/>
                    </a:lnTo>
                    <a:lnTo>
                      <a:pt x="1195" y="1381"/>
                    </a:lnTo>
                    <a:lnTo>
                      <a:pt x="1195" y="1379"/>
                    </a:lnTo>
                    <a:lnTo>
                      <a:pt x="1193" y="1379"/>
                    </a:lnTo>
                    <a:lnTo>
                      <a:pt x="1191" y="1378"/>
                    </a:lnTo>
                    <a:lnTo>
                      <a:pt x="1191" y="1376"/>
                    </a:lnTo>
                    <a:lnTo>
                      <a:pt x="1193" y="1376"/>
                    </a:lnTo>
                    <a:lnTo>
                      <a:pt x="1195" y="1374"/>
                    </a:lnTo>
                    <a:lnTo>
                      <a:pt x="1196" y="1374"/>
                    </a:lnTo>
                    <a:lnTo>
                      <a:pt x="1198" y="1374"/>
                    </a:lnTo>
                    <a:lnTo>
                      <a:pt x="1196" y="1374"/>
                    </a:lnTo>
                    <a:lnTo>
                      <a:pt x="1195" y="1374"/>
                    </a:lnTo>
                    <a:lnTo>
                      <a:pt x="1193" y="1374"/>
                    </a:lnTo>
                    <a:lnTo>
                      <a:pt x="1193" y="1376"/>
                    </a:lnTo>
                    <a:lnTo>
                      <a:pt x="1191" y="1376"/>
                    </a:lnTo>
                    <a:lnTo>
                      <a:pt x="1190" y="1378"/>
                    </a:lnTo>
                    <a:lnTo>
                      <a:pt x="1190" y="1376"/>
                    </a:lnTo>
                    <a:lnTo>
                      <a:pt x="1188" y="1378"/>
                    </a:lnTo>
                    <a:lnTo>
                      <a:pt x="1190" y="1378"/>
                    </a:lnTo>
                    <a:lnTo>
                      <a:pt x="1188" y="1378"/>
                    </a:lnTo>
                    <a:lnTo>
                      <a:pt x="1186" y="1378"/>
                    </a:lnTo>
                    <a:lnTo>
                      <a:pt x="1188" y="1376"/>
                    </a:lnTo>
                    <a:lnTo>
                      <a:pt x="1186" y="1376"/>
                    </a:lnTo>
                    <a:lnTo>
                      <a:pt x="1186" y="1378"/>
                    </a:lnTo>
                    <a:lnTo>
                      <a:pt x="1185" y="1376"/>
                    </a:lnTo>
                    <a:lnTo>
                      <a:pt x="1186" y="1374"/>
                    </a:lnTo>
                    <a:lnTo>
                      <a:pt x="1186" y="1373"/>
                    </a:lnTo>
                    <a:lnTo>
                      <a:pt x="1188" y="1373"/>
                    </a:lnTo>
                    <a:lnTo>
                      <a:pt x="1188" y="1371"/>
                    </a:lnTo>
                    <a:lnTo>
                      <a:pt x="1186" y="1371"/>
                    </a:lnTo>
                    <a:lnTo>
                      <a:pt x="1188" y="1371"/>
                    </a:lnTo>
                    <a:lnTo>
                      <a:pt x="1186" y="1371"/>
                    </a:lnTo>
                    <a:lnTo>
                      <a:pt x="1188" y="1369"/>
                    </a:lnTo>
                    <a:lnTo>
                      <a:pt x="1186" y="1367"/>
                    </a:lnTo>
                    <a:lnTo>
                      <a:pt x="1186" y="1369"/>
                    </a:lnTo>
                    <a:lnTo>
                      <a:pt x="1186" y="1367"/>
                    </a:lnTo>
                    <a:lnTo>
                      <a:pt x="1186" y="1369"/>
                    </a:lnTo>
                    <a:lnTo>
                      <a:pt x="1186" y="1371"/>
                    </a:lnTo>
                    <a:lnTo>
                      <a:pt x="1185" y="1371"/>
                    </a:lnTo>
                    <a:lnTo>
                      <a:pt x="1185" y="1373"/>
                    </a:lnTo>
                    <a:lnTo>
                      <a:pt x="1185" y="1374"/>
                    </a:lnTo>
                    <a:lnTo>
                      <a:pt x="1183" y="1374"/>
                    </a:lnTo>
                    <a:lnTo>
                      <a:pt x="1185" y="1374"/>
                    </a:lnTo>
                    <a:lnTo>
                      <a:pt x="1185" y="1376"/>
                    </a:lnTo>
                    <a:lnTo>
                      <a:pt x="1183" y="1374"/>
                    </a:lnTo>
                    <a:lnTo>
                      <a:pt x="1181" y="1374"/>
                    </a:lnTo>
                    <a:lnTo>
                      <a:pt x="1179" y="1373"/>
                    </a:lnTo>
                    <a:lnTo>
                      <a:pt x="1181" y="1373"/>
                    </a:lnTo>
                    <a:lnTo>
                      <a:pt x="1181" y="1371"/>
                    </a:lnTo>
                    <a:lnTo>
                      <a:pt x="1181" y="1373"/>
                    </a:lnTo>
                    <a:lnTo>
                      <a:pt x="1179" y="1373"/>
                    </a:lnTo>
                    <a:lnTo>
                      <a:pt x="1179" y="1371"/>
                    </a:lnTo>
                    <a:lnTo>
                      <a:pt x="1178" y="1371"/>
                    </a:lnTo>
                    <a:lnTo>
                      <a:pt x="1178" y="1369"/>
                    </a:lnTo>
                    <a:lnTo>
                      <a:pt x="1179" y="1369"/>
                    </a:lnTo>
                    <a:lnTo>
                      <a:pt x="1181" y="1369"/>
                    </a:lnTo>
                    <a:lnTo>
                      <a:pt x="1179" y="1369"/>
                    </a:lnTo>
                    <a:lnTo>
                      <a:pt x="1178" y="1369"/>
                    </a:lnTo>
                    <a:lnTo>
                      <a:pt x="1178" y="1367"/>
                    </a:lnTo>
                    <a:lnTo>
                      <a:pt x="1178" y="1366"/>
                    </a:lnTo>
                    <a:lnTo>
                      <a:pt x="1178" y="1367"/>
                    </a:lnTo>
                    <a:lnTo>
                      <a:pt x="1176" y="1367"/>
                    </a:lnTo>
                    <a:lnTo>
                      <a:pt x="1174" y="1367"/>
                    </a:lnTo>
                    <a:lnTo>
                      <a:pt x="1176" y="1366"/>
                    </a:lnTo>
                    <a:lnTo>
                      <a:pt x="1176" y="1364"/>
                    </a:lnTo>
                    <a:lnTo>
                      <a:pt x="1178" y="1364"/>
                    </a:lnTo>
                    <a:lnTo>
                      <a:pt x="1176" y="1364"/>
                    </a:lnTo>
                    <a:lnTo>
                      <a:pt x="1176" y="1366"/>
                    </a:lnTo>
                    <a:lnTo>
                      <a:pt x="1174" y="1366"/>
                    </a:lnTo>
                    <a:lnTo>
                      <a:pt x="1173" y="1366"/>
                    </a:lnTo>
                    <a:lnTo>
                      <a:pt x="1173" y="1364"/>
                    </a:lnTo>
                    <a:lnTo>
                      <a:pt x="1173" y="1362"/>
                    </a:lnTo>
                    <a:lnTo>
                      <a:pt x="1174" y="1362"/>
                    </a:lnTo>
                    <a:lnTo>
                      <a:pt x="1174" y="1361"/>
                    </a:lnTo>
                    <a:lnTo>
                      <a:pt x="1176" y="1361"/>
                    </a:lnTo>
                    <a:lnTo>
                      <a:pt x="1178" y="1359"/>
                    </a:lnTo>
                    <a:lnTo>
                      <a:pt x="1179" y="1361"/>
                    </a:lnTo>
                    <a:lnTo>
                      <a:pt x="1178" y="1362"/>
                    </a:lnTo>
                    <a:lnTo>
                      <a:pt x="1179" y="1362"/>
                    </a:lnTo>
                    <a:lnTo>
                      <a:pt x="1179" y="1361"/>
                    </a:lnTo>
                    <a:lnTo>
                      <a:pt x="1178" y="1359"/>
                    </a:lnTo>
                    <a:lnTo>
                      <a:pt x="1179" y="1359"/>
                    </a:lnTo>
                    <a:lnTo>
                      <a:pt x="1178" y="1359"/>
                    </a:lnTo>
                    <a:lnTo>
                      <a:pt x="1179" y="1359"/>
                    </a:lnTo>
                    <a:lnTo>
                      <a:pt x="1181" y="1359"/>
                    </a:lnTo>
                    <a:lnTo>
                      <a:pt x="1181" y="1361"/>
                    </a:lnTo>
                    <a:lnTo>
                      <a:pt x="1181" y="1359"/>
                    </a:lnTo>
                    <a:lnTo>
                      <a:pt x="1183" y="1359"/>
                    </a:lnTo>
                    <a:lnTo>
                      <a:pt x="1183" y="1361"/>
                    </a:lnTo>
                    <a:lnTo>
                      <a:pt x="1183" y="1359"/>
                    </a:lnTo>
                    <a:lnTo>
                      <a:pt x="1181" y="1359"/>
                    </a:lnTo>
                    <a:lnTo>
                      <a:pt x="1179" y="1357"/>
                    </a:lnTo>
                    <a:lnTo>
                      <a:pt x="1179" y="1359"/>
                    </a:lnTo>
                    <a:lnTo>
                      <a:pt x="1178" y="1359"/>
                    </a:lnTo>
                    <a:lnTo>
                      <a:pt x="1176" y="1359"/>
                    </a:lnTo>
                    <a:lnTo>
                      <a:pt x="1176" y="1361"/>
                    </a:lnTo>
                    <a:lnTo>
                      <a:pt x="1176" y="1359"/>
                    </a:lnTo>
                    <a:lnTo>
                      <a:pt x="1178" y="1359"/>
                    </a:lnTo>
                    <a:lnTo>
                      <a:pt x="1178" y="1357"/>
                    </a:lnTo>
                    <a:lnTo>
                      <a:pt x="1179" y="1357"/>
                    </a:lnTo>
                    <a:lnTo>
                      <a:pt x="1181" y="1356"/>
                    </a:lnTo>
                    <a:lnTo>
                      <a:pt x="1183" y="1357"/>
                    </a:lnTo>
                    <a:lnTo>
                      <a:pt x="1185" y="1357"/>
                    </a:lnTo>
                    <a:lnTo>
                      <a:pt x="1185" y="1359"/>
                    </a:lnTo>
                    <a:lnTo>
                      <a:pt x="1183" y="1359"/>
                    </a:lnTo>
                    <a:lnTo>
                      <a:pt x="1185" y="1359"/>
                    </a:lnTo>
                    <a:lnTo>
                      <a:pt x="1185" y="1361"/>
                    </a:lnTo>
                    <a:lnTo>
                      <a:pt x="1185" y="1359"/>
                    </a:lnTo>
                    <a:lnTo>
                      <a:pt x="1186" y="1359"/>
                    </a:lnTo>
                    <a:lnTo>
                      <a:pt x="1186" y="1361"/>
                    </a:lnTo>
                    <a:lnTo>
                      <a:pt x="1188" y="1361"/>
                    </a:lnTo>
                    <a:lnTo>
                      <a:pt x="1188" y="1362"/>
                    </a:lnTo>
                    <a:lnTo>
                      <a:pt x="1186" y="1362"/>
                    </a:lnTo>
                    <a:lnTo>
                      <a:pt x="1186" y="1364"/>
                    </a:lnTo>
                    <a:lnTo>
                      <a:pt x="1185" y="1364"/>
                    </a:lnTo>
                    <a:lnTo>
                      <a:pt x="1186" y="1364"/>
                    </a:lnTo>
                    <a:lnTo>
                      <a:pt x="1188" y="1362"/>
                    </a:lnTo>
                    <a:lnTo>
                      <a:pt x="1188" y="1364"/>
                    </a:lnTo>
                    <a:lnTo>
                      <a:pt x="1188" y="1366"/>
                    </a:lnTo>
                    <a:lnTo>
                      <a:pt x="1190" y="1366"/>
                    </a:lnTo>
                    <a:lnTo>
                      <a:pt x="1190" y="1367"/>
                    </a:lnTo>
                    <a:lnTo>
                      <a:pt x="1191" y="1369"/>
                    </a:lnTo>
                    <a:lnTo>
                      <a:pt x="1191" y="1367"/>
                    </a:lnTo>
                    <a:lnTo>
                      <a:pt x="1193" y="1366"/>
                    </a:lnTo>
                    <a:lnTo>
                      <a:pt x="1193" y="1367"/>
                    </a:lnTo>
                    <a:lnTo>
                      <a:pt x="1193" y="1366"/>
                    </a:lnTo>
                    <a:lnTo>
                      <a:pt x="1195" y="1367"/>
                    </a:lnTo>
                    <a:lnTo>
                      <a:pt x="1196" y="1367"/>
                    </a:lnTo>
                    <a:lnTo>
                      <a:pt x="1196" y="1369"/>
                    </a:lnTo>
                    <a:lnTo>
                      <a:pt x="1198" y="1369"/>
                    </a:lnTo>
                    <a:lnTo>
                      <a:pt x="1196" y="1367"/>
                    </a:lnTo>
                    <a:lnTo>
                      <a:pt x="1195" y="1367"/>
                    </a:lnTo>
                    <a:lnTo>
                      <a:pt x="1195" y="1366"/>
                    </a:lnTo>
                    <a:lnTo>
                      <a:pt x="1196" y="1366"/>
                    </a:lnTo>
                    <a:lnTo>
                      <a:pt x="1195" y="1366"/>
                    </a:lnTo>
                    <a:lnTo>
                      <a:pt x="1195" y="1364"/>
                    </a:lnTo>
                    <a:lnTo>
                      <a:pt x="1193" y="1364"/>
                    </a:lnTo>
                    <a:lnTo>
                      <a:pt x="1193" y="1366"/>
                    </a:lnTo>
                    <a:lnTo>
                      <a:pt x="1191" y="1366"/>
                    </a:lnTo>
                    <a:lnTo>
                      <a:pt x="1191" y="1364"/>
                    </a:lnTo>
                    <a:lnTo>
                      <a:pt x="1190" y="1364"/>
                    </a:lnTo>
                    <a:lnTo>
                      <a:pt x="1190" y="1362"/>
                    </a:lnTo>
                    <a:lnTo>
                      <a:pt x="1190" y="1361"/>
                    </a:lnTo>
                    <a:lnTo>
                      <a:pt x="1188" y="1361"/>
                    </a:lnTo>
                    <a:lnTo>
                      <a:pt x="1188" y="1359"/>
                    </a:lnTo>
                    <a:lnTo>
                      <a:pt x="1186" y="1359"/>
                    </a:lnTo>
                    <a:lnTo>
                      <a:pt x="1186" y="1357"/>
                    </a:lnTo>
                    <a:lnTo>
                      <a:pt x="1186" y="1356"/>
                    </a:lnTo>
                    <a:lnTo>
                      <a:pt x="1185" y="1356"/>
                    </a:lnTo>
                    <a:lnTo>
                      <a:pt x="1185" y="1354"/>
                    </a:lnTo>
                    <a:lnTo>
                      <a:pt x="1185" y="1352"/>
                    </a:lnTo>
                    <a:lnTo>
                      <a:pt x="1186" y="1350"/>
                    </a:lnTo>
                    <a:lnTo>
                      <a:pt x="1186" y="1352"/>
                    </a:lnTo>
                    <a:lnTo>
                      <a:pt x="1186" y="1354"/>
                    </a:lnTo>
                    <a:lnTo>
                      <a:pt x="1186" y="1352"/>
                    </a:lnTo>
                    <a:lnTo>
                      <a:pt x="1188" y="1352"/>
                    </a:lnTo>
                    <a:lnTo>
                      <a:pt x="1190" y="1352"/>
                    </a:lnTo>
                    <a:lnTo>
                      <a:pt x="1190" y="1354"/>
                    </a:lnTo>
                    <a:lnTo>
                      <a:pt x="1191" y="1354"/>
                    </a:lnTo>
                    <a:lnTo>
                      <a:pt x="1193" y="1356"/>
                    </a:lnTo>
                    <a:lnTo>
                      <a:pt x="1193" y="1354"/>
                    </a:lnTo>
                    <a:lnTo>
                      <a:pt x="1195" y="1356"/>
                    </a:lnTo>
                    <a:lnTo>
                      <a:pt x="1195" y="1357"/>
                    </a:lnTo>
                    <a:lnTo>
                      <a:pt x="1195" y="1356"/>
                    </a:lnTo>
                    <a:lnTo>
                      <a:pt x="1195" y="1357"/>
                    </a:lnTo>
                    <a:lnTo>
                      <a:pt x="1196" y="1356"/>
                    </a:lnTo>
                    <a:lnTo>
                      <a:pt x="1196" y="1354"/>
                    </a:lnTo>
                    <a:lnTo>
                      <a:pt x="1196" y="1352"/>
                    </a:lnTo>
                    <a:lnTo>
                      <a:pt x="1198" y="1352"/>
                    </a:lnTo>
                    <a:lnTo>
                      <a:pt x="1198" y="1350"/>
                    </a:lnTo>
                    <a:lnTo>
                      <a:pt x="1200" y="1350"/>
                    </a:lnTo>
                    <a:lnTo>
                      <a:pt x="1202" y="1350"/>
                    </a:lnTo>
                    <a:lnTo>
                      <a:pt x="1200" y="1350"/>
                    </a:lnTo>
                    <a:lnTo>
                      <a:pt x="1200" y="1349"/>
                    </a:lnTo>
                    <a:lnTo>
                      <a:pt x="1200" y="1347"/>
                    </a:lnTo>
                    <a:lnTo>
                      <a:pt x="1202" y="1347"/>
                    </a:lnTo>
                    <a:lnTo>
                      <a:pt x="1202" y="1345"/>
                    </a:lnTo>
                    <a:lnTo>
                      <a:pt x="1203" y="1345"/>
                    </a:lnTo>
                    <a:lnTo>
                      <a:pt x="1202" y="1345"/>
                    </a:lnTo>
                    <a:lnTo>
                      <a:pt x="1202" y="1347"/>
                    </a:lnTo>
                    <a:lnTo>
                      <a:pt x="1200" y="1347"/>
                    </a:lnTo>
                    <a:lnTo>
                      <a:pt x="1200" y="1349"/>
                    </a:lnTo>
                    <a:lnTo>
                      <a:pt x="1200" y="1350"/>
                    </a:lnTo>
                    <a:lnTo>
                      <a:pt x="1198" y="1350"/>
                    </a:lnTo>
                    <a:lnTo>
                      <a:pt x="1196" y="1350"/>
                    </a:lnTo>
                    <a:lnTo>
                      <a:pt x="1196" y="1352"/>
                    </a:lnTo>
                    <a:lnTo>
                      <a:pt x="1195" y="1354"/>
                    </a:lnTo>
                    <a:lnTo>
                      <a:pt x="1193" y="1352"/>
                    </a:lnTo>
                    <a:lnTo>
                      <a:pt x="1191" y="1350"/>
                    </a:lnTo>
                    <a:lnTo>
                      <a:pt x="1191" y="1349"/>
                    </a:lnTo>
                    <a:lnTo>
                      <a:pt x="1190" y="1350"/>
                    </a:lnTo>
                    <a:lnTo>
                      <a:pt x="1190" y="1349"/>
                    </a:lnTo>
                    <a:lnTo>
                      <a:pt x="1190" y="1350"/>
                    </a:lnTo>
                    <a:lnTo>
                      <a:pt x="1188" y="1350"/>
                    </a:lnTo>
                    <a:lnTo>
                      <a:pt x="1190" y="1350"/>
                    </a:lnTo>
                    <a:lnTo>
                      <a:pt x="1188" y="1349"/>
                    </a:lnTo>
                    <a:lnTo>
                      <a:pt x="1186" y="1350"/>
                    </a:lnTo>
                    <a:lnTo>
                      <a:pt x="1186" y="1349"/>
                    </a:lnTo>
                    <a:lnTo>
                      <a:pt x="1185" y="1349"/>
                    </a:lnTo>
                    <a:lnTo>
                      <a:pt x="1186" y="1347"/>
                    </a:lnTo>
                    <a:lnTo>
                      <a:pt x="1185" y="1347"/>
                    </a:lnTo>
                    <a:lnTo>
                      <a:pt x="1185" y="1345"/>
                    </a:lnTo>
                    <a:lnTo>
                      <a:pt x="1185" y="1344"/>
                    </a:lnTo>
                    <a:lnTo>
                      <a:pt x="1186" y="1344"/>
                    </a:lnTo>
                    <a:lnTo>
                      <a:pt x="1188" y="1344"/>
                    </a:lnTo>
                    <a:lnTo>
                      <a:pt x="1188" y="1342"/>
                    </a:lnTo>
                    <a:lnTo>
                      <a:pt x="1190" y="1342"/>
                    </a:lnTo>
                    <a:lnTo>
                      <a:pt x="1191" y="1342"/>
                    </a:lnTo>
                    <a:lnTo>
                      <a:pt x="1193" y="1342"/>
                    </a:lnTo>
                    <a:lnTo>
                      <a:pt x="1195" y="1340"/>
                    </a:lnTo>
                    <a:lnTo>
                      <a:pt x="1195" y="1342"/>
                    </a:lnTo>
                    <a:lnTo>
                      <a:pt x="1195" y="1340"/>
                    </a:lnTo>
                    <a:lnTo>
                      <a:pt x="1193" y="1340"/>
                    </a:lnTo>
                    <a:lnTo>
                      <a:pt x="1191" y="1340"/>
                    </a:lnTo>
                    <a:lnTo>
                      <a:pt x="1190" y="1340"/>
                    </a:lnTo>
                    <a:lnTo>
                      <a:pt x="1188" y="1340"/>
                    </a:lnTo>
                    <a:lnTo>
                      <a:pt x="1188" y="1342"/>
                    </a:lnTo>
                    <a:lnTo>
                      <a:pt x="1186" y="1342"/>
                    </a:lnTo>
                    <a:lnTo>
                      <a:pt x="1186" y="1340"/>
                    </a:lnTo>
                    <a:lnTo>
                      <a:pt x="1186" y="1339"/>
                    </a:lnTo>
                    <a:lnTo>
                      <a:pt x="1186" y="1337"/>
                    </a:lnTo>
                    <a:lnTo>
                      <a:pt x="1186" y="1335"/>
                    </a:lnTo>
                    <a:lnTo>
                      <a:pt x="1188" y="1333"/>
                    </a:lnTo>
                    <a:lnTo>
                      <a:pt x="1188" y="1335"/>
                    </a:lnTo>
                    <a:lnTo>
                      <a:pt x="1188" y="1333"/>
                    </a:lnTo>
                    <a:lnTo>
                      <a:pt x="1190" y="1332"/>
                    </a:lnTo>
                    <a:lnTo>
                      <a:pt x="1191" y="1332"/>
                    </a:lnTo>
                    <a:lnTo>
                      <a:pt x="1191" y="1333"/>
                    </a:lnTo>
                    <a:lnTo>
                      <a:pt x="1191" y="1332"/>
                    </a:lnTo>
                    <a:lnTo>
                      <a:pt x="1193" y="1332"/>
                    </a:lnTo>
                    <a:lnTo>
                      <a:pt x="1193" y="1330"/>
                    </a:lnTo>
                    <a:lnTo>
                      <a:pt x="1195" y="1330"/>
                    </a:lnTo>
                    <a:lnTo>
                      <a:pt x="1196" y="1332"/>
                    </a:lnTo>
                    <a:lnTo>
                      <a:pt x="1196" y="1333"/>
                    </a:lnTo>
                    <a:lnTo>
                      <a:pt x="1196" y="1335"/>
                    </a:lnTo>
                    <a:lnTo>
                      <a:pt x="1195" y="1335"/>
                    </a:lnTo>
                    <a:lnTo>
                      <a:pt x="1195" y="1337"/>
                    </a:lnTo>
                    <a:lnTo>
                      <a:pt x="1196" y="1335"/>
                    </a:lnTo>
                    <a:lnTo>
                      <a:pt x="1196" y="1333"/>
                    </a:lnTo>
                    <a:lnTo>
                      <a:pt x="1198" y="1332"/>
                    </a:lnTo>
                    <a:lnTo>
                      <a:pt x="1200" y="1332"/>
                    </a:lnTo>
                    <a:lnTo>
                      <a:pt x="1200" y="1333"/>
                    </a:lnTo>
                    <a:lnTo>
                      <a:pt x="1200" y="1335"/>
                    </a:lnTo>
                    <a:lnTo>
                      <a:pt x="1202" y="1335"/>
                    </a:lnTo>
                    <a:lnTo>
                      <a:pt x="1202" y="1337"/>
                    </a:lnTo>
                    <a:lnTo>
                      <a:pt x="1203" y="1337"/>
                    </a:lnTo>
                    <a:lnTo>
                      <a:pt x="1203" y="1339"/>
                    </a:lnTo>
                    <a:lnTo>
                      <a:pt x="1203" y="1340"/>
                    </a:lnTo>
                    <a:lnTo>
                      <a:pt x="1203" y="1339"/>
                    </a:lnTo>
                    <a:lnTo>
                      <a:pt x="1205" y="1339"/>
                    </a:lnTo>
                    <a:lnTo>
                      <a:pt x="1203" y="1339"/>
                    </a:lnTo>
                    <a:lnTo>
                      <a:pt x="1203" y="1337"/>
                    </a:lnTo>
                    <a:lnTo>
                      <a:pt x="1205" y="1337"/>
                    </a:lnTo>
                    <a:lnTo>
                      <a:pt x="1205" y="1339"/>
                    </a:lnTo>
                    <a:lnTo>
                      <a:pt x="1205" y="1340"/>
                    </a:lnTo>
                    <a:lnTo>
                      <a:pt x="1207" y="1340"/>
                    </a:lnTo>
                    <a:lnTo>
                      <a:pt x="1207" y="1342"/>
                    </a:lnTo>
                    <a:lnTo>
                      <a:pt x="1207" y="1340"/>
                    </a:lnTo>
                    <a:lnTo>
                      <a:pt x="1208" y="1340"/>
                    </a:lnTo>
                    <a:lnTo>
                      <a:pt x="1207" y="1340"/>
                    </a:lnTo>
                    <a:lnTo>
                      <a:pt x="1207" y="1339"/>
                    </a:lnTo>
                    <a:lnTo>
                      <a:pt x="1205" y="1339"/>
                    </a:lnTo>
                    <a:lnTo>
                      <a:pt x="1205" y="1337"/>
                    </a:lnTo>
                    <a:lnTo>
                      <a:pt x="1203" y="1335"/>
                    </a:lnTo>
                    <a:lnTo>
                      <a:pt x="1202" y="1335"/>
                    </a:lnTo>
                    <a:lnTo>
                      <a:pt x="1202" y="1333"/>
                    </a:lnTo>
                    <a:lnTo>
                      <a:pt x="1202" y="1332"/>
                    </a:lnTo>
                    <a:lnTo>
                      <a:pt x="1202" y="1330"/>
                    </a:lnTo>
                    <a:lnTo>
                      <a:pt x="1200" y="1330"/>
                    </a:lnTo>
                    <a:lnTo>
                      <a:pt x="1198" y="1330"/>
                    </a:lnTo>
                    <a:lnTo>
                      <a:pt x="1196" y="1330"/>
                    </a:lnTo>
                    <a:lnTo>
                      <a:pt x="1195" y="1328"/>
                    </a:lnTo>
                    <a:lnTo>
                      <a:pt x="1195" y="1330"/>
                    </a:lnTo>
                    <a:lnTo>
                      <a:pt x="1193" y="1328"/>
                    </a:lnTo>
                    <a:lnTo>
                      <a:pt x="1193" y="1327"/>
                    </a:lnTo>
                    <a:lnTo>
                      <a:pt x="1195" y="1327"/>
                    </a:lnTo>
                    <a:lnTo>
                      <a:pt x="1195" y="1325"/>
                    </a:lnTo>
                    <a:lnTo>
                      <a:pt x="1193" y="1325"/>
                    </a:lnTo>
                    <a:lnTo>
                      <a:pt x="1193" y="1323"/>
                    </a:lnTo>
                    <a:lnTo>
                      <a:pt x="1195" y="1323"/>
                    </a:lnTo>
                    <a:lnTo>
                      <a:pt x="1195" y="1322"/>
                    </a:lnTo>
                    <a:lnTo>
                      <a:pt x="1195" y="1320"/>
                    </a:lnTo>
                    <a:lnTo>
                      <a:pt x="1195" y="1318"/>
                    </a:lnTo>
                    <a:lnTo>
                      <a:pt x="1195" y="1316"/>
                    </a:lnTo>
                    <a:lnTo>
                      <a:pt x="1196" y="1316"/>
                    </a:lnTo>
                    <a:lnTo>
                      <a:pt x="1198" y="1316"/>
                    </a:lnTo>
                    <a:lnTo>
                      <a:pt x="1198" y="1318"/>
                    </a:lnTo>
                    <a:lnTo>
                      <a:pt x="1198" y="1320"/>
                    </a:lnTo>
                    <a:lnTo>
                      <a:pt x="1200" y="1320"/>
                    </a:lnTo>
                    <a:lnTo>
                      <a:pt x="1202" y="1320"/>
                    </a:lnTo>
                    <a:lnTo>
                      <a:pt x="1203" y="1320"/>
                    </a:lnTo>
                    <a:lnTo>
                      <a:pt x="1203" y="1322"/>
                    </a:lnTo>
                    <a:lnTo>
                      <a:pt x="1203" y="1323"/>
                    </a:lnTo>
                    <a:lnTo>
                      <a:pt x="1205" y="1323"/>
                    </a:lnTo>
                    <a:lnTo>
                      <a:pt x="1203" y="1323"/>
                    </a:lnTo>
                    <a:lnTo>
                      <a:pt x="1203" y="1322"/>
                    </a:lnTo>
                    <a:lnTo>
                      <a:pt x="1203" y="1320"/>
                    </a:lnTo>
                    <a:lnTo>
                      <a:pt x="1203" y="1322"/>
                    </a:lnTo>
                    <a:lnTo>
                      <a:pt x="1203" y="1320"/>
                    </a:lnTo>
                    <a:lnTo>
                      <a:pt x="1202" y="1320"/>
                    </a:lnTo>
                    <a:lnTo>
                      <a:pt x="1200" y="1320"/>
                    </a:lnTo>
                    <a:lnTo>
                      <a:pt x="1200" y="1318"/>
                    </a:lnTo>
                    <a:lnTo>
                      <a:pt x="1200" y="1316"/>
                    </a:lnTo>
                    <a:lnTo>
                      <a:pt x="1198" y="1316"/>
                    </a:lnTo>
                    <a:lnTo>
                      <a:pt x="1200" y="1318"/>
                    </a:lnTo>
                    <a:lnTo>
                      <a:pt x="1198" y="1318"/>
                    </a:lnTo>
                    <a:lnTo>
                      <a:pt x="1198" y="1316"/>
                    </a:lnTo>
                    <a:lnTo>
                      <a:pt x="1198" y="1315"/>
                    </a:lnTo>
                    <a:lnTo>
                      <a:pt x="1196" y="1315"/>
                    </a:lnTo>
                    <a:lnTo>
                      <a:pt x="1196" y="1313"/>
                    </a:lnTo>
                    <a:lnTo>
                      <a:pt x="1195" y="1313"/>
                    </a:lnTo>
                    <a:lnTo>
                      <a:pt x="1195" y="1315"/>
                    </a:lnTo>
                    <a:lnTo>
                      <a:pt x="1193" y="1315"/>
                    </a:lnTo>
                    <a:lnTo>
                      <a:pt x="1193" y="1313"/>
                    </a:lnTo>
                    <a:lnTo>
                      <a:pt x="1191" y="1313"/>
                    </a:lnTo>
                    <a:lnTo>
                      <a:pt x="1193" y="1315"/>
                    </a:lnTo>
                    <a:lnTo>
                      <a:pt x="1193" y="1316"/>
                    </a:lnTo>
                    <a:lnTo>
                      <a:pt x="1193" y="1318"/>
                    </a:lnTo>
                    <a:lnTo>
                      <a:pt x="1193" y="1320"/>
                    </a:lnTo>
                    <a:lnTo>
                      <a:pt x="1193" y="1322"/>
                    </a:lnTo>
                    <a:lnTo>
                      <a:pt x="1191" y="1322"/>
                    </a:lnTo>
                    <a:lnTo>
                      <a:pt x="1191" y="1323"/>
                    </a:lnTo>
                    <a:lnTo>
                      <a:pt x="1191" y="1325"/>
                    </a:lnTo>
                    <a:lnTo>
                      <a:pt x="1191" y="1327"/>
                    </a:lnTo>
                    <a:lnTo>
                      <a:pt x="1191" y="1328"/>
                    </a:lnTo>
                    <a:lnTo>
                      <a:pt x="1191" y="1330"/>
                    </a:lnTo>
                    <a:lnTo>
                      <a:pt x="1190" y="1330"/>
                    </a:lnTo>
                    <a:lnTo>
                      <a:pt x="1188" y="1330"/>
                    </a:lnTo>
                    <a:lnTo>
                      <a:pt x="1188" y="1328"/>
                    </a:lnTo>
                    <a:lnTo>
                      <a:pt x="1186" y="1327"/>
                    </a:lnTo>
                    <a:lnTo>
                      <a:pt x="1186" y="1325"/>
                    </a:lnTo>
                    <a:lnTo>
                      <a:pt x="1186" y="1323"/>
                    </a:lnTo>
                    <a:lnTo>
                      <a:pt x="1186" y="1325"/>
                    </a:lnTo>
                    <a:lnTo>
                      <a:pt x="1185" y="1325"/>
                    </a:lnTo>
                    <a:lnTo>
                      <a:pt x="1185" y="1323"/>
                    </a:lnTo>
                    <a:lnTo>
                      <a:pt x="1183" y="1323"/>
                    </a:lnTo>
                    <a:lnTo>
                      <a:pt x="1183" y="1322"/>
                    </a:lnTo>
                    <a:lnTo>
                      <a:pt x="1183" y="1323"/>
                    </a:lnTo>
                    <a:lnTo>
                      <a:pt x="1183" y="1322"/>
                    </a:lnTo>
                    <a:lnTo>
                      <a:pt x="1183" y="1320"/>
                    </a:lnTo>
                    <a:lnTo>
                      <a:pt x="1185" y="1320"/>
                    </a:lnTo>
                    <a:lnTo>
                      <a:pt x="1185" y="1318"/>
                    </a:lnTo>
                    <a:lnTo>
                      <a:pt x="1185" y="1316"/>
                    </a:lnTo>
                    <a:lnTo>
                      <a:pt x="1185" y="1315"/>
                    </a:lnTo>
                    <a:lnTo>
                      <a:pt x="1185" y="1313"/>
                    </a:lnTo>
                    <a:lnTo>
                      <a:pt x="1185" y="1311"/>
                    </a:lnTo>
                    <a:lnTo>
                      <a:pt x="1186" y="1311"/>
                    </a:lnTo>
                    <a:lnTo>
                      <a:pt x="1185" y="1311"/>
                    </a:lnTo>
                    <a:lnTo>
                      <a:pt x="1185" y="1310"/>
                    </a:lnTo>
                    <a:lnTo>
                      <a:pt x="1185" y="1308"/>
                    </a:lnTo>
                    <a:lnTo>
                      <a:pt x="1185" y="1306"/>
                    </a:lnTo>
                    <a:lnTo>
                      <a:pt x="1185" y="1305"/>
                    </a:lnTo>
                    <a:lnTo>
                      <a:pt x="1183" y="1306"/>
                    </a:lnTo>
                    <a:lnTo>
                      <a:pt x="1183" y="1308"/>
                    </a:lnTo>
                    <a:lnTo>
                      <a:pt x="1183" y="1306"/>
                    </a:lnTo>
                    <a:lnTo>
                      <a:pt x="1183" y="1305"/>
                    </a:lnTo>
                    <a:lnTo>
                      <a:pt x="1181" y="1303"/>
                    </a:lnTo>
                    <a:lnTo>
                      <a:pt x="1183" y="1303"/>
                    </a:lnTo>
                    <a:lnTo>
                      <a:pt x="1183" y="1301"/>
                    </a:lnTo>
                    <a:lnTo>
                      <a:pt x="1183" y="1303"/>
                    </a:lnTo>
                    <a:lnTo>
                      <a:pt x="1185" y="1301"/>
                    </a:lnTo>
                    <a:lnTo>
                      <a:pt x="1185" y="1299"/>
                    </a:lnTo>
                    <a:lnTo>
                      <a:pt x="1183" y="1299"/>
                    </a:lnTo>
                    <a:lnTo>
                      <a:pt x="1183" y="1298"/>
                    </a:lnTo>
                    <a:lnTo>
                      <a:pt x="1185" y="1299"/>
                    </a:lnTo>
                    <a:lnTo>
                      <a:pt x="1185" y="1298"/>
                    </a:lnTo>
                    <a:lnTo>
                      <a:pt x="1186" y="1299"/>
                    </a:lnTo>
                    <a:lnTo>
                      <a:pt x="1185" y="1298"/>
                    </a:lnTo>
                    <a:lnTo>
                      <a:pt x="1183" y="1298"/>
                    </a:lnTo>
                    <a:lnTo>
                      <a:pt x="1183" y="1296"/>
                    </a:lnTo>
                    <a:lnTo>
                      <a:pt x="1185" y="1296"/>
                    </a:lnTo>
                    <a:lnTo>
                      <a:pt x="1183" y="1296"/>
                    </a:lnTo>
                    <a:lnTo>
                      <a:pt x="1183" y="1294"/>
                    </a:lnTo>
                    <a:lnTo>
                      <a:pt x="1183" y="1293"/>
                    </a:lnTo>
                    <a:lnTo>
                      <a:pt x="1183" y="1291"/>
                    </a:lnTo>
                    <a:lnTo>
                      <a:pt x="1185" y="1291"/>
                    </a:lnTo>
                    <a:lnTo>
                      <a:pt x="1185" y="1289"/>
                    </a:lnTo>
                    <a:lnTo>
                      <a:pt x="1185" y="1288"/>
                    </a:lnTo>
                    <a:lnTo>
                      <a:pt x="1186" y="1288"/>
                    </a:lnTo>
                    <a:lnTo>
                      <a:pt x="1186" y="1289"/>
                    </a:lnTo>
                    <a:lnTo>
                      <a:pt x="1186" y="1288"/>
                    </a:lnTo>
                    <a:lnTo>
                      <a:pt x="1186" y="1289"/>
                    </a:lnTo>
                    <a:lnTo>
                      <a:pt x="1188" y="1289"/>
                    </a:lnTo>
                    <a:lnTo>
                      <a:pt x="1190" y="1289"/>
                    </a:lnTo>
                    <a:lnTo>
                      <a:pt x="1190" y="1288"/>
                    </a:lnTo>
                    <a:lnTo>
                      <a:pt x="1191" y="1288"/>
                    </a:lnTo>
                    <a:lnTo>
                      <a:pt x="1193" y="1288"/>
                    </a:lnTo>
                    <a:lnTo>
                      <a:pt x="1195" y="1289"/>
                    </a:lnTo>
                    <a:lnTo>
                      <a:pt x="1196" y="1288"/>
                    </a:lnTo>
                    <a:lnTo>
                      <a:pt x="1196" y="1289"/>
                    </a:lnTo>
                    <a:lnTo>
                      <a:pt x="1198" y="1288"/>
                    </a:lnTo>
                    <a:lnTo>
                      <a:pt x="1196" y="1288"/>
                    </a:lnTo>
                    <a:lnTo>
                      <a:pt x="1195" y="1288"/>
                    </a:lnTo>
                    <a:lnTo>
                      <a:pt x="1193" y="1288"/>
                    </a:lnTo>
                    <a:lnTo>
                      <a:pt x="1191" y="1286"/>
                    </a:lnTo>
                    <a:lnTo>
                      <a:pt x="1190" y="1288"/>
                    </a:lnTo>
                    <a:lnTo>
                      <a:pt x="1188" y="1288"/>
                    </a:lnTo>
                    <a:lnTo>
                      <a:pt x="1186" y="1288"/>
                    </a:lnTo>
                    <a:lnTo>
                      <a:pt x="1188" y="1286"/>
                    </a:lnTo>
                    <a:lnTo>
                      <a:pt x="1190" y="1286"/>
                    </a:lnTo>
                    <a:lnTo>
                      <a:pt x="1190" y="1284"/>
                    </a:lnTo>
                    <a:lnTo>
                      <a:pt x="1190" y="1286"/>
                    </a:lnTo>
                    <a:lnTo>
                      <a:pt x="1188" y="1286"/>
                    </a:lnTo>
                    <a:lnTo>
                      <a:pt x="1188" y="1284"/>
                    </a:lnTo>
                    <a:lnTo>
                      <a:pt x="1188" y="1286"/>
                    </a:lnTo>
                    <a:lnTo>
                      <a:pt x="1186" y="1286"/>
                    </a:lnTo>
                    <a:lnTo>
                      <a:pt x="1186" y="1284"/>
                    </a:lnTo>
                    <a:lnTo>
                      <a:pt x="1185" y="1286"/>
                    </a:lnTo>
                    <a:lnTo>
                      <a:pt x="1185" y="1284"/>
                    </a:lnTo>
                    <a:lnTo>
                      <a:pt x="1186" y="1284"/>
                    </a:lnTo>
                    <a:lnTo>
                      <a:pt x="1185" y="1282"/>
                    </a:lnTo>
                    <a:lnTo>
                      <a:pt x="1185" y="1281"/>
                    </a:lnTo>
                    <a:lnTo>
                      <a:pt x="1186" y="1281"/>
                    </a:lnTo>
                    <a:lnTo>
                      <a:pt x="1186" y="1279"/>
                    </a:lnTo>
                    <a:lnTo>
                      <a:pt x="1188" y="1279"/>
                    </a:lnTo>
                    <a:lnTo>
                      <a:pt x="1188" y="1277"/>
                    </a:lnTo>
                    <a:lnTo>
                      <a:pt x="1190" y="1279"/>
                    </a:lnTo>
                    <a:lnTo>
                      <a:pt x="1188" y="1277"/>
                    </a:lnTo>
                    <a:lnTo>
                      <a:pt x="1190" y="1277"/>
                    </a:lnTo>
                    <a:lnTo>
                      <a:pt x="1190" y="1276"/>
                    </a:lnTo>
                    <a:lnTo>
                      <a:pt x="1191" y="1276"/>
                    </a:lnTo>
                    <a:lnTo>
                      <a:pt x="1193" y="1276"/>
                    </a:lnTo>
                    <a:lnTo>
                      <a:pt x="1193" y="1277"/>
                    </a:lnTo>
                    <a:lnTo>
                      <a:pt x="1195" y="1277"/>
                    </a:lnTo>
                    <a:lnTo>
                      <a:pt x="1195" y="1279"/>
                    </a:lnTo>
                    <a:lnTo>
                      <a:pt x="1196" y="1279"/>
                    </a:lnTo>
                    <a:lnTo>
                      <a:pt x="1198" y="1281"/>
                    </a:lnTo>
                    <a:lnTo>
                      <a:pt x="1200" y="1282"/>
                    </a:lnTo>
                    <a:lnTo>
                      <a:pt x="1200" y="1281"/>
                    </a:lnTo>
                    <a:lnTo>
                      <a:pt x="1200" y="1279"/>
                    </a:lnTo>
                    <a:lnTo>
                      <a:pt x="1198" y="1279"/>
                    </a:lnTo>
                    <a:lnTo>
                      <a:pt x="1196" y="1279"/>
                    </a:lnTo>
                    <a:lnTo>
                      <a:pt x="1196" y="1277"/>
                    </a:lnTo>
                    <a:lnTo>
                      <a:pt x="1196" y="1276"/>
                    </a:lnTo>
                    <a:lnTo>
                      <a:pt x="1196" y="1274"/>
                    </a:lnTo>
                    <a:lnTo>
                      <a:pt x="1198" y="1272"/>
                    </a:lnTo>
                    <a:lnTo>
                      <a:pt x="1200" y="1274"/>
                    </a:lnTo>
                    <a:lnTo>
                      <a:pt x="1200" y="1272"/>
                    </a:lnTo>
                    <a:lnTo>
                      <a:pt x="1202" y="1272"/>
                    </a:lnTo>
                    <a:lnTo>
                      <a:pt x="1200" y="1272"/>
                    </a:lnTo>
                    <a:lnTo>
                      <a:pt x="1198" y="1272"/>
                    </a:lnTo>
                    <a:lnTo>
                      <a:pt x="1196" y="1272"/>
                    </a:lnTo>
                    <a:lnTo>
                      <a:pt x="1196" y="1270"/>
                    </a:lnTo>
                    <a:lnTo>
                      <a:pt x="1195" y="1270"/>
                    </a:lnTo>
                    <a:lnTo>
                      <a:pt x="1193" y="1270"/>
                    </a:lnTo>
                    <a:lnTo>
                      <a:pt x="1193" y="1269"/>
                    </a:lnTo>
                    <a:lnTo>
                      <a:pt x="1191" y="1269"/>
                    </a:lnTo>
                    <a:lnTo>
                      <a:pt x="1190" y="1269"/>
                    </a:lnTo>
                    <a:lnTo>
                      <a:pt x="1191" y="1267"/>
                    </a:lnTo>
                    <a:lnTo>
                      <a:pt x="1193" y="1267"/>
                    </a:lnTo>
                    <a:lnTo>
                      <a:pt x="1195" y="1267"/>
                    </a:lnTo>
                    <a:lnTo>
                      <a:pt x="1196" y="1267"/>
                    </a:lnTo>
                    <a:lnTo>
                      <a:pt x="1198" y="1267"/>
                    </a:lnTo>
                    <a:lnTo>
                      <a:pt x="1200" y="1267"/>
                    </a:lnTo>
                    <a:lnTo>
                      <a:pt x="1198" y="1267"/>
                    </a:lnTo>
                    <a:lnTo>
                      <a:pt x="1196" y="1267"/>
                    </a:lnTo>
                    <a:lnTo>
                      <a:pt x="1195" y="1267"/>
                    </a:lnTo>
                    <a:lnTo>
                      <a:pt x="1193" y="1267"/>
                    </a:lnTo>
                    <a:lnTo>
                      <a:pt x="1191" y="1267"/>
                    </a:lnTo>
                    <a:lnTo>
                      <a:pt x="1190" y="1267"/>
                    </a:lnTo>
                    <a:lnTo>
                      <a:pt x="1190" y="1269"/>
                    </a:lnTo>
                    <a:lnTo>
                      <a:pt x="1188" y="1269"/>
                    </a:lnTo>
                    <a:lnTo>
                      <a:pt x="1188" y="1267"/>
                    </a:lnTo>
                    <a:lnTo>
                      <a:pt x="1190" y="1267"/>
                    </a:lnTo>
                    <a:lnTo>
                      <a:pt x="1190" y="1265"/>
                    </a:lnTo>
                    <a:lnTo>
                      <a:pt x="1188" y="1264"/>
                    </a:lnTo>
                    <a:lnTo>
                      <a:pt x="1188" y="1265"/>
                    </a:lnTo>
                    <a:lnTo>
                      <a:pt x="1188" y="1264"/>
                    </a:lnTo>
                    <a:lnTo>
                      <a:pt x="1188" y="1262"/>
                    </a:lnTo>
                    <a:lnTo>
                      <a:pt x="1186" y="1262"/>
                    </a:lnTo>
                    <a:lnTo>
                      <a:pt x="1185" y="1262"/>
                    </a:lnTo>
                    <a:lnTo>
                      <a:pt x="1185" y="1260"/>
                    </a:lnTo>
                    <a:lnTo>
                      <a:pt x="1183" y="1260"/>
                    </a:lnTo>
                    <a:lnTo>
                      <a:pt x="1183" y="1259"/>
                    </a:lnTo>
                    <a:lnTo>
                      <a:pt x="1181" y="1259"/>
                    </a:lnTo>
                    <a:lnTo>
                      <a:pt x="1181" y="1257"/>
                    </a:lnTo>
                    <a:lnTo>
                      <a:pt x="1181" y="1255"/>
                    </a:lnTo>
                    <a:lnTo>
                      <a:pt x="1183" y="1255"/>
                    </a:lnTo>
                    <a:lnTo>
                      <a:pt x="1183" y="1253"/>
                    </a:lnTo>
                    <a:lnTo>
                      <a:pt x="1183" y="1255"/>
                    </a:lnTo>
                    <a:lnTo>
                      <a:pt x="1183" y="1253"/>
                    </a:lnTo>
                    <a:lnTo>
                      <a:pt x="1183" y="1252"/>
                    </a:lnTo>
                    <a:lnTo>
                      <a:pt x="1185" y="1252"/>
                    </a:lnTo>
                    <a:lnTo>
                      <a:pt x="1183" y="1252"/>
                    </a:lnTo>
                    <a:lnTo>
                      <a:pt x="1183" y="1253"/>
                    </a:lnTo>
                    <a:lnTo>
                      <a:pt x="1181" y="1253"/>
                    </a:lnTo>
                    <a:lnTo>
                      <a:pt x="1181" y="1255"/>
                    </a:lnTo>
                    <a:lnTo>
                      <a:pt x="1179" y="1255"/>
                    </a:lnTo>
                    <a:lnTo>
                      <a:pt x="1181" y="1255"/>
                    </a:lnTo>
                    <a:lnTo>
                      <a:pt x="1181" y="1253"/>
                    </a:lnTo>
                    <a:lnTo>
                      <a:pt x="1181" y="1255"/>
                    </a:lnTo>
                    <a:lnTo>
                      <a:pt x="1179" y="1255"/>
                    </a:lnTo>
                    <a:lnTo>
                      <a:pt x="1178" y="1257"/>
                    </a:lnTo>
                    <a:lnTo>
                      <a:pt x="1178" y="1255"/>
                    </a:lnTo>
                    <a:lnTo>
                      <a:pt x="1176" y="1255"/>
                    </a:lnTo>
                    <a:lnTo>
                      <a:pt x="1176" y="1253"/>
                    </a:lnTo>
                    <a:lnTo>
                      <a:pt x="1176" y="1255"/>
                    </a:lnTo>
                    <a:lnTo>
                      <a:pt x="1176" y="1253"/>
                    </a:lnTo>
                    <a:lnTo>
                      <a:pt x="1176" y="1252"/>
                    </a:lnTo>
                    <a:lnTo>
                      <a:pt x="1176" y="1250"/>
                    </a:lnTo>
                    <a:lnTo>
                      <a:pt x="1178" y="1250"/>
                    </a:lnTo>
                    <a:lnTo>
                      <a:pt x="1179" y="1248"/>
                    </a:lnTo>
                    <a:lnTo>
                      <a:pt x="1181" y="1248"/>
                    </a:lnTo>
                    <a:lnTo>
                      <a:pt x="1183" y="1250"/>
                    </a:lnTo>
                    <a:lnTo>
                      <a:pt x="1185" y="1250"/>
                    </a:lnTo>
                    <a:lnTo>
                      <a:pt x="1186" y="1252"/>
                    </a:lnTo>
                    <a:lnTo>
                      <a:pt x="1186" y="1253"/>
                    </a:lnTo>
                    <a:lnTo>
                      <a:pt x="1186" y="1252"/>
                    </a:lnTo>
                    <a:lnTo>
                      <a:pt x="1186" y="1253"/>
                    </a:lnTo>
                    <a:lnTo>
                      <a:pt x="1188" y="1255"/>
                    </a:lnTo>
                    <a:lnTo>
                      <a:pt x="1188" y="1257"/>
                    </a:lnTo>
                    <a:lnTo>
                      <a:pt x="1190" y="1259"/>
                    </a:lnTo>
                    <a:lnTo>
                      <a:pt x="1190" y="1260"/>
                    </a:lnTo>
                    <a:lnTo>
                      <a:pt x="1190" y="1262"/>
                    </a:lnTo>
                    <a:lnTo>
                      <a:pt x="1188" y="1262"/>
                    </a:lnTo>
                    <a:lnTo>
                      <a:pt x="1190" y="1262"/>
                    </a:lnTo>
                    <a:lnTo>
                      <a:pt x="1188" y="1264"/>
                    </a:lnTo>
                    <a:lnTo>
                      <a:pt x="1190" y="1264"/>
                    </a:lnTo>
                    <a:lnTo>
                      <a:pt x="1190" y="1262"/>
                    </a:lnTo>
                    <a:lnTo>
                      <a:pt x="1190" y="1260"/>
                    </a:lnTo>
                    <a:lnTo>
                      <a:pt x="1191" y="1262"/>
                    </a:lnTo>
                    <a:lnTo>
                      <a:pt x="1191" y="1264"/>
                    </a:lnTo>
                    <a:lnTo>
                      <a:pt x="1193" y="1262"/>
                    </a:lnTo>
                    <a:lnTo>
                      <a:pt x="1195" y="1262"/>
                    </a:lnTo>
                    <a:lnTo>
                      <a:pt x="1193" y="1262"/>
                    </a:lnTo>
                    <a:lnTo>
                      <a:pt x="1191" y="1264"/>
                    </a:lnTo>
                    <a:lnTo>
                      <a:pt x="1191" y="1262"/>
                    </a:lnTo>
                    <a:lnTo>
                      <a:pt x="1191" y="1260"/>
                    </a:lnTo>
                    <a:lnTo>
                      <a:pt x="1190" y="1260"/>
                    </a:lnTo>
                    <a:lnTo>
                      <a:pt x="1190" y="1259"/>
                    </a:lnTo>
                    <a:lnTo>
                      <a:pt x="1191" y="1259"/>
                    </a:lnTo>
                    <a:lnTo>
                      <a:pt x="1190" y="1259"/>
                    </a:lnTo>
                    <a:lnTo>
                      <a:pt x="1190" y="1257"/>
                    </a:lnTo>
                    <a:lnTo>
                      <a:pt x="1188" y="1255"/>
                    </a:lnTo>
                    <a:lnTo>
                      <a:pt x="1188" y="1253"/>
                    </a:lnTo>
                    <a:lnTo>
                      <a:pt x="1188" y="1252"/>
                    </a:lnTo>
                    <a:lnTo>
                      <a:pt x="1190" y="1252"/>
                    </a:lnTo>
                    <a:lnTo>
                      <a:pt x="1190" y="1250"/>
                    </a:lnTo>
                    <a:lnTo>
                      <a:pt x="1191" y="1250"/>
                    </a:lnTo>
                    <a:lnTo>
                      <a:pt x="1191" y="1252"/>
                    </a:lnTo>
                    <a:lnTo>
                      <a:pt x="1191" y="1253"/>
                    </a:lnTo>
                    <a:lnTo>
                      <a:pt x="1193" y="1253"/>
                    </a:lnTo>
                    <a:lnTo>
                      <a:pt x="1193" y="1255"/>
                    </a:lnTo>
                    <a:lnTo>
                      <a:pt x="1191" y="1253"/>
                    </a:lnTo>
                    <a:lnTo>
                      <a:pt x="1191" y="1252"/>
                    </a:lnTo>
                    <a:lnTo>
                      <a:pt x="1191" y="1250"/>
                    </a:lnTo>
                    <a:lnTo>
                      <a:pt x="1193" y="1250"/>
                    </a:lnTo>
                    <a:lnTo>
                      <a:pt x="1193" y="1252"/>
                    </a:lnTo>
                    <a:lnTo>
                      <a:pt x="1193" y="1250"/>
                    </a:lnTo>
                    <a:lnTo>
                      <a:pt x="1195" y="1250"/>
                    </a:lnTo>
                    <a:lnTo>
                      <a:pt x="1196" y="1250"/>
                    </a:lnTo>
                    <a:lnTo>
                      <a:pt x="1196" y="1252"/>
                    </a:lnTo>
                    <a:lnTo>
                      <a:pt x="1195" y="1252"/>
                    </a:lnTo>
                    <a:lnTo>
                      <a:pt x="1196" y="1252"/>
                    </a:lnTo>
                    <a:lnTo>
                      <a:pt x="1196" y="1253"/>
                    </a:lnTo>
                    <a:lnTo>
                      <a:pt x="1196" y="1252"/>
                    </a:lnTo>
                    <a:lnTo>
                      <a:pt x="1198" y="1252"/>
                    </a:lnTo>
                    <a:lnTo>
                      <a:pt x="1198" y="1253"/>
                    </a:lnTo>
                    <a:lnTo>
                      <a:pt x="1200" y="1253"/>
                    </a:lnTo>
                    <a:lnTo>
                      <a:pt x="1202" y="1252"/>
                    </a:lnTo>
                    <a:lnTo>
                      <a:pt x="1202" y="1253"/>
                    </a:lnTo>
                    <a:lnTo>
                      <a:pt x="1202" y="1252"/>
                    </a:lnTo>
                    <a:lnTo>
                      <a:pt x="1202" y="1253"/>
                    </a:lnTo>
                    <a:lnTo>
                      <a:pt x="1203" y="1253"/>
                    </a:lnTo>
                    <a:lnTo>
                      <a:pt x="1203" y="1255"/>
                    </a:lnTo>
                    <a:lnTo>
                      <a:pt x="1202" y="1255"/>
                    </a:lnTo>
                    <a:lnTo>
                      <a:pt x="1203" y="1257"/>
                    </a:lnTo>
                    <a:lnTo>
                      <a:pt x="1202" y="1257"/>
                    </a:lnTo>
                    <a:lnTo>
                      <a:pt x="1203" y="1257"/>
                    </a:lnTo>
                    <a:lnTo>
                      <a:pt x="1203" y="1255"/>
                    </a:lnTo>
                    <a:lnTo>
                      <a:pt x="1203" y="1253"/>
                    </a:lnTo>
                    <a:lnTo>
                      <a:pt x="1205" y="1253"/>
                    </a:lnTo>
                    <a:lnTo>
                      <a:pt x="1207" y="1253"/>
                    </a:lnTo>
                    <a:lnTo>
                      <a:pt x="1207" y="1255"/>
                    </a:lnTo>
                    <a:lnTo>
                      <a:pt x="1205" y="1255"/>
                    </a:lnTo>
                    <a:lnTo>
                      <a:pt x="1205" y="1257"/>
                    </a:lnTo>
                    <a:lnTo>
                      <a:pt x="1205" y="1259"/>
                    </a:lnTo>
                    <a:lnTo>
                      <a:pt x="1205" y="1257"/>
                    </a:lnTo>
                    <a:lnTo>
                      <a:pt x="1207" y="1255"/>
                    </a:lnTo>
                    <a:lnTo>
                      <a:pt x="1208" y="1257"/>
                    </a:lnTo>
                    <a:lnTo>
                      <a:pt x="1210" y="1257"/>
                    </a:lnTo>
                    <a:lnTo>
                      <a:pt x="1210" y="1259"/>
                    </a:lnTo>
                    <a:lnTo>
                      <a:pt x="1210" y="1257"/>
                    </a:lnTo>
                    <a:lnTo>
                      <a:pt x="1212" y="1259"/>
                    </a:lnTo>
                    <a:lnTo>
                      <a:pt x="1212" y="1260"/>
                    </a:lnTo>
                    <a:lnTo>
                      <a:pt x="1212" y="1262"/>
                    </a:lnTo>
                    <a:lnTo>
                      <a:pt x="1210" y="1262"/>
                    </a:lnTo>
                    <a:lnTo>
                      <a:pt x="1210" y="1264"/>
                    </a:lnTo>
                    <a:lnTo>
                      <a:pt x="1212" y="1262"/>
                    </a:lnTo>
                    <a:lnTo>
                      <a:pt x="1212" y="1260"/>
                    </a:lnTo>
                    <a:lnTo>
                      <a:pt x="1212" y="1262"/>
                    </a:lnTo>
                    <a:lnTo>
                      <a:pt x="1212" y="1264"/>
                    </a:lnTo>
                    <a:lnTo>
                      <a:pt x="1213" y="1264"/>
                    </a:lnTo>
                    <a:lnTo>
                      <a:pt x="1215" y="1264"/>
                    </a:lnTo>
                    <a:lnTo>
                      <a:pt x="1213" y="1262"/>
                    </a:lnTo>
                    <a:lnTo>
                      <a:pt x="1215" y="1260"/>
                    </a:lnTo>
                    <a:lnTo>
                      <a:pt x="1217" y="1260"/>
                    </a:lnTo>
                    <a:lnTo>
                      <a:pt x="1217" y="1262"/>
                    </a:lnTo>
                    <a:lnTo>
                      <a:pt x="1219" y="1262"/>
                    </a:lnTo>
                    <a:lnTo>
                      <a:pt x="1220" y="1262"/>
                    </a:lnTo>
                    <a:lnTo>
                      <a:pt x="1220" y="1260"/>
                    </a:lnTo>
                    <a:lnTo>
                      <a:pt x="1222" y="1260"/>
                    </a:lnTo>
                    <a:lnTo>
                      <a:pt x="1222" y="1259"/>
                    </a:lnTo>
                    <a:lnTo>
                      <a:pt x="1222" y="1257"/>
                    </a:lnTo>
                    <a:lnTo>
                      <a:pt x="1222" y="1255"/>
                    </a:lnTo>
                    <a:lnTo>
                      <a:pt x="1222" y="1253"/>
                    </a:lnTo>
                    <a:lnTo>
                      <a:pt x="1222" y="1252"/>
                    </a:lnTo>
                    <a:lnTo>
                      <a:pt x="1222" y="1253"/>
                    </a:lnTo>
                    <a:lnTo>
                      <a:pt x="1222" y="1255"/>
                    </a:lnTo>
                    <a:lnTo>
                      <a:pt x="1222" y="1257"/>
                    </a:lnTo>
                    <a:lnTo>
                      <a:pt x="1222" y="1259"/>
                    </a:lnTo>
                    <a:lnTo>
                      <a:pt x="1220" y="1260"/>
                    </a:lnTo>
                    <a:lnTo>
                      <a:pt x="1219" y="1260"/>
                    </a:lnTo>
                    <a:lnTo>
                      <a:pt x="1219" y="1259"/>
                    </a:lnTo>
                    <a:lnTo>
                      <a:pt x="1217" y="1259"/>
                    </a:lnTo>
                    <a:lnTo>
                      <a:pt x="1215" y="1259"/>
                    </a:lnTo>
                    <a:lnTo>
                      <a:pt x="1215" y="1257"/>
                    </a:lnTo>
                    <a:lnTo>
                      <a:pt x="1213" y="1255"/>
                    </a:lnTo>
                    <a:lnTo>
                      <a:pt x="1212" y="1255"/>
                    </a:lnTo>
                    <a:lnTo>
                      <a:pt x="1212" y="1253"/>
                    </a:lnTo>
                    <a:lnTo>
                      <a:pt x="1212" y="1252"/>
                    </a:lnTo>
                    <a:lnTo>
                      <a:pt x="1213" y="1252"/>
                    </a:lnTo>
                    <a:lnTo>
                      <a:pt x="1213" y="1250"/>
                    </a:lnTo>
                    <a:lnTo>
                      <a:pt x="1212" y="1250"/>
                    </a:lnTo>
                    <a:lnTo>
                      <a:pt x="1212" y="1252"/>
                    </a:lnTo>
                    <a:lnTo>
                      <a:pt x="1210" y="1252"/>
                    </a:lnTo>
                    <a:lnTo>
                      <a:pt x="1210" y="1250"/>
                    </a:lnTo>
                    <a:lnTo>
                      <a:pt x="1208" y="1248"/>
                    </a:lnTo>
                    <a:lnTo>
                      <a:pt x="1210" y="1248"/>
                    </a:lnTo>
                    <a:lnTo>
                      <a:pt x="1210" y="1247"/>
                    </a:lnTo>
                    <a:lnTo>
                      <a:pt x="1208" y="1247"/>
                    </a:lnTo>
                    <a:lnTo>
                      <a:pt x="1210" y="1245"/>
                    </a:lnTo>
                    <a:lnTo>
                      <a:pt x="1212" y="1245"/>
                    </a:lnTo>
                    <a:lnTo>
                      <a:pt x="1213" y="1245"/>
                    </a:lnTo>
                    <a:lnTo>
                      <a:pt x="1213" y="1247"/>
                    </a:lnTo>
                    <a:lnTo>
                      <a:pt x="1213" y="1248"/>
                    </a:lnTo>
                    <a:lnTo>
                      <a:pt x="1215" y="1248"/>
                    </a:lnTo>
                    <a:lnTo>
                      <a:pt x="1215" y="1250"/>
                    </a:lnTo>
                    <a:lnTo>
                      <a:pt x="1217" y="1250"/>
                    </a:lnTo>
                    <a:lnTo>
                      <a:pt x="1219" y="1250"/>
                    </a:lnTo>
                    <a:lnTo>
                      <a:pt x="1220" y="1248"/>
                    </a:lnTo>
                    <a:lnTo>
                      <a:pt x="1220" y="1250"/>
                    </a:lnTo>
                    <a:lnTo>
                      <a:pt x="1222" y="1250"/>
                    </a:lnTo>
                    <a:lnTo>
                      <a:pt x="1224" y="1250"/>
                    </a:lnTo>
                    <a:lnTo>
                      <a:pt x="1222" y="1248"/>
                    </a:lnTo>
                    <a:lnTo>
                      <a:pt x="1220" y="1248"/>
                    </a:lnTo>
                    <a:lnTo>
                      <a:pt x="1219" y="1248"/>
                    </a:lnTo>
                    <a:lnTo>
                      <a:pt x="1217" y="1248"/>
                    </a:lnTo>
                    <a:lnTo>
                      <a:pt x="1215" y="1248"/>
                    </a:lnTo>
                    <a:lnTo>
                      <a:pt x="1213" y="1248"/>
                    </a:lnTo>
                    <a:lnTo>
                      <a:pt x="1213" y="1247"/>
                    </a:lnTo>
                    <a:lnTo>
                      <a:pt x="1215" y="1247"/>
                    </a:lnTo>
                    <a:lnTo>
                      <a:pt x="1213" y="1245"/>
                    </a:lnTo>
                    <a:lnTo>
                      <a:pt x="1215" y="1245"/>
                    </a:lnTo>
                    <a:lnTo>
                      <a:pt x="1215" y="1243"/>
                    </a:lnTo>
                    <a:lnTo>
                      <a:pt x="1215" y="1245"/>
                    </a:lnTo>
                    <a:lnTo>
                      <a:pt x="1213" y="1245"/>
                    </a:lnTo>
                    <a:lnTo>
                      <a:pt x="1213" y="1243"/>
                    </a:lnTo>
                    <a:lnTo>
                      <a:pt x="1212" y="1243"/>
                    </a:lnTo>
                    <a:lnTo>
                      <a:pt x="1212" y="1242"/>
                    </a:lnTo>
                    <a:lnTo>
                      <a:pt x="1210" y="1242"/>
                    </a:lnTo>
                    <a:lnTo>
                      <a:pt x="1212" y="1242"/>
                    </a:lnTo>
                    <a:lnTo>
                      <a:pt x="1212" y="1240"/>
                    </a:lnTo>
                    <a:lnTo>
                      <a:pt x="1210" y="1240"/>
                    </a:lnTo>
                    <a:lnTo>
                      <a:pt x="1208" y="1240"/>
                    </a:lnTo>
                    <a:lnTo>
                      <a:pt x="1207" y="1240"/>
                    </a:lnTo>
                    <a:lnTo>
                      <a:pt x="1207" y="1238"/>
                    </a:lnTo>
                    <a:lnTo>
                      <a:pt x="1207" y="1236"/>
                    </a:lnTo>
                    <a:lnTo>
                      <a:pt x="1207" y="1235"/>
                    </a:lnTo>
                    <a:lnTo>
                      <a:pt x="1208" y="1233"/>
                    </a:lnTo>
                    <a:lnTo>
                      <a:pt x="1210" y="1231"/>
                    </a:lnTo>
                    <a:lnTo>
                      <a:pt x="1208" y="1231"/>
                    </a:lnTo>
                    <a:lnTo>
                      <a:pt x="1208" y="1233"/>
                    </a:lnTo>
                    <a:lnTo>
                      <a:pt x="1207" y="1233"/>
                    </a:lnTo>
                    <a:lnTo>
                      <a:pt x="1208" y="1233"/>
                    </a:lnTo>
                    <a:lnTo>
                      <a:pt x="1207" y="1233"/>
                    </a:lnTo>
                    <a:lnTo>
                      <a:pt x="1207" y="1235"/>
                    </a:lnTo>
                    <a:lnTo>
                      <a:pt x="1205" y="1235"/>
                    </a:lnTo>
                    <a:lnTo>
                      <a:pt x="1205" y="1236"/>
                    </a:lnTo>
                    <a:lnTo>
                      <a:pt x="1205" y="1238"/>
                    </a:lnTo>
                    <a:lnTo>
                      <a:pt x="1207" y="1238"/>
                    </a:lnTo>
                    <a:lnTo>
                      <a:pt x="1207" y="1240"/>
                    </a:lnTo>
                    <a:lnTo>
                      <a:pt x="1205" y="1240"/>
                    </a:lnTo>
                    <a:lnTo>
                      <a:pt x="1205" y="1242"/>
                    </a:lnTo>
                    <a:lnTo>
                      <a:pt x="1203" y="1242"/>
                    </a:lnTo>
                    <a:lnTo>
                      <a:pt x="1202" y="1242"/>
                    </a:lnTo>
                    <a:lnTo>
                      <a:pt x="1202" y="1243"/>
                    </a:lnTo>
                    <a:lnTo>
                      <a:pt x="1200" y="1243"/>
                    </a:lnTo>
                    <a:lnTo>
                      <a:pt x="1200" y="1242"/>
                    </a:lnTo>
                    <a:lnTo>
                      <a:pt x="1198" y="1242"/>
                    </a:lnTo>
                    <a:lnTo>
                      <a:pt x="1196" y="1242"/>
                    </a:lnTo>
                    <a:lnTo>
                      <a:pt x="1196" y="1240"/>
                    </a:lnTo>
                    <a:lnTo>
                      <a:pt x="1196" y="1238"/>
                    </a:lnTo>
                    <a:lnTo>
                      <a:pt x="1195" y="1240"/>
                    </a:lnTo>
                    <a:lnTo>
                      <a:pt x="1193" y="1240"/>
                    </a:lnTo>
                    <a:lnTo>
                      <a:pt x="1191" y="1240"/>
                    </a:lnTo>
                    <a:lnTo>
                      <a:pt x="1190" y="1240"/>
                    </a:lnTo>
                    <a:lnTo>
                      <a:pt x="1188" y="1240"/>
                    </a:lnTo>
                    <a:lnTo>
                      <a:pt x="1186" y="1240"/>
                    </a:lnTo>
                    <a:lnTo>
                      <a:pt x="1185" y="1240"/>
                    </a:lnTo>
                    <a:lnTo>
                      <a:pt x="1185" y="1238"/>
                    </a:lnTo>
                    <a:lnTo>
                      <a:pt x="1186" y="1238"/>
                    </a:lnTo>
                    <a:lnTo>
                      <a:pt x="1186" y="1240"/>
                    </a:lnTo>
                    <a:lnTo>
                      <a:pt x="1188" y="1240"/>
                    </a:lnTo>
                    <a:lnTo>
                      <a:pt x="1186" y="1238"/>
                    </a:lnTo>
                    <a:lnTo>
                      <a:pt x="1185" y="1238"/>
                    </a:lnTo>
                    <a:lnTo>
                      <a:pt x="1183" y="1238"/>
                    </a:lnTo>
                    <a:lnTo>
                      <a:pt x="1181" y="1238"/>
                    </a:lnTo>
                    <a:lnTo>
                      <a:pt x="1181" y="1240"/>
                    </a:lnTo>
                    <a:lnTo>
                      <a:pt x="1179" y="1240"/>
                    </a:lnTo>
                    <a:lnTo>
                      <a:pt x="1179" y="1238"/>
                    </a:lnTo>
                    <a:lnTo>
                      <a:pt x="1181" y="1238"/>
                    </a:lnTo>
                    <a:lnTo>
                      <a:pt x="1179" y="1238"/>
                    </a:lnTo>
                    <a:lnTo>
                      <a:pt x="1179" y="1240"/>
                    </a:lnTo>
                    <a:lnTo>
                      <a:pt x="1178" y="1240"/>
                    </a:lnTo>
                    <a:lnTo>
                      <a:pt x="1176" y="1240"/>
                    </a:lnTo>
                    <a:lnTo>
                      <a:pt x="1174" y="1238"/>
                    </a:lnTo>
                    <a:lnTo>
                      <a:pt x="1176" y="1238"/>
                    </a:lnTo>
                    <a:lnTo>
                      <a:pt x="1176" y="1236"/>
                    </a:lnTo>
                    <a:lnTo>
                      <a:pt x="1178" y="1236"/>
                    </a:lnTo>
                    <a:lnTo>
                      <a:pt x="1176" y="1236"/>
                    </a:lnTo>
                    <a:lnTo>
                      <a:pt x="1176" y="1238"/>
                    </a:lnTo>
                    <a:lnTo>
                      <a:pt x="1174" y="1238"/>
                    </a:lnTo>
                    <a:lnTo>
                      <a:pt x="1173" y="1238"/>
                    </a:lnTo>
                    <a:lnTo>
                      <a:pt x="1173" y="1236"/>
                    </a:lnTo>
                    <a:lnTo>
                      <a:pt x="1174" y="1235"/>
                    </a:lnTo>
                    <a:lnTo>
                      <a:pt x="1174" y="1233"/>
                    </a:lnTo>
                    <a:lnTo>
                      <a:pt x="1176" y="1233"/>
                    </a:lnTo>
                    <a:lnTo>
                      <a:pt x="1176" y="1231"/>
                    </a:lnTo>
                    <a:lnTo>
                      <a:pt x="1178" y="1233"/>
                    </a:lnTo>
                    <a:lnTo>
                      <a:pt x="1178" y="1231"/>
                    </a:lnTo>
                    <a:lnTo>
                      <a:pt x="1178" y="1233"/>
                    </a:lnTo>
                    <a:lnTo>
                      <a:pt x="1178" y="1231"/>
                    </a:lnTo>
                    <a:lnTo>
                      <a:pt x="1176" y="1231"/>
                    </a:lnTo>
                    <a:lnTo>
                      <a:pt x="1176" y="1230"/>
                    </a:lnTo>
                    <a:lnTo>
                      <a:pt x="1178" y="1230"/>
                    </a:lnTo>
                    <a:lnTo>
                      <a:pt x="1178" y="1228"/>
                    </a:lnTo>
                    <a:lnTo>
                      <a:pt x="1179" y="1228"/>
                    </a:lnTo>
                    <a:lnTo>
                      <a:pt x="1181" y="1228"/>
                    </a:lnTo>
                    <a:lnTo>
                      <a:pt x="1179" y="1230"/>
                    </a:lnTo>
                    <a:lnTo>
                      <a:pt x="1181" y="1230"/>
                    </a:lnTo>
                    <a:lnTo>
                      <a:pt x="1181" y="1231"/>
                    </a:lnTo>
                    <a:lnTo>
                      <a:pt x="1181" y="1230"/>
                    </a:lnTo>
                    <a:lnTo>
                      <a:pt x="1181" y="1228"/>
                    </a:lnTo>
                    <a:lnTo>
                      <a:pt x="1183" y="1228"/>
                    </a:lnTo>
                    <a:lnTo>
                      <a:pt x="1185" y="1228"/>
                    </a:lnTo>
                    <a:lnTo>
                      <a:pt x="1185" y="1230"/>
                    </a:lnTo>
                    <a:lnTo>
                      <a:pt x="1185" y="1231"/>
                    </a:lnTo>
                    <a:lnTo>
                      <a:pt x="1185" y="1230"/>
                    </a:lnTo>
                    <a:lnTo>
                      <a:pt x="1186" y="1231"/>
                    </a:lnTo>
                    <a:lnTo>
                      <a:pt x="1186" y="1233"/>
                    </a:lnTo>
                    <a:lnTo>
                      <a:pt x="1185" y="1233"/>
                    </a:lnTo>
                    <a:lnTo>
                      <a:pt x="1185" y="1235"/>
                    </a:lnTo>
                    <a:lnTo>
                      <a:pt x="1185" y="1233"/>
                    </a:lnTo>
                    <a:lnTo>
                      <a:pt x="1185" y="1231"/>
                    </a:lnTo>
                    <a:lnTo>
                      <a:pt x="1185" y="1233"/>
                    </a:lnTo>
                    <a:lnTo>
                      <a:pt x="1183" y="1233"/>
                    </a:lnTo>
                    <a:lnTo>
                      <a:pt x="1183" y="1235"/>
                    </a:lnTo>
                    <a:lnTo>
                      <a:pt x="1181" y="1235"/>
                    </a:lnTo>
                    <a:lnTo>
                      <a:pt x="1179" y="1235"/>
                    </a:lnTo>
                    <a:lnTo>
                      <a:pt x="1179" y="1233"/>
                    </a:lnTo>
                    <a:lnTo>
                      <a:pt x="1178" y="1233"/>
                    </a:lnTo>
                    <a:lnTo>
                      <a:pt x="1179" y="1233"/>
                    </a:lnTo>
                    <a:lnTo>
                      <a:pt x="1178" y="1235"/>
                    </a:lnTo>
                    <a:lnTo>
                      <a:pt x="1179" y="1235"/>
                    </a:lnTo>
                    <a:lnTo>
                      <a:pt x="1179" y="1236"/>
                    </a:lnTo>
                    <a:lnTo>
                      <a:pt x="1181" y="1235"/>
                    </a:lnTo>
                    <a:lnTo>
                      <a:pt x="1183" y="1235"/>
                    </a:lnTo>
                    <a:lnTo>
                      <a:pt x="1185" y="1235"/>
                    </a:lnTo>
                    <a:lnTo>
                      <a:pt x="1186" y="1233"/>
                    </a:lnTo>
                    <a:lnTo>
                      <a:pt x="1186" y="1235"/>
                    </a:lnTo>
                    <a:lnTo>
                      <a:pt x="1186" y="1233"/>
                    </a:lnTo>
                    <a:lnTo>
                      <a:pt x="1188" y="1235"/>
                    </a:lnTo>
                    <a:lnTo>
                      <a:pt x="1186" y="1235"/>
                    </a:lnTo>
                    <a:lnTo>
                      <a:pt x="1186" y="1236"/>
                    </a:lnTo>
                    <a:lnTo>
                      <a:pt x="1188" y="1236"/>
                    </a:lnTo>
                    <a:lnTo>
                      <a:pt x="1188" y="1238"/>
                    </a:lnTo>
                    <a:lnTo>
                      <a:pt x="1190" y="1238"/>
                    </a:lnTo>
                    <a:lnTo>
                      <a:pt x="1191" y="1238"/>
                    </a:lnTo>
                    <a:lnTo>
                      <a:pt x="1191" y="1240"/>
                    </a:lnTo>
                    <a:lnTo>
                      <a:pt x="1191" y="1238"/>
                    </a:lnTo>
                    <a:lnTo>
                      <a:pt x="1193" y="1238"/>
                    </a:lnTo>
                    <a:lnTo>
                      <a:pt x="1195" y="1238"/>
                    </a:lnTo>
                    <a:lnTo>
                      <a:pt x="1193" y="1238"/>
                    </a:lnTo>
                    <a:lnTo>
                      <a:pt x="1191" y="1238"/>
                    </a:lnTo>
                    <a:lnTo>
                      <a:pt x="1190" y="1238"/>
                    </a:lnTo>
                    <a:lnTo>
                      <a:pt x="1190" y="1236"/>
                    </a:lnTo>
                    <a:lnTo>
                      <a:pt x="1188" y="1236"/>
                    </a:lnTo>
                    <a:lnTo>
                      <a:pt x="1188" y="1235"/>
                    </a:lnTo>
                    <a:lnTo>
                      <a:pt x="1188" y="1233"/>
                    </a:lnTo>
                    <a:lnTo>
                      <a:pt x="1190" y="1233"/>
                    </a:lnTo>
                    <a:lnTo>
                      <a:pt x="1191" y="1233"/>
                    </a:lnTo>
                    <a:lnTo>
                      <a:pt x="1193" y="1235"/>
                    </a:lnTo>
                    <a:lnTo>
                      <a:pt x="1195" y="1235"/>
                    </a:lnTo>
                    <a:lnTo>
                      <a:pt x="1193" y="1233"/>
                    </a:lnTo>
                    <a:lnTo>
                      <a:pt x="1195" y="1233"/>
                    </a:lnTo>
                    <a:lnTo>
                      <a:pt x="1193" y="1233"/>
                    </a:lnTo>
                    <a:lnTo>
                      <a:pt x="1191" y="1233"/>
                    </a:lnTo>
                    <a:lnTo>
                      <a:pt x="1190" y="1233"/>
                    </a:lnTo>
                    <a:lnTo>
                      <a:pt x="1188" y="1233"/>
                    </a:lnTo>
                    <a:lnTo>
                      <a:pt x="1190" y="1233"/>
                    </a:lnTo>
                    <a:lnTo>
                      <a:pt x="1188" y="1233"/>
                    </a:lnTo>
                    <a:lnTo>
                      <a:pt x="1188" y="1231"/>
                    </a:lnTo>
                    <a:lnTo>
                      <a:pt x="1190" y="1231"/>
                    </a:lnTo>
                    <a:lnTo>
                      <a:pt x="1191" y="1231"/>
                    </a:lnTo>
                    <a:lnTo>
                      <a:pt x="1193" y="1231"/>
                    </a:lnTo>
                    <a:lnTo>
                      <a:pt x="1195" y="1231"/>
                    </a:lnTo>
                    <a:lnTo>
                      <a:pt x="1196" y="1231"/>
                    </a:lnTo>
                    <a:lnTo>
                      <a:pt x="1198" y="1231"/>
                    </a:lnTo>
                    <a:lnTo>
                      <a:pt x="1198" y="1230"/>
                    </a:lnTo>
                    <a:lnTo>
                      <a:pt x="1198" y="1231"/>
                    </a:lnTo>
                    <a:lnTo>
                      <a:pt x="1196" y="1231"/>
                    </a:lnTo>
                    <a:lnTo>
                      <a:pt x="1195" y="1231"/>
                    </a:lnTo>
                    <a:lnTo>
                      <a:pt x="1193" y="1231"/>
                    </a:lnTo>
                    <a:lnTo>
                      <a:pt x="1193" y="1230"/>
                    </a:lnTo>
                    <a:lnTo>
                      <a:pt x="1195" y="1230"/>
                    </a:lnTo>
                    <a:lnTo>
                      <a:pt x="1195" y="1228"/>
                    </a:lnTo>
                    <a:lnTo>
                      <a:pt x="1196" y="1228"/>
                    </a:lnTo>
                    <a:lnTo>
                      <a:pt x="1198" y="1226"/>
                    </a:lnTo>
                    <a:lnTo>
                      <a:pt x="1200" y="1226"/>
                    </a:lnTo>
                    <a:lnTo>
                      <a:pt x="1198" y="1226"/>
                    </a:lnTo>
                    <a:lnTo>
                      <a:pt x="1196" y="1226"/>
                    </a:lnTo>
                    <a:lnTo>
                      <a:pt x="1195" y="1226"/>
                    </a:lnTo>
                    <a:lnTo>
                      <a:pt x="1195" y="1228"/>
                    </a:lnTo>
                    <a:lnTo>
                      <a:pt x="1193" y="1230"/>
                    </a:lnTo>
                    <a:lnTo>
                      <a:pt x="1191" y="1230"/>
                    </a:lnTo>
                    <a:lnTo>
                      <a:pt x="1190" y="1230"/>
                    </a:lnTo>
                    <a:lnTo>
                      <a:pt x="1188" y="1230"/>
                    </a:lnTo>
                    <a:lnTo>
                      <a:pt x="1188" y="1231"/>
                    </a:lnTo>
                    <a:lnTo>
                      <a:pt x="1186" y="1231"/>
                    </a:lnTo>
                    <a:lnTo>
                      <a:pt x="1186" y="1230"/>
                    </a:lnTo>
                    <a:lnTo>
                      <a:pt x="1186" y="1228"/>
                    </a:lnTo>
                    <a:lnTo>
                      <a:pt x="1186" y="1226"/>
                    </a:lnTo>
                    <a:lnTo>
                      <a:pt x="1188" y="1226"/>
                    </a:lnTo>
                    <a:lnTo>
                      <a:pt x="1190" y="1226"/>
                    </a:lnTo>
                    <a:lnTo>
                      <a:pt x="1191" y="1226"/>
                    </a:lnTo>
                    <a:lnTo>
                      <a:pt x="1193" y="1225"/>
                    </a:lnTo>
                    <a:lnTo>
                      <a:pt x="1195" y="1225"/>
                    </a:lnTo>
                    <a:lnTo>
                      <a:pt x="1195" y="1223"/>
                    </a:lnTo>
                    <a:lnTo>
                      <a:pt x="1193" y="1223"/>
                    </a:lnTo>
                    <a:lnTo>
                      <a:pt x="1193" y="1225"/>
                    </a:lnTo>
                    <a:lnTo>
                      <a:pt x="1191" y="1225"/>
                    </a:lnTo>
                    <a:lnTo>
                      <a:pt x="1191" y="1226"/>
                    </a:lnTo>
                    <a:lnTo>
                      <a:pt x="1190" y="1225"/>
                    </a:lnTo>
                    <a:lnTo>
                      <a:pt x="1190" y="1226"/>
                    </a:lnTo>
                    <a:lnTo>
                      <a:pt x="1188" y="1226"/>
                    </a:lnTo>
                    <a:lnTo>
                      <a:pt x="1186" y="1226"/>
                    </a:lnTo>
                    <a:lnTo>
                      <a:pt x="1185" y="1226"/>
                    </a:lnTo>
                    <a:lnTo>
                      <a:pt x="1183" y="1226"/>
                    </a:lnTo>
                    <a:lnTo>
                      <a:pt x="1185" y="1226"/>
                    </a:lnTo>
                    <a:lnTo>
                      <a:pt x="1185" y="1228"/>
                    </a:lnTo>
                    <a:lnTo>
                      <a:pt x="1186" y="1226"/>
                    </a:lnTo>
                    <a:lnTo>
                      <a:pt x="1186" y="1228"/>
                    </a:lnTo>
                    <a:lnTo>
                      <a:pt x="1185" y="1228"/>
                    </a:lnTo>
                    <a:lnTo>
                      <a:pt x="1183" y="1226"/>
                    </a:lnTo>
                    <a:lnTo>
                      <a:pt x="1181" y="1225"/>
                    </a:lnTo>
                    <a:lnTo>
                      <a:pt x="1183" y="1225"/>
                    </a:lnTo>
                    <a:lnTo>
                      <a:pt x="1183" y="1223"/>
                    </a:lnTo>
                    <a:lnTo>
                      <a:pt x="1183" y="1225"/>
                    </a:lnTo>
                    <a:lnTo>
                      <a:pt x="1185" y="1223"/>
                    </a:lnTo>
                    <a:lnTo>
                      <a:pt x="1185" y="1225"/>
                    </a:lnTo>
                    <a:lnTo>
                      <a:pt x="1186" y="1225"/>
                    </a:lnTo>
                    <a:lnTo>
                      <a:pt x="1186" y="1223"/>
                    </a:lnTo>
                    <a:lnTo>
                      <a:pt x="1188" y="1223"/>
                    </a:lnTo>
                    <a:lnTo>
                      <a:pt x="1188" y="1221"/>
                    </a:lnTo>
                    <a:lnTo>
                      <a:pt x="1188" y="1223"/>
                    </a:lnTo>
                    <a:lnTo>
                      <a:pt x="1186" y="1223"/>
                    </a:lnTo>
                    <a:lnTo>
                      <a:pt x="1185" y="1223"/>
                    </a:lnTo>
                    <a:lnTo>
                      <a:pt x="1183" y="1223"/>
                    </a:lnTo>
                    <a:lnTo>
                      <a:pt x="1183" y="1221"/>
                    </a:lnTo>
                    <a:lnTo>
                      <a:pt x="1181" y="1223"/>
                    </a:lnTo>
                    <a:lnTo>
                      <a:pt x="1181" y="1225"/>
                    </a:lnTo>
                    <a:lnTo>
                      <a:pt x="1179" y="1223"/>
                    </a:lnTo>
                    <a:lnTo>
                      <a:pt x="1181" y="1223"/>
                    </a:lnTo>
                    <a:lnTo>
                      <a:pt x="1179" y="1223"/>
                    </a:lnTo>
                    <a:lnTo>
                      <a:pt x="1179" y="1221"/>
                    </a:lnTo>
                    <a:lnTo>
                      <a:pt x="1181" y="1221"/>
                    </a:lnTo>
                    <a:lnTo>
                      <a:pt x="1181" y="1219"/>
                    </a:lnTo>
                    <a:lnTo>
                      <a:pt x="1181" y="1218"/>
                    </a:lnTo>
                    <a:lnTo>
                      <a:pt x="1183" y="1218"/>
                    </a:lnTo>
                    <a:lnTo>
                      <a:pt x="1183" y="1216"/>
                    </a:lnTo>
                    <a:lnTo>
                      <a:pt x="1185" y="1216"/>
                    </a:lnTo>
                    <a:lnTo>
                      <a:pt x="1185" y="1214"/>
                    </a:lnTo>
                    <a:lnTo>
                      <a:pt x="1186" y="1214"/>
                    </a:lnTo>
                    <a:lnTo>
                      <a:pt x="1186" y="1213"/>
                    </a:lnTo>
                    <a:lnTo>
                      <a:pt x="1186" y="1211"/>
                    </a:lnTo>
                    <a:lnTo>
                      <a:pt x="1188" y="1211"/>
                    </a:lnTo>
                    <a:lnTo>
                      <a:pt x="1188" y="1213"/>
                    </a:lnTo>
                    <a:lnTo>
                      <a:pt x="1190" y="1213"/>
                    </a:lnTo>
                    <a:lnTo>
                      <a:pt x="1188" y="1213"/>
                    </a:lnTo>
                    <a:lnTo>
                      <a:pt x="1188" y="1211"/>
                    </a:lnTo>
                    <a:lnTo>
                      <a:pt x="1190" y="1211"/>
                    </a:lnTo>
                    <a:lnTo>
                      <a:pt x="1190" y="1213"/>
                    </a:lnTo>
                    <a:lnTo>
                      <a:pt x="1190" y="1214"/>
                    </a:lnTo>
                    <a:lnTo>
                      <a:pt x="1190" y="1216"/>
                    </a:lnTo>
                    <a:lnTo>
                      <a:pt x="1190" y="1218"/>
                    </a:lnTo>
                    <a:lnTo>
                      <a:pt x="1190" y="1219"/>
                    </a:lnTo>
                    <a:lnTo>
                      <a:pt x="1191" y="1219"/>
                    </a:lnTo>
                    <a:lnTo>
                      <a:pt x="1190" y="1218"/>
                    </a:lnTo>
                    <a:lnTo>
                      <a:pt x="1190" y="1216"/>
                    </a:lnTo>
                    <a:lnTo>
                      <a:pt x="1191" y="1214"/>
                    </a:lnTo>
                    <a:lnTo>
                      <a:pt x="1190" y="1213"/>
                    </a:lnTo>
                    <a:lnTo>
                      <a:pt x="1191" y="1211"/>
                    </a:lnTo>
                    <a:lnTo>
                      <a:pt x="1190" y="1213"/>
                    </a:lnTo>
                    <a:lnTo>
                      <a:pt x="1190" y="1211"/>
                    </a:lnTo>
                    <a:lnTo>
                      <a:pt x="1191" y="1211"/>
                    </a:lnTo>
                    <a:lnTo>
                      <a:pt x="1193" y="1211"/>
                    </a:lnTo>
                    <a:lnTo>
                      <a:pt x="1193" y="1213"/>
                    </a:lnTo>
                    <a:lnTo>
                      <a:pt x="1193" y="1214"/>
                    </a:lnTo>
                    <a:lnTo>
                      <a:pt x="1195" y="1214"/>
                    </a:lnTo>
                    <a:lnTo>
                      <a:pt x="1193" y="1214"/>
                    </a:lnTo>
                    <a:lnTo>
                      <a:pt x="1193" y="1213"/>
                    </a:lnTo>
                    <a:lnTo>
                      <a:pt x="1193" y="1211"/>
                    </a:lnTo>
                    <a:lnTo>
                      <a:pt x="1195" y="1211"/>
                    </a:lnTo>
                    <a:lnTo>
                      <a:pt x="1195" y="1209"/>
                    </a:lnTo>
                    <a:lnTo>
                      <a:pt x="1196" y="1209"/>
                    </a:lnTo>
                    <a:lnTo>
                      <a:pt x="1195" y="1211"/>
                    </a:lnTo>
                    <a:lnTo>
                      <a:pt x="1196" y="1211"/>
                    </a:lnTo>
                    <a:lnTo>
                      <a:pt x="1195" y="1213"/>
                    </a:lnTo>
                    <a:lnTo>
                      <a:pt x="1196" y="1213"/>
                    </a:lnTo>
                    <a:lnTo>
                      <a:pt x="1196" y="1211"/>
                    </a:lnTo>
                    <a:lnTo>
                      <a:pt x="1196" y="1209"/>
                    </a:lnTo>
                    <a:lnTo>
                      <a:pt x="1196" y="1208"/>
                    </a:lnTo>
                    <a:lnTo>
                      <a:pt x="1196" y="1206"/>
                    </a:lnTo>
                    <a:lnTo>
                      <a:pt x="1196" y="1208"/>
                    </a:lnTo>
                    <a:lnTo>
                      <a:pt x="1195" y="1208"/>
                    </a:lnTo>
                    <a:lnTo>
                      <a:pt x="1195" y="1209"/>
                    </a:lnTo>
                    <a:lnTo>
                      <a:pt x="1193" y="1209"/>
                    </a:lnTo>
                    <a:lnTo>
                      <a:pt x="1191" y="1209"/>
                    </a:lnTo>
                    <a:lnTo>
                      <a:pt x="1191" y="1208"/>
                    </a:lnTo>
                    <a:lnTo>
                      <a:pt x="1190" y="1208"/>
                    </a:lnTo>
                    <a:lnTo>
                      <a:pt x="1190" y="1206"/>
                    </a:lnTo>
                    <a:lnTo>
                      <a:pt x="1190" y="1204"/>
                    </a:lnTo>
                    <a:lnTo>
                      <a:pt x="1191" y="1202"/>
                    </a:lnTo>
                    <a:lnTo>
                      <a:pt x="1191" y="1201"/>
                    </a:lnTo>
                    <a:lnTo>
                      <a:pt x="1193" y="1201"/>
                    </a:lnTo>
                    <a:lnTo>
                      <a:pt x="1193" y="1202"/>
                    </a:lnTo>
                    <a:lnTo>
                      <a:pt x="1195" y="1202"/>
                    </a:lnTo>
                    <a:lnTo>
                      <a:pt x="1195" y="1204"/>
                    </a:lnTo>
                    <a:lnTo>
                      <a:pt x="1195" y="1202"/>
                    </a:lnTo>
                    <a:lnTo>
                      <a:pt x="1195" y="1201"/>
                    </a:lnTo>
                    <a:lnTo>
                      <a:pt x="1196" y="1199"/>
                    </a:lnTo>
                    <a:lnTo>
                      <a:pt x="1195" y="1199"/>
                    </a:lnTo>
                    <a:lnTo>
                      <a:pt x="1195" y="1201"/>
                    </a:lnTo>
                    <a:lnTo>
                      <a:pt x="1193" y="1199"/>
                    </a:lnTo>
                    <a:lnTo>
                      <a:pt x="1191" y="1197"/>
                    </a:lnTo>
                    <a:lnTo>
                      <a:pt x="1191" y="1196"/>
                    </a:lnTo>
                    <a:lnTo>
                      <a:pt x="1190" y="1196"/>
                    </a:lnTo>
                    <a:lnTo>
                      <a:pt x="1191" y="1194"/>
                    </a:lnTo>
                    <a:lnTo>
                      <a:pt x="1190" y="1194"/>
                    </a:lnTo>
                    <a:lnTo>
                      <a:pt x="1188" y="1192"/>
                    </a:lnTo>
                    <a:lnTo>
                      <a:pt x="1186" y="1191"/>
                    </a:lnTo>
                    <a:lnTo>
                      <a:pt x="1185" y="1191"/>
                    </a:lnTo>
                    <a:lnTo>
                      <a:pt x="1186" y="1191"/>
                    </a:lnTo>
                    <a:lnTo>
                      <a:pt x="1188" y="1192"/>
                    </a:lnTo>
                    <a:lnTo>
                      <a:pt x="1190" y="1191"/>
                    </a:lnTo>
                    <a:lnTo>
                      <a:pt x="1188" y="1191"/>
                    </a:lnTo>
                    <a:lnTo>
                      <a:pt x="1188" y="1189"/>
                    </a:lnTo>
                    <a:lnTo>
                      <a:pt x="1186" y="1191"/>
                    </a:lnTo>
                    <a:lnTo>
                      <a:pt x="1186" y="1189"/>
                    </a:lnTo>
                    <a:lnTo>
                      <a:pt x="1186" y="1191"/>
                    </a:lnTo>
                    <a:lnTo>
                      <a:pt x="1185" y="1189"/>
                    </a:lnTo>
                    <a:lnTo>
                      <a:pt x="1183" y="1189"/>
                    </a:lnTo>
                    <a:lnTo>
                      <a:pt x="1181" y="1189"/>
                    </a:lnTo>
                    <a:lnTo>
                      <a:pt x="1179" y="1189"/>
                    </a:lnTo>
                    <a:lnTo>
                      <a:pt x="1181" y="1187"/>
                    </a:lnTo>
                    <a:lnTo>
                      <a:pt x="1179" y="1187"/>
                    </a:lnTo>
                    <a:lnTo>
                      <a:pt x="1178" y="1187"/>
                    </a:lnTo>
                    <a:lnTo>
                      <a:pt x="1178" y="1189"/>
                    </a:lnTo>
                    <a:lnTo>
                      <a:pt x="1179" y="1189"/>
                    </a:lnTo>
                    <a:lnTo>
                      <a:pt x="1181" y="1189"/>
                    </a:lnTo>
                    <a:lnTo>
                      <a:pt x="1181" y="1191"/>
                    </a:lnTo>
                    <a:lnTo>
                      <a:pt x="1179" y="1191"/>
                    </a:lnTo>
                    <a:lnTo>
                      <a:pt x="1178" y="1191"/>
                    </a:lnTo>
                    <a:lnTo>
                      <a:pt x="1176" y="1191"/>
                    </a:lnTo>
                    <a:lnTo>
                      <a:pt x="1176" y="1192"/>
                    </a:lnTo>
                    <a:lnTo>
                      <a:pt x="1176" y="1194"/>
                    </a:lnTo>
                    <a:lnTo>
                      <a:pt x="1174" y="1194"/>
                    </a:lnTo>
                    <a:lnTo>
                      <a:pt x="1174" y="1192"/>
                    </a:lnTo>
                    <a:lnTo>
                      <a:pt x="1173" y="1192"/>
                    </a:lnTo>
                    <a:lnTo>
                      <a:pt x="1174" y="1192"/>
                    </a:lnTo>
                    <a:lnTo>
                      <a:pt x="1174" y="1194"/>
                    </a:lnTo>
                    <a:lnTo>
                      <a:pt x="1176" y="1194"/>
                    </a:lnTo>
                    <a:lnTo>
                      <a:pt x="1178" y="1194"/>
                    </a:lnTo>
                    <a:lnTo>
                      <a:pt x="1179" y="1192"/>
                    </a:lnTo>
                    <a:lnTo>
                      <a:pt x="1181" y="1194"/>
                    </a:lnTo>
                    <a:lnTo>
                      <a:pt x="1183" y="1194"/>
                    </a:lnTo>
                    <a:lnTo>
                      <a:pt x="1183" y="1196"/>
                    </a:lnTo>
                    <a:lnTo>
                      <a:pt x="1183" y="1197"/>
                    </a:lnTo>
                    <a:lnTo>
                      <a:pt x="1183" y="1196"/>
                    </a:lnTo>
                    <a:lnTo>
                      <a:pt x="1181" y="1196"/>
                    </a:lnTo>
                    <a:lnTo>
                      <a:pt x="1179" y="1196"/>
                    </a:lnTo>
                    <a:lnTo>
                      <a:pt x="1178" y="1196"/>
                    </a:lnTo>
                    <a:lnTo>
                      <a:pt x="1176" y="1194"/>
                    </a:lnTo>
                    <a:lnTo>
                      <a:pt x="1176" y="1196"/>
                    </a:lnTo>
                    <a:lnTo>
                      <a:pt x="1174" y="1196"/>
                    </a:lnTo>
                    <a:lnTo>
                      <a:pt x="1174" y="1194"/>
                    </a:lnTo>
                    <a:lnTo>
                      <a:pt x="1173" y="1192"/>
                    </a:lnTo>
                    <a:lnTo>
                      <a:pt x="1171" y="1192"/>
                    </a:lnTo>
                    <a:lnTo>
                      <a:pt x="1171" y="1191"/>
                    </a:lnTo>
                    <a:lnTo>
                      <a:pt x="1169" y="1191"/>
                    </a:lnTo>
                    <a:lnTo>
                      <a:pt x="1171" y="1191"/>
                    </a:lnTo>
                    <a:lnTo>
                      <a:pt x="1171" y="1189"/>
                    </a:lnTo>
                    <a:lnTo>
                      <a:pt x="1171" y="1191"/>
                    </a:lnTo>
                    <a:lnTo>
                      <a:pt x="1169" y="1191"/>
                    </a:lnTo>
                    <a:lnTo>
                      <a:pt x="1169" y="1192"/>
                    </a:lnTo>
                    <a:lnTo>
                      <a:pt x="1168" y="1191"/>
                    </a:lnTo>
                    <a:lnTo>
                      <a:pt x="1166" y="1191"/>
                    </a:lnTo>
                    <a:lnTo>
                      <a:pt x="1166" y="1189"/>
                    </a:lnTo>
                    <a:lnTo>
                      <a:pt x="1164" y="1189"/>
                    </a:lnTo>
                    <a:lnTo>
                      <a:pt x="1164" y="1187"/>
                    </a:lnTo>
                    <a:lnTo>
                      <a:pt x="1162" y="1187"/>
                    </a:lnTo>
                    <a:lnTo>
                      <a:pt x="1162" y="1185"/>
                    </a:lnTo>
                    <a:lnTo>
                      <a:pt x="1161" y="1185"/>
                    </a:lnTo>
                    <a:lnTo>
                      <a:pt x="1161" y="1184"/>
                    </a:lnTo>
                    <a:lnTo>
                      <a:pt x="1161" y="1182"/>
                    </a:lnTo>
                    <a:lnTo>
                      <a:pt x="1162" y="1182"/>
                    </a:lnTo>
                    <a:lnTo>
                      <a:pt x="1162" y="1180"/>
                    </a:lnTo>
                    <a:lnTo>
                      <a:pt x="1164" y="1179"/>
                    </a:lnTo>
                    <a:lnTo>
                      <a:pt x="1166" y="1177"/>
                    </a:lnTo>
                    <a:lnTo>
                      <a:pt x="1166" y="1175"/>
                    </a:lnTo>
                    <a:lnTo>
                      <a:pt x="1166" y="1174"/>
                    </a:lnTo>
                    <a:lnTo>
                      <a:pt x="1164" y="1174"/>
                    </a:lnTo>
                    <a:lnTo>
                      <a:pt x="1164" y="1175"/>
                    </a:lnTo>
                    <a:lnTo>
                      <a:pt x="1164" y="1177"/>
                    </a:lnTo>
                    <a:lnTo>
                      <a:pt x="1162" y="1177"/>
                    </a:lnTo>
                    <a:lnTo>
                      <a:pt x="1162" y="1179"/>
                    </a:lnTo>
                    <a:lnTo>
                      <a:pt x="1162" y="1177"/>
                    </a:lnTo>
                    <a:lnTo>
                      <a:pt x="1162" y="1179"/>
                    </a:lnTo>
                    <a:lnTo>
                      <a:pt x="1162" y="1177"/>
                    </a:lnTo>
                    <a:lnTo>
                      <a:pt x="1162" y="1179"/>
                    </a:lnTo>
                    <a:lnTo>
                      <a:pt x="1162" y="1180"/>
                    </a:lnTo>
                    <a:lnTo>
                      <a:pt x="1161" y="1180"/>
                    </a:lnTo>
                    <a:lnTo>
                      <a:pt x="1161" y="1182"/>
                    </a:lnTo>
                    <a:lnTo>
                      <a:pt x="1159" y="1182"/>
                    </a:lnTo>
                    <a:lnTo>
                      <a:pt x="1157" y="1184"/>
                    </a:lnTo>
                    <a:lnTo>
                      <a:pt x="1157" y="1182"/>
                    </a:lnTo>
                    <a:lnTo>
                      <a:pt x="1156" y="1180"/>
                    </a:lnTo>
                    <a:lnTo>
                      <a:pt x="1157" y="1182"/>
                    </a:lnTo>
                    <a:lnTo>
                      <a:pt x="1156" y="1182"/>
                    </a:lnTo>
                    <a:lnTo>
                      <a:pt x="1157" y="1182"/>
                    </a:lnTo>
                    <a:lnTo>
                      <a:pt x="1156" y="1184"/>
                    </a:lnTo>
                    <a:lnTo>
                      <a:pt x="1154" y="1184"/>
                    </a:lnTo>
                    <a:lnTo>
                      <a:pt x="1152" y="1184"/>
                    </a:lnTo>
                    <a:lnTo>
                      <a:pt x="1152" y="1185"/>
                    </a:lnTo>
                    <a:lnTo>
                      <a:pt x="1152" y="1184"/>
                    </a:lnTo>
                    <a:lnTo>
                      <a:pt x="1151" y="1185"/>
                    </a:lnTo>
                    <a:lnTo>
                      <a:pt x="1152" y="1185"/>
                    </a:lnTo>
                    <a:lnTo>
                      <a:pt x="1151" y="1185"/>
                    </a:lnTo>
                    <a:lnTo>
                      <a:pt x="1151" y="1184"/>
                    </a:lnTo>
                    <a:lnTo>
                      <a:pt x="1149" y="1184"/>
                    </a:lnTo>
                    <a:lnTo>
                      <a:pt x="1149" y="1185"/>
                    </a:lnTo>
                    <a:lnTo>
                      <a:pt x="1147" y="1185"/>
                    </a:lnTo>
                    <a:lnTo>
                      <a:pt x="1145" y="1187"/>
                    </a:lnTo>
                    <a:lnTo>
                      <a:pt x="1144" y="1187"/>
                    </a:lnTo>
                    <a:lnTo>
                      <a:pt x="1145" y="1187"/>
                    </a:lnTo>
                    <a:lnTo>
                      <a:pt x="1145" y="1189"/>
                    </a:lnTo>
                    <a:lnTo>
                      <a:pt x="1144" y="1189"/>
                    </a:lnTo>
                    <a:lnTo>
                      <a:pt x="1144" y="1191"/>
                    </a:lnTo>
                    <a:lnTo>
                      <a:pt x="1144" y="1192"/>
                    </a:lnTo>
                    <a:lnTo>
                      <a:pt x="1144" y="1191"/>
                    </a:lnTo>
                    <a:lnTo>
                      <a:pt x="1145" y="1191"/>
                    </a:lnTo>
                    <a:lnTo>
                      <a:pt x="1145" y="1189"/>
                    </a:lnTo>
                    <a:lnTo>
                      <a:pt x="1147" y="1187"/>
                    </a:lnTo>
                    <a:lnTo>
                      <a:pt x="1147" y="1189"/>
                    </a:lnTo>
                    <a:lnTo>
                      <a:pt x="1149" y="1187"/>
                    </a:lnTo>
                    <a:lnTo>
                      <a:pt x="1151" y="1187"/>
                    </a:lnTo>
                    <a:lnTo>
                      <a:pt x="1152" y="1189"/>
                    </a:lnTo>
                    <a:lnTo>
                      <a:pt x="1151" y="1189"/>
                    </a:lnTo>
                    <a:lnTo>
                      <a:pt x="1149" y="1189"/>
                    </a:lnTo>
                    <a:lnTo>
                      <a:pt x="1151" y="1189"/>
                    </a:lnTo>
                    <a:lnTo>
                      <a:pt x="1149" y="1191"/>
                    </a:lnTo>
                    <a:lnTo>
                      <a:pt x="1149" y="1192"/>
                    </a:lnTo>
                    <a:lnTo>
                      <a:pt x="1151" y="1191"/>
                    </a:lnTo>
                    <a:lnTo>
                      <a:pt x="1151" y="1192"/>
                    </a:lnTo>
                    <a:lnTo>
                      <a:pt x="1151" y="1191"/>
                    </a:lnTo>
                    <a:lnTo>
                      <a:pt x="1152" y="1191"/>
                    </a:lnTo>
                    <a:lnTo>
                      <a:pt x="1152" y="1192"/>
                    </a:lnTo>
                    <a:lnTo>
                      <a:pt x="1152" y="1194"/>
                    </a:lnTo>
                    <a:lnTo>
                      <a:pt x="1151" y="1194"/>
                    </a:lnTo>
                    <a:lnTo>
                      <a:pt x="1151" y="1196"/>
                    </a:lnTo>
                    <a:lnTo>
                      <a:pt x="1149" y="1196"/>
                    </a:lnTo>
                    <a:lnTo>
                      <a:pt x="1151" y="1196"/>
                    </a:lnTo>
                    <a:lnTo>
                      <a:pt x="1151" y="1194"/>
                    </a:lnTo>
                    <a:lnTo>
                      <a:pt x="1152" y="1194"/>
                    </a:lnTo>
                    <a:lnTo>
                      <a:pt x="1154" y="1196"/>
                    </a:lnTo>
                    <a:lnTo>
                      <a:pt x="1152" y="1194"/>
                    </a:lnTo>
                    <a:lnTo>
                      <a:pt x="1154" y="1194"/>
                    </a:lnTo>
                    <a:lnTo>
                      <a:pt x="1152" y="1194"/>
                    </a:lnTo>
                    <a:lnTo>
                      <a:pt x="1152" y="1192"/>
                    </a:lnTo>
                    <a:lnTo>
                      <a:pt x="1154" y="1194"/>
                    </a:lnTo>
                    <a:lnTo>
                      <a:pt x="1154" y="1196"/>
                    </a:lnTo>
                    <a:lnTo>
                      <a:pt x="1154" y="1197"/>
                    </a:lnTo>
                    <a:lnTo>
                      <a:pt x="1152" y="1197"/>
                    </a:lnTo>
                    <a:lnTo>
                      <a:pt x="1152" y="1199"/>
                    </a:lnTo>
                    <a:lnTo>
                      <a:pt x="1151" y="1199"/>
                    </a:lnTo>
                    <a:lnTo>
                      <a:pt x="1149" y="1199"/>
                    </a:lnTo>
                    <a:lnTo>
                      <a:pt x="1147" y="1201"/>
                    </a:lnTo>
                    <a:lnTo>
                      <a:pt x="1147" y="1199"/>
                    </a:lnTo>
                    <a:lnTo>
                      <a:pt x="1145" y="1199"/>
                    </a:lnTo>
                    <a:lnTo>
                      <a:pt x="1145" y="1197"/>
                    </a:lnTo>
                    <a:lnTo>
                      <a:pt x="1144" y="1197"/>
                    </a:lnTo>
                    <a:lnTo>
                      <a:pt x="1144" y="1196"/>
                    </a:lnTo>
                    <a:lnTo>
                      <a:pt x="1142" y="1194"/>
                    </a:lnTo>
                    <a:lnTo>
                      <a:pt x="1142" y="1192"/>
                    </a:lnTo>
                    <a:lnTo>
                      <a:pt x="1140" y="1192"/>
                    </a:lnTo>
                    <a:lnTo>
                      <a:pt x="1140" y="1191"/>
                    </a:lnTo>
                    <a:lnTo>
                      <a:pt x="1142" y="1191"/>
                    </a:lnTo>
                    <a:lnTo>
                      <a:pt x="1140" y="1189"/>
                    </a:lnTo>
                    <a:lnTo>
                      <a:pt x="1140" y="1187"/>
                    </a:lnTo>
                    <a:lnTo>
                      <a:pt x="1140" y="1185"/>
                    </a:lnTo>
                    <a:lnTo>
                      <a:pt x="1142" y="1185"/>
                    </a:lnTo>
                    <a:lnTo>
                      <a:pt x="1142" y="1184"/>
                    </a:lnTo>
                    <a:lnTo>
                      <a:pt x="1142" y="1182"/>
                    </a:lnTo>
                    <a:lnTo>
                      <a:pt x="1144" y="1182"/>
                    </a:lnTo>
                    <a:lnTo>
                      <a:pt x="1144" y="1180"/>
                    </a:lnTo>
                    <a:lnTo>
                      <a:pt x="1144" y="1182"/>
                    </a:lnTo>
                    <a:lnTo>
                      <a:pt x="1144" y="1180"/>
                    </a:lnTo>
                    <a:lnTo>
                      <a:pt x="1145" y="1182"/>
                    </a:lnTo>
                    <a:lnTo>
                      <a:pt x="1147" y="1182"/>
                    </a:lnTo>
                    <a:lnTo>
                      <a:pt x="1147" y="1184"/>
                    </a:lnTo>
                    <a:lnTo>
                      <a:pt x="1147" y="1182"/>
                    </a:lnTo>
                    <a:lnTo>
                      <a:pt x="1145" y="1182"/>
                    </a:lnTo>
                    <a:lnTo>
                      <a:pt x="1145" y="1180"/>
                    </a:lnTo>
                    <a:lnTo>
                      <a:pt x="1147" y="1180"/>
                    </a:lnTo>
                    <a:lnTo>
                      <a:pt x="1149" y="1182"/>
                    </a:lnTo>
                    <a:lnTo>
                      <a:pt x="1149" y="1180"/>
                    </a:lnTo>
                    <a:lnTo>
                      <a:pt x="1147" y="1180"/>
                    </a:lnTo>
                    <a:lnTo>
                      <a:pt x="1147" y="1179"/>
                    </a:lnTo>
                    <a:lnTo>
                      <a:pt x="1145" y="1179"/>
                    </a:lnTo>
                    <a:lnTo>
                      <a:pt x="1147" y="1179"/>
                    </a:lnTo>
                    <a:lnTo>
                      <a:pt x="1147" y="1177"/>
                    </a:lnTo>
                    <a:lnTo>
                      <a:pt x="1147" y="1179"/>
                    </a:lnTo>
                    <a:lnTo>
                      <a:pt x="1149" y="1179"/>
                    </a:lnTo>
                    <a:lnTo>
                      <a:pt x="1149" y="1177"/>
                    </a:lnTo>
                    <a:lnTo>
                      <a:pt x="1149" y="1179"/>
                    </a:lnTo>
                    <a:lnTo>
                      <a:pt x="1149" y="1177"/>
                    </a:lnTo>
                    <a:lnTo>
                      <a:pt x="1151" y="1177"/>
                    </a:lnTo>
                    <a:lnTo>
                      <a:pt x="1152" y="1177"/>
                    </a:lnTo>
                    <a:lnTo>
                      <a:pt x="1151" y="1175"/>
                    </a:lnTo>
                    <a:lnTo>
                      <a:pt x="1151" y="1174"/>
                    </a:lnTo>
                    <a:lnTo>
                      <a:pt x="1151" y="1175"/>
                    </a:lnTo>
                    <a:lnTo>
                      <a:pt x="1152" y="1175"/>
                    </a:lnTo>
                    <a:lnTo>
                      <a:pt x="1151" y="1174"/>
                    </a:lnTo>
                    <a:lnTo>
                      <a:pt x="1152" y="1174"/>
                    </a:lnTo>
                    <a:lnTo>
                      <a:pt x="1152" y="1172"/>
                    </a:lnTo>
                    <a:lnTo>
                      <a:pt x="1154" y="1172"/>
                    </a:lnTo>
                    <a:lnTo>
                      <a:pt x="1156" y="1170"/>
                    </a:lnTo>
                    <a:lnTo>
                      <a:pt x="1157" y="1172"/>
                    </a:lnTo>
                    <a:lnTo>
                      <a:pt x="1156" y="1170"/>
                    </a:lnTo>
                    <a:lnTo>
                      <a:pt x="1157" y="1170"/>
                    </a:lnTo>
                    <a:lnTo>
                      <a:pt x="1157" y="1168"/>
                    </a:lnTo>
                    <a:lnTo>
                      <a:pt x="1157" y="1167"/>
                    </a:lnTo>
                    <a:lnTo>
                      <a:pt x="1157" y="1168"/>
                    </a:lnTo>
                    <a:lnTo>
                      <a:pt x="1159" y="1168"/>
                    </a:lnTo>
                    <a:lnTo>
                      <a:pt x="1159" y="1170"/>
                    </a:lnTo>
                    <a:lnTo>
                      <a:pt x="1161" y="1170"/>
                    </a:lnTo>
                    <a:lnTo>
                      <a:pt x="1162" y="1170"/>
                    </a:lnTo>
                    <a:lnTo>
                      <a:pt x="1164" y="1170"/>
                    </a:lnTo>
                    <a:lnTo>
                      <a:pt x="1166" y="1170"/>
                    </a:lnTo>
                    <a:lnTo>
                      <a:pt x="1168" y="1170"/>
                    </a:lnTo>
                    <a:lnTo>
                      <a:pt x="1166" y="1170"/>
                    </a:lnTo>
                    <a:lnTo>
                      <a:pt x="1164" y="1170"/>
                    </a:lnTo>
                    <a:lnTo>
                      <a:pt x="1162" y="1170"/>
                    </a:lnTo>
                    <a:lnTo>
                      <a:pt x="1161" y="1170"/>
                    </a:lnTo>
                    <a:lnTo>
                      <a:pt x="1161" y="1168"/>
                    </a:lnTo>
                    <a:lnTo>
                      <a:pt x="1159" y="1168"/>
                    </a:lnTo>
                    <a:lnTo>
                      <a:pt x="1159" y="1167"/>
                    </a:lnTo>
                    <a:lnTo>
                      <a:pt x="1161" y="1167"/>
                    </a:lnTo>
                    <a:lnTo>
                      <a:pt x="1162" y="1167"/>
                    </a:lnTo>
                    <a:lnTo>
                      <a:pt x="1161" y="1167"/>
                    </a:lnTo>
                    <a:lnTo>
                      <a:pt x="1161" y="1165"/>
                    </a:lnTo>
                    <a:lnTo>
                      <a:pt x="1161" y="1163"/>
                    </a:lnTo>
                    <a:lnTo>
                      <a:pt x="1162" y="1163"/>
                    </a:lnTo>
                    <a:lnTo>
                      <a:pt x="1164" y="1163"/>
                    </a:lnTo>
                    <a:lnTo>
                      <a:pt x="1164" y="1165"/>
                    </a:lnTo>
                    <a:lnTo>
                      <a:pt x="1166" y="1165"/>
                    </a:lnTo>
                    <a:lnTo>
                      <a:pt x="1166" y="1167"/>
                    </a:lnTo>
                    <a:lnTo>
                      <a:pt x="1168" y="1167"/>
                    </a:lnTo>
                    <a:lnTo>
                      <a:pt x="1166" y="1165"/>
                    </a:lnTo>
                    <a:lnTo>
                      <a:pt x="1166" y="1163"/>
                    </a:lnTo>
                    <a:lnTo>
                      <a:pt x="1166" y="1162"/>
                    </a:lnTo>
                    <a:lnTo>
                      <a:pt x="1168" y="1162"/>
                    </a:lnTo>
                    <a:lnTo>
                      <a:pt x="1168" y="1160"/>
                    </a:lnTo>
                    <a:lnTo>
                      <a:pt x="1169" y="1160"/>
                    </a:lnTo>
                    <a:lnTo>
                      <a:pt x="1169" y="1162"/>
                    </a:lnTo>
                    <a:lnTo>
                      <a:pt x="1169" y="1160"/>
                    </a:lnTo>
                    <a:lnTo>
                      <a:pt x="1169" y="1162"/>
                    </a:lnTo>
                    <a:lnTo>
                      <a:pt x="1171" y="1162"/>
                    </a:lnTo>
                    <a:lnTo>
                      <a:pt x="1171" y="1163"/>
                    </a:lnTo>
                    <a:lnTo>
                      <a:pt x="1171" y="1162"/>
                    </a:lnTo>
                    <a:lnTo>
                      <a:pt x="1173" y="1162"/>
                    </a:lnTo>
                    <a:lnTo>
                      <a:pt x="1174" y="1162"/>
                    </a:lnTo>
                    <a:lnTo>
                      <a:pt x="1173" y="1160"/>
                    </a:lnTo>
                    <a:lnTo>
                      <a:pt x="1173" y="1162"/>
                    </a:lnTo>
                    <a:lnTo>
                      <a:pt x="1171" y="1162"/>
                    </a:lnTo>
                    <a:lnTo>
                      <a:pt x="1171" y="1160"/>
                    </a:lnTo>
                    <a:lnTo>
                      <a:pt x="1171" y="1158"/>
                    </a:lnTo>
                    <a:lnTo>
                      <a:pt x="1171" y="1157"/>
                    </a:lnTo>
                    <a:lnTo>
                      <a:pt x="1171" y="1155"/>
                    </a:lnTo>
                    <a:lnTo>
                      <a:pt x="1173" y="1155"/>
                    </a:lnTo>
                    <a:lnTo>
                      <a:pt x="1174" y="1155"/>
                    </a:lnTo>
                    <a:lnTo>
                      <a:pt x="1176" y="1155"/>
                    </a:lnTo>
                    <a:lnTo>
                      <a:pt x="1178" y="1155"/>
                    </a:lnTo>
                    <a:lnTo>
                      <a:pt x="1176" y="1153"/>
                    </a:lnTo>
                    <a:lnTo>
                      <a:pt x="1176" y="1155"/>
                    </a:lnTo>
                    <a:lnTo>
                      <a:pt x="1174" y="1155"/>
                    </a:lnTo>
                    <a:lnTo>
                      <a:pt x="1173" y="1155"/>
                    </a:lnTo>
                    <a:lnTo>
                      <a:pt x="1173" y="1153"/>
                    </a:lnTo>
                    <a:lnTo>
                      <a:pt x="1174" y="1153"/>
                    </a:lnTo>
                    <a:lnTo>
                      <a:pt x="1173" y="1151"/>
                    </a:lnTo>
                    <a:lnTo>
                      <a:pt x="1173" y="1150"/>
                    </a:lnTo>
                    <a:lnTo>
                      <a:pt x="1174" y="1148"/>
                    </a:lnTo>
                    <a:lnTo>
                      <a:pt x="1173" y="1148"/>
                    </a:lnTo>
                    <a:lnTo>
                      <a:pt x="1173" y="1150"/>
                    </a:lnTo>
                    <a:lnTo>
                      <a:pt x="1173" y="1151"/>
                    </a:lnTo>
                    <a:lnTo>
                      <a:pt x="1171" y="1151"/>
                    </a:lnTo>
                    <a:lnTo>
                      <a:pt x="1173" y="1151"/>
                    </a:lnTo>
                    <a:lnTo>
                      <a:pt x="1173" y="1153"/>
                    </a:lnTo>
                    <a:lnTo>
                      <a:pt x="1171" y="1153"/>
                    </a:lnTo>
                    <a:lnTo>
                      <a:pt x="1171" y="1155"/>
                    </a:lnTo>
                    <a:lnTo>
                      <a:pt x="1169" y="1155"/>
                    </a:lnTo>
                    <a:lnTo>
                      <a:pt x="1168" y="1155"/>
                    </a:lnTo>
                    <a:lnTo>
                      <a:pt x="1168" y="1157"/>
                    </a:lnTo>
                    <a:lnTo>
                      <a:pt x="1168" y="1158"/>
                    </a:lnTo>
                    <a:lnTo>
                      <a:pt x="1166" y="1158"/>
                    </a:lnTo>
                    <a:lnTo>
                      <a:pt x="1164" y="1158"/>
                    </a:lnTo>
                    <a:lnTo>
                      <a:pt x="1162" y="1158"/>
                    </a:lnTo>
                    <a:lnTo>
                      <a:pt x="1161" y="1157"/>
                    </a:lnTo>
                    <a:lnTo>
                      <a:pt x="1161" y="1155"/>
                    </a:lnTo>
                    <a:lnTo>
                      <a:pt x="1162" y="1155"/>
                    </a:lnTo>
                    <a:lnTo>
                      <a:pt x="1162" y="1153"/>
                    </a:lnTo>
                    <a:lnTo>
                      <a:pt x="1164" y="1155"/>
                    </a:lnTo>
                    <a:lnTo>
                      <a:pt x="1164" y="1153"/>
                    </a:lnTo>
                    <a:lnTo>
                      <a:pt x="1166" y="1153"/>
                    </a:lnTo>
                    <a:lnTo>
                      <a:pt x="1168" y="1153"/>
                    </a:lnTo>
                    <a:lnTo>
                      <a:pt x="1169" y="1153"/>
                    </a:lnTo>
                    <a:lnTo>
                      <a:pt x="1168" y="1153"/>
                    </a:lnTo>
                    <a:lnTo>
                      <a:pt x="1166" y="1151"/>
                    </a:lnTo>
                    <a:lnTo>
                      <a:pt x="1168" y="1153"/>
                    </a:lnTo>
                    <a:lnTo>
                      <a:pt x="1166" y="1153"/>
                    </a:lnTo>
                    <a:lnTo>
                      <a:pt x="1164" y="1153"/>
                    </a:lnTo>
                    <a:lnTo>
                      <a:pt x="1162" y="1153"/>
                    </a:lnTo>
                    <a:lnTo>
                      <a:pt x="1161" y="1151"/>
                    </a:lnTo>
                    <a:lnTo>
                      <a:pt x="1162" y="1151"/>
                    </a:lnTo>
                    <a:lnTo>
                      <a:pt x="1164" y="1151"/>
                    </a:lnTo>
                    <a:lnTo>
                      <a:pt x="1164" y="1150"/>
                    </a:lnTo>
                    <a:lnTo>
                      <a:pt x="1166" y="1151"/>
                    </a:lnTo>
                    <a:lnTo>
                      <a:pt x="1164" y="1150"/>
                    </a:lnTo>
                    <a:lnTo>
                      <a:pt x="1162" y="1151"/>
                    </a:lnTo>
                    <a:lnTo>
                      <a:pt x="1161" y="1151"/>
                    </a:lnTo>
                    <a:lnTo>
                      <a:pt x="1161" y="1150"/>
                    </a:lnTo>
                    <a:lnTo>
                      <a:pt x="1161" y="1148"/>
                    </a:lnTo>
                    <a:lnTo>
                      <a:pt x="1159" y="1148"/>
                    </a:lnTo>
                    <a:lnTo>
                      <a:pt x="1161" y="1146"/>
                    </a:lnTo>
                    <a:lnTo>
                      <a:pt x="1162" y="1146"/>
                    </a:lnTo>
                    <a:lnTo>
                      <a:pt x="1164" y="1146"/>
                    </a:lnTo>
                    <a:lnTo>
                      <a:pt x="1164" y="1148"/>
                    </a:lnTo>
                    <a:lnTo>
                      <a:pt x="1164" y="1146"/>
                    </a:lnTo>
                    <a:lnTo>
                      <a:pt x="1164" y="1148"/>
                    </a:lnTo>
                    <a:lnTo>
                      <a:pt x="1166" y="1148"/>
                    </a:lnTo>
                    <a:lnTo>
                      <a:pt x="1168" y="1148"/>
                    </a:lnTo>
                    <a:lnTo>
                      <a:pt x="1168" y="1150"/>
                    </a:lnTo>
                    <a:lnTo>
                      <a:pt x="1169" y="1150"/>
                    </a:lnTo>
                    <a:lnTo>
                      <a:pt x="1168" y="1150"/>
                    </a:lnTo>
                    <a:lnTo>
                      <a:pt x="1168" y="1148"/>
                    </a:lnTo>
                    <a:lnTo>
                      <a:pt x="1166" y="1148"/>
                    </a:lnTo>
                    <a:lnTo>
                      <a:pt x="1164" y="1146"/>
                    </a:lnTo>
                    <a:lnTo>
                      <a:pt x="1166" y="1146"/>
                    </a:lnTo>
                    <a:lnTo>
                      <a:pt x="1168" y="1146"/>
                    </a:lnTo>
                    <a:lnTo>
                      <a:pt x="1168" y="1148"/>
                    </a:lnTo>
                    <a:lnTo>
                      <a:pt x="1168" y="1146"/>
                    </a:lnTo>
                    <a:lnTo>
                      <a:pt x="1169" y="1146"/>
                    </a:lnTo>
                    <a:lnTo>
                      <a:pt x="1168" y="1146"/>
                    </a:lnTo>
                    <a:lnTo>
                      <a:pt x="1169" y="1146"/>
                    </a:lnTo>
                    <a:lnTo>
                      <a:pt x="1171" y="1146"/>
                    </a:lnTo>
                    <a:lnTo>
                      <a:pt x="1169" y="1146"/>
                    </a:lnTo>
                    <a:lnTo>
                      <a:pt x="1169" y="1145"/>
                    </a:lnTo>
                    <a:lnTo>
                      <a:pt x="1171" y="1145"/>
                    </a:lnTo>
                    <a:lnTo>
                      <a:pt x="1173" y="1143"/>
                    </a:lnTo>
                    <a:lnTo>
                      <a:pt x="1173" y="1145"/>
                    </a:lnTo>
                    <a:lnTo>
                      <a:pt x="1174" y="1145"/>
                    </a:lnTo>
                    <a:lnTo>
                      <a:pt x="1173" y="1146"/>
                    </a:lnTo>
                    <a:lnTo>
                      <a:pt x="1173" y="1148"/>
                    </a:lnTo>
                    <a:lnTo>
                      <a:pt x="1174" y="1146"/>
                    </a:lnTo>
                    <a:lnTo>
                      <a:pt x="1174" y="1145"/>
                    </a:lnTo>
                    <a:lnTo>
                      <a:pt x="1176" y="1145"/>
                    </a:lnTo>
                    <a:lnTo>
                      <a:pt x="1178" y="1145"/>
                    </a:lnTo>
                    <a:lnTo>
                      <a:pt x="1178" y="1146"/>
                    </a:lnTo>
                    <a:lnTo>
                      <a:pt x="1176" y="1146"/>
                    </a:lnTo>
                    <a:lnTo>
                      <a:pt x="1178" y="1146"/>
                    </a:lnTo>
                    <a:lnTo>
                      <a:pt x="1178" y="1145"/>
                    </a:lnTo>
                    <a:lnTo>
                      <a:pt x="1179" y="1145"/>
                    </a:lnTo>
                    <a:lnTo>
                      <a:pt x="1179" y="1146"/>
                    </a:lnTo>
                    <a:lnTo>
                      <a:pt x="1179" y="1148"/>
                    </a:lnTo>
                    <a:lnTo>
                      <a:pt x="1178" y="1148"/>
                    </a:lnTo>
                    <a:lnTo>
                      <a:pt x="1179" y="1148"/>
                    </a:lnTo>
                    <a:lnTo>
                      <a:pt x="1181" y="1148"/>
                    </a:lnTo>
                    <a:lnTo>
                      <a:pt x="1179" y="1150"/>
                    </a:lnTo>
                    <a:lnTo>
                      <a:pt x="1181" y="1150"/>
                    </a:lnTo>
                    <a:lnTo>
                      <a:pt x="1181" y="1148"/>
                    </a:lnTo>
                    <a:lnTo>
                      <a:pt x="1183" y="1150"/>
                    </a:lnTo>
                    <a:lnTo>
                      <a:pt x="1181" y="1151"/>
                    </a:lnTo>
                    <a:lnTo>
                      <a:pt x="1181" y="1153"/>
                    </a:lnTo>
                    <a:lnTo>
                      <a:pt x="1181" y="1155"/>
                    </a:lnTo>
                    <a:lnTo>
                      <a:pt x="1183" y="1155"/>
                    </a:lnTo>
                    <a:lnTo>
                      <a:pt x="1183" y="1153"/>
                    </a:lnTo>
                    <a:lnTo>
                      <a:pt x="1183" y="1151"/>
                    </a:lnTo>
                    <a:lnTo>
                      <a:pt x="1183" y="1153"/>
                    </a:lnTo>
                    <a:lnTo>
                      <a:pt x="1183" y="1151"/>
                    </a:lnTo>
                    <a:lnTo>
                      <a:pt x="1183" y="1150"/>
                    </a:lnTo>
                    <a:lnTo>
                      <a:pt x="1185" y="1150"/>
                    </a:lnTo>
                    <a:lnTo>
                      <a:pt x="1185" y="1151"/>
                    </a:lnTo>
                    <a:lnTo>
                      <a:pt x="1185" y="1150"/>
                    </a:lnTo>
                    <a:lnTo>
                      <a:pt x="1183" y="1150"/>
                    </a:lnTo>
                    <a:lnTo>
                      <a:pt x="1183" y="1148"/>
                    </a:lnTo>
                    <a:lnTo>
                      <a:pt x="1181" y="1148"/>
                    </a:lnTo>
                    <a:lnTo>
                      <a:pt x="1181" y="1146"/>
                    </a:lnTo>
                    <a:lnTo>
                      <a:pt x="1181" y="1145"/>
                    </a:lnTo>
                    <a:lnTo>
                      <a:pt x="1183" y="1145"/>
                    </a:lnTo>
                    <a:lnTo>
                      <a:pt x="1183" y="1146"/>
                    </a:lnTo>
                    <a:lnTo>
                      <a:pt x="1183" y="1145"/>
                    </a:lnTo>
                    <a:lnTo>
                      <a:pt x="1181" y="1145"/>
                    </a:lnTo>
                    <a:lnTo>
                      <a:pt x="1181" y="1143"/>
                    </a:lnTo>
                    <a:lnTo>
                      <a:pt x="1183" y="1145"/>
                    </a:lnTo>
                    <a:lnTo>
                      <a:pt x="1183" y="1143"/>
                    </a:lnTo>
                    <a:lnTo>
                      <a:pt x="1185" y="1143"/>
                    </a:lnTo>
                    <a:lnTo>
                      <a:pt x="1186" y="1145"/>
                    </a:lnTo>
                    <a:lnTo>
                      <a:pt x="1186" y="1143"/>
                    </a:lnTo>
                    <a:lnTo>
                      <a:pt x="1186" y="1145"/>
                    </a:lnTo>
                    <a:lnTo>
                      <a:pt x="1186" y="1146"/>
                    </a:lnTo>
                    <a:lnTo>
                      <a:pt x="1188" y="1146"/>
                    </a:lnTo>
                    <a:lnTo>
                      <a:pt x="1186" y="1146"/>
                    </a:lnTo>
                    <a:lnTo>
                      <a:pt x="1188" y="1145"/>
                    </a:lnTo>
                    <a:lnTo>
                      <a:pt x="1190" y="1143"/>
                    </a:lnTo>
                    <a:lnTo>
                      <a:pt x="1191" y="1143"/>
                    </a:lnTo>
                    <a:lnTo>
                      <a:pt x="1193" y="1143"/>
                    </a:lnTo>
                    <a:lnTo>
                      <a:pt x="1193" y="1145"/>
                    </a:lnTo>
                    <a:lnTo>
                      <a:pt x="1195" y="1145"/>
                    </a:lnTo>
                    <a:lnTo>
                      <a:pt x="1193" y="1145"/>
                    </a:lnTo>
                    <a:lnTo>
                      <a:pt x="1193" y="1143"/>
                    </a:lnTo>
                    <a:lnTo>
                      <a:pt x="1195" y="1145"/>
                    </a:lnTo>
                    <a:lnTo>
                      <a:pt x="1195" y="1146"/>
                    </a:lnTo>
                    <a:lnTo>
                      <a:pt x="1193" y="1146"/>
                    </a:lnTo>
                    <a:lnTo>
                      <a:pt x="1191" y="1146"/>
                    </a:lnTo>
                    <a:lnTo>
                      <a:pt x="1190" y="1146"/>
                    </a:lnTo>
                    <a:lnTo>
                      <a:pt x="1190" y="1148"/>
                    </a:lnTo>
                    <a:lnTo>
                      <a:pt x="1188" y="1148"/>
                    </a:lnTo>
                    <a:lnTo>
                      <a:pt x="1190" y="1148"/>
                    </a:lnTo>
                    <a:lnTo>
                      <a:pt x="1191" y="1148"/>
                    </a:lnTo>
                    <a:lnTo>
                      <a:pt x="1193" y="1148"/>
                    </a:lnTo>
                    <a:lnTo>
                      <a:pt x="1193" y="1150"/>
                    </a:lnTo>
                    <a:lnTo>
                      <a:pt x="1191" y="1150"/>
                    </a:lnTo>
                    <a:lnTo>
                      <a:pt x="1193" y="1150"/>
                    </a:lnTo>
                    <a:lnTo>
                      <a:pt x="1193" y="1148"/>
                    </a:lnTo>
                    <a:lnTo>
                      <a:pt x="1195" y="1148"/>
                    </a:lnTo>
                    <a:lnTo>
                      <a:pt x="1196" y="1150"/>
                    </a:lnTo>
                    <a:lnTo>
                      <a:pt x="1196" y="1151"/>
                    </a:lnTo>
                    <a:lnTo>
                      <a:pt x="1195" y="1151"/>
                    </a:lnTo>
                    <a:lnTo>
                      <a:pt x="1195" y="1153"/>
                    </a:lnTo>
                    <a:lnTo>
                      <a:pt x="1193" y="1153"/>
                    </a:lnTo>
                    <a:lnTo>
                      <a:pt x="1191" y="1153"/>
                    </a:lnTo>
                    <a:lnTo>
                      <a:pt x="1190" y="1153"/>
                    </a:lnTo>
                    <a:lnTo>
                      <a:pt x="1188" y="1155"/>
                    </a:lnTo>
                    <a:lnTo>
                      <a:pt x="1186" y="1153"/>
                    </a:lnTo>
                    <a:lnTo>
                      <a:pt x="1186" y="1155"/>
                    </a:lnTo>
                    <a:lnTo>
                      <a:pt x="1188" y="1155"/>
                    </a:lnTo>
                    <a:lnTo>
                      <a:pt x="1190" y="1155"/>
                    </a:lnTo>
                    <a:lnTo>
                      <a:pt x="1191" y="1153"/>
                    </a:lnTo>
                    <a:lnTo>
                      <a:pt x="1193" y="1153"/>
                    </a:lnTo>
                    <a:lnTo>
                      <a:pt x="1195" y="1153"/>
                    </a:lnTo>
                    <a:lnTo>
                      <a:pt x="1195" y="1155"/>
                    </a:lnTo>
                    <a:lnTo>
                      <a:pt x="1195" y="1157"/>
                    </a:lnTo>
                    <a:lnTo>
                      <a:pt x="1195" y="1158"/>
                    </a:lnTo>
                    <a:lnTo>
                      <a:pt x="1193" y="1158"/>
                    </a:lnTo>
                    <a:lnTo>
                      <a:pt x="1191" y="1160"/>
                    </a:lnTo>
                    <a:lnTo>
                      <a:pt x="1191" y="1158"/>
                    </a:lnTo>
                    <a:lnTo>
                      <a:pt x="1190" y="1158"/>
                    </a:lnTo>
                    <a:lnTo>
                      <a:pt x="1190" y="1160"/>
                    </a:lnTo>
                    <a:lnTo>
                      <a:pt x="1188" y="1160"/>
                    </a:lnTo>
                    <a:lnTo>
                      <a:pt x="1186" y="1160"/>
                    </a:lnTo>
                    <a:lnTo>
                      <a:pt x="1186" y="1158"/>
                    </a:lnTo>
                    <a:lnTo>
                      <a:pt x="1186" y="1160"/>
                    </a:lnTo>
                    <a:lnTo>
                      <a:pt x="1185" y="1158"/>
                    </a:lnTo>
                    <a:lnTo>
                      <a:pt x="1186" y="1160"/>
                    </a:lnTo>
                    <a:lnTo>
                      <a:pt x="1188" y="1160"/>
                    </a:lnTo>
                    <a:lnTo>
                      <a:pt x="1190" y="1160"/>
                    </a:lnTo>
                    <a:lnTo>
                      <a:pt x="1191" y="1160"/>
                    </a:lnTo>
                    <a:lnTo>
                      <a:pt x="1193" y="1160"/>
                    </a:lnTo>
                    <a:lnTo>
                      <a:pt x="1193" y="1158"/>
                    </a:lnTo>
                    <a:lnTo>
                      <a:pt x="1195" y="1158"/>
                    </a:lnTo>
                    <a:lnTo>
                      <a:pt x="1196" y="1157"/>
                    </a:lnTo>
                    <a:lnTo>
                      <a:pt x="1195" y="1157"/>
                    </a:lnTo>
                    <a:lnTo>
                      <a:pt x="1195" y="1155"/>
                    </a:lnTo>
                    <a:lnTo>
                      <a:pt x="1195" y="1153"/>
                    </a:lnTo>
                    <a:lnTo>
                      <a:pt x="1195" y="1151"/>
                    </a:lnTo>
                    <a:lnTo>
                      <a:pt x="1196" y="1151"/>
                    </a:lnTo>
                    <a:lnTo>
                      <a:pt x="1196" y="1153"/>
                    </a:lnTo>
                    <a:lnTo>
                      <a:pt x="1198" y="1153"/>
                    </a:lnTo>
                    <a:lnTo>
                      <a:pt x="1198" y="1155"/>
                    </a:lnTo>
                    <a:lnTo>
                      <a:pt x="1198" y="1157"/>
                    </a:lnTo>
                    <a:lnTo>
                      <a:pt x="1198" y="1158"/>
                    </a:lnTo>
                    <a:lnTo>
                      <a:pt x="1196" y="1160"/>
                    </a:lnTo>
                    <a:lnTo>
                      <a:pt x="1195" y="1160"/>
                    </a:lnTo>
                    <a:lnTo>
                      <a:pt x="1195" y="1162"/>
                    </a:lnTo>
                    <a:lnTo>
                      <a:pt x="1193" y="1162"/>
                    </a:lnTo>
                    <a:lnTo>
                      <a:pt x="1191" y="1163"/>
                    </a:lnTo>
                    <a:lnTo>
                      <a:pt x="1190" y="1163"/>
                    </a:lnTo>
                    <a:lnTo>
                      <a:pt x="1188" y="1163"/>
                    </a:lnTo>
                    <a:lnTo>
                      <a:pt x="1188" y="1165"/>
                    </a:lnTo>
                    <a:lnTo>
                      <a:pt x="1186" y="1165"/>
                    </a:lnTo>
                    <a:lnTo>
                      <a:pt x="1185" y="1163"/>
                    </a:lnTo>
                    <a:lnTo>
                      <a:pt x="1183" y="1163"/>
                    </a:lnTo>
                    <a:lnTo>
                      <a:pt x="1181" y="1162"/>
                    </a:lnTo>
                    <a:lnTo>
                      <a:pt x="1183" y="1162"/>
                    </a:lnTo>
                    <a:lnTo>
                      <a:pt x="1181" y="1160"/>
                    </a:lnTo>
                    <a:lnTo>
                      <a:pt x="1181" y="1162"/>
                    </a:lnTo>
                    <a:lnTo>
                      <a:pt x="1181" y="1163"/>
                    </a:lnTo>
                    <a:lnTo>
                      <a:pt x="1183" y="1163"/>
                    </a:lnTo>
                    <a:lnTo>
                      <a:pt x="1185" y="1165"/>
                    </a:lnTo>
                    <a:lnTo>
                      <a:pt x="1186" y="1165"/>
                    </a:lnTo>
                    <a:lnTo>
                      <a:pt x="1188" y="1165"/>
                    </a:lnTo>
                    <a:lnTo>
                      <a:pt x="1190" y="1165"/>
                    </a:lnTo>
                    <a:lnTo>
                      <a:pt x="1190" y="1163"/>
                    </a:lnTo>
                    <a:lnTo>
                      <a:pt x="1191" y="1163"/>
                    </a:lnTo>
                    <a:lnTo>
                      <a:pt x="1193" y="1163"/>
                    </a:lnTo>
                    <a:lnTo>
                      <a:pt x="1195" y="1162"/>
                    </a:lnTo>
                    <a:lnTo>
                      <a:pt x="1196" y="1162"/>
                    </a:lnTo>
                    <a:lnTo>
                      <a:pt x="1196" y="1163"/>
                    </a:lnTo>
                    <a:lnTo>
                      <a:pt x="1195" y="1163"/>
                    </a:lnTo>
                    <a:lnTo>
                      <a:pt x="1196" y="1163"/>
                    </a:lnTo>
                    <a:lnTo>
                      <a:pt x="1196" y="1165"/>
                    </a:lnTo>
                    <a:lnTo>
                      <a:pt x="1196" y="1163"/>
                    </a:lnTo>
                    <a:lnTo>
                      <a:pt x="1196" y="1162"/>
                    </a:lnTo>
                    <a:lnTo>
                      <a:pt x="1198" y="1162"/>
                    </a:lnTo>
                    <a:lnTo>
                      <a:pt x="1198" y="1160"/>
                    </a:lnTo>
                    <a:lnTo>
                      <a:pt x="1200" y="1160"/>
                    </a:lnTo>
                    <a:lnTo>
                      <a:pt x="1202" y="1158"/>
                    </a:lnTo>
                    <a:lnTo>
                      <a:pt x="1202" y="1160"/>
                    </a:lnTo>
                    <a:lnTo>
                      <a:pt x="1202" y="1162"/>
                    </a:lnTo>
                    <a:lnTo>
                      <a:pt x="1203" y="1162"/>
                    </a:lnTo>
                    <a:lnTo>
                      <a:pt x="1203" y="1163"/>
                    </a:lnTo>
                    <a:lnTo>
                      <a:pt x="1205" y="1163"/>
                    </a:lnTo>
                    <a:lnTo>
                      <a:pt x="1205" y="1165"/>
                    </a:lnTo>
                    <a:lnTo>
                      <a:pt x="1205" y="1167"/>
                    </a:lnTo>
                    <a:lnTo>
                      <a:pt x="1205" y="1168"/>
                    </a:lnTo>
                    <a:lnTo>
                      <a:pt x="1205" y="1170"/>
                    </a:lnTo>
                    <a:lnTo>
                      <a:pt x="1203" y="1170"/>
                    </a:lnTo>
                    <a:lnTo>
                      <a:pt x="1203" y="1172"/>
                    </a:lnTo>
                    <a:lnTo>
                      <a:pt x="1203" y="1174"/>
                    </a:lnTo>
                    <a:lnTo>
                      <a:pt x="1202" y="1174"/>
                    </a:lnTo>
                    <a:lnTo>
                      <a:pt x="1202" y="1175"/>
                    </a:lnTo>
                    <a:lnTo>
                      <a:pt x="1200" y="1175"/>
                    </a:lnTo>
                    <a:lnTo>
                      <a:pt x="1202" y="1177"/>
                    </a:lnTo>
                    <a:lnTo>
                      <a:pt x="1202" y="1179"/>
                    </a:lnTo>
                    <a:lnTo>
                      <a:pt x="1202" y="1177"/>
                    </a:lnTo>
                    <a:lnTo>
                      <a:pt x="1200" y="1177"/>
                    </a:lnTo>
                    <a:lnTo>
                      <a:pt x="1200" y="1179"/>
                    </a:lnTo>
                    <a:lnTo>
                      <a:pt x="1198" y="1179"/>
                    </a:lnTo>
                    <a:lnTo>
                      <a:pt x="1200" y="1179"/>
                    </a:lnTo>
                    <a:lnTo>
                      <a:pt x="1200" y="1180"/>
                    </a:lnTo>
                    <a:lnTo>
                      <a:pt x="1202" y="1180"/>
                    </a:lnTo>
                    <a:lnTo>
                      <a:pt x="1202" y="1182"/>
                    </a:lnTo>
                    <a:lnTo>
                      <a:pt x="1203" y="1180"/>
                    </a:lnTo>
                    <a:lnTo>
                      <a:pt x="1203" y="1179"/>
                    </a:lnTo>
                    <a:lnTo>
                      <a:pt x="1203" y="1177"/>
                    </a:lnTo>
                    <a:lnTo>
                      <a:pt x="1205" y="1177"/>
                    </a:lnTo>
                    <a:lnTo>
                      <a:pt x="1205" y="1175"/>
                    </a:lnTo>
                    <a:lnTo>
                      <a:pt x="1205" y="1174"/>
                    </a:lnTo>
                    <a:lnTo>
                      <a:pt x="1205" y="1172"/>
                    </a:lnTo>
                    <a:lnTo>
                      <a:pt x="1207" y="1172"/>
                    </a:lnTo>
                    <a:lnTo>
                      <a:pt x="1208" y="1170"/>
                    </a:lnTo>
                    <a:lnTo>
                      <a:pt x="1208" y="1168"/>
                    </a:lnTo>
                    <a:lnTo>
                      <a:pt x="1210" y="1168"/>
                    </a:lnTo>
                    <a:lnTo>
                      <a:pt x="1210" y="1167"/>
                    </a:lnTo>
                    <a:lnTo>
                      <a:pt x="1212" y="1167"/>
                    </a:lnTo>
                    <a:lnTo>
                      <a:pt x="1213" y="1167"/>
                    </a:lnTo>
                    <a:lnTo>
                      <a:pt x="1215" y="1167"/>
                    </a:lnTo>
                    <a:lnTo>
                      <a:pt x="1213" y="1167"/>
                    </a:lnTo>
                    <a:lnTo>
                      <a:pt x="1212" y="1167"/>
                    </a:lnTo>
                    <a:lnTo>
                      <a:pt x="1212" y="1165"/>
                    </a:lnTo>
                    <a:lnTo>
                      <a:pt x="1212" y="1163"/>
                    </a:lnTo>
                    <a:lnTo>
                      <a:pt x="1212" y="1162"/>
                    </a:lnTo>
                    <a:lnTo>
                      <a:pt x="1213" y="1162"/>
                    </a:lnTo>
                    <a:lnTo>
                      <a:pt x="1213" y="1160"/>
                    </a:lnTo>
                    <a:lnTo>
                      <a:pt x="1215" y="1160"/>
                    </a:lnTo>
                    <a:lnTo>
                      <a:pt x="1213" y="1160"/>
                    </a:lnTo>
                    <a:lnTo>
                      <a:pt x="1213" y="1158"/>
                    </a:lnTo>
                    <a:lnTo>
                      <a:pt x="1215" y="1158"/>
                    </a:lnTo>
                    <a:lnTo>
                      <a:pt x="1215" y="1157"/>
                    </a:lnTo>
                    <a:lnTo>
                      <a:pt x="1217" y="1157"/>
                    </a:lnTo>
                    <a:lnTo>
                      <a:pt x="1217" y="1155"/>
                    </a:lnTo>
                    <a:lnTo>
                      <a:pt x="1219" y="1155"/>
                    </a:lnTo>
                    <a:lnTo>
                      <a:pt x="1219" y="1153"/>
                    </a:lnTo>
                    <a:lnTo>
                      <a:pt x="1217" y="1153"/>
                    </a:lnTo>
                    <a:lnTo>
                      <a:pt x="1215" y="1155"/>
                    </a:lnTo>
                    <a:lnTo>
                      <a:pt x="1215" y="1157"/>
                    </a:lnTo>
                    <a:lnTo>
                      <a:pt x="1213" y="1157"/>
                    </a:lnTo>
                    <a:lnTo>
                      <a:pt x="1213" y="1158"/>
                    </a:lnTo>
                    <a:lnTo>
                      <a:pt x="1212" y="1160"/>
                    </a:lnTo>
                    <a:lnTo>
                      <a:pt x="1212" y="1162"/>
                    </a:lnTo>
                    <a:lnTo>
                      <a:pt x="1210" y="1163"/>
                    </a:lnTo>
                    <a:lnTo>
                      <a:pt x="1212" y="1162"/>
                    </a:lnTo>
                    <a:lnTo>
                      <a:pt x="1212" y="1163"/>
                    </a:lnTo>
                    <a:lnTo>
                      <a:pt x="1210" y="1163"/>
                    </a:lnTo>
                    <a:lnTo>
                      <a:pt x="1210" y="1165"/>
                    </a:lnTo>
                    <a:lnTo>
                      <a:pt x="1208" y="1167"/>
                    </a:lnTo>
                    <a:lnTo>
                      <a:pt x="1208" y="1168"/>
                    </a:lnTo>
                    <a:lnTo>
                      <a:pt x="1207" y="1168"/>
                    </a:lnTo>
                    <a:lnTo>
                      <a:pt x="1208" y="1168"/>
                    </a:lnTo>
                    <a:lnTo>
                      <a:pt x="1207" y="1168"/>
                    </a:lnTo>
                    <a:lnTo>
                      <a:pt x="1208" y="1167"/>
                    </a:lnTo>
                    <a:lnTo>
                      <a:pt x="1208" y="1165"/>
                    </a:lnTo>
                    <a:lnTo>
                      <a:pt x="1208" y="1163"/>
                    </a:lnTo>
                    <a:lnTo>
                      <a:pt x="1210" y="1163"/>
                    </a:lnTo>
                    <a:lnTo>
                      <a:pt x="1208" y="1163"/>
                    </a:lnTo>
                    <a:lnTo>
                      <a:pt x="1208" y="1162"/>
                    </a:lnTo>
                    <a:lnTo>
                      <a:pt x="1208" y="1160"/>
                    </a:lnTo>
                    <a:lnTo>
                      <a:pt x="1208" y="1158"/>
                    </a:lnTo>
                    <a:lnTo>
                      <a:pt x="1210" y="1158"/>
                    </a:lnTo>
                    <a:lnTo>
                      <a:pt x="1210" y="1157"/>
                    </a:lnTo>
                    <a:lnTo>
                      <a:pt x="1210" y="1155"/>
                    </a:lnTo>
                    <a:lnTo>
                      <a:pt x="1208" y="1153"/>
                    </a:lnTo>
                    <a:lnTo>
                      <a:pt x="1210" y="1153"/>
                    </a:lnTo>
                    <a:lnTo>
                      <a:pt x="1208" y="1151"/>
                    </a:lnTo>
                    <a:lnTo>
                      <a:pt x="1210" y="1151"/>
                    </a:lnTo>
                    <a:lnTo>
                      <a:pt x="1210" y="1150"/>
                    </a:lnTo>
                    <a:lnTo>
                      <a:pt x="1212" y="1150"/>
                    </a:lnTo>
                    <a:lnTo>
                      <a:pt x="1210" y="1150"/>
                    </a:lnTo>
                    <a:lnTo>
                      <a:pt x="1210" y="1148"/>
                    </a:lnTo>
                    <a:lnTo>
                      <a:pt x="1212" y="1146"/>
                    </a:lnTo>
                    <a:lnTo>
                      <a:pt x="1213" y="1146"/>
                    </a:lnTo>
                    <a:lnTo>
                      <a:pt x="1212" y="1145"/>
                    </a:lnTo>
                    <a:lnTo>
                      <a:pt x="1213" y="1143"/>
                    </a:lnTo>
                    <a:lnTo>
                      <a:pt x="1213" y="1141"/>
                    </a:lnTo>
                    <a:lnTo>
                      <a:pt x="1215" y="1141"/>
                    </a:lnTo>
                    <a:lnTo>
                      <a:pt x="1215" y="1140"/>
                    </a:lnTo>
                    <a:lnTo>
                      <a:pt x="1217" y="1138"/>
                    </a:lnTo>
                    <a:lnTo>
                      <a:pt x="1219" y="1138"/>
                    </a:lnTo>
                    <a:lnTo>
                      <a:pt x="1220" y="1138"/>
                    </a:lnTo>
                    <a:lnTo>
                      <a:pt x="1220" y="1136"/>
                    </a:lnTo>
                    <a:lnTo>
                      <a:pt x="1222" y="1138"/>
                    </a:lnTo>
                    <a:lnTo>
                      <a:pt x="1222" y="1136"/>
                    </a:lnTo>
                    <a:lnTo>
                      <a:pt x="1222" y="1138"/>
                    </a:lnTo>
                    <a:lnTo>
                      <a:pt x="1224" y="1138"/>
                    </a:lnTo>
                    <a:lnTo>
                      <a:pt x="1225" y="1136"/>
                    </a:lnTo>
                    <a:lnTo>
                      <a:pt x="1224" y="1136"/>
                    </a:lnTo>
                    <a:lnTo>
                      <a:pt x="1224" y="1134"/>
                    </a:lnTo>
                    <a:lnTo>
                      <a:pt x="1222" y="1134"/>
                    </a:lnTo>
                    <a:lnTo>
                      <a:pt x="1222" y="1136"/>
                    </a:lnTo>
                    <a:lnTo>
                      <a:pt x="1220" y="1136"/>
                    </a:lnTo>
                    <a:lnTo>
                      <a:pt x="1220" y="1134"/>
                    </a:lnTo>
                    <a:lnTo>
                      <a:pt x="1220" y="1133"/>
                    </a:lnTo>
                    <a:lnTo>
                      <a:pt x="1222" y="1133"/>
                    </a:lnTo>
                    <a:lnTo>
                      <a:pt x="1220" y="1133"/>
                    </a:lnTo>
                    <a:lnTo>
                      <a:pt x="1220" y="1134"/>
                    </a:lnTo>
                    <a:lnTo>
                      <a:pt x="1219" y="1134"/>
                    </a:lnTo>
                    <a:lnTo>
                      <a:pt x="1217" y="1136"/>
                    </a:lnTo>
                    <a:lnTo>
                      <a:pt x="1217" y="1138"/>
                    </a:lnTo>
                    <a:lnTo>
                      <a:pt x="1215" y="1138"/>
                    </a:lnTo>
                    <a:lnTo>
                      <a:pt x="1215" y="1140"/>
                    </a:lnTo>
                    <a:lnTo>
                      <a:pt x="1213" y="1140"/>
                    </a:lnTo>
                    <a:lnTo>
                      <a:pt x="1213" y="1141"/>
                    </a:lnTo>
                    <a:lnTo>
                      <a:pt x="1212" y="1141"/>
                    </a:lnTo>
                    <a:lnTo>
                      <a:pt x="1212" y="1140"/>
                    </a:lnTo>
                    <a:lnTo>
                      <a:pt x="1212" y="1138"/>
                    </a:lnTo>
                    <a:lnTo>
                      <a:pt x="1212" y="1136"/>
                    </a:lnTo>
                    <a:lnTo>
                      <a:pt x="1212" y="1134"/>
                    </a:lnTo>
                    <a:lnTo>
                      <a:pt x="1212" y="1133"/>
                    </a:lnTo>
                    <a:lnTo>
                      <a:pt x="1213" y="1133"/>
                    </a:lnTo>
                    <a:lnTo>
                      <a:pt x="1213" y="1131"/>
                    </a:lnTo>
                    <a:lnTo>
                      <a:pt x="1213" y="1129"/>
                    </a:lnTo>
                    <a:lnTo>
                      <a:pt x="1213" y="1128"/>
                    </a:lnTo>
                    <a:lnTo>
                      <a:pt x="1213" y="1126"/>
                    </a:lnTo>
                    <a:lnTo>
                      <a:pt x="1215" y="1124"/>
                    </a:lnTo>
                    <a:lnTo>
                      <a:pt x="1217" y="1124"/>
                    </a:lnTo>
                    <a:lnTo>
                      <a:pt x="1217" y="1126"/>
                    </a:lnTo>
                    <a:lnTo>
                      <a:pt x="1217" y="1128"/>
                    </a:lnTo>
                    <a:lnTo>
                      <a:pt x="1217" y="1126"/>
                    </a:lnTo>
                    <a:lnTo>
                      <a:pt x="1217" y="1124"/>
                    </a:lnTo>
                    <a:lnTo>
                      <a:pt x="1217" y="1122"/>
                    </a:lnTo>
                    <a:lnTo>
                      <a:pt x="1219" y="1122"/>
                    </a:lnTo>
                    <a:lnTo>
                      <a:pt x="1219" y="1121"/>
                    </a:lnTo>
                    <a:lnTo>
                      <a:pt x="1219" y="1122"/>
                    </a:lnTo>
                    <a:lnTo>
                      <a:pt x="1220" y="1124"/>
                    </a:lnTo>
                    <a:lnTo>
                      <a:pt x="1220" y="1122"/>
                    </a:lnTo>
                    <a:lnTo>
                      <a:pt x="1220" y="1121"/>
                    </a:lnTo>
                    <a:lnTo>
                      <a:pt x="1219" y="1121"/>
                    </a:lnTo>
                    <a:lnTo>
                      <a:pt x="1220" y="1121"/>
                    </a:lnTo>
                    <a:lnTo>
                      <a:pt x="1220" y="1119"/>
                    </a:lnTo>
                    <a:lnTo>
                      <a:pt x="1222" y="1119"/>
                    </a:lnTo>
                    <a:lnTo>
                      <a:pt x="1224" y="1119"/>
                    </a:lnTo>
                    <a:lnTo>
                      <a:pt x="1225" y="1119"/>
                    </a:lnTo>
                    <a:lnTo>
                      <a:pt x="1225" y="1121"/>
                    </a:lnTo>
                    <a:lnTo>
                      <a:pt x="1225" y="1122"/>
                    </a:lnTo>
                    <a:lnTo>
                      <a:pt x="1227" y="1122"/>
                    </a:lnTo>
                    <a:lnTo>
                      <a:pt x="1227" y="1124"/>
                    </a:lnTo>
                    <a:lnTo>
                      <a:pt x="1229" y="1124"/>
                    </a:lnTo>
                    <a:lnTo>
                      <a:pt x="1230" y="1126"/>
                    </a:lnTo>
                    <a:lnTo>
                      <a:pt x="1232" y="1126"/>
                    </a:lnTo>
                    <a:lnTo>
                      <a:pt x="1234" y="1126"/>
                    </a:lnTo>
                    <a:lnTo>
                      <a:pt x="1234" y="1128"/>
                    </a:lnTo>
                    <a:lnTo>
                      <a:pt x="1234" y="1126"/>
                    </a:lnTo>
                    <a:lnTo>
                      <a:pt x="1234" y="1128"/>
                    </a:lnTo>
                    <a:lnTo>
                      <a:pt x="1236" y="1126"/>
                    </a:lnTo>
                    <a:lnTo>
                      <a:pt x="1236" y="1128"/>
                    </a:lnTo>
                    <a:lnTo>
                      <a:pt x="1236" y="1126"/>
                    </a:lnTo>
                    <a:lnTo>
                      <a:pt x="1237" y="1126"/>
                    </a:lnTo>
                    <a:lnTo>
                      <a:pt x="1236" y="1126"/>
                    </a:lnTo>
                    <a:lnTo>
                      <a:pt x="1237" y="1126"/>
                    </a:lnTo>
                    <a:lnTo>
                      <a:pt x="1237" y="1124"/>
                    </a:lnTo>
                    <a:lnTo>
                      <a:pt x="1236" y="1124"/>
                    </a:lnTo>
                    <a:lnTo>
                      <a:pt x="1237" y="1122"/>
                    </a:lnTo>
                    <a:lnTo>
                      <a:pt x="1236" y="1122"/>
                    </a:lnTo>
                    <a:lnTo>
                      <a:pt x="1234" y="1122"/>
                    </a:lnTo>
                    <a:lnTo>
                      <a:pt x="1234" y="1124"/>
                    </a:lnTo>
                    <a:lnTo>
                      <a:pt x="1232" y="1124"/>
                    </a:lnTo>
                    <a:lnTo>
                      <a:pt x="1230" y="1124"/>
                    </a:lnTo>
                    <a:lnTo>
                      <a:pt x="1230" y="1122"/>
                    </a:lnTo>
                    <a:lnTo>
                      <a:pt x="1229" y="1122"/>
                    </a:lnTo>
                    <a:lnTo>
                      <a:pt x="1229" y="1121"/>
                    </a:lnTo>
                    <a:lnTo>
                      <a:pt x="1227" y="1121"/>
                    </a:lnTo>
                    <a:lnTo>
                      <a:pt x="1227" y="1119"/>
                    </a:lnTo>
                    <a:lnTo>
                      <a:pt x="1225" y="1117"/>
                    </a:lnTo>
                    <a:lnTo>
                      <a:pt x="1224" y="1117"/>
                    </a:lnTo>
                    <a:lnTo>
                      <a:pt x="1224" y="1116"/>
                    </a:lnTo>
                    <a:lnTo>
                      <a:pt x="1222" y="1116"/>
                    </a:lnTo>
                    <a:lnTo>
                      <a:pt x="1220" y="1116"/>
                    </a:lnTo>
                    <a:lnTo>
                      <a:pt x="1220" y="1117"/>
                    </a:lnTo>
                    <a:lnTo>
                      <a:pt x="1219" y="1117"/>
                    </a:lnTo>
                    <a:lnTo>
                      <a:pt x="1219" y="1119"/>
                    </a:lnTo>
                    <a:lnTo>
                      <a:pt x="1219" y="1117"/>
                    </a:lnTo>
                    <a:lnTo>
                      <a:pt x="1217" y="1117"/>
                    </a:lnTo>
                    <a:lnTo>
                      <a:pt x="1215" y="1117"/>
                    </a:lnTo>
                    <a:lnTo>
                      <a:pt x="1213" y="1116"/>
                    </a:lnTo>
                    <a:lnTo>
                      <a:pt x="1213" y="1114"/>
                    </a:lnTo>
                    <a:lnTo>
                      <a:pt x="1215" y="1116"/>
                    </a:lnTo>
                    <a:lnTo>
                      <a:pt x="1215" y="1117"/>
                    </a:lnTo>
                    <a:lnTo>
                      <a:pt x="1215" y="1116"/>
                    </a:lnTo>
                    <a:lnTo>
                      <a:pt x="1215" y="1114"/>
                    </a:lnTo>
                    <a:lnTo>
                      <a:pt x="1217" y="1114"/>
                    </a:lnTo>
                    <a:lnTo>
                      <a:pt x="1219" y="1114"/>
                    </a:lnTo>
                    <a:lnTo>
                      <a:pt x="1220" y="1114"/>
                    </a:lnTo>
                    <a:lnTo>
                      <a:pt x="1220" y="1112"/>
                    </a:lnTo>
                    <a:lnTo>
                      <a:pt x="1219" y="1112"/>
                    </a:lnTo>
                    <a:lnTo>
                      <a:pt x="1220" y="1112"/>
                    </a:lnTo>
                    <a:lnTo>
                      <a:pt x="1220" y="1111"/>
                    </a:lnTo>
                    <a:lnTo>
                      <a:pt x="1220" y="1109"/>
                    </a:lnTo>
                    <a:lnTo>
                      <a:pt x="1219" y="1109"/>
                    </a:lnTo>
                    <a:lnTo>
                      <a:pt x="1220" y="1109"/>
                    </a:lnTo>
                    <a:lnTo>
                      <a:pt x="1220" y="1107"/>
                    </a:lnTo>
                    <a:lnTo>
                      <a:pt x="1220" y="1109"/>
                    </a:lnTo>
                    <a:lnTo>
                      <a:pt x="1219" y="1109"/>
                    </a:lnTo>
                    <a:lnTo>
                      <a:pt x="1219" y="1107"/>
                    </a:lnTo>
                    <a:lnTo>
                      <a:pt x="1217" y="1107"/>
                    </a:lnTo>
                    <a:lnTo>
                      <a:pt x="1217" y="1105"/>
                    </a:lnTo>
                    <a:lnTo>
                      <a:pt x="1217" y="1104"/>
                    </a:lnTo>
                    <a:lnTo>
                      <a:pt x="1217" y="1102"/>
                    </a:lnTo>
                    <a:lnTo>
                      <a:pt x="1219" y="1102"/>
                    </a:lnTo>
                    <a:lnTo>
                      <a:pt x="1220" y="1102"/>
                    </a:lnTo>
                    <a:lnTo>
                      <a:pt x="1222" y="1102"/>
                    </a:lnTo>
                    <a:lnTo>
                      <a:pt x="1224" y="1102"/>
                    </a:lnTo>
                    <a:lnTo>
                      <a:pt x="1225" y="1100"/>
                    </a:lnTo>
                    <a:lnTo>
                      <a:pt x="1227" y="1102"/>
                    </a:lnTo>
                    <a:lnTo>
                      <a:pt x="1227" y="1100"/>
                    </a:lnTo>
                    <a:lnTo>
                      <a:pt x="1229" y="1100"/>
                    </a:lnTo>
                    <a:lnTo>
                      <a:pt x="1229" y="1099"/>
                    </a:lnTo>
                    <a:lnTo>
                      <a:pt x="1230" y="1099"/>
                    </a:lnTo>
                    <a:lnTo>
                      <a:pt x="1230" y="1097"/>
                    </a:lnTo>
                    <a:lnTo>
                      <a:pt x="1232" y="1097"/>
                    </a:lnTo>
                    <a:lnTo>
                      <a:pt x="1232" y="1099"/>
                    </a:lnTo>
                    <a:lnTo>
                      <a:pt x="1232" y="1097"/>
                    </a:lnTo>
                    <a:lnTo>
                      <a:pt x="1234" y="1097"/>
                    </a:lnTo>
                    <a:lnTo>
                      <a:pt x="1236" y="1095"/>
                    </a:lnTo>
                    <a:lnTo>
                      <a:pt x="1237" y="1094"/>
                    </a:lnTo>
                    <a:lnTo>
                      <a:pt x="1239" y="1092"/>
                    </a:lnTo>
                    <a:lnTo>
                      <a:pt x="1241" y="1092"/>
                    </a:lnTo>
                    <a:lnTo>
                      <a:pt x="1241" y="1090"/>
                    </a:lnTo>
                    <a:lnTo>
                      <a:pt x="1239" y="1088"/>
                    </a:lnTo>
                    <a:lnTo>
                      <a:pt x="1241" y="1087"/>
                    </a:lnTo>
                    <a:lnTo>
                      <a:pt x="1241" y="1085"/>
                    </a:lnTo>
                    <a:lnTo>
                      <a:pt x="1241" y="1083"/>
                    </a:lnTo>
                    <a:lnTo>
                      <a:pt x="1242" y="1082"/>
                    </a:lnTo>
                    <a:lnTo>
                      <a:pt x="1244" y="1082"/>
                    </a:lnTo>
                    <a:lnTo>
                      <a:pt x="1244" y="1080"/>
                    </a:lnTo>
                    <a:lnTo>
                      <a:pt x="1244" y="1082"/>
                    </a:lnTo>
                    <a:lnTo>
                      <a:pt x="1246" y="1082"/>
                    </a:lnTo>
                    <a:lnTo>
                      <a:pt x="1244" y="1080"/>
                    </a:lnTo>
                    <a:lnTo>
                      <a:pt x="1244" y="1078"/>
                    </a:lnTo>
                    <a:lnTo>
                      <a:pt x="1244" y="1077"/>
                    </a:lnTo>
                    <a:lnTo>
                      <a:pt x="1244" y="1075"/>
                    </a:lnTo>
                    <a:lnTo>
                      <a:pt x="1244" y="1073"/>
                    </a:lnTo>
                    <a:lnTo>
                      <a:pt x="1246" y="1071"/>
                    </a:lnTo>
                    <a:lnTo>
                      <a:pt x="1244" y="1071"/>
                    </a:lnTo>
                    <a:lnTo>
                      <a:pt x="1244" y="1073"/>
                    </a:lnTo>
                    <a:lnTo>
                      <a:pt x="1244" y="1075"/>
                    </a:lnTo>
                    <a:lnTo>
                      <a:pt x="1242" y="1077"/>
                    </a:lnTo>
                    <a:lnTo>
                      <a:pt x="1242" y="1078"/>
                    </a:lnTo>
                    <a:lnTo>
                      <a:pt x="1242" y="1080"/>
                    </a:lnTo>
                    <a:lnTo>
                      <a:pt x="1241" y="1080"/>
                    </a:lnTo>
                    <a:lnTo>
                      <a:pt x="1241" y="1082"/>
                    </a:lnTo>
                    <a:lnTo>
                      <a:pt x="1241" y="1080"/>
                    </a:lnTo>
                    <a:lnTo>
                      <a:pt x="1239" y="1080"/>
                    </a:lnTo>
                    <a:lnTo>
                      <a:pt x="1239" y="1078"/>
                    </a:lnTo>
                    <a:lnTo>
                      <a:pt x="1241" y="1078"/>
                    </a:lnTo>
                    <a:lnTo>
                      <a:pt x="1239" y="1078"/>
                    </a:lnTo>
                    <a:lnTo>
                      <a:pt x="1237" y="1078"/>
                    </a:lnTo>
                    <a:lnTo>
                      <a:pt x="1237" y="1077"/>
                    </a:lnTo>
                    <a:lnTo>
                      <a:pt x="1237" y="1075"/>
                    </a:lnTo>
                    <a:lnTo>
                      <a:pt x="1236" y="1075"/>
                    </a:lnTo>
                    <a:lnTo>
                      <a:pt x="1234" y="1075"/>
                    </a:lnTo>
                    <a:lnTo>
                      <a:pt x="1232" y="1073"/>
                    </a:lnTo>
                    <a:lnTo>
                      <a:pt x="1234" y="1073"/>
                    </a:lnTo>
                    <a:lnTo>
                      <a:pt x="1234" y="1071"/>
                    </a:lnTo>
                    <a:lnTo>
                      <a:pt x="1236" y="1071"/>
                    </a:lnTo>
                    <a:lnTo>
                      <a:pt x="1234" y="1071"/>
                    </a:lnTo>
                    <a:lnTo>
                      <a:pt x="1232" y="1071"/>
                    </a:lnTo>
                    <a:lnTo>
                      <a:pt x="1230" y="1071"/>
                    </a:lnTo>
                    <a:lnTo>
                      <a:pt x="1230" y="1070"/>
                    </a:lnTo>
                    <a:lnTo>
                      <a:pt x="1229" y="1070"/>
                    </a:lnTo>
                    <a:lnTo>
                      <a:pt x="1229" y="1068"/>
                    </a:lnTo>
                    <a:lnTo>
                      <a:pt x="1227" y="1068"/>
                    </a:lnTo>
                    <a:lnTo>
                      <a:pt x="1227" y="1070"/>
                    </a:lnTo>
                    <a:lnTo>
                      <a:pt x="1225" y="1070"/>
                    </a:lnTo>
                    <a:lnTo>
                      <a:pt x="1225" y="1068"/>
                    </a:lnTo>
                    <a:lnTo>
                      <a:pt x="1224" y="1068"/>
                    </a:lnTo>
                    <a:lnTo>
                      <a:pt x="1224" y="1066"/>
                    </a:lnTo>
                    <a:lnTo>
                      <a:pt x="1225" y="1066"/>
                    </a:lnTo>
                    <a:lnTo>
                      <a:pt x="1225" y="1068"/>
                    </a:lnTo>
                    <a:lnTo>
                      <a:pt x="1227" y="1068"/>
                    </a:lnTo>
                    <a:lnTo>
                      <a:pt x="1225" y="1066"/>
                    </a:lnTo>
                    <a:lnTo>
                      <a:pt x="1227" y="1066"/>
                    </a:lnTo>
                    <a:lnTo>
                      <a:pt x="1227" y="1065"/>
                    </a:lnTo>
                    <a:lnTo>
                      <a:pt x="1227" y="1066"/>
                    </a:lnTo>
                    <a:lnTo>
                      <a:pt x="1225" y="1065"/>
                    </a:lnTo>
                    <a:lnTo>
                      <a:pt x="1227" y="1065"/>
                    </a:lnTo>
                    <a:lnTo>
                      <a:pt x="1227" y="1063"/>
                    </a:lnTo>
                    <a:lnTo>
                      <a:pt x="1225" y="1063"/>
                    </a:lnTo>
                    <a:lnTo>
                      <a:pt x="1225" y="1065"/>
                    </a:lnTo>
                    <a:lnTo>
                      <a:pt x="1225" y="1066"/>
                    </a:lnTo>
                    <a:lnTo>
                      <a:pt x="1224" y="1066"/>
                    </a:lnTo>
                    <a:lnTo>
                      <a:pt x="1222" y="1066"/>
                    </a:lnTo>
                    <a:lnTo>
                      <a:pt x="1222" y="1065"/>
                    </a:lnTo>
                    <a:lnTo>
                      <a:pt x="1222" y="1066"/>
                    </a:lnTo>
                    <a:lnTo>
                      <a:pt x="1220" y="1066"/>
                    </a:lnTo>
                    <a:lnTo>
                      <a:pt x="1220" y="1065"/>
                    </a:lnTo>
                    <a:lnTo>
                      <a:pt x="1222" y="1065"/>
                    </a:lnTo>
                    <a:lnTo>
                      <a:pt x="1220" y="1065"/>
                    </a:lnTo>
                    <a:lnTo>
                      <a:pt x="1220" y="1063"/>
                    </a:lnTo>
                    <a:lnTo>
                      <a:pt x="1222" y="1061"/>
                    </a:lnTo>
                    <a:lnTo>
                      <a:pt x="1222" y="1063"/>
                    </a:lnTo>
                    <a:lnTo>
                      <a:pt x="1224" y="1065"/>
                    </a:lnTo>
                    <a:lnTo>
                      <a:pt x="1224" y="1063"/>
                    </a:lnTo>
                    <a:lnTo>
                      <a:pt x="1222" y="1061"/>
                    </a:lnTo>
                    <a:lnTo>
                      <a:pt x="1224" y="1060"/>
                    </a:lnTo>
                    <a:lnTo>
                      <a:pt x="1225" y="1060"/>
                    </a:lnTo>
                    <a:lnTo>
                      <a:pt x="1225" y="1061"/>
                    </a:lnTo>
                    <a:lnTo>
                      <a:pt x="1227" y="1061"/>
                    </a:lnTo>
                    <a:lnTo>
                      <a:pt x="1227" y="1060"/>
                    </a:lnTo>
                    <a:lnTo>
                      <a:pt x="1225" y="1060"/>
                    </a:lnTo>
                    <a:lnTo>
                      <a:pt x="1225" y="1058"/>
                    </a:lnTo>
                    <a:lnTo>
                      <a:pt x="1225" y="1056"/>
                    </a:lnTo>
                    <a:lnTo>
                      <a:pt x="1227" y="1056"/>
                    </a:lnTo>
                    <a:lnTo>
                      <a:pt x="1227" y="1054"/>
                    </a:lnTo>
                    <a:lnTo>
                      <a:pt x="1229" y="1054"/>
                    </a:lnTo>
                    <a:lnTo>
                      <a:pt x="1229" y="1053"/>
                    </a:lnTo>
                    <a:lnTo>
                      <a:pt x="1229" y="1051"/>
                    </a:lnTo>
                    <a:lnTo>
                      <a:pt x="1229" y="1049"/>
                    </a:lnTo>
                    <a:lnTo>
                      <a:pt x="1230" y="1049"/>
                    </a:lnTo>
                    <a:lnTo>
                      <a:pt x="1230" y="1048"/>
                    </a:lnTo>
                    <a:lnTo>
                      <a:pt x="1230" y="1046"/>
                    </a:lnTo>
                    <a:lnTo>
                      <a:pt x="1232" y="1046"/>
                    </a:lnTo>
                    <a:lnTo>
                      <a:pt x="1232" y="1048"/>
                    </a:lnTo>
                    <a:lnTo>
                      <a:pt x="1234" y="1048"/>
                    </a:lnTo>
                    <a:lnTo>
                      <a:pt x="1236" y="1048"/>
                    </a:lnTo>
                    <a:lnTo>
                      <a:pt x="1236" y="1049"/>
                    </a:lnTo>
                    <a:lnTo>
                      <a:pt x="1237" y="1048"/>
                    </a:lnTo>
                    <a:lnTo>
                      <a:pt x="1237" y="1049"/>
                    </a:lnTo>
                    <a:lnTo>
                      <a:pt x="1239" y="1049"/>
                    </a:lnTo>
                    <a:lnTo>
                      <a:pt x="1237" y="1049"/>
                    </a:lnTo>
                    <a:lnTo>
                      <a:pt x="1237" y="1048"/>
                    </a:lnTo>
                    <a:lnTo>
                      <a:pt x="1236" y="1048"/>
                    </a:lnTo>
                    <a:lnTo>
                      <a:pt x="1236" y="1046"/>
                    </a:lnTo>
                    <a:lnTo>
                      <a:pt x="1236" y="1044"/>
                    </a:lnTo>
                    <a:lnTo>
                      <a:pt x="1236" y="1043"/>
                    </a:lnTo>
                    <a:lnTo>
                      <a:pt x="1237" y="1043"/>
                    </a:lnTo>
                    <a:lnTo>
                      <a:pt x="1236" y="1043"/>
                    </a:lnTo>
                    <a:lnTo>
                      <a:pt x="1236" y="1041"/>
                    </a:lnTo>
                    <a:lnTo>
                      <a:pt x="1236" y="1043"/>
                    </a:lnTo>
                    <a:lnTo>
                      <a:pt x="1236" y="1044"/>
                    </a:lnTo>
                    <a:lnTo>
                      <a:pt x="1236" y="1046"/>
                    </a:lnTo>
                    <a:lnTo>
                      <a:pt x="1234" y="1046"/>
                    </a:lnTo>
                    <a:lnTo>
                      <a:pt x="1232" y="1046"/>
                    </a:lnTo>
                    <a:lnTo>
                      <a:pt x="1232" y="1048"/>
                    </a:lnTo>
                    <a:lnTo>
                      <a:pt x="1232" y="1046"/>
                    </a:lnTo>
                    <a:lnTo>
                      <a:pt x="1230" y="1046"/>
                    </a:lnTo>
                    <a:lnTo>
                      <a:pt x="1230" y="1044"/>
                    </a:lnTo>
                    <a:lnTo>
                      <a:pt x="1229" y="1044"/>
                    </a:lnTo>
                    <a:lnTo>
                      <a:pt x="1229" y="1043"/>
                    </a:lnTo>
                    <a:lnTo>
                      <a:pt x="1230" y="1043"/>
                    </a:lnTo>
                    <a:lnTo>
                      <a:pt x="1232" y="1041"/>
                    </a:lnTo>
                    <a:lnTo>
                      <a:pt x="1232" y="1039"/>
                    </a:lnTo>
                    <a:lnTo>
                      <a:pt x="1234" y="1039"/>
                    </a:lnTo>
                    <a:lnTo>
                      <a:pt x="1234" y="1037"/>
                    </a:lnTo>
                    <a:lnTo>
                      <a:pt x="1232" y="1039"/>
                    </a:lnTo>
                    <a:lnTo>
                      <a:pt x="1232" y="1037"/>
                    </a:lnTo>
                    <a:lnTo>
                      <a:pt x="1232" y="1039"/>
                    </a:lnTo>
                    <a:lnTo>
                      <a:pt x="1230" y="1037"/>
                    </a:lnTo>
                    <a:lnTo>
                      <a:pt x="1229" y="1037"/>
                    </a:lnTo>
                    <a:lnTo>
                      <a:pt x="1229" y="1036"/>
                    </a:lnTo>
                    <a:lnTo>
                      <a:pt x="1229" y="1034"/>
                    </a:lnTo>
                    <a:lnTo>
                      <a:pt x="1227" y="1032"/>
                    </a:lnTo>
                    <a:lnTo>
                      <a:pt x="1227" y="1031"/>
                    </a:lnTo>
                    <a:lnTo>
                      <a:pt x="1229" y="1029"/>
                    </a:lnTo>
                    <a:lnTo>
                      <a:pt x="1229" y="1027"/>
                    </a:lnTo>
                    <a:lnTo>
                      <a:pt x="1227" y="1027"/>
                    </a:lnTo>
                    <a:lnTo>
                      <a:pt x="1227" y="1026"/>
                    </a:lnTo>
                    <a:lnTo>
                      <a:pt x="1229" y="1026"/>
                    </a:lnTo>
                    <a:lnTo>
                      <a:pt x="1229" y="1024"/>
                    </a:lnTo>
                    <a:lnTo>
                      <a:pt x="1230" y="1024"/>
                    </a:lnTo>
                    <a:lnTo>
                      <a:pt x="1230" y="1022"/>
                    </a:lnTo>
                    <a:lnTo>
                      <a:pt x="1232" y="1022"/>
                    </a:lnTo>
                    <a:lnTo>
                      <a:pt x="1234" y="1022"/>
                    </a:lnTo>
                    <a:lnTo>
                      <a:pt x="1234" y="1020"/>
                    </a:lnTo>
                    <a:lnTo>
                      <a:pt x="1234" y="1019"/>
                    </a:lnTo>
                    <a:lnTo>
                      <a:pt x="1234" y="1017"/>
                    </a:lnTo>
                    <a:lnTo>
                      <a:pt x="1232" y="1017"/>
                    </a:lnTo>
                    <a:lnTo>
                      <a:pt x="1232" y="1015"/>
                    </a:lnTo>
                    <a:lnTo>
                      <a:pt x="1234" y="1015"/>
                    </a:lnTo>
                    <a:lnTo>
                      <a:pt x="1234" y="1014"/>
                    </a:lnTo>
                    <a:lnTo>
                      <a:pt x="1234" y="1012"/>
                    </a:lnTo>
                    <a:lnTo>
                      <a:pt x="1236" y="1012"/>
                    </a:lnTo>
                    <a:lnTo>
                      <a:pt x="1237" y="1012"/>
                    </a:lnTo>
                    <a:lnTo>
                      <a:pt x="1237" y="1014"/>
                    </a:lnTo>
                    <a:lnTo>
                      <a:pt x="1239" y="1014"/>
                    </a:lnTo>
                    <a:lnTo>
                      <a:pt x="1239" y="1012"/>
                    </a:lnTo>
                    <a:lnTo>
                      <a:pt x="1239" y="1010"/>
                    </a:lnTo>
                    <a:lnTo>
                      <a:pt x="1237" y="1010"/>
                    </a:lnTo>
                    <a:lnTo>
                      <a:pt x="1239" y="1010"/>
                    </a:lnTo>
                    <a:lnTo>
                      <a:pt x="1237" y="1010"/>
                    </a:lnTo>
                    <a:lnTo>
                      <a:pt x="1237" y="1009"/>
                    </a:lnTo>
                    <a:lnTo>
                      <a:pt x="1236" y="1009"/>
                    </a:lnTo>
                    <a:lnTo>
                      <a:pt x="1237" y="1007"/>
                    </a:lnTo>
                    <a:lnTo>
                      <a:pt x="1237" y="1009"/>
                    </a:lnTo>
                    <a:lnTo>
                      <a:pt x="1239" y="1009"/>
                    </a:lnTo>
                    <a:lnTo>
                      <a:pt x="1239" y="1007"/>
                    </a:lnTo>
                    <a:lnTo>
                      <a:pt x="1239" y="1005"/>
                    </a:lnTo>
                    <a:lnTo>
                      <a:pt x="1237" y="1005"/>
                    </a:lnTo>
                    <a:lnTo>
                      <a:pt x="1237" y="1003"/>
                    </a:lnTo>
                    <a:lnTo>
                      <a:pt x="1236" y="1003"/>
                    </a:lnTo>
                    <a:lnTo>
                      <a:pt x="1236" y="1002"/>
                    </a:lnTo>
                    <a:lnTo>
                      <a:pt x="1236" y="1000"/>
                    </a:lnTo>
                    <a:lnTo>
                      <a:pt x="1236" y="998"/>
                    </a:lnTo>
                    <a:lnTo>
                      <a:pt x="1236" y="997"/>
                    </a:lnTo>
                    <a:lnTo>
                      <a:pt x="1237" y="997"/>
                    </a:lnTo>
                    <a:lnTo>
                      <a:pt x="1237" y="995"/>
                    </a:lnTo>
                    <a:lnTo>
                      <a:pt x="1236" y="995"/>
                    </a:lnTo>
                    <a:lnTo>
                      <a:pt x="1236" y="993"/>
                    </a:lnTo>
                    <a:lnTo>
                      <a:pt x="1236" y="992"/>
                    </a:lnTo>
                    <a:lnTo>
                      <a:pt x="1236" y="990"/>
                    </a:lnTo>
                    <a:lnTo>
                      <a:pt x="1236" y="988"/>
                    </a:lnTo>
                    <a:lnTo>
                      <a:pt x="1237" y="988"/>
                    </a:lnTo>
                    <a:lnTo>
                      <a:pt x="1239" y="988"/>
                    </a:lnTo>
                    <a:lnTo>
                      <a:pt x="1241" y="988"/>
                    </a:lnTo>
                    <a:lnTo>
                      <a:pt x="1242" y="990"/>
                    </a:lnTo>
                    <a:lnTo>
                      <a:pt x="1244" y="990"/>
                    </a:lnTo>
                    <a:lnTo>
                      <a:pt x="1244" y="992"/>
                    </a:lnTo>
                    <a:lnTo>
                      <a:pt x="1246" y="992"/>
                    </a:lnTo>
                    <a:lnTo>
                      <a:pt x="1247" y="992"/>
                    </a:lnTo>
                    <a:lnTo>
                      <a:pt x="1247" y="990"/>
                    </a:lnTo>
                    <a:lnTo>
                      <a:pt x="1246" y="992"/>
                    </a:lnTo>
                    <a:lnTo>
                      <a:pt x="1246" y="990"/>
                    </a:lnTo>
                    <a:lnTo>
                      <a:pt x="1244" y="990"/>
                    </a:lnTo>
                    <a:lnTo>
                      <a:pt x="1244" y="988"/>
                    </a:lnTo>
                    <a:lnTo>
                      <a:pt x="1242" y="988"/>
                    </a:lnTo>
                    <a:lnTo>
                      <a:pt x="1242" y="986"/>
                    </a:lnTo>
                    <a:lnTo>
                      <a:pt x="1241" y="986"/>
                    </a:lnTo>
                    <a:lnTo>
                      <a:pt x="1241" y="985"/>
                    </a:lnTo>
                    <a:lnTo>
                      <a:pt x="1241" y="983"/>
                    </a:lnTo>
                    <a:lnTo>
                      <a:pt x="1239" y="983"/>
                    </a:lnTo>
                    <a:lnTo>
                      <a:pt x="1237" y="981"/>
                    </a:lnTo>
                    <a:lnTo>
                      <a:pt x="1237" y="980"/>
                    </a:lnTo>
                    <a:lnTo>
                      <a:pt x="1237" y="978"/>
                    </a:lnTo>
                    <a:lnTo>
                      <a:pt x="1237" y="980"/>
                    </a:lnTo>
                    <a:lnTo>
                      <a:pt x="1236" y="980"/>
                    </a:lnTo>
                    <a:lnTo>
                      <a:pt x="1236" y="978"/>
                    </a:lnTo>
                    <a:lnTo>
                      <a:pt x="1237" y="978"/>
                    </a:lnTo>
                    <a:lnTo>
                      <a:pt x="1237" y="976"/>
                    </a:lnTo>
                    <a:lnTo>
                      <a:pt x="1239" y="976"/>
                    </a:lnTo>
                    <a:lnTo>
                      <a:pt x="1239" y="975"/>
                    </a:lnTo>
                    <a:lnTo>
                      <a:pt x="1241" y="975"/>
                    </a:lnTo>
                    <a:lnTo>
                      <a:pt x="1242" y="975"/>
                    </a:lnTo>
                    <a:lnTo>
                      <a:pt x="1244" y="975"/>
                    </a:lnTo>
                    <a:lnTo>
                      <a:pt x="1244" y="973"/>
                    </a:lnTo>
                    <a:lnTo>
                      <a:pt x="1244" y="975"/>
                    </a:lnTo>
                    <a:lnTo>
                      <a:pt x="1246" y="975"/>
                    </a:lnTo>
                    <a:lnTo>
                      <a:pt x="1246" y="976"/>
                    </a:lnTo>
                    <a:lnTo>
                      <a:pt x="1246" y="978"/>
                    </a:lnTo>
                    <a:lnTo>
                      <a:pt x="1246" y="980"/>
                    </a:lnTo>
                    <a:lnTo>
                      <a:pt x="1247" y="981"/>
                    </a:lnTo>
                    <a:lnTo>
                      <a:pt x="1247" y="983"/>
                    </a:lnTo>
                    <a:lnTo>
                      <a:pt x="1249" y="983"/>
                    </a:lnTo>
                    <a:lnTo>
                      <a:pt x="1249" y="985"/>
                    </a:lnTo>
                    <a:lnTo>
                      <a:pt x="1249" y="986"/>
                    </a:lnTo>
                    <a:lnTo>
                      <a:pt x="1249" y="988"/>
                    </a:lnTo>
                    <a:lnTo>
                      <a:pt x="1249" y="986"/>
                    </a:lnTo>
                    <a:lnTo>
                      <a:pt x="1251" y="986"/>
                    </a:lnTo>
                    <a:lnTo>
                      <a:pt x="1249" y="986"/>
                    </a:lnTo>
                    <a:lnTo>
                      <a:pt x="1249" y="985"/>
                    </a:lnTo>
                    <a:lnTo>
                      <a:pt x="1249" y="983"/>
                    </a:lnTo>
                    <a:lnTo>
                      <a:pt x="1249" y="981"/>
                    </a:lnTo>
                    <a:lnTo>
                      <a:pt x="1249" y="980"/>
                    </a:lnTo>
                    <a:lnTo>
                      <a:pt x="1247" y="980"/>
                    </a:lnTo>
                    <a:lnTo>
                      <a:pt x="1247" y="978"/>
                    </a:lnTo>
                    <a:lnTo>
                      <a:pt x="1249" y="976"/>
                    </a:lnTo>
                    <a:lnTo>
                      <a:pt x="1251" y="976"/>
                    </a:lnTo>
                    <a:lnTo>
                      <a:pt x="1249" y="976"/>
                    </a:lnTo>
                    <a:lnTo>
                      <a:pt x="1249" y="975"/>
                    </a:lnTo>
                    <a:lnTo>
                      <a:pt x="1247" y="975"/>
                    </a:lnTo>
                    <a:lnTo>
                      <a:pt x="1249" y="973"/>
                    </a:lnTo>
                    <a:lnTo>
                      <a:pt x="1251" y="973"/>
                    </a:lnTo>
                    <a:lnTo>
                      <a:pt x="1253" y="973"/>
                    </a:lnTo>
                    <a:lnTo>
                      <a:pt x="1251" y="973"/>
                    </a:lnTo>
                    <a:lnTo>
                      <a:pt x="1251" y="971"/>
                    </a:lnTo>
                    <a:lnTo>
                      <a:pt x="1251" y="973"/>
                    </a:lnTo>
                    <a:lnTo>
                      <a:pt x="1249" y="973"/>
                    </a:lnTo>
                    <a:lnTo>
                      <a:pt x="1247" y="971"/>
                    </a:lnTo>
                    <a:lnTo>
                      <a:pt x="1247" y="969"/>
                    </a:lnTo>
                    <a:lnTo>
                      <a:pt x="1249" y="969"/>
                    </a:lnTo>
                    <a:lnTo>
                      <a:pt x="1247" y="968"/>
                    </a:lnTo>
                    <a:lnTo>
                      <a:pt x="1249" y="968"/>
                    </a:lnTo>
                    <a:lnTo>
                      <a:pt x="1249" y="966"/>
                    </a:lnTo>
                    <a:lnTo>
                      <a:pt x="1249" y="964"/>
                    </a:lnTo>
                    <a:lnTo>
                      <a:pt x="1247" y="963"/>
                    </a:lnTo>
                    <a:lnTo>
                      <a:pt x="1246" y="964"/>
                    </a:lnTo>
                    <a:lnTo>
                      <a:pt x="1246" y="966"/>
                    </a:lnTo>
                    <a:lnTo>
                      <a:pt x="1244" y="966"/>
                    </a:lnTo>
                    <a:lnTo>
                      <a:pt x="1244" y="964"/>
                    </a:lnTo>
                    <a:lnTo>
                      <a:pt x="1244" y="966"/>
                    </a:lnTo>
                    <a:lnTo>
                      <a:pt x="1242" y="966"/>
                    </a:lnTo>
                    <a:lnTo>
                      <a:pt x="1242" y="964"/>
                    </a:lnTo>
                    <a:lnTo>
                      <a:pt x="1241" y="964"/>
                    </a:lnTo>
                    <a:lnTo>
                      <a:pt x="1241" y="966"/>
                    </a:lnTo>
                    <a:lnTo>
                      <a:pt x="1239" y="964"/>
                    </a:lnTo>
                    <a:lnTo>
                      <a:pt x="1237" y="964"/>
                    </a:lnTo>
                    <a:lnTo>
                      <a:pt x="1236" y="963"/>
                    </a:lnTo>
                    <a:lnTo>
                      <a:pt x="1237" y="963"/>
                    </a:lnTo>
                    <a:lnTo>
                      <a:pt x="1236" y="961"/>
                    </a:lnTo>
                    <a:lnTo>
                      <a:pt x="1234" y="961"/>
                    </a:lnTo>
                    <a:lnTo>
                      <a:pt x="1236" y="961"/>
                    </a:lnTo>
                    <a:lnTo>
                      <a:pt x="1236" y="959"/>
                    </a:lnTo>
                    <a:lnTo>
                      <a:pt x="1237" y="959"/>
                    </a:lnTo>
                    <a:lnTo>
                      <a:pt x="1237" y="957"/>
                    </a:lnTo>
                    <a:lnTo>
                      <a:pt x="1237" y="956"/>
                    </a:lnTo>
                    <a:lnTo>
                      <a:pt x="1239" y="956"/>
                    </a:lnTo>
                    <a:lnTo>
                      <a:pt x="1241" y="956"/>
                    </a:lnTo>
                    <a:lnTo>
                      <a:pt x="1241" y="954"/>
                    </a:lnTo>
                    <a:lnTo>
                      <a:pt x="1242" y="952"/>
                    </a:lnTo>
                    <a:lnTo>
                      <a:pt x="1244" y="952"/>
                    </a:lnTo>
                    <a:lnTo>
                      <a:pt x="1246" y="952"/>
                    </a:lnTo>
                    <a:lnTo>
                      <a:pt x="1247" y="952"/>
                    </a:lnTo>
                    <a:lnTo>
                      <a:pt x="1249" y="952"/>
                    </a:lnTo>
                    <a:lnTo>
                      <a:pt x="1249" y="951"/>
                    </a:lnTo>
                    <a:lnTo>
                      <a:pt x="1251" y="951"/>
                    </a:lnTo>
                    <a:lnTo>
                      <a:pt x="1253" y="949"/>
                    </a:lnTo>
                    <a:lnTo>
                      <a:pt x="1253" y="947"/>
                    </a:lnTo>
                    <a:lnTo>
                      <a:pt x="1253" y="946"/>
                    </a:lnTo>
                    <a:lnTo>
                      <a:pt x="1253" y="944"/>
                    </a:lnTo>
                    <a:lnTo>
                      <a:pt x="1254" y="944"/>
                    </a:lnTo>
                    <a:lnTo>
                      <a:pt x="1254" y="942"/>
                    </a:lnTo>
                    <a:lnTo>
                      <a:pt x="1253" y="942"/>
                    </a:lnTo>
                    <a:lnTo>
                      <a:pt x="1253" y="940"/>
                    </a:lnTo>
                    <a:lnTo>
                      <a:pt x="1254" y="939"/>
                    </a:lnTo>
                    <a:lnTo>
                      <a:pt x="1254" y="937"/>
                    </a:lnTo>
                    <a:lnTo>
                      <a:pt x="1253" y="937"/>
                    </a:lnTo>
                    <a:lnTo>
                      <a:pt x="1253" y="939"/>
                    </a:lnTo>
                    <a:lnTo>
                      <a:pt x="1253" y="937"/>
                    </a:lnTo>
                    <a:lnTo>
                      <a:pt x="1254" y="939"/>
                    </a:lnTo>
                    <a:lnTo>
                      <a:pt x="1253" y="939"/>
                    </a:lnTo>
                    <a:lnTo>
                      <a:pt x="1253" y="940"/>
                    </a:lnTo>
                    <a:lnTo>
                      <a:pt x="1253" y="942"/>
                    </a:lnTo>
                    <a:lnTo>
                      <a:pt x="1253" y="944"/>
                    </a:lnTo>
                    <a:lnTo>
                      <a:pt x="1253" y="946"/>
                    </a:lnTo>
                    <a:lnTo>
                      <a:pt x="1253" y="947"/>
                    </a:lnTo>
                    <a:lnTo>
                      <a:pt x="1251" y="947"/>
                    </a:lnTo>
                    <a:lnTo>
                      <a:pt x="1251" y="949"/>
                    </a:lnTo>
                    <a:lnTo>
                      <a:pt x="1249" y="949"/>
                    </a:lnTo>
                    <a:lnTo>
                      <a:pt x="1249" y="951"/>
                    </a:lnTo>
                    <a:lnTo>
                      <a:pt x="1249" y="949"/>
                    </a:lnTo>
                    <a:lnTo>
                      <a:pt x="1247" y="951"/>
                    </a:lnTo>
                    <a:lnTo>
                      <a:pt x="1246" y="951"/>
                    </a:lnTo>
                    <a:lnTo>
                      <a:pt x="1244" y="952"/>
                    </a:lnTo>
                    <a:lnTo>
                      <a:pt x="1244" y="951"/>
                    </a:lnTo>
                    <a:lnTo>
                      <a:pt x="1242" y="951"/>
                    </a:lnTo>
                    <a:lnTo>
                      <a:pt x="1241" y="949"/>
                    </a:lnTo>
                    <a:lnTo>
                      <a:pt x="1241" y="947"/>
                    </a:lnTo>
                    <a:lnTo>
                      <a:pt x="1241" y="946"/>
                    </a:lnTo>
                    <a:lnTo>
                      <a:pt x="1239" y="946"/>
                    </a:lnTo>
                    <a:lnTo>
                      <a:pt x="1239" y="944"/>
                    </a:lnTo>
                    <a:lnTo>
                      <a:pt x="1237" y="944"/>
                    </a:lnTo>
                    <a:lnTo>
                      <a:pt x="1237" y="942"/>
                    </a:lnTo>
                    <a:lnTo>
                      <a:pt x="1236" y="942"/>
                    </a:lnTo>
                    <a:lnTo>
                      <a:pt x="1234" y="942"/>
                    </a:lnTo>
                    <a:lnTo>
                      <a:pt x="1232" y="940"/>
                    </a:lnTo>
                    <a:lnTo>
                      <a:pt x="1230" y="942"/>
                    </a:lnTo>
                    <a:lnTo>
                      <a:pt x="1229" y="942"/>
                    </a:lnTo>
                    <a:lnTo>
                      <a:pt x="1229" y="944"/>
                    </a:lnTo>
                    <a:lnTo>
                      <a:pt x="1229" y="946"/>
                    </a:lnTo>
                    <a:lnTo>
                      <a:pt x="1227" y="946"/>
                    </a:lnTo>
                    <a:lnTo>
                      <a:pt x="1227" y="947"/>
                    </a:lnTo>
                    <a:lnTo>
                      <a:pt x="1229" y="949"/>
                    </a:lnTo>
                    <a:lnTo>
                      <a:pt x="1227" y="949"/>
                    </a:lnTo>
                    <a:lnTo>
                      <a:pt x="1229" y="951"/>
                    </a:lnTo>
                    <a:lnTo>
                      <a:pt x="1229" y="952"/>
                    </a:lnTo>
                    <a:lnTo>
                      <a:pt x="1227" y="951"/>
                    </a:lnTo>
                    <a:lnTo>
                      <a:pt x="1227" y="952"/>
                    </a:lnTo>
                    <a:lnTo>
                      <a:pt x="1225" y="954"/>
                    </a:lnTo>
                    <a:lnTo>
                      <a:pt x="1225" y="952"/>
                    </a:lnTo>
                    <a:lnTo>
                      <a:pt x="1225" y="951"/>
                    </a:lnTo>
                    <a:lnTo>
                      <a:pt x="1225" y="952"/>
                    </a:lnTo>
                    <a:lnTo>
                      <a:pt x="1224" y="952"/>
                    </a:lnTo>
                    <a:lnTo>
                      <a:pt x="1225" y="954"/>
                    </a:lnTo>
                    <a:lnTo>
                      <a:pt x="1224" y="954"/>
                    </a:lnTo>
                    <a:lnTo>
                      <a:pt x="1225" y="954"/>
                    </a:lnTo>
                    <a:lnTo>
                      <a:pt x="1225" y="956"/>
                    </a:lnTo>
                    <a:lnTo>
                      <a:pt x="1224" y="954"/>
                    </a:lnTo>
                    <a:lnTo>
                      <a:pt x="1224" y="956"/>
                    </a:lnTo>
                    <a:lnTo>
                      <a:pt x="1222" y="956"/>
                    </a:lnTo>
                    <a:lnTo>
                      <a:pt x="1222" y="954"/>
                    </a:lnTo>
                    <a:lnTo>
                      <a:pt x="1222" y="952"/>
                    </a:lnTo>
                    <a:lnTo>
                      <a:pt x="1224" y="952"/>
                    </a:lnTo>
                    <a:lnTo>
                      <a:pt x="1224" y="954"/>
                    </a:lnTo>
                    <a:lnTo>
                      <a:pt x="1224" y="952"/>
                    </a:lnTo>
                    <a:lnTo>
                      <a:pt x="1222" y="952"/>
                    </a:lnTo>
                    <a:lnTo>
                      <a:pt x="1222" y="954"/>
                    </a:lnTo>
                    <a:lnTo>
                      <a:pt x="1222" y="956"/>
                    </a:lnTo>
                    <a:lnTo>
                      <a:pt x="1220" y="954"/>
                    </a:lnTo>
                    <a:lnTo>
                      <a:pt x="1219" y="954"/>
                    </a:lnTo>
                    <a:lnTo>
                      <a:pt x="1217" y="954"/>
                    </a:lnTo>
                    <a:lnTo>
                      <a:pt x="1219" y="956"/>
                    </a:lnTo>
                    <a:lnTo>
                      <a:pt x="1217" y="956"/>
                    </a:lnTo>
                    <a:lnTo>
                      <a:pt x="1215" y="954"/>
                    </a:lnTo>
                    <a:lnTo>
                      <a:pt x="1215" y="956"/>
                    </a:lnTo>
                    <a:lnTo>
                      <a:pt x="1213" y="956"/>
                    </a:lnTo>
                    <a:lnTo>
                      <a:pt x="1212" y="954"/>
                    </a:lnTo>
                    <a:lnTo>
                      <a:pt x="1210" y="954"/>
                    </a:lnTo>
                    <a:lnTo>
                      <a:pt x="1208" y="954"/>
                    </a:lnTo>
                    <a:lnTo>
                      <a:pt x="1207" y="954"/>
                    </a:lnTo>
                    <a:lnTo>
                      <a:pt x="1207" y="952"/>
                    </a:lnTo>
                    <a:lnTo>
                      <a:pt x="1207" y="954"/>
                    </a:lnTo>
                    <a:lnTo>
                      <a:pt x="1205" y="952"/>
                    </a:lnTo>
                    <a:lnTo>
                      <a:pt x="1207" y="952"/>
                    </a:lnTo>
                    <a:lnTo>
                      <a:pt x="1207" y="951"/>
                    </a:lnTo>
                    <a:lnTo>
                      <a:pt x="1207" y="949"/>
                    </a:lnTo>
                    <a:lnTo>
                      <a:pt x="1207" y="947"/>
                    </a:lnTo>
                    <a:lnTo>
                      <a:pt x="1207" y="949"/>
                    </a:lnTo>
                    <a:lnTo>
                      <a:pt x="1208" y="949"/>
                    </a:lnTo>
                    <a:lnTo>
                      <a:pt x="1207" y="949"/>
                    </a:lnTo>
                    <a:lnTo>
                      <a:pt x="1207" y="951"/>
                    </a:lnTo>
                    <a:lnTo>
                      <a:pt x="1208" y="949"/>
                    </a:lnTo>
                    <a:lnTo>
                      <a:pt x="1207" y="949"/>
                    </a:lnTo>
                    <a:lnTo>
                      <a:pt x="1208" y="947"/>
                    </a:lnTo>
                    <a:lnTo>
                      <a:pt x="1210" y="947"/>
                    </a:lnTo>
                    <a:lnTo>
                      <a:pt x="1210" y="949"/>
                    </a:lnTo>
                    <a:lnTo>
                      <a:pt x="1212" y="949"/>
                    </a:lnTo>
                    <a:lnTo>
                      <a:pt x="1210" y="947"/>
                    </a:lnTo>
                    <a:lnTo>
                      <a:pt x="1212" y="947"/>
                    </a:lnTo>
                    <a:lnTo>
                      <a:pt x="1210" y="947"/>
                    </a:lnTo>
                    <a:lnTo>
                      <a:pt x="1212" y="947"/>
                    </a:lnTo>
                    <a:lnTo>
                      <a:pt x="1213" y="947"/>
                    </a:lnTo>
                    <a:lnTo>
                      <a:pt x="1212" y="947"/>
                    </a:lnTo>
                    <a:lnTo>
                      <a:pt x="1213" y="946"/>
                    </a:lnTo>
                    <a:lnTo>
                      <a:pt x="1213" y="944"/>
                    </a:lnTo>
                    <a:lnTo>
                      <a:pt x="1215" y="942"/>
                    </a:lnTo>
                    <a:lnTo>
                      <a:pt x="1217" y="942"/>
                    </a:lnTo>
                    <a:lnTo>
                      <a:pt x="1219" y="942"/>
                    </a:lnTo>
                    <a:lnTo>
                      <a:pt x="1217" y="942"/>
                    </a:lnTo>
                    <a:lnTo>
                      <a:pt x="1215" y="942"/>
                    </a:lnTo>
                    <a:lnTo>
                      <a:pt x="1213" y="942"/>
                    </a:lnTo>
                    <a:lnTo>
                      <a:pt x="1213" y="944"/>
                    </a:lnTo>
                    <a:lnTo>
                      <a:pt x="1212" y="946"/>
                    </a:lnTo>
                    <a:lnTo>
                      <a:pt x="1210" y="946"/>
                    </a:lnTo>
                    <a:lnTo>
                      <a:pt x="1210" y="947"/>
                    </a:lnTo>
                    <a:lnTo>
                      <a:pt x="1208" y="946"/>
                    </a:lnTo>
                    <a:lnTo>
                      <a:pt x="1208" y="944"/>
                    </a:lnTo>
                    <a:lnTo>
                      <a:pt x="1210" y="944"/>
                    </a:lnTo>
                    <a:lnTo>
                      <a:pt x="1208" y="944"/>
                    </a:lnTo>
                    <a:lnTo>
                      <a:pt x="1207" y="942"/>
                    </a:lnTo>
                    <a:lnTo>
                      <a:pt x="1207" y="944"/>
                    </a:lnTo>
                    <a:lnTo>
                      <a:pt x="1207" y="946"/>
                    </a:lnTo>
                    <a:lnTo>
                      <a:pt x="1208" y="946"/>
                    </a:lnTo>
                    <a:lnTo>
                      <a:pt x="1207" y="947"/>
                    </a:lnTo>
                    <a:lnTo>
                      <a:pt x="1207" y="946"/>
                    </a:lnTo>
                    <a:lnTo>
                      <a:pt x="1205" y="946"/>
                    </a:lnTo>
                    <a:lnTo>
                      <a:pt x="1205" y="944"/>
                    </a:lnTo>
                    <a:lnTo>
                      <a:pt x="1203" y="944"/>
                    </a:lnTo>
                    <a:lnTo>
                      <a:pt x="1203" y="946"/>
                    </a:lnTo>
                    <a:lnTo>
                      <a:pt x="1203" y="944"/>
                    </a:lnTo>
                    <a:lnTo>
                      <a:pt x="1203" y="942"/>
                    </a:lnTo>
                    <a:lnTo>
                      <a:pt x="1202" y="942"/>
                    </a:lnTo>
                    <a:lnTo>
                      <a:pt x="1202" y="940"/>
                    </a:lnTo>
                    <a:lnTo>
                      <a:pt x="1202" y="939"/>
                    </a:lnTo>
                    <a:lnTo>
                      <a:pt x="1202" y="937"/>
                    </a:lnTo>
                    <a:lnTo>
                      <a:pt x="1202" y="935"/>
                    </a:lnTo>
                    <a:lnTo>
                      <a:pt x="1202" y="934"/>
                    </a:lnTo>
                    <a:lnTo>
                      <a:pt x="1202" y="932"/>
                    </a:lnTo>
                    <a:lnTo>
                      <a:pt x="1202" y="930"/>
                    </a:lnTo>
                    <a:lnTo>
                      <a:pt x="1200" y="930"/>
                    </a:lnTo>
                    <a:lnTo>
                      <a:pt x="1200" y="929"/>
                    </a:lnTo>
                    <a:lnTo>
                      <a:pt x="1200" y="927"/>
                    </a:lnTo>
                    <a:lnTo>
                      <a:pt x="1198" y="925"/>
                    </a:lnTo>
                    <a:lnTo>
                      <a:pt x="1200" y="925"/>
                    </a:lnTo>
                    <a:lnTo>
                      <a:pt x="1198" y="925"/>
                    </a:lnTo>
                    <a:lnTo>
                      <a:pt x="1198" y="923"/>
                    </a:lnTo>
                    <a:lnTo>
                      <a:pt x="1198" y="922"/>
                    </a:lnTo>
                    <a:lnTo>
                      <a:pt x="1198" y="920"/>
                    </a:lnTo>
                    <a:lnTo>
                      <a:pt x="1198" y="918"/>
                    </a:lnTo>
                    <a:lnTo>
                      <a:pt x="1200" y="917"/>
                    </a:lnTo>
                    <a:lnTo>
                      <a:pt x="1202" y="917"/>
                    </a:lnTo>
                    <a:lnTo>
                      <a:pt x="1202" y="915"/>
                    </a:lnTo>
                    <a:lnTo>
                      <a:pt x="1200" y="915"/>
                    </a:lnTo>
                    <a:lnTo>
                      <a:pt x="1200" y="913"/>
                    </a:lnTo>
                    <a:lnTo>
                      <a:pt x="1200" y="912"/>
                    </a:lnTo>
                    <a:lnTo>
                      <a:pt x="1202" y="912"/>
                    </a:lnTo>
                    <a:lnTo>
                      <a:pt x="1200" y="912"/>
                    </a:lnTo>
                    <a:lnTo>
                      <a:pt x="1202" y="910"/>
                    </a:lnTo>
                    <a:lnTo>
                      <a:pt x="1202" y="908"/>
                    </a:lnTo>
                    <a:lnTo>
                      <a:pt x="1202" y="906"/>
                    </a:lnTo>
                    <a:lnTo>
                      <a:pt x="1203" y="906"/>
                    </a:lnTo>
                    <a:lnTo>
                      <a:pt x="1202" y="905"/>
                    </a:lnTo>
                    <a:lnTo>
                      <a:pt x="1203" y="905"/>
                    </a:lnTo>
                    <a:lnTo>
                      <a:pt x="1203" y="903"/>
                    </a:lnTo>
                    <a:lnTo>
                      <a:pt x="1205" y="903"/>
                    </a:lnTo>
                    <a:lnTo>
                      <a:pt x="1205" y="901"/>
                    </a:lnTo>
                    <a:lnTo>
                      <a:pt x="1205" y="900"/>
                    </a:lnTo>
                    <a:lnTo>
                      <a:pt x="1207" y="898"/>
                    </a:lnTo>
                    <a:lnTo>
                      <a:pt x="1205" y="898"/>
                    </a:lnTo>
                    <a:lnTo>
                      <a:pt x="1205" y="896"/>
                    </a:lnTo>
                    <a:lnTo>
                      <a:pt x="1203" y="896"/>
                    </a:lnTo>
                    <a:lnTo>
                      <a:pt x="1203" y="895"/>
                    </a:lnTo>
                    <a:lnTo>
                      <a:pt x="1205" y="895"/>
                    </a:lnTo>
                    <a:lnTo>
                      <a:pt x="1205" y="893"/>
                    </a:lnTo>
                    <a:lnTo>
                      <a:pt x="1205" y="891"/>
                    </a:lnTo>
                    <a:lnTo>
                      <a:pt x="1205" y="889"/>
                    </a:lnTo>
                    <a:lnTo>
                      <a:pt x="1205" y="888"/>
                    </a:lnTo>
                    <a:lnTo>
                      <a:pt x="1205" y="886"/>
                    </a:lnTo>
                    <a:lnTo>
                      <a:pt x="1207" y="886"/>
                    </a:lnTo>
                    <a:lnTo>
                      <a:pt x="1205" y="886"/>
                    </a:lnTo>
                    <a:lnTo>
                      <a:pt x="1207" y="884"/>
                    </a:lnTo>
                    <a:lnTo>
                      <a:pt x="1205" y="884"/>
                    </a:lnTo>
                    <a:lnTo>
                      <a:pt x="1207" y="884"/>
                    </a:lnTo>
                    <a:lnTo>
                      <a:pt x="1207" y="883"/>
                    </a:lnTo>
                    <a:lnTo>
                      <a:pt x="1208" y="883"/>
                    </a:lnTo>
                    <a:lnTo>
                      <a:pt x="1208" y="881"/>
                    </a:lnTo>
                    <a:lnTo>
                      <a:pt x="1208" y="879"/>
                    </a:lnTo>
                    <a:lnTo>
                      <a:pt x="1208" y="878"/>
                    </a:lnTo>
                    <a:lnTo>
                      <a:pt x="1207" y="878"/>
                    </a:lnTo>
                    <a:lnTo>
                      <a:pt x="1207" y="876"/>
                    </a:lnTo>
                    <a:lnTo>
                      <a:pt x="1207" y="874"/>
                    </a:lnTo>
                    <a:lnTo>
                      <a:pt x="1208" y="872"/>
                    </a:lnTo>
                    <a:lnTo>
                      <a:pt x="1210" y="872"/>
                    </a:lnTo>
                    <a:lnTo>
                      <a:pt x="1212" y="872"/>
                    </a:lnTo>
                    <a:lnTo>
                      <a:pt x="1212" y="871"/>
                    </a:lnTo>
                    <a:lnTo>
                      <a:pt x="1213" y="871"/>
                    </a:lnTo>
                    <a:lnTo>
                      <a:pt x="1213" y="869"/>
                    </a:lnTo>
                    <a:lnTo>
                      <a:pt x="1215" y="869"/>
                    </a:lnTo>
                    <a:lnTo>
                      <a:pt x="1215" y="871"/>
                    </a:lnTo>
                    <a:lnTo>
                      <a:pt x="1217" y="871"/>
                    </a:lnTo>
                    <a:lnTo>
                      <a:pt x="1217" y="872"/>
                    </a:lnTo>
                    <a:lnTo>
                      <a:pt x="1217" y="871"/>
                    </a:lnTo>
                    <a:lnTo>
                      <a:pt x="1217" y="872"/>
                    </a:lnTo>
                    <a:lnTo>
                      <a:pt x="1217" y="871"/>
                    </a:lnTo>
                    <a:lnTo>
                      <a:pt x="1219" y="871"/>
                    </a:lnTo>
                    <a:lnTo>
                      <a:pt x="1217" y="871"/>
                    </a:lnTo>
                    <a:lnTo>
                      <a:pt x="1217" y="869"/>
                    </a:lnTo>
                    <a:lnTo>
                      <a:pt x="1219" y="869"/>
                    </a:lnTo>
                    <a:lnTo>
                      <a:pt x="1220" y="869"/>
                    </a:lnTo>
                    <a:lnTo>
                      <a:pt x="1222" y="869"/>
                    </a:lnTo>
                    <a:lnTo>
                      <a:pt x="1220" y="867"/>
                    </a:lnTo>
                    <a:lnTo>
                      <a:pt x="1220" y="869"/>
                    </a:lnTo>
                    <a:lnTo>
                      <a:pt x="1219" y="869"/>
                    </a:lnTo>
                    <a:lnTo>
                      <a:pt x="1217" y="869"/>
                    </a:lnTo>
                    <a:lnTo>
                      <a:pt x="1217" y="867"/>
                    </a:lnTo>
                    <a:lnTo>
                      <a:pt x="1217" y="866"/>
                    </a:lnTo>
                    <a:lnTo>
                      <a:pt x="1217" y="864"/>
                    </a:lnTo>
                    <a:lnTo>
                      <a:pt x="1217" y="862"/>
                    </a:lnTo>
                    <a:lnTo>
                      <a:pt x="1217" y="861"/>
                    </a:lnTo>
                    <a:lnTo>
                      <a:pt x="1219" y="861"/>
                    </a:lnTo>
                    <a:lnTo>
                      <a:pt x="1219" y="859"/>
                    </a:lnTo>
                    <a:lnTo>
                      <a:pt x="1220" y="859"/>
                    </a:lnTo>
                    <a:lnTo>
                      <a:pt x="1220" y="857"/>
                    </a:lnTo>
                    <a:lnTo>
                      <a:pt x="1220" y="855"/>
                    </a:lnTo>
                    <a:lnTo>
                      <a:pt x="1222" y="855"/>
                    </a:lnTo>
                    <a:lnTo>
                      <a:pt x="1222" y="854"/>
                    </a:lnTo>
                    <a:lnTo>
                      <a:pt x="1222" y="852"/>
                    </a:lnTo>
                    <a:lnTo>
                      <a:pt x="1220" y="852"/>
                    </a:lnTo>
                    <a:lnTo>
                      <a:pt x="1220" y="850"/>
                    </a:lnTo>
                    <a:lnTo>
                      <a:pt x="1222" y="850"/>
                    </a:lnTo>
                    <a:lnTo>
                      <a:pt x="1224" y="850"/>
                    </a:lnTo>
                    <a:lnTo>
                      <a:pt x="1222" y="850"/>
                    </a:lnTo>
                    <a:lnTo>
                      <a:pt x="1222" y="849"/>
                    </a:lnTo>
                    <a:lnTo>
                      <a:pt x="1224" y="849"/>
                    </a:lnTo>
                    <a:lnTo>
                      <a:pt x="1222" y="849"/>
                    </a:lnTo>
                    <a:lnTo>
                      <a:pt x="1224" y="849"/>
                    </a:lnTo>
                    <a:lnTo>
                      <a:pt x="1224" y="847"/>
                    </a:lnTo>
                    <a:lnTo>
                      <a:pt x="1222" y="845"/>
                    </a:lnTo>
                    <a:lnTo>
                      <a:pt x="1222" y="844"/>
                    </a:lnTo>
                    <a:lnTo>
                      <a:pt x="1222" y="842"/>
                    </a:lnTo>
                    <a:lnTo>
                      <a:pt x="1222" y="840"/>
                    </a:lnTo>
                    <a:lnTo>
                      <a:pt x="1222" y="838"/>
                    </a:lnTo>
                    <a:lnTo>
                      <a:pt x="1220" y="838"/>
                    </a:lnTo>
                    <a:lnTo>
                      <a:pt x="1220" y="837"/>
                    </a:lnTo>
                    <a:lnTo>
                      <a:pt x="1220" y="835"/>
                    </a:lnTo>
                    <a:lnTo>
                      <a:pt x="1220" y="833"/>
                    </a:lnTo>
                    <a:lnTo>
                      <a:pt x="1219" y="832"/>
                    </a:lnTo>
                    <a:lnTo>
                      <a:pt x="1219" y="830"/>
                    </a:lnTo>
                    <a:lnTo>
                      <a:pt x="1219" y="828"/>
                    </a:lnTo>
                    <a:lnTo>
                      <a:pt x="1219" y="827"/>
                    </a:lnTo>
                    <a:lnTo>
                      <a:pt x="1217" y="827"/>
                    </a:lnTo>
                    <a:lnTo>
                      <a:pt x="1217" y="825"/>
                    </a:lnTo>
                    <a:lnTo>
                      <a:pt x="1217" y="823"/>
                    </a:lnTo>
                    <a:lnTo>
                      <a:pt x="1217" y="821"/>
                    </a:lnTo>
                    <a:lnTo>
                      <a:pt x="1215" y="821"/>
                    </a:lnTo>
                    <a:lnTo>
                      <a:pt x="1217" y="820"/>
                    </a:lnTo>
                    <a:lnTo>
                      <a:pt x="1215" y="820"/>
                    </a:lnTo>
                    <a:lnTo>
                      <a:pt x="1215" y="821"/>
                    </a:lnTo>
                    <a:lnTo>
                      <a:pt x="1217" y="821"/>
                    </a:lnTo>
                    <a:lnTo>
                      <a:pt x="1215" y="821"/>
                    </a:lnTo>
                    <a:lnTo>
                      <a:pt x="1215" y="820"/>
                    </a:lnTo>
                    <a:lnTo>
                      <a:pt x="1213" y="818"/>
                    </a:lnTo>
                    <a:lnTo>
                      <a:pt x="1213" y="816"/>
                    </a:lnTo>
                    <a:lnTo>
                      <a:pt x="1213" y="815"/>
                    </a:lnTo>
                    <a:lnTo>
                      <a:pt x="1213" y="813"/>
                    </a:lnTo>
                    <a:lnTo>
                      <a:pt x="1213" y="811"/>
                    </a:lnTo>
                    <a:lnTo>
                      <a:pt x="1212" y="809"/>
                    </a:lnTo>
                    <a:lnTo>
                      <a:pt x="1213" y="809"/>
                    </a:lnTo>
                    <a:lnTo>
                      <a:pt x="1212" y="809"/>
                    </a:lnTo>
                    <a:lnTo>
                      <a:pt x="1212" y="808"/>
                    </a:lnTo>
                    <a:lnTo>
                      <a:pt x="1212" y="806"/>
                    </a:lnTo>
                    <a:lnTo>
                      <a:pt x="1212" y="804"/>
                    </a:lnTo>
                    <a:lnTo>
                      <a:pt x="1213" y="804"/>
                    </a:lnTo>
                    <a:lnTo>
                      <a:pt x="1213" y="803"/>
                    </a:lnTo>
                    <a:lnTo>
                      <a:pt x="1213" y="801"/>
                    </a:lnTo>
                    <a:lnTo>
                      <a:pt x="1213" y="799"/>
                    </a:lnTo>
                    <a:lnTo>
                      <a:pt x="1213" y="798"/>
                    </a:lnTo>
                    <a:lnTo>
                      <a:pt x="1215" y="798"/>
                    </a:lnTo>
                    <a:lnTo>
                      <a:pt x="1215" y="796"/>
                    </a:lnTo>
                    <a:lnTo>
                      <a:pt x="1215" y="794"/>
                    </a:lnTo>
                    <a:lnTo>
                      <a:pt x="1215" y="792"/>
                    </a:lnTo>
                    <a:lnTo>
                      <a:pt x="1215" y="791"/>
                    </a:lnTo>
                    <a:lnTo>
                      <a:pt x="1213" y="789"/>
                    </a:lnTo>
                    <a:lnTo>
                      <a:pt x="1213" y="787"/>
                    </a:lnTo>
                    <a:lnTo>
                      <a:pt x="1213" y="786"/>
                    </a:lnTo>
                    <a:lnTo>
                      <a:pt x="1212" y="784"/>
                    </a:lnTo>
                    <a:lnTo>
                      <a:pt x="1212" y="782"/>
                    </a:lnTo>
                    <a:lnTo>
                      <a:pt x="1210" y="781"/>
                    </a:lnTo>
                    <a:lnTo>
                      <a:pt x="1210" y="779"/>
                    </a:lnTo>
                    <a:lnTo>
                      <a:pt x="1208" y="779"/>
                    </a:lnTo>
                    <a:lnTo>
                      <a:pt x="1208" y="777"/>
                    </a:lnTo>
                    <a:lnTo>
                      <a:pt x="1207" y="775"/>
                    </a:lnTo>
                    <a:lnTo>
                      <a:pt x="1208" y="775"/>
                    </a:lnTo>
                    <a:lnTo>
                      <a:pt x="1208" y="774"/>
                    </a:lnTo>
                    <a:lnTo>
                      <a:pt x="1207" y="774"/>
                    </a:lnTo>
                    <a:lnTo>
                      <a:pt x="1207" y="772"/>
                    </a:lnTo>
                    <a:lnTo>
                      <a:pt x="1207" y="770"/>
                    </a:lnTo>
                    <a:lnTo>
                      <a:pt x="1208" y="772"/>
                    </a:lnTo>
                    <a:lnTo>
                      <a:pt x="1208" y="770"/>
                    </a:lnTo>
                    <a:lnTo>
                      <a:pt x="1208" y="769"/>
                    </a:lnTo>
                    <a:lnTo>
                      <a:pt x="1210" y="769"/>
                    </a:lnTo>
                    <a:lnTo>
                      <a:pt x="1210" y="767"/>
                    </a:lnTo>
                    <a:lnTo>
                      <a:pt x="1210" y="765"/>
                    </a:lnTo>
                    <a:lnTo>
                      <a:pt x="1210" y="764"/>
                    </a:lnTo>
                    <a:lnTo>
                      <a:pt x="1210" y="765"/>
                    </a:lnTo>
                    <a:lnTo>
                      <a:pt x="1210" y="764"/>
                    </a:lnTo>
                    <a:lnTo>
                      <a:pt x="1210" y="762"/>
                    </a:lnTo>
                    <a:lnTo>
                      <a:pt x="1208" y="762"/>
                    </a:lnTo>
                    <a:lnTo>
                      <a:pt x="1207" y="760"/>
                    </a:lnTo>
                    <a:lnTo>
                      <a:pt x="1207" y="762"/>
                    </a:lnTo>
                    <a:lnTo>
                      <a:pt x="1207" y="760"/>
                    </a:lnTo>
                    <a:lnTo>
                      <a:pt x="1208" y="758"/>
                    </a:lnTo>
                    <a:lnTo>
                      <a:pt x="1207" y="758"/>
                    </a:lnTo>
                    <a:lnTo>
                      <a:pt x="1208" y="757"/>
                    </a:lnTo>
                    <a:lnTo>
                      <a:pt x="1208" y="755"/>
                    </a:lnTo>
                    <a:lnTo>
                      <a:pt x="1208" y="753"/>
                    </a:lnTo>
                    <a:lnTo>
                      <a:pt x="1210" y="752"/>
                    </a:lnTo>
                    <a:lnTo>
                      <a:pt x="1212" y="753"/>
                    </a:lnTo>
                    <a:lnTo>
                      <a:pt x="1210" y="753"/>
                    </a:lnTo>
                    <a:lnTo>
                      <a:pt x="1212" y="755"/>
                    </a:lnTo>
                    <a:lnTo>
                      <a:pt x="1213" y="755"/>
                    </a:lnTo>
                    <a:lnTo>
                      <a:pt x="1213" y="753"/>
                    </a:lnTo>
                    <a:lnTo>
                      <a:pt x="1213" y="755"/>
                    </a:lnTo>
                    <a:lnTo>
                      <a:pt x="1215" y="755"/>
                    </a:lnTo>
                    <a:lnTo>
                      <a:pt x="1215" y="757"/>
                    </a:lnTo>
                    <a:lnTo>
                      <a:pt x="1215" y="755"/>
                    </a:lnTo>
                    <a:lnTo>
                      <a:pt x="1217" y="755"/>
                    </a:lnTo>
                    <a:lnTo>
                      <a:pt x="1219" y="755"/>
                    </a:lnTo>
                    <a:lnTo>
                      <a:pt x="1220" y="755"/>
                    </a:lnTo>
                    <a:lnTo>
                      <a:pt x="1222" y="755"/>
                    </a:lnTo>
                    <a:lnTo>
                      <a:pt x="1222" y="753"/>
                    </a:lnTo>
                    <a:lnTo>
                      <a:pt x="1224" y="753"/>
                    </a:lnTo>
                    <a:lnTo>
                      <a:pt x="1224" y="752"/>
                    </a:lnTo>
                    <a:lnTo>
                      <a:pt x="1225" y="750"/>
                    </a:lnTo>
                    <a:lnTo>
                      <a:pt x="1224" y="750"/>
                    </a:lnTo>
                    <a:lnTo>
                      <a:pt x="1224" y="748"/>
                    </a:lnTo>
                    <a:lnTo>
                      <a:pt x="1225" y="748"/>
                    </a:lnTo>
                    <a:lnTo>
                      <a:pt x="1225" y="747"/>
                    </a:lnTo>
                    <a:lnTo>
                      <a:pt x="1224" y="747"/>
                    </a:lnTo>
                    <a:lnTo>
                      <a:pt x="1224" y="745"/>
                    </a:lnTo>
                    <a:lnTo>
                      <a:pt x="1224" y="743"/>
                    </a:lnTo>
                    <a:lnTo>
                      <a:pt x="1225" y="743"/>
                    </a:lnTo>
                    <a:lnTo>
                      <a:pt x="1225" y="741"/>
                    </a:lnTo>
                    <a:lnTo>
                      <a:pt x="1225" y="740"/>
                    </a:lnTo>
                    <a:lnTo>
                      <a:pt x="1225" y="738"/>
                    </a:lnTo>
                    <a:lnTo>
                      <a:pt x="1227" y="738"/>
                    </a:lnTo>
                    <a:lnTo>
                      <a:pt x="1227" y="740"/>
                    </a:lnTo>
                    <a:lnTo>
                      <a:pt x="1229" y="738"/>
                    </a:lnTo>
                    <a:lnTo>
                      <a:pt x="1227" y="738"/>
                    </a:lnTo>
                    <a:lnTo>
                      <a:pt x="1225" y="738"/>
                    </a:lnTo>
                    <a:lnTo>
                      <a:pt x="1224" y="738"/>
                    </a:lnTo>
                    <a:lnTo>
                      <a:pt x="1224" y="736"/>
                    </a:lnTo>
                    <a:lnTo>
                      <a:pt x="1222" y="736"/>
                    </a:lnTo>
                    <a:lnTo>
                      <a:pt x="1224" y="736"/>
                    </a:lnTo>
                    <a:lnTo>
                      <a:pt x="1224" y="735"/>
                    </a:lnTo>
                    <a:lnTo>
                      <a:pt x="1224" y="736"/>
                    </a:lnTo>
                    <a:lnTo>
                      <a:pt x="1225" y="735"/>
                    </a:lnTo>
                    <a:lnTo>
                      <a:pt x="1225" y="733"/>
                    </a:lnTo>
                    <a:lnTo>
                      <a:pt x="1225" y="731"/>
                    </a:lnTo>
                    <a:lnTo>
                      <a:pt x="1225" y="730"/>
                    </a:lnTo>
                    <a:lnTo>
                      <a:pt x="1227" y="730"/>
                    </a:lnTo>
                    <a:lnTo>
                      <a:pt x="1227" y="731"/>
                    </a:lnTo>
                    <a:lnTo>
                      <a:pt x="1227" y="733"/>
                    </a:lnTo>
                    <a:lnTo>
                      <a:pt x="1225" y="733"/>
                    </a:lnTo>
                    <a:lnTo>
                      <a:pt x="1227" y="735"/>
                    </a:lnTo>
                    <a:lnTo>
                      <a:pt x="1229" y="735"/>
                    </a:lnTo>
                    <a:lnTo>
                      <a:pt x="1230" y="735"/>
                    </a:lnTo>
                    <a:lnTo>
                      <a:pt x="1230" y="733"/>
                    </a:lnTo>
                    <a:lnTo>
                      <a:pt x="1230" y="731"/>
                    </a:lnTo>
                    <a:lnTo>
                      <a:pt x="1232" y="730"/>
                    </a:lnTo>
                    <a:lnTo>
                      <a:pt x="1230" y="730"/>
                    </a:lnTo>
                    <a:lnTo>
                      <a:pt x="1230" y="728"/>
                    </a:lnTo>
                    <a:lnTo>
                      <a:pt x="1230" y="726"/>
                    </a:lnTo>
                    <a:lnTo>
                      <a:pt x="1232" y="726"/>
                    </a:lnTo>
                    <a:lnTo>
                      <a:pt x="1232" y="724"/>
                    </a:lnTo>
                    <a:lnTo>
                      <a:pt x="1234" y="724"/>
                    </a:lnTo>
                    <a:lnTo>
                      <a:pt x="1232" y="724"/>
                    </a:lnTo>
                    <a:lnTo>
                      <a:pt x="1232" y="723"/>
                    </a:lnTo>
                    <a:lnTo>
                      <a:pt x="1234" y="723"/>
                    </a:lnTo>
                    <a:lnTo>
                      <a:pt x="1234" y="721"/>
                    </a:lnTo>
                    <a:lnTo>
                      <a:pt x="1234" y="719"/>
                    </a:lnTo>
                    <a:lnTo>
                      <a:pt x="1236" y="718"/>
                    </a:lnTo>
                    <a:lnTo>
                      <a:pt x="1236" y="716"/>
                    </a:lnTo>
                    <a:lnTo>
                      <a:pt x="1236" y="714"/>
                    </a:lnTo>
                    <a:lnTo>
                      <a:pt x="1236" y="713"/>
                    </a:lnTo>
                    <a:lnTo>
                      <a:pt x="1236" y="711"/>
                    </a:lnTo>
                    <a:lnTo>
                      <a:pt x="1237" y="711"/>
                    </a:lnTo>
                    <a:lnTo>
                      <a:pt x="1237" y="709"/>
                    </a:lnTo>
                    <a:lnTo>
                      <a:pt x="1236" y="707"/>
                    </a:lnTo>
                    <a:lnTo>
                      <a:pt x="1237" y="707"/>
                    </a:lnTo>
                    <a:lnTo>
                      <a:pt x="1237" y="706"/>
                    </a:lnTo>
                    <a:lnTo>
                      <a:pt x="1237" y="704"/>
                    </a:lnTo>
                    <a:lnTo>
                      <a:pt x="1237" y="702"/>
                    </a:lnTo>
                    <a:lnTo>
                      <a:pt x="1239" y="702"/>
                    </a:lnTo>
                    <a:lnTo>
                      <a:pt x="1239" y="701"/>
                    </a:lnTo>
                    <a:lnTo>
                      <a:pt x="1241" y="701"/>
                    </a:lnTo>
                    <a:lnTo>
                      <a:pt x="1241" y="699"/>
                    </a:lnTo>
                    <a:lnTo>
                      <a:pt x="1242" y="697"/>
                    </a:lnTo>
                    <a:lnTo>
                      <a:pt x="1244" y="696"/>
                    </a:lnTo>
                    <a:lnTo>
                      <a:pt x="1244" y="694"/>
                    </a:lnTo>
                    <a:lnTo>
                      <a:pt x="1244" y="692"/>
                    </a:lnTo>
                    <a:lnTo>
                      <a:pt x="1244" y="690"/>
                    </a:lnTo>
                    <a:lnTo>
                      <a:pt x="1244" y="689"/>
                    </a:lnTo>
                    <a:lnTo>
                      <a:pt x="1242" y="689"/>
                    </a:lnTo>
                    <a:lnTo>
                      <a:pt x="1242" y="687"/>
                    </a:lnTo>
                    <a:lnTo>
                      <a:pt x="1242" y="685"/>
                    </a:lnTo>
                    <a:lnTo>
                      <a:pt x="1244" y="685"/>
                    </a:lnTo>
                    <a:lnTo>
                      <a:pt x="1244" y="684"/>
                    </a:lnTo>
                    <a:lnTo>
                      <a:pt x="1246" y="684"/>
                    </a:lnTo>
                    <a:lnTo>
                      <a:pt x="1246" y="682"/>
                    </a:lnTo>
                    <a:lnTo>
                      <a:pt x="1247" y="682"/>
                    </a:lnTo>
                    <a:lnTo>
                      <a:pt x="1247" y="680"/>
                    </a:lnTo>
                    <a:lnTo>
                      <a:pt x="1247" y="679"/>
                    </a:lnTo>
                    <a:lnTo>
                      <a:pt x="1247" y="677"/>
                    </a:lnTo>
                    <a:lnTo>
                      <a:pt x="1249" y="677"/>
                    </a:lnTo>
                    <a:lnTo>
                      <a:pt x="1249" y="675"/>
                    </a:lnTo>
                    <a:lnTo>
                      <a:pt x="1251" y="675"/>
                    </a:lnTo>
                    <a:lnTo>
                      <a:pt x="1251" y="673"/>
                    </a:lnTo>
                    <a:lnTo>
                      <a:pt x="1251" y="672"/>
                    </a:lnTo>
                    <a:lnTo>
                      <a:pt x="1251" y="670"/>
                    </a:lnTo>
                    <a:lnTo>
                      <a:pt x="1253" y="670"/>
                    </a:lnTo>
                    <a:lnTo>
                      <a:pt x="1254" y="668"/>
                    </a:lnTo>
                    <a:lnTo>
                      <a:pt x="1256" y="668"/>
                    </a:lnTo>
                    <a:lnTo>
                      <a:pt x="1256" y="667"/>
                    </a:lnTo>
                    <a:lnTo>
                      <a:pt x="1258" y="667"/>
                    </a:lnTo>
                    <a:lnTo>
                      <a:pt x="1258" y="665"/>
                    </a:lnTo>
                    <a:lnTo>
                      <a:pt x="1258" y="663"/>
                    </a:lnTo>
                    <a:lnTo>
                      <a:pt x="1258" y="662"/>
                    </a:lnTo>
                    <a:lnTo>
                      <a:pt x="1258" y="660"/>
                    </a:lnTo>
                    <a:lnTo>
                      <a:pt x="1258" y="658"/>
                    </a:lnTo>
                    <a:lnTo>
                      <a:pt x="1258" y="656"/>
                    </a:lnTo>
                    <a:lnTo>
                      <a:pt x="1259" y="656"/>
                    </a:lnTo>
                    <a:lnTo>
                      <a:pt x="1259" y="655"/>
                    </a:lnTo>
                    <a:lnTo>
                      <a:pt x="1259" y="653"/>
                    </a:lnTo>
                    <a:lnTo>
                      <a:pt x="1261" y="651"/>
                    </a:lnTo>
                    <a:lnTo>
                      <a:pt x="1261" y="650"/>
                    </a:lnTo>
                    <a:lnTo>
                      <a:pt x="1263" y="650"/>
                    </a:lnTo>
                    <a:lnTo>
                      <a:pt x="1263" y="648"/>
                    </a:lnTo>
                    <a:lnTo>
                      <a:pt x="1263" y="646"/>
                    </a:lnTo>
                    <a:lnTo>
                      <a:pt x="1263" y="644"/>
                    </a:lnTo>
                    <a:lnTo>
                      <a:pt x="1263" y="643"/>
                    </a:lnTo>
                    <a:lnTo>
                      <a:pt x="1263" y="641"/>
                    </a:lnTo>
                    <a:lnTo>
                      <a:pt x="1263" y="639"/>
                    </a:lnTo>
                    <a:lnTo>
                      <a:pt x="1263" y="638"/>
                    </a:lnTo>
                    <a:lnTo>
                      <a:pt x="1263" y="636"/>
                    </a:lnTo>
                    <a:lnTo>
                      <a:pt x="1264" y="636"/>
                    </a:lnTo>
                    <a:lnTo>
                      <a:pt x="1264" y="634"/>
                    </a:lnTo>
                    <a:lnTo>
                      <a:pt x="1264" y="633"/>
                    </a:lnTo>
                    <a:lnTo>
                      <a:pt x="1264" y="631"/>
                    </a:lnTo>
                    <a:lnTo>
                      <a:pt x="1264" y="629"/>
                    </a:lnTo>
                    <a:lnTo>
                      <a:pt x="1264" y="627"/>
                    </a:lnTo>
                    <a:lnTo>
                      <a:pt x="1263" y="627"/>
                    </a:lnTo>
                    <a:lnTo>
                      <a:pt x="1264" y="627"/>
                    </a:lnTo>
                    <a:lnTo>
                      <a:pt x="1263" y="626"/>
                    </a:lnTo>
                    <a:lnTo>
                      <a:pt x="1264" y="626"/>
                    </a:lnTo>
                    <a:lnTo>
                      <a:pt x="1266" y="624"/>
                    </a:lnTo>
                    <a:lnTo>
                      <a:pt x="1266" y="622"/>
                    </a:lnTo>
                    <a:lnTo>
                      <a:pt x="1268" y="621"/>
                    </a:lnTo>
                    <a:lnTo>
                      <a:pt x="1268" y="619"/>
                    </a:lnTo>
                    <a:lnTo>
                      <a:pt x="1270" y="617"/>
                    </a:lnTo>
                    <a:lnTo>
                      <a:pt x="1270" y="616"/>
                    </a:lnTo>
                    <a:lnTo>
                      <a:pt x="1270" y="614"/>
                    </a:lnTo>
                    <a:lnTo>
                      <a:pt x="1271" y="612"/>
                    </a:lnTo>
                    <a:lnTo>
                      <a:pt x="1273" y="612"/>
                    </a:lnTo>
                    <a:lnTo>
                      <a:pt x="1273" y="610"/>
                    </a:lnTo>
                    <a:lnTo>
                      <a:pt x="1275" y="610"/>
                    </a:lnTo>
                    <a:lnTo>
                      <a:pt x="1275" y="609"/>
                    </a:lnTo>
                    <a:lnTo>
                      <a:pt x="1276" y="609"/>
                    </a:lnTo>
                    <a:lnTo>
                      <a:pt x="1276" y="607"/>
                    </a:lnTo>
                    <a:lnTo>
                      <a:pt x="1276" y="605"/>
                    </a:lnTo>
                    <a:lnTo>
                      <a:pt x="1276" y="604"/>
                    </a:lnTo>
                    <a:lnTo>
                      <a:pt x="1276" y="602"/>
                    </a:lnTo>
                    <a:lnTo>
                      <a:pt x="1276" y="600"/>
                    </a:lnTo>
                    <a:lnTo>
                      <a:pt x="1275" y="599"/>
                    </a:lnTo>
                    <a:lnTo>
                      <a:pt x="1273" y="599"/>
                    </a:lnTo>
                    <a:lnTo>
                      <a:pt x="1275" y="597"/>
                    </a:lnTo>
                    <a:lnTo>
                      <a:pt x="1273" y="597"/>
                    </a:lnTo>
                    <a:lnTo>
                      <a:pt x="1275" y="597"/>
                    </a:lnTo>
                    <a:lnTo>
                      <a:pt x="1275" y="595"/>
                    </a:lnTo>
                    <a:lnTo>
                      <a:pt x="1276" y="593"/>
                    </a:lnTo>
                    <a:lnTo>
                      <a:pt x="1275" y="593"/>
                    </a:lnTo>
                    <a:lnTo>
                      <a:pt x="1275" y="592"/>
                    </a:lnTo>
                    <a:lnTo>
                      <a:pt x="1275" y="590"/>
                    </a:lnTo>
                    <a:lnTo>
                      <a:pt x="1275" y="588"/>
                    </a:lnTo>
                    <a:lnTo>
                      <a:pt x="1273" y="588"/>
                    </a:lnTo>
                    <a:lnTo>
                      <a:pt x="1275" y="588"/>
                    </a:lnTo>
                    <a:lnTo>
                      <a:pt x="1275" y="587"/>
                    </a:lnTo>
                    <a:lnTo>
                      <a:pt x="1273" y="587"/>
                    </a:lnTo>
                    <a:lnTo>
                      <a:pt x="1273" y="585"/>
                    </a:lnTo>
                    <a:lnTo>
                      <a:pt x="1275" y="585"/>
                    </a:lnTo>
                    <a:lnTo>
                      <a:pt x="1275" y="583"/>
                    </a:lnTo>
                    <a:lnTo>
                      <a:pt x="1275" y="582"/>
                    </a:lnTo>
                    <a:lnTo>
                      <a:pt x="1276" y="582"/>
                    </a:lnTo>
                    <a:lnTo>
                      <a:pt x="1278" y="582"/>
                    </a:lnTo>
                    <a:lnTo>
                      <a:pt x="1280" y="580"/>
                    </a:lnTo>
                    <a:lnTo>
                      <a:pt x="1280" y="578"/>
                    </a:lnTo>
                    <a:lnTo>
                      <a:pt x="1278" y="578"/>
                    </a:lnTo>
                    <a:lnTo>
                      <a:pt x="1280" y="578"/>
                    </a:lnTo>
                    <a:lnTo>
                      <a:pt x="1280" y="576"/>
                    </a:lnTo>
                    <a:lnTo>
                      <a:pt x="1280" y="575"/>
                    </a:lnTo>
                    <a:lnTo>
                      <a:pt x="1280" y="573"/>
                    </a:lnTo>
                    <a:lnTo>
                      <a:pt x="1280" y="571"/>
                    </a:lnTo>
                    <a:lnTo>
                      <a:pt x="1281" y="571"/>
                    </a:lnTo>
                    <a:lnTo>
                      <a:pt x="1281" y="570"/>
                    </a:lnTo>
                    <a:lnTo>
                      <a:pt x="1280" y="570"/>
                    </a:lnTo>
                    <a:lnTo>
                      <a:pt x="1281" y="570"/>
                    </a:lnTo>
                    <a:lnTo>
                      <a:pt x="1281" y="568"/>
                    </a:lnTo>
                    <a:lnTo>
                      <a:pt x="1283" y="568"/>
                    </a:lnTo>
                    <a:lnTo>
                      <a:pt x="1283" y="566"/>
                    </a:lnTo>
                    <a:lnTo>
                      <a:pt x="1283" y="565"/>
                    </a:lnTo>
                    <a:lnTo>
                      <a:pt x="1281" y="565"/>
                    </a:lnTo>
                    <a:lnTo>
                      <a:pt x="1281" y="563"/>
                    </a:lnTo>
                    <a:lnTo>
                      <a:pt x="1281" y="561"/>
                    </a:lnTo>
                    <a:lnTo>
                      <a:pt x="1283" y="561"/>
                    </a:lnTo>
                    <a:lnTo>
                      <a:pt x="1283" y="559"/>
                    </a:lnTo>
                    <a:lnTo>
                      <a:pt x="1283" y="558"/>
                    </a:lnTo>
                    <a:lnTo>
                      <a:pt x="1285" y="556"/>
                    </a:lnTo>
                    <a:lnTo>
                      <a:pt x="1283" y="556"/>
                    </a:lnTo>
                    <a:lnTo>
                      <a:pt x="1283" y="554"/>
                    </a:lnTo>
                    <a:lnTo>
                      <a:pt x="1281" y="554"/>
                    </a:lnTo>
                    <a:lnTo>
                      <a:pt x="1281" y="553"/>
                    </a:lnTo>
                    <a:lnTo>
                      <a:pt x="1281" y="551"/>
                    </a:lnTo>
                    <a:lnTo>
                      <a:pt x="1280" y="549"/>
                    </a:lnTo>
                    <a:lnTo>
                      <a:pt x="1280" y="548"/>
                    </a:lnTo>
                    <a:lnTo>
                      <a:pt x="1280" y="546"/>
                    </a:lnTo>
                    <a:lnTo>
                      <a:pt x="1280" y="544"/>
                    </a:lnTo>
                    <a:lnTo>
                      <a:pt x="1280" y="542"/>
                    </a:lnTo>
                    <a:lnTo>
                      <a:pt x="1280" y="541"/>
                    </a:lnTo>
                    <a:lnTo>
                      <a:pt x="1280" y="539"/>
                    </a:lnTo>
                    <a:lnTo>
                      <a:pt x="1281" y="539"/>
                    </a:lnTo>
                    <a:lnTo>
                      <a:pt x="1280" y="539"/>
                    </a:lnTo>
                    <a:lnTo>
                      <a:pt x="1280" y="537"/>
                    </a:lnTo>
                    <a:lnTo>
                      <a:pt x="1281" y="536"/>
                    </a:lnTo>
                    <a:lnTo>
                      <a:pt x="1280" y="536"/>
                    </a:lnTo>
                    <a:lnTo>
                      <a:pt x="1280" y="534"/>
                    </a:lnTo>
                    <a:lnTo>
                      <a:pt x="1278" y="536"/>
                    </a:lnTo>
                    <a:lnTo>
                      <a:pt x="1278" y="534"/>
                    </a:lnTo>
                    <a:lnTo>
                      <a:pt x="1280" y="534"/>
                    </a:lnTo>
                    <a:lnTo>
                      <a:pt x="1280" y="532"/>
                    </a:lnTo>
                    <a:lnTo>
                      <a:pt x="1280" y="531"/>
                    </a:lnTo>
                    <a:lnTo>
                      <a:pt x="1280" y="529"/>
                    </a:lnTo>
                    <a:lnTo>
                      <a:pt x="1278" y="527"/>
                    </a:lnTo>
                    <a:lnTo>
                      <a:pt x="1278" y="525"/>
                    </a:lnTo>
                    <a:lnTo>
                      <a:pt x="1278" y="524"/>
                    </a:lnTo>
                    <a:lnTo>
                      <a:pt x="1278" y="522"/>
                    </a:lnTo>
                    <a:lnTo>
                      <a:pt x="1278" y="520"/>
                    </a:lnTo>
                    <a:lnTo>
                      <a:pt x="1278" y="519"/>
                    </a:lnTo>
                    <a:lnTo>
                      <a:pt x="1278" y="517"/>
                    </a:lnTo>
                    <a:lnTo>
                      <a:pt x="1276" y="517"/>
                    </a:lnTo>
                    <a:lnTo>
                      <a:pt x="1276" y="515"/>
                    </a:lnTo>
                    <a:lnTo>
                      <a:pt x="1276" y="514"/>
                    </a:lnTo>
                    <a:lnTo>
                      <a:pt x="1276" y="512"/>
                    </a:lnTo>
                    <a:lnTo>
                      <a:pt x="1276" y="510"/>
                    </a:lnTo>
                    <a:lnTo>
                      <a:pt x="1275" y="508"/>
                    </a:lnTo>
                    <a:lnTo>
                      <a:pt x="1276" y="508"/>
                    </a:lnTo>
                    <a:lnTo>
                      <a:pt x="1275" y="508"/>
                    </a:lnTo>
                    <a:lnTo>
                      <a:pt x="1275" y="507"/>
                    </a:lnTo>
                    <a:lnTo>
                      <a:pt x="1275" y="505"/>
                    </a:lnTo>
                    <a:lnTo>
                      <a:pt x="1276" y="505"/>
                    </a:lnTo>
                    <a:lnTo>
                      <a:pt x="1275" y="505"/>
                    </a:lnTo>
                    <a:lnTo>
                      <a:pt x="1275" y="503"/>
                    </a:lnTo>
                    <a:lnTo>
                      <a:pt x="1275" y="502"/>
                    </a:lnTo>
                    <a:lnTo>
                      <a:pt x="1276" y="502"/>
                    </a:lnTo>
                    <a:lnTo>
                      <a:pt x="1275" y="500"/>
                    </a:lnTo>
                    <a:lnTo>
                      <a:pt x="1276" y="500"/>
                    </a:lnTo>
                    <a:lnTo>
                      <a:pt x="1275" y="500"/>
                    </a:lnTo>
                    <a:lnTo>
                      <a:pt x="1275" y="498"/>
                    </a:lnTo>
                    <a:lnTo>
                      <a:pt x="1275" y="497"/>
                    </a:lnTo>
                    <a:lnTo>
                      <a:pt x="1275" y="495"/>
                    </a:lnTo>
                    <a:lnTo>
                      <a:pt x="1275" y="493"/>
                    </a:lnTo>
                    <a:lnTo>
                      <a:pt x="1273" y="493"/>
                    </a:lnTo>
                    <a:lnTo>
                      <a:pt x="1273" y="491"/>
                    </a:lnTo>
                    <a:lnTo>
                      <a:pt x="1275" y="490"/>
                    </a:lnTo>
                    <a:lnTo>
                      <a:pt x="1273" y="490"/>
                    </a:lnTo>
                    <a:lnTo>
                      <a:pt x="1275" y="490"/>
                    </a:lnTo>
                    <a:lnTo>
                      <a:pt x="1275" y="488"/>
                    </a:lnTo>
                    <a:lnTo>
                      <a:pt x="1273" y="488"/>
                    </a:lnTo>
                    <a:lnTo>
                      <a:pt x="1273" y="486"/>
                    </a:lnTo>
                    <a:lnTo>
                      <a:pt x="1273" y="485"/>
                    </a:lnTo>
                    <a:lnTo>
                      <a:pt x="1273" y="483"/>
                    </a:lnTo>
                    <a:lnTo>
                      <a:pt x="1275" y="483"/>
                    </a:lnTo>
                    <a:lnTo>
                      <a:pt x="1275" y="481"/>
                    </a:lnTo>
                    <a:lnTo>
                      <a:pt x="1275" y="479"/>
                    </a:lnTo>
                    <a:lnTo>
                      <a:pt x="1275" y="478"/>
                    </a:lnTo>
                    <a:lnTo>
                      <a:pt x="1275" y="476"/>
                    </a:lnTo>
                    <a:lnTo>
                      <a:pt x="1275" y="474"/>
                    </a:lnTo>
                    <a:lnTo>
                      <a:pt x="1275" y="473"/>
                    </a:lnTo>
                    <a:lnTo>
                      <a:pt x="1276" y="473"/>
                    </a:lnTo>
                    <a:lnTo>
                      <a:pt x="1276" y="471"/>
                    </a:lnTo>
                    <a:lnTo>
                      <a:pt x="1276" y="473"/>
                    </a:lnTo>
                    <a:lnTo>
                      <a:pt x="1278" y="474"/>
                    </a:lnTo>
                    <a:lnTo>
                      <a:pt x="1278" y="473"/>
                    </a:lnTo>
                    <a:lnTo>
                      <a:pt x="1280" y="473"/>
                    </a:lnTo>
                    <a:lnTo>
                      <a:pt x="1281" y="473"/>
                    </a:lnTo>
                    <a:lnTo>
                      <a:pt x="1280" y="471"/>
                    </a:lnTo>
                    <a:lnTo>
                      <a:pt x="1281" y="471"/>
                    </a:lnTo>
                    <a:lnTo>
                      <a:pt x="1281" y="469"/>
                    </a:lnTo>
                    <a:lnTo>
                      <a:pt x="1283" y="468"/>
                    </a:lnTo>
                    <a:lnTo>
                      <a:pt x="1283" y="469"/>
                    </a:lnTo>
                    <a:lnTo>
                      <a:pt x="1285" y="469"/>
                    </a:lnTo>
                    <a:lnTo>
                      <a:pt x="1285" y="468"/>
                    </a:lnTo>
                    <a:lnTo>
                      <a:pt x="1285" y="466"/>
                    </a:lnTo>
                    <a:lnTo>
                      <a:pt x="1285" y="464"/>
                    </a:lnTo>
                    <a:lnTo>
                      <a:pt x="1285" y="462"/>
                    </a:lnTo>
                    <a:lnTo>
                      <a:pt x="1283" y="462"/>
                    </a:lnTo>
                    <a:lnTo>
                      <a:pt x="1285" y="461"/>
                    </a:lnTo>
                    <a:lnTo>
                      <a:pt x="1285" y="459"/>
                    </a:lnTo>
                    <a:lnTo>
                      <a:pt x="1287" y="459"/>
                    </a:lnTo>
                    <a:lnTo>
                      <a:pt x="1287" y="461"/>
                    </a:lnTo>
                    <a:lnTo>
                      <a:pt x="1287" y="459"/>
                    </a:lnTo>
                    <a:lnTo>
                      <a:pt x="1288" y="459"/>
                    </a:lnTo>
                    <a:lnTo>
                      <a:pt x="1288" y="457"/>
                    </a:lnTo>
                    <a:lnTo>
                      <a:pt x="1288" y="456"/>
                    </a:lnTo>
                    <a:lnTo>
                      <a:pt x="1287" y="454"/>
                    </a:lnTo>
                    <a:lnTo>
                      <a:pt x="1287" y="452"/>
                    </a:lnTo>
                    <a:lnTo>
                      <a:pt x="1287" y="451"/>
                    </a:lnTo>
                    <a:lnTo>
                      <a:pt x="1287" y="449"/>
                    </a:lnTo>
                    <a:lnTo>
                      <a:pt x="1287" y="447"/>
                    </a:lnTo>
                    <a:lnTo>
                      <a:pt x="1288" y="447"/>
                    </a:lnTo>
                    <a:lnTo>
                      <a:pt x="1288" y="445"/>
                    </a:lnTo>
                    <a:lnTo>
                      <a:pt x="1287" y="445"/>
                    </a:lnTo>
                    <a:lnTo>
                      <a:pt x="1287" y="444"/>
                    </a:lnTo>
                    <a:lnTo>
                      <a:pt x="1287" y="442"/>
                    </a:lnTo>
                    <a:lnTo>
                      <a:pt x="1287" y="440"/>
                    </a:lnTo>
                    <a:lnTo>
                      <a:pt x="1287" y="439"/>
                    </a:lnTo>
                    <a:lnTo>
                      <a:pt x="1287" y="437"/>
                    </a:lnTo>
                    <a:lnTo>
                      <a:pt x="1287" y="435"/>
                    </a:lnTo>
                    <a:lnTo>
                      <a:pt x="1285" y="435"/>
                    </a:lnTo>
                    <a:lnTo>
                      <a:pt x="1285" y="434"/>
                    </a:lnTo>
                    <a:lnTo>
                      <a:pt x="1283" y="434"/>
                    </a:lnTo>
                    <a:lnTo>
                      <a:pt x="1281" y="432"/>
                    </a:lnTo>
                    <a:lnTo>
                      <a:pt x="1281" y="430"/>
                    </a:lnTo>
                    <a:lnTo>
                      <a:pt x="1280" y="428"/>
                    </a:lnTo>
                    <a:lnTo>
                      <a:pt x="1281" y="428"/>
                    </a:lnTo>
                    <a:lnTo>
                      <a:pt x="1281" y="427"/>
                    </a:lnTo>
                    <a:lnTo>
                      <a:pt x="1280" y="427"/>
                    </a:lnTo>
                    <a:lnTo>
                      <a:pt x="1281" y="425"/>
                    </a:lnTo>
                    <a:lnTo>
                      <a:pt x="1280" y="423"/>
                    </a:lnTo>
                    <a:lnTo>
                      <a:pt x="1281" y="423"/>
                    </a:lnTo>
                    <a:lnTo>
                      <a:pt x="1281" y="422"/>
                    </a:lnTo>
                    <a:lnTo>
                      <a:pt x="1280" y="422"/>
                    </a:lnTo>
                    <a:lnTo>
                      <a:pt x="1280" y="420"/>
                    </a:lnTo>
                    <a:lnTo>
                      <a:pt x="1280" y="418"/>
                    </a:lnTo>
                    <a:lnTo>
                      <a:pt x="1281" y="418"/>
                    </a:lnTo>
                    <a:lnTo>
                      <a:pt x="1281" y="417"/>
                    </a:lnTo>
                    <a:lnTo>
                      <a:pt x="1283" y="417"/>
                    </a:lnTo>
                    <a:lnTo>
                      <a:pt x="1285" y="415"/>
                    </a:lnTo>
                    <a:lnTo>
                      <a:pt x="1285" y="413"/>
                    </a:lnTo>
                    <a:lnTo>
                      <a:pt x="1287" y="411"/>
                    </a:lnTo>
                    <a:lnTo>
                      <a:pt x="1288" y="411"/>
                    </a:lnTo>
                    <a:lnTo>
                      <a:pt x="1288" y="410"/>
                    </a:lnTo>
                    <a:lnTo>
                      <a:pt x="1288" y="408"/>
                    </a:lnTo>
                    <a:lnTo>
                      <a:pt x="1287" y="408"/>
                    </a:lnTo>
                    <a:lnTo>
                      <a:pt x="1287" y="406"/>
                    </a:lnTo>
                    <a:lnTo>
                      <a:pt x="1288" y="406"/>
                    </a:lnTo>
                    <a:lnTo>
                      <a:pt x="1288" y="405"/>
                    </a:lnTo>
                    <a:lnTo>
                      <a:pt x="1288" y="403"/>
                    </a:lnTo>
                    <a:lnTo>
                      <a:pt x="1290" y="403"/>
                    </a:lnTo>
                    <a:lnTo>
                      <a:pt x="1290" y="401"/>
                    </a:lnTo>
                    <a:lnTo>
                      <a:pt x="1292" y="400"/>
                    </a:lnTo>
                    <a:lnTo>
                      <a:pt x="1292" y="398"/>
                    </a:lnTo>
                    <a:lnTo>
                      <a:pt x="1292" y="396"/>
                    </a:lnTo>
                    <a:lnTo>
                      <a:pt x="1290" y="396"/>
                    </a:lnTo>
                    <a:lnTo>
                      <a:pt x="1292" y="396"/>
                    </a:lnTo>
                    <a:lnTo>
                      <a:pt x="1292" y="394"/>
                    </a:lnTo>
                    <a:lnTo>
                      <a:pt x="1292" y="393"/>
                    </a:lnTo>
                    <a:lnTo>
                      <a:pt x="1292" y="391"/>
                    </a:lnTo>
                    <a:lnTo>
                      <a:pt x="1292" y="389"/>
                    </a:lnTo>
                    <a:lnTo>
                      <a:pt x="1292" y="388"/>
                    </a:lnTo>
                    <a:lnTo>
                      <a:pt x="1293" y="388"/>
                    </a:lnTo>
                    <a:lnTo>
                      <a:pt x="1292" y="386"/>
                    </a:lnTo>
                    <a:lnTo>
                      <a:pt x="1293" y="386"/>
                    </a:lnTo>
                    <a:lnTo>
                      <a:pt x="1292" y="386"/>
                    </a:lnTo>
                    <a:lnTo>
                      <a:pt x="1293" y="386"/>
                    </a:lnTo>
                    <a:lnTo>
                      <a:pt x="1292" y="384"/>
                    </a:lnTo>
                    <a:lnTo>
                      <a:pt x="1293" y="384"/>
                    </a:lnTo>
                    <a:lnTo>
                      <a:pt x="1292" y="384"/>
                    </a:lnTo>
                    <a:lnTo>
                      <a:pt x="1293" y="383"/>
                    </a:lnTo>
                    <a:lnTo>
                      <a:pt x="1293" y="381"/>
                    </a:lnTo>
                    <a:lnTo>
                      <a:pt x="1293" y="379"/>
                    </a:lnTo>
                    <a:lnTo>
                      <a:pt x="1295" y="377"/>
                    </a:lnTo>
                    <a:lnTo>
                      <a:pt x="1295" y="376"/>
                    </a:lnTo>
                    <a:lnTo>
                      <a:pt x="1295" y="374"/>
                    </a:lnTo>
                    <a:lnTo>
                      <a:pt x="1297" y="374"/>
                    </a:lnTo>
                    <a:lnTo>
                      <a:pt x="1297" y="372"/>
                    </a:lnTo>
                    <a:lnTo>
                      <a:pt x="1298" y="372"/>
                    </a:lnTo>
                    <a:lnTo>
                      <a:pt x="1300" y="372"/>
                    </a:lnTo>
                    <a:lnTo>
                      <a:pt x="1300" y="371"/>
                    </a:lnTo>
                    <a:lnTo>
                      <a:pt x="1300" y="369"/>
                    </a:lnTo>
                    <a:lnTo>
                      <a:pt x="1300" y="367"/>
                    </a:lnTo>
                    <a:lnTo>
                      <a:pt x="1302" y="367"/>
                    </a:lnTo>
                    <a:lnTo>
                      <a:pt x="1302" y="366"/>
                    </a:lnTo>
                    <a:lnTo>
                      <a:pt x="1300" y="366"/>
                    </a:lnTo>
                    <a:lnTo>
                      <a:pt x="1302" y="366"/>
                    </a:lnTo>
                    <a:lnTo>
                      <a:pt x="1300" y="364"/>
                    </a:lnTo>
                    <a:lnTo>
                      <a:pt x="1300" y="362"/>
                    </a:lnTo>
                    <a:lnTo>
                      <a:pt x="1298" y="360"/>
                    </a:lnTo>
                    <a:lnTo>
                      <a:pt x="1300" y="359"/>
                    </a:lnTo>
                    <a:lnTo>
                      <a:pt x="1300" y="357"/>
                    </a:lnTo>
                    <a:lnTo>
                      <a:pt x="1298" y="357"/>
                    </a:lnTo>
                    <a:lnTo>
                      <a:pt x="1298" y="355"/>
                    </a:lnTo>
                    <a:lnTo>
                      <a:pt x="1298" y="354"/>
                    </a:lnTo>
                    <a:lnTo>
                      <a:pt x="1298" y="352"/>
                    </a:lnTo>
                    <a:lnTo>
                      <a:pt x="1300" y="350"/>
                    </a:lnTo>
                    <a:lnTo>
                      <a:pt x="1300" y="352"/>
                    </a:lnTo>
                    <a:lnTo>
                      <a:pt x="1302" y="352"/>
                    </a:lnTo>
                    <a:lnTo>
                      <a:pt x="1302" y="350"/>
                    </a:lnTo>
                    <a:lnTo>
                      <a:pt x="1304" y="350"/>
                    </a:lnTo>
                    <a:lnTo>
                      <a:pt x="1302" y="349"/>
                    </a:lnTo>
                    <a:lnTo>
                      <a:pt x="1304" y="349"/>
                    </a:lnTo>
                    <a:lnTo>
                      <a:pt x="1304" y="347"/>
                    </a:lnTo>
                    <a:lnTo>
                      <a:pt x="1305" y="347"/>
                    </a:lnTo>
                    <a:lnTo>
                      <a:pt x="1305" y="345"/>
                    </a:lnTo>
                    <a:lnTo>
                      <a:pt x="1304" y="345"/>
                    </a:lnTo>
                    <a:lnTo>
                      <a:pt x="1304" y="343"/>
                    </a:lnTo>
                    <a:lnTo>
                      <a:pt x="1304" y="342"/>
                    </a:lnTo>
                    <a:lnTo>
                      <a:pt x="1304" y="340"/>
                    </a:lnTo>
                    <a:lnTo>
                      <a:pt x="1305" y="338"/>
                    </a:lnTo>
                    <a:lnTo>
                      <a:pt x="1307" y="337"/>
                    </a:lnTo>
                    <a:lnTo>
                      <a:pt x="1305" y="337"/>
                    </a:lnTo>
                    <a:lnTo>
                      <a:pt x="1305" y="335"/>
                    </a:lnTo>
                    <a:lnTo>
                      <a:pt x="1307" y="335"/>
                    </a:lnTo>
                    <a:lnTo>
                      <a:pt x="1307" y="333"/>
                    </a:lnTo>
                    <a:lnTo>
                      <a:pt x="1307" y="331"/>
                    </a:lnTo>
                    <a:lnTo>
                      <a:pt x="1307" y="330"/>
                    </a:lnTo>
                    <a:lnTo>
                      <a:pt x="1309" y="330"/>
                    </a:lnTo>
                    <a:lnTo>
                      <a:pt x="1307" y="330"/>
                    </a:lnTo>
                    <a:lnTo>
                      <a:pt x="1307" y="328"/>
                    </a:lnTo>
                    <a:lnTo>
                      <a:pt x="1309" y="326"/>
                    </a:lnTo>
                    <a:lnTo>
                      <a:pt x="1309" y="325"/>
                    </a:lnTo>
                    <a:lnTo>
                      <a:pt x="1307" y="325"/>
                    </a:lnTo>
                    <a:lnTo>
                      <a:pt x="1307" y="323"/>
                    </a:lnTo>
                    <a:lnTo>
                      <a:pt x="1309" y="323"/>
                    </a:lnTo>
                    <a:lnTo>
                      <a:pt x="1310" y="323"/>
                    </a:lnTo>
                    <a:lnTo>
                      <a:pt x="1310" y="321"/>
                    </a:lnTo>
                    <a:lnTo>
                      <a:pt x="1310" y="320"/>
                    </a:lnTo>
                    <a:lnTo>
                      <a:pt x="1309" y="320"/>
                    </a:lnTo>
                    <a:lnTo>
                      <a:pt x="1309" y="318"/>
                    </a:lnTo>
                    <a:lnTo>
                      <a:pt x="1309" y="316"/>
                    </a:lnTo>
                    <a:lnTo>
                      <a:pt x="1309" y="314"/>
                    </a:lnTo>
                    <a:lnTo>
                      <a:pt x="1309" y="313"/>
                    </a:lnTo>
                    <a:lnTo>
                      <a:pt x="1309" y="311"/>
                    </a:lnTo>
                    <a:lnTo>
                      <a:pt x="1310" y="311"/>
                    </a:lnTo>
                    <a:lnTo>
                      <a:pt x="1310" y="309"/>
                    </a:lnTo>
                    <a:lnTo>
                      <a:pt x="1310" y="308"/>
                    </a:lnTo>
                    <a:lnTo>
                      <a:pt x="1309" y="306"/>
                    </a:lnTo>
                    <a:lnTo>
                      <a:pt x="1309" y="304"/>
                    </a:lnTo>
                    <a:lnTo>
                      <a:pt x="1307" y="304"/>
                    </a:lnTo>
                    <a:lnTo>
                      <a:pt x="1307" y="303"/>
                    </a:lnTo>
                    <a:lnTo>
                      <a:pt x="1307" y="301"/>
                    </a:lnTo>
                    <a:lnTo>
                      <a:pt x="1307" y="299"/>
                    </a:lnTo>
                    <a:lnTo>
                      <a:pt x="1309" y="299"/>
                    </a:lnTo>
                    <a:lnTo>
                      <a:pt x="1307" y="297"/>
                    </a:lnTo>
                    <a:lnTo>
                      <a:pt x="1309" y="297"/>
                    </a:lnTo>
                    <a:lnTo>
                      <a:pt x="1309" y="296"/>
                    </a:lnTo>
                    <a:lnTo>
                      <a:pt x="1310" y="296"/>
                    </a:lnTo>
                    <a:lnTo>
                      <a:pt x="1310" y="294"/>
                    </a:lnTo>
                    <a:lnTo>
                      <a:pt x="1309" y="294"/>
                    </a:lnTo>
                    <a:lnTo>
                      <a:pt x="1310" y="294"/>
                    </a:lnTo>
                    <a:lnTo>
                      <a:pt x="1310" y="292"/>
                    </a:lnTo>
                    <a:lnTo>
                      <a:pt x="1309" y="291"/>
                    </a:lnTo>
                    <a:lnTo>
                      <a:pt x="1310" y="291"/>
                    </a:lnTo>
                    <a:lnTo>
                      <a:pt x="1312" y="291"/>
                    </a:lnTo>
                    <a:lnTo>
                      <a:pt x="1312" y="289"/>
                    </a:lnTo>
                    <a:lnTo>
                      <a:pt x="1314" y="289"/>
                    </a:lnTo>
                    <a:lnTo>
                      <a:pt x="1314" y="287"/>
                    </a:lnTo>
                    <a:lnTo>
                      <a:pt x="1314" y="286"/>
                    </a:lnTo>
                    <a:lnTo>
                      <a:pt x="1315" y="287"/>
                    </a:lnTo>
                    <a:lnTo>
                      <a:pt x="1315" y="286"/>
                    </a:lnTo>
                    <a:lnTo>
                      <a:pt x="1315" y="284"/>
                    </a:lnTo>
                    <a:lnTo>
                      <a:pt x="1315" y="282"/>
                    </a:lnTo>
                    <a:lnTo>
                      <a:pt x="1317" y="282"/>
                    </a:lnTo>
                    <a:lnTo>
                      <a:pt x="1317" y="280"/>
                    </a:lnTo>
                    <a:lnTo>
                      <a:pt x="1317" y="279"/>
                    </a:lnTo>
                    <a:lnTo>
                      <a:pt x="1315" y="277"/>
                    </a:lnTo>
                    <a:lnTo>
                      <a:pt x="1315" y="275"/>
                    </a:lnTo>
                    <a:lnTo>
                      <a:pt x="1314" y="275"/>
                    </a:lnTo>
                    <a:lnTo>
                      <a:pt x="1315" y="274"/>
                    </a:lnTo>
                    <a:lnTo>
                      <a:pt x="1315" y="272"/>
                    </a:lnTo>
                    <a:lnTo>
                      <a:pt x="1315" y="270"/>
                    </a:lnTo>
                    <a:lnTo>
                      <a:pt x="1314" y="269"/>
                    </a:lnTo>
                    <a:lnTo>
                      <a:pt x="1314" y="267"/>
                    </a:lnTo>
                    <a:lnTo>
                      <a:pt x="1314" y="265"/>
                    </a:lnTo>
                    <a:lnTo>
                      <a:pt x="1312" y="265"/>
                    </a:lnTo>
                    <a:lnTo>
                      <a:pt x="1314" y="265"/>
                    </a:lnTo>
                    <a:lnTo>
                      <a:pt x="1312" y="265"/>
                    </a:lnTo>
                    <a:lnTo>
                      <a:pt x="1312" y="263"/>
                    </a:lnTo>
                    <a:lnTo>
                      <a:pt x="1312" y="262"/>
                    </a:lnTo>
                    <a:lnTo>
                      <a:pt x="1312" y="260"/>
                    </a:lnTo>
                    <a:lnTo>
                      <a:pt x="1312" y="258"/>
                    </a:lnTo>
                    <a:lnTo>
                      <a:pt x="1312" y="257"/>
                    </a:lnTo>
                    <a:lnTo>
                      <a:pt x="1312" y="255"/>
                    </a:lnTo>
                    <a:lnTo>
                      <a:pt x="1312" y="253"/>
                    </a:lnTo>
                    <a:lnTo>
                      <a:pt x="1312" y="252"/>
                    </a:lnTo>
                    <a:lnTo>
                      <a:pt x="1312" y="250"/>
                    </a:lnTo>
                    <a:lnTo>
                      <a:pt x="1314" y="250"/>
                    </a:lnTo>
                    <a:lnTo>
                      <a:pt x="1312" y="248"/>
                    </a:lnTo>
                    <a:lnTo>
                      <a:pt x="1314" y="248"/>
                    </a:lnTo>
                    <a:lnTo>
                      <a:pt x="1312" y="246"/>
                    </a:lnTo>
                    <a:lnTo>
                      <a:pt x="1314" y="246"/>
                    </a:lnTo>
                    <a:lnTo>
                      <a:pt x="1314" y="245"/>
                    </a:lnTo>
                    <a:lnTo>
                      <a:pt x="1314" y="243"/>
                    </a:lnTo>
                    <a:lnTo>
                      <a:pt x="1314" y="241"/>
                    </a:lnTo>
                    <a:lnTo>
                      <a:pt x="1314" y="240"/>
                    </a:lnTo>
                    <a:lnTo>
                      <a:pt x="1314" y="238"/>
                    </a:lnTo>
                    <a:lnTo>
                      <a:pt x="1314" y="236"/>
                    </a:lnTo>
                    <a:lnTo>
                      <a:pt x="1314" y="235"/>
                    </a:lnTo>
                    <a:lnTo>
                      <a:pt x="1314" y="233"/>
                    </a:lnTo>
                    <a:lnTo>
                      <a:pt x="1314" y="231"/>
                    </a:lnTo>
                    <a:lnTo>
                      <a:pt x="1314" y="229"/>
                    </a:lnTo>
                    <a:lnTo>
                      <a:pt x="1314" y="228"/>
                    </a:lnTo>
                    <a:lnTo>
                      <a:pt x="1314" y="226"/>
                    </a:lnTo>
                    <a:lnTo>
                      <a:pt x="1315" y="226"/>
                    </a:lnTo>
                    <a:lnTo>
                      <a:pt x="1315" y="224"/>
                    </a:lnTo>
                    <a:lnTo>
                      <a:pt x="1317" y="224"/>
                    </a:lnTo>
                    <a:lnTo>
                      <a:pt x="1317" y="223"/>
                    </a:lnTo>
                    <a:lnTo>
                      <a:pt x="1317" y="221"/>
                    </a:lnTo>
                    <a:lnTo>
                      <a:pt x="1317" y="219"/>
                    </a:lnTo>
                    <a:lnTo>
                      <a:pt x="1317" y="218"/>
                    </a:lnTo>
                    <a:lnTo>
                      <a:pt x="1317" y="216"/>
                    </a:lnTo>
                    <a:lnTo>
                      <a:pt x="1315" y="216"/>
                    </a:lnTo>
                    <a:lnTo>
                      <a:pt x="1315" y="214"/>
                    </a:lnTo>
                    <a:lnTo>
                      <a:pt x="1314" y="214"/>
                    </a:lnTo>
                    <a:lnTo>
                      <a:pt x="1314" y="216"/>
                    </a:lnTo>
                    <a:lnTo>
                      <a:pt x="1312" y="218"/>
                    </a:lnTo>
                    <a:lnTo>
                      <a:pt x="1312" y="216"/>
                    </a:lnTo>
                    <a:lnTo>
                      <a:pt x="1310" y="216"/>
                    </a:lnTo>
                    <a:lnTo>
                      <a:pt x="1310" y="214"/>
                    </a:lnTo>
                    <a:lnTo>
                      <a:pt x="1312" y="212"/>
                    </a:lnTo>
                    <a:lnTo>
                      <a:pt x="1310" y="212"/>
                    </a:lnTo>
                    <a:lnTo>
                      <a:pt x="1310" y="211"/>
                    </a:lnTo>
                    <a:lnTo>
                      <a:pt x="1312" y="209"/>
                    </a:lnTo>
                    <a:lnTo>
                      <a:pt x="1310" y="209"/>
                    </a:lnTo>
                    <a:lnTo>
                      <a:pt x="1310" y="207"/>
                    </a:lnTo>
                    <a:lnTo>
                      <a:pt x="1310" y="206"/>
                    </a:lnTo>
                    <a:lnTo>
                      <a:pt x="1312" y="206"/>
                    </a:lnTo>
                    <a:lnTo>
                      <a:pt x="1312" y="204"/>
                    </a:lnTo>
                    <a:lnTo>
                      <a:pt x="1312" y="202"/>
                    </a:lnTo>
                    <a:lnTo>
                      <a:pt x="1312" y="201"/>
                    </a:lnTo>
                    <a:lnTo>
                      <a:pt x="1312" y="199"/>
                    </a:lnTo>
                    <a:lnTo>
                      <a:pt x="1314" y="199"/>
                    </a:lnTo>
                    <a:lnTo>
                      <a:pt x="1314" y="201"/>
                    </a:lnTo>
                    <a:lnTo>
                      <a:pt x="1315" y="201"/>
                    </a:lnTo>
                    <a:lnTo>
                      <a:pt x="1317" y="201"/>
                    </a:lnTo>
                    <a:lnTo>
                      <a:pt x="1319" y="201"/>
                    </a:lnTo>
                    <a:lnTo>
                      <a:pt x="1319" y="199"/>
                    </a:lnTo>
                    <a:lnTo>
                      <a:pt x="1321" y="197"/>
                    </a:lnTo>
                    <a:lnTo>
                      <a:pt x="1321" y="195"/>
                    </a:lnTo>
                    <a:lnTo>
                      <a:pt x="1321" y="194"/>
                    </a:lnTo>
                    <a:lnTo>
                      <a:pt x="1322" y="194"/>
                    </a:lnTo>
                    <a:lnTo>
                      <a:pt x="1321" y="192"/>
                    </a:lnTo>
                    <a:lnTo>
                      <a:pt x="1321" y="190"/>
                    </a:lnTo>
                    <a:lnTo>
                      <a:pt x="1321" y="189"/>
                    </a:lnTo>
                    <a:lnTo>
                      <a:pt x="1322" y="187"/>
                    </a:lnTo>
                    <a:lnTo>
                      <a:pt x="1322" y="185"/>
                    </a:lnTo>
                    <a:lnTo>
                      <a:pt x="1322" y="184"/>
                    </a:lnTo>
                    <a:lnTo>
                      <a:pt x="1322" y="182"/>
                    </a:lnTo>
                    <a:lnTo>
                      <a:pt x="1322" y="180"/>
                    </a:lnTo>
                    <a:lnTo>
                      <a:pt x="1324" y="178"/>
                    </a:lnTo>
                    <a:lnTo>
                      <a:pt x="1322" y="178"/>
                    </a:lnTo>
                    <a:lnTo>
                      <a:pt x="1322" y="177"/>
                    </a:lnTo>
                    <a:lnTo>
                      <a:pt x="1322" y="175"/>
                    </a:lnTo>
                    <a:lnTo>
                      <a:pt x="1322" y="173"/>
                    </a:lnTo>
                    <a:lnTo>
                      <a:pt x="1324" y="172"/>
                    </a:lnTo>
                    <a:lnTo>
                      <a:pt x="1322" y="172"/>
                    </a:lnTo>
                    <a:lnTo>
                      <a:pt x="1324" y="170"/>
                    </a:lnTo>
                    <a:lnTo>
                      <a:pt x="1324" y="168"/>
                    </a:lnTo>
                    <a:lnTo>
                      <a:pt x="1324" y="166"/>
                    </a:lnTo>
                    <a:lnTo>
                      <a:pt x="1324" y="165"/>
                    </a:lnTo>
                    <a:lnTo>
                      <a:pt x="1324" y="163"/>
                    </a:lnTo>
                    <a:lnTo>
                      <a:pt x="1326" y="163"/>
                    </a:lnTo>
                    <a:lnTo>
                      <a:pt x="1324" y="163"/>
                    </a:lnTo>
                    <a:lnTo>
                      <a:pt x="1324" y="161"/>
                    </a:lnTo>
                    <a:lnTo>
                      <a:pt x="1326" y="161"/>
                    </a:lnTo>
                    <a:lnTo>
                      <a:pt x="1326" y="160"/>
                    </a:lnTo>
                    <a:lnTo>
                      <a:pt x="1326" y="158"/>
                    </a:lnTo>
                    <a:lnTo>
                      <a:pt x="1326" y="156"/>
                    </a:lnTo>
                    <a:lnTo>
                      <a:pt x="1326" y="155"/>
                    </a:lnTo>
                    <a:lnTo>
                      <a:pt x="1326" y="153"/>
                    </a:lnTo>
                    <a:lnTo>
                      <a:pt x="1326" y="151"/>
                    </a:lnTo>
                    <a:lnTo>
                      <a:pt x="1326" y="149"/>
                    </a:lnTo>
                    <a:lnTo>
                      <a:pt x="1326" y="148"/>
                    </a:lnTo>
                    <a:lnTo>
                      <a:pt x="1327" y="148"/>
                    </a:lnTo>
                    <a:lnTo>
                      <a:pt x="1327" y="146"/>
                    </a:lnTo>
                    <a:lnTo>
                      <a:pt x="1327" y="144"/>
                    </a:lnTo>
                    <a:lnTo>
                      <a:pt x="1329" y="144"/>
                    </a:lnTo>
                    <a:lnTo>
                      <a:pt x="1329" y="143"/>
                    </a:lnTo>
                    <a:lnTo>
                      <a:pt x="1329" y="141"/>
                    </a:lnTo>
                    <a:lnTo>
                      <a:pt x="1329" y="139"/>
                    </a:lnTo>
                    <a:lnTo>
                      <a:pt x="1329" y="138"/>
                    </a:lnTo>
                    <a:lnTo>
                      <a:pt x="1327" y="138"/>
                    </a:lnTo>
                    <a:lnTo>
                      <a:pt x="1329" y="136"/>
                    </a:lnTo>
                    <a:lnTo>
                      <a:pt x="1329" y="134"/>
                    </a:lnTo>
                    <a:lnTo>
                      <a:pt x="1329" y="132"/>
                    </a:lnTo>
                    <a:lnTo>
                      <a:pt x="1327" y="132"/>
                    </a:lnTo>
                    <a:lnTo>
                      <a:pt x="1327" y="131"/>
                    </a:lnTo>
                    <a:lnTo>
                      <a:pt x="1327" y="129"/>
                    </a:lnTo>
                    <a:lnTo>
                      <a:pt x="1327" y="127"/>
                    </a:lnTo>
                    <a:lnTo>
                      <a:pt x="1326" y="127"/>
                    </a:lnTo>
                    <a:lnTo>
                      <a:pt x="1326" y="126"/>
                    </a:lnTo>
                    <a:lnTo>
                      <a:pt x="1326" y="124"/>
                    </a:lnTo>
                    <a:lnTo>
                      <a:pt x="1327" y="122"/>
                    </a:lnTo>
                    <a:lnTo>
                      <a:pt x="1326" y="121"/>
                    </a:lnTo>
                    <a:lnTo>
                      <a:pt x="1327" y="121"/>
                    </a:lnTo>
                    <a:lnTo>
                      <a:pt x="1326" y="121"/>
                    </a:lnTo>
                    <a:lnTo>
                      <a:pt x="1326" y="119"/>
                    </a:lnTo>
                    <a:lnTo>
                      <a:pt x="1324" y="117"/>
                    </a:lnTo>
                    <a:lnTo>
                      <a:pt x="1326" y="117"/>
                    </a:lnTo>
                    <a:lnTo>
                      <a:pt x="1324" y="117"/>
                    </a:lnTo>
                    <a:lnTo>
                      <a:pt x="1324" y="115"/>
                    </a:lnTo>
                    <a:lnTo>
                      <a:pt x="1326" y="115"/>
                    </a:lnTo>
                    <a:lnTo>
                      <a:pt x="1324" y="115"/>
                    </a:lnTo>
                    <a:lnTo>
                      <a:pt x="1324" y="114"/>
                    </a:lnTo>
                    <a:lnTo>
                      <a:pt x="1326" y="114"/>
                    </a:lnTo>
                    <a:lnTo>
                      <a:pt x="1324" y="114"/>
                    </a:lnTo>
                    <a:lnTo>
                      <a:pt x="1326" y="112"/>
                    </a:lnTo>
                    <a:lnTo>
                      <a:pt x="1324" y="110"/>
                    </a:lnTo>
                    <a:lnTo>
                      <a:pt x="1324" y="109"/>
                    </a:lnTo>
                    <a:lnTo>
                      <a:pt x="1324" y="107"/>
                    </a:lnTo>
                    <a:lnTo>
                      <a:pt x="1326" y="107"/>
                    </a:lnTo>
                    <a:lnTo>
                      <a:pt x="1326" y="105"/>
                    </a:lnTo>
                    <a:lnTo>
                      <a:pt x="1326" y="104"/>
                    </a:lnTo>
                    <a:lnTo>
                      <a:pt x="1326" y="102"/>
                    </a:lnTo>
                    <a:lnTo>
                      <a:pt x="1326" y="100"/>
                    </a:lnTo>
                    <a:lnTo>
                      <a:pt x="1327" y="100"/>
                    </a:lnTo>
                    <a:lnTo>
                      <a:pt x="1327" y="98"/>
                    </a:lnTo>
                    <a:lnTo>
                      <a:pt x="1326" y="97"/>
                    </a:lnTo>
                    <a:lnTo>
                      <a:pt x="1327" y="95"/>
                    </a:lnTo>
                    <a:lnTo>
                      <a:pt x="1326" y="95"/>
                    </a:lnTo>
                    <a:lnTo>
                      <a:pt x="1326" y="93"/>
                    </a:lnTo>
                    <a:lnTo>
                      <a:pt x="1327" y="93"/>
                    </a:lnTo>
                    <a:lnTo>
                      <a:pt x="1327" y="92"/>
                    </a:lnTo>
                    <a:lnTo>
                      <a:pt x="1327" y="90"/>
                    </a:lnTo>
                    <a:lnTo>
                      <a:pt x="1327" y="88"/>
                    </a:lnTo>
                    <a:lnTo>
                      <a:pt x="1327" y="87"/>
                    </a:lnTo>
                    <a:lnTo>
                      <a:pt x="1326" y="87"/>
                    </a:lnTo>
                    <a:lnTo>
                      <a:pt x="1327" y="87"/>
                    </a:lnTo>
                    <a:lnTo>
                      <a:pt x="1326" y="85"/>
                    </a:lnTo>
                    <a:lnTo>
                      <a:pt x="1327" y="85"/>
                    </a:lnTo>
                    <a:lnTo>
                      <a:pt x="1327" y="83"/>
                    </a:lnTo>
                    <a:lnTo>
                      <a:pt x="1326" y="83"/>
                    </a:lnTo>
                    <a:lnTo>
                      <a:pt x="1326" y="81"/>
                    </a:lnTo>
                    <a:lnTo>
                      <a:pt x="1326" y="80"/>
                    </a:lnTo>
                    <a:lnTo>
                      <a:pt x="1326" y="78"/>
                    </a:lnTo>
                    <a:lnTo>
                      <a:pt x="1326" y="76"/>
                    </a:lnTo>
                    <a:lnTo>
                      <a:pt x="1324" y="75"/>
                    </a:lnTo>
                    <a:lnTo>
                      <a:pt x="1324" y="73"/>
                    </a:lnTo>
                    <a:lnTo>
                      <a:pt x="1324" y="71"/>
                    </a:lnTo>
                    <a:lnTo>
                      <a:pt x="1324" y="70"/>
                    </a:lnTo>
                    <a:lnTo>
                      <a:pt x="1324" y="68"/>
                    </a:lnTo>
                    <a:lnTo>
                      <a:pt x="1324" y="66"/>
                    </a:lnTo>
                    <a:lnTo>
                      <a:pt x="1322" y="66"/>
                    </a:lnTo>
                    <a:lnTo>
                      <a:pt x="1322" y="64"/>
                    </a:lnTo>
                    <a:lnTo>
                      <a:pt x="1322" y="63"/>
                    </a:lnTo>
                    <a:lnTo>
                      <a:pt x="1322" y="61"/>
                    </a:lnTo>
                    <a:lnTo>
                      <a:pt x="1322" y="59"/>
                    </a:lnTo>
                    <a:lnTo>
                      <a:pt x="1322" y="58"/>
                    </a:lnTo>
                    <a:lnTo>
                      <a:pt x="1322" y="56"/>
                    </a:lnTo>
                    <a:lnTo>
                      <a:pt x="1321" y="56"/>
                    </a:lnTo>
                    <a:lnTo>
                      <a:pt x="1321" y="54"/>
                    </a:lnTo>
                    <a:lnTo>
                      <a:pt x="1321" y="53"/>
                    </a:lnTo>
                    <a:lnTo>
                      <a:pt x="1321" y="51"/>
                    </a:lnTo>
                    <a:lnTo>
                      <a:pt x="1321" y="49"/>
                    </a:lnTo>
                    <a:lnTo>
                      <a:pt x="1321" y="47"/>
                    </a:lnTo>
                    <a:lnTo>
                      <a:pt x="1319" y="47"/>
                    </a:lnTo>
                    <a:lnTo>
                      <a:pt x="1319" y="46"/>
                    </a:lnTo>
                    <a:lnTo>
                      <a:pt x="1319" y="44"/>
                    </a:lnTo>
                    <a:lnTo>
                      <a:pt x="1321" y="44"/>
                    </a:lnTo>
                    <a:lnTo>
                      <a:pt x="1319" y="42"/>
                    </a:lnTo>
                    <a:lnTo>
                      <a:pt x="1321" y="42"/>
                    </a:lnTo>
                    <a:lnTo>
                      <a:pt x="1321" y="41"/>
                    </a:lnTo>
                    <a:lnTo>
                      <a:pt x="1319" y="41"/>
                    </a:lnTo>
                    <a:lnTo>
                      <a:pt x="1321" y="39"/>
                    </a:lnTo>
                    <a:lnTo>
                      <a:pt x="1321" y="37"/>
                    </a:lnTo>
                    <a:lnTo>
                      <a:pt x="1321" y="36"/>
                    </a:lnTo>
                    <a:lnTo>
                      <a:pt x="1321" y="34"/>
                    </a:lnTo>
                    <a:lnTo>
                      <a:pt x="1321" y="32"/>
                    </a:lnTo>
                    <a:lnTo>
                      <a:pt x="1321" y="30"/>
                    </a:lnTo>
                    <a:lnTo>
                      <a:pt x="1319" y="30"/>
                    </a:lnTo>
                    <a:lnTo>
                      <a:pt x="1319" y="29"/>
                    </a:lnTo>
                    <a:lnTo>
                      <a:pt x="1321" y="29"/>
                    </a:lnTo>
                    <a:lnTo>
                      <a:pt x="1322" y="29"/>
                    </a:lnTo>
                    <a:lnTo>
                      <a:pt x="1324" y="29"/>
                    </a:lnTo>
                    <a:lnTo>
                      <a:pt x="1326" y="29"/>
                    </a:lnTo>
                    <a:lnTo>
                      <a:pt x="1327" y="29"/>
                    </a:lnTo>
                    <a:lnTo>
                      <a:pt x="1329" y="27"/>
                    </a:lnTo>
                    <a:lnTo>
                      <a:pt x="1331" y="27"/>
                    </a:lnTo>
                    <a:lnTo>
                      <a:pt x="1331" y="25"/>
                    </a:lnTo>
                    <a:lnTo>
                      <a:pt x="1332" y="25"/>
                    </a:lnTo>
                    <a:lnTo>
                      <a:pt x="1334" y="25"/>
                    </a:lnTo>
                    <a:lnTo>
                      <a:pt x="1334" y="24"/>
                    </a:lnTo>
                    <a:lnTo>
                      <a:pt x="1336" y="24"/>
                    </a:lnTo>
                    <a:lnTo>
                      <a:pt x="1338" y="22"/>
                    </a:lnTo>
                    <a:lnTo>
                      <a:pt x="1339" y="22"/>
                    </a:lnTo>
                    <a:lnTo>
                      <a:pt x="1339" y="20"/>
                    </a:lnTo>
                    <a:lnTo>
                      <a:pt x="1339" y="18"/>
                    </a:lnTo>
                    <a:lnTo>
                      <a:pt x="1339" y="17"/>
                    </a:lnTo>
                    <a:lnTo>
                      <a:pt x="1339" y="15"/>
                    </a:lnTo>
                    <a:lnTo>
                      <a:pt x="1339" y="13"/>
                    </a:lnTo>
                    <a:lnTo>
                      <a:pt x="1338" y="13"/>
                    </a:lnTo>
                    <a:lnTo>
                      <a:pt x="1339" y="12"/>
                    </a:lnTo>
                    <a:lnTo>
                      <a:pt x="1338" y="12"/>
                    </a:lnTo>
                    <a:lnTo>
                      <a:pt x="1338" y="10"/>
                    </a:lnTo>
                    <a:lnTo>
                      <a:pt x="1338" y="8"/>
                    </a:lnTo>
                    <a:lnTo>
                      <a:pt x="1336" y="8"/>
                    </a:lnTo>
                    <a:lnTo>
                      <a:pt x="1338" y="7"/>
                    </a:lnTo>
                    <a:lnTo>
                      <a:pt x="1338" y="5"/>
                    </a:lnTo>
                    <a:lnTo>
                      <a:pt x="1339" y="5"/>
                    </a:lnTo>
                    <a:lnTo>
                      <a:pt x="1341" y="5"/>
                    </a:lnTo>
                    <a:lnTo>
                      <a:pt x="1343" y="5"/>
                    </a:lnTo>
                    <a:lnTo>
                      <a:pt x="1344" y="3"/>
                    </a:lnTo>
                    <a:lnTo>
                      <a:pt x="1346" y="1"/>
                    </a:lnTo>
                    <a:lnTo>
                      <a:pt x="1349" y="0"/>
                    </a:lnTo>
                    <a:lnTo>
                      <a:pt x="1349" y="3"/>
                    </a:lnTo>
                    <a:lnTo>
                      <a:pt x="1351" y="5"/>
                    </a:lnTo>
                    <a:lnTo>
                      <a:pt x="1353" y="7"/>
                    </a:lnTo>
                    <a:lnTo>
                      <a:pt x="1353" y="8"/>
                    </a:lnTo>
                    <a:lnTo>
                      <a:pt x="1355" y="8"/>
                    </a:lnTo>
                    <a:lnTo>
                      <a:pt x="1355" y="10"/>
                    </a:lnTo>
                    <a:lnTo>
                      <a:pt x="1355" y="12"/>
                    </a:lnTo>
                    <a:lnTo>
                      <a:pt x="1355" y="13"/>
                    </a:lnTo>
                    <a:lnTo>
                      <a:pt x="1355" y="15"/>
                    </a:lnTo>
                    <a:lnTo>
                      <a:pt x="1356" y="15"/>
                    </a:lnTo>
                    <a:lnTo>
                      <a:pt x="1356" y="17"/>
                    </a:lnTo>
                    <a:lnTo>
                      <a:pt x="1358" y="17"/>
                    </a:lnTo>
                    <a:lnTo>
                      <a:pt x="1360" y="17"/>
                    </a:lnTo>
                    <a:lnTo>
                      <a:pt x="1361" y="17"/>
                    </a:lnTo>
                    <a:lnTo>
                      <a:pt x="1361" y="18"/>
                    </a:lnTo>
                    <a:lnTo>
                      <a:pt x="1363" y="18"/>
                    </a:lnTo>
                    <a:lnTo>
                      <a:pt x="1363" y="20"/>
                    </a:lnTo>
                    <a:lnTo>
                      <a:pt x="1361" y="20"/>
                    </a:lnTo>
                    <a:lnTo>
                      <a:pt x="1363" y="20"/>
                    </a:lnTo>
                    <a:lnTo>
                      <a:pt x="1361" y="20"/>
                    </a:lnTo>
                    <a:lnTo>
                      <a:pt x="1361" y="22"/>
                    </a:lnTo>
                    <a:lnTo>
                      <a:pt x="1360" y="22"/>
                    </a:lnTo>
                    <a:lnTo>
                      <a:pt x="1360" y="24"/>
                    </a:lnTo>
                    <a:lnTo>
                      <a:pt x="1361" y="24"/>
                    </a:lnTo>
                    <a:lnTo>
                      <a:pt x="1361" y="25"/>
                    </a:lnTo>
                    <a:lnTo>
                      <a:pt x="1363" y="25"/>
                    </a:lnTo>
                    <a:lnTo>
                      <a:pt x="1363" y="27"/>
                    </a:lnTo>
                    <a:lnTo>
                      <a:pt x="1363" y="29"/>
                    </a:lnTo>
                    <a:lnTo>
                      <a:pt x="1363" y="30"/>
                    </a:lnTo>
                    <a:lnTo>
                      <a:pt x="1363" y="32"/>
                    </a:lnTo>
                    <a:lnTo>
                      <a:pt x="1365" y="32"/>
                    </a:lnTo>
                    <a:lnTo>
                      <a:pt x="1365" y="34"/>
                    </a:lnTo>
                    <a:lnTo>
                      <a:pt x="1365" y="36"/>
                    </a:lnTo>
                    <a:lnTo>
                      <a:pt x="1365" y="37"/>
                    </a:lnTo>
                    <a:lnTo>
                      <a:pt x="1365" y="39"/>
                    </a:lnTo>
                    <a:lnTo>
                      <a:pt x="1363" y="39"/>
                    </a:lnTo>
                    <a:lnTo>
                      <a:pt x="1365" y="39"/>
                    </a:lnTo>
                    <a:lnTo>
                      <a:pt x="1365" y="41"/>
                    </a:lnTo>
                    <a:lnTo>
                      <a:pt x="1365" y="42"/>
                    </a:lnTo>
                    <a:lnTo>
                      <a:pt x="1366" y="42"/>
                    </a:lnTo>
                    <a:lnTo>
                      <a:pt x="1366" y="44"/>
                    </a:lnTo>
                    <a:lnTo>
                      <a:pt x="1366" y="46"/>
                    </a:lnTo>
                    <a:lnTo>
                      <a:pt x="1368" y="47"/>
                    </a:lnTo>
                    <a:lnTo>
                      <a:pt x="1368" y="49"/>
                    </a:lnTo>
                    <a:lnTo>
                      <a:pt x="1366" y="49"/>
                    </a:lnTo>
                    <a:lnTo>
                      <a:pt x="1366" y="51"/>
                    </a:lnTo>
                    <a:lnTo>
                      <a:pt x="1368" y="51"/>
                    </a:lnTo>
                    <a:lnTo>
                      <a:pt x="1368" y="53"/>
                    </a:lnTo>
                    <a:lnTo>
                      <a:pt x="1368" y="54"/>
                    </a:lnTo>
                    <a:lnTo>
                      <a:pt x="1370" y="54"/>
                    </a:lnTo>
                    <a:lnTo>
                      <a:pt x="1372" y="56"/>
                    </a:lnTo>
                    <a:lnTo>
                      <a:pt x="1373" y="56"/>
                    </a:lnTo>
                    <a:lnTo>
                      <a:pt x="1373" y="58"/>
                    </a:lnTo>
                    <a:lnTo>
                      <a:pt x="1375" y="58"/>
                    </a:lnTo>
                    <a:lnTo>
                      <a:pt x="1375" y="59"/>
                    </a:lnTo>
                    <a:lnTo>
                      <a:pt x="1377" y="59"/>
                    </a:lnTo>
                    <a:lnTo>
                      <a:pt x="1377" y="61"/>
                    </a:lnTo>
                    <a:lnTo>
                      <a:pt x="1378" y="61"/>
                    </a:lnTo>
                    <a:lnTo>
                      <a:pt x="1378" y="63"/>
                    </a:lnTo>
                    <a:lnTo>
                      <a:pt x="1380" y="63"/>
                    </a:lnTo>
                    <a:lnTo>
                      <a:pt x="1382" y="64"/>
                    </a:lnTo>
                    <a:lnTo>
                      <a:pt x="1382" y="66"/>
                    </a:lnTo>
                    <a:lnTo>
                      <a:pt x="1383" y="66"/>
                    </a:lnTo>
                    <a:lnTo>
                      <a:pt x="1383" y="68"/>
                    </a:lnTo>
                    <a:lnTo>
                      <a:pt x="1383" y="70"/>
                    </a:lnTo>
                    <a:lnTo>
                      <a:pt x="1382" y="71"/>
                    </a:lnTo>
                    <a:lnTo>
                      <a:pt x="1382" y="73"/>
                    </a:lnTo>
                    <a:lnTo>
                      <a:pt x="1380" y="73"/>
                    </a:lnTo>
                    <a:lnTo>
                      <a:pt x="1380" y="75"/>
                    </a:lnTo>
                    <a:lnTo>
                      <a:pt x="1378" y="75"/>
                    </a:lnTo>
                    <a:lnTo>
                      <a:pt x="1378" y="76"/>
                    </a:lnTo>
                    <a:lnTo>
                      <a:pt x="1378" y="78"/>
                    </a:lnTo>
                    <a:lnTo>
                      <a:pt x="1377" y="78"/>
                    </a:lnTo>
                    <a:lnTo>
                      <a:pt x="1375" y="78"/>
                    </a:lnTo>
                    <a:lnTo>
                      <a:pt x="1375" y="80"/>
                    </a:lnTo>
                    <a:lnTo>
                      <a:pt x="1377" y="80"/>
                    </a:lnTo>
                    <a:lnTo>
                      <a:pt x="1378" y="81"/>
                    </a:lnTo>
                    <a:lnTo>
                      <a:pt x="1378" y="83"/>
                    </a:lnTo>
                    <a:lnTo>
                      <a:pt x="1380" y="83"/>
                    </a:lnTo>
                    <a:lnTo>
                      <a:pt x="1382" y="83"/>
                    </a:lnTo>
                    <a:lnTo>
                      <a:pt x="1380" y="83"/>
                    </a:lnTo>
                    <a:lnTo>
                      <a:pt x="1380" y="85"/>
                    </a:lnTo>
                    <a:lnTo>
                      <a:pt x="1382" y="85"/>
                    </a:lnTo>
                    <a:lnTo>
                      <a:pt x="1382" y="87"/>
                    </a:lnTo>
                    <a:lnTo>
                      <a:pt x="1380" y="87"/>
                    </a:lnTo>
                    <a:lnTo>
                      <a:pt x="1380" y="88"/>
                    </a:lnTo>
                    <a:lnTo>
                      <a:pt x="1380" y="90"/>
                    </a:lnTo>
                    <a:lnTo>
                      <a:pt x="1378" y="90"/>
                    </a:lnTo>
                    <a:lnTo>
                      <a:pt x="1377" y="90"/>
                    </a:lnTo>
                    <a:lnTo>
                      <a:pt x="1375" y="92"/>
                    </a:lnTo>
                    <a:lnTo>
                      <a:pt x="1373" y="92"/>
                    </a:lnTo>
                    <a:lnTo>
                      <a:pt x="1373" y="93"/>
                    </a:lnTo>
                    <a:lnTo>
                      <a:pt x="1375" y="93"/>
                    </a:lnTo>
                    <a:lnTo>
                      <a:pt x="1375" y="95"/>
                    </a:lnTo>
                    <a:lnTo>
                      <a:pt x="1375" y="97"/>
                    </a:lnTo>
                    <a:lnTo>
                      <a:pt x="1375" y="98"/>
                    </a:lnTo>
                    <a:lnTo>
                      <a:pt x="1377" y="98"/>
                    </a:lnTo>
                    <a:lnTo>
                      <a:pt x="1377" y="100"/>
                    </a:lnTo>
                    <a:lnTo>
                      <a:pt x="1377" y="102"/>
                    </a:lnTo>
                    <a:lnTo>
                      <a:pt x="1375" y="102"/>
                    </a:lnTo>
                    <a:lnTo>
                      <a:pt x="1373" y="102"/>
                    </a:lnTo>
                    <a:lnTo>
                      <a:pt x="1373" y="104"/>
                    </a:lnTo>
                    <a:lnTo>
                      <a:pt x="1373" y="105"/>
                    </a:lnTo>
                    <a:lnTo>
                      <a:pt x="1375" y="105"/>
                    </a:lnTo>
                    <a:lnTo>
                      <a:pt x="1375" y="107"/>
                    </a:lnTo>
                    <a:lnTo>
                      <a:pt x="1377" y="107"/>
                    </a:lnTo>
                    <a:lnTo>
                      <a:pt x="1378" y="107"/>
                    </a:lnTo>
                    <a:lnTo>
                      <a:pt x="1378" y="109"/>
                    </a:lnTo>
                    <a:lnTo>
                      <a:pt x="1380" y="109"/>
                    </a:lnTo>
                    <a:lnTo>
                      <a:pt x="1382" y="109"/>
                    </a:lnTo>
                    <a:lnTo>
                      <a:pt x="1382" y="110"/>
                    </a:lnTo>
                    <a:lnTo>
                      <a:pt x="1383" y="110"/>
                    </a:lnTo>
                    <a:lnTo>
                      <a:pt x="1383" y="112"/>
                    </a:lnTo>
                    <a:lnTo>
                      <a:pt x="1382" y="112"/>
                    </a:lnTo>
                    <a:lnTo>
                      <a:pt x="1382" y="114"/>
                    </a:lnTo>
                    <a:lnTo>
                      <a:pt x="1380" y="114"/>
                    </a:lnTo>
                    <a:lnTo>
                      <a:pt x="1380" y="115"/>
                    </a:lnTo>
                    <a:lnTo>
                      <a:pt x="1380" y="117"/>
                    </a:lnTo>
                    <a:lnTo>
                      <a:pt x="1380" y="119"/>
                    </a:lnTo>
                    <a:lnTo>
                      <a:pt x="1380" y="121"/>
                    </a:lnTo>
                    <a:lnTo>
                      <a:pt x="1382" y="122"/>
                    </a:lnTo>
                    <a:lnTo>
                      <a:pt x="1383" y="122"/>
                    </a:lnTo>
                    <a:lnTo>
                      <a:pt x="1385" y="122"/>
                    </a:lnTo>
                    <a:lnTo>
                      <a:pt x="1385" y="124"/>
                    </a:lnTo>
                    <a:lnTo>
                      <a:pt x="1387" y="124"/>
                    </a:lnTo>
                    <a:lnTo>
                      <a:pt x="1387" y="126"/>
                    </a:lnTo>
                    <a:lnTo>
                      <a:pt x="1389" y="126"/>
                    </a:lnTo>
                    <a:lnTo>
                      <a:pt x="1389" y="127"/>
                    </a:lnTo>
                    <a:lnTo>
                      <a:pt x="1389" y="129"/>
                    </a:lnTo>
                    <a:lnTo>
                      <a:pt x="1392" y="134"/>
                    </a:lnTo>
                    <a:lnTo>
                      <a:pt x="1392" y="136"/>
                    </a:lnTo>
                    <a:lnTo>
                      <a:pt x="1392" y="138"/>
                    </a:lnTo>
                    <a:lnTo>
                      <a:pt x="1392" y="141"/>
                    </a:lnTo>
                    <a:lnTo>
                      <a:pt x="1392" y="143"/>
                    </a:lnTo>
                    <a:lnTo>
                      <a:pt x="1392" y="144"/>
                    </a:lnTo>
                    <a:lnTo>
                      <a:pt x="1392" y="146"/>
                    </a:lnTo>
                    <a:lnTo>
                      <a:pt x="1394" y="148"/>
                    </a:lnTo>
                    <a:lnTo>
                      <a:pt x="1395" y="149"/>
                    </a:lnTo>
                    <a:lnTo>
                      <a:pt x="1395" y="151"/>
                    </a:lnTo>
                    <a:lnTo>
                      <a:pt x="1397" y="153"/>
                    </a:lnTo>
                    <a:lnTo>
                      <a:pt x="1397" y="155"/>
                    </a:lnTo>
                    <a:lnTo>
                      <a:pt x="1397" y="160"/>
                    </a:lnTo>
                    <a:lnTo>
                      <a:pt x="1397" y="161"/>
                    </a:lnTo>
                    <a:lnTo>
                      <a:pt x="1399" y="161"/>
                    </a:lnTo>
                    <a:lnTo>
                      <a:pt x="1399" y="163"/>
                    </a:lnTo>
                    <a:lnTo>
                      <a:pt x="1400" y="163"/>
                    </a:lnTo>
                    <a:lnTo>
                      <a:pt x="1400" y="165"/>
                    </a:lnTo>
                    <a:lnTo>
                      <a:pt x="1400" y="166"/>
                    </a:lnTo>
                    <a:lnTo>
                      <a:pt x="1400" y="168"/>
                    </a:lnTo>
                    <a:lnTo>
                      <a:pt x="1402" y="168"/>
                    </a:lnTo>
                    <a:lnTo>
                      <a:pt x="1400" y="170"/>
                    </a:lnTo>
                    <a:lnTo>
                      <a:pt x="1402" y="170"/>
                    </a:lnTo>
                    <a:lnTo>
                      <a:pt x="1400" y="172"/>
                    </a:lnTo>
                    <a:lnTo>
                      <a:pt x="1400" y="173"/>
                    </a:lnTo>
                    <a:lnTo>
                      <a:pt x="1400" y="175"/>
                    </a:lnTo>
                    <a:lnTo>
                      <a:pt x="1402" y="175"/>
                    </a:lnTo>
                    <a:lnTo>
                      <a:pt x="1402" y="177"/>
                    </a:lnTo>
                    <a:lnTo>
                      <a:pt x="1402" y="178"/>
                    </a:lnTo>
                    <a:lnTo>
                      <a:pt x="1402" y="180"/>
                    </a:lnTo>
                    <a:lnTo>
                      <a:pt x="1404" y="180"/>
                    </a:lnTo>
                    <a:lnTo>
                      <a:pt x="1404" y="182"/>
                    </a:lnTo>
                    <a:lnTo>
                      <a:pt x="1404" y="184"/>
                    </a:lnTo>
                    <a:lnTo>
                      <a:pt x="1402" y="184"/>
                    </a:lnTo>
                    <a:lnTo>
                      <a:pt x="1402" y="185"/>
                    </a:lnTo>
                    <a:lnTo>
                      <a:pt x="1404" y="185"/>
                    </a:lnTo>
                    <a:lnTo>
                      <a:pt x="1402" y="187"/>
                    </a:lnTo>
                    <a:lnTo>
                      <a:pt x="1404" y="189"/>
                    </a:lnTo>
                    <a:lnTo>
                      <a:pt x="1402" y="189"/>
                    </a:lnTo>
                    <a:lnTo>
                      <a:pt x="1404" y="189"/>
                    </a:lnTo>
                    <a:lnTo>
                      <a:pt x="1402" y="190"/>
                    </a:lnTo>
                    <a:lnTo>
                      <a:pt x="1402" y="192"/>
                    </a:lnTo>
                    <a:lnTo>
                      <a:pt x="1404" y="192"/>
                    </a:lnTo>
                    <a:lnTo>
                      <a:pt x="1406" y="192"/>
                    </a:lnTo>
                    <a:lnTo>
                      <a:pt x="1414" y="194"/>
                    </a:lnTo>
                    <a:lnTo>
                      <a:pt x="1416" y="194"/>
                    </a:lnTo>
                    <a:lnTo>
                      <a:pt x="1426" y="190"/>
                    </a:lnTo>
                    <a:close/>
                    <a:moveTo>
                      <a:pt x="1378" y="1498"/>
                    </a:moveTo>
                    <a:lnTo>
                      <a:pt x="1378" y="1500"/>
                    </a:lnTo>
                    <a:lnTo>
                      <a:pt x="1378" y="1517"/>
                    </a:lnTo>
                    <a:lnTo>
                      <a:pt x="1378" y="1531"/>
                    </a:lnTo>
                    <a:lnTo>
                      <a:pt x="1378" y="1536"/>
                    </a:lnTo>
                    <a:lnTo>
                      <a:pt x="1378" y="1539"/>
                    </a:lnTo>
                    <a:lnTo>
                      <a:pt x="1378" y="1551"/>
                    </a:lnTo>
                    <a:lnTo>
                      <a:pt x="1377" y="1563"/>
                    </a:lnTo>
                    <a:lnTo>
                      <a:pt x="1377" y="1570"/>
                    </a:lnTo>
                    <a:lnTo>
                      <a:pt x="1377" y="1582"/>
                    </a:lnTo>
                    <a:lnTo>
                      <a:pt x="1377" y="1595"/>
                    </a:lnTo>
                    <a:lnTo>
                      <a:pt x="1377" y="1597"/>
                    </a:lnTo>
                    <a:lnTo>
                      <a:pt x="1377" y="1604"/>
                    </a:lnTo>
                    <a:lnTo>
                      <a:pt x="1377" y="1606"/>
                    </a:lnTo>
                    <a:lnTo>
                      <a:pt x="1377" y="1607"/>
                    </a:lnTo>
                    <a:lnTo>
                      <a:pt x="1377" y="1609"/>
                    </a:lnTo>
                    <a:lnTo>
                      <a:pt x="1377" y="1621"/>
                    </a:lnTo>
                    <a:lnTo>
                      <a:pt x="1377" y="1626"/>
                    </a:lnTo>
                    <a:lnTo>
                      <a:pt x="1375" y="1624"/>
                    </a:lnTo>
                    <a:lnTo>
                      <a:pt x="1373" y="1623"/>
                    </a:lnTo>
                    <a:lnTo>
                      <a:pt x="1372" y="1623"/>
                    </a:lnTo>
                    <a:lnTo>
                      <a:pt x="1372" y="1624"/>
                    </a:lnTo>
                    <a:lnTo>
                      <a:pt x="1373" y="1624"/>
                    </a:lnTo>
                    <a:lnTo>
                      <a:pt x="1373" y="1626"/>
                    </a:lnTo>
                    <a:lnTo>
                      <a:pt x="1375" y="1626"/>
                    </a:lnTo>
                    <a:lnTo>
                      <a:pt x="1375" y="1628"/>
                    </a:lnTo>
                    <a:lnTo>
                      <a:pt x="1373" y="1628"/>
                    </a:lnTo>
                    <a:lnTo>
                      <a:pt x="1372" y="1629"/>
                    </a:lnTo>
                    <a:lnTo>
                      <a:pt x="1370" y="1629"/>
                    </a:lnTo>
                    <a:lnTo>
                      <a:pt x="1368" y="1629"/>
                    </a:lnTo>
                    <a:lnTo>
                      <a:pt x="1366" y="1629"/>
                    </a:lnTo>
                    <a:lnTo>
                      <a:pt x="1365" y="1629"/>
                    </a:lnTo>
                    <a:lnTo>
                      <a:pt x="1365" y="1631"/>
                    </a:lnTo>
                    <a:lnTo>
                      <a:pt x="1363" y="1629"/>
                    </a:lnTo>
                    <a:lnTo>
                      <a:pt x="1361" y="1629"/>
                    </a:lnTo>
                    <a:lnTo>
                      <a:pt x="1360" y="1629"/>
                    </a:lnTo>
                    <a:lnTo>
                      <a:pt x="1358" y="1628"/>
                    </a:lnTo>
                    <a:lnTo>
                      <a:pt x="1356" y="1628"/>
                    </a:lnTo>
                    <a:lnTo>
                      <a:pt x="1355" y="1628"/>
                    </a:lnTo>
                    <a:lnTo>
                      <a:pt x="1353" y="1628"/>
                    </a:lnTo>
                    <a:lnTo>
                      <a:pt x="1351" y="1626"/>
                    </a:lnTo>
                    <a:lnTo>
                      <a:pt x="1349" y="1626"/>
                    </a:lnTo>
                    <a:lnTo>
                      <a:pt x="1348" y="1626"/>
                    </a:lnTo>
                    <a:lnTo>
                      <a:pt x="1348" y="1624"/>
                    </a:lnTo>
                    <a:lnTo>
                      <a:pt x="1346" y="1624"/>
                    </a:lnTo>
                    <a:lnTo>
                      <a:pt x="1344" y="1624"/>
                    </a:lnTo>
                    <a:lnTo>
                      <a:pt x="1343" y="1623"/>
                    </a:lnTo>
                    <a:lnTo>
                      <a:pt x="1343" y="1621"/>
                    </a:lnTo>
                    <a:lnTo>
                      <a:pt x="1344" y="1619"/>
                    </a:lnTo>
                    <a:lnTo>
                      <a:pt x="1344" y="1621"/>
                    </a:lnTo>
                    <a:lnTo>
                      <a:pt x="1344" y="1619"/>
                    </a:lnTo>
                    <a:lnTo>
                      <a:pt x="1344" y="1618"/>
                    </a:lnTo>
                    <a:lnTo>
                      <a:pt x="1344" y="1616"/>
                    </a:lnTo>
                    <a:lnTo>
                      <a:pt x="1344" y="1618"/>
                    </a:lnTo>
                    <a:lnTo>
                      <a:pt x="1344" y="1619"/>
                    </a:lnTo>
                    <a:lnTo>
                      <a:pt x="1343" y="1621"/>
                    </a:lnTo>
                    <a:lnTo>
                      <a:pt x="1343" y="1619"/>
                    </a:lnTo>
                    <a:lnTo>
                      <a:pt x="1343" y="1618"/>
                    </a:lnTo>
                    <a:lnTo>
                      <a:pt x="1341" y="1616"/>
                    </a:lnTo>
                    <a:lnTo>
                      <a:pt x="1341" y="1614"/>
                    </a:lnTo>
                    <a:lnTo>
                      <a:pt x="1341" y="1616"/>
                    </a:lnTo>
                    <a:lnTo>
                      <a:pt x="1341" y="1618"/>
                    </a:lnTo>
                    <a:lnTo>
                      <a:pt x="1343" y="1619"/>
                    </a:lnTo>
                    <a:lnTo>
                      <a:pt x="1341" y="1619"/>
                    </a:lnTo>
                    <a:lnTo>
                      <a:pt x="1341" y="1621"/>
                    </a:lnTo>
                    <a:lnTo>
                      <a:pt x="1343" y="1621"/>
                    </a:lnTo>
                    <a:lnTo>
                      <a:pt x="1343" y="1619"/>
                    </a:lnTo>
                    <a:lnTo>
                      <a:pt x="1343" y="1621"/>
                    </a:lnTo>
                    <a:lnTo>
                      <a:pt x="1343" y="1623"/>
                    </a:lnTo>
                    <a:lnTo>
                      <a:pt x="1341" y="1623"/>
                    </a:lnTo>
                    <a:lnTo>
                      <a:pt x="1339" y="1623"/>
                    </a:lnTo>
                    <a:lnTo>
                      <a:pt x="1339" y="1621"/>
                    </a:lnTo>
                    <a:lnTo>
                      <a:pt x="1339" y="1619"/>
                    </a:lnTo>
                    <a:lnTo>
                      <a:pt x="1341" y="1619"/>
                    </a:lnTo>
                    <a:lnTo>
                      <a:pt x="1341" y="1618"/>
                    </a:lnTo>
                    <a:lnTo>
                      <a:pt x="1339" y="1618"/>
                    </a:lnTo>
                    <a:lnTo>
                      <a:pt x="1339" y="1616"/>
                    </a:lnTo>
                    <a:lnTo>
                      <a:pt x="1339" y="1618"/>
                    </a:lnTo>
                    <a:lnTo>
                      <a:pt x="1341" y="1619"/>
                    </a:lnTo>
                    <a:lnTo>
                      <a:pt x="1339" y="1619"/>
                    </a:lnTo>
                    <a:lnTo>
                      <a:pt x="1339" y="1621"/>
                    </a:lnTo>
                    <a:lnTo>
                      <a:pt x="1339" y="1623"/>
                    </a:lnTo>
                    <a:lnTo>
                      <a:pt x="1338" y="1623"/>
                    </a:lnTo>
                    <a:lnTo>
                      <a:pt x="1336" y="1623"/>
                    </a:lnTo>
                    <a:lnTo>
                      <a:pt x="1334" y="1623"/>
                    </a:lnTo>
                    <a:lnTo>
                      <a:pt x="1332" y="1623"/>
                    </a:lnTo>
                    <a:lnTo>
                      <a:pt x="1332" y="1621"/>
                    </a:lnTo>
                    <a:lnTo>
                      <a:pt x="1332" y="1619"/>
                    </a:lnTo>
                    <a:lnTo>
                      <a:pt x="1332" y="1618"/>
                    </a:lnTo>
                    <a:lnTo>
                      <a:pt x="1332" y="1616"/>
                    </a:lnTo>
                    <a:lnTo>
                      <a:pt x="1332" y="1618"/>
                    </a:lnTo>
                    <a:lnTo>
                      <a:pt x="1332" y="1619"/>
                    </a:lnTo>
                    <a:lnTo>
                      <a:pt x="1332" y="1621"/>
                    </a:lnTo>
                    <a:lnTo>
                      <a:pt x="1332" y="1623"/>
                    </a:lnTo>
                    <a:lnTo>
                      <a:pt x="1332" y="1624"/>
                    </a:lnTo>
                    <a:lnTo>
                      <a:pt x="1331" y="1624"/>
                    </a:lnTo>
                    <a:lnTo>
                      <a:pt x="1329" y="1624"/>
                    </a:lnTo>
                    <a:lnTo>
                      <a:pt x="1327" y="1624"/>
                    </a:lnTo>
                    <a:lnTo>
                      <a:pt x="1329" y="1623"/>
                    </a:lnTo>
                    <a:lnTo>
                      <a:pt x="1329" y="1621"/>
                    </a:lnTo>
                    <a:lnTo>
                      <a:pt x="1327" y="1623"/>
                    </a:lnTo>
                    <a:lnTo>
                      <a:pt x="1327" y="1621"/>
                    </a:lnTo>
                    <a:lnTo>
                      <a:pt x="1327" y="1623"/>
                    </a:lnTo>
                    <a:lnTo>
                      <a:pt x="1326" y="1624"/>
                    </a:lnTo>
                    <a:lnTo>
                      <a:pt x="1324" y="1624"/>
                    </a:lnTo>
                    <a:lnTo>
                      <a:pt x="1324" y="1623"/>
                    </a:lnTo>
                    <a:lnTo>
                      <a:pt x="1324" y="1624"/>
                    </a:lnTo>
                    <a:lnTo>
                      <a:pt x="1326" y="1624"/>
                    </a:lnTo>
                    <a:lnTo>
                      <a:pt x="1324" y="1624"/>
                    </a:lnTo>
                    <a:lnTo>
                      <a:pt x="1322" y="1624"/>
                    </a:lnTo>
                    <a:lnTo>
                      <a:pt x="1321" y="1624"/>
                    </a:lnTo>
                    <a:lnTo>
                      <a:pt x="1321" y="1623"/>
                    </a:lnTo>
                    <a:lnTo>
                      <a:pt x="1321" y="1621"/>
                    </a:lnTo>
                    <a:lnTo>
                      <a:pt x="1321" y="1619"/>
                    </a:lnTo>
                    <a:lnTo>
                      <a:pt x="1322" y="1618"/>
                    </a:lnTo>
                    <a:lnTo>
                      <a:pt x="1324" y="1616"/>
                    </a:lnTo>
                    <a:lnTo>
                      <a:pt x="1326" y="1614"/>
                    </a:lnTo>
                    <a:lnTo>
                      <a:pt x="1324" y="1614"/>
                    </a:lnTo>
                    <a:lnTo>
                      <a:pt x="1322" y="1614"/>
                    </a:lnTo>
                    <a:lnTo>
                      <a:pt x="1322" y="1616"/>
                    </a:lnTo>
                    <a:lnTo>
                      <a:pt x="1322" y="1618"/>
                    </a:lnTo>
                    <a:lnTo>
                      <a:pt x="1321" y="1618"/>
                    </a:lnTo>
                    <a:lnTo>
                      <a:pt x="1321" y="1619"/>
                    </a:lnTo>
                    <a:lnTo>
                      <a:pt x="1321" y="1621"/>
                    </a:lnTo>
                    <a:lnTo>
                      <a:pt x="1319" y="1623"/>
                    </a:lnTo>
                    <a:lnTo>
                      <a:pt x="1319" y="1624"/>
                    </a:lnTo>
                    <a:lnTo>
                      <a:pt x="1319" y="1623"/>
                    </a:lnTo>
                    <a:lnTo>
                      <a:pt x="1317" y="1623"/>
                    </a:lnTo>
                    <a:lnTo>
                      <a:pt x="1315" y="1621"/>
                    </a:lnTo>
                    <a:lnTo>
                      <a:pt x="1314" y="1621"/>
                    </a:lnTo>
                    <a:lnTo>
                      <a:pt x="1312" y="1621"/>
                    </a:lnTo>
                    <a:lnTo>
                      <a:pt x="1312" y="1619"/>
                    </a:lnTo>
                    <a:lnTo>
                      <a:pt x="1310" y="1619"/>
                    </a:lnTo>
                    <a:lnTo>
                      <a:pt x="1312" y="1619"/>
                    </a:lnTo>
                    <a:lnTo>
                      <a:pt x="1310" y="1619"/>
                    </a:lnTo>
                    <a:lnTo>
                      <a:pt x="1310" y="1621"/>
                    </a:lnTo>
                    <a:lnTo>
                      <a:pt x="1309" y="1621"/>
                    </a:lnTo>
                    <a:lnTo>
                      <a:pt x="1309" y="1623"/>
                    </a:lnTo>
                    <a:lnTo>
                      <a:pt x="1307" y="1621"/>
                    </a:lnTo>
                    <a:lnTo>
                      <a:pt x="1307" y="1623"/>
                    </a:lnTo>
                    <a:lnTo>
                      <a:pt x="1307" y="1624"/>
                    </a:lnTo>
                    <a:lnTo>
                      <a:pt x="1307" y="1623"/>
                    </a:lnTo>
                    <a:lnTo>
                      <a:pt x="1305" y="1623"/>
                    </a:lnTo>
                    <a:lnTo>
                      <a:pt x="1304" y="1623"/>
                    </a:lnTo>
                    <a:lnTo>
                      <a:pt x="1302" y="1623"/>
                    </a:lnTo>
                    <a:lnTo>
                      <a:pt x="1304" y="1621"/>
                    </a:lnTo>
                    <a:lnTo>
                      <a:pt x="1304" y="1619"/>
                    </a:lnTo>
                    <a:lnTo>
                      <a:pt x="1304" y="1621"/>
                    </a:lnTo>
                    <a:lnTo>
                      <a:pt x="1304" y="1619"/>
                    </a:lnTo>
                    <a:lnTo>
                      <a:pt x="1305" y="1619"/>
                    </a:lnTo>
                    <a:lnTo>
                      <a:pt x="1307" y="1619"/>
                    </a:lnTo>
                    <a:lnTo>
                      <a:pt x="1309" y="1618"/>
                    </a:lnTo>
                    <a:lnTo>
                      <a:pt x="1310" y="1618"/>
                    </a:lnTo>
                    <a:lnTo>
                      <a:pt x="1310" y="1616"/>
                    </a:lnTo>
                    <a:lnTo>
                      <a:pt x="1312" y="1616"/>
                    </a:lnTo>
                    <a:lnTo>
                      <a:pt x="1314" y="1616"/>
                    </a:lnTo>
                    <a:lnTo>
                      <a:pt x="1314" y="1614"/>
                    </a:lnTo>
                    <a:lnTo>
                      <a:pt x="1315" y="1614"/>
                    </a:lnTo>
                    <a:lnTo>
                      <a:pt x="1315" y="1612"/>
                    </a:lnTo>
                    <a:lnTo>
                      <a:pt x="1317" y="1612"/>
                    </a:lnTo>
                    <a:lnTo>
                      <a:pt x="1317" y="1611"/>
                    </a:lnTo>
                    <a:lnTo>
                      <a:pt x="1315" y="1611"/>
                    </a:lnTo>
                    <a:lnTo>
                      <a:pt x="1314" y="1611"/>
                    </a:lnTo>
                    <a:lnTo>
                      <a:pt x="1312" y="1611"/>
                    </a:lnTo>
                    <a:lnTo>
                      <a:pt x="1312" y="1612"/>
                    </a:lnTo>
                    <a:lnTo>
                      <a:pt x="1310" y="1614"/>
                    </a:lnTo>
                    <a:lnTo>
                      <a:pt x="1312" y="1614"/>
                    </a:lnTo>
                    <a:lnTo>
                      <a:pt x="1312" y="1616"/>
                    </a:lnTo>
                    <a:lnTo>
                      <a:pt x="1310" y="1616"/>
                    </a:lnTo>
                    <a:lnTo>
                      <a:pt x="1309" y="1616"/>
                    </a:lnTo>
                    <a:lnTo>
                      <a:pt x="1309" y="1618"/>
                    </a:lnTo>
                    <a:lnTo>
                      <a:pt x="1307" y="1618"/>
                    </a:lnTo>
                    <a:lnTo>
                      <a:pt x="1307" y="1616"/>
                    </a:lnTo>
                    <a:lnTo>
                      <a:pt x="1305" y="1616"/>
                    </a:lnTo>
                    <a:lnTo>
                      <a:pt x="1305" y="1618"/>
                    </a:lnTo>
                    <a:lnTo>
                      <a:pt x="1304" y="1618"/>
                    </a:lnTo>
                    <a:lnTo>
                      <a:pt x="1305" y="1618"/>
                    </a:lnTo>
                    <a:lnTo>
                      <a:pt x="1304" y="1619"/>
                    </a:lnTo>
                    <a:lnTo>
                      <a:pt x="1304" y="1618"/>
                    </a:lnTo>
                    <a:lnTo>
                      <a:pt x="1302" y="1619"/>
                    </a:lnTo>
                    <a:lnTo>
                      <a:pt x="1302" y="1618"/>
                    </a:lnTo>
                    <a:lnTo>
                      <a:pt x="1300" y="1618"/>
                    </a:lnTo>
                    <a:lnTo>
                      <a:pt x="1298" y="1618"/>
                    </a:lnTo>
                    <a:lnTo>
                      <a:pt x="1300" y="1618"/>
                    </a:lnTo>
                    <a:lnTo>
                      <a:pt x="1300" y="1616"/>
                    </a:lnTo>
                    <a:lnTo>
                      <a:pt x="1302" y="1616"/>
                    </a:lnTo>
                    <a:lnTo>
                      <a:pt x="1304" y="1614"/>
                    </a:lnTo>
                    <a:lnTo>
                      <a:pt x="1305" y="1614"/>
                    </a:lnTo>
                    <a:lnTo>
                      <a:pt x="1304" y="1614"/>
                    </a:lnTo>
                    <a:lnTo>
                      <a:pt x="1302" y="1614"/>
                    </a:lnTo>
                    <a:lnTo>
                      <a:pt x="1302" y="1612"/>
                    </a:lnTo>
                    <a:lnTo>
                      <a:pt x="1300" y="1612"/>
                    </a:lnTo>
                    <a:lnTo>
                      <a:pt x="1300" y="1614"/>
                    </a:lnTo>
                    <a:lnTo>
                      <a:pt x="1298" y="1614"/>
                    </a:lnTo>
                    <a:lnTo>
                      <a:pt x="1300" y="1614"/>
                    </a:lnTo>
                    <a:lnTo>
                      <a:pt x="1300" y="1616"/>
                    </a:lnTo>
                    <a:lnTo>
                      <a:pt x="1298" y="1618"/>
                    </a:lnTo>
                    <a:lnTo>
                      <a:pt x="1298" y="1619"/>
                    </a:lnTo>
                    <a:lnTo>
                      <a:pt x="1297" y="1619"/>
                    </a:lnTo>
                    <a:lnTo>
                      <a:pt x="1295" y="1618"/>
                    </a:lnTo>
                    <a:lnTo>
                      <a:pt x="1297" y="1618"/>
                    </a:lnTo>
                    <a:lnTo>
                      <a:pt x="1297" y="1616"/>
                    </a:lnTo>
                    <a:lnTo>
                      <a:pt x="1298" y="1616"/>
                    </a:lnTo>
                    <a:lnTo>
                      <a:pt x="1298" y="1614"/>
                    </a:lnTo>
                    <a:lnTo>
                      <a:pt x="1300" y="1614"/>
                    </a:lnTo>
                    <a:lnTo>
                      <a:pt x="1298" y="1614"/>
                    </a:lnTo>
                    <a:lnTo>
                      <a:pt x="1297" y="1614"/>
                    </a:lnTo>
                    <a:lnTo>
                      <a:pt x="1297" y="1616"/>
                    </a:lnTo>
                    <a:lnTo>
                      <a:pt x="1297" y="1614"/>
                    </a:lnTo>
                    <a:lnTo>
                      <a:pt x="1298" y="1614"/>
                    </a:lnTo>
                    <a:lnTo>
                      <a:pt x="1298" y="1612"/>
                    </a:lnTo>
                    <a:lnTo>
                      <a:pt x="1297" y="1612"/>
                    </a:lnTo>
                    <a:lnTo>
                      <a:pt x="1298" y="1612"/>
                    </a:lnTo>
                    <a:lnTo>
                      <a:pt x="1298" y="1611"/>
                    </a:lnTo>
                    <a:lnTo>
                      <a:pt x="1300" y="1611"/>
                    </a:lnTo>
                    <a:lnTo>
                      <a:pt x="1298" y="1611"/>
                    </a:lnTo>
                    <a:lnTo>
                      <a:pt x="1297" y="1611"/>
                    </a:lnTo>
                    <a:lnTo>
                      <a:pt x="1297" y="1609"/>
                    </a:lnTo>
                    <a:lnTo>
                      <a:pt x="1295" y="1609"/>
                    </a:lnTo>
                    <a:lnTo>
                      <a:pt x="1297" y="1611"/>
                    </a:lnTo>
                    <a:lnTo>
                      <a:pt x="1295" y="1612"/>
                    </a:lnTo>
                    <a:lnTo>
                      <a:pt x="1295" y="1611"/>
                    </a:lnTo>
                    <a:lnTo>
                      <a:pt x="1293" y="1612"/>
                    </a:lnTo>
                    <a:lnTo>
                      <a:pt x="1293" y="1614"/>
                    </a:lnTo>
                    <a:lnTo>
                      <a:pt x="1292" y="1614"/>
                    </a:lnTo>
                    <a:lnTo>
                      <a:pt x="1290" y="1614"/>
                    </a:lnTo>
                    <a:lnTo>
                      <a:pt x="1292" y="1614"/>
                    </a:lnTo>
                    <a:lnTo>
                      <a:pt x="1290" y="1612"/>
                    </a:lnTo>
                    <a:lnTo>
                      <a:pt x="1288" y="1614"/>
                    </a:lnTo>
                    <a:lnTo>
                      <a:pt x="1288" y="1612"/>
                    </a:lnTo>
                    <a:lnTo>
                      <a:pt x="1287" y="1612"/>
                    </a:lnTo>
                    <a:lnTo>
                      <a:pt x="1287" y="1611"/>
                    </a:lnTo>
                    <a:lnTo>
                      <a:pt x="1288" y="1611"/>
                    </a:lnTo>
                    <a:lnTo>
                      <a:pt x="1290" y="1612"/>
                    </a:lnTo>
                    <a:lnTo>
                      <a:pt x="1290" y="1611"/>
                    </a:lnTo>
                    <a:lnTo>
                      <a:pt x="1292" y="1611"/>
                    </a:lnTo>
                    <a:lnTo>
                      <a:pt x="1293" y="1611"/>
                    </a:lnTo>
                    <a:lnTo>
                      <a:pt x="1292" y="1611"/>
                    </a:lnTo>
                    <a:lnTo>
                      <a:pt x="1290" y="1611"/>
                    </a:lnTo>
                    <a:lnTo>
                      <a:pt x="1288" y="1609"/>
                    </a:lnTo>
                    <a:lnTo>
                      <a:pt x="1288" y="1607"/>
                    </a:lnTo>
                    <a:lnTo>
                      <a:pt x="1290" y="1607"/>
                    </a:lnTo>
                    <a:lnTo>
                      <a:pt x="1292" y="1607"/>
                    </a:lnTo>
                    <a:lnTo>
                      <a:pt x="1290" y="1607"/>
                    </a:lnTo>
                    <a:lnTo>
                      <a:pt x="1288" y="1607"/>
                    </a:lnTo>
                    <a:lnTo>
                      <a:pt x="1290" y="1606"/>
                    </a:lnTo>
                    <a:lnTo>
                      <a:pt x="1288" y="1606"/>
                    </a:lnTo>
                    <a:lnTo>
                      <a:pt x="1290" y="1604"/>
                    </a:lnTo>
                    <a:lnTo>
                      <a:pt x="1288" y="1606"/>
                    </a:lnTo>
                    <a:lnTo>
                      <a:pt x="1288" y="1607"/>
                    </a:lnTo>
                    <a:lnTo>
                      <a:pt x="1287" y="1607"/>
                    </a:lnTo>
                    <a:lnTo>
                      <a:pt x="1287" y="1606"/>
                    </a:lnTo>
                    <a:lnTo>
                      <a:pt x="1287" y="1604"/>
                    </a:lnTo>
                    <a:lnTo>
                      <a:pt x="1287" y="1606"/>
                    </a:lnTo>
                    <a:lnTo>
                      <a:pt x="1287" y="1607"/>
                    </a:lnTo>
                    <a:lnTo>
                      <a:pt x="1285" y="1606"/>
                    </a:lnTo>
                    <a:lnTo>
                      <a:pt x="1283" y="1604"/>
                    </a:lnTo>
                    <a:lnTo>
                      <a:pt x="1285" y="1606"/>
                    </a:lnTo>
                    <a:lnTo>
                      <a:pt x="1285" y="1607"/>
                    </a:lnTo>
                    <a:lnTo>
                      <a:pt x="1283" y="1606"/>
                    </a:lnTo>
                    <a:lnTo>
                      <a:pt x="1283" y="1607"/>
                    </a:lnTo>
                    <a:lnTo>
                      <a:pt x="1285" y="1607"/>
                    </a:lnTo>
                    <a:lnTo>
                      <a:pt x="1287" y="1607"/>
                    </a:lnTo>
                    <a:lnTo>
                      <a:pt x="1287" y="1609"/>
                    </a:lnTo>
                    <a:lnTo>
                      <a:pt x="1287" y="1611"/>
                    </a:lnTo>
                    <a:lnTo>
                      <a:pt x="1285" y="1609"/>
                    </a:lnTo>
                    <a:lnTo>
                      <a:pt x="1287" y="1609"/>
                    </a:lnTo>
                    <a:lnTo>
                      <a:pt x="1285" y="1609"/>
                    </a:lnTo>
                    <a:lnTo>
                      <a:pt x="1283" y="1609"/>
                    </a:lnTo>
                    <a:lnTo>
                      <a:pt x="1285" y="1609"/>
                    </a:lnTo>
                    <a:lnTo>
                      <a:pt x="1285" y="1611"/>
                    </a:lnTo>
                    <a:lnTo>
                      <a:pt x="1285" y="1612"/>
                    </a:lnTo>
                    <a:lnTo>
                      <a:pt x="1283" y="1612"/>
                    </a:lnTo>
                    <a:lnTo>
                      <a:pt x="1283" y="1611"/>
                    </a:lnTo>
                    <a:lnTo>
                      <a:pt x="1281" y="1611"/>
                    </a:lnTo>
                    <a:lnTo>
                      <a:pt x="1283" y="1612"/>
                    </a:lnTo>
                    <a:lnTo>
                      <a:pt x="1281" y="1612"/>
                    </a:lnTo>
                    <a:lnTo>
                      <a:pt x="1281" y="1614"/>
                    </a:lnTo>
                    <a:lnTo>
                      <a:pt x="1280" y="1614"/>
                    </a:lnTo>
                    <a:lnTo>
                      <a:pt x="1280" y="1612"/>
                    </a:lnTo>
                    <a:lnTo>
                      <a:pt x="1280" y="1611"/>
                    </a:lnTo>
                    <a:lnTo>
                      <a:pt x="1280" y="1609"/>
                    </a:lnTo>
                    <a:lnTo>
                      <a:pt x="1281" y="1609"/>
                    </a:lnTo>
                    <a:lnTo>
                      <a:pt x="1281" y="1607"/>
                    </a:lnTo>
                    <a:lnTo>
                      <a:pt x="1280" y="1609"/>
                    </a:lnTo>
                    <a:lnTo>
                      <a:pt x="1280" y="1611"/>
                    </a:lnTo>
                    <a:lnTo>
                      <a:pt x="1280" y="1612"/>
                    </a:lnTo>
                    <a:lnTo>
                      <a:pt x="1280" y="1611"/>
                    </a:lnTo>
                    <a:lnTo>
                      <a:pt x="1278" y="1612"/>
                    </a:lnTo>
                    <a:lnTo>
                      <a:pt x="1278" y="1611"/>
                    </a:lnTo>
                    <a:lnTo>
                      <a:pt x="1278" y="1609"/>
                    </a:lnTo>
                    <a:lnTo>
                      <a:pt x="1278" y="1611"/>
                    </a:lnTo>
                    <a:lnTo>
                      <a:pt x="1276" y="1611"/>
                    </a:lnTo>
                    <a:lnTo>
                      <a:pt x="1276" y="1609"/>
                    </a:lnTo>
                    <a:lnTo>
                      <a:pt x="1278" y="1609"/>
                    </a:lnTo>
                    <a:lnTo>
                      <a:pt x="1278" y="1607"/>
                    </a:lnTo>
                    <a:lnTo>
                      <a:pt x="1278" y="1609"/>
                    </a:lnTo>
                    <a:lnTo>
                      <a:pt x="1276" y="1607"/>
                    </a:lnTo>
                    <a:lnTo>
                      <a:pt x="1276" y="1609"/>
                    </a:lnTo>
                    <a:lnTo>
                      <a:pt x="1275" y="1611"/>
                    </a:lnTo>
                    <a:lnTo>
                      <a:pt x="1276" y="1611"/>
                    </a:lnTo>
                    <a:lnTo>
                      <a:pt x="1275" y="1612"/>
                    </a:lnTo>
                    <a:lnTo>
                      <a:pt x="1275" y="1611"/>
                    </a:lnTo>
                    <a:lnTo>
                      <a:pt x="1275" y="1609"/>
                    </a:lnTo>
                    <a:lnTo>
                      <a:pt x="1276" y="1609"/>
                    </a:lnTo>
                    <a:lnTo>
                      <a:pt x="1276" y="1607"/>
                    </a:lnTo>
                    <a:lnTo>
                      <a:pt x="1275" y="1609"/>
                    </a:lnTo>
                    <a:lnTo>
                      <a:pt x="1273" y="1609"/>
                    </a:lnTo>
                    <a:lnTo>
                      <a:pt x="1271" y="1607"/>
                    </a:lnTo>
                    <a:lnTo>
                      <a:pt x="1273" y="1609"/>
                    </a:lnTo>
                    <a:lnTo>
                      <a:pt x="1271" y="1611"/>
                    </a:lnTo>
                    <a:lnTo>
                      <a:pt x="1271" y="1609"/>
                    </a:lnTo>
                    <a:lnTo>
                      <a:pt x="1270" y="1607"/>
                    </a:lnTo>
                    <a:lnTo>
                      <a:pt x="1270" y="1609"/>
                    </a:lnTo>
                    <a:lnTo>
                      <a:pt x="1271" y="1611"/>
                    </a:lnTo>
                    <a:lnTo>
                      <a:pt x="1270" y="1611"/>
                    </a:lnTo>
                    <a:lnTo>
                      <a:pt x="1268" y="1611"/>
                    </a:lnTo>
                    <a:lnTo>
                      <a:pt x="1266" y="1611"/>
                    </a:lnTo>
                    <a:lnTo>
                      <a:pt x="1264" y="1609"/>
                    </a:lnTo>
                    <a:lnTo>
                      <a:pt x="1266" y="1609"/>
                    </a:lnTo>
                    <a:lnTo>
                      <a:pt x="1268" y="1609"/>
                    </a:lnTo>
                    <a:lnTo>
                      <a:pt x="1268" y="1607"/>
                    </a:lnTo>
                    <a:lnTo>
                      <a:pt x="1266" y="1607"/>
                    </a:lnTo>
                    <a:lnTo>
                      <a:pt x="1266" y="1606"/>
                    </a:lnTo>
                    <a:lnTo>
                      <a:pt x="1264" y="1607"/>
                    </a:lnTo>
                    <a:lnTo>
                      <a:pt x="1264" y="1606"/>
                    </a:lnTo>
                    <a:lnTo>
                      <a:pt x="1264" y="1604"/>
                    </a:lnTo>
                    <a:lnTo>
                      <a:pt x="1263" y="1604"/>
                    </a:lnTo>
                    <a:lnTo>
                      <a:pt x="1264" y="1602"/>
                    </a:lnTo>
                    <a:lnTo>
                      <a:pt x="1264" y="1604"/>
                    </a:lnTo>
                    <a:lnTo>
                      <a:pt x="1266" y="1606"/>
                    </a:lnTo>
                    <a:lnTo>
                      <a:pt x="1264" y="1604"/>
                    </a:lnTo>
                    <a:lnTo>
                      <a:pt x="1264" y="1602"/>
                    </a:lnTo>
                    <a:lnTo>
                      <a:pt x="1266" y="1604"/>
                    </a:lnTo>
                    <a:lnTo>
                      <a:pt x="1264" y="1602"/>
                    </a:lnTo>
                    <a:lnTo>
                      <a:pt x="1264" y="1600"/>
                    </a:lnTo>
                    <a:lnTo>
                      <a:pt x="1266" y="1600"/>
                    </a:lnTo>
                    <a:lnTo>
                      <a:pt x="1268" y="1600"/>
                    </a:lnTo>
                    <a:lnTo>
                      <a:pt x="1268" y="1602"/>
                    </a:lnTo>
                    <a:lnTo>
                      <a:pt x="1268" y="1604"/>
                    </a:lnTo>
                    <a:lnTo>
                      <a:pt x="1268" y="1602"/>
                    </a:lnTo>
                    <a:lnTo>
                      <a:pt x="1268" y="1600"/>
                    </a:lnTo>
                    <a:lnTo>
                      <a:pt x="1270" y="1602"/>
                    </a:lnTo>
                    <a:lnTo>
                      <a:pt x="1270" y="1604"/>
                    </a:lnTo>
                    <a:lnTo>
                      <a:pt x="1270" y="1606"/>
                    </a:lnTo>
                    <a:lnTo>
                      <a:pt x="1271" y="1606"/>
                    </a:lnTo>
                    <a:lnTo>
                      <a:pt x="1273" y="1606"/>
                    </a:lnTo>
                    <a:lnTo>
                      <a:pt x="1275" y="1607"/>
                    </a:lnTo>
                    <a:lnTo>
                      <a:pt x="1275" y="1606"/>
                    </a:lnTo>
                    <a:lnTo>
                      <a:pt x="1273" y="1606"/>
                    </a:lnTo>
                    <a:lnTo>
                      <a:pt x="1275" y="1606"/>
                    </a:lnTo>
                    <a:lnTo>
                      <a:pt x="1273" y="1604"/>
                    </a:lnTo>
                    <a:lnTo>
                      <a:pt x="1271" y="1602"/>
                    </a:lnTo>
                    <a:lnTo>
                      <a:pt x="1273" y="1602"/>
                    </a:lnTo>
                    <a:lnTo>
                      <a:pt x="1275" y="1604"/>
                    </a:lnTo>
                    <a:lnTo>
                      <a:pt x="1276" y="1604"/>
                    </a:lnTo>
                    <a:lnTo>
                      <a:pt x="1276" y="1606"/>
                    </a:lnTo>
                    <a:lnTo>
                      <a:pt x="1276" y="1604"/>
                    </a:lnTo>
                    <a:lnTo>
                      <a:pt x="1278" y="1606"/>
                    </a:lnTo>
                    <a:lnTo>
                      <a:pt x="1280" y="1606"/>
                    </a:lnTo>
                    <a:lnTo>
                      <a:pt x="1278" y="1604"/>
                    </a:lnTo>
                    <a:lnTo>
                      <a:pt x="1276" y="1604"/>
                    </a:lnTo>
                    <a:lnTo>
                      <a:pt x="1275" y="1604"/>
                    </a:lnTo>
                    <a:lnTo>
                      <a:pt x="1276" y="1602"/>
                    </a:lnTo>
                    <a:lnTo>
                      <a:pt x="1275" y="1602"/>
                    </a:lnTo>
                    <a:lnTo>
                      <a:pt x="1273" y="1602"/>
                    </a:lnTo>
                    <a:lnTo>
                      <a:pt x="1275" y="1600"/>
                    </a:lnTo>
                    <a:lnTo>
                      <a:pt x="1273" y="1600"/>
                    </a:lnTo>
                    <a:lnTo>
                      <a:pt x="1271" y="1600"/>
                    </a:lnTo>
                    <a:lnTo>
                      <a:pt x="1270" y="1600"/>
                    </a:lnTo>
                    <a:lnTo>
                      <a:pt x="1268" y="1600"/>
                    </a:lnTo>
                    <a:lnTo>
                      <a:pt x="1268" y="1599"/>
                    </a:lnTo>
                    <a:lnTo>
                      <a:pt x="1270" y="1599"/>
                    </a:lnTo>
                    <a:lnTo>
                      <a:pt x="1271" y="1600"/>
                    </a:lnTo>
                    <a:lnTo>
                      <a:pt x="1270" y="1599"/>
                    </a:lnTo>
                    <a:lnTo>
                      <a:pt x="1271" y="1599"/>
                    </a:lnTo>
                    <a:lnTo>
                      <a:pt x="1270" y="1599"/>
                    </a:lnTo>
                    <a:lnTo>
                      <a:pt x="1270" y="1597"/>
                    </a:lnTo>
                    <a:lnTo>
                      <a:pt x="1271" y="1599"/>
                    </a:lnTo>
                    <a:lnTo>
                      <a:pt x="1270" y="1597"/>
                    </a:lnTo>
                    <a:lnTo>
                      <a:pt x="1271" y="1597"/>
                    </a:lnTo>
                    <a:lnTo>
                      <a:pt x="1273" y="1597"/>
                    </a:lnTo>
                    <a:lnTo>
                      <a:pt x="1273" y="1599"/>
                    </a:lnTo>
                    <a:lnTo>
                      <a:pt x="1275" y="1599"/>
                    </a:lnTo>
                    <a:lnTo>
                      <a:pt x="1275" y="1600"/>
                    </a:lnTo>
                    <a:lnTo>
                      <a:pt x="1276" y="1600"/>
                    </a:lnTo>
                    <a:lnTo>
                      <a:pt x="1276" y="1602"/>
                    </a:lnTo>
                    <a:lnTo>
                      <a:pt x="1278" y="1602"/>
                    </a:lnTo>
                    <a:lnTo>
                      <a:pt x="1278" y="1604"/>
                    </a:lnTo>
                    <a:lnTo>
                      <a:pt x="1280" y="1604"/>
                    </a:lnTo>
                    <a:lnTo>
                      <a:pt x="1280" y="1602"/>
                    </a:lnTo>
                    <a:lnTo>
                      <a:pt x="1278" y="1602"/>
                    </a:lnTo>
                    <a:lnTo>
                      <a:pt x="1280" y="1602"/>
                    </a:lnTo>
                    <a:lnTo>
                      <a:pt x="1281" y="1602"/>
                    </a:lnTo>
                    <a:lnTo>
                      <a:pt x="1280" y="1602"/>
                    </a:lnTo>
                    <a:lnTo>
                      <a:pt x="1278" y="1600"/>
                    </a:lnTo>
                    <a:lnTo>
                      <a:pt x="1276" y="1600"/>
                    </a:lnTo>
                    <a:lnTo>
                      <a:pt x="1278" y="1600"/>
                    </a:lnTo>
                    <a:lnTo>
                      <a:pt x="1278" y="1599"/>
                    </a:lnTo>
                    <a:lnTo>
                      <a:pt x="1276" y="1597"/>
                    </a:lnTo>
                    <a:lnTo>
                      <a:pt x="1278" y="1597"/>
                    </a:lnTo>
                    <a:lnTo>
                      <a:pt x="1278" y="1599"/>
                    </a:lnTo>
                    <a:lnTo>
                      <a:pt x="1280" y="1599"/>
                    </a:lnTo>
                    <a:lnTo>
                      <a:pt x="1280" y="1597"/>
                    </a:lnTo>
                    <a:lnTo>
                      <a:pt x="1280" y="1599"/>
                    </a:lnTo>
                    <a:lnTo>
                      <a:pt x="1278" y="1597"/>
                    </a:lnTo>
                    <a:lnTo>
                      <a:pt x="1280" y="1597"/>
                    </a:lnTo>
                    <a:lnTo>
                      <a:pt x="1280" y="1599"/>
                    </a:lnTo>
                    <a:lnTo>
                      <a:pt x="1281" y="1599"/>
                    </a:lnTo>
                    <a:lnTo>
                      <a:pt x="1283" y="1599"/>
                    </a:lnTo>
                    <a:lnTo>
                      <a:pt x="1281" y="1599"/>
                    </a:lnTo>
                    <a:lnTo>
                      <a:pt x="1283" y="1599"/>
                    </a:lnTo>
                    <a:lnTo>
                      <a:pt x="1285" y="1599"/>
                    </a:lnTo>
                    <a:lnTo>
                      <a:pt x="1285" y="1600"/>
                    </a:lnTo>
                    <a:lnTo>
                      <a:pt x="1285" y="1599"/>
                    </a:lnTo>
                    <a:lnTo>
                      <a:pt x="1287" y="1599"/>
                    </a:lnTo>
                    <a:lnTo>
                      <a:pt x="1285" y="1599"/>
                    </a:lnTo>
                    <a:lnTo>
                      <a:pt x="1283" y="1599"/>
                    </a:lnTo>
                    <a:lnTo>
                      <a:pt x="1283" y="1597"/>
                    </a:lnTo>
                    <a:lnTo>
                      <a:pt x="1285" y="1597"/>
                    </a:lnTo>
                    <a:lnTo>
                      <a:pt x="1283" y="1595"/>
                    </a:lnTo>
                    <a:lnTo>
                      <a:pt x="1285" y="1597"/>
                    </a:lnTo>
                    <a:lnTo>
                      <a:pt x="1285" y="1595"/>
                    </a:lnTo>
                    <a:lnTo>
                      <a:pt x="1287" y="1595"/>
                    </a:lnTo>
                    <a:lnTo>
                      <a:pt x="1287" y="1597"/>
                    </a:lnTo>
                    <a:lnTo>
                      <a:pt x="1288" y="1597"/>
                    </a:lnTo>
                    <a:lnTo>
                      <a:pt x="1290" y="1599"/>
                    </a:lnTo>
                    <a:lnTo>
                      <a:pt x="1292" y="1599"/>
                    </a:lnTo>
                    <a:lnTo>
                      <a:pt x="1290" y="1599"/>
                    </a:lnTo>
                    <a:lnTo>
                      <a:pt x="1290" y="1600"/>
                    </a:lnTo>
                    <a:lnTo>
                      <a:pt x="1292" y="1600"/>
                    </a:lnTo>
                    <a:lnTo>
                      <a:pt x="1292" y="1599"/>
                    </a:lnTo>
                    <a:lnTo>
                      <a:pt x="1293" y="1599"/>
                    </a:lnTo>
                    <a:lnTo>
                      <a:pt x="1292" y="1600"/>
                    </a:lnTo>
                    <a:lnTo>
                      <a:pt x="1293" y="1600"/>
                    </a:lnTo>
                    <a:lnTo>
                      <a:pt x="1293" y="1602"/>
                    </a:lnTo>
                    <a:lnTo>
                      <a:pt x="1293" y="1600"/>
                    </a:lnTo>
                    <a:lnTo>
                      <a:pt x="1293" y="1599"/>
                    </a:lnTo>
                    <a:lnTo>
                      <a:pt x="1295" y="1600"/>
                    </a:lnTo>
                    <a:lnTo>
                      <a:pt x="1297" y="1600"/>
                    </a:lnTo>
                    <a:lnTo>
                      <a:pt x="1298" y="1600"/>
                    </a:lnTo>
                    <a:lnTo>
                      <a:pt x="1298" y="1602"/>
                    </a:lnTo>
                    <a:lnTo>
                      <a:pt x="1298" y="1604"/>
                    </a:lnTo>
                    <a:lnTo>
                      <a:pt x="1300" y="1604"/>
                    </a:lnTo>
                    <a:lnTo>
                      <a:pt x="1300" y="1602"/>
                    </a:lnTo>
                    <a:lnTo>
                      <a:pt x="1300" y="1600"/>
                    </a:lnTo>
                    <a:lnTo>
                      <a:pt x="1298" y="1600"/>
                    </a:lnTo>
                    <a:lnTo>
                      <a:pt x="1300" y="1599"/>
                    </a:lnTo>
                    <a:lnTo>
                      <a:pt x="1300" y="1597"/>
                    </a:lnTo>
                    <a:lnTo>
                      <a:pt x="1300" y="1595"/>
                    </a:lnTo>
                    <a:lnTo>
                      <a:pt x="1300" y="1594"/>
                    </a:lnTo>
                    <a:lnTo>
                      <a:pt x="1302" y="1595"/>
                    </a:lnTo>
                    <a:lnTo>
                      <a:pt x="1302" y="1594"/>
                    </a:lnTo>
                    <a:lnTo>
                      <a:pt x="1304" y="1594"/>
                    </a:lnTo>
                    <a:lnTo>
                      <a:pt x="1305" y="1594"/>
                    </a:lnTo>
                    <a:lnTo>
                      <a:pt x="1307" y="1594"/>
                    </a:lnTo>
                    <a:lnTo>
                      <a:pt x="1307" y="1595"/>
                    </a:lnTo>
                    <a:lnTo>
                      <a:pt x="1307" y="1594"/>
                    </a:lnTo>
                    <a:lnTo>
                      <a:pt x="1309" y="1595"/>
                    </a:lnTo>
                    <a:lnTo>
                      <a:pt x="1309" y="1594"/>
                    </a:lnTo>
                    <a:lnTo>
                      <a:pt x="1310" y="1594"/>
                    </a:lnTo>
                    <a:lnTo>
                      <a:pt x="1312" y="1594"/>
                    </a:lnTo>
                    <a:lnTo>
                      <a:pt x="1312" y="1595"/>
                    </a:lnTo>
                    <a:lnTo>
                      <a:pt x="1310" y="1595"/>
                    </a:lnTo>
                    <a:lnTo>
                      <a:pt x="1310" y="1597"/>
                    </a:lnTo>
                    <a:lnTo>
                      <a:pt x="1309" y="1597"/>
                    </a:lnTo>
                    <a:lnTo>
                      <a:pt x="1309" y="1599"/>
                    </a:lnTo>
                    <a:lnTo>
                      <a:pt x="1307" y="1599"/>
                    </a:lnTo>
                    <a:lnTo>
                      <a:pt x="1307" y="1600"/>
                    </a:lnTo>
                    <a:lnTo>
                      <a:pt x="1309" y="1600"/>
                    </a:lnTo>
                    <a:lnTo>
                      <a:pt x="1307" y="1602"/>
                    </a:lnTo>
                    <a:lnTo>
                      <a:pt x="1307" y="1604"/>
                    </a:lnTo>
                    <a:lnTo>
                      <a:pt x="1305" y="1606"/>
                    </a:lnTo>
                    <a:lnTo>
                      <a:pt x="1305" y="1607"/>
                    </a:lnTo>
                    <a:lnTo>
                      <a:pt x="1305" y="1609"/>
                    </a:lnTo>
                    <a:lnTo>
                      <a:pt x="1305" y="1611"/>
                    </a:lnTo>
                    <a:lnTo>
                      <a:pt x="1305" y="1609"/>
                    </a:lnTo>
                    <a:lnTo>
                      <a:pt x="1307" y="1609"/>
                    </a:lnTo>
                    <a:lnTo>
                      <a:pt x="1307" y="1607"/>
                    </a:lnTo>
                    <a:lnTo>
                      <a:pt x="1307" y="1606"/>
                    </a:lnTo>
                    <a:lnTo>
                      <a:pt x="1309" y="1607"/>
                    </a:lnTo>
                    <a:lnTo>
                      <a:pt x="1309" y="1609"/>
                    </a:lnTo>
                    <a:lnTo>
                      <a:pt x="1310" y="1609"/>
                    </a:lnTo>
                    <a:lnTo>
                      <a:pt x="1309" y="1607"/>
                    </a:lnTo>
                    <a:lnTo>
                      <a:pt x="1307" y="1606"/>
                    </a:lnTo>
                    <a:lnTo>
                      <a:pt x="1309" y="1604"/>
                    </a:lnTo>
                    <a:lnTo>
                      <a:pt x="1309" y="1602"/>
                    </a:lnTo>
                    <a:lnTo>
                      <a:pt x="1309" y="1600"/>
                    </a:lnTo>
                    <a:lnTo>
                      <a:pt x="1310" y="1600"/>
                    </a:lnTo>
                    <a:lnTo>
                      <a:pt x="1310" y="1599"/>
                    </a:lnTo>
                    <a:lnTo>
                      <a:pt x="1312" y="1599"/>
                    </a:lnTo>
                    <a:lnTo>
                      <a:pt x="1312" y="1597"/>
                    </a:lnTo>
                    <a:lnTo>
                      <a:pt x="1314" y="1599"/>
                    </a:lnTo>
                    <a:lnTo>
                      <a:pt x="1315" y="1600"/>
                    </a:lnTo>
                    <a:lnTo>
                      <a:pt x="1317" y="1602"/>
                    </a:lnTo>
                    <a:lnTo>
                      <a:pt x="1315" y="1602"/>
                    </a:lnTo>
                    <a:lnTo>
                      <a:pt x="1317" y="1602"/>
                    </a:lnTo>
                    <a:lnTo>
                      <a:pt x="1319" y="1602"/>
                    </a:lnTo>
                    <a:lnTo>
                      <a:pt x="1319" y="1604"/>
                    </a:lnTo>
                    <a:lnTo>
                      <a:pt x="1321" y="1604"/>
                    </a:lnTo>
                    <a:lnTo>
                      <a:pt x="1319" y="1604"/>
                    </a:lnTo>
                    <a:lnTo>
                      <a:pt x="1321" y="1604"/>
                    </a:lnTo>
                    <a:lnTo>
                      <a:pt x="1321" y="1606"/>
                    </a:lnTo>
                    <a:lnTo>
                      <a:pt x="1322" y="1607"/>
                    </a:lnTo>
                    <a:lnTo>
                      <a:pt x="1324" y="1607"/>
                    </a:lnTo>
                    <a:lnTo>
                      <a:pt x="1324" y="1609"/>
                    </a:lnTo>
                    <a:lnTo>
                      <a:pt x="1324" y="1607"/>
                    </a:lnTo>
                    <a:lnTo>
                      <a:pt x="1326" y="1609"/>
                    </a:lnTo>
                    <a:lnTo>
                      <a:pt x="1324" y="1607"/>
                    </a:lnTo>
                    <a:lnTo>
                      <a:pt x="1322" y="1607"/>
                    </a:lnTo>
                    <a:lnTo>
                      <a:pt x="1322" y="1606"/>
                    </a:lnTo>
                    <a:lnTo>
                      <a:pt x="1321" y="1606"/>
                    </a:lnTo>
                    <a:lnTo>
                      <a:pt x="1321" y="1604"/>
                    </a:lnTo>
                    <a:lnTo>
                      <a:pt x="1322" y="1604"/>
                    </a:lnTo>
                    <a:lnTo>
                      <a:pt x="1324" y="1604"/>
                    </a:lnTo>
                    <a:lnTo>
                      <a:pt x="1326" y="1606"/>
                    </a:lnTo>
                    <a:lnTo>
                      <a:pt x="1327" y="1607"/>
                    </a:lnTo>
                    <a:lnTo>
                      <a:pt x="1327" y="1606"/>
                    </a:lnTo>
                    <a:lnTo>
                      <a:pt x="1326" y="1606"/>
                    </a:lnTo>
                    <a:lnTo>
                      <a:pt x="1324" y="1604"/>
                    </a:lnTo>
                    <a:lnTo>
                      <a:pt x="1326" y="1604"/>
                    </a:lnTo>
                    <a:lnTo>
                      <a:pt x="1324" y="1604"/>
                    </a:lnTo>
                    <a:lnTo>
                      <a:pt x="1322" y="1602"/>
                    </a:lnTo>
                    <a:lnTo>
                      <a:pt x="1321" y="1602"/>
                    </a:lnTo>
                    <a:lnTo>
                      <a:pt x="1319" y="1600"/>
                    </a:lnTo>
                    <a:lnTo>
                      <a:pt x="1317" y="1600"/>
                    </a:lnTo>
                    <a:lnTo>
                      <a:pt x="1317" y="1599"/>
                    </a:lnTo>
                    <a:lnTo>
                      <a:pt x="1315" y="1599"/>
                    </a:lnTo>
                    <a:lnTo>
                      <a:pt x="1317" y="1597"/>
                    </a:lnTo>
                    <a:lnTo>
                      <a:pt x="1315" y="1597"/>
                    </a:lnTo>
                    <a:lnTo>
                      <a:pt x="1314" y="1597"/>
                    </a:lnTo>
                    <a:lnTo>
                      <a:pt x="1314" y="1595"/>
                    </a:lnTo>
                    <a:lnTo>
                      <a:pt x="1315" y="1594"/>
                    </a:lnTo>
                    <a:lnTo>
                      <a:pt x="1314" y="1594"/>
                    </a:lnTo>
                    <a:lnTo>
                      <a:pt x="1314" y="1592"/>
                    </a:lnTo>
                    <a:lnTo>
                      <a:pt x="1312" y="1590"/>
                    </a:lnTo>
                    <a:lnTo>
                      <a:pt x="1310" y="1590"/>
                    </a:lnTo>
                    <a:lnTo>
                      <a:pt x="1309" y="1590"/>
                    </a:lnTo>
                    <a:lnTo>
                      <a:pt x="1307" y="1590"/>
                    </a:lnTo>
                    <a:lnTo>
                      <a:pt x="1305" y="1590"/>
                    </a:lnTo>
                    <a:lnTo>
                      <a:pt x="1304" y="1590"/>
                    </a:lnTo>
                    <a:lnTo>
                      <a:pt x="1304" y="1589"/>
                    </a:lnTo>
                    <a:lnTo>
                      <a:pt x="1302" y="1589"/>
                    </a:lnTo>
                    <a:lnTo>
                      <a:pt x="1302" y="1587"/>
                    </a:lnTo>
                    <a:lnTo>
                      <a:pt x="1300" y="1585"/>
                    </a:lnTo>
                    <a:lnTo>
                      <a:pt x="1302" y="1585"/>
                    </a:lnTo>
                    <a:lnTo>
                      <a:pt x="1300" y="1583"/>
                    </a:lnTo>
                    <a:lnTo>
                      <a:pt x="1302" y="1583"/>
                    </a:lnTo>
                    <a:lnTo>
                      <a:pt x="1302" y="1585"/>
                    </a:lnTo>
                    <a:lnTo>
                      <a:pt x="1304" y="1585"/>
                    </a:lnTo>
                    <a:lnTo>
                      <a:pt x="1302" y="1585"/>
                    </a:lnTo>
                    <a:lnTo>
                      <a:pt x="1302" y="1583"/>
                    </a:lnTo>
                    <a:lnTo>
                      <a:pt x="1300" y="1582"/>
                    </a:lnTo>
                    <a:lnTo>
                      <a:pt x="1300" y="1580"/>
                    </a:lnTo>
                    <a:lnTo>
                      <a:pt x="1300" y="1582"/>
                    </a:lnTo>
                    <a:lnTo>
                      <a:pt x="1302" y="1582"/>
                    </a:lnTo>
                    <a:lnTo>
                      <a:pt x="1304" y="1582"/>
                    </a:lnTo>
                    <a:lnTo>
                      <a:pt x="1304" y="1583"/>
                    </a:lnTo>
                    <a:lnTo>
                      <a:pt x="1305" y="1583"/>
                    </a:lnTo>
                    <a:lnTo>
                      <a:pt x="1305" y="1585"/>
                    </a:lnTo>
                    <a:lnTo>
                      <a:pt x="1307" y="1585"/>
                    </a:lnTo>
                    <a:lnTo>
                      <a:pt x="1309" y="1585"/>
                    </a:lnTo>
                    <a:lnTo>
                      <a:pt x="1309" y="1587"/>
                    </a:lnTo>
                    <a:lnTo>
                      <a:pt x="1310" y="1589"/>
                    </a:lnTo>
                    <a:lnTo>
                      <a:pt x="1312" y="1589"/>
                    </a:lnTo>
                    <a:lnTo>
                      <a:pt x="1314" y="1589"/>
                    </a:lnTo>
                    <a:lnTo>
                      <a:pt x="1314" y="1590"/>
                    </a:lnTo>
                    <a:lnTo>
                      <a:pt x="1315" y="1590"/>
                    </a:lnTo>
                    <a:lnTo>
                      <a:pt x="1317" y="1590"/>
                    </a:lnTo>
                    <a:lnTo>
                      <a:pt x="1317" y="1592"/>
                    </a:lnTo>
                    <a:lnTo>
                      <a:pt x="1319" y="1592"/>
                    </a:lnTo>
                    <a:lnTo>
                      <a:pt x="1321" y="1592"/>
                    </a:lnTo>
                    <a:lnTo>
                      <a:pt x="1321" y="1594"/>
                    </a:lnTo>
                    <a:lnTo>
                      <a:pt x="1322" y="1594"/>
                    </a:lnTo>
                    <a:lnTo>
                      <a:pt x="1322" y="1595"/>
                    </a:lnTo>
                    <a:lnTo>
                      <a:pt x="1321" y="1595"/>
                    </a:lnTo>
                    <a:lnTo>
                      <a:pt x="1322" y="1595"/>
                    </a:lnTo>
                    <a:lnTo>
                      <a:pt x="1324" y="1595"/>
                    </a:lnTo>
                    <a:lnTo>
                      <a:pt x="1324" y="1597"/>
                    </a:lnTo>
                    <a:lnTo>
                      <a:pt x="1326" y="1599"/>
                    </a:lnTo>
                    <a:lnTo>
                      <a:pt x="1327" y="1599"/>
                    </a:lnTo>
                    <a:lnTo>
                      <a:pt x="1327" y="1597"/>
                    </a:lnTo>
                    <a:lnTo>
                      <a:pt x="1326" y="1597"/>
                    </a:lnTo>
                    <a:lnTo>
                      <a:pt x="1327" y="1597"/>
                    </a:lnTo>
                    <a:lnTo>
                      <a:pt x="1326" y="1597"/>
                    </a:lnTo>
                    <a:lnTo>
                      <a:pt x="1327" y="1595"/>
                    </a:lnTo>
                    <a:lnTo>
                      <a:pt x="1329" y="1595"/>
                    </a:lnTo>
                    <a:lnTo>
                      <a:pt x="1329" y="1597"/>
                    </a:lnTo>
                    <a:lnTo>
                      <a:pt x="1331" y="1597"/>
                    </a:lnTo>
                    <a:lnTo>
                      <a:pt x="1329" y="1595"/>
                    </a:lnTo>
                    <a:lnTo>
                      <a:pt x="1327" y="1595"/>
                    </a:lnTo>
                    <a:lnTo>
                      <a:pt x="1326" y="1595"/>
                    </a:lnTo>
                    <a:lnTo>
                      <a:pt x="1326" y="1594"/>
                    </a:lnTo>
                    <a:lnTo>
                      <a:pt x="1324" y="1594"/>
                    </a:lnTo>
                    <a:lnTo>
                      <a:pt x="1324" y="1592"/>
                    </a:lnTo>
                    <a:lnTo>
                      <a:pt x="1326" y="1592"/>
                    </a:lnTo>
                    <a:lnTo>
                      <a:pt x="1327" y="1592"/>
                    </a:lnTo>
                    <a:lnTo>
                      <a:pt x="1327" y="1590"/>
                    </a:lnTo>
                    <a:lnTo>
                      <a:pt x="1327" y="1589"/>
                    </a:lnTo>
                    <a:lnTo>
                      <a:pt x="1329" y="1589"/>
                    </a:lnTo>
                    <a:lnTo>
                      <a:pt x="1331" y="1589"/>
                    </a:lnTo>
                    <a:lnTo>
                      <a:pt x="1332" y="1590"/>
                    </a:lnTo>
                    <a:lnTo>
                      <a:pt x="1332" y="1592"/>
                    </a:lnTo>
                    <a:lnTo>
                      <a:pt x="1334" y="1592"/>
                    </a:lnTo>
                    <a:lnTo>
                      <a:pt x="1332" y="1592"/>
                    </a:lnTo>
                    <a:lnTo>
                      <a:pt x="1332" y="1594"/>
                    </a:lnTo>
                    <a:lnTo>
                      <a:pt x="1334" y="1595"/>
                    </a:lnTo>
                    <a:lnTo>
                      <a:pt x="1332" y="1595"/>
                    </a:lnTo>
                    <a:lnTo>
                      <a:pt x="1332" y="1597"/>
                    </a:lnTo>
                    <a:lnTo>
                      <a:pt x="1334" y="1595"/>
                    </a:lnTo>
                    <a:lnTo>
                      <a:pt x="1334" y="1597"/>
                    </a:lnTo>
                    <a:lnTo>
                      <a:pt x="1336" y="1597"/>
                    </a:lnTo>
                    <a:lnTo>
                      <a:pt x="1336" y="1599"/>
                    </a:lnTo>
                    <a:lnTo>
                      <a:pt x="1334" y="1599"/>
                    </a:lnTo>
                    <a:lnTo>
                      <a:pt x="1336" y="1599"/>
                    </a:lnTo>
                    <a:lnTo>
                      <a:pt x="1338" y="1600"/>
                    </a:lnTo>
                    <a:lnTo>
                      <a:pt x="1336" y="1600"/>
                    </a:lnTo>
                    <a:lnTo>
                      <a:pt x="1336" y="1602"/>
                    </a:lnTo>
                    <a:lnTo>
                      <a:pt x="1334" y="1604"/>
                    </a:lnTo>
                    <a:lnTo>
                      <a:pt x="1336" y="1604"/>
                    </a:lnTo>
                    <a:lnTo>
                      <a:pt x="1336" y="1602"/>
                    </a:lnTo>
                    <a:lnTo>
                      <a:pt x="1338" y="1602"/>
                    </a:lnTo>
                    <a:lnTo>
                      <a:pt x="1338" y="1600"/>
                    </a:lnTo>
                    <a:lnTo>
                      <a:pt x="1338" y="1602"/>
                    </a:lnTo>
                    <a:lnTo>
                      <a:pt x="1339" y="1602"/>
                    </a:lnTo>
                    <a:lnTo>
                      <a:pt x="1339" y="1604"/>
                    </a:lnTo>
                    <a:lnTo>
                      <a:pt x="1339" y="1606"/>
                    </a:lnTo>
                    <a:lnTo>
                      <a:pt x="1338" y="1606"/>
                    </a:lnTo>
                    <a:lnTo>
                      <a:pt x="1338" y="1607"/>
                    </a:lnTo>
                    <a:lnTo>
                      <a:pt x="1338" y="1606"/>
                    </a:lnTo>
                    <a:lnTo>
                      <a:pt x="1339" y="1606"/>
                    </a:lnTo>
                    <a:lnTo>
                      <a:pt x="1339" y="1607"/>
                    </a:lnTo>
                    <a:lnTo>
                      <a:pt x="1341" y="1607"/>
                    </a:lnTo>
                    <a:lnTo>
                      <a:pt x="1339" y="1607"/>
                    </a:lnTo>
                    <a:lnTo>
                      <a:pt x="1339" y="1609"/>
                    </a:lnTo>
                    <a:lnTo>
                      <a:pt x="1341" y="1607"/>
                    </a:lnTo>
                    <a:lnTo>
                      <a:pt x="1339" y="1606"/>
                    </a:lnTo>
                    <a:lnTo>
                      <a:pt x="1341" y="1604"/>
                    </a:lnTo>
                    <a:lnTo>
                      <a:pt x="1341" y="1602"/>
                    </a:lnTo>
                    <a:lnTo>
                      <a:pt x="1339" y="1600"/>
                    </a:lnTo>
                    <a:lnTo>
                      <a:pt x="1339" y="1599"/>
                    </a:lnTo>
                    <a:lnTo>
                      <a:pt x="1338" y="1599"/>
                    </a:lnTo>
                    <a:lnTo>
                      <a:pt x="1338" y="1597"/>
                    </a:lnTo>
                    <a:lnTo>
                      <a:pt x="1338" y="1595"/>
                    </a:lnTo>
                    <a:lnTo>
                      <a:pt x="1338" y="1594"/>
                    </a:lnTo>
                    <a:lnTo>
                      <a:pt x="1336" y="1594"/>
                    </a:lnTo>
                    <a:lnTo>
                      <a:pt x="1336" y="1592"/>
                    </a:lnTo>
                    <a:lnTo>
                      <a:pt x="1336" y="1590"/>
                    </a:lnTo>
                    <a:lnTo>
                      <a:pt x="1338" y="1590"/>
                    </a:lnTo>
                    <a:lnTo>
                      <a:pt x="1339" y="1592"/>
                    </a:lnTo>
                    <a:lnTo>
                      <a:pt x="1341" y="1592"/>
                    </a:lnTo>
                    <a:lnTo>
                      <a:pt x="1341" y="1594"/>
                    </a:lnTo>
                    <a:lnTo>
                      <a:pt x="1343" y="1594"/>
                    </a:lnTo>
                    <a:lnTo>
                      <a:pt x="1344" y="1594"/>
                    </a:lnTo>
                    <a:lnTo>
                      <a:pt x="1344" y="1595"/>
                    </a:lnTo>
                    <a:lnTo>
                      <a:pt x="1343" y="1597"/>
                    </a:lnTo>
                    <a:lnTo>
                      <a:pt x="1344" y="1597"/>
                    </a:lnTo>
                    <a:lnTo>
                      <a:pt x="1344" y="1599"/>
                    </a:lnTo>
                    <a:lnTo>
                      <a:pt x="1343" y="1600"/>
                    </a:lnTo>
                    <a:lnTo>
                      <a:pt x="1344" y="1602"/>
                    </a:lnTo>
                    <a:lnTo>
                      <a:pt x="1346" y="1602"/>
                    </a:lnTo>
                    <a:lnTo>
                      <a:pt x="1344" y="1600"/>
                    </a:lnTo>
                    <a:lnTo>
                      <a:pt x="1344" y="1599"/>
                    </a:lnTo>
                    <a:lnTo>
                      <a:pt x="1346" y="1599"/>
                    </a:lnTo>
                    <a:lnTo>
                      <a:pt x="1344" y="1597"/>
                    </a:lnTo>
                    <a:lnTo>
                      <a:pt x="1346" y="1599"/>
                    </a:lnTo>
                    <a:lnTo>
                      <a:pt x="1348" y="1600"/>
                    </a:lnTo>
                    <a:lnTo>
                      <a:pt x="1348" y="1599"/>
                    </a:lnTo>
                    <a:lnTo>
                      <a:pt x="1346" y="1599"/>
                    </a:lnTo>
                    <a:lnTo>
                      <a:pt x="1348" y="1599"/>
                    </a:lnTo>
                    <a:lnTo>
                      <a:pt x="1346" y="1597"/>
                    </a:lnTo>
                    <a:lnTo>
                      <a:pt x="1346" y="1595"/>
                    </a:lnTo>
                    <a:lnTo>
                      <a:pt x="1346" y="1594"/>
                    </a:lnTo>
                    <a:lnTo>
                      <a:pt x="1348" y="1594"/>
                    </a:lnTo>
                    <a:lnTo>
                      <a:pt x="1349" y="1594"/>
                    </a:lnTo>
                    <a:lnTo>
                      <a:pt x="1349" y="1595"/>
                    </a:lnTo>
                    <a:lnTo>
                      <a:pt x="1351" y="1595"/>
                    </a:lnTo>
                    <a:lnTo>
                      <a:pt x="1351" y="1597"/>
                    </a:lnTo>
                    <a:lnTo>
                      <a:pt x="1353" y="1597"/>
                    </a:lnTo>
                    <a:lnTo>
                      <a:pt x="1355" y="1599"/>
                    </a:lnTo>
                    <a:lnTo>
                      <a:pt x="1356" y="1599"/>
                    </a:lnTo>
                    <a:lnTo>
                      <a:pt x="1356" y="1600"/>
                    </a:lnTo>
                    <a:lnTo>
                      <a:pt x="1358" y="1600"/>
                    </a:lnTo>
                    <a:lnTo>
                      <a:pt x="1358" y="1602"/>
                    </a:lnTo>
                    <a:lnTo>
                      <a:pt x="1356" y="1602"/>
                    </a:lnTo>
                    <a:lnTo>
                      <a:pt x="1356" y="1604"/>
                    </a:lnTo>
                    <a:lnTo>
                      <a:pt x="1355" y="1606"/>
                    </a:lnTo>
                    <a:lnTo>
                      <a:pt x="1355" y="1607"/>
                    </a:lnTo>
                    <a:lnTo>
                      <a:pt x="1353" y="1607"/>
                    </a:lnTo>
                    <a:lnTo>
                      <a:pt x="1353" y="1609"/>
                    </a:lnTo>
                    <a:lnTo>
                      <a:pt x="1351" y="1609"/>
                    </a:lnTo>
                    <a:lnTo>
                      <a:pt x="1353" y="1611"/>
                    </a:lnTo>
                    <a:lnTo>
                      <a:pt x="1351" y="1611"/>
                    </a:lnTo>
                    <a:lnTo>
                      <a:pt x="1351" y="1612"/>
                    </a:lnTo>
                    <a:lnTo>
                      <a:pt x="1349" y="1612"/>
                    </a:lnTo>
                    <a:lnTo>
                      <a:pt x="1348" y="1612"/>
                    </a:lnTo>
                    <a:lnTo>
                      <a:pt x="1349" y="1614"/>
                    </a:lnTo>
                    <a:lnTo>
                      <a:pt x="1351" y="1612"/>
                    </a:lnTo>
                    <a:lnTo>
                      <a:pt x="1353" y="1612"/>
                    </a:lnTo>
                    <a:lnTo>
                      <a:pt x="1353" y="1614"/>
                    </a:lnTo>
                    <a:lnTo>
                      <a:pt x="1353" y="1616"/>
                    </a:lnTo>
                    <a:lnTo>
                      <a:pt x="1353" y="1614"/>
                    </a:lnTo>
                    <a:lnTo>
                      <a:pt x="1353" y="1612"/>
                    </a:lnTo>
                    <a:lnTo>
                      <a:pt x="1353" y="1611"/>
                    </a:lnTo>
                    <a:lnTo>
                      <a:pt x="1355" y="1611"/>
                    </a:lnTo>
                    <a:lnTo>
                      <a:pt x="1355" y="1609"/>
                    </a:lnTo>
                    <a:lnTo>
                      <a:pt x="1355" y="1607"/>
                    </a:lnTo>
                    <a:lnTo>
                      <a:pt x="1356" y="1606"/>
                    </a:lnTo>
                    <a:lnTo>
                      <a:pt x="1358" y="1606"/>
                    </a:lnTo>
                    <a:lnTo>
                      <a:pt x="1358" y="1604"/>
                    </a:lnTo>
                    <a:lnTo>
                      <a:pt x="1358" y="1606"/>
                    </a:lnTo>
                    <a:lnTo>
                      <a:pt x="1360" y="1607"/>
                    </a:lnTo>
                    <a:lnTo>
                      <a:pt x="1361" y="1607"/>
                    </a:lnTo>
                    <a:lnTo>
                      <a:pt x="1360" y="1606"/>
                    </a:lnTo>
                    <a:lnTo>
                      <a:pt x="1360" y="1604"/>
                    </a:lnTo>
                    <a:lnTo>
                      <a:pt x="1360" y="1602"/>
                    </a:lnTo>
                    <a:lnTo>
                      <a:pt x="1361" y="1600"/>
                    </a:lnTo>
                    <a:lnTo>
                      <a:pt x="1363" y="1600"/>
                    </a:lnTo>
                    <a:lnTo>
                      <a:pt x="1365" y="1600"/>
                    </a:lnTo>
                    <a:lnTo>
                      <a:pt x="1365" y="1602"/>
                    </a:lnTo>
                    <a:lnTo>
                      <a:pt x="1366" y="1602"/>
                    </a:lnTo>
                    <a:lnTo>
                      <a:pt x="1365" y="1600"/>
                    </a:lnTo>
                    <a:lnTo>
                      <a:pt x="1366" y="1600"/>
                    </a:lnTo>
                    <a:lnTo>
                      <a:pt x="1365" y="1599"/>
                    </a:lnTo>
                    <a:lnTo>
                      <a:pt x="1363" y="1599"/>
                    </a:lnTo>
                    <a:lnTo>
                      <a:pt x="1363" y="1597"/>
                    </a:lnTo>
                    <a:lnTo>
                      <a:pt x="1361" y="1597"/>
                    </a:lnTo>
                    <a:lnTo>
                      <a:pt x="1360" y="1597"/>
                    </a:lnTo>
                    <a:lnTo>
                      <a:pt x="1360" y="1595"/>
                    </a:lnTo>
                    <a:lnTo>
                      <a:pt x="1358" y="1595"/>
                    </a:lnTo>
                    <a:lnTo>
                      <a:pt x="1358" y="1594"/>
                    </a:lnTo>
                    <a:lnTo>
                      <a:pt x="1356" y="1594"/>
                    </a:lnTo>
                    <a:lnTo>
                      <a:pt x="1355" y="1592"/>
                    </a:lnTo>
                    <a:lnTo>
                      <a:pt x="1353" y="1592"/>
                    </a:lnTo>
                    <a:lnTo>
                      <a:pt x="1351" y="1592"/>
                    </a:lnTo>
                    <a:lnTo>
                      <a:pt x="1351" y="1590"/>
                    </a:lnTo>
                    <a:lnTo>
                      <a:pt x="1349" y="1590"/>
                    </a:lnTo>
                    <a:lnTo>
                      <a:pt x="1348" y="1590"/>
                    </a:lnTo>
                    <a:lnTo>
                      <a:pt x="1348" y="1589"/>
                    </a:lnTo>
                    <a:lnTo>
                      <a:pt x="1346" y="1589"/>
                    </a:lnTo>
                    <a:lnTo>
                      <a:pt x="1344" y="1587"/>
                    </a:lnTo>
                    <a:lnTo>
                      <a:pt x="1343" y="1587"/>
                    </a:lnTo>
                    <a:lnTo>
                      <a:pt x="1341" y="1587"/>
                    </a:lnTo>
                    <a:lnTo>
                      <a:pt x="1341" y="1585"/>
                    </a:lnTo>
                    <a:lnTo>
                      <a:pt x="1339" y="1585"/>
                    </a:lnTo>
                    <a:lnTo>
                      <a:pt x="1338" y="1585"/>
                    </a:lnTo>
                    <a:lnTo>
                      <a:pt x="1336" y="1583"/>
                    </a:lnTo>
                    <a:lnTo>
                      <a:pt x="1334" y="1583"/>
                    </a:lnTo>
                    <a:lnTo>
                      <a:pt x="1334" y="1582"/>
                    </a:lnTo>
                    <a:lnTo>
                      <a:pt x="1332" y="1582"/>
                    </a:lnTo>
                    <a:lnTo>
                      <a:pt x="1331" y="1580"/>
                    </a:lnTo>
                    <a:lnTo>
                      <a:pt x="1329" y="1580"/>
                    </a:lnTo>
                    <a:lnTo>
                      <a:pt x="1331" y="1580"/>
                    </a:lnTo>
                    <a:lnTo>
                      <a:pt x="1331" y="1578"/>
                    </a:lnTo>
                    <a:lnTo>
                      <a:pt x="1329" y="1578"/>
                    </a:lnTo>
                    <a:lnTo>
                      <a:pt x="1329" y="1577"/>
                    </a:lnTo>
                    <a:lnTo>
                      <a:pt x="1329" y="1575"/>
                    </a:lnTo>
                    <a:lnTo>
                      <a:pt x="1329" y="1573"/>
                    </a:lnTo>
                    <a:lnTo>
                      <a:pt x="1327" y="1573"/>
                    </a:lnTo>
                    <a:lnTo>
                      <a:pt x="1327" y="1572"/>
                    </a:lnTo>
                    <a:lnTo>
                      <a:pt x="1327" y="1570"/>
                    </a:lnTo>
                    <a:lnTo>
                      <a:pt x="1327" y="1568"/>
                    </a:lnTo>
                    <a:lnTo>
                      <a:pt x="1326" y="1568"/>
                    </a:lnTo>
                    <a:lnTo>
                      <a:pt x="1326" y="1566"/>
                    </a:lnTo>
                    <a:lnTo>
                      <a:pt x="1326" y="1565"/>
                    </a:lnTo>
                    <a:lnTo>
                      <a:pt x="1326" y="1563"/>
                    </a:lnTo>
                    <a:lnTo>
                      <a:pt x="1326" y="1561"/>
                    </a:lnTo>
                    <a:lnTo>
                      <a:pt x="1326" y="1560"/>
                    </a:lnTo>
                    <a:lnTo>
                      <a:pt x="1327" y="1560"/>
                    </a:lnTo>
                    <a:lnTo>
                      <a:pt x="1329" y="1558"/>
                    </a:lnTo>
                    <a:lnTo>
                      <a:pt x="1331" y="1558"/>
                    </a:lnTo>
                    <a:lnTo>
                      <a:pt x="1332" y="1558"/>
                    </a:lnTo>
                    <a:lnTo>
                      <a:pt x="1334" y="1556"/>
                    </a:lnTo>
                    <a:lnTo>
                      <a:pt x="1334" y="1555"/>
                    </a:lnTo>
                    <a:lnTo>
                      <a:pt x="1336" y="1555"/>
                    </a:lnTo>
                    <a:lnTo>
                      <a:pt x="1338" y="1555"/>
                    </a:lnTo>
                    <a:lnTo>
                      <a:pt x="1339" y="1555"/>
                    </a:lnTo>
                    <a:lnTo>
                      <a:pt x="1341" y="1555"/>
                    </a:lnTo>
                    <a:lnTo>
                      <a:pt x="1343" y="1555"/>
                    </a:lnTo>
                    <a:lnTo>
                      <a:pt x="1343" y="1553"/>
                    </a:lnTo>
                    <a:lnTo>
                      <a:pt x="1344" y="1553"/>
                    </a:lnTo>
                    <a:lnTo>
                      <a:pt x="1344" y="1551"/>
                    </a:lnTo>
                    <a:lnTo>
                      <a:pt x="1346" y="1551"/>
                    </a:lnTo>
                    <a:lnTo>
                      <a:pt x="1348" y="1549"/>
                    </a:lnTo>
                    <a:lnTo>
                      <a:pt x="1349" y="1549"/>
                    </a:lnTo>
                    <a:lnTo>
                      <a:pt x="1349" y="1548"/>
                    </a:lnTo>
                    <a:lnTo>
                      <a:pt x="1351" y="1548"/>
                    </a:lnTo>
                    <a:lnTo>
                      <a:pt x="1353" y="1548"/>
                    </a:lnTo>
                    <a:lnTo>
                      <a:pt x="1353" y="1546"/>
                    </a:lnTo>
                    <a:lnTo>
                      <a:pt x="1355" y="1546"/>
                    </a:lnTo>
                    <a:lnTo>
                      <a:pt x="1355" y="1544"/>
                    </a:lnTo>
                    <a:lnTo>
                      <a:pt x="1355" y="1543"/>
                    </a:lnTo>
                    <a:lnTo>
                      <a:pt x="1355" y="1541"/>
                    </a:lnTo>
                    <a:lnTo>
                      <a:pt x="1355" y="1539"/>
                    </a:lnTo>
                    <a:lnTo>
                      <a:pt x="1353" y="1539"/>
                    </a:lnTo>
                    <a:lnTo>
                      <a:pt x="1353" y="1538"/>
                    </a:lnTo>
                    <a:lnTo>
                      <a:pt x="1351" y="1538"/>
                    </a:lnTo>
                    <a:lnTo>
                      <a:pt x="1349" y="1538"/>
                    </a:lnTo>
                    <a:lnTo>
                      <a:pt x="1348" y="1538"/>
                    </a:lnTo>
                    <a:lnTo>
                      <a:pt x="1346" y="1538"/>
                    </a:lnTo>
                    <a:lnTo>
                      <a:pt x="1344" y="1538"/>
                    </a:lnTo>
                    <a:lnTo>
                      <a:pt x="1343" y="1538"/>
                    </a:lnTo>
                    <a:lnTo>
                      <a:pt x="1341" y="1538"/>
                    </a:lnTo>
                    <a:lnTo>
                      <a:pt x="1339" y="1538"/>
                    </a:lnTo>
                    <a:lnTo>
                      <a:pt x="1338" y="1539"/>
                    </a:lnTo>
                    <a:lnTo>
                      <a:pt x="1336" y="1539"/>
                    </a:lnTo>
                    <a:lnTo>
                      <a:pt x="1334" y="1539"/>
                    </a:lnTo>
                    <a:lnTo>
                      <a:pt x="1332" y="1539"/>
                    </a:lnTo>
                    <a:lnTo>
                      <a:pt x="1331" y="1541"/>
                    </a:lnTo>
                    <a:lnTo>
                      <a:pt x="1329" y="1541"/>
                    </a:lnTo>
                    <a:lnTo>
                      <a:pt x="1329" y="1543"/>
                    </a:lnTo>
                    <a:lnTo>
                      <a:pt x="1327" y="1543"/>
                    </a:lnTo>
                    <a:lnTo>
                      <a:pt x="1326" y="1543"/>
                    </a:lnTo>
                    <a:lnTo>
                      <a:pt x="1326" y="1544"/>
                    </a:lnTo>
                    <a:lnTo>
                      <a:pt x="1324" y="1544"/>
                    </a:lnTo>
                    <a:lnTo>
                      <a:pt x="1322" y="1544"/>
                    </a:lnTo>
                    <a:lnTo>
                      <a:pt x="1322" y="1543"/>
                    </a:lnTo>
                    <a:lnTo>
                      <a:pt x="1321" y="1543"/>
                    </a:lnTo>
                    <a:lnTo>
                      <a:pt x="1321" y="1541"/>
                    </a:lnTo>
                    <a:lnTo>
                      <a:pt x="1321" y="1539"/>
                    </a:lnTo>
                    <a:lnTo>
                      <a:pt x="1319" y="1539"/>
                    </a:lnTo>
                    <a:lnTo>
                      <a:pt x="1317" y="1539"/>
                    </a:lnTo>
                    <a:lnTo>
                      <a:pt x="1315" y="1539"/>
                    </a:lnTo>
                    <a:lnTo>
                      <a:pt x="1315" y="1538"/>
                    </a:lnTo>
                    <a:lnTo>
                      <a:pt x="1315" y="1536"/>
                    </a:lnTo>
                    <a:lnTo>
                      <a:pt x="1317" y="1534"/>
                    </a:lnTo>
                    <a:lnTo>
                      <a:pt x="1319" y="1534"/>
                    </a:lnTo>
                    <a:lnTo>
                      <a:pt x="1317" y="1534"/>
                    </a:lnTo>
                    <a:lnTo>
                      <a:pt x="1315" y="1536"/>
                    </a:lnTo>
                    <a:lnTo>
                      <a:pt x="1315" y="1534"/>
                    </a:lnTo>
                    <a:lnTo>
                      <a:pt x="1315" y="1532"/>
                    </a:lnTo>
                    <a:lnTo>
                      <a:pt x="1315" y="1531"/>
                    </a:lnTo>
                    <a:lnTo>
                      <a:pt x="1315" y="1529"/>
                    </a:lnTo>
                    <a:lnTo>
                      <a:pt x="1317" y="1527"/>
                    </a:lnTo>
                    <a:lnTo>
                      <a:pt x="1317" y="1526"/>
                    </a:lnTo>
                    <a:lnTo>
                      <a:pt x="1317" y="1524"/>
                    </a:lnTo>
                    <a:lnTo>
                      <a:pt x="1315" y="1524"/>
                    </a:lnTo>
                    <a:lnTo>
                      <a:pt x="1317" y="1522"/>
                    </a:lnTo>
                    <a:lnTo>
                      <a:pt x="1317" y="1521"/>
                    </a:lnTo>
                    <a:lnTo>
                      <a:pt x="1317" y="1519"/>
                    </a:lnTo>
                    <a:lnTo>
                      <a:pt x="1317" y="1517"/>
                    </a:lnTo>
                    <a:lnTo>
                      <a:pt x="1319" y="1517"/>
                    </a:lnTo>
                    <a:lnTo>
                      <a:pt x="1319" y="1515"/>
                    </a:lnTo>
                    <a:lnTo>
                      <a:pt x="1321" y="1515"/>
                    </a:lnTo>
                    <a:lnTo>
                      <a:pt x="1321" y="1517"/>
                    </a:lnTo>
                    <a:lnTo>
                      <a:pt x="1319" y="1517"/>
                    </a:lnTo>
                    <a:lnTo>
                      <a:pt x="1321" y="1519"/>
                    </a:lnTo>
                    <a:lnTo>
                      <a:pt x="1321" y="1521"/>
                    </a:lnTo>
                    <a:lnTo>
                      <a:pt x="1319" y="1521"/>
                    </a:lnTo>
                    <a:lnTo>
                      <a:pt x="1321" y="1521"/>
                    </a:lnTo>
                    <a:lnTo>
                      <a:pt x="1322" y="1521"/>
                    </a:lnTo>
                    <a:lnTo>
                      <a:pt x="1324" y="1521"/>
                    </a:lnTo>
                    <a:lnTo>
                      <a:pt x="1324" y="1519"/>
                    </a:lnTo>
                    <a:lnTo>
                      <a:pt x="1326" y="1519"/>
                    </a:lnTo>
                    <a:lnTo>
                      <a:pt x="1327" y="1519"/>
                    </a:lnTo>
                    <a:lnTo>
                      <a:pt x="1327" y="1517"/>
                    </a:lnTo>
                    <a:lnTo>
                      <a:pt x="1327" y="1515"/>
                    </a:lnTo>
                    <a:lnTo>
                      <a:pt x="1329" y="1514"/>
                    </a:lnTo>
                    <a:lnTo>
                      <a:pt x="1327" y="1512"/>
                    </a:lnTo>
                    <a:lnTo>
                      <a:pt x="1327" y="1510"/>
                    </a:lnTo>
                    <a:lnTo>
                      <a:pt x="1326" y="1512"/>
                    </a:lnTo>
                    <a:lnTo>
                      <a:pt x="1326" y="1510"/>
                    </a:lnTo>
                    <a:lnTo>
                      <a:pt x="1324" y="1510"/>
                    </a:lnTo>
                    <a:lnTo>
                      <a:pt x="1322" y="1510"/>
                    </a:lnTo>
                    <a:lnTo>
                      <a:pt x="1322" y="1512"/>
                    </a:lnTo>
                    <a:lnTo>
                      <a:pt x="1321" y="1512"/>
                    </a:lnTo>
                    <a:lnTo>
                      <a:pt x="1322" y="1510"/>
                    </a:lnTo>
                    <a:lnTo>
                      <a:pt x="1322" y="1509"/>
                    </a:lnTo>
                    <a:lnTo>
                      <a:pt x="1322" y="1507"/>
                    </a:lnTo>
                    <a:lnTo>
                      <a:pt x="1321" y="1505"/>
                    </a:lnTo>
                    <a:lnTo>
                      <a:pt x="1319" y="1505"/>
                    </a:lnTo>
                    <a:lnTo>
                      <a:pt x="1317" y="1505"/>
                    </a:lnTo>
                    <a:lnTo>
                      <a:pt x="1317" y="1504"/>
                    </a:lnTo>
                    <a:lnTo>
                      <a:pt x="1319" y="1504"/>
                    </a:lnTo>
                    <a:lnTo>
                      <a:pt x="1321" y="1504"/>
                    </a:lnTo>
                    <a:lnTo>
                      <a:pt x="1322" y="1504"/>
                    </a:lnTo>
                    <a:lnTo>
                      <a:pt x="1324" y="1504"/>
                    </a:lnTo>
                    <a:lnTo>
                      <a:pt x="1326" y="1502"/>
                    </a:lnTo>
                    <a:lnTo>
                      <a:pt x="1327" y="1502"/>
                    </a:lnTo>
                    <a:lnTo>
                      <a:pt x="1327" y="1504"/>
                    </a:lnTo>
                    <a:lnTo>
                      <a:pt x="1329" y="1505"/>
                    </a:lnTo>
                    <a:lnTo>
                      <a:pt x="1329" y="1507"/>
                    </a:lnTo>
                    <a:lnTo>
                      <a:pt x="1331" y="1509"/>
                    </a:lnTo>
                    <a:lnTo>
                      <a:pt x="1332" y="1509"/>
                    </a:lnTo>
                    <a:lnTo>
                      <a:pt x="1334" y="1509"/>
                    </a:lnTo>
                    <a:lnTo>
                      <a:pt x="1336" y="1507"/>
                    </a:lnTo>
                    <a:lnTo>
                      <a:pt x="1336" y="1505"/>
                    </a:lnTo>
                    <a:lnTo>
                      <a:pt x="1338" y="1505"/>
                    </a:lnTo>
                    <a:lnTo>
                      <a:pt x="1339" y="1505"/>
                    </a:lnTo>
                    <a:lnTo>
                      <a:pt x="1341" y="1504"/>
                    </a:lnTo>
                    <a:lnTo>
                      <a:pt x="1343" y="1502"/>
                    </a:lnTo>
                    <a:lnTo>
                      <a:pt x="1343" y="1500"/>
                    </a:lnTo>
                    <a:lnTo>
                      <a:pt x="1344" y="1498"/>
                    </a:lnTo>
                    <a:lnTo>
                      <a:pt x="1344" y="1497"/>
                    </a:lnTo>
                    <a:lnTo>
                      <a:pt x="1344" y="1495"/>
                    </a:lnTo>
                    <a:lnTo>
                      <a:pt x="1344" y="1493"/>
                    </a:lnTo>
                    <a:lnTo>
                      <a:pt x="1344" y="1492"/>
                    </a:lnTo>
                    <a:lnTo>
                      <a:pt x="1346" y="1492"/>
                    </a:lnTo>
                    <a:lnTo>
                      <a:pt x="1346" y="1490"/>
                    </a:lnTo>
                    <a:lnTo>
                      <a:pt x="1348" y="1490"/>
                    </a:lnTo>
                    <a:lnTo>
                      <a:pt x="1349" y="1488"/>
                    </a:lnTo>
                    <a:lnTo>
                      <a:pt x="1348" y="1488"/>
                    </a:lnTo>
                    <a:lnTo>
                      <a:pt x="1349" y="1488"/>
                    </a:lnTo>
                    <a:lnTo>
                      <a:pt x="1348" y="1488"/>
                    </a:lnTo>
                    <a:lnTo>
                      <a:pt x="1349" y="1488"/>
                    </a:lnTo>
                    <a:lnTo>
                      <a:pt x="1351" y="1487"/>
                    </a:lnTo>
                    <a:lnTo>
                      <a:pt x="1353" y="1488"/>
                    </a:lnTo>
                    <a:lnTo>
                      <a:pt x="1353" y="1490"/>
                    </a:lnTo>
                    <a:lnTo>
                      <a:pt x="1355" y="1492"/>
                    </a:lnTo>
                    <a:lnTo>
                      <a:pt x="1355" y="1493"/>
                    </a:lnTo>
                    <a:lnTo>
                      <a:pt x="1355" y="1495"/>
                    </a:lnTo>
                    <a:lnTo>
                      <a:pt x="1356" y="1497"/>
                    </a:lnTo>
                    <a:lnTo>
                      <a:pt x="1356" y="1498"/>
                    </a:lnTo>
                    <a:lnTo>
                      <a:pt x="1358" y="1498"/>
                    </a:lnTo>
                    <a:lnTo>
                      <a:pt x="1360" y="1500"/>
                    </a:lnTo>
                    <a:lnTo>
                      <a:pt x="1361" y="1500"/>
                    </a:lnTo>
                    <a:lnTo>
                      <a:pt x="1363" y="1500"/>
                    </a:lnTo>
                    <a:lnTo>
                      <a:pt x="1363" y="1498"/>
                    </a:lnTo>
                    <a:lnTo>
                      <a:pt x="1365" y="1498"/>
                    </a:lnTo>
                    <a:lnTo>
                      <a:pt x="1366" y="1498"/>
                    </a:lnTo>
                    <a:lnTo>
                      <a:pt x="1368" y="1497"/>
                    </a:lnTo>
                    <a:lnTo>
                      <a:pt x="1370" y="1497"/>
                    </a:lnTo>
                    <a:lnTo>
                      <a:pt x="1372" y="1497"/>
                    </a:lnTo>
                    <a:lnTo>
                      <a:pt x="1372" y="1495"/>
                    </a:lnTo>
                    <a:lnTo>
                      <a:pt x="1373" y="1495"/>
                    </a:lnTo>
                    <a:lnTo>
                      <a:pt x="1373" y="1493"/>
                    </a:lnTo>
                    <a:lnTo>
                      <a:pt x="1373" y="1492"/>
                    </a:lnTo>
                    <a:lnTo>
                      <a:pt x="1373" y="1493"/>
                    </a:lnTo>
                    <a:lnTo>
                      <a:pt x="1375" y="1493"/>
                    </a:lnTo>
                    <a:lnTo>
                      <a:pt x="1375" y="1495"/>
                    </a:lnTo>
                    <a:lnTo>
                      <a:pt x="1377" y="1497"/>
                    </a:lnTo>
                    <a:lnTo>
                      <a:pt x="1378" y="1497"/>
                    </a:lnTo>
                    <a:lnTo>
                      <a:pt x="1378" y="1498"/>
                    </a:lnTo>
                    <a:close/>
                    <a:moveTo>
                      <a:pt x="1200" y="954"/>
                    </a:moveTo>
                    <a:lnTo>
                      <a:pt x="1200" y="956"/>
                    </a:lnTo>
                    <a:lnTo>
                      <a:pt x="1202" y="957"/>
                    </a:lnTo>
                    <a:lnTo>
                      <a:pt x="1200" y="957"/>
                    </a:lnTo>
                    <a:lnTo>
                      <a:pt x="1198" y="957"/>
                    </a:lnTo>
                    <a:lnTo>
                      <a:pt x="1198" y="956"/>
                    </a:lnTo>
                    <a:lnTo>
                      <a:pt x="1196" y="957"/>
                    </a:lnTo>
                    <a:lnTo>
                      <a:pt x="1196" y="956"/>
                    </a:lnTo>
                    <a:lnTo>
                      <a:pt x="1196" y="957"/>
                    </a:lnTo>
                    <a:lnTo>
                      <a:pt x="1198" y="957"/>
                    </a:lnTo>
                    <a:lnTo>
                      <a:pt x="1198" y="959"/>
                    </a:lnTo>
                    <a:lnTo>
                      <a:pt x="1200" y="959"/>
                    </a:lnTo>
                    <a:lnTo>
                      <a:pt x="1202" y="959"/>
                    </a:lnTo>
                    <a:lnTo>
                      <a:pt x="1202" y="957"/>
                    </a:lnTo>
                    <a:lnTo>
                      <a:pt x="1203" y="957"/>
                    </a:lnTo>
                    <a:lnTo>
                      <a:pt x="1203" y="959"/>
                    </a:lnTo>
                    <a:lnTo>
                      <a:pt x="1205" y="961"/>
                    </a:lnTo>
                    <a:lnTo>
                      <a:pt x="1203" y="963"/>
                    </a:lnTo>
                    <a:lnTo>
                      <a:pt x="1205" y="963"/>
                    </a:lnTo>
                    <a:lnTo>
                      <a:pt x="1205" y="961"/>
                    </a:lnTo>
                    <a:lnTo>
                      <a:pt x="1205" y="963"/>
                    </a:lnTo>
                    <a:lnTo>
                      <a:pt x="1205" y="961"/>
                    </a:lnTo>
                    <a:lnTo>
                      <a:pt x="1207" y="961"/>
                    </a:lnTo>
                    <a:lnTo>
                      <a:pt x="1205" y="961"/>
                    </a:lnTo>
                    <a:lnTo>
                      <a:pt x="1205" y="959"/>
                    </a:lnTo>
                    <a:lnTo>
                      <a:pt x="1203" y="959"/>
                    </a:lnTo>
                    <a:lnTo>
                      <a:pt x="1205" y="959"/>
                    </a:lnTo>
                    <a:lnTo>
                      <a:pt x="1205" y="957"/>
                    </a:lnTo>
                    <a:lnTo>
                      <a:pt x="1207" y="957"/>
                    </a:lnTo>
                    <a:lnTo>
                      <a:pt x="1207" y="956"/>
                    </a:lnTo>
                    <a:lnTo>
                      <a:pt x="1208" y="956"/>
                    </a:lnTo>
                    <a:lnTo>
                      <a:pt x="1208" y="957"/>
                    </a:lnTo>
                    <a:lnTo>
                      <a:pt x="1210" y="956"/>
                    </a:lnTo>
                    <a:lnTo>
                      <a:pt x="1212" y="956"/>
                    </a:lnTo>
                    <a:lnTo>
                      <a:pt x="1212" y="957"/>
                    </a:lnTo>
                    <a:lnTo>
                      <a:pt x="1213" y="957"/>
                    </a:lnTo>
                    <a:lnTo>
                      <a:pt x="1213" y="959"/>
                    </a:lnTo>
                    <a:lnTo>
                      <a:pt x="1212" y="959"/>
                    </a:lnTo>
                    <a:lnTo>
                      <a:pt x="1213" y="959"/>
                    </a:lnTo>
                    <a:lnTo>
                      <a:pt x="1213" y="961"/>
                    </a:lnTo>
                    <a:lnTo>
                      <a:pt x="1213" y="959"/>
                    </a:lnTo>
                    <a:lnTo>
                      <a:pt x="1212" y="959"/>
                    </a:lnTo>
                    <a:lnTo>
                      <a:pt x="1212" y="961"/>
                    </a:lnTo>
                    <a:lnTo>
                      <a:pt x="1213" y="961"/>
                    </a:lnTo>
                    <a:lnTo>
                      <a:pt x="1212" y="961"/>
                    </a:lnTo>
                    <a:lnTo>
                      <a:pt x="1212" y="963"/>
                    </a:lnTo>
                    <a:lnTo>
                      <a:pt x="1213" y="963"/>
                    </a:lnTo>
                    <a:lnTo>
                      <a:pt x="1213" y="964"/>
                    </a:lnTo>
                    <a:lnTo>
                      <a:pt x="1213" y="966"/>
                    </a:lnTo>
                    <a:lnTo>
                      <a:pt x="1215" y="966"/>
                    </a:lnTo>
                    <a:lnTo>
                      <a:pt x="1215" y="968"/>
                    </a:lnTo>
                    <a:lnTo>
                      <a:pt x="1215" y="969"/>
                    </a:lnTo>
                    <a:lnTo>
                      <a:pt x="1215" y="971"/>
                    </a:lnTo>
                    <a:lnTo>
                      <a:pt x="1213" y="969"/>
                    </a:lnTo>
                    <a:lnTo>
                      <a:pt x="1213" y="971"/>
                    </a:lnTo>
                    <a:lnTo>
                      <a:pt x="1215" y="973"/>
                    </a:lnTo>
                    <a:lnTo>
                      <a:pt x="1217" y="975"/>
                    </a:lnTo>
                    <a:lnTo>
                      <a:pt x="1219" y="975"/>
                    </a:lnTo>
                    <a:lnTo>
                      <a:pt x="1219" y="976"/>
                    </a:lnTo>
                    <a:lnTo>
                      <a:pt x="1217" y="976"/>
                    </a:lnTo>
                    <a:lnTo>
                      <a:pt x="1219" y="976"/>
                    </a:lnTo>
                    <a:lnTo>
                      <a:pt x="1219" y="978"/>
                    </a:lnTo>
                    <a:lnTo>
                      <a:pt x="1219" y="980"/>
                    </a:lnTo>
                    <a:lnTo>
                      <a:pt x="1217" y="980"/>
                    </a:lnTo>
                    <a:lnTo>
                      <a:pt x="1215" y="980"/>
                    </a:lnTo>
                    <a:lnTo>
                      <a:pt x="1215" y="978"/>
                    </a:lnTo>
                    <a:lnTo>
                      <a:pt x="1215" y="980"/>
                    </a:lnTo>
                    <a:lnTo>
                      <a:pt x="1213" y="980"/>
                    </a:lnTo>
                    <a:lnTo>
                      <a:pt x="1212" y="980"/>
                    </a:lnTo>
                    <a:lnTo>
                      <a:pt x="1210" y="981"/>
                    </a:lnTo>
                    <a:lnTo>
                      <a:pt x="1208" y="981"/>
                    </a:lnTo>
                    <a:lnTo>
                      <a:pt x="1207" y="983"/>
                    </a:lnTo>
                    <a:lnTo>
                      <a:pt x="1208" y="983"/>
                    </a:lnTo>
                    <a:lnTo>
                      <a:pt x="1208" y="985"/>
                    </a:lnTo>
                    <a:lnTo>
                      <a:pt x="1208" y="986"/>
                    </a:lnTo>
                    <a:lnTo>
                      <a:pt x="1207" y="986"/>
                    </a:lnTo>
                    <a:lnTo>
                      <a:pt x="1208" y="988"/>
                    </a:lnTo>
                    <a:lnTo>
                      <a:pt x="1210" y="988"/>
                    </a:lnTo>
                    <a:lnTo>
                      <a:pt x="1210" y="990"/>
                    </a:lnTo>
                    <a:lnTo>
                      <a:pt x="1208" y="988"/>
                    </a:lnTo>
                    <a:lnTo>
                      <a:pt x="1208" y="990"/>
                    </a:lnTo>
                    <a:lnTo>
                      <a:pt x="1207" y="990"/>
                    </a:lnTo>
                    <a:lnTo>
                      <a:pt x="1205" y="990"/>
                    </a:lnTo>
                    <a:lnTo>
                      <a:pt x="1205" y="988"/>
                    </a:lnTo>
                    <a:lnTo>
                      <a:pt x="1203" y="988"/>
                    </a:lnTo>
                    <a:lnTo>
                      <a:pt x="1205" y="988"/>
                    </a:lnTo>
                    <a:lnTo>
                      <a:pt x="1205" y="986"/>
                    </a:lnTo>
                    <a:lnTo>
                      <a:pt x="1205" y="985"/>
                    </a:lnTo>
                    <a:lnTo>
                      <a:pt x="1205" y="986"/>
                    </a:lnTo>
                    <a:lnTo>
                      <a:pt x="1203" y="986"/>
                    </a:lnTo>
                    <a:lnTo>
                      <a:pt x="1203" y="988"/>
                    </a:lnTo>
                    <a:lnTo>
                      <a:pt x="1203" y="990"/>
                    </a:lnTo>
                    <a:lnTo>
                      <a:pt x="1205" y="990"/>
                    </a:lnTo>
                    <a:lnTo>
                      <a:pt x="1205" y="992"/>
                    </a:lnTo>
                    <a:lnTo>
                      <a:pt x="1203" y="992"/>
                    </a:lnTo>
                    <a:lnTo>
                      <a:pt x="1203" y="993"/>
                    </a:lnTo>
                    <a:lnTo>
                      <a:pt x="1205" y="993"/>
                    </a:lnTo>
                    <a:lnTo>
                      <a:pt x="1205" y="995"/>
                    </a:lnTo>
                    <a:lnTo>
                      <a:pt x="1207" y="995"/>
                    </a:lnTo>
                    <a:lnTo>
                      <a:pt x="1208" y="995"/>
                    </a:lnTo>
                    <a:lnTo>
                      <a:pt x="1207" y="995"/>
                    </a:lnTo>
                    <a:lnTo>
                      <a:pt x="1207" y="997"/>
                    </a:lnTo>
                    <a:lnTo>
                      <a:pt x="1208" y="997"/>
                    </a:lnTo>
                    <a:lnTo>
                      <a:pt x="1208" y="998"/>
                    </a:lnTo>
                    <a:lnTo>
                      <a:pt x="1210" y="998"/>
                    </a:lnTo>
                    <a:lnTo>
                      <a:pt x="1210" y="1000"/>
                    </a:lnTo>
                    <a:lnTo>
                      <a:pt x="1212" y="998"/>
                    </a:lnTo>
                    <a:lnTo>
                      <a:pt x="1212" y="1000"/>
                    </a:lnTo>
                    <a:lnTo>
                      <a:pt x="1213" y="1000"/>
                    </a:lnTo>
                    <a:lnTo>
                      <a:pt x="1213" y="1002"/>
                    </a:lnTo>
                    <a:lnTo>
                      <a:pt x="1213" y="1003"/>
                    </a:lnTo>
                    <a:lnTo>
                      <a:pt x="1215" y="1005"/>
                    </a:lnTo>
                    <a:lnTo>
                      <a:pt x="1213" y="1005"/>
                    </a:lnTo>
                    <a:lnTo>
                      <a:pt x="1213" y="1007"/>
                    </a:lnTo>
                    <a:lnTo>
                      <a:pt x="1213" y="1005"/>
                    </a:lnTo>
                    <a:lnTo>
                      <a:pt x="1213" y="1003"/>
                    </a:lnTo>
                    <a:lnTo>
                      <a:pt x="1213" y="1005"/>
                    </a:lnTo>
                    <a:lnTo>
                      <a:pt x="1212" y="1005"/>
                    </a:lnTo>
                    <a:lnTo>
                      <a:pt x="1210" y="1005"/>
                    </a:lnTo>
                    <a:lnTo>
                      <a:pt x="1210" y="1003"/>
                    </a:lnTo>
                    <a:lnTo>
                      <a:pt x="1210" y="1002"/>
                    </a:lnTo>
                    <a:lnTo>
                      <a:pt x="1208" y="1002"/>
                    </a:lnTo>
                    <a:lnTo>
                      <a:pt x="1210" y="1003"/>
                    </a:lnTo>
                    <a:lnTo>
                      <a:pt x="1208" y="1003"/>
                    </a:lnTo>
                    <a:lnTo>
                      <a:pt x="1210" y="1003"/>
                    </a:lnTo>
                    <a:lnTo>
                      <a:pt x="1210" y="1005"/>
                    </a:lnTo>
                    <a:lnTo>
                      <a:pt x="1208" y="1005"/>
                    </a:lnTo>
                    <a:lnTo>
                      <a:pt x="1208" y="1003"/>
                    </a:lnTo>
                    <a:lnTo>
                      <a:pt x="1207" y="1003"/>
                    </a:lnTo>
                    <a:lnTo>
                      <a:pt x="1205" y="1003"/>
                    </a:lnTo>
                    <a:lnTo>
                      <a:pt x="1205" y="1005"/>
                    </a:lnTo>
                    <a:lnTo>
                      <a:pt x="1207" y="1005"/>
                    </a:lnTo>
                    <a:lnTo>
                      <a:pt x="1208" y="1005"/>
                    </a:lnTo>
                    <a:lnTo>
                      <a:pt x="1208" y="1007"/>
                    </a:lnTo>
                    <a:lnTo>
                      <a:pt x="1208" y="1009"/>
                    </a:lnTo>
                    <a:lnTo>
                      <a:pt x="1210" y="1009"/>
                    </a:lnTo>
                    <a:lnTo>
                      <a:pt x="1212" y="1009"/>
                    </a:lnTo>
                    <a:lnTo>
                      <a:pt x="1212" y="1010"/>
                    </a:lnTo>
                    <a:lnTo>
                      <a:pt x="1212" y="1012"/>
                    </a:lnTo>
                    <a:lnTo>
                      <a:pt x="1213" y="1014"/>
                    </a:lnTo>
                    <a:lnTo>
                      <a:pt x="1212" y="1014"/>
                    </a:lnTo>
                    <a:lnTo>
                      <a:pt x="1212" y="1012"/>
                    </a:lnTo>
                    <a:lnTo>
                      <a:pt x="1210" y="1012"/>
                    </a:lnTo>
                    <a:lnTo>
                      <a:pt x="1208" y="1012"/>
                    </a:lnTo>
                    <a:lnTo>
                      <a:pt x="1208" y="1014"/>
                    </a:lnTo>
                    <a:lnTo>
                      <a:pt x="1210" y="1014"/>
                    </a:lnTo>
                    <a:lnTo>
                      <a:pt x="1212" y="1014"/>
                    </a:lnTo>
                    <a:lnTo>
                      <a:pt x="1213" y="1014"/>
                    </a:lnTo>
                    <a:lnTo>
                      <a:pt x="1213" y="1015"/>
                    </a:lnTo>
                    <a:lnTo>
                      <a:pt x="1213" y="1017"/>
                    </a:lnTo>
                    <a:lnTo>
                      <a:pt x="1212" y="1015"/>
                    </a:lnTo>
                    <a:lnTo>
                      <a:pt x="1210" y="1015"/>
                    </a:lnTo>
                    <a:lnTo>
                      <a:pt x="1208" y="1015"/>
                    </a:lnTo>
                    <a:lnTo>
                      <a:pt x="1208" y="1017"/>
                    </a:lnTo>
                    <a:lnTo>
                      <a:pt x="1207" y="1017"/>
                    </a:lnTo>
                    <a:lnTo>
                      <a:pt x="1207" y="1015"/>
                    </a:lnTo>
                    <a:lnTo>
                      <a:pt x="1205" y="1015"/>
                    </a:lnTo>
                    <a:lnTo>
                      <a:pt x="1205" y="1017"/>
                    </a:lnTo>
                    <a:lnTo>
                      <a:pt x="1205" y="1019"/>
                    </a:lnTo>
                    <a:lnTo>
                      <a:pt x="1205" y="1020"/>
                    </a:lnTo>
                    <a:lnTo>
                      <a:pt x="1205" y="1022"/>
                    </a:lnTo>
                    <a:lnTo>
                      <a:pt x="1207" y="1022"/>
                    </a:lnTo>
                    <a:lnTo>
                      <a:pt x="1207" y="1024"/>
                    </a:lnTo>
                    <a:lnTo>
                      <a:pt x="1208" y="1024"/>
                    </a:lnTo>
                    <a:lnTo>
                      <a:pt x="1208" y="1026"/>
                    </a:lnTo>
                    <a:lnTo>
                      <a:pt x="1207" y="1026"/>
                    </a:lnTo>
                    <a:lnTo>
                      <a:pt x="1205" y="1026"/>
                    </a:lnTo>
                    <a:lnTo>
                      <a:pt x="1203" y="1026"/>
                    </a:lnTo>
                    <a:lnTo>
                      <a:pt x="1203" y="1024"/>
                    </a:lnTo>
                    <a:lnTo>
                      <a:pt x="1202" y="1024"/>
                    </a:lnTo>
                    <a:lnTo>
                      <a:pt x="1200" y="1024"/>
                    </a:lnTo>
                    <a:lnTo>
                      <a:pt x="1202" y="1024"/>
                    </a:lnTo>
                    <a:lnTo>
                      <a:pt x="1203" y="1026"/>
                    </a:lnTo>
                    <a:lnTo>
                      <a:pt x="1203" y="1027"/>
                    </a:lnTo>
                    <a:lnTo>
                      <a:pt x="1203" y="1029"/>
                    </a:lnTo>
                    <a:lnTo>
                      <a:pt x="1202" y="1029"/>
                    </a:lnTo>
                    <a:lnTo>
                      <a:pt x="1202" y="1027"/>
                    </a:lnTo>
                    <a:lnTo>
                      <a:pt x="1203" y="1029"/>
                    </a:lnTo>
                    <a:lnTo>
                      <a:pt x="1202" y="1031"/>
                    </a:lnTo>
                    <a:lnTo>
                      <a:pt x="1200" y="1031"/>
                    </a:lnTo>
                    <a:lnTo>
                      <a:pt x="1200" y="1029"/>
                    </a:lnTo>
                    <a:lnTo>
                      <a:pt x="1198" y="1027"/>
                    </a:lnTo>
                    <a:lnTo>
                      <a:pt x="1196" y="1027"/>
                    </a:lnTo>
                    <a:lnTo>
                      <a:pt x="1196" y="1029"/>
                    </a:lnTo>
                    <a:lnTo>
                      <a:pt x="1196" y="1027"/>
                    </a:lnTo>
                    <a:lnTo>
                      <a:pt x="1195" y="1027"/>
                    </a:lnTo>
                    <a:lnTo>
                      <a:pt x="1195" y="1026"/>
                    </a:lnTo>
                    <a:lnTo>
                      <a:pt x="1193" y="1026"/>
                    </a:lnTo>
                    <a:lnTo>
                      <a:pt x="1193" y="1027"/>
                    </a:lnTo>
                    <a:lnTo>
                      <a:pt x="1195" y="1027"/>
                    </a:lnTo>
                    <a:lnTo>
                      <a:pt x="1193" y="1027"/>
                    </a:lnTo>
                    <a:lnTo>
                      <a:pt x="1193" y="1029"/>
                    </a:lnTo>
                    <a:lnTo>
                      <a:pt x="1191" y="1027"/>
                    </a:lnTo>
                    <a:lnTo>
                      <a:pt x="1193" y="1027"/>
                    </a:lnTo>
                    <a:lnTo>
                      <a:pt x="1191" y="1026"/>
                    </a:lnTo>
                    <a:lnTo>
                      <a:pt x="1191" y="1024"/>
                    </a:lnTo>
                    <a:lnTo>
                      <a:pt x="1191" y="1026"/>
                    </a:lnTo>
                    <a:lnTo>
                      <a:pt x="1191" y="1027"/>
                    </a:lnTo>
                    <a:lnTo>
                      <a:pt x="1190" y="1026"/>
                    </a:lnTo>
                    <a:lnTo>
                      <a:pt x="1190" y="1027"/>
                    </a:lnTo>
                    <a:lnTo>
                      <a:pt x="1188" y="1026"/>
                    </a:lnTo>
                    <a:lnTo>
                      <a:pt x="1186" y="1026"/>
                    </a:lnTo>
                    <a:lnTo>
                      <a:pt x="1186" y="1024"/>
                    </a:lnTo>
                    <a:lnTo>
                      <a:pt x="1185" y="1024"/>
                    </a:lnTo>
                    <a:lnTo>
                      <a:pt x="1183" y="1024"/>
                    </a:lnTo>
                    <a:lnTo>
                      <a:pt x="1183" y="1022"/>
                    </a:lnTo>
                    <a:lnTo>
                      <a:pt x="1183" y="1020"/>
                    </a:lnTo>
                    <a:lnTo>
                      <a:pt x="1185" y="1019"/>
                    </a:lnTo>
                    <a:lnTo>
                      <a:pt x="1185" y="1017"/>
                    </a:lnTo>
                    <a:lnTo>
                      <a:pt x="1186" y="1017"/>
                    </a:lnTo>
                    <a:lnTo>
                      <a:pt x="1186" y="1015"/>
                    </a:lnTo>
                    <a:lnTo>
                      <a:pt x="1185" y="1015"/>
                    </a:lnTo>
                    <a:lnTo>
                      <a:pt x="1186" y="1015"/>
                    </a:lnTo>
                    <a:lnTo>
                      <a:pt x="1185" y="1015"/>
                    </a:lnTo>
                    <a:lnTo>
                      <a:pt x="1185" y="1014"/>
                    </a:lnTo>
                    <a:lnTo>
                      <a:pt x="1186" y="1014"/>
                    </a:lnTo>
                    <a:lnTo>
                      <a:pt x="1188" y="1012"/>
                    </a:lnTo>
                    <a:lnTo>
                      <a:pt x="1188" y="1010"/>
                    </a:lnTo>
                    <a:lnTo>
                      <a:pt x="1190" y="1009"/>
                    </a:lnTo>
                    <a:lnTo>
                      <a:pt x="1190" y="1007"/>
                    </a:lnTo>
                    <a:lnTo>
                      <a:pt x="1188" y="1007"/>
                    </a:lnTo>
                    <a:lnTo>
                      <a:pt x="1190" y="1007"/>
                    </a:lnTo>
                    <a:lnTo>
                      <a:pt x="1190" y="1005"/>
                    </a:lnTo>
                    <a:lnTo>
                      <a:pt x="1191" y="1005"/>
                    </a:lnTo>
                    <a:lnTo>
                      <a:pt x="1191" y="1003"/>
                    </a:lnTo>
                    <a:lnTo>
                      <a:pt x="1191" y="1002"/>
                    </a:lnTo>
                    <a:lnTo>
                      <a:pt x="1191" y="1000"/>
                    </a:lnTo>
                    <a:lnTo>
                      <a:pt x="1191" y="998"/>
                    </a:lnTo>
                    <a:lnTo>
                      <a:pt x="1191" y="997"/>
                    </a:lnTo>
                    <a:lnTo>
                      <a:pt x="1191" y="995"/>
                    </a:lnTo>
                    <a:lnTo>
                      <a:pt x="1191" y="993"/>
                    </a:lnTo>
                    <a:lnTo>
                      <a:pt x="1193" y="993"/>
                    </a:lnTo>
                    <a:lnTo>
                      <a:pt x="1191" y="993"/>
                    </a:lnTo>
                    <a:lnTo>
                      <a:pt x="1191" y="992"/>
                    </a:lnTo>
                    <a:lnTo>
                      <a:pt x="1191" y="990"/>
                    </a:lnTo>
                    <a:lnTo>
                      <a:pt x="1190" y="988"/>
                    </a:lnTo>
                    <a:lnTo>
                      <a:pt x="1190" y="986"/>
                    </a:lnTo>
                    <a:lnTo>
                      <a:pt x="1190" y="985"/>
                    </a:lnTo>
                    <a:lnTo>
                      <a:pt x="1190" y="983"/>
                    </a:lnTo>
                    <a:lnTo>
                      <a:pt x="1191" y="983"/>
                    </a:lnTo>
                    <a:lnTo>
                      <a:pt x="1191" y="981"/>
                    </a:lnTo>
                    <a:lnTo>
                      <a:pt x="1191" y="980"/>
                    </a:lnTo>
                    <a:lnTo>
                      <a:pt x="1191" y="978"/>
                    </a:lnTo>
                    <a:lnTo>
                      <a:pt x="1190" y="976"/>
                    </a:lnTo>
                    <a:lnTo>
                      <a:pt x="1191" y="976"/>
                    </a:lnTo>
                    <a:lnTo>
                      <a:pt x="1191" y="975"/>
                    </a:lnTo>
                    <a:lnTo>
                      <a:pt x="1191" y="973"/>
                    </a:lnTo>
                    <a:lnTo>
                      <a:pt x="1193" y="973"/>
                    </a:lnTo>
                    <a:lnTo>
                      <a:pt x="1193" y="971"/>
                    </a:lnTo>
                    <a:lnTo>
                      <a:pt x="1195" y="971"/>
                    </a:lnTo>
                    <a:lnTo>
                      <a:pt x="1195" y="969"/>
                    </a:lnTo>
                    <a:lnTo>
                      <a:pt x="1195" y="968"/>
                    </a:lnTo>
                    <a:lnTo>
                      <a:pt x="1195" y="966"/>
                    </a:lnTo>
                    <a:lnTo>
                      <a:pt x="1195" y="964"/>
                    </a:lnTo>
                    <a:lnTo>
                      <a:pt x="1195" y="963"/>
                    </a:lnTo>
                    <a:lnTo>
                      <a:pt x="1195" y="961"/>
                    </a:lnTo>
                    <a:lnTo>
                      <a:pt x="1196" y="961"/>
                    </a:lnTo>
                    <a:lnTo>
                      <a:pt x="1196" y="959"/>
                    </a:lnTo>
                    <a:lnTo>
                      <a:pt x="1195" y="959"/>
                    </a:lnTo>
                    <a:lnTo>
                      <a:pt x="1195" y="957"/>
                    </a:lnTo>
                    <a:lnTo>
                      <a:pt x="1195" y="956"/>
                    </a:lnTo>
                    <a:lnTo>
                      <a:pt x="1195" y="954"/>
                    </a:lnTo>
                    <a:lnTo>
                      <a:pt x="1196" y="954"/>
                    </a:lnTo>
                    <a:lnTo>
                      <a:pt x="1196" y="956"/>
                    </a:lnTo>
                    <a:lnTo>
                      <a:pt x="1198" y="956"/>
                    </a:lnTo>
                    <a:lnTo>
                      <a:pt x="1200" y="954"/>
                    </a:lnTo>
                    <a:close/>
                    <a:moveTo>
                      <a:pt x="1174" y="1286"/>
                    </a:moveTo>
                    <a:lnTo>
                      <a:pt x="1176" y="1286"/>
                    </a:lnTo>
                    <a:lnTo>
                      <a:pt x="1176" y="1288"/>
                    </a:lnTo>
                    <a:lnTo>
                      <a:pt x="1174" y="1289"/>
                    </a:lnTo>
                    <a:lnTo>
                      <a:pt x="1176" y="1289"/>
                    </a:lnTo>
                    <a:lnTo>
                      <a:pt x="1176" y="1288"/>
                    </a:lnTo>
                    <a:lnTo>
                      <a:pt x="1178" y="1289"/>
                    </a:lnTo>
                    <a:lnTo>
                      <a:pt x="1176" y="1289"/>
                    </a:lnTo>
                    <a:lnTo>
                      <a:pt x="1176" y="1291"/>
                    </a:lnTo>
                    <a:lnTo>
                      <a:pt x="1176" y="1293"/>
                    </a:lnTo>
                    <a:lnTo>
                      <a:pt x="1178" y="1293"/>
                    </a:lnTo>
                    <a:lnTo>
                      <a:pt x="1176" y="1294"/>
                    </a:lnTo>
                    <a:lnTo>
                      <a:pt x="1174" y="1296"/>
                    </a:lnTo>
                    <a:lnTo>
                      <a:pt x="1176" y="1296"/>
                    </a:lnTo>
                    <a:lnTo>
                      <a:pt x="1176" y="1294"/>
                    </a:lnTo>
                    <a:lnTo>
                      <a:pt x="1178" y="1294"/>
                    </a:lnTo>
                    <a:lnTo>
                      <a:pt x="1178" y="1293"/>
                    </a:lnTo>
                    <a:lnTo>
                      <a:pt x="1178" y="1291"/>
                    </a:lnTo>
                    <a:lnTo>
                      <a:pt x="1178" y="1289"/>
                    </a:lnTo>
                    <a:lnTo>
                      <a:pt x="1178" y="1288"/>
                    </a:lnTo>
                    <a:lnTo>
                      <a:pt x="1179" y="1288"/>
                    </a:lnTo>
                    <a:lnTo>
                      <a:pt x="1181" y="1288"/>
                    </a:lnTo>
                    <a:lnTo>
                      <a:pt x="1181" y="1289"/>
                    </a:lnTo>
                    <a:lnTo>
                      <a:pt x="1181" y="1291"/>
                    </a:lnTo>
                    <a:lnTo>
                      <a:pt x="1181" y="1293"/>
                    </a:lnTo>
                    <a:lnTo>
                      <a:pt x="1181" y="1294"/>
                    </a:lnTo>
                    <a:lnTo>
                      <a:pt x="1181" y="1296"/>
                    </a:lnTo>
                    <a:lnTo>
                      <a:pt x="1179" y="1296"/>
                    </a:lnTo>
                    <a:lnTo>
                      <a:pt x="1179" y="1298"/>
                    </a:lnTo>
                    <a:lnTo>
                      <a:pt x="1178" y="1298"/>
                    </a:lnTo>
                    <a:lnTo>
                      <a:pt x="1178" y="1299"/>
                    </a:lnTo>
                    <a:lnTo>
                      <a:pt x="1176" y="1299"/>
                    </a:lnTo>
                    <a:lnTo>
                      <a:pt x="1178" y="1299"/>
                    </a:lnTo>
                    <a:lnTo>
                      <a:pt x="1178" y="1298"/>
                    </a:lnTo>
                    <a:lnTo>
                      <a:pt x="1179" y="1298"/>
                    </a:lnTo>
                    <a:lnTo>
                      <a:pt x="1179" y="1296"/>
                    </a:lnTo>
                    <a:lnTo>
                      <a:pt x="1181" y="1296"/>
                    </a:lnTo>
                    <a:lnTo>
                      <a:pt x="1181" y="1298"/>
                    </a:lnTo>
                    <a:lnTo>
                      <a:pt x="1181" y="1299"/>
                    </a:lnTo>
                    <a:lnTo>
                      <a:pt x="1183" y="1299"/>
                    </a:lnTo>
                    <a:lnTo>
                      <a:pt x="1183" y="1301"/>
                    </a:lnTo>
                    <a:lnTo>
                      <a:pt x="1181" y="1301"/>
                    </a:lnTo>
                    <a:lnTo>
                      <a:pt x="1181" y="1303"/>
                    </a:lnTo>
                    <a:lnTo>
                      <a:pt x="1179" y="1303"/>
                    </a:lnTo>
                    <a:lnTo>
                      <a:pt x="1181" y="1303"/>
                    </a:lnTo>
                    <a:lnTo>
                      <a:pt x="1181" y="1305"/>
                    </a:lnTo>
                    <a:lnTo>
                      <a:pt x="1181" y="1306"/>
                    </a:lnTo>
                    <a:lnTo>
                      <a:pt x="1183" y="1308"/>
                    </a:lnTo>
                    <a:lnTo>
                      <a:pt x="1183" y="1310"/>
                    </a:lnTo>
                    <a:lnTo>
                      <a:pt x="1183" y="1308"/>
                    </a:lnTo>
                    <a:lnTo>
                      <a:pt x="1181" y="1310"/>
                    </a:lnTo>
                    <a:lnTo>
                      <a:pt x="1183" y="1311"/>
                    </a:lnTo>
                    <a:lnTo>
                      <a:pt x="1183" y="1313"/>
                    </a:lnTo>
                    <a:lnTo>
                      <a:pt x="1183" y="1315"/>
                    </a:lnTo>
                    <a:lnTo>
                      <a:pt x="1183" y="1316"/>
                    </a:lnTo>
                    <a:lnTo>
                      <a:pt x="1183" y="1318"/>
                    </a:lnTo>
                    <a:lnTo>
                      <a:pt x="1183" y="1320"/>
                    </a:lnTo>
                    <a:lnTo>
                      <a:pt x="1181" y="1320"/>
                    </a:lnTo>
                    <a:lnTo>
                      <a:pt x="1181" y="1322"/>
                    </a:lnTo>
                    <a:lnTo>
                      <a:pt x="1183" y="1322"/>
                    </a:lnTo>
                    <a:lnTo>
                      <a:pt x="1183" y="1323"/>
                    </a:lnTo>
                    <a:lnTo>
                      <a:pt x="1181" y="1323"/>
                    </a:lnTo>
                    <a:lnTo>
                      <a:pt x="1181" y="1325"/>
                    </a:lnTo>
                    <a:lnTo>
                      <a:pt x="1181" y="1327"/>
                    </a:lnTo>
                    <a:lnTo>
                      <a:pt x="1181" y="1328"/>
                    </a:lnTo>
                    <a:lnTo>
                      <a:pt x="1179" y="1328"/>
                    </a:lnTo>
                    <a:lnTo>
                      <a:pt x="1178" y="1328"/>
                    </a:lnTo>
                    <a:lnTo>
                      <a:pt x="1179" y="1328"/>
                    </a:lnTo>
                    <a:lnTo>
                      <a:pt x="1179" y="1330"/>
                    </a:lnTo>
                    <a:lnTo>
                      <a:pt x="1179" y="1328"/>
                    </a:lnTo>
                    <a:lnTo>
                      <a:pt x="1179" y="1330"/>
                    </a:lnTo>
                    <a:lnTo>
                      <a:pt x="1181" y="1332"/>
                    </a:lnTo>
                    <a:lnTo>
                      <a:pt x="1181" y="1333"/>
                    </a:lnTo>
                    <a:lnTo>
                      <a:pt x="1179" y="1335"/>
                    </a:lnTo>
                    <a:lnTo>
                      <a:pt x="1179" y="1333"/>
                    </a:lnTo>
                    <a:lnTo>
                      <a:pt x="1178" y="1335"/>
                    </a:lnTo>
                    <a:lnTo>
                      <a:pt x="1178" y="1337"/>
                    </a:lnTo>
                    <a:lnTo>
                      <a:pt x="1179" y="1337"/>
                    </a:lnTo>
                    <a:lnTo>
                      <a:pt x="1178" y="1339"/>
                    </a:lnTo>
                    <a:lnTo>
                      <a:pt x="1176" y="1337"/>
                    </a:lnTo>
                    <a:lnTo>
                      <a:pt x="1178" y="1339"/>
                    </a:lnTo>
                    <a:lnTo>
                      <a:pt x="1179" y="1339"/>
                    </a:lnTo>
                    <a:lnTo>
                      <a:pt x="1179" y="1337"/>
                    </a:lnTo>
                    <a:lnTo>
                      <a:pt x="1179" y="1335"/>
                    </a:lnTo>
                    <a:lnTo>
                      <a:pt x="1181" y="1335"/>
                    </a:lnTo>
                    <a:lnTo>
                      <a:pt x="1183" y="1337"/>
                    </a:lnTo>
                    <a:lnTo>
                      <a:pt x="1183" y="1339"/>
                    </a:lnTo>
                    <a:lnTo>
                      <a:pt x="1183" y="1340"/>
                    </a:lnTo>
                    <a:lnTo>
                      <a:pt x="1183" y="1342"/>
                    </a:lnTo>
                    <a:lnTo>
                      <a:pt x="1181" y="1342"/>
                    </a:lnTo>
                    <a:lnTo>
                      <a:pt x="1181" y="1340"/>
                    </a:lnTo>
                    <a:lnTo>
                      <a:pt x="1179" y="1340"/>
                    </a:lnTo>
                    <a:lnTo>
                      <a:pt x="1179" y="1342"/>
                    </a:lnTo>
                    <a:lnTo>
                      <a:pt x="1181" y="1342"/>
                    </a:lnTo>
                    <a:lnTo>
                      <a:pt x="1181" y="1344"/>
                    </a:lnTo>
                    <a:lnTo>
                      <a:pt x="1183" y="1344"/>
                    </a:lnTo>
                    <a:lnTo>
                      <a:pt x="1183" y="1345"/>
                    </a:lnTo>
                    <a:lnTo>
                      <a:pt x="1183" y="1347"/>
                    </a:lnTo>
                    <a:lnTo>
                      <a:pt x="1183" y="1349"/>
                    </a:lnTo>
                    <a:lnTo>
                      <a:pt x="1181" y="1350"/>
                    </a:lnTo>
                    <a:lnTo>
                      <a:pt x="1181" y="1349"/>
                    </a:lnTo>
                    <a:lnTo>
                      <a:pt x="1181" y="1347"/>
                    </a:lnTo>
                    <a:lnTo>
                      <a:pt x="1179" y="1347"/>
                    </a:lnTo>
                    <a:lnTo>
                      <a:pt x="1181" y="1347"/>
                    </a:lnTo>
                    <a:lnTo>
                      <a:pt x="1181" y="1349"/>
                    </a:lnTo>
                    <a:lnTo>
                      <a:pt x="1181" y="1350"/>
                    </a:lnTo>
                    <a:lnTo>
                      <a:pt x="1181" y="1352"/>
                    </a:lnTo>
                    <a:lnTo>
                      <a:pt x="1179" y="1352"/>
                    </a:lnTo>
                    <a:lnTo>
                      <a:pt x="1181" y="1352"/>
                    </a:lnTo>
                    <a:lnTo>
                      <a:pt x="1179" y="1354"/>
                    </a:lnTo>
                    <a:lnTo>
                      <a:pt x="1178" y="1352"/>
                    </a:lnTo>
                    <a:lnTo>
                      <a:pt x="1178" y="1350"/>
                    </a:lnTo>
                    <a:lnTo>
                      <a:pt x="1176" y="1350"/>
                    </a:lnTo>
                    <a:lnTo>
                      <a:pt x="1176" y="1349"/>
                    </a:lnTo>
                    <a:lnTo>
                      <a:pt x="1176" y="1347"/>
                    </a:lnTo>
                    <a:lnTo>
                      <a:pt x="1174" y="1349"/>
                    </a:lnTo>
                    <a:lnTo>
                      <a:pt x="1176" y="1349"/>
                    </a:lnTo>
                    <a:lnTo>
                      <a:pt x="1176" y="1350"/>
                    </a:lnTo>
                    <a:lnTo>
                      <a:pt x="1178" y="1352"/>
                    </a:lnTo>
                    <a:lnTo>
                      <a:pt x="1179" y="1354"/>
                    </a:lnTo>
                    <a:lnTo>
                      <a:pt x="1178" y="1354"/>
                    </a:lnTo>
                    <a:lnTo>
                      <a:pt x="1178" y="1356"/>
                    </a:lnTo>
                    <a:lnTo>
                      <a:pt x="1176" y="1356"/>
                    </a:lnTo>
                    <a:lnTo>
                      <a:pt x="1176" y="1357"/>
                    </a:lnTo>
                    <a:lnTo>
                      <a:pt x="1174" y="1357"/>
                    </a:lnTo>
                    <a:lnTo>
                      <a:pt x="1174" y="1356"/>
                    </a:lnTo>
                    <a:lnTo>
                      <a:pt x="1174" y="1357"/>
                    </a:lnTo>
                    <a:lnTo>
                      <a:pt x="1173" y="1357"/>
                    </a:lnTo>
                    <a:lnTo>
                      <a:pt x="1173" y="1356"/>
                    </a:lnTo>
                    <a:lnTo>
                      <a:pt x="1174" y="1356"/>
                    </a:lnTo>
                    <a:lnTo>
                      <a:pt x="1174" y="1354"/>
                    </a:lnTo>
                    <a:lnTo>
                      <a:pt x="1174" y="1356"/>
                    </a:lnTo>
                    <a:lnTo>
                      <a:pt x="1173" y="1356"/>
                    </a:lnTo>
                    <a:lnTo>
                      <a:pt x="1173" y="1357"/>
                    </a:lnTo>
                    <a:lnTo>
                      <a:pt x="1173" y="1356"/>
                    </a:lnTo>
                    <a:lnTo>
                      <a:pt x="1173" y="1357"/>
                    </a:lnTo>
                    <a:lnTo>
                      <a:pt x="1171" y="1357"/>
                    </a:lnTo>
                    <a:lnTo>
                      <a:pt x="1169" y="1357"/>
                    </a:lnTo>
                    <a:lnTo>
                      <a:pt x="1168" y="1357"/>
                    </a:lnTo>
                    <a:lnTo>
                      <a:pt x="1169" y="1356"/>
                    </a:lnTo>
                    <a:lnTo>
                      <a:pt x="1168" y="1357"/>
                    </a:lnTo>
                    <a:lnTo>
                      <a:pt x="1168" y="1356"/>
                    </a:lnTo>
                    <a:lnTo>
                      <a:pt x="1166" y="1354"/>
                    </a:lnTo>
                    <a:lnTo>
                      <a:pt x="1168" y="1354"/>
                    </a:lnTo>
                    <a:lnTo>
                      <a:pt x="1168" y="1352"/>
                    </a:lnTo>
                    <a:lnTo>
                      <a:pt x="1169" y="1352"/>
                    </a:lnTo>
                    <a:lnTo>
                      <a:pt x="1171" y="1350"/>
                    </a:lnTo>
                    <a:lnTo>
                      <a:pt x="1173" y="1350"/>
                    </a:lnTo>
                    <a:lnTo>
                      <a:pt x="1174" y="1350"/>
                    </a:lnTo>
                    <a:lnTo>
                      <a:pt x="1174" y="1352"/>
                    </a:lnTo>
                    <a:lnTo>
                      <a:pt x="1176" y="1352"/>
                    </a:lnTo>
                    <a:lnTo>
                      <a:pt x="1174" y="1350"/>
                    </a:lnTo>
                    <a:lnTo>
                      <a:pt x="1173" y="1350"/>
                    </a:lnTo>
                    <a:lnTo>
                      <a:pt x="1173" y="1349"/>
                    </a:lnTo>
                    <a:lnTo>
                      <a:pt x="1171" y="1350"/>
                    </a:lnTo>
                    <a:lnTo>
                      <a:pt x="1169" y="1350"/>
                    </a:lnTo>
                    <a:lnTo>
                      <a:pt x="1168" y="1352"/>
                    </a:lnTo>
                    <a:lnTo>
                      <a:pt x="1166" y="1354"/>
                    </a:lnTo>
                    <a:lnTo>
                      <a:pt x="1168" y="1352"/>
                    </a:lnTo>
                    <a:lnTo>
                      <a:pt x="1166" y="1352"/>
                    </a:lnTo>
                    <a:lnTo>
                      <a:pt x="1166" y="1350"/>
                    </a:lnTo>
                    <a:lnTo>
                      <a:pt x="1166" y="1349"/>
                    </a:lnTo>
                    <a:lnTo>
                      <a:pt x="1168" y="1349"/>
                    </a:lnTo>
                    <a:lnTo>
                      <a:pt x="1166" y="1347"/>
                    </a:lnTo>
                    <a:lnTo>
                      <a:pt x="1168" y="1347"/>
                    </a:lnTo>
                    <a:lnTo>
                      <a:pt x="1166" y="1345"/>
                    </a:lnTo>
                    <a:lnTo>
                      <a:pt x="1168" y="1345"/>
                    </a:lnTo>
                    <a:lnTo>
                      <a:pt x="1168" y="1347"/>
                    </a:lnTo>
                    <a:lnTo>
                      <a:pt x="1169" y="1347"/>
                    </a:lnTo>
                    <a:lnTo>
                      <a:pt x="1169" y="1349"/>
                    </a:lnTo>
                    <a:lnTo>
                      <a:pt x="1171" y="1347"/>
                    </a:lnTo>
                    <a:lnTo>
                      <a:pt x="1173" y="1347"/>
                    </a:lnTo>
                    <a:lnTo>
                      <a:pt x="1173" y="1345"/>
                    </a:lnTo>
                    <a:lnTo>
                      <a:pt x="1174" y="1345"/>
                    </a:lnTo>
                    <a:lnTo>
                      <a:pt x="1176" y="1344"/>
                    </a:lnTo>
                    <a:lnTo>
                      <a:pt x="1174" y="1345"/>
                    </a:lnTo>
                    <a:lnTo>
                      <a:pt x="1173" y="1345"/>
                    </a:lnTo>
                    <a:lnTo>
                      <a:pt x="1171" y="1347"/>
                    </a:lnTo>
                    <a:lnTo>
                      <a:pt x="1169" y="1347"/>
                    </a:lnTo>
                    <a:lnTo>
                      <a:pt x="1168" y="1345"/>
                    </a:lnTo>
                    <a:lnTo>
                      <a:pt x="1169" y="1345"/>
                    </a:lnTo>
                    <a:lnTo>
                      <a:pt x="1169" y="1344"/>
                    </a:lnTo>
                    <a:lnTo>
                      <a:pt x="1169" y="1342"/>
                    </a:lnTo>
                    <a:lnTo>
                      <a:pt x="1171" y="1342"/>
                    </a:lnTo>
                    <a:lnTo>
                      <a:pt x="1173" y="1342"/>
                    </a:lnTo>
                    <a:lnTo>
                      <a:pt x="1171" y="1342"/>
                    </a:lnTo>
                    <a:lnTo>
                      <a:pt x="1171" y="1340"/>
                    </a:lnTo>
                    <a:lnTo>
                      <a:pt x="1173" y="1340"/>
                    </a:lnTo>
                    <a:lnTo>
                      <a:pt x="1171" y="1340"/>
                    </a:lnTo>
                    <a:lnTo>
                      <a:pt x="1171" y="1342"/>
                    </a:lnTo>
                    <a:lnTo>
                      <a:pt x="1169" y="1342"/>
                    </a:lnTo>
                    <a:lnTo>
                      <a:pt x="1169" y="1344"/>
                    </a:lnTo>
                    <a:lnTo>
                      <a:pt x="1168" y="1345"/>
                    </a:lnTo>
                    <a:lnTo>
                      <a:pt x="1168" y="1344"/>
                    </a:lnTo>
                    <a:lnTo>
                      <a:pt x="1166" y="1344"/>
                    </a:lnTo>
                    <a:lnTo>
                      <a:pt x="1166" y="1342"/>
                    </a:lnTo>
                    <a:lnTo>
                      <a:pt x="1166" y="1340"/>
                    </a:lnTo>
                    <a:lnTo>
                      <a:pt x="1168" y="1340"/>
                    </a:lnTo>
                    <a:lnTo>
                      <a:pt x="1166" y="1339"/>
                    </a:lnTo>
                    <a:lnTo>
                      <a:pt x="1166" y="1337"/>
                    </a:lnTo>
                    <a:lnTo>
                      <a:pt x="1168" y="1337"/>
                    </a:lnTo>
                    <a:lnTo>
                      <a:pt x="1166" y="1335"/>
                    </a:lnTo>
                    <a:lnTo>
                      <a:pt x="1166" y="1333"/>
                    </a:lnTo>
                    <a:lnTo>
                      <a:pt x="1168" y="1333"/>
                    </a:lnTo>
                    <a:lnTo>
                      <a:pt x="1169" y="1333"/>
                    </a:lnTo>
                    <a:lnTo>
                      <a:pt x="1169" y="1335"/>
                    </a:lnTo>
                    <a:lnTo>
                      <a:pt x="1171" y="1335"/>
                    </a:lnTo>
                    <a:lnTo>
                      <a:pt x="1173" y="1335"/>
                    </a:lnTo>
                    <a:lnTo>
                      <a:pt x="1171" y="1335"/>
                    </a:lnTo>
                    <a:lnTo>
                      <a:pt x="1171" y="1333"/>
                    </a:lnTo>
                    <a:lnTo>
                      <a:pt x="1171" y="1332"/>
                    </a:lnTo>
                    <a:lnTo>
                      <a:pt x="1173" y="1332"/>
                    </a:lnTo>
                    <a:lnTo>
                      <a:pt x="1171" y="1330"/>
                    </a:lnTo>
                    <a:lnTo>
                      <a:pt x="1171" y="1332"/>
                    </a:lnTo>
                    <a:lnTo>
                      <a:pt x="1171" y="1333"/>
                    </a:lnTo>
                    <a:lnTo>
                      <a:pt x="1169" y="1333"/>
                    </a:lnTo>
                    <a:lnTo>
                      <a:pt x="1168" y="1333"/>
                    </a:lnTo>
                    <a:lnTo>
                      <a:pt x="1168" y="1332"/>
                    </a:lnTo>
                    <a:lnTo>
                      <a:pt x="1166" y="1332"/>
                    </a:lnTo>
                    <a:lnTo>
                      <a:pt x="1168" y="1332"/>
                    </a:lnTo>
                    <a:lnTo>
                      <a:pt x="1168" y="1330"/>
                    </a:lnTo>
                    <a:lnTo>
                      <a:pt x="1168" y="1328"/>
                    </a:lnTo>
                    <a:lnTo>
                      <a:pt x="1169" y="1328"/>
                    </a:lnTo>
                    <a:lnTo>
                      <a:pt x="1171" y="1327"/>
                    </a:lnTo>
                    <a:lnTo>
                      <a:pt x="1173" y="1325"/>
                    </a:lnTo>
                    <a:lnTo>
                      <a:pt x="1174" y="1325"/>
                    </a:lnTo>
                    <a:lnTo>
                      <a:pt x="1176" y="1325"/>
                    </a:lnTo>
                    <a:lnTo>
                      <a:pt x="1174" y="1323"/>
                    </a:lnTo>
                    <a:lnTo>
                      <a:pt x="1173" y="1325"/>
                    </a:lnTo>
                    <a:lnTo>
                      <a:pt x="1173" y="1323"/>
                    </a:lnTo>
                    <a:lnTo>
                      <a:pt x="1173" y="1322"/>
                    </a:lnTo>
                    <a:lnTo>
                      <a:pt x="1174" y="1322"/>
                    </a:lnTo>
                    <a:lnTo>
                      <a:pt x="1176" y="1320"/>
                    </a:lnTo>
                    <a:lnTo>
                      <a:pt x="1176" y="1318"/>
                    </a:lnTo>
                    <a:lnTo>
                      <a:pt x="1176" y="1320"/>
                    </a:lnTo>
                    <a:lnTo>
                      <a:pt x="1174" y="1320"/>
                    </a:lnTo>
                    <a:lnTo>
                      <a:pt x="1174" y="1322"/>
                    </a:lnTo>
                    <a:lnTo>
                      <a:pt x="1173" y="1322"/>
                    </a:lnTo>
                    <a:lnTo>
                      <a:pt x="1173" y="1323"/>
                    </a:lnTo>
                    <a:lnTo>
                      <a:pt x="1173" y="1322"/>
                    </a:lnTo>
                    <a:lnTo>
                      <a:pt x="1171" y="1322"/>
                    </a:lnTo>
                    <a:lnTo>
                      <a:pt x="1169" y="1320"/>
                    </a:lnTo>
                    <a:lnTo>
                      <a:pt x="1171" y="1322"/>
                    </a:lnTo>
                    <a:lnTo>
                      <a:pt x="1171" y="1323"/>
                    </a:lnTo>
                    <a:lnTo>
                      <a:pt x="1173" y="1323"/>
                    </a:lnTo>
                    <a:lnTo>
                      <a:pt x="1171" y="1325"/>
                    </a:lnTo>
                    <a:lnTo>
                      <a:pt x="1169" y="1327"/>
                    </a:lnTo>
                    <a:lnTo>
                      <a:pt x="1168" y="1327"/>
                    </a:lnTo>
                    <a:lnTo>
                      <a:pt x="1168" y="1328"/>
                    </a:lnTo>
                    <a:lnTo>
                      <a:pt x="1168" y="1327"/>
                    </a:lnTo>
                    <a:lnTo>
                      <a:pt x="1168" y="1325"/>
                    </a:lnTo>
                    <a:lnTo>
                      <a:pt x="1168" y="1323"/>
                    </a:lnTo>
                    <a:lnTo>
                      <a:pt x="1168" y="1325"/>
                    </a:lnTo>
                    <a:lnTo>
                      <a:pt x="1168" y="1327"/>
                    </a:lnTo>
                    <a:lnTo>
                      <a:pt x="1168" y="1328"/>
                    </a:lnTo>
                    <a:lnTo>
                      <a:pt x="1166" y="1330"/>
                    </a:lnTo>
                    <a:lnTo>
                      <a:pt x="1164" y="1330"/>
                    </a:lnTo>
                    <a:lnTo>
                      <a:pt x="1164" y="1328"/>
                    </a:lnTo>
                    <a:lnTo>
                      <a:pt x="1166" y="1327"/>
                    </a:lnTo>
                    <a:lnTo>
                      <a:pt x="1164" y="1327"/>
                    </a:lnTo>
                    <a:lnTo>
                      <a:pt x="1164" y="1325"/>
                    </a:lnTo>
                    <a:lnTo>
                      <a:pt x="1164" y="1327"/>
                    </a:lnTo>
                    <a:lnTo>
                      <a:pt x="1164" y="1328"/>
                    </a:lnTo>
                    <a:lnTo>
                      <a:pt x="1162" y="1327"/>
                    </a:lnTo>
                    <a:lnTo>
                      <a:pt x="1162" y="1328"/>
                    </a:lnTo>
                    <a:lnTo>
                      <a:pt x="1164" y="1328"/>
                    </a:lnTo>
                    <a:lnTo>
                      <a:pt x="1164" y="1330"/>
                    </a:lnTo>
                    <a:lnTo>
                      <a:pt x="1162" y="1330"/>
                    </a:lnTo>
                    <a:lnTo>
                      <a:pt x="1162" y="1328"/>
                    </a:lnTo>
                    <a:lnTo>
                      <a:pt x="1162" y="1330"/>
                    </a:lnTo>
                    <a:lnTo>
                      <a:pt x="1164" y="1332"/>
                    </a:lnTo>
                    <a:lnTo>
                      <a:pt x="1162" y="1332"/>
                    </a:lnTo>
                    <a:lnTo>
                      <a:pt x="1164" y="1332"/>
                    </a:lnTo>
                    <a:lnTo>
                      <a:pt x="1164" y="1333"/>
                    </a:lnTo>
                    <a:lnTo>
                      <a:pt x="1162" y="1333"/>
                    </a:lnTo>
                    <a:lnTo>
                      <a:pt x="1162" y="1332"/>
                    </a:lnTo>
                    <a:lnTo>
                      <a:pt x="1161" y="1332"/>
                    </a:lnTo>
                    <a:lnTo>
                      <a:pt x="1161" y="1330"/>
                    </a:lnTo>
                    <a:lnTo>
                      <a:pt x="1159" y="1330"/>
                    </a:lnTo>
                    <a:lnTo>
                      <a:pt x="1161" y="1332"/>
                    </a:lnTo>
                    <a:lnTo>
                      <a:pt x="1162" y="1333"/>
                    </a:lnTo>
                    <a:lnTo>
                      <a:pt x="1164" y="1333"/>
                    </a:lnTo>
                    <a:lnTo>
                      <a:pt x="1162" y="1335"/>
                    </a:lnTo>
                    <a:lnTo>
                      <a:pt x="1162" y="1337"/>
                    </a:lnTo>
                    <a:lnTo>
                      <a:pt x="1162" y="1339"/>
                    </a:lnTo>
                    <a:lnTo>
                      <a:pt x="1162" y="1337"/>
                    </a:lnTo>
                    <a:lnTo>
                      <a:pt x="1164" y="1337"/>
                    </a:lnTo>
                    <a:lnTo>
                      <a:pt x="1164" y="1335"/>
                    </a:lnTo>
                    <a:lnTo>
                      <a:pt x="1164" y="1333"/>
                    </a:lnTo>
                    <a:lnTo>
                      <a:pt x="1164" y="1335"/>
                    </a:lnTo>
                    <a:lnTo>
                      <a:pt x="1166" y="1335"/>
                    </a:lnTo>
                    <a:lnTo>
                      <a:pt x="1164" y="1335"/>
                    </a:lnTo>
                    <a:lnTo>
                      <a:pt x="1164" y="1337"/>
                    </a:lnTo>
                    <a:lnTo>
                      <a:pt x="1164" y="1339"/>
                    </a:lnTo>
                    <a:lnTo>
                      <a:pt x="1162" y="1340"/>
                    </a:lnTo>
                    <a:lnTo>
                      <a:pt x="1162" y="1339"/>
                    </a:lnTo>
                    <a:lnTo>
                      <a:pt x="1162" y="1340"/>
                    </a:lnTo>
                    <a:lnTo>
                      <a:pt x="1162" y="1342"/>
                    </a:lnTo>
                    <a:lnTo>
                      <a:pt x="1162" y="1344"/>
                    </a:lnTo>
                    <a:lnTo>
                      <a:pt x="1162" y="1342"/>
                    </a:lnTo>
                    <a:lnTo>
                      <a:pt x="1162" y="1340"/>
                    </a:lnTo>
                    <a:lnTo>
                      <a:pt x="1164" y="1340"/>
                    </a:lnTo>
                    <a:lnTo>
                      <a:pt x="1164" y="1339"/>
                    </a:lnTo>
                    <a:lnTo>
                      <a:pt x="1164" y="1340"/>
                    </a:lnTo>
                    <a:lnTo>
                      <a:pt x="1164" y="1342"/>
                    </a:lnTo>
                    <a:lnTo>
                      <a:pt x="1164" y="1340"/>
                    </a:lnTo>
                    <a:lnTo>
                      <a:pt x="1166" y="1342"/>
                    </a:lnTo>
                    <a:lnTo>
                      <a:pt x="1166" y="1344"/>
                    </a:lnTo>
                    <a:lnTo>
                      <a:pt x="1164" y="1344"/>
                    </a:lnTo>
                    <a:lnTo>
                      <a:pt x="1166" y="1344"/>
                    </a:lnTo>
                    <a:lnTo>
                      <a:pt x="1164" y="1344"/>
                    </a:lnTo>
                    <a:lnTo>
                      <a:pt x="1164" y="1345"/>
                    </a:lnTo>
                    <a:lnTo>
                      <a:pt x="1164" y="1344"/>
                    </a:lnTo>
                    <a:lnTo>
                      <a:pt x="1164" y="1345"/>
                    </a:lnTo>
                    <a:lnTo>
                      <a:pt x="1164" y="1347"/>
                    </a:lnTo>
                    <a:lnTo>
                      <a:pt x="1162" y="1347"/>
                    </a:lnTo>
                    <a:lnTo>
                      <a:pt x="1164" y="1347"/>
                    </a:lnTo>
                    <a:lnTo>
                      <a:pt x="1162" y="1349"/>
                    </a:lnTo>
                    <a:lnTo>
                      <a:pt x="1161" y="1349"/>
                    </a:lnTo>
                    <a:lnTo>
                      <a:pt x="1161" y="1347"/>
                    </a:lnTo>
                    <a:lnTo>
                      <a:pt x="1161" y="1345"/>
                    </a:lnTo>
                    <a:lnTo>
                      <a:pt x="1161" y="1347"/>
                    </a:lnTo>
                    <a:lnTo>
                      <a:pt x="1159" y="1347"/>
                    </a:lnTo>
                    <a:lnTo>
                      <a:pt x="1157" y="1345"/>
                    </a:lnTo>
                    <a:lnTo>
                      <a:pt x="1157" y="1344"/>
                    </a:lnTo>
                    <a:lnTo>
                      <a:pt x="1157" y="1342"/>
                    </a:lnTo>
                    <a:lnTo>
                      <a:pt x="1159" y="1342"/>
                    </a:lnTo>
                    <a:lnTo>
                      <a:pt x="1157" y="1342"/>
                    </a:lnTo>
                    <a:lnTo>
                      <a:pt x="1156" y="1342"/>
                    </a:lnTo>
                    <a:lnTo>
                      <a:pt x="1156" y="1340"/>
                    </a:lnTo>
                    <a:lnTo>
                      <a:pt x="1156" y="1339"/>
                    </a:lnTo>
                    <a:lnTo>
                      <a:pt x="1154" y="1339"/>
                    </a:lnTo>
                    <a:lnTo>
                      <a:pt x="1156" y="1339"/>
                    </a:lnTo>
                    <a:lnTo>
                      <a:pt x="1157" y="1337"/>
                    </a:lnTo>
                    <a:lnTo>
                      <a:pt x="1156" y="1337"/>
                    </a:lnTo>
                    <a:lnTo>
                      <a:pt x="1154" y="1337"/>
                    </a:lnTo>
                    <a:lnTo>
                      <a:pt x="1156" y="1337"/>
                    </a:lnTo>
                    <a:lnTo>
                      <a:pt x="1154" y="1337"/>
                    </a:lnTo>
                    <a:lnTo>
                      <a:pt x="1154" y="1335"/>
                    </a:lnTo>
                    <a:lnTo>
                      <a:pt x="1156" y="1337"/>
                    </a:lnTo>
                    <a:lnTo>
                      <a:pt x="1157" y="1337"/>
                    </a:lnTo>
                    <a:lnTo>
                      <a:pt x="1157" y="1335"/>
                    </a:lnTo>
                    <a:lnTo>
                      <a:pt x="1157" y="1337"/>
                    </a:lnTo>
                    <a:lnTo>
                      <a:pt x="1156" y="1337"/>
                    </a:lnTo>
                    <a:lnTo>
                      <a:pt x="1156" y="1335"/>
                    </a:lnTo>
                    <a:lnTo>
                      <a:pt x="1154" y="1335"/>
                    </a:lnTo>
                    <a:lnTo>
                      <a:pt x="1156" y="1335"/>
                    </a:lnTo>
                    <a:lnTo>
                      <a:pt x="1156" y="1333"/>
                    </a:lnTo>
                    <a:lnTo>
                      <a:pt x="1157" y="1333"/>
                    </a:lnTo>
                    <a:lnTo>
                      <a:pt x="1157" y="1332"/>
                    </a:lnTo>
                    <a:lnTo>
                      <a:pt x="1157" y="1333"/>
                    </a:lnTo>
                    <a:lnTo>
                      <a:pt x="1156" y="1333"/>
                    </a:lnTo>
                    <a:lnTo>
                      <a:pt x="1156" y="1335"/>
                    </a:lnTo>
                    <a:lnTo>
                      <a:pt x="1154" y="1335"/>
                    </a:lnTo>
                    <a:lnTo>
                      <a:pt x="1152" y="1335"/>
                    </a:lnTo>
                    <a:lnTo>
                      <a:pt x="1152" y="1333"/>
                    </a:lnTo>
                    <a:lnTo>
                      <a:pt x="1154" y="1333"/>
                    </a:lnTo>
                    <a:lnTo>
                      <a:pt x="1154" y="1332"/>
                    </a:lnTo>
                    <a:lnTo>
                      <a:pt x="1156" y="1332"/>
                    </a:lnTo>
                    <a:lnTo>
                      <a:pt x="1157" y="1332"/>
                    </a:lnTo>
                    <a:lnTo>
                      <a:pt x="1156" y="1332"/>
                    </a:lnTo>
                    <a:lnTo>
                      <a:pt x="1156" y="1330"/>
                    </a:lnTo>
                    <a:lnTo>
                      <a:pt x="1157" y="1330"/>
                    </a:lnTo>
                    <a:lnTo>
                      <a:pt x="1157" y="1328"/>
                    </a:lnTo>
                    <a:lnTo>
                      <a:pt x="1157" y="1330"/>
                    </a:lnTo>
                    <a:lnTo>
                      <a:pt x="1157" y="1328"/>
                    </a:lnTo>
                    <a:lnTo>
                      <a:pt x="1156" y="1330"/>
                    </a:lnTo>
                    <a:lnTo>
                      <a:pt x="1154" y="1330"/>
                    </a:lnTo>
                    <a:lnTo>
                      <a:pt x="1154" y="1332"/>
                    </a:lnTo>
                    <a:lnTo>
                      <a:pt x="1154" y="1330"/>
                    </a:lnTo>
                    <a:lnTo>
                      <a:pt x="1152" y="1330"/>
                    </a:lnTo>
                    <a:lnTo>
                      <a:pt x="1152" y="1328"/>
                    </a:lnTo>
                    <a:lnTo>
                      <a:pt x="1154" y="1328"/>
                    </a:lnTo>
                    <a:lnTo>
                      <a:pt x="1156" y="1327"/>
                    </a:lnTo>
                    <a:lnTo>
                      <a:pt x="1154" y="1327"/>
                    </a:lnTo>
                    <a:lnTo>
                      <a:pt x="1156" y="1327"/>
                    </a:lnTo>
                    <a:lnTo>
                      <a:pt x="1156" y="1325"/>
                    </a:lnTo>
                    <a:lnTo>
                      <a:pt x="1156" y="1327"/>
                    </a:lnTo>
                    <a:lnTo>
                      <a:pt x="1154" y="1327"/>
                    </a:lnTo>
                    <a:lnTo>
                      <a:pt x="1154" y="1328"/>
                    </a:lnTo>
                    <a:lnTo>
                      <a:pt x="1152" y="1328"/>
                    </a:lnTo>
                    <a:lnTo>
                      <a:pt x="1152" y="1330"/>
                    </a:lnTo>
                    <a:lnTo>
                      <a:pt x="1152" y="1328"/>
                    </a:lnTo>
                    <a:lnTo>
                      <a:pt x="1151" y="1327"/>
                    </a:lnTo>
                    <a:lnTo>
                      <a:pt x="1152" y="1325"/>
                    </a:lnTo>
                    <a:lnTo>
                      <a:pt x="1151" y="1325"/>
                    </a:lnTo>
                    <a:lnTo>
                      <a:pt x="1151" y="1327"/>
                    </a:lnTo>
                    <a:lnTo>
                      <a:pt x="1152" y="1325"/>
                    </a:lnTo>
                    <a:lnTo>
                      <a:pt x="1151" y="1327"/>
                    </a:lnTo>
                    <a:lnTo>
                      <a:pt x="1149" y="1328"/>
                    </a:lnTo>
                    <a:lnTo>
                      <a:pt x="1149" y="1327"/>
                    </a:lnTo>
                    <a:lnTo>
                      <a:pt x="1151" y="1325"/>
                    </a:lnTo>
                    <a:lnTo>
                      <a:pt x="1152" y="1323"/>
                    </a:lnTo>
                    <a:lnTo>
                      <a:pt x="1151" y="1323"/>
                    </a:lnTo>
                    <a:lnTo>
                      <a:pt x="1151" y="1325"/>
                    </a:lnTo>
                    <a:lnTo>
                      <a:pt x="1149" y="1325"/>
                    </a:lnTo>
                    <a:lnTo>
                      <a:pt x="1149" y="1323"/>
                    </a:lnTo>
                    <a:lnTo>
                      <a:pt x="1147" y="1323"/>
                    </a:lnTo>
                    <a:lnTo>
                      <a:pt x="1147" y="1322"/>
                    </a:lnTo>
                    <a:lnTo>
                      <a:pt x="1149" y="1320"/>
                    </a:lnTo>
                    <a:lnTo>
                      <a:pt x="1147" y="1320"/>
                    </a:lnTo>
                    <a:lnTo>
                      <a:pt x="1147" y="1318"/>
                    </a:lnTo>
                    <a:lnTo>
                      <a:pt x="1147" y="1316"/>
                    </a:lnTo>
                    <a:lnTo>
                      <a:pt x="1149" y="1316"/>
                    </a:lnTo>
                    <a:lnTo>
                      <a:pt x="1151" y="1315"/>
                    </a:lnTo>
                    <a:lnTo>
                      <a:pt x="1151" y="1316"/>
                    </a:lnTo>
                    <a:lnTo>
                      <a:pt x="1152" y="1315"/>
                    </a:lnTo>
                    <a:lnTo>
                      <a:pt x="1152" y="1316"/>
                    </a:lnTo>
                    <a:lnTo>
                      <a:pt x="1151" y="1316"/>
                    </a:lnTo>
                    <a:lnTo>
                      <a:pt x="1151" y="1318"/>
                    </a:lnTo>
                    <a:lnTo>
                      <a:pt x="1149" y="1318"/>
                    </a:lnTo>
                    <a:lnTo>
                      <a:pt x="1149" y="1320"/>
                    </a:lnTo>
                    <a:lnTo>
                      <a:pt x="1149" y="1318"/>
                    </a:lnTo>
                    <a:lnTo>
                      <a:pt x="1151" y="1318"/>
                    </a:lnTo>
                    <a:lnTo>
                      <a:pt x="1152" y="1316"/>
                    </a:lnTo>
                    <a:lnTo>
                      <a:pt x="1152" y="1318"/>
                    </a:lnTo>
                    <a:lnTo>
                      <a:pt x="1151" y="1318"/>
                    </a:lnTo>
                    <a:lnTo>
                      <a:pt x="1152" y="1318"/>
                    </a:lnTo>
                    <a:lnTo>
                      <a:pt x="1152" y="1320"/>
                    </a:lnTo>
                    <a:lnTo>
                      <a:pt x="1152" y="1322"/>
                    </a:lnTo>
                    <a:lnTo>
                      <a:pt x="1154" y="1322"/>
                    </a:lnTo>
                    <a:lnTo>
                      <a:pt x="1154" y="1323"/>
                    </a:lnTo>
                    <a:lnTo>
                      <a:pt x="1156" y="1325"/>
                    </a:lnTo>
                    <a:lnTo>
                      <a:pt x="1157" y="1325"/>
                    </a:lnTo>
                    <a:lnTo>
                      <a:pt x="1157" y="1327"/>
                    </a:lnTo>
                    <a:lnTo>
                      <a:pt x="1159" y="1327"/>
                    </a:lnTo>
                    <a:lnTo>
                      <a:pt x="1157" y="1327"/>
                    </a:lnTo>
                    <a:lnTo>
                      <a:pt x="1157" y="1325"/>
                    </a:lnTo>
                    <a:lnTo>
                      <a:pt x="1156" y="1325"/>
                    </a:lnTo>
                    <a:lnTo>
                      <a:pt x="1156" y="1323"/>
                    </a:lnTo>
                    <a:lnTo>
                      <a:pt x="1156" y="1325"/>
                    </a:lnTo>
                    <a:lnTo>
                      <a:pt x="1157" y="1323"/>
                    </a:lnTo>
                    <a:lnTo>
                      <a:pt x="1159" y="1323"/>
                    </a:lnTo>
                    <a:lnTo>
                      <a:pt x="1159" y="1325"/>
                    </a:lnTo>
                    <a:lnTo>
                      <a:pt x="1161" y="1323"/>
                    </a:lnTo>
                    <a:lnTo>
                      <a:pt x="1162" y="1323"/>
                    </a:lnTo>
                    <a:lnTo>
                      <a:pt x="1164" y="1323"/>
                    </a:lnTo>
                    <a:lnTo>
                      <a:pt x="1162" y="1323"/>
                    </a:lnTo>
                    <a:lnTo>
                      <a:pt x="1161" y="1323"/>
                    </a:lnTo>
                    <a:lnTo>
                      <a:pt x="1159" y="1323"/>
                    </a:lnTo>
                    <a:lnTo>
                      <a:pt x="1157" y="1323"/>
                    </a:lnTo>
                    <a:lnTo>
                      <a:pt x="1156" y="1323"/>
                    </a:lnTo>
                    <a:lnTo>
                      <a:pt x="1157" y="1323"/>
                    </a:lnTo>
                    <a:lnTo>
                      <a:pt x="1156" y="1323"/>
                    </a:lnTo>
                    <a:lnTo>
                      <a:pt x="1156" y="1322"/>
                    </a:lnTo>
                    <a:lnTo>
                      <a:pt x="1154" y="1322"/>
                    </a:lnTo>
                    <a:lnTo>
                      <a:pt x="1156" y="1322"/>
                    </a:lnTo>
                    <a:lnTo>
                      <a:pt x="1154" y="1322"/>
                    </a:lnTo>
                    <a:lnTo>
                      <a:pt x="1154" y="1320"/>
                    </a:lnTo>
                    <a:lnTo>
                      <a:pt x="1154" y="1318"/>
                    </a:lnTo>
                    <a:lnTo>
                      <a:pt x="1156" y="1320"/>
                    </a:lnTo>
                    <a:lnTo>
                      <a:pt x="1154" y="1318"/>
                    </a:lnTo>
                    <a:lnTo>
                      <a:pt x="1152" y="1318"/>
                    </a:lnTo>
                    <a:lnTo>
                      <a:pt x="1152" y="1316"/>
                    </a:lnTo>
                    <a:lnTo>
                      <a:pt x="1154" y="1316"/>
                    </a:lnTo>
                    <a:lnTo>
                      <a:pt x="1154" y="1315"/>
                    </a:lnTo>
                    <a:lnTo>
                      <a:pt x="1152" y="1315"/>
                    </a:lnTo>
                    <a:lnTo>
                      <a:pt x="1154" y="1315"/>
                    </a:lnTo>
                    <a:lnTo>
                      <a:pt x="1156" y="1315"/>
                    </a:lnTo>
                    <a:lnTo>
                      <a:pt x="1156" y="1316"/>
                    </a:lnTo>
                    <a:lnTo>
                      <a:pt x="1156" y="1315"/>
                    </a:lnTo>
                    <a:lnTo>
                      <a:pt x="1156" y="1316"/>
                    </a:lnTo>
                    <a:lnTo>
                      <a:pt x="1157" y="1316"/>
                    </a:lnTo>
                    <a:lnTo>
                      <a:pt x="1156" y="1316"/>
                    </a:lnTo>
                    <a:lnTo>
                      <a:pt x="1157" y="1316"/>
                    </a:lnTo>
                    <a:lnTo>
                      <a:pt x="1157" y="1318"/>
                    </a:lnTo>
                    <a:lnTo>
                      <a:pt x="1157" y="1320"/>
                    </a:lnTo>
                    <a:lnTo>
                      <a:pt x="1159" y="1320"/>
                    </a:lnTo>
                    <a:lnTo>
                      <a:pt x="1157" y="1320"/>
                    </a:lnTo>
                    <a:lnTo>
                      <a:pt x="1159" y="1320"/>
                    </a:lnTo>
                    <a:lnTo>
                      <a:pt x="1159" y="1322"/>
                    </a:lnTo>
                    <a:lnTo>
                      <a:pt x="1159" y="1320"/>
                    </a:lnTo>
                    <a:lnTo>
                      <a:pt x="1161" y="1320"/>
                    </a:lnTo>
                    <a:lnTo>
                      <a:pt x="1162" y="1320"/>
                    </a:lnTo>
                    <a:lnTo>
                      <a:pt x="1161" y="1320"/>
                    </a:lnTo>
                    <a:lnTo>
                      <a:pt x="1159" y="1320"/>
                    </a:lnTo>
                    <a:lnTo>
                      <a:pt x="1157" y="1318"/>
                    </a:lnTo>
                    <a:lnTo>
                      <a:pt x="1159" y="1318"/>
                    </a:lnTo>
                    <a:lnTo>
                      <a:pt x="1159" y="1316"/>
                    </a:lnTo>
                    <a:lnTo>
                      <a:pt x="1157" y="1318"/>
                    </a:lnTo>
                    <a:lnTo>
                      <a:pt x="1157" y="1316"/>
                    </a:lnTo>
                    <a:lnTo>
                      <a:pt x="1157" y="1315"/>
                    </a:lnTo>
                    <a:lnTo>
                      <a:pt x="1157" y="1316"/>
                    </a:lnTo>
                    <a:lnTo>
                      <a:pt x="1159" y="1316"/>
                    </a:lnTo>
                    <a:lnTo>
                      <a:pt x="1161" y="1318"/>
                    </a:lnTo>
                    <a:lnTo>
                      <a:pt x="1161" y="1320"/>
                    </a:lnTo>
                    <a:lnTo>
                      <a:pt x="1162" y="1320"/>
                    </a:lnTo>
                    <a:lnTo>
                      <a:pt x="1161" y="1318"/>
                    </a:lnTo>
                    <a:lnTo>
                      <a:pt x="1159" y="1316"/>
                    </a:lnTo>
                    <a:lnTo>
                      <a:pt x="1161" y="1316"/>
                    </a:lnTo>
                    <a:lnTo>
                      <a:pt x="1159" y="1316"/>
                    </a:lnTo>
                    <a:lnTo>
                      <a:pt x="1159" y="1315"/>
                    </a:lnTo>
                    <a:lnTo>
                      <a:pt x="1161" y="1315"/>
                    </a:lnTo>
                    <a:lnTo>
                      <a:pt x="1161" y="1316"/>
                    </a:lnTo>
                    <a:lnTo>
                      <a:pt x="1161" y="1315"/>
                    </a:lnTo>
                    <a:lnTo>
                      <a:pt x="1162" y="1316"/>
                    </a:lnTo>
                    <a:lnTo>
                      <a:pt x="1164" y="1316"/>
                    </a:lnTo>
                    <a:lnTo>
                      <a:pt x="1164" y="1318"/>
                    </a:lnTo>
                    <a:lnTo>
                      <a:pt x="1164" y="1316"/>
                    </a:lnTo>
                    <a:lnTo>
                      <a:pt x="1162" y="1316"/>
                    </a:lnTo>
                    <a:lnTo>
                      <a:pt x="1162" y="1315"/>
                    </a:lnTo>
                    <a:lnTo>
                      <a:pt x="1164" y="1315"/>
                    </a:lnTo>
                    <a:lnTo>
                      <a:pt x="1162" y="1315"/>
                    </a:lnTo>
                    <a:lnTo>
                      <a:pt x="1161" y="1315"/>
                    </a:lnTo>
                    <a:lnTo>
                      <a:pt x="1161" y="1313"/>
                    </a:lnTo>
                    <a:lnTo>
                      <a:pt x="1162" y="1313"/>
                    </a:lnTo>
                    <a:lnTo>
                      <a:pt x="1162" y="1315"/>
                    </a:lnTo>
                    <a:lnTo>
                      <a:pt x="1162" y="1313"/>
                    </a:lnTo>
                    <a:lnTo>
                      <a:pt x="1161" y="1313"/>
                    </a:lnTo>
                    <a:lnTo>
                      <a:pt x="1161" y="1311"/>
                    </a:lnTo>
                    <a:lnTo>
                      <a:pt x="1162" y="1313"/>
                    </a:lnTo>
                    <a:lnTo>
                      <a:pt x="1162" y="1315"/>
                    </a:lnTo>
                    <a:lnTo>
                      <a:pt x="1164" y="1315"/>
                    </a:lnTo>
                    <a:lnTo>
                      <a:pt x="1164" y="1316"/>
                    </a:lnTo>
                    <a:lnTo>
                      <a:pt x="1166" y="1318"/>
                    </a:lnTo>
                    <a:lnTo>
                      <a:pt x="1168" y="1318"/>
                    </a:lnTo>
                    <a:lnTo>
                      <a:pt x="1168" y="1320"/>
                    </a:lnTo>
                    <a:lnTo>
                      <a:pt x="1166" y="1322"/>
                    </a:lnTo>
                    <a:lnTo>
                      <a:pt x="1168" y="1322"/>
                    </a:lnTo>
                    <a:lnTo>
                      <a:pt x="1168" y="1320"/>
                    </a:lnTo>
                    <a:lnTo>
                      <a:pt x="1168" y="1318"/>
                    </a:lnTo>
                    <a:lnTo>
                      <a:pt x="1168" y="1316"/>
                    </a:lnTo>
                    <a:lnTo>
                      <a:pt x="1168" y="1315"/>
                    </a:lnTo>
                    <a:lnTo>
                      <a:pt x="1168" y="1313"/>
                    </a:lnTo>
                    <a:lnTo>
                      <a:pt x="1169" y="1313"/>
                    </a:lnTo>
                    <a:lnTo>
                      <a:pt x="1169" y="1315"/>
                    </a:lnTo>
                    <a:lnTo>
                      <a:pt x="1169" y="1313"/>
                    </a:lnTo>
                    <a:lnTo>
                      <a:pt x="1168" y="1313"/>
                    </a:lnTo>
                    <a:lnTo>
                      <a:pt x="1168" y="1311"/>
                    </a:lnTo>
                    <a:lnTo>
                      <a:pt x="1169" y="1311"/>
                    </a:lnTo>
                    <a:lnTo>
                      <a:pt x="1171" y="1311"/>
                    </a:lnTo>
                    <a:lnTo>
                      <a:pt x="1171" y="1313"/>
                    </a:lnTo>
                    <a:lnTo>
                      <a:pt x="1171" y="1311"/>
                    </a:lnTo>
                    <a:lnTo>
                      <a:pt x="1169" y="1311"/>
                    </a:lnTo>
                    <a:lnTo>
                      <a:pt x="1169" y="1310"/>
                    </a:lnTo>
                    <a:lnTo>
                      <a:pt x="1169" y="1308"/>
                    </a:lnTo>
                    <a:lnTo>
                      <a:pt x="1169" y="1306"/>
                    </a:lnTo>
                    <a:lnTo>
                      <a:pt x="1171" y="1306"/>
                    </a:lnTo>
                    <a:lnTo>
                      <a:pt x="1169" y="1306"/>
                    </a:lnTo>
                    <a:lnTo>
                      <a:pt x="1169" y="1305"/>
                    </a:lnTo>
                    <a:lnTo>
                      <a:pt x="1168" y="1305"/>
                    </a:lnTo>
                    <a:lnTo>
                      <a:pt x="1168" y="1303"/>
                    </a:lnTo>
                    <a:lnTo>
                      <a:pt x="1166" y="1303"/>
                    </a:lnTo>
                    <a:lnTo>
                      <a:pt x="1166" y="1301"/>
                    </a:lnTo>
                    <a:lnTo>
                      <a:pt x="1168" y="1301"/>
                    </a:lnTo>
                    <a:lnTo>
                      <a:pt x="1169" y="1301"/>
                    </a:lnTo>
                    <a:lnTo>
                      <a:pt x="1169" y="1299"/>
                    </a:lnTo>
                    <a:lnTo>
                      <a:pt x="1169" y="1301"/>
                    </a:lnTo>
                    <a:lnTo>
                      <a:pt x="1171" y="1301"/>
                    </a:lnTo>
                    <a:lnTo>
                      <a:pt x="1171" y="1303"/>
                    </a:lnTo>
                    <a:lnTo>
                      <a:pt x="1173" y="1303"/>
                    </a:lnTo>
                    <a:lnTo>
                      <a:pt x="1173" y="1305"/>
                    </a:lnTo>
                    <a:lnTo>
                      <a:pt x="1171" y="1303"/>
                    </a:lnTo>
                    <a:lnTo>
                      <a:pt x="1171" y="1301"/>
                    </a:lnTo>
                    <a:lnTo>
                      <a:pt x="1169" y="1299"/>
                    </a:lnTo>
                    <a:lnTo>
                      <a:pt x="1171" y="1299"/>
                    </a:lnTo>
                    <a:lnTo>
                      <a:pt x="1171" y="1298"/>
                    </a:lnTo>
                    <a:lnTo>
                      <a:pt x="1171" y="1299"/>
                    </a:lnTo>
                    <a:lnTo>
                      <a:pt x="1169" y="1299"/>
                    </a:lnTo>
                    <a:lnTo>
                      <a:pt x="1168" y="1299"/>
                    </a:lnTo>
                    <a:lnTo>
                      <a:pt x="1168" y="1301"/>
                    </a:lnTo>
                    <a:lnTo>
                      <a:pt x="1166" y="1301"/>
                    </a:lnTo>
                    <a:lnTo>
                      <a:pt x="1164" y="1301"/>
                    </a:lnTo>
                    <a:lnTo>
                      <a:pt x="1164" y="1299"/>
                    </a:lnTo>
                    <a:lnTo>
                      <a:pt x="1166" y="1299"/>
                    </a:lnTo>
                    <a:lnTo>
                      <a:pt x="1168" y="1299"/>
                    </a:lnTo>
                    <a:lnTo>
                      <a:pt x="1166" y="1299"/>
                    </a:lnTo>
                    <a:lnTo>
                      <a:pt x="1164" y="1299"/>
                    </a:lnTo>
                    <a:lnTo>
                      <a:pt x="1164" y="1298"/>
                    </a:lnTo>
                    <a:lnTo>
                      <a:pt x="1166" y="1298"/>
                    </a:lnTo>
                    <a:lnTo>
                      <a:pt x="1168" y="1298"/>
                    </a:lnTo>
                    <a:lnTo>
                      <a:pt x="1169" y="1296"/>
                    </a:lnTo>
                    <a:lnTo>
                      <a:pt x="1168" y="1296"/>
                    </a:lnTo>
                    <a:lnTo>
                      <a:pt x="1168" y="1298"/>
                    </a:lnTo>
                    <a:lnTo>
                      <a:pt x="1168" y="1296"/>
                    </a:lnTo>
                    <a:lnTo>
                      <a:pt x="1168" y="1298"/>
                    </a:lnTo>
                    <a:lnTo>
                      <a:pt x="1166" y="1298"/>
                    </a:lnTo>
                    <a:lnTo>
                      <a:pt x="1164" y="1298"/>
                    </a:lnTo>
                    <a:lnTo>
                      <a:pt x="1162" y="1296"/>
                    </a:lnTo>
                    <a:lnTo>
                      <a:pt x="1164" y="1296"/>
                    </a:lnTo>
                    <a:lnTo>
                      <a:pt x="1166" y="1294"/>
                    </a:lnTo>
                    <a:lnTo>
                      <a:pt x="1168" y="1294"/>
                    </a:lnTo>
                    <a:lnTo>
                      <a:pt x="1169" y="1294"/>
                    </a:lnTo>
                    <a:lnTo>
                      <a:pt x="1168" y="1294"/>
                    </a:lnTo>
                    <a:lnTo>
                      <a:pt x="1169" y="1293"/>
                    </a:lnTo>
                    <a:lnTo>
                      <a:pt x="1168" y="1293"/>
                    </a:lnTo>
                    <a:lnTo>
                      <a:pt x="1168" y="1294"/>
                    </a:lnTo>
                    <a:lnTo>
                      <a:pt x="1166" y="1294"/>
                    </a:lnTo>
                    <a:lnTo>
                      <a:pt x="1164" y="1296"/>
                    </a:lnTo>
                    <a:lnTo>
                      <a:pt x="1162" y="1296"/>
                    </a:lnTo>
                    <a:lnTo>
                      <a:pt x="1162" y="1294"/>
                    </a:lnTo>
                    <a:lnTo>
                      <a:pt x="1162" y="1293"/>
                    </a:lnTo>
                    <a:lnTo>
                      <a:pt x="1162" y="1291"/>
                    </a:lnTo>
                    <a:lnTo>
                      <a:pt x="1164" y="1291"/>
                    </a:lnTo>
                    <a:lnTo>
                      <a:pt x="1164" y="1293"/>
                    </a:lnTo>
                    <a:lnTo>
                      <a:pt x="1166" y="1293"/>
                    </a:lnTo>
                    <a:lnTo>
                      <a:pt x="1168" y="1294"/>
                    </a:lnTo>
                    <a:lnTo>
                      <a:pt x="1168" y="1293"/>
                    </a:lnTo>
                    <a:lnTo>
                      <a:pt x="1166" y="1293"/>
                    </a:lnTo>
                    <a:lnTo>
                      <a:pt x="1164" y="1291"/>
                    </a:lnTo>
                    <a:lnTo>
                      <a:pt x="1166" y="1291"/>
                    </a:lnTo>
                    <a:lnTo>
                      <a:pt x="1166" y="1289"/>
                    </a:lnTo>
                    <a:lnTo>
                      <a:pt x="1164" y="1291"/>
                    </a:lnTo>
                    <a:lnTo>
                      <a:pt x="1162" y="1289"/>
                    </a:lnTo>
                    <a:lnTo>
                      <a:pt x="1164" y="1289"/>
                    </a:lnTo>
                    <a:lnTo>
                      <a:pt x="1166" y="1289"/>
                    </a:lnTo>
                    <a:lnTo>
                      <a:pt x="1168" y="1288"/>
                    </a:lnTo>
                    <a:lnTo>
                      <a:pt x="1168" y="1289"/>
                    </a:lnTo>
                    <a:lnTo>
                      <a:pt x="1168" y="1288"/>
                    </a:lnTo>
                    <a:lnTo>
                      <a:pt x="1169" y="1288"/>
                    </a:lnTo>
                    <a:lnTo>
                      <a:pt x="1168" y="1288"/>
                    </a:lnTo>
                    <a:lnTo>
                      <a:pt x="1169" y="1286"/>
                    </a:lnTo>
                    <a:lnTo>
                      <a:pt x="1169" y="1288"/>
                    </a:lnTo>
                    <a:lnTo>
                      <a:pt x="1169" y="1286"/>
                    </a:lnTo>
                    <a:lnTo>
                      <a:pt x="1171" y="1286"/>
                    </a:lnTo>
                    <a:lnTo>
                      <a:pt x="1171" y="1288"/>
                    </a:lnTo>
                    <a:lnTo>
                      <a:pt x="1171" y="1289"/>
                    </a:lnTo>
                    <a:lnTo>
                      <a:pt x="1169" y="1288"/>
                    </a:lnTo>
                    <a:lnTo>
                      <a:pt x="1169" y="1289"/>
                    </a:lnTo>
                    <a:lnTo>
                      <a:pt x="1171" y="1291"/>
                    </a:lnTo>
                    <a:lnTo>
                      <a:pt x="1171" y="1289"/>
                    </a:lnTo>
                    <a:lnTo>
                      <a:pt x="1171" y="1288"/>
                    </a:lnTo>
                    <a:lnTo>
                      <a:pt x="1171" y="1286"/>
                    </a:lnTo>
                    <a:lnTo>
                      <a:pt x="1173" y="1286"/>
                    </a:lnTo>
                    <a:lnTo>
                      <a:pt x="1173" y="1284"/>
                    </a:lnTo>
                    <a:lnTo>
                      <a:pt x="1174" y="1286"/>
                    </a:lnTo>
                    <a:close/>
                    <a:moveTo>
                      <a:pt x="1264" y="1498"/>
                    </a:moveTo>
                    <a:lnTo>
                      <a:pt x="1266" y="1498"/>
                    </a:lnTo>
                    <a:lnTo>
                      <a:pt x="1266" y="1500"/>
                    </a:lnTo>
                    <a:lnTo>
                      <a:pt x="1268" y="1500"/>
                    </a:lnTo>
                    <a:lnTo>
                      <a:pt x="1270" y="1500"/>
                    </a:lnTo>
                    <a:lnTo>
                      <a:pt x="1271" y="1500"/>
                    </a:lnTo>
                    <a:lnTo>
                      <a:pt x="1273" y="1500"/>
                    </a:lnTo>
                    <a:lnTo>
                      <a:pt x="1275" y="1500"/>
                    </a:lnTo>
                    <a:lnTo>
                      <a:pt x="1276" y="1500"/>
                    </a:lnTo>
                    <a:lnTo>
                      <a:pt x="1278" y="1498"/>
                    </a:lnTo>
                    <a:lnTo>
                      <a:pt x="1280" y="1498"/>
                    </a:lnTo>
                    <a:lnTo>
                      <a:pt x="1281" y="1497"/>
                    </a:lnTo>
                    <a:lnTo>
                      <a:pt x="1281" y="1498"/>
                    </a:lnTo>
                    <a:lnTo>
                      <a:pt x="1281" y="1500"/>
                    </a:lnTo>
                    <a:lnTo>
                      <a:pt x="1283" y="1500"/>
                    </a:lnTo>
                    <a:lnTo>
                      <a:pt x="1283" y="1502"/>
                    </a:lnTo>
                    <a:lnTo>
                      <a:pt x="1285" y="1502"/>
                    </a:lnTo>
                    <a:lnTo>
                      <a:pt x="1283" y="1504"/>
                    </a:lnTo>
                    <a:lnTo>
                      <a:pt x="1285" y="1505"/>
                    </a:lnTo>
                    <a:lnTo>
                      <a:pt x="1283" y="1507"/>
                    </a:lnTo>
                    <a:lnTo>
                      <a:pt x="1285" y="1505"/>
                    </a:lnTo>
                    <a:lnTo>
                      <a:pt x="1285" y="1507"/>
                    </a:lnTo>
                    <a:lnTo>
                      <a:pt x="1283" y="1507"/>
                    </a:lnTo>
                    <a:lnTo>
                      <a:pt x="1283" y="1509"/>
                    </a:lnTo>
                    <a:lnTo>
                      <a:pt x="1281" y="1509"/>
                    </a:lnTo>
                    <a:lnTo>
                      <a:pt x="1280" y="1509"/>
                    </a:lnTo>
                    <a:lnTo>
                      <a:pt x="1278" y="1510"/>
                    </a:lnTo>
                    <a:lnTo>
                      <a:pt x="1276" y="1510"/>
                    </a:lnTo>
                    <a:lnTo>
                      <a:pt x="1276" y="1512"/>
                    </a:lnTo>
                    <a:lnTo>
                      <a:pt x="1275" y="1512"/>
                    </a:lnTo>
                    <a:lnTo>
                      <a:pt x="1275" y="1514"/>
                    </a:lnTo>
                    <a:lnTo>
                      <a:pt x="1273" y="1514"/>
                    </a:lnTo>
                    <a:lnTo>
                      <a:pt x="1271" y="1515"/>
                    </a:lnTo>
                    <a:lnTo>
                      <a:pt x="1270" y="1515"/>
                    </a:lnTo>
                    <a:lnTo>
                      <a:pt x="1270" y="1517"/>
                    </a:lnTo>
                    <a:lnTo>
                      <a:pt x="1268" y="1517"/>
                    </a:lnTo>
                    <a:lnTo>
                      <a:pt x="1266" y="1517"/>
                    </a:lnTo>
                    <a:lnTo>
                      <a:pt x="1266" y="1519"/>
                    </a:lnTo>
                    <a:lnTo>
                      <a:pt x="1266" y="1521"/>
                    </a:lnTo>
                    <a:lnTo>
                      <a:pt x="1264" y="1521"/>
                    </a:lnTo>
                    <a:lnTo>
                      <a:pt x="1264" y="1522"/>
                    </a:lnTo>
                    <a:lnTo>
                      <a:pt x="1263" y="1524"/>
                    </a:lnTo>
                    <a:lnTo>
                      <a:pt x="1263" y="1526"/>
                    </a:lnTo>
                    <a:lnTo>
                      <a:pt x="1261" y="1524"/>
                    </a:lnTo>
                    <a:lnTo>
                      <a:pt x="1261" y="1526"/>
                    </a:lnTo>
                    <a:lnTo>
                      <a:pt x="1259" y="1526"/>
                    </a:lnTo>
                    <a:lnTo>
                      <a:pt x="1259" y="1524"/>
                    </a:lnTo>
                    <a:lnTo>
                      <a:pt x="1258" y="1524"/>
                    </a:lnTo>
                    <a:lnTo>
                      <a:pt x="1258" y="1522"/>
                    </a:lnTo>
                    <a:lnTo>
                      <a:pt x="1256" y="1521"/>
                    </a:lnTo>
                    <a:lnTo>
                      <a:pt x="1254" y="1521"/>
                    </a:lnTo>
                    <a:lnTo>
                      <a:pt x="1253" y="1519"/>
                    </a:lnTo>
                    <a:lnTo>
                      <a:pt x="1251" y="1519"/>
                    </a:lnTo>
                    <a:lnTo>
                      <a:pt x="1253" y="1521"/>
                    </a:lnTo>
                    <a:lnTo>
                      <a:pt x="1254" y="1521"/>
                    </a:lnTo>
                    <a:lnTo>
                      <a:pt x="1254" y="1522"/>
                    </a:lnTo>
                    <a:lnTo>
                      <a:pt x="1256" y="1522"/>
                    </a:lnTo>
                    <a:lnTo>
                      <a:pt x="1254" y="1522"/>
                    </a:lnTo>
                    <a:lnTo>
                      <a:pt x="1256" y="1524"/>
                    </a:lnTo>
                    <a:lnTo>
                      <a:pt x="1254" y="1524"/>
                    </a:lnTo>
                    <a:lnTo>
                      <a:pt x="1254" y="1522"/>
                    </a:lnTo>
                    <a:lnTo>
                      <a:pt x="1253" y="1522"/>
                    </a:lnTo>
                    <a:lnTo>
                      <a:pt x="1253" y="1521"/>
                    </a:lnTo>
                    <a:lnTo>
                      <a:pt x="1251" y="1521"/>
                    </a:lnTo>
                    <a:lnTo>
                      <a:pt x="1251" y="1522"/>
                    </a:lnTo>
                    <a:lnTo>
                      <a:pt x="1251" y="1521"/>
                    </a:lnTo>
                    <a:lnTo>
                      <a:pt x="1249" y="1521"/>
                    </a:lnTo>
                    <a:lnTo>
                      <a:pt x="1247" y="1521"/>
                    </a:lnTo>
                    <a:lnTo>
                      <a:pt x="1247" y="1522"/>
                    </a:lnTo>
                    <a:lnTo>
                      <a:pt x="1247" y="1521"/>
                    </a:lnTo>
                    <a:lnTo>
                      <a:pt x="1246" y="1522"/>
                    </a:lnTo>
                    <a:lnTo>
                      <a:pt x="1244" y="1522"/>
                    </a:lnTo>
                    <a:lnTo>
                      <a:pt x="1246" y="1522"/>
                    </a:lnTo>
                    <a:lnTo>
                      <a:pt x="1247" y="1522"/>
                    </a:lnTo>
                    <a:lnTo>
                      <a:pt x="1249" y="1522"/>
                    </a:lnTo>
                    <a:lnTo>
                      <a:pt x="1251" y="1522"/>
                    </a:lnTo>
                    <a:lnTo>
                      <a:pt x="1253" y="1524"/>
                    </a:lnTo>
                    <a:lnTo>
                      <a:pt x="1253" y="1526"/>
                    </a:lnTo>
                    <a:lnTo>
                      <a:pt x="1254" y="1526"/>
                    </a:lnTo>
                    <a:lnTo>
                      <a:pt x="1256" y="1526"/>
                    </a:lnTo>
                    <a:lnTo>
                      <a:pt x="1256" y="1527"/>
                    </a:lnTo>
                    <a:lnTo>
                      <a:pt x="1258" y="1529"/>
                    </a:lnTo>
                    <a:lnTo>
                      <a:pt x="1256" y="1529"/>
                    </a:lnTo>
                    <a:lnTo>
                      <a:pt x="1254" y="1529"/>
                    </a:lnTo>
                    <a:lnTo>
                      <a:pt x="1253" y="1529"/>
                    </a:lnTo>
                    <a:lnTo>
                      <a:pt x="1251" y="1529"/>
                    </a:lnTo>
                    <a:lnTo>
                      <a:pt x="1251" y="1527"/>
                    </a:lnTo>
                    <a:lnTo>
                      <a:pt x="1251" y="1529"/>
                    </a:lnTo>
                    <a:lnTo>
                      <a:pt x="1253" y="1529"/>
                    </a:lnTo>
                    <a:lnTo>
                      <a:pt x="1253" y="1531"/>
                    </a:lnTo>
                    <a:lnTo>
                      <a:pt x="1251" y="1531"/>
                    </a:lnTo>
                    <a:lnTo>
                      <a:pt x="1249" y="1531"/>
                    </a:lnTo>
                    <a:lnTo>
                      <a:pt x="1249" y="1529"/>
                    </a:lnTo>
                    <a:lnTo>
                      <a:pt x="1249" y="1527"/>
                    </a:lnTo>
                    <a:lnTo>
                      <a:pt x="1249" y="1529"/>
                    </a:lnTo>
                    <a:lnTo>
                      <a:pt x="1247" y="1529"/>
                    </a:lnTo>
                    <a:lnTo>
                      <a:pt x="1246" y="1527"/>
                    </a:lnTo>
                    <a:lnTo>
                      <a:pt x="1246" y="1529"/>
                    </a:lnTo>
                    <a:lnTo>
                      <a:pt x="1247" y="1529"/>
                    </a:lnTo>
                    <a:lnTo>
                      <a:pt x="1249" y="1531"/>
                    </a:lnTo>
                    <a:lnTo>
                      <a:pt x="1247" y="1531"/>
                    </a:lnTo>
                    <a:lnTo>
                      <a:pt x="1246" y="1529"/>
                    </a:lnTo>
                    <a:lnTo>
                      <a:pt x="1244" y="1529"/>
                    </a:lnTo>
                    <a:lnTo>
                      <a:pt x="1242" y="1529"/>
                    </a:lnTo>
                    <a:lnTo>
                      <a:pt x="1244" y="1529"/>
                    </a:lnTo>
                    <a:lnTo>
                      <a:pt x="1246" y="1531"/>
                    </a:lnTo>
                    <a:lnTo>
                      <a:pt x="1247" y="1531"/>
                    </a:lnTo>
                    <a:lnTo>
                      <a:pt x="1247" y="1532"/>
                    </a:lnTo>
                    <a:lnTo>
                      <a:pt x="1249" y="1531"/>
                    </a:lnTo>
                    <a:lnTo>
                      <a:pt x="1249" y="1532"/>
                    </a:lnTo>
                    <a:lnTo>
                      <a:pt x="1247" y="1532"/>
                    </a:lnTo>
                    <a:lnTo>
                      <a:pt x="1249" y="1534"/>
                    </a:lnTo>
                    <a:lnTo>
                      <a:pt x="1247" y="1534"/>
                    </a:lnTo>
                    <a:lnTo>
                      <a:pt x="1246" y="1534"/>
                    </a:lnTo>
                    <a:lnTo>
                      <a:pt x="1246" y="1532"/>
                    </a:lnTo>
                    <a:lnTo>
                      <a:pt x="1246" y="1534"/>
                    </a:lnTo>
                    <a:lnTo>
                      <a:pt x="1246" y="1536"/>
                    </a:lnTo>
                    <a:lnTo>
                      <a:pt x="1246" y="1538"/>
                    </a:lnTo>
                    <a:lnTo>
                      <a:pt x="1246" y="1539"/>
                    </a:lnTo>
                    <a:lnTo>
                      <a:pt x="1244" y="1539"/>
                    </a:lnTo>
                    <a:lnTo>
                      <a:pt x="1242" y="1539"/>
                    </a:lnTo>
                    <a:lnTo>
                      <a:pt x="1242" y="1538"/>
                    </a:lnTo>
                    <a:lnTo>
                      <a:pt x="1241" y="1538"/>
                    </a:lnTo>
                    <a:lnTo>
                      <a:pt x="1242" y="1538"/>
                    </a:lnTo>
                    <a:lnTo>
                      <a:pt x="1242" y="1539"/>
                    </a:lnTo>
                    <a:lnTo>
                      <a:pt x="1244" y="1539"/>
                    </a:lnTo>
                    <a:lnTo>
                      <a:pt x="1244" y="1541"/>
                    </a:lnTo>
                    <a:lnTo>
                      <a:pt x="1242" y="1543"/>
                    </a:lnTo>
                    <a:lnTo>
                      <a:pt x="1244" y="1541"/>
                    </a:lnTo>
                    <a:lnTo>
                      <a:pt x="1246" y="1539"/>
                    </a:lnTo>
                    <a:lnTo>
                      <a:pt x="1246" y="1541"/>
                    </a:lnTo>
                    <a:lnTo>
                      <a:pt x="1247" y="1541"/>
                    </a:lnTo>
                    <a:lnTo>
                      <a:pt x="1247" y="1543"/>
                    </a:lnTo>
                    <a:lnTo>
                      <a:pt x="1249" y="1544"/>
                    </a:lnTo>
                    <a:lnTo>
                      <a:pt x="1249" y="1546"/>
                    </a:lnTo>
                    <a:lnTo>
                      <a:pt x="1251" y="1546"/>
                    </a:lnTo>
                    <a:lnTo>
                      <a:pt x="1251" y="1548"/>
                    </a:lnTo>
                    <a:lnTo>
                      <a:pt x="1249" y="1548"/>
                    </a:lnTo>
                    <a:lnTo>
                      <a:pt x="1247" y="1548"/>
                    </a:lnTo>
                    <a:lnTo>
                      <a:pt x="1246" y="1548"/>
                    </a:lnTo>
                    <a:lnTo>
                      <a:pt x="1244" y="1548"/>
                    </a:lnTo>
                    <a:lnTo>
                      <a:pt x="1246" y="1548"/>
                    </a:lnTo>
                    <a:lnTo>
                      <a:pt x="1246" y="1546"/>
                    </a:lnTo>
                    <a:lnTo>
                      <a:pt x="1244" y="1546"/>
                    </a:lnTo>
                    <a:lnTo>
                      <a:pt x="1242" y="1546"/>
                    </a:lnTo>
                    <a:lnTo>
                      <a:pt x="1242" y="1544"/>
                    </a:lnTo>
                    <a:lnTo>
                      <a:pt x="1244" y="1544"/>
                    </a:lnTo>
                    <a:lnTo>
                      <a:pt x="1242" y="1543"/>
                    </a:lnTo>
                    <a:lnTo>
                      <a:pt x="1242" y="1544"/>
                    </a:lnTo>
                    <a:lnTo>
                      <a:pt x="1241" y="1544"/>
                    </a:lnTo>
                    <a:lnTo>
                      <a:pt x="1239" y="1543"/>
                    </a:lnTo>
                    <a:lnTo>
                      <a:pt x="1237" y="1541"/>
                    </a:lnTo>
                    <a:lnTo>
                      <a:pt x="1237" y="1539"/>
                    </a:lnTo>
                    <a:lnTo>
                      <a:pt x="1237" y="1541"/>
                    </a:lnTo>
                    <a:lnTo>
                      <a:pt x="1237" y="1543"/>
                    </a:lnTo>
                    <a:lnTo>
                      <a:pt x="1236" y="1541"/>
                    </a:lnTo>
                    <a:lnTo>
                      <a:pt x="1237" y="1539"/>
                    </a:lnTo>
                    <a:lnTo>
                      <a:pt x="1236" y="1539"/>
                    </a:lnTo>
                    <a:lnTo>
                      <a:pt x="1234" y="1539"/>
                    </a:lnTo>
                    <a:lnTo>
                      <a:pt x="1232" y="1539"/>
                    </a:lnTo>
                    <a:lnTo>
                      <a:pt x="1234" y="1538"/>
                    </a:lnTo>
                    <a:lnTo>
                      <a:pt x="1232" y="1538"/>
                    </a:lnTo>
                    <a:lnTo>
                      <a:pt x="1230" y="1538"/>
                    </a:lnTo>
                    <a:lnTo>
                      <a:pt x="1230" y="1536"/>
                    </a:lnTo>
                    <a:lnTo>
                      <a:pt x="1230" y="1534"/>
                    </a:lnTo>
                    <a:lnTo>
                      <a:pt x="1229" y="1534"/>
                    </a:lnTo>
                    <a:lnTo>
                      <a:pt x="1229" y="1532"/>
                    </a:lnTo>
                    <a:lnTo>
                      <a:pt x="1229" y="1534"/>
                    </a:lnTo>
                    <a:lnTo>
                      <a:pt x="1227" y="1534"/>
                    </a:lnTo>
                    <a:lnTo>
                      <a:pt x="1227" y="1532"/>
                    </a:lnTo>
                    <a:lnTo>
                      <a:pt x="1225" y="1534"/>
                    </a:lnTo>
                    <a:lnTo>
                      <a:pt x="1225" y="1532"/>
                    </a:lnTo>
                    <a:lnTo>
                      <a:pt x="1224" y="1532"/>
                    </a:lnTo>
                    <a:lnTo>
                      <a:pt x="1225" y="1531"/>
                    </a:lnTo>
                    <a:lnTo>
                      <a:pt x="1224" y="1532"/>
                    </a:lnTo>
                    <a:lnTo>
                      <a:pt x="1222" y="1531"/>
                    </a:lnTo>
                    <a:lnTo>
                      <a:pt x="1222" y="1529"/>
                    </a:lnTo>
                    <a:lnTo>
                      <a:pt x="1222" y="1531"/>
                    </a:lnTo>
                    <a:lnTo>
                      <a:pt x="1224" y="1529"/>
                    </a:lnTo>
                    <a:lnTo>
                      <a:pt x="1222" y="1529"/>
                    </a:lnTo>
                    <a:lnTo>
                      <a:pt x="1222" y="1527"/>
                    </a:lnTo>
                    <a:lnTo>
                      <a:pt x="1220" y="1527"/>
                    </a:lnTo>
                    <a:lnTo>
                      <a:pt x="1220" y="1526"/>
                    </a:lnTo>
                    <a:lnTo>
                      <a:pt x="1222" y="1527"/>
                    </a:lnTo>
                    <a:lnTo>
                      <a:pt x="1224" y="1527"/>
                    </a:lnTo>
                    <a:lnTo>
                      <a:pt x="1225" y="1527"/>
                    </a:lnTo>
                    <a:lnTo>
                      <a:pt x="1225" y="1529"/>
                    </a:lnTo>
                    <a:lnTo>
                      <a:pt x="1225" y="1527"/>
                    </a:lnTo>
                    <a:lnTo>
                      <a:pt x="1227" y="1527"/>
                    </a:lnTo>
                    <a:lnTo>
                      <a:pt x="1229" y="1527"/>
                    </a:lnTo>
                    <a:lnTo>
                      <a:pt x="1229" y="1529"/>
                    </a:lnTo>
                    <a:lnTo>
                      <a:pt x="1229" y="1527"/>
                    </a:lnTo>
                    <a:lnTo>
                      <a:pt x="1230" y="1527"/>
                    </a:lnTo>
                    <a:lnTo>
                      <a:pt x="1230" y="1529"/>
                    </a:lnTo>
                    <a:lnTo>
                      <a:pt x="1232" y="1527"/>
                    </a:lnTo>
                    <a:lnTo>
                      <a:pt x="1230" y="1527"/>
                    </a:lnTo>
                    <a:lnTo>
                      <a:pt x="1232" y="1527"/>
                    </a:lnTo>
                    <a:lnTo>
                      <a:pt x="1230" y="1527"/>
                    </a:lnTo>
                    <a:lnTo>
                      <a:pt x="1232" y="1527"/>
                    </a:lnTo>
                    <a:lnTo>
                      <a:pt x="1234" y="1527"/>
                    </a:lnTo>
                    <a:lnTo>
                      <a:pt x="1232" y="1529"/>
                    </a:lnTo>
                    <a:lnTo>
                      <a:pt x="1234" y="1529"/>
                    </a:lnTo>
                    <a:lnTo>
                      <a:pt x="1236" y="1529"/>
                    </a:lnTo>
                    <a:lnTo>
                      <a:pt x="1236" y="1531"/>
                    </a:lnTo>
                    <a:lnTo>
                      <a:pt x="1236" y="1529"/>
                    </a:lnTo>
                    <a:lnTo>
                      <a:pt x="1237" y="1531"/>
                    </a:lnTo>
                    <a:lnTo>
                      <a:pt x="1239" y="1531"/>
                    </a:lnTo>
                    <a:lnTo>
                      <a:pt x="1239" y="1532"/>
                    </a:lnTo>
                    <a:lnTo>
                      <a:pt x="1237" y="1532"/>
                    </a:lnTo>
                    <a:lnTo>
                      <a:pt x="1239" y="1532"/>
                    </a:lnTo>
                    <a:lnTo>
                      <a:pt x="1237" y="1534"/>
                    </a:lnTo>
                    <a:lnTo>
                      <a:pt x="1239" y="1534"/>
                    </a:lnTo>
                    <a:lnTo>
                      <a:pt x="1237" y="1534"/>
                    </a:lnTo>
                    <a:lnTo>
                      <a:pt x="1239" y="1534"/>
                    </a:lnTo>
                    <a:lnTo>
                      <a:pt x="1239" y="1532"/>
                    </a:lnTo>
                    <a:lnTo>
                      <a:pt x="1241" y="1532"/>
                    </a:lnTo>
                    <a:lnTo>
                      <a:pt x="1239" y="1531"/>
                    </a:lnTo>
                    <a:lnTo>
                      <a:pt x="1237" y="1531"/>
                    </a:lnTo>
                    <a:lnTo>
                      <a:pt x="1237" y="1529"/>
                    </a:lnTo>
                    <a:lnTo>
                      <a:pt x="1236" y="1529"/>
                    </a:lnTo>
                    <a:lnTo>
                      <a:pt x="1236" y="1527"/>
                    </a:lnTo>
                    <a:lnTo>
                      <a:pt x="1236" y="1529"/>
                    </a:lnTo>
                    <a:lnTo>
                      <a:pt x="1236" y="1527"/>
                    </a:lnTo>
                    <a:lnTo>
                      <a:pt x="1237" y="1527"/>
                    </a:lnTo>
                    <a:lnTo>
                      <a:pt x="1239" y="1529"/>
                    </a:lnTo>
                    <a:lnTo>
                      <a:pt x="1239" y="1527"/>
                    </a:lnTo>
                    <a:lnTo>
                      <a:pt x="1237" y="1527"/>
                    </a:lnTo>
                    <a:lnTo>
                      <a:pt x="1237" y="1526"/>
                    </a:lnTo>
                    <a:lnTo>
                      <a:pt x="1239" y="1526"/>
                    </a:lnTo>
                    <a:lnTo>
                      <a:pt x="1241" y="1527"/>
                    </a:lnTo>
                    <a:lnTo>
                      <a:pt x="1239" y="1526"/>
                    </a:lnTo>
                    <a:lnTo>
                      <a:pt x="1241" y="1526"/>
                    </a:lnTo>
                    <a:lnTo>
                      <a:pt x="1241" y="1527"/>
                    </a:lnTo>
                    <a:lnTo>
                      <a:pt x="1241" y="1526"/>
                    </a:lnTo>
                    <a:lnTo>
                      <a:pt x="1239" y="1526"/>
                    </a:lnTo>
                    <a:lnTo>
                      <a:pt x="1241" y="1526"/>
                    </a:lnTo>
                    <a:lnTo>
                      <a:pt x="1239" y="1526"/>
                    </a:lnTo>
                    <a:lnTo>
                      <a:pt x="1239" y="1524"/>
                    </a:lnTo>
                    <a:lnTo>
                      <a:pt x="1239" y="1526"/>
                    </a:lnTo>
                    <a:lnTo>
                      <a:pt x="1237" y="1526"/>
                    </a:lnTo>
                    <a:lnTo>
                      <a:pt x="1237" y="1524"/>
                    </a:lnTo>
                    <a:lnTo>
                      <a:pt x="1236" y="1526"/>
                    </a:lnTo>
                    <a:lnTo>
                      <a:pt x="1234" y="1526"/>
                    </a:lnTo>
                    <a:lnTo>
                      <a:pt x="1232" y="1524"/>
                    </a:lnTo>
                    <a:lnTo>
                      <a:pt x="1230" y="1524"/>
                    </a:lnTo>
                    <a:lnTo>
                      <a:pt x="1232" y="1522"/>
                    </a:lnTo>
                    <a:lnTo>
                      <a:pt x="1232" y="1524"/>
                    </a:lnTo>
                    <a:lnTo>
                      <a:pt x="1232" y="1522"/>
                    </a:lnTo>
                    <a:lnTo>
                      <a:pt x="1234" y="1522"/>
                    </a:lnTo>
                    <a:lnTo>
                      <a:pt x="1234" y="1521"/>
                    </a:lnTo>
                    <a:lnTo>
                      <a:pt x="1236" y="1521"/>
                    </a:lnTo>
                    <a:lnTo>
                      <a:pt x="1236" y="1519"/>
                    </a:lnTo>
                    <a:lnTo>
                      <a:pt x="1234" y="1519"/>
                    </a:lnTo>
                    <a:lnTo>
                      <a:pt x="1234" y="1521"/>
                    </a:lnTo>
                    <a:lnTo>
                      <a:pt x="1232" y="1521"/>
                    </a:lnTo>
                    <a:lnTo>
                      <a:pt x="1232" y="1519"/>
                    </a:lnTo>
                    <a:lnTo>
                      <a:pt x="1232" y="1517"/>
                    </a:lnTo>
                    <a:lnTo>
                      <a:pt x="1232" y="1515"/>
                    </a:lnTo>
                    <a:lnTo>
                      <a:pt x="1230" y="1514"/>
                    </a:lnTo>
                    <a:lnTo>
                      <a:pt x="1232" y="1514"/>
                    </a:lnTo>
                    <a:lnTo>
                      <a:pt x="1232" y="1512"/>
                    </a:lnTo>
                    <a:lnTo>
                      <a:pt x="1234" y="1512"/>
                    </a:lnTo>
                    <a:lnTo>
                      <a:pt x="1232" y="1512"/>
                    </a:lnTo>
                    <a:lnTo>
                      <a:pt x="1232" y="1510"/>
                    </a:lnTo>
                    <a:lnTo>
                      <a:pt x="1230" y="1510"/>
                    </a:lnTo>
                    <a:lnTo>
                      <a:pt x="1230" y="1509"/>
                    </a:lnTo>
                    <a:lnTo>
                      <a:pt x="1232" y="1509"/>
                    </a:lnTo>
                    <a:lnTo>
                      <a:pt x="1234" y="1509"/>
                    </a:lnTo>
                    <a:lnTo>
                      <a:pt x="1236" y="1507"/>
                    </a:lnTo>
                    <a:lnTo>
                      <a:pt x="1236" y="1505"/>
                    </a:lnTo>
                    <a:lnTo>
                      <a:pt x="1237" y="1505"/>
                    </a:lnTo>
                    <a:lnTo>
                      <a:pt x="1237" y="1507"/>
                    </a:lnTo>
                    <a:lnTo>
                      <a:pt x="1236" y="1507"/>
                    </a:lnTo>
                    <a:lnTo>
                      <a:pt x="1237" y="1507"/>
                    </a:lnTo>
                    <a:lnTo>
                      <a:pt x="1239" y="1505"/>
                    </a:lnTo>
                    <a:lnTo>
                      <a:pt x="1239" y="1504"/>
                    </a:lnTo>
                    <a:lnTo>
                      <a:pt x="1241" y="1502"/>
                    </a:lnTo>
                    <a:lnTo>
                      <a:pt x="1242" y="1502"/>
                    </a:lnTo>
                    <a:lnTo>
                      <a:pt x="1242" y="1504"/>
                    </a:lnTo>
                    <a:lnTo>
                      <a:pt x="1244" y="1505"/>
                    </a:lnTo>
                    <a:lnTo>
                      <a:pt x="1242" y="1505"/>
                    </a:lnTo>
                    <a:lnTo>
                      <a:pt x="1242" y="1507"/>
                    </a:lnTo>
                    <a:lnTo>
                      <a:pt x="1241" y="1509"/>
                    </a:lnTo>
                    <a:lnTo>
                      <a:pt x="1239" y="1510"/>
                    </a:lnTo>
                    <a:lnTo>
                      <a:pt x="1239" y="1512"/>
                    </a:lnTo>
                    <a:lnTo>
                      <a:pt x="1241" y="1512"/>
                    </a:lnTo>
                    <a:lnTo>
                      <a:pt x="1241" y="1510"/>
                    </a:lnTo>
                    <a:lnTo>
                      <a:pt x="1241" y="1509"/>
                    </a:lnTo>
                    <a:lnTo>
                      <a:pt x="1242" y="1509"/>
                    </a:lnTo>
                    <a:lnTo>
                      <a:pt x="1242" y="1507"/>
                    </a:lnTo>
                    <a:lnTo>
                      <a:pt x="1244" y="1507"/>
                    </a:lnTo>
                    <a:lnTo>
                      <a:pt x="1246" y="1507"/>
                    </a:lnTo>
                    <a:lnTo>
                      <a:pt x="1244" y="1509"/>
                    </a:lnTo>
                    <a:lnTo>
                      <a:pt x="1242" y="1509"/>
                    </a:lnTo>
                    <a:lnTo>
                      <a:pt x="1242" y="1510"/>
                    </a:lnTo>
                    <a:lnTo>
                      <a:pt x="1244" y="1509"/>
                    </a:lnTo>
                    <a:lnTo>
                      <a:pt x="1246" y="1507"/>
                    </a:lnTo>
                    <a:lnTo>
                      <a:pt x="1246" y="1509"/>
                    </a:lnTo>
                    <a:lnTo>
                      <a:pt x="1244" y="1509"/>
                    </a:lnTo>
                    <a:lnTo>
                      <a:pt x="1244" y="1510"/>
                    </a:lnTo>
                    <a:lnTo>
                      <a:pt x="1244" y="1509"/>
                    </a:lnTo>
                    <a:lnTo>
                      <a:pt x="1246" y="1509"/>
                    </a:lnTo>
                    <a:lnTo>
                      <a:pt x="1247" y="1507"/>
                    </a:lnTo>
                    <a:lnTo>
                      <a:pt x="1247" y="1509"/>
                    </a:lnTo>
                    <a:lnTo>
                      <a:pt x="1247" y="1507"/>
                    </a:lnTo>
                    <a:lnTo>
                      <a:pt x="1247" y="1509"/>
                    </a:lnTo>
                    <a:lnTo>
                      <a:pt x="1249" y="1510"/>
                    </a:lnTo>
                    <a:lnTo>
                      <a:pt x="1249" y="1509"/>
                    </a:lnTo>
                    <a:lnTo>
                      <a:pt x="1249" y="1507"/>
                    </a:lnTo>
                    <a:lnTo>
                      <a:pt x="1251" y="1507"/>
                    </a:lnTo>
                    <a:lnTo>
                      <a:pt x="1251" y="1505"/>
                    </a:lnTo>
                    <a:lnTo>
                      <a:pt x="1253" y="1505"/>
                    </a:lnTo>
                    <a:lnTo>
                      <a:pt x="1254" y="1504"/>
                    </a:lnTo>
                    <a:lnTo>
                      <a:pt x="1254" y="1502"/>
                    </a:lnTo>
                    <a:lnTo>
                      <a:pt x="1256" y="1502"/>
                    </a:lnTo>
                    <a:lnTo>
                      <a:pt x="1258" y="1500"/>
                    </a:lnTo>
                    <a:lnTo>
                      <a:pt x="1258" y="1498"/>
                    </a:lnTo>
                    <a:lnTo>
                      <a:pt x="1259" y="1498"/>
                    </a:lnTo>
                    <a:lnTo>
                      <a:pt x="1261" y="1498"/>
                    </a:lnTo>
                    <a:lnTo>
                      <a:pt x="1263" y="1500"/>
                    </a:lnTo>
                    <a:lnTo>
                      <a:pt x="1263" y="1498"/>
                    </a:lnTo>
                    <a:lnTo>
                      <a:pt x="1264" y="1497"/>
                    </a:lnTo>
                    <a:lnTo>
                      <a:pt x="1264" y="1498"/>
                    </a:lnTo>
                    <a:close/>
                    <a:moveTo>
                      <a:pt x="1382" y="1628"/>
                    </a:moveTo>
                    <a:lnTo>
                      <a:pt x="1383" y="1629"/>
                    </a:lnTo>
                    <a:lnTo>
                      <a:pt x="1385" y="1629"/>
                    </a:lnTo>
                    <a:lnTo>
                      <a:pt x="1385" y="1631"/>
                    </a:lnTo>
                    <a:lnTo>
                      <a:pt x="1387" y="1631"/>
                    </a:lnTo>
                    <a:lnTo>
                      <a:pt x="1387" y="1633"/>
                    </a:lnTo>
                    <a:lnTo>
                      <a:pt x="1389" y="1635"/>
                    </a:lnTo>
                    <a:lnTo>
                      <a:pt x="1389" y="1636"/>
                    </a:lnTo>
                    <a:lnTo>
                      <a:pt x="1387" y="1636"/>
                    </a:lnTo>
                    <a:lnTo>
                      <a:pt x="1385" y="1636"/>
                    </a:lnTo>
                    <a:lnTo>
                      <a:pt x="1385" y="1635"/>
                    </a:lnTo>
                    <a:lnTo>
                      <a:pt x="1383" y="1635"/>
                    </a:lnTo>
                    <a:lnTo>
                      <a:pt x="1385" y="1636"/>
                    </a:lnTo>
                    <a:lnTo>
                      <a:pt x="1385" y="1638"/>
                    </a:lnTo>
                    <a:lnTo>
                      <a:pt x="1383" y="1640"/>
                    </a:lnTo>
                    <a:lnTo>
                      <a:pt x="1382" y="1640"/>
                    </a:lnTo>
                    <a:lnTo>
                      <a:pt x="1380" y="1638"/>
                    </a:lnTo>
                    <a:lnTo>
                      <a:pt x="1378" y="1638"/>
                    </a:lnTo>
                    <a:lnTo>
                      <a:pt x="1380" y="1638"/>
                    </a:lnTo>
                    <a:lnTo>
                      <a:pt x="1380" y="1640"/>
                    </a:lnTo>
                    <a:lnTo>
                      <a:pt x="1380" y="1641"/>
                    </a:lnTo>
                    <a:lnTo>
                      <a:pt x="1378" y="1641"/>
                    </a:lnTo>
                    <a:lnTo>
                      <a:pt x="1377" y="1641"/>
                    </a:lnTo>
                    <a:lnTo>
                      <a:pt x="1375" y="1641"/>
                    </a:lnTo>
                    <a:lnTo>
                      <a:pt x="1373" y="1641"/>
                    </a:lnTo>
                    <a:lnTo>
                      <a:pt x="1373" y="1640"/>
                    </a:lnTo>
                    <a:lnTo>
                      <a:pt x="1372" y="1640"/>
                    </a:lnTo>
                    <a:lnTo>
                      <a:pt x="1370" y="1640"/>
                    </a:lnTo>
                    <a:lnTo>
                      <a:pt x="1370" y="1638"/>
                    </a:lnTo>
                    <a:lnTo>
                      <a:pt x="1368" y="1638"/>
                    </a:lnTo>
                    <a:lnTo>
                      <a:pt x="1368" y="1636"/>
                    </a:lnTo>
                    <a:lnTo>
                      <a:pt x="1366" y="1636"/>
                    </a:lnTo>
                    <a:lnTo>
                      <a:pt x="1365" y="1635"/>
                    </a:lnTo>
                    <a:lnTo>
                      <a:pt x="1363" y="1636"/>
                    </a:lnTo>
                    <a:lnTo>
                      <a:pt x="1365" y="1636"/>
                    </a:lnTo>
                    <a:lnTo>
                      <a:pt x="1366" y="1636"/>
                    </a:lnTo>
                    <a:lnTo>
                      <a:pt x="1366" y="1638"/>
                    </a:lnTo>
                    <a:lnTo>
                      <a:pt x="1366" y="1640"/>
                    </a:lnTo>
                    <a:lnTo>
                      <a:pt x="1368" y="1640"/>
                    </a:lnTo>
                    <a:lnTo>
                      <a:pt x="1370" y="1640"/>
                    </a:lnTo>
                    <a:lnTo>
                      <a:pt x="1370" y="1641"/>
                    </a:lnTo>
                    <a:lnTo>
                      <a:pt x="1372" y="1641"/>
                    </a:lnTo>
                    <a:lnTo>
                      <a:pt x="1372" y="1643"/>
                    </a:lnTo>
                    <a:lnTo>
                      <a:pt x="1372" y="1641"/>
                    </a:lnTo>
                    <a:lnTo>
                      <a:pt x="1372" y="1643"/>
                    </a:lnTo>
                    <a:lnTo>
                      <a:pt x="1373" y="1643"/>
                    </a:lnTo>
                    <a:lnTo>
                      <a:pt x="1375" y="1643"/>
                    </a:lnTo>
                    <a:lnTo>
                      <a:pt x="1375" y="1641"/>
                    </a:lnTo>
                    <a:lnTo>
                      <a:pt x="1377" y="1643"/>
                    </a:lnTo>
                    <a:lnTo>
                      <a:pt x="1378" y="1643"/>
                    </a:lnTo>
                    <a:lnTo>
                      <a:pt x="1380" y="1643"/>
                    </a:lnTo>
                    <a:lnTo>
                      <a:pt x="1382" y="1643"/>
                    </a:lnTo>
                    <a:lnTo>
                      <a:pt x="1383" y="1643"/>
                    </a:lnTo>
                    <a:lnTo>
                      <a:pt x="1385" y="1643"/>
                    </a:lnTo>
                    <a:lnTo>
                      <a:pt x="1387" y="1643"/>
                    </a:lnTo>
                    <a:lnTo>
                      <a:pt x="1387" y="1645"/>
                    </a:lnTo>
                    <a:lnTo>
                      <a:pt x="1389" y="1645"/>
                    </a:lnTo>
                    <a:lnTo>
                      <a:pt x="1390" y="1645"/>
                    </a:lnTo>
                    <a:lnTo>
                      <a:pt x="1390" y="1646"/>
                    </a:lnTo>
                    <a:lnTo>
                      <a:pt x="1389" y="1646"/>
                    </a:lnTo>
                    <a:lnTo>
                      <a:pt x="1387" y="1646"/>
                    </a:lnTo>
                    <a:lnTo>
                      <a:pt x="1389" y="1646"/>
                    </a:lnTo>
                    <a:lnTo>
                      <a:pt x="1390" y="1646"/>
                    </a:lnTo>
                    <a:lnTo>
                      <a:pt x="1392" y="1648"/>
                    </a:lnTo>
                    <a:lnTo>
                      <a:pt x="1394" y="1648"/>
                    </a:lnTo>
                    <a:lnTo>
                      <a:pt x="1394" y="1650"/>
                    </a:lnTo>
                    <a:lnTo>
                      <a:pt x="1392" y="1650"/>
                    </a:lnTo>
                    <a:lnTo>
                      <a:pt x="1390" y="1650"/>
                    </a:lnTo>
                    <a:lnTo>
                      <a:pt x="1389" y="1650"/>
                    </a:lnTo>
                    <a:lnTo>
                      <a:pt x="1387" y="1650"/>
                    </a:lnTo>
                    <a:lnTo>
                      <a:pt x="1385" y="1650"/>
                    </a:lnTo>
                    <a:lnTo>
                      <a:pt x="1383" y="1650"/>
                    </a:lnTo>
                    <a:lnTo>
                      <a:pt x="1382" y="1650"/>
                    </a:lnTo>
                    <a:lnTo>
                      <a:pt x="1383" y="1650"/>
                    </a:lnTo>
                    <a:lnTo>
                      <a:pt x="1383" y="1652"/>
                    </a:lnTo>
                    <a:lnTo>
                      <a:pt x="1382" y="1652"/>
                    </a:lnTo>
                    <a:lnTo>
                      <a:pt x="1380" y="1652"/>
                    </a:lnTo>
                    <a:lnTo>
                      <a:pt x="1378" y="1650"/>
                    </a:lnTo>
                    <a:lnTo>
                      <a:pt x="1378" y="1648"/>
                    </a:lnTo>
                    <a:lnTo>
                      <a:pt x="1377" y="1648"/>
                    </a:lnTo>
                    <a:lnTo>
                      <a:pt x="1375" y="1648"/>
                    </a:lnTo>
                    <a:lnTo>
                      <a:pt x="1377" y="1648"/>
                    </a:lnTo>
                    <a:lnTo>
                      <a:pt x="1378" y="1650"/>
                    </a:lnTo>
                    <a:lnTo>
                      <a:pt x="1377" y="1650"/>
                    </a:lnTo>
                    <a:lnTo>
                      <a:pt x="1378" y="1650"/>
                    </a:lnTo>
                    <a:lnTo>
                      <a:pt x="1378" y="1652"/>
                    </a:lnTo>
                    <a:lnTo>
                      <a:pt x="1378" y="1653"/>
                    </a:lnTo>
                    <a:lnTo>
                      <a:pt x="1380" y="1652"/>
                    </a:lnTo>
                    <a:lnTo>
                      <a:pt x="1382" y="1652"/>
                    </a:lnTo>
                    <a:lnTo>
                      <a:pt x="1380" y="1653"/>
                    </a:lnTo>
                    <a:lnTo>
                      <a:pt x="1380" y="1655"/>
                    </a:lnTo>
                    <a:lnTo>
                      <a:pt x="1382" y="1653"/>
                    </a:lnTo>
                    <a:lnTo>
                      <a:pt x="1383" y="1653"/>
                    </a:lnTo>
                    <a:lnTo>
                      <a:pt x="1385" y="1653"/>
                    </a:lnTo>
                    <a:lnTo>
                      <a:pt x="1387" y="1653"/>
                    </a:lnTo>
                    <a:lnTo>
                      <a:pt x="1389" y="1653"/>
                    </a:lnTo>
                    <a:lnTo>
                      <a:pt x="1389" y="1655"/>
                    </a:lnTo>
                    <a:lnTo>
                      <a:pt x="1390" y="1655"/>
                    </a:lnTo>
                    <a:lnTo>
                      <a:pt x="1389" y="1655"/>
                    </a:lnTo>
                    <a:lnTo>
                      <a:pt x="1389" y="1657"/>
                    </a:lnTo>
                    <a:lnTo>
                      <a:pt x="1390" y="1655"/>
                    </a:lnTo>
                    <a:lnTo>
                      <a:pt x="1392" y="1657"/>
                    </a:lnTo>
                    <a:lnTo>
                      <a:pt x="1392" y="1655"/>
                    </a:lnTo>
                    <a:lnTo>
                      <a:pt x="1394" y="1655"/>
                    </a:lnTo>
                    <a:lnTo>
                      <a:pt x="1395" y="1657"/>
                    </a:lnTo>
                    <a:lnTo>
                      <a:pt x="1394" y="1658"/>
                    </a:lnTo>
                    <a:lnTo>
                      <a:pt x="1394" y="1660"/>
                    </a:lnTo>
                    <a:lnTo>
                      <a:pt x="1395" y="1660"/>
                    </a:lnTo>
                    <a:lnTo>
                      <a:pt x="1397" y="1660"/>
                    </a:lnTo>
                    <a:lnTo>
                      <a:pt x="1399" y="1660"/>
                    </a:lnTo>
                    <a:lnTo>
                      <a:pt x="1397" y="1662"/>
                    </a:lnTo>
                    <a:lnTo>
                      <a:pt x="1395" y="1663"/>
                    </a:lnTo>
                    <a:lnTo>
                      <a:pt x="1397" y="1663"/>
                    </a:lnTo>
                    <a:lnTo>
                      <a:pt x="1397" y="1665"/>
                    </a:lnTo>
                    <a:lnTo>
                      <a:pt x="1397" y="1667"/>
                    </a:lnTo>
                    <a:lnTo>
                      <a:pt x="1399" y="1667"/>
                    </a:lnTo>
                    <a:lnTo>
                      <a:pt x="1399" y="1669"/>
                    </a:lnTo>
                    <a:lnTo>
                      <a:pt x="1399" y="1670"/>
                    </a:lnTo>
                    <a:lnTo>
                      <a:pt x="1397" y="1670"/>
                    </a:lnTo>
                    <a:lnTo>
                      <a:pt x="1399" y="1672"/>
                    </a:lnTo>
                    <a:lnTo>
                      <a:pt x="1397" y="1674"/>
                    </a:lnTo>
                    <a:lnTo>
                      <a:pt x="1397" y="1675"/>
                    </a:lnTo>
                    <a:lnTo>
                      <a:pt x="1395" y="1674"/>
                    </a:lnTo>
                    <a:lnTo>
                      <a:pt x="1395" y="1672"/>
                    </a:lnTo>
                    <a:lnTo>
                      <a:pt x="1394" y="1672"/>
                    </a:lnTo>
                    <a:lnTo>
                      <a:pt x="1395" y="1670"/>
                    </a:lnTo>
                    <a:lnTo>
                      <a:pt x="1394" y="1670"/>
                    </a:lnTo>
                    <a:lnTo>
                      <a:pt x="1394" y="1669"/>
                    </a:lnTo>
                    <a:lnTo>
                      <a:pt x="1394" y="1667"/>
                    </a:lnTo>
                    <a:lnTo>
                      <a:pt x="1394" y="1669"/>
                    </a:lnTo>
                    <a:lnTo>
                      <a:pt x="1392" y="1669"/>
                    </a:lnTo>
                    <a:lnTo>
                      <a:pt x="1392" y="1670"/>
                    </a:lnTo>
                    <a:lnTo>
                      <a:pt x="1392" y="1669"/>
                    </a:lnTo>
                    <a:lnTo>
                      <a:pt x="1390" y="1670"/>
                    </a:lnTo>
                    <a:lnTo>
                      <a:pt x="1389" y="1669"/>
                    </a:lnTo>
                    <a:lnTo>
                      <a:pt x="1390" y="1667"/>
                    </a:lnTo>
                    <a:lnTo>
                      <a:pt x="1390" y="1665"/>
                    </a:lnTo>
                    <a:lnTo>
                      <a:pt x="1392" y="1665"/>
                    </a:lnTo>
                    <a:lnTo>
                      <a:pt x="1392" y="1663"/>
                    </a:lnTo>
                    <a:lnTo>
                      <a:pt x="1390" y="1663"/>
                    </a:lnTo>
                    <a:lnTo>
                      <a:pt x="1389" y="1663"/>
                    </a:lnTo>
                    <a:lnTo>
                      <a:pt x="1389" y="1662"/>
                    </a:lnTo>
                    <a:lnTo>
                      <a:pt x="1389" y="1660"/>
                    </a:lnTo>
                    <a:lnTo>
                      <a:pt x="1387" y="1662"/>
                    </a:lnTo>
                    <a:lnTo>
                      <a:pt x="1389" y="1660"/>
                    </a:lnTo>
                    <a:lnTo>
                      <a:pt x="1387" y="1660"/>
                    </a:lnTo>
                    <a:lnTo>
                      <a:pt x="1387" y="1662"/>
                    </a:lnTo>
                    <a:lnTo>
                      <a:pt x="1385" y="1662"/>
                    </a:lnTo>
                    <a:lnTo>
                      <a:pt x="1383" y="1660"/>
                    </a:lnTo>
                    <a:lnTo>
                      <a:pt x="1383" y="1662"/>
                    </a:lnTo>
                    <a:lnTo>
                      <a:pt x="1382" y="1660"/>
                    </a:lnTo>
                    <a:lnTo>
                      <a:pt x="1380" y="1660"/>
                    </a:lnTo>
                    <a:lnTo>
                      <a:pt x="1382" y="1658"/>
                    </a:lnTo>
                    <a:lnTo>
                      <a:pt x="1382" y="1657"/>
                    </a:lnTo>
                    <a:lnTo>
                      <a:pt x="1380" y="1657"/>
                    </a:lnTo>
                    <a:lnTo>
                      <a:pt x="1380" y="1658"/>
                    </a:lnTo>
                    <a:lnTo>
                      <a:pt x="1380" y="1657"/>
                    </a:lnTo>
                    <a:lnTo>
                      <a:pt x="1378" y="1657"/>
                    </a:lnTo>
                    <a:lnTo>
                      <a:pt x="1380" y="1658"/>
                    </a:lnTo>
                    <a:lnTo>
                      <a:pt x="1378" y="1658"/>
                    </a:lnTo>
                    <a:lnTo>
                      <a:pt x="1380" y="1660"/>
                    </a:lnTo>
                    <a:lnTo>
                      <a:pt x="1378" y="1658"/>
                    </a:lnTo>
                    <a:lnTo>
                      <a:pt x="1378" y="1660"/>
                    </a:lnTo>
                    <a:lnTo>
                      <a:pt x="1377" y="1660"/>
                    </a:lnTo>
                    <a:lnTo>
                      <a:pt x="1375" y="1660"/>
                    </a:lnTo>
                    <a:lnTo>
                      <a:pt x="1375" y="1658"/>
                    </a:lnTo>
                    <a:lnTo>
                      <a:pt x="1373" y="1658"/>
                    </a:lnTo>
                    <a:lnTo>
                      <a:pt x="1373" y="1660"/>
                    </a:lnTo>
                    <a:lnTo>
                      <a:pt x="1372" y="1660"/>
                    </a:lnTo>
                    <a:lnTo>
                      <a:pt x="1373" y="1660"/>
                    </a:lnTo>
                    <a:lnTo>
                      <a:pt x="1375" y="1662"/>
                    </a:lnTo>
                    <a:lnTo>
                      <a:pt x="1373" y="1662"/>
                    </a:lnTo>
                    <a:lnTo>
                      <a:pt x="1373" y="1663"/>
                    </a:lnTo>
                    <a:lnTo>
                      <a:pt x="1372" y="1662"/>
                    </a:lnTo>
                    <a:lnTo>
                      <a:pt x="1370" y="1662"/>
                    </a:lnTo>
                    <a:lnTo>
                      <a:pt x="1370" y="1660"/>
                    </a:lnTo>
                    <a:lnTo>
                      <a:pt x="1368" y="1660"/>
                    </a:lnTo>
                    <a:lnTo>
                      <a:pt x="1368" y="1658"/>
                    </a:lnTo>
                    <a:lnTo>
                      <a:pt x="1366" y="1658"/>
                    </a:lnTo>
                    <a:lnTo>
                      <a:pt x="1368" y="1658"/>
                    </a:lnTo>
                    <a:lnTo>
                      <a:pt x="1368" y="1657"/>
                    </a:lnTo>
                    <a:lnTo>
                      <a:pt x="1370" y="1655"/>
                    </a:lnTo>
                    <a:lnTo>
                      <a:pt x="1372" y="1655"/>
                    </a:lnTo>
                    <a:lnTo>
                      <a:pt x="1373" y="1655"/>
                    </a:lnTo>
                    <a:lnTo>
                      <a:pt x="1373" y="1657"/>
                    </a:lnTo>
                    <a:lnTo>
                      <a:pt x="1373" y="1655"/>
                    </a:lnTo>
                    <a:lnTo>
                      <a:pt x="1372" y="1655"/>
                    </a:lnTo>
                    <a:lnTo>
                      <a:pt x="1370" y="1655"/>
                    </a:lnTo>
                    <a:lnTo>
                      <a:pt x="1368" y="1657"/>
                    </a:lnTo>
                    <a:lnTo>
                      <a:pt x="1366" y="1657"/>
                    </a:lnTo>
                    <a:lnTo>
                      <a:pt x="1368" y="1655"/>
                    </a:lnTo>
                    <a:lnTo>
                      <a:pt x="1368" y="1653"/>
                    </a:lnTo>
                    <a:lnTo>
                      <a:pt x="1370" y="1653"/>
                    </a:lnTo>
                    <a:lnTo>
                      <a:pt x="1368" y="1653"/>
                    </a:lnTo>
                    <a:lnTo>
                      <a:pt x="1370" y="1653"/>
                    </a:lnTo>
                    <a:lnTo>
                      <a:pt x="1370" y="1652"/>
                    </a:lnTo>
                    <a:lnTo>
                      <a:pt x="1370" y="1650"/>
                    </a:lnTo>
                    <a:lnTo>
                      <a:pt x="1370" y="1648"/>
                    </a:lnTo>
                    <a:lnTo>
                      <a:pt x="1372" y="1648"/>
                    </a:lnTo>
                    <a:lnTo>
                      <a:pt x="1372" y="1646"/>
                    </a:lnTo>
                    <a:lnTo>
                      <a:pt x="1370" y="1646"/>
                    </a:lnTo>
                    <a:lnTo>
                      <a:pt x="1372" y="1645"/>
                    </a:lnTo>
                    <a:lnTo>
                      <a:pt x="1373" y="1643"/>
                    </a:lnTo>
                    <a:lnTo>
                      <a:pt x="1372" y="1643"/>
                    </a:lnTo>
                    <a:lnTo>
                      <a:pt x="1372" y="1645"/>
                    </a:lnTo>
                    <a:lnTo>
                      <a:pt x="1370" y="1645"/>
                    </a:lnTo>
                    <a:lnTo>
                      <a:pt x="1370" y="1646"/>
                    </a:lnTo>
                    <a:lnTo>
                      <a:pt x="1370" y="1645"/>
                    </a:lnTo>
                    <a:lnTo>
                      <a:pt x="1368" y="1646"/>
                    </a:lnTo>
                    <a:lnTo>
                      <a:pt x="1368" y="1645"/>
                    </a:lnTo>
                    <a:lnTo>
                      <a:pt x="1368" y="1646"/>
                    </a:lnTo>
                    <a:lnTo>
                      <a:pt x="1366" y="1646"/>
                    </a:lnTo>
                    <a:lnTo>
                      <a:pt x="1368" y="1646"/>
                    </a:lnTo>
                    <a:lnTo>
                      <a:pt x="1366" y="1648"/>
                    </a:lnTo>
                    <a:lnTo>
                      <a:pt x="1366" y="1650"/>
                    </a:lnTo>
                    <a:lnTo>
                      <a:pt x="1366" y="1648"/>
                    </a:lnTo>
                    <a:lnTo>
                      <a:pt x="1365" y="1650"/>
                    </a:lnTo>
                    <a:lnTo>
                      <a:pt x="1365" y="1648"/>
                    </a:lnTo>
                    <a:lnTo>
                      <a:pt x="1363" y="1648"/>
                    </a:lnTo>
                    <a:lnTo>
                      <a:pt x="1363" y="1646"/>
                    </a:lnTo>
                    <a:lnTo>
                      <a:pt x="1361" y="1645"/>
                    </a:lnTo>
                    <a:lnTo>
                      <a:pt x="1361" y="1643"/>
                    </a:lnTo>
                    <a:lnTo>
                      <a:pt x="1361" y="1645"/>
                    </a:lnTo>
                    <a:lnTo>
                      <a:pt x="1361" y="1646"/>
                    </a:lnTo>
                    <a:lnTo>
                      <a:pt x="1363" y="1648"/>
                    </a:lnTo>
                    <a:lnTo>
                      <a:pt x="1361" y="1648"/>
                    </a:lnTo>
                    <a:lnTo>
                      <a:pt x="1360" y="1646"/>
                    </a:lnTo>
                    <a:lnTo>
                      <a:pt x="1360" y="1648"/>
                    </a:lnTo>
                    <a:lnTo>
                      <a:pt x="1360" y="1646"/>
                    </a:lnTo>
                    <a:lnTo>
                      <a:pt x="1358" y="1646"/>
                    </a:lnTo>
                    <a:lnTo>
                      <a:pt x="1360" y="1646"/>
                    </a:lnTo>
                    <a:lnTo>
                      <a:pt x="1358" y="1646"/>
                    </a:lnTo>
                    <a:lnTo>
                      <a:pt x="1358" y="1645"/>
                    </a:lnTo>
                    <a:lnTo>
                      <a:pt x="1358" y="1643"/>
                    </a:lnTo>
                    <a:lnTo>
                      <a:pt x="1356" y="1645"/>
                    </a:lnTo>
                    <a:lnTo>
                      <a:pt x="1356" y="1646"/>
                    </a:lnTo>
                    <a:lnTo>
                      <a:pt x="1358" y="1646"/>
                    </a:lnTo>
                    <a:lnTo>
                      <a:pt x="1358" y="1648"/>
                    </a:lnTo>
                    <a:lnTo>
                      <a:pt x="1356" y="1648"/>
                    </a:lnTo>
                    <a:lnTo>
                      <a:pt x="1356" y="1646"/>
                    </a:lnTo>
                    <a:lnTo>
                      <a:pt x="1356" y="1648"/>
                    </a:lnTo>
                    <a:lnTo>
                      <a:pt x="1355" y="1646"/>
                    </a:lnTo>
                    <a:lnTo>
                      <a:pt x="1355" y="1648"/>
                    </a:lnTo>
                    <a:lnTo>
                      <a:pt x="1356" y="1648"/>
                    </a:lnTo>
                    <a:lnTo>
                      <a:pt x="1358" y="1648"/>
                    </a:lnTo>
                    <a:lnTo>
                      <a:pt x="1358" y="1650"/>
                    </a:lnTo>
                    <a:lnTo>
                      <a:pt x="1356" y="1650"/>
                    </a:lnTo>
                    <a:lnTo>
                      <a:pt x="1356" y="1652"/>
                    </a:lnTo>
                    <a:lnTo>
                      <a:pt x="1355" y="1650"/>
                    </a:lnTo>
                    <a:lnTo>
                      <a:pt x="1353" y="1650"/>
                    </a:lnTo>
                    <a:lnTo>
                      <a:pt x="1355" y="1650"/>
                    </a:lnTo>
                    <a:lnTo>
                      <a:pt x="1353" y="1650"/>
                    </a:lnTo>
                    <a:lnTo>
                      <a:pt x="1351" y="1650"/>
                    </a:lnTo>
                    <a:lnTo>
                      <a:pt x="1353" y="1650"/>
                    </a:lnTo>
                    <a:lnTo>
                      <a:pt x="1351" y="1648"/>
                    </a:lnTo>
                    <a:lnTo>
                      <a:pt x="1351" y="1650"/>
                    </a:lnTo>
                    <a:lnTo>
                      <a:pt x="1351" y="1652"/>
                    </a:lnTo>
                    <a:lnTo>
                      <a:pt x="1351" y="1650"/>
                    </a:lnTo>
                    <a:lnTo>
                      <a:pt x="1353" y="1650"/>
                    </a:lnTo>
                    <a:lnTo>
                      <a:pt x="1355" y="1652"/>
                    </a:lnTo>
                    <a:lnTo>
                      <a:pt x="1356" y="1652"/>
                    </a:lnTo>
                    <a:lnTo>
                      <a:pt x="1355" y="1652"/>
                    </a:lnTo>
                    <a:lnTo>
                      <a:pt x="1355" y="1653"/>
                    </a:lnTo>
                    <a:lnTo>
                      <a:pt x="1356" y="1653"/>
                    </a:lnTo>
                    <a:lnTo>
                      <a:pt x="1356" y="1655"/>
                    </a:lnTo>
                    <a:lnTo>
                      <a:pt x="1356" y="1657"/>
                    </a:lnTo>
                    <a:lnTo>
                      <a:pt x="1358" y="1655"/>
                    </a:lnTo>
                    <a:lnTo>
                      <a:pt x="1358" y="1657"/>
                    </a:lnTo>
                    <a:lnTo>
                      <a:pt x="1360" y="1658"/>
                    </a:lnTo>
                    <a:lnTo>
                      <a:pt x="1358" y="1658"/>
                    </a:lnTo>
                    <a:lnTo>
                      <a:pt x="1356" y="1658"/>
                    </a:lnTo>
                    <a:lnTo>
                      <a:pt x="1356" y="1660"/>
                    </a:lnTo>
                    <a:lnTo>
                      <a:pt x="1358" y="1658"/>
                    </a:lnTo>
                    <a:lnTo>
                      <a:pt x="1358" y="1660"/>
                    </a:lnTo>
                    <a:lnTo>
                      <a:pt x="1356" y="1660"/>
                    </a:lnTo>
                    <a:lnTo>
                      <a:pt x="1358" y="1660"/>
                    </a:lnTo>
                    <a:lnTo>
                      <a:pt x="1360" y="1660"/>
                    </a:lnTo>
                    <a:lnTo>
                      <a:pt x="1358" y="1662"/>
                    </a:lnTo>
                    <a:lnTo>
                      <a:pt x="1360" y="1660"/>
                    </a:lnTo>
                    <a:lnTo>
                      <a:pt x="1360" y="1662"/>
                    </a:lnTo>
                    <a:lnTo>
                      <a:pt x="1360" y="1660"/>
                    </a:lnTo>
                    <a:lnTo>
                      <a:pt x="1361" y="1660"/>
                    </a:lnTo>
                    <a:lnTo>
                      <a:pt x="1363" y="1660"/>
                    </a:lnTo>
                    <a:lnTo>
                      <a:pt x="1363" y="1662"/>
                    </a:lnTo>
                    <a:lnTo>
                      <a:pt x="1361" y="1660"/>
                    </a:lnTo>
                    <a:lnTo>
                      <a:pt x="1360" y="1660"/>
                    </a:lnTo>
                    <a:lnTo>
                      <a:pt x="1361" y="1662"/>
                    </a:lnTo>
                    <a:lnTo>
                      <a:pt x="1360" y="1662"/>
                    </a:lnTo>
                    <a:lnTo>
                      <a:pt x="1361" y="1662"/>
                    </a:lnTo>
                    <a:lnTo>
                      <a:pt x="1363" y="1662"/>
                    </a:lnTo>
                    <a:lnTo>
                      <a:pt x="1361" y="1663"/>
                    </a:lnTo>
                    <a:lnTo>
                      <a:pt x="1360" y="1663"/>
                    </a:lnTo>
                    <a:lnTo>
                      <a:pt x="1360" y="1662"/>
                    </a:lnTo>
                    <a:lnTo>
                      <a:pt x="1360" y="1663"/>
                    </a:lnTo>
                    <a:lnTo>
                      <a:pt x="1360" y="1662"/>
                    </a:lnTo>
                    <a:lnTo>
                      <a:pt x="1358" y="1662"/>
                    </a:lnTo>
                    <a:lnTo>
                      <a:pt x="1358" y="1663"/>
                    </a:lnTo>
                    <a:lnTo>
                      <a:pt x="1356" y="1663"/>
                    </a:lnTo>
                    <a:lnTo>
                      <a:pt x="1355" y="1663"/>
                    </a:lnTo>
                    <a:lnTo>
                      <a:pt x="1355" y="1662"/>
                    </a:lnTo>
                    <a:lnTo>
                      <a:pt x="1355" y="1660"/>
                    </a:lnTo>
                    <a:lnTo>
                      <a:pt x="1355" y="1658"/>
                    </a:lnTo>
                    <a:lnTo>
                      <a:pt x="1355" y="1660"/>
                    </a:lnTo>
                    <a:lnTo>
                      <a:pt x="1353" y="1660"/>
                    </a:lnTo>
                    <a:lnTo>
                      <a:pt x="1355" y="1660"/>
                    </a:lnTo>
                    <a:lnTo>
                      <a:pt x="1355" y="1662"/>
                    </a:lnTo>
                    <a:lnTo>
                      <a:pt x="1353" y="1662"/>
                    </a:lnTo>
                    <a:lnTo>
                      <a:pt x="1355" y="1662"/>
                    </a:lnTo>
                    <a:lnTo>
                      <a:pt x="1353" y="1662"/>
                    </a:lnTo>
                    <a:lnTo>
                      <a:pt x="1353" y="1663"/>
                    </a:lnTo>
                    <a:lnTo>
                      <a:pt x="1353" y="1665"/>
                    </a:lnTo>
                    <a:lnTo>
                      <a:pt x="1351" y="1663"/>
                    </a:lnTo>
                    <a:lnTo>
                      <a:pt x="1353" y="1662"/>
                    </a:lnTo>
                    <a:lnTo>
                      <a:pt x="1351" y="1660"/>
                    </a:lnTo>
                    <a:lnTo>
                      <a:pt x="1351" y="1658"/>
                    </a:lnTo>
                    <a:lnTo>
                      <a:pt x="1349" y="1658"/>
                    </a:lnTo>
                    <a:lnTo>
                      <a:pt x="1349" y="1657"/>
                    </a:lnTo>
                    <a:lnTo>
                      <a:pt x="1351" y="1657"/>
                    </a:lnTo>
                    <a:lnTo>
                      <a:pt x="1353" y="1657"/>
                    </a:lnTo>
                    <a:lnTo>
                      <a:pt x="1351" y="1657"/>
                    </a:lnTo>
                    <a:lnTo>
                      <a:pt x="1349" y="1657"/>
                    </a:lnTo>
                    <a:lnTo>
                      <a:pt x="1349" y="1655"/>
                    </a:lnTo>
                    <a:lnTo>
                      <a:pt x="1351" y="1655"/>
                    </a:lnTo>
                    <a:lnTo>
                      <a:pt x="1349" y="1655"/>
                    </a:lnTo>
                    <a:lnTo>
                      <a:pt x="1348" y="1657"/>
                    </a:lnTo>
                    <a:lnTo>
                      <a:pt x="1346" y="1657"/>
                    </a:lnTo>
                    <a:lnTo>
                      <a:pt x="1344" y="1657"/>
                    </a:lnTo>
                    <a:lnTo>
                      <a:pt x="1344" y="1655"/>
                    </a:lnTo>
                    <a:lnTo>
                      <a:pt x="1346" y="1655"/>
                    </a:lnTo>
                    <a:lnTo>
                      <a:pt x="1348" y="1653"/>
                    </a:lnTo>
                    <a:lnTo>
                      <a:pt x="1346" y="1655"/>
                    </a:lnTo>
                    <a:lnTo>
                      <a:pt x="1346" y="1653"/>
                    </a:lnTo>
                    <a:lnTo>
                      <a:pt x="1344" y="1653"/>
                    </a:lnTo>
                    <a:lnTo>
                      <a:pt x="1344" y="1655"/>
                    </a:lnTo>
                    <a:lnTo>
                      <a:pt x="1343" y="1655"/>
                    </a:lnTo>
                    <a:lnTo>
                      <a:pt x="1343" y="1653"/>
                    </a:lnTo>
                    <a:lnTo>
                      <a:pt x="1344" y="1653"/>
                    </a:lnTo>
                    <a:lnTo>
                      <a:pt x="1344" y="1652"/>
                    </a:lnTo>
                    <a:lnTo>
                      <a:pt x="1343" y="1653"/>
                    </a:lnTo>
                    <a:lnTo>
                      <a:pt x="1341" y="1653"/>
                    </a:lnTo>
                    <a:lnTo>
                      <a:pt x="1339" y="1653"/>
                    </a:lnTo>
                    <a:lnTo>
                      <a:pt x="1338" y="1653"/>
                    </a:lnTo>
                    <a:lnTo>
                      <a:pt x="1339" y="1653"/>
                    </a:lnTo>
                    <a:lnTo>
                      <a:pt x="1339" y="1652"/>
                    </a:lnTo>
                    <a:lnTo>
                      <a:pt x="1341" y="1652"/>
                    </a:lnTo>
                    <a:lnTo>
                      <a:pt x="1339" y="1650"/>
                    </a:lnTo>
                    <a:lnTo>
                      <a:pt x="1341" y="1650"/>
                    </a:lnTo>
                    <a:lnTo>
                      <a:pt x="1343" y="1650"/>
                    </a:lnTo>
                    <a:lnTo>
                      <a:pt x="1344" y="1650"/>
                    </a:lnTo>
                    <a:lnTo>
                      <a:pt x="1346" y="1650"/>
                    </a:lnTo>
                    <a:lnTo>
                      <a:pt x="1348" y="1650"/>
                    </a:lnTo>
                    <a:lnTo>
                      <a:pt x="1346" y="1650"/>
                    </a:lnTo>
                    <a:lnTo>
                      <a:pt x="1344" y="1650"/>
                    </a:lnTo>
                    <a:lnTo>
                      <a:pt x="1343" y="1650"/>
                    </a:lnTo>
                    <a:lnTo>
                      <a:pt x="1344" y="1650"/>
                    </a:lnTo>
                    <a:lnTo>
                      <a:pt x="1344" y="1648"/>
                    </a:lnTo>
                    <a:lnTo>
                      <a:pt x="1343" y="1650"/>
                    </a:lnTo>
                    <a:lnTo>
                      <a:pt x="1343" y="1648"/>
                    </a:lnTo>
                    <a:lnTo>
                      <a:pt x="1344" y="1646"/>
                    </a:lnTo>
                    <a:lnTo>
                      <a:pt x="1346" y="1646"/>
                    </a:lnTo>
                    <a:lnTo>
                      <a:pt x="1348" y="1646"/>
                    </a:lnTo>
                    <a:lnTo>
                      <a:pt x="1348" y="1645"/>
                    </a:lnTo>
                    <a:lnTo>
                      <a:pt x="1349" y="1645"/>
                    </a:lnTo>
                    <a:lnTo>
                      <a:pt x="1349" y="1643"/>
                    </a:lnTo>
                    <a:lnTo>
                      <a:pt x="1348" y="1645"/>
                    </a:lnTo>
                    <a:lnTo>
                      <a:pt x="1346" y="1645"/>
                    </a:lnTo>
                    <a:lnTo>
                      <a:pt x="1344" y="1646"/>
                    </a:lnTo>
                    <a:lnTo>
                      <a:pt x="1343" y="1646"/>
                    </a:lnTo>
                    <a:lnTo>
                      <a:pt x="1343" y="1648"/>
                    </a:lnTo>
                    <a:lnTo>
                      <a:pt x="1341" y="1648"/>
                    </a:lnTo>
                    <a:lnTo>
                      <a:pt x="1339" y="1648"/>
                    </a:lnTo>
                    <a:lnTo>
                      <a:pt x="1339" y="1650"/>
                    </a:lnTo>
                    <a:lnTo>
                      <a:pt x="1338" y="1650"/>
                    </a:lnTo>
                    <a:lnTo>
                      <a:pt x="1336" y="1650"/>
                    </a:lnTo>
                    <a:lnTo>
                      <a:pt x="1334" y="1650"/>
                    </a:lnTo>
                    <a:lnTo>
                      <a:pt x="1336" y="1648"/>
                    </a:lnTo>
                    <a:lnTo>
                      <a:pt x="1334" y="1648"/>
                    </a:lnTo>
                    <a:lnTo>
                      <a:pt x="1332" y="1648"/>
                    </a:lnTo>
                    <a:lnTo>
                      <a:pt x="1332" y="1646"/>
                    </a:lnTo>
                    <a:lnTo>
                      <a:pt x="1334" y="1648"/>
                    </a:lnTo>
                    <a:lnTo>
                      <a:pt x="1336" y="1646"/>
                    </a:lnTo>
                    <a:lnTo>
                      <a:pt x="1334" y="1645"/>
                    </a:lnTo>
                    <a:lnTo>
                      <a:pt x="1332" y="1645"/>
                    </a:lnTo>
                    <a:lnTo>
                      <a:pt x="1331" y="1645"/>
                    </a:lnTo>
                    <a:lnTo>
                      <a:pt x="1332" y="1645"/>
                    </a:lnTo>
                    <a:lnTo>
                      <a:pt x="1334" y="1645"/>
                    </a:lnTo>
                    <a:lnTo>
                      <a:pt x="1336" y="1645"/>
                    </a:lnTo>
                    <a:lnTo>
                      <a:pt x="1338" y="1645"/>
                    </a:lnTo>
                    <a:lnTo>
                      <a:pt x="1336" y="1643"/>
                    </a:lnTo>
                    <a:lnTo>
                      <a:pt x="1336" y="1645"/>
                    </a:lnTo>
                    <a:lnTo>
                      <a:pt x="1334" y="1645"/>
                    </a:lnTo>
                    <a:lnTo>
                      <a:pt x="1332" y="1643"/>
                    </a:lnTo>
                    <a:lnTo>
                      <a:pt x="1334" y="1643"/>
                    </a:lnTo>
                    <a:lnTo>
                      <a:pt x="1332" y="1643"/>
                    </a:lnTo>
                    <a:lnTo>
                      <a:pt x="1331" y="1643"/>
                    </a:lnTo>
                    <a:lnTo>
                      <a:pt x="1331" y="1641"/>
                    </a:lnTo>
                    <a:lnTo>
                      <a:pt x="1331" y="1640"/>
                    </a:lnTo>
                    <a:lnTo>
                      <a:pt x="1332" y="1640"/>
                    </a:lnTo>
                    <a:lnTo>
                      <a:pt x="1332" y="1641"/>
                    </a:lnTo>
                    <a:lnTo>
                      <a:pt x="1334" y="1641"/>
                    </a:lnTo>
                    <a:lnTo>
                      <a:pt x="1332" y="1641"/>
                    </a:lnTo>
                    <a:lnTo>
                      <a:pt x="1332" y="1640"/>
                    </a:lnTo>
                    <a:lnTo>
                      <a:pt x="1334" y="1640"/>
                    </a:lnTo>
                    <a:lnTo>
                      <a:pt x="1334" y="1638"/>
                    </a:lnTo>
                    <a:lnTo>
                      <a:pt x="1336" y="1638"/>
                    </a:lnTo>
                    <a:lnTo>
                      <a:pt x="1338" y="1638"/>
                    </a:lnTo>
                    <a:lnTo>
                      <a:pt x="1339" y="1638"/>
                    </a:lnTo>
                    <a:lnTo>
                      <a:pt x="1339" y="1636"/>
                    </a:lnTo>
                    <a:lnTo>
                      <a:pt x="1341" y="1636"/>
                    </a:lnTo>
                    <a:lnTo>
                      <a:pt x="1343" y="1636"/>
                    </a:lnTo>
                    <a:lnTo>
                      <a:pt x="1343" y="1638"/>
                    </a:lnTo>
                    <a:lnTo>
                      <a:pt x="1343" y="1636"/>
                    </a:lnTo>
                    <a:lnTo>
                      <a:pt x="1344" y="1636"/>
                    </a:lnTo>
                    <a:lnTo>
                      <a:pt x="1346" y="1636"/>
                    </a:lnTo>
                    <a:lnTo>
                      <a:pt x="1346" y="1638"/>
                    </a:lnTo>
                    <a:lnTo>
                      <a:pt x="1346" y="1640"/>
                    </a:lnTo>
                    <a:lnTo>
                      <a:pt x="1348" y="1640"/>
                    </a:lnTo>
                    <a:lnTo>
                      <a:pt x="1346" y="1640"/>
                    </a:lnTo>
                    <a:lnTo>
                      <a:pt x="1348" y="1641"/>
                    </a:lnTo>
                    <a:lnTo>
                      <a:pt x="1348" y="1643"/>
                    </a:lnTo>
                    <a:lnTo>
                      <a:pt x="1346" y="1643"/>
                    </a:lnTo>
                    <a:lnTo>
                      <a:pt x="1348" y="1641"/>
                    </a:lnTo>
                    <a:lnTo>
                      <a:pt x="1348" y="1640"/>
                    </a:lnTo>
                    <a:lnTo>
                      <a:pt x="1348" y="1638"/>
                    </a:lnTo>
                    <a:lnTo>
                      <a:pt x="1346" y="1638"/>
                    </a:lnTo>
                    <a:lnTo>
                      <a:pt x="1348" y="1638"/>
                    </a:lnTo>
                    <a:lnTo>
                      <a:pt x="1346" y="1636"/>
                    </a:lnTo>
                    <a:lnTo>
                      <a:pt x="1346" y="1635"/>
                    </a:lnTo>
                    <a:lnTo>
                      <a:pt x="1348" y="1635"/>
                    </a:lnTo>
                    <a:lnTo>
                      <a:pt x="1349" y="1635"/>
                    </a:lnTo>
                    <a:lnTo>
                      <a:pt x="1351" y="1635"/>
                    </a:lnTo>
                    <a:lnTo>
                      <a:pt x="1351" y="1636"/>
                    </a:lnTo>
                    <a:lnTo>
                      <a:pt x="1349" y="1636"/>
                    </a:lnTo>
                    <a:lnTo>
                      <a:pt x="1351" y="1636"/>
                    </a:lnTo>
                    <a:lnTo>
                      <a:pt x="1353" y="1636"/>
                    </a:lnTo>
                    <a:lnTo>
                      <a:pt x="1355" y="1636"/>
                    </a:lnTo>
                    <a:lnTo>
                      <a:pt x="1353" y="1636"/>
                    </a:lnTo>
                    <a:lnTo>
                      <a:pt x="1353" y="1635"/>
                    </a:lnTo>
                    <a:lnTo>
                      <a:pt x="1353" y="1633"/>
                    </a:lnTo>
                    <a:lnTo>
                      <a:pt x="1355" y="1633"/>
                    </a:lnTo>
                    <a:lnTo>
                      <a:pt x="1356" y="1633"/>
                    </a:lnTo>
                    <a:lnTo>
                      <a:pt x="1358" y="1633"/>
                    </a:lnTo>
                    <a:lnTo>
                      <a:pt x="1358" y="1635"/>
                    </a:lnTo>
                    <a:lnTo>
                      <a:pt x="1360" y="1635"/>
                    </a:lnTo>
                    <a:lnTo>
                      <a:pt x="1358" y="1635"/>
                    </a:lnTo>
                    <a:lnTo>
                      <a:pt x="1358" y="1633"/>
                    </a:lnTo>
                    <a:lnTo>
                      <a:pt x="1360" y="1633"/>
                    </a:lnTo>
                    <a:lnTo>
                      <a:pt x="1361" y="1631"/>
                    </a:lnTo>
                    <a:lnTo>
                      <a:pt x="1361" y="1633"/>
                    </a:lnTo>
                    <a:lnTo>
                      <a:pt x="1363" y="1631"/>
                    </a:lnTo>
                    <a:lnTo>
                      <a:pt x="1363" y="1633"/>
                    </a:lnTo>
                    <a:lnTo>
                      <a:pt x="1365" y="1633"/>
                    </a:lnTo>
                    <a:lnTo>
                      <a:pt x="1365" y="1631"/>
                    </a:lnTo>
                    <a:lnTo>
                      <a:pt x="1366" y="1631"/>
                    </a:lnTo>
                    <a:lnTo>
                      <a:pt x="1368" y="1631"/>
                    </a:lnTo>
                    <a:lnTo>
                      <a:pt x="1370" y="1631"/>
                    </a:lnTo>
                    <a:lnTo>
                      <a:pt x="1372" y="1631"/>
                    </a:lnTo>
                    <a:lnTo>
                      <a:pt x="1373" y="1631"/>
                    </a:lnTo>
                    <a:lnTo>
                      <a:pt x="1373" y="1629"/>
                    </a:lnTo>
                    <a:lnTo>
                      <a:pt x="1375" y="1629"/>
                    </a:lnTo>
                    <a:lnTo>
                      <a:pt x="1377" y="1629"/>
                    </a:lnTo>
                    <a:lnTo>
                      <a:pt x="1378" y="1629"/>
                    </a:lnTo>
                    <a:lnTo>
                      <a:pt x="1380" y="1628"/>
                    </a:lnTo>
                    <a:lnTo>
                      <a:pt x="1382" y="1628"/>
                    </a:lnTo>
                    <a:close/>
                    <a:moveTo>
                      <a:pt x="1229" y="1539"/>
                    </a:moveTo>
                    <a:lnTo>
                      <a:pt x="1230" y="1539"/>
                    </a:lnTo>
                    <a:lnTo>
                      <a:pt x="1229" y="1541"/>
                    </a:lnTo>
                    <a:lnTo>
                      <a:pt x="1229" y="1543"/>
                    </a:lnTo>
                    <a:lnTo>
                      <a:pt x="1229" y="1541"/>
                    </a:lnTo>
                    <a:lnTo>
                      <a:pt x="1230" y="1541"/>
                    </a:lnTo>
                    <a:lnTo>
                      <a:pt x="1230" y="1543"/>
                    </a:lnTo>
                    <a:lnTo>
                      <a:pt x="1229" y="1544"/>
                    </a:lnTo>
                    <a:lnTo>
                      <a:pt x="1230" y="1544"/>
                    </a:lnTo>
                    <a:lnTo>
                      <a:pt x="1230" y="1546"/>
                    </a:lnTo>
                    <a:lnTo>
                      <a:pt x="1230" y="1544"/>
                    </a:lnTo>
                    <a:lnTo>
                      <a:pt x="1230" y="1543"/>
                    </a:lnTo>
                    <a:lnTo>
                      <a:pt x="1230" y="1541"/>
                    </a:lnTo>
                    <a:lnTo>
                      <a:pt x="1230" y="1539"/>
                    </a:lnTo>
                    <a:lnTo>
                      <a:pt x="1230" y="1541"/>
                    </a:lnTo>
                    <a:lnTo>
                      <a:pt x="1232" y="1541"/>
                    </a:lnTo>
                    <a:lnTo>
                      <a:pt x="1232" y="1543"/>
                    </a:lnTo>
                    <a:lnTo>
                      <a:pt x="1232" y="1541"/>
                    </a:lnTo>
                    <a:lnTo>
                      <a:pt x="1234" y="1543"/>
                    </a:lnTo>
                    <a:lnTo>
                      <a:pt x="1232" y="1543"/>
                    </a:lnTo>
                    <a:lnTo>
                      <a:pt x="1234" y="1543"/>
                    </a:lnTo>
                    <a:lnTo>
                      <a:pt x="1234" y="1544"/>
                    </a:lnTo>
                    <a:lnTo>
                      <a:pt x="1232" y="1544"/>
                    </a:lnTo>
                    <a:lnTo>
                      <a:pt x="1232" y="1546"/>
                    </a:lnTo>
                    <a:lnTo>
                      <a:pt x="1232" y="1548"/>
                    </a:lnTo>
                    <a:lnTo>
                      <a:pt x="1234" y="1546"/>
                    </a:lnTo>
                    <a:lnTo>
                      <a:pt x="1232" y="1546"/>
                    </a:lnTo>
                    <a:lnTo>
                      <a:pt x="1234" y="1544"/>
                    </a:lnTo>
                    <a:lnTo>
                      <a:pt x="1234" y="1546"/>
                    </a:lnTo>
                    <a:lnTo>
                      <a:pt x="1236" y="1546"/>
                    </a:lnTo>
                    <a:lnTo>
                      <a:pt x="1234" y="1548"/>
                    </a:lnTo>
                    <a:lnTo>
                      <a:pt x="1232" y="1548"/>
                    </a:lnTo>
                    <a:lnTo>
                      <a:pt x="1234" y="1548"/>
                    </a:lnTo>
                    <a:lnTo>
                      <a:pt x="1236" y="1548"/>
                    </a:lnTo>
                    <a:lnTo>
                      <a:pt x="1234" y="1548"/>
                    </a:lnTo>
                    <a:lnTo>
                      <a:pt x="1234" y="1549"/>
                    </a:lnTo>
                    <a:lnTo>
                      <a:pt x="1236" y="1549"/>
                    </a:lnTo>
                    <a:lnTo>
                      <a:pt x="1234" y="1551"/>
                    </a:lnTo>
                    <a:lnTo>
                      <a:pt x="1234" y="1553"/>
                    </a:lnTo>
                    <a:lnTo>
                      <a:pt x="1234" y="1555"/>
                    </a:lnTo>
                    <a:lnTo>
                      <a:pt x="1236" y="1555"/>
                    </a:lnTo>
                    <a:lnTo>
                      <a:pt x="1236" y="1553"/>
                    </a:lnTo>
                    <a:lnTo>
                      <a:pt x="1234" y="1553"/>
                    </a:lnTo>
                    <a:lnTo>
                      <a:pt x="1236" y="1551"/>
                    </a:lnTo>
                    <a:lnTo>
                      <a:pt x="1236" y="1549"/>
                    </a:lnTo>
                    <a:lnTo>
                      <a:pt x="1237" y="1549"/>
                    </a:lnTo>
                    <a:lnTo>
                      <a:pt x="1236" y="1548"/>
                    </a:lnTo>
                    <a:lnTo>
                      <a:pt x="1236" y="1546"/>
                    </a:lnTo>
                    <a:lnTo>
                      <a:pt x="1236" y="1544"/>
                    </a:lnTo>
                    <a:lnTo>
                      <a:pt x="1234" y="1543"/>
                    </a:lnTo>
                    <a:lnTo>
                      <a:pt x="1236" y="1543"/>
                    </a:lnTo>
                    <a:lnTo>
                      <a:pt x="1237" y="1544"/>
                    </a:lnTo>
                    <a:lnTo>
                      <a:pt x="1237" y="1546"/>
                    </a:lnTo>
                    <a:lnTo>
                      <a:pt x="1239" y="1546"/>
                    </a:lnTo>
                    <a:lnTo>
                      <a:pt x="1239" y="1548"/>
                    </a:lnTo>
                    <a:lnTo>
                      <a:pt x="1239" y="1549"/>
                    </a:lnTo>
                    <a:lnTo>
                      <a:pt x="1241" y="1551"/>
                    </a:lnTo>
                    <a:lnTo>
                      <a:pt x="1239" y="1551"/>
                    </a:lnTo>
                    <a:lnTo>
                      <a:pt x="1239" y="1553"/>
                    </a:lnTo>
                    <a:lnTo>
                      <a:pt x="1241" y="1551"/>
                    </a:lnTo>
                    <a:lnTo>
                      <a:pt x="1241" y="1553"/>
                    </a:lnTo>
                    <a:lnTo>
                      <a:pt x="1241" y="1555"/>
                    </a:lnTo>
                    <a:lnTo>
                      <a:pt x="1242" y="1553"/>
                    </a:lnTo>
                    <a:lnTo>
                      <a:pt x="1242" y="1551"/>
                    </a:lnTo>
                    <a:lnTo>
                      <a:pt x="1242" y="1549"/>
                    </a:lnTo>
                    <a:lnTo>
                      <a:pt x="1241" y="1549"/>
                    </a:lnTo>
                    <a:lnTo>
                      <a:pt x="1241" y="1548"/>
                    </a:lnTo>
                    <a:lnTo>
                      <a:pt x="1242" y="1548"/>
                    </a:lnTo>
                    <a:lnTo>
                      <a:pt x="1242" y="1549"/>
                    </a:lnTo>
                    <a:lnTo>
                      <a:pt x="1242" y="1548"/>
                    </a:lnTo>
                    <a:lnTo>
                      <a:pt x="1244" y="1549"/>
                    </a:lnTo>
                    <a:lnTo>
                      <a:pt x="1246" y="1549"/>
                    </a:lnTo>
                    <a:lnTo>
                      <a:pt x="1247" y="1549"/>
                    </a:lnTo>
                    <a:lnTo>
                      <a:pt x="1247" y="1551"/>
                    </a:lnTo>
                    <a:lnTo>
                      <a:pt x="1249" y="1551"/>
                    </a:lnTo>
                    <a:lnTo>
                      <a:pt x="1247" y="1553"/>
                    </a:lnTo>
                    <a:lnTo>
                      <a:pt x="1249" y="1553"/>
                    </a:lnTo>
                    <a:lnTo>
                      <a:pt x="1249" y="1551"/>
                    </a:lnTo>
                    <a:lnTo>
                      <a:pt x="1249" y="1553"/>
                    </a:lnTo>
                    <a:lnTo>
                      <a:pt x="1251" y="1553"/>
                    </a:lnTo>
                    <a:lnTo>
                      <a:pt x="1249" y="1555"/>
                    </a:lnTo>
                    <a:lnTo>
                      <a:pt x="1247" y="1555"/>
                    </a:lnTo>
                    <a:lnTo>
                      <a:pt x="1246" y="1555"/>
                    </a:lnTo>
                    <a:lnTo>
                      <a:pt x="1244" y="1555"/>
                    </a:lnTo>
                    <a:lnTo>
                      <a:pt x="1242" y="1555"/>
                    </a:lnTo>
                    <a:lnTo>
                      <a:pt x="1242" y="1556"/>
                    </a:lnTo>
                    <a:lnTo>
                      <a:pt x="1242" y="1558"/>
                    </a:lnTo>
                    <a:lnTo>
                      <a:pt x="1244" y="1558"/>
                    </a:lnTo>
                    <a:lnTo>
                      <a:pt x="1242" y="1558"/>
                    </a:lnTo>
                    <a:lnTo>
                      <a:pt x="1244" y="1558"/>
                    </a:lnTo>
                    <a:lnTo>
                      <a:pt x="1246" y="1558"/>
                    </a:lnTo>
                    <a:lnTo>
                      <a:pt x="1244" y="1558"/>
                    </a:lnTo>
                    <a:lnTo>
                      <a:pt x="1242" y="1558"/>
                    </a:lnTo>
                    <a:lnTo>
                      <a:pt x="1244" y="1556"/>
                    </a:lnTo>
                    <a:lnTo>
                      <a:pt x="1246" y="1556"/>
                    </a:lnTo>
                    <a:lnTo>
                      <a:pt x="1247" y="1555"/>
                    </a:lnTo>
                    <a:lnTo>
                      <a:pt x="1247" y="1556"/>
                    </a:lnTo>
                    <a:lnTo>
                      <a:pt x="1249" y="1556"/>
                    </a:lnTo>
                    <a:lnTo>
                      <a:pt x="1247" y="1556"/>
                    </a:lnTo>
                    <a:lnTo>
                      <a:pt x="1249" y="1556"/>
                    </a:lnTo>
                    <a:lnTo>
                      <a:pt x="1249" y="1558"/>
                    </a:lnTo>
                    <a:lnTo>
                      <a:pt x="1247" y="1558"/>
                    </a:lnTo>
                    <a:lnTo>
                      <a:pt x="1249" y="1558"/>
                    </a:lnTo>
                    <a:lnTo>
                      <a:pt x="1247" y="1558"/>
                    </a:lnTo>
                    <a:lnTo>
                      <a:pt x="1247" y="1560"/>
                    </a:lnTo>
                    <a:lnTo>
                      <a:pt x="1249" y="1560"/>
                    </a:lnTo>
                    <a:lnTo>
                      <a:pt x="1249" y="1558"/>
                    </a:lnTo>
                    <a:lnTo>
                      <a:pt x="1249" y="1556"/>
                    </a:lnTo>
                    <a:lnTo>
                      <a:pt x="1251" y="1556"/>
                    </a:lnTo>
                    <a:lnTo>
                      <a:pt x="1253" y="1556"/>
                    </a:lnTo>
                    <a:lnTo>
                      <a:pt x="1251" y="1558"/>
                    </a:lnTo>
                    <a:lnTo>
                      <a:pt x="1253" y="1558"/>
                    </a:lnTo>
                    <a:lnTo>
                      <a:pt x="1253" y="1556"/>
                    </a:lnTo>
                    <a:lnTo>
                      <a:pt x="1254" y="1558"/>
                    </a:lnTo>
                    <a:lnTo>
                      <a:pt x="1256" y="1558"/>
                    </a:lnTo>
                    <a:lnTo>
                      <a:pt x="1254" y="1560"/>
                    </a:lnTo>
                    <a:lnTo>
                      <a:pt x="1253" y="1560"/>
                    </a:lnTo>
                    <a:lnTo>
                      <a:pt x="1254" y="1560"/>
                    </a:lnTo>
                    <a:lnTo>
                      <a:pt x="1256" y="1560"/>
                    </a:lnTo>
                    <a:lnTo>
                      <a:pt x="1258" y="1560"/>
                    </a:lnTo>
                    <a:lnTo>
                      <a:pt x="1258" y="1561"/>
                    </a:lnTo>
                    <a:lnTo>
                      <a:pt x="1259" y="1563"/>
                    </a:lnTo>
                    <a:lnTo>
                      <a:pt x="1258" y="1563"/>
                    </a:lnTo>
                    <a:lnTo>
                      <a:pt x="1256" y="1563"/>
                    </a:lnTo>
                    <a:lnTo>
                      <a:pt x="1254" y="1563"/>
                    </a:lnTo>
                    <a:lnTo>
                      <a:pt x="1256" y="1563"/>
                    </a:lnTo>
                    <a:lnTo>
                      <a:pt x="1258" y="1565"/>
                    </a:lnTo>
                    <a:lnTo>
                      <a:pt x="1256" y="1565"/>
                    </a:lnTo>
                    <a:lnTo>
                      <a:pt x="1256" y="1566"/>
                    </a:lnTo>
                    <a:lnTo>
                      <a:pt x="1254" y="1566"/>
                    </a:lnTo>
                    <a:lnTo>
                      <a:pt x="1253" y="1565"/>
                    </a:lnTo>
                    <a:lnTo>
                      <a:pt x="1251" y="1563"/>
                    </a:lnTo>
                    <a:lnTo>
                      <a:pt x="1251" y="1565"/>
                    </a:lnTo>
                    <a:lnTo>
                      <a:pt x="1249" y="1565"/>
                    </a:lnTo>
                    <a:lnTo>
                      <a:pt x="1247" y="1565"/>
                    </a:lnTo>
                    <a:lnTo>
                      <a:pt x="1249" y="1565"/>
                    </a:lnTo>
                    <a:lnTo>
                      <a:pt x="1251" y="1565"/>
                    </a:lnTo>
                    <a:lnTo>
                      <a:pt x="1253" y="1565"/>
                    </a:lnTo>
                    <a:lnTo>
                      <a:pt x="1251" y="1566"/>
                    </a:lnTo>
                    <a:lnTo>
                      <a:pt x="1253" y="1566"/>
                    </a:lnTo>
                    <a:lnTo>
                      <a:pt x="1253" y="1568"/>
                    </a:lnTo>
                    <a:lnTo>
                      <a:pt x="1253" y="1570"/>
                    </a:lnTo>
                    <a:lnTo>
                      <a:pt x="1251" y="1570"/>
                    </a:lnTo>
                    <a:lnTo>
                      <a:pt x="1251" y="1568"/>
                    </a:lnTo>
                    <a:lnTo>
                      <a:pt x="1251" y="1570"/>
                    </a:lnTo>
                    <a:lnTo>
                      <a:pt x="1251" y="1568"/>
                    </a:lnTo>
                    <a:lnTo>
                      <a:pt x="1249" y="1568"/>
                    </a:lnTo>
                    <a:lnTo>
                      <a:pt x="1247" y="1568"/>
                    </a:lnTo>
                    <a:lnTo>
                      <a:pt x="1249" y="1568"/>
                    </a:lnTo>
                    <a:lnTo>
                      <a:pt x="1249" y="1570"/>
                    </a:lnTo>
                    <a:lnTo>
                      <a:pt x="1251" y="1570"/>
                    </a:lnTo>
                    <a:lnTo>
                      <a:pt x="1251" y="1572"/>
                    </a:lnTo>
                    <a:lnTo>
                      <a:pt x="1249" y="1572"/>
                    </a:lnTo>
                    <a:lnTo>
                      <a:pt x="1247" y="1572"/>
                    </a:lnTo>
                    <a:lnTo>
                      <a:pt x="1249" y="1572"/>
                    </a:lnTo>
                    <a:lnTo>
                      <a:pt x="1251" y="1573"/>
                    </a:lnTo>
                    <a:lnTo>
                      <a:pt x="1251" y="1575"/>
                    </a:lnTo>
                    <a:lnTo>
                      <a:pt x="1251" y="1573"/>
                    </a:lnTo>
                    <a:lnTo>
                      <a:pt x="1253" y="1575"/>
                    </a:lnTo>
                    <a:lnTo>
                      <a:pt x="1253" y="1577"/>
                    </a:lnTo>
                    <a:lnTo>
                      <a:pt x="1251" y="1577"/>
                    </a:lnTo>
                    <a:lnTo>
                      <a:pt x="1249" y="1577"/>
                    </a:lnTo>
                    <a:lnTo>
                      <a:pt x="1249" y="1578"/>
                    </a:lnTo>
                    <a:lnTo>
                      <a:pt x="1247" y="1578"/>
                    </a:lnTo>
                    <a:lnTo>
                      <a:pt x="1247" y="1577"/>
                    </a:lnTo>
                    <a:lnTo>
                      <a:pt x="1247" y="1575"/>
                    </a:lnTo>
                    <a:lnTo>
                      <a:pt x="1246" y="1575"/>
                    </a:lnTo>
                    <a:lnTo>
                      <a:pt x="1247" y="1575"/>
                    </a:lnTo>
                    <a:lnTo>
                      <a:pt x="1247" y="1573"/>
                    </a:lnTo>
                    <a:lnTo>
                      <a:pt x="1247" y="1572"/>
                    </a:lnTo>
                    <a:lnTo>
                      <a:pt x="1247" y="1573"/>
                    </a:lnTo>
                    <a:lnTo>
                      <a:pt x="1247" y="1575"/>
                    </a:lnTo>
                    <a:lnTo>
                      <a:pt x="1246" y="1575"/>
                    </a:lnTo>
                    <a:lnTo>
                      <a:pt x="1246" y="1573"/>
                    </a:lnTo>
                    <a:lnTo>
                      <a:pt x="1244" y="1575"/>
                    </a:lnTo>
                    <a:lnTo>
                      <a:pt x="1246" y="1575"/>
                    </a:lnTo>
                    <a:lnTo>
                      <a:pt x="1244" y="1575"/>
                    </a:lnTo>
                    <a:lnTo>
                      <a:pt x="1244" y="1577"/>
                    </a:lnTo>
                    <a:lnTo>
                      <a:pt x="1246" y="1577"/>
                    </a:lnTo>
                    <a:lnTo>
                      <a:pt x="1246" y="1578"/>
                    </a:lnTo>
                    <a:lnTo>
                      <a:pt x="1246" y="1580"/>
                    </a:lnTo>
                    <a:lnTo>
                      <a:pt x="1246" y="1578"/>
                    </a:lnTo>
                    <a:lnTo>
                      <a:pt x="1246" y="1580"/>
                    </a:lnTo>
                    <a:lnTo>
                      <a:pt x="1244" y="1580"/>
                    </a:lnTo>
                    <a:lnTo>
                      <a:pt x="1244" y="1578"/>
                    </a:lnTo>
                    <a:lnTo>
                      <a:pt x="1242" y="1580"/>
                    </a:lnTo>
                    <a:lnTo>
                      <a:pt x="1242" y="1578"/>
                    </a:lnTo>
                    <a:lnTo>
                      <a:pt x="1242" y="1580"/>
                    </a:lnTo>
                    <a:lnTo>
                      <a:pt x="1242" y="1578"/>
                    </a:lnTo>
                    <a:lnTo>
                      <a:pt x="1244" y="1577"/>
                    </a:lnTo>
                    <a:lnTo>
                      <a:pt x="1242" y="1577"/>
                    </a:lnTo>
                    <a:lnTo>
                      <a:pt x="1242" y="1578"/>
                    </a:lnTo>
                    <a:lnTo>
                      <a:pt x="1241" y="1580"/>
                    </a:lnTo>
                    <a:lnTo>
                      <a:pt x="1241" y="1578"/>
                    </a:lnTo>
                    <a:lnTo>
                      <a:pt x="1242" y="1577"/>
                    </a:lnTo>
                    <a:lnTo>
                      <a:pt x="1242" y="1575"/>
                    </a:lnTo>
                    <a:lnTo>
                      <a:pt x="1242" y="1577"/>
                    </a:lnTo>
                    <a:lnTo>
                      <a:pt x="1241" y="1578"/>
                    </a:lnTo>
                    <a:lnTo>
                      <a:pt x="1241" y="1580"/>
                    </a:lnTo>
                    <a:lnTo>
                      <a:pt x="1239" y="1578"/>
                    </a:lnTo>
                    <a:lnTo>
                      <a:pt x="1239" y="1580"/>
                    </a:lnTo>
                    <a:lnTo>
                      <a:pt x="1241" y="1580"/>
                    </a:lnTo>
                    <a:lnTo>
                      <a:pt x="1239" y="1582"/>
                    </a:lnTo>
                    <a:lnTo>
                      <a:pt x="1237" y="1580"/>
                    </a:lnTo>
                    <a:lnTo>
                      <a:pt x="1237" y="1582"/>
                    </a:lnTo>
                    <a:lnTo>
                      <a:pt x="1237" y="1580"/>
                    </a:lnTo>
                    <a:lnTo>
                      <a:pt x="1236" y="1580"/>
                    </a:lnTo>
                    <a:lnTo>
                      <a:pt x="1237" y="1580"/>
                    </a:lnTo>
                    <a:lnTo>
                      <a:pt x="1236" y="1580"/>
                    </a:lnTo>
                    <a:lnTo>
                      <a:pt x="1236" y="1582"/>
                    </a:lnTo>
                    <a:lnTo>
                      <a:pt x="1234" y="1582"/>
                    </a:lnTo>
                    <a:lnTo>
                      <a:pt x="1232" y="1582"/>
                    </a:lnTo>
                    <a:lnTo>
                      <a:pt x="1230" y="1582"/>
                    </a:lnTo>
                    <a:lnTo>
                      <a:pt x="1232" y="1580"/>
                    </a:lnTo>
                    <a:lnTo>
                      <a:pt x="1232" y="1582"/>
                    </a:lnTo>
                    <a:lnTo>
                      <a:pt x="1232" y="1580"/>
                    </a:lnTo>
                    <a:lnTo>
                      <a:pt x="1234" y="1580"/>
                    </a:lnTo>
                    <a:lnTo>
                      <a:pt x="1232" y="1580"/>
                    </a:lnTo>
                    <a:lnTo>
                      <a:pt x="1234" y="1580"/>
                    </a:lnTo>
                    <a:lnTo>
                      <a:pt x="1234" y="1578"/>
                    </a:lnTo>
                    <a:lnTo>
                      <a:pt x="1232" y="1580"/>
                    </a:lnTo>
                    <a:lnTo>
                      <a:pt x="1232" y="1578"/>
                    </a:lnTo>
                    <a:lnTo>
                      <a:pt x="1232" y="1580"/>
                    </a:lnTo>
                    <a:lnTo>
                      <a:pt x="1230" y="1580"/>
                    </a:lnTo>
                    <a:lnTo>
                      <a:pt x="1229" y="1580"/>
                    </a:lnTo>
                    <a:lnTo>
                      <a:pt x="1227" y="1578"/>
                    </a:lnTo>
                    <a:lnTo>
                      <a:pt x="1229" y="1578"/>
                    </a:lnTo>
                    <a:lnTo>
                      <a:pt x="1230" y="1578"/>
                    </a:lnTo>
                    <a:lnTo>
                      <a:pt x="1232" y="1578"/>
                    </a:lnTo>
                    <a:lnTo>
                      <a:pt x="1234" y="1578"/>
                    </a:lnTo>
                    <a:lnTo>
                      <a:pt x="1236" y="1578"/>
                    </a:lnTo>
                    <a:lnTo>
                      <a:pt x="1237" y="1580"/>
                    </a:lnTo>
                    <a:lnTo>
                      <a:pt x="1237" y="1578"/>
                    </a:lnTo>
                    <a:lnTo>
                      <a:pt x="1236" y="1578"/>
                    </a:lnTo>
                    <a:lnTo>
                      <a:pt x="1234" y="1578"/>
                    </a:lnTo>
                    <a:lnTo>
                      <a:pt x="1234" y="1577"/>
                    </a:lnTo>
                    <a:lnTo>
                      <a:pt x="1232" y="1578"/>
                    </a:lnTo>
                    <a:lnTo>
                      <a:pt x="1232" y="1577"/>
                    </a:lnTo>
                    <a:lnTo>
                      <a:pt x="1230" y="1578"/>
                    </a:lnTo>
                    <a:lnTo>
                      <a:pt x="1232" y="1577"/>
                    </a:lnTo>
                    <a:lnTo>
                      <a:pt x="1230" y="1575"/>
                    </a:lnTo>
                    <a:lnTo>
                      <a:pt x="1232" y="1577"/>
                    </a:lnTo>
                    <a:lnTo>
                      <a:pt x="1234" y="1577"/>
                    </a:lnTo>
                    <a:lnTo>
                      <a:pt x="1236" y="1577"/>
                    </a:lnTo>
                    <a:lnTo>
                      <a:pt x="1234" y="1577"/>
                    </a:lnTo>
                    <a:lnTo>
                      <a:pt x="1236" y="1577"/>
                    </a:lnTo>
                    <a:lnTo>
                      <a:pt x="1237" y="1577"/>
                    </a:lnTo>
                    <a:lnTo>
                      <a:pt x="1237" y="1578"/>
                    </a:lnTo>
                    <a:lnTo>
                      <a:pt x="1239" y="1578"/>
                    </a:lnTo>
                    <a:lnTo>
                      <a:pt x="1237" y="1577"/>
                    </a:lnTo>
                    <a:lnTo>
                      <a:pt x="1239" y="1577"/>
                    </a:lnTo>
                    <a:lnTo>
                      <a:pt x="1237" y="1577"/>
                    </a:lnTo>
                    <a:lnTo>
                      <a:pt x="1236" y="1577"/>
                    </a:lnTo>
                    <a:lnTo>
                      <a:pt x="1237" y="1575"/>
                    </a:lnTo>
                    <a:lnTo>
                      <a:pt x="1236" y="1575"/>
                    </a:lnTo>
                    <a:lnTo>
                      <a:pt x="1234" y="1575"/>
                    </a:lnTo>
                    <a:lnTo>
                      <a:pt x="1236" y="1575"/>
                    </a:lnTo>
                    <a:lnTo>
                      <a:pt x="1237" y="1575"/>
                    </a:lnTo>
                    <a:lnTo>
                      <a:pt x="1237" y="1573"/>
                    </a:lnTo>
                    <a:lnTo>
                      <a:pt x="1236" y="1575"/>
                    </a:lnTo>
                    <a:lnTo>
                      <a:pt x="1237" y="1573"/>
                    </a:lnTo>
                    <a:lnTo>
                      <a:pt x="1236" y="1573"/>
                    </a:lnTo>
                    <a:lnTo>
                      <a:pt x="1234" y="1573"/>
                    </a:lnTo>
                    <a:lnTo>
                      <a:pt x="1236" y="1572"/>
                    </a:lnTo>
                    <a:lnTo>
                      <a:pt x="1237" y="1572"/>
                    </a:lnTo>
                    <a:lnTo>
                      <a:pt x="1239" y="1572"/>
                    </a:lnTo>
                    <a:lnTo>
                      <a:pt x="1239" y="1573"/>
                    </a:lnTo>
                    <a:lnTo>
                      <a:pt x="1241" y="1573"/>
                    </a:lnTo>
                    <a:lnTo>
                      <a:pt x="1239" y="1573"/>
                    </a:lnTo>
                    <a:lnTo>
                      <a:pt x="1239" y="1572"/>
                    </a:lnTo>
                    <a:lnTo>
                      <a:pt x="1237" y="1572"/>
                    </a:lnTo>
                    <a:lnTo>
                      <a:pt x="1237" y="1570"/>
                    </a:lnTo>
                    <a:lnTo>
                      <a:pt x="1237" y="1572"/>
                    </a:lnTo>
                    <a:lnTo>
                      <a:pt x="1237" y="1570"/>
                    </a:lnTo>
                    <a:lnTo>
                      <a:pt x="1239" y="1568"/>
                    </a:lnTo>
                    <a:lnTo>
                      <a:pt x="1241" y="1568"/>
                    </a:lnTo>
                    <a:lnTo>
                      <a:pt x="1242" y="1568"/>
                    </a:lnTo>
                    <a:lnTo>
                      <a:pt x="1242" y="1566"/>
                    </a:lnTo>
                    <a:lnTo>
                      <a:pt x="1241" y="1566"/>
                    </a:lnTo>
                    <a:lnTo>
                      <a:pt x="1241" y="1568"/>
                    </a:lnTo>
                    <a:lnTo>
                      <a:pt x="1241" y="1566"/>
                    </a:lnTo>
                    <a:lnTo>
                      <a:pt x="1239" y="1566"/>
                    </a:lnTo>
                    <a:lnTo>
                      <a:pt x="1241" y="1566"/>
                    </a:lnTo>
                    <a:lnTo>
                      <a:pt x="1239" y="1566"/>
                    </a:lnTo>
                    <a:lnTo>
                      <a:pt x="1239" y="1568"/>
                    </a:lnTo>
                    <a:lnTo>
                      <a:pt x="1237" y="1568"/>
                    </a:lnTo>
                    <a:lnTo>
                      <a:pt x="1237" y="1570"/>
                    </a:lnTo>
                    <a:lnTo>
                      <a:pt x="1237" y="1568"/>
                    </a:lnTo>
                    <a:lnTo>
                      <a:pt x="1237" y="1566"/>
                    </a:lnTo>
                    <a:lnTo>
                      <a:pt x="1239" y="1566"/>
                    </a:lnTo>
                    <a:lnTo>
                      <a:pt x="1239" y="1565"/>
                    </a:lnTo>
                    <a:lnTo>
                      <a:pt x="1237" y="1566"/>
                    </a:lnTo>
                    <a:lnTo>
                      <a:pt x="1236" y="1568"/>
                    </a:lnTo>
                    <a:lnTo>
                      <a:pt x="1237" y="1568"/>
                    </a:lnTo>
                    <a:lnTo>
                      <a:pt x="1236" y="1568"/>
                    </a:lnTo>
                    <a:lnTo>
                      <a:pt x="1237" y="1570"/>
                    </a:lnTo>
                    <a:lnTo>
                      <a:pt x="1236" y="1570"/>
                    </a:lnTo>
                    <a:lnTo>
                      <a:pt x="1236" y="1572"/>
                    </a:lnTo>
                    <a:lnTo>
                      <a:pt x="1234" y="1572"/>
                    </a:lnTo>
                    <a:lnTo>
                      <a:pt x="1232" y="1572"/>
                    </a:lnTo>
                    <a:lnTo>
                      <a:pt x="1234" y="1572"/>
                    </a:lnTo>
                    <a:lnTo>
                      <a:pt x="1232" y="1572"/>
                    </a:lnTo>
                    <a:lnTo>
                      <a:pt x="1232" y="1570"/>
                    </a:lnTo>
                    <a:lnTo>
                      <a:pt x="1234" y="1570"/>
                    </a:lnTo>
                    <a:lnTo>
                      <a:pt x="1236" y="1570"/>
                    </a:lnTo>
                    <a:lnTo>
                      <a:pt x="1234" y="1570"/>
                    </a:lnTo>
                    <a:lnTo>
                      <a:pt x="1234" y="1568"/>
                    </a:lnTo>
                    <a:lnTo>
                      <a:pt x="1236" y="1568"/>
                    </a:lnTo>
                    <a:lnTo>
                      <a:pt x="1236" y="1566"/>
                    </a:lnTo>
                    <a:lnTo>
                      <a:pt x="1236" y="1565"/>
                    </a:lnTo>
                    <a:lnTo>
                      <a:pt x="1236" y="1563"/>
                    </a:lnTo>
                    <a:lnTo>
                      <a:pt x="1237" y="1563"/>
                    </a:lnTo>
                    <a:lnTo>
                      <a:pt x="1237" y="1561"/>
                    </a:lnTo>
                    <a:lnTo>
                      <a:pt x="1239" y="1561"/>
                    </a:lnTo>
                    <a:lnTo>
                      <a:pt x="1239" y="1560"/>
                    </a:lnTo>
                    <a:lnTo>
                      <a:pt x="1237" y="1561"/>
                    </a:lnTo>
                    <a:lnTo>
                      <a:pt x="1237" y="1563"/>
                    </a:lnTo>
                    <a:lnTo>
                      <a:pt x="1236" y="1561"/>
                    </a:lnTo>
                    <a:lnTo>
                      <a:pt x="1236" y="1563"/>
                    </a:lnTo>
                    <a:lnTo>
                      <a:pt x="1234" y="1563"/>
                    </a:lnTo>
                    <a:lnTo>
                      <a:pt x="1236" y="1563"/>
                    </a:lnTo>
                    <a:lnTo>
                      <a:pt x="1236" y="1565"/>
                    </a:lnTo>
                    <a:lnTo>
                      <a:pt x="1236" y="1566"/>
                    </a:lnTo>
                    <a:lnTo>
                      <a:pt x="1234" y="1566"/>
                    </a:lnTo>
                    <a:lnTo>
                      <a:pt x="1234" y="1568"/>
                    </a:lnTo>
                    <a:lnTo>
                      <a:pt x="1232" y="1568"/>
                    </a:lnTo>
                    <a:lnTo>
                      <a:pt x="1230" y="1568"/>
                    </a:lnTo>
                    <a:lnTo>
                      <a:pt x="1232" y="1568"/>
                    </a:lnTo>
                    <a:lnTo>
                      <a:pt x="1232" y="1566"/>
                    </a:lnTo>
                    <a:lnTo>
                      <a:pt x="1230" y="1568"/>
                    </a:lnTo>
                    <a:lnTo>
                      <a:pt x="1229" y="1568"/>
                    </a:lnTo>
                    <a:lnTo>
                      <a:pt x="1229" y="1566"/>
                    </a:lnTo>
                    <a:lnTo>
                      <a:pt x="1230" y="1566"/>
                    </a:lnTo>
                    <a:lnTo>
                      <a:pt x="1229" y="1565"/>
                    </a:lnTo>
                    <a:lnTo>
                      <a:pt x="1230" y="1565"/>
                    </a:lnTo>
                    <a:lnTo>
                      <a:pt x="1232" y="1565"/>
                    </a:lnTo>
                    <a:lnTo>
                      <a:pt x="1234" y="1565"/>
                    </a:lnTo>
                    <a:lnTo>
                      <a:pt x="1232" y="1565"/>
                    </a:lnTo>
                    <a:lnTo>
                      <a:pt x="1230" y="1565"/>
                    </a:lnTo>
                    <a:lnTo>
                      <a:pt x="1229" y="1565"/>
                    </a:lnTo>
                    <a:lnTo>
                      <a:pt x="1230" y="1563"/>
                    </a:lnTo>
                    <a:lnTo>
                      <a:pt x="1229" y="1563"/>
                    </a:lnTo>
                    <a:lnTo>
                      <a:pt x="1229" y="1565"/>
                    </a:lnTo>
                    <a:lnTo>
                      <a:pt x="1229" y="1563"/>
                    </a:lnTo>
                    <a:lnTo>
                      <a:pt x="1230" y="1563"/>
                    </a:lnTo>
                    <a:lnTo>
                      <a:pt x="1232" y="1563"/>
                    </a:lnTo>
                    <a:lnTo>
                      <a:pt x="1230" y="1563"/>
                    </a:lnTo>
                    <a:lnTo>
                      <a:pt x="1230" y="1561"/>
                    </a:lnTo>
                    <a:lnTo>
                      <a:pt x="1232" y="1561"/>
                    </a:lnTo>
                    <a:lnTo>
                      <a:pt x="1234" y="1561"/>
                    </a:lnTo>
                    <a:lnTo>
                      <a:pt x="1234" y="1560"/>
                    </a:lnTo>
                    <a:lnTo>
                      <a:pt x="1236" y="1560"/>
                    </a:lnTo>
                    <a:lnTo>
                      <a:pt x="1237" y="1560"/>
                    </a:lnTo>
                    <a:lnTo>
                      <a:pt x="1236" y="1560"/>
                    </a:lnTo>
                    <a:lnTo>
                      <a:pt x="1236" y="1558"/>
                    </a:lnTo>
                    <a:lnTo>
                      <a:pt x="1236" y="1556"/>
                    </a:lnTo>
                    <a:lnTo>
                      <a:pt x="1236" y="1558"/>
                    </a:lnTo>
                    <a:lnTo>
                      <a:pt x="1234" y="1558"/>
                    </a:lnTo>
                    <a:lnTo>
                      <a:pt x="1236" y="1558"/>
                    </a:lnTo>
                    <a:lnTo>
                      <a:pt x="1234" y="1560"/>
                    </a:lnTo>
                    <a:lnTo>
                      <a:pt x="1234" y="1558"/>
                    </a:lnTo>
                    <a:lnTo>
                      <a:pt x="1232" y="1558"/>
                    </a:lnTo>
                    <a:lnTo>
                      <a:pt x="1230" y="1558"/>
                    </a:lnTo>
                    <a:lnTo>
                      <a:pt x="1230" y="1556"/>
                    </a:lnTo>
                    <a:lnTo>
                      <a:pt x="1229" y="1558"/>
                    </a:lnTo>
                    <a:lnTo>
                      <a:pt x="1229" y="1556"/>
                    </a:lnTo>
                    <a:lnTo>
                      <a:pt x="1227" y="1556"/>
                    </a:lnTo>
                    <a:lnTo>
                      <a:pt x="1225" y="1556"/>
                    </a:lnTo>
                    <a:lnTo>
                      <a:pt x="1224" y="1556"/>
                    </a:lnTo>
                    <a:lnTo>
                      <a:pt x="1225" y="1556"/>
                    </a:lnTo>
                    <a:lnTo>
                      <a:pt x="1225" y="1555"/>
                    </a:lnTo>
                    <a:lnTo>
                      <a:pt x="1227" y="1555"/>
                    </a:lnTo>
                    <a:lnTo>
                      <a:pt x="1229" y="1556"/>
                    </a:lnTo>
                    <a:lnTo>
                      <a:pt x="1229" y="1555"/>
                    </a:lnTo>
                    <a:lnTo>
                      <a:pt x="1230" y="1555"/>
                    </a:lnTo>
                    <a:lnTo>
                      <a:pt x="1232" y="1555"/>
                    </a:lnTo>
                    <a:lnTo>
                      <a:pt x="1232" y="1553"/>
                    </a:lnTo>
                    <a:lnTo>
                      <a:pt x="1230" y="1551"/>
                    </a:lnTo>
                    <a:lnTo>
                      <a:pt x="1230" y="1553"/>
                    </a:lnTo>
                    <a:lnTo>
                      <a:pt x="1230" y="1555"/>
                    </a:lnTo>
                    <a:lnTo>
                      <a:pt x="1230" y="1553"/>
                    </a:lnTo>
                    <a:lnTo>
                      <a:pt x="1229" y="1555"/>
                    </a:lnTo>
                    <a:lnTo>
                      <a:pt x="1227" y="1553"/>
                    </a:lnTo>
                    <a:lnTo>
                      <a:pt x="1227" y="1555"/>
                    </a:lnTo>
                    <a:lnTo>
                      <a:pt x="1227" y="1553"/>
                    </a:lnTo>
                    <a:lnTo>
                      <a:pt x="1229" y="1553"/>
                    </a:lnTo>
                    <a:lnTo>
                      <a:pt x="1229" y="1551"/>
                    </a:lnTo>
                    <a:lnTo>
                      <a:pt x="1230" y="1551"/>
                    </a:lnTo>
                    <a:lnTo>
                      <a:pt x="1230" y="1549"/>
                    </a:lnTo>
                    <a:lnTo>
                      <a:pt x="1229" y="1549"/>
                    </a:lnTo>
                    <a:lnTo>
                      <a:pt x="1229" y="1551"/>
                    </a:lnTo>
                    <a:lnTo>
                      <a:pt x="1227" y="1549"/>
                    </a:lnTo>
                    <a:lnTo>
                      <a:pt x="1227" y="1551"/>
                    </a:lnTo>
                    <a:lnTo>
                      <a:pt x="1229" y="1551"/>
                    </a:lnTo>
                    <a:lnTo>
                      <a:pt x="1227" y="1551"/>
                    </a:lnTo>
                    <a:lnTo>
                      <a:pt x="1227" y="1553"/>
                    </a:lnTo>
                    <a:lnTo>
                      <a:pt x="1227" y="1555"/>
                    </a:lnTo>
                    <a:lnTo>
                      <a:pt x="1225" y="1553"/>
                    </a:lnTo>
                    <a:lnTo>
                      <a:pt x="1224" y="1555"/>
                    </a:lnTo>
                    <a:lnTo>
                      <a:pt x="1224" y="1553"/>
                    </a:lnTo>
                    <a:lnTo>
                      <a:pt x="1225" y="1551"/>
                    </a:lnTo>
                    <a:lnTo>
                      <a:pt x="1225" y="1553"/>
                    </a:lnTo>
                    <a:lnTo>
                      <a:pt x="1224" y="1553"/>
                    </a:lnTo>
                    <a:lnTo>
                      <a:pt x="1222" y="1553"/>
                    </a:lnTo>
                    <a:lnTo>
                      <a:pt x="1220" y="1553"/>
                    </a:lnTo>
                    <a:lnTo>
                      <a:pt x="1222" y="1551"/>
                    </a:lnTo>
                    <a:lnTo>
                      <a:pt x="1220" y="1551"/>
                    </a:lnTo>
                    <a:lnTo>
                      <a:pt x="1222" y="1551"/>
                    </a:lnTo>
                    <a:lnTo>
                      <a:pt x="1220" y="1551"/>
                    </a:lnTo>
                    <a:lnTo>
                      <a:pt x="1222" y="1551"/>
                    </a:lnTo>
                    <a:lnTo>
                      <a:pt x="1222" y="1549"/>
                    </a:lnTo>
                    <a:lnTo>
                      <a:pt x="1224" y="1549"/>
                    </a:lnTo>
                    <a:lnTo>
                      <a:pt x="1222" y="1549"/>
                    </a:lnTo>
                    <a:lnTo>
                      <a:pt x="1220" y="1549"/>
                    </a:lnTo>
                    <a:lnTo>
                      <a:pt x="1222" y="1549"/>
                    </a:lnTo>
                    <a:lnTo>
                      <a:pt x="1220" y="1549"/>
                    </a:lnTo>
                    <a:lnTo>
                      <a:pt x="1219" y="1549"/>
                    </a:lnTo>
                    <a:lnTo>
                      <a:pt x="1219" y="1548"/>
                    </a:lnTo>
                    <a:lnTo>
                      <a:pt x="1217" y="1548"/>
                    </a:lnTo>
                    <a:lnTo>
                      <a:pt x="1217" y="1546"/>
                    </a:lnTo>
                    <a:lnTo>
                      <a:pt x="1217" y="1544"/>
                    </a:lnTo>
                    <a:lnTo>
                      <a:pt x="1215" y="1544"/>
                    </a:lnTo>
                    <a:lnTo>
                      <a:pt x="1215" y="1543"/>
                    </a:lnTo>
                    <a:lnTo>
                      <a:pt x="1217" y="1544"/>
                    </a:lnTo>
                    <a:lnTo>
                      <a:pt x="1219" y="1544"/>
                    </a:lnTo>
                    <a:lnTo>
                      <a:pt x="1220" y="1544"/>
                    </a:lnTo>
                    <a:lnTo>
                      <a:pt x="1220" y="1546"/>
                    </a:lnTo>
                    <a:lnTo>
                      <a:pt x="1222" y="1544"/>
                    </a:lnTo>
                    <a:lnTo>
                      <a:pt x="1222" y="1546"/>
                    </a:lnTo>
                    <a:lnTo>
                      <a:pt x="1222" y="1548"/>
                    </a:lnTo>
                    <a:lnTo>
                      <a:pt x="1222" y="1546"/>
                    </a:lnTo>
                    <a:lnTo>
                      <a:pt x="1224" y="1546"/>
                    </a:lnTo>
                    <a:lnTo>
                      <a:pt x="1222" y="1546"/>
                    </a:lnTo>
                    <a:lnTo>
                      <a:pt x="1224" y="1544"/>
                    </a:lnTo>
                    <a:lnTo>
                      <a:pt x="1224" y="1546"/>
                    </a:lnTo>
                    <a:lnTo>
                      <a:pt x="1225" y="1544"/>
                    </a:lnTo>
                    <a:lnTo>
                      <a:pt x="1225" y="1546"/>
                    </a:lnTo>
                    <a:lnTo>
                      <a:pt x="1227" y="1546"/>
                    </a:lnTo>
                    <a:lnTo>
                      <a:pt x="1227" y="1548"/>
                    </a:lnTo>
                    <a:lnTo>
                      <a:pt x="1227" y="1546"/>
                    </a:lnTo>
                    <a:lnTo>
                      <a:pt x="1229" y="1548"/>
                    </a:lnTo>
                    <a:lnTo>
                      <a:pt x="1229" y="1546"/>
                    </a:lnTo>
                    <a:lnTo>
                      <a:pt x="1227" y="1546"/>
                    </a:lnTo>
                    <a:lnTo>
                      <a:pt x="1225" y="1546"/>
                    </a:lnTo>
                    <a:lnTo>
                      <a:pt x="1225" y="1544"/>
                    </a:lnTo>
                    <a:lnTo>
                      <a:pt x="1225" y="1543"/>
                    </a:lnTo>
                    <a:lnTo>
                      <a:pt x="1227" y="1543"/>
                    </a:lnTo>
                    <a:lnTo>
                      <a:pt x="1225" y="1543"/>
                    </a:lnTo>
                    <a:lnTo>
                      <a:pt x="1227" y="1543"/>
                    </a:lnTo>
                    <a:lnTo>
                      <a:pt x="1225" y="1543"/>
                    </a:lnTo>
                    <a:lnTo>
                      <a:pt x="1225" y="1541"/>
                    </a:lnTo>
                    <a:lnTo>
                      <a:pt x="1224" y="1541"/>
                    </a:lnTo>
                    <a:lnTo>
                      <a:pt x="1225" y="1541"/>
                    </a:lnTo>
                    <a:lnTo>
                      <a:pt x="1224" y="1539"/>
                    </a:lnTo>
                    <a:lnTo>
                      <a:pt x="1225" y="1539"/>
                    </a:lnTo>
                    <a:lnTo>
                      <a:pt x="1227" y="1539"/>
                    </a:lnTo>
                    <a:lnTo>
                      <a:pt x="1229" y="1539"/>
                    </a:lnTo>
                    <a:close/>
                    <a:moveTo>
                      <a:pt x="1400" y="1626"/>
                    </a:moveTo>
                    <a:lnTo>
                      <a:pt x="1402" y="1626"/>
                    </a:lnTo>
                    <a:lnTo>
                      <a:pt x="1402" y="1628"/>
                    </a:lnTo>
                    <a:lnTo>
                      <a:pt x="1404" y="1626"/>
                    </a:lnTo>
                    <a:lnTo>
                      <a:pt x="1404" y="1628"/>
                    </a:lnTo>
                    <a:lnTo>
                      <a:pt x="1406" y="1628"/>
                    </a:lnTo>
                    <a:lnTo>
                      <a:pt x="1407" y="1628"/>
                    </a:lnTo>
                    <a:lnTo>
                      <a:pt x="1409" y="1628"/>
                    </a:lnTo>
                    <a:lnTo>
                      <a:pt x="1407" y="1628"/>
                    </a:lnTo>
                    <a:lnTo>
                      <a:pt x="1409" y="1629"/>
                    </a:lnTo>
                    <a:lnTo>
                      <a:pt x="1409" y="1628"/>
                    </a:lnTo>
                    <a:lnTo>
                      <a:pt x="1411" y="1629"/>
                    </a:lnTo>
                    <a:lnTo>
                      <a:pt x="1411" y="1628"/>
                    </a:lnTo>
                    <a:lnTo>
                      <a:pt x="1412" y="1628"/>
                    </a:lnTo>
                    <a:lnTo>
                      <a:pt x="1414" y="1628"/>
                    </a:lnTo>
                    <a:lnTo>
                      <a:pt x="1416" y="1628"/>
                    </a:lnTo>
                    <a:lnTo>
                      <a:pt x="1416" y="1629"/>
                    </a:lnTo>
                    <a:lnTo>
                      <a:pt x="1417" y="1628"/>
                    </a:lnTo>
                    <a:lnTo>
                      <a:pt x="1419" y="1628"/>
                    </a:lnTo>
                    <a:lnTo>
                      <a:pt x="1421" y="1628"/>
                    </a:lnTo>
                    <a:lnTo>
                      <a:pt x="1423" y="1628"/>
                    </a:lnTo>
                    <a:lnTo>
                      <a:pt x="1423" y="1629"/>
                    </a:lnTo>
                    <a:lnTo>
                      <a:pt x="1424" y="1629"/>
                    </a:lnTo>
                    <a:lnTo>
                      <a:pt x="1426" y="1629"/>
                    </a:lnTo>
                    <a:lnTo>
                      <a:pt x="1428" y="1631"/>
                    </a:lnTo>
                    <a:lnTo>
                      <a:pt x="1428" y="1633"/>
                    </a:lnTo>
                    <a:lnTo>
                      <a:pt x="1429" y="1635"/>
                    </a:lnTo>
                    <a:lnTo>
                      <a:pt x="1429" y="1636"/>
                    </a:lnTo>
                    <a:lnTo>
                      <a:pt x="1429" y="1638"/>
                    </a:lnTo>
                    <a:lnTo>
                      <a:pt x="1431" y="1638"/>
                    </a:lnTo>
                    <a:lnTo>
                      <a:pt x="1431" y="1640"/>
                    </a:lnTo>
                    <a:lnTo>
                      <a:pt x="1431" y="1641"/>
                    </a:lnTo>
                    <a:lnTo>
                      <a:pt x="1429" y="1643"/>
                    </a:lnTo>
                    <a:lnTo>
                      <a:pt x="1429" y="1645"/>
                    </a:lnTo>
                    <a:lnTo>
                      <a:pt x="1428" y="1646"/>
                    </a:lnTo>
                    <a:lnTo>
                      <a:pt x="1426" y="1648"/>
                    </a:lnTo>
                    <a:lnTo>
                      <a:pt x="1426" y="1650"/>
                    </a:lnTo>
                    <a:lnTo>
                      <a:pt x="1424" y="1650"/>
                    </a:lnTo>
                    <a:lnTo>
                      <a:pt x="1424" y="1652"/>
                    </a:lnTo>
                    <a:lnTo>
                      <a:pt x="1423" y="1652"/>
                    </a:lnTo>
                    <a:lnTo>
                      <a:pt x="1421" y="1652"/>
                    </a:lnTo>
                    <a:lnTo>
                      <a:pt x="1419" y="1652"/>
                    </a:lnTo>
                    <a:lnTo>
                      <a:pt x="1417" y="1652"/>
                    </a:lnTo>
                    <a:lnTo>
                      <a:pt x="1417" y="1650"/>
                    </a:lnTo>
                    <a:lnTo>
                      <a:pt x="1417" y="1648"/>
                    </a:lnTo>
                    <a:lnTo>
                      <a:pt x="1417" y="1646"/>
                    </a:lnTo>
                    <a:lnTo>
                      <a:pt x="1419" y="1645"/>
                    </a:lnTo>
                    <a:lnTo>
                      <a:pt x="1417" y="1643"/>
                    </a:lnTo>
                    <a:lnTo>
                      <a:pt x="1416" y="1643"/>
                    </a:lnTo>
                    <a:lnTo>
                      <a:pt x="1414" y="1643"/>
                    </a:lnTo>
                    <a:lnTo>
                      <a:pt x="1412" y="1645"/>
                    </a:lnTo>
                    <a:lnTo>
                      <a:pt x="1411" y="1646"/>
                    </a:lnTo>
                    <a:lnTo>
                      <a:pt x="1412" y="1648"/>
                    </a:lnTo>
                    <a:lnTo>
                      <a:pt x="1411" y="1648"/>
                    </a:lnTo>
                    <a:lnTo>
                      <a:pt x="1409" y="1648"/>
                    </a:lnTo>
                    <a:lnTo>
                      <a:pt x="1407" y="1646"/>
                    </a:lnTo>
                    <a:lnTo>
                      <a:pt x="1407" y="1648"/>
                    </a:lnTo>
                    <a:lnTo>
                      <a:pt x="1406" y="1648"/>
                    </a:lnTo>
                    <a:lnTo>
                      <a:pt x="1404" y="1648"/>
                    </a:lnTo>
                    <a:lnTo>
                      <a:pt x="1402" y="1646"/>
                    </a:lnTo>
                    <a:lnTo>
                      <a:pt x="1404" y="1646"/>
                    </a:lnTo>
                    <a:lnTo>
                      <a:pt x="1402" y="1645"/>
                    </a:lnTo>
                    <a:lnTo>
                      <a:pt x="1404" y="1645"/>
                    </a:lnTo>
                    <a:lnTo>
                      <a:pt x="1404" y="1646"/>
                    </a:lnTo>
                    <a:lnTo>
                      <a:pt x="1406" y="1646"/>
                    </a:lnTo>
                    <a:lnTo>
                      <a:pt x="1407" y="1646"/>
                    </a:lnTo>
                    <a:lnTo>
                      <a:pt x="1406" y="1645"/>
                    </a:lnTo>
                    <a:lnTo>
                      <a:pt x="1404" y="1645"/>
                    </a:lnTo>
                    <a:lnTo>
                      <a:pt x="1404" y="1643"/>
                    </a:lnTo>
                    <a:lnTo>
                      <a:pt x="1402" y="1645"/>
                    </a:lnTo>
                    <a:lnTo>
                      <a:pt x="1402" y="1643"/>
                    </a:lnTo>
                    <a:lnTo>
                      <a:pt x="1400" y="1643"/>
                    </a:lnTo>
                    <a:lnTo>
                      <a:pt x="1400" y="1645"/>
                    </a:lnTo>
                    <a:lnTo>
                      <a:pt x="1399" y="1646"/>
                    </a:lnTo>
                    <a:lnTo>
                      <a:pt x="1399" y="1645"/>
                    </a:lnTo>
                    <a:lnTo>
                      <a:pt x="1399" y="1646"/>
                    </a:lnTo>
                    <a:lnTo>
                      <a:pt x="1397" y="1646"/>
                    </a:lnTo>
                    <a:lnTo>
                      <a:pt x="1395" y="1645"/>
                    </a:lnTo>
                    <a:lnTo>
                      <a:pt x="1394" y="1645"/>
                    </a:lnTo>
                    <a:lnTo>
                      <a:pt x="1394" y="1643"/>
                    </a:lnTo>
                    <a:lnTo>
                      <a:pt x="1395" y="1643"/>
                    </a:lnTo>
                    <a:lnTo>
                      <a:pt x="1397" y="1643"/>
                    </a:lnTo>
                    <a:lnTo>
                      <a:pt x="1395" y="1643"/>
                    </a:lnTo>
                    <a:lnTo>
                      <a:pt x="1394" y="1641"/>
                    </a:lnTo>
                    <a:lnTo>
                      <a:pt x="1394" y="1640"/>
                    </a:lnTo>
                    <a:lnTo>
                      <a:pt x="1394" y="1638"/>
                    </a:lnTo>
                    <a:lnTo>
                      <a:pt x="1394" y="1636"/>
                    </a:lnTo>
                    <a:lnTo>
                      <a:pt x="1394" y="1635"/>
                    </a:lnTo>
                    <a:lnTo>
                      <a:pt x="1394" y="1633"/>
                    </a:lnTo>
                    <a:lnTo>
                      <a:pt x="1392" y="1633"/>
                    </a:lnTo>
                    <a:lnTo>
                      <a:pt x="1394" y="1631"/>
                    </a:lnTo>
                    <a:lnTo>
                      <a:pt x="1392" y="1633"/>
                    </a:lnTo>
                    <a:lnTo>
                      <a:pt x="1392" y="1631"/>
                    </a:lnTo>
                    <a:lnTo>
                      <a:pt x="1392" y="1633"/>
                    </a:lnTo>
                    <a:lnTo>
                      <a:pt x="1390" y="1633"/>
                    </a:lnTo>
                    <a:lnTo>
                      <a:pt x="1389" y="1633"/>
                    </a:lnTo>
                    <a:lnTo>
                      <a:pt x="1387" y="1631"/>
                    </a:lnTo>
                    <a:lnTo>
                      <a:pt x="1387" y="1629"/>
                    </a:lnTo>
                    <a:lnTo>
                      <a:pt x="1385" y="1629"/>
                    </a:lnTo>
                    <a:lnTo>
                      <a:pt x="1387" y="1628"/>
                    </a:lnTo>
                    <a:lnTo>
                      <a:pt x="1389" y="1628"/>
                    </a:lnTo>
                    <a:lnTo>
                      <a:pt x="1390" y="1628"/>
                    </a:lnTo>
                    <a:lnTo>
                      <a:pt x="1392" y="1628"/>
                    </a:lnTo>
                    <a:lnTo>
                      <a:pt x="1390" y="1626"/>
                    </a:lnTo>
                    <a:lnTo>
                      <a:pt x="1392" y="1626"/>
                    </a:lnTo>
                    <a:lnTo>
                      <a:pt x="1394" y="1626"/>
                    </a:lnTo>
                    <a:lnTo>
                      <a:pt x="1395" y="1626"/>
                    </a:lnTo>
                    <a:lnTo>
                      <a:pt x="1397" y="1626"/>
                    </a:lnTo>
                    <a:lnTo>
                      <a:pt x="1399" y="1626"/>
                    </a:lnTo>
                    <a:lnTo>
                      <a:pt x="1400" y="1626"/>
                    </a:lnTo>
                    <a:close/>
                    <a:moveTo>
                      <a:pt x="1232" y="1075"/>
                    </a:moveTo>
                    <a:lnTo>
                      <a:pt x="1232" y="1077"/>
                    </a:lnTo>
                    <a:lnTo>
                      <a:pt x="1234" y="1077"/>
                    </a:lnTo>
                    <a:lnTo>
                      <a:pt x="1234" y="1078"/>
                    </a:lnTo>
                    <a:lnTo>
                      <a:pt x="1232" y="1080"/>
                    </a:lnTo>
                    <a:lnTo>
                      <a:pt x="1230" y="1082"/>
                    </a:lnTo>
                    <a:lnTo>
                      <a:pt x="1232" y="1082"/>
                    </a:lnTo>
                    <a:lnTo>
                      <a:pt x="1230" y="1082"/>
                    </a:lnTo>
                    <a:lnTo>
                      <a:pt x="1230" y="1083"/>
                    </a:lnTo>
                    <a:lnTo>
                      <a:pt x="1232" y="1082"/>
                    </a:lnTo>
                    <a:lnTo>
                      <a:pt x="1232" y="1080"/>
                    </a:lnTo>
                    <a:lnTo>
                      <a:pt x="1234" y="1080"/>
                    </a:lnTo>
                    <a:lnTo>
                      <a:pt x="1234" y="1078"/>
                    </a:lnTo>
                    <a:lnTo>
                      <a:pt x="1234" y="1077"/>
                    </a:lnTo>
                    <a:lnTo>
                      <a:pt x="1236" y="1078"/>
                    </a:lnTo>
                    <a:lnTo>
                      <a:pt x="1237" y="1078"/>
                    </a:lnTo>
                    <a:lnTo>
                      <a:pt x="1237" y="1080"/>
                    </a:lnTo>
                    <a:lnTo>
                      <a:pt x="1239" y="1080"/>
                    </a:lnTo>
                    <a:lnTo>
                      <a:pt x="1239" y="1082"/>
                    </a:lnTo>
                    <a:lnTo>
                      <a:pt x="1241" y="1082"/>
                    </a:lnTo>
                    <a:lnTo>
                      <a:pt x="1241" y="1083"/>
                    </a:lnTo>
                    <a:lnTo>
                      <a:pt x="1239" y="1083"/>
                    </a:lnTo>
                    <a:lnTo>
                      <a:pt x="1239" y="1085"/>
                    </a:lnTo>
                    <a:lnTo>
                      <a:pt x="1237" y="1087"/>
                    </a:lnTo>
                    <a:lnTo>
                      <a:pt x="1236" y="1087"/>
                    </a:lnTo>
                    <a:lnTo>
                      <a:pt x="1234" y="1087"/>
                    </a:lnTo>
                    <a:lnTo>
                      <a:pt x="1232" y="1085"/>
                    </a:lnTo>
                    <a:lnTo>
                      <a:pt x="1230" y="1085"/>
                    </a:lnTo>
                    <a:lnTo>
                      <a:pt x="1232" y="1085"/>
                    </a:lnTo>
                    <a:lnTo>
                      <a:pt x="1230" y="1085"/>
                    </a:lnTo>
                    <a:lnTo>
                      <a:pt x="1232" y="1085"/>
                    </a:lnTo>
                    <a:lnTo>
                      <a:pt x="1230" y="1087"/>
                    </a:lnTo>
                    <a:lnTo>
                      <a:pt x="1232" y="1087"/>
                    </a:lnTo>
                    <a:lnTo>
                      <a:pt x="1234" y="1087"/>
                    </a:lnTo>
                    <a:lnTo>
                      <a:pt x="1234" y="1088"/>
                    </a:lnTo>
                    <a:lnTo>
                      <a:pt x="1236" y="1088"/>
                    </a:lnTo>
                    <a:lnTo>
                      <a:pt x="1237" y="1088"/>
                    </a:lnTo>
                    <a:lnTo>
                      <a:pt x="1237" y="1090"/>
                    </a:lnTo>
                    <a:lnTo>
                      <a:pt x="1236" y="1090"/>
                    </a:lnTo>
                    <a:lnTo>
                      <a:pt x="1236" y="1092"/>
                    </a:lnTo>
                    <a:lnTo>
                      <a:pt x="1234" y="1094"/>
                    </a:lnTo>
                    <a:lnTo>
                      <a:pt x="1234" y="1092"/>
                    </a:lnTo>
                    <a:lnTo>
                      <a:pt x="1234" y="1094"/>
                    </a:lnTo>
                    <a:lnTo>
                      <a:pt x="1232" y="1094"/>
                    </a:lnTo>
                    <a:lnTo>
                      <a:pt x="1230" y="1095"/>
                    </a:lnTo>
                    <a:lnTo>
                      <a:pt x="1230" y="1097"/>
                    </a:lnTo>
                    <a:lnTo>
                      <a:pt x="1229" y="1097"/>
                    </a:lnTo>
                    <a:lnTo>
                      <a:pt x="1229" y="1099"/>
                    </a:lnTo>
                    <a:lnTo>
                      <a:pt x="1227" y="1099"/>
                    </a:lnTo>
                    <a:lnTo>
                      <a:pt x="1227" y="1100"/>
                    </a:lnTo>
                    <a:lnTo>
                      <a:pt x="1225" y="1100"/>
                    </a:lnTo>
                    <a:lnTo>
                      <a:pt x="1224" y="1100"/>
                    </a:lnTo>
                    <a:lnTo>
                      <a:pt x="1224" y="1102"/>
                    </a:lnTo>
                    <a:lnTo>
                      <a:pt x="1222" y="1100"/>
                    </a:lnTo>
                    <a:lnTo>
                      <a:pt x="1220" y="1100"/>
                    </a:lnTo>
                    <a:lnTo>
                      <a:pt x="1220" y="1099"/>
                    </a:lnTo>
                    <a:lnTo>
                      <a:pt x="1220" y="1100"/>
                    </a:lnTo>
                    <a:lnTo>
                      <a:pt x="1220" y="1099"/>
                    </a:lnTo>
                    <a:lnTo>
                      <a:pt x="1219" y="1099"/>
                    </a:lnTo>
                    <a:lnTo>
                      <a:pt x="1219" y="1097"/>
                    </a:lnTo>
                    <a:lnTo>
                      <a:pt x="1217" y="1097"/>
                    </a:lnTo>
                    <a:lnTo>
                      <a:pt x="1217" y="1095"/>
                    </a:lnTo>
                    <a:lnTo>
                      <a:pt x="1219" y="1095"/>
                    </a:lnTo>
                    <a:lnTo>
                      <a:pt x="1220" y="1095"/>
                    </a:lnTo>
                    <a:lnTo>
                      <a:pt x="1220" y="1094"/>
                    </a:lnTo>
                    <a:lnTo>
                      <a:pt x="1222" y="1095"/>
                    </a:lnTo>
                    <a:lnTo>
                      <a:pt x="1224" y="1095"/>
                    </a:lnTo>
                    <a:lnTo>
                      <a:pt x="1222" y="1094"/>
                    </a:lnTo>
                    <a:lnTo>
                      <a:pt x="1220" y="1092"/>
                    </a:lnTo>
                    <a:lnTo>
                      <a:pt x="1222" y="1092"/>
                    </a:lnTo>
                    <a:lnTo>
                      <a:pt x="1220" y="1092"/>
                    </a:lnTo>
                    <a:lnTo>
                      <a:pt x="1220" y="1094"/>
                    </a:lnTo>
                    <a:lnTo>
                      <a:pt x="1219" y="1094"/>
                    </a:lnTo>
                    <a:lnTo>
                      <a:pt x="1219" y="1095"/>
                    </a:lnTo>
                    <a:lnTo>
                      <a:pt x="1217" y="1094"/>
                    </a:lnTo>
                    <a:lnTo>
                      <a:pt x="1217" y="1092"/>
                    </a:lnTo>
                    <a:lnTo>
                      <a:pt x="1219" y="1092"/>
                    </a:lnTo>
                    <a:lnTo>
                      <a:pt x="1217" y="1092"/>
                    </a:lnTo>
                    <a:lnTo>
                      <a:pt x="1215" y="1092"/>
                    </a:lnTo>
                    <a:lnTo>
                      <a:pt x="1215" y="1090"/>
                    </a:lnTo>
                    <a:lnTo>
                      <a:pt x="1215" y="1088"/>
                    </a:lnTo>
                    <a:lnTo>
                      <a:pt x="1215" y="1087"/>
                    </a:lnTo>
                    <a:lnTo>
                      <a:pt x="1215" y="1088"/>
                    </a:lnTo>
                    <a:lnTo>
                      <a:pt x="1215" y="1087"/>
                    </a:lnTo>
                    <a:lnTo>
                      <a:pt x="1215" y="1085"/>
                    </a:lnTo>
                    <a:lnTo>
                      <a:pt x="1217" y="1085"/>
                    </a:lnTo>
                    <a:lnTo>
                      <a:pt x="1217" y="1083"/>
                    </a:lnTo>
                    <a:lnTo>
                      <a:pt x="1217" y="1085"/>
                    </a:lnTo>
                    <a:lnTo>
                      <a:pt x="1219" y="1085"/>
                    </a:lnTo>
                    <a:lnTo>
                      <a:pt x="1217" y="1085"/>
                    </a:lnTo>
                    <a:lnTo>
                      <a:pt x="1219" y="1085"/>
                    </a:lnTo>
                    <a:lnTo>
                      <a:pt x="1219" y="1087"/>
                    </a:lnTo>
                    <a:lnTo>
                      <a:pt x="1219" y="1085"/>
                    </a:lnTo>
                    <a:lnTo>
                      <a:pt x="1220" y="1085"/>
                    </a:lnTo>
                    <a:lnTo>
                      <a:pt x="1220" y="1087"/>
                    </a:lnTo>
                    <a:lnTo>
                      <a:pt x="1222" y="1087"/>
                    </a:lnTo>
                    <a:lnTo>
                      <a:pt x="1224" y="1087"/>
                    </a:lnTo>
                    <a:lnTo>
                      <a:pt x="1222" y="1085"/>
                    </a:lnTo>
                    <a:lnTo>
                      <a:pt x="1220" y="1085"/>
                    </a:lnTo>
                    <a:lnTo>
                      <a:pt x="1222" y="1085"/>
                    </a:lnTo>
                    <a:lnTo>
                      <a:pt x="1220" y="1083"/>
                    </a:lnTo>
                    <a:lnTo>
                      <a:pt x="1222" y="1083"/>
                    </a:lnTo>
                    <a:lnTo>
                      <a:pt x="1222" y="1082"/>
                    </a:lnTo>
                    <a:lnTo>
                      <a:pt x="1222" y="1083"/>
                    </a:lnTo>
                    <a:lnTo>
                      <a:pt x="1224" y="1083"/>
                    </a:lnTo>
                    <a:lnTo>
                      <a:pt x="1225" y="1083"/>
                    </a:lnTo>
                    <a:lnTo>
                      <a:pt x="1225" y="1085"/>
                    </a:lnTo>
                    <a:lnTo>
                      <a:pt x="1225" y="1083"/>
                    </a:lnTo>
                    <a:lnTo>
                      <a:pt x="1225" y="1082"/>
                    </a:lnTo>
                    <a:lnTo>
                      <a:pt x="1224" y="1082"/>
                    </a:lnTo>
                    <a:lnTo>
                      <a:pt x="1222" y="1082"/>
                    </a:lnTo>
                    <a:lnTo>
                      <a:pt x="1222" y="1080"/>
                    </a:lnTo>
                    <a:lnTo>
                      <a:pt x="1222" y="1078"/>
                    </a:lnTo>
                    <a:lnTo>
                      <a:pt x="1222" y="1077"/>
                    </a:lnTo>
                    <a:lnTo>
                      <a:pt x="1224" y="1077"/>
                    </a:lnTo>
                    <a:lnTo>
                      <a:pt x="1225" y="1077"/>
                    </a:lnTo>
                    <a:lnTo>
                      <a:pt x="1225" y="1078"/>
                    </a:lnTo>
                    <a:lnTo>
                      <a:pt x="1225" y="1077"/>
                    </a:lnTo>
                    <a:lnTo>
                      <a:pt x="1227" y="1077"/>
                    </a:lnTo>
                    <a:lnTo>
                      <a:pt x="1227" y="1075"/>
                    </a:lnTo>
                    <a:lnTo>
                      <a:pt x="1229" y="1075"/>
                    </a:lnTo>
                    <a:lnTo>
                      <a:pt x="1230" y="1075"/>
                    </a:lnTo>
                    <a:lnTo>
                      <a:pt x="1232" y="1075"/>
                    </a:lnTo>
                    <a:close/>
                    <a:moveTo>
                      <a:pt x="1315" y="1549"/>
                    </a:moveTo>
                    <a:lnTo>
                      <a:pt x="1315" y="1551"/>
                    </a:lnTo>
                    <a:lnTo>
                      <a:pt x="1315" y="1553"/>
                    </a:lnTo>
                    <a:lnTo>
                      <a:pt x="1315" y="1555"/>
                    </a:lnTo>
                    <a:lnTo>
                      <a:pt x="1315" y="1556"/>
                    </a:lnTo>
                    <a:lnTo>
                      <a:pt x="1315" y="1558"/>
                    </a:lnTo>
                    <a:lnTo>
                      <a:pt x="1315" y="1560"/>
                    </a:lnTo>
                    <a:lnTo>
                      <a:pt x="1315" y="1561"/>
                    </a:lnTo>
                    <a:lnTo>
                      <a:pt x="1317" y="1563"/>
                    </a:lnTo>
                    <a:lnTo>
                      <a:pt x="1315" y="1563"/>
                    </a:lnTo>
                    <a:lnTo>
                      <a:pt x="1317" y="1565"/>
                    </a:lnTo>
                    <a:lnTo>
                      <a:pt x="1315" y="1565"/>
                    </a:lnTo>
                    <a:lnTo>
                      <a:pt x="1317" y="1566"/>
                    </a:lnTo>
                    <a:lnTo>
                      <a:pt x="1315" y="1566"/>
                    </a:lnTo>
                    <a:lnTo>
                      <a:pt x="1315" y="1568"/>
                    </a:lnTo>
                    <a:lnTo>
                      <a:pt x="1317" y="1570"/>
                    </a:lnTo>
                    <a:lnTo>
                      <a:pt x="1319" y="1572"/>
                    </a:lnTo>
                    <a:lnTo>
                      <a:pt x="1319" y="1573"/>
                    </a:lnTo>
                    <a:lnTo>
                      <a:pt x="1321" y="1575"/>
                    </a:lnTo>
                    <a:lnTo>
                      <a:pt x="1319" y="1577"/>
                    </a:lnTo>
                    <a:lnTo>
                      <a:pt x="1317" y="1577"/>
                    </a:lnTo>
                    <a:lnTo>
                      <a:pt x="1317" y="1578"/>
                    </a:lnTo>
                    <a:lnTo>
                      <a:pt x="1315" y="1577"/>
                    </a:lnTo>
                    <a:lnTo>
                      <a:pt x="1314" y="1575"/>
                    </a:lnTo>
                    <a:lnTo>
                      <a:pt x="1312" y="1573"/>
                    </a:lnTo>
                    <a:lnTo>
                      <a:pt x="1310" y="1572"/>
                    </a:lnTo>
                    <a:lnTo>
                      <a:pt x="1309" y="1570"/>
                    </a:lnTo>
                    <a:lnTo>
                      <a:pt x="1309" y="1572"/>
                    </a:lnTo>
                    <a:lnTo>
                      <a:pt x="1309" y="1573"/>
                    </a:lnTo>
                    <a:lnTo>
                      <a:pt x="1310" y="1573"/>
                    </a:lnTo>
                    <a:lnTo>
                      <a:pt x="1310" y="1575"/>
                    </a:lnTo>
                    <a:lnTo>
                      <a:pt x="1312" y="1575"/>
                    </a:lnTo>
                    <a:lnTo>
                      <a:pt x="1312" y="1577"/>
                    </a:lnTo>
                    <a:lnTo>
                      <a:pt x="1312" y="1578"/>
                    </a:lnTo>
                    <a:lnTo>
                      <a:pt x="1312" y="1580"/>
                    </a:lnTo>
                    <a:lnTo>
                      <a:pt x="1312" y="1582"/>
                    </a:lnTo>
                    <a:lnTo>
                      <a:pt x="1314" y="1582"/>
                    </a:lnTo>
                    <a:lnTo>
                      <a:pt x="1314" y="1583"/>
                    </a:lnTo>
                    <a:lnTo>
                      <a:pt x="1314" y="1582"/>
                    </a:lnTo>
                    <a:lnTo>
                      <a:pt x="1315" y="1582"/>
                    </a:lnTo>
                    <a:lnTo>
                      <a:pt x="1315" y="1583"/>
                    </a:lnTo>
                    <a:lnTo>
                      <a:pt x="1317" y="1583"/>
                    </a:lnTo>
                    <a:lnTo>
                      <a:pt x="1317" y="1585"/>
                    </a:lnTo>
                    <a:lnTo>
                      <a:pt x="1319" y="1585"/>
                    </a:lnTo>
                    <a:lnTo>
                      <a:pt x="1321" y="1585"/>
                    </a:lnTo>
                    <a:lnTo>
                      <a:pt x="1322" y="1585"/>
                    </a:lnTo>
                    <a:lnTo>
                      <a:pt x="1321" y="1585"/>
                    </a:lnTo>
                    <a:lnTo>
                      <a:pt x="1322" y="1587"/>
                    </a:lnTo>
                    <a:lnTo>
                      <a:pt x="1321" y="1589"/>
                    </a:lnTo>
                    <a:lnTo>
                      <a:pt x="1322" y="1587"/>
                    </a:lnTo>
                    <a:lnTo>
                      <a:pt x="1324" y="1587"/>
                    </a:lnTo>
                    <a:lnTo>
                      <a:pt x="1324" y="1589"/>
                    </a:lnTo>
                    <a:lnTo>
                      <a:pt x="1322" y="1590"/>
                    </a:lnTo>
                    <a:lnTo>
                      <a:pt x="1321" y="1590"/>
                    </a:lnTo>
                    <a:lnTo>
                      <a:pt x="1319" y="1590"/>
                    </a:lnTo>
                    <a:lnTo>
                      <a:pt x="1317" y="1589"/>
                    </a:lnTo>
                    <a:lnTo>
                      <a:pt x="1315" y="1589"/>
                    </a:lnTo>
                    <a:lnTo>
                      <a:pt x="1314" y="1587"/>
                    </a:lnTo>
                    <a:lnTo>
                      <a:pt x="1315" y="1589"/>
                    </a:lnTo>
                    <a:lnTo>
                      <a:pt x="1314" y="1589"/>
                    </a:lnTo>
                    <a:lnTo>
                      <a:pt x="1312" y="1587"/>
                    </a:lnTo>
                    <a:lnTo>
                      <a:pt x="1310" y="1587"/>
                    </a:lnTo>
                    <a:lnTo>
                      <a:pt x="1309" y="1585"/>
                    </a:lnTo>
                    <a:lnTo>
                      <a:pt x="1307" y="1585"/>
                    </a:lnTo>
                    <a:lnTo>
                      <a:pt x="1305" y="1583"/>
                    </a:lnTo>
                    <a:lnTo>
                      <a:pt x="1305" y="1582"/>
                    </a:lnTo>
                    <a:lnTo>
                      <a:pt x="1304" y="1582"/>
                    </a:lnTo>
                    <a:lnTo>
                      <a:pt x="1304" y="1580"/>
                    </a:lnTo>
                    <a:lnTo>
                      <a:pt x="1305" y="1580"/>
                    </a:lnTo>
                    <a:lnTo>
                      <a:pt x="1304" y="1580"/>
                    </a:lnTo>
                    <a:lnTo>
                      <a:pt x="1302" y="1578"/>
                    </a:lnTo>
                    <a:lnTo>
                      <a:pt x="1302" y="1577"/>
                    </a:lnTo>
                    <a:lnTo>
                      <a:pt x="1302" y="1575"/>
                    </a:lnTo>
                    <a:lnTo>
                      <a:pt x="1302" y="1573"/>
                    </a:lnTo>
                    <a:lnTo>
                      <a:pt x="1302" y="1572"/>
                    </a:lnTo>
                    <a:lnTo>
                      <a:pt x="1300" y="1570"/>
                    </a:lnTo>
                    <a:lnTo>
                      <a:pt x="1302" y="1570"/>
                    </a:lnTo>
                    <a:lnTo>
                      <a:pt x="1304" y="1570"/>
                    </a:lnTo>
                    <a:lnTo>
                      <a:pt x="1302" y="1570"/>
                    </a:lnTo>
                    <a:lnTo>
                      <a:pt x="1302" y="1568"/>
                    </a:lnTo>
                    <a:lnTo>
                      <a:pt x="1300" y="1568"/>
                    </a:lnTo>
                    <a:lnTo>
                      <a:pt x="1300" y="1566"/>
                    </a:lnTo>
                    <a:lnTo>
                      <a:pt x="1302" y="1566"/>
                    </a:lnTo>
                    <a:lnTo>
                      <a:pt x="1302" y="1565"/>
                    </a:lnTo>
                    <a:lnTo>
                      <a:pt x="1304" y="1565"/>
                    </a:lnTo>
                    <a:lnTo>
                      <a:pt x="1305" y="1565"/>
                    </a:lnTo>
                    <a:lnTo>
                      <a:pt x="1307" y="1565"/>
                    </a:lnTo>
                    <a:lnTo>
                      <a:pt x="1309" y="1565"/>
                    </a:lnTo>
                    <a:lnTo>
                      <a:pt x="1309" y="1566"/>
                    </a:lnTo>
                    <a:lnTo>
                      <a:pt x="1310" y="1566"/>
                    </a:lnTo>
                    <a:lnTo>
                      <a:pt x="1310" y="1565"/>
                    </a:lnTo>
                    <a:lnTo>
                      <a:pt x="1310" y="1563"/>
                    </a:lnTo>
                    <a:lnTo>
                      <a:pt x="1309" y="1563"/>
                    </a:lnTo>
                    <a:lnTo>
                      <a:pt x="1307" y="1561"/>
                    </a:lnTo>
                    <a:lnTo>
                      <a:pt x="1307" y="1560"/>
                    </a:lnTo>
                    <a:lnTo>
                      <a:pt x="1307" y="1558"/>
                    </a:lnTo>
                    <a:lnTo>
                      <a:pt x="1307" y="1556"/>
                    </a:lnTo>
                    <a:lnTo>
                      <a:pt x="1309" y="1556"/>
                    </a:lnTo>
                    <a:lnTo>
                      <a:pt x="1310" y="1555"/>
                    </a:lnTo>
                    <a:lnTo>
                      <a:pt x="1312" y="1553"/>
                    </a:lnTo>
                    <a:lnTo>
                      <a:pt x="1312" y="1551"/>
                    </a:lnTo>
                    <a:lnTo>
                      <a:pt x="1312" y="1549"/>
                    </a:lnTo>
                    <a:lnTo>
                      <a:pt x="1314" y="1549"/>
                    </a:lnTo>
                    <a:lnTo>
                      <a:pt x="1315" y="1549"/>
                    </a:lnTo>
                    <a:close/>
                    <a:moveTo>
                      <a:pt x="1174" y="1502"/>
                    </a:moveTo>
                    <a:lnTo>
                      <a:pt x="1174" y="1504"/>
                    </a:lnTo>
                    <a:lnTo>
                      <a:pt x="1176" y="1504"/>
                    </a:lnTo>
                    <a:lnTo>
                      <a:pt x="1174" y="1504"/>
                    </a:lnTo>
                    <a:lnTo>
                      <a:pt x="1176" y="1505"/>
                    </a:lnTo>
                    <a:lnTo>
                      <a:pt x="1178" y="1505"/>
                    </a:lnTo>
                    <a:lnTo>
                      <a:pt x="1178" y="1507"/>
                    </a:lnTo>
                    <a:lnTo>
                      <a:pt x="1179" y="1507"/>
                    </a:lnTo>
                    <a:lnTo>
                      <a:pt x="1179" y="1505"/>
                    </a:lnTo>
                    <a:lnTo>
                      <a:pt x="1179" y="1507"/>
                    </a:lnTo>
                    <a:lnTo>
                      <a:pt x="1181" y="1507"/>
                    </a:lnTo>
                    <a:lnTo>
                      <a:pt x="1181" y="1509"/>
                    </a:lnTo>
                    <a:lnTo>
                      <a:pt x="1179" y="1509"/>
                    </a:lnTo>
                    <a:lnTo>
                      <a:pt x="1181" y="1509"/>
                    </a:lnTo>
                    <a:lnTo>
                      <a:pt x="1181" y="1510"/>
                    </a:lnTo>
                    <a:lnTo>
                      <a:pt x="1179" y="1510"/>
                    </a:lnTo>
                    <a:lnTo>
                      <a:pt x="1181" y="1510"/>
                    </a:lnTo>
                    <a:lnTo>
                      <a:pt x="1183" y="1510"/>
                    </a:lnTo>
                    <a:lnTo>
                      <a:pt x="1183" y="1512"/>
                    </a:lnTo>
                    <a:lnTo>
                      <a:pt x="1183" y="1510"/>
                    </a:lnTo>
                    <a:lnTo>
                      <a:pt x="1185" y="1510"/>
                    </a:lnTo>
                    <a:lnTo>
                      <a:pt x="1183" y="1512"/>
                    </a:lnTo>
                    <a:lnTo>
                      <a:pt x="1183" y="1514"/>
                    </a:lnTo>
                    <a:lnTo>
                      <a:pt x="1185" y="1514"/>
                    </a:lnTo>
                    <a:lnTo>
                      <a:pt x="1185" y="1515"/>
                    </a:lnTo>
                    <a:lnTo>
                      <a:pt x="1186" y="1515"/>
                    </a:lnTo>
                    <a:lnTo>
                      <a:pt x="1185" y="1515"/>
                    </a:lnTo>
                    <a:lnTo>
                      <a:pt x="1185" y="1514"/>
                    </a:lnTo>
                    <a:lnTo>
                      <a:pt x="1186" y="1514"/>
                    </a:lnTo>
                    <a:lnTo>
                      <a:pt x="1186" y="1512"/>
                    </a:lnTo>
                    <a:lnTo>
                      <a:pt x="1186" y="1514"/>
                    </a:lnTo>
                    <a:lnTo>
                      <a:pt x="1186" y="1515"/>
                    </a:lnTo>
                    <a:lnTo>
                      <a:pt x="1188" y="1515"/>
                    </a:lnTo>
                    <a:lnTo>
                      <a:pt x="1186" y="1517"/>
                    </a:lnTo>
                    <a:lnTo>
                      <a:pt x="1188" y="1515"/>
                    </a:lnTo>
                    <a:lnTo>
                      <a:pt x="1188" y="1514"/>
                    </a:lnTo>
                    <a:lnTo>
                      <a:pt x="1188" y="1515"/>
                    </a:lnTo>
                    <a:lnTo>
                      <a:pt x="1190" y="1515"/>
                    </a:lnTo>
                    <a:lnTo>
                      <a:pt x="1190" y="1517"/>
                    </a:lnTo>
                    <a:lnTo>
                      <a:pt x="1190" y="1515"/>
                    </a:lnTo>
                    <a:lnTo>
                      <a:pt x="1191" y="1517"/>
                    </a:lnTo>
                    <a:lnTo>
                      <a:pt x="1190" y="1517"/>
                    </a:lnTo>
                    <a:lnTo>
                      <a:pt x="1191" y="1517"/>
                    </a:lnTo>
                    <a:lnTo>
                      <a:pt x="1193" y="1519"/>
                    </a:lnTo>
                    <a:lnTo>
                      <a:pt x="1193" y="1517"/>
                    </a:lnTo>
                    <a:lnTo>
                      <a:pt x="1193" y="1515"/>
                    </a:lnTo>
                    <a:lnTo>
                      <a:pt x="1191" y="1515"/>
                    </a:lnTo>
                    <a:lnTo>
                      <a:pt x="1191" y="1514"/>
                    </a:lnTo>
                    <a:lnTo>
                      <a:pt x="1193" y="1514"/>
                    </a:lnTo>
                    <a:lnTo>
                      <a:pt x="1193" y="1515"/>
                    </a:lnTo>
                    <a:lnTo>
                      <a:pt x="1195" y="1515"/>
                    </a:lnTo>
                    <a:lnTo>
                      <a:pt x="1193" y="1515"/>
                    </a:lnTo>
                    <a:lnTo>
                      <a:pt x="1195" y="1517"/>
                    </a:lnTo>
                    <a:lnTo>
                      <a:pt x="1196" y="1517"/>
                    </a:lnTo>
                    <a:lnTo>
                      <a:pt x="1195" y="1517"/>
                    </a:lnTo>
                    <a:lnTo>
                      <a:pt x="1196" y="1517"/>
                    </a:lnTo>
                    <a:lnTo>
                      <a:pt x="1198" y="1517"/>
                    </a:lnTo>
                    <a:lnTo>
                      <a:pt x="1198" y="1519"/>
                    </a:lnTo>
                    <a:lnTo>
                      <a:pt x="1196" y="1517"/>
                    </a:lnTo>
                    <a:lnTo>
                      <a:pt x="1198" y="1519"/>
                    </a:lnTo>
                    <a:lnTo>
                      <a:pt x="1196" y="1519"/>
                    </a:lnTo>
                    <a:lnTo>
                      <a:pt x="1198" y="1519"/>
                    </a:lnTo>
                    <a:lnTo>
                      <a:pt x="1198" y="1521"/>
                    </a:lnTo>
                    <a:lnTo>
                      <a:pt x="1200" y="1521"/>
                    </a:lnTo>
                    <a:lnTo>
                      <a:pt x="1198" y="1521"/>
                    </a:lnTo>
                    <a:lnTo>
                      <a:pt x="1200" y="1521"/>
                    </a:lnTo>
                    <a:lnTo>
                      <a:pt x="1198" y="1519"/>
                    </a:lnTo>
                    <a:lnTo>
                      <a:pt x="1200" y="1519"/>
                    </a:lnTo>
                    <a:lnTo>
                      <a:pt x="1202" y="1519"/>
                    </a:lnTo>
                    <a:lnTo>
                      <a:pt x="1202" y="1521"/>
                    </a:lnTo>
                    <a:lnTo>
                      <a:pt x="1203" y="1522"/>
                    </a:lnTo>
                    <a:lnTo>
                      <a:pt x="1202" y="1521"/>
                    </a:lnTo>
                    <a:lnTo>
                      <a:pt x="1202" y="1519"/>
                    </a:lnTo>
                    <a:lnTo>
                      <a:pt x="1203" y="1521"/>
                    </a:lnTo>
                    <a:lnTo>
                      <a:pt x="1205" y="1522"/>
                    </a:lnTo>
                    <a:lnTo>
                      <a:pt x="1205" y="1521"/>
                    </a:lnTo>
                    <a:lnTo>
                      <a:pt x="1205" y="1522"/>
                    </a:lnTo>
                    <a:lnTo>
                      <a:pt x="1207" y="1522"/>
                    </a:lnTo>
                    <a:lnTo>
                      <a:pt x="1205" y="1522"/>
                    </a:lnTo>
                    <a:lnTo>
                      <a:pt x="1207" y="1522"/>
                    </a:lnTo>
                    <a:lnTo>
                      <a:pt x="1207" y="1524"/>
                    </a:lnTo>
                    <a:lnTo>
                      <a:pt x="1208" y="1524"/>
                    </a:lnTo>
                    <a:lnTo>
                      <a:pt x="1207" y="1524"/>
                    </a:lnTo>
                    <a:lnTo>
                      <a:pt x="1208" y="1524"/>
                    </a:lnTo>
                    <a:lnTo>
                      <a:pt x="1208" y="1526"/>
                    </a:lnTo>
                    <a:lnTo>
                      <a:pt x="1208" y="1527"/>
                    </a:lnTo>
                    <a:lnTo>
                      <a:pt x="1208" y="1526"/>
                    </a:lnTo>
                    <a:lnTo>
                      <a:pt x="1210" y="1526"/>
                    </a:lnTo>
                    <a:lnTo>
                      <a:pt x="1208" y="1526"/>
                    </a:lnTo>
                    <a:lnTo>
                      <a:pt x="1208" y="1524"/>
                    </a:lnTo>
                    <a:lnTo>
                      <a:pt x="1208" y="1522"/>
                    </a:lnTo>
                    <a:lnTo>
                      <a:pt x="1210" y="1522"/>
                    </a:lnTo>
                    <a:lnTo>
                      <a:pt x="1208" y="1522"/>
                    </a:lnTo>
                    <a:lnTo>
                      <a:pt x="1210" y="1524"/>
                    </a:lnTo>
                    <a:lnTo>
                      <a:pt x="1212" y="1524"/>
                    </a:lnTo>
                    <a:lnTo>
                      <a:pt x="1212" y="1526"/>
                    </a:lnTo>
                    <a:lnTo>
                      <a:pt x="1212" y="1527"/>
                    </a:lnTo>
                    <a:lnTo>
                      <a:pt x="1210" y="1527"/>
                    </a:lnTo>
                    <a:lnTo>
                      <a:pt x="1212" y="1529"/>
                    </a:lnTo>
                    <a:lnTo>
                      <a:pt x="1212" y="1531"/>
                    </a:lnTo>
                    <a:lnTo>
                      <a:pt x="1212" y="1532"/>
                    </a:lnTo>
                    <a:lnTo>
                      <a:pt x="1213" y="1532"/>
                    </a:lnTo>
                    <a:lnTo>
                      <a:pt x="1213" y="1534"/>
                    </a:lnTo>
                    <a:lnTo>
                      <a:pt x="1213" y="1532"/>
                    </a:lnTo>
                    <a:lnTo>
                      <a:pt x="1213" y="1531"/>
                    </a:lnTo>
                    <a:lnTo>
                      <a:pt x="1215" y="1531"/>
                    </a:lnTo>
                    <a:lnTo>
                      <a:pt x="1213" y="1531"/>
                    </a:lnTo>
                    <a:lnTo>
                      <a:pt x="1215" y="1529"/>
                    </a:lnTo>
                    <a:lnTo>
                      <a:pt x="1213" y="1531"/>
                    </a:lnTo>
                    <a:lnTo>
                      <a:pt x="1213" y="1529"/>
                    </a:lnTo>
                    <a:lnTo>
                      <a:pt x="1213" y="1527"/>
                    </a:lnTo>
                    <a:lnTo>
                      <a:pt x="1212" y="1527"/>
                    </a:lnTo>
                    <a:lnTo>
                      <a:pt x="1213" y="1527"/>
                    </a:lnTo>
                    <a:lnTo>
                      <a:pt x="1213" y="1526"/>
                    </a:lnTo>
                    <a:lnTo>
                      <a:pt x="1215" y="1526"/>
                    </a:lnTo>
                    <a:lnTo>
                      <a:pt x="1215" y="1527"/>
                    </a:lnTo>
                    <a:lnTo>
                      <a:pt x="1217" y="1527"/>
                    </a:lnTo>
                    <a:lnTo>
                      <a:pt x="1215" y="1527"/>
                    </a:lnTo>
                    <a:lnTo>
                      <a:pt x="1217" y="1527"/>
                    </a:lnTo>
                    <a:lnTo>
                      <a:pt x="1217" y="1529"/>
                    </a:lnTo>
                    <a:lnTo>
                      <a:pt x="1217" y="1527"/>
                    </a:lnTo>
                    <a:lnTo>
                      <a:pt x="1217" y="1529"/>
                    </a:lnTo>
                    <a:lnTo>
                      <a:pt x="1215" y="1529"/>
                    </a:lnTo>
                    <a:lnTo>
                      <a:pt x="1217" y="1529"/>
                    </a:lnTo>
                    <a:lnTo>
                      <a:pt x="1215" y="1529"/>
                    </a:lnTo>
                    <a:lnTo>
                      <a:pt x="1217" y="1529"/>
                    </a:lnTo>
                    <a:lnTo>
                      <a:pt x="1219" y="1529"/>
                    </a:lnTo>
                    <a:lnTo>
                      <a:pt x="1217" y="1529"/>
                    </a:lnTo>
                    <a:lnTo>
                      <a:pt x="1219" y="1529"/>
                    </a:lnTo>
                    <a:lnTo>
                      <a:pt x="1219" y="1531"/>
                    </a:lnTo>
                    <a:lnTo>
                      <a:pt x="1220" y="1531"/>
                    </a:lnTo>
                    <a:lnTo>
                      <a:pt x="1219" y="1531"/>
                    </a:lnTo>
                    <a:lnTo>
                      <a:pt x="1219" y="1532"/>
                    </a:lnTo>
                    <a:lnTo>
                      <a:pt x="1217" y="1532"/>
                    </a:lnTo>
                    <a:lnTo>
                      <a:pt x="1219" y="1532"/>
                    </a:lnTo>
                    <a:lnTo>
                      <a:pt x="1217" y="1532"/>
                    </a:lnTo>
                    <a:lnTo>
                      <a:pt x="1219" y="1532"/>
                    </a:lnTo>
                    <a:lnTo>
                      <a:pt x="1220" y="1532"/>
                    </a:lnTo>
                    <a:lnTo>
                      <a:pt x="1220" y="1534"/>
                    </a:lnTo>
                    <a:lnTo>
                      <a:pt x="1222" y="1534"/>
                    </a:lnTo>
                    <a:lnTo>
                      <a:pt x="1224" y="1534"/>
                    </a:lnTo>
                    <a:lnTo>
                      <a:pt x="1224" y="1536"/>
                    </a:lnTo>
                    <a:lnTo>
                      <a:pt x="1222" y="1536"/>
                    </a:lnTo>
                    <a:lnTo>
                      <a:pt x="1224" y="1536"/>
                    </a:lnTo>
                    <a:lnTo>
                      <a:pt x="1225" y="1536"/>
                    </a:lnTo>
                    <a:lnTo>
                      <a:pt x="1225" y="1538"/>
                    </a:lnTo>
                    <a:lnTo>
                      <a:pt x="1227" y="1538"/>
                    </a:lnTo>
                    <a:lnTo>
                      <a:pt x="1225" y="1539"/>
                    </a:lnTo>
                    <a:lnTo>
                      <a:pt x="1225" y="1538"/>
                    </a:lnTo>
                    <a:lnTo>
                      <a:pt x="1224" y="1539"/>
                    </a:lnTo>
                    <a:lnTo>
                      <a:pt x="1222" y="1539"/>
                    </a:lnTo>
                    <a:lnTo>
                      <a:pt x="1222" y="1538"/>
                    </a:lnTo>
                    <a:lnTo>
                      <a:pt x="1222" y="1539"/>
                    </a:lnTo>
                    <a:lnTo>
                      <a:pt x="1220" y="1539"/>
                    </a:lnTo>
                    <a:lnTo>
                      <a:pt x="1220" y="1538"/>
                    </a:lnTo>
                    <a:lnTo>
                      <a:pt x="1219" y="1538"/>
                    </a:lnTo>
                    <a:lnTo>
                      <a:pt x="1217" y="1536"/>
                    </a:lnTo>
                    <a:lnTo>
                      <a:pt x="1219" y="1536"/>
                    </a:lnTo>
                    <a:lnTo>
                      <a:pt x="1217" y="1536"/>
                    </a:lnTo>
                    <a:lnTo>
                      <a:pt x="1215" y="1536"/>
                    </a:lnTo>
                    <a:lnTo>
                      <a:pt x="1215" y="1538"/>
                    </a:lnTo>
                    <a:lnTo>
                      <a:pt x="1215" y="1536"/>
                    </a:lnTo>
                    <a:lnTo>
                      <a:pt x="1213" y="1538"/>
                    </a:lnTo>
                    <a:lnTo>
                      <a:pt x="1212" y="1538"/>
                    </a:lnTo>
                    <a:lnTo>
                      <a:pt x="1210" y="1538"/>
                    </a:lnTo>
                    <a:lnTo>
                      <a:pt x="1210" y="1536"/>
                    </a:lnTo>
                    <a:lnTo>
                      <a:pt x="1208" y="1534"/>
                    </a:lnTo>
                    <a:lnTo>
                      <a:pt x="1210" y="1534"/>
                    </a:lnTo>
                    <a:lnTo>
                      <a:pt x="1212" y="1534"/>
                    </a:lnTo>
                    <a:lnTo>
                      <a:pt x="1212" y="1536"/>
                    </a:lnTo>
                    <a:lnTo>
                      <a:pt x="1212" y="1534"/>
                    </a:lnTo>
                    <a:lnTo>
                      <a:pt x="1213" y="1536"/>
                    </a:lnTo>
                    <a:lnTo>
                      <a:pt x="1213" y="1534"/>
                    </a:lnTo>
                    <a:lnTo>
                      <a:pt x="1212" y="1534"/>
                    </a:lnTo>
                    <a:lnTo>
                      <a:pt x="1210" y="1534"/>
                    </a:lnTo>
                    <a:lnTo>
                      <a:pt x="1210" y="1532"/>
                    </a:lnTo>
                    <a:lnTo>
                      <a:pt x="1210" y="1531"/>
                    </a:lnTo>
                    <a:lnTo>
                      <a:pt x="1212" y="1531"/>
                    </a:lnTo>
                    <a:lnTo>
                      <a:pt x="1210" y="1531"/>
                    </a:lnTo>
                    <a:lnTo>
                      <a:pt x="1210" y="1529"/>
                    </a:lnTo>
                    <a:lnTo>
                      <a:pt x="1210" y="1531"/>
                    </a:lnTo>
                    <a:lnTo>
                      <a:pt x="1210" y="1529"/>
                    </a:lnTo>
                    <a:lnTo>
                      <a:pt x="1208" y="1527"/>
                    </a:lnTo>
                    <a:lnTo>
                      <a:pt x="1208" y="1529"/>
                    </a:lnTo>
                    <a:lnTo>
                      <a:pt x="1208" y="1531"/>
                    </a:lnTo>
                    <a:lnTo>
                      <a:pt x="1208" y="1529"/>
                    </a:lnTo>
                    <a:lnTo>
                      <a:pt x="1207" y="1529"/>
                    </a:lnTo>
                    <a:lnTo>
                      <a:pt x="1207" y="1527"/>
                    </a:lnTo>
                    <a:lnTo>
                      <a:pt x="1207" y="1526"/>
                    </a:lnTo>
                    <a:lnTo>
                      <a:pt x="1205" y="1526"/>
                    </a:lnTo>
                    <a:lnTo>
                      <a:pt x="1207" y="1527"/>
                    </a:lnTo>
                    <a:lnTo>
                      <a:pt x="1205" y="1527"/>
                    </a:lnTo>
                    <a:lnTo>
                      <a:pt x="1205" y="1529"/>
                    </a:lnTo>
                    <a:lnTo>
                      <a:pt x="1205" y="1527"/>
                    </a:lnTo>
                    <a:lnTo>
                      <a:pt x="1207" y="1527"/>
                    </a:lnTo>
                    <a:lnTo>
                      <a:pt x="1205" y="1527"/>
                    </a:lnTo>
                    <a:lnTo>
                      <a:pt x="1203" y="1527"/>
                    </a:lnTo>
                    <a:lnTo>
                      <a:pt x="1203" y="1526"/>
                    </a:lnTo>
                    <a:lnTo>
                      <a:pt x="1203" y="1524"/>
                    </a:lnTo>
                    <a:lnTo>
                      <a:pt x="1202" y="1524"/>
                    </a:lnTo>
                    <a:lnTo>
                      <a:pt x="1203" y="1526"/>
                    </a:lnTo>
                    <a:lnTo>
                      <a:pt x="1203" y="1527"/>
                    </a:lnTo>
                    <a:lnTo>
                      <a:pt x="1203" y="1526"/>
                    </a:lnTo>
                    <a:lnTo>
                      <a:pt x="1202" y="1526"/>
                    </a:lnTo>
                    <a:lnTo>
                      <a:pt x="1202" y="1524"/>
                    </a:lnTo>
                    <a:lnTo>
                      <a:pt x="1202" y="1522"/>
                    </a:lnTo>
                    <a:lnTo>
                      <a:pt x="1200" y="1522"/>
                    </a:lnTo>
                    <a:lnTo>
                      <a:pt x="1200" y="1521"/>
                    </a:lnTo>
                    <a:lnTo>
                      <a:pt x="1200" y="1522"/>
                    </a:lnTo>
                    <a:lnTo>
                      <a:pt x="1200" y="1524"/>
                    </a:lnTo>
                    <a:lnTo>
                      <a:pt x="1198" y="1522"/>
                    </a:lnTo>
                    <a:lnTo>
                      <a:pt x="1196" y="1524"/>
                    </a:lnTo>
                    <a:lnTo>
                      <a:pt x="1196" y="1522"/>
                    </a:lnTo>
                    <a:lnTo>
                      <a:pt x="1195" y="1522"/>
                    </a:lnTo>
                    <a:lnTo>
                      <a:pt x="1195" y="1521"/>
                    </a:lnTo>
                    <a:lnTo>
                      <a:pt x="1195" y="1522"/>
                    </a:lnTo>
                    <a:lnTo>
                      <a:pt x="1193" y="1521"/>
                    </a:lnTo>
                    <a:lnTo>
                      <a:pt x="1195" y="1522"/>
                    </a:lnTo>
                    <a:lnTo>
                      <a:pt x="1196" y="1524"/>
                    </a:lnTo>
                    <a:lnTo>
                      <a:pt x="1195" y="1524"/>
                    </a:lnTo>
                    <a:lnTo>
                      <a:pt x="1193" y="1526"/>
                    </a:lnTo>
                    <a:lnTo>
                      <a:pt x="1195" y="1524"/>
                    </a:lnTo>
                    <a:lnTo>
                      <a:pt x="1193" y="1524"/>
                    </a:lnTo>
                    <a:lnTo>
                      <a:pt x="1193" y="1522"/>
                    </a:lnTo>
                    <a:lnTo>
                      <a:pt x="1193" y="1524"/>
                    </a:lnTo>
                    <a:lnTo>
                      <a:pt x="1191" y="1522"/>
                    </a:lnTo>
                    <a:lnTo>
                      <a:pt x="1191" y="1524"/>
                    </a:lnTo>
                    <a:lnTo>
                      <a:pt x="1191" y="1522"/>
                    </a:lnTo>
                    <a:lnTo>
                      <a:pt x="1190" y="1522"/>
                    </a:lnTo>
                    <a:lnTo>
                      <a:pt x="1191" y="1524"/>
                    </a:lnTo>
                    <a:lnTo>
                      <a:pt x="1190" y="1524"/>
                    </a:lnTo>
                    <a:lnTo>
                      <a:pt x="1190" y="1522"/>
                    </a:lnTo>
                    <a:lnTo>
                      <a:pt x="1188" y="1521"/>
                    </a:lnTo>
                    <a:lnTo>
                      <a:pt x="1190" y="1521"/>
                    </a:lnTo>
                    <a:lnTo>
                      <a:pt x="1188" y="1519"/>
                    </a:lnTo>
                    <a:lnTo>
                      <a:pt x="1188" y="1521"/>
                    </a:lnTo>
                    <a:lnTo>
                      <a:pt x="1190" y="1522"/>
                    </a:lnTo>
                    <a:lnTo>
                      <a:pt x="1188" y="1524"/>
                    </a:lnTo>
                    <a:lnTo>
                      <a:pt x="1188" y="1526"/>
                    </a:lnTo>
                    <a:lnTo>
                      <a:pt x="1188" y="1524"/>
                    </a:lnTo>
                    <a:lnTo>
                      <a:pt x="1188" y="1522"/>
                    </a:lnTo>
                    <a:lnTo>
                      <a:pt x="1188" y="1524"/>
                    </a:lnTo>
                    <a:lnTo>
                      <a:pt x="1186" y="1524"/>
                    </a:lnTo>
                    <a:lnTo>
                      <a:pt x="1185" y="1524"/>
                    </a:lnTo>
                    <a:lnTo>
                      <a:pt x="1185" y="1522"/>
                    </a:lnTo>
                    <a:lnTo>
                      <a:pt x="1186" y="1522"/>
                    </a:lnTo>
                    <a:lnTo>
                      <a:pt x="1186" y="1521"/>
                    </a:lnTo>
                    <a:lnTo>
                      <a:pt x="1185" y="1521"/>
                    </a:lnTo>
                    <a:lnTo>
                      <a:pt x="1185" y="1519"/>
                    </a:lnTo>
                    <a:lnTo>
                      <a:pt x="1185" y="1521"/>
                    </a:lnTo>
                    <a:lnTo>
                      <a:pt x="1185" y="1522"/>
                    </a:lnTo>
                    <a:lnTo>
                      <a:pt x="1185" y="1521"/>
                    </a:lnTo>
                    <a:lnTo>
                      <a:pt x="1183" y="1521"/>
                    </a:lnTo>
                    <a:lnTo>
                      <a:pt x="1183" y="1519"/>
                    </a:lnTo>
                    <a:lnTo>
                      <a:pt x="1183" y="1517"/>
                    </a:lnTo>
                    <a:lnTo>
                      <a:pt x="1181" y="1517"/>
                    </a:lnTo>
                    <a:lnTo>
                      <a:pt x="1181" y="1515"/>
                    </a:lnTo>
                    <a:lnTo>
                      <a:pt x="1181" y="1517"/>
                    </a:lnTo>
                    <a:lnTo>
                      <a:pt x="1179" y="1517"/>
                    </a:lnTo>
                    <a:lnTo>
                      <a:pt x="1181" y="1515"/>
                    </a:lnTo>
                    <a:lnTo>
                      <a:pt x="1179" y="1517"/>
                    </a:lnTo>
                    <a:lnTo>
                      <a:pt x="1179" y="1515"/>
                    </a:lnTo>
                    <a:lnTo>
                      <a:pt x="1179" y="1514"/>
                    </a:lnTo>
                    <a:lnTo>
                      <a:pt x="1179" y="1512"/>
                    </a:lnTo>
                    <a:lnTo>
                      <a:pt x="1179" y="1514"/>
                    </a:lnTo>
                    <a:lnTo>
                      <a:pt x="1179" y="1515"/>
                    </a:lnTo>
                    <a:lnTo>
                      <a:pt x="1179" y="1514"/>
                    </a:lnTo>
                    <a:lnTo>
                      <a:pt x="1178" y="1515"/>
                    </a:lnTo>
                    <a:lnTo>
                      <a:pt x="1176" y="1515"/>
                    </a:lnTo>
                    <a:lnTo>
                      <a:pt x="1176" y="1514"/>
                    </a:lnTo>
                    <a:lnTo>
                      <a:pt x="1176" y="1512"/>
                    </a:lnTo>
                    <a:lnTo>
                      <a:pt x="1176" y="1510"/>
                    </a:lnTo>
                    <a:lnTo>
                      <a:pt x="1174" y="1510"/>
                    </a:lnTo>
                    <a:lnTo>
                      <a:pt x="1174" y="1509"/>
                    </a:lnTo>
                    <a:lnTo>
                      <a:pt x="1176" y="1509"/>
                    </a:lnTo>
                    <a:lnTo>
                      <a:pt x="1176" y="1510"/>
                    </a:lnTo>
                    <a:lnTo>
                      <a:pt x="1178" y="1510"/>
                    </a:lnTo>
                    <a:lnTo>
                      <a:pt x="1176" y="1510"/>
                    </a:lnTo>
                    <a:lnTo>
                      <a:pt x="1176" y="1509"/>
                    </a:lnTo>
                    <a:lnTo>
                      <a:pt x="1174" y="1509"/>
                    </a:lnTo>
                    <a:lnTo>
                      <a:pt x="1173" y="1507"/>
                    </a:lnTo>
                    <a:lnTo>
                      <a:pt x="1174" y="1507"/>
                    </a:lnTo>
                    <a:lnTo>
                      <a:pt x="1176" y="1507"/>
                    </a:lnTo>
                    <a:lnTo>
                      <a:pt x="1174" y="1507"/>
                    </a:lnTo>
                    <a:lnTo>
                      <a:pt x="1173" y="1505"/>
                    </a:lnTo>
                    <a:lnTo>
                      <a:pt x="1173" y="1504"/>
                    </a:lnTo>
                    <a:lnTo>
                      <a:pt x="1171" y="1502"/>
                    </a:lnTo>
                    <a:lnTo>
                      <a:pt x="1173" y="1504"/>
                    </a:lnTo>
                    <a:lnTo>
                      <a:pt x="1173" y="1502"/>
                    </a:lnTo>
                    <a:lnTo>
                      <a:pt x="1174" y="1502"/>
                    </a:lnTo>
                    <a:close/>
                    <a:moveTo>
                      <a:pt x="1278" y="1572"/>
                    </a:moveTo>
                    <a:lnTo>
                      <a:pt x="1276" y="1572"/>
                    </a:lnTo>
                    <a:lnTo>
                      <a:pt x="1278" y="1572"/>
                    </a:lnTo>
                    <a:lnTo>
                      <a:pt x="1280" y="1572"/>
                    </a:lnTo>
                    <a:lnTo>
                      <a:pt x="1280" y="1573"/>
                    </a:lnTo>
                    <a:lnTo>
                      <a:pt x="1280" y="1572"/>
                    </a:lnTo>
                    <a:lnTo>
                      <a:pt x="1281" y="1573"/>
                    </a:lnTo>
                    <a:lnTo>
                      <a:pt x="1280" y="1575"/>
                    </a:lnTo>
                    <a:lnTo>
                      <a:pt x="1281" y="1573"/>
                    </a:lnTo>
                    <a:lnTo>
                      <a:pt x="1280" y="1572"/>
                    </a:lnTo>
                    <a:lnTo>
                      <a:pt x="1281" y="1572"/>
                    </a:lnTo>
                    <a:lnTo>
                      <a:pt x="1283" y="1572"/>
                    </a:lnTo>
                    <a:lnTo>
                      <a:pt x="1283" y="1573"/>
                    </a:lnTo>
                    <a:lnTo>
                      <a:pt x="1281" y="1573"/>
                    </a:lnTo>
                    <a:lnTo>
                      <a:pt x="1283" y="1575"/>
                    </a:lnTo>
                    <a:lnTo>
                      <a:pt x="1283" y="1573"/>
                    </a:lnTo>
                    <a:lnTo>
                      <a:pt x="1283" y="1575"/>
                    </a:lnTo>
                    <a:lnTo>
                      <a:pt x="1285" y="1577"/>
                    </a:lnTo>
                    <a:lnTo>
                      <a:pt x="1283" y="1577"/>
                    </a:lnTo>
                    <a:lnTo>
                      <a:pt x="1285" y="1577"/>
                    </a:lnTo>
                    <a:lnTo>
                      <a:pt x="1285" y="1578"/>
                    </a:lnTo>
                    <a:lnTo>
                      <a:pt x="1283" y="1578"/>
                    </a:lnTo>
                    <a:lnTo>
                      <a:pt x="1283" y="1580"/>
                    </a:lnTo>
                    <a:lnTo>
                      <a:pt x="1285" y="1578"/>
                    </a:lnTo>
                    <a:lnTo>
                      <a:pt x="1285" y="1577"/>
                    </a:lnTo>
                    <a:lnTo>
                      <a:pt x="1285" y="1575"/>
                    </a:lnTo>
                    <a:lnTo>
                      <a:pt x="1285" y="1573"/>
                    </a:lnTo>
                    <a:lnTo>
                      <a:pt x="1285" y="1572"/>
                    </a:lnTo>
                    <a:lnTo>
                      <a:pt x="1287" y="1573"/>
                    </a:lnTo>
                    <a:lnTo>
                      <a:pt x="1288" y="1573"/>
                    </a:lnTo>
                    <a:lnTo>
                      <a:pt x="1288" y="1575"/>
                    </a:lnTo>
                    <a:lnTo>
                      <a:pt x="1288" y="1577"/>
                    </a:lnTo>
                    <a:lnTo>
                      <a:pt x="1288" y="1578"/>
                    </a:lnTo>
                    <a:lnTo>
                      <a:pt x="1290" y="1580"/>
                    </a:lnTo>
                    <a:lnTo>
                      <a:pt x="1288" y="1580"/>
                    </a:lnTo>
                    <a:lnTo>
                      <a:pt x="1287" y="1580"/>
                    </a:lnTo>
                    <a:lnTo>
                      <a:pt x="1288" y="1580"/>
                    </a:lnTo>
                    <a:lnTo>
                      <a:pt x="1290" y="1580"/>
                    </a:lnTo>
                    <a:lnTo>
                      <a:pt x="1290" y="1582"/>
                    </a:lnTo>
                    <a:lnTo>
                      <a:pt x="1290" y="1580"/>
                    </a:lnTo>
                    <a:lnTo>
                      <a:pt x="1290" y="1582"/>
                    </a:lnTo>
                    <a:lnTo>
                      <a:pt x="1290" y="1583"/>
                    </a:lnTo>
                    <a:lnTo>
                      <a:pt x="1290" y="1585"/>
                    </a:lnTo>
                    <a:lnTo>
                      <a:pt x="1292" y="1585"/>
                    </a:lnTo>
                    <a:lnTo>
                      <a:pt x="1292" y="1583"/>
                    </a:lnTo>
                    <a:lnTo>
                      <a:pt x="1292" y="1582"/>
                    </a:lnTo>
                    <a:lnTo>
                      <a:pt x="1292" y="1580"/>
                    </a:lnTo>
                    <a:lnTo>
                      <a:pt x="1293" y="1578"/>
                    </a:lnTo>
                    <a:lnTo>
                      <a:pt x="1293" y="1580"/>
                    </a:lnTo>
                    <a:lnTo>
                      <a:pt x="1293" y="1582"/>
                    </a:lnTo>
                    <a:lnTo>
                      <a:pt x="1292" y="1582"/>
                    </a:lnTo>
                    <a:lnTo>
                      <a:pt x="1293" y="1583"/>
                    </a:lnTo>
                    <a:lnTo>
                      <a:pt x="1293" y="1582"/>
                    </a:lnTo>
                    <a:lnTo>
                      <a:pt x="1293" y="1580"/>
                    </a:lnTo>
                    <a:lnTo>
                      <a:pt x="1293" y="1578"/>
                    </a:lnTo>
                    <a:lnTo>
                      <a:pt x="1295" y="1578"/>
                    </a:lnTo>
                    <a:lnTo>
                      <a:pt x="1295" y="1577"/>
                    </a:lnTo>
                    <a:lnTo>
                      <a:pt x="1295" y="1578"/>
                    </a:lnTo>
                    <a:lnTo>
                      <a:pt x="1297" y="1578"/>
                    </a:lnTo>
                    <a:lnTo>
                      <a:pt x="1297" y="1580"/>
                    </a:lnTo>
                    <a:lnTo>
                      <a:pt x="1298" y="1580"/>
                    </a:lnTo>
                    <a:lnTo>
                      <a:pt x="1298" y="1582"/>
                    </a:lnTo>
                    <a:lnTo>
                      <a:pt x="1297" y="1582"/>
                    </a:lnTo>
                    <a:lnTo>
                      <a:pt x="1298" y="1582"/>
                    </a:lnTo>
                    <a:lnTo>
                      <a:pt x="1297" y="1583"/>
                    </a:lnTo>
                    <a:lnTo>
                      <a:pt x="1297" y="1585"/>
                    </a:lnTo>
                    <a:lnTo>
                      <a:pt x="1295" y="1585"/>
                    </a:lnTo>
                    <a:lnTo>
                      <a:pt x="1295" y="1587"/>
                    </a:lnTo>
                    <a:lnTo>
                      <a:pt x="1297" y="1587"/>
                    </a:lnTo>
                    <a:lnTo>
                      <a:pt x="1297" y="1585"/>
                    </a:lnTo>
                    <a:lnTo>
                      <a:pt x="1297" y="1583"/>
                    </a:lnTo>
                    <a:lnTo>
                      <a:pt x="1298" y="1583"/>
                    </a:lnTo>
                    <a:lnTo>
                      <a:pt x="1298" y="1585"/>
                    </a:lnTo>
                    <a:lnTo>
                      <a:pt x="1298" y="1587"/>
                    </a:lnTo>
                    <a:lnTo>
                      <a:pt x="1298" y="1589"/>
                    </a:lnTo>
                    <a:lnTo>
                      <a:pt x="1297" y="1589"/>
                    </a:lnTo>
                    <a:lnTo>
                      <a:pt x="1298" y="1590"/>
                    </a:lnTo>
                    <a:lnTo>
                      <a:pt x="1298" y="1592"/>
                    </a:lnTo>
                    <a:lnTo>
                      <a:pt x="1297" y="1592"/>
                    </a:lnTo>
                    <a:lnTo>
                      <a:pt x="1295" y="1592"/>
                    </a:lnTo>
                    <a:lnTo>
                      <a:pt x="1297" y="1592"/>
                    </a:lnTo>
                    <a:lnTo>
                      <a:pt x="1297" y="1594"/>
                    </a:lnTo>
                    <a:lnTo>
                      <a:pt x="1295" y="1594"/>
                    </a:lnTo>
                    <a:lnTo>
                      <a:pt x="1293" y="1594"/>
                    </a:lnTo>
                    <a:lnTo>
                      <a:pt x="1293" y="1592"/>
                    </a:lnTo>
                    <a:lnTo>
                      <a:pt x="1292" y="1592"/>
                    </a:lnTo>
                    <a:lnTo>
                      <a:pt x="1293" y="1594"/>
                    </a:lnTo>
                    <a:lnTo>
                      <a:pt x="1295" y="1594"/>
                    </a:lnTo>
                    <a:lnTo>
                      <a:pt x="1295" y="1595"/>
                    </a:lnTo>
                    <a:lnTo>
                      <a:pt x="1293" y="1595"/>
                    </a:lnTo>
                    <a:lnTo>
                      <a:pt x="1295" y="1597"/>
                    </a:lnTo>
                    <a:lnTo>
                      <a:pt x="1293" y="1597"/>
                    </a:lnTo>
                    <a:lnTo>
                      <a:pt x="1292" y="1597"/>
                    </a:lnTo>
                    <a:lnTo>
                      <a:pt x="1292" y="1595"/>
                    </a:lnTo>
                    <a:lnTo>
                      <a:pt x="1292" y="1594"/>
                    </a:lnTo>
                    <a:lnTo>
                      <a:pt x="1292" y="1595"/>
                    </a:lnTo>
                    <a:lnTo>
                      <a:pt x="1290" y="1595"/>
                    </a:lnTo>
                    <a:lnTo>
                      <a:pt x="1290" y="1594"/>
                    </a:lnTo>
                    <a:lnTo>
                      <a:pt x="1288" y="1594"/>
                    </a:lnTo>
                    <a:lnTo>
                      <a:pt x="1287" y="1594"/>
                    </a:lnTo>
                    <a:lnTo>
                      <a:pt x="1287" y="1592"/>
                    </a:lnTo>
                    <a:lnTo>
                      <a:pt x="1285" y="1592"/>
                    </a:lnTo>
                    <a:lnTo>
                      <a:pt x="1285" y="1590"/>
                    </a:lnTo>
                    <a:lnTo>
                      <a:pt x="1287" y="1590"/>
                    </a:lnTo>
                    <a:lnTo>
                      <a:pt x="1288" y="1590"/>
                    </a:lnTo>
                    <a:lnTo>
                      <a:pt x="1290" y="1590"/>
                    </a:lnTo>
                    <a:lnTo>
                      <a:pt x="1290" y="1589"/>
                    </a:lnTo>
                    <a:lnTo>
                      <a:pt x="1292" y="1589"/>
                    </a:lnTo>
                    <a:lnTo>
                      <a:pt x="1290" y="1589"/>
                    </a:lnTo>
                    <a:lnTo>
                      <a:pt x="1290" y="1587"/>
                    </a:lnTo>
                    <a:lnTo>
                      <a:pt x="1290" y="1589"/>
                    </a:lnTo>
                    <a:lnTo>
                      <a:pt x="1288" y="1589"/>
                    </a:lnTo>
                    <a:lnTo>
                      <a:pt x="1287" y="1589"/>
                    </a:lnTo>
                    <a:lnTo>
                      <a:pt x="1287" y="1590"/>
                    </a:lnTo>
                    <a:lnTo>
                      <a:pt x="1287" y="1589"/>
                    </a:lnTo>
                    <a:lnTo>
                      <a:pt x="1287" y="1587"/>
                    </a:lnTo>
                    <a:lnTo>
                      <a:pt x="1287" y="1589"/>
                    </a:lnTo>
                    <a:lnTo>
                      <a:pt x="1285" y="1589"/>
                    </a:lnTo>
                    <a:lnTo>
                      <a:pt x="1283" y="1589"/>
                    </a:lnTo>
                    <a:lnTo>
                      <a:pt x="1283" y="1587"/>
                    </a:lnTo>
                    <a:lnTo>
                      <a:pt x="1281" y="1585"/>
                    </a:lnTo>
                    <a:lnTo>
                      <a:pt x="1283" y="1585"/>
                    </a:lnTo>
                    <a:lnTo>
                      <a:pt x="1283" y="1583"/>
                    </a:lnTo>
                    <a:lnTo>
                      <a:pt x="1283" y="1585"/>
                    </a:lnTo>
                    <a:lnTo>
                      <a:pt x="1283" y="1583"/>
                    </a:lnTo>
                    <a:lnTo>
                      <a:pt x="1285" y="1583"/>
                    </a:lnTo>
                    <a:lnTo>
                      <a:pt x="1285" y="1582"/>
                    </a:lnTo>
                    <a:lnTo>
                      <a:pt x="1285" y="1583"/>
                    </a:lnTo>
                    <a:lnTo>
                      <a:pt x="1283" y="1583"/>
                    </a:lnTo>
                    <a:lnTo>
                      <a:pt x="1283" y="1582"/>
                    </a:lnTo>
                    <a:lnTo>
                      <a:pt x="1285" y="1582"/>
                    </a:lnTo>
                    <a:lnTo>
                      <a:pt x="1285" y="1580"/>
                    </a:lnTo>
                    <a:lnTo>
                      <a:pt x="1283" y="1580"/>
                    </a:lnTo>
                    <a:lnTo>
                      <a:pt x="1283" y="1582"/>
                    </a:lnTo>
                    <a:lnTo>
                      <a:pt x="1283" y="1583"/>
                    </a:lnTo>
                    <a:lnTo>
                      <a:pt x="1281" y="1582"/>
                    </a:lnTo>
                    <a:lnTo>
                      <a:pt x="1280" y="1582"/>
                    </a:lnTo>
                    <a:lnTo>
                      <a:pt x="1281" y="1582"/>
                    </a:lnTo>
                    <a:lnTo>
                      <a:pt x="1281" y="1583"/>
                    </a:lnTo>
                    <a:lnTo>
                      <a:pt x="1281" y="1585"/>
                    </a:lnTo>
                    <a:lnTo>
                      <a:pt x="1280" y="1585"/>
                    </a:lnTo>
                    <a:lnTo>
                      <a:pt x="1281" y="1585"/>
                    </a:lnTo>
                    <a:lnTo>
                      <a:pt x="1280" y="1585"/>
                    </a:lnTo>
                    <a:lnTo>
                      <a:pt x="1281" y="1587"/>
                    </a:lnTo>
                    <a:lnTo>
                      <a:pt x="1281" y="1589"/>
                    </a:lnTo>
                    <a:lnTo>
                      <a:pt x="1281" y="1587"/>
                    </a:lnTo>
                    <a:lnTo>
                      <a:pt x="1283" y="1589"/>
                    </a:lnTo>
                    <a:lnTo>
                      <a:pt x="1285" y="1589"/>
                    </a:lnTo>
                    <a:lnTo>
                      <a:pt x="1285" y="1590"/>
                    </a:lnTo>
                    <a:lnTo>
                      <a:pt x="1283" y="1590"/>
                    </a:lnTo>
                    <a:lnTo>
                      <a:pt x="1283" y="1592"/>
                    </a:lnTo>
                    <a:lnTo>
                      <a:pt x="1285" y="1594"/>
                    </a:lnTo>
                    <a:lnTo>
                      <a:pt x="1283" y="1594"/>
                    </a:lnTo>
                    <a:lnTo>
                      <a:pt x="1281" y="1594"/>
                    </a:lnTo>
                    <a:lnTo>
                      <a:pt x="1280" y="1592"/>
                    </a:lnTo>
                    <a:lnTo>
                      <a:pt x="1281" y="1592"/>
                    </a:lnTo>
                    <a:lnTo>
                      <a:pt x="1280" y="1590"/>
                    </a:lnTo>
                    <a:lnTo>
                      <a:pt x="1280" y="1589"/>
                    </a:lnTo>
                    <a:lnTo>
                      <a:pt x="1281" y="1589"/>
                    </a:lnTo>
                    <a:lnTo>
                      <a:pt x="1280" y="1587"/>
                    </a:lnTo>
                    <a:lnTo>
                      <a:pt x="1281" y="1587"/>
                    </a:lnTo>
                    <a:lnTo>
                      <a:pt x="1280" y="1587"/>
                    </a:lnTo>
                    <a:lnTo>
                      <a:pt x="1280" y="1589"/>
                    </a:lnTo>
                    <a:lnTo>
                      <a:pt x="1280" y="1590"/>
                    </a:lnTo>
                    <a:lnTo>
                      <a:pt x="1278" y="1590"/>
                    </a:lnTo>
                    <a:lnTo>
                      <a:pt x="1278" y="1589"/>
                    </a:lnTo>
                    <a:lnTo>
                      <a:pt x="1278" y="1587"/>
                    </a:lnTo>
                    <a:lnTo>
                      <a:pt x="1278" y="1585"/>
                    </a:lnTo>
                    <a:lnTo>
                      <a:pt x="1280" y="1585"/>
                    </a:lnTo>
                    <a:lnTo>
                      <a:pt x="1278" y="1585"/>
                    </a:lnTo>
                    <a:lnTo>
                      <a:pt x="1278" y="1587"/>
                    </a:lnTo>
                    <a:lnTo>
                      <a:pt x="1276" y="1587"/>
                    </a:lnTo>
                    <a:lnTo>
                      <a:pt x="1278" y="1589"/>
                    </a:lnTo>
                    <a:lnTo>
                      <a:pt x="1276" y="1589"/>
                    </a:lnTo>
                    <a:lnTo>
                      <a:pt x="1275" y="1587"/>
                    </a:lnTo>
                    <a:lnTo>
                      <a:pt x="1275" y="1585"/>
                    </a:lnTo>
                    <a:lnTo>
                      <a:pt x="1275" y="1583"/>
                    </a:lnTo>
                    <a:lnTo>
                      <a:pt x="1273" y="1583"/>
                    </a:lnTo>
                    <a:lnTo>
                      <a:pt x="1275" y="1582"/>
                    </a:lnTo>
                    <a:lnTo>
                      <a:pt x="1276" y="1582"/>
                    </a:lnTo>
                    <a:lnTo>
                      <a:pt x="1276" y="1580"/>
                    </a:lnTo>
                    <a:lnTo>
                      <a:pt x="1278" y="1580"/>
                    </a:lnTo>
                    <a:lnTo>
                      <a:pt x="1278" y="1578"/>
                    </a:lnTo>
                    <a:lnTo>
                      <a:pt x="1278" y="1580"/>
                    </a:lnTo>
                    <a:lnTo>
                      <a:pt x="1276" y="1578"/>
                    </a:lnTo>
                    <a:lnTo>
                      <a:pt x="1276" y="1577"/>
                    </a:lnTo>
                    <a:lnTo>
                      <a:pt x="1275" y="1575"/>
                    </a:lnTo>
                    <a:lnTo>
                      <a:pt x="1276" y="1575"/>
                    </a:lnTo>
                    <a:lnTo>
                      <a:pt x="1275" y="1573"/>
                    </a:lnTo>
                    <a:lnTo>
                      <a:pt x="1276" y="1573"/>
                    </a:lnTo>
                    <a:lnTo>
                      <a:pt x="1276" y="1572"/>
                    </a:lnTo>
                    <a:lnTo>
                      <a:pt x="1278" y="1570"/>
                    </a:lnTo>
                    <a:lnTo>
                      <a:pt x="1278" y="1572"/>
                    </a:lnTo>
                    <a:close/>
                    <a:moveTo>
                      <a:pt x="1152" y="1354"/>
                    </a:moveTo>
                    <a:lnTo>
                      <a:pt x="1154" y="1354"/>
                    </a:lnTo>
                    <a:lnTo>
                      <a:pt x="1152" y="1356"/>
                    </a:lnTo>
                    <a:lnTo>
                      <a:pt x="1152" y="1357"/>
                    </a:lnTo>
                    <a:lnTo>
                      <a:pt x="1152" y="1356"/>
                    </a:lnTo>
                    <a:lnTo>
                      <a:pt x="1154" y="1356"/>
                    </a:lnTo>
                    <a:lnTo>
                      <a:pt x="1154" y="1357"/>
                    </a:lnTo>
                    <a:lnTo>
                      <a:pt x="1152" y="1357"/>
                    </a:lnTo>
                    <a:lnTo>
                      <a:pt x="1154" y="1359"/>
                    </a:lnTo>
                    <a:lnTo>
                      <a:pt x="1154" y="1357"/>
                    </a:lnTo>
                    <a:lnTo>
                      <a:pt x="1154" y="1356"/>
                    </a:lnTo>
                    <a:lnTo>
                      <a:pt x="1156" y="1356"/>
                    </a:lnTo>
                    <a:lnTo>
                      <a:pt x="1157" y="1356"/>
                    </a:lnTo>
                    <a:lnTo>
                      <a:pt x="1159" y="1356"/>
                    </a:lnTo>
                    <a:lnTo>
                      <a:pt x="1159" y="1357"/>
                    </a:lnTo>
                    <a:lnTo>
                      <a:pt x="1159" y="1359"/>
                    </a:lnTo>
                    <a:lnTo>
                      <a:pt x="1157" y="1359"/>
                    </a:lnTo>
                    <a:lnTo>
                      <a:pt x="1157" y="1361"/>
                    </a:lnTo>
                    <a:lnTo>
                      <a:pt x="1159" y="1359"/>
                    </a:lnTo>
                    <a:lnTo>
                      <a:pt x="1161" y="1359"/>
                    </a:lnTo>
                    <a:lnTo>
                      <a:pt x="1159" y="1359"/>
                    </a:lnTo>
                    <a:lnTo>
                      <a:pt x="1161" y="1359"/>
                    </a:lnTo>
                    <a:lnTo>
                      <a:pt x="1161" y="1361"/>
                    </a:lnTo>
                    <a:lnTo>
                      <a:pt x="1161" y="1362"/>
                    </a:lnTo>
                    <a:lnTo>
                      <a:pt x="1162" y="1362"/>
                    </a:lnTo>
                    <a:lnTo>
                      <a:pt x="1161" y="1361"/>
                    </a:lnTo>
                    <a:lnTo>
                      <a:pt x="1162" y="1359"/>
                    </a:lnTo>
                    <a:lnTo>
                      <a:pt x="1162" y="1357"/>
                    </a:lnTo>
                    <a:lnTo>
                      <a:pt x="1164" y="1357"/>
                    </a:lnTo>
                    <a:lnTo>
                      <a:pt x="1164" y="1359"/>
                    </a:lnTo>
                    <a:lnTo>
                      <a:pt x="1164" y="1361"/>
                    </a:lnTo>
                    <a:lnTo>
                      <a:pt x="1162" y="1362"/>
                    </a:lnTo>
                    <a:lnTo>
                      <a:pt x="1164" y="1361"/>
                    </a:lnTo>
                    <a:lnTo>
                      <a:pt x="1164" y="1362"/>
                    </a:lnTo>
                    <a:lnTo>
                      <a:pt x="1164" y="1361"/>
                    </a:lnTo>
                    <a:lnTo>
                      <a:pt x="1166" y="1361"/>
                    </a:lnTo>
                    <a:lnTo>
                      <a:pt x="1166" y="1362"/>
                    </a:lnTo>
                    <a:lnTo>
                      <a:pt x="1168" y="1362"/>
                    </a:lnTo>
                    <a:lnTo>
                      <a:pt x="1168" y="1364"/>
                    </a:lnTo>
                    <a:lnTo>
                      <a:pt x="1168" y="1362"/>
                    </a:lnTo>
                    <a:lnTo>
                      <a:pt x="1166" y="1361"/>
                    </a:lnTo>
                    <a:lnTo>
                      <a:pt x="1168" y="1362"/>
                    </a:lnTo>
                    <a:lnTo>
                      <a:pt x="1169" y="1362"/>
                    </a:lnTo>
                    <a:lnTo>
                      <a:pt x="1168" y="1362"/>
                    </a:lnTo>
                    <a:lnTo>
                      <a:pt x="1166" y="1361"/>
                    </a:lnTo>
                    <a:lnTo>
                      <a:pt x="1168" y="1361"/>
                    </a:lnTo>
                    <a:lnTo>
                      <a:pt x="1166" y="1359"/>
                    </a:lnTo>
                    <a:lnTo>
                      <a:pt x="1168" y="1361"/>
                    </a:lnTo>
                    <a:lnTo>
                      <a:pt x="1169" y="1361"/>
                    </a:lnTo>
                    <a:lnTo>
                      <a:pt x="1171" y="1362"/>
                    </a:lnTo>
                    <a:lnTo>
                      <a:pt x="1169" y="1362"/>
                    </a:lnTo>
                    <a:lnTo>
                      <a:pt x="1171" y="1364"/>
                    </a:lnTo>
                    <a:lnTo>
                      <a:pt x="1169" y="1364"/>
                    </a:lnTo>
                    <a:lnTo>
                      <a:pt x="1168" y="1364"/>
                    </a:lnTo>
                    <a:lnTo>
                      <a:pt x="1169" y="1364"/>
                    </a:lnTo>
                    <a:lnTo>
                      <a:pt x="1168" y="1364"/>
                    </a:lnTo>
                    <a:lnTo>
                      <a:pt x="1169" y="1364"/>
                    </a:lnTo>
                    <a:lnTo>
                      <a:pt x="1168" y="1364"/>
                    </a:lnTo>
                    <a:lnTo>
                      <a:pt x="1166" y="1364"/>
                    </a:lnTo>
                    <a:lnTo>
                      <a:pt x="1168" y="1364"/>
                    </a:lnTo>
                    <a:lnTo>
                      <a:pt x="1169" y="1366"/>
                    </a:lnTo>
                    <a:lnTo>
                      <a:pt x="1168" y="1367"/>
                    </a:lnTo>
                    <a:lnTo>
                      <a:pt x="1168" y="1366"/>
                    </a:lnTo>
                    <a:lnTo>
                      <a:pt x="1166" y="1366"/>
                    </a:lnTo>
                    <a:lnTo>
                      <a:pt x="1166" y="1367"/>
                    </a:lnTo>
                    <a:lnTo>
                      <a:pt x="1168" y="1367"/>
                    </a:lnTo>
                    <a:lnTo>
                      <a:pt x="1166" y="1367"/>
                    </a:lnTo>
                    <a:lnTo>
                      <a:pt x="1166" y="1366"/>
                    </a:lnTo>
                    <a:lnTo>
                      <a:pt x="1164" y="1366"/>
                    </a:lnTo>
                    <a:lnTo>
                      <a:pt x="1162" y="1367"/>
                    </a:lnTo>
                    <a:lnTo>
                      <a:pt x="1164" y="1366"/>
                    </a:lnTo>
                    <a:lnTo>
                      <a:pt x="1164" y="1367"/>
                    </a:lnTo>
                    <a:lnTo>
                      <a:pt x="1164" y="1369"/>
                    </a:lnTo>
                    <a:lnTo>
                      <a:pt x="1162" y="1369"/>
                    </a:lnTo>
                    <a:lnTo>
                      <a:pt x="1162" y="1371"/>
                    </a:lnTo>
                    <a:lnTo>
                      <a:pt x="1161" y="1371"/>
                    </a:lnTo>
                    <a:lnTo>
                      <a:pt x="1161" y="1373"/>
                    </a:lnTo>
                    <a:lnTo>
                      <a:pt x="1159" y="1371"/>
                    </a:lnTo>
                    <a:lnTo>
                      <a:pt x="1161" y="1373"/>
                    </a:lnTo>
                    <a:lnTo>
                      <a:pt x="1159" y="1373"/>
                    </a:lnTo>
                    <a:lnTo>
                      <a:pt x="1159" y="1374"/>
                    </a:lnTo>
                    <a:lnTo>
                      <a:pt x="1157" y="1373"/>
                    </a:lnTo>
                    <a:lnTo>
                      <a:pt x="1157" y="1374"/>
                    </a:lnTo>
                    <a:lnTo>
                      <a:pt x="1157" y="1376"/>
                    </a:lnTo>
                    <a:lnTo>
                      <a:pt x="1156" y="1378"/>
                    </a:lnTo>
                    <a:lnTo>
                      <a:pt x="1157" y="1376"/>
                    </a:lnTo>
                    <a:lnTo>
                      <a:pt x="1159" y="1376"/>
                    </a:lnTo>
                    <a:lnTo>
                      <a:pt x="1161" y="1376"/>
                    </a:lnTo>
                    <a:lnTo>
                      <a:pt x="1159" y="1376"/>
                    </a:lnTo>
                    <a:lnTo>
                      <a:pt x="1159" y="1374"/>
                    </a:lnTo>
                    <a:lnTo>
                      <a:pt x="1157" y="1374"/>
                    </a:lnTo>
                    <a:lnTo>
                      <a:pt x="1159" y="1374"/>
                    </a:lnTo>
                    <a:lnTo>
                      <a:pt x="1159" y="1373"/>
                    </a:lnTo>
                    <a:lnTo>
                      <a:pt x="1161" y="1373"/>
                    </a:lnTo>
                    <a:lnTo>
                      <a:pt x="1161" y="1371"/>
                    </a:lnTo>
                    <a:lnTo>
                      <a:pt x="1162" y="1371"/>
                    </a:lnTo>
                    <a:lnTo>
                      <a:pt x="1162" y="1369"/>
                    </a:lnTo>
                    <a:lnTo>
                      <a:pt x="1164" y="1369"/>
                    </a:lnTo>
                    <a:lnTo>
                      <a:pt x="1166" y="1369"/>
                    </a:lnTo>
                    <a:lnTo>
                      <a:pt x="1166" y="1371"/>
                    </a:lnTo>
                    <a:lnTo>
                      <a:pt x="1166" y="1373"/>
                    </a:lnTo>
                    <a:lnTo>
                      <a:pt x="1166" y="1374"/>
                    </a:lnTo>
                    <a:lnTo>
                      <a:pt x="1164" y="1373"/>
                    </a:lnTo>
                    <a:lnTo>
                      <a:pt x="1164" y="1374"/>
                    </a:lnTo>
                    <a:lnTo>
                      <a:pt x="1162" y="1373"/>
                    </a:lnTo>
                    <a:lnTo>
                      <a:pt x="1162" y="1374"/>
                    </a:lnTo>
                    <a:lnTo>
                      <a:pt x="1161" y="1374"/>
                    </a:lnTo>
                    <a:lnTo>
                      <a:pt x="1162" y="1374"/>
                    </a:lnTo>
                    <a:lnTo>
                      <a:pt x="1164" y="1374"/>
                    </a:lnTo>
                    <a:lnTo>
                      <a:pt x="1164" y="1376"/>
                    </a:lnTo>
                    <a:lnTo>
                      <a:pt x="1162" y="1374"/>
                    </a:lnTo>
                    <a:lnTo>
                      <a:pt x="1164" y="1376"/>
                    </a:lnTo>
                    <a:lnTo>
                      <a:pt x="1162" y="1376"/>
                    </a:lnTo>
                    <a:lnTo>
                      <a:pt x="1161" y="1376"/>
                    </a:lnTo>
                    <a:lnTo>
                      <a:pt x="1159" y="1376"/>
                    </a:lnTo>
                    <a:lnTo>
                      <a:pt x="1159" y="1378"/>
                    </a:lnTo>
                    <a:lnTo>
                      <a:pt x="1157" y="1378"/>
                    </a:lnTo>
                    <a:lnTo>
                      <a:pt x="1157" y="1379"/>
                    </a:lnTo>
                    <a:lnTo>
                      <a:pt x="1156" y="1379"/>
                    </a:lnTo>
                    <a:lnTo>
                      <a:pt x="1156" y="1378"/>
                    </a:lnTo>
                    <a:lnTo>
                      <a:pt x="1154" y="1379"/>
                    </a:lnTo>
                    <a:lnTo>
                      <a:pt x="1154" y="1378"/>
                    </a:lnTo>
                    <a:lnTo>
                      <a:pt x="1154" y="1379"/>
                    </a:lnTo>
                    <a:lnTo>
                      <a:pt x="1154" y="1378"/>
                    </a:lnTo>
                    <a:lnTo>
                      <a:pt x="1152" y="1378"/>
                    </a:lnTo>
                    <a:lnTo>
                      <a:pt x="1151" y="1378"/>
                    </a:lnTo>
                    <a:lnTo>
                      <a:pt x="1152" y="1378"/>
                    </a:lnTo>
                    <a:lnTo>
                      <a:pt x="1152" y="1376"/>
                    </a:lnTo>
                    <a:lnTo>
                      <a:pt x="1152" y="1374"/>
                    </a:lnTo>
                    <a:lnTo>
                      <a:pt x="1154" y="1374"/>
                    </a:lnTo>
                    <a:lnTo>
                      <a:pt x="1152" y="1374"/>
                    </a:lnTo>
                    <a:lnTo>
                      <a:pt x="1154" y="1374"/>
                    </a:lnTo>
                    <a:lnTo>
                      <a:pt x="1154" y="1373"/>
                    </a:lnTo>
                    <a:lnTo>
                      <a:pt x="1156" y="1373"/>
                    </a:lnTo>
                    <a:lnTo>
                      <a:pt x="1156" y="1371"/>
                    </a:lnTo>
                    <a:lnTo>
                      <a:pt x="1156" y="1369"/>
                    </a:lnTo>
                    <a:lnTo>
                      <a:pt x="1156" y="1371"/>
                    </a:lnTo>
                    <a:lnTo>
                      <a:pt x="1156" y="1373"/>
                    </a:lnTo>
                    <a:lnTo>
                      <a:pt x="1154" y="1373"/>
                    </a:lnTo>
                    <a:lnTo>
                      <a:pt x="1152" y="1373"/>
                    </a:lnTo>
                    <a:lnTo>
                      <a:pt x="1152" y="1374"/>
                    </a:lnTo>
                    <a:lnTo>
                      <a:pt x="1152" y="1373"/>
                    </a:lnTo>
                    <a:lnTo>
                      <a:pt x="1154" y="1373"/>
                    </a:lnTo>
                    <a:lnTo>
                      <a:pt x="1154" y="1371"/>
                    </a:lnTo>
                    <a:lnTo>
                      <a:pt x="1152" y="1371"/>
                    </a:lnTo>
                    <a:lnTo>
                      <a:pt x="1151" y="1373"/>
                    </a:lnTo>
                    <a:lnTo>
                      <a:pt x="1151" y="1374"/>
                    </a:lnTo>
                    <a:lnTo>
                      <a:pt x="1149" y="1374"/>
                    </a:lnTo>
                    <a:lnTo>
                      <a:pt x="1149" y="1376"/>
                    </a:lnTo>
                    <a:lnTo>
                      <a:pt x="1149" y="1378"/>
                    </a:lnTo>
                    <a:lnTo>
                      <a:pt x="1147" y="1378"/>
                    </a:lnTo>
                    <a:lnTo>
                      <a:pt x="1145" y="1376"/>
                    </a:lnTo>
                    <a:lnTo>
                      <a:pt x="1147" y="1376"/>
                    </a:lnTo>
                    <a:lnTo>
                      <a:pt x="1149" y="1374"/>
                    </a:lnTo>
                    <a:lnTo>
                      <a:pt x="1149" y="1373"/>
                    </a:lnTo>
                    <a:lnTo>
                      <a:pt x="1149" y="1374"/>
                    </a:lnTo>
                    <a:lnTo>
                      <a:pt x="1147" y="1374"/>
                    </a:lnTo>
                    <a:lnTo>
                      <a:pt x="1147" y="1373"/>
                    </a:lnTo>
                    <a:lnTo>
                      <a:pt x="1147" y="1371"/>
                    </a:lnTo>
                    <a:lnTo>
                      <a:pt x="1147" y="1369"/>
                    </a:lnTo>
                    <a:lnTo>
                      <a:pt x="1149" y="1369"/>
                    </a:lnTo>
                    <a:lnTo>
                      <a:pt x="1149" y="1367"/>
                    </a:lnTo>
                    <a:lnTo>
                      <a:pt x="1147" y="1367"/>
                    </a:lnTo>
                    <a:lnTo>
                      <a:pt x="1149" y="1366"/>
                    </a:lnTo>
                    <a:lnTo>
                      <a:pt x="1147" y="1366"/>
                    </a:lnTo>
                    <a:lnTo>
                      <a:pt x="1149" y="1366"/>
                    </a:lnTo>
                    <a:lnTo>
                      <a:pt x="1149" y="1364"/>
                    </a:lnTo>
                    <a:lnTo>
                      <a:pt x="1149" y="1362"/>
                    </a:lnTo>
                    <a:lnTo>
                      <a:pt x="1151" y="1362"/>
                    </a:lnTo>
                    <a:lnTo>
                      <a:pt x="1152" y="1362"/>
                    </a:lnTo>
                    <a:lnTo>
                      <a:pt x="1152" y="1364"/>
                    </a:lnTo>
                    <a:lnTo>
                      <a:pt x="1154" y="1364"/>
                    </a:lnTo>
                    <a:lnTo>
                      <a:pt x="1154" y="1366"/>
                    </a:lnTo>
                    <a:lnTo>
                      <a:pt x="1152" y="1366"/>
                    </a:lnTo>
                    <a:lnTo>
                      <a:pt x="1151" y="1364"/>
                    </a:lnTo>
                    <a:lnTo>
                      <a:pt x="1151" y="1366"/>
                    </a:lnTo>
                    <a:lnTo>
                      <a:pt x="1152" y="1366"/>
                    </a:lnTo>
                    <a:lnTo>
                      <a:pt x="1154" y="1366"/>
                    </a:lnTo>
                    <a:lnTo>
                      <a:pt x="1154" y="1367"/>
                    </a:lnTo>
                    <a:lnTo>
                      <a:pt x="1156" y="1367"/>
                    </a:lnTo>
                    <a:lnTo>
                      <a:pt x="1156" y="1369"/>
                    </a:lnTo>
                    <a:lnTo>
                      <a:pt x="1157" y="1367"/>
                    </a:lnTo>
                    <a:lnTo>
                      <a:pt x="1157" y="1366"/>
                    </a:lnTo>
                    <a:lnTo>
                      <a:pt x="1157" y="1364"/>
                    </a:lnTo>
                    <a:lnTo>
                      <a:pt x="1159" y="1362"/>
                    </a:lnTo>
                    <a:lnTo>
                      <a:pt x="1159" y="1361"/>
                    </a:lnTo>
                    <a:lnTo>
                      <a:pt x="1159" y="1362"/>
                    </a:lnTo>
                    <a:lnTo>
                      <a:pt x="1157" y="1362"/>
                    </a:lnTo>
                    <a:lnTo>
                      <a:pt x="1159" y="1362"/>
                    </a:lnTo>
                    <a:lnTo>
                      <a:pt x="1157" y="1364"/>
                    </a:lnTo>
                    <a:lnTo>
                      <a:pt x="1156" y="1362"/>
                    </a:lnTo>
                    <a:lnTo>
                      <a:pt x="1154" y="1362"/>
                    </a:lnTo>
                    <a:lnTo>
                      <a:pt x="1154" y="1361"/>
                    </a:lnTo>
                    <a:lnTo>
                      <a:pt x="1152" y="1362"/>
                    </a:lnTo>
                    <a:lnTo>
                      <a:pt x="1152" y="1361"/>
                    </a:lnTo>
                    <a:lnTo>
                      <a:pt x="1152" y="1362"/>
                    </a:lnTo>
                    <a:lnTo>
                      <a:pt x="1151" y="1361"/>
                    </a:lnTo>
                    <a:lnTo>
                      <a:pt x="1151" y="1359"/>
                    </a:lnTo>
                    <a:lnTo>
                      <a:pt x="1149" y="1359"/>
                    </a:lnTo>
                    <a:lnTo>
                      <a:pt x="1149" y="1357"/>
                    </a:lnTo>
                    <a:lnTo>
                      <a:pt x="1149" y="1356"/>
                    </a:lnTo>
                    <a:lnTo>
                      <a:pt x="1151" y="1356"/>
                    </a:lnTo>
                    <a:lnTo>
                      <a:pt x="1151" y="1354"/>
                    </a:lnTo>
                    <a:lnTo>
                      <a:pt x="1151" y="1356"/>
                    </a:lnTo>
                    <a:lnTo>
                      <a:pt x="1151" y="1357"/>
                    </a:lnTo>
                    <a:lnTo>
                      <a:pt x="1151" y="1356"/>
                    </a:lnTo>
                    <a:lnTo>
                      <a:pt x="1151" y="1354"/>
                    </a:lnTo>
                    <a:lnTo>
                      <a:pt x="1152" y="1354"/>
                    </a:lnTo>
                    <a:close/>
                    <a:moveTo>
                      <a:pt x="1266" y="1565"/>
                    </a:moveTo>
                    <a:lnTo>
                      <a:pt x="1268" y="1566"/>
                    </a:lnTo>
                    <a:lnTo>
                      <a:pt x="1270" y="1568"/>
                    </a:lnTo>
                    <a:lnTo>
                      <a:pt x="1270" y="1570"/>
                    </a:lnTo>
                    <a:lnTo>
                      <a:pt x="1270" y="1572"/>
                    </a:lnTo>
                    <a:lnTo>
                      <a:pt x="1270" y="1573"/>
                    </a:lnTo>
                    <a:lnTo>
                      <a:pt x="1270" y="1572"/>
                    </a:lnTo>
                    <a:lnTo>
                      <a:pt x="1270" y="1570"/>
                    </a:lnTo>
                    <a:lnTo>
                      <a:pt x="1271" y="1570"/>
                    </a:lnTo>
                    <a:lnTo>
                      <a:pt x="1271" y="1568"/>
                    </a:lnTo>
                    <a:lnTo>
                      <a:pt x="1273" y="1568"/>
                    </a:lnTo>
                    <a:lnTo>
                      <a:pt x="1271" y="1570"/>
                    </a:lnTo>
                    <a:lnTo>
                      <a:pt x="1273" y="1568"/>
                    </a:lnTo>
                    <a:lnTo>
                      <a:pt x="1275" y="1570"/>
                    </a:lnTo>
                    <a:lnTo>
                      <a:pt x="1276" y="1570"/>
                    </a:lnTo>
                    <a:lnTo>
                      <a:pt x="1275" y="1572"/>
                    </a:lnTo>
                    <a:lnTo>
                      <a:pt x="1275" y="1573"/>
                    </a:lnTo>
                    <a:lnTo>
                      <a:pt x="1273" y="1573"/>
                    </a:lnTo>
                    <a:lnTo>
                      <a:pt x="1275" y="1575"/>
                    </a:lnTo>
                    <a:lnTo>
                      <a:pt x="1275" y="1577"/>
                    </a:lnTo>
                    <a:lnTo>
                      <a:pt x="1273" y="1577"/>
                    </a:lnTo>
                    <a:lnTo>
                      <a:pt x="1271" y="1577"/>
                    </a:lnTo>
                    <a:lnTo>
                      <a:pt x="1273" y="1577"/>
                    </a:lnTo>
                    <a:lnTo>
                      <a:pt x="1273" y="1578"/>
                    </a:lnTo>
                    <a:lnTo>
                      <a:pt x="1273" y="1580"/>
                    </a:lnTo>
                    <a:lnTo>
                      <a:pt x="1273" y="1578"/>
                    </a:lnTo>
                    <a:lnTo>
                      <a:pt x="1275" y="1578"/>
                    </a:lnTo>
                    <a:lnTo>
                      <a:pt x="1275" y="1577"/>
                    </a:lnTo>
                    <a:lnTo>
                      <a:pt x="1276" y="1578"/>
                    </a:lnTo>
                    <a:lnTo>
                      <a:pt x="1276" y="1580"/>
                    </a:lnTo>
                    <a:lnTo>
                      <a:pt x="1275" y="1582"/>
                    </a:lnTo>
                    <a:lnTo>
                      <a:pt x="1275" y="1580"/>
                    </a:lnTo>
                    <a:lnTo>
                      <a:pt x="1275" y="1582"/>
                    </a:lnTo>
                    <a:lnTo>
                      <a:pt x="1273" y="1582"/>
                    </a:lnTo>
                    <a:lnTo>
                      <a:pt x="1273" y="1583"/>
                    </a:lnTo>
                    <a:lnTo>
                      <a:pt x="1273" y="1582"/>
                    </a:lnTo>
                    <a:lnTo>
                      <a:pt x="1273" y="1583"/>
                    </a:lnTo>
                    <a:lnTo>
                      <a:pt x="1271" y="1583"/>
                    </a:lnTo>
                    <a:lnTo>
                      <a:pt x="1271" y="1582"/>
                    </a:lnTo>
                    <a:lnTo>
                      <a:pt x="1271" y="1583"/>
                    </a:lnTo>
                    <a:lnTo>
                      <a:pt x="1270" y="1582"/>
                    </a:lnTo>
                    <a:lnTo>
                      <a:pt x="1270" y="1580"/>
                    </a:lnTo>
                    <a:lnTo>
                      <a:pt x="1268" y="1580"/>
                    </a:lnTo>
                    <a:lnTo>
                      <a:pt x="1270" y="1578"/>
                    </a:lnTo>
                    <a:lnTo>
                      <a:pt x="1268" y="1580"/>
                    </a:lnTo>
                    <a:lnTo>
                      <a:pt x="1268" y="1578"/>
                    </a:lnTo>
                    <a:lnTo>
                      <a:pt x="1266" y="1577"/>
                    </a:lnTo>
                    <a:lnTo>
                      <a:pt x="1266" y="1575"/>
                    </a:lnTo>
                    <a:lnTo>
                      <a:pt x="1266" y="1577"/>
                    </a:lnTo>
                    <a:lnTo>
                      <a:pt x="1266" y="1578"/>
                    </a:lnTo>
                    <a:lnTo>
                      <a:pt x="1266" y="1580"/>
                    </a:lnTo>
                    <a:lnTo>
                      <a:pt x="1268" y="1580"/>
                    </a:lnTo>
                    <a:lnTo>
                      <a:pt x="1266" y="1582"/>
                    </a:lnTo>
                    <a:lnTo>
                      <a:pt x="1268" y="1582"/>
                    </a:lnTo>
                    <a:lnTo>
                      <a:pt x="1268" y="1583"/>
                    </a:lnTo>
                    <a:lnTo>
                      <a:pt x="1270" y="1582"/>
                    </a:lnTo>
                    <a:lnTo>
                      <a:pt x="1270" y="1583"/>
                    </a:lnTo>
                    <a:lnTo>
                      <a:pt x="1271" y="1583"/>
                    </a:lnTo>
                    <a:lnTo>
                      <a:pt x="1271" y="1585"/>
                    </a:lnTo>
                    <a:lnTo>
                      <a:pt x="1271" y="1587"/>
                    </a:lnTo>
                    <a:lnTo>
                      <a:pt x="1271" y="1585"/>
                    </a:lnTo>
                    <a:lnTo>
                      <a:pt x="1271" y="1587"/>
                    </a:lnTo>
                    <a:lnTo>
                      <a:pt x="1273" y="1587"/>
                    </a:lnTo>
                    <a:lnTo>
                      <a:pt x="1273" y="1589"/>
                    </a:lnTo>
                    <a:lnTo>
                      <a:pt x="1273" y="1590"/>
                    </a:lnTo>
                    <a:lnTo>
                      <a:pt x="1271" y="1590"/>
                    </a:lnTo>
                    <a:lnTo>
                      <a:pt x="1271" y="1589"/>
                    </a:lnTo>
                    <a:lnTo>
                      <a:pt x="1270" y="1589"/>
                    </a:lnTo>
                    <a:lnTo>
                      <a:pt x="1268" y="1589"/>
                    </a:lnTo>
                    <a:lnTo>
                      <a:pt x="1270" y="1589"/>
                    </a:lnTo>
                    <a:lnTo>
                      <a:pt x="1270" y="1590"/>
                    </a:lnTo>
                    <a:lnTo>
                      <a:pt x="1268" y="1590"/>
                    </a:lnTo>
                    <a:lnTo>
                      <a:pt x="1270" y="1590"/>
                    </a:lnTo>
                    <a:lnTo>
                      <a:pt x="1270" y="1592"/>
                    </a:lnTo>
                    <a:lnTo>
                      <a:pt x="1268" y="1592"/>
                    </a:lnTo>
                    <a:lnTo>
                      <a:pt x="1270" y="1592"/>
                    </a:lnTo>
                    <a:lnTo>
                      <a:pt x="1270" y="1594"/>
                    </a:lnTo>
                    <a:lnTo>
                      <a:pt x="1271" y="1594"/>
                    </a:lnTo>
                    <a:lnTo>
                      <a:pt x="1270" y="1594"/>
                    </a:lnTo>
                    <a:lnTo>
                      <a:pt x="1268" y="1594"/>
                    </a:lnTo>
                    <a:lnTo>
                      <a:pt x="1266" y="1594"/>
                    </a:lnTo>
                    <a:lnTo>
                      <a:pt x="1266" y="1592"/>
                    </a:lnTo>
                    <a:lnTo>
                      <a:pt x="1266" y="1594"/>
                    </a:lnTo>
                    <a:lnTo>
                      <a:pt x="1264" y="1594"/>
                    </a:lnTo>
                    <a:lnTo>
                      <a:pt x="1264" y="1592"/>
                    </a:lnTo>
                    <a:lnTo>
                      <a:pt x="1266" y="1592"/>
                    </a:lnTo>
                    <a:lnTo>
                      <a:pt x="1266" y="1590"/>
                    </a:lnTo>
                    <a:lnTo>
                      <a:pt x="1266" y="1589"/>
                    </a:lnTo>
                    <a:lnTo>
                      <a:pt x="1268" y="1589"/>
                    </a:lnTo>
                    <a:lnTo>
                      <a:pt x="1268" y="1587"/>
                    </a:lnTo>
                    <a:lnTo>
                      <a:pt x="1268" y="1589"/>
                    </a:lnTo>
                    <a:lnTo>
                      <a:pt x="1266" y="1587"/>
                    </a:lnTo>
                    <a:lnTo>
                      <a:pt x="1266" y="1589"/>
                    </a:lnTo>
                    <a:lnTo>
                      <a:pt x="1264" y="1587"/>
                    </a:lnTo>
                    <a:lnTo>
                      <a:pt x="1263" y="1587"/>
                    </a:lnTo>
                    <a:lnTo>
                      <a:pt x="1264" y="1587"/>
                    </a:lnTo>
                    <a:lnTo>
                      <a:pt x="1263" y="1587"/>
                    </a:lnTo>
                    <a:lnTo>
                      <a:pt x="1264" y="1587"/>
                    </a:lnTo>
                    <a:lnTo>
                      <a:pt x="1263" y="1585"/>
                    </a:lnTo>
                    <a:lnTo>
                      <a:pt x="1263" y="1587"/>
                    </a:lnTo>
                    <a:lnTo>
                      <a:pt x="1263" y="1585"/>
                    </a:lnTo>
                    <a:lnTo>
                      <a:pt x="1261" y="1585"/>
                    </a:lnTo>
                    <a:lnTo>
                      <a:pt x="1261" y="1583"/>
                    </a:lnTo>
                    <a:lnTo>
                      <a:pt x="1259" y="1583"/>
                    </a:lnTo>
                    <a:lnTo>
                      <a:pt x="1259" y="1582"/>
                    </a:lnTo>
                    <a:lnTo>
                      <a:pt x="1261" y="1583"/>
                    </a:lnTo>
                    <a:lnTo>
                      <a:pt x="1261" y="1582"/>
                    </a:lnTo>
                    <a:lnTo>
                      <a:pt x="1263" y="1583"/>
                    </a:lnTo>
                    <a:lnTo>
                      <a:pt x="1263" y="1582"/>
                    </a:lnTo>
                    <a:lnTo>
                      <a:pt x="1261" y="1582"/>
                    </a:lnTo>
                    <a:lnTo>
                      <a:pt x="1259" y="1582"/>
                    </a:lnTo>
                    <a:lnTo>
                      <a:pt x="1258" y="1580"/>
                    </a:lnTo>
                    <a:lnTo>
                      <a:pt x="1259" y="1580"/>
                    </a:lnTo>
                    <a:lnTo>
                      <a:pt x="1261" y="1580"/>
                    </a:lnTo>
                    <a:lnTo>
                      <a:pt x="1263" y="1580"/>
                    </a:lnTo>
                    <a:lnTo>
                      <a:pt x="1261" y="1580"/>
                    </a:lnTo>
                    <a:lnTo>
                      <a:pt x="1259" y="1578"/>
                    </a:lnTo>
                    <a:lnTo>
                      <a:pt x="1259" y="1577"/>
                    </a:lnTo>
                    <a:lnTo>
                      <a:pt x="1259" y="1578"/>
                    </a:lnTo>
                    <a:lnTo>
                      <a:pt x="1258" y="1578"/>
                    </a:lnTo>
                    <a:lnTo>
                      <a:pt x="1258" y="1580"/>
                    </a:lnTo>
                    <a:lnTo>
                      <a:pt x="1256" y="1580"/>
                    </a:lnTo>
                    <a:lnTo>
                      <a:pt x="1256" y="1578"/>
                    </a:lnTo>
                    <a:lnTo>
                      <a:pt x="1254" y="1577"/>
                    </a:lnTo>
                    <a:lnTo>
                      <a:pt x="1256" y="1577"/>
                    </a:lnTo>
                    <a:lnTo>
                      <a:pt x="1256" y="1575"/>
                    </a:lnTo>
                    <a:lnTo>
                      <a:pt x="1258" y="1573"/>
                    </a:lnTo>
                    <a:lnTo>
                      <a:pt x="1258" y="1572"/>
                    </a:lnTo>
                    <a:lnTo>
                      <a:pt x="1258" y="1573"/>
                    </a:lnTo>
                    <a:lnTo>
                      <a:pt x="1256" y="1573"/>
                    </a:lnTo>
                    <a:lnTo>
                      <a:pt x="1254" y="1575"/>
                    </a:lnTo>
                    <a:lnTo>
                      <a:pt x="1254" y="1573"/>
                    </a:lnTo>
                    <a:lnTo>
                      <a:pt x="1254" y="1572"/>
                    </a:lnTo>
                    <a:lnTo>
                      <a:pt x="1254" y="1570"/>
                    </a:lnTo>
                    <a:lnTo>
                      <a:pt x="1256" y="1568"/>
                    </a:lnTo>
                    <a:lnTo>
                      <a:pt x="1256" y="1570"/>
                    </a:lnTo>
                    <a:lnTo>
                      <a:pt x="1258" y="1570"/>
                    </a:lnTo>
                    <a:lnTo>
                      <a:pt x="1259" y="1570"/>
                    </a:lnTo>
                    <a:lnTo>
                      <a:pt x="1259" y="1572"/>
                    </a:lnTo>
                    <a:lnTo>
                      <a:pt x="1259" y="1573"/>
                    </a:lnTo>
                    <a:lnTo>
                      <a:pt x="1261" y="1573"/>
                    </a:lnTo>
                    <a:lnTo>
                      <a:pt x="1263" y="1573"/>
                    </a:lnTo>
                    <a:lnTo>
                      <a:pt x="1261" y="1573"/>
                    </a:lnTo>
                    <a:lnTo>
                      <a:pt x="1261" y="1572"/>
                    </a:lnTo>
                    <a:lnTo>
                      <a:pt x="1259" y="1570"/>
                    </a:lnTo>
                    <a:lnTo>
                      <a:pt x="1261" y="1570"/>
                    </a:lnTo>
                    <a:lnTo>
                      <a:pt x="1261" y="1572"/>
                    </a:lnTo>
                    <a:lnTo>
                      <a:pt x="1263" y="1572"/>
                    </a:lnTo>
                    <a:lnTo>
                      <a:pt x="1261" y="1572"/>
                    </a:lnTo>
                    <a:lnTo>
                      <a:pt x="1261" y="1570"/>
                    </a:lnTo>
                    <a:lnTo>
                      <a:pt x="1263" y="1570"/>
                    </a:lnTo>
                    <a:lnTo>
                      <a:pt x="1263" y="1568"/>
                    </a:lnTo>
                    <a:lnTo>
                      <a:pt x="1263" y="1570"/>
                    </a:lnTo>
                    <a:lnTo>
                      <a:pt x="1264" y="1568"/>
                    </a:lnTo>
                    <a:lnTo>
                      <a:pt x="1266" y="1568"/>
                    </a:lnTo>
                    <a:lnTo>
                      <a:pt x="1264" y="1566"/>
                    </a:lnTo>
                    <a:lnTo>
                      <a:pt x="1266" y="1565"/>
                    </a:lnTo>
                    <a:close/>
                    <a:moveTo>
                      <a:pt x="1152" y="1252"/>
                    </a:moveTo>
                    <a:lnTo>
                      <a:pt x="1154" y="1253"/>
                    </a:lnTo>
                    <a:lnTo>
                      <a:pt x="1152" y="1255"/>
                    </a:lnTo>
                    <a:lnTo>
                      <a:pt x="1154" y="1255"/>
                    </a:lnTo>
                    <a:lnTo>
                      <a:pt x="1152" y="1255"/>
                    </a:lnTo>
                    <a:lnTo>
                      <a:pt x="1151" y="1255"/>
                    </a:lnTo>
                    <a:lnTo>
                      <a:pt x="1152" y="1255"/>
                    </a:lnTo>
                    <a:lnTo>
                      <a:pt x="1152" y="1257"/>
                    </a:lnTo>
                    <a:lnTo>
                      <a:pt x="1152" y="1259"/>
                    </a:lnTo>
                    <a:lnTo>
                      <a:pt x="1152" y="1257"/>
                    </a:lnTo>
                    <a:lnTo>
                      <a:pt x="1152" y="1255"/>
                    </a:lnTo>
                    <a:lnTo>
                      <a:pt x="1154" y="1255"/>
                    </a:lnTo>
                    <a:lnTo>
                      <a:pt x="1154" y="1257"/>
                    </a:lnTo>
                    <a:lnTo>
                      <a:pt x="1152" y="1259"/>
                    </a:lnTo>
                    <a:lnTo>
                      <a:pt x="1152" y="1260"/>
                    </a:lnTo>
                    <a:lnTo>
                      <a:pt x="1152" y="1259"/>
                    </a:lnTo>
                    <a:lnTo>
                      <a:pt x="1154" y="1259"/>
                    </a:lnTo>
                    <a:lnTo>
                      <a:pt x="1156" y="1259"/>
                    </a:lnTo>
                    <a:lnTo>
                      <a:pt x="1154" y="1259"/>
                    </a:lnTo>
                    <a:lnTo>
                      <a:pt x="1154" y="1260"/>
                    </a:lnTo>
                    <a:lnTo>
                      <a:pt x="1156" y="1260"/>
                    </a:lnTo>
                    <a:lnTo>
                      <a:pt x="1156" y="1262"/>
                    </a:lnTo>
                    <a:lnTo>
                      <a:pt x="1154" y="1262"/>
                    </a:lnTo>
                    <a:lnTo>
                      <a:pt x="1154" y="1264"/>
                    </a:lnTo>
                    <a:lnTo>
                      <a:pt x="1156" y="1262"/>
                    </a:lnTo>
                    <a:lnTo>
                      <a:pt x="1156" y="1264"/>
                    </a:lnTo>
                    <a:lnTo>
                      <a:pt x="1157" y="1264"/>
                    </a:lnTo>
                    <a:lnTo>
                      <a:pt x="1157" y="1265"/>
                    </a:lnTo>
                    <a:lnTo>
                      <a:pt x="1156" y="1265"/>
                    </a:lnTo>
                    <a:lnTo>
                      <a:pt x="1156" y="1267"/>
                    </a:lnTo>
                    <a:lnTo>
                      <a:pt x="1157" y="1265"/>
                    </a:lnTo>
                    <a:lnTo>
                      <a:pt x="1157" y="1267"/>
                    </a:lnTo>
                    <a:lnTo>
                      <a:pt x="1157" y="1269"/>
                    </a:lnTo>
                    <a:lnTo>
                      <a:pt x="1159" y="1269"/>
                    </a:lnTo>
                    <a:lnTo>
                      <a:pt x="1159" y="1270"/>
                    </a:lnTo>
                    <a:lnTo>
                      <a:pt x="1159" y="1272"/>
                    </a:lnTo>
                    <a:lnTo>
                      <a:pt x="1157" y="1272"/>
                    </a:lnTo>
                    <a:lnTo>
                      <a:pt x="1159" y="1272"/>
                    </a:lnTo>
                    <a:lnTo>
                      <a:pt x="1157" y="1272"/>
                    </a:lnTo>
                    <a:lnTo>
                      <a:pt x="1157" y="1274"/>
                    </a:lnTo>
                    <a:lnTo>
                      <a:pt x="1159" y="1272"/>
                    </a:lnTo>
                    <a:lnTo>
                      <a:pt x="1159" y="1270"/>
                    </a:lnTo>
                    <a:lnTo>
                      <a:pt x="1161" y="1272"/>
                    </a:lnTo>
                    <a:lnTo>
                      <a:pt x="1161" y="1274"/>
                    </a:lnTo>
                    <a:lnTo>
                      <a:pt x="1162" y="1274"/>
                    </a:lnTo>
                    <a:lnTo>
                      <a:pt x="1161" y="1276"/>
                    </a:lnTo>
                    <a:lnTo>
                      <a:pt x="1161" y="1274"/>
                    </a:lnTo>
                    <a:lnTo>
                      <a:pt x="1161" y="1276"/>
                    </a:lnTo>
                    <a:lnTo>
                      <a:pt x="1159" y="1276"/>
                    </a:lnTo>
                    <a:lnTo>
                      <a:pt x="1161" y="1276"/>
                    </a:lnTo>
                    <a:lnTo>
                      <a:pt x="1159" y="1277"/>
                    </a:lnTo>
                    <a:lnTo>
                      <a:pt x="1161" y="1276"/>
                    </a:lnTo>
                    <a:lnTo>
                      <a:pt x="1162" y="1276"/>
                    </a:lnTo>
                    <a:lnTo>
                      <a:pt x="1162" y="1277"/>
                    </a:lnTo>
                    <a:lnTo>
                      <a:pt x="1161" y="1277"/>
                    </a:lnTo>
                    <a:lnTo>
                      <a:pt x="1162" y="1279"/>
                    </a:lnTo>
                    <a:lnTo>
                      <a:pt x="1162" y="1281"/>
                    </a:lnTo>
                    <a:lnTo>
                      <a:pt x="1162" y="1282"/>
                    </a:lnTo>
                    <a:lnTo>
                      <a:pt x="1161" y="1282"/>
                    </a:lnTo>
                    <a:lnTo>
                      <a:pt x="1159" y="1284"/>
                    </a:lnTo>
                    <a:lnTo>
                      <a:pt x="1161" y="1284"/>
                    </a:lnTo>
                    <a:lnTo>
                      <a:pt x="1159" y="1284"/>
                    </a:lnTo>
                    <a:lnTo>
                      <a:pt x="1159" y="1286"/>
                    </a:lnTo>
                    <a:lnTo>
                      <a:pt x="1157" y="1286"/>
                    </a:lnTo>
                    <a:lnTo>
                      <a:pt x="1156" y="1286"/>
                    </a:lnTo>
                    <a:lnTo>
                      <a:pt x="1156" y="1284"/>
                    </a:lnTo>
                    <a:lnTo>
                      <a:pt x="1157" y="1284"/>
                    </a:lnTo>
                    <a:lnTo>
                      <a:pt x="1156" y="1284"/>
                    </a:lnTo>
                    <a:lnTo>
                      <a:pt x="1157" y="1282"/>
                    </a:lnTo>
                    <a:lnTo>
                      <a:pt x="1159" y="1282"/>
                    </a:lnTo>
                    <a:lnTo>
                      <a:pt x="1157" y="1282"/>
                    </a:lnTo>
                    <a:lnTo>
                      <a:pt x="1156" y="1284"/>
                    </a:lnTo>
                    <a:lnTo>
                      <a:pt x="1156" y="1282"/>
                    </a:lnTo>
                    <a:lnTo>
                      <a:pt x="1156" y="1281"/>
                    </a:lnTo>
                    <a:lnTo>
                      <a:pt x="1157" y="1281"/>
                    </a:lnTo>
                    <a:lnTo>
                      <a:pt x="1156" y="1281"/>
                    </a:lnTo>
                    <a:lnTo>
                      <a:pt x="1154" y="1281"/>
                    </a:lnTo>
                    <a:lnTo>
                      <a:pt x="1156" y="1279"/>
                    </a:lnTo>
                    <a:lnTo>
                      <a:pt x="1154" y="1279"/>
                    </a:lnTo>
                    <a:lnTo>
                      <a:pt x="1154" y="1277"/>
                    </a:lnTo>
                    <a:lnTo>
                      <a:pt x="1156" y="1277"/>
                    </a:lnTo>
                    <a:lnTo>
                      <a:pt x="1154" y="1277"/>
                    </a:lnTo>
                    <a:lnTo>
                      <a:pt x="1154" y="1276"/>
                    </a:lnTo>
                    <a:lnTo>
                      <a:pt x="1154" y="1274"/>
                    </a:lnTo>
                    <a:lnTo>
                      <a:pt x="1156" y="1274"/>
                    </a:lnTo>
                    <a:lnTo>
                      <a:pt x="1156" y="1272"/>
                    </a:lnTo>
                    <a:lnTo>
                      <a:pt x="1157" y="1272"/>
                    </a:lnTo>
                    <a:lnTo>
                      <a:pt x="1156" y="1270"/>
                    </a:lnTo>
                    <a:lnTo>
                      <a:pt x="1156" y="1272"/>
                    </a:lnTo>
                    <a:lnTo>
                      <a:pt x="1154" y="1272"/>
                    </a:lnTo>
                    <a:lnTo>
                      <a:pt x="1154" y="1270"/>
                    </a:lnTo>
                    <a:lnTo>
                      <a:pt x="1154" y="1272"/>
                    </a:lnTo>
                    <a:lnTo>
                      <a:pt x="1154" y="1270"/>
                    </a:lnTo>
                    <a:lnTo>
                      <a:pt x="1154" y="1269"/>
                    </a:lnTo>
                    <a:lnTo>
                      <a:pt x="1156" y="1269"/>
                    </a:lnTo>
                    <a:lnTo>
                      <a:pt x="1156" y="1267"/>
                    </a:lnTo>
                    <a:lnTo>
                      <a:pt x="1156" y="1269"/>
                    </a:lnTo>
                    <a:lnTo>
                      <a:pt x="1154" y="1269"/>
                    </a:lnTo>
                    <a:lnTo>
                      <a:pt x="1152" y="1270"/>
                    </a:lnTo>
                    <a:lnTo>
                      <a:pt x="1151" y="1272"/>
                    </a:lnTo>
                    <a:lnTo>
                      <a:pt x="1151" y="1270"/>
                    </a:lnTo>
                    <a:lnTo>
                      <a:pt x="1151" y="1272"/>
                    </a:lnTo>
                    <a:lnTo>
                      <a:pt x="1149" y="1272"/>
                    </a:lnTo>
                    <a:lnTo>
                      <a:pt x="1147" y="1272"/>
                    </a:lnTo>
                    <a:lnTo>
                      <a:pt x="1149" y="1272"/>
                    </a:lnTo>
                    <a:lnTo>
                      <a:pt x="1147" y="1272"/>
                    </a:lnTo>
                    <a:lnTo>
                      <a:pt x="1145" y="1270"/>
                    </a:lnTo>
                    <a:lnTo>
                      <a:pt x="1145" y="1269"/>
                    </a:lnTo>
                    <a:lnTo>
                      <a:pt x="1147" y="1269"/>
                    </a:lnTo>
                    <a:lnTo>
                      <a:pt x="1149" y="1269"/>
                    </a:lnTo>
                    <a:lnTo>
                      <a:pt x="1151" y="1269"/>
                    </a:lnTo>
                    <a:lnTo>
                      <a:pt x="1152" y="1269"/>
                    </a:lnTo>
                    <a:lnTo>
                      <a:pt x="1152" y="1267"/>
                    </a:lnTo>
                    <a:lnTo>
                      <a:pt x="1151" y="1269"/>
                    </a:lnTo>
                    <a:lnTo>
                      <a:pt x="1151" y="1267"/>
                    </a:lnTo>
                    <a:lnTo>
                      <a:pt x="1152" y="1267"/>
                    </a:lnTo>
                    <a:lnTo>
                      <a:pt x="1152" y="1265"/>
                    </a:lnTo>
                    <a:lnTo>
                      <a:pt x="1151" y="1267"/>
                    </a:lnTo>
                    <a:lnTo>
                      <a:pt x="1151" y="1265"/>
                    </a:lnTo>
                    <a:lnTo>
                      <a:pt x="1152" y="1264"/>
                    </a:lnTo>
                    <a:lnTo>
                      <a:pt x="1152" y="1262"/>
                    </a:lnTo>
                    <a:lnTo>
                      <a:pt x="1151" y="1264"/>
                    </a:lnTo>
                    <a:lnTo>
                      <a:pt x="1151" y="1265"/>
                    </a:lnTo>
                    <a:lnTo>
                      <a:pt x="1151" y="1267"/>
                    </a:lnTo>
                    <a:lnTo>
                      <a:pt x="1149" y="1267"/>
                    </a:lnTo>
                    <a:lnTo>
                      <a:pt x="1151" y="1269"/>
                    </a:lnTo>
                    <a:lnTo>
                      <a:pt x="1149" y="1269"/>
                    </a:lnTo>
                    <a:lnTo>
                      <a:pt x="1149" y="1267"/>
                    </a:lnTo>
                    <a:lnTo>
                      <a:pt x="1149" y="1269"/>
                    </a:lnTo>
                    <a:lnTo>
                      <a:pt x="1147" y="1269"/>
                    </a:lnTo>
                    <a:lnTo>
                      <a:pt x="1147" y="1267"/>
                    </a:lnTo>
                    <a:lnTo>
                      <a:pt x="1149" y="1267"/>
                    </a:lnTo>
                    <a:lnTo>
                      <a:pt x="1149" y="1265"/>
                    </a:lnTo>
                    <a:lnTo>
                      <a:pt x="1149" y="1264"/>
                    </a:lnTo>
                    <a:lnTo>
                      <a:pt x="1151" y="1262"/>
                    </a:lnTo>
                    <a:lnTo>
                      <a:pt x="1149" y="1264"/>
                    </a:lnTo>
                    <a:lnTo>
                      <a:pt x="1149" y="1262"/>
                    </a:lnTo>
                    <a:lnTo>
                      <a:pt x="1151" y="1262"/>
                    </a:lnTo>
                    <a:lnTo>
                      <a:pt x="1151" y="1260"/>
                    </a:lnTo>
                    <a:lnTo>
                      <a:pt x="1149" y="1262"/>
                    </a:lnTo>
                    <a:lnTo>
                      <a:pt x="1149" y="1264"/>
                    </a:lnTo>
                    <a:lnTo>
                      <a:pt x="1147" y="1264"/>
                    </a:lnTo>
                    <a:lnTo>
                      <a:pt x="1145" y="1262"/>
                    </a:lnTo>
                    <a:lnTo>
                      <a:pt x="1147" y="1262"/>
                    </a:lnTo>
                    <a:lnTo>
                      <a:pt x="1147" y="1260"/>
                    </a:lnTo>
                    <a:lnTo>
                      <a:pt x="1145" y="1260"/>
                    </a:lnTo>
                    <a:lnTo>
                      <a:pt x="1145" y="1259"/>
                    </a:lnTo>
                    <a:lnTo>
                      <a:pt x="1144" y="1257"/>
                    </a:lnTo>
                    <a:lnTo>
                      <a:pt x="1145" y="1255"/>
                    </a:lnTo>
                    <a:lnTo>
                      <a:pt x="1147" y="1255"/>
                    </a:lnTo>
                    <a:lnTo>
                      <a:pt x="1147" y="1253"/>
                    </a:lnTo>
                    <a:lnTo>
                      <a:pt x="1147" y="1255"/>
                    </a:lnTo>
                    <a:lnTo>
                      <a:pt x="1147" y="1253"/>
                    </a:lnTo>
                    <a:lnTo>
                      <a:pt x="1149" y="1255"/>
                    </a:lnTo>
                    <a:lnTo>
                      <a:pt x="1149" y="1253"/>
                    </a:lnTo>
                    <a:lnTo>
                      <a:pt x="1149" y="1255"/>
                    </a:lnTo>
                    <a:lnTo>
                      <a:pt x="1149" y="1253"/>
                    </a:lnTo>
                    <a:lnTo>
                      <a:pt x="1149" y="1255"/>
                    </a:lnTo>
                    <a:lnTo>
                      <a:pt x="1149" y="1253"/>
                    </a:lnTo>
                    <a:lnTo>
                      <a:pt x="1151" y="1253"/>
                    </a:lnTo>
                    <a:lnTo>
                      <a:pt x="1149" y="1255"/>
                    </a:lnTo>
                    <a:lnTo>
                      <a:pt x="1149" y="1257"/>
                    </a:lnTo>
                    <a:lnTo>
                      <a:pt x="1149" y="1255"/>
                    </a:lnTo>
                    <a:lnTo>
                      <a:pt x="1151" y="1255"/>
                    </a:lnTo>
                    <a:lnTo>
                      <a:pt x="1151" y="1253"/>
                    </a:lnTo>
                    <a:lnTo>
                      <a:pt x="1151" y="1252"/>
                    </a:lnTo>
                    <a:lnTo>
                      <a:pt x="1152" y="1252"/>
                    </a:lnTo>
                    <a:close/>
                    <a:moveTo>
                      <a:pt x="1176" y="1393"/>
                    </a:moveTo>
                    <a:lnTo>
                      <a:pt x="1176" y="1395"/>
                    </a:lnTo>
                    <a:lnTo>
                      <a:pt x="1176" y="1393"/>
                    </a:lnTo>
                    <a:lnTo>
                      <a:pt x="1178" y="1393"/>
                    </a:lnTo>
                    <a:lnTo>
                      <a:pt x="1178" y="1395"/>
                    </a:lnTo>
                    <a:lnTo>
                      <a:pt x="1179" y="1393"/>
                    </a:lnTo>
                    <a:lnTo>
                      <a:pt x="1179" y="1395"/>
                    </a:lnTo>
                    <a:lnTo>
                      <a:pt x="1181" y="1395"/>
                    </a:lnTo>
                    <a:lnTo>
                      <a:pt x="1181" y="1396"/>
                    </a:lnTo>
                    <a:lnTo>
                      <a:pt x="1181" y="1395"/>
                    </a:lnTo>
                    <a:lnTo>
                      <a:pt x="1183" y="1396"/>
                    </a:lnTo>
                    <a:lnTo>
                      <a:pt x="1181" y="1398"/>
                    </a:lnTo>
                    <a:lnTo>
                      <a:pt x="1181" y="1396"/>
                    </a:lnTo>
                    <a:lnTo>
                      <a:pt x="1181" y="1398"/>
                    </a:lnTo>
                    <a:lnTo>
                      <a:pt x="1181" y="1400"/>
                    </a:lnTo>
                    <a:lnTo>
                      <a:pt x="1179" y="1400"/>
                    </a:lnTo>
                    <a:lnTo>
                      <a:pt x="1181" y="1400"/>
                    </a:lnTo>
                    <a:lnTo>
                      <a:pt x="1181" y="1398"/>
                    </a:lnTo>
                    <a:lnTo>
                      <a:pt x="1183" y="1398"/>
                    </a:lnTo>
                    <a:lnTo>
                      <a:pt x="1183" y="1400"/>
                    </a:lnTo>
                    <a:lnTo>
                      <a:pt x="1183" y="1401"/>
                    </a:lnTo>
                    <a:lnTo>
                      <a:pt x="1183" y="1403"/>
                    </a:lnTo>
                    <a:lnTo>
                      <a:pt x="1181" y="1403"/>
                    </a:lnTo>
                    <a:lnTo>
                      <a:pt x="1183" y="1403"/>
                    </a:lnTo>
                    <a:lnTo>
                      <a:pt x="1183" y="1405"/>
                    </a:lnTo>
                    <a:lnTo>
                      <a:pt x="1183" y="1403"/>
                    </a:lnTo>
                    <a:lnTo>
                      <a:pt x="1183" y="1405"/>
                    </a:lnTo>
                    <a:lnTo>
                      <a:pt x="1183" y="1403"/>
                    </a:lnTo>
                    <a:lnTo>
                      <a:pt x="1183" y="1405"/>
                    </a:lnTo>
                    <a:lnTo>
                      <a:pt x="1183" y="1407"/>
                    </a:lnTo>
                    <a:lnTo>
                      <a:pt x="1183" y="1405"/>
                    </a:lnTo>
                    <a:lnTo>
                      <a:pt x="1185" y="1407"/>
                    </a:lnTo>
                    <a:lnTo>
                      <a:pt x="1185" y="1408"/>
                    </a:lnTo>
                    <a:lnTo>
                      <a:pt x="1185" y="1410"/>
                    </a:lnTo>
                    <a:lnTo>
                      <a:pt x="1185" y="1412"/>
                    </a:lnTo>
                    <a:lnTo>
                      <a:pt x="1183" y="1410"/>
                    </a:lnTo>
                    <a:lnTo>
                      <a:pt x="1185" y="1412"/>
                    </a:lnTo>
                    <a:lnTo>
                      <a:pt x="1183" y="1412"/>
                    </a:lnTo>
                    <a:lnTo>
                      <a:pt x="1183" y="1410"/>
                    </a:lnTo>
                    <a:lnTo>
                      <a:pt x="1181" y="1408"/>
                    </a:lnTo>
                    <a:lnTo>
                      <a:pt x="1181" y="1407"/>
                    </a:lnTo>
                    <a:lnTo>
                      <a:pt x="1179" y="1407"/>
                    </a:lnTo>
                    <a:lnTo>
                      <a:pt x="1179" y="1408"/>
                    </a:lnTo>
                    <a:lnTo>
                      <a:pt x="1181" y="1408"/>
                    </a:lnTo>
                    <a:lnTo>
                      <a:pt x="1181" y="1410"/>
                    </a:lnTo>
                    <a:lnTo>
                      <a:pt x="1181" y="1412"/>
                    </a:lnTo>
                    <a:lnTo>
                      <a:pt x="1179" y="1412"/>
                    </a:lnTo>
                    <a:lnTo>
                      <a:pt x="1179" y="1410"/>
                    </a:lnTo>
                    <a:lnTo>
                      <a:pt x="1179" y="1412"/>
                    </a:lnTo>
                    <a:lnTo>
                      <a:pt x="1181" y="1412"/>
                    </a:lnTo>
                    <a:lnTo>
                      <a:pt x="1181" y="1413"/>
                    </a:lnTo>
                    <a:lnTo>
                      <a:pt x="1183" y="1413"/>
                    </a:lnTo>
                    <a:lnTo>
                      <a:pt x="1185" y="1415"/>
                    </a:lnTo>
                    <a:lnTo>
                      <a:pt x="1185" y="1417"/>
                    </a:lnTo>
                    <a:lnTo>
                      <a:pt x="1185" y="1418"/>
                    </a:lnTo>
                    <a:lnTo>
                      <a:pt x="1183" y="1418"/>
                    </a:lnTo>
                    <a:lnTo>
                      <a:pt x="1183" y="1417"/>
                    </a:lnTo>
                    <a:lnTo>
                      <a:pt x="1181" y="1417"/>
                    </a:lnTo>
                    <a:lnTo>
                      <a:pt x="1183" y="1418"/>
                    </a:lnTo>
                    <a:lnTo>
                      <a:pt x="1183" y="1420"/>
                    </a:lnTo>
                    <a:lnTo>
                      <a:pt x="1183" y="1418"/>
                    </a:lnTo>
                    <a:lnTo>
                      <a:pt x="1181" y="1418"/>
                    </a:lnTo>
                    <a:lnTo>
                      <a:pt x="1181" y="1417"/>
                    </a:lnTo>
                    <a:lnTo>
                      <a:pt x="1179" y="1418"/>
                    </a:lnTo>
                    <a:lnTo>
                      <a:pt x="1181" y="1418"/>
                    </a:lnTo>
                    <a:lnTo>
                      <a:pt x="1183" y="1420"/>
                    </a:lnTo>
                    <a:lnTo>
                      <a:pt x="1183" y="1422"/>
                    </a:lnTo>
                    <a:lnTo>
                      <a:pt x="1181" y="1422"/>
                    </a:lnTo>
                    <a:lnTo>
                      <a:pt x="1181" y="1420"/>
                    </a:lnTo>
                    <a:lnTo>
                      <a:pt x="1181" y="1418"/>
                    </a:lnTo>
                    <a:lnTo>
                      <a:pt x="1179" y="1420"/>
                    </a:lnTo>
                    <a:lnTo>
                      <a:pt x="1179" y="1418"/>
                    </a:lnTo>
                    <a:lnTo>
                      <a:pt x="1178" y="1420"/>
                    </a:lnTo>
                    <a:lnTo>
                      <a:pt x="1178" y="1418"/>
                    </a:lnTo>
                    <a:lnTo>
                      <a:pt x="1179" y="1418"/>
                    </a:lnTo>
                    <a:lnTo>
                      <a:pt x="1179" y="1417"/>
                    </a:lnTo>
                    <a:lnTo>
                      <a:pt x="1178" y="1417"/>
                    </a:lnTo>
                    <a:lnTo>
                      <a:pt x="1178" y="1415"/>
                    </a:lnTo>
                    <a:lnTo>
                      <a:pt x="1176" y="1413"/>
                    </a:lnTo>
                    <a:lnTo>
                      <a:pt x="1178" y="1412"/>
                    </a:lnTo>
                    <a:lnTo>
                      <a:pt x="1176" y="1412"/>
                    </a:lnTo>
                    <a:lnTo>
                      <a:pt x="1176" y="1410"/>
                    </a:lnTo>
                    <a:lnTo>
                      <a:pt x="1178" y="1410"/>
                    </a:lnTo>
                    <a:lnTo>
                      <a:pt x="1179" y="1410"/>
                    </a:lnTo>
                    <a:lnTo>
                      <a:pt x="1179" y="1408"/>
                    </a:lnTo>
                    <a:lnTo>
                      <a:pt x="1179" y="1410"/>
                    </a:lnTo>
                    <a:lnTo>
                      <a:pt x="1178" y="1410"/>
                    </a:lnTo>
                    <a:lnTo>
                      <a:pt x="1176" y="1410"/>
                    </a:lnTo>
                    <a:lnTo>
                      <a:pt x="1176" y="1408"/>
                    </a:lnTo>
                    <a:lnTo>
                      <a:pt x="1176" y="1410"/>
                    </a:lnTo>
                    <a:lnTo>
                      <a:pt x="1176" y="1412"/>
                    </a:lnTo>
                    <a:lnTo>
                      <a:pt x="1174" y="1413"/>
                    </a:lnTo>
                    <a:lnTo>
                      <a:pt x="1174" y="1412"/>
                    </a:lnTo>
                    <a:lnTo>
                      <a:pt x="1174" y="1413"/>
                    </a:lnTo>
                    <a:lnTo>
                      <a:pt x="1173" y="1413"/>
                    </a:lnTo>
                    <a:lnTo>
                      <a:pt x="1171" y="1413"/>
                    </a:lnTo>
                    <a:lnTo>
                      <a:pt x="1173" y="1412"/>
                    </a:lnTo>
                    <a:lnTo>
                      <a:pt x="1171" y="1412"/>
                    </a:lnTo>
                    <a:lnTo>
                      <a:pt x="1173" y="1412"/>
                    </a:lnTo>
                    <a:lnTo>
                      <a:pt x="1173" y="1410"/>
                    </a:lnTo>
                    <a:lnTo>
                      <a:pt x="1171" y="1410"/>
                    </a:lnTo>
                    <a:lnTo>
                      <a:pt x="1173" y="1410"/>
                    </a:lnTo>
                    <a:lnTo>
                      <a:pt x="1174" y="1410"/>
                    </a:lnTo>
                    <a:lnTo>
                      <a:pt x="1174" y="1408"/>
                    </a:lnTo>
                    <a:lnTo>
                      <a:pt x="1176" y="1408"/>
                    </a:lnTo>
                    <a:lnTo>
                      <a:pt x="1176" y="1407"/>
                    </a:lnTo>
                    <a:lnTo>
                      <a:pt x="1176" y="1405"/>
                    </a:lnTo>
                    <a:lnTo>
                      <a:pt x="1176" y="1407"/>
                    </a:lnTo>
                    <a:lnTo>
                      <a:pt x="1174" y="1407"/>
                    </a:lnTo>
                    <a:lnTo>
                      <a:pt x="1174" y="1408"/>
                    </a:lnTo>
                    <a:lnTo>
                      <a:pt x="1173" y="1408"/>
                    </a:lnTo>
                    <a:lnTo>
                      <a:pt x="1171" y="1408"/>
                    </a:lnTo>
                    <a:lnTo>
                      <a:pt x="1171" y="1407"/>
                    </a:lnTo>
                    <a:lnTo>
                      <a:pt x="1171" y="1408"/>
                    </a:lnTo>
                    <a:lnTo>
                      <a:pt x="1169" y="1408"/>
                    </a:lnTo>
                    <a:lnTo>
                      <a:pt x="1171" y="1408"/>
                    </a:lnTo>
                    <a:lnTo>
                      <a:pt x="1171" y="1410"/>
                    </a:lnTo>
                    <a:lnTo>
                      <a:pt x="1169" y="1412"/>
                    </a:lnTo>
                    <a:lnTo>
                      <a:pt x="1168" y="1412"/>
                    </a:lnTo>
                    <a:lnTo>
                      <a:pt x="1169" y="1410"/>
                    </a:lnTo>
                    <a:lnTo>
                      <a:pt x="1168" y="1410"/>
                    </a:lnTo>
                    <a:lnTo>
                      <a:pt x="1168" y="1412"/>
                    </a:lnTo>
                    <a:lnTo>
                      <a:pt x="1166" y="1410"/>
                    </a:lnTo>
                    <a:lnTo>
                      <a:pt x="1168" y="1410"/>
                    </a:lnTo>
                    <a:lnTo>
                      <a:pt x="1168" y="1408"/>
                    </a:lnTo>
                    <a:lnTo>
                      <a:pt x="1169" y="1407"/>
                    </a:lnTo>
                    <a:lnTo>
                      <a:pt x="1168" y="1407"/>
                    </a:lnTo>
                    <a:lnTo>
                      <a:pt x="1169" y="1407"/>
                    </a:lnTo>
                    <a:lnTo>
                      <a:pt x="1171" y="1407"/>
                    </a:lnTo>
                    <a:lnTo>
                      <a:pt x="1169" y="1407"/>
                    </a:lnTo>
                    <a:lnTo>
                      <a:pt x="1168" y="1407"/>
                    </a:lnTo>
                    <a:lnTo>
                      <a:pt x="1166" y="1407"/>
                    </a:lnTo>
                    <a:lnTo>
                      <a:pt x="1168" y="1405"/>
                    </a:lnTo>
                    <a:lnTo>
                      <a:pt x="1169" y="1405"/>
                    </a:lnTo>
                    <a:lnTo>
                      <a:pt x="1168" y="1405"/>
                    </a:lnTo>
                    <a:lnTo>
                      <a:pt x="1166" y="1405"/>
                    </a:lnTo>
                    <a:lnTo>
                      <a:pt x="1166" y="1407"/>
                    </a:lnTo>
                    <a:lnTo>
                      <a:pt x="1164" y="1407"/>
                    </a:lnTo>
                    <a:lnTo>
                      <a:pt x="1164" y="1405"/>
                    </a:lnTo>
                    <a:lnTo>
                      <a:pt x="1164" y="1403"/>
                    </a:lnTo>
                    <a:lnTo>
                      <a:pt x="1166" y="1403"/>
                    </a:lnTo>
                    <a:lnTo>
                      <a:pt x="1168" y="1403"/>
                    </a:lnTo>
                    <a:lnTo>
                      <a:pt x="1166" y="1403"/>
                    </a:lnTo>
                    <a:lnTo>
                      <a:pt x="1164" y="1401"/>
                    </a:lnTo>
                    <a:lnTo>
                      <a:pt x="1166" y="1401"/>
                    </a:lnTo>
                    <a:lnTo>
                      <a:pt x="1168" y="1401"/>
                    </a:lnTo>
                    <a:lnTo>
                      <a:pt x="1166" y="1401"/>
                    </a:lnTo>
                    <a:lnTo>
                      <a:pt x="1168" y="1401"/>
                    </a:lnTo>
                    <a:lnTo>
                      <a:pt x="1169" y="1401"/>
                    </a:lnTo>
                    <a:lnTo>
                      <a:pt x="1169" y="1403"/>
                    </a:lnTo>
                    <a:lnTo>
                      <a:pt x="1171" y="1403"/>
                    </a:lnTo>
                    <a:lnTo>
                      <a:pt x="1173" y="1403"/>
                    </a:lnTo>
                    <a:lnTo>
                      <a:pt x="1174" y="1403"/>
                    </a:lnTo>
                    <a:lnTo>
                      <a:pt x="1173" y="1405"/>
                    </a:lnTo>
                    <a:lnTo>
                      <a:pt x="1174" y="1405"/>
                    </a:lnTo>
                    <a:lnTo>
                      <a:pt x="1174" y="1403"/>
                    </a:lnTo>
                    <a:lnTo>
                      <a:pt x="1176" y="1403"/>
                    </a:lnTo>
                    <a:lnTo>
                      <a:pt x="1176" y="1405"/>
                    </a:lnTo>
                    <a:lnTo>
                      <a:pt x="1176" y="1403"/>
                    </a:lnTo>
                    <a:lnTo>
                      <a:pt x="1178" y="1403"/>
                    </a:lnTo>
                    <a:lnTo>
                      <a:pt x="1176" y="1401"/>
                    </a:lnTo>
                    <a:lnTo>
                      <a:pt x="1178" y="1401"/>
                    </a:lnTo>
                    <a:lnTo>
                      <a:pt x="1176" y="1401"/>
                    </a:lnTo>
                    <a:lnTo>
                      <a:pt x="1176" y="1403"/>
                    </a:lnTo>
                    <a:lnTo>
                      <a:pt x="1174" y="1401"/>
                    </a:lnTo>
                    <a:lnTo>
                      <a:pt x="1174" y="1400"/>
                    </a:lnTo>
                    <a:lnTo>
                      <a:pt x="1176" y="1400"/>
                    </a:lnTo>
                    <a:lnTo>
                      <a:pt x="1176" y="1398"/>
                    </a:lnTo>
                    <a:lnTo>
                      <a:pt x="1178" y="1400"/>
                    </a:lnTo>
                    <a:lnTo>
                      <a:pt x="1176" y="1400"/>
                    </a:lnTo>
                    <a:lnTo>
                      <a:pt x="1178" y="1400"/>
                    </a:lnTo>
                    <a:lnTo>
                      <a:pt x="1178" y="1398"/>
                    </a:lnTo>
                    <a:lnTo>
                      <a:pt x="1179" y="1398"/>
                    </a:lnTo>
                    <a:lnTo>
                      <a:pt x="1178" y="1398"/>
                    </a:lnTo>
                    <a:lnTo>
                      <a:pt x="1176" y="1398"/>
                    </a:lnTo>
                    <a:lnTo>
                      <a:pt x="1176" y="1396"/>
                    </a:lnTo>
                    <a:lnTo>
                      <a:pt x="1174" y="1396"/>
                    </a:lnTo>
                    <a:lnTo>
                      <a:pt x="1174" y="1395"/>
                    </a:lnTo>
                    <a:lnTo>
                      <a:pt x="1173" y="1395"/>
                    </a:lnTo>
                    <a:lnTo>
                      <a:pt x="1174" y="1393"/>
                    </a:lnTo>
                    <a:lnTo>
                      <a:pt x="1174" y="1391"/>
                    </a:lnTo>
                    <a:lnTo>
                      <a:pt x="1176" y="1393"/>
                    </a:lnTo>
                    <a:close/>
                    <a:moveTo>
                      <a:pt x="1173" y="1259"/>
                    </a:moveTo>
                    <a:lnTo>
                      <a:pt x="1174" y="1259"/>
                    </a:lnTo>
                    <a:lnTo>
                      <a:pt x="1174" y="1260"/>
                    </a:lnTo>
                    <a:lnTo>
                      <a:pt x="1174" y="1262"/>
                    </a:lnTo>
                    <a:lnTo>
                      <a:pt x="1173" y="1262"/>
                    </a:lnTo>
                    <a:lnTo>
                      <a:pt x="1174" y="1262"/>
                    </a:lnTo>
                    <a:lnTo>
                      <a:pt x="1174" y="1264"/>
                    </a:lnTo>
                    <a:lnTo>
                      <a:pt x="1174" y="1262"/>
                    </a:lnTo>
                    <a:lnTo>
                      <a:pt x="1176" y="1264"/>
                    </a:lnTo>
                    <a:lnTo>
                      <a:pt x="1174" y="1265"/>
                    </a:lnTo>
                    <a:lnTo>
                      <a:pt x="1176" y="1265"/>
                    </a:lnTo>
                    <a:lnTo>
                      <a:pt x="1174" y="1265"/>
                    </a:lnTo>
                    <a:lnTo>
                      <a:pt x="1176" y="1267"/>
                    </a:lnTo>
                    <a:lnTo>
                      <a:pt x="1178" y="1267"/>
                    </a:lnTo>
                    <a:lnTo>
                      <a:pt x="1178" y="1269"/>
                    </a:lnTo>
                    <a:lnTo>
                      <a:pt x="1178" y="1270"/>
                    </a:lnTo>
                    <a:lnTo>
                      <a:pt x="1178" y="1272"/>
                    </a:lnTo>
                    <a:lnTo>
                      <a:pt x="1176" y="1272"/>
                    </a:lnTo>
                    <a:lnTo>
                      <a:pt x="1174" y="1272"/>
                    </a:lnTo>
                    <a:lnTo>
                      <a:pt x="1176" y="1272"/>
                    </a:lnTo>
                    <a:lnTo>
                      <a:pt x="1176" y="1274"/>
                    </a:lnTo>
                    <a:lnTo>
                      <a:pt x="1178" y="1276"/>
                    </a:lnTo>
                    <a:lnTo>
                      <a:pt x="1178" y="1277"/>
                    </a:lnTo>
                    <a:lnTo>
                      <a:pt x="1178" y="1279"/>
                    </a:lnTo>
                    <a:lnTo>
                      <a:pt x="1178" y="1281"/>
                    </a:lnTo>
                    <a:lnTo>
                      <a:pt x="1179" y="1282"/>
                    </a:lnTo>
                    <a:lnTo>
                      <a:pt x="1179" y="1284"/>
                    </a:lnTo>
                    <a:lnTo>
                      <a:pt x="1181" y="1282"/>
                    </a:lnTo>
                    <a:lnTo>
                      <a:pt x="1179" y="1282"/>
                    </a:lnTo>
                    <a:lnTo>
                      <a:pt x="1179" y="1281"/>
                    </a:lnTo>
                    <a:lnTo>
                      <a:pt x="1181" y="1281"/>
                    </a:lnTo>
                    <a:lnTo>
                      <a:pt x="1181" y="1282"/>
                    </a:lnTo>
                    <a:lnTo>
                      <a:pt x="1181" y="1284"/>
                    </a:lnTo>
                    <a:lnTo>
                      <a:pt x="1181" y="1286"/>
                    </a:lnTo>
                    <a:lnTo>
                      <a:pt x="1179" y="1286"/>
                    </a:lnTo>
                    <a:lnTo>
                      <a:pt x="1178" y="1288"/>
                    </a:lnTo>
                    <a:lnTo>
                      <a:pt x="1178" y="1286"/>
                    </a:lnTo>
                    <a:lnTo>
                      <a:pt x="1176" y="1286"/>
                    </a:lnTo>
                    <a:lnTo>
                      <a:pt x="1176" y="1284"/>
                    </a:lnTo>
                    <a:lnTo>
                      <a:pt x="1174" y="1284"/>
                    </a:lnTo>
                    <a:lnTo>
                      <a:pt x="1173" y="1284"/>
                    </a:lnTo>
                    <a:lnTo>
                      <a:pt x="1174" y="1282"/>
                    </a:lnTo>
                    <a:lnTo>
                      <a:pt x="1173" y="1284"/>
                    </a:lnTo>
                    <a:lnTo>
                      <a:pt x="1171" y="1284"/>
                    </a:lnTo>
                    <a:lnTo>
                      <a:pt x="1169" y="1282"/>
                    </a:lnTo>
                    <a:lnTo>
                      <a:pt x="1168" y="1282"/>
                    </a:lnTo>
                    <a:lnTo>
                      <a:pt x="1166" y="1282"/>
                    </a:lnTo>
                    <a:lnTo>
                      <a:pt x="1166" y="1281"/>
                    </a:lnTo>
                    <a:lnTo>
                      <a:pt x="1166" y="1279"/>
                    </a:lnTo>
                    <a:lnTo>
                      <a:pt x="1166" y="1281"/>
                    </a:lnTo>
                    <a:lnTo>
                      <a:pt x="1166" y="1282"/>
                    </a:lnTo>
                    <a:lnTo>
                      <a:pt x="1164" y="1282"/>
                    </a:lnTo>
                    <a:lnTo>
                      <a:pt x="1164" y="1281"/>
                    </a:lnTo>
                    <a:lnTo>
                      <a:pt x="1164" y="1279"/>
                    </a:lnTo>
                    <a:lnTo>
                      <a:pt x="1164" y="1277"/>
                    </a:lnTo>
                    <a:lnTo>
                      <a:pt x="1164" y="1276"/>
                    </a:lnTo>
                    <a:lnTo>
                      <a:pt x="1164" y="1274"/>
                    </a:lnTo>
                    <a:lnTo>
                      <a:pt x="1166" y="1274"/>
                    </a:lnTo>
                    <a:lnTo>
                      <a:pt x="1166" y="1272"/>
                    </a:lnTo>
                    <a:lnTo>
                      <a:pt x="1168" y="1272"/>
                    </a:lnTo>
                    <a:lnTo>
                      <a:pt x="1168" y="1270"/>
                    </a:lnTo>
                    <a:lnTo>
                      <a:pt x="1169" y="1272"/>
                    </a:lnTo>
                    <a:lnTo>
                      <a:pt x="1169" y="1270"/>
                    </a:lnTo>
                    <a:lnTo>
                      <a:pt x="1171" y="1270"/>
                    </a:lnTo>
                    <a:lnTo>
                      <a:pt x="1171" y="1272"/>
                    </a:lnTo>
                    <a:lnTo>
                      <a:pt x="1171" y="1274"/>
                    </a:lnTo>
                    <a:lnTo>
                      <a:pt x="1171" y="1276"/>
                    </a:lnTo>
                    <a:lnTo>
                      <a:pt x="1171" y="1277"/>
                    </a:lnTo>
                    <a:lnTo>
                      <a:pt x="1171" y="1279"/>
                    </a:lnTo>
                    <a:lnTo>
                      <a:pt x="1171" y="1277"/>
                    </a:lnTo>
                    <a:lnTo>
                      <a:pt x="1171" y="1276"/>
                    </a:lnTo>
                    <a:lnTo>
                      <a:pt x="1173" y="1276"/>
                    </a:lnTo>
                    <a:lnTo>
                      <a:pt x="1173" y="1277"/>
                    </a:lnTo>
                    <a:lnTo>
                      <a:pt x="1173" y="1279"/>
                    </a:lnTo>
                    <a:lnTo>
                      <a:pt x="1173" y="1277"/>
                    </a:lnTo>
                    <a:lnTo>
                      <a:pt x="1173" y="1276"/>
                    </a:lnTo>
                    <a:lnTo>
                      <a:pt x="1174" y="1276"/>
                    </a:lnTo>
                    <a:lnTo>
                      <a:pt x="1174" y="1274"/>
                    </a:lnTo>
                    <a:lnTo>
                      <a:pt x="1174" y="1272"/>
                    </a:lnTo>
                    <a:lnTo>
                      <a:pt x="1173" y="1274"/>
                    </a:lnTo>
                    <a:lnTo>
                      <a:pt x="1173" y="1272"/>
                    </a:lnTo>
                    <a:lnTo>
                      <a:pt x="1171" y="1272"/>
                    </a:lnTo>
                    <a:lnTo>
                      <a:pt x="1171" y="1270"/>
                    </a:lnTo>
                    <a:lnTo>
                      <a:pt x="1171" y="1272"/>
                    </a:lnTo>
                    <a:lnTo>
                      <a:pt x="1173" y="1272"/>
                    </a:lnTo>
                    <a:lnTo>
                      <a:pt x="1171" y="1270"/>
                    </a:lnTo>
                    <a:lnTo>
                      <a:pt x="1171" y="1269"/>
                    </a:lnTo>
                    <a:lnTo>
                      <a:pt x="1171" y="1267"/>
                    </a:lnTo>
                    <a:lnTo>
                      <a:pt x="1171" y="1265"/>
                    </a:lnTo>
                    <a:lnTo>
                      <a:pt x="1171" y="1264"/>
                    </a:lnTo>
                    <a:lnTo>
                      <a:pt x="1173" y="1264"/>
                    </a:lnTo>
                    <a:lnTo>
                      <a:pt x="1171" y="1264"/>
                    </a:lnTo>
                    <a:lnTo>
                      <a:pt x="1173" y="1262"/>
                    </a:lnTo>
                    <a:lnTo>
                      <a:pt x="1173" y="1260"/>
                    </a:lnTo>
                    <a:lnTo>
                      <a:pt x="1173" y="1259"/>
                    </a:lnTo>
                    <a:lnTo>
                      <a:pt x="1173" y="1257"/>
                    </a:lnTo>
                    <a:lnTo>
                      <a:pt x="1173" y="1259"/>
                    </a:lnTo>
                    <a:close/>
                    <a:moveTo>
                      <a:pt x="1188" y="1466"/>
                    </a:moveTo>
                    <a:lnTo>
                      <a:pt x="1190" y="1466"/>
                    </a:lnTo>
                    <a:lnTo>
                      <a:pt x="1190" y="1468"/>
                    </a:lnTo>
                    <a:lnTo>
                      <a:pt x="1191" y="1466"/>
                    </a:lnTo>
                    <a:lnTo>
                      <a:pt x="1193" y="1466"/>
                    </a:lnTo>
                    <a:lnTo>
                      <a:pt x="1193" y="1468"/>
                    </a:lnTo>
                    <a:lnTo>
                      <a:pt x="1195" y="1468"/>
                    </a:lnTo>
                    <a:lnTo>
                      <a:pt x="1195" y="1470"/>
                    </a:lnTo>
                    <a:lnTo>
                      <a:pt x="1193" y="1471"/>
                    </a:lnTo>
                    <a:lnTo>
                      <a:pt x="1195" y="1471"/>
                    </a:lnTo>
                    <a:lnTo>
                      <a:pt x="1195" y="1470"/>
                    </a:lnTo>
                    <a:lnTo>
                      <a:pt x="1196" y="1470"/>
                    </a:lnTo>
                    <a:lnTo>
                      <a:pt x="1196" y="1471"/>
                    </a:lnTo>
                    <a:lnTo>
                      <a:pt x="1198" y="1471"/>
                    </a:lnTo>
                    <a:lnTo>
                      <a:pt x="1198" y="1473"/>
                    </a:lnTo>
                    <a:lnTo>
                      <a:pt x="1200" y="1473"/>
                    </a:lnTo>
                    <a:lnTo>
                      <a:pt x="1202" y="1475"/>
                    </a:lnTo>
                    <a:lnTo>
                      <a:pt x="1203" y="1475"/>
                    </a:lnTo>
                    <a:lnTo>
                      <a:pt x="1203" y="1476"/>
                    </a:lnTo>
                    <a:lnTo>
                      <a:pt x="1205" y="1478"/>
                    </a:lnTo>
                    <a:lnTo>
                      <a:pt x="1205" y="1480"/>
                    </a:lnTo>
                    <a:lnTo>
                      <a:pt x="1203" y="1481"/>
                    </a:lnTo>
                    <a:lnTo>
                      <a:pt x="1205" y="1481"/>
                    </a:lnTo>
                    <a:lnTo>
                      <a:pt x="1205" y="1480"/>
                    </a:lnTo>
                    <a:lnTo>
                      <a:pt x="1205" y="1481"/>
                    </a:lnTo>
                    <a:lnTo>
                      <a:pt x="1205" y="1483"/>
                    </a:lnTo>
                    <a:lnTo>
                      <a:pt x="1205" y="1485"/>
                    </a:lnTo>
                    <a:lnTo>
                      <a:pt x="1207" y="1487"/>
                    </a:lnTo>
                    <a:lnTo>
                      <a:pt x="1207" y="1488"/>
                    </a:lnTo>
                    <a:lnTo>
                      <a:pt x="1208" y="1488"/>
                    </a:lnTo>
                    <a:lnTo>
                      <a:pt x="1208" y="1490"/>
                    </a:lnTo>
                    <a:lnTo>
                      <a:pt x="1207" y="1488"/>
                    </a:lnTo>
                    <a:lnTo>
                      <a:pt x="1208" y="1490"/>
                    </a:lnTo>
                    <a:lnTo>
                      <a:pt x="1207" y="1490"/>
                    </a:lnTo>
                    <a:lnTo>
                      <a:pt x="1205" y="1490"/>
                    </a:lnTo>
                    <a:lnTo>
                      <a:pt x="1207" y="1490"/>
                    </a:lnTo>
                    <a:lnTo>
                      <a:pt x="1207" y="1492"/>
                    </a:lnTo>
                    <a:lnTo>
                      <a:pt x="1205" y="1492"/>
                    </a:lnTo>
                    <a:lnTo>
                      <a:pt x="1205" y="1493"/>
                    </a:lnTo>
                    <a:lnTo>
                      <a:pt x="1207" y="1493"/>
                    </a:lnTo>
                    <a:lnTo>
                      <a:pt x="1205" y="1493"/>
                    </a:lnTo>
                    <a:lnTo>
                      <a:pt x="1203" y="1493"/>
                    </a:lnTo>
                    <a:lnTo>
                      <a:pt x="1203" y="1492"/>
                    </a:lnTo>
                    <a:lnTo>
                      <a:pt x="1203" y="1493"/>
                    </a:lnTo>
                    <a:lnTo>
                      <a:pt x="1205" y="1493"/>
                    </a:lnTo>
                    <a:lnTo>
                      <a:pt x="1203" y="1495"/>
                    </a:lnTo>
                    <a:lnTo>
                      <a:pt x="1205" y="1495"/>
                    </a:lnTo>
                    <a:lnTo>
                      <a:pt x="1205" y="1493"/>
                    </a:lnTo>
                    <a:lnTo>
                      <a:pt x="1207" y="1495"/>
                    </a:lnTo>
                    <a:lnTo>
                      <a:pt x="1207" y="1497"/>
                    </a:lnTo>
                    <a:lnTo>
                      <a:pt x="1205" y="1497"/>
                    </a:lnTo>
                    <a:lnTo>
                      <a:pt x="1205" y="1498"/>
                    </a:lnTo>
                    <a:lnTo>
                      <a:pt x="1205" y="1500"/>
                    </a:lnTo>
                    <a:lnTo>
                      <a:pt x="1205" y="1498"/>
                    </a:lnTo>
                    <a:lnTo>
                      <a:pt x="1203" y="1500"/>
                    </a:lnTo>
                    <a:lnTo>
                      <a:pt x="1205" y="1500"/>
                    </a:lnTo>
                    <a:lnTo>
                      <a:pt x="1203" y="1500"/>
                    </a:lnTo>
                    <a:lnTo>
                      <a:pt x="1203" y="1502"/>
                    </a:lnTo>
                    <a:lnTo>
                      <a:pt x="1202" y="1502"/>
                    </a:lnTo>
                    <a:lnTo>
                      <a:pt x="1202" y="1500"/>
                    </a:lnTo>
                    <a:lnTo>
                      <a:pt x="1202" y="1502"/>
                    </a:lnTo>
                    <a:lnTo>
                      <a:pt x="1200" y="1502"/>
                    </a:lnTo>
                    <a:lnTo>
                      <a:pt x="1200" y="1504"/>
                    </a:lnTo>
                    <a:lnTo>
                      <a:pt x="1198" y="1504"/>
                    </a:lnTo>
                    <a:lnTo>
                      <a:pt x="1198" y="1502"/>
                    </a:lnTo>
                    <a:lnTo>
                      <a:pt x="1198" y="1500"/>
                    </a:lnTo>
                    <a:lnTo>
                      <a:pt x="1200" y="1500"/>
                    </a:lnTo>
                    <a:lnTo>
                      <a:pt x="1200" y="1498"/>
                    </a:lnTo>
                    <a:lnTo>
                      <a:pt x="1202" y="1497"/>
                    </a:lnTo>
                    <a:lnTo>
                      <a:pt x="1202" y="1495"/>
                    </a:lnTo>
                    <a:lnTo>
                      <a:pt x="1200" y="1497"/>
                    </a:lnTo>
                    <a:lnTo>
                      <a:pt x="1200" y="1498"/>
                    </a:lnTo>
                    <a:lnTo>
                      <a:pt x="1198" y="1498"/>
                    </a:lnTo>
                    <a:lnTo>
                      <a:pt x="1198" y="1500"/>
                    </a:lnTo>
                    <a:lnTo>
                      <a:pt x="1198" y="1498"/>
                    </a:lnTo>
                    <a:lnTo>
                      <a:pt x="1198" y="1497"/>
                    </a:lnTo>
                    <a:lnTo>
                      <a:pt x="1200" y="1495"/>
                    </a:lnTo>
                    <a:lnTo>
                      <a:pt x="1202" y="1495"/>
                    </a:lnTo>
                    <a:lnTo>
                      <a:pt x="1202" y="1493"/>
                    </a:lnTo>
                    <a:lnTo>
                      <a:pt x="1200" y="1495"/>
                    </a:lnTo>
                    <a:lnTo>
                      <a:pt x="1200" y="1493"/>
                    </a:lnTo>
                    <a:lnTo>
                      <a:pt x="1200" y="1495"/>
                    </a:lnTo>
                    <a:lnTo>
                      <a:pt x="1198" y="1495"/>
                    </a:lnTo>
                    <a:lnTo>
                      <a:pt x="1196" y="1497"/>
                    </a:lnTo>
                    <a:lnTo>
                      <a:pt x="1196" y="1495"/>
                    </a:lnTo>
                    <a:lnTo>
                      <a:pt x="1196" y="1497"/>
                    </a:lnTo>
                    <a:lnTo>
                      <a:pt x="1196" y="1498"/>
                    </a:lnTo>
                    <a:lnTo>
                      <a:pt x="1195" y="1497"/>
                    </a:lnTo>
                    <a:lnTo>
                      <a:pt x="1193" y="1497"/>
                    </a:lnTo>
                    <a:lnTo>
                      <a:pt x="1195" y="1497"/>
                    </a:lnTo>
                    <a:lnTo>
                      <a:pt x="1195" y="1495"/>
                    </a:lnTo>
                    <a:lnTo>
                      <a:pt x="1195" y="1493"/>
                    </a:lnTo>
                    <a:lnTo>
                      <a:pt x="1196" y="1493"/>
                    </a:lnTo>
                    <a:lnTo>
                      <a:pt x="1198" y="1493"/>
                    </a:lnTo>
                    <a:lnTo>
                      <a:pt x="1198" y="1492"/>
                    </a:lnTo>
                    <a:lnTo>
                      <a:pt x="1196" y="1493"/>
                    </a:lnTo>
                    <a:lnTo>
                      <a:pt x="1196" y="1492"/>
                    </a:lnTo>
                    <a:lnTo>
                      <a:pt x="1198" y="1492"/>
                    </a:lnTo>
                    <a:lnTo>
                      <a:pt x="1198" y="1490"/>
                    </a:lnTo>
                    <a:lnTo>
                      <a:pt x="1200" y="1490"/>
                    </a:lnTo>
                    <a:lnTo>
                      <a:pt x="1200" y="1488"/>
                    </a:lnTo>
                    <a:lnTo>
                      <a:pt x="1200" y="1490"/>
                    </a:lnTo>
                    <a:lnTo>
                      <a:pt x="1200" y="1492"/>
                    </a:lnTo>
                    <a:lnTo>
                      <a:pt x="1198" y="1492"/>
                    </a:lnTo>
                    <a:lnTo>
                      <a:pt x="1200" y="1490"/>
                    </a:lnTo>
                    <a:lnTo>
                      <a:pt x="1202" y="1490"/>
                    </a:lnTo>
                    <a:lnTo>
                      <a:pt x="1200" y="1490"/>
                    </a:lnTo>
                    <a:lnTo>
                      <a:pt x="1202" y="1488"/>
                    </a:lnTo>
                    <a:lnTo>
                      <a:pt x="1203" y="1487"/>
                    </a:lnTo>
                    <a:lnTo>
                      <a:pt x="1202" y="1487"/>
                    </a:lnTo>
                    <a:lnTo>
                      <a:pt x="1202" y="1488"/>
                    </a:lnTo>
                    <a:lnTo>
                      <a:pt x="1200" y="1488"/>
                    </a:lnTo>
                    <a:lnTo>
                      <a:pt x="1202" y="1487"/>
                    </a:lnTo>
                    <a:lnTo>
                      <a:pt x="1203" y="1487"/>
                    </a:lnTo>
                    <a:lnTo>
                      <a:pt x="1205" y="1487"/>
                    </a:lnTo>
                    <a:lnTo>
                      <a:pt x="1203" y="1487"/>
                    </a:lnTo>
                    <a:lnTo>
                      <a:pt x="1205" y="1487"/>
                    </a:lnTo>
                    <a:lnTo>
                      <a:pt x="1203" y="1487"/>
                    </a:lnTo>
                    <a:lnTo>
                      <a:pt x="1205" y="1485"/>
                    </a:lnTo>
                    <a:lnTo>
                      <a:pt x="1203" y="1485"/>
                    </a:lnTo>
                    <a:lnTo>
                      <a:pt x="1202" y="1485"/>
                    </a:lnTo>
                    <a:lnTo>
                      <a:pt x="1200" y="1483"/>
                    </a:lnTo>
                    <a:lnTo>
                      <a:pt x="1202" y="1483"/>
                    </a:lnTo>
                    <a:lnTo>
                      <a:pt x="1200" y="1483"/>
                    </a:lnTo>
                    <a:lnTo>
                      <a:pt x="1202" y="1483"/>
                    </a:lnTo>
                    <a:lnTo>
                      <a:pt x="1202" y="1481"/>
                    </a:lnTo>
                    <a:lnTo>
                      <a:pt x="1203" y="1481"/>
                    </a:lnTo>
                    <a:lnTo>
                      <a:pt x="1205" y="1481"/>
                    </a:lnTo>
                    <a:lnTo>
                      <a:pt x="1203" y="1481"/>
                    </a:lnTo>
                    <a:lnTo>
                      <a:pt x="1202" y="1481"/>
                    </a:lnTo>
                    <a:lnTo>
                      <a:pt x="1203" y="1480"/>
                    </a:lnTo>
                    <a:lnTo>
                      <a:pt x="1202" y="1480"/>
                    </a:lnTo>
                    <a:lnTo>
                      <a:pt x="1200" y="1480"/>
                    </a:lnTo>
                    <a:lnTo>
                      <a:pt x="1198" y="1478"/>
                    </a:lnTo>
                    <a:lnTo>
                      <a:pt x="1196" y="1476"/>
                    </a:lnTo>
                    <a:lnTo>
                      <a:pt x="1196" y="1475"/>
                    </a:lnTo>
                    <a:lnTo>
                      <a:pt x="1195" y="1475"/>
                    </a:lnTo>
                    <a:lnTo>
                      <a:pt x="1195" y="1473"/>
                    </a:lnTo>
                    <a:lnTo>
                      <a:pt x="1193" y="1473"/>
                    </a:lnTo>
                    <a:lnTo>
                      <a:pt x="1195" y="1471"/>
                    </a:lnTo>
                    <a:lnTo>
                      <a:pt x="1193" y="1471"/>
                    </a:lnTo>
                    <a:lnTo>
                      <a:pt x="1191" y="1470"/>
                    </a:lnTo>
                    <a:lnTo>
                      <a:pt x="1190" y="1468"/>
                    </a:lnTo>
                    <a:lnTo>
                      <a:pt x="1188" y="1468"/>
                    </a:lnTo>
                    <a:lnTo>
                      <a:pt x="1188" y="1466"/>
                    </a:lnTo>
                    <a:close/>
                    <a:moveTo>
                      <a:pt x="1319" y="1626"/>
                    </a:moveTo>
                    <a:lnTo>
                      <a:pt x="1321" y="1626"/>
                    </a:lnTo>
                    <a:lnTo>
                      <a:pt x="1321" y="1628"/>
                    </a:lnTo>
                    <a:lnTo>
                      <a:pt x="1319" y="1628"/>
                    </a:lnTo>
                    <a:lnTo>
                      <a:pt x="1317" y="1629"/>
                    </a:lnTo>
                    <a:lnTo>
                      <a:pt x="1319" y="1629"/>
                    </a:lnTo>
                    <a:lnTo>
                      <a:pt x="1321" y="1629"/>
                    </a:lnTo>
                    <a:lnTo>
                      <a:pt x="1321" y="1628"/>
                    </a:lnTo>
                    <a:lnTo>
                      <a:pt x="1322" y="1629"/>
                    </a:lnTo>
                    <a:lnTo>
                      <a:pt x="1322" y="1631"/>
                    </a:lnTo>
                    <a:lnTo>
                      <a:pt x="1322" y="1629"/>
                    </a:lnTo>
                    <a:lnTo>
                      <a:pt x="1324" y="1629"/>
                    </a:lnTo>
                    <a:lnTo>
                      <a:pt x="1322" y="1629"/>
                    </a:lnTo>
                    <a:lnTo>
                      <a:pt x="1324" y="1629"/>
                    </a:lnTo>
                    <a:lnTo>
                      <a:pt x="1322" y="1631"/>
                    </a:lnTo>
                    <a:lnTo>
                      <a:pt x="1321" y="1631"/>
                    </a:lnTo>
                    <a:lnTo>
                      <a:pt x="1321" y="1629"/>
                    </a:lnTo>
                    <a:lnTo>
                      <a:pt x="1319" y="1629"/>
                    </a:lnTo>
                    <a:lnTo>
                      <a:pt x="1321" y="1631"/>
                    </a:lnTo>
                    <a:lnTo>
                      <a:pt x="1321" y="1633"/>
                    </a:lnTo>
                    <a:lnTo>
                      <a:pt x="1319" y="1633"/>
                    </a:lnTo>
                    <a:lnTo>
                      <a:pt x="1317" y="1633"/>
                    </a:lnTo>
                    <a:lnTo>
                      <a:pt x="1319" y="1633"/>
                    </a:lnTo>
                    <a:lnTo>
                      <a:pt x="1317" y="1633"/>
                    </a:lnTo>
                    <a:lnTo>
                      <a:pt x="1315" y="1633"/>
                    </a:lnTo>
                    <a:lnTo>
                      <a:pt x="1315" y="1631"/>
                    </a:lnTo>
                    <a:lnTo>
                      <a:pt x="1315" y="1629"/>
                    </a:lnTo>
                    <a:lnTo>
                      <a:pt x="1314" y="1629"/>
                    </a:lnTo>
                    <a:lnTo>
                      <a:pt x="1315" y="1631"/>
                    </a:lnTo>
                    <a:lnTo>
                      <a:pt x="1314" y="1631"/>
                    </a:lnTo>
                    <a:lnTo>
                      <a:pt x="1314" y="1633"/>
                    </a:lnTo>
                    <a:lnTo>
                      <a:pt x="1312" y="1633"/>
                    </a:lnTo>
                    <a:lnTo>
                      <a:pt x="1310" y="1633"/>
                    </a:lnTo>
                    <a:lnTo>
                      <a:pt x="1312" y="1633"/>
                    </a:lnTo>
                    <a:lnTo>
                      <a:pt x="1310" y="1635"/>
                    </a:lnTo>
                    <a:lnTo>
                      <a:pt x="1309" y="1635"/>
                    </a:lnTo>
                    <a:lnTo>
                      <a:pt x="1310" y="1635"/>
                    </a:lnTo>
                    <a:lnTo>
                      <a:pt x="1309" y="1635"/>
                    </a:lnTo>
                    <a:lnTo>
                      <a:pt x="1309" y="1633"/>
                    </a:lnTo>
                    <a:lnTo>
                      <a:pt x="1307" y="1633"/>
                    </a:lnTo>
                    <a:lnTo>
                      <a:pt x="1307" y="1631"/>
                    </a:lnTo>
                    <a:lnTo>
                      <a:pt x="1307" y="1633"/>
                    </a:lnTo>
                    <a:lnTo>
                      <a:pt x="1305" y="1633"/>
                    </a:lnTo>
                    <a:lnTo>
                      <a:pt x="1307" y="1635"/>
                    </a:lnTo>
                    <a:lnTo>
                      <a:pt x="1307" y="1633"/>
                    </a:lnTo>
                    <a:lnTo>
                      <a:pt x="1309" y="1635"/>
                    </a:lnTo>
                    <a:lnTo>
                      <a:pt x="1310" y="1635"/>
                    </a:lnTo>
                    <a:lnTo>
                      <a:pt x="1310" y="1636"/>
                    </a:lnTo>
                    <a:lnTo>
                      <a:pt x="1312" y="1635"/>
                    </a:lnTo>
                    <a:lnTo>
                      <a:pt x="1314" y="1635"/>
                    </a:lnTo>
                    <a:lnTo>
                      <a:pt x="1315" y="1636"/>
                    </a:lnTo>
                    <a:lnTo>
                      <a:pt x="1314" y="1636"/>
                    </a:lnTo>
                    <a:lnTo>
                      <a:pt x="1315" y="1636"/>
                    </a:lnTo>
                    <a:lnTo>
                      <a:pt x="1314" y="1638"/>
                    </a:lnTo>
                    <a:lnTo>
                      <a:pt x="1315" y="1636"/>
                    </a:lnTo>
                    <a:lnTo>
                      <a:pt x="1317" y="1636"/>
                    </a:lnTo>
                    <a:lnTo>
                      <a:pt x="1319" y="1636"/>
                    </a:lnTo>
                    <a:lnTo>
                      <a:pt x="1321" y="1635"/>
                    </a:lnTo>
                    <a:lnTo>
                      <a:pt x="1319" y="1636"/>
                    </a:lnTo>
                    <a:lnTo>
                      <a:pt x="1321" y="1636"/>
                    </a:lnTo>
                    <a:lnTo>
                      <a:pt x="1322" y="1638"/>
                    </a:lnTo>
                    <a:lnTo>
                      <a:pt x="1321" y="1638"/>
                    </a:lnTo>
                    <a:lnTo>
                      <a:pt x="1319" y="1638"/>
                    </a:lnTo>
                    <a:lnTo>
                      <a:pt x="1321" y="1638"/>
                    </a:lnTo>
                    <a:lnTo>
                      <a:pt x="1321" y="1640"/>
                    </a:lnTo>
                    <a:lnTo>
                      <a:pt x="1322" y="1640"/>
                    </a:lnTo>
                    <a:lnTo>
                      <a:pt x="1321" y="1640"/>
                    </a:lnTo>
                    <a:lnTo>
                      <a:pt x="1322" y="1641"/>
                    </a:lnTo>
                    <a:lnTo>
                      <a:pt x="1321" y="1641"/>
                    </a:lnTo>
                    <a:lnTo>
                      <a:pt x="1321" y="1640"/>
                    </a:lnTo>
                    <a:lnTo>
                      <a:pt x="1321" y="1641"/>
                    </a:lnTo>
                    <a:lnTo>
                      <a:pt x="1319" y="1641"/>
                    </a:lnTo>
                    <a:lnTo>
                      <a:pt x="1319" y="1640"/>
                    </a:lnTo>
                    <a:lnTo>
                      <a:pt x="1317" y="1640"/>
                    </a:lnTo>
                    <a:lnTo>
                      <a:pt x="1317" y="1638"/>
                    </a:lnTo>
                    <a:lnTo>
                      <a:pt x="1317" y="1640"/>
                    </a:lnTo>
                    <a:lnTo>
                      <a:pt x="1315" y="1640"/>
                    </a:lnTo>
                    <a:lnTo>
                      <a:pt x="1317" y="1640"/>
                    </a:lnTo>
                    <a:lnTo>
                      <a:pt x="1315" y="1640"/>
                    </a:lnTo>
                    <a:lnTo>
                      <a:pt x="1315" y="1641"/>
                    </a:lnTo>
                    <a:lnTo>
                      <a:pt x="1317" y="1641"/>
                    </a:lnTo>
                    <a:lnTo>
                      <a:pt x="1319" y="1641"/>
                    </a:lnTo>
                    <a:lnTo>
                      <a:pt x="1319" y="1643"/>
                    </a:lnTo>
                    <a:lnTo>
                      <a:pt x="1317" y="1643"/>
                    </a:lnTo>
                    <a:lnTo>
                      <a:pt x="1319" y="1643"/>
                    </a:lnTo>
                    <a:lnTo>
                      <a:pt x="1317" y="1645"/>
                    </a:lnTo>
                    <a:lnTo>
                      <a:pt x="1317" y="1643"/>
                    </a:lnTo>
                    <a:lnTo>
                      <a:pt x="1315" y="1643"/>
                    </a:lnTo>
                    <a:lnTo>
                      <a:pt x="1314" y="1645"/>
                    </a:lnTo>
                    <a:lnTo>
                      <a:pt x="1315" y="1646"/>
                    </a:lnTo>
                    <a:lnTo>
                      <a:pt x="1314" y="1645"/>
                    </a:lnTo>
                    <a:lnTo>
                      <a:pt x="1314" y="1643"/>
                    </a:lnTo>
                    <a:lnTo>
                      <a:pt x="1312" y="1641"/>
                    </a:lnTo>
                    <a:lnTo>
                      <a:pt x="1312" y="1643"/>
                    </a:lnTo>
                    <a:lnTo>
                      <a:pt x="1312" y="1645"/>
                    </a:lnTo>
                    <a:lnTo>
                      <a:pt x="1314" y="1645"/>
                    </a:lnTo>
                    <a:lnTo>
                      <a:pt x="1312" y="1645"/>
                    </a:lnTo>
                    <a:lnTo>
                      <a:pt x="1310" y="1643"/>
                    </a:lnTo>
                    <a:lnTo>
                      <a:pt x="1312" y="1643"/>
                    </a:lnTo>
                    <a:lnTo>
                      <a:pt x="1312" y="1641"/>
                    </a:lnTo>
                    <a:lnTo>
                      <a:pt x="1312" y="1640"/>
                    </a:lnTo>
                    <a:lnTo>
                      <a:pt x="1314" y="1641"/>
                    </a:lnTo>
                    <a:lnTo>
                      <a:pt x="1312" y="1640"/>
                    </a:lnTo>
                    <a:lnTo>
                      <a:pt x="1314" y="1640"/>
                    </a:lnTo>
                    <a:lnTo>
                      <a:pt x="1312" y="1638"/>
                    </a:lnTo>
                    <a:lnTo>
                      <a:pt x="1312" y="1640"/>
                    </a:lnTo>
                    <a:lnTo>
                      <a:pt x="1310" y="1640"/>
                    </a:lnTo>
                    <a:lnTo>
                      <a:pt x="1310" y="1638"/>
                    </a:lnTo>
                    <a:lnTo>
                      <a:pt x="1310" y="1636"/>
                    </a:lnTo>
                    <a:lnTo>
                      <a:pt x="1312" y="1636"/>
                    </a:lnTo>
                    <a:lnTo>
                      <a:pt x="1310" y="1636"/>
                    </a:lnTo>
                    <a:lnTo>
                      <a:pt x="1309" y="1636"/>
                    </a:lnTo>
                    <a:lnTo>
                      <a:pt x="1310" y="1636"/>
                    </a:lnTo>
                    <a:lnTo>
                      <a:pt x="1310" y="1638"/>
                    </a:lnTo>
                    <a:lnTo>
                      <a:pt x="1310" y="1640"/>
                    </a:lnTo>
                    <a:lnTo>
                      <a:pt x="1310" y="1638"/>
                    </a:lnTo>
                    <a:lnTo>
                      <a:pt x="1309" y="1638"/>
                    </a:lnTo>
                    <a:lnTo>
                      <a:pt x="1309" y="1640"/>
                    </a:lnTo>
                    <a:lnTo>
                      <a:pt x="1307" y="1640"/>
                    </a:lnTo>
                    <a:lnTo>
                      <a:pt x="1307" y="1638"/>
                    </a:lnTo>
                    <a:lnTo>
                      <a:pt x="1307" y="1640"/>
                    </a:lnTo>
                    <a:lnTo>
                      <a:pt x="1307" y="1641"/>
                    </a:lnTo>
                    <a:lnTo>
                      <a:pt x="1307" y="1640"/>
                    </a:lnTo>
                    <a:lnTo>
                      <a:pt x="1305" y="1640"/>
                    </a:lnTo>
                    <a:lnTo>
                      <a:pt x="1305" y="1638"/>
                    </a:lnTo>
                    <a:lnTo>
                      <a:pt x="1305" y="1636"/>
                    </a:lnTo>
                    <a:lnTo>
                      <a:pt x="1307" y="1636"/>
                    </a:lnTo>
                    <a:lnTo>
                      <a:pt x="1305" y="1636"/>
                    </a:lnTo>
                    <a:lnTo>
                      <a:pt x="1304" y="1636"/>
                    </a:lnTo>
                    <a:lnTo>
                      <a:pt x="1304" y="1638"/>
                    </a:lnTo>
                    <a:lnTo>
                      <a:pt x="1302" y="1638"/>
                    </a:lnTo>
                    <a:lnTo>
                      <a:pt x="1302" y="1636"/>
                    </a:lnTo>
                    <a:lnTo>
                      <a:pt x="1300" y="1636"/>
                    </a:lnTo>
                    <a:lnTo>
                      <a:pt x="1300" y="1638"/>
                    </a:lnTo>
                    <a:lnTo>
                      <a:pt x="1300" y="1636"/>
                    </a:lnTo>
                    <a:lnTo>
                      <a:pt x="1298" y="1638"/>
                    </a:lnTo>
                    <a:lnTo>
                      <a:pt x="1298" y="1636"/>
                    </a:lnTo>
                    <a:lnTo>
                      <a:pt x="1297" y="1636"/>
                    </a:lnTo>
                    <a:lnTo>
                      <a:pt x="1297" y="1635"/>
                    </a:lnTo>
                    <a:lnTo>
                      <a:pt x="1298" y="1635"/>
                    </a:lnTo>
                    <a:lnTo>
                      <a:pt x="1297" y="1635"/>
                    </a:lnTo>
                    <a:lnTo>
                      <a:pt x="1297" y="1633"/>
                    </a:lnTo>
                    <a:lnTo>
                      <a:pt x="1298" y="1633"/>
                    </a:lnTo>
                    <a:lnTo>
                      <a:pt x="1298" y="1631"/>
                    </a:lnTo>
                    <a:lnTo>
                      <a:pt x="1297" y="1631"/>
                    </a:lnTo>
                    <a:lnTo>
                      <a:pt x="1297" y="1629"/>
                    </a:lnTo>
                    <a:lnTo>
                      <a:pt x="1298" y="1629"/>
                    </a:lnTo>
                    <a:lnTo>
                      <a:pt x="1300" y="1629"/>
                    </a:lnTo>
                    <a:lnTo>
                      <a:pt x="1300" y="1631"/>
                    </a:lnTo>
                    <a:lnTo>
                      <a:pt x="1300" y="1629"/>
                    </a:lnTo>
                    <a:lnTo>
                      <a:pt x="1302" y="1629"/>
                    </a:lnTo>
                    <a:lnTo>
                      <a:pt x="1302" y="1628"/>
                    </a:lnTo>
                    <a:lnTo>
                      <a:pt x="1302" y="1629"/>
                    </a:lnTo>
                    <a:lnTo>
                      <a:pt x="1302" y="1631"/>
                    </a:lnTo>
                    <a:lnTo>
                      <a:pt x="1304" y="1631"/>
                    </a:lnTo>
                    <a:lnTo>
                      <a:pt x="1304" y="1629"/>
                    </a:lnTo>
                    <a:lnTo>
                      <a:pt x="1305" y="1628"/>
                    </a:lnTo>
                    <a:lnTo>
                      <a:pt x="1305" y="1629"/>
                    </a:lnTo>
                    <a:lnTo>
                      <a:pt x="1307" y="1629"/>
                    </a:lnTo>
                    <a:lnTo>
                      <a:pt x="1307" y="1631"/>
                    </a:lnTo>
                    <a:lnTo>
                      <a:pt x="1305" y="1631"/>
                    </a:lnTo>
                    <a:lnTo>
                      <a:pt x="1307" y="1631"/>
                    </a:lnTo>
                    <a:lnTo>
                      <a:pt x="1309" y="1631"/>
                    </a:lnTo>
                    <a:lnTo>
                      <a:pt x="1309" y="1629"/>
                    </a:lnTo>
                    <a:lnTo>
                      <a:pt x="1309" y="1631"/>
                    </a:lnTo>
                    <a:lnTo>
                      <a:pt x="1310" y="1631"/>
                    </a:lnTo>
                    <a:lnTo>
                      <a:pt x="1312" y="1631"/>
                    </a:lnTo>
                    <a:lnTo>
                      <a:pt x="1310" y="1631"/>
                    </a:lnTo>
                    <a:lnTo>
                      <a:pt x="1310" y="1629"/>
                    </a:lnTo>
                    <a:lnTo>
                      <a:pt x="1312" y="1629"/>
                    </a:lnTo>
                    <a:lnTo>
                      <a:pt x="1312" y="1628"/>
                    </a:lnTo>
                    <a:lnTo>
                      <a:pt x="1314" y="1628"/>
                    </a:lnTo>
                    <a:lnTo>
                      <a:pt x="1315" y="1628"/>
                    </a:lnTo>
                    <a:lnTo>
                      <a:pt x="1315" y="1626"/>
                    </a:lnTo>
                    <a:lnTo>
                      <a:pt x="1317" y="1628"/>
                    </a:lnTo>
                    <a:lnTo>
                      <a:pt x="1317" y="1626"/>
                    </a:lnTo>
                    <a:lnTo>
                      <a:pt x="1319" y="1626"/>
                    </a:lnTo>
                    <a:close/>
                    <a:moveTo>
                      <a:pt x="1203" y="1104"/>
                    </a:moveTo>
                    <a:lnTo>
                      <a:pt x="1203" y="1105"/>
                    </a:lnTo>
                    <a:lnTo>
                      <a:pt x="1203" y="1104"/>
                    </a:lnTo>
                    <a:lnTo>
                      <a:pt x="1203" y="1105"/>
                    </a:lnTo>
                    <a:lnTo>
                      <a:pt x="1205" y="1105"/>
                    </a:lnTo>
                    <a:lnTo>
                      <a:pt x="1203" y="1105"/>
                    </a:lnTo>
                    <a:lnTo>
                      <a:pt x="1205" y="1107"/>
                    </a:lnTo>
                    <a:lnTo>
                      <a:pt x="1207" y="1107"/>
                    </a:lnTo>
                    <a:lnTo>
                      <a:pt x="1207" y="1109"/>
                    </a:lnTo>
                    <a:lnTo>
                      <a:pt x="1207" y="1111"/>
                    </a:lnTo>
                    <a:lnTo>
                      <a:pt x="1207" y="1112"/>
                    </a:lnTo>
                    <a:lnTo>
                      <a:pt x="1207" y="1114"/>
                    </a:lnTo>
                    <a:lnTo>
                      <a:pt x="1205" y="1114"/>
                    </a:lnTo>
                    <a:lnTo>
                      <a:pt x="1207" y="1114"/>
                    </a:lnTo>
                    <a:lnTo>
                      <a:pt x="1207" y="1116"/>
                    </a:lnTo>
                    <a:lnTo>
                      <a:pt x="1205" y="1116"/>
                    </a:lnTo>
                    <a:lnTo>
                      <a:pt x="1207" y="1116"/>
                    </a:lnTo>
                    <a:lnTo>
                      <a:pt x="1207" y="1117"/>
                    </a:lnTo>
                    <a:lnTo>
                      <a:pt x="1205" y="1117"/>
                    </a:lnTo>
                    <a:lnTo>
                      <a:pt x="1205" y="1119"/>
                    </a:lnTo>
                    <a:lnTo>
                      <a:pt x="1205" y="1117"/>
                    </a:lnTo>
                    <a:lnTo>
                      <a:pt x="1203" y="1117"/>
                    </a:lnTo>
                    <a:lnTo>
                      <a:pt x="1203" y="1116"/>
                    </a:lnTo>
                    <a:lnTo>
                      <a:pt x="1202" y="1116"/>
                    </a:lnTo>
                    <a:lnTo>
                      <a:pt x="1200" y="1116"/>
                    </a:lnTo>
                    <a:lnTo>
                      <a:pt x="1198" y="1116"/>
                    </a:lnTo>
                    <a:lnTo>
                      <a:pt x="1198" y="1117"/>
                    </a:lnTo>
                    <a:lnTo>
                      <a:pt x="1196" y="1116"/>
                    </a:lnTo>
                    <a:lnTo>
                      <a:pt x="1196" y="1114"/>
                    </a:lnTo>
                    <a:lnTo>
                      <a:pt x="1198" y="1114"/>
                    </a:lnTo>
                    <a:lnTo>
                      <a:pt x="1200" y="1114"/>
                    </a:lnTo>
                    <a:lnTo>
                      <a:pt x="1202" y="1114"/>
                    </a:lnTo>
                    <a:lnTo>
                      <a:pt x="1200" y="1114"/>
                    </a:lnTo>
                    <a:lnTo>
                      <a:pt x="1198" y="1114"/>
                    </a:lnTo>
                    <a:lnTo>
                      <a:pt x="1196" y="1114"/>
                    </a:lnTo>
                    <a:lnTo>
                      <a:pt x="1195" y="1114"/>
                    </a:lnTo>
                    <a:lnTo>
                      <a:pt x="1195" y="1112"/>
                    </a:lnTo>
                    <a:lnTo>
                      <a:pt x="1195" y="1114"/>
                    </a:lnTo>
                    <a:lnTo>
                      <a:pt x="1195" y="1112"/>
                    </a:lnTo>
                    <a:lnTo>
                      <a:pt x="1193" y="1112"/>
                    </a:lnTo>
                    <a:lnTo>
                      <a:pt x="1195" y="1112"/>
                    </a:lnTo>
                    <a:lnTo>
                      <a:pt x="1195" y="1111"/>
                    </a:lnTo>
                    <a:lnTo>
                      <a:pt x="1193" y="1112"/>
                    </a:lnTo>
                    <a:lnTo>
                      <a:pt x="1191" y="1112"/>
                    </a:lnTo>
                    <a:lnTo>
                      <a:pt x="1191" y="1111"/>
                    </a:lnTo>
                    <a:lnTo>
                      <a:pt x="1191" y="1109"/>
                    </a:lnTo>
                    <a:lnTo>
                      <a:pt x="1191" y="1107"/>
                    </a:lnTo>
                    <a:lnTo>
                      <a:pt x="1191" y="1109"/>
                    </a:lnTo>
                    <a:lnTo>
                      <a:pt x="1191" y="1111"/>
                    </a:lnTo>
                    <a:lnTo>
                      <a:pt x="1191" y="1112"/>
                    </a:lnTo>
                    <a:lnTo>
                      <a:pt x="1190" y="1112"/>
                    </a:lnTo>
                    <a:lnTo>
                      <a:pt x="1188" y="1111"/>
                    </a:lnTo>
                    <a:lnTo>
                      <a:pt x="1188" y="1109"/>
                    </a:lnTo>
                    <a:lnTo>
                      <a:pt x="1188" y="1107"/>
                    </a:lnTo>
                    <a:lnTo>
                      <a:pt x="1190" y="1107"/>
                    </a:lnTo>
                    <a:lnTo>
                      <a:pt x="1191" y="1105"/>
                    </a:lnTo>
                    <a:lnTo>
                      <a:pt x="1193" y="1105"/>
                    </a:lnTo>
                    <a:lnTo>
                      <a:pt x="1193" y="1107"/>
                    </a:lnTo>
                    <a:lnTo>
                      <a:pt x="1193" y="1105"/>
                    </a:lnTo>
                    <a:lnTo>
                      <a:pt x="1195" y="1105"/>
                    </a:lnTo>
                    <a:lnTo>
                      <a:pt x="1195" y="1107"/>
                    </a:lnTo>
                    <a:lnTo>
                      <a:pt x="1195" y="1105"/>
                    </a:lnTo>
                    <a:lnTo>
                      <a:pt x="1196" y="1105"/>
                    </a:lnTo>
                    <a:lnTo>
                      <a:pt x="1198" y="1105"/>
                    </a:lnTo>
                    <a:lnTo>
                      <a:pt x="1200" y="1104"/>
                    </a:lnTo>
                    <a:lnTo>
                      <a:pt x="1202" y="1104"/>
                    </a:lnTo>
                    <a:lnTo>
                      <a:pt x="1203" y="1104"/>
                    </a:lnTo>
                    <a:close/>
                    <a:moveTo>
                      <a:pt x="1179" y="1376"/>
                    </a:moveTo>
                    <a:lnTo>
                      <a:pt x="1179" y="1378"/>
                    </a:lnTo>
                    <a:lnTo>
                      <a:pt x="1179" y="1379"/>
                    </a:lnTo>
                    <a:lnTo>
                      <a:pt x="1181" y="1379"/>
                    </a:lnTo>
                    <a:lnTo>
                      <a:pt x="1183" y="1379"/>
                    </a:lnTo>
                    <a:lnTo>
                      <a:pt x="1183" y="1378"/>
                    </a:lnTo>
                    <a:lnTo>
                      <a:pt x="1185" y="1379"/>
                    </a:lnTo>
                    <a:lnTo>
                      <a:pt x="1185" y="1381"/>
                    </a:lnTo>
                    <a:lnTo>
                      <a:pt x="1185" y="1383"/>
                    </a:lnTo>
                    <a:lnTo>
                      <a:pt x="1186" y="1384"/>
                    </a:lnTo>
                    <a:lnTo>
                      <a:pt x="1185" y="1384"/>
                    </a:lnTo>
                    <a:lnTo>
                      <a:pt x="1186" y="1384"/>
                    </a:lnTo>
                    <a:lnTo>
                      <a:pt x="1186" y="1386"/>
                    </a:lnTo>
                    <a:lnTo>
                      <a:pt x="1186" y="1388"/>
                    </a:lnTo>
                    <a:lnTo>
                      <a:pt x="1186" y="1386"/>
                    </a:lnTo>
                    <a:lnTo>
                      <a:pt x="1188" y="1388"/>
                    </a:lnTo>
                    <a:lnTo>
                      <a:pt x="1186" y="1388"/>
                    </a:lnTo>
                    <a:lnTo>
                      <a:pt x="1188" y="1388"/>
                    </a:lnTo>
                    <a:lnTo>
                      <a:pt x="1188" y="1390"/>
                    </a:lnTo>
                    <a:lnTo>
                      <a:pt x="1190" y="1390"/>
                    </a:lnTo>
                    <a:lnTo>
                      <a:pt x="1190" y="1391"/>
                    </a:lnTo>
                    <a:lnTo>
                      <a:pt x="1188" y="1391"/>
                    </a:lnTo>
                    <a:lnTo>
                      <a:pt x="1186" y="1390"/>
                    </a:lnTo>
                    <a:lnTo>
                      <a:pt x="1186" y="1391"/>
                    </a:lnTo>
                    <a:lnTo>
                      <a:pt x="1186" y="1390"/>
                    </a:lnTo>
                    <a:lnTo>
                      <a:pt x="1185" y="1390"/>
                    </a:lnTo>
                    <a:lnTo>
                      <a:pt x="1186" y="1391"/>
                    </a:lnTo>
                    <a:lnTo>
                      <a:pt x="1188" y="1391"/>
                    </a:lnTo>
                    <a:lnTo>
                      <a:pt x="1188" y="1393"/>
                    </a:lnTo>
                    <a:lnTo>
                      <a:pt x="1186" y="1391"/>
                    </a:lnTo>
                    <a:lnTo>
                      <a:pt x="1188" y="1393"/>
                    </a:lnTo>
                    <a:lnTo>
                      <a:pt x="1188" y="1391"/>
                    </a:lnTo>
                    <a:lnTo>
                      <a:pt x="1190" y="1391"/>
                    </a:lnTo>
                    <a:lnTo>
                      <a:pt x="1190" y="1393"/>
                    </a:lnTo>
                    <a:lnTo>
                      <a:pt x="1190" y="1395"/>
                    </a:lnTo>
                    <a:lnTo>
                      <a:pt x="1191" y="1395"/>
                    </a:lnTo>
                    <a:lnTo>
                      <a:pt x="1191" y="1396"/>
                    </a:lnTo>
                    <a:lnTo>
                      <a:pt x="1191" y="1398"/>
                    </a:lnTo>
                    <a:lnTo>
                      <a:pt x="1191" y="1400"/>
                    </a:lnTo>
                    <a:lnTo>
                      <a:pt x="1190" y="1400"/>
                    </a:lnTo>
                    <a:lnTo>
                      <a:pt x="1190" y="1398"/>
                    </a:lnTo>
                    <a:lnTo>
                      <a:pt x="1190" y="1400"/>
                    </a:lnTo>
                    <a:lnTo>
                      <a:pt x="1188" y="1400"/>
                    </a:lnTo>
                    <a:lnTo>
                      <a:pt x="1188" y="1398"/>
                    </a:lnTo>
                    <a:lnTo>
                      <a:pt x="1188" y="1400"/>
                    </a:lnTo>
                    <a:lnTo>
                      <a:pt x="1188" y="1398"/>
                    </a:lnTo>
                    <a:lnTo>
                      <a:pt x="1190" y="1398"/>
                    </a:lnTo>
                    <a:lnTo>
                      <a:pt x="1188" y="1396"/>
                    </a:lnTo>
                    <a:lnTo>
                      <a:pt x="1188" y="1398"/>
                    </a:lnTo>
                    <a:lnTo>
                      <a:pt x="1188" y="1396"/>
                    </a:lnTo>
                    <a:lnTo>
                      <a:pt x="1188" y="1395"/>
                    </a:lnTo>
                    <a:lnTo>
                      <a:pt x="1188" y="1396"/>
                    </a:lnTo>
                    <a:lnTo>
                      <a:pt x="1186" y="1396"/>
                    </a:lnTo>
                    <a:lnTo>
                      <a:pt x="1186" y="1398"/>
                    </a:lnTo>
                    <a:lnTo>
                      <a:pt x="1186" y="1396"/>
                    </a:lnTo>
                    <a:lnTo>
                      <a:pt x="1185" y="1395"/>
                    </a:lnTo>
                    <a:lnTo>
                      <a:pt x="1185" y="1396"/>
                    </a:lnTo>
                    <a:lnTo>
                      <a:pt x="1186" y="1396"/>
                    </a:lnTo>
                    <a:lnTo>
                      <a:pt x="1186" y="1398"/>
                    </a:lnTo>
                    <a:lnTo>
                      <a:pt x="1186" y="1400"/>
                    </a:lnTo>
                    <a:lnTo>
                      <a:pt x="1186" y="1401"/>
                    </a:lnTo>
                    <a:lnTo>
                      <a:pt x="1186" y="1400"/>
                    </a:lnTo>
                    <a:lnTo>
                      <a:pt x="1185" y="1400"/>
                    </a:lnTo>
                    <a:lnTo>
                      <a:pt x="1186" y="1400"/>
                    </a:lnTo>
                    <a:lnTo>
                      <a:pt x="1185" y="1400"/>
                    </a:lnTo>
                    <a:lnTo>
                      <a:pt x="1185" y="1398"/>
                    </a:lnTo>
                    <a:lnTo>
                      <a:pt x="1183" y="1396"/>
                    </a:lnTo>
                    <a:lnTo>
                      <a:pt x="1183" y="1395"/>
                    </a:lnTo>
                    <a:lnTo>
                      <a:pt x="1181" y="1395"/>
                    </a:lnTo>
                    <a:lnTo>
                      <a:pt x="1183" y="1395"/>
                    </a:lnTo>
                    <a:lnTo>
                      <a:pt x="1181" y="1395"/>
                    </a:lnTo>
                    <a:lnTo>
                      <a:pt x="1181" y="1393"/>
                    </a:lnTo>
                    <a:lnTo>
                      <a:pt x="1179" y="1395"/>
                    </a:lnTo>
                    <a:lnTo>
                      <a:pt x="1179" y="1393"/>
                    </a:lnTo>
                    <a:lnTo>
                      <a:pt x="1179" y="1391"/>
                    </a:lnTo>
                    <a:lnTo>
                      <a:pt x="1181" y="1393"/>
                    </a:lnTo>
                    <a:lnTo>
                      <a:pt x="1181" y="1391"/>
                    </a:lnTo>
                    <a:lnTo>
                      <a:pt x="1179" y="1391"/>
                    </a:lnTo>
                    <a:lnTo>
                      <a:pt x="1179" y="1393"/>
                    </a:lnTo>
                    <a:lnTo>
                      <a:pt x="1178" y="1391"/>
                    </a:lnTo>
                    <a:lnTo>
                      <a:pt x="1179" y="1391"/>
                    </a:lnTo>
                    <a:lnTo>
                      <a:pt x="1179" y="1390"/>
                    </a:lnTo>
                    <a:lnTo>
                      <a:pt x="1181" y="1390"/>
                    </a:lnTo>
                    <a:lnTo>
                      <a:pt x="1179" y="1390"/>
                    </a:lnTo>
                    <a:lnTo>
                      <a:pt x="1178" y="1390"/>
                    </a:lnTo>
                    <a:lnTo>
                      <a:pt x="1178" y="1391"/>
                    </a:lnTo>
                    <a:lnTo>
                      <a:pt x="1178" y="1390"/>
                    </a:lnTo>
                    <a:lnTo>
                      <a:pt x="1176" y="1390"/>
                    </a:lnTo>
                    <a:lnTo>
                      <a:pt x="1176" y="1388"/>
                    </a:lnTo>
                    <a:lnTo>
                      <a:pt x="1176" y="1390"/>
                    </a:lnTo>
                    <a:lnTo>
                      <a:pt x="1174" y="1390"/>
                    </a:lnTo>
                    <a:lnTo>
                      <a:pt x="1176" y="1390"/>
                    </a:lnTo>
                    <a:lnTo>
                      <a:pt x="1176" y="1388"/>
                    </a:lnTo>
                    <a:lnTo>
                      <a:pt x="1178" y="1388"/>
                    </a:lnTo>
                    <a:lnTo>
                      <a:pt x="1176" y="1388"/>
                    </a:lnTo>
                    <a:lnTo>
                      <a:pt x="1178" y="1388"/>
                    </a:lnTo>
                    <a:lnTo>
                      <a:pt x="1178" y="1386"/>
                    </a:lnTo>
                    <a:lnTo>
                      <a:pt x="1179" y="1386"/>
                    </a:lnTo>
                    <a:lnTo>
                      <a:pt x="1179" y="1384"/>
                    </a:lnTo>
                    <a:lnTo>
                      <a:pt x="1181" y="1384"/>
                    </a:lnTo>
                    <a:lnTo>
                      <a:pt x="1181" y="1383"/>
                    </a:lnTo>
                    <a:lnTo>
                      <a:pt x="1183" y="1383"/>
                    </a:lnTo>
                    <a:lnTo>
                      <a:pt x="1183" y="1384"/>
                    </a:lnTo>
                    <a:lnTo>
                      <a:pt x="1183" y="1383"/>
                    </a:lnTo>
                    <a:lnTo>
                      <a:pt x="1185" y="1383"/>
                    </a:lnTo>
                    <a:lnTo>
                      <a:pt x="1183" y="1381"/>
                    </a:lnTo>
                    <a:lnTo>
                      <a:pt x="1183" y="1383"/>
                    </a:lnTo>
                    <a:lnTo>
                      <a:pt x="1181" y="1381"/>
                    </a:lnTo>
                    <a:lnTo>
                      <a:pt x="1179" y="1381"/>
                    </a:lnTo>
                    <a:lnTo>
                      <a:pt x="1181" y="1379"/>
                    </a:lnTo>
                    <a:lnTo>
                      <a:pt x="1179" y="1381"/>
                    </a:lnTo>
                    <a:lnTo>
                      <a:pt x="1179" y="1383"/>
                    </a:lnTo>
                    <a:lnTo>
                      <a:pt x="1179" y="1381"/>
                    </a:lnTo>
                    <a:lnTo>
                      <a:pt x="1178" y="1381"/>
                    </a:lnTo>
                    <a:lnTo>
                      <a:pt x="1176" y="1381"/>
                    </a:lnTo>
                    <a:lnTo>
                      <a:pt x="1176" y="1379"/>
                    </a:lnTo>
                    <a:lnTo>
                      <a:pt x="1176" y="1381"/>
                    </a:lnTo>
                    <a:lnTo>
                      <a:pt x="1174" y="1381"/>
                    </a:lnTo>
                    <a:lnTo>
                      <a:pt x="1174" y="1379"/>
                    </a:lnTo>
                    <a:lnTo>
                      <a:pt x="1173" y="1381"/>
                    </a:lnTo>
                    <a:lnTo>
                      <a:pt x="1174" y="1379"/>
                    </a:lnTo>
                    <a:lnTo>
                      <a:pt x="1176" y="1378"/>
                    </a:lnTo>
                    <a:lnTo>
                      <a:pt x="1178" y="1376"/>
                    </a:lnTo>
                    <a:lnTo>
                      <a:pt x="1179" y="1376"/>
                    </a:lnTo>
                    <a:close/>
                    <a:moveTo>
                      <a:pt x="1157" y="1255"/>
                    </a:moveTo>
                    <a:lnTo>
                      <a:pt x="1159" y="1255"/>
                    </a:lnTo>
                    <a:lnTo>
                      <a:pt x="1161" y="1255"/>
                    </a:lnTo>
                    <a:lnTo>
                      <a:pt x="1159" y="1257"/>
                    </a:lnTo>
                    <a:lnTo>
                      <a:pt x="1161" y="1257"/>
                    </a:lnTo>
                    <a:lnTo>
                      <a:pt x="1162" y="1257"/>
                    </a:lnTo>
                    <a:lnTo>
                      <a:pt x="1161" y="1255"/>
                    </a:lnTo>
                    <a:lnTo>
                      <a:pt x="1162" y="1255"/>
                    </a:lnTo>
                    <a:lnTo>
                      <a:pt x="1164" y="1257"/>
                    </a:lnTo>
                    <a:lnTo>
                      <a:pt x="1166" y="1259"/>
                    </a:lnTo>
                    <a:lnTo>
                      <a:pt x="1164" y="1260"/>
                    </a:lnTo>
                    <a:lnTo>
                      <a:pt x="1166" y="1259"/>
                    </a:lnTo>
                    <a:lnTo>
                      <a:pt x="1166" y="1260"/>
                    </a:lnTo>
                    <a:lnTo>
                      <a:pt x="1168" y="1259"/>
                    </a:lnTo>
                    <a:lnTo>
                      <a:pt x="1168" y="1260"/>
                    </a:lnTo>
                    <a:lnTo>
                      <a:pt x="1168" y="1262"/>
                    </a:lnTo>
                    <a:lnTo>
                      <a:pt x="1166" y="1262"/>
                    </a:lnTo>
                    <a:lnTo>
                      <a:pt x="1166" y="1264"/>
                    </a:lnTo>
                    <a:lnTo>
                      <a:pt x="1168" y="1262"/>
                    </a:lnTo>
                    <a:lnTo>
                      <a:pt x="1168" y="1264"/>
                    </a:lnTo>
                    <a:lnTo>
                      <a:pt x="1166" y="1264"/>
                    </a:lnTo>
                    <a:lnTo>
                      <a:pt x="1166" y="1265"/>
                    </a:lnTo>
                    <a:lnTo>
                      <a:pt x="1166" y="1264"/>
                    </a:lnTo>
                    <a:lnTo>
                      <a:pt x="1168" y="1264"/>
                    </a:lnTo>
                    <a:lnTo>
                      <a:pt x="1169" y="1262"/>
                    </a:lnTo>
                    <a:lnTo>
                      <a:pt x="1169" y="1260"/>
                    </a:lnTo>
                    <a:lnTo>
                      <a:pt x="1171" y="1260"/>
                    </a:lnTo>
                    <a:lnTo>
                      <a:pt x="1171" y="1262"/>
                    </a:lnTo>
                    <a:lnTo>
                      <a:pt x="1169" y="1262"/>
                    </a:lnTo>
                    <a:lnTo>
                      <a:pt x="1171" y="1262"/>
                    </a:lnTo>
                    <a:lnTo>
                      <a:pt x="1171" y="1264"/>
                    </a:lnTo>
                    <a:lnTo>
                      <a:pt x="1169" y="1264"/>
                    </a:lnTo>
                    <a:lnTo>
                      <a:pt x="1169" y="1265"/>
                    </a:lnTo>
                    <a:lnTo>
                      <a:pt x="1168" y="1265"/>
                    </a:lnTo>
                    <a:lnTo>
                      <a:pt x="1168" y="1267"/>
                    </a:lnTo>
                    <a:lnTo>
                      <a:pt x="1168" y="1265"/>
                    </a:lnTo>
                    <a:lnTo>
                      <a:pt x="1169" y="1265"/>
                    </a:lnTo>
                    <a:lnTo>
                      <a:pt x="1169" y="1264"/>
                    </a:lnTo>
                    <a:lnTo>
                      <a:pt x="1171" y="1264"/>
                    </a:lnTo>
                    <a:lnTo>
                      <a:pt x="1169" y="1264"/>
                    </a:lnTo>
                    <a:lnTo>
                      <a:pt x="1169" y="1265"/>
                    </a:lnTo>
                    <a:lnTo>
                      <a:pt x="1169" y="1267"/>
                    </a:lnTo>
                    <a:lnTo>
                      <a:pt x="1169" y="1265"/>
                    </a:lnTo>
                    <a:lnTo>
                      <a:pt x="1169" y="1267"/>
                    </a:lnTo>
                    <a:lnTo>
                      <a:pt x="1171" y="1267"/>
                    </a:lnTo>
                    <a:lnTo>
                      <a:pt x="1169" y="1269"/>
                    </a:lnTo>
                    <a:lnTo>
                      <a:pt x="1171" y="1269"/>
                    </a:lnTo>
                    <a:lnTo>
                      <a:pt x="1169" y="1270"/>
                    </a:lnTo>
                    <a:lnTo>
                      <a:pt x="1168" y="1270"/>
                    </a:lnTo>
                    <a:lnTo>
                      <a:pt x="1169" y="1269"/>
                    </a:lnTo>
                    <a:lnTo>
                      <a:pt x="1168" y="1270"/>
                    </a:lnTo>
                    <a:lnTo>
                      <a:pt x="1166" y="1272"/>
                    </a:lnTo>
                    <a:lnTo>
                      <a:pt x="1164" y="1274"/>
                    </a:lnTo>
                    <a:lnTo>
                      <a:pt x="1162" y="1274"/>
                    </a:lnTo>
                    <a:lnTo>
                      <a:pt x="1162" y="1272"/>
                    </a:lnTo>
                    <a:lnTo>
                      <a:pt x="1162" y="1270"/>
                    </a:lnTo>
                    <a:lnTo>
                      <a:pt x="1161" y="1270"/>
                    </a:lnTo>
                    <a:lnTo>
                      <a:pt x="1161" y="1269"/>
                    </a:lnTo>
                    <a:lnTo>
                      <a:pt x="1161" y="1267"/>
                    </a:lnTo>
                    <a:lnTo>
                      <a:pt x="1162" y="1267"/>
                    </a:lnTo>
                    <a:lnTo>
                      <a:pt x="1161" y="1267"/>
                    </a:lnTo>
                    <a:lnTo>
                      <a:pt x="1161" y="1269"/>
                    </a:lnTo>
                    <a:lnTo>
                      <a:pt x="1159" y="1267"/>
                    </a:lnTo>
                    <a:lnTo>
                      <a:pt x="1159" y="1265"/>
                    </a:lnTo>
                    <a:lnTo>
                      <a:pt x="1159" y="1264"/>
                    </a:lnTo>
                    <a:lnTo>
                      <a:pt x="1161" y="1264"/>
                    </a:lnTo>
                    <a:lnTo>
                      <a:pt x="1162" y="1264"/>
                    </a:lnTo>
                    <a:lnTo>
                      <a:pt x="1161" y="1264"/>
                    </a:lnTo>
                    <a:lnTo>
                      <a:pt x="1159" y="1264"/>
                    </a:lnTo>
                    <a:lnTo>
                      <a:pt x="1161" y="1264"/>
                    </a:lnTo>
                    <a:lnTo>
                      <a:pt x="1161" y="1262"/>
                    </a:lnTo>
                    <a:lnTo>
                      <a:pt x="1161" y="1264"/>
                    </a:lnTo>
                    <a:lnTo>
                      <a:pt x="1159" y="1264"/>
                    </a:lnTo>
                    <a:lnTo>
                      <a:pt x="1157" y="1264"/>
                    </a:lnTo>
                    <a:lnTo>
                      <a:pt x="1159" y="1262"/>
                    </a:lnTo>
                    <a:lnTo>
                      <a:pt x="1157" y="1264"/>
                    </a:lnTo>
                    <a:lnTo>
                      <a:pt x="1157" y="1262"/>
                    </a:lnTo>
                    <a:lnTo>
                      <a:pt x="1159" y="1260"/>
                    </a:lnTo>
                    <a:lnTo>
                      <a:pt x="1157" y="1260"/>
                    </a:lnTo>
                    <a:lnTo>
                      <a:pt x="1157" y="1262"/>
                    </a:lnTo>
                    <a:lnTo>
                      <a:pt x="1157" y="1260"/>
                    </a:lnTo>
                    <a:lnTo>
                      <a:pt x="1159" y="1260"/>
                    </a:lnTo>
                    <a:lnTo>
                      <a:pt x="1161" y="1259"/>
                    </a:lnTo>
                    <a:lnTo>
                      <a:pt x="1159" y="1259"/>
                    </a:lnTo>
                    <a:lnTo>
                      <a:pt x="1159" y="1260"/>
                    </a:lnTo>
                    <a:lnTo>
                      <a:pt x="1157" y="1260"/>
                    </a:lnTo>
                    <a:lnTo>
                      <a:pt x="1157" y="1259"/>
                    </a:lnTo>
                    <a:lnTo>
                      <a:pt x="1159" y="1259"/>
                    </a:lnTo>
                    <a:lnTo>
                      <a:pt x="1157" y="1259"/>
                    </a:lnTo>
                    <a:lnTo>
                      <a:pt x="1157" y="1257"/>
                    </a:lnTo>
                    <a:lnTo>
                      <a:pt x="1157" y="1259"/>
                    </a:lnTo>
                    <a:lnTo>
                      <a:pt x="1156" y="1257"/>
                    </a:lnTo>
                    <a:lnTo>
                      <a:pt x="1156" y="1255"/>
                    </a:lnTo>
                    <a:lnTo>
                      <a:pt x="1157" y="1255"/>
                    </a:lnTo>
                    <a:close/>
                    <a:moveTo>
                      <a:pt x="1183" y="1447"/>
                    </a:moveTo>
                    <a:lnTo>
                      <a:pt x="1185" y="1447"/>
                    </a:lnTo>
                    <a:lnTo>
                      <a:pt x="1185" y="1449"/>
                    </a:lnTo>
                    <a:lnTo>
                      <a:pt x="1183" y="1449"/>
                    </a:lnTo>
                    <a:lnTo>
                      <a:pt x="1185" y="1451"/>
                    </a:lnTo>
                    <a:lnTo>
                      <a:pt x="1185" y="1449"/>
                    </a:lnTo>
                    <a:lnTo>
                      <a:pt x="1186" y="1449"/>
                    </a:lnTo>
                    <a:lnTo>
                      <a:pt x="1186" y="1451"/>
                    </a:lnTo>
                    <a:lnTo>
                      <a:pt x="1185" y="1451"/>
                    </a:lnTo>
                    <a:lnTo>
                      <a:pt x="1186" y="1451"/>
                    </a:lnTo>
                    <a:lnTo>
                      <a:pt x="1186" y="1449"/>
                    </a:lnTo>
                    <a:lnTo>
                      <a:pt x="1186" y="1451"/>
                    </a:lnTo>
                    <a:lnTo>
                      <a:pt x="1186" y="1453"/>
                    </a:lnTo>
                    <a:lnTo>
                      <a:pt x="1186" y="1451"/>
                    </a:lnTo>
                    <a:lnTo>
                      <a:pt x="1186" y="1453"/>
                    </a:lnTo>
                    <a:lnTo>
                      <a:pt x="1188" y="1453"/>
                    </a:lnTo>
                    <a:lnTo>
                      <a:pt x="1190" y="1453"/>
                    </a:lnTo>
                    <a:lnTo>
                      <a:pt x="1190" y="1454"/>
                    </a:lnTo>
                    <a:lnTo>
                      <a:pt x="1190" y="1453"/>
                    </a:lnTo>
                    <a:lnTo>
                      <a:pt x="1191" y="1454"/>
                    </a:lnTo>
                    <a:lnTo>
                      <a:pt x="1191" y="1456"/>
                    </a:lnTo>
                    <a:lnTo>
                      <a:pt x="1190" y="1456"/>
                    </a:lnTo>
                    <a:lnTo>
                      <a:pt x="1191" y="1456"/>
                    </a:lnTo>
                    <a:lnTo>
                      <a:pt x="1193" y="1456"/>
                    </a:lnTo>
                    <a:lnTo>
                      <a:pt x="1193" y="1454"/>
                    </a:lnTo>
                    <a:lnTo>
                      <a:pt x="1193" y="1456"/>
                    </a:lnTo>
                    <a:lnTo>
                      <a:pt x="1193" y="1454"/>
                    </a:lnTo>
                    <a:lnTo>
                      <a:pt x="1195" y="1456"/>
                    </a:lnTo>
                    <a:lnTo>
                      <a:pt x="1193" y="1456"/>
                    </a:lnTo>
                    <a:lnTo>
                      <a:pt x="1195" y="1458"/>
                    </a:lnTo>
                    <a:lnTo>
                      <a:pt x="1195" y="1456"/>
                    </a:lnTo>
                    <a:lnTo>
                      <a:pt x="1195" y="1458"/>
                    </a:lnTo>
                    <a:lnTo>
                      <a:pt x="1196" y="1458"/>
                    </a:lnTo>
                    <a:lnTo>
                      <a:pt x="1196" y="1459"/>
                    </a:lnTo>
                    <a:lnTo>
                      <a:pt x="1196" y="1461"/>
                    </a:lnTo>
                    <a:lnTo>
                      <a:pt x="1198" y="1459"/>
                    </a:lnTo>
                    <a:lnTo>
                      <a:pt x="1198" y="1461"/>
                    </a:lnTo>
                    <a:lnTo>
                      <a:pt x="1198" y="1459"/>
                    </a:lnTo>
                    <a:lnTo>
                      <a:pt x="1198" y="1461"/>
                    </a:lnTo>
                    <a:lnTo>
                      <a:pt x="1200" y="1461"/>
                    </a:lnTo>
                    <a:lnTo>
                      <a:pt x="1202" y="1461"/>
                    </a:lnTo>
                    <a:lnTo>
                      <a:pt x="1202" y="1463"/>
                    </a:lnTo>
                    <a:lnTo>
                      <a:pt x="1203" y="1463"/>
                    </a:lnTo>
                    <a:lnTo>
                      <a:pt x="1203" y="1464"/>
                    </a:lnTo>
                    <a:lnTo>
                      <a:pt x="1205" y="1466"/>
                    </a:lnTo>
                    <a:lnTo>
                      <a:pt x="1205" y="1468"/>
                    </a:lnTo>
                    <a:lnTo>
                      <a:pt x="1207" y="1468"/>
                    </a:lnTo>
                    <a:lnTo>
                      <a:pt x="1207" y="1470"/>
                    </a:lnTo>
                    <a:lnTo>
                      <a:pt x="1207" y="1471"/>
                    </a:lnTo>
                    <a:lnTo>
                      <a:pt x="1208" y="1473"/>
                    </a:lnTo>
                    <a:lnTo>
                      <a:pt x="1208" y="1475"/>
                    </a:lnTo>
                    <a:lnTo>
                      <a:pt x="1207" y="1475"/>
                    </a:lnTo>
                    <a:lnTo>
                      <a:pt x="1207" y="1473"/>
                    </a:lnTo>
                    <a:lnTo>
                      <a:pt x="1205" y="1473"/>
                    </a:lnTo>
                    <a:lnTo>
                      <a:pt x="1205" y="1471"/>
                    </a:lnTo>
                    <a:lnTo>
                      <a:pt x="1203" y="1471"/>
                    </a:lnTo>
                    <a:lnTo>
                      <a:pt x="1203" y="1470"/>
                    </a:lnTo>
                    <a:lnTo>
                      <a:pt x="1202" y="1470"/>
                    </a:lnTo>
                    <a:lnTo>
                      <a:pt x="1202" y="1468"/>
                    </a:lnTo>
                    <a:lnTo>
                      <a:pt x="1200" y="1468"/>
                    </a:lnTo>
                    <a:lnTo>
                      <a:pt x="1198" y="1468"/>
                    </a:lnTo>
                    <a:lnTo>
                      <a:pt x="1198" y="1466"/>
                    </a:lnTo>
                    <a:lnTo>
                      <a:pt x="1196" y="1466"/>
                    </a:lnTo>
                    <a:lnTo>
                      <a:pt x="1196" y="1464"/>
                    </a:lnTo>
                    <a:lnTo>
                      <a:pt x="1195" y="1464"/>
                    </a:lnTo>
                    <a:lnTo>
                      <a:pt x="1193" y="1463"/>
                    </a:lnTo>
                    <a:lnTo>
                      <a:pt x="1193" y="1464"/>
                    </a:lnTo>
                    <a:lnTo>
                      <a:pt x="1193" y="1463"/>
                    </a:lnTo>
                    <a:lnTo>
                      <a:pt x="1195" y="1463"/>
                    </a:lnTo>
                    <a:lnTo>
                      <a:pt x="1196" y="1463"/>
                    </a:lnTo>
                    <a:lnTo>
                      <a:pt x="1196" y="1464"/>
                    </a:lnTo>
                    <a:lnTo>
                      <a:pt x="1198" y="1464"/>
                    </a:lnTo>
                    <a:lnTo>
                      <a:pt x="1196" y="1464"/>
                    </a:lnTo>
                    <a:lnTo>
                      <a:pt x="1195" y="1463"/>
                    </a:lnTo>
                    <a:lnTo>
                      <a:pt x="1193" y="1461"/>
                    </a:lnTo>
                    <a:lnTo>
                      <a:pt x="1193" y="1459"/>
                    </a:lnTo>
                    <a:lnTo>
                      <a:pt x="1193" y="1461"/>
                    </a:lnTo>
                    <a:lnTo>
                      <a:pt x="1191" y="1461"/>
                    </a:lnTo>
                    <a:lnTo>
                      <a:pt x="1191" y="1459"/>
                    </a:lnTo>
                    <a:lnTo>
                      <a:pt x="1190" y="1459"/>
                    </a:lnTo>
                    <a:lnTo>
                      <a:pt x="1188" y="1459"/>
                    </a:lnTo>
                    <a:lnTo>
                      <a:pt x="1188" y="1458"/>
                    </a:lnTo>
                    <a:lnTo>
                      <a:pt x="1186" y="1458"/>
                    </a:lnTo>
                    <a:lnTo>
                      <a:pt x="1188" y="1456"/>
                    </a:lnTo>
                    <a:lnTo>
                      <a:pt x="1186" y="1456"/>
                    </a:lnTo>
                    <a:lnTo>
                      <a:pt x="1186" y="1458"/>
                    </a:lnTo>
                    <a:lnTo>
                      <a:pt x="1185" y="1456"/>
                    </a:lnTo>
                    <a:lnTo>
                      <a:pt x="1183" y="1454"/>
                    </a:lnTo>
                    <a:lnTo>
                      <a:pt x="1185" y="1454"/>
                    </a:lnTo>
                    <a:lnTo>
                      <a:pt x="1183" y="1454"/>
                    </a:lnTo>
                    <a:lnTo>
                      <a:pt x="1183" y="1453"/>
                    </a:lnTo>
                    <a:lnTo>
                      <a:pt x="1183" y="1451"/>
                    </a:lnTo>
                    <a:lnTo>
                      <a:pt x="1183" y="1453"/>
                    </a:lnTo>
                    <a:lnTo>
                      <a:pt x="1181" y="1451"/>
                    </a:lnTo>
                    <a:lnTo>
                      <a:pt x="1181" y="1449"/>
                    </a:lnTo>
                    <a:lnTo>
                      <a:pt x="1183" y="1449"/>
                    </a:lnTo>
                    <a:lnTo>
                      <a:pt x="1181" y="1449"/>
                    </a:lnTo>
                    <a:lnTo>
                      <a:pt x="1179" y="1447"/>
                    </a:lnTo>
                    <a:lnTo>
                      <a:pt x="1179" y="1446"/>
                    </a:lnTo>
                    <a:lnTo>
                      <a:pt x="1181" y="1447"/>
                    </a:lnTo>
                    <a:lnTo>
                      <a:pt x="1183" y="1447"/>
                    </a:lnTo>
                    <a:close/>
                    <a:moveTo>
                      <a:pt x="1343" y="1626"/>
                    </a:moveTo>
                    <a:lnTo>
                      <a:pt x="1344" y="1626"/>
                    </a:lnTo>
                    <a:lnTo>
                      <a:pt x="1346" y="1626"/>
                    </a:lnTo>
                    <a:lnTo>
                      <a:pt x="1348" y="1626"/>
                    </a:lnTo>
                    <a:lnTo>
                      <a:pt x="1349" y="1628"/>
                    </a:lnTo>
                    <a:lnTo>
                      <a:pt x="1348" y="1628"/>
                    </a:lnTo>
                    <a:lnTo>
                      <a:pt x="1349" y="1628"/>
                    </a:lnTo>
                    <a:lnTo>
                      <a:pt x="1348" y="1629"/>
                    </a:lnTo>
                    <a:lnTo>
                      <a:pt x="1348" y="1631"/>
                    </a:lnTo>
                    <a:lnTo>
                      <a:pt x="1349" y="1629"/>
                    </a:lnTo>
                    <a:lnTo>
                      <a:pt x="1349" y="1628"/>
                    </a:lnTo>
                    <a:lnTo>
                      <a:pt x="1351" y="1628"/>
                    </a:lnTo>
                    <a:lnTo>
                      <a:pt x="1353" y="1628"/>
                    </a:lnTo>
                    <a:lnTo>
                      <a:pt x="1355" y="1628"/>
                    </a:lnTo>
                    <a:lnTo>
                      <a:pt x="1355" y="1629"/>
                    </a:lnTo>
                    <a:lnTo>
                      <a:pt x="1356" y="1629"/>
                    </a:lnTo>
                    <a:lnTo>
                      <a:pt x="1358" y="1629"/>
                    </a:lnTo>
                    <a:lnTo>
                      <a:pt x="1360" y="1629"/>
                    </a:lnTo>
                    <a:lnTo>
                      <a:pt x="1360" y="1631"/>
                    </a:lnTo>
                    <a:lnTo>
                      <a:pt x="1361" y="1631"/>
                    </a:lnTo>
                    <a:lnTo>
                      <a:pt x="1360" y="1631"/>
                    </a:lnTo>
                    <a:lnTo>
                      <a:pt x="1358" y="1631"/>
                    </a:lnTo>
                    <a:lnTo>
                      <a:pt x="1356" y="1631"/>
                    </a:lnTo>
                    <a:lnTo>
                      <a:pt x="1355" y="1631"/>
                    </a:lnTo>
                    <a:lnTo>
                      <a:pt x="1353" y="1631"/>
                    </a:lnTo>
                    <a:lnTo>
                      <a:pt x="1355" y="1631"/>
                    </a:lnTo>
                    <a:lnTo>
                      <a:pt x="1355" y="1633"/>
                    </a:lnTo>
                    <a:lnTo>
                      <a:pt x="1353" y="1633"/>
                    </a:lnTo>
                    <a:lnTo>
                      <a:pt x="1351" y="1633"/>
                    </a:lnTo>
                    <a:lnTo>
                      <a:pt x="1351" y="1635"/>
                    </a:lnTo>
                    <a:lnTo>
                      <a:pt x="1349" y="1635"/>
                    </a:lnTo>
                    <a:lnTo>
                      <a:pt x="1349" y="1633"/>
                    </a:lnTo>
                    <a:lnTo>
                      <a:pt x="1349" y="1631"/>
                    </a:lnTo>
                    <a:lnTo>
                      <a:pt x="1349" y="1633"/>
                    </a:lnTo>
                    <a:lnTo>
                      <a:pt x="1348" y="1633"/>
                    </a:lnTo>
                    <a:lnTo>
                      <a:pt x="1348" y="1635"/>
                    </a:lnTo>
                    <a:lnTo>
                      <a:pt x="1346" y="1635"/>
                    </a:lnTo>
                    <a:lnTo>
                      <a:pt x="1344" y="1635"/>
                    </a:lnTo>
                    <a:lnTo>
                      <a:pt x="1343" y="1635"/>
                    </a:lnTo>
                    <a:lnTo>
                      <a:pt x="1343" y="1636"/>
                    </a:lnTo>
                    <a:lnTo>
                      <a:pt x="1341" y="1635"/>
                    </a:lnTo>
                    <a:lnTo>
                      <a:pt x="1341" y="1636"/>
                    </a:lnTo>
                    <a:lnTo>
                      <a:pt x="1339" y="1636"/>
                    </a:lnTo>
                    <a:lnTo>
                      <a:pt x="1338" y="1636"/>
                    </a:lnTo>
                    <a:lnTo>
                      <a:pt x="1338" y="1635"/>
                    </a:lnTo>
                    <a:lnTo>
                      <a:pt x="1338" y="1636"/>
                    </a:lnTo>
                    <a:lnTo>
                      <a:pt x="1338" y="1635"/>
                    </a:lnTo>
                    <a:lnTo>
                      <a:pt x="1338" y="1636"/>
                    </a:lnTo>
                    <a:lnTo>
                      <a:pt x="1336" y="1636"/>
                    </a:lnTo>
                    <a:lnTo>
                      <a:pt x="1334" y="1636"/>
                    </a:lnTo>
                    <a:lnTo>
                      <a:pt x="1334" y="1635"/>
                    </a:lnTo>
                    <a:lnTo>
                      <a:pt x="1332" y="1633"/>
                    </a:lnTo>
                    <a:lnTo>
                      <a:pt x="1334" y="1633"/>
                    </a:lnTo>
                    <a:lnTo>
                      <a:pt x="1334" y="1631"/>
                    </a:lnTo>
                    <a:lnTo>
                      <a:pt x="1334" y="1633"/>
                    </a:lnTo>
                    <a:lnTo>
                      <a:pt x="1332" y="1631"/>
                    </a:lnTo>
                    <a:lnTo>
                      <a:pt x="1334" y="1629"/>
                    </a:lnTo>
                    <a:lnTo>
                      <a:pt x="1336" y="1629"/>
                    </a:lnTo>
                    <a:lnTo>
                      <a:pt x="1338" y="1631"/>
                    </a:lnTo>
                    <a:lnTo>
                      <a:pt x="1338" y="1629"/>
                    </a:lnTo>
                    <a:lnTo>
                      <a:pt x="1336" y="1629"/>
                    </a:lnTo>
                    <a:lnTo>
                      <a:pt x="1334" y="1628"/>
                    </a:lnTo>
                    <a:lnTo>
                      <a:pt x="1334" y="1629"/>
                    </a:lnTo>
                    <a:lnTo>
                      <a:pt x="1332" y="1628"/>
                    </a:lnTo>
                    <a:lnTo>
                      <a:pt x="1334" y="1628"/>
                    </a:lnTo>
                    <a:lnTo>
                      <a:pt x="1334" y="1626"/>
                    </a:lnTo>
                    <a:lnTo>
                      <a:pt x="1336" y="1628"/>
                    </a:lnTo>
                    <a:lnTo>
                      <a:pt x="1336" y="1626"/>
                    </a:lnTo>
                    <a:lnTo>
                      <a:pt x="1338" y="1626"/>
                    </a:lnTo>
                    <a:lnTo>
                      <a:pt x="1339" y="1628"/>
                    </a:lnTo>
                    <a:lnTo>
                      <a:pt x="1339" y="1629"/>
                    </a:lnTo>
                    <a:lnTo>
                      <a:pt x="1339" y="1631"/>
                    </a:lnTo>
                    <a:lnTo>
                      <a:pt x="1341" y="1629"/>
                    </a:lnTo>
                    <a:lnTo>
                      <a:pt x="1343" y="1629"/>
                    </a:lnTo>
                    <a:lnTo>
                      <a:pt x="1341" y="1631"/>
                    </a:lnTo>
                    <a:lnTo>
                      <a:pt x="1343" y="1631"/>
                    </a:lnTo>
                    <a:lnTo>
                      <a:pt x="1343" y="1629"/>
                    </a:lnTo>
                    <a:lnTo>
                      <a:pt x="1341" y="1629"/>
                    </a:lnTo>
                    <a:lnTo>
                      <a:pt x="1341" y="1628"/>
                    </a:lnTo>
                    <a:lnTo>
                      <a:pt x="1343" y="1629"/>
                    </a:lnTo>
                    <a:lnTo>
                      <a:pt x="1341" y="1629"/>
                    </a:lnTo>
                    <a:lnTo>
                      <a:pt x="1341" y="1628"/>
                    </a:lnTo>
                    <a:lnTo>
                      <a:pt x="1339" y="1628"/>
                    </a:lnTo>
                    <a:lnTo>
                      <a:pt x="1339" y="1626"/>
                    </a:lnTo>
                    <a:lnTo>
                      <a:pt x="1341" y="1626"/>
                    </a:lnTo>
                    <a:lnTo>
                      <a:pt x="1343" y="1626"/>
                    </a:lnTo>
                    <a:close/>
                    <a:moveTo>
                      <a:pt x="1152" y="1272"/>
                    </a:moveTo>
                    <a:lnTo>
                      <a:pt x="1152" y="1274"/>
                    </a:lnTo>
                    <a:lnTo>
                      <a:pt x="1152" y="1276"/>
                    </a:lnTo>
                    <a:lnTo>
                      <a:pt x="1151" y="1276"/>
                    </a:lnTo>
                    <a:lnTo>
                      <a:pt x="1152" y="1276"/>
                    </a:lnTo>
                    <a:lnTo>
                      <a:pt x="1152" y="1277"/>
                    </a:lnTo>
                    <a:lnTo>
                      <a:pt x="1152" y="1276"/>
                    </a:lnTo>
                    <a:lnTo>
                      <a:pt x="1152" y="1274"/>
                    </a:lnTo>
                    <a:lnTo>
                      <a:pt x="1152" y="1272"/>
                    </a:lnTo>
                    <a:lnTo>
                      <a:pt x="1154" y="1272"/>
                    </a:lnTo>
                    <a:lnTo>
                      <a:pt x="1154" y="1274"/>
                    </a:lnTo>
                    <a:lnTo>
                      <a:pt x="1154" y="1276"/>
                    </a:lnTo>
                    <a:lnTo>
                      <a:pt x="1154" y="1277"/>
                    </a:lnTo>
                    <a:lnTo>
                      <a:pt x="1152" y="1277"/>
                    </a:lnTo>
                    <a:lnTo>
                      <a:pt x="1154" y="1277"/>
                    </a:lnTo>
                    <a:lnTo>
                      <a:pt x="1154" y="1279"/>
                    </a:lnTo>
                    <a:lnTo>
                      <a:pt x="1156" y="1279"/>
                    </a:lnTo>
                    <a:lnTo>
                      <a:pt x="1154" y="1281"/>
                    </a:lnTo>
                    <a:lnTo>
                      <a:pt x="1154" y="1282"/>
                    </a:lnTo>
                    <a:lnTo>
                      <a:pt x="1154" y="1284"/>
                    </a:lnTo>
                    <a:lnTo>
                      <a:pt x="1152" y="1284"/>
                    </a:lnTo>
                    <a:lnTo>
                      <a:pt x="1152" y="1286"/>
                    </a:lnTo>
                    <a:lnTo>
                      <a:pt x="1151" y="1286"/>
                    </a:lnTo>
                    <a:lnTo>
                      <a:pt x="1151" y="1288"/>
                    </a:lnTo>
                    <a:lnTo>
                      <a:pt x="1149" y="1289"/>
                    </a:lnTo>
                    <a:lnTo>
                      <a:pt x="1149" y="1288"/>
                    </a:lnTo>
                    <a:lnTo>
                      <a:pt x="1149" y="1289"/>
                    </a:lnTo>
                    <a:lnTo>
                      <a:pt x="1147" y="1289"/>
                    </a:lnTo>
                    <a:lnTo>
                      <a:pt x="1145" y="1291"/>
                    </a:lnTo>
                    <a:lnTo>
                      <a:pt x="1144" y="1291"/>
                    </a:lnTo>
                    <a:lnTo>
                      <a:pt x="1144" y="1289"/>
                    </a:lnTo>
                    <a:lnTo>
                      <a:pt x="1142" y="1289"/>
                    </a:lnTo>
                    <a:lnTo>
                      <a:pt x="1142" y="1288"/>
                    </a:lnTo>
                    <a:lnTo>
                      <a:pt x="1142" y="1286"/>
                    </a:lnTo>
                    <a:lnTo>
                      <a:pt x="1142" y="1284"/>
                    </a:lnTo>
                    <a:lnTo>
                      <a:pt x="1144" y="1284"/>
                    </a:lnTo>
                    <a:lnTo>
                      <a:pt x="1144" y="1286"/>
                    </a:lnTo>
                    <a:lnTo>
                      <a:pt x="1145" y="1286"/>
                    </a:lnTo>
                    <a:lnTo>
                      <a:pt x="1147" y="1286"/>
                    </a:lnTo>
                    <a:lnTo>
                      <a:pt x="1147" y="1288"/>
                    </a:lnTo>
                    <a:lnTo>
                      <a:pt x="1147" y="1286"/>
                    </a:lnTo>
                    <a:lnTo>
                      <a:pt x="1149" y="1286"/>
                    </a:lnTo>
                    <a:lnTo>
                      <a:pt x="1151" y="1286"/>
                    </a:lnTo>
                    <a:lnTo>
                      <a:pt x="1151" y="1284"/>
                    </a:lnTo>
                    <a:lnTo>
                      <a:pt x="1152" y="1282"/>
                    </a:lnTo>
                    <a:lnTo>
                      <a:pt x="1154" y="1282"/>
                    </a:lnTo>
                    <a:lnTo>
                      <a:pt x="1154" y="1281"/>
                    </a:lnTo>
                    <a:lnTo>
                      <a:pt x="1152" y="1282"/>
                    </a:lnTo>
                    <a:lnTo>
                      <a:pt x="1152" y="1284"/>
                    </a:lnTo>
                    <a:lnTo>
                      <a:pt x="1151" y="1284"/>
                    </a:lnTo>
                    <a:lnTo>
                      <a:pt x="1149" y="1286"/>
                    </a:lnTo>
                    <a:lnTo>
                      <a:pt x="1147" y="1286"/>
                    </a:lnTo>
                    <a:lnTo>
                      <a:pt x="1145" y="1286"/>
                    </a:lnTo>
                    <a:lnTo>
                      <a:pt x="1144" y="1286"/>
                    </a:lnTo>
                    <a:lnTo>
                      <a:pt x="1144" y="1284"/>
                    </a:lnTo>
                    <a:lnTo>
                      <a:pt x="1144" y="1282"/>
                    </a:lnTo>
                    <a:lnTo>
                      <a:pt x="1145" y="1282"/>
                    </a:lnTo>
                    <a:lnTo>
                      <a:pt x="1145" y="1284"/>
                    </a:lnTo>
                    <a:lnTo>
                      <a:pt x="1147" y="1284"/>
                    </a:lnTo>
                    <a:lnTo>
                      <a:pt x="1149" y="1284"/>
                    </a:lnTo>
                    <a:lnTo>
                      <a:pt x="1147" y="1282"/>
                    </a:lnTo>
                    <a:lnTo>
                      <a:pt x="1149" y="1282"/>
                    </a:lnTo>
                    <a:lnTo>
                      <a:pt x="1151" y="1282"/>
                    </a:lnTo>
                    <a:lnTo>
                      <a:pt x="1151" y="1281"/>
                    </a:lnTo>
                    <a:lnTo>
                      <a:pt x="1152" y="1281"/>
                    </a:lnTo>
                    <a:lnTo>
                      <a:pt x="1151" y="1281"/>
                    </a:lnTo>
                    <a:lnTo>
                      <a:pt x="1149" y="1282"/>
                    </a:lnTo>
                    <a:lnTo>
                      <a:pt x="1147" y="1282"/>
                    </a:lnTo>
                    <a:lnTo>
                      <a:pt x="1145" y="1282"/>
                    </a:lnTo>
                    <a:lnTo>
                      <a:pt x="1147" y="1282"/>
                    </a:lnTo>
                    <a:lnTo>
                      <a:pt x="1147" y="1281"/>
                    </a:lnTo>
                    <a:lnTo>
                      <a:pt x="1149" y="1281"/>
                    </a:lnTo>
                    <a:lnTo>
                      <a:pt x="1151" y="1279"/>
                    </a:lnTo>
                    <a:lnTo>
                      <a:pt x="1152" y="1277"/>
                    </a:lnTo>
                    <a:lnTo>
                      <a:pt x="1151" y="1279"/>
                    </a:lnTo>
                    <a:lnTo>
                      <a:pt x="1149" y="1279"/>
                    </a:lnTo>
                    <a:lnTo>
                      <a:pt x="1149" y="1281"/>
                    </a:lnTo>
                    <a:lnTo>
                      <a:pt x="1147" y="1281"/>
                    </a:lnTo>
                    <a:lnTo>
                      <a:pt x="1147" y="1282"/>
                    </a:lnTo>
                    <a:lnTo>
                      <a:pt x="1145" y="1282"/>
                    </a:lnTo>
                    <a:lnTo>
                      <a:pt x="1144" y="1282"/>
                    </a:lnTo>
                    <a:lnTo>
                      <a:pt x="1145" y="1281"/>
                    </a:lnTo>
                    <a:lnTo>
                      <a:pt x="1144" y="1281"/>
                    </a:lnTo>
                    <a:lnTo>
                      <a:pt x="1144" y="1282"/>
                    </a:lnTo>
                    <a:lnTo>
                      <a:pt x="1142" y="1282"/>
                    </a:lnTo>
                    <a:lnTo>
                      <a:pt x="1144" y="1281"/>
                    </a:lnTo>
                    <a:lnTo>
                      <a:pt x="1142" y="1281"/>
                    </a:lnTo>
                    <a:lnTo>
                      <a:pt x="1142" y="1279"/>
                    </a:lnTo>
                    <a:lnTo>
                      <a:pt x="1144" y="1279"/>
                    </a:lnTo>
                    <a:lnTo>
                      <a:pt x="1142" y="1277"/>
                    </a:lnTo>
                    <a:lnTo>
                      <a:pt x="1144" y="1276"/>
                    </a:lnTo>
                    <a:lnTo>
                      <a:pt x="1142" y="1276"/>
                    </a:lnTo>
                    <a:lnTo>
                      <a:pt x="1142" y="1274"/>
                    </a:lnTo>
                    <a:lnTo>
                      <a:pt x="1144" y="1274"/>
                    </a:lnTo>
                    <a:lnTo>
                      <a:pt x="1144" y="1272"/>
                    </a:lnTo>
                    <a:lnTo>
                      <a:pt x="1145" y="1272"/>
                    </a:lnTo>
                    <a:lnTo>
                      <a:pt x="1145" y="1274"/>
                    </a:lnTo>
                    <a:lnTo>
                      <a:pt x="1147" y="1274"/>
                    </a:lnTo>
                    <a:lnTo>
                      <a:pt x="1147" y="1276"/>
                    </a:lnTo>
                    <a:lnTo>
                      <a:pt x="1147" y="1274"/>
                    </a:lnTo>
                    <a:lnTo>
                      <a:pt x="1149" y="1274"/>
                    </a:lnTo>
                    <a:lnTo>
                      <a:pt x="1147" y="1274"/>
                    </a:lnTo>
                    <a:lnTo>
                      <a:pt x="1149" y="1274"/>
                    </a:lnTo>
                    <a:lnTo>
                      <a:pt x="1151" y="1272"/>
                    </a:lnTo>
                    <a:lnTo>
                      <a:pt x="1151" y="1274"/>
                    </a:lnTo>
                    <a:lnTo>
                      <a:pt x="1151" y="1276"/>
                    </a:lnTo>
                    <a:lnTo>
                      <a:pt x="1151" y="1274"/>
                    </a:lnTo>
                    <a:lnTo>
                      <a:pt x="1151" y="1272"/>
                    </a:lnTo>
                    <a:lnTo>
                      <a:pt x="1152" y="1272"/>
                    </a:lnTo>
                    <a:close/>
                    <a:moveTo>
                      <a:pt x="1195" y="1240"/>
                    </a:moveTo>
                    <a:lnTo>
                      <a:pt x="1195" y="1242"/>
                    </a:lnTo>
                    <a:lnTo>
                      <a:pt x="1196" y="1242"/>
                    </a:lnTo>
                    <a:lnTo>
                      <a:pt x="1196" y="1243"/>
                    </a:lnTo>
                    <a:lnTo>
                      <a:pt x="1198" y="1243"/>
                    </a:lnTo>
                    <a:lnTo>
                      <a:pt x="1200" y="1243"/>
                    </a:lnTo>
                    <a:lnTo>
                      <a:pt x="1202" y="1245"/>
                    </a:lnTo>
                    <a:lnTo>
                      <a:pt x="1202" y="1243"/>
                    </a:lnTo>
                    <a:lnTo>
                      <a:pt x="1203" y="1243"/>
                    </a:lnTo>
                    <a:lnTo>
                      <a:pt x="1205" y="1245"/>
                    </a:lnTo>
                    <a:lnTo>
                      <a:pt x="1203" y="1247"/>
                    </a:lnTo>
                    <a:lnTo>
                      <a:pt x="1203" y="1248"/>
                    </a:lnTo>
                    <a:lnTo>
                      <a:pt x="1202" y="1248"/>
                    </a:lnTo>
                    <a:lnTo>
                      <a:pt x="1200" y="1248"/>
                    </a:lnTo>
                    <a:lnTo>
                      <a:pt x="1202" y="1247"/>
                    </a:lnTo>
                    <a:lnTo>
                      <a:pt x="1200" y="1247"/>
                    </a:lnTo>
                    <a:lnTo>
                      <a:pt x="1198" y="1248"/>
                    </a:lnTo>
                    <a:lnTo>
                      <a:pt x="1196" y="1248"/>
                    </a:lnTo>
                    <a:lnTo>
                      <a:pt x="1195" y="1248"/>
                    </a:lnTo>
                    <a:lnTo>
                      <a:pt x="1193" y="1248"/>
                    </a:lnTo>
                    <a:lnTo>
                      <a:pt x="1191" y="1248"/>
                    </a:lnTo>
                    <a:lnTo>
                      <a:pt x="1190" y="1250"/>
                    </a:lnTo>
                    <a:lnTo>
                      <a:pt x="1190" y="1248"/>
                    </a:lnTo>
                    <a:lnTo>
                      <a:pt x="1188" y="1250"/>
                    </a:lnTo>
                    <a:lnTo>
                      <a:pt x="1186" y="1250"/>
                    </a:lnTo>
                    <a:lnTo>
                      <a:pt x="1186" y="1248"/>
                    </a:lnTo>
                    <a:lnTo>
                      <a:pt x="1186" y="1247"/>
                    </a:lnTo>
                    <a:lnTo>
                      <a:pt x="1185" y="1247"/>
                    </a:lnTo>
                    <a:lnTo>
                      <a:pt x="1185" y="1248"/>
                    </a:lnTo>
                    <a:lnTo>
                      <a:pt x="1185" y="1247"/>
                    </a:lnTo>
                    <a:lnTo>
                      <a:pt x="1183" y="1247"/>
                    </a:lnTo>
                    <a:lnTo>
                      <a:pt x="1181" y="1247"/>
                    </a:lnTo>
                    <a:lnTo>
                      <a:pt x="1181" y="1245"/>
                    </a:lnTo>
                    <a:lnTo>
                      <a:pt x="1183" y="1245"/>
                    </a:lnTo>
                    <a:lnTo>
                      <a:pt x="1185" y="1247"/>
                    </a:lnTo>
                    <a:lnTo>
                      <a:pt x="1185" y="1245"/>
                    </a:lnTo>
                    <a:lnTo>
                      <a:pt x="1183" y="1245"/>
                    </a:lnTo>
                    <a:lnTo>
                      <a:pt x="1183" y="1243"/>
                    </a:lnTo>
                    <a:lnTo>
                      <a:pt x="1185" y="1243"/>
                    </a:lnTo>
                    <a:lnTo>
                      <a:pt x="1185" y="1242"/>
                    </a:lnTo>
                    <a:lnTo>
                      <a:pt x="1186" y="1242"/>
                    </a:lnTo>
                    <a:lnTo>
                      <a:pt x="1186" y="1243"/>
                    </a:lnTo>
                    <a:lnTo>
                      <a:pt x="1188" y="1243"/>
                    </a:lnTo>
                    <a:lnTo>
                      <a:pt x="1188" y="1245"/>
                    </a:lnTo>
                    <a:lnTo>
                      <a:pt x="1190" y="1245"/>
                    </a:lnTo>
                    <a:lnTo>
                      <a:pt x="1191" y="1245"/>
                    </a:lnTo>
                    <a:lnTo>
                      <a:pt x="1190" y="1245"/>
                    </a:lnTo>
                    <a:lnTo>
                      <a:pt x="1190" y="1243"/>
                    </a:lnTo>
                    <a:lnTo>
                      <a:pt x="1188" y="1243"/>
                    </a:lnTo>
                    <a:lnTo>
                      <a:pt x="1188" y="1242"/>
                    </a:lnTo>
                    <a:lnTo>
                      <a:pt x="1186" y="1242"/>
                    </a:lnTo>
                    <a:lnTo>
                      <a:pt x="1188" y="1240"/>
                    </a:lnTo>
                    <a:lnTo>
                      <a:pt x="1190" y="1242"/>
                    </a:lnTo>
                    <a:lnTo>
                      <a:pt x="1190" y="1240"/>
                    </a:lnTo>
                    <a:lnTo>
                      <a:pt x="1191" y="1242"/>
                    </a:lnTo>
                    <a:lnTo>
                      <a:pt x="1193" y="1242"/>
                    </a:lnTo>
                    <a:lnTo>
                      <a:pt x="1195" y="1242"/>
                    </a:lnTo>
                    <a:lnTo>
                      <a:pt x="1195" y="1243"/>
                    </a:lnTo>
                    <a:lnTo>
                      <a:pt x="1196" y="1243"/>
                    </a:lnTo>
                    <a:lnTo>
                      <a:pt x="1195" y="1242"/>
                    </a:lnTo>
                    <a:lnTo>
                      <a:pt x="1193" y="1242"/>
                    </a:lnTo>
                    <a:lnTo>
                      <a:pt x="1191" y="1242"/>
                    </a:lnTo>
                    <a:lnTo>
                      <a:pt x="1191" y="1240"/>
                    </a:lnTo>
                    <a:lnTo>
                      <a:pt x="1193" y="1240"/>
                    </a:lnTo>
                    <a:lnTo>
                      <a:pt x="1195" y="1240"/>
                    </a:lnTo>
                    <a:close/>
                    <a:moveTo>
                      <a:pt x="1147" y="1333"/>
                    </a:moveTo>
                    <a:lnTo>
                      <a:pt x="1149" y="1333"/>
                    </a:lnTo>
                    <a:lnTo>
                      <a:pt x="1151" y="1333"/>
                    </a:lnTo>
                    <a:lnTo>
                      <a:pt x="1151" y="1335"/>
                    </a:lnTo>
                    <a:lnTo>
                      <a:pt x="1151" y="1333"/>
                    </a:lnTo>
                    <a:lnTo>
                      <a:pt x="1151" y="1332"/>
                    </a:lnTo>
                    <a:lnTo>
                      <a:pt x="1152" y="1333"/>
                    </a:lnTo>
                    <a:lnTo>
                      <a:pt x="1152" y="1335"/>
                    </a:lnTo>
                    <a:lnTo>
                      <a:pt x="1154" y="1337"/>
                    </a:lnTo>
                    <a:lnTo>
                      <a:pt x="1152" y="1337"/>
                    </a:lnTo>
                    <a:lnTo>
                      <a:pt x="1152" y="1339"/>
                    </a:lnTo>
                    <a:lnTo>
                      <a:pt x="1152" y="1337"/>
                    </a:lnTo>
                    <a:lnTo>
                      <a:pt x="1154" y="1339"/>
                    </a:lnTo>
                    <a:lnTo>
                      <a:pt x="1154" y="1340"/>
                    </a:lnTo>
                    <a:lnTo>
                      <a:pt x="1156" y="1342"/>
                    </a:lnTo>
                    <a:lnTo>
                      <a:pt x="1156" y="1344"/>
                    </a:lnTo>
                    <a:lnTo>
                      <a:pt x="1156" y="1345"/>
                    </a:lnTo>
                    <a:lnTo>
                      <a:pt x="1157" y="1345"/>
                    </a:lnTo>
                    <a:lnTo>
                      <a:pt x="1157" y="1347"/>
                    </a:lnTo>
                    <a:lnTo>
                      <a:pt x="1157" y="1349"/>
                    </a:lnTo>
                    <a:lnTo>
                      <a:pt x="1156" y="1349"/>
                    </a:lnTo>
                    <a:lnTo>
                      <a:pt x="1157" y="1349"/>
                    </a:lnTo>
                    <a:lnTo>
                      <a:pt x="1156" y="1349"/>
                    </a:lnTo>
                    <a:lnTo>
                      <a:pt x="1156" y="1347"/>
                    </a:lnTo>
                    <a:lnTo>
                      <a:pt x="1154" y="1347"/>
                    </a:lnTo>
                    <a:lnTo>
                      <a:pt x="1154" y="1345"/>
                    </a:lnTo>
                    <a:lnTo>
                      <a:pt x="1152" y="1345"/>
                    </a:lnTo>
                    <a:lnTo>
                      <a:pt x="1154" y="1345"/>
                    </a:lnTo>
                    <a:lnTo>
                      <a:pt x="1154" y="1347"/>
                    </a:lnTo>
                    <a:lnTo>
                      <a:pt x="1154" y="1349"/>
                    </a:lnTo>
                    <a:lnTo>
                      <a:pt x="1152" y="1349"/>
                    </a:lnTo>
                    <a:lnTo>
                      <a:pt x="1151" y="1347"/>
                    </a:lnTo>
                    <a:lnTo>
                      <a:pt x="1151" y="1345"/>
                    </a:lnTo>
                    <a:lnTo>
                      <a:pt x="1149" y="1345"/>
                    </a:lnTo>
                    <a:lnTo>
                      <a:pt x="1149" y="1344"/>
                    </a:lnTo>
                    <a:lnTo>
                      <a:pt x="1151" y="1344"/>
                    </a:lnTo>
                    <a:lnTo>
                      <a:pt x="1151" y="1342"/>
                    </a:lnTo>
                    <a:lnTo>
                      <a:pt x="1152" y="1342"/>
                    </a:lnTo>
                    <a:lnTo>
                      <a:pt x="1151" y="1342"/>
                    </a:lnTo>
                    <a:lnTo>
                      <a:pt x="1151" y="1340"/>
                    </a:lnTo>
                    <a:lnTo>
                      <a:pt x="1151" y="1339"/>
                    </a:lnTo>
                    <a:lnTo>
                      <a:pt x="1151" y="1340"/>
                    </a:lnTo>
                    <a:lnTo>
                      <a:pt x="1149" y="1342"/>
                    </a:lnTo>
                    <a:lnTo>
                      <a:pt x="1147" y="1342"/>
                    </a:lnTo>
                    <a:lnTo>
                      <a:pt x="1147" y="1344"/>
                    </a:lnTo>
                    <a:lnTo>
                      <a:pt x="1145" y="1344"/>
                    </a:lnTo>
                    <a:lnTo>
                      <a:pt x="1144" y="1344"/>
                    </a:lnTo>
                    <a:lnTo>
                      <a:pt x="1144" y="1345"/>
                    </a:lnTo>
                    <a:lnTo>
                      <a:pt x="1144" y="1347"/>
                    </a:lnTo>
                    <a:lnTo>
                      <a:pt x="1142" y="1347"/>
                    </a:lnTo>
                    <a:lnTo>
                      <a:pt x="1142" y="1345"/>
                    </a:lnTo>
                    <a:lnTo>
                      <a:pt x="1142" y="1344"/>
                    </a:lnTo>
                    <a:lnTo>
                      <a:pt x="1140" y="1344"/>
                    </a:lnTo>
                    <a:lnTo>
                      <a:pt x="1140" y="1342"/>
                    </a:lnTo>
                    <a:lnTo>
                      <a:pt x="1142" y="1342"/>
                    </a:lnTo>
                    <a:lnTo>
                      <a:pt x="1144" y="1340"/>
                    </a:lnTo>
                    <a:lnTo>
                      <a:pt x="1145" y="1340"/>
                    </a:lnTo>
                    <a:lnTo>
                      <a:pt x="1145" y="1339"/>
                    </a:lnTo>
                    <a:lnTo>
                      <a:pt x="1145" y="1340"/>
                    </a:lnTo>
                    <a:lnTo>
                      <a:pt x="1145" y="1339"/>
                    </a:lnTo>
                    <a:lnTo>
                      <a:pt x="1144" y="1339"/>
                    </a:lnTo>
                    <a:lnTo>
                      <a:pt x="1144" y="1337"/>
                    </a:lnTo>
                    <a:lnTo>
                      <a:pt x="1142" y="1337"/>
                    </a:lnTo>
                    <a:lnTo>
                      <a:pt x="1144" y="1337"/>
                    </a:lnTo>
                    <a:lnTo>
                      <a:pt x="1142" y="1335"/>
                    </a:lnTo>
                    <a:lnTo>
                      <a:pt x="1144" y="1335"/>
                    </a:lnTo>
                    <a:lnTo>
                      <a:pt x="1144" y="1333"/>
                    </a:lnTo>
                    <a:lnTo>
                      <a:pt x="1145" y="1333"/>
                    </a:lnTo>
                    <a:lnTo>
                      <a:pt x="1147" y="1333"/>
                    </a:lnTo>
                    <a:lnTo>
                      <a:pt x="1147" y="1335"/>
                    </a:lnTo>
                    <a:lnTo>
                      <a:pt x="1147" y="1333"/>
                    </a:lnTo>
                    <a:lnTo>
                      <a:pt x="1147" y="1332"/>
                    </a:lnTo>
                    <a:lnTo>
                      <a:pt x="1147" y="1333"/>
                    </a:lnTo>
                    <a:close/>
                    <a:moveTo>
                      <a:pt x="1193" y="1085"/>
                    </a:moveTo>
                    <a:lnTo>
                      <a:pt x="1195" y="1085"/>
                    </a:lnTo>
                    <a:lnTo>
                      <a:pt x="1196" y="1085"/>
                    </a:lnTo>
                    <a:lnTo>
                      <a:pt x="1195" y="1085"/>
                    </a:lnTo>
                    <a:lnTo>
                      <a:pt x="1196" y="1085"/>
                    </a:lnTo>
                    <a:lnTo>
                      <a:pt x="1198" y="1085"/>
                    </a:lnTo>
                    <a:lnTo>
                      <a:pt x="1200" y="1087"/>
                    </a:lnTo>
                    <a:lnTo>
                      <a:pt x="1202" y="1088"/>
                    </a:lnTo>
                    <a:lnTo>
                      <a:pt x="1200" y="1088"/>
                    </a:lnTo>
                    <a:lnTo>
                      <a:pt x="1202" y="1088"/>
                    </a:lnTo>
                    <a:lnTo>
                      <a:pt x="1202" y="1090"/>
                    </a:lnTo>
                    <a:lnTo>
                      <a:pt x="1200" y="1090"/>
                    </a:lnTo>
                    <a:lnTo>
                      <a:pt x="1198" y="1090"/>
                    </a:lnTo>
                    <a:lnTo>
                      <a:pt x="1196" y="1090"/>
                    </a:lnTo>
                    <a:lnTo>
                      <a:pt x="1196" y="1088"/>
                    </a:lnTo>
                    <a:lnTo>
                      <a:pt x="1198" y="1088"/>
                    </a:lnTo>
                    <a:lnTo>
                      <a:pt x="1196" y="1088"/>
                    </a:lnTo>
                    <a:lnTo>
                      <a:pt x="1196" y="1090"/>
                    </a:lnTo>
                    <a:lnTo>
                      <a:pt x="1196" y="1092"/>
                    </a:lnTo>
                    <a:lnTo>
                      <a:pt x="1195" y="1092"/>
                    </a:lnTo>
                    <a:lnTo>
                      <a:pt x="1195" y="1094"/>
                    </a:lnTo>
                    <a:lnTo>
                      <a:pt x="1193" y="1094"/>
                    </a:lnTo>
                    <a:lnTo>
                      <a:pt x="1191" y="1094"/>
                    </a:lnTo>
                    <a:lnTo>
                      <a:pt x="1190" y="1094"/>
                    </a:lnTo>
                    <a:lnTo>
                      <a:pt x="1190" y="1095"/>
                    </a:lnTo>
                    <a:lnTo>
                      <a:pt x="1188" y="1095"/>
                    </a:lnTo>
                    <a:lnTo>
                      <a:pt x="1186" y="1095"/>
                    </a:lnTo>
                    <a:lnTo>
                      <a:pt x="1185" y="1094"/>
                    </a:lnTo>
                    <a:lnTo>
                      <a:pt x="1185" y="1092"/>
                    </a:lnTo>
                    <a:lnTo>
                      <a:pt x="1185" y="1090"/>
                    </a:lnTo>
                    <a:lnTo>
                      <a:pt x="1186" y="1090"/>
                    </a:lnTo>
                    <a:lnTo>
                      <a:pt x="1188" y="1090"/>
                    </a:lnTo>
                    <a:lnTo>
                      <a:pt x="1188" y="1092"/>
                    </a:lnTo>
                    <a:lnTo>
                      <a:pt x="1190" y="1090"/>
                    </a:lnTo>
                    <a:lnTo>
                      <a:pt x="1188" y="1092"/>
                    </a:lnTo>
                    <a:lnTo>
                      <a:pt x="1190" y="1092"/>
                    </a:lnTo>
                    <a:lnTo>
                      <a:pt x="1191" y="1092"/>
                    </a:lnTo>
                    <a:lnTo>
                      <a:pt x="1193" y="1092"/>
                    </a:lnTo>
                    <a:lnTo>
                      <a:pt x="1191" y="1092"/>
                    </a:lnTo>
                    <a:lnTo>
                      <a:pt x="1190" y="1092"/>
                    </a:lnTo>
                    <a:lnTo>
                      <a:pt x="1190" y="1090"/>
                    </a:lnTo>
                    <a:lnTo>
                      <a:pt x="1188" y="1090"/>
                    </a:lnTo>
                    <a:lnTo>
                      <a:pt x="1186" y="1090"/>
                    </a:lnTo>
                    <a:lnTo>
                      <a:pt x="1185" y="1090"/>
                    </a:lnTo>
                    <a:lnTo>
                      <a:pt x="1183" y="1090"/>
                    </a:lnTo>
                    <a:lnTo>
                      <a:pt x="1183" y="1088"/>
                    </a:lnTo>
                    <a:lnTo>
                      <a:pt x="1183" y="1087"/>
                    </a:lnTo>
                    <a:lnTo>
                      <a:pt x="1185" y="1087"/>
                    </a:lnTo>
                    <a:lnTo>
                      <a:pt x="1186" y="1087"/>
                    </a:lnTo>
                    <a:lnTo>
                      <a:pt x="1186" y="1085"/>
                    </a:lnTo>
                    <a:lnTo>
                      <a:pt x="1188" y="1085"/>
                    </a:lnTo>
                    <a:lnTo>
                      <a:pt x="1190" y="1085"/>
                    </a:lnTo>
                    <a:lnTo>
                      <a:pt x="1191" y="1085"/>
                    </a:lnTo>
                    <a:lnTo>
                      <a:pt x="1193" y="1085"/>
                    </a:lnTo>
                    <a:close/>
                    <a:moveTo>
                      <a:pt x="1176" y="1418"/>
                    </a:moveTo>
                    <a:lnTo>
                      <a:pt x="1178" y="1418"/>
                    </a:lnTo>
                    <a:lnTo>
                      <a:pt x="1178" y="1420"/>
                    </a:lnTo>
                    <a:lnTo>
                      <a:pt x="1179" y="1422"/>
                    </a:lnTo>
                    <a:lnTo>
                      <a:pt x="1179" y="1424"/>
                    </a:lnTo>
                    <a:lnTo>
                      <a:pt x="1178" y="1424"/>
                    </a:lnTo>
                    <a:lnTo>
                      <a:pt x="1178" y="1422"/>
                    </a:lnTo>
                    <a:lnTo>
                      <a:pt x="1179" y="1422"/>
                    </a:lnTo>
                    <a:lnTo>
                      <a:pt x="1178" y="1420"/>
                    </a:lnTo>
                    <a:lnTo>
                      <a:pt x="1178" y="1422"/>
                    </a:lnTo>
                    <a:lnTo>
                      <a:pt x="1178" y="1424"/>
                    </a:lnTo>
                    <a:lnTo>
                      <a:pt x="1178" y="1425"/>
                    </a:lnTo>
                    <a:lnTo>
                      <a:pt x="1178" y="1424"/>
                    </a:lnTo>
                    <a:lnTo>
                      <a:pt x="1176" y="1422"/>
                    </a:lnTo>
                    <a:lnTo>
                      <a:pt x="1174" y="1422"/>
                    </a:lnTo>
                    <a:lnTo>
                      <a:pt x="1174" y="1420"/>
                    </a:lnTo>
                    <a:lnTo>
                      <a:pt x="1174" y="1422"/>
                    </a:lnTo>
                    <a:lnTo>
                      <a:pt x="1176" y="1422"/>
                    </a:lnTo>
                    <a:lnTo>
                      <a:pt x="1176" y="1424"/>
                    </a:lnTo>
                    <a:lnTo>
                      <a:pt x="1178" y="1424"/>
                    </a:lnTo>
                    <a:lnTo>
                      <a:pt x="1176" y="1425"/>
                    </a:lnTo>
                    <a:lnTo>
                      <a:pt x="1178" y="1425"/>
                    </a:lnTo>
                    <a:lnTo>
                      <a:pt x="1178" y="1427"/>
                    </a:lnTo>
                    <a:lnTo>
                      <a:pt x="1178" y="1425"/>
                    </a:lnTo>
                    <a:lnTo>
                      <a:pt x="1178" y="1427"/>
                    </a:lnTo>
                    <a:lnTo>
                      <a:pt x="1178" y="1429"/>
                    </a:lnTo>
                    <a:lnTo>
                      <a:pt x="1176" y="1429"/>
                    </a:lnTo>
                    <a:lnTo>
                      <a:pt x="1176" y="1430"/>
                    </a:lnTo>
                    <a:lnTo>
                      <a:pt x="1176" y="1429"/>
                    </a:lnTo>
                    <a:lnTo>
                      <a:pt x="1174" y="1429"/>
                    </a:lnTo>
                    <a:lnTo>
                      <a:pt x="1176" y="1427"/>
                    </a:lnTo>
                    <a:lnTo>
                      <a:pt x="1174" y="1427"/>
                    </a:lnTo>
                    <a:lnTo>
                      <a:pt x="1174" y="1425"/>
                    </a:lnTo>
                    <a:lnTo>
                      <a:pt x="1174" y="1424"/>
                    </a:lnTo>
                    <a:lnTo>
                      <a:pt x="1173" y="1425"/>
                    </a:lnTo>
                    <a:lnTo>
                      <a:pt x="1173" y="1424"/>
                    </a:lnTo>
                    <a:lnTo>
                      <a:pt x="1171" y="1424"/>
                    </a:lnTo>
                    <a:lnTo>
                      <a:pt x="1173" y="1425"/>
                    </a:lnTo>
                    <a:lnTo>
                      <a:pt x="1173" y="1427"/>
                    </a:lnTo>
                    <a:lnTo>
                      <a:pt x="1171" y="1429"/>
                    </a:lnTo>
                    <a:lnTo>
                      <a:pt x="1171" y="1427"/>
                    </a:lnTo>
                    <a:lnTo>
                      <a:pt x="1171" y="1429"/>
                    </a:lnTo>
                    <a:lnTo>
                      <a:pt x="1171" y="1430"/>
                    </a:lnTo>
                    <a:lnTo>
                      <a:pt x="1171" y="1429"/>
                    </a:lnTo>
                    <a:lnTo>
                      <a:pt x="1169" y="1429"/>
                    </a:lnTo>
                    <a:lnTo>
                      <a:pt x="1169" y="1430"/>
                    </a:lnTo>
                    <a:lnTo>
                      <a:pt x="1171" y="1430"/>
                    </a:lnTo>
                    <a:lnTo>
                      <a:pt x="1169" y="1432"/>
                    </a:lnTo>
                    <a:lnTo>
                      <a:pt x="1168" y="1432"/>
                    </a:lnTo>
                    <a:lnTo>
                      <a:pt x="1168" y="1430"/>
                    </a:lnTo>
                    <a:lnTo>
                      <a:pt x="1168" y="1432"/>
                    </a:lnTo>
                    <a:lnTo>
                      <a:pt x="1166" y="1432"/>
                    </a:lnTo>
                    <a:lnTo>
                      <a:pt x="1168" y="1432"/>
                    </a:lnTo>
                    <a:lnTo>
                      <a:pt x="1166" y="1432"/>
                    </a:lnTo>
                    <a:lnTo>
                      <a:pt x="1166" y="1430"/>
                    </a:lnTo>
                    <a:lnTo>
                      <a:pt x="1166" y="1432"/>
                    </a:lnTo>
                    <a:lnTo>
                      <a:pt x="1164" y="1432"/>
                    </a:lnTo>
                    <a:lnTo>
                      <a:pt x="1164" y="1430"/>
                    </a:lnTo>
                    <a:lnTo>
                      <a:pt x="1164" y="1432"/>
                    </a:lnTo>
                    <a:lnTo>
                      <a:pt x="1164" y="1434"/>
                    </a:lnTo>
                    <a:lnTo>
                      <a:pt x="1162" y="1434"/>
                    </a:lnTo>
                    <a:lnTo>
                      <a:pt x="1161" y="1434"/>
                    </a:lnTo>
                    <a:lnTo>
                      <a:pt x="1162" y="1432"/>
                    </a:lnTo>
                    <a:lnTo>
                      <a:pt x="1161" y="1432"/>
                    </a:lnTo>
                    <a:lnTo>
                      <a:pt x="1162" y="1432"/>
                    </a:lnTo>
                    <a:lnTo>
                      <a:pt x="1161" y="1430"/>
                    </a:lnTo>
                    <a:lnTo>
                      <a:pt x="1162" y="1430"/>
                    </a:lnTo>
                    <a:lnTo>
                      <a:pt x="1164" y="1430"/>
                    </a:lnTo>
                    <a:lnTo>
                      <a:pt x="1164" y="1429"/>
                    </a:lnTo>
                    <a:lnTo>
                      <a:pt x="1166" y="1429"/>
                    </a:lnTo>
                    <a:lnTo>
                      <a:pt x="1168" y="1427"/>
                    </a:lnTo>
                    <a:lnTo>
                      <a:pt x="1169" y="1425"/>
                    </a:lnTo>
                    <a:lnTo>
                      <a:pt x="1168" y="1425"/>
                    </a:lnTo>
                    <a:lnTo>
                      <a:pt x="1168" y="1427"/>
                    </a:lnTo>
                    <a:lnTo>
                      <a:pt x="1168" y="1425"/>
                    </a:lnTo>
                    <a:lnTo>
                      <a:pt x="1168" y="1427"/>
                    </a:lnTo>
                    <a:lnTo>
                      <a:pt x="1166" y="1427"/>
                    </a:lnTo>
                    <a:lnTo>
                      <a:pt x="1164" y="1429"/>
                    </a:lnTo>
                    <a:lnTo>
                      <a:pt x="1164" y="1427"/>
                    </a:lnTo>
                    <a:lnTo>
                      <a:pt x="1162" y="1425"/>
                    </a:lnTo>
                    <a:lnTo>
                      <a:pt x="1164" y="1425"/>
                    </a:lnTo>
                    <a:lnTo>
                      <a:pt x="1164" y="1424"/>
                    </a:lnTo>
                    <a:lnTo>
                      <a:pt x="1166" y="1424"/>
                    </a:lnTo>
                    <a:lnTo>
                      <a:pt x="1166" y="1422"/>
                    </a:lnTo>
                    <a:lnTo>
                      <a:pt x="1168" y="1422"/>
                    </a:lnTo>
                    <a:lnTo>
                      <a:pt x="1168" y="1424"/>
                    </a:lnTo>
                    <a:lnTo>
                      <a:pt x="1168" y="1422"/>
                    </a:lnTo>
                    <a:lnTo>
                      <a:pt x="1168" y="1424"/>
                    </a:lnTo>
                    <a:lnTo>
                      <a:pt x="1168" y="1422"/>
                    </a:lnTo>
                    <a:lnTo>
                      <a:pt x="1169" y="1424"/>
                    </a:lnTo>
                    <a:lnTo>
                      <a:pt x="1169" y="1422"/>
                    </a:lnTo>
                    <a:lnTo>
                      <a:pt x="1168" y="1422"/>
                    </a:lnTo>
                    <a:lnTo>
                      <a:pt x="1168" y="1420"/>
                    </a:lnTo>
                    <a:lnTo>
                      <a:pt x="1169" y="1420"/>
                    </a:lnTo>
                    <a:lnTo>
                      <a:pt x="1171" y="1420"/>
                    </a:lnTo>
                    <a:lnTo>
                      <a:pt x="1169" y="1420"/>
                    </a:lnTo>
                    <a:lnTo>
                      <a:pt x="1169" y="1418"/>
                    </a:lnTo>
                    <a:lnTo>
                      <a:pt x="1171" y="1418"/>
                    </a:lnTo>
                    <a:lnTo>
                      <a:pt x="1171" y="1420"/>
                    </a:lnTo>
                    <a:lnTo>
                      <a:pt x="1171" y="1418"/>
                    </a:lnTo>
                    <a:lnTo>
                      <a:pt x="1173" y="1418"/>
                    </a:lnTo>
                    <a:lnTo>
                      <a:pt x="1174" y="1418"/>
                    </a:lnTo>
                    <a:lnTo>
                      <a:pt x="1176" y="1418"/>
                    </a:lnTo>
                    <a:close/>
                    <a:moveTo>
                      <a:pt x="1151" y="1379"/>
                    </a:moveTo>
                    <a:lnTo>
                      <a:pt x="1151" y="1381"/>
                    </a:lnTo>
                    <a:lnTo>
                      <a:pt x="1151" y="1379"/>
                    </a:lnTo>
                    <a:lnTo>
                      <a:pt x="1152" y="1379"/>
                    </a:lnTo>
                    <a:lnTo>
                      <a:pt x="1154" y="1379"/>
                    </a:lnTo>
                    <a:lnTo>
                      <a:pt x="1152" y="1381"/>
                    </a:lnTo>
                    <a:lnTo>
                      <a:pt x="1152" y="1383"/>
                    </a:lnTo>
                    <a:lnTo>
                      <a:pt x="1152" y="1381"/>
                    </a:lnTo>
                    <a:lnTo>
                      <a:pt x="1154" y="1381"/>
                    </a:lnTo>
                    <a:lnTo>
                      <a:pt x="1156" y="1381"/>
                    </a:lnTo>
                    <a:lnTo>
                      <a:pt x="1157" y="1381"/>
                    </a:lnTo>
                    <a:lnTo>
                      <a:pt x="1159" y="1381"/>
                    </a:lnTo>
                    <a:lnTo>
                      <a:pt x="1161" y="1381"/>
                    </a:lnTo>
                    <a:lnTo>
                      <a:pt x="1161" y="1383"/>
                    </a:lnTo>
                    <a:lnTo>
                      <a:pt x="1159" y="1383"/>
                    </a:lnTo>
                    <a:lnTo>
                      <a:pt x="1157" y="1384"/>
                    </a:lnTo>
                    <a:lnTo>
                      <a:pt x="1157" y="1383"/>
                    </a:lnTo>
                    <a:lnTo>
                      <a:pt x="1157" y="1384"/>
                    </a:lnTo>
                    <a:lnTo>
                      <a:pt x="1156" y="1384"/>
                    </a:lnTo>
                    <a:lnTo>
                      <a:pt x="1157" y="1386"/>
                    </a:lnTo>
                    <a:lnTo>
                      <a:pt x="1156" y="1386"/>
                    </a:lnTo>
                    <a:lnTo>
                      <a:pt x="1156" y="1388"/>
                    </a:lnTo>
                    <a:lnTo>
                      <a:pt x="1156" y="1386"/>
                    </a:lnTo>
                    <a:lnTo>
                      <a:pt x="1154" y="1386"/>
                    </a:lnTo>
                    <a:lnTo>
                      <a:pt x="1152" y="1384"/>
                    </a:lnTo>
                    <a:lnTo>
                      <a:pt x="1154" y="1383"/>
                    </a:lnTo>
                    <a:lnTo>
                      <a:pt x="1152" y="1384"/>
                    </a:lnTo>
                    <a:lnTo>
                      <a:pt x="1152" y="1386"/>
                    </a:lnTo>
                    <a:lnTo>
                      <a:pt x="1154" y="1388"/>
                    </a:lnTo>
                    <a:lnTo>
                      <a:pt x="1156" y="1388"/>
                    </a:lnTo>
                    <a:lnTo>
                      <a:pt x="1154" y="1390"/>
                    </a:lnTo>
                    <a:lnTo>
                      <a:pt x="1152" y="1390"/>
                    </a:lnTo>
                    <a:lnTo>
                      <a:pt x="1152" y="1388"/>
                    </a:lnTo>
                    <a:lnTo>
                      <a:pt x="1152" y="1390"/>
                    </a:lnTo>
                    <a:lnTo>
                      <a:pt x="1154" y="1390"/>
                    </a:lnTo>
                    <a:lnTo>
                      <a:pt x="1156" y="1390"/>
                    </a:lnTo>
                    <a:lnTo>
                      <a:pt x="1154" y="1391"/>
                    </a:lnTo>
                    <a:lnTo>
                      <a:pt x="1152" y="1391"/>
                    </a:lnTo>
                    <a:lnTo>
                      <a:pt x="1154" y="1391"/>
                    </a:lnTo>
                    <a:lnTo>
                      <a:pt x="1154" y="1393"/>
                    </a:lnTo>
                    <a:lnTo>
                      <a:pt x="1152" y="1393"/>
                    </a:lnTo>
                    <a:lnTo>
                      <a:pt x="1154" y="1393"/>
                    </a:lnTo>
                    <a:lnTo>
                      <a:pt x="1154" y="1395"/>
                    </a:lnTo>
                    <a:lnTo>
                      <a:pt x="1154" y="1396"/>
                    </a:lnTo>
                    <a:lnTo>
                      <a:pt x="1152" y="1398"/>
                    </a:lnTo>
                    <a:lnTo>
                      <a:pt x="1152" y="1396"/>
                    </a:lnTo>
                    <a:lnTo>
                      <a:pt x="1152" y="1398"/>
                    </a:lnTo>
                    <a:lnTo>
                      <a:pt x="1152" y="1396"/>
                    </a:lnTo>
                    <a:lnTo>
                      <a:pt x="1152" y="1395"/>
                    </a:lnTo>
                    <a:lnTo>
                      <a:pt x="1152" y="1396"/>
                    </a:lnTo>
                    <a:lnTo>
                      <a:pt x="1151" y="1396"/>
                    </a:lnTo>
                    <a:lnTo>
                      <a:pt x="1149" y="1396"/>
                    </a:lnTo>
                    <a:lnTo>
                      <a:pt x="1149" y="1395"/>
                    </a:lnTo>
                    <a:lnTo>
                      <a:pt x="1147" y="1395"/>
                    </a:lnTo>
                    <a:lnTo>
                      <a:pt x="1149" y="1395"/>
                    </a:lnTo>
                    <a:lnTo>
                      <a:pt x="1147" y="1395"/>
                    </a:lnTo>
                    <a:lnTo>
                      <a:pt x="1149" y="1393"/>
                    </a:lnTo>
                    <a:lnTo>
                      <a:pt x="1147" y="1393"/>
                    </a:lnTo>
                    <a:lnTo>
                      <a:pt x="1147" y="1391"/>
                    </a:lnTo>
                    <a:lnTo>
                      <a:pt x="1149" y="1391"/>
                    </a:lnTo>
                    <a:lnTo>
                      <a:pt x="1151" y="1391"/>
                    </a:lnTo>
                    <a:lnTo>
                      <a:pt x="1149" y="1391"/>
                    </a:lnTo>
                    <a:lnTo>
                      <a:pt x="1149" y="1390"/>
                    </a:lnTo>
                    <a:lnTo>
                      <a:pt x="1147" y="1391"/>
                    </a:lnTo>
                    <a:lnTo>
                      <a:pt x="1147" y="1390"/>
                    </a:lnTo>
                    <a:lnTo>
                      <a:pt x="1145" y="1390"/>
                    </a:lnTo>
                    <a:lnTo>
                      <a:pt x="1147" y="1388"/>
                    </a:lnTo>
                    <a:lnTo>
                      <a:pt x="1147" y="1390"/>
                    </a:lnTo>
                    <a:lnTo>
                      <a:pt x="1149" y="1390"/>
                    </a:lnTo>
                    <a:lnTo>
                      <a:pt x="1147" y="1388"/>
                    </a:lnTo>
                    <a:lnTo>
                      <a:pt x="1147" y="1386"/>
                    </a:lnTo>
                    <a:lnTo>
                      <a:pt x="1149" y="1386"/>
                    </a:lnTo>
                    <a:lnTo>
                      <a:pt x="1147" y="1386"/>
                    </a:lnTo>
                    <a:lnTo>
                      <a:pt x="1149" y="1386"/>
                    </a:lnTo>
                    <a:lnTo>
                      <a:pt x="1151" y="1388"/>
                    </a:lnTo>
                    <a:lnTo>
                      <a:pt x="1151" y="1386"/>
                    </a:lnTo>
                    <a:lnTo>
                      <a:pt x="1149" y="1386"/>
                    </a:lnTo>
                    <a:lnTo>
                      <a:pt x="1151" y="1386"/>
                    </a:lnTo>
                    <a:lnTo>
                      <a:pt x="1151" y="1384"/>
                    </a:lnTo>
                    <a:lnTo>
                      <a:pt x="1149" y="1386"/>
                    </a:lnTo>
                    <a:lnTo>
                      <a:pt x="1149" y="1384"/>
                    </a:lnTo>
                    <a:lnTo>
                      <a:pt x="1147" y="1383"/>
                    </a:lnTo>
                    <a:lnTo>
                      <a:pt x="1147" y="1381"/>
                    </a:lnTo>
                    <a:lnTo>
                      <a:pt x="1147" y="1379"/>
                    </a:lnTo>
                    <a:lnTo>
                      <a:pt x="1149" y="1381"/>
                    </a:lnTo>
                    <a:lnTo>
                      <a:pt x="1149" y="1379"/>
                    </a:lnTo>
                    <a:lnTo>
                      <a:pt x="1147" y="1379"/>
                    </a:lnTo>
                    <a:lnTo>
                      <a:pt x="1149" y="1379"/>
                    </a:lnTo>
                    <a:lnTo>
                      <a:pt x="1151" y="1379"/>
                    </a:lnTo>
                    <a:close/>
                    <a:moveTo>
                      <a:pt x="1147" y="1293"/>
                    </a:moveTo>
                    <a:lnTo>
                      <a:pt x="1149" y="1293"/>
                    </a:lnTo>
                    <a:lnTo>
                      <a:pt x="1147" y="1294"/>
                    </a:lnTo>
                    <a:lnTo>
                      <a:pt x="1147" y="1296"/>
                    </a:lnTo>
                    <a:lnTo>
                      <a:pt x="1145" y="1296"/>
                    </a:lnTo>
                    <a:lnTo>
                      <a:pt x="1147" y="1296"/>
                    </a:lnTo>
                    <a:lnTo>
                      <a:pt x="1147" y="1294"/>
                    </a:lnTo>
                    <a:lnTo>
                      <a:pt x="1149" y="1294"/>
                    </a:lnTo>
                    <a:lnTo>
                      <a:pt x="1149" y="1293"/>
                    </a:lnTo>
                    <a:lnTo>
                      <a:pt x="1151" y="1293"/>
                    </a:lnTo>
                    <a:lnTo>
                      <a:pt x="1151" y="1294"/>
                    </a:lnTo>
                    <a:lnTo>
                      <a:pt x="1149" y="1294"/>
                    </a:lnTo>
                    <a:lnTo>
                      <a:pt x="1149" y="1296"/>
                    </a:lnTo>
                    <a:lnTo>
                      <a:pt x="1151" y="1294"/>
                    </a:lnTo>
                    <a:lnTo>
                      <a:pt x="1151" y="1296"/>
                    </a:lnTo>
                    <a:lnTo>
                      <a:pt x="1152" y="1296"/>
                    </a:lnTo>
                    <a:lnTo>
                      <a:pt x="1152" y="1298"/>
                    </a:lnTo>
                    <a:lnTo>
                      <a:pt x="1152" y="1296"/>
                    </a:lnTo>
                    <a:lnTo>
                      <a:pt x="1152" y="1294"/>
                    </a:lnTo>
                    <a:lnTo>
                      <a:pt x="1151" y="1294"/>
                    </a:lnTo>
                    <a:lnTo>
                      <a:pt x="1152" y="1293"/>
                    </a:lnTo>
                    <a:lnTo>
                      <a:pt x="1151" y="1294"/>
                    </a:lnTo>
                    <a:lnTo>
                      <a:pt x="1152" y="1293"/>
                    </a:lnTo>
                    <a:lnTo>
                      <a:pt x="1154" y="1294"/>
                    </a:lnTo>
                    <a:lnTo>
                      <a:pt x="1156" y="1294"/>
                    </a:lnTo>
                    <a:lnTo>
                      <a:pt x="1156" y="1296"/>
                    </a:lnTo>
                    <a:lnTo>
                      <a:pt x="1156" y="1298"/>
                    </a:lnTo>
                    <a:lnTo>
                      <a:pt x="1156" y="1299"/>
                    </a:lnTo>
                    <a:lnTo>
                      <a:pt x="1156" y="1301"/>
                    </a:lnTo>
                    <a:lnTo>
                      <a:pt x="1157" y="1301"/>
                    </a:lnTo>
                    <a:lnTo>
                      <a:pt x="1157" y="1303"/>
                    </a:lnTo>
                    <a:lnTo>
                      <a:pt x="1157" y="1305"/>
                    </a:lnTo>
                    <a:lnTo>
                      <a:pt x="1156" y="1305"/>
                    </a:lnTo>
                    <a:lnTo>
                      <a:pt x="1156" y="1306"/>
                    </a:lnTo>
                    <a:lnTo>
                      <a:pt x="1156" y="1305"/>
                    </a:lnTo>
                    <a:lnTo>
                      <a:pt x="1154" y="1306"/>
                    </a:lnTo>
                    <a:lnTo>
                      <a:pt x="1154" y="1305"/>
                    </a:lnTo>
                    <a:lnTo>
                      <a:pt x="1154" y="1303"/>
                    </a:lnTo>
                    <a:lnTo>
                      <a:pt x="1154" y="1301"/>
                    </a:lnTo>
                    <a:lnTo>
                      <a:pt x="1154" y="1299"/>
                    </a:lnTo>
                    <a:lnTo>
                      <a:pt x="1154" y="1298"/>
                    </a:lnTo>
                    <a:lnTo>
                      <a:pt x="1152" y="1299"/>
                    </a:lnTo>
                    <a:lnTo>
                      <a:pt x="1151" y="1299"/>
                    </a:lnTo>
                    <a:lnTo>
                      <a:pt x="1152" y="1298"/>
                    </a:lnTo>
                    <a:lnTo>
                      <a:pt x="1151" y="1299"/>
                    </a:lnTo>
                    <a:lnTo>
                      <a:pt x="1151" y="1301"/>
                    </a:lnTo>
                    <a:lnTo>
                      <a:pt x="1149" y="1301"/>
                    </a:lnTo>
                    <a:lnTo>
                      <a:pt x="1149" y="1303"/>
                    </a:lnTo>
                    <a:lnTo>
                      <a:pt x="1147" y="1305"/>
                    </a:lnTo>
                    <a:lnTo>
                      <a:pt x="1145" y="1303"/>
                    </a:lnTo>
                    <a:lnTo>
                      <a:pt x="1144" y="1301"/>
                    </a:lnTo>
                    <a:lnTo>
                      <a:pt x="1145" y="1301"/>
                    </a:lnTo>
                    <a:lnTo>
                      <a:pt x="1147" y="1299"/>
                    </a:lnTo>
                    <a:lnTo>
                      <a:pt x="1147" y="1301"/>
                    </a:lnTo>
                    <a:lnTo>
                      <a:pt x="1147" y="1299"/>
                    </a:lnTo>
                    <a:lnTo>
                      <a:pt x="1149" y="1299"/>
                    </a:lnTo>
                    <a:lnTo>
                      <a:pt x="1147" y="1299"/>
                    </a:lnTo>
                    <a:lnTo>
                      <a:pt x="1147" y="1298"/>
                    </a:lnTo>
                    <a:lnTo>
                      <a:pt x="1147" y="1299"/>
                    </a:lnTo>
                    <a:lnTo>
                      <a:pt x="1145" y="1299"/>
                    </a:lnTo>
                    <a:lnTo>
                      <a:pt x="1145" y="1301"/>
                    </a:lnTo>
                    <a:lnTo>
                      <a:pt x="1144" y="1299"/>
                    </a:lnTo>
                    <a:lnTo>
                      <a:pt x="1142" y="1299"/>
                    </a:lnTo>
                    <a:lnTo>
                      <a:pt x="1142" y="1298"/>
                    </a:lnTo>
                    <a:lnTo>
                      <a:pt x="1142" y="1299"/>
                    </a:lnTo>
                    <a:lnTo>
                      <a:pt x="1142" y="1298"/>
                    </a:lnTo>
                    <a:lnTo>
                      <a:pt x="1142" y="1296"/>
                    </a:lnTo>
                    <a:lnTo>
                      <a:pt x="1142" y="1294"/>
                    </a:lnTo>
                    <a:lnTo>
                      <a:pt x="1144" y="1293"/>
                    </a:lnTo>
                    <a:lnTo>
                      <a:pt x="1145" y="1294"/>
                    </a:lnTo>
                    <a:lnTo>
                      <a:pt x="1144" y="1293"/>
                    </a:lnTo>
                    <a:lnTo>
                      <a:pt x="1145" y="1293"/>
                    </a:lnTo>
                    <a:lnTo>
                      <a:pt x="1144" y="1293"/>
                    </a:lnTo>
                    <a:lnTo>
                      <a:pt x="1145" y="1293"/>
                    </a:lnTo>
                    <a:lnTo>
                      <a:pt x="1145" y="1291"/>
                    </a:lnTo>
                    <a:lnTo>
                      <a:pt x="1147" y="1293"/>
                    </a:lnTo>
                    <a:close/>
                    <a:moveTo>
                      <a:pt x="1168" y="1442"/>
                    </a:moveTo>
                    <a:lnTo>
                      <a:pt x="1169" y="1442"/>
                    </a:lnTo>
                    <a:lnTo>
                      <a:pt x="1171" y="1442"/>
                    </a:lnTo>
                    <a:lnTo>
                      <a:pt x="1171" y="1444"/>
                    </a:lnTo>
                    <a:lnTo>
                      <a:pt x="1169" y="1444"/>
                    </a:lnTo>
                    <a:lnTo>
                      <a:pt x="1171" y="1444"/>
                    </a:lnTo>
                    <a:lnTo>
                      <a:pt x="1169" y="1446"/>
                    </a:lnTo>
                    <a:lnTo>
                      <a:pt x="1171" y="1446"/>
                    </a:lnTo>
                    <a:lnTo>
                      <a:pt x="1171" y="1447"/>
                    </a:lnTo>
                    <a:lnTo>
                      <a:pt x="1169" y="1447"/>
                    </a:lnTo>
                    <a:lnTo>
                      <a:pt x="1169" y="1449"/>
                    </a:lnTo>
                    <a:lnTo>
                      <a:pt x="1169" y="1447"/>
                    </a:lnTo>
                    <a:lnTo>
                      <a:pt x="1171" y="1447"/>
                    </a:lnTo>
                    <a:lnTo>
                      <a:pt x="1171" y="1449"/>
                    </a:lnTo>
                    <a:lnTo>
                      <a:pt x="1171" y="1451"/>
                    </a:lnTo>
                    <a:lnTo>
                      <a:pt x="1169" y="1451"/>
                    </a:lnTo>
                    <a:lnTo>
                      <a:pt x="1171" y="1451"/>
                    </a:lnTo>
                    <a:lnTo>
                      <a:pt x="1171" y="1453"/>
                    </a:lnTo>
                    <a:lnTo>
                      <a:pt x="1171" y="1454"/>
                    </a:lnTo>
                    <a:lnTo>
                      <a:pt x="1169" y="1454"/>
                    </a:lnTo>
                    <a:lnTo>
                      <a:pt x="1169" y="1456"/>
                    </a:lnTo>
                    <a:lnTo>
                      <a:pt x="1169" y="1458"/>
                    </a:lnTo>
                    <a:lnTo>
                      <a:pt x="1169" y="1459"/>
                    </a:lnTo>
                    <a:lnTo>
                      <a:pt x="1168" y="1459"/>
                    </a:lnTo>
                    <a:lnTo>
                      <a:pt x="1169" y="1459"/>
                    </a:lnTo>
                    <a:lnTo>
                      <a:pt x="1169" y="1461"/>
                    </a:lnTo>
                    <a:lnTo>
                      <a:pt x="1168" y="1461"/>
                    </a:lnTo>
                    <a:lnTo>
                      <a:pt x="1169" y="1461"/>
                    </a:lnTo>
                    <a:lnTo>
                      <a:pt x="1168" y="1461"/>
                    </a:lnTo>
                    <a:lnTo>
                      <a:pt x="1168" y="1463"/>
                    </a:lnTo>
                    <a:lnTo>
                      <a:pt x="1166" y="1463"/>
                    </a:lnTo>
                    <a:lnTo>
                      <a:pt x="1168" y="1463"/>
                    </a:lnTo>
                    <a:lnTo>
                      <a:pt x="1168" y="1464"/>
                    </a:lnTo>
                    <a:lnTo>
                      <a:pt x="1166" y="1464"/>
                    </a:lnTo>
                    <a:lnTo>
                      <a:pt x="1168" y="1466"/>
                    </a:lnTo>
                    <a:lnTo>
                      <a:pt x="1166" y="1468"/>
                    </a:lnTo>
                    <a:lnTo>
                      <a:pt x="1164" y="1468"/>
                    </a:lnTo>
                    <a:lnTo>
                      <a:pt x="1166" y="1470"/>
                    </a:lnTo>
                    <a:lnTo>
                      <a:pt x="1166" y="1468"/>
                    </a:lnTo>
                    <a:lnTo>
                      <a:pt x="1166" y="1470"/>
                    </a:lnTo>
                    <a:lnTo>
                      <a:pt x="1164" y="1470"/>
                    </a:lnTo>
                    <a:lnTo>
                      <a:pt x="1164" y="1468"/>
                    </a:lnTo>
                    <a:lnTo>
                      <a:pt x="1166" y="1466"/>
                    </a:lnTo>
                    <a:lnTo>
                      <a:pt x="1164" y="1468"/>
                    </a:lnTo>
                    <a:lnTo>
                      <a:pt x="1164" y="1470"/>
                    </a:lnTo>
                    <a:lnTo>
                      <a:pt x="1162" y="1470"/>
                    </a:lnTo>
                    <a:lnTo>
                      <a:pt x="1162" y="1468"/>
                    </a:lnTo>
                    <a:lnTo>
                      <a:pt x="1164" y="1468"/>
                    </a:lnTo>
                    <a:lnTo>
                      <a:pt x="1164" y="1466"/>
                    </a:lnTo>
                    <a:lnTo>
                      <a:pt x="1164" y="1464"/>
                    </a:lnTo>
                    <a:lnTo>
                      <a:pt x="1164" y="1466"/>
                    </a:lnTo>
                    <a:lnTo>
                      <a:pt x="1162" y="1466"/>
                    </a:lnTo>
                    <a:lnTo>
                      <a:pt x="1164" y="1464"/>
                    </a:lnTo>
                    <a:lnTo>
                      <a:pt x="1162" y="1464"/>
                    </a:lnTo>
                    <a:lnTo>
                      <a:pt x="1162" y="1466"/>
                    </a:lnTo>
                    <a:lnTo>
                      <a:pt x="1162" y="1464"/>
                    </a:lnTo>
                    <a:lnTo>
                      <a:pt x="1161" y="1464"/>
                    </a:lnTo>
                    <a:lnTo>
                      <a:pt x="1161" y="1463"/>
                    </a:lnTo>
                    <a:lnTo>
                      <a:pt x="1161" y="1461"/>
                    </a:lnTo>
                    <a:lnTo>
                      <a:pt x="1162" y="1461"/>
                    </a:lnTo>
                    <a:lnTo>
                      <a:pt x="1164" y="1459"/>
                    </a:lnTo>
                    <a:lnTo>
                      <a:pt x="1162" y="1459"/>
                    </a:lnTo>
                    <a:lnTo>
                      <a:pt x="1162" y="1458"/>
                    </a:lnTo>
                    <a:lnTo>
                      <a:pt x="1162" y="1456"/>
                    </a:lnTo>
                    <a:lnTo>
                      <a:pt x="1164" y="1456"/>
                    </a:lnTo>
                    <a:lnTo>
                      <a:pt x="1164" y="1454"/>
                    </a:lnTo>
                    <a:lnTo>
                      <a:pt x="1164" y="1453"/>
                    </a:lnTo>
                    <a:lnTo>
                      <a:pt x="1164" y="1451"/>
                    </a:lnTo>
                    <a:lnTo>
                      <a:pt x="1166" y="1453"/>
                    </a:lnTo>
                    <a:lnTo>
                      <a:pt x="1164" y="1453"/>
                    </a:lnTo>
                    <a:lnTo>
                      <a:pt x="1166" y="1454"/>
                    </a:lnTo>
                    <a:lnTo>
                      <a:pt x="1166" y="1456"/>
                    </a:lnTo>
                    <a:lnTo>
                      <a:pt x="1166" y="1454"/>
                    </a:lnTo>
                    <a:lnTo>
                      <a:pt x="1166" y="1456"/>
                    </a:lnTo>
                    <a:lnTo>
                      <a:pt x="1164" y="1458"/>
                    </a:lnTo>
                    <a:lnTo>
                      <a:pt x="1166" y="1458"/>
                    </a:lnTo>
                    <a:lnTo>
                      <a:pt x="1166" y="1456"/>
                    </a:lnTo>
                    <a:lnTo>
                      <a:pt x="1166" y="1458"/>
                    </a:lnTo>
                    <a:lnTo>
                      <a:pt x="1166" y="1456"/>
                    </a:lnTo>
                    <a:lnTo>
                      <a:pt x="1168" y="1454"/>
                    </a:lnTo>
                    <a:lnTo>
                      <a:pt x="1168" y="1456"/>
                    </a:lnTo>
                    <a:lnTo>
                      <a:pt x="1168" y="1458"/>
                    </a:lnTo>
                    <a:lnTo>
                      <a:pt x="1168" y="1459"/>
                    </a:lnTo>
                    <a:lnTo>
                      <a:pt x="1168" y="1458"/>
                    </a:lnTo>
                    <a:lnTo>
                      <a:pt x="1168" y="1456"/>
                    </a:lnTo>
                    <a:lnTo>
                      <a:pt x="1168" y="1454"/>
                    </a:lnTo>
                    <a:lnTo>
                      <a:pt x="1169" y="1454"/>
                    </a:lnTo>
                    <a:lnTo>
                      <a:pt x="1169" y="1453"/>
                    </a:lnTo>
                    <a:lnTo>
                      <a:pt x="1168" y="1454"/>
                    </a:lnTo>
                    <a:lnTo>
                      <a:pt x="1168" y="1453"/>
                    </a:lnTo>
                    <a:lnTo>
                      <a:pt x="1168" y="1451"/>
                    </a:lnTo>
                    <a:lnTo>
                      <a:pt x="1168" y="1453"/>
                    </a:lnTo>
                    <a:lnTo>
                      <a:pt x="1168" y="1451"/>
                    </a:lnTo>
                    <a:lnTo>
                      <a:pt x="1166" y="1451"/>
                    </a:lnTo>
                    <a:lnTo>
                      <a:pt x="1168" y="1449"/>
                    </a:lnTo>
                    <a:lnTo>
                      <a:pt x="1169" y="1449"/>
                    </a:lnTo>
                    <a:lnTo>
                      <a:pt x="1168" y="1447"/>
                    </a:lnTo>
                    <a:lnTo>
                      <a:pt x="1166" y="1446"/>
                    </a:lnTo>
                    <a:lnTo>
                      <a:pt x="1166" y="1444"/>
                    </a:lnTo>
                    <a:lnTo>
                      <a:pt x="1168" y="1444"/>
                    </a:lnTo>
                    <a:lnTo>
                      <a:pt x="1166" y="1444"/>
                    </a:lnTo>
                    <a:lnTo>
                      <a:pt x="1164" y="1444"/>
                    </a:lnTo>
                    <a:lnTo>
                      <a:pt x="1166" y="1442"/>
                    </a:lnTo>
                    <a:lnTo>
                      <a:pt x="1168" y="1441"/>
                    </a:lnTo>
                    <a:lnTo>
                      <a:pt x="1168" y="1442"/>
                    </a:lnTo>
                    <a:close/>
                    <a:moveTo>
                      <a:pt x="1188" y="1468"/>
                    </a:moveTo>
                    <a:lnTo>
                      <a:pt x="1190" y="1468"/>
                    </a:lnTo>
                    <a:lnTo>
                      <a:pt x="1190" y="1470"/>
                    </a:lnTo>
                    <a:lnTo>
                      <a:pt x="1191" y="1470"/>
                    </a:lnTo>
                    <a:lnTo>
                      <a:pt x="1191" y="1471"/>
                    </a:lnTo>
                    <a:lnTo>
                      <a:pt x="1193" y="1471"/>
                    </a:lnTo>
                    <a:lnTo>
                      <a:pt x="1193" y="1473"/>
                    </a:lnTo>
                    <a:lnTo>
                      <a:pt x="1195" y="1473"/>
                    </a:lnTo>
                    <a:lnTo>
                      <a:pt x="1195" y="1475"/>
                    </a:lnTo>
                    <a:lnTo>
                      <a:pt x="1196" y="1476"/>
                    </a:lnTo>
                    <a:lnTo>
                      <a:pt x="1196" y="1478"/>
                    </a:lnTo>
                    <a:lnTo>
                      <a:pt x="1198" y="1480"/>
                    </a:lnTo>
                    <a:lnTo>
                      <a:pt x="1196" y="1478"/>
                    </a:lnTo>
                    <a:lnTo>
                      <a:pt x="1198" y="1478"/>
                    </a:lnTo>
                    <a:lnTo>
                      <a:pt x="1198" y="1480"/>
                    </a:lnTo>
                    <a:lnTo>
                      <a:pt x="1200" y="1480"/>
                    </a:lnTo>
                    <a:lnTo>
                      <a:pt x="1200" y="1481"/>
                    </a:lnTo>
                    <a:lnTo>
                      <a:pt x="1198" y="1481"/>
                    </a:lnTo>
                    <a:lnTo>
                      <a:pt x="1198" y="1480"/>
                    </a:lnTo>
                    <a:lnTo>
                      <a:pt x="1196" y="1480"/>
                    </a:lnTo>
                    <a:lnTo>
                      <a:pt x="1198" y="1481"/>
                    </a:lnTo>
                    <a:lnTo>
                      <a:pt x="1198" y="1483"/>
                    </a:lnTo>
                    <a:lnTo>
                      <a:pt x="1196" y="1483"/>
                    </a:lnTo>
                    <a:lnTo>
                      <a:pt x="1196" y="1481"/>
                    </a:lnTo>
                    <a:lnTo>
                      <a:pt x="1195" y="1481"/>
                    </a:lnTo>
                    <a:lnTo>
                      <a:pt x="1195" y="1480"/>
                    </a:lnTo>
                    <a:lnTo>
                      <a:pt x="1196" y="1481"/>
                    </a:lnTo>
                    <a:lnTo>
                      <a:pt x="1196" y="1483"/>
                    </a:lnTo>
                    <a:lnTo>
                      <a:pt x="1195" y="1481"/>
                    </a:lnTo>
                    <a:lnTo>
                      <a:pt x="1196" y="1483"/>
                    </a:lnTo>
                    <a:lnTo>
                      <a:pt x="1195" y="1485"/>
                    </a:lnTo>
                    <a:lnTo>
                      <a:pt x="1195" y="1483"/>
                    </a:lnTo>
                    <a:lnTo>
                      <a:pt x="1193" y="1485"/>
                    </a:lnTo>
                    <a:lnTo>
                      <a:pt x="1191" y="1485"/>
                    </a:lnTo>
                    <a:lnTo>
                      <a:pt x="1191" y="1483"/>
                    </a:lnTo>
                    <a:lnTo>
                      <a:pt x="1191" y="1485"/>
                    </a:lnTo>
                    <a:lnTo>
                      <a:pt x="1190" y="1485"/>
                    </a:lnTo>
                    <a:lnTo>
                      <a:pt x="1191" y="1483"/>
                    </a:lnTo>
                    <a:lnTo>
                      <a:pt x="1190" y="1481"/>
                    </a:lnTo>
                    <a:lnTo>
                      <a:pt x="1191" y="1481"/>
                    </a:lnTo>
                    <a:lnTo>
                      <a:pt x="1191" y="1480"/>
                    </a:lnTo>
                    <a:lnTo>
                      <a:pt x="1193" y="1480"/>
                    </a:lnTo>
                    <a:lnTo>
                      <a:pt x="1191" y="1480"/>
                    </a:lnTo>
                    <a:lnTo>
                      <a:pt x="1191" y="1481"/>
                    </a:lnTo>
                    <a:lnTo>
                      <a:pt x="1190" y="1481"/>
                    </a:lnTo>
                    <a:lnTo>
                      <a:pt x="1188" y="1481"/>
                    </a:lnTo>
                    <a:lnTo>
                      <a:pt x="1188" y="1483"/>
                    </a:lnTo>
                    <a:lnTo>
                      <a:pt x="1188" y="1481"/>
                    </a:lnTo>
                    <a:lnTo>
                      <a:pt x="1188" y="1480"/>
                    </a:lnTo>
                    <a:lnTo>
                      <a:pt x="1190" y="1480"/>
                    </a:lnTo>
                    <a:lnTo>
                      <a:pt x="1191" y="1480"/>
                    </a:lnTo>
                    <a:lnTo>
                      <a:pt x="1191" y="1478"/>
                    </a:lnTo>
                    <a:lnTo>
                      <a:pt x="1191" y="1480"/>
                    </a:lnTo>
                    <a:lnTo>
                      <a:pt x="1190" y="1478"/>
                    </a:lnTo>
                    <a:lnTo>
                      <a:pt x="1190" y="1476"/>
                    </a:lnTo>
                    <a:lnTo>
                      <a:pt x="1190" y="1475"/>
                    </a:lnTo>
                    <a:lnTo>
                      <a:pt x="1191" y="1475"/>
                    </a:lnTo>
                    <a:lnTo>
                      <a:pt x="1191" y="1476"/>
                    </a:lnTo>
                    <a:lnTo>
                      <a:pt x="1191" y="1475"/>
                    </a:lnTo>
                    <a:lnTo>
                      <a:pt x="1191" y="1473"/>
                    </a:lnTo>
                    <a:lnTo>
                      <a:pt x="1190" y="1475"/>
                    </a:lnTo>
                    <a:lnTo>
                      <a:pt x="1190" y="1473"/>
                    </a:lnTo>
                    <a:lnTo>
                      <a:pt x="1188" y="1473"/>
                    </a:lnTo>
                    <a:lnTo>
                      <a:pt x="1190" y="1473"/>
                    </a:lnTo>
                    <a:lnTo>
                      <a:pt x="1188" y="1473"/>
                    </a:lnTo>
                    <a:lnTo>
                      <a:pt x="1186" y="1473"/>
                    </a:lnTo>
                    <a:lnTo>
                      <a:pt x="1186" y="1475"/>
                    </a:lnTo>
                    <a:lnTo>
                      <a:pt x="1185" y="1473"/>
                    </a:lnTo>
                    <a:lnTo>
                      <a:pt x="1185" y="1471"/>
                    </a:lnTo>
                    <a:lnTo>
                      <a:pt x="1183" y="1473"/>
                    </a:lnTo>
                    <a:lnTo>
                      <a:pt x="1181" y="1473"/>
                    </a:lnTo>
                    <a:lnTo>
                      <a:pt x="1181" y="1471"/>
                    </a:lnTo>
                    <a:lnTo>
                      <a:pt x="1183" y="1470"/>
                    </a:lnTo>
                    <a:lnTo>
                      <a:pt x="1183" y="1471"/>
                    </a:lnTo>
                    <a:lnTo>
                      <a:pt x="1185" y="1471"/>
                    </a:lnTo>
                    <a:lnTo>
                      <a:pt x="1185" y="1473"/>
                    </a:lnTo>
                    <a:lnTo>
                      <a:pt x="1186" y="1473"/>
                    </a:lnTo>
                    <a:lnTo>
                      <a:pt x="1185" y="1473"/>
                    </a:lnTo>
                    <a:lnTo>
                      <a:pt x="1186" y="1473"/>
                    </a:lnTo>
                    <a:lnTo>
                      <a:pt x="1186" y="1471"/>
                    </a:lnTo>
                    <a:lnTo>
                      <a:pt x="1185" y="1471"/>
                    </a:lnTo>
                    <a:lnTo>
                      <a:pt x="1183" y="1471"/>
                    </a:lnTo>
                    <a:lnTo>
                      <a:pt x="1183" y="1470"/>
                    </a:lnTo>
                    <a:lnTo>
                      <a:pt x="1185" y="1470"/>
                    </a:lnTo>
                    <a:lnTo>
                      <a:pt x="1185" y="1468"/>
                    </a:lnTo>
                    <a:lnTo>
                      <a:pt x="1186" y="1468"/>
                    </a:lnTo>
                    <a:lnTo>
                      <a:pt x="1188" y="1468"/>
                    </a:lnTo>
                    <a:close/>
                    <a:moveTo>
                      <a:pt x="1195" y="1437"/>
                    </a:moveTo>
                    <a:lnTo>
                      <a:pt x="1195" y="1439"/>
                    </a:lnTo>
                    <a:lnTo>
                      <a:pt x="1193" y="1437"/>
                    </a:lnTo>
                    <a:lnTo>
                      <a:pt x="1195" y="1439"/>
                    </a:lnTo>
                    <a:lnTo>
                      <a:pt x="1195" y="1441"/>
                    </a:lnTo>
                    <a:lnTo>
                      <a:pt x="1196" y="1441"/>
                    </a:lnTo>
                    <a:lnTo>
                      <a:pt x="1195" y="1442"/>
                    </a:lnTo>
                    <a:lnTo>
                      <a:pt x="1196" y="1442"/>
                    </a:lnTo>
                    <a:lnTo>
                      <a:pt x="1196" y="1444"/>
                    </a:lnTo>
                    <a:lnTo>
                      <a:pt x="1196" y="1446"/>
                    </a:lnTo>
                    <a:lnTo>
                      <a:pt x="1195" y="1446"/>
                    </a:lnTo>
                    <a:lnTo>
                      <a:pt x="1196" y="1447"/>
                    </a:lnTo>
                    <a:lnTo>
                      <a:pt x="1198" y="1447"/>
                    </a:lnTo>
                    <a:lnTo>
                      <a:pt x="1198" y="1446"/>
                    </a:lnTo>
                    <a:lnTo>
                      <a:pt x="1198" y="1447"/>
                    </a:lnTo>
                    <a:lnTo>
                      <a:pt x="1198" y="1449"/>
                    </a:lnTo>
                    <a:lnTo>
                      <a:pt x="1200" y="1449"/>
                    </a:lnTo>
                    <a:lnTo>
                      <a:pt x="1198" y="1451"/>
                    </a:lnTo>
                    <a:lnTo>
                      <a:pt x="1200" y="1451"/>
                    </a:lnTo>
                    <a:lnTo>
                      <a:pt x="1202" y="1453"/>
                    </a:lnTo>
                    <a:lnTo>
                      <a:pt x="1203" y="1454"/>
                    </a:lnTo>
                    <a:lnTo>
                      <a:pt x="1203" y="1456"/>
                    </a:lnTo>
                    <a:lnTo>
                      <a:pt x="1203" y="1458"/>
                    </a:lnTo>
                    <a:lnTo>
                      <a:pt x="1205" y="1458"/>
                    </a:lnTo>
                    <a:lnTo>
                      <a:pt x="1205" y="1459"/>
                    </a:lnTo>
                    <a:lnTo>
                      <a:pt x="1207" y="1461"/>
                    </a:lnTo>
                    <a:lnTo>
                      <a:pt x="1207" y="1463"/>
                    </a:lnTo>
                    <a:lnTo>
                      <a:pt x="1205" y="1463"/>
                    </a:lnTo>
                    <a:lnTo>
                      <a:pt x="1203" y="1463"/>
                    </a:lnTo>
                    <a:lnTo>
                      <a:pt x="1203" y="1461"/>
                    </a:lnTo>
                    <a:lnTo>
                      <a:pt x="1202" y="1459"/>
                    </a:lnTo>
                    <a:lnTo>
                      <a:pt x="1202" y="1458"/>
                    </a:lnTo>
                    <a:lnTo>
                      <a:pt x="1203" y="1458"/>
                    </a:lnTo>
                    <a:lnTo>
                      <a:pt x="1202" y="1458"/>
                    </a:lnTo>
                    <a:lnTo>
                      <a:pt x="1200" y="1458"/>
                    </a:lnTo>
                    <a:lnTo>
                      <a:pt x="1202" y="1458"/>
                    </a:lnTo>
                    <a:lnTo>
                      <a:pt x="1200" y="1456"/>
                    </a:lnTo>
                    <a:lnTo>
                      <a:pt x="1202" y="1456"/>
                    </a:lnTo>
                    <a:lnTo>
                      <a:pt x="1200" y="1456"/>
                    </a:lnTo>
                    <a:lnTo>
                      <a:pt x="1198" y="1456"/>
                    </a:lnTo>
                    <a:lnTo>
                      <a:pt x="1198" y="1454"/>
                    </a:lnTo>
                    <a:lnTo>
                      <a:pt x="1198" y="1453"/>
                    </a:lnTo>
                    <a:lnTo>
                      <a:pt x="1196" y="1453"/>
                    </a:lnTo>
                    <a:lnTo>
                      <a:pt x="1198" y="1453"/>
                    </a:lnTo>
                    <a:lnTo>
                      <a:pt x="1198" y="1451"/>
                    </a:lnTo>
                    <a:lnTo>
                      <a:pt x="1198" y="1453"/>
                    </a:lnTo>
                    <a:lnTo>
                      <a:pt x="1196" y="1451"/>
                    </a:lnTo>
                    <a:lnTo>
                      <a:pt x="1195" y="1451"/>
                    </a:lnTo>
                    <a:lnTo>
                      <a:pt x="1195" y="1453"/>
                    </a:lnTo>
                    <a:lnTo>
                      <a:pt x="1195" y="1451"/>
                    </a:lnTo>
                    <a:lnTo>
                      <a:pt x="1196" y="1451"/>
                    </a:lnTo>
                    <a:lnTo>
                      <a:pt x="1195" y="1451"/>
                    </a:lnTo>
                    <a:lnTo>
                      <a:pt x="1193" y="1451"/>
                    </a:lnTo>
                    <a:lnTo>
                      <a:pt x="1193" y="1449"/>
                    </a:lnTo>
                    <a:lnTo>
                      <a:pt x="1191" y="1449"/>
                    </a:lnTo>
                    <a:lnTo>
                      <a:pt x="1191" y="1447"/>
                    </a:lnTo>
                    <a:lnTo>
                      <a:pt x="1190" y="1447"/>
                    </a:lnTo>
                    <a:lnTo>
                      <a:pt x="1188" y="1447"/>
                    </a:lnTo>
                    <a:lnTo>
                      <a:pt x="1190" y="1447"/>
                    </a:lnTo>
                    <a:lnTo>
                      <a:pt x="1190" y="1446"/>
                    </a:lnTo>
                    <a:lnTo>
                      <a:pt x="1188" y="1446"/>
                    </a:lnTo>
                    <a:lnTo>
                      <a:pt x="1188" y="1444"/>
                    </a:lnTo>
                    <a:lnTo>
                      <a:pt x="1190" y="1444"/>
                    </a:lnTo>
                    <a:lnTo>
                      <a:pt x="1191" y="1446"/>
                    </a:lnTo>
                    <a:lnTo>
                      <a:pt x="1191" y="1444"/>
                    </a:lnTo>
                    <a:lnTo>
                      <a:pt x="1190" y="1444"/>
                    </a:lnTo>
                    <a:lnTo>
                      <a:pt x="1191" y="1444"/>
                    </a:lnTo>
                    <a:lnTo>
                      <a:pt x="1190" y="1442"/>
                    </a:lnTo>
                    <a:lnTo>
                      <a:pt x="1191" y="1444"/>
                    </a:lnTo>
                    <a:lnTo>
                      <a:pt x="1193" y="1444"/>
                    </a:lnTo>
                    <a:lnTo>
                      <a:pt x="1191" y="1444"/>
                    </a:lnTo>
                    <a:lnTo>
                      <a:pt x="1191" y="1442"/>
                    </a:lnTo>
                    <a:lnTo>
                      <a:pt x="1193" y="1442"/>
                    </a:lnTo>
                    <a:lnTo>
                      <a:pt x="1191" y="1442"/>
                    </a:lnTo>
                    <a:lnTo>
                      <a:pt x="1191" y="1441"/>
                    </a:lnTo>
                    <a:lnTo>
                      <a:pt x="1191" y="1439"/>
                    </a:lnTo>
                    <a:lnTo>
                      <a:pt x="1193" y="1441"/>
                    </a:lnTo>
                    <a:lnTo>
                      <a:pt x="1191" y="1439"/>
                    </a:lnTo>
                    <a:lnTo>
                      <a:pt x="1193" y="1439"/>
                    </a:lnTo>
                    <a:lnTo>
                      <a:pt x="1193" y="1441"/>
                    </a:lnTo>
                    <a:lnTo>
                      <a:pt x="1195" y="1441"/>
                    </a:lnTo>
                    <a:lnTo>
                      <a:pt x="1193" y="1441"/>
                    </a:lnTo>
                    <a:lnTo>
                      <a:pt x="1195" y="1441"/>
                    </a:lnTo>
                    <a:lnTo>
                      <a:pt x="1193" y="1439"/>
                    </a:lnTo>
                    <a:lnTo>
                      <a:pt x="1193" y="1437"/>
                    </a:lnTo>
                    <a:lnTo>
                      <a:pt x="1195" y="1437"/>
                    </a:lnTo>
                    <a:lnTo>
                      <a:pt x="1195" y="1435"/>
                    </a:lnTo>
                    <a:lnTo>
                      <a:pt x="1195" y="1437"/>
                    </a:lnTo>
                    <a:close/>
                    <a:moveTo>
                      <a:pt x="1183" y="1126"/>
                    </a:moveTo>
                    <a:lnTo>
                      <a:pt x="1185" y="1126"/>
                    </a:lnTo>
                    <a:lnTo>
                      <a:pt x="1183" y="1126"/>
                    </a:lnTo>
                    <a:lnTo>
                      <a:pt x="1185" y="1126"/>
                    </a:lnTo>
                    <a:lnTo>
                      <a:pt x="1186" y="1126"/>
                    </a:lnTo>
                    <a:lnTo>
                      <a:pt x="1186" y="1128"/>
                    </a:lnTo>
                    <a:lnTo>
                      <a:pt x="1188" y="1128"/>
                    </a:lnTo>
                    <a:lnTo>
                      <a:pt x="1186" y="1129"/>
                    </a:lnTo>
                    <a:lnTo>
                      <a:pt x="1185" y="1129"/>
                    </a:lnTo>
                    <a:lnTo>
                      <a:pt x="1186" y="1129"/>
                    </a:lnTo>
                    <a:lnTo>
                      <a:pt x="1188" y="1128"/>
                    </a:lnTo>
                    <a:lnTo>
                      <a:pt x="1188" y="1129"/>
                    </a:lnTo>
                    <a:lnTo>
                      <a:pt x="1190" y="1131"/>
                    </a:lnTo>
                    <a:lnTo>
                      <a:pt x="1188" y="1131"/>
                    </a:lnTo>
                    <a:lnTo>
                      <a:pt x="1186" y="1131"/>
                    </a:lnTo>
                    <a:lnTo>
                      <a:pt x="1188" y="1131"/>
                    </a:lnTo>
                    <a:lnTo>
                      <a:pt x="1186" y="1131"/>
                    </a:lnTo>
                    <a:lnTo>
                      <a:pt x="1185" y="1131"/>
                    </a:lnTo>
                    <a:lnTo>
                      <a:pt x="1186" y="1131"/>
                    </a:lnTo>
                    <a:lnTo>
                      <a:pt x="1186" y="1133"/>
                    </a:lnTo>
                    <a:lnTo>
                      <a:pt x="1188" y="1131"/>
                    </a:lnTo>
                    <a:lnTo>
                      <a:pt x="1190" y="1131"/>
                    </a:lnTo>
                    <a:lnTo>
                      <a:pt x="1190" y="1133"/>
                    </a:lnTo>
                    <a:lnTo>
                      <a:pt x="1190" y="1134"/>
                    </a:lnTo>
                    <a:lnTo>
                      <a:pt x="1190" y="1136"/>
                    </a:lnTo>
                    <a:lnTo>
                      <a:pt x="1190" y="1138"/>
                    </a:lnTo>
                    <a:lnTo>
                      <a:pt x="1188" y="1138"/>
                    </a:lnTo>
                    <a:lnTo>
                      <a:pt x="1186" y="1138"/>
                    </a:lnTo>
                    <a:lnTo>
                      <a:pt x="1185" y="1138"/>
                    </a:lnTo>
                    <a:lnTo>
                      <a:pt x="1185" y="1136"/>
                    </a:lnTo>
                    <a:lnTo>
                      <a:pt x="1185" y="1138"/>
                    </a:lnTo>
                    <a:lnTo>
                      <a:pt x="1186" y="1138"/>
                    </a:lnTo>
                    <a:lnTo>
                      <a:pt x="1185" y="1138"/>
                    </a:lnTo>
                    <a:lnTo>
                      <a:pt x="1183" y="1138"/>
                    </a:lnTo>
                    <a:lnTo>
                      <a:pt x="1181" y="1138"/>
                    </a:lnTo>
                    <a:lnTo>
                      <a:pt x="1183" y="1138"/>
                    </a:lnTo>
                    <a:lnTo>
                      <a:pt x="1185" y="1138"/>
                    </a:lnTo>
                    <a:lnTo>
                      <a:pt x="1186" y="1138"/>
                    </a:lnTo>
                    <a:lnTo>
                      <a:pt x="1186" y="1140"/>
                    </a:lnTo>
                    <a:lnTo>
                      <a:pt x="1185" y="1140"/>
                    </a:lnTo>
                    <a:lnTo>
                      <a:pt x="1183" y="1140"/>
                    </a:lnTo>
                    <a:lnTo>
                      <a:pt x="1185" y="1140"/>
                    </a:lnTo>
                    <a:lnTo>
                      <a:pt x="1185" y="1141"/>
                    </a:lnTo>
                    <a:lnTo>
                      <a:pt x="1183" y="1141"/>
                    </a:lnTo>
                    <a:lnTo>
                      <a:pt x="1181" y="1141"/>
                    </a:lnTo>
                    <a:lnTo>
                      <a:pt x="1179" y="1140"/>
                    </a:lnTo>
                    <a:lnTo>
                      <a:pt x="1181" y="1140"/>
                    </a:lnTo>
                    <a:lnTo>
                      <a:pt x="1181" y="1138"/>
                    </a:lnTo>
                    <a:lnTo>
                      <a:pt x="1181" y="1136"/>
                    </a:lnTo>
                    <a:lnTo>
                      <a:pt x="1181" y="1134"/>
                    </a:lnTo>
                    <a:lnTo>
                      <a:pt x="1179" y="1134"/>
                    </a:lnTo>
                    <a:lnTo>
                      <a:pt x="1179" y="1133"/>
                    </a:lnTo>
                    <a:lnTo>
                      <a:pt x="1181" y="1133"/>
                    </a:lnTo>
                    <a:lnTo>
                      <a:pt x="1179" y="1134"/>
                    </a:lnTo>
                    <a:lnTo>
                      <a:pt x="1181" y="1133"/>
                    </a:lnTo>
                    <a:lnTo>
                      <a:pt x="1181" y="1134"/>
                    </a:lnTo>
                    <a:lnTo>
                      <a:pt x="1183" y="1133"/>
                    </a:lnTo>
                    <a:lnTo>
                      <a:pt x="1181" y="1133"/>
                    </a:lnTo>
                    <a:lnTo>
                      <a:pt x="1181" y="1131"/>
                    </a:lnTo>
                    <a:lnTo>
                      <a:pt x="1181" y="1129"/>
                    </a:lnTo>
                    <a:lnTo>
                      <a:pt x="1181" y="1128"/>
                    </a:lnTo>
                    <a:lnTo>
                      <a:pt x="1183" y="1128"/>
                    </a:lnTo>
                    <a:lnTo>
                      <a:pt x="1183" y="1126"/>
                    </a:lnTo>
                    <a:close/>
                    <a:moveTo>
                      <a:pt x="1162" y="1305"/>
                    </a:moveTo>
                    <a:lnTo>
                      <a:pt x="1162" y="1303"/>
                    </a:lnTo>
                    <a:lnTo>
                      <a:pt x="1162" y="1305"/>
                    </a:lnTo>
                    <a:lnTo>
                      <a:pt x="1164" y="1305"/>
                    </a:lnTo>
                    <a:lnTo>
                      <a:pt x="1164" y="1306"/>
                    </a:lnTo>
                    <a:lnTo>
                      <a:pt x="1164" y="1305"/>
                    </a:lnTo>
                    <a:lnTo>
                      <a:pt x="1164" y="1303"/>
                    </a:lnTo>
                    <a:lnTo>
                      <a:pt x="1166" y="1303"/>
                    </a:lnTo>
                    <a:lnTo>
                      <a:pt x="1168" y="1305"/>
                    </a:lnTo>
                    <a:lnTo>
                      <a:pt x="1168" y="1306"/>
                    </a:lnTo>
                    <a:lnTo>
                      <a:pt x="1169" y="1308"/>
                    </a:lnTo>
                    <a:lnTo>
                      <a:pt x="1168" y="1308"/>
                    </a:lnTo>
                    <a:lnTo>
                      <a:pt x="1168" y="1310"/>
                    </a:lnTo>
                    <a:lnTo>
                      <a:pt x="1168" y="1308"/>
                    </a:lnTo>
                    <a:lnTo>
                      <a:pt x="1168" y="1310"/>
                    </a:lnTo>
                    <a:lnTo>
                      <a:pt x="1168" y="1311"/>
                    </a:lnTo>
                    <a:lnTo>
                      <a:pt x="1168" y="1313"/>
                    </a:lnTo>
                    <a:lnTo>
                      <a:pt x="1168" y="1315"/>
                    </a:lnTo>
                    <a:lnTo>
                      <a:pt x="1168" y="1316"/>
                    </a:lnTo>
                    <a:lnTo>
                      <a:pt x="1166" y="1316"/>
                    </a:lnTo>
                    <a:lnTo>
                      <a:pt x="1164" y="1315"/>
                    </a:lnTo>
                    <a:lnTo>
                      <a:pt x="1166" y="1315"/>
                    </a:lnTo>
                    <a:lnTo>
                      <a:pt x="1164" y="1315"/>
                    </a:lnTo>
                    <a:lnTo>
                      <a:pt x="1164" y="1313"/>
                    </a:lnTo>
                    <a:lnTo>
                      <a:pt x="1162" y="1313"/>
                    </a:lnTo>
                    <a:lnTo>
                      <a:pt x="1162" y="1311"/>
                    </a:lnTo>
                    <a:lnTo>
                      <a:pt x="1161" y="1311"/>
                    </a:lnTo>
                    <a:lnTo>
                      <a:pt x="1161" y="1310"/>
                    </a:lnTo>
                    <a:lnTo>
                      <a:pt x="1159" y="1310"/>
                    </a:lnTo>
                    <a:lnTo>
                      <a:pt x="1157" y="1310"/>
                    </a:lnTo>
                    <a:lnTo>
                      <a:pt x="1156" y="1310"/>
                    </a:lnTo>
                    <a:lnTo>
                      <a:pt x="1157" y="1310"/>
                    </a:lnTo>
                    <a:lnTo>
                      <a:pt x="1157" y="1308"/>
                    </a:lnTo>
                    <a:lnTo>
                      <a:pt x="1159" y="1308"/>
                    </a:lnTo>
                    <a:lnTo>
                      <a:pt x="1161" y="1308"/>
                    </a:lnTo>
                    <a:lnTo>
                      <a:pt x="1159" y="1308"/>
                    </a:lnTo>
                    <a:lnTo>
                      <a:pt x="1159" y="1306"/>
                    </a:lnTo>
                    <a:lnTo>
                      <a:pt x="1157" y="1308"/>
                    </a:lnTo>
                    <a:lnTo>
                      <a:pt x="1156" y="1310"/>
                    </a:lnTo>
                    <a:lnTo>
                      <a:pt x="1156" y="1308"/>
                    </a:lnTo>
                    <a:lnTo>
                      <a:pt x="1156" y="1306"/>
                    </a:lnTo>
                    <a:lnTo>
                      <a:pt x="1157" y="1306"/>
                    </a:lnTo>
                    <a:lnTo>
                      <a:pt x="1157" y="1305"/>
                    </a:lnTo>
                    <a:lnTo>
                      <a:pt x="1159" y="1305"/>
                    </a:lnTo>
                    <a:lnTo>
                      <a:pt x="1159" y="1303"/>
                    </a:lnTo>
                    <a:lnTo>
                      <a:pt x="1159" y="1305"/>
                    </a:lnTo>
                    <a:lnTo>
                      <a:pt x="1159" y="1303"/>
                    </a:lnTo>
                    <a:lnTo>
                      <a:pt x="1161" y="1303"/>
                    </a:lnTo>
                    <a:lnTo>
                      <a:pt x="1161" y="1305"/>
                    </a:lnTo>
                    <a:lnTo>
                      <a:pt x="1161" y="1303"/>
                    </a:lnTo>
                    <a:lnTo>
                      <a:pt x="1159" y="1303"/>
                    </a:lnTo>
                    <a:lnTo>
                      <a:pt x="1159" y="1301"/>
                    </a:lnTo>
                    <a:lnTo>
                      <a:pt x="1161" y="1301"/>
                    </a:lnTo>
                    <a:lnTo>
                      <a:pt x="1161" y="1303"/>
                    </a:lnTo>
                    <a:lnTo>
                      <a:pt x="1162" y="1303"/>
                    </a:lnTo>
                    <a:lnTo>
                      <a:pt x="1162" y="1305"/>
                    </a:lnTo>
                    <a:close/>
                    <a:moveTo>
                      <a:pt x="1208" y="1126"/>
                    </a:moveTo>
                    <a:lnTo>
                      <a:pt x="1210" y="1126"/>
                    </a:lnTo>
                    <a:lnTo>
                      <a:pt x="1212" y="1126"/>
                    </a:lnTo>
                    <a:lnTo>
                      <a:pt x="1212" y="1128"/>
                    </a:lnTo>
                    <a:lnTo>
                      <a:pt x="1212" y="1129"/>
                    </a:lnTo>
                    <a:lnTo>
                      <a:pt x="1210" y="1129"/>
                    </a:lnTo>
                    <a:lnTo>
                      <a:pt x="1210" y="1128"/>
                    </a:lnTo>
                    <a:lnTo>
                      <a:pt x="1208" y="1128"/>
                    </a:lnTo>
                    <a:lnTo>
                      <a:pt x="1210" y="1129"/>
                    </a:lnTo>
                    <a:lnTo>
                      <a:pt x="1208" y="1129"/>
                    </a:lnTo>
                    <a:lnTo>
                      <a:pt x="1210" y="1129"/>
                    </a:lnTo>
                    <a:lnTo>
                      <a:pt x="1212" y="1129"/>
                    </a:lnTo>
                    <a:lnTo>
                      <a:pt x="1210" y="1131"/>
                    </a:lnTo>
                    <a:lnTo>
                      <a:pt x="1210" y="1133"/>
                    </a:lnTo>
                    <a:lnTo>
                      <a:pt x="1210" y="1134"/>
                    </a:lnTo>
                    <a:lnTo>
                      <a:pt x="1212" y="1134"/>
                    </a:lnTo>
                    <a:lnTo>
                      <a:pt x="1212" y="1136"/>
                    </a:lnTo>
                    <a:lnTo>
                      <a:pt x="1210" y="1134"/>
                    </a:lnTo>
                    <a:lnTo>
                      <a:pt x="1208" y="1134"/>
                    </a:lnTo>
                    <a:lnTo>
                      <a:pt x="1207" y="1133"/>
                    </a:lnTo>
                    <a:lnTo>
                      <a:pt x="1208" y="1134"/>
                    </a:lnTo>
                    <a:lnTo>
                      <a:pt x="1208" y="1136"/>
                    </a:lnTo>
                    <a:lnTo>
                      <a:pt x="1210" y="1136"/>
                    </a:lnTo>
                    <a:lnTo>
                      <a:pt x="1210" y="1138"/>
                    </a:lnTo>
                    <a:lnTo>
                      <a:pt x="1210" y="1140"/>
                    </a:lnTo>
                    <a:lnTo>
                      <a:pt x="1208" y="1141"/>
                    </a:lnTo>
                    <a:lnTo>
                      <a:pt x="1208" y="1140"/>
                    </a:lnTo>
                    <a:lnTo>
                      <a:pt x="1207" y="1140"/>
                    </a:lnTo>
                    <a:lnTo>
                      <a:pt x="1207" y="1138"/>
                    </a:lnTo>
                    <a:lnTo>
                      <a:pt x="1205" y="1138"/>
                    </a:lnTo>
                    <a:lnTo>
                      <a:pt x="1205" y="1136"/>
                    </a:lnTo>
                    <a:lnTo>
                      <a:pt x="1203" y="1138"/>
                    </a:lnTo>
                    <a:lnTo>
                      <a:pt x="1203" y="1136"/>
                    </a:lnTo>
                    <a:lnTo>
                      <a:pt x="1203" y="1134"/>
                    </a:lnTo>
                    <a:lnTo>
                      <a:pt x="1203" y="1133"/>
                    </a:lnTo>
                    <a:lnTo>
                      <a:pt x="1205" y="1131"/>
                    </a:lnTo>
                    <a:lnTo>
                      <a:pt x="1205" y="1129"/>
                    </a:lnTo>
                    <a:lnTo>
                      <a:pt x="1205" y="1128"/>
                    </a:lnTo>
                    <a:lnTo>
                      <a:pt x="1207" y="1126"/>
                    </a:lnTo>
                    <a:lnTo>
                      <a:pt x="1207" y="1124"/>
                    </a:lnTo>
                    <a:lnTo>
                      <a:pt x="1207" y="1126"/>
                    </a:lnTo>
                    <a:lnTo>
                      <a:pt x="1208" y="1126"/>
                    </a:lnTo>
                    <a:close/>
                    <a:moveTo>
                      <a:pt x="1162" y="1245"/>
                    </a:moveTo>
                    <a:lnTo>
                      <a:pt x="1164" y="1245"/>
                    </a:lnTo>
                    <a:lnTo>
                      <a:pt x="1164" y="1247"/>
                    </a:lnTo>
                    <a:lnTo>
                      <a:pt x="1164" y="1248"/>
                    </a:lnTo>
                    <a:lnTo>
                      <a:pt x="1162" y="1248"/>
                    </a:lnTo>
                    <a:lnTo>
                      <a:pt x="1164" y="1248"/>
                    </a:lnTo>
                    <a:lnTo>
                      <a:pt x="1164" y="1250"/>
                    </a:lnTo>
                    <a:lnTo>
                      <a:pt x="1166" y="1250"/>
                    </a:lnTo>
                    <a:lnTo>
                      <a:pt x="1164" y="1250"/>
                    </a:lnTo>
                    <a:lnTo>
                      <a:pt x="1166" y="1250"/>
                    </a:lnTo>
                    <a:lnTo>
                      <a:pt x="1168" y="1252"/>
                    </a:lnTo>
                    <a:lnTo>
                      <a:pt x="1169" y="1252"/>
                    </a:lnTo>
                    <a:lnTo>
                      <a:pt x="1171" y="1253"/>
                    </a:lnTo>
                    <a:lnTo>
                      <a:pt x="1169" y="1255"/>
                    </a:lnTo>
                    <a:lnTo>
                      <a:pt x="1171" y="1253"/>
                    </a:lnTo>
                    <a:lnTo>
                      <a:pt x="1171" y="1255"/>
                    </a:lnTo>
                    <a:lnTo>
                      <a:pt x="1171" y="1257"/>
                    </a:lnTo>
                    <a:lnTo>
                      <a:pt x="1171" y="1255"/>
                    </a:lnTo>
                    <a:lnTo>
                      <a:pt x="1169" y="1255"/>
                    </a:lnTo>
                    <a:lnTo>
                      <a:pt x="1168" y="1255"/>
                    </a:lnTo>
                    <a:lnTo>
                      <a:pt x="1166" y="1255"/>
                    </a:lnTo>
                    <a:lnTo>
                      <a:pt x="1164" y="1253"/>
                    </a:lnTo>
                    <a:lnTo>
                      <a:pt x="1162" y="1253"/>
                    </a:lnTo>
                    <a:lnTo>
                      <a:pt x="1161" y="1253"/>
                    </a:lnTo>
                    <a:lnTo>
                      <a:pt x="1162" y="1253"/>
                    </a:lnTo>
                    <a:lnTo>
                      <a:pt x="1164" y="1253"/>
                    </a:lnTo>
                    <a:lnTo>
                      <a:pt x="1164" y="1255"/>
                    </a:lnTo>
                    <a:lnTo>
                      <a:pt x="1166" y="1255"/>
                    </a:lnTo>
                    <a:lnTo>
                      <a:pt x="1166" y="1257"/>
                    </a:lnTo>
                    <a:lnTo>
                      <a:pt x="1166" y="1255"/>
                    </a:lnTo>
                    <a:lnTo>
                      <a:pt x="1168" y="1257"/>
                    </a:lnTo>
                    <a:lnTo>
                      <a:pt x="1169" y="1257"/>
                    </a:lnTo>
                    <a:lnTo>
                      <a:pt x="1169" y="1259"/>
                    </a:lnTo>
                    <a:lnTo>
                      <a:pt x="1168" y="1260"/>
                    </a:lnTo>
                    <a:lnTo>
                      <a:pt x="1168" y="1259"/>
                    </a:lnTo>
                    <a:lnTo>
                      <a:pt x="1168" y="1257"/>
                    </a:lnTo>
                    <a:lnTo>
                      <a:pt x="1166" y="1257"/>
                    </a:lnTo>
                    <a:lnTo>
                      <a:pt x="1164" y="1257"/>
                    </a:lnTo>
                    <a:lnTo>
                      <a:pt x="1164" y="1255"/>
                    </a:lnTo>
                    <a:lnTo>
                      <a:pt x="1162" y="1255"/>
                    </a:lnTo>
                    <a:lnTo>
                      <a:pt x="1161" y="1255"/>
                    </a:lnTo>
                    <a:lnTo>
                      <a:pt x="1159" y="1255"/>
                    </a:lnTo>
                    <a:lnTo>
                      <a:pt x="1159" y="1253"/>
                    </a:lnTo>
                    <a:lnTo>
                      <a:pt x="1159" y="1255"/>
                    </a:lnTo>
                    <a:lnTo>
                      <a:pt x="1159" y="1253"/>
                    </a:lnTo>
                    <a:lnTo>
                      <a:pt x="1161" y="1253"/>
                    </a:lnTo>
                    <a:lnTo>
                      <a:pt x="1159" y="1253"/>
                    </a:lnTo>
                    <a:lnTo>
                      <a:pt x="1161" y="1253"/>
                    </a:lnTo>
                    <a:lnTo>
                      <a:pt x="1161" y="1252"/>
                    </a:lnTo>
                    <a:lnTo>
                      <a:pt x="1159" y="1252"/>
                    </a:lnTo>
                    <a:lnTo>
                      <a:pt x="1161" y="1252"/>
                    </a:lnTo>
                    <a:lnTo>
                      <a:pt x="1162" y="1252"/>
                    </a:lnTo>
                    <a:lnTo>
                      <a:pt x="1161" y="1252"/>
                    </a:lnTo>
                    <a:lnTo>
                      <a:pt x="1162" y="1250"/>
                    </a:lnTo>
                    <a:lnTo>
                      <a:pt x="1162" y="1252"/>
                    </a:lnTo>
                    <a:lnTo>
                      <a:pt x="1164" y="1252"/>
                    </a:lnTo>
                    <a:lnTo>
                      <a:pt x="1164" y="1250"/>
                    </a:lnTo>
                    <a:lnTo>
                      <a:pt x="1162" y="1250"/>
                    </a:lnTo>
                    <a:lnTo>
                      <a:pt x="1161" y="1250"/>
                    </a:lnTo>
                    <a:lnTo>
                      <a:pt x="1159" y="1250"/>
                    </a:lnTo>
                    <a:lnTo>
                      <a:pt x="1161" y="1252"/>
                    </a:lnTo>
                    <a:lnTo>
                      <a:pt x="1159" y="1252"/>
                    </a:lnTo>
                    <a:lnTo>
                      <a:pt x="1157" y="1252"/>
                    </a:lnTo>
                    <a:lnTo>
                      <a:pt x="1156" y="1252"/>
                    </a:lnTo>
                    <a:lnTo>
                      <a:pt x="1156" y="1253"/>
                    </a:lnTo>
                    <a:lnTo>
                      <a:pt x="1156" y="1252"/>
                    </a:lnTo>
                    <a:lnTo>
                      <a:pt x="1157" y="1250"/>
                    </a:lnTo>
                    <a:lnTo>
                      <a:pt x="1159" y="1250"/>
                    </a:lnTo>
                    <a:lnTo>
                      <a:pt x="1159" y="1248"/>
                    </a:lnTo>
                    <a:lnTo>
                      <a:pt x="1157" y="1250"/>
                    </a:lnTo>
                    <a:lnTo>
                      <a:pt x="1159" y="1250"/>
                    </a:lnTo>
                    <a:lnTo>
                      <a:pt x="1157" y="1250"/>
                    </a:lnTo>
                    <a:lnTo>
                      <a:pt x="1156" y="1250"/>
                    </a:lnTo>
                    <a:lnTo>
                      <a:pt x="1157" y="1250"/>
                    </a:lnTo>
                    <a:lnTo>
                      <a:pt x="1157" y="1248"/>
                    </a:lnTo>
                    <a:lnTo>
                      <a:pt x="1159" y="1248"/>
                    </a:lnTo>
                    <a:lnTo>
                      <a:pt x="1157" y="1248"/>
                    </a:lnTo>
                    <a:lnTo>
                      <a:pt x="1159" y="1248"/>
                    </a:lnTo>
                    <a:lnTo>
                      <a:pt x="1161" y="1248"/>
                    </a:lnTo>
                    <a:lnTo>
                      <a:pt x="1161" y="1247"/>
                    </a:lnTo>
                    <a:lnTo>
                      <a:pt x="1162" y="1247"/>
                    </a:lnTo>
                    <a:lnTo>
                      <a:pt x="1162" y="1245"/>
                    </a:lnTo>
                    <a:close/>
                    <a:moveTo>
                      <a:pt x="1159" y="1420"/>
                    </a:moveTo>
                    <a:lnTo>
                      <a:pt x="1159" y="1422"/>
                    </a:lnTo>
                    <a:lnTo>
                      <a:pt x="1159" y="1424"/>
                    </a:lnTo>
                    <a:lnTo>
                      <a:pt x="1159" y="1425"/>
                    </a:lnTo>
                    <a:lnTo>
                      <a:pt x="1157" y="1425"/>
                    </a:lnTo>
                    <a:lnTo>
                      <a:pt x="1159" y="1427"/>
                    </a:lnTo>
                    <a:lnTo>
                      <a:pt x="1157" y="1427"/>
                    </a:lnTo>
                    <a:lnTo>
                      <a:pt x="1157" y="1429"/>
                    </a:lnTo>
                    <a:lnTo>
                      <a:pt x="1159" y="1429"/>
                    </a:lnTo>
                    <a:lnTo>
                      <a:pt x="1157" y="1427"/>
                    </a:lnTo>
                    <a:lnTo>
                      <a:pt x="1159" y="1425"/>
                    </a:lnTo>
                    <a:lnTo>
                      <a:pt x="1159" y="1424"/>
                    </a:lnTo>
                    <a:lnTo>
                      <a:pt x="1161" y="1424"/>
                    </a:lnTo>
                    <a:lnTo>
                      <a:pt x="1161" y="1425"/>
                    </a:lnTo>
                    <a:lnTo>
                      <a:pt x="1162" y="1425"/>
                    </a:lnTo>
                    <a:lnTo>
                      <a:pt x="1162" y="1427"/>
                    </a:lnTo>
                    <a:lnTo>
                      <a:pt x="1162" y="1429"/>
                    </a:lnTo>
                    <a:lnTo>
                      <a:pt x="1162" y="1427"/>
                    </a:lnTo>
                    <a:lnTo>
                      <a:pt x="1161" y="1427"/>
                    </a:lnTo>
                    <a:lnTo>
                      <a:pt x="1162" y="1429"/>
                    </a:lnTo>
                    <a:lnTo>
                      <a:pt x="1162" y="1430"/>
                    </a:lnTo>
                    <a:lnTo>
                      <a:pt x="1161" y="1429"/>
                    </a:lnTo>
                    <a:lnTo>
                      <a:pt x="1161" y="1427"/>
                    </a:lnTo>
                    <a:lnTo>
                      <a:pt x="1161" y="1429"/>
                    </a:lnTo>
                    <a:lnTo>
                      <a:pt x="1161" y="1430"/>
                    </a:lnTo>
                    <a:lnTo>
                      <a:pt x="1161" y="1429"/>
                    </a:lnTo>
                    <a:lnTo>
                      <a:pt x="1161" y="1430"/>
                    </a:lnTo>
                    <a:lnTo>
                      <a:pt x="1159" y="1432"/>
                    </a:lnTo>
                    <a:lnTo>
                      <a:pt x="1159" y="1430"/>
                    </a:lnTo>
                    <a:lnTo>
                      <a:pt x="1159" y="1432"/>
                    </a:lnTo>
                    <a:lnTo>
                      <a:pt x="1159" y="1434"/>
                    </a:lnTo>
                    <a:lnTo>
                      <a:pt x="1159" y="1432"/>
                    </a:lnTo>
                    <a:lnTo>
                      <a:pt x="1157" y="1432"/>
                    </a:lnTo>
                    <a:lnTo>
                      <a:pt x="1159" y="1430"/>
                    </a:lnTo>
                    <a:lnTo>
                      <a:pt x="1157" y="1430"/>
                    </a:lnTo>
                    <a:lnTo>
                      <a:pt x="1157" y="1432"/>
                    </a:lnTo>
                    <a:lnTo>
                      <a:pt x="1157" y="1434"/>
                    </a:lnTo>
                    <a:lnTo>
                      <a:pt x="1157" y="1435"/>
                    </a:lnTo>
                    <a:lnTo>
                      <a:pt x="1157" y="1437"/>
                    </a:lnTo>
                    <a:lnTo>
                      <a:pt x="1157" y="1439"/>
                    </a:lnTo>
                    <a:lnTo>
                      <a:pt x="1157" y="1441"/>
                    </a:lnTo>
                    <a:lnTo>
                      <a:pt x="1156" y="1439"/>
                    </a:lnTo>
                    <a:lnTo>
                      <a:pt x="1156" y="1437"/>
                    </a:lnTo>
                    <a:lnTo>
                      <a:pt x="1156" y="1439"/>
                    </a:lnTo>
                    <a:lnTo>
                      <a:pt x="1156" y="1441"/>
                    </a:lnTo>
                    <a:lnTo>
                      <a:pt x="1156" y="1442"/>
                    </a:lnTo>
                    <a:lnTo>
                      <a:pt x="1154" y="1441"/>
                    </a:lnTo>
                    <a:lnTo>
                      <a:pt x="1152" y="1442"/>
                    </a:lnTo>
                    <a:lnTo>
                      <a:pt x="1152" y="1441"/>
                    </a:lnTo>
                    <a:lnTo>
                      <a:pt x="1151" y="1441"/>
                    </a:lnTo>
                    <a:lnTo>
                      <a:pt x="1151" y="1439"/>
                    </a:lnTo>
                    <a:lnTo>
                      <a:pt x="1152" y="1439"/>
                    </a:lnTo>
                    <a:lnTo>
                      <a:pt x="1152" y="1437"/>
                    </a:lnTo>
                    <a:lnTo>
                      <a:pt x="1151" y="1437"/>
                    </a:lnTo>
                    <a:lnTo>
                      <a:pt x="1152" y="1435"/>
                    </a:lnTo>
                    <a:lnTo>
                      <a:pt x="1152" y="1437"/>
                    </a:lnTo>
                    <a:lnTo>
                      <a:pt x="1152" y="1435"/>
                    </a:lnTo>
                    <a:lnTo>
                      <a:pt x="1154" y="1435"/>
                    </a:lnTo>
                    <a:lnTo>
                      <a:pt x="1154" y="1434"/>
                    </a:lnTo>
                    <a:lnTo>
                      <a:pt x="1154" y="1435"/>
                    </a:lnTo>
                    <a:lnTo>
                      <a:pt x="1156" y="1434"/>
                    </a:lnTo>
                    <a:lnTo>
                      <a:pt x="1156" y="1432"/>
                    </a:lnTo>
                    <a:lnTo>
                      <a:pt x="1154" y="1432"/>
                    </a:lnTo>
                    <a:lnTo>
                      <a:pt x="1156" y="1430"/>
                    </a:lnTo>
                    <a:lnTo>
                      <a:pt x="1156" y="1429"/>
                    </a:lnTo>
                    <a:lnTo>
                      <a:pt x="1157" y="1429"/>
                    </a:lnTo>
                    <a:lnTo>
                      <a:pt x="1157" y="1427"/>
                    </a:lnTo>
                    <a:lnTo>
                      <a:pt x="1156" y="1427"/>
                    </a:lnTo>
                    <a:lnTo>
                      <a:pt x="1156" y="1425"/>
                    </a:lnTo>
                    <a:lnTo>
                      <a:pt x="1156" y="1424"/>
                    </a:lnTo>
                    <a:lnTo>
                      <a:pt x="1157" y="1424"/>
                    </a:lnTo>
                    <a:lnTo>
                      <a:pt x="1157" y="1422"/>
                    </a:lnTo>
                    <a:lnTo>
                      <a:pt x="1159" y="1420"/>
                    </a:lnTo>
                    <a:close/>
                    <a:moveTo>
                      <a:pt x="1154" y="1303"/>
                    </a:moveTo>
                    <a:lnTo>
                      <a:pt x="1152" y="1303"/>
                    </a:lnTo>
                    <a:lnTo>
                      <a:pt x="1151" y="1303"/>
                    </a:lnTo>
                    <a:lnTo>
                      <a:pt x="1152" y="1305"/>
                    </a:lnTo>
                    <a:lnTo>
                      <a:pt x="1152" y="1303"/>
                    </a:lnTo>
                    <a:lnTo>
                      <a:pt x="1154" y="1303"/>
                    </a:lnTo>
                    <a:lnTo>
                      <a:pt x="1154" y="1305"/>
                    </a:lnTo>
                    <a:lnTo>
                      <a:pt x="1154" y="1306"/>
                    </a:lnTo>
                    <a:lnTo>
                      <a:pt x="1154" y="1308"/>
                    </a:lnTo>
                    <a:lnTo>
                      <a:pt x="1152" y="1308"/>
                    </a:lnTo>
                    <a:lnTo>
                      <a:pt x="1152" y="1310"/>
                    </a:lnTo>
                    <a:lnTo>
                      <a:pt x="1152" y="1308"/>
                    </a:lnTo>
                    <a:lnTo>
                      <a:pt x="1151" y="1308"/>
                    </a:lnTo>
                    <a:lnTo>
                      <a:pt x="1151" y="1310"/>
                    </a:lnTo>
                    <a:lnTo>
                      <a:pt x="1151" y="1311"/>
                    </a:lnTo>
                    <a:lnTo>
                      <a:pt x="1149" y="1311"/>
                    </a:lnTo>
                    <a:lnTo>
                      <a:pt x="1151" y="1310"/>
                    </a:lnTo>
                    <a:lnTo>
                      <a:pt x="1149" y="1310"/>
                    </a:lnTo>
                    <a:lnTo>
                      <a:pt x="1151" y="1308"/>
                    </a:lnTo>
                    <a:lnTo>
                      <a:pt x="1149" y="1310"/>
                    </a:lnTo>
                    <a:lnTo>
                      <a:pt x="1149" y="1311"/>
                    </a:lnTo>
                    <a:lnTo>
                      <a:pt x="1149" y="1310"/>
                    </a:lnTo>
                    <a:lnTo>
                      <a:pt x="1149" y="1311"/>
                    </a:lnTo>
                    <a:lnTo>
                      <a:pt x="1147" y="1310"/>
                    </a:lnTo>
                    <a:lnTo>
                      <a:pt x="1149" y="1311"/>
                    </a:lnTo>
                    <a:lnTo>
                      <a:pt x="1147" y="1311"/>
                    </a:lnTo>
                    <a:lnTo>
                      <a:pt x="1147" y="1313"/>
                    </a:lnTo>
                    <a:lnTo>
                      <a:pt x="1149" y="1313"/>
                    </a:lnTo>
                    <a:lnTo>
                      <a:pt x="1147" y="1315"/>
                    </a:lnTo>
                    <a:lnTo>
                      <a:pt x="1145" y="1315"/>
                    </a:lnTo>
                    <a:lnTo>
                      <a:pt x="1144" y="1315"/>
                    </a:lnTo>
                    <a:lnTo>
                      <a:pt x="1144" y="1313"/>
                    </a:lnTo>
                    <a:lnTo>
                      <a:pt x="1142" y="1315"/>
                    </a:lnTo>
                    <a:lnTo>
                      <a:pt x="1142" y="1313"/>
                    </a:lnTo>
                    <a:lnTo>
                      <a:pt x="1142" y="1311"/>
                    </a:lnTo>
                    <a:lnTo>
                      <a:pt x="1142" y="1313"/>
                    </a:lnTo>
                    <a:lnTo>
                      <a:pt x="1144" y="1313"/>
                    </a:lnTo>
                    <a:lnTo>
                      <a:pt x="1142" y="1311"/>
                    </a:lnTo>
                    <a:lnTo>
                      <a:pt x="1144" y="1311"/>
                    </a:lnTo>
                    <a:lnTo>
                      <a:pt x="1142" y="1311"/>
                    </a:lnTo>
                    <a:lnTo>
                      <a:pt x="1142" y="1310"/>
                    </a:lnTo>
                    <a:lnTo>
                      <a:pt x="1144" y="1308"/>
                    </a:lnTo>
                    <a:lnTo>
                      <a:pt x="1145" y="1306"/>
                    </a:lnTo>
                    <a:lnTo>
                      <a:pt x="1145" y="1308"/>
                    </a:lnTo>
                    <a:lnTo>
                      <a:pt x="1144" y="1310"/>
                    </a:lnTo>
                    <a:lnTo>
                      <a:pt x="1144" y="1311"/>
                    </a:lnTo>
                    <a:lnTo>
                      <a:pt x="1144" y="1310"/>
                    </a:lnTo>
                    <a:lnTo>
                      <a:pt x="1145" y="1310"/>
                    </a:lnTo>
                    <a:lnTo>
                      <a:pt x="1145" y="1308"/>
                    </a:lnTo>
                    <a:lnTo>
                      <a:pt x="1147" y="1308"/>
                    </a:lnTo>
                    <a:lnTo>
                      <a:pt x="1145" y="1308"/>
                    </a:lnTo>
                    <a:lnTo>
                      <a:pt x="1145" y="1306"/>
                    </a:lnTo>
                    <a:lnTo>
                      <a:pt x="1147" y="1306"/>
                    </a:lnTo>
                    <a:lnTo>
                      <a:pt x="1149" y="1305"/>
                    </a:lnTo>
                    <a:lnTo>
                      <a:pt x="1149" y="1306"/>
                    </a:lnTo>
                    <a:lnTo>
                      <a:pt x="1149" y="1305"/>
                    </a:lnTo>
                    <a:lnTo>
                      <a:pt x="1151" y="1305"/>
                    </a:lnTo>
                    <a:lnTo>
                      <a:pt x="1149" y="1305"/>
                    </a:lnTo>
                    <a:lnTo>
                      <a:pt x="1149" y="1303"/>
                    </a:lnTo>
                    <a:lnTo>
                      <a:pt x="1151" y="1301"/>
                    </a:lnTo>
                    <a:lnTo>
                      <a:pt x="1151" y="1299"/>
                    </a:lnTo>
                    <a:lnTo>
                      <a:pt x="1152" y="1299"/>
                    </a:lnTo>
                    <a:lnTo>
                      <a:pt x="1152" y="1301"/>
                    </a:lnTo>
                    <a:lnTo>
                      <a:pt x="1154" y="1301"/>
                    </a:lnTo>
                    <a:lnTo>
                      <a:pt x="1154" y="1303"/>
                    </a:lnTo>
                    <a:close/>
                    <a:moveTo>
                      <a:pt x="1212" y="1539"/>
                    </a:moveTo>
                    <a:lnTo>
                      <a:pt x="1212" y="1541"/>
                    </a:lnTo>
                    <a:lnTo>
                      <a:pt x="1213" y="1541"/>
                    </a:lnTo>
                    <a:lnTo>
                      <a:pt x="1213" y="1539"/>
                    </a:lnTo>
                    <a:lnTo>
                      <a:pt x="1215" y="1539"/>
                    </a:lnTo>
                    <a:lnTo>
                      <a:pt x="1217" y="1539"/>
                    </a:lnTo>
                    <a:lnTo>
                      <a:pt x="1217" y="1541"/>
                    </a:lnTo>
                    <a:lnTo>
                      <a:pt x="1219" y="1543"/>
                    </a:lnTo>
                    <a:lnTo>
                      <a:pt x="1217" y="1543"/>
                    </a:lnTo>
                    <a:lnTo>
                      <a:pt x="1217" y="1541"/>
                    </a:lnTo>
                    <a:lnTo>
                      <a:pt x="1217" y="1543"/>
                    </a:lnTo>
                    <a:lnTo>
                      <a:pt x="1215" y="1543"/>
                    </a:lnTo>
                    <a:lnTo>
                      <a:pt x="1215" y="1544"/>
                    </a:lnTo>
                    <a:lnTo>
                      <a:pt x="1213" y="1544"/>
                    </a:lnTo>
                    <a:lnTo>
                      <a:pt x="1213" y="1546"/>
                    </a:lnTo>
                    <a:lnTo>
                      <a:pt x="1215" y="1546"/>
                    </a:lnTo>
                    <a:lnTo>
                      <a:pt x="1213" y="1544"/>
                    </a:lnTo>
                    <a:lnTo>
                      <a:pt x="1215" y="1544"/>
                    </a:lnTo>
                    <a:lnTo>
                      <a:pt x="1217" y="1546"/>
                    </a:lnTo>
                    <a:lnTo>
                      <a:pt x="1217" y="1548"/>
                    </a:lnTo>
                    <a:lnTo>
                      <a:pt x="1219" y="1548"/>
                    </a:lnTo>
                    <a:lnTo>
                      <a:pt x="1217" y="1548"/>
                    </a:lnTo>
                    <a:lnTo>
                      <a:pt x="1219" y="1549"/>
                    </a:lnTo>
                    <a:lnTo>
                      <a:pt x="1217" y="1548"/>
                    </a:lnTo>
                    <a:lnTo>
                      <a:pt x="1217" y="1549"/>
                    </a:lnTo>
                    <a:lnTo>
                      <a:pt x="1219" y="1549"/>
                    </a:lnTo>
                    <a:lnTo>
                      <a:pt x="1219" y="1551"/>
                    </a:lnTo>
                    <a:lnTo>
                      <a:pt x="1217" y="1551"/>
                    </a:lnTo>
                    <a:lnTo>
                      <a:pt x="1215" y="1549"/>
                    </a:lnTo>
                    <a:lnTo>
                      <a:pt x="1215" y="1551"/>
                    </a:lnTo>
                    <a:lnTo>
                      <a:pt x="1213" y="1551"/>
                    </a:lnTo>
                    <a:lnTo>
                      <a:pt x="1213" y="1549"/>
                    </a:lnTo>
                    <a:lnTo>
                      <a:pt x="1212" y="1548"/>
                    </a:lnTo>
                    <a:lnTo>
                      <a:pt x="1213" y="1549"/>
                    </a:lnTo>
                    <a:lnTo>
                      <a:pt x="1212" y="1549"/>
                    </a:lnTo>
                    <a:lnTo>
                      <a:pt x="1213" y="1551"/>
                    </a:lnTo>
                    <a:lnTo>
                      <a:pt x="1212" y="1551"/>
                    </a:lnTo>
                    <a:lnTo>
                      <a:pt x="1210" y="1551"/>
                    </a:lnTo>
                    <a:lnTo>
                      <a:pt x="1212" y="1549"/>
                    </a:lnTo>
                    <a:lnTo>
                      <a:pt x="1210" y="1549"/>
                    </a:lnTo>
                    <a:lnTo>
                      <a:pt x="1212" y="1549"/>
                    </a:lnTo>
                    <a:lnTo>
                      <a:pt x="1210" y="1549"/>
                    </a:lnTo>
                    <a:lnTo>
                      <a:pt x="1208" y="1548"/>
                    </a:lnTo>
                    <a:lnTo>
                      <a:pt x="1208" y="1549"/>
                    </a:lnTo>
                    <a:lnTo>
                      <a:pt x="1210" y="1549"/>
                    </a:lnTo>
                    <a:lnTo>
                      <a:pt x="1208" y="1549"/>
                    </a:lnTo>
                    <a:lnTo>
                      <a:pt x="1207" y="1548"/>
                    </a:lnTo>
                    <a:lnTo>
                      <a:pt x="1208" y="1546"/>
                    </a:lnTo>
                    <a:lnTo>
                      <a:pt x="1207" y="1546"/>
                    </a:lnTo>
                    <a:lnTo>
                      <a:pt x="1205" y="1548"/>
                    </a:lnTo>
                    <a:lnTo>
                      <a:pt x="1205" y="1546"/>
                    </a:lnTo>
                    <a:lnTo>
                      <a:pt x="1205" y="1544"/>
                    </a:lnTo>
                    <a:lnTo>
                      <a:pt x="1203" y="1544"/>
                    </a:lnTo>
                    <a:lnTo>
                      <a:pt x="1205" y="1544"/>
                    </a:lnTo>
                    <a:lnTo>
                      <a:pt x="1203" y="1544"/>
                    </a:lnTo>
                    <a:lnTo>
                      <a:pt x="1203" y="1543"/>
                    </a:lnTo>
                    <a:lnTo>
                      <a:pt x="1203" y="1541"/>
                    </a:lnTo>
                    <a:lnTo>
                      <a:pt x="1205" y="1543"/>
                    </a:lnTo>
                    <a:lnTo>
                      <a:pt x="1207" y="1544"/>
                    </a:lnTo>
                    <a:lnTo>
                      <a:pt x="1207" y="1546"/>
                    </a:lnTo>
                    <a:lnTo>
                      <a:pt x="1207" y="1544"/>
                    </a:lnTo>
                    <a:lnTo>
                      <a:pt x="1207" y="1546"/>
                    </a:lnTo>
                    <a:lnTo>
                      <a:pt x="1208" y="1546"/>
                    </a:lnTo>
                    <a:lnTo>
                      <a:pt x="1208" y="1544"/>
                    </a:lnTo>
                    <a:lnTo>
                      <a:pt x="1208" y="1546"/>
                    </a:lnTo>
                    <a:lnTo>
                      <a:pt x="1210" y="1546"/>
                    </a:lnTo>
                    <a:lnTo>
                      <a:pt x="1212" y="1546"/>
                    </a:lnTo>
                    <a:lnTo>
                      <a:pt x="1210" y="1548"/>
                    </a:lnTo>
                    <a:lnTo>
                      <a:pt x="1212" y="1548"/>
                    </a:lnTo>
                    <a:lnTo>
                      <a:pt x="1213" y="1548"/>
                    </a:lnTo>
                    <a:lnTo>
                      <a:pt x="1213" y="1549"/>
                    </a:lnTo>
                    <a:lnTo>
                      <a:pt x="1215" y="1549"/>
                    </a:lnTo>
                    <a:lnTo>
                      <a:pt x="1213" y="1548"/>
                    </a:lnTo>
                    <a:lnTo>
                      <a:pt x="1212" y="1548"/>
                    </a:lnTo>
                    <a:lnTo>
                      <a:pt x="1212" y="1546"/>
                    </a:lnTo>
                    <a:lnTo>
                      <a:pt x="1210" y="1546"/>
                    </a:lnTo>
                    <a:lnTo>
                      <a:pt x="1210" y="1544"/>
                    </a:lnTo>
                    <a:lnTo>
                      <a:pt x="1208" y="1544"/>
                    </a:lnTo>
                    <a:lnTo>
                      <a:pt x="1208" y="1543"/>
                    </a:lnTo>
                    <a:lnTo>
                      <a:pt x="1210" y="1544"/>
                    </a:lnTo>
                    <a:lnTo>
                      <a:pt x="1210" y="1543"/>
                    </a:lnTo>
                    <a:lnTo>
                      <a:pt x="1212" y="1544"/>
                    </a:lnTo>
                    <a:lnTo>
                      <a:pt x="1213" y="1544"/>
                    </a:lnTo>
                    <a:lnTo>
                      <a:pt x="1212" y="1543"/>
                    </a:lnTo>
                    <a:lnTo>
                      <a:pt x="1213" y="1543"/>
                    </a:lnTo>
                    <a:lnTo>
                      <a:pt x="1212" y="1543"/>
                    </a:lnTo>
                    <a:lnTo>
                      <a:pt x="1210" y="1543"/>
                    </a:lnTo>
                    <a:lnTo>
                      <a:pt x="1210" y="1541"/>
                    </a:lnTo>
                    <a:lnTo>
                      <a:pt x="1210" y="1539"/>
                    </a:lnTo>
                    <a:lnTo>
                      <a:pt x="1212" y="1539"/>
                    </a:lnTo>
                    <a:close/>
                    <a:moveTo>
                      <a:pt x="1191" y="1097"/>
                    </a:moveTo>
                    <a:lnTo>
                      <a:pt x="1193" y="1099"/>
                    </a:lnTo>
                    <a:lnTo>
                      <a:pt x="1195" y="1099"/>
                    </a:lnTo>
                    <a:lnTo>
                      <a:pt x="1196" y="1099"/>
                    </a:lnTo>
                    <a:lnTo>
                      <a:pt x="1198" y="1099"/>
                    </a:lnTo>
                    <a:lnTo>
                      <a:pt x="1198" y="1100"/>
                    </a:lnTo>
                    <a:lnTo>
                      <a:pt x="1200" y="1102"/>
                    </a:lnTo>
                    <a:lnTo>
                      <a:pt x="1200" y="1104"/>
                    </a:lnTo>
                    <a:lnTo>
                      <a:pt x="1198" y="1104"/>
                    </a:lnTo>
                    <a:lnTo>
                      <a:pt x="1196" y="1104"/>
                    </a:lnTo>
                    <a:lnTo>
                      <a:pt x="1195" y="1104"/>
                    </a:lnTo>
                    <a:lnTo>
                      <a:pt x="1195" y="1102"/>
                    </a:lnTo>
                    <a:lnTo>
                      <a:pt x="1195" y="1104"/>
                    </a:lnTo>
                    <a:lnTo>
                      <a:pt x="1193" y="1102"/>
                    </a:lnTo>
                    <a:lnTo>
                      <a:pt x="1195" y="1102"/>
                    </a:lnTo>
                    <a:lnTo>
                      <a:pt x="1195" y="1104"/>
                    </a:lnTo>
                    <a:lnTo>
                      <a:pt x="1195" y="1105"/>
                    </a:lnTo>
                    <a:lnTo>
                      <a:pt x="1193" y="1104"/>
                    </a:lnTo>
                    <a:lnTo>
                      <a:pt x="1193" y="1105"/>
                    </a:lnTo>
                    <a:lnTo>
                      <a:pt x="1191" y="1105"/>
                    </a:lnTo>
                    <a:lnTo>
                      <a:pt x="1191" y="1104"/>
                    </a:lnTo>
                    <a:lnTo>
                      <a:pt x="1190" y="1104"/>
                    </a:lnTo>
                    <a:lnTo>
                      <a:pt x="1190" y="1105"/>
                    </a:lnTo>
                    <a:lnTo>
                      <a:pt x="1188" y="1105"/>
                    </a:lnTo>
                    <a:lnTo>
                      <a:pt x="1186" y="1105"/>
                    </a:lnTo>
                    <a:lnTo>
                      <a:pt x="1185" y="1105"/>
                    </a:lnTo>
                    <a:lnTo>
                      <a:pt x="1185" y="1104"/>
                    </a:lnTo>
                    <a:lnTo>
                      <a:pt x="1183" y="1104"/>
                    </a:lnTo>
                    <a:lnTo>
                      <a:pt x="1185" y="1104"/>
                    </a:lnTo>
                    <a:lnTo>
                      <a:pt x="1186" y="1102"/>
                    </a:lnTo>
                    <a:lnTo>
                      <a:pt x="1188" y="1100"/>
                    </a:lnTo>
                    <a:lnTo>
                      <a:pt x="1188" y="1099"/>
                    </a:lnTo>
                    <a:lnTo>
                      <a:pt x="1190" y="1099"/>
                    </a:lnTo>
                    <a:lnTo>
                      <a:pt x="1191" y="1097"/>
                    </a:lnTo>
                    <a:close/>
                    <a:moveTo>
                      <a:pt x="1174" y="1449"/>
                    </a:moveTo>
                    <a:lnTo>
                      <a:pt x="1174" y="1451"/>
                    </a:lnTo>
                    <a:lnTo>
                      <a:pt x="1174" y="1453"/>
                    </a:lnTo>
                    <a:lnTo>
                      <a:pt x="1176" y="1453"/>
                    </a:lnTo>
                    <a:lnTo>
                      <a:pt x="1174" y="1453"/>
                    </a:lnTo>
                    <a:lnTo>
                      <a:pt x="1174" y="1454"/>
                    </a:lnTo>
                    <a:lnTo>
                      <a:pt x="1173" y="1454"/>
                    </a:lnTo>
                    <a:lnTo>
                      <a:pt x="1173" y="1456"/>
                    </a:lnTo>
                    <a:lnTo>
                      <a:pt x="1174" y="1456"/>
                    </a:lnTo>
                    <a:lnTo>
                      <a:pt x="1174" y="1454"/>
                    </a:lnTo>
                    <a:lnTo>
                      <a:pt x="1176" y="1454"/>
                    </a:lnTo>
                    <a:lnTo>
                      <a:pt x="1176" y="1453"/>
                    </a:lnTo>
                    <a:lnTo>
                      <a:pt x="1176" y="1454"/>
                    </a:lnTo>
                    <a:lnTo>
                      <a:pt x="1176" y="1456"/>
                    </a:lnTo>
                    <a:lnTo>
                      <a:pt x="1176" y="1454"/>
                    </a:lnTo>
                    <a:lnTo>
                      <a:pt x="1176" y="1453"/>
                    </a:lnTo>
                    <a:lnTo>
                      <a:pt x="1176" y="1454"/>
                    </a:lnTo>
                    <a:lnTo>
                      <a:pt x="1176" y="1456"/>
                    </a:lnTo>
                    <a:lnTo>
                      <a:pt x="1176" y="1458"/>
                    </a:lnTo>
                    <a:lnTo>
                      <a:pt x="1174" y="1458"/>
                    </a:lnTo>
                    <a:lnTo>
                      <a:pt x="1173" y="1458"/>
                    </a:lnTo>
                    <a:lnTo>
                      <a:pt x="1174" y="1459"/>
                    </a:lnTo>
                    <a:lnTo>
                      <a:pt x="1173" y="1461"/>
                    </a:lnTo>
                    <a:lnTo>
                      <a:pt x="1173" y="1463"/>
                    </a:lnTo>
                    <a:lnTo>
                      <a:pt x="1173" y="1461"/>
                    </a:lnTo>
                    <a:lnTo>
                      <a:pt x="1173" y="1463"/>
                    </a:lnTo>
                    <a:lnTo>
                      <a:pt x="1173" y="1461"/>
                    </a:lnTo>
                    <a:lnTo>
                      <a:pt x="1174" y="1461"/>
                    </a:lnTo>
                    <a:lnTo>
                      <a:pt x="1174" y="1463"/>
                    </a:lnTo>
                    <a:lnTo>
                      <a:pt x="1173" y="1463"/>
                    </a:lnTo>
                    <a:lnTo>
                      <a:pt x="1173" y="1464"/>
                    </a:lnTo>
                    <a:lnTo>
                      <a:pt x="1173" y="1466"/>
                    </a:lnTo>
                    <a:lnTo>
                      <a:pt x="1173" y="1464"/>
                    </a:lnTo>
                    <a:lnTo>
                      <a:pt x="1171" y="1466"/>
                    </a:lnTo>
                    <a:lnTo>
                      <a:pt x="1173" y="1466"/>
                    </a:lnTo>
                    <a:lnTo>
                      <a:pt x="1171" y="1466"/>
                    </a:lnTo>
                    <a:lnTo>
                      <a:pt x="1171" y="1468"/>
                    </a:lnTo>
                    <a:lnTo>
                      <a:pt x="1169" y="1468"/>
                    </a:lnTo>
                    <a:lnTo>
                      <a:pt x="1169" y="1470"/>
                    </a:lnTo>
                    <a:lnTo>
                      <a:pt x="1169" y="1471"/>
                    </a:lnTo>
                    <a:lnTo>
                      <a:pt x="1168" y="1471"/>
                    </a:lnTo>
                    <a:lnTo>
                      <a:pt x="1168" y="1470"/>
                    </a:lnTo>
                    <a:lnTo>
                      <a:pt x="1166" y="1470"/>
                    </a:lnTo>
                    <a:lnTo>
                      <a:pt x="1168" y="1468"/>
                    </a:lnTo>
                    <a:lnTo>
                      <a:pt x="1168" y="1466"/>
                    </a:lnTo>
                    <a:lnTo>
                      <a:pt x="1169" y="1466"/>
                    </a:lnTo>
                    <a:lnTo>
                      <a:pt x="1169" y="1464"/>
                    </a:lnTo>
                    <a:lnTo>
                      <a:pt x="1171" y="1464"/>
                    </a:lnTo>
                    <a:lnTo>
                      <a:pt x="1169" y="1464"/>
                    </a:lnTo>
                    <a:lnTo>
                      <a:pt x="1169" y="1463"/>
                    </a:lnTo>
                    <a:lnTo>
                      <a:pt x="1169" y="1464"/>
                    </a:lnTo>
                    <a:lnTo>
                      <a:pt x="1168" y="1464"/>
                    </a:lnTo>
                    <a:lnTo>
                      <a:pt x="1169" y="1464"/>
                    </a:lnTo>
                    <a:lnTo>
                      <a:pt x="1168" y="1464"/>
                    </a:lnTo>
                    <a:lnTo>
                      <a:pt x="1169" y="1463"/>
                    </a:lnTo>
                    <a:lnTo>
                      <a:pt x="1169" y="1461"/>
                    </a:lnTo>
                    <a:lnTo>
                      <a:pt x="1171" y="1459"/>
                    </a:lnTo>
                    <a:lnTo>
                      <a:pt x="1169" y="1461"/>
                    </a:lnTo>
                    <a:lnTo>
                      <a:pt x="1169" y="1459"/>
                    </a:lnTo>
                    <a:lnTo>
                      <a:pt x="1169" y="1458"/>
                    </a:lnTo>
                    <a:lnTo>
                      <a:pt x="1171" y="1458"/>
                    </a:lnTo>
                    <a:lnTo>
                      <a:pt x="1171" y="1456"/>
                    </a:lnTo>
                    <a:lnTo>
                      <a:pt x="1171" y="1454"/>
                    </a:lnTo>
                    <a:lnTo>
                      <a:pt x="1171" y="1453"/>
                    </a:lnTo>
                    <a:lnTo>
                      <a:pt x="1173" y="1454"/>
                    </a:lnTo>
                    <a:lnTo>
                      <a:pt x="1173" y="1453"/>
                    </a:lnTo>
                    <a:lnTo>
                      <a:pt x="1173" y="1454"/>
                    </a:lnTo>
                    <a:lnTo>
                      <a:pt x="1173" y="1453"/>
                    </a:lnTo>
                    <a:lnTo>
                      <a:pt x="1173" y="1454"/>
                    </a:lnTo>
                    <a:lnTo>
                      <a:pt x="1173" y="1453"/>
                    </a:lnTo>
                    <a:lnTo>
                      <a:pt x="1171" y="1453"/>
                    </a:lnTo>
                    <a:lnTo>
                      <a:pt x="1173" y="1451"/>
                    </a:lnTo>
                    <a:lnTo>
                      <a:pt x="1174" y="1449"/>
                    </a:lnTo>
                    <a:close/>
                    <a:moveTo>
                      <a:pt x="1186" y="1075"/>
                    </a:moveTo>
                    <a:lnTo>
                      <a:pt x="1188" y="1075"/>
                    </a:lnTo>
                    <a:lnTo>
                      <a:pt x="1188" y="1077"/>
                    </a:lnTo>
                    <a:lnTo>
                      <a:pt x="1190" y="1078"/>
                    </a:lnTo>
                    <a:lnTo>
                      <a:pt x="1190" y="1080"/>
                    </a:lnTo>
                    <a:lnTo>
                      <a:pt x="1188" y="1080"/>
                    </a:lnTo>
                    <a:lnTo>
                      <a:pt x="1186" y="1080"/>
                    </a:lnTo>
                    <a:lnTo>
                      <a:pt x="1185" y="1080"/>
                    </a:lnTo>
                    <a:lnTo>
                      <a:pt x="1186" y="1080"/>
                    </a:lnTo>
                    <a:lnTo>
                      <a:pt x="1188" y="1080"/>
                    </a:lnTo>
                    <a:lnTo>
                      <a:pt x="1190" y="1080"/>
                    </a:lnTo>
                    <a:lnTo>
                      <a:pt x="1190" y="1078"/>
                    </a:lnTo>
                    <a:lnTo>
                      <a:pt x="1191" y="1080"/>
                    </a:lnTo>
                    <a:lnTo>
                      <a:pt x="1191" y="1082"/>
                    </a:lnTo>
                    <a:lnTo>
                      <a:pt x="1191" y="1080"/>
                    </a:lnTo>
                    <a:lnTo>
                      <a:pt x="1191" y="1082"/>
                    </a:lnTo>
                    <a:lnTo>
                      <a:pt x="1193" y="1083"/>
                    </a:lnTo>
                    <a:lnTo>
                      <a:pt x="1191" y="1083"/>
                    </a:lnTo>
                    <a:lnTo>
                      <a:pt x="1190" y="1083"/>
                    </a:lnTo>
                    <a:lnTo>
                      <a:pt x="1188" y="1083"/>
                    </a:lnTo>
                    <a:lnTo>
                      <a:pt x="1186" y="1083"/>
                    </a:lnTo>
                    <a:lnTo>
                      <a:pt x="1185" y="1083"/>
                    </a:lnTo>
                    <a:lnTo>
                      <a:pt x="1185" y="1082"/>
                    </a:lnTo>
                    <a:lnTo>
                      <a:pt x="1185" y="1080"/>
                    </a:lnTo>
                    <a:lnTo>
                      <a:pt x="1183" y="1080"/>
                    </a:lnTo>
                    <a:lnTo>
                      <a:pt x="1181" y="1080"/>
                    </a:lnTo>
                    <a:lnTo>
                      <a:pt x="1183" y="1080"/>
                    </a:lnTo>
                    <a:lnTo>
                      <a:pt x="1183" y="1082"/>
                    </a:lnTo>
                    <a:lnTo>
                      <a:pt x="1185" y="1083"/>
                    </a:lnTo>
                    <a:lnTo>
                      <a:pt x="1183" y="1083"/>
                    </a:lnTo>
                    <a:lnTo>
                      <a:pt x="1183" y="1082"/>
                    </a:lnTo>
                    <a:lnTo>
                      <a:pt x="1183" y="1083"/>
                    </a:lnTo>
                    <a:lnTo>
                      <a:pt x="1183" y="1082"/>
                    </a:lnTo>
                    <a:lnTo>
                      <a:pt x="1183" y="1083"/>
                    </a:lnTo>
                    <a:lnTo>
                      <a:pt x="1183" y="1082"/>
                    </a:lnTo>
                    <a:lnTo>
                      <a:pt x="1181" y="1082"/>
                    </a:lnTo>
                    <a:lnTo>
                      <a:pt x="1179" y="1082"/>
                    </a:lnTo>
                    <a:lnTo>
                      <a:pt x="1178" y="1080"/>
                    </a:lnTo>
                    <a:lnTo>
                      <a:pt x="1178" y="1078"/>
                    </a:lnTo>
                    <a:lnTo>
                      <a:pt x="1179" y="1077"/>
                    </a:lnTo>
                    <a:lnTo>
                      <a:pt x="1181" y="1077"/>
                    </a:lnTo>
                    <a:lnTo>
                      <a:pt x="1183" y="1077"/>
                    </a:lnTo>
                    <a:lnTo>
                      <a:pt x="1183" y="1078"/>
                    </a:lnTo>
                    <a:lnTo>
                      <a:pt x="1185" y="1077"/>
                    </a:lnTo>
                    <a:lnTo>
                      <a:pt x="1186" y="1075"/>
                    </a:lnTo>
                    <a:close/>
                    <a:moveTo>
                      <a:pt x="1169" y="1390"/>
                    </a:moveTo>
                    <a:lnTo>
                      <a:pt x="1169" y="1391"/>
                    </a:lnTo>
                    <a:lnTo>
                      <a:pt x="1171" y="1390"/>
                    </a:lnTo>
                    <a:lnTo>
                      <a:pt x="1171" y="1391"/>
                    </a:lnTo>
                    <a:lnTo>
                      <a:pt x="1173" y="1391"/>
                    </a:lnTo>
                    <a:lnTo>
                      <a:pt x="1171" y="1393"/>
                    </a:lnTo>
                    <a:lnTo>
                      <a:pt x="1171" y="1391"/>
                    </a:lnTo>
                    <a:lnTo>
                      <a:pt x="1171" y="1393"/>
                    </a:lnTo>
                    <a:lnTo>
                      <a:pt x="1171" y="1395"/>
                    </a:lnTo>
                    <a:lnTo>
                      <a:pt x="1169" y="1393"/>
                    </a:lnTo>
                    <a:lnTo>
                      <a:pt x="1169" y="1395"/>
                    </a:lnTo>
                    <a:lnTo>
                      <a:pt x="1171" y="1395"/>
                    </a:lnTo>
                    <a:lnTo>
                      <a:pt x="1169" y="1395"/>
                    </a:lnTo>
                    <a:lnTo>
                      <a:pt x="1171" y="1396"/>
                    </a:lnTo>
                    <a:lnTo>
                      <a:pt x="1171" y="1395"/>
                    </a:lnTo>
                    <a:lnTo>
                      <a:pt x="1173" y="1396"/>
                    </a:lnTo>
                    <a:lnTo>
                      <a:pt x="1173" y="1398"/>
                    </a:lnTo>
                    <a:lnTo>
                      <a:pt x="1171" y="1398"/>
                    </a:lnTo>
                    <a:lnTo>
                      <a:pt x="1169" y="1398"/>
                    </a:lnTo>
                    <a:lnTo>
                      <a:pt x="1171" y="1398"/>
                    </a:lnTo>
                    <a:lnTo>
                      <a:pt x="1173" y="1398"/>
                    </a:lnTo>
                    <a:lnTo>
                      <a:pt x="1171" y="1400"/>
                    </a:lnTo>
                    <a:lnTo>
                      <a:pt x="1173" y="1400"/>
                    </a:lnTo>
                    <a:lnTo>
                      <a:pt x="1173" y="1401"/>
                    </a:lnTo>
                    <a:lnTo>
                      <a:pt x="1173" y="1400"/>
                    </a:lnTo>
                    <a:lnTo>
                      <a:pt x="1173" y="1398"/>
                    </a:lnTo>
                    <a:lnTo>
                      <a:pt x="1173" y="1396"/>
                    </a:lnTo>
                    <a:lnTo>
                      <a:pt x="1174" y="1398"/>
                    </a:lnTo>
                    <a:lnTo>
                      <a:pt x="1174" y="1400"/>
                    </a:lnTo>
                    <a:lnTo>
                      <a:pt x="1174" y="1401"/>
                    </a:lnTo>
                    <a:lnTo>
                      <a:pt x="1173" y="1401"/>
                    </a:lnTo>
                    <a:lnTo>
                      <a:pt x="1173" y="1403"/>
                    </a:lnTo>
                    <a:lnTo>
                      <a:pt x="1171" y="1403"/>
                    </a:lnTo>
                    <a:lnTo>
                      <a:pt x="1171" y="1401"/>
                    </a:lnTo>
                    <a:lnTo>
                      <a:pt x="1169" y="1401"/>
                    </a:lnTo>
                    <a:lnTo>
                      <a:pt x="1168" y="1401"/>
                    </a:lnTo>
                    <a:lnTo>
                      <a:pt x="1166" y="1400"/>
                    </a:lnTo>
                    <a:lnTo>
                      <a:pt x="1168" y="1400"/>
                    </a:lnTo>
                    <a:lnTo>
                      <a:pt x="1166" y="1400"/>
                    </a:lnTo>
                    <a:lnTo>
                      <a:pt x="1164" y="1400"/>
                    </a:lnTo>
                    <a:lnTo>
                      <a:pt x="1164" y="1398"/>
                    </a:lnTo>
                    <a:lnTo>
                      <a:pt x="1166" y="1398"/>
                    </a:lnTo>
                    <a:lnTo>
                      <a:pt x="1168" y="1400"/>
                    </a:lnTo>
                    <a:lnTo>
                      <a:pt x="1166" y="1398"/>
                    </a:lnTo>
                    <a:lnTo>
                      <a:pt x="1168" y="1398"/>
                    </a:lnTo>
                    <a:lnTo>
                      <a:pt x="1166" y="1398"/>
                    </a:lnTo>
                    <a:lnTo>
                      <a:pt x="1168" y="1398"/>
                    </a:lnTo>
                    <a:lnTo>
                      <a:pt x="1166" y="1398"/>
                    </a:lnTo>
                    <a:lnTo>
                      <a:pt x="1164" y="1396"/>
                    </a:lnTo>
                    <a:lnTo>
                      <a:pt x="1166" y="1396"/>
                    </a:lnTo>
                    <a:lnTo>
                      <a:pt x="1166" y="1398"/>
                    </a:lnTo>
                    <a:lnTo>
                      <a:pt x="1168" y="1398"/>
                    </a:lnTo>
                    <a:lnTo>
                      <a:pt x="1168" y="1396"/>
                    </a:lnTo>
                    <a:lnTo>
                      <a:pt x="1166" y="1396"/>
                    </a:lnTo>
                    <a:lnTo>
                      <a:pt x="1164" y="1396"/>
                    </a:lnTo>
                    <a:lnTo>
                      <a:pt x="1164" y="1395"/>
                    </a:lnTo>
                    <a:lnTo>
                      <a:pt x="1166" y="1396"/>
                    </a:lnTo>
                    <a:lnTo>
                      <a:pt x="1168" y="1396"/>
                    </a:lnTo>
                    <a:lnTo>
                      <a:pt x="1166" y="1396"/>
                    </a:lnTo>
                    <a:lnTo>
                      <a:pt x="1166" y="1395"/>
                    </a:lnTo>
                    <a:lnTo>
                      <a:pt x="1164" y="1395"/>
                    </a:lnTo>
                    <a:lnTo>
                      <a:pt x="1166" y="1395"/>
                    </a:lnTo>
                    <a:lnTo>
                      <a:pt x="1164" y="1395"/>
                    </a:lnTo>
                    <a:lnTo>
                      <a:pt x="1164" y="1393"/>
                    </a:lnTo>
                    <a:lnTo>
                      <a:pt x="1166" y="1393"/>
                    </a:lnTo>
                    <a:lnTo>
                      <a:pt x="1168" y="1393"/>
                    </a:lnTo>
                    <a:lnTo>
                      <a:pt x="1168" y="1395"/>
                    </a:lnTo>
                    <a:lnTo>
                      <a:pt x="1166" y="1393"/>
                    </a:lnTo>
                    <a:lnTo>
                      <a:pt x="1168" y="1395"/>
                    </a:lnTo>
                    <a:lnTo>
                      <a:pt x="1169" y="1393"/>
                    </a:lnTo>
                    <a:lnTo>
                      <a:pt x="1168" y="1393"/>
                    </a:lnTo>
                    <a:lnTo>
                      <a:pt x="1168" y="1391"/>
                    </a:lnTo>
                    <a:lnTo>
                      <a:pt x="1166" y="1391"/>
                    </a:lnTo>
                    <a:lnTo>
                      <a:pt x="1164" y="1391"/>
                    </a:lnTo>
                    <a:lnTo>
                      <a:pt x="1164" y="1390"/>
                    </a:lnTo>
                    <a:lnTo>
                      <a:pt x="1166" y="1391"/>
                    </a:lnTo>
                    <a:lnTo>
                      <a:pt x="1166" y="1390"/>
                    </a:lnTo>
                    <a:lnTo>
                      <a:pt x="1168" y="1390"/>
                    </a:lnTo>
                    <a:lnTo>
                      <a:pt x="1168" y="1391"/>
                    </a:lnTo>
                    <a:lnTo>
                      <a:pt x="1169" y="1391"/>
                    </a:lnTo>
                    <a:lnTo>
                      <a:pt x="1169" y="1393"/>
                    </a:lnTo>
                    <a:lnTo>
                      <a:pt x="1169" y="1391"/>
                    </a:lnTo>
                    <a:lnTo>
                      <a:pt x="1168" y="1390"/>
                    </a:lnTo>
                    <a:lnTo>
                      <a:pt x="1169" y="1390"/>
                    </a:lnTo>
                    <a:close/>
                    <a:moveTo>
                      <a:pt x="1195" y="1114"/>
                    </a:moveTo>
                    <a:lnTo>
                      <a:pt x="1196" y="1114"/>
                    </a:lnTo>
                    <a:lnTo>
                      <a:pt x="1195" y="1114"/>
                    </a:lnTo>
                    <a:lnTo>
                      <a:pt x="1196" y="1116"/>
                    </a:lnTo>
                    <a:lnTo>
                      <a:pt x="1196" y="1117"/>
                    </a:lnTo>
                    <a:lnTo>
                      <a:pt x="1198" y="1117"/>
                    </a:lnTo>
                    <a:lnTo>
                      <a:pt x="1200" y="1117"/>
                    </a:lnTo>
                    <a:lnTo>
                      <a:pt x="1202" y="1116"/>
                    </a:lnTo>
                    <a:lnTo>
                      <a:pt x="1203" y="1116"/>
                    </a:lnTo>
                    <a:lnTo>
                      <a:pt x="1203" y="1117"/>
                    </a:lnTo>
                    <a:lnTo>
                      <a:pt x="1203" y="1119"/>
                    </a:lnTo>
                    <a:lnTo>
                      <a:pt x="1205" y="1119"/>
                    </a:lnTo>
                    <a:lnTo>
                      <a:pt x="1205" y="1121"/>
                    </a:lnTo>
                    <a:lnTo>
                      <a:pt x="1205" y="1122"/>
                    </a:lnTo>
                    <a:lnTo>
                      <a:pt x="1203" y="1121"/>
                    </a:lnTo>
                    <a:lnTo>
                      <a:pt x="1203" y="1122"/>
                    </a:lnTo>
                    <a:lnTo>
                      <a:pt x="1203" y="1121"/>
                    </a:lnTo>
                    <a:lnTo>
                      <a:pt x="1202" y="1122"/>
                    </a:lnTo>
                    <a:lnTo>
                      <a:pt x="1202" y="1121"/>
                    </a:lnTo>
                    <a:lnTo>
                      <a:pt x="1200" y="1121"/>
                    </a:lnTo>
                    <a:lnTo>
                      <a:pt x="1200" y="1122"/>
                    </a:lnTo>
                    <a:lnTo>
                      <a:pt x="1198" y="1122"/>
                    </a:lnTo>
                    <a:lnTo>
                      <a:pt x="1200" y="1121"/>
                    </a:lnTo>
                    <a:lnTo>
                      <a:pt x="1198" y="1122"/>
                    </a:lnTo>
                    <a:lnTo>
                      <a:pt x="1196" y="1122"/>
                    </a:lnTo>
                    <a:lnTo>
                      <a:pt x="1196" y="1121"/>
                    </a:lnTo>
                    <a:lnTo>
                      <a:pt x="1195" y="1121"/>
                    </a:lnTo>
                    <a:lnTo>
                      <a:pt x="1193" y="1121"/>
                    </a:lnTo>
                    <a:lnTo>
                      <a:pt x="1193" y="1119"/>
                    </a:lnTo>
                    <a:lnTo>
                      <a:pt x="1193" y="1121"/>
                    </a:lnTo>
                    <a:lnTo>
                      <a:pt x="1193" y="1122"/>
                    </a:lnTo>
                    <a:lnTo>
                      <a:pt x="1193" y="1121"/>
                    </a:lnTo>
                    <a:lnTo>
                      <a:pt x="1193" y="1119"/>
                    </a:lnTo>
                    <a:lnTo>
                      <a:pt x="1191" y="1121"/>
                    </a:lnTo>
                    <a:lnTo>
                      <a:pt x="1193" y="1119"/>
                    </a:lnTo>
                    <a:lnTo>
                      <a:pt x="1191" y="1119"/>
                    </a:lnTo>
                    <a:lnTo>
                      <a:pt x="1191" y="1117"/>
                    </a:lnTo>
                    <a:lnTo>
                      <a:pt x="1191" y="1116"/>
                    </a:lnTo>
                    <a:lnTo>
                      <a:pt x="1191" y="1114"/>
                    </a:lnTo>
                    <a:lnTo>
                      <a:pt x="1193" y="1116"/>
                    </a:lnTo>
                    <a:lnTo>
                      <a:pt x="1195" y="1114"/>
                    </a:lnTo>
                    <a:close/>
                    <a:moveTo>
                      <a:pt x="1288" y="1623"/>
                    </a:moveTo>
                    <a:lnTo>
                      <a:pt x="1290" y="1623"/>
                    </a:lnTo>
                    <a:lnTo>
                      <a:pt x="1292" y="1623"/>
                    </a:lnTo>
                    <a:lnTo>
                      <a:pt x="1290" y="1623"/>
                    </a:lnTo>
                    <a:lnTo>
                      <a:pt x="1292" y="1621"/>
                    </a:lnTo>
                    <a:lnTo>
                      <a:pt x="1292" y="1623"/>
                    </a:lnTo>
                    <a:lnTo>
                      <a:pt x="1293" y="1623"/>
                    </a:lnTo>
                    <a:lnTo>
                      <a:pt x="1293" y="1624"/>
                    </a:lnTo>
                    <a:lnTo>
                      <a:pt x="1293" y="1623"/>
                    </a:lnTo>
                    <a:lnTo>
                      <a:pt x="1293" y="1624"/>
                    </a:lnTo>
                    <a:lnTo>
                      <a:pt x="1295" y="1624"/>
                    </a:lnTo>
                    <a:lnTo>
                      <a:pt x="1295" y="1626"/>
                    </a:lnTo>
                    <a:lnTo>
                      <a:pt x="1297" y="1624"/>
                    </a:lnTo>
                    <a:lnTo>
                      <a:pt x="1298" y="1624"/>
                    </a:lnTo>
                    <a:lnTo>
                      <a:pt x="1297" y="1624"/>
                    </a:lnTo>
                    <a:lnTo>
                      <a:pt x="1297" y="1626"/>
                    </a:lnTo>
                    <a:lnTo>
                      <a:pt x="1298" y="1626"/>
                    </a:lnTo>
                    <a:lnTo>
                      <a:pt x="1300" y="1626"/>
                    </a:lnTo>
                    <a:lnTo>
                      <a:pt x="1298" y="1628"/>
                    </a:lnTo>
                    <a:lnTo>
                      <a:pt x="1297" y="1628"/>
                    </a:lnTo>
                    <a:lnTo>
                      <a:pt x="1298" y="1628"/>
                    </a:lnTo>
                    <a:lnTo>
                      <a:pt x="1300" y="1628"/>
                    </a:lnTo>
                    <a:lnTo>
                      <a:pt x="1298" y="1629"/>
                    </a:lnTo>
                    <a:lnTo>
                      <a:pt x="1298" y="1628"/>
                    </a:lnTo>
                    <a:lnTo>
                      <a:pt x="1297" y="1628"/>
                    </a:lnTo>
                    <a:lnTo>
                      <a:pt x="1297" y="1629"/>
                    </a:lnTo>
                    <a:lnTo>
                      <a:pt x="1295" y="1629"/>
                    </a:lnTo>
                    <a:lnTo>
                      <a:pt x="1293" y="1629"/>
                    </a:lnTo>
                    <a:lnTo>
                      <a:pt x="1293" y="1628"/>
                    </a:lnTo>
                    <a:lnTo>
                      <a:pt x="1292" y="1629"/>
                    </a:lnTo>
                    <a:lnTo>
                      <a:pt x="1292" y="1628"/>
                    </a:lnTo>
                    <a:lnTo>
                      <a:pt x="1293" y="1628"/>
                    </a:lnTo>
                    <a:lnTo>
                      <a:pt x="1295" y="1626"/>
                    </a:lnTo>
                    <a:lnTo>
                      <a:pt x="1293" y="1626"/>
                    </a:lnTo>
                    <a:lnTo>
                      <a:pt x="1292" y="1626"/>
                    </a:lnTo>
                    <a:lnTo>
                      <a:pt x="1292" y="1628"/>
                    </a:lnTo>
                    <a:lnTo>
                      <a:pt x="1292" y="1626"/>
                    </a:lnTo>
                    <a:lnTo>
                      <a:pt x="1292" y="1628"/>
                    </a:lnTo>
                    <a:lnTo>
                      <a:pt x="1290" y="1628"/>
                    </a:lnTo>
                    <a:lnTo>
                      <a:pt x="1290" y="1626"/>
                    </a:lnTo>
                    <a:lnTo>
                      <a:pt x="1290" y="1624"/>
                    </a:lnTo>
                    <a:lnTo>
                      <a:pt x="1292" y="1624"/>
                    </a:lnTo>
                    <a:lnTo>
                      <a:pt x="1290" y="1624"/>
                    </a:lnTo>
                    <a:lnTo>
                      <a:pt x="1288" y="1626"/>
                    </a:lnTo>
                    <a:lnTo>
                      <a:pt x="1288" y="1624"/>
                    </a:lnTo>
                    <a:lnTo>
                      <a:pt x="1287" y="1624"/>
                    </a:lnTo>
                    <a:lnTo>
                      <a:pt x="1288" y="1624"/>
                    </a:lnTo>
                    <a:lnTo>
                      <a:pt x="1288" y="1626"/>
                    </a:lnTo>
                    <a:lnTo>
                      <a:pt x="1287" y="1626"/>
                    </a:lnTo>
                    <a:lnTo>
                      <a:pt x="1287" y="1628"/>
                    </a:lnTo>
                    <a:lnTo>
                      <a:pt x="1285" y="1628"/>
                    </a:lnTo>
                    <a:lnTo>
                      <a:pt x="1287" y="1629"/>
                    </a:lnTo>
                    <a:lnTo>
                      <a:pt x="1285" y="1629"/>
                    </a:lnTo>
                    <a:lnTo>
                      <a:pt x="1285" y="1628"/>
                    </a:lnTo>
                    <a:lnTo>
                      <a:pt x="1285" y="1626"/>
                    </a:lnTo>
                    <a:lnTo>
                      <a:pt x="1285" y="1628"/>
                    </a:lnTo>
                    <a:lnTo>
                      <a:pt x="1283" y="1628"/>
                    </a:lnTo>
                    <a:lnTo>
                      <a:pt x="1283" y="1629"/>
                    </a:lnTo>
                    <a:lnTo>
                      <a:pt x="1281" y="1629"/>
                    </a:lnTo>
                    <a:lnTo>
                      <a:pt x="1281" y="1628"/>
                    </a:lnTo>
                    <a:lnTo>
                      <a:pt x="1283" y="1626"/>
                    </a:lnTo>
                    <a:lnTo>
                      <a:pt x="1281" y="1626"/>
                    </a:lnTo>
                    <a:lnTo>
                      <a:pt x="1281" y="1624"/>
                    </a:lnTo>
                    <a:lnTo>
                      <a:pt x="1283" y="1624"/>
                    </a:lnTo>
                    <a:lnTo>
                      <a:pt x="1283" y="1623"/>
                    </a:lnTo>
                    <a:lnTo>
                      <a:pt x="1283" y="1621"/>
                    </a:lnTo>
                    <a:lnTo>
                      <a:pt x="1285" y="1623"/>
                    </a:lnTo>
                    <a:lnTo>
                      <a:pt x="1285" y="1621"/>
                    </a:lnTo>
                    <a:lnTo>
                      <a:pt x="1287" y="1623"/>
                    </a:lnTo>
                    <a:lnTo>
                      <a:pt x="1288" y="1623"/>
                    </a:lnTo>
                    <a:lnTo>
                      <a:pt x="1287" y="1621"/>
                    </a:lnTo>
                    <a:lnTo>
                      <a:pt x="1288" y="1623"/>
                    </a:lnTo>
                    <a:close/>
                    <a:moveTo>
                      <a:pt x="1207" y="1082"/>
                    </a:moveTo>
                    <a:lnTo>
                      <a:pt x="1208" y="1083"/>
                    </a:lnTo>
                    <a:lnTo>
                      <a:pt x="1210" y="1083"/>
                    </a:lnTo>
                    <a:lnTo>
                      <a:pt x="1208" y="1085"/>
                    </a:lnTo>
                    <a:lnTo>
                      <a:pt x="1208" y="1083"/>
                    </a:lnTo>
                    <a:lnTo>
                      <a:pt x="1207" y="1083"/>
                    </a:lnTo>
                    <a:lnTo>
                      <a:pt x="1208" y="1083"/>
                    </a:lnTo>
                    <a:lnTo>
                      <a:pt x="1208" y="1085"/>
                    </a:lnTo>
                    <a:lnTo>
                      <a:pt x="1210" y="1085"/>
                    </a:lnTo>
                    <a:lnTo>
                      <a:pt x="1210" y="1087"/>
                    </a:lnTo>
                    <a:lnTo>
                      <a:pt x="1208" y="1087"/>
                    </a:lnTo>
                    <a:lnTo>
                      <a:pt x="1210" y="1088"/>
                    </a:lnTo>
                    <a:lnTo>
                      <a:pt x="1208" y="1088"/>
                    </a:lnTo>
                    <a:lnTo>
                      <a:pt x="1208" y="1090"/>
                    </a:lnTo>
                    <a:lnTo>
                      <a:pt x="1207" y="1090"/>
                    </a:lnTo>
                    <a:lnTo>
                      <a:pt x="1207" y="1092"/>
                    </a:lnTo>
                    <a:lnTo>
                      <a:pt x="1207" y="1090"/>
                    </a:lnTo>
                    <a:lnTo>
                      <a:pt x="1208" y="1090"/>
                    </a:lnTo>
                    <a:lnTo>
                      <a:pt x="1208" y="1088"/>
                    </a:lnTo>
                    <a:lnTo>
                      <a:pt x="1210" y="1088"/>
                    </a:lnTo>
                    <a:lnTo>
                      <a:pt x="1210" y="1090"/>
                    </a:lnTo>
                    <a:lnTo>
                      <a:pt x="1212" y="1090"/>
                    </a:lnTo>
                    <a:lnTo>
                      <a:pt x="1210" y="1090"/>
                    </a:lnTo>
                    <a:lnTo>
                      <a:pt x="1210" y="1092"/>
                    </a:lnTo>
                    <a:lnTo>
                      <a:pt x="1210" y="1090"/>
                    </a:lnTo>
                    <a:lnTo>
                      <a:pt x="1210" y="1092"/>
                    </a:lnTo>
                    <a:lnTo>
                      <a:pt x="1210" y="1090"/>
                    </a:lnTo>
                    <a:lnTo>
                      <a:pt x="1208" y="1092"/>
                    </a:lnTo>
                    <a:lnTo>
                      <a:pt x="1207" y="1092"/>
                    </a:lnTo>
                    <a:lnTo>
                      <a:pt x="1205" y="1092"/>
                    </a:lnTo>
                    <a:lnTo>
                      <a:pt x="1205" y="1090"/>
                    </a:lnTo>
                    <a:lnTo>
                      <a:pt x="1203" y="1090"/>
                    </a:lnTo>
                    <a:lnTo>
                      <a:pt x="1203" y="1088"/>
                    </a:lnTo>
                    <a:lnTo>
                      <a:pt x="1202" y="1088"/>
                    </a:lnTo>
                    <a:lnTo>
                      <a:pt x="1202" y="1087"/>
                    </a:lnTo>
                    <a:lnTo>
                      <a:pt x="1200" y="1085"/>
                    </a:lnTo>
                    <a:lnTo>
                      <a:pt x="1202" y="1085"/>
                    </a:lnTo>
                    <a:lnTo>
                      <a:pt x="1203" y="1087"/>
                    </a:lnTo>
                    <a:lnTo>
                      <a:pt x="1203" y="1088"/>
                    </a:lnTo>
                    <a:lnTo>
                      <a:pt x="1203" y="1087"/>
                    </a:lnTo>
                    <a:lnTo>
                      <a:pt x="1203" y="1085"/>
                    </a:lnTo>
                    <a:lnTo>
                      <a:pt x="1203" y="1083"/>
                    </a:lnTo>
                    <a:lnTo>
                      <a:pt x="1205" y="1083"/>
                    </a:lnTo>
                    <a:lnTo>
                      <a:pt x="1205" y="1082"/>
                    </a:lnTo>
                    <a:lnTo>
                      <a:pt x="1205" y="1083"/>
                    </a:lnTo>
                    <a:lnTo>
                      <a:pt x="1207" y="1082"/>
                    </a:lnTo>
                    <a:close/>
                    <a:moveTo>
                      <a:pt x="1207" y="1145"/>
                    </a:moveTo>
                    <a:lnTo>
                      <a:pt x="1207" y="1146"/>
                    </a:lnTo>
                    <a:lnTo>
                      <a:pt x="1208" y="1146"/>
                    </a:lnTo>
                    <a:lnTo>
                      <a:pt x="1208" y="1148"/>
                    </a:lnTo>
                    <a:lnTo>
                      <a:pt x="1207" y="1148"/>
                    </a:lnTo>
                    <a:lnTo>
                      <a:pt x="1208" y="1148"/>
                    </a:lnTo>
                    <a:lnTo>
                      <a:pt x="1208" y="1150"/>
                    </a:lnTo>
                    <a:lnTo>
                      <a:pt x="1207" y="1150"/>
                    </a:lnTo>
                    <a:lnTo>
                      <a:pt x="1208" y="1150"/>
                    </a:lnTo>
                    <a:lnTo>
                      <a:pt x="1208" y="1151"/>
                    </a:lnTo>
                    <a:lnTo>
                      <a:pt x="1207" y="1151"/>
                    </a:lnTo>
                    <a:lnTo>
                      <a:pt x="1208" y="1153"/>
                    </a:lnTo>
                    <a:lnTo>
                      <a:pt x="1207" y="1155"/>
                    </a:lnTo>
                    <a:lnTo>
                      <a:pt x="1205" y="1153"/>
                    </a:lnTo>
                    <a:lnTo>
                      <a:pt x="1203" y="1153"/>
                    </a:lnTo>
                    <a:lnTo>
                      <a:pt x="1203" y="1151"/>
                    </a:lnTo>
                    <a:lnTo>
                      <a:pt x="1203" y="1150"/>
                    </a:lnTo>
                    <a:lnTo>
                      <a:pt x="1205" y="1148"/>
                    </a:lnTo>
                    <a:lnTo>
                      <a:pt x="1207" y="1148"/>
                    </a:lnTo>
                    <a:lnTo>
                      <a:pt x="1205" y="1150"/>
                    </a:lnTo>
                    <a:lnTo>
                      <a:pt x="1207" y="1150"/>
                    </a:lnTo>
                    <a:lnTo>
                      <a:pt x="1205" y="1148"/>
                    </a:lnTo>
                    <a:lnTo>
                      <a:pt x="1207" y="1148"/>
                    </a:lnTo>
                    <a:lnTo>
                      <a:pt x="1207" y="1146"/>
                    </a:lnTo>
                    <a:lnTo>
                      <a:pt x="1205" y="1146"/>
                    </a:lnTo>
                    <a:lnTo>
                      <a:pt x="1203" y="1146"/>
                    </a:lnTo>
                    <a:lnTo>
                      <a:pt x="1203" y="1148"/>
                    </a:lnTo>
                    <a:lnTo>
                      <a:pt x="1205" y="1148"/>
                    </a:lnTo>
                    <a:lnTo>
                      <a:pt x="1203" y="1148"/>
                    </a:lnTo>
                    <a:lnTo>
                      <a:pt x="1203" y="1150"/>
                    </a:lnTo>
                    <a:lnTo>
                      <a:pt x="1202" y="1148"/>
                    </a:lnTo>
                    <a:lnTo>
                      <a:pt x="1202" y="1150"/>
                    </a:lnTo>
                    <a:lnTo>
                      <a:pt x="1203" y="1150"/>
                    </a:lnTo>
                    <a:lnTo>
                      <a:pt x="1203" y="1151"/>
                    </a:lnTo>
                    <a:lnTo>
                      <a:pt x="1202" y="1151"/>
                    </a:lnTo>
                    <a:lnTo>
                      <a:pt x="1200" y="1151"/>
                    </a:lnTo>
                    <a:lnTo>
                      <a:pt x="1200" y="1150"/>
                    </a:lnTo>
                    <a:lnTo>
                      <a:pt x="1198" y="1150"/>
                    </a:lnTo>
                    <a:lnTo>
                      <a:pt x="1200" y="1150"/>
                    </a:lnTo>
                    <a:lnTo>
                      <a:pt x="1200" y="1148"/>
                    </a:lnTo>
                    <a:lnTo>
                      <a:pt x="1200" y="1146"/>
                    </a:lnTo>
                    <a:lnTo>
                      <a:pt x="1202" y="1146"/>
                    </a:lnTo>
                    <a:lnTo>
                      <a:pt x="1203" y="1146"/>
                    </a:lnTo>
                    <a:lnTo>
                      <a:pt x="1205" y="1145"/>
                    </a:lnTo>
                    <a:lnTo>
                      <a:pt x="1203" y="1145"/>
                    </a:lnTo>
                    <a:lnTo>
                      <a:pt x="1205" y="1145"/>
                    </a:lnTo>
                    <a:lnTo>
                      <a:pt x="1205" y="1143"/>
                    </a:lnTo>
                    <a:lnTo>
                      <a:pt x="1207" y="1143"/>
                    </a:lnTo>
                    <a:lnTo>
                      <a:pt x="1207" y="1145"/>
                    </a:lnTo>
                    <a:close/>
                    <a:moveTo>
                      <a:pt x="1196" y="1065"/>
                    </a:moveTo>
                    <a:lnTo>
                      <a:pt x="1196" y="1066"/>
                    </a:lnTo>
                    <a:lnTo>
                      <a:pt x="1198" y="1066"/>
                    </a:lnTo>
                    <a:lnTo>
                      <a:pt x="1200" y="1066"/>
                    </a:lnTo>
                    <a:lnTo>
                      <a:pt x="1200" y="1068"/>
                    </a:lnTo>
                    <a:lnTo>
                      <a:pt x="1202" y="1068"/>
                    </a:lnTo>
                    <a:lnTo>
                      <a:pt x="1200" y="1068"/>
                    </a:lnTo>
                    <a:lnTo>
                      <a:pt x="1198" y="1068"/>
                    </a:lnTo>
                    <a:lnTo>
                      <a:pt x="1198" y="1070"/>
                    </a:lnTo>
                    <a:lnTo>
                      <a:pt x="1196" y="1068"/>
                    </a:lnTo>
                    <a:lnTo>
                      <a:pt x="1195" y="1068"/>
                    </a:lnTo>
                    <a:lnTo>
                      <a:pt x="1196" y="1070"/>
                    </a:lnTo>
                    <a:lnTo>
                      <a:pt x="1198" y="1071"/>
                    </a:lnTo>
                    <a:lnTo>
                      <a:pt x="1196" y="1070"/>
                    </a:lnTo>
                    <a:lnTo>
                      <a:pt x="1198" y="1070"/>
                    </a:lnTo>
                    <a:lnTo>
                      <a:pt x="1200" y="1071"/>
                    </a:lnTo>
                    <a:lnTo>
                      <a:pt x="1202" y="1071"/>
                    </a:lnTo>
                    <a:lnTo>
                      <a:pt x="1202" y="1070"/>
                    </a:lnTo>
                    <a:lnTo>
                      <a:pt x="1203" y="1070"/>
                    </a:lnTo>
                    <a:lnTo>
                      <a:pt x="1203" y="1071"/>
                    </a:lnTo>
                    <a:lnTo>
                      <a:pt x="1205" y="1071"/>
                    </a:lnTo>
                    <a:lnTo>
                      <a:pt x="1205" y="1073"/>
                    </a:lnTo>
                    <a:lnTo>
                      <a:pt x="1203" y="1073"/>
                    </a:lnTo>
                    <a:lnTo>
                      <a:pt x="1202" y="1073"/>
                    </a:lnTo>
                    <a:lnTo>
                      <a:pt x="1200" y="1073"/>
                    </a:lnTo>
                    <a:lnTo>
                      <a:pt x="1200" y="1071"/>
                    </a:lnTo>
                    <a:lnTo>
                      <a:pt x="1200" y="1073"/>
                    </a:lnTo>
                    <a:lnTo>
                      <a:pt x="1198" y="1073"/>
                    </a:lnTo>
                    <a:lnTo>
                      <a:pt x="1198" y="1071"/>
                    </a:lnTo>
                    <a:lnTo>
                      <a:pt x="1198" y="1073"/>
                    </a:lnTo>
                    <a:lnTo>
                      <a:pt x="1196" y="1073"/>
                    </a:lnTo>
                    <a:lnTo>
                      <a:pt x="1196" y="1071"/>
                    </a:lnTo>
                    <a:lnTo>
                      <a:pt x="1196" y="1073"/>
                    </a:lnTo>
                    <a:lnTo>
                      <a:pt x="1196" y="1071"/>
                    </a:lnTo>
                    <a:lnTo>
                      <a:pt x="1195" y="1071"/>
                    </a:lnTo>
                    <a:lnTo>
                      <a:pt x="1193" y="1070"/>
                    </a:lnTo>
                    <a:lnTo>
                      <a:pt x="1195" y="1068"/>
                    </a:lnTo>
                    <a:lnTo>
                      <a:pt x="1193" y="1068"/>
                    </a:lnTo>
                    <a:lnTo>
                      <a:pt x="1193" y="1066"/>
                    </a:lnTo>
                    <a:lnTo>
                      <a:pt x="1193" y="1065"/>
                    </a:lnTo>
                    <a:lnTo>
                      <a:pt x="1195" y="1065"/>
                    </a:lnTo>
                    <a:lnTo>
                      <a:pt x="1195" y="1063"/>
                    </a:lnTo>
                    <a:lnTo>
                      <a:pt x="1196" y="1063"/>
                    </a:lnTo>
                    <a:lnTo>
                      <a:pt x="1196" y="1065"/>
                    </a:lnTo>
                    <a:close/>
                    <a:moveTo>
                      <a:pt x="1254" y="1578"/>
                    </a:moveTo>
                    <a:lnTo>
                      <a:pt x="1254" y="1580"/>
                    </a:lnTo>
                    <a:lnTo>
                      <a:pt x="1254" y="1578"/>
                    </a:lnTo>
                    <a:lnTo>
                      <a:pt x="1256" y="1580"/>
                    </a:lnTo>
                    <a:lnTo>
                      <a:pt x="1254" y="1582"/>
                    </a:lnTo>
                    <a:lnTo>
                      <a:pt x="1256" y="1580"/>
                    </a:lnTo>
                    <a:lnTo>
                      <a:pt x="1256" y="1582"/>
                    </a:lnTo>
                    <a:lnTo>
                      <a:pt x="1258" y="1582"/>
                    </a:lnTo>
                    <a:lnTo>
                      <a:pt x="1256" y="1582"/>
                    </a:lnTo>
                    <a:lnTo>
                      <a:pt x="1256" y="1583"/>
                    </a:lnTo>
                    <a:lnTo>
                      <a:pt x="1254" y="1582"/>
                    </a:lnTo>
                    <a:lnTo>
                      <a:pt x="1254" y="1583"/>
                    </a:lnTo>
                    <a:lnTo>
                      <a:pt x="1254" y="1585"/>
                    </a:lnTo>
                    <a:lnTo>
                      <a:pt x="1254" y="1587"/>
                    </a:lnTo>
                    <a:lnTo>
                      <a:pt x="1253" y="1585"/>
                    </a:lnTo>
                    <a:lnTo>
                      <a:pt x="1253" y="1587"/>
                    </a:lnTo>
                    <a:lnTo>
                      <a:pt x="1254" y="1587"/>
                    </a:lnTo>
                    <a:lnTo>
                      <a:pt x="1253" y="1589"/>
                    </a:lnTo>
                    <a:lnTo>
                      <a:pt x="1251" y="1589"/>
                    </a:lnTo>
                    <a:lnTo>
                      <a:pt x="1251" y="1587"/>
                    </a:lnTo>
                    <a:lnTo>
                      <a:pt x="1249" y="1587"/>
                    </a:lnTo>
                    <a:lnTo>
                      <a:pt x="1251" y="1587"/>
                    </a:lnTo>
                    <a:lnTo>
                      <a:pt x="1249" y="1589"/>
                    </a:lnTo>
                    <a:lnTo>
                      <a:pt x="1251" y="1589"/>
                    </a:lnTo>
                    <a:lnTo>
                      <a:pt x="1253" y="1590"/>
                    </a:lnTo>
                    <a:lnTo>
                      <a:pt x="1251" y="1590"/>
                    </a:lnTo>
                    <a:lnTo>
                      <a:pt x="1249" y="1589"/>
                    </a:lnTo>
                    <a:lnTo>
                      <a:pt x="1249" y="1590"/>
                    </a:lnTo>
                    <a:lnTo>
                      <a:pt x="1247" y="1590"/>
                    </a:lnTo>
                    <a:lnTo>
                      <a:pt x="1247" y="1589"/>
                    </a:lnTo>
                    <a:lnTo>
                      <a:pt x="1246" y="1589"/>
                    </a:lnTo>
                    <a:lnTo>
                      <a:pt x="1247" y="1587"/>
                    </a:lnTo>
                    <a:lnTo>
                      <a:pt x="1247" y="1589"/>
                    </a:lnTo>
                    <a:lnTo>
                      <a:pt x="1247" y="1587"/>
                    </a:lnTo>
                    <a:lnTo>
                      <a:pt x="1246" y="1587"/>
                    </a:lnTo>
                    <a:lnTo>
                      <a:pt x="1247" y="1585"/>
                    </a:lnTo>
                    <a:lnTo>
                      <a:pt x="1249" y="1585"/>
                    </a:lnTo>
                    <a:lnTo>
                      <a:pt x="1251" y="1585"/>
                    </a:lnTo>
                    <a:lnTo>
                      <a:pt x="1249" y="1585"/>
                    </a:lnTo>
                    <a:lnTo>
                      <a:pt x="1249" y="1583"/>
                    </a:lnTo>
                    <a:lnTo>
                      <a:pt x="1251" y="1585"/>
                    </a:lnTo>
                    <a:lnTo>
                      <a:pt x="1251" y="1583"/>
                    </a:lnTo>
                    <a:lnTo>
                      <a:pt x="1253" y="1583"/>
                    </a:lnTo>
                    <a:lnTo>
                      <a:pt x="1253" y="1582"/>
                    </a:lnTo>
                    <a:lnTo>
                      <a:pt x="1251" y="1583"/>
                    </a:lnTo>
                    <a:lnTo>
                      <a:pt x="1249" y="1583"/>
                    </a:lnTo>
                    <a:lnTo>
                      <a:pt x="1249" y="1582"/>
                    </a:lnTo>
                    <a:lnTo>
                      <a:pt x="1251" y="1582"/>
                    </a:lnTo>
                    <a:lnTo>
                      <a:pt x="1251" y="1580"/>
                    </a:lnTo>
                    <a:lnTo>
                      <a:pt x="1249" y="1580"/>
                    </a:lnTo>
                    <a:lnTo>
                      <a:pt x="1249" y="1578"/>
                    </a:lnTo>
                    <a:lnTo>
                      <a:pt x="1251" y="1578"/>
                    </a:lnTo>
                    <a:lnTo>
                      <a:pt x="1253" y="1578"/>
                    </a:lnTo>
                    <a:lnTo>
                      <a:pt x="1253" y="1577"/>
                    </a:lnTo>
                    <a:lnTo>
                      <a:pt x="1254" y="1578"/>
                    </a:lnTo>
                    <a:close/>
                    <a:moveTo>
                      <a:pt x="1421" y="1667"/>
                    </a:moveTo>
                    <a:lnTo>
                      <a:pt x="1419" y="1669"/>
                    </a:lnTo>
                    <a:lnTo>
                      <a:pt x="1421" y="1669"/>
                    </a:lnTo>
                    <a:lnTo>
                      <a:pt x="1419" y="1670"/>
                    </a:lnTo>
                    <a:lnTo>
                      <a:pt x="1421" y="1670"/>
                    </a:lnTo>
                    <a:lnTo>
                      <a:pt x="1419" y="1672"/>
                    </a:lnTo>
                    <a:lnTo>
                      <a:pt x="1421" y="1672"/>
                    </a:lnTo>
                    <a:lnTo>
                      <a:pt x="1419" y="1674"/>
                    </a:lnTo>
                    <a:lnTo>
                      <a:pt x="1421" y="1675"/>
                    </a:lnTo>
                    <a:lnTo>
                      <a:pt x="1421" y="1674"/>
                    </a:lnTo>
                    <a:lnTo>
                      <a:pt x="1423" y="1674"/>
                    </a:lnTo>
                    <a:lnTo>
                      <a:pt x="1424" y="1675"/>
                    </a:lnTo>
                    <a:lnTo>
                      <a:pt x="1423" y="1675"/>
                    </a:lnTo>
                    <a:lnTo>
                      <a:pt x="1423" y="1677"/>
                    </a:lnTo>
                    <a:lnTo>
                      <a:pt x="1424" y="1677"/>
                    </a:lnTo>
                    <a:lnTo>
                      <a:pt x="1424" y="1679"/>
                    </a:lnTo>
                    <a:lnTo>
                      <a:pt x="1423" y="1679"/>
                    </a:lnTo>
                    <a:lnTo>
                      <a:pt x="1421" y="1680"/>
                    </a:lnTo>
                    <a:lnTo>
                      <a:pt x="1421" y="1679"/>
                    </a:lnTo>
                    <a:lnTo>
                      <a:pt x="1421" y="1677"/>
                    </a:lnTo>
                    <a:lnTo>
                      <a:pt x="1419" y="1679"/>
                    </a:lnTo>
                    <a:lnTo>
                      <a:pt x="1419" y="1677"/>
                    </a:lnTo>
                    <a:lnTo>
                      <a:pt x="1417" y="1679"/>
                    </a:lnTo>
                    <a:lnTo>
                      <a:pt x="1417" y="1677"/>
                    </a:lnTo>
                    <a:lnTo>
                      <a:pt x="1416" y="1677"/>
                    </a:lnTo>
                    <a:lnTo>
                      <a:pt x="1414" y="1677"/>
                    </a:lnTo>
                    <a:lnTo>
                      <a:pt x="1414" y="1675"/>
                    </a:lnTo>
                    <a:lnTo>
                      <a:pt x="1412" y="1675"/>
                    </a:lnTo>
                    <a:lnTo>
                      <a:pt x="1414" y="1675"/>
                    </a:lnTo>
                    <a:lnTo>
                      <a:pt x="1416" y="1675"/>
                    </a:lnTo>
                    <a:lnTo>
                      <a:pt x="1414" y="1675"/>
                    </a:lnTo>
                    <a:lnTo>
                      <a:pt x="1414" y="1674"/>
                    </a:lnTo>
                    <a:lnTo>
                      <a:pt x="1412" y="1672"/>
                    </a:lnTo>
                    <a:lnTo>
                      <a:pt x="1414" y="1672"/>
                    </a:lnTo>
                    <a:lnTo>
                      <a:pt x="1414" y="1670"/>
                    </a:lnTo>
                    <a:lnTo>
                      <a:pt x="1416" y="1670"/>
                    </a:lnTo>
                    <a:lnTo>
                      <a:pt x="1416" y="1672"/>
                    </a:lnTo>
                    <a:lnTo>
                      <a:pt x="1417" y="1672"/>
                    </a:lnTo>
                    <a:lnTo>
                      <a:pt x="1417" y="1674"/>
                    </a:lnTo>
                    <a:lnTo>
                      <a:pt x="1417" y="1675"/>
                    </a:lnTo>
                    <a:lnTo>
                      <a:pt x="1419" y="1675"/>
                    </a:lnTo>
                    <a:lnTo>
                      <a:pt x="1419" y="1674"/>
                    </a:lnTo>
                    <a:lnTo>
                      <a:pt x="1419" y="1672"/>
                    </a:lnTo>
                    <a:lnTo>
                      <a:pt x="1417" y="1672"/>
                    </a:lnTo>
                    <a:lnTo>
                      <a:pt x="1417" y="1670"/>
                    </a:lnTo>
                    <a:lnTo>
                      <a:pt x="1417" y="1669"/>
                    </a:lnTo>
                    <a:lnTo>
                      <a:pt x="1416" y="1669"/>
                    </a:lnTo>
                    <a:lnTo>
                      <a:pt x="1417" y="1667"/>
                    </a:lnTo>
                    <a:lnTo>
                      <a:pt x="1419" y="1667"/>
                    </a:lnTo>
                    <a:lnTo>
                      <a:pt x="1419" y="1665"/>
                    </a:lnTo>
                    <a:lnTo>
                      <a:pt x="1421" y="1665"/>
                    </a:lnTo>
                    <a:lnTo>
                      <a:pt x="1421" y="1667"/>
                    </a:lnTo>
                    <a:close/>
                    <a:moveTo>
                      <a:pt x="1198" y="1131"/>
                    </a:moveTo>
                    <a:lnTo>
                      <a:pt x="1196" y="1131"/>
                    </a:lnTo>
                    <a:lnTo>
                      <a:pt x="1198" y="1131"/>
                    </a:lnTo>
                    <a:lnTo>
                      <a:pt x="1200" y="1131"/>
                    </a:lnTo>
                    <a:lnTo>
                      <a:pt x="1200" y="1133"/>
                    </a:lnTo>
                    <a:lnTo>
                      <a:pt x="1202" y="1133"/>
                    </a:lnTo>
                    <a:lnTo>
                      <a:pt x="1202" y="1134"/>
                    </a:lnTo>
                    <a:lnTo>
                      <a:pt x="1200" y="1134"/>
                    </a:lnTo>
                    <a:lnTo>
                      <a:pt x="1202" y="1136"/>
                    </a:lnTo>
                    <a:lnTo>
                      <a:pt x="1200" y="1136"/>
                    </a:lnTo>
                    <a:lnTo>
                      <a:pt x="1200" y="1138"/>
                    </a:lnTo>
                    <a:lnTo>
                      <a:pt x="1198" y="1140"/>
                    </a:lnTo>
                    <a:lnTo>
                      <a:pt x="1196" y="1140"/>
                    </a:lnTo>
                    <a:lnTo>
                      <a:pt x="1195" y="1140"/>
                    </a:lnTo>
                    <a:lnTo>
                      <a:pt x="1195" y="1138"/>
                    </a:lnTo>
                    <a:lnTo>
                      <a:pt x="1195" y="1136"/>
                    </a:lnTo>
                    <a:lnTo>
                      <a:pt x="1195" y="1134"/>
                    </a:lnTo>
                    <a:lnTo>
                      <a:pt x="1193" y="1134"/>
                    </a:lnTo>
                    <a:lnTo>
                      <a:pt x="1193" y="1133"/>
                    </a:lnTo>
                    <a:lnTo>
                      <a:pt x="1195" y="1133"/>
                    </a:lnTo>
                    <a:lnTo>
                      <a:pt x="1195" y="1131"/>
                    </a:lnTo>
                    <a:lnTo>
                      <a:pt x="1196" y="1131"/>
                    </a:lnTo>
                    <a:lnTo>
                      <a:pt x="1196" y="1129"/>
                    </a:lnTo>
                    <a:lnTo>
                      <a:pt x="1198" y="1131"/>
                    </a:lnTo>
                    <a:close/>
                    <a:moveTo>
                      <a:pt x="1202" y="1153"/>
                    </a:moveTo>
                    <a:lnTo>
                      <a:pt x="1203" y="1153"/>
                    </a:lnTo>
                    <a:lnTo>
                      <a:pt x="1205" y="1155"/>
                    </a:lnTo>
                    <a:lnTo>
                      <a:pt x="1203" y="1155"/>
                    </a:lnTo>
                    <a:lnTo>
                      <a:pt x="1203" y="1157"/>
                    </a:lnTo>
                    <a:lnTo>
                      <a:pt x="1205" y="1155"/>
                    </a:lnTo>
                    <a:lnTo>
                      <a:pt x="1207" y="1155"/>
                    </a:lnTo>
                    <a:lnTo>
                      <a:pt x="1208" y="1157"/>
                    </a:lnTo>
                    <a:lnTo>
                      <a:pt x="1208" y="1158"/>
                    </a:lnTo>
                    <a:lnTo>
                      <a:pt x="1207" y="1158"/>
                    </a:lnTo>
                    <a:lnTo>
                      <a:pt x="1207" y="1160"/>
                    </a:lnTo>
                    <a:lnTo>
                      <a:pt x="1207" y="1162"/>
                    </a:lnTo>
                    <a:lnTo>
                      <a:pt x="1205" y="1163"/>
                    </a:lnTo>
                    <a:lnTo>
                      <a:pt x="1205" y="1162"/>
                    </a:lnTo>
                    <a:lnTo>
                      <a:pt x="1203" y="1162"/>
                    </a:lnTo>
                    <a:lnTo>
                      <a:pt x="1202" y="1160"/>
                    </a:lnTo>
                    <a:lnTo>
                      <a:pt x="1203" y="1160"/>
                    </a:lnTo>
                    <a:lnTo>
                      <a:pt x="1205" y="1160"/>
                    </a:lnTo>
                    <a:lnTo>
                      <a:pt x="1203" y="1160"/>
                    </a:lnTo>
                    <a:lnTo>
                      <a:pt x="1202" y="1160"/>
                    </a:lnTo>
                    <a:lnTo>
                      <a:pt x="1202" y="1158"/>
                    </a:lnTo>
                    <a:lnTo>
                      <a:pt x="1202" y="1157"/>
                    </a:lnTo>
                    <a:lnTo>
                      <a:pt x="1200" y="1157"/>
                    </a:lnTo>
                    <a:lnTo>
                      <a:pt x="1198" y="1157"/>
                    </a:lnTo>
                    <a:lnTo>
                      <a:pt x="1200" y="1157"/>
                    </a:lnTo>
                    <a:lnTo>
                      <a:pt x="1200" y="1155"/>
                    </a:lnTo>
                    <a:lnTo>
                      <a:pt x="1200" y="1153"/>
                    </a:lnTo>
                    <a:lnTo>
                      <a:pt x="1202" y="1153"/>
                    </a:lnTo>
                    <a:close/>
                    <a:moveTo>
                      <a:pt x="1179" y="1257"/>
                    </a:moveTo>
                    <a:lnTo>
                      <a:pt x="1179" y="1259"/>
                    </a:lnTo>
                    <a:lnTo>
                      <a:pt x="1181" y="1259"/>
                    </a:lnTo>
                    <a:lnTo>
                      <a:pt x="1183" y="1260"/>
                    </a:lnTo>
                    <a:lnTo>
                      <a:pt x="1183" y="1262"/>
                    </a:lnTo>
                    <a:lnTo>
                      <a:pt x="1185" y="1262"/>
                    </a:lnTo>
                    <a:lnTo>
                      <a:pt x="1185" y="1264"/>
                    </a:lnTo>
                    <a:lnTo>
                      <a:pt x="1186" y="1265"/>
                    </a:lnTo>
                    <a:lnTo>
                      <a:pt x="1185" y="1265"/>
                    </a:lnTo>
                    <a:lnTo>
                      <a:pt x="1185" y="1267"/>
                    </a:lnTo>
                    <a:lnTo>
                      <a:pt x="1183" y="1267"/>
                    </a:lnTo>
                    <a:lnTo>
                      <a:pt x="1183" y="1269"/>
                    </a:lnTo>
                    <a:lnTo>
                      <a:pt x="1181" y="1269"/>
                    </a:lnTo>
                    <a:lnTo>
                      <a:pt x="1179" y="1269"/>
                    </a:lnTo>
                    <a:lnTo>
                      <a:pt x="1179" y="1267"/>
                    </a:lnTo>
                    <a:lnTo>
                      <a:pt x="1179" y="1265"/>
                    </a:lnTo>
                    <a:lnTo>
                      <a:pt x="1181" y="1265"/>
                    </a:lnTo>
                    <a:lnTo>
                      <a:pt x="1179" y="1265"/>
                    </a:lnTo>
                    <a:lnTo>
                      <a:pt x="1179" y="1264"/>
                    </a:lnTo>
                    <a:lnTo>
                      <a:pt x="1181" y="1262"/>
                    </a:lnTo>
                    <a:lnTo>
                      <a:pt x="1183" y="1260"/>
                    </a:lnTo>
                    <a:lnTo>
                      <a:pt x="1181" y="1260"/>
                    </a:lnTo>
                    <a:lnTo>
                      <a:pt x="1181" y="1262"/>
                    </a:lnTo>
                    <a:lnTo>
                      <a:pt x="1179" y="1262"/>
                    </a:lnTo>
                    <a:lnTo>
                      <a:pt x="1179" y="1264"/>
                    </a:lnTo>
                    <a:lnTo>
                      <a:pt x="1179" y="1265"/>
                    </a:lnTo>
                    <a:lnTo>
                      <a:pt x="1178" y="1265"/>
                    </a:lnTo>
                    <a:lnTo>
                      <a:pt x="1178" y="1264"/>
                    </a:lnTo>
                    <a:lnTo>
                      <a:pt x="1178" y="1262"/>
                    </a:lnTo>
                    <a:lnTo>
                      <a:pt x="1178" y="1260"/>
                    </a:lnTo>
                    <a:lnTo>
                      <a:pt x="1179" y="1260"/>
                    </a:lnTo>
                    <a:lnTo>
                      <a:pt x="1178" y="1260"/>
                    </a:lnTo>
                    <a:lnTo>
                      <a:pt x="1178" y="1259"/>
                    </a:lnTo>
                    <a:lnTo>
                      <a:pt x="1178" y="1260"/>
                    </a:lnTo>
                    <a:lnTo>
                      <a:pt x="1178" y="1259"/>
                    </a:lnTo>
                    <a:lnTo>
                      <a:pt x="1179" y="1259"/>
                    </a:lnTo>
                    <a:lnTo>
                      <a:pt x="1181" y="1259"/>
                    </a:lnTo>
                    <a:lnTo>
                      <a:pt x="1179" y="1259"/>
                    </a:lnTo>
                    <a:lnTo>
                      <a:pt x="1179" y="1257"/>
                    </a:lnTo>
                    <a:lnTo>
                      <a:pt x="1178" y="1257"/>
                    </a:lnTo>
                    <a:lnTo>
                      <a:pt x="1179" y="1257"/>
                    </a:lnTo>
                    <a:close/>
                    <a:moveTo>
                      <a:pt x="1196" y="1126"/>
                    </a:moveTo>
                    <a:lnTo>
                      <a:pt x="1198" y="1126"/>
                    </a:lnTo>
                    <a:lnTo>
                      <a:pt x="1200" y="1126"/>
                    </a:lnTo>
                    <a:lnTo>
                      <a:pt x="1200" y="1128"/>
                    </a:lnTo>
                    <a:lnTo>
                      <a:pt x="1202" y="1126"/>
                    </a:lnTo>
                    <a:lnTo>
                      <a:pt x="1202" y="1128"/>
                    </a:lnTo>
                    <a:lnTo>
                      <a:pt x="1202" y="1126"/>
                    </a:lnTo>
                    <a:lnTo>
                      <a:pt x="1203" y="1126"/>
                    </a:lnTo>
                    <a:lnTo>
                      <a:pt x="1203" y="1128"/>
                    </a:lnTo>
                    <a:lnTo>
                      <a:pt x="1203" y="1129"/>
                    </a:lnTo>
                    <a:lnTo>
                      <a:pt x="1202" y="1131"/>
                    </a:lnTo>
                    <a:lnTo>
                      <a:pt x="1202" y="1133"/>
                    </a:lnTo>
                    <a:lnTo>
                      <a:pt x="1200" y="1131"/>
                    </a:lnTo>
                    <a:lnTo>
                      <a:pt x="1200" y="1129"/>
                    </a:lnTo>
                    <a:lnTo>
                      <a:pt x="1200" y="1131"/>
                    </a:lnTo>
                    <a:lnTo>
                      <a:pt x="1198" y="1131"/>
                    </a:lnTo>
                    <a:lnTo>
                      <a:pt x="1198" y="1129"/>
                    </a:lnTo>
                    <a:lnTo>
                      <a:pt x="1196" y="1129"/>
                    </a:lnTo>
                    <a:lnTo>
                      <a:pt x="1195" y="1129"/>
                    </a:lnTo>
                    <a:lnTo>
                      <a:pt x="1195" y="1131"/>
                    </a:lnTo>
                    <a:lnTo>
                      <a:pt x="1193" y="1131"/>
                    </a:lnTo>
                    <a:lnTo>
                      <a:pt x="1193" y="1133"/>
                    </a:lnTo>
                    <a:lnTo>
                      <a:pt x="1191" y="1131"/>
                    </a:lnTo>
                    <a:lnTo>
                      <a:pt x="1193" y="1131"/>
                    </a:lnTo>
                    <a:lnTo>
                      <a:pt x="1193" y="1129"/>
                    </a:lnTo>
                    <a:lnTo>
                      <a:pt x="1195" y="1129"/>
                    </a:lnTo>
                    <a:lnTo>
                      <a:pt x="1193" y="1129"/>
                    </a:lnTo>
                    <a:lnTo>
                      <a:pt x="1193" y="1128"/>
                    </a:lnTo>
                    <a:lnTo>
                      <a:pt x="1195" y="1126"/>
                    </a:lnTo>
                    <a:lnTo>
                      <a:pt x="1196" y="1126"/>
                    </a:lnTo>
                    <a:lnTo>
                      <a:pt x="1198" y="1126"/>
                    </a:lnTo>
                    <a:lnTo>
                      <a:pt x="1196" y="1126"/>
                    </a:lnTo>
                    <a:lnTo>
                      <a:pt x="1195" y="1126"/>
                    </a:lnTo>
                    <a:lnTo>
                      <a:pt x="1195" y="1124"/>
                    </a:lnTo>
                    <a:lnTo>
                      <a:pt x="1196" y="1126"/>
                    </a:lnTo>
                    <a:close/>
                    <a:moveTo>
                      <a:pt x="1156" y="1291"/>
                    </a:moveTo>
                    <a:lnTo>
                      <a:pt x="1157" y="1291"/>
                    </a:lnTo>
                    <a:lnTo>
                      <a:pt x="1157" y="1293"/>
                    </a:lnTo>
                    <a:lnTo>
                      <a:pt x="1159" y="1293"/>
                    </a:lnTo>
                    <a:lnTo>
                      <a:pt x="1161" y="1293"/>
                    </a:lnTo>
                    <a:lnTo>
                      <a:pt x="1161" y="1294"/>
                    </a:lnTo>
                    <a:lnTo>
                      <a:pt x="1161" y="1296"/>
                    </a:lnTo>
                    <a:lnTo>
                      <a:pt x="1162" y="1296"/>
                    </a:lnTo>
                    <a:lnTo>
                      <a:pt x="1162" y="1298"/>
                    </a:lnTo>
                    <a:lnTo>
                      <a:pt x="1161" y="1296"/>
                    </a:lnTo>
                    <a:lnTo>
                      <a:pt x="1161" y="1298"/>
                    </a:lnTo>
                    <a:lnTo>
                      <a:pt x="1159" y="1296"/>
                    </a:lnTo>
                    <a:lnTo>
                      <a:pt x="1159" y="1298"/>
                    </a:lnTo>
                    <a:lnTo>
                      <a:pt x="1161" y="1298"/>
                    </a:lnTo>
                    <a:lnTo>
                      <a:pt x="1162" y="1299"/>
                    </a:lnTo>
                    <a:lnTo>
                      <a:pt x="1161" y="1299"/>
                    </a:lnTo>
                    <a:lnTo>
                      <a:pt x="1159" y="1301"/>
                    </a:lnTo>
                    <a:lnTo>
                      <a:pt x="1157" y="1301"/>
                    </a:lnTo>
                    <a:lnTo>
                      <a:pt x="1157" y="1303"/>
                    </a:lnTo>
                    <a:lnTo>
                      <a:pt x="1157" y="1301"/>
                    </a:lnTo>
                    <a:lnTo>
                      <a:pt x="1157" y="1299"/>
                    </a:lnTo>
                    <a:lnTo>
                      <a:pt x="1156" y="1299"/>
                    </a:lnTo>
                    <a:lnTo>
                      <a:pt x="1156" y="1298"/>
                    </a:lnTo>
                    <a:lnTo>
                      <a:pt x="1156" y="1296"/>
                    </a:lnTo>
                    <a:lnTo>
                      <a:pt x="1156" y="1294"/>
                    </a:lnTo>
                    <a:lnTo>
                      <a:pt x="1157" y="1296"/>
                    </a:lnTo>
                    <a:lnTo>
                      <a:pt x="1156" y="1294"/>
                    </a:lnTo>
                    <a:lnTo>
                      <a:pt x="1154" y="1294"/>
                    </a:lnTo>
                    <a:lnTo>
                      <a:pt x="1154" y="1293"/>
                    </a:lnTo>
                    <a:lnTo>
                      <a:pt x="1154" y="1291"/>
                    </a:lnTo>
                    <a:lnTo>
                      <a:pt x="1156" y="1291"/>
                    </a:lnTo>
                    <a:close/>
                    <a:moveTo>
                      <a:pt x="1202" y="1046"/>
                    </a:moveTo>
                    <a:lnTo>
                      <a:pt x="1202" y="1048"/>
                    </a:lnTo>
                    <a:lnTo>
                      <a:pt x="1203" y="1048"/>
                    </a:lnTo>
                    <a:lnTo>
                      <a:pt x="1203" y="1049"/>
                    </a:lnTo>
                    <a:lnTo>
                      <a:pt x="1202" y="1049"/>
                    </a:lnTo>
                    <a:lnTo>
                      <a:pt x="1200" y="1049"/>
                    </a:lnTo>
                    <a:lnTo>
                      <a:pt x="1200" y="1051"/>
                    </a:lnTo>
                    <a:lnTo>
                      <a:pt x="1198" y="1049"/>
                    </a:lnTo>
                    <a:lnTo>
                      <a:pt x="1198" y="1051"/>
                    </a:lnTo>
                    <a:lnTo>
                      <a:pt x="1200" y="1051"/>
                    </a:lnTo>
                    <a:lnTo>
                      <a:pt x="1200" y="1053"/>
                    </a:lnTo>
                    <a:lnTo>
                      <a:pt x="1202" y="1053"/>
                    </a:lnTo>
                    <a:lnTo>
                      <a:pt x="1200" y="1053"/>
                    </a:lnTo>
                    <a:lnTo>
                      <a:pt x="1200" y="1054"/>
                    </a:lnTo>
                    <a:lnTo>
                      <a:pt x="1198" y="1054"/>
                    </a:lnTo>
                    <a:lnTo>
                      <a:pt x="1196" y="1054"/>
                    </a:lnTo>
                    <a:lnTo>
                      <a:pt x="1196" y="1053"/>
                    </a:lnTo>
                    <a:lnTo>
                      <a:pt x="1196" y="1051"/>
                    </a:lnTo>
                    <a:lnTo>
                      <a:pt x="1196" y="1053"/>
                    </a:lnTo>
                    <a:lnTo>
                      <a:pt x="1195" y="1053"/>
                    </a:lnTo>
                    <a:lnTo>
                      <a:pt x="1193" y="1053"/>
                    </a:lnTo>
                    <a:lnTo>
                      <a:pt x="1193" y="1051"/>
                    </a:lnTo>
                    <a:lnTo>
                      <a:pt x="1191" y="1051"/>
                    </a:lnTo>
                    <a:lnTo>
                      <a:pt x="1191" y="1049"/>
                    </a:lnTo>
                    <a:lnTo>
                      <a:pt x="1191" y="1048"/>
                    </a:lnTo>
                    <a:lnTo>
                      <a:pt x="1193" y="1048"/>
                    </a:lnTo>
                    <a:lnTo>
                      <a:pt x="1195" y="1048"/>
                    </a:lnTo>
                    <a:lnTo>
                      <a:pt x="1196" y="1049"/>
                    </a:lnTo>
                    <a:lnTo>
                      <a:pt x="1198" y="1049"/>
                    </a:lnTo>
                    <a:lnTo>
                      <a:pt x="1200" y="1049"/>
                    </a:lnTo>
                    <a:lnTo>
                      <a:pt x="1200" y="1048"/>
                    </a:lnTo>
                    <a:lnTo>
                      <a:pt x="1202" y="1048"/>
                    </a:lnTo>
                    <a:lnTo>
                      <a:pt x="1202" y="1046"/>
                    </a:lnTo>
                    <a:close/>
                    <a:moveTo>
                      <a:pt x="1185" y="1325"/>
                    </a:moveTo>
                    <a:lnTo>
                      <a:pt x="1186" y="1327"/>
                    </a:lnTo>
                    <a:lnTo>
                      <a:pt x="1186" y="1328"/>
                    </a:lnTo>
                    <a:lnTo>
                      <a:pt x="1188" y="1328"/>
                    </a:lnTo>
                    <a:lnTo>
                      <a:pt x="1188" y="1330"/>
                    </a:lnTo>
                    <a:lnTo>
                      <a:pt x="1188" y="1332"/>
                    </a:lnTo>
                    <a:lnTo>
                      <a:pt x="1188" y="1333"/>
                    </a:lnTo>
                    <a:lnTo>
                      <a:pt x="1186" y="1333"/>
                    </a:lnTo>
                    <a:lnTo>
                      <a:pt x="1185" y="1333"/>
                    </a:lnTo>
                    <a:lnTo>
                      <a:pt x="1185" y="1335"/>
                    </a:lnTo>
                    <a:lnTo>
                      <a:pt x="1183" y="1335"/>
                    </a:lnTo>
                    <a:lnTo>
                      <a:pt x="1183" y="1333"/>
                    </a:lnTo>
                    <a:lnTo>
                      <a:pt x="1181" y="1333"/>
                    </a:lnTo>
                    <a:lnTo>
                      <a:pt x="1183" y="1333"/>
                    </a:lnTo>
                    <a:lnTo>
                      <a:pt x="1183" y="1332"/>
                    </a:lnTo>
                    <a:lnTo>
                      <a:pt x="1183" y="1330"/>
                    </a:lnTo>
                    <a:lnTo>
                      <a:pt x="1181" y="1328"/>
                    </a:lnTo>
                    <a:lnTo>
                      <a:pt x="1181" y="1327"/>
                    </a:lnTo>
                    <a:lnTo>
                      <a:pt x="1183" y="1327"/>
                    </a:lnTo>
                    <a:lnTo>
                      <a:pt x="1183" y="1325"/>
                    </a:lnTo>
                    <a:lnTo>
                      <a:pt x="1183" y="1323"/>
                    </a:lnTo>
                    <a:lnTo>
                      <a:pt x="1185" y="1325"/>
                    </a:lnTo>
                    <a:close/>
                    <a:moveTo>
                      <a:pt x="1169" y="1242"/>
                    </a:moveTo>
                    <a:lnTo>
                      <a:pt x="1171" y="1242"/>
                    </a:lnTo>
                    <a:lnTo>
                      <a:pt x="1171" y="1243"/>
                    </a:lnTo>
                    <a:lnTo>
                      <a:pt x="1171" y="1245"/>
                    </a:lnTo>
                    <a:lnTo>
                      <a:pt x="1171" y="1247"/>
                    </a:lnTo>
                    <a:lnTo>
                      <a:pt x="1169" y="1247"/>
                    </a:lnTo>
                    <a:lnTo>
                      <a:pt x="1169" y="1245"/>
                    </a:lnTo>
                    <a:lnTo>
                      <a:pt x="1169" y="1247"/>
                    </a:lnTo>
                    <a:lnTo>
                      <a:pt x="1169" y="1248"/>
                    </a:lnTo>
                    <a:lnTo>
                      <a:pt x="1168" y="1248"/>
                    </a:lnTo>
                    <a:lnTo>
                      <a:pt x="1169" y="1248"/>
                    </a:lnTo>
                    <a:lnTo>
                      <a:pt x="1171" y="1248"/>
                    </a:lnTo>
                    <a:lnTo>
                      <a:pt x="1171" y="1250"/>
                    </a:lnTo>
                    <a:lnTo>
                      <a:pt x="1171" y="1252"/>
                    </a:lnTo>
                    <a:lnTo>
                      <a:pt x="1169" y="1252"/>
                    </a:lnTo>
                    <a:lnTo>
                      <a:pt x="1168" y="1252"/>
                    </a:lnTo>
                    <a:lnTo>
                      <a:pt x="1168" y="1250"/>
                    </a:lnTo>
                    <a:lnTo>
                      <a:pt x="1166" y="1250"/>
                    </a:lnTo>
                    <a:lnTo>
                      <a:pt x="1164" y="1250"/>
                    </a:lnTo>
                    <a:lnTo>
                      <a:pt x="1164" y="1248"/>
                    </a:lnTo>
                    <a:lnTo>
                      <a:pt x="1164" y="1247"/>
                    </a:lnTo>
                    <a:lnTo>
                      <a:pt x="1166" y="1248"/>
                    </a:lnTo>
                    <a:lnTo>
                      <a:pt x="1168" y="1248"/>
                    </a:lnTo>
                    <a:lnTo>
                      <a:pt x="1166" y="1248"/>
                    </a:lnTo>
                    <a:lnTo>
                      <a:pt x="1164" y="1247"/>
                    </a:lnTo>
                    <a:lnTo>
                      <a:pt x="1166" y="1247"/>
                    </a:lnTo>
                    <a:lnTo>
                      <a:pt x="1164" y="1245"/>
                    </a:lnTo>
                    <a:lnTo>
                      <a:pt x="1166" y="1245"/>
                    </a:lnTo>
                    <a:lnTo>
                      <a:pt x="1166" y="1243"/>
                    </a:lnTo>
                    <a:lnTo>
                      <a:pt x="1168" y="1245"/>
                    </a:lnTo>
                    <a:lnTo>
                      <a:pt x="1168" y="1243"/>
                    </a:lnTo>
                    <a:lnTo>
                      <a:pt x="1168" y="1245"/>
                    </a:lnTo>
                    <a:lnTo>
                      <a:pt x="1168" y="1243"/>
                    </a:lnTo>
                    <a:lnTo>
                      <a:pt x="1169" y="1243"/>
                    </a:lnTo>
                    <a:lnTo>
                      <a:pt x="1168" y="1243"/>
                    </a:lnTo>
                    <a:lnTo>
                      <a:pt x="1166" y="1242"/>
                    </a:lnTo>
                    <a:lnTo>
                      <a:pt x="1168" y="1242"/>
                    </a:lnTo>
                    <a:lnTo>
                      <a:pt x="1169" y="1242"/>
                    </a:lnTo>
                    <a:close/>
                    <a:moveTo>
                      <a:pt x="1162" y="1286"/>
                    </a:moveTo>
                    <a:lnTo>
                      <a:pt x="1162" y="1288"/>
                    </a:lnTo>
                    <a:lnTo>
                      <a:pt x="1162" y="1289"/>
                    </a:lnTo>
                    <a:lnTo>
                      <a:pt x="1162" y="1291"/>
                    </a:lnTo>
                    <a:lnTo>
                      <a:pt x="1161" y="1291"/>
                    </a:lnTo>
                    <a:lnTo>
                      <a:pt x="1161" y="1293"/>
                    </a:lnTo>
                    <a:lnTo>
                      <a:pt x="1161" y="1294"/>
                    </a:lnTo>
                    <a:lnTo>
                      <a:pt x="1159" y="1293"/>
                    </a:lnTo>
                    <a:lnTo>
                      <a:pt x="1157" y="1291"/>
                    </a:lnTo>
                    <a:lnTo>
                      <a:pt x="1156" y="1291"/>
                    </a:lnTo>
                    <a:lnTo>
                      <a:pt x="1156" y="1289"/>
                    </a:lnTo>
                    <a:lnTo>
                      <a:pt x="1156" y="1291"/>
                    </a:lnTo>
                    <a:lnTo>
                      <a:pt x="1156" y="1289"/>
                    </a:lnTo>
                    <a:lnTo>
                      <a:pt x="1157" y="1288"/>
                    </a:lnTo>
                    <a:lnTo>
                      <a:pt x="1159" y="1288"/>
                    </a:lnTo>
                    <a:lnTo>
                      <a:pt x="1159" y="1289"/>
                    </a:lnTo>
                    <a:lnTo>
                      <a:pt x="1159" y="1288"/>
                    </a:lnTo>
                    <a:lnTo>
                      <a:pt x="1157" y="1288"/>
                    </a:lnTo>
                    <a:lnTo>
                      <a:pt x="1159" y="1286"/>
                    </a:lnTo>
                    <a:lnTo>
                      <a:pt x="1161" y="1284"/>
                    </a:lnTo>
                    <a:lnTo>
                      <a:pt x="1161" y="1282"/>
                    </a:lnTo>
                    <a:lnTo>
                      <a:pt x="1162" y="1282"/>
                    </a:lnTo>
                    <a:lnTo>
                      <a:pt x="1162" y="1284"/>
                    </a:lnTo>
                    <a:lnTo>
                      <a:pt x="1162" y="1286"/>
                    </a:lnTo>
                    <a:close/>
                    <a:moveTo>
                      <a:pt x="1188" y="1265"/>
                    </a:moveTo>
                    <a:lnTo>
                      <a:pt x="1188" y="1267"/>
                    </a:lnTo>
                    <a:lnTo>
                      <a:pt x="1188" y="1269"/>
                    </a:lnTo>
                    <a:lnTo>
                      <a:pt x="1190" y="1270"/>
                    </a:lnTo>
                    <a:lnTo>
                      <a:pt x="1188" y="1270"/>
                    </a:lnTo>
                    <a:lnTo>
                      <a:pt x="1190" y="1270"/>
                    </a:lnTo>
                    <a:lnTo>
                      <a:pt x="1190" y="1272"/>
                    </a:lnTo>
                    <a:lnTo>
                      <a:pt x="1191" y="1274"/>
                    </a:lnTo>
                    <a:lnTo>
                      <a:pt x="1190" y="1276"/>
                    </a:lnTo>
                    <a:lnTo>
                      <a:pt x="1188" y="1276"/>
                    </a:lnTo>
                    <a:lnTo>
                      <a:pt x="1188" y="1274"/>
                    </a:lnTo>
                    <a:lnTo>
                      <a:pt x="1186" y="1274"/>
                    </a:lnTo>
                    <a:lnTo>
                      <a:pt x="1188" y="1274"/>
                    </a:lnTo>
                    <a:lnTo>
                      <a:pt x="1188" y="1272"/>
                    </a:lnTo>
                    <a:lnTo>
                      <a:pt x="1186" y="1272"/>
                    </a:lnTo>
                    <a:lnTo>
                      <a:pt x="1185" y="1272"/>
                    </a:lnTo>
                    <a:lnTo>
                      <a:pt x="1183" y="1270"/>
                    </a:lnTo>
                    <a:lnTo>
                      <a:pt x="1181" y="1270"/>
                    </a:lnTo>
                    <a:lnTo>
                      <a:pt x="1181" y="1269"/>
                    </a:lnTo>
                    <a:lnTo>
                      <a:pt x="1183" y="1269"/>
                    </a:lnTo>
                    <a:lnTo>
                      <a:pt x="1185" y="1269"/>
                    </a:lnTo>
                    <a:lnTo>
                      <a:pt x="1185" y="1270"/>
                    </a:lnTo>
                    <a:lnTo>
                      <a:pt x="1186" y="1270"/>
                    </a:lnTo>
                    <a:lnTo>
                      <a:pt x="1188" y="1272"/>
                    </a:lnTo>
                    <a:lnTo>
                      <a:pt x="1186" y="1270"/>
                    </a:lnTo>
                    <a:lnTo>
                      <a:pt x="1185" y="1269"/>
                    </a:lnTo>
                    <a:lnTo>
                      <a:pt x="1185" y="1267"/>
                    </a:lnTo>
                    <a:lnTo>
                      <a:pt x="1186" y="1265"/>
                    </a:lnTo>
                    <a:lnTo>
                      <a:pt x="1188" y="1265"/>
                    </a:lnTo>
                    <a:close/>
                    <a:moveTo>
                      <a:pt x="1186" y="1403"/>
                    </a:moveTo>
                    <a:lnTo>
                      <a:pt x="1186" y="1405"/>
                    </a:lnTo>
                    <a:lnTo>
                      <a:pt x="1188" y="1407"/>
                    </a:lnTo>
                    <a:lnTo>
                      <a:pt x="1188" y="1408"/>
                    </a:lnTo>
                    <a:lnTo>
                      <a:pt x="1188" y="1410"/>
                    </a:lnTo>
                    <a:lnTo>
                      <a:pt x="1188" y="1412"/>
                    </a:lnTo>
                    <a:lnTo>
                      <a:pt x="1190" y="1412"/>
                    </a:lnTo>
                    <a:lnTo>
                      <a:pt x="1190" y="1413"/>
                    </a:lnTo>
                    <a:lnTo>
                      <a:pt x="1190" y="1415"/>
                    </a:lnTo>
                    <a:lnTo>
                      <a:pt x="1190" y="1417"/>
                    </a:lnTo>
                    <a:lnTo>
                      <a:pt x="1191" y="1418"/>
                    </a:lnTo>
                    <a:lnTo>
                      <a:pt x="1190" y="1418"/>
                    </a:lnTo>
                    <a:lnTo>
                      <a:pt x="1190" y="1420"/>
                    </a:lnTo>
                    <a:lnTo>
                      <a:pt x="1188" y="1420"/>
                    </a:lnTo>
                    <a:lnTo>
                      <a:pt x="1188" y="1422"/>
                    </a:lnTo>
                    <a:lnTo>
                      <a:pt x="1188" y="1420"/>
                    </a:lnTo>
                    <a:lnTo>
                      <a:pt x="1188" y="1418"/>
                    </a:lnTo>
                    <a:lnTo>
                      <a:pt x="1188" y="1417"/>
                    </a:lnTo>
                    <a:lnTo>
                      <a:pt x="1186" y="1415"/>
                    </a:lnTo>
                    <a:lnTo>
                      <a:pt x="1188" y="1415"/>
                    </a:lnTo>
                    <a:lnTo>
                      <a:pt x="1186" y="1413"/>
                    </a:lnTo>
                    <a:lnTo>
                      <a:pt x="1186" y="1412"/>
                    </a:lnTo>
                    <a:lnTo>
                      <a:pt x="1186" y="1410"/>
                    </a:lnTo>
                    <a:lnTo>
                      <a:pt x="1186" y="1408"/>
                    </a:lnTo>
                    <a:lnTo>
                      <a:pt x="1185" y="1407"/>
                    </a:lnTo>
                    <a:lnTo>
                      <a:pt x="1186" y="1407"/>
                    </a:lnTo>
                    <a:lnTo>
                      <a:pt x="1185" y="1407"/>
                    </a:lnTo>
                    <a:lnTo>
                      <a:pt x="1186" y="1407"/>
                    </a:lnTo>
                    <a:lnTo>
                      <a:pt x="1186" y="1405"/>
                    </a:lnTo>
                    <a:lnTo>
                      <a:pt x="1185" y="1405"/>
                    </a:lnTo>
                    <a:lnTo>
                      <a:pt x="1185" y="1403"/>
                    </a:lnTo>
                    <a:lnTo>
                      <a:pt x="1186" y="1403"/>
                    </a:lnTo>
                    <a:close/>
                    <a:moveTo>
                      <a:pt x="1185" y="1112"/>
                    </a:moveTo>
                    <a:lnTo>
                      <a:pt x="1186" y="1114"/>
                    </a:lnTo>
                    <a:lnTo>
                      <a:pt x="1188" y="1114"/>
                    </a:lnTo>
                    <a:lnTo>
                      <a:pt x="1188" y="1116"/>
                    </a:lnTo>
                    <a:lnTo>
                      <a:pt x="1188" y="1114"/>
                    </a:lnTo>
                    <a:lnTo>
                      <a:pt x="1190" y="1114"/>
                    </a:lnTo>
                    <a:lnTo>
                      <a:pt x="1190" y="1116"/>
                    </a:lnTo>
                    <a:lnTo>
                      <a:pt x="1190" y="1117"/>
                    </a:lnTo>
                    <a:lnTo>
                      <a:pt x="1188" y="1117"/>
                    </a:lnTo>
                    <a:lnTo>
                      <a:pt x="1190" y="1117"/>
                    </a:lnTo>
                    <a:lnTo>
                      <a:pt x="1190" y="1119"/>
                    </a:lnTo>
                    <a:lnTo>
                      <a:pt x="1190" y="1121"/>
                    </a:lnTo>
                    <a:lnTo>
                      <a:pt x="1188" y="1121"/>
                    </a:lnTo>
                    <a:lnTo>
                      <a:pt x="1188" y="1119"/>
                    </a:lnTo>
                    <a:lnTo>
                      <a:pt x="1188" y="1117"/>
                    </a:lnTo>
                    <a:lnTo>
                      <a:pt x="1188" y="1116"/>
                    </a:lnTo>
                    <a:lnTo>
                      <a:pt x="1188" y="1114"/>
                    </a:lnTo>
                    <a:lnTo>
                      <a:pt x="1186" y="1116"/>
                    </a:lnTo>
                    <a:lnTo>
                      <a:pt x="1188" y="1117"/>
                    </a:lnTo>
                    <a:lnTo>
                      <a:pt x="1186" y="1117"/>
                    </a:lnTo>
                    <a:lnTo>
                      <a:pt x="1186" y="1116"/>
                    </a:lnTo>
                    <a:lnTo>
                      <a:pt x="1186" y="1117"/>
                    </a:lnTo>
                    <a:lnTo>
                      <a:pt x="1186" y="1119"/>
                    </a:lnTo>
                    <a:lnTo>
                      <a:pt x="1186" y="1121"/>
                    </a:lnTo>
                    <a:lnTo>
                      <a:pt x="1186" y="1119"/>
                    </a:lnTo>
                    <a:lnTo>
                      <a:pt x="1185" y="1119"/>
                    </a:lnTo>
                    <a:lnTo>
                      <a:pt x="1185" y="1117"/>
                    </a:lnTo>
                    <a:lnTo>
                      <a:pt x="1183" y="1117"/>
                    </a:lnTo>
                    <a:lnTo>
                      <a:pt x="1183" y="1116"/>
                    </a:lnTo>
                    <a:lnTo>
                      <a:pt x="1183" y="1114"/>
                    </a:lnTo>
                    <a:lnTo>
                      <a:pt x="1183" y="1112"/>
                    </a:lnTo>
                    <a:lnTo>
                      <a:pt x="1185" y="1112"/>
                    </a:lnTo>
                    <a:close/>
                    <a:moveTo>
                      <a:pt x="1161" y="1235"/>
                    </a:moveTo>
                    <a:lnTo>
                      <a:pt x="1159" y="1236"/>
                    </a:lnTo>
                    <a:lnTo>
                      <a:pt x="1161" y="1236"/>
                    </a:lnTo>
                    <a:lnTo>
                      <a:pt x="1161" y="1238"/>
                    </a:lnTo>
                    <a:lnTo>
                      <a:pt x="1159" y="1240"/>
                    </a:lnTo>
                    <a:lnTo>
                      <a:pt x="1157" y="1240"/>
                    </a:lnTo>
                    <a:lnTo>
                      <a:pt x="1159" y="1240"/>
                    </a:lnTo>
                    <a:lnTo>
                      <a:pt x="1161" y="1240"/>
                    </a:lnTo>
                    <a:lnTo>
                      <a:pt x="1162" y="1240"/>
                    </a:lnTo>
                    <a:lnTo>
                      <a:pt x="1162" y="1242"/>
                    </a:lnTo>
                    <a:lnTo>
                      <a:pt x="1161" y="1242"/>
                    </a:lnTo>
                    <a:lnTo>
                      <a:pt x="1161" y="1243"/>
                    </a:lnTo>
                    <a:lnTo>
                      <a:pt x="1159" y="1243"/>
                    </a:lnTo>
                    <a:lnTo>
                      <a:pt x="1157" y="1243"/>
                    </a:lnTo>
                    <a:lnTo>
                      <a:pt x="1157" y="1242"/>
                    </a:lnTo>
                    <a:lnTo>
                      <a:pt x="1156" y="1240"/>
                    </a:lnTo>
                    <a:lnTo>
                      <a:pt x="1156" y="1242"/>
                    </a:lnTo>
                    <a:lnTo>
                      <a:pt x="1157" y="1243"/>
                    </a:lnTo>
                    <a:lnTo>
                      <a:pt x="1156" y="1243"/>
                    </a:lnTo>
                    <a:lnTo>
                      <a:pt x="1156" y="1242"/>
                    </a:lnTo>
                    <a:lnTo>
                      <a:pt x="1156" y="1240"/>
                    </a:lnTo>
                    <a:lnTo>
                      <a:pt x="1154" y="1240"/>
                    </a:lnTo>
                    <a:lnTo>
                      <a:pt x="1152" y="1240"/>
                    </a:lnTo>
                    <a:lnTo>
                      <a:pt x="1151" y="1240"/>
                    </a:lnTo>
                    <a:lnTo>
                      <a:pt x="1151" y="1242"/>
                    </a:lnTo>
                    <a:lnTo>
                      <a:pt x="1151" y="1240"/>
                    </a:lnTo>
                    <a:lnTo>
                      <a:pt x="1151" y="1238"/>
                    </a:lnTo>
                    <a:lnTo>
                      <a:pt x="1152" y="1238"/>
                    </a:lnTo>
                    <a:lnTo>
                      <a:pt x="1152" y="1236"/>
                    </a:lnTo>
                    <a:lnTo>
                      <a:pt x="1152" y="1238"/>
                    </a:lnTo>
                    <a:lnTo>
                      <a:pt x="1154" y="1236"/>
                    </a:lnTo>
                    <a:lnTo>
                      <a:pt x="1154" y="1238"/>
                    </a:lnTo>
                    <a:lnTo>
                      <a:pt x="1154" y="1240"/>
                    </a:lnTo>
                    <a:lnTo>
                      <a:pt x="1154" y="1238"/>
                    </a:lnTo>
                    <a:lnTo>
                      <a:pt x="1156" y="1238"/>
                    </a:lnTo>
                    <a:lnTo>
                      <a:pt x="1157" y="1238"/>
                    </a:lnTo>
                    <a:lnTo>
                      <a:pt x="1157" y="1236"/>
                    </a:lnTo>
                    <a:lnTo>
                      <a:pt x="1159" y="1236"/>
                    </a:lnTo>
                    <a:lnTo>
                      <a:pt x="1157" y="1236"/>
                    </a:lnTo>
                    <a:lnTo>
                      <a:pt x="1159" y="1235"/>
                    </a:lnTo>
                    <a:lnTo>
                      <a:pt x="1161" y="1235"/>
                    </a:lnTo>
                    <a:close/>
                    <a:moveTo>
                      <a:pt x="1234" y="1456"/>
                    </a:moveTo>
                    <a:lnTo>
                      <a:pt x="1234" y="1458"/>
                    </a:lnTo>
                    <a:lnTo>
                      <a:pt x="1232" y="1458"/>
                    </a:lnTo>
                    <a:lnTo>
                      <a:pt x="1232" y="1459"/>
                    </a:lnTo>
                    <a:lnTo>
                      <a:pt x="1232" y="1461"/>
                    </a:lnTo>
                    <a:lnTo>
                      <a:pt x="1230" y="1461"/>
                    </a:lnTo>
                    <a:lnTo>
                      <a:pt x="1230" y="1463"/>
                    </a:lnTo>
                    <a:lnTo>
                      <a:pt x="1230" y="1464"/>
                    </a:lnTo>
                    <a:lnTo>
                      <a:pt x="1229" y="1464"/>
                    </a:lnTo>
                    <a:lnTo>
                      <a:pt x="1229" y="1466"/>
                    </a:lnTo>
                    <a:lnTo>
                      <a:pt x="1227" y="1466"/>
                    </a:lnTo>
                    <a:lnTo>
                      <a:pt x="1225" y="1466"/>
                    </a:lnTo>
                    <a:lnTo>
                      <a:pt x="1225" y="1464"/>
                    </a:lnTo>
                    <a:lnTo>
                      <a:pt x="1225" y="1463"/>
                    </a:lnTo>
                    <a:lnTo>
                      <a:pt x="1225" y="1461"/>
                    </a:lnTo>
                    <a:lnTo>
                      <a:pt x="1227" y="1461"/>
                    </a:lnTo>
                    <a:lnTo>
                      <a:pt x="1227" y="1459"/>
                    </a:lnTo>
                    <a:lnTo>
                      <a:pt x="1229" y="1458"/>
                    </a:lnTo>
                    <a:lnTo>
                      <a:pt x="1230" y="1458"/>
                    </a:lnTo>
                    <a:lnTo>
                      <a:pt x="1230" y="1456"/>
                    </a:lnTo>
                    <a:lnTo>
                      <a:pt x="1232" y="1456"/>
                    </a:lnTo>
                    <a:lnTo>
                      <a:pt x="1234" y="1456"/>
                    </a:lnTo>
                    <a:lnTo>
                      <a:pt x="1234" y="1454"/>
                    </a:lnTo>
                    <a:lnTo>
                      <a:pt x="1234" y="1456"/>
                    </a:lnTo>
                    <a:close/>
                    <a:moveTo>
                      <a:pt x="1183" y="1117"/>
                    </a:moveTo>
                    <a:lnTo>
                      <a:pt x="1185" y="1117"/>
                    </a:lnTo>
                    <a:lnTo>
                      <a:pt x="1185" y="1119"/>
                    </a:lnTo>
                    <a:lnTo>
                      <a:pt x="1186" y="1119"/>
                    </a:lnTo>
                    <a:lnTo>
                      <a:pt x="1186" y="1121"/>
                    </a:lnTo>
                    <a:lnTo>
                      <a:pt x="1186" y="1122"/>
                    </a:lnTo>
                    <a:lnTo>
                      <a:pt x="1188" y="1124"/>
                    </a:lnTo>
                    <a:lnTo>
                      <a:pt x="1186" y="1124"/>
                    </a:lnTo>
                    <a:lnTo>
                      <a:pt x="1185" y="1124"/>
                    </a:lnTo>
                    <a:lnTo>
                      <a:pt x="1183" y="1124"/>
                    </a:lnTo>
                    <a:lnTo>
                      <a:pt x="1183" y="1122"/>
                    </a:lnTo>
                    <a:lnTo>
                      <a:pt x="1181" y="1122"/>
                    </a:lnTo>
                    <a:lnTo>
                      <a:pt x="1179" y="1122"/>
                    </a:lnTo>
                    <a:lnTo>
                      <a:pt x="1179" y="1121"/>
                    </a:lnTo>
                    <a:lnTo>
                      <a:pt x="1179" y="1119"/>
                    </a:lnTo>
                    <a:lnTo>
                      <a:pt x="1181" y="1117"/>
                    </a:lnTo>
                    <a:lnTo>
                      <a:pt x="1183" y="1117"/>
                    </a:lnTo>
                    <a:close/>
                    <a:moveTo>
                      <a:pt x="1173" y="1373"/>
                    </a:moveTo>
                    <a:lnTo>
                      <a:pt x="1174" y="1373"/>
                    </a:lnTo>
                    <a:lnTo>
                      <a:pt x="1174" y="1374"/>
                    </a:lnTo>
                    <a:lnTo>
                      <a:pt x="1176" y="1374"/>
                    </a:lnTo>
                    <a:lnTo>
                      <a:pt x="1178" y="1374"/>
                    </a:lnTo>
                    <a:lnTo>
                      <a:pt x="1176" y="1374"/>
                    </a:lnTo>
                    <a:lnTo>
                      <a:pt x="1178" y="1374"/>
                    </a:lnTo>
                    <a:lnTo>
                      <a:pt x="1178" y="1376"/>
                    </a:lnTo>
                    <a:lnTo>
                      <a:pt x="1176" y="1376"/>
                    </a:lnTo>
                    <a:lnTo>
                      <a:pt x="1176" y="1378"/>
                    </a:lnTo>
                    <a:lnTo>
                      <a:pt x="1176" y="1376"/>
                    </a:lnTo>
                    <a:lnTo>
                      <a:pt x="1176" y="1378"/>
                    </a:lnTo>
                    <a:lnTo>
                      <a:pt x="1174" y="1378"/>
                    </a:lnTo>
                    <a:lnTo>
                      <a:pt x="1174" y="1379"/>
                    </a:lnTo>
                    <a:lnTo>
                      <a:pt x="1173" y="1379"/>
                    </a:lnTo>
                    <a:lnTo>
                      <a:pt x="1173" y="1381"/>
                    </a:lnTo>
                    <a:lnTo>
                      <a:pt x="1171" y="1381"/>
                    </a:lnTo>
                    <a:lnTo>
                      <a:pt x="1169" y="1379"/>
                    </a:lnTo>
                    <a:lnTo>
                      <a:pt x="1171" y="1379"/>
                    </a:lnTo>
                    <a:lnTo>
                      <a:pt x="1171" y="1378"/>
                    </a:lnTo>
                    <a:lnTo>
                      <a:pt x="1171" y="1379"/>
                    </a:lnTo>
                    <a:lnTo>
                      <a:pt x="1171" y="1378"/>
                    </a:lnTo>
                    <a:lnTo>
                      <a:pt x="1171" y="1376"/>
                    </a:lnTo>
                    <a:lnTo>
                      <a:pt x="1171" y="1378"/>
                    </a:lnTo>
                    <a:lnTo>
                      <a:pt x="1169" y="1378"/>
                    </a:lnTo>
                    <a:lnTo>
                      <a:pt x="1169" y="1376"/>
                    </a:lnTo>
                    <a:lnTo>
                      <a:pt x="1171" y="1376"/>
                    </a:lnTo>
                    <a:lnTo>
                      <a:pt x="1171" y="1374"/>
                    </a:lnTo>
                    <a:lnTo>
                      <a:pt x="1173" y="1374"/>
                    </a:lnTo>
                    <a:lnTo>
                      <a:pt x="1173" y="1373"/>
                    </a:lnTo>
                    <a:close/>
                    <a:moveTo>
                      <a:pt x="1436" y="1645"/>
                    </a:moveTo>
                    <a:lnTo>
                      <a:pt x="1438" y="1645"/>
                    </a:lnTo>
                    <a:lnTo>
                      <a:pt x="1438" y="1646"/>
                    </a:lnTo>
                    <a:lnTo>
                      <a:pt x="1438" y="1648"/>
                    </a:lnTo>
                    <a:lnTo>
                      <a:pt x="1438" y="1650"/>
                    </a:lnTo>
                    <a:lnTo>
                      <a:pt x="1438" y="1652"/>
                    </a:lnTo>
                    <a:lnTo>
                      <a:pt x="1436" y="1652"/>
                    </a:lnTo>
                    <a:lnTo>
                      <a:pt x="1438" y="1653"/>
                    </a:lnTo>
                    <a:lnTo>
                      <a:pt x="1436" y="1652"/>
                    </a:lnTo>
                    <a:lnTo>
                      <a:pt x="1436" y="1653"/>
                    </a:lnTo>
                    <a:lnTo>
                      <a:pt x="1434" y="1653"/>
                    </a:lnTo>
                    <a:lnTo>
                      <a:pt x="1433" y="1653"/>
                    </a:lnTo>
                    <a:lnTo>
                      <a:pt x="1431" y="1653"/>
                    </a:lnTo>
                    <a:lnTo>
                      <a:pt x="1431" y="1652"/>
                    </a:lnTo>
                    <a:lnTo>
                      <a:pt x="1431" y="1650"/>
                    </a:lnTo>
                    <a:lnTo>
                      <a:pt x="1431" y="1648"/>
                    </a:lnTo>
                    <a:lnTo>
                      <a:pt x="1433" y="1646"/>
                    </a:lnTo>
                    <a:lnTo>
                      <a:pt x="1434" y="1645"/>
                    </a:lnTo>
                    <a:lnTo>
                      <a:pt x="1436" y="1645"/>
                    </a:lnTo>
                    <a:close/>
                    <a:moveTo>
                      <a:pt x="1171" y="1036"/>
                    </a:moveTo>
                    <a:lnTo>
                      <a:pt x="1173" y="1036"/>
                    </a:lnTo>
                    <a:lnTo>
                      <a:pt x="1174" y="1036"/>
                    </a:lnTo>
                    <a:lnTo>
                      <a:pt x="1176" y="1037"/>
                    </a:lnTo>
                    <a:lnTo>
                      <a:pt x="1176" y="1039"/>
                    </a:lnTo>
                    <a:lnTo>
                      <a:pt x="1178" y="1039"/>
                    </a:lnTo>
                    <a:lnTo>
                      <a:pt x="1176" y="1039"/>
                    </a:lnTo>
                    <a:lnTo>
                      <a:pt x="1176" y="1041"/>
                    </a:lnTo>
                    <a:lnTo>
                      <a:pt x="1174" y="1041"/>
                    </a:lnTo>
                    <a:lnTo>
                      <a:pt x="1173" y="1041"/>
                    </a:lnTo>
                    <a:lnTo>
                      <a:pt x="1171" y="1041"/>
                    </a:lnTo>
                    <a:lnTo>
                      <a:pt x="1171" y="1043"/>
                    </a:lnTo>
                    <a:lnTo>
                      <a:pt x="1169" y="1041"/>
                    </a:lnTo>
                    <a:lnTo>
                      <a:pt x="1169" y="1039"/>
                    </a:lnTo>
                    <a:lnTo>
                      <a:pt x="1169" y="1037"/>
                    </a:lnTo>
                    <a:lnTo>
                      <a:pt x="1168" y="1037"/>
                    </a:lnTo>
                    <a:lnTo>
                      <a:pt x="1169" y="1037"/>
                    </a:lnTo>
                    <a:lnTo>
                      <a:pt x="1168" y="1036"/>
                    </a:lnTo>
                    <a:lnTo>
                      <a:pt x="1169" y="1037"/>
                    </a:lnTo>
                    <a:lnTo>
                      <a:pt x="1171" y="1037"/>
                    </a:lnTo>
                    <a:lnTo>
                      <a:pt x="1171" y="1036"/>
                    </a:lnTo>
                    <a:lnTo>
                      <a:pt x="1171" y="1034"/>
                    </a:lnTo>
                    <a:lnTo>
                      <a:pt x="1171" y="1036"/>
                    </a:lnTo>
                    <a:close/>
                    <a:moveTo>
                      <a:pt x="1195" y="1420"/>
                    </a:moveTo>
                    <a:lnTo>
                      <a:pt x="1196" y="1420"/>
                    </a:lnTo>
                    <a:lnTo>
                      <a:pt x="1198" y="1420"/>
                    </a:lnTo>
                    <a:lnTo>
                      <a:pt x="1198" y="1422"/>
                    </a:lnTo>
                    <a:lnTo>
                      <a:pt x="1198" y="1424"/>
                    </a:lnTo>
                    <a:lnTo>
                      <a:pt x="1198" y="1425"/>
                    </a:lnTo>
                    <a:lnTo>
                      <a:pt x="1196" y="1424"/>
                    </a:lnTo>
                    <a:lnTo>
                      <a:pt x="1196" y="1425"/>
                    </a:lnTo>
                    <a:lnTo>
                      <a:pt x="1198" y="1427"/>
                    </a:lnTo>
                    <a:lnTo>
                      <a:pt x="1196" y="1427"/>
                    </a:lnTo>
                    <a:lnTo>
                      <a:pt x="1195" y="1429"/>
                    </a:lnTo>
                    <a:lnTo>
                      <a:pt x="1195" y="1427"/>
                    </a:lnTo>
                    <a:lnTo>
                      <a:pt x="1193" y="1425"/>
                    </a:lnTo>
                    <a:lnTo>
                      <a:pt x="1193" y="1424"/>
                    </a:lnTo>
                    <a:lnTo>
                      <a:pt x="1193" y="1425"/>
                    </a:lnTo>
                    <a:lnTo>
                      <a:pt x="1193" y="1424"/>
                    </a:lnTo>
                    <a:lnTo>
                      <a:pt x="1193" y="1422"/>
                    </a:lnTo>
                    <a:lnTo>
                      <a:pt x="1193" y="1420"/>
                    </a:lnTo>
                    <a:lnTo>
                      <a:pt x="1195" y="1420"/>
                    </a:lnTo>
                    <a:close/>
                    <a:moveTo>
                      <a:pt x="1412" y="1680"/>
                    </a:moveTo>
                    <a:lnTo>
                      <a:pt x="1414" y="1680"/>
                    </a:lnTo>
                    <a:lnTo>
                      <a:pt x="1416" y="1682"/>
                    </a:lnTo>
                    <a:lnTo>
                      <a:pt x="1414" y="1682"/>
                    </a:lnTo>
                    <a:lnTo>
                      <a:pt x="1414" y="1684"/>
                    </a:lnTo>
                    <a:lnTo>
                      <a:pt x="1412" y="1684"/>
                    </a:lnTo>
                    <a:lnTo>
                      <a:pt x="1414" y="1684"/>
                    </a:lnTo>
                    <a:lnTo>
                      <a:pt x="1414" y="1686"/>
                    </a:lnTo>
                    <a:lnTo>
                      <a:pt x="1412" y="1686"/>
                    </a:lnTo>
                    <a:lnTo>
                      <a:pt x="1412" y="1684"/>
                    </a:lnTo>
                    <a:lnTo>
                      <a:pt x="1412" y="1686"/>
                    </a:lnTo>
                    <a:lnTo>
                      <a:pt x="1411" y="1687"/>
                    </a:lnTo>
                    <a:lnTo>
                      <a:pt x="1411" y="1686"/>
                    </a:lnTo>
                    <a:lnTo>
                      <a:pt x="1411" y="1684"/>
                    </a:lnTo>
                    <a:lnTo>
                      <a:pt x="1412" y="1684"/>
                    </a:lnTo>
                    <a:lnTo>
                      <a:pt x="1411" y="1682"/>
                    </a:lnTo>
                    <a:lnTo>
                      <a:pt x="1411" y="1684"/>
                    </a:lnTo>
                    <a:lnTo>
                      <a:pt x="1409" y="1684"/>
                    </a:lnTo>
                    <a:lnTo>
                      <a:pt x="1409" y="1686"/>
                    </a:lnTo>
                    <a:lnTo>
                      <a:pt x="1407" y="1686"/>
                    </a:lnTo>
                    <a:lnTo>
                      <a:pt x="1407" y="1684"/>
                    </a:lnTo>
                    <a:lnTo>
                      <a:pt x="1407" y="1682"/>
                    </a:lnTo>
                    <a:lnTo>
                      <a:pt x="1407" y="1684"/>
                    </a:lnTo>
                    <a:lnTo>
                      <a:pt x="1406" y="1684"/>
                    </a:lnTo>
                    <a:lnTo>
                      <a:pt x="1406" y="1686"/>
                    </a:lnTo>
                    <a:lnTo>
                      <a:pt x="1404" y="1686"/>
                    </a:lnTo>
                    <a:lnTo>
                      <a:pt x="1404" y="1684"/>
                    </a:lnTo>
                    <a:lnTo>
                      <a:pt x="1404" y="1686"/>
                    </a:lnTo>
                    <a:lnTo>
                      <a:pt x="1402" y="1686"/>
                    </a:lnTo>
                    <a:lnTo>
                      <a:pt x="1402" y="1684"/>
                    </a:lnTo>
                    <a:lnTo>
                      <a:pt x="1402" y="1682"/>
                    </a:lnTo>
                    <a:lnTo>
                      <a:pt x="1402" y="1680"/>
                    </a:lnTo>
                    <a:lnTo>
                      <a:pt x="1404" y="1682"/>
                    </a:lnTo>
                    <a:lnTo>
                      <a:pt x="1404" y="1680"/>
                    </a:lnTo>
                    <a:lnTo>
                      <a:pt x="1406" y="1680"/>
                    </a:lnTo>
                    <a:lnTo>
                      <a:pt x="1406" y="1682"/>
                    </a:lnTo>
                    <a:lnTo>
                      <a:pt x="1406" y="1680"/>
                    </a:lnTo>
                    <a:lnTo>
                      <a:pt x="1407" y="1682"/>
                    </a:lnTo>
                    <a:lnTo>
                      <a:pt x="1409" y="1680"/>
                    </a:lnTo>
                    <a:lnTo>
                      <a:pt x="1409" y="1682"/>
                    </a:lnTo>
                    <a:lnTo>
                      <a:pt x="1411" y="1680"/>
                    </a:lnTo>
                    <a:lnTo>
                      <a:pt x="1411" y="1682"/>
                    </a:lnTo>
                    <a:lnTo>
                      <a:pt x="1411" y="1680"/>
                    </a:lnTo>
                    <a:lnTo>
                      <a:pt x="1412" y="1682"/>
                    </a:lnTo>
                    <a:lnTo>
                      <a:pt x="1414" y="1680"/>
                    </a:lnTo>
                    <a:lnTo>
                      <a:pt x="1412" y="1680"/>
                    </a:lnTo>
                    <a:lnTo>
                      <a:pt x="1412" y="1679"/>
                    </a:lnTo>
                    <a:lnTo>
                      <a:pt x="1412" y="1680"/>
                    </a:lnTo>
                    <a:close/>
                    <a:moveTo>
                      <a:pt x="1162" y="1446"/>
                    </a:moveTo>
                    <a:lnTo>
                      <a:pt x="1164" y="1447"/>
                    </a:lnTo>
                    <a:lnTo>
                      <a:pt x="1162" y="1449"/>
                    </a:lnTo>
                    <a:lnTo>
                      <a:pt x="1164" y="1449"/>
                    </a:lnTo>
                    <a:lnTo>
                      <a:pt x="1162" y="1451"/>
                    </a:lnTo>
                    <a:lnTo>
                      <a:pt x="1164" y="1451"/>
                    </a:lnTo>
                    <a:lnTo>
                      <a:pt x="1164" y="1453"/>
                    </a:lnTo>
                    <a:lnTo>
                      <a:pt x="1162" y="1453"/>
                    </a:lnTo>
                    <a:lnTo>
                      <a:pt x="1162" y="1454"/>
                    </a:lnTo>
                    <a:lnTo>
                      <a:pt x="1162" y="1456"/>
                    </a:lnTo>
                    <a:lnTo>
                      <a:pt x="1161" y="1456"/>
                    </a:lnTo>
                    <a:lnTo>
                      <a:pt x="1161" y="1458"/>
                    </a:lnTo>
                    <a:lnTo>
                      <a:pt x="1159" y="1458"/>
                    </a:lnTo>
                    <a:lnTo>
                      <a:pt x="1159" y="1456"/>
                    </a:lnTo>
                    <a:lnTo>
                      <a:pt x="1161" y="1454"/>
                    </a:lnTo>
                    <a:lnTo>
                      <a:pt x="1161" y="1453"/>
                    </a:lnTo>
                    <a:lnTo>
                      <a:pt x="1159" y="1453"/>
                    </a:lnTo>
                    <a:lnTo>
                      <a:pt x="1159" y="1451"/>
                    </a:lnTo>
                    <a:lnTo>
                      <a:pt x="1161" y="1451"/>
                    </a:lnTo>
                    <a:lnTo>
                      <a:pt x="1159" y="1449"/>
                    </a:lnTo>
                    <a:lnTo>
                      <a:pt x="1161" y="1447"/>
                    </a:lnTo>
                    <a:lnTo>
                      <a:pt x="1161" y="1449"/>
                    </a:lnTo>
                    <a:lnTo>
                      <a:pt x="1161" y="1447"/>
                    </a:lnTo>
                    <a:lnTo>
                      <a:pt x="1162" y="1447"/>
                    </a:lnTo>
                    <a:lnTo>
                      <a:pt x="1162" y="1446"/>
                    </a:lnTo>
                    <a:close/>
                    <a:moveTo>
                      <a:pt x="1312" y="1623"/>
                    </a:moveTo>
                    <a:lnTo>
                      <a:pt x="1314" y="1623"/>
                    </a:lnTo>
                    <a:lnTo>
                      <a:pt x="1315" y="1623"/>
                    </a:lnTo>
                    <a:lnTo>
                      <a:pt x="1317" y="1623"/>
                    </a:lnTo>
                    <a:lnTo>
                      <a:pt x="1315" y="1624"/>
                    </a:lnTo>
                    <a:lnTo>
                      <a:pt x="1317" y="1624"/>
                    </a:lnTo>
                    <a:lnTo>
                      <a:pt x="1319" y="1624"/>
                    </a:lnTo>
                    <a:lnTo>
                      <a:pt x="1317" y="1626"/>
                    </a:lnTo>
                    <a:lnTo>
                      <a:pt x="1315" y="1626"/>
                    </a:lnTo>
                    <a:lnTo>
                      <a:pt x="1314" y="1626"/>
                    </a:lnTo>
                    <a:lnTo>
                      <a:pt x="1314" y="1628"/>
                    </a:lnTo>
                    <a:lnTo>
                      <a:pt x="1312" y="1626"/>
                    </a:lnTo>
                    <a:lnTo>
                      <a:pt x="1312" y="1628"/>
                    </a:lnTo>
                    <a:lnTo>
                      <a:pt x="1310" y="1628"/>
                    </a:lnTo>
                    <a:lnTo>
                      <a:pt x="1310" y="1626"/>
                    </a:lnTo>
                    <a:lnTo>
                      <a:pt x="1309" y="1628"/>
                    </a:lnTo>
                    <a:lnTo>
                      <a:pt x="1309" y="1626"/>
                    </a:lnTo>
                    <a:lnTo>
                      <a:pt x="1307" y="1624"/>
                    </a:lnTo>
                    <a:lnTo>
                      <a:pt x="1307" y="1626"/>
                    </a:lnTo>
                    <a:lnTo>
                      <a:pt x="1305" y="1626"/>
                    </a:lnTo>
                    <a:lnTo>
                      <a:pt x="1305" y="1624"/>
                    </a:lnTo>
                    <a:lnTo>
                      <a:pt x="1307" y="1624"/>
                    </a:lnTo>
                    <a:lnTo>
                      <a:pt x="1307" y="1623"/>
                    </a:lnTo>
                    <a:lnTo>
                      <a:pt x="1309" y="1623"/>
                    </a:lnTo>
                    <a:lnTo>
                      <a:pt x="1309" y="1624"/>
                    </a:lnTo>
                    <a:lnTo>
                      <a:pt x="1310" y="1623"/>
                    </a:lnTo>
                    <a:lnTo>
                      <a:pt x="1312" y="1623"/>
                    </a:lnTo>
                    <a:close/>
                    <a:moveTo>
                      <a:pt x="1179" y="1133"/>
                    </a:moveTo>
                    <a:lnTo>
                      <a:pt x="1179" y="1134"/>
                    </a:lnTo>
                    <a:lnTo>
                      <a:pt x="1178" y="1134"/>
                    </a:lnTo>
                    <a:lnTo>
                      <a:pt x="1178" y="1136"/>
                    </a:lnTo>
                    <a:lnTo>
                      <a:pt x="1178" y="1138"/>
                    </a:lnTo>
                    <a:lnTo>
                      <a:pt x="1178" y="1140"/>
                    </a:lnTo>
                    <a:lnTo>
                      <a:pt x="1176" y="1141"/>
                    </a:lnTo>
                    <a:lnTo>
                      <a:pt x="1176" y="1140"/>
                    </a:lnTo>
                    <a:lnTo>
                      <a:pt x="1174" y="1141"/>
                    </a:lnTo>
                    <a:lnTo>
                      <a:pt x="1173" y="1140"/>
                    </a:lnTo>
                    <a:lnTo>
                      <a:pt x="1174" y="1140"/>
                    </a:lnTo>
                    <a:lnTo>
                      <a:pt x="1173" y="1140"/>
                    </a:lnTo>
                    <a:lnTo>
                      <a:pt x="1173" y="1138"/>
                    </a:lnTo>
                    <a:lnTo>
                      <a:pt x="1174" y="1136"/>
                    </a:lnTo>
                    <a:lnTo>
                      <a:pt x="1174" y="1134"/>
                    </a:lnTo>
                    <a:lnTo>
                      <a:pt x="1176" y="1133"/>
                    </a:lnTo>
                    <a:lnTo>
                      <a:pt x="1178" y="1133"/>
                    </a:lnTo>
                    <a:lnTo>
                      <a:pt x="1179" y="1133"/>
                    </a:lnTo>
                    <a:close/>
                    <a:moveTo>
                      <a:pt x="1166" y="1473"/>
                    </a:moveTo>
                    <a:lnTo>
                      <a:pt x="1168" y="1473"/>
                    </a:lnTo>
                    <a:lnTo>
                      <a:pt x="1169" y="1473"/>
                    </a:lnTo>
                    <a:lnTo>
                      <a:pt x="1169" y="1475"/>
                    </a:lnTo>
                    <a:lnTo>
                      <a:pt x="1171" y="1475"/>
                    </a:lnTo>
                    <a:lnTo>
                      <a:pt x="1171" y="1476"/>
                    </a:lnTo>
                    <a:lnTo>
                      <a:pt x="1173" y="1476"/>
                    </a:lnTo>
                    <a:lnTo>
                      <a:pt x="1174" y="1475"/>
                    </a:lnTo>
                    <a:lnTo>
                      <a:pt x="1176" y="1473"/>
                    </a:lnTo>
                    <a:lnTo>
                      <a:pt x="1176" y="1475"/>
                    </a:lnTo>
                    <a:lnTo>
                      <a:pt x="1176" y="1476"/>
                    </a:lnTo>
                    <a:lnTo>
                      <a:pt x="1174" y="1476"/>
                    </a:lnTo>
                    <a:lnTo>
                      <a:pt x="1176" y="1478"/>
                    </a:lnTo>
                    <a:lnTo>
                      <a:pt x="1174" y="1478"/>
                    </a:lnTo>
                    <a:lnTo>
                      <a:pt x="1176" y="1480"/>
                    </a:lnTo>
                    <a:lnTo>
                      <a:pt x="1174" y="1480"/>
                    </a:lnTo>
                    <a:lnTo>
                      <a:pt x="1173" y="1478"/>
                    </a:lnTo>
                    <a:lnTo>
                      <a:pt x="1173" y="1480"/>
                    </a:lnTo>
                    <a:lnTo>
                      <a:pt x="1174" y="1480"/>
                    </a:lnTo>
                    <a:lnTo>
                      <a:pt x="1173" y="1480"/>
                    </a:lnTo>
                    <a:lnTo>
                      <a:pt x="1171" y="1480"/>
                    </a:lnTo>
                    <a:lnTo>
                      <a:pt x="1169" y="1480"/>
                    </a:lnTo>
                    <a:lnTo>
                      <a:pt x="1171" y="1478"/>
                    </a:lnTo>
                    <a:lnTo>
                      <a:pt x="1169" y="1478"/>
                    </a:lnTo>
                    <a:lnTo>
                      <a:pt x="1171" y="1476"/>
                    </a:lnTo>
                    <a:lnTo>
                      <a:pt x="1169" y="1476"/>
                    </a:lnTo>
                    <a:lnTo>
                      <a:pt x="1168" y="1476"/>
                    </a:lnTo>
                    <a:lnTo>
                      <a:pt x="1166" y="1475"/>
                    </a:lnTo>
                    <a:lnTo>
                      <a:pt x="1166" y="1473"/>
                    </a:lnTo>
                    <a:close/>
                    <a:moveTo>
                      <a:pt x="1178" y="1459"/>
                    </a:moveTo>
                    <a:lnTo>
                      <a:pt x="1179" y="1459"/>
                    </a:lnTo>
                    <a:lnTo>
                      <a:pt x="1181" y="1459"/>
                    </a:lnTo>
                    <a:lnTo>
                      <a:pt x="1181" y="1461"/>
                    </a:lnTo>
                    <a:lnTo>
                      <a:pt x="1179" y="1461"/>
                    </a:lnTo>
                    <a:lnTo>
                      <a:pt x="1181" y="1461"/>
                    </a:lnTo>
                    <a:lnTo>
                      <a:pt x="1179" y="1463"/>
                    </a:lnTo>
                    <a:lnTo>
                      <a:pt x="1179" y="1464"/>
                    </a:lnTo>
                    <a:lnTo>
                      <a:pt x="1178" y="1464"/>
                    </a:lnTo>
                    <a:lnTo>
                      <a:pt x="1178" y="1466"/>
                    </a:lnTo>
                    <a:lnTo>
                      <a:pt x="1176" y="1464"/>
                    </a:lnTo>
                    <a:lnTo>
                      <a:pt x="1176" y="1466"/>
                    </a:lnTo>
                    <a:lnTo>
                      <a:pt x="1176" y="1464"/>
                    </a:lnTo>
                    <a:lnTo>
                      <a:pt x="1176" y="1463"/>
                    </a:lnTo>
                    <a:lnTo>
                      <a:pt x="1176" y="1464"/>
                    </a:lnTo>
                    <a:lnTo>
                      <a:pt x="1174" y="1464"/>
                    </a:lnTo>
                    <a:lnTo>
                      <a:pt x="1176" y="1464"/>
                    </a:lnTo>
                    <a:lnTo>
                      <a:pt x="1176" y="1466"/>
                    </a:lnTo>
                    <a:lnTo>
                      <a:pt x="1174" y="1466"/>
                    </a:lnTo>
                    <a:lnTo>
                      <a:pt x="1174" y="1468"/>
                    </a:lnTo>
                    <a:lnTo>
                      <a:pt x="1174" y="1466"/>
                    </a:lnTo>
                    <a:lnTo>
                      <a:pt x="1173" y="1468"/>
                    </a:lnTo>
                    <a:lnTo>
                      <a:pt x="1173" y="1466"/>
                    </a:lnTo>
                    <a:lnTo>
                      <a:pt x="1173" y="1464"/>
                    </a:lnTo>
                    <a:lnTo>
                      <a:pt x="1174" y="1463"/>
                    </a:lnTo>
                    <a:lnTo>
                      <a:pt x="1176" y="1461"/>
                    </a:lnTo>
                    <a:lnTo>
                      <a:pt x="1176" y="1463"/>
                    </a:lnTo>
                    <a:lnTo>
                      <a:pt x="1178" y="1463"/>
                    </a:lnTo>
                    <a:lnTo>
                      <a:pt x="1176" y="1461"/>
                    </a:lnTo>
                    <a:lnTo>
                      <a:pt x="1178" y="1459"/>
                    </a:lnTo>
                    <a:lnTo>
                      <a:pt x="1178" y="1458"/>
                    </a:lnTo>
                    <a:lnTo>
                      <a:pt x="1178" y="1459"/>
                    </a:lnTo>
                    <a:close/>
                    <a:moveTo>
                      <a:pt x="1202" y="1094"/>
                    </a:moveTo>
                    <a:lnTo>
                      <a:pt x="1203" y="1094"/>
                    </a:lnTo>
                    <a:lnTo>
                      <a:pt x="1203" y="1095"/>
                    </a:lnTo>
                    <a:lnTo>
                      <a:pt x="1203" y="1097"/>
                    </a:lnTo>
                    <a:lnTo>
                      <a:pt x="1205" y="1099"/>
                    </a:lnTo>
                    <a:lnTo>
                      <a:pt x="1205" y="1100"/>
                    </a:lnTo>
                    <a:lnTo>
                      <a:pt x="1203" y="1100"/>
                    </a:lnTo>
                    <a:lnTo>
                      <a:pt x="1205" y="1100"/>
                    </a:lnTo>
                    <a:lnTo>
                      <a:pt x="1205" y="1102"/>
                    </a:lnTo>
                    <a:lnTo>
                      <a:pt x="1203" y="1102"/>
                    </a:lnTo>
                    <a:lnTo>
                      <a:pt x="1202" y="1102"/>
                    </a:lnTo>
                    <a:lnTo>
                      <a:pt x="1202" y="1100"/>
                    </a:lnTo>
                    <a:lnTo>
                      <a:pt x="1200" y="1100"/>
                    </a:lnTo>
                    <a:lnTo>
                      <a:pt x="1200" y="1099"/>
                    </a:lnTo>
                    <a:lnTo>
                      <a:pt x="1200" y="1097"/>
                    </a:lnTo>
                    <a:lnTo>
                      <a:pt x="1200" y="1099"/>
                    </a:lnTo>
                    <a:lnTo>
                      <a:pt x="1202" y="1099"/>
                    </a:lnTo>
                    <a:lnTo>
                      <a:pt x="1203" y="1099"/>
                    </a:lnTo>
                    <a:lnTo>
                      <a:pt x="1202" y="1099"/>
                    </a:lnTo>
                    <a:lnTo>
                      <a:pt x="1202" y="1097"/>
                    </a:lnTo>
                    <a:lnTo>
                      <a:pt x="1200" y="1097"/>
                    </a:lnTo>
                    <a:lnTo>
                      <a:pt x="1200" y="1095"/>
                    </a:lnTo>
                    <a:lnTo>
                      <a:pt x="1200" y="1094"/>
                    </a:lnTo>
                    <a:lnTo>
                      <a:pt x="1202" y="1094"/>
                    </a:lnTo>
                    <a:close/>
                    <a:moveTo>
                      <a:pt x="1195" y="1140"/>
                    </a:moveTo>
                    <a:lnTo>
                      <a:pt x="1196" y="1140"/>
                    </a:lnTo>
                    <a:lnTo>
                      <a:pt x="1198" y="1141"/>
                    </a:lnTo>
                    <a:lnTo>
                      <a:pt x="1200" y="1140"/>
                    </a:lnTo>
                    <a:lnTo>
                      <a:pt x="1200" y="1141"/>
                    </a:lnTo>
                    <a:lnTo>
                      <a:pt x="1198" y="1141"/>
                    </a:lnTo>
                    <a:lnTo>
                      <a:pt x="1198" y="1143"/>
                    </a:lnTo>
                    <a:lnTo>
                      <a:pt x="1198" y="1145"/>
                    </a:lnTo>
                    <a:lnTo>
                      <a:pt x="1198" y="1146"/>
                    </a:lnTo>
                    <a:lnTo>
                      <a:pt x="1198" y="1148"/>
                    </a:lnTo>
                    <a:lnTo>
                      <a:pt x="1196" y="1150"/>
                    </a:lnTo>
                    <a:lnTo>
                      <a:pt x="1196" y="1148"/>
                    </a:lnTo>
                    <a:lnTo>
                      <a:pt x="1196" y="1146"/>
                    </a:lnTo>
                    <a:lnTo>
                      <a:pt x="1196" y="1145"/>
                    </a:lnTo>
                    <a:lnTo>
                      <a:pt x="1195" y="1146"/>
                    </a:lnTo>
                    <a:lnTo>
                      <a:pt x="1195" y="1145"/>
                    </a:lnTo>
                    <a:lnTo>
                      <a:pt x="1195" y="1143"/>
                    </a:lnTo>
                    <a:lnTo>
                      <a:pt x="1195" y="1145"/>
                    </a:lnTo>
                    <a:lnTo>
                      <a:pt x="1193" y="1143"/>
                    </a:lnTo>
                    <a:lnTo>
                      <a:pt x="1193" y="1141"/>
                    </a:lnTo>
                    <a:lnTo>
                      <a:pt x="1195" y="1141"/>
                    </a:lnTo>
                    <a:lnTo>
                      <a:pt x="1195" y="1140"/>
                    </a:lnTo>
                    <a:close/>
                    <a:moveTo>
                      <a:pt x="1219" y="1575"/>
                    </a:moveTo>
                    <a:lnTo>
                      <a:pt x="1217" y="1575"/>
                    </a:lnTo>
                    <a:lnTo>
                      <a:pt x="1217" y="1577"/>
                    </a:lnTo>
                    <a:lnTo>
                      <a:pt x="1219" y="1575"/>
                    </a:lnTo>
                    <a:lnTo>
                      <a:pt x="1220" y="1575"/>
                    </a:lnTo>
                    <a:lnTo>
                      <a:pt x="1219" y="1577"/>
                    </a:lnTo>
                    <a:lnTo>
                      <a:pt x="1220" y="1577"/>
                    </a:lnTo>
                    <a:lnTo>
                      <a:pt x="1220" y="1578"/>
                    </a:lnTo>
                    <a:lnTo>
                      <a:pt x="1219" y="1578"/>
                    </a:lnTo>
                    <a:lnTo>
                      <a:pt x="1220" y="1578"/>
                    </a:lnTo>
                    <a:lnTo>
                      <a:pt x="1220" y="1577"/>
                    </a:lnTo>
                    <a:lnTo>
                      <a:pt x="1222" y="1577"/>
                    </a:lnTo>
                    <a:lnTo>
                      <a:pt x="1222" y="1578"/>
                    </a:lnTo>
                    <a:lnTo>
                      <a:pt x="1222" y="1580"/>
                    </a:lnTo>
                    <a:lnTo>
                      <a:pt x="1222" y="1578"/>
                    </a:lnTo>
                    <a:lnTo>
                      <a:pt x="1224" y="1578"/>
                    </a:lnTo>
                    <a:lnTo>
                      <a:pt x="1224" y="1580"/>
                    </a:lnTo>
                    <a:lnTo>
                      <a:pt x="1222" y="1580"/>
                    </a:lnTo>
                    <a:lnTo>
                      <a:pt x="1224" y="1580"/>
                    </a:lnTo>
                    <a:lnTo>
                      <a:pt x="1222" y="1582"/>
                    </a:lnTo>
                    <a:lnTo>
                      <a:pt x="1222" y="1580"/>
                    </a:lnTo>
                    <a:lnTo>
                      <a:pt x="1222" y="1582"/>
                    </a:lnTo>
                    <a:lnTo>
                      <a:pt x="1220" y="1580"/>
                    </a:lnTo>
                    <a:lnTo>
                      <a:pt x="1220" y="1578"/>
                    </a:lnTo>
                    <a:lnTo>
                      <a:pt x="1220" y="1580"/>
                    </a:lnTo>
                    <a:lnTo>
                      <a:pt x="1220" y="1582"/>
                    </a:lnTo>
                    <a:lnTo>
                      <a:pt x="1220" y="1583"/>
                    </a:lnTo>
                    <a:lnTo>
                      <a:pt x="1220" y="1582"/>
                    </a:lnTo>
                    <a:lnTo>
                      <a:pt x="1219" y="1582"/>
                    </a:lnTo>
                    <a:lnTo>
                      <a:pt x="1217" y="1582"/>
                    </a:lnTo>
                    <a:lnTo>
                      <a:pt x="1219" y="1582"/>
                    </a:lnTo>
                    <a:lnTo>
                      <a:pt x="1219" y="1580"/>
                    </a:lnTo>
                    <a:lnTo>
                      <a:pt x="1219" y="1578"/>
                    </a:lnTo>
                    <a:lnTo>
                      <a:pt x="1217" y="1578"/>
                    </a:lnTo>
                    <a:lnTo>
                      <a:pt x="1217" y="1580"/>
                    </a:lnTo>
                    <a:lnTo>
                      <a:pt x="1215" y="1578"/>
                    </a:lnTo>
                    <a:lnTo>
                      <a:pt x="1213" y="1578"/>
                    </a:lnTo>
                    <a:lnTo>
                      <a:pt x="1215" y="1578"/>
                    </a:lnTo>
                    <a:lnTo>
                      <a:pt x="1215" y="1577"/>
                    </a:lnTo>
                    <a:lnTo>
                      <a:pt x="1215" y="1575"/>
                    </a:lnTo>
                    <a:lnTo>
                      <a:pt x="1217" y="1577"/>
                    </a:lnTo>
                    <a:lnTo>
                      <a:pt x="1217" y="1575"/>
                    </a:lnTo>
                    <a:lnTo>
                      <a:pt x="1217" y="1573"/>
                    </a:lnTo>
                    <a:lnTo>
                      <a:pt x="1219" y="1575"/>
                    </a:lnTo>
                    <a:close/>
                    <a:moveTo>
                      <a:pt x="1191" y="1422"/>
                    </a:moveTo>
                    <a:lnTo>
                      <a:pt x="1191" y="1424"/>
                    </a:lnTo>
                    <a:lnTo>
                      <a:pt x="1191" y="1425"/>
                    </a:lnTo>
                    <a:lnTo>
                      <a:pt x="1191" y="1427"/>
                    </a:lnTo>
                    <a:lnTo>
                      <a:pt x="1193" y="1427"/>
                    </a:lnTo>
                    <a:lnTo>
                      <a:pt x="1191" y="1427"/>
                    </a:lnTo>
                    <a:lnTo>
                      <a:pt x="1191" y="1429"/>
                    </a:lnTo>
                    <a:lnTo>
                      <a:pt x="1191" y="1427"/>
                    </a:lnTo>
                    <a:lnTo>
                      <a:pt x="1193" y="1429"/>
                    </a:lnTo>
                    <a:lnTo>
                      <a:pt x="1193" y="1430"/>
                    </a:lnTo>
                    <a:lnTo>
                      <a:pt x="1193" y="1432"/>
                    </a:lnTo>
                    <a:lnTo>
                      <a:pt x="1191" y="1430"/>
                    </a:lnTo>
                    <a:lnTo>
                      <a:pt x="1191" y="1432"/>
                    </a:lnTo>
                    <a:lnTo>
                      <a:pt x="1191" y="1430"/>
                    </a:lnTo>
                    <a:lnTo>
                      <a:pt x="1190" y="1432"/>
                    </a:lnTo>
                    <a:lnTo>
                      <a:pt x="1190" y="1430"/>
                    </a:lnTo>
                    <a:lnTo>
                      <a:pt x="1188" y="1430"/>
                    </a:lnTo>
                    <a:lnTo>
                      <a:pt x="1188" y="1429"/>
                    </a:lnTo>
                    <a:lnTo>
                      <a:pt x="1190" y="1429"/>
                    </a:lnTo>
                    <a:lnTo>
                      <a:pt x="1188" y="1427"/>
                    </a:lnTo>
                    <a:lnTo>
                      <a:pt x="1188" y="1425"/>
                    </a:lnTo>
                    <a:lnTo>
                      <a:pt x="1188" y="1424"/>
                    </a:lnTo>
                    <a:lnTo>
                      <a:pt x="1190" y="1424"/>
                    </a:lnTo>
                    <a:lnTo>
                      <a:pt x="1191" y="1422"/>
                    </a:lnTo>
                    <a:close/>
                    <a:moveTo>
                      <a:pt x="1159" y="1094"/>
                    </a:moveTo>
                    <a:lnTo>
                      <a:pt x="1159" y="1095"/>
                    </a:lnTo>
                    <a:lnTo>
                      <a:pt x="1161" y="1095"/>
                    </a:lnTo>
                    <a:lnTo>
                      <a:pt x="1161" y="1097"/>
                    </a:lnTo>
                    <a:lnTo>
                      <a:pt x="1162" y="1097"/>
                    </a:lnTo>
                    <a:lnTo>
                      <a:pt x="1161" y="1099"/>
                    </a:lnTo>
                    <a:lnTo>
                      <a:pt x="1161" y="1100"/>
                    </a:lnTo>
                    <a:lnTo>
                      <a:pt x="1159" y="1100"/>
                    </a:lnTo>
                    <a:lnTo>
                      <a:pt x="1157" y="1100"/>
                    </a:lnTo>
                    <a:lnTo>
                      <a:pt x="1157" y="1099"/>
                    </a:lnTo>
                    <a:lnTo>
                      <a:pt x="1157" y="1097"/>
                    </a:lnTo>
                    <a:lnTo>
                      <a:pt x="1156" y="1097"/>
                    </a:lnTo>
                    <a:lnTo>
                      <a:pt x="1156" y="1095"/>
                    </a:lnTo>
                    <a:lnTo>
                      <a:pt x="1157" y="1095"/>
                    </a:lnTo>
                    <a:lnTo>
                      <a:pt x="1157" y="1094"/>
                    </a:lnTo>
                    <a:lnTo>
                      <a:pt x="1159" y="1094"/>
                    </a:lnTo>
                    <a:close/>
                    <a:moveTo>
                      <a:pt x="1448" y="1643"/>
                    </a:moveTo>
                    <a:lnTo>
                      <a:pt x="1450" y="1643"/>
                    </a:lnTo>
                    <a:lnTo>
                      <a:pt x="1451" y="1643"/>
                    </a:lnTo>
                    <a:lnTo>
                      <a:pt x="1451" y="1645"/>
                    </a:lnTo>
                    <a:lnTo>
                      <a:pt x="1450" y="1645"/>
                    </a:lnTo>
                    <a:lnTo>
                      <a:pt x="1450" y="1646"/>
                    </a:lnTo>
                    <a:lnTo>
                      <a:pt x="1448" y="1648"/>
                    </a:lnTo>
                    <a:lnTo>
                      <a:pt x="1450" y="1648"/>
                    </a:lnTo>
                    <a:lnTo>
                      <a:pt x="1448" y="1648"/>
                    </a:lnTo>
                    <a:lnTo>
                      <a:pt x="1446" y="1648"/>
                    </a:lnTo>
                    <a:lnTo>
                      <a:pt x="1446" y="1650"/>
                    </a:lnTo>
                    <a:lnTo>
                      <a:pt x="1445" y="1648"/>
                    </a:lnTo>
                    <a:lnTo>
                      <a:pt x="1445" y="1650"/>
                    </a:lnTo>
                    <a:lnTo>
                      <a:pt x="1445" y="1648"/>
                    </a:lnTo>
                    <a:lnTo>
                      <a:pt x="1445" y="1646"/>
                    </a:lnTo>
                    <a:lnTo>
                      <a:pt x="1445" y="1645"/>
                    </a:lnTo>
                    <a:lnTo>
                      <a:pt x="1446" y="1643"/>
                    </a:lnTo>
                    <a:lnTo>
                      <a:pt x="1448" y="1643"/>
                    </a:lnTo>
                    <a:close/>
                    <a:moveTo>
                      <a:pt x="1181" y="1272"/>
                    </a:moveTo>
                    <a:lnTo>
                      <a:pt x="1183" y="1272"/>
                    </a:lnTo>
                    <a:lnTo>
                      <a:pt x="1185" y="1272"/>
                    </a:lnTo>
                    <a:lnTo>
                      <a:pt x="1185" y="1274"/>
                    </a:lnTo>
                    <a:lnTo>
                      <a:pt x="1186" y="1274"/>
                    </a:lnTo>
                    <a:lnTo>
                      <a:pt x="1188" y="1274"/>
                    </a:lnTo>
                    <a:lnTo>
                      <a:pt x="1188" y="1276"/>
                    </a:lnTo>
                    <a:lnTo>
                      <a:pt x="1188" y="1277"/>
                    </a:lnTo>
                    <a:lnTo>
                      <a:pt x="1186" y="1277"/>
                    </a:lnTo>
                    <a:lnTo>
                      <a:pt x="1185" y="1277"/>
                    </a:lnTo>
                    <a:lnTo>
                      <a:pt x="1185" y="1279"/>
                    </a:lnTo>
                    <a:lnTo>
                      <a:pt x="1183" y="1277"/>
                    </a:lnTo>
                    <a:lnTo>
                      <a:pt x="1183" y="1276"/>
                    </a:lnTo>
                    <a:lnTo>
                      <a:pt x="1181" y="1274"/>
                    </a:lnTo>
                    <a:lnTo>
                      <a:pt x="1181" y="1272"/>
                    </a:lnTo>
                    <a:lnTo>
                      <a:pt x="1181" y="1270"/>
                    </a:lnTo>
                    <a:lnTo>
                      <a:pt x="1181" y="1272"/>
                    </a:lnTo>
                    <a:close/>
                    <a:moveTo>
                      <a:pt x="1181" y="1090"/>
                    </a:moveTo>
                    <a:lnTo>
                      <a:pt x="1183" y="1092"/>
                    </a:lnTo>
                    <a:lnTo>
                      <a:pt x="1183" y="1094"/>
                    </a:lnTo>
                    <a:lnTo>
                      <a:pt x="1185" y="1094"/>
                    </a:lnTo>
                    <a:lnTo>
                      <a:pt x="1185" y="1095"/>
                    </a:lnTo>
                    <a:lnTo>
                      <a:pt x="1186" y="1095"/>
                    </a:lnTo>
                    <a:lnTo>
                      <a:pt x="1186" y="1097"/>
                    </a:lnTo>
                    <a:lnTo>
                      <a:pt x="1185" y="1097"/>
                    </a:lnTo>
                    <a:lnTo>
                      <a:pt x="1183" y="1097"/>
                    </a:lnTo>
                    <a:lnTo>
                      <a:pt x="1181" y="1097"/>
                    </a:lnTo>
                    <a:lnTo>
                      <a:pt x="1181" y="1095"/>
                    </a:lnTo>
                    <a:lnTo>
                      <a:pt x="1179" y="1095"/>
                    </a:lnTo>
                    <a:lnTo>
                      <a:pt x="1179" y="1094"/>
                    </a:lnTo>
                    <a:lnTo>
                      <a:pt x="1178" y="1092"/>
                    </a:lnTo>
                    <a:lnTo>
                      <a:pt x="1179" y="1092"/>
                    </a:lnTo>
                    <a:lnTo>
                      <a:pt x="1179" y="1090"/>
                    </a:lnTo>
                    <a:lnTo>
                      <a:pt x="1179" y="1092"/>
                    </a:lnTo>
                    <a:lnTo>
                      <a:pt x="1181" y="1092"/>
                    </a:lnTo>
                    <a:lnTo>
                      <a:pt x="1181" y="1090"/>
                    </a:lnTo>
                    <a:close/>
                    <a:moveTo>
                      <a:pt x="1191" y="1077"/>
                    </a:moveTo>
                    <a:lnTo>
                      <a:pt x="1193" y="1078"/>
                    </a:lnTo>
                    <a:lnTo>
                      <a:pt x="1195" y="1078"/>
                    </a:lnTo>
                    <a:lnTo>
                      <a:pt x="1196" y="1078"/>
                    </a:lnTo>
                    <a:lnTo>
                      <a:pt x="1198" y="1078"/>
                    </a:lnTo>
                    <a:lnTo>
                      <a:pt x="1198" y="1080"/>
                    </a:lnTo>
                    <a:lnTo>
                      <a:pt x="1200" y="1082"/>
                    </a:lnTo>
                    <a:lnTo>
                      <a:pt x="1198" y="1082"/>
                    </a:lnTo>
                    <a:lnTo>
                      <a:pt x="1198" y="1083"/>
                    </a:lnTo>
                    <a:lnTo>
                      <a:pt x="1196" y="1083"/>
                    </a:lnTo>
                    <a:lnTo>
                      <a:pt x="1195" y="1083"/>
                    </a:lnTo>
                    <a:lnTo>
                      <a:pt x="1193" y="1083"/>
                    </a:lnTo>
                    <a:lnTo>
                      <a:pt x="1193" y="1082"/>
                    </a:lnTo>
                    <a:lnTo>
                      <a:pt x="1191" y="1082"/>
                    </a:lnTo>
                    <a:lnTo>
                      <a:pt x="1191" y="1080"/>
                    </a:lnTo>
                    <a:lnTo>
                      <a:pt x="1193" y="1080"/>
                    </a:lnTo>
                    <a:lnTo>
                      <a:pt x="1195" y="1080"/>
                    </a:lnTo>
                    <a:lnTo>
                      <a:pt x="1196" y="1080"/>
                    </a:lnTo>
                    <a:lnTo>
                      <a:pt x="1196" y="1082"/>
                    </a:lnTo>
                    <a:lnTo>
                      <a:pt x="1195" y="1082"/>
                    </a:lnTo>
                    <a:lnTo>
                      <a:pt x="1193" y="1082"/>
                    </a:lnTo>
                    <a:lnTo>
                      <a:pt x="1195" y="1082"/>
                    </a:lnTo>
                    <a:lnTo>
                      <a:pt x="1196" y="1082"/>
                    </a:lnTo>
                    <a:lnTo>
                      <a:pt x="1198" y="1082"/>
                    </a:lnTo>
                    <a:lnTo>
                      <a:pt x="1196" y="1082"/>
                    </a:lnTo>
                    <a:lnTo>
                      <a:pt x="1198" y="1080"/>
                    </a:lnTo>
                    <a:lnTo>
                      <a:pt x="1196" y="1080"/>
                    </a:lnTo>
                    <a:lnTo>
                      <a:pt x="1195" y="1080"/>
                    </a:lnTo>
                    <a:lnTo>
                      <a:pt x="1193" y="1080"/>
                    </a:lnTo>
                    <a:lnTo>
                      <a:pt x="1191" y="1080"/>
                    </a:lnTo>
                    <a:lnTo>
                      <a:pt x="1191" y="1078"/>
                    </a:lnTo>
                    <a:lnTo>
                      <a:pt x="1193" y="1078"/>
                    </a:lnTo>
                    <a:lnTo>
                      <a:pt x="1191" y="1078"/>
                    </a:lnTo>
                    <a:lnTo>
                      <a:pt x="1190" y="1077"/>
                    </a:lnTo>
                    <a:lnTo>
                      <a:pt x="1191" y="1077"/>
                    </a:lnTo>
                    <a:close/>
                    <a:moveTo>
                      <a:pt x="1327" y="1628"/>
                    </a:moveTo>
                    <a:lnTo>
                      <a:pt x="1329" y="1628"/>
                    </a:lnTo>
                    <a:lnTo>
                      <a:pt x="1329" y="1629"/>
                    </a:lnTo>
                    <a:lnTo>
                      <a:pt x="1327" y="1629"/>
                    </a:lnTo>
                    <a:lnTo>
                      <a:pt x="1329" y="1629"/>
                    </a:lnTo>
                    <a:lnTo>
                      <a:pt x="1331" y="1628"/>
                    </a:lnTo>
                    <a:lnTo>
                      <a:pt x="1332" y="1629"/>
                    </a:lnTo>
                    <a:lnTo>
                      <a:pt x="1332" y="1631"/>
                    </a:lnTo>
                    <a:lnTo>
                      <a:pt x="1331" y="1633"/>
                    </a:lnTo>
                    <a:lnTo>
                      <a:pt x="1329" y="1633"/>
                    </a:lnTo>
                    <a:lnTo>
                      <a:pt x="1331" y="1631"/>
                    </a:lnTo>
                    <a:lnTo>
                      <a:pt x="1331" y="1629"/>
                    </a:lnTo>
                    <a:lnTo>
                      <a:pt x="1329" y="1631"/>
                    </a:lnTo>
                    <a:lnTo>
                      <a:pt x="1329" y="1633"/>
                    </a:lnTo>
                    <a:lnTo>
                      <a:pt x="1327" y="1635"/>
                    </a:lnTo>
                    <a:lnTo>
                      <a:pt x="1327" y="1633"/>
                    </a:lnTo>
                    <a:lnTo>
                      <a:pt x="1326" y="1635"/>
                    </a:lnTo>
                    <a:lnTo>
                      <a:pt x="1326" y="1633"/>
                    </a:lnTo>
                    <a:lnTo>
                      <a:pt x="1326" y="1635"/>
                    </a:lnTo>
                    <a:lnTo>
                      <a:pt x="1324" y="1635"/>
                    </a:lnTo>
                    <a:lnTo>
                      <a:pt x="1324" y="1633"/>
                    </a:lnTo>
                    <a:lnTo>
                      <a:pt x="1326" y="1631"/>
                    </a:lnTo>
                    <a:lnTo>
                      <a:pt x="1324" y="1631"/>
                    </a:lnTo>
                    <a:lnTo>
                      <a:pt x="1326" y="1631"/>
                    </a:lnTo>
                    <a:lnTo>
                      <a:pt x="1327" y="1631"/>
                    </a:lnTo>
                    <a:lnTo>
                      <a:pt x="1327" y="1629"/>
                    </a:lnTo>
                    <a:lnTo>
                      <a:pt x="1326" y="1629"/>
                    </a:lnTo>
                    <a:lnTo>
                      <a:pt x="1327" y="1629"/>
                    </a:lnTo>
                    <a:lnTo>
                      <a:pt x="1326" y="1629"/>
                    </a:lnTo>
                    <a:lnTo>
                      <a:pt x="1324" y="1629"/>
                    </a:lnTo>
                    <a:lnTo>
                      <a:pt x="1326" y="1628"/>
                    </a:lnTo>
                    <a:lnTo>
                      <a:pt x="1327" y="1628"/>
                    </a:lnTo>
                    <a:close/>
                    <a:moveTo>
                      <a:pt x="1191" y="1269"/>
                    </a:moveTo>
                    <a:lnTo>
                      <a:pt x="1193" y="1270"/>
                    </a:lnTo>
                    <a:lnTo>
                      <a:pt x="1195" y="1272"/>
                    </a:lnTo>
                    <a:lnTo>
                      <a:pt x="1196" y="1272"/>
                    </a:lnTo>
                    <a:lnTo>
                      <a:pt x="1196" y="1274"/>
                    </a:lnTo>
                    <a:lnTo>
                      <a:pt x="1196" y="1276"/>
                    </a:lnTo>
                    <a:lnTo>
                      <a:pt x="1196" y="1277"/>
                    </a:lnTo>
                    <a:lnTo>
                      <a:pt x="1195" y="1276"/>
                    </a:lnTo>
                    <a:lnTo>
                      <a:pt x="1193" y="1276"/>
                    </a:lnTo>
                    <a:lnTo>
                      <a:pt x="1193" y="1274"/>
                    </a:lnTo>
                    <a:lnTo>
                      <a:pt x="1191" y="1274"/>
                    </a:lnTo>
                    <a:lnTo>
                      <a:pt x="1191" y="1272"/>
                    </a:lnTo>
                    <a:lnTo>
                      <a:pt x="1190" y="1272"/>
                    </a:lnTo>
                    <a:lnTo>
                      <a:pt x="1190" y="1270"/>
                    </a:lnTo>
                    <a:lnTo>
                      <a:pt x="1190" y="1269"/>
                    </a:lnTo>
                    <a:lnTo>
                      <a:pt x="1191" y="1269"/>
                    </a:lnTo>
                    <a:close/>
                    <a:moveTo>
                      <a:pt x="1195" y="1121"/>
                    </a:moveTo>
                    <a:lnTo>
                      <a:pt x="1196" y="1121"/>
                    </a:lnTo>
                    <a:lnTo>
                      <a:pt x="1196" y="1122"/>
                    </a:lnTo>
                    <a:lnTo>
                      <a:pt x="1196" y="1124"/>
                    </a:lnTo>
                    <a:lnTo>
                      <a:pt x="1195" y="1124"/>
                    </a:lnTo>
                    <a:lnTo>
                      <a:pt x="1196" y="1124"/>
                    </a:lnTo>
                    <a:lnTo>
                      <a:pt x="1196" y="1122"/>
                    </a:lnTo>
                    <a:lnTo>
                      <a:pt x="1198" y="1122"/>
                    </a:lnTo>
                    <a:lnTo>
                      <a:pt x="1200" y="1122"/>
                    </a:lnTo>
                    <a:lnTo>
                      <a:pt x="1202" y="1122"/>
                    </a:lnTo>
                    <a:lnTo>
                      <a:pt x="1203" y="1122"/>
                    </a:lnTo>
                    <a:lnTo>
                      <a:pt x="1203" y="1124"/>
                    </a:lnTo>
                    <a:lnTo>
                      <a:pt x="1202" y="1124"/>
                    </a:lnTo>
                    <a:lnTo>
                      <a:pt x="1202" y="1126"/>
                    </a:lnTo>
                    <a:lnTo>
                      <a:pt x="1200" y="1126"/>
                    </a:lnTo>
                    <a:lnTo>
                      <a:pt x="1198" y="1126"/>
                    </a:lnTo>
                    <a:lnTo>
                      <a:pt x="1198" y="1124"/>
                    </a:lnTo>
                    <a:lnTo>
                      <a:pt x="1198" y="1126"/>
                    </a:lnTo>
                    <a:lnTo>
                      <a:pt x="1198" y="1124"/>
                    </a:lnTo>
                    <a:lnTo>
                      <a:pt x="1196" y="1124"/>
                    </a:lnTo>
                    <a:lnTo>
                      <a:pt x="1195" y="1124"/>
                    </a:lnTo>
                    <a:lnTo>
                      <a:pt x="1195" y="1122"/>
                    </a:lnTo>
                    <a:lnTo>
                      <a:pt x="1193" y="1122"/>
                    </a:lnTo>
                    <a:lnTo>
                      <a:pt x="1193" y="1121"/>
                    </a:lnTo>
                    <a:lnTo>
                      <a:pt x="1195" y="1121"/>
                    </a:lnTo>
                    <a:close/>
                    <a:moveTo>
                      <a:pt x="1225" y="1051"/>
                    </a:moveTo>
                    <a:lnTo>
                      <a:pt x="1225" y="1053"/>
                    </a:lnTo>
                    <a:lnTo>
                      <a:pt x="1225" y="1054"/>
                    </a:lnTo>
                    <a:lnTo>
                      <a:pt x="1225" y="1056"/>
                    </a:lnTo>
                    <a:lnTo>
                      <a:pt x="1225" y="1058"/>
                    </a:lnTo>
                    <a:lnTo>
                      <a:pt x="1224" y="1058"/>
                    </a:lnTo>
                    <a:lnTo>
                      <a:pt x="1222" y="1058"/>
                    </a:lnTo>
                    <a:lnTo>
                      <a:pt x="1222" y="1056"/>
                    </a:lnTo>
                    <a:lnTo>
                      <a:pt x="1220" y="1056"/>
                    </a:lnTo>
                    <a:lnTo>
                      <a:pt x="1222" y="1054"/>
                    </a:lnTo>
                    <a:lnTo>
                      <a:pt x="1222" y="1053"/>
                    </a:lnTo>
                    <a:lnTo>
                      <a:pt x="1224" y="1053"/>
                    </a:lnTo>
                    <a:lnTo>
                      <a:pt x="1225" y="1051"/>
                    </a:lnTo>
                    <a:close/>
                    <a:moveTo>
                      <a:pt x="1203" y="1422"/>
                    </a:moveTo>
                    <a:lnTo>
                      <a:pt x="1205" y="1422"/>
                    </a:lnTo>
                    <a:lnTo>
                      <a:pt x="1205" y="1424"/>
                    </a:lnTo>
                    <a:lnTo>
                      <a:pt x="1205" y="1425"/>
                    </a:lnTo>
                    <a:lnTo>
                      <a:pt x="1205" y="1427"/>
                    </a:lnTo>
                    <a:lnTo>
                      <a:pt x="1205" y="1429"/>
                    </a:lnTo>
                    <a:lnTo>
                      <a:pt x="1205" y="1427"/>
                    </a:lnTo>
                    <a:lnTo>
                      <a:pt x="1203" y="1427"/>
                    </a:lnTo>
                    <a:lnTo>
                      <a:pt x="1202" y="1427"/>
                    </a:lnTo>
                    <a:lnTo>
                      <a:pt x="1200" y="1427"/>
                    </a:lnTo>
                    <a:lnTo>
                      <a:pt x="1200" y="1425"/>
                    </a:lnTo>
                    <a:lnTo>
                      <a:pt x="1202" y="1425"/>
                    </a:lnTo>
                    <a:lnTo>
                      <a:pt x="1203" y="1425"/>
                    </a:lnTo>
                    <a:lnTo>
                      <a:pt x="1203" y="1424"/>
                    </a:lnTo>
                    <a:lnTo>
                      <a:pt x="1202" y="1425"/>
                    </a:lnTo>
                    <a:lnTo>
                      <a:pt x="1200" y="1425"/>
                    </a:lnTo>
                    <a:lnTo>
                      <a:pt x="1200" y="1424"/>
                    </a:lnTo>
                    <a:lnTo>
                      <a:pt x="1200" y="1422"/>
                    </a:lnTo>
                    <a:lnTo>
                      <a:pt x="1202" y="1422"/>
                    </a:lnTo>
                    <a:lnTo>
                      <a:pt x="1202" y="1420"/>
                    </a:lnTo>
                    <a:lnTo>
                      <a:pt x="1203" y="1420"/>
                    </a:lnTo>
                    <a:lnTo>
                      <a:pt x="1203" y="1422"/>
                    </a:lnTo>
                    <a:close/>
                    <a:moveTo>
                      <a:pt x="3" y="349"/>
                    </a:moveTo>
                    <a:lnTo>
                      <a:pt x="5" y="349"/>
                    </a:lnTo>
                    <a:lnTo>
                      <a:pt x="5" y="350"/>
                    </a:lnTo>
                    <a:lnTo>
                      <a:pt x="7" y="350"/>
                    </a:lnTo>
                    <a:lnTo>
                      <a:pt x="7" y="352"/>
                    </a:lnTo>
                    <a:lnTo>
                      <a:pt x="5" y="352"/>
                    </a:lnTo>
                    <a:lnTo>
                      <a:pt x="3" y="352"/>
                    </a:lnTo>
                    <a:lnTo>
                      <a:pt x="3" y="354"/>
                    </a:lnTo>
                    <a:lnTo>
                      <a:pt x="1" y="354"/>
                    </a:lnTo>
                    <a:lnTo>
                      <a:pt x="0" y="354"/>
                    </a:lnTo>
                    <a:lnTo>
                      <a:pt x="0" y="352"/>
                    </a:lnTo>
                    <a:lnTo>
                      <a:pt x="1" y="352"/>
                    </a:lnTo>
                    <a:lnTo>
                      <a:pt x="1" y="350"/>
                    </a:lnTo>
                    <a:lnTo>
                      <a:pt x="1" y="349"/>
                    </a:lnTo>
                    <a:lnTo>
                      <a:pt x="3" y="349"/>
                    </a:lnTo>
                    <a:close/>
                    <a:moveTo>
                      <a:pt x="1208" y="1054"/>
                    </a:moveTo>
                    <a:lnTo>
                      <a:pt x="1208" y="1056"/>
                    </a:lnTo>
                    <a:lnTo>
                      <a:pt x="1210" y="1056"/>
                    </a:lnTo>
                    <a:lnTo>
                      <a:pt x="1210" y="1058"/>
                    </a:lnTo>
                    <a:lnTo>
                      <a:pt x="1208" y="1058"/>
                    </a:lnTo>
                    <a:lnTo>
                      <a:pt x="1208" y="1060"/>
                    </a:lnTo>
                    <a:lnTo>
                      <a:pt x="1210" y="1060"/>
                    </a:lnTo>
                    <a:lnTo>
                      <a:pt x="1210" y="1061"/>
                    </a:lnTo>
                    <a:lnTo>
                      <a:pt x="1210" y="1063"/>
                    </a:lnTo>
                    <a:lnTo>
                      <a:pt x="1208" y="1063"/>
                    </a:lnTo>
                    <a:lnTo>
                      <a:pt x="1208" y="1061"/>
                    </a:lnTo>
                    <a:lnTo>
                      <a:pt x="1208" y="1060"/>
                    </a:lnTo>
                    <a:lnTo>
                      <a:pt x="1208" y="1061"/>
                    </a:lnTo>
                    <a:lnTo>
                      <a:pt x="1208" y="1060"/>
                    </a:lnTo>
                    <a:lnTo>
                      <a:pt x="1207" y="1060"/>
                    </a:lnTo>
                    <a:lnTo>
                      <a:pt x="1207" y="1058"/>
                    </a:lnTo>
                    <a:lnTo>
                      <a:pt x="1205" y="1058"/>
                    </a:lnTo>
                    <a:lnTo>
                      <a:pt x="1205" y="1056"/>
                    </a:lnTo>
                    <a:lnTo>
                      <a:pt x="1207" y="1054"/>
                    </a:lnTo>
                    <a:lnTo>
                      <a:pt x="1208" y="1054"/>
                    </a:lnTo>
                    <a:close/>
                    <a:moveTo>
                      <a:pt x="1321" y="1577"/>
                    </a:moveTo>
                    <a:lnTo>
                      <a:pt x="1322" y="1578"/>
                    </a:lnTo>
                    <a:lnTo>
                      <a:pt x="1321" y="1580"/>
                    </a:lnTo>
                    <a:lnTo>
                      <a:pt x="1321" y="1582"/>
                    </a:lnTo>
                    <a:lnTo>
                      <a:pt x="1321" y="1583"/>
                    </a:lnTo>
                    <a:lnTo>
                      <a:pt x="1319" y="1583"/>
                    </a:lnTo>
                    <a:lnTo>
                      <a:pt x="1317" y="1582"/>
                    </a:lnTo>
                    <a:lnTo>
                      <a:pt x="1315" y="1582"/>
                    </a:lnTo>
                    <a:lnTo>
                      <a:pt x="1315" y="1580"/>
                    </a:lnTo>
                    <a:lnTo>
                      <a:pt x="1314" y="1578"/>
                    </a:lnTo>
                    <a:lnTo>
                      <a:pt x="1315" y="1578"/>
                    </a:lnTo>
                    <a:lnTo>
                      <a:pt x="1317" y="1578"/>
                    </a:lnTo>
                    <a:lnTo>
                      <a:pt x="1319" y="1578"/>
                    </a:lnTo>
                    <a:lnTo>
                      <a:pt x="1321" y="1577"/>
                    </a:lnTo>
                    <a:close/>
                    <a:moveTo>
                      <a:pt x="1164" y="1282"/>
                    </a:moveTo>
                    <a:lnTo>
                      <a:pt x="1164" y="1284"/>
                    </a:lnTo>
                    <a:lnTo>
                      <a:pt x="1166" y="1284"/>
                    </a:lnTo>
                    <a:lnTo>
                      <a:pt x="1168" y="1284"/>
                    </a:lnTo>
                    <a:lnTo>
                      <a:pt x="1169" y="1284"/>
                    </a:lnTo>
                    <a:lnTo>
                      <a:pt x="1171" y="1284"/>
                    </a:lnTo>
                    <a:lnTo>
                      <a:pt x="1171" y="1286"/>
                    </a:lnTo>
                    <a:lnTo>
                      <a:pt x="1169" y="1286"/>
                    </a:lnTo>
                    <a:lnTo>
                      <a:pt x="1168" y="1286"/>
                    </a:lnTo>
                    <a:lnTo>
                      <a:pt x="1168" y="1288"/>
                    </a:lnTo>
                    <a:lnTo>
                      <a:pt x="1166" y="1288"/>
                    </a:lnTo>
                    <a:lnTo>
                      <a:pt x="1166" y="1289"/>
                    </a:lnTo>
                    <a:lnTo>
                      <a:pt x="1164" y="1289"/>
                    </a:lnTo>
                    <a:lnTo>
                      <a:pt x="1162" y="1289"/>
                    </a:lnTo>
                    <a:lnTo>
                      <a:pt x="1162" y="1288"/>
                    </a:lnTo>
                    <a:lnTo>
                      <a:pt x="1164" y="1288"/>
                    </a:lnTo>
                    <a:lnTo>
                      <a:pt x="1164" y="1286"/>
                    </a:lnTo>
                    <a:lnTo>
                      <a:pt x="1166" y="1286"/>
                    </a:lnTo>
                    <a:lnTo>
                      <a:pt x="1166" y="1288"/>
                    </a:lnTo>
                    <a:lnTo>
                      <a:pt x="1166" y="1286"/>
                    </a:lnTo>
                    <a:lnTo>
                      <a:pt x="1168" y="1288"/>
                    </a:lnTo>
                    <a:lnTo>
                      <a:pt x="1168" y="1286"/>
                    </a:lnTo>
                    <a:lnTo>
                      <a:pt x="1166" y="1286"/>
                    </a:lnTo>
                    <a:lnTo>
                      <a:pt x="1164" y="1286"/>
                    </a:lnTo>
                    <a:lnTo>
                      <a:pt x="1164" y="1284"/>
                    </a:lnTo>
                    <a:lnTo>
                      <a:pt x="1164" y="1282"/>
                    </a:lnTo>
                    <a:close/>
                    <a:moveTo>
                      <a:pt x="1222" y="1563"/>
                    </a:moveTo>
                    <a:lnTo>
                      <a:pt x="1224" y="1563"/>
                    </a:lnTo>
                    <a:lnTo>
                      <a:pt x="1225" y="1563"/>
                    </a:lnTo>
                    <a:lnTo>
                      <a:pt x="1227" y="1563"/>
                    </a:lnTo>
                    <a:lnTo>
                      <a:pt x="1227" y="1565"/>
                    </a:lnTo>
                    <a:lnTo>
                      <a:pt x="1227" y="1566"/>
                    </a:lnTo>
                    <a:lnTo>
                      <a:pt x="1227" y="1568"/>
                    </a:lnTo>
                    <a:lnTo>
                      <a:pt x="1227" y="1566"/>
                    </a:lnTo>
                    <a:lnTo>
                      <a:pt x="1225" y="1568"/>
                    </a:lnTo>
                    <a:lnTo>
                      <a:pt x="1224" y="1568"/>
                    </a:lnTo>
                    <a:lnTo>
                      <a:pt x="1224" y="1570"/>
                    </a:lnTo>
                    <a:lnTo>
                      <a:pt x="1225" y="1568"/>
                    </a:lnTo>
                    <a:lnTo>
                      <a:pt x="1225" y="1570"/>
                    </a:lnTo>
                    <a:lnTo>
                      <a:pt x="1224" y="1570"/>
                    </a:lnTo>
                    <a:lnTo>
                      <a:pt x="1222" y="1568"/>
                    </a:lnTo>
                    <a:lnTo>
                      <a:pt x="1224" y="1568"/>
                    </a:lnTo>
                    <a:lnTo>
                      <a:pt x="1222" y="1568"/>
                    </a:lnTo>
                    <a:lnTo>
                      <a:pt x="1222" y="1566"/>
                    </a:lnTo>
                    <a:lnTo>
                      <a:pt x="1224" y="1568"/>
                    </a:lnTo>
                    <a:lnTo>
                      <a:pt x="1224" y="1566"/>
                    </a:lnTo>
                    <a:lnTo>
                      <a:pt x="1224" y="1565"/>
                    </a:lnTo>
                    <a:lnTo>
                      <a:pt x="1224" y="1566"/>
                    </a:lnTo>
                    <a:lnTo>
                      <a:pt x="1222" y="1566"/>
                    </a:lnTo>
                    <a:lnTo>
                      <a:pt x="1224" y="1565"/>
                    </a:lnTo>
                    <a:lnTo>
                      <a:pt x="1222" y="1566"/>
                    </a:lnTo>
                    <a:lnTo>
                      <a:pt x="1220" y="1566"/>
                    </a:lnTo>
                    <a:lnTo>
                      <a:pt x="1220" y="1565"/>
                    </a:lnTo>
                    <a:lnTo>
                      <a:pt x="1220" y="1566"/>
                    </a:lnTo>
                    <a:lnTo>
                      <a:pt x="1220" y="1565"/>
                    </a:lnTo>
                    <a:lnTo>
                      <a:pt x="1222" y="1565"/>
                    </a:lnTo>
                    <a:lnTo>
                      <a:pt x="1224" y="1565"/>
                    </a:lnTo>
                    <a:lnTo>
                      <a:pt x="1222" y="1565"/>
                    </a:lnTo>
                    <a:lnTo>
                      <a:pt x="1220" y="1565"/>
                    </a:lnTo>
                    <a:lnTo>
                      <a:pt x="1222" y="1563"/>
                    </a:lnTo>
                    <a:lnTo>
                      <a:pt x="1220" y="1565"/>
                    </a:lnTo>
                    <a:lnTo>
                      <a:pt x="1220" y="1563"/>
                    </a:lnTo>
                    <a:lnTo>
                      <a:pt x="1222" y="1563"/>
                    </a:lnTo>
                    <a:close/>
                    <a:moveTo>
                      <a:pt x="1186" y="1202"/>
                    </a:moveTo>
                    <a:lnTo>
                      <a:pt x="1188" y="1204"/>
                    </a:lnTo>
                    <a:lnTo>
                      <a:pt x="1186" y="1206"/>
                    </a:lnTo>
                    <a:lnTo>
                      <a:pt x="1185" y="1208"/>
                    </a:lnTo>
                    <a:lnTo>
                      <a:pt x="1183" y="1208"/>
                    </a:lnTo>
                    <a:lnTo>
                      <a:pt x="1183" y="1209"/>
                    </a:lnTo>
                    <a:lnTo>
                      <a:pt x="1181" y="1209"/>
                    </a:lnTo>
                    <a:lnTo>
                      <a:pt x="1181" y="1208"/>
                    </a:lnTo>
                    <a:lnTo>
                      <a:pt x="1181" y="1206"/>
                    </a:lnTo>
                    <a:lnTo>
                      <a:pt x="1181" y="1204"/>
                    </a:lnTo>
                    <a:lnTo>
                      <a:pt x="1183" y="1204"/>
                    </a:lnTo>
                    <a:lnTo>
                      <a:pt x="1185" y="1204"/>
                    </a:lnTo>
                    <a:lnTo>
                      <a:pt x="1185" y="1202"/>
                    </a:lnTo>
                    <a:lnTo>
                      <a:pt x="1186" y="1202"/>
                    </a:lnTo>
                    <a:close/>
                    <a:moveTo>
                      <a:pt x="1210" y="983"/>
                    </a:moveTo>
                    <a:lnTo>
                      <a:pt x="1212" y="983"/>
                    </a:lnTo>
                    <a:lnTo>
                      <a:pt x="1213" y="983"/>
                    </a:lnTo>
                    <a:lnTo>
                      <a:pt x="1212" y="983"/>
                    </a:lnTo>
                    <a:lnTo>
                      <a:pt x="1212" y="985"/>
                    </a:lnTo>
                    <a:lnTo>
                      <a:pt x="1213" y="985"/>
                    </a:lnTo>
                    <a:lnTo>
                      <a:pt x="1213" y="986"/>
                    </a:lnTo>
                    <a:lnTo>
                      <a:pt x="1215" y="986"/>
                    </a:lnTo>
                    <a:lnTo>
                      <a:pt x="1215" y="988"/>
                    </a:lnTo>
                    <a:lnTo>
                      <a:pt x="1217" y="988"/>
                    </a:lnTo>
                    <a:lnTo>
                      <a:pt x="1217" y="990"/>
                    </a:lnTo>
                    <a:lnTo>
                      <a:pt x="1217" y="992"/>
                    </a:lnTo>
                    <a:lnTo>
                      <a:pt x="1215" y="992"/>
                    </a:lnTo>
                    <a:lnTo>
                      <a:pt x="1215" y="990"/>
                    </a:lnTo>
                    <a:lnTo>
                      <a:pt x="1217" y="990"/>
                    </a:lnTo>
                    <a:lnTo>
                      <a:pt x="1215" y="990"/>
                    </a:lnTo>
                    <a:lnTo>
                      <a:pt x="1215" y="988"/>
                    </a:lnTo>
                    <a:lnTo>
                      <a:pt x="1213" y="988"/>
                    </a:lnTo>
                    <a:lnTo>
                      <a:pt x="1212" y="986"/>
                    </a:lnTo>
                    <a:lnTo>
                      <a:pt x="1210" y="986"/>
                    </a:lnTo>
                    <a:lnTo>
                      <a:pt x="1208" y="986"/>
                    </a:lnTo>
                    <a:lnTo>
                      <a:pt x="1208" y="985"/>
                    </a:lnTo>
                    <a:lnTo>
                      <a:pt x="1210" y="985"/>
                    </a:lnTo>
                    <a:lnTo>
                      <a:pt x="1208" y="985"/>
                    </a:lnTo>
                    <a:lnTo>
                      <a:pt x="1208" y="983"/>
                    </a:lnTo>
                    <a:lnTo>
                      <a:pt x="1210" y="981"/>
                    </a:lnTo>
                    <a:lnTo>
                      <a:pt x="1210" y="983"/>
                    </a:lnTo>
                    <a:close/>
                    <a:moveTo>
                      <a:pt x="1176" y="1087"/>
                    </a:moveTo>
                    <a:lnTo>
                      <a:pt x="1178" y="1087"/>
                    </a:lnTo>
                    <a:lnTo>
                      <a:pt x="1178" y="1085"/>
                    </a:lnTo>
                    <a:lnTo>
                      <a:pt x="1178" y="1087"/>
                    </a:lnTo>
                    <a:lnTo>
                      <a:pt x="1179" y="1087"/>
                    </a:lnTo>
                    <a:lnTo>
                      <a:pt x="1181" y="1087"/>
                    </a:lnTo>
                    <a:lnTo>
                      <a:pt x="1181" y="1088"/>
                    </a:lnTo>
                    <a:lnTo>
                      <a:pt x="1181" y="1090"/>
                    </a:lnTo>
                    <a:lnTo>
                      <a:pt x="1179" y="1090"/>
                    </a:lnTo>
                    <a:lnTo>
                      <a:pt x="1178" y="1090"/>
                    </a:lnTo>
                    <a:lnTo>
                      <a:pt x="1176" y="1088"/>
                    </a:lnTo>
                    <a:lnTo>
                      <a:pt x="1176" y="1090"/>
                    </a:lnTo>
                    <a:lnTo>
                      <a:pt x="1174" y="1088"/>
                    </a:lnTo>
                    <a:lnTo>
                      <a:pt x="1173" y="1088"/>
                    </a:lnTo>
                    <a:lnTo>
                      <a:pt x="1174" y="1088"/>
                    </a:lnTo>
                    <a:lnTo>
                      <a:pt x="1174" y="1087"/>
                    </a:lnTo>
                    <a:lnTo>
                      <a:pt x="1176" y="1087"/>
                    </a:lnTo>
                    <a:lnTo>
                      <a:pt x="1176" y="1085"/>
                    </a:lnTo>
                    <a:lnTo>
                      <a:pt x="1176" y="1087"/>
                    </a:lnTo>
                    <a:close/>
                    <a:moveTo>
                      <a:pt x="1195" y="1071"/>
                    </a:moveTo>
                    <a:lnTo>
                      <a:pt x="1196" y="1073"/>
                    </a:lnTo>
                    <a:lnTo>
                      <a:pt x="1198" y="1073"/>
                    </a:lnTo>
                    <a:lnTo>
                      <a:pt x="1200" y="1073"/>
                    </a:lnTo>
                    <a:lnTo>
                      <a:pt x="1200" y="1075"/>
                    </a:lnTo>
                    <a:lnTo>
                      <a:pt x="1200" y="1077"/>
                    </a:lnTo>
                    <a:lnTo>
                      <a:pt x="1200" y="1078"/>
                    </a:lnTo>
                    <a:lnTo>
                      <a:pt x="1198" y="1078"/>
                    </a:lnTo>
                    <a:lnTo>
                      <a:pt x="1198" y="1077"/>
                    </a:lnTo>
                    <a:lnTo>
                      <a:pt x="1196" y="1077"/>
                    </a:lnTo>
                    <a:lnTo>
                      <a:pt x="1195" y="1077"/>
                    </a:lnTo>
                    <a:lnTo>
                      <a:pt x="1195" y="1075"/>
                    </a:lnTo>
                    <a:lnTo>
                      <a:pt x="1193" y="1073"/>
                    </a:lnTo>
                    <a:lnTo>
                      <a:pt x="1193" y="1071"/>
                    </a:lnTo>
                    <a:lnTo>
                      <a:pt x="1195" y="1071"/>
                    </a:lnTo>
                    <a:close/>
                    <a:moveTo>
                      <a:pt x="1185" y="1107"/>
                    </a:moveTo>
                    <a:lnTo>
                      <a:pt x="1186" y="1107"/>
                    </a:lnTo>
                    <a:lnTo>
                      <a:pt x="1186" y="1109"/>
                    </a:lnTo>
                    <a:lnTo>
                      <a:pt x="1188" y="1109"/>
                    </a:lnTo>
                    <a:lnTo>
                      <a:pt x="1188" y="1111"/>
                    </a:lnTo>
                    <a:lnTo>
                      <a:pt x="1188" y="1112"/>
                    </a:lnTo>
                    <a:lnTo>
                      <a:pt x="1186" y="1112"/>
                    </a:lnTo>
                    <a:lnTo>
                      <a:pt x="1186" y="1111"/>
                    </a:lnTo>
                    <a:lnTo>
                      <a:pt x="1186" y="1112"/>
                    </a:lnTo>
                    <a:lnTo>
                      <a:pt x="1185" y="1111"/>
                    </a:lnTo>
                    <a:lnTo>
                      <a:pt x="1185" y="1112"/>
                    </a:lnTo>
                    <a:lnTo>
                      <a:pt x="1185" y="1111"/>
                    </a:lnTo>
                    <a:lnTo>
                      <a:pt x="1183" y="1111"/>
                    </a:lnTo>
                    <a:lnTo>
                      <a:pt x="1183" y="1109"/>
                    </a:lnTo>
                    <a:lnTo>
                      <a:pt x="1183" y="1107"/>
                    </a:lnTo>
                    <a:lnTo>
                      <a:pt x="1183" y="1105"/>
                    </a:lnTo>
                    <a:lnTo>
                      <a:pt x="1185" y="1107"/>
                    </a:lnTo>
                    <a:close/>
                    <a:moveTo>
                      <a:pt x="1188" y="1138"/>
                    </a:moveTo>
                    <a:lnTo>
                      <a:pt x="1190" y="1140"/>
                    </a:lnTo>
                    <a:lnTo>
                      <a:pt x="1188" y="1140"/>
                    </a:lnTo>
                    <a:lnTo>
                      <a:pt x="1188" y="1141"/>
                    </a:lnTo>
                    <a:lnTo>
                      <a:pt x="1186" y="1141"/>
                    </a:lnTo>
                    <a:lnTo>
                      <a:pt x="1188" y="1141"/>
                    </a:lnTo>
                    <a:lnTo>
                      <a:pt x="1190" y="1141"/>
                    </a:lnTo>
                    <a:lnTo>
                      <a:pt x="1190" y="1140"/>
                    </a:lnTo>
                    <a:lnTo>
                      <a:pt x="1191" y="1140"/>
                    </a:lnTo>
                    <a:lnTo>
                      <a:pt x="1191" y="1141"/>
                    </a:lnTo>
                    <a:lnTo>
                      <a:pt x="1191" y="1140"/>
                    </a:lnTo>
                    <a:lnTo>
                      <a:pt x="1191" y="1141"/>
                    </a:lnTo>
                    <a:lnTo>
                      <a:pt x="1193" y="1141"/>
                    </a:lnTo>
                    <a:lnTo>
                      <a:pt x="1191" y="1141"/>
                    </a:lnTo>
                    <a:lnTo>
                      <a:pt x="1193" y="1143"/>
                    </a:lnTo>
                    <a:lnTo>
                      <a:pt x="1191" y="1143"/>
                    </a:lnTo>
                    <a:lnTo>
                      <a:pt x="1190" y="1143"/>
                    </a:lnTo>
                    <a:lnTo>
                      <a:pt x="1188" y="1143"/>
                    </a:lnTo>
                    <a:lnTo>
                      <a:pt x="1188" y="1145"/>
                    </a:lnTo>
                    <a:lnTo>
                      <a:pt x="1186" y="1143"/>
                    </a:lnTo>
                    <a:lnTo>
                      <a:pt x="1186" y="1141"/>
                    </a:lnTo>
                    <a:lnTo>
                      <a:pt x="1185" y="1141"/>
                    </a:lnTo>
                    <a:lnTo>
                      <a:pt x="1186" y="1140"/>
                    </a:lnTo>
                    <a:lnTo>
                      <a:pt x="1186" y="1138"/>
                    </a:lnTo>
                    <a:lnTo>
                      <a:pt x="1188" y="1138"/>
                    </a:lnTo>
                    <a:close/>
                    <a:moveTo>
                      <a:pt x="1162" y="1390"/>
                    </a:moveTo>
                    <a:lnTo>
                      <a:pt x="1164" y="1391"/>
                    </a:lnTo>
                    <a:lnTo>
                      <a:pt x="1162" y="1391"/>
                    </a:lnTo>
                    <a:lnTo>
                      <a:pt x="1164" y="1393"/>
                    </a:lnTo>
                    <a:lnTo>
                      <a:pt x="1162" y="1393"/>
                    </a:lnTo>
                    <a:lnTo>
                      <a:pt x="1164" y="1395"/>
                    </a:lnTo>
                    <a:lnTo>
                      <a:pt x="1162" y="1395"/>
                    </a:lnTo>
                    <a:lnTo>
                      <a:pt x="1164" y="1395"/>
                    </a:lnTo>
                    <a:lnTo>
                      <a:pt x="1162" y="1395"/>
                    </a:lnTo>
                    <a:lnTo>
                      <a:pt x="1164" y="1396"/>
                    </a:lnTo>
                    <a:lnTo>
                      <a:pt x="1162" y="1396"/>
                    </a:lnTo>
                    <a:lnTo>
                      <a:pt x="1164" y="1396"/>
                    </a:lnTo>
                    <a:lnTo>
                      <a:pt x="1162" y="1398"/>
                    </a:lnTo>
                    <a:lnTo>
                      <a:pt x="1162" y="1396"/>
                    </a:lnTo>
                    <a:lnTo>
                      <a:pt x="1161" y="1396"/>
                    </a:lnTo>
                    <a:lnTo>
                      <a:pt x="1161" y="1395"/>
                    </a:lnTo>
                    <a:lnTo>
                      <a:pt x="1159" y="1393"/>
                    </a:lnTo>
                    <a:lnTo>
                      <a:pt x="1161" y="1391"/>
                    </a:lnTo>
                    <a:lnTo>
                      <a:pt x="1161" y="1393"/>
                    </a:lnTo>
                    <a:lnTo>
                      <a:pt x="1161" y="1391"/>
                    </a:lnTo>
                    <a:lnTo>
                      <a:pt x="1161" y="1390"/>
                    </a:lnTo>
                    <a:lnTo>
                      <a:pt x="1162" y="1390"/>
                    </a:lnTo>
                    <a:lnTo>
                      <a:pt x="1162" y="1388"/>
                    </a:lnTo>
                    <a:lnTo>
                      <a:pt x="1162" y="1390"/>
                    </a:lnTo>
                    <a:lnTo>
                      <a:pt x="1162" y="1391"/>
                    </a:lnTo>
                    <a:lnTo>
                      <a:pt x="1162" y="1390"/>
                    </a:lnTo>
                    <a:lnTo>
                      <a:pt x="1164" y="1388"/>
                    </a:lnTo>
                    <a:lnTo>
                      <a:pt x="1164" y="1390"/>
                    </a:lnTo>
                    <a:lnTo>
                      <a:pt x="1162" y="1390"/>
                    </a:lnTo>
                    <a:close/>
                    <a:moveTo>
                      <a:pt x="1431" y="1631"/>
                    </a:moveTo>
                    <a:lnTo>
                      <a:pt x="1433" y="1633"/>
                    </a:lnTo>
                    <a:lnTo>
                      <a:pt x="1434" y="1633"/>
                    </a:lnTo>
                    <a:lnTo>
                      <a:pt x="1436" y="1633"/>
                    </a:lnTo>
                    <a:lnTo>
                      <a:pt x="1436" y="1635"/>
                    </a:lnTo>
                    <a:lnTo>
                      <a:pt x="1438" y="1635"/>
                    </a:lnTo>
                    <a:lnTo>
                      <a:pt x="1438" y="1636"/>
                    </a:lnTo>
                    <a:lnTo>
                      <a:pt x="1438" y="1638"/>
                    </a:lnTo>
                    <a:lnTo>
                      <a:pt x="1440" y="1640"/>
                    </a:lnTo>
                    <a:lnTo>
                      <a:pt x="1438" y="1640"/>
                    </a:lnTo>
                    <a:lnTo>
                      <a:pt x="1436" y="1638"/>
                    </a:lnTo>
                    <a:lnTo>
                      <a:pt x="1434" y="1636"/>
                    </a:lnTo>
                    <a:lnTo>
                      <a:pt x="1433" y="1635"/>
                    </a:lnTo>
                    <a:lnTo>
                      <a:pt x="1431" y="1635"/>
                    </a:lnTo>
                    <a:lnTo>
                      <a:pt x="1431" y="1633"/>
                    </a:lnTo>
                    <a:lnTo>
                      <a:pt x="1431" y="1631"/>
                    </a:lnTo>
                    <a:close/>
                    <a:moveTo>
                      <a:pt x="1196" y="1094"/>
                    </a:moveTo>
                    <a:lnTo>
                      <a:pt x="1198" y="1094"/>
                    </a:lnTo>
                    <a:lnTo>
                      <a:pt x="1198" y="1095"/>
                    </a:lnTo>
                    <a:lnTo>
                      <a:pt x="1198" y="1097"/>
                    </a:lnTo>
                    <a:lnTo>
                      <a:pt x="1196" y="1097"/>
                    </a:lnTo>
                    <a:lnTo>
                      <a:pt x="1198" y="1097"/>
                    </a:lnTo>
                    <a:lnTo>
                      <a:pt x="1196" y="1097"/>
                    </a:lnTo>
                    <a:lnTo>
                      <a:pt x="1195" y="1097"/>
                    </a:lnTo>
                    <a:lnTo>
                      <a:pt x="1193" y="1097"/>
                    </a:lnTo>
                    <a:lnTo>
                      <a:pt x="1191" y="1097"/>
                    </a:lnTo>
                    <a:lnTo>
                      <a:pt x="1191" y="1095"/>
                    </a:lnTo>
                    <a:lnTo>
                      <a:pt x="1190" y="1095"/>
                    </a:lnTo>
                    <a:lnTo>
                      <a:pt x="1191" y="1095"/>
                    </a:lnTo>
                    <a:lnTo>
                      <a:pt x="1193" y="1095"/>
                    </a:lnTo>
                    <a:lnTo>
                      <a:pt x="1195" y="1094"/>
                    </a:lnTo>
                    <a:lnTo>
                      <a:pt x="1196" y="1094"/>
                    </a:lnTo>
                    <a:close/>
                    <a:moveTo>
                      <a:pt x="1178" y="1468"/>
                    </a:moveTo>
                    <a:lnTo>
                      <a:pt x="1176" y="1468"/>
                    </a:lnTo>
                    <a:lnTo>
                      <a:pt x="1176" y="1470"/>
                    </a:lnTo>
                    <a:lnTo>
                      <a:pt x="1174" y="1470"/>
                    </a:lnTo>
                    <a:lnTo>
                      <a:pt x="1176" y="1470"/>
                    </a:lnTo>
                    <a:lnTo>
                      <a:pt x="1174" y="1471"/>
                    </a:lnTo>
                    <a:lnTo>
                      <a:pt x="1176" y="1471"/>
                    </a:lnTo>
                    <a:lnTo>
                      <a:pt x="1174" y="1473"/>
                    </a:lnTo>
                    <a:lnTo>
                      <a:pt x="1174" y="1471"/>
                    </a:lnTo>
                    <a:lnTo>
                      <a:pt x="1173" y="1473"/>
                    </a:lnTo>
                    <a:lnTo>
                      <a:pt x="1173" y="1471"/>
                    </a:lnTo>
                    <a:lnTo>
                      <a:pt x="1173" y="1473"/>
                    </a:lnTo>
                    <a:lnTo>
                      <a:pt x="1174" y="1473"/>
                    </a:lnTo>
                    <a:lnTo>
                      <a:pt x="1173" y="1473"/>
                    </a:lnTo>
                    <a:lnTo>
                      <a:pt x="1171" y="1475"/>
                    </a:lnTo>
                    <a:lnTo>
                      <a:pt x="1171" y="1473"/>
                    </a:lnTo>
                    <a:lnTo>
                      <a:pt x="1171" y="1471"/>
                    </a:lnTo>
                    <a:lnTo>
                      <a:pt x="1169" y="1471"/>
                    </a:lnTo>
                    <a:lnTo>
                      <a:pt x="1171" y="1471"/>
                    </a:lnTo>
                    <a:lnTo>
                      <a:pt x="1171" y="1470"/>
                    </a:lnTo>
                    <a:lnTo>
                      <a:pt x="1173" y="1470"/>
                    </a:lnTo>
                    <a:lnTo>
                      <a:pt x="1174" y="1468"/>
                    </a:lnTo>
                    <a:lnTo>
                      <a:pt x="1176" y="1468"/>
                    </a:lnTo>
                    <a:lnTo>
                      <a:pt x="1176" y="1466"/>
                    </a:lnTo>
                    <a:lnTo>
                      <a:pt x="1178" y="1468"/>
                    </a:lnTo>
                    <a:close/>
                    <a:moveTo>
                      <a:pt x="1210" y="1092"/>
                    </a:moveTo>
                    <a:lnTo>
                      <a:pt x="1210" y="1094"/>
                    </a:lnTo>
                    <a:lnTo>
                      <a:pt x="1210" y="1095"/>
                    </a:lnTo>
                    <a:lnTo>
                      <a:pt x="1210" y="1097"/>
                    </a:lnTo>
                    <a:lnTo>
                      <a:pt x="1208" y="1097"/>
                    </a:lnTo>
                    <a:lnTo>
                      <a:pt x="1207" y="1097"/>
                    </a:lnTo>
                    <a:lnTo>
                      <a:pt x="1207" y="1095"/>
                    </a:lnTo>
                    <a:lnTo>
                      <a:pt x="1205" y="1095"/>
                    </a:lnTo>
                    <a:lnTo>
                      <a:pt x="1205" y="1094"/>
                    </a:lnTo>
                    <a:lnTo>
                      <a:pt x="1205" y="1092"/>
                    </a:lnTo>
                    <a:lnTo>
                      <a:pt x="1207" y="1094"/>
                    </a:lnTo>
                    <a:lnTo>
                      <a:pt x="1207" y="1092"/>
                    </a:lnTo>
                    <a:lnTo>
                      <a:pt x="1208" y="1092"/>
                    </a:lnTo>
                    <a:lnTo>
                      <a:pt x="1210" y="1092"/>
                    </a:lnTo>
                    <a:close/>
                    <a:moveTo>
                      <a:pt x="1161" y="1235"/>
                    </a:moveTo>
                    <a:lnTo>
                      <a:pt x="1162" y="1235"/>
                    </a:lnTo>
                    <a:lnTo>
                      <a:pt x="1164" y="1235"/>
                    </a:lnTo>
                    <a:lnTo>
                      <a:pt x="1164" y="1236"/>
                    </a:lnTo>
                    <a:lnTo>
                      <a:pt x="1164" y="1238"/>
                    </a:lnTo>
                    <a:lnTo>
                      <a:pt x="1164" y="1236"/>
                    </a:lnTo>
                    <a:lnTo>
                      <a:pt x="1164" y="1235"/>
                    </a:lnTo>
                    <a:lnTo>
                      <a:pt x="1164" y="1236"/>
                    </a:lnTo>
                    <a:lnTo>
                      <a:pt x="1166" y="1236"/>
                    </a:lnTo>
                    <a:lnTo>
                      <a:pt x="1166" y="1238"/>
                    </a:lnTo>
                    <a:lnTo>
                      <a:pt x="1168" y="1238"/>
                    </a:lnTo>
                    <a:lnTo>
                      <a:pt x="1168" y="1240"/>
                    </a:lnTo>
                    <a:lnTo>
                      <a:pt x="1166" y="1240"/>
                    </a:lnTo>
                    <a:lnTo>
                      <a:pt x="1166" y="1238"/>
                    </a:lnTo>
                    <a:lnTo>
                      <a:pt x="1166" y="1240"/>
                    </a:lnTo>
                    <a:lnTo>
                      <a:pt x="1164" y="1240"/>
                    </a:lnTo>
                    <a:lnTo>
                      <a:pt x="1162" y="1240"/>
                    </a:lnTo>
                    <a:lnTo>
                      <a:pt x="1162" y="1238"/>
                    </a:lnTo>
                    <a:lnTo>
                      <a:pt x="1161" y="1238"/>
                    </a:lnTo>
                    <a:lnTo>
                      <a:pt x="1161" y="1236"/>
                    </a:lnTo>
                    <a:lnTo>
                      <a:pt x="1161" y="1235"/>
                    </a:lnTo>
                    <a:close/>
                    <a:moveTo>
                      <a:pt x="1249" y="1592"/>
                    </a:moveTo>
                    <a:lnTo>
                      <a:pt x="1251" y="1592"/>
                    </a:lnTo>
                    <a:lnTo>
                      <a:pt x="1251" y="1594"/>
                    </a:lnTo>
                    <a:lnTo>
                      <a:pt x="1253" y="1594"/>
                    </a:lnTo>
                    <a:lnTo>
                      <a:pt x="1254" y="1594"/>
                    </a:lnTo>
                    <a:lnTo>
                      <a:pt x="1253" y="1594"/>
                    </a:lnTo>
                    <a:lnTo>
                      <a:pt x="1253" y="1595"/>
                    </a:lnTo>
                    <a:lnTo>
                      <a:pt x="1251" y="1594"/>
                    </a:lnTo>
                    <a:lnTo>
                      <a:pt x="1251" y="1595"/>
                    </a:lnTo>
                    <a:lnTo>
                      <a:pt x="1253" y="1595"/>
                    </a:lnTo>
                    <a:lnTo>
                      <a:pt x="1253" y="1597"/>
                    </a:lnTo>
                    <a:lnTo>
                      <a:pt x="1251" y="1597"/>
                    </a:lnTo>
                    <a:lnTo>
                      <a:pt x="1251" y="1595"/>
                    </a:lnTo>
                    <a:lnTo>
                      <a:pt x="1249" y="1595"/>
                    </a:lnTo>
                    <a:lnTo>
                      <a:pt x="1249" y="1597"/>
                    </a:lnTo>
                    <a:lnTo>
                      <a:pt x="1249" y="1599"/>
                    </a:lnTo>
                    <a:lnTo>
                      <a:pt x="1247" y="1600"/>
                    </a:lnTo>
                    <a:lnTo>
                      <a:pt x="1247" y="1599"/>
                    </a:lnTo>
                    <a:lnTo>
                      <a:pt x="1247" y="1597"/>
                    </a:lnTo>
                    <a:lnTo>
                      <a:pt x="1246" y="1597"/>
                    </a:lnTo>
                    <a:lnTo>
                      <a:pt x="1246" y="1595"/>
                    </a:lnTo>
                    <a:lnTo>
                      <a:pt x="1246" y="1594"/>
                    </a:lnTo>
                    <a:lnTo>
                      <a:pt x="1247" y="1595"/>
                    </a:lnTo>
                    <a:lnTo>
                      <a:pt x="1246" y="1594"/>
                    </a:lnTo>
                    <a:lnTo>
                      <a:pt x="1247" y="1594"/>
                    </a:lnTo>
                    <a:lnTo>
                      <a:pt x="1249" y="1594"/>
                    </a:lnTo>
                    <a:lnTo>
                      <a:pt x="1249" y="1592"/>
                    </a:lnTo>
                    <a:close/>
                    <a:moveTo>
                      <a:pt x="1198" y="1061"/>
                    </a:moveTo>
                    <a:lnTo>
                      <a:pt x="1200" y="1061"/>
                    </a:lnTo>
                    <a:lnTo>
                      <a:pt x="1200" y="1063"/>
                    </a:lnTo>
                    <a:lnTo>
                      <a:pt x="1202" y="1063"/>
                    </a:lnTo>
                    <a:lnTo>
                      <a:pt x="1200" y="1065"/>
                    </a:lnTo>
                    <a:lnTo>
                      <a:pt x="1202" y="1065"/>
                    </a:lnTo>
                    <a:lnTo>
                      <a:pt x="1203" y="1066"/>
                    </a:lnTo>
                    <a:lnTo>
                      <a:pt x="1202" y="1065"/>
                    </a:lnTo>
                    <a:lnTo>
                      <a:pt x="1203" y="1065"/>
                    </a:lnTo>
                    <a:lnTo>
                      <a:pt x="1203" y="1066"/>
                    </a:lnTo>
                    <a:lnTo>
                      <a:pt x="1202" y="1066"/>
                    </a:lnTo>
                    <a:lnTo>
                      <a:pt x="1200" y="1066"/>
                    </a:lnTo>
                    <a:lnTo>
                      <a:pt x="1198" y="1066"/>
                    </a:lnTo>
                    <a:lnTo>
                      <a:pt x="1196" y="1065"/>
                    </a:lnTo>
                    <a:lnTo>
                      <a:pt x="1196" y="1063"/>
                    </a:lnTo>
                    <a:lnTo>
                      <a:pt x="1198" y="1063"/>
                    </a:lnTo>
                    <a:lnTo>
                      <a:pt x="1198" y="1061"/>
                    </a:lnTo>
                    <a:close/>
                    <a:moveTo>
                      <a:pt x="1198" y="1442"/>
                    </a:moveTo>
                    <a:lnTo>
                      <a:pt x="1200" y="1442"/>
                    </a:lnTo>
                    <a:lnTo>
                      <a:pt x="1200" y="1444"/>
                    </a:lnTo>
                    <a:lnTo>
                      <a:pt x="1200" y="1446"/>
                    </a:lnTo>
                    <a:lnTo>
                      <a:pt x="1202" y="1444"/>
                    </a:lnTo>
                    <a:lnTo>
                      <a:pt x="1202" y="1446"/>
                    </a:lnTo>
                    <a:lnTo>
                      <a:pt x="1202" y="1447"/>
                    </a:lnTo>
                    <a:lnTo>
                      <a:pt x="1202" y="1449"/>
                    </a:lnTo>
                    <a:lnTo>
                      <a:pt x="1202" y="1447"/>
                    </a:lnTo>
                    <a:lnTo>
                      <a:pt x="1203" y="1447"/>
                    </a:lnTo>
                    <a:lnTo>
                      <a:pt x="1202" y="1447"/>
                    </a:lnTo>
                    <a:lnTo>
                      <a:pt x="1203" y="1446"/>
                    </a:lnTo>
                    <a:lnTo>
                      <a:pt x="1203" y="1447"/>
                    </a:lnTo>
                    <a:lnTo>
                      <a:pt x="1205" y="1449"/>
                    </a:lnTo>
                    <a:lnTo>
                      <a:pt x="1205" y="1451"/>
                    </a:lnTo>
                    <a:lnTo>
                      <a:pt x="1203" y="1449"/>
                    </a:lnTo>
                    <a:lnTo>
                      <a:pt x="1203" y="1451"/>
                    </a:lnTo>
                    <a:lnTo>
                      <a:pt x="1203" y="1453"/>
                    </a:lnTo>
                    <a:lnTo>
                      <a:pt x="1202" y="1451"/>
                    </a:lnTo>
                    <a:lnTo>
                      <a:pt x="1202" y="1449"/>
                    </a:lnTo>
                    <a:lnTo>
                      <a:pt x="1200" y="1449"/>
                    </a:lnTo>
                    <a:lnTo>
                      <a:pt x="1202" y="1447"/>
                    </a:lnTo>
                    <a:lnTo>
                      <a:pt x="1200" y="1449"/>
                    </a:lnTo>
                    <a:lnTo>
                      <a:pt x="1200" y="1447"/>
                    </a:lnTo>
                    <a:lnTo>
                      <a:pt x="1200" y="1446"/>
                    </a:lnTo>
                    <a:lnTo>
                      <a:pt x="1200" y="1447"/>
                    </a:lnTo>
                    <a:lnTo>
                      <a:pt x="1200" y="1446"/>
                    </a:lnTo>
                    <a:lnTo>
                      <a:pt x="1198" y="1446"/>
                    </a:lnTo>
                    <a:lnTo>
                      <a:pt x="1198" y="1444"/>
                    </a:lnTo>
                    <a:lnTo>
                      <a:pt x="1198" y="1442"/>
                    </a:lnTo>
                    <a:close/>
                    <a:moveTo>
                      <a:pt x="1263" y="1565"/>
                    </a:moveTo>
                    <a:lnTo>
                      <a:pt x="1261" y="1566"/>
                    </a:lnTo>
                    <a:lnTo>
                      <a:pt x="1261" y="1568"/>
                    </a:lnTo>
                    <a:lnTo>
                      <a:pt x="1261" y="1566"/>
                    </a:lnTo>
                    <a:lnTo>
                      <a:pt x="1261" y="1568"/>
                    </a:lnTo>
                    <a:lnTo>
                      <a:pt x="1261" y="1570"/>
                    </a:lnTo>
                    <a:lnTo>
                      <a:pt x="1259" y="1570"/>
                    </a:lnTo>
                    <a:lnTo>
                      <a:pt x="1261" y="1570"/>
                    </a:lnTo>
                    <a:lnTo>
                      <a:pt x="1261" y="1568"/>
                    </a:lnTo>
                    <a:lnTo>
                      <a:pt x="1263" y="1570"/>
                    </a:lnTo>
                    <a:lnTo>
                      <a:pt x="1261" y="1570"/>
                    </a:lnTo>
                    <a:lnTo>
                      <a:pt x="1261" y="1572"/>
                    </a:lnTo>
                    <a:lnTo>
                      <a:pt x="1261" y="1570"/>
                    </a:lnTo>
                    <a:lnTo>
                      <a:pt x="1259" y="1570"/>
                    </a:lnTo>
                    <a:lnTo>
                      <a:pt x="1259" y="1568"/>
                    </a:lnTo>
                    <a:lnTo>
                      <a:pt x="1258" y="1568"/>
                    </a:lnTo>
                    <a:lnTo>
                      <a:pt x="1256" y="1568"/>
                    </a:lnTo>
                    <a:lnTo>
                      <a:pt x="1256" y="1566"/>
                    </a:lnTo>
                    <a:lnTo>
                      <a:pt x="1258" y="1566"/>
                    </a:lnTo>
                    <a:lnTo>
                      <a:pt x="1258" y="1565"/>
                    </a:lnTo>
                    <a:lnTo>
                      <a:pt x="1259" y="1565"/>
                    </a:lnTo>
                    <a:lnTo>
                      <a:pt x="1261" y="1563"/>
                    </a:lnTo>
                    <a:lnTo>
                      <a:pt x="1263" y="1565"/>
                    </a:lnTo>
                    <a:close/>
                    <a:moveTo>
                      <a:pt x="1166" y="1413"/>
                    </a:moveTo>
                    <a:lnTo>
                      <a:pt x="1168" y="1413"/>
                    </a:lnTo>
                    <a:lnTo>
                      <a:pt x="1168" y="1415"/>
                    </a:lnTo>
                    <a:lnTo>
                      <a:pt x="1169" y="1413"/>
                    </a:lnTo>
                    <a:lnTo>
                      <a:pt x="1169" y="1415"/>
                    </a:lnTo>
                    <a:lnTo>
                      <a:pt x="1168" y="1417"/>
                    </a:lnTo>
                    <a:lnTo>
                      <a:pt x="1166" y="1417"/>
                    </a:lnTo>
                    <a:lnTo>
                      <a:pt x="1164" y="1415"/>
                    </a:lnTo>
                    <a:lnTo>
                      <a:pt x="1164" y="1417"/>
                    </a:lnTo>
                    <a:lnTo>
                      <a:pt x="1162" y="1417"/>
                    </a:lnTo>
                    <a:lnTo>
                      <a:pt x="1162" y="1415"/>
                    </a:lnTo>
                    <a:lnTo>
                      <a:pt x="1162" y="1413"/>
                    </a:lnTo>
                    <a:lnTo>
                      <a:pt x="1164" y="1413"/>
                    </a:lnTo>
                    <a:lnTo>
                      <a:pt x="1166" y="1413"/>
                    </a:lnTo>
                    <a:lnTo>
                      <a:pt x="1166" y="1415"/>
                    </a:lnTo>
                    <a:lnTo>
                      <a:pt x="1166" y="1413"/>
                    </a:lnTo>
                    <a:lnTo>
                      <a:pt x="1164" y="1413"/>
                    </a:lnTo>
                    <a:lnTo>
                      <a:pt x="1164" y="1412"/>
                    </a:lnTo>
                    <a:lnTo>
                      <a:pt x="1166" y="1413"/>
                    </a:lnTo>
                    <a:close/>
                    <a:moveTo>
                      <a:pt x="1183" y="1126"/>
                    </a:moveTo>
                    <a:lnTo>
                      <a:pt x="1181" y="1126"/>
                    </a:lnTo>
                    <a:lnTo>
                      <a:pt x="1181" y="1128"/>
                    </a:lnTo>
                    <a:lnTo>
                      <a:pt x="1181" y="1129"/>
                    </a:lnTo>
                    <a:lnTo>
                      <a:pt x="1181" y="1131"/>
                    </a:lnTo>
                    <a:lnTo>
                      <a:pt x="1181" y="1133"/>
                    </a:lnTo>
                    <a:lnTo>
                      <a:pt x="1179" y="1133"/>
                    </a:lnTo>
                    <a:lnTo>
                      <a:pt x="1179" y="1131"/>
                    </a:lnTo>
                    <a:lnTo>
                      <a:pt x="1178" y="1131"/>
                    </a:lnTo>
                    <a:lnTo>
                      <a:pt x="1178" y="1129"/>
                    </a:lnTo>
                    <a:lnTo>
                      <a:pt x="1178" y="1128"/>
                    </a:lnTo>
                    <a:lnTo>
                      <a:pt x="1179" y="1128"/>
                    </a:lnTo>
                    <a:lnTo>
                      <a:pt x="1179" y="1126"/>
                    </a:lnTo>
                    <a:lnTo>
                      <a:pt x="1181" y="1126"/>
                    </a:lnTo>
                    <a:lnTo>
                      <a:pt x="1183" y="1126"/>
                    </a:lnTo>
                    <a:close/>
                    <a:moveTo>
                      <a:pt x="1142" y="1301"/>
                    </a:moveTo>
                    <a:lnTo>
                      <a:pt x="1144" y="1303"/>
                    </a:lnTo>
                    <a:lnTo>
                      <a:pt x="1145" y="1303"/>
                    </a:lnTo>
                    <a:lnTo>
                      <a:pt x="1145" y="1305"/>
                    </a:lnTo>
                    <a:lnTo>
                      <a:pt x="1147" y="1305"/>
                    </a:lnTo>
                    <a:lnTo>
                      <a:pt x="1147" y="1306"/>
                    </a:lnTo>
                    <a:lnTo>
                      <a:pt x="1145" y="1306"/>
                    </a:lnTo>
                    <a:lnTo>
                      <a:pt x="1145" y="1305"/>
                    </a:lnTo>
                    <a:lnTo>
                      <a:pt x="1145" y="1306"/>
                    </a:lnTo>
                    <a:lnTo>
                      <a:pt x="1144" y="1305"/>
                    </a:lnTo>
                    <a:lnTo>
                      <a:pt x="1144" y="1306"/>
                    </a:lnTo>
                    <a:lnTo>
                      <a:pt x="1142" y="1305"/>
                    </a:lnTo>
                    <a:lnTo>
                      <a:pt x="1142" y="1303"/>
                    </a:lnTo>
                    <a:lnTo>
                      <a:pt x="1140" y="1303"/>
                    </a:lnTo>
                    <a:lnTo>
                      <a:pt x="1139" y="1303"/>
                    </a:lnTo>
                    <a:lnTo>
                      <a:pt x="1140" y="1301"/>
                    </a:lnTo>
                    <a:lnTo>
                      <a:pt x="1142" y="1301"/>
                    </a:lnTo>
                    <a:close/>
                    <a:moveTo>
                      <a:pt x="1210" y="990"/>
                    </a:moveTo>
                    <a:lnTo>
                      <a:pt x="1210" y="992"/>
                    </a:lnTo>
                    <a:lnTo>
                      <a:pt x="1210" y="993"/>
                    </a:lnTo>
                    <a:lnTo>
                      <a:pt x="1210" y="995"/>
                    </a:lnTo>
                    <a:lnTo>
                      <a:pt x="1212" y="997"/>
                    </a:lnTo>
                    <a:lnTo>
                      <a:pt x="1212" y="995"/>
                    </a:lnTo>
                    <a:lnTo>
                      <a:pt x="1212" y="997"/>
                    </a:lnTo>
                    <a:lnTo>
                      <a:pt x="1210" y="997"/>
                    </a:lnTo>
                    <a:lnTo>
                      <a:pt x="1210" y="995"/>
                    </a:lnTo>
                    <a:lnTo>
                      <a:pt x="1208" y="995"/>
                    </a:lnTo>
                    <a:lnTo>
                      <a:pt x="1208" y="993"/>
                    </a:lnTo>
                    <a:lnTo>
                      <a:pt x="1207" y="993"/>
                    </a:lnTo>
                    <a:lnTo>
                      <a:pt x="1207" y="995"/>
                    </a:lnTo>
                    <a:lnTo>
                      <a:pt x="1205" y="993"/>
                    </a:lnTo>
                    <a:lnTo>
                      <a:pt x="1205" y="992"/>
                    </a:lnTo>
                    <a:lnTo>
                      <a:pt x="1207" y="992"/>
                    </a:lnTo>
                    <a:lnTo>
                      <a:pt x="1208" y="992"/>
                    </a:lnTo>
                    <a:lnTo>
                      <a:pt x="1210" y="992"/>
                    </a:lnTo>
                    <a:lnTo>
                      <a:pt x="1210" y="990"/>
                    </a:lnTo>
                    <a:close/>
                    <a:moveTo>
                      <a:pt x="1202" y="1524"/>
                    </a:moveTo>
                    <a:lnTo>
                      <a:pt x="1202" y="1526"/>
                    </a:lnTo>
                    <a:lnTo>
                      <a:pt x="1202" y="1527"/>
                    </a:lnTo>
                    <a:lnTo>
                      <a:pt x="1203" y="1527"/>
                    </a:lnTo>
                    <a:lnTo>
                      <a:pt x="1203" y="1529"/>
                    </a:lnTo>
                    <a:lnTo>
                      <a:pt x="1205" y="1529"/>
                    </a:lnTo>
                    <a:lnTo>
                      <a:pt x="1203" y="1529"/>
                    </a:lnTo>
                    <a:lnTo>
                      <a:pt x="1203" y="1531"/>
                    </a:lnTo>
                    <a:lnTo>
                      <a:pt x="1202" y="1529"/>
                    </a:lnTo>
                    <a:lnTo>
                      <a:pt x="1202" y="1527"/>
                    </a:lnTo>
                    <a:lnTo>
                      <a:pt x="1200" y="1527"/>
                    </a:lnTo>
                    <a:lnTo>
                      <a:pt x="1200" y="1526"/>
                    </a:lnTo>
                    <a:lnTo>
                      <a:pt x="1200" y="1527"/>
                    </a:lnTo>
                    <a:lnTo>
                      <a:pt x="1198" y="1527"/>
                    </a:lnTo>
                    <a:lnTo>
                      <a:pt x="1198" y="1526"/>
                    </a:lnTo>
                    <a:lnTo>
                      <a:pt x="1198" y="1524"/>
                    </a:lnTo>
                    <a:lnTo>
                      <a:pt x="1200" y="1524"/>
                    </a:lnTo>
                    <a:lnTo>
                      <a:pt x="1202" y="1524"/>
                    </a:lnTo>
                    <a:close/>
                    <a:moveTo>
                      <a:pt x="1176" y="1413"/>
                    </a:moveTo>
                    <a:lnTo>
                      <a:pt x="1176" y="1415"/>
                    </a:lnTo>
                    <a:lnTo>
                      <a:pt x="1178" y="1417"/>
                    </a:lnTo>
                    <a:lnTo>
                      <a:pt x="1176" y="1417"/>
                    </a:lnTo>
                    <a:lnTo>
                      <a:pt x="1174" y="1417"/>
                    </a:lnTo>
                    <a:lnTo>
                      <a:pt x="1174" y="1418"/>
                    </a:lnTo>
                    <a:lnTo>
                      <a:pt x="1173" y="1418"/>
                    </a:lnTo>
                    <a:lnTo>
                      <a:pt x="1173" y="1417"/>
                    </a:lnTo>
                    <a:lnTo>
                      <a:pt x="1171" y="1417"/>
                    </a:lnTo>
                    <a:lnTo>
                      <a:pt x="1171" y="1415"/>
                    </a:lnTo>
                    <a:lnTo>
                      <a:pt x="1173" y="1415"/>
                    </a:lnTo>
                    <a:lnTo>
                      <a:pt x="1171" y="1415"/>
                    </a:lnTo>
                    <a:lnTo>
                      <a:pt x="1173" y="1415"/>
                    </a:lnTo>
                    <a:lnTo>
                      <a:pt x="1174" y="1415"/>
                    </a:lnTo>
                    <a:lnTo>
                      <a:pt x="1174" y="1413"/>
                    </a:lnTo>
                    <a:lnTo>
                      <a:pt x="1176" y="1413"/>
                    </a:lnTo>
                    <a:lnTo>
                      <a:pt x="1176" y="1412"/>
                    </a:lnTo>
                    <a:lnTo>
                      <a:pt x="1176" y="1413"/>
                    </a:lnTo>
                    <a:close/>
                    <a:moveTo>
                      <a:pt x="1186" y="1068"/>
                    </a:moveTo>
                    <a:lnTo>
                      <a:pt x="1188" y="1070"/>
                    </a:lnTo>
                    <a:lnTo>
                      <a:pt x="1188" y="1071"/>
                    </a:lnTo>
                    <a:lnTo>
                      <a:pt x="1186" y="1071"/>
                    </a:lnTo>
                    <a:lnTo>
                      <a:pt x="1185" y="1071"/>
                    </a:lnTo>
                    <a:lnTo>
                      <a:pt x="1183" y="1070"/>
                    </a:lnTo>
                    <a:lnTo>
                      <a:pt x="1183" y="1068"/>
                    </a:lnTo>
                    <a:lnTo>
                      <a:pt x="1185" y="1068"/>
                    </a:lnTo>
                    <a:lnTo>
                      <a:pt x="1186" y="1068"/>
                    </a:lnTo>
                    <a:close/>
                    <a:moveTo>
                      <a:pt x="1205" y="1548"/>
                    </a:moveTo>
                    <a:lnTo>
                      <a:pt x="1207" y="1548"/>
                    </a:lnTo>
                    <a:lnTo>
                      <a:pt x="1207" y="1549"/>
                    </a:lnTo>
                    <a:lnTo>
                      <a:pt x="1208" y="1549"/>
                    </a:lnTo>
                    <a:lnTo>
                      <a:pt x="1207" y="1549"/>
                    </a:lnTo>
                    <a:lnTo>
                      <a:pt x="1208" y="1549"/>
                    </a:lnTo>
                    <a:lnTo>
                      <a:pt x="1208" y="1551"/>
                    </a:lnTo>
                    <a:lnTo>
                      <a:pt x="1207" y="1551"/>
                    </a:lnTo>
                    <a:lnTo>
                      <a:pt x="1205" y="1551"/>
                    </a:lnTo>
                    <a:lnTo>
                      <a:pt x="1205" y="1549"/>
                    </a:lnTo>
                    <a:lnTo>
                      <a:pt x="1203" y="1548"/>
                    </a:lnTo>
                    <a:lnTo>
                      <a:pt x="1203" y="1549"/>
                    </a:lnTo>
                    <a:lnTo>
                      <a:pt x="1203" y="1551"/>
                    </a:lnTo>
                    <a:lnTo>
                      <a:pt x="1202" y="1551"/>
                    </a:lnTo>
                    <a:lnTo>
                      <a:pt x="1203" y="1549"/>
                    </a:lnTo>
                    <a:lnTo>
                      <a:pt x="1202" y="1549"/>
                    </a:lnTo>
                    <a:lnTo>
                      <a:pt x="1200" y="1549"/>
                    </a:lnTo>
                    <a:lnTo>
                      <a:pt x="1200" y="1548"/>
                    </a:lnTo>
                    <a:lnTo>
                      <a:pt x="1202" y="1548"/>
                    </a:lnTo>
                    <a:lnTo>
                      <a:pt x="1203" y="1549"/>
                    </a:lnTo>
                    <a:lnTo>
                      <a:pt x="1202" y="1548"/>
                    </a:lnTo>
                    <a:lnTo>
                      <a:pt x="1203" y="1548"/>
                    </a:lnTo>
                    <a:lnTo>
                      <a:pt x="1203" y="1546"/>
                    </a:lnTo>
                    <a:lnTo>
                      <a:pt x="1205" y="1546"/>
                    </a:lnTo>
                    <a:lnTo>
                      <a:pt x="1205" y="1548"/>
                    </a:lnTo>
                    <a:close/>
                    <a:moveTo>
                      <a:pt x="1229" y="1558"/>
                    </a:moveTo>
                    <a:lnTo>
                      <a:pt x="1230" y="1558"/>
                    </a:lnTo>
                    <a:lnTo>
                      <a:pt x="1232" y="1560"/>
                    </a:lnTo>
                    <a:lnTo>
                      <a:pt x="1234" y="1560"/>
                    </a:lnTo>
                    <a:lnTo>
                      <a:pt x="1234" y="1561"/>
                    </a:lnTo>
                    <a:lnTo>
                      <a:pt x="1232" y="1560"/>
                    </a:lnTo>
                    <a:lnTo>
                      <a:pt x="1232" y="1561"/>
                    </a:lnTo>
                    <a:lnTo>
                      <a:pt x="1232" y="1560"/>
                    </a:lnTo>
                    <a:lnTo>
                      <a:pt x="1230" y="1561"/>
                    </a:lnTo>
                    <a:lnTo>
                      <a:pt x="1229" y="1561"/>
                    </a:lnTo>
                    <a:lnTo>
                      <a:pt x="1227" y="1561"/>
                    </a:lnTo>
                    <a:lnTo>
                      <a:pt x="1225" y="1561"/>
                    </a:lnTo>
                    <a:lnTo>
                      <a:pt x="1227" y="1560"/>
                    </a:lnTo>
                    <a:lnTo>
                      <a:pt x="1229" y="1560"/>
                    </a:lnTo>
                    <a:lnTo>
                      <a:pt x="1229" y="1561"/>
                    </a:lnTo>
                    <a:lnTo>
                      <a:pt x="1229" y="1560"/>
                    </a:lnTo>
                    <a:lnTo>
                      <a:pt x="1227" y="1560"/>
                    </a:lnTo>
                    <a:lnTo>
                      <a:pt x="1229" y="1558"/>
                    </a:lnTo>
                    <a:lnTo>
                      <a:pt x="1227" y="1558"/>
                    </a:lnTo>
                    <a:lnTo>
                      <a:pt x="1229" y="1558"/>
                    </a:lnTo>
                    <a:close/>
                    <a:moveTo>
                      <a:pt x="1411" y="1662"/>
                    </a:moveTo>
                    <a:lnTo>
                      <a:pt x="1412" y="1663"/>
                    </a:lnTo>
                    <a:lnTo>
                      <a:pt x="1412" y="1665"/>
                    </a:lnTo>
                    <a:lnTo>
                      <a:pt x="1412" y="1667"/>
                    </a:lnTo>
                    <a:lnTo>
                      <a:pt x="1414" y="1667"/>
                    </a:lnTo>
                    <a:lnTo>
                      <a:pt x="1414" y="1669"/>
                    </a:lnTo>
                    <a:lnTo>
                      <a:pt x="1412" y="1669"/>
                    </a:lnTo>
                    <a:lnTo>
                      <a:pt x="1412" y="1667"/>
                    </a:lnTo>
                    <a:lnTo>
                      <a:pt x="1411" y="1667"/>
                    </a:lnTo>
                    <a:lnTo>
                      <a:pt x="1411" y="1669"/>
                    </a:lnTo>
                    <a:lnTo>
                      <a:pt x="1409" y="1669"/>
                    </a:lnTo>
                    <a:lnTo>
                      <a:pt x="1407" y="1669"/>
                    </a:lnTo>
                    <a:lnTo>
                      <a:pt x="1409" y="1667"/>
                    </a:lnTo>
                    <a:lnTo>
                      <a:pt x="1409" y="1665"/>
                    </a:lnTo>
                    <a:lnTo>
                      <a:pt x="1411" y="1667"/>
                    </a:lnTo>
                    <a:lnTo>
                      <a:pt x="1409" y="1665"/>
                    </a:lnTo>
                    <a:lnTo>
                      <a:pt x="1409" y="1663"/>
                    </a:lnTo>
                    <a:lnTo>
                      <a:pt x="1409" y="1662"/>
                    </a:lnTo>
                    <a:lnTo>
                      <a:pt x="1411" y="1662"/>
                    </a:lnTo>
                    <a:close/>
                    <a:moveTo>
                      <a:pt x="1207" y="1245"/>
                    </a:moveTo>
                    <a:lnTo>
                      <a:pt x="1208" y="1245"/>
                    </a:lnTo>
                    <a:lnTo>
                      <a:pt x="1208" y="1247"/>
                    </a:lnTo>
                    <a:lnTo>
                      <a:pt x="1208" y="1248"/>
                    </a:lnTo>
                    <a:lnTo>
                      <a:pt x="1208" y="1250"/>
                    </a:lnTo>
                    <a:lnTo>
                      <a:pt x="1208" y="1252"/>
                    </a:lnTo>
                    <a:lnTo>
                      <a:pt x="1207" y="1252"/>
                    </a:lnTo>
                    <a:lnTo>
                      <a:pt x="1208" y="1250"/>
                    </a:lnTo>
                    <a:lnTo>
                      <a:pt x="1207" y="1250"/>
                    </a:lnTo>
                    <a:lnTo>
                      <a:pt x="1205" y="1250"/>
                    </a:lnTo>
                    <a:lnTo>
                      <a:pt x="1205" y="1248"/>
                    </a:lnTo>
                    <a:lnTo>
                      <a:pt x="1207" y="1248"/>
                    </a:lnTo>
                    <a:lnTo>
                      <a:pt x="1205" y="1248"/>
                    </a:lnTo>
                    <a:lnTo>
                      <a:pt x="1205" y="1247"/>
                    </a:lnTo>
                    <a:lnTo>
                      <a:pt x="1205" y="1245"/>
                    </a:lnTo>
                    <a:lnTo>
                      <a:pt x="1207" y="1245"/>
                    </a:lnTo>
                    <a:close/>
                    <a:moveTo>
                      <a:pt x="1156" y="1311"/>
                    </a:moveTo>
                    <a:lnTo>
                      <a:pt x="1157" y="1311"/>
                    </a:lnTo>
                    <a:lnTo>
                      <a:pt x="1157" y="1313"/>
                    </a:lnTo>
                    <a:lnTo>
                      <a:pt x="1159" y="1313"/>
                    </a:lnTo>
                    <a:lnTo>
                      <a:pt x="1159" y="1311"/>
                    </a:lnTo>
                    <a:lnTo>
                      <a:pt x="1161" y="1313"/>
                    </a:lnTo>
                    <a:lnTo>
                      <a:pt x="1159" y="1313"/>
                    </a:lnTo>
                    <a:lnTo>
                      <a:pt x="1161" y="1315"/>
                    </a:lnTo>
                    <a:lnTo>
                      <a:pt x="1159" y="1315"/>
                    </a:lnTo>
                    <a:lnTo>
                      <a:pt x="1157" y="1315"/>
                    </a:lnTo>
                    <a:lnTo>
                      <a:pt x="1156" y="1315"/>
                    </a:lnTo>
                    <a:lnTo>
                      <a:pt x="1156" y="1313"/>
                    </a:lnTo>
                    <a:lnTo>
                      <a:pt x="1156" y="1311"/>
                    </a:lnTo>
                    <a:close/>
                    <a:moveTo>
                      <a:pt x="1193" y="1531"/>
                    </a:moveTo>
                    <a:lnTo>
                      <a:pt x="1193" y="1532"/>
                    </a:lnTo>
                    <a:lnTo>
                      <a:pt x="1195" y="1532"/>
                    </a:lnTo>
                    <a:lnTo>
                      <a:pt x="1193" y="1534"/>
                    </a:lnTo>
                    <a:lnTo>
                      <a:pt x="1193" y="1536"/>
                    </a:lnTo>
                    <a:lnTo>
                      <a:pt x="1191" y="1536"/>
                    </a:lnTo>
                    <a:lnTo>
                      <a:pt x="1190" y="1536"/>
                    </a:lnTo>
                    <a:lnTo>
                      <a:pt x="1190" y="1538"/>
                    </a:lnTo>
                    <a:lnTo>
                      <a:pt x="1188" y="1538"/>
                    </a:lnTo>
                    <a:lnTo>
                      <a:pt x="1188" y="1536"/>
                    </a:lnTo>
                    <a:lnTo>
                      <a:pt x="1186" y="1536"/>
                    </a:lnTo>
                    <a:lnTo>
                      <a:pt x="1188" y="1534"/>
                    </a:lnTo>
                    <a:lnTo>
                      <a:pt x="1190" y="1534"/>
                    </a:lnTo>
                    <a:lnTo>
                      <a:pt x="1190" y="1532"/>
                    </a:lnTo>
                    <a:lnTo>
                      <a:pt x="1191" y="1532"/>
                    </a:lnTo>
                    <a:lnTo>
                      <a:pt x="1193" y="1531"/>
                    </a:lnTo>
                    <a:close/>
                    <a:moveTo>
                      <a:pt x="1169" y="1083"/>
                    </a:moveTo>
                    <a:lnTo>
                      <a:pt x="1171" y="1083"/>
                    </a:lnTo>
                    <a:lnTo>
                      <a:pt x="1173" y="1085"/>
                    </a:lnTo>
                    <a:lnTo>
                      <a:pt x="1171" y="1085"/>
                    </a:lnTo>
                    <a:lnTo>
                      <a:pt x="1173" y="1087"/>
                    </a:lnTo>
                    <a:lnTo>
                      <a:pt x="1171" y="1087"/>
                    </a:lnTo>
                    <a:lnTo>
                      <a:pt x="1173" y="1088"/>
                    </a:lnTo>
                    <a:lnTo>
                      <a:pt x="1171" y="1088"/>
                    </a:lnTo>
                    <a:lnTo>
                      <a:pt x="1169" y="1088"/>
                    </a:lnTo>
                    <a:lnTo>
                      <a:pt x="1169" y="1087"/>
                    </a:lnTo>
                    <a:lnTo>
                      <a:pt x="1169" y="1085"/>
                    </a:lnTo>
                    <a:lnTo>
                      <a:pt x="1169" y="1083"/>
                    </a:lnTo>
                    <a:close/>
                    <a:moveTo>
                      <a:pt x="1423" y="1680"/>
                    </a:moveTo>
                    <a:lnTo>
                      <a:pt x="1424" y="1682"/>
                    </a:lnTo>
                    <a:lnTo>
                      <a:pt x="1426" y="1684"/>
                    </a:lnTo>
                    <a:lnTo>
                      <a:pt x="1426" y="1686"/>
                    </a:lnTo>
                    <a:lnTo>
                      <a:pt x="1424" y="1686"/>
                    </a:lnTo>
                    <a:lnTo>
                      <a:pt x="1423" y="1684"/>
                    </a:lnTo>
                    <a:lnTo>
                      <a:pt x="1421" y="1684"/>
                    </a:lnTo>
                    <a:lnTo>
                      <a:pt x="1421" y="1682"/>
                    </a:lnTo>
                    <a:lnTo>
                      <a:pt x="1421" y="1680"/>
                    </a:lnTo>
                    <a:lnTo>
                      <a:pt x="1419" y="1682"/>
                    </a:lnTo>
                    <a:lnTo>
                      <a:pt x="1417" y="1680"/>
                    </a:lnTo>
                    <a:lnTo>
                      <a:pt x="1419" y="1680"/>
                    </a:lnTo>
                    <a:lnTo>
                      <a:pt x="1421" y="1680"/>
                    </a:lnTo>
                    <a:lnTo>
                      <a:pt x="1423" y="1680"/>
                    </a:lnTo>
                    <a:close/>
                    <a:moveTo>
                      <a:pt x="1251" y="1549"/>
                    </a:moveTo>
                    <a:lnTo>
                      <a:pt x="1249" y="1549"/>
                    </a:lnTo>
                    <a:lnTo>
                      <a:pt x="1251" y="1549"/>
                    </a:lnTo>
                    <a:lnTo>
                      <a:pt x="1251" y="1551"/>
                    </a:lnTo>
                    <a:lnTo>
                      <a:pt x="1253" y="1551"/>
                    </a:lnTo>
                    <a:lnTo>
                      <a:pt x="1254" y="1551"/>
                    </a:lnTo>
                    <a:lnTo>
                      <a:pt x="1253" y="1553"/>
                    </a:lnTo>
                    <a:lnTo>
                      <a:pt x="1254" y="1553"/>
                    </a:lnTo>
                    <a:lnTo>
                      <a:pt x="1256" y="1555"/>
                    </a:lnTo>
                    <a:lnTo>
                      <a:pt x="1254" y="1555"/>
                    </a:lnTo>
                    <a:lnTo>
                      <a:pt x="1254" y="1556"/>
                    </a:lnTo>
                    <a:lnTo>
                      <a:pt x="1253" y="1555"/>
                    </a:lnTo>
                    <a:lnTo>
                      <a:pt x="1251" y="1555"/>
                    </a:lnTo>
                    <a:lnTo>
                      <a:pt x="1251" y="1553"/>
                    </a:lnTo>
                    <a:lnTo>
                      <a:pt x="1249" y="1553"/>
                    </a:lnTo>
                    <a:lnTo>
                      <a:pt x="1249" y="1551"/>
                    </a:lnTo>
                    <a:lnTo>
                      <a:pt x="1249" y="1549"/>
                    </a:lnTo>
                    <a:lnTo>
                      <a:pt x="1251" y="1549"/>
                    </a:lnTo>
                    <a:close/>
                    <a:moveTo>
                      <a:pt x="1332" y="1652"/>
                    </a:moveTo>
                    <a:lnTo>
                      <a:pt x="1334" y="1652"/>
                    </a:lnTo>
                    <a:lnTo>
                      <a:pt x="1332" y="1653"/>
                    </a:lnTo>
                    <a:lnTo>
                      <a:pt x="1331" y="1653"/>
                    </a:lnTo>
                    <a:lnTo>
                      <a:pt x="1332" y="1653"/>
                    </a:lnTo>
                    <a:lnTo>
                      <a:pt x="1332" y="1655"/>
                    </a:lnTo>
                    <a:lnTo>
                      <a:pt x="1331" y="1655"/>
                    </a:lnTo>
                    <a:lnTo>
                      <a:pt x="1331" y="1657"/>
                    </a:lnTo>
                    <a:lnTo>
                      <a:pt x="1329" y="1657"/>
                    </a:lnTo>
                    <a:lnTo>
                      <a:pt x="1331" y="1655"/>
                    </a:lnTo>
                    <a:lnTo>
                      <a:pt x="1329" y="1655"/>
                    </a:lnTo>
                    <a:lnTo>
                      <a:pt x="1329" y="1653"/>
                    </a:lnTo>
                    <a:lnTo>
                      <a:pt x="1327" y="1653"/>
                    </a:lnTo>
                    <a:lnTo>
                      <a:pt x="1326" y="1653"/>
                    </a:lnTo>
                    <a:lnTo>
                      <a:pt x="1327" y="1652"/>
                    </a:lnTo>
                    <a:lnTo>
                      <a:pt x="1326" y="1652"/>
                    </a:lnTo>
                    <a:lnTo>
                      <a:pt x="1327" y="1652"/>
                    </a:lnTo>
                    <a:lnTo>
                      <a:pt x="1329" y="1652"/>
                    </a:lnTo>
                    <a:lnTo>
                      <a:pt x="1329" y="1653"/>
                    </a:lnTo>
                    <a:lnTo>
                      <a:pt x="1331" y="1653"/>
                    </a:lnTo>
                    <a:lnTo>
                      <a:pt x="1331" y="1652"/>
                    </a:lnTo>
                    <a:lnTo>
                      <a:pt x="1332" y="1652"/>
                    </a:lnTo>
                    <a:close/>
                    <a:moveTo>
                      <a:pt x="1339" y="1655"/>
                    </a:moveTo>
                    <a:lnTo>
                      <a:pt x="1341" y="1655"/>
                    </a:lnTo>
                    <a:lnTo>
                      <a:pt x="1343" y="1655"/>
                    </a:lnTo>
                    <a:lnTo>
                      <a:pt x="1343" y="1657"/>
                    </a:lnTo>
                    <a:lnTo>
                      <a:pt x="1344" y="1657"/>
                    </a:lnTo>
                    <a:lnTo>
                      <a:pt x="1343" y="1658"/>
                    </a:lnTo>
                    <a:lnTo>
                      <a:pt x="1343" y="1657"/>
                    </a:lnTo>
                    <a:lnTo>
                      <a:pt x="1341" y="1657"/>
                    </a:lnTo>
                    <a:lnTo>
                      <a:pt x="1343" y="1658"/>
                    </a:lnTo>
                    <a:lnTo>
                      <a:pt x="1341" y="1658"/>
                    </a:lnTo>
                    <a:lnTo>
                      <a:pt x="1343" y="1658"/>
                    </a:lnTo>
                    <a:lnTo>
                      <a:pt x="1343" y="1660"/>
                    </a:lnTo>
                    <a:lnTo>
                      <a:pt x="1341" y="1658"/>
                    </a:lnTo>
                    <a:lnTo>
                      <a:pt x="1341" y="1660"/>
                    </a:lnTo>
                    <a:lnTo>
                      <a:pt x="1341" y="1658"/>
                    </a:lnTo>
                    <a:lnTo>
                      <a:pt x="1341" y="1660"/>
                    </a:lnTo>
                    <a:lnTo>
                      <a:pt x="1339" y="1658"/>
                    </a:lnTo>
                    <a:lnTo>
                      <a:pt x="1339" y="1660"/>
                    </a:lnTo>
                    <a:lnTo>
                      <a:pt x="1338" y="1660"/>
                    </a:lnTo>
                    <a:lnTo>
                      <a:pt x="1338" y="1658"/>
                    </a:lnTo>
                    <a:lnTo>
                      <a:pt x="1339" y="1658"/>
                    </a:lnTo>
                    <a:lnTo>
                      <a:pt x="1339" y="1657"/>
                    </a:lnTo>
                    <a:lnTo>
                      <a:pt x="1339" y="1655"/>
                    </a:lnTo>
                    <a:close/>
                    <a:moveTo>
                      <a:pt x="1212" y="1007"/>
                    </a:moveTo>
                    <a:lnTo>
                      <a:pt x="1213" y="1007"/>
                    </a:lnTo>
                    <a:lnTo>
                      <a:pt x="1215" y="1009"/>
                    </a:lnTo>
                    <a:lnTo>
                      <a:pt x="1217" y="1009"/>
                    </a:lnTo>
                    <a:lnTo>
                      <a:pt x="1217" y="1010"/>
                    </a:lnTo>
                    <a:lnTo>
                      <a:pt x="1219" y="1010"/>
                    </a:lnTo>
                    <a:lnTo>
                      <a:pt x="1219" y="1012"/>
                    </a:lnTo>
                    <a:lnTo>
                      <a:pt x="1219" y="1010"/>
                    </a:lnTo>
                    <a:lnTo>
                      <a:pt x="1217" y="1010"/>
                    </a:lnTo>
                    <a:lnTo>
                      <a:pt x="1215" y="1010"/>
                    </a:lnTo>
                    <a:lnTo>
                      <a:pt x="1213" y="1010"/>
                    </a:lnTo>
                    <a:lnTo>
                      <a:pt x="1213" y="1009"/>
                    </a:lnTo>
                    <a:lnTo>
                      <a:pt x="1212" y="1009"/>
                    </a:lnTo>
                    <a:lnTo>
                      <a:pt x="1210" y="1009"/>
                    </a:lnTo>
                    <a:lnTo>
                      <a:pt x="1210" y="1007"/>
                    </a:lnTo>
                    <a:lnTo>
                      <a:pt x="1212" y="1007"/>
                    </a:lnTo>
                    <a:close/>
                    <a:moveTo>
                      <a:pt x="1263" y="1609"/>
                    </a:moveTo>
                    <a:lnTo>
                      <a:pt x="1264" y="1611"/>
                    </a:lnTo>
                    <a:lnTo>
                      <a:pt x="1264" y="1612"/>
                    </a:lnTo>
                    <a:lnTo>
                      <a:pt x="1266" y="1612"/>
                    </a:lnTo>
                    <a:lnTo>
                      <a:pt x="1266" y="1614"/>
                    </a:lnTo>
                    <a:lnTo>
                      <a:pt x="1266" y="1612"/>
                    </a:lnTo>
                    <a:lnTo>
                      <a:pt x="1266" y="1614"/>
                    </a:lnTo>
                    <a:lnTo>
                      <a:pt x="1268" y="1614"/>
                    </a:lnTo>
                    <a:lnTo>
                      <a:pt x="1266" y="1614"/>
                    </a:lnTo>
                    <a:lnTo>
                      <a:pt x="1266" y="1616"/>
                    </a:lnTo>
                    <a:lnTo>
                      <a:pt x="1266" y="1618"/>
                    </a:lnTo>
                    <a:lnTo>
                      <a:pt x="1266" y="1616"/>
                    </a:lnTo>
                    <a:lnTo>
                      <a:pt x="1264" y="1616"/>
                    </a:lnTo>
                    <a:lnTo>
                      <a:pt x="1264" y="1614"/>
                    </a:lnTo>
                    <a:lnTo>
                      <a:pt x="1264" y="1612"/>
                    </a:lnTo>
                    <a:lnTo>
                      <a:pt x="1263" y="1614"/>
                    </a:lnTo>
                    <a:lnTo>
                      <a:pt x="1263" y="1612"/>
                    </a:lnTo>
                    <a:lnTo>
                      <a:pt x="1263" y="1611"/>
                    </a:lnTo>
                    <a:lnTo>
                      <a:pt x="1263" y="1612"/>
                    </a:lnTo>
                    <a:lnTo>
                      <a:pt x="1261" y="1612"/>
                    </a:lnTo>
                    <a:lnTo>
                      <a:pt x="1261" y="1611"/>
                    </a:lnTo>
                    <a:lnTo>
                      <a:pt x="1263" y="1609"/>
                    </a:lnTo>
                    <a:close/>
                    <a:moveTo>
                      <a:pt x="1168" y="1417"/>
                    </a:moveTo>
                    <a:lnTo>
                      <a:pt x="1169" y="1417"/>
                    </a:lnTo>
                    <a:lnTo>
                      <a:pt x="1169" y="1418"/>
                    </a:lnTo>
                    <a:lnTo>
                      <a:pt x="1168" y="1420"/>
                    </a:lnTo>
                    <a:lnTo>
                      <a:pt x="1166" y="1420"/>
                    </a:lnTo>
                    <a:lnTo>
                      <a:pt x="1168" y="1418"/>
                    </a:lnTo>
                    <a:lnTo>
                      <a:pt x="1166" y="1418"/>
                    </a:lnTo>
                    <a:lnTo>
                      <a:pt x="1164" y="1418"/>
                    </a:lnTo>
                    <a:lnTo>
                      <a:pt x="1164" y="1420"/>
                    </a:lnTo>
                    <a:lnTo>
                      <a:pt x="1162" y="1420"/>
                    </a:lnTo>
                    <a:lnTo>
                      <a:pt x="1162" y="1418"/>
                    </a:lnTo>
                    <a:lnTo>
                      <a:pt x="1164" y="1417"/>
                    </a:lnTo>
                    <a:lnTo>
                      <a:pt x="1166" y="1417"/>
                    </a:lnTo>
                    <a:lnTo>
                      <a:pt x="1168" y="1417"/>
                    </a:lnTo>
                    <a:close/>
                    <a:moveTo>
                      <a:pt x="1203" y="1075"/>
                    </a:moveTo>
                    <a:lnTo>
                      <a:pt x="1203" y="1077"/>
                    </a:lnTo>
                    <a:lnTo>
                      <a:pt x="1202" y="1077"/>
                    </a:lnTo>
                    <a:lnTo>
                      <a:pt x="1200" y="1078"/>
                    </a:lnTo>
                    <a:lnTo>
                      <a:pt x="1202" y="1077"/>
                    </a:lnTo>
                    <a:lnTo>
                      <a:pt x="1203" y="1077"/>
                    </a:lnTo>
                    <a:lnTo>
                      <a:pt x="1202" y="1078"/>
                    </a:lnTo>
                    <a:lnTo>
                      <a:pt x="1203" y="1077"/>
                    </a:lnTo>
                    <a:lnTo>
                      <a:pt x="1205" y="1077"/>
                    </a:lnTo>
                    <a:lnTo>
                      <a:pt x="1205" y="1078"/>
                    </a:lnTo>
                    <a:lnTo>
                      <a:pt x="1203" y="1078"/>
                    </a:lnTo>
                    <a:lnTo>
                      <a:pt x="1202" y="1078"/>
                    </a:lnTo>
                    <a:lnTo>
                      <a:pt x="1200" y="1078"/>
                    </a:lnTo>
                    <a:lnTo>
                      <a:pt x="1200" y="1077"/>
                    </a:lnTo>
                    <a:lnTo>
                      <a:pt x="1202" y="1075"/>
                    </a:lnTo>
                    <a:lnTo>
                      <a:pt x="1203" y="1075"/>
                    </a:lnTo>
                    <a:close/>
                    <a:moveTo>
                      <a:pt x="1222" y="1071"/>
                    </a:moveTo>
                    <a:lnTo>
                      <a:pt x="1222" y="1073"/>
                    </a:lnTo>
                    <a:lnTo>
                      <a:pt x="1224" y="1071"/>
                    </a:lnTo>
                    <a:lnTo>
                      <a:pt x="1224" y="1073"/>
                    </a:lnTo>
                    <a:lnTo>
                      <a:pt x="1225" y="1075"/>
                    </a:lnTo>
                    <a:lnTo>
                      <a:pt x="1224" y="1075"/>
                    </a:lnTo>
                    <a:lnTo>
                      <a:pt x="1222" y="1075"/>
                    </a:lnTo>
                    <a:lnTo>
                      <a:pt x="1220" y="1075"/>
                    </a:lnTo>
                    <a:lnTo>
                      <a:pt x="1220" y="1073"/>
                    </a:lnTo>
                    <a:lnTo>
                      <a:pt x="1222" y="1071"/>
                    </a:lnTo>
                    <a:close/>
                    <a:moveTo>
                      <a:pt x="1229" y="954"/>
                    </a:moveTo>
                    <a:lnTo>
                      <a:pt x="1229" y="956"/>
                    </a:lnTo>
                    <a:lnTo>
                      <a:pt x="1230" y="956"/>
                    </a:lnTo>
                    <a:lnTo>
                      <a:pt x="1230" y="957"/>
                    </a:lnTo>
                    <a:lnTo>
                      <a:pt x="1230" y="959"/>
                    </a:lnTo>
                    <a:lnTo>
                      <a:pt x="1229" y="957"/>
                    </a:lnTo>
                    <a:lnTo>
                      <a:pt x="1227" y="957"/>
                    </a:lnTo>
                    <a:lnTo>
                      <a:pt x="1227" y="956"/>
                    </a:lnTo>
                    <a:lnTo>
                      <a:pt x="1225" y="956"/>
                    </a:lnTo>
                    <a:lnTo>
                      <a:pt x="1227" y="956"/>
                    </a:lnTo>
                    <a:lnTo>
                      <a:pt x="1229" y="956"/>
                    </a:lnTo>
                    <a:lnTo>
                      <a:pt x="1227" y="956"/>
                    </a:lnTo>
                    <a:lnTo>
                      <a:pt x="1227" y="954"/>
                    </a:lnTo>
                    <a:lnTo>
                      <a:pt x="1227" y="952"/>
                    </a:lnTo>
                    <a:lnTo>
                      <a:pt x="1227" y="954"/>
                    </a:lnTo>
                    <a:lnTo>
                      <a:pt x="1227" y="952"/>
                    </a:lnTo>
                    <a:lnTo>
                      <a:pt x="1229" y="952"/>
                    </a:lnTo>
                    <a:lnTo>
                      <a:pt x="1229" y="954"/>
                    </a:lnTo>
                    <a:close/>
                    <a:moveTo>
                      <a:pt x="1208" y="1073"/>
                    </a:moveTo>
                    <a:lnTo>
                      <a:pt x="1208" y="1075"/>
                    </a:lnTo>
                    <a:lnTo>
                      <a:pt x="1207" y="1075"/>
                    </a:lnTo>
                    <a:lnTo>
                      <a:pt x="1207" y="1077"/>
                    </a:lnTo>
                    <a:lnTo>
                      <a:pt x="1208" y="1077"/>
                    </a:lnTo>
                    <a:lnTo>
                      <a:pt x="1208" y="1078"/>
                    </a:lnTo>
                    <a:lnTo>
                      <a:pt x="1207" y="1078"/>
                    </a:lnTo>
                    <a:lnTo>
                      <a:pt x="1205" y="1077"/>
                    </a:lnTo>
                    <a:lnTo>
                      <a:pt x="1205" y="1075"/>
                    </a:lnTo>
                    <a:lnTo>
                      <a:pt x="1203" y="1075"/>
                    </a:lnTo>
                    <a:lnTo>
                      <a:pt x="1205" y="1075"/>
                    </a:lnTo>
                    <a:lnTo>
                      <a:pt x="1207" y="1073"/>
                    </a:lnTo>
                    <a:lnTo>
                      <a:pt x="1207" y="1075"/>
                    </a:lnTo>
                    <a:lnTo>
                      <a:pt x="1208" y="1075"/>
                    </a:lnTo>
                    <a:lnTo>
                      <a:pt x="1207" y="1073"/>
                    </a:lnTo>
                    <a:lnTo>
                      <a:pt x="1208" y="1073"/>
                    </a:lnTo>
                    <a:close/>
                    <a:moveTo>
                      <a:pt x="1166" y="1420"/>
                    </a:moveTo>
                    <a:lnTo>
                      <a:pt x="1168" y="1422"/>
                    </a:lnTo>
                    <a:lnTo>
                      <a:pt x="1166" y="1422"/>
                    </a:lnTo>
                    <a:lnTo>
                      <a:pt x="1166" y="1424"/>
                    </a:lnTo>
                    <a:lnTo>
                      <a:pt x="1164" y="1424"/>
                    </a:lnTo>
                    <a:lnTo>
                      <a:pt x="1162" y="1424"/>
                    </a:lnTo>
                    <a:lnTo>
                      <a:pt x="1162" y="1425"/>
                    </a:lnTo>
                    <a:lnTo>
                      <a:pt x="1162" y="1424"/>
                    </a:lnTo>
                    <a:lnTo>
                      <a:pt x="1161" y="1424"/>
                    </a:lnTo>
                    <a:lnTo>
                      <a:pt x="1161" y="1422"/>
                    </a:lnTo>
                    <a:lnTo>
                      <a:pt x="1162" y="1422"/>
                    </a:lnTo>
                    <a:lnTo>
                      <a:pt x="1164" y="1422"/>
                    </a:lnTo>
                    <a:lnTo>
                      <a:pt x="1162" y="1422"/>
                    </a:lnTo>
                    <a:lnTo>
                      <a:pt x="1164" y="1420"/>
                    </a:lnTo>
                    <a:lnTo>
                      <a:pt x="1164" y="1422"/>
                    </a:lnTo>
                    <a:lnTo>
                      <a:pt x="1164" y="1420"/>
                    </a:lnTo>
                    <a:lnTo>
                      <a:pt x="1166" y="1420"/>
                    </a:lnTo>
                    <a:close/>
                    <a:moveTo>
                      <a:pt x="1247" y="968"/>
                    </a:moveTo>
                    <a:lnTo>
                      <a:pt x="1247" y="969"/>
                    </a:lnTo>
                    <a:lnTo>
                      <a:pt x="1247" y="971"/>
                    </a:lnTo>
                    <a:lnTo>
                      <a:pt x="1247" y="973"/>
                    </a:lnTo>
                    <a:lnTo>
                      <a:pt x="1246" y="973"/>
                    </a:lnTo>
                    <a:lnTo>
                      <a:pt x="1246" y="971"/>
                    </a:lnTo>
                    <a:lnTo>
                      <a:pt x="1244" y="971"/>
                    </a:lnTo>
                    <a:lnTo>
                      <a:pt x="1242" y="971"/>
                    </a:lnTo>
                    <a:lnTo>
                      <a:pt x="1244" y="969"/>
                    </a:lnTo>
                    <a:lnTo>
                      <a:pt x="1244" y="968"/>
                    </a:lnTo>
                    <a:lnTo>
                      <a:pt x="1246" y="968"/>
                    </a:lnTo>
                    <a:lnTo>
                      <a:pt x="1244" y="969"/>
                    </a:lnTo>
                    <a:lnTo>
                      <a:pt x="1246" y="968"/>
                    </a:lnTo>
                    <a:lnTo>
                      <a:pt x="1247" y="968"/>
                    </a:lnTo>
                    <a:close/>
                    <a:moveTo>
                      <a:pt x="1188" y="1099"/>
                    </a:moveTo>
                    <a:lnTo>
                      <a:pt x="1186" y="1100"/>
                    </a:lnTo>
                    <a:lnTo>
                      <a:pt x="1186" y="1102"/>
                    </a:lnTo>
                    <a:lnTo>
                      <a:pt x="1185" y="1102"/>
                    </a:lnTo>
                    <a:lnTo>
                      <a:pt x="1183" y="1102"/>
                    </a:lnTo>
                    <a:lnTo>
                      <a:pt x="1181" y="1100"/>
                    </a:lnTo>
                    <a:lnTo>
                      <a:pt x="1181" y="1099"/>
                    </a:lnTo>
                    <a:lnTo>
                      <a:pt x="1183" y="1100"/>
                    </a:lnTo>
                    <a:lnTo>
                      <a:pt x="1185" y="1100"/>
                    </a:lnTo>
                    <a:lnTo>
                      <a:pt x="1186" y="1099"/>
                    </a:lnTo>
                    <a:lnTo>
                      <a:pt x="1186" y="1100"/>
                    </a:lnTo>
                    <a:lnTo>
                      <a:pt x="1186" y="1099"/>
                    </a:lnTo>
                    <a:lnTo>
                      <a:pt x="1188" y="1099"/>
                    </a:lnTo>
                    <a:close/>
                    <a:moveTo>
                      <a:pt x="1169" y="1133"/>
                    </a:moveTo>
                    <a:lnTo>
                      <a:pt x="1169" y="1134"/>
                    </a:lnTo>
                    <a:lnTo>
                      <a:pt x="1171" y="1134"/>
                    </a:lnTo>
                    <a:lnTo>
                      <a:pt x="1169" y="1134"/>
                    </a:lnTo>
                    <a:lnTo>
                      <a:pt x="1168" y="1134"/>
                    </a:lnTo>
                    <a:lnTo>
                      <a:pt x="1169" y="1134"/>
                    </a:lnTo>
                    <a:lnTo>
                      <a:pt x="1171" y="1134"/>
                    </a:lnTo>
                    <a:lnTo>
                      <a:pt x="1171" y="1136"/>
                    </a:lnTo>
                    <a:lnTo>
                      <a:pt x="1171" y="1138"/>
                    </a:lnTo>
                    <a:lnTo>
                      <a:pt x="1171" y="1140"/>
                    </a:lnTo>
                    <a:lnTo>
                      <a:pt x="1171" y="1138"/>
                    </a:lnTo>
                    <a:lnTo>
                      <a:pt x="1169" y="1138"/>
                    </a:lnTo>
                    <a:lnTo>
                      <a:pt x="1169" y="1136"/>
                    </a:lnTo>
                    <a:lnTo>
                      <a:pt x="1168" y="1136"/>
                    </a:lnTo>
                    <a:lnTo>
                      <a:pt x="1168" y="1134"/>
                    </a:lnTo>
                    <a:lnTo>
                      <a:pt x="1168" y="1133"/>
                    </a:lnTo>
                    <a:lnTo>
                      <a:pt x="1169" y="1133"/>
                    </a:lnTo>
                    <a:close/>
                    <a:moveTo>
                      <a:pt x="1185" y="1240"/>
                    </a:moveTo>
                    <a:lnTo>
                      <a:pt x="1185" y="1242"/>
                    </a:lnTo>
                    <a:lnTo>
                      <a:pt x="1183" y="1242"/>
                    </a:lnTo>
                    <a:lnTo>
                      <a:pt x="1183" y="1243"/>
                    </a:lnTo>
                    <a:lnTo>
                      <a:pt x="1181" y="1243"/>
                    </a:lnTo>
                    <a:lnTo>
                      <a:pt x="1181" y="1245"/>
                    </a:lnTo>
                    <a:lnTo>
                      <a:pt x="1179" y="1245"/>
                    </a:lnTo>
                    <a:lnTo>
                      <a:pt x="1179" y="1243"/>
                    </a:lnTo>
                    <a:lnTo>
                      <a:pt x="1181" y="1243"/>
                    </a:lnTo>
                    <a:lnTo>
                      <a:pt x="1181" y="1242"/>
                    </a:lnTo>
                    <a:lnTo>
                      <a:pt x="1181" y="1240"/>
                    </a:lnTo>
                    <a:lnTo>
                      <a:pt x="1183" y="1240"/>
                    </a:lnTo>
                    <a:lnTo>
                      <a:pt x="1185" y="1240"/>
                    </a:lnTo>
                    <a:close/>
                    <a:moveTo>
                      <a:pt x="1205" y="1026"/>
                    </a:moveTo>
                    <a:lnTo>
                      <a:pt x="1207" y="1026"/>
                    </a:lnTo>
                    <a:lnTo>
                      <a:pt x="1207" y="1027"/>
                    </a:lnTo>
                    <a:lnTo>
                      <a:pt x="1208" y="1027"/>
                    </a:lnTo>
                    <a:lnTo>
                      <a:pt x="1207" y="1027"/>
                    </a:lnTo>
                    <a:lnTo>
                      <a:pt x="1207" y="1029"/>
                    </a:lnTo>
                    <a:lnTo>
                      <a:pt x="1205" y="1029"/>
                    </a:lnTo>
                    <a:lnTo>
                      <a:pt x="1205" y="1027"/>
                    </a:lnTo>
                    <a:lnTo>
                      <a:pt x="1203" y="1029"/>
                    </a:lnTo>
                    <a:lnTo>
                      <a:pt x="1203" y="1027"/>
                    </a:lnTo>
                    <a:lnTo>
                      <a:pt x="1203" y="1026"/>
                    </a:lnTo>
                    <a:lnTo>
                      <a:pt x="1205" y="1026"/>
                    </a:lnTo>
                    <a:close/>
                    <a:moveTo>
                      <a:pt x="1154" y="1282"/>
                    </a:moveTo>
                    <a:lnTo>
                      <a:pt x="1156" y="1284"/>
                    </a:lnTo>
                    <a:lnTo>
                      <a:pt x="1156" y="1286"/>
                    </a:lnTo>
                    <a:lnTo>
                      <a:pt x="1156" y="1288"/>
                    </a:lnTo>
                    <a:lnTo>
                      <a:pt x="1154" y="1288"/>
                    </a:lnTo>
                    <a:lnTo>
                      <a:pt x="1154" y="1286"/>
                    </a:lnTo>
                    <a:lnTo>
                      <a:pt x="1154" y="1288"/>
                    </a:lnTo>
                    <a:lnTo>
                      <a:pt x="1152" y="1288"/>
                    </a:lnTo>
                    <a:lnTo>
                      <a:pt x="1154" y="1286"/>
                    </a:lnTo>
                    <a:lnTo>
                      <a:pt x="1152" y="1286"/>
                    </a:lnTo>
                    <a:lnTo>
                      <a:pt x="1152" y="1288"/>
                    </a:lnTo>
                    <a:lnTo>
                      <a:pt x="1151" y="1288"/>
                    </a:lnTo>
                    <a:lnTo>
                      <a:pt x="1152" y="1286"/>
                    </a:lnTo>
                    <a:lnTo>
                      <a:pt x="1152" y="1284"/>
                    </a:lnTo>
                    <a:lnTo>
                      <a:pt x="1154" y="1284"/>
                    </a:lnTo>
                    <a:lnTo>
                      <a:pt x="1154" y="1282"/>
                    </a:lnTo>
                    <a:close/>
                    <a:moveTo>
                      <a:pt x="1193" y="1071"/>
                    </a:moveTo>
                    <a:lnTo>
                      <a:pt x="1193" y="1073"/>
                    </a:lnTo>
                    <a:lnTo>
                      <a:pt x="1193" y="1075"/>
                    </a:lnTo>
                    <a:lnTo>
                      <a:pt x="1193" y="1077"/>
                    </a:lnTo>
                    <a:lnTo>
                      <a:pt x="1191" y="1077"/>
                    </a:lnTo>
                    <a:lnTo>
                      <a:pt x="1191" y="1075"/>
                    </a:lnTo>
                    <a:lnTo>
                      <a:pt x="1190" y="1075"/>
                    </a:lnTo>
                    <a:lnTo>
                      <a:pt x="1191" y="1073"/>
                    </a:lnTo>
                    <a:lnTo>
                      <a:pt x="1191" y="1071"/>
                    </a:lnTo>
                    <a:lnTo>
                      <a:pt x="1193" y="1071"/>
                    </a:lnTo>
                    <a:close/>
                    <a:moveTo>
                      <a:pt x="1176" y="1381"/>
                    </a:moveTo>
                    <a:lnTo>
                      <a:pt x="1176" y="1383"/>
                    </a:lnTo>
                    <a:lnTo>
                      <a:pt x="1176" y="1384"/>
                    </a:lnTo>
                    <a:lnTo>
                      <a:pt x="1176" y="1386"/>
                    </a:lnTo>
                    <a:lnTo>
                      <a:pt x="1174" y="1386"/>
                    </a:lnTo>
                    <a:lnTo>
                      <a:pt x="1173" y="1386"/>
                    </a:lnTo>
                    <a:lnTo>
                      <a:pt x="1174" y="1386"/>
                    </a:lnTo>
                    <a:lnTo>
                      <a:pt x="1174" y="1384"/>
                    </a:lnTo>
                    <a:lnTo>
                      <a:pt x="1174" y="1383"/>
                    </a:lnTo>
                    <a:lnTo>
                      <a:pt x="1173" y="1384"/>
                    </a:lnTo>
                    <a:lnTo>
                      <a:pt x="1174" y="1383"/>
                    </a:lnTo>
                    <a:lnTo>
                      <a:pt x="1173" y="1383"/>
                    </a:lnTo>
                    <a:lnTo>
                      <a:pt x="1174" y="1381"/>
                    </a:lnTo>
                    <a:lnTo>
                      <a:pt x="1176" y="1381"/>
                    </a:lnTo>
                    <a:close/>
                    <a:moveTo>
                      <a:pt x="1253" y="1597"/>
                    </a:moveTo>
                    <a:lnTo>
                      <a:pt x="1254" y="1597"/>
                    </a:lnTo>
                    <a:lnTo>
                      <a:pt x="1254" y="1599"/>
                    </a:lnTo>
                    <a:lnTo>
                      <a:pt x="1256" y="1597"/>
                    </a:lnTo>
                    <a:lnTo>
                      <a:pt x="1254" y="1599"/>
                    </a:lnTo>
                    <a:lnTo>
                      <a:pt x="1256" y="1599"/>
                    </a:lnTo>
                    <a:lnTo>
                      <a:pt x="1256" y="1600"/>
                    </a:lnTo>
                    <a:lnTo>
                      <a:pt x="1254" y="1602"/>
                    </a:lnTo>
                    <a:lnTo>
                      <a:pt x="1254" y="1600"/>
                    </a:lnTo>
                    <a:lnTo>
                      <a:pt x="1254" y="1599"/>
                    </a:lnTo>
                    <a:lnTo>
                      <a:pt x="1254" y="1600"/>
                    </a:lnTo>
                    <a:lnTo>
                      <a:pt x="1253" y="1602"/>
                    </a:lnTo>
                    <a:lnTo>
                      <a:pt x="1253" y="1600"/>
                    </a:lnTo>
                    <a:lnTo>
                      <a:pt x="1251" y="1599"/>
                    </a:lnTo>
                    <a:lnTo>
                      <a:pt x="1251" y="1597"/>
                    </a:lnTo>
                    <a:lnTo>
                      <a:pt x="1253" y="1597"/>
                    </a:lnTo>
                    <a:close/>
                    <a:moveTo>
                      <a:pt x="1414" y="1669"/>
                    </a:moveTo>
                    <a:lnTo>
                      <a:pt x="1414" y="1670"/>
                    </a:lnTo>
                    <a:lnTo>
                      <a:pt x="1412" y="1670"/>
                    </a:lnTo>
                    <a:lnTo>
                      <a:pt x="1412" y="1672"/>
                    </a:lnTo>
                    <a:lnTo>
                      <a:pt x="1412" y="1674"/>
                    </a:lnTo>
                    <a:lnTo>
                      <a:pt x="1412" y="1672"/>
                    </a:lnTo>
                    <a:lnTo>
                      <a:pt x="1411" y="1674"/>
                    </a:lnTo>
                    <a:lnTo>
                      <a:pt x="1409" y="1674"/>
                    </a:lnTo>
                    <a:lnTo>
                      <a:pt x="1411" y="1674"/>
                    </a:lnTo>
                    <a:lnTo>
                      <a:pt x="1409" y="1672"/>
                    </a:lnTo>
                    <a:lnTo>
                      <a:pt x="1411" y="1672"/>
                    </a:lnTo>
                    <a:lnTo>
                      <a:pt x="1411" y="1670"/>
                    </a:lnTo>
                    <a:lnTo>
                      <a:pt x="1412" y="1670"/>
                    </a:lnTo>
                    <a:lnTo>
                      <a:pt x="1411" y="1670"/>
                    </a:lnTo>
                    <a:lnTo>
                      <a:pt x="1411" y="1669"/>
                    </a:lnTo>
                    <a:lnTo>
                      <a:pt x="1412" y="1667"/>
                    </a:lnTo>
                    <a:lnTo>
                      <a:pt x="1412" y="1669"/>
                    </a:lnTo>
                    <a:lnTo>
                      <a:pt x="1414" y="1669"/>
                    </a:lnTo>
                    <a:close/>
                    <a:moveTo>
                      <a:pt x="1205" y="1049"/>
                    </a:moveTo>
                    <a:lnTo>
                      <a:pt x="1205" y="1051"/>
                    </a:lnTo>
                    <a:lnTo>
                      <a:pt x="1205" y="1053"/>
                    </a:lnTo>
                    <a:lnTo>
                      <a:pt x="1205" y="1051"/>
                    </a:lnTo>
                    <a:lnTo>
                      <a:pt x="1205" y="1053"/>
                    </a:lnTo>
                    <a:lnTo>
                      <a:pt x="1203" y="1053"/>
                    </a:lnTo>
                    <a:lnTo>
                      <a:pt x="1202" y="1053"/>
                    </a:lnTo>
                    <a:lnTo>
                      <a:pt x="1202" y="1051"/>
                    </a:lnTo>
                    <a:lnTo>
                      <a:pt x="1200" y="1051"/>
                    </a:lnTo>
                    <a:lnTo>
                      <a:pt x="1202" y="1049"/>
                    </a:lnTo>
                    <a:lnTo>
                      <a:pt x="1202" y="1051"/>
                    </a:lnTo>
                    <a:lnTo>
                      <a:pt x="1203" y="1049"/>
                    </a:lnTo>
                    <a:lnTo>
                      <a:pt x="1203" y="1051"/>
                    </a:lnTo>
                    <a:lnTo>
                      <a:pt x="1203" y="1049"/>
                    </a:lnTo>
                    <a:lnTo>
                      <a:pt x="1205" y="1049"/>
                    </a:lnTo>
                    <a:close/>
                    <a:moveTo>
                      <a:pt x="1217" y="1551"/>
                    </a:moveTo>
                    <a:lnTo>
                      <a:pt x="1219" y="1551"/>
                    </a:lnTo>
                    <a:lnTo>
                      <a:pt x="1220" y="1553"/>
                    </a:lnTo>
                    <a:lnTo>
                      <a:pt x="1222" y="1555"/>
                    </a:lnTo>
                    <a:lnTo>
                      <a:pt x="1220" y="1555"/>
                    </a:lnTo>
                    <a:lnTo>
                      <a:pt x="1222" y="1555"/>
                    </a:lnTo>
                    <a:lnTo>
                      <a:pt x="1220" y="1555"/>
                    </a:lnTo>
                    <a:lnTo>
                      <a:pt x="1219" y="1553"/>
                    </a:lnTo>
                    <a:lnTo>
                      <a:pt x="1217" y="1551"/>
                    </a:lnTo>
                    <a:lnTo>
                      <a:pt x="1219" y="1553"/>
                    </a:lnTo>
                    <a:lnTo>
                      <a:pt x="1217" y="1553"/>
                    </a:lnTo>
                    <a:lnTo>
                      <a:pt x="1215" y="1553"/>
                    </a:lnTo>
                    <a:lnTo>
                      <a:pt x="1215" y="1555"/>
                    </a:lnTo>
                    <a:lnTo>
                      <a:pt x="1213" y="1553"/>
                    </a:lnTo>
                    <a:lnTo>
                      <a:pt x="1215" y="1553"/>
                    </a:lnTo>
                    <a:lnTo>
                      <a:pt x="1215" y="1551"/>
                    </a:lnTo>
                    <a:lnTo>
                      <a:pt x="1217" y="1551"/>
                    </a:lnTo>
                    <a:close/>
                    <a:moveTo>
                      <a:pt x="1361" y="1653"/>
                    </a:moveTo>
                    <a:lnTo>
                      <a:pt x="1361" y="1655"/>
                    </a:lnTo>
                    <a:lnTo>
                      <a:pt x="1363" y="1655"/>
                    </a:lnTo>
                    <a:lnTo>
                      <a:pt x="1363" y="1657"/>
                    </a:lnTo>
                    <a:lnTo>
                      <a:pt x="1361" y="1657"/>
                    </a:lnTo>
                    <a:lnTo>
                      <a:pt x="1363" y="1657"/>
                    </a:lnTo>
                    <a:lnTo>
                      <a:pt x="1365" y="1657"/>
                    </a:lnTo>
                    <a:lnTo>
                      <a:pt x="1365" y="1658"/>
                    </a:lnTo>
                    <a:lnTo>
                      <a:pt x="1366" y="1658"/>
                    </a:lnTo>
                    <a:lnTo>
                      <a:pt x="1366" y="1660"/>
                    </a:lnTo>
                    <a:lnTo>
                      <a:pt x="1365" y="1660"/>
                    </a:lnTo>
                    <a:lnTo>
                      <a:pt x="1365" y="1658"/>
                    </a:lnTo>
                    <a:lnTo>
                      <a:pt x="1363" y="1658"/>
                    </a:lnTo>
                    <a:lnTo>
                      <a:pt x="1363" y="1657"/>
                    </a:lnTo>
                    <a:lnTo>
                      <a:pt x="1361" y="1657"/>
                    </a:lnTo>
                    <a:lnTo>
                      <a:pt x="1361" y="1655"/>
                    </a:lnTo>
                    <a:lnTo>
                      <a:pt x="1360" y="1653"/>
                    </a:lnTo>
                    <a:lnTo>
                      <a:pt x="1358" y="1653"/>
                    </a:lnTo>
                    <a:lnTo>
                      <a:pt x="1360" y="1652"/>
                    </a:lnTo>
                    <a:lnTo>
                      <a:pt x="1361" y="1653"/>
                    </a:lnTo>
                    <a:close/>
                    <a:moveTo>
                      <a:pt x="1171" y="1247"/>
                    </a:moveTo>
                    <a:lnTo>
                      <a:pt x="1173" y="1248"/>
                    </a:lnTo>
                    <a:lnTo>
                      <a:pt x="1173" y="1250"/>
                    </a:lnTo>
                    <a:lnTo>
                      <a:pt x="1173" y="1252"/>
                    </a:lnTo>
                    <a:lnTo>
                      <a:pt x="1173" y="1253"/>
                    </a:lnTo>
                    <a:lnTo>
                      <a:pt x="1171" y="1252"/>
                    </a:lnTo>
                    <a:lnTo>
                      <a:pt x="1173" y="1253"/>
                    </a:lnTo>
                    <a:lnTo>
                      <a:pt x="1173" y="1252"/>
                    </a:lnTo>
                    <a:lnTo>
                      <a:pt x="1171" y="1252"/>
                    </a:lnTo>
                    <a:lnTo>
                      <a:pt x="1171" y="1250"/>
                    </a:lnTo>
                    <a:lnTo>
                      <a:pt x="1171" y="1248"/>
                    </a:lnTo>
                    <a:lnTo>
                      <a:pt x="1171" y="1247"/>
                    </a:lnTo>
                    <a:close/>
                    <a:moveTo>
                      <a:pt x="1370" y="1646"/>
                    </a:moveTo>
                    <a:lnTo>
                      <a:pt x="1370" y="1648"/>
                    </a:lnTo>
                    <a:lnTo>
                      <a:pt x="1368" y="1650"/>
                    </a:lnTo>
                    <a:lnTo>
                      <a:pt x="1370" y="1650"/>
                    </a:lnTo>
                    <a:lnTo>
                      <a:pt x="1368" y="1652"/>
                    </a:lnTo>
                    <a:lnTo>
                      <a:pt x="1368" y="1653"/>
                    </a:lnTo>
                    <a:lnTo>
                      <a:pt x="1366" y="1653"/>
                    </a:lnTo>
                    <a:lnTo>
                      <a:pt x="1368" y="1653"/>
                    </a:lnTo>
                    <a:lnTo>
                      <a:pt x="1366" y="1653"/>
                    </a:lnTo>
                    <a:lnTo>
                      <a:pt x="1366" y="1652"/>
                    </a:lnTo>
                    <a:lnTo>
                      <a:pt x="1366" y="1650"/>
                    </a:lnTo>
                    <a:lnTo>
                      <a:pt x="1368" y="1648"/>
                    </a:lnTo>
                    <a:lnTo>
                      <a:pt x="1368" y="1646"/>
                    </a:lnTo>
                    <a:lnTo>
                      <a:pt x="1370" y="1646"/>
                    </a:lnTo>
                    <a:close/>
                    <a:moveTo>
                      <a:pt x="1346" y="1658"/>
                    </a:moveTo>
                    <a:lnTo>
                      <a:pt x="1348" y="1658"/>
                    </a:lnTo>
                    <a:lnTo>
                      <a:pt x="1348" y="1660"/>
                    </a:lnTo>
                    <a:lnTo>
                      <a:pt x="1349" y="1660"/>
                    </a:lnTo>
                    <a:lnTo>
                      <a:pt x="1349" y="1662"/>
                    </a:lnTo>
                    <a:lnTo>
                      <a:pt x="1348" y="1663"/>
                    </a:lnTo>
                    <a:lnTo>
                      <a:pt x="1348" y="1662"/>
                    </a:lnTo>
                    <a:lnTo>
                      <a:pt x="1348" y="1660"/>
                    </a:lnTo>
                    <a:lnTo>
                      <a:pt x="1346" y="1660"/>
                    </a:lnTo>
                    <a:lnTo>
                      <a:pt x="1344" y="1660"/>
                    </a:lnTo>
                    <a:lnTo>
                      <a:pt x="1346" y="1658"/>
                    </a:lnTo>
                    <a:lnTo>
                      <a:pt x="1344" y="1658"/>
                    </a:lnTo>
                    <a:lnTo>
                      <a:pt x="1344" y="1657"/>
                    </a:lnTo>
                    <a:lnTo>
                      <a:pt x="1346" y="1658"/>
                    </a:lnTo>
                    <a:close/>
                    <a:moveTo>
                      <a:pt x="1179" y="1140"/>
                    </a:moveTo>
                    <a:lnTo>
                      <a:pt x="1179" y="1141"/>
                    </a:lnTo>
                    <a:lnTo>
                      <a:pt x="1181" y="1141"/>
                    </a:lnTo>
                    <a:lnTo>
                      <a:pt x="1181" y="1143"/>
                    </a:lnTo>
                    <a:lnTo>
                      <a:pt x="1179" y="1145"/>
                    </a:lnTo>
                    <a:lnTo>
                      <a:pt x="1179" y="1143"/>
                    </a:lnTo>
                    <a:lnTo>
                      <a:pt x="1178" y="1143"/>
                    </a:lnTo>
                    <a:lnTo>
                      <a:pt x="1176" y="1143"/>
                    </a:lnTo>
                    <a:lnTo>
                      <a:pt x="1178" y="1143"/>
                    </a:lnTo>
                    <a:lnTo>
                      <a:pt x="1178" y="1141"/>
                    </a:lnTo>
                    <a:lnTo>
                      <a:pt x="1178" y="1140"/>
                    </a:lnTo>
                    <a:lnTo>
                      <a:pt x="1179" y="1140"/>
                    </a:lnTo>
                    <a:close/>
                    <a:moveTo>
                      <a:pt x="1205" y="1453"/>
                    </a:moveTo>
                    <a:lnTo>
                      <a:pt x="1205" y="1454"/>
                    </a:lnTo>
                    <a:lnTo>
                      <a:pt x="1207" y="1454"/>
                    </a:lnTo>
                    <a:lnTo>
                      <a:pt x="1207" y="1456"/>
                    </a:lnTo>
                    <a:lnTo>
                      <a:pt x="1207" y="1458"/>
                    </a:lnTo>
                    <a:lnTo>
                      <a:pt x="1207" y="1459"/>
                    </a:lnTo>
                    <a:lnTo>
                      <a:pt x="1205" y="1458"/>
                    </a:lnTo>
                    <a:lnTo>
                      <a:pt x="1205" y="1456"/>
                    </a:lnTo>
                    <a:lnTo>
                      <a:pt x="1203" y="1456"/>
                    </a:lnTo>
                    <a:lnTo>
                      <a:pt x="1203" y="1454"/>
                    </a:lnTo>
                    <a:lnTo>
                      <a:pt x="1203" y="1453"/>
                    </a:lnTo>
                    <a:lnTo>
                      <a:pt x="1205" y="1453"/>
                    </a:lnTo>
                    <a:close/>
                    <a:moveTo>
                      <a:pt x="1429" y="1680"/>
                    </a:moveTo>
                    <a:lnTo>
                      <a:pt x="1429" y="1682"/>
                    </a:lnTo>
                    <a:lnTo>
                      <a:pt x="1428" y="1682"/>
                    </a:lnTo>
                    <a:lnTo>
                      <a:pt x="1429" y="1684"/>
                    </a:lnTo>
                    <a:lnTo>
                      <a:pt x="1429" y="1686"/>
                    </a:lnTo>
                    <a:lnTo>
                      <a:pt x="1431" y="1686"/>
                    </a:lnTo>
                    <a:lnTo>
                      <a:pt x="1429" y="1687"/>
                    </a:lnTo>
                    <a:lnTo>
                      <a:pt x="1429" y="1686"/>
                    </a:lnTo>
                    <a:lnTo>
                      <a:pt x="1428" y="1686"/>
                    </a:lnTo>
                    <a:lnTo>
                      <a:pt x="1426" y="1686"/>
                    </a:lnTo>
                    <a:lnTo>
                      <a:pt x="1426" y="1684"/>
                    </a:lnTo>
                    <a:lnTo>
                      <a:pt x="1428" y="1682"/>
                    </a:lnTo>
                    <a:lnTo>
                      <a:pt x="1429" y="1680"/>
                    </a:lnTo>
                    <a:close/>
                    <a:moveTo>
                      <a:pt x="1186" y="1073"/>
                    </a:moveTo>
                    <a:lnTo>
                      <a:pt x="1188" y="1073"/>
                    </a:lnTo>
                    <a:lnTo>
                      <a:pt x="1188" y="1075"/>
                    </a:lnTo>
                    <a:lnTo>
                      <a:pt x="1186" y="1075"/>
                    </a:lnTo>
                    <a:lnTo>
                      <a:pt x="1185" y="1075"/>
                    </a:lnTo>
                    <a:lnTo>
                      <a:pt x="1183" y="1075"/>
                    </a:lnTo>
                    <a:lnTo>
                      <a:pt x="1183" y="1077"/>
                    </a:lnTo>
                    <a:lnTo>
                      <a:pt x="1181" y="1075"/>
                    </a:lnTo>
                    <a:lnTo>
                      <a:pt x="1183" y="1075"/>
                    </a:lnTo>
                    <a:lnTo>
                      <a:pt x="1183" y="1073"/>
                    </a:lnTo>
                    <a:lnTo>
                      <a:pt x="1183" y="1075"/>
                    </a:lnTo>
                    <a:lnTo>
                      <a:pt x="1185" y="1075"/>
                    </a:lnTo>
                    <a:lnTo>
                      <a:pt x="1183" y="1073"/>
                    </a:lnTo>
                    <a:lnTo>
                      <a:pt x="1185" y="1073"/>
                    </a:lnTo>
                    <a:lnTo>
                      <a:pt x="1185" y="1071"/>
                    </a:lnTo>
                    <a:lnTo>
                      <a:pt x="1186" y="1073"/>
                    </a:lnTo>
                    <a:close/>
                    <a:moveTo>
                      <a:pt x="1202" y="1485"/>
                    </a:moveTo>
                    <a:lnTo>
                      <a:pt x="1202" y="1487"/>
                    </a:lnTo>
                    <a:lnTo>
                      <a:pt x="1200" y="1487"/>
                    </a:lnTo>
                    <a:lnTo>
                      <a:pt x="1200" y="1488"/>
                    </a:lnTo>
                    <a:lnTo>
                      <a:pt x="1198" y="1488"/>
                    </a:lnTo>
                    <a:lnTo>
                      <a:pt x="1196" y="1488"/>
                    </a:lnTo>
                    <a:lnTo>
                      <a:pt x="1198" y="1487"/>
                    </a:lnTo>
                    <a:lnTo>
                      <a:pt x="1198" y="1485"/>
                    </a:lnTo>
                    <a:lnTo>
                      <a:pt x="1200" y="1485"/>
                    </a:lnTo>
                    <a:lnTo>
                      <a:pt x="1202" y="1485"/>
                    </a:lnTo>
                    <a:close/>
                    <a:moveTo>
                      <a:pt x="1179" y="1242"/>
                    </a:moveTo>
                    <a:lnTo>
                      <a:pt x="1179" y="1243"/>
                    </a:lnTo>
                    <a:lnTo>
                      <a:pt x="1178" y="1243"/>
                    </a:lnTo>
                    <a:lnTo>
                      <a:pt x="1178" y="1245"/>
                    </a:lnTo>
                    <a:lnTo>
                      <a:pt x="1176" y="1245"/>
                    </a:lnTo>
                    <a:lnTo>
                      <a:pt x="1176" y="1243"/>
                    </a:lnTo>
                    <a:lnTo>
                      <a:pt x="1176" y="1242"/>
                    </a:lnTo>
                    <a:lnTo>
                      <a:pt x="1178" y="1242"/>
                    </a:lnTo>
                    <a:lnTo>
                      <a:pt x="1179" y="1242"/>
                    </a:lnTo>
                    <a:close/>
                    <a:moveTo>
                      <a:pt x="1196" y="1526"/>
                    </a:moveTo>
                    <a:lnTo>
                      <a:pt x="1198" y="1526"/>
                    </a:lnTo>
                    <a:lnTo>
                      <a:pt x="1196" y="1527"/>
                    </a:lnTo>
                    <a:lnTo>
                      <a:pt x="1198" y="1527"/>
                    </a:lnTo>
                    <a:lnTo>
                      <a:pt x="1200" y="1529"/>
                    </a:lnTo>
                    <a:lnTo>
                      <a:pt x="1200" y="1531"/>
                    </a:lnTo>
                    <a:lnTo>
                      <a:pt x="1200" y="1529"/>
                    </a:lnTo>
                    <a:lnTo>
                      <a:pt x="1198" y="1529"/>
                    </a:lnTo>
                    <a:lnTo>
                      <a:pt x="1198" y="1527"/>
                    </a:lnTo>
                    <a:lnTo>
                      <a:pt x="1198" y="1529"/>
                    </a:lnTo>
                    <a:lnTo>
                      <a:pt x="1196" y="1529"/>
                    </a:lnTo>
                    <a:lnTo>
                      <a:pt x="1196" y="1527"/>
                    </a:lnTo>
                    <a:lnTo>
                      <a:pt x="1195" y="1527"/>
                    </a:lnTo>
                    <a:lnTo>
                      <a:pt x="1195" y="1529"/>
                    </a:lnTo>
                    <a:lnTo>
                      <a:pt x="1195" y="1527"/>
                    </a:lnTo>
                    <a:lnTo>
                      <a:pt x="1193" y="1526"/>
                    </a:lnTo>
                    <a:lnTo>
                      <a:pt x="1195" y="1526"/>
                    </a:lnTo>
                    <a:lnTo>
                      <a:pt x="1196" y="1526"/>
                    </a:lnTo>
                    <a:close/>
                    <a:moveTo>
                      <a:pt x="1166" y="1435"/>
                    </a:moveTo>
                    <a:lnTo>
                      <a:pt x="1166" y="1437"/>
                    </a:lnTo>
                    <a:lnTo>
                      <a:pt x="1164" y="1437"/>
                    </a:lnTo>
                    <a:lnTo>
                      <a:pt x="1166" y="1437"/>
                    </a:lnTo>
                    <a:lnTo>
                      <a:pt x="1164" y="1437"/>
                    </a:lnTo>
                    <a:lnTo>
                      <a:pt x="1164" y="1435"/>
                    </a:lnTo>
                    <a:lnTo>
                      <a:pt x="1164" y="1437"/>
                    </a:lnTo>
                    <a:lnTo>
                      <a:pt x="1162" y="1437"/>
                    </a:lnTo>
                    <a:lnTo>
                      <a:pt x="1162" y="1435"/>
                    </a:lnTo>
                    <a:lnTo>
                      <a:pt x="1162" y="1434"/>
                    </a:lnTo>
                    <a:lnTo>
                      <a:pt x="1164" y="1434"/>
                    </a:lnTo>
                    <a:lnTo>
                      <a:pt x="1166" y="1432"/>
                    </a:lnTo>
                    <a:lnTo>
                      <a:pt x="1166" y="1434"/>
                    </a:lnTo>
                    <a:lnTo>
                      <a:pt x="1166" y="1435"/>
                    </a:lnTo>
                    <a:close/>
                    <a:moveTo>
                      <a:pt x="1217" y="1107"/>
                    </a:moveTo>
                    <a:lnTo>
                      <a:pt x="1217" y="1109"/>
                    </a:lnTo>
                    <a:lnTo>
                      <a:pt x="1219" y="1111"/>
                    </a:lnTo>
                    <a:lnTo>
                      <a:pt x="1219" y="1112"/>
                    </a:lnTo>
                    <a:lnTo>
                      <a:pt x="1217" y="1112"/>
                    </a:lnTo>
                    <a:lnTo>
                      <a:pt x="1215" y="1111"/>
                    </a:lnTo>
                    <a:lnTo>
                      <a:pt x="1215" y="1109"/>
                    </a:lnTo>
                    <a:lnTo>
                      <a:pt x="1215" y="1111"/>
                    </a:lnTo>
                    <a:lnTo>
                      <a:pt x="1215" y="1109"/>
                    </a:lnTo>
                    <a:lnTo>
                      <a:pt x="1215" y="1107"/>
                    </a:lnTo>
                    <a:lnTo>
                      <a:pt x="1217" y="1107"/>
                    </a:lnTo>
                    <a:close/>
                    <a:moveTo>
                      <a:pt x="1202" y="1141"/>
                    </a:moveTo>
                    <a:lnTo>
                      <a:pt x="1203" y="1141"/>
                    </a:lnTo>
                    <a:lnTo>
                      <a:pt x="1203" y="1143"/>
                    </a:lnTo>
                    <a:lnTo>
                      <a:pt x="1205" y="1143"/>
                    </a:lnTo>
                    <a:lnTo>
                      <a:pt x="1203" y="1143"/>
                    </a:lnTo>
                    <a:lnTo>
                      <a:pt x="1203" y="1145"/>
                    </a:lnTo>
                    <a:lnTo>
                      <a:pt x="1202" y="1145"/>
                    </a:lnTo>
                    <a:lnTo>
                      <a:pt x="1200" y="1145"/>
                    </a:lnTo>
                    <a:lnTo>
                      <a:pt x="1202" y="1143"/>
                    </a:lnTo>
                    <a:lnTo>
                      <a:pt x="1200" y="1145"/>
                    </a:lnTo>
                    <a:lnTo>
                      <a:pt x="1200" y="1143"/>
                    </a:lnTo>
                    <a:lnTo>
                      <a:pt x="1202" y="1141"/>
                    </a:lnTo>
                    <a:close/>
                    <a:moveTo>
                      <a:pt x="1168" y="1407"/>
                    </a:moveTo>
                    <a:lnTo>
                      <a:pt x="1169" y="1407"/>
                    </a:lnTo>
                    <a:lnTo>
                      <a:pt x="1168" y="1408"/>
                    </a:lnTo>
                    <a:lnTo>
                      <a:pt x="1166" y="1408"/>
                    </a:lnTo>
                    <a:lnTo>
                      <a:pt x="1166" y="1410"/>
                    </a:lnTo>
                    <a:lnTo>
                      <a:pt x="1164" y="1412"/>
                    </a:lnTo>
                    <a:lnTo>
                      <a:pt x="1164" y="1410"/>
                    </a:lnTo>
                    <a:lnTo>
                      <a:pt x="1166" y="1410"/>
                    </a:lnTo>
                    <a:lnTo>
                      <a:pt x="1166" y="1408"/>
                    </a:lnTo>
                    <a:lnTo>
                      <a:pt x="1164" y="1408"/>
                    </a:lnTo>
                    <a:lnTo>
                      <a:pt x="1166" y="1408"/>
                    </a:lnTo>
                    <a:lnTo>
                      <a:pt x="1166" y="1407"/>
                    </a:lnTo>
                    <a:lnTo>
                      <a:pt x="1168" y="1407"/>
                    </a:lnTo>
                    <a:close/>
                    <a:moveTo>
                      <a:pt x="965" y="610"/>
                    </a:moveTo>
                    <a:lnTo>
                      <a:pt x="969" y="610"/>
                    </a:lnTo>
                    <a:lnTo>
                      <a:pt x="969" y="614"/>
                    </a:lnTo>
                    <a:lnTo>
                      <a:pt x="965" y="614"/>
                    </a:lnTo>
                    <a:lnTo>
                      <a:pt x="965" y="610"/>
                    </a:lnTo>
                    <a:close/>
                    <a:moveTo>
                      <a:pt x="1229" y="1071"/>
                    </a:moveTo>
                    <a:lnTo>
                      <a:pt x="1230" y="1071"/>
                    </a:lnTo>
                    <a:lnTo>
                      <a:pt x="1230" y="1073"/>
                    </a:lnTo>
                    <a:lnTo>
                      <a:pt x="1229" y="1073"/>
                    </a:lnTo>
                    <a:lnTo>
                      <a:pt x="1229" y="1075"/>
                    </a:lnTo>
                    <a:lnTo>
                      <a:pt x="1227" y="1075"/>
                    </a:lnTo>
                    <a:lnTo>
                      <a:pt x="1227" y="1073"/>
                    </a:lnTo>
                    <a:lnTo>
                      <a:pt x="1227" y="1075"/>
                    </a:lnTo>
                    <a:lnTo>
                      <a:pt x="1225" y="1075"/>
                    </a:lnTo>
                    <a:lnTo>
                      <a:pt x="1225" y="1073"/>
                    </a:lnTo>
                    <a:lnTo>
                      <a:pt x="1227" y="1073"/>
                    </a:lnTo>
                    <a:lnTo>
                      <a:pt x="1227" y="1071"/>
                    </a:lnTo>
                    <a:lnTo>
                      <a:pt x="1229" y="1071"/>
                    </a:lnTo>
                    <a:close/>
                    <a:moveTo>
                      <a:pt x="1174" y="1242"/>
                    </a:moveTo>
                    <a:lnTo>
                      <a:pt x="1174" y="1243"/>
                    </a:lnTo>
                    <a:lnTo>
                      <a:pt x="1176" y="1245"/>
                    </a:lnTo>
                    <a:lnTo>
                      <a:pt x="1174" y="1245"/>
                    </a:lnTo>
                    <a:lnTo>
                      <a:pt x="1173" y="1245"/>
                    </a:lnTo>
                    <a:lnTo>
                      <a:pt x="1174" y="1245"/>
                    </a:lnTo>
                    <a:lnTo>
                      <a:pt x="1173" y="1245"/>
                    </a:lnTo>
                    <a:lnTo>
                      <a:pt x="1173" y="1243"/>
                    </a:lnTo>
                    <a:lnTo>
                      <a:pt x="1173" y="1242"/>
                    </a:lnTo>
                    <a:lnTo>
                      <a:pt x="1174" y="1242"/>
                    </a:lnTo>
                    <a:close/>
                    <a:moveTo>
                      <a:pt x="1198" y="803"/>
                    </a:moveTo>
                    <a:lnTo>
                      <a:pt x="1200" y="803"/>
                    </a:lnTo>
                    <a:lnTo>
                      <a:pt x="1200" y="804"/>
                    </a:lnTo>
                    <a:lnTo>
                      <a:pt x="1202" y="804"/>
                    </a:lnTo>
                    <a:lnTo>
                      <a:pt x="1200" y="804"/>
                    </a:lnTo>
                    <a:lnTo>
                      <a:pt x="1202" y="804"/>
                    </a:lnTo>
                    <a:lnTo>
                      <a:pt x="1200" y="804"/>
                    </a:lnTo>
                    <a:lnTo>
                      <a:pt x="1200" y="806"/>
                    </a:lnTo>
                    <a:lnTo>
                      <a:pt x="1198" y="806"/>
                    </a:lnTo>
                    <a:lnTo>
                      <a:pt x="1198" y="804"/>
                    </a:lnTo>
                    <a:lnTo>
                      <a:pt x="1198" y="803"/>
                    </a:lnTo>
                    <a:lnTo>
                      <a:pt x="1198" y="801"/>
                    </a:lnTo>
                    <a:lnTo>
                      <a:pt x="1198" y="803"/>
                    </a:lnTo>
                    <a:close/>
                    <a:moveTo>
                      <a:pt x="1178" y="1453"/>
                    </a:moveTo>
                    <a:lnTo>
                      <a:pt x="1178" y="1454"/>
                    </a:lnTo>
                    <a:lnTo>
                      <a:pt x="1178" y="1456"/>
                    </a:lnTo>
                    <a:lnTo>
                      <a:pt x="1178" y="1454"/>
                    </a:lnTo>
                    <a:lnTo>
                      <a:pt x="1178" y="1456"/>
                    </a:lnTo>
                    <a:lnTo>
                      <a:pt x="1176" y="1458"/>
                    </a:lnTo>
                    <a:lnTo>
                      <a:pt x="1178" y="1458"/>
                    </a:lnTo>
                    <a:lnTo>
                      <a:pt x="1178" y="1456"/>
                    </a:lnTo>
                    <a:lnTo>
                      <a:pt x="1178" y="1458"/>
                    </a:lnTo>
                    <a:lnTo>
                      <a:pt x="1176" y="1458"/>
                    </a:lnTo>
                    <a:lnTo>
                      <a:pt x="1176" y="1459"/>
                    </a:lnTo>
                    <a:lnTo>
                      <a:pt x="1174" y="1459"/>
                    </a:lnTo>
                    <a:lnTo>
                      <a:pt x="1174" y="1458"/>
                    </a:lnTo>
                    <a:lnTo>
                      <a:pt x="1176" y="1458"/>
                    </a:lnTo>
                    <a:lnTo>
                      <a:pt x="1176" y="1456"/>
                    </a:lnTo>
                    <a:lnTo>
                      <a:pt x="1176" y="1454"/>
                    </a:lnTo>
                    <a:lnTo>
                      <a:pt x="1178" y="1454"/>
                    </a:lnTo>
                    <a:lnTo>
                      <a:pt x="1178" y="1453"/>
                    </a:lnTo>
                    <a:close/>
                    <a:moveTo>
                      <a:pt x="1208" y="1068"/>
                    </a:moveTo>
                    <a:lnTo>
                      <a:pt x="1208" y="1070"/>
                    </a:lnTo>
                    <a:lnTo>
                      <a:pt x="1207" y="1071"/>
                    </a:lnTo>
                    <a:lnTo>
                      <a:pt x="1205" y="1071"/>
                    </a:lnTo>
                    <a:lnTo>
                      <a:pt x="1205" y="1070"/>
                    </a:lnTo>
                    <a:lnTo>
                      <a:pt x="1205" y="1068"/>
                    </a:lnTo>
                    <a:lnTo>
                      <a:pt x="1207" y="1070"/>
                    </a:lnTo>
                    <a:lnTo>
                      <a:pt x="1207" y="1068"/>
                    </a:lnTo>
                    <a:lnTo>
                      <a:pt x="1208" y="1068"/>
                    </a:lnTo>
                    <a:close/>
                    <a:moveTo>
                      <a:pt x="1278" y="1614"/>
                    </a:moveTo>
                    <a:lnTo>
                      <a:pt x="1278" y="1616"/>
                    </a:lnTo>
                    <a:lnTo>
                      <a:pt x="1280" y="1616"/>
                    </a:lnTo>
                    <a:lnTo>
                      <a:pt x="1278" y="1618"/>
                    </a:lnTo>
                    <a:lnTo>
                      <a:pt x="1276" y="1619"/>
                    </a:lnTo>
                    <a:lnTo>
                      <a:pt x="1276" y="1618"/>
                    </a:lnTo>
                    <a:lnTo>
                      <a:pt x="1276" y="1616"/>
                    </a:lnTo>
                    <a:lnTo>
                      <a:pt x="1275" y="1616"/>
                    </a:lnTo>
                    <a:lnTo>
                      <a:pt x="1276" y="1616"/>
                    </a:lnTo>
                    <a:lnTo>
                      <a:pt x="1276" y="1614"/>
                    </a:lnTo>
                    <a:lnTo>
                      <a:pt x="1278" y="1614"/>
                    </a:lnTo>
                    <a:close/>
                    <a:moveTo>
                      <a:pt x="1174" y="1369"/>
                    </a:moveTo>
                    <a:lnTo>
                      <a:pt x="1176" y="1369"/>
                    </a:lnTo>
                    <a:lnTo>
                      <a:pt x="1178" y="1369"/>
                    </a:lnTo>
                    <a:lnTo>
                      <a:pt x="1176" y="1371"/>
                    </a:lnTo>
                    <a:lnTo>
                      <a:pt x="1176" y="1369"/>
                    </a:lnTo>
                    <a:lnTo>
                      <a:pt x="1176" y="1371"/>
                    </a:lnTo>
                    <a:lnTo>
                      <a:pt x="1174" y="1371"/>
                    </a:lnTo>
                    <a:lnTo>
                      <a:pt x="1173" y="1371"/>
                    </a:lnTo>
                    <a:lnTo>
                      <a:pt x="1171" y="1371"/>
                    </a:lnTo>
                    <a:lnTo>
                      <a:pt x="1171" y="1369"/>
                    </a:lnTo>
                    <a:lnTo>
                      <a:pt x="1173" y="1369"/>
                    </a:lnTo>
                    <a:lnTo>
                      <a:pt x="1174" y="1369"/>
                    </a:lnTo>
                    <a:lnTo>
                      <a:pt x="1174" y="1371"/>
                    </a:lnTo>
                    <a:lnTo>
                      <a:pt x="1174" y="1369"/>
                    </a:lnTo>
                    <a:close/>
                    <a:moveTo>
                      <a:pt x="1200" y="1054"/>
                    </a:moveTo>
                    <a:lnTo>
                      <a:pt x="1202" y="1054"/>
                    </a:lnTo>
                    <a:lnTo>
                      <a:pt x="1203" y="1054"/>
                    </a:lnTo>
                    <a:lnTo>
                      <a:pt x="1203" y="1056"/>
                    </a:lnTo>
                    <a:lnTo>
                      <a:pt x="1202" y="1056"/>
                    </a:lnTo>
                    <a:lnTo>
                      <a:pt x="1200" y="1056"/>
                    </a:lnTo>
                    <a:lnTo>
                      <a:pt x="1198" y="1054"/>
                    </a:lnTo>
                    <a:lnTo>
                      <a:pt x="1200" y="1054"/>
                    </a:lnTo>
                    <a:close/>
                    <a:moveTo>
                      <a:pt x="1292" y="1629"/>
                    </a:moveTo>
                    <a:lnTo>
                      <a:pt x="1292" y="1631"/>
                    </a:lnTo>
                    <a:lnTo>
                      <a:pt x="1290" y="1631"/>
                    </a:lnTo>
                    <a:lnTo>
                      <a:pt x="1290" y="1633"/>
                    </a:lnTo>
                    <a:lnTo>
                      <a:pt x="1290" y="1635"/>
                    </a:lnTo>
                    <a:lnTo>
                      <a:pt x="1290" y="1633"/>
                    </a:lnTo>
                    <a:lnTo>
                      <a:pt x="1288" y="1633"/>
                    </a:lnTo>
                    <a:lnTo>
                      <a:pt x="1288" y="1631"/>
                    </a:lnTo>
                    <a:lnTo>
                      <a:pt x="1288" y="1629"/>
                    </a:lnTo>
                    <a:lnTo>
                      <a:pt x="1290" y="1629"/>
                    </a:lnTo>
                    <a:lnTo>
                      <a:pt x="1292" y="1629"/>
                    </a:lnTo>
                    <a:close/>
                    <a:moveTo>
                      <a:pt x="1251" y="1502"/>
                    </a:moveTo>
                    <a:lnTo>
                      <a:pt x="1251" y="1504"/>
                    </a:lnTo>
                    <a:lnTo>
                      <a:pt x="1249" y="1505"/>
                    </a:lnTo>
                    <a:lnTo>
                      <a:pt x="1247" y="1505"/>
                    </a:lnTo>
                    <a:lnTo>
                      <a:pt x="1247" y="1504"/>
                    </a:lnTo>
                    <a:lnTo>
                      <a:pt x="1247" y="1505"/>
                    </a:lnTo>
                    <a:lnTo>
                      <a:pt x="1247" y="1504"/>
                    </a:lnTo>
                    <a:lnTo>
                      <a:pt x="1247" y="1502"/>
                    </a:lnTo>
                    <a:lnTo>
                      <a:pt x="1249" y="1502"/>
                    </a:lnTo>
                    <a:lnTo>
                      <a:pt x="1251" y="1502"/>
                    </a:lnTo>
                    <a:close/>
                    <a:moveTo>
                      <a:pt x="1258" y="1595"/>
                    </a:moveTo>
                    <a:lnTo>
                      <a:pt x="1259" y="1595"/>
                    </a:lnTo>
                    <a:lnTo>
                      <a:pt x="1259" y="1597"/>
                    </a:lnTo>
                    <a:lnTo>
                      <a:pt x="1259" y="1595"/>
                    </a:lnTo>
                    <a:lnTo>
                      <a:pt x="1259" y="1597"/>
                    </a:lnTo>
                    <a:lnTo>
                      <a:pt x="1261" y="1597"/>
                    </a:lnTo>
                    <a:lnTo>
                      <a:pt x="1259" y="1599"/>
                    </a:lnTo>
                    <a:lnTo>
                      <a:pt x="1259" y="1597"/>
                    </a:lnTo>
                    <a:lnTo>
                      <a:pt x="1259" y="1599"/>
                    </a:lnTo>
                    <a:lnTo>
                      <a:pt x="1258" y="1599"/>
                    </a:lnTo>
                    <a:lnTo>
                      <a:pt x="1258" y="1597"/>
                    </a:lnTo>
                    <a:lnTo>
                      <a:pt x="1258" y="1599"/>
                    </a:lnTo>
                    <a:lnTo>
                      <a:pt x="1258" y="1597"/>
                    </a:lnTo>
                    <a:lnTo>
                      <a:pt x="1259" y="1597"/>
                    </a:lnTo>
                    <a:lnTo>
                      <a:pt x="1258" y="1597"/>
                    </a:lnTo>
                    <a:lnTo>
                      <a:pt x="1256" y="1597"/>
                    </a:lnTo>
                    <a:lnTo>
                      <a:pt x="1256" y="1595"/>
                    </a:lnTo>
                    <a:lnTo>
                      <a:pt x="1258" y="1595"/>
                    </a:lnTo>
                    <a:close/>
                    <a:moveTo>
                      <a:pt x="1145" y="1325"/>
                    </a:moveTo>
                    <a:lnTo>
                      <a:pt x="1147" y="1327"/>
                    </a:lnTo>
                    <a:lnTo>
                      <a:pt x="1147" y="1328"/>
                    </a:lnTo>
                    <a:lnTo>
                      <a:pt x="1147" y="1330"/>
                    </a:lnTo>
                    <a:lnTo>
                      <a:pt x="1147" y="1328"/>
                    </a:lnTo>
                    <a:lnTo>
                      <a:pt x="1145" y="1328"/>
                    </a:lnTo>
                    <a:lnTo>
                      <a:pt x="1145" y="1327"/>
                    </a:lnTo>
                    <a:lnTo>
                      <a:pt x="1144" y="1327"/>
                    </a:lnTo>
                    <a:lnTo>
                      <a:pt x="1144" y="1325"/>
                    </a:lnTo>
                    <a:lnTo>
                      <a:pt x="1145" y="1325"/>
                    </a:lnTo>
                    <a:lnTo>
                      <a:pt x="1145" y="1327"/>
                    </a:lnTo>
                    <a:lnTo>
                      <a:pt x="1145" y="1325"/>
                    </a:lnTo>
                    <a:close/>
                    <a:moveTo>
                      <a:pt x="1310" y="1509"/>
                    </a:moveTo>
                    <a:lnTo>
                      <a:pt x="1309" y="1509"/>
                    </a:lnTo>
                    <a:lnTo>
                      <a:pt x="1309" y="1510"/>
                    </a:lnTo>
                    <a:lnTo>
                      <a:pt x="1307" y="1512"/>
                    </a:lnTo>
                    <a:lnTo>
                      <a:pt x="1305" y="1512"/>
                    </a:lnTo>
                    <a:lnTo>
                      <a:pt x="1305" y="1510"/>
                    </a:lnTo>
                    <a:lnTo>
                      <a:pt x="1307" y="1510"/>
                    </a:lnTo>
                    <a:lnTo>
                      <a:pt x="1309" y="1509"/>
                    </a:lnTo>
                    <a:lnTo>
                      <a:pt x="1310" y="1509"/>
                    </a:lnTo>
                    <a:close/>
                    <a:moveTo>
                      <a:pt x="1275" y="1590"/>
                    </a:moveTo>
                    <a:lnTo>
                      <a:pt x="1276" y="1592"/>
                    </a:lnTo>
                    <a:lnTo>
                      <a:pt x="1276" y="1594"/>
                    </a:lnTo>
                    <a:lnTo>
                      <a:pt x="1276" y="1592"/>
                    </a:lnTo>
                    <a:lnTo>
                      <a:pt x="1275" y="1594"/>
                    </a:lnTo>
                    <a:lnTo>
                      <a:pt x="1273" y="1592"/>
                    </a:lnTo>
                    <a:lnTo>
                      <a:pt x="1271" y="1592"/>
                    </a:lnTo>
                    <a:lnTo>
                      <a:pt x="1271" y="1590"/>
                    </a:lnTo>
                    <a:lnTo>
                      <a:pt x="1273" y="1590"/>
                    </a:lnTo>
                    <a:lnTo>
                      <a:pt x="1275" y="1590"/>
                    </a:lnTo>
                    <a:close/>
                    <a:moveTo>
                      <a:pt x="1390" y="1641"/>
                    </a:moveTo>
                    <a:lnTo>
                      <a:pt x="1390" y="1643"/>
                    </a:lnTo>
                    <a:lnTo>
                      <a:pt x="1392" y="1643"/>
                    </a:lnTo>
                    <a:lnTo>
                      <a:pt x="1392" y="1645"/>
                    </a:lnTo>
                    <a:lnTo>
                      <a:pt x="1390" y="1645"/>
                    </a:lnTo>
                    <a:lnTo>
                      <a:pt x="1389" y="1645"/>
                    </a:lnTo>
                    <a:lnTo>
                      <a:pt x="1389" y="1643"/>
                    </a:lnTo>
                    <a:lnTo>
                      <a:pt x="1387" y="1643"/>
                    </a:lnTo>
                    <a:lnTo>
                      <a:pt x="1389" y="1641"/>
                    </a:lnTo>
                    <a:lnTo>
                      <a:pt x="1390" y="1641"/>
                    </a:lnTo>
                    <a:close/>
                    <a:moveTo>
                      <a:pt x="1230" y="998"/>
                    </a:moveTo>
                    <a:lnTo>
                      <a:pt x="1232" y="998"/>
                    </a:lnTo>
                    <a:lnTo>
                      <a:pt x="1232" y="997"/>
                    </a:lnTo>
                    <a:lnTo>
                      <a:pt x="1232" y="998"/>
                    </a:lnTo>
                    <a:lnTo>
                      <a:pt x="1232" y="1000"/>
                    </a:lnTo>
                    <a:lnTo>
                      <a:pt x="1232" y="998"/>
                    </a:lnTo>
                    <a:lnTo>
                      <a:pt x="1230" y="998"/>
                    </a:lnTo>
                    <a:lnTo>
                      <a:pt x="1230" y="1000"/>
                    </a:lnTo>
                    <a:lnTo>
                      <a:pt x="1232" y="1000"/>
                    </a:lnTo>
                    <a:lnTo>
                      <a:pt x="1232" y="1002"/>
                    </a:lnTo>
                    <a:lnTo>
                      <a:pt x="1232" y="1000"/>
                    </a:lnTo>
                    <a:lnTo>
                      <a:pt x="1232" y="1002"/>
                    </a:lnTo>
                    <a:lnTo>
                      <a:pt x="1230" y="1002"/>
                    </a:lnTo>
                    <a:lnTo>
                      <a:pt x="1230" y="1000"/>
                    </a:lnTo>
                    <a:lnTo>
                      <a:pt x="1230" y="998"/>
                    </a:lnTo>
                    <a:lnTo>
                      <a:pt x="1229" y="998"/>
                    </a:lnTo>
                    <a:lnTo>
                      <a:pt x="1229" y="997"/>
                    </a:lnTo>
                    <a:lnTo>
                      <a:pt x="1230" y="997"/>
                    </a:lnTo>
                    <a:lnTo>
                      <a:pt x="1230" y="998"/>
                    </a:lnTo>
                    <a:close/>
                    <a:moveTo>
                      <a:pt x="1229" y="976"/>
                    </a:moveTo>
                    <a:lnTo>
                      <a:pt x="1229" y="978"/>
                    </a:lnTo>
                    <a:lnTo>
                      <a:pt x="1227" y="978"/>
                    </a:lnTo>
                    <a:lnTo>
                      <a:pt x="1227" y="980"/>
                    </a:lnTo>
                    <a:lnTo>
                      <a:pt x="1225" y="980"/>
                    </a:lnTo>
                    <a:lnTo>
                      <a:pt x="1225" y="978"/>
                    </a:lnTo>
                    <a:lnTo>
                      <a:pt x="1224" y="978"/>
                    </a:lnTo>
                    <a:lnTo>
                      <a:pt x="1225" y="976"/>
                    </a:lnTo>
                    <a:lnTo>
                      <a:pt x="1225" y="978"/>
                    </a:lnTo>
                    <a:lnTo>
                      <a:pt x="1227" y="978"/>
                    </a:lnTo>
                    <a:lnTo>
                      <a:pt x="1225" y="976"/>
                    </a:lnTo>
                    <a:lnTo>
                      <a:pt x="1225" y="978"/>
                    </a:lnTo>
                    <a:lnTo>
                      <a:pt x="1225" y="976"/>
                    </a:lnTo>
                    <a:lnTo>
                      <a:pt x="1227" y="976"/>
                    </a:lnTo>
                    <a:lnTo>
                      <a:pt x="1229" y="976"/>
                    </a:lnTo>
                    <a:close/>
                    <a:moveTo>
                      <a:pt x="1203" y="1138"/>
                    </a:moveTo>
                    <a:lnTo>
                      <a:pt x="1205" y="1138"/>
                    </a:lnTo>
                    <a:lnTo>
                      <a:pt x="1205" y="1140"/>
                    </a:lnTo>
                    <a:lnTo>
                      <a:pt x="1207" y="1140"/>
                    </a:lnTo>
                    <a:lnTo>
                      <a:pt x="1207" y="1141"/>
                    </a:lnTo>
                    <a:lnTo>
                      <a:pt x="1205" y="1141"/>
                    </a:lnTo>
                    <a:lnTo>
                      <a:pt x="1203" y="1140"/>
                    </a:lnTo>
                    <a:lnTo>
                      <a:pt x="1203" y="1138"/>
                    </a:lnTo>
                    <a:lnTo>
                      <a:pt x="1203" y="1136"/>
                    </a:lnTo>
                    <a:lnTo>
                      <a:pt x="1203" y="1138"/>
                    </a:lnTo>
                    <a:close/>
                    <a:moveTo>
                      <a:pt x="1200" y="1470"/>
                    </a:moveTo>
                    <a:lnTo>
                      <a:pt x="1200" y="1471"/>
                    </a:lnTo>
                    <a:lnTo>
                      <a:pt x="1202" y="1471"/>
                    </a:lnTo>
                    <a:lnTo>
                      <a:pt x="1203" y="1471"/>
                    </a:lnTo>
                    <a:lnTo>
                      <a:pt x="1203" y="1473"/>
                    </a:lnTo>
                    <a:lnTo>
                      <a:pt x="1203" y="1475"/>
                    </a:lnTo>
                    <a:lnTo>
                      <a:pt x="1202" y="1475"/>
                    </a:lnTo>
                    <a:lnTo>
                      <a:pt x="1202" y="1473"/>
                    </a:lnTo>
                    <a:lnTo>
                      <a:pt x="1200" y="1473"/>
                    </a:lnTo>
                    <a:lnTo>
                      <a:pt x="1200" y="1471"/>
                    </a:lnTo>
                    <a:lnTo>
                      <a:pt x="1198" y="1471"/>
                    </a:lnTo>
                    <a:lnTo>
                      <a:pt x="1198" y="1470"/>
                    </a:lnTo>
                    <a:lnTo>
                      <a:pt x="1200" y="1470"/>
                    </a:lnTo>
                    <a:close/>
                    <a:moveTo>
                      <a:pt x="1033" y="605"/>
                    </a:moveTo>
                    <a:lnTo>
                      <a:pt x="1033" y="607"/>
                    </a:lnTo>
                    <a:lnTo>
                      <a:pt x="1035" y="607"/>
                    </a:lnTo>
                    <a:lnTo>
                      <a:pt x="1035" y="609"/>
                    </a:lnTo>
                    <a:lnTo>
                      <a:pt x="1035" y="607"/>
                    </a:lnTo>
                    <a:lnTo>
                      <a:pt x="1033" y="607"/>
                    </a:lnTo>
                    <a:lnTo>
                      <a:pt x="1032" y="607"/>
                    </a:lnTo>
                    <a:lnTo>
                      <a:pt x="1030" y="607"/>
                    </a:lnTo>
                    <a:lnTo>
                      <a:pt x="1030" y="609"/>
                    </a:lnTo>
                    <a:lnTo>
                      <a:pt x="1030" y="607"/>
                    </a:lnTo>
                    <a:lnTo>
                      <a:pt x="1032" y="607"/>
                    </a:lnTo>
                    <a:lnTo>
                      <a:pt x="1032" y="605"/>
                    </a:lnTo>
                    <a:lnTo>
                      <a:pt x="1033" y="605"/>
                    </a:lnTo>
                    <a:close/>
                    <a:moveTo>
                      <a:pt x="1174" y="1427"/>
                    </a:moveTo>
                    <a:lnTo>
                      <a:pt x="1173" y="1427"/>
                    </a:lnTo>
                    <a:lnTo>
                      <a:pt x="1174" y="1429"/>
                    </a:lnTo>
                    <a:lnTo>
                      <a:pt x="1173" y="1430"/>
                    </a:lnTo>
                    <a:lnTo>
                      <a:pt x="1173" y="1432"/>
                    </a:lnTo>
                    <a:lnTo>
                      <a:pt x="1171" y="1432"/>
                    </a:lnTo>
                    <a:lnTo>
                      <a:pt x="1171" y="1430"/>
                    </a:lnTo>
                    <a:lnTo>
                      <a:pt x="1173" y="1429"/>
                    </a:lnTo>
                    <a:lnTo>
                      <a:pt x="1173" y="1427"/>
                    </a:lnTo>
                    <a:lnTo>
                      <a:pt x="1173" y="1425"/>
                    </a:lnTo>
                    <a:lnTo>
                      <a:pt x="1174" y="1427"/>
                    </a:lnTo>
                    <a:close/>
                    <a:moveTo>
                      <a:pt x="1193" y="1068"/>
                    </a:moveTo>
                    <a:lnTo>
                      <a:pt x="1193" y="1070"/>
                    </a:lnTo>
                    <a:lnTo>
                      <a:pt x="1193" y="1071"/>
                    </a:lnTo>
                    <a:lnTo>
                      <a:pt x="1191" y="1071"/>
                    </a:lnTo>
                    <a:lnTo>
                      <a:pt x="1190" y="1070"/>
                    </a:lnTo>
                    <a:lnTo>
                      <a:pt x="1190" y="1068"/>
                    </a:lnTo>
                    <a:lnTo>
                      <a:pt x="1191" y="1070"/>
                    </a:lnTo>
                    <a:lnTo>
                      <a:pt x="1191" y="1068"/>
                    </a:lnTo>
                    <a:lnTo>
                      <a:pt x="1193" y="1068"/>
                    </a:lnTo>
                    <a:close/>
                    <a:moveTo>
                      <a:pt x="1273" y="1611"/>
                    </a:moveTo>
                    <a:lnTo>
                      <a:pt x="1273" y="1612"/>
                    </a:lnTo>
                    <a:lnTo>
                      <a:pt x="1275" y="1612"/>
                    </a:lnTo>
                    <a:lnTo>
                      <a:pt x="1275" y="1614"/>
                    </a:lnTo>
                    <a:lnTo>
                      <a:pt x="1273" y="1614"/>
                    </a:lnTo>
                    <a:lnTo>
                      <a:pt x="1273" y="1616"/>
                    </a:lnTo>
                    <a:lnTo>
                      <a:pt x="1271" y="1614"/>
                    </a:lnTo>
                    <a:lnTo>
                      <a:pt x="1271" y="1616"/>
                    </a:lnTo>
                    <a:lnTo>
                      <a:pt x="1271" y="1614"/>
                    </a:lnTo>
                    <a:lnTo>
                      <a:pt x="1270" y="1614"/>
                    </a:lnTo>
                    <a:lnTo>
                      <a:pt x="1271" y="1614"/>
                    </a:lnTo>
                    <a:lnTo>
                      <a:pt x="1273" y="1614"/>
                    </a:lnTo>
                    <a:lnTo>
                      <a:pt x="1271" y="1614"/>
                    </a:lnTo>
                    <a:lnTo>
                      <a:pt x="1271" y="1612"/>
                    </a:lnTo>
                    <a:lnTo>
                      <a:pt x="1271" y="1611"/>
                    </a:lnTo>
                    <a:lnTo>
                      <a:pt x="1273" y="1611"/>
                    </a:lnTo>
                    <a:close/>
                    <a:moveTo>
                      <a:pt x="1162" y="1376"/>
                    </a:moveTo>
                    <a:lnTo>
                      <a:pt x="1161" y="1376"/>
                    </a:lnTo>
                    <a:lnTo>
                      <a:pt x="1162" y="1376"/>
                    </a:lnTo>
                    <a:lnTo>
                      <a:pt x="1162" y="1378"/>
                    </a:lnTo>
                    <a:lnTo>
                      <a:pt x="1162" y="1379"/>
                    </a:lnTo>
                    <a:lnTo>
                      <a:pt x="1161" y="1379"/>
                    </a:lnTo>
                    <a:lnTo>
                      <a:pt x="1159" y="1379"/>
                    </a:lnTo>
                    <a:lnTo>
                      <a:pt x="1159" y="1378"/>
                    </a:lnTo>
                    <a:lnTo>
                      <a:pt x="1161" y="1376"/>
                    </a:lnTo>
                    <a:lnTo>
                      <a:pt x="1161" y="1378"/>
                    </a:lnTo>
                    <a:lnTo>
                      <a:pt x="1161" y="1376"/>
                    </a:lnTo>
                    <a:lnTo>
                      <a:pt x="1162" y="1376"/>
                    </a:lnTo>
                    <a:close/>
                    <a:moveTo>
                      <a:pt x="1213" y="1119"/>
                    </a:moveTo>
                    <a:lnTo>
                      <a:pt x="1215" y="1121"/>
                    </a:lnTo>
                    <a:lnTo>
                      <a:pt x="1213" y="1122"/>
                    </a:lnTo>
                    <a:lnTo>
                      <a:pt x="1212" y="1121"/>
                    </a:lnTo>
                    <a:lnTo>
                      <a:pt x="1210" y="1121"/>
                    </a:lnTo>
                    <a:lnTo>
                      <a:pt x="1210" y="1122"/>
                    </a:lnTo>
                    <a:lnTo>
                      <a:pt x="1210" y="1121"/>
                    </a:lnTo>
                    <a:lnTo>
                      <a:pt x="1212" y="1119"/>
                    </a:lnTo>
                    <a:lnTo>
                      <a:pt x="1213" y="1119"/>
                    </a:lnTo>
                    <a:close/>
                    <a:moveTo>
                      <a:pt x="1178" y="1112"/>
                    </a:moveTo>
                    <a:lnTo>
                      <a:pt x="1179" y="1112"/>
                    </a:lnTo>
                    <a:lnTo>
                      <a:pt x="1179" y="1116"/>
                    </a:lnTo>
                    <a:lnTo>
                      <a:pt x="1178" y="1116"/>
                    </a:lnTo>
                    <a:lnTo>
                      <a:pt x="1178" y="1112"/>
                    </a:lnTo>
                    <a:close/>
                    <a:moveTo>
                      <a:pt x="1232" y="949"/>
                    </a:moveTo>
                    <a:lnTo>
                      <a:pt x="1234" y="951"/>
                    </a:lnTo>
                    <a:lnTo>
                      <a:pt x="1232" y="951"/>
                    </a:lnTo>
                    <a:lnTo>
                      <a:pt x="1234" y="951"/>
                    </a:lnTo>
                    <a:lnTo>
                      <a:pt x="1232" y="951"/>
                    </a:lnTo>
                    <a:lnTo>
                      <a:pt x="1230" y="951"/>
                    </a:lnTo>
                    <a:lnTo>
                      <a:pt x="1232" y="952"/>
                    </a:lnTo>
                    <a:lnTo>
                      <a:pt x="1230" y="952"/>
                    </a:lnTo>
                    <a:lnTo>
                      <a:pt x="1230" y="951"/>
                    </a:lnTo>
                    <a:lnTo>
                      <a:pt x="1230" y="949"/>
                    </a:lnTo>
                    <a:lnTo>
                      <a:pt x="1232" y="949"/>
                    </a:lnTo>
                    <a:close/>
                    <a:moveTo>
                      <a:pt x="1176" y="1481"/>
                    </a:moveTo>
                    <a:lnTo>
                      <a:pt x="1176" y="1483"/>
                    </a:lnTo>
                    <a:lnTo>
                      <a:pt x="1174" y="1483"/>
                    </a:lnTo>
                    <a:lnTo>
                      <a:pt x="1173" y="1483"/>
                    </a:lnTo>
                    <a:lnTo>
                      <a:pt x="1173" y="1481"/>
                    </a:lnTo>
                    <a:lnTo>
                      <a:pt x="1173" y="1483"/>
                    </a:lnTo>
                    <a:lnTo>
                      <a:pt x="1174" y="1481"/>
                    </a:lnTo>
                    <a:lnTo>
                      <a:pt x="1176" y="1481"/>
                    </a:lnTo>
                    <a:close/>
                    <a:moveTo>
                      <a:pt x="1185" y="1063"/>
                    </a:moveTo>
                    <a:lnTo>
                      <a:pt x="1186" y="1063"/>
                    </a:lnTo>
                    <a:lnTo>
                      <a:pt x="1188" y="1063"/>
                    </a:lnTo>
                    <a:lnTo>
                      <a:pt x="1188" y="1065"/>
                    </a:lnTo>
                    <a:lnTo>
                      <a:pt x="1186" y="1065"/>
                    </a:lnTo>
                    <a:lnTo>
                      <a:pt x="1185" y="1066"/>
                    </a:lnTo>
                    <a:lnTo>
                      <a:pt x="1185" y="1065"/>
                    </a:lnTo>
                    <a:lnTo>
                      <a:pt x="1186" y="1065"/>
                    </a:lnTo>
                    <a:lnTo>
                      <a:pt x="1185" y="1065"/>
                    </a:lnTo>
                    <a:lnTo>
                      <a:pt x="1185" y="1063"/>
                    </a:lnTo>
                    <a:close/>
                    <a:moveTo>
                      <a:pt x="1244" y="1582"/>
                    </a:moveTo>
                    <a:lnTo>
                      <a:pt x="1246" y="1582"/>
                    </a:lnTo>
                    <a:lnTo>
                      <a:pt x="1244" y="1583"/>
                    </a:lnTo>
                    <a:lnTo>
                      <a:pt x="1242" y="1583"/>
                    </a:lnTo>
                    <a:lnTo>
                      <a:pt x="1242" y="1582"/>
                    </a:lnTo>
                    <a:lnTo>
                      <a:pt x="1241" y="1582"/>
                    </a:lnTo>
                    <a:lnTo>
                      <a:pt x="1241" y="1580"/>
                    </a:lnTo>
                    <a:lnTo>
                      <a:pt x="1242" y="1582"/>
                    </a:lnTo>
                    <a:lnTo>
                      <a:pt x="1242" y="1580"/>
                    </a:lnTo>
                    <a:lnTo>
                      <a:pt x="1244" y="1582"/>
                    </a:lnTo>
                    <a:close/>
                    <a:moveTo>
                      <a:pt x="1212" y="1116"/>
                    </a:moveTo>
                    <a:lnTo>
                      <a:pt x="1213" y="1116"/>
                    </a:lnTo>
                    <a:lnTo>
                      <a:pt x="1213" y="1117"/>
                    </a:lnTo>
                    <a:lnTo>
                      <a:pt x="1213" y="1119"/>
                    </a:lnTo>
                    <a:lnTo>
                      <a:pt x="1212" y="1119"/>
                    </a:lnTo>
                    <a:lnTo>
                      <a:pt x="1210" y="1119"/>
                    </a:lnTo>
                    <a:lnTo>
                      <a:pt x="1210" y="1117"/>
                    </a:lnTo>
                    <a:lnTo>
                      <a:pt x="1212" y="1117"/>
                    </a:lnTo>
                    <a:lnTo>
                      <a:pt x="1212" y="1116"/>
                    </a:lnTo>
                    <a:close/>
                    <a:moveTo>
                      <a:pt x="1145" y="1264"/>
                    </a:moveTo>
                    <a:lnTo>
                      <a:pt x="1149" y="1264"/>
                    </a:lnTo>
                    <a:lnTo>
                      <a:pt x="1149" y="1269"/>
                    </a:lnTo>
                    <a:lnTo>
                      <a:pt x="1145" y="1269"/>
                    </a:lnTo>
                    <a:lnTo>
                      <a:pt x="1145" y="1264"/>
                    </a:lnTo>
                    <a:close/>
                    <a:moveTo>
                      <a:pt x="1176" y="1475"/>
                    </a:moveTo>
                    <a:lnTo>
                      <a:pt x="1178" y="1475"/>
                    </a:lnTo>
                    <a:lnTo>
                      <a:pt x="1178" y="1480"/>
                    </a:lnTo>
                    <a:lnTo>
                      <a:pt x="1176" y="1480"/>
                    </a:lnTo>
                    <a:lnTo>
                      <a:pt x="1176" y="1475"/>
                    </a:lnTo>
                    <a:close/>
                    <a:moveTo>
                      <a:pt x="1151" y="1289"/>
                    </a:moveTo>
                    <a:lnTo>
                      <a:pt x="1152" y="1289"/>
                    </a:lnTo>
                    <a:lnTo>
                      <a:pt x="1151" y="1291"/>
                    </a:lnTo>
                    <a:lnTo>
                      <a:pt x="1149" y="1291"/>
                    </a:lnTo>
                    <a:lnTo>
                      <a:pt x="1147" y="1293"/>
                    </a:lnTo>
                    <a:lnTo>
                      <a:pt x="1147" y="1291"/>
                    </a:lnTo>
                    <a:lnTo>
                      <a:pt x="1149" y="1291"/>
                    </a:lnTo>
                    <a:lnTo>
                      <a:pt x="1149" y="1289"/>
                    </a:lnTo>
                    <a:lnTo>
                      <a:pt x="1151" y="1289"/>
                    </a:lnTo>
                    <a:close/>
                    <a:moveTo>
                      <a:pt x="1178" y="1247"/>
                    </a:moveTo>
                    <a:lnTo>
                      <a:pt x="1179" y="1247"/>
                    </a:lnTo>
                    <a:lnTo>
                      <a:pt x="1178" y="1248"/>
                    </a:lnTo>
                    <a:lnTo>
                      <a:pt x="1176" y="1250"/>
                    </a:lnTo>
                    <a:lnTo>
                      <a:pt x="1176" y="1248"/>
                    </a:lnTo>
                    <a:lnTo>
                      <a:pt x="1176" y="1247"/>
                    </a:lnTo>
                    <a:lnTo>
                      <a:pt x="1178" y="1247"/>
                    </a:lnTo>
                    <a:close/>
                    <a:moveTo>
                      <a:pt x="1162" y="1301"/>
                    </a:moveTo>
                    <a:lnTo>
                      <a:pt x="1164" y="1301"/>
                    </a:lnTo>
                    <a:lnTo>
                      <a:pt x="1164" y="1303"/>
                    </a:lnTo>
                    <a:lnTo>
                      <a:pt x="1162" y="1303"/>
                    </a:lnTo>
                    <a:lnTo>
                      <a:pt x="1164" y="1303"/>
                    </a:lnTo>
                    <a:lnTo>
                      <a:pt x="1164" y="1305"/>
                    </a:lnTo>
                    <a:lnTo>
                      <a:pt x="1162" y="1303"/>
                    </a:lnTo>
                    <a:lnTo>
                      <a:pt x="1161" y="1303"/>
                    </a:lnTo>
                    <a:lnTo>
                      <a:pt x="1161" y="1301"/>
                    </a:lnTo>
                    <a:lnTo>
                      <a:pt x="1162" y="1301"/>
                    </a:lnTo>
                    <a:close/>
                    <a:moveTo>
                      <a:pt x="1423" y="1687"/>
                    </a:moveTo>
                    <a:lnTo>
                      <a:pt x="1424" y="1687"/>
                    </a:lnTo>
                    <a:lnTo>
                      <a:pt x="1424" y="1689"/>
                    </a:lnTo>
                    <a:lnTo>
                      <a:pt x="1426" y="1691"/>
                    </a:lnTo>
                    <a:lnTo>
                      <a:pt x="1424" y="1689"/>
                    </a:lnTo>
                    <a:lnTo>
                      <a:pt x="1424" y="1691"/>
                    </a:lnTo>
                    <a:lnTo>
                      <a:pt x="1423" y="1691"/>
                    </a:lnTo>
                    <a:lnTo>
                      <a:pt x="1423" y="1689"/>
                    </a:lnTo>
                    <a:lnTo>
                      <a:pt x="1421" y="1687"/>
                    </a:lnTo>
                    <a:lnTo>
                      <a:pt x="1421" y="1689"/>
                    </a:lnTo>
                    <a:lnTo>
                      <a:pt x="1421" y="1687"/>
                    </a:lnTo>
                    <a:lnTo>
                      <a:pt x="1423" y="1687"/>
                    </a:lnTo>
                    <a:close/>
                    <a:moveTo>
                      <a:pt x="1212" y="1061"/>
                    </a:moveTo>
                    <a:lnTo>
                      <a:pt x="1215" y="1061"/>
                    </a:lnTo>
                    <a:lnTo>
                      <a:pt x="1215" y="1065"/>
                    </a:lnTo>
                    <a:lnTo>
                      <a:pt x="1212" y="1065"/>
                    </a:lnTo>
                    <a:lnTo>
                      <a:pt x="1212" y="1061"/>
                    </a:lnTo>
                    <a:close/>
                    <a:moveTo>
                      <a:pt x="1331" y="1635"/>
                    </a:moveTo>
                    <a:lnTo>
                      <a:pt x="1331" y="1636"/>
                    </a:lnTo>
                    <a:lnTo>
                      <a:pt x="1329" y="1636"/>
                    </a:lnTo>
                    <a:lnTo>
                      <a:pt x="1329" y="1638"/>
                    </a:lnTo>
                    <a:lnTo>
                      <a:pt x="1327" y="1636"/>
                    </a:lnTo>
                    <a:lnTo>
                      <a:pt x="1329" y="1635"/>
                    </a:lnTo>
                    <a:lnTo>
                      <a:pt x="1331" y="1635"/>
                    </a:lnTo>
                    <a:lnTo>
                      <a:pt x="1332" y="1633"/>
                    </a:lnTo>
                    <a:lnTo>
                      <a:pt x="1331" y="1635"/>
                    </a:lnTo>
                    <a:close/>
                    <a:moveTo>
                      <a:pt x="1256" y="1587"/>
                    </a:moveTo>
                    <a:lnTo>
                      <a:pt x="1259" y="1587"/>
                    </a:lnTo>
                    <a:lnTo>
                      <a:pt x="1259" y="1592"/>
                    </a:lnTo>
                    <a:lnTo>
                      <a:pt x="1256" y="1592"/>
                    </a:lnTo>
                    <a:lnTo>
                      <a:pt x="1256" y="1587"/>
                    </a:lnTo>
                    <a:close/>
                    <a:moveTo>
                      <a:pt x="1208" y="1077"/>
                    </a:moveTo>
                    <a:lnTo>
                      <a:pt x="1212" y="1077"/>
                    </a:lnTo>
                    <a:lnTo>
                      <a:pt x="1212" y="1080"/>
                    </a:lnTo>
                    <a:lnTo>
                      <a:pt x="1208" y="1080"/>
                    </a:lnTo>
                    <a:lnTo>
                      <a:pt x="1208" y="1077"/>
                    </a:lnTo>
                    <a:close/>
                    <a:moveTo>
                      <a:pt x="1375" y="1663"/>
                    </a:moveTo>
                    <a:lnTo>
                      <a:pt x="1377" y="1663"/>
                    </a:lnTo>
                    <a:lnTo>
                      <a:pt x="1377" y="1665"/>
                    </a:lnTo>
                    <a:lnTo>
                      <a:pt x="1378" y="1665"/>
                    </a:lnTo>
                    <a:lnTo>
                      <a:pt x="1378" y="1667"/>
                    </a:lnTo>
                    <a:lnTo>
                      <a:pt x="1377" y="1667"/>
                    </a:lnTo>
                    <a:lnTo>
                      <a:pt x="1377" y="1665"/>
                    </a:lnTo>
                    <a:lnTo>
                      <a:pt x="1375" y="1665"/>
                    </a:lnTo>
                    <a:lnTo>
                      <a:pt x="1375" y="1663"/>
                    </a:lnTo>
                    <a:lnTo>
                      <a:pt x="1373" y="1663"/>
                    </a:lnTo>
                    <a:lnTo>
                      <a:pt x="1375" y="1663"/>
                    </a:lnTo>
                    <a:close/>
                    <a:moveTo>
                      <a:pt x="1185" y="1061"/>
                    </a:moveTo>
                    <a:lnTo>
                      <a:pt x="1186" y="1061"/>
                    </a:lnTo>
                    <a:lnTo>
                      <a:pt x="1188" y="1061"/>
                    </a:lnTo>
                    <a:lnTo>
                      <a:pt x="1190" y="1063"/>
                    </a:lnTo>
                    <a:lnTo>
                      <a:pt x="1188" y="1063"/>
                    </a:lnTo>
                    <a:lnTo>
                      <a:pt x="1186" y="1063"/>
                    </a:lnTo>
                    <a:lnTo>
                      <a:pt x="1185" y="1063"/>
                    </a:lnTo>
                    <a:lnTo>
                      <a:pt x="1185" y="1061"/>
                    </a:lnTo>
                    <a:close/>
                    <a:moveTo>
                      <a:pt x="1208" y="1080"/>
                    </a:moveTo>
                    <a:lnTo>
                      <a:pt x="1210" y="1082"/>
                    </a:lnTo>
                    <a:lnTo>
                      <a:pt x="1208" y="1082"/>
                    </a:lnTo>
                    <a:lnTo>
                      <a:pt x="1207" y="1082"/>
                    </a:lnTo>
                    <a:lnTo>
                      <a:pt x="1207" y="1080"/>
                    </a:lnTo>
                    <a:lnTo>
                      <a:pt x="1208" y="1082"/>
                    </a:lnTo>
                    <a:lnTo>
                      <a:pt x="1208" y="1080"/>
                    </a:lnTo>
                    <a:lnTo>
                      <a:pt x="1207" y="1080"/>
                    </a:lnTo>
                    <a:lnTo>
                      <a:pt x="1208" y="1080"/>
                    </a:lnTo>
                    <a:close/>
                    <a:moveTo>
                      <a:pt x="1193" y="1493"/>
                    </a:moveTo>
                    <a:lnTo>
                      <a:pt x="1193" y="1495"/>
                    </a:lnTo>
                    <a:lnTo>
                      <a:pt x="1195" y="1493"/>
                    </a:lnTo>
                    <a:lnTo>
                      <a:pt x="1195" y="1495"/>
                    </a:lnTo>
                    <a:lnTo>
                      <a:pt x="1193" y="1495"/>
                    </a:lnTo>
                    <a:lnTo>
                      <a:pt x="1193" y="1497"/>
                    </a:lnTo>
                    <a:lnTo>
                      <a:pt x="1191" y="1495"/>
                    </a:lnTo>
                    <a:lnTo>
                      <a:pt x="1191" y="1497"/>
                    </a:lnTo>
                    <a:lnTo>
                      <a:pt x="1191" y="1495"/>
                    </a:lnTo>
                    <a:lnTo>
                      <a:pt x="1190" y="1495"/>
                    </a:lnTo>
                    <a:lnTo>
                      <a:pt x="1191" y="1495"/>
                    </a:lnTo>
                    <a:lnTo>
                      <a:pt x="1191" y="1493"/>
                    </a:lnTo>
                    <a:lnTo>
                      <a:pt x="1191" y="1495"/>
                    </a:lnTo>
                    <a:lnTo>
                      <a:pt x="1191" y="1493"/>
                    </a:lnTo>
                    <a:lnTo>
                      <a:pt x="1191" y="1495"/>
                    </a:lnTo>
                    <a:lnTo>
                      <a:pt x="1193" y="1493"/>
                    </a:lnTo>
                    <a:close/>
                    <a:moveTo>
                      <a:pt x="1161" y="1247"/>
                    </a:moveTo>
                    <a:lnTo>
                      <a:pt x="1159" y="1247"/>
                    </a:lnTo>
                    <a:lnTo>
                      <a:pt x="1159" y="1248"/>
                    </a:lnTo>
                    <a:lnTo>
                      <a:pt x="1157" y="1248"/>
                    </a:lnTo>
                    <a:lnTo>
                      <a:pt x="1156" y="1250"/>
                    </a:lnTo>
                    <a:lnTo>
                      <a:pt x="1156" y="1248"/>
                    </a:lnTo>
                    <a:lnTo>
                      <a:pt x="1156" y="1250"/>
                    </a:lnTo>
                    <a:lnTo>
                      <a:pt x="1154" y="1250"/>
                    </a:lnTo>
                    <a:lnTo>
                      <a:pt x="1156" y="1250"/>
                    </a:lnTo>
                    <a:lnTo>
                      <a:pt x="1154" y="1250"/>
                    </a:lnTo>
                    <a:lnTo>
                      <a:pt x="1156" y="1250"/>
                    </a:lnTo>
                    <a:lnTo>
                      <a:pt x="1156" y="1248"/>
                    </a:lnTo>
                    <a:lnTo>
                      <a:pt x="1157" y="1247"/>
                    </a:lnTo>
                    <a:lnTo>
                      <a:pt x="1157" y="1248"/>
                    </a:lnTo>
                    <a:lnTo>
                      <a:pt x="1157" y="1247"/>
                    </a:lnTo>
                    <a:lnTo>
                      <a:pt x="1159" y="1247"/>
                    </a:lnTo>
                    <a:lnTo>
                      <a:pt x="1161" y="1245"/>
                    </a:lnTo>
                    <a:lnTo>
                      <a:pt x="1161" y="1247"/>
                    </a:lnTo>
                    <a:close/>
                    <a:moveTo>
                      <a:pt x="1195" y="1063"/>
                    </a:moveTo>
                    <a:lnTo>
                      <a:pt x="1193" y="1065"/>
                    </a:lnTo>
                    <a:lnTo>
                      <a:pt x="1191" y="1065"/>
                    </a:lnTo>
                    <a:lnTo>
                      <a:pt x="1191" y="1063"/>
                    </a:lnTo>
                    <a:lnTo>
                      <a:pt x="1193" y="1063"/>
                    </a:lnTo>
                    <a:lnTo>
                      <a:pt x="1195" y="1063"/>
                    </a:lnTo>
                    <a:close/>
                    <a:moveTo>
                      <a:pt x="1196" y="1466"/>
                    </a:moveTo>
                    <a:lnTo>
                      <a:pt x="1198" y="1466"/>
                    </a:lnTo>
                    <a:lnTo>
                      <a:pt x="1198" y="1468"/>
                    </a:lnTo>
                    <a:lnTo>
                      <a:pt x="1200" y="1468"/>
                    </a:lnTo>
                    <a:lnTo>
                      <a:pt x="1198" y="1468"/>
                    </a:lnTo>
                    <a:lnTo>
                      <a:pt x="1198" y="1470"/>
                    </a:lnTo>
                    <a:lnTo>
                      <a:pt x="1198" y="1468"/>
                    </a:lnTo>
                    <a:lnTo>
                      <a:pt x="1196" y="1470"/>
                    </a:lnTo>
                    <a:lnTo>
                      <a:pt x="1196" y="1468"/>
                    </a:lnTo>
                    <a:lnTo>
                      <a:pt x="1195" y="1466"/>
                    </a:lnTo>
                    <a:lnTo>
                      <a:pt x="1196" y="1466"/>
                    </a:lnTo>
                    <a:close/>
                    <a:moveTo>
                      <a:pt x="1213" y="1515"/>
                    </a:moveTo>
                    <a:lnTo>
                      <a:pt x="1212" y="1515"/>
                    </a:lnTo>
                    <a:lnTo>
                      <a:pt x="1212" y="1517"/>
                    </a:lnTo>
                    <a:lnTo>
                      <a:pt x="1210" y="1517"/>
                    </a:lnTo>
                    <a:lnTo>
                      <a:pt x="1212" y="1515"/>
                    </a:lnTo>
                    <a:lnTo>
                      <a:pt x="1210" y="1515"/>
                    </a:lnTo>
                    <a:lnTo>
                      <a:pt x="1210" y="1514"/>
                    </a:lnTo>
                    <a:lnTo>
                      <a:pt x="1212" y="1514"/>
                    </a:lnTo>
                    <a:lnTo>
                      <a:pt x="1210" y="1514"/>
                    </a:lnTo>
                    <a:lnTo>
                      <a:pt x="1212" y="1514"/>
                    </a:lnTo>
                    <a:lnTo>
                      <a:pt x="1213" y="1514"/>
                    </a:lnTo>
                    <a:lnTo>
                      <a:pt x="1213" y="1515"/>
                    </a:lnTo>
                    <a:close/>
                    <a:moveTo>
                      <a:pt x="1378" y="1660"/>
                    </a:moveTo>
                    <a:lnTo>
                      <a:pt x="1378" y="1662"/>
                    </a:lnTo>
                    <a:lnTo>
                      <a:pt x="1378" y="1660"/>
                    </a:lnTo>
                    <a:lnTo>
                      <a:pt x="1380" y="1662"/>
                    </a:lnTo>
                    <a:lnTo>
                      <a:pt x="1378" y="1662"/>
                    </a:lnTo>
                    <a:lnTo>
                      <a:pt x="1378" y="1663"/>
                    </a:lnTo>
                    <a:lnTo>
                      <a:pt x="1377" y="1663"/>
                    </a:lnTo>
                    <a:lnTo>
                      <a:pt x="1377" y="1662"/>
                    </a:lnTo>
                    <a:lnTo>
                      <a:pt x="1378" y="1662"/>
                    </a:lnTo>
                    <a:lnTo>
                      <a:pt x="1377" y="1662"/>
                    </a:lnTo>
                    <a:lnTo>
                      <a:pt x="1375" y="1662"/>
                    </a:lnTo>
                    <a:lnTo>
                      <a:pt x="1375" y="1660"/>
                    </a:lnTo>
                    <a:lnTo>
                      <a:pt x="1377" y="1660"/>
                    </a:lnTo>
                    <a:lnTo>
                      <a:pt x="1378" y="1660"/>
                    </a:lnTo>
                    <a:close/>
                    <a:moveTo>
                      <a:pt x="1263" y="1604"/>
                    </a:moveTo>
                    <a:lnTo>
                      <a:pt x="1263" y="1606"/>
                    </a:lnTo>
                    <a:lnTo>
                      <a:pt x="1264" y="1606"/>
                    </a:lnTo>
                    <a:lnTo>
                      <a:pt x="1264" y="1607"/>
                    </a:lnTo>
                    <a:lnTo>
                      <a:pt x="1266" y="1607"/>
                    </a:lnTo>
                    <a:lnTo>
                      <a:pt x="1264" y="1607"/>
                    </a:lnTo>
                    <a:lnTo>
                      <a:pt x="1263" y="1607"/>
                    </a:lnTo>
                    <a:lnTo>
                      <a:pt x="1261" y="1606"/>
                    </a:lnTo>
                    <a:lnTo>
                      <a:pt x="1263" y="1604"/>
                    </a:lnTo>
                    <a:close/>
                    <a:moveTo>
                      <a:pt x="1173" y="1359"/>
                    </a:moveTo>
                    <a:lnTo>
                      <a:pt x="1174" y="1359"/>
                    </a:lnTo>
                    <a:lnTo>
                      <a:pt x="1173" y="1361"/>
                    </a:lnTo>
                    <a:lnTo>
                      <a:pt x="1171" y="1361"/>
                    </a:lnTo>
                    <a:lnTo>
                      <a:pt x="1171" y="1359"/>
                    </a:lnTo>
                    <a:lnTo>
                      <a:pt x="1173" y="1359"/>
                    </a:lnTo>
                    <a:close/>
                    <a:moveTo>
                      <a:pt x="1363" y="1665"/>
                    </a:moveTo>
                    <a:lnTo>
                      <a:pt x="1366" y="1665"/>
                    </a:lnTo>
                    <a:lnTo>
                      <a:pt x="1366" y="1672"/>
                    </a:lnTo>
                    <a:lnTo>
                      <a:pt x="1363" y="1672"/>
                    </a:lnTo>
                    <a:lnTo>
                      <a:pt x="1363" y="1665"/>
                    </a:lnTo>
                    <a:close/>
                    <a:moveTo>
                      <a:pt x="1253" y="1590"/>
                    </a:moveTo>
                    <a:lnTo>
                      <a:pt x="1256" y="1590"/>
                    </a:lnTo>
                    <a:lnTo>
                      <a:pt x="1256" y="1594"/>
                    </a:lnTo>
                    <a:lnTo>
                      <a:pt x="1253" y="1594"/>
                    </a:lnTo>
                    <a:lnTo>
                      <a:pt x="1253" y="1590"/>
                    </a:lnTo>
                    <a:close/>
                    <a:moveTo>
                      <a:pt x="1217" y="971"/>
                    </a:moveTo>
                    <a:lnTo>
                      <a:pt x="1219" y="971"/>
                    </a:lnTo>
                    <a:lnTo>
                      <a:pt x="1219" y="973"/>
                    </a:lnTo>
                    <a:lnTo>
                      <a:pt x="1217" y="973"/>
                    </a:lnTo>
                    <a:lnTo>
                      <a:pt x="1217" y="971"/>
                    </a:lnTo>
                    <a:lnTo>
                      <a:pt x="1215" y="971"/>
                    </a:lnTo>
                    <a:lnTo>
                      <a:pt x="1217" y="969"/>
                    </a:lnTo>
                    <a:lnTo>
                      <a:pt x="1217" y="971"/>
                    </a:lnTo>
                    <a:close/>
                    <a:moveTo>
                      <a:pt x="1203" y="1473"/>
                    </a:moveTo>
                    <a:lnTo>
                      <a:pt x="1207" y="1473"/>
                    </a:lnTo>
                    <a:lnTo>
                      <a:pt x="1207" y="1478"/>
                    </a:lnTo>
                    <a:lnTo>
                      <a:pt x="1203" y="1478"/>
                    </a:lnTo>
                    <a:lnTo>
                      <a:pt x="1203" y="1473"/>
                    </a:lnTo>
                    <a:close/>
                    <a:moveTo>
                      <a:pt x="1232" y="1600"/>
                    </a:moveTo>
                    <a:lnTo>
                      <a:pt x="1230" y="1602"/>
                    </a:lnTo>
                    <a:lnTo>
                      <a:pt x="1229" y="1602"/>
                    </a:lnTo>
                    <a:lnTo>
                      <a:pt x="1227" y="1602"/>
                    </a:lnTo>
                    <a:lnTo>
                      <a:pt x="1227" y="1600"/>
                    </a:lnTo>
                    <a:lnTo>
                      <a:pt x="1229" y="1600"/>
                    </a:lnTo>
                    <a:lnTo>
                      <a:pt x="1230" y="1600"/>
                    </a:lnTo>
                    <a:lnTo>
                      <a:pt x="1232" y="1600"/>
                    </a:lnTo>
                    <a:close/>
                    <a:moveTo>
                      <a:pt x="1331" y="1633"/>
                    </a:moveTo>
                    <a:lnTo>
                      <a:pt x="1334" y="1633"/>
                    </a:lnTo>
                    <a:lnTo>
                      <a:pt x="1334" y="1636"/>
                    </a:lnTo>
                    <a:lnTo>
                      <a:pt x="1331" y="1636"/>
                    </a:lnTo>
                    <a:lnTo>
                      <a:pt x="1331" y="1633"/>
                    </a:lnTo>
                    <a:close/>
                    <a:moveTo>
                      <a:pt x="1263" y="1589"/>
                    </a:moveTo>
                    <a:lnTo>
                      <a:pt x="1264" y="1589"/>
                    </a:lnTo>
                    <a:lnTo>
                      <a:pt x="1264" y="1590"/>
                    </a:lnTo>
                    <a:lnTo>
                      <a:pt x="1263" y="1590"/>
                    </a:lnTo>
                    <a:lnTo>
                      <a:pt x="1264" y="1590"/>
                    </a:lnTo>
                    <a:lnTo>
                      <a:pt x="1263" y="1590"/>
                    </a:lnTo>
                    <a:lnTo>
                      <a:pt x="1261" y="1590"/>
                    </a:lnTo>
                    <a:lnTo>
                      <a:pt x="1261" y="1589"/>
                    </a:lnTo>
                    <a:lnTo>
                      <a:pt x="1263" y="1589"/>
                    </a:lnTo>
                    <a:close/>
                    <a:moveTo>
                      <a:pt x="1181" y="1464"/>
                    </a:moveTo>
                    <a:lnTo>
                      <a:pt x="1179" y="1466"/>
                    </a:lnTo>
                    <a:lnTo>
                      <a:pt x="1178" y="1466"/>
                    </a:lnTo>
                    <a:lnTo>
                      <a:pt x="1178" y="1468"/>
                    </a:lnTo>
                    <a:lnTo>
                      <a:pt x="1178" y="1466"/>
                    </a:lnTo>
                    <a:lnTo>
                      <a:pt x="1178" y="1464"/>
                    </a:lnTo>
                    <a:lnTo>
                      <a:pt x="1179" y="1464"/>
                    </a:lnTo>
                    <a:lnTo>
                      <a:pt x="1181" y="1463"/>
                    </a:lnTo>
                    <a:lnTo>
                      <a:pt x="1181" y="1464"/>
                    </a:lnTo>
                    <a:close/>
                    <a:moveTo>
                      <a:pt x="1327" y="1645"/>
                    </a:moveTo>
                    <a:lnTo>
                      <a:pt x="1329" y="1645"/>
                    </a:lnTo>
                    <a:lnTo>
                      <a:pt x="1329" y="1646"/>
                    </a:lnTo>
                    <a:lnTo>
                      <a:pt x="1331" y="1646"/>
                    </a:lnTo>
                    <a:lnTo>
                      <a:pt x="1329" y="1646"/>
                    </a:lnTo>
                    <a:lnTo>
                      <a:pt x="1329" y="1648"/>
                    </a:lnTo>
                    <a:lnTo>
                      <a:pt x="1331" y="1648"/>
                    </a:lnTo>
                    <a:lnTo>
                      <a:pt x="1332" y="1648"/>
                    </a:lnTo>
                    <a:lnTo>
                      <a:pt x="1331" y="1648"/>
                    </a:lnTo>
                    <a:lnTo>
                      <a:pt x="1329" y="1648"/>
                    </a:lnTo>
                    <a:lnTo>
                      <a:pt x="1327" y="1648"/>
                    </a:lnTo>
                    <a:lnTo>
                      <a:pt x="1329" y="1646"/>
                    </a:lnTo>
                    <a:lnTo>
                      <a:pt x="1327" y="1646"/>
                    </a:lnTo>
                    <a:lnTo>
                      <a:pt x="1327" y="1645"/>
                    </a:lnTo>
                    <a:close/>
                    <a:moveTo>
                      <a:pt x="1217" y="1500"/>
                    </a:moveTo>
                    <a:lnTo>
                      <a:pt x="1219" y="1500"/>
                    </a:lnTo>
                    <a:lnTo>
                      <a:pt x="1219" y="1502"/>
                    </a:lnTo>
                    <a:lnTo>
                      <a:pt x="1217" y="1502"/>
                    </a:lnTo>
                    <a:lnTo>
                      <a:pt x="1215" y="1502"/>
                    </a:lnTo>
                    <a:lnTo>
                      <a:pt x="1217" y="1502"/>
                    </a:lnTo>
                    <a:lnTo>
                      <a:pt x="1215" y="1502"/>
                    </a:lnTo>
                    <a:lnTo>
                      <a:pt x="1217" y="1500"/>
                    </a:lnTo>
                    <a:lnTo>
                      <a:pt x="1219" y="1498"/>
                    </a:lnTo>
                    <a:lnTo>
                      <a:pt x="1219" y="1500"/>
                    </a:lnTo>
                    <a:lnTo>
                      <a:pt x="1217" y="1500"/>
                    </a:lnTo>
                    <a:close/>
                    <a:moveTo>
                      <a:pt x="1171" y="1446"/>
                    </a:moveTo>
                    <a:lnTo>
                      <a:pt x="1174" y="1446"/>
                    </a:lnTo>
                    <a:lnTo>
                      <a:pt x="1174" y="1451"/>
                    </a:lnTo>
                    <a:lnTo>
                      <a:pt x="1171" y="1451"/>
                    </a:lnTo>
                    <a:lnTo>
                      <a:pt x="1171" y="1446"/>
                    </a:lnTo>
                    <a:close/>
                    <a:moveTo>
                      <a:pt x="1190" y="1119"/>
                    </a:moveTo>
                    <a:lnTo>
                      <a:pt x="1191" y="1119"/>
                    </a:lnTo>
                    <a:lnTo>
                      <a:pt x="1191" y="1122"/>
                    </a:lnTo>
                    <a:lnTo>
                      <a:pt x="1190" y="1122"/>
                    </a:lnTo>
                    <a:lnTo>
                      <a:pt x="1190" y="1119"/>
                    </a:lnTo>
                    <a:close/>
                    <a:moveTo>
                      <a:pt x="1222" y="1570"/>
                    </a:moveTo>
                    <a:lnTo>
                      <a:pt x="1224" y="1570"/>
                    </a:lnTo>
                    <a:lnTo>
                      <a:pt x="1224" y="1572"/>
                    </a:lnTo>
                    <a:lnTo>
                      <a:pt x="1222" y="1572"/>
                    </a:lnTo>
                    <a:lnTo>
                      <a:pt x="1222" y="1570"/>
                    </a:lnTo>
                    <a:lnTo>
                      <a:pt x="1220" y="1572"/>
                    </a:lnTo>
                    <a:lnTo>
                      <a:pt x="1220" y="1570"/>
                    </a:lnTo>
                    <a:lnTo>
                      <a:pt x="1222" y="1570"/>
                    </a:lnTo>
                    <a:close/>
                    <a:moveTo>
                      <a:pt x="1205" y="1019"/>
                    </a:moveTo>
                    <a:lnTo>
                      <a:pt x="1208" y="1019"/>
                    </a:lnTo>
                    <a:lnTo>
                      <a:pt x="1208" y="1022"/>
                    </a:lnTo>
                    <a:lnTo>
                      <a:pt x="1205" y="1022"/>
                    </a:lnTo>
                    <a:lnTo>
                      <a:pt x="1205" y="1019"/>
                    </a:lnTo>
                    <a:close/>
                    <a:moveTo>
                      <a:pt x="1164" y="1366"/>
                    </a:moveTo>
                    <a:lnTo>
                      <a:pt x="1168" y="1366"/>
                    </a:lnTo>
                    <a:lnTo>
                      <a:pt x="1168" y="1371"/>
                    </a:lnTo>
                    <a:lnTo>
                      <a:pt x="1164" y="1371"/>
                    </a:lnTo>
                    <a:lnTo>
                      <a:pt x="1164" y="1366"/>
                    </a:lnTo>
                    <a:close/>
                    <a:moveTo>
                      <a:pt x="1191" y="1498"/>
                    </a:moveTo>
                    <a:lnTo>
                      <a:pt x="1193" y="1498"/>
                    </a:lnTo>
                    <a:lnTo>
                      <a:pt x="1193" y="1500"/>
                    </a:lnTo>
                    <a:lnTo>
                      <a:pt x="1191" y="1502"/>
                    </a:lnTo>
                    <a:lnTo>
                      <a:pt x="1191" y="1500"/>
                    </a:lnTo>
                    <a:lnTo>
                      <a:pt x="1193" y="1500"/>
                    </a:lnTo>
                    <a:lnTo>
                      <a:pt x="1191" y="1500"/>
                    </a:lnTo>
                    <a:lnTo>
                      <a:pt x="1191" y="1498"/>
                    </a:lnTo>
                    <a:lnTo>
                      <a:pt x="1190" y="1498"/>
                    </a:lnTo>
                    <a:lnTo>
                      <a:pt x="1190" y="1497"/>
                    </a:lnTo>
                    <a:lnTo>
                      <a:pt x="1191" y="1497"/>
                    </a:lnTo>
                    <a:lnTo>
                      <a:pt x="1191" y="1498"/>
                    </a:lnTo>
                    <a:close/>
                    <a:moveTo>
                      <a:pt x="1186" y="1060"/>
                    </a:moveTo>
                    <a:lnTo>
                      <a:pt x="1188" y="1061"/>
                    </a:lnTo>
                    <a:lnTo>
                      <a:pt x="1188" y="1060"/>
                    </a:lnTo>
                    <a:lnTo>
                      <a:pt x="1190" y="1061"/>
                    </a:lnTo>
                    <a:lnTo>
                      <a:pt x="1191" y="1061"/>
                    </a:lnTo>
                    <a:lnTo>
                      <a:pt x="1190" y="1061"/>
                    </a:lnTo>
                    <a:lnTo>
                      <a:pt x="1188" y="1061"/>
                    </a:lnTo>
                    <a:lnTo>
                      <a:pt x="1186" y="1061"/>
                    </a:lnTo>
                    <a:lnTo>
                      <a:pt x="1185" y="1061"/>
                    </a:lnTo>
                    <a:lnTo>
                      <a:pt x="1185" y="1060"/>
                    </a:lnTo>
                    <a:lnTo>
                      <a:pt x="1186" y="1060"/>
                    </a:lnTo>
                    <a:close/>
                    <a:moveTo>
                      <a:pt x="1191" y="1449"/>
                    </a:moveTo>
                    <a:lnTo>
                      <a:pt x="1193" y="1451"/>
                    </a:lnTo>
                    <a:lnTo>
                      <a:pt x="1195" y="1451"/>
                    </a:lnTo>
                    <a:lnTo>
                      <a:pt x="1196" y="1453"/>
                    </a:lnTo>
                    <a:lnTo>
                      <a:pt x="1195" y="1453"/>
                    </a:lnTo>
                    <a:lnTo>
                      <a:pt x="1195" y="1454"/>
                    </a:lnTo>
                    <a:lnTo>
                      <a:pt x="1193" y="1453"/>
                    </a:lnTo>
                    <a:lnTo>
                      <a:pt x="1195" y="1453"/>
                    </a:lnTo>
                    <a:lnTo>
                      <a:pt x="1193" y="1453"/>
                    </a:lnTo>
                    <a:lnTo>
                      <a:pt x="1193" y="1451"/>
                    </a:lnTo>
                    <a:lnTo>
                      <a:pt x="1191" y="1451"/>
                    </a:lnTo>
                    <a:lnTo>
                      <a:pt x="1191" y="1449"/>
                    </a:lnTo>
                    <a:lnTo>
                      <a:pt x="1191" y="1451"/>
                    </a:lnTo>
                    <a:lnTo>
                      <a:pt x="1191" y="1449"/>
                    </a:lnTo>
                    <a:close/>
                    <a:moveTo>
                      <a:pt x="1215" y="993"/>
                    </a:moveTo>
                    <a:lnTo>
                      <a:pt x="1213" y="995"/>
                    </a:lnTo>
                    <a:lnTo>
                      <a:pt x="1213" y="993"/>
                    </a:lnTo>
                    <a:lnTo>
                      <a:pt x="1212" y="995"/>
                    </a:lnTo>
                    <a:lnTo>
                      <a:pt x="1212" y="993"/>
                    </a:lnTo>
                    <a:lnTo>
                      <a:pt x="1213" y="993"/>
                    </a:lnTo>
                    <a:lnTo>
                      <a:pt x="1213" y="992"/>
                    </a:lnTo>
                    <a:lnTo>
                      <a:pt x="1215" y="993"/>
                    </a:lnTo>
                    <a:close/>
                    <a:moveTo>
                      <a:pt x="1426" y="1677"/>
                    </a:moveTo>
                    <a:lnTo>
                      <a:pt x="1428" y="1677"/>
                    </a:lnTo>
                    <a:lnTo>
                      <a:pt x="1428" y="1679"/>
                    </a:lnTo>
                    <a:lnTo>
                      <a:pt x="1426" y="1679"/>
                    </a:lnTo>
                    <a:lnTo>
                      <a:pt x="1426" y="1680"/>
                    </a:lnTo>
                    <a:lnTo>
                      <a:pt x="1424" y="1680"/>
                    </a:lnTo>
                    <a:lnTo>
                      <a:pt x="1424" y="1679"/>
                    </a:lnTo>
                    <a:lnTo>
                      <a:pt x="1426" y="1677"/>
                    </a:lnTo>
                    <a:close/>
                    <a:moveTo>
                      <a:pt x="1213" y="747"/>
                    </a:moveTo>
                    <a:lnTo>
                      <a:pt x="1213" y="748"/>
                    </a:lnTo>
                    <a:lnTo>
                      <a:pt x="1213" y="747"/>
                    </a:lnTo>
                    <a:lnTo>
                      <a:pt x="1212" y="748"/>
                    </a:lnTo>
                    <a:lnTo>
                      <a:pt x="1212" y="747"/>
                    </a:lnTo>
                    <a:lnTo>
                      <a:pt x="1212" y="745"/>
                    </a:lnTo>
                    <a:lnTo>
                      <a:pt x="1212" y="747"/>
                    </a:lnTo>
                    <a:lnTo>
                      <a:pt x="1213" y="747"/>
                    </a:lnTo>
                    <a:close/>
                    <a:moveTo>
                      <a:pt x="1220" y="993"/>
                    </a:moveTo>
                    <a:lnTo>
                      <a:pt x="1222" y="993"/>
                    </a:lnTo>
                    <a:lnTo>
                      <a:pt x="1222" y="995"/>
                    </a:lnTo>
                    <a:lnTo>
                      <a:pt x="1220" y="995"/>
                    </a:lnTo>
                    <a:lnTo>
                      <a:pt x="1219" y="993"/>
                    </a:lnTo>
                    <a:lnTo>
                      <a:pt x="1220" y="993"/>
                    </a:lnTo>
                    <a:close/>
                    <a:moveTo>
                      <a:pt x="1168" y="1259"/>
                    </a:moveTo>
                    <a:lnTo>
                      <a:pt x="1171" y="1259"/>
                    </a:lnTo>
                    <a:lnTo>
                      <a:pt x="1171" y="1262"/>
                    </a:lnTo>
                    <a:lnTo>
                      <a:pt x="1168" y="1262"/>
                    </a:lnTo>
                    <a:lnTo>
                      <a:pt x="1168" y="1259"/>
                    </a:lnTo>
                    <a:close/>
                    <a:moveTo>
                      <a:pt x="1159" y="1252"/>
                    </a:moveTo>
                    <a:lnTo>
                      <a:pt x="1161" y="1253"/>
                    </a:lnTo>
                    <a:lnTo>
                      <a:pt x="1159" y="1253"/>
                    </a:lnTo>
                    <a:lnTo>
                      <a:pt x="1157" y="1255"/>
                    </a:lnTo>
                    <a:lnTo>
                      <a:pt x="1157" y="1253"/>
                    </a:lnTo>
                    <a:lnTo>
                      <a:pt x="1159" y="1253"/>
                    </a:lnTo>
                    <a:lnTo>
                      <a:pt x="1157" y="1253"/>
                    </a:lnTo>
                    <a:lnTo>
                      <a:pt x="1156" y="1253"/>
                    </a:lnTo>
                    <a:lnTo>
                      <a:pt x="1157" y="1253"/>
                    </a:lnTo>
                    <a:lnTo>
                      <a:pt x="1159" y="1252"/>
                    </a:lnTo>
                    <a:close/>
                    <a:moveTo>
                      <a:pt x="1290" y="1575"/>
                    </a:moveTo>
                    <a:lnTo>
                      <a:pt x="1292" y="1575"/>
                    </a:lnTo>
                    <a:lnTo>
                      <a:pt x="1292" y="1580"/>
                    </a:lnTo>
                    <a:lnTo>
                      <a:pt x="1290" y="1580"/>
                    </a:lnTo>
                    <a:lnTo>
                      <a:pt x="1290" y="1575"/>
                    </a:lnTo>
                    <a:close/>
                    <a:moveTo>
                      <a:pt x="1290" y="1629"/>
                    </a:moveTo>
                    <a:lnTo>
                      <a:pt x="1293" y="1629"/>
                    </a:lnTo>
                    <a:lnTo>
                      <a:pt x="1293" y="1635"/>
                    </a:lnTo>
                    <a:lnTo>
                      <a:pt x="1290" y="1635"/>
                    </a:lnTo>
                    <a:lnTo>
                      <a:pt x="1290" y="1629"/>
                    </a:lnTo>
                    <a:close/>
                    <a:moveTo>
                      <a:pt x="1161" y="1245"/>
                    </a:moveTo>
                    <a:lnTo>
                      <a:pt x="1159" y="1247"/>
                    </a:lnTo>
                    <a:lnTo>
                      <a:pt x="1157" y="1247"/>
                    </a:lnTo>
                    <a:lnTo>
                      <a:pt x="1157" y="1245"/>
                    </a:lnTo>
                    <a:lnTo>
                      <a:pt x="1159" y="1245"/>
                    </a:lnTo>
                    <a:lnTo>
                      <a:pt x="1157" y="1245"/>
                    </a:lnTo>
                    <a:lnTo>
                      <a:pt x="1159" y="1245"/>
                    </a:lnTo>
                    <a:lnTo>
                      <a:pt x="1161" y="1245"/>
                    </a:lnTo>
                    <a:lnTo>
                      <a:pt x="1161" y="1243"/>
                    </a:lnTo>
                    <a:lnTo>
                      <a:pt x="1161" y="1245"/>
                    </a:lnTo>
                    <a:close/>
                    <a:moveTo>
                      <a:pt x="1210" y="1017"/>
                    </a:moveTo>
                    <a:lnTo>
                      <a:pt x="1213" y="1017"/>
                    </a:lnTo>
                    <a:lnTo>
                      <a:pt x="1213" y="1020"/>
                    </a:lnTo>
                    <a:lnTo>
                      <a:pt x="1210" y="1020"/>
                    </a:lnTo>
                    <a:lnTo>
                      <a:pt x="1210" y="1017"/>
                    </a:lnTo>
                    <a:close/>
                    <a:moveTo>
                      <a:pt x="1200" y="1085"/>
                    </a:moveTo>
                    <a:lnTo>
                      <a:pt x="1200" y="1087"/>
                    </a:lnTo>
                    <a:lnTo>
                      <a:pt x="1198" y="1085"/>
                    </a:lnTo>
                    <a:lnTo>
                      <a:pt x="1196" y="1085"/>
                    </a:lnTo>
                    <a:lnTo>
                      <a:pt x="1198" y="1085"/>
                    </a:lnTo>
                    <a:lnTo>
                      <a:pt x="1200" y="1083"/>
                    </a:lnTo>
                    <a:lnTo>
                      <a:pt x="1200" y="1085"/>
                    </a:lnTo>
                    <a:close/>
                    <a:moveTo>
                      <a:pt x="1210" y="1253"/>
                    </a:moveTo>
                    <a:lnTo>
                      <a:pt x="1210" y="1255"/>
                    </a:lnTo>
                    <a:lnTo>
                      <a:pt x="1212" y="1255"/>
                    </a:lnTo>
                    <a:lnTo>
                      <a:pt x="1212" y="1257"/>
                    </a:lnTo>
                    <a:lnTo>
                      <a:pt x="1210" y="1255"/>
                    </a:lnTo>
                    <a:lnTo>
                      <a:pt x="1208" y="1255"/>
                    </a:lnTo>
                    <a:lnTo>
                      <a:pt x="1208" y="1253"/>
                    </a:lnTo>
                    <a:lnTo>
                      <a:pt x="1210" y="1253"/>
                    </a:lnTo>
                    <a:close/>
                    <a:moveTo>
                      <a:pt x="1156" y="1187"/>
                    </a:moveTo>
                    <a:lnTo>
                      <a:pt x="1157" y="1189"/>
                    </a:lnTo>
                    <a:lnTo>
                      <a:pt x="1159" y="1191"/>
                    </a:lnTo>
                    <a:lnTo>
                      <a:pt x="1157" y="1191"/>
                    </a:lnTo>
                    <a:lnTo>
                      <a:pt x="1156" y="1189"/>
                    </a:lnTo>
                    <a:lnTo>
                      <a:pt x="1154" y="1189"/>
                    </a:lnTo>
                    <a:lnTo>
                      <a:pt x="1156" y="1187"/>
                    </a:lnTo>
                    <a:close/>
                    <a:moveTo>
                      <a:pt x="1219" y="1119"/>
                    </a:moveTo>
                    <a:lnTo>
                      <a:pt x="1217" y="1121"/>
                    </a:lnTo>
                    <a:lnTo>
                      <a:pt x="1215" y="1121"/>
                    </a:lnTo>
                    <a:lnTo>
                      <a:pt x="1217" y="1119"/>
                    </a:lnTo>
                    <a:lnTo>
                      <a:pt x="1215" y="1119"/>
                    </a:lnTo>
                    <a:lnTo>
                      <a:pt x="1217" y="1119"/>
                    </a:lnTo>
                    <a:lnTo>
                      <a:pt x="1219" y="1119"/>
                    </a:lnTo>
                    <a:close/>
                    <a:moveTo>
                      <a:pt x="1210" y="1242"/>
                    </a:moveTo>
                    <a:lnTo>
                      <a:pt x="1210" y="1243"/>
                    </a:lnTo>
                    <a:lnTo>
                      <a:pt x="1208" y="1243"/>
                    </a:lnTo>
                    <a:lnTo>
                      <a:pt x="1207" y="1243"/>
                    </a:lnTo>
                    <a:lnTo>
                      <a:pt x="1207" y="1242"/>
                    </a:lnTo>
                    <a:lnTo>
                      <a:pt x="1208" y="1242"/>
                    </a:lnTo>
                    <a:lnTo>
                      <a:pt x="1210" y="1242"/>
                    </a:lnTo>
                    <a:close/>
                    <a:moveTo>
                      <a:pt x="1151" y="1291"/>
                    </a:moveTo>
                    <a:lnTo>
                      <a:pt x="1154" y="1291"/>
                    </a:lnTo>
                    <a:lnTo>
                      <a:pt x="1154" y="1294"/>
                    </a:lnTo>
                    <a:lnTo>
                      <a:pt x="1151" y="1294"/>
                    </a:lnTo>
                    <a:lnTo>
                      <a:pt x="1151" y="1291"/>
                    </a:lnTo>
                    <a:close/>
                    <a:moveTo>
                      <a:pt x="1164" y="1476"/>
                    </a:moveTo>
                    <a:lnTo>
                      <a:pt x="1168" y="1476"/>
                    </a:lnTo>
                    <a:lnTo>
                      <a:pt x="1168" y="1480"/>
                    </a:lnTo>
                    <a:lnTo>
                      <a:pt x="1164" y="1480"/>
                    </a:lnTo>
                    <a:lnTo>
                      <a:pt x="1164" y="1476"/>
                    </a:lnTo>
                    <a:close/>
                    <a:moveTo>
                      <a:pt x="1188" y="1475"/>
                    </a:moveTo>
                    <a:lnTo>
                      <a:pt x="1188" y="1476"/>
                    </a:lnTo>
                    <a:lnTo>
                      <a:pt x="1186" y="1476"/>
                    </a:lnTo>
                    <a:lnTo>
                      <a:pt x="1186" y="1475"/>
                    </a:lnTo>
                    <a:lnTo>
                      <a:pt x="1188" y="1475"/>
                    </a:lnTo>
                    <a:lnTo>
                      <a:pt x="1186" y="1475"/>
                    </a:lnTo>
                    <a:lnTo>
                      <a:pt x="1185" y="1475"/>
                    </a:lnTo>
                    <a:lnTo>
                      <a:pt x="1186" y="1475"/>
                    </a:lnTo>
                    <a:lnTo>
                      <a:pt x="1188" y="1473"/>
                    </a:lnTo>
                    <a:lnTo>
                      <a:pt x="1190" y="1475"/>
                    </a:lnTo>
                    <a:lnTo>
                      <a:pt x="1188" y="1475"/>
                    </a:lnTo>
                    <a:close/>
                    <a:moveTo>
                      <a:pt x="1186" y="1119"/>
                    </a:moveTo>
                    <a:lnTo>
                      <a:pt x="1188" y="1119"/>
                    </a:lnTo>
                    <a:lnTo>
                      <a:pt x="1188" y="1124"/>
                    </a:lnTo>
                    <a:lnTo>
                      <a:pt x="1186" y="1124"/>
                    </a:lnTo>
                    <a:lnTo>
                      <a:pt x="1186" y="1119"/>
                    </a:lnTo>
                    <a:close/>
                    <a:moveTo>
                      <a:pt x="1326" y="1648"/>
                    </a:moveTo>
                    <a:lnTo>
                      <a:pt x="1327" y="1650"/>
                    </a:lnTo>
                    <a:lnTo>
                      <a:pt x="1329" y="1650"/>
                    </a:lnTo>
                    <a:lnTo>
                      <a:pt x="1327" y="1650"/>
                    </a:lnTo>
                    <a:lnTo>
                      <a:pt x="1326" y="1650"/>
                    </a:lnTo>
                    <a:lnTo>
                      <a:pt x="1324" y="1650"/>
                    </a:lnTo>
                    <a:lnTo>
                      <a:pt x="1324" y="1648"/>
                    </a:lnTo>
                    <a:lnTo>
                      <a:pt x="1326" y="1648"/>
                    </a:lnTo>
                    <a:close/>
                    <a:moveTo>
                      <a:pt x="1205" y="1065"/>
                    </a:moveTo>
                    <a:lnTo>
                      <a:pt x="1208" y="1065"/>
                    </a:lnTo>
                    <a:lnTo>
                      <a:pt x="1208" y="1066"/>
                    </a:lnTo>
                    <a:lnTo>
                      <a:pt x="1205" y="1066"/>
                    </a:lnTo>
                    <a:lnTo>
                      <a:pt x="1205" y="1065"/>
                    </a:lnTo>
                    <a:close/>
                    <a:moveTo>
                      <a:pt x="1198" y="1068"/>
                    </a:moveTo>
                    <a:lnTo>
                      <a:pt x="1202" y="1068"/>
                    </a:lnTo>
                    <a:lnTo>
                      <a:pt x="1202" y="1071"/>
                    </a:lnTo>
                    <a:lnTo>
                      <a:pt x="1198" y="1071"/>
                    </a:lnTo>
                    <a:lnTo>
                      <a:pt x="1198" y="1068"/>
                    </a:lnTo>
                    <a:close/>
                    <a:moveTo>
                      <a:pt x="1210" y="1022"/>
                    </a:moveTo>
                    <a:lnTo>
                      <a:pt x="1210" y="1024"/>
                    </a:lnTo>
                    <a:lnTo>
                      <a:pt x="1210" y="1022"/>
                    </a:lnTo>
                    <a:lnTo>
                      <a:pt x="1208" y="1022"/>
                    </a:lnTo>
                    <a:lnTo>
                      <a:pt x="1208" y="1020"/>
                    </a:lnTo>
                    <a:lnTo>
                      <a:pt x="1208" y="1019"/>
                    </a:lnTo>
                    <a:lnTo>
                      <a:pt x="1210" y="1019"/>
                    </a:lnTo>
                    <a:lnTo>
                      <a:pt x="1210" y="1020"/>
                    </a:lnTo>
                    <a:lnTo>
                      <a:pt x="1210" y="1022"/>
                    </a:lnTo>
                    <a:close/>
                    <a:moveTo>
                      <a:pt x="1178" y="1383"/>
                    </a:moveTo>
                    <a:lnTo>
                      <a:pt x="1181" y="1383"/>
                    </a:lnTo>
                    <a:lnTo>
                      <a:pt x="1181" y="1386"/>
                    </a:lnTo>
                    <a:lnTo>
                      <a:pt x="1178" y="1386"/>
                    </a:lnTo>
                    <a:lnTo>
                      <a:pt x="1178" y="1383"/>
                    </a:lnTo>
                    <a:close/>
                    <a:moveTo>
                      <a:pt x="1205" y="1104"/>
                    </a:moveTo>
                    <a:lnTo>
                      <a:pt x="1208" y="1104"/>
                    </a:lnTo>
                    <a:lnTo>
                      <a:pt x="1208" y="1107"/>
                    </a:lnTo>
                    <a:lnTo>
                      <a:pt x="1205" y="1107"/>
                    </a:lnTo>
                    <a:lnTo>
                      <a:pt x="1205" y="1104"/>
                    </a:lnTo>
                    <a:close/>
                    <a:moveTo>
                      <a:pt x="1205" y="1053"/>
                    </a:moveTo>
                    <a:lnTo>
                      <a:pt x="1203" y="1054"/>
                    </a:lnTo>
                    <a:lnTo>
                      <a:pt x="1202" y="1054"/>
                    </a:lnTo>
                    <a:lnTo>
                      <a:pt x="1202" y="1053"/>
                    </a:lnTo>
                    <a:lnTo>
                      <a:pt x="1203" y="1053"/>
                    </a:lnTo>
                    <a:lnTo>
                      <a:pt x="1205" y="1053"/>
                    </a:lnTo>
                    <a:close/>
                    <a:moveTo>
                      <a:pt x="1191" y="1396"/>
                    </a:moveTo>
                    <a:lnTo>
                      <a:pt x="1193" y="1396"/>
                    </a:lnTo>
                    <a:lnTo>
                      <a:pt x="1193" y="1400"/>
                    </a:lnTo>
                    <a:lnTo>
                      <a:pt x="1191" y="1400"/>
                    </a:lnTo>
                    <a:lnTo>
                      <a:pt x="1191" y="1396"/>
                    </a:lnTo>
                    <a:close/>
                    <a:moveTo>
                      <a:pt x="1224" y="1556"/>
                    </a:moveTo>
                    <a:lnTo>
                      <a:pt x="1224" y="1558"/>
                    </a:lnTo>
                    <a:lnTo>
                      <a:pt x="1224" y="1556"/>
                    </a:lnTo>
                    <a:lnTo>
                      <a:pt x="1224" y="1558"/>
                    </a:lnTo>
                    <a:lnTo>
                      <a:pt x="1222" y="1558"/>
                    </a:lnTo>
                    <a:lnTo>
                      <a:pt x="1220" y="1558"/>
                    </a:lnTo>
                    <a:lnTo>
                      <a:pt x="1222" y="1558"/>
                    </a:lnTo>
                    <a:lnTo>
                      <a:pt x="1224" y="1556"/>
                    </a:lnTo>
                    <a:lnTo>
                      <a:pt x="1222" y="1558"/>
                    </a:lnTo>
                    <a:lnTo>
                      <a:pt x="1220" y="1558"/>
                    </a:lnTo>
                    <a:lnTo>
                      <a:pt x="1222" y="1556"/>
                    </a:lnTo>
                    <a:lnTo>
                      <a:pt x="1224" y="1556"/>
                    </a:lnTo>
                    <a:close/>
                    <a:moveTo>
                      <a:pt x="1356" y="1663"/>
                    </a:moveTo>
                    <a:lnTo>
                      <a:pt x="1358" y="1663"/>
                    </a:lnTo>
                    <a:lnTo>
                      <a:pt x="1356" y="1665"/>
                    </a:lnTo>
                    <a:lnTo>
                      <a:pt x="1355" y="1665"/>
                    </a:lnTo>
                    <a:lnTo>
                      <a:pt x="1356" y="1667"/>
                    </a:lnTo>
                    <a:lnTo>
                      <a:pt x="1355" y="1665"/>
                    </a:lnTo>
                    <a:lnTo>
                      <a:pt x="1355" y="1663"/>
                    </a:lnTo>
                    <a:lnTo>
                      <a:pt x="1356" y="1663"/>
                    </a:lnTo>
                    <a:close/>
                    <a:moveTo>
                      <a:pt x="1183" y="1464"/>
                    </a:moveTo>
                    <a:lnTo>
                      <a:pt x="1186" y="1464"/>
                    </a:lnTo>
                    <a:lnTo>
                      <a:pt x="1186" y="1468"/>
                    </a:lnTo>
                    <a:lnTo>
                      <a:pt x="1183" y="1468"/>
                    </a:lnTo>
                    <a:lnTo>
                      <a:pt x="1183" y="1464"/>
                    </a:lnTo>
                    <a:close/>
                    <a:moveTo>
                      <a:pt x="1268" y="1614"/>
                    </a:moveTo>
                    <a:lnTo>
                      <a:pt x="1271" y="1614"/>
                    </a:lnTo>
                    <a:lnTo>
                      <a:pt x="1271" y="1619"/>
                    </a:lnTo>
                    <a:lnTo>
                      <a:pt x="1268" y="1619"/>
                    </a:lnTo>
                    <a:lnTo>
                      <a:pt x="1268" y="1614"/>
                    </a:lnTo>
                    <a:close/>
                    <a:moveTo>
                      <a:pt x="1202" y="1544"/>
                    </a:moveTo>
                    <a:lnTo>
                      <a:pt x="1203" y="1544"/>
                    </a:lnTo>
                    <a:lnTo>
                      <a:pt x="1203" y="1546"/>
                    </a:lnTo>
                    <a:lnTo>
                      <a:pt x="1202" y="1546"/>
                    </a:lnTo>
                    <a:lnTo>
                      <a:pt x="1202" y="1544"/>
                    </a:lnTo>
                    <a:close/>
                    <a:moveTo>
                      <a:pt x="1176" y="1487"/>
                    </a:moveTo>
                    <a:lnTo>
                      <a:pt x="1179" y="1487"/>
                    </a:lnTo>
                    <a:lnTo>
                      <a:pt x="1179" y="1488"/>
                    </a:lnTo>
                    <a:lnTo>
                      <a:pt x="1176" y="1488"/>
                    </a:lnTo>
                    <a:lnTo>
                      <a:pt x="1176" y="1487"/>
                    </a:lnTo>
                    <a:close/>
                    <a:moveTo>
                      <a:pt x="1181" y="1328"/>
                    </a:moveTo>
                    <a:lnTo>
                      <a:pt x="1183" y="1328"/>
                    </a:lnTo>
                    <a:lnTo>
                      <a:pt x="1183" y="1333"/>
                    </a:lnTo>
                    <a:lnTo>
                      <a:pt x="1181" y="1333"/>
                    </a:lnTo>
                    <a:lnTo>
                      <a:pt x="1181" y="1328"/>
                    </a:lnTo>
                    <a:close/>
                    <a:moveTo>
                      <a:pt x="1200" y="1080"/>
                    </a:moveTo>
                    <a:lnTo>
                      <a:pt x="1202" y="1080"/>
                    </a:lnTo>
                    <a:lnTo>
                      <a:pt x="1202" y="1082"/>
                    </a:lnTo>
                    <a:lnTo>
                      <a:pt x="1200" y="1082"/>
                    </a:lnTo>
                    <a:lnTo>
                      <a:pt x="1200" y="1080"/>
                    </a:lnTo>
                    <a:close/>
                    <a:moveTo>
                      <a:pt x="1171" y="1252"/>
                    </a:moveTo>
                    <a:lnTo>
                      <a:pt x="1173" y="1252"/>
                    </a:lnTo>
                    <a:lnTo>
                      <a:pt x="1173" y="1257"/>
                    </a:lnTo>
                    <a:lnTo>
                      <a:pt x="1171" y="1257"/>
                    </a:lnTo>
                    <a:lnTo>
                      <a:pt x="1171" y="1252"/>
                    </a:lnTo>
                    <a:close/>
                    <a:moveTo>
                      <a:pt x="1217" y="1082"/>
                    </a:moveTo>
                    <a:lnTo>
                      <a:pt x="1220" y="1082"/>
                    </a:lnTo>
                    <a:lnTo>
                      <a:pt x="1220" y="1085"/>
                    </a:lnTo>
                    <a:lnTo>
                      <a:pt x="1217" y="1085"/>
                    </a:lnTo>
                    <a:lnTo>
                      <a:pt x="1217" y="1082"/>
                    </a:lnTo>
                    <a:close/>
                    <a:moveTo>
                      <a:pt x="1162" y="1407"/>
                    </a:moveTo>
                    <a:lnTo>
                      <a:pt x="1164" y="1407"/>
                    </a:lnTo>
                    <a:lnTo>
                      <a:pt x="1162" y="1408"/>
                    </a:lnTo>
                    <a:lnTo>
                      <a:pt x="1161" y="1408"/>
                    </a:lnTo>
                    <a:lnTo>
                      <a:pt x="1161" y="1407"/>
                    </a:lnTo>
                    <a:lnTo>
                      <a:pt x="1162" y="1407"/>
                    </a:lnTo>
                    <a:close/>
                    <a:moveTo>
                      <a:pt x="1149" y="1373"/>
                    </a:moveTo>
                    <a:lnTo>
                      <a:pt x="1152" y="1373"/>
                    </a:lnTo>
                    <a:lnTo>
                      <a:pt x="1152" y="1376"/>
                    </a:lnTo>
                    <a:lnTo>
                      <a:pt x="1149" y="1376"/>
                    </a:lnTo>
                    <a:lnTo>
                      <a:pt x="1149" y="1373"/>
                    </a:lnTo>
                    <a:close/>
                    <a:moveTo>
                      <a:pt x="1217" y="985"/>
                    </a:moveTo>
                    <a:lnTo>
                      <a:pt x="1220" y="985"/>
                    </a:lnTo>
                    <a:lnTo>
                      <a:pt x="1220" y="986"/>
                    </a:lnTo>
                    <a:lnTo>
                      <a:pt x="1217" y="986"/>
                    </a:lnTo>
                    <a:lnTo>
                      <a:pt x="1217" y="985"/>
                    </a:lnTo>
                    <a:close/>
                    <a:moveTo>
                      <a:pt x="1161" y="1356"/>
                    </a:moveTo>
                    <a:lnTo>
                      <a:pt x="1162" y="1356"/>
                    </a:lnTo>
                    <a:lnTo>
                      <a:pt x="1162" y="1361"/>
                    </a:lnTo>
                    <a:lnTo>
                      <a:pt x="1161" y="1361"/>
                    </a:lnTo>
                    <a:lnTo>
                      <a:pt x="1161" y="1356"/>
                    </a:lnTo>
                    <a:close/>
                    <a:moveTo>
                      <a:pt x="1154" y="1364"/>
                    </a:moveTo>
                    <a:lnTo>
                      <a:pt x="1157" y="1364"/>
                    </a:lnTo>
                    <a:lnTo>
                      <a:pt x="1157" y="1367"/>
                    </a:lnTo>
                    <a:lnTo>
                      <a:pt x="1154" y="1367"/>
                    </a:lnTo>
                    <a:lnTo>
                      <a:pt x="1154" y="1364"/>
                    </a:lnTo>
                    <a:close/>
                    <a:moveTo>
                      <a:pt x="1365" y="1650"/>
                    </a:moveTo>
                    <a:lnTo>
                      <a:pt x="1366" y="1650"/>
                    </a:lnTo>
                    <a:lnTo>
                      <a:pt x="1366" y="1653"/>
                    </a:lnTo>
                    <a:lnTo>
                      <a:pt x="1365" y="1653"/>
                    </a:lnTo>
                    <a:lnTo>
                      <a:pt x="1365" y="1650"/>
                    </a:lnTo>
                    <a:close/>
                    <a:moveTo>
                      <a:pt x="1246" y="1590"/>
                    </a:moveTo>
                    <a:lnTo>
                      <a:pt x="1246" y="1589"/>
                    </a:lnTo>
                    <a:lnTo>
                      <a:pt x="1247" y="1590"/>
                    </a:lnTo>
                    <a:lnTo>
                      <a:pt x="1249" y="1592"/>
                    </a:lnTo>
                    <a:lnTo>
                      <a:pt x="1247" y="1592"/>
                    </a:lnTo>
                    <a:lnTo>
                      <a:pt x="1247" y="1590"/>
                    </a:lnTo>
                    <a:lnTo>
                      <a:pt x="1246" y="1590"/>
                    </a:lnTo>
                    <a:lnTo>
                      <a:pt x="1244" y="1590"/>
                    </a:lnTo>
                    <a:lnTo>
                      <a:pt x="1246" y="1590"/>
                    </a:lnTo>
                    <a:lnTo>
                      <a:pt x="1246" y="1589"/>
                    </a:lnTo>
                    <a:lnTo>
                      <a:pt x="1246" y="1590"/>
                    </a:lnTo>
                    <a:close/>
                    <a:moveTo>
                      <a:pt x="1202" y="1090"/>
                    </a:moveTo>
                    <a:lnTo>
                      <a:pt x="1203" y="1092"/>
                    </a:lnTo>
                    <a:lnTo>
                      <a:pt x="1202" y="1092"/>
                    </a:lnTo>
                    <a:lnTo>
                      <a:pt x="1200" y="1092"/>
                    </a:lnTo>
                    <a:lnTo>
                      <a:pt x="1198" y="1092"/>
                    </a:lnTo>
                    <a:lnTo>
                      <a:pt x="1200" y="1092"/>
                    </a:lnTo>
                    <a:lnTo>
                      <a:pt x="1200" y="1090"/>
                    </a:lnTo>
                    <a:lnTo>
                      <a:pt x="1202" y="1090"/>
                    </a:lnTo>
                    <a:close/>
                    <a:moveTo>
                      <a:pt x="1185" y="1524"/>
                    </a:moveTo>
                    <a:lnTo>
                      <a:pt x="1186" y="1524"/>
                    </a:lnTo>
                    <a:lnTo>
                      <a:pt x="1186" y="1527"/>
                    </a:lnTo>
                    <a:lnTo>
                      <a:pt x="1185" y="1527"/>
                    </a:lnTo>
                    <a:lnTo>
                      <a:pt x="1185" y="1524"/>
                    </a:lnTo>
                    <a:close/>
                    <a:moveTo>
                      <a:pt x="1210" y="1058"/>
                    </a:moveTo>
                    <a:lnTo>
                      <a:pt x="1212" y="1058"/>
                    </a:lnTo>
                    <a:lnTo>
                      <a:pt x="1212" y="1061"/>
                    </a:lnTo>
                    <a:lnTo>
                      <a:pt x="1210" y="1061"/>
                    </a:lnTo>
                    <a:lnTo>
                      <a:pt x="1210" y="1058"/>
                    </a:lnTo>
                    <a:close/>
                    <a:moveTo>
                      <a:pt x="1246" y="964"/>
                    </a:moveTo>
                    <a:lnTo>
                      <a:pt x="1247" y="964"/>
                    </a:lnTo>
                    <a:lnTo>
                      <a:pt x="1247" y="968"/>
                    </a:lnTo>
                    <a:lnTo>
                      <a:pt x="1246" y="968"/>
                    </a:lnTo>
                    <a:lnTo>
                      <a:pt x="1246" y="964"/>
                    </a:lnTo>
                    <a:close/>
                    <a:moveTo>
                      <a:pt x="1186" y="1027"/>
                    </a:moveTo>
                    <a:lnTo>
                      <a:pt x="1188" y="1027"/>
                    </a:lnTo>
                    <a:lnTo>
                      <a:pt x="1188" y="1031"/>
                    </a:lnTo>
                    <a:lnTo>
                      <a:pt x="1186" y="1031"/>
                    </a:lnTo>
                    <a:lnTo>
                      <a:pt x="1186" y="1027"/>
                    </a:lnTo>
                    <a:close/>
                    <a:moveTo>
                      <a:pt x="1144" y="1322"/>
                    </a:moveTo>
                    <a:lnTo>
                      <a:pt x="1147" y="1322"/>
                    </a:lnTo>
                    <a:lnTo>
                      <a:pt x="1147" y="1325"/>
                    </a:lnTo>
                    <a:lnTo>
                      <a:pt x="1144" y="1325"/>
                    </a:lnTo>
                    <a:lnTo>
                      <a:pt x="1144" y="1322"/>
                    </a:lnTo>
                    <a:close/>
                    <a:moveTo>
                      <a:pt x="1202" y="1536"/>
                    </a:moveTo>
                    <a:lnTo>
                      <a:pt x="1202" y="1538"/>
                    </a:lnTo>
                    <a:lnTo>
                      <a:pt x="1202" y="1536"/>
                    </a:lnTo>
                    <a:lnTo>
                      <a:pt x="1203" y="1538"/>
                    </a:lnTo>
                    <a:lnTo>
                      <a:pt x="1202" y="1538"/>
                    </a:lnTo>
                    <a:lnTo>
                      <a:pt x="1200" y="1536"/>
                    </a:lnTo>
                    <a:lnTo>
                      <a:pt x="1202" y="1536"/>
                    </a:lnTo>
                    <a:close/>
                    <a:moveTo>
                      <a:pt x="1368" y="1663"/>
                    </a:moveTo>
                    <a:lnTo>
                      <a:pt x="1372" y="1663"/>
                    </a:lnTo>
                    <a:lnTo>
                      <a:pt x="1372" y="1665"/>
                    </a:lnTo>
                    <a:lnTo>
                      <a:pt x="1368" y="1665"/>
                    </a:lnTo>
                    <a:lnTo>
                      <a:pt x="1368" y="1663"/>
                    </a:lnTo>
                    <a:close/>
                    <a:moveTo>
                      <a:pt x="1307" y="1640"/>
                    </a:moveTo>
                    <a:lnTo>
                      <a:pt x="1310" y="1640"/>
                    </a:lnTo>
                    <a:lnTo>
                      <a:pt x="1310" y="1643"/>
                    </a:lnTo>
                    <a:lnTo>
                      <a:pt x="1307" y="1643"/>
                    </a:lnTo>
                    <a:lnTo>
                      <a:pt x="1307" y="1640"/>
                    </a:lnTo>
                    <a:close/>
                    <a:moveTo>
                      <a:pt x="1188" y="1058"/>
                    </a:moveTo>
                    <a:lnTo>
                      <a:pt x="1190" y="1058"/>
                    </a:lnTo>
                    <a:lnTo>
                      <a:pt x="1191" y="1058"/>
                    </a:lnTo>
                    <a:lnTo>
                      <a:pt x="1190" y="1060"/>
                    </a:lnTo>
                    <a:lnTo>
                      <a:pt x="1188" y="1060"/>
                    </a:lnTo>
                    <a:lnTo>
                      <a:pt x="1186" y="1058"/>
                    </a:lnTo>
                    <a:lnTo>
                      <a:pt x="1188" y="1058"/>
                    </a:lnTo>
                    <a:close/>
                    <a:moveTo>
                      <a:pt x="1178" y="1485"/>
                    </a:moveTo>
                    <a:lnTo>
                      <a:pt x="1181" y="1485"/>
                    </a:lnTo>
                    <a:lnTo>
                      <a:pt x="1181" y="1487"/>
                    </a:lnTo>
                    <a:lnTo>
                      <a:pt x="1178" y="1487"/>
                    </a:lnTo>
                    <a:lnTo>
                      <a:pt x="1178" y="1485"/>
                    </a:lnTo>
                    <a:close/>
                    <a:moveTo>
                      <a:pt x="1210" y="1551"/>
                    </a:moveTo>
                    <a:lnTo>
                      <a:pt x="1213" y="1551"/>
                    </a:lnTo>
                    <a:lnTo>
                      <a:pt x="1213" y="1555"/>
                    </a:lnTo>
                    <a:lnTo>
                      <a:pt x="1210" y="1555"/>
                    </a:lnTo>
                    <a:lnTo>
                      <a:pt x="1210" y="1551"/>
                    </a:lnTo>
                    <a:close/>
                    <a:moveTo>
                      <a:pt x="1360" y="1667"/>
                    </a:moveTo>
                    <a:lnTo>
                      <a:pt x="1361" y="1667"/>
                    </a:lnTo>
                    <a:lnTo>
                      <a:pt x="1361" y="1670"/>
                    </a:lnTo>
                    <a:lnTo>
                      <a:pt x="1360" y="1670"/>
                    </a:lnTo>
                    <a:lnTo>
                      <a:pt x="1360" y="1667"/>
                    </a:lnTo>
                    <a:close/>
                    <a:moveTo>
                      <a:pt x="1210" y="1242"/>
                    </a:moveTo>
                    <a:lnTo>
                      <a:pt x="1213" y="1242"/>
                    </a:lnTo>
                    <a:lnTo>
                      <a:pt x="1213" y="1245"/>
                    </a:lnTo>
                    <a:lnTo>
                      <a:pt x="1210" y="1245"/>
                    </a:lnTo>
                    <a:lnTo>
                      <a:pt x="1210" y="1242"/>
                    </a:lnTo>
                    <a:close/>
                    <a:moveTo>
                      <a:pt x="1200" y="1541"/>
                    </a:moveTo>
                    <a:lnTo>
                      <a:pt x="1203" y="1541"/>
                    </a:lnTo>
                    <a:lnTo>
                      <a:pt x="1203" y="1543"/>
                    </a:lnTo>
                    <a:lnTo>
                      <a:pt x="1200" y="1543"/>
                    </a:lnTo>
                    <a:lnTo>
                      <a:pt x="1200" y="1541"/>
                    </a:lnTo>
                    <a:close/>
                    <a:moveTo>
                      <a:pt x="1151" y="1330"/>
                    </a:moveTo>
                    <a:lnTo>
                      <a:pt x="1154" y="1330"/>
                    </a:lnTo>
                    <a:lnTo>
                      <a:pt x="1154" y="1333"/>
                    </a:lnTo>
                    <a:lnTo>
                      <a:pt x="1151" y="1333"/>
                    </a:lnTo>
                    <a:lnTo>
                      <a:pt x="1151" y="1330"/>
                    </a:lnTo>
                    <a:close/>
                    <a:moveTo>
                      <a:pt x="1205" y="1080"/>
                    </a:moveTo>
                    <a:lnTo>
                      <a:pt x="1207" y="1080"/>
                    </a:lnTo>
                    <a:lnTo>
                      <a:pt x="1207" y="1082"/>
                    </a:lnTo>
                    <a:lnTo>
                      <a:pt x="1205" y="1082"/>
                    </a:lnTo>
                    <a:lnTo>
                      <a:pt x="1205" y="1080"/>
                    </a:lnTo>
                    <a:close/>
                    <a:moveTo>
                      <a:pt x="1225" y="1580"/>
                    </a:moveTo>
                    <a:lnTo>
                      <a:pt x="1227" y="1580"/>
                    </a:lnTo>
                    <a:lnTo>
                      <a:pt x="1227" y="1583"/>
                    </a:lnTo>
                    <a:lnTo>
                      <a:pt x="1225" y="1583"/>
                    </a:lnTo>
                    <a:lnTo>
                      <a:pt x="1225" y="1580"/>
                    </a:lnTo>
                    <a:close/>
                    <a:moveTo>
                      <a:pt x="1195" y="1146"/>
                    </a:moveTo>
                    <a:lnTo>
                      <a:pt x="1195" y="1148"/>
                    </a:lnTo>
                    <a:lnTo>
                      <a:pt x="1193" y="1148"/>
                    </a:lnTo>
                    <a:lnTo>
                      <a:pt x="1191" y="1146"/>
                    </a:lnTo>
                    <a:lnTo>
                      <a:pt x="1193" y="1146"/>
                    </a:lnTo>
                    <a:lnTo>
                      <a:pt x="1195" y="1146"/>
                    </a:lnTo>
                    <a:close/>
                    <a:moveTo>
                      <a:pt x="1290" y="1616"/>
                    </a:moveTo>
                    <a:lnTo>
                      <a:pt x="1288" y="1618"/>
                    </a:lnTo>
                    <a:lnTo>
                      <a:pt x="1287" y="1616"/>
                    </a:lnTo>
                    <a:lnTo>
                      <a:pt x="1288" y="1616"/>
                    </a:lnTo>
                    <a:lnTo>
                      <a:pt x="1290" y="1616"/>
                    </a:lnTo>
                    <a:lnTo>
                      <a:pt x="1288" y="1616"/>
                    </a:lnTo>
                    <a:lnTo>
                      <a:pt x="1290" y="1616"/>
                    </a:lnTo>
                    <a:close/>
                    <a:moveTo>
                      <a:pt x="1171" y="1366"/>
                    </a:moveTo>
                    <a:lnTo>
                      <a:pt x="1174" y="1366"/>
                    </a:lnTo>
                    <a:lnTo>
                      <a:pt x="1174" y="1369"/>
                    </a:lnTo>
                    <a:lnTo>
                      <a:pt x="1171" y="1369"/>
                    </a:lnTo>
                    <a:lnTo>
                      <a:pt x="1171" y="1366"/>
                    </a:lnTo>
                    <a:close/>
                    <a:moveTo>
                      <a:pt x="1176" y="1447"/>
                    </a:moveTo>
                    <a:lnTo>
                      <a:pt x="1178" y="1447"/>
                    </a:lnTo>
                    <a:lnTo>
                      <a:pt x="1178" y="1451"/>
                    </a:lnTo>
                    <a:lnTo>
                      <a:pt x="1176" y="1451"/>
                    </a:lnTo>
                    <a:lnTo>
                      <a:pt x="1176" y="1447"/>
                    </a:lnTo>
                    <a:close/>
                    <a:moveTo>
                      <a:pt x="1198" y="1157"/>
                    </a:moveTo>
                    <a:lnTo>
                      <a:pt x="1200" y="1157"/>
                    </a:lnTo>
                    <a:lnTo>
                      <a:pt x="1200" y="1158"/>
                    </a:lnTo>
                    <a:lnTo>
                      <a:pt x="1198" y="1158"/>
                    </a:lnTo>
                    <a:lnTo>
                      <a:pt x="1198" y="1157"/>
                    </a:lnTo>
                    <a:close/>
                    <a:moveTo>
                      <a:pt x="1312" y="1633"/>
                    </a:moveTo>
                    <a:lnTo>
                      <a:pt x="1314" y="1633"/>
                    </a:lnTo>
                    <a:lnTo>
                      <a:pt x="1314" y="1635"/>
                    </a:lnTo>
                    <a:lnTo>
                      <a:pt x="1314" y="1633"/>
                    </a:lnTo>
                    <a:lnTo>
                      <a:pt x="1312" y="1633"/>
                    </a:lnTo>
                    <a:lnTo>
                      <a:pt x="1314" y="1635"/>
                    </a:lnTo>
                    <a:lnTo>
                      <a:pt x="1312" y="1635"/>
                    </a:lnTo>
                    <a:lnTo>
                      <a:pt x="1310" y="1635"/>
                    </a:lnTo>
                    <a:lnTo>
                      <a:pt x="1310" y="1633"/>
                    </a:lnTo>
                    <a:lnTo>
                      <a:pt x="1312" y="1633"/>
                    </a:lnTo>
                    <a:close/>
                    <a:moveTo>
                      <a:pt x="1186" y="1279"/>
                    </a:moveTo>
                    <a:lnTo>
                      <a:pt x="1185" y="1279"/>
                    </a:lnTo>
                    <a:lnTo>
                      <a:pt x="1185" y="1281"/>
                    </a:lnTo>
                    <a:lnTo>
                      <a:pt x="1183" y="1281"/>
                    </a:lnTo>
                    <a:lnTo>
                      <a:pt x="1183" y="1279"/>
                    </a:lnTo>
                    <a:lnTo>
                      <a:pt x="1185" y="1279"/>
                    </a:lnTo>
                    <a:lnTo>
                      <a:pt x="1183" y="1279"/>
                    </a:lnTo>
                    <a:lnTo>
                      <a:pt x="1185" y="1279"/>
                    </a:lnTo>
                    <a:lnTo>
                      <a:pt x="1186" y="1277"/>
                    </a:lnTo>
                    <a:lnTo>
                      <a:pt x="1188" y="1277"/>
                    </a:lnTo>
                    <a:lnTo>
                      <a:pt x="1186" y="1279"/>
                    </a:lnTo>
                    <a:close/>
                    <a:moveTo>
                      <a:pt x="1156" y="1185"/>
                    </a:moveTo>
                    <a:lnTo>
                      <a:pt x="1157" y="1185"/>
                    </a:lnTo>
                    <a:lnTo>
                      <a:pt x="1157" y="1189"/>
                    </a:lnTo>
                    <a:lnTo>
                      <a:pt x="1156" y="1189"/>
                    </a:lnTo>
                    <a:lnTo>
                      <a:pt x="1156" y="1185"/>
                    </a:lnTo>
                    <a:close/>
                    <a:moveTo>
                      <a:pt x="1183" y="1476"/>
                    </a:moveTo>
                    <a:lnTo>
                      <a:pt x="1186" y="1476"/>
                    </a:lnTo>
                    <a:lnTo>
                      <a:pt x="1186" y="1478"/>
                    </a:lnTo>
                    <a:lnTo>
                      <a:pt x="1183" y="1478"/>
                    </a:lnTo>
                    <a:lnTo>
                      <a:pt x="1183" y="1476"/>
                    </a:lnTo>
                    <a:close/>
                    <a:moveTo>
                      <a:pt x="1217" y="1500"/>
                    </a:moveTo>
                    <a:lnTo>
                      <a:pt x="1219" y="1500"/>
                    </a:lnTo>
                    <a:lnTo>
                      <a:pt x="1219" y="1504"/>
                    </a:lnTo>
                    <a:lnTo>
                      <a:pt x="1217" y="1504"/>
                    </a:lnTo>
                    <a:lnTo>
                      <a:pt x="1217" y="1500"/>
                    </a:lnTo>
                    <a:close/>
                    <a:moveTo>
                      <a:pt x="1213" y="1556"/>
                    </a:moveTo>
                    <a:lnTo>
                      <a:pt x="1215" y="1556"/>
                    </a:lnTo>
                    <a:lnTo>
                      <a:pt x="1215" y="1558"/>
                    </a:lnTo>
                    <a:lnTo>
                      <a:pt x="1213" y="1558"/>
                    </a:lnTo>
                    <a:lnTo>
                      <a:pt x="1213" y="1556"/>
                    </a:lnTo>
                    <a:close/>
                    <a:moveTo>
                      <a:pt x="1315" y="1633"/>
                    </a:moveTo>
                    <a:lnTo>
                      <a:pt x="1319" y="1633"/>
                    </a:lnTo>
                    <a:lnTo>
                      <a:pt x="1319" y="1636"/>
                    </a:lnTo>
                    <a:lnTo>
                      <a:pt x="1315" y="1636"/>
                    </a:lnTo>
                    <a:lnTo>
                      <a:pt x="1315" y="1633"/>
                    </a:lnTo>
                    <a:close/>
                    <a:moveTo>
                      <a:pt x="1229" y="1585"/>
                    </a:moveTo>
                    <a:lnTo>
                      <a:pt x="1232" y="1585"/>
                    </a:lnTo>
                    <a:lnTo>
                      <a:pt x="1232" y="1587"/>
                    </a:lnTo>
                    <a:lnTo>
                      <a:pt x="1229" y="1587"/>
                    </a:lnTo>
                    <a:lnTo>
                      <a:pt x="1229" y="1585"/>
                    </a:lnTo>
                    <a:close/>
                    <a:moveTo>
                      <a:pt x="1378" y="1662"/>
                    </a:moveTo>
                    <a:lnTo>
                      <a:pt x="1382" y="1662"/>
                    </a:lnTo>
                    <a:lnTo>
                      <a:pt x="1382" y="1667"/>
                    </a:lnTo>
                    <a:lnTo>
                      <a:pt x="1378" y="1667"/>
                    </a:lnTo>
                    <a:lnTo>
                      <a:pt x="1378" y="1662"/>
                    </a:lnTo>
                    <a:close/>
                    <a:moveTo>
                      <a:pt x="1227" y="992"/>
                    </a:moveTo>
                    <a:lnTo>
                      <a:pt x="1230" y="992"/>
                    </a:lnTo>
                    <a:lnTo>
                      <a:pt x="1230" y="995"/>
                    </a:lnTo>
                    <a:lnTo>
                      <a:pt x="1227" y="995"/>
                    </a:lnTo>
                    <a:lnTo>
                      <a:pt x="1227" y="992"/>
                    </a:lnTo>
                    <a:close/>
                    <a:moveTo>
                      <a:pt x="1166" y="1432"/>
                    </a:moveTo>
                    <a:lnTo>
                      <a:pt x="1168" y="1432"/>
                    </a:lnTo>
                    <a:lnTo>
                      <a:pt x="1168" y="1435"/>
                    </a:lnTo>
                    <a:lnTo>
                      <a:pt x="1166" y="1435"/>
                    </a:lnTo>
                    <a:lnTo>
                      <a:pt x="1166" y="1432"/>
                    </a:lnTo>
                    <a:close/>
                    <a:moveTo>
                      <a:pt x="1241" y="1587"/>
                    </a:moveTo>
                    <a:lnTo>
                      <a:pt x="1242" y="1587"/>
                    </a:lnTo>
                    <a:lnTo>
                      <a:pt x="1242" y="1590"/>
                    </a:lnTo>
                    <a:lnTo>
                      <a:pt x="1241" y="1590"/>
                    </a:lnTo>
                    <a:lnTo>
                      <a:pt x="1241" y="1587"/>
                    </a:lnTo>
                    <a:close/>
                    <a:moveTo>
                      <a:pt x="1179" y="1136"/>
                    </a:moveTo>
                    <a:lnTo>
                      <a:pt x="1181" y="1136"/>
                    </a:lnTo>
                    <a:lnTo>
                      <a:pt x="1181" y="1140"/>
                    </a:lnTo>
                    <a:lnTo>
                      <a:pt x="1179" y="1140"/>
                    </a:lnTo>
                    <a:lnTo>
                      <a:pt x="1179" y="1136"/>
                    </a:lnTo>
                    <a:close/>
                    <a:moveTo>
                      <a:pt x="1220" y="978"/>
                    </a:moveTo>
                    <a:lnTo>
                      <a:pt x="1222" y="978"/>
                    </a:lnTo>
                    <a:lnTo>
                      <a:pt x="1222" y="980"/>
                    </a:lnTo>
                    <a:lnTo>
                      <a:pt x="1220" y="980"/>
                    </a:lnTo>
                    <a:lnTo>
                      <a:pt x="1220" y="978"/>
                    </a:lnTo>
                    <a:close/>
                    <a:moveTo>
                      <a:pt x="1215" y="1505"/>
                    </a:moveTo>
                    <a:lnTo>
                      <a:pt x="1217" y="1505"/>
                    </a:lnTo>
                    <a:lnTo>
                      <a:pt x="1215" y="1507"/>
                    </a:lnTo>
                    <a:lnTo>
                      <a:pt x="1215" y="1505"/>
                    </a:lnTo>
                    <a:lnTo>
                      <a:pt x="1215" y="1507"/>
                    </a:lnTo>
                    <a:lnTo>
                      <a:pt x="1213" y="1505"/>
                    </a:lnTo>
                    <a:lnTo>
                      <a:pt x="1212" y="1505"/>
                    </a:lnTo>
                    <a:lnTo>
                      <a:pt x="1213" y="1505"/>
                    </a:lnTo>
                    <a:lnTo>
                      <a:pt x="1215" y="1505"/>
                    </a:lnTo>
                    <a:lnTo>
                      <a:pt x="1215" y="1507"/>
                    </a:lnTo>
                    <a:lnTo>
                      <a:pt x="1215" y="1505"/>
                    </a:lnTo>
                    <a:close/>
                    <a:moveTo>
                      <a:pt x="1389" y="1633"/>
                    </a:moveTo>
                    <a:lnTo>
                      <a:pt x="1392" y="1633"/>
                    </a:lnTo>
                    <a:lnTo>
                      <a:pt x="1392" y="1635"/>
                    </a:lnTo>
                    <a:lnTo>
                      <a:pt x="1389" y="1635"/>
                    </a:lnTo>
                    <a:lnTo>
                      <a:pt x="1389" y="1633"/>
                    </a:lnTo>
                    <a:close/>
                    <a:moveTo>
                      <a:pt x="1275" y="1597"/>
                    </a:moveTo>
                    <a:lnTo>
                      <a:pt x="1276" y="1597"/>
                    </a:lnTo>
                    <a:lnTo>
                      <a:pt x="1276" y="1600"/>
                    </a:lnTo>
                    <a:lnTo>
                      <a:pt x="1275" y="1600"/>
                    </a:lnTo>
                    <a:lnTo>
                      <a:pt x="1275" y="1597"/>
                    </a:lnTo>
                    <a:close/>
                    <a:moveTo>
                      <a:pt x="1399" y="1645"/>
                    </a:moveTo>
                    <a:lnTo>
                      <a:pt x="1402" y="1645"/>
                    </a:lnTo>
                    <a:lnTo>
                      <a:pt x="1402" y="1648"/>
                    </a:lnTo>
                    <a:lnTo>
                      <a:pt x="1399" y="1648"/>
                    </a:lnTo>
                    <a:lnTo>
                      <a:pt x="1399" y="1645"/>
                    </a:lnTo>
                    <a:close/>
                    <a:moveTo>
                      <a:pt x="1178" y="1138"/>
                    </a:moveTo>
                    <a:lnTo>
                      <a:pt x="1179" y="1138"/>
                    </a:lnTo>
                    <a:lnTo>
                      <a:pt x="1179" y="1141"/>
                    </a:lnTo>
                    <a:lnTo>
                      <a:pt x="1178" y="1141"/>
                    </a:lnTo>
                    <a:lnTo>
                      <a:pt x="1178" y="1138"/>
                    </a:lnTo>
                    <a:close/>
                    <a:moveTo>
                      <a:pt x="1229" y="944"/>
                    </a:moveTo>
                    <a:lnTo>
                      <a:pt x="1232" y="944"/>
                    </a:lnTo>
                    <a:lnTo>
                      <a:pt x="1232" y="946"/>
                    </a:lnTo>
                    <a:lnTo>
                      <a:pt x="1229" y="946"/>
                    </a:lnTo>
                    <a:lnTo>
                      <a:pt x="1229" y="944"/>
                    </a:lnTo>
                    <a:close/>
                    <a:moveTo>
                      <a:pt x="1183" y="1427"/>
                    </a:moveTo>
                    <a:lnTo>
                      <a:pt x="1186" y="1427"/>
                    </a:lnTo>
                    <a:lnTo>
                      <a:pt x="1186" y="1429"/>
                    </a:lnTo>
                    <a:lnTo>
                      <a:pt x="1183" y="1429"/>
                    </a:lnTo>
                    <a:lnTo>
                      <a:pt x="1183" y="1427"/>
                    </a:lnTo>
                    <a:close/>
                    <a:moveTo>
                      <a:pt x="1196" y="1150"/>
                    </a:moveTo>
                    <a:lnTo>
                      <a:pt x="1198" y="1150"/>
                    </a:lnTo>
                    <a:lnTo>
                      <a:pt x="1198" y="1153"/>
                    </a:lnTo>
                    <a:lnTo>
                      <a:pt x="1196" y="1153"/>
                    </a:lnTo>
                    <a:lnTo>
                      <a:pt x="1196" y="1150"/>
                    </a:lnTo>
                    <a:close/>
                    <a:moveTo>
                      <a:pt x="1169" y="1417"/>
                    </a:moveTo>
                    <a:lnTo>
                      <a:pt x="1171" y="1417"/>
                    </a:lnTo>
                    <a:lnTo>
                      <a:pt x="1171" y="1418"/>
                    </a:lnTo>
                    <a:lnTo>
                      <a:pt x="1169" y="1418"/>
                    </a:lnTo>
                    <a:lnTo>
                      <a:pt x="1169" y="1417"/>
                    </a:lnTo>
                    <a:close/>
                    <a:moveTo>
                      <a:pt x="1188" y="1066"/>
                    </a:moveTo>
                    <a:lnTo>
                      <a:pt x="1188" y="1068"/>
                    </a:lnTo>
                    <a:lnTo>
                      <a:pt x="1190" y="1068"/>
                    </a:lnTo>
                    <a:lnTo>
                      <a:pt x="1188" y="1068"/>
                    </a:lnTo>
                    <a:lnTo>
                      <a:pt x="1186" y="1066"/>
                    </a:lnTo>
                    <a:lnTo>
                      <a:pt x="1188" y="1066"/>
                    </a:lnTo>
                    <a:close/>
                    <a:moveTo>
                      <a:pt x="1171" y="1475"/>
                    </a:moveTo>
                    <a:lnTo>
                      <a:pt x="1173" y="1475"/>
                    </a:lnTo>
                    <a:lnTo>
                      <a:pt x="1173" y="1476"/>
                    </a:lnTo>
                    <a:lnTo>
                      <a:pt x="1171" y="1476"/>
                    </a:lnTo>
                    <a:lnTo>
                      <a:pt x="1171" y="1475"/>
                    </a:lnTo>
                    <a:close/>
                    <a:moveTo>
                      <a:pt x="1224" y="1071"/>
                    </a:moveTo>
                    <a:lnTo>
                      <a:pt x="1227" y="1071"/>
                    </a:lnTo>
                    <a:lnTo>
                      <a:pt x="1227" y="1073"/>
                    </a:lnTo>
                    <a:lnTo>
                      <a:pt x="1224" y="1073"/>
                    </a:lnTo>
                    <a:lnTo>
                      <a:pt x="1224" y="1071"/>
                    </a:lnTo>
                    <a:close/>
                    <a:moveTo>
                      <a:pt x="1185" y="1262"/>
                    </a:moveTo>
                    <a:lnTo>
                      <a:pt x="1188" y="1262"/>
                    </a:lnTo>
                    <a:lnTo>
                      <a:pt x="1188" y="1265"/>
                    </a:lnTo>
                    <a:lnTo>
                      <a:pt x="1185" y="1265"/>
                    </a:lnTo>
                    <a:lnTo>
                      <a:pt x="1185" y="1262"/>
                    </a:lnTo>
                    <a:close/>
                    <a:moveTo>
                      <a:pt x="1188" y="1128"/>
                    </a:moveTo>
                    <a:lnTo>
                      <a:pt x="1191" y="1128"/>
                    </a:lnTo>
                    <a:lnTo>
                      <a:pt x="1191" y="1131"/>
                    </a:lnTo>
                    <a:lnTo>
                      <a:pt x="1188" y="1131"/>
                    </a:lnTo>
                    <a:lnTo>
                      <a:pt x="1188" y="1128"/>
                    </a:lnTo>
                    <a:close/>
                    <a:moveTo>
                      <a:pt x="1202" y="1080"/>
                    </a:moveTo>
                    <a:lnTo>
                      <a:pt x="1205" y="1080"/>
                    </a:lnTo>
                    <a:lnTo>
                      <a:pt x="1205" y="1082"/>
                    </a:lnTo>
                    <a:lnTo>
                      <a:pt x="1202" y="1082"/>
                    </a:lnTo>
                    <a:lnTo>
                      <a:pt x="1202" y="1080"/>
                    </a:lnTo>
                    <a:close/>
                    <a:moveTo>
                      <a:pt x="1185" y="1141"/>
                    </a:moveTo>
                    <a:lnTo>
                      <a:pt x="1185" y="1143"/>
                    </a:lnTo>
                    <a:lnTo>
                      <a:pt x="1183" y="1143"/>
                    </a:lnTo>
                    <a:lnTo>
                      <a:pt x="1181" y="1143"/>
                    </a:lnTo>
                    <a:lnTo>
                      <a:pt x="1183" y="1143"/>
                    </a:lnTo>
                    <a:lnTo>
                      <a:pt x="1185" y="1141"/>
                    </a:lnTo>
                    <a:close/>
                    <a:moveTo>
                      <a:pt x="1276" y="1612"/>
                    </a:moveTo>
                    <a:lnTo>
                      <a:pt x="1280" y="1612"/>
                    </a:lnTo>
                    <a:lnTo>
                      <a:pt x="1280" y="1614"/>
                    </a:lnTo>
                    <a:lnTo>
                      <a:pt x="1276" y="1614"/>
                    </a:lnTo>
                    <a:lnTo>
                      <a:pt x="1276" y="1612"/>
                    </a:lnTo>
                    <a:close/>
                    <a:moveTo>
                      <a:pt x="1208" y="1502"/>
                    </a:moveTo>
                    <a:lnTo>
                      <a:pt x="1210" y="1502"/>
                    </a:lnTo>
                    <a:lnTo>
                      <a:pt x="1210" y="1505"/>
                    </a:lnTo>
                    <a:lnTo>
                      <a:pt x="1208" y="1505"/>
                    </a:lnTo>
                    <a:lnTo>
                      <a:pt x="1208" y="1502"/>
                    </a:lnTo>
                    <a:close/>
                    <a:moveTo>
                      <a:pt x="1219" y="1538"/>
                    </a:moveTo>
                    <a:lnTo>
                      <a:pt x="1222" y="1538"/>
                    </a:lnTo>
                    <a:lnTo>
                      <a:pt x="1222" y="1541"/>
                    </a:lnTo>
                    <a:lnTo>
                      <a:pt x="1219" y="1541"/>
                    </a:lnTo>
                    <a:lnTo>
                      <a:pt x="1219" y="1538"/>
                    </a:lnTo>
                    <a:close/>
                    <a:moveTo>
                      <a:pt x="1373" y="1641"/>
                    </a:moveTo>
                    <a:lnTo>
                      <a:pt x="1375" y="1641"/>
                    </a:lnTo>
                    <a:lnTo>
                      <a:pt x="1375" y="1643"/>
                    </a:lnTo>
                    <a:lnTo>
                      <a:pt x="1373" y="1643"/>
                    </a:lnTo>
                    <a:lnTo>
                      <a:pt x="1373" y="1641"/>
                    </a:lnTo>
                    <a:lnTo>
                      <a:pt x="1372" y="1641"/>
                    </a:lnTo>
                    <a:lnTo>
                      <a:pt x="1373" y="1641"/>
                    </a:lnTo>
                    <a:close/>
                    <a:moveTo>
                      <a:pt x="1198" y="1485"/>
                    </a:moveTo>
                    <a:lnTo>
                      <a:pt x="1196" y="1485"/>
                    </a:lnTo>
                    <a:lnTo>
                      <a:pt x="1195" y="1487"/>
                    </a:lnTo>
                    <a:lnTo>
                      <a:pt x="1193" y="1487"/>
                    </a:lnTo>
                    <a:lnTo>
                      <a:pt x="1195" y="1485"/>
                    </a:lnTo>
                    <a:lnTo>
                      <a:pt x="1196" y="1485"/>
                    </a:lnTo>
                    <a:lnTo>
                      <a:pt x="1198" y="1485"/>
                    </a:lnTo>
                    <a:close/>
                    <a:moveTo>
                      <a:pt x="1161" y="1243"/>
                    </a:moveTo>
                    <a:lnTo>
                      <a:pt x="1162" y="1243"/>
                    </a:lnTo>
                    <a:lnTo>
                      <a:pt x="1162" y="1247"/>
                    </a:lnTo>
                    <a:lnTo>
                      <a:pt x="1161" y="1247"/>
                    </a:lnTo>
                    <a:lnTo>
                      <a:pt x="1161" y="1243"/>
                    </a:lnTo>
                    <a:close/>
                    <a:moveTo>
                      <a:pt x="1178" y="1478"/>
                    </a:moveTo>
                    <a:lnTo>
                      <a:pt x="1179" y="1478"/>
                    </a:lnTo>
                    <a:lnTo>
                      <a:pt x="1179" y="1481"/>
                    </a:lnTo>
                    <a:lnTo>
                      <a:pt x="1178" y="1481"/>
                    </a:lnTo>
                    <a:lnTo>
                      <a:pt x="1178" y="1478"/>
                    </a:lnTo>
                    <a:close/>
                    <a:moveTo>
                      <a:pt x="1181" y="1437"/>
                    </a:moveTo>
                    <a:lnTo>
                      <a:pt x="1185" y="1437"/>
                    </a:lnTo>
                    <a:lnTo>
                      <a:pt x="1185" y="1439"/>
                    </a:lnTo>
                    <a:lnTo>
                      <a:pt x="1181" y="1439"/>
                    </a:lnTo>
                    <a:lnTo>
                      <a:pt x="1181" y="1437"/>
                    </a:lnTo>
                    <a:close/>
                    <a:moveTo>
                      <a:pt x="1168" y="1432"/>
                    </a:moveTo>
                    <a:lnTo>
                      <a:pt x="1171" y="1432"/>
                    </a:lnTo>
                    <a:lnTo>
                      <a:pt x="1171" y="1434"/>
                    </a:lnTo>
                    <a:lnTo>
                      <a:pt x="1168" y="1434"/>
                    </a:lnTo>
                    <a:lnTo>
                      <a:pt x="1168" y="1432"/>
                    </a:lnTo>
                    <a:close/>
                    <a:moveTo>
                      <a:pt x="1219" y="983"/>
                    </a:moveTo>
                    <a:lnTo>
                      <a:pt x="1220" y="983"/>
                    </a:lnTo>
                    <a:lnTo>
                      <a:pt x="1220" y="985"/>
                    </a:lnTo>
                    <a:lnTo>
                      <a:pt x="1219" y="985"/>
                    </a:lnTo>
                    <a:lnTo>
                      <a:pt x="1219" y="983"/>
                    </a:lnTo>
                    <a:close/>
                    <a:moveTo>
                      <a:pt x="1249" y="1599"/>
                    </a:moveTo>
                    <a:lnTo>
                      <a:pt x="1251" y="1599"/>
                    </a:lnTo>
                    <a:lnTo>
                      <a:pt x="1251" y="1600"/>
                    </a:lnTo>
                    <a:lnTo>
                      <a:pt x="1249" y="1600"/>
                    </a:lnTo>
                    <a:lnTo>
                      <a:pt x="1249" y="1599"/>
                    </a:lnTo>
                    <a:close/>
                    <a:moveTo>
                      <a:pt x="1179" y="1134"/>
                    </a:moveTo>
                    <a:lnTo>
                      <a:pt x="1179" y="1138"/>
                    </a:lnTo>
                    <a:lnTo>
                      <a:pt x="1179" y="1134"/>
                    </a:lnTo>
                    <a:close/>
                    <a:moveTo>
                      <a:pt x="1174" y="1367"/>
                    </a:moveTo>
                    <a:lnTo>
                      <a:pt x="1178" y="1367"/>
                    </a:lnTo>
                    <a:lnTo>
                      <a:pt x="1178" y="1369"/>
                    </a:lnTo>
                    <a:lnTo>
                      <a:pt x="1174" y="1369"/>
                    </a:lnTo>
                    <a:lnTo>
                      <a:pt x="1174" y="1367"/>
                    </a:lnTo>
                    <a:close/>
                    <a:moveTo>
                      <a:pt x="1188" y="1056"/>
                    </a:moveTo>
                    <a:lnTo>
                      <a:pt x="1191" y="1056"/>
                    </a:lnTo>
                    <a:lnTo>
                      <a:pt x="1191" y="1058"/>
                    </a:lnTo>
                    <a:lnTo>
                      <a:pt x="1188" y="1058"/>
                    </a:lnTo>
                    <a:lnTo>
                      <a:pt x="1188" y="1056"/>
                    </a:lnTo>
                    <a:close/>
                    <a:moveTo>
                      <a:pt x="1241" y="1495"/>
                    </a:moveTo>
                    <a:lnTo>
                      <a:pt x="1244" y="1495"/>
                    </a:lnTo>
                    <a:lnTo>
                      <a:pt x="1244" y="1497"/>
                    </a:lnTo>
                    <a:lnTo>
                      <a:pt x="1241" y="1497"/>
                    </a:lnTo>
                    <a:lnTo>
                      <a:pt x="1241" y="1495"/>
                    </a:lnTo>
                    <a:close/>
                    <a:moveTo>
                      <a:pt x="1208" y="1539"/>
                    </a:moveTo>
                    <a:lnTo>
                      <a:pt x="1208" y="1538"/>
                    </a:lnTo>
                    <a:lnTo>
                      <a:pt x="1210" y="1539"/>
                    </a:lnTo>
                    <a:lnTo>
                      <a:pt x="1208" y="1539"/>
                    </a:lnTo>
                    <a:lnTo>
                      <a:pt x="1207" y="1539"/>
                    </a:lnTo>
                    <a:lnTo>
                      <a:pt x="1207" y="1538"/>
                    </a:lnTo>
                    <a:lnTo>
                      <a:pt x="1208" y="1539"/>
                    </a:lnTo>
                    <a:close/>
                    <a:moveTo>
                      <a:pt x="1222" y="1556"/>
                    </a:moveTo>
                    <a:lnTo>
                      <a:pt x="1225" y="1556"/>
                    </a:lnTo>
                    <a:lnTo>
                      <a:pt x="1225" y="1560"/>
                    </a:lnTo>
                    <a:lnTo>
                      <a:pt x="1222" y="1560"/>
                    </a:lnTo>
                    <a:lnTo>
                      <a:pt x="1222" y="1556"/>
                    </a:lnTo>
                    <a:close/>
                    <a:moveTo>
                      <a:pt x="1186" y="1526"/>
                    </a:moveTo>
                    <a:lnTo>
                      <a:pt x="1188" y="1526"/>
                    </a:lnTo>
                    <a:lnTo>
                      <a:pt x="1188" y="1529"/>
                    </a:lnTo>
                    <a:lnTo>
                      <a:pt x="1186" y="1529"/>
                    </a:lnTo>
                    <a:lnTo>
                      <a:pt x="1186" y="1526"/>
                    </a:lnTo>
                    <a:close/>
                    <a:moveTo>
                      <a:pt x="1259" y="1597"/>
                    </a:moveTo>
                    <a:lnTo>
                      <a:pt x="1261" y="1597"/>
                    </a:lnTo>
                    <a:lnTo>
                      <a:pt x="1261" y="1600"/>
                    </a:lnTo>
                    <a:lnTo>
                      <a:pt x="1259" y="1600"/>
                    </a:lnTo>
                    <a:lnTo>
                      <a:pt x="1259" y="1597"/>
                    </a:lnTo>
                    <a:close/>
                    <a:moveTo>
                      <a:pt x="1321" y="1631"/>
                    </a:moveTo>
                    <a:lnTo>
                      <a:pt x="1322" y="1631"/>
                    </a:lnTo>
                    <a:lnTo>
                      <a:pt x="1322" y="1633"/>
                    </a:lnTo>
                    <a:lnTo>
                      <a:pt x="1321" y="1633"/>
                    </a:lnTo>
                    <a:lnTo>
                      <a:pt x="1321" y="1631"/>
                    </a:lnTo>
                    <a:close/>
                    <a:moveTo>
                      <a:pt x="1207" y="1539"/>
                    </a:moveTo>
                    <a:lnTo>
                      <a:pt x="1208" y="1539"/>
                    </a:lnTo>
                    <a:lnTo>
                      <a:pt x="1208" y="1541"/>
                    </a:lnTo>
                    <a:lnTo>
                      <a:pt x="1207" y="1541"/>
                    </a:lnTo>
                    <a:lnTo>
                      <a:pt x="1207" y="1539"/>
                    </a:lnTo>
                    <a:close/>
                    <a:moveTo>
                      <a:pt x="1188" y="1208"/>
                    </a:moveTo>
                    <a:lnTo>
                      <a:pt x="1191" y="1208"/>
                    </a:lnTo>
                    <a:lnTo>
                      <a:pt x="1191" y="1211"/>
                    </a:lnTo>
                    <a:lnTo>
                      <a:pt x="1188" y="1211"/>
                    </a:lnTo>
                    <a:lnTo>
                      <a:pt x="1188" y="1208"/>
                    </a:lnTo>
                    <a:close/>
                    <a:moveTo>
                      <a:pt x="1151" y="1327"/>
                    </a:moveTo>
                    <a:lnTo>
                      <a:pt x="1152" y="1327"/>
                    </a:lnTo>
                    <a:lnTo>
                      <a:pt x="1152" y="1330"/>
                    </a:lnTo>
                    <a:lnTo>
                      <a:pt x="1151" y="1330"/>
                    </a:lnTo>
                    <a:lnTo>
                      <a:pt x="1151" y="1327"/>
                    </a:lnTo>
                    <a:close/>
                    <a:moveTo>
                      <a:pt x="1179" y="1444"/>
                    </a:moveTo>
                    <a:lnTo>
                      <a:pt x="1181" y="1444"/>
                    </a:lnTo>
                    <a:lnTo>
                      <a:pt x="1181" y="1446"/>
                    </a:lnTo>
                    <a:lnTo>
                      <a:pt x="1179" y="1446"/>
                    </a:lnTo>
                    <a:lnTo>
                      <a:pt x="1178" y="1444"/>
                    </a:lnTo>
                    <a:lnTo>
                      <a:pt x="1179" y="1444"/>
                    </a:lnTo>
                    <a:close/>
                    <a:moveTo>
                      <a:pt x="1178" y="1480"/>
                    </a:moveTo>
                    <a:lnTo>
                      <a:pt x="1181" y="1480"/>
                    </a:lnTo>
                    <a:lnTo>
                      <a:pt x="1181" y="1483"/>
                    </a:lnTo>
                    <a:lnTo>
                      <a:pt x="1178" y="1483"/>
                    </a:lnTo>
                    <a:lnTo>
                      <a:pt x="1178" y="1480"/>
                    </a:lnTo>
                    <a:close/>
                    <a:moveTo>
                      <a:pt x="1213" y="1104"/>
                    </a:moveTo>
                    <a:lnTo>
                      <a:pt x="1215" y="1104"/>
                    </a:lnTo>
                    <a:lnTo>
                      <a:pt x="1215" y="1107"/>
                    </a:lnTo>
                    <a:lnTo>
                      <a:pt x="1213" y="1107"/>
                    </a:lnTo>
                    <a:lnTo>
                      <a:pt x="1213" y="1104"/>
                    </a:lnTo>
                    <a:close/>
                    <a:moveTo>
                      <a:pt x="1202" y="1510"/>
                    </a:moveTo>
                    <a:lnTo>
                      <a:pt x="1203" y="1510"/>
                    </a:lnTo>
                    <a:lnTo>
                      <a:pt x="1203" y="1512"/>
                    </a:lnTo>
                    <a:lnTo>
                      <a:pt x="1202" y="1512"/>
                    </a:lnTo>
                    <a:lnTo>
                      <a:pt x="1202" y="1510"/>
                    </a:lnTo>
                    <a:close/>
                    <a:moveTo>
                      <a:pt x="1212" y="990"/>
                    </a:moveTo>
                    <a:lnTo>
                      <a:pt x="1213" y="990"/>
                    </a:lnTo>
                    <a:lnTo>
                      <a:pt x="1213" y="992"/>
                    </a:lnTo>
                    <a:lnTo>
                      <a:pt x="1212" y="992"/>
                    </a:lnTo>
                    <a:lnTo>
                      <a:pt x="1212" y="990"/>
                    </a:lnTo>
                    <a:close/>
                    <a:moveTo>
                      <a:pt x="1254" y="1493"/>
                    </a:moveTo>
                    <a:lnTo>
                      <a:pt x="1256" y="1493"/>
                    </a:lnTo>
                    <a:lnTo>
                      <a:pt x="1256" y="1497"/>
                    </a:lnTo>
                    <a:lnTo>
                      <a:pt x="1254" y="1497"/>
                    </a:lnTo>
                    <a:lnTo>
                      <a:pt x="1254" y="1493"/>
                    </a:lnTo>
                    <a:close/>
                    <a:moveTo>
                      <a:pt x="1222" y="990"/>
                    </a:moveTo>
                    <a:lnTo>
                      <a:pt x="1224" y="990"/>
                    </a:lnTo>
                    <a:lnTo>
                      <a:pt x="1224" y="993"/>
                    </a:lnTo>
                    <a:lnTo>
                      <a:pt x="1222" y="993"/>
                    </a:lnTo>
                    <a:lnTo>
                      <a:pt x="1222" y="990"/>
                    </a:lnTo>
                    <a:close/>
                    <a:moveTo>
                      <a:pt x="1382" y="1640"/>
                    </a:moveTo>
                    <a:lnTo>
                      <a:pt x="1385" y="1640"/>
                    </a:lnTo>
                    <a:lnTo>
                      <a:pt x="1385" y="1641"/>
                    </a:lnTo>
                    <a:lnTo>
                      <a:pt x="1382" y="1641"/>
                    </a:lnTo>
                    <a:lnTo>
                      <a:pt x="1382" y="1640"/>
                    </a:lnTo>
                    <a:close/>
                    <a:moveTo>
                      <a:pt x="1181" y="1492"/>
                    </a:moveTo>
                    <a:lnTo>
                      <a:pt x="1185" y="1492"/>
                    </a:lnTo>
                    <a:lnTo>
                      <a:pt x="1185" y="1493"/>
                    </a:lnTo>
                    <a:lnTo>
                      <a:pt x="1181" y="1493"/>
                    </a:lnTo>
                    <a:lnTo>
                      <a:pt x="1181" y="1492"/>
                    </a:lnTo>
                    <a:close/>
                    <a:moveTo>
                      <a:pt x="1217" y="1538"/>
                    </a:moveTo>
                    <a:lnTo>
                      <a:pt x="1220" y="1538"/>
                    </a:lnTo>
                    <a:lnTo>
                      <a:pt x="1220" y="1539"/>
                    </a:lnTo>
                    <a:lnTo>
                      <a:pt x="1217" y="1539"/>
                    </a:lnTo>
                    <a:lnTo>
                      <a:pt x="1217" y="1538"/>
                    </a:lnTo>
                    <a:close/>
                    <a:moveTo>
                      <a:pt x="1219" y="1566"/>
                    </a:moveTo>
                    <a:lnTo>
                      <a:pt x="1220" y="1566"/>
                    </a:lnTo>
                    <a:lnTo>
                      <a:pt x="1220" y="1568"/>
                    </a:lnTo>
                    <a:lnTo>
                      <a:pt x="1219" y="1568"/>
                    </a:lnTo>
                    <a:lnTo>
                      <a:pt x="1219" y="1566"/>
                    </a:lnTo>
                    <a:close/>
                    <a:moveTo>
                      <a:pt x="1200" y="1073"/>
                    </a:moveTo>
                    <a:lnTo>
                      <a:pt x="1202" y="1073"/>
                    </a:lnTo>
                    <a:lnTo>
                      <a:pt x="1202" y="1077"/>
                    </a:lnTo>
                    <a:lnTo>
                      <a:pt x="1200" y="1077"/>
                    </a:lnTo>
                    <a:lnTo>
                      <a:pt x="1200" y="1073"/>
                    </a:lnTo>
                    <a:close/>
                    <a:moveTo>
                      <a:pt x="1176" y="1439"/>
                    </a:moveTo>
                    <a:lnTo>
                      <a:pt x="1178" y="1439"/>
                    </a:lnTo>
                    <a:lnTo>
                      <a:pt x="1178" y="1441"/>
                    </a:lnTo>
                    <a:lnTo>
                      <a:pt x="1176" y="1441"/>
                    </a:lnTo>
                    <a:lnTo>
                      <a:pt x="1176" y="1439"/>
                    </a:lnTo>
                    <a:close/>
                    <a:moveTo>
                      <a:pt x="1336" y="1653"/>
                    </a:moveTo>
                    <a:lnTo>
                      <a:pt x="1339" y="1653"/>
                    </a:lnTo>
                    <a:lnTo>
                      <a:pt x="1339" y="1655"/>
                    </a:lnTo>
                    <a:lnTo>
                      <a:pt x="1336" y="1655"/>
                    </a:lnTo>
                    <a:lnTo>
                      <a:pt x="1336" y="1653"/>
                    </a:lnTo>
                    <a:close/>
                    <a:moveTo>
                      <a:pt x="1147" y="1330"/>
                    </a:moveTo>
                    <a:lnTo>
                      <a:pt x="1149" y="1330"/>
                    </a:lnTo>
                    <a:lnTo>
                      <a:pt x="1149" y="1332"/>
                    </a:lnTo>
                    <a:lnTo>
                      <a:pt x="1147" y="1332"/>
                    </a:lnTo>
                    <a:lnTo>
                      <a:pt x="1147" y="1330"/>
                    </a:lnTo>
                    <a:close/>
                    <a:moveTo>
                      <a:pt x="1205" y="1551"/>
                    </a:moveTo>
                    <a:lnTo>
                      <a:pt x="1207" y="1551"/>
                    </a:lnTo>
                    <a:lnTo>
                      <a:pt x="1207" y="1553"/>
                    </a:lnTo>
                    <a:lnTo>
                      <a:pt x="1205" y="1553"/>
                    </a:lnTo>
                    <a:lnTo>
                      <a:pt x="1205" y="1551"/>
                    </a:lnTo>
                    <a:close/>
                    <a:moveTo>
                      <a:pt x="1186" y="1534"/>
                    </a:moveTo>
                    <a:lnTo>
                      <a:pt x="1188" y="1534"/>
                    </a:lnTo>
                    <a:lnTo>
                      <a:pt x="1188" y="1536"/>
                    </a:lnTo>
                    <a:lnTo>
                      <a:pt x="1186" y="1536"/>
                    </a:lnTo>
                    <a:lnTo>
                      <a:pt x="1186" y="1534"/>
                    </a:lnTo>
                    <a:close/>
                    <a:moveTo>
                      <a:pt x="1169" y="1437"/>
                    </a:moveTo>
                    <a:lnTo>
                      <a:pt x="1173" y="1437"/>
                    </a:lnTo>
                    <a:lnTo>
                      <a:pt x="1173" y="1439"/>
                    </a:lnTo>
                    <a:lnTo>
                      <a:pt x="1169" y="1439"/>
                    </a:lnTo>
                    <a:lnTo>
                      <a:pt x="1169" y="1437"/>
                    </a:lnTo>
                    <a:close/>
                    <a:moveTo>
                      <a:pt x="1202" y="1066"/>
                    </a:moveTo>
                    <a:lnTo>
                      <a:pt x="1203" y="1066"/>
                    </a:lnTo>
                    <a:lnTo>
                      <a:pt x="1203" y="1068"/>
                    </a:lnTo>
                    <a:lnTo>
                      <a:pt x="1202" y="1068"/>
                    </a:lnTo>
                    <a:lnTo>
                      <a:pt x="1202" y="1066"/>
                    </a:lnTo>
                    <a:close/>
                    <a:moveTo>
                      <a:pt x="1264" y="1595"/>
                    </a:moveTo>
                    <a:lnTo>
                      <a:pt x="1268" y="1595"/>
                    </a:lnTo>
                    <a:lnTo>
                      <a:pt x="1268" y="1597"/>
                    </a:lnTo>
                    <a:lnTo>
                      <a:pt x="1264" y="1597"/>
                    </a:lnTo>
                    <a:lnTo>
                      <a:pt x="1264" y="1595"/>
                    </a:lnTo>
                    <a:close/>
                    <a:moveTo>
                      <a:pt x="1220" y="1543"/>
                    </a:moveTo>
                    <a:lnTo>
                      <a:pt x="1222" y="1543"/>
                    </a:lnTo>
                    <a:lnTo>
                      <a:pt x="1222" y="1544"/>
                    </a:lnTo>
                    <a:lnTo>
                      <a:pt x="1220" y="1544"/>
                    </a:lnTo>
                    <a:lnTo>
                      <a:pt x="1220" y="1543"/>
                    </a:lnTo>
                    <a:close/>
                    <a:moveTo>
                      <a:pt x="1191" y="1060"/>
                    </a:moveTo>
                    <a:lnTo>
                      <a:pt x="1195" y="1060"/>
                    </a:lnTo>
                    <a:lnTo>
                      <a:pt x="1195" y="1061"/>
                    </a:lnTo>
                    <a:lnTo>
                      <a:pt x="1191" y="1061"/>
                    </a:lnTo>
                    <a:lnTo>
                      <a:pt x="1191" y="1060"/>
                    </a:lnTo>
                    <a:close/>
                    <a:moveTo>
                      <a:pt x="1179" y="1422"/>
                    </a:moveTo>
                    <a:lnTo>
                      <a:pt x="1181" y="1422"/>
                    </a:lnTo>
                    <a:lnTo>
                      <a:pt x="1181" y="1424"/>
                    </a:lnTo>
                    <a:lnTo>
                      <a:pt x="1179" y="1424"/>
                    </a:lnTo>
                    <a:lnTo>
                      <a:pt x="1179" y="1422"/>
                    </a:lnTo>
                    <a:close/>
                    <a:moveTo>
                      <a:pt x="1183" y="1463"/>
                    </a:moveTo>
                    <a:lnTo>
                      <a:pt x="1185" y="1463"/>
                    </a:lnTo>
                    <a:lnTo>
                      <a:pt x="1185" y="1464"/>
                    </a:lnTo>
                    <a:lnTo>
                      <a:pt x="1183" y="1464"/>
                    </a:lnTo>
                    <a:lnTo>
                      <a:pt x="1183" y="1463"/>
                    </a:lnTo>
                    <a:close/>
                    <a:moveTo>
                      <a:pt x="1397" y="1663"/>
                    </a:moveTo>
                    <a:lnTo>
                      <a:pt x="1400" y="1663"/>
                    </a:lnTo>
                    <a:lnTo>
                      <a:pt x="1400" y="1665"/>
                    </a:lnTo>
                    <a:lnTo>
                      <a:pt x="1397" y="1665"/>
                    </a:lnTo>
                    <a:lnTo>
                      <a:pt x="1397" y="1663"/>
                    </a:lnTo>
                    <a:close/>
                    <a:moveTo>
                      <a:pt x="1190" y="1413"/>
                    </a:moveTo>
                    <a:lnTo>
                      <a:pt x="1191" y="1413"/>
                    </a:lnTo>
                    <a:lnTo>
                      <a:pt x="1191" y="1417"/>
                    </a:lnTo>
                    <a:lnTo>
                      <a:pt x="1190" y="1417"/>
                    </a:lnTo>
                    <a:lnTo>
                      <a:pt x="1190" y="1413"/>
                    </a:lnTo>
                    <a:close/>
                    <a:moveTo>
                      <a:pt x="1208" y="1449"/>
                    </a:moveTo>
                    <a:lnTo>
                      <a:pt x="1210" y="1449"/>
                    </a:lnTo>
                    <a:lnTo>
                      <a:pt x="1210" y="1451"/>
                    </a:lnTo>
                    <a:lnTo>
                      <a:pt x="1208" y="1451"/>
                    </a:lnTo>
                    <a:lnTo>
                      <a:pt x="1208" y="1449"/>
                    </a:lnTo>
                    <a:close/>
                    <a:moveTo>
                      <a:pt x="1222" y="976"/>
                    </a:moveTo>
                    <a:lnTo>
                      <a:pt x="1224" y="976"/>
                    </a:lnTo>
                    <a:lnTo>
                      <a:pt x="1224" y="980"/>
                    </a:lnTo>
                    <a:lnTo>
                      <a:pt x="1222" y="980"/>
                    </a:lnTo>
                    <a:lnTo>
                      <a:pt x="1222" y="976"/>
                    </a:lnTo>
                    <a:close/>
                    <a:moveTo>
                      <a:pt x="1346" y="1662"/>
                    </a:moveTo>
                    <a:lnTo>
                      <a:pt x="1348" y="1662"/>
                    </a:lnTo>
                    <a:lnTo>
                      <a:pt x="1348" y="1663"/>
                    </a:lnTo>
                    <a:lnTo>
                      <a:pt x="1346" y="1663"/>
                    </a:lnTo>
                    <a:lnTo>
                      <a:pt x="1346" y="1662"/>
                    </a:lnTo>
                    <a:close/>
                    <a:moveTo>
                      <a:pt x="1210" y="1063"/>
                    </a:moveTo>
                    <a:lnTo>
                      <a:pt x="1212" y="1063"/>
                    </a:lnTo>
                    <a:lnTo>
                      <a:pt x="1212" y="1065"/>
                    </a:lnTo>
                    <a:lnTo>
                      <a:pt x="1210" y="1065"/>
                    </a:lnTo>
                    <a:lnTo>
                      <a:pt x="1210" y="1063"/>
                    </a:lnTo>
                    <a:close/>
                    <a:moveTo>
                      <a:pt x="1161" y="1349"/>
                    </a:moveTo>
                    <a:lnTo>
                      <a:pt x="1162" y="1349"/>
                    </a:lnTo>
                    <a:lnTo>
                      <a:pt x="1162" y="1350"/>
                    </a:lnTo>
                    <a:lnTo>
                      <a:pt x="1161" y="1350"/>
                    </a:lnTo>
                    <a:lnTo>
                      <a:pt x="1161" y="1349"/>
                    </a:lnTo>
                    <a:close/>
                    <a:moveTo>
                      <a:pt x="1207" y="1529"/>
                    </a:moveTo>
                    <a:lnTo>
                      <a:pt x="1210" y="1529"/>
                    </a:lnTo>
                    <a:lnTo>
                      <a:pt x="1210" y="1532"/>
                    </a:lnTo>
                    <a:lnTo>
                      <a:pt x="1207" y="1532"/>
                    </a:lnTo>
                    <a:lnTo>
                      <a:pt x="1207" y="1529"/>
                    </a:lnTo>
                    <a:close/>
                    <a:moveTo>
                      <a:pt x="1205" y="1541"/>
                    </a:moveTo>
                    <a:lnTo>
                      <a:pt x="1207" y="1541"/>
                    </a:lnTo>
                    <a:lnTo>
                      <a:pt x="1207" y="1543"/>
                    </a:lnTo>
                    <a:lnTo>
                      <a:pt x="1205" y="1543"/>
                    </a:lnTo>
                    <a:lnTo>
                      <a:pt x="1205" y="1541"/>
                    </a:lnTo>
                    <a:close/>
                    <a:moveTo>
                      <a:pt x="1152" y="1257"/>
                    </a:moveTo>
                    <a:lnTo>
                      <a:pt x="1156" y="1257"/>
                    </a:lnTo>
                    <a:lnTo>
                      <a:pt x="1156" y="1259"/>
                    </a:lnTo>
                    <a:lnTo>
                      <a:pt x="1152" y="1259"/>
                    </a:lnTo>
                    <a:lnTo>
                      <a:pt x="1152" y="1257"/>
                    </a:lnTo>
                    <a:close/>
                    <a:moveTo>
                      <a:pt x="1152" y="1310"/>
                    </a:moveTo>
                    <a:lnTo>
                      <a:pt x="1154" y="1310"/>
                    </a:lnTo>
                    <a:lnTo>
                      <a:pt x="1154" y="1311"/>
                    </a:lnTo>
                    <a:lnTo>
                      <a:pt x="1152" y="1311"/>
                    </a:lnTo>
                    <a:lnTo>
                      <a:pt x="1152" y="1310"/>
                    </a:lnTo>
                    <a:close/>
                    <a:moveTo>
                      <a:pt x="1174" y="1478"/>
                    </a:moveTo>
                    <a:lnTo>
                      <a:pt x="1178" y="1478"/>
                    </a:lnTo>
                    <a:lnTo>
                      <a:pt x="1178" y="1481"/>
                    </a:lnTo>
                    <a:lnTo>
                      <a:pt x="1174" y="1481"/>
                    </a:lnTo>
                    <a:lnTo>
                      <a:pt x="1174" y="1478"/>
                    </a:lnTo>
                    <a:close/>
                    <a:moveTo>
                      <a:pt x="1164" y="1332"/>
                    </a:moveTo>
                    <a:lnTo>
                      <a:pt x="1166" y="1332"/>
                    </a:lnTo>
                    <a:lnTo>
                      <a:pt x="1166" y="1335"/>
                    </a:lnTo>
                    <a:lnTo>
                      <a:pt x="1164" y="1335"/>
                    </a:lnTo>
                    <a:lnTo>
                      <a:pt x="1164" y="1332"/>
                    </a:lnTo>
                    <a:close/>
                    <a:moveTo>
                      <a:pt x="1220" y="986"/>
                    </a:moveTo>
                    <a:lnTo>
                      <a:pt x="1222" y="986"/>
                    </a:lnTo>
                    <a:lnTo>
                      <a:pt x="1222" y="988"/>
                    </a:lnTo>
                    <a:lnTo>
                      <a:pt x="1220" y="988"/>
                    </a:lnTo>
                    <a:lnTo>
                      <a:pt x="1220" y="986"/>
                    </a:lnTo>
                    <a:close/>
                    <a:moveTo>
                      <a:pt x="1166" y="1383"/>
                    </a:moveTo>
                    <a:lnTo>
                      <a:pt x="1168" y="1383"/>
                    </a:lnTo>
                    <a:lnTo>
                      <a:pt x="1168" y="1384"/>
                    </a:lnTo>
                    <a:lnTo>
                      <a:pt x="1166" y="1384"/>
                    </a:lnTo>
                    <a:lnTo>
                      <a:pt x="1166" y="1383"/>
                    </a:lnTo>
                    <a:close/>
                    <a:moveTo>
                      <a:pt x="1173" y="1245"/>
                    </a:moveTo>
                    <a:lnTo>
                      <a:pt x="1174" y="1245"/>
                    </a:lnTo>
                    <a:lnTo>
                      <a:pt x="1174" y="1248"/>
                    </a:lnTo>
                    <a:lnTo>
                      <a:pt x="1173" y="1248"/>
                    </a:lnTo>
                    <a:lnTo>
                      <a:pt x="1173" y="1245"/>
                    </a:lnTo>
                    <a:close/>
                    <a:moveTo>
                      <a:pt x="1185" y="1099"/>
                    </a:moveTo>
                    <a:lnTo>
                      <a:pt x="1186" y="1099"/>
                    </a:lnTo>
                    <a:lnTo>
                      <a:pt x="1186" y="1100"/>
                    </a:lnTo>
                    <a:lnTo>
                      <a:pt x="1185" y="1100"/>
                    </a:lnTo>
                    <a:lnTo>
                      <a:pt x="1185" y="1099"/>
                    </a:lnTo>
                    <a:close/>
                    <a:moveTo>
                      <a:pt x="1215" y="981"/>
                    </a:moveTo>
                    <a:lnTo>
                      <a:pt x="1217" y="981"/>
                    </a:lnTo>
                    <a:lnTo>
                      <a:pt x="1217" y="983"/>
                    </a:lnTo>
                    <a:lnTo>
                      <a:pt x="1215" y="983"/>
                    </a:lnTo>
                    <a:lnTo>
                      <a:pt x="1215" y="981"/>
                    </a:lnTo>
                    <a:close/>
                    <a:moveTo>
                      <a:pt x="1154" y="1354"/>
                    </a:moveTo>
                    <a:lnTo>
                      <a:pt x="1154" y="1357"/>
                    </a:lnTo>
                    <a:lnTo>
                      <a:pt x="1154" y="1354"/>
                    </a:lnTo>
                    <a:close/>
                    <a:moveTo>
                      <a:pt x="1276" y="1595"/>
                    </a:moveTo>
                    <a:lnTo>
                      <a:pt x="1280" y="1595"/>
                    </a:lnTo>
                    <a:lnTo>
                      <a:pt x="1280" y="1597"/>
                    </a:lnTo>
                    <a:lnTo>
                      <a:pt x="1276" y="1597"/>
                    </a:lnTo>
                    <a:lnTo>
                      <a:pt x="1276" y="1595"/>
                    </a:lnTo>
                    <a:close/>
                    <a:moveTo>
                      <a:pt x="1190" y="1066"/>
                    </a:moveTo>
                    <a:lnTo>
                      <a:pt x="1191" y="1066"/>
                    </a:lnTo>
                    <a:lnTo>
                      <a:pt x="1190" y="1066"/>
                    </a:lnTo>
                    <a:close/>
                    <a:moveTo>
                      <a:pt x="1292" y="1616"/>
                    </a:moveTo>
                    <a:lnTo>
                      <a:pt x="1293" y="1616"/>
                    </a:lnTo>
                    <a:lnTo>
                      <a:pt x="1293" y="1618"/>
                    </a:lnTo>
                    <a:lnTo>
                      <a:pt x="1292" y="1618"/>
                    </a:lnTo>
                    <a:lnTo>
                      <a:pt x="1292" y="1616"/>
                    </a:lnTo>
                    <a:close/>
                    <a:moveTo>
                      <a:pt x="1149" y="1311"/>
                    </a:moveTo>
                    <a:lnTo>
                      <a:pt x="1151" y="1311"/>
                    </a:lnTo>
                    <a:lnTo>
                      <a:pt x="1151" y="1313"/>
                    </a:lnTo>
                    <a:lnTo>
                      <a:pt x="1149" y="1313"/>
                    </a:lnTo>
                    <a:lnTo>
                      <a:pt x="1149" y="1311"/>
                    </a:lnTo>
                    <a:close/>
                    <a:moveTo>
                      <a:pt x="1203" y="1429"/>
                    </a:moveTo>
                    <a:lnTo>
                      <a:pt x="1205" y="1429"/>
                    </a:lnTo>
                    <a:lnTo>
                      <a:pt x="1205" y="1430"/>
                    </a:lnTo>
                    <a:lnTo>
                      <a:pt x="1203" y="1430"/>
                    </a:lnTo>
                    <a:lnTo>
                      <a:pt x="1203" y="1429"/>
                    </a:lnTo>
                    <a:close/>
                    <a:moveTo>
                      <a:pt x="1246" y="1582"/>
                    </a:moveTo>
                    <a:lnTo>
                      <a:pt x="1247" y="1582"/>
                    </a:lnTo>
                    <a:lnTo>
                      <a:pt x="1247" y="1583"/>
                    </a:lnTo>
                    <a:lnTo>
                      <a:pt x="1246" y="1583"/>
                    </a:lnTo>
                    <a:lnTo>
                      <a:pt x="1246" y="1582"/>
                    </a:lnTo>
                    <a:close/>
                    <a:moveTo>
                      <a:pt x="1149" y="1342"/>
                    </a:moveTo>
                    <a:lnTo>
                      <a:pt x="1151" y="1342"/>
                    </a:lnTo>
                    <a:lnTo>
                      <a:pt x="1151" y="1345"/>
                    </a:lnTo>
                    <a:lnTo>
                      <a:pt x="1149" y="1345"/>
                    </a:lnTo>
                    <a:lnTo>
                      <a:pt x="1149" y="1342"/>
                    </a:lnTo>
                    <a:close/>
                    <a:moveTo>
                      <a:pt x="1203" y="1104"/>
                    </a:moveTo>
                    <a:lnTo>
                      <a:pt x="1205" y="1104"/>
                    </a:lnTo>
                    <a:lnTo>
                      <a:pt x="1205" y="1105"/>
                    </a:lnTo>
                    <a:lnTo>
                      <a:pt x="1203" y="1105"/>
                    </a:lnTo>
                    <a:lnTo>
                      <a:pt x="1203" y="1104"/>
                    </a:lnTo>
                    <a:close/>
                    <a:moveTo>
                      <a:pt x="1213" y="1107"/>
                    </a:moveTo>
                    <a:lnTo>
                      <a:pt x="1215" y="1107"/>
                    </a:lnTo>
                    <a:lnTo>
                      <a:pt x="1215" y="1109"/>
                    </a:lnTo>
                    <a:lnTo>
                      <a:pt x="1213" y="1109"/>
                    </a:lnTo>
                    <a:lnTo>
                      <a:pt x="1213" y="1107"/>
                    </a:lnTo>
                    <a:close/>
                    <a:moveTo>
                      <a:pt x="1183" y="1194"/>
                    </a:moveTo>
                    <a:lnTo>
                      <a:pt x="1185" y="1194"/>
                    </a:lnTo>
                    <a:lnTo>
                      <a:pt x="1185" y="1196"/>
                    </a:lnTo>
                    <a:lnTo>
                      <a:pt x="1183" y="1196"/>
                    </a:lnTo>
                    <a:lnTo>
                      <a:pt x="1183" y="1194"/>
                    </a:lnTo>
                    <a:close/>
                    <a:moveTo>
                      <a:pt x="1368" y="1662"/>
                    </a:moveTo>
                    <a:lnTo>
                      <a:pt x="1370" y="1662"/>
                    </a:lnTo>
                    <a:lnTo>
                      <a:pt x="1370" y="1663"/>
                    </a:lnTo>
                    <a:lnTo>
                      <a:pt x="1368" y="1663"/>
                    </a:lnTo>
                    <a:lnTo>
                      <a:pt x="1368" y="1662"/>
                    </a:lnTo>
                    <a:close/>
                    <a:moveTo>
                      <a:pt x="1329" y="1626"/>
                    </a:moveTo>
                    <a:lnTo>
                      <a:pt x="1331" y="1626"/>
                    </a:lnTo>
                    <a:lnTo>
                      <a:pt x="1329" y="1626"/>
                    </a:lnTo>
                    <a:lnTo>
                      <a:pt x="1331" y="1626"/>
                    </a:lnTo>
                    <a:lnTo>
                      <a:pt x="1329" y="1626"/>
                    </a:lnTo>
                    <a:lnTo>
                      <a:pt x="1327" y="1626"/>
                    </a:lnTo>
                    <a:lnTo>
                      <a:pt x="1329" y="1626"/>
                    </a:lnTo>
                    <a:close/>
                    <a:moveTo>
                      <a:pt x="1219" y="992"/>
                    </a:moveTo>
                    <a:lnTo>
                      <a:pt x="1222" y="992"/>
                    </a:lnTo>
                    <a:lnTo>
                      <a:pt x="1222" y="993"/>
                    </a:lnTo>
                    <a:lnTo>
                      <a:pt x="1219" y="993"/>
                    </a:lnTo>
                    <a:lnTo>
                      <a:pt x="1219" y="992"/>
                    </a:lnTo>
                    <a:close/>
                    <a:moveTo>
                      <a:pt x="1169" y="1388"/>
                    </a:moveTo>
                    <a:lnTo>
                      <a:pt x="1171" y="1388"/>
                    </a:lnTo>
                    <a:lnTo>
                      <a:pt x="1171" y="1390"/>
                    </a:lnTo>
                    <a:lnTo>
                      <a:pt x="1169" y="1390"/>
                    </a:lnTo>
                    <a:lnTo>
                      <a:pt x="1169" y="1388"/>
                    </a:lnTo>
                    <a:close/>
                    <a:moveTo>
                      <a:pt x="1185" y="1476"/>
                    </a:moveTo>
                    <a:lnTo>
                      <a:pt x="1186" y="1476"/>
                    </a:lnTo>
                    <a:lnTo>
                      <a:pt x="1186" y="1478"/>
                    </a:lnTo>
                    <a:lnTo>
                      <a:pt x="1185" y="1478"/>
                    </a:lnTo>
                    <a:lnTo>
                      <a:pt x="1185" y="1476"/>
                    </a:lnTo>
                    <a:close/>
                    <a:moveTo>
                      <a:pt x="1220" y="1058"/>
                    </a:moveTo>
                    <a:lnTo>
                      <a:pt x="1222" y="1058"/>
                    </a:lnTo>
                    <a:lnTo>
                      <a:pt x="1222" y="1060"/>
                    </a:lnTo>
                    <a:lnTo>
                      <a:pt x="1220" y="1060"/>
                    </a:lnTo>
                    <a:lnTo>
                      <a:pt x="1220" y="1058"/>
                    </a:lnTo>
                    <a:close/>
                    <a:moveTo>
                      <a:pt x="1186" y="1476"/>
                    </a:moveTo>
                    <a:lnTo>
                      <a:pt x="1190" y="1476"/>
                    </a:lnTo>
                    <a:lnTo>
                      <a:pt x="1190" y="1478"/>
                    </a:lnTo>
                    <a:lnTo>
                      <a:pt x="1186" y="1478"/>
                    </a:lnTo>
                    <a:lnTo>
                      <a:pt x="1186" y="1476"/>
                    </a:lnTo>
                    <a:close/>
                    <a:moveTo>
                      <a:pt x="1334" y="1653"/>
                    </a:moveTo>
                    <a:lnTo>
                      <a:pt x="1334" y="1657"/>
                    </a:lnTo>
                    <a:lnTo>
                      <a:pt x="1334" y="1653"/>
                    </a:lnTo>
                    <a:close/>
                    <a:moveTo>
                      <a:pt x="1200" y="1141"/>
                    </a:moveTo>
                    <a:lnTo>
                      <a:pt x="1202" y="1141"/>
                    </a:lnTo>
                    <a:lnTo>
                      <a:pt x="1202" y="1143"/>
                    </a:lnTo>
                    <a:lnTo>
                      <a:pt x="1200" y="1143"/>
                    </a:lnTo>
                    <a:lnTo>
                      <a:pt x="1200" y="1141"/>
                    </a:lnTo>
                    <a:close/>
                    <a:moveTo>
                      <a:pt x="1140" y="1306"/>
                    </a:moveTo>
                    <a:lnTo>
                      <a:pt x="1142" y="1306"/>
                    </a:lnTo>
                    <a:lnTo>
                      <a:pt x="1142" y="1310"/>
                    </a:lnTo>
                    <a:lnTo>
                      <a:pt x="1140" y="1310"/>
                    </a:lnTo>
                    <a:lnTo>
                      <a:pt x="1140" y="1306"/>
                    </a:lnTo>
                    <a:close/>
                    <a:moveTo>
                      <a:pt x="1190" y="1524"/>
                    </a:moveTo>
                    <a:lnTo>
                      <a:pt x="1191" y="1524"/>
                    </a:lnTo>
                    <a:lnTo>
                      <a:pt x="1191" y="1526"/>
                    </a:lnTo>
                    <a:lnTo>
                      <a:pt x="1190" y="1526"/>
                    </a:lnTo>
                    <a:lnTo>
                      <a:pt x="1190" y="1524"/>
                    </a:lnTo>
                    <a:close/>
                    <a:moveTo>
                      <a:pt x="1200" y="1060"/>
                    </a:moveTo>
                    <a:lnTo>
                      <a:pt x="1202" y="1060"/>
                    </a:lnTo>
                    <a:lnTo>
                      <a:pt x="1202" y="1061"/>
                    </a:lnTo>
                    <a:lnTo>
                      <a:pt x="1200" y="1061"/>
                    </a:lnTo>
                    <a:lnTo>
                      <a:pt x="1200" y="1060"/>
                    </a:lnTo>
                    <a:close/>
                    <a:moveTo>
                      <a:pt x="1161" y="1298"/>
                    </a:moveTo>
                    <a:lnTo>
                      <a:pt x="1162" y="1298"/>
                    </a:lnTo>
                    <a:lnTo>
                      <a:pt x="1162" y="1299"/>
                    </a:lnTo>
                    <a:lnTo>
                      <a:pt x="1161" y="1299"/>
                    </a:lnTo>
                    <a:lnTo>
                      <a:pt x="1161" y="1298"/>
                    </a:lnTo>
                    <a:close/>
                    <a:moveTo>
                      <a:pt x="1207" y="1492"/>
                    </a:moveTo>
                    <a:lnTo>
                      <a:pt x="1208" y="1492"/>
                    </a:lnTo>
                    <a:lnTo>
                      <a:pt x="1208" y="1493"/>
                    </a:lnTo>
                    <a:lnTo>
                      <a:pt x="1207" y="1493"/>
                    </a:lnTo>
                    <a:lnTo>
                      <a:pt x="1207" y="1492"/>
                    </a:lnTo>
                    <a:close/>
                    <a:moveTo>
                      <a:pt x="1416" y="1680"/>
                    </a:moveTo>
                    <a:lnTo>
                      <a:pt x="1417" y="1680"/>
                    </a:lnTo>
                    <a:lnTo>
                      <a:pt x="1417" y="1682"/>
                    </a:lnTo>
                    <a:lnTo>
                      <a:pt x="1416" y="1682"/>
                    </a:lnTo>
                    <a:lnTo>
                      <a:pt x="1416" y="1680"/>
                    </a:lnTo>
                    <a:close/>
                    <a:moveTo>
                      <a:pt x="1244" y="1502"/>
                    </a:moveTo>
                    <a:lnTo>
                      <a:pt x="1246" y="1502"/>
                    </a:lnTo>
                    <a:lnTo>
                      <a:pt x="1246" y="1504"/>
                    </a:lnTo>
                    <a:lnTo>
                      <a:pt x="1244" y="1504"/>
                    </a:lnTo>
                    <a:lnTo>
                      <a:pt x="1244" y="1502"/>
                    </a:lnTo>
                    <a:close/>
                    <a:moveTo>
                      <a:pt x="1193" y="1124"/>
                    </a:moveTo>
                    <a:lnTo>
                      <a:pt x="1193" y="1126"/>
                    </a:lnTo>
                    <a:lnTo>
                      <a:pt x="1193" y="1124"/>
                    </a:lnTo>
                    <a:close/>
                    <a:moveTo>
                      <a:pt x="1176" y="1117"/>
                    </a:moveTo>
                    <a:lnTo>
                      <a:pt x="1178" y="1117"/>
                    </a:lnTo>
                    <a:lnTo>
                      <a:pt x="1178" y="1119"/>
                    </a:lnTo>
                    <a:lnTo>
                      <a:pt x="1176" y="1119"/>
                    </a:lnTo>
                    <a:lnTo>
                      <a:pt x="1176" y="1117"/>
                    </a:lnTo>
                    <a:close/>
                    <a:moveTo>
                      <a:pt x="1161" y="1160"/>
                    </a:moveTo>
                    <a:lnTo>
                      <a:pt x="1162" y="1160"/>
                    </a:lnTo>
                    <a:lnTo>
                      <a:pt x="1162" y="1162"/>
                    </a:lnTo>
                    <a:lnTo>
                      <a:pt x="1161" y="1162"/>
                    </a:lnTo>
                    <a:lnTo>
                      <a:pt x="1161" y="1160"/>
                    </a:lnTo>
                    <a:close/>
                    <a:moveTo>
                      <a:pt x="1190" y="1060"/>
                    </a:moveTo>
                    <a:lnTo>
                      <a:pt x="1193" y="1060"/>
                    </a:lnTo>
                    <a:lnTo>
                      <a:pt x="1190" y="1060"/>
                    </a:lnTo>
                    <a:close/>
                    <a:moveTo>
                      <a:pt x="1162" y="1405"/>
                    </a:moveTo>
                    <a:lnTo>
                      <a:pt x="1164" y="1405"/>
                    </a:lnTo>
                    <a:lnTo>
                      <a:pt x="1164" y="1407"/>
                    </a:lnTo>
                    <a:lnTo>
                      <a:pt x="1162" y="1407"/>
                    </a:lnTo>
                    <a:lnTo>
                      <a:pt x="1162" y="1405"/>
                    </a:lnTo>
                    <a:close/>
                    <a:moveTo>
                      <a:pt x="1176" y="1470"/>
                    </a:moveTo>
                    <a:lnTo>
                      <a:pt x="1178" y="1470"/>
                    </a:lnTo>
                    <a:lnTo>
                      <a:pt x="1178" y="1471"/>
                    </a:lnTo>
                    <a:lnTo>
                      <a:pt x="1176" y="1471"/>
                    </a:lnTo>
                    <a:lnTo>
                      <a:pt x="1176" y="1470"/>
                    </a:lnTo>
                    <a:close/>
                    <a:moveTo>
                      <a:pt x="1212" y="1105"/>
                    </a:moveTo>
                    <a:lnTo>
                      <a:pt x="1213" y="1105"/>
                    </a:lnTo>
                    <a:lnTo>
                      <a:pt x="1212" y="1105"/>
                    </a:lnTo>
                    <a:close/>
                    <a:moveTo>
                      <a:pt x="1205" y="1097"/>
                    </a:moveTo>
                    <a:lnTo>
                      <a:pt x="1207" y="1097"/>
                    </a:lnTo>
                    <a:lnTo>
                      <a:pt x="1207" y="1099"/>
                    </a:lnTo>
                    <a:lnTo>
                      <a:pt x="1205" y="1099"/>
                    </a:lnTo>
                    <a:lnTo>
                      <a:pt x="1205" y="1097"/>
                    </a:lnTo>
                    <a:close/>
                    <a:moveTo>
                      <a:pt x="1241" y="1592"/>
                    </a:moveTo>
                    <a:lnTo>
                      <a:pt x="1242" y="1592"/>
                    </a:lnTo>
                    <a:lnTo>
                      <a:pt x="1242" y="1594"/>
                    </a:lnTo>
                    <a:lnTo>
                      <a:pt x="1241" y="1594"/>
                    </a:lnTo>
                    <a:lnTo>
                      <a:pt x="1241" y="1592"/>
                    </a:lnTo>
                    <a:close/>
                    <a:moveTo>
                      <a:pt x="1185" y="1461"/>
                    </a:moveTo>
                    <a:lnTo>
                      <a:pt x="1185" y="1463"/>
                    </a:lnTo>
                    <a:lnTo>
                      <a:pt x="1185" y="1461"/>
                    </a:lnTo>
                    <a:close/>
                    <a:moveTo>
                      <a:pt x="1191" y="1122"/>
                    </a:moveTo>
                    <a:lnTo>
                      <a:pt x="1193" y="1122"/>
                    </a:lnTo>
                    <a:lnTo>
                      <a:pt x="1193" y="1124"/>
                    </a:lnTo>
                    <a:lnTo>
                      <a:pt x="1191" y="1124"/>
                    </a:lnTo>
                    <a:lnTo>
                      <a:pt x="1191" y="1122"/>
                    </a:lnTo>
                    <a:close/>
                    <a:moveTo>
                      <a:pt x="1232" y="959"/>
                    </a:moveTo>
                    <a:lnTo>
                      <a:pt x="1234" y="959"/>
                    </a:lnTo>
                    <a:lnTo>
                      <a:pt x="1232" y="959"/>
                    </a:lnTo>
                    <a:close/>
                    <a:moveTo>
                      <a:pt x="1332" y="1590"/>
                    </a:moveTo>
                    <a:lnTo>
                      <a:pt x="1334" y="1590"/>
                    </a:lnTo>
                    <a:lnTo>
                      <a:pt x="1332" y="1590"/>
                    </a:lnTo>
                    <a:close/>
                    <a:moveTo>
                      <a:pt x="1179" y="1488"/>
                    </a:moveTo>
                    <a:lnTo>
                      <a:pt x="1179" y="1490"/>
                    </a:lnTo>
                    <a:lnTo>
                      <a:pt x="1179" y="1488"/>
                    </a:lnTo>
                    <a:close/>
                    <a:moveTo>
                      <a:pt x="1298" y="1621"/>
                    </a:moveTo>
                    <a:lnTo>
                      <a:pt x="1300" y="1621"/>
                    </a:lnTo>
                    <a:lnTo>
                      <a:pt x="1300" y="1624"/>
                    </a:lnTo>
                    <a:lnTo>
                      <a:pt x="1298" y="1624"/>
                    </a:lnTo>
                    <a:lnTo>
                      <a:pt x="1298" y="1621"/>
                    </a:lnTo>
                    <a:close/>
                    <a:moveTo>
                      <a:pt x="1258" y="1558"/>
                    </a:moveTo>
                    <a:lnTo>
                      <a:pt x="1259" y="1558"/>
                    </a:lnTo>
                    <a:lnTo>
                      <a:pt x="1259" y="1560"/>
                    </a:lnTo>
                    <a:lnTo>
                      <a:pt x="1258" y="1560"/>
                    </a:lnTo>
                    <a:lnTo>
                      <a:pt x="1258" y="1558"/>
                    </a:lnTo>
                    <a:close/>
                    <a:moveTo>
                      <a:pt x="1162" y="1376"/>
                    </a:moveTo>
                    <a:lnTo>
                      <a:pt x="1164" y="1376"/>
                    </a:lnTo>
                    <a:lnTo>
                      <a:pt x="1164" y="1378"/>
                    </a:lnTo>
                    <a:lnTo>
                      <a:pt x="1162" y="1378"/>
                    </a:lnTo>
                    <a:lnTo>
                      <a:pt x="1162" y="1376"/>
                    </a:lnTo>
                    <a:close/>
                    <a:moveTo>
                      <a:pt x="1210" y="1490"/>
                    </a:moveTo>
                    <a:lnTo>
                      <a:pt x="1210" y="1492"/>
                    </a:lnTo>
                    <a:lnTo>
                      <a:pt x="1210" y="1490"/>
                    </a:lnTo>
                    <a:close/>
                    <a:moveTo>
                      <a:pt x="1208" y="1553"/>
                    </a:moveTo>
                    <a:lnTo>
                      <a:pt x="1208" y="1556"/>
                    </a:lnTo>
                    <a:lnTo>
                      <a:pt x="1208" y="1553"/>
                    </a:lnTo>
                    <a:close/>
                    <a:moveTo>
                      <a:pt x="1264" y="1595"/>
                    </a:moveTo>
                    <a:lnTo>
                      <a:pt x="1266" y="1595"/>
                    </a:lnTo>
                    <a:lnTo>
                      <a:pt x="1266" y="1597"/>
                    </a:lnTo>
                    <a:lnTo>
                      <a:pt x="1264" y="1597"/>
                    </a:lnTo>
                    <a:lnTo>
                      <a:pt x="1264" y="1595"/>
                    </a:lnTo>
                    <a:close/>
                    <a:moveTo>
                      <a:pt x="1208" y="1478"/>
                    </a:moveTo>
                    <a:lnTo>
                      <a:pt x="1210" y="1478"/>
                    </a:lnTo>
                    <a:lnTo>
                      <a:pt x="1210" y="1480"/>
                    </a:lnTo>
                    <a:lnTo>
                      <a:pt x="1208" y="1480"/>
                    </a:lnTo>
                    <a:lnTo>
                      <a:pt x="1208" y="1478"/>
                    </a:lnTo>
                    <a:close/>
                    <a:moveTo>
                      <a:pt x="1173" y="1408"/>
                    </a:moveTo>
                    <a:lnTo>
                      <a:pt x="1174" y="1408"/>
                    </a:lnTo>
                    <a:lnTo>
                      <a:pt x="1174" y="1410"/>
                    </a:lnTo>
                    <a:lnTo>
                      <a:pt x="1173" y="1410"/>
                    </a:lnTo>
                    <a:lnTo>
                      <a:pt x="1173" y="1408"/>
                    </a:lnTo>
                    <a:close/>
                    <a:moveTo>
                      <a:pt x="1358" y="1650"/>
                    </a:moveTo>
                    <a:lnTo>
                      <a:pt x="1360" y="1650"/>
                    </a:lnTo>
                    <a:lnTo>
                      <a:pt x="1360" y="1652"/>
                    </a:lnTo>
                    <a:lnTo>
                      <a:pt x="1358" y="1652"/>
                    </a:lnTo>
                    <a:lnTo>
                      <a:pt x="1358" y="1650"/>
                    </a:lnTo>
                    <a:close/>
                    <a:moveTo>
                      <a:pt x="1179" y="1276"/>
                    </a:moveTo>
                    <a:lnTo>
                      <a:pt x="1181" y="1276"/>
                    </a:lnTo>
                    <a:lnTo>
                      <a:pt x="1181" y="1277"/>
                    </a:lnTo>
                    <a:lnTo>
                      <a:pt x="1179" y="1277"/>
                    </a:lnTo>
                    <a:lnTo>
                      <a:pt x="1179" y="1276"/>
                    </a:lnTo>
                    <a:close/>
                    <a:moveTo>
                      <a:pt x="1253" y="1572"/>
                    </a:moveTo>
                    <a:lnTo>
                      <a:pt x="1254" y="1572"/>
                    </a:lnTo>
                    <a:lnTo>
                      <a:pt x="1254" y="1575"/>
                    </a:lnTo>
                    <a:lnTo>
                      <a:pt x="1253" y="1575"/>
                    </a:lnTo>
                    <a:lnTo>
                      <a:pt x="1253" y="1572"/>
                    </a:lnTo>
                    <a:close/>
                    <a:moveTo>
                      <a:pt x="1156" y="1245"/>
                    </a:moveTo>
                    <a:lnTo>
                      <a:pt x="1157" y="1245"/>
                    </a:lnTo>
                    <a:lnTo>
                      <a:pt x="1157" y="1247"/>
                    </a:lnTo>
                    <a:lnTo>
                      <a:pt x="1156" y="1247"/>
                    </a:lnTo>
                    <a:lnTo>
                      <a:pt x="1156" y="1245"/>
                    </a:lnTo>
                    <a:close/>
                    <a:moveTo>
                      <a:pt x="1202" y="1243"/>
                    </a:moveTo>
                    <a:lnTo>
                      <a:pt x="1203" y="1243"/>
                    </a:lnTo>
                    <a:lnTo>
                      <a:pt x="1203" y="1245"/>
                    </a:lnTo>
                    <a:lnTo>
                      <a:pt x="1202" y="1245"/>
                    </a:lnTo>
                    <a:lnTo>
                      <a:pt x="1202" y="1243"/>
                    </a:lnTo>
                    <a:close/>
                    <a:moveTo>
                      <a:pt x="1254" y="1573"/>
                    </a:moveTo>
                    <a:lnTo>
                      <a:pt x="1254" y="1577"/>
                    </a:lnTo>
                    <a:lnTo>
                      <a:pt x="1254" y="1573"/>
                    </a:lnTo>
                    <a:close/>
                    <a:moveTo>
                      <a:pt x="1176" y="1119"/>
                    </a:moveTo>
                    <a:lnTo>
                      <a:pt x="1178" y="1119"/>
                    </a:lnTo>
                    <a:lnTo>
                      <a:pt x="1178" y="1121"/>
                    </a:lnTo>
                    <a:lnTo>
                      <a:pt x="1176" y="1121"/>
                    </a:lnTo>
                    <a:lnTo>
                      <a:pt x="1176" y="1119"/>
                    </a:lnTo>
                    <a:close/>
                    <a:moveTo>
                      <a:pt x="1227" y="1582"/>
                    </a:moveTo>
                    <a:lnTo>
                      <a:pt x="1227" y="1585"/>
                    </a:lnTo>
                    <a:lnTo>
                      <a:pt x="1227" y="1582"/>
                    </a:lnTo>
                    <a:close/>
                    <a:moveTo>
                      <a:pt x="1190" y="1483"/>
                    </a:moveTo>
                    <a:lnTo>
                      <a:pt x="1190" y="1485"/>
                    </a:lnTo>
                    <a:lnTo>
                      <a:pt x="1190" y="1483"/>
                    </a:lnTo>
                    <a:close/>
                    <a:moveTo>
                      <a:pt x="1176" y="1197"/>
                    </a:moveTo>
                    <a:lnTo>
                      <a:pt x="1178" y="1197"/>
                    </a:lnTo>
                    <a:lnTo>
                      <a:pt x="1178" y="1199"/>
                    </a:lnTo>
                    <a:lnTo>
                      <a:pt x="1176" y="1199"/>
                    </a:lnTo>
                    <a:lnTo>
                      <a:pt x="1176" y="1197"/>
                    </a:lnTo>
                    <a:close/>
                    <a:moveTo>
                      <a:pt x="1253" y="1498"/>
                    </a:moveTo>
                    <a:lnTo>
                      <a:pt x="1253" y="1500"/>
                    </a:lnTo>
                    <a:lnTo>
                      <a:pt x="1253" y="1498"/>
                    </a:lnTo>
                    <a:close/>
                    <a:moveTo>
                      <a:pt x="1186" y="1384"/>
                    </a:moveTo>
                    <a:lnTo>
                      <a:pt x="1188" y="1384"/>
                    </a:lnTo>
                    <a:lnTo>
                      <a:pt x="1188" y="1386"/>
                    </a:lnTo>
                    <a:lnTo>
                      <a:pt x="1186" y="1386"/>
                    </a:lnTo>
                    <a:lnTo>
                      <a:pt x="1186" y="1384"/>
                    </a:lnTo>
                    <a:close/>
                    <a:moveTo>
                      <a:pt x="1207" y="1071"/>
                    </a:moveTo>
                    <a:lnTo>
                      <a:pt x="1208" y="1071"/>
                    </a:lnTo>
                    <a:lnTo>
                      <a:pt x="1208" y="1073"/>
                    </a:lnTo>
                    <a:lnTo>
                      <a:pt x="1207" y="1073"/>
                    </a:lnTo>
                    <a:lnTo>
                      <a:pt x="1207" y="1071"/>
                    </a:lnTo>
                    <a:close/>
                    <a:moveTo>
                      <a:pt x="1225" y="1575"/>
                    </a:moveTo>
                    <a:lnTo>
                      <a:pt x="1229" y="1575"/>
                    </a:lnTo>
                    <a:lnTo>
                      <a:pt x="1229" y="1577"/>
                    </a:lnTo>
                    <a:lnTo>
                      <a:pt x="1225" y="1577"/>
                    </a:lnTo>
                    <a:lnTo>
                      <a:pt x="1225" y="1575"/>
                    </a:lnTo>
                    <a:close/>
                    <a:moveTo>
                      <a:pt x="1220" y="980"/>
                    </a:moveTo>
                    <a:lnTo>
                      <a:pt x="1222" y="980"/>
                    </a:lnTo>
                    <a:lnTo>
                      <a:pt x="1220" y="980"/>
                    </a:lnTo>
                    <a:close/>
                    <a:moveTo>
                      <a:pt x="1186" y="1191"/>
                    </a:moveTo>
                    <a:lnTo>
                      <a:pt x="1188" y="1191"/>
                    </a:lnTo>
                    <a:lnTo>
                      <a:pt x="1188" y="1192"/>
                    </a:lnTo>
                    <a:lnTo>
                      <a:pt x="1186" y="1192"/>
                    </a:lnTo>
                    <a:lnTo>
                      <a:pt x="1186" y="1191"/>
                    </a:lnTo>
                    <a:close/>
                    <a:moveTo>
                      <a:pt x="1224" y="1580"/>
                    </a:moveTo>
                    <a:lnTo>
                      <a:pt x="1224" y="1582"/>
                    </a:lnTo>
                    <a:lnTo>
                      <a:pt x="1224" y="1580"/>
                    </a:lnTo>
                    <a:close/>
                    <a:moveTo>
                      <a:pt x="1208" y="1553"/>
                    </a:moveTo>
                    <a:lnTo>
                      <a:pt x="1210" y="1553"/>
                    </a:lnTo>
                    <a:lnTo>
                      <a:pt x="1210" y="1555"/>
                    </a:lnTo>
                    <a:lnTo>
                      <a:pt x="1208" y="1555"/>
                    </a:lnTo>
                    <a:lnTo>
                      <a:pt x="1208" y="1553"/>
                    </a:lnTo>
                    <a:close/>
                    <a:moveTo>
                      <a:pt x="1219" y="1524"/>
                    </a:moveTo>
                    <a:lnTo>
                      <a:pt x="1222" y="1524"/>
                    </a:lnTo>
                    <a:lnTo>
                      <a:pt x="1222" y="1526"/>
                    </a:lnTo>
                    <a:lnTo>
                      <a:pt x="1219" y="1526"/>
                    </a:lnTo>
                    <a:lnTo>
                      <a:pt x="1219" y="1524"/>
                    </a:lnTo>
                    <a:close/>
                    <a:moveTo>
                      <a:pt x="1139" y="1310"/>
                    </a:moveTo>
                    <a:lnTo>
                      <a:pt x="1142" y="1310"/>
                    </a:lnTo>
                    <a:lnTo>
                      <a:pt x="1142" y="1311"/>
                    </a:lnTo>
                    <a:lnTo>
                      <a:pt x="1139" y="1311"/>
                    </a:lnTo>
                    <a:lnTo>
                      <a:pt x="1139" y="1310"/>
                    </a:lnTo>
                    <a:close/>
                    <a:moveTo>
                      <a:pt x="1225" y="981"/>
                    </a:moveTo>
                    <a:lnTo>
                      <a:pt x="1227" y="981"/>
                    </a:lnTo>
                    <a:lnTo>
                      <a:pt x="1227" y="983"/>
                    </a:lnTo>
                    <a:lnTo>
                      <a:pt x="1225" y="983"/>
                    </a:lnTo>
                    <a:lnTo>
                      <a:pt x="1225" y="981"/>
                    </a:lnTo>
                    <a:close/>
                    <a:moveTo>
                      <a:pt x="1140" y="1303"/>
                    </a:moveTo>
                    <a:lnTo>
                      <a:pt x="1142" y="1303"/>
                    </a:lnTo>
                    <a:lnTo>
                      <a:pt x="1142" y="1306"/>
                    </a:lnTo>
                    <a:lnTo>
                      <a:pt x="1140" y="1306"/>
                    </a:lnTo>
                    <a:lnTo>
                      <a:pt x="1140" y="1303"/>
                    </a:lnTo>
                    <a:close/>
                    <a:moveTo>
                      <a:pt x="1326" y="1653"/>
                    </a:moveTo>
                    <a:lnTo>
                      <a:pt x="1327" y="1653"/>
                    </a:lnTo>
                    <a:lnTo>
                      <a:pt x="1326" y="1653"/>
                    </a:lnTo>
                    <a:close/>
                    <a:moveTo>
                      <a:pt x="1246" y="1534"/>
                    </a:moveTo>
                    <a:lnTo>
                      <a:pt x="1247" y="1534"/>
                    </a:lnTo>
                    <a:lnTo>
                      <a:pt x="1247" y="1536"/>
                    </a:lnTo>
                    <a:lnTo>
                      <a:pt x="1246" y="1536"/>
                    </a:lnTo>
                    <a:lnTo>
                      <a:pt x="1246" y="1534"/>
                    </a:lnTo>
                    <a:close/>
                    <a:moveTo>
                      <a:pt x="1276" y="1590"/>
                    </a:moveTo>
                    <a:lnTo>
                      <a:pt x="1278" y="1590"/>
                    </a:lnTo>
                    <a:lnTo>
                      <a:pt x="1278" y="1592"/>
                    </a:lnTo>
                    <a:lnTo>
                      <a:pt x="1276" y="1592"/>
                    </a:lnTo>
                    <a:lnTo>
                      <a:pt x="1276" y="1590"/>
                    </a:lnTo>
                    <a:close/>
                    <a:moveTo>
                      <a:pt x="1270" y="1602"/>
                    </a:moveTo>
                    <a:lnTo>
                      <a:pt x="1271" y="1602"/>
                    </a:lnTo>
                    <a:lnTo>
                      <a:pt x="1271" y="1604"/>
                    </a:lnTo>
                    <a:lnTo>
                      <a:pt x="1270" y="1604"/>
                    </a:lnTo>
                    <a:lnTo>
                      <a:pt x="1270" y="1602"/>
                    </a:lnTo>
                    <a:close/>
                    <a:moveTo>
                      <a:pt x="1217" y="1555"/>
                    </a:moveTo>
                    <a:lnTo>
                      <a:pt x="1219" y="1555"/>
                    </a:lnTo>
                    <a:lnTo>
                      <a:pt x="1217" y="1555"/>
                    </a:lnTo>
                    <a:close/>
                    <a:moveTo>
                      <a:pt x="1183" y="1099"/>
                    </a:moveTo>
                    <a:lnTo>
                      <a:pt x="1185" y="1099"/>
                    </a:lnTo>
                    <a:lnTo>
                      <a:pt x="1185" y="1100"/>
                    </a:lnTo>
                    <a:lnTo>
                      <a:pt x="1183" y="1100"/>
                    </a:lnTo>
                    <a:lnTo>
                      <a:pt x="1183" y="1099"/>
                    </a:lnTo>
                    <a:close/>
                    <a:moveTo>
                      <a:pt x="1230" y="1449"/>
                    </a:moveTo>
                    <a:lnTo>
                      <a:pt x="1232" y="1449"/>
                    </a:lnTo>
                    <a:lnTo>
                      <a:pt x="1232" y="1451"/>
                    </a:lnTo>
                    <a:lnTo>
                      <a:pt x="1230" y="1451"/>
                    </a:lnTo>
                    <a:lnTo>
                      <a:pt x="1230" y="1449"/>
                    </a:lnTo>
                    <a:close/>
                    <a:moveTo>
                      <a:pt x="1181" y="1374"/>
                    </a:moveTo>
                    <a:lnTo>
                      <a:pt x="1181" y="1376"/>
                    </a:lnTo>
                    <a:lnTo>
                      <a:pt x="1181" y="1374"/>
                    </a:lnTo>
                    <a:close/>
                    <a:moveTo>
                      <a:pt x="1208" y="1116"/>
                    </a:moveTo>
                    <a:lnTo>
                      <a:pt x="1210" y="1116"/>
                    </a:lnTo>
                    <a:lnTo>
                      <a:pt x="1210" y="1117"/>
                    </a:lnTo>
                    <a:lnTo>
                      <a:pt x="1208" y="1117"/>
                    </a:lnTo>
                    <a:lnTo>
                      <a:pt x="1208" y="1116"/>
                    </a:lnTo>
                    <a:close/>
                    <a:moveTo>
                      <a:pt x="1268" y="1521"/>
                    </a:moveTo>
                    <a:lnTo>
                      <a:pt x="1270" y="1521"/>
                    </a:lnTo>
                    <a:lnTo>
                      <a:pt x="1270" y="1524"/>
                    </a:lnTo>
                    <a:lnTo>
                      <a:pt x="1268" y="1524"/>
                    </a:lnTo>
                    <a:lnTo>
                      <a:pt x="1268" y="1521"/>
                    </a:lnTo>
                    <a:close/>
                    <a:moveTo>
                      <a:pt x="1162" y="1243"/>
                    </a:moveTo>
                    <a:lnTo>
                      <a:pt x="1164" y="1243"/>
                    </a:lnTo>
                    <a:lnTo>
                      <a:pt x="1164" y="1245"/>
                    </a:lnTo>
                    <a:lnTo>
                      <a:pt x="1162" y="1245"/>
                    </a:lnTo>
                    <a:lnTo>
                      <a:pt x="1162" y="1243"/>
                    </a:lnTo>
                    <a:close/>
                    <a:moveTo>
                      <a:pt x="1225" y="959"/>
                    </a:moveTo>
                    <a:lnTo>
                      <a:pt x="1227" y="959"/>
                    </a:lnTo>
                    <a:lnTo>
                      <a:pt x="1227" y="961"/>
                    </a:lnTo>
                    <a:lnTo>
                      <a:pt x="1225" y="961"/>
                    </a:lnTo>
                    <a:lnTo>
                      <a:pt x="1225" y="959"/>
                    </a:lnTo>
                    <a:close/>
                    <a:moveTo>
                      <a:pt x="1179" y="1424"/>
                    </a:moveTo>
                    <a:lnTo>
                      <a:pt x="1181" y="1424"/>
                    </a:lnTo>
                    <a:lnTo>
                      <a:pt x="1181" y="1425"/>
                    </a:lnTo>
                    <a:lnTo>
                      <a:pt x="1179" y="1425"/>
                    </a:lnTo>
                    <a:lnTo>
                      <a:pt x="1179" y="1424"/>
                    </a:lnTo>
                    <a:close/>
                    <a:moveTo>
                      <a:pt x="1154" y="1187"/>
                    </a:moveTo>
                    <a:lnTo>
                      <a:pt x="1156" y="1187"/>
                    </a:lnTo>
                    <a:lnTo>
                      <a:pt x="1154" y="1187"/>
                    </a:lnTo>
                    <a:close/>
                    <a:moveTo>
                      <a:pt x="1217" y="1553"/>
                    </a:moveTo>
                    <a:lnTo>
                      <a:pt x="1220" y="1553"/>
                    </a:lnTo>
                    <a:lnTo>
                      <a:pt x="1220" y="1555"/>
                    </a:lnTo>
                    <a:lnTo>
                      <a:pt x="1217" y="1555"/>
                    </a:lnTo>
                    <a:lnTo>
                      <a:pt x="1217" y="1553"/>
                    </a:lnTo>
                    <a:close/>
                    <a:moveTo>
                      <a:pt x="1164" y="1134"/>
                    </a:moveTo>
                    <a:lnTo>
                      <a:pt x="1166" y="1134"/>
                    </a:lnTo>
                    <a:lnTo>
                      <a:pt x="1166" y="1136"/>
                    </a:lnTo>
                    <a:lnTo>
                      <a:pt x="1164" y="1136"/>
                    </a:lnTo>
                    <a:lnTo>
                      <a:pt x="1164" y="1134"/>
                    </a:lnTo>
                    <a:close/>
                    <a:moveTo>
                      <a:pt x="1224" y="954"/>
                    </a:moveTo>
                    <a:lnTo>
                      <a:pt x="1225" y="954"/>
                    </a:lnTo>
                    <a:lnTo>
                      <a:pt x="1225" y="956"/>
                    </a:lnTo>
                    <a:lnTo>
                      <a:pt x="1224" y="956"/>
                    </a:lnTo>
                    <a:lnTo>
                      <a:pt x="1224" y="954"/>
                    </a:lnTo>
                    <a:close/>
                    <a:moveTo>
                      <a:pt x="1145" y="1252"/>
                    </a:moveTo>
                    <a:lnTo>
                      <a:pt x="1149" y="1252"/>
                    </a:lnTo>
                    <a:lnTo>
                      <a:pt x="1149" y="1253"/>
                    </a:lnTo>
                    <a:lnTo>
                      <a:pt x="1145" y="1253"/>
                    </a:lnTo>
                    <a:lnTo>
                      <a:pt x="1145" y="1252"/>
                    </a:lnTo>
                    <a:close/>
                    <a:moveTo>
                      <a:pt x="1169" y="1415"/>
                    </a:moveTo>
                    <a:lnTo>
                      <a:pt x="1171" y="1415"/>
                    </a:lnTo>
                    <a:lnTo>
                      <a:pt x="1171" y="1417"/>
                    </a:lnTo>
                    <a:lnTo>
                      <a:pt x="1169" y="1417"/>
                    </a:lnTo>
                    <a:lnTo>
                      <a:pt x="1169" y="1415"/>
                    </a:lnTo>
                    <a:close/>
                    <a:moveTo>
                      <a:pt x="1198" y="1427"/>
                    </a:moveTo>
                    <a:lnTo>
                      <a:pt x="1200" y="1427"/>
                    </a:lnTo>
                    <a:lnTo>
                      <a:pt x="1200" y="1429"/>
                    </a:lnTo>
                    <a:lnTo>
                      <a:pt x="1198" y="1429"/>
                    </a:lnTo>
                    <a:lnTo>
                      <a:pt x="1198" y="1427"/>
                    </a:lnTo>
                    <a:close/>
                    <a:moveTo>
                      <a:pt x="1186" y="1485"/>
                    </a:moveTo>
                    <a:lnTo>
                      <a:pt x="1188" y="1485"/>
                    </a:lnTo>
                    <a:lnTo>
                      <a:pt x="1188" y="1487"/>
                    </a:lnTo>
                    <a:lnTo>
                      <a:pt x="1186" y="1487"/>
                    </a:lnTo>
                    <a:lnTo>
                      <a:pt x="1186" y="1485"/>
                    </a:lnTo>
                    <a:close/>
                    <a:moveTo>
                      <a:pt x="1186" y="1459"/>
                    </a:moveTo>
                    <a:lnTo>
                      <a:pt x="1186" y="1461"/>
                    </a:lnTo>
                    <a:lnTo>
                      <a:pt x="1186" y="1459"/>
                    </a:lnTo>
                    <a:close/>
                    <a:moveTo>
                      <a:pt x="1185" y="1461"/>
                    </a:moveTo>
                    <a:lnTo>
                      <a:pt x="1186" y="1461"/>
                    </a:lnTo>
                    <a:lnTo>
                      <a:pt x="1186" y="1463"/>
                    </a:lnTo>
                    <a:lnTo>
                      <a:pt x="1185" y="1463"/>
                    </a:lnTo>
                    <a:lnTo>
                      <a:pt x="1185" y="1461"/>
                    </a:lnTo>
                    <a:close/>
                    <a:moveTo>
                      <a:pt x="1164" y="1242"/>
                    </a:moveTo>
                    <a:lnTo>
                      <a:pt x="1166" y="1242"/>
                    </a:lnTo>
                    <a:lnTo>
                      <a:pt x="1166" y="1243"/>
                    </a:lnTo>
                    <a:lnTo>
                      <a:pt x="1164" y="1243"/>
                    </a:lnTo>
                    <a:lnTo>
                      <a:pt x="1164" y="1242"/>
                    </a:lnTo>
                    <a:close/>
                    <a:moveTo>
                      <a:pt x="1241" y="1493"/>
                    </a:moveTo>
                    <a:lnTo>
                      <a:pt x="1242" y="1493"/>
                    </a:lnTo>
                    <a:lnTo>
                      <a:pt x="1242" y="1495"/>
                    </a:lnTo>
                    <a:lnTo>
                      <a:pt x="1241" y="1495"/>
                    </a:lnTo>
                    <a:lnTo>
                      <a:pt x="1241" y="1493"/>
                    </a:lnTo>
                    <a:close/>
                    <a:moveTo>
                      <a:pt x="1200" y="1250"/>
                    </a:moveTo>
                    <a:lnTo>
                      <a:pt x="1203" y="1250"/>
                    </a:lnTo>
                    <a:lnTo>
                      <a:pt x="1200" y="1250"/>
                    </a:lnTo>
                    <a:close/>
                    <a:moveTo>
                      <a:pt x="1208" y="1065"/>
                    </a:moveTo>
                    <a:lnTo>
                      <a:pt x="1210" y="1065"/>
                    </a:lnTo>
                    <a:lnTo>
                      <a:pt x="1210" y="1066"/>
                    </a:lnTo>
                    <a:lnTo>
                      <a:pt x="1208" y="1066"/>
                    </a:lnTo>
                    <a:lnTo>
                      <a:pt x="1208" y="1065"/>
                    </a:lnTo>
                    <a:close/>
                    <a:moveTo>
                      <a:pt x="1220" y="1555"/>
                    </a:moveTo>
                    <a:lnTo>
                      <a:pt x="1222" y="1555"/>
                    </a:lnTo>
                    <a:lnTo>
                      <a:pt x="1222" y="1556"/>
                    </a:lnTo>
                    <a:lnTo>
                      <a:pt x="1220" y="1556"/>
                    </a:lnTo>
                    <a:lnTo>
                      <a:pt x="1220" y="1555"/>
                    </a:lnTo>
                    <a:close/>
                    <a:moveTo>
                      <a:pt x="1203" y="1532"/>
                    </a:moveTo>
                    <a:lnTo>
                      <a:pt x="1207" y="1532"/>
                    </a:lnTo>
                    <a:lnTo>
                      <a:pt x="1207" y="1534"/>
                    </a:lnTo>
                    <a:lnTo>
                      <a:pt x="1203" y="1534"/>
                    </a:lnTo>
                    <a:lnTo>
                      <a:pt x="1203" y="1532"/>
                    </a:lnTo>
                    <a:close/>
                    <a:moveTo>
                      <a:pt x="1173" y="1391"/>
                    </a:moveTo>
                    <a:lnTo>
                      <a:pt x="1174" y="1391"/>
                    </a:lnTo>
                    <a:lnTo>
                      <a:pt x="1174" y="1393"/>
                    </a:lnTo>
                    <a:lnTo>
                      <a:pt x="1173" y="1393"/>
                    </a:lnTo>
                    <a:lnTo>
                      <a:pt x="1173" y="1391"/>
                    </a:lnTo>
                    <a:close/>
                    <a:moveTo>
                      <a:pt x="1200" y="1442"/>
                    </a:moveTo>
                    <a:lnTo>
                      <a:pt x="1202" y="1442"/>
                    </a:lnTo>
                    <a:lnTo>
                      <a:pt x="1202" y="1444"/>
                    </a:lnTo>
                    <a:lnTo>
                      <a:pt x="1200" y="1444"/>
                    </a:lnTo>
                    <a:lnTo>
                      <a:pt x="1200" y="1442"/>
                    </a:lnTo>
                    <a:close/>
                    <a:moveTo>
                      <a:pt x="1383" y="1663"/>
                    </a:moveTo>
                    <a:lnTo>
                      <a:pt x="1385" y="1663"/>
                    </a:lnTo>
                    <a:lnTo>
                      <a:pt x="1385" y="1665"/>
                    </a:lnTo>
                    <a:lnTo>
                      <a:pt x="1383" y="1665"/>
                    </a:lnTo>
                    <a:lnTo>
                      <a:pt x="1383" y="1663"/>
                    </a:lnTo>
                    <a:close/>
                    <a:moveTo>
                      <a:pt x="1343" y="1657"/>
                    </a:moveTo>
                    <a:lnTo>
                      <a:pt x="1344" y="1657"/>
                    </a:lnTo>
                    <a:lnTo>
                      <a:pt x="1344" y="1660"/>
                    </a:lnTo>
                    <a:lnTo>
                      <a:pt x="1343" y="1660"/>
                    </a:lnTo>
                    <a:lnTo>
                      <a:pt x="1343" y="1657"/>
                    </a:lnTo>
                    <a:close/>
                    <a:moveTo>
                      <a:pt x="1215" y="1105"/>
                    </a:moveTo>
                    <a:lnTo>
                      <a:pt x="1217" y="1105"/>
                    </a:lnTo>
                    <a:lnTo>
                      <a:pt x="1217" y="1109"/>
                    </a:lnTo>
                    <a:lnTo>
                      <a:pt x="1215" y="1109"/>
                    </a:lnTo>
                    <a:lnTo>
                      <a:pt x="1215" y="1105"/>
                    </a:lnTo>
                    <a:close/>
                    <a:moveTo>
                      <a:pt x="1210" y="1071"/>
                    </a:moveTo>
                    <a:lnTo>
                      <a:pt x="1210" y="1073"/>
                    </a:lnTo>
                    <a:lnTo>
                      <a:pt x="1210" y="1071"/>
                    </a:lnTo>
                    <a:close/>
                    <a:moveTo>
                      <a:pt x="1169" y="1481"/>
                    </a:moveTo>
                    <a:lnTo>
                      <a:pt x="1171" y="1481"/>
                    </a:lnTo>
                    <a:lnTo>
                      <a:pt x="1169" y="1481"/>
                    </a:lnTo>
                    <a:close/>
                    <a:moveTo>
                      <a:pt x="1154" y="1306"/>
                    </a:moveTo>
                    <a:lnTo>
                      <a:pt x="1156" y="1306"/>
                    </a:lnTo>
                    <a:lnTo>
                      <a:pt x="1156" y="1310"/>
                    </a:lnTo>
                    <a:lnTo>
                      <a:pt x="1154" y="1310"/>
                    </a:lnTo>
                    <a:lnTo>
                      <a:pt x="1154" y="1306"/>
                    </a:lnTo>
                    <a:close/>
                    <a:moveTo>
                      <a:pt x="1292" y="1577"/>
                    </a:moveTo>
                    <a:lnTo>
                      <a:pt x="1293" y="1577"/>
                    </a:lnTo>
                    <a:lnTo>
                      <a:pt x="1293" y="1578"/>
                    </a:lnTo>
                    <a:lnTo>
                      <a:pt x="1292" y="1578"/>
                    </a:lnTo>
                    <a:lnTo>
                      <a:pt x="1292" y="1577"/>
                    </a:lnTo>
                    <a:close/>
                    <a:moveTo>
                      <a:pt x="1227" y="997"/>
                    </a:moveTo>
                    <a:lnTo>
                      <a:pt x="1229" y="997"/>
                    </a:lnTo>
                    <a:lnTo>
                      <a:pt x="1229" y="998"/>
                    </a:lnTo>
                    <a:lnTo>
                      <a:pt x="1227" y="998"/>
                    </a:lnTo>
                    <a:lnTo>
                      <a:pt x="1227" y="997"/>
                    </a:lnTo>
                    <a:close/>
                    <a:moveTo>
                      <a:pt x="1151" y="1185"/>
                    </a:moveTo>
                    <a:lnTo>
                      <a:pt x="1152" y="1185"/>
                    </a:lnTo>
                    <a:lnTo>
                      <a:pt x="1152" y="1187"/>
                    </a:lnTo>
                    <a:lnTo>
                      <a:pt x="1151" y="1187"/>
                    </a:lnTo>
                    <a:lnTo>
                      <a:pt x="1151" y="1185"/>
                    </a:lnTo>
                    <a:close/>
                    <a:moveTo>
                      <a:pt x="1205" y="1478"/>
                    </a:moveTo>
                    <a:lnTo>
                      <a:pt x="1207" y="1478"/>
                    </a:lnTo>
                    <a:lnTo>
                      <a:pt x="1207" y="1480"/>
                    </a:lnTo>
                    <a:lnTo>
                      <a:pt x="1205" y="1480"/>
                    </a:lnTo>
                    <a:lnTo>
                      <a:pt x="1205" y="1478"/>
                    </a:lnTo>
                    <a:close/>
                    <a:moveTo>
                      <a:pt x="1169" y="1357"/>
                    </a:moveTo>
                    <a:lnTo>
                      <a:pt x="1171" y="1357"/>
                    </a:lnTo>
                    <a:lnTo>
                      <a:pt x="1169" y="1357"/>
                    </a:lnTo>
                    <a:close/>
                    <a:moveTo>
                      <a:pt x="1186" y="1071"/>
                    </a:moveTo>
                    <a:lnTo>
                      <a:pt x="1188" y="1071"/>
                    </a:lnTo>
                    <a:lnTo>
                      <a:pt x="1188" y="1073"/>
                    </a:lnTo>
                    <a:lnTo>
                      <a:pt x="1186" y="1073"/>
                    </a:lnTo>
                    <a:lnTo>
                      <a:pt x="1186" y="1071"/>
                    </a:lnTo>
                    <a:close/>
                    <a:moveTo>
                      <a:pt x="1198" y="1439"/>
                    </a:moveTo>
                    <a:lnTo>
                      <a:pt x="1198" y="1441"/>
                    </a:lnTo>
                    <a:lnTo>
                      <a:pt x="1198" y="1439"/>
                    </a:lnTo>
                    <a:close/>
                    <a:moveTo>
                      <a:pt x="1196" y="1485"/>
                    </a:moveTo>
                    <a:lnTo>
                      <a:pt x="1198" y="1485"/>
                    </a:lnTo>
                    <a:lnTo>
                      <a:pt x="1198" y="1488"/>
                    </a:lnTo>
                    <a:lnTo>
                      <a:pt x="1196" y="1488"/>
                    </a:lnTo>
                    <a:lnTo>
                      <a:pt x="1196" y="1485"/>
                    </a:lnTo>
                    <a:close/>
                    <a:moveTo>
                      <a:pt x="1300" y="1638"/>
                    </a:moveTo>
                    <a:lnTo>
                      <a:pt x="1302" y="1638"/>
                    </a:lnTo>
                    <a:lnTo>
                      <a:pt x="1302" y="1640"/>
                    </a:lnTo>
                    <a:lnTo>
                      <a:pt x="1300" y="1640"/>
                    </a:lnTo>
                    <a:lnTo>
                      <a:pt x="1300" y="1638"/>
                    </a:lnTo>
                    <a:close/>
                    <a:moveTo>
                      <a:pt x="1259" y="1595"/>
                    </a:moveTo>
                    <a:lnTo>
                      <a:pt x="1261" y="1595"/>
                    </a:lnTo>
                    <a:lnTo>
                      <a:pt x="1259" y="1595"/>
                    </a:lnTo>
                    <a:close/>
                    <a:moveTo>
                      <a:pt x="1168" y="1480"/>
                    </a:moveTo>
                    <a:lnTo>
                      <a:pt x="1169" y="1480"/>
                    </a:lnTo>
                    <a:lnTo>
                      <a:pt x="1169" y="1481"/>
                    </a:lnTo>
                    <a:lnTo>
                      <a:pt x="1168" y="1481"/>
                    </a:lnTo>
                    <a:lnTo>
                      <a:pt x="1168" y="1480"/>
                    </a:lnTo>
                    <a:close/>
                    <a:moveTo>
                      <a:pt x="1179" y="1458"/>
                    </a:moveTo>
                    <a:lnTo>
                      <a:pt x="1179" y="1459"/>
                    </a:lnTo>
                    <a:lnTo>
                      <a:pt x="1179" y="1458"/>
                    </a:lnTo>
                    <a:close/>
                    <a:moveTo>
                      <a:pt x="1331" y="1655"/>
                    </a:moveTo>
                    <a:lnTo>
                      <a:pt x="1332" y="1655"/>
                    </a:lnTo>
                    <a:lnTo>
                      <a:pt x="1332" y="1657"/>
                    </a:lnTo>
                    <a:lnTo>
                      <a:pt x="1331" y="1657"/>
                    </a:lnTo>
                    <a:lnTo>
                      <a:pt x="1331" y="1655"/>
                    </a:lnTo>
                    <a:close/>
                    <a:moveTo>
                      <a:pt x="1259" y="1558"/>
                    </a:moveTo>
                    <a:lnTo>
                      <a:pt x="1261" y="1558"/>
                    </a:lnTo>
                    <a:lnTo>
                      <a:pt x="1261" y="1560"/>
                    </a:lnTo>
                    <a:lnTo>
                      <a:pt x="1259" y="1560"/>
                    </a:lnTo>
                    <a:lnTo>
                      <a:pt x="1259" y="1558"/>
                    </a:lnTo>
                    <a:close/>
                    <a:moveTo>
                      <a:pt x="1164" y="1388"/>
                    </a:moveTo>
                    <a:lnTo>
                      <a:pt x="1166" y="1388"/>
                    </a:lnTo>
                    <a:lnTo>
                      <a:pt x="1166" y="1390"/>
                    </a:lnTo>
                    <a:lnTo>
                      <a:pt x="1164" y="1390"/>
                    </a:lnTo>
                    <a:lnTo>
                      <a:pt x="1164" y="1388"/>
                    </a:lnTo>
                    <a:close/>
                    <a:moveTo>
                      <a:pt x="1261" y="1607"/>
                    </a:moveTo>
                    <a:lnTo>
                      <a:pt x="1263" y="1607"/>
                    </a:lnTo>
                    <a:lnTo>
                      <a:pt x="1263" y="1609"/>
                    </a:lnTo>
                    <a:lnTo>
                      <a:pt x="1261" y="1609"/>
                    </a:lnTo>
                    <a:lnTo>
                      <a:pt x="1261" y="1607"/>
                    </a:lnTo>
                    <a:close/>
                    <a:moveTo>
                      <a:pt x="1246" y="1505"/>
                    </a:moveTo>
                    <a:lnTo>
                      <a:pt x="1247" y="1505"/>
                    </a:lnTo>
                    <a:lnTo>
                      <a:pt x="1247" y="1507"/>
                    </a:lnTo>
                    <a:lnTo>
                      <a:pt x="1246" y="1507"/>
                    </a:lnTo>
                    <a:lnTo>
                      <a:pt x="1246" y="1505"/>
                    </a:lnTo>
                    <a:close/>
                    <a:moveTo>
                      <a:pt x="1185" y="1427"/>
                    </a:moveTo>
                    <a:lnTo>
                      <a:pt x="1186" y="1427"/>
                    </a:lnTo>
                    <a:lnTo>
                      <a:pt x="1185" y="1427"/>
                    </a:lnTo>
                    <a:close/>
                    <a:moveTo>
                      <a:pt x="1186" y="1461"/>
                    </a:moveTo>
                    <a:lnTo>
                      <a:pt x="1188" y="1461"/>
                    </a:lnTo>
                    <a:lnTo>
                      <a:pt x="1188" y="1463"/>
                    </a:lnTo>
                    <a:lnTo>
                      <a:pt x="1186" y="1463"/>
                    </a:lnTo>
                    <a:lnTo>
                      <a:pt x="1186" y="1461"/>
                    </a:lnTo>
                    <a:close/>
                    <a:moveTo>
                      <a:pt x="1236" y="995"/>
                    </a:moveTo>
                    <a:lnTo>
                      <a:pt x="1236" y="997"/>
                    </a:lnTo>
                    <a:lnTo>
                      <a:pt x="1236" y="995"/>
                    </a:lnTo>
                    <a:close/>
                    <a:moveTo>
                      <a:pt x="1196" y="1437"/>
                    </a:moveTo>
                    <a:lnTo>
                      <a:pt x="1198" y="1437"/>
                    </a:lnTo>
                    <a:lnTo>
                      <a:pt x="1198" y="1439"/>
                    </a:lnTo>
                    <a:lnTo>
                      <a:pt x="1196" y="1439"/>
                    </a:lnTo>
                    <a:lnTo>
                      <a:pt x="1196" y="1437"/>
                    </a:lnTo>
                    <a:close/>
                    <a:moveTo>
                      <a:pt x="1171" y="1390"/>
                    </a:moveTo>
                    <a:lnTo>
                      <a:pt x="1173" y="1390"/>
                    </a:lnTo>
                    <a:lnTo>
                      <a:pt x="1173" y="1391"/>
                    </a:lnTo>
                    <a:lnTo>
                      <a:pt x="1171" y="1391"/>
                    </a:lnTo>
                    <a:lnTo>
                      <a:pt x="1171" y="1390"/>
                    </a:lnTo>
                    <a:close/>
                    <a:moveTo>
                      <a:pt x="1191" y="1119"/>
                    </a:moveTo>
                    <a:lnTo>
                      <a:pt x="1191" y="1121"/>
                    </a:lnTo>
                    <a:lnTo>
                      <a:pt x="1191" y="1119"/>
                    </a:lnTo>
                    <a:close/>
                    <a:moveTo>
                      <a:pt x="1191" y="1061"/>
                    </a:moveTo>
                    <a:lnTo>
                      <a:pt x="1191" y="1063"/>
                    </a:lnTo>
                    <a:lnTo>
                      <a:pt x="1191" y="1061"/>
                    </a:lnTo>
                    <a:close/>
                    <a:moveTo>
                      <a:pt x="1212" y="1107"/>
                    </a:moveTo>
                    <a:lnTo>
                      <a:pt x="1213" y="1107"/>
                    </a:lnTo>
                    <a:lnTo>
                      <a:pt x="1213" y="1109"/>
                    </a:lnTo>
                    <a:lnTo>
                      <a:pt x="1212" y="1109"/>
                    </a:lnTo>
                    <a:lnTo>
                      <a:pt x="1212" y="1107"/>
                    </a:lnTo>
                    <a:close/>
                    <a:moveTo>
                      <a:pt x="1212" y="1524"/>
                    </a:moveTo>
                    <a:lnTo>
                      <a:pt x="1213" y="1524"/>
                    </a:lnTo>
                    <a:lnTo>
                      <a:pt x="1213" y="1526"/>
                    </a:lnTo>
                    <a:lnTo>
                      <a:pt x="1212" y="1526"/>
                    </a:lnTo>
                    <a:lnTo>
                      <a:pt x="1212" y="1524"/>
                    </a:lnTo>
                    <a:close/>
                    <a:moveTo>
                      <a:pt x="1212" y="1558"/>
                    </a:moveTo>
                    <a:lnTo>
                      <a:pt x="1213" y="1558"/>
                    </a:lnTo>
                    <a:lnTo>
                      <a:pt x="1213" y="1560"/>
                    </a:lnTo>
                    <a:lnTo>
                      <a:pt x="1212" y="1560"/>
                    </a:lnTo>
                    <a:lnTo>
                      <a:pt x="1212" y="1558"/>
                    </a:lnTo>
                    <a:close/>
                    <a:moveTo>
                      <a:pt x="1179" y="1420"/>
                    </a:moveTo>
                    <a:lnTo>
                      <a:pt x="1179" y="1422"/>
                    </a:lnTo>
                    <a:lnTo>
                      <a:pt x="1179" y="1420"/>
                    </a:lnTo>
                    <a:close/>
                    <a:moveTo>
                      <a:pt x="1440" y="1650"/>
                    </a:moveTo>
                    <a:lnTo>
                      <a:pt x="1440" y="1652"/>
                    </a:lnTo>
                    <a:lnTo>
                      <a:pt x="1440" y="1650"/>
                    </a:lnTo>
                    <a:close/>
                    <a:moveTo>
                      <a:pt x="1208" y="1243"/>
                    </a:moveTo>
                    <a:lnTo>
                      <a:pt x="1210" y="1243"/>
                    </a:lnTo>
                    <a:lnTo>
                      <a:pt x="1208" y="1243"/>
                    </a:lnTo>
                    <a:close/>
                    <a:moveTo>
                      <a:pt x="1293" y="1616"/>
                    </a:moveTo>
                    <a:lnTo>
                      <a:pt x="1295" y="1616"/>
                    </a:lnTo>
                    <a:lnTo>
                      <a:pt x="1293" y="1616"/>
                    </a:lnTo>
                    <a:close/>
                    <a:moveTo>
                      <a:pt x="1341" y="1648"/>
                    </a:moveTo>
                    <a:lnTo>
                      <a:pt x="1343" y="1648"/>
                    </a:lnTo>
                    <a:lnTo>
                      <a:pt x="1343" y="1650"/>
                    </a:lnTo>
                    <a:lnTo>
                      <a:pt x="1341" y="1650"/>
                    </a:lnTo>
                    <a:lnTo>
                      <a:pt x="1341" y="1648"/>
                    </a:lnTo>
                    <a:close/>
                    <a:moveTo>
                      <a:pt x="1185" y="1463"/>
                    </a:moveTo>
                    <a:lnTo>
                      <a:pt x="1186" y="1463"/>
                    </a:lnTo>
                    <a:lnTo>
                      <a:pt x="1186" y="1464"/>
                    </a:lnTo>
                    <a:lnTo>
                      <a:pt x="1185" y="1464"/>
                    </a:lnTo>
                    <a:lnTo>
                      <a:pt x="1185" y="1463"/>
                    </a:lnTo>
                    <a:close/>
                    <a:moveTo>
                      <a:pt x="1212" y="1100"/>
                    </a:moveTo>
                    <a:lnTo>
                      <a:pt x="1213" y="1100"/>
                    </a:lnTo>
                    <a:lnTo>
                      <a:pt x="1213" y="1102"/>
                    </a:lnTo>
                    <a:lnTo>
                      <a:pt x="1212" y="1102"/>
                    </a:lnTo>
                    <a:lnTo>
                      <a:pt x="1212" y="1100"/>
                    </a:lnTo>
                    <a:close/>
                    <a:moveTo>
                      <a:pt x="1166" y="1337"/>
                    </a:moveTo>
                    <a:lnTo>
                      <a:pt x="1166" y="1339"/>
                    </a:lnTo>
                    <a:lnTo>
                      <a:pt x="1166" y="1337"/>
                    </a:lnTo>
                    <a:close/>
                    <a:moveTo>
                      <a:pt x="1185" y="1441"/>
                    </a:moveTo>
                    <a:lnTo>
                      <a:pt x="1186" y="1441"/>
                    </a:lnTo>
                    <a:lnTo>
                      <a:pt x="1186" y="1442"/>
                    </a:lnTo>
                    <a:lnTo>
                      <a:pt x="1185" y="1442"/>
                    </a:lnTo>
                    <a:lnTo>
                      <a:pt x="1185" y="1441"/>
                    </a:lnTo>
                    <a:close/>
                    <a:moveTo>
                      <a:pt x="1212" y="1260"/>
                    </a:moveTo>
                    <a:lnTo>
                      <a:pt x="1213" y="1260"/>
                    </a:lnTo>
                    <a:lnTo>
                      <a:pt x="1212" y="1260"/>
                    </a:lnTo>
                    <a:close/>
                    <a:moveTo>
                      <a:pt x="1225" y="956"/>
                    </a:moveTo>
                    <a:lnTo>
                      <a:pt x="1227" y="956"/>
                    </a:lnTo>
                    <a:lnTo>
                      <a:pt x="1227" y="957"/>
                    </a:lnTo>
                    <a:lnTo>
                      <a:pt x="1225" y="957"/>
                    </a:lnTo>
                    <a:lnTo>
                      <a:pt x="1225" y="956"/>
                    </a:lnTo>
                    <a:close/>
                    <a:moveTo>
                      <a:pt x="1270" y="1614"/>
                    </a:moveTo>
                    <a:lnTo>
                      <a:pt x="1271" y="1614"/>
                    </a:lnTo>
                    <a:lnTo>
                      <a:pt x="1270" y="1614"/>
                    </a:lnTo>
                    <a:close/>
                    <a:moveTo>
                      <a:pt x="1326" y="1635"/>
                    </a:moveTo>
                    <a:lnTo>
                      <a:pt x="1327" y="1635"/>
                    </a:lnTo>
                    <a:lnTo>
                      <a:pt x="1326" y="1635"/>
                    </a:lnTo>
                    <a:close/>
                    <a:moveTo>
                      <a:pt x="1159" y="1415"/>
                    </a:moveTo>
                    <a:lnTo>
                      <a:pt x="1159" y="1417"/>
                    </a:lnTo>
                    <a:lnTo>
                      <a:pt x="1159" y="1415"/>
                    </a:lnTo>
                    <a:close/>
                    <a:moveTo>
                      <a:pt x="1196" y="1430"/>
                    </a:moveTo>
                    <a:lnTo>
                      <a:pt x="1198" y="1430"/>
                    </a:lnTo>
                    <a:lnTo>
                      <a:pt x="1198" y="1432"/>
                    </a:lnTo>
                    <a:lnTo>
                      <a:pt x="1196" y="1432"/>
                    </a:lnTo>
                    <a:lnTo>
                      <a:pt x="1196" y="1430"/>
                    </a:lnTo>
                    <a:close/>
                    <a:moveTo>
                      <a:pt x="1208" y="1141"/>
                    </a:moveTo>
                    <a:lnTo>
                      <a:pt x="1208" y="1143"/>
                    </a:lnTo>
                    <a:lnTo>
                      <a:pt x="1208" y="1141"/>
                    </a:lnTo>
                    <a:close/>
                    <a:moveTo>
                      <a:pt x="1263" y="1597"/>
                    </a:moveTo>
                    <a:lnTo>
                      <a:pt x="1264" y="1597"/>
                    </a:lnTo>
                    <a:lnTo>
                      <a:pt x="1264" y="1599"/>
                    </a:lnTo>
                    <a:lnTo>
                      <a:pt x="1263" y="1599"/>
                    </a:lnTo>
                    <a:lnTo>
                      <a:pt x="1263" y="1597"/>
                    </a:lnTo>
                    <a:close/>
                    <a:moveTo>
                      <a:pt x="1225" y="1563"/>
                    </a:moveTo>
                    <a:lnTo>
                      <a:pt x="1227" y="1563"/>
                    </a:lnTo>
                    <a:lnTo>
                      <a:pt x="1225" y="1563"/>
                    </a:lnTo>
                    <a:lnTo>
                      <a:pt x="1224" y="1563"/>
                    </a:lnTo>
                    <a:lnTo>
                      <a:pt x="1225" y="1563"/>
                    </a:lnTo>
                    <a:close/>
                    <a:moveTo>
                      <a:pt x="1256" y="1592"/>
                    </a:moveTo>
                    <a:lnTo>
                      <a:pt x="1258" y="1592"/>
                    </a:lnTo>
                    <a:lnTo>
                      <a:pt x="1258" y="1594"/>
                    </a:lnTo>
                    <a:lnTo>
                      <a:pt x="1256" y="1594"/>
                    </a:lnTo>
                    <a:lnTo>
                      <a:pt x="1256" y="1592"/>
                    </a:lnTo>
                    <a:close/>
                    <a:moveTo>
                      <a:pt x="1203" y="1134"/>
                    </a:moveTo>
                    <a:lnTo>
                      <a:pt x="1203" y="1136"/>
                    </a:lnTo>
                    <a:lnTo>
                      <a:pt x="1203" y="1134"/>
                    </a:lnTo>
                    <a:close/>
                    <a:moveTo>
                      <a:pt x="1205" y="1073"/>
                    </a:moveTo>
                    <a:lnTo>
                      <a:pt x="1207" y="1073"/>
                    </a:lnTo>
                    <a:lnTo>
                      <a:pt x="1205" y="1073"/>
                    </a:lnTo>
                    <a:close/>
                    <a:moveTo>
                      <a:pt x="1229" y="1583"/>
                    </a:moveTo>
                    <a:lnTo>
                      <a:pt x="1230" y="1583"/>
                    </a:lnTo>
                    <a:lnTo>
                      <a:pt x="1230" y="1585"/>
                    </a:lnTo>
                    <a:lnTo>
                      <a:pt x="1229" y="1585"/>
                    </a:lnTo>
                    <a:lnTo>
                      <a:pt x="1229" y="1583"/>
                    </a:lnTo>
                    <a:close/>
                    <a:moveTo>
                      <a:pt x="1287" y="1595"/>
                    </a:moveTo>
                    <a:lnTo>
                      <a:pt x="1288" y="1595"/>
                    </a:lnTo>
                    <a:lnTo>
                      <a:pt x="1288" y="1597"/>
                    </a:lnTo>
                    <a:lnTo>
                      <a:pt x="1287" y="1597"/>
                    </a:lnTo>
                    <a:lnTo>
                      <a:pt x="1287" y="1595"/>
                    </a:lnTo>
                    <a:close/>
                    <a:moveTo>
                      <a:pt x="1230" y="1572"/>
                    </a:moveTo>
                    <a:lnTo>
                      <a:pt x="1232" y="1572"/>
                    </a:lnTo>
                    <a:lnTo>
                      <a:pt x="1232" y="1573"/>
                    </a:lnTo>
                    <a:lnTo>
                      <a:pt x="1230" y="1573"/>
                    </a:lnTo>
                    <a:lnTo>
                      <a:pt x="1230" y="1572"/>
                    </a:lnTo>
                    <a:close/>
                    <a:moveTo>
                      <a:pt x="1297" y="1611"/>
                    </a:moveTo>
                    <a:lnTo>
                      <a:pt x="1297" y="1612"/>
                    </a:lnTo>
                    <a:lnTo>
                      <a:pt x="1297" y="1611"/>
                    </a:lnTo>
                    <a:close/>
                    <a:moveTo>
                      <a:pt x="1230" y="940"/>
                    </a:moveTo>
                    <a:lnTo>
                      <a:pt x="1232" y="940"/>
                    </a:lnTo>
                    <a:lnTo>
                      <a:pt x="1232" y="942"/>
                    </a:lnTo>
                    <a:lnTo>
                      <a:pt x="1230" y="942"/>
                    </a:lnTo>
                    <a:lnTo>
                      <a:pt x="1230" y="940"/>
                    </a:lnTo>
                    <a:close/>
                    <a:moveTo>
                      <a:pt x="1191" y="1461"/>
                    </a:moveTo>
                    <a:lnTo>
                      <a:pt x="1193" y="1461"/>
                    </a:lnTo>
                    <a:lnTo>
                      <a:pt x="1193" y="1463"/>
                    </a:lnTo>
                    <a:lnTo>
                      <a:pt x="1191" y="1463"/>
                    </a:lnTo>
                    <a:lnTo>
                      <a:pt x="1191" y="1461"/>
                    </a:lnTo>
                    <a:close/>
                    <a:moveTo>
                      <a:pt x="1186" y="1424"/>
                    </a:moveTo>
                    <a:lnTo>
                      <a:pt x="1186" y="1425"/>
                    </a:lnTo>
                    <a:lnTo>
                      <a:pt x="1186" y="1424"/>
                    </a:lnTo>
                    <a:close/>
                    <a:moveTo>
                      <a:pt x="1263" y="1614"/>
                    </a:moveTo>
                    <a:lnTo>
                      <a:pt x="1263" y="1616"/>
                    </a:lnTo>
                    <a:lnTo>
                      <a:pt x="1263" y="1614"/>
                    </a:lnTo>
                    <a:close/>
                    <a:moveTo>
                      <a:pt x="1176" y="1468"/>
                    </a:moveTo>
                    <a:lnTo>
                      <a:pt x="1178" y="1468"/>
                    </a:lnTo>
                    <a:lnTo>
                      <a:pt x="1178" y="1470"/>
                    </a:lnTo>
                    <a:lnTo>
                      <a:pt x="1176" y="1470"/>
                    </a:lnTo>
                    <a:lnTo>
                      <a:pt x="1176" y="1468"/>
                    </a:lnTo>
                    <a:close/>
                    <a:moveTo>
                      <a:pt x="1358" y="1646"/>
                    </a:moveTo>
                    <a:lnTo>
                      <a:pt x="1360" y="1646"/>
                    </a:lnTo>
                    <a:lnTo>
                      <a:pt x="1358" y="1646"/>
                    </a:lnTo>
                    <a:close/>
                    <a:moveTo>
                      <a:pt x="1162" y="1143"/>
                    </a:moveTo>
                    <a:lnTo>
                      <a:pt x="1164" y="1143"/>
                    </a:lnTo>
                    <a:lnTo>
                      <a:pt x="1162" y="1143"/>
                    </a:lnTo>
                    <a:close/>
                    <a:moveTo>
                      <a:pt x="1385" y="1662"/>
                    </a:moveTo>
                    <a:lnTo>
                      <a:pt x="1387" y="1662"/>
                    </a:lnTo>
                    <a:lnTo>
                      <a:pt x="1387" y="1663"/>
                    </a:lnTo>
                    <a:lnTo>
                      <a:pt x="1385" y="1663"/>
                    </a:lnTo>
                    <a:lnTo>
                      <a:pt x="1385" y="1662"/>
                    </a:lnTo>
                    <a:close/>
                    <a:moveTo>
                      <a:pt x="1173" y="1240"/>
                    </a:moveTo>
                    <a:lnTo>
                      <a:pt x="1174" y="1240"/>
                    </a:lnTo>
                    <a:lnTo>
                      <a:pt x="1174" y="1242"/>
                    </a:lnTo>
                    <a:lnTo>
                      <a:pt x="1173" y="1242"/>
                    </a:lnTo>
                    <a:lnTo>
                      <a:pt x="1173" y="1240"/>
                    </a:lnTo>
                    <a:close/>
                    <a:moveTo>
                      <a:pt x="1212" y="1111"/>
                    </a:moveTo>
                    <a:lnTo>
                      <a:pt x="1213" y="1111"/>
                    </a:lnTo>
                    <a:lnTo>
                      <a:pt x="1213" y="1112"/>
                    </a:lnTo>
                    <a:lnTo>
                      <a:pt x="1212" y="1112"/>
                    </a:lnTo>
                    <a:lnTo>
                      <a:pt x="1212" y="1111"/>
                    </a:lnTo>
                    <a:close/>
                    <a:moveTo>
                      <a:pt x="1375" y="1663"/>
                    </a:moveTo>
                    <a:lnTo>
                      <a:pt x="1377" y="1663"/>
                    </a:lnTo>
                    <a:lnTo>
                      <a:pt x="1377" y="1665"/>
                    </a:lnTo>
                    <a:lnTo>
                      <a:pt x="1375" y="1665"/>
                    </a:lnTo>
                    <a:lnTo>
                      <a:pt x="1375" y="1663"/>
                    </a:lnTo>
                    <a:close/>
                    <a:moveTo>
                      <a:pt x="1227" y="1572"/>
                    </a:moveTo>
                    <a:lnTo>
                      <a:pt x="1229" y="1572"/>
                    </a:lnTo>
                    <a:lnTo>
                      <a:pt x="1227" y="1572"/>
                    </a:lnTo>
                    <a:close/>
                    <a:moveTo>
                      <a:pt x="1225" y="1577"/>
                    </a:moveTo>
                    <a:lnTo>
                      <a:pt x="1227" y="1577"/>
                    </a:lnTo>
                    <a:lnTo>
                      <a:pt x="1225" y="1577"/>
                    </a:lnTo>
                    <a:close/>
                    <a:moveTo>
                      <a:pt x="1174" y="1100"/>
                    </a:moveTo>
                    <a:lnTo>
                      <a:pt x="1176" y="1100"/>
                    </a:lnTo>
                    <a:lnTo>
                      <a:pt x="1176" y="1102"/>
                    </a:lnTo>
                    <a:lnTo>
                      <a:pt x="1174" y="1102"/>
                    </a:lnTo>
                    <a:lnTo>
                      <a:pt x="1174" y="1100"/>
                    </a:lnTo>
                    <a:close/>
                    <a:moveTo>
                      <a:pt x="1278" y="423"/>
                    </a:moveTo>
                    <a:lnTo>
                      <a:pt x="1278" y="425"/>
                    </a:lnTo>
                    <a:lnTo>
                      <a:pt x="1278" y="423"/>
                    </a:lnTo>
                    <a:close/>
                    <a:moveTo>
                      <a:pt x="1208" y="1124"/>
                    </a:moveTo>
                    <a:lnTo>
                      <a:pt x="1210" y="1124"/>
                    </a:lnTo>
                    <a:lnTo>
                      <a:pt x="1210" y="1126"/>
                    </a:lnTo>
                    <a:lnTo>
                      <a:pt x="1208" y="1126"/>
                    </a:lnTo>
                    <a:lnTo>
                      <a:pt x="1208" y="1124"/>
                    </a:lnTo>
                    <a:close/>
                    <a:moveTo>
                      <a:pt x="1304" y="1638"/>
                    </a:moveTo>
                    <a:lnTo>
                      <a:pt x="1304" y="1640"/>
                    </a:lnTo>
                    <a:lnTo>
                      <a:pt x="1304" y="1638"/>
                    </a:lnTo>
                    <a:close/>
                    <a:moveTo>
                      <a:pt x="1222" y="1066"/>
                    </a:moveTo>
                    <a:lnTo>
                      <a:pt x="1224" y="1066"/>
                    </a:lnTo>
                    <a:lnTo>
                      <a:pt x="1224" y="1068"/>
                    </a:lnTo>
                    <a:lnTo>
                      <a:pt x="1222" y="1068"/>
                    </a:lnTo>
                    <a:lnTo>
                      <a:pt x="1222" y="1066"/>
                    </a:lnTo>
                    <a:close/>
                    <a:moveTo>
                      <a:pt x="1258" y="1568"/>
                    </a:moveTo>
                    <a:lnTo>
                      <a:pt x="1258" y="1570"/>
                    </a:lnTo>
                    <a:lnTo>
                      <a:pt x="1258" y="1568"/>
                    </a:lnTo>
                    <a:close/>
                    <a:moveTo>
                      <a:pt x="1174" y="1117"/>
                    </a:moveTo>
                    <a:lnTo>
                      <a:pt x="1176" y="1117"/>
                    </a:lnTo>
                    <a:lnTo>
                      <a:pt x="1176" y="1119"/>
                    </a:lnTo>
                    <a:lnTo>
                      <a:pt x="1174" y="1119"/>
                    </a:lnTo>
                    <a:lnTo>
                      <a:pt x="1174" y="1117"/>
                    </a:lnTo>
                    <a:close/>
                    <a:moveTo>
                      <a:pt x="1185" y="1400"/>
                    </a:moveTo>
                    <a:lnTo>
                      <a:pt x="1185" y="1401"/>
                    </a:lnTo>
                    <a:lnTo>
                      <a:pt x="1185" y="1400"/>
                    </a:lnTo>
                    <a:close/>
                    <a:moveTo>
                      <a:pt x="1213" y="1519"/>
                    </a:moveTo>
                    <a:lnTo>
                      <a:pt x="1215" y="1519"/>
                    </a:lnTo>
                    <a:lnTo>
                      <a:pt x="1215" y="1521"/>
                    </a:lnTo>
                    <a:lnTo>
                      <a:pt x="1213" y="1521"/>
                    </a:lnTo>
                    <a:lnTo>
                      <a:pt x="1213" y="1519"/>
                    </a:lnTo>
                    <a:close/>
                    <a:moveTo>
                      <a:pt x="1219" y="1543"/>
                    </a:moveTo>
                    <a:lnTo>
                      <a:pt x="1220" y="1543"/>
                    </a:lnTo>
                    <a:lnTo>
                      <a:pt x="1220" y="1544"/>
                    </a:lnTo>
                    <a:lnTo>
                      <a:pt x="1219" y="1544"/>
                    </a:lnTo>
                    <a:lnTo>
                      <a:pt x="1219" y="1543"/>
                    </a:lnTo>
                    <a:close/>
                    <a:moveTo>
                      <a:pt x="1205" y="1066"/>
                    </a:moveTo>
                    <a:lnTo>
                      <a:pt x="1205" y="1068"/>
                    </a:lnTo>
                    <a:lnTo>
                      <a:pt x="1205" y="1066"/>
                    </a:lnTo>
                    <a:close/>
                    <a:moveTo>
                      <a:pt x="1191" y="1126"/>
                    </a:moveTo>
                    <a:lnTo>
                      <a:pt x="1193" y="1126"/>
                    </a:lnTo>
                    <a:lnTo>
                      <a:pt x="1193" y="1128"/>
                    </a:lnTo>
                    <a:lnTo>
                      <a:pt x="1191" y="1128"/>
                    </a:lnTo>
                    <a:lnTo>
                      <a:pt x="1191" y="1126"/>
                    </a:lnTo>
                    <a:close/>
                    <a:moveTo>
                      <a:pt x="1176" y="1441"/>
                    </a:moveTo>
                    <a:lnTo>
                      <a:pt x="1179" y="1441"/>
                    </a:lnTo>
                    <a:lnTo>
                      <a:pt x="1179" y="1442"/>
                    </a:lnTo>
                    <a:lnTo>
                      <a:pt x="1176" y="1442"/>
                    </a:lnTo>
                    <a:lnTo>
                      <a:pt x="1176" y="1441"/>
                    </a:lnTo>
                    <a:close/>
                    <a:moveTo>
                      <a:pt x="1227" y="730"/>
                    </a:moveTo>
                    <a:lnTo>
                      <a:pt x="1229" y="730"/>
                    </a:lnTo>
                    <a:lnTo>
                      <a:pt x="1229" y="731"/>
                    </a:lnTo>
                    <a:lnTo>
                      <a:pt x="1227" y="731"/>
                    </a:lnTo>
                    <a:lnTo>
                      <a:pt x="1227" y="730"/>
                    </a:lnTo>
                    <a:close/>
                    <a:moveTo>
                      <a:pt x="1195" y="1048"/>
                    </a:moveTo>
                    <a:lnTo>
                      <a:pt x="1196" y="1048"/>
                    </a:lnTo>
                    <a:lnTo>
                      <a:pt x="1195" y="1048"/>
                    </a:lnTo>
                    <a:close/>
                    <a:moveTo>
                      <a:pt x="1207" y="1060"/>
                    </a:moveTo>
                    <a:lnTo>
                      <a:pt x="1208" y="1060"/>
                    </a:lnTo>
                    <a:lnTo>
                      <a:pt x="1208" y="1061"/>
                    </a:lnTo>
                    <a:lnTo>
                      <a:pt x="1207" y="1061"/>
                    </a:lnTo>
                    <a:lnTo>
                      <a:pt x="1207" y="1060"/>
                    </a:lnTo>
                    <a:close/>
                    <a:moveTo>
                      <a:pt x="1207" y="1102"/>
                    </a:moveTo>
                    <a:lnTo>
                      <a:pt x="1208" y="1102"/>
                    </a:lnTo>
                    <a:lnTo>
                      <a:pt x="1208" y="1104"/>
                    </a:lnTo>
                    <a:lnTo>
                      <a:pt x="1207" y="1104"/>
                    </a:lnTo>
                    <a:lnTo>
                      <a:pt x="1207" y="1102"/>
                    </a:lnTo>
                    <a:close/>
                    <a:moveTo>
                      <a:pt x="1166" y="1136"/>
                    </a:moveTo>
                    <a:lnTo>
                      <a:pt x="1168" y="1136"/>
                    </a:lnTo>
                    <a:lnTo>
                      <a:pt x="1168" y="1138"/>
                    </a:lnTo>
                    <a:lnTo>
                      <a:pt x="1166" y="1138"/>
                    </a:lnTo>
                    <a:lnTo>
                      <a:pt x="1166" y="1136"/>
                    </a:lnTo>
                    <a:close/>
                    <a:moveTo>
                      <a:pt x="1178" y="1277"/>
                    </a:moveTo>
                    <a:lnTo>
                      <a:pt x="1178" y="1281"/>
                    </a:lnTo>
                    <a:lnTo>
                      <a:pt x="1178" y="1277"/>
                    </a:lnTo>
                    <a:close/>
                    <a:moveTo>
                      <a:pt x="1188" y="1483"/>
                    </a:moveTo>
                    <a:lnTo>
                      <a:pt x="1190" y="1483"/>
                    </a:lnTo>
                    <a:lnTo>
                      <a:pt x="1188" y="1483"/>
                    </a:lnTo>
                    <a:close/>
                    <a:moveTo>
                      <a:pt x="1178" y="1373"/>
                    </a:moveTo>
                    <a:lnTo>
                      <a:pt x="1178" y="1374"/>
                    </a:lnTo>
                    <a:lnTo>
                      <a:pt x="1178" y="1373"/>
                    </a:lnTo>
                    <a:close/>
                    <a:moveTo>
                      <a:pt x="1389" y="1663"/>
                    </a:moveTo>
                    <a:lnTo>
                      <a:pt x="1389" y="1665"/>
                    </a:lnTo>
                    <a:lnTo>
                      <a:pt x="1389" y="1663"/>
                    </a:lnTo>
                    <a:close/>
                    <a:moveTo>
                      <a:pt x="1417" y="1684"/>
                    </a:moveTo>
                    <a:lnTo>
                      <a:pt x="1419" y="1684"/>
                    </a:lnTo>
                    <a:lnTo>
                      <a:pt x="1419" y="1686"/>
                    </a:lnTo>
                    <a:lnTo>
                      <a:pt x="1417" y="1686"/>
                    </a:lnTo>
                    <a:lnTo>
                      <a:pt x="1417" y="1684"/>
                    </a:lnTo>
                    <a:close/>
                    <a:moveTo>
                      <a:pt x="1181" y="1481"/>
                    </a:moveTo>
                    <a:lnTo>
                      <a:pt x="1183" y="1481"/>
                    </a:lnTo>
                    <a:lnTo>
                      <a:pt x="1181" y="1481"/>
                    </a:lnTo>
                    <a:close/>
                    <a:moveTo>
                      <a:pt x="1213" y="1070"/>
                    </a:moveTo>
                    <a:lnTo>
                      <a:pt x="1213" y="1071"/>
                    </a:lnTo>
                    <a:lnTo>
                      <a:pt x="1213" y="1070"/>
                    </a:lnTo>
                    <a:close/>
                    <a:moveTo>
                      <a:pt x="1225" y="1570"/>
                    </a:moveTo>
                    <a:lnTo>
                      <a:pt x="1227" y="1570"/>
                    </a:lnTo>
                    <a:lnTo>
                      <a:pt x="1225" y="1570"/>
                    </a:lnTo>
                    <a:close/>
                    <a:moveTo>
                      <a:pt x="1145" y="1332"/>
                    </a:moveTo>
                    <a:lnTo>
                      <a:pt x="1145" y="1333"/>
                    </a:lnTo>
                    <a:lnTo>
                      <a:pt x="1145" y="1332"/>
                    </a:lnTo>
                    <a:close/>
                    <a:moveTo>
                      <a:pt x="1236" y="1075"/>
                    </a:moveTo>
                    <a:lnTo>
                      <a:pt x="1237" y="1075"/>
                    </a:lnTo>
                    <a:lnTo>
                      <a:pt x="1237" y="1077"/>
                    </a:lnTo>
                    <a:lnTo>
                      <a:pt x="1236" y="1077"/>
                    </a:lnTo>
                    <a:lnTo>
                      <a:pt x="1236" y="1075"/>
                    </a:lnTo>
                    <a:close/>
                    <a:moveTo>
                      <a:pt x="1164" y="1332"/>
                    </a:moveTo>
                    <a:lnTo>
                      <a:pt x="1166" y="1332"/>
                    </a:lnTo>
                    <a:lnTo>
                      <a:pt x="1166" y="1333"/>
                    </a:lnTo>
                    <a:lnTo>
                      <a:pt x="1164" y="1333"/>
                    </a:lnTo>
                    <a:lnTo>
                      <a:pt x="1164" y="1332"/>
                    </a:lnTo>
                    <a:close/>
                    <a:moveTo>
                      <a:pt x="1162" y="1357"/>
                    </a:moveTo>
                    <a:lnTo>
                      <a:pt x="1162" y="1359"/>
                    </a:lnTo>
                    <a:lnTo>
                      <a:pt x="1162" y="1357"/>
                    </a:lnTo>
                    <a:close/>
                    <a:moveTo>
                      <a:pt x="1280" y="1614"/>
                    </a:moveTo>
                    <a:lnTo>
                      <a:pt x="1281" y="1614"/>
                    </a:lnTo>
                    <a:lnTo>
                      <a:pt x="1281" y="1616"/>
                    </a:lnTo>
                    <a:lnTo>
                      <a:pt x="1280" y="1616"/>
                    </a:lnTo>
                    <a:lnTo>
                      <a:pt x="1280" y="1614"/>
                    </a:lnTo>
                    <a:close/>
                    <a:moveTo>
                      <a:pt x="1185" y="1458"/>
                    </a:moveTo>
                    <a:lnTo>
                      <a:pt x="1186" y="1458"/>
                    </a:lnTo>
                    <a:lnTo>
                      <a:pt x="1186" y="1459"/>
                    </a:lnTo>
                    <a:lnTo>
                      <a:pt x="1185" y="1459"/>
                    </a:lnTo>
                    <a:lnTo>
                      <a:pt x="1185" y="1458"/>
                    </a:lnTo>
                    <a:close/>
                    <a:moveTo>
                      <a:pt x="1321" y="1583"/>
                    </a:moveTo>
                    <a:lnTo>
                      <a:pt x="1322" y="1583"/>
                    </a:lnTo>
                    <a:lnTo>
                      <a:pt x="1322" y="1585"/>
                    </a:lnTo>
                    <a:lnTo>
                      <a:pt x="1321" y="1585"/>
                    </a:lnTo>
                    <a:lnTo>
                      <a:pt x="1321" y="1583"/>
                    </a:lnTo>
                    <a:close/>
                    <a:moveTo>
                      <a:pt x="1219" y="1471"/>
                    </a:moveTo>
                    <a:lnTo>
                      <a:pt x="1220" y="1471"/>
                    </a:lnTo>
                    <a:lnTo>
                      <a:pt x="1220" y="1473"/>
                    </a:lnTo>
                    <a:lnTo>
                      <a:pt x="1219" y="1473"/>
                    </a:lnTo>
                    <a:lnTo>
                      <a:pt x="1219" y="1471"/>
                    </a:lnTo>
                    <a:close/>
                    <a:moveTo>
                      <a:pt x="1188" y="1463"/>
                    </a:moveTo>
                    <a:lnTo>
                      <a:pt x="1190" y="1463"/>
                    </a:lnTo>
                    <a:lnTo>
                      <a:pt x="1188" y="1463"/>
                    </a:lnTo>
                    <a:close/>
                    <a:moveTo>
                      <a:pt x="1249" y="1597"/>
                    </a:moveTo>
                    <a:lnTo>
                      <a:pt x="1251" y="1597"/>
                    </a:lnTo>
                    <a:lnTo>
                      <a:pt x="1251" y="1599"/>
                    </a:lnTo>
                    <a:lnTo>
                      <a:pt x="1249" y="1599"/>
                    </a:lnTo>
                    <a:lnTo>
                      <a:pt x="1249" y="1597"/>
                    </a:lnTo>
                    <a:close/>
                    <a:moveTo>
                      <a:pt x="1332" y="1645"/>
                    </a:moveTo>
                    <a:lnTo>
                      <a:pt x="1334" y="1645"/>
                    </a:lnTo>
                    <a:lnTo>
                      <a:pt x="1334" y="1646"/>
                    </a:lnTo>
                    <a:lnTo>
                      <a:pt x="1332" y="1646"/>
                    </a:lnTo>
                    <a:lnTo>
                      <a:pt x="1332" y="1645"/>
                    </a:lnTo>
                    <a:close/>
                    <a:moveTo>
                      <a:pt x="1142" y="1306"/>
                    </a:moveTo>
                    <a:lnTo>
                      <a:pt x="1142" y="1310"/>
                    </a:lnTo>
                    <a:lnTo>
                      <a:pt x="1142" y="1306"/>
                    </a:lnTo>
                    <a:close/>
                    <a:moveTo>
                      <a:pt x="1181" y="1492"/>
                    </a:moveTo>
                    <a:lnTo>
                      <a:pt x="1181" y="1493"/>
                    </a:lnTo>
                    <a:lnTo>
                      <a:pt x="1181" y="1492"/>
                    </a:lnTo>
                    <a:close/>
                    <a:moveTo>
                      <a:pt x="1159" y="1434"/>
                    </a:moveTo>
                    <a:lnTo>
                      <a:pt x="1159" y="1435"/>
                    </a:lnTo>
                    <a:lnTo>
                      <a:pt x="1159" y="1434"/>
                    </a:lnTo>
                    <a:close/>
                    <a:moveTo>
                      <a:pt x="1232" y="1582"/>
                    </a:moveTo>
                    <a:lnTo>
                      <a:pt x="1234" y="1582"/>
                    </a:lnTo>
                    <a:lnTo>
                      <a:pt x="1234" y="1583"/>
                    </a:lnTo>
                    <a:lnTo>
                      <a:pt x="1232" y="1583"/>
                    </a:lnTo>
                    <a:lnTo>
                      <a:pt x="1232" y="1582"/>
                    </a:lnTo>
                    <a:close/>
                    <a:moveTo>
                      <a:pt x="1212" y="1112"/>
                    </a:moveTo>
                    <a:lnTo>
                      <a:pt x="1213" y="1112"/>
                    </a:lnTo>
                    <a:lnTo>
                      <a:pt x="1213" y="1114"/>
                    </a:lnTo>
                    <a:lnTo>
                      <a:pt x="1212" y="1114"/>
                    </a:lnTo>
                    <a:lnTo>
                      <a:pt x="1212" y="1112"/>
                    </a:lnTo>
                    <a:close/>
                    <a:moveTo>
                      <a:pt x="1210" y="1504"/>
                    </a:moveTo>
                    <a:lnTo>
                      <a:pt x="1213" y="1504"/>
                    </a:lnTo>
                    <a:lnTo>
                      <a:pt x="1210" y="1504"/>
                    </a:lnTo>
                    <a:close/>
                    <a:moveTo>
                      <a:pt x="1181" y="1490"/>
                    </a:moveTo>
                    <a:lnTo>
                      <a:pt x="1183" y="1490"/>
                    </a:lnTo>
                    <a:lnTo>
                      <a:pt x="1183" y="1492"/>
                    </a:lnTo>
                    <a:lnTo>
                      <a:pt x="1181" y="1492"/>
                    </a:lnTo>
                    <a:lnTo>
                      <a:pt x="1181" y="1490"/>
                    </a:lnTo>
                    <a:close/>
                    <a:moveTo>
                      <a:pt x="1234" y="1124"/>
                    </a:moveTo>
                    <a:lnTo>
                      <a:pt x="1236" y="1124"/>
                    </a:lnTo>
                    <a:lnTo>
                      <a:pt x="1236" y="1126"/>
                    </a:lnTo>
                    <a:lnTo>
                      <a:pt x="1234" y="1126"/>
                    </a:lnTo>
                    <a:lnTo>
                      <a:pt x="1234" y="1124"/>
                    </a:lnTo>
                    <a:close/>
                    <a:moveTo>
                      <a:pt x="1261" y="1590"/>
                    </a:moveTo>
                    <a:lnTo>
                      <a:pt x="1261" y="1592"/>
                    </a:lnTo>
                    <a:lnTo>
                      <a:pt x="1261" y="1590"/>
                    </a:lnTo>
                    <a:close/>
                    <a:moveTo>
                      <a:pt x="1149" y="1376"/>
                    </a:moveTo>
                    <a:lnTo>
                      <a:pt x="1151" y="1376"/>
                    </a:lnTo>
                    <a:lnTo>
                      <a:pt x="1151" y="1378"/>
                    </a:lnTo>
                    <a:lnTo>
                      <a:pt x="1149" y="1378"/>
                    </a:lnTo>
                    <a:lnTo>
                      <a:pt x="1149" y="1376"/>
                    </a:lnTo>
                    <a:close/>
                    <a:moveTo>
                      <a:pt x="1183" y="1459"/>
                    </a:moveTo>
                    <a:lnTo>
                      <a:pt x="1185" y="1459"/>
                    </a:lnTo>
                    <a:lnTo>
                      <a:pt x="1185" y="1461"/>
                    </a:lnTo>
                    <a:lnTo>
                      <a:pt x="1183" y="1461"/>
                    </a:lnTo>
                    <a:lnTo>
                      <a:pt x="1183" y="1459"/>
                    </a:lnTo>
                    <a:close/>
                    <a:moveTo>
                      <a:pt x="1198" y="1424"/>
                    </a:moveTo>
                    <a:lnTo>
                      <a:pt x="1200" y="1424"/>
                    </a:lnTo>
                    <a:lnTo>
                      <a:pt x="1200" y="1425"/>
                    </a:lnTo>
                    <a:lnTo>
                      <a:pt x="1198" y="1425"/>
                    </a:lnTo>
                    <a:lnTo>
                      <a:pt x="1198" y="1424"/>
                    </a:lnTo>
                    <a:close/>
                    <a:moveTo>
                      <a:pt x="1208" y="1490"/>
                    </a:moveTo>
                    <a:lnTo>
                      <a:pt x="1208" y="1492"/>
                    </a:lnTo>
                    <a:lnTo>
                      <a:pt x="1208" y="1490"/>
                    </a:lnTo>
                    <a:close/>
                    <a:moveTo>
                      <a:pt x="1205" y="1058"/>
                    </a:moveTo>
                    <a:lnTo>
                      <a:pt x="1205" y="1060"/>
                    </a:lnTo>
                    <a:lnTo>
                      <a:pt x="1205" y="1058"/>
                    </a:lnTo>
                    <a:close/>
                    <a:moveTo>
                      <a:pt x="1281" y="1595"/>
                    </a:moveTo>
                    <a:lnTo>
                      <a:pt x="1283" y="1595"/>
                    </a:lnTo>
                    <a:lnTo>
                      <a:pt x="1281" y="1595"/>
                    </a:lnTo>
                    <a:close/>
                    <a:moveTo>
                      <a:pt x="1229" y="1570"/>
                    </a:moveTo>
                    <a:lnTo>
                      <a:pt x="1232" y="1570"/>
                    </a:lnTo>
                    <a:lnTo>
                      <a:pt x="1232" y="1572"/>
                    </a:lnTo>
                    <a:lnTo>
                      <a:pt x="1229" y="1572"/>
                    </a:lnTo>
                    <a:lnTo>
                      <a:pt x="1229" y="1570"/>
                    </a:lnTo>
                    <a:close/>
                    <a:moveTo>
                      <a:pt x="1181" y="1376"/>
                    </a:moveTo>
                    <a:lnTo>
                      <a:pt x="1183" y="1376"/>
                    </a:lnTo>
                    <a:lnTo>
                      <a:pt x="1181" y="1376"/>
                    </a:lnTo>
                    <a:close/>
                    <a:moveTo>
                      <a:pt x="1191" y="1233"/>
                    </a:moveTo>
                    <a:lnTo>
                      <a:pt x="1193" y="1233"/>
                    </a:lnTo>
                    <a:lnTo>
                      <a:pt x="1191" y="1233"/>
                    </a:lnTo>
                    <a:close/>
                    <a:moveTo>
                      <a:pt x="1215" y="983"/>
                    </a:moveTo>
                    <a:lnTo>
                      <a:pt x="1215" y="985"/>
                    </a:lnTo>
                    <a:lnTo>
                      <a:pt x="1215" y="983"/>
                    </a:lnTo>
                    <a:close/>
                    <a:moveTo>
                      <a:pt x="1208" y="1097"/>
                    </a:moveTo>
                    <a:lnTo>
                      <a:pt x="1208" y="1099"/>
                    </a:lnTo>
                    <a:lnTo>
                      <a:pt x="1208" y="1097"/>
                    </a:lnTo>
                    <a:close/>
                    <a:moveTo>
                      <a:pt x="1183" y="1495"/>
                    </a:moveTo>
                    <a:lnTo>
                      <a:pt x="1185" y="1495"/>
                    </a:lnTo>
                    <a:lnTo>
                      <a:pt x="1185" y="1497"/>
                    </a:lnTo>
                    <a:lnTo>
                      <a:pt x="1183" y="1497"/>
                    </a:lnTo>
                    <a:lnTo>
                      <a:pt x="1183" y="1495"/>
                    </a:lnTo>
                    <a:close/>
                    <a:moveTo>
                      <a:pt x="1183" y="1475"/>
                    </a:moveTo>
                    <a:lnTo>
                      <a:pt x="1185" y="1475"/>
                    </a:lnTo>
                    <a:lnTo>
                      <a:pt x="1183" y="1475"/>
                    </a:lnTo>
                    <a:close/>
                    <a:moveTo>
                      <a:pt x="1225" y="1570"/>
                    </a:moveTo>
                    <a:lnTo>
                      <a:pt x="1227" y="1570"/>
                    </a:lnTo>
                    <a:lnTo>
                      <a:pt x="1227" y="1572"/>
                    </a:lnTo>
                    <a:lnTo>
                      <a:pt x="1225" y="1572"/>
                    </a:lnTo>
                    <a:lnTo>
                      <a:pt x="1225" y="1570"/>
                    </a:lnTo>
                    <a:close/>
                    <a:moveTo>
                      <a:pt x="1259" y="1600"/>
                    </a:moveTo>
                    <a:lnTo>
                      <a:pt x="1259" y="1602"/>
                    </a:lnTo>
                    <a:lnTo>
                      <a:pt x="1259" y="1600"/>
                    </a:lnTo>
                    <a:close/>
                    <a:moveTo>
                      <a:pt x="1210" y="1124"/>
                    </a:moveTo>
                    <a:lnTo>
                      <a:pt x="1212" y="1124"/>
                    </a:lnTo>
                    <a:lnTo>
                      <a:pt x="1210" y="1124"/>
                    </a:lnTo>
                    <a:close/>
                    <a:moveTo>
                      <a:pt x="1183" y="1427"/>
                    </a:moveTo>
                    <a:lnTo>
                      <a:pt x="1185" y="1427"/>
                    </a:lnTo>
                    <a:lnTo>
                      <a:pt x="1183" y="1427"/>
                    </a:lnTo>
                    <a:close/>
                    <a:moveTo>
                      <a:pt x="1188" y="1097"/>
                    </a:moveTo>
                    <a:lnTo>
                      <a:pt x="1190" y="1097"/>
                    </a:lnTo>
                    <a:lnTo>
                      <a:pt x="1188" y="1097"/>
                    </a:lnTo>
                    <a:close/>
                    <a:moveTo>
                      <a:pt x="1188" y="1463"/>
                    </a:moveTo>
                    <a:lnTo>
                      <a:pt x="1190" y="1463"/>
                    </a:lnTo>
                    <a:lnTo>
                      <a:pt x="1190" y="1464"/>
                    </a:lnTo>
                    <a:lnTo>
                      <a:pt x="1188" y="1464"/>
                    </a:lnTo>
                    <a:lnTo>
                      <a:pt x="1188" y="1463"/>
                    </a:lnTo>
                    <a:close/>
                    <a:moveTo>
                      <a:pt x="1179" y="1257"/>
                    </a:moveTo>
                    <a:lnTo>
                      <a:pt x="1181" y="1257"/>
                    </a:lnTo>
                    <a:lnTo>
                      <a:pt x="1179" y="1257"/>
                    </a:lnTo>
                    <a:close/>
                    <a:moveTo>
                      <a:pt x="1181" y="1116"/>
                    </a:moveTo>
                    <a:lnTo>
                      <a:pt x="1181" y="1117"/>
                    </a:lnTo>
                    <a:lnTo>
                      <a:pt x="1181" y="1116"/>
                    </a:lnTo>
                    <a:close/>
                    <a:moveTo>
                      <a:pt x="1162" y="1160"/>
                    </a:moveTo>
                    <a:lnTo>
                      <a:pt x="1164" y="1160"/>
                    </a:lnTo>
                    <a:lnTo>
                      <a:pt x="1164" y="1162"/>
                    </a:lnTo>
                    <a:lnTo>
                      <a:pt x="1162" y="1162"/>
                    </a:lnTo>
                    <a:lnTo>
                      <a:pt x="1162" y="1160"/>
                    </a:lnTo>
                    <a:close/>
                    <a:moveTo>
                      <a:pt x="1181" y="1099"/>
                    </a:moveTo>
                    <a:lnTo>
                      <a:pt x="1183" y="1099"/>
                    </a:lnTo>
                    <a:lnTo>
                      <a:pt x="1181" y="1099"/>
                    </a:lnTo>
                    <a:close/>
                    <a:moveTo>
                      <a:pt x="1144" y="1306"/>
                    </a:moveTo>
                    <a:lnTo>
                      <a:pt x="1144" y="1308"/>
                    </a:lnTo>
                    <a:lnTo>
                      <a:pt x="1144" y="1306"/>
                    </a:lnTo>
                    <a:close/>
                    <a:moveTo>
                      <a:pt x="1185" y="1066"/>
                    </a:moveTo>
                    <a:lnTo>
                      <a:pt x="1186" y="1066"/>
                    </a:lnTo>
                    <a:lnTo>
                      <a:pt x="1185" y="1066"/>
                    </a:lnTo>
                    <a:close/>
                    <a:moveTo>
                      <a:pt x="1208" y="1075"/>
                    </a:moveTo>
                    <a:lnTo>
                      <a:pt x="1208" y="1077"/>
                    </a:lnTo>
                    <a:lnTo>
                      <a:pt x="1208" y="1075"/>
                    </a:lnTo>
                    <a:close/>
                    <a:moveTo>
                      <a:pt x="1239" y="1456"/>
                    </a:moveTo>
                    <a:lnTo>
                      <a:pt x="1241" y="1456"/>
                    </a:lnTo>
                    <a:lnTo>
                      <a:pt x="1241" y="1458"/>
                    </a:lnTo>
                    <a:lnTo>
                      <a:pt x="1239" y="1458"/>
                    </a:lnTo>
                    <a:lnTo>
                      <a:pt x="1239" y="1456"/>
                    </a:lnTo>
                    <a:close/>
                    <a:moveTo>
                      <a:pt x="1193" y="1464"/>
                    </a:moveTo>
                    <a:lnTo>
                      <a:pt x="1193" y="1466"/>
                    </a:lnTo>
                    <a:lnTo>
                      <a:pt x="1193" y="1464"/>
                    </a:lnTo>
                    <a:close/>
                    <a:moveTo>
                      <a:pt x="1166" y="1344"/>
                    </a:moveTo>
                    <a:lnTo>
                      <a:pt x="1168" y="1344"/>
                    </a:lnTo>
                    <a:lnTo>
                      <a:pt x="1168" y="1345"/>
                    </a:lnTo>
                    <a:lnTo>
                      <a:pt x="1166" y="1345"/>
                    </a:lnTo>
                    <a:lnTo>
                      <a:pt x="1166" y="1344"/>
                    </a:lnTo>
                    <a:close/>
                    <a:moveTo>
                      <a:pt x="1237" y="1582"/>
                    </a:moveTo>
                    <a:lnTo>
                      <a:pt x="1239" y="1582"/>
                    </a:lnTo>
                    <a:lnTo>
                      <a:pt x="1239" y="1583"/>
                    </a:lnTo>
                    <a:lnTo>
                      <a:pt x="1237" y="1583"/>
                    </a:lnTo>
                    <a:lnTo>
                      <a:pt x="1237" y="1582"/>
                    </a:lnTo>
                    <a:close/>
                    <a:moveTo>
                      <a:pt x="1200" y="1522"/>
                    </a:moveTo>
                    <a:lnTo>
                      <a:pt x="1202" y="1522"/>
                    </a:lnTo>
                    <a:lnTo>
                      <a:pt x="1202" y="1524"/>
                    </a:lnTo>
                    <a:lnTo>
                      <a:pt x="1200" y="1524"/>
                    </a:lnTo>
                    <a:lnTo>
                      <a:pt x="1200" y="1522"/>
                    </a:lnTo>
                    <a:close/>
                    <a:moveTo>
                      <a:pt x="1247" y="951"/>
                    </a:moveTo>
                    <a:lnTo>
                      <a:pt x="1249" y="951"/>
                    </a:lnTo>
                    <a:lnTo>
                      <a:pt x="1247" y="951"/>
                    </a:lnTo>
                    <a:close/>
                    <a:moveTo>
                      <a:pt x="1281" y="1597"/>
                    </a:moveTo>
                    <a:lnTo>
                      <a:pt x="1283" y="1597"/>
                    </a:lnTo>
                    <a:lnTo>
                      <a:pt x="1283" y="1599"/>
                    </a:lnTo>
                    <a:lnTo>
                      <a:pt x="1281" y="1599"/>
                    </a:lnTo>
                    <a:lnTo>
                      <a:pt x="1281" y="1597"/>
                    </a:lnTo>
                    <a:close/>
                    <a:moveTo>
                      <a:pt x="1288" y="1621"/>
                    </a:moveTo>
                    <a:lnTo>
                      <a:pt x="1290" y="1621"/>
                    </a:lnTo>
                    <a:lnTo>
                      <a:pt x="1288" y="1621"/>
                    </a:lnTo>
                    <a:close/>
                    <a:moveTo>
                      <a:pt x="1329" y="1648"/>
                    </a:moveTo>
                    <a:lnTo>
                      <a:pt x="1331" y="1648"/>
                    </a:lnTo>
                    <a:lnTo>
                      <a:pt x="1329" y="1648"/>
                    </a:lnTo>
                    <a:close/>
                    <a:moveTo>
                      <a:pt x="1261" y="1587"/>
                    </a:moveTo>
                    <a:lnTo>
                      <a:pt x="1263" y="1587"/>
                    </a:lnTo>
                    <a:lnTo>
                      <a:pt x="1261" y="1587"/>
                    </a:lnTo>
                    <a:close/>
                    <a:moveTo>
                      <a:pt x="1152" y="1185"/>
                    </a:moveTo>
                    <a:lnTo>
                      <a:pt x="1154" y="1185"/>
                    </a:lnTo>
                    <a:lnTo>
                      <a:pt x="1154" y="1187"/>
                    </a:lnTo>
                    <a:lnTo>
                      <a:pt x="1152" y="1187"/>
                    </a:lnTo>
                    <a:lnTo>
                      <a:pt x="1152" y="1185"/>
                    </a:lnTo>
                    <a:close/>
                    <a:moveTo>
                      <a:pt x="1193" y="1492"/>
                    </a:moveTo>
                    <a:lnTo>
                      <a:pt x="1195" y="1492"/>
                    </a:lnTo>
                    <a:lnTo>
                      <a:pt x="1193" y="1492"/>
                    </a:lnTo>
                    <a:close/>
                    <a:moveTo>
                      <a:pt x="1183" y="1425"/>
                    </a:moveTo>
                    <a:lnTo>
                      <a:pt x="1185" y="1425"/>
                    </a:lnTo>
                    <a:lnTo>
                      <a:pt x="1185" y="1427"/>
                    </a:lnTo>
                    <a:lnTo>
                      <a:pt x="1183" y="1427"/>
                    </a:lnTo>
                    <a:lnTo>
                      <a:pt x="1183" y="1425"/>
                    </a:lnTo>
                    <a:close/>
                    <a:moveTo>
                      <a:pt x="1164" y="1396"/>
                    </a:moveTo>
                    <a:lnTo>
                      <a:pt x="1164" y="1398"/>
                    </a:lnTo>
                    <a:lnTo>
                      <a:pt x="1164" y="1396"/>
                    </a:lnTo>
                    <a:close/>
                    <a:moveTo>
                      <a:pt x="1220" y="1526"/>
                    </a:moveTo>
                    <a:lnTo>
                      <a:pt x="1222" y="1526"/>
                    </a:lnTo>
                    <a:lnTo>
                      <a:pt x="1222" y="1527"/>
                    </a:lnTo>
                    <a:lnTo>
                      <a:pt x="1220" y="1527"/>
                    </a:lnTo>
                    <a:lnTo>
                      <a:pt x="1220" y="1526"/>
                    </a:lnTo>
                    <a:close/>
                    <a:moveTo>
                      <a:pt x="1178" y="1517"/>
                    </a:moveTo>
                    <a:lnTo>
                      <a:pt x="1179" y="1517"/>
                    </a:lnTo>
                    <a:lnTo>
                      <a:pt x="1178" y="1517"/>
                    </a:lnTo>
                    <a:close/>
                    <a:moveTo>
                      <a:pt x="1159" y="1356"/>
                    </a:moveTo>
                    <a:lnTo>
                      <a:pt x="1161" y="1356"/>
                    </a:lnTo>
                    <a:lnTo>
                      <a:pt x="1159" y="1356"/>
                    </a:lnTo>
                    <a:close/>
                    <a:moveTo>
                      <a:pt x="1159" y="1390"/>
                    </a:moveTo>
                    <a:lnTo>
                      <a:pt x="1161" y="1390"/>
                    </a:lnTo>
                    <a:lnTo>
                      <a:pt x="1159" y="1390"/>
                    </a:lnTo>
                    <a:close/>
                    <a:moveTo>
                      <a:pt x="1176" y="1386"/>
                    </a:moveTo>
                    <a:lnTo>
                      <a:pt x="1178" y="1386"/>
                    </a:lnTo>
                    <a:lnTo>
                      <a:pt x="1176" y="1386"/>
                    </a:lnTo>
                    <a:close/>
                    <a:moveTo>
                      <a:pt x="1438" y="1680"/>
                    </a:moveTo>
                    <a:lnTo>
                      <a:pt x="1440" y="1680"/>
                    </a:lnTo>
                    <a:lnTo>
                      <a:pt x="1440" y="1682"/>
                    </a:lnTo>
                    <a:lnTo>
                      <a:pt x="1438" y="1682"/>
                    </a:lnTo>
                    <a:lnTo>
                      <a:pt x="1438" y="1680"/>
                    </a:lnTo>
                    <a:close/>
                    <a:moveTo>
                      <a:pt x="1193" y="1140"/>
                    </a:moveTo>
                    <a:lnTo>
                      <a:pt x="1195" y="1140"/>
                    </a:lnTo>
                    <a:lnTo>
                      <a:pt x="1195" y="1141"/>
                    </a:lnTo>
                    <a:lnTo>
                      <a:pt x="1193" y="1141"/>
                    </a:lnTo>
                    <a:lnTo>
                      <a:pt x="1193" y="1140"/>
                    </a:lnTo>
                    <a:close/>
                    <a:moveTo>
                      <a:pt x="1159" y="1420"/>
                    </a:moveTo>
                    <a:lnTo>
                      <a:pt x="1159" y="1422"/>
                    </a:lnTo>
                    <a:lnTo>
                      <a:pt x="1159" y="1420"/>
                    </a:lnTo>
                    <a:close/>
                    <a:moveTo>
                      <a:pt x="1365" y="1660"/>
                    </a:moveTo>
                    <a:lnTo>
                      <a:pt x="1366" y="1660"/>
                    </a:lnTo>
                    <a:lnTo>
                      <a:pt x="1365" y="1660"/>
                    </a:lnTo>
                    <a:close/>
                    <a:moveTo>
                      <a:pt x="1205" y="1500"/>
                    </a:moveTo>
                    <a:lnTo>
                      <a:pt x="1207" y="1500"/>
                    </a:lnTo>
                    <a:lnTo>
                      <a:pt x="1207" y="1502"/>
                    </a:lnTo>
                    <a:lnTo>
                      <a:pt x="1205" y="1502"/>
                    </a:lnTo>
                    <a:lnTo>
                      <a:pt x="1205" y="1500"/>
                    </a:lnTo>
                    <a:close/>
                    <a:moveTo>
                      <a:pt x="1208" y="1053"/>
                    </a:moveTo>
                    <a:lnTo>
                      <a:pt x="1208" y="1054"/>
                    </a:lnTo>
                    <a:lnTo>
                      <a:pt x="1208" y="1053"/>
                    </a:lnTo>
                    <a:close/>
                    <a:moveTo>
                      <a:pt x="1179" y="1425"/>
                    </a:moveTo>
                    <a:lnTo>
                      <a:pt x="1179" y="1427"/>
                    </a:lnTo>
                    <a:lnTo>
                      <a:pt x="1179" y="1425"/>
                    </a:lnTo>
                    <a:close/>
                    <a:moveTo>
                      <a:pt x="1268" y="1597"/>
                    </a:moveTo>
                    <a:lnTo>
                      <a:pt x="1270" y="1597"/>
                    </a:lnTo>
                    <a:lnTo>
                      <a:pt x="1270" y="1599"/>
                    </a:lnTo>
                    <a:lnTo>
                      <a:pt x="1268" y="1599"/>
                    </a:lnTo>
                    <a:lnTo>
                      <a:pt x="1268" y="1597"/>
                    </a:lnTo>
                    <a:close/>
                    <a:moveTo>
                      <a:pt x="1220" y="1560"/>
                    </a:moveTo>
                    <a:lnTo>
                      <a:pt x="1222" y="1560"/>
                    </a:lnTo>
                    <a:lnTo>
                      <a:pt x="1220" y="1560"/>
                    </a:lnTo>
                    <a:close/>
                    <a:moveTo>
                      <a:pt x="1229" y="1570"/>
                    </a:moveTo>
                    <a:lnTo>
                      <a:pt x="1230" y="1570"/>
                    </a:lnTo>
                    <a:lnTo>
                      <a:pt x="1230" y="1572"/>
                    </a:lnTo>
                    <a:lnTo>
                      <a:pt x="1229" y="1572"/>
                    </a:lnTo>
                    <a:lnTo>
                      <a:pt x="1229" y="1570"/>
                    </a:lnTo>
                    <a:close/>
                    <a:moveTo>
                      <a:pt x="1176" y="1245"/>
                    </a:moveTo>
                    <a:lnTo>
                      <a:pt x="1178" y="1245"/>
                    </a:lnTo>
                    <a:lnTo>
                      <a:pt x="1178" y="1247"/>
                    </a:lnTo>
                    <a:lnTo>
                      <a:pt x="1176" y="1247"/>
                    </a:lnTo>
                    <a:lnTo>
                      <a:pt x="1176" y="1245"/>
                    </a:lnTo>
                    <a:close/>
                    <a:moveTo>
                      <a:pt x="1203" y="1549"/>
                    </a:moveTo>
                    <a:lnTo>
                      <a:pt x="1205" y="1549"/>
                    </a:lnTo>
                    <a:lnTo>
                      <a:pt x="1205" y="1551"/>
                    </a:lnTo>
                    <a:lnTo>
                      <a:pt x="1203" y="1551"/>
                    </a:lnTo>
                    <a:lnTo>
                      <a:pt x="1203" y="1549"/>
                    </a:lnTo>
                    <a:close/>
                    <a:moveTo>
                      <a:pt x="1205" y="1095"/>
                    </a:moveTo>
                    <a:lnTo>
                      <a:pt x="1205" y="1097"/>
                    </a:lnTo>
                    <a:lnTo>
                      <a:pt x="1205" y="1095"/>
                    </a:lnTo>
                    <a:close/>
                    <a:moveTo>
                      <a:pt x="1224" y="976"/>
                    </a:moveTo>
                    <a:lnTo>
                      <a:pt x="1225" y="976"/>
                    </a:lnTo>
                    <a:lnTo>
                      <a:pt x="1225" y="978"/>
                    </a:lnTo>
                    <a:lnTo>
                      <a:pt x="1224" y="978"/>
                    </a:lnTo>
                    <a:lnTo>
                      <a:pt x="1224" y="976"/>
                    </a:lnTo>
                    <a:close/>
                    <a:moveTo>
                      <a:pt x="1390" y="1645"/>
                    </a:moveTo>
                    <a:lnTo>
                      <a:pt x="1392" y="1645"/>
                    </a:lnTo>
                    <a:lnTo>
                      <a:pt x="1392" y="1646"/>
                    </a:lnTo>
                    <a:lnTo>
                      <a:pt x="1390" y="1646"/>
                    </a:lnTo>
                    <a:lnTo>
                      <a:pt x="1390" y="1645"/>
                    </a:lnTo>
                    <a:close/>
                    <a:moveTo>
                      <a:pt x="1205" y="1119"/>
                    </a:moveTo>
                    <a:lnTo>
                      <a:pt x="1207" y="1119"/>
                    </a:lnTo>
                    <a:lnTo>
                      <a:pt x="1205" y="1119"/>
                    </a:lnTo>
                    <a:close/>
                    <a:moveTo>
                      <a:pt x="1200" y="1248"/>
                    </a:moveTo>
                    <a:lnTo>
                      <a:pt x="1202" y="1248"/>
                    </a:lnTo>
                    <a:lnTo>
                      <a:pt x="1202" y="1250"/>
                    </a:lnTo>
                    <a:lnTo>
                      <a:pt x="1200" y="1250"/>
                    </a:lnTo>
                    <a:lnTo>
                      <a:pt x="1200" y="1248"/>
                    </a:lnTo>
                    <a:close/>
                    <a:moveTo>
                      <a:pt x="1395" y="1655"/>
                    </a:moveTo>
                    <a:lnTo>
                      <a:pt x="1397" y="1655"/>
                    </a:lnTo>
                    <a:lnTo>
                      <a:pt x="1397" y="1657"/>
                    </a:lnTo>
                    <a:lnTo>
                      <a:pt x="1395" y="1657"/>
                    </a:lnTo>
                    <a:lnTo>
                      <a:pt x="1395" y="1655"/>
                    </a:lnTo>
                    <a:close/>
                    <a:moveTo>
                      <a:pt x="1159" y="1349"/>
                    </a:moveTo>
                    <a:lnTo>
                      <a:pt x="1161" y="1349"/>
                    </a:lnTo>
                    <a:lnTo>
                      <a:pt x="1159" y="1349"/>
                    </a:lnTo>
                    <a:close/>
                    <a:moveTo>
                      <a:pt x="1198" y="1437"/>
                    </a:moveTo>
                    <a:lnTo>
                      <a:pt x="1198" y="1439"/>
                    </a:lnTo>
                    <a:lnTo>
                      <a:pt x="1198" y="1437"/>
                    </a:lnTo>
                    <a:close/>
                    <a:moveTo>
                      <a:pt x="1217" y="1561"/>
                    </a:moveTo>
                    <a:lnTo>
                      <a:pt x="1219" y="1561"/>
                    </a:lnTo>
                    <a:lnTo>
                      <a:pt x="1217" y="1561"/>
                    </a:lnTo>
                    <a:close/>
                    <a:moveTo>
                      <a:pt x="1174" y="1446"/>
                    </a:moveTo>
                    <a:lnTo>
                      <a:pt x="1174" y="1447"/>
                    </a:lnTo>
                    <a:lnTo>
                      <a:pt x="1174" y="1446"/>
                    </a:lnTo>
                    <a:close/>
                    <a:moveTo>
                      <a:pt x="1185" y="1063"/>
                    </a:moveTo>
                    <a:lnTo>
                      <a:pt x="1185" y="1065"/>
                    </a:lnTo>
                    <a:lnTo>
                      <a:pt x="1185" y="1063"/>
                    </a:lnTo>
                    <a:close/>
                    <a:moveTo>
                      <a:pt x="1368" y="1669"/>
                    </a:moveTo>
                    <a:lnTo>
                      <a:pt x="1368" y="1670"/>
                    </a:lnTo>
                    <a:lnTo>
                      <a:pt x="1368" y="1669"/>
                    </a:lnTo>
                    <a:close/>
                    <a:moveTo>
                      <a:pt x="1196" y="1488"/>
                    </a:moveTo>
                    <a:lnTo>
                      <a:pt x="1198" y="1488"/>
                    </a:lnTo>
                    <a:lnTo>
                      <a:pt x="1198" y="1490"/>
                    </a:lnTo>
                    <a:lnTo>
                      <a:pt x="1196" y="1490"/>
                    </a:lnTo>
                    <a:lnTo>
                      <a:pt x="1196" y="1488"/>
                    </a:lnTo>
                    <a:close/>
                    <a:moveTo>
                      <a:pt x="1156" y="1362"/>
                    </a:moveTo>
                    <a:lnTo>
                      <a:pt x="1156" y="1364"/>
                    </a:lnTo>
                    <a:lnTo>
                      <a:pt x="1156" y="1362"/>
                    </a:lnTo>
                    <a:close/>
                    <a:moveTo>
                      <a:pt x="1207" y="1155"/>
                    </a:moveTo>
                    <a:lnTo>
                      <a:pt x="1208" y="1155"/>
                    </a:lnTo>
                    <a:lnTo>
                      <a:pt x="1207" y="1155"/>
                    </a:lnTo>
                    <a:close/>
                    <a:moveTo>
                      <a:pt x="1224" y="956"/>
                    </a:moveTo>
                    <a:lnTo>
                      <a:pt x="1225" y="956"/>
                    </a:lnTo>
                    <a:lnTo>
                      <a:pt x="1225" y="957"/>
                    </a:lnTo>
                    <a:lnTo>
                      <a:pt x="1224" y="957"/>
                    </a:lnTo>
                    <a:lnTo>
                      <a:pt x="1224" y="956"/>
                    </a:lnTo>
                    <a:close/>
                    <a:moveTo>
                      <a:pt x="1196" y="1453"/>
                    </a:moveTo>
                    <a:lnTo>
                      <a:pt x="1198" y="1453"/>
                    </a:lnTo>
                    <a:lnTo>
                      <a:pt x="1198" y="1454"/>
                    </a:lnTo>
                    <a:lnTo>
                      <a:pt x="1196" y="1454"/>
                    </a:lnTo>
                    <a:lnTo>
                      <a:pt x="1196" y="1453"/>
                    </a:lnTo>
                    <a:close/>
                    <a:moveTo>
                      <a:pt x="1193" y="1487"/>
                    </a:moveTo>
                    <a:lnTo>
                      <a:pt x="1193" y="1488"/>
                    </a:lnTo>
                    <a:lnTo>
                      <a:pt x="1193" y="1487"/>
                    </a:lnTo>
                    <a:close/>
                    <a:moveTo>
                      <a:pt x="1191" y="1140"/>
                    </a:moveTo>
                    <a:lnTo>
                      <a:pt x="1193" y="1140"/>
                    </a:lnTo>
                    <a:lnTo>
                      <a:pt x="1191" y="1140"/>
                    </a:lnTo>
                    <a:close/>
                    <a:moveTo>
                      <a:pt x="1222" y="1568"/>
                    </a:moveTo>
                    <a:lnTo>
                      <a:pt x="1224" y="1568"/>
                    </a:lnTo>
                    <a:lnTo>
                      <a:pt x="1222" y="1568"/>
                    </a:lnTo>
                    <a:close/>
                    <a:moveTo>
                      <a:pt x="1220" y="1071"/>
                    </a:moveTo>
                    <a:lnTo>
                      <a:pt x="1220" y="1073"/>
                    </a:lnTo>
                    <a:lnTo>
                      <a:pt x="1220" y="1071"/>
                    </a:lnTo>
                    <a:close/>
                    <a:moveTo>
                      <a:pt x="1440" y="1665"/>
                    </a:moveTo>
                    <a:lnTo>
                      <a:pt x="1440" y="1667"/>
                    </a:lnTo>
                    <a:lnTo>
                      <a:pt x="1440" y="1665"/>
                    </a:lnTo>
                    <a:close/>
                    <a:moveTo>
                      <a:pt x="1149" y="1328"/>
                    </a:moveTo>
                    <a:lnTo>
                      <a:pt x="1149" y="1330"/>
                    </a:lnTo>
                    <a:lnTo>
                      <a:pt x="1149" y="1328"/>
                    </a:lnTo>
                    <a:close/>
                    <a:moveTo>
                      <a:pt x="1188" y="1485"/>
                    </a:moveTo>
                    <a:lnTo>
                      <a:pt x="1188" y="1487"/>
                    </a:lnTo>
                    <a:lnTo>
                      <a:pt x="1188" y="1485"/>
                    </a:lnTo>
                    <a:close/>
                    <a:moveTo>
                      <a:pt x="1174" y="1102"/>
                    </a:moveTo>
                    <a:lnTo>
                      <a:pt x="1176" y="1102"/>
                    </a:lnTo>
                    <a:lnTo>
                      <a:pt x="1176" y="1104"/>
                    </a:lnTo>
                    <a:lnTo>
                      <a:pt x="1174" y="1104"/>
                    </a:lnTo>
                    <a:lnTo>
                      <a:pt x="1174" y="1102"/>
                    </a:lnTo>
                    <a:close/>
                    <a:moveTo>
                      <a:pt x="1389" y="1628"/>
                    </a:moveTo>
                    <a:lnTo>
                      <a:pt x="1390" y="1628"/>
                    </a:lnTo>
                    <a:lnTo>
                      <a:pt x="1389" y="1628"/>
                    </a:lnTo>
                    <a:close/>
                    <a:moveTo>
                      <a:pt x="1220" y="1060"/>
                    </a:moveTo>
                    <a:lnTo>
                      <a:pt x="1222" y="1060"/>
                    </a:lnTo>
                    <a:lnTo>
                      <a:pt x="1222" y="1061"/>
                    </a:lnTo>
                    <a:lnTo>
                      <a:pt x="1220" y="1061"/>
                    </a:lnTo>
                    <a:lnTo>
                      <a:pt x="1220" y="1060"/>
                    </a:lnTo>
                    <a:close/>
                    <a:moveTo>
                      <a:pt x="1225" y="1556"/>
                    </a:moveTo>
                    <a:lnTo>
                      <a:pt x="1225" y="1558"/>
                    </a:lnTo>
                    <a:lnTo>
                      <a:pt x="1225" y="1556"/>
                    </a:lnTo>
                    <a:close/>
                    <a:moveTo>
                      <a:pt x="1190" y="1097"/>
                    </a:moveTo>
                    <a:lnTo>
                      <a:pt x="1190" y="1099"/>
                    </a:lnTo>
                    <a:lnTo>
                      <a:pt x="1190" y="1097"/>
                    </a:lnTo>
                    <a:close/>
                    <a:moveTo>
                      <a:pt x="1188" y="1487"/>
                    </a:moveTo>
                    <a:lnTo>
                      <a:pt x="1190" y="1487"/>
                    </a:lnTo>
                    <a:lnTo>
                      <a:pt x="1190" y="1488"/>
                    </a:lnTo>
                    <a:lnTo>
                      <a:pt x="1188" y="1488"/>
                    </a:lnTo>
                    <a:lnTo>
                      <a:pt x="1188" y="1487"/>
                    </a:lnTo>
                    <a:close/>
                    <a:moveTo>
                      <a:pt x="1196" y="1092"/>
                    </a:moveTo>
                    <a:lnTo>
                      <a:pt x="1198" y="1092"/>
                    </a:lnTo>
                    <a:lnTo>
                      <a:pt x="1196" y="1092"/>
                    </a:lnTo>
                    <a:close/>
                    <a:moveTo>
                      <a:pt x="1166" y="1236"/>
                    </a:moveTo>
                    <a:lnTo>
                      <a:pt x="1168" y="1236"/>
                    </a:lnTo>
                    <a:lnTo>
                      <a:pt x="1166" y="1236"/>
                    </a:lnTo>
                    <a:close/>
                    <a:moveTo>
                      <a:pt x="1181" y="1473"/>
                    </a:moveTo>
                    <a:lnTo>
                      <a:pt x="1183" y="1473"/>
                    </a:lnTo>
                    <a:lnTo>
                      <a:pt x="1183" y="1475"/>
                    </a:lnTo>
                    <a:lnTo>
                      <a:pt x="1181" y="1475"/>
                    </a:lnTo>
                    <a:lnTo>
                      <a:pt x="1181" y="1473"/>
                    </a:lnTo>
                    <a:close/>
                    <a:moveTo>
                      <a:pt x="1152" y="1187"/>
                    </a:moveTo>
                    <a:lnTo>
                      <a:pt x="1154" y="1187"/>
                    </a:lnTo>
                    <a:lnTo>
                      <a:pt x="1152" y="1187"/>
                    </a:lnTo>
                    <a:close/>
                    <a:moveTo>
                      <a:pt x="1219" y="1583"/>
                    </a:moveTo>
                    <a:lnTo>
                      <a:pt x="1220" y="1583"/>
                    </a:lnTo>
                    <a:lnTo>
                      <a:pt x="1220" y="1585"/>
                    </a:lnTo>
                    <a:lnTo>
                      <a:pt x="1219" y="1585"/>
                    </a:lnTo>
                    <a:lnTo>
                      <a:pt x="1219" y="1583"/>
                    </a:lnTo>
                    <a:close/>
                    <a:moveTo>
                      <a:pt x="1162" y="1240"/>
                    </a:moveTo>
                    <a:lnTo>
                      <a:pt x="1164" y="1240"/>
                    </a:lnTo>
                    <a:lnTo>
                      <a:pt x="1164" y="1242"/>
                    </a:lnTo>
                    <a:lnTo>
                      <a:pt x="1162" y="1242"/>
                    </a:lnTo>
                    <a:lnTo>
                      <a:pt x="1162" y="1240"/>
                    </a:lnTo>
                    <a:close/>
                    <a:moveTo>
                      <a:pt x="1237" y="1590"/>
                    </a:moveTo>
                    <a:lnTo>
                      <a:pt x="1237" y="1592"/>
                    </a:lnTo>
                    <a:lnTo>
                      <a:pt x="1237" y="1590"/>
                    </a:lnTo>
                    <a:close/>
                    <a:moveTo>
                      <a:pt x="1239" y="1582"/>
                    </a:moveTo>
                    <a:lnTo>
                      <a:pt x="1241" y="1582"/>
                    </a:lnTo>
                    <a:lnTo>
                      <a:pt x="1241" y="1583"/>
                    </a:lnTo>
                    <a:lnTo>
                      <a:pt x="1239" y="1583"/>
                    </a:lnTo>
                    <a:lnTo>
                      <a:pt x="1239" y="1582"/>
                    </a:lnTo>
                    <a:close/>
                    <a:moveTo>
                      <a:pt x="1190" y="1485"/>
                    </a:moveTo>
                    <a:lnTo>
                      <a:pt x="1191" y="1485"/>
                    </a:lnTo>
                    <a:lnTo>
                      <a:pt x="1191" y="1487"/>
                    </a:lnTo>
                    <a:lnTo>
                      <a:pt x="1190" y="1487"/>
                    </a:lnTo>
                    <a:lnTo>
                      <a:pt x="1190" y="1485"/>
                    </a:lnTo>
                    <a:close/>
                    <a:moveTo>
                      <a:pt x="1220" y="1541"/>
                    </a:moveTo>
                    <a:lnTo>
                      <a:pt x="1224" y="1541"/>
                    </a:lnTo>
                    <a:lnTo>
                      <a:pt x="1224" y="1543"/>
                    </a:lnTo>
                    <a:lnTo>
                      <a:pt x="1220" y="1543"/>
                    </a:lnTo>
                    <a:lnTo>
                      <a:pt x="1220" y="1541"/>
                    </a:lnTo>
                    <a:close/>
                    <a:moveTo>
                      <a:pt x="1183" y="1483"/>
                    </a:moveTo>
                    <a:lnTo>
                      <a:pt x="1185" y="1483"/>
                    </a:lnTo>
                    <a:lnTo>
                      <a:pt x="1183" y="1483"/>
                    </a:lnTo>
                    <a:close/>
                    <a:moveTo>
                      <a:pt x="1210" y="1560"/>
                    </a:moveTo>
                    <a:lnTo>
                      <a:pt x="1212" y="1560"/>
                    </a:lnTo>
                    <a:lnTo>
                      <a:pt x="1210" y="1560"/>
                    </a:lnTo>
                    <a:close/>
                    <a:moveTo>
                      <a:pt x="1205" y="1119"/>
                    </a:moveTo>
                    <a:lnTo>
                      <a:pt x="1205" y="1121"/>
                    </a:lnTo>
                    <a:lnTo>
                      <a:pt x="1205" y="1119"/>
                    </a:lnTo>
                    <a:close/>
                    <a:moveTo>
                      <a:pt x="1280" y="432"/>
                    </a:moveTo>
                    <a:lnTo>
                      <a:pt x="1280" y="434"/>
                    </a:lnTo>
                    <a:lnTo>
                      <a:pt x="1280" y="432"/>
                    </a:lnTo>
                    <a:close/>
                    <a:moveTo>
                      <a:pt x="1171" y="1381"/>
                    </a:moveTo>
                    <a:lnTo>
                      <a:pt x="1173" y="1381"/>
                    </a:lnTo>
                    <a:lnTo>
                      <a:pt x="1171" y="1381"/>
                    </a:lnTo>
                    <a:close/>
                    <a:moveTo>
                      <a:pt x="1219" y="956"/>
                    </a:moveTo>
                    <a:lnTo>
                      <a:pt x="1219" y="957"/>
                    </a:lnTo>
                    <a:lnTo>
                      <a:pt x="1219" y="956"/>
                    </a:lnTo>
                    <a:close/>
                    <a:moveTo>
                      <a:pt x="1229" y="1566"/>
                    </a:moveTo>
                    <a:lnTo>
                      <a:pt x="1230" y="1566"/>
                    </a:lnTo>
                    <a:lnTo>
                      <a:pt x="1229" y="1566"/>
                    </a:lnTo>
                    <a:close/>
                    <a:moveTo>
                      <a:pt x="1280" y="1595"/>
                    </a:moveTo>
                    <a:lnTo>
                      <a:pt x="1281" y="1595"/>
                    </a:lnTo>
                    <a:lnTo>
                      <a:pt x="1281" y="1597"/>
                    </a:lnTo>
                    <a:lnTo>
                      <a:pt x="1280" y="1597"/>
                    </a:lnTo>
                    <a:lnTo>
                      <a:pt x="1280" y="1595"/>
                    </a:lnTo>
                    <a:close/>
                    <a:moveTo>
                      <a:pt x="1219" y="1556"/>
                    </a:moveTo>
                    <a:lnTo>
                      <a:pt x="1222" y="1556"/>
                    </a:lnTo>
                    <a:lnTo>
                      <a:pt x="1219" y="1556"/>
                    </a:lnTo>
                    <a:close/>
                    <a:moveTo>
                      <a:pt x="1360" y="1648"/>
                    </a:moveTo>
                    <a:lnTo>
                      <a:pt x="1361" y="1648"/>
                    </a:lnTo>
                    <a:lnTo>
                      <a:pt x="1361" y="1650"/>
                    </a:lnTo>
                    <a:lnTo>
                      <a:pt x="1360" y="1650"/>
                    </a:lnTo>
                    <a:lnTo>
                      <a:pt x="1360" y="1648"/>
                    </a:lnTo>
                    <a:close/>
                    <a:moveTo>
                      <a:pt x="1254" y="1595"/>
                    </a:moveTo>
                    <a:lnTo>
                      <a:pt x="1254" y="1597"/>
                    </a:lnTo>
                    <a:lnTo>
                      <a:pt x="1254" y="1595"/>
                    </a:lnTo>
                    <a:close/>
                    <a:moveTo>
                      <a:pt x="1154" y="1243"/>
                    </a:moveTo>
                    <a:lnTo>
                      <a:pt x="1156" y="1243"/>
                    </a:lnTo>
                    <a:lnTo>
                      <a:pt x="1156" y="1245"/>
                    </a:lnTo>
                    <a:lnTo>
                      <a:pt x="1154" y="1245"/>
                    </a:lnTo>
                    <a:lnTo>
                      <a:pt x="1154" y="1243"/>
                    </a:lnTo>
                    <a:close/>
                    <a:moveTo>
                      <a:pt x="1205" y="1094"/>
                    </a:moveTo>
                    <a:lnTo>
                      <a:pt x="1205" y="1095"/>
                    </a:lnTo>
                    <a:lnTo>
                      <a:pt x="1205" y="1094"/>
                    </a:lnTo>
                    <a:close/>
                    <a:moveTo>
                      <a:pt x="1188" y="1276"/>
                    </a:moveTo>
                    <a:lnTo>
                      <a:pt x="1190" y="1276"/>
                    </a:lnTo>
                    <a:lnTo>
                      <a:pt x="1190" y="1277"/>
                    </a:lnTo>
                    <a:lnTo>
                      <a:pt x="1188" y="1277"/>
                    </a:lnTo>
                    <a:lnTo>
                      <a:pt x="1188" y="1276"/>
                    </a:lnTo>
                    <a:close/>
                    <a:moveTo>
                      <a:pt x="1159" y="1388"/>
                    </a:moveTo>
                    <a:lnTo>
                      <a:pt x="1161" y="1388"/>
                    </a:lnTo>
                    <a:lnTo>
                      <a:pt x="1161" y="1390"/>
                    </a:lnTo>
                    <a:lnTo>
                      <a:pt x="1159" y="1390"/>
                    </a:lnTo>
                    <a:lnTo>
                      <a:pt x="1159" y="1388"/>
                    </a:lnTo>
                    <a:close/>
                    <a:moveTo>
                      <a:pt x="1205" y="1250"/>
                    </a:moveTo>
                    <a:lnTo>
                      <a:pt x="1207" y="1250"/>
                    </a:lnTo>
                    <a:lnTo>
                      <a:pt x="1207" y="1252"/>
                    </a:lnTo>
                    <a:lnTo>
                      <a:pt x="1205" y="1252"/>
                    </a:lnTo>
                    <a:lnTo>
                      <a:pt x="1205" y="1250"/>
                    </a:lnTo>
                    <a:close/>
                    <a:moveTo>
                      <a:pt x="1166" y="1242"/>
                    </a:moveTo>
                    <a:lnTo>
                      <a:pt x="1166" y="1243"/>
                    </a:lnTo>
                    <a:lnTo>
                      <a:pt x="1166" y="1242"/>
                    </a:lnTo>
                    <a:close/>
                    <a:moveTo>
                      <a:pt x="1263" y="1590"/>
                    </a:moveTo>
                    <a:lnTo>
                      <a:pt x="1264" y="1590"/>
                    </a:lnTo>
                    <a:lnTo>
                      <a:pt x="1264" y="1592"/>
                    </a:lnTo>
                    <a:lnTo>
                      <a:pt x="1263" y="1592"/>
                    </a:lnTo>
                    <a:lnTo>
                      <a:pt x="1263" y="1590"/>
                    </a:lnTo>
                    <a:close/>
                    <a:moveTo>
                      <a:pt x="1321" y="1626"/>
                    </a:moveTo>
                    <a:lnTo>
                      <a:pt x="1322" y="1626"/>
                    </a:lnTo>
                    <a:lnTo>
                      <a:pt x="1321" y="1626"/>
                    </a:lnTo>
                    <a:close/>
                    <a:moveTo>
                      <a:pt x="1176" y="1432"/>
                    </a:moveTo>
                    <a:lnTo>
                      <a:pt x="1178" y="1432"/>
                    </a:lnTo>
                    <a:lnTo>
                      <a:pt x="1176" y="1432"/>
                    </a:lnTo>
                    <a:close/>
                    <a:moveTo>
                      <a:pt x="1220" y="1556"/>
                    </a:moveTo>
                    <a:lnTo>
                      <a:pt x="1220" y="1558"/>
                    </a:lnTo>
                    <a:lnTo>
                      <a:pt x="1220" y="1556"/>
                    </a:lnTo>
                    <a:close/>
                    <a:moveTo>
                      <a:pt x="1202" y="1058"/>
                    </a:moveTo>
                    <a:lnTo>
                      <a:pt x="1203" y="1058"/>
                    </a:lnTo>
                    <a:lnTo>
                      <a:pt x="1203" y="1060"/>
                    </a:lnTo>
                    <a:lnTo>
                      <a:pt x="1202" y="1060"/>
                    </a:lnTo>
                    <a:lnTo>
                      <a:pt x="1202" y="1058"/>
                    </a:lnTo>
                    <a:close/>
                    <a:moveTo>
                      <a:pt x="1339" y="1660"/>
                    </a:moveTo>
                    <a:lnTo>
                      <a:pt x="1339" y="1662"/>
                    </a:lnTo>
                    <a:lnTo>
                      <a:pt x="1339" y="1660"/>
                    </a:lnTo>
                    <a:close/>
                    <a:moveTo>
                      <a:pt x="1205" y="1122"/>
                    </a:moveTo>
                    <a:lnTo>
                      <a:pt x="1205" y="1124"/>
                    </a:lnTo>
                    <a:lnTo>
                      <a:pt x="1205" y="1122"/>
                    </a:lnTo>
                    <a:close/>
                    <a:moveTo>
                      <a:pt x="1295" y="1616"/>
                    </a:moveTo>
                    <a:lnTo>
                      <a:pt x="1297" y="1616"/>
                    </a:lnTo>
                    <a:lnTo>
                      <a:pt x="1297" y="1618"/>
                    </a:lnTo>
                    <a:lnTo>
                      <a:pt x="1295" y="1618"/>
                    </a:lnTo>
                    <a:lnTo>
                      <a:pt x="1295" y="1616"/>
                    </a:lnTo>
                    <a:close/>
                    <a:moveTo>
                      <a:pt x="1326" y="1650"/>
                    </a:moveTo>
                    <a:lnTo>
                      <a:pt x="1327" y="1650"/>
                    </a:lnTo>
                    <a:lnTo>
                      <a:pt x="1327" y="1652"/>
                    </a:lnTo>
                    <a:lnTo>
                      <a:pt x="1326" y="1652"/>
                    </a:lnTo>
                    <a:lnTo>
                      <a:pt x="1326" y="1650"/>
                    </a:lnTo>
                    <a:close/>
                    <a:moveTo>
                      <a:pt x="1169" y="1434"/>
                    </a:moveTo>
                    <a:lnTo>
                      <a:pt x="1171" y="1434"/>
                    </a:lnTo>
                    <a:lnTo>
                      <a:pt x="1169" y="1434"/>
                    </a:lnTo>
                    <a:close/>
                    <a:moveTo>
                      <a:pt x="1251" y="1597"/>
                    </a:moveTo>
                    <a:lnTo>
                      <a:pt x="1251" y="1599"/>
                    </a:lnTo>
                    <a:lnTo>
                      <a:pt x="1251" y="1597"/>
                    </a:lnTo>
                    <a:close/>
                    <a:moveTo>
                      <a:pt x="1159" y="1349"/>
                    </a:moveTo>
                    <a:lnTo>
                      <a:pt x="1161" y="1349"/>
                    </a:lnTo>
                    <a:lnTo>
                      <a:pt x="1159" y="1349"/>
                    </a:lnTo>
                    <a:close/>
                    <a:moveTo>
                      <a:pt x="1227" y="1583"/>
                    </a:moveTo>
                    <a:lnTo>
                      <a:pt x="1229" y="1583"/>
                    </a:lnTo>
                    <a:lnTo>
                      <a:pt x="1227" y="1583"/>
                    </a:lnTo>
                    <a:close/>
                    <a:moveTo>
                      <a:pt x="1219" y="1524"/>
                    </a:moveTo>
                    <a:lnTo>
                      <a:pt x="1220" y="1524"/>
                    </a:lnTo>
                    <a:lnTo>
                      <a:pt x="1220" y="1526"/>
                    </a:lnTo>
                    <a:lnTo>
                      <a:pt x="1219" y="1526"/>
                    </a:lnTo>
                    <a:lnTo>
                      <a:pt x="1219" y="1524"/>
                    </a:lnTo>
                    <a:close/>
                    <a:moveTo>
                      <a:pt x="1188" y="1447"/>
                    </a:moveTo>
                    <a:lnTo>
                      <a:pt x="1190" y="1447"/>
                    </a:lnTo>
                    <a:lnTo>
                      <a:pt x="1190" y="1449"/>
                    </a:lnTo>
                    <a:lnTo>
                      <a:pt x="1188" y="1449"/>
                    </a:lnTo>
                    <a:lnTo>
                      <a:pt x="1188" y="1447"/>
                    </a:lnTo>
                    <a:close/>
                    <a:moveTo>
                      <a:pt x="1154" y="1185"/>
                    </a:moveTo>
                    <a:lnTo>
                      <a:pt x="1156" y="1185"/>
                    </a:lnTo>
                    <a:lnTo>
                      <a:pt x="1156" y="1187"/>
                    </a:lnTo>
                    <a:lnTo>
                      <a:pt x="1154" y="1187"/>
                    </a:lnTo>
                    <a:lnTo>
                      <a:pt x="1154" y="1185"/>
                    </a:lnTo>
                    <a:close/>
                    <a:moveTo>
                      <a:pt x="1149" y="1332"/>
                    </a:moveTo>
                    <a:lnTo>
                      <a:pt x="1151" y="1332"/>
                    </a:lnTo>
                    <a:lnTo>
                      <a:pt x="1149" y="1332"/>
                    </a:lnTo>
                    <a:close/>
                    <a:moveTo>
                      <a:pt x="1385" y="1662"/>
                    </a:moveTo>
                    <a:lnTo>
                      <a:pt x="1385" y="1663"/>
                    </a:lnTo>
                    <a:lnTo>
                      <a:pt x="1385" y="1662"/>
                    </a:lnTo>
                    <a:close/>
                    <a:moveTo>
                      <a:pt x="1186" y="1485"/>
                    </a:moveTo>
                    <a:lnTo>
                      <a:pt x="1188" y="1485"/>
                    </a:lnTo>
                    <a:lnTo>
                      <a:pt x="1186" y="1485"/>
                    </a:lnTo>
                    <a:close/>
                    <a:moveTo>
                      <a:pt x="1181" y="1459"/>
                    </a:moveTo>
                    <a:lnTo>
                      <a:pt x="1181" y="1461"/>
                    </a:lnTo>
                    <a:lnTo>
                      <a:pt x="1181" y="1459"/>
                    </a:lnTo>
                    <a:close/>
                    <a:moveTo>
                      <a:pt x="1361" y="1670"/>
                    </a:moveTo>
                    <a:lnTo>
                      <a:pt x="1363" y="1670"/>
                    </a:lnTo>
                    <a:lnTo>
                      <a:pt x="1361" y="1670"/>
                    </a:lnTo>
                    <a:close/>
                    <a:moveTo>
                      <a:pt x="1210" y="1090"/>
                    </a:moveTo>
                    <a:lnTo>
                      <a:pt x="1212" y="1090"/>
                    </a:lnTo>
                    <a:lnTo>
                      <a:pt x="1212" y="1092"/>
                    </a:lnTo>
                    <a:lnTo>
                      <a:pt x="1210" y="1092"/>
                    </a:lnTo>
                    <a:lnTo>
                      <a:pt x="1210" y="1090"/>
                    </a:lnTo>
                    <a:close/>
                    <a:moveTo>
                      <a:pt x="1183" y="1071"/>
                    </a:moveTo>
                    <a:lnTo>
                      <a:pt x="1183" y="1073"/>
                    </a:lnTo>
                    <a:lnTo>
                      <a:pt x="1183" y="1071"/>
                    </a:lnTo>
                    <a:close/>
                    <a:moveTo>
                      <a:pt x="1205" y="1105"/>
                    </a:moveTo>
                    <a:lnTo>
                      <a:pt x="1207" y="1105"/>
                    </a:lnTo>
                    <a:lnTo>
                      <a:pt x="1205" y="1105"/>
                    </a:lnTo>
                    <a:close/>
                    <a:moveTo>
                      <a:pt x="1258" y="1602"/>
                    </a:moveTo>
                    <a:lnTo>
                      <a:pt x="1259" y="1602"/>
                    </a:lnTo>
                    <a:lnTo>
                      <a:pt x="1258" y="1602"/>
                    </a:lnTo>
                    <a:close/>
                    <a:moveTo>
                      <a:pt x="1220" y="1505"/>
                    </a:moveTo>
                    <a:lnTo>
                      <a:pt x="1222" y="1505"/>
                    </a:lnTo>
                    <a:lnTo>
                      <a:pt x="1222" y="1507"/>
                    </a:lnTo>
                    <a:lnTo>
                      <a:pt x="1220" y="1507"/>
                    </a:lnTo>
                    <a:lnTo>
                      <a:pt x="1220" y="1505"/>
                    </a:lnTo>
                    <a:close/>
                    <a:moveTo>
                      <a:pt x="1186" y="1444"/>
                    </a:moveTo>
                    <a:lnTo>
                      <a:pt x="1188" y="1444"/>
                    </a:lnTo>
                    <a:lnTo>
                      <a:pt x="1186" y="1444"/>
                    </a:lnTo>
                    <a:close/>
                    <a:moveTo>
                      <a:pt x="1404" y="1648"/>
                    </a:moveTo>
                    <a:lnTo>
                      <a:pt x="1406" y="1648"/>
                    </a:lnTo>
                    <a:lnTo>
                      <a:pt x="1404" y="1648"/>
                    </a:lnTo>
                    <a:close/>
                    <a:moveTo>
                      <a:pt x="1378" y="1665"/>
                    </a:moveTo>
                    <a:lnTo>
                      <a:pt x="1380" y="1665"/>
                    </a:lnTo>
                    <a:lnTo>
                      <a:pt x="1378" y="1665"/>
                    </a:lnTo>
                    <a:close/>
                    <a:moveTo>
                      <a:pt x="1343" y="1663"/>
                    </a:moveTo>
                    <a:lnTo>
                      <a:pt x="1344" y="1663"/>
                    </a:lnTo>
                    <a:lnTo>
                      <a:pt x="1344" y="1665"/>
                    </a:lnTo>
                    <a:lnTo>
                      <a:pt x="1343" y="1665"/>
                    </a:lnTo>
                    <a:lnTo>
                      <a:pt x="1343" y="1663"/>
                    </a:lnTo>
                    <a:close/>
                    <a:moveTo>
                      <a:pt x="1414" y="1679"/>
                    </a:moveTo>
                    <a:lnTo>
                      <a:pt x="1416" y="1679"/>
                    </a:lnTo>
                    <a:lnTo>
                      <a:pt x="1416" y="1680"/>
                    </a:lnTo>
                    <a:lnTo>
                      <a:pt x="1414" y="1680"/>
                    </a:lnTo>
                    <a:lnTo>
                      <a:pt x="1414" y="1679"/>
                    </a:lnTo>
                    <a:close/>
                    <a:moveTo>
                      <a:pt x="1220" y="1075"/>
                    </a:moveTo>
                    <a:lnTo>
                      <a:pt x="1220" y="1077"/>
                    </a:lnTo>
                    <a:lnTo>
                      <a:pt x="1220" y="1075"/>
                    </a:lnTo>
                    <a:close/>
                    <a:moveTo>
                      <a:pt x="1222" y="1561"/>
                    </a:moveTo>
                    <a:lnTo>
                      <a:pt x="1224" y="1561"/>
                    </a:lnTo>
                    <a:lnTo>
                      <a:pt x="1222" y="1561"/>
                    </a:lnTo>
                    <a:close/>
                    <a:moveTo>
                      <a:pt x="1176" y="1141"/>
                    </a:moveTo>
                    <a:lnTo>
                      <a:pt x="1178" y="1141"/>
                    </a:lnTo>
                    <a:lnTo>
                      <a:pt x="1178" y="1143"/>
                    </a:lnTo>
                    <a:lnTo>
                      <a:pt x="1176" y="1143"/>
                    </a:lnTo>
                    <a:lnTo>
                      <a:pt x="1176" y="1141"/>
                    </a:lnTo>
                    <a:close/>
                    <a:moveTo>
                      <a:pt x="1356" y="1653"/>
                    </a:moveTo>
                    <a:lnTo>
                      <a:pt x="1358" y="1653"/>
                    </a:lnTo>
                    <a:lnTo>
                      <a:pt x="1358" y="1655"/>
                    </a:lnTo>
                    <a:lnTo>
                      <a:pt x="1356" y="1655"/>
                    </a:lnTo>
                    <a:lnTo>
                      <a:pt x="1356" y="1653"/>
                    </a:lnTo>
                    <a:close/>
                    <a:moveTo>
                      <a:pt x="1213" y="1012"/>
                    </a:moveTo>
                    <a:lnTo>
                      <a:pt x="1215" y="1012"/>
                    </a:lnTo>
                    <a:lnTo>
                      <a:pt x="1215" y="1014"/>
                    </a:lnTo>
                    <a:lnTo>
                      <a:pt x="1213" y="1014"/>
                    </a:lnTo>
                    <a:lnTo>
                      <a:pt x="1213" y="1012"/>
                    </a:lnTo>
                    <a:close/>
                    <a:moveTo>
                      <a:pt x="1139" y="1311"/>
                    </a:moveTo>
                    <a:lnTo>
                      <a:pt x="1140" y="1311"/>
                    </a:lnTo>
                    <a:lnTo>
                      <a:pt x="1140" y="1313"/>
                    </a:lnTo>
                    <a:lnTo>
                      <a:pt x="1139" y="1313"/>
                    </a:lnTo>
                    <a:lnTo>
                      <a:pt x="1139" y="1311"/>
                    </a:lnTo>
                    <a:close/>
                    <a:moveTo>
                      <a:pt x="1215" y="1517"/>
                    </a:moveTo>
                    <a:lnTo>
                      <a:pt x="1217" y="1517"/>
                    </a:lnTo>
                    <a:lnTo>
                      <a:pt x="1215" y="1517"/>
                    </a:lnTo>
                    <a:close/>
                    <a:moveTo>
                      <a:pt x="1178" y="1444"/>
                    </a:moveTo>
                    <a:lnTo>
                      <a:pt x="1179" y="1444"/>
                    </a:lnTo>
                    <a:lnTo>
                      <a:pt x="1178" y="1444"/>
                    </a:lnTo>
                    <a:close/>
                    <a:moveTo>
                      <a:pt x="1188" y="1430"/>
                    </a:moveTo>
                    <a:lnTo>
                      <a:pt x="1190" y="1430"/>
                    </a:lnTo>
                    <a:lnTo>
                      <a:pt x="1188" y="1430"/>
                    </a:lnTo>
                    <a:close/>
                    <a:moveTo>
                      <a:pt x="1203" y="1082"/>
                    </a:moveTo>
                    <a:lnTo>
                      <a:pt x="1205" y="1082"/>
                    </a:lnTo>
                    <a:lnTo>
                      <a:pt x="1203" y="1082"/>
                    </a:lnTo>
                    <a:close/>
                    <a:moveTo>
                      <a:pt x="1225" y="1575"/>
                    </a:moveTo>
                    <a:lnTo>
                      <a:pt x="1227" y="1575"/>
                    </a:lnTo>
                    <a:lnTo>
                      <a:pt x="1225" y="1575"/>
                    </a:lnTo>
                    <a:close/>
                    <a:moveTo>
                      <a:pt x="1258" y="1587"/>
                    </a:moveTo>
                    <a:lnTo>
                      <a:pt x="1258" y="1589"/>
                    </a:lnTo>
                    <a:lnTo>
                      <a:pt x="1258" y="1587"/>
                    </a:lnTo>
                    <a:close/>
                    <a:moveTo>
                      <a:pt x="1183" y="1446"/>
                    </a:moveTo>
                    <a:lnTo>
                      <a:pt x="1185" y="1446"/>
                    </a:lnTo>
                    <a:lnTo>
                      <a:pt x="1185" y="1447"/>
                    </a:lnTo>
                    <a:lnTo>
                      <a:pt x="1183" y="1447"/>
                    </a:lnTo>
                    <a:lnTo>
                      <a:pt x="1183" y="1446"/>
                    </a:lnTo>
                    <a:close/>
                    <a:moveTo>
                      <a:pt x="1142" y="1301"/>
                    </a:moveTo>
                    <a:lnTo>
                      <a:pt x="1144" y="1301"/>
                    </a:lnTo>
                    <a:lnTo>
                      <a:pt x="1142" y="1301"/>
                    </a:lnTo>
                    <a:close/>
                    <a:moveTo>
                      <a:pt x="1185" y="1425"/>
                    </a:moveTo>
                    <a:lnTo>
                      <a:pt x="1186" y="1425"/>
                    </a:lnTo>
                    <a:lnTo>
                      <a:pt x="1185" y="1425"/>
                    </a:lnTo>
                    <a:close/>
                    <a:moveTo>
                      <a:pt x="1283" y="1612"/>
                    </a:moveTo>
                    <a:lnTo>
                      <a:pt x="1283" y="1614"/>
                    </a:lnTo>
                    <a:lnTo>
                      <a:pt x="1283" y="1612"/>
                    </a:lnTo>
                    <a:close/>
                    <a:moveTo>
                      <a:pt x="1191" y="1126"/>
                    </a:moveTo>
                    <a:lnTo>
                      <a:pt x="1191" y="1128"/>
                    </a:lnTo>
                    <a:lnTo>
                      <a:pt x="1191" y="1126"/>
                    </a:lnTo>
                    <a:close/>
                    <a:moveTo>
                      <a:pt x="1261" y="1590"/>
                    </a:moveTo>
                    <a:lnTo>
                      <a:pt x="1261" y="1592"/>
                    </a:lnTo>
                    <a:lnTo>
                      <a:pt x="1261" y="1590"/>
                    </a:lnTo>
                    <a:close/>
                    <a:moveTo>
                      <a:pt x="1190" y="1071"/>
                    </a:moveTo>
                    <a:lnTo>
                      <a:pt x="1190" y="1073"/>
                    </a:lnTo>
                    <a:lnTo>
                      <a:pt x="1190" y="1071"/>
                    </a:lnTo>
                    <a:close/>
                    <a:moveTo>
                      <a:pt x="1193" y="1140"/>
                    </a:moveTo>
                    <a:lnTo>
                      <a:pt x="1195" y="1140"/>
                    </a:lnTo>
                    <a:lnTo>
                      <a:pt x="1195" y="1141"/>
                    </a:lnTo>
                    <a:lnTo>
                      <a:pt x="1193" y="1141"/>
                    </a:lnTo>
                    <a:lnTo>
                      <a:pt x="1193" y="1140"/>
                    </a:lnTo>
                    <a:close/>
                    <a:moveTo>
                      <a:pt x="1360" y="1665"/>
                    </a:moveTo>
                    <a:lnTo>
                      <a:pt x="1361" y="1665"/>
                    </a:lnTo>
                    <a:lnTo>
                      <a:pt x="1360" y="1665"/>
                    </a:lnTo>
                    <a:close/>
                    <a:moveTo>
                      <a:pt x="1213" y="1517"/>
                    </a:moveTo>
                    <a:lnTo>
                      <a:pt x="1213" y="1519"/>
                    </a:lnTo>
                    <a:lnTo>
                      <a:pt x="1213" y="1517"/>
                    </a:lnTo>
                    <a:close/>
                    <a:moveTo>
                      <a:pt x="1229" y="1577"/>
                    </a:moveTo>
                    <a:lnTo>
                      <a:pt x="1230" y="1577"/>
                    </a:lnTo>
                    <a:lnTo>
                      <a:pt x="1229" y="1577"/>
                    </a:lnTo>
                    <a:close/>
                    <a:moveTo>
                      <a:pt x="1169" y="1415"/>
                    </a:moveTo>
                    <a:lnTo>
                      <a:pt x="1171" y="1415"/>
                    </a:lnTo>
                    <a:lnTo>
                      <a:pt x="1169" y="1415"/>
                    </a:lnTo>
                    <a:close/>
                    <a:moveTo>
                      <a:pt x="1219" y="1565"/>
                    </a:moveTo>
                    <a:lnTo>
                      <a:pt x="1220" y="1565"/>
                    </a:lnTo>
                    <a:lnTo>
                      <a:pt x="1219" y="1565"/>
                    </a:lnTo>
                    <a:close/>
                    <a:moveTo>
                      <a:pt x="1142" y="1299"/>
                    </a:moveTo>
                    <a:lnTo>
                      <a:pt x="1144" y="1299"/>
                    </a:lnTo>
                    <a:lnTo>
                      <a:pt x="1142" y="1299"/>
                    </a:lnTo>
                    <a:close/>
                    <a:moveTo>
                      <a:pt x="1273" y="1609"/>
                    </a:moveTo>
                    <a:lnTo>
                      <a:pt x="1275" y="1609"/>
                    </a:lnTo>
                    <a:lnTo>
                      <a:pt x="1275" y="1611"/>
                    </a:lnTo>
                    <a:lnTo>
                      <a:pt x="1273" y="1611"/>
                    </a:lnTo>
                    <a:lnTo>
                      <a:pt x="1273" y="1609"/>
                    </a:lnTo>
                    <a:close/>
                    <a:moveTo>
                      <a:pt x="1217" y="1565"/>
                    </a:moveTo>
                    <a:lnTo>
                      <a:pt x="1219" y="1565"/>
                    </a:lnTo>
                    <a:lnTo>
                      <a:pt x="1217" y="1565"/>
                    </a:lnTo>
                    <a:close/>
                    <a:moveTo>
                      <a:pt x="1183" y="1439"/>
                    </a:moveTo>
                    <a:lnTo>
                      <a:pt x="1185" y="1439"/>
                    </a:lnTo>
                    <a:lnTo>
                      <a:pt x="1185" y="1441"/>
                    </a:lnTo>
                    <a:lnTo>
                      <a:pt x="1183" y="1441"/>
                    </a:lnTo>
                    <a:lnTo>
                      <a:pt x="1183" y="1439"/>
                    </a:lnTo>
                    <a:close/>
                    <a:moveTo>
                      <a:pt x="1361" y="1599"/>
                    </a:moveTo>
                    <a:lnTo>
                      <a:pt x="1363" y="1599"/>
                    </a:lnTo>
                    <a:lnTo>
                      <a:pt x="1363" y="1600"/>
                    </a:lnTo>
                    <a:lnTo>
                      <a:pt x="1361" y="1600"/>
                    </a:lnTo>
                    <a:lnTo>
                      <a:pt x="1361" y="1599"/>
                    </a:lnTo>
                    <a:close/>
                    <a:moveTo>
                      <a:pt x="1219" y="1136"/>
                    </a:moveTo>
                    <a:lnTo>
                      <a:pt x="1220" y="1136"/>
                    </a:lnTo>
                    <a:lnTo>
                      <a:pt x="1219" y="1136"/>
                    </a:lnTo>
                    <a:close/>
                    <a:moveTo>
                      <a:pt x="1232" y="1507"/>
                    </a:moveTo>
                    <a:lnTo>
                      <a:pt x="1234" y="1507"/>
                    </a:lnTo>
                    <a:lnTo>
                      <a:pt x="1232" y="1507"/>
                    </a:lnTo>
                    <a:close/>
                    <a:moveTo>
                      <a:pt x="1358" y="1655"/>
                    </a:moveTo>
                    <a:lnTo>
                      <a:pt x="1360" y="1655"/>
                    </a:lnTo>
                    <a:lnTo>
                      <a:pt x="1360" y="1657"/>
                    </a:lnTo>
                    <a:lnTo>
                      <a:pt x="1358" y="1657"/>
                    </a:lnTo>
                    <a:lnTo>
                      <a:pt x="1358" y="1655"/>
                    </a:lnTo>
                    <a:close/>
                    <a:moveTo>
                      <a:pt x="1151" y="1330"/>
                    </a:moveTo>
                    <a:lnTo>
                      <a:pt x="1152" y="1330"/>
                    </a:lnTo>
                    <a:lnTo>
                      <a:pt x="1152" y="1332"/>
                    </a:lnTo>
                    <a:lnTo>
                      <a:pt x="1151" y="1332"/>
                    </a:lnTo>
                    <a:lnTo>
                      <a:pt x="1151" y="1330"/>
                    </a:lnTo>
                    <a:close/>
                    <a:moveTo>
                      <a:pt x="1200" y="1527"/>
                    </a:moveTo>
                    <a:lnTo>
                      <a:pt x="1202" y="1527"/>
                    </a:lnTo>
                    <a:lnTo>
                      <a:pt x="1202" y="1529"/>
                    </a:lnTo>
                    <a:lnTo>
                      <a:pt x="1200" y="1529"/>
                    </a:lnTo>
                    <a:lnTo>
                      <a:pt x="1200" y="1527"/>
                    </a:lnTo>
                    <a:close/>
                    <a:moveTo>
                      <a:pt x="1215" y="1555"/>
                    </a:moveTo>
                    <a:lnTo>
                      <a:pt x="1217" y="1555"/>
                    </a:lnTo>
                    <a:lnTo>
                      <a:pt x="1215" y="1555"/>
                    </a:lnTo>
                    <a:close/>
                    <a:moveTo>
                      <a:pt x="1295" y="1612"/>
                    </a:moveTo>
                    <a:lnTo>
                      <a:pt x="1295" y="1614"/>
                    </a:lnTo>
                    <a:lnTo>
                      <a:pt x="1295" y="1612"/>
                    </a:lnTo>
                    <a:close/>
                    <a:moveTo>
                      <a:pt x="1222" y="1068"/>
                    </a:moveTo>
                    <a:lnTo>
                      <a:pt x="1224" y="1068"/>
                    </a:lnTo>
                    <a:lnTo>
                      <a:pt x="1224" y="1070"/>
                    </a:lnTo>
                    <a:lnTo>
                      <a:pt x="1222" y="1070"/>
                    </a:lnTo>
                    <a:lnTo>
                      <a:pt x="1222" y="1068"/>
                    </a:lnTo>
                    <a:close/>
                    <a:moveTo>
                      <a:pt x="1344" y="1660"/>
                    </a:moveTo>
                    <a:lnTo>
                      <a:pt x="1346" y="1660"/>
                    </a:lnTo>
                    <a:lnTo>
                      <a:pt x="1346" y="1662"/>
                    </a:lnTo>
                    <a:lnTo>
                      <a:pt x="1344" y="1662"/>
                    </a:lnTo>
                    <a:lnTo>
                      <a:pt x="1344" y="1660"/>
                    </a:lnTo>
                    <a:close/>
                    <a:moveTo>
                      <a:pt x="1207" y="1498"/>
                    </a:moveTo>
                    <a:lnTo>
                      <a:pt x="1208" y="1498"/>
                    </a:lnTo>
                    <a:lnTo>
                      <a:pt x="1208" y="1500"/>
                    </a:lnTo>
                    <a:lnTo>
                      <a:pt x="1207" y="1500"/>
                    </a:lnTo>
                    <a:lnTo>
                      <a:pt x="1207" y="1498"/>
                    </a:lnTo>
                    <a:close/>
                    <a:moveTo>
                      <a:pt x="1171" y="1230"/>
                    </a:moveTo>
                    <a:lnTo>
                      <a:pt x="1173" y="1230"/>
                    </a:lnTo>
                    <a:lnTo>
                      <a:pt x="1173" y="1231"/>
                    </a:lnTo>
                    <a:lnTo>
                      <a:pt x="1171" y="1231"/>
                    </a:lnTo>
                    <a:lnTo>
                      <a:pt x="1171" y="1230"/>
                    </a:lnTo>
                    <a:close/>
                    <a:moveTo>
                      <a:pt x="1151" y="1310"/>
                    </a:moveTo>
                    <a:lnTo>
                      <a:pt x="1152" y="1310"/>
                    </a:lnTo>
                    <a:lnTo>
                      <a:pt x="1151" y="1310"/>
                    </a:lnTo>
                    <a:close/>
                    <a:moveTo>
                      <a:pt x="1246" y="1504"/>
                    </a:moveTo>
                    <a:lnTo>
                      <a:pt x="1246" y="1505"/>
                    </a:lnTo>
                    <a:lnTo>
                      <a:pt x="1246" y="1504"/>
                    </a:lnTo>
                    <a:close/>
                    <a:moveTo>
                      <a:pt x="1254" y="1575"/>
                    </a:moveTo>
                    <a:lnTo>
                      <a:pt x="1256" y="1575"/>
                    </a:lnTo>
                    <a:lnTo>
                      <a:pt x="1254" y="1575"/>
                    </a:lnTo>
                    <a:close/>
                    <a:moveTo>
                      <a:pt x="1198" y="1092"/>
                    </a:moveTo>
                    <a:lnTo>
                      <a:pt x="1200" y="1092"/>
                    </a:lnTo>
                    <a:lnTo>
                      <a:pt x="1198" y="1092"/>
                    </a:lnTo>
                    <a:close/>
                    <a:moveTo>
                      <a:pt x="1191" y="1379"/>
                    </a:moveTo>
                    <a:lnTo>
                      <a:pt x="1193" y="1379"/>
                    </a:lnTo>
                    <a:lnTo>
                      <a:pt x="1191" y="1379"/>
                    </a:lnTo>
                    <a:close/>
                    <a:moveTo>
                      <a:pt x="1154" y="1288"/>
                    </a:moveTo>
                    <a:lnTo>
                      <a:pt x="1154" y="1289"/>
                    </a:lnTo>
                    <a:lnTo>
                      <a:pt x="1154" y="1288"/>
                    </a:lnTo>
                    <a:close/>
                    <a:moveTo>
                      <a:pt x="1173" y="1395"/>
                    </a:moveTo>
                    <a:lnTo>
                      <a:pt x="1174" y="1395"/>
                    </a:lnTo>
                    <a:lnTo>
                      <a:pt x="1173" y="1395"/>
                    </a:lnTo>
                    <a:close/>
                    <a:moveTo>
                      <a:pt x="1219" y="1568"/>
                    </a:moveTo>
                    <a:lnTo>
                      <a:pt x="1219" y="1570"/>
                    </a:lnTo>
                    <a:lnTo>
                      <a:pt x="1219" y="1568"/>
                    </a:lnTo>
                    <a:close/>
                    <a:moveTo>
                      <a:pt x="1200" y="1094"/>
                    </a:moveTo>
                    <a:lnTo>
                      <a:pt x="1202" y="1094"/>
                    </a:lnTo>
                    <a:lnTo>
                      <a:pt x="1200" y="1094"/>
                    </a:lnTo>
                    <a:close/>
                    <a:moveTo>
                      <a:pt x="1205" y="1060"/>
                    </a:moveTo>
                    <a:lnTo>
                      <a:pt x="1207" y="1060"/>
                    </a:lnTo>
                    <a:lnTo>
                      <a:pt x="1207" y="1061"/>
                    </a:lnTo>
                    <a:lnTo>
                      <a:pt x="1205" y="1061"/>
                    </a:lnTo>
                    <a:lnTo>
                      <a:pt x="1205" y="1060"/>
                    </a:lnTo>
                    <a:close/>
                    <a:moveTo>
                      <a:pt x="1215" y="1502"/>
                    </a:moveTo>
                    <a:lnTo>
                      <a:pt x="1217" y="1502"/>
                    </a:lnTo>
                    <a:lnTo>
                      <a:pt x="1217" y="1504"/>
                    </a:lnTo>
                    <a:lnTo>
                      <a:pt x="1215" y="1504"/>
                    </a:lnTo>
                    <a:lnTo>
                      <a:pt x="1215" y="1502"/>
                    </a:lnTo>
                    <a:close/>
                    <a:moveTo>
                      <a:pt x="1254" y="1492"/>
                    </a:moveTo>
                    <a:lnTo>
                      <a:pt x="1254" y="1493"/>
                    </a:lnTo>
                    <a:lnTo>
                      <a:pt x="1254" y="1492"/>
                    </a:lnTo>
                    <a:close/>
                    <a:moveTo>
                      <a:pt x="1174" y="1473"/>
                    </a:moveTo>
                    <a:lnTo>
                      <a:pt x="1174" y="1475"/>
                    </a:lnTo>
                    <a:lnTo>
                      <a:pt x="1174" y="1473"/>
                    </a:lnTo>
                    <a:close/>
                    <a:moveTo>
                      <a:pt x="1298" y="1641"/>
                    </a:moveTo>
                    <a:lnTo>
                      <a:pt x="1300" y="1641"/>
                    </a:lnTo>
                    <a:lnTo>
                      <a:pt x="1298" y="1641"/>
                    </a:lnTo>
                    <a:close/>
                    <a:moveTo>
                      <a:pt x="1207" y="1527"/>
                    </a:moveTo>
                    <a:lnTo>
                      <a:pt x="1207" y="1529"/>
                    </a:lnTo>
                    <a:lnTo>
                      <a:pt x="1207" y="1527"/>
                    </a:lnTo>
                    <a:close/>
                    <a:moveTo>
                      <a:pt x="1421" y="1669"/>
                    </a:moveTo>
                    <a:lnTo>
                      <a:pt x="1423" y="1669"/>
                    </a:lnTo>
                    <a:lnTo>
                      <a:pt x="1421" y="1669"/>
                    </a:lnTo>
                    <a:close/>
                    <a:moveTo>
                      <a:pt x="1263" y="1600"/>
                    </a:moveTo>
                    <a:lnTo>
                      <a:pt x="1264" y="1600"/>
                    </a:lnTo>
                    <a:lnTo>
                      <a:pt x="1264" y="1602"/>
                    </a:lnTo>
                    <a:lnTo>
                      <a:pt x="1263" y="1602"/>
                    </a:lnTo>
                    <a:lnTo>
                      <a:pt x="1263" y="1600"/>
                    </a:lnTo>
                    <a:close/>
                    <a:moveTo>
                      <a:pt x="1222" y="1068"/>
                    </a:moveTo>
                    <a:lnTo>
                      <a:pt x="1224" y="1068"/>
                    </a:lnTo>
                    <a:lnTo>
                      <a:pt x="1224" y="1070"/>
                    </a:lnTo>
                    <a:lnTo>
                      <a:pt x="1222" y="1070"/>
                    </a:lnTo>
                    <a:lnTo>
                      <a:pt x="1222" y="1068"/>
                    </a:lnTo>
                    <a:close/>
                    <a:moveTo>
                      <a:pt x="1181" y="1298"/>
                    </a:moveTo>
                    <a:lnTo>
                      <a:pt x="1183" y="1298"/>
                    </a:lnTo>
                    <a:lnTo>
                      <a:pt x="1181" y="1298"/>
                    </a:lnTo>
                    <a:close/>
                    <a:moveTo>
                      <a:pt x="1195" y="1454"/>
                    </a:moveTo>
                    <a:lnTo>
                      <a:pt x="1196" y="1454"/>
                    </a:lnTo>
                    <a:lnTo>
                      <a:pt x="1195" y="1454"/>
                    </a:lnTo>
                    <a:close/>
                    <a:moveTo>
                      <a:pt x="1181" y="1211"/>
                    </a:moveTo>
                    <a:lnTo>
                      <a:pt x="1183" y="1211"/>
                    </a:lnTo>
                    <a:lnTo>
                      <a:pt x="1181" y="1211"/>
                    </a:lnTo>
                    <a:close/>
                    <a:moveTo>
                      <a:pt x="1147" y="1289"/>
                    </a:moveTo>
                    <a:lnTo>
                      <a:pt x="1149" y="1289"/>
                    </a:lnTo>
                    <a:lnTo>
                      <a:pt x="1147" y="1289"/>
                    </a:lnTo>
                    <a:close/>
                    <a:moveTo>
                      <a:pt x="1183" y="1316"/>
                    </a:moveTo>
                    <a:lnTo>
                      <a:pt x="1183" y="1318"/>
                    </a:lnTo>
                    <a:lnTo>
                      <a:pt x="1183" y="1316"/>
                    </a:lnTo>
                    <a:close/>
                    <a:moveTo>
                      <a:pt x="1232" y="1544"/>
                    </a:moveTo>
                    <a:lnTo>
                      <a:pt x="1234" y="1544"/>
                    </a:lnTo>
                    <a:lnTo>
                      <a:pt x="1234" y="1546"/>
                    </a:lnTo>
                    <a:lnTo>
                      <a:pt x="1232" y="1546"/>
                    </a:lnTo>
                    <a:lnTo>
                      <a:pt x="1232" y="1544"/>
                    </a:lnTo>
                    <a:close/>
                    <a:moveTo>
                      <a:pt x="1185" y="1463"/>
                    </a:moveTo>
                    <a:lnTo>
                      <a:pt x="1186" y="1463"/>
                    </a:lnTo>
                    <a:lnTo>
                      <a:pt x="1186" y="1464"/>
                    </a:lnTo>
                    <a:lnTo>
                      <a:pt x="1185" y="1464"/>
                    </a:lnTo>
                    <a:lnTo>
                      <a:pt x="1185" y="1463"/>
                    </a:lnTo>
                    <a:close/>
                    <a:moveTo>
                      <a:pt x="1178" y="1434"/>
                    </a:moveTo>
                    <a:lnTo>
                      <a:pt x="1179" y="1434"/>
                    </a:lnTo>
                    <a:lnTo>
                      <a:pt x="1178" y="1434"/>
                    </a:lnTo>
                    <a:close/>
                    <a:moveTo>
                      <a:pt x="1162" y="1245"/>
                    </a:moveTo>
                    <a:lnTo>
                      <a:pt x="1162" y="1247"/>
                    </a:lnTo>
                    <a:lnTo>
                      <a:pt x="1162" y="1245"/>
                    </a:lnTo>
                    <a:close/>
                    <a:moveTo>
                      <a:pt x="1229" y="1039"/>
                    </a:moveTo>
                    <a:lnTo>
                      <a:pt x="1229" y="1041"/>
                    </a:lnTo>
                    <a:lnTo>
                      <a:pt x="1229" y="1039"/>
                    </a:lnTo>
                    <a:close/>
                    <a:moveTo>
                      <a:pt x="1183" y="1289"/>
                    </a:moveTo>
                    <a:lnTo>
                      <a:pt x="1185" y="1289"/>
                    </a:lnTo>
                    <a:lnTo>
                      <a:pt x="1183" y="1289"/>
                    </a:lnTo>
                    <a:close/>
                    <a:moveTo>
                      <a:pt x="1402" y="1645"/>
                    </a:moveTo>
                    <a:lnTo>
                      <a:pt x="1402" y="1646"/>
                    </a:lnTo>
                    <a:lnTo>
                      <a:pt x="1402" y="1645"/>
                    </a:lnTo>
                    <a:close/>
                    <a:moveTo>
                      <a:pt x="1213" y="1556"/>
                    </a:moveTo>
                    <a:lnTo>
                      <a:pt x="1215" y="1556"/>
                    </a:lnTo>
                    <a:lnTo>
                      <a:pt x="1213" y="1556"/>
                    </a:lnTo>
                    <a:close/>
                    <a:moveTo>
                      <a:pt x="1191" y="1412"/>
                    </a:moveTo>
                    <a:lnTo>
                      <a:pt x="1191" y="1413"/>
                    </a:lnTo>
                    <a:lnTo>
                      <a:pt x="1191" y="1412"/>
                    </a:lnTo>
                    <a:close/>
                    <a:moveTo>
                      <a:pt x="1179" y="1430"/>
                    </a:moveTo>
                    <a:lnTo>
                      <a:pt x="1181" y="1430"/>
                    </a:lnTo>
                    <a:lnTo>
                      <a:pt x="1179" y="1430"/>
                    </a:lnTo>
                    <a:close/>
                    <a:moveTo>
                      <a:pt x="1183" y="1463"/>
                    </a:moveTo>
                    <a:lnTo>
                      <a:pt x="1185" y="1463"/>
                    </a:lnTo>
                    <a:lnTo>
                      <a:pt x="1183" y="1463"/>
                    </a:lnTo>
                    <a:close/>
                    <a:moveTo>
                      <a:pt x="1152" y="1187"/>
                    </a:moveTo>
                    <a:lnTo>
                      <a:pt x="1154" y="1187"/>
                    </a:lnTo>
                    <a:lnTo>
                      <a:pt x="1152" y="1187"/>
                    </a:lnTo>
                    <a:close/>
                    <a:moveTo>
                      <a:pt x="1358" y="1657"/>
                    </a:moveTo>
                    <a:lnTo>
                      <a:pt x="1360" y="1657"/>
                    </a:lnTo>
                    <a:lnTo>
                      <a:pt x="1358" y="1657"/>
                    </a:lnTo>
                    <a:close/>
                    <a:moveTo>
                      <a:pt x="1178" y="1425"/>
                    </a:moveTo>
                    <a:lnTo>
                      <a:pt x="1179" y="1425"/>
                    </a:lnTo>
                    <a:lnTo>
                      <a:pt x="1179" y="1427"/>
                    </a:lnTo>
                    <a:lnTo>
                      <a:pt x="1178" y="1427"/>
                    </a:lnTo>
                    <a:lnTo>
                      <a:pt x="1178" y="1425"/>
                    </a:lnTo>
                    <a:close/>
                    <a:moveTo>
                      <a:pt x="1154" y="1313"/>
                    </a:moveTo>
                    <a:lnTo>
                      <a:pt x="1156" y="1313"/>
                    </a:lnTo>
                    <a:lnTo>
                      <a:pt x="1154" y="1313"/>
                    </a:lnTo>
                    <a:close/>
                    <a:moveTo>
                      <a:pt x="1185" y="1527"/>
                    </a:moveTo>
                    <a:lnTo>
                      <a:pt x="1185" y="1529"/>
                    </a:lnTo>
                    <a:lnTo>
                      <a:pt x="1185" y="1527"/>
                    </a:lnTo>
                    <a:close/>
                    <a:moveTo>
                      <a:pt x="1380" y="1667"/>
                    </a:moveTo>
                    <a:lnTo>
                      <a:pt x="1382" y="1667"/>
                    </a:lnTo>
                    <a:lnTo>
                      <a:pt x="1380" y="1667"/>
                    </a:lnTo>
                    <a:close/>
                    <a:moveTo>
                      <a:pt x="1205" y="1527"/>
                    </a:moveTo>
                    <a:lnTo>
                      <a:pt x="1207" y="1527"/>
                    </a:lnTo>
                    <a:lnTo>
                      <a:pt x="1207" y="1529"/>
                    </a:lnTo>
                    <a:lnTo>
                      <a:pt x="1205" y="1529"/>
                    </a:lnTo>
                    <a:lnTo>
                      <a:pt x="1205" y="1527"/>
                    </a:lnTo>
                    <a:close/>
                    <a:moveTo>
                      <a:pt x="1397" y="1663"/>
                    </a:moveTo>
                    <a:lnTo>
                      <a:pt x="1397" y="1665"/>
                    </a:lnTo>
                    <a:lnTo>
                      <a:pt x="1397" y="1663"/>
                    </a:lnTo>
                    <a:close/>
                    <a:moveTo>
                      <a:pt x="1358" y="1667"/>
                    </a:moveTo>
                    <a:lnTo>
                      <a:pt x="1360" y="1667"/>
                    </a:lnTo>
                    <a:lnTo>
                      <a:pt x="1358" y="1667"/>
                    </a:lnTo>
                    <a:close/>
                    <a:moveTo>
                      <a:pt x="1190" y="1231"/>
                    </a:moveTo>
                    <a:lnTo>
                      <a:pt x="1191" y="1231"/>
                    </a:lnTo>
                    <a:lnTo>
                      <a:pt x="1190" y="1231"/>
                    </a:lnTo>
                    <a:close/>
                    <a:moveTo>
                      <a:pt x="1168" y="1136"/>
                    </a:moveTo>
                    <a:lnTo>
                      <a:pt x="1169" y="1136"/>
                    </a:lnTo>
                    <a:lnTo>
                      <a:pt x="1169" y="1138"/>
                    </a:lnTo>
                    <a:lnTo>
                      <a:pt x="1168" y="1138"/>
                    </a:lnTo>
                    <a:lnTo>
                      <a:pt x="1168" y="1136"/>
                    </a:lnTo>
                    <a:close/>
                    <a:moveTo>
                      <a:pt x="1183" y="1430"/>
                    </a:moveTo>
                    <a:lnTo>
                      <a:pt x="1185" y="1430"/>
                    </a:lnTo>
                    <a:lnTo>
                      <a:pt x="1183" y="1430"/>
                    </a:lnTo>
                    <a:close/>
                    <a:moveTo>
                      <a:pt x="1220" y="1083"/>
                    </a:moveTo>
                    <a:lnTo>
                      <a:pt x="1220" y="1085"/>
                    </a:lnTo>
                    <a:lnTo>
                      <a:pt x="1220" y="1083"/>
                    </a:lnTo>
                    <a:close/>
                    <a:moveTo>
                      <a:pt x="1183" y="1299"/>
                    </a:moveTo>
                    <a:lnTo>
                      <a:pt x="1183" y="1301"/>
                    </a:lnTo>
                    <a:lnTo>
                      <a:pt x="1183" y="1299"/>
                    </a:lnTo>
                    <a:close/>
                    <a:moveTo>
                      <a:pt x="1254" y="1590"/>
                    </a:moveTo>
                    <a:lnTo>
                      <a:pt x="1256" y="1590"/>
                    </a:lnTo>
                    <a:lnTo>
                      <a:pt x="1254" y="1590"/>
                    </a:lnTo>
                    <a:close/>
                    <a:moveTo>
                      <a:pt x="1222" y="1070"/>
                    </a:moveTo>
                    <a:lnTo>
                      <a:pt x="1224" y="1070"/>
                    </a:lnTo>
                    <a:lnTo>
                      <a:pt x="1222" y="1070"/>
                    </a:lnTo>
                    <a:close/>
                    <a:moveTo>
                      <a:pt x="1161" y="1470"/>
                    </a:moveTo>
                    <a:lnTo>
                      <a:pt x="1162" y="1470"/>
                    </a:lnTo>
                    <a:lnTo>
                      <a:pt x="1161" y="1470"/>
                    </a:lnTo>
                    <a:close/>
                    <a:moveTo>
                      <a:pt x="1343" y="1655"/>
                    </a:moveTo>
                    <a:lnTo>
                      <a:pt x="1344" y="1655"/>
                    </a:lnTo>
                    <a:lnTo>
                      <a:pt x="1343" y="1655"/>
                    </a:lnTo>
                    <a:close/>
                    <a:moveTo>
                      <a:pt x="1171" y="1413"/>
                    </a:moveTo>
                    <a:lnTo>
                      <a:pt x="1173" y="1413"/>
                    </a:lnTo>
                    <a:lnTo>
                      <a:pt x="1173" y="1415"/>
                    </a:lnTo>
                    <a:lnTo>
                      <a:pt x="1171" y="1415"/>
                    </a:lnTo>
                    <a:lnTo>
                      <a:pt x="1171" y="1413"/>
                    </a:lnTo>
                    <a:close/>
                    <a:moveTo>
                      <a:pt x="1169" y="1473"/>
                    </a:moveTo>
                    <a:lnTo>
                      <a:pt x="1169" y="1475"/>
                    </a:lnTo>
                    <a:lnTo>
                      <a:pt x="1169" y="1473"/>
                    </a:lnTo>
                    <a:close/>
                    <a:moveTo>
                      <a:pt x="1159" y="1247"/>
                    </a:moveTo>
                    <a:lnTo>
                      <a:pt x="1161" y="1247"/>
                    </a:lnTo>
                    <a:lnTo>
                      <a:pt x="1161" y="1248"/>
                    </a:lnTo>
                    <a:lnTo>
                      <a:pt x="1159" y="1248"/>
                    </a:lnTo>
                    <a:lnTo>
                      <a:pt x="1159" y="1247"/>
                    </a:lnTo>
                    <a:close/>
                    <a:moveTo>
                      <a:pt x="1154" y="1191"/>
                    </a:moveTo>
                    <a:lnTo>
                      <a:pt x="1156" y="1191"/>
                    </a:lnTo>
                    <a:lnTo>
                      <a:pt x="1154" y="1191"/>
                    </a:lnTo>
                    <a:close/>
                    <a:moveTo>
                      <a:pt x="1186" y="1441"/>
                    </a:moveTo>
                    <a:lnTo>
                      <a:pt x="1186" y="1442"/>
                    </a:lnTo>
                    <a:lnTo>
                      <a:pt x="1186" y="1441"/>
                    </a:lnTo>
                    <a:close/>
                    <a:moveTo>
                      <a:pt x="1152" y="1330"/>
                    </a:moveTo>
                    <a:lnTo>
                      <a:pt x="1154" y="1330"/>
                    </a:lnTo>
                    <a:lnTo>
                      <a:pt x="1152" y="1330"/>
                    </a:lnTo>
                    <a:close/>
                    <a:moveTo>
                      <a:pt x="1173" y="1430"/>
                    </a:moveTo>
                    <a:lnTo>
                      <a:pt x="1174" y="1430"/>
                    </a:lnTo>
                    <a:lnTo>
                      <a:pt x="1174" y="1432"/>
                    </a:lnTo>
                    <a:lnTo>
                      <a:pt x="1173" y="1432"/>
                    </a:lnTo>
                    <a:lnTo>
                      <a:pt x="1173" y="1430"/>
                    </a:lnTo>
                    <a:close/>
                    <a:moveTo>
                      <a:pt x="1242" y="1589"/>
                    </a:moveTo>
                    <a:lnTo>
                      <a:pt x="1242" y="1590"/>
                    </a:lnTo>
                    <a:lnTo>
                      <a:pt x="1242" y="1589"/>
                    </a:lnTo>
                    <a:close/>
                    <a:moveTo>
                      <a:pt x="1144" y="1269"/>
                    </a:moveTo>
                    <a:lnTo>
                      <a:pt x="1144" y="1270"/>
                    </a:lnTo>
                    <a:lnTo>
                      <a:pt x="1144" y="1269"/>
                    </a:lnTo>
                    <a:close/>
                    <a:moveTo>
                      <a:pt x="1193" y="1126"/>
                    </a:moveTo>
                    <a:lnTo>
                      <a:pt x="1193" y="1128"/>
                    </a:lnTo>
                    <a:lnTo>
                      <a:pt x="1193" y="1126"/>
                    </a:lnTo>
                    <a:close/>
                    <a:moveTo>
                      <a:pt x="1270" y="1592"/>
                    </a:moveTo>
                    <a:lnTo>
                      <a:pt x="1271" y="1592"/>
                    </a:lnTo>
                    <a:lnTo>
                      <a:pt x="1270" y="1592"/>
                    </a:lnTo>
                    <a:close/>
                    <a:moveTo>
                      <a:pt x="1210" y="1242"/>
                    </a:moveTo>
                    <a:lnTo>
                      <a:pt x="1212" y="1242"/>
                    </a:lnTo>
                    <a:lnTo>
                      <a:pt x="1210" y="1242"/>
                    </a:lnTo>
                    <a:close/>
                    <a:moveTo>
                      <a:pt x="1203" y="1061"/>
                    </a:moveTo>
                    <a:lnTo>
                      <a:pt x="1205" y="1061"/>
                    </a:lnTo>
                    <a:lnTo>
                      <a:pt x="1203" y="1061"/>
                    </a:lnTo>
                    <a:close/>
                    <a:moveTo>
                      <a:pt x="1185" y="1493"/>
                    </a:moveTo>
                    <a:lnTo>
                      <a:pt x="1185" y="1495"/>
                    </a:lnTo>
                    <a:lnTo>
                      <a:pt x="1185" y="1493"/>
                    </a:lnTo>
                    <a:close/>
                    <a:moveTo>
                      <a:pt x="1208" y="1070"/>
                    </a:moveTo>
                    <a:lnTo>
                      <a:pt x="1210" y="1070"/>
                    </a:lnTo>
                    <a:lnTo>
                      <a:pt x="1210" y="1071"/>
                    </a:lnTo>
                    <a:lnTo>
                      <a:pt x="1208" y="1071"/>
                    </a:lnTo>
                    <a:lnTo>
                      <a:pt x="1208" y="1070"/>
                    </a:lnTo>
                    <a:close/>
                    <a:moveTo>
                      <a:pt x="1157" y="1236"/>
                    </a:moveTo>
                    <a:lnTo>
                      <a:pt x="1157" y="1238"/>
                    </a:lnTo>
                    <a:lnTo>
                      <a:pt x="1157" y="1236"/>
                    </a:lnTo>
                    <a:close/>
                    <a:moveTo>
                      <a:pt x="1207" y="1063"/>
                    </a:moveTo>
                    <a:lnTo>
                      <a:pt x="1207" y="1065"/>
                    </a:lnTo>
                    <a:lnTo>
                      <a:pt x="1207" y="1063"/>
                    </a:lnTo>
                    <a:close/>
                    <a:moveTo>
                      <a:pt x="1205" y="1556"/>
                    </a:moveTo>
                    <a:lnTo>
                      <a:pt x="1207" y="1556"/>
                    </a:lnTo>
                    <a:lnTo>
                      <a:pt x="1205" y="1556"/>
                    </a:lnTo>
                    <a:close/>
                    <a:moveTo>
                      <a:pt x="1419" y="1674"/>
                    </a:moveTo>
                    <a:lnTo>
                      <a:pt x="1421" y="1674"/>
                    </a:lnTo>
                    <a:lnTo>
                      <a:pt x="1419" y="1674"/>
                    </a:lnTo>
                    <a:close/>
                    <a:moveTo>
                      <a:pt x="1300" y="1568"/>
                    </a:moveTo>
                    <a:lnTo>
                      <a:pt x="1302" y="1568"/>
                    </a:lnTo>
                    <a:lnTo>
                      <a:pt x="1300" y="1568"/>
                    </a:lnTo>
                    <a:close/>
                    <a:moveTo>
                      <a:pt x="1207" y="1053"/>
                    </a:moveTo>
                    <a:lnTo>
                      <a:pt x="1207" y="1054"/>
                    </a:lnTo>
                    <a:lnTo>
                      <a:pt x="1207" y="1053"/>
                    </a:lnTo>
                    <a:close/>
                    <a:moveTo>
                      <a:pt x="1297" y="1594"/>
                    </a:moveTo>
                    <a:lnTo>
                      <a:pt x="1298" y="1594"/>
                    </a:lnTo>
                    <a:lnTo>
                      <a:pt x="1297" y="1594"/>
                    </a:lnTo>
                    <a:close/>
                    <a:moveTo>
                      <a:pt x="1319" y="1514"/>
                    </a:moveTo>
                    <a:lnTo>
                      <a:pt x="1321" y="1514"/>
                    </a:lnTo>
                    <a:lnTo>
                      <a:pt x="1321" y="1515"/>
                    </a:lnTo>
                    <a:lnTo>
                      <a:pt x="1319" y="1515"/>
                    </a:lnTo>
                    <a:lnTo>
                      <a:pt x="1319" y="1514"/>
                    </a:lnTo>
                    <a:close/>
                    <a:moveTo>
                      <a:pt x="1191" y="1464"/>
                    </a:moveTo>
                    <a:lnTo>
                      <a:pt x="1193" y="1464"/>
                    </a:lnTo>
                    <a:lnTo>
                      <a:pt x="1191" y="1464"/>
                    </a:lnTo>
                    <a:close/>
                    <a:moveTo>
                      <a:pt x="1219" y="1568"/>
                    </a:moveTo>
                    <a:lnTo>
                      <a:pt x="1220" y="1568"/>
                    </a:lnTo>
                    <a:lnTo>
                      <a:pt x="1220" y="1570"/>
                    </a:lnTo>
                    <a:lnTo>
                      <a:pt x="1219" y="1570"/>
                    </a:lnTo>
                    <a:lnTo>
                      <a:pt x="1219" y="1568"/>
                    </a:lnTo>
                    <a:close/>
                    <a:moveTo>
                      <a:pt x="1203" y="1054"/>
                    </a:moveTo>
                    <a:lnTo>
                      <a:pt x="1205" y="1054"/>
                    </a:lnTo>
                    <a:lnTo>
                      <a:pt x="1203" y="1054"/>
                    </a:lnTo>
                    <a:close/>
                    <a:moveTo>
                      <a:pt x="1360" y="1657"/>
                    </a:moveTo>
                    <a:lnTo>
                      <a:pt x="1360" y="1658"/>
                    </a:lnTo>
                    <a:lnTo>
                      <a:pt x="1360" y="1657"/>
                    </a:lnTo>
                    <a:close/>
                    <a:moveTo>
                      <a:pt x="1234" y="1124"/>
                    </a:moveTo>
                    <a:lnTo>
                      <a:pt x="1236" y="1124"/>
                    </a:lnTo>
                    <a:lnTo>
                      <a:pt x="1236" y="1126"/>
                    </a:lnTo>
                    <a:lnTo>
                      <a:pt x="1234" y="1126"/>
                    </a:lnTo>
                    <a:lnTo>
                      <a:pt x="1234" y="1124"/>
                    </a:lnTo>
                    <a:close/>
                    <a:moveTo>
                      <a:pt x="1322" y="1628"/>
                    </a:moveTo>
                    <a:lnTo>
                      <a:pt x="1322" y="1629"/>
                    </a:lnTo>
                    <a:lnTo>
                      <a:pt x="1322" y="1628"/>
                    </a:lnTo>
                    <a:close/>
                    <a:moveTo>
                      <a:pt x="1215" y="1538"/>
                    </a:moveTo>
                    <a:lnTo>
                      <a:pt x="1217" y="1538"/>
                    </a:lnTo>
                    <a:lnTo>
                      <a:pt x="1215" y="1538"/>
                    </a:lnTo>
                    <a:close/>
                    <a:moveTo>
                      <a:pt x="1200" y="1082"/>
                    </a:moveTo>
                    <a:lnTo>
                      <a:pt x="1200" y="1083"/>
                    </a:lnTo>
                    <a:lnTo>
                      <a:pt x="1200" y="1082"/>
                    </a:lnTo>
                    <a:close/>
                    <a:moveTo>
                      <a:pt x="1188" y="1497"/>
                    </a:moveTo>
                    <a:lnTo>
                      <a:pt x="1190" y="1497"/>
                    </a:lnTo>
                    <a:lnTo>
                      <a:pt x="1188" y="1497"/>
                    </a:lnTo>
                    <a:close/>
                    <a:moveTo>
                      <a:pt x="1213" y="1500"/>
                    </a:moveTo>
                    <a:lnTo>
                      <a:pt x="1215" y="1500"/>
                    </a:lnTo>
                    <a:lnTo>
                      <a:pt x="1213" y="1500"/>
                    </a:lnTo>
                    <a:close/>
                    <a:moveTo>
                      <a:pt x="1310" y="1641"/>
                    </a:moveTo>
                    <a:lnTo>
                      <a:pt x="1310" y="1643"/>
                    </a:lnTo>
                    <a:lnTo>
                      <a:pt x="1310" y="1641"/>
                    </a:lnTo>
                    <a:close/>
                    <a:moveTo>
                      <a:pt x="1171" y="1432"/>
                    </a:moveTo>
                    <a:lnTo>
                      <a:pt x="1173" y="1432"/>
                    </a:lnTo>
                    <a:lnTo>
                      <a:pt x="1171" y="1432"/>
                    </a:lnTo>
                    <a:close/>
                    <a:moveTo>
                      <a:pt x="1208" y="1461"/>
                    </a:moveTo>
                    <a:lnTo>
                      <a:pt x="1208" y="1463"/>
                    </a:lnTo>
                    <a:lnTo>
                      <a:pt x="1208" y="1461"/>
                    </a:lnTo>
                    <a:close/>
                    <a:moveTo>
                      <a:pt x="1232" y="1475"/>
                    </a:moveTo>
                    <a:lnTo>
                      <a:pt x="1232" y="1476"/>
                    </a:lnTo>
                    <a:lnTo>
                      <a:pt x="1232" y="1475"/>
                    </a:lnTo>
                    <a:close/>
                    <a:moveTo>
                      <a:pt x="1229" y="1575"/>
                    </a:moveTo>
                    <a:lnTo>
                      <a:pt x="1229" y="1577"/>
                    </a:lnTo>
                    <a:lnTo>
                      <a:pt x="1229" y="1575"/>
                    </a:lnTo>
                    <a:close/>
                    <a:moveTo>
                      <a:pt x="1183" y="1422"/>
                    </a:moveTo>
                    <a:lnTo>
                      <a:pt x="1185" y="1422"/>
                    </a:lnTo>
                    <a:lnTo>
                      <a:pt x="1185" y="1424"/>
                    </a:lnTo>
                    <a:lnTo>
                      <a:pt x="1183" y="1424"/>
                    </a:lnTo>
                    <a:lnTo>
                      <a:pt x="1183" y="1422"/>
                    </a:lnTo>
                    <a:close/>
                    <a:moveTo>
                      <a:pt x="1169" y="1242"/>
                    </a:moveTo>
                    <a:lnTo>
                      <a:pt x="1171" y="1242"/>
                    </a:lnTo>
                    <a:lnTo>
                      <a:pt x="1169" y="1242"/>
                    </a:lnTo>
                    <a:close/>
                    <a:moveTo>
                      <a:pt x="1162" y="1459"/>
                    </a:moveTo>
                    <a:lnTo>
                      <a:pt x="1162" y="1461"/>
                    </a:lnTo>
                    <a:lnTo>
                      <a:pt x="1162" y="1459"/>
                    </a:lnTo>
                    <a:close/>
                    <a:moveTo>
                      <a:pt x="1329" y="1645"/>
                    </a:moveTo>
                    <a:lnTo>
                      <a:pt x="1331" y="1645"/>
                    </a:lnTo>
                    <a:lnTo>
                      <a:pt x="1329" y="1645"/>
                    </a:lnTo>
                    <a:close/>
                    <a:moveTo>
                      <a:pt x="1178" y="1384"/>
                    </a:moveTo>
                    <a:lnTo>
                      <a:pt x="1178" y="1386"/>
                    </a:lnTo>
                    <a:lnTo>
                      <a:pt x="1178" y="1384"/>
                    </a:lnTo>
                    <a:close/>
                    <a:moveTo>
                      <a:pt x="1298" y="1621"/>
                    </a:moveTo>
                    <a:lnTo>
                      <a:pt x="1300" y="1621"/>
                    </a:lnTo>
                    <a:lnTo>
                      <a:pt x="1298" y="1621"/>
                    </a:lnTo>
                    <a:close/>
                    <a:moveTo>
                      <a:pt x="1188" y="1492"/>
                    </a:moveTo>
                    <a:lnTo>
                      <a:pt x="1190" y="1492"/>
                    </a:lnTo>
                    <a:lnTo>
                      <a:pt x="1188" y="1492"/>
                    </a:lnTo>
                    <a:close/>
                    <a:moveTo>
                      <a:pt x="1140" y="1298"/>
                    </a:moveTo>
                    <a:lnTo>
                      <a:pt x="1140" y="1299"/>
                    </a:lnTo>
                    <a:lnTo>
                      <a:pt x="1140" y="1298"/>
                    </a:lnTo>
                    <a:close/>
                    <a:moveTo>
                      <a:pt x="1208" y="1534"/>
                    </a:moveTo>
                    <a:lnTo>
                      <a:pt x="1210" y="1534"/>
                    </a:lnTo>
                    <a:lnTo>
                      <a:pt x="1210" y="1536"/>
                    </a:lnTo>
                    <a:lnTo>
                      <a:pt x="1208" y="1536"/>
                    </a:lnTo>
                    <a:lnTo>
                      <a:pt x="1208" y="1534"/>
                    </a:lnTo>
                    <a:close/>
                    <a:moveTo>
                      <a:pt x="1196" y="1454"/>
                    </a:moveTo>
                    <a:lnTo>
                      <a:pt x="1198" y="1454"/>
                    </a:lnTo>
                    <a:lnTo>
                      <a:pt x="1196" y="1454"/>
                    </a:lnTo>
                    <a:close/>
                    <a:moveTo>
                      <a:pt x="1154" y="1250"/>
                    </a:moveTo>
                    <a:lnTo>
                      <a:pt x="1154" y="1252"/>
                    </a:lnTo>
                    <a:lnTo>
                      <a:pt x="1154" y="1250"/>
                    </a:lnTo>
                    <a:close/>
                    <a:moveTo>
                      <a:pt x="1193" y="1054"/>
                    </a:moveTo>
                    <a:lnTo>
                      <a:pt x="1195" y="1054"/>
                    </a:lnTo>
                    <a:lnTo>
                      <a:pt x="1193" y="1054"/>
                    </a:lnTo>
                    <a:close/>
                    <a:moveTo>
                      <a:pt x="1414" y="1669"/>
                    </a:moveTo>
                    <a:lnTo>
                      <a:pt x="1416" y="1669"/>
                    </a:lnTo>
                    <a:lnTo>
                      <a:pt x="1414" y="1669"/>
                    </a:lnTo>
                    <a:close/>
                    <a:moveTo>
                      <a:pt x="1287" y="1626"/>
                    </a:moveTo>
                    <a:lnTo>
                      <a:pt x="1287" y="1628"/>
                    </a:lnTo>
                    <a:lnTo>
                      <a:pt x="1287" y="1626"/>
                    </a:lnTo>
                    <a:close/>
                    <a:moveTo>
                      <a:pt x="1196" y="1417"/>
                    </a:moveTo>
                    <a:lnTo>
                      <a:pt x="1198" y="1417"/>
                    </a:lnTo>
                    <a:lnTo>
                      <a:pt x="1198" y="1418"/>
                    </a:lnTo>
                    <a:lnTo>
                      <a:pt x="1196" y="1418"/>
                    </a:lnTo>
                    <a:lnTo>
                      <a:pt x="1196" y="1417"/>
                    </a:lnTo>
                    <a:close/>
                    <a:moveTo>
                      <a:pt x="1191" y="1141"/>
                    </a:moveTo>
                    <a:lnTo>
                      <a:pt x="1193" y="1141"/>
                    </a:lnTo>
                    <a:lnTo>
                      <a:pt x="1191" y="1141"/>
                    </a:lnTo>
                    <a:close/>
                    <a:moveTo>
                      <a:pt x="1207" y="1051"/>
                    </a:moveTo>
                    <a:lnTo>
                      <a:pt x="1208" y="1051"/>
                    </a:lnTo>
                    <a:lnTo>
                      <a:pt x="1207" y="1051"/>
                    </a:lnTo>
                    <a:close/>
                    <a:moveTo>
                      <a:pt x="1202" y="952"/>
                    </a:moveTo>
                    <a:lnTo>
                      <a:pt x="1203" y="952"/>
                    </a:lnTo>
                    <a:lnTo>
                      <a:pt x="1202" y="952"/>
                    </a:lnTo>
                    <a:close/>
                    <a:moveTo>
                      <a:pt x="1212" y="1560"/>
                    </a:moveTo>
                    <a:lnTo>
                      <a:pt x="1213" y="1560"/>
                    </a:lnTo>
                    <a:lnTo>
                      <a:pt x="1212" y="1560"/>
                    </a:lnTo>
                    <a:close/>
                    <a:moveTo>
                      <a:pt x="1168" y="1390"/>
                    </a:moveTo>
                    <a:lnTo>
                      <a:pt x="1168" y="1391"/>
                    </a:lnTo>
                    <a:lnTo>
                      <a:pt x="1168" y="1390"/>
                    </a:lnTo>
                    <a:close/>
                    <a:moveTo>
                      <a:pt x="1186" y="1060"/>
                    </a:moveTo>
                    <a:lnTo>
                      <a:pt x="1188" y="1060"/>
                    </a:lnTo>
                    <a:lnTo>
                      <a:pt x="1186" y="1060"/>
                    </a:lnTo>
                    <a:close/>
                    <a:moveTo>
                      <a:pt x="1169" y="1478"/>
                    </a:moveTo>
                    <a:lnTo>
                      <a:pt x="1169" y="1480"/>
                    </a:lnTo>
                    <a:lnTo>
                      <a:pt x="1169" y="1478"/>
                    </a:lnTo>
                    <a:close/>
                    <a:moveTo>
                      <a:pt x="1297" y="1592"/>
                    </a:moveTo>
                    <a:lnTo>
                      <a:pt x="1298" y="1592"/>
                    </a:lnTo>
                    <a:lnTo>
                      <a:pt x="1297" y="1592"/>
                    </a:lnTo>
                    <a:close/>
                    <a:moveTo>
                      <a:pt x="1324" y="1635"/>
                    </a:moveTo>
                    <a:lnTo>
                      <a:pt x="1326" y="1635"/>
                    </a:lnTo>
                    <a:lnTo>
                      <a:pt x="1324" y="1635"/>
                    </a:lnTo>
                    <a:close/>
                    <a:moveTo>
                      <a:pt x="1176" y="1449"/>
                    </a:moveTo>
                    <a:lnTo>
                      <a:pt x="1176" y="1451"/>
                    </a:lnTo>
                    <a:lnTo>
                      <a:pt x="1176" y="1449"/>
                    </a:lnTo>
                    <a:close/>
                    <a:moveTo>
                      <a:pt x="1181" y="1420"/>
                    </a:moveTo>
                    <a:lnTo>
                      <a:pt x="1181" y="1422"/>
                    </a:lnTo>
                    <a:lnTo>
                      <a:pt x="1181" y="1420"/>
                    </a:lnTo>
                    <a:close/>
                    <a:moveTo>
                      <a:pt x="1176" y="1459"/>
                    </a:moveTo>
                    <a:lnTo>
                      <a:pt x="1176" y="1461"/>
                    </a:lnTo>
                    <a:lnTo>
                      <a:pt x="1176" y="1459"/>
                    </a:lnTo>
                    <a:close/>
                    <a:moveTo>
                      <a:pt x="1225" y="1556"/>
                    </a:moveTo>
                    <a:lnTo>
                      <a:pt x="1225" y="1558"/>
                    </a:lnTo>
                    <a:lnTo>
                      <a:pt x="1225" y="1556"/>
                    </a:lnTo>
                    <a:close/>
                    <a:moveTo>
                      <a:pt x="1281" y="1614"/>
                    </a:moveTo>
                    <a:lnTo>
                      <a:pt x="1281" y="1616"/>
                    </a:lnTo>
                    <a:lnTo>
                      <a:pt x="1281" y="1614"/>
                    </a:lnTo>
                    <a:close/>
                    <a:moveTo>
                      <a:pt x="1370" y="1646"/>
                    </a:moveTo>
                    <a:lnTo>
                      <a:pt x="1372" y="1646"/>
                    </a:lnTo>
                    <a:lnTo>
                      <a:pt x="1372" y="1648"/>
                    </a:lnTo>
                    <a:lnTo>
                      <a:pt x="1370" y="1648"/>
                    </a:lnTo>
                    <a:lnTo>
                      <a:pt x="1370" y="1646"/>
                    </a:lnTo>
                    <a:close/>
                    <a:moveTo>
                      <a:pt x="1416" y="1679"/>
                    </a:moveTo>
                    <a:lnTo>
                      <a:pt x="1416" y="1680"/>
                    </a:lnTo>
                    <a:lnTo>
                      <a:pt x="1416" y="1679"/>
                    </a:lnTo>
                    <a:close/>
                    <a:moveTo>
                      <a:pt x="1169" y="1444"/>
                    </a:moveTo>
                    <a:lnTo>
                      <a:pt x="1171" y="1444"/>
                    </a:lnTo>
                    <a:lnTo>
                      <a:pt x="1169" y="1444"/>
                    </a:lnTo>
                    <a:close/>
                    <a:moveTo>
                      <a:pt x="1370" y="1640"/>
                    </a:moveTo>
                    <a:lnTo>
                      <a:pt x="1372" y="1640"/>
                    </a:lnTo>
                    <a:lnTo>
                      <a:pt x="1372" y="1641"/>
                    </a:lnTo>
                    <a:lnTo>
                      <a:pt x="1370" y="1641"/>
                    </a:lnTo>
                    <a:lnTo>
                      <a:pt x="1370" y="1640"/>
                    </a:lnTo>
                    <a:close/>
                    <a:moveTo>
                      <a:pt x="1181" y="1432"/>
                    </a:moveTo>
                    <a:lnTo>
                      <a:pt x="1183" y="1432"/>
                    </a:lnTo>
                    <a:lnTo>
                      <a:pt x="1181" y="1432"/>
                    </a:lnTo>
                    <a:close/>
                    <a:moveTo>
                      <a:pt x="1222" y="1566"/>
                    </a:moveTo>
                    <a:lnTo>
                      <a:pt x="1222" y="1568"/>
                    </a:lnTo>
                    <a:lnTo>
                      <a:pt x="1222" y="1566"/>
                    </a:lnTo>
                    <a:close/>
                    <a:moveTo>
                      <a:pt x="1154" y="1379"/>
                    </a:moveTo>
                    <a:lnTo>
                      <a:pt x="1156" y="1379"/>
                    </a:lnTo>
                    <a:lnTo>
                      <a:pt x="1154" y="1379"/>
                    </a:lnTo>
                    <a:close/>
                    <a:moveTo>
                      <a:pt x="1237" y="1544"/>
                    </a:moveTo>
                    <a:lnTo>
                      <a:pt x="1239" y="1544"/>
                    </a:lnTo>
                    <a:lnTo>
                      <a:pt x="1239" y="1546"/>
                    </a:lnTo>
                    <a:lnTo>
                      <a:pt x="1237" y="1546"/>
                    </a:lnTo>
                    <a:lnTo>
                      <a:pt x="1237" y="1544"/>
                    </a:lnTo>
                    <a:close/>
                    <a:moveTo>
                      <a:pt x="1321" y="1633"/>
                    </a:moveTo>
                    <a:lnTo>
                      <a:pt x="1322" y="1633"/>
                    </a:lnTo>
                    <a:lnTo>
                      <a:pt x="1322" y="1635"/>
                    </a:lnTo>
                    <a:lnTo>
                      <a:pt x="1321" y="1635"/>
                    </a:lnTo>
                    <a:lnTo>
                      <a:pt x="1321" y="1633"/>
                    </a:lnTo>
                    <a:close/>
                    <a:moveTo>
                      <a:pt x="1157" y="1233"/>
                    </a:moveTo>
                    <a:lnTo>
                      <a:pt x="1157" y="1235"/>
                    </a:lnTo>
                    <a:lnTo>
                      <a:pt x="1157" y="1233"/>
                    </a:lnTo>
                    <a:close/>
                    <a:moveTo>
                      <a:pt x="1193" y="1435"/>
                    </a:moveTo>
                    <a:lnTo>
                      <a:pt x="1195" y="1435"/>
                    </a:lnTo>
                    <a:lnTo>
                      <a:pt x="1193" y="1435"/>
                    </a:lnTo>
                    <a:close/>
                    <a:moveTo>
                      <a:pt x="1247" y="1505"/>
                    </a:moveTo>
                    <a:lnTo>
                      <a:pt x="1247" y="1507"/>
                    </a:lnTo>
                    <a:lnTo>
                      <a:pt x="1247" y="1505"/>
                    </a:lnTo>
                    <a:close/>
                    <a:moveTo>
                      <a:pt x="1210" y="1240"/>
                    </a:moveTo>
                    <a:lnTo>
                      <a:pt x="1212" y="1240"/>
                    </a:lnTo>
                    <a:lnTo>
                      <a:pt x="1212" y="1242"/>
                    </a:lnTo>
                    <a:lnTo>
                      <a:pt x="1210" y="1242"/>
                    </a:lnTo>
                    <a:lnTo>
                      <a:pt x="1210" y="1240"/>
                    </a:lnTo>
                    <a:close/>
                    <a:moveTo>
                      <a:pt x="1285" y="1619"/>
                    </a:moveTo>
                    <a:lnTo>
                      <a:pt x="1285" y="1621"/>
                    </a:lnTo>
                    <a:lnTo>
                      <a:pt x="1285" y="1619"/>
                    </a:lnTo>
                    <a:close/>
                    <a:moveTo>
                      <a:pt x="1207" y="1451"/>
                    </a:moveTo>
                    <a:lnTo>
                      <a:pt x="1207" y="1453"/>
                    </a:lnTo>
                    <a:lnTo>
                      <a:pt x="1207" y="1451"/>
                    </a:lnTo>
                    <a:close/>
                    <a:moveTo>
                      <a:pt x="1178" y="1481"/>
                    </a:moveTo>
                    <a:lnTo>
                      <a:pt x="1178" y="1483"/>
                    </a:lnTo>
                    <a:lnTo>
                      <a:pt x="1178" y="1481"/>
                    </a:lnTo>
                    <a:close/>
                    <a:moveTo>
                      <a:pt x="1213" y="1104"/>
                    </a:moveTo>
                    <a:lnTo>
                      <a:pt x="1213" y="1105"/>
                    </a:lnTo>
                    <a:lnTo>
                      <a:pt x="1213" y="1104"/>
                    </a:lnTo>
                    <a:close/>
                    <a:moveTo>
                      <a:pt x="1190" y="1420"/>
                    </a:moveTo>
                    <a:lnTo>
                      <a:pt x="1190" y="1422"/>
                    </a:lnTo>
                    <a:lnTo>
                      <a:pt x="1190" y="1420"/>
                    </a:lnTo>
                    <a:close/>
                    <a:moveTo>
                      <a:pt x="1195" y="1145"/>
                    </a:moveTo>
                    <a:lnTo>
                      <a:pt x="1195" y="1146"/>
                    </a:lnTo>
                    <a:lnTo>
                      <a:pt x="1195" y="1145"/>
                    </a:lnTo>
                    <a:close/>
                    <a:moveTo>
                      <a:pt x="1195" y="1077"/>
                    </a:moveTo>
                    <a:lnTo>
                      <a:pt x="1196" y="1077"/>
                    </a:lnTo>
                    <a:lnTo>
                      <a:pt x="1195" y="1077"/>
                    </a:lnTo>
                    <a:close/>
                    <a:moveTo>
                      <a:pt x="1200" y="1527"/>
                    </a:moveTo>
                    <a:lnTo>
                      <a:pt x="1200" y="1529"/>
                    </a:lnTo>
                    <a:lnTo>
                      <a:pt x="1200" y="1527"/>
                    </a:lnTo>
                    <a:close/>
                    <a:moveTo>
                      <a:pt x="1219" y="1100"/>
                    </a:moveTo>
                    <a:lnTo>
                      <a:pt x="1219" y="1102"/>
                    </a:lnTo>
                    <a:lnTo>
                      <a:pt x="1219" y="1100"/>
                    </a:lnTo>
                    <a:close/>
                    <a:moveTo>
                      <a:pt x="1198" y="1092"/>
                    </a:moveTo>
                    <a:lnTo>
                      <a:pt x="1198" y="1094"/>
                    </a:lnTo>
                    <a:lnTo>
                      <a:pt x="1198" y="1092"/>
                    </a:lnTo>
                    <a:close/>
                    <a:moveTo>
                      <a:pt x="1229" y="1570"/>
                    </a:moveTo>
                    <a:lnTo>
                      <a:pt x="1230" y="1570"/>
                    </a:lnTo>
                    <a:lnTo>
                      <a:pt x="1229" y="1570"/>
                    </a:lnTo>
                    <a:close/>
                    <a:moveTo>
                      <a:pt x="1229" y="1580"/>
                    </a:moveTo>
                    <a:lnTo>
                      <a:pt x="1230" y="1580"/>
                    </a:lnTo>
                    <a:lnTo>
                      <a:pt x="1230" y="1582"/>
                    </a:lnTo>
                    <a:lnTo>
                      <a:pt x="1229" y="1582"/>
                    </a:lnTo>
                    <a:lnTo>
                      <a:pt x="1229" y="1580"/>
                    </a:lnTo>
                    <a:close/>
                    <a:moveTo>
                      <a:pt x="1169" y="1413"/>
                    </a:moveTo>
                    <a:lnTo>
                      <a:pt x="1171" y="1413"/>
                    </a:lnTo>
                    <a:lnTo>
                      <a:pt x="1169" y="1413"/>
                    </a:lnTo>
                    <a:close/>
                    <a:moveTo>
                      <a:pt x="1178" y="1441"/>
                    </a:moveTo>
                    <a:lnTo>
                      <a:pt x="1179" y="1441"/>
                    </a:lnTo>
                    <a:lnTo>
                      <a:pt x="1178" y="1441"/>
                    </a:lnTo>
                    <a:close/>
                    <a:moveTo>
                      <a:pt x="1161" y="1398"/>
                    </a:moveTo>
                    <a:lnTo>
                      <a:pt x="1162" y="1398"/>
                    </a:lnTo>
                    <a:lnTo>
                      <a:pt x="1161" y="1398"/>
                    </a:lnTo>
                    <a:close/>
                    <a:moveTo>
                      <a:pt x="1217" y="1504"/>
                    </a:moveTo>
                    <a:lnTo>
                      <a:pt x="1219" y="1504"/>
                    </a:lnTo>
                    <a:lnTo>
                      <a:pt x="1219" y="1505"/>
                    </a:lnTo>
                    <a:lnTo>
                      <a:pt x="1217" y="1505"/>
                    </a:lnTo>
                    <a:lnTo>
                      <a:pt x="1217" y="1504"/>
                    </a:lnTo>
                    <a:close/>
                    <a:moveTo>
                      <a:pt x="1183" y="1308"/>
                    </a:moveTo>
                    <a:lnTo>
                      <a:pt x="1183" y="1310"/>
                    </a:lnTo>
                    <a:lnTo>
                      <a:pt x="1183" y="1308"/>
                    </a:lnTo>
                    <a:close/>
                    <a:moveTo>
                      <a:pt x="1161" y="1357"/>
                    </a:moveTo>
                    <a:lnTo>
                      <a:pt x="1162" y="1357"/>
                    </a:lnTo>
                    <a:lnTo>
                      <a:pt x="1161" y="1357"/>
                    </a:lnTo>
                    <a:close/>
                    <a:moveTo>
                      <a:pt x="1176" y="1367"/>
                    </a:moveTo>
                    <a:lnTo>
                      <a:pt x="1178" y="1367"/>
                    </a:lnTo>
                    <a:lnTo>
                      <a:pt x="1176" y="1367"/>
                    </a:lnTo>
                    <a:close/>
                    <a:moveTo>
                      <a:pt x="1305" y="1623"/>
                    </a:moveTo>
                    <a:lnTo>
                      <a:pt x="1307" y="1623"/>
                    </a:lnTo>
                    <a:lnTo>
                      <a:pt x="1307" y="1624"/>
                    </a:lnTo>
                    <a:lnTo>
                      <a:pt x="1305" y="1624"/>
                    </a:lnTo>
                    <a:lnTo>
                      <a:pt x="1305" y="1623"/>
                    </a:lnTo>
                    <a:close/>
                    <a:moveTo>
                      <a:pt x="1149" y="1333"/>
                    </a:moveTo>
                    <a:lnTo>
                      <a:pt x="1151" y="1333"/>
                    </a:lnTo>
                    <a:lnTo>
                      <a:pt x="1149" y="1333"/>
                    </a:lnTo>
                    <a:close/>
                    <a:moveTo>
                      <a:pt x="1213" y="1102"/>
                    </a:moveTo>
                    <a:lnTo>
                      <a:pt x="1213" y="1104"/>
                    </a:lnTo>
                    <a:lnTo>
                      <a:pt x="1213" y="1102"/>
                    </a:lnTo>
                    <a:close/>
                    <a:moveTo>
                      <a:pt x="1154" y="1248"/>
                    </a:moveTo>
                    <a:lnTo>
                      <a:pt x="1156" y="1248"/>
                    </a:lnTo>
                    <a:lnTo>
                      <a:pt x="1154" y="1248"/>
                    </a:lnTo>
                    <a:close/>
                    <a:moveTo>
                      <a:pt x="1358" y="1652"/>
                    </a:moveTo>
                    <a:lnTo>
                      <a:pt x="1358" y="1653"/>
                    </a:lnTo>
                    <a:lnTo>
                      <a:pt x="1358" y="1652"/>
                    </a:lnTo>
                    <a:close/>
                    <a:moveTo>
                      <a:pt x="1259" y="1590"/>
                    </a:moveTo>
                    <a:lnTo>
                      <a:pt x="1259" y="1592"/>
                    </a:lnTo>
                    <a:lnTo>
                      <a:pt x="1259" y="1590"/>
                    </a:lnTo>
                    <a:close/>
                    <a:moveTo>
                      <a:pt x="1266" y="1599"/>
                    </a:moveTo>
                    <a:lnTo>
                      <a:pt x="1266" y="1600"/>
                    </a:lnTo>
                    <a:lnTo>
                      <a:pt x="1266" y="1599"/>
                    </a:lnTo>
                    <a:close/>
                    <a:moveTo>
                      <a:pt x="1188" y="1066"/>
                    </a:moveTo>
                    <a:lnTo>
                      <a:pt x="1188" y="1068"/>
                    </a:lnTo>
                    <a:lnTo>
                      <a:pt x="1188" y="1066"/>
                    </a:lnTo>
                    <a:close/>
                    <a:moveTo>
                      <a:pt x="1154" y="1272"/>
                    </a:moveTo>
                    <a:lnTo>
                      <a:pt x="1156" y="1272"/>
                    </a:lnTo>
                    <a:lnTo>
                      <a:pt x="1156" y="1274"/>
                    </a:lnTo>
                    <a:lnTo>
                      <a:pt x="1154" y="1274"/>
                    </a:lnTo>
                    <a:lnTo>
                      <a:pt x="1154" y="1272"/>
                    </a:lnTo>
                    <a:close/>
                    <a:moveTo>
                      <a:pt x="1309" y="1635"/>
                    </a:moveTo>
                    <a:lnTo>
                      <a:pt x="1310" y="1635"/>
                    </a:lnTo>
                    <a:lnTo>
                      <a:pt x="1309" y="1635"/>
                    </a:lnTo>
                    <a:close/>
                    <a:moveTo>
                      <a:pt x="1220" y="1077"/>
                    </a:moveTo>
                    <a:lnTo>
                      <a:pt x="1222" y="1077"/>
                    </a:lnTo>
                    <a:lnTo>
                      <a:pt x="1220" y="1077"/>
                    </a:lnTo>
                    <a:close/>
                    <a:moveTo>
                      <a:pt x="1205" y="1507"/>
                    </a:moveTo>
                    <a:lnTo>
                      <a:pt x="1207" y="1507"/>
                    </a:lnTo>
                    <a:lnTo>
                      <a:pt x="1205" y="1507"/>
                    </a:lnTo>
                    <a:close/>
                    <a:moveTo>
                      <a:pt x="1229" y="1558"/>
                    </a:moveTo>
                    <a:lnTo>
                      <a:pt x="1230" y="1558"/>
                    </a:lnTo>
                    <a:lnTo>
                      <a:pt x="1229" y="1558"/>
                    </a:lnTo>
                    <a:close/>
                    <a:moveTo>
                      <a:pt x="1198" y="1435"/>
                    </a:moveTo>
                    <a:lnTo>
                      <a:pt x="1198" y="1437"/>
                    </a:lnTo>
                    <a:lnTo>
                      <a:pt x="1198" y="1435"/>
                    </a:lnTo>
                    <a:close/>
                    <a:moveTo>
                      <a:pt x="1271" y="1595"/>
                    </a:moveTo>
                    <a:lnTo>
                      <a:pt x="1273" y="1595"/>
                    </a:lnTo>
                    <a:lnTo>
                      <a:pt x="1271" y="1595"/>
                    </a:lnTo>
                    <a:close/>
                    <a:moveTo>
                      <a:pt x="1186" y="1490"/>
                    </a:moveTo>
                    <a:lnTo>
                      <a:pt x="1188" y="1490"/>
                    </a:lnTo>
                    <a:lnTo>
                      <a:pt x="1186" y="1490"/>
                    </a:lnTo>
                    <a:close/>
                    <a:moveTo>
                      <a:pt x="1246" y="1507"/>
                    </a:moveTo>
                    <a:lnTo>
                      <a:pt x="1247" y="1507"/>
                    </a:lnTo>
                    <a:lnTo>
                      <a:pt x="1247" y="1509"/>
                    </a:lnTo>
                    <a:lnTo>
                      <a:pt x="1246" y="1509"/>
                    </a:lnTo>
                    <a:lnTo>
                      <a:pt x="1246" y="1507"/>
                    </a:lnTo>
                    <a:close/>
                    <a:moveTo>
                      <a:pt x="1368" y="1662"/>
                    </a:moveTo>
                    <a:lnTo>
                      <a:pt x="1370" y="1662"/>
                    </a:lnTo>
                    <a:lnTo>
                      <a:pt x="1368" y="1662"/>
                    </a:lnTo>
                    <a:close/>
                    <a:moveTo>
                      <a:pt x="1220" y="1544"/>
                    </a:moveTo>
                    <a:lnTo>
                      <a:pt x="1222" y="1544"/>
                    </a:lnTo>
                    <a:lnTo>
                      <a:pt x="1220" y="1544"/>
                    </a:lnTo>
                    <a:close/>
                    <a:moveTo>
                      <a:pt x="1162" y="1388"/>
                    </a:moveTo>
                    <a:lnTo>
                      <a:pt x="1164" y="1388"/>
                    </a:lnTo>
                    <a:lnTo>
                      <a:pt x="1162" y="1388"/>
                    </a:lnTo>
                    <a:close/>
                    <a:moveTo>
                      <a:pt x="1210" y="1242"/>
                    </a:moveTo>
                    <a:lnTo>
                      <a:pt x="1210" y="1243"/>
                    </a:lnTo>
                    <a:lnTo>
                      <a:pt x="1210" y="1242"/>
                    </a:lnTo>
                    <a:close/>
                    <a:moveTo>
                      <a:pt x="1196" y="1439"/>
                    </a:moveTo>
                    <a:lnTo>
                      <a:pt x="1198" y="1439"/>
                    </a:lnTo>
                    <a:lnTo>
                      <a:pt x="1198" y="1441"/>
                    </a:lnTo>
                    <a:lnTo>
                      <a:pt x="1196" y="1441"/>
                    </a:lnTo>
                    <a:lnTo>
                      <a:pt x="1196" y="1439"/>
                    </a:lnTo>
                    <a:close/>
                    <a:moveTo>
                      <a:pt x="1205" y="1481"/>
                    </a:moveTo>
                    <a:lnTo>
                      <a:pt x="1207" y="1481"/>
                    </a:lnTo>
                    <a:lnTo>
                      <a:pt x="1205" y="1481"/>
                    </a:lnTo>
                    <a:close/>
                    <a:moveTo>
                      <a:pt x="1190" y="1112"/>
                    </a:moveTo>
                    <a:lnTo>
                      <a:pt x="1191" y="1112"/>
                    </a:lnTo>
                    <a:lnTo>
                      <a:pt x="1191" y="1114"/>
                    </a:lnTo>
                    <a:lnTo>
                      <a:pt x="1190" y="1114"/>
                    </a:lnTo>
                    <a:lnTo>
                      <a:pt x="1190" y="1112"/>
                    </a:lnTo>
                    <a:close/>
                    <a:moveTo>
                      <a:pt x="1210" y="1481"/>
                    </a:moveTo>
                    <a:lnTo>
                      <a:pt x="1210" y="1483"/>
                    </a:lnTo>
                    <a:lnTo>
                      <a:pt x="1210" y="1481"/>
                    </a:lnTo>
                    <a:close/>
                    <a:moveTo>
                      <a:pt x="1312" y="1512"/>
                    </a:moveTo>
                    <a:lnTo>
                      <a:pt x="1312" y="1514"/>
                    </a:lnTo>
                    <a:lnTo>
                      <a:pt x="1312" y="1512"/>
                    </a:lnTo>
                    <a:close/>
                    <a:moveTo>
                      <a:pt x="1380" y="1662"/>
                    </a:moveTo>
                    <a:lnTo>
                      <a:pt x="1382" y="1662"/>
                    </a:lnTo>
                    <a:lnTo>
                      <a:pt x="1380" y="1662"/>
                    </a:lnTo>
                    <a:close/>
                    <a:moveTo>
                      <a:pt x="1210" y="1493"/>
                    </a:moveTo>
                    <a:lnTo>
                      <a:pt x="1212" y="1493"/>
                    </a:lnTo>
                    <a:lnTo>
                      <a:pt x="1210" y="1493"/>
                    </a:lnTo>
                    <a:close/>
                    <a:moveTo>
                      <a:pt x="1207" y="1099"/>
                    </a:moveTo>
                    <a:lnTo>
                      <a:pt x="1207" y="1100"/>
                    </a:lnTo>
                    <a:lnTo>
                      <a:pt x="1207" y="1099"/>
                    </a:lnTo>
                    <a:close/>
                    <a:moveTo>
                      <a:pt x="1154" y="1250"/>
                    </a:moveTo>
                    <a:lnTo>
                      <a:pt x="1156" y="1250"/>
                    </a:lnTo>
                    <a:lnTo>
                      <a:pt x="1154" y="1250"/>
                    </a:lnTo>
                    <a:close/>
                    <a:moveTo>
                      <a:pt x="1219" y="1549"/>
                    </a:moveTo>
                    <a:lnTo>
                      <a:pt x="1220" y="1549"/>
                    </a:lnTo>
                    <a:lnTo>
                      <a:pt x="1220" y="1551"/>
                    </a:lnTo>
                    <a:lnTo>
                      <a:pt x="1219" y="1551"/>
                    </a:lnTo>
                    <a:lnTo>
                      <a:pt x="1219" y="1549"/>
                    </a:lnTo>
                    <a:close/>
                    <a:moveTo>
                      <a:pt x="1210" y="1085"/>
                    </a:moveTo>
                    <a:lnTo>
                      <a:pt x="1210" y="1087"/>
                    </a:lnTo>
                    <a:lnTo>
                      <a:pt x="1210" y="1085"/>
                    </a:lnTo>
                    <a:close/>
                    <a:moveTo>
                      <a:pt x="1159" y="1347"/>
                    </a:moveTo>
                    <a:lnTo>
                      <a:pt x="1159" y="1349"/>
                    </a:lnTo>
                    <a:lnTo>
                      <a:pt x="1159" y="1347"/>
                    </a:lnTo>
                    <a:close/>
                    <a:moveTo>
                      <a:pt x="1219" y="1555"/>
                    </a:moveTo>
                    <a:lnTo>
                      <a:pt x="1220" y="1555"/>
                    </a:lnTo>
                    <a:lnTo>
                      <a:pt x="1219" y="1555"/>
                    </a:lnTo>
                    <a:close/>
                    <a:moveTo>
                      <a:pt x="1230" y="1570"/>
                    </a:moveTo>
                    <a:lnTo>
                      <a:pt x="1232" y="1570"/>
                    </a:lnTo>
                    <a:lnTo>
                      <a:pt x="1230" y="1570"/>
                    </a:lnTo>
                    <a:close/>
                    <a:moveTo>
                      <a:pt x="1144" y="1299"/>
                    </a:moveTo>
                    <a:lnTo>
                      <a:pt x="1144" y="1301"/>
                    </a:lnTo>
                    <a:lnTo>
                      <a:pt x="1144" y="1299"/>
                    </a:lnTo>
                    <a:close/>
                    <a:moveTo>
                      <a:pt x="1394" y="1635"/>
                    </a:moveTo>
                    <a:lnTo>
                      <a:pt x="1394" y="1636"/>
                    </a:lnTo>
                    <a:lnTo>
                      <a:pt x="1394" y="1635"/>
                    </a:lnTo>
                    <a:close/>
                    <a:moveTo>
                      <a:pt x="1236" y="1582"/>
                    </a:moveTo>
                    <a:lnTo>
                      <a:pt x="1236" y="1583"/>
                    </a:lnTo>
                    <a:lnTo>
                      <a:pt x="1236" y="1582"/>
                    </a:lnTo>
                    <a:close/>
                    <a:moveTo>
                      <a:pt x="1207" y="1514"/>
                    </a:moveTo>
                    <a:lnTo>
                      <a:pt x="1208" y="1514"/>
                    </a:lnTo>
                    <a:lnTo>
                      <a:pt x="1207" y="1514"/>
                    </a:lnTo>
                    <a:close/>
                    <a:moveTo>
                      <a:pt x="1220" y="1117"/>
                    </a:moveTo>
                    <a:lnTo>
                      <a:pt x="1222" y="1117"/>
                    </a:lnTo>
                    <a:lnTo>
                      <a:pt x="1220" y="1117"/>
                    </a:lnTo>
                    <a:close/>
                    <a:moveTo>
                      <a:pt x="1229" y="1039"/>
                    </a:moveTo>
                    <a:lnTo>
                      <a:pt x="1230" y="1039"/>
                    </a:lnTo>
                    <a:lnTo>
                      <a:pt x="1230" y="1041"/>
                    </a:lnTo>
                    <a:lnTo>
                      <a:pt x="1229" y="1041"/>
                    </a:lnTo>
                    <a:lnTo>
                      <a:pt x="1229" y="1039"/>
                    </a:lnTo>
                    <a:close/>
                    <a:moveTo>
                      <a:pt x="1178" y="1488"/>
                    </a:moveTo>
                    <a:lnTo>
                      <a:pt x="1179" y="1488"/>
                    </a:lnTo>
                    <a:lnTo>
                      <a:pt x="1179" y="1490"/>
                    </a:lnTo>
                    <a:lnTo>
                      <a:pt x="1178" y="1490"/>
                    </a:lnTo>
                    <a:lnTo>
                      <a:pt x="1178" y="1488"/>
                    </a:lnTo>
                    <a:close/>
                    <a:moveTo>
                      <a:pt x="1173" y="1435"/>
                    </a:moveTo>
                    <a:lnTo>
                      <a:pt x="1174" y="1435"/>
                    </a:lnTo>
                    <a:lnTo>
                      <a:pt x="1174" y="1437"/>
                    </a:lnTo>
                    <a:lnTo>
                      <a:pt x="1173" y="1437"/>
                    </a:lnTo>
                    <a:lnTo>
                      <a:pt x="1173" y="1435"/>
                    </a:lnTo>
                    <a:close/>
                    <a:moveTo>
                      <a:pt x="1202" y="1063"/>
                    </a:moveTo>
                    <a:lnTo>
                      <a:pt x="1203" y="1063"/>
                    </a:lnTo>
                    <a:lnTo>
                      <a:pt x="1202" y="1063"/>
                    </a:lnTo>
                    <a:close/>
                    <a:moveTo>
                      <a:pt x="1154" y="1250"/>
                    </a:moveTo>
                    <a:lnTo>
                      <a:pt x="1154" y="1252"/>
                    </a:lnTo>
                    <a:lnTo>
                      <a:pt x="1154" y="1250"/>
                    </a:lnTo>
                    <a:close/>
                    <a:moveTo>
                      <a:pt x="1178" y="1432"/>
                    </a:moveTo>
                    <a:lnTo>
                      <a:pt x="1179" y="1432"/>
                    </a:lnTo>
                    <a:lnTo>
                      <a:pt x="1178" y="1432"/>
                    </a:lnTo>
                    <a:close/>
                    <a:moveTo>
                      <a:pt x="1188" y="1480"/>
                    </a:moveTo>
                    <a:lnTo>
                      <a:pt x="1190" y="1480"/>
                    </a:lnTo>
                    <a:lnTo>
                      <a:pt x="1188" y="1480"/>
                    </a:lnTo>
                    <a:close/>
                    <a:moveTo>
                      <a:pt x="1360" y="1629"/>
                    </a:moveTo>
                    <a:lnTo>
                      <a:pt x="1361" y="1629"/>
                    </a:lnTo>
                    <a:lnTo>
                      <a:pt x="1361" y="1631"/>
                    </a:lnTo>
                    <a:lnTo>
                      <a:pt x="1360" y="1631"/>
                    </a:lnTo>
                    <a:lnTo>
                      <a:pt x="1360" y="1629"/>
                    </a:lnTo>
                    <a:close/>
                    <a:moveTo>
                      <a:pt x="1181" y="1117"/>
                    </a:moveTo>
                    <a:lnTo>
                      <a:pt x="1183" y="1117"/>
                    </a:lnTo>
                    <a:lnTo>
                      <a:pt x="1181" y="1117"/>
                    </a:lnTo>
                    <a:close/>
                    <a:moveTo>
                      <a:pt x="1346" y="1657"/>
                    </a:moveTo>
                    <a:lnTo>
                      <a:pt x="1348" y="1657"/>
                    </a:lnTo>
                    <a:lnTo>
                      <a:pt x="1348" y="1658"/>
                    </a:lnTo>
                    <a:lnTo>
                      <a:pt x="1346" y="1658"/>
                    </a:lnTo>
                    <a:lnTo>
                      <a:pt x="1346" y="1657"/>
                    </a:lnTo>
                    <a:close/>
                    <a:moveTo>
                      <a:pt x="1145" y="1332"/>
                    </a:moveTo>
                    <a:lnTo>
                      <a:pt x="1147" y="1332"/>
                    </a:lnTo>
                    <a:lnTo>
                      <a:pt x="1147" y="1333"/>
                    </a:lnTo>
                    <a:lnTo>
                      <a:pt x="1145" y="1333"/>
                    </a:lnTo>
                    <a:lnTo>
                      <a:pt x="1145" y="1332"/>
                    </a:lnTo>
                    <a:close/>
                    <a:moveTo>
                      <a:pt x="1215" y="1504"/>
                    </a:moveTo>
                    <a:lnTo>
                      <a:pt x="1217" y="1504"/>
                    </a:lnTo>
                    <a:lnTo>
                      <a:pt x="1215" y="1504"/>
                    </a:lnTo>
                    <a:close/>
                    <a:moveTo>
                      <a:pt x="1149" y="1253"/>
                    </a:moveTo>
                    <a:lnTo>
                      <a:pt x="1151" y="1253"/>
                    </a:lnTo>
                    <a:lnTo>
                      <a:pt x="1149" y="1253"/>
                    </a:lnTo>
                    <a:close/>
                    <a:moveTo>
                      <a:pt x="1329" y="1643"/>
                    </a:moveTo>
                    <a:lnTo>
                      <a:pt x="1331" y="1643"/>
                    </a:lnTo>
                    <a:lnTo>
                      <a:pt x="1329" y="1643"/>
                    </a:lnTo>
                    <a:close/>
                    <a:moveTo>
                      <a:pt x="1193" y="1453"/>
                    </a:moveTo>
                    <a:lnTo>
                      <a:pt x="1193" y="1454"/>
                    </a:lnTo>
                    <a:lnTo>
                      <a:pt x="1193" y="1453"/>
                    </a:lnTo>
                    <a:close/>
                    <a:moveTo>
                      <a:pt x="1203" y="1063"/>
                    </a:moveTo>
                    <a:lnTo>
                      <a:pt x="1203" y="1065"/>
                    </a:lnTo>
                    <a:lnTo>
                      <a:pt x="1203" y="1063"/>
                    </a:lnTo>
                    <a:close/>
                    <a:moveTo>
                      <a:pt x="1310" y="212"/>
                    </a:moveTo>
                    <a:lnTo>
                      <a:pt x="1310" y="214"/>
                    </a:lnTo>
                    <a:lnTo>
                      <a:pt x="1310" y="212"/>
                    </a:lnTo>
                    <a:close/>
                    <a:moveTo>
                      <a:pt x="1361" y="1667"/>
                    </a:moveTo>
                    <a:lnTo>
                      <a:pt x="1363" y="1667"/>
                    </a:lnTo>
                    <a:lnTo>
                      <a:pt x="1361" y="1667"/>
                    </a:lnTo>
                    <a:close/>
                    <a:moveTo>
                      <a:pt x="1166" y="1405"/>
                    </a:moveTo>
                    <a:lnTo>
                      <a:pt x="1168" y="1405"/>
                    </a:lnTo>
                    <a:lnTo>
                      <a:pt x="1168" y="1407"/>
                    </a:lnTo>
                    <a:lnTo>
                      <a:pt x="1166" y="1407"/>
                    </a:lnTo>
                    <a:lnTo>
                      <a:pt x="1166" y="1405"/>
                    </a:lnTo>
                    <a:close/>
                    <a:moveTo>
                      <a:pt x="1215" y="1555"/>
                    </a:moveTo>
                    <a:lnTo>
                      <a:pt x="1217" y="1555"/>
                    </a:lnTo>
                    <a:lnTo>
                      <a:pt x="1215" y="1555"/>
                    </a:lnTo>
                    <a:close/>
                    <a:moveTo>
                      <a:pt x="1191" y="1437"/>
                    </a:moveTo>
                    <a:lnTo>
                      <a:pt x="1193" y="1437"/>
                    </a:lnTo>
                    <a:lnTo>
                      <a:pt x="1191" y="1437"/>
                    </a:lnTo>
                    <a:close/>
                    <a:moveTo>
                      <a:pt x="1251" y="1522"/>
                    </a:moveTo>
                    <a:lnTo>
                      <a:pt x="1253" y="1522"/>
                    </a:lnTo>
                    <a:lnTo>
                      <a:pt x="1251" y="1522"/>
                    </a:lnTo>
                    <a:close/>
                    <a:moveTo>
                      <a:pt x="1207" y="1498"/>
                    </a:moveTo>
                    <a:lnTo>
                      <a:pt x="1208" y="1498"/>
                    </a:lnTo>
                    <a:lnTo>
                      <a:pt x="1208" y="1500"/>
                    </a:lnTo>
                    <a:lnTo>
                      <a:pt x="1207" y="1500"/>
                    </a:lnTo>
                    <a:lnTo>
                      <a:pt x="1207" y="1498"/>
                    </a:lnTo>
                    <a:close/>
                    <a:moveTo>
                      <a:pt x="1186" y="1439"/>
                    </a:moveTo>
                    <a:lnTo>
                      <a:pt x="1186" y="1441"/>
                    </a:lnTo>
                    <a:lnTo>
                      <a:pt x="1186" y="1439"/>
                    </a:lnTo>
                    <a:close/>
                    <a:moveTo>
                      <a:pt x="1176" y="1116"/>
                    </a:moveTo>
                    <a:lnTo>
                      <a:pt x="1178" y="1116"/>
                    </a:lnTo>
                    <a:lnTo>
                      <a:pt x="1176" y="1116"/>
                    </a:lnTo>
                    <a:close/>
                    <a:moveTo>
                      <a:pt x="1188" y="1209"/>
                    </a:moveTo>
                    <a:lnTo>
                      <a:pt x="1190" y="1209"/>
                    </a:lnTo>
                    <a:lnTo>
                      <a:pt x="1188" y="1209"/>
                    </a:lnTo>
                    <a:close/>
                    <a:moveTo>
                      <a:pt x="1159" y="1347"/>
                    </a:moveTo>
                    <a:lnTo>
                      <a:pt x="1161" y="1347"/>
                    </a:lnTo>
                    <a:lnTo>
                      <a:pt x="1159" y="1347"/>
                    </a:lnTo>
                    <a:close/>
                    <a:moveTo>
                      <a:pt x="1215" y="1105"/>
                    </a:moveTo>
                    <a:lnTo>
                      <a:pt x="1215" y="1107"/>
                    </a:lnTo>
                    <a:lnTo>
                      <a:pt x="1215" y="1105"/>
                    </a:lnTo>
                    <a:close/>
                    <a:moveTo>
                      <a:pt x="1162" y="1347"/>
                    </a:moveTo>
                    <a:lnTo>
                      <a:pt x="1164" y="1347"/>
                    </a:lnTo>
                    <a:lnTo>
                      <a:pt x="1162" y="1347"/>
                    </a:lnTo>
                    <a:close/>
                    <a:moveTo>
                      <a:pt x="1210" y="1116"/>
                    </a:moveTo>
                    <a:lnTo>
                      <a:pt x="1212" y="1116"/>
                    </a:lnTo>
                    <a:lnTo>
                      <a:pt x="1210" y="1116"/>
                    </a:lnTo>
                    <a:close/>
                    <a:moveTo>
                      <a:pt x="1259" y="1493"/>
                    </a:moveTo>
                    <a:lnTo>
                      <a:pt x="1261" y="1493"/>
                    </a:lnTo>
                    <a:lnTo>
                      <a:pt x="1259" y="1493"/>
                    </a:lnTo>
                    <a:close/>
                    <a:moveTo>
                      <a:pt x="1207" y="1521"/>
                    </a:moveTo>
                    <a:lnTo>
                      <a:pt x="1208" y="1521"/>
                    </a:lnTo>
                    <a:lnTo>
                      <a:pt x="1208" y="1522"/>
                    </a:lnTo>
                    <a:lnTo>
                      <a:pt x="1207" y="1522"/>
                    </a:lnTo>
                    <a:lnTo>
                      <a:pt x="1207" y="1521"/>
                    </a:lnTo>
                    <a:close/>
                    <a:moveTo>
                      <a:pt x="1212" y="1070"/>
                    </a:moveTo>
                    <a:lnTo>
                      <a:pt x="1212" y="1071"/>
                    </a:lnTo>
                    <a:lnTo>
                      <a:pt x="1212" y="1070"/>
                    </a:lnTo>
                    <a:close/>
                    <a:moveTo>
                      <a:pt x="1190" y="1068"/>
                    </a:moveTo>
                    <a:lnTo>
                      <a:pt x="1191" y="1068"/>
                    </a:lnTo>
                    <a:lnTo>
                      <a:pt x="1190" y="1068"/>
                    </a:lnTo>
                    <a:close/>
                    <a:moveTo>
                      <a:pt x="1213" y="1555"/>
                    </a:moveTo>
                    <a:lnTo>
                      <a:pt x="1215" y="1555"/>
                    </a:lnTo>
                    <a:lnTo>
                      <a:pt x="1215" y="1556"/>
                    </a:lnTo>
                    <a:lnTo>
                      <a:pt x="1213" y="1556"/>
                    </a:lnTo>
                    <a:lnTo>
                      <a:pt x="1213" y="1555"/>
                    </a:lnTo>
                    <a:close/>
                    <a:moveTo>
                      <a:pt x="1212" y="1555"/>
                    </a:moveTo>
                    <a:lnTo>
                      <a:pt x="1213" y="1555"/>
                    </a:lnTo>
                    <a:lnTo>
                      <a:pt x="1212" y="1555"/>
                    </a:lnTo>
                    <a:close/>
                    <a:moveTo>
                      <a:pt x="1212" y="1500"/>
                    </a:moveTo>
                    <a:lnTo>
                      <a:pt x="1212" y="1502"/>
                    </a:lnTo>
                    <a:lnTo>
                      <a:pt x="1212" y="1500"/>
                    </a:lnTo>
                    <a:close/>
                    <a:moveTo>
                      <a:pt x="1156" y="1250"/>
                    </a:moveTo>
                    <a:lnTo>
                      <a:pt x="1156" y="1252"/>
                    </a:lnTo>
                    <a:lnTo>
                      <a:pt x="1156" y="1250"/>
                    </a:lnTo>
                    <a:close/>
                    <a:moveTo>
                      <a:pt x="1205" y="1073"/>
                    </a:moveTo>
                    <a:lnTo>
                      <a:pt x="1207" y="1073"/>
                    </a:lnTo>
                    <a:lnTo>
                      <a:pt x="1207" y="1075"/>
                    </a:lnTo>
                    <a:lnTo>
                      <a:pt x="1205" y="1075"/>
                    </a:lnTo>
                    <a:lnTo>
                      <a:pt x="1205" y="1073"/>
                    </a:lnTo>
                    <a:close/>
                    <a:moveTo>
                      <a:pt x="1208" y="1082"/>
                    </a:moveTo>
                    <a:lnTo>
                      <a:pt x="1210" y="1082"/>
                    </a:lnTo>
                    <a:lnTo>
                      <a:pt x="1208" y="1082"/>
                    </a:lnTo>
                    <a:close/>
                    <a:moveTo>
                      <a:pt x="1169" y="1434"/>
                    </a:moveTo>
                    <a:lnTo>
                      <a:pt x="1171" y="1434"/>
                    </a:lnTo>
                    <a:lnTo>
                      <a:pt x="1171" y="1435"/>
                    </a:lnTo>
                    <a:lnTo>
                      <a:pt x="1169" y="1435"/>
                    </a:lnTo>
                    <a:lnTo>
                      <a:pt x="1169" y="1434"/>
                    </a:lnTo>
                    <a:close/>
                    <a:moveTo>
                      <a:pt x="1191" y="1114"/>
                    </a:moveTo>
                    <a:lnTo>
                      <a:pt x="1191" y="1116"/>
                    </a:lnTo>
                    <a:lnTo>
                      <a:pt x="1191" y="1114"/>
                    </a:lnTo>
                    <a:close/>
                    <a:moveTo>
                      <a:pt x="1178" y="1374"/>
                    </a:moveTo>
                    <a:lnTo>
                      <a:pt x="1178" y="1376"/>
                    </a:lnTo>
                    <a:lnTo>
                      <a:pt x="1178" y="1374"/>
                    </a:lnTo>
                    <a:close/>
                    <a:moveTo>
                      <a:pt x="1208" y="1075"/>
                    </a:moveTo>
                    <a:lnTo>
                      <a:pt x="1210" y="1075"/>
                    </a:lnTo>
                    <a:lnTo>
                      <a:pt x="1208" y="1075"/>
                    </a:lnTo>
                    <a:close/>
                    <a:moveTo>
                      <a:pt x="1205" y="1053"/>
                    </a:moveTo>
                    <a:lnTo>
                      <a:pt x="1205" y="1054"/>
                    </a:lnTo>
                    <a:lnTo>
                      <a:pt x="1205" y="1053"/>
                    </a:lnTo>
                    <a:close/>
                    <a:moveTo>
                      <a:pt x="1186" y="1383"/>
                    </a:moveTo>
                    <a:lnTo>
                      <a:pt x="1186" y="1384"/>
                    </a:lnTo>
                    <a:lnTo>
                      <a:pt x="1186" y="1383"/>
                    </a:lnTo>
                    <a:close/>
                    <a:moveTo>
                      <a:pt x="1169" y="1133"/>
                    </a:moveTo>
                    <a:lnTo>
                      <a:pt x="1171" y="1133"/>
                    </a:lnTo>
                    <a:lnTo>
                      <a:pt x="1171" y="1134"/>
                    </a:lnTo>
                    <a:lnTo>
                      <a:pt x="1169" y="1134"/>
                    </a:lnTo>
                    <a:lnTo>
                      <a:pt x="1169" y="1133"/>
                    </a:lnTo>
                    <a:close/>
                    <a:moveTo>
                      <a:pt x="1383" y="1628"/>
                    </a:moveTo>
                    <a:lnTo>
                      <a:pt x="1383" y="1629"/>
                    </a:lnTo>
                    <a:lnTo>
                      <a:pt x="1383" y="1628"/>
                    </a:lnTo>
                    <a:close/>
                    <a:moveTo>
                      <a:pt x="1232" y="1583"/>
                    </a:moveTo>
                    <a:lnTo>
                      <a:pt x="1234" y="1583"/>
                    </a:lnTo>
                    <a:lnTo>
                      <a:pt x="1232" y="1583"/>
                    </a:lnTo>
                    <a:close/>
                    <a:moveTo>
                      <a:pt x="1353" y="1682"/>
                    </a:moveTo>
                    <a:lnTo>
                      <a:pt x="1355" y="1682"/>
                    </a:lnTo>
                    <a:lnTo>
                      <a:pt x="1353" y="1682"/>
                    </a:lnTo>
                    <a:close/>
                    <a:moveTo>
                      <a:pt x="1185" y="1429"/>
                    </a:moveTo>
                    <a:lnTo>
                      <a:pt x="1185" y="1430"/>
                    </a:lnTo>
                    <a:lnTo>
                      <a:pt x="1185" y="1429"/>
                    </a:lnTo>
                    <a:close/>
                    <a:moveTo>
                      <a:pt x="1205" y="1054"/>
                    </a:moveTo>
                    <a:lnTo>
                      <a:pt x="1207" y="1054"/>
                    </a:lnTo>
                    <a:lnTo>
                      <a:pt x="1205" y="1054"/>
                    </a:lnTo>
                    <a:close/>
                    <a:moveTo>
                      <a:pt x="1283" y="1595"/>
                    </a:moveTo>
                    <a:lnTo>
                      <a:pt x="1283" y="1597"/>
                    </a:lnTo>
                    <a:lnTo>
                      <a:pt x="1283" y="1595"/>
                    </a:lnTo>
                    <a:close/>
                    <a:moveTo>
                      <a:pt x="1185" y="1429"/>
                    </a:moveTo>
                    <a:lnTo>
                      <a:pt x="1186" y="1429"/>
                    </a:lnTo>
                    <a:lnTo>
                      <a:pt x="1186" y="1430"/>
                    </a:lnTo>
                    <a:lnTo>
                      <a:pt x="1185" y="1430"/>
                    </a:lnTo>
                    <a:lnTo>
                      <a:pt x="1185" y="1429"/>
                    </a:lnTo>
                    <a:close/>
                    <a:moveTo>
                      <a:pt x="1220" y="1549"/>
                    </a:moveTo>
                    <a:lnTo>
                      <a:pt x="1220" y="1551"/>
                    </a:lnTo>
                    <a:lnTo>
                      <a:pt x="1220" y="1549"/>
                    </a:lnTo>
                    <a:close/>
                    <a:moveTo>
                      <a:pt x="1174" y="1116"/>
                    </a:moveTo>
                    <a:lnTo>
                      <a:pt x="1174" y="1117"/>
                    </a:lnTo>
                    <a:lnTo>
                      <a:pt x="1174" y="1116"/>
                    </a:lnTo>
                    <a:close/>
                    <a:moveTo>
                      <a:pt x="1314" y="1577"/>
                    </a:moveTo>
                    <a:lnTo>
                      <a:pt x="1315" y="1577"/>
                    </a:lnTo>
                    <a:lnTo>
                      <a:pt x="1314" y="1577"/>
                    </a:lnTo>
                    <a:close/>
                    <a:moveTo>
                      <a:pt x="1207" y="1507"/>
                    </a:moveTo>
                    <a:lnTo>
                      <a:pt x="1208" y="1507"/>
                    </a:lnTo>
                    <a:lnTo>
                      <a:pt x="1207" y="1507"/>
                    </a:lnTo>
                    <a:close/>
                    <a:moveTo>
                      <a:pt x="1380" y="1660"/>
                    </a:moveTo>
                    <a:lnTo>
                      <a:pt x="1380" y="1662"/>
                    </a:lnTo>
                    <a:lnTo>
                      <a:pt x="1380" y="1660"/>
                    </a:lnTo>
                    <a:close/>
                    <a:moveTo>
                      <a:pt x="1224" y="1572"/>
                    </a:moveTo>
                    <a:lnTo>
                      <a:pt x="1225" y="1572"/>
                    </a:lnTo>
                    <a:lnTo>
                      <a:pt x="1224" y="1572"/>
                    </a:lnTo>
                    <a:close/>
                    <a:moveTo>
                      <a:pt x="1331" y="1648"/>
                    </a:moveTo>
                    <a:lnTo>
                      <a:pt x="1332" y="1648"/>
                    </a:lnTo>
                    <a:lnTo>
                      <a:pt x="1331" y="1648"/>
                    </a:lnTo>
                    <a:close/>
                    <a:moveTo>
                      <a:pt x="1198" y="1549"/>
                    </a:moveTo>
                    <a:lnTo>
                      <a:pt x="1200" y="1549"/>
                    </a:lnTo>
                    <a:lnTo>
                      <a:pt x="1198" y="1549"/>
                    </a:lnTo>
                    <a:close/>
                    <a:moveTo>
                      <a:pt x="1174" y="1435"/>
                    </a:moveTo>
                    <a:lnTo>
                      <a:pt x="1174" y="1437"/>
                    </a:lnTo>
                    <a:lnTo>
                      <a:pt x="1174" y="1435"/>
                    </a:lnTo>
                    <a:close/>
                    <a:moveTo>
                      <a:pt x="1176" y="1255"/>
                    </a:moveTo>
                    <a:lnTo>
                      <a:pt x="1178" y="1255"/>
                    </a:lnTo>
                    <a:lnTo>
                      <a:pt x="1176" y="1255"/>
                    </a:lnTo>
                    <a:close/>
                    <a:moveTo>
                      <a:pt x="1156" y="1191"/>
                    </a:moveTo>
                    <a:lnTo>
                      <a:pt x="1157" y="1191"/>
                    </a:lnTo>
                    <a:lnTo>
                      <a:pt x="1156" y="1191"/>
                    </a:lnTo>
                    <a:close/>
                    <a:moveTo>
                      <a:pt x="1208" y="956"/>
                    </a:moveTo>
                    <a:lnTo>
                      <a:pt x="1210" y="956"/>
                    </a:lnTo>
                    <a:lnTo>
                      <a:pt x="1208" y="956"/>
                    </a:lnTo>
                    <a:close/>
                    <a:moveTo>
                      <a:pt x="1220" y="1563"/>
                    </a:moveTo>
                    <a:lnTo>
                      <a:pt x="1222" y="1563"/>
                    </a:lnTo>
                    <a:lnTo>
                      <a:pt x="1220" y="1563"/>
                    </a:lnTo>
                    <a:close/>
                    <a:moveTo>
                      <a:pt x="1207" y="949"/>
                    </a:moveTo>
                    <a:lnTo>
                      <a:pt x="1207" y="951"/>
                    </a:lnTo>
                    <a:lnTo>
                      <a:pt x="1207" y="949"/>
                    </a:lnTo>
                    <a:close/>
                    <a:moveTo>
                      <a:pt x="1220" y="1056"/>
                    </a:moveTo>
                    <a:lnTo>
                      <a:pt x="1222" y="1056"/>
                    </a:lnTo>
                    <a:lnTo>
                      <a:pt x="1222" y="1058"/>
                    </a:lnTo>
                    <a:lnTo>
                      <a:pt x="1220" y="1058"/>
                    </a:lnTo>
                    <a:lnTo>
                      <a:pt x="1220" y="1056"/>
                    </a:lnTo>
                    <a:close/>
                    <a:moveTo>
                      <a:pt x="1232" y="1575"/>
                    </a:moveTo>
                    <a:lnTo>
                      <a:pt x="1234" y="1575"/>
                    </a:lnTo>
                    <a:lnTo>
                      <a:pt x="1232" y="1575"/>
                    </a:lnTo>
                    <a:close/>
                    <a:moveTo>
                      <a:pt x="1378" y="1665"/>
                    </a:moveTo>
                    <a:lnTo>
                      <a:pt x="1378" y="1667"/>
                    </a:lnTo>
                    <a:lnTo>
                      <a:pt x="1378" y="1665"/>
                    </a:lnTo>
                    <a:close/>
                    <a:moveTo>
                      <a:pt x="1227" y="1556"/>
                    </a:moveTo>
                    <a:lnTo>
                      <a:pt x="1229" y="1556"/>
                    </a:lnTo>
                    <a:lnTo>
                      <a:pt x="1229" y="1558"/>
                    </a:lnTo>
                    <a:lnTo>
                      <a:pt x="1227" y="1558"/>
                    </a:lnTo>
                    <a:lnTo>
                      <a:pt x="1227" y="1556"/>
                    </a:lnTo>
                    <a:close/>
                    <a:moveTo>
                      <a:pt x="1229" y="1534"/>
                    </a:moveTo>
                    <a:lnTo>
                      <a:pt x="1229" y="1536"/>
                    </a:lnTo>
                    <a:lnTo>
                      <a:pt x="1229" y="1534"/>
                    </a:lnTo>
                    <a:close/>
                    <a:moveTo>
                      <a:pt x="1183" y="1461"/>
                    </a:moveTo>
                    <a:lnTo>
                      <a:pt x="1185" y="1461"/>
                    </a:lnTo>
                    <a:lnTo>
                      <a:pt x="1185" y="1463"/>
                    </a:lnTo>
                    <a:lnTo>
                      <a:pt x="1183" y="1463"/>
                    </a:lnTo>
                    <a:lnTo>
                      <a:pt x="1183" y="1461"/>
                    </a:lnTo>
                    <a:close/>
                    <a:moveTo>
                      <a:pt x="1183" y="1298"/>
                    </a:moveTo>
                    <a:lnTo>
                      <a:pt x="1183" y="1299"/>
                    </a:lnTo>
                    <a:lnTo>
                      <a:pt x="1183" y="1298"/>
                    </a:lnTo>
                    <a:close/>
                    <a:moveTo>
                      <a:pt x="1227" y="1522"/>
                    </a:moveTo>
                    <a:lnTo>
                      <a:pt x="1229" y="1522"/>
                    </a:lnTo>
                    <a:lnTo>
                      <a:pt x="1229" y="1524"/>
                    </a:lnTo>
                    <a:lnTo>
                      <a:pt x="1227" y="1524"/>
                    </a:lnTo>
                    <a:lnTo>
                      <a:pt x="1227" y="1522"/>
                    </a:lnTo>
                    <a:close/>
                    <a:moveTo>
                      <a:pt x="1203" y="1541"/>
                    </a:moveTo>
                    <a:lnTo>
                      <a:pt x="1205" y="1541"/>
                    </a:lnTo>
                    <a:lnTo>
                      <a:pt x="1203" y="1541"/>
                    </a:lnTo>
                    <a:close/>
                    <a:moveTo>
                      <a:pt x="1256" y="1524"/>
                    </a:moveTo>
                    <a:lnTo>
                      <a:pt x="1256" y="1526"/>
                    </a:lnTo>
                    <a:lnTo>
                      <a:pt x="1256" y="1524"/>
                    </a:lnTo>
                    <a:close/>
                    <a:moveTo>
                      <a:pt x="1307" y="1643"/>
                    </a:moveTo>
                    <a:lnTo>
                      <a:pt x="1307" y="1645"/>
                    </a:lnTo>
                    <a:lnTo>
                      <a:pt x="1307" y="1643"/>
                    </a:lnTo>
                    <a:close/>
                    <a:moveTo>
                      <a:pt x="1210" y="1502"/>
                    </a:moveTo>
                    <a:lnTo>
                      <a:pt x="1212" y="1502"/>
                    </a:lnTo>
                    <a:lnTo>
                      <a:pt x="1210" y="1502"/>
                    </a:lnTo>
                    <a:close/>
                    <a:moveTo>
                      <a:pt x="1179" y="1432"/>
                    </a:moveTo>
                    <a:lnTo>
                      <a:pt x="1179" y="1434"/>
                    </a:lnTo>
                    <a:lnTo>
                      <a:pt x="1179" y="1432"/>
                    </a:lnTo>
                    <a:close/>
                    <a:moveTo>
                      <a:pt x="1365" y="1665"/>
                    </a:moveTo>
                    <a:lnTo>
                      <a:pt x="1365" y="1667"/>
                    </a:lnTo>
                    <a:lnTo>
                      <a:pt x="1365" y="1665"/>
                    </a:lnTo>
                    <a:close/>
                    <a:moveTo>
                      <a:pt x="1234" y="1077"/>
                    </a:moveTo>
                    <a:lnTo>
                      <a:pt x="1234" y="1078"/>
                    </a:lnTo>
                    <a:lnTo>
                      <a:pt x="1234" y="1077"/>
                    </a:lnTo>
                    <a:close/>
                    <a:moveTo>
                      <a:pt x="1173" y="1466"/>
                    </a:moveTo>
                    <a:lnTo>
                      <a:pt x="1173" y="1468"/>
                    </a:lnTo>
                    <a:lnTo>
                      <a:pt x="1173" y="1466"/>
                    </a:lnTo>
                    <a:close/>
                    <a:moveTo>
                      <a:pt x="1220" y="1558"/>
                    </a:moveTo>
                    <a:lnTo>
                      <a:pt x="1220" y="1560"/>
                    </a:lnTo>
                    <a:lnTo>
                      <a:pt x="1220" y="1558"/>
                    </a:lnTo>
                    <a:close/>
                    <a:moveTo>
                      <a:pt x="1300" y="1618"/>
                    </a:moveTo>
                    <a:lnTo>
                      <a:pt x="1300" y="1619"/>
                    </a:lnTo>
                    <a:lnTo>
                      <a:pt x="1300" y="1618"/>
                    </a:lnTo>
                    <a:close/>
                    <a:moveTo>
                      <a:pt x="1230" y="1558"/>
                    </a:moveTo>
                    <a:lnTo>
                      <a:pt x="1232" y="1558"/>
                    </a:lnTo>
                    <a:lnTo>
                      <a:pt x="1230" y="1558"/>
                    </a:lnTo>
                    <a:close/>
                    <a:moveTo>
                      <a:pt x="1212" y="1257"/>
                    </a:moveTo>
                    <a:lnTo>
                      <a:pt x="1212" y="1259"/>
                    </a:lnTo>
                    <a:lnTo>
                      <a:pt x="1212" y="1257"/>
                    </a:lnTo>
                    <a:close/>
                    <a:moveTo>
                      <a:pt x="1210" y="1509"/>
                    </a:moveTo>
                    <a:lnTo>
                      <a:pt x="1212" y="1509"/>
                    </a:lnTo>
                    <a:lnTo>
                      <a:pt x="1210" y="1509"/>
                    </a:lnTo>
                    <a:close/>
                    <a:moveTo>
                      <a:pt x="1219" y="1568"/>
                    </a:moveTo>
                    <a:lnTo>
                      <a:pt x="1220" y="1568"/>
                    </a:lnTo>
                    <a:lnTo>
                      <a:pt x="1219" y="1568"/>
                    </a:lnTo>
                    <a:close/>
                    <a:moveTo>
                      <a:pt x="1186" y="1383"/>
                    </a:moveTo>
                    <a:lnTo>
                      <a:pt x="1188" y="1383"/>
                    </a:lnTo>
                    <a:lnTo>
                      <a:pt x="1186" y="1383"/>
                    </a:lnTo>
                    <a:close/>
                    <a:moveTo>
                      <a:pt x="1183" y="1420"/>
                    </a:moveTo>
                    <a:lnTo>
                      <a:pt x="1185" y="1420"/>
                    </a:lnTo>
                    <a:lnTo>
                      <a:pt x="1183" y="1420"/>
                    </a:lnTo>
                    <a:close/>
                    <a:moveTo>
                      <a:pt x="1200" y="1145"/>
                    </a:moveTo>
                    <a:lnTo>
                      <a:pt x="1200" y="1146"/>
                    </a:lnTo>
                    <a:lnTo>
                      <a:pt x="1200" y="1145"/>
                    </a:lnTo>
                    <a:close/>
                    <a:moveTo>
                      <a:pt x="1205" y="1505"/>
                    </a:moveTo>
                    <a:lnTo>
                      <a:pt x="1205" y="1507"/>
                    </a:lnTo>
                    <a:lnTo>
                      <a:pt x="1205" y="1505"/>
                    </a:lnTo>
                    <a:close/>
                    <a:moveTo>
                      <a:pt x="1232" y="1575"/>
                    </a:moveTo>
                    <a:lnTo>
                      <a:pt x="1234" y="1575"/>
                    </a:lnTo>
                    <a:lnTo>
                      <a:pt x="1232" y="1575"/>
                    </a:lnTo>
                    <a:close/>
                    <a:moveTo>
                      <a:pt x="1234" y="1453"/>
                    </a:moveTo>
                    <a:lnTo>
                      <a:pt x="1234" y="1454"/>
                    </a:lnTo>
                    <a:lnTo>
                      <a:pt x="1234" y="1453"/>
                    </a:lnTo>
                    <a:close/>
                    <a:moveTo>
                      <a:pt x="1242" y="1497"/>
                    </a:moveTo>
                    <a:lnTo>
                      <a:pt x="1244" y="1497"/>
                    </a:lnTo>
                    <a:lnTo>
                      <a:pt x="1244" y="1498"/>
                    </a:lnTo>
                    <a:lnTo>
                      <a:pt x="1242" y="1498"/>
                    </a:lnTo>
                    <a:lnTo>
                      <a:pt x="1242" y="1497"/>
                    </a:lnTo>
                    <a:close/>
                    <a:moveTo>
                      <a:pt x="1219" y="1505"/>
                    </a:moveTo>
                    <a:lnTo>
                      <a:pt x="1220" y="1505"/>
                    </a:lnTo>
                    <a:lnTo>
                      <a:pt x="1219" y="1505"/>
                    </a:lnTo>
                    <a:close/>
                    <a:moveTo>
                      <a:pt x="1191" y="1117"/>
                    </a:moveTo>
                    <a:lnTo>
                      <a:pt x="1191" y="1119"/>
                    </a:lnTo>
                    <a:lnTo>
                      <a:pt x="1191" y="1117"/>
                    </a:lnTo>
                    <a:close/>
                    <a:moveTo>
                      <a:pt x="1166" y="1361"/>
                    </a:moveTo>
                    <a:lnTo>
                      <a:pt x="1166" y="1362"/>
                    </a:lnTo>
                    <a:lnTo>
                      <a:pt x="1166" y="1361"/>
                    </a:lnTo>
                    <a:close/>
                    <a:moveTo>
                      <a:pt x="1147" y="1286"/>
                    </a:moveTo>
                    <a:lnTo>
                      <a:pt x="1149" y="1286"/>
                    </a:lnTo>
                    <a:lnTo>
                      <a:pt x="1147" y="1286"/>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9" name="Freeform 22">
                <a:extLst>
                  <a:ext uri="{FF2B5EF4-FFF2-40B4-BE49-F238E27FC236}">
                    <a16:creationId xmlns:a16="http://schemas.microsoft.com/office/drawing/2014/main" id="{ABB17541-DEE1-3AAC-CA02-947BFF781BB9}"/>
                  </a:ext>
                </a:extLst>
              </p:cNvPr>
              <p:cNvSpPr>
                <a:spLocks noEditPoints="1"/>
              </p:cNvSpPr>
              <p:nvPr/>
            </p:nvSpPr>
            <p:spPr bwMode="auto">
              <a:xfrm>
                <a:off x="5567851" y="2812604"/>
                <a:ext cx="147740" cy="176230"/>
              </a:xfrm>
              <a:custGeom>
                <a:avLst/>
                <a:gdLst>
                  <a:gd name="T0" fmla="*/ 304 w 503"/>
                  <a:gd name="T1" fmla="*/ 93 h 600"/>
                  <a:gd name="T2" fmla="*/ 290 w 503"/>
                  <a:gd name="T3" fmla="*/ 132 h 600"/>
                  <a:gd name="T4" fmla="*/ 301 w 503"/>
                  <a:gd name="T5" fmla="*/ 146 h 600"/>
                  <a:gd name="T6" fmla="*/ 312 w 503"/>
                  <a:gd name="T7" fmla="*/ 187 h 600"/>
                  <a:gd name="T8" fmla="*/ 326 w 503"/>
                  <a:gd name="T9" fmla="*/ 217 h 600"/>
                  <a:gd name="T10" fmla="*/ 365 w 503"/>
                  <a:gd name="T11" fmla="*/ 219 h 600"/>
                  <a:gd name="T12" fmla="*/ 420 w 503"/>
                  <a:gd name="T13" fmla="*/ 251 h 600"/>
                  <a:gd name="T14" fmla="*/ 464 w 503"/>
                  <a:gd name="T15" fmla="*/ 246 h 600"/>
                  <a:gd name="T16" fmla="*/ 476 w 503"/>
                  <a:gd name="T17" fmla="*/ 267 h 600"/>
                  <a:gd name="T18" fmla="*/ 469 w 503"/>
                  <a:gd name="T19" fmla="*/ 301 h 600"/>
                  <a:gd name="T20" fmla="*/ 482 w 503"/>
                  <a:gd name="T21" fmla="*/ 335 h 600"/>
                  <a:gd name="T22" fmla="*/ 482 w 503"/>
                  <a:gd name="T23" fmla="*/ 369 h 600"/>
                  <a:gd name="T24" fmla="*/ 499 w 503"/>
                  <a:gd name="T25" fmla="*/ 401 h 600"/>
                  <a:gd name="T26" fmla="*/ 493 w 503"/>
                  <a:gd name="T27" fmla="*/ 398 h 600"/>
                  <a:gd name="T28" fmla="*/ 469 w 503"/>
                  <a:gd name="T29" fmla="*/ 393 h 600"/>
                  <a:gd name="T30" fmla="*/ 457 w 503"/>
                  <a:gd name="T31" fmla="*/ 398 h 600"/>
                  <a:gd name="T32" fmla="*/ 401 w 503"/>
                  <a:gd name="T33" fmla="*/ 415 h 600"/>
                  <a:gd name="T34" fmla="*/ 426 w 503"/>
                  <a:gd name="T35" fmla="*/ 435 h 600"/>
                  <a:gd name="T36" fmla="*/ 397 w 503"/>
                  <a:gd name="T37" fmla="*/ 437 h 600"/>
                  <a:gd name="T38" fmla="*/ 411 w 503"/>
                  <a:gd name="T39" fmla="*/ 478 h 600"/>
                  <a:gd name="T40" fmla="*/ 411 w 503"/>
                  <a:gd name="T41" fmla="*/ 529 h 600"/>
                  <a:gd name="T42" fmla="*/ 375 w 503"/>
                  <a:gd name="T43" fmla="*/ 587 h 600"/>
                  <a:gd name="T44" fmla="*/ 386 w 503"/>
                  <a:gd name="T45" fmla="*/ 542 h 600"/>
                  <a:gd name="T46" fmla="*/ 358 w 503"/>
                  <a:gd name="T47" fmla="*/ 534 h 600"/>
                  <a:gd name="T48" fmla="*/ 336 w 503"/>
                  <a:gd name="T49" fmla="*/ 530 h 600"/>
                  <a:gd name="T50" fmla="*/ 309 w 503"/>
                  <a:gd name="T51" fmla="*/ 537 h 600"/>
                  <a:gd name="T52" fmla="*/ 292 w 503"/>
                  <a:gd name="T53" fmla="*/ 520 h 600"/>
                  <a:gd name="T54" fmla="*/ 275 w 503"/>
                  <a:gd name="T55" fmla="*/ 502 h 600"/>
                  <a:gd name="T56" fmla="*/ 253 w 503"/>
                  <a:gd name="T57" fmla="*/ 488 h 600"/>
                  <a:gd name="T58" fmla="*/ 238 w 503"/>
                  <a:gd name="T59" fmla="*/ 469 h 600"/>
                  <a:gd name="T60" fmla="*/ 207 w 503"/>
                  <a:gd name="T61" fmla="*/ 457 h 600"/>
                  <a:gd name="T62" fmla="*/ 175 w 503"/>
                  <a:gd name="T63" fmla="*/ 449 h 600"/>
                  <a:gd name="T64" fmla="*/ 144 w 503"/>
                  <a:gd name="T65" fmla="*/ 442 h 600"/>
                  <a:gd name="T66" fmla="*/ 120 w 503"/>
                  <a:gd name="T67" fmla="*/ 425 h 600"/>
                  <a:gd name="T68" fmla="*/ 91 w 503"/>
                  <a:gd name="T69" fmla="*/ 401 h 600"/>
                  <a:gd name="T70" fmla="*/ 107 w 503"/>
                  <a:gd name="T71" fmla="*/ 391 h 600"/>
                  <a:gd name="T72" fmla="*/ 110 w 503"/>
                  <a:gd name="T73" fmla="*/ 369 h 600"/>
                  <a:gd name="T74" fmla="*/ 120 w 503"/>
                  <a:gd name="T75" fmla="*/ 367 h 600"/>
                  <a:gd name="T76" fmla="*/ 136 w 503"/>
                  <a:gd name="T77" fmla="*/ 364 h 600"/>
                  <a:gd name="T78" fmla="*/ 141 w 503"/>
                  <a:gd name="T79" fmla="*/ 347 h 600"/>
                  <a:gd name="T80" fmla="*/ 154 w 503"/>
                  <a:gd name="T81" fmla="*/ 328 h 600"/>
                  <a:gd name="T82" fmla="*/ 149 w 503"/>
                  <a:gd name="T83" fmla="*/ 323 h 600"/>
                  <a:gd name="T84" fmla="*/ 149 w 503"/>
                  <a:gd name="T85" fmla="*/ 303 h 600"/>
                  <a:gd name="T86" fmla="*/ 142 w 503"/>
                  <a:gd name="T87" fmla="*/ 270 h 600"/>
                  <a:gd name="T88" fmla="*/ 146 w 503"/>
                  <a:gd name="T89" fmla="*/ 245 h 600"/>
                  <a:gd name="T90" fmla="*/ 136 w 503"/>
                  <a:gd name="T91" fmla="*/ 223 h 600"/>
                  <a:gd name="T92" fmla="*/ 141 w 503"/>
                  <a:gd name="T93" fmla="*/ 202 h 600"/>
                  <a:gd name="T94" fmla="*/ 148 w 503"/>
                  <a:gd name="T95" fmla="*/ 173 h 600"/>
                  <a:gd name="T96" fmla="*/ 161 w 503"/>
                  <a:gd name="T97" fmla="*/ 178 h 600"/>
                  <a:gd name="T98" fmla="*/ 168 w 503"/>
                  <a:gd name="T99" fmla="*/ 187 h 600"/>
                  <a:gd name="T100" fmla="*/ 180 w 503"/>
                  <a:gd name="T101" fmla="*/ 156 h 600"/>
                  <a:gd name="T102" fmla="*/ 207 w 503"/>
                  <a:gd name="T103" fmla="*/ 136 h 600"/>
                  <a:gd name="T104" fmla="*/ 209 w 503"/>
                  <a:gd name="T105" fmla="*/ 110 h 600"/>
                  <a:gd name="T106" fmla="*/ 212 w 503"/>
                  <a:gd name="T107" fmla="*/ 97 h 600"/>
                  <a:gd name="T108" fmla="*/ 243 w 503"/>
                  <a:gd name="T109" fmla="*/ 83 h 600"/>
                  <a:gd name="T110" fmla="*/ 267 w 503"/>
                  <a:gd name="T111" fmla="*/ 73 h 600"/>
                  <a:gd name="T112" fmla="*/ 304 w 503"/>
                  <a:gd name="T113" fmla="*/ 59 h 600"/>
                  <a:gd name="T114" fmla="*/ 333 w 503"/>
                  <a:gd name="T115" fmla="*/ 41 h 600"/>
                  <a:gd name="T116" fmla="*/ 340 w 503"/>
                  <a:gd name="T117" fmla="*/ 34 h 600"/>
                  <a:gd name="T118" fmla="*/ 350 w 503"/>
                  <a:gd name="T119" fmla="*/ 54 h 600"/>
                  <a:gd name="T120" fmla="*/ 158 w 503"/>
                  <a:gd name="T121" fmla="*/ 325 h 600"/>
                  <a:gd name="T122" fmla="*/ 100 w 503"/>
                  <a:gd name="T123" fmla="*/ 396 h 600"/>
                  <a:gd name="T124" fmla="*/ 142 w 503"/>
                  <a:gd name="T125" fmla="*/ 318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3" h="600">
                    <a:moveTo>
                      <a:pt x="350" y="54"/>
                    </a:moveTo>
                    <a:lnTo>
                      <a:pt x="346" y="56"/>
                    </a:lnTo>
                    <a:lnTo>
                      <a:pt x="341" y="58"/>
                    </a:lnTo>
                    <a:lnTo>
                      <a:pt x="336" y="59"/>
                    </a:lnTo>
                    <a:lnTo>
                      <a:pt x="329" y="61"/>
                    </a:lnTo>
                    <a:lnTo>
                      <a:pt x="329" y="63"/>
                    </a:lnTo>
                    <a:lnTo>
                      <a:pt x="328" y="64"/>
                    </a:lnTo>
                    <a:lnTo>
                      <a:pt x="328" y="66"/>
                    </a:lnTo>
                    <a:lnTo>
                      <a:pt x="326" y="68"/>
                    </a:lnTo>
                    <a:lnTo>
                      <a:pt x="326" y="69"/>
                    </a:lnTo>
                    <a:lnTo>
                      <a:pt x="324" y="69"/>
                    </a:lnTo>
                    <a:lnTo>
                      <a:pt x="324" y="71"/>
                    </a:lnTo>
                    <a:lnTo>
                      <a:pt x="323" y="75"/>
                    </a:lnTo>
                    <a:lnTo>
                      <a:pt x="321" y="78"/>
                    </a:lnTo>
                    <a:lnTo>
                      <a:pt x="319" y="78"/>
                    </a:lnTo>
                    <a:lnTo>
                      <a:pt x="318" y="78"/>
                    </a:lnTo>
                    <a:lnTo>
                      <a:pt x="316" y="78"/>
                    </a:lnTo>
                    <a:lnTo>
                      <a:pt x="314" y="78"/>
                    </a:lnTo>
                    <a:lnTo>
                      <a:pt x="314" y="80"/>
                    </a:lnTo>
                    <a:lnTo>
                      <a:pt x="314" y="78"/>
                    </a:lnTo>
                    <a:lnTo>
                      <a:pt x="312" y="80"/>
                    </a:lnTo>
                    <a:lnTo>
                      <a:pt x="312" y="81"/>
                    </a:lnTo>
                    <a:lnTo>
                      <a:pt x="311" y="83"/>
                    </a:lnTo>
                    <a:lnTo>
                      <a:pt x="311" y="85"/>
                    </a:lnTo>
                    <a:lnTo>
                      <a:pt x="309" y="86"/>
                    </a:lnTo>
                    <a:lnTo>
                      <a:pt x="307" y="86"/>
                    </a:lnTo>
                    <a:lnTo>
                      <a:pt x="306" y="88"/>
                    </a:lnTo>
                    <a:lnTo>
                      <a:pt x="306" y="90"/>
                    </a:lnTo>
                    <a:lnTo>
                      <a:pt x="306" y="92"/>
                    </a:lnTo>
                    <a:lnTo>
                      <a:pt x="304" y="92"/>
                    </a:lnTo>
                    <a:lnTo>
                      <a:pt x="304" y="93"/>
                    </a:lnTo>
                    <a:lnTo>
                      <a:pt x="304" y="95"/>
                    </a:lnTo>
                    <a:lnTo>
                      <a:pt x="304" y="97"/>
                    </a:lnTo>
                    <a:lnTo>
                      <a:pt x="302" y="97"/>
                    </a:lnTo>
                    <a:lnTo>
                      <a:pt x="301" y="98"/>
                    </a:lnTo>
                    <a:lnTo>
                      <a:pt x="301" y="100"/>
                    </a:lnTo>
                    <a:lnTo>
                      <a:pt x="301" y="102"/>
                    </a:lnTo>
                    <a:lnTo>
                      <a:pt x="299" y="102"/>
                    </a:lnTo>
                    <a:lnTo>
                      <a:pt x="299" y="103"/>
                    </a:lnTo>
                    <a:lnTo>
                      <a:pt x="299" y="105"/>
                    </a:lnTo>
                    <a:lnTo>
                      <a:pt x="299" y="107"/>
                    </a:lnTo>
                    <a:lnTo>
                      <a:pt x="299" y="109"/>
                    </a:lnTo>
                    <a:lnTo>
                      <a:pt x="299" y="110"/>
                    </a:lnTo>
                    <a:lnTo>
                      <a:pt x="299" y="112"/>
                    </a:lnTo>
                    <a:lnTo>
                      <a:pt x="297" y="112"/>
                    </a:lnTo>
                    <a:lnTo>
                      <a:pt x="299" y="114"/>
                    </a:lnTo>
                    <a:lnTo>
                      <a:pt x="297" y="114"/>
                    </a:lnTo>
                    <a:lnTo>
                      <a:pt x="297" y="115"/>
                    </a:lnTo>
                    <a:lnTo>
                      <a:pt x="297" y="117"/>
                    </a:lnTo>
                    <a:lnTo>
                      <a:pt x="295" y="117"/>
                    </a:lnTo>
                    <a:lnTo>
                      <a:pt x="295" y="119"/>
                    </a:lnTo>
                    <a:lnTo>
                      <a:pt x="295" y="120"/>
                    </a:lnTo>
                    <a:lnTo>
                      <a:pt x="295" y="122"/>
                    </a:lnTo>
                    <a:lnTo>
                      <a:pt x="297" y="122"/>
                    </a:lnTo>
                    <a:lnTo>
                      <a:pt x="297" y="124"/>
                    </a:lnTo>
                    <a:lnTo>
                      <a:pt x="295" y="124"/>
                    </a:lnTo>
                    <a:lnTo>
                      <a:pt x="295" y="126"/>
                    </a:lnTo>
                    <a:lnTo>
                      <a:pt x="294" y="127"/>
                    </a:lnTo>
                    <a:lnTo>
                      <a:pt x="294" y="129"/>
                    </a:lnTo>
                    <a:lnTo>
                      <a:pt x="292" y="129"/>
                    </a:lnTo>
                    <a:lnTo>
                      <a:pt x="292" y="131"/>
                    </a:lnTo>
                    <a:lnTo>
                      <a:pt x="290" y="132"/>
                    </a:lnTo>
                    <a:lnTo>
                      <a:pt x="290" y="134"/>
                    </a:lnTo>
                    <a:lnTo>
                      <a:pt x="289" y="134"/>
                    </a:lnTo>
                    <a:lnTo>
                      <a:pt x="289" y="136"/>
                    </a:lnTo>
                    <a:lnTo>
                      <a:pt x="289" y="138"/>
                    </a:lnTo>
                    <a:lnTo>
                      <a:pt x="287" y="138"/>
                    </a:lnTo>
                    <a:lnTo>
                      <a:pt x="287" y="139"/>
                    </a:lnTo>
                    <a:lnTo>
                      <a:pt x="285" y="141"/>
                    </a:lnTo>
                    <a:lnTo>
                      <a:pt x="285" y="143"/>
                    </a:lnTo>
                    <a:lnTo>
                      <a:pt x="284" y="143"/>
                    </a:lnTo>
                    <a:lnTo>
                      <a:pt x="284" y="144"/>
                    </a:lnTo>
                    <a:lnTo>
                      <a:pt x="284" y="146"/>
                    </a:lnTo>
                    <a:lnTo>
                      <a:pt x="285" y="146"/>
                    </a:lnTo>
                    <a:lnTo>
                      <a:pt x="287" y="146"/>
                    </a:lnTo>
                    <a:lnTo>
                      <a:pt x="289" y="146"/>
                    </a:lnTo>
                    <a:lnTo>
                      <a:pt x="290" y="144"/>
                    </a:lnTo>
                    <a:lnTo>
                      <a:pt x="292" y="144"/>
                    </a:lnTo>
                    <a:lnTo>
                      <a:pt x="292" y="143"/>
                    </a:lnTo>
                    <a:lnTo>
                      <a:pt x="294" y="143"/>
                    </a:lnTo>
                    <a:lnTo>
                      <a:pt x="295" y="141"/>
                    </a:lnTo>
                    <a:lnTo>
                      <a:pt x="295" y="143"/>
                    </a:lnTo>
                    <a:lnTo>
                      <a:pt x="295" y="144"/>
                    </a:lnTo>
                    <a:lnTo>
                      <a:pt x="295" y="146"/>
                    </a:lnTo>
                    <a:lnTo>
                      <a:pt x="297" y="146"/>
                    </a:lnTo>
                    <a:lnTo>
                      <a:pt x="295" y="146"/>
                    </a:lnTo>
                    <a:lnTo>
                      <a:pt x="295" y="148"/>
                    </a:lnTo>
                    <a:lnTo>
                      <a:pt x="297" y="148"/>
                    </a:lnTo>
                    <a:lnTo>
                      <a:pt x="297" y="149"/>
                    </a:lnTo>
                    <a:lnTo>
                      <a:pt x="297" y="148"/>
                    </a:lnTo>
                    <a:lnTo>
                      <a:pt x="299" y="148"/>
                    </a:lnTo>
                    <a:lnTo>
                      <a:pt x="301" y="148"/>
                    </a:lnTo>
                    <a:lnTo>
                      <a:pt x="301" y="146"/>
                    </a:lnTo>
                    <a:lnTo>
                      <a:pt x="301" y="148"/>
                    </a:lnTo>
                    <a:lnTo>
                      <a:pt x="302" y="148"/>
                    </a:lnTo>
                    <a:lnTo>
                      <a:pt x="302" y="149"/>
                    </a:lnTo>
                    <a:lnTo>
                      <a:pt x="304" y="151"/>
                    </a:lnTo>
                    <a:lnTo>
                      <a:pt x="304" y="153"/>
                    </a:lnTo>
                    <a:lnTo>
                      <a:pt x="304" y="155"/>
                    </a:lnTo>
                    <a:lnTo>
                      <a:pt x="306" y="160"/>
                    </a:lnTo>
                    <a:lnTo>
                      <a:pt x="306" y="163"/>
                    </a:lnTo>
                    <a:lnTo>
                      <a:pt x="307" y="165"/>
                    </a:lnTo>
                    <a:lnTo>
                      <a:pt x="307" y="166"/>
                    </a:lnTo>
                    <a:lnTo>
                      <a:pt x="309" y="166"/>
                    </a:lnTo>
                    <a:lnTo>
                      <a:pt x="309" y="168"/>
                    </a:lnTo>
                    <a:lnTo>
                      <a:pt x="311" y="168"/>
                    </a:lnTo>
                    <a:lnTo>
                      <a:pt x="312" y="170"/>
                    </a:lnTo>
                    <a:lnTo>
                      <a:pt x="312" y="172"/>
                    </a:lnTo>
                    <a:lnTo>
                      <a:pt x="314" y="173"/>
                    </a:lnTo>
                    <a:lnTo>
                      <a:pt x="316" y="173"/>
                    </a:lnTo>
                    <a:lnTo>
                      <a:pt x="316" y="175"/>
                    </a:lnTo>
                    <a:lnTo>
                      <a:pt x="316" y="177"/>
                    </a:lnTo>
                    <a:lnTo>
                      <a:pt x="316" y="178"/>
                    </a:lnTo>
                    <a:lnTo>
                      <a:pt x="316" y="180"/>
                    </a:lnTo>
                    <a:lnTo>
                      <a:pt x="318" y="180"/>
                    </a:lnTo>
                    <a:lnTo>
                      <a:pt x="316" y="180"/>
                    </a:lnTo>
                    <a:lnTo>
                      <a:pt x="316" y="182"/>
                    </a:lnTo>
                    <a:lnTo>
                      <a:pt x="316" y="183"/>
                    </a:lnTo>
                    <a:lnTo>
                      <a:pt x="318" y="183"/>
                    </a:lnTo>
                    <a:lnTo>
                      <a:pt x="318" y="185"/>
                    </a:lnTo>
                    <a:lnTo>
                      <a:pt x="316" y="185"/>
                    </a:lnTo>
                    <a:lnTo>
                      <a:pt x="314" y="185"/>
                    </a:lnTo>
                    <a:lnTo>
                      <a:pt x="314" y="187"/>
                    </a:lnTo>
                    <a:lnTo>
                      <a:pt x="312" y="187"/>
                    </a:lnTo>
                    <a:lnTo>
                      <a:pt x="312" y="189"/>
                    </a:lnTo>
                    <a:lnTo>
                      <a:pt x="312" y="190"/>
                    </a:lnTo>
                    <a:lnTo>
                      <a:pt x="314" y="190"/>
                    </a:lnTo>
                    <a:lnTo>
                      <a:pt x="314" y="192"/>
                    </a:lnTo>
                    <a:lnTo>
                      <a:pt x="312" y="194"/>
                    </a:lnTo>
                    <a:lnTo>
                      <a:pt x="312" y="195"/>
                    </a:lnTo>
                    <a:lnTo>
                      <a:pt x="312" y="197"/>
                    </a:lnTo>
                    <a:lnTo>
                      <a:pt x="312" y="199"/>
                    </a:lnTo>
                    <a:lnTo>
                      <a:pt x="312" y="200"/>
                    </a:lnTo>
                    <a:lnTo>
                      <a:pt x="314" y="200"/>
                    </a:lnTo>
                    <a:lnTo>
                      <a:pt x="314" y="202"/>
                    </a:lnTo>
                    <a:lnTo>
                      <a:pt x="312" y="202"/>
                    </a:lnTo>
                    <a:lnTo>
                      <a:pt x="312" y="204"/>
                    </a:lnTo>
                    <a:lnTo>
                      <a:pt x="314" y="204"/>
                    </a:lnTo>
                    <a:lnTo>
                      <a:pt x="314" y="206"/>
                    </a:lnTo>
                    <a:lnTo>
                      <a:pt x="316" y="206"/>
                    </a:lnTo>
                    <a:lnTo>
                      <a:pt x="316" y="207"/>
                    </a:lnTo>
                    <a:lnTo>
                      <a:pt x="318" y="206"/>
                    </a:lnTo>
                    <a:lnTo>
                      <a:pt x="318" y="207"/>
                    </a:lnTo>
                    <a:lnTo>
                      <a:pt x="319" y="207"/>
                    </a:lnTo>
                    <a:lnTo>
                      <a:pt x="321" y="207"/>
                    </a:lnTo>
                    <a:lnTo>
                      <a:pt x="321" y="206"/>
                    </a:lnTo>
                    <a:lnTo>
                      <a:pt x="323" y="207"/>
                    </a:lnTo>
                    <a:lnTo>
                      <a:pt x="323" y="209"/>
                    </a:lnTo>
                    <a:lnTo>
                      <a:pt x="324" y="209"/>
                    </a:lnTo>
                    <a:lnTo>
                      <a:pt x="323" y="209"/>
                    </a:lnTo>
                    <a:lnTo>
                      <a:pt x="323" y="211"/>
                    </a:lnTo>
                    <a:lnTo>
                      <a:pt x="323" y="212"/>
                    </a:lnTo>
                    <a:lnTo>
                      <a:pt x="324" y="212"/>
                    </a:lnTo>
                    <a:lnTo>
                      <a:pt x="324" y="214"/>
                    </a:lnTo>
                    <a:lnTo>
                      <a:pt x="326" y="217"/>
                    </a:lnTo>
                    <a:lnTo>
                      <a:pt x="328" y="219"/>
                    </a:lnTo>
                    <a:lnTo>
                      <a:pt x="329" y="219"/>
                    </a:lnTo>
                    <a:lnTo>
                      <a:pt x="331" y="219"/>
                    </a:lnTo>
                    <a:lnTo>
                      <a:pt x="333" y="219"/>
                    </a:lnTo>
                    <a:lnTo>
                      <a:pt x="335" y="219"/>
                    </a:lnTo>
                    <a:lnTo>
                      <a:pt x="335" y="217"/>
                    </a:lnTo>
                    <a:lnTo>
                      <a:pt x="336" y="217"/>
                    </a:lnTo>
                    <a:lnTo>
                      <a:pt x="338" y="217"/>
                    </a:lnTo>
                    <a:lnTo>
                      <a:pt x="338" y="219"/>
                    </a:lnTo>
                    <a:lnTo>
                      <a:pt x="340" y="219"/>
                    </a:lnTo>
                    <a:lnTo>
                      <a:pt x="341" y="217"/>
                    </a:lnTo>
                    <a:lnTo>
                      <a:pt x="341" y="219"/>
                    </a:lnTo>
                    <a:lnTo>
                      <a:pt x="343" y="217"/>
                    </a:lnTo>
                    <a:lnTo>
                      <a:pt x="343" y="219"/>
                    </a:lnTo>
                    <a:lnTo>
                      <a:pt x="345" y="219"/>
                    </a:lnTo>
                    <a:lnTo>
                      <a:pt x="346" y="219"/>
                    </a:lnTo>
                    <a:lnTo>
                      <a:pt x="348" y="219"/>
                    </a:lnTo>
                    <a:lnTo>
                      <a:pt x="350" y="219"/>
                    </a:lnTo>
                    <a:lnTo>
                      <a:pt x="352" y="219"/>
                    </a:lnTo>
                    <a:lnTo>
                      <a:pt x="353" y="219"/>
                    </a:lnTo>
                    <a:lnTo>
                      <a:pt x="355" y="219"/>
                    </a:lnTo>
                    <a:lnTo>
                      <a:pt x="357" y="219"/>
                    </a:lnTo>
                    <a:lnTo>
                      <a:pt x="358" y="219"/>
                    </a:lnTo>
                    <a:lnTo>
                      <a:pt x="358" y="221"/>
                    </a:lnTo>
                    <a:lnTo>
                      <a:pt x="360" y="221"/>
                    </a:lnTo>
                    <a:lnTo>
                      <a:pt x="362" y="221"/>
                    </a:lnTo>
                    <a:lnTo>
                      <a:pt x="363" y="221"/>
                    </a:lnTo>
                    <a:lnTo>
                      <a:pt x="363" y="219"/>
                    </a:lnTo>
                    <a:lnTo>
                      <a:pt x="365" y="219"/>
                    </a:lnTo>
                    <a:lnTo>
                      <a:pt x="365" y="217"/>
                    </a:lnTo>
                    <a:lnTo>
                      <a:pt x="365" y="219"/>
                    </a:lnTo>
                    <a:lnTo>
                      <a:pt x="367" y="217"/>
                    </a:lnTo>
                    <a:lnTo>
                      <a:pt x="369" y="217"/>
                    </a:lnTo>
                    <a:lnTo>
                      <a:pt x="370" y="217"/>
                    </a:lnTo>
                    <a:lnTo>
                      <a:pt x="370" y="216"/>
                    </a:lnTo>
                    <a:lnTo>
                      <a:pt x="372" y="217"/>
                    </a:lnTo>
                    <a:lnTo>
                      <a:pt x="374" y="216"/>
                    </a:lnTo>
                    <a:lnTo>
                      <a:pt x="374" y="217"/>
                    </a:lnTo>
                    <a:lnTo>
                      <a:pt x="375" y="217"/>
                    </a:lnTo>
                    <a:lnTo>
                      <a:pt x="377" y="217"/>
                    </a:lnTo>
                    <a:lnTo>
                      <a:pt x="379" y="217"/>
                    </a:lnTo>
                    <a:lnTo>
                      <a:pt x="379" y="219"/>
                    </a:lnTo>
                    <a:lnTo>
                      <a:pt x="380" y="219"/>
                    </a:lnTo>
                    <a:lnTo>
                      <a:pt x="382" y="219"/>
                    </a:lnTo>
                    <a:lnTo>
                      <a:pt x="382" y="221"/>
                    </a:lnTo>
                    <a:lnTo>
                      <a:pt x="384" y="221"/>
                    </a:lnTo>
                    <a:lnTo>
                      <a:pt x="384" y="223"/>
                    </a:lnTo>
                    <a:lnTo>
                      <a:pt x="386" y="223"/>
                    </a:lnTo>
                    <a:lnTo>
                      <a:pt x="387" y="223"/>
                    </a:lnTo>
                    <a:lnTo>
                      <a:pt x="387" y="221"/>
                    </a:lnTo>
                    <a:lnTo>
                      <a:pt x="389" y="221"/>
                    </a:lnTo>
                    <a:lnTo>
                      <a:pt x="391" y="221"/>
                    </a:lnTo>
                    <a:lnTo>
                      <a:pt x="392" y="221"/>
                    </a:lnTo>
                    <a:lnTo>
                      <a:pt x="394" y="223"/>
                    </a:lnTo>
                    <a:lnTo>
                      <a:pt x="397" y="228"/>
                    </a:lnTo>
                    <a:lnTo>
                      <a:pt x="404" y="236"/>
                    </a:lnTo>
                    <a:lnTo>
                      <a:pt x="411" y="243"/>
                    </a:lnTo>
                    <a:lnTo>
                      <a:pt x="411" y="245"/>
                    </a:lnTo>
                    <a:lnTo>
                      <a:pt x="416" y="250"/>
                    </a:lnTo>
                    <a:lnTo>
                      <a:pt x="418" y="250"/>
                    </a:lnTo>
                    <a:lnTo>
                      <a:pt x="420" y="250"/>
                    </a:lnTo>
                    <a:lnTo>
                      <a:pt x="420" y="251"/>
                    </a:lnTo>
                    <a:lnTo>
                      <a:pt x="421" y="251"/>
                    </a:lnTo>
                    <a:lnTo>
                      <a:pt x="423" y="250"/>
                    </a:lnTo>
                    <a:lnTo>
                      <a:pt x="425" y="248"/>
                    </a:lnTo>
                    <a:lnTo>
                      <a:pt x="426" y="248"/>
                    </a:lnTo>
                    <a:lnTo>
                      <a:pt x="426" y="246"/>
                    </a:lnTo>
                    <a:lnTo>
                      <a:pt x="428" y="246"/>
                    </a:lnTo>
                    <a:lnTo>
                      <a:pt x="430" y="246"/>
                    </a:lnTo>
                    <a:lnTo>
                      <a:pt x="430" y="248"/>
                    </a:lnTo>
                    <a:lnTo>
                      <a:pt x="431" y="246"/>
                    </a:lnTo>
                    <a:lnTo>
                      <a:pt x="431" y="248"/>
                    </a:lnTo>
                    <a:lnTo>
                      <a:pt x="433" y="248"/>
                    </a:lnTo>
                    <a:lnTo>
                      <a:pt x="435" y="248"/>
                    </a:lnTo>
                    <a:lnTo>
                      <a:pt x="437" y="248"/>
                    </a:lnTo>
                    <a:lnTo>
                      <a:pt x="438" y="248"/>
                    </a:lnTo>
                    <a:lnTo>
                      <a:pt x="440" y="248"/>
                    </a:lnTo>
                    <a:lnTo>
                      <a:pt x="440" y="250"/>
                    </a:lnTo>
                    <a:lnTo>
                      <a:pt x="442" y="250"/>
                    </a:lnTo>
                    <a:lnTo>
                      <a:pt x="443" y="248"/>
                    </a:lnTo>
                    <a:lnTo>
                      <a:pt x="445" y="248"/>
                    </a:lnTo>
                    <a:lnTo>
                      <a:pt x="447" y="248"/>
                    </a:lnTo>
                    <a:lnTo>
                      <a:pt x="448" y="248"/>
                    </a:lnTo>
                    <a:lnTo>
                      <a:pt x="450" y="248"/>
                    </a:lnTo>
                    <a:lnTo>
                      <a:pt x="452" y="248"/>
                    </a:lnTo>
                    <a:lnTo>
                      <a:pt x="454" y="248"/>
                    </a:lnTo>
                    <a:lnTo>
                      <a:pt x="455" y="248"/>
                    </a:lnTo>
                    <a:lnTo>
                      <a:pt x="455" y="246"/>
                    </a:lnTo>
                    <a:lnTo>
                      <a:pt x="457" y="246"/>
                    </a:lnTo>
                    <a:lnTo>
                      <a:pt x="459" y="246"/>
                    </a:lnTo>
                    <a:lnTo>
                      <a:pt x="460" y="246"/>
                    </a:lnTo>
                    <a:lnTo>
                      <a:pt x="462" y="246"/>
                    </a:lnTo>
                    <a:lnTo>
                      <a:pt x="464" y="246"/>
                    </a:lnTo>
                    <a:lnTo>
                      <a:pt x="465" y="246"/>
                    </a:lnTo>
                    <a:lnTo>
                      <a:pt x="467" y="245"/>
                    </a:lnTo>
                    <a:lnTo>
                      <a:pt x="469" y="243"/>
                    </a:lnTo>
                    <a:lnTo>
                      <a:pt x="471" y="243"/>
                    </a:lnTo>
                    <a:lnTo>
                      <a:pt x="472" y="243"/>
                    </a:lnTo>
                    <a:lnTo>
                      <a:pt x="472" y="245"/>
                    </a:lnTo>
                    <a:lnTo>
                      <a:pt x="472" y="243"/>
                    </a:lnTo>
                    <a:lnTo>
                      <a:pt x="474" y="243"/>
                    </a:lnTo>
                    <a:lnTo>
                      <a:pt x="474" y="245"/>
                    </a:lnTo>
                    <a:lnTo>
                      <a:pt x="476" y="245"/>
                    </a:lnTo>
                    <a:lnTo>
                      <a:pt x="477" y="245"/>
                    </a:lnTo>
                    <a:lnTo>
                      <a:pt x="479" y="245"/>
                    </a:lnTo>
                    <a:lnTo>
                      <a:pt x="481" y="246"/>
                    </a:lnTo>
                    <a:lnTo>
                      <a:pt x="482" y="246"/>
                    </a:lnTo>
                    <a:lnTo>
                      <a:pt x="482" y="248"/>
                    </a:lnTo>
                    <a:lnTo>
                      <a:pt x="481" y="248"/>
                    </a:lnTo>
                    <a:lnTo>
                      <a:pt x="481" y="250"/>
                    </a:lnTo>
                    <a:lnTo>
                      <a:pt x="482" y="251"/>
                    </a:lnTo>
                    <a:lnTo>
                      <a:pt x="482" y="253"/>
                    </a:lnTo>
                    <a:lnTo>
                      <a:pt x="484" y="253"/>
                    </a:lnTo>
                    <a:lnTo>
                      <a:pt x="484" y="255"/>
                    </a:lnTo>
                    <a:lnTo>
                      <a:pt x="482" y="255"/>
                    </a:lnTo>
                    <a:lnTo>
                      <a:pt x="481" y="257"/>
                    </a:lnTo>
                    <a:lnTo>
                      <a:pt x="479" y="257"/>
                    </a:lnTo>
                    <a:lnTo>
                      <a:pt x="479" y="258"/>
                    </a:lnTo>
                    <a:lnTo>
                      <a:pt x="477" y="258"/>
                    </a:lnTo>
                    <a:lnTo>
                      <a:pt x="477" y="260"/>
                    </a:lnTo>
                    <a:lnTo>
                      <a:pt x="477" y="262"/>
                    </a:lnTo>
                    <a:lnTo>
                      <a:pt x="476" y="263"/>
                    </a:lnTo>
                    <a:lnTo>
                      <a:pt x="476" y="265"/>
                    </a:lnTo>
                    <a:lnTo>
                      <a:pt x="476" y="267"/>
                    </a:lnTo>
                    <a:lnTo>
                      <a:pt x="477" y="267"/>
                    </a:lnTo>
                    <a:lnTo>
                      <a:pt x="477" y="268"/>
                    </a:lnTo>
                    <a:lnTo>
                      <a:pt x="477" y="270"/>
                    </a:lnTo>
                    <a:lnTo>
                      <a:pt x="476" y="270"/>
                    </a:lnTo>
                    <a:lnTo>
                      <a:pt x="476" y="272"/>
                    </a:lnTo>
                    <a:lnTo>
                      <a:pt x="474" y="274"/>
                    </a:lnTo>
                    <a:lnTo>
                      <a:pt x="472" y="274"/>
                    </a:lnTo>
                    <a:lnTo>
                      <a:pt x="472" y="275"/>
                    </a:lnTo>
                    <a:lnTo>
                      <a:pt x="471" y="275"/>
                    </a:lnTo>
                    <a:lnTo>
                      <a:pt x="471" y="277"/>
                    </a:lnTo>
                    <a:lnTo>
                      <a:pt x="469" y="277"/>
                    </a:lnTo>
                    <a:lnTo>
                      <a:pt x="469" y="279"/>
                    </a:lnTo>
                    <a:lnTo>
                      <a:pt x="471" y="279"/>
                    </a:lnTo>
                    <a:lnTo>
                      <a:pt x="469" y="280"/>
                    </a:lnTo>
                    <a:lnTo>
                      <a:pt x="469" y="282"/>
                    </a:lnTo>
                    <a:lnTo>
                      <a:pt x="469" y="284"/>
                    </a:lnTo>
                    <a:lnTo>
                      <a:pt x="471" y="285"/>
                    </a:lnTo>
                    <a:lnTo>
                      <a:pt x="469" y="285"/>
                    </a:lnTo>
                    <a:lnTo>
                      <a:pt x="471" y="285"/>
                    </a:lnTo>
                    <a:lnTo>
                      <a:pt x="471" y="287"/>
                    </a:lnTo>
                    <a:lnTo>
                      <a:pt x="471" y="289"/>
                    </a:lnTo>
                    <a:lnTo>
                      <a:pt x="469" y="289"/>
                    </a:lnTo>
                    <a:lnTo>
                      <a:pt x="469" y="291"/>
                    </a:lnTo>
                    <a:lnTo>
                      <a:pt x="469" y="292"/>
                    </a:lnTo>
                    <a:lnTo>
                      <a:pt x="469" y="294"/>
                    </a:lnTo>
                    <a:lnTo>
                      <a:pt x="469" y="296"/>
                    </a:lnTo>
                    <a:lnTo>
                      <a:pt x="471" y="296"/>
                    </a:lnTo>
                    <a:lnTo>
                      <a:pt x="471" y="297"/>
                    </a:lnTo>
                    <a:lnTo>
                      <a:pt x="469" y="297"/>
                    </a:lnTo>
                    <a:lnTo>
                      <a:pt x="469" y="299"/>
                    </a:lnTo>
                    <a:lnTo>
                      <a:pt x="469" y="301"/>
                    </a:lnTo>
                    <a:lnTo>
                      <a:pt x="469" y="303"/>
                    </a:lnTo>
                    <a:lnTo>
                      <a:pt x="469" y="304"/>
                    </a:lnTo>
                    <a:lnTo>
                      <a:pt x="471" y="304"/>
                    </a:lnTo>
                    <a:lnTo>
                      <a:pt x="471" y="306"/>
                    </a:lnTo>
                    <a:lnTo>
                      <a:pt x="471" y="308"/>
                    </a:lnTo>
                    <a:lnTo>
                      <a:pt x="472" y="308"/>
                    </a:lnTo>
                    <a:lnTo>
                      <a:pt x="471" y="308"/>
                    </a:lnTo>
                    <a:lnTo>
                      <a:pt x="471" y="309"/>
                    </a:lnTo>
                    <a:lnTo>
                      <a:pt x="472" y="309"/>
                    </a:lnTo>
                    <a:lnTo>
                      <a:pt x="472" y="311"/>
                    </a:lnTo>
                    <a:lnTo>
                      <a:pt x="471" y="309"/>
                    </a:lnTo>
                    <a:lnTo>
                      <a:pt x="471" y="311"/>
                    </a:lnTo>
                    <a:lnTo>
                      <a:pt x="471" y="313"/>
                    </a:lnTo>
                    <a:lnTo>
                      <a:pt x="471" y="314"/>
                    </a:lnTo>
                    <a:lnTo>
                      <a:pt x="471" y="316"/>
                    </a:lnTo>
                    <a:lnTo>
                      <a:pt x="472" y="316"/>
                    </a:lnTo>
                    <a:lnTo>
                      <a:pt x="472" y="318"/>
                    </a:lnTo>
                    <a:lnTo>
                      <a:pt x="474" y="320"/>
                    </a:lnTo>
                    <a:lnTo>
                      <a:pt x="474" y="321"/>
                    </a:lnTo>
                    <a:lnTo>
                      <a:pt x="474" y="323"/>
                    </a:lnTo>
                    <a:lnTo>
                      <a:pt x="474" y="325"/>
                    </a:lnTo>
                    <a:lnTo>
                      <a:pt x="476" y="325"/>
                    </a:lnTo>
                    <a:lnTo>
                      <a:pt x="476" y="326"/>
                    </a:lnTo>
                    <a:lnTo>
                      <a:pt x="476" y="328"/>
                    </a:lnTo>
                    <a:lnTo>
                      <a:pt x="476" y="330"/>
                    </a:lnTo>
                    <a:lnTo>
                      <a:pt x="477" y="330"/>
                    </a:lnTo>
                    <a:lnTo>
                      <a:pt x="479" y="330"/>
                    </a:lnTo>
                    <a:lnTo>
                      <a:pt x="481" y="330"/>
                    </a:lnTo>
                    <a:lnTo>
                      <a:pt x="481" y="331"/>
                    </a:lnTo>
                    <a:lnTo>
                      <a:pt x="482" y="333"/>
                    </a:lnTo>
                    <a:lnTo>
                      <a:pt x="482" y="335"/>
                    </a:lnTo>
                    <a:lnTo>
                      <a:pt x="482" y="337"/>
                    </a:lnTo>
                    <a:lnTo>
                      <a:pt x="484" y="337"/>
                    </a:lnTo>
                    <a:lnTo>
                      <a:pt x="484" y="338"/>
                    </a:lnTo>
                    <a:lnTo>
                      <a:pt x="484" y="340"/>
                    </a:lnTo>
                    <a:lnTo>
                      <a:pt x="486" y="340"/>
                    </a:lnTo>
                    <a:lnTo>
                      <a:pt x="486" y="342"/>
                    </a:lnTo>
                    <a:lnTo>
                      <a:pt x="488" y="342"/>
                    </a:lnTo>
                    <a:lnTo>
                      <a:pt x="488" y="343"/>
                    </a:lnTo>
                    <a:lnTo>
                      <a:pt x="486" y="343"/>
                    </a:lnTo>
                    <a:lnTo>
                      <a:pt x="486" y="345"/>
                    </a:lnTo>
                    <a:lnTo>
                      <a:pt x="484" y="345"/>
                    </a:lnTo>
                    <a:lnTo>
                      <a:pt x="484" y="347"/>
                    </a:lnTo>
                    <a:lnTo>
                      <a:pt x="482" y="347"/>
                    </a:lnTo>
                    <a:lnTo>
                      <a:pt x="481" y="350"/>
                    </a:lnTo>
                    <a:lnTo>
                      <a:pt x="477" y="352"/>
                    </a:lnTo>
                    <a:lnTo>
                      <a:pt x="474" y="355"/>
                    </a:lnTo>
                    <a:lnTo>
                      <a:pt x="471" y="359"/>
                    </a:lnTo>
                    <a:lnTo>
                      <a:pt x="469" y="360"/>
                    </a:lnTo>
                    <a:lnTo>
                      <a:pt x="469" y="362"/>
                    </a:lnTo>
                    <a:lnTo>
                      <a:pt x="471" y="360"/>
                    </a:lnTo>
                    <a:lnTo>
                      <a:pt x="471" y="362"/>
                    </a:lnTo>
                    <a:lnTo>
                      <a:pt x="472" y="360"/>
                    </a:lnTo>
                    <a:lnTo>
                      <a:pt x="472" y="362"/>
                    </a:lnTo>
                    <a:lnTo>
                      <a:pt x="474" y="362"/>
                    </a:lnTo>
                    <a:lnTo>
                      <a:pt x="476" y="362"/>
                    </a:lnTo>
                    <a:lnTo>
                      <a:pt x="477" y="362"/>
                    </a:lnTo>
                    <a:lnTo>
                      <a:pt x="477" y="364"/>
                    </a:lnTo>
                    <a:lnTo>
                      <a:pt x="479" y="365"/>
                    </a:lnTo>
                    <a:lnTo>
                      <a:pt x="479" y="367"/>
                    </a:lnTo>
                    <a:lnTo>
                      <a:pt x="481" y="367"/>
                    </a:lnTo>
                    <a:lnTo>
                      <a:pt x="482" y="369"/>
                    </a:lnTo>
                    <a:lnTo>
                      <a:pt x="484" y="369"/>
                    </a:lnTo>
                    <a:lnTo>
                      <a:pt x="484" y="371"/>
                    </a:lnTo>
                    <a:lnTo>
                      <a:pt x="486" y="371"/>
                    </a:lnTo>
                    <a:lnTo>
                      <a:pt x="486" y="372"/>
                    </a:lnTo>
                    <a:lnTo>
                      <a:pt x="488" y="374"/>
                    </a:lnTo>
                    <a:lnTo>
                      <a:pt x="489" y="374"/>
                    </a:lnTo>
                    <a:lnTo>
                      <a:pt x="489" y="376"/>
                    </a:lnTo>
                    <a:lnTo>
                      <a:pt x="491" y="376"/>
                    </a:lnTo>
                    <a:lnTo>
                      <a:pt x="491" y="377"/>
                    </a:lnTo>
                    <a:lnTo>
                      <a:pt x="491" y="379"/>
                    </a:lnTo>
                    <a:lnTo>
                      <a:pt x="491" y="381"/>
                    </a:lnTo>
                    <a:lnTo>
                      <a:pt x="489" y="381"/>
                    </a:lnTo>
                    <a:lnTo>
                      <a:pt x="491" y="381"/>
                    </a:lnTo>
                    <a:lnTo>
                      <a:pt x="491" y="382"/>
                    </a:lnTo>
                    <a:lnTo>
                      <a:pt x="491" y="384"/>
                    </a:lnTo>
                    <a:lnTo>
                      <a:pt x="493" y="384"/>
                    </a:lnTo>
                    <a:lnTo>
                      <a:pt x="493" y="386"/>
                    </a:lnTo>
                    <a:lnTo>
                      <a:pt x="493" y="384"/>
                    </a:lnTo>
                    <a:lnTo>
                      <a:pt x="494" y="386"/>
                    </a:lnTo>
                    <a:lnTo>
                      <a:pt x="494" y="388"/>
                    </a:lnTo>
                    <a:lnTo>
                      <a:pt x="494" y="389"/>
                    </a:lnTo>
                    <a:lnTo>
                      <a:pt x="493" y="389"/>
                    </a:lnTo>
                    <a:lnTo>
                      <a:pt x="494" y="391"/>
                    </a:lnTo>
                    <a:lnTo>
                      <a:pt x="496" y="393"/>
                    </a:lnTo>
                    <a:lnTo>
                      <a:pt x="496" y="394"/>
                    </a:lnTo>
                    <a:lnTo>
                      <a:pt x="496" y="396"/>
                    </a:lnTo>
                    <a:lnTo>
                      <a:pt x="496" y="398"/>
                    </a:lnTo>
                    <a:lnTo>
                      <a:pt x="498" y="398"/>
                    </a:lnTo>
                    <a:lnTo>
                      <a:pt x="498" y="399"/>
                    </a:lnTo>
                    <a:lnTo>
                      <a:pt x="498" y="401"/>
                    </a:lnTo>
                    <a:lnTo>
                      <a:pt x="499" y="401"/>
                    </a:lnTo>
                    <a:lnTo>
                      <a:pt x="499" y="403"/>
                    </a:lnTo>
                    <a:lnTo>
                      <a:pt x="499" y="405"/>
                    </a:lnTo>
                    <a:lnTo>
                      <a:pt x="499" y="406"/>
                    </a:lnTo>
                    <a:lnTo>
                      <a:pt x="501" y="406"/>
                    </a:lnTo>
                    <a:lnTo>
                      <a:pt x="501" y="408"/>
                    </a:lnTo>
                    <a:lnTo>
                      <a:pt x="501" y="410"/>
                    </a:lnTo>
                    <a:lnTo>
                      <a:pt x="503" y="410"/>
                    </a:lnTo>
                    <a:lnTo>
                      <a:pt x="503" y="411"/>
                    </a:lnTo>
                    <a:lnTo>
                      <a:pt x="503" y="413"/>
                    </a:lnTo>
                    <a:lnTo>
                      <a:pt x="501" y="413"/>
                    </a:lnTo>
                    <a:lnTo>
                      <a:pt x="501" y="415"/>
                    </a:lnTo>
                    <a:lnTo>
                      <a:pt x="503" y="415"/>
                    </a:lnTo>
                    <a:lnTo>
                      <a:pt x="501" y="416"/>
                    </a:lnTo>
                    <a:lnTo>
                      <a:pt x="496" y="416"/>
                    </a:lnTo>
                    <a:lnTo>
                      <a:pt x="494" y="418"/>
                    </a:lnTo>
                    <a:lnTo>
                      <a:pt x="494" y="416"/>
                    </a:lnTo>
                    <a:lnTo>
                      <a:pt x="494" y="415"/>
                    </a:lnTo>
                    <a:lnTo>
                      <a:pt x="494" y="413"/>
                    </a:lnTo>
                    <a:lnTo>
                      <a:pt x="493" y="413"/>
                    </a:lnTo>
                    <a:lnTo>
                      <a:pt x="493" y="411"/>
                    </a:lnTo>
                    <a:lnTo>
                      <a:pt x="494" y="411"/>
                    </a:lnTo>
                    <a:lnTo>
                      <a:pt x="494" y="410"/>
                    </a:lnTo>
                    <a:lnTo>
                      <a:pt x="494" y="408"/>
                    </a:lnTo>
                    <a:lnTo>
                      <a:pt x="494" y="406"/>
                    </a:lnTo>
                    <a:lnTo>
                      <a:pt x="493" y="406"/>
                    </a:lnTo>
                    <a:lnTo>
                      <a:pt x="493" y="405"/>
                    </a:lnTo>
                    <a:lnTo>
                      <a:pt x="494" y="403"/>
                    </a:lnTo>
                    <a:lnTo>
                      <a:pt x="493" y="403"/>
                    </a:lnTo>
                    <a:lnTo>
                      <a:pt x="493" y="401"/>
                    </a:lnTo>
                    <a:lnTo>
                      <a:pt x="493" y="399"/>
                    </a:lnTo>
                    <a:lnTo>
                      <a:pt x="493" y="398"/>
                    </a:lnTo>
                    <a:lnTo>
                      <a:pt x="493" y="396"/>
                    </a:lnTo>
                    <a:lnTo>
                      <a:pt x="493" y="394"/>
                    </a:lnTo>
                    <a:lnTo>
                      <a:pt x="491" y="394"/>
                    </a:lnTo>
                    <a:lnTo>
                      <a:pt x="489" y="394"/>
                    </a:lnTo>
                    <a:lnTo>
                      <a:pt x="488" y="393"/>
                    </a:lnTo>
                    <a:lnTo>
                      <a:pt x="488" y="391"/>
                    </a:lnTo>
                    <a:lnTo>
                      <a:pt x="486" y="391"/>
                    </a:lnTo>
                    <a:lnTo>
                      <a:pt x="486" y="389"/>
                    </a:lnTo>
                    <a:lnTo>
                      <a:pt x="486" y="388"/>
                    </a:lnTo>
                    <a:lnTo>
                      <a:pt x="486" y="386"/>
                    </a:lnTo>
                    <a:lnTo>
                      <a:pt x="486" y="384"/>
                    </a:lnTo>
                    <a:lnTo>
                      <a:pt x="484" y="384"/>
                    </a:lnTo>
                    <a:lnTo>
                      <a:pt x="484" y="382"/>
                    </a:lnTo>
                    <a:lnTo>
                      <a:pt x="486" y="382"/>
                    </a:lnTo>
                    <a:lnTo>
                      <a:pt x="484" y="382"/>
                    </a:lnTo>
                    <a:lnTo>
                      <a:pt x="484" y="381"/>
                    </a:lnTo>
                    <a:lnTo>
                      <a:pt x="482" y="382"/>
                    </a:lnTo>
                    <a:lnTo>
                      <a:pt x="482" y="384"/>
                    </a:lnTo>
                    <a:lnTo>
                      <a:pt x="481" y="384"/>
                    </a:lnTo>
                    <a:lnTo>
                      <a:pt x="481" y="386"/>
                    </a:lnTo>
                    <a:lnTo>
                      <a:pt x="479" y="386"/>
                    </a:lnTo>
                    <a:lnTo>
                      <a:pt x="479" y="388"/>
                    </a:lnTo>
                    <a:lnTo>
                      <a:pt x="477" y="388"/>
                    </a:lnTo>
                    <a:lnTo>
                      <a:pt x="476" y="388"/>
                    </a:lnTo>
                    <a:lnTo>
                      <a:pt x="474" y="388"/>
                    </a:lnTo>
                    <a:lnTo>
                      <a:pt x="472" y="388"/>
                    </a:lnTo>
                    <a:lnTo>
                      <a:pt x="472" y="389"/>
                    </a:lnTo>
                    <a:lnTo>
                      <a:pt x="471" y="389"/>
                    </a:lnTo>
                    <a:lnTo>
                      <a:pt x="471" y="391"/>
                    </a:lnTo>
                    <a:lnTo>
                      <a:pt x="469" y="391"/>
                    </a:lnTo>
                    <a:lnTo>
                      <a:pt x="469" y="393"/>
                    </a:lnTo>
                    <a:lnTo>
                      <a:pt x="467" y="394"/>
                    </a:lnTo>
                    <a:lnTo>
                      <a:pt x="467" y="396"/>
                    </a:lnTo>
                    <a:lnTo>
                      <a:pt x="465" y="396"/>
                    </a:lnTo>
                    <a:lnTo>
                      <a:pt x="465" y="394"/>
                    </a:lnTo>
                    <a:lnTo>
                      <a:pt x="464" y="394"/>
                    </a:lnTo>
                    <a:lnTo>
                      <a:pt x="464" y="393"/>
                    </a:lnTo>
                    <a:lnTo>
                      <a:pt x="462" y="393"/>
                    </a:lnTo>
                    <a:lnTo>
                      <a:pt x="460" y="393"/>
                    </a:lnTo>
                    <a:lnTo>
                      <a:pt x="460" y="391"/>
                    </a:lnTo>
                    <a:lnTo>
                      <a:pt x="459" y="391"/>
                    </a:lnTo>
                    <a:lnTo>
                      <a:pt x="459" y="389"/>
                    </a:lnTo>
                    <a:lnTo>
                      <a:pt x="459" y="391"/>
                    </a:lnTo>
                    <a:lnTo>
                      <a:pt x="457" y="391"/>
                    </a:lnTo>
                    <a:lnTo>
                      <a:pt x="457" y="389"/>
                    </a:lnTo>
                    <a:lnTo>
                      <a:pt x="457" y="388"/>
                    </a:lnTo>
                    <a:lnTo>
                      <a:pt x="457" y="389"/>
                    </a:lnTo>
                    <a:lnTo>
                      <a:pt x="457" y="391"/>
                    </a:lnTo>
                    <a:lnTo>
                      <a:pt x="455" y="391"/>
                    </a:lnTo>
                    <a:lnTo>
                      <a:pt x="455" y="393"/>
                    </a:lnTo>
                    <a:lnTo>
                      <a:pt x="455" y="394"/>
                    </a:lnTo>
                    <a:lnTo>
                      <a:pt x="454" y="394"/>
                    </a:lnTo>
                    <a:lnTo>
                      <a:pt x="455" y="394"/>
                    </a:lnTo>
                    <a:lnTo>
                      <a:pt x="454" y="394"/>
                    </a:lnTo>
                    <a:lnTo>
                      <a:pt x="455" y="396"/>
                    </a:lnTo>
                    <a:lnTo>
                      <a:pt x="455" y="394"/>
                    </a:lnTo>
                    <a:lnTo>
                      <a:pt x="455" y="396"/>
                    </a:lnTo>
                    <a:lnTo>
                      <a:pt x="455" y="394"/>
                    </a:lnTo>
                    <a:lnTo>
                      <a:pt x="455" y="396"/>
                    </a:lnTo>
                    <a:lnTo>
                      <a:pt x="455" y="398"/>
                    </a:lnTo>
                    <a:lnTo>
                      <a:pt x="455" y="396"/>
                    </a:lnTo>
                    <a:lnTo>
                      <a:pt x="457" y="398"/>
                    </a:lnTo>
                    <a:lnTo>
                      <a:pt x="457" y="396"/>
                    </a:lnTo>
                    <a:lnTo>
                      <a:pt x="457" y="398"/>
                    </a:lnTo>
                    <a:lnTo>
                      <a:pt x="459" y="398"/>
                    </a:lnTo>
                    <a:lnTo>
                      <a:pt x="445" y="398"/>
                    </a:lnTo>
                    <a:lnTo>
                      <a:pt x="435" y="398"/>
                    </a:lnTo>
                    <a:lnTo>
                      <a:pt x="430" y="398"/>
                    </a:lnTo>
                    <a:lnTo>
                      <a:pt x="425" y="398"/>
                    </a:lnTo>
                    <a:lnTo>
                      <a:pt x="420" y="398"/>
                    </a:lnTo>
                    <a:lnTo>
                      <a:pt x="416" y="398"/>
                    </a:lnTo>
                    <a:lnTo>
                      <a:pt x="414" y="398"/>
                    </a:lnTo>
                    <a:lnTo>
                      <a:pt x="413" y="398"/>
                    </a:lnTo>
                    <a:lnTo>
                      <a:pt x="413" y="396"/>
                    </a:lnTo>
                    <a:lnTo>
                      <a:pt x="411" y="398"/>
                    </a:lnTo>
                    <a:lnTo>
                      <a:pt x="409" y="398"/>
                    </a:lnTo>
                    <a:lnTo>
                      <a:pt x="409" y="399"/>
                    </a:lnTo>
                    <a:lnTo>
                      <a:pt x="408" y="398"/>
                    </a:lnTo>
                    <a:lnTo>
                      <a:pt x="408" y="399"/>
                    </a:lnTo>
                    <a:lnTo>
                      <a:pt x="408" y="398"/>
                    </a:lnTo>
                    <a:lnTo>
                      <a:pt x="408" y="399"/>
                    </a:lnTo>
                    <a:lnTo>
                      <a:pt x="408" y="398"/>
                    </a:lnTo>
                    <a:lnTo>
                      <a:pt x="406" y="398"/>
                    </a:lnTo>
                    <a:lnTo>
                      <a:pt x="404" y="398"/>
                    </a:lnTo>
                    <a:lnTo>
                      <a:pt x="404" y="399"/>
                    </a:lnTo>
                    <a:lnTo>
                      <a:pt x="403" y="399"/>
                    </a:lnTo>
                    <a:lnTo>
                      <a:pt x="401" y="399"/>
                    </a:lnTo>
                    <a:lnTo>
                      <a:pt x="401" y="401"/>
                    </a:lnTo>
                    <a:lnTo>
                      <a:pt x="401" y="405"/>
                    </a:lnTo>
                    <a:lnTo>
                      <a:pt x="401" y="408"/>
                    </a:lnTo>
                    <a:lnTo>
                      <a:pt x="401" y="411"/>
                    </a:lnTo>
                    <a:lnTo>
                      <a:pt x="401" y="413"/>
                    </a:lnTo>
                    <a:lnTo>
                      <a:pt x="401" y="415"/>
                    </a:lnTo>
                    <a:lnTo>
                      <a:pt x="401" y="418"/>
                    </a:lnTo>
                    <a:lnTo>
                      <a:pt x="401" y="420"/>
                    </a:lnTo>
                    <a:lnTo>
                      <a:pt x="403" y="420"/>
                    </a:lnTo>
                    <a:lnTo>
                      <a:pt x="403" y="422"/>
                    </a:lnTo>
                    <a:lnTo>
                      <a:pt x="403" y="420"/>
                    </a:lnTo>
                    <a:lnTo>
                      <a:pt x="404" y="420"/>
                    </a:lnTo>
                    <a:lnTo>
                      <a:pt x="406" y="420"/>
                    </a:lnTo>
                    <a:lnTo>
                      <a:pt x="408" y="420"/>
                    </a:lnTo>
                    <a:lnTo>
                      <a:pt x="409" y="420"/>
                    </a:lnTo>
                    <a:lnTo>
                      <a:pt x="411" y="420"/>
                    </a:lnTo>
                    <a:lnTo>
                      <a:pt x="413" y="420"/>
                    </a:lnTo>
                    <a:lnTo>
                      <a:pt x="414" y="420"/>
                    </a:lnTo>
                    <a:lnTo>
                      <a:pt x="416" y="422"/>
                    </a:lnTo>
                    <a:lnTo>
                      <a:pt x="418" y="420"/>
                    </a:lnTo>
                    <a:lnTo>
                      <a:pt x="420" y="420"/>
                    </a:lnTo>
                    <a:lnTo>
                      <a:pt x="420" y="422"/>
                    </a:lnTo>
                    <a:lnTo>
                      <a:pt x="421" y="422"/>
                    </a:lnTo>
                    <a:lnTo>
                      <a:pt x="423" y="422"/>
                    </a:lnTo>
                    <a:lnTo>
                      <a:pt x="423" y="423"/>
                    </a:lnTo>
                    <a:lnTo>
                      <a:pt x="423" y="425"/>
                    </a:lnTo>
                    <a:lnTo>
                      <a:pt x="425" y="425"/>
                    </a:lnTo>
                    <a:lnTo>
                      <a:pt x="423" y="425"/>
                    </a:lnTo>
                    <a:lnTo>
                      <a:pt x="423" y="427"/>
                    </a:lnTo>
                    <a:lnTo>
                      <a:pt x="425" y="427"/>
                    </a:lnTo>
                    <a:lnTo>
                      <a:pt x="425" y="428"/>
                    </a:lnTo>
                    <a:lnTo>
                      <a:pt x="425" y="430"/>
                    </a:lnTo>
                    <a:lnTo>
                      <a:pt x="425" y="432"/>
                    </a:lnTo>
                    <a:lnTo>
                      <a:pt x="423" y="432"/>
                    </a:lnTo>
                    <a:lnTo>
                      <a:pt x="425" y="433"/>
                    </a:lnTo>
                    <a:lnTo>
                      <a:pt x="426" y="433"/>
                    </a:lnTo>
                    <a:lnTo>
                      <a:pt x="426" y="435"/>
                    </a:lnTo>
                    <a:lnTo>
                      <a:pt x="425" y="435"/>
                    </a:lnTo>
                    <a:lnTo>
                      <a:pt x="423" y="435"/>
                    </a:lnTo>
                    <a:lnTo>
                      <a:pt x="423" y="437"/>
                    </a:lnTo>
                    <a:lnTo>
                      <a:pt x="421" y="437"/>
                    </a:lnTo>
                    <a:lnTo>
                      <a:pt x="420" y="437"/>
                    </a:lnTo>
                    <a:lnTo>
                      <a:pt x="420" y="435"/>
                    </a:lnTo>
                    <a:lnTo>
                      <a:pt x="418" y="435"/>
                    </a:lnTo>
                    <a:lnTo>
                      <a:pt x="418" y="437"/>
                    </a:lnTo>
                    <a:lnTo>
                      <a:pt x="418" y="435"/>
                    </a:lnTo>
                    <a:lnTo>
                      <a:pt x="416" y="435"/>
                    </a:lnTo>
                    <a:lnTo>
                      <a:pt x="416" y="433"/>
                    </a:lnTo>
                    <a:lnTo>
                      <a:pt x="414" y="432"/>
                    </a:lnTo>
                    <a:lnTo>
                      <a:pt x="413" y="432"/>
                    </a:lnTo>
                    <a:lnTo>
                      <a:pt x="413" y="433"/>
                    </a:lnTo>
                    <a:lnTo>
                      <a:pt x="411" y="433"/>
                    </a:lnTo>
                    <a:lnTo>
                      <a:pt x="411" y="435"/>
                    </a:lnTo>
                    <a:lnTo>
                      <a:pt x="409" y="435"/>
                    </a:lnTo>
                    <a:lnTo>
                      <a:pt x="409" y="437"/>
                    </a:lnTo>
                    <a:lnTo>
                      <a:pt x="409" y="435"/>
                    </a:lnTo>
                    <a:lnTo>
                      <a:pt x="408" y="435"/>
                    </a:lnTo>
                    <a:lnTo>
                      <a:pt x="408" y="433"/>
                    </a:lnTo>
                    <a:lnTo>
                      <a:pt x="406" y="435"/>
                    </a:lnTo>
                    <a:lnTo>
                      <a:pt x="406" y="437"/>
                    </a:lnTo>
                    <a:lnTo>
                      <a:pt x="404" y="435"/>
                    </a:lnTo>
                    <a:lnTo>
                      <a:pt x="404" y="437"/>
                    </a:lnTo>
                    <a:lnTo>
                      <a:pt x="403" y="437"/>
                    </a:lnTo>
                    <a:lnTo>
                      <a:pt x="401" y="437"/>
                    </a:lnTo>
                    <a:lnTo>
                      <a:pt x="399" y="437"/>
                    </a:lnTo>
                    <a:lnTo>
                      <a:pt x="399" y="439"/>
                    </a:lnTo>
                    <a:lnTo>
                      <a:pt x="397" y="439"/>
                    </a:lnTo>
                    <a:lnTo>
                      <a:pt x="397" y="437"/>
                    </a:lnTo>
                    <a:lnTo>
                      <a:pt x="396" y="437"/>
                    </a:lnTo>
                    <a:lnTo>
                      <a:pt x="396" y="439"/>
                    </a:lnTo>
                    <a:lnTo>
                      <a:pt x="394" y="439"/>
                    </a:lnTo>
                    <a:lnTo>
                      <a:pt x="394" y="440"/>
                    </a:lnTo>
                    <a:lnTo>
                      <a:pt x="394" y="444"/>
                    </a:lnTo>
                    <a:lnTo>
                      <a:pt x="394" y="445"/>
                    </a:lnTo>
                    <a:lnTo>
                      <a:pt x="394" y="447"/>
                    </a:lnTo>
                    <a:lnTo>
                      <a:pt x="394" y="449"/>
                    </a:lnTo>
                    <a:lnTo>
                      <a:pt x="394" y="451"/>
                    </a:lnTo>
                    <a:lnTo>
                      <a:pt x="394" y="454"/>
                    </a:lnTo>
                    <a:lnTo>
                      <a:pt x="394" y="457"/>
                    </a:lnTo>
                    <a:lnTo>
                      <a:pt x="394" y="461"/>
                    </a:lnTo>
                    <a:lnTo>
                      <a:pt x="396" y="461"/>
                    </a:lnTo>
                    <a:lnTo>
                      <a:pt x="396" y="462"/>
                    </a:lnTo>
                    <a:lnTo>
                      <a:pt x="396" y="464"/>
                    </a:lnTo>
                    <a:lnTo>
                      <a:pt x="397" y="466"/>
                    </a:lnTo>
                    <a:lnTo>
                      <a:pt x="397" y="468"/>
                    </a:lnTo>
                    <a:lnTo>
                      <a:pt x="399" y="468"/>
                    </a:lnTo>
                    <a:lnTo>
                      <a:pt x="399" y="469"/>
                    </a:lnTo>
                    <a:lnTo>
                      <a:pt x="401" y="468"/>
                    </a:lnTo>
                    <a:lnTo>
                      <a:pt x="403" y="469"/>
                    </a:lnTo>
                    <a:lnTo>
                      <a:pt x="403" y="471"/>
                    </a:lnTo>
                    <a:lnTo>
                      <a:pt x="404" y="471"/>
                    </a:lnTo>
                    <a:lnTo>
                      <a:pt x="406" y="473"/>
                    </a:lnTo>
                    <a:lnTo>
                      <a:pt x="408" y="473"/>
                    </a:lnTo>
                    <a:lnTo>
                      <a:pt x="408" y="474"/>
                    </a:lnTo>
                    <a:lnTo>
                      <a:pt x="409" y="473"/>
                    </a:lnTo>
                    <a:lnTo>
                      <a:pt x="409" y="474"/>
                    </a:lnTo>
                    <a:lnTo>
                      <a:pt x="409" y="476"/>
                    </a:lnTo>
                    <a:lnTo>
                      <a:pt x="409" y="478"/>
                    </a:lnTo>
                    <a:lnTo>
                      <a:pt x="411" y="478"/>
                    </a:lnTo>
                    <a:lnTo>
                      <a:pt x="411" y="479"/>
                    </a:lnTo>
                    <a:lnTo>
                      <a:pt x="409" y="479"/>
                    </a:lnTo>
                    <a:lnTo>
                      <a:pt x="409" y="481"/>
                    </a:lnTo>
                    <a:lnTo>
                      <a:pt x="409" y="483"/>
                    </a:lnTo>
                    <a:lnTo>
                      <a:pt x="411" y="483"/>
                    </a:lnTo>
                    <a:lnTo>
                      <a:pt x="409" y="483"/>
                    </a:lnTo>
                    <a:lnTo>
                      <a:pt x="411" y="485"/>
                    </a:lnTo>
                    <a:lnTo>
                      <a:pt x="411" y="486"/>
                    </a:lnTo>
                    <a:lnTo>
                      <a:pt x="413" y="486"/>
                    </a:lnTo>
                    <a:lnTo>
                      <a:pt x="413" y="488"/>
                    </a:lnTo>
                    <a:lnTo>
                      <a:pt x="413" y="490"/>
                    </a:lnTo>
                    <a:lnTo>
                      <a:pt x="413" y="488"/>
                    </a:lnTo>
                    <a:lnTo>
                      <a:pt x="414" y="490"/>
                    </a:lnTo>
                    <a:lnTo>
                      <a:pt x="416" y="491"/>
                    </a:lnTo>
                    <a:lnTo>
                      <a:pt x="414" y="491"/>
                    </a:lnTo>
                    <a:lnTo>
                      <a:pt x="416" y="491"/>
                    </a:lnTo>
                    <a:lnTo>
                      <a:pt x="416" y="493"/>
                    </a:lnTo>
                    <a:lnTo>
                      <a:pt x="416" y="495"/>
                    </a:lnTo>
                    <a:lnTo>
                      <a:pt x="416" y="496"/>
                    </a:lnTo>
                    <a:lnTo>
                      <a:pt x="416" y="498"/>
                    </a:lnTo>
                    <a:lnTo>
                      <a:pt x="416" y="500"/>
                    </a:lnTo>
                    <a:lnTo>
                      <a:pt x="416" y="502"/>
                    </a:lnTo>
                    <a:lnTo>
                      <a:pt x="416" y="503"/>
                    </a:lnTo>
                    <a:lnTo>
                      <a:pt x="414" y="505"/>
                    </a:lnTo>
                    <a:lnTo>
                      <a:pt x="416" y="505"/>
                    </a:lnTo>
                    <a:lnTo>
                      <a:pt x="416" y="507"/>
                    </a:lnTo>
                    <a:lnTo>
                      <a:pt x="414" y="507"/>
                    </a:lnTo>
                    <a:lnTo>
                      <a:pt x="414" y="508"/>
                    </a:lnTo>
                    <a:lnTo>
                      <a:pt x="413" y="517"/>
                    </a:lnTo>
                    <a:lnTo>
                      <a:pt x="413" y="524"/>
                    </a:lnTo>
                    <a:lnTo>
                      <a:pt x="411" y="529"/>
                    </a:lnTo>
                    <a:lnTo>
                      <a:pt x="409" y="534"/>
                    </a:lnTo>
                    <a:lnTo>
                      <a:pt x="409" y="539"/>
                    </a:lnTo>
                    <a:lnTo>
                      <a:pt x="406" y="554"/>
                    </a:lnTo>
                    <a:lnTo>
                      <a:pt x="406" y="558"/>
                    </a:lnTo>
                    <a:lnTo>
                      <a:pt x="403" y="581"/>
                    </a:lnTo>
                    <a:lnTo>
                      <a:pt x="401" y="590"/>
                    </a:lnTo>
                    <a:lnTo>
                      <a:pt x="399" y="600"/>
                    </a:lnTo>
                    <a:lnTo>
                      <a:pt x="397" y="600"/>
                    </a:lnTo>
                    <a:lnTo>
                      <a:pt x="397" y="598"/>
                    </a:lnTo>
                    <a:lnTo>
                      <a:pt x="396" y="598"/>
                    </a:lnTo>
                    <a:lnTo>
                      <a:pt x="396" y="597"/>
                    </a:lnTo>
                    <a:lnTo>
                      <a:pt x="394" y="597"/>
                    </a:lnTo>
                    <a:lnTo>
                      <a:pt x="394" y="595"/>
                    </a:lnTo>
                    <a:lnTo>
                      <a:pt x="392" y="593"/>
                    </a:lnTo>
                    <a:lnTo>
                      <a:pt x="391" y="593"/>
                    </a:lnTo>
                    <a:lnTo>
                      <a:pt x="391" y="592"/>
                    </a:lnTo>
                    <a:lnTo>
                      <a:pt x="391" y="590"/>
                    </a:lnTo>
                    <a:lnTo>
                      <a:pt x="389" y="590"/>
                    </a:lnTo>
                    <a:lnTo>
                      <a:pt x="389" y="588"/>
                    </a:lnTo>
                    <a:lnTo>
                      <a:pt x="387" y="588"/>
                    </a:lnTo>
                    <a:lnTo>
                      <a:pt x="387" y="587"/>
                    </a:lnTo>
                    <a:lnTo>
                      <a:pt x="386" y="587"/>
                    </a:lnTo>
                    <a:lnTo>
                      <a:pt x="386" y="585"/>
                    </a:lnTo>
                    <a:lnTo>
                      <a:pt x="384" y="585"/>
                    </a:lnTo>
                    <a:lnTo>
                      <a:pt x="384" y="587"/>
                    </a:lnTo>
                    <a:lnTo>
                      <a:pt x="382" y="587"/>
                    </a:lnTo>
                    <a:lnTo>
                      <a:pt x="380" y="587"/>
                    </a:lnTo>
                    <a:lnTo>
                      <a:pt x="380" y="588"/>
                    </a:lnTo>
                    <a:lnTo>
                      <a:pt x="379" y="588"/>
                    </a:lnTo>
                    <a:lnTo>
                      <a:pt x="377" y="587"/>
                    </a:lnTo>
                    <a:lnTo>
                      <a:pt x="375" y="587"/>
                    </a:lnTo>
                    <a:lnTo>
                      <a:pt x="374" y="587"/>
                    </a:lnTo>
                    <a:lnTo>
                      <a:pt x="374" y="585"/>
                    </a:lnTo>
                    <a:lnTo>
                      <a:pt x="372" y="585"/>
                    </a:lnTo>
                    <a:lnTo>
                      <a:pt x="374" y="581"/>
                    </a:lnTo>
                    <a:lnTo>
                      <a:pt x="375" y="581"/>
                    </a:lnTo>
                    <a:lnTo>
                      <a:pt x="377" y="576"/>
                    </a:lnTo>
                    <a:lnTo>
                      <a:pt x="379" y="573"/>
                    </a:lnTo>
                    <a:lnTo>
                      <a:pt x="380" y="573"/>
                    </a:lnTo>
                    <a:lnTo>
                      <a:pt x="382" y="570"/>
                    </a:lnTo>
                    <a:lnTo>
                      <a:pt x="384" y="566"/>
                    </a:lnTo>
                    <a:lnTo>
                      <a:pt x="386" y="564"/>
                    </a:lnTo>
                    <a:lnTo>
                      <a:pt x="386" y="563"/>
                    </a:lnTo>
                    <a:lnTo>
                      <a:pt x="387" y="561"/>
                    </a:lnTo>
                    <a:lnTo>
                      <a:pt x="391" y="556"/>
                    </a:lnTo>
                    <a:lnTo>
                      <a:pt x="392" y="554"/>
                    </a:lnTo>
                    <a:lnTo>
                      <a:pt x="394" y="551"/>
                    </a:lnTo>
                    <a:lnTo>
                      <a:pt x="394" y="549"/>
                    </a:lnTo>
                    <a:lnTo>
                      <a:pt x="394" y="547"/>
                    </a:lnTo>
                    <a:lnTo>
                      <a:pt x="394" y="546"/>
                    </a:lnTo>
                    <a:lnTo>
                      <a:pt x="392" y="547"/>
                    </a:lnTo>
                    <a:lnTo>
                      <a:pt x="391" y="547"/>
                    </a:lnTo>
                    <a:lnTo>
                      <a:pt x="391" y="546"/>
                    </a:lnTo>
                    <a:lnTo>
                      <a:pt x="389" y="546"/>
                    </a:lnTo>
                    <a:lnTo>
                      <a:pt x="389" y="547"/>
                    </a:lnTo>
                    <a:lnTo>
                      <a:pt x="389" y="546"/>
                    </a:lnTo>
                    <a:lnTo>
                      <a:pt x="389" y="544"/>
                    </a:lnTo>
                    <a:lnTo>
                      <a:pt x="387" y="542"/>
                    </a:lnTo>
                    <a:lnTo>
                      <a:pt x="386" y="544"/>
                    </a:lnTo>
                    <a:lnTo>
                      <a:pt x="384" y="544"/>
                    </a:lnTo>
                    <a:lnTo>
                      <a:pt x="384" y="542"/>
                    </a:lnTo>
                    <a:lnTo>
                      <a:pt x="386" y="542"/>
                    </a:lnTo>
                    <a:lnTo>
                      <a:pt x="386" y="541"/>
                    </a:lnTo>
                    <a:lnTo>
                      <a:pt x="384" y="541"/>
                    </a:lnTo>
                    <a:lnTo>
                      <a:pt x="382" y="542"/>
                    </a:lnTo>
                    <a:lnTo>
                      <a:pt x="380" y="542"/>
                    </a:lnTo>
                    <a:lnTo>
                      <a:pt x="380" y="541"/>
                    </a:lnTo>
                    <a:lnTo>
                      <a:pt x="380" y="539"/>
                    </a:lnTo>
                    <a:lnTo>
                      <a:pt x="380" y="541"/>
                    </a:lnTo>
                    <a:lnTo>
                      <a:pt x="379" y="541"/>
                    </a:lnTo>
                    <a:lnTo>
                      <a:pt x="379" y="539"/>
                    </a:lnTo>
                    <a:lnTo>
                      <a:pt x="377" y="539"/>
                    </a:lnTo>
                    <a:lnTo>
                      <a:pt x="377" y="541"/>
                    </a:lnTo>
                    <a:lnTo>
                      <a:pt x="375" y="541"/>
                    </a:lnTo>
                    <a:lnTo>
                      <a:pt x="375" y="539"/>
                    </a:lnTo>
                    <a:lnTo>
                      <a:pt x="375" y="537"/>
                    </a:lnTo>
                    <a:lnTo>
                      <a:pt x="374" y="539"/>
                    </a:lnTo>
                    <a:lnTo>
                      <a:pt x="374" y="537"/>
                    </a:lnTo>
                    <a:lnTo>
                      <a:pt x="374" y="536"/>
                    </a:lnTo>
                    <a:lnTo>
                      <a:pt x="372" y="536"/>
                    </a:lnTo>
                    <a:lnTo>
                      <a:pt x="370" y="536"/>
                    </a:lnTo>
                    <a:lnTo>
                      <a:pt x="370" y="534"/>
                    </a:lnTo>
                    <a:lnTo>
                      <a:pt x="369" y="534"/>
                    </a:lnTo>
                    <a:lnTo>
                      <a:pt x="367" y="534"/>
                    </a:lnTo>
                    <a:lnTo>
                      <a:pt x="367" y="532"/>
                    </a:lnTo>
                    <a:lnTo>
                      <a:pt x="365" y="532"/>
                    </a:lnTo>
                    <a:lnTo>
                      <a:pt x="363" y="532"/>
                    </a:lnTo>
                    <a:lnTo>
                      <a:pt x="362" y="532"/>
                    </a:lnTo>
                    <a:lnTo>
                      <a:pt x="362" y="534"/>
                    </a:lnTo>
                    <a:lnTo>
                      <a:pt x="363" y="534"/>
                    </a:lnTo>
                    <a:lnTo>
                      <a:pt x="362" y="534"/>
                    </a:lnTo>
                    <a:lnTo>
                      <a:pt x="360" y="534"/>
                    </a:lnTo>
                    <a:lnTo>
                      <a:pt x="358" y="534"/>
                    </a:lnTo>
                    <a:lnTo>
                      <a:pt x="358" y="536"/>
                    </a:lnTo>
                    <a:lnTo>
                      <a:pt x="357" y="536"/>
                    </a:lnTo>
                    <a:lnTo>
                      <a:pt x="357" y="537"/>
                    </a:lnTo>
                    <a:lnTo>
                      <a:pt x="355" y="537"/>
                    </a:lnTo>
                    <a:lnTo>
                      <a:pt x="355" y="536"/>
                    </a:lnTo>
                    <a:lnTo>
                      <a:pt x="353" y="536"/>
                    </a:lnTo>
                    <a:lnTo>
                      <a:pt x="353" y="537"/>
                    </a:lnTo>
                    <a:lnTo>
                      <a:pt x="353" y="536"/>
                    </a:lnTo>
                    <a:lnTo>
                      <a:pt x="352" y="536"/>
                    </a:lnTo>
                    <a:lnTo>
                      <a:pt x="352" y="537"/>
                    </a:lnTo>
                    <a:lnTo>
                      <a:pt x="350" y="537"/>
                    </a:lnTo>
                    <a:lnTo>
                      <a:pt x="350" y="539"/>
                    </a:lnTo>
                    <a:lnTo>
                      <a:pt x="348" y="537"/>
                    </a:lnTo>
                    <a:lnTo>
                      <a:pt x="350" y="537"/>
                    </a:lnTo>
                    <a:lnTo>
                      <a:pt x="350" y="536"/>
                    </a:lnTo>
                    <a:lnTo>
                      <a:pt x="348" y="536"/>
                    </a:lnTo>
                    <a:lnTo>
                      <a:pt x="348" y="534"/>
                    </a:lnTo>
                    <a:lnTo>
                      <a:pt x="346" y="534"/>
                    </a:lnTo>
                    <a:lnTo>
                      <a:pt x="346" y="536"/>
                    </a:lnTo>
                    <a:lnTo>
                      <a:pt x="345" y="536"/>
                    </a:lnTo>
                    <a:lnTo>
                      <a:pt x="345" y="534"/>
                    </a:lnTo>
                    <a:lnTo>
                      <a:pt x="345" y="532"/>
                    </a:lnTo>
                    <a:lnTo>
                      <a:pt x="343" y="532"/>
                    </a:lnTo>
                    <a:lnTo>
                      <a:pt x="341" y="532"/>
                    </a:lnTo>
                    <a:lnTo>
                      <a:pt x="341" y="530"/>
                    </a:lnTo>
                    <a:lnTo>
                      <a:pt x="340" y="530"/>
                    </a:lnTo>
                    <a:lnTo>
                      <a:pt x="340" y="532"/>
                    </a:lnTo>
                    <a:lnTo>
                      <a:pt x="338" y="532"/>
                    </a:lnTo>
                    <a:lnTo>
                      <a:pt x="338" y="530"/>
                    </a:lnTo>
                    <a:lnTo>
                      <a:pt x="338" y="529"/>
                    </a:lnTo>
                    <a:lnTo>
                      <a:pt x="336" y="530"/>
                    </a:lnTo>
                    <a:lnTo>
                      <a:pt x="335" y="532"/>
                    </a:lnTo>
                    <a:lnTo>
                      <a:pt x="335" y="530"/>
                    </a:lnTo>
                    <a:lnTo>
                      <a:pt x="335" y="532"/>
                    </a:lnTo>
                    <a:lnTo>
                      <a:pt x="333" y="532"/>
                    </a:lnTo>
                    <a:lnTo>
                      <a:pt x="333" y="534"/>
                    </a:lnTo>
                    <a:lnTo>
                      <a:pt x="333" y="536"/>
                    </a:lnTo>
                    <a:lnTo>
                      <a:pt x="331" y="536"/>
                    </a:lnTo>
                    <a:lnTo>
                      <a:pt x="331" y="537"/>
                    </a:lnTo>
                    <a:lnTo>
                      <a:pt x="329" y="537"/>
                    </a:lnTo>
                    <a:lnTo>
                      <a:pt x="328" y="537"/>
                    </a:lnTo>
                    <a:lnTo>
                      <a:pt x="328" y="536"/>
                    </a:lnTo>
                    <a:lnTo>
                      <a:pt x="326" y="536"/>
                    </a:lnTo>
                    <a:lnTo>
                      <a:pt x="326" y="537"/>
                    </a:lnTo>
                    <a:lnTo>
                      <a:pt x="324" y="537"/>
                    </a:lnTo>
                    <a:lnTo>
                      <a:pt x="324" y="539"/>
                    </a:lnTo>
                    <a:lnTo>
                      <a:pt x="324" y="541"/>
                    </a:lnTo>
                    <a:lnTo>
                      <a:pt x="323" y="541"/>
                    </a:lnTo>
                    <a:lnTo>
                      <a:pt x="323" y="539"/>
                    </a:lnTo>
                    <a:lnTo>
                      <a:pt x="321" y="539"/>
                    </a:lnTo>
                    <a:lnTo>
                      <a:pt x="319" y="539"/>
                    </a:lnTo>
                    <a:lnTo>
                      <a:pt x="319" y="541"/>
                    </a:lnTo>
                    <a:lnTo>
                      <a:pt x="319" y="539"/>
                    </a:lnTo>
                    <a:lnTo>
                      <a:pt x="319" y="541"/>
                    </a:lnTo>
                    <a:lnTo>
                      <a:pt x="318" y="541"/>
                    </a:lnTo>
                    <a:lnTo>
                      <a:pt x="316" y="541"/>
                    </a:lnTo>
                    <a:lnTo>
                      <a:pt x="316" y="539"/>
                    </a:lnTo>
                    <a:lnTo>
                      <a:pt x="314" y="539"/>
                    </a:lnTo>
                    <a:lnTo>
                      <a:pt x="312" y="539"/>
                    </a:lnTo>
                    <a:lnTo>
                      <a:pt x="311" y="539"/>
                    </a:lnTo>
                    <a:lnTo>
                      <a:pt x="311" y="537"/>
                    </a:lnTo>
                    <a:lnTo>
                      <a:pt x="309" y="537"/>
                    </a:lnTo>
                    <a:lnTo>
                      <a:pt x="307" y="537"/>
                    </a:lnTo>
                    <a:lnTo>
                      <a:pt x="307" y="539"/>
                    </a:lnTo>
                    <a:lnTo>
                      <a:pt x="306" y="539"/>
                    </a:lnTo>
                    <a:lnTo>
                      <a:pt x="304" y="537"/>
                    </a:lnTo>
                    <a:lnTo>
                      <a:pt x="304" y="539"/>
                    </a:lnTo>
                    <a:lnTo>
                      <a:pt x="304" y="537"/>
                    </a:lnTo>
                    <a:lnTo>
                      <a:pt x="302" y="537"/>
                    </a:lnTo>
                    <a:lnTo>
                      <a:pt x="302" y="539"/>
                    </a:lnTo>
                    <a:lnTo>
                      <a:pt x="301" y="539"/>
                    </a:lnTo>
                    <a:lnTo>
                      <a:pt x="299" y="539"/>
                    </a:lnTo>
                    <a:lnTo>
                      <a:pt x="297" y="539"/>
                    </a:lnTo>
                    <a:lnTo>
                      <a:pt x="297" y="537"/>
                    </a:lnTo>
                    <a:lnTo>
                      <a:pt x="295" y="537"/>
                    </a:lnTo>
                    <a:lnTo>
                      <a:pt x="295" y="536"/>
                    </a:lnTo>
                    <a:lnTo>
                      <a:pt x="295" y="537"/>
                    </a:lnTo>
                    <a:lnTo>
                      <a:pt x="294" y="536"/>
                    </a:lnTo>
                    <a:lnTo>
                      <a:pt x="292" y="537"/>
                    </a:lnTo>
                    <a:lnTo>
                      <a:pt x="292" y="536"/>
                    </a:lnTo>
                    <a:lnTo>
                      <a:pt x="290" y="536"/>
                    </a:lnTo>
                    <a:lnTo>
                      <a:pt x="290" y="534"/>
                    </a:lnTo>
                    <a:lnTo>
                      <a:pt x="289" y="532"/>
                    </a:lnTo>
                    <a:lnTo>
                      <a:pt x="289" y="530"/>
                    </a:lnTo>
                    <a:lnTo>
                      <a:pt x="290" y="530"/>
                    </a:lnTo>
                    <a:lnTo>
                      <a:pt x="290" y="529"/>
                    </a:lnTo>
                    <a:lnTo>
                      <a:pt x="292" y="529"/>
                    </a:lnTo>
                    <a:lnTo>
                      <a:pt x="292" y="527"/>
                    </a:lnTo>
                    <a:lnTo>
                      <a:pt x="292" y="525"/>
                    </a:lnTo>
                    <a:lnTo>
                      <a:pt x="290" y="525"/>
                    </a:lnTo>
                    <a:lnTo>
                      <a:pt x="290" y="524"/>
                    </a:lnTo>
                    <a:lnTo>
                      <a:pt x="290" y="522"/>
                    </a:lnTo>
                    <a:lnTo>
                      <a:pt x="292" y="520"/>
                    </a:lnTo>
                    <a:lnTo>
                      <a:pt x="290" y="520"/>
                    </a:lnTo>
                    <a:lnTo>
                      <a:pt x="290" y="519"/>
                    </a:lnTo>
                    <a:lnTo>
                      <a:pt x="289" y="517"/>
                    </a:lnTo>
                    <a:lnTo>
                      <a:pt x="287" y="515"/>
                    </a:lnTo>
                    <a:lnTo>
                      <a:pt x="287" y="517"/>
                    </a:lnTo>
                    <a:lnTo>
                      <a:pt x="287" y="519"/>
                    </a:lnTo>
                    <a:lnTo>
                      <a:pt x="287" y="517"/>
                    </a:lnTo>
                    <a:lnTo>
                      <a:pt x="285" y="517"/>
                    </a:lnTo>
                    <a:lnTo>
                      <a:pt x="285" y="519"/>
                    </a:lnTo>
                    <a:lnTo>
                      <a:pt x="284" y="519"/>
                    </a:lnTo>
                    <a:lnTo>
                      <a:pt x="284" y="517"/>
                    </a:lnTo>
                    <a:lnTo>
                      <a:pt x="282" y="517"/>
                    </a:lnTo>
                    <a:lnTo>
                      <a:pt x="280" y="517"/>
                    </a:lnTo>
                    <a:lnTo>
                      <a:pt x="280" y="515"/>
                    </a:lnTo>
                    <a:lnTo>
                      <a:pt x="278" y="515"/>
                    </a:lnTo>
                    <a:lnTo>
                      <a:pt x="277" y="515"/>
                    </a:lnTo>
                    <a:lnTo>
                      <a:pt x="277" y="513"/>
                    </a:lnTo>
                    <a:lnTo>
                      <a:pt x="278" y="513"/>
                    </a:lnTo>
                    <a:lnTo>
                      <a:pt x="278" y="512"/>
                    </a:lnTo>
                    <a:lnTo>
                      <a:pt x="278" y="510"/>
                    </a:lnTo>
                    <a:lnTo>
                      <a:pt x="280" y="510"/>
                    </a:lnTo>
                    <a:lnTo>
                      <a:pt x="278" y="510"/>
                    </a:lnTo>
                    <a:lnTo>
                      <a:pt x="278" y="508"/>
                    </a:lnTo>
                    <a:lnTo>
                      <a:pt x="278" y="507"/>
                    </a:lnTo>
                    <a:lnTo>
                      <a:pt x="277" y="507"/>
                    </a:lnTo>
                    <a:lnTo>
                      <a:pt x="277" y="505"/>
                    </a:lnTo>
                    <a:lnTo>
                      <a:pt x="275" y="505"/>
                    </a:lnTo>
                    <a:lnTo>
                      <a:pt x="277" y="505"/>
                    </a:lnTo>
                    <a:lnTo>
                      <a:pt x="277" y="503"/>
                    </a:lnTo>
                    <a:lnTo>
                      <a:pt x="275" y="503"/>
                    </a:lnTo>
                    <a:lnTo>
                      <a:pt x="275" y="502"/>
                    </a:lnTo>
                    <a:lnTo>
                      <a:pt x="273" y="500"/>
                    </a:lnTo>
                    <a:lnTo>
                      <a:pt x="272" y="498"/>
                    </a:lnTo>
                    <a:lnTo>
                      <a:pt x="272" y="500"/>
                    </a:lnTo>
                    <a:lnTo>
                      <a:pt x="270" y="498"/>
                    </a:lnTo>
                    <a:lnTo>
                      <a:pt x="270" y="500"/>
                    </a:lnTo>
                    <a:lnTo>
                      <a:pt x="268" y="500"/>
                    </a:lnTo>
                    <a:lnTo>
                      <a:pt x="268" y="498"/>
                    </a:lnTo>
                    <a:lnTo>
                      <a:pt x="268" y="500"/>
                    </a:lnTo>
                    <a:lnTo>
                      <a:pt x="267" y="498"/>
                    </a:lnTo>
                    <a:lnTo>
                      <a:pt x="265" y="498"/>
                    </a:lnTo>
                    <a:lnTo>
                      <a:pt x="265" y="496"/>
                    </a:lnTo>
                    <a:lnTo>
                      <a:pt x="265" y="495"/>
                    </a:lnTo>
                    <a:lnTo>
                      <a:pt x="263" y="495"/>
                    </a:lnTo>
                    <a:lnTo>
                      <a:pt x="263" y="493"/>
                    </a:lnTo>
                    <a:lnTo>
                      <a:pt x="261" y="493"/>
                    </a:lnTo>
                    <a:lnTo>
                      <a:pt x="261" y="495"/>
                    </a:lnTo>
                    <a:lnTo>
                      <a:pt x="261" y="493"/>
                    </a:lnTo>
                    <a:lnTo>
                      <a:pt x="260" y="493"/>
                    </a:lnTo>
                    <a:lnTo>
                      <a:pt x="260" y="491"/>
                    </a:lnTo>
                    <a:lnTo>
                      <a:pt x="261" y="491"/>
                    </a:lnTo>
                    <a:lnTo>
                      <a:pt x="260" y="491"/>
                    </a:lnTo>
                    <a:lnTo>
                      <a:pt x="260" y="493"/>
                    </a:lnTo>
                    <a:lnTo>
                      <a:pt x="258" y="493"/>
                    </a:lnTo>
                    <a:lnTo>
                      <a:pt x="258" y="491"/>
                    </a:lnTo>
                    <a:lnTo>
                      <a:pt x="256" y="491"/>
                    </a:lnTo>
                    <a:lnTo>
                      <a:pt x="255" y="491"/>
                    </a:lnTo>
                    <a:lnTo>
                      <a:pt x="253" y="491"/>
                    </a:lnTo>
                    <a:lnTo>
                      <a:pt x="253" y="490"/>
                    </a:lnTo>
                    <a:lnTo>
                      <a:pt x="251" y="490"/>
                    </a:lnTo>
                    <a:lnTo>
                      <a:pt x="253" y="490"/>
                    </a:lnTo>
                    <a:lnTo>
                      <a:pt x="253" y="488"/>
                    </a:lnTo>
                    <a:lnTo>
                      <a:pt x="251" y="488"/>
                    </a:lnTo>
                    <a:lnTo>
                      <a:pt x="251" y="486"/>
                    </a:lnTo>
                    <a:lnTo>
                      <a:pt x="251" y="488"/>
                    </a:lnTo>
                    <a:lnTo>
                      <a:pt x="251" y="486"/>
                    </a:lnTo>
                    <a:lnTo>
                      <a:pt x="253" y="486"/>
                    </a:lnTo>
                    <a:lnTo>
                      <a:pt x="251" y="486"/>
                    </a:lnTo>
                    <a:lnTo>
                      <a:pt x="253" y="485"/>
                    </a:lnTo>
                    <a:lnTo>
                      <a:pt x="251" y="485"/>
                    </a:lnTo>
                    <a:lnTo>
                      <a:pt x="251" y="483"/>
                    </a:lnTo>
                    <a:lnTo>
                      <a:pt x="250" y="483"/>
                    </a:lnTo>
                    <a:lnTo>
                      <a:pt x="250" y="481"/>
                    </a:lnTo>
                    <a:lnTo>
                      <a:pt x="248" y="481"/>
                    </a:lnTo>
                    <a:lnTo>
                      <a:pt x="250" y="481"/>
                    </a:lnTo>
                    <a:lnTo>
                      <a:pt x="250" y="479"/>
                    </a:lnTo>
                    <a:lnTo>
                      <a:pt x="248" y="479"/>
                    </a:lnTo>
                    <a:lnTo>
                      <a:pt x="250" y="478"/>
                    </a:lnTo>
                    <a:lnTo>
                      <a:pt x="248" y="478"/>
                    </a:lnTo>
                    <a:lnTo>
                      <a:pt x="248" y="476"/>
                    </a:lnTo>
                    <a:lnTo>
                      <a:pt x="248" y="474"/>
                    </a:lnTo>
                    <a:lnTo>
                      <a:pt x="248" y="476"/>
                    </a:lnTo>
                    <a:lnTo>
                      <a:pt x="246" y="476"/>
                    </a:lnTo>
                    <a:lnTo>
                      <a:pt x="246" y="474"/>
                    </a:lnTo>
                    <a:lnTo>
                      <a:pt x="248" y="474"/>
                    </a:lnTo>
                    <a:lnTo>
                      <a:pt x="246" y="474"/>
                    </a:lnTo>
                    <a:lnTo>
                      <a:pt x="246" y="473"/>
                    </a:lnTo>
                    <a:lnTo>
                      <a:pt x="244" y="473"/>
                    </a:lnTo>
                    <a:lnTo>
                      <a:pt x="243" y="473"/>
                    </a:lnTo>
                    <a:lnTo>
                      <a:pt x="243" y="471"/>
                    </a:lnTo>
                    <a:lnTo>
                      <a:pt x="241" y="469"/>
                    </a:lnTo>
                    <a:lnTo>
                      <a:pt x="239" y="469"/>
                    </a:lnTo>
                    <a:lnTo>
                      <a:pt x="238" y="469"/>
                    </a:lnTo>
                    <a:lnTo>
                      <a:pt x="238" y="468"/>
                    </a:lnTo>
                    <a:lnTo>
                      <a:pt x="238" y="469"/>
                    </a:lnTo>
                    <a:lnTo>
                      <a:pt x="236" y="469"/>
                    </a:lnTo>
                    <a:lnTo>
                      <a:pt x="236" y="468"/>
                    </a:lnTo>
                    <a:lnTo>
                      <a:pt x="236" y="466"/>
                    </a:lnTo>
                    <a:lnTo>
                      <a:pt x="236" y="464"/>
                    </a:lnTo>
                    <a:lnTo>
                      <a:pt x="234" y="464"/>
                    </a:lnTo>
                    <a:lnTo>
                      <a:pt x="234" y="462"/>
                    </a:lnTo>
                    <a:lnTo>
                      <a:pt x="234" y="464"/>
                    </a:lnTo>
                    <a:lnTo>
                      <a:pt x="233" y="464"/>
                    </a:lnTo>
                    <a:lnTo>
                      <a:pt x="231" y="466"/>
                    </a:lnTo>
                    <a:lnTo>
                      <a:pt x="231" y="464"/>
                    </a:lnTo>
                    <a:lnTo>
                      <a:pt x="229" y="464"/>
                    </a:lnTo>
                    <a:lnTo>
                      <a:pt x="229" y="462"/>
                    </a:lnTo>
                    <a:lnTo>
                      <a:pt x="227" y="462"/>
                    </a:lnTo>
                    <a:lnTo>
                      <a:pt x="226" y="461"/>
                    </a:lnTo>
                    <a:lnTo>
                      <a:pt x="224" y="459"/>
                    </a:lnTo>
                    <a:lnTo>
                      <a:pt x="222" y="459"/>
                    </a:lnTo>
                    <a:lnTo>
                      <a:pt x="221" y="459"/>
                    </a:lnTo>
                    <a:lnTo>
                      <a:pt x="221" y="457"/>
                    </a:lnTo>
                    <a:lnTo>
                      <a:pt x="221" y="459"/>
                    </a:lnTo>
                    <a:lnTo>
                      <a:pt x="219" y="461"/>
                    </a:lnTo>
                    <a:lnTo>
                      <a:pt x="217" y="461"/>
                    </a:lnTo>
                    <a:lnTo>
                      <a:pt x="216" y="461"/>
                    </a:lnTo>
                    <a:lnTo>
                      <a:pt x="214" y="461"/>
                    </a:lnTo>
                    <a:lnTo>
                      <a:pt x="214" y="459"/>
                    </a:lnTo>
                    <a:lnTo>
                      <a:pt x="212" y="459"/>
                    </a:lnTo>
                    <a:lnTo>
                      <a:pt x="210" y="459"/>
                    </a:lnTo>
                    <a:lnTo>
                      <a:pt x="210" y="457"/>
                    </a:lnTo>
                    <a:lnTo>
                      <a:pt x="209" y="457"/>
                    </a:lnTo>
                    <a:lnTo>
                      <a:pt x="207" y="457"/>
                    </a:lnTo>
                    <a:lnTo>
                      <a:pt x="207" y="456"/>
                    </a:lnTo>
                    <a:lnTo>
                      <a:pt x="205" y="456"/>
                    </a:lnTo>
                    <a:lnTo>
                      <a:pt x="204" y="456"/>
                    </a:lnTo>
                    <a:lnTo>
                      <a:pt x="202" y="456"/>
                    </a:lnTo>
                    <a:lnTo>
                      <a:pt x="200" y="456"/>
                    </a:lnTo>
                    <a:lnTo>
                      <a:pt x="200" y="454"/>
                    </a:lnTo>
                    <a:lnTo>
                      <a:pt x="199" y="454"/>
                    </a:lnTo>
                    <a:lnTo>
                      <a:pt x="199" y="452"/>
                    </a:lnTo>
                    <a:lnTo>
                      <a:pt x="197" y="452"/>
                    </a:lnTo>
                    <a:lnTo>
                      <a:pt x="197" y="451"/>
                    </a:lnTo>
                    <a:lnTo>
                      <a:pt x="195" y="451"/>
                    </a:lnTo>
                    <a:lnTo>
                      <a:pt x="195" y="449"/>
                    </a:lnTo>
                    <a:lnTo>
                      <a:pt x="193" y="449"/>
                    </a:lnTo>
                    <a:lnTo>
                      <a:pt x="193" y="447"/>
                    </a:lnTo>
                    <a:lnTo>
                      <a:pt x="192" y="447"/>
                    </a:lnTo>
                    <a:lnTo>
                      <a:pt x="192" y="445"/>
                    </a:lnTo>
                    <a:lnTo>
                      <a:pt x="190" y="445"/>
                    </a:lnTo>
                    <a:lnTo>
                      <a:pt x="190" y="444"/>
                    </a:lnTo>
                    <a:lnTo>
                      <a:pt x="188" y="444"/>
                    </a:lnTo>
                    <a:lnTo>
                      <a:pt x="187" y="444"/>
                    </a:lnTo>
                    <a:lnTo>
                      <a:pt x="185" y="444"/>
                    </a:lnTo>
                    <a:lnTo>
                      <a:pt x="185" y="442"/>
                    </a:lnTo>
                    <a:lnTo>
                      <a:pt x="183" y="442"/>
                    </a:lnTo>
                    <a:lnTo>
                      <a:pt x="183" y="444"/>
                    </a:lnTo>
                    <a:lnTo>
                      <a:pt x="182" y="444"/>
                    </a:lnTo>
                    <a:lnTo>
                      <a:pt x="180" y="444"/>
                    </a:lnTo>
                    <a:lnTo>
                      <a:pt x="180" y="445"/>
                    </a:lnTo>
                    <a:lnTo>
                      <a:pt x="180" y="449"/>
                    </a:lnTo>
                    <a:lnTo>
                      <a:pt x="178" y="449"/>
                    </a:lnTo>
                    <a:lnTo>
                      <a:pt x="176" y="449"/>
                    </a:lnTo>
                    <a:lnTo>
                      <a:pt x="175" y="449"/>
                    </a:lnTo>
                    <a:lnTo>
                      <a:pt x="173" y="449"/>
                    </a:lnTo>
                    <a:lnTo>
                      <a:pt x="171" y="449"/>
                    </a:lnTo>
                    <a:lnTo>
                      <a:pt x="171" y="447"/>
                    </a:lnTo>
                    <a:lnTo>
                      <a:pt x="170" y="447"/>
                    </a:lnTo>
                    <a:lnTo>
                      <a:pt x="168" y="447"/>
                    </a:lnTo>
                    <a:lnTo>
                      <a:pt x="168" y="449"/>
                    </a:lnTo>
                    <a:lnTo>
                      <a:pt x="166" y="447"/>
                    </a:lnTo>
                    <a:lnTo>
                      <a:pt x="166" y="449"/>
                    </a:lnTo>
                    <a:lnTo>
                      <a:pt x="166" y="447"/>
                    </a:lnTo>
                    <a:lnTo>
                      <a:pt x="166" y="449"/>
                    </a:lnTo>
                    <a:lnTo>
                      <a:pt x="165" y="449"/>
                    </a:lnTo>
                    <a:lnTo>
                      <a:pt x="163" y="449"/>
                    </a:lnTo>
                    <a:lnTo>
                      <a:pt x="163" y="447"/>
                    </a:lnTo>
                    <a:lnTo>
                      <a:pt x="161" y="447"/>
                    </a:lnTo>
                    <a:lnTo>
                      <a:pt x="159" y="447"/>
                    </a:lnTo>
                    <a:lnTo>
                      <a:pt x="158" y="447"/>
                    </a:lnTo>
                    <a:lnTo>
                      <a:pt x="158" y="445"/>
                    </a:lnTo>
                    <a:lnTo>
                      <a:pt x="156" y="445"/>
                    </a:lnTo>
                    <a:lnTo>
                      <a:pt x="156" y="444"/>
                    </a:lnTo>
                    <a:lnTo>
                      <a:pt x="154" y="444"/>
                    </a:lnTo>
                    <a:lnTo>
                      <a:pt x="153" y="444"/>
                    </a:lnTo>
                    <a:lnTo>
                      <a:pt x="153" y="445"/>
                    </a:lnTo>
                    <a:lnTo>
                      <a:pt x="153" y="444"/>
                    </a:lnTo>
                    <a:lnTo>
                      <a:pt x="151" y="445"/>
                    </a:lnTo>
                    <a:lnTo>
                      <a:pt x="151" y="444"/>
                    </a:lnTo>
                    <a:lnTo>
                      <a:pt x="151" y="445"/>
                    </a:lnTo>
                    <a:lnTo>
                      <a:pt x="149" y="444"/>
                    </a:lnTo>
                    <a:lnTo>
                      <a:pt x="148" y="444"/>
                    </a:lnTo>
                    <a:lnTo>
                      <a:pt x="146" y="444"/>
                    </a:lnTo>
                    <a:lnTo>
                      <a:pt x="146" y="442"/>
                    </a:lnTo>
                    <a:lnTo>
                      <a:pt x="144" y="442"/>
                    </a:lnTo>
                    <a:lnTo>
                      <a:pt x="142" y="444"/>
                    </a:lnTo>
                    <a:lnTo>
                      <a:pt x="142" y="442"/>
                    </a:lnTo>
                    <a:lnTo>
                      <a:pt x="142" y="440"/>
                    </a:lnTo>
                    <a:lnTo>
                      <a:pt x="142" y="439"/>
                    </a:lnTo>
                    <a:lnTo>
                      <a:pt x="142" y="437"/>
                    </a:lnTo>
                    <a:lnTo>
                      <a:pt x="144" y="437"/>
                    </a:lnTo>
                    <a:lnTo>
                      <a:pt x="144" y="435"/>
                    </a:lnTo>
                    <a:lnTo>
                      <a:pt x="142" y="435"/>
                    </a:lnTo>
                    <a:lnTo>
                      <a:pt x="141" y="435"/>
                    </a:lnTo>
                    <a:lnTo>
                      <a:pt x="141" y="433"/>
                    </a:lnTo>
                    <a:lnTo>
                      <a:pt x="139" y="433"/>
                    </a:lnTo>
                    <a:lnTo>
                      <a:pt x="137" y="433"/>
                    </a:lnTo>
                    <a:lnTo>
                      <a:pt x="137" y="432"/>
                    </a:lnTo>
                    <a:lnTo>
                      <a:pt x="136" y="432"/>
                    </a:lnTo>
                    <a:lnTo>
                      <a:pt x="137" y="432"/>
                    </a:lnTo>
                    <a:lnTo>
                      <a:pt x="137" y="430"/>
                    </a:lnTo>
                    <a:lnTo>
                      <a:pt x="137" y="428"/>
                    </a:lnTo>
                    <a:lnTo>
                      <a:pt x="136" y="428"/>
                    </a:lnTo>
                    <a:lnTo>
                      <a:pt x="134" y="428"/>
                    </a:lnTo>
                    <a:lnTo>
                      <a:pt x="132" y="428"/>
                    </a:lnTo>
                    <a:lnTo>
                      <a:pt x="132" y="430"/>
                    </a:lnTo>
                    <a:lnTo>
                      <a:pt x="131" y="430"/>
                    </a:lnTo>
                    <a:lnTo>
                      <a:pt x="129" y="430"/>
                    </a:lnTo>
                    <a:lnTo>
                      <a:pt x="129" y="428"/>
                    </a:lnTo>
                    <a:lnTo>
                      <a:pt x="127" y="428"/>
                    </a:lnTo>
                    <a:lnTo>
                      <a:pt x="125" y="428"/>
                    </a:lnTo>
                    <a:lnTo>
                      <a:pt x="125" y="427"/>
                    </a:lnTo>
                    <a:lnTo>
                      <a:pt x="124" y="427"/>
                    </a:lnTo>
                    <a:lnTo>
                      <a:pt x="122" y="427"/>
                    </a:lnTo>
                    <a:lnTo>
                      <a:pt x="122" y="425"/>
                    </a:lnTo>
                    <a:lnTo>
                      <a:pt x="120" y="425"/>
                    </a:lnTo>
                    <a:lnTo>
                      <a:pt x="119" y="425"/>
                    </a:lnTo>
                    <a:lnTo>
                      <a:pt x="120" y="423"/>
                    </a:lnTo>
                    <a:lnTo>
                      <a:pt x="119" y="423"/>
                    </a:lnTo>
                    <a:lnTo>
                      <a:pt x="119" y="422"/>
                    </a:lnTo>
                    <a:lnTo>
                      <a:pt x="117" y="422"/>
                    </a:lnTo>
                    <a:lnTo>
                      <a:pt x="117" y="420"/>
                    </a:lnTo>
                    <a:lnTo>
                      <a:pt x="117" y="418"/>
                    </a:lnTo>
                    <a:lnTo>
                      <a:pt x="115" y="416"/>
                    </a:lnTo>
                    <a:lnTo>
                      <a:pt x="114" y="416"/>
                    </a:lnTo>
                    <a:lnTo>
                      <a:pt x="114" y="418"/>
                    </a:lnTo>
                    <a:lnTo>
                      <a:pt x="112" y="418"/>
                    </a:lnTo>
                    <a:lnTo>
                      <a:pt x="112" y="416"/>
                    </a:lnTo>
                    <a:lnTo>
                      <a:pt x="110" y="416"/>
                    </a:lnTo>
                    <a:lnTo>
                      <a:pt x="108" y="416"/>
                    </a:lnTo>
                    <a:lnTo>
                      <a:pt x="108" y="415"/>
                    </a:lnTo>
                    <a:lnTo>
                      <a:pt x="107" y="415"/>
                    </a:lnTo>
                    <a:lnTo>
                      <a:pt x="105" y="415"/>
                    </a:lnTo>
                    <a:lnTo>
                      <a:pt x="105" y="413"/>
                    </a:lnTo>
                    <a:lnTo>
                      <a:pt x="103" y="413"/>
                    </a:lnTo>
                    <a:lnTo>
                      <a:pt x="103" y="411"/>
                    </a:lnTo>
                    <a:lnTo>
                      <a:pt x="102" y="411"/>
                    </a:lnTo>
                    <a:lnTo>
                      <a:pt x="102" y="410"/>
                    </a:lnTo>
                    <a:lnTo>
                      <a:pt x="100" y="410"/>
                    </a:lnTo>
                    <a:lnTo>
                      <a:pt x="98" y="408"/>
                    </a:lnTo>
                    <a:lnTo>
                      <a:pt x="98" y="406"/>
                    </a:lnTo>
                    <a:lnTo>
                      <a:pt x="97" y="406"/>
                    </a:lnTo>
                    <a:lnTo>
                      <a:pt x="97" y="405"/>
                    </a:lnTo>
                    <a:lnTo>
                      <a:pt x="95" y="405"/>
                    </a:lnTo>
                    <a:lnTo>
                      <a:pt x="95" y="403"/>
                    </a:lnTo>
                    <a:lnTo>
                      <a:pt x="93" y="403"/>
                    </a:lnTo>
                    <a:lnTo>
                      <a:pt x="91" y="401"/>
                    </a:lnTo>
                    <a:lnTo>
                      <a:pt x="93" y="401"/>
                    </a:lnTo>
                    <a:lnTo>
                      <a:pt x="91" y="401"/>
                    </a:lnTo>
                    <a:lnTo>
                      <a:pt x="93" y="401"/>
                    </a:lnTo>
                    <a:lnTo>
                      <a:pt x="93" y="399"/>
                    </a:lnTo>
                    <a:lnTo>
                      <a:pt x="95" y="399"/>
                    </a:lnTo>
                    <a:lnTo>
                      <a:pt x="95" y="398"/>
                    </a:lnTo>
                    <a:lnTo>
                      <a:pt x="97" y="398"/>
                    </a:lnTo>
                    <a:lnTo>
                      <a:pt x="97" y="396"/>
                    </a:lnTo>
                    <a:lnTo>
                      <a:pt x="98" y="396"/>
                    </a:lnTo>
                    <a:lnTo>
                      <a:pt x="98" y="394"/>
                    </a:lnTo>
                    <a:lnTo>
                      <a:pt x="98" y="396"/>
                    </a:lnTo>
                    <a:lnTo>
                      <a:pt x="100" y="396"/>
                    </a:lnTo>
                    <a:lnTo>
                      <a:pt x="102" y="396"/>
                    </a:lnTo>
                    <a:lnTo>
                      <a:pt x="102" y="398"/>
                    </a:lnTo>
                    <a:lnTo>
                      <a:pt x="102" y="396"/>
                    </a:lnTo>
                    <a:lnTo>
                      <a:pt x="103" y="398"/>
                    </a:lnTo>
                    <a:lnTo>
                      <a:pt x="103" y="396"/>
                    </a:lnTo>
                    <a:lnTo>
                      <a:pt x="103" y="398"/>
                    </a:lnTo>
                    <a:lnTo>
                      <a:pt x="103" y="396"/>
                    </a:lnTo>
                    <a:lnTo>
                      <a:pt x="105" y="396"/>
                    </a:lnTo>
                    <a:lnTo>
                      <a:pt x="107" y="396"/>
                    </a:lnTo>
                    <a:lnTo>
                      <a:pt x="105" y="396"/>
                    </a:lnTo>
                    <a:lnTo>
                      <a:pt x="107" y="398"/>
                    </a:lnTo>
                    <a:lnTo>
                      <a:pt x="107" y="396"/>
                    </a:lnTo>
                    <a:lnTo>
                      <a:pt x="108" y="396"/>
                    </a:lnTo>
                    <a:lnTo>
                      <a:pt x="108" y="394"/>
                    </a:lnTo>
                    <a:lnTo>
                      <a:pt x="108" y="393"/>
                    </a:lnTo>
                    <a:lnTo>
                      <a:pt x="107" y="393"/>
                    </a:lnTo>
                    <a:lnTo>
                      <a:pt x="107" y="391"/>
                    </a:lnTo>
                    <a:lnTo>
                      <a:pt x="105" y="391"/>
                    </a:lnTo>
                    <a:lnTo>
                      <a:pt x="107" y="391"/>
                    </a:lnTo>
                    <a:lnTo>
                      <a:pt x="105" y="389"/>
                    </a:lnTo>
                    <a:lnTo>
                      <a:pt x="103" y="391"/>
                    </a:lnTo>
                    <a:lnTo>
                      <a:pt x="103" y="389"/>
                    </a:lnTo>
                    <a:lnTo>
                      <a:pt x="103" y="388"/>
                    </a:lnTo>
                    <a:lnTo>
                      <a:pt x="103" y="386"/>
                    </a:lnTo>
                    <a:lnTo>
                      <a:pt x="102" y="386"/>
                    </a:lnTo>
                    <a:lnTo>
                      <a:pt x="102" y="384"/>
                    </a:lnTo>
                    <a:lnTo>
                      <a:pt x="102" y="382"/>
                    </a:lnTo>
                    <a:lnTo>
                      <a:pt x="103" y="382"/>
                    </a:lnTo>
                    <a:lnTo>
                      <a:pt x="103" y="381"/>
                    </a:lnTo>
                    <a:lnTo>
                      <a:pt x="105" y="381"/>
                    </a:lnTo>
                    <a:lnTo>
                      <a:pt x="103" y="381"/>
                    </a:lnTo>
                    <a:lnTo>
                      <a:pt x="103" y="379"/>
                    </a:lnTo>
                    <a:lnTo>
                      <a:pt x="105" y="379"/>
                    </a:lnTo>
                    <a:lnTo>
                      <a:pt x="105" y="377"/>
                    </a:lnTo>
                    <a:lnTo>
                      <a:pt x="105" y="376"/>
                    </a:lnTo>
                    <a:lnTo>
                      <a:pt x="107" y="376"/>
                    </a:lnTo>
                    <a:lnTo>
                      <a:pt x="107" y="374"/>
                    </a:lnTo>
                    <a:lnTo>
                      <a:pt x="108" y="374"/>
                    </a:lnTo>
                    <a:lnTo>
                      <a:pt x="107" y="374"/>
                    </a:lnTo>
                    <a:lnTo>
                      <a:pt x="108" y="374"/>
                    </a:lnTo>
                    <a:lnTo>
                      <a:pt x="107" y="374"/>
                    </a:lnTo>
                    <a:lnTo>
                      <a:pt x="108" y="372"/>
                    </a:lnTo>
                    <a:lnTo>
                      <a:pt x="110" y="374"/>
                    </a:lnTo>
                    <a:lnTo>
                      <a:pt x="110" y="372"/>
                    </a:lnTo>
                    <a:lnTo>
                      <a:pt x="108" y="372"/>
                    </a:lnTo>
                    <a:lnTo>
                      <a:pt x="110" y="371"/>
                    </a:lnTo>
                    <a:lnTo>
                      <a:pt x="112" y="372"/>
                    </a:lnTo>
                    <a:lnTo>
                      <a:pt x="112" y="371"/>
                    </a:lnTo>
                    <a:lnTo>
                      <a:pt x="110" y="371"/>
                    </a:lnTo>
                    <a:lnTo>
                      <a:pt x="110" y="369"/>
                    </a:lnTo>
                    <a:lnTo>
                      <a:pt x="112" y="369"/>
                    </a:lnTo>
                    <a:lnTo>
                      <a:pt x="112" y="371"/>
                    </a:lnTo>
                    <a:lnTo>
                      <a:pt x="114" y="371"/>
                    </a:lnTo>
                    <a:lnTo>
                      <a:pt x="114" y="372"/>
                    </a:lnTo>
                    <a:lnTo>
                      <a:pt x="114" y="371"/>
                    </a:lnTo>
                    <a:lnTo>
                      <a:pt x="115" y="371"/>
                    </a:lnTo>
                    <a:lnTo>
                      <a:pt x="114" y="371"/>
                    </a:lnTo>
                    <a:lnTo>
                      <a:pt x="114" y="369"/>
                    </a:lnTo>
                    <a:lnTo>
                      <a:pt x="114" y="367"/>
                    </a:lnTo>
                    <a:lnTo>
                      <a:pt x="115" y="367"/>
                    </a:lnTo>
                    <a:lnTo>
                      <a:pt x="115" y="369"/>
                    </a:lnTo>
                    <a:lnTo>
                      <a:pt x="115" y="371"/>
                    </a:lnTo>
                    <a:lnTo>
                      <a:pt x="117" y="371"/>
                    </a:lnTo>
                    <a:lnTo>
                      <a:pt x="115" y="369"/>
                    </a:lnTo>
                    <a:lnTo>
                      <a:pt x="117" y="371"/>
                    </a:lnTo>
                    <a:lnTo>
                      <a:pt x="119" y="372"/>
                    </a:lnTo>
                    <a:lnTo>
                      <a:pt x="119" y="371"/>
                    </a:lnTo>
                    <a:lnTo>
                      <a:pt x="117" y="371"/>
                    </a:lnTo>
                    <a:lnTo>
                      <a:pt x="117" y="369"/>
                    </a:lnTo>
                    <a:lnTo>
                      <a:pt x="115" y="367"/>
                    </a:lnTo>
                    <a:lnTo>
                      <a:pt x="117" y="367"/>
                    </a:lnTo>
                    <a:lnTo>
                      <a:pt x="119" y="367"/>
                    </a:lnTo>
                    <a:lnTo>
                      <a:pt x="119" y="369"/>
                    </a:lnTo>
                    <a:lnTo>
                      <a:pt x="120" y="369"/>
                    </a:lnTo>
                    <a:lnTo>
                      <a:pt x="120" y="367"/>
                    </a:lnTo>
                    <a:lnTo>
                      <a:pt x="119" y="367"/>
                    </a:lnTo>
                    <a:lnTo>
                      <a:pt x="120" y="367"/>
                    </a:lnTo>
                    <a:lnTo>
                      <a:pt x="120" y="365"/>
                    </a:lnTo>
                    <a:lnTo>
                      <a:pt x="122" y="365"/>
                    </a:lnTo>
                    <a:lnTo>
                      <a:pt x="122" y="367"/>
                    </a:lnTo>
                    <a:lnTo>
                      <a:pt x="120" y="367"/>
                    </a:lnTo>
                    <a:lnTo>
                      <a:pt x="120" y="369"/>
                    </a:lnTo>
                    <a:lnTo>
                      <a:pt x="120" y="371"/>
                    </a:lnTo>
                    <a:lnTo>
                      <a:pt x="122" y="371"/>
                    </a:lnTo>
                    <a:lnTo>
                      <a:pt x="122" y="369"/>
                    </a:lnTo>
                    <a:lnTo>
                      <a:pt x="122" y="367"/>
                    </a:lnTo>
                    <a:lnTo>
                      <a:pt x="122" y="369"/>
                    </a:lnTo>
                    <a:lnTo>
                      <a:pt x="124" y="369"/>
                    </a:lnTo>
                    <a:lnTo>
                      <a:pt x="122" y="369"/>
                    </a:lnTo>
                    <a:lnTo>
                      <a:pt x="122" y="367"/>
                    </a:lnTo>
                    <a:lnTo>
                      <a:pt x="124" y="367"/>
                    </a:lnTo>
                    <a:lnTo>
                      <a:pt x="124" y="369"/>
                    </a:lnTo>
                    <a:lnTo>
                      <a:pt x="125" y="367"/>
                    </a:lnTo>
                    <a:lnTo>
                      <a:pt x="127" y="367"/>
                    </a:lnTo>
                    <a:lnTo>
                      <a:pt x="129" y="369"/>
                    </a:lnTo>
                    <a:lnTo>
                      <a:pt x="129" y="367"/>
                    </a:lnTo>
                    <a:lnTo>
                      <a:pt x="129" y="369"/>
                    </a:lnTo>
                    <a:lnTo>
                      <a:pt x="129" y="367"/>
                    </a:lnTo>
                    <a:lnTo>
                      <a:pt x="129" y="365"/>
                    </a:lnTo>
                    <a:lnTo>
                      <a:pt x="131" y="365"/>
                    </a:lnTo>
                    <a:lnTo>
                      <a:pt x="131" y="367"/>
                    </a:lnTo>
                    <a:lnTo>
                      <a:pt x="131" y="365"/>
                    </a:lnTo>
                    <a:lnTo>
                      <a:pt x="132" y="365"/>
                    </a:lnTo>
                    <a:lnTo>
                      <a:pt x="132" y="367"/>
                    </a:lnTo>
                    <a:lnTo>
                      <a:pt x="134" y="367"/>
                    </a:lnTo>
                    <a:lnTo>
                      <a:pt x="134" y="365"/>
                    </a:lnTo>
                    <a:lnTo>
                      <a:pt x="132" y="365"/>
                    </a:lnTo>
                    <a:lnTo>
                      <a:pt x="132" y="364"/>
                    </a:lnTo>
                    <a:lnTo>
                      <a:pt x="134" y="364"/>
                    </a:lnTo>
                    <a:lnTo>
                      <a:pt x="136" y="364"/>
                    </a:lnTo>
                    <a:lnTo>
                      <a:pt x="136" y="362"/>
                    </a:lnTo>
                    <a:lnTo>
                      <a:pt x="136" y="364"/>
                    </a:lnTo>
                    <a:lnTo>
                      <a:pt x="136" y="362"/>
                    </a:lnTo>
                    <a:lnTo>
                      <a:pt x="134" y="362"/>
                    </a:lnTo>
                    <a:lnTo>
                      <a:pt x="136" y="362"/>
                    </a:lnTo>
                    <a:lnTo>
                      <a:pt x="136" y="360"/>
                    </a:lnTo>
                    <a:lnTo>
                      <a:pt x="137" y="360"/>
                    </a:lnTo>
                    <a:lnTo>
                      <a:pt x="137" y="359"/>
                    </a:lnTo>
                    <a:lnTo>
                      <a:pt x="136" y="359"/>
                    </a:lnTo>
                    <a:lnTo>
                      <a:pt x="137" y="359"/>
                    </a:lnTo>
                    <a:lnTo>
                      <a:pt x="137" y="357"/>
                    </a:lnTo>
                    <a:lnTo>
                      <a:pt x="137" y="359"/>
                    </a:lnTo>
                    <a:lnTo>
                      <a:pt x="137" y="357"/>
                    </a:lnTo>
                    <a:lnTo>
                      <a:pt x="137" y="355"/>
                    </a:lnTo>
                    <a:lnTo>
                      <a:pt x="136" y="357"/>
                    </a:lnTo>
                    <a:lnTo>
                      <a:pt x="137" y="355"/>
                    </a:lnTo>
                    <a:lnTo>
                      <a:pt x="137" y="354"/>
                    </a:lnTo>
                    <a:lnTo>
                      <a:pt x="137" y="355"/>
                    </a:lnTo>
                    <a:lnTo>
                      <a:pt x="137" y="354"/>
                    </a:lnTo>
                    <a:lnTo>
                      <a:pt x="139" y="354"/>
                    </a:lnTo>
                    <a:lnTo>
                      <a:pt x="139" y="352"/>
                    </a:lnTo>
                    <a:lnTo>
                      <a:pt x="141" y="350"/>
                    </a:lnTo>
                    <a:lnTo>
                      <a:pt x="141" y="352"/>
                    </a:lnTo>
                    <a:lnTo>
                      <a:pt x="141" y="350"/>
                    </a:lnTo>
                    <a:lnTo>
                      <a:pt x="141" y="348"/>
                    </a:lnTo>
                    <a:lnTo>
                      <a:pt x="142" y="348"/>
                    </a:lnTo>
                    <a:lnTo>
                      <a:pt x="144" y="348"/>
                    </a:lnTo>
                    <a:lnTo>
                      <a:pt x="142" y="348"/>
                    </a:lnTo>
                    <a:lnTo>
                      <a:pt x="144" y="348"/>
                    </a:lnTo>
                    <a:lnTo>
                      <a:pt x="142" y="348"/>
                    </a:lnTo>
                    <a:lnTo>
                      <a:pt x="142" y="347"/>
                    </a:lnTo>
                    <a:lnTo>
                      <a:pt x="142" y="348"/>
                    </a:lnTo>
                    <a:lnTo>
                      <a:pt x="141" y="347"/>
                    </a:lnTo>
                    <a:lnTo>
                      <a:pt x="142" y="347"/>
                    </a:lnTo>
                    <a:lnTo>
                      <a:pt x="142" y="345"/>
                    </a:lnTo>
                    <a:lnTo>
                      <a:pt x="144" y="345"/>
                    </a:lnTo>
                    <a:lnTo>
                      <a:pt x="144" y="343"/>
                    </a:lnTo>
                    <a:lnTo>
                      <a:pt x="146" y="343"/>
                    </a:lnTo>
                    <a:lnTo>
                      <a:pt x="146" y="342"/>
                    </a:lnTo>
                    <a:lnTo>
                      <a:pt x="148" y="342"/>
                    </a:lnTo>
                    <a:lnTo>
                      <a:pt x="148" y="340"/>
                    </a:lnTo>
                    <a:lnTo>
                      <a:pt x="148" y="342"/>
                    </a:lnTo>
                    <a:lnTo>
                      <a:pt x="149" y="342"/>
                    </a:lnTo>
                    <a:lnTo>
                      <a:pt x="149" y="340"/>
                    </a:lnTo>
                    <a:lnTo>
                      <a:pt x="148" y="340"/>
                    </a:lnTo>
                    <a:lnTo>
                      <a:pt x="148" y="338"/>
                    </a:lnTo>
                    <a:lnTo>
                      <a:pt x="149" y="338"/>
                    </a:lnTo>
                    <a:lnTo>
                      <a:pt x="151" y="338"/>
                    </a:lnTo>
                    <a:lnTo>
                      <a:pt x="149" y="338"/>
                    </a:lnTo>
                    <a:lnTo>
                      <a:pt x="151" y="338"/>
                    </a:lnTo>
                    <a:lnTo>
                      <a:pt x="149" y="338"/>
                    </a:lnTo>
                    <a:lnTo>
                      <a:pt x="149" y="337"/>
                    </a:lnTo>
                    <a:lnTo>
                      <a:pt x="151" y="337"/>
                    </a:lnTo>
                    <a:lnTo>
                      <a:pt x="153" y="337"/>
                    </a:lnTo>
                    <a:lnTo>
                      <a:pt x="153" y="335"/>
                    </a:lnTo>
                    <a:lnTo>
                      <a:pt x="154" y="333"/>
                    </a:lnTo>
                    <a:lnTo>
                      <a:pt x="154" y="331"/>
                    </a:lnTo>
                    <a:lnTo>
                      <a:pt x="153" y="331"/>
                    </a:lnTo>
                    <a:lnTo>
                      <a:pt x="153" y="330"/>
                    </a:lnTo>
                    <a:lnTo>
                      <a:pt x="154" y="330"/>
                    </a:lnTo>
                    <a:lnTo>
                      <a:pt x="156" y="330"/>
                    </a:lnTo>
                    <a:lnTo>
                      <a:pt x="154" y="330"/>
                    </a:lnTo>
                    <a:lnTo>
                      <a:pt x="156" y="328"/>
                    </a:lnTo>
                    <a:lnTo>
                      <a:pt x="154" y="328"/>
                    </a:lnTo>
                    <a:lnTo>
                      <a:pt x="156" y="328"/>
                    </a:lnTo>
                    <a:lnTo>
                      <a:pt x="156" y="326"/>
                    </a:lnTo>
                    <a:lnTo>
                      <a:pt x="158" y="326"/>
                    </a:lnTo>
                    <a:lnTo>
                      <a:pt x="158" y="325"/>
                    </a:lnTo>
                    <a:lnTo>
                      <a:pt x="159" y="326"/>
                    </a:lnTo>
                    <a:lnTo>
                      <a:pt x="158" y="325"/>
                    </a:lnTo>
                    <a:lnTo>
                      <a:pt x="156" y="325"/>
                    </a:lnTo>
                    <a:lnTo>
                      <a:pt x="156" y="326"/>
                    </a:lnTo>
                    <a:lnTo>
                      <a:pt x="154" y="326"/>
                    </a:lnTo>
                    <a:lnTo>
                      <a:pt x="154" y="328"/>
                    </a:lnTo>
                    <a:lnTo>
                      <a:pt x="153" y="326"/>
                    </a:lnTo>
                    <a:lnTo>
                      <a:pt x="153" y="328"/>
                    </a:lnTo>
                    <a:lnTo>
                      <a:pt x="151" y="328"/>
                    </a:lnTo>
                    <a:lnTo>
                      <a:pt x="151" y="326"/>
                    </a:lnTo>
                    <a:lnTo>
                      <a:pt x="149" y="326"/>
                    </a:lnTo>
                    <a:lnTo>
                      <a:pt x="151" y="326"/>
                    </a:lnTo>
                    <a:lnTo>
                      <a:pt x="151" y="325"/>
                    </a:lnTo>
                    <a:lnTo>
                      <a:pt x="149" y="325"/>
                    </a:lnTo>
                    <a:lnTo>
                      <a:pt x="149" y="323"/>
                    </a:lnTo>
                    <a:lnTo>
                      <a:pt x="151" y="323"/>
                    </a:lnTo>
                    <a:lnTo>
                      <a:pt x="153" y="323"/>
                    </a:lnTo>
                    <a:lnTo>
                      <a:pt x="151" y="321"/>
                    </a:lnTo>
                    <a:lnTo>
                      <a:pt x="153" y="323"/>
                    </a:lnTo>
                    <a:lnTo>
                      <a:pt x="153" y="321"/>
                    </a:lnTo>
                    <a:lnTo>
                      <a:pt x="153" y="320"/>
                    </a:lnTo>
                    <a:lnTo>
                      <a:pt x="154" y="320"/>
                    </a:lnTo>
                    <a:lnTo>
                      <a:pt x="153" y="320"/>
                    </a:lnTo>
                    <a:lnTo>
                      <a:pt x="151" y="320"/>
                    </a:lnTo>
                    <a:lnTo>
                      <a:pt x="149" y="320"/>
                    </a:lnTo>
                    <a:lnTo>
                      <a:pt x="149" y="321"/>
                    </a:lnTo>
                    <a:lnTo>
                      <a:pt x="149" y="323"/>
                    </a:lnTo>
                    <a:lnTo>
                      <a:pt x="148" y="325"/>
                    </a:lnTo>
                    <a:lnTo>
                      <a:pt x="148" y="323"/>
                    </a:lnTo>
                    <a:lnTo>
                      <a:pt x="148" y="321"/>
                    </a:lnTo>
                    <a:lnTo>
                      <a:pt x="146" y="323"/>
                    </a:lnTo>
                    <a:lnTo>
                      <a:pt x="146" y="321"/>
                    </a:lnTo>
                    <a:lnTo>
                      <a:pt x="146" y="320"/>
                    </a:lnTo>
                    <a:lnTo>
                      <a:pt x="144" y="320"/>
                    </a:lnTo>
                    <a:lnTo>
                      <a:pt x="142" y="318"/>
                    </a:lnTo>
                    <a:lnTo>
                      <a:pt x="144" y="318"/>
                    </a:lnTo>
                    <a:lnTo>
                      <a:pt x="144" y="316"/>
                    </a:lnTo>
                    <a:lnTo>
                      <a:pt x="146" y="316"/>
                    </a:lnTo>
                    <a:lnTo>
                      <a:pt x="144" y="316"/>
                    </a:lnTo>
                    <a:lnTo>
                      <a:pt x="142" y="316"/>
                    </a:lnTo>
                    <a:lnTo>
                      <a:pt x="142" y="318"/>
                    </a:lnTo>
                    <a:lnTo>
                      <a:pt x="142" y="316"/>
                    </a:lnTo>
                    <a:lnTo>
                      <a:pt x="142" y="314"/>
                    </a:lnTo>
                    <a:lnTo>
                      <a:pt x="142" y="313"/>
                    </a:lnTo>
                    <a:lnTo>
                      <a:pt x="142" y="311"/>
                    </a:lnTo>
                    <a:lnTo>
                      <a:pt x="144" y="311"/>
                    </a:lnTo>
                    <a:lnTo>
                      <a:pt x="142" y="311"/>
                    </a:lnTo>
                    <a:lnTo>
                      <a:pt x="144" y="313"/>
                    </a:lnTo>
                    <a:lnTo>
                      <a:pt x="142" y="313"/>
                    </a:lnTo>
                    <a:lnTo>
                      <a:pt x="144" y="313"/>
                    </a:lnTo>
                    <a:lnTo>
                      <a:pt x="146" y="313"/>
                    </a:lnTo>
                    <a:lnTo>
                      <a:pt x="146" y="311"/>
                    </a:lnTo>
                    <a:lnTo>
                      <a:pt x="146" y="309"/>
                    </a:lnTo>
                    <a:lnTo>
                      <a:pt x="148" y="309"/>
                    </a:lnTo>
                    <a:lnTo>
                      <a:pt x="148" y="308"/>
                    </a:lnTo>
                    <a:lnTo>
                      <a:pt x="148" y="306"/>
                    </a:lnTo>
                    <a:lnTo>
                      <a:pt x="149" y="304"/>
                    </a:lnTo>
                    <a:lnTo>
                      <a:pt x="149" y="303"/>
                    </a:lnTo>
                    <a:lnTo>
                      <a:pt x="149" y="301"/>
                    </a:lnTo>
                    <a:lnTo>
                      <a:pt x="149" y="299"/>
                    </a:lnTo>
                    <a:lnTo>
                      <a:pt x="149" y="297"/>
                    </a:lnTo>
                    <a:lnTo>
                      <a:pt x="149" y="296"/>
                    </a:lnTo>
                    <a:lnTo>
                      <a:pt x="149" y="297"/>
                    </a:lnTo>
                    <a:lnTo>
                      <a:pt x="151" y="297"/>
                    </a:lnTo>
                    <a:lnTo>
                      <a:pt x="149" y="296"/>
                    </a:lnTo>
                    <a:lnTo>
                      <a:pt x="148" y="296"/>
                    </a:lnTo>
                    <a:lnTo>
                      <a:pt x="149" y="294"/>
                    </a:lnTo>
                    <a:lnTo>
                      <a:pt x="148" y="294"/>
                    </a:lnTo>
                    <a:lnTo>
                      <a:pt x="148" y="292"/>
                    </a:lnTo>
                    <a:lnTo>
                      <a:pt x="148" y="291"/>
                    </a:lnTo>
                    <a:lnTo>
                      <a:pt x="148" y="289"/>
                    </a:lnTo>
                    <a:lnTo>
                      <a:pt x="148" y="287"/>
                    </a:lnTo>
                    <a:lnTo>
                      <a:pt x="148" y="285"/>
                    </a:lnTo>
                    <a:lnTo>
                      <a:pt x="148" y="284"/>
                    </a:lnTo>
                    <a:lnTo>
                      <a:pt x="148" y="282"/>
                    </a:lnTo>
                    <a:lnTo>
                      <a:pt x="148" y="284"/>
                    </a:lnTo>
                    <a:lnTo>
                      <a:pt x="148" y="282"/>
                    </a:lnTo>
                    <a:lnTo>
                      <a:pt x="146" y="282"/>
                    </a:lnTo>
                    <a:lnTo>
                      <a:pt x="148" y="280"/>
                    </a:lnTo>
                    <a:lnTo>
                      <a:pt x="148" y="279"/>
                    </a:lnTo>
                    <a:lnTo>
                      <a:pt x="148" y="277"/>
                    </a:lnTo>
                    <a:lnTo>
                      <a:pt x="146" y="277"/>
                    </a:lnTo>
                    <a:lnTo>
                      <a:pt x="148" y="275"/>
                    </a:lnTo>
                    <a:lnTo>
                      <a:pt x="146" y="275"/>
                    </a:lnTo>
                    <a:lnTo>
                      <a:pt x="146" y="274"/>
                    </a:lnTo>
                    <a:lnTo>
                      <a:pt x="146" y="272"/>
                    </a:lnTo>
                    <a:lnTo>
                      <a:pt x="144" y="272"/>
                    </a:lnTo>
                    <a:lnTo>
                      <a:pt x="142" y="272"/>
                    </a:lnTo>
                    <a:lnTo>
                      <a:pt x="142" y="270"/>
                    </a:lnTo>
                    <a:lnTo>
                      <a:pt x="142" y="268"/>
                    </a:lnTo>
                    <a:lnTo>
                      <a:pt x="144" y="267"/>
                    </a:lnTo>
                    <a:lnTo>
                      <a:pt x="146" y="267"/>
                    </a:lnTo>
                    <a:lnTo>
                      <a:pt x="148" y="267"/>
                    </a:lnTo>
                    <a:lnTo>
                      <a:pt x="149" y="267"/>
                    </a:lnTo>
                    <a:lnTo>
                      <a:pt x="149" y="265"/>
                    </a:lnTo>
                    <a:lnTo>
                      <a:pt x="151" y="265"/>
                    </a:lnTo>
                    <a:lnTo>
                      <a:pt x="151" y="263"/>
                    </a:lnTo>
                    <a:lnTo>
                      <a:pt x="151" y="262"/>
                    </a:lnTo>
                    <a:lnTo>
                      <a:pt x="153" y="262"/>
                    </a:lnTo>
                    <a:lnTo>
                      <a:pt x="151" y="262"/>
                    </a:lnTo>
                    <a:lnTo>
                      <a:pt x="151" y="260"/>
                    </a:lnTo>
                    <a:lnTo>
                      <a:pt x="151" y="258"/>
                    </a:lnTo>
                    <a:lnTo>
                      <a:pt x="151" y="260"/>
                    </a:lnTo>
                    <a:lnTo>
                      <a:pt x="149" y="258"/>
                    </a:lnTo>
                    <a:lnTo>
                      <a:pt x="149" y="257"/>
                    </a:lnTo>
                    <a:lnTo>
                      <a:pt x="149" y="255"/>
                    </a:lnTo>
                    <a:lnTo>
                      <a:pt x="149" y="253"/>
                    </a:lnTo>
                    <a:lnTo>
                      <a:pt x="148" y="253"/>
                    </a:lnTo>
                    <a:lnTo>
                      <a:pt x="148" y="251"/>
                    </a:lnTo>
                    <a:lnTo>
                      <a:pt x="148" y="253"/>
                    </a:lnTo>
                    <a:lnTo>
                      <a:pt x="148" y="251"/>
                    </a:lnTo>
                    <a:lnTo>
                      <a:pt x="146" y="251"/>
                    </a:lnTo>
                    <a:lnTo>
                      <a:pt x="146" y="250"/>
                    </a:lnTo>
                    <a:lnTo>
                      <a:pt x="144" y="250"/>
                    </a:lnTo>
                    <a:lnTo>
                      <a:pt x="144" y="248"/>
                    </a:lnTo>
                    <a:lnTo>
                      <a:pt x="144" y="246"/>
                    </a:lnTo>
                    <a:lnTo>
                      <a:pt x="144" y="245"/>
                    </a:lnTo>
                    <a:lnTo>
                      <a:pt x="144" y="243"/>
                    </a:lnTo>
                    <a:lnTo>
                      <a:pt x="144" y="245"/>
                    </a:lnTo>
                    <a:lnTo>
                      <a:pt x="146" y="245"/>
                    </a:lnTo>
                    <a:lnTo>
                      <a:pt x="146" y="246"/>
                    </a:lnTo>
                    <a:lnTo>
                      <a:pt x="146" y="245"/>
                    </a:lnTo>
                    <a:lnTo>
                      <a:pt x="148" y="245"/>
                    </a:lnTo>
                    <a:lnTo>
                      <a:pt x="148" y="243"/>
                    </a:lnTo>
                    <a:lnTo>
                      <a:pt x="148" y="241"/>
                    </a:lnTo>
                    <a:lnTo>
                      <a:pt x="146" y="241"/>
                    </a:lnTo>
                    <a:lnTo>
                      <a:pt x="148" y="240"/>
                    </a:lnTo>
                    <a:lnTo>
                      <a:pt x="148" y="241"/>
                    </a:lnTo>
                    <a:lnTo>
                      <a:pt x="148" y="240"/>
                    </a:lnTo>
                    <a:lnTo>
                      <a:pt x="148" y="238"/>
                    </a:lnTo>
                    <a:lnTo>
                      <a:pt x="148" y="236"/>
                    </a:lnTo>
                    <a:lnTo>
                      <a:pt x="149" y="236"/>
                    </a:lnTo>
                    <a:lnTo>
                      <a:pt x="149" y="234"/>
                    </a:lnTo>
                    <a:lnTo>
                      <a:pt x="148" y="234"/>
                    </a:lnTo>
                    <a:lnTo>
                      <a:pt x="148" y="233"/>
                    </a:lnTo>
                    <a:lnTo>
                      <a:pt x="146" y="233"/>
                    </a:lnTo>
                    <a:lnTo>
                      <a:pt x="146" y="231"/>
                    </a:lnTo>
                    <a:lnTo>
                      <a:pt x="146" y="229"/>
                    </a:lnTo>
                    <a:lnTo>
                      <a:pt x="144" y="229"/>
                    </a:lnTo>
                    <a:lnTo>
                      <a:pt x="142" y="231"/>
                    </a:lnTo>
                    <a:lnTo>
                      <a:pt x="142" y="229"/>
                    </a:lnTo>
                    <a:lnTo>
                      <a:pt x="141" y="229"/>
                    </a:lnTo>
                    <a:lnTo>
                      <a:pt x="141" y="228"/>
                    </a:lnTo>
                    <a:lnTo>
                      <a:pt x="141" y="226"/>
                    </a:lnTo>
                    <a:lnTo>
                      <a:pt x="139" y="226"/>
                    </a:lnTo>
                    <a:lnTo>
                      <a:pt x="139" y="224"/>
                    </a:lnTo>
                    <a:lnTo>
                      <a:pt x="137" y="224"/>
                    </a:lnTo>
                    <a:lnTo>
                      <a:pt x="137" y="226"/>
                    </a:lnTo>
                    <a:lnTo>
                      <a:pt x="136" y="226"/>
                    </a:lnTo>
                    <a:lnTo>
                      <a:pt x="136" y="224"/>
                    </a:lnTo>
                    <a:lnTo>
                      <a:pt x="136" y="223"/>
                    </a:lnTo>
                    <a:lnTo>
                      <a:pt x="137" y="223"/>
                    </a:lnTo>
                    <a:lnTo>
                      <a:pt x="136" y="223"/>
                    </a:lnTo>
                    <a:lnTo>
                      <a:pt x="137" y="221"/>
                    </a:lnTo>
                    <a:lnTo>
                      <a:pt x="137" y="219"/>
                    </a:lnTo>
                    <a:lnTo>
                      <a:pt x="136" y="217"/>
                    </a:lnTo>
                    <a:lnTo>
                      <a:pt x="134" y="217"/>
                    </a:lnTo>
                    <a:lnTo>
                      <a:pt x="134" y="216"/>
                    </a:lnTo>
                    <a:lnTo>
                      <a:pt x="134" y="214"/>
                    </a:lnTo>
                    <a:lnTo>
                      <a:pt x="132" y="216"/>
                    </a:lnTo>
                    <a:lnTo>
                      <a:pt x="132" y="214"/>
                    </a:lnTo>
                    <a:lnTo>
                      <a:pt x="131" y="214"/>
                    </a:lnTo>
                    <a:lnTo>
                      <a:pt x="131" y="212"/>
                    </a:lnTo>
                    <a:lnTo>
                      <a:pt x="131" y="209"/>
                    </a:lnTo>
                    <a:lnTo>
                      <a:pt x="131" y="207"/>
                    </a:lnTo>
                    <a:lnTo>
                      <a:pt x="132" y="204"/>
                    </a:lnTo>
                    <a:lnTo>
                      <a:pt x="134" y="204"/>
                    </a:lnTo>
                    <a:lnTo>
                      <a:pt x="136" y="204"/>
                    </a:lnTo>
                    <a:lnTo>
                      <a:pt x="136" y="202"/>
                    </a:lnTo>
                    <a:lnTo>
                      <a:pt x="136" y="200"/>
                    </a:lnTo>
                    <a:lnTo>
                      <a:pt x="136" y="199"/>
                    </a:lnTo>
                    <a:lnTo>
                      <a:pt x="134" y="199"/>
                    </a:lnTo>
                    <a:lnTo>
                      <a:pt x="136" y="199"/>
                    </a:lnTo>
                    <a:lnTo>
                      <a:pt x="134" y="197"/>
                    </a:lnTo>
                    <a:lnTo>
                      <a:pt x="136" y="197"/>
                    </a:lnTo>
                    <a:lnTo>
                      <a:pt x="136" y="195"/>
                    </a:lnTo>
                    <a:lnTo>
                      <a:pt x="136" y="197"/>
                    </a:lnTo>
                    <a:lnTo>
                      <a:pt x="137" y="197"/>
                    </a:lnTo>
                    <a:lnTo>
                      <a:pt x="139" y="199"/>
                    </a:lnTo>
                    <a:lnTo>
                      <a:pt x="139" y="200"/>
                    </a:lnTo>
                    <a:lnTo>
                      <a:pt x="139" y="202"/>
                    </a:lnTo>
                    <a:lnTo>
                      <a:pt x="141" y="202"/>
                    </a:lnTo>
                    <a:lnTo>
                      <a:pt x="142" y="202"/>
                    </a:lnTo>
                    <a:lnTo>
                      <a:pt x="142" y="200"/>
                    </a:lnTo>
                    <a:lnTo>
                      <a:pt x="144" y="200"/>
                    </a:lnTo>
                    <a:lnTo>
                      <a:pt x="144" y="199"/>
                    </a:lnTo>
                    <a:lnTo>
                      <a:pt x="144" y="197"/>
                    </a:lnTo>
                    <a:lnTo>
                      <a:pt x="146" y="197"/>
                    </a:lnTo>
                    <a:lnTo>
                      <a:pt x="146" y="195"/>
                    </a:lnTo>
                    <a:lnTo>
                      <a:pt x="146" y="194"/>
                    </a:lnTo>
                    <a:lnTo>
                      <a:pt x="148" y="194"/>
                    </a:lnTo>
                    <a:lnTo>
                      <a:pt x="146" y="194"/>
                    </a:lnTo>
                    <a:lnTo>
                      <a:pt x="148" y="194"/>
                    </a:lnTo>
                    <a:lnTo>
                      <a:pt x="149" y="194"/>
                    </a:lnTo>
                    <a:lnTo>
                      <a:pt x="148" y="192"/>
                    </a:lnTo>
                    <a:lnTo>
                      <a:pt x="148" y="190"/>
                    </a:lnTo>
                    <a:lnTo>
                      <a:pt x="149" y="190"/>
                    </a:lnTo>
                    <a:lnTo>
                      <a:pt x="149" y="189"/>
                    </a:lnTo>
                    <a:lnTo>
                      <a:pt x="151" y="189"/>
                    </a:lnTo>
                    <a:lnTo>
                      <a:pt x="153" y="189"/>
                    </a:lnTo>
                    <a:lnTo>
                      <a:pt x="154" y="189"/>
                    </a:lnTo>
                    <a:lnTo>
                      <a:pt x="154" y="187"/>
                    </a:lnTo>
                    <a:lnTo>
                      <a:pt x="156" y="187"/>
                    </a:lnTo>
                    <a:lnTo>
                      <a:pt x="154" y="187"/>
                    </a:lnTo>
                    <a:lnTo>
                      <a:pt x="153" y="185"/>
                    </a:lnTo>
                    <a:lnTo>
                      <a:pt x="153" y="183"/>
                    </a:lnTo>
                    <a:lnTo>
                      <a:pt x="153" y="182"/>
                    </a:lnTo>
                    <a:lnTo>
                      <a:pt x="151" y="180"/>
                    </a:lnTo>
                    <a:lnTo>
                      <a:pt x="151" y="178"/>
                    </a:lnTo>
                    <a:lnTo>
                      <a:pt x="151" y="177"/>
                    </a:lnTo>
                    <a:lnTo>
                      <a:pt x="149" y="177"/>
                    </a:lnTo>
                    <a:lnTo>
                      <a:pt x="148" y="175"/>
                    </a:lnTo>
                    <a:lnTo>
                      <a:pt x="148" y="173"/>
                    </a:lnTo>
                    <a:lnTo>
                      <a:pt x="148" y="172"/>
                    </a:lnTo>
                    <a:lnTo>
                      <a:pt x="146" y="170"/>
                    </a:lnTo>
                    <a:lnTo>
                      <a:pt x="144" y="170"/>
                    </a:lnTo>
                    <a:lnTo>
                      <a:pt x="144" y="168"/>
                    </a:lnTo>
                    <a:lnTo>
                      <a:pt x="146" y="168"/>
                    </a:lnTo>
                    <a:lnTo>
                      <a:pt x="146" y="166"/>
                    </a:lnTo>
                    <a:lnTo>
                      <a:pt x="144" y="166"/>
                    </a:lnTo>
                    <a:lnTo>
                      <a:pt x="146" y="166"/>
                    </a:lnTo>
                    <a:lnTo>
                      <a:pt x="146" y="165"/>
                    </a:lnTo>
                    <a:lnTo>
                      <a:pt x="146" y="163"/>
                    </a:lnTo>
                    <a:lnTo>
                      <a:pt x="148" y="163"/>
                    </a:lnTo>
                    <a:lnTo>
                      <a:pt x="148" y="165"/>
                    </a:lnTo>
                    <a:lnTo>
                      <a:pt x="148" y="163"/>
                    </a:lnTo>
                    <a:lnTo>
                      <a:pt x="149" y="165"/>
                    </a:lnTo>
                    <a:lnTo>
                      <a:pt x="149" y="166"/>
                    </a:lnTo>
                    <a:lnTo>
                      <a:pt x="151" y="166"/>
                    </a:lnTo>
                    <a:lnTo>
                      <a:pt x="151" y="168"/>
                    </a:lnTo>
                    <a:lnTo>
                      <a:pt x="151" y="170"/>
                    </a:lnTo>
                    <a:lnTo>
                      <a:pt x="153" y="170"/>
                    </a:lnTo>
                    <a:lnTo>
                      <a:pt x="154" y="172"/>
                    </a:lnTo>
                    <a:lnTo>
                      <a:pt x="156" y="172"/>
                    </a:lnTo>
                    <a:lnTo>
                      <a:pt x="156" y="173"/>
                    </a:lnTo>
                    <a:lnTo>
                      <a:pt x="158" y="175"/>
                    </a:lnTo>
                    <a:lnTo>
                      <a:pt x="158" y="177"/>
                    </a:lnTo>
                    <a:lnTo>
                      <a:pt x="159" y="177"/>
                    </a:lnTo>
                    <a:lnTo>
                      <a:pt x="161" y="177"/>
                    </a:lnTo>
                    <a:lnTo>
                      <a:pt x="161" y="178"/>
                    </a:lnTo>
                    <a:lnTo>
                      <a:pt x="161" y="180"/>
                    </a:lnTo>
                    <a:lnTo>
                      <a:pt x="163" y="180"/>
                    </a:lnTo>
                    <a:lnTo>
                      <a:pt x="163" y="178"/>
                    </a:lnTo>
                    <a:lnTo>
                      <a:pt x="161" y="178"/>
                    </a:lnTo>
                    <a:lnTo>
                      <a:pt x="163" y="178"/>
                    </a:lnTo>
                    <a:lnTo>
                      <a:pt x="163" y="180"/>
                    </a:lnTo>
                    <a:lnTo>
                      <a:pt x="163" y="178"/>
                    </a:lnTo>
                    <a:lnTo>
                      <a:pt x="163" y="180"/>
                    </a:lnTo>
                    <a:lnTo>
                      <a:pt x="161" y="180"/>
                    </a:lnTo>
                    <a:lnTo>
                      <a:pt x="161" y="182"/>
                    </a:lnTo>
                    <a:lnTo>
                      <a:pt x="163" y="182"/>
                    </a:lnTo>
                    <a:lnTo>
                      <a:pt x="163" y="183"/>
                    </a:lnTo>
                    <a:lnTo>
                      <a:pt x="163" y="182"/>
                    </a:lnTo>
                    <a:lnTo>
                      <a:pt x="165" y="182"/>
                    </a:lnTo>
                    <a:lnTo>
                      <a:pt x="163" y="182"/>
                    </a:lnTo>
                    <a:lnTo>
                      <a:pt x="165" y="182"/>
                    </a:lnTo>
                    <a:lnTo>
                      <a:pt x="166" y="182"/>
                    </a:lnTo>
                    <a:lnTo>
                      <a:pt x="165" y="182"/>
                    </a:lnTo>
                    <a:lnTo>
                      <a:pt x="165" y="183"/>
                    </a:lnTo>
                    <a:lnTo>
                      <a:pt x="166" y="183"/>
                    </a:lnTo>
                    <a:lnTo>
                      <a:pt x="165" y="183"/>
                    </a:lnTo>
                    <a:lnTo>
                      <a:pt x="166" y="183"/>
                    </a:lnTo>
                    <a:lnTo>
                      <a:pt x="166" y="185"/>
                    </a:lnTo>
                    <a:lnTo>
                      <a:pt x="165" y="183"/>
                    </a:lnTo>
                    <a:lnTo>
                      <a:pt x="165" y="185"/>
                    </a:lnTo>
                    <a:lnTo>
                      <a:pt x="166" y="185"/>
                    </a:lnTo>
                    <a:lnTo>
                      <a:pt x="165" y="185"/>
                    </a:lnTo>
                    <a:lnTo>
                      <a:pt x="165" y="183"/>
                    </a:lnTo>
                    <a:lnTo>
                      <a:pt x="163" y="185"/>
                    </a:lnTo>
                    <a:lnTo>
                      <a:pt x="163" y="187"/>
                    </a:lnTo>
                    <a:lnTo>
                      <a:pt x="163" y="189"/>
                    </a:lnTo>
                    <a:lnTo>
                      <a:pt x="165" y="189"/>
                    </a:lnTo>
                    <a:lnTo>
                      <a:pt x="166" y="189"/>
                    </a:lnTo>
                    <a:lnTo>
                      <a:pt x="168" y="189"/>
                    </a:lnTo>
                    <a:lnTo>
                      <a:pt x="168" y="187"/>
                    </a:lnTo>
                    <a:lnTo>
                      <a:pt x="170" y="187"/>
                    </a:lnTo>
                    <a:lnTo>
                      <a:pt x="168" y="185"/>
                    </a:lnTo>
                    <a:lnTo>
                      <a:pt x="170" y="185"/>
                    </a:lnTo>
                    <a:lnTo>
                      <a:pt x="170" y="183"/>
                    </a:lnTo>
                    <a:lnTo>
                      <a:pt x="168" y="183"/>
                    </a:lnTo>
                    <a:lnTo>
                      <a:pt x="168" y="182"/>
                    </a:lnTo>
                    <a:lnTo>
                      <a:pt x="168" y="180"/>
                    </a:lnTo>
                    <a:lnTo>
                      <a:pt x="168" y="178"/>
                    </a:lnTo>
                    <a:lnTo>
                      <a:pt x="168" y="177"/>
                    </a:lnTo>
                    <a:lnTo>
                      <a:pt x="168" y="175"/>
                    </a:lnTo>
                    <a:lnTo>
                      <a:pt x="168" y="173"/>
                    </a:lnTo>
                    <a:lnTo>
                      <a:pt x="168" y="172"/>
                    </a:lnTo>
                    <a:lnTo>
                      <a:pt x="166" y="172"/>
                    </a:lnTo>
                    <a:lnTo>
                      <a:pt x="166" y="170"/>
                    </a:lnTo>
                    <a:lnTo>
                      <a:pt x="166" y="168"/>
                    </a:lnTo>
                    <a:lnTo>
                      <a:pt x="165" y="168"/>
                    </a:lnTo>
                    <a:lnTo>
                      <a:pt x="163" y="168"/>
                    </a:lnTo>
                    <a:lnTo>
                      <a:pt x="163" y="166"/>
                    </a:lnTo>
                    <a:lnTo>
                      <a:pt x="165" y="165"/>
                    </a:lnTo>
                    <a:lnTo>
                      <a:pt x="166" y="165"/>
                    </a:lnTo>
                    <a:lnTo>
                      <a:pt x="168" y="165"/>
                    </a:lnTo>
                    <a:lnTo>
                      <a:pt x="170" y="163"/>
                    </a:lnTo>
                    <a:lnTo>
                      <a:pt x="171" y="163"/>
                    </a:lnTo>
                    <a:lnTo>
                      <a:pt x="173" y="163"/>
                    </a:lnTo>
                    <a:lnTo>
                      <a:pt x="171" y="161"/>
                    </a:lnTo>
                    <a:lnTo>
                      <a:pt x="173" y="161"/>
                    </a:lnTo>
                    <a:lnTo>
                      <a:pt x="175" y="160"/>
                    </a:lnTo>
                    <a:lnTo>
                      <a:pt x="176" y="160"/>
                    </a:lnTo>
                    <a:lnTo>
                      <a:pt x="176" y="158"/>
                    </a:lnTo>
                    <a:lnTo>
                      <a:pt x="178" y="158"/>
                    </a:lnTo>
                    <a:lnTo>
                      <a:pt x="180" y="156"/>
                    </a:lnTo>
                    <a:lnTo>
                      <a:pt x="180" y="155"/>
                    </a:lnTo>
                    <a:lnTo>
                      <a:pt x="182" y="155"/>
                    </a:lnTo>
                    <a:lnTo>
                      <a:pt x="183" y="155"/>
                    </a:lnTo>
                    <a:lnTo>
                      <a:pt x="183" y="153"/>
                    </a:lnTo>
                    <a:lnTo>
                      <a:pt x="185" y="153"/>
                    </a:lnTo>
                    <a:lnTo>
                      <a:pt x="185" y="151"/>
                    </a:lnTo>
                    <a:lnTo>
                      <a:pt x="185" y="149"/>
                    </a:lnTo>
                    <a:lnTo>
                      <a:pt x="187" y="149"/>
                    </a:lnTo>
                    <a:lnTo>
                      <a:pt x="187" y="148"/>
                    </a:lnTo>
                    <a:lnTo>
                      <a:pt x="188" y="146"/>
                    </a:lnTo>
                    <a:lnTo>
                      <a:pt x="188" y="144"/>
                    </a:lnTo>
                    <a:lnTo>
                      <a:pt x="188" y="143"/>
                    </a:lnTo>
                    <a:lnTo>
                      <a:pt x="190" y="143"/>
                    </a:lnTo>
                    <a:lnTo>
                      <a:pt x="190" y="141"/>
                    </a:lnTo>
                    <a:lnTo>
                      <a:pt x="192" y="139"/>
                    </a:lnTo>
                    <a:lnTo>
                      <a:pt x="193" y="139"/>
                    </a:lnTo>
                    <a:lnTo>
                      <a:pt x="195" y="139"/>
                    </a:lnTo>
                    <a:lnTo>
                      <a:pt x="195" y="138"/>
                    </a:lnTo>
                    <a:lnTo>
                      <a:pt x="195" y="136"/>
                    </a:lnTo>
                    <a:lnTo>
                      <a:pt x="195" y="138"/>
                    </a:lnTo>
                    <a:lnTo>
                      <a:pt x="195" y="136"/>
                    </a:lnTo>
                    <a:lnTo>
                      <a:pt x="197" y="136"/>
                    </a:lnTo>
                    <a:lnTo>
                      <a:pt x="197" y="138"/>
                    </a:lnTo>
                    <a:lnTo>
                      <a:pt x="199" y="138"/>
                    </a:lnTo>
                    <a:lnTo>
                      <a:pt x="200" y="138"/>
                    </a:lnTo>
                    <a:lnTo>
                      <a:pt x="199" y="138"/>
                    </a:lnTo>
                    <a:lnTo>
                      <a:pt x="200" y="138"/>
                    </a:lnTo>
                    <a:lnTo>
                      <a:pt x="202" y="138"/>
                    </a:lnTo>
                    <a:lnTo>
                      <a:pt x="204" y="138"/>
                    </a:lnTo>
                    <a:lnTo>
                      <a:pt x="205" y="138"/>
                    </a:lnTo>
                    <a:lnTo>
                      <a:pt x="207" y="136"/>
                    </a:lnTo>
                    <a:lnTo>
                      <a:pt x="207" y="134"/>
                    </a:lnTo>
                    <a:lnTo>
                      <a:pt x="209" y="132"/>
                    </a:lnTo>
                    <a:lnTo>
                      <a:pt x="209" y="131"/>
                    </a:lnTo>
                    <a:lnTo>
                      <a:pt x="207" y="129"/>
                    </a:lnTo>
                    <a:lnTo>
                      <a:pt x="207" y="127"/>
                    </a:lnTo>
                    <a:lnTo>
                      <a:pt x="205" y="127"/>
                    </a:lnTo>
                    <a:lnTo>
                      <a:pt x="204" y="127"/>
                    </a:lnTo>
                    <a:lnTo>
                      <a:pt x="205" y="127"/>
                    </a:lnTo>
                    <a:lnTo>
                      <a:pt x="205" y="126"/>
                    </a:lnTo>
                    <a:lnTo>
                      <a:pt x="207" y="124"/>
                    </a:lnTo>
                    <a:lnTo>
                      <a:pt x="207" y="122"/>
                    </a:lnTo>
                    <a:lnTo>
                      <a:pt x="207" y="120"/>
                    </a:lnTo>
                    <a:lnTo>
                      <a:pt x="207" y="119"/>
                    </a:lnTo>
                    <a:lnTo>
                      <a:pt x="209" y="119"/>
                    </a:lnTo>
                    <a:lnTo>
                      <a:pt x="207" y="117"/>
                    </a:lnTo>
                    <a:lnTo>
                      <a:pt x="209" y="117"/>
                    </a:lnTo>
                    <a:lnTo>
                      <a:pt x="209" y="115"/>
                    </a:lnTo>
                    <a:lnTo>
                      <a:pt x="209" y="114"/>
                    </a:lnTo>
                    <a:lnTo>
                      <a:pt x="207" y="114"/>
                    </a:lnTo>
                    <a:lnTo>
                      <a:pt x="209" y="114"/>
                    </a:lnTo>
                    <a:lnTo>
                      <a:pt x="209" y="112"/>
                    </a:lnTo>
                    <a:lnTo>
                      <a:pt x="210" y="112"/>
                    </a:lnTo>
                    <a:lnTo>
                      <a:pt x="209" y="112"/>
                    </a:lnTo>
                    <a:lnTo>
                      <a:pt x="209" y="110"/>
                    </a:lnTo>
                    <a:lnTo>
                      <a:pt x="209" y="112"/>
                    </a:lnTo>
                    <a:lnTo>
                      <a:pt x="210" y="112"/>
                    </a:lnTo>
                    <a:lnTo>
                      <a:pt x="210" y="110"/>
                    </a:lnTo>
                    <a:lnTo>
                      <a:pt x="209" y="110"/>
                    </a:lnTo>
                    <a:lnTo>
                      <a:pt x="210" y="109"/>
                    </a:lnTo>
                    <a:lnTo>
                      <a:pt x="209" y="109"/>
                    </a:lnTo>
                    <a:lnTo>
                      <a:pt x="209" y="110"/>
                    </a:lnTo>
                    <a:lnTo>
                      <a:pt x="207" y="110"/>
                    </a:lnTo>
                    <a:lnTo>
                      <a:pt x="205" y="112"/>
                    </a:lnTo>
                    <a:lnTo>
                      <a:pt x="205" y="110"/>
                    </a:lnTo>
                    <a:lnTo>
                      <a:pt x="205" y="112"/>
                    </a:lnTo>
                    <a:lnTo>
                      <a:pt x="204" y="114"/>
                    </a:lnTo>
                    <a:lnTo>
                      <a:pt x="204" y="112"/>
                    </a:lnTo>
                    <a:lnTo>
                      <a:pt x="205" y="112"/>
                    </a:lnTo>
                    <a:lnTo>
                      <a:pt x="205" y="110"/>
                    </a:lnTo>
                    <a:lnTo>
                      <a:pt x="207" y="110"/>
                    </a:lnTo>
                    <a:lnTo>
                      <a:pt x="207" y="109"/>
                    </a:lnTo>
                    <a:lnTo>
                      <a:pt x="207" y="110"/>
                    </a:lnTo>
                    <a:lnTo>
                      <a:pt x="207" y="109"/>
                    </a:lnTo>
                    <a:lnTo>
                      <a:pt x="207" y="107"/>
                    </a:lnTo>
                    <a:lnTo>
                      <a:pt x="209" y="107"/>
                    </a:lnTo>
                    <a:lnTo>
                      <a:pt x="207" y="109"/>
                    </a:lnTo>
                    <a:lnTo>
                      <a:pt x="209" y="109"/>
                    </a:lnTo>
                    <a:lnTo>
                      <a:pt x="210" y="107"/>
                    </a:lnTo>
                    <a:lnTo>
                      <a:pt x="210" y="105"/>
                    </a:lnTo>
                    <a:lnTo>
                      <a:pt x="210" y="103"/>
                    </a:lnTo>
                    <a:lnTo>
                      <a:pt x="209" y="103"/>
                    </a:lnTo>
                    <a:lnTo>
                      <a:pt x="210" y="103"/>
                    </a:lnTo>
                    <a:lnTo>
                      <a:pt x="209" y="103"/>
                    </a:lnTo>
                    <a:lnTo>
                      <a:pt x="209" y="102"/>
                    </a:lnTo>
                    <a:lnTo>
                      <a:pt x="210" y="102"/>
                    </a:lnTo>
                    <a:lnTo>
                      <a:pt x="210" y="103"/>
                    </a:lnTo>
                    <a:lnTo>
                      <a:pt x="212" y="103"/>
                    </a:lnTo>
                    <a:lnTo>
                      <a:pt x="210" y="102"/>
                    </a:lnTo>
                    <a:lnTo>
                      <a:pt x="212" y="100"/>
                    </a:lnTo>
                    <a:lnTo>
                      <a:pt x="210" y="100"/>
                    </a:lnTo>
                    <a:lnTo>
                      <a:pt x="210" y="98"/>
                    </a:lnTo>
                    <a:lnTo>
                      <a:pt x="212" y="97"/>
                    </a:lnTo>
                    <a:lnTo>
                      <a:pt x="212" y="95"/>
                    </a:lnTo>
                    <a:lnTo>
                      <a:pt x="214" y="95"/>
                    </a:lnTo>
                    <a:lnTo>
                      <a:pt x="214" y="93"/>
                    </a:lnTo>
                    <a:lnTo>
                      <a:pt x="216" y="93"/>
                    </a:lnTo>
                    <a:lnTo>
                      <a:pt x="217" y="93"/>
                    </a:lnTo>
                    <a:lnTo>
                      <a:pt x="219" y="93"/>
                    </a:lnTo>
                    <a:lnTo>
                      <a:pt x="219" y="92"/>
                    </a:lnTo>
                    <a:lnTo>
                      <a:pt x="219" y="90"/>
                    </a:lnTo>
                    <a:lnTo>
                      <a:pt x="221" y="90"/>
                    </a:lnTo>
                    <a:lnTo>
                      <a:pt x="221" y="88"/>
                    </a:lnTo>
                    <a:lnTo>
                      <a:pt x="222" y="88"/>
                    </a:lnTo>
                    <a:lnTo>
                      <a:pt x="224" y="88"/>
                    </a:lnTo>
                    <a:lnTo>
                      <a:pt x="224" y="86"/>
                    </a:lnTo>
                    <a:lnTo>
                      <a:pt x="226" y="86"/>
                    </a:lnTo>
                    <a:lnTo>
                      <a:pt x="226" y="85"/>
                    </a:lnTo>
                    <a:lnTo>
                      <a:pt x="227" y="85"/>
                    </a:lnTo>
                    <a:lnTo>
                      <a:pt x="227" y="83"/>
                    </a:lnTo>
                    <a:lnTo>
                      <a:pt x="229" y="83"/>
                    </a:lnTo>
                    <a:lnTo>
                      <a:pt x="227" y="83"/>
                    </a:lnTo>
                    <a:lnTo>
                      <a:pt x="229" y="83"/>
                    </a:lnTo>
                    <a:lnTo>
                      <a:pt x="231" y="81"/>
                    </a:lnTo>
                    <a:lnTo>
                      <a:pt x="233" y="81"/>
                    </a:lnTo>
                    <a:lnTo>
                      <a:pt x="233" y="80"/>
                    </a:lnTo>
                    <a:lnTo>
                      <a:pt x="234" y="80"/>
                    </a:lnTo>
                    <a:lnTo>
                      <a:pt x="236" y="80"/>
                    </a:lnTo>
                    <a:lnTo>
                      <a:pt x="236" y="81"/>
                    </a:lnTo>
                    <a:lnTo>
                      <a:pt x="238" y="81"/>
                    </a:lnTo>
                    <a:lnTo>
                      <a:pt x="239" y="81"/>
                    </a:lnTo>
                    <a:lnTo>
                      <a:pt x="239" y="83"/>
                    </a:lnTo>
                    <a:lnTo>
                      <a:pt x="241" y="83"/>
                    </a:lnTo>
                    <a:lnTo>
                      <a:pt x="243" y="83"/>
                    </a:lnTo>
                    <a:lnTo>
                      <a:pt x="244" y="83"/>
                    </a:lnTo>
                    <a:lnTo>
                      <a:pt x="246" y="83"/>
                    </a:lnTo>
                    <a:lnTo>
                      <a:pt x="248" y="83"/>
                    </a:lnTo>
                    <a:lnTo>
                      <a:pt x="250" y="83"/>
                    </a:lnTo>
                    <a:lnTo>
                      <a:pt x="251" y="83"/>
                    </a:lnTo>
                    <a:lnTo>
                      <a:pt x="253" y="83"/>
                    </a:lnTo>
                    <a:lnTo>
                      <a:pt x="253" y="81"/>
                    </a:lnTo>
                    <a:lnTo>
                      <a:pt x="255" y="81"/>
                    </a:lnTo>
                    <a:lnTo>
                      <a:pt x="255" y="80"/>
                    </a:lnTo>
                    <a:lnTo>
                      <a:pt x="253" y="80"/>
                    </a:lnTo>
                    <a:lnTo>
                      <a:pt x="253" y="78"/>
                    </a:lnTo>
                    <a:lnTo>
                      <a:pt x="253" y="76"/>
                    </a:lnTo>
                    <a:lnTo>
                      <a:pt x="253" y="75"/>
                    </a:lnTo>
                    <a:lnTo>
                      <a:pt x="255" y="75"/>
                    </a:lnTo>
                    <a:lnTo>
                      <a:pt x="253" y="75"/>
                    </a:lnTo>
                    <a:lnTo>
                      <a:pt x="255" y="75"/>
                    </a:lnTo>
                    <a:lnTo>
                      <a:pt x="255" y="73"/>
                    </a:lnTo>
                    <a:lnTo>
                      <a:pt x="256" y="73"/>
                    </a:lnTo>
                    <a:lnTo>
                      <a:pt x="256" y="71"/>
                    </a:lnTo>
                    <a:lnTo>
                      <a:pt x="256" y="73"/>
                    </a:lnTo>
                    <a:lnTo>
                      <a:pt x="256" y="71"/>
                    </a:lnTo>
                    <a:lnTo>
                      <a:pt x="258" y="73"/>
                    </a:lnTo>
                    <a:lnTo>
                      <a:pt x="258" y="71"/>
                    </a:lnTo>
                    <a:lnTo>
                      <a:pt x="258" y="73"/>
                    </a:lnTo>
                    <a:lnTo>
                      <a:pt x="258" y="71"/>
                    </a:lnTo>
                    <a:lnTo>
                      <a:pt x="260" y="71"/>
                    </a:lnTo>
                    <a:lnTo>
                      <a:pt x="261" y="71"/>
                    </a:lnTo>
                    <a:lnTo>
                      <a:pt x="263" y="71"/>
                    </a:lnTo>
                    <a:lnTo>
                      <a:pt x="263" y="73"/>
                    </a:lnTo>
                    <a:lnTo>
                      <a:pt x="265" y="73"/>
                    </a:lnTo>
                    <a:lnTo>
                      <a:pt x="267" y="73"/>
                    </a:lnTo>
                    <a:lnTo>
                      <a:pt x="267" y="75"/>
                    </a:lnTo>
                    <a:lnTo>
                      <a:pt x="268" y="75"/>
                    </a:lnTo>
                    <a:lnTo>
                      <a:pt x="270" y="75"/>
                    </a:lnTo>
                    <a:lnTo>
                      <a:pt x="272" y="75"/>
                    </a:lnTo>
                    <a:lnTo>
                      <a:pt x="273" y="75"/>
                    </a:lnTo>
                    <a:lnTo>
                      <a:pt x="275" y="75"/>
                    </a:lnTo>
                    <a:lnTo>
                      <a:pt x="277" y="75"/>
                    </a:lnTo>
                    <a:lnTo>
                      <a:pt x="278" y="75"/>
                    </a:lnTo>
                    <a:lnTo>
                      <a:pt x="280" y="75"/>
                    </a:lnTo>
                    <a:lnTo>
                      <a:pt x="282" y="75"/>
                    </a:lnTo>
                    <a:lnTo>
                      <a:pt x="284" y="75"/>
                    </a:lnTo>
                    <a:lnTo>
                      <a:pt x="284" y="73"/>
                    </a:lnTo>
                    <a:lnTo>
                      <a:pt x="285" y="73"/>
                    </a:lnTo>
                    <a:lnTo>
                      <a:pt x="287" y="73"/>
                    </a:lnTo>
                    <a:lnTo>
                      <a:pt x="287" y="71"/>
                    </a:lnTo>
                    <a:lnTo>
                      <a:pt x="289" y="71"/>
                    </a:lnTo>
                    <a:lnTo>
                      <a:pt x="289" y="69"/>
                    </a:lnTo>
                    <a:lnTo>
                      <a:pt x="290" y="69"/>
                    </a:lnTo>
                    <a:lnTo>
                      <a:pt x="292" y="69"/>
                    </a:lnTo>
                    <a:lnTo>
                      <a:pt x="292" y="68"/>
                    </a:lnTo>
                    <a:lnTo>
                      <a:pt x="294" y="66"/>
                    </a:lnTo>
                    <a:lnTo>
                      <a:pt x="295" y="66"/>
                    </a:lnTo>
                    <a:lnTo>
                      <a:pt x="295" y="64"/>
                    </a:lnTo>
                    <a:lnTo>
                      <a:pt x="297" y="64"/>
                    </a:lnTo>
                    <a:lnTo>
                      <a:pt x="299" y="64"/>
                    </a:lnTo>
                    <a:lnTo>
                      <a:pt x="299" y="63"/>
                    </a:lnTo>
                    <a:lnTo>
                      <a:pt x="301" y="63"/>
                    </a:lnTo>
                    <a:lnTo>
                      <a:pt x="301" y="61"/>
                    </a:lnTo>
                    <a:lnTo>
                      <a:pt x="302" y="61"/>
                    </a:lnTo>
                    <a:lnTo>
                      <a:pt x="302" y="59"/>
                    </a:lnTo>
                    <a:lnTo>
                      <a:pt x="304" y="59"/>
                    </a:lnTo>
                    <a:lnTo>
                      <a:pt x="306" y="59"/>
                    </a:lnTo>
                    <a:lnTo>
                      <a:pt x="307" y="58"/>
                    </a:lnTo>
                    <a:lnTo>
                      <a:pt x="309" y="58"/>
                    </a:lnTo>
                    <a:lnTo>
                      <a:pt x="311" y="58"/>
                    </a:lnTo>
                    <a:lnTo>
                      <a:pt x="311" y="56"/>
                    </a:lnTo>
                    <a:lnTo>
                      <a:pt x="312" y="56"/>
                    </a:lnTo>
                    <a:lnTo>
                      <a:pt x="314" y="56"/>
                    </a:lnTo>
                    <a:lnTo>
                      <a:pt x="316" y="56"/>
                    </a:lnTo>
                    <a:lnTo>
                      <a:pt x="316" y="54"/>
                    </a:lnTo>
                    <a:lnTo>
                      <a:pt x="318" y="54"/>
                    </a:lnTo>
                    <a:lnTo>
                      <a:pt x="319" y="54"/>
                    </a:lnTo>
                    <a:lnTo>
                      <a:pt x="319" y="52"/>
                    </a:lnTo>
                    <a:lnTo>
                      <a:pt x="321" y="52"/>
                    </a:lnTo>
                    <a:lnTo>
                      <a:pt x="321" y="51"/>
                    </a:lnTo>
                    <a:lnTo>
                      <a:pt x="323" y="49"/>
                    </a:lnTo>
                    <a:lnTo>
                      <a:pt x="323" y="47"/>
                    </a:lnTo>
                    <a:lnTo>
                      <a:pt x="324" y="46"/>
                    </a:lnTo>
                    <a:lnTo>
                      <a:pt x="324" y="44"/>
                    </a:lnTo>
                    <a:lnTo>
                      <a:pt x="324" y="42"/>
                    </a:lnTo>
                    <a:lnTo>
                      <a:pt x="323" y="42"/>
                    </a:lnTo>
                    <a:lnTo>
                      <a:pt x="323" y="41"/>
                    </a:lnTo>
                    <a:lnTo>
                      <a:pt x="324" y="41"/>
                    </a:lnTo>
                    <a:lnTo>
                      <a:pt x="326" y="41"/>
                    </a:lnTo>
                    <a:lnTo>
                      <a:pt x="328" y="41"/>
                    </a:lnTo>
                    <a:lnTo>
                      <a:pt x="329" y="41"/>
                    </a:lnTo>
                    <a:lnTo>
                      <a:pt x="329" y="42"/>
                    </a:lnTo>
                    <a:lnTo>
                      <a:pt x="329" y="44"/>
                    </a:lnTo>
                    <a:lnTo>
                      <a:pt x="331" y="44"/>
                    </a:lnTo>
                    <a:lnTo>
                      <a:pt x="331" y="42"/>
                    </a:lnTo>
                    <a:lnTo>
                      <a:pt x="333" y="42"/>
                    </a:lnTo>
                    <a:lnTo>
                      <a:pt x="333" y="41"/>
                    </a:lnTo>
                    <a:lnTo>
                      <a:pt x="333" y="39"/>
                    </a:lnTo>
                    <a:lnTo>
                      <a:pt x="333" y="41"/>
                    </a:lnTo>
                    <a:lnTo>
                      <a:pt x="333" y="39"/>
                    </a:lnTo>
                    <a:lnTo>
                      <a:pt x="331" y="39"/>
                    </a:lnTo>
                    <a:lnTo>
                      <a:pt x="333" y="39"/>
                    </a:lnTo>
                    <a:lnTo>
                      <a:pt x="331" y="39"/>
                    </a:lnTo>
                    <a:lnTo>
                      <a:pt x="329" y="39"/>
                    </a:lnTo>
                    <a:lnTo>
                      <a:pt x="331" y="39"/>
                    </a:lnTo>
                    <a:lnTo>
                      <a:pt x="333" y="37"/>
                    </a:lnTo>
                    <a:lnTo>
                      <a:pt x="333" y="35"/>
                    </a:lnTo>
                    <a:lnTo>
                      <a:pt x="335" y="37"/>
                    </a:lnTo>
                    <a:lnTo>
                      <a:pt x="335" y="35"/>
                    </a:lnTo>
                    <a:lnTo>
                      <a:pt x="335" y="37"/>
                    </a:lnTo>
                    <a:lnTo>
                      <a:pt x="336" y="39"/>
                    </a:lnTo>
                    <a:lnTo>
                      <a:pt x="336" y="37"/>
                    </a:lnTo>
                    <a:lnTo>
                      <a:pt x="338" y="37"/>
                    </a:lnTo>
                    <a:lnTo>
                      <a:pt x="338" y="35"/>
                    </a:lnTo>
                    <a:lnTo>
                      <a:pt x="336" y="35"/>
                    </a:lnTo>
                    <a:lnTo>
                      <a:pt x="338" y="35"/>
                    </a:lnTo>
                    <a:lnTo>
                      <a:pt x="338" y="34"/>
                    </a:lnTo>
                    <a:lnTo>
                      <a:pt x="338" y="35"/>
                    </a:lnTo>
                    <a:lnTo>
                      <a:pt x="340" y="35"/>
                    </a:lnTo>
                    <a:lnTo>
                      <a:pt x="338" y="35"/>
                    </a:lnTo>
                    <a:lnTo>
                      <a:pt x="340" y="35"/>
                    </a:lnTo>
                    <a:lnTo>
                      <a:pt x="341" y="35"/>
                    </a:lnTo>
                    <a:lnTo>
                      <a:pt x="341" y="34"/>
                    </a:lnTo>
                    <a:lnTo>
                      <a:pt x="340" y="34"/>
                    </a:lnTo>
                    <a:lnTo>
                      <a:pt x="341" y="34"/>
                    </a:lnTo>
                    <a:lnTo>
                      <a:pt x="340" y="34"/>
                    </a:lnTo>
                    <a:lnTo>
                      <a:pt x="338" y="34"/>
                    </a:lnTo>
                    <a:lnTo>
                      <a:pt x="340" y="34"/>
                    </a:lnTo>
                    <a:lnTo>
                      <a:pt x="340" y="32"/>
                    </a:lnTo>
                    <a:lnTo>
                      <a:pt x="341" y="34"/>
                    </a:lnTo>
                    <a:lnTo>
                      <a:pt x="343" y="34"/>
                    </a:lnTo>
                    <a:lnTo>
                      <a:pt x="345" y="34"/>
                    </a:lnTo>
                    <a:lnTo>
                      <a:pt x="346" y="34"/>
                    </a:lnTo>
                    <a:lnTo>
                      <a:pt x="346" y="35"/>
                    </a:lnTo>
                    <a:lnTo>
                      <a:pt x="348" y="35"/>
                    </a:lnTo>
                    <a:lnTo>
                      <a:pt x="350" y="35"/>
                    </a:lnTo>
                    <a:lnTo>
                      <a:pt x="352" y="35"/>
                    </a:lnTo>
                    <a:lnTo>
                      <a:pt x="352" y="37"/>
                    </a:lnTo>
                    <a:lnTo>
                      <a:pt x="352" y="35"/>
                    </a:lnTo>
                    <a:lnTo>
                      <a:pt x="352" y="37"/>
                    </a:lnTo>
                    <a:lnTo>
                      <a:pt x="353" y="37"/>
                    </a:lnTo>
                    <a:lnTo>
                      <a:pt x="355" y="37"/>
                    </a:lnTo>
                    <a:lnTo>
                      <a:pt x="355" y="39"/>
                    </a:lnTo>
                    <a:lnTo>
                      <a:pt x="355" y="41"/>
                    </a:lnTo>
                    <a:lnTo>
                      <a:pt x="357" y="41"/>
                    </a:lnTo>
                    <a:lnTo>
                      <a:pt x="357" y="42"/>
                    </a:lnTo>
                    <a:lnTo>
                      <a:pt x="357" y="44"/>
                    </a:lnTo>
                    <a:lnTo>
                      <a:pt x="358" y="44"/>
                    </a:lnTo>
                    <a:lnTo>
                      <a:pt x="358" y="46"/>
                    </a:lnTo>
                    <a:lnTo>
                      <a:pt x="358" y="47"/>
                    </a:lnTo>
                    <a:lnTo>
                      <a:pt x="358" y="49"/>
                    </a:lnTo>
                    <a:lnTo>
                      <a:pt x="357" y="49"/>
                    </a:lnTo>
                    <a:lnTo>
                      <a:pt x="355" y="49"/>
                    </a:lnTo>
                    <a:lnTo>
                      <a:pt x="355" y="51"/>
                    </a:lnTo>
                    <a:lnTo>
                      <a:pt x="353" y="51"/>
                    </a:lnTo>
                    <a:lnTo>
                      <a:pt x="353" y="52"/>
                    </a:lnTo>
                    <a:lnTo>
                      <a:pt x="352" y="52"/>
                    </a:lnTo>
                    <a:lnTo>
                      <a:pt x="352" y="54"/>
                    </a:lnTo>
                    <a:lnTo>
                      <a:pt x="350" y="54"/>
                    </a:lnTo>
                    <a:close/>
                    <a:moveTo>
                      <a:pt x="1" y="29"/>
                    </a:moveTo>
                    <a:lnTo>
                      <a:pt x="1" y="30"/>
                    </a:lnTo>
                    <a:lnTo>
                      <a:pt x="1" y="32"/>
                    </a:lnTo>
                    <a:lnTo>
                      <a:pt x="0" y="32"/>
                    </a:lnTo>
                    <a:lnTo>
                      <a:pt x="0" y="30"/>
                    </a:lnTo>
                    <a:lnTo>
                      <a:pt x="0" y="29"/>
                    </a:lnTo>
                    <a:lnTo>
                      <a:pt x="1" y="29"/>
                    </a:lnTo>
                    <a:close/>
                    <a:moveTo>
                      <a:pt x="12" y="1"/>
                    </a:moveTo>
                    <a:lnTo>
                      <a:pt x="13" y="1"/>
                    </a:lnTo>
                    <a:lnTo>
                      <a:pt x="13" y="3"/>
                    </a:lnTo>
                    <a:lnTo>
                      <a:pt x="12" y="3"/>
                    </a:lnTo>
                    <a:lnTo>
                      <a:pt x="12" y="1"/>
                    </a:lnTo>
                    <a:close/>
                    <a:moveTo>
                      <a:pt x="207" y="105"/>
                    </a:moveTo>
                    <a:lnTo>
                      <a:pt x="209" y="105"/>
                    </a:lnTo>
                    <a:lnTo>
                      <a:pt x="209" y="107"/>
                    </a:lnTo>
                    <a:lnTo>
                      <a:pt x="207" y="107"/>
                    </a:lnTo>
                    <a:lnTo>
                      <a:pt x="207" y="105"/>
                    </a:lnTo>
                    <a:close/>
                    <a:moveTo>
                      <a:pt x="119" y="355"/>
                    </a:moveTo>
                    <a:lnTo>
                      <a:pt x="120" y="355"/>
                    </a:lnTo>
                    <a:lnTo>
                      <a:pt x="120" y="357"/>
                    </a:lnTo>
                    <a:lnTo>
                      <a:pt x="119" y="357"/>
                    </a:lnTo>
                    <a:lnTo>
                      <a:pt x="119" y="355"/>
                    </a:lnTo>
                    <a:close/>
                    <a:moveTo>
                      <a:pt x="154" y="328"/>
                    </a:moveTo>
                    <a:lnTo>
                      <a:pt x="154" y="330"/>
                    </a:lnTo>
                    <a:lnTo>
                      <a:pt x="154" y="328"/>
                    </a:lnTo>
                    <a:close/>
                    <a:moveTo>
                      <a:pt x="100" y="394"/>
                    </a:moveTo>
                    <a:lnTo>
                      <a:pt x="102" y="394"/>
                    </a:lnTo>
                    <a:lnTo>
                      <a:pt x="102" y="396"/>
                    </a:lnTo>
                    <a:lnTo>
                      <a:pt x="100" y="396"/>
                    </a:lnTo>
                    <a:lnTo>
                      <a:pt x="100" y="394"/>
                    </a:lnTo>
                    <a:close/>
                    <a:moveTo>
                      <a:pt x="158" y="325"/>
                    </a:moveTo>
                    <a:lnTo>
                      <a:pt x="158" y="326"/>
                    </a:lnTo>
                    <a:lnTo>
                      <a:pt x="158" y="325"/>
                    </a:lnTo>
                    <a:close/>
                    <a:moveTo>
                      <a:pt x="93" y="403"/>
                    </a:moveTo>
                    <a:lnTo>
                      <a:pt x="95" y="403"/>
                    </a:lnTo>
                    <a:lnTo>
                      <a:pt x="95" y="405"/>
                    </a:lnTo>
                    <a:lnTo>
                      <a:pt x="93" y="405"/>
                    </a:lnTo>
                    <a:lnTo>
                      <a:pt x="93" y="403"/>
                    </a:lnTo>
                    <a:close/>
                    <a:moveTo>
                      <a:pt x="199" y="124"/>
                    </a:moveTo>
                    <a:lnTo>
                      <a:pt x="200" y="124"/>
                    </a:lnTo>
                    <a:lnTo>
                      <a:pt x="199" y="124"/>
                    </a:lnTo>
                    <a:close/>
                    <a:moveTo>
                      <a:pt x="187" y="138"/>
                    </a:moveTo>
                    <a:lnTo>
                      <a:pt x="188" y="138"/>
                    </a:lnTo>
                    <a:lnTo>
                      <a:pt x="188" y="139"/>
                    </a:lnTo>
                    <a:lnTo>
                      <a:pt x="187" y="139"/>
                    </a:lnTo>
                    <a:lnTo>
                      <a:pt x="187" y="138"/>
                    </a:lnTo>
                    <a:close/>
                    <a:moveTo>
                      <a:pt x="156" y="325"/>
                    </a:moveTo>
                    <a:lnTo>
                      <a:pt x="156" y="326"/>
                    </a:lnTo>
                    <a:lnTo>
                      <a:pt x="156" y="325"/>
                    </a:lnTo>
                    <a:close/>
                    <a:moveTo>
                      <a:pt x="202" y="110"/>
                    </a:moveTo>
                    <a:lnTo>
                      <a:pt x="204" y="110"/>
                    </a:lnTo>
                    <a:lnTo>
                      <a:pt x="204" y="112"/>
                    </a:lnTo>
                    <a:lnTo>
                      <a:pt x="202" y="112"/>
                    </a:lnTo>
                    <a:lnTo>
                      <a:pt x="202" y="110"/>
                    </a:lnTo>
                    <a:close/>
                    <a:moveTo>
                      <a:pt x="144" y="311"/>
                    </a:moveTo>
                    <a:lnTo>
                      <a:pt x="146" y="311"/>
                    </a:lnTo>
                    <a:lnTo>
                      <a:pt x="144" y="311"/>
                    </a:lnTo>
                    <a:close/>
                    <a:moveTo>
                      <a:pt x="210" y="100"/>
                    </a:moveTo>
                    <a:lnTo>
                      <a:pt x="210" y="102"/>
                    </a:lnTo>
                    <a:lnTo>
                      <a:pt x="210" y="100"/>
                    </a:lnTo>
                    <a:close/>
                    <a:moveTo>
                      <a:pt x="98" y="396"/>
                    </a:moveTo>
                    <a:lnTo>
                      <a:pt x="100" y="396"/>
                    </a:lnTo>
                    <a:lnTo>
                      <a:pt x="98" y="396"/>
                    </a:lnTo>
                    <a:close/>
                    <a:moveTo>
                      <a:pt x="209" y="103"/>
                    </a:moveTo>
                    <a:lnTo>
                      <a:pt x="210" y="103"/>
                    </a:lnTo>
                    <a:lnTo>
                      <a:pt x="209" y="103"/>
                    </a:lnTo>
                    <a:close/>
                    <a:moveTo>
                      <a:pt x="108" y="372"/>
                    </a:moveTo>
                    <a:lnTo>
                      <a:pt x="110" y="372"/>
                    </a:lnTo>
                    <a:lnTo>
                      <a:pt x="108" y="372"/>
                    </a:lnTo>
                    <a:close/>
                    <a:moveTo>
                      <a:pt x="105" y="377"/>
                    </a:moveTo>
                    <a:lnTo>
                      <a:pt x="105" y="379"/>
                    </a:lnTo>
                    <a:lnTo>
                      <a:pt x="105" y="377"/>
                    </a:lnTo>
                    <a:close/>
                    <a:moveTo>
                      <a:pt x="12" y="0"/>
                    </a:moveTo>
                    <a:lnTo>
                      <a:pt x="13" y="0"/>
                    </a:lnTo>
                    <a:lnTo>
                      <a:pt x="13" y="1"/>
                    </a:lnTo>
                    <a:lnTo>
                      <a:pt x="12" y="1"/>
                    </a:lnTo>
                    <a:lnTo>
                      <a:pt x="12" y="0"/>
                    </a:lnTo>
                    <a:close/>
                    <a:moveTo>
                      <a:pt x="146" y="311"/>
                    </a:moveTo>
                    <a:lnTo>
                      <a:pt x="146" y="313"/>
                    </a:lnTo>
                    <a:lnTo>
                      <a:pt x="146" y="311"/>
                    </a:lnTo>
                    <a:close/>
                    <a:moveTo>
                      <a:pt x="255" y="71"/>
                    </a:moveTo>
                    <a:lnTo>
                      <a:pt x="255" y="73"/>
                    </a:lnTo>
                    <a:lnTo>
                      <a:pt x="255" y="71"/>
                    </a:lnTo>
                    <a:close/>
                    <a:moveTo>
                      <a:pt x="148" y="308"/>
                    </a:moveTo>
                    <a:lnTo>
                      <a:pt x="148" y="309"/>
                    </a:lnTo>
                    <a:lnTo>
                      <a:pt x="148" y="308"/>
                    </a:lnTo>
                    <a:close/>
                    <a:moveTo>
                      <a:pt x="142" y="316"/>
                    </a:moveTo>
                    <a:lnTo>
                      <a:pt x="144" y="316"/>
                    </a:lnTo>
                    <a:lnTo>
                      <a:pt x="142" y="316"/>
                    </a:lnTo>
                    <a:close/>
                    <a:moveTo>
                      <a:pt x="142" y="316"/>
                    </a:moveTo>
                    <a:lnTo>
                      <a:pt x="144" y="316"/>
                    </a:lnTo>
                    <a:lnTo>
                      <a:pt x="144" y="318"/>
                    </a:lnTo>
                    <a:lnTo>
                      <a:pt x="142" y="318"/>
                    </a:lnTo>
                    <a:lnTo>
                      <a:pt x="142" y="316"/>
                    </a:lnTo>
                    <a:close/>
                    <a:moveTo>
                      <a:pt x="122" y="369"/>
                    </a:moveTo>
                    <a:lnTo>
                      <a:pt x="122" y="371"/>
                    </a:lnTo>
                    <a:lnTo>
                      <a:pt x="122" y="36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9" name="Freeform 25">
                <a:extLst>
                  <a:ext uri="{FF2B5EF4-FFF2-40B4-BE49-F238E27FC236}">
                    <a16:creationId xmlns:a16="http://schemas.microsoft.com/office/drawing/2014/main" id="{DB597224-442D-052D-EE50-E81C4E47BA4F}"/>
                  </a:ext>
                </a:extLst>
              </p:cNvPr>
              <p:cNvSpPr>
                <a:spLocks/>
              </p:cNvSpPr>
              <p:nvPr/>
            </p:nvSpPr>
            <p:spPr bwMode="auto">
              <a:xfrm>
                <a:off x="5692680" y="2822884"/>
                <a:ext cx="3819" cy="3526"/>
              </a:xfrm>
              <a:custGeom>
                <a:avLst/>
                <a:gdLst>
                  <a:gd name="T0" fmla="*/ 1 w 13"/>
                  <a:gd name="T1" fmla="*/ 0 h 12"/>
                  <a:gd name="T2" fmla="*/ 3 w 13"/>
                  <a:gd name="T3" fmla="*/ 2 h 12"/>
                  <a:gd name="T4" fmla="*/ 3 w 13"/>
                  <a:gd name="T5" fmla="*/ 4 h 12"/>
                  <a:gd name="T6" fmla="*/ 5 w 13"/>
                  <a:gd name="T7" fmla="*/ 6 h 12"/>
                  <a:gd name="T8" fmla="*/ 5 w 13"/>
                  <a:gd name="T9" fmla="*/ 7 h 12"/>
                  <a:gd name="T10" fmla="*/ 6 w 13"/>
                  <a:gd name="T11" fmla="*/ 7 h 12"/>
                  <a:gd name="T12" fmla="*/ 8 w 13"/>
                  <a:gd name="T13" fmla="*/ 7 h 12"/>
                  <a:gd name="T14" fmla="*/ 10 w 13"/>
                  <a:gd name="T15" fmla="*/ 7 h 12"/>
                  <a:gd name="T16" fmla="*/ 12 w 13"/>
                  <a:gd name="T17" fmla="*/ 9 h 12"/>
                  <a:gd name="T18" fmla="*/ 12 w 13"/>
                  <a:gd name="T19" fmla="*/ 11 h 12"/>
                  <a:gd name="T20" fmla="*/ 13 w 13"/>
                  <a:gd name="T21" fmla="*/ 11 h 12"/>
                  <a:gd name="T22" fmla="*/ 13 w 13"/>
                  <a:gd name="T23" fmla="*/ 12 h 12"/>
                  <a:gd name="T24" fmla="*/ 12 w 13"/>
                  <a:gd name="T25" fmla="*/ 12 h 12"/>
                  <a:gd name="T26" fmla="*/ 10 w 13"/>
                  <a:gd name="T27" fmla="*/ 12 h 12"/>
                  <a:gd name="T28" fmla="*/ 10 w 13"/>
                  <a:gd name="T29" fmla="*/ 11 h 12"/>
                  <a:gd name="T30" fmla="*/ 8 w 13"/>
                  <a:gd name="T31" fmla="*/ 11 h 12"/>
                  <a:gd name="T32" fmla="*/ 6 w 13"/>
                  <a:gd name="T33" fmla="*/ 11 h 12"/>
                  <a:gd name="T34" fmla="*/ 6 w 13"/>
                  <a:gd name="T35" fmla="*/ 9 h 12"/>
                  <a:gd name="T36" fmla="*/ 5 w 13"/>
                  <a:gd name="T37" fmla="*/ 9 h 12"/>
                  <a:gd name="T38" fmla="*/ 5 w 13"/>
                  <a:gd name="T39" fmla="*/ 7 h 12"/>
                  <a:gd name="T40" fmla="*/ 3 w 13"/>
                  <a:gd name="T41" fmla="*/ 7 h 12"/>
                  <a:gd name="T42" fmla="*/ 1 w 13"/>
                  <a:gd name="T43" fmla="*/ 7 h 12"/>
                  <a:gd name="T44" fmla="*/ 1 w 13"/>
                  <a:gd name="T45" fmla="*/ 6 h 12"/>
                  <a:gd name="T46" fmla="*/ 1 w 13"/>
                  <a:gd name="T47" fmla="*/ 4 h 12"/>
                  <a:gd name="T48" fmla="*/ 0 w 13"/>
                  <a:gd name="T49" fmla="*/ 4 h 12"/>
                  <a:gd name="T50" fmla="*/ 0 w 13"/>
                  <a:gd name="T51" fmla="*/ 2 h 12"/>
                  <a:gd name="T52" fmla="*/ 0 w 13"/>
                  <a:gd name="T53" fmla="*/ 0 h 12"/>
                  <a:gd name="T54" fmla="*/ 1 w 13"/>
                  <a:gd name="T5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 h="12">
                    <a:moveTo>
                      <a:pt x="1" y="0"/>
                    </a:moveTo>
                    <a:lnTo>
                      <a:pt x="3" y="2"/>
                    </a:lnTo>
                    <a:lnTo>
                      <a:pt x="3" y="4"/>
                    </a:lnTo>
                    <a:lnTo>
                      <a:pt x="5" y="6"/>
                    </a:lnTo>
                    <a:lnTo>
                      <a:pt x="5" y="7"/>
                    </a:lnTo>
                    <a:lnTo>
                      <a:pt x="6" y="7"/>
                    </a:lnTo>
                    <a:lnTo>
                      <a:pt x="8" y="7"/>
                    </a:lnTo>
                    <a:lnTo>
                      <a:pt x="10" y="7"/>
                    </a:lnTo>
                    <a:lnTo>
                      <a:pt x="12" y="9"/>
                    </a:lnTo>
                    <a:lnTo>
                      <a:pt x="12" y="11"/>
                    </a:lnTo>
                    <a:lnTo>
                      <a:pt x="13" y="11"/>
                    </a:lnTo>
                    <a:lnTo>
                      <a:pt x="13" y="12"/>
                    </a:lnTo>
                    <a:lnTo>
                      <a:pt x="12" y="12"/>
                    </a:lnTo>
                    <a:lnTo>
                      <a:pt x="10" y="12"/>
                    </a:lnTo>
                    <a:lnTo>
                      <a:pt x="10" y="11"/>
                    </a:lnTo>
                    <a:lnTo>
                      <a:pt x="8" y="11"/>
                    </a:lnTo>
                    <a:lnTo>
                      <a:pt x="6" y="11"/>
                    </a:lnTo>
                    <a:lnTo>
                      <a:pt x="6" y="9"/>
                    </a:lnTo>
                    <a:lnTo>
                      <a:pt x="5" y="9"/>
                    </a:lnTo>
                    <a:lnTo>
                      <a:pt x="5" y="7"/>
                    </a:lnTo>
                    <a:lnTo>
                      <a:pt x="3" y="7"/>
                    </a:lnTo>
                    <a:lnTo>
                      <a:pt x="1" y="7"/>
                    </a:lnTo>
                    <a:lnTo>
                      <a:pt x="1" y="6"/>
                    </a:lnTo>
                    <a:lnTo>
                      <a:pt x="1" y="4"/>
                    </a:lnTo>
                    <a:lnTo>
                      <a:pt x="0" y="4"/>
                    </a:lnTo>
                    <a:lnTo>
                      <a:pt x="0" y="2"/>
                    </a:lnTo>
                    <a:lnTo>
                      <a:pt x="0" y="0"/>
                    </a:lnTo>
                    <a:lnTo>
                      <a:pt x="1"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0" name="Freeform 28">
                <a:extLst>
                  <a:ext uri="{FF2B5EF4-FFF2-40B4-BE49-F238E27FC236}">
                    <a16:creationId xmlns:a16="http://schemas.microsoft.com/office/drawing/2014/main" id="{F5A9AA68-C170-F391-7866-4F1BE1AA6604}"/>
                  </a:ext>
                </a:extLst>
              </p:cNvPr>
              <p:cNvSpPr>
                <a:spLocks noEditPoints="1"/>
              </p:cNvSpPr>
              <p:nvPr/>
            </p:nvSpPr>
            <p:spPr bwMode="auto">
              <a:xfrm>
                <a:off x="5469451" y="2932442"/>
                <a:ext cx="163308" cy="64030"/>
              </a:xfrm>
              <a:custGeom>
                <a:avLst/>
                <a:gdLst>
                  <a:gd name="T0" fmla="*/ 549 w 556"/>
                  <a:gd name="T1" fmla="*/ 61 h 218"/>
                  <a:gd name="T2" fmla="*/ 554 w 556"/>
                  <a:gd name="T3" fmla="*/ 78 h 218"/>
                  <a:gd name="T4" fmla="*/ 540 w 556"/>
                  <a:gd name="T5" fmla="*/ 104 h 218"/>
                  <a:gd name="T6" fmla="*/ 489 w 556"/>
                  <a:gd name="T7" fmla="*/ 143 h 218"/>
                  <a:gd name="T8" fmla="*/ 454 w 556"/>
                  <a:gd name="T9" fmla="*/ 167 h 218"/>
                  <a:gd name="T10" fmla="*/ 447 w 556"/>
                  <a:gd name="T11" fmla="*/ 177 h 218"/>
                  <a:gd name="T12" fmla="*/ 440 w 556"/>
                  <a:gd name="T13" fmla="*/ 197 h 218"/>
                  <a:gd name="T14" fmla="*/ 428 w 556"/>
                  <a:gd name="T15" fmla="*/ 216 h 218"/>
                  <a:gd name="T16" fmla="*/ 409 w 556"/>
                  <a:gd name="T17" fmla="*/ 202 h 218"/>
                  <a:gd name="T18" fmla="*/ 387 w 556"/>
                  <a:gd name="T19" fmla="*/ 196 h 218"/>
                  <a:gd name="T20" fmla="*/ 382 w 556"/>
                  <a:gd name="T21" fmla="*/ 192 h 218"/>
                  <a:gd name="T22" fmla="*/ 389 w 556"/>
                  <a:gd name="T23" fmla="*/ 179 h 218"/>
                  <a:gd name="T24" fmla="*/ 392 w 556"/>
                  <a:gd name="T25" fmla="*/ 160 h 218"/>
                  <a:gd name="T26" fmla="*/ 401 w 556"/>
                  <a:gd name="T27" fmla="*/ 138 h 218"/>
                  <a:gd name="T28" fmla="*/ 399 w 556"/>
                  <a:gd name="T29" fmla="*/ 126 h 218"/>
                  <a:gd name="T30" fmla="*/ 398 w 556"/>
                  <a:gd name="T31" fmla="*/ 128 h 218"/>
                  <a:gd name="T32" fmla="*/ 389 w 556"/>
                  <a:gd name="T33" fmla="*/ 136 h 218"/>
                  <a:gd name="T34" fmla="*/ 370 w 556"/>
                  <a:gd name="T35" fmla="*/ 129 h 218"/>
                  <a:gd name="T36" fmla="*/ 369 w 556"/>
                  <a:gd name="T37" fmla="*/ 119 h 218"/>
                  <a:gd name="T38" fmla="*/ 369 w 556"/>
                  <a:gd name="T39" fmla="*/ 94 h 218"/>
                  <a:gd name="T40" fmla="*/ 374 w 556"/>
                  <a:gd name="T41" fmla="*/ 80 h 218"/>
                  <a:gd name="T42" fmla="*/ 379 w 556"/>
                  <a:gd name="T43" fmla="*/ 66 h 218"/>
                  <a:gd name="T44" fmla="*/ 391 w 556"/>
                  <a:gd name="T45" fmla="*/ 49 h 218"/>
                  <a:gd name="T46" fmla="*/ 394 w 556"/>
                  <a:gd name="T47" fmla="*/ 36 h 218"/>
                  <a:gd name="T48" fmla="*/ 398 w 556"/>
                  <a:gd name="T49" fmla="*/ 20 h 218"/>
                  <a:gd name="T50" fmla="*/ 425 w 556"/>
                  <a:gd name="T51" fmla="*/ 10 h 218"/>
                  <a:gd name="T52" fmla="*/ 435 w 556"/>
                  <a:gd name="T53" fmla="*/ 5 h 218"/>
                  <a:gd name="T54" fmla="*/ 447 w 556"/>
                  <a:gd name="T55" fmla="*/ 8 h 218"/>
                  <a:gd name="T56" fmla="*/ 464 w 556"/>
                  <a:gd name="T57" fmla="*/ 20 h 218"/>
                  <a:gd name="T58" fmla="*/ 477 w 556"/>
                  <a:gd name="T59" fmla="*/ 29 h 218"/>
                  <a:gd name="T60" fmla="*/ 493 w 556"/>
                  <a:gd name="T61" fmla="*/ 37 h 218"/>
                  <a:gd name="T62" fmla="*/ 513 w 556"/>
                  <a:gd name="T63" fmla="*/ 41 h 218"/>
                  <a:gd name="T64" fmla="*/ 532 w 556"/>
                  <a:gd name="T65" fmla="*/ 43 h 218"/>
                  <a:gd name="T66" fmla="*/ 554 w 556"/>
                  <a:gd name="T67" fmla="*/ 53 h 218"/>
                  <a:gd name="T68" fmla="*/ 24 w 556"/>
                  <a:gd name="T69" fmla="*/ 65 h 218"/>
                  <a:gd name="T70" fmla="*/ 25 w 556"/>
                  <a:gd name="T71" fmla="*/ 82 h 218"/>
                  <a:gd name="T72" fmla="*/ 5 w 556"/>
                  <a:gd name="T73" fmla="*/ 78 h 218"/>
                  <a:gd name="T74" fmla="*/ 15 w 556"/>
                  <a:gd name="T75" fmla="*/ 63 h 218"/>
                  <a:gd name="T76" fmla="*/ 5 w 556"/>
                  <a:gd name="T77" fmla="*/ 48 h 218"/>
                  <a:gd name="T78" fmla="*/ 44 w 556"/>
                  <a:gd name="T79" fmla="*/ 75 h 218"/>
                  <a:gd name="T80" fmla="*/ 46 w 556"/>
                  <a:gd name="T81" fmla="*/ 65 h 218"/>
                  <a:gd name="T82" fmla="*/ 389 w 556"/>
                  <a:gd name="T83" fmla="*/ 148 h 218"/>
                  <a:gd name="T84" fmla="*/ 8 w 556"/>
                  <a:gd name="T85" fmla="*/ 58 h 218"/>
                  <a:gd name="T86" fmla="*/ 7 w 556"/>
                  <a:gd name="T87" fmla="*/ 58 h 218"/>
                  <a:gd name="T88" fmla="*/ 30 w 556"/>
                  <a:gd name="T89" fmla="*/ 54 h 218"/>
                  <a:gd name="T90" fmla="*/ 71 w 556"/>
                  <a:gd name="T91" fmla="*/ 78 h 218"/>
                  <a:gd name="T92" fmla="*/ 41 w 556"/>
                  <a:gd name="T93" fmla="*/ 90 h 218"/>
                  <a:gd name="T94" fmla="*/ 399 w 556"/>
                  <a:gd name="T95" fmla="*/ 136 h 218"/>
                  <a:gd name="T96" fmla="*/ 391 w 556"/>
                  <a:gd name="T97" fmla="*/ 136 h 218"/>
                  <a:gd name="T98" fmla="*/ 403 w 556"/>
                  <a:gd name="T99" fmla="*/ 138 h 218"/>
                  <a:gd name="T100" fmla="*/ 428 w 556"/>
                  <a:gd name="T101" fmla="*/ 5 h 218"/>
                  <a:gd name="T102" fmla="*/ 66 w 556"/>
                  <a:gd name="T103" fmla="*/ 95 h 218"/>
                  <a:gd name="T104" fmla="*/ 391 w 556"/>
                  <a:gd name="T105" fmla="*/ 145 h 218"/>
                  <a:gd name="T106" fmla="*/ 394 w 556"/>
                  <a:gd name="T107" fmla="*/ 124 h 218"/>
                  <a:gd name="T108" fmla="*/ 394 w 556"/>
                  <a:gd name="T109" fmla="*/ 138 h 218"/>
                  <a:gd name="T110" fmla="*/ 392 w 556"/>
                  <a:gd name="T111" fmla="*/ 129 h 218"/>
                  <a:gd name="T112" fmla="*/ 387 w 556"/>
                  <a:gd name="T113" fmla="*/ 162 h 218"/>
                  <a:gd name="T114" fmla="*/ 392 w 556"/>
                  <a:gd name="T115" fmla="*/ 36 h 218"/>
                  <a:gd name="T116" fmla="*/ 394 w 556"/>
                  <a:gd name="T117" fmla="*/ 129 h 218"/>
                  <a:gd name="T118" fmla="*/ 396 w 556"/>
                  <a:gd name="T119" fmla="*/ 131 h 218"/>
                  <a:gd name="T120" fmla="*/ 399 w 556"/>
                  <a:gd name="T121" fmla="*/ 134 h 218"/>
                  <a:gd name="T122" fmla="*/ 387 w 556"/>
                  <a:gd name="T123" fmla="*/ 139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56" h="218">
                    <a:moveTo>
                      <a:pt x="554" y="53"/>
                    </a:moveTo>
                    <a:lnTo>
                      <a:pt x="552" y="54"/>
                    </a:lnTo>
                    <a:lnTo>
                      <a:pt x="551" y="54"/>
                    </a:lnTo>
                    <a:lnTo>
                      <a:pt x="549" y="54"/>
                    </a:lnTo>
                    <a:lnTo>
                      <a:pt x="547" y="54"/>
                    </a:lnTo>
                    <a:lnTo>
                      <a:pt x="547" y="53"/>
                    </a:lnTo>
                    <a:lnTo>
                      <a:pt x="545" y="53"/>
                    </a:lnTo>
                    <a:lnTo>
                      <a:pt x="544" y="53"/>
                    </a:lnTo>
                    <a:lnTo>
                      <a:pt x="542" y="53"/>
                    </a:lnTo>
                    <a:lnTo>
                      <a:pt x="542" y="54"/>
                    </a:lnTo>
                    <a:lnTo>
                      <a:pt x="544" y="54"/>
                    </a:lnTo>
                    <a:lnTo>
                      <a:pt x="544" y="56"/>
                    </a:lnTo>
                    <a:lnTo>
                      <a:pt x="545" y="56"/>
                    </a:lnTo>
                    <a:lnTo>
                      <a:pt x="547" y="58"/>
                    </a:lnTo>
                    <a:lnTo>
                      <a:pt x="545" y="58"/>
                    </a:lnTo>
                    <a:lnTo>
                      <a:pt x="547" y="58"/>
                    </a:lnTo>
                    <a:lnTo>
                      <a:pt x="547" y="60"/>
                    </a:lnTo>
                    <a:lnTo>
                      <a:pt x="547" y="61"/>
                    </a:lnTo>
                    <a:lnTo>
                      <a:pt x="549" y="61"/>
                    </a:lnTo>
                    <a:lnTo>
                      <a:pt x="549" y="63"/>
                    </a:lnTo>
                    <a:lnTo>
                      <a:pt x="551" y="65"/>
                    </a:lnTo>
                    <a:lnTo>
                      <a:pt x="552" y="65"/>
                    </a:lnTo>
                    <a:lnTo>
                      <a:pt x="552" y="66"/>
                    </a:lnTo>
                    <a:lnTo>
                      <a:pt x="554" y="66"/>
                    </a:lnTo>
                    <a:lnTo>
                      <a:pt x="554" y="68"/>
                    </a:lnTo>
                    <a:lnTo>
                      <a:pt x="556" y="68"/>
                    </a:lnTo>
                    <a:lnTo>
                      <a:pt x="554" y="68"/>
                    </a:lnTo>
                    <a:lnTo>
                      <a:pt x="554" y="70"/>
                    </a:lnTo>
                    <a:lnTo>
                      <a:pt x="556" y="70"/>
                    </a:lnTo>
                    <a:lnTo>
                      <a:pt x="554" y="71"/>
                    </a:lnTo>
                    <a:lnTo>
                      <a:pt x="554" y="70"/>
                    </a:lnTo>
                    <a:lnTo>
                      <a:pt x="554" y="71"/>
                    </a:lnTo>
                    <a:lnTo>
                      <a:pt x="554" y="70"/>
                    </a:lnTo>
                    <a:lnTo>
                      <a:pt x="554" y="71"/>
                    </a:lnTo>
                    <a:lnTo>
                      <a:pt x="554" y="73"/>
                    </a:lnTo>
                    <a:lnTo>
                      <a:pt x="554" y="75"/>
                    </a:lnTo>
                    <a:lnTo>
                      <a:pt x="554" y="77"/>
                    </a:lnTo>
                    <a:lnTo>
                      <a:pt x="554" y="78"/>
                    </a:lnTo>
                    <a:lnTo>
                      <a:pt x="556" y="78"/>
                    </a:lnTo>
                    <a:lnTo>
                      <a:pt x="556" y="80"/>
                    </a:lnTo>
                    <a:lnTo>
                      <a:pt x="554" y="80"/>
                    </a:lnTo>
                    <a:lnTo>
                      <a:pt x="556" y="82"/>
                    </a:lnTo>
                    <a:lnTo>
                      <a:pt x="554" y="82"/>
                    </a:lnTo>
                    <a:lnTo>
                      <a:pt x="552" y="82"/>
                    </a:lnTo>
                    <a:lnTo>
                      <a:pt x="551" y="82"/>
                    </a:lnTo>
                    <a:lnTo>
                      <a:pt x="551" y="80"/>
                    </a:lnTo>
                    <a:lnTo>
                      <a:pt x="549" y="80"/>
                    </a:lnTo>
                    <a:lnTo>
                      <a:pt x="549" y="82"/>
                    </a:lnTo>
                    <a:lnTo>
                      <a:pt x="547" y="88"/>
                    </a:lnTo>
                    <a:lnTo>
                      <a:pt x="547" y="90"/>
                    </a:lnTo>
                    <a:lnTo>
                      <a:pt x="545" y="97"/>
                    </a:lnTo>
                    <a:lnTo>
                      <a:pt x="544" y="99"/>
                    </a:lnTo>
                    <a:lnTo>
                      <a:pt x="544" y="100"/>
                    </a:lnTo>
                    <a:lnTo>
                      <a:pt x="544" y="102"/>
                    </a:lnTo>
                    <a:lnTo>
                      <a:pt x="542" y="100"/>
                    </a:lnTo>
                    <a:lnTo>
                      <a:pt x="542" y="102"/>
                    </a:lnTo>
                    <a:lnTo>
                      <a:pt x="540" y="104"/>
                    </a:lnTo>
                    <a:lnTo>
                      <a:pt x="539" y="107"/>
                    </a:lnTo>
                    <a:lnTo>
                      <a:pt x="535" y="109"/>
                    </a:lnTo>
                    <a:lnTo>
                      <a:pt x="535" y="111"/>
                    </a:lnTo>
                    <a:lnTo>
                      <a:pt x="532" y="114"/>
                    </a:lnTo>
                    <a:lnTo>
                      <a:pt x="528" y="119"/>
                    </a:lnTo>
                    <a:lnTo>
                      <a:pt x="527" y="121"/>
                    </a:lnTo>
                    <a:lnTo>
                      <a:pt x="527" y="122"/>
                    </a:lnTo>
                    <a:lnTo>
                      <a:pt x="523" y="124"/>
                    </a:lnTo>
                    <a:lnTo>
                      <a:pt x="518" y="128"/>
                    </a:lnTo>
                    <a:lnTo>
                      <a:pt x="515" y="129"/>
                    </a:lnTo>
                    <a:lnTo>
                      <a:pt x="513" y="131"/>
                    </a:lnTo>
                    <a:lnTo>
                      <a:pt x="511" y="134"/>
                    </a:lnTo>
                    <a:lnTo>
                      <a:pt x="510" y="134"/>
                    </a:lnTo>
                    <a:lnTo>
                      <a:pt x="508" y="136"/>
                    </a:lnTo>
                    <a:lnTo>
                      <a:pt x="506" y="136"/>
                    </a:lnTo>
                    <a:lnTo>
                      <a:pt x="505" y="138"/>
                    </a:lnTo>
                    <a:lnTo>
                      <a:pt x="503" y="138"/>
                    </a:lnTo>
                    <a:lnTo>
                      <a:pt x="501" y="138"/>
                    </a:lnTo>
                    <a:lnTo>
                      <a:pt x="489" y="143"/>
                    </a:lnTo>
                    <a:lnTo>
                      <a:pt x="476" y="148"/>
                    </a:lnTo>
                    <a:lnTo>
                      <a:pt x="471" y="148"/>
                    </a:lnTo>
                    <a:lnTo>
                      <a:pt x="467" y="150"/>
                    </a:lnTo>
                    <a:lnTo>
                      <a:pt x="464" y="153"/>
                    </a:lnTo>
                    <a:lnTo>
                      <a:pt x="462" y="153"/>
                    </a:lnTo>
                    <a:lnTo>
                      <a:pt x="462" y="155"/>
                    </a:lnTo>
                    <a:lnTo>
                      <a:pt x="460" y="155"/>
                    </a:lnTo>
                    <a:lnTo>
                      <a:pt x="460" y="156"/>
                    </a:lnTo>
                    <a:lnTo>
                      <a:pt x="459" y="156"/>
                    </a:lnTo>
                    <a:lnTo>
                      <a:pt x="459" y="158"/>
                    </a:lnTo>
                    <a:lnTo>
                      <a:pt x="457" y="160"/>
                    </a:lnTo>
                    <a:lnTo>
                      <a:pt x="457" y="162"/>
                    </a:lnTo>
                    <a:lnTo>
                      <a:pt x="455" y="162"/>
                    </a:lnTo>
                    <a:lnTo>
                      <a:pt x="455" y="163"/>
                    </a:lnTo>
                    <a:lnTo>
                      <a:pt x="455" y="165"/>
                    </a:lnTo>
                    <a:lnTo>
                      <a:pt x="457" y="165"/>
                    </a:lnTo>
                    <a:lnTo>
                      <a:pt x="457" y="167"/>
                    </a:lnTo>
                    <a:lnTo>
                      <a:pt x="455" y="167"/>
                    </a:lnTo>
                    <a:lnTo>
                      <a:pt x="454" y="167"/>
                    </a:lnTo>
                    <a:lnTo>
                      <a:pt x="454" y="165"/>
                    </a:lnTo>
                    <a:lnTo>
                      <a:pt x="454" y="163"/>
                    </a:lnTo>
                    <a:lnTo>
                      <a:pt x="452" y="163"/>
                    </a:lnTo>
                    <a:lnTo>
                      <a:pt x="450" y="163"/>
                    </a:lnTo>
                    <a:lnTo>
                      <a:pt x="449" y="163"/>
                    </a:lnTo>
                    <a:lnTo>
                      <a:pt x="450" y="163"/>
                    </a:lnTo>
                    <a:lnTo>
                      <a:pt x="449" y="163"/>
                    </a:lnTo>
                    <a:lnTo>
                      <a:pt x="450" y="165"/>
                    </a:lnTo>
                    <a:lnTo>
                      <a:pt x="449" y="165"/>
                    </a:lnTo>
                    <a:lnTo>
                      <a:pt x="449" y="167"/>
                    </a:lnTo>
                    <a:lnTo>
                      <a:pt x="449" y="168"/>
                    </a:lnTo>
                    <a:lnTo>
                      <a:pt x="449" y="170"/>
                    </a:lnTo>
                    <a:lnTo>
                      <a:pt x="449" y="172"/>
                    </a:lnTo>
                    <a:lnTo>
                      <a:pt x="447" y="172"/>
                    </a:lnTo>
                    <a:lnTo>
                      <a:pt x="449" y="172"/>
                    </a:lnTo>
                    <a:lnTo>
                      <a:pt x="449" y="173"/>
                    </a:lnTo>
                    <a:lnTo>
                      <a:pt x="447" y="173"/>
                    </a:lnTo>
                    <a:lnTo>
                      <a:pt x="447" y="175"/>
                    </a:lnTo>
                    <a:lnTo>
                      <a:pt x="447" y="177"/>
                    </a:lnTo>
                    <a:lnTo>
                      <a:pt x="447" y="179"/>
                    </a:lnTo>
                    <a:lnTo>
                      <a:pt x="445" y="179"/>
                    </a:lnTo>
                    <a:lnTo>
                      <a:pt x="445" y="180"/>
                    </a:lnTo>
                    <a:lnTo>
                      <a:pt x="445" y="182"/>
                    </a:lnTo>
                    <a:lnTo>
                      <a:pt x="443" y="182"/>
                    </a:lnTo>
                    <a:lnTo>
                      <a:pt x="443" y="184"/>
                    </a:lnTo>
                    <a:lnTo>
                      <a:pt x="442" y="184"/>
                    </a:lnTo>
                    <a:lnTo>
                      <a:pt x="442" y="185"/>
                    </a:lnTo>
                    <a:lnTo>
                      <a:pt x="443" y="185"/>
                    </a:lnTo>
                    <a:lnTo>
                      <a:pt x="443" y="187"/>
                    </a:lnTo>
                    <a:lnTo>
                      <a:pt x="442" y="187"/>
                    </a:lnTo>
                    <a:lnTo>
                      <a:pt x="442" y="189"/>
                    </a:lnTo>
                    <a:lnTo>
                      <a:pt x="442" y="190"/>
                    </a:lnTo>
                    <a:lnTo>
                      <a:pt x="440" y="190"/>
                    </a:lnTo>
                    <a:lnTo>
                      <a:pt x="440" y="192"/>
                    </a:lnTo>
                    <a:lnTo>
                      <a:pt x="442" y="192"/>
                    </a:lnTo>
                    <a:lnTo>
                      <a:pt x="440" y="194"/>
                    </a:lnTo>
                    <a:lnTo>
                      <a:pt x="440" y="196"/>
                    </a:lnTo>
                    <a:lnTo>
                      <a:pt x="440" y="197"/>
                    </a:lnTo>
                    <a:lnTo>
                      <a:pt x="442" y="199"/>
                    </a:lnTo>
                    <a:lnTo>
                      <a:pt x="440" y="199"/>
                    </a:lnTo>
                    <a:lnTo>
                      <a:pt x="440" y="201"/>
                    </a:lnTo>
                    <a:lnTo>
                      <a:pt x="438" y="202"/>
                    </a:lnTo>
                    <a:lnTo>
                      <a:pt x="438" y="204"/>
                    </a:lnTo>
                    <a:lnTo>
                      <a:pt x="437" y="206"/>
                    </a:lnTo>
                    <a:lnTo>
                      <a:pt x="435" y="206"/>
                    </a:lnTo>
                    <a:lnTo>
                      <a:pt x="433" y="206"/>
                    </a:lnTo>
                    <a:lnTo>
                      <a:pt x="432" y="208"/>
                    </a:lnTo>
                    <a:lnTo>
                      <a:pt x="432" y="209"/>
                    </a:lnTo>
                    <a:lnTo>
                      <a:pt x="432" y="211"/>
                    </a:lnTo>
                    <a:lnTo>
                      <a:pt x="430" y="211"/>
                    </a:lnTo>
                    <a:lnTo>
                      <a:pt x="432" y="211"/>
                    </a:lnTo>
                    <a:lnTo>
                      <a:pt x="432" y="213"/>
                    </a:lnTo>
                    <a:lnTo>
                      <a:pt x="430" y="213"/>
                    </a:lnTo>
                    <a:lnTo>
                      <a:pt x="432" y="214"/>
                    </a:lnTo>
                    <a:lnTo>
                      <a:pt x="430" y="214"/>
                    </a:lnTo>
                    <a:lnTo>
                      <a:pt x="428" y="214"/>
                    </a:lnTo>
                    <a:lnTo>
                      <a:pt x="428" y="216"/>
                    </a:lnTo>
                    <a:lnTo>
                      <a:pt x="428" y="218"/>
                    </a:lnTo>
                    <a:lnTo>
                      <a:pt x="426" y="218"/>
                    </a:lnTo>
                    <a:lnTo>
                      <a:pt x="425" y="218"/>
                    </a:lnTo>
                    <a:lnTo>
                      <a:pt x="423" y="218"/>
                    </a:lnTo>
                    <a:lnTo>
                      <a:pt x="423" y="216"/>
                    </a:lnTo>
                    <a:lnTo>
                      <a:pt x="421" y="216"/>
                    </a:lnTo>
                    <a:lnTo>
                      <a:pt x="420" y="216"/>
                    </a:lnTo>
                    <a:lnTo>
                      <a:pt x="418" y="216"/>
                    </a:lnTo>
                    <a:lnTo>
                      <a:pt x="418" y="214"/>
                    </a:lnTo>
                    <a:lnTo>
                      <a:pt x="416" y="214"/>
                    </a:lnTo>
                    <a:lnTo>
                      <a:pt x="415" y="213"/>
                    </a:lnTo>
                    <a:lnTo>
                      <a:pt x="413" y="211"/>
                    </a:lnTo>
                    <a:lnTo>
                      <a:pt x="413" y="209"/>
                    </a:lnTo>
                    <a:lnTo>
                      <a:pt x="413" y="208"/>
                    </a:lnTo>
                    <a:lnTo>
                      <a:pt x="411" y="206"/>
                    </a:lnTo>
                    <a:lnTo>
                      <a:pt x="411" y="204"/>
                    </a:lnTo>
                    <a:lnTo>
                      <a:pt x="411" y="202"/>
                    </a:lnTo>
                    <a:lnTo>
                      <a:pt x="409" y="201"/>
                    </a:lnTo>
                    <a:lnTo>
                      <a:pt x="409" y="202"/>
                    </a:lnTo>
                    <a:lnTo>
                      <a:pt x="409" y="201"/>
                    </a:lnTo>
                    <a:lnTo>
                      <a:pt x="408" y="201"/>
                    </a:lnTo>
                    <a:lnTo>
                      <a:pt x="408" y="199"/>
                    </a:lnTo>
                    <a:lnTo>
                      <a:pt x="406" y="199"/>
                    </a:lnTo>
                    <a:lnTo>
                      <a:pt x="404" y="199"/>
                    </a:lnTo>
                    <a:lnTo>
                      <a:pt x="404" y="201"/>
                    </a:lnTo>
                    <a:lnTo>
                      <a:pt x="403" y="201"/>
                    </a:lnTo>
                    <a:lnTo>
                      <a:pt x="401" y="201"/>
                    </a:lnTo>
                    <a:lnTo>
                      <a:pt x="399" y="201"/>
                    </a:lnTo>
                    <a:lnTo>
                      <a:pt x="399" y="199"/>
                    </a:lnTo>
                    <a:lnTo>
                      <a:pt x="398" y="197"/>
                    </a:lnTo>
                    <a:lnTo>
                      <a:pt x="396" y="197"/>
                    </a:lnTo>
                    <a:lnTo>
                      <a:pt x="394" y="197"/>
                    </a:lnTo>
                    <a:lnTo>
                      <a:pt x="392" y="196"/>
                    </a:lnTo>
                    <a:lnTo>
                      <a:pt x="392" y="194"/>
                    </a:lnTo>
                    <a:lnTo>
                      <a:pt x="391" y="194"/>
                    </a:lnTo>
                    <a:lnTo>
                      <a:pt x="389" y="194"/>
                    </a:lnTo>
                    <a:lnTo>
                      <a:pt x="387" y="194"/>
                    </a:lnTo>
                    <a:lnTo>
                      <a:pt x="387" y="196"/>
                    </a:lnTo>
                    <a:lnTo>
                      <a:pt x="386" y="196"/>
                    </a:lnTo>
                    <a:lnTo>
                      <a:pt x="386" y="197"/>
                    </a:lnTo>
                    <a:lnTo>
                      <a:pt x="384" y="197"/>
                    </a:lnTo>
                    <a:lnTo>
                      <a:pt x="384" y="199"/>
                    </a:lnTo>
                    <a:lnTo>
                      <a:pt x="382" y="199"/>
                    </a:lnTo>
                    <a:lnTo>
                      <a:pt x="382" y="201"/>
                    </a:lnTo>
                    <a:lnTo>
                      <a:pt x="381" y="201"/>
                    </a:lnTo>
                    <a:lnTo>
                      <a:pt x="379" y="199"/>
                    </a:lnTo>
                    <a:lnTo>
                      <a:pt x="379" y="201"/>
                    </a:lnTo>
                    <a:lnTo>
                      <a:pt x="379" y="199"/>
                    </a:lnTo>
                    <a:lnTo>
                      <a:pt x="379" y="197"/>
                    </a:lnTo>
                    <a:lnTo>
                      <a:pt x="379" y="196"/>
                    </a:lnTo>
                    <a:lnTo>
                      <a:pt x="381" y="196"/>
                    </a:lnTo>
                    <a:lnTo>
                      <a:pt x="381" y="194"/>
                    </a:lnTo>
                    <a:lnTo>
                      <a:pt x="382" y="192"/>
                    </a:lnTo>
                    <a:lnTo>
                      <a:pt x="382" y="190"/>
                    </a:lnTo>
                    <a:lnTo>
                      <a:pt x="384" y="190"/>
                    </a:lnTo>
                    <a:lnTo>
                      <a:pt x="382" y="190"/>
                    </a:lnTo>
                    <a:lnTo>
                      <a:pt x="382" y="192"/>
                    </a:lnTo>
                    <a:lnTo>
                      <a:pt x="381" y="190"/>
                    </a:lnTo>
                    <a:lnTo>
                      <a:pt x="381" y="192"/>
                    </a:lnTo>
                    <a:lnTo>
                      <a:pt x="379" y="190"/>
                    </a:lnTo>
                    <a:lnTo>
                      <a:pt x="379" y="189"/>
                    </a:lnTo>
                    <a:lnTo>
                      <a:pt x="377" y="189"/>
                    </a:lnTo>
                    <a:lnTo>
                      <a:pt x="379" y="187"/>
                    </a:lnTo>
                    <a:lnTo>
                      <a:pt x="377" y="187"/>
                    </a:lnTo>
                    <a:lnTo>
                      <a:pt x="377" y="185"/>
                    </a:lnTo>
                    <a:lnTo>
                      <a:pt x="379" y="185"/>
                    </a:lnTo>
                    <a:lnTo>
                      <a:pt x="379" y="184"/>
                    </a:lnTo>
                    <a:lnTo>
                      <a:pt x="381" y="184"/>
                    </a:lnTo>
                    <a:lnTo>
                      <a:pt x="382" y="184"/>
                    </a:lnTo>
                    <a:lnTo>
                      <a:pt x="384" y="185"/>
                    </a:lnTo>
                    <a:lnTo>
                      <a:pt x="384" y="184"/>
                    </a:lnTo>
                    <a:lnTo>
                      <a:pt x="386" y="184"/>
                    </a:lnTo>
                    <a:lnTo>
                      <a:pt x="386" y="182"/>
                    </a:lnTo>
                    <a:lnTo>
                      <a:pt x="387" y="182"/>
                    </a:lnTo>
                    <a:lnTo>
                      <a:pt x="389" y="180"/>
                    </a:lnTo>
                    <a:lnTo>
                      <a:pt x="389" y="179"/>
                    </a:lnTo>
                    <a:lnTo>
                      <a:pt x="389" y="177"/>
                    </a:lnTo>
                    <a:lnTo>
                      <a:pt x="387" y="177"/>
                    </a:lnTo>
                    <a:lnTo>
                      <a:pt x="387" y="175"/>
                    </a:lnTo>
                    <a:lnTo>
                      <a:pt x="387" y="173"/>
                    </a:lnTo>
                    <a:lnTo>
                      <a:pt x="387" y="172"/>
                    </a:lnTo>
                    <a:lnTo>
                      <a:pt x="387" y="170"/>
                    </a:lnTo>
                    <a:lnTo>
                      <a:pt x="386" y="170"/>
                    </a:lnTo>
                    <a:lnTo>
                      <a:pt x="387" y="168"/>
                    </a:lnTo>
                    <a:lnTo>
                      <a:pt x="386" y="168"/>
                    </a:lnTo>
                    <a:lnTo>
                      <a:pt x="386" y="167"/>
                    </a:lnTo>
                    <a:lnTo>
                      <a:pt x="386" y="165"/>
                    </a:lnTo>
                    <a:lnTo>
                      <a:pt x="387" y="165"/>
                    </a:lnTo>
                    <a:lnTo>
                      <a:pt x="389" y="165"/>
                    </a:lnTo>
                    <a:lnTo>
                      <a:pt x="391" y="165"/>
                    </a:lnTo>
                    <a:lnTo>
                      <a:pt x="392" y="163"/>
                    </a:lnTo>
                    <a:lnTo>
                      <a:pt x="392" y="162"/>
                    </a:lnTo>
                    <a:lnTo>
                      <a:pt x="392" y="163"/>
                    </a:lnTo>
                    <a:lnTo>
                      <a:pt x="392" y="162"/>
                    </a:lnTo>
                    <a:lnTo>
                      <a:pt x="392" y="160"/>
                    </a:lnTo>
                    <a:lnTo>
                      <a:pt x="394" y="160"/>
                    </a:lnTo>
                    <a:lnTo>
                      <a:pt x="394" y="158"/>
                    </a:lnTo>
                    <a:lnTo>
                      <a:pt x="394" y="156"/>
                    </a:lnTo>
                    <a:lnTo>
                      <a:pt x="396" y="156"/>
                    </a:lnTo>
                    <a:lnTo>
                      <a:pt x="398" y="155"/>
                    </a:lnTo>
                    <a:lnTo>
                      <a:pt x="398" y="153"/>
                    </a:lnTo>
                    <a:lnTo>
                      <a:pt x="398" y="151"/>
                    </a:lnTo>
                    <a:lnTo>
                      <a:pt x="398" y="153"/>
                    </a:lnTo>
                    <a:lnTo>
                      <a:pt x="398" y="151"/>
                    </a:lnTo>
                    <a:lnTo>
                      <a:pt x="399" y="151"/>
                    </a:lnTo>
                    <a:lnTo>
                      <a:pt x="399" y="150"/>
                    </a:lnTo>
                    <a:lnTo>
                      <a:pt x="399" y="148"/>
                    </a:lnTo>
                    <a:lnTo>
                      <a:pt x="399" y="146"/>
                    </a:lnTo>
                    <a:lnTo>
                      <a:pt x="399" y="145"/>
                    </a:lnTo>
                    <a:lnTo>
                      <a:pt x="399" y="143"/>
                    </a:lnTo>
                    <a:lnTo>
                      <a:pt x="401" y="143"/>
                    </a:lnTo>
                    <a:lnTo>
                      <a:pt x="401" y="141"/>
                    </a:lnTo>
                    <a:lnTo>
                      <a:pt x="401" y="139"/>
                    </a:lnTo>
                    <a:lnTo>
                      <a:pt x="401" y="138"/>
                    </a:lnTo>
                    <a:lnTo>
                      <a:pt x="403" y="138"/>
                    </a:lnTo>
                    <a:lnTo>
                      <a:pt x="403" y="136"/>
                    </a:lnTo>
                    <a:lnTo>
                      <a:pt x="403" y="134"/>
                    </a:lnTo>
                    <a:lnTo>
                      <a:pt x="403" y="133"/>
                    </a:lnTo>
                    <a:lnTo>
                      <a:pt x="403" y="134"/>
                    </a:lnTo>
                    <a:lnTo>
                      <a:pt x="403" y="133"/>
                    </a:lnTo>
                    <a:lnTo>
                      <a:pt x="401" y="134"/>
                    </a:lnTo>
                    <a:lnTo>
                      <a:pt x="401" y="133"/>
                    </a:lnTo>
                    <a:lnTo>
                      <a:pt x="401" y="131"/>
                    </a:lnTo>
                    <a:lnTo>
                      <a:pt x="399" y="131"/>
                    </a:lnTo>
                    <a:lnTo>
                      <a:pt x="399" y="129"/>
                    </a:lnTo>
                    <a:lnTo>
                      <a:pt x="399" y="128"/>
                    </a:lnTo>
                    <a:lnTo>
                      <a:pt x="399" y="126"/>
                    </a:lnTo>
                    <a:lnTo>
                      <a:pt x="399" y="124"/>
                    </a:lnTo>
                    <a:lnTo>
                      <a:pt x="399" y="122"/>
                    </a:lnTo>
                    <a:lnTo>
                      <a:pt x="398" y="122"/>
                    </a:lnTo>
                    <a:lnTo>
                      <a:pt x="398" y="124"/>
                    </a:lnTo>
                    <a:lnTo>
                      <a:pt x="398" y="126"/>
                    </a:lnTo>
                    <a:lnTo>
                      <a:pt x="399" y="126"/>
                    </a:lnTo>
                    <a:lnTo>
                      <a:pt x="399" y="128"/>
                    </a:lnTo>
                    <a:lnTo>
                      <a:pt x="399" y="129"/>
                    </a:lnTo>
                    <a:lnTo>
                      <a:pt x="399" y="131"/>
                    </a:lnTo>
                    <a:lnTo>
                      <a:pt x="398" y="131"/>
                    </a:lnTo>
                    <a:lnTo>
                      <a:pt x="398" y="133"/>
                    </a:lnTo>
                    <a:lnTo>
                      <a:pt x="398" y="134"/>
                    </a:lnTo>
                    <a:lnTo>
                      <a:pt x="398" y="136"/>
                    </a:lnTo>
                    <a:lnTo>
                      <a:pt x="396" y="136"/>
                    </a:lnTo>
                    <a:lnTo>
                      <a:pt x="396" y="134"/>
                    </a:lnTo>
                    <a:lnTo>
                      <a:pt x="394" y="134"/>
                    </a:lnTo>
                    <a:lnTo>
                      <a:pt x="396" y="134"/>
                    </a:lnTo>
                    <a:lnTo>
                      <a:pt x="396" y="133"/>
                    </a:lnTo>
                    <a:lnTo>
                      <a:pt x="398" y="133"/>
                    </a:lnTo>
                    <a:lnTo>
                      <a:pt x="398" y="131"/>
                    </a:lnTo>
                    <a:lnTo>
                      <a:pt x="398" y="129"/>
                    </a:lnTo>
                    <a:lnTo>
                      <a:pt x="396" y="129"/>
                    </a:lnTo>
                    <a:lnTo>
                      <a:pt x="398" y="128"/>
                    </a:lnTo>
                    <a:lnTo>
                      <a:pt x="396" y="128"/>
                    </a:lnTo>
                    <a:lnTo>
                      <a:pt x="398" y="128"/>
                    </a:lnTo>
                    <a:lnTo>
                      <a:pt x="396" y="126"/>
                    </a:lnTo>
                    <a:lnTo>
                      <a:pt x="398" y="126"/>
                    </a:lnTo>
                    <a:lnTo>
                      <a:pt x="396" y="126"/>
                    </a:lnTo>
                    <a:lnTo>
                      <a:pt x="396" y="124"/>
                    </a:lnTo>
                    <a:lnTo>
                      <a:pt x="394" y="124"/>
                    </a:lnTo>
                    <a:lnTo>
                      <a:pt x="394" y="126"/>
                    </a:lnTo>
                    <a:lnTo>
                      <a:pt x="394" y="128"/>
                    </a:lnTo>
                    <a:lnTo>
                      <a:pt x="396" y="128"/>
                    </a:lnTo>
                    <a:lnTo>
                      <a:pt x="394" y="128"/>
                    </a:lnTo>
                    <a:lnTo>
                      <a:pt x="392" y="128"/>
                    </a:lnTo>
                    <a:lnTo>
                      <a:pt x="392" y="129"/>
                    </a:lnTo>
                    <a:lnTo>
                      <a:pt x="391" y="129"/>
                    </a:lnTo>
                    <a:lnTo>
                      <a:pt x="391" y="131"/>
                    </a:lnTo>
                    <a:lnTo>
                      <a:pt x="391" y="133"/>
                    </a:lnTo>
                    <a:lnTo>
                      <a:pt x="391" y="134"/>
                    </a:lnTo>
                    <a:lnTo>
                      <a:pt x="389" y="134"/>
                    </a:lnTo>
                    <a:lnTo>
                      <a:pt x="389" y="136"/>
                    </a:lnTo>
                    <a:lnTo>
                      <a:pt x="387" y="134"/>
                    </a:lnTo>
                    <a:lnTo>
                      <a:pt x="389" y="136"/>
                    </a:lnTo>
                    <a:lnTo>
                      <a:pt x="387" y="136"/>
                    </a:lnTo>
                    <a:lnTo>
                      <a:pt x="386" y="138"/>
                    </a:lnTo>
                    <a:lnTo>
                      <a:pt x="384" y="138"/>
                    </a:lnTo>
                    <a:lnTo>
                      <a:pt x="386" y="138"/>
                    </a:lnTo>
                    <a:lnTo>
                      <a:pt x="386" y="139"/>
                    </a:lnTo>
                    <a:lnTo>
                      <a:pt x="386" y="141"/>
                    </a:lnTo>
                    <a:lnTo>
                      <a:pt x="384" y="141"/>
                    </a:lnTo>
                    <a:lnTo>
                      <a:pt x="382" y="139"/>
                    </a:lnTo>
                    <a:lnTo>
                      <a:pt x="381" y="139"/>
                    </a:lnTo>
                    <a:lnTo>
                      <a:pt x="381" y="138"/>
                    </a:lnTo>
                    <a:lnTo>
                      <a:pt x="379" y="138"/>
                    </a:lnTo>
                    <a:lnTo>
                      <a:pt x="377" y="138"/>
                    </a:lnTo>
                    <a:lnTo>
                      <a:pt x="377" y="136"/>
                    </a:lnTo>
                    <a:lnTo>
                      <a:pt x="376" y="134"/>
                    </a:lnTo>
                    <a:lnTo>
                      <a:pt x="376" y="133"/>
                    </a:lnTo>
                    <a:lnTo>
                      <a:pt x="374" y="133"/>
                    </a:lnTo>
                    <a:lnTo>
                      <a:pt x="372" y="131"/>
                    </a:lnTo>
                    <a:lnTo>
                      <a:pt x="370" y="131"/>
                    </a:lnTo>
                    <a:lnTo>
                      <a:pt x="370" y="129"/>
                    </a:lnTo>
                    <a:lnTo>
                      <a:pt x="369" y="129"/>
                    </a:lnTo>
                    <a:lnTo>
                      <a:pt x="367" y="129"/>
                    </a:lnTo>
                    <a:lnTo>
                      <a:pt x="365" y="128"/>
                    </a:lnTo>
                    <a:lnTo>
                      <a:pt x="364" y="128"/>
                    </a:lnTo>
                    <a:lnTo>
                      <a:pt x="364" y="126"/>
                    </a:lnTo>
                    <a:lnTo>
                      <a:pt x="362" y="126"/>
                    </a:lnTo>
                    <a:lnTo>
                      <a:pt x="362" y="124"/>
                    </a:lnTo>
                    <a:lnTo>
                      <a:pt x="360" y="124"/>
                    </a:lnTo>
                    <a:lnTo>
                      <a:pt x="360" y="122"/>
                    </a:lnTo>
                    <a:lnTo>
                      <a:pt x="360" y="124"/>
                    </a:lnTo>
                    <a:lnTo>
                      <a:pt x="362" y="122"/>
                    </a:lnTo>
                    <a:lnTo>
                      <a:pt x="362" y="124"/>
                    </a:lnTo>
                    <a:lnTo>
                      <a:pt x="364" y="124"/>
                    </a:lnTo>
                    <a:lnTo>
                      <a:pt x="364" y="122"/>
                    </a:lnTo>
                    <a:lnTo>
                      <a:pt x="365" y="122"/>
                    </a:lnTo>
                    <a:lnTo>
                      <a:pt x="367" y="122"/>
                    </a:lnTo>
                    <a:lnTo>
                      <a:pt x="367" y="121"/>
                    </a:lnTo>
                    <a:lnTo>
                      <a:pt x="369" y="121"/>
                    </a:lnTo>
                    <a:lnTo>
                      <a:pt x="369" y="119"/>
                    </a:lnTo>
                    <a:lnTo>
                      <a:pt x="369" y="117"/>
                    </a:lnTo>
                    <a:lnTo>
                      <a:pt x="369" y="116"/>
                    </a:lnTo>
                    <a:lnTo>
                      <a:pt x="369" y="114"/>
                    </a:lnTo>
                    <a:lnTo>
                      <a:pt x="369" y="112"/>
                    </a:lnTo>
                    <a:lnTo>
                      <a:pt x="369" y="111"/>
                    </a:lnTo>
                    <a:lnTo>
                      <a:pt x="369" y="109"/>
                    </a:lnTo>
                    <a:lnTo>
                      <a:pt x="367" y="109"/>
                    </a:lnTo>
                    <a:lnTo>
                      <a:pt x="367" y="107"/>
                    </a:lnTo>
                    <a:lnTo>
                      <a:pt x="367" y="105"/>
                    </a:lnTo>
                    <a:lnTo>
                      <a:pt x="365" y="105"/>
                    </a:lnTo>
                    <a:lnTo>
                      <a:pt x="365" y="104"/>
                    </a:lnTo>
                    <a:lnTo>
                      <a:pt x="365" y="102"/>
                    </a:lnTo>
                    <a:lnTo>
                      <a:pt x="367" y="102"/>
                    </a:lnTo>
                    <a:lnTo>
                      <a:pt x="367" y="100"/>
                    </a:lnTo>
                    <a:lnTo>
                      <a:pt x="367" y="99"/>
                    </a:lnTo>
                    <a:lnTo>
                      <a:pt x="369" y="99"/>
                    </a:lnTo>
                    <a:lnTo>
                      <a:pt x="369" y="97"/>
                    </a:lnTo>
                    <a:lnTo>
                      <a:pt x="369" y="95"/>
                    </a:lnTo>
                    <a:lnTo>
                      <a:pt x="369" y="94"/>
                    </a:lnTo>
                    <a:lnTo>
                      <a:pt x="367" y="92"/>
                    </a:lnTo>
                    <a:lnTo>
                      <a:pt x="367" y="90"/>
                    </a:lnTo>
                    <a:lnTo>
                      <a:pt x="365" y="90"/>
                    </a:lnTo>
                    <a:lnTo>
                      <a:pt x="365" y="88"/>
                    </a:lnTo>
                    <a:lnTo>
                      <a:pt x="364" y="88"/>
                    </a:lnTo>
                    <a:lnTo>
                      <a:pt x="364" y="87"/>
                    </a:lnTo>
                    <a:lnTo>
                      <a:pt x="364" y="85"/>
                    </a:lnTo>
                    <a:lnTo>
                      <a:pt x="364" y="83"/>
                    </a:lnTo>
                    <a:lnTo>
                      <a:pt x="365" y="83"/>
                    </a:lnTo>
                    <a:lnTo>
                      <a:pt x="365" y="82"/>
                    </a:lnTo>
                    <a:lnTo>
                      <a:pt x="367" y="82"/>
                    </a:lnTo>
                    <a:lnTo>
                      <a:pt x="369" y="80"/>
                    </a:lnTo>
                    <a:lnTo>
                      <a:pt x="369" y="82"/>
                    </a:lnTo>
                    <a:lnTo>
                      <a:pt x="370" y="82"/>
                    </a:lnTo>
                    <a:lnTo>
                      <a:pt x="370" y="80"/>
                    </a:lnTo>
                    <a:lnTo>
                      <a:pt x="372" y="80"/>
                    </a:lnTo>
                    <a:lnTo>
                      <a:pt x="372" y="82"/>
                    </a:lnTo>
                    <a:lnTo>
                      <a:pt x="372" y="80"/>
                    </a:lnTo>
                    <a:lnTo>
                      <a:pt x="374" y="80"/>
                    </a:lnTo>
                    <a:lnTo>
                      <a:pt x="376" y="80"/>
                    </a:lnTo>
                    <a:lnTo>
                      <a:pt x="376" y="78"/>
                    </a:lnTo>
                    <a:lnTo>
                      <a:pt x="376" y="77"/>
                    </a:lnTo>
                    <a:lnTo>
                      <a:pt x="376" y="75"/>
                    </a:lnTo>
                    <a:lnTo>
                      <a:pt x="377" y="75"/>
                    </a:lnTo>
                    <a:lnTo>
                      <a:pt x="377" y="73"/>
                    </a:lnTo>
                    <a:lnTo>
                      <a:pt x="377" y="71"/>
                    </a:lnTo>
                    <a:lnTo>
                      <a:pt x="377" y="70"/>
                    </a:lnTo>
                    <a:lnTo>
                      <a:pt x="379" y="70"/>
                    </a:lnTo>
                    <a:lnTo>
                      <a:pt x="381" y="71"/>
                    </a:lnTo>
                    <a:lnTo>
                      <a:pt x="382" y="71"/>
                    </a:lnTo>
                    <a:lnTo>
                      <a:pt x="384" y="71"/>
                    </a:lnTo>
                    <a:lnTo>
                      <a:pt x="382" y="71"/>
                    </a:lnTo>
                    <a:lnTo>
                      <a:pt x="382" y="70"/>
                    </a:lnTo>
                    <a:lnTo>
                      <a:pt x="381" y="71"/>
                    </a:lnTo>
                    <a:lnTo>
                      <a:pt x="381" y="70"/>
                    </a:lnTo>
                    <a:lnTo>
                      <a:pt x="381" y="68"/>
                    </a:lnTo>
                    <a:lnTo>
                      <a:pt x="379" y="68"/>
                    </a:lnTo>
                    <a:lnTo>
                      <a:pt x="379" y="66"/>
                    </a:lnTo>
                    <a:lnTo>
                      <a:pt x="379" y="65"/>
                    </a:lnTo>
                    <a:lnTo>
                      <a:pt x="377" y="65"/>
                    </a:lnTo>
                    <a:lnTo>
                      <a:pt x="377" y="63"/>
                    </a:lnTo>
                    <a:lnTo>
                      <a:pt x="377" y="61"/>
                    </a:lnTo>
                    <a:lnTo>
                      <a:pt x="379" y="61"/>
                    </a:lnTo>
                    <a:lnTo>
                      <a:pt x="379" y="60"/>
                    </a:lnTo>
                    <a:lnTo>
                      <a:pt x="381" y="60"/>
                    </a:lnTo>
                    <a:lnTo>
                      <a:pt x="381" y="58"/>
                    </a:lnTo>
                    <a:lnTo>
                      <a:pt x="381" y="56"/>
                    </a:lnTo>
                    <a:lnTo>
                      <a:pt x="382" y="56"/>
                    </a:lnTo>
                    <a:lnTo>
                      <a:pt x="382" y="54"/>
                    </a:lnTo>
                    <a:lnTo>
                      <a:pt x="384" y="54"/>
                    </a:lnTo>
                    <a:lnTo>
                      <a:pt x="386" y="54"/>
                    </a:lnTo>
                    <a:lnTo>
                      <a:pt x="386" y="53"/>
                    </a:lnTo>
                    <a:lnTo>
                      <a:pt x="387" y="53"/>
                    </a:lnTo>
                    <a:lnTo>
                      <a:pt x="387" y="51"/>
                    </a:lnTo>
                    <a:lnTo>
                      <a:pt x="389" y="51"/>
                    </a:lnTo>
                    <a:lnTo>
                      <a:pt x="389" y="49"/>
                    </a:lnTo>
                    <a:lnTo>
                      <a:pt x="391" y="49"/>
                    </a:lnTo>
                    <a:lnTo>
                      <a:pt x="391" y="48"/>
                    </a:lnTo>
                    <a:lnTo>
                      <a:pt x="392" y="46"/>
                    </a:lnTo>
                    <a:lnTo>
                      <a:pt x="392" y="44"/>
                    </a:lnTo>
                    <a:lnTo>
                      <a:pt x="392" y="43"/>
                    </a:lnTo>
                    <a:lnTo>
                      <a:pt x="392" y="41"/>
                    </a:lnTo>
                    <a:lnTo>
                      <a:pt x="392" y="39"/>
                    </a:lnTo>
                    <a:lnTo>
                      <a:pt x="392" y="37"/>
                    </a:lnTo>
                    <a:lnTo>
                      <a:pt x="392" y="36"/>
                    </a:lnTo>
                    <a:lnTo>
                      <a:pt x="392" y="37"/>
                    </a:lnTo>
                    <a:lnTo>
                      <a:pt x="394" y="37"/>
                    </a:lnTo>
                    <a:lnTo>
                      <a:pt x="394" y="39"/>
                    </a:lnTo>
                    <a:lnTo>
                      <a:pt x="394" y="41"/>
                    </a:lnTo>
                    <a:lnTo>
                      <a:pt x="394" y="43"/>
                    </a:lnTo>
                    <a:lnTo>
                      <a:pt x="396" y="43"/>
                    </a:lnTo>
                    <a:lnTo>
                      <a:pt x="396" y="41"/>
                    </a:lnTo>
                    <a:lnTo>
                      <a:pt x="396" y="39"/>
                    </a:lnTo>
                    <a:lnTo>
                      <a:pt x="394" y="39"/>
                    </a:lnTo>
                    <a:lnTo>
                      <a:pt x="394" y="37"/>
                    </a:lnTo>
                    <a:lnTo>
                      <a:pt x="394" y="36"/>
                    </a:lnTo>
                    <a:lnTo>
                      <a:pt x="392" y="36"/>
                    </a:lnTo>
                    <a:lnTo>
                      <a:pt x="392" y="34"/>
                    </a:lnTo>
                    <a:lnTo>
                      <a:pt x="392" y="32"/>
                    </a:lnTo>
                    <a:lnTo>
                      <a:pt x="394" y="31"/>
                    </a:lnTo>
                    <a:lnTo>
                      <a:pt x="394" y="29"/>
                    </a:lnTo>
                    <a:lnTo>
                      <a:pt x="392" y="29"/>
                    </a:lnTo>
                    <a:lnTo>
                      <a:pt x="392" y="27"/>
                    </a:lnTo>
                    <a:lnTo>
                      <a:pt x="391" y="27"/>
                    </a:lnTo>
                    <a:lnTo>
                      <a:pt x="391" y="25"/>
                    </a:lnTo>
                    <a:lnTo>
                      <a:pt x="391" y="24"/>
                    </a:lnTo>
                    <a:lnTo>
                      <a:pt x="391" y="22"/>
                    </a:lnTo>
                    <a:lnTo>
                      <a:pt x="392" y="22"/>
                    </a:lnTo>
                    <a:lnTo>
                      <a:pt x="392" y="20"/>
                    </a:lnTo>
                    <a:lnTo>
                      <a:pt x="394" y="22"/>
                    </a:lnTo>
                    <a:lnTo>
                      <a:pt x="394" y="20"/>
                    </a:lnTo>
                    <a:lnTo>
                      <a:pt x="396" y="20"/>
                    </a:lnTo>
                    <a:lnTo>
                      <a:pt x="398" y="20"/>
                    </a:lnTo>
                    <a:lnTo>
                      <a:pt x="398" y="19"/>
                    </a:lnTo>
                    <a:lnTo>
                      <a:pt x="398" y="20"/>
                    </a:lnTo>
                    <a:lnTo>
                      <a:pt x="399" y="19"/>
                    </a:lnTo>
                    <a:lnTo>
                      <a:pt x="401" y="19"/>
                    </a:lnTo>
                    <a:lnTo>
                      <a:pt x="401" y="17"/>
                    </a:lnTo>
                    <a:lnTo>
                      <a:pt x="403" y="17"/>
                    </a:lnTo>
                    <a:lnTo>
                      <a:pt x="404" y="15"/>
                    </a:lnTo>
                    <a:lnTo>
                      <a:pt x="406" y="15"/>
                    </a:lnTo>
                    <a:lnTo>
                      <a:pt x="408" y="15"/>
                    </a:lnTo>
                    <a:lnTo>
                      <a:pt x="409" y="15"/>
                    </a:lnTo>
                    <a:lnTo>
                      <a:pt x="411" y="14"/>
                    </a:lnTo>
                    <a:lnTo>
                      <a:pt x="413" y="14"/>
                    </a:lnTo>
                    <a:lnTo>
                      <a:pt x="413" y="12"/>
                    </a:lnTo>
                    <a:lnTo>
                      <a:pt x="415" y="12"/>
                    </a:lnTo>
                    <a:lnTo>
                      <a:pt x="416" y="12"/>
                    </a:lnTo>
                    <a:lnTo>
                      <a:pt x="418" y="12"/>
                    </a:lnTo>
                    <a:lnTo>
                      <a:pt x="420" y="12"/>
                    </a:lnTo>
                    <a:lnTo>
                      <a:pt x="421" y="12"/>
                    </a:lnTo>
                    <a:lnTo>
                      <a:pt x="423" y="12"/>
                    </a:lnTo>
                    <a:lnTo>
                      <a:pt x="423" y="10"/>
                    </a:lnTo>
                    <a:lnTo>
                      <a:pt x="425" y="10"/>
                    </a:lnTo>
                    <a:lnTo>
                      <a:pt x="425" y="8"/>
                    </a:lnTo>
                    <a:lnTo>
                      <a:pt x="426" y="7"/>
                    </a:lnTo>
                    <a:lnTo>
                      <a:pt x="426" y="8"/>
                    </a:lnTo>
                    <a:lnTo>
                      <a:pt x="428" y="10"/>
                    </a:lnTo>
                    <a:lnTo>
                      <a:pt x="428" y="12"/>
                    </a:lnTo>
                    <a:lnTo>
                      <a:pt x="428" y="10"/>
                    </a:lnTo>
                    <a:lnTo>
                      <a:pt x="430" y="10"/>
                    </a:lnTo>
                    <a:lnTo>
                      <a:pt x="428" y="10"/>
                    </a:lnTo>
                    <a:lnTo>
                      <a:pt x="430" y="10"/>
                    </a:lnTo>
                    <a:lnTo>
                      <a:pt x="430" y="8"/>
                    </a:lnTo>
                    <a:lnTo>
                      <a:pt x="428" y="8"/>
                    </a:lnTo>
                    <a:lnTo>
                      <a:pt x="430" y="8"/>
                    </a:lnTo>
                    <a:lnTo>
                      <a:pt x="428" y="8"/>
                    </a:lnTo>
                    <a:lnTo>
                      <a:pt x="428" y="7"/>
                    </a:lnTo>
                    <a:lnTo>
                      <a:pt x="430" y="7"/>
                    </a:lnTo>
                    <a:lnTo>
                      <a:pt x="432" y="7"/>
                    </a:lnTo>
                    <a:lnTo>
                      <a:pt x="432" y="5"/>
                    </a:lnTo>
                    <a:lnTo>
                      <a:pt x="433" y="5"/>
                    </a:lnTo>
                    <a:lnTo>
                      <a:pt x="435" y="5"/>
                    </a:lnTo>
                    <a:lnTo>
                      <a:pt x="433" y="5"/>
                    </a:lnTo>
                    <a:lnTo>
                      <a:pt x="432" y="5"/>
                    </a:lnTo>
                    <a:lnTo>
                      <a:pt x="432" y="3"/>
                    </a:lnTo>
                    <a:lnTo>
                      <a:pt x="433" y="2"/>
                    </a:lnTo>
                    <a:lnTo>
                      <a:pt x="433" y="3"/>
                    </a:lnTo>
                    <a:lnTo>
                      <a:pt x="433" y="2"/>
                    </a:lnTo>
                    <a:lnTo>
                      <a:pt x="433" y="0"/>
                    </a:lnTo>
                    <a:lnTo>
                      <a:pt x="435" y="2"/>
                    </a:lnTo>
                    <a:lnTo>
                      <a:pt x="437" y="2"/>
                    </a:lnTo>
                    <a:lnTo>
                      <a:pt x="437" y="3"/>
                    </a:lnTo>
                    <a:lnTo>
                      <a:pt x="438" y="3"/>
                    </a:lnTo>
                    <a:lnTo>
                      <a:pt x="438" y="5"/>
                    </a:lnTo>
                    <a:lnTo>
                      <a:pt x="440" y="5"/>
                    </a:lnTo>
                    <a:lnTo>
                      <a:pt x="440" y="7"/>
                    </a:lnTo>
                    <a:lnTo>
                      <a:pt x="442" y="7"/>
                    </a:lnTo>
                    <a:lnTo>
                      <a:pt x="443" y="7"/>
                    </a:lnTo>
                    <a:lnTo>
                      <a:pt x="443" y="8"/>
                    </a:lnTo>
                    <a:lnTo>
                      <a:pt x="445" y="8"/>
                    </a:lnTo>
                    <a:lnTo>
                      <a:pt x="447" y="8"/>
                    </a:lnTo>
                    <a:lnTo>
                      <a:pt x="447" y="10"/>
                    </a:lnTo>
                    <a:lnTo>
                      <a:pt x="449" y="10"/>
                    </a:lnTo>
                    <a:lnTo>
                      <a:pt x="449" y="8"/>
                    </a:lnTo>
                    <a:lnTo>
                      <a:pt x="450" y="8"/>
                    </a:lnTo>
                    <a:lnTo>
                      <a:pt x="452" y="10"/>
                    </a:lnTo>
                    <a:lnTo>
                      <a:pt x="452" y="12"/>
                    </a:lnTo>
                    <a:lnTo>
                      <a:pt x="452" y="14"/>
                    </a:lnTo>
                    <a:lnTo>
                      <a:pt x="454" y="14"/>
                    </a:lnTo>
                    <a:lnTo>
                      <a:pt x="454" y="15"/>
                    </a:lnTo>
                    <a:lnTo>
                      <a:pt x="455" y="15"/>
                    </a:lnTo>
                    <a:lnTo>
                      <a:pt x="454" y="17"/>
                    </a:lnTo>
                    <a:lnTo>
                      <a:pt x="455" y="17"/>
                    </a:lnTo>
                    <a:lnTo>
                      <a:pt x="457" y="17"/>
                    </a:lnTo>
                    <a:lnTo>
                      <a:pt x="457" y="19"/>
                    </a:lnTo>
                    <a:lnTo>
                      <a:pt x="459" y="19"/>
                    </a:lnTo>
                    <a:lnTo>
                      <a:pt x="460" y="19"/>
                    </a:lnTo>
                    <a:lnTo>
                      <a:pt x="460" y="20"/>
                    </a:lnTo>
                    <a:lnTo>
                      <a:pt x="462" y="20"/>
                    </a:lnTo>
                    <a:lnTo>
                      <a:pt x="464" y="20"/>
                    </a:lnTo>
                    <a:lnTo>
                      <a:pt x="464" y="22"/>
                    </a:lnTo>
                    <a:lnTo>
                      <a:pt x="466" y="22"/>
                    </a:lnTo>
                    <a:lnTo>
                      <a:pt x="467" y="22"/>
                    </a:lnTo>
                    <a:lnTo>
                      <a:pt x="467" y="20"/>
                    </a:lnTo>
                    <a:lnTo>
                      <a:pt x="469" y="20"/>
                    </a:lnTo>
                    <a:lnTo>
                      <a:pt x="471" y="20"/>
                    </a:lnTo>
                    <a:lnTo>
                      <a:pt x="472" y="20"/>
                    </a:lnTo>
                    <a:lnTo>
                      <a:pt x="472" y="22"/>
                    </a:lnTo>
                    <a:lnTo>
                      <a:pt x="472" y="24"/>
                    </a:lnTo>
                    <a:lnTo>
                      <a:pt x="471" y="24"/>
                    </a:lnTo>
                    <a:lnTo>
                      <a:pt x="472" y="24"/>
                    </a:lnTo>
                    <a:lnTo>
                      <a:pt x="472" y="25"/>
                    </a:lnTo>
                    <a:lnTo>
                      <a:pt x="474" y="25"/>
                    </a:lnTo>
                    <a:lnTo>
                      <a:pt x="476" y="25"/>
                    </a:lnTo>
                    <a:lnTo>
                      <a:pt x="476" y="27"/>
                    </a:lnTo>
                    <a:lnTo>
                      <a:pt x="477" y="27"/>
                    </a:lnTo>
                    <a:lnTo>
                      <a:pt x="479" y="27"/>
                    </a:lnTo>
                    <a:lnTo>
                      <a:pt x="479" y="29"/>
                    </a:lnTo>
                    <a:lnTo>
                      <a:pt x="477" y="29"/>
                    </a:lnTo>
                    <a:lnTo>
                      <a:pt x="477" y="31"/>
                    </a:lnTo>
                    <a:lnTo>
                      <a:pt x="477" y="32"/>
                    </a:lnTo>
                    <a:lnTo>
                      <a:pt x="477" y="34"/>
                    </a:lnTo>
                    <a:lnTo>
                      <a:pt x="477" y="36"/>
                    </a:lnTo>
                    <a:lnTo>
                      <a:pt x="479" y="34"/>
                    </a:lnTo>
                    <a:lnTo>
                      <a:pt x="481" y="34"/>
                    </a:lnTo>
                    <a:lnTo>
                      <a:pt x="481" y="36"/>
                    </a:lnTo>
                    <a:lnTo>
                      <a:pt x="483" y="36"/>
                    </a:lnTo>
                    <a:lnTo>
                      <a:pt x="484" y="36"/>
                    </a:lnTo>
                    <a:lnTo>
                      <a:pt x="486" y="37"/>
                    </a:lnTo>
                    <a:lnTo>
                      <a:pt x="486" y="36"/>
                    </a:lnTo>
                    <a:lnTo>
                      <a:pt x="486" y="37"/>
                    </a:lnTo>
                    <a:lnTo>
                      <a:pt x="488" y="36"/>
                    </a:lnTo>
                    <a:lnTo>
                      <a:pt x="488" y="37"/>
                    </a:lnTo>
                    <a:lnTo>
                      <a:pt x="488" y="36"/>
                    </a:lnTo>
                    <a:lnTo>
                      <a:pt x="489" y="36"/>
                    </a:lnTo>
                    <a:lnTo>
                      <a:pt x="491" y="36"/>
                    </a:lnTo>
                    <a:lnTo>
                      <a:pt x="491" y="37"/>
                    </a:lnTo>
                    <a:lnTo>
                      <a:pt x="493" y="37"/>
                    </a:lnTo>
                    <a:lnTo>
                      <a:pt x="493" y="39"/>
                    </a:lnTo>
                    <a:lnTo>
                      <a:pt x="494" y="39"/>
                    </a:lnTo>
                    <a:lnTo>
                      <a:pt x="496" y="39"/>
                    </a:lnTo>
                    <a:lnTo>
                      <a:pt x="498" y="39"/>
                    </a:lnTo>
                    <a:lnTo>
                      <a:pt x="498" y="41"/>
                    </a:lnTo>
                    <a:lnTo>
                      <a:pt x="500" y="41"/>
                    </a:lnTo>
                    <a:lnTo>
                      <a:pt x="501" y="41"/>
                    </a:lnTo>
                    <a:lnTo>
                      <a:pt x="501" y="39"/>
                    </a:lnTo>
                    <a:lnTo>
                      <a:pt x="501" y="41"/>
                    </a:lnTo>
                    <a:lnTo>
                      <a:pt x="501" y="39"/>
                    </a:lnTo>
                    <a:lnTo>
                      <a:pt x="503" y="41"/>
                    </a:lnTo>
                    <a:lnTo>
                      <a:pt x="503" y="39"/>
                    </a:lnTo>
                    <a:lnTo>
                      <a:pt x="505" y="39"/>
                    </a:lnTo>
                    <a:lnTo>
                      <a:pt x="506" y="39"/>
                    </a:lnTo>
                    <a:lnTo>
                      <a:pt x="506" y="41"/>
                    </a:lnTo>
                    <a:lnTo>
                      <a:pt x="508" y="41"/>
                    </a:lnTo>
                    <a:lnTo>
                      <a:pt x="510" y="41"/>
                    </a:lnTo>
                    <a:lnTo>
                      <a:pt x="511" y="41"/>
                    </a:lnTo>
                    <a:lnTo>
                      <a:pt x="513" y="41"/>
                    </a:lnTo>
                    <a:lnTo>
                      <a:pt x="515" y="41"/>
                    </a:lnTo>
                    <a:lnTo>
                      <a:pt x="515" y="37"/>
                    </a:lnTo>
                    <a:lnTo>
                      <a:pt x="515" y="36"/>
                    </a:lnTo>
                    <a:lnTo>
                      <a:pt x="517" y="36"/>
                    </a:lnTo>
                    <a:lnTo>
                      <a:pt x="518" y="36"/>
                    </a:lnTo>
                    <a:lnTo>
                      <a:pt x="518" y="34"/>
                    </a:lnTo>
                    <a:lnTo>
                      <a:pt x="520" y="34"/>
                    </a:lnTo>
                    <a:lnTo>
                      <a:pt x="520" y="36"/>
                    </a:lnTo>
                    <a:lnTo>
                      <a:pt x="522" y="36"/>
                    </a:lnTo>
                    <a:lnTo>
                      <a:pt x="523" y="36"/>
                    </a:lnTo>
                    <a:lnTo>
                      <a:pt x="525" y="36"/>
                    </a:lnTo>
                    <a:lnTo>
                      <a:pt x="525" y="37"/>
                    </a:lnTo>
                    <a:lnTo>
                      <a:pt x="527" y="37"/>
                    </a:lnTo>
                    <a:lnTo>
                      <a:pt x="527" y="39"/>
                    </a:lnTo>
                    <a:lnTo>
                      <a:pt x="528" y="39"/>
                    </a:lnTo>
                    <a:lnTo>
                      <a:pt x="528" y="41"/>
                    </a:lnTo>
                    <a:lnTo>
                      <a:pt x="530" y="41"/>
                    </a:lnTo>
                    <a:lnTo>
                      <a:pt x="530" y="43"/>
                    </a:lnTo>
                    <a:lnTo>
                      <a:pt x="532" y="43"/>
                    </a:lnTo>
                    <a:lnTo>
                      <a:pt x="532" y="44"/>
                    </a:lnTo>
                    <a:lnTo>
                      <a:pt x="534" y="44"/>
                    </a:lnTo>
                    <a:lnTo>
                      <a:pt x="534" y="46"/>
                    </a:lnTo>
                    <a:lnTo>
                      <a:pt x="535" y="46"/>
                    </a:lnTo>
                    <a:lnTo>
                      <a:pt x="535" y="48"/>
                    </a:lnTo>
                    <a:lnTo>
                      <a:pt x="537" y="48"/>
                    </a:lnTo>
                    <a:lnTo>
                      <a:pt x="539" y="48"/>
                    </a:lnTo>
                    <a:lnTo>
                      <a:pt x="540" y="48"/>
                    </a:lnTo>
                    <a:lnTo>
                      <a:pt x="542" y="48"/>
                    </a:lnTo>
                    <a:lnTo>
                      <a:pt x="542" y="49"/>
                    </a:lnTo>
                    <a:lnTo>
                      <a:pt x="544" y="49"/>
                    </a:lnTo>
                    <a:lnTo>
                      <a:pt x="545" y="49"/>
                    </a:lnTo>
                    <a:lnTo>
                      <a:pt x="545" y="51"/>
                    </a:lnTo>
                    <a:lnTo>
                      <a:pt x="547" y="51"/>
                    </a:lnTo>
                    <a:lnTo>
                      <a:pt x="549" y="51"/>
                    </a:lnTo>
                    <a:lnTo>
                      <a:pt x="549" y="53"/>
                    </a:lnTo>
                    <a:lnTo>
                      <a:pt x="551" y="53"/>
                    </a:lnTo>
                    <a:lnTo>
                      <a:pt x="552" y="53"/>
                    </a:lnTo>
                    <a:lnTo>
                      <a:pt x="554" y="53"/>
                    </a:lnTo>
                    <a:close/>
                    <a:moveTo>
                      <a:pt x="12" y="44"/>
                    </a:moveTo>
                    <a:lnTo>
                      <a:pt x="12" y="46"/>
                    </a:lnTo>
                    <a:lnTo>
                      <a:pt x="13" y="46"/>
                    </a:lnTo>
                    <a:lnTo>
                      <a:pt x="13" y="48"/>
                    </a:lnTo>
                    <a:lnTo>
                      <a:pt x="15" y="49"/>
                    </a:lnTo>
                    <a:lnTo>
                      <a:pt x="17" y="51"/>
                    </a:lnTo>
                    <a:lnTo>
                      <a:pt x="15" y="51"/>
                    </a:lnTo>
                    <a:lnTo>
                      <a:pt x="17" y="51"/>
                    </a:lnTo>
                    <a:lnTo>
                      <a:pt x="17" y="53"/>
                    </a:lnTo>
                    <a:lnTo>
                      <a:pt x="17" y="54"/>
                    </a:lnTo>
                    <a:lnTo>
                      <a:pt x="17" y="56"/>
                    </a:lnTo>
                    <a:lnTo>
                      <a:pt x="17" y="58"/>
                    </a:lnTo>
                    <a:lnTo>
                      <a:pt x="19" y="58"/>
                    </a:lnTo>
                    <a:lnTo>
                      <a:pt x="19" y="60"/>
                    </a:lnTo>
                    <a:lnTo>
                      <a:pt x="20" y="60"/>
                    </a:lnTo>
                    <a:lnTo>
                      <a:pt x="20" y="61"/>
                    </a:lnTo>
                    <a:lnTo>
                      <a:pt x="22" y="61"/>
                    </a:lnTo>
                    <a:lnTo>
                      <a:pt x="24" y="63"/>
                    </a:lnTo>
                    <a:lnTo>
                      <a:pt x="24" y="65"/>
                    </a:lnTo>
                    <a:lnTo>
                      <a:pt x="25" y="65"/>
                    </a:lnTo>
                    <a:lnTo>
                      <a:pt x="24" y="66"/>
                    </a:lnTo>
                    <a:lnTo>
                      <a:pt x="24" y="68"/>
                    </a:lnTo>
                    <a:lnTo>
                      <a:pt x="24" y="70"/>
                    </a:lnTo>
                    <a:lnTo>
                      <a:pt x="25" y="70"/>
                    </a:lnTo>
                    <a:lnTo>
                      <a:pt x="27" y="70"/>
                    </a:lnTo>
                    <a:lnTo>
                      <a:pt x="27" y="71"/>
                    </a:lnTo>
                    <a:lnTo>
                      <a:pt x="29" y="71"/>
                    </a:lnTo>
                    <a:lnTo>
                      <a:pt x="27" y="73"/>
                    </a:lnTo>
                    <a:lnTo>
                      <a:pt x="29" y="73"/>
                    </a:lnTo>
                    <a:lnTo>
                      <a:pt x="30" y="73"/>
                    </a:lnTo>
                    <a:lnTo>
                      <a:pt x="30" y="75"/>
                    </a:lnTo>
                    <a:lnTo>
                      <a:pt x="29" y="75"/>
                    </a:lnTo>
                    <a:lnTo>
                      <a:pt x="29" y="77"/>
                    </a:lnTo>
                    <a:lnTo>
                      <a:pt x="29" y="78"/>
                    </a:lnTo>
                    <a:lnTo>
                      <a:pt x="27" y="78"/>
                    </a:lnTo>
                    <a:lnTo>
                      <a:pt x="27" y="80"/>
                    </a:lnTo>
                    <a:lnTo>
                      <a:pt x="25" y="80"/>
                    </a:lnTo>
                    <a:lnTo>
                      <a:pt x="25" y="82"/>
                    </a:lnTo>
                    <a:lnTo>
                      <a:pt x="24" y="82"/>
                    </a:lnTo>
                    <a:lnTo>
                      <a:pt x="22" y="82"/>
                    </a:lnTo>
                    <a:lnTo>
                      <a:pt x="20" y="83"/>
                    </a:lnTo>
                    <a:lnTo>
                      <a:pt x="19" y="83"/>
                    </a:lnTo>
                    <a:lnTo>
                      <a:pt x="17" y="83"/>
                    </a:lnTo>
                    <a:lnTo>
                      <a:pt x="17" y="85"/>
                    </a:lnTo>
                    <a:lnTo>
                      <a:pt x="17" y="83"/>
                    </a:lnTo>
                    <a:lnTo>
                      <a:pt x="17" y="85"/>
                    </a:lnTo>
                    <a:lnTo>
                      <a:pt x="15" y="85"/>
                    </a:lnTo>
                    <a:lnTo>
                      <a:pt x="15" y="83"/>
                    </a:lnTo>
                    <a:lnTo>
                      <a:pt x="13" y="83"/>
                    </a:lnTo>
                    <a:lnTo>
                      <a:pt x="12" y="83"/>
                    </a:lnTo>
                    <a:lnTo>
                      <a:pt x="10" y="83"/>
                    </a:lnTo>
                    <a:lnTo>
                      <a:pt x="8" y="83"/>
                    </a:lnTo>
                    <a:lnTo>
                      <a:pt x="8" y="82"/>
                    </a:lnTo>
                    <a:lnTo>
                      <a:pt x="7" y="82"/>
                    </a:lnTo>
                    <a:lnTo>
                      <a:pt x="7" y="80"/>
                    </a:lnTo>
                    <a:lnTo>
                      <a:pt x="5" y="80"/>
                    </a:lnTo>
                    <a:lnTo>
                      <a:pt x="5" y="78"/>
                    </a:lnTo>
                    <a:lnTo>
                      <a:pt x="7" y="77"/>
                    </a:lnTo>
                    <a:lnTo>
                      <a:pt x="8" y="77"/>
                    </a:lnTo>
                    <a:lnTo>
                      <a:pt x="8" y="75"/>
                    </a:lnTo>
                    <a:lnTo>
                      <a:pt x="10" y="75"/>
                    </a:lnTo>
                    <a:lnTo>
                      <a:pt x="10" y="73"/>
                    </a:lnTo>
                    <a:lnTo>
                      <a:pt x="12" y="73"/>
                    </a:lnTo>
                    <a:lnTo>
                      <a:pt x="12" y="71"/>
                    </a:lnTo>
                    <a:lnTo>
                      <a:pt x="12" y="73"/>
                    </a:lnTo>
                    <a:lnTo>
                      <a:pt x="13" y="71"/>
                    </a:lnTo>
                    <a:lnTo>
                      <a:pt x="15" y="71"/>
                    </a:lnTo>
                    <a:lnTo>
                      <a:pt x="17" y="71"/>
                    </a:lnTo>
                    <a:lnTo>
                      <a:pt x="19" y="71"/>
                    </a:lnTo>
                    <a:lnTo>
                      <a:pt x="19" y="70"/>
                    </a:lnTo>
                    <a:lnTo>
                      <a:pt x="20" y="70"/>
                    </a:lnTo>
                    <a:lnTo>
                      <a:pt x="19" y="68"/>
                    </a:lnTo>
                    <a:lnTo>
                      <a:pt x="17" y="66"/>
                    </a:lnTo>
                    <a:lnTo>
                      <a:pt x="15" y="66"/>
                    </a:lnTo>
                    <a:lnTo>
                      <a:pt x="15" y="65"/>
                    </a:lnTo>
                    <a:lnTo>
                      <a:pt x="15" y="63"/>
                    </a:lnTo>
                    <a:lnTo>
                      <a:pt x="13" y="61"/>
                    </a:lnTo>
                    <a:lnTo>
                      <a:pt x="12" y="61"/>
                    </a:lnTo>
                    <a:lnTo>
                      <a:pt x="12" y="60"/>
                    </a:lnTo>
                    <a:lnTo>
                      <a:pt x="10" y="60"/>
                    </a:lnTo>
                    <a:lnTo>
                      <a:pt x="10" y="58"/>
                    </a:lnTo>
                    <a:lnTo>
                      <a:pt x="8" y="56"/>
                    </a:lnTo>
                    <a:lnTo>
                      <a:pt x="10" y="56"/>
                    </a:lnTo>
                    <a:lnTo>
                      <a:pt x="10" y="54"/>
                    </a:lnTo>
                    <a:lnTo>
                      <a:pt x="8" y="54"/>
                    </a:lnTo>
                    <a:lnTo>
                      <a:pt x="8" y="53"/>
                    </a:lnTo>
                    <a:lnTo>
                      <a:pt x="8" y="51"/>
                    </a:lnTo>
                    <a:lnTo>
                      <a:pt x="8" y="49"/>
                    </a:lnTo>
                    <a:lnTo>
                      <a:pt x="7" y="49"/>
                    </a:lnTo>
                    <a:lnTo>
                      <a:pt x="5" y="49"/>
                    </a:lnTo>
                    <a:lnTo>
                      <a:pt x="5" y="51"/>
                    </a:lnTo>
                    <a:lnTo>
                      <a:pt x="3" y="51"/>
                    </a:lnTo>
                    <a:lnTo>
                      <a:pt x="3" y="49"/>
                    </a:lnTo>
                    <a:lnTo>
                      <a:pt x="3" y="48"/>
                    </a:lnTo>
                    <a:lnTo>
                      <a:pt x="5" y="48"/>
                    </a:lnTo>
                    <a:lnTo>
                      <a:pt x="5" y="46"/>
                    </a:lnTo>
                    <a:lnTo>
                      <a:pt x="7" y="46"/>
                    </a:lnTo>
                    <a:lnTo>
                      <a:pt x="8" y="46"/>
                    </a:lnTo>
                    <a:lnTo>
                      <a:pt x="8" y="44"/>
                    </a:lnTo>
                    <a:lnTo>
                      <a:pt x="10" y="44"/>
                    </a:lnTo>
                    <a:lnTo>
                      <a:pt x="12" y="44"/>
                    </a:lnTo>
                    <a:close/>
                    <a:moveTo>
                      <a:pt x="47" y="66"/>
                    </a:moveTo>
                    <a:lnTo>
                      <a:pt x="49" y="66"/>
                    </a:lnTo>
                    <a:lnTo>
                      <a:pt x="49" y="68"/>
                    </a:lnTo>
                    <a:lnTo>
                      <a:pt x="51" y="68"/>
                    </a:lnTo>
                    <a:lnTo>
                      <a:pt x="51" y="70"/>
                    </a:lnTo>
                    <a:lnTo>
                      <a:pt x="49" y="71"/>
                    </a:lnTo>
                    <a:lnTo>
                      <a:pt x="51" y="71"/>
                    </a:lnTo>
                    <a:lnTo>
                      <a:pt x="49" y="71"/>
                    </a:lnTo>
                    <a:lnTo>
                      <a:pt x="49" y="73"/>
                    </a:lnTo>
                    <a:lnTo>
                      <a:pt x="47" y="75"/>
                    </a:lnTo>
                    <a:lnTo>
                      <a:pt x="46" y="73"/>
                    </a:lnTo>
                    <a:lnTo>
                      <a:pt x="46" y="75"/>
                    </a:lnTo>
                    <a:lnTo>
                      <a:pt x="44" y="75"/>
                    </a:lnTo>
                    <a:lnTo>
                      <a:pt x="42" y="75"/>
                    </a:lnTo>
                    <a:lnTo>
                      <a:pt x="41" y="75"/>
                    </a:lnTo>
                    <a:lnTo>
                      <a:pt x="41" y="73"/>
                    </a:lnTo>
                    <a:lnTo>
                      <a:pt x="39" y="73"/>
                    </a:lnTo>
                    <a:lnTo>
                      <a:pt x="39" y="71"/>
                    </a:lnTo>
                    <a:lnTo>
                      <a:pt x="37" y="71"/>
                    </a:lnTo>
                    <a:lnTo>
                      <a:pt x="39" y="71"/>
                    </a:lnTo>
                    <a:lnTo>
                      <a:pt x="37" y="71"/>
                    </a:lnTo>
                    <a:lnTo>
                      <a:pt x="37" y="70"/>
                    </a:lnTo>
                    <a:lnTo>
                      <a:pt x="39" y="70"/>
                    </a:lnTo>
                    <a:lnTo>
                      <a:pt x="37" y="70"/>
                    </a:lnTo>
                    <a:lnTo>
                      <a:pt x="39" y="68"/>
                    </a:lnTo>
                    <a:lnTo>
                      <a:pt x="39" y="66"/>
                    </a:lnTo>
                    <a:lnTo>
                      <a:pt x="41" y="66"/>
                    </a:lnTo>
                    <a:lnTo>
                      <a:pt x="42" y="66"/>
                    </a:lnTo>
                    <a:lnTo>
                      <a:pt x="44" y="66"/>
                    </a:lnTo>
                    <a:lnTo>
                      <a:pt x="46" y="65"/>
                    </a:lnTo>
                    <a:lnTo>
                      <a:pt x="46" y="66"/>
                    </a:lnTo>
                    <a:lnTo>
                      <a:pt x="46" y="65"/>
                    </a:lnTo>
                    <a:lnTo>
                      <a:pt x="46" y="66"/>
                    </a:lnTo>
                    <a:lnTo>
                      <a:pt x="47" y="65"/>
                    </a:lnTo>
                    <a:lnTo>
                      <a:pt x="47" y="66"/>
                    </a:lnTo>
                    <a:close/>
                    <a:moveTo>
                      <a:pt x="392" y="139"/>
                    </a:moveTo>
                    <a:lnTo>
                      <a:pt x="394" y="139"/>
                    </a:lnTo>
                    <a:lnTo>
                      <a:pt x="394" y="141"/>
                    </a:lnTo>
                    <a:lnTo>
                      <a:pt x="396" y="141"/>
                    </a:lnTo>
                    <a:lnTo>
                      <a:pt x="398" y="141"/>
                    </a:lnTo>
                    <a:lnTo>
                      <a:pt x="398" y="143"/>
                    </a:lnTo>
                    <a:lnTo>
                      <a:pt x="396" y="143"/>
                    </a:lnTo>
                    <a:lnTo>
                      <a:pt x="394" y="143"/>
                    </a:lnTo>
                    <a:lnTo>
                      <a:pt x="394" y="145"/>
                    </a:lnTo>
                    <a:lnTo>
                      <a:pt x="392" y="145"/>
                    </a:lnTo>
                    <a:lnTo>
                      <a:pt x="392" y="146"/>
                    </a:lnTo>
                    <a:lnTo>
                      <a:pt x="392" y="145"/>
                    </a:lnTo>
                    <a:lnTo>
                      <a:pt x="391" y="145"/>
                    </a:lnTo>
                    <a:lnTo>
                      <a:pt x="389" y="145"/>
                    </a:lnTo>
                    <a:lnTo>
                      <a:pt x="389" y="146"/>
                    </a:lnTo>
                    <a:lnTo>
                      <a:pt x="389" y="148"/>
                    </a:lnTo>
                    <a:lnTo>
                      <a:pt x="391" y="148"/>
                    </a:lnTo>
                    <a:lnTo>
                      <a:pt x="391" y="150"/>
                    </a:lnTo>
                    <a:lnTo>
                      <a:pt x="389" y="150"/>
                    </a:lnTo>
                    <a:lnTo>
                      <a:pt x="389" y="151"/>
                    </a:lnTo>
                    <a:lnTo>
                      <a:pt x="387" y="151"/>
                    </a:lnTo>
                    <a:lnTo>
                      <a:pt x="386" y="151"/>
                    </a:lnTo>
                    <a:lnTo>
                      <a:pt x="384" y="150"/>
                    </a:lnTo>
                    <a:lnTo>
                      <a:pt x="386" y="148"/>
                    </a:lnTo>
                    <a:lnTo>
                      <a:pt x="386" y="146"/>
                    </a:lnTo>
                    <a:lnTo>
                      <a:pt x="386" y="145"/>
                    </a:lnTo>
                    <a:lnTo>
                      <a:pt x="386" y="143"/>
                    </a:lnTo>
                    <a:lnTo>
                      <a:pt x="386" y="141"/>
                    </a:lnTo>
                    <a:lnTo>
                      <a:pt x="387" y="141"/>
                    </a:lnTo>
                    <a:lnTo>
                      <a:pt x="389" y="141"/>
                    </a:lnTo>
                    <a:lnTo>
                      <a:pt x="389" y="139"/>
                    </a:lnTo>
                    <a:lnTo>
                      <a:pt x="391" y="139"/>
                    </a:lnTo>
                    <a:lnTo>
                      <a:pt x="392" y="139"/>
                    </a:lnTo>
                    <a:close/>
                    <a:moveTo>
                      <a:pt x="7" y="58"/>
                    </a:moveTo>
                    <a:lnTo>
                      <a:pt x="8" y="58"/>
                    </a:lnTo>
                    <a:lnTo>
                      <a:pt x="8" y="60"/>
                    </a:lnTo>
                    <a:lnTo>
                      <a:pt x="10" y="60"/>
                    </a:lnTo>
                    <a:lnTo>
                      <a:pt x="10" y="61"/>
                    </a:lnTo>
                    <a:lnTo>
                      <a:pt x="10" y="63"/>
                    </a:lnTo>
                    <a:lnTo>
                      <a:pt x="10" y="65"/>
                    </a:lnTo>
                    <a:lnTo>
                      <a:pt x="8" y="65"/>
                    </a:lnTo>
                    <a:lnTo>
                      <a:pt x="8" y="66"/>
                    </a:lnTo>
                    <a:lnTo>
                      <a:pt x="7" y="66"/>
                    </a:lnTo>
                    <a:lnTo>
                      <a:pt x="5" y="66"/>
                    </a:lnTo>
                    <a:lnTo>
                      <a:pt x="3" y="65"/>
                    </a:lnTo>
                    <a:lnTo>
                      <a:pt x="2" y="65"/>
                    </a:lnTo>
                    <a:lnTo>
                      <a:pt x="2" y="63"/>
                    </a:lnTo>
                    <a:lnTo>
                      <a:pt x="0" y="63"/>
                    </a:lnTo>
                    <a:lnTo>
                      <a:pt x="0" y="61"/>
                    </a:lnTo>
                    <a:lnTo>
                      <a:pt x="0" y="60"/>
                    </a:lnTo>
                    <a:lnTo>
                      <a:pt x="2" y="60"/>
                    </a:lnTo>
                    <a:lnTo>
                      <a:pt x="3" y="60"/>
                    </a:lnTo>
                    <a:lnTo>
                      <a:pt x="5" y="58"/>
                    </a:lnTo>
                    <a:lnTo>
                      <a:pt x="7" y="58"/>
                    </a:lnTo>
                    <a:close/>
                    <a:moveTo>
                      <a:pt x="30" y="54"/>
                    </a:moveTo>
                    <a:lnTo>
                      <a:pt x="32" y="54"/>
                    </a:lnTo>
                    <a:lnTo>
                      <a:pt x="34" y="56"/>
                    </a:lnTo>
                    <a:lnTo>
                      <a:pt x="36" y="56"/>
                    </a:lnTo>
                    <a:lnTo>
                      <a:pt x="37" y="56"/>
                    </a:lnTo>
                    <a:lnTo>
                      <a:pt x="37" y="58"/>
                    </a:lnTo>
                    <a:lnTo>
                      <a:pt x="37" y="60"/>
                    </a:lnTo>
                    <a:lnTo>
                      <a:pt x="37" y="61"/>
                    </a:lnTo>
                    <a:lnTo>
                      <a:pt x="36" y="61"/>
                    </a:lnTo>
                    <a:lnTo>
                      <a:pt x="34" y="61"/>
                    </a:lnTo>
                    <a:lnTo>
                      <a:pt x="32" y="61"/>
                    </a:lnTo>
                    <a:lnTo>
                      <a:pt x="30" y="61"/>
                    </a:lnTo>
                    <a:lnTo>
                      <a:pt x="30" y="60"/>
                    </a:lnTo>
                    <a:lnTo>
                      <a:pt x="29" y="60"/>
                    </a:lnTo>
                    <a:lnTo>
                      <a:pt x="27" y="58"/>
                    </a:lnTo>
                    <a:lnTo>
                      <a:pt x="27" y="56"/>
                    </a:lnTo>
                    <a:lnTo>
                      <a:pt x="29" y="56"/>
                    </a:lnTo>
                    <a:lnTo>
                      <a:pt x="29" y="54"/>
                    </a:lnTo>
                    <a:lnTo>
                      <a:pt x="30" y="54"/>
                    </a:lnTo>
                    <a:close/>
                    <a:moveTo>
                      <a:pt x="78" y="71"/>
                    </a:moveTo>
                    <a:lnTo>
                      <a:pt x="80" y="71"/>
                    </a:lnTo>
                    <a:lnTo>
                      <a:pt x="80" y="73"/>
                    </a:lnTo>
                    <a:lnTo>
                      <a:pt x="81" y="73"/>
                    </a:lnTo>
                    <a:lnTo>
                      <a:pt x="81" y="71"/>
                    </a:lnTo>
                    <a:lnTo>
                      <a:pt x="81" y="73"/>
                    </a:lnTo>
                    <a:lnTo>
                      <a:pt x="81" y="75"/>
                    </a:lnTo>
                    <a:lnTo>
                      <a:pt x="80" y="75"/>
                    </a:lnTo>
                    <a:lnTo>
                      <a:pt x="80" y="77"/>
                    </a:lnTo>
                    <a:lnTo>
                      <a:pt x="78" y="77"/>
                    </a:lnTo>
                    <a:lnTo>
                      <a:pt x="78" y="78"/>
                    </a:lnTo>
                    <a:lnTo>
                      <a:pt x="76" y="80"/>
                    </a:lnTo>
                    <a:lnTo>
                      <a:pt x="75" y="80"/>
                    </a:lnTo>
                    <a:lnTo>
                      <a:pt x="73" y="80"/>
                    </a:lnTo>
                    <a:lnTo>
                      <a:pt x="73" y="82"/>
                    </a:lnTo>
                    <a:lnTo>
                      <a:pt x="71" y="82"/>
                    </a:lnTo>
                    <a:lnTo>
                      <a:pt x="70" y="80"/>
                    </a:lnTo>
                    <a:lnTo>
                      <a:pt x="70" y="78"/>
                    </a:lnTo>
                    <a:lnTo>
                      <a:pt x="71" y="78"/>
                    </a:lnTo>
                    <a:lnTo>
                      <a:pt x="71" y="77"/>
                    </a:lnTo>
                    <a:lnTo>
                      <a:pt x="73" y="77"/>
                    </a:lnTo>
                    <a:lnTo>
                      <a:pt x="75" y="77"/>
                    </a:lnTo>
                    <a:lnTo>
                      <a:pt x="75" y="75"/>
                    </a:lnTo>
                    <a:lnTo>
                      <a:pt x="75" y="73"/>
                    </a:lnTo>
                    <a:lnTo>
                      <a:pt x="76" y="73"/>
                    </a:lnTo>
                    <a:lnTo>
                      <a:pt x="78" y="73"/>
                    </a:lnTo>
                    <a:lnTo>
                      <a:pt x="78" y="71"/>
                    </a:lnTo>
                    <a:close/>
                    <a:moveTo>
                      <a:pt x="42" y="90"/>
                    </a:moveTo>
                    <a:lnTo>
                      <a:pt x="44" y="92"/>
                    </a:lnTo>
                    <a:lnTo>
                      <a:pt x="44" y="94"/>
                    </a:lnTo>
                    <a:lnTo>
                      <a:pt x="42" y="94"/>
                    </a:lnTo>
                    <a:lnTo>
                      <a:pt x="42" y="95"/>
                    </a:lnTo>
                    <a:lnTo>
                      <a:pt x="41" y="95"/>
                    </a:lnTo>
                    <a:lnTo>
                      <a:pt x="41" y="94"/>
                    </a:lnTo>
                    <a:lnTo>
                      <a:pt x="39" y="94"/>
                    </a:lnTo>
                    <a:lnTo>
                      <a:pt x="39" y="92"/>
                    </a:lnTo>
                    <a:lnTo>
                      <a:pt x="41" y="92"/>
                    </a:lnTo>
                    <a:lnTo>
                      <a:pt x="41" y="90"/>
                    </a:lnTo>
                    <a:lnTo>
                      <a:pt x="42" y="90"/>
                    </a:lnTo>
                    <a:close/>
                    <a:moveTo>
                      <a:pt x="41" y="36"/>
                    </a:moveTo>
                    <a:lnTo>
                      <a:pt x="42" y="37"/>
                    </a:lnTo>
                    <a:lnTo>
                      <a:pt x="42" y="39"/>
                    </a:lnTo>
                    <a:lnTo>
                      <a:pt x="41" y="39"/>
                    </a:lnTo>
                    <a:lnTo>
                      <a:pt x="39" y="39"/>
                    </a:lnTo>
                    <a:lnTo>
                      <a:pt x="39" y="37"/>
                    </a:lnTo>
                    <a:lnTo>
                      <a:pt x="37" y="37"/>
                    </a:lnTo>
                    <a:lnTo>
                      <a:pt x="39" y="36"/>
                    </a:lnTo>
                    <a:lnTo>
                      <a:pt x="41" y="36"/>
                    </a:lnTo>
                    <a:close/>
                    <a:moveTo>
                      <a:pt x="399" y="138"/>
                    </a:moveTo>
                    <a:lnTo>
                      <a:pt x="399" y="139"/>
                    </a:lnTo>
                    <a:lnTo>
                      <a:pt x="398" y="139"/>
                    </a:lnTo>
                    <a:lnTo>
                      <a:pt x="398" y="138"/>
                    </a:lnTo>
                    <a:lnTo>
                      <a:pt x="398" y="136"/>
                    </a:lnTo>
                    <a:lnTo>
                      <a:pt x="398" y="134"/>
                    </a:lnTo>
                    <a:lnTo>
                      <a:pt x="399" y="133"/>
                    </a:lnTo>
                    <a:lnTo>
                      <a:pt x="399" y="134"/>
                    </a:lnTo>
                    <a:lnTo>
                      <a:pt x="399" y="136"/>
                    </a:lnTo>
                    <a:lnTo>
                      <a:pt x="399" y="138"/>
                    </a:lnTo>
                    <a:close/>
                    <a:moveTo>
                      <a:pt x="432" y="3"/>
                    </a:moveTo>
                    <a:lnTo>
                      <a:pt x="432" y="5"/>
                    </a:lnTo>
                    <a:lnTo>
                      <a:pt x="432" y="7"/>
                    </a:lnTo>
                    <a:lnTo>
                      <a:pt x="430" y="7"/>
                    </a:lnTo>
                    <a:lnTo>
                      <a:pt x="428" y="7"/>
                    </a:lnTo>
                    <a:lnTo>
                      <a:pt x="430" y="5"/>
                    </a:lnTo>
                    <a:lnTo>
                      <a:pt x="428" y="5"/>
                    </a:lnTo>
                    <a:lnTo>
                      <a:pt x="428" y="3"/>
                    </a:lnTo>
                    <a:lnTo>
                      <a:pt x="430" y="3"/>
                    </a:lnTo>
                    <a:lnTo>
                      <a:pt x="430" y="2"/>
                    </a:lnTo>
                    <a:lnTo>
                      <a:pt x="432" y="2"/>
                    </a:lnTo>
                    <a:lnTo>
                      <a:pt x="432" y="3"/>
                    </a:lnTo>
                    <a:close/>
                    <a:moveTo>
                      <a:pt x="394" y="134"/>
                    </a:moveTo>
                    <a:lnTo>
                      <a:pt x="396" y="134"/>
                    </a:lnTo>
                    <a:lnTo>
                      <a:pt x="396" y="136"/>
                    </a:lnTo>
                    <a:lnTo>
                      <a:pt x="394" y="136"/>
                    </a:lnTo>
                    <a:lnTo>
                      <a:pt x="392" y="136"/>
                    </a:lnTo>
                    <a:lnTo>
                      <a:pt x="391" y="136"/>
                    </a:lnTo>
                    <a:lnTo>
                      <a:pt x="392" y="136"/>
                    </a:lnTo>
                    <a:lnTo>
                      <a:pt x="392" y="134"/>
                    </a:lnTo>
                    <a:lnTo>
                      <a:pt x="392" y="133"/>
                    </a:lnTo>
                    <a:lnTo>
                      <a:pt x="394" y="133"/>
                    </a:lnTo>
                    <a:lnTo>
                      <a:pt x="394" y="134"/>
                    </a:lnTo>
                    <a:close/>
                    <a:moveTo>
                      <a:pt x="391" y="162"/>
                    </a:moveTo>
                    <a:lnTo>
                      <a:pt x="391" y="163"/>
                    </a:lnTo>
                    <a:lnTo>
                      <a:pt x="391" y="165"/>
                    </a:lnTo>
                    <a:lnTo>
                      <a:pt x="391" y="163"/>
                    </a:lnTo>
                    <a:lnTo>
                      <a:pt x="389" y="163"/>
                    </a:lnTo>
                    <a:lnTo>
                      <a:pt x="389" y="165"/>
                    </a:lnTo>
                    <a:lnTo>
                      <a:pt x="387" y="163"/>
                    </a:lnTo>
                    <a:lnTo>
                      <a:pt x="386" y="162"/>
                    </a:lnTo>
                    <a:lnTo>
                      <a:pt x="387" y="162"/>
                    </a:lnTo>
                    <a:lnTo>
                      <a:pt x="387" y="163"/>
                    </a:lnTo>
                    <a:lnTo>
                      <a:pt x="389" y="163"/>
                    </a:lnTo>
                    <a:lnTo>
                      <a:pt x="389" y="162"/>
                    </a:lnTo>
                    <a:lnTo>
                      <a:pt x="391" y="162"/>
                    </a:lnTo>
                    <a:close/>
                    <a:moveTo>
                      <a:pt x="403" y="138"/>
                    </a:moveTo>
                    <a:lnTo>
                      <a:pt x="401" y="138"/>
                    </a:lnTo>
                    <a:lnTo>
                      <a:pt x="401" y="136"/>
                    </a:lnTo>
                    <a:lnTo>
                      <a:pt x="401" y="134"/>
                    </a:lnTo>
                    <a:lnTo>
                      <a:pt x="403" y="134"/>
                    </a:lnTo>
                    <a:lnTo>
                      <a:pt x="403" y="136"/>
                    </a:lnTo>
                    <a:lnTo>
                      <a:pt x="403" y="138"/>
                    </a:lnTo>
                    <a:close/>
                    <a:moveTo>
                      <a:pt x="428" y="7"/>
                    </a:moveTo>
                    <a:lnTo>
                      <a:pt x="428" y="8"/>
                    </a:lnTo>
                    <a:lnTo>
                      <a:pt x="430" y="8"/>
                    </a:lnTo>
                    <a:lnTo>
                      <a:pt x="428" y="8"/>
                    </a:lnTo>
                    <a:lnTo>
                      <a:pt x="430" y="8"/>
                    </a:lnTo>
                    <a:lnTo>
                      <a:pt x="430" y="10"/>
                    </a:lnTo>
                    <a:lnTo>
                      <a:pt x="428" y="10"/>
                    </a:lnTo>
                    <a:lnTo>
                      <a:pt x="430" y="10"/>
                    </a:lnTo>
                    <a:lnTo>
                      <a:pt x="428" y="10"/>
                    </a:lnTo>
                    <a:lnTo>
                      <a:pt x="428" y="8"/>
                    </a:lnTo>
                    <a:lnTo>
                      <a:pt x="426" y="8"/>
                    </a:lnTo>
                    <a:lnTo>
                      <a:pt x="426" y="7"/>
                    </a:lnTo>
                    <a:lnTo>
                      <a:pt x="428" y="5"/>
                    </a:lnTo>
                    <a:lnTo>
                      <a:pt x="428" y="7"/>
                    </a:lnTo>
                    <a:close/>
                    <a:moveTo>
                      <a:pt x="392" y="160"/>
                    </a:moveTo>
                    <a:lnTo>
                      <a:pt x="392" y="162"/>
                    </a:lnTo>
                    <a:lnTo>
                      <a:pt x="392" y="163"/>
                    </a:lnTo>
                    <a:lnTo>
                      <a:pt x="391" y="163"/>
                    </a:lnTo>
                    <a:lnTo>
                      <a:pt x="391" y="162"/>
                    </a:lnTo>
                    <a:lnTo>
                      <a:pt x="391" y="160"/>
                    </a:lnTo>
                    <a:lnTo>
                      <a:pt x="392" y="160"/>
                    </a:lnTo>
                    <a:close/>
                    <a:moveTo>
                      <a:pt x="66" y="95"/>
                    </a:moveTo>
                    <a:lnTo>
                      <a:pt x="68" y="94"/>
                    </a:lnTo>
                    <a:lnTo>
                      <a:pt x="68" y="95"/>
                    </a:lnTo>
                    <a:lnTo>
                      <a:pt x="70" y="95"/>
                    </a:lnTo>
                    <a:lnTo>
                      <a:pt x="70" y="97"/>
                    </a:lnTo>
                    <a:lnTo>
                      <a:pt x="68" y="97"/>
                    </a:lnTo>
                    <a:lnTo>
                      <a:pt x="66" y="95"/>
                    </a:lnTo>
                    <a:lnTo>
                      <a:pt x="64" y="95"/>
                    </a:lnTo>
                    <a:lnTo>
                      <a:pt x="66" y="95"/>
                    </a:lnTo>
                    <a:lnTo>
                      <a:pt x="66" y="94"/>
                    </a:lnTo>
                    <a:lnTo>
                      <a:pt x="66" y="95"/>
                    </a:lnTo>
                    <a:close/>
                    <a:moveTo>
                      <a:pt x="30" y="27"/>
                    </a:moveTo>
                    <a:lnTo>
                      <a:pt x="32" y="29"/>
                    </a:lnTo>
                    <a:lnTo>
                      <a:pt x="32" y="31"/>
                    </a:lnTo>
                    <a:lnTo>
                      <a:pt x="30" y="31"/>
                    </a:lnTo>
                    <a:lnTo>
                      <a:pt x="30" y="29"/>
                    </a:lnTo>
                    <a:lnTo>
                      <a:pt x="30" y="27"/>
                    </a:lnTo>
                    <a:close/>
                    <a:moveTo>
                      <a:pt x="394" y="131"/>
                    </a:moveTo>
                    <a:lnTo>
                      <a:pt x="396" y="131"/>
                    </a:lnTo>
                    <a:lnTo>
                      <a:pt x="396" y="133"/>
                    </a:lnTo>
                    <a:lnTo>
                      <a:pt x="396" y="134"/>
                    </a:lnTo>
                    <a:lnTo>
                      <a:pt x="394" y="133"/>
                    </a:lnTo>
                    <a:lnTo>
                      <a:pt x="392" y="133"/>
                    </a:lnTo>
                    <a:lnTo>
                      <a:pt x="392" y="131"/>
                    </a:lnTo>
                    <a:lnTo>
                      <a:pt x="394" y="131"/>
                    </a:lnTo>
                    <a:close/>
                    <a:moveTo>
                      <a:pt x="391" y="145"/>
                    </a:moveTo>
                    <a:lnTo>
                      <a:pt x="392" y="145"/>
                    </a:lnTo>
                    <a:lnTo>
                      <a:pt x="392" y="148"/>
                    </a:lnTo>
                    <a:lnTo>
                      <a:pt x="391" y="148"/>
                    </a:lnTo>
                    <a:lnTo>
                      <a:pt x="391" y="145"/>
                    </a:lnTo>
                    <a:close/>
                    <a:moveTo>
                      <a:pt x="401" y="134"/>
                    </a:moveTo>
                    <a:lnTo>
                      <a:pt x="399" y="134"/>
                    </a:lnTo>
                    <a:lnTo>
                      <a:pt x="399" y="133"/>
                    </a:lnTo>
                    <a:lnTo>
                      <a:pt x="399" y="131"/>
                    </a:lnTo>
                    <a:lnTo>
                      <a:pt x="401" y="131"/>
                    </a:lnTo>
                    <a:lnTo>
                      <a:pt x="401" y="133"/>
                    </a:lnTo>
                    <a:lnTo>
                      <a:pt x="401" y="134"/>
                    </a:lnTo>
                    <a:close/>
                    <a:moveTo>
                      <a:pt x="386" y="162"/>
                    </a:moveTo>
                    <a:lnTo>
                      <a:pt x="386" y="163"/>
                    </a:lnTo>
                    <a:lnTo>
                      <a:pt x="387" y="163"/>
                    </a:lnTo>
                    <a:lnTo>
                      <a:pt x="387" y="165"/>
                    </a:lnTo>
                    <a:lnTo>
                      <a:pt x="386" y="165"/>
                    </a:lnTo>
                    <a:lnTo>
                      <a:pt x="386" y="163"/>
                    </a:lnTo>
                    <a:lnTo>
                      <a:pt x="386" y="162"/>
                    </a:lnTo>
                    <a:close/>
                    <a:moveTo>
                      <a:pt x="394" y="124"/>
                    </a:moveTo>
                    <a:lnTo>
                      <a:pt x="396" y="124"/>
                    </a:lnTo>
                    <a:lnTo>
                      <a:pt x="396" y="128"/>
                    </a:lnTo>
                    <a:lnTo>
                      <a:pt x="394" y="128"/>
                    </a:lnTo>
                    <a:lnTo>
                      <a:pt x="394" y="124"/>
                    </a:lnTo>
                    <a:close/>
                    <a:moveTo>
                      <a:pt x="432" y="0"/>
                    </a:moveTo>
                    <a:lnTo>
                      <a:pt x="433" y="0"/>
                    </a:lnTo>
                    <a:lnTo>
                      <a:pt x="433" y="2"/>
                    </a:lnTo>
                    <a:lnTo>
                      <a:pt x="432" y="2"/>
                    </a:lnTo>
                    <a:lnTo>
                      <a:pt x="432" y="0"/>
                    </a:lnTo>
                    <a:close/>
                    <a:moveTo>
                      <a:pt x="391" y="156"/>
                    </a:moveTo>
                    <a:lnTo>
                      <a:pt x="394" y="156"/>
                    </a:lnTo>
                    <a:lnTo>
                      <a:pt x="394" y="160"/>
                    </a:lnTo>
                    <a:lnTo>
                      <a:pt x="391" y="160"/>
                    </a:lnTo>
                    <a:lnTo>
                      <a:pt x="391" y="156"/>
                    </a:lnTo>
                    <a:close/>
                    <a:moveTo>
                      <a:pt x="46" y="63"/>
                    </a:moveTo>
                    <a:lnTo>
                      <a:pt x="47" y="63"/>
                    </a:lnTo>
                    <a:lnTo>
                      <a:pt x="47" y="65"/>
                    </a:lnTo>
                    <a:lnTo>
                      <a:pt x="46" y="65"/>
                    </a:lnTo>
                    <a:lnTo>
                      <a:pt x="46" y="63"/>
                    </a:lnTo>
                    <a:close/>
                    <a:moveTo>
                      <a:pt x="53" y="77"/>
                    </a:moveTo>
                    <a:lnTo>
                      <a:pt x="56" y="77"/>
                    </a:lnTo>
                    <a:lnTo>
                      <a:pt x="53" y="77"/>
                    </a:lnTo>
                    <a:close/>
                    <a:moveTo>
                      <a:pt x="394" y="138"/>
                    </a:moveTo>
                    <a:lnTo>
                      <a:pt x="396" y="138"/>
                    </a:lnTo>
                    <a:lnTo>
                      <a:pt x="396" y="139"/>
                    </a:lnTo>
                    <a:lnTo>
                      <a:pt x="394" y="139"/>
                    </a:lnTo>
                    <a:lnTo>
                      <a:pt x="394" y="138"/>
                    </a:lnTo>
                    <a:close/>
                    <a:moveTo>
                      <a:pt x="398" y="122"/>
                    </a:moveTo>
                    <a:lnTo>
                      <a:pt x="399" y="122"/>
                    </a:lnTo>
                    <a:lnTo>
                      <a:pt x="399" y="124"/>
                    </a:lnTo>
                    <a:lnTo>
                      <a:pt x="398" y="124"/>
                    </a:lnTo>
                    <a:lnTo>
                      <a:pt x="398" y="122"/>
                    </a:lnTo>
                    <a:close/>
                    <a:moveTo>
                      <a:pt x="384" y="162"/>
                    </a:moveTo>
                    <a:lnTo>
                      <a:pt x="386" y="162"/>
                    </a:lnTo>
                    <a:lnTo>
                      <a:pt x="386" y="165"/>
                    </a:lnTo>
                    <a:lnTo>
                      <a:pt x="384" y="165"/>
                    </a:lnTo>
                    <a:lnTo>
                      <a:pt x="384" y="162"/>
                    </a:lnTo>
                    <a:close/>
                    <a:moveTo>
                      <a:pt x="394" y="131"/>
                    </a:moveTo>
                    <a:lnTo>
                      <a:pt x="396" y="131"/>
                    </a:lnTo>
                    <a:lnTo>
                      <a:pt x="394" y="131"/>
                    </a:lnTo>
                    <a:close/>
                    <a:moveTo>
                      <a:pt x="391" y="129"/>
                    </a:moveTo>
                    <a:lnTo>
                      <a:pt x="392" y="129"/>
                    </a:lnTo>
                    <a:lnTo>
                      <a:pt x="392" y="133"/>
                    </a:lnTo>
                    <a:lnTo>
                      <a:pt x="391" y="133"/>
                    </a:lnTo>
                    <a:lnTo>
                      <a:pt x="391" y="129"/>
                    </a:lnTo>
                    <a:close/>
                    <a:moveTo>
                      <a:pt x="34" y="68"/>
                    </a:moveTo>
                    <a:lnTo>
                      <a:pt x="34" y="70"/>
                    </a:lnTo>
                    <a:lnTo>
                      <a:pt x="34" y="68"/>
                    </a:lnTo>
                    <a:close/>
                    <a:moveTo>
                      <a:pt x="392" y="129"/>
                    </a:moveTo>
                    <a:lnTo>
                      <a:pt x="394" y="129"/>
                    </a:lnTo>
                    <a:lnTo>
                      <a:pt x="394" y="131"/>
                    </a:lnTo>
                    <a:lnTo>
                      <a:pt x="392" y="131"/>
                    </a:lnTo>
                    <a:lnTo>
                      <a:pt x="392" y="129"/>
                    </a:lnTo>
                    <a:close/>
                    <a:moveTo>
                      <a:pt x="396" y="128"/>
                    </a:moveTo>
                    <a:lnTo>
                      <a:pt x="396" y="129"/>
                    </a:lnTo>
                    <a:lnTo>
                      <a:pt x="396" y="128"/>
                    </a:lnTo>
                    <a:close/>
                    <a:moveTo>
                      <a:pt x="387" y="162"/>
                    </a:moveTo>
                    <a:lnTo>
                      <a:pt x="389" y="162"/>
                    </a:lnTo>
                    <a:lnTo>
                      <a:pt x="389" y="163"/>
                    </a:lnTo>
                    <a:lnTo>
                      <a:pt x="387" y="163"/>
                    </a:lnTo>
                    <a:lnTo>
                      <a:pt x="387" y="162"/>
                    </a:lnTo>
                    <a:close/>
                    <a:moveTo>
                      <a:pt x="396" y="131"/>
                    </a:moveTo>
                    <a:lnTo>
                      <a:pt x="398" y="131"/>
                    </a:lnTo>
                    <a:lnTo>
                      <a:pt x="398" y="133"/>
                    </a:lnTo>
                    <a:lnTo>
                      <a:pt x="396" y="133"/>
                    </a:lnTo>
                    <a:lnTo>
                      <a:pt x="396" y="131"/>
                    </a:lnTo>
                    <a:close/>
                    <a:moveTo>
                      <a:pt x="392" y="136"/>
                    </a:moveTo>
                    <a:lnTo>
                      <a:pt x="396" y="136"/>
                    </a:lnTo>
                    <a:lnTo>
                      <a:pt x="396" y="138"/>
                    </a:lnTo>
                    <a:lnTo>
                      <a:pt x="392" y="138"/>
                    </a:lnTo>
                    <a:lnTo>
                      <a:pt x="392" y="136"/>
                    </a:lnTo>
                    <a:close/>
                    <a:moveTo>
                      <a:pt x="58" y="37"/>
                    </a:moveTo>
                    <a:lnTo>
                      <a:pt x="58" y="39"/>
                    </a:lnTo>
                    <a:lnTo>
                      <a:pt x="58" y="37"/>
                    </a:lnTo>
                    <a:close/>
                    <a:moveTo>
                      <a:pt x="394" y="128"/>
                    </a:moveTo>
                    <a:lnTo>
                      <a:pt x="396" y="128"/>
                    </a:lnTo>
                    <a:lnTo>
                      <a:pt x="396" y="129"/>
                    </a:lnTo>
                    <a:lnTo>
                      <a:pt x="394" y="129"/>
                    </a:lnTo>
                    <a:lnTo>
                      <a:pt x="394" y="128"/>
                    </a:lnTo>
                    <a:close/>
                    <a:moveTo>
                      <a:pt x="392" y="36"/>
                    </a:moveTo>
                    <a:lnTo>
                      <a:pt x="394" y="36"/>
                    </a:lnTo>
                    <a:lnTo>
                      <a:pt x="392" y="36"/>
                    </a:lnTo>
                    <a:close/>
                    <a:moveTo>
                      <a:pt x="394" y="41"/>
                    </a:moveTo>
                    <a:lnTo>
                      <a:pt x="396" y="41"/>
                    </a:lnTo>
                    <a:lnTo>
                      <a:pt x="396" y="43"/>
                    </a:lnTo>
                    <a:lnTo>
                      <a:pt x="394" y="43"/>
                    </a:lnTo>
                    <a:lnTo>
                      <a:pt x="394" y="41"/>
                    </a:lnTo>
                    <a:close/>
                    <a:moveTo>
                      <a:pt x="392" y="136"/>
                    </a:moveTo>
                    <a:lnTo>
                      <a:pt x="392" y="138"/>
                    </a:lnTo>
                    <a:lnTo>
                      <a:pt x="392" y="136"/>
                    </a:lnTo>
                    <a:close/>
                    <a:moveTo>
                      <a:pt x="391" y="146"/>
                    </a:moveTo>
                    <a:lnTo>
                      <a:pt x="391" y="148"/>
                    </a:lnTo>
                    <a:lnTo>
                      <a:pt x="391" y="146"/>
                    </a:lnTo>
                    <a:close/>
                    <a:moveTo>
                      <a:pt x="396" y="129"/>
                    </a:moveTo>
                    <a:lnTo>
                      <a:pt x="398" y="129"/>
                    </a:lnTo>
                    <a:lnTo>
                      <a:pt x="398" y="131"/>
                    </a:lnTo>
                    <a:lnTo>
                      <a:pt x="396" y="131"/>
                    </a:lnTo>
                    <a:lnTo>
                      <a:pt x="396" y="129"/>
                    </a:lnTo>
                    <a:close/>
                    <a:moveTo>
                      <a:pt x="394" y="129"/>
                    </a:moveTo>
                    <a:lnTo>
                      <a:pt x="396" y="129"/>
                    </a:lnTo>
                    <a:lnTo>
                      <a:pt x="396" y="131"/>
                    </a:lnTo>
                    <a:lnTo>
                      <a:pt x="394" y="131"/>
                    </a:lnTo>
                    <a:lnTo>
                      <a:pt x="394" y="129"/>
                    </a:lnTo>
                    <a:close/>
                    <a:moveTo>
                      <a:pt x="391" y="146"/>
                    </a:moveTo>
                    <a:lnTo>
                      <a:pt x="391" y="148"/>
                    </a:lnTo>
                    <a:lnTo>
                      <a:pt x="391" y="146"/>
                    </a:lnTo>
                    <a:close/>
                    <a:moveTo>
                      <a:pt x="389" y="145"/>
                    </a:moveTo>
                    <a:lnTo>
                      <a:pt x="391" y="145"/>
                    </a:lnTo>
                    <a:lnTo>
                      <a:pt x="391" y="146"/>
                    </a:lnTo>
                    <a:lnTo>
                      <a:pt x="389" y="146"/>
                    </a:lnTo>
                    <a:lnTo>
                      <a:pt x="389" y="145"/>
                    </a:lnTo>
                    <a:close/>
                    <a:moveTo>
                      <a:pt x="357" y="92"/>
                    </a:moveTo>
                    <a:lnTo>
                      <a:pt x="359" y="92"/>
                    </a:lnTo>
                    <a:lnTo>
                      <a:pt x="357" y="92"/>
                    </a:lnTo>
                    <a:close/>
                    <a:moveTo>
                      <a:pt x="389" y="145"/>
                    </a:moveTo>
                    <a:lnTo>
                      <a:pt x="389" y="146"/>
                    </a:lnTo>
                    <a:lnTo>
                      <a:pt x="389" y="145"/>
                    </a:lnTo>
                    <a:close/>
                    <a:moveTo>
                      <a:pt x="396" y="131"/>
                    </a:moveTo>
                    <a:lnTo>
                      <a:pt x="398" y="131"/>
                    </a:lnTo>
                    <a:lnTo>
                      <a:pt x="396" y="131"/>
                    </a:lnTo>
                    <a:close/>
                    <a:moveTo>
                      <a:pt x="433" y="0"/>
                    </a:moveTo>
                    <a:lnTo>
                      <a:pt x="433" y="2"/>
                    </a:lnTo>
                    <a:lnTo>
                      <a:pt x="433" y="0"/>
                    </a:lnTo>
                    <a:close/>
                    <a:moveTo>
                      <a:pt x="391" y="34"/>
                    </a:moveTo>
                    <a:lnTo>
                      <a:pt x="392" y="34"/>
                    </a:lnTo>
                    <a:lnTo>
                      <a:pt x="391" y="34"/>
                    </a:lnTo>
                    <a:close/>
                    <a:moveTo>
                      <a:pt x="396" y="129"/>
                    </a:moveTo>
                    <a:lnTo>
                      <a:pt x="398" y="129"/>
                    </a:lnTo>
                    <a:lnTo>
                      <a:pt x="396" y="129"/>
                    </a:lnTo>
                    <a:close/>
                    <a:moveTo>
                      <a:pt x="391" y="134"/>
                    </a:moveTo>
                    <a:lnTo>
                      <a:pt x="392" y="134"/>
                    </a:lnTo>
                    <a:lnTo>
                      <a:pt x="392" y="136"/>
                    </a:lnTo>
                    <a:lnTo>
                      <a:pt x="391" y="136"/>
                    </a:lnTo>
                    <a:lnTo>
                      <a:pt x="391" y="134"/>
                    </a:lnTo>
                    <a:close/>
                    <a:moveTo>
                      <a:pt x="399" y="134"/>
                    </a:moveTo>
                    <a:lnTo>
                      <a:pt x="401" y="134"/>
                    </a:lnTo>
                    <a:lnTo>
                      <a:pt x="399" y="134"/>
                    </a:lnTo>
                    <a:close/>
                    <a:moveTo>
                      <a:pt x="428" y="8"/>
                    </a:moveTo>
                    <a:lnTo>
                      <a:pt x="428" y="10"/>
                    </a:lnTo>
                    <a:lnTo>
                      <a:pt x="428" y="8"/>
                    </a:lnTo>
                    <a:close/>
                    <a:moveTo>
                      <a:pt x="386" y="163"/>
                    </a:moveTo>
                    <a:lnTo>
                      <a:pt x="386" y="165"/>
                    </a:lnTo>
                    <a:lnTo>
                      <a:pt x="386" y="163"/>
                    </a:lnTo>
                    <a:close/>
                    <a:moveTo>
                      <a:pt x="46" y="61"/>
                    </a:moveTo>
                    <a:lnTo>
                      <a:pt x="47" y="61"/>
                    </a:lnTo>
                    <a:lnTo>
                      <a:pt x="47" y="63"/>
                    </a:lnTo>
                    <a:lnTo>
                      <a:pt x="46" y="63"/>
                    </a:lnTo>
                    <a:lnTo>
                      <a:pt x="46" y="61"/>
                    </a:lnTo>
                    <a:close/>
                    <a:moveTo>
                      <a:pt x="396" y="129"/>
                    </a:moveTo>
                    <a:lnTo>
                      <a:pt x="396" y="131"/>
                    </a:lnTo>
                    <a:lnTo>
                      <a:pt x="396" y="129"/>
                    </a:lnTo>
                    <a:close/>
                    <a:moveTo>
                      <a:pt x="433" y="0"/>
                    </a:moveTo>
                    <a:lnTo>
                      <a:pt x="433" y="2"/>
                    </a:lnTo>
                    <a:lnTo>
                      <a:pt x="433" y="0"/>
                    </a:lnTo>
                    <a:close/>
                    <a:moveTo>
                      <a:pt x="387" y="138"/>
                    </a:moveTo>
                    <a:lnTo>
                      <a:pt x="387" y="139"/>
                    </a:lnTo>
                    <a:lnTo>
                      <a:pt x="387" y="138"/>
                    </a:lnTo>
                    <a:close/>
                    <a:moveTo>
                      <a:pt x="396" y="128"/>
                    </a:moveTo>
                    <a:lnTo>
                      <a:pt x="396" y="129"/>
                    </a:lnTo>
                    <a:lnTo>
                      <a:pt x="396" y="128"/>
                    </a:lnTo>
                    <a:close/>
                    <a:moveTo>
                      <a:pt x="386" y="165"/>
                    </a:moveTo>
                    <a:lnTo>
                      <a:pt x="387" y="165"/>
                    </a:lnTo>
                    <a:lnTo>
                      <a:pt x="386" y="165"/>
                    </a:lnTo>
                    <a:close/>
                    <a:moveTo>
                      <a:pt x="384" y="163"/>
                    </a:moveTo>
                    <a:lnTo>
                      <a:pt x="386" y="163"/>
                    </a:lnTo>
                    <a:lnTo>
                      <a:pt x="384" y="16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5" name="Freeform 30">
                <a:extLst>
                  <a:ext uri="{FF2B5EF4-FFF2-40B4-BE49-F238E27FC236}">
                    <a16:creationId xmlns:a16="http://schemas.microsoft.com/office/drawing/2014/main" id="{41ACF91B-6F42-C8E4-FBF3-A3FE18193B8B}"/>
                  </a:ext>
                </a:extLst>
              </p:cNvPr>
              <p:cNvSpPr>
                <a:spLocks noEditPoints="1"/>
              </p:cNvSpPr>
              <p:nvPr/>
            </p:nvSpPr>
            <p:spPr bwMode="auto">
              <a:xfrm>
                <a:off x="5769926" y="3536912"/>
                <a:ext cx="36127" cy="23204"/>
              </a:xfrm>
              <a:custGeom>
                <a:avLst/>
                <a:gdLst>
                  <a:gd name="T0" fmla="*/ 102 w 123"/>
                  <a:gd name="T1" fmla="*/ 21 h 79"/>
                  <a:gd name="T2" fmla="*/ 92 w 123"/>
                  <a:gd name="T3" fmla="*/ 24 h 79"/>
                  <a:gd name="T4" fmla="*/ 102 w 123"/>
                  <a:gd name="T5" fmla="*/ 33 h 79"/>
                  <a:gd name="T6" fmla="*/ 107 w 123"/>
                  <a:gd name="T7" fmla="*/ 27 h 79"/>
                  <a:gd name="T8" fmla="*/ 117 w 123"/>
                  <a:gd name="T9" fmla="*/ 21 h 79"/>
                  <a:gd name="T10" fmla="*/ 112 w 123"/>
                  <a:gd name="T11" fmla="*/ 29 h 79"/>
                  <a:gd name="T12" fmla="*/ 116 w 123"/>
                  <a:gd name="T13" fmla="*/ 36 h 79"/>
                  <a:gd name="T14" fmla="*/ 114 w 123"/>
                  <a:gd name="T15" fmla="*/ 39 h 79"/>
                  <a:gd name="T16" fmla="*/ 106 w 123"/>
                  <a:gd name="T17" fmla="*/ 43 h 79"/>
                  <a:gd name="T18" fmla="*/ 97 w 123"/>
                  <a:gd name="T19" fmla="*/ 50 h 79"/>
                  <a:gd name="T20" fmla="*/ 80 w 123"/>
                  <a:gd name="T21" fmla="*/ 43 h 79"/>
                  <a:gd name="T22" fmla="*/ 87 w 123"/>
                  <a:gd name="T23" fmla="*/ 51 h 79"/>
                  <a:gd name="T24" fmla="*/ 87 w 123"/>
                  <a:gd name="T25" fmla="*/ 56 h 79"/>
                  <a:gd name="T26" fmla="*/ 68 w 123"/>
                  <a:gd name="T27" fmla="*/ 55 h 79"/>
                  <a:gd name="T28" fmla="*/ 77 w 123"/>
                  <a:gd name="T29" fmla="*/ 62 h 79"/>
                  <a:gd name="T30" fmla="*/ 66 w 123"/>
                  <a:gd name="T31" fmla="*/ 60 h 79"/>
                  <a:gd name="T32" fmla="*/ 66 w 123"/>
                  <a:gd name="T33" fmla="*/ 70 h 79"/>
                  <a:gd name="T34" fmla="*/ 58 w 123"/>
                  <a:gd name="T35" fmla="*/ 65 h 79"/>
                  <a:gd name="T36" fmla="*/ 61 w 123"/>
                  <a:gd name="T37" fmla="*/ 53 h 79"/>
                  <a:gd name="T38" fmla="*/ 65 w 123"/>
                  <a:gd name="T39" fmla="*/ 46 h 79"/>
                  <a:gd name="T40" fmla="*/ 78 w 123"/>
                  <a:gd name="T41" fmla="*/ 43 h 79"/>
                  <a:gd name="T42" fmla="*/ 75 w 123"/>
                  <a:gd name="T43" fmla="*/ 27 h 79"/>
                  <a:gd name="T44" fmla="*/ 77 w 123"/>
                  <a:gd name="T45" fmla="*/ 22 h 79"/>
                  <a:gd name="T46" fmla="*/ 70 w 123"/>
                  <a:gd name="T47" fmla="*/ 24 h 79"/>
                  <a:gd name="T48" fmla="*/ 66 w 123"/>
                  <a:gd name="T49" fmla="*/ 33 h 79"/>
                  <a:gd name="T50" fmla="*/ 55 w 123"/>
                  <a:gd name="T51" fmla="*/ 43 h 79"/>
                  <a:gd name="T52" fmla="*/ 41 w 123"/>
                  <a:gd name="T53" fmla="*/ 55 h 79"/>
                  <a:gd name="T54" fmla="*/ 38 w 123"/>
                  <a:gd name="T55" fmla="*/ 58 h 79"/>
                  <a:gd name="T56" fmla="*/ 31 w 123"/>
                  <a:gd name="T57" fmla="*/ 62 h 79"/>
                  <a:gd name="T58" fmla="*/ 22 w 123"/>
                  <a:gd name="T59" fmla="*/ 65 h 79"/>
                  <a:gd name="T60" fmla="*/ 21 w 123"/>
                  <a:gd name="T61" fmla="*/ 63 h 79"/>
                  <a:gd name="T62" fmla="*/ 19 w 123"/>
                  <a:gd name="T63" fmla="*/ 56 h 79"/>
                  <a:gd name="T64" fmla="*/ 22 w 123"/>
                  <a:gd name="T65" fmla="*/ 56 h 79"/>
                  <a:gd name="T66" fmla="*/ 29 w 123"/>
                  <a:gd name="T67" fmla="*/ 51 h 79"/>
                  <a:gd name="T68" fmla="*/ 32 w 123"/>
                  <a:gd name="T69" fmla="*/ 45 h 79"/>
                  <a:gd name="T70" fmla="*/ 36 w 123"/>
                  <a:gd name="T71" fmla="*/ 39 h 79"/>
                  <a:gd name="T72" fmla="*/ 34 w 123"/>
                  <a:gd name="T73" fmla="*/ 36 h 79"/>
                  <a:gd name="T74" fmla="*/ 34 w 123"/>
                  <a:gd name="T75" fmla="*/ 29 h 79"/>
                  <a:gd name="T76" fmla="*/ 24 w 123"/>
                  <a:gd name="T77" fmla="*/ 19 h 79"/>
                  <a:gd name="T78" fmla="*/ 43 w 123"/>
                  <a:gd name="T79" fmla="*/ 22 h 79"/>
                  <a:gd name="T80" fmla="*/ 51 w 123"/>
                  <a:gd name="T81" fmla="*/ 22 h 79"/>
                  <a:gd name="T82" fmla="*/ 63 w 123"/>
                  <a:gd name="T83" fmla="*/ 24 h 79"/>
                  <a:gd name="T84" fmla="*/ 15 w 123"/>
                  <a:gd name="T85" fmla="*/ 50 h 79"/>
                  <a:gd name="T86" fmla="*/ 14 w 123"/>
                  <a:gd name="T87" fmla="*/ 43 h 79"/>
                  <a:gd name="T88" fmla="*/ 43 w 123"/>
                  <a:gd name="T89" fmla="*/ 17 h 79"/>
                  <a:gd name="T90" fmla="*/ 34 w 123"/>
                  <a:gd name="T91" fmla="*/ 14 h 79"/>
                  <a:gd name="T92" fmla="*/ 55 w 123"/>
                  <a:gd name="T93" fmla="*/ 16 h 79"/>
                  <a:gd name="T94" fmla="*/ 99 w 123"/>
                  <a:gd name="T95" fmla="*/ 53 h 79"/>
                  <a:gd name="T96" fmla="*/ 48 w 123"/>
                  <a:gd name="T97" fmla="*/ 19 h 79"/>
                  <a:gd name="T98" fmla="*/ 55 w 123"/>
                  <a:gd name="T99" fmla="*/ 73 h 79"/>
                  <a:gd name="T100" fmla="*/ 4 w 123"/>
                  <a:gd name="T101" fmla="*/ 38 h 79"/>
                  <a:gd name="T102" fmla="*/ 53 w 123"/>
                  <a:gd name="T103" fmla="*/ 17 h 79"/>
                  <a:gd name="T104" fmla="*/ 58 w 123"/>
                  <a:gd name="T105" fmla="*/ 41 h 79"/>
                  <a:gd name="T106" fmla="*/ 56 w 123"/>
                  <a:gd name="T107" fmla="*/ 22 h 79"/>
                  <a:gd name="T108" fmla="*/ 60 w 123"/>
                  <a:gd name="T109" fmla="*/ 19 h 79"/>
                  <a:gd name="T110" fmla="*/ 17 w 123"/>
                  <a:gd name="T111" fmla="*/ 10 h 79"/>
                  <a:gd name="T112" fmla="*/ 17 w 123"/>
                  <a:gd name="T113" fmla="*/ 5 h 79"/>
                  <a:gd name="T114" fmla="*/ 17 w 123"/>
                  <a:gd name="T115" fmla="*/ 7 h 79"/>
                  <a:gd name="T116" fmla="*/ 21 w 123"/>
                  <a:gd name="T117" fmla="*/ 26 h 79"/>
                  <a:gd name="T118" fmla="*/ 17 w 123"/>
                  <a:gd name="T119" fmla="*/ 31 h 79"/>
                  <a:gd name="T120" fmla="*/ 41 w 123"/>
                  <a:gd name="T121" fmla="*/ 22 h 79"/>
                  <a:gd name="T122" fmla="*/ 29 w 123"/>
                  <a:gd name="T123" fmla="*/ 17 h 79"/>
                  <a:gd name="T124" fmla="*/ 55 w 123"/>
                  <a:gd name="T125" fmla="*/ 4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3" h="79">
                    <a:moveTo>
                      <a:pt x="80" y="12"/>
                    </a:moveTo>
                    <a:lnTo>
                      <a:pt x="82" y="12"/>
                    </a:lnTo>
                    <a:lnTo>
                      <a:pt x="82" y="14"/>
                    </a:lnTo>
                    <a:lnTo>
                      <a:pt x="83" y="14"/>
                    </a:lnTo>
                    <a:lnTo>
                      <a:pt x="83" y="16"/>
                    </a:lnTo>
                    <a:lnTo>
                      <a:pt x="85" y="16"/>
                    </a:lnTo>
                    <a:lnTo>
                      <a:pt x="87" y="16"/>
                    </a:lnTo>
                    <a:lnTo>
                      <a:pt x="87" y="17"/>
                    </a:lnTo>
                    <a:lnTo>
                      <a:pt x="89" y="17"/>
                    </a:lnTo>
                    <a:lnTo>
                      <a:pt x="90" y="17"/>
                    </a:lnTo>
                    <a:lnTo>
                      <a:pt x="92" y="17"/>
                    </a:lnTo>
                    <a:lnTo>
                      <a:pt x="92" y="19"/>
                    </a:lnTo>
                    <a:lnTo>
                      <a:pt x="94" y="19"/>
                    </a:lnTo>
                    <a:lnTo>
                      <a:pt x="94" y="17"/>
                    </a:lnTo>
                    <a:lnTo>
                      <a:pt x="92" y="19"/>
                    </a:lnTo>
                    <a:lnTo>
                      <a:pt x="92" y="17"/>
                    </a:lnTo>
                    <a:lnTo>
                      <a:pt x="94" y="16"/>
                    </a:lnTo>
                    <a:lnTo>
                      <a:pt x="95" y="16"/>
                    </a:lnTo>
                    <a:lnTo>
                      <a:pt x="97" y="16"/>
                    </a:lnTo>
                    <a:lnTo>
                      <a:pt x="97" y="17"/>
                    </a:lnTo>
                    <a:lnTo>
                      <a:pt x="99" y="17"/>
                    </a:lnTo>
                    <a:lnTo>
                      <a:pt x="100" y="17"/>
                    </a:lnTo>
                    <a:lnTo>
                      <a:pt x="100" y="19"/>
                    </a:lnTo>
                    <a:lnTo>
                      <a:pt x="102" y="19"/>
                    </a:lnTo>
                    <a:lnTo>
                      <a:pt x="102" y="21"/>
                    </a:lnTo>
                    <a:lnTo>
                      <a:pt x="100" y="21"/>
                    </a:lnTo>
                    <a:lnTo>
                      <a:pt x="102" y="21"/>
                    </a:lnTo>
                    <a:lnTo>
                      <a:pt x="102" y="22"/>
                    </a:lnTo>
                    <a:lnTo>
                      <a:pt x="100" y="22"/>
                    </a:lnTo>
                    <a:lnTo>
                      <a:pt x="102" y="22"/>
                    </a:lnTo>
                    <a:lnTo>
                      <a:pt x="102" y="24"/>
                    </a:lnTo>
                    <a:lnTo>
                      <a:pt x="100" y="24"/>
                    </a:lnTo>
                    <a:lnTo>
                      <a:pt x="100" y="22"/>
                    </a:lnTo>
                    <a:lnTo>
                      <a:pt x="100" y="24"/>
                    </a:lnTo>
                    <a:lnTo>
                      <a:pt x="99" y="24"/>
                    </a:lnTo>
                    <a:lnTo>
                      <a:pt x="97" y="24"/>
                    </a:lnTo>
                    <a:lnTo>
                      <a:pt x="97" y="22"/>
                    </a:lnTo>
                    <a:lnTo>
                      <a:pt x="97" y="21"/>
                    </a:lnTo>
                    <a:lnTo>
                      <a:pt x="97" y="22"/>
                    </a:lnTo>
                    <a:lnTo>
                      <a:pt x="95" y="22"/>
                    </a:lnTo>
                    <a:lnTo>
                      <a:pt x="95" y="21"/>
                    </a:lnTo>
                    <a:lnTo>
                      <a:pt x="97" y="21"/>
                    </a:lnTo>
                    <a:lnTo>
                      <a:pt x="95" y="21"/>
                    </a:lnTo>
                    <a:lnTo>
                      <a:pt x="95" y="22"/>
                    </a:lnTo>
                    <a:lnTo>
                      <a:pt x="94" y="22"/>
                    </a:lnTo>
                    <a:lnTo>
                      <a:pt x="94" y="24"/>
                    </a:lnTo>
                    <a:lnTo>
                      <a:pt x="94" y="22"/>
                    </a:lnTo>
                    <a:lnTo>
                      <a:pt x="95" y="22"/>
                    </a:lnTo>
                    <a:lnTo>
                      <a:pt x="94" y="24"/>
                    </a:lnTo>
                    <a:lnTo>
                      <a:pt x="92" y="24"/>
                    </a:lnTo>
                    <a:lnTo>
                      <a:pt x="94" y="24"/>
                    </a:lnTo>
                    <a:lnTo>
                      <a:pt x="95" y="22"/>
                    </a:lnTo>
                    <a:lnTo>
                      <a:pt x="95" y="24"/>
                    </a:lnTo>
                    <a:lnTo>
                      <a:pt x="95" y="22"/>
                    </a:lnTo>
                    <a:lnTo>
                      <a:pt x="97" y="24"/>
                    </a:lnTo>
                    <a:lnTo>
                      <a:pt x="95" y="24"/>
                    </a:lnTo>
                    <a:lnTo>
                      <a:pt x="95" y="26"/>
                    </a:lnTo>
                    <a:lnTo>
                      <a:pt x="95" y="27"/>
                    </a:lnTo>
                    <a:lnTo>
                      <a:pt x="95" y="26"/>
                    </a:lnTo>
                    <a:lnTo>
                      <a:pt x="97" y="24"/>
                    </a:lnTo>
                    <a:lnTo>
                      <a:pt x="97" y="26"/>
                    </a:lnTo>
                    <a:lnTo>
                      <a:pt x="99" y="26"/>
                    </a:lnTo>
                    <a:lnTo>
                      <a:pt x="99" y="24"/>
                    </a:lnTo>
                    <a:lnTo>
                      <a:pt x="99" y="26"/>
                    </a:lnTo>
                    <a:lnTo>
                      <a:pt x="99" y="27"/>
                    </a:lnTo>
                    <a:lnTo>
                      <a:pt x="99" y="29"/>
                    </a:lnTo>
                    <a:lnTo>
                      <a:pt x="100" y="27"/>
                    </a:lnTo>
                    <a:lnTo>
                      <a:pt x="100" y="29"/>
                    </a:lnTo>
                    <a:lnTo>
                      <a:pt x="100" y="31"/>
                    </a:lnTo>
                    <a:lnTo>
                      <a:pt x="100" y="29"/>
                    </a:lnTo>
                    <a:lnTo>
                      <a:pt x="102" y="31"/>
                    </a:lnTo>
                    <a:lnTo>
                      <a:pt x="102" y="29"/>
                    </a:lnTo>
                    <a:lnTo>
                      <a:pt x="104" y="29"/>
                    </a:lnTo>
                    <a:lnTo>
                      <a:pt x="104" y="31"/>
                    </a:lnTo>
                    <a:lnTo>
                      <a:pt x="102" y="33"/>
                    </a:lnTo>
                    <a:lnTo>
                      <a:pt x="104" y="33"/>
                    </a:lnTo>
                    <a:lnTo>
                      <a:pt x="106" y="33"/>
                    </a:lnTo>
                    <a:lnTo>
                      <a:pt x="104" y="33"/>
                    </a:lnTo>
                    <a:lnTo>
                      <a:pt x="104" y="34"/>
                    </a:lnTo>
                    <a:lnTo>
                      <a:pt x="106" y="34"/>
                    </a:lnTo>
                    <a:lnTo>
                      <a:pt x="104" y="34"/>
                    </a:lnTo>
                    <a:lnTo>
                      <a:pt x="106" y="34"/>
                    </a:lnTo>
                    <a:lnTo>
                      <a:pt x="106" y="33"/>
                    </a:lnTo>
                    <a:lnTo>
                      <a:pt x="106" y="34"/>
                    </a:lnTo>
                    <a:lnTo>
                      <a:pt x="106" y="36"/>
                    </a:lnTo>
                    <a:lnTo>
                      <a:pt x="106" y="34"/>
                    </a:lnTo>
                    <a:lnTo>
                      <a:pt x="107" y="34"/>
                    </a:lnTo>
                    <a:lnTo>
                      <a:pt x="106" y="34"/>
                    </a:lnTo>
                    <a:lnTo>
                      <a:pt x="106" y="33"/>
                    </a:lnTo>
                    <a:lnTo>
                      <a:pt x="104" y="33"/>
                    </a:lnTo>
                    <a:lnTo>
                      <a:pt x="106" y="31"/>
                    </a:lnTo>
                    <a:lnTo>
                      <a:pt x="107" y="33"/>
                    </a:lnTo>
                    <a:lnTo>
                      <a:pt x="109" y="33"/>
                    </a:lnTo>
                    <a:lnTo>
                      <a:pt x="107" y="33"/>
                    </a:lnTo>
                    <a:lnTo>
                      <a:pt x="106" y="31"/>
                    </a:lnTo>
                    <a:lnTo>
                      <a:pt x="107" y="31"/>
                    </a:lnTo>
                    <a:lnTo>
                      <a:pt x="106" y="31"/>
                    </a:lnTo>
                    <a:lnTo>
                      <a:pt x="104" y="29"/>
                    </a:lnTo>
                    <a:lnTo>
                      <a:pt x="106" y="29"/>
                    </a:lnTo>
                    <a:lnTo>
                      <a:pt x="107" y="27"/>
                    </a:lnTo>
                    <a:lnTo>
                      <a:pt x="106" y="27"/>
                    </a:lnTo>
                    <a:lnTo>
                      <a:pt x="106" y="29"/>
                    </a:lnTo>
                    <a:lnTo>
                      <a:pt x="104" y="29"/>
                    </a:lnTo>
                    <a:lnTo>
                      <a:pt x="104" y="27"/>
                    </a:lnTo>
                    <a:lnTo>
                      <a:pt x="104" y="26"/>
                    </a:lnTo>
                    <a:lnTo>
                      <a:pt x="102" y="27"/>
                    </a:lnTo>
                    <a:lnTo>
                      <a:pt x="100" y="27"/>
                    </a:lnTo>
                    <a:lnTo>
                      <a:pt x="100" y="26"/>
                    </a:lnTo>
                    <a:lnTo>
                      <a:pt x="102" y="26"/>
                    </a:lnTo>
                    <a:lnTo>
                      <a:pt x="100" y="26"/>
                    </a:lnTo>
                    <a:lnTo>
                      <a:pt x="102" y="26"/>
                    </a:lnTo>
                    <a:lnTo>
                      <a:pt x="102" y="24"/>
                    </a:lnTo>
                    <a:lnTo>
                      <a:pt x="104" y="22"/>
                    </a:lnTo>
                    <a:lnTo>
                      <a:pt x="104" y="21"/>
                    </a:lnTo>
                    <a:lnTo>
                      <a:pt x="106" y="21"/>
                    </a:lnTo>
                    <a:lnTo>
                      <a:pt x="107" y="21"/>
                    </a:lnTo>
                    <a:lnTo>
                      <a:pt x="109" y="21"/>
                    </a:lnTo>
                    <a:lnTo>
                      <a:pt x="111" y="21"/>
                    </a:lnTo>
                    <a:lnTo>
                      <a:pt x="111" y="19"/>
                    </a:lnTo>
                    <a:lnTo>
                      <a:pt x="111" y="21"/>
                    </a:lnTo>
                    <a:lnTo>
                      <a:pt x="112" y="21"/>
                    </a:lnTo>
                    <a:lnTo>
                      <a:pt x="114" y="19"/>
                    </a:lnTo>
                    <a:lnTo>
                      <a:pt x="116" y="19"/>
                    </a:lnTo>
                    <a:lnTo>
                      <a:pt x="116" y="21"/>
                    </a:lnTo>
                    <a:lnTo>
                      <a:pt x="117" y="21"/>
                    </a:lnTo>
                    <a:lnTo>
                      <a:pt x="117" y="22"/>
                    </a:lnTo>
                    <a:lnTo>
                      <a:pt x="119" y="24"/>
                    </a:lnTo>
                    <a:lnTo>
                      <a:pt x="119" y="26"/>
                    </a:lnTo>
                    <a:lnTo>
                      <a:pt x="121" y="26"/>
                    </a:lnTo>
                    <a:lnTo>
                      <a:pt x="121" y="27"/>
                    </a:lnTo>
                    <a:lnTo>
                      <a:pt x="123" y="27"/>
                    </a:lnTo>
                    <a:lnTo>
                      <a:pt x="121" y="27"/>
                    </a:lnTo>
                    <a:lnTo>
                      <a:pt x="119" y="27"/>
                    </a:lnTo>
                    <a:lnTo>
                      <a:pt x="117" y="26"/>
                    </a:lnTo>
                    <a:lnTo>
                      <a:pt x="119" y="26"/>
                    </a:lnTo>
                    <a:lnTo>
                      <a:pt x="117" y="26"/>
                    </a:lnTo>
                    <a:lnTo>
                      <a:pt x="117" y="27"/>
                    </a:lnTo>
                    <a:lnTo>
                      <a:pt x="119" y="27"/>
                    </a:lnTo>
                    <a:lnTo>
                      <a:pt x="121" y="27"/>
                    </a:lnTo>
                    <a:lnTo>
                      <a:pt x="121" y="29"/>
                    </a:lnTo>
                    <a:lnTo>
                      <a:pt x="119" y="29"/>
                    </a:lnTo>
                    <a:lnTo>
                      <a:pt x="117" y="29"/>
                    </a:lnTo>
                    <a:lnTo>
                      <a:pt x="116" y="29"/>
                    </a:lnTo>
                    <a:lnTo>
                      <a:pt x="114" y="29"/>
                    </a:lnTo>
                    <a:lnTo>
                      <a:pt x="114" y="27"/>
                    </a:lnTo>
                    <a:lnTo>
                      <a:pt x="112" y="27"/>
                    </a:lnTo>
                    <a:lnTo>
                      <a:pt x="112" y="26"/>
                    </a:lnTo>
                    <a:lnTo>
                      <a:pt x="111" y="26"/>
                    </a:lnTo>
                    <a:lnTo>
                      <a:pt x="112" y="27"/>
                    </a:lnTo>
                    <a:lnTo>
                      <a:pt x="112" y="29"/>
                    </a:lnTo>
                    <a:lnTo>
                      <a:pt x="111" y="27"/>
                    </a:lnTo>
                    <a:lnTo>
                      <a:pt x="109" y="27"/>
                    </a:lnTo>
                    <a:lnTo>
                      <a:pt x="111" y="29"/>
                    </a:lnTo>
                    <a:lnTo>
                      <a:pt x="109" y="27"/>
                    </a:lnTo>
                    <a:lnTo>
                      <a:pt x="109" y="29"/>
                    </a:lnTo>
                    <a:lnTo>
                      <a:pt x="107" y="29"/>
                    </a:lnTo>
                    <a:lnTo>
                      <a:pt x="109" y="29"/>
                    </a:lnTo>
                    <a:lnTo>
                      <a:pt x="109" y="31"/>
                    </a:lnTo>
                    <a:lnTo>
                      <a:pt x="111" y="31"/>
                    </a:lnTo>
                    <a:lnTo>
                      <a:pt x="109" y="31"/>
                    </a:lnTo>
                    <a:lnTo>
                      <a:pt x="111" y="31"/>
                    </a:lnTo>
                    <a:lnTo>
                      <a:pt x="112" y="31"/>
                    </a:lnTo>
                    <a:lnTo>
                      <a:pt x="114" y="31"/>
                    </a:lnTo>
                    <a:lnTo>
                      <a:pt x="116" y="33"/>
                    </a:lnTo>
                    <a:lnTo>
                      <a:pt x="117" y="33"/>
                    </a:lnTo>
                    <a:lnTo>
                      <a:pt x="119" y="33"/>
                    </a:lnTo>
                    <a:lnTo>
                      <a:pt x="121" y="33"/>
                    </a:lnTo>
                    <a:lnTo>
                      <a:pt x="121" y="34"/>
                    </a:lnTo>
                    <a:lnTo>
                      <a:pt x="123" y="34"/>
                    </a:lnTo>
                    <a:lnTo>
                      <a:pt x="121" y="34"/>
                    </a:lnTo>
                    <a:lnTo>
                      <a:pt x="121" y="36"/>
                    </a:lnTo>
                    <a:lnTo>
                      <a:pt x="119" y="34"/>
                    </a:lnTo>
                    <a:lnTo>
                      <a:pt x="119" y="36"/>
                    </a:lnTo>
                    <a:lnTo>
                      <a:pt x="117" y="36"/>
                    </a:lnTo>
                    <a:lnTo>
                      <a:pt x="116" y="36"/>
                    </a:lnTo>
                    <a:lnTo>
                      <a:pt x="116" y="34"/>
                    </a:lnTo>
                    <a:lnTo>
                      <a:pt x="114" y="34"/>
                    </a:lnTo>
                    <a:lnTo>
                      <a:pt x="116" y="34"/>
                    </a:lnTo>
                    <a:lnTo>
                      <a:pt x="116" y="36"/>
                    </a:lnTo>
                    <a:lnTo>
                      <a:pt x="117" y="36"/>
                    </a:lnTo>
                    <a:lnTo>
                      <a:pt x="116" y="36"/>
                    </a:lnTo>
                    <a:lnTo>
                      <a:pt x="117" y="36"/>
                    </a:lnTo>
                    <a:lnTo>
                      <a:pt x="119" y="36"/>
                    </a:lnTo>
                    <a:lnTo>
                      <a:pt x="117" y="36"/>
                    </a:lnTo>
                    <a:lnTo>
                      <a:pt x="116" y="36"/>
                    </a:lnTo>
                    <a:lnTo>
                      <a:pt x="117" y="38"/>
                    </a:lnTo>
                    <a:lnTo>
                      <a:pt x="119" y="38"/>
                    </a:lnTo>
                    <a:lnTo>
                      <a:pt x="119" y="36"/>
                    </a:lnTo>
                    <a:lnTo>
                      <a:pt x="121" y="36"/>
                    </a:lnTo>
                    <a:lnTo>
                      <a:pt x="123" y="36"/>
                    </a:lnTo>
                    <a:lnTo>
                      <a:pt x="123" y="38"/>
                    </a:lnTo>
                    <a:lnTo>
                      <a:pt x="121" y="38"/>
                    </a:lnTo>
                    <a:lnTo>
                      <a:pt x="119" y="38"/>
                    </a:lnTo>
                    <a:lnTo>
                      <a:pt x="119" y="39"/>
                    </a:lnTo>
                    <a:lnTo>
                      <a:pt x="119" y="38"/>
                    </a:lnTo>
                    <a:lnTo>
                      <a:pt x="117" y="39"/>
                    </a:lnTo>
                    <a:lnTo>
                      <a:pt x="116" y="39"/>
                    </a:lnTo>
                    <a:lnTo>
                      <a:pt x="114" y="39"/>
                    </a:lnTo>
                    <a:lnTo>
                      <a:pt x="112" y="39"/>
                    </a:lnTo>
                    <a:lnTo>
                      <a:pt x="114" y="39"/>
                    </a:lnTo>
                    <a:lnTo>
                      <a:pt x="116" y="39"/>
                    </a:lnTo>
                    <a:lnTo>
                      <a:pt x="117" y="39"/>
                    </a:lnTo>
                    <a:lnTo>
                      <a:pt x="119" y="39"/>
                    </a:lnTo>
                    <a:lnTo>
                      <a:pt x="117" y="39"/>
                    </a:lnTo>
                    <a:lnTo>
                      <a:pt x="116" y="39"/>
                    </a:lnTo>
                    <a:lnTo>
                      <a:pt x="114" y="41"/>
                    </a:lnTo>
                    <a:lnTo>
                      <a:pt x="112" y="41"/>
                    </a:lnTo>
                    <a:lnTo>
                      <a:pt x="111" y="41"/>
                    </a:lnTo>
                    <a:lnTo>
                      <a:pt x="109" y="41"/>
                    </a:lnTo>
                    <a:lnTo>
                      <a:pt x="107" y="41"/>
                    </a:lnTo>
                    <a:lnTo>
                      <a:pt x="109" y="39"/>
                    </a:lnTo>
                    <a:lnTo>
                      <a:pt x="107" y="39"/>
                    </a:lnTo>
                    <a:lnTo>
                      <a:pt x="107" y="41"/>
                    </a:lnTo>
                    <a:lnTo>
                      <a:pt x="106" y="41"/>
                    </a:lnTo>
                    <a:lnTo>
                      <a:pt x="104" y="39"/>
                    </a:lnTo>
                    <a:lnTo>
                      <a:pt x="104" y="41"/>
                    </a:lnTo>
                    <a:lnTo>
                      <a:pt x="104" y="39"/>
                    </a:lnTo>
                    <a:lnTo>
                      <a:pt x="104" y="41"/>
                    </a:lnTo>
                    <a:lnTo>
                      <a:pt x="106" y="41"/>
                    </a:lnTo>
                    <a:lnTo>
                      <a:pt x="107" y="41"/>
                    </a:lnTo>
                    <a:lnTo>
                      <a:pt x="106" y="43"/>
                    </a:lnTo>
                    <a:lnTo>
                      <a:pt x="107" y="41"/>
                    </a:lnTo>
                    <a:lnTo>
                      <a:pt x="109" y="43"/>
                    </a:lnTo>
                    <a:lnTo>
                      <a:pt x="107" y="43"/>
                    </a:lnTo>
                    <a:lnTo>
                      <a:pt x="106" y="43"/>
                    </a:lnTo>
                    <a:lnTo>
                      <a:pt x="104" y="43"/>
                    </a:lnTo>
                    <a:lnTo>
                      <a:pt x="104" y="45"/>
                    </a:lnTo>
                    <a:lnTo>
                      <a:pt x="102" y="45"/>
                    </a:lnTo>
                    <a:lnTo>
                      <a:pt x="100" y="45"/>
                    </a:lnTo>
                    <a:lnTo>
                      <a:pt x="102" y="45"/>
                    </a:lnTo>
                    <a:lnTo>
                      <a:pt x="104" y="45"/>
                    </a:lnTo>
                    <a:lnTo>
                      <a:pt x="104" y="43"/>
                    </a:lnTo>
                    <a:lnTo>
                      <a:pt x="106" y="43"/>
                    </a:lnTo>
                    <a:lnTo>
                      <a:pt x="106" y="45"/>
                    </a:lnTo>
                    <a:lnTo>
                      <a:pt x="107" y="45"/>
                    </a:lnTo>
                    <a:lnTo>
                      <a:pt x="106" y="45"/>
                    </a:lnTo>
                    <a:lnTo>
                      <a:pt x="106" y="46"/>
                    </a:lnTo>
                    <a:lnTo>
                      <a:pt x="104" y="46"/>
                    </a:lnTo>
                    <a:lnTo>
                      <a:pt x="106" y="46"/>
                    </a:lnTo>
                    <a:lnTo>
                      <a:pt x="104" y="46"/>
                    </a:lnTo>
                    <a:lnTo>
                      <a:pt x="102" y="46"/>
                    </a:lnTo>
                    <a:lnTo>
                      <a:pt x="102" y="48"/>
                    </a:lnTo>
                    <a:lnTo>
                      <a:pt x="104" y="48"/>
                    </a:lnTo>
                    <a:lnTo>
                      <a:pt x="102" y="48"/>
                    </a:lnTo>
                    <a:lnTo>
                      <a:pt x="100" y="48"/>
                    </a:lnTo>
                    <a:lnTo>
                      <a:pt x="100" y="50"/>
                    </a:lnTo>
                    <a:lnTo>
                      <a:pt x="99" y="50"/>
                    </a:lnTo>
                    <a:lnTo>
                      <a:pt x="100" y="50"/>
                    </a:lnTo>
                    <a:lnTo>
                      <a:pt x="99" y="50"/>
                    </a:lnTo>
                    <a:lnTo>
                      <a:pt x="97" y="50"/>
                    </a:lnTo>
                    <a:lnTo>
                      <a:pt x="97" y="48"/>
                    </a:lnTo>
                    <a:lnTo>
                      <a:pt x="99" y="50"/>
                    </a:lnTo>
                    <a:lnTo>
                      <a:pt x="100" y="50"/>
                    </a:lnTo>
                    <a:lnTo>
                      <a:pt x="99" y="48"/>
                    </a:lnTo>
                    <a:lnTo>
                      <a:pt x="100" y="48"/>
                    </a:lnTo>
                    <a:lnTo>
                      <a:pt x="99" y="48"/>
                    </a:lnTo>
                    <a:lnTo>
                      <a:pt x="97" y="48"/>
                    </a:lnTo>
                    <a:lnTo>
                      <a:pt x="95" y="48"/>
                    </a:lnTo>
                    <a:lnTo>
                      <a:pt x="94" y="48"/>
                    </a:lnTo>
                    <a:lnTo>
                      <a:pt x="94" y="50"/>
                    </a:lnTo>
                    <a:lnTo>
                      <a:pt x="94" y="48"/>
                    </a:lnTo>
                    <a:lnTo>
                      <a:pt x="92" y="48"/>
                    </a:lnTo>
                    <a:lnTo>
                      <a:pt x="90" y="48"/>
                    </a:lnTo>
                    <a:lnTo>
                      <a:pt x="92" y="48"/>
                    </a:lnTo>
                    <a:lnTo>
                      <a:pt x="90" y="48"/>
                    </a:lnTo>
                    <a:lnTo>
                      <a:pt x="89" y="48"/>
                    </a:lnTo>
                    <a:lnTo>
                      <a:pt x="87" y="48"/>
                    </a:lnTo>
                    <a:lnTo>
                      <a:pt x="85" y="46"/>
                    </a:lnTo>
                    <a:lnTo>
                      <a:pt x="83" y="45"/>
                    </a:lnTo>
                    <a:lnTo>
                      <a:pt x="83" y="46"/>
                    </a:lnTo>
                    <a:lnTo>
                      <a:pt x="85" y="46"/>
                    </a:lnTo>
                    <a:lnTo>
                      <a:pt x="83" y="46"/>
                    </a:lnTo>
                    <a:lnTo>
                      <a:pt x="82" y="45"/>
                    </a:lnTo>
                    <a:lnTo>
                      <a:pt x="82" y="43"/>
                    </a:lnTo>
                    <a:lnTo>
                      <a:pt x="80" y="43"/>
                    </a:lnTo>
                    <a:lnTo>
                      <a:pt x="82" y="43"/>
                    </a:lnTo>
                    <a:lnTo>
                      <a:pt x="80" y="45"/>
                    </a:lnTo>
                    <a:lnTo>
                      <a:pt x="80" y="46"/>
                    </a:lnTo>
                    <a:lnTo>
                      <a:pt x="78" y="46"/>
                    </a:lnTo>
                    <a:lnTo>
                      <a:pt x="77" y="46"/>
                    </a:lnTo>
                    <a:lnTo>
                      <a:pt x="77" y="45"/>
                    </a:lnTo>
                    <a:lnTo>
                      <a:pt x="75" y="45"/>
                    </a:lnTo>
                    <a:lnTo>
                      <a:pt x="77" y="46"/>
                    </a:lnTo>
                    <a:lnTo>
                      <a:pt x="75" y="48"/>
                    </a:lnTo>
                    <a:lnTo>
                      <a:pt x="77" y="46"/>
                    </a:lnTo>
                    <a:lnTo>
                      <a:pt x="78" y="46"/>
                    </a:lnTo>
                    <a:lnTo>
                      <a:pt x="78" y="48"/>
                    </a:lnTo>
                    <a:lnTo>
                      <a:pt x="80" y="46"/>
                    </a:lnTo>
                    <a:lnTo>
                      <a:pt x="82" y="46"/>
                    </a:lnTo>
                    <a:lnTo>
                      <a:pt x="82" y="48"/>
                    </a:lnTo>
                    <a:lnTo>
                      <a:pt x="83" y="48"/>
                    </a:lnTo>
                    <a:lnTo>
                      <a:pt x="85" y="50"/>
                    </a:lnTo>
                    <a:lnTo>
                      <a:pt x="87" y="50"/>
                    </a:lnTo>
                    <a:lnTo>
                      <a:pt x="87" y="51"/>
                    </a:lnTo>
                    <a:lnTo>
                      <a:pt x="85" y="50"/>
                    </a:lnTo>
                    <a:lnTo>
                      <a:pt x="83" y="50"/>
                    </a:lnTo>
                    <a:lnTo>
                      <a:pt x="85" y="50"/>
                    </a:lnTo>
                    <a:lnTo>
                      <a:pt x="85" y="51"/>
                    </a:lnTo>
                    <a:lnTo>
                      <a:pt x="85" y="50"/>
                    </a:lnTo>
                    <a:lnTo>
                      <a:pt x="87" y="51"/>
                    </a:lnTo>
                    <a:lnTo>
                      <a:pt x="87" y="53"/>
                    </a:lnTo>
                    <a:lnTo>
                      <a:pt x="87" y="51"/>
                    </a:lnTo>
                    <a:lnTo>
                      <a:pt x="89" y="51"/>
                    </a:lnTo>
                    <a:lnTo>
                      <a:pt x="90" y="51"/>
                    </a:lnTo>
                    <a:lnTo>
                      <a:pt x="90" y="53"/>
                    </a:lnTo>
                    <a:lnTo>
                      <a:pt x="90" y="51"/>
                    </a:lnTo>
                    <a:lnTo>
                      <a:pt x="92" y="53"/>
                    </a:lnTo>
                    <a:lnTo>
                      <a:pt x="92" y="51"/>
                    </a:lnTo>
                    <a:lnTo>
                      <a:pt x="92" y="53"/>
                    </a:lnTo>
                    <a:lnTo>
                      <a:pt x="94" y="53"/>
                    </a:lnTo>
                    <a:lnTo>
                      <a:pt x="92" y="55"/>
                    </a:lnTo>
                    <a:lnTo>
                      <a:pt x="94" y="55"/>
                    </a:lnTo>
                    <a:lnTo>
                      <a:pt x="92" y="55"/>
                    </a:lnTo>
                    <a:lnTo>
                      <a:pt x="90" y="55"/>
                    </a:lnTo>
                    <a:lnTo>
                      <a:pt x="92" y="56"/>
                    </a:lnTo>
                    <a:lnTo>
                      <a:pt x="90" y="56"/>
                    </a:lnTo>
                    <a:lnTo>
                      <a:pt x="90" y="58"/>
                    </a:lnTo>
                    <a:lnTo>
                      <a:pt x="92" y="58"/>
                    </a:lnTo>
                    <a:lnTo>
                      <a:pt x="92" y="60"/>
                    </a:lnTo>
                    <a:lnTo>
                      <a:pt x="90" y="62"/>
                    </a:lnTo>
                    <a:lnTo>
                      <a:pt x="90" y="60"/>
                    </a:lnTo>
                    <a:lnTo>
                      <a:pt x="90" y="58"/>
                    </a:lnTo>
                    <a:lnTo>
                      <a:pt x="89" y="58"/>
                    </a:lnTo>
                    <a:lnTo>
                      <a:pt x="89" y="56"/>
                    </a:lnTo>
                    <a:lnTo>
                      <a:pt x="87" y="56"/>
                    </a:lnTo>
                    <a:lnTo>
                      <a:pt x="85" y="56"/>
                    </a:lnTo>
                    <a:lnTo>
                      <a:pt x="83" y="56"/>
                    </a:lnTo>
                    <a:lnTo>
                      <a:pt x="83" y="58"/>
                    </a:lnTo>
                    <a:lnTo>
                      <a:pt x="82" y="58"/>
                    </a:lnTo>
                    <a:lnTo>
                      <a:pt x="82" y="60"/>
                    </a:lnTo>
                    <a:lnTo>
                      <a:pt x="82" y="58"/>
                    </a:lnTo>
                    <a:lnTo>
                      <a:pt x="82" y="56"/>
                    </a:lnTo>
                    <a:lnTo>
                      <a:pt x="80" y="58"/>
                    </a:lnTo>
                    <a:lnTo>
                      <a:pt x="80" y="60"/>
                    </a:lnTo>
                    <a:lnTo>
                      <a:pt x="80" y="58"/>
                    </a:lnTo>
                    <a:lnTo>
                      <a:pt x="80" y="56"/>
                    </a:lnTo>
                    <a:lnTo>
                      <a:pt x="78" y="56"/>
                    </a:lnTo>
                    <a:lnTo>
                      <a:pt x="78" y="55"/>
                    </a:lnTo>
                    <a:lnTo>
                      <a:pt x="78" y="56"/>
                    </a:lnTo>
                    <a:lnTo>
                      <a:pt x="77" y="56"/>
                    </a:lnTo>
                    <a:lnTo>
                      <a:pt x="77" y="55"/>
                    </a:lnTo>
                    <a:lnTo>
                      <a:pt x="75" y="55"/>
                    </a:lnTo>
                    <a:lnTo>
                      <a:pt x="75" y="53"/>
                    </a:lnTo>
                    <a:lnTo>
                      <a:pt x="73" y="53"/>
                    </a:lnTo>
                    <a:lnTo>
                      <a:pt x="75" y="53"/>
                    </a:lnTo>
                    <a:lnTo>
                      <a:pt x="73" y="55"/>
                    </a:lnTo>
                    <a:lnTo>
                      <a:pt x="72" y="55"/>
                    </a:lnTo>
                    <a:lnTo>
                      <a:pt x="72" y="53"/>
                    </a:lnTo>
                    <a:lnTo>
                      <a:pt x="70" y="55"/>
                    </a:lnTo>
                    <a:lnTo>
                      <a:pt x="68" y="55"/>
                    </a:lnTo>
                    <a:lnTo>
                      <a:pt x="70" y="55"/>
                    </a:lnTo>
                    <a:lnTo>
                      <a:pt x="72" y="55"/>
                    </a:lnTo>
                    <a:lnTo>
                      <a:pt x="73" y="55"/>
                    </a:lnTo>
                    <a:lnTo>
                      <a:pt x="73" y="56"/>
                    </a:lnTo>
                    <a:lnTo>
                      <a:pt x="72" y="56"/>
                    </a:lnTo>
                    <a:lnTo>
                      <a:pt x="73" y="56"/>
                    </a:lnTo>
                    <a:lnTo>
                      <a:pt x="73" y="58"/>
                    </a:lnTo>
                    <a:lnTo>
                      <a:pt x="75" y="56"/>
                    </a:lnTo>
                    <a:lnTo>
                      <a:pt x="75" y="58"/>
                    </a:lnTo>
                    <a:lnTo>
                      <a:pt x="77" y="58"/>
                    </a:lnTo>
                    <a:lnTo>
                      <a:pt x="75" y="58"/>
                    </a:lnTo>
                    <a:lnTo>
                      <a:pt x="73" y="60"/>
                    </a:lnTo>
                    <a:lnTo>
                      <a:pt x="75" y="60"/>
                    </a:lnTo>
                    <a:lnTo>
                      <a:pt x="77" y="60"/>
                    </a:lnTo>
                    <a:lnTo>
                      <a:pt x="77" y="62"/>
                    </a:lnTo>
                    <a:lnTo>
                      <a:pt x="75" y="60"/>
                    </a:lnTo>
                    <a:lnTo>
                      <a:pt x="75" y="62"/>
                    </a:lnTo>
                    <a:lnTo>
                      <a:pt x="73" y="62"/>
                    </a:lnTo>
                    <a:lnTo>
                      <a:pt x="75" y="62"/>
                    </a:lnTo>
                    <a:lnTo>
                      <a:pt x="75" y="63"/>
                    </a:lnTo>
                    <a:lnTo>
                      <a:pt x="75" y="62"/>
                    </a:lnTo>
                    <a:lnTo>
                      <a:pt x="77" y="62"/>
                    </a:lnTo>
                    <a:lnTo>
                      <a:pt x="75" y="63"/>
                    </a:lnTo>
                    <a:lnTo>
                      <a:pt x="77" y="63"/>
                    </a:lnTo>
                    <a:lnTo>
                      <a:pt x="77" y="62"/>
                    </a:lnTo>
                    <a:lnTo>
                      <a:pt x="78" y="62"/>
                    </a:lnTo>
                    <a:lnTo>
                      <a:pt x="78" y="63"/>
                    </a:lnTo>
                    <a:lnTo>
                      <a:pt x="77" y="63"/>
                    </a:lnTo>
                    <a:lnTo>
                      <a:pt x="78" y="63"/>
                    </a:lnTo>
                    <a:lnTo>
                      <a:pt x="77" y="63"/>
                    </a:lnTo>
                    <a:lnTo>
                      <a:pt x="77" y="65"/>
                    </a:lnTo>
                    <a:lnTo>
                      <a:pt x="78" y="65"/>
                    </a:lnTo>
                    <a:lnTo>
                      <a:pt x="78" y="67"/>
                    </a:lnTo>
                    <a:lnTo>
                      <a:pt x="78" y="68"/>
                    </a:lnTo>
                    <a:lnTo>
                      <a:pt x="77" y="67"/>
                    </a:lnTo>
                    <a:lnTo>
                      <a:pt x="75" y="67"/>
                    </a:lnTo>
                    <a:lnTo>
                      <a:pt x="75" y="65"/>
                    </a:lnTo>
                    <a:lnTo>
                      <a:pt x="73" y="65"/>
                    </a:lnTo>
                    <a:lnTo>
                      <a:pt x="72" y="67"/>
                    </a:lnTo>
                    <a:lnTo>
                      <a:pt x="72" y="65"/>
                    </a:lnTo>
                    <a:lnTo>
                      <a:pt x="72" y="63"/>
                    </a:lnTo>
                    <a:lnTo>
                      <a:pt x="70" y="63"/>
                    </a:lnTo>
                    <a:lnTo>
                      <a:pt x="68" y="63"/>
                    </a:lnTo>
                    <a:lnTo>
                      <a:pt x="70" y="63"/>
                    </a:lnTo>
                    <a:lnTo>
                      <a:pt x="70" y="62"/>
                    </a:lnTo>
                    <a:lnTo>
                      <a:pt x="68" y="63"/>
                    </a:lnTo>
                    <a:lnTo>
                      <a:pt x="68" y="62"/>
                    </a:lnTo>
                    <a:lnTo>
                      <a:pt x="68" y="63"/>
                    </a:lnTo>
                    <a:lnTo>
                      <a:pt x="68" y="62"/>
                    </a:lnTo>
                    <a:lnTo>
                      <a:pt x="66" y="60"/>
                    </a:lnTo>
                    <a:lnTo>
                      <a:pt x="66" y="62"/>
                    </a:lnTo>
                    <a:lnTo>
                      <a:pt x="66" y="60"/>
                    </a:lnTo>
                    <a:lnTo>
                      <a:pt x="66" y="62"/>
                    </a:lnTo>
                    <a:lnTo>
                      <a:pt x="66" y="63"/>
                    </a:lnTo>
                    <a:lnTo>
                      <a:pt x="65" y="63"/>
                    </a:lnTo>
                    <a:lnTo>
                      <a:pt x="65" y="62"/>
                    </a:lnTo>
                    <a:lnTo>
                      <a:pt x="63" y="63"/>
                    </a:lnTo>
                    <a:lnTo>
                      <a:pt x="65" y="63"/>
                    </a:lnTo>
                    <a:lnTo>
                      <a:pt x="66" y="63"/>
                    </a:lnTo>
                    <a:lnTo>
                      <a:pt x="66" y="65"/>
                    </a:lnTo>
                    <a:lnTo>
                      <a:pt x="65" y="63"/>
                    </a:lnTo>
                    <a:lnTo>
                      <a:pt x="65" y="65"/>
                    </a:lnTo>
                    <a:lnTo>
                      <a:pt x="65" y="67"/>
                    </a:lnTo>
                    <a:lnTo>
                      <a:pt x="65" y="65"/>
                    </a:lnTo>
                    <a:lnTo>
                      <a:pt x="66" y="65"/>
                    </a:lnTo>
                    <a:lnTo>
                      <a:pt x="65" y="67"/>
                    </a:lnTo>
                    <a:lnTo>
                      <a:pt x="66" y="65"/>
                    </a:lnTo>
                    <a:lnTo>
                      <a:pt x="68" y="65"/>
                    </a:lnTo>
                    <a:lnTo>
                      <a:pt x="68" y="67"/>
                    </a:lnTo>
                    <a:lnTo>
                      <a:pt x="66" y="67"/>
                    </a:lnTo>
                    <a:lnTo>
                      <a:pt x="68" y="67"/>
                    </a:lnTo>
                    <a:lnTo>
                      <a:pt x="68" y="68"/>
                    </a:lnTo>
                    <a:lnTo>
                      <a:pt x="66" y="68"/>
                    </a:lnTo>
                    <a:lnTo>
                      <a:pt x="65" y="70"/>
                    </a:lnTo>
                    <a:lnTo>
                      <a:pt x="66" y="70"/>
                    </a:lnTo>
                    <a:lnTo>
                      <a:pt x="66" y="68"/>
                    </a:lnTo>
                    <a:lnTo>
                      <a:pt x="68" y="68"/>
                    </a:lnTo>
                    <a:lnTo>
                      <a:pt x="68" y="70"/>
                    </a:lnTo>
                    <a:lnTo>
                      <a:pt x="66" y="70"/>
                    </a:lnTo>
                    <a:lnTo>
                      <a:pt x="66" y="72"/>
                    </a:lnTo>
                    <a:lnTo>
                      <a:pt x="68" y="72"/>
                    </a:lnTo>
                    <a:lnTo>
                      <a:pt x="68" y="73"/>
                    </a:lnTo>
                    <a:lnTo>
                      <a:pt x="70" y="72"/>
                    </a:lnTo>
                    <a:lnTo>
                      <a:pt x="70" y="73"/>
                    </a:lnTo>
                    <a:lnTo>
                      <a:pt x="68" y="73"/>
                    </a:lnTo>
                    <a:lnTo>
                      <a:pt x="66" y="73"/>
                    </a:lnTo>
                    <a:lnTo>
                      <a:pt x="66" y="72"/>
                    </a:lnTo>
                    <a:lnTo>
                      <a:pt x="65" y="72"/>
                    </a:lnTo>
                    <a:lnTo>
                      <a:pt x="65" y="70"/>
                    </a:lnTo>
                    <a:lnTo>
                      <a:pt x="63" y="70"/>
                    </a:lnTo>
                    <a:lnTo>
                      <a:pt x="63" y="72"/>
                    </a:lnTo>
                    <a:lnTo>
                      <a:pt x="63" y="70"/>
                    </a:lnTo>
                    <a:lnTo>
                      <a:pt x="63" y="68"/>
                    </a:lnTo>
                    <a:lnTo>
                      <a:pt x="63" y="67"/>
                    </a:lnTo>
                    <a:lnTo>
                      <a:pt x="61" y="68"/>
                    </a:lnTo>
                    <a:lnTo>
                      <a:pt x="60" y="68"/>
                    </a:lnTo>
                    <a:lnTo>
                      <a:pt x="60" y="67"/>
                    </a:lnTo>
                    <a:lnTo>
                      <a:pt x="61" y="65"/>
                    </a:lnTo>
                    <a:lnTo>
                      <a:pt x="60" y="65"/>
                    </a:lnTo>
                    <a:lnTo>
                      <a:pt x="58" y="65"/>
                    </a:lnTo>
                    <a:lnTo>
                      <a:pt x="58" y="63"/>
                    </a:lnTo>
                    <a:lnTo>
                      <a:pt x="56" y="62"/>
                    </a:lnTo>
                    <a:lnTo>
                      <a:pt x="55" y="62"/>
                    </a:lnTo>
                    <a:lnTo>
                      <a:pt x="56" y="60"/>
                    </a:lnTo>
                    <a:lnTo>
                      <a:pt x="55" y="60"/>
                    </a:lnTo>
                    <a:lnTo>
                      <a:pt x="56" y="60"/>
                    </a:lnTo>
                    <a:lnTo>
                      <a:pt x="58" y="60"/>
                    </a:lnTo>
                    <a:lnTo>
                      <a:pt x="58" y="62"/>
                    </a:lnTo>
                    <a:lnTo>
                      <a:pt x="60" y="60"/>
                    </a:lnTo>
                    <a:lnTo>
                      <a:pt x="58" y="60"/>
                    </a:lnTo>
                    <a:lnTo>
                      <a:pt x="58" y="58"/>
                    </a:lnTo>
                    <a:lnTo>
                      <a:pt x="60" y="60"/>
                    </a:lnTo>
                    <a:lnTo>
                      <a:pt x="60" y="58"/>
                    </a:lnTo>
                    <a:lnTo>
                      <a:pt x="61" y="58"/>
                    </a:lnTo>
                    <a:lnTo>
                      <a:pt x="60" y="56"/>
                    </a:lnTo>
                    <a:lnTo>
                      <a:pt x="58" y="56"/>
                    </a:lnTo>
                    <a:lnTo>
                      <a:pt x="60" y="55"/>
                    </a:lnTo>
                    <a:lnTo>
                      <a:pt x="58" y="55"/>
                    </a:lnTo>
                    <a:lnTo>
                      <a:pt x="60" y="53"/>
                    </a:lnTo>
                    <a:lnTo>
                      <a:pt x="60" y="55"/>
                    </a:lnTo>
                    <a:lnTo>
                      <a:pt x="61" y="55"/>
                    </a:lnTo>
                    <a:lnTo>
                      <a:pt x="60" y="53"/>
                    </a:lnTo>
                    <a:lnTo>
                      <a:pt x="58" y="53"/>
                    </a:lnTo>
                    <a:lnTo>
                      <a:pt x="60" y="53"/>
                    </a:lnTo>
                    <a:lnTo>
                      <a:pt x="61" y="53"/>
                    </a:lnTo>
                    <a:lnTo>
                      <a:pt x="61" y="51"/>
                    </a:lnTo>
                    <a:lnTo>
                      <a:pt x="61" y="53"/>
                    </a:lnTo>
                    <a:lnTo>
                      <a:pt x="61" y="51"/>
                    </a:lnTo>
                    <a:lnTo>
                      <a:pt x="60" y="51"/>
                    </a:lnTo>
                    <a:lnTo>
                      <a:pt x="58" y="51"/>
                    </a:lnTo>
                    <a:lnTo>
                      <a:pt x="60" y="51"/>
                    </a:lnTo>
                    <a:lnTo>
                      <a:pt x="60" y="50"/>
                    </a:lnTo>
                    <a:lnTo>
                      <a:pt x="60" y="48"/>
                    </a:lnTo>
                    <a:lnTo>
                      <a:pt x="60" y="50"/>
                    </a:lnTo>
                    <a:lnTo>
                      <a:pt x="61" y="50"/>
                    </a:lnTo>
                    <a:lnTo>
                      <a:pt x="61" y="51"/>
                    </a:lnTo>
                    <a:lnTo>
                      <a:pt x="63" y="50"/>
                    </a:lnTo>
                    <a:lnTo>
                      <a:pt x="61" y="50"/>
                    </a:lnTo>
                    <a:lnTo>
                      <a:pt x="61" y="48"/>
                    </a:lnTo>
                    <a:lnTo>
                      <a:pt x="61" y="46"/>
                    </a:lnTo>
                    <a:lnTo>
                      <a:pt x="61" y="48"/>
                    </a:lnTo>
                    <a:lnTo>
                      <a:pt x="63" y="48"/>
                    </a:lnTo>
                    <a:lnTo>
                      <a:pt x="65" y="48"/>
                    </a:lnTo>
                    <a:lnTo>
                      <a:pt x="63" y="48"/>
                    </a:lnTo>
                    <a:lnTo>
                      <a:pt x="65" y="46"/>
                    </a:lnTo>
                    <a:lnTo>
                      <a:pt x="63" y="46"/>
                    </a:lnTo>
                    <a:lnTo>
                      <a:pt x="61" y="46"/>
                    </a:lnTo>
                    <a:lnTo>
                      <a:pt x="63" y="45"/>
                    </a:lnTo>
                    <a:lnTo>
                      <a:pt x="65" y="45"/>
                    </a:lnTo>
                    <a:lnTo>
                      <a:pt x="65" y="46"/>
                    </a:lnTo>
                    <a:lnTo>
                      <a:pt x="65" y="45"/>
                    </a:lnTo>
                    <a:lnTo>
                      <a:pt x="66" y="43"/>
                    </a:lnTo>
                    <a:lnTo>
                      <a:pt x="65" y="45"/>
                    </a:lnTo>
                    <a:lnTo>
                      <a:pt x="66" y="45"/>
                    </a:lnTo>
                    <a:lnTo>
                      <a:pt x="66" y="46"/>
                    </a:lnTo>
                    <a:lnTo>
                      <a:pt x="66" y="45"/>
                    </a:lnTo>
                    <a:lnTo>
                      <a:pt x="68" y="45"/>
                    </a:lnTo>
                    <a:lnTo>
                      <a:pt x="68" y="43"/>
                    </a:lnTo>
                    <a:lnTo>
                      <a:pt x="70" y="43"/>
                    </a:lnTo>
                    <a:lnTo>
                      <a:pt x="70" y="41"/>
                    </a:lnTo>
                    <a:lnTo>
                      <a:pt x="70" y="39"/>
                    </a:lnTo>
                    <a:lnTo>
                      <a:pt x="72" y="41"/>
                    </a:lnTo>
                    <a:lnTo>
                      <a:pt x="72" y="39"/>
                    </a:lnTo>
                    <a:lnTo>
                      <a:pt x="72" y="38"/>
                    </a:lnTo>
                    <a:lnTo>
                      <a:pt x="72" y="39"/>
                    </a:lnTo>
                    <a:lnTo>
                      <a:pt x="72" y="41"/>
                    </a:lnTo>
                    <a:lnTo>
                      <a:pt x="72" y="39"/>
                    </a:lnTo>
                    <a:lnTo>
                      <a:pt x="73" y="39"/>
                    </a:lnTo>
                    <a:lnTo>
                      <a:pt x="75" y="38"/>
                    </a:lnTo>
                    <a:lnTo>
                      <a:pt x="77" y="38"/>
                    </a:lnTo>
                    <a:lnTo>
                      <a:pt x="78" y="38"/>
                    </a:lnTo>
                    <a:lnTo>
                      <a:pt x="78" y="39"/>
                    </a:lnTo>
                    <a:lnTo>
                      <a:pt x="78" y="41"/>
                    </a:lnTo>
                    <a:lnTo>
                      <a:pt x="77" y="43"/>
                    </a:lnTo>
                    <a:lnTo>
                      <a:pt x="78" y="43"/>
                    </a:lnTo>
                    <a:lnTo>
                      <a:pt x="78" y="45"/>
                    </a:lnTo>
                    <a:lnTo>
                      <a:pt x="80" y="43"/>
                    </a:lnTo>
                    <a:lnTo>
                      <a:pt x="82" y="41"/>
                    </a:lnTo>
                    <a:lnTo>
                      <a:pt x="80" y="41"/>
                    </a:lnTo>
                    <a:lnTo>
                      <a:pt x="80" y="43"/>
                    </a:lnTo>
                    <a:lnTo>
                      <a:pt x="80" y="41"/>
                    </a:lnTo>
                    <a:lnTo>
                      <a:pt x="80" y="39"/>
                    </a:lnTo>
                    <a:lnTo>
                      <a:pt x="80" y="38"/>
                    </a:lnTo>
                    <a:lnTo>
                      <a:pt x="78" y="38"/>
                    </a:lnTo>
                    <a:lnTo>
                      <a:pt x="78" y="36"/>
                    </a:lnTo>
                    <a:lnTo>
                      <a:pt x="80" y="36"/>
                    </a:lnTo>
                    <a:lnTo>
                      <a:pt x="78" y="36"/>
                    </a:lnTo>
                    <a:lnTo>
                      <a:pt x="78" y="34"/>
                    </a:lnTo>
                    <a:lnTo>
                      <a:pt x="80" y="36"/>
                    </a:lnTo>
                    <a:lnTo>
                      <a:pt x="78" y="34"/>
                    </a:lnTo>
                    <a:lnTo>
                      <a:pt x="77" y="34"/>
                    </a:lnTo>
                    <a:lnTo>
                      <a:pt x="77" y="33"/>
                    </a:lnTo>
                    <a:lnTo>
                      <a:pt x="75" y="33"/>
                    </a:lnTo>
                    <a:lnTo>
                      <a:pt x="73" y="33"/>
                    </a:lnTo>
                    <a:lnTo>
                      <a:pt x="73" y="31"/>
                    </a:lnTo>
                    <a:lnTo>
                      <a:pt x="75" y="31"/>
                    </a:lnTo>
                    <a:lnTo>
                      <a:pt x="75" y="29"/>
                    </a:lnTo>
                    <a:lnTo>
                      <a:pt x="75" y="27"/>
                    </a:lnTo>
                    <a:lnTo>
                      <a:pt x="75" y="26"/>
                    </a:lnTo>
                    <a:lnTo>
                      <a:pt x="75" y="27"/>
                    </a:lnTo>
                    <a:lnTo>
                      <a:pt x="77" y="27"/>
                    </a:lnTo>
                    <a:lnTo>
                      <a:pt x="77" y="29"/>
                    </a:lnTo>
                    <a:lnTo>
                      <a:pt x="77" y="31"/>
                    </a:lnTo>
                    <a:lnTo>
                      <a:pt x="78" y="31"/>
                    </a:lnTo>
                    <a:lnTo>
                      <a:pt x="78" y="33"/>
                    </a:lnTo>
                    <a:lnTo>
                      <a:pt x="78" y="31"/>
                    </a:lnTo>
                    <a:lnTo>
                      <a:pt x="78" y="29"/>
                    </a:lnTo>
                    <a:lnTo>
                      <a:pt x="77" y="27"/>
                    </a:lnTo>
                    <a:lnTo>
                      <a:pt x="78" y="27"/>
                    </a:lnTo>
                    <a:lnTo>
                      <a:pt x="80" y="27"/>
                    </a:lnTo>
                    <a:lnTo>
                      <a:pt x="82" y="27"/>
                    </a:lnTo>
                    <a:lnTo>
                      <a:pt x="82" y="29"/>
                    </a:lnTo>
                    <a:lnTo>
                      <a:pt x="82" y="27"/>
                    </a:lnTo>
                    <a:lnTo>
                      <a:pt x="83" y="27"/>
                    </a:lnTo>
                    <a:lnTo>
                      <a:pt x="85" y="27"/>
                    </a:lnTo>
                    <a:lnTo>
                      <a:pt x="83" y="27"/>
                    </a:lnTo>
                    <a:lnTo>
                      <a:pt x="82" y="27"/>
                    </a:lnTo>
                    <a:lnTo>
                      <a:pt x="80" y="27"/>
                    </a:lnTo>
                    <a:lnTo>
                      <a:pt x="78" y="26"/>
                    </a:lnTo>
                    <a:lnTo>
                      <a:pt x="77" y="26"/>
                    </a:lnTo>
                    <a:lnTo>
                      <a:pt x="77" y="24"/>
                    </a:lnTo>
                    <a:lnTo>
                      <a:pt x="75" y="26"/>
                    </a:lnTo>
                    <a:lnTo>
                      <a:pt x="75" y="24"/>
                    </a:lnTo>
                    <a:lnTo>
                      <a:pt x="75" y="22"/>
                    </a:lnTo>
                    <a:lnTo>
                      <a:pt x="77" y="22"/>
                    </a:lnTo>
                    <a:lnTo>
                      <a:pt x="78" y="22"/>
                    </a:lnTo>
                    <a:lnTo>
                      <a:pt x="80" y="22"/>
                    </a:lnTo>
                    <a:lnTo>
                      <a:pt x="80" y="24"/>
                    </a:lnTo>
                    <a:lnTo>
                      <a:pt x="80" y="22"/>
                    </a:lnTo>
                    <a:lnTo>
                      <a:pt x="78" y="22"/>
                    </a:lnTo>
                    <a:lnTo>
                      <a:pt x="80" y="22"/>
                    </a:lnTo>
                    <a:lnTo>
                      <a:pt x="80" y="21"/>
                    </a:lnTo>
                    <a:lnTo>
                      <a:pt x="82" y="21"/>
                    </a:lnTo>
                    <a:lnTo>
                      <a:pt x="83" y="21"/>
                    </a:lnTo>
                    <a:lnTo>
                      <a:pt x="83" y="19"/>
                    </a:lnTo>
                    <a:lnTo>
                      <a:pt x="83" y="17"/>
                    </a:lnTo>
                    <a:lnTo>
                      <a:pt x="82" y="17"/>
                    </a:lnTo>
                    <a:lnTo>
                      <a:pt x="82" y="16"/>
                    </a:lnTo>
                    <a:lnTo>
                      <a:pt x="82" y="14"/>
                    </a:lnTo>
                    <a:lnTo>
                      <a:pt x="80" y="14"/>
                    </a:lnTo>
                    <a:lnTo>
                      <a:pt x="82" y="14"/>
                    </a:lnTo>
                    <a:lnTo>
                      <a:pt x="80" y="12"/>
                    </a:lnTo>
                    <a:close/>
                    <a:moveTo>
                      <a:pt x="66" y="19"/>
                    </a:moveTo>
                    <a:lnTo>
                      <a:pt x="68" y="19"/>
                    </a:lnTo>
                    <a:lnTo>
                      <a:pt x="70" y="21"/>
                    </a:lnTo>
                    <a:lnTo>
                      <a:pt x="72" y="21"/>
                    </a:lnTo>
                    <a:lnTo>
                      <a:pt x="73" y="21"/>
                    </a:lnTo>
                    <a:lnTo>
                      <a:pt x="72" y="22"/>
                    </a:lnTo>
                    <a:lnTo>
                      <a:pt x="70" y="22"/>
                    </a:lnTo>
                    <a:lnTo>
                      <a:pt x="70" y="24"/>
                    </a:lnTo>
                    <a:lnTo>
                      <a:pt x="72" y="24"/>
                    </a:lnTo>
                    <a:lnTo>
                      <a:pt x="73" y="22"/>
                    </a:lnTo>
                    <a:lnTo>
                      <a:pt x="72" y="24"/>
                    </a:lnTo>
                    <a:lnTo>
                      <a:pt x="70" y="26"/>
                    </a:lnTo>
                    <a:lnTo>
                      <a:pt x="70" y="27"/>
                    </a:lnTo>
                    <a:lnTo>
                      <a:pt x="68" y="27"/>
                    </a:lnTo>
                    <a:lnTo>
                      <a:pt x="68" y="26"/>
                    </a:lnTo>
                    <a:lnTo>
                      <a:pt x="66" y="26"/>
                    </a:lnTo>
                    <a:lnTo>
                      <a:pt x="68" y="27"/>
                    </a:lnTo>
                    <a:lnTo>
                      <a:pt x="66" y="26"/>
                    </a:lnTo>
                    <a:lnTo>
                      <a:pt x="66" y="27"/>
                    </a:lnTo>
                    <a:lnTo>
                      <a:pt x="65" y="27"/>
                    </a:lnTo>
                    <a:lnTo>
                      <a:pt x="63" y="27"/>
                    </a:lnTo>
                    <a:lnTo>
                      <a:pt x="65" y="27"/>
                    </a:lnTo>
                    <a:lnTo>
                      <a:pt x="66" y="27"/>
                    </a:lnTo>
                    <a:lnTo>
                      <a:pt x="68" y="27"/>
                    </a:lnTo>
                    <a:lnTo>
                      <a:pt x="66" y="27"/>
                    </a:lnTo>
                    <a:lnTo>
                      <a:pt x="66" y="29"/>
                    </a:lnTo>
                    <a:lnTo>
                      <a:pt x="66" y="27"/>
                    </a:lnTo>
                    <a:lnTo>
                      <a:pt x="66" y="29"/>
                    </a:lnTo>
                    <a:lnTo>
                      <a:pt x="68" y="27"/>
                    </a:lnTo>
                    <a:lnTo>
                      <a:pt x="68" y="29"/>
                    </a:lnTo>
                    <a:lnTo>
                      <a:pt x="66" y="29"/>
                    </a:lnTo>
                    <a:lnTo>
                      <a:pt x="66" y="31"/>
                    </a:lnTo>
                    <a:lnTo>
                      <a:pt x="66" y="33"/>
                    </a:lnTo>
                    <a:lnTo>
                      <a:pt x="65" y="33"/>
                    </a:lnTo>
                    <a:lnTo>
                      <a:pt x="65" y="34"/>
                    </a:lnTo>
                    <a:lnTo>
                      <a:pt x="63" y="34"/>
                    </a:lnTo>
                    <a:lnTo>
                      <a:pt x="63" y="33"/>
                    </a:lnTo>
                    <a:lnTo>
                      <a:pt x="65" y="31"/>
                    </a:lnTo>
                    <a:lnTo>
                      <a:pt x="63" y="33"/>
                    </a:lnTo>
                    <a:lnTo>
                      <a:pt x="63" y="34"/>
                    </a:lnTo>
                    <a:lnTo>
                      <a:pt x="61" y="34"/>
                    </a:lnTo>
                    <a:lnTo>
                      <a:pt x="63" y="33"/>
                    </a:lnTo>
                    <a:lnTo>
                      <a:pt x="61" y="33"/>
                    </a:lnTo>
                    <a:lnTo>
                      <a:pt x="61" y="34"/>
                    </a:lnTo>
                    <a:lnTo>
                      <a:pt x="60" y="34"/>
                    </a:lnTo>
                    <a:lnTo>
                      <a:pt x="60" y="36"/>
                    </a:lnTo>
                    <a:lnTo>
                      <a:pt x="61" y="34"/>
                    </a:lnTo>
                    <a:lnTo>
                      <a:pt x="61" y="36"/>
                    </a:lnTo>
                    <a:lnTo>
                      <a:pt x="60" y="36"/>
                    </a:lnTo>
                    <a:lnTo>
                      <a:pt x="60" y="38"/>
                    </a:lnTo>
                    <a:lnTo>
                      <a:pt x="60" y="39"/>
                    </a:lnTo>
                    <a:lnTo>
                      <a:pt x="58" y="39"/>
                    </a:lnTo>
                    <a:lnTo>
                      <a:pt x="56" y="39"/>
                    </a:lnTo>
                    <a:lnTo>
                      <a:pt x="58" y="39"/>
                    </a:lnTo>
                    <a:lnTo>
                      <a:pt x="58" y="41"/>
                    </a:lnTo>
                    <a:lnTo>
                      <a:pt x="56" y="41"/>
                    </a:lnTo>
                    <a:lnTo>
                      <a:pt x="56" y="43"/>
                    </a:lnTo>
                    <a:lnTo>
                      <a:pt x="55" y="43"/>
                    </a:lnTo>
                    <a:lnTo>
                      <a:pt x="53" y="45"/>
                    </a:lnTo>
                    <a:lnTo>
                      <a:pt x="55" y="45"/>
                    </a:lnTo>
                    <a:lnTo>
                      <a:pt x="53" y="45"/>
                    </a:lnTo>
                    <a:lnTo>
                      <a:pt x="53" y="46"/>
                    </a:lnTo>
                    <a:lnTo>
                      <a:pt x="51" y="48"/>
                    </a:lnTo>
                    <a:lnTo>
                      <a:pt x="51" y="50"/>
                    </a:lnTo>
                    <a:lnTo>
                      <a:pt x="51" y="51"/>
                    </a:lnTo>
                    <a:lnTo>
                      <a:pt x="49" y="51"/>
                    </a:lnTo>
                    <a:lnTo>
                      <a:pt x="49" y="53"/>
                    </a:lnTo>
                    <a:lnTo>
                      <a:pt x="48" y="51"/>
                    </a:lnTo>
                    <a:lnTo>
                      <a:pt x="48" y="53"/>
                    </a:lnTo>
                    <a:lnTo>
                      <a:pt x="46" y="53"/>
                    </a:lnTo>
                    <a:lnTo>
                      <a:pt x="46" y="55"/>
                    </a:lnTo>
                    <a:lnTo>
                      <a:pt x="44" y="53"/>
                    </a:lnTo>
                    <a:lnTo>
                      <a:pt x="46" y="53"/>
                    </a:lnTo>
                    <a:lnTo>
                      <a:pt x="44" y="51"/>
                    </a:lnTo>
                    <a:lnTo>
                      <a:pt x="46" y="51"/>
                    </a:lnTo>
                    <a:lnTo>
                      <a:pt x="44" y="53"/>
                    </a:lnTo>
                    <a:lnTo>
                      <a:pt x="43" y="51"/>
                    </a:lnTo>
                    <a:lnTo>
                      <a:pt x="44" y="51"/>
                    </a:lnTo>
                    <a:lnTo>
                      <a:pt x="43" y="50"/>
                    </a:lnTo>
                    <a:lnTo>
                      <a:pt x="43" y="51"/>
                    </a:lnTo>
                    <a:lnTo>
                      <a:pt x="43" y="53"/>
                    </a:lnTo>
                    <a:lnTo>
                      <a:pt x="43" y="55"/>
                    </a:lnTo>
                    <a:lnTo>
                      <a:pt x="41" y="55"/>
                    </a:lnTo>
                    <a:lnTo>
                      <a:pt x="39" y="55"/>
                    </a:lnTo>
                    <a:lnTo>
                      <a:pt x="38" y="55"/>
                    </a:lnTo>
                    <a:lnTo>
                      <a:pt x="39" y="53"/>
                    </a:lnTo>
                    <a:lnTo>
                      <a:pt x="38" y="53"/>
                    </a:lnTo>
                    <a:lnTo>
                      <a:pt x="39" y="53"/>
                    </a:lnTo>
                    <a:lnTo>
                      <a:pt x="38" y="53"/>
                    </a:lnTo>
                    <a:lnTo>
                      <a:pt x="39" y="51"/>
                    </a:lnTo>
                    <a:lnTo>
                      <a:pt x="38" y="53"/>
                    </a:lnTo>
                    <a:lnTo>
                      <a:pt x="36" y="53"/>
                    </a:lnTo>
                    <a:lnTo>
                      <a:pt x="36" y="55"/>
                    </a:lnTo>
                    <a:lnTo>
                      <a:pt x="34" y="53"/>
                    </a:lnTo>
                    <a:lnTo>
                      <a:pt x="34" y="51"/>
                    </a:lnTo>
                    <a:lnTo>
                      <a:pt x="36" y="51"/>
                    </a:lnTo>
                    <a:lnTo>
                      <a:pt x="36" y="50"/>
                    </a:lnTo>
                    <a:lnTo>
                      <a:pt x="34" y="50"/>
                    </a:lnTo>
                    <a:lnTo>
                      <a:pt x="34" y="51"/>
                    </a:lnTo>
                    <a:lnTo>
                      <a:pt x="32" y="50"/>
                    </a:lnTo>
                    <a:lnTo>
                      <a:pt x="34" y="51"/>
                    </a:lnTo>
                    <a:lnTo>
                      <a:pt x="34" y="53"/>
                    </a:lnTo>
                    <a:lnTo>
                      <a:pt x="34" y="55"/>
                    </a:lnTo>
                    <a:lnTo>
                      <a:pt x="34" y="53"/>
                    </a:lnTo>
                    <a:lnTo>
                      <a:pt x="36" y="55"/>
                    </a:lnTo>
                    <a:lnTo>
                      <a:pt x="36" y="56"/>
                    </a:lnTo>
                    <a:lnTo>
                      <a:pt x="36" y="58"/>
                    </a:lnTo>
                    <a:lnTo>
                      <a:pt x="38" y="58"/>
                    </a:lnTo>
                    <a:lnTo>
                      <a:pt x="38" y="56"/>
                    </a:lnTo>
                    <a:lnTo>
                      <a:pt x="38" y="55"/>
                    </a:lnTo>
                    <a:lnTo>
                      <a:pt x="38" y="56"/>
                    </a:lnTo>
                    <a:lnTo>
                      <a:pt x="38" y="58"/>
                    </a:lnTo>
                    <a:lnTo>
                      <a:pt x="36" y="60"/>
                    </a:lnTo>
                    <a:lnTo>
                      <a:pt x="36" y="62"/>
                    </a:lnTo>
                    <a:lnTo>
                      <a:pt x="34" y="62"/>
                    </a:lnTo>
                    <a:lnTo>
                      <a:pt x="34" y="63"/>
                    </a:lnTo>
                    <a:lnTo>
                      <a:pt x="32" y="62"/>
                    </a:lnTo>
                    <a:lnTo>
                      <a:pt x="32" y="60"/>
                    </a:lnTo>
                    <a:lnTo>
                      <a:pt x="34" y="60"/>
                    </a:lnTo>
                    <a:lnTo>
                      <a:pt x="32" y="60"/>
                    </a:lnTo>
                    <a:lnTo>
                      <a:pt x="32" y="58"/>
                    </a:lnTo>
                    <a:lnTo>
                      <a:pt x="32" y="60"/>
                    </a:lnTo>
                    <a:lnTo>
                      <a:pt x="32" y="62"/>
                    </a:lnTo>
                    <a:lnTo>
                      <a:pt x="32" y="60"/>
                    </a:lnTo>
                    <a:lnTo>
                      <a:pt x="31" y="60"/>
                    </a:lnTo>
                    <a:lnTo>
                      <a:pt x="29" y="60"/>
                    </a:lnTo>
                    <a:lnTo>
                      <a:pt x="31" y="60"/>
                    </a:lnTo>
                    <a:lnTo>
                      <a:pt x="32" y="62"/>
                    </a:lnTo>
                    <a:lnTo>
                      <a:pt x="32" y="63"/>
                    </a:lnTo>
                    <a:lnTo>
                      <a:pt x="34" y="63"/>
                    </a:lnTo>
                    <a:lnTo>
                      <a:pt x="32" y="63"/>
                    </a:lnTo>
                    <a:lnTo>
                      <a:pt x="32" y="62"/>
                    </a:lnTo>
                    <a:lnTo>
                      <a:pt x="31" y="62"/>
                    </a:lnTo>
                    <a:lnTo>
                      <a:pt x="31" y="63"/>
                    </a:lnTo>
                    <a:lnTo>
                      <a:pt x="29" y="63"/>
                    </a:lnTo>
                    <a:lnTo>
                      <a:pt x="29" y="62"/>
                    </a:lnTo>
                    <a:lnTo>
                      <a:pt x="29" y="63"/>
                    </a:lnTo>
                    <a:lnTo>
                      <a:pt x="27" y="62"/>
                    </a:lnTo>
                    <a:lnTo>
                      <a:pt x="27" y="60"/>
                    </a:lnTo>
                    <a:lnTo>
                      <a:pt x="26" y="62"/>
                    </a:lnTo>
                    <a:lnTo>
                      <a:pt x="27" y="62"/>
                    </a:lnTo>
                    <a:lnTo>
                      <a:pt x="26" y="62"/>
                    </a:lnTo>
                    <a:lnTo>
                      <a:pt x="26" y="63"/>
                    </a:lnTo>
                    <a:lnTo>
                      <a:pt x="27" y="62"/>
                    </a:lnTo>
                    <a:lnTo>
                      <a:pt x="27" y="63"/>
                    </a:lnTo>
                    <a:lnTo>
                      <a:pt x="29" y="63"/>
                    </a:lnTo>
                    <a:lnTo>
                      <a:pt x="29" y="65"/>
                    </a:lnTo>
                    <a:lnTo>
                      <a:pt x="27" y="65"/>
                    </a:lnTo>
                    <a:lnTo>
                      <a:pt x="29" y="65"/>
                    </a:lnTo>
                    <a:lnTo>
                      <a:pt x="27" y="67"/>
                    </a:lnTo>
                    <a:lnTo>
                      <a:pt x="26" y="67"/>
                    </a:lnTo>
                    <a:lnTo>
                      <a:pt x="26" y="68"/>
                    </a:lnTo>
                    <a:lnTo>
                      <a:pt x="24" y="67"/>
                    </a:lnTo>
                    <a:lnTo>
                      <a:pt x="26" y="68"/>
                    </a:lnTo>
                    <a:lnTo>
                      <a:pt x="24" y="68"/>
                    </a:lnTo>
                    <a:lnTo>
                      <a:pt x="22" y="67"/>
                    </a:lnTo>
                    <a:lnTo>
                      <a:pt x="24" y="67"/>
                    </a:lnTo>
                    <a:lnTo>
                      <a:pt x="22" y="65"/>
                    </a:lnTo>
                    <a:lnTo>
                      <a:pt x="24" y="65"/>
                    </a:lnTo>
                    <a:lnTo>
                      <a:pt x="24" y="63"/>
                    </a:lnTo>
                    <a:lnTo>
                      <a:pt x="22" y="65"/>
                    </a:lnTo>
                    <a:lnTo>
                      <a:pt x="22" y="63"/>
                    </a:lnTo>
                    <a:lnTo>
                      <a:pt x="24" y="63"/>
                    </a:lnTo>
                    <a:lnTo>
                      <a:pt x="22" y="63"/>
                    </a:lnTo>
                    <a:lnTo>
                      <a:pt x="22" y="62"/>
                    </a:lnTo>
                    <a:lnTo>
                      <a:pt x="21" y="63"/>
                    </a:lnTo>
                    <a:lnTo>
                      <a:pt x="21" y="62"/>
                    </a:lnTo>
                    <a:lnTo>
                      <a:pt x="22" y="62"/>
                    </a:lnTo>
                    <a:lnTo>
                      <a:pt x="24" y="62"/>
                    </a:lnTo>
                    <a:lnTo>
                      <a:pt x="22" y="62"/>
                    </a:lnTo>
                    <a:lnTo>
                      <a:pt x="22" y="60"/>
                    </a:lnTo>
                    <a:lnTo>
                      <a:pt x="21" y="60"/>
                    </a:lnTo>
                    <a:lnTo>
                      <a:pt x="21" y="62"/>
                    </a:lnTo>
                    <a:lnTo>
                      <a:pt x="21" y="60"/>
                    </a:lnTo>
                    <a:lnTo>
                      <a:pt x="19" y="60"/>
                    </a:lnTo>
                    <a:lnTo>
                      <a:pt x="17" y="60"/>
                    </a:lnTo>
                    <a:lnTo>
                      <a:pt x="17" y="62"/>
                    </a:lnTo>
                    <a:lnTo>
                      <a:pt x="19" y="62"/>
                    </a:lnTo>
                    <a:lnTo>
                      <a:pt x="19" y="63"/>
                    </a:lnTo>
                    <a:lnTo>
                      <a:pt x="21" y="63"/>
                    </a:lnTo>
                    <a:lnTo>
                      <a:pt x="22" y="63"/>
                    </a:lnTo>
                    <a:lnTo>
                      <a:pt x="22" y="65"/>
                    </a:lnTo>
                    <a:lnTo>
                      <a:pt x="21" y="63"/>
                    </a:lnTo>
                    <a:lnTo>
                      <a:pt x="21" y="65"/>
                    </a:lnTo>
                    <a:lnTo>
                      <a:pt x="21" y="63"/>
                    </a:lnTo>
                    <a:lnTo>
                      <a:pt x="19" y="65"/>
                    </a:lnTo>
                    <a:lnTo>
                      <a:pt x="17" y="63"/>
                    </a:lnTo>
                    <a:lnTo>
                      <a:pt x="19" y="62"/>
                    </a:lnTo>
                    <a:lnTo>
                      <a:pt x="17" y="62"/>
                    </a:lnTo>
                    <a:lnTo>
                      <a:pt x="15" y="60"/>
                    </a:lnTo>
                    <a:lnTo>
                      <a:pt x="14" y="60"/>
                    </a:lnTo>
                    <a:lnTo>
                      <a:pt x="14" y="58"/>
                    </a:lnTo>
                    <a:lnTo>
                      <a:pt x="12" y="58"/>
                    </a:lnTo>
                    <a:lnTo>
                      <a:pt x="12" y="56"/>
                    </a:lnTo>
                    <a:lnTo>
                      <a:pt x="10" y="56"/>
                    </a:lnTo>
                    <a:lnTo>
                      <a:pt x="12" y="58"/>
                    </a:lnTo>
                    <a:lnTo>
                      <a:pt x="10" y="58"/>
                    </a:lnTo>
                    <a:lnTo>
                      <a:pt x="10" y="56"/>
                    </a:lnTo>
                    <a:lnTo>
                      <a:pt x="10" y="55"/>
                    </a:lnTo>
                    <a:lnTo>
                      <a:pt x="9" y="55"/>
                    </a:lnTo>
                    <a:lnTo>
                      <a:pt x="10" y="55"/>
                    </a:lnTo>
                    <a:lnTo>
                      <a:pt x="12" y="55"/>
                    </a:lnTo>
                    <a:lnTo>
                      <a:pt x="12" y="56"/>
                    </a:lnTo>
                    <a:lnTo>
                      <a:pt x="14" y="56"/>
                    </a:lnTo>
                    <a:lnTo>
                      <a:pt x="15" y="56"/>
                    </a:lnTo>
                    <a:lnTo>
                      <a:pt x="15" y="58"/>
                    </a:lnTo>
                    <a:lnTo>
                      <a:pt x="17" y="58"/>
                    </a:lnTo>
                    <a:lnTo>
                      <a:pt x="19" y="56"/>
                    </a:lnTo>
                    <a:lnTo>
                      <a:pt x="17" y="58"/>
                    </a:lnTo>
                    <a:lnTo>
                      <a:pt x="15" y="58"/>
                    </a:lnTo>
                    <a:lnTo>
                      <a:pt x="15" y="56"/>
                    </a:lnTo>
                    <a:lnTo>
                      <a:pt x="15" y="55"/>
                    </a:lnTo>
                    <a:lnTo>
                      <a:pt x="17" y="56"/>
                    </a:lnTo>
                    <a:lnTo>
                      <a:pt x="19" y="56"/>
                    </a:lnTo>
                    <a:lnTo>
                      <a:pt x="19" y="55"/>
                    </a:lnTo>
                    <a:lnTo>
                      <a:pt x="21" y="55"/>
                    </a:lnTo>
                    <a:lnTo>
                      <a:pt x="21" y="53"/>
                    </a:lnTo>
                    <a:lnTo>
                      <a:pt x="19" y="53"/>
                    </a:lnTo>
                    <a:lnTo>
                      <a:pt x="17" y="55"/>
                    </a:lnTo>
                    <a:lnTo>
                      <a:pt x="17" y="53"/>
                    </a:lnTo>
                    <a:lnTo>
                      <a:pt x="17" y="51"/>
                    </a:lnTo>
                    <a:lnTo>
                      <a:pt x="19" y="51"/>
                    </a:lnTo>
                    <a:lnTo>
                      <a:pt x="21" y="51"/>
                    </a:lnTo>
                    <a:lnTo>
                      <a:pt x="21" y="53"/>
                    </a:lnTo>
                    <a:lnTo>
                      <a:pt x="21" y="51"/>
                    </a:lnTo>
                    <a:lnTo>
                      <a:pt x="22" y="51"/>
                    </a:lnTo>
                    <a:lnTo>
                      <a:pt x="21" y="53"/>
                    </a:lnTo>
                    <a:lnTo>
                      <a:pt x="22" y="53"/>
                    </a:lnTo>
                    <a:lnTo>
                      <a:pt x="21" y="55"/>
                    </a:lnTo>
                    <a:lnTo>
                      <a:pt x="22" y="55"/>
                    </a:lnTo>
                    <a:lnTo>
                      <a:pt x="22" y="53"/>
                    </a:lnTo>
                    <a:lnTo>
                      <a:pt x="22" y="55"/>
                    </a:lnTo>
                    <a:lnTo>
                      <a:pt x="22" y="56"/>
                    </a:lnTo>
                    <a:lnTo>
                      <a:pt x="24" y="56"/>
                    </a:lnTo>
                    <a:lnTo>
                      <a:pt x="22" y="56"/>
                    </a:lnTo>
                    <a:lnTo>
                      <a:pt x="24" y="55"/>
                    </a:lnTo>
                    <a:lnTo>
                      <a:pt x="22" y="55"/>
                    </a:lnTo>
                    <a:lnTo>
                      <a:pt x="24" y="55"/>
                    </a:lnTo>
                    <a:lnTo>
                      <a:pt x="24" y="53"/>
                    </a:lnTo>
                    <a:lnTo>
                      <a:pt x="22" y="53"/>
                    </a:lnTo>
                    <a:lnTo>
                      <a:pt x="24" y="53"/>
                    </a:lnTo>
                    <a:lnTo>
                      <a:pt x="26" y="53"/>
                    </a:lnTo>
                    <a:lnTo>
                      <a:pt x="26" y="55"/>
                    </a:lnTo>
                    <a:lnTo>
                      <a:pt x="27" y="55"/>
                    </a:lnTo>
                    <a:lnTo>
                      <a:pt x="26" y="55"/>
                    </a:lnTo>
                    <a:lnTo>
                      <a:pt x="26" y="53"/>
                    </a:lnTo>
                    <a:lnTo>
                      <a:pt x="27" y="55"/>
                    </a:lnTo>
                    <a:lnTo>
                      <a:pt x="29" y="55"/>
                    </a:lnTo>
                    <a:lnTo>
                      <a:pt x="27" y="55"/>
                    </a:lnTo>
                    <a:lnTo>
                      <a:pt x="27" y="53"/>
                    </a:lnTo>
                    <a:lnTo>
                      <a:pt x="29" y="53"/>
                    </a:lnTo>
                    <a:lnTo>
                      <a:pt x="31" y="53"/>
                    </a:lnTo>
                    <a:lnTo>
                      <a:pt x="31" y="51"/>
                    </a:lnTo>
                    <a:lnTo>
                      <a:pt x="32" y="51"/>
                    </a:lnTo>
                    <a:lnTo>
                      <a:pt x="32" y="50"/>
                    </a:lnTo>
                    <a:lnTo>
                      <a:pt x="31" y="50"/>
                    </a:lnTo>
                    <a:lnTo>
                      <a:pt x="31" y="51"/>
                    </a:lnTo>
                    <a:lnTo>
                      <a:pt x="29" y="51"/>
                    </a:lnTo>
                    <a:lnTo>
                      <a:pt x="27" y="51"/>
                    </a:lnTo>
                    <a:lnTo>
                      <a:pt x="27" y="50"/>
                    </a:lnTo>
                    <a:lnTo>
                      <a:pt x="26" y="50"/>
                    </a:lnTo>
                    <a:lnTo>
                      <a:pt x="24" y="50"/>
                    </a:lnTo>
                    <a:lnTo>
                      <a:pt x="26" y="50"/>
                    </a:lnTo>
                    <a:lnTo>
                      <a:pt x="27" y="50"/>
                    </a:lnTo>
                    <a:lnTo>
                      <a:pt x="27" y="51"/>
                    </a:lnTo>
                    <a:lnTo>
                      <a:pt x="27" y="50"/>
                    </a:lnTo>
                    <a:lnTo>
                      <a:pt x="29" y="50"/>
                    </a:lnTo>
                    <a:lnTo>
                      <a:pt x="29" y="48"/>
                    </a:lnTo>
                    <a:lnTo>
                      <a:pt x="31" y="48"/>
                    </a:lnTo>
                    <a:lnTo>
                      <a:pt x="31" y="46"/>
                    </a:lnTo>
                    <a:lnTo>
                      <a:pt x="29" y="46"/>
                    </a:lnTo>
                    <a:lnTo>
                      <a:pt x="31" y="46"/>
                    </a:lnTo>
                    <a:lnTo>
                      <a:pt x="31" y="45"/>
                    </a:lnTo>
                    <a:lnTo>
                      <a:pt x="29" y="45"/>
                    </a:lnTo>
                    <a:lnTo>
                      <a:pt x="31" y="45"/>
                    </a:lnTo>
                    <a:lnTo>
                      <a:pt x="29" y="43"/>
                    </a:lnTo>
                    <a:lnTo>
                      <a:pt x="31" y="43"/>
                    </a:lnTo>
                    <a:lnTo>
                      <a:pt x="31" y="41"/>
                    </a:lnTo>
                    <a:lnTo>
                      <a:pt x="32" y="41"/>
                    </a:lnTo>
                    <a:lnTo>
                      <a:pt x="31" y="43"/>
                    </a:lnTo>
                    <a:lnTo>
                      <a:pt x="32" y="41"/>
                    </a:lnTo>
                    <a:lnTo>
                      <a:pt x="32" y="43"/>
                    </a:lnTo>
                    <a:lnTo>
                      <a:pt x="32" y="45"/>
                    </a:lnTo>
                    <a:lnTo>
                      <a:pt x="32" y="43"/>
                    </a:lnTo>
                    <a:lnTo>
                      <a:pt x="34" y="45"/>
                    </a:lnTo>
                    <a:lnTo>
                      <a:pt x="32" y="45"/>
                    </a:lnTo>
                    <a:lnTo>
                      <a:pt x="32" y="46"/>
                    </a:lnTo>
                    <a:lnTo>
                      <a:pt x="34" y="46"/>
                    </a:lnTo>
                    <a:lnTo>
                      <a:pt x="34" y="48"/>
                    </a:lnTo>
                    <a:lnTo>
                      <a:pt x="34" y="46"/>
                    </a:lnTo>
                    <a:lnTo>
                      <a:pt x="34" y="45"/>
                    </a:lnTo>
                    <a:lnTo>
                      <a:pt x="36" y="45"/>
                    </a:lnTo>
                    <a:lnTo>
                      <a:pt x="34" y="43"/>
                    </a:lnTo>
                    <a:lnTo>
                      <a:pt x="36" y="43"/>
                    </a:lnTo>
                    <a:lnTo>
                      <a:pt x="36" y="41"/>
                    </a:lnTo>
                    <a:lnTo>
                      <a:pt x="34" y="41"/>
                    </a:lnTo>
                    <a:lnTo>
                      <a:pt x="36" y="41"/>
                    </a:lnTo>
                    <a:lnTo>
                      <a:pt x="38" y="39"/>
                    </a:lnTo>
                    <a:lnTo>
                      <a:pt x="36" y="41"/>
                    </a:lnTo>
                    <a:lnTo>
                      <a:pt x="38" y="41"/>
                    </a:lnTo>
                    <a:lnTo>
                      <a:pt x="38" y="43"/>
                    </a:lnTo>
                    <a:lnTo>
                      <a:pt x="38" y="41"/>
                    </a:lnTo>
                    <a:lnTo>
                      <a:pt x="39" y="43"/>
                    </a:lnTo>
                    <a:lnTo>
                      <a:pt x="39" y="41"/>
                    </a:lnTo>
                    <a:lnTo>
                      <a:pt x="39" y="39"/>
                    </a:lnTo>
                    <a:lnTo>
                      <a:pt x="39" y="38"/>
                    </a:lnTo>
                    <a:lnTo>
                      <a:pt x="38" y="38"/>
                    </a:lnTo>
                    <a:lnTo>
                      <a:pt x="36" y="39"/>
                    </a:lnTo>
                    <a:lnTo>
                      <a:pt x="36" y="38"/>
                    </a:lnTo>
                    <a:lnTo>
                      <a:pt x="34" y="38"/>
                    </a:lnTo>
                    <a:lnTo>
                      <a:pt x="32" y="38"/>
                    </a:lnTo>
                    <a:lnTo>
                      <a:pt x="32" y="39"/>
                    </a:lnTo>
                    <a:lnTo>
                      <a:pt x="34" y="41"/>
                    </a:lnTo>
                    <a:lnTo>
                      <a:pt x="32" y="39"/>
                    </a:lnTo>
                    <a:lnTo>
                      <a:pt x="31" y="41"/>
                    </a:lnTo>
                    <a:lnTo>
                      <a:pt x="29" y="41"/>
                    </a:lnTo>
                    <a:lnTo>
                      <a:pt x="27" y="41"/>
                    </a:lnTo>
                    <a:lnTo>
                      <a:pt x="27" y="43"/>
                    </a:lnTo>
                    <a:lnTo>
                      <a:pt x="26" y="41"/>
                    </a:lnTo>
                    <a:lnTo>
                      <a:pt x="27" y="41"/>
                    </a:lnTo>
                    <a:lnTo>
                      <a:pt x="26" y="41"/>
                    </a:lnTo>
                    <a:lnTo>
                      <a:pt x="24" y="39"/>
                    </a:lnTo>
                    <a:lnTo>
                      <a:pt x="24" y="38"/>
                    </a:lnTo>
                    <a:lnTo>
                      <a:pt x="24" y="36"/>
                    </a:lnTo>
                    <a:lnTo>
                      <a:pt x="26" y="36"/>
                    </a:lnTo>
                    <a:lnTo>
                      <a:pt x="26" y="38"/>
                    </a:lnTo>
                    <a:lnTo>
                      <a:pt x="26" y="36"/>
                    </a:lnTo>
                    <a:lnTo>
                      <a:pt x="26" y="38"/>
                    </a:lnTo>
                    <a:lnTo>
                      <a:pt x="27" y="38"/>
                    </a:lnTo>
                    <a:lnTo>
                      <a:pt x="29" y="38"/>
                    </a:lnTo>
                    <a:lnTo>
                      <a:pt x="31" y="38"/>
                    </a:lnTo>
                    <a:lnTo>
                      <a:pt x="32" y="36"/>
                    </a:lnTo>
                    <a:lnTo>
                      <a:pt x="34" y="36"/>
                    </a:lnTo>
                    <a:lnTo>
                      <a:pt x="36" y="36"/>
                    </a:lnTo>
                    <a:lnTo>
                      <a:pt x="38" y="36"/>
                    </a:lnTo>
                    <a:lnTo>
                      <a:pt x="38" y="34"/>
                    </a:lnTo>
                    <a:lnTo>
                      <a:pt x="39" y="36"/>
                    </a:lnTo>
                    <a:lnTo>
                      <a:pt x="39" y="38"/>
                    </a:lnTo>
                    <a:lnTo>
                      <a:pt x="41" y="38"/>
                    </a:lnTo>
                    <a:lnTo>
                      <a:pt x="43" y="38"/>
                    </a:lnTo>
                    <a:lnTo>
                      <a:pt x="43" y="39"/>
                    </a:lnTo>
                    <a:lnTo>
                      <a:pt x="43" y="38"/>
                    </a:lnTo>
                    <a:lnTo>
                      <a:pt x="44" y="39"/>
                    </a:lnTo>
                    <a:lnTo>
                      <a:pt x="46" y="39"/>
                    </a:lnTo>
                    <a:lnTo>
                      <a:pt x="44" y="39"/>
                    </a:lnTo>
                    <a:lnTo>
                      <a:pt x="43" y="38"/>
                    </a:lnTo>
                    <a:lnTo>
                      <a:pt x="43" y="36"/>
                    </a:lnTo>
                    <a:lnTo>
                      <a:pt x="41" y="36"/>
                    </a:lnTo>
                    <a:lnTo>
                      <a:pt x="39" y="36"/>
                    </a:lnTo>
                    <a:lnTo>
                      <a:pt x="39" y="34"/>
                    </a:lnTo>
                    <a:lnTo>
                      <a:pt x="38" y="34"/>
                    </a:lnTo>
                    <a:lnTo>
                      <a:pt x="38" y="33"/>
                    </a:lnTo>
                    <a:lnTo>
                      <a:pt x="36" y="33"/>
                    </a:lnTo>
                    <a:lnTo>
                      <a:pt x="36" y="31"/>
                    </a:lnTo>
                    <a:lnTo>
                      <a:pt x="38" y="31"/>
                    </a:lnTo>
                    <a:lnTo>
                      <a:pt x="36" y="31"/>
                    </a:lnTo>
                    <a:lnTo>
                      <a:pt x="36" y="29"/>
                    </a:lnTo>
                    <a:lnTo>
                      <a:pt x="34" y="29"/>
                    </a:lnTo>
                    <a:lnTo>
                      <a:pt x="36" y="29"/>
                    </a:lnTo>
                    <a:lnTo>
                      <a:pt x="36" y="31"/>
                    </a:lnTo>
                    <a:lnTo>
                      <a:pt x="34" y="31"/>
                    </a:lnTo>
                    <a:lnTo>
                      <a:pt x="32" y="31"/>
                    </a:lnTo>
                    <a:lnTo>
                      <a:pt x="32" y="29"/>
                    </a:lnTo>
                    <a:lnTo>
                      <a:pt x="31" y="29"/>
                    </a:lnTo>
                    <a:lnTo>
                      <a:pt x="29" y="29"/>
                    </a:lnTo>
                    <a:lnTo>
                      <a:pt x="29" y="27"/>
                    </a:lnTo>
                    <a:lnTo>
                      <a:pt x="29" y="29"/>
                    </a:lnTo>
                    <a:lnTo>
                      <a:pt x="29" y="27"/>
                    </a:lnTo>
                    <a:lnTo>
                      <a:pt x="29" y="26"/>
                    </a:lnTo>
                    <a:lnTo>
                      <a:pt x="31" y="26"/>
                    </a:lnTo>
                    <a:lnTo>
                      <a:pt x="32" y="27"/>
                    </a:lnTo>
                    <a:lnTo>
                      <a:pt x="32" y="26"/>
                    </a:lnTo>
                    <a:lnTo>
                      <a:pt x="31" y="24"/>
                    </a:lnTo>
                    <a:lnTo>
                      <a:pt x="31" y="22"/>
                    </a:lnTo>
                    <a:lnTo>
                      <a:pt x="29" y="24"/>
                    </a:lnTo>
                    <a:lnTo>
                      <a:pt x="27" y="24"/>
                    </a:lnTo>
                    <a:lnTo>
                      <a:pt x="26" y="24"/>
                    </a:lnTo>
                    <a:lnTo>
                      <a:pt x="26" y="22"/>
                    </a:lnTo>
                    <a:lnTo>
                      <a:pt x="24" y="22"/>
                    </a:lnTo>
                    <a:lnTo>
                      <a:pt x="24" y="21"/>
                    </a:lnTo>
                    <a:lnTo>
                      <a:pt x="24" y="19"/>
                    </a:lnTo>
                    <a:lnTo>
                      <a:pt x="26" y="19"/>
                    </a:lnTo>
                    <a:lnTo>
                      <a:pt x="24" y="19"/>
                    </a:lnTo>
                    <a:lnTo>
                      <a:pt x="24" y="17"/>
                    </a:lnTo>
                    <a:lnTo>
                      <a:pt x="26" y="19"/>
                    </a:lnTo>
                    <a:lnTo>
                      <a:pt x="27" y="19"/>
                    </a:lnTo>
                    <a:lnTo>
                      <a:pt x="29" y="21"/>
                    </a:lnTo>
                    <a:lnTo>
                      <a:pt x="31" y="21"/>
                    </a:lnTo>
                    <a:lnTo>
                      <a:pt x="31" y="22"/>
                    </a:lnTo>
                    <a:lnTo>
                      <a:pt x="31" y="21"/>
                    </a:lnTo>
                    <a:lnTo>
                      <a:pt x="31" y="22"/>
                    </a:lnTo>
                    <a:lnTo>
                      <a:pt x="32" y="22"/>
                    </a:lnTo>
                    <a:lnTo>
                      <a:pt x="32" y="24"/>
                    </a:lnTo>
                    <a:lnTo>
                      <a:pt x="34" y="24"/>
                    </a:lnTo>
                    <a:lnTo>
                      <a:pt x="36" y="26"/>
                    </a:lnTo>
                    <a:lnTo>
                      <a:pt x="38" y="26"/>
                    </a:lnTo>
                    <a:lnTo>
                      <a:pt x="39" y="26"/>
                    </a:lnTo>
                    <a:lnTo>
                      <a:pt x="41" y="26"/>
                    </a:lnTo>
                    <a:lnTo>
                      <a:pt x="41" y="27"/>
                    </a:lnTo>
                    <a:lnTo>
                      <a:pt x="41" y="26"/>
                    </a:lnTo>
                    <a:lnTo>
                      <a:pt x="43" y="27"/>
                    </a:lnTo>
                    <a:lnTo>
                      <a:pt x="43" y="26"/>
                    </a:lnTo>
                    <a:lnTo>
                      <a:pt x="44" y="26"/>
                    </a:lnTo>
                    <a:lnTo>
                      <a:pt x="46" y="26"/>
                    </a:lnTo>
                    <a:lnTo>
                      <a:pt x="46" y="24"/>
                    </a:lnTo>
                    <a:lnTo>
                      <a:pt x="44" y="24"/>
                    </a:lnTo>
                    <a:lnTo>
                      <a:pt x="43" y="24"/>
                    </a:lnTo>
                    <a:lnTo>
                      <a:pt x="43" y="22"/>
                    </a:lnTo>
                    <a:lnTo>
                      <a:pt x="44" y="22"/>
                    </a:lnTo>
                    <a:lnTo>
                      <a:pt x="44" y="21"/>
                    </a:lnTo>
                    <a:lnTo>
                      <a:pt x="46" y="21"/>
                    </a:lnTo>
                    <a:lnTo>
                      <a:pt x="44" y="21"/>
                    </a:lnTo>
                    <a:lnTo>
                      <a:pt x="44" y="22"/>
                    </a:lnTo>
                    <a:lnTo>
                      <a:pt x="46" y="22"/>
                    </a:lnTo>
                    <a:lnTo>
                      <a:pt x="48" y="21"/>
                    </a:lnTo>
                    <a:lnTo>
                      <a:pt x="49" y="21"/>
                    </a:lnTo>
                    <a:lnTo>
                      <a:pt x="51" y="21"/>
                    </a:lnTo>
                    <a:lnTo>
                      <a:pt x="49" y="21"/>
                    </a:lnTo>
                    <a:lnTo>
                      <a:pt x="49" y="22"/>
                    </a:lnTo>
                    <a:lnTo>
                      <a:pt x="49" y="21"/>
                    </a:lnTo>
                    <a:lnTo>
                      <a:pt x="51" y="21"/>
                    </a:lnTo>
                    <a:lnTo>
                      <a:pt x="53" y="21"/>
                    </a:lnTo>
                    <a:lnTo>
                      <a:pt x="51" y="21"/>
                    </a:lnTo>
                    <a:lnTo>
                      <a:pt x="51" y="22"/>
                    </a:lnTo>
                    <a:lnTo>
                      <a:pt x="49" y="22"/>
                    </a:lnTo>
                    <a:lnTo>
                      <a:pt x="51" y="22"/>
                    </a:lnTo>
                    <a:lnTo>
                      <a:pt x="53" y="22"/>
                    </a:lnTo>
                    <a:lnTo>
                      <a:pt x="55" y="21"/>
                    </a:lnTo>
                    <a:lnTo>
                      <a:pt x="55" y="22"/>
                    </a:lnTo>
                    <a:lnTo>
                      <a:pt x="53" y="22"/>
                    </a:lnTo>
                    <a:lnTo>
                      <a:pt x="53" y="24"/>
                    </a:lnTo>
                    <a:lnTo>
                      <a:pt x="53" y="22"/>
                    </a:lnTo>
                    <a:lnTo>
                      <a:pt x="51" y="22"/>
                    </a:lnTo>
                    <a:lnTo>
                      <a:pt x="53" y="24"/>
                    </a:lnTo>
                    <a:lnTo>
                      <a:pt x="51" y="24"/>
                    </a:lnTo>
                    <a:lnTo>
                      <a:pt x="53" y="24"/>
                    </a:lnTo>
                    <a:lnTo>
                      <a:pt x="55" y="24"/>
                    </a:lnTo>
                    <a:lnTo>
                      <a:pt x="56" y="24"/>
                    </a:lnTo>
                    <a:lnTo>
                      <a:pt x="58" y="22"/>
                    </a:lnTo>
                    <a:lnTo>
                      <a:pt x="58" y="24"/>
                    </a:lnTo>
                    <a:lnTo>
                      <a:pt x="58" y="26"/>
                    </a:lnTo>
                    <a:lnTo>
                      <a:pt x="58" y="24"/>
                    </a:lnTo>
                    <a:lnTo>
                      <a:pt x="58" y="22"/>
                    </a:lnTo>
                    <a:lnTo>
                      <a:pt x="60" y="24"/>
                    </a:lnTo>
                    <a:lnTo>
                      <a:pt x="60" y="22"/>
                    </a:lnTo>
                    <a:lnTo>
                      <a:pt x="61" y="22"/>
                    </a:lnTo>
                    <a:lnTo>
                      <a:pt x="61" y="21"/>
                    </a:lnTo>
                    <a:lnTo>
                      <a:pt x="63" y="21"/>
                    </a:lnTo>
                    <a:lnTo>
                      <a:pt x="63" y="22"/>
                    </a:lnTo>
                    <a:lnTo>
                      <a:pt x="61" y="22"/>
                    </a:lnTo>
                    <a:lnTo>
                      <a:pt x="61" y="24"/>
                    </a:lnTo>
                    <a:lnTo>
                      <a:pt x="61" y="22"/>
                    </a:lnTo>
                    <a:lnTo>
                      <a:pt x="61" y="24"/>
                    </a:lnTo>
                    <a:lnTo>
                      <a:pt x="60" y="24"/>
                    </a:lnTo>
                    <a:lnTo>
                      <a:pt x="61" y="24"/>
                    </a:lnTo>
                    <a:lnTo>
                      <a:pt x="61" y="26"/>
                    </a:lnTo>
                    <a:lnTo>
                      <a:pt x="61" y="24"/>
                    </a:lnTo>
                    <a:lnTo>
                      <a:pt x="63" y="24"/>
                    </a:lnTo>
                    <a:lnTo>
                      <a:pt x="65" y="24"/>
                    </a:lnTo>
                    <a:lnTo>
                      <a:pt x="66" y="22"/>
                    </a:lnTo>
                    <a:lnTo>
                      <a:pt x="66" y="24"/>
                    </a:lnTo>
                    <a:lnTo>
                      <a:pt x="66" y="22"/>
                    </a:lnTo>
                    <a:lnTo>
                      <a:pt x="65" y="22"/>
                    </a:lnTo>
                    <a:lnTo>
                      <a:pt x="65" y="21"/>
                    </a:lnTo>
                    <a:lnTo>
                      <a:pt x="63" y="21"/>
                    </a:lnTo>
                    <a:lnTo>
                      <a:pt x="65" y="21"/>
                    </a:lnTo>
                    <a:lnTo>
                      <a:pt x="65" y="19"/>
                    </a:lnTo>
                    <a:lnTo>
                      <a:pt x="66" y="19"/>
                    </a:lnTo>
                    <a:lnTo>
                      <a:pt x="65" y="17"/>
                    </a:lnTo>
                    <a:lnTo>
                      <a:pt x="66" y="17"/>
                    </a:lnTo>
                    <a:lnTo>
                      <a:pt x="66" y="19"/>
                    </a:lnTo>
                    <a:close/>
                    <a:moveTo>
                      <a:pt x="17" y="41"/>
                    </a:moveTo>
                    <a:lnTo>
                      <a:pt x="17" y="43"/>
                    </a:lnTo>
                    <a:lnTo>
                      <a:pt x="17" y="45"/>
                    </a:lnTo>
                    <a:lnTo>
                      <a:pt x="15" y="45"/>
                    </a:lnTo>
                    <a:lnTo>
                      <a:pt x="15" y="46"/>
                    </a:lnTo>
                    <a:lnTo>
                      <a:pt x="15" y="48"/>
                    </a:lnTo>
                    <a:lnTo>
                      <a:pt x="17" y="48"/>
                    </a:lnTo>
                    <a:lnTo>
                      <a:pt x="15" y="48"/>
                    </a:lnTo>
                    <a:lnTo>
                      <a:pt x="15" y="50"/>
                    </a:lnTo>
                    <a:lnTo>
                      <a:pt x="17" y="48"/>
                    </a:lnTo>
                    <a:lnTo>
                      <a:pt x="17" y="50"/>
                    </a:lnTo>
                    <a:lnTo>
                      <a:pt x="15" y="50"/>
                    </a:lnTo>
                    <a:lnTo>
                      <a:pt x="14" y="50"/>
                    </a:lnTo>
                    <a:lnTo>
                      <a:pt x="15" y="51"/>
                    </a:lnTo>
                    <a:lnTo>
                      <a:pt x="14" y="51"/>
                    </a:lnTo>
                    <a:lnTo>
                      <a:pt x="12" y="53"/>
                    </a:lnTo>
                    <a:lnTo>
                      <a:pt x="10" y="51"/>
                    </a:lnTo>
                    <a:lnTo>
                      <a:pt x="10" y="50"/>
                    </a:lnTo>
                    <a:lnTo>
                      <a:pt x="9" y="50"/>
                    </a:lnTo>
                    <a:lnTo>
                      <a:pt x="9" y="48"/>
                    </a:lnTo>
                    <a:lnTo>
                      <a:pt x="7" y="48"/>
                    </a:lnTo>
                    <a:lnTo>
                      <a:pt x="9" y="48"/>
                    </a:lnTo>
                    <a:lnTo>
                      <a:pt x="7" y="48"/>
                    </a:lnTo>
                    <a:lnTo>
                      <a:pt x="7" y="46"/>
                    </a:lnTo>
                    <a:lnTo>
                      <a:pt x="9" y="46"/>
                    </a:lnTo>
                    <a:lnTo>
                      <a:pt x="7" y="46"/>
                    </a:lnTo>
                    <a:lnTo>
                      <a:pt x="7" y="45"/>
                    </a:lnTo>
                    <a:lnTo>
                      <a:pt x="7" y="46"/>
                    </a:lnTo>
                    <a:lnTo>
                      <a:pt x="7" y="45"/>
                    </a:lnTo>
                    <a:lnTo>
                      <a:pt x="9" y="43"/>
                    </a:lnTo>
                    <a:lnTo>
                      <a:pt x="9" y="45"/>
                    </a:lnTo>
                    <a:lnTo>
                      <a:pt x="10" y="45"/>
                    </a:lnTo>
                    <a:lnTo>
                      <a:pt x="10" y="43"/>
                    </a:lnTo>
                    <a:lnTo>
                      <a:pt x="12" y="43"/>
                    </a:lnTo>
                    <a:lnTo>
                      <a:pt x="12" y="41"/>
                    </a:lnTo>
                    <a:lnTo>
                      <a:pt x="12" y="43"/>
                    </a:lnTo>
                    <a:lnTo>
                      <a:pt x="14" y="43"/>
                    </a:lnTo>
                    <a:lnTo>
                      <a:pt x="14" y="45"/>
                    </a:lnTo>
                    <a:lnTo>
                      <a:pt x="12" y="45"/>
                    </a:lnTo>
                    <a:lnTo>
                      <a:pt x="12" y="46"/>
                    </a:lnTo>
                    <a:lnTo>
                      <a:pt x="10" y="46"/>
                    </a:lnTo>
                    <a:lnTo>
                      <a:pt x="10" y="48"/>
                    </a:lnTo>
                    <a:lnTo>
                      <a:pt x="12" y="46"/>
                    </a:lnTo>
                    <a:lnTo>
                      <a:pt x="14" y="46"/>
                    </a:lnTo>
                    <a:lnTo>
                      <a:pt x="14" y="45"/>
                    </a:lnTo>
                    <a:lnTo>
                      <a:pt x="14" y="46"/>
                    </a:lnTo>
                    <a:lnTo>
                      <a:pt x="15" y="45"/>
                    </a:lnTo>
                    <a:lnTo>
                      <a:pt x="15" y="46"/>
                    </a:lnTo>
                    <a:lnTo>
                      <a:pt x="15" y="45"/>
                    </a:lnTo>
                    <a:lnTo>
                      <a:pt x="15" y="43"/>
                    </a:lnTo>
                    <a:lnTo>
                      <a:pt x="15" y="41"/>
                    </a:lnTo>
                    <a:lnTo>
                      <a:pt x="17" y="41"/>
                    </a:lnTo>
                    <a:close/>
                    <a:moveTo>
                      <a:pt x="36" y="14"/>
                    </a:moveTo>
                    <a:lnTo>
                      <a:pt x="38" y="14"/>
                    </a:lnTo>
                    <a:lnTo>
                      <a:pt x="38" y="16"/>
                    </a:lnTo>
                    <a:lnTo>
                      <a:pt x="39" y="16"/>
                    </a:lnTo>
                    <a:lnTo>
                      <a:pt x="39" y="17"/>
                    </a:lnTo>
                    <a:lnTo>
                      <a:pt x="41" y="17"/>
                    </a:lnTo>
                    <a:lnTo>
                      <a:pt x="41" y="16"/>
                    </a:lnTo>
                    <a:lnTo>
                      <a:pt x="43" y="16"/>
                    </a:lnTo>
                    <a:lnTo>
                      <a:pt x="44" y="17"/>
                    </a:lnTo>
                    <a:lnTo>
                      <a:pt x="43" y="17"/>
                    </a:lnTo>
                    <a:lnTo>
                      <a:pt x="44" y="17"/>
                    </a:lnTo>
                    <a:lnTo>
                      <a:pt x="44" y="19"/>
                    </a:lnTo>
                    <a:lnTo>
                      <a:pt x="43" y="19"/>
                    </a:lnTo>
                    <a:lnTo>
                      <a:pt x="43" y="21"/>
                    </a:lnTo>
                    <a:lnTo>
                      <a:pt x="41" y="21"/>
                    </a:lnTo>
                    <a:lnTo>
                      <a:pt x="43" y="21"/>
                    </a:lnTo>
                    <a:lnTo>
                      <a:pt x="41" y="21"/>
                    </a:lnTo>
                    <a:lnTo>
                      <a:pt x="39" y="21"/>
                    </a:lnTo>
                    <a:lnTo>
                      <a:pt x="38" y="21"/>
                    </a:lnTo>
                    <a:lnTo>
                      <a:pt x="38" y="22"/>
                    </a:lnTo>
                    <a:lnTo>
                      <a:pt x="36" y="22"/>
                    </a:lnTo>
                    <a:lnTo>
                      <a:pt x="36" y="21"/>
                    </a:lnTo>
                    <a:lnTo>
                      <a:pt x="36" y="19"/>
                    </a:lnTo>
                    <a:lnTo>
                      <a:pt x="38" y="19"/>
                    </a:lnTo>
                    <a:lnTo>
                      <a:pt x="38" y="17"/>
                    </a:lnTo>
                    <a:lnTo>
                      <a:pt x="39" y="19"/>
                    </a:lnTo>
                    <a:lnTo>
                      <a:pt x="39" y="21"/>
                    </a:lnTo>
                    <a:lnTo>
                      <a:pt x="41" y="21"/>
                    </a:lnTo>
                    <a:lnTo>
                      <a:pt x="41" y="19"/>
                    </a:lnTo>
                    <a:lnTo>
                      <a:pt x="39" y="19"/>
                    </a:lnTo>
                    <a:lnTo>
                      <a:pt x="39" y="17"/>
                    </a:lnTo>
                    <a:lnTo>
                      <a:pt x="38" y="17"/>
                    </a:lnTo>
                    <a:lnTo>
                      <a:pt x="38" y="16"/>
                    </a:lnTo>
                    <a:lnTo>
                      <a:pt x="36" y="16"/>
                    </a:lnTo>
                    <a:lnTo>
                      <a:pt x="34" y="14"/>
                    </a:lnTo>
                    <a:lnTo>
                      <a:pt x="36" y="14"/>
                    </a:lnTo>
                    <a:close/>
                    <a:moveTo>
                      <a:pt x="55" y="14"/>
                    </a:moveTo>
                    <a:lnTo>
                      <a:pt x="56" y="14"/>
                    </a:lnTo>
                    <a:lnTo>
                      <a:pt x="58" y="14"/>
                    </a:lnTo>
                    <a:lnTo>
                      <a:pt x="60" y="14"/>
                    </a:lnTo>
                    <a:lnTo>
                      <a:pt x="60" y="16"/>
                    </a:lnTo>
                    <a:lnTo>
                      <a:pt x="61" y="16"/>
                    </a:lnTo>
                    <a:lnTo>
                      <a:pt x="61" y="14"/>
                    </a:lnTo>
                    <a:lnTo>
                      <a:pt x="61" y="16"/>
                    </a:lnTo>
                    <a:lnTo>
                      <a:pt x="63" y="14"/>
                    </a:lnTo>
                    <a:lnTo>
                      <a:pt x="63" y="16"/>
                    </a:lnTo>
                    <a:lnTo>
                      <a:pt x="65" y="16"/>
                    </a:lnTo>
                    <a:lnTo>
                      <a:pt x="65" y="17"/>
                    </a:lnTo>
                    <a:lnTo>
                      <a:pt x="63" y="17"/>
                    </a:lnTo>
                    <a:lnTo>
                      <a:pt x="63" y="16"/>
                    </a:lnTo>
                    <a:lnTo>
                      <a:pt x="63" y="17"/>
                    </a:lnTo>
                    <a:lnTo>
                      <a:pt x="65" y="19"/>
                    </a:lnTo>
                    <a:lnTo>
                      <a:pt x="63" y="17"/>
                    </a:lnTo>
                    <a:lnTo>
                      <a:pt x="61" y="19"/>
                    </a:lnTo>
                    <a:lnTo>
                      <a:pt x="61" y="17"/>
                    </a:lnTo>
                    <a:lnTo>
                      <a:pt x="61" y="19"/>
                    </a:lnTo>
                    <a:lnTo>
                      <a:pt x="60" y="17"/>
                    </a:lnTo>
                    <a:lnTo>
                      <a:pt x="58" y="16"/>
                    </a:lnTo>
                    <a:lnTo>
                      <a:pt x="56" y="16"/>
                    </a:lnTo>
                    <a:lnTo>
                      <a:pt x="55" y="16"/>
                    </a:lnTo>
                    <a:lnTo>
                      <a:pt x="53" y="16"/>
                    </a:lnTo>
                    <a:lnTo>
                      <a:pt x="53" y="14"/>
                    </a:lnTo>
                    <a:lnTo>
                      <a:pt x="51" y="14"/>
                    </a:lnTo>
                    <a:lnTo>
                      <a:pt x="53" y="14"/>
                    </a:lnTo>
                    <a:lnTo>
                      <a:pt x="55" y="12"/>
                    </a:lnTo>
                    <a:lnTo>
                      <a:pt x="55" y="14"/>
                    </a:lnTo>
                    <a:close/>
                    <a:moveTo>
                      <a:pt x="100" y="53"/>
                    </a:moveTo>
                    <a:lnTo>
                      <a:pt x="99" y="53"/>
                    </a:lnTo>
                    <a:lnTo>
                      <a:pt x="99" y="55"/>
                    </a:lnTo>
                    <a:lnTo>
                      <a:pt x="97" y="55"/>
                    </a:lnTo>
                    <a:lnTo>
                      <a:pt x="99" y="56"/>
                    </a:lnTo>
                    <a:lnTo>
                      <a:pt x="99" y="55"/>
                    </a:lnTo>
                    <a:lnTo>
                      <a:pt x="99" y="56"/>
                    </a:lnTo>
                    <a:lnTo>
                      <a:pt x="99" y="58"/>
                    </a:lnTo>
                    <a:lnTo>
                      <a:pt x="99" y="60"/>
                    </a:lnTo>
                    <a:lnTo>
                      <a:pt x="97" y="60"/>
                    </a:lnTo>
                    <a:lnTo>
                      <a:pt x="99" y="58"/>
                    </a:lnTo>
                    <a:lnTo>
                      <a:pt x="97" y="58"/>
                    </a:lnTo>
                    <a:lnTo>
                      <a:pt x="95" y="56"/>
                    </a:lnTo>
                    <a:lnTo>
                      <a:pt x="95" y="55"/>
                    </a:lnTo>
                    <a:lnTo>
                      <a:pt x="97" y="55"/>
                    </a:lnTo>
                    <a:lnTo>
                      <a:pt x="97" y="53"/>
                    </a:lnTo>
                    <a:lnTo>
                      <a:pt x="97" y="55"/>
                    </a:lnTo>
                    <a:lnTo>
                      <a:pt x="97" y="53"/>
                    </a:lnTo>
                    <a:lnTo>
                      <a:pt x="99" y="53"/>
                    </a:lnTo>
                    <a:lnTo>
                      <a:pt x="99" y="55"/>
                    </a:lnTo>
                    <a:lnTo>
                      <a:pt x="99" y="53"/>
                    </a:lnTo>
                    <a:lnTo>
                      <a:pt x="100" y="53"/>
                    </a:lnTo>
                    <a:close/>
                    <a:moveTo>
                      <a:pt x="53" y="63"/>
                    </a:moveTo>
                    <a:lnTo>
                      <a:pt x="55" y="63"/>
                    </a:lnTo>
                    <a:lnTo>
                      <a:pt x="56" y="63"/>
                    </a:lnTo>
                    <a:lnTo>
                      <a:pt x="56" y="65"/>
                    </a:lnTo>
                    <a:lnTo>
                      <a:pt x="56" y="67"/>
                    </a:lnTo>
                    <a:lnTo>
                      <a:pt x="56" y="68"/>
                    </a:lnTo>
                    <a:lnTo>
                      <a:pt x="55" y="68"/>
                    </a:lnTo>
                    <a:lnTo>
                      <a:pt x="55" y="70"/>
                    </a:lnTo>
                    <a:lnTo>
                      <a:pt x="55" y="68"/>
                    </a:lnTo>
                    <a:lnTo>
                      <a:pt x="55" y="67"/>
                    </a:lnTo>
                    <a:lnTo>
                      <a:pt x="55" y="65"/>
                    </a:lnTo>
                    <a:lnTo>
                      <a:pt x="55" y="67"/>
                    </a:lnTo>
                    <a:lnTo>
                      <a:pt x="55" y="65"/>
                    </a:lnTo>
                    <a:lnTo>
                      <a:pt x="55" y="63"/>
                    </a:lnTo>
                    <a:lnTo>
                      <a:pt x="53" y="63"/>
                    </a:lnTo>
                    <a:lnTo>
                      <a:pt x="53" y="62"/>
                    </a:lnTo>
                    <a:lnTo>
                      <a:pt x="53" y="63"/>
                    </a:lnTo>
                    <a:close/>
                    <a:moveTo>
                      <a:pt x="48" y="16"/>
                    </a:moveTo>
                    <a:lnTo>
                      <a:pt x="48" y="17"/>
                    </a:lnTo>
                    <a:lnTo>
                      <a:pt x="49" y="17"/>
                    </a:lnTo>
                    <a:lnTo>
                      <a:pt x="48" y="17"/>
                    </a:lnTo>
                    <a:lnTo>
                      <a:pt x="48" y="19"/>
                    </a:lnTo>
                    <a:lnTo>
                      <a:pt x="46" y="19"/>
                    </a:lnTo>
                    <a:lnTo>
                      <a:pt x="46" y="17"/>
                    </a:lnTo>
                    <a:lnTo>
                      <a:pt x="44" y="17"/>
                    </a:lnTo>
                    <a:lnTo>
                      <a:pt x="44" y="16"/>
                    </a:lnTo>
                    <a:lnTo>
                      <a:pt x="46" y="16"/>
                    </a:lnTo>
                    <a:lnTo>
                      <a:pt x="48" y="16"/>
                    </a:lnTo>
                    <a:close/>
                    <a:moveTo>
                      <a:pt x="5" y="45"/>
                    </a:moveTo>
                    <a:lnTo>
                      <a:pt x="4" y="45"/>
                    </a:lnTo>
                    <a:lnTo>
                      <a:pt x="4" y="46"/>
                    </a:lnTo>
                    <a:lnTo>
                      <a:pt x="5" y="46"/>
                    </a:lnTo>
                    <a:lnTo>
                      <a:pt x="4" y="48"/>
                    </a:lnTo>
                    <a:lnTo>
                      <a:pt x="4" y="46"/>
                    </a:lnTo>
                    <a:lnTo>
                      <a:pt x="2" y="46"/>
                    </a:lnTo>
                    <a:lnTo>
                      <a:pt x="2" y="45"/>
                    </a:lnTo>
                    <a:lnTo>
                      <a:pt x="0" y="45"/>
                    </a:lnTo>
                    <a:lnTo>
                      <a:pt x="2" y="45"/>
                    </a:lnTo>
                    <a:lnTo>
                      <a:pt x="2" y="43"/>
                    </a:lnTo>
                    <a:lnTo>
                      <a:pt x="2" y="45"/>
                    </a:lnTo>
                    <a:lnTo>
                      <a:pt x="4" y="45"/>
                    </a:lnTo>
                    <a:lnTo>
                      <a:pt x="4" y="43"/>
                    </a:lnTo>
                    <a:lnTo>
                      <a:pt x="5" y="43"/>
                    </a:lnTo>
                    <a:lnTo>
                      <a:pt x="5" y="45"/>
                    </a:lnTo>
                    <a:close/>
                    <a:moveTo>
                      <a:pt x="56" y="72"/>
                    </a:moveTo>
                    <a:lnTo>
                      <a:pt x="55" y="72"/>
                    </a:lnTo>
                    <a:lnTo>
                      <a:pt x="55" y="73"/>
                    </a:lnTo>
                    <a:lnTo>
                      <a:pt x="55" y="75"/>
                    </a:lnTo>
                    <a:lnTo>
                      <a:pt x="53" y="75"/>
                    </a:lnTo>
                    <a:lnTo>
                      <a:pt x="53" y="73"/>
                    </a:lnTo>
                    <a:lnTo>
                      <a:pt x="51" y="73"/>
                    </a:lnTo>
                    <a:lnTo>
                      <a:pt x="53" y="73"/>
                    </a:lnTo>
                    <a:lnTo>
                      <a:pt x="55" y="72"/>
                    </a:lnTo>
                    <a:lnTo>
                      <a:pt x="56" y="70"/>
                    </a:lnTo>
                    <a:lnTo>
                      <a:pt x="56" y="72"/>
                    </a:lnTo>
                    <a:close/>
                    <a:moveTo>
                      <a:pt x="85" y="63"/>
                    </a:moveTo>
                    <a:lnTo>
                      <a:pt x="85" y="65"/>
                    </a:lnTo>
                    <a:lnTo>
                      <a:pt x="83" y="67"/>
                    </a:lnTo>
                    <a:lnTo>
                      <a:pt x="82" y="67"/>
                    </a:lnTo>
                    <a:lnTo>
                      <a:pt x="80" y="67"/>
                    </a:lnTo>
                    <a:lnTo>
                      <a:pt x="82" y="67"/>
                    </a:lnTo>
                    <a:lnTo>
                      <a:pt x="82" y="65"/>
                    </a:lnTo>
                    <a:lnTo>
                      <a:pt x="83" y="67"/>
                    </a:lnTo>
                    <a:lnTo>
                      <a:pt x="85" y="65"/>
                    </a:lnTo>
                    <a:lnTo>
                      <a:pt x="83" y="65"/>
                    </a:lnTo>
                    <a:lnTo>
                      <a:pt x="85" y="65"/>
                    </a:lnTo>
                    <a:lnTo>
                      <a:pt x="83" y="63"/>
                    </a:lnTo>
                    <a:lnTo>
                      <a:pt x="85" y="63"/>
                    </a:lnTo>
                    <a:lnTo>
                      <a:pt x="85" y="62"/>
                    </a:lnTo>
                    <a:lnTo>
                      <a:pt x="85" y="63"/>
                    </a:lnTo>
                    <a:close/>
                    <a:moveTo>
                      <a:pt x="5" y="38"/>
                    </a:moveTo>
                    <a:lnTo>
                      <a:pt x="4" y="38"/>
                    </a:lnTo>
                    <a:lnTo>
                      <a:pt x="2" y="38"/>
                    </a:lnTo>
                    <a:lnTo>
                      <a:pt x="2" y="39"/>
                    </a:lnTo>
                    <a:lnTo>
                      <a:pt x="4" y="39"/>
                    </a:lnTo>
                    <a:lnTo>
                      <a:pt x="2" y="41"/>
                    </a:lnTo>
                    <a:lnTo>
                      <a:pt x="2" y="39"/>
                    </a:lnTo>
                    <a:lnTo>
                      <a:pt x="2" y="38"/>
                    </a:lnTo>
                    <a:lnTo>
                      <a:pt x="0" y="38"/>
                    </a:lnTo>
                    <a:lnTo>
                      <a:pt x="2" y="38"/>
                    </a:lnTo>
                    <a:lnTo>
                      <a:pt x="4" y="38"/>
                    </a:lnTo>
                    <a:lnTo>
                      <a:pt x="4" y="36"/>
                    </a:lnTo>
                    <a:lnTo>
                      <a:pt x="4" y="38"/>
                    </a:lnTo>
                    <a:lnTo>
                      <a:pt x="5" y="38"/>
                    </a:lnTo>
                    <a:close/>
                    <a:moveTo>
                      <a:pt x="55" y="17"/>
                    </a:moveTo>
                    <a:lnTo>
                      <a:pt x="55" y="19"/>
                    </a:lnTo>
                    <a:lnTo>
                      <a:pt x="56" y="19"/>
                    </a:lnTo>
                    <a:lnTo>
                      <a:pt x="58" y="19"/>
                    </a:lnTo>
                    <a:lnTo>
                      <a:pt x="56" y="19"/>
                    </a:lnTo>
                    <a:lnTo>
                      <a:pt x="55" y="19"/>
                    </a:lnTo>
                    <a:lnTo>
                      <a:pt x="55" y="21"/>
                    </a:lnTo>
                    <a:lnTo>
                      <a:pt x="53" y="19"/>
                    </a:lnTo>
                    <a:lnTo>
                      <a:pt x="55" y="19"/>
                    </a:lnTo>
                    <a:lnTo>
                      <a:pt x="53" y="19"/>
                    </a:lnTo>
                    <a:lnTo>
                      <a:pt x="51" y="19"/>
                    </a:lnTo>
                    <a:lnTo>
                      <a:pt x="53" y="19"/>
                    </a:lnTo>
                    <a:lnTo>
                      <a:pt x="53" y="17"/>
                    </a:lnTo>
                    <a:lnTo>
                      <a:pt x="55" y="19"/>
                    </a:lnTo>
                    <a:lnTo>
                      <a:pt x="53" y="17"/>
                    </a:lnTo>
                    <a:lnTo>
                      <a:pt x="55" y="17"/>
                    </a:lnTo>
                    <a:close/>
                    <a:moveTo>
                      <a:pt x="26" y="12"/>
                    </a:moveTo>
                    <a:lnTo>
                      <a:pt x="29" y="12"/>
                    </a:lnTo>
                    <a:lnTo>
                      <a:pt x="29" y="17"/>
                    </a:lnTo>
                    <a:lnTo>
                      <a:pt x="26" y="17"/>
                    </a:lnTo>
                    <a:lnTo>
                      <a:pt x="26" y="12"/>
                    </a:lnTo>
                    <a:close/>
                    <a:moveTo>
                      <a:pt x="17" y="53"/>
                    </a:moveTo>
                    <a:lnTo>
                      <a:pt x="17" y="55"/>
                    </a:lnTo>
                    <a:lnTo>
                      <a:pt x="15" y="55"/>
                    </a:lnTo>
                    <a:lnTo>
                      <a:pt x="14" y="53"/>
                    </a:lnTo>
                    <a:lnTo>
                      <a:pt x="15" y="53"/>
                    </a:lnTo>
                    <a:lnTo>
                      <a:pt x="15" y="51"/>
                    </a:lnTo>
                    <a:lnTo>
                      <a:pt x="17" y="53"/>
                    </a:lnTo>
                    <a:close/>
                    <a:moveTo>
                      <a:pt x="7" y="0"/>
                    </a:moveTo>
                    <a:lnTo>
                      <a:pt x="10" y="0"/>
                    </a:lnTo>
                    <a:lnTo>
                      <a:pt x="10" y="4"/>
                    </a:lnTo>
                    <a:lnTo>
                      <a:pt x="7" y="4"/>
                    </a:lnTo>
                    <a:lnTo>
                      <a:pt x="7" y="0"/>
                    </a:lnTo>
                    <a:close/>
                    <a:moveTo>
                      <a:pt x="58" y="41"/>
                    </a:moveTo>
                    <a:lnTo>
                      <a:pt x="61" y="41"/>
                    </a:lnTo>
                    <a:lnTo>
                      <a:pt x="61" y="43"/>
                    </a:lnTo>
                    <a:lnTo>
                      <a:pt x="58" y="43"/>
                    </a:lnTo>
                    <a:lnTo>
                      <a:pt x="58" y="41"/>
                    </a:lnTo>
                    <a:close/>
                    <a:moveTo>
                      <a:pt x="55" y="50"/>
                    </a:moveTo>
                    <a:lnTo>
                      <a:pt x="56" y="50"/>
                    </a:lnTo>
                    <a:lnTo>
                      <a:pt x="56" y="53"/>
                    </a:lnTo>
                    <a:lnTo>
                      <a:pt x="55" y="53"/>
                    </a:lnTo>
                    <a:lnTo>
                      <a:pt x="55" y="50"/>
                    </a:lnTo>
                    <a:close/>
                    <a:moveTo>
                      <a:pt x="21" y="17"/>
                    </a:moveTo>
                    <a:lnTo>
                      <a:pt x="24" y="17"/>
                    </a:lnTo>
                    <a:lnTo>
                      <a:pt x="24" y="21"/>
                    </a:lnTo>
                    <a:lnTo>
                      <a:pt x="21" y="21"/>
                    </a:lnTo>
                    <a:lnTo>
                      <a:pt x="21" y="17"/>
                    </a:lnTo>
                    <a:close/>
                    <a:moveTo>
                      <a:pt x="55" y="73"/>
                    </a:moveTo>
                    <a:lnTo>
                      <a:pt x="58" y="73"/>
                    </a:lnTo>
                    <a:lnTo>
                      <a:pt x="58" y="75"/>
                    </a:lnTo>
                    <a:lnTo>
                      <a:pt x="55" y="75"/>
                    </a:lnTo>
                    <a:lnTo>
                      <a:pt x="55" y="73"/>
                    </a:lnTo>
                    <a:close/>
                    <a:moveTo>
                      <a:pt x="78" y="79"/>
                    </a:moveTo>
                    <a:lnTo>
                      <a:pt x="77" y="77"/>
                    </a:lnTo>
                    <a:lnTo>
                      <a:pt x="77" y="79"/>
                    </a:lnTo>
                    <a:lnTo>
                      <a:pt x="75" y="79"/>
                    </a:lnTo>
                    <a:lnTo>
                      <a:pt x="75" y="77"/>
                    </a:lnTo>
                    <a:lnTo>
                      <a:pt x="77" y="77"/>
                    </a:lnTo>
                    <a:lnTo>
                      <a:pt x="78" y="79"/>
                    </a:lnTo>
                    <a:close/>
                    <a:moveTo>
                      <a:pt x="55" y="21"/>
                    </a:moveTo>
                    <a:lnTo>
                      <a:pt x="56" y="21"/>
                    </a:lnTo>
                    <a:lnTo>
                      <a:pt x="56" y="22"/>
                    </a:lnTo>
                    <a:lnTo>
                      <a:pt x="55" y="22"/>
                    </a:lnTo>
                    <a:lnTo>
                      <a:pt x="55" y="21"/>
                    </a:lnTo>
                    <a:close/>
                    <a:moveTo>
                      <a:pt x="4" y="0"/>
                    </a:moveTo>
                    <a:lnTo>
                      <a:pt x="7" y="0"/>
                    </a:lnTo>
                    <a:lnTo>
                      <a:pt x="7" y="2"/>
                    </a:lnTo>
                    <a:lnTo>
                      <a:pt x="4" y="2"/>
                    </a:lnTo>
                    <a:lnTo>
                      <a:pt x="4" y="0"/>
                    </a:lnTo>
                    <a:close/>
                    <a:moveTo>
                      <a:pt x="22" y="33"/>
                    </a:moveTo>
                    <a:lnTo>
                      <a:pt x="24" y="33"/>
                    </a:lnTo>
                    <a:lnTo>
                      <a:pt x="24" y="36"/>
                    </a:lnTo>
                    <a:lnTo>
                      <a:pt x="22" y="36"/>
                    </a:lnTo>
                    <a:lnTo>
                      <a:pt x="22" y="33"/>
                    </a:lnTo>
                    <a:close/>
                    <a:moveTo>
                      <a:pt x="19" y="31"/>
                    </a:moveTo>
                    <a:lnTo>
                      <a:pt x="21" y="31"/>
                    </a:lnTo>
                    <a:lnTo>
                      <a:pt x="19" y="31"/>
                    </a:lnTo>
                    <a:close/>
                    <a:moveTo>
                      <a:pt x="55" y="56"/>
                    </a:moveTo>
                    <a:lnTo>
                      <a:pt x="55" y="60"/>
                    </a:lnTo>
                    <a:lnTo>
                      <a:pt x="55" y="56"/>
                    </a:lnTo>
                    <a:close/>
                    <a:moveTo>
                      <a:pt x="55" y="17"/>
                    </a:moveTo>
                    <a:lnTo>
                      <a:pt x="58" y="17"/>
                    </a:lnTo>
                    <a:lnTo>
                      <a:pt x="58" y="19"/>
                    </a:lnTo>
                    <a:lnTo>
                      <a:pt x="55" y="19"/>
                    </a:lnTo>
                    <a:lnTo>
                      <a:pt x="55" y="17"/>
                    </a:lnTo>
                    <a:close/>
                    <a:moveTo>
                      <a:pt x="56" y="19"/>
                    </a:moveTo>
                    <a:lnTo>
                      <a:pt x="60" y="19"/>
                    </a:lnTo>
                    <a:lnTo>
                      <a:pt x="60" y="21"/>
                    </a:lnTo>
                    <a:lnTo>
                      <a:pt x="56" y="21"/>
                    </a:lnTo>
                    <a:lnTo>
                      <a:pt x="56" y="19"/>
                    </a:lnTo>
                    <a:close/>
                    <a:moveTo>
                      <a:pt x="49" y="12"/>
                    </a:moveTo>
                    <a:lnTo>
                      <a:pt x="51" y="12"/>
                    </a:lnTo>
                    <a:lnTo>
                      <a:pt x="51" y="14"/>
                    </a:lnTo>
                    <a:lnTo>
                      <a:pt x="49" y="14"/>
                    </a:lnTo>
                    <a:lnTo>
                      <a:pt x="49" y="12"/>
                    </a:lnTo>
                    <a:close/>
                    <a:moveTo>
                      <a:pt x="29" y="45"/>
                    </a:moveTo>
                    <a:lnTo>
                      <a:pt x="31" y="45"/>
                    </a:lnTo>
                    <a:lnTo>
                      <a:pt x="31" y="46"/>
                    </a:lnTo>
                    <a:lnTo>
                      <a:pt x="29" y="46"/>
                    </a:lnTo>
                    <a:lnTo>
                      <a:pt x="29" y="45"/>
                    </a:lnTo>
                    <a:close/>
                    <a:moveTo>
                      <a:pt x="58" y="21"/>
                    </a:moveTo>
                    <a:lnTo>
                      <a:pt x="60" y="21"/>
                    </a:lnTo>
                    <a:lnTo>
                      <a:pt x="60" y="22"/>
                    </a:lnTo>
                    <a:lnTo>
                      <a:pt x="58" y="22"/>
                    </a:lnTo>
                    <a:lnTo>
                      <a:pt x="58" y="21"/>
                    </a:lnTo>
                    <a:close/>
                    <a:moveTo>
                      <a:pt x="5" y="46"/>
                    </a:moveTo>
                    <a:lnTo>
                      <a:pt x="7" y="46"/>
                    </a:lnTo>
                    <a:lnTo>
                      <a:pt x="7" y="50"/>
                    </a:lnTo>
                    <a:lnTo>
                      <a:pt x="5" y="50"/>
                    </a:lnTo>
                    <a:lnTo>
                      <a:pt x="5" y="46"/>
                    </a:lnTo>
                    <a:close/>
                    <a:moveTo>
                      <a:pt x="14" y="10"/>
                    </a:moveTo>
                    <a:lnTo>
                      <a:pt x="17" y="10"/>
                    </a:lnTo>
                    <a:lnTo>
                      <a:pt x="14" y="10"/>
                    </a:lnTo>
                    <a:close/>
                    <a:moveTo>
                      <a:pt x="92" y="60"/>
                    </a:moveTo>
                    <a:lnTo>
                      <a:pt x="94" y="60"/>
                    </a:lnTo>
                    <a:lnTo>
                      <a:pt x="94" y="62"/>
                    </a:lnTo>
                    <a:lnTo>
                      <a:pt x="92" y="62"/>
                    </a:lnTo>
                    <a:lnTo>
                      <a:pt x="92" y="60"/>
                    </a:lnTo>
                    <a:close/>
                    <a:moveTo>
                      <a:pt x="95" y="53"/>
                    </a:moveTo>
                    <a:lnTo>
                      <a:pt x="99" y="53"/>
                    </a:lnTo>
                    <a:lnTo>
                      <a:pt x="95" y="53"/>
                    </a:lnTo>
                    <a:close/>
                    <a:moveTo>
                      <a:pt x="100" y="53"/>
                    </a:moveTo>
                    <a:lnTo>
                      <a:pt x="102" y="53"/>
                    </a:lnTo>
                    <a:lnTo>
                      <a:pt x="102" y="55"/>
                    </a:lnTo>
                    <a:lnTo>
                      <a:pt x="100" y="55"/>
                    </a:lnTo>
                    <a:lnTo>
                      <a:pt x="100" y="53"/>
                    </a:lnTo>
                    <a:close/>
                    <a:moveTo>
                      <a:pt x="111" y="29"/>
                    </a:moveTo>
                    <a:lnTo>
                      <a:pt x="112" y="29"/>
                    </a:lnTo>
                    <a:lnTo>
                      <a:pt x="112" y="31"/>
                    </a:lnTo>
                    <a:lnTo>
                      <a:pt x="111" y="31"/>
                    </a:lnTo>
                    <a:lnTo>
                      <a:pt x="111" y="29"/>
                    </a:lnTo>
                    <a:close/>
                    <a:moveTo>
                      <a:pt x="31" y="7"/>
                    </a:moveTo>
                    <a:lnTo>
                      <a:pt x="32" y="7"/>
                    </a:lnTo>
                    <a:lnTo>
                      <a:pt x="31" y="7"/>
                    </a:lnTo>
                    <a:close/>
                    <a:moveTo>
                      <a:pt x="15" y="4"/>
                    </a:moveTo>
                    <a:lnTo>
                      <a:pt x="17" y="4"/>
                    </a:lnTo>
                    <a:lnTo>
                      <a:pt x="17" y="5"/>
                    </a:lnTo>
                    <a:lnTo>
                      <a:pt x="15" y="5"/>
                    </a:lnTo>
                    <a:lnTo>
                      <a:pt x="15" y="4"/>
                    </a:lnTo>
                    <a:close/>
                    <a:moveTo>
                      <a:pt x="5" y="48"/>
                    </a:moveTo>
                    <a:lnTo>
                      <a:pt x="7" y="48"/>
                    </a:lnTo>
                    <a:lnTo>
                      <a:pt x="7" y="50"/>
                    </a:lnTo>
                    <a:lnTo>
                      <a:pt x="5" y="50"/>
                    </a:lnTo>
                    <a:lnTo>
                      <a:pt x="5" y="48"/>
                    </a:lnTo>
                    <a:close/>
                    <a:moveTo>
                      <a:pt x="31" y="33"/>
                    </a:moveTo>
                    <a:lnTo>
                      <a:pt x="32" y="33"/>
                    </a:lnTo>
                    <a:lnTo>
                      <a:pt x="32" y="34"/>
                    </a:lnTo>
                    <a:lnTo>
                      <a:pt x="31" y="34"/>
                    </a:lnTo>
                    <a:lnTo>
                      <a:pt x="31" y="33"/>
                    </a:lnTo>
                    <a:close/>
                    <a:moveTo>
                      <a:pt x="56" y="41"/>
                    </a:moveTo>
                    <a:lnTo>
                      <a:pt x="58" y="41"/>
                    </a:lnTo>
                    <a:lnTo>
                      <a:pt x="58" y="43"/>
                    </a:lnTo>
                    <a:lnTo>
                      <a:pt x="56" y="43"/>
                    </a:lnTo>
                    <a:lnTo>
                      <a:pt x="56" y="41"/>
                    </a:lnTo>
                    <a:close/>
                    <a:moveTo>
                      <a:pt x="49" y="19"/>
                    </a:moveTo>
                    <a:lnTo>
                      <a:pt x="51" y="19"/>
                    </a:lnTo>
                    <a:lnTo>
                      <a:pt x="51" y="21"/>
                    </a:lnTo>
                    <a:lnTo>
                      <a:pt x="49" y="21"/>
                    </a:lnTo>
                    <a:lnTo>
                      <a:pt x="49" y="19"/>
                    </a:lnTo>
                    <a:close/>
                    <a:moveTo>
                      <a:pt x="17" y="7"/>
                    </a:moveTo>
                    <a:lnTo>
                      <a:pt x="17" y="9"/>
                    </a:lnTo>
                    <a:lnTo>
                      <a:pt x="17" y="7"/>
                    </a:lnTo>
                    <a:close/>
                    <a:moveTo>
                      <a:pt x="58" y="46"/>
                    </a:moveTo>
                    <a:lnTo>
                      <a:pt x="60" y="46"/>
                    </a:lnTo>
                    <a:lnTo>
                      <a:pt x="60" y="48"/>
                    </a:lnTo>
                    <a:lnTo>
                      <a:pt x="58" y="48"/>
                    </a:lnTo>
                    <a:lnTo>
                      <a:pt x="58" y="46"/>
                    </a:lnTo>
                    <a:close/>
                    <a:moveTo>
                      <a:pt x="5" y="45"/>
                    </a:moveTo>
                    <a:lnTo>
                      <a:pt x="7" y="45"/>
                    </a:lnTo>
                    <a:lnTo>
                      <a:pt x="7" y="46"/>
                    </a:lnTo>
                    <a:lnTo>
                      <a:pt x="5" y="46"/>
                    </a:lnTo>
                    <a:lnTo>
                      <a:pt x="5" y="45"/>
                    </a:lnTo>
                    <a:close/>
                    <a:moveTo>
                      <a:pt x="95" y="48"/>
                    </a:moveTo>
                    <a:lnTo>
                      <a:pt x="95" y="50"/>
                    </a:lnTo>
                    <a:lnTo>
                      <a:pt x="95" y="48"/>
                    </a:lnTo>
                    <a:close/>
                    <a:moveTo>
                      <a:pt x="55" y="21"/>
                    </a:moveTo>
                    <a:lnTo>
                      <a:pt x="56" y="21"/>
                    </a:lnTo>
                    <a:lnTo>
                      <a:pt x="55" y="21"/>
                    </a:lnTo>
                    <a:close/>
                    <a:moveTo>
                      <a:pt x="31" y="65"/>
                    </a:moveTo>
                    <a:lnTo>
                      <a:pt x="32" y="65"/>
                    </a:lnTo>
                    <a:lnTo>
                      <a:pt x="32" y="67"/>
                    </a:lnTo>
                    <a:lnTo>
                      <a:pt x="31" y="67"/>
                    </a:lnTo>
                    <a:lnTo>
                      <a:pt x="31" y="65"/>
                    </a:lnTo>
                    <a:close/>
                    <a:moveTo>
                      <a:pt x="21" y="24"/>
                    </a:moveTo>
                    <a:lnTo>
                      <a:pt x="22" y="24"/>
                    </a:lnTo>
                    <a:lnTo>
                      <a:pt x="22" y="26"/>
                    </a:lnTo>
                    <a:lnTo>
                      <a:pt x="21" y="26"/>
                    </a:lnTo>
                    <a:lnTo>
                      <a:pt x="21" y="24"/>
                    </a:lnTo>
                    <a:close/>
                    <a:moveTo>
                      <a:pt x="10" y="41"/>
                    </a:moveTo>
                    <a:lnTo>
                      <a:pt x="10" y="43"/>
                    </a:lnTo>
                    <a:lnTo>
                      <a:pt x="10" y="41"/>
                    </a:lnTo>
                    <a:close/>
                    <a:moveTo>
                      <a:pt x="89" y="62"/>
                    </a:moveTo>
                    <a:lnTo>
                      <a:pt x="90" y="62"/>
                    </a:lnTo>
                    <a:lnTo>
                      <a:pt x="89" y="62"/>
                    </a:lnTo>
                    <a:close/>
                    <a:moveTo>
                      <a:pt x="106" y="43"/>
                    </a:moveTo>
                    <a:lnTo>
                      <a:pt x="107" y="43"/>
                    </a:lnTo>
                    <a:lnTo>
                      <a:pt x="106" y="43"/>
                    </a:lnTo>
                    <a:close/>
                    <a:moveTo>
                      <a:pt x="29" y="29"/>
                    </a:moveTo>
                    <a:lnTo>
                      <a:pt x="29" y="31"/>
                    </a:lnTo>
                    <a:lnTo>
                      <a:pt x="29" y="29"/>
                    </a:lnTo>
                    <a:close/>
                    <a:moveTo>
                      <a:pt x="78" y="62"/>
                    </a:moveTo>
                    <a:lnTo>
                      <a:pt x="80" y="62"/>
                    </a:lnTo>
                    <a:lnTo>
                      <a:pt x="78" y="62"/>
                    </a:lnTo>
                    <a:close/>
                    <a:moveTo>
                      <a:pt x="61" y="68"/>
                    </a:moveTo>
                    <a:lnTo>
                      <a:pt x="61" y="70"/>
                    </a:lnTo>
                    <a:lnTo>
                      <a:pt x="61" y="68"/>
                    </a:lnTo>
                    <a:close/>
                    <a:moveTo>
                      <a:pt x="97" y="51"/>
                    </a:moveTo>
                    <a:lnTo>
                      <a:pt x="99" y="51"/>
                    </a:lnTo>
                    <a:lnTo>
                      <a:pt x="97" y="51"/>
                    </a:lnTo>
                    <a:close/>
                    <a:moveTo>
                      <a:pt x="15" y="29"/>
                    </a:moveTo>
                    <a:lnTo>
                      <a:pt x="17" y="29"/>
                    </a:lnTo>
                    <a:lnTo>
                      <a:pt x="17" y="31"/>
                    </a:lnTo>
                    <a:lnTo>
                      <a:pt x="15" y="31"/>
                    </a:lnTo>
                    <a:lnTo>
                      <a:pt x="15" y="29"/>
                    </a:lnTo>
                    <a:close/>
                    <a:moveTo>
                      <a:pt x="111" y="43"/>
                    </a:moveTo>
                    <a:lnTo>
                      <a:pt x="112" y="43"/>
                    </a:lnTo>
                    <a:lnTo>
                      <a:pt x="111" y="43"/>
                    </a:lnTo>
                    <a:close/>
                    <a:moveTo>
                      <a:pt x="61" y="39"/>
                    </a:moveTo>
                    <a:lnTo>
                      <a:pt x="63" y="39"/>
                    </a:lnTo>
                    <a:lnTo>
                      <a:pt x="61" y="39"/>
                    </a:lnTo>
                    <a:close/>
                    <a:moveTo>
                      <a:pt x="48" y="10"/>
                    </a:moveTo>
                    <a:lnTo>
                      <a:pt x="49" y="10"/>
                    </a:lnTo>
                    <a:lnTo>
                      <a:pt x="49" y="12"/>
                    </a:lnTo>
                    <a:lnTo>
                      <a:pt x="48" y="12"/>
                    </a:lnTo>
                    <a:lnTo>
                      <a:pt x="48" y="10"/>
                    </a:lnTo>
                    <a:close/>
                    <a:moveTo>
                      <a:pt x="38" y="41"/>
                    </a:moveTo>
                    <a:lnTo>
                      <a:pt x="39" y="41"/>
                    </a:lnTo>
                    <a:lnTo>
                      <a:pt x="38" y="41"/>
                    </a:lnTo>
                    <a:close/>
                    <a:moveTo>
                      <a:pt x="56" y="48"/>
                    </a:moveTo>
                    <a:lnTo>
                      <a:pt x="58" y="48"/>
                    </a:lnTo>
                    <a:lnTo>
                      <a:pt x="56" y="48"/>
                    </a:lnTo>
                    <a:close/>
                    <a:moveTo>
                      <a:pt x="51" y="17"/>
                    </a:moveTo>
                    <a:lnTo>
                      <a:pt x="51" y="19"/>
                    </a:lnTo>
                    <a:lnTo>
                      <a:pt x="51" y="17"/>
                    </a:lnTo>
                    <a:close/>
                    <a:moveTo>
                      <a:pt x="41" y="22"/>
                    </a:moveTo>
                    <a:lnTo>
                      <a:pt x="43" y="22"/>
                    </a:lnTo>
                    <a:lnTo>
                      <a:pt x="41" y="22"/>
                    </a:lnTo>
                    <a:close/>
                    <a:moveTo>
                      <a:pt x="56" y="21"/>
                    </a:moveTo>
                    <a:lnTo>
                      <a:pt x="58" y="21"/>
                    </a:lnTo>
                    <a:lnTo>
                      <a:pt x="56" y="21"/>
                    </a:lnTo>
                    <a:close/>
                    <a:moveTo>
                      <a:pt x="49" y="19"/>
                    </a:moveTo>
                    <a:lnTo>
                      <a:pt x="49" y="21"/>
                    </a:lnTo>
                    <a:lnTo>
                      <a:pt x="49" y="19"/>
                    </a:lnTo>
                    <a:close/>
                    <a:moveTo>
                      <a:pt x="9" y="41"/>
                    </a:moveTo>
                    <a:lnTo>
                      <a:pt x="9" y="43"/>
                    </a:lnTo>
                    <a:lnTo>
                      <a:pt x="9" y="41"/>
                    </a:lnTo>
                    <a:close/>
                    <a:moveTo>
                      <a:pt x="14" y="63"/>
                    </a:moveTo>
                    <a:lnTo>
                      <a:pt x="15" y="63"/>
                    </a:lnTo>
                    <a:lnTo>
                      <a:pt x="14" y="63"/>
                    </a:lnTo>
                    <a:close/>
                    <a:moveTo>
                      <a:pt x="12" y="55"/>
                    </a:moveTo>
                    <a:lnTo>
                      <a:pt x="14" y="55"/>
                    </a:lnTo>
                    <a:lnTo>
                      <a:pt x="12" y="55"/>
                    </a:lnTo>
                    <a:close/>
                    <a:moveTo>
                      <a:pt x="58" y="51"/>
                    </a:moveTo>
                    <a:lnTo>
                      <a:pt x="58" y="53"/>
                    </a:lnTo>
                    <a:lnTo>
                      <a:pt x="58" y="51"/>
                    </a:lnTo>
                    <a:close/>
                    <a:moveTo>
                      <a:pt x="82" y="79"/>
                    </a:moveTo>
                    <a:lnTo>
                      <a:pt x="83" y="79"/>
                    </a:lnTo>
                    <a:lnTo>
                      <a:pt x="82" y="79"/>
                    </a:lnTo>
                    <a:close/>
                    <a:moveTo>
                      <a:pt x="29" y="67"/>
                    </a:moveTo>
                    <a:lnTo>
                      <a:pt x="31" y="67"/>
                    </a:lnTo>
                    <a:lnTo>
                      <a:pt x="29" y="67"/>
                    </a:lnTo>
                    <a:close/>
                    <a:moveTo>
                      <a:pt x="29" y="17"/>
                    </a:moveTo>
                    <a:lnTo>
                      <a:pt x="31" y="17"/>
                    </a:lnTo>
                    <a:lnTo>
                      <a:pt x="29" y="17"/>
                    </a:lnTo>
                    <a:close/>
                    <a:moveTo>
                      <a:pt x="4" y="34"/>
                    </a:moveTo>
                    <a:lnTo>
                      <a:pt x="4" y="36"/>
                    </a:lnTo>
                    <a:lnTo>
                      <a:pt x="4" y="34"/>
                    </a:lnTo>
                    <a:close/>
                    <a:moveTo>
                      <a:pt x="7" y="43"/>
                    </a:moveTo>
                    <a:lnTo>
                      <a:pt x="9" y="43"/>
                    </a:lnTo>
                    <a:lnTo>
                      <a:pt x="7" y="43"/>
                    </a:lnTo>
                    <a:close/>
                    <a:moveTo>
                      <a:pt x="90" y="51"/>
                    </a:moveTo>
                    <a:lnTo>
                      <a:pt x="92" y="51"/>
                    </a:lnTo>
                    <a:lnTo>
                      <a:pt x="90" y="51"/>
                    </a:lnTo>
                    <a:close/>
                    <a:moveTo>
                      <a:pt x="51" y="55"/>
                    </a:moveTo>
                    <a:lnTo>
                      <a:pt x="51" y="56"/>
                    </a:lnTo>
                    <a:lnTo>
                      <a:pt x="51" y="55"/>
                    </a:lnTo>
                    <a:close/>
                    <a:moveTo>
                      <a:pt x="22" y="63"/>
                    </a:moveTo>
                    <a:lnTo>
                      <a:pt x="22" y="65"/>
                    </a:lnTo>
                    <a:lnTo>
                      <a:pt x="22" y="63"/>
                    </a:lnTo>
                    <a:close/>
                    <a:moveTo>
                      <a:pt x="53" y="21"/>
                    </a:moveTo>
                    <a:lnTo>
                      <a:pt x="55" y="21"/>
                    </a:lnTo>
                    <a:lnTo>
                      <a:pt x="53" y="21"/>
                    </a:lnTo>
                    <a:close/>
                    <a:moveTo>
                      <a:pt x="87" y="51"/>
                    </a:moveTo>
                    <a:lnTo>
                      <a:pt x="89" y="51"/>
                    </a:lnTo>
                    <a:lnTo>
                      <a:pt x="87" y="51"/>
                    </a:lnTo>
                    <a:close/>
                    <a:moveTo>
                      <a:pt x="53" y="45"/>
                    </a:moveTo>
                    <a:lnTo>
                      <a:pt x="55" y="45"/>
                    </a:lnTo>
                    <a:lnTo>
                      <a:pt x="55" y="46"/>
                    </a:lnTo>
                    <a:lnTo>
                      <a:pt x="53" y="46"/>
                    </a:lnTo>
                    <a:lnTo>
                      <a:pt x="53" y="45"/>
                    </a:lnTo>
                    <a:close/>
                    <a:moveTo>
                      <a:pt x="87" y="48"/>
                    </a:moveTo>
                    <a:lnTo>
                      <a:pt x="87" y="50"/>
                    </a:lnTo>
                    <a:lnTo>
                      <a:pt x="87" y="4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6" name="Freeform 31">
                <a:extLst>
                  <a:ext uri="{FF2B5EF4-FFF2-40B4-BE49-F238E27FC236}">
                    <a16:creationId xmlns:a16="http://schemas.microsoft.com/office/drawing/2014/main" id="{24F8747F-DACF-ADF6-8DC0-67FCE93DA038}"/>
                  </a:ext>
                </a:extLst>
              </p:cNvPr>
              <p:cNvSpPr>
                <a:spLocks noEditPoints="1"/>
              </p:cNvSpPr>
              <p:nvPr/>
            </p:nvSpPr>
            <p:spPr bwMode="auto">
              <a:xfrm>
                <a:off x="5837483" y="2889558"/>
                <a:ext cx="28784" cy="36422"/>
              </a:xfrm>
              <a:custGeom>
                <a:avLst/>
                <a:gdLst>
                  <a:gd name="T0" fmla="*/ 95 w 98"/>
                  <a:gd name="T1" fmla="*/ 59 h 124"/>
                  <a:gd name="T2" fmla="*/ 90 w 98"/>
                  <a:gd name="T3" fmla="*/ 66 h 124"/>
                  <a:gd name="T4" fmla="*/ 86 w 98"/>
                  <a:gd name="T5" fmla="*/ 73 h 124"/>
                  <a:gd name="T6" fmla="*/ 83 w 98"/>
                  <a:gd name="T7" fmla="*/ 78 h 124"/>
                  <a:gd name="T8" fmla="*/ 80 w 98"/>
                  <a:gd name="T9" fmla="*/ 83 h 124"/>
                  <a:gd name="T10" fmla="*/ 76 w 98"/>
                  <a:gd name="T11" fmla="*/ 88 h 124"/>
                  <a:gd name="T12" fmla="*/ 73 w 98"/>
                  <a:gd name="T13" fmla="*/ 93 h 124"/>
                  <a:gd name="T14" fmla="*/ 71 w 98"/>
                  <a:gd name="T15" fmla="*/ 100 h 124"/>
                  <a:gd name="T16" fmla="*/ 68 w 98"/>
                  <a:gd name="T17" fmla="*/ 105 h 124"/>
                  <a:gd name="T18" fmla="*/ 66 w 98"/>
                  <a:gd name="T19" fmla="*/ 112 h 124"/>
                  <a:gd name="T20" fmla="*/ 64 w 98"/>
                  <a:gd name="T21" fmla="*/ 115 h 124"/>
                  <a:gd name="T22" fmla="*/ 57 w 98"/>
                  <a:gd name="T23" fmla="*/ 119 h 124"/>
                  <a:gd name="T24" fmla="*/ 52 w 98"/>
                  <a:gd name="T25" fmla="*/ 122 h 124"/>
                  <a:gd name="T26" fmla="*/ 47 w 98"/>
                  <a:gd name="T27" fmla="*/ 120 h 124"/>
                  <a:gd name="T28" fmla="*/ 42 w 98"/>
                  <a:gd name="T29" fmla="*/ 117 h 124"/>
                  <a:gd name="T30" fmla="*/ 34 w 98"/>
                  <a:gd name="T31" fmla="*/ 119 h 124"/>
                  <a:gd name="T32" fmla="*/ 27 w 98"/>
                  <a:gd name="T33" fmla="*/ 117 h 124"/>
                  <a:gd name="T34" fmla="*/ 25 w 98"/>
                  <a:gd name="T35" fmla="*/ 117 h 124"/>
                  <a:gd name="T36" fmla="*/ 20 w 98"/>
                  <a:gd name="T37" fmla="*/ 117 h 124"/>
                  <a:gd name="T38" fmla="*/ 15 w 98"/>
                  <a:gd name="T39" fmla="*/ 120 h 124"/>
                  <a:gd name="T40" fmla="*/ 12 w 98"/>
                  <a:gd name="T41" fmla="*/ 122 h 124"/>
                  <a:gd name="T42" fmla="*/ 5 w 98"/>
                  <a:gd name="T43" fmla="*/ 120 h 124"/>
                  <a:gd name="T44" fmla="*/ 0 w 98"/>
                  <a:gd name="T45" fmla="*/ 117 h 124"/>
                  <a:gd name="T46" fmla="*/ 3 w 98"/>
                  <a:gd name="T47" fmla="*/ 114 h 124"/>
                  <a:gd name="T48" fmla="*/ 6 w 98"/>
                  <a:gd name="T49" fmla="*/ 109 h 124"/>
                  <a:gd name="T50" fmla="*/ 10 w 98"/>
                  <a:gd name="T51" fmla="*/ 103 h 124"/>
                  <a:gd name="T52" fmla="*/ 12 w 98"/>
                  <a:gd name="T53" fmla="*/ 97 h 124"/>
                  <a:gd name="T54" fmla="*/ 12 w 98"/>
                  <a:gd name="T55" fmla="*/ 93 h 124"/>
                  <a:gd name="T56" fmla="*/ 12 w 98"/>
                  <a:gd name="T57" fmla="*/ 88 h 124"/>
                  <a:gd name="T58" fmla="*/ 15 w 98"/>
                  <a:gd name="T59" fmla="*/ 83 h 124"/>
                  <a:gd name="T60" fmla="*/ 18 w 98"/>
                  <a:gd name="T61" fmla="*/ 78 h 124"/>
                  <a:gd name="T62" fmla="*/ 17 w 98"/>
                  <a:gd name="T63" fmla="*/ 71 h 124"/>
                  <a:gd name="T64" fmla="*/ 15 w 98"/>
                  <a:gd name="T65" fmla="*/ 68 h 124"/>
                  <a:gd name="T66" fmla="*/ 10 w 98"/>
                  <a:gd name="T67" fmla="*/ 64 h 124"/>
                  <a:gd name="T68" fmla="*/ 6 w 98"/>
                  <a:gd name="T69" fmla="*/ 59 h 124"/>
                  <a:gd name="T70" fmla="*/ 6 w 98"/>
                  <a:gd name="T71" fmla="*/ 54 h 124"/>
                  <a:gd name="T72" fmla="*/ 5 w 98"/>
                  <a:gd name="T73" fmla="*/ 47 h 124"/>
                  <a:gd name="T74" fmla="*/ 3 w 98"/>
                  <a:gd name="T75" fmla="*/ 41 h 124"/>
                  <a:gd name="T76" fmla="*/ 3 w 98"/>
                  <a:gd name="T77" fmla="*/ 35 h 124"/>
                  <a:gd name="T78" fmla="*/ 3 w 98"/>
                  <a:gd name="T79" fmla="*/ 29 h 124"/>
                  <a:gd name="T80" fmla="*/ 6 w 98"/>
                  <a:gd name="T81" fmla="*/ 22 h 124"/>
                  <a:gd name="T82" fmla="*/ 10 w 98"/>
                  <a:gd name="T83" fmla="*/ 15 h 124"/>
                  <a:gd name="T84" fmla="*/ 15 w 98"/>
                  <a:gd name="T85" fmla="*/ 10 h 124"/>
                  <a:gd name="T86" fmla="*/ 18 w 98"/>
                  <a:gd name="T87" fmla="*/ 5 h 124"/>
                  <a:gd name="T88" fmla="*/ 22 w 98"/>
                  <a:gd name="T89" fmla="*/ 1 h 124"/>
                  <a:gd name="T90" fmla="*/ 29 w 98"/>
                  <a:gd name="T91" fmla="*/ 3 h 124"/>
                  <a:gd name="T92" fmla="*/ 34 w 98"/>
                  <a:gd name="T93" fmla="*/ 6 h 124"/>
                  <a:gd name="T94" fmla="*/ 40 w 98"/>
                  <a:gd name="T95" fmla="*/ 8 h 124"/>
                  <a:gd name="T96" fmla="*/ 44 w 98"/>
                  <a:gd name="T97" fmla="*/ 6 h 124"/>
                  <a:gd name="T98" fmla="*/ 51 w 98"/>
                  <a:gd name="T99" fmla="*/ 10 h 124"/>
                  <a:gd name="T100" fmla="*/ 56 w 98"/>
                  <a:gd name="T101" fmla="*/ 12 h 124"/>
                  <a:gd name="T102" fmla="*/ 59 w 98"/>
                  <a:gd name="T103" fmla="*/ 17 h 124"/>
                  <a:gd name="T104" fmla="*/ 66 w 98"/>
                  <a:gd name="T105" fmla="*/ 22 h 124"/>
                  <a:gd name="T106" fmla="*/ 71 w 98"/>
                  <a:gd name="T107" fmla="*/ 27 h 124"/>
                  <a:gd name="T108" fmla="*/ 74 w 98"/>
                  <a:gd name="T109" fmla="*/ 29 h 124"/>
                  <a:gd name="T110" fmla="*/ 76 w 98"/>
                  <a:gd name="T111" fmla="*/ 29 h 124"/>
                  <a:gd name="T112" fmla="*/ 80 w 98"/>
                  <a:gd name="T113" fmla="*/ 30 h 124"/>
                  <a:gd name="T114" fmla="*/ 85 w 98"/>
                  <a:gd name="T115" fmla="*/ 35 h 124"/>
                  <a:gd name="T116" fmla="*/ 88 w 98"/>
                  <a:gd name="T117" fmla="*/ 37 h 124"/>
                  <a:gd name="T118" fmla="*/ 93 w 98"/>
                  <a:gd name="T119" fmla="*/ 41 h 124"/>
                  <a:gd name="T120" fmla="*/ 95 w 98"/>
                  <a:gd name="T121" fmla="*/ 47 h 124"/>
                  <a:gd name="T122" fmla="*/ 97 w 98"/>
                  <a:gd name="T123" fmla="*/ 51 h 124"/>
                  <a:gd name="T124" fmla="*/ 22 w 98"/>
                  <a:gd name="T125"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8" h="124">
                    <a:moveTo>
                      <a:pt x="98" y="56"/>
                    </a:moveTo>
                    <a:lnTo>
                      <a:pt x="98" y="58"/>
                    </a:lnTo>
                    <a:lnTo>
                      <a:pt x="97" y="58"/>
                    </a:lnTo>
                    <a:lnTo>
                      <a:pt x="97" y="59"/>
                    </a:lnTo>
                    <a:lnTo>
                      <a:pt x="95" y="59"/>
                    </a:lnTo>
                    <a:lnTo>
                      <a:pt x="93" y="61"/>
                    </a:lnTo>
                    <a:lnTo>
                      <a:pt x="93" y="63"/>
                    </a:lnTo>
                    <a:lnTo>
                      <a:pt x="93" y="64"/>
                    </a:lnTo>
                    <a:lnTo>
                      <a:pt x="91" y="64"/>
                    </a:lnTo>
                    <a:lnTo>
                      <a:pt x="90" y="66"/>
                    </a:lnTo>
                    <a:lnTo>
                      <a:pt x="88" y="68"/>
                    </a:lnTo>
                    <a:lnTo>
                      <a:pt x="88" y="69"/>
                    </a:lnTo>
                    <a:lnTo>
                      <a:pt x="86" y="69"/>
                    </a:lnTo>
                    <a:lnTo>
                      <a:pt x="86" y="71"/>
                    </a:lnTo>
                    <a:lnTo>
                      <a:pt x="86" y="73"/>
                    </a:lnTo>
                    <a:lnTo>
                      <a:pt x="85" y="73"/>
                    </a:lnTo>
                    <a:lnTo>
                      <a:pt x="85" y="75"/>
                    </a:lnTo>
                    <a:lnTo>
                      <a:pt x="85" y="76"/>
                    </a:lnTo>
                    <a:lnTo>
                      <a:pt x="83" y="76"/>
                    </a:lnTo>
                    <a:lnTo>
                      <a:pt x="83" y="78"/>
                    </a:lnTo>
                    <a:lnTo>
                      <a:pt x="81" y="78"/>
                    </a:lnTo>
                    <a:lnTo>
                      <a:pt x="81" y="80"/>
                    </a:lnTo>
                    <a:lnTo>
                      <a:pt x="81" y="81"/>
                    </a:lnTo>
                    <a:lnTo>
                      <a:pt x="80" y="81"/>
                    </a:lnTo>
                    <a:lnTo>
                      <a:pt x="80" y="83"/>
                    </a:lnTo>
                    <a:lnTo>
                      <a:pt x="80" y="85"/>
                    </a:lnTo>
                    <a:lnTo>
                      <a:pt x="78" y="85"/>
                    </a:lnTo>
                    <a:lnTo>
                      <a:pt x="76" y="85"/>
                    </a:lnTo>
                    <a:lnTo>
                      <a:pt x="76" y="86"/>
                    </a:lnTo>
                    <a:lnTo>
                      <a:pt x="76" y="88"/>
                    </a:lnTo>
                    <a:lnTo>
                      <a:pt x="74" y="88"/>
                    </a:lnTo>
                    <a:lnTo>
                      <a:pt x="74" y="90"/>
                    </a:lnTo>
                    <a:lnTo>
                      <a:pt x="74" y="92"/>
                    </a:lnTo>
                    <a:lnTo>
                      <a:pt x="74" y="93"/>
                    </a:lnTo>
                    <a:lnTo>
                      <a:pt x="73" y="93"/>
                    </a:lnTo>
                    <a:lnTo>
                      <a:pt x="73" y="95"/>
                    </a:lnTo>
                    <a:lnTo>
                      <a:pt x="73" y="97"/>
                    </a:lnTo>
                    <a:lnTo>
                      <a:pt x="71" y="97"/>
                    </a:lnTo>
                    <a:lnTo>
                      <a:pt x="71" y="98"/>
                    </a:lnTo>
                    <a:lnTo>
                      <a:pt x="71" y="100"/>
                    </a:lnTo>
                    <a:lnTo>
                      <a:pt x="69" y="100"/>
                    </a:lnTo>
                    <a:lnTo>
                      <a:pt x="69" y="102"/>
                    </a:lnTo>
                    <a:lnTo>
                      <a:pt x="69" y="103"/>
                    </a:lnTo>
                    <a:lnTo>
                      <a:pt x="68" y="103"/>
                    </a:lnTo>
                    <a:lnTo>
                      <a:pt x="68" y="105"/>
                    </a:lnTo>
                    <a:lnTo>
                      <a:pt x="68" y="107"/>
                    </a:lnTo>
                    <a:lnTo>
                      <a:pt x="68" y="109"/>
                    </a:lnTo>
                    <a:lnTo>
                      <a:pt x="68" y="110"/>
                    </a:lnTo>
                    <a:lnTo>
                      <a:pt x="66" y="110"/>
                    </a:lnTo>
                    <a:lnTo>
                      <a:pt x="66" y="112"/>
                    </a:lnTo>
                    <a:lnTo>
                      <a:pt x="64" y="112"/>
                    </a:lnTo>
                    <a:lnTo>
                      <a:pt x="66" y="112"/>
                    </a:lnTo>
                    <a:lnTo>
                      <a:pt x="64" y="112"/>
                    </a:lnTo>
                    <a:lnTo>
                      <a:pt x="64" y="114"/>
                    </a:lnTo>
                    <a:lnTo>
                      <a:pt x="64" y="115"/>
                    </a:lnTo>
                    <a:lnTo>
                      <a:pt x="63" y="115"/>
                    </a:lnTo>
                    <a:lnTo>
                      <a:pt x="61" y="115"/>
                    </a:lnTo>
                    <a:lnTo>
                      <a:pt x="59" y="117"/>
                    </a:lnTo>
                    <a:lnTo>
                      <a:pt x="57" y="117"/>
                    </a:lnTo>
                    <a:lnTo>
                      <a:pt x="57" y="119"/>
                    </a:lnTo>
                    <a:lnTo>
                      <a:pt x="56" y="119"/>
                    </a:lnTo>
                    <a:lnTo>
                      <a:pt x="56" y="120"/>
                    </a:lnTo>
                    <a:lnTo>
                      <a:pt x="54" y="120"/>
                    </a:lnTo>
                    <a:lnTo>
                      <a:pt x="54" y="122"/>
                    </a:lnTo>
                    <a:lnTo>
                      <a:pt x="52" y="122"/>
                    </a:lnTo>
                    <a:lnTo>
                      <a:pt x="52" y="120"/>
                    </a:lnTo>
                    <a:lnTo>
                      <a:pt x="51" y="120"/>
                    </a:lnTo>
                    <a:lnTo>
                      <a:pt x="49" y="120"/>
                    </a:lnTo>
                    <a:lnTo>
                      <a:pt x="49" y="119"/>
                    </a:lnTo>
                    <a:lnTo>
                      <a:pt x="47" y="120"/>
                    </a:lnTo>
                    <a:lnTo>
                      <a:pt x="46" y="120"/>
                    </a:lnTo>
                    <a:lnTo>
                      <a:pt x="44" y="120"/>
                    </a:lnTo>
                    <a:lnTo>
                      <a:pt x="44" y="119"/>
                    </a:lnTo>
                    <a:lnTo>
                      <a:pt x="44" y="117"/>
                    </a:lnTo>
                    <a:lnTo>
                      <a:pt x="42" y="117"/>
                    </a:lnTo>
                    <a:lnTo>
                      <a:pt x="40" y="117"/>
                    </a:lnTo>
                    <a:lnTo>
                      <a:pt x="39" y="117"/>
                    </a:lnTo>
                    <a:lnTo>
                      <a:pt x="37" y="117"/>
                    </a:lnTo>
                    <a:lnTo>
                      <a:pt x="35" y="119"/>
                    </a:lnTo>
                    <a:lnTo>
                      <a:pt x="34" y="119"/>
                    </a:lnTo>
                    <a:lnTo>
                      <a:pt x="32" y="119"/>
                    </a:lnTo>
                    <a:lnTo>
                      <a:pt x="32" y="117"/>
                    </a:lnTo>
                    <a:lnTo>
                      <a:pt x="30" y="117"/>
                    </a:lnTo>
                    <a:lnTo>
                      <a:pt x="29" y="117"/>
                    </a:lnTo>
                    <a:lnTo>
                      <a:pt x="27" y="117"/>
                    </a:lnTo>
                    <a:lnTo>
                      <a:pt x="27" y="115"/>
                    </a:lnTo>
                    <a:lnTo>
                      <a:pt x="25" y="115"/>
                    </a:lnTo>
                    <a:lnTo>
                      <a:pt x="23" y="115"/>
                    </a:lnTo>
                    <a:lnTo>
                      <a:pt x="23" y="117"/>
                    </a:lnTo>
                    <a:lnTo>
                      <a:pt x="25" y="117"/>
                    </a:lnTo>
                    <a:lnTo>
                      <a:pt x="23" y="117"/>
                    </a:lnTo>
                    <a:lnTo>
                      <a:pt x="22" y="117"/>
                    </a:lnTo>
                    <a:lnTo>
                      <a:pt x="22" y="119"/>
                    </a:lnTo>
                    <a:lnTo>
                      <a:pt x="20" y="119"/>
                    </a:lnTo>
                    <a:lnTo>
                      <a:pt x="20" y="117"/>
                    </a:lnTo>
                    <a:lnTo>
                      <a:pt x="20" y="119"/>
                    </a:lnTo>
                    <a:lnTo>
                      <a:pt x="20" y="120"/>
                    </a:lnTo>
                    <a:lnTo>
                      <a:pt x="18" y="120"/>
                    </a:lnTo>
                    <a:lnTo>
                      <a:pt x="17" y="120"/>
                    </a:lnTo>
                    <a:lnTo>
                      <a:pt x="15" y="120"/>
                    </a:lnTo>
                    <a:lnTo>
                      <a:pt x="15" y="122"/>
                    </a:lnTo>
                    <a:lnTo>
                      <a:pt x="15" y="124"/>
                    </a:lnTo>
                    <a:lnTo>
                      <a:pt x="13" y="124"/>
                    </a:lnTo>
                    <a:lnTo>
                      <a:pt x="13" y="122"/>
                    </a:lnTo>
                    <a:lnTo>
                      <a:pt x="12" y="122"/>
                    </a:lnTo>
                    <a:lnTo>
                      <a:pt x="10" y="122"/>
                    </a:lnTo>
                    <a:lnTo>
                      <a:pt x="8" y="122"/>
                    </a:lnTo>
                    <a:lnTo>
                      <a:pt x="6" y="122"/>
                    </a:lnTo>
                    <a:lnTo>
                      <a:pt x="6" y="120"/>
                    </a:lnTo>
                    <a:lnTo>
                      <a:pt x="5" y="120"/>
                    </a:lnTo>
                    <a:lnTo>
                      <a:pt x="3" y="120"/>
                    </a:lnTo>
                    <a:lnTo>
                      <a:pt x="1" y="119"/>
                    </a:lnTo>
                    <a:lnTo>
                      <a:pt x="0" y="119"/>
                    </a:lnTo>
                    <a:lnTo>
                      <a:pt x="1" y="117"/>
                    </a:lnTo>
                    <a:lnTo>
                      <a:pt x="0" y="117"/>
                    </a:lnTo>
                    <a:lnTo>
                      <a:pt x="1" y="115"/>
                    </a:lnTo>
                    <a:lnTo>
                      <a:pt x="1" y="117"/>
                    </a:lnTo>
                    <a:lnTo>
                      <a:pt x="1" y="115"/>
                    </a:lnTo>
                    <a:lnTo>
                      <a:pt x="1" y="114"/>
                    </a:lnTo>
                    <a:lnTo>
                      <a:pt x="3" y="114"/>
                    </a:lnTo>
                    <a:lnTo>
                      <a:pt x="3" y="112"/>
                    </a:lnTo>
                    <a:lnTo>
                      <a:pt x="5" y="112"/>
                    </a:lnTo>
                    <a:lnTo>
                      <a:pt x="5" y="110"/>
                    </a:lnTo>
                    <a:lnTo>
                      <a:pt x="6" y="110"/>
                    </a:lnTo>
                    <a:lnTo>
                      <a:pt x="6" y="109"/>
                    </a:lnTo>
                    <a:lnTo>
                      <a:pt x="6" y="107"/>
                    </a:lnTo>
                    <a:lnTo>
                      <a:pt x="8" y="107"/>
                    </a:lnTo>
                    <a:lnTo>
                      <a:pt x="8" y="105"/>
                    </a:lnTo>
                    <a:lnTo>
                      <a:pt x="8" y="103"/>
                    </a:lnTo>
                    <a:lnTo>
                      <a:pt x="10" y="103"/>
                    </a:lnTo>
                    <a:lnTo>
                      <a:pt x="10" y="102"/>
                    </a:lnTo>
                    <a:lnTo>
                      <a:pt x="12" y="102"/>
                    </a:lnTo>
                    <a:lnTo>
                      <a:pt x="12" y="100"/>
                    </a:lnTo>
                    <a:lnTo>
                      <a:pt x="12" y="98"/>
                    </a:lnTo>
                    <a:lnTo>
                      <a:pt x="12" y="97"/>
                    </a:lnTo>
                    <a:lnTo>
                      <a:pt x="12" y="95"/>
                    </a:lnTo>
                    <a:lnTo>
                      <a:pt x="13" y="95"/>
                    </a:lnTo>
                    <a:lnTo>
                      <a:pt x="12" y="93"/>
                    </a:lnTo>
                    <a:lnTo>
                      <a:pt x="13" y="93"/>
                    </a:lnTo>
                    <a:lnTo>
                      <a:pt x="12" y="93"/>
                    </a:lnTo>
                    <a:lnTo>
                      <a:pt x="12" y="92"/>
                    </a:lnTo>
                    <a:lnTo>
                      <a:pt x="12" y="90"/>
                    </a:lnTo>
                    <a:lnTo>
                      <a:pt x="12" y="88"/>
                    </a:lnTo>
                    <a:lnTo>
                      <a:pt x="12" y="90"/>
                    </a:lnTo>
                    <a:lnTo>
                      <a:pt x="12" y="88"/>
                    </a:lnTo>
                    <a:lnTo>
                      <a:pt x="12" y="86"/>
                    </a:lnTo>
                    <a:lnTo>
                      <a:pt x="13" y="86"/>
                    </a:lnTo>
                    <a:lnTo>
                      <a:pt x="13" y="85"/>
                    </a:lnTo>
                    <a:lnTo>
                      <a:pt x="13" y="83"/>
                    </a:lnTo>
                    <a:lnTo>
                      <a:pt x="15" y="83"/>
                    </a:lnTo>
                    <a:lnTo>
                      <a:pt x="17" y="83"/>
                    </a:lnTo>
                    <a:lnTo>
                      <a:pt x="17" y="81"/>
                    </a:lnTo>
                    <a:lnTo>
                      <a:pt x="17" y="80"/>
                    </a:lnTo>
                    <a:lnTo>
                      <a:pt x="18" y="80"/>
                    </a:lnTo>
                    <a:lnTo>
                      <a:pt x="18" y="78"/>
                    </a:lnTo>
                    <a:lnTo>
                      <a:pt x="18" y="76"/>
                    </a:lnTo>
                    <a:lnTo>
                      <a:pt x="18" y="75"/>
                    </a:lnTo>
                    <a:lnTo>
                      <a:pt x="18" y="73"/>
                    </a:lnTo>
                    <a:lnTo>
                      <a:pt x="18" y="71"/>
                    </a:lnTo>
                    <a:lnTo>
                      <a:pt x="17" y="71"/>
                    </a:lnTo>
                    <a:lnTo>
                      <a:pt x="17" y="73"/>
                    </a:lnTo>
                    <a:lnTo>
                      <a:pt x="17" y="71"/>
                    </a:lnTo>
                    <a:lnTo>
                      <a:pt x="15" y="71"/>
                    </a:lnTo>
                    <a:lnTo>
                      <a:pt x="15" y="69"/>
                    </a:lnTo>
                    <a:lnTo>
                      <a:pt x="15" y="68"/>
                    </a:lnTo>
                    <a:lnTo>
                      <a:pt x="15" y="66"/>
                    </a:lnTo>
                    <a:lnTo>
                      <a:pt x="13" y="66"/>
                    </a:lnTo>
                    <a:lnTo>
                      <a:pt x="12" y="66"/>
                    </a:lnTo>
                    <a:lnTo>
                      <a:pt x="12" y="64"/>
                    </a:lnTo>
                    <a:lnTo>
                      <a:pt x="10" y="64"/>
                    </a:lnTo>
                    <a:lnTo>
                      <a:pt x="10" y="63"/>
                    </a:lnTo>
                    <a:lnTo>
                      <a:pt x="8" y="63"/>
                    </a:lnTo>
                    <a:lnTo>
                      <a:pt x="8" y="61"/>
                    </a:lnTo>
                    <a:lnTo>
                      <a:pt x="8" y="59"/>
                    </a:lnTo>
                    <a:lnTo>
                      <a:pt x="6" y="59"/>
                    </a:lnTo>
                    <a:lnTo>
                      <a:pt x="6" y="58"/>
                    </a:lnTo>
                    <a:lnTo>
                      <a:pt x="6" y="56"/>
                    </a:lnTo>
                    <a:lnTo>
                      <a:pt x="8" y="56"/>
                    </a:lnTo>
                    <a:lnTo>
                      <a:pt x="8" y="54"/>
                    </a:lnTo>
                    <a:lnTo>
                      <a:pt x="6" y="54"/>
                    </a:lnTo>
                    <a:lnTo>
                      <a:pt x="5" y="54"/>
                    </a:lnTo>
                    <a:lnTo>
                      <a:pt x="5" y="52"/>
                    </a:lnTo>
                    <a:lnTo>
                      <a:pt x="5" y="51"/>
                    </a:lnTo>
                    <a:lnTo>
                      <a:pt x="5" y="49"/>
                    </a:lnTo>
                    <a:lnTo>
                      <a:pt x="5" y="47"/>
                    </a:lnTo>
                    <a:lnTo>
                      <a:pt x="3" y="47"/>
                    </a:lnTo>
                    <a:lnTo>
                      <a:pt x="3" y="46"/>
                    </a:lnTo>
                    <a:lnTo>
                      <a:pt x="3" y="44"/>
                    </a:lnTo>
                    <a:lnTo>
                      <a:pt x="3" y="42"/>
                    </a:lnTo>
                    <a:lnTo>
                      <a:pt x="3" y="41"/>
                    </a:lnTo>
                    <a:lnTo>
                      <a:pt x="5" y="41"/>
                    </a:lnTo>
                    <a:lnTo>
                      <a:pt x="5" y="39"/>
                    </a:lnTo>
                    <a:lnTo>
                      <a:pt x="3" y="39"/>
                    </a:lnTo>
                    <a:lnTo>
                      <a:pt x="3" y="37"/>
                    </a:lnTo>
                    <a:lnTo>
                      <a:pt x="3" y="35"/>
                    </a:lnTo>
                    <a:lnTo>
                      <a:pt x="3" y="34"/>
                    </a:lnTo>
                    <a:lnTo>
                      <a:pt x="3" y="32"/>
                    </a:lnTo>
                    <a:lnTo>
                      <a:pt x="3" y="30"/>
                    </a:lnTo>
                    <a:lnTo>
                      <a:pt x="1" y="29"/>
                    </a:lnTo>
                    <a:lnTo>
                      <a:pt x="3" y="29"/>
                    </a:lnTo>
                    <a:lnTo>
                      <a:pt x="3" y="27"/>
                    </a:lnTo>
                    <a:lnTo>
                      <a:pt x="3" y="25"/>
                    </a:lnTo>
                    <a:lnTo>
                      <a:pt x="5" y="23"/>
                    </a:lnTo>
                    <a:lnTo>
                      <a:pt x="5" y="22"/>
                    </a:lnTo>
                    <a:lnTo>
                      <a:pt x="6" y="22"/>
                    </a:lnTo>
                    <a:lnTo>
                      <a:pt x="6" y="20"/>
                    </a:lnTo>
                    <a:lnTo>
                      <a:pt x="8" y="18"/>
                    </a:lnTo>
                    <a:lnTo>
                      <a:pt x="8" y="17"/>
                    </a:lnTo>
                    <a:lnTo>
                      <a:pt x="10" y="17"/>
                    </a:lnTo>
                    <a:lnTo>
                      <a:pt x="10" y="15"/>
                    </a:lnTo>
                    <a:lnTo>
                      <a:pt x="12" y="15"/>
                    </a:lnTo>
                    <a:lnTo>
                      <a:pt x="13" y="13"/>
                    </a:lnTo>
                    <a:lnTo>
                      <a:pt x="13" y="12"/>
                    </a:lnTo>
                    <a:lnTo>
                      <a:pt x="15" y="12"/>
                    </a:lnTo>
                    <a:lnTo>
                      <a:pt x="15" y="10"/>
                    </a:lnTo>
                    <a:lnTo>
                      <a:pt x="17" y="10"/>
                    </a:lnTo>
                    <a:lnTo>
                      <a:pt x="17" y="8"/>
                    </a:lnTo>
                    <a:lnTo>
                      <a:pt x="18" y="8"/>
                    </a:lnTo>
                    <a:lnTo>
                      <a:pt x="18" y="6"/>
                    </a:lnTo>
                    <a:lnTo>
                      <a:pt x="18" y="5"/>
                    </a:lnTo>
                    <a:lnTo>
                      <a:pt x="18" y="3"/>
                    </a:lnTo>
                    <a:lnTo>
                      <a:pt x="18" y="1"/>
                    </a:lnTo>
                    <a:lnTo>
                      <a:pt x="20" y="1"/>
                    </a:lnTo>
                    <a:lnTo>
                      <a:pt x="20" y="0"/>
                    </a:lnTo>
                    <a:lnTo>
                      <a:pt x="22" y="1"/>
                    </a:lnTo>
                    <a:lnTo>
                      <a:pt x="23" y="1"/>
                    </a:lnTo>
                    <a:lnTo>
                      <a:pt x="25" y="1"/>
                    </a:lnTo>
                    <a:lnTo>
                      <a:pt x="27" y="1"/>
                    </a:lnTo>
                    <a:lnTo>
                      <a:pt x="27" y="3"/>
                    </a:lnTo>
                    <a:lnTo>
                      <a:pt x="29" y="3"/>
                    </a:lnTo>
                    <a:lnTo>
                      <a:pt x="30" y="3"/>
                    </a:lnTo>
                    <a:lnTo>
                      <a:pt x="30" y="5"/>
                    </a:lnTo>
                    <a:lnTo>
                      <a:pt x="32" y="5"/>
                    </a:lnTo>
                    <a:lnTo>
                      <a:pt x="34" y="5"/>
                    </a:lnTo>
                    <a:lnTo>
                      <a:pt x="34" y="6"/>
                    </a:lnTo>
                    <a:lnTo>
                      <a:pt x="35" y="6"/>
                    </a:lnTo>
                    <a:lnTo>
                      <a:pt x="37" y="6"/>
                    </a:lnTo>
                    <a:lnTo>
                      <a:pt x="39" y="6"/>
                    </a:lnTo>
                    <a:lnTo>
                      <a:pt x="40" y="6"/>
                    </a:lnTo>
                    <a:lnTo>
                      <a:pt x="40" y="8"/>
                    </a:lnTo>
                    <a:lnTo>
                      <a:pt x="42" y="8"/>
                    </a:lnTo>
                    <a:lnTo>
                      <a:pt x="44" y="8"/>
                    </a:lnTo>
                    <a:lnTo>
                      <a:pt x="42" y="8"/>
                    </a:lnTo>
                    <a:lnTo>
                      <a:pt x="42" y="6"/>
                    </a:lnTo>
                    <a:lnTo>
                      <a:pt x="44" y="6"/>
                    </a:lnTo>
                    <a:lnTo>
                      <a:pt x="44" y="8"/>
                    </a:lnTo>
                    <a:lnTo>
                      <a:pt x="46" y="8"/>
                    </a:lnTo>
                    <a:lnTo>
                      <a:pt x="47" y="8"/>
                    </a:lnTo>
                    <a:lnTo>
                      <a:pt x="49" y="10"/>
                    </a:lnTo>
                    <a:lnTo>
                      <a:pt x="51" y="10"/>
                    </a:lnTo>
                    <a:lnTo>
                      <a:pt x="52" y="12"/>
                    </a:lnTo>
                    <a:lnTo>
                      <a:pt x="52" y="10"/>
                    </a:lnTo>
                    <a:lnTo>
                      <a:pt x="54" y="10"/>
                    </a:lnTo>
                    <a:lnTo>
                      <a:pt x="54" y="12"/>
                    </a:lnTo>
                    <a:lnTo>
                      <a:pt x="56" y="12"/>
                    </a:lnTo>
                    <a:lnTo>
                      <a:pt x="56" y="13"/>
                    </a:lnTo>
                    <a:lnTo>
                      <a:pt x="57" y="13"/>
                    </a:lnTo>
                    <a:lnTo>
                      <a:pt x="57" y="15"/>
                    </a:lnTo>
                    <a:lnTo>
                      <a:pt x="59" y="15"/>
                    </a:lnTo>
                    <a:lnTo>
                      <a:pt x="59" y="17"/>
                    </a:lnTo>
                    <a:lnTo>
                      <a:pt x="61" y="17"/>
                    </a:lnTo>
                    <a:lnTo>
                      <a:pt x="61" y="18"/>
                    </a:lnTo>
                    <a:lnTo>
                      <a:pt x="63" y="18"/>
                    </a:lnTo>
                    <a:lnTo>
                      <a:pt x="64" y="20"/>
                    </a:lnTo>
                    <a:lnTo>
                      <a:pt x="66" y="22"/>
                    </a:lnTo>
                    <a:lnTo>
                      <a:pt x="68" y="23"/>
                    </a:lnTo>
                    <a:lnTo>
                      <a:pt x="69" y="23"/>
                    </a:lnTo>
                    <a:lnTo>
                      <a:pt x="69" y="25"/>
                    </a:lnTo>
                    <a:lnTo>
                      <a:pt x="71" y="25"/>
                    </a:lnTo>
                    <a:lnTo>
                      <a:pt x="71" y="27"/>
                    </a:lnTo>
                    <a:lnTo>
                      <a:pt x="73" y="27"/>
                    </a:lnTo>
                    <a:lnTo>
                      <a:pt x="73" y="29"/>
                    </a:lnTo>
                    <a:lnTo>
                      <a:pt x="74" y="29"/>
                    </a:lnTo>
                    <a:lnTo>
                      <a:pt x="73" y="29"/>
                    </a:lnTo>
                    <a:lnTo>
                      <a:pt x="74" y="29"/>
                    </a:lnTo>
                    <a:lnTo>
                      <a:pt x="74" y="27"/>
                    </a:lnTo>
                    <a:lnTo>
                      <a:pt x="76" y="27"/>
                    </a:lnTo>
                    <a:lnTo>
                      <a:pt x="76" y="29"/>
                    </a:lnTo>
                    <a:lnTo>
                      <a:pt x="78" y="29"/>
                    </a:lnTo>
                    <a:lnTo>
                      <a:pt x="76" y="29"/>
                    </a:lnTo>
                    <a:lnTo>
                      <a:pt x="78" y="30"/>
                    </a:lnTo>
                    <a:lnTo>
                      <a:pt x="76" y="30"/>
                    </a:lnTo>
                    <a:lnTo>
                      <a:pt x="78" y="32"/>
                    </a:lnTo>
                    <a:lnTo>
                      <a:pt x="78" y="30"/>
                    </a:lnTo>
                    <a:lnTo>
                      <a:pt x="80" y="30"/>
                    </a:lnTo>
                    <a:lnTo>
                      <a:pt x="80" y="32"/>
                    </a:lnTo>
                    <a:lnTo>
                      <a:pt x="81" y="32"/>
                    </a:lnTo>
                    <a:lnTo>
                      <a:pt x="81" y="34"/>
                    </a:lnTo>
                    <a:lnTo>
                      <a:pt x="83" y="34"/>
                    </a:lnTo>
                    <a:lnTo>
                      <a:pt x="85" y="35"/>
                    </a:lnTo>
                    <a:lnTo>
                      <a:pt x="86" y="35"/>
                    </a:lnTo>
                    <a:lnTo>
                      <a:pt x="86" y="37"/>
                    </a:lnTo>
                    <a:lnTo>
                      <a:pt x="86" y="39"/>
                    </a:lnTo>
                    <a:lnTo>
                      <a:pt x="88" y="39"/>
                    </a:lnTo>
                    <a:lnTo>
                      <a:pt x="88" y="37"/>
                    </a:lnTo>
                    <a:lnTo>
                      <a:pt x="90" y="37"/>
                    </a:lnTo>
                    <a:lnTo>
                      <a:pt x="91" y="37"/>
                    </a:lnTo>
                    <a:lnTo>
                      <a:pt x="91" y="39"/>
                    </a:lnTo>
                    <a:lnTo>
                      <a:pt x="93" y="39"/>
                    </a:lnTo>
                    <a:lnTo>
                      <a:pt x="93" y="41"/>
                    </a:lnTo>
                    <a:lnTo>
                      <a:pt x="93" y="42"/>
                    </a:lnTo>
                    <a:lnTo>
                      <a:pt x="93" y="44"/>
                    </a:lnTo>
                    <a:lnTo>
                      <a:pt x="95" y="44"/>
                    </a:lnTo>
                    <a:lnTo>
                      <a:pt x="95" y="46"/>
                    </a:lnTo>
                    <a:lnTo>
                      <a:pt x="95" y="47"/>
                    </a:lnTo>
                    <a:lnTo>
                      <a:pt x="97" y="46"/>
                    </a:lnTo>
                    <a:lnTo>
                      <a:pt x="95" y="47"/>
                    </a:lnTo>
                    <a:lnTo>
                      <a:pt x="95" y="49"/>
                    </a:lnTo>
                    <a:lnTo>
                      <a:pt x="97" y="49"/>
                    </a:lnTo>
                    <a:lnTo>
                      <a:pt x="97" y="51"/>
                    </a:lnTo>
                    <a:lnTo>
                      <a:pt x="97" y="52"/>
                    </a:lnTo>
                    <a:lnTo>
                      <a:pt x="98" y="52"/>
                    </a:lnTo>
                    <a:lnTo>
                      <a:pt x="98" y="54"/>
                    </a:lnTo>
                    <a:lnTo>
                      <a:pt x="98" y="56"/>
                    </a:lnTo>
                    <a:close/>
                    <a:moveTo>
                      <a:pt x="22" y="0"/>
                    </a:moveTo>
                    <a:lnTo>
                      <a:pt x="23" y="0"/>
                    </a:lnTo>
                    <a:lnTo>
                      <a:pt x="23" y="1"/>
                    </a:lnTo>
                    <a:lnTo>
                      <a:pt x="22" y="1"/>
                    </a:lnTo>
                    <a:lnTo>
                      <a:pt x="22"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2" name="Freeform 32">
                <a:extLst>
                  <a:ext uri="{FF2B5EF4-FFF2-40B4-BE49-F238E27FC236}">
                    <a16:creationId xmlns:a16="http://schemas.microsoft.com/office/drawing/2014/main" id="{06672731-41A3-3FF1-75F2-190314A020FB}"/>
                  </a:ext>
                </a:extLst>
              </p:cNvPr>
              <p:cNvSpPr>
                <a:spLocks noEditPoints="1"/>
              </p:cNvSpPr>
              <p:nvPr/>
            </p:nvSpPr>
            <p:spPr bwMode="auto">
              <a:xfrm>
                <a:off x="5765520" y="2821415"/>
                <a:ext cx="3819" cy="5581"/>
              </a:xfrm>
              <a:custGeom>
                <a:avLst/>
                <a:gdLst>
                  <a:gd name="T0" fmla="*/ 5 w 13"/>
                  <a:gd name="T1" fmla="*/ 11 h 19"/>
                  <a:gd name="T2" fmla="*/ 7 w 13"/>
                  <a:gd name="T3" fmla="*/ 11 h 19"/>
                  <a:gd name="T4" fmla="*/ 7 w 13"/>
                  <a:gd name="T5" fmla="*/ 12 h 19"/>
                  <a:gd name="T6" fmla="*/ 7 w 13"/>
                  <a:gd name="T7" fmla="*/ 14 h 19"/>
                  <a:gd name="T8" fmla="*/ 7 w 13"/>
                  <a:gd name="T9" fmla="*/ 16 h 19"/>
                  <a:gd name="T10" fmla="*/ 5 w 13"/>
                  <a:gd name="T11" fmla="*/ 17 h 19"/>
                  <a:gd name="T12" fmla="*/ 3 w 13"/>
                  <a:gd name="T13" fmla="*/ 17 h 19"/>
                  <a:gd name="T14" fmla="*/ 3 w 13"/>
                  <a:gd name="T15" fmla="*/ 19 h 19"/>
                  <a:gd name="T16" fmla="*/ 3 w 13"/>
                  <a:gd name="T17" fmla="*/ 17 h 19"/>
                  <a:gd name="T18" fmla="*/ 3 w 13"/>
                  <a:gd name="T19" fmla="*/ 19 h 19"/>
                  <a:gd name="T20" fmla="*/ 3 w 13"/>
                  <a:gd name="T21" fmla="*/ 17 h 19"/>
                  <a:gd name="T22" fmla="*/ 3 w 13"/>
                  <a:gd name="T23" fmla="*/ 19 h 19"/>
                  <a:gd name="T24" fmla="*/ 2 w 13"/>
                  <a:gd name="T25" fmla="*/ 17 h 19"/>
                  <a:gd name="T26" fmla="*/ 2 w 13"/>
                  <a:gd name="T27" fmla="*/ 19 h 19"/>
                  <a:gd name="T28" fmla="*/ 0 w 13"/>
                  <a:gd name="T29" fmla="*/ 19 h 19"/>
                  <a:gd name="T30" fmla="*/ 2 w 13"/>
                  <a:gd name="T31" fmla="*/ 17 h 19"/>
                  <a:gd name="T32" fmla="*/ 2 w 13"/>
                  <a:gd name="T33" fmla="*/ 16 h 19"/>
                  <a:gd name="T34" fmla="*/ 2 w 13"/>
                  <a:gd name="T35" fmla="*/ 14 h 19"/>
                  <a:gd name="T36" fmla="*/ 3 w 13"/>
                  <a:gd name="T37" fmla="*/ 12 h 19"/>
                  <a:gd name="T38" fmla="*/ 3 w 13"/>
                  <a:gd name="T39" fmla="*/ 11 h 19"/>
                  <a:gd name="T40" fmla="*/ 5 w 13"/>
                  <a:gd name="T41" fmla="*/ 11 h 19"/>
                  <a:gd name="T42" fmla="*/ 10 w 13"/>
                  <a:gd name="T43" fmla="*/ 0 h 19"/>
                  <a:gd name="T44" fmla="*/ 13 w 13"/>
                  <a:gd name="T45" fmla="*/ 0 h 19"/>
                  <a:gd name="T46" fmla="*/ 13 w 13"/>
                  <a:gd name="T47" fmla="*/ 4 h 19"/>
                  <a:gd name="T48" fmla="*/ 10 w 13"/>
                  <a:gd name="T49" fmla="*/ 4 h 19"/>
                  <a:gd name="T50" fmla="*/ 10 w 13"/>
                  <a:gd name="T51" fmla="*/ 0 h 19"/>
                  <a:gd name="T52" fmla="*/ 7 w 13"/>
                  <a:gd name="T53" fmla="*/ 7 h 19"/>
                  <a:gd name="T54" fmla="*/ 7 w 13"/>
                  <a:gd name="T55" fmla="*/ 9 h 19"/>
                  <a:gd name="T56" fmla="*/ 7 w 13"/>
                  <a:gd name="T57" fmla="*/ 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 h="19">
                    <a:moveTo>
                      <a:pt x="5" y="11"/>
                    </a:moveTo>
                    <a:lnTo>
                      <a:pt x="7" y="11"/>
                    </a:lnTo>
                    <a:lnTo>
                      <a:pt x="7" y="12"/>
                    </a:lnTo>
                    <a:lnTo>
                      <a:pt x="7" y="14"/>
                    </a:lnTo>
                    <a:lnTo>
                      <a:pt x="7" y="16"/>
                    </a:lnTo>
                    <a:lnTo>
                      <a:pt x="5" y="17"/>
                    </a:lnTo>
                    <a:lnTo>
                      <a:pt x="3" y="17"/>
                    </a:lnTo>
                    <a:lnTo>
                      <a:pt x="3" y="19"/>
                    </a:lnTo>
                    <a:lnTo>
                      <a:pt x="3" y="17"/>
                    </a:lnTo>
                    <a:lnTo>
                      <a:pt x="3" y="19"/>
                    </a:lnTo>
                    <a:lnTo>
                      <a:pt x="3" y="17"/>
                    </a:lnTo>
                    <a:lnTo>
                      <a:pt x="3" y="19"/>
                    </a:lnTo>
                    <a:lnTo>
                      <a:pt x="2" y="17"/>
                    </a:lnTo>
                    <a:lnTo>
                      <a:pt x="2" y="19"/>
                    </a:lnTo>
                    <a:lnTo>
                      <a:pt x="0" y="19"/>
                    </a:lnTo>
                    <a:lnTo>
                      <a:pt x="2" y="17"/>
                    </a:lnTo>
                    <a:lnTo>
                      <a:pt x="2" y="16"/>
                    </a:lnTo>
                    <a:lnTo>
                      <a:pt x="2" y="14"/>
                    </a:lnTo>
                    <a:lnTo>
                      <a:pt x="3" y="12"/>
                    </a:lnTo>
                    <a:lnTo>
                      <a:pt x="3" y="11"/>
                    </a:lnTo>
                    <a:lnTo>
                      <a:pt x="5" y="11"/>
                    </a:lnTo>
                    <a:close/>
                    <a:moveTo>
                      <a:pt x="10" y="0"/>
                    </a:moveTo>
                    <a:lnTo>
                      <a:pt x="13" y="0"/>
                    </a:lnTo>
                    <a:lnTo>
                      <a:pt x="13" y="4"/>
                    </a:lnTo>
                    <a:lnTo>
                      <a:pt x="10" y="4"/>
                    </a:lnTo>
                    <a:lnTo>
                      <a:pt x="10" y="0"/>
                    </a:lnTo>
                    <a:close/>
                    <a:moveTo>
                      <a:pt x="7" y="7"/>
                    </a:moveTo>
                    <a:lnTo>
                      <a:pt x="7" y="9"/>
                    </a:lnTo>
                    <a:lnTo>
                      <a:pt x="7" y="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8" name="Freeform 35">
                <a:extLst>
                  <a:ext uri="{FF2B5EF4-FFF2-40B4-BE49-F238E27FC236}">
                    <a16:creationId xmlns:a16="http://schemas.microsoft.com/office/drawing/2014/main" id="{2C2C04CE-0F63-47A7-AC2F-3E7C6D314921}"/>
                  </a:ext>
                </a:extLst>
              </p:cNvPr>
              <p:cNvSpPr>
                <a:spLocks noEditPoints="1"/>
              </p:cNvSpPr>
              <p:nvPr/>
            </p:nvSpPr>
            <p:spPr bwMode="auto">
              <a:xfrm>
                <a:off x="5769340" y="2861949"/>
                <a:ext cx="42589" cy="72842"/>
              </a:xfrm>
              <a:custGeom>
                <a:avLst/>
                <a:gdLst>
                  <a:gd name="T0" fmla="*/ 140 w 145"/>
                  <a:gd name="T1" fmla="*/ 112 h 248"/>
                  <a:gd name="T2" fmla="*/ 138 w 145"/>
                  <a:gd name="T3" fmla="*/ 117 h 248"/>
                  <a:gd name="T4" fmla="*/ 128 w 145"/>
                  <a:gd name="T5" fmla="*/ 119 h 248"/>
                  <a:gd name="T6" fmla="*/ 118 w 145"/>
                  <a:gd name="T7" fmla="*/ 128 h 248"/>
                  <a:gd name="T8" fmla="*/ 116 w 145"/>
                  <a:gd name="T9" fmla="*/ 140 h 248"/>
                  <a:gd name="T10" fmla="*/ 114 w 145"/>
                  <a:gd name="T11" fmla="*/ 153 h 248"/>
                  <a:gd name="T12" fmla="*/ 123 w 145"/>
                  <a:gd name="T13" fmla="*/ 165 h 248"/>
                  <a:gd name="T14" fmla="*/ 128 w 145"/>
                  <a:gd name="T15" fmla="*/ 177 h 248"/>
                  <a:gd name="T16" fmla="*/ 133 w 145"/>
                  <a:gd name="T17" fmla="*/ 192 h 248"/>
                  <a:gd name="T18" fmla="*/ 128 w 145"/>
                  <a:gd name="T19" fmla="*/ 199 h 248"/>
                  <a:gd name="T20" fmla="*/ 119 w 145"/>
                  <a:gd name="T21" fmla="*/ 206 h 248"/>
                  <a:gd name="T22" fmla="*/ 118 w 145"/>
                  <a:gd name="T23" fmla="*/ 214 h 248"/>
                  <a:gd name="T24" fmla="*/ 118 w 145"/>
                  <a:gd name="T25" fmla="*/ 226 h 248"/>
                  <a:gd name="T26" fmla="*/ 106 w 145"/>
                  <a:gd name="T27" fmla="*/ 231 h 248"/>
                  <a:gd name="T28" fmla="*/ 99 w 145"/>
                  <a:gd name="T29" fmla="*/ 240 h 248"/>
                  <a:gd name="T30" fmla="*/ 94 w 145"/>
                  <a:gd name="T31" fmla="*/ 245 h 248"/>
                  <a:gd name="T32" fmla="*/ 84 w 145"/>
                  <a:gd name="T33" fmla="*/ 245 h 248"/>
                  <a:gd name="T34" fmla="*/ 70 w 145"/>
                  <a:gd name="T35" fmla="*/ 238 h 248"/>
                  <a:gd name="T36" fmla="*/ 62 w 145"/>
                  <a:gd name="T37" fmla="*/ 231 h 248"/>
                  <a:gd name="T38" fmla="*/ 57 w 145"/>
                  <a:gd name="T39" fmla="*/ 220 h 248"/>
                  <a:gd name="T40" fmla="*/ 51 w 145"/>
                  <a:gd name="T41" fmla="*/ 208 h 248"/>
                  <a:gd name="T42" fmla="*/ 48 w 145"/>
                  <a:gd name="T43" fmla="*/ 192 h 248"/>
                  <a:gd name="T44" fmla="*/ 51 w 145"/>
                  <a:gd name="T45" fmla="*/ 180 h 248"/>
                  <a:gd name="T46" fmla="*/ 53 w 145"/>
                  <a:gd name="T47" fmla="*/ 172 h 248"/>
                  <a:gd name="T48" fmla="*/ 58 w 145"/>
                  <a:gd name="T49" fmla="*/ 162 h 248"/>
                  <a:gd name="T50" fmla="*/ 60 w 145"/>
                  <a:gd name="T51" fmla="*/ 152 h 248"/>
                  <a:gd name="T52" fmla="*/ 57 w 145"/>
                  <a:gd name="T53" fmla="*/ 141 h 248"/>
                  <a:gd name="T54" fmla="*/ 46 w 145"/>
                  <a:gd name="T55" fmla="*/ 138 h 248"/>
                  <a:gd name="T56" fmla="*/ 46 w 145"/>
                  <a:gd name="T57" fmla="*/ 128 h 248"/>
                  <a:gd name="T58" fmla="*/ 43 w 145"/>
                  <a:gd name="T59" fmla="*/ 112 h 248"/>
                  <a:gd name="T60" fmla="*/ 31 w 145"/>
                  <a:gd name="T61" fmla="*/ 112 h 248"/>
                  <a:gd name="T62" fmla="*/ 0 w 145"/>
                  <a:gd name="T63" fmla="*/ 89 h 248"/>
                  <a:gd name="T64" fmla="*/ 9 w 145"/>
                  <a:gd name="T65" fmla="*/ 77 h 248"/>
                  <a:gd name="T66" fmla="*/ 7 w 145"/>
                  <a:gd name="T67" fmla="*/ 66 h 248"/>
                  <a:gd name="T68" fmla="*/ 16 w 145"/>
                  <a:gd name="T69" fmla="*/ 61 h 248"/>
                  <a:gd name="T70" fmla="*/ 24 w 145"/>
                  <a:gd name="T71" fmla="*/ 58 h 248"/>
                  <a:gd name="T72" fmla="*/ 36 w 145"/>
                  <a:gd name="T73" fmla="*/ 51 h 248"/>
                  <a:gd name="T74" fmla="*/ 29 w 145"/>
                  <a:gd name="T75" fmla="*/ 46 h 248"/>
                  <a:gd name="T76" fmla="*/ 26 w 145"/>
                  <a:gd name="T77" fmla="*/ 32 h 248"/>
                  <a:gd name="T78" fmla="*/ 38 w 145"/>
                  <a:gd name="T79" fmla="*/ 22 h 248"/>
                  <a:gd name="T80" fmla="*/ 50 w 145"/>
                  <a:gd name="T81" fmla="*/ 10 h 248"/>
                  <a:gd name="T82" fmla="*/ 53 w 145"/>
                  <a:gd name="T83" fmla="*/ 5 h 248"/>
                  <a:gd name="T84" fmla="*/ 63 w 145"/>
                  <a:gd name="T85" fmla="*/ 9 h 248"/>
                  <a:gd name="T86" fmla="*/ 79 w 145"/>
                  <a:gd name="T87" fmla="*/ 17 h 248"/>
                  <a:gd name="T88" fmla="*/ 91 w 145"/>
                  <a:gd name="T89" fmla="*/ 32 h 248"/>
                  <a:gd name="T90" fmla="*/ 99 w 145"/>
                  <a:gd name="T91" fmla="*/ 44 h 248"/>
                  <a:gd name="T92" fmla="*/ 96 w 145"/>
                  <a:gd name="T93" fmla="*/ 61 h 248"/>
                  <a:gd name="T94" fmla="*/ 94 w 145"/>
                  <a:gd name="T95" fmla="*/ 73 h 248"/>
                  <a:gd name="T96" fmla="*/ 97 w 145"/>
                  <a:gd name="T97" fmla="*/ 61 h 248"/>
                  <a:gd name="T98" fmla="*/ 111 w 145"/>
                  <a:gd name="T99" fmla="*/ 58 h 248"/>
                  <a:gd name="T100" fmla="*/ 125 w 145"/>
                  <a:gd name="T101" fmla="*/ 66 h 248"/>
                  <a:gd name="T102" fmla="*/ 135 w 145"/>
                  <a:gd name="T103" fmla="*/ 75 h 248"/>
                  <a:gd name="T104" fmla="*/ 145 w 145"/>
                  <a:gd name="T105" fmla="*/ 87 h 248"/>
                  <a:gd name="T106" fmla="*/ 99 w 145"/>
                  <a:gd name="T107" fmla="*/ 56 h 248"/>
                  <a:gd name="T108" fmla="*/ 102 w 145"/>
                  <a:gd name="T109" fmla="*/ 53 h 248"/>
                  <a:gd name="T110" fmla="*/ 101 w 145"/>
                  <a:gd name="T111" fmla="*/ 53 h 248"/>
                  <a:gd name="T112" fmla="*/ 99 w 145"/>
                  <a:gd name="T113" fmla="*/ 49 h 248"/>
                  <a:gd name="T114" fmla="*/ 97 w 145"/>
                  <a:gd name="T115" fmla="*/ 53 h 248"/>
                  <a:gd name="T116" fmla="*/ 97 w 145"/>
                  <a:gd name="T117" fmla="*/ 60 h 248"/>
                  <a:gd name="T118" fmla="*/ 94 w 145"/>
                  <a:gd name="T119" fmla="*/ 6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5" h="248">
                    <a:moveTo>
                      <a:pt x="143" y="97"/>
                    </a:moveTo>
                    <a:lnTo>
                      <a:pt x="143" y="99"/>
                    </a:lnTo>
                    <a:lnTo>
                      <a:pt x="142" y="100"/>
                    </a:lnTo>
                    <a:lnTo>
                      <a:pt x="142" y="102"/>
                    </a:lnTo>
                    <a:lnTo>
                      <a:pt x="140" y="104"/>
                    </a:lnTo>
                    <a:lnTo>
                      <a:pt x="140" y="106"/>
                    </a:lnTo>
                    <a:lnTo>
                      <a:pt x="140" y="107"/>
                    </a:lnTo>
                    <a:lnTo>
                      <a:pt x="138" y="107"/>
                    </a:lnTo>
                    <a:lnTo>
                      <a:pt x="138" y="109"/>
                    </a:lnTo>
                    <a:lnTo>
                      <a:pt x="140" y="109"/>
                    </a:lnTo>
                    <a:lnTo>
                      <a:pt x="140" y="111"/>
                    </a:lnTo>
                    <a:lnTo>
                      <a:pt x="140" y="112"/>
                    </a:lnTo>
                    <a:lnTo>
                      <a:pt x="140" y="111"/>
                    </a:lnTo>
                    <a:lnTo>
                      <a:pt x="142" y="111"/>
                    </a:lnTo>
                    <a:lnTo>
                      <a:pt x="142" y="112"/>
                    </a:lnTo>
                    <a:lnTo>
                      <a:pt x="143" y="112"/>
                    </a:lnTo>
                    <a:lnTo>
                      <a:pt x="143" y="114"/>
                    </a:lnTo>
                    <a:lnTo>
                      <a:pt x="142" y="114"/>
                    </a:lnTo>
                    <a:lnTo>
                      <a:pt x="142" y="116"/>
                    </a:lnTo>
                    <a:lnTo>
                      <a:pt x="142" y="114"/>
                    </a:lnTo>
                    <a:lnTo>
                      <a:pt x="140" y="114"/>
                    </a:lnTo>
                    <a:lnTo>
                      <a:pt x="138" y="114"/>
                    </a:lnTo>
                    <a:lnTo>
                      <a:pt x="138" y="116"/>
                    </a:lnTo>
                    <a:lnTo>
                      <a:pt x="138" y="117"/>
                    </a:lnTo>
                    <a:lnTo>
                      <a:pt x="140" y="117"/>
                    </a:lnTo>
                    <a:lnTo>
                      <a:pt x="140" y="119"/>
                    </a:lnTo>
                    <a:lnTo>
                      <a:pt x="138" y="119"/>
                    </a:lnTo>
                    <a:lnTo>
                      <a:pt x="136" y="119"/>
                    </a:lnTo>
                    <a:lnTo>
                      <a:pt x="135" y="119"/>
                    </a:lnTo>
                    <a:lnTo>
                      <a:pt x="135" y="121"/>
                    </a:lnTo>
                    <a:lnTo>
                      <a:pt x="135" y="119"/>
                    </a:lnTo>
                    <a:lnTo>
                      <a:pt x="133" y="119"/>
                    </a:lnTo>
                    <a:lnTo>
                      <a:pt x="133" y="121"/>
                    </a:lnTo>
                    <a:lnTo>
                      <a:pt x="131" y="119"/>
                    </a:lnTo>
                    <a:lnTo>
                      <a:pt x="130" y="119"/>
                    </a:lnTo>
                    <a:lnTo>
                      <a:pt x="128" y="119"/>
                    </a:lnTo>
                    <a:lnTo>
                      <a:pt x="128" y="121"/>
                    </a:lnTo>
                    <a:lnTo>
                      <a:pt x="126" y="119"/>
                    </a:lnTo>
                    <a:lnTo>
                      <a:pt x="125" y="119"/>
                    </a:lnTo>
                    <a:lnTo>
                      <a:pt x="125" y="121"/>
                    </a:lnTo>
                    <a:lnTo>
                      <a:pt x="123" y="121"/>
                    </a:lnTo>
                    <a:lnTo>
                      <a:pt x="123" y="123"/>
                    </a:lnTo>
                    <a:lnTo>
                      <a:pt x="121" y="123"/>
                    </a:lnTo>
                    <a:lnTo>
                      <a:pt x="119" y="123"/>
                    </a:lnTo>
                    <a:lnTo>
                      <a:pt x="119" y="124"/>
                    </a:lnTo>
                    <a:lnTo>
                      <a:pt x="118" y="124"/>
                    </a:lnTo>
                    <a:lnTo>
                      <a:pt x="118" y="126"/>
                    </a:lnTo>
                    <a:lnTo>
                      <a:pt x="118" y="128"/>
                    </a:lnTo>
                    <a:lnTo>
                      <a:pt x="119" y="128"/>
                    </a:lnTo>
                    <a:lnTo>
                      <a:pt x="119" y="129"/>
                    </a:lnTo>
                    <a:lnTo>
                      <a:pt x="121" y="129"/>
                    </a:lnTo>
                    <a:lnTo>
                      <a:pt x="121" y="131"/>
                    </a:lnTo>
                    <a:lnTo>
                      <a:pt x="121" y="133"/>
                    </a:lnTo>
                    <a:lnTo>
                      <a:pt x="119" y="133"/>
                    </a:lnTo>
                    <a:lnTo>
                      <a:pt x="119" y="135"/>
                    </a:lnTo>
                    <a:lnTo>
                      <a:pt x="119" y="136"/>
                    </a:lnTo>
                    <a:lnTo>
                      <a:pt x="118" y="136"/>
                    </a:lnTo>
                    <a:lnTo>
                      <a:pt x="118" y="138"/>
                    </a:lnTo>
                    <a:lnTo>
                      <a:pt x="118" y="140"/>
                    </a:lnTo>
                    <a:lnTo>
                      <a:pt x="116" y="140"/>
                    </a:lnTo>
                    <a:lnTo>
                      <a:pt x="116" y="141"/>
                    </a:lnTo>
                    <a:lnTo>
                      <a:pt x="118" y="141"/>
                    </a:lnTo>
                    <a:lnTo>
                      <a:pt x="118" y="143"/>
                    </a:lnTo>
                    <a:lnTo>
                      <a:pt x="116" y="143"/>
                    </a:lnTo>
                    <a:lnTo>
                      <a:pt x="116" y="145"/>
                    </a:lnTo>
                    <a:lnTo>
                      <a:pt x="114" y="145"/>
                    </a:lnTo>
                    <a:lnTo>
                      <a:pt x="114" y="146"/>
                    </a:lnTo>
                    <a:lnTo>
                      <a:pt x="114" y="148"/>
                    </a:lnTo>
                    <a:lnTo>
                      <a:pt x="113" y="148"/>
                    </a:lnTo>
                    <a:lnTo>
                      <a:pt x="114" y="150"/>
                    </a:lnTo>
                    <a:lnTo>
                      <a:pt x="114" y="152"/>
                    </a:lnTo>
                    <a:lnTo>
                      <a:pt x="114" y="153"/>
                    </a:lnTo>
                    <a:lnTo>
                      <a:pt x="114" y="155"/>
                    </a:lnTo>
                    <a:lnTo>
                      <a:pt x="116" y="155"/>
                    </a:lnTo>
                    <a:lnTo>
                      <a:pt x="116" y="157"/>
                    </a:lnTo>
                    <a:lnTo>
                      <a:pt x="118" y="157"/>
                    </a:lnTo>
                    <a:lnTo>
                      <a:pt x="118" y="158"/>
                    </a:lnTo>
                    <a:lnTo>
                      <a:pt x="119" y="158"/>
                    </a:lnTo>
                    <a:lnTo>
                      <a:pt x="119" y="160"/>
                    </a:lnTo>
                    <a:lnTo>
                      <a:pt x="119" y="162"/>
                    </a:lnTo>
                    <a:lnTo>
                      <a:pt x="121" y="162"/>
                    </a:lnTo>
                    <a:lnTo>
                      <a:pt x="121" y="163"/>
                    </a:lnTo>
                    <a:lnTo>
                      <a:pt x="121" y="165"/>
                    </a:lnTo>
                    <a:lnTo>
                      <a:pt x="123" y="165"/>
                    </a:lnTo>
                    <a:lnTo>
                      <a:pt x="123" y="167"/>
                    </a:lnTo>
                    <a:lnTo>
                      <a:pt x="125" y="167"/>
                    </a:lnTo>
                    <a:lnTo>
                      <a:pt x="125" y="169"/>
                    </a:lnTo>
                    <a:lnTo>
                      <a:pt x="126" y="169"/>
                    </a:lnTo>
                    <a:lnTo>
                      <a:pt x="128" y="169"/>
                    </a:lnTo>
                    <a:lnTo>
                      <a:pt x="128" y="170"/>
                    </a:lnTo>
                    <a:lnTo>
                      <a:pt x="126" y="170"/>
                    </a:lnTo>
                    <a:lnTo>
                      <a:pt x="126" y="172"/>
                    </a:lnTo>
                    <a:lnTo>
                      <a:pt x="126" y="174"/>
                    </a:lnTo>
                    <a:lnTo>
                      <a:pt x="126" y="175"/>
                    </a:lnTo>
                    <a:lnTo>
                      <a:pt x="128" y="175"/>
                    </a:lnTo>
                    <a:lnTo>
                      <a:pt x="128" y="177"/>
                    </a:lnTo>
                    <a:lnTo>
                      <a:pt x="130" y="177"/>
                    </a:lnTo>
                    <a:lnTo>
                      <a:pt x="128" y="179"/>
                    </a:lnTo>
                    <a:lnTo>
                      <a:pt x="128" y="180"/>
                    </a:lnTo>
                    <a:lnTo>
                      <a:pt x="128" y="182"/>
                    </a:lnTo>
                    <a:lnTo>
                      <a:pt x="128" y="184"/>
                    </a:lnTo>
                    <a:lnTo>
                      <a:pt x="130" y="184"/>
                    </a:lnTo>
                    <a:lnTo>
                      <a:pt x="130" y="186"/>
                    </a:lnTo>
                    <a:lnTo>
                      <a:pt x="131" y="187"/>
                    </a:lnTo>
                    <a:lnTo>
                      <a:pt x="133" y="187"/>
                    </a:lnTo>
                    <a:lnTo>
                      <a:pt x="133" y="189"/>
                    </a:lnTo>
                    <a:lnTo>
                      <a:pt x="133" y="191"/>
                    </a:lnTo>
                    <a:lnTo>
                      <a:pt x="133" y="192"/>
                    </a:lnTo>
                    <a:lnTo>
                      <a:pt x="133" y="191"/>
                    </a:lnTo>
                    <a:lnTo>
                      <a:pt x="133" y="192"/>
                    </a:lnTo>
                    <a:lnTo>
                      <a:pt x="135" y="191"/>
                    </a:lnTo>
                    <a:lnTo>
                      <a:pt x="135" y="192"/>
                    </a:lnTo>
                    <a:lnTo>
                      <a:pt x="135" y="194"/>
                    </a:lnTo>
                    <a:lnTo>
                      <a:pt x="135" y="196"/>
                    </a:lnTo>
                    <a:lnTo>
                      <a:pt x="133" y="196"/>
                    </a:lnTo>
                    <a:lnTo>
                      <a:pt x="133" y="197"/>
                    </a:lnTo>
                    <a:lnTo>
                      <a:pt x="131" y="197"/>
                    </a:lnTo>
                    <a:lnTo>
                      <a:pt x="130" y="197"/>
                    </a:lnTo>
                    <a:lnTo>
                      <a:pt x="130" y="199"/>
                    </a:lnTo>
                    <a:lnTo>
                      <a:pt x="128" y="199"/>
                    </a:lnTo>
                    <a:lnTo>
                      <a:pt x="128" y="197"/>
                    </a:lnTo>
                    <a:lnTo>
                      <a:pt x="128" y="199"/>
                    </a:lnTo>
                    <a:lnTo>
                      <a:pt x="128" y="201"/>
                    </a:lnTo>
                    <a:lnTo>
                      <a:pt x="126" y="199"/>
                    </a:lnTo>
                    <a:lnTo>
                      <a:pt x="126" y="201"/>
                    </a:lnTo>
                    <a:lnTo>
                      <a:pt x="125" y="201"/>
                    </a:lnTo>
                    <a:lnTo>
                      <a:pt x="123" y="201"/>
                    </a:lnTo>
                    <a:lnTo>
                      <a:pt x="123" y="203"/>
                    </a:lnTo>
                    <a:lnTo>
                      <a:pt x="123" y="204"/>
                    </a:lnTo>
                    <a:lnTo>
                      <a:pt x="123" y="206"/>
                    </a:lnTo>
                    <a:lnTo>
                      <a:pt x="121" y="206"/>
                    </a:lnTo>
                    <a:lnTo>
                      <a:pt x="119" y="206"/>
                    </a:lnTo>
                    <a:lnTo>
                      <a:pt x="119" y="208"/>
                    </a:lnTo>
                    <a:lnTo>
                      <a:pt x="118" y="208"/>
                    </a:lnTo>
                    <a:lnTo>
                      <a:pt x="118" y="209"/>
                    </a:lnTo>
                    <a:lnTo>
                      <a:pt x="119" y="209"/>
                    </a:lnTo>
                    <a:lnTo>
                      <a:pt x="119" y="208"/>
                    </a:lnTo>
                    <a:lnTo>
                      <a:pt x="121" y="209"/>
                    </a:lnTo>
                    <a:lnTo>
                      <a:pt x="119" y="209"/>
                    </a:lnTo>
                    <a:lnTo>
                      <a:pt x="119" y="211"/>
                    </a:lnTo>
                    <a:lnTo>
                      <a:pt x="118" y="211"/>
                    </a:lnTo>
                    <a:lnTo>
                      <a:pt x="119" y="213"/>
                    </a:lnTo>
                    <a:lnTo>
                      <a:pt x="118" y="213"/>
                    </a:lnTo>
                    <a:lnTo>
                      <a:pt x="118" y="214"/>
                    </a:lnTo>
                    <a:lnTo>
                      <a:pt x="118" y="216"/>
                    </a:lnTo>
                    <a:lnTo>
                      <a:pt x="119" y="216"/>
                    </a:lnTo>
                    <a:lnTo>
                      <a:pt x="118" y="218"/>
                    </a:lnTo>
                    <a:lnTo>
                      <a:pt x="119" y="218"/>
                    </a:lnTo>
                    <a:lnTo>
                      <a:pt x="118" y="218"/>
                    </a:lnTo>
                    <a:lnTo>
                      <a:pt x="118" y="220"/>
                    </a:lnTo>
                    <a:lnTo>
                      <a:pt x="119" y="220"/>
                    </a:lnTo>
                    <a:lnTo>
                      <a:pt x="118" y="220"/>
                    </a:lnTo>
                    <a:lnTo>
                      <a:pt x="118" y="221"/>
                    </a:lnTo>
                    <a:lnTo>
                      <a:pt x="118" y="223"/>
                    </a:lnTo>
                    <a:lnTo>
                      <a:pt x="118" y="225"/>
                    </a:lnTo>
                    <a:lnTo>
                      <a:pt x="118" y="226"/>
                    </a:lnTo>
                    <a:lnTo>
                      <a:pt x="118" y="228"/>
                    </a:lnTo>
                    <a:lnTo>
                      <a:pt x="116" y="228"/>
                    </a:lnTo>
                    <a:lnTo>
                      <a:pt x="114" y="228"/>
                    </a:lnTo>
                    <a:lnTo>
                      <a:pt x="113" y="228"/>
                    </a:lnTo>
                    <a:lnTo>
                      <a:pt x="111" y="228"/>
                    </a:lnTo>
                    <a:lnTo>
                      <a:pt x="109" y="228"/>
                    </a:lnTo>
                    <a:lnTo>
                      <a:pt x="108" y="228"/>
                    </a:lnTo>
                    <a:lnTo>
                      <a:pt x="108" y="230"/>
                    </a:lnTo>
                    <a:lnTo>
                      <a:pt x="108" y="228"/>
                    </a:lnTo>
                    <a:lnTo>
                      <a:pt x="108" y="230"/>
                    </a:lnTo>
                    <a:lnTo>
                      <a:pt x="108" y="231"/>
                    </a:lnTo>
                    <a:lnTo>
                      <a:pt x="106" y="231"/>
                    </a:lnTo>
                    <a:lnTo>
                      <a:pt x="106" y="233"/>
                    </a:lnTo>
                    <a:lnTo>
                      <a:pt x="104" y="233"/>
                    </a:lnTo>
                    <a:lnTo>
                      <a:pt x="104" y="235"/>
                    </a:lnTo>
                    <a:lnTo>
                      <a:pt x="104" y="237"/>
                    </a:lnTo>
                    <a:lnTo>
                      <a:pt x="102" y="237"/>
                    </a:lnTo>
                    <a:lnTo>
                      <a:pt x="102" y="238"/>
                    </a:lnTo>
                    <a:lnTo>
                      <a:pt x="102" y="240"/>
                    </a:lnTo>
                    <a:lnTo>
                      <a:pt x="101" y="238"/>
                    </a:lnTo>
                    <a:lnTo>
                      <a:pt x="101" y="240"/>
                    </a:lnTo>
                    <a:lnTo>
                      <a:pt x="99" y="240"/>
                    </a:lnTo>
                    <a:lnTo>
                      <a:pt x="97" y="240"/>
                    </a:lnTo>
                    <a:lnTo>
                      <a:pt x="99" y="240"/>
                    </a:lnTo>
                    <a:lnTo>
                      <a:pt x="97" y="242"/>
                    </a:lnTo>
                    <a:lnTo>
                      <a:pt x="99" y="242"/>
                    </a:lnTo>
                    <a:lnTo>
                      <a:pt x="99" y="243"/>
                    </a:lnTo>
                    <a:lnTo>
                      <a:pt x="99" y="245"/>
                    </a:lnTo>
                    <a:lnTo>
                      <a:pt x="99" y="247"/>
                    </a:lnTo>
                    <a:lnTo>
                      <a:pt x="97" y="245"/>
                    </a:lnTo>
                    <a:lnTo>
                      <a:pt x="97" y="247"/>
                    </a:lnTo>
                    <a:lnTo>
                      <a:pt x="97" y="245"/>
                    </a:lnTo>
                    <a:lnTo>
                      <a:pt x="96" y="245"/>
                    </a:lnTo>
                    <a:lnTo>
                      <a:pt x="96" y="247"/>
                    </a:lnTo>
                    <a:lnTo>
                      <a:pt x="96" y="245"/>
                    </a:lnTo>
                    <a:lnTo>
                      <a:pt x="94" y="245"/>
                    </a:lnTo>
                    <a:lnTo>
                      <a:pt x="92" y="245"/>
                    </a:lnTo>
                    <a:lnTo>
                      <a:pt x="91" y="245"/>
                    </a:lnTo>
                    <a:lnTo>
                      <a:pt x="91" y="247"/>
                    </a:lnTo>
                    <a:lnTo>
                      <a:pt x="91" y="248"/>
                    </a:lnTo>
                    <a:lnTo>
                      <a:pt x="89" y="248"/>
                    </a:lnTo>
                    <a:lnTo>
                      <a:pt x="87" y="248"/>
                    </a:lnTo>
                    <a:lnTo>
                      <a:pt x="85" y="248"/>
                    </a:lnTo>
                    <a:lnTo>
                      <a:pt x="85" y="247"/>
                    </a:lnTo>
                    <a:lnTo>
                      <a:pt x="84" y="247"/>
                    </a:lnTo>
                    <a:lnTo>
                      <a:pt x="85" y="247"/>
                    </a:lnTo>
                    <a:lnTo>
                      <a:pt x="85" y="245"/>
                    </a:lnTo>
                    <a:lnTo>
                      <a:pt x="84" y="245"/>
                    </a:lnTo>
                    <a:lnTo>
                      <a:pt x="82" y="245"/>
                    </a:lnTo>
                    <a:lnTo>
                      <a:pt x="82" y="243"/>
                    </a:lnTo>
                    <a:lnTo>
                      <a:pt x="80" y="243"/>
                    </a:lnTo>
                    <a:lnTo>
                      <a:pt x="79" y="243"/>
                    </a:lnTo>
                    <a:lnTo>
                      <a:pt x="77" y="243"/>
                    </a:lnTo>
                    <a:lnTo>
                      <a:pt x="75" y="243"/>
                    </a:lnTo>
                    <a:lnTo>
                      <a:pt x="75" y="242"/>
                    </a:lnTo>
                    <a:lnTo>
                      <a:pt x="74" y="242"/>
                    </a:lnTo>
                    <a:lnTo>
                      <a:pt x="72" y="242"/>
                    </a:lnTo>
                    <a:lnTo>
                      <a:pt x="72" y="240"/>
                    </a:lnTo>
                    <a:lnTo>
                      <a:pt x="70" y="240"/>
                    </a:lnTo>
                    <a:lnTo>
                      <a:pt x="70" y="238"/>
                    </a:lnTo>
                    <a:lnTo>
                      <a:pt x="68" y="238"/>
                    </a:lnTo>
                    <a:lnTo>
                      <a:pt x="68" y="237"/>
                    </a:lnTo>
                    <a:lnTo>
                      <a:pt x="67" y="237"/>
                    </a:lnTo>
                    <a:lnTo>
                      <a:pt x="67" y="235"/>
                    </a:lnTo>
                    <a:lnTo>
                      <a:pt x="65" y="235"/>
                    </a:lnTo>
                    <a:lnTo>
                      <a:pt x="65" y="233"/>
                    </a:lnTo>
                    <a:lnTo>
                      <a:pt x="65" y="231"/>
                    </a:lnTo>
                    <a:lnTo>
                      <a:pt x="65" y="233"/>
                    </a:lnTo>
                    <a:lnTo>
                      <a:pt x="63" y="231"/>
                    </a:lnTo>
                    <a:lnTo>
                      <a:pt x="63" y="230"/>
                    </a:lnTo>
                    <a:lnTo>
                      <a:pt x="62" y="230"/>
                    </a:lnTo>
                    <a:lnTo>
                      <a:pt x="62" y="231"/>
                    </a:lnTo>
                    <a:lnTo>
                      <a:pt x="60" y="231"/>
                    </a:lnTo>
                    <a:lnTo>
                      <a:pt x="60" y="230"/>
                    </a:lnTo>
                    <a:lnTo>
                      <a:pt x="58" y="230"/>
                    </a:lnTo>
                    <a:lnTo>
                      <a:pt x="58" y="228"/>
                    </a:lnTo>
                    <a:lnTo>
                      <a:pt x="60" y="228"/>
                    </a:lnTo>
                    <a:lnTo>
                      <a:pt x="60" y="226"/>
                    </a:lnTo>
                    <a:lnTo>
                      <a:pt x="58" y="226"/>
                    </a:lnTo>
                    <a:lnTo>
                      <a:pt x="57" y="226"/>
                    </a:lnTo>
                    <a:lnTo>
                      <a:pt x="57" y="225"/>
                    </a:lnTo>
                    <a:lnTo>
                      <a:pt x="57" y="223"/>
                    </a:lnTo>
                    <a:lnTo>
                      <a:pt x="57" y="221"/>
                    </a:lnTo>
                    <a:lnTo>
                      <a:pt x="57" y="220"/>
                    </a:lnTo>
                    <a:lnTo>
                      <a:pt x="57" y="218"/>
                    </a:lnTo>
                    <a:lnTo>
                      <a:pt x="57" y="216"/>
                    </a:lnTo>
                    <a:lnTo>
                      <a:pt x="57" y="214"/>
                    </a:lnTo>
                    <a:lnTo>
                      <a:pt x="57" y="213"/>
                    </a:lnTo>
                    <a:lnTo>
                      <a:pt x="57" y="211"/>
                    </a:lnTo>
                    <a:lnTo>
                      <a:pt x="55" y="211"/>
                    </a:lnTo>
                    <a:lnTo>
                      <a:pt x="53" y="211"/>
                    </a:lnTo>
                    <a:lnTo>
                      <a:pt x="53" y="209"/>
                    </a:lnTo>
                    <a:lnTo>
                      <a:pt x="53" y="211"/>
                    </a:lnTo>
                    <a:lnTo>
                      <a:pt x="53" y="209"/>
                    </a:lnTo>
                    <a:lnTo>
                      <a:pt x="51" y="209"/>
                    </a:lnTo>
                    <a:lnTo>
                      <a:pt x="51" y="208"/>
                    </a:lnTo>
                    <a:lnTo>
                      <a:pt x="51" y="206"/>
                    </a:lnTo>
                    <a:lnTo>
                      <a:pt x="51" y="204"/>
                    </a:lnTo>
                    <a:lnTo>
                      <a:pt x="50" y="204"/>
                    </a:lnTo>
                    <a:lnTo>
                      <a:pt x="50" y="203"/>
                    </a:lnTo>
                    <a:lnTo>
                      <a:pt x="50" y="201"/>
                    </a:lnTo>
                    <a:lnTo>
                      <a:pt x="48" y="201"/>
                    </a:lnTo>
                    <a:lnTo>
                      <a:pt x="50" y="201"/>
                    </a:lnTo>
                    <a:lnTo>
                      <a:pt x="48" y="199"/>
                    </a:lnTo>
                    <a:lnTo>
                      <a:pt x="48" y="197"/>
                    </a:lnTo>
                    <a:lnTo>
                      <a:pt x="48" y="196"/>
                    </a:lnTo>
                    <a:lnTo>
                      <a:pt x="48" y="194"/>
                    </a:lnTo>
                    <a:lnTo>
                      <a:pt x="48" y="192"/>
                    </a:lnTo>
                    <a:lnTo>
                      <a:pt x="48" y="191"/>
                    </a:lnTo>
                    <a:lnTo>
                      <a:pt x="48" y="189"/>
                    </a:lnTo>
                    <a:lnTo>
                      <a:pt x="50" y="189"/>
                    </a:lnTo>
                    <a:lnTo>
                      <a:pt x="50" y="187"/>
                    </a:lnTo>
                    <a:lnTo>
                      <a:pt x="50" y="186"/>
                    </a:lnTo>
                    <a:lnTo>
                      <a:pt x="50" y="184"/>
                    </a:lnTo>
                    <a:lnTo>
                      <a:pt x="51" y="184"/>
                    </a:lnTo>
                    <a:lnTo>
                      <a:pt x="50" y="184"/>
                    </a:lnTo>
                    <a:lnTo>
                      <a:pt x="51" y="182"/>
                    </a:lnTo>
                    <a:lnTo>
                      <a:pt x="50" y="182"/>
                    </a:lnTo>
                    <a:lnTo>
                      <a:pt x="51" y="182"/>
                    </a:lnTo>
                    <a:lnTo>
                      <a:pt x="51" y="180"/>
                    </a:lnTo>
                    <a:lnTo>
                      <a:pt x="51" y="179"/>
                    </a:lnTo>
                    <a:lnTo>
                      <a:pt x="53" y="179"/>
                    </a:lnTo>
                    <a:lnTo>
                      <a:pt x="53" y="177"/>
                    </a:lnTo>
                    <a:lnTo>
                      <a:pt x="53" y="175"/>
                    </a:lnTo>
                    <a:lnTo>
                      <a:pt x="55" y="175"/>
                    </a:lnTo>
                    <a:lnTo>
                      <a:pt x="55" y="174"/>
                    </a:lnTo>
                    <a:lnTo>
                      <a:pt x="53" y="174"/>
                    </a:lnTo>
                    <a:lnTo>
                      <a:pt x="55" y="174"/>
                    </a:lnTo>
                    <a:lnTo>
                      <a:pt x="53" y="174"/>
                    </a:lnTo>
                    <a:lnTo>
                      <a:pt x="53" y="172"/>
                    </a:lnTo>
                    <a:lnTo>
                      <a:pt x="55" y="172"/>
                    </a:lnTo>
                    <a:lnTo>
                      <a:pt x="53" y="172"/>
                    </a:lnTo>
                    <a:lnTo>
                      <a:pt x="55" y="170"/>
                    </a:lnTo>
                    <a:lnTo>
                      <a:pt x="53" y="170"/>
                    </a:lnTo>
                    <a:lnTo>
                      <a:pt x="53" y="169"/>
                    </a:lnTo>
                    <a:lnTo>
                      <a:pt x="51" y="169"/>
                    </a:lnTo>
                    <a:lnTo>
                      <a:pt x="53" y="169"/>
                    </a:lnTo>
                    <a:lnTo>
                      <a:pt x="51" y="169"/>
                    </a:lnTo>
                    <a:lnTo>
                      <a:pt x="53" y="169"/>
                    </a:lnTo>
                    <a:lnTo>
                      <a:pt x="53" y="167"/>
                    </a:lnTo>
                    <a:lnTo>
                      <a:pt x="55" y="167"/>
                    </a:lnTo>
                    <a:lnTo>
                      <a:pt x="57" y="165"/>
                    </a:lnTo>
                    <a:lnTo>
                      <a:pt x="58" y="163"/>
                    </a:lnTo>
                    <a:lnTo>
                      <a:pt x="58" y="162"/>
                    </a:lnTo>
                    <a:lnTo>
                      <a:pt x="60" y="162"/>
                    </a:lnTo>
                    <a:lnTo>
                      <a:pt x="60" y="160"/>
                    </a:lnTo>
                    <a:lnTo>
                      <a:pt x="60" y="162"/>
                    </a:lnTo>
                    <a:lnTo>
                      <a:pt x="60" y="160"/>
                    </a:lnTo>
                    <a:lnTo>
                      <a:pt x="62" y="160"/>
                    </a:lnTo>
                    <a:lnTo>
                      <a:pt x="62" y="158"/>
                    </a:lnTo>
                    <a:lnTo>
                      <a:pt x="62" y="157"/>
                    </a:lnTo>
                    <a:lnTo>
                      <a:pt x="63" y="157"/>
                    </a:lnTo>
                    <a:lnTo>
                      <a:pt x="63" y="155"/>
                    </a:lnTo>
                    <a:lnTo>
                      <a:pt x="62" y="155"/>
                    </a:lnTo>
                    <a:lnTo>
                      <a:pt x="62" y="153"/>
                    </a:lnTo>
                    <a:lnTo>
                      <a:pt x="60" y="152"/>
                    </a:lnTo>
                    <a:lnTo>
                      <a:pt x="60" y="150"/>
                    </a:lnTo>
                    <a:lnTo>
                      <a:pt x="60" y="148"/>
                    </a:lnTo>
                    <a:lnTo>
                      <a:pt x="58" y="148"/>
                    </a:lnTo>
                    <a:lnTo>
                      <a:pt x="57" y="148"/>
                    </a:lnTo>
                    <a:lnTo>
                      <a:pt x="57" y="146"/>
                    </a:lnTo>
                    <a:lnTo>
                      <a:pt x="57" y="145"/>
                    </a:lnTo>
                    <a:lnTo>
                      <a:pt x="58" y="145"/>
                    </a:lnTo>
                    <a:lnTo>
                      <a:pt x="57" y="145"/>
                    </a:lnTo>
                    <a:lnTo>
                      <a:pt x="57" y="143"/>
                    </a:lnTo>
                    <a:lnTo>
                      <a:pt x="58" y="143"/>
                    </a:lnTo>
                    <a:lnTo>
                      <a:pt x="58" y="141"/>
                    </a:lnTo>
                    <a:lnTo>
                      <a:pt x="57" y="141"/>
                    </a:lnTo>
                    <a:lnTo>
                      <a:pt x="57" y="140"/>
                    </a:lnTo>
                    <a:lnTo>
                      <a:pt x="55" y="138"/>
                    </a:lnTo>
                    <a:lnTo>
                      <a:pt x="53" y="138"/>
                    </a:lnTo>
                    <a:lnTo>
                      <a:pt x="51" y="138"/>
                    </a:lnTo>
                    <a:lnTo>
                      <a:pt x="53" y="138"/>
                    </a:lnTo>
                    <a:lnTo>
                      <a:pt x="51" y="138"/>
                    </a:lnTo>
                    <a:lnTo>
                      <a:pt x="50" y="138"/>
                    </a:lnTo>
                    <a:lnTo>
                      <a:pt x="50" y="136"/>
                    </a:lnTo>
                    <a:lnTo>
                      <a:pt x="48" y="136"/>
                    </a:lnTo>
                    <a:lnTo>
                      <a:pt x="48" y="138"/>
                    </a:lnTo>
                    <a:lnTo>
                      <a:pt x="48" y="136"/>
                    </a:lnTo>
                    <a:lnTo>
                      <a:pt x="46" y="138"/>
                    </a:lnTo>
                    <a:lnTo>
                      <a:pt x="46" y="136"/>
                    </a:lnTo>
                    <a:lnTo>
                      <a:pt x="45" y="136"/>
                    </a:lnTo>
                    <a:lnTo>
                      <a:pt x="46" y="136"/>
                    </a:lnTo>
                    <a:lnTo>
                      <a:pt x="45" y="136"/>
                    </a:lnTo>
                    <a:lnTo>
                      <a:pt x="43" y="136"/>
                    </a:lnTo>
                    <a:lnTo>
                      <a:pt x="43" y="135"/>
                    </a:lnTo>
                    <a:lnTo>
                      <a:pt x="43" y="133"/>
                    </a:lnTo>
                    <a:lnTo>
                      <a:pt x="45" y="133"/>
                    </a:lnTo>
                    <a:lnTo>
                      <a:pt x="45" y="131"/>
                    </a:lnTo>
                    <a:lnTo>
                      <a:pt x="46" y="131"/>
                    </a:lnTo>
                    <a:lnTo>
                      <a:pt x="46" y="129"/>
                    </a:lnTo>
                    <a:lnTo>
                      <a:pt x="46" y="128"/>
                    </a:lnTo>
                    <a:lnTo>
                      <a:pt x="46" y="126"/>
                    </a:lnTo>
                    <a:lnTo>
                      <a:pt x="48" y="124"/>
                    </a:lnTo>
                    <a:lnTo>
                      <a:pt x="48" y="123"/>
                    </a:lnTo>
                    <a:lnTo>
                      <a:pt x="48" y="121"/>
                    </a:lnTo>
                    <a:lnTo>
                      <a:pt x="48" y="119"/>
                    </a:lnTo>
                    <a:lnTo>
                      <a:pt x="48" y="117"/>
                    </a:lnTo>
                    <a:lnTo>
                      <a:pt x="46" y="117"/>
                    </a:lnTo>
                    <a:lnTo>
                      <a:pt x="46" y="116"/>
                    </a:lnTo>
                    <a:lnTo>
                      <a:pt x="45" y="116"/>
                    </a:lnTo>
                    <a:lnTo>
                      <a:pt x="45" y="114"/>
                    </a:lnTo>
                    <a:lnTo>
                      <a:pt x="45" y="112"/>
                    </a:lnTo>
                    <a:lnTo>
                      <a:pt x="43" y="112"/>
                    </a:lnTo>
                    <a:lnTo>
                      <a:pt x="43" y="111"/>
                    </a:lnTo>
                    <a:lnTo>
                      <a:pt x="43" y="112"/>
                    </a:lnTo>
                    <a:lnTo>
                      <a:pt x="41" y="112"/>
                    </a:lnTo>
                    <a:lnTo>
                      <a:pt x="41" y="111"/>
                    </a:lnTo>
                    <a:lnTo>
                      <a:pt x="40" y="111"/>
                    </a:lnTo>
                    <a:lnTo>
                      <a:pt x="38" y="112"/>
                    </a:lnTo>
                    <a:lnTo>
                      <a:pt x="36" y="112"/>
                    </a:lnTo>
                    <a:lnTo>
                      <a:pt x="34" y="112"/>
                    </a:lnTo>
                    <a:lnTo>
                      <a:pt x="33" y="112"/>
                    </a:lnTo>
                    <a:lnTo>
                      <a:pt x="33" y="114"/>
                    </a:lnTo>
                    <a:lnTo>
                      <a:pt x="33" y="112"/>
                    </a:lnTo>
                    <a:lnTo>
                      <a:pt x="31" y="112"/>
                    </a:lnTo>
                    <a:lnTo>
                      <a:pt x="29" y="112"/>
                    </a:lnTo>
                    <a:lnTo>
                      <a:pt x="28" y="112"/>
                    </a:lnTo>
                    <a:lnTo>
                      <a:pt x="26" y="112"/>
                    </a:lnTo>
                    <a:lnTo>
                      <a:pt x="24" y="112"/>
                    </a:lnTo>
                    <a:lnTo>
                      <a:pt x="23" y="112"/>
                    </a:lnTo>
                    <a:lnTo>
                      <a:pt x="21" y="111"/>
                    </a:lnTo>
                    <a:lnTo>
                      <a:pt x="19" y="109"/>
                    </a:lnTo>
                    <a:lnTo>
                      <a:pt x="12" y="102"/>
                    </a:lnTo>
                    <a:lnTo>
                      <a:pt x="11" y="97"/>
                    </a:lnTo>
                    <a:lnTo>
                      <a:pt x="7" y="95"/>
                    </a:lnTo>
                    <a:lnTo>
                      <a:pt x="2" y="90"/>
                    </a:lnTo>
                    <a:lnTo>
                      <a:pt x="0" y="89"/>
                    </a:lnTo>
                    <a:lnTo>
                      <a:pt x="0" y="87"/>
                    </a:lnTo>
                    <a:lnTo>
                      <a:pt x="2" y="87"/>
                    </a:lnTo>
                    <a:lnTo>
                      <a:pt x="2" y="85"/>
                    </a:lnTo>
                    <a:lnTo>
                      <a:pt x="4" y="85"/>
                    </a:lnTo>
                    <a:lnTo>
                      <a:pt x="4" y="83"/>
                    </a:lnTo>
                    <a:lnTo>
                      <a:pt x="6" y="82"/>
                    </a:lnTo>
                    <a:lnTo>
                      <a:pt x="7" y="82"/>
                    </a:lnTo>
                    <a:lnTo>
                      <a:pt x="7" y="80"/>
                    </a:lnTo>
                    <a:lnTo>
                      <a:pt x="9" y="80"/>
                    </a:lnTo>
                    <a:lnTo>
                      <a:pt x="11" y="78"/>
                    </a:lnTo>
                    <a:lnTo>
                      <a:pt x="9" y="78"/>
                    </a:lnTo>
                    <a:lnTo>
                      <a:pt x="9" y="77"/>
                    </a:lnTo>
                    <a:lnTo>
                      <a:pt x="11" y="77"/>
                    </a:lnTo>
                    <a:lnTo>
                      <a:pt x="9" y="77"/>
                    </a:lnTo>
                    <a:lnTo>
                      <a:pt x="9" y="75"/>
                    </a:lnTo>
                    <a:lnTo>
                      <a:pt x="7" y="75"/>
                    </a:lnTo>
                    <a:lnTo>
                      <a:pt x="9" y="75"/>
                    </a:lnTo>
                    <a:lnTo>
                      <a:pt x="9" y="73"/>
                    </a:lnTo>
                    <a:lnTo>
                      <a:pt x="9" y="72"/>
                    </a:lnTo>
                    <a:lnTo>
                      <a:pt x="9" y="70"/>
                    </a:lnTo>
                    <a:lnTo>
                      <a:pt x="7" y="70"/>
                    </a:lnTo>
                    <a:lnTo>
                      <a:pt x="9" y="68"/>
                    </a:lnTo>
                    <a:lnTo>
                      <a:pt x="7" y="68"/>
                    </a:lnTo>
                    <a:lnTo>
                      <a:pt x="7" y="66"/>
                    </a:lnTo>
                    <a:lnTo>
                      <a:pt x="6" y="66"/>
                    </a:lnTo>
                    <a:lnTo>
                      <a:pt x="7" y="66"/>
                    </a:lnTo>
                    <a:lnTo>
                      <a:pt x="6" y="66"/>
                    </a:lnTo>
                    <a:lnTo>
                      <a:pt x="7" y="66"/>
                    </a:lnTo>
                    <a:lnTo>
                      <a:pt x="7" y="65"/>
                    </a:lnTo>
                    <a:lnTo>
                      <a:pt x="7" y="63"/>
                    </a:lnTo>
                    <a:lnTo>
                      <a:pt x="9" y="63"/>
                    </a:lnTo>
                    <a:lnTo>
                      <a:pt x="9" y="61"/>
                    </a:lnTo>
                    <a:lnTo>
                      <a:pt x="11" y="61"/>
                    </a:lnTo>
                    <a:lnTo>
                      <a:pt x="12" y="61"/>
                    </a:lnTo>
                    <a:lnTo>
                      <a:pt x="14" y="61"/>
                    </a:lnTo>
                    <a:lnTo>
                      <a:pt x="16" y="61"/>
                    </a:lnTo>
                    <a:lnTo>
                      <a:pt x="17" y="60"/>
                    </a:lnTo>
                    <a:lnTo>
                      <a:pt x="16" y="60"/>
                    </a:lnTo>
                    <a:lnTo>
                      <a:pt x="16" y="58"/>
                    </a:lnTo>
                    <a:lnTo>
                      <a:pt x="17" y="58"/>
                    </a:lnTo>
                    <a:lnTo>
                      <a:pt x="17" y="60"/>
                    </a:lnTo>
                    <a:lnTo>
                      <a:pt x="19" y="60"/>
                    </a:lnTo>
                    <a:lnTo>
                      <a:pt x="21" y="60"/>
                    </a:lnTo>
                    <a:lnTo>
                      <a:pt x="21" y="58"/>
                    </a:lnTo>
                    <a:lnTo>
                      <a:pt x="21" y="60"/>
                    </a:lnTo>
                    <a:lnTo>
                      <a:pt x="23" y="60"/>
                    </a:lnTo>
                    <a:lnTo>
                      <a:pt x="24" y="60"/>
                    </a:lnTo>
                    <a:lnTo>
                      <a:pt x="24" y="58"/>
                    </a:lnTo>
                    <a:lnTo>
                      <a:pt x="26" y="58"/>
                    </a:lnTo>
                    <a:lnTo>
                      <a:pt x="28" y="58"/>
                    </a:lnTo>
                    <a:lnTo>
                      <a:pt x="28" y="56"/>
                    </a:lnTo>
                    <a:lnTo>
                      <a:pt x="29" y="56"/>
                    </a:lnTo>
                    <a:lnTo>
                      <a:pt x="31" y="56"/>
                    </a:lnTo>
                    <a:lnTo>
                      <a:pt x="31" y="55"/>
                    </a:lnTo>
                    <a:lnTo>
                      <a:pt x="33" y="55"/>
                    </a:lnTo>
                    <a:lnTo>
                      <a:pt x="34" y="53"/>
                    </a:lnTo>
                    <a:lnTo>
                      <a:pt x="34" y="55"/>
                    </a:lnTo>
                    <a:lnTo>
                      <a:pt x="34" y="53"/>
                    </a:lnTo>
                    <a:lnTo>
                      <a:pt x="36" y="53"/>
                    </a:lnTo>
                    <a:lnTo>
                      <a:pt x="36" y="51"/>
                    </a:lnTo>
                    <a:lnTo>
                      <a:pt x="36" y="49"/>
                    </a:lnTo>
                    <a:lnTo>
                      <a:pt x="36" y="48"/>
                    </a:lnTo>
                    <a:lnTo>
                      <a:pt x="36" y="46"/>
                    </a:lnTo>
                    <a:lnTo>
                      <a:pt x="34" y="46"/>
                    </a:lnTo>
                    <a:lnTo>
                      <a:pt x="33" y="46"/>
                    </a:lnTo>
                    <a:lnTo>
                      <a:pt x="33" y="44"/>
                    </a:lnTo>
                    <a:lnTo>
                      <a:pt x="33" y="46"/>
                    </a:lnTo>
                    <a:lnTo>
                      <a:pt x="31" y="44"/>
                    </a:lnTo>
                    <a:lnTo>
                      <a:pt x="31" y="46"/>
                    </a:lnTo>
                    <a:lnTo>
                      <a:pt x="29" y="46"/>
                    </a:lnTo>
                    <a:lnTo>
                      <a:pt x="29" y="48"/>
                    </a:lnTo>
                    <a:lnTo>
                      <a:pt x="29" y="46"/>
                    </a:lnTo>
                    <a:lnTo>
                      <a:pt x="28" y="46"/>
                    </a:lnTo>
                    <a:lnTo>
                      <a:pt x="28" y="44"/>
                    </a:lnTo>
                    <a:lnTo>
                      <a:pt x="26" y="44"/>
                    </a:lnTo>
                    <a:lnTo>
                      <a:pt x="26" y="43"/>
                    </a:lnTo>
                    <a:lnTo>
                      <a:pt x="28" y="43"/>
                    </a:lnTo>
                    <a:lnTo>
                      <a:pt x="28" y="41"/>
                    </a:lnTo>
                    <a:lnTo>
                      <a:pt x="28" y="39"/>
                    </a:lnTo>
                    <a:lnTo>
                      <a:pt x="26" y="39"/>
                    </a:lnTo>
                    <a:lnTo>
                      <a:pt x="26" y="38"/>
                    </a:lnTo>
                    <a:lnTo>
                      <a:pt x="26" y="36"/>
                    </a:lnTo>
                    <a:lnTo>
                      <a:pt x="26" y="34"/>
                    </a:lnTo>
                    <a:lnTo>
                      <a:pt x="26" y="32"/>
                    </a:lnTo>
                    <a:lnTo>
                      <a:pt x="26" y="31"/>
                    </a:lnTo>
                    <a:lnTo>
                      <a:pt x="28" y="31"/>
                    </a:lnTo>
                    <a:lnTo>
                      <a:pt x="28" y="29"/>
                    </a:lnTo>
                    <a:lnTo>
                      <a:pt x="28" y="27"/>
                    </a:lnTo>
                    <a:lnTo>
                      <a:pt x="29" y="26"/>
                    </a:lnTo>
                    <a:lnTo>
                      <a:pt x="29" y="24"/>
                    </a:lnTo>
                    <a:lnTo>
                      <a:pt x="31" y="24"/>
                    </a:lnTo>
                    <a:lnTo>
                      <a:pt x="33" y="24"/>
                    </a:lnTo>
                    <a:lnTo>
                      <a:pt x="34" y="24"/>
                    </a:lnTo>
                    <a:lnTo>
                      <a:pt x="36" y="24"/>
                    </a:lnTo>
                    <a:lnTo>
                      <a:pt x="36" y="22"/>
                    </a:lnTo>
                    <a:lnTo>
                      <a:pt x="38" y="22"/>
                    </a:lnTo>
                    <a:lnTo>
                      <a:pt x="40" y="21"/>
                    </a:lnTo>
                    <a:lnTo>
                      <a:pt x="40" y="19"/>
                    </a:lnTo>
                    <a:lnTo>
                      <a:pt x="41" y="19"/>
                    </a:lnTo>
                    <a:lnTo>
                      <a:pt x="43" y="19"/>
                    </a:lnTo>
                    <a:lnTo>
                      <a:pt x="43" y="17"/>
                    </a:lnTo>
                    <a:lnTo>
                      <a:pt x="45" y="17"/>
                    </a:lnTo>
                    <a:lnTo>
                      <a:pt x="46" y="17"/>
                    </a:lnTo>
                    <a:lnTo>
                      <a:pt x="46" y="15"/>
                    </a:lnTo>
                    <a:lnTo>
                      <a:pt x="48" y="15"/>
                    </a:lnTo>
                    <a:lnTo>
                      <a:pt x="48" y="14"/>
                    </a:lnTo>
                    <a:lnTo>
                      <a:pt x="48" y="12"/>
                    </a:lnTo>
                    <a:lnTo>
                      <a:pt x="50" y="10"/>
                    </a:lnTo>
                    <a:lnTo>
                      <a:pt x="53" y="10"/>
                    </a:lnTo>
                    <a:lnTo>
                      <a:pt x="53" y="9"/>
                    </a:lnTo>
                    <a:lnTo>
                      <a:pt x="55" y="9"/>
                    </a:lnTo>
                    <a:lnTo>
                      <a:pt x="53" y="7"/>
                    </a:lnTo>
                    <a:lnTo>
                      <a:pt x="51" y="4"/>
                    </a:lnTo>
                    <a:lnTo>
                      <a:pt x="50" y="2"/>
                    </a:lnTo>
                    <a:lnTo>
                      <a:pt x="48" y="0"/>
                    </a:lnTo>
                    <a:lnTo>
                      <a:pt x="50" y="0"/>
                    </a:lnTo>
                    <a:lnTo>
                      <a:pt x="50" y="2"/>
                    </a:lnTo>
                    <a:lnTo>
                      <a:pt x="51" y="2"/>
                    </a:lnTo>
                    <a:lnTo>
                      <a:pt x="51" y="4"/>
                    </a:lnTo>
                    <a:lnTo>
                      <a:pt x="53" y="5"/>
                    </a:lnTo>
                    <a:lnTo>
                      <a:pt x="55" y="5"/>
                    </a:lnTo>
                    <a:lnTo>
                      <a:pt x="57" y="5"/>
                    </a:lnTo>
                    <a:lnTo>
                      <a:pt x="55" y="5"/>
                    </a:lnTo>
                    <a:lnTo>
                      <a:pt x="55" y="4"/>
                    </a:lnTo>
                    <a:lnTo>
                      <a:pt x="57" y="4"/>
                    </a:lnTo>
                    <a:lnTo>
                      <a:pt x="57" y="5"/>
                    </a:lnTo>
                    <a:lnTo>
                      <a:pt x="58" y="5"/>
                    </a:lnTo>
                    <a:lnTo>
                      <a:pt x="60" y="5"/>
                    </a:lnTo>
                    <a:lnTo>
                      <a:pt x="60" y="7"/>
                    </a:lnTo>
                    <a:lnTo>
                      <a:pt x="62" y="7"/>
                    </a:lnTo>
                    <a:lnTo>
                      <a:pt x="62" y="9"/>
                    </a:lnTo>
                    <a:lnTo>
                      <a:pt x="63" y="9"/>
                    </a:lnTo>
                    <a:lnTo>
                      <a:pt x="65" y="9"/>
                    </a:lnTo>
                    <a:lnTo>
                      <a:pt x="65" y="10"/>
                    </a:lnTo>
                    <a:lnTo>
                      <a:pt x="67" y="10"/>
                    </a:lnTo>
                    <a:lnTo>
                      <a:pt x="68" y="10"/>
                    </a:lnTo>
                    <a:lnTo>
                      <a:pt x="68" y="12"/>
                    </a:lnTo>
                    <a:lnTo>
                      <a:pt x="70" y="12"/>
                    </a:lnTo>
                    <a:lnTo>
                      <a:pt x="72" y="14"/>
                    </a:lnTo>
                    <a:lnTo>
                      <a:pt x="74" y="14"/>
                    </a:lnTo>
                    <a:lnTo>
                      <a:pt x="75" y="15"/>
                    </a:lnTo>
                    <a:lnTo>
                      <a:pt x="77" y="15"/>
                    </a:lnTo>
                    <a:lnTo>
                      <a:pt x="77" y="17"/>
                    </a:lnTo>
                    <a:lnTo>
                      <a:pt x="79" y="17"/>
                    </a:lnTo>
                    <a:lnTo>
                      <a:pt x="79" y="19"/>
                    </a:lnTo>
                    <a:lnTo>
                      <a:pt x="80" y="21"/>
                    </a:lnTo>
                    <a:lnTo>
                      <a:pt x="82" y="21"/>
                    </a:lnTo>
                    <a:lnTo>
                      <a:pt x="82" y="22"/>
                    </a:lnTo>
                    <a:lnTo>
                      <a:pt x="84" y="24"/>
                    </a:lnTo>
                    <a:lnTo>
                      <a:pt x="85" y="26"/>
                    </a:lnTo>
                    <a:lnTo>
                      <a:pt x="87" y="27"/>
                    </a:lnTo>
                    <a:lnTo>
                      <a:pt x="89" y="27"/>
                    </a:lnTo>
                    <a:lnTo>
                      <a:pt x="89" y="29"/>
                    </a:lnTo>
                    <a:lnTo>
                      <a:pt x="89" y="31"/>
                    </a:lnTo>
                    <a:lnTo>
                      <a:pt x="91" y="31"/>
                    </a:lnTo>
                    <a:lnTo>
                      <a:pt x="91" y="32"/>
                    </a:lnTo>
                    <a:lnTo>
                      <a:pt x="91" y="31"/>
                    </a:lnTo>
                    <a:lnTo>
                      <a:pt x="92" y="31"/>
                    </a:lnTo>
                    <a:lnTo>
                      <a:pt x="92" y="32"/>
                    </a:lnTo>
                    <a:lnTo>
                      <a:pt x="94" y="32"/>
                    </a:lnTo>
                    <a:lnTo>
                      <a:pt x="94" y="34"/>
                    </a:lnTo>
                    <a:lnTo>
                      <a:pt x="96" y="36"/>
                    </a:lnTo>
                    <a:lnTo>
                      <a:pt x="97" y="38"/>
                    </a:lnTo>
                    <a:lnTo>
                      <a:pt x="97" y="39"/>
                    </a:lnTo>
                    <a:lnTo>
                      <a:pt x="99" y="39"/>
                    </a:lnTo>
                    <a:lnTo>
                      <a:pt x="99" y="41"/>
                    </a:lnTo>
                    <a:lnTo>
                      <a:pt x="99" y="43"/>
                    </a:lnTo>
                    <a:lnTo>
                      <a:pt x="99" y="44"/>
                    </a:lnTo>
                    <a:lnTo>
                      <a:pt x="99" y="46"/>
                    </a:lnTo>
                    <a:lnTo>
                      <a:pt x="99" y="48"/>
                    </a:lnTo>
                    <a:lnTo>
                      <a:pt x="99" y="49"/>
                    </a:lnTo>
                    <a:lnTo>
                      <a:pt x="99" y="51"/>
                    </a:lnTo>
                    <a:lnTo>
                      <a:pt x="99" y="53"/>
                    </a:lnTo>
                    <a:lnTo>
                      <a:pt x="97" y="53"/>
                    </a:lnTo>
                    <a:lnTo>
                      <a:pt x="97" y="55"/>
                    </a:lnTo>
                    <a:lnTo>
                      <a:pt x="96" y="55"/>
                    </a:lnTo>
                    <a:lnTo>
                      <a:pt x="96" y="56"/>
                    </a:lnTo>
                    <a:lnTo>
                      <a:pt x="96" y="58"/>
                    </a:lnTo>
                    <a:lnTo>
                      <a:pt x="96" y="60"/>
                    </a:lnTo>
                    <a:lnTo>
                      <a:pt x="96" y="61"/>
                    </a:lnTo>
                    <a:lnTo>
                      <a:pt x="94" y="61"/>
                    </a:lnTo>
                    <a:lnTo>
                      <a:pt x="94" y="63"/>
                    </a:lnTo>
                    <a:lnTo>
                      <a:pt x="94" y="65"/>
                    </a:lnTo>
                    <a:lnTo>
                      <a:pt x="94" y="66"/>
                    </a:lnTo>
                    <a:lnTo>
                      <a:pt x="94" y="68"/>
                    </a:lnTo>
                    <a:lnTo>
                      <a:pt x="94" y="70"/>
                    </a:lnTo>
                    <a:lnTo>
                      <a:pt x="94" y="72"/>
                    </a:lnTo>
                    <a:lnTo>
                      <a:pt x="92" y="72"/>
                    </a:lnTo>
                    <a:lnTo>
                      <a:pt x="92" y="73"/>
                    </a:lnTo>
                    <a:lnTo>
                      <a:pt x="91" y="73"/>
                    </a:lnTo>
                    <a:lnTo>
                      <a:pt x="92" y="73"/>
                    </a:lnTo>
                    <a:lnTo>
                      <a:pt x="94" y="73"/>
                    </a:lnTo>
                    <a:lnTo>
                      <a:pt x="94" y="72"/>
                    </a:lnTo>
                    <a:lnTo>
                      <a:pt x="94" y="73"/>
                    </a:lnTo>
                    <a:lnTo>
                      <a:pt x="96" y="75"/>
                    </a:lnTo>
                    <a:lnTo>
                      <a:pt x="96" y="73"/>
                    </a:lnTo>
                    <a:lnTo>
                      <a:pt x="96" y="72"/>
                    </a:lnTo>
                    <a:lnTo>
                      <a:pt x="96" y="70"/>
                    </a:lnTo>
                    <a:lnTo>
                      <a:pt x="96" y="68"/>
                    </a:lnTo>
                    <a:lnTo>
                      <a:pt x="96" y="66"/>
                    </a:lnTo>
                    <a:lnTo>
                      <a:pt x="96" y="65"/>
                    </a:lnTo>
                    <a:lnTo>
                      <a:pt x="96" y="63"/>
                    </a:lnTo>
                    <a:lnTo>
                      <a:pt x="97" y="63"/>
                    </a:lnTo>
                    <a:lnTo>
                      <a:pt x="97" y="61"/>
                    </a:lnTo>
                    <a:lnTo>
                      <a:pt x="97" y="60"/>
                    </a:lnTo>
                    <a:lnTo>
                      <a:pt x="99" y="60"/>
                    </a:lnTo>
                    <a:lnTo>
                      <a:pt x="99" y="58"/>
                    </a:lnTo>
                    <a:lnTo>
                      <a:pt x="101" y="58"/>
                    </a:lnTo>
                    <a:lnTo>
                      <a:pt x="101" y="56"/>
                    </a:lnTo>
                    <a:lnTo>
                      <a:pt x="102" y="56"/>
                    </a:lnTo>
                    <a:lnTo>
                      <a:pt x="104" y="56"/>
                    </a:lnTo>
                    <a:lnTo>
                      <a:pt x="106" y="56"/>
                    </a:lnTo>
                    <a:lnTo>
                      <a:pt x="108" y="56"/>
                    </a:lnTo>
                    <a:lnTo>
                      <a:pt x="108" y="58"/>
                    </a:lnTo>
                    <a:lnTo>
                      <a:pt x="109" y="58"/>
                    </a:lnTo>
                    <a:lnTo>
                      <a:pt x="111" y="58"/>
                    </a:lnTo>
                    <a:lnTo>
                      <a:pt x="113" y="58"/>
                    </a:lnTo>
                    <a:lnTo>
                      <a:pt x="114" y="58"/>
                    </a:lnTo>
                    <a:lnTo>
                      <a:pt x="114" y="60"/>
                    </a:lnTo>
                    <a:lnTo>
                      <a:pt x="116" y="60"/>
                    </a:lnTo>
                    <a:lnTo>
                      <a:pt x="116" y="61"/>
                    </a:lnTo>
                    <a:lnTo>
                      <a:pt x="118" y="61"/>
                    </a:lnTo>
                    <a:lnTo>
                      <a:pt x="119" y="61"/>
                    </a:lnTo>
                    <a:lnTo>
                      <a:pt x="119" y="63"/>
                    </a:lnTo>
                    <a:lnTo>
                      <a:pt x="121" y="63"/>
                    </a:lnTo>
                    <a:lnTo>
                      <a:pt x="121" y="65"/>
                    </a:lnTo>
                    <a:lnTo>
                      <a:pt x="123" y="66"/>
                    </a:lnTo>
                    <a:lnTo>
                      <a:pt x="125" y="66"/>
                    </a:lnTo>
                    <a:lnTo>
                      <a:pt x="125" y="68"/>
                    </a:lnTo>
                    <a:lnTo>
                      <a:pt x="126" y="68"/>
                    </a:lnTo>
                    <a:lnTo>
                      <a:pt x="126" y="70"/>
                    </a:lnTo>
                    <a:lnTo>
                      <a:pt x="128" y="70"/>
                    </a:lnTo>
                    <a:lnTo>
                      <a:pt x="128" y="72"/>
                    </a:lnTo>
                    <a:lnTo>
                      <a:pt x="130" y="72"/>
                    </a:lnTo>
                    <a:lnTo>
                      <a:pt x="130" y="73"/>
                    </a:lnTo>
                    <a:lnTo>
                      <a:pt x="130" y="75"/>
                    </a:lnTo>
                    <a:lnTo>
                      <a:pt x="131" y="77"/>
                    </a:lnTo>
                    <a:lnTo>
                      <a:pt x="131" y="75"/>
                    </a:lnTo>
                    <a:lnTo>
                      <a:pt x="133" y="75"/>
                    </a:lnTo>
                    <a:lnTo>
                      <a:pt x="135" y="75"/>
                    </a:lnTo>
                    <a:lnTo>
                      <a:pt x="136" y="75"/>
                    </a:lnTo>
                    <a:lnTo>
                      <a:pt x="136" y="77"/>
                    </a:lnTo>
                    <a:lnTo>
                      <a:pt x="138" y="77"/>
                    </a:lnTo>
                    <a:lnTo>
                      <a:pt x="140" y="78"/>
                    </a:lnTo>
                    <a:lnTo>
                      <a:pt x="142" y="80"/>
                    </a:lnTo>
                    <a:lnTo>
                      <a:pt x="142" y="82"/>
                    </a:lnTo>
                    <a:lnTo>
                      <a:pt x="143" y="82"/>
                    </a:lnTo>
                    <a:lnTo>
                      <a:pt x="143" y="83"/>
                    </a:lnTo>
                    <a:lnTo>
                      <a:pt x="143" y="85"/>
                    </a:lnTo>
                    <a:lnTo>
                      <a:pt x="145" y="87"/>
                    </a:lnTo>
                    <a:lnTo>
                      <a:pt x="143" y="87"/>
                    </a:lnTo>
                    <a:lnTo>
                      <a:pt x="145" y="87"/>
                    </a:lnTo>
                    <a:lnTo>
                      <a:pt x="145" y="89"/>
                    </a:lnTo>
                    <a:lnTo>
                      <a:pt x="145" y="90"/>
                    </a:lnTo>
                    <a:lnTo>
                      <a:pt x="143" y="90"/>
                    </a:lnTo>
                    <a:lnTo>
                      <a:pt x="143" y="92"/>
                    </a:lnTo>
                    <a:lnTo>
                      <a:pt x="143" y="94"/>
                    </a:lnTo>
                    <a:lnTo>
                      <a:pt x="143" y="95"/>
                    </a:lnTo>
                    <a:lnTo>
                      <a:pt x="143" y="97"/>
                    </a:lnTo>
                    <a:close/>
                    <a:moveTo>
                      <a:pt x="96" y="61"/>
                    </a:moveTo>
                    <a:lnTo>
                      <a:pt x="96" y="60"/>
                    </a:lnTo>
                    <a:lnTo>
                      <a:pt x="97" y="58"/>
                    </a:lnTo>
                    <a:lnTo>
                      <a:pt x="97" y="56"/>
                    </a:lnTo>
                    <a:lnTo>
                      <a:pt x="99" y="56"/>
                    </a:lnTo>
                    <a:lnTo>
                      <a:pt x="97" y="58"/>
                    </a:lnTo>
                    <a:lnTo>
                      <a:pt x="97" y="60"/>
                    </a:lnTo>
                    <a:lnTo>
                      <a:pt x="96" y="60"/>
                    </a:lnTo>
                    <a:lnTo>
                      <a:pt x="96" y="61"/>
                    </a:lnTo>
                    <a:close/>
                    <a:moveTo>
                      <a:pt x="97" y="56"/>
                    </a:moveTo>
                    <a:lnTo>
                      <a:pt x="97" y="55"/>
                    </a:lnTo>
                    <a:lnTo>
                      <a:pt x="99" y="55"/>
                    </a:lnTo>
                    <a:lnTo>
                      <a:pt x="99" y="53"/>
                    </a:lnTo>
                    <a:lnTo>
                      <a:pt x="101" y="53"/>
                    </a:lnTo>
                    <a:lnTo>
                      <a:pt x="101" y="51"/>
                    </a:lnTo>
                    <a:lnTo>
                      <a:pt x="101" y="53"/>
                    </a:lnTo>
                    <a:lnTo>
                      <a:pt x="102" y="53"/>
                    </a:lnTo>
                    <a:lnTo>
                      <a:pt x="101" y="53"/>
                    </a:lnTo>
                    <a:lnTo>
                      <a:pt x="99" y="55"/>
                    </a:lnTo>
                    <a:lnTo>
                      <a:pt x="97" y="56"/>
                    </a:lnTo>
                    <a:close/>
                    <a:moveTo>
                      <a:pt x="102" y="53"/>
                    </a:moveTo>
                    <a:lnTo>
                      <a:pt x="104" y="53"/>
                    </a:lnTo>
                    <a:lnTo>
                      <a:pt x="102" y="55"/>
                    </a:lnTo>
                    <a:lnTo>
                      <a:pt x="101" y="55"/>
                    </a:lnTo>
                    <a:lnTo>
                      <a:pt x="101" y="56"/>
                    </a:lnTo>
                    <a:lnTo>
                      <a:pt x="99" y="56"/>
                    </a:lnTo>
                    <a:lnTo>
                      <a:pt x="99" y="55"/>
                    </a:lnTo>
                    <a:lnTo>
                      <a:pt x="101" y="55"/>
                    </a:lnTo>
                    <a:lnTo>
                      <a:pt x="101" y="53"/>
                    </a:lnTo>
                    <a:lnTo>
                      <a:pt x="102" y="53"/>
                    </a:lnTo>
                    <a:close/>
                    <a:moveTo>
                      <a:pt x="96" y="58"/>
                    </a:moveTo>
                    <a:lnTo>
                      <a:pt x="96" y="56"/>
                    </a:lnTo>
                    <a:lnTo>
                      <a:pt x="97" y="55"/>
                    </a:lnTo>
                    <a:lnTo>
                      <a:pt x="99" y="55"/>
                    </a:lnTo>
                    <a:lnTo>
                      <a:pt x="97" y="55"/>
                    </a:lnTo>
                    <a:lnTo>
                      <a:pt x="97" y="56"/>
                    </a:lnTo>
                    <a:lnTo>
                      <a:pt x="96" y="56"/>
                    </a:lnTo>
                    <a:lnTo>
                      <a:pt x="96" y="58"/>
                    </a:lnTo>
                    <a:close/>
                    <a:moveTo>
                      <a:pt x="99" y="49"/>
                    </a:moveTo>
                    <a:lnTo>
                      <a:pt x="99" y="51"/>
                    </a:lnTo>
                    <a:lnTo>
                      <a:pt x="99" y="49"/>
                    </a:lnTo>
                    <a:close/>
                    <a:moveTo>
                      <a:pt x="97" y="60"/>
                    </a:moveTo>
                    <a:lnTo>
                      <a:pt x="97" y="61"/>
                    </a:lnTo>
                    <a:lnTo>
                      <a:pt x="97" y="60"/>
                    </a:lnTo>
                    <a:close/>
                    <a:moveTo>
                      <a:pt x="96" y="56"/>
                    </a:moveTo>
                    <a:lnTo>
                      <a:pt x="97" y="56"/>
                    </a:lnTo>
                    <a:lnTo>
                      <a:pt x="97" y="58"/>
                    </a:lnTo>
                    <a:lnTo>
                      <a:pt x="96" y="58"/>
                    </a:lnTo>
                    <a:lnTo>
                      <a:pt x="96" y="56"/>
                    </a:lnTo>
                    <a:close/>
                    <a:moveTo>
                      <a:pt x="96" y="58"/>
                    </a:moveTo>
                    <a:lnTo>
                      <a:pt x="96" y="60"/>
                    </a:lnTo>
                    <a:lnTo>
                      <a:pt x="96" y="58"/>
                    </a:lnTo>
                    <a:close/>
                    <a:moveTo>
                      <a:pt x="97" y="53"/>
                    </a:moveTo>
                    <a:lnTo>
                      <a:pt x="97" y="55"/>
                    </a:lnTo>
                    <a:lnTo>
                      <a:pt x="97" y="53"/>
                    </a:lnTo>
                    <a:close/>
                    <a:moveTo>
                      <a:pt x="96" y="61"/>
                    </a:moveTo>
                    <a:lnTo>
                      <a:pt x="97" y="61"/>
                    </a:lnTo>
                    <a:lnTo>
                      <a:pt x="96" y="61"/>
                    </a:lnTo>
                    <a:close/>
                    <a:moveTo>
                      <a:pt x="96" y="56"/>
                    </a:moveTo>
                    <a:lnTo>
                      <a:pt x="96" y="58"/>
                    </a:lnTo>
                    <a:lnTo>
                      <a:pt x="96" y="56"/>
                    </a:lnTo>
                    <a:close/>
                    <a:moveTo>
                      <a:pt x="96" y="63"/>
                    </a:moveTo>
                    <a:lnTo>
                      <a:pt x="96" y="65"/>
                    </a:lnTo>
                    <a:lnTo>
                      <a:pt x="96" y="63"/>
                    </a:lnTo>
                    <a:close/>
                    <a:moveTo>
                      <a:pt x="97" y="60"/>
                    </a:moveTo>
                    <a:lnTo>
                      <a:pt x="97" y="61"/>
                    </a:lnTo>
                    <a:lnTo>
                      <a:pt x="97" y="60"/>
                    </a:lnTo>
                    <a:close/>
                    <a:moveTo>
                      <a:pt x="96" y="73"/>
                    </a:moveTo>
                    <a:lnTo>
                      <a:pt x="96" y="75"/>
                    </a:lnTo>
                    <a:lnTo>
                      <a:pt x="96" y="73"/>
                    </a:lnTo>
                    <a:close/>
                    <a:moveTo>
                      <a:pt x="96" y="63"/>
                    </a:moveTo>
                    <a:lnTo>
                      <a:pt x="96" y="65"/>
                    </a:lnTo>
                    <a:lnTo>
                      <a:pt x="96" y="63"/>
                    </a:lnTo>
                    <a:close/>
                    <a:moveTo>
                      <a:pt x="94" y="61"/>
                    </a:moveTo>
                    <a:lnTo>
                      <a:pt x="96" y="61"/>
                    </a:lnTo>
                    <a:lnTo>
                      <a:pt x="96" y="63"/>
                    </a:lnTo>
                    <a:lnTo>
                      <a:pt x="94" y="63"/>
                    </a:lnTo>
                    <a:lnTo>
                      <a:pt x="94" y="61"/>
                    </a:lnTo>
                    <a:close/>
                    <a:moveTo>
                      <a:pt x="96" y="60"/>
                    </a:moveTo>
                    <a:lnTo>
                      <a:pt x="96" y="61"/>
                    </a:lnTo>
                    <a:lnTo>
                      <a:pt x="96" y="60"/>
                    </a:lnTo>
                    <a:close/>
                    <a:moveTo>
                      <a:pt x="96" y="58"/>
                    </a:moveTo>
                    <a:lnTo>
                      <a:pt x="96" y="60"/>
                    </a:lnTo>
                    <a:lnTo>
                      <a:pt x="96" y="58"/>
                    </a:lnTo>
                    <a:close/>
                    <a:moveTo>
                      <a:pt x="94" y="66"/>
                    </a:moveTo>
                    <a:lnTo>
                      <a:pt x="94" y="68"/>
                    </a:lnTo>
                    <a:lnTo>
                      <a:pt x="94" y="66"/>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9" name="Freeform 36">
                <a:extLst>
                  <a:ext uri="{FF2B5EF4-FFF2-40B4-BE49-F238E27FC236}">
                    <a16:creationId xmlns:a16="http://schemas.microsoft.com/office/drawing/2014/main" id="{EFEAD6DC-6A40-04FA-D7ED-5689BFD4B298}"/>
                  </a:ext>
                </a:extLst>
              </p:cNvPr>
              <p:cNvSpPr>
                <a:spLocks/>
              </p:cNvSpPr>
              <p:nvPr/>
            </p:nvSpPr>
            <p:spPr bwMode="auto">
              <a:xfrm>
                <a:off x="5799886" y="2913056"/>
                <a:ext cx="17917" cy="18798"/>
              </a:xfrm>
              <a:custGeom>
                <a:avLst/>
                <a:gdLst>
                  <a:gd name="T0" fmla="*/ 56 w 61"/>
                  <a:gd name="T1" fmla="*/ 49 h 64"/>
                  <a:gd name="T2" fmla="*/ 53 w 61"/>
                  <a:gd name="T3" fmla="*/ 51 h 64"/>
                  <a:gd name="T4" fmla="*/ 49 w 61"/>
                  <a:gd name="T5" fmla="*/ 51 h 64"/>
                  <a:gd name="T6" fmla="*/ 44 w 61"/>
                  <a:gd name="T7" fmla="*/ 51 h 64"/>
                  <a:gd name="T8" fmla="*/ 41 w 61"/>
                  <a:gd name="T9" fmla="*/ 47 h 64"/>
                  <a:gd name="T10" fmla="*/ 38 w 61"/>
                  <a:gd name="T11" fmla="*/ 47 h 64"/>
                  <a:gd name="T12" fmla="*/ 34 w 61"/>
                  <a:gd name="T13" fmla="*/ 47 h 64"/>
                  <a:gd name="T14" fmla="*/ 32 w 61"/>
                  <a:gd name="T15" fmla="*/ 49 h 64"/>
                  <a:gd name="T16" fmla="*/ 31 w 61"/>
                  <a:gd name="T17" fmla="*/ 52 h 64"/>
                  <a:gd name="T18" fmla="*/ 27 w 61"/>
                  <a:gd name="T19" fmla="*/ 57 h 64"/>
                  <a:gd name="T20" fmla="*/ 21 w 61"/>
                  <a:gd name="T21" fmla="*/ 57 h 64"/>
                  <a:gd name="T22" fmla="*/ 19 w 61"/>
                  <a:gd name="T23" fmla="*/ 57 h 64"/>
                  <a:gd name="T24" fmla="*/ 15 w 61"/>
                  <a:gd name="T25" fmla="*/ 59 h 64"/>
                  <a:gd name="T26" fmla="*/ 12 w 61"/>
                  <a:gd name="T27" fmla="*/ 59 h 64"/>
                  <a:gd name="T28" fmla="*/ 12 w 61"/>
                  <a:gd name="T29" fmla="*/ 63 h 64"/>
                  <a:gd name="T30" fmla="*/ 9 w 61"/>
                  <a:gd name="T31" fmla="*/ 64 h 64"/>
                  <a:gd name="T32" fmla="*/ 5 w 61"/>
                  <a:gd name="T33" fmla="*/ 63 h 64"/>
                  <a:gd name="T34" fmla="*/ 2 w 61"/>
                  <a:gd name="T35" fmla="*/ 63 h 64"/>
                  <a:gd name="T36" fmla="*/ 2 w 61"/>
                  <a:gd name="T37" fmla="*/ 59 h 64"/>
                  <a:gd name="T38" fmla="*/ 4 w 61"/>
                  <a:gd name="T39" fmla="*/ 54 h 64"/>
                  <a:gd name="T40" fmla="*/ 7 w 61"/>
                  <a:gd name="T41" fmla="*/ 54 h 64"/>
                  <a:gd name="T42" fmla="*/ 14 w 61"/>
                  <a:gd name="T43" fmla="*/ 54 h 64"/>
                  <a:gd name="T44" fmla="*/ 14 w 61"/>
                  <a:gd name="T45" fmla="*/ 47 h 64"/>
                  <a:gd name="T46" fmla="*/ 14 w 61"/>
                  <a:gd name="T47" fmla="*/ 44 h 64"/>
                  <a:gd name="T48" fmla="*/ 14 w 61"/>
                  <a:gd name="T49" fmla="*/ 42 h 64"/>
                  <a:gd name="T50" fmla="*/ 14 w 61"/>
                  <a:gd name="T51" fmla="*/ 37 h 64"/>
                  <a:gd name="T52" fmla="*/ 15 w 61"/>
                  <a:gd name="T53" fmla="*/ 34 h 64"/>
                  <a:gd name="T54" fmla="*/ 15 w 61"/>
                  <a:gd name="T55" fmla="*/ 34 h 64"/>
                  <a:gd name="T56" fmla="*/ 19 w 61"/>
                  <a:gd name="T57" fmla="*/ 30 h 64"/>
                  <a:gd name="T58" fmla="*/ 22 w 61"/>
                  <a:gd name="T59" fmla="*/ 27 h 64"/>
                  <a:gd name="T60" fmla="*/ 24 w 61"/>
                  <a:gd name="T61" fmla="*/ 23 h 64"/>
                  <a:gd name="T62" fmla="*/ 27 w 61"/>
                  <a:gd name="T63" fmla="*/ 23 h 64"/>
                  <a:gd name="T64" fmla="*/ 31 w 61"/>
                  <a:gd name="T65" fmla="*/ 20 h 64"/>
                  <a:gd name="T66" fmla="*/ 29 w 61"/>
                  <a:gd name="T67" fmla="*/ 17 h 64"/>
                  <a:gd name="T68" fmla="*/ 29 w 61"/>
                  <a:gd name="T69" fmla="*/ 13 h 64"/>
                  <a:gd name="T70" fmla="*/ 24 w 61"/>
                  <a:gd name="T71" fmla="*/ 10 h 64"/>
                  <a:gd name="T72" fmla="*/ 26 w 61"/>
                  <a:gd name="T73" fmla="*/ 3 h 64"/>
                  <a:gd name="T74" fmla="*/ 27 w 61"/>
                  <a:gd name="T75" fmla="*/ 1 h 64"/>
                  <a:gd name="T76" fmla="*/ 31 w 61"/>
                  <a:gd name="T77" fmla="*/ 1 h 64"/>
                  <a:gd name="T78" fmla="*/ 36 w 61"/>
                  <a:gd name="T79" fmla="*/ 1 h 64"/>
                  <a:gd name="T80" fmla="*/ 34 w 61"/>
                  <a:gd name="T81" fmla="*/ 3 h 64"/>
                  <a:gd name="T82" fmla="*/ 34 w 61"/>
                  <a:gd name="T83" fmla="*/ 8 h 64"/>
                  <a:gd name="T84" fmla="*/ 38 w 61"/>
                  <a:gd name="T85" fmla="*/ 8 h 64"/>
                  <a:gd name="T86" fmla="*/ 38 w 61"/>
                  <a:gd name="T87" fmla="*/ 12 h 64"/>
                  <a:gd name="T88" fmla="*/ 38 w 61"/>
                  <a:gd name="T89" fmla="*/ 15 h 64"/>
                  <a:gd name="T90" fmla="*/ 38 w 61"/>
                  <a:gd name="T91" fmla="*/ 18 h 64"/>
                  <a:gd name="T92" fmla="*/ 39 w 61"/>
                  <a:gd name="T93" fmla="*/ 20 h 64"/>
                  <a:gd name="T94" fmla="*/ 41 w 61"/>
                  <a:gd name="T95" fmla="*/ 22 h 64"/>
                  <a:gd name="T96" fmla="*/ 44 w 61"/>
                  <a:gd name="T97" fmla="*/ 27 h 64"/>
                  <a:gd name="T98" fmla="*/ 48 w 61"/>
                  <a:gd name="T99" fmla="*/ 30 h 64"/>
                  <a:gd name="T100" fmla="*/ 48 w 61"/>
                  <a:gd name="T101" fmla="*/ 34 h 64"/>
                  <a:gd name="T102" fmla="*/ 51 w 61"/>
                  <a:gd name="T103" fmla="*/ 39 h 64"/>
                  <a:gd name="T104" fmla="*/ 53 w 61"/>
                  <a:gd name="T105" fmla="*/ 44 h 64"/>
                  <a:gd name="T106" fmla="*/ 56 w 61"/>
                  <a:gd name="T107" fmla="*/ 47 h 64"/>
                  <a:gd name="T108" fmla="*/ 61 w 61"/>
                  <a:gd name="T109" fmla="*/ 4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 h="64">
                    <a:moveTo>
                      <a:pt x="61" y="49"/>
                    </a:moveTo>
                    <a:lnTo>
                      <a:pt x="60" y="51"/>
                    </a:lnTo>
                    <a:lnTo>
                      <a:pt x="58" y="49"/>
                    </a:lnTo>
                    <a:lnTo>
                      <a:pt x="56" y="49"/>
                    </a:lnTo>
                    <a:lnTo>
                      <a:pt x="56" y="51"/>
                    </a:lnTo>
                    <a:lnTo>
                      <a:pt x="55" y="51"/>
                    </a:lnTo>
                    <a:lnTo>
                      <a:pt x="55" y="49"/>
                    </a:lnTo>
                    <a:lnTo>
                      <a:pt x="53" y="51"/>
                    </a:lnTo>
                    <a:lnTo>
                      <a:pt x="53" y="52"/>
                    </a:lnTo>
                    <a:lnTo>
                      <a:pt x="51" y="52"/>
                    </a:lnTo>
                    <a:lnTo>
                      <a:pt x="51" y="51"/>
                    </a:lnTo>
                    <a:lnTo>
                      <a:pt x="49" y="51"/>
                    </a:lnTo>
                    <a:lnTo>
                      <a:pt x="48" y="51"/>
                    </a:lnTo>
                    <a:lnTo>
                      <a:pt x="48" y="49"/>
                    </a:lnTo>
                    <a:lnTo>
                      <a:pt x="46" y="51"/>
                    </a:lnTo>
                    <a:lnTo>
                      <a:pt x="44" y="51"/>
                    </a:lnTo>
                    <a:lnTo>
                      <a:pt x="44" y="49"/>
                    </a:lnTo>
                    <a:lnTo>
                      <a:pt x="43" y="49"/>
                    </a:lnTo>
                    <a:lnTo>
                      <a:pt x="43" y="47"/>
                    </a:lnTo>
                    <a:lnTo>
                      <a:pt x="41" y="47"/>
                    </a:lnTo>
                    <a:lnTo>
                      <a:pt x="41" y="46"/>
                    </a:lnTo>
                    <a:lnTo>
                      <a:pt x="41" y="47"/>
                    </a:lnTo>
                    <a:lnTo>
                      <a:pt x="39" y="47"/>
                    </a:lnTo>
                    <a:lnTo>
                      <a:pt x="38" y="47"/>
                    </a:lnTo>
                    <a:lnTo>
                      <a:pt x="38" y="49"/>
                    </a:lnTo>
                    <a:lnTo>
                      <a:pt x="36" y="49"/>
                    </a:lnTo>
                    <a:lnTo>
                      <a:pt x="36" y="47"/>
                    </a:lnTo>
                    <a:lnTo>
                      <a:pt x="34" y="47"/>
                    </a:lnTo>
                    <a:lnTo>
                      <a:pt x="32" y="47"/>
                    </a:lnTo>
                    <a:lnTo>
                      <a:pt x="32" y="49"/>
                    </a:lnTo>
                    <a:lnTo>
                      <a:pt x="32" y="51"/>
                    </a:lnTo>
                    <a:lnTo>
                      <a:pt x="32" y="49"/>
                    </a:lnTo>
                    <a:lnTo>
                      <a:pt x="31" y="51"/>
                    </a:lnTo>
                    <a:lnTo>
                      <a:pt x="31" y="52"/>
                    </a:lnTo>
                    <a:lnTo>
                      <a:pt x="29" y="52"/>
                    </a:lnTo>
                    <a:lnTo>
                      <a:pt x="31" y="52"/>
                    </a:lnTo>
                    <a:lnTo>
                      <a:pt x="29" y="54"/>
                    </a:lnTo>
                    <a:lnTo>
                      <a:pt x="27" y="54"/>
                    </a:lnTo>
                    <a:lnTo>
                      <a:pt x="27" y="56"/>
                    </a:lnTo>
                    <a:lnTo>
                      <a:pt x="27" y="57"/>
                    </a:lnTo>
                    <a:lnTo>
                      <a:pt x="26" y="57"/>
                    </a:lnTo>
                    <a:lnTo>
                      <a:pt x="24" y="57"/>
                    </a:lnTo>
                    <a:lnTo>
                      <a:pt x="22" y="57"/>
                    </a:lnTo>
                    <a:lnTo>
                      <a:pt x="21" y="57"/>
                    </a:lnTo>
                    <a:lnTo>
                      <a:pt x="21" y="56"/>
                    </a:lnTo>
                    <a:lnTo>
                      <a:pt x="21" y="57"/>
                    </a:lnTo>
                    <a:lnTo>
                      <a:pt x="21" y="56"/>
                    </a:lnTo>
                    <a:lnTo>
                      <a:pt x="19" y="57"/>
                    </a:lnTo>
                    <a:lnTo>
                      <a:pt x="19" y="56"/>
                    </a:lnTo>
                    <a:lnTo>
                      <a:pt x="19" y="57"/>
                    </a:lnTo>
                    <a:lnTo>
                      <a:pt x="17" y="57"/>
                    </a:lnTo>
                    <a:lnTo>
                      <a:pt x="15" y="59"/>
                    </a:lnTo>
                    <a:lnTo>
                      <a:pt x="15" y="57"/>
                    </a:lnTo>
                    <a:lnTo>
                      <a:pt x="15" y="59"/>
                    </a:lnTo>
                    <a:lnTo>
                      <a:pt x="14" y="59"/>
                    </a:lnTo>
                    <a:lnTo>
                      <a:pt x="12" y="59"/>
                    </a:lnTo>
                    <a:lnTo>
                      <a:pt x="10" y="59"/>
                    </a:lnTo>
                    <a:lnTo>
                      <a:pt x="12" y="59"/>
                    </a:lnTo>
                    <a:lnTo>
                      <a:pt x="12" y="61"/>
                    </a:lnTo>
                    <a:lnTo>
                      <a:pt x="12" y="63"/>
                    </a:lnTo>
                    <a:lnTo>
                      <a:pt x="10" y="63"/>
                    </a:lnTo>
                    <a:lnTo>
                      <a:pt x="10" y="64"/>
                    </a:lnTo>
                    <a:lnTo>
                      <a:pt x="9" y="63"/>
                    </a:lnTo>
                    <a:lnTo>
                      <a:pt x="9" y="64"/>
                    </a:lnTo>
                    <a:lnTo>
                      <a:pt x="7" y="64"/>
                    </a:lnTo>
                    <a:lnTo>
                      <a:pt x="5" y="64"/>
                    </a:lnTo>
                    <a:lnTo>
                      <a:pt x="7" y="64"/>
                    </a:lnTo>
                    <a:lnTo>
                      <a:pt x="5" y="63"/>
                    </a:lnTo>
                    <a:lnTo>
                      <a:pt x="4" y="63"/>
                    </a:lnTo>
                    <a:lnTo>
                      <a:pt x="2" y="63"/>
                    </a:lnTo>
                    <a:lnTo>
                      <a:pt x="2" y="61"/>
                    </a:lnTo>
                    <a:lnTo>
                      <a:pt x="2" y="63"/>
                    </a:lnTo>
                    <a:lnTo>
                      <a:pt x="0" y="63"/>
                    </a:lnTo>
                    <a:lnTo>
                      <a:pt x="0" y="61"/>
                    </a:lnTo>
                    <a:lnTo>
                      <a:pt x="0" y="59"/>
                    </a:lnTo>
                    <a:lnTo>
                      <a:pt x="2" y="59"/>
                    </a:lnTo>
                    <a:lnTo>
                      <a:pt x="2" y="57"/>
                    </a:lnTo>
                    <a:lnTo>
                      <a:pt x="4" y="57"/>
                    </a:lnTo>
                    <a:lnTo>
                      <a:pt x="4" y="56"/>
                    </a:lnTo>
                    <a:lnTo>
                      <a:pt x="4" y="54"/>
                    </a:lnTo>
                    <a:lnTo>
                      <a:pt x="4" y="56"/>
                    </a:lnTo>
                    <a:lnTo>
                      <a:pt x="4" y="54"/>
                    </a:lnTo>
                    <a:lnTo>
                      <a:pt x="5" y="54"/>
                    </a:lnTo>
                    <a:lnTo>
                      <a:pt x="7" y="54"/>
                    </a:lnTo>
                    <a:lnTo>
                      <a:pt x="9" y="54"/>
                    </a:lnTo>
                    <a:lnTo>
                      <a:pt x="10" y="54"/>
                    </a:lnTo>
                    <a:lnTo>
                      <a:pt x="12" y="54"/>
                    </a:lnTo>
                    <a:lnTo>
                      <a:pt x="14" y="54"/>
                    </a:lnTo>
                    <a:lnTo>
                      <a:pt x="14" y="52"/>
                    </a:lnTo>
                    <a:lnTo>
                      <a:pt x="14" y="51"/>
                    </a:lnTo>
                    <a:lnTo>
                      <a:pt x="14" y="49"/>
                    </a:lnTo>
                    <a:lnTo>
                      <a:pt x="14" y="47"/>
                    </a:lnTo>
                    <a:lnTo>
                      <a:pt x="14" y="46"/>
                    </a:lnTo>
                    <a:lnTo>
                      <a:pt x="15" y="46"/>
                    </a:lnTo>
                    <a:lnTo>
                      <a:pt x="14" y="46"/>
                    </a:lnTo>
                    <a:lnTo>
                      <a:pt x="14" y="44"/>
                    </a:lnTo>
                    <a:lnTo>
                      <a:pt x="15" y="44"/>
                    </a:lnTo>
                    <a:lnTo>
                      <a:pt x="14" y="44"/>
                    </a:lnTo>
                    <a:lnTo>
                      <a:pt x="15" y="42"/>
                    </a:lnTo>
                    <a:lnTo>
                      <a:pt x="14" y="42"/>
                    </a:lnTo>
                    <a:lnTo>
                      <a:pt x="14" y="40"/>
                    </a:lnTo>
                    <a:lnTo>
                      <a:pt x="14" y="39"/>
                    </a:lnTo>
                    <a:lnTo>
                      <a:pt x="15" y="39"/>
                    </a:lnTo>
                    <a:lnTo>
                      <a:pt x="14" y="37"/>
                    </a:lnTo>
                    <a:lnTo>
                      <a:pt x="15" y="37"/>
                    </a:lnTo>
                    <a:lnTo>
                      <a:pt x="15" y="35"/>
                    </a:lnTo>
                    <a:lnTo>
                      <a:pt x="17" y="35"/>
                    </a:lnTo>
                    <a:lnTo>
                      <a:pt x="15" y="34"/>
                    </a:lnTo>
                    <a:lnTo>
                      <a:pt x="15" y="35"/>
                    </a:lnTo>
                    <a:lnTo>
                      <a:pt x="14" y="35"/>
                    </a:lnTo>
                    <a:lnTo>
                      <a:pt x="14" y="34"/>
                    </a:lnTo>
                    <a:lnTo>
                      <a:pt x="15" y="34"/>
                    </a:lnTo>
                    <a:lnTo>
                      <a:pt x="15" y="32"/>
                    </a:lnTo>
                    <a:lnTo>
                      <a:pt x="17" y="32"/>
                    </a:lnTo>
                    <a:lnTo>
                      <a:pt x="19" y="32"/>
                    </a:lnTo>
                    <a:lnTo>
                      <a:pt x="19" y="30"/>
                    </a:lnTo>
                    <a:lnTo>
                      <a:pt x="19" y="29"/>
                    </a:lnTo>
                    <a:lnTo>
                      <a:pt x="19" y="27"/>
                    </a:lnTo>
                    <a:lnTo>
                      <a:pt x="21" y="27"/>
                    </a:lnTo>
                    <a:lnTo>
                      <a:pt x="22" y="27"/>
                    </a:lnTo>
                    <a:lnTo>
                      <a:pt x="22" y="25"/>
                    </a:lnTo>
                    <a:lnTo>
                      <a:pt x="24" y="27"/>
                    </a:lnTo>
                    <a:lnTo>
                      <a:pt x="24" y="25"/>
                    </a:lnTo>
                    <a:lnTo>
                      <a:pt x="24" y="23"/>
                    </a:lnTo>
                    <a:lnTo>
                      <a:pt x="24" y="25"/>
                    </a:lnTo>
                    <a:lnTo>
                      <a:pt x="26" y="25"/>
                    </a:lnTo>
                    <a:lnTo>
                      <a:pt x="26" y="23"/>
                    </a:lnTo>
                    <a:lnTo>
                      <a:pt x="27" y="23"/>
                    </a:lnTo>
                    <a:lnTo>
                      <a:pt x="29" y="23"/>
                    </a:lnTo>
                    <a:lnTo>
                      <a:pt x="29" y="22"/>
                    </a:lnTo>
                    <a:lnTo>
                      <a:pt x="31" y="22"/>
                    </a:lnTo>
                    <a:lnTo>
                      <a:pt x="31" y="20"/>
                    </a:lnTo>
                    <a:lnTo>
                      <a:pt x="31" y="18"/>
                    </a:lnTo>
                    <a:lnTo>
                      <a:pt x="31" y="17"/>
                    </a:lnTo>
                    <a:lnTo>
                      <a:pt x="29" y="18"/>
                    </a:lnTo>
                    <a:lnTo>
                      <a:pt x="29" y="17"/>
                    </a:lnTo>
                    <a:lnTo>
                      <a:pt x="29" y="18"/>
                    </a:lnTo>
                    <a:lnTo>
                      <a:pt x="29" y="17"/>
                    </a:lnTo>
                    <a:lnTo>
                      <a:pt x="29" y="15"/>
                    </a:lnTo>
                    <a:lnTo>
                      <a:pt x="29" y="13"/>
                    </a:lnTo>
                    <a:lnTo>
                      <a:pt x="27" y="13"/>
                    </a:lnTo>
                    <a:lnTo>
                      <a:pt x="26" y="12"/>
                    </a:lnTo>
                    <a:lnTo>
                      <a:pt x="26" y="10"/>
                    </a:lnTo>
                    <a:lnTo>
                      <a:pt x="24" y="10"/>
                    </a:lnTo>
                    <a:lnTo>
                      <a:pt x="24" y="8"/>
                    </a:lnTo>
                    <a:lnTo>
                      <a:pt x="24" y="6"/>
                    </a:lnTo>
                    <a:lnTo>
                      <a:pt x="24" y="5"/>
                    </a:lnTo>
                    <a:lnTo>
                      <a:pt x="26" y="3"/>
                    </a:lnTo>
                    <a:lnTo>
                      <a:pt x="24" y="3"/>
                    </a:lnTo>
                    <a:lnTo>
                      <a:pt x="24" y="1"/>
                    </a:lnTo>
                    <a:lnTo>
                      <a:pt x="26" y="1"/>
                    </a:lnTo>
                    <a:lnTo>
                      <a:pt x="27" y="1"/>
                    </a:lnTo>
                    <a:lnTo>
                      <a:pt x="29" y="1"/>
                    </a:lnTo>
                    <a:lnTo>
                      <a:pt x="31" y="1"/>
                    </a:lnTo>
                    <a:lnTo>
                      <a:pt x="31" y="0"/>
                    </a:lnTo>
                    <a:lnTo>
                      <a:pt x="31" y="1"/>
                    </a:lnTo>
                    <a:lnTo>
                      <a:pt x="32" y="1"/>
                    </a:lnTo>
                    <a:lnTo>
                      <a:pt x="34" y="1"/>
                    </a:lnTo>
                    <a:lnTo>
                      <a:pt x="34" y="0"/>
                    </a:lnTo>
                    <a:lnTo>
                      <a:pt x="36" y="1"/>
                    </a:lnTo>
                    <a:lnTo>
                      <a:pt x="34" y="1"/>
                    </a:lnTo>
                    <a:lnTo>
                      <a:pt x="36" y="1"/>
                    </a:lnTo>
                    <a:lnTo>
                      <a:pt x="36" y="3"/>
                    </a:lnTo>
                    <a:lnTo>
                      <a:pt x="34" y="3"/>
                    </a:lnTo>
                    <a:lnTo>
                      <a:pt x="36" y="5"/>
                    </a:lnTo>
                    <a:lnTo>
                      <a:pt x="36" y="6"/>
                    </a:lnTo>
                    <a:lnTo>
                      <a:pt x="34" y="6"/>
                    </a:lnTo>
                    <a:lnTo>
                      <a:pt x="34" y="8"/>
                    </a:lnTo>
                    <a:lnTo>
                      <a:pt x="36" y="8"/>
                    </a:lnTo>
                    <a:lnTo>
                      <a:pt x="36" y="10"/>
                    </a:lnTo>
                    <a:lnTo>
                      <a:pt x="36" y="8"/>
                    </a:lnTo>
                    <a:lnTo>
                      <a:pt x="38" y="8"/>
                    </a:lnTo>
                    <a:lnTo>
                      <a:pt x="38" y="10"/>
                    </a:lnTo>
                    <a:lnTo>
                      <a:pt x="36" y="10"/>
                    </a:lnTo>
                    <a:lnTo>
                      <a:pt x="38" y="10"/>
                    </a:lnTo>
                    <a:lnTo>
                      <a:pt x="38" y="12"/>
                    </a:lnTo>
                    <a:lnTo>
                      <a:pt x="39" y="12"/>
                    </a:lnTo>
                    <a:lnTo>
                      <a:pt x="39" y="13"/>
                    </a:lnTo>
                    <a:lnTo>
                      <a:pt x="38" y="13"/>
                    </a:lnTo>
                    <a:lnTo>
                      <a:pt x="38" y="15"/>
                    </a:lnTo>
                    <a:lnTo>
                      <a:pt x="39" y="15"/>
                    </a:lnTo>
                    <a:lnTo>
                      <a:pt x="39" y="17"/>
                    </a:lnTo>
                    <a:lnTo>
                      <a:pt x="38" y="17"/>
                    </a:lnTo>
                    <a:lnTo>
                      <a:pt x="38" y="18"/>
                    </a:lnTo>
                    <a:lnTo>
                      <a:pt x="39" y="18"/>
                    </a:lnTo>
                    <a:lnTo>
                      <a:pt x="38" y="18"/>
                    </a:lnTo>
                    <a:lnTo>
                      <a:pt x="38" y="20"/>
                    </a:lnTo>
                    <a:lnTo>
                      <a:pt x="39" y="20"/>
                    </a:lnTo>
                    <a:lnTo>
                      <a:pt x="41" y="20"/>
                    </a:lnTo>
                    <a:lnTo>
                      <a:pt x="41" y="22"/>
                    </a:lnTo>
                    <a:lnTo>
                      <a:pt x="43" y="22"/>
                    </a:lnTo>
                    <a:lnTo>
                      <a:pt x="41" y="22"/>
                    </a:lnTo>
                    <a:lnTo>
                      <a:pt x="43" y="23"/>
                    </a:lnTo>
                    <a:lnTo>
                      <a:pt x="43" y="25"/>
                    </a:lnTo>
                    <a:lnTo>
                      <a:pt x="44" y="25"/>
                    </a:lnTo>
                    <a:lnTo>
                      <a:pt x="44" y="27"/>
                    </a:lnTo>
                    <a:lnTo>
                      <a:pt x="44" y="29"/>
                    </a:lnTo>
                    <a:lnTo>
                      <a:pt x="46" y="29"/>
                    </a:lnTo>
                    <a:lnTo>
                      <a:pt x="46" y="30"/>
                    </a:lnTo>
                    <a:lnTo>
                      <a:pt x="48" y="30"/>
                    </a:lnTo>
                    <a:lnTo>
                      <a:pt x="48" y="32"/>
                    </a:lnTo>
                    <a:lnTo>
                      <a:pt x="46" y="32"/>
                    </a:lnTo>
                    <a:lnTo>
                      <a:pt x="48" y="32"/>
                    </a:lnTo>
                    <a:lnTo>
                      <a:pt x="48" y="34"/>
                    </a:lnTo>
                    <a:lnTo>
                      <a:pt x="48" y="35"/>
                    </a:lnTo>
                    <a:lnTo>
                      <a:pt x="49" y="35"/>
                    </a:lnTo>
                    <a:lnTo>
                      <a:pt x="49" y="37"/>
                    </a:lnTo>
                    <a:lnTo>
                      <a:pt x="51" y="39"/>
                    </a:lnTo>
                    <a:lnTo>
                      <a:pt x="51" y="40"/>
                    </a:lnTo>
                    <a:lnTo>
                      <a:pt x="53" y="40"/>
                    </a:lnTo>
                    <a:lnTo>
                      <a:pt x="53" y="42"/>
                    </a:lnTo>
                    <a:lnTo>
                      <a:pt x="53" y="44"/>
                    </a:lnTo>
                    <a:lnTo>
                      <a:pt x="55" y="44"/>
                    </a:lnTo>
                    <a:lnTo>
                      <a:pt x="55" y="46"/>
                    </a:lnTo>
                    <a:lnTo>
                      <a:pt x="56" y="46"/>
                    </a:lnTo>
                    <a:lnTo>
                      <a:pt x="56" y="47"/>
                    </a:lnTo>
                    <a:lnTo>
                      <a:pt x="58" y="47"/>
                    </a:lnTo>
                    <a:lnTo>
                      <a:pt x="60" y="47"/>
                    </a:lnTo>
                    <a:lnTo>
                      <a:pt x="61" y="47"/>
                    </a:lnTo>
                    <a:lnTo>
                      <a:pt x="61" y="4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38" name="Freeform 45">
                <a:extLst>
                  <a:ext uri="{FF2B5EF4-FFF2-40B4-BE49-F238E27FC236}">
                    <a16:creationId xmlns:a16="http://schemas.microsoft.com/office/drawing/2014/main" id="{FEA9E46C-7852-9660-BEAC-C0AF94303B46}"/>
                  </a:ext>
                </a:extLst>
              </p:cNvPr>
              <p:cNvSpPr>
                <a:spLocks/>
              </p:cNvSpPr>
              <p:nvPr/>
            </p:nvSpPr>
            <p:spPr bwMode="auto">
              <a:xfrm>
                <a:off x="5757004" y="3141861"/>
                <a:ext cx="83416" cy="89878"/>
              </a:xfrm>
              <a:custGeom>
                <a:avLst/>
                <a:gdLst>
                  <a:gd name="T0" fmla="*/ 155 w 284"/>
                  <a:gd name="T1" fmla="*/ 39 h 306"/>
                  <a:gd name="T2" fmla="*/ 158 w 284"/>
                  <a:gd name="T3" fmla="*/ 51 h 306"/>
                  <a:gd name="T4" fmla="*/ 161 w 284"/>
                  <a:gd name="T5" fmla="*/ 58 h 306"/>
                  <a:gd name="T6" fmla="*/ 161 w 284"/>
                  <a:gd name="T7" fmla="*/ 68 h 306"/>
                  <a:gd name="T8" fmla="*/ 160 w 284"/>
                  <a:gd name="T9" fmla="*/ 80 h 306"/>
                  <a:gd name="T10" fmla="*/ 158 w 284"/>
                  <a:gd name="T11" fmla="*/ 92 h 306"/>
                  <a:gd name="T12" fmla="*/ 158 w 284"/>
                  <a:gd name="T13" fmla="*/ 100 h 306"/>
                  <a:gd name="T14" fmla="*/ 167 w 284"/>
                  <a:gd name="T15" fmla="*/ 102 h 306"/>
                  <a:gd name="T16" fmla="*/ 178 w 284"/>
                  <a:gd name="T17" fmla="*/ 107 h 306"/>
                  <a:gd name="T18" fmla="*/ 189 w 284"/>
                  <a:gd name="T19" fmla="*/ 107 h 306"/>
                  <a:gd name="T20" fmla="*/ 201 w 284"/>
                  <a:gd name="T21" fmla="*/ 105 h 306"/>
                  <a:gd name="T22" fmla="*/ 207 w 284"/>
                  <a:gd name="T23" fmla="*/ 103 h 306"/>
                  <a:gd name="T24" fmla="*/ 216 w 284"/>
                  <a:gd name="T25" fmla="*/ 105 h 306"/>
                  <a:gd name="T26" fmla="*/ 226 w 284"/>
                  <a:gd name="T27" fmla="*/ 109 h 306"/>
                  <a:gd name="T28" fmla="*/ 235 w 284"/>
                  <a:gd name="T29" fmla="*/ 117 h 306"/>
                  <a:gd name="T30" fmla="*/ 236 w 284"/>
                  <a:gd name="T31" fmla="*/ 131 h 306"/>
                  <a:gd name="T32" fmla="*/ 240 w 284"/>
                  <a:gd name="T33" fmla="*/ 143 h 306"/>
                  <a:gd name="T34" fmla="*/ 241 w 284"/>
                  <a:gd name="T35" fmla="*/ 156 h 306"/>
                  <a:gd name="T36" fmla="*/ 243 w 284"/>
                  <a:gd name="T37" fmla="*/ 166 h 306"/>
                  <a:gd name="T38" fmla="*/ 253 w 284"/>
                  <a:gd name="T39" fmla="*/ 170 h 306"/>
                  <a:gd name="T40" fmla="*/ 263 w 284"/>
                  <a:gd name="T41" fmla="*/ 166 h 306"/>
                  <a:gd name="T42" fmla="*/ 277 w 284"/>
                  <a:gd name="T43" fmla="*/ 166 h 306"/>
                  <a:gd name="T44" fmla="*/ 282 w 284"/>
                  <a:gd name="T45" fmla="*/ 180 h 306"/>
                  <a:gd name="T46" fmla="*/ 282 w 284"/>
                  <a:gd name="T47" fmla="*/ 195 h 306"/>
                  <a:gd name="T48" fmla="*/ 277 w 284"/>
                  <a:gd name="T49" fmla="*/ 212 h 306"/>
                  <a:gd name="T50" fmla="*/ 272 w 284"/>
                  <a:gd name="T51" fmla="*/ 229 h 306"/>
                  <a:gd name="T52" fmla="*/ 272 w 284"/>
                  <a:gd name="T53" fmla="*/ 245 h 306"/>
                  <a:gd name="T54" fmla="*/ 270 w 284"/>
                  <a:gd name="T55" fmla="*/ 257 h 306"/>
                  <a:gd name="T56" fmla="*/ 265 w 284"/>
                  <a:gd name="T57" fmla="*/ 270 h 306"/>
                  <a:gd name="T58" fmla="*/ 253 w 284"/>
                  <a:gd name="T59" fmla="*/ 280 h 306"/>
                  <a:gd name="T60" fmla="*/ 240 w 284"/>
                  <a:gd name="T61" fmla="*/ 287 h 306"/>
                  <a:gd name="T62" fmla="*/ 236 w 284"/>
                  <a:gd name="T63" fmla="*/ 297 h 306"/>
                  <a:gd name="T64" fmla="*/ 223 w 284"/>
                  <a:gd name="T65" fmla="*/ 296 h 306"/>
                  <a:gd name="T66" fmla="*/ 212 w 284"/>
                  <a:gd name="T67" fmla="*/ 304 h 306"/>
                  <a:gd name="T68" fmla="*/ 199 w 284"/>
                  <a:gd name="T69" fmla="*/ 303 h 306"/>
                  <a:gd name="T70" fmla="*/ 185 w 284"/>
                  <a:gd name="T71" fmla="*/ 301 h 306"/>
                  <a:gd name="T72" fmla="*/ 170 w 284"/>
                  <a:gd name="T73" fmla="*/ 297 h 306"/>
                  <a:gd name="T74" fmla="*/ 153 w 284"/>
                  <a:gd name="T75" fmla="*/ 294 h 306"/>
                  <a:gd name="T76" fmla="*/ 136 w 284"/>
                  <a:gd name="T77" fmla="*/ 296 h 306"/>
                  <a:gd name="T78" fmla="*/ 139 w 284"/>
                  <a:gd name="T79" fmla="*/ 287 h 306"/>
                  <a:gd name="T80" fmla="*/ 144 w 284"/>
                  <a:gd name="T81" fmla="*/ 280 h 306"/>
                  <a:gd name="T82" fmla="*/ 151 w 284"/>
                  <a:gd name="T83" fmla="*/ 270 h 306"/>
                  <a:gd name="T84" fmla="*/ 151 w 284"/>
                  <a:gd name="T85" fmla="*/ 260 h 306"/>
                  <a:gd name="T86" fmla="*/ 156 w 284"/>
                  <a:gd name="T87" fmla="*/ 250 h 306"/>
                  <a:gd name="T88" fmla="*/ 163 w 284"/>
                  <a:gd name="T89" fmla="*/ 240 h 306"/>
                  <a:gd name="T90" fmla="*/ 168 w 284"/>
                  <a:gd name="T91" fmla="*/ 231 h 306"/>
                  <a:gd name="T92" fmla="*/ 167 w 284"/>
                  <a:gd name="T93" fmla="*/ 221 h 306"/>
                  <a:gd name="T94" fmla="*/ 161 w 284"/>
                  <a:gd name="T95" fmla="*/ 211 h 306"/>
                  <a:gd name="T96" fmla="*/ 153 w 284"/>
                  <a:gd name="T97" fmla="*/ 207 h 306"/>
                  <a:gd name="T98" fmla="*/ 143 w 284"/>
                  <a:gd name="T99" fmla="*/ 204 h 306"/>
                  <a:gd name="T100" fmla="*/ 129 w 284"/>
                  <a:gd name="T101" fmla="*/ 199 h 306"/>
                  <a:gd name="T102" fmla="*/ 114 w 284"/>
                  <a:gd name="T103" fmla="*/ 190 h 306"/>
                  <a:gd name="T104" fmla="*/ 83 w 284"/>
                  <a:gd name="T105" fmla="*/ 173 h 306"/>
                  <a:gd name="T106" fmla="*/ 68 w 284"/>
                  <a:gd name="T107" fmla="*/ 168 h 306"/>
                  <a:gd name="T108" fmla="*/ 54 w 284"/>
                  <a:gd name="T109" fmla="*/ 161 h 306"/>
                  <a:gd name="T110" fmla="*/ 46 w 284"/>
                  <a:gd name="T111" fmla="*/ 151 h 306"/>
                  <a:gd name="T112" fmla="*/ 34 w 284"/>
                  <a:gd name="T113" fmla="*/ 144 h 306"/>
                  <a:gd name="T114" fmla="*/ 22 w 284"/>
                  <a:gd name="T115" fmla="*/ 136 h 306"/>
                  <a:gd name="T116" fmla="*/ 14 w 284"/>
                  <a:gd name="T117" fmla="*/ 122 h 306"/>
                  <a:gd name="T118" fmla="*/ 10 w 284"/>
                  <a:gd name="T119" fmla="*/ 115 h 306"/>
                  <a:gd name="T120" fmla="*/ 0 w 284"/>
                  <a:gd name="T121" fmla="*/ 109 h 306"/>
                  <a:gd name="T122" fmla="*/ 25 w 284"/>
                  <a:gd name="T123" fmla="*/ 27 h 306"/>
                  <a:gd name="T124" fmla="*/ 151 w 284"/>
                  <a:gd name="T125" fmla="*/ 2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4" h="306">
                    <a:moveTo>
                      <a:pt x="151" y="32"/>
                    </a:moveTo>
                    <a:lnTo>
                      <a:pt x="153" y="32"/>
                    </a:lnTo>
                    <a:lnTo>
                      <a:pt x="153" y="34"/>
                    </a:lnTo>
                    <a:lnTo>
                      <a:pt x="151" y="34"/>
                    </a:lnTo>
                    <a:lnTo>
                      <a:pt x="151" y="35"/>
                    </a:lnTo>
                    <a:lnTo>
                      <a:pt x="153" y="35"/>
                    </a:lnTo>
                    <a:lnTo>
                      <a:pt x="153" y="34"/>
                    </a:lnTo>
                    <a:lnTo>
                      <a:pt x="155" y="35"/>
                    </a:lnTo>
                    <a:lnTo>
                      <a:pt x="153" y="37"/>
                    </a:lnTo>
                    <a:lnTo>
                      <a:pt x="155" y="37"/>
                    </a:lnTo>
                    <a:lnTo>
                      <a:pt x="155" y="39"/>
                    </a:lnTo>
                    <a:lnTo>
                      <a:pt x="156" y="41"/>
                    </a:lnTo>
                    <a:lnTo>
                      <a:pt x="158" y="41"/>
                    </a:lnTo>
                    <a:lnTo>
                      <a:pt x="158" y="42"/>
                    </a:lnTo>
                    <a:lnTo>
                      <a:pt x="156" y="42"/>
                    </a:lnTo>
                    <a:lnTo>
                      <a:pt x="156" y="44"/>
                    </a:lnTo>
                    <a:lnTo>
                      <a:pt x="156" y="46"/>
                    </a:lnTo>
                    <a:lnTo>
                      <a:pt x="158" y="46"/>
                    </a:lnTo>
                    <a:lnTo>
                      <a:pt x="156" y="47"/>
                    </a:lnTo>
                    <a:lnTo>
                      <a:pt x="158" y="47"/>
                    </a:lnTo>
                    <a:lnTo>
                      <a:pt x="158" y="49"/>
                    </a:lnTo>
                    <a:lnTo>
                      <a:pt x="158" y="51"/>
                    </a:lnTo>
                    <a:lnTo>
                      <a:pt x="160" y="51"/>
                    </a:lnTo>
                    <a:lnTo>
                      <a:pt x="160" y="49"/>
                    </a:lnTo>
                    <a:lnTo>
                      <a:pt x="160" y="51"/>
                    </a:lnTo>
                    <a:lnTo>
                      <a:pt x="161" y="51"/>
                    </a:lnTo>
                    <a:lnTo>
                      <a:pt x="161" y="52"/>
                    </a:lnTo>
                    <a:lnTo>
                      <a:pt x="160" y="52"/>
                    </a:lnTo>
                    <a:lnTo>
                      <a:pt x="158" y="54"/>
                    </a:lnTo>
                    <a:lnTo>
                      <a:pt x="160" y="54"/>
                    </a:lnTo>
                    <a:lnTo>
                      <a:pt x="161" y="54"/>
                    </a:lnTo>
                    <a:lnTo>
                      <a:pt x="161" y="56"/>
                    </a:lnTo>
                    <a:lnTo>
                      <a:pt x="161" y="58"/>
                    </a:lnTo>
                    <a:lnTo>
                      <a:pt x="160" y="58"/>
                    </a:lnTo>
                    <a:lnTo>
                      <a:pt x="161" y="58"/>
                    </a:lnTo>
                    <a:lnTo>
                      <a:pt x="161" y="59"/>
                    </a:lnTo>
                    <a:lnTo>
                      <a:pt x="163" y="59"/>
                    </a:lnTo>
                    <a:lnTo>
                      <a:pt x="163" y="61"/>
                    </a:lnTo>
                    <a:lnTo>
                      <a:pt x="163" y="63"/>
                    </a:lnTo>
                    <a:lnTo>
                      <a:pt x="161" y="63"/>
                    </a:lnTo>
                    <a:lnTo>
                      <a:pt x="161" y="64"/>
                    </a:lnTo>
                    <a:lnTo>
                      <a:pt x="163" y="64"/>
                    </a:lnTo>
                    <a:lnTo>
                      <a:pt x="161" y="66"/>
                    </a:lnTo>
                    <a:lnTo>
                      <a:pt x="161" y="68"/>
                    </a:lnTo>
                    <a:lnTo>
                      <a:pt x="163" y="68"/>
                    </a:lnTo>
                    <a:lnTo>
                      <a:pt x="163" y="69"/>
                    </a:lnTo>
                    <a:lnTo>
                      <a:pt x="161" y="69"/>
                    </a:lnTo>
                    <a:lnTo>
                      <a:pt x="161" y="71"/>
                    </a:lnTo>
                    <a:lnTo>
                      <a:pt x="160" y="71"/>
                    </a:lnTo>
                    <a:lnTo>
                      <a:pt x="161" y="73"/>
                    </a:lnTo>
                    <a:lnTo>
                      <a:pt x="161" y="75"/>
                    </a:lnTo>
                    <a:lnTo>
                      <a:pt x="161" y="76"/>
                    </a:lnTo>
                    <a:lnTo>
                      <a:pt x="160" y="76"/>
                    </a:lnTo>
                    <a:lnTo>
                      <a:pt x="160" y="78"/>
                    </a:lnTo>
                    <a:lnTo>
                      <a:pt x="160" y="80"/>
                    </a:lnTo>
                    <a:lnTo>
                      <a:pt x="158" y="80"/>
                    </a:lnTo>
                    <a:lnTo>
                      <a:pt x="158" y="81"/>
                    </a:lnTo>
                    <a:lnTo>
                      <a:pt x="160" y="81"/>
                    </a:lnTo>
                    <a:lnTo>
                      <a:pt x="160" y="83"/>
                    </a:lnTo>
                    <a:lnTo>
                      <a:pt x="160" y="85"/>
                    </a:lnTo>
                    <a:lnTo>
                      <a:pt x="160" y="86"/>
                    </a:lnTo>
                    <a:lnTo>
                      <a:pt x="161" y="86"/>
                    </a:lnTo>
                    <a:lnTo>
                      <a:pt x="160" y="88"/>
                    </a:lnTo>
                    <a:lnTo>
                      <a:pt x="160" y="90"/>
                    </a:lnTo>
                    <a:lnTo>
                      <a:pt x="160" y="92"/>
                    </a:lnTo>
                    <a:lnTo>
                      <a:pt x="158" y="92"/>
                    </a:lnTo>
                    <a:lnTo>
                      <a:pt x="158" y="93"/>
                    </a:lnTo>
                    <a:lnTo>
                      <a:pt x="160" y="93"/>
                    </a:lnTo>
                    <a:lnTo>
                      <a:pt x="160" y="95"/>
                    </a:lnTo>
                    <a:lnTo>
                      <a:pt x="160" y="97"/>
                    </a:lnTo>
                    <a:lnTo>
                      <a:pt x="158" y="97"/>
                    </a:lnTo>
                    <a:lnTo>
                      <a:pt x="158" y="98"/>
                    </a:lnTo>
                    <a:lnTo>
                      <a:pt x="156" y="98"/>
                    </a:lnTo>
                    <a:lnTo>
                      <a:pt x="156" y="100"/>
                    </a:lnTo>
                    <a:lnTo>
                      <a:pt x="158" y="100"/>
                    </a:lnTo>
                    <a:lnTo>
                      <a:pt x="158" y="102"/>
                    </a:lnTo>
                    <a:lnTo>
                      <a:pt x="158" y="100"/>
                    </a:lnTo>
                    <a:lnTo>
                      <a:pt x="160" y="100"/>
                    </a:lnTo>
                    <a:lnTo>
                      <a:pt x="160" y="102"/>
                    </a:lnTo>
                    <a:lnTo>
                      <a:pt x="161" y="102"/>
                    </a:lnTo>
                    <a:lnTo>
                      <a:pt x="161" y="103"/>
                    </a:lnTo>
                    <a:lnTo>
                      <a:pt x="161" y="102"/>
                    </a:lnTo>
                    <a:lnTo>
                      <a:pt x="163" y="102"/>
                    </a:lnTo>
                    <a:lnTo>
                      <a:pt x="163" y="103"/>
                    </a:lnTo>
                    <a:lnTo>
                      <a:pt x="165" y="102"/>
                    </a:lnTo>
                    <a:lnTo>
                      <a:pt x="165" y="103"/>
                    </a:lnTo>
                    <a:lnTo>
                      <a:pt x="167" y="103"/>
                    </a:lnTo>
                    <a:lnTo>
                      <a:pt x="167" y="102"/>
                    </a:lnTo>
                    <a:lnTo>
                      <a:pt x="168" y="102"/>
                    </a:lnTo>
                    <a:lnTo>
                      <a:pt x="170" y="102"/>
                    </a:lnTo>
                    <a:lnTo>
                      <a:pt x="170" y="103"/>
                    </a:lnTo>
                    <a:lnTo>
                      <a:pt x="172" y="103"/>
                    </a:lnTo>
                    <a:lnTo>
                      <a:pt x="173" y="105"/>
                    </a:lnTo>
                    <a:lnTo>
                      <a:pt x="173" y="103"/>
                    </a:lnTo>
                    <a:lnTo>
                      <a:pt x="173" y="105"/>
                    </a:lnTo>
                    <a:lnTo>
                      <a:pt x="175" y="105"/>
                    </a:lnTo>
                    <a:lnTo>
                      <a:pt x="177" y="105"/>
                    </a:lnTo>
                    <a:lnTo>
                      <a:pt x="178" y="105"/>
                    </a:lnTo>
                    <a:lnTo>
                      <a:pt x="178" y="107"/>
                    </a:lnTo>
                    <a:lnTo>
                      <a:pt x="178" y="105"/>
                    </a:lnTo>
                    <a:lnTo>
                      <a:pt x="180" y="107"/>
                    </a:lnTo>
                    <a:lnTo>
                      <a:pt x="182" y="105"/>
                    </a:lnTo>
                    <a:lnTo>
                      <a:pt x="182" y="107"/>
                    </a:lnTo>
                    <a:lnTo>
                      <a:pt x="184" y="107"/>
                    </a:lnTo>
                    <a:lnTo>
                      <a:pt x="184" y="105"/>
                    </a:lnTo>
                    <a:lnTo>
                      <a:pt x="185" y="105"/>
                    </a:lnTo>
                    <a:lnTo>
                      <a:pt x="185" y="107"/>
                    </a:lnTo>
                    <a:lnTo>
                      <a:pt x="187" y="105"/>
                    </a:lnTo>
                    <a:lnTo>
                      <a:pt x="187" y="107"/>
                    </a:lnTo>
                    <a:lnTo>
                      <a:pt x="189" y="107"/>
                    </a:lnTo>
                    <a:lnTo>
                      <a:pt x="190" y="107"/>
                    </a:lnTo>
                    <a:lnTo>
                      <a:pt x="190" y="105"/>
                    </a:lnTo>
                    <a:lnTo>
                      <a:pt x="192" y="107"/>
                    </a:lnTo>
                    <a:lnTo>
                      <a:pt x="194" y="107"/>
                    </a:lnTo>
                    <a:lnTo>
                      <a:pt x="195" y="107"/>
                    </a:lnTo>
                    <a:lnTo>
                      <a:pt x="195" y="109"/>
                    </a:lnTo>
                    <a:lnTo>
                      <a:pt x="197" y="109"/>
                    </a:lnTo>
                    <a:lnTo>
                      <a:pt x="197" y="107"/>
                    </a:lnTo>
                    <a:lnTo>
                      <a:pt x="199" y="107"/>
                    </a:lnTo>
                    <a:lnTo>
                      <a:pt x="201" y="107"/>
                    </a:lnTo>
                    <a:lnTo>
                      <a:pt x="201" y="105"/>
                    </a:lnTo>
                    <a:lnTo>
                      <a:pt x="202" y="105"/>
                    </a:lnTo>
                    <a:lnTo>
                      <a:pt x="202" y="107"/>
                    </a:lnTo>
                    <a:lnTo>
                      <a:pt x="204" y="107"/>
                    </a:lnTo>
                    <a:lnTo>
                      <a:pt x="202" y="107"/>
                    </a:lnTo>
                    <a:lnTo>
                      <a:pt x="204" y="107"/>
                    </a:lnTo>
                    <a:lnTo>
                      <a:pt x="204" y="105"/>
                    </a:lnTo>
                    <a:lnTo>
                      <a:pt x="206" y="105"/>
                    </a:lnTo>
                    <a:lnTo>
                      <a:pt x="206" y="103"/>
                    </a:lnTo>
                    <a:lnTo>
                      <a:pt x="207" y="103"/>
                    </a:lnTo>
                    <a:lnTo>
                      <a:pt x="206" y="103"/>
                    </a:lnTo>
                    <a:lnTo>
                      <a:pt x="207" y="103"/>
                    </a:lnTo>
                    <a:lnTo>
                      <a:pt x="207" y="102"/>
                    </a:lnTo>
                    <a:lnTo>
                      <a:pt x="209" y="102"/>
                    </a:lnTo>
                    <a:lnTo>
                      <a:pt x="209" y="100"/>
                    </a:lnTo>
                    <a:lnTo>
                      <a:pt x="211" y="102"/>
                    </a:lnTo>
                    <a:lnTo>
                      <a:pt x="211" y="100"/>
                    </a:lnTo>
                    <a:lnTo>
                      <a:pt x="211" y="102"/>
                    </a:lnTo>
                    <a:lnTo>
                      <a:pt x="212" y="102"/>
                    </a:lnTo>
                    <a:lnTo>
                      <a:pt x="212" y="103"/>
                    </a:lnTo>
                    <a:lnTo>
                      <a:pt x="212" y="105"/>
                    </a:lnTo>
                    <a:lnTo>
                      <a:pt x="214" y="105"/>
                    </a:lnTo>
                    <a:lnTo>
                      <a:pt x="216" y="105"/>
                    </a:lnTo>
                    <a:lnTo>
                      <a:pt x="216" y="107"/>
                    </a:lnTo>
                    <a:lnTo>
                      <a:pt x="218" y="107"/>
                    </a:lnTo>
                    <a:lnTo>
                      <a:pt x="218" y="109"/>
                    </a:lnTo>
                    <a:lnTo>
                      <a:pt x="218" y="107"/>
                    </a:lnTo>
                    <a:lnTo>
                      <a:pt x="219" y="109"/>
                    </a:lnTo>
                    <a:lnTo>
                      <a:pt x="221" y="109"/>
                    </a:lnTo>
                    <a:lnTo>
                      <a:pt x="221" y="107"/>
                    </a:lnTo>
                    <a:lnTo>
                      <a:pt x="221" y="109"/>
                    </a:lnTo>
                    <a:lnTo>
                      <a:pt x="223" y="109"/>
                    </a:lnTo>
                    <a:lnTo>
                      <a:pt x="224" y="109"/>
                    </a:lnTo>
                    <a:lnTo>
                      <a:pt x="226" y="109"/>
                    </a:lnTo>
                    <a:lnTo>
                      <a:pt x="228" y="109"/>
                    </a:lnTo>
                    <a:lnTo>
                      <a:pt x="229" y="109"/>
                    </a:lnTo>
                    <a:lnTo>
                      <a:pt x="231" y="110"/>
                    </a:lnTo>
                    <a:lnTo>
                      <a:pt x="231" y="112"/>
                    </a:lnTo>
                    <a:lnTo>
                      <a:pt x="233" y="112"/>
                    </a:lnTo>
                    <a:lnTo>
                      <a:pt x="233" y="114"/>
                    </a:lnTo>
                    <a:lnTo>
                      <a:pt x="235" y="114"/>
                    </a:lnTo>
                    <a:lnTo>
                      <a:pt x="233" y="114"/>
                    </a:lnTo>
                    <a:lnTo>
                      <a:pt x="233" y="115"/>
                    </a:lnTo>
                    <a:lnTo>
                      <a:pt x="233" y="117"/>
                    </a:lnTo>
                    <a:lnTo>
                      <a:pt x="235" y="117"/>
                    </a:lnTo>
                    <a:lnTo>
                      <a:pt x="235" y="119"/>
                    </a:lnTo>
                    <a:lnTo>
                      <a:pt x="236" y="119"/>
                    </a:lnTo>
                    <a:lnTo>
                      <a:pt x="236" y="121"/>
                    </a:lnTo>
                    <a:lnTo>
                      <a:pt x="238" y="121"/>
                    </a:lnTo>
                    <a:lnTo>
                      <a:pt x="238" y="122"/>
                    </a:lnTo>
                    <a:lnTo>
                      <a:pt x="238" y="124"/>
                    </a:lnTo>
                    <a:lnTo>
                      <a:pt x="238" y="126"/>
                    </a:lnTo>
                    <a:lnTo>
                      <a:pt x="236" y="126"/>
                    </a:lnTo>
                    <a:lnTo>
                      <a:pt x="236" y="127"/>
                    </a:lnTo>
                    <a:lnTo>
                      <a:pt x="236" y="129"/>
                    </a:lnTo>
                    <a:lnTo>
                      <a:pt x="236" y="131"/>
                    </a:lnTo>
                    <a:lnTo>
                      <a:pt x="236" y="132"/>
                    </a:lnTo>
                    <a:lnTo>
                      <a:pt x="238" y="134"/>
                    </a:lnTo>
                    <a:lnTo>
                      <a:pt x="236" y="136"/>
                    </a:lnTo>
                    <a:lnTo>
                      <a:pt x="238" y="136"/>
                    </a:lnTo>
                    <a:lnTo>
                      <a:pt x="238" y="138"/>
                    </a:lnTo>
                    <a:lnTo>
                      <a:pt x="238" y="139"/>
                    </a:lnTo>
                    <a:lnTo>
                      <a:pt x="240" y="139"/>
                    </a:lnTo>
                    <a:lnTo>
                      <a:pt x="240" y="141"/>
                    </a:lnTo>
                    <a:lnTo>
                      <a:pt x="241" y="141"/>
                    </a:lnTo>
                    <a:lnTo>
                      <a:pt x="241" y="143"/>
                    </a:lnTo>
                    <a:lnTo>
                      <a:pt x="240" y="143"/>
                    </a:lnTo>
                    <a:lnTo>
                      <a:pt x="240" y="144"/>
                    </a:lnTo>
                    <a:lnTo>
                      <a:pt x="241" y="144"/>
                    </a:lnTo>
                    <a:lnTo>
                      <a:pt x="240" y="144"/>
                    </a:lnTo>
                    <a:lnTo>
                      <a:pt x="240" y="146"/>
                    </a:lnTo>
                    <a:lnTo>
                      <a:pt x="241" y="148"/>
                    </a:lnTo>
                    <a:lnTo>
                      <a:pt x="241" y="149"/>
                    </a:lnTo>
                    <a:lnTo>
                      <a:pt x="240" y="151"/>
                    </a:lnTo>
                    <a:lnTo>
                      <a:pt x="240" y="153"/>
                    </a:lnTo>
                    <a:lnTo>
                      <a:pt x="240" y="155"/>
                    </a:lnTo>
                    <a:lnTo>
                      <a:pt x="241" y="155"/>
                    </a:lnTo>
                    <a:lnTo>
                      <a:pt x="241" y="156"/>
                    </a:lnTo>
                    <a:lnTo>
                      <a:pt x="240" y="156"/>
                    </a:lnTo>
                    <a:lnTo>
                      <a:pt x="240" y="158"/>
                    </a:lnTo>
                    <a:lnTo>
                      <a:pt x="241" y="158"/>
                    </a:lnTo>
                    <a:lnTo>
                      <a:pt x="243" y="158"/>
                    </a:lnTo>
                    <a:lnTo>
                      <a:pt x="243" y="160"/>
                    </a:lnTo>
                    <a:lnTo>
                      <a:pt x="243" y="161"/>
                    </a:lnTo>
                    <a:lnTo>
                      <a:pt x="243" y="163"/>
                    </a:lnTo>
                    <a:lnTo>
                      <a:pt x="245" y="163"/>
                    </a:lnTo>
                    <a:lnTo>
                      <a:pt x="243" y="163"/>
                    </a:lnTo>
                    <a:lnTo>
                      <a:pt x="243" y="165"/>
                    </a:lnTo>
                    <a:lnTo>
                      <a:pt x="243" y="166"/>
                    </a:lnTo>
                    <a:lnTo>
                      <a:pt x="243" y="168"/>
                    </a:lnTo>
                    <a:lnTo>
                      <a:pt x="245" y="168"/>
                    </a:lnTo>
                    <a:lnTo>
                      <a:pt x="245" y="170"/>
                    </a:lnTo>
                    <a:lnTo>
                      <a:pt x="246" y="170"/>
                    </a:lnTo>
                    <a:lnTo>
                      <a:pt x="246" y="172"/>
                    </a:lnTo>
                    <a:lnTo>
                      <a:pt x="248" y="170"/>
                    </a:lnTo>
                    <a:lnTo>
                      <a:pt x="250" y="170"/>
                    </a:lnTo>
                    <a:lnTo>
                      <a:pt x="250" y="172"/>
                    </a:lnTo>
                    <a:lnTo>
                      <a:pt x="252" y="172"/>
                    </a:lnTo>
                    <a:lnTo>
                      <a:pt x="253" y="172"/>
                    </a:lnTo>
                    <a:lnTo>
                      <a:pt x="253" y="170"/>
                    </a:lnTo>
                    <a:lnTo>
                      <a:pt x="253" y="172"/>
                    </a:lnTo>
                    <a:lnTo>
                      <a:pt x="255" y="170"/>
                    </a:lnTo>
                    <a:lnTo>
                      <a:pt x="257" y="170"/>
                    </a:lnTo>
                    <a:lnTo>
                      <a:pt x="257" y="172"/>
                    </a:lnTo>
                    <a:lnTo>
                      <a:pt x="257" y="170"/>
                    </a:lnTo>
                    <a:lnTo>
                      <a:pt x="258" y="170"/>
                    </a:lnTo>
                    <a:lnTo>
                      <a:pt x="260" y="170"/>
                    </a:lnTo>
                    <a:lnTo>
                      <a:pt x="262" y="170"/>
                    </a:lnTo>
                    <a:lnTo>
                      <a:pt x="262" y="168"/>
                    </a:lnTo>
                    <a:lnTo>
                      <a:pt x="263" y="168"/>
                    </a:lnTo>
                    <a:lnTo>
                      <a:pt x="263" y="166"/>
                    </a:lnTo>
                    <a:lnTo>
                      <a:pt x="265" y="166"/>
                    </a:lnTo>
                    <a:lnTo>
                      <a:pt x="267" y="166"/>
                    </a:lnTo>
                    <a:lnTo>
                      <a:pt x="269" y="166"/>
                    </a:lnTo>
                    <a:lnTo>
                      <a:pt x="269" y="165"/>
                    </a:lnTo>
                    <a:lnTo>
                      <a:pt x="270" y="165"/>
                    </a:lnTo>
                    <a:lnTo>
                      <a:pt x="272" y="165"/>
                    </a:lnTo>
                    <a:lnTo>
                      <a:pt x="272" y="166"/>
                    </a:lnTo>
                    <a:lnTo>
                      <a:pt x="272" y="165"/>
                    </a:lnTo>
                    <a:lnTo>
                      <a:pt x="274" y="166"/>
                    </a:lnTo>
                    <a:lnTo>
                      <a:pt x="275" y="166"/>
                    </a:lnTo>
                    <a:lnTo>
                      <a:pt x="277" y="166"/>
                    </a:lnTo>
                    <a:lnTo>
                      <a:pt x="277" y="168"/>
                    </a:lnTo>
                    <a:lnTo>
                      <a:pt x="279" y="170"/>
                    </a:lnTo>
                    <a:lnTo>
                      <a:pt x="280" y="172"/>
                    </a:lnTo>
                    <a:lnTo>
                      <a:pt x="282" y="172"/>
                    </a:lnTo>
                    <a:lnTo>
                      <a:pt x="282" y="173"/>
                    </a:lnTo>
                    <a:lnTo>
                      <a:pt x="282" y="175"/>
                    </a:lnTo>
                    <a:lnTo>
                      <a:pt x="280" y="175"/>
                    </a:lnTo>
                    <a:lnTo>
                      <a:pt x="280" y="177"/>
                    </a:lnTo>
                    <a:lnTo>
                      <a:pt x="280" y="178"/>
                    </a:lnTo>
                    <a:lnTo>
                      <a:pt x="280" y="180"/>
                    </a:lnTo>
                    <a:lnTo>
                      <a:pt x="282" y="180"/>
                    </a:lnTo>
                    <a:lnTo>
                      <a:pt x="282" y="182"/>
                    </a:lnTo>
                    <a:lnTo>
                      <a:pt x="284" y="183"/>
                    </a:lnTo>
                    <a:lnTo>
                      <a:pt x="284" y="185"/>
                    </a:lnTo>
                    <a:lnTo>
                      <a:pt x="282" y="187"/>
                    </a:lnTo>
                    <a:lnTo>
                      <a:pt x="282" y="189"/>
                    </a:lnTo>
                    <a:lnTo>
                      <a:pt x="280" y="189"/>
                    </a:lnTo>
                    <a:lnTo>
                      <a:pt x="280" y="190"/>
                    </a:lnTo>
                    <a:lnTo>
                      <a:pt x="280" y="192"/>
                    </a:lnTo>
                    <a:lnTo>
                      <a:pt x="282" y="192"/>
                    </a:lnTo>
                    <a:lnTo>
                      <a:pt x="282" y="194"/>
                    </a:lnTo>
                    <a:lnTo>
                      <a:pt x="282" y="195"/>
                    </a:lnTo>
                    <a:lnTo>
                      <a:pt x="280" y="195"/>
                    </a:lnTo>
                    <a:lnTo>
                      <a:pt x="280" y="197"/>
                    </a:lnTo>
                    <a:lnTo>
                      <a:pt x="280" y="199"/>
                    </a:lnTo>
                    <a:lnTo>
                      <a:pt x="279" y="200"/>
                    </a:lnTo>
                    <a:lnTo>
                      <a:pt x="279" y="202"/>
                    </a:lnTo>
                    <a:lnTo>
                      <a:pt x="279" y="204"/>
                    </a:lnTo>
                    <a:lnTo>
                      <a:pt x="277" y="206"/>
                    </a:lnTo>
                    <a:lnTo>
                      <a:pt x="277" y="207"/>
                    </a:lnTo>
                    <a:lnTo>
                      <a:pt x="277" y="209"/>
                    </a:lnTo>
                    <a:lnTo>
                      <a:pt x="277" y="211"/>
                    </a:lnTo>
                    <a:lnTo>
                      <a:pt x="277" y="212"/>
                    </a:lnTo>
                    <a:lnTo>
                      <a:pt x="277" y="214"/>
                    </a:lnTo>
                    <a:lnTo>
                      <a:pt x="277" y="216"/>
                    </a:lnTo>
                    <a:lnTo>
                      <a:pt x="275" y="217"/>
                    </a:lnTo>
                    <a:lnTo>
                      <a:pt x="275" y="219"/>
                    </a:lnTo>
                    <a:lnTo>
                      <a:pt x="274" y="221"/>
                    </a:lnTo>
                    <a:lnTo>
                      <a:pt x="274" y="223"/>
                    </a:lnTo>
                    <a:lnTo>
                      <a:pt x="272" y="223"/>
                    </a:lnTo>
                    <a:lnTo>
                      <a:pt x="272" y="224"/>
                    </a:lnTo>
                    <a:lnTo>
                      <a:pt x="272" y="226"/>
                    </a:lnTo>
                    <a:lnTo>
                      <a:pt x="272" y="228"/>
                    </a:lnTo>
                    <a:lnTo>
                      <a:pt x="272" y="229"/>
                    </a:lnTo>
                    <a:lnTo>
                      <a:pt x="272" y="231"/>
                    </a:lnTo>
                    <a:lnTo>
                      <a:pt x="272" y="233"/>
                    </a:lnTo>
                    <a:lnTo>
                      <a:pt x="270" y="233"/>
                    </a:lnTo>
                    <a:lnTo>
                      <a:pt x="270" y="234"/>
                    </a:lnTo>
                    <a:lnTo>
                      <a:pt x="270" y="236"/>
                    </a:lnTo>
                    <a:lnTo>
                      <a:pt x="270" y="238"/>
                    </a:lnTo>
                    <a:lnTo>
                      <a:pt x="272" y="238"/>
                    </a:lnTo>
                    <a:lnTo>
                      <a:pt x="272" y="240"/>
                    </a:lnTo>
                    <a:lnTo>
                      <a:pt x="272" y="241"/>
                    </a:lnTo>
                    <a:lnTo>
                      <a:pt x="272" y="243"/>
                    </a:lnTo>
                    <a:lnTo>
                      <a:pt x="272" y="245"/>
                    </a:lnTo>
                    <a:lnTo>
                      <a:pt x="270" y="245"/>
                    </a:lnTo>
                    <a:lnTo>
                      <a:pt x="269" y="246"/>
                    </a:lnTo>
                    <a:lnTo>
                      <a:pt x="270" y="248"/>
                    </a:lnTo>
                    <a:lnTo>
                      <a:pt x="270" y="250"/>
                    </a:lnTo>
                    <a:lnTo>
                      <a:pt x="270" y="251"/>
                    </a:lnTo>
                    <a:lnTo>
                      <a:pt x="270" y="253"/>
                    </a:lnTo>
                    <a:lnTo>
                      <a:pt x="272" y="253"/>
                    </a:lnTo>
                    <a:lnTo>
                      <a:pt x="272" y="255"/>
                    </a:lnTo>
                    <a:lnTo>
                      <a:pt x="270" y="255"/>
                    </a:lnTo>
                    <a:lnTo>
                      <a:pt x="269" y="255"/>
                    </a:lnTo>
                    <a:lnTo>
                      <a:pt x="270" y="257"/>
                    </a:lnTo>
                    <a:lnTo>
                      <a:pt x="270" y="258"/>
                    </a:lnTo>
                    <a:lnTo>
                      <a:pt x="269" y="258"/>
                    </a:lnTo>
                    <a:lnTo>
                      <a:pt x="269" y="260"/>
                    </a:lnTo>
                    <a:lnTo>
                      <a:pt x="269" y="262"/>
                    </a:lnTo>
                    <a:lnTo>
                      <a:pt x="269" y="263"/>
                    </a:lnTo>
                    <a:lnTo>
                      <a:pt x="267" y="263"/>
                    </a:lnTo>
                    <a:lnTo>
                      <a:pt x="267" y="265"/>
                    </a:lnTo>
                    <a:lnTo>
                      <a:pt x="265" y="265"/>
                    </a:lnTo>
                    <a:lnTo>
                      <a:pt x="265" y="267"/>
                    </a:lnTo>
                    <a:lnTo>
                      <a:pt x="265" y="268"/>
                    </a:lnTo>
                    <a:lnTo>
                      <a:pt x="265" y="270"/>
                    </a:lnTo>
                    <a:lnTo>
                      <a:pt x="263" y="272"/>
                    </a:lnTo>
                    <a:lnTo>
                      <a:pt x="263" y="270"/>
                    </a:lnTo>
                    <a:lnTo>
                      <a:pt x="262" y="270"/>
                    </a:lnTo>
                    <a:lnTo>
                      <a:pt x="260" y="272"/>
                    </a:lnTo>
                    <a:lnTo>
                      <a:pt x="260" y="274"/>
                    </a:lnTo>
                    <a:lnTo>
                      <a:pt x="260" y="275"/>
                    </a:lnTo>
                    <a:lnTo>
                      <a:pt x="258" y="275"/>
                    </a:lnTo>
                    <a:lnTo>
                      <a:pt x="257" y="275"/>
                    </a:lnTo>
                    <a:lnTo>
                      <a:pt x="255" y="277"/>
                    </a:lnTo>
                    <a:lnTo>
                      <a:pt x="253" y="279"/>
                    </a:lnTo>
                    <a:lnTo>
                      <a:pt x="253" y="280"/>
                    </a:lnTo>
                    <a:lnTo>
                      <a:pt x="253" y="282"/>
                    </a:lnTo>
                    <a:lnTo>
                      <a:pt x="252" y="282"/>
                    </a:lnTo>
                    <a:lnTo>
                      <a:pt x="250" y="280"/>
                    </a:lnTo>
                    <a:lnTo>
                      <a:pt x="248" y="282"/>
                    </a:lnTo>
                    <a:lnTo>
                      <a:pt x="246" y="282"/>
                    </a:lnTo>
                    <a:lnTo>
                      <a:pt x="245" y="284"/>
                    </a:lnTo>
                    <a:lnTo>
                      <a:pt x="243" y="284"/>
                    </a:lnTo>
                    <a:lnTo>
                      <a:pt x="243" y="286"/>
                    </a:lnTo>
                    <a:lnTo>
                      <a:pt x="243" y="287"/>
                    </a:lnTo>
                    <a:lnTo>
                      <a:pt x="241" y="287"/>
                    </a:lnTo>
                    <a:lnTo>
                      <a:pt x="240" y="287"/>
                    </a:lnTo>
                    <a:lnTo>
                      <a:pt x="240" y="289"/>
                    </a:lnTo>
                    <a:lnTo>
                      <a:pt x="240" y="291"/>
                    </a:lnTo>
                    <a:lnTo>
                      <a:pt x="238" y="289"/>
                    </a:lnTo>
                    <a:lnTo>
                      <a:pt x="238" y="291"/>
                    </a:lnTo>
                    <a:lnTo>
                      <a:pt x="238" y="292"/>
                    </a:lnTo>
                    <a:lnTo>
                      <a:pt x="240" y="292"/>
                    </a:lnTo>
                    <a:lnTo>
                      <a:pt x="240" y="294"/>
                    </a:lnTo>
                    <a:lnTo>
                      <a:pt x="238" y="294"/>
                    </a:lnTo>
                    <a:lnTo>
                      <a:pt x="238" y="296"/>
                    </a:lnTo>
                    <a:lnTo>
                      <a:pt x="238" y="297"/>
                    </a:lnTo>
                    <a:lnTo>
                      <a:pt x="236" y="297"/>
                    </a:lnTo>
                    <a:lnTo>
                      <a:pt x="235" y="297"/>
                    </a:lnTo>
                    <a:lnTo>
                      <a:pt x="235" y="299"/>
                    </a:lnTo>
                    <a:lnTo>
                      <a:pt x="233" y="301"/>
                    </a:lnTo>
                    <a:lnTo>
                      <a:pt x="231" y="301"/>
                    </a:lnTo>
                    <a:lnTo>
                      <a:pt x="231" y="299"/>
                    </a:lnTo>
                    <a:lnTo>
                      <a:pt x="229" y="299"/>
                    </a:lnTo>
                    <a:lnTo>
                      <a:pt x="229" y="297"/>
                    </a:lnTo>
                    <a:lnTo>
                      <a:pt x="228" y="296"/>
                    </a:lnTo>
                    <a:lnTo>
                      <a:pt x="226" y="297"/>
                    </a:lnTo>
                    <a:lnTo>
                      <a:pt x="224" y="296"/>
                    </a:lnTo>
                    <a:lnTo>
                      <a:pt x="223" y="296"/>
                    </a:lnTo>
                    <a:lnTo>
                      <a:pt x="221" y="296"/>
                    </a:lnTo>
                    <a:lnTo>
                      <a:pt x="219" y="296"/>
                    </a:lnTo>
                    <a:lnTo>
                      <a:pt x="218" y="297"/>
                    </a:lnTo>
                    <a:lnTo>
                      <a:pt x="218" y="299"/>
                    </a:lnTo>
                    <a:lnTo>
                      <a:pt x="216" y="299"/>
                    </a:lnTo>
                    <a:lnTo>
                      <a:pt x="214" y="299"/>
                    </a:lnTo>
                    <a:lnTo>
                      <a:pt x="214" y="301"/>
                    </a:lnTo>
                    <a:lnTo>
                      <a:pt x="216" y="301"/>
                    </a:lnTo>
                    <a:lnTo>
                      <a:pt x="214" y="303"/>
                    </a:lnTo>
                    <a:lnTo>
                      <a:pt x="214" y="304"/>
                    </a:lnTo>
                    <a:lnTo>
                      <a:pt x="212" y="304"/>
                    </a:lnTo>
                    <a:lnTo>
                      <a:pt x="212" y="306"/>
                    </a:lnTo>
                    <a:lnTo>
                      <a:pt x="209" y="304"/>
                    </a:lnTo>
                    <a:lnTo>
                      <a:pt x="209" y="303"/>
                    </a:lnTo>
                    <a:lnTo>
                      <a:pt x="207" y="303"/>
                    </a:lnTo>
                    <a:lnTo>
                      <a:pt x="207" y="301"/>
                    </a:lnTo>
                    <a:lnTo>
                      <a:pt x="206" y="301"/>
                    </a:lnTo>
                    <a:lnTo>
                      <a:pt x="204" y="301"/>
                    </a:lnTo>
                    <a:lnTo>
                      <a:pt x="202" y="301"/>
                    </a:lnTo>
                    <a:lnTo>
                      <a:pt x="201" y="301"/>
                    </a:lnTo>
                    <a:lnTo>
                      <a:pt x="201" y="303"/>
                    </a:lnTo>
                    <a:lnTo>
                      <a:pt x="199" y="303"/>
                    </a:lnTo>
                    <a:lnTo>
                      <a:pt x="197" y="301"/>
                    </a:lnTo>
                    <a:lnTo>
                      <a:pt x="195" y="301"/>
                    </a:lnTo>
                    <a:lnTo>
                      <a:pt x="195" y="299"/>
                    </a:lnTo>
                    <a:lnTo>
                      <a:pt x="194" y="299"/>
                    </a:lnTo>
                    <a:lnTo>
                      <a:pt x="192" y="299"/>
                    </a:lnTo>
                    <a:lnTo>
                      <a:pt x="192" y="301"/>
                    </a:lnTo>
                    <a:lnTo>
                      <a:pt x="190" y="301"/>
                    </a:lnTo>
                    <a:lnTo>
                      <a:pt x="190" y="303"/>
                    </a:lnTo>
                    <a:lnTo>
                      <a:pt x="189" y="303"/>
                    </a:lnTo>
                    <a:lnTo>
                      <a:pt x="187" y="303"/>
                    </a:lnTo>
                    <a:lnTo>
                      <a:pt x="185" y="301"/>
                    </a:lnTo>
                    <a:lnTo>
                      <a:pt x="184" y="301"/>
                    </a:lnTo>
                    <a:lnTo>
                      <a:pt x="182" y="301"/>
                    </a:lnTo>
                    <a:lnTo>
                      <a:pt x="180" y="299"/>
                    </a:lnTo>
                    <a:lnTo>
                      <a:pt x="178" y="299"/>
                    </a:lnTo>
                    <a:lnTo>
                      <a:pt x="177" y="299"/>
                    </a:lnTo>
                    <a:lnTo>
                      <a:pt x="177" y="301"/>
                    </a:lnTo>
                    <a:lnTo>
                      <a:pt x="175" y="301"/>
                    </a:lnTo>
                    <a:lnTo>
                      <a:pt x="173" y="301"/>
                    </a:lnTo>
                    <a:lnTo>
                      <a:pt x="173" y="299"/>
                    </a:lnTo>
                    <a:lnTo>
                      <a:pt x="172" y="299"/>
                    </a:lnTo>
                    <a:lnTo>
                      <a:pt x="170" y="297"/>
                    </a:lnTo>
                    <a:lnTo>
                      <a:pt x="168" y="297"/>
                    </a:lnTo>
                    <a:lnTo>
                      <a:pt x="168" y="296"/>
                    </a:lnTo>
                    <a:lnTo>
                      <a:pt x="167" y="296"/>
                    </a:lnTo>
                    <a:lnTo>
                      <a:pt x="165" y="296"/>
                    </a:lnTo>
                    <a:lnTo>
                      <a:pt x="163" y="296"/>
                    </a:lnTo>
                    <a:lnTo>
                      <a:pt x="161" y="294"/>
                    </a:lnTo>
                    <a:lnTo>
                      <a:pt x="160" y="294"/>
                    </a:lnTo>
                    <a:lnTo>
                      <a:pt x="158" y="294"/>
                    </a:lnTo>
                    <a:lnTo>
                      <a:pt x="156" y="294"/>
                    </a:lnTo>
                    <a:lnTo>
                      <a:pt x="155" y="294"/>
                    </a:lnTo>
                    <a:lnTo>
                      <a:pt x="153" y="294"/>
                    </a:lnTo>
                    <a:lnTo>
                      <a:pt x="151" y="294"/>
                    </a:lnTo>
                    <a:lnTo>
                      <a:pt x="150" y="294"/>
                    </a:lnTo>
                    <a:lnTo>
                      <a:pt x="148" y="294"/>
                    </a:lnTo>
                    <a:lnTo>
                      <a:pt x="146" y="294"/>
                    </a:lnTo>
                    <a:lnTo>
                      <a:pt x="144" y="294"/>
                    </a:lnTo>
                    <a:lnTo>
                      <a:pt x="143" y="294"/>
                    </a:lnTo>
                    <a:lnTo>
                      <a:pt x="141" y="294"/>
                    </a:lnTo>
                    <a:lnTo>
                      <a:pt x="139" y="294"/>
                    </a:lnTo>
                    <a:lnTo>
                      <a:pt x="138" y="294"/>
                    </a:lnTo>
                    <a:lnTo>
                      <a:pt x="138" y="296"/>
                    </a:lnTo>
                    <a:lnTo>
                      <a:pt x="136" y="296"/>
                    </a:lnTo>
                    <a:lnTo>
                      <a:pt x="136" y="294"/>
                    </a:lnTo>
                    <a:lnTo>
                      <a:pt x="138" y="294"/>
                    </a:lnTo>
                    <a:lnTo>
                      <a:pt x="138" y="292"/>
                    </a:lnTo>
                    <a:lnTo>
                      <a:pt x="136" y="292"/>
                    </a:lnTo>
                    <a:lnTo>
                      <a:pt x="136" y="291"/>
                    </a:lnTo>
                    <a:lnTo>
                      <a:pt x="134" y="291"/>
                    </a:lnTo>
                    <a:lnTo>
                      <a:pt x="134" y="289"/>
                    </a:lnTo>
                    <a:lnTo>
                      <a:pt x="136" y="289"/>
                    </a:lnTo>
                    <a:lnTo>
                      <a:pt x="136" y="287"/>
                    </a:lnTo>
                    <a:lnTo>
                      <a:pt x="138" y="287"/>
                    </a:lnTo>
                    <a:lnTo>
                      <a:pt x="139" y="287"/>
                    </a:lnTo>
                    <a:lnTo>
                      <a:pt x="138" y="287"/>
                    </a:lnTo>
                    <a:lnTo>
                      <a:pt x="139" y="286"/>
                    </a:lnTo>
                    <a:lnTo>
                      <a:pt x="138" y="286"/>
                    </a:lnTo>
                    <a:lnTo>
                      <a:pt x="139" y="286"/>
                    </a:lnTo>
                    <a:lnTo>
                      <a:pt x="141" y="286"/>
                    </a:lnTo>
                    <a:lnTo>
                      <a:pt x="139" y="284"/>
                    </a:lnTo>
                    <a:lnTo>
                      <a:pt x="141" y="284"/>
                    </a:lnTo>
                    <a:lnTo>
                      <a:pt x="141" y="282"/>
                    </a:lnTo>
                    <a:lnTo>
                      <a:pt x="141" y="280"/>
                    </a:lnTo>
                    <a:lnTo>
                      <a:pt x="143" y="280"/>
                    </a:lnTo>
                    <a:lnTo>
                      <a:pt x="144" y="280"/>
                    </a:lnTo>
                    <a:lnTo>
                      <a:pt x="144" y="279"/>
                    </a:lnTo>
                    <a:lnTo>
                      <a:pt x="146" y="279"/>
                    </a:lnTo>
                    <a:lnTo>
                      <a:pt x="146" y="277"/>
                    </a:lnTo>
                    <a:lnTo>
                      <a:pt x="146" y="275"/>
                    </a:lnTo>
                    <a:lnTo>
                      <a:pt x="148" y="275"/>
                    </a:lnTo>
                    <a:lnTo>
                      <a:pt x="148" y="274"/>
                    </a:lnTo>
                    <a:lnTo>
                      <a:pt x="150" y="274"/>
                    </a:lnTo>
                    <a:lnTo>
                      <a:pt x="148" y="272"/>
                    </a:lnTo>
                    <a:lnTo>
                      <a:pt x="148" y="270"/>
                    </a:lnTo>
                    <a:lnTo>
                      <a:pt x="150" y="270"/>
                    </a:lnTo>
                    <a:lnTo>
                      <a:pt x="151" y="270"/>
                    </a:lnTo>
                    <a:lnTo>
                      <a:pt x="150" y="268"/>
                    </a:lnTo>
                    <a:lnTo>
                      <a:pt x="151" y="268"/>
                    </a:lnTo>
                    <a:lnTo>
                      <a:pt x="151" y="267"/>
                    </a:lnTo>
                    <a:lnTo>
                      <a:pt x="150" y="267"/>
                    </a:lnTo>
                    <a:lnTo>
                      <a:pt x="150" y="265"/>
                    </a:lnTo>
                    <a:lnTo>
                      <a:pt x="150" y="263"/>
                    </a:lnTo>
                    <a:lnTo>
                      <a:pt x="151" y="263"/>
                    </a:lnTo>
                    <a:lnTo>
                      <a:pt x="151" y="262"/>
                    </a:lnTo>
                    <a:lnTo>
                      <a:pt x="150" y="262"/>
                    </a:lnTo>
                    <a:lnTo>
                      <a:pt x="150" y="260"/>
                    </a:lnTo>
                    <a:lnTo>
                      <a:pt x="151" y="260"/>
                    </a:lnTo>
                    <a:lnTo>
                      <a:pt x="151" y="258"/>
                    </a:lnTo>
                    <a:lnTo>
                      <a:pt x="151" y="257"/>
                    </a:lnTo>
                    <a:lnTo>
                      <a:pt x="151" y="255"/>
                    </a:lnTo>
                    <a:lnTo>
                      <a:pt x="153" y="255"/>
                    </a:lnTo>
                    <a:lnTo>
                      <a:pt x="153" y="253"/>
                    </a:lnTo>
                    <a:lnTo>
                      <a:pt x="151" y="253"/>
                    </a:lnTo>
                    <a:lnTo>
                      <a:pt x="153" y="253"/>
                    </a:lnTo>
                    <a:lnTo>
                      <a:pt x="153" y="251"/>
                    </a:lnTo>
                    <a:lnTo>
                      <a:pt x="155" y="251"/>
                    </a:lnTo>
                    <a:lnTo>
                      <a:pt x="155" y="250"/>
                    </a:lnTo>
                    <a:lnTo>
                      <a:pt x="156" y="250"/>
                    </a:lnTo>
                    <a:lnTo>
                      <a:pt x="158" y="250"/>
                    </a:lnTo>
                    <a:lnTo>
                      <a:pt x="158" y="248"/>
                    </a:lnTo>
                    <a:lnTo>
                      <a:pt x="160" y="248"/>
                    </a:lnTo>
                    <a:lnTo>
                      <a:pt x="160" y="246"/>
                    </a:lnTo>
                    <a:lnTo>
                      <a:pt x="161" y="246"/>
                    </a:lnTo>
                    <a:lnTo>
                      <a:pt x="161" y="245"/>
                    </a:lnTo>
                    <a:lnTo>
                      <a:pt x="161" y="243"/>
                    </a:lnTo>
                    <a:lnTo>
                      <a:pt x="163" y="243"/>
                    </a:lnTo>
                    <a:lnTo>
                      <a:pt x="161" y="241"/>
                    </a:lnTo>
                    <a:lnTo>
                      <a:pt x="161" y="240"/>
                    </a:lnTo>
                    <a:lnTo>
                      <a:pt x="163" y="240"/>
                    </a:lnTo>
                    <a:lnTo>
                      <a:pt x="165" y="240"/>
                    </a:lnTo>
                    <a:lnTo>
                      <a:pt x="165" y="238"/>
                    </a:lnTo>
                    <a:lnTo>
                      <a:pt x="163" y="238"/>
                    </a:lnTo>
                    <a:lnTo>
                      <a:pt x="163" y="236"/>
                    </a:lnTo>
                    <a:lnTo>
                      <a:pt x="165" y="236"/>
                    </a:lnTo>
                    <a:lnTo>
                      <a:pt x="167" y="236"/>
                    </a:lnTo>
                    <a:lnTo>
                      <a:pt x="167" y="234"/>
                    </a:lnTo>
                    <a:lnTo>
                      <a:pt x="165" y="234"/>
                    </a:lnTo>
                    <a:lnTo>
                      <a:pt x="167" y="233"/>
                    </a:lnTo>
                    <a:lnTo>
                      <a:pt x="168" y="233"/>
                    </a:lnTo>
                    <a:lnTo>
                      <a:pt x="168" y="231"/>
                    </a:lnTo>
                    <a:lnTo>
                      <a:pt x="170" y="231"/>
                    </a:lnTo>
                    <a:lnTo>
                      <a:pt x="170" y="229"/>
                    </a:lnTo>
                    <a:lnTo>
                      <a:pt x="172" y="229"/>
                    </a:lnTo>
                    <a:lnTo>
                      <a:pt x="172" y="228"/>
                    </a:lnTo>
                    <a:lnTo>
                      <a:pt x="172" y="226"/>
                    </a:lnTo>
                    <a:lnTo>
                      <a:pt x="172" y="224"/>
                    </a:lnTo>
                    <a:lnTo>
                      <a:pt x="172" y="223"/>
                    </a:lnTo>
                    <a:lnTo>
                      <a:pt x="170" y="223"/>
                    </a:lnTo>
                    <a:lnTo>
                      <a:pt x="168" y="223"/>
                    </a:lnTo>
                    <a:lnTo>
                      <a:pt x="168" y="221"/>
                    </a:lnTo>
                    <a:lnTo>
                      <a:pt x="167" y="221"/>
                    </a:lnTo>
                    <a:lnTo>
                      <a:pt x="167" y="219"/>
                    </a:lnTo>
                    <a:lnTo>
                      <a:pt x="168" y="219"/>
                    </a:lnTo>
                    <a:lnTo>
                      <a:pt x="167" y="219"/>
                    </a:lnTo>
                    <a:lnTo>
                      <a:pt x="167" y="217"/>
                    </a:lnTo>
                    <a:lnTo>
                      <a:pt x="165" y="216"/>
                    </a:lnTo>
                    <a:lnTo>
                      <a:pt x="167" y="216"/>
                    </a:lnTo>
                    <a:lnTo>
                      <a:pt x="165" y="216"/>
                    </a:lnTo>
                    <a:lnTo>
                      <a:pt x="165" y="214"/>
                    </a:lnTo>
                    <a:lnTo>
                      <a:pt x="163" y="214"/>
                    </a:lnTo>
                    <a:lnTo>
                      <a:pt x="163" y="212"/>
                    </a:lnTo>
                    <a:lnTo>
                      <a:pt x="161" y="211"/>
                    </a:lnTo>
                    <a:lnTo>
                      <a:pt x="160" y="211"/>
                    </a:lnTo>
                    <a:lnTo>
                      <a:pt x="158" y="211"/>
                    </a:lnTo>
                    <a:lnTo>
                      <a:pt x="156" y="209"/>
                    </a:lnTo>
                    <a:lnTo>
                      <a:pt x="156" y="211"/>
                    </a:lnTo>
                    <a:lnTo>
                      <a:pt x="156" y="209"/>
                    </a:lnTo>
                    <a:lnTo>
                      <a:pt x="156" y="211"/>
                    </a:lnTo>
                    <a:lnTo>
                      <a:pt x="156" y="209"/>
                    </a:lnTo>
                    <a:lnTo>
                      <a:pt x="155" y="211"/>
                    </a:lnTo>
                    <a:lnTo>
                      <a:pt x="155" y="209"/>
                    </a:lnTo>
                    <a:lnTo>
                      <a:pt x="153" y="209"/>
                    </a:lnTo>
                    <a:lnTo>
                      <a:pt x="153" y="207"/>
                    </a:lnTo>
                    <a:lnTo>
                      <a:pt x="151" y="207"/>
                    </a:lnTo>
                    <a:lnTo>
                      <a:pt x="150" y="206"/>
                    </a:lnTo>
                    <a:lnTo>
                      <a:pt x="148" y="206"/>
                    </a:lnTo>
                    <a:lnTo>
                      <a:pt x="148" y="207"/>
                    </a:lnTo>
                    <a:lnTo>
                      <a:pt x="146" y="207"/>
                    </a:lnTo>
                    <a:lnTo>
                      <a:pt x="146" y="209"/>
                    </a:lnTo>
                    <a:lnTo>
                      <a:pt x="146" y="207"/>
                    </a:lnTo>
                    <a:lnTo>
                      <a:pt x="144" y="207"/>
                    </a:lnTo>
                    <a:lnTo>
                      <a:pt x="144" y="206"/>
                    </a:lnTo>
                    <a:lnTo>
                      <a:pt x="143" y="206"/>
                    </a:lnTo>
                    <a:lnTo>
                      <a:pt x="143" y="204"/>
                    </a:lnTo>
                    <a:lnTo>
                      <a:pt x="141" y="204"/>
                    </a:lnTo>
                    <a:lnTo>
                      <a:pt x="141" y="202"/>
                    </a:lnTo>
                    <a:lnTo>
                      <a:pt x="139" y="202"/>
                    </a:lnTo>
                    <a:lnTo>
                      <a:pt x="138" y="202"/>
                    </a:lnTo>
                    <a:lnTo>
                      <a:pt x="136" y="202"/>
                    </a:lnTo>
                    <a:lnTo>
                      <a:pt x="134" y="202"/>
                    </a:lnTo>
                    <a:lnTo>
                      <a:pt x="134" y="200"/>
                    </a:lnTo>
                    <a:lnTo>
                      <a:pt x="133" y="200"/>
                    </a:lnTo>
                    <a:lnTo>
                      <a:pt x="131" y="200"/>
                    </a:lnTo>
                    <a:lnTo>
                      <a:pt x="129" y="200"/>
                    </a:lnTo>
                    <a:lnTo>
                      <a:pt x="129" y="199"/>
                    </a:lnTo>
                    <a:lnTo>
                      <a:pt x="127" y="199"/>
                    </a:lnTo>
                    <a:lnTo>
                      <a:pt x="127" y="197"/>
                    </a:lnTo>
                    <a:lnTo>
                      <a:pt x="126" y="197"/>
                    </a:lnTo>
                    <a:lnTo>
                      <a:pt x="124" y="195"/>
                    </a:lnTo>
                    <a:lnTo>
                      <a:pt x="122" y="195"/>
                    </a:lnTo>
                    <a:lnTo>
                      <a:pt x="121" y="194"/>
                    </a:lnTo>
                    <a:lnTo>
                      <a:pt x="119" y="194"/>
                    </a:lnTo>
                    <a:lnTo>
                      <a:pt x="117" y="192"/>
                    </a:lnTo>
                    <a:lnTo>
                      <a:pt x="116" y="192"/>
                    </a:lnTo>
                    <a:lnTo>
                      <a:pt x="116" y="190"/>
                    </a:lnTo>
                    <a:lnTo>
                      <a:pt x="114" y="190"/>
                    </a:lnTo>
                    <a:lnTo>
                      <a:pt x="112" y="189"/>
                    </a:lnTo>
                    <a:lnTo>
                      <a:pt x="110" y="187"/>
                    </a:lnTo>
                    <a:lnTo>
                      <a:pt x="109" y="187"/>
                    </a:lnTo>
                    <a:lnTo>
                      <a:pt x="109" y="185"/>
                    </a:lnTo>
                    <a:lnTo>
                      <a:pt x="107" y="183"/>
                    </a:lnTo>
                    <a:lnTo>
                      <a:pt x="104" y="182"/>
                    </a:lnTo>
                    <a:lnTo>
                      <a:pt x="97" y="177"/>
                    </a:lnTo>
                    <a:lnTo>
                      <a:pt x="88" y="172"/>
                    </a:lnTo>
                    <a:lnTo>
                      <a:pt x="87" y="172"/>
                    </a:lnTo>
                    <a:lnTo>
                      <a:pt x="85" y="173"/>
                    </a:lnTo>
                    <a:lnTo>
                      <a:pt x="83" y="173"/>
                    </a:lnTo>
                    <a:lnTo>
                      <a:pt x="82" y="173"/>
                    </a:lnTo>
                    <a:lnTo>
                      <a:pt x="80" y="173"/>
                    </a:lnTo>
                    <a:lnTo>
                      <a:pt x="78" y="172"/>
                    </a:lnTo>
                    <a:lnTo>
                      <a:pt x="76" y="172"/>
                    </a:lnTo>
                    <a:lnTo>
                      <a:pt x="76" y="170"/>
                    </a:lnTo>
                    <a:lnTo>
                      <a:pt x="75" y="170"/>
                    </a:lnTo>
                    <a:lnTo>
                      <a:pt x="73" y="170"/>
                    </a:lnTo>
                    <a:lnTo>
                      <a:pt x="71" y="170"/>
                    </a:lnTo>
                    <a:lnTo>
                      <a:pt x="70" y="170"/>
                    </a:lnTo>
                    <a:lnTo>
                      <a:pt x="70" y="168"/>
                    </a:lnTo>
                    <a:lnTo>
                      <a:pt x="68" y="168"/>
                    </a:lnTo>
                    <a:lnTo>
                      <a:pt x="66" y="168"/>
                    </a:lnTo>
                    <a:lnTo>
                      <a:pt x="66" y="166"/>
                    </a:lnTo>
                    <a:lnTo>
                      <a:pt x="65" y="166"/>
                    </a:lnTo>
                    <a:lnTo>
                      <a:pt x="63" y="166"/>
                    </a:lnTo>
                    <a:lnTo>
                      <a:pt x="61" y="166"/>
                    </a:lnTo>
                    <a:lnTo>
                      <a:pt x="59" y="165"/>
                    </a:lnTo>
                    <a:lnTo>
                      <a:pt x="58" y="163"/>
                    </a:lnTo>
                    <a:lnTo>
                      <a:pt x="58" y="165"/>
                    </a:lnTo>
                    <a:lnTo>
                      <a:pt x="56" y="165"/>
                    </a:lnTo>
                    <a:lnTo>
                      <a:pt x="56" y="163"/>
                    </a:lnTo>
                    <a:lnTo>
                      <a:pt x="54" y="161"/>
                    </a:lnTo>
                    <a:lnTo>
                      <a:pt x="54" y="160"/>
                    </a:lnTo>
                    <a:lnTo>
                      <a:pt x="53" y="160"/>
                    </a:lnTo>
                    <a:lnTo>
                      <a:pt x="53" y="158"/>
                    </a:lnTo>
                    <a:lnTo>
                      <a:pt x="53" y="156"/>
                    </a:lnTo>
                    <a:lnTo>
                      <a:pt x="51" y="156"/>
                    </a:lnTo>
                    <a:lnTo>
                      <a:pt x="51" y="155"/>
                    </a:lnTo>
                    <a:lnTo>
                      <a:pt x="49" y="155"/>
                    </a:lnTo>
                    <a:lnTo>
                      <a:pt x="48" y="155"/>
                    </a:lnTo>
                    <a:lnTo>
                      <a:pt x="48" y="153"/>
                    </a:lnTo>
                    <a:lnTo>
                      <a:pt x="46" y="153"/>
                    </a:lnTo>
                    <a:lnTo>
                      <a:pt x="46" y="151"/>
                    </a:lnTo>
                    <a:lnTo>
                      <a:pt x="44" y="151"/>
                    </a:lnTo>
                    <a:lnTo>
                      <a:pt x="42" y="151"/>
                    </a:lnTo>
                    <a:lnTo>
                      <a:pt x="41" y="151"/>
                    </a:lnTo>
                    <a:lnTo>
                      <a:pt x="41" y="149"/>
                    </a:lnTo>
                    <a:lnTo>
                      <a:pt x="39" y="149"/>
                    </a:lnTo>
                    <a:lnTo>
                      <a:pt x="39" y="148"/>
                    </a:lnTo>
                    <a:lnTo>
                      <a:pt x="37" y="148"/>
                    </a:lnTo>
                    <a:lnTo>
                      <a:pt x="37" y="146"/>
                    </a:lnTo>
                    <a:lnTo>
                      <a:pt x="36" y="146"/>
                    </a:lnTo>
                    <a:lnTo>
                      <a:pt x="36" y="144"/>
                    </a:lnTo>
                    <a:lnTo>
                      <a:pt x="34" y="144"/>
                    </a:lnTo>
                    <a:lnTo>
                      <a:pt x="32" y="144"/>
                    </a:lnTo>
                    <a:lnTo>
                      <a:pt x="32" y="143"/>
                    </a:lnTo>
                    <a:lnTo>
                      <a:pt x="31" y="143"/>
                    </a:lnTo>
                    <a:lnTo>
                      <a:pt x="31" y="141"/>
                    </a:lnTo>
                    <a:lnTo>
                      <a:pt x="29" y="141"/>
                    </a:lnTo>
                    <a:lnTo>
                      <a:pt x="29" y="139"/>
                    </a:lnTo>
                    <a:lnTo>
                      <a:pt x="27" y="139"/>
                    </a:lnTo>
                    <a:lnTo>
                      <a:pt x="27" y="138"/>
                    </a:lnTo>
                    <a:lnTo>
                      <a:pt x="25" y="138"/>
                    </a:lnTo>
                    <a:lnTo>
                      <a:pt x="24" y="136"/>
                    </a:lnTo>
                    <a:lnTo>
                      <a:pt x="22" y="136"/>
                    </a:lnTo>
                    <a:lnTo>
                      <a:pt x="22" y="134"/>
                    </a:lnTo>
                    <a:lnTo>
                      <a:pt x="20" y="134"/>
                    </a:lnTo>
                    <a:lnTo>
                      <a:pt x="20" y="132"/>
                    </a:lnTo>
                    <a:lnTo>
                      <a:pt x="19" y="131"/>
                    </a:lnTo>
                    <a:lnTo>
                      <a:pt x="19" y="129"/>
                    </a:lnTo>
                    <a:lnTo>
                      <a:pt x="17" y="127"/>
                    </a:lnTo>
                    <a:lnTo>
                      <a:pt x="15" y="126"/>
                    </a:lnTo>
                    <a:lnTo>
                      <a:pt x="15" y="124"/>
                    </a:lnTo>
                    <a:lnTo>
                      <a:pt x="15" y="122"/>
                    </a:lnTo>
                    <a:lnTo>
                      <a:pt x="15" y="121"/>
                    </a:lnTo>
                    <a:lnTo>
                      <a:pt x="14" y="122"/>
                    </a:lnTo>
                    <a:lnTo>
                      <a:pt x="14" y="121"/>
                    </a:lnTo>
                    <a:lnTo>
                      <a:pt x="14" y="119"/>
                    </a:lnTo>
                    <a:lnTo>
                      <a:pt x="15" y="119"/>
                    </a:lnTo>
                    <a:lnTo>
                      <a:pt x="14" y="119"/>
                    </a:lnTo>
                    <a:lnTo>
                      <a:pt x="15" y="117"/>
                    </a:lnTo>
                    <a:lnTo>
                      <a:pt x="14" y="117"/>
                    </a:lnTo>
                    <a:lnTo>
                      <a:pt x="12" y="117"/>
                    </a:lnTo>
                    <a:lnTo>
                      <a:pt x="12" y="115"/>
                    </a:lnTo>
                    <a:lnTo>
                      <a:pt x="10" y="115"/>
                    </a:lnTo>
                    <a:lnTo>
                      <a:pt x="12" y="115"/>
                    </a:lnTo>
                    <a:lnTo>
                      <a:pt x="10" y="115"/>
                    </a:lnTo>
                    <a:lnTo>
                      <a:pt x="10" y="114"/>
                    </a:lnTo>
                    <a:lnTo>
                      <a:pt x="10" y="115"/>
                    </a:lnTo>
                    <a:lnTo>
                      <a:pt x="10" y="114"/>
                    </a:lnTo>
                    <a:lnTo>
                      <a:pt x="8" y="114"/>
                    </a:lnTo>
                    <a:lnTo>
                      <a:pt x="7" y="114"/>
                    </a:lnTo>
                    <a:lnTo>
                      <a:pt x="7" y="112"/>
                    </a:lnTo>
                    <a:lnTo>
                      <a:pt x="5" y="112"/>
                    </a:lnTo>
                    <a:lnTo>
                      <a:pt x="3" y="112"/>
                    </a:lnTo>
                    <a:lnTo>
                      <a:pt x="3" y="110"/>
                    </a:lnTo>
                    <a:lnTo>
                      <a:pt x="2" y="109"/>
                    </a:lnTo>
                    <a:lnTo>
                      <a:pt x="0" y="109"/>
                    </a:lnTo>
                    <a:lnTo>
                      <a:pt x="2" y="109"/>
                    </a:lnTo>
                    <a:lnTo>
                      <a:pt x="2" y="107"/>
                    </a:lnTo>
                    <a:lnTo>
                      <a:pt x="0" y="107"/>
                    </a:lnTo>
                    <a:lnTo>
                      <a:pt x="3" y="95"/>
                    </a:lnTo>
                    <a:lnTo>
                      <a:pt x="7" y="86"/>
                    </a:lnTo>
                    <a:lnTo>
                      <a:pt x="14" y="64"/>
                    </a:lnTo>
                    <a:lnTo>
                      <a:pt x="14" y="61"/>
                    </a:lnTo>
                    <a:lnTo>
                      <a:pt x="14" y="46"/>
                    </a:lnTo>
                    <a:lnTo>
                      <a:pt x="15" y="42"/>
                    </a:lnTo>
                    <a:lnTo>
                      <a:pt x="25" y="29"/>
                    </a:lnTo>
                    <a:lnTo>
                      <a:pt x="25" y="27"/>
                    </a:lnTo>
                    <a:lnTo>
                      <a:pt x="31" y="13"/>
                    </a:lnTo>
                    <a:lnTo>
                      <a:pt x="32" y="13"/>
                    </a:lnTo>
                    <a:lnTo>
                      <a:pt x="70" y="7"/>
                    </a:lnTo>
                    <a:lnTo>
                      <a:pt x="90" y="0"/>
                    </a:lnTo>
                    <a:lnTo>
                      <a:pt x="122" y="0"/>
                    </a:lnTo>
                    <a:lnTo>
                      <a:pt x="139" y="12"/>
                    </a:lnTo>
                    <a:lnTo>
                      <a:pt x="143" y="13"/>
                    </a:lnTo>
                    <a:lnTo>
                      <a:pt x="151" y="20"/>
                    </a:lnTo>
                    <a:lnTo>
                      <a:pt x="150" y="22"/>
                    </a:lnTo>
                    <a:lnTo>
                      <a:pt x="151" y="22"/>
                    </a:lnTo>
                    <a:lnTo>
                      <a:pt x="151" y="24"/>
                    </a:lnTo>
                    <a:lnTo>
                      <a:pt x="150" y="24"/>
                    </a:lnTo>
                    <a:lnTo>
                      <a:pt x="151" y="24"/>
                    </a:lnTo>
                    <a:lnTo>
                      <a:pt x="151" y="25"/>
                    </a:lnTo>
                    <a:lnTo>
                      <a:pt x="151" y="27"/>
                    </a:lnTo>
                    <a:lnTo>
                      <a:pt x="151" y="29"/>
                    </a:lnTo>
                    <a:lnTo>
                      <a:pt x="153" y="29"/>
                    </a:lnTo>
                    <a:lnTo>
                      <a:pt x="153" y="30"/>
                    </a:lnTo>
                    <a:lnTo>
                      <a:pt x="151" y="30"/>
                    </a:lnTo>
                    <a:lnTo>
                      <a:pt x="151" y="3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41" name="Freeform 46">
                <a:extLst>
                  <a:ext uri="{FF2B5EF4-FFF2-40B4-BE49-F238E27FC236}">
                    <a16:creationId xmlns:a16="http://schemas.microsoft.com/office/drawing/2014/main" id="{12792B0A-5B7A-C755-177A-E86EA3952555}"/>
                  </a:ext>
                </a:extLst>
              </p:cNvPr>
              <p:cNvSpPr>
                <a:spLocks noEditPoints="1"/>
              </p:cNvSpPr>
              <p:nvPr/>
            </p:nvSpPr>
            <p:spPr bwMode="auto">
              <a:xfrm>
                <a:off x="5571662" y="2946832"/>
                <a:ext cx="126005" cy="185043"/>
              </a:xfrm>
              <a:custGeom>
                <a:avLst/>
                <a:gdLst>
                  <a:gd name="T0" fmla="*/ 367 w 429"/>
                  <a:gd name="T1" fmla="*/ 141 h 630"/>
                  <a:gd name="T2" fmla="*/ 347 w 429"/>
                  <a:gd name="T3" fmla="*/ 148 h 630"/>
                  <a:gd name="T4" fmla="*/ 323 w 429"/>
                  <a:gd name="T5" fmla="*/ 152 h 630"/>
                  <a:gd name="T6" fmla="*/ 299 w 429"/>
                  <a:gd name="T7" fmla="*/ 165 h 630"/>
                  <a:gd name="T8" fmla="*/ 284 w 429"/>
                  <a:gd name="T9" fmla="*/ 189 h 630"/>
                  <a:gd name="T10" fmla="*/ 276 w 429"/>
                  <a:gd name="T11" fmla="*/ 213 h 630"/>
                  <a:gd name="T12" fmla="*/ 259 w 429"/>
                  <a:gd name="T13" fmla="*/ 230 h 630"/>
                  <a:gd name="T14" fmla="*/ 259 w 429"/>
                  <a:gd name="T15" fmla="*/ 262 h 630"/>
                  <a:gd name="T16" fmla="*/ 272 w 429"/>
                  <a:gd name="T17" fmla="*/ 293 h 630"/>
                  <a:gd name="T18" fmla="*/ 294 w 429"/>
                  <a:gd name="T19" fmla="*/ 320 h 630"/>
                  <a:gd name="T20" fmla="*/ 310 w 429"/>
                  <a:gd name="T21" fmla="*/ 337 h 630"/>
                  <a:gd name="T22" fmla="*/ 357 w 429"/>
                  <a:gd name="T23" fmla="*/ 327 h 630"/>
                  <a:gd name="T24" fmla="*/ 364 w 429"/>
                  <a:gd name="T25" fmla="*/ 332 h 630"/>
                  <a:gd name="T26" fmla="*/ 376 w 429"/>
                  <a:gd name="T27" fmla="*/ 376 h 630"/>
                  <a:gd name="T28" fmla="*/ 408 w 429"/>
                  <a:gd name="T29" fmla="*/ 388 h 630"/>
                  <a:gd name="T30" fmla="*/ 427 w 429"/>
                  <a:gd name="T31" fmla="*/ 432 h 630"/>
                  <a:gd name="T32" fmla="*/ 420 w 429"/>
                  <a:gd name="T33" fmla="*/ 461 h 630"/>
                  <a:gd name="T34" fmla="*/ 417 w 429"/>
                  <a:gd name="T35" fmla="*/ 487 h 630"/>
                  <a:gd name="T36" fmla="*/ 408 w 429"/>
                  <a:gd name="T37" fmla="*/ 516 h 630"/>
                  <a:gd name="T38" fmla="*/ 413 w 429"/>
                  <a:gd name="T39" fmla="*/ 555 h 630"/>
                  <a:gd name="T40" fmla="*/ 403 w 429"/>
                  <a:gd name="T41" fmla="*/ 584 h 630"/>
                  <a:gd name="T42" fmla="*/ 388 w 429"/>
                  <a:gd name="T43" fmla="*/ 609 h 630"/>
                  <a:gd name="T44" fmla="*/ 366 w 429"/>
                  <a:gd name="T45" fmla="*/ 628 h 630"/>
                  <a:gd name="T46" fmla="*/ 339 w 429"/>
                  <a:gd name="T47" fmla="*/ 606 h 630"/>
                  <a:gd name="T48" fmla="*/ 313 w 429"/>
                  <a:gd name="T49" fmla="*/ 582 h 630"/>
                  <a:gd name="T50" fmla="*/ 281 w 429"/>
                  <a:gd name="T51" fmla="*/ 565 h 630"/>
                  <a:gd name="T52" fmla="*/ 248 w 429"/>
                  <a:gd name="T53" fmla="*/ 550 h 630"/>
                  <a:gd name="T54" fmla="*/ 216 w 429"/>
                  <a:gd name="T55" fmla="*/ 529 h 630"/>
                  <a:gd name="T56" fmla="*/ 194 w 429"/>
                  <a:gd name="T57" fmla="*/ 507 h 630"/>
                  <a:gd name="T58" fmla="*/ 172 w 429"/>
                  <a:gd name="T59" fmla="*/ 482 h 630"/>
                  <a:gd name="T60" fmla="*/ 172 w 429"/>
                  <a:gd name="T61" fmla="*/ 470 h 630"/>
                  <a:gd name="T62" fmla="*/ 160 w 429"/>
                  <a:gd name="T63" fmla="*/ 436 h 630"/>
                  <a:gd name="T64" fmla="*/ 141 w 429"/>
                  <a:gd name="T65" fmla="*/ 410 h 630"/>
                  <a:gd name="T66" fmla="*/ 126 w 429"/>
                  <a:gd name="T67" fmla="*/ 381 h 630"/>
                  <a:gd name="T68" fmla="*/ 112 w 429"/>
                  <a:gd name="T69" fmla="*/ 352 h 630"/>
                  <a:gd name="T70" fmla="*/ 99 w 429"/>
                  <a:gd name="T71" fmla="*/ 317 h 630"/>
                  <a:gd name="T72" fmla="*/ 87 w 429"/>
                  <a:gd name="T73" fmla="*/ 298 h 630"/>
                  <a:gd name="T74" fmla="*/ 67 w 429"/>
                  <a:gd name="T75" fmla="*/ 266 h 630"/>
                  <a:gd name="T76" fmla="*/ 46 w 429"/>
                  <a:gd name="T77" fmla="*/ 230 h 630"/>
                  <a:gd name="T78" fmla="*/ 9 w 429"/>
                  <a:gd name="T79" fmla="*/ 204 h 630"/>
                  <a:gd name="T80" fmla="*/ 5 w 429"/>
                  <a:gd name="T81" fmla="*/ 177 h 630"/>
                  <a:gd name="T82" fmla="*/ 4 w 429"/>
                  <a:gd name="T83" fmla="*/ 145 h 630"/>
                  <a:gd name="T84" fmla="*/ 31 w 429"/>
                  <a:gd name="T85" fmla="*/ 119 h 630"/>
                  <a:gd name="T86" fmla="*/ 29 w 429"/>
                  <a:gd name="T87" fmla="*/ 136 h 630"/>
                  <a:gd name="T88" fmla="*/ 39 w 429"/>
                  <a:gd name="T89" fmla="*/ 145 h 630"/>
                  <a:gd name="T90" fmla="*/ 70 w 429"/>
                  <a:gd name="T91" fmla="*/ 165 h 630"/>
                  <a:gd name="T92" fmla="*/ 92 w 429"/>
                  <a:gd name="T93" fmla="*/ 148 h 630"/>
                  <a:gd name="T94" fmla="*/ 101 w 429"/>
                  <a:gd name="T95" fmla="*/ 118 h 630"/>
                  <a:gd name="T96" fmla="*/ 128 w 429"/>
                  <a:gd name="T97" fmla="*/ 99 h 630"/>
                  <a:gd name="T98" fmla="*/ 199 w 429"/>
                  <a:gd name="T99" fmla="*/ 39 h 630"/>
                  <a:gd name="T100" fmla="*/ 203 w 429"/>
                  <a:gd name="T101" fmla="*/ 16 h 630"/>
                  <a:gd name="T102" fmla="*/ 216 w 429"/>
                  <a:gd name="T103" fmla="*/ 5 h 630"/>
                  <a:gd name="T104" fmla="*/ 235 w 429"/>
                  <a:gd name="T105" fmla="*/ 21 h 630"/>
                  <a:gd name="T106" fmla="*/ 248 w 429"/>
                  <a:gd name="T107" fmla="*/ 34 h 630"/>
                  <a:gd name="T108" fmla="*/ 265 w 429"/>
                  <a:gd name="T109" fmla="*/ 51 h 630"/>
                  <a:gd name="T110" fmla="*/ 279 w 429"/>
                  <a:gd name="T111" fmla="*/ 70 h 630"/>
                  <a:gd name="T112" fmla="*/ 298 w 429"/>
                  <a:gd name="T113" fmla="*/ 82 h 630"/>
                  <a:gd name="T114" fmla="*/ 322 w 429"/>
                  <a:gd name="T115" fmla="*/ 75 h 630"/>
                  <a:gd name="T116" fmla="*/ 342 w 429"/>
                  <a:gd name="T117" fmla="*/ 80 h 630"/>
                  <a:gd name="T118" fmla="*/ 367 w 429"/>
                  <a:gd name="T119" fmla="*/ 84 h 630"/>
                  <a:gd name="T120" fmla="*/ 371 w 429"/>
                  <a:gd name="T121" fmla="*/ 109 h 630"/>
                  <a:gd name="T122" fmla="*/ 381 w 429"/>
                  <a:gd name="T123" fmla="*/ 138 h 630"/>
                  <a:gd name="T124" fmla="*/ 36 w 429"/>
                  <a:gd name="T125" fmla="*/ 116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9" h="630">
                    <a:moveTo>
                      <a:pt x="384" y="143"/>
                    </a:moveTo>
                    <a:lnTo>
                      <a:pt x="384" y="145"/>
                    </a:lnTo>
                    <a:lnTo>
                      <a:pt x="384" y="147"/>
                    </a:lnTo>
                    <a:lnTo>
                      <a:pt x="384" y="148"/>
                    </a:lnTo>
                    <a:lnTo>
                      <a:pt x="383" y="148"/>
                    </a:lnTo>
                    <a:lnTo>
                      <a:pt x="381" y="147"/>
                    </a:lnTo>
                    <a:lnTo>
                      <a:pt x="381" y="145"/>
                    </a:lnTo>
                    <a:lnTo>
                      <a:pt x="379" y="145"/>
                    </a:lnTo>
                    <a:lnTo>
                      <a:pt x="379" y="143"/>
                    </a:lnTo>
                    <a:lnTo>
                      <a:pt x="379" y="145"/>
                    </a:lnTo>
                    <a:lnTo>
                      <a:pt x="378" y="145"/>
                    </a:lnTo>
                    <a:lnTo>
                      <a:pt x="378" y="147"/>
                    </a:lnTo>
                    <a:lnTo>
                      <a:pt x="376" y="147"/>
                    </a:lnTo>
                    <a:lnTo>
                      <a:pt x="376" y="145"/>
                    </a:lnTo>
                    <a:lnTo>
                      <a:pt x="376" y="147"/>
                    </a:lnTo>
                    <a:lnTo>
                      <a:pt x="374" y="145"/>
                    </a:lnTo>
                    <a:lnTo>
                      <a:pt x="373" y="143"/>
                    </a:lnTo>
                    <a:lnTo>
                      <a:pt x="374" y="143"/>
                    </a:lnTo>
                    <a:lnTo>
                      <a:pt x="374" y="141"/>
                    </a:lnTo>
                    <a:lnTo>
                      <a:pt x="373" y="140"/>
                    </a:lnTo>
                    <a:lnTo>
                      <a:pt x="373" y="141"/>
                    </a:lnTo>
                    <a:lnTo>
                      <a:pt x="371" y="141"/>
                    </a:lnTo>
                    <a:lnTo>
                      <a:pt x="371" y="140"/>
                    </a:lnTo>
                    <a:lnTo>
                      <a:pt x="369" y="140"/>
                    </a:lnTo>
                    <a:lnTo>
                      <a:pt x="367" y="140"/>
                    </a:lnTo>
                    <a:lnTo>
                      <a:pt x="369" y="140"/>
                    </a:lnTo>
                    <a:lnTo>
                      <a:pt x="367" y="140"/>
                    </a:lnTo>
                    <a:lnTo>
                      <a:pt x="367" y="141"/>
                    </a:lnTo>
                    <a:lnTo>
                      <a:pt x="367" y="140"/>
                    </a:lnTo>
                    <a:lnTo>
                      <a:pt x="367" y="141"/>
                    </a:lnTo>
                    <a:lnTo>
                      <a:pt x="366" y="141"/>
                    </a:lnTo>
                    <a:lnTo>
                      <a:pt x="366" y="140"/>
                    </a:lnTo>
                    <a:lnTo>
                      <a:pt x="364" y="140"/>
                    </a:lnTo>
                    <a:lnTo>
                      <a:pt x="366" y="140"/>
                    </a:lnTo>
                    <a:lnTo>
                      <a:pt x="364" y="141"/>
                    </a:lnTo>
                    <a:lnTo>
                      <a:pt x="362" y="141"/>
                    </a:lnTo>
                    <a:lnTo>
                      <a:pt x="362" y="140"/>
                    </a:lnTo>
                    <a:lnTo>
                      <a:pt x="361" y="140"/>
                    </a:lnTo>
                    <a:lnTo>
                      <a:pt x="361" y="141"/>
                    </a:lnTo>
                    <a:lnTo>
                      <a:pt x="359" y="141"/>
                    </a:lnTo>
                    <a:lnTo>
                      <a:pt x="357" y="140"/>
                    </a:lnTo>
                    <a:lnTo>
                      <a:pt x="357" y="141"/>
                    </a:lnTo>
                    <a:lnTo>
                      <a:pt x="356" y="141"/>
                    </a:lnTo>
                    <a:lnTo>
                      <a:pt x="356" y="143"/>
                    </a:lnTo>
                    <a:lnTo>
                      <a:pt x="354" y="143"/>
                    </a:lnTo>
                    <a:lnTo>
                      <a:pt x="354" y="145"/>
                    </a:lnTo>
                    <a:lnTo>
                      <a:pt x="354" y="147"/>
                    </a:lnTo>
                    <a:lnTo>
                      <a:pt x="352" y="147"/>
                    </a:lnTo>
                    <a:lnTo>
                      <a:pt x="352" y="148"/>
                    </a:lnTo>
                    <a:lnTo>
                      <a:pt x="350" y="148"/>
                    </a:lnTo>
                    <a:lnTo>
                      <a:pt x="350" y="147"/>
                    </a:lnTo>
                    <a:lnTo>
                      <a:pt x="349" y="147"/>
                    </a:lnTo>
                    <a:lnTo>
                      <a:pt x="350" y="147"/>
                    </a:lnTo>
                    <a:lnTo>
                      <a:pt x="350" y="148"/>
                    </a:lnTo>
                    <a:lnTo>
                      <a:pt x="349" y="148"/>
                    </a:lnTo>
                    <a:lnTo>
                      <a:pt x="347" y="148"/>
                    </a:lnTo>
                    <a:lnTo>
                      <a:pt x="345" y="148"/>
                    </a:lnTo>
                    <a:lnTo>
                      <a:pt x="344" y="148"/>
                    </a:lnTo>
                    <a:lnTo>
                      <a:pt x="344" y="150"/>
                    </a:lnTo>
                    <a:lnTo>
                      <a:pt x="342" y="148"/>
                    </a:lnTo>
                    <a:lnTo>
                      <a:pt x="340" y="148"/>
                    </a:lnTo>
                    <a:lnTo>
                      <a:pt x="340" y="150"/>
                    </a:lnTo>
                    <a:lnTo>
                      <a:pt x="339" y="150"/>
                    </a:lnTo>
                    <a:lnTo>
                      <a:pt x="339" y="148"/>
                    </a:lnTo>
                    <a:lnTo>
                      <a:pt x="339" y="150"/>
                    </a:lnTo>
                    <a:lnTo>
                      <a:pt x="337" y="150"/>
                    </a:lnTo>
                    <a:lnTo>
                      <a:pt x="335" y="150"/>
                    </a:lnTo>
                    <a:lnTo>
                      <a:pt x="335" y="152"/>
                    </a:lnTo>
                    <a:lnTo>
                      <a:pt x="335" y="150"/>
                    </a:lnTo>
                    <a:lnTo>
                      <a:pt x="333" y="150"/>
                    </a:lnTo>
                    <a:lnTo>
                      <a:pt x="332" y="150"/>
                    </a:lnTo>
                    <a:lnTo>
                      <a:pt x="333" y="152"/>
                    </a:lnTo>
                    <a:lnTo>
                      <a:pt x="332" y="152"/>
                    </a:lnTo>
                    <a:lnTo>
                      <a:pt x="332" y="150"/>
                    </a:lnTo>
                    <a:lnTo>
                      <a:pt x="332" y="152"/>
                    </a:lnTo>
                    <a:lnTo>
                      <a:pt x="330" y="152"/>
                    </a:lnTo>
                    <a:lnTo>
                      <a:pt x="330" y="153"/>
                    </a:lnTo>
                    <a:lnTo>
                      <a:pt x="328" y="153"/>
                    </a:lnTo>
                    <a:lnTo>
                      <a:pt x="328" y="152"/>
                    </a:lnTo>
                    <a:lnTo>
                      <a:pt x="327" y="152"/>
                    </a:lnTo>
                    <a:lnTo>
                      <a:pt x="325" y="152"/>
                    </a:lnTo>
                    <a:lnTo>
                      <a:pt x="323" y="152"/>
                    </a:lnTo>
                    <a:lnTo>
                      <a:pt x="325" y="152"/>
                    </a:lnTo>
                    <a:lnTo>
                      <a:pt x="323" y="152"/>
                    </a:lnTo>
                    <a:lnTo>
                      <a:pt x="322" y="152"/>
                    </a:lnTo>
                    <a:lnTo>
                      <a:pt x="320" y="152"/>
                    </a:lnTo>
                    <a:lnTo>
                      <a:pt x="320" y="153"/>
                    </a:lnTo>
                    <a:lnTo>
                      <a:pt x="320" y="152"/>
                    </a:lnTo>
                    <a:lnTo>
                      <a:pt x="318" y="152"/>
                    </a:lnTo>
                    <a:lnTo>
                      <a:pt x="320" y="153"/>
                    </a:lnTo>
                    <a:lnTo>
                      <a:pt x="318" y="153"/>
                    </a:lnTo>
                    <a:lnTo>
                      <a:pt x="318" y="155"/>
                    </a:lnTo>
                    <a:lnTo>
                      <a:pt x="316" y="155"/>
                    </a:lnTo>
                    <a:lnTo>
                      <a:pt x="316" y="157"/>
                    </a:lnTo>
                    <a:lnTo>
                      <a:pt x="315" y="157"/>
                    </a:lnTo>
                    <a:lnTo>
                      <a:pt x="313" y="157"/>
                    </a:lnTo>
                    <a:lnTo>
                      <a:pt x="313" y="159"/>
                    </a:lnTo>
                    <a:lnTo>
                      <a:pt x="311" y="159"/>
                    </a:lnTo>
                    <a:lnTo>
                      <a:pt x="311" y="160"/>
                    </a:lnTo>
                    <a:lnTo>
                      <a:pt x="311" y="159"/>
                    </a:lnTo>
                    <a:lnTo>
                      <a:pt x="310" y="160"/>
                    </a:lnTo>
                    <a:lnTo>
                      <a:pt x="308" y="160"/>
                    </a:lnTo>
                    <a:lnTo>
                      <a:pt x="308" y="162"/>
                    </a:lnTo>
                    <a:lnTo>
                      <a:pt x="306" y="160"/>
                    </a:lnTo>
                    <a:lnTo>
                      <a:pt x="308" y="162"/>
                    </a:lnTo>
                    <a:lnTo>
                      <a:pt x="306" y="162"/>
                    </a:lnTo>
                    <a:lnTo>
                      <a:pt x="305" y="162"/>
                    </a:lnTo>
                    <a:lnTo>
                      <a:pt x="303" y="162"/>
                    </a:lnTo>
                    <a:lnTo>
                      <a:pt x="303" y="164"/>
                    </a:lnTo>
                    <a:lnTo>
                      <a:pt x="303" y="165"/>
                    </a:lnTo>
                    <a:lnTo>
                      <a:pt x="301" y="165"/>
                    </a:lnTo>
                    <a:lnTo>
                      <a:pt x="299" y="165"/>
                    </a:lnTo>
                    <a:lnTo>
                      <a:pt x="301" y="165"/>
                    </a:lnTo>
                    <a:lnTo>
                      <a:pt x="299" y="167"/>
                    </a:lnTo>
                    <a:lnTo>
                      <a:pt x="298" y="167"/>
                    </a:lnTo>
                    <a:lnTo>
                      <a:pt x="296" y="169"/>
                    </a:lnTo>
                    <a:lnTo>
                      <a:pt x="294" y="169"/>
                    </a:lnTo>
                    <a:lnTo>
                      <a:pt x="296" y="169"/>
                    </a:lnTo>
                    <a:lnTo>
                      <a:pt x="294" y="169"/>
                    </a:lnTo>
                    <a:lnTo>
                      <a:pt x="296" y="170"/>
                    </a:lnTo>
                    <a:lnTo>
                      <a:pt x="294" y="170"/>
                    </a:lnTo>
                    <a:lnTo>
                      <a:pt x="293" y="170"/>
                    </a:lnTo>
                    <a:lnTo>
                      <a:pt x="291" y="170"/>
                    </a:lnTo>
                    <a:lnTo>
                      <a:pt x="291" y="172"/>
                    </a:lnTo>
                    <a:lnTo>
                      <a:pt x="289" y="172"/>
                    </a:lnTo>
                    <a:lnTo>
                      <a:pt x="288" y="172"/>
                    </a:lnTo>
                    <a:lnTo>
                      <a:pt x="288" y="174"/>
                    </a:lnTo>
                    <a:lnTo>
                      <a:pt x="286" y="174"/>
                    </a:lnTo>
                    <a:lnTo>
                      <a:pt x="286" y="176"/>
                    </a:lnTo>
                    <a:lnTo>
                      <a:pt x="286" y="177"/>
                    </a:lnTo>
                    <a:lnTo>
                      <a:pt x="286" y="179"/>
                    </a:lnTo>
                    <a:lnTo>
                      <a:pt x="286" y="181"/>
                    </a:lnTo>
                    <a:lnTo>
                      <a:pt x="286" y="182"/>
                    </a:lnTo>
                    <a:lnTo>
                      <a:pt x="284" y="182"/>
                    </a:lnTo>
                    <a:lnTo>
                      <a:pt x="284" y="184"/>
                    </a:lnTo>
                    <a:lnTo>
                      <a:pt x="284" y="186"/>
                    </a:lnTo>
                    <a:lnTo>
                      <a:pt x="282" y="186"/>
                    </a:lnTo>
                    <a:lnTo>
                      <a:pt x="284" y="186"/>
                    </a:lnTo>
                    <a:lnTo>
                      <a:pt x="284" y="187"/>
                    </a:lnTo>
                    <a:lnTo>
                      <a:pt x="284" y="189"/>
                    </a:lnTo>
                    <a:lnTo>
                      <a:pt x="282" y="189"/>
                    </a:lnTo>
                    <a:lnTo>
                      <a:pt x="282" y="191"/>
                    </a:lnTo>
                    <a:lnTo>
                      <a:pt x="284" y="191"/>
                    </a:lnTo>
                    <a:lnTo>
                      <a:pt x="282" y="191"/>
                    </a:lnTo>
                    <a:lnTo>
                      <a:pt x="282" y="193"/>
                    </a:lnTo>
                    <a:lnTo>
                      <a:pt x="282" y="194"/>
                    </a:lnTo>
                    <a:lnTo>
                      <a:pt x="281" y="194"/>
                    </a:lnTo>
                    <a:lnTo>
                      <a:pt x="281" y="196"/>
                    </a:lnTo>
                    <a:lnTo>
                      <a:pt x="279" y="196"/>
                    </a:lnTo>
                    <a:lnTo>
                      <a:pt x="279" y="198"/>
                    </a:lnTo>
                    <a:lnTo>
                      <a:pt x="277" y="198"/>
                    </a:lnTo>
                    <a:lnTo>
                      <a:pt x="277" y="199"/>
                    </a:lnTo>
                    <a:lnTo>
                      <a:pt x="276" y="199"/>
                    </a:lnTo>
                    <a:lnTo>
                      <a:pt x="276" y="201"/>
                    </a:lnTo>
                    <a:lnTo>
                      <a:pt x="276" y="203"/>
                    </a:lnTo>
                    <a:lnTo>
                      <a:pt x="274" y="203"/>
                    </a:lnTo>
                    <a:lnTo>
                      <a:pt x="276" y="204"/>
                    </a:lnTo>
                    <a:lnTo>
                      <a:pt x="274" y="203"/>
                    </a:lnTo>
                    <a:lnTo>
                      <a:pt x="274" y="204"/>
                    </a:lnTo>
                    <a:lnTo>
                      <a:pt x="274" y="206"/>
                    </a:lnTo>
                    <a:lnTo>
                      <a:pt x="274" y="208"/>
                    </a:lnTo>
                    <a:lnTo>
                      <a:pt x="274" y="210"/>
                    </a:lnTo>
                    <a:lnTo>
                      <a:pt x="276" y="210"/>
                    </a:lnTo>
                    <a:lnTo>
                      <a:pt x="274" y="210"/>
                    </a:lnTo>
                    <a:lnTo>
                      <a:pt x="276" y="210"/>
                    </a:lnTo>
                    <a:lnTo>
                      <a:pt x="276" y="211"/>
                    </a:lnTo>
                    <a:lnTo>
                      <a:pt x="277" y="213"/>
                    </a:lnTo>
                    <a:lnTo>
                      <a:pt x="276" y="213"/>
                    </a:lnTo>
                    <a:lnTo>
                      <a:pt x="277" y="213"/>
                    </a:lnTo>
                    <a:lnTo>
                      <a:pt x="277" y="215"/>
                    </a:lnTo>
                    <a:lnTo>
                      <a:pt x="277" y="216"/>
                    </a:lnTo>
                    <a:lnTo>
                      <a:pt x="279" y="216"/>
                    </a:lnTo>
                    <a:lnTo>
                      <a:pt x="277" y="218"/>
                    </a:lnTo>
                    <a:lnTo>
                      <a:pt x="279" y="218"/>
                    </a:lnTo>
                    <a:lnTo>
                      <a:pt x="277" y="218"/>
                    </a:lnTo>
                    <a:lnTo>
                      <a:pt x="277" y="220"/>
                    </a:lnTo>
                    <a:lnTo>
                      <a:pt x="277" y="221"/>
                    </a:lnTo>
                    <a:lnTo>
                      <a:pt x="276" y="220"/>
                    </a:lnTo>
                    <a:lnTo>
                      <a:pt x="276" y="221"/>
                    </a:lnTo>
                    <a:lnTo>
                      <a:pt x="276" y="223"/>
                    </a:lnTo>
                    <a:lnTo>
                      <a:pt x="274" y="221"/>
                    </a:lnTo>
                    <a:lnTo>
                      <a:pt x="274" y="223"/>
                    </a:lnTo>
                    <a:lnTo>
                      <a:pt x="272" y="223"/>
                    </a:lnTo>
                    <a:lnTo>
                      <a:pt x="271" y="223"/>
                    </a:lnTo>
                    <a:lnTo>
                      <a:pt x="269" y="223"/>
                    </a:lnTo>
                    <a:lnTo>
                      <a:pt x="269" y="225"/>
                    </a:lnTo>
                    <a:lnTo>
                      <a:pt x="267" y="225"/>
                    </a:lnTo>
                    <a:lnTo>
                      <a:pt x="265" y="225"/>
                    </a:lnTo>
                    <a:lnTo>
                      <a:pt x="265" y="227"/>
                    </a:lnTo>
                    <a:lnTo>
                      <a:pt x="265" y="225"/>
                    </a:lnTo>
                    <a:lnTo>
                      <a:pt x="264" y="227"/>
                    </a:lnTo>
                    <a:lnTo>
                      <a:pt x="264" y="228"/>
                    </a:lnTo>
                    <a:lnTo>
                      <a:pt x="262" y="228"/>
                    </a:lnTo>
                    <a:lnTo>
                      <a:pt x="260" y="228"/>
                    </a:lnTo>
                    <a:lnTo>
                      <a:pt x="260" y="230"/>
                    </a:lnTo>
                    <a:lnTo>
                      <a:pt x="259" y="230"/>
                    </a:lnTo>
                    <a:lnTo>
                      <a:pt x="259" y="232"/>
                    </a:lnTo>
                    <a:lnTo>
                      <a:pt x="257" y="232"/>
                    </a:lnTo>
                    <a:lnTo>
                      <a:pt x="257" y="233"/>
                    </a:lnTo>
                    <a:lnTo>
                      <a:pt x="257" y="235"/>
                    </a:lnTo>
                    <a:lnTo>
                      <a:pt x="257" y="237"/>
                    </a:lnTo>
                    <a:lnTo>
                      <a:pt x="257" y="238"/>
                    </a:lnTo>
                    <a:lnTo>
                      <a:pt x="255" y="240"/>
                    </a:lnTo>
                    <a:lnTo>
                      <a:pt x="257" y="244"/>
                    </a:lnTo>
                    <a:lnTo>
                      <a:pt x="259" y="245"/>
                    </a:lnTo>
                    <a:lnTo>
                      <a:pt x="259" y="247"/>
                    </a:lnTo>
                    <a:lnTo>
                      <a:pt x="257" y="247"/>
                    </a:lnTo>
                    <a:lnTo>
                      <a:pt x="257" y="249"/>
                    </a:lnTo>
                    <a:lnTo>
                      <a:pt x="255" y="249"/>
                    </a:lnTo>
                    <a:lnTo>
                      <a:pt x="254" y="249"/>
                    </a:lnTo>
                    <a:lnTo>
                      <a:pt x="252" y="250"/>
                    </a:lnTo>
                    <a:lnTo>
                      <a:pt x="250" y="249"/>
                    </a:lnTo>
                    <a:lnTo>
                      <a:pt x="250" y="252"/>
                    </a:lnTo>
                    <a:lnTo>
                      <a:pt x="250" y="254"/>
                    </a:lnTo>
                    <a:lnTo>
                      <a:pt x="250" y="255"/>
                    </a:lnTo>
                    <a:lnTo>
                      <a:pt x="248" y="255"/>
                    </a:lnTo>
                    <a:lnTo>
                      <a:pt x="250" y="257"/>
                    </a:lnTo>
                    <a:lnTo>
                      <a:pt x="252" y="259"/>
                    </a:lnTo>
                    <a:lnTo>
                      <a:pt x="254" y="259"/>
                    </a:lnTo>
                    <a:lnTo>
                      <a:pt x="254" y="261"/>
                    </a:lnTo>
                    <a:lnTo>
                      <a:pt x="255" y="261"/>
                    </a:lnTo>
                    <a:lnTo>
                      <a:pt x="255" y="262"/>
                    </a:lnTo>
                    <a:lnTo>
                      <a:pt x="257" y="262"/>
                    </a:lnTo>
                    <a:lnTo>
                      <a:pt x="259" y="262"/>
                    </a:lnTo>
                    <a:lnTo>
                      <a:pt x="259" y="264"/>
                    </a:lnTo>
                    <a:lnTo>
                      <a:pt x="259" y="266"/>
                    </a:lnTo>
                    <a:lnTo>
                      <a:pt x="257" y="267"/>
                    </a:lnTo>
                    <a:lnTo>
                      <a:pt x="257" y="266"/>
                    </a:lnTo>
                    <a:lnTo>
                      <a:pt x="257" y="267"/>
                    </a:lnTo>
                    <a:lnTo>
                      <a:pt x="255" y="267"/>
                    </a:lnTo>
                    <a:lnTo>
                      <a:pt x="257" y="267"/>
                    </a:lnTo>
                    <a:lnTo>
                      <a:pt x="257" y="269"/>
                    </a:lnTo>
                    <a:lnTo>
                      <a:pt x="259" y="269"/>
                    </a:lnTo>
                    <a:lnTo>
                      <a:pt x="259" y="271"/>
                    </a:lnTo>
                    <a:lnTo>
                      <a:pt x="260" y="271"/>
                    </a:lnTo>
                    <a:lnTo>
                      <a:pt x="260" y="272"/>
                    </a:lnTo>
                    <a:lnTo>
                      <a:pt x="262" y="274"/>
                    </a:lnTo>
                    <a:lnTo>
                      <a:pt x="262" y="276"/>
                    </a:lnTo>
                    <a:lnTo>
                      <a:pt x="262" y="278"/>
                    </a:lnTo>
                    <a:lnTo>
                      <a:pt x="264" y="279"/>
                    </a:lnTo>
                    <a:lnTo>
                      <a:pt x="264" y="281"/>
                    </a:lnTo>
                    <a:lnTo>
                      <a:pt x="264" y="283"/>
                    </a:lnTo>
                    <a:lnTo>
                      <a:pt x="265" y="284"/>
                    </a:lnTo>
                    <a:lnTo>
                      <a:pt x="267" y="284"/>
                    </a:lnTo>
                    <a:lnTo>
                      <a:pt x="269" y="284"/>
                    </a:lnTo>
                    <a:lnTo>
                      <a:pt x="269" y="286"/>
                    </a:lnTo>
                    <a:lnTo>
                      <a:pt x="269" y="288"/>
                    </a:lnTo>
                    <a:lnTo>
                      <a:pt x="271" y="288"/>
                    </a:lnTo>
                    <a:lnTo>
                      <a:pt x="271" y="289"/>
                    </a:lnTo>
                    <a:lnTo>
                      <a:pt x="271" y="291"/>
                    </a:lnTo>
                    <a:lnTo>
                      <a:pt x="271" y="293"/>
                    </a:lnTo>
                    <a:lnTo>
                      <a:pt x="272" y="293"/>
                    </a:lnTo>
                    <a:lnTo>
                      <a:pt x="272" y="295"/>
                    </a:lnTo>
                    <a:lnTo>
                      <a:pt x="274" y="295"/>
                    </a:lnTo>
                    <a:lnTo>
                      <a:pt x="276" y="295"/>
                    </a:lnTo>
                    <a:lnTo>
                      <a:pt x="277" y="295"/>
                    </a:lnTo>
                    <a:lnTo>
                      <a:pt x="277" y="296"/>
                    </a:lnTo>
                    <a:lnTo>
                      <a:pt x="277" y="298"/>
                    </a:lnTo>
                    <a:lnTo>
                      <a:pt x="279" y="300"/>
                    </a:lnTo>
                    <a:lnTo>
                      <a:pt x="281" y="301"/>
                    </a:lnTo>
                    <a:lnTo>
                      <a:pt x="282" y="303"/>
                    </a:lnTo>
                    <a:lnTo>
                      <a:pt x="282" y="305"/>
                    </a:lnTo>
                    <a:lnTo>
                      <a:pt x="284" y="305"/>
                    </a:lnTo>
                    <a:lnTo>
                      <a:pt x="284" y="307"/>
                    </a:lnTo>
                    <a:lnTo>
                      <a:pt x="284" y="308"/>
                    </a:lnTo>
                    <a:lnTo>
                      <a:pt x="284" y="310"/>
                    </a:lnTo>
                    <a:lnTo>
                      <a:pt x="282" y="310"/>
                    </a:lnTo>
                    <a:lnTo>
                      <a:pt x="281" y="312"/>
                    </a:lnTo>
                    <a:lnTo>
                      <a:pt x="282" y="312"/>
                    </a:lnTo>
                    <a:lnTo>
                      <a:pt x="281" y="313"/>
                    </a:lnTo>
                    <a:lnTo>
                      <a:pt x="279" y="313"/>
                    </a:lnTo>
                    <a:lnTo>
                      <a:pt x="279" y="315"/>
                    </a:lnTo>
                    <a:lnTo>
                      <a:pt x="277" y="317"/>
                    </a:lnTo>
                    <a:lnTo>
                      <a:pt x="276" y="317"/>
                    </a:lnTo>
                    <a:lnTo>
                      <a:pt x="276" y="318"/>
                    </a:lnTo>
                    <a:lnTo>
                      <a:pt x="284" y="318"/>
                    </a:lnTo>
                    <a:lnTo>
                      <a:pt x="291" y="318"/>
                    </a:lnTo>
                    <a:lnTo>
                      <a:pt x="291" y="320"/>
                    </a:lnTo>
                    <a:lnTo>
                      <a:pt x="293" y="320"/>
                    </a:lnTo>
                    <a:lnTo>
                      <a:pt x="294" y="320"/>
                    </a:lnTo>
                    <a:lnTo>
                      <a:pt x="296" y="320"/>
                    </a:lnTo>
                    <a:lnTo>
                      <a:pt x="296" y="322"/>
                    </a:lnTo>
                    <a:lnTo>
                      <a:pt x="298" y="322"/>
                    </a:lnTo>
                    <a:lnTo>
                      <a:pt x="299" y="322"/>
                    </a:lnTo>
                    <a:lnTo>
                      <a:pt x="301" y="322"/>
                    </a:lnTo>
                    <a:lnTo>
                      <a:pt x="303" y="322"/>
                    </a:lnTo>
                    <a:lnTo>
                      <a:pt x="305" y="322"/>
                    </a:lnTo>
                    <a:lnTo>
                      <a:pt x="305" y="324"/>
                    </a:lnTo>
                    <a:lnTo>
                      <a:pt x="306" y="324"/>
                    </a:lnTo>
                    <a:lnTo>
                      <a:pt x="306" y="325"/>
                    </a:lnTo>
                    <a:lnTo>
                      <a:pt x="306" y="327"/>
                    </a:lnTo>
                    <a:lnTo>
                      <a:pt x="308" y="327"/>
                    </a:lnTo>
                    <a:lnTo>
                      <a:pt x="306" y="327"/>
                    </a:lnTo>
                    <a:lnTo>
                      <a:pt x="308" y="327"/>
                    </a:lnTo>
                    <a:lnTo>
                      <a:pt x="308" y="329"/>
                    </a:lnTo>
                    <a:lnTo>
                      <a:pt x="306" y="329"/>
                    </a:lnTo>
                    <a:lnTo>
                      <a:pt x="308" y="330"/>
                    </a:lnTo>
                    <a:lnTo>
                      <a:pt x="306" y="330"/>
                    </a:lnTo>
                    <a:lnTo>
                      <a:pt x="308" y="330"/>
                    </a:lnTo>
                    <a:lnTo>
                      <a:pt x="308" y="332"/>
                    </a:lnTo>
                    <a:lnTo>
                      <a:pt x="310" y="332"/>
                    </a:lnTo>
                    <a:lnTo>
                      <a:pt x="311" y="332"/>
                    </a:lnTo>
                    <a:lnTo>
                      <a:pt x="310" y="334"/>
                    </a:lnTo>
                    <a:lnTo>
                      <a:pt x="311" y="334"/>
                    </a:lnTo>
                    <a:lnTo>
                      <a:pt x="310" y="334"/>
                    </a:lnTo>
                    <a:lnTo>
                      <a:pt x="311" y="335"/>
                    </a:lnTo>
                    <a:lnTo>
                      <a:pt x="310" y="335"/>
                    </a:lnTo>
                    <a:lnTo>
                      <a:pt x="310" y="337"/>
                    </a:lnTo>
                    <a:lnTo>
                      <a:pt x="311" y="339"/>
                    </a:lnTo>
                    <a:lnTo>
                      <a:pt x="310" y="339"/>
                    </a:lnTo>
                    <a:lnTo>
                      <a:pt x="315" y="339"/>
                    </a:lnTo>
                    <a:lnTo>
                      <a:pt x="318" y="339"/>
                    </a:lnTo>
                    <a:lnTo>
                      <a:pt x="322" y="339"/>
                    </a:lnTo>
                    <a:lnTo>
                      <a:pt x="325" y="339"/>
                    </a:lnTo>
                    <a:lnTo>
                      <a:pt x="328" y="339"/>
                    </a:lnTo>
                    <a:lnTo>
                      <a:pt x="332" y="339"/>
                    </a:lnTo>
                    <a:lnTo>
                      <a:pt x="333" y="339"/>
                    </a:lnTo>
                    <a:lnTo>
                      <a:pt x="337" y="339"/>
                    </a:lnTo>
                    <a:lnTo>
                      <a:pt x="339" y="339"/>
                    </a:lnTo>
                    <a:lnTo>
                      <a:pt x="340" y="339"/>
                    </a:lnTo>
                    <a:lnTo>
                      <a:pt x="342" y="339"/>
                    </a:lnTo>
                    <a:lnTo>
                      <a:pt x="342" y="337"/>
                    </a:lnTo>
                    <a:lnTo>
                      <a:pt x="344" y="337"/>
                    </a:lnTo>
                    <a:lnTo>
                      <a:pt x="344" y="335"/>
                    </a:lnTo>
                    <a:lnTo>
                      <a:pt x="345" y="335"/>
                    </a:lnTo>
                    <a:lnTo>
                      <a:pt x="345" y="334"/>
                    </a:lnTo>
                    <a:lnTo>
                      <a:pt x="347" y="334"/>
                    </a:lnTo>
                    <a:lnTo>
                      <a:pt x="349" y="334"/>
                    </a:lnTo>
                    <a:lnTo>
                      <a:pt x="350" y="334"/>
                    </a:lnTo>
                    <a:lnTo>
                      <a:pt x="350" y="332"/>
                    </a:lnTo>
                    <a:lnTo>
                      <a:pt x="350" y="330"/>
                    </a:lnTo>
                    <a:lnTo>
                      <a:pt x="352" y="330"/>
                    </a:lnTo>
                    <a:lnTo>
                      <a:pt x="354" y="329"/>
                    </a:lnTo>
                    <a:lnTo>
                      <a:pt x="354" y="327"/>
                    </a:lnTo>
                    <a:lnTo>
                      <a:pt x="356" y="327"/>
                    </a:lnTo>
                    <a:lnTo>
                      <a:pt x="357" y="327"/>
                    </a:lnTo>
                    <a:lnTo>
                      <a:pt x="357" y="325"/>
                    </a:lnTo>
                    <a:lnTo>
                      <a:pt x="357" y="324"/>
                    </a:lnTo>
                    <a:lnTo>
                      <a:pt x="359" y="325"/>
                    </a:lnTo>
                    <a:lnTo>
                      <a:pt x="359" y="324"/>
                    </a:lnTo>
                    <a:lnTo>
                      <a:pt x="361" y="324"/>
                    </a:lnTo>
                    <a:lnTo>
                      <a:pt x="361" y="322"/>
                    </a:lnTo>
                    <a:lnTo>
                      <a:pt x="362" y="322"/>
                    </a:lnTo>
                    <a:lnTo>
                      <a:pt x="362" y="320"/>
                    </a:lnTo>
                    <a:lnTo>
                      <a:pt x="364" y="320"/>
                    </a:lnTo>
                    <a:lnTo>
                      <a:pt x="366" y="320"/>
                    </a:lnTo>
                    <a:lnTo>
                      <a:pt x="366" y="322"/>
                    </a:lnTo>
                    <a:lnTo>
                      <a:pt x="366" y="324"/>
                    </a:lnTo>
                    <a:lnTo>
                      <a:pt x="364" y="324"/>
                    </a:lnTo>
                    <a:lnTo>
                      <a:pt x="366" y="324"/>
                    </a:lnTo>
                    <a:lnTo>
                      <a:pt x="364" y="324"/>
                    </a:lnTo>
                    <a:lnTo>
                      <a:pt x="364" y="325"/>
                    </a:lnTo>
                    <a:lnTo>
                      <a:pt x="364" y="324"/>
                    </a:lnTo>
                    <a:lnTo>
                      <a:pt x="364" y="325"/>
                    </a:lnTo>
                    <a:lnTo>
                      <a:pt x="364" y="324"/>
                    </a:lnTo>
                    <a:lnTo>
                      <a:pt x="362" y="324"/>
                    </a:lnTo>
                    <a:lnTo>
                      <a:pt x="364" y="325"/>
                    </a:lnTo>
                    <a:lnTo>
                      <a:pt x="362" y="325"/>
                    </a:lnTo>
                    <a:lnTo>
                      <a:pt x="364" y="327"/>
                    </a:lnTo>
                    <a:lnTo>
                      <a:pt x="364" y="329"/>
                    </a:lnTo>
                    <a:lnTo>
                      <a:pt x="366" y="329"/>
                    </a:lnTo>
                    <a:lnTo>
                      <a:pt x="366" y="330"/>
                    </a:lnTo>
                    <a:lnTo>
                      <a:pt x="366" y="332"/>
                    </a:lnTo>
                    <a:lnTo>
                      <a:pt x="364" y="332"/>
                    </a:lnTo>
                    <a:lnTo>
                      <a:pt x="362" y="332"/>
                    </a:lnTo>
                    <a:lnTo>
                      <a:pt x="362" y="334"/>
                    </a:lnTo>
                    <a:lnTo>
                      <a:pt x="362" y="335"/>
                    </a:lnTo>
                    <a:lnTo>
                      <a:pt x="362" y="339"/>
                    </a:lnTo>
                    <a:lnTo>
                      <a:pt x="362" y="341"/>
                    </a:lnTo>
                    <a:lnTo>
                      <a:pt x="362" y="342"/>
                    </a:lnTo>
                    <a:lnTo>
                      <a:pt x="362" y="344"/>
                    </a:lnTo>
                    <a:lnTo>
                      <a:pt x="362" y="346"/>
                    </a:lnTo>
                    <a:lnTo>
                      <a:pt x="362" y="347"/>
                    </a:lnTo>
                    <a:lnTo>
                      <a:pt x="362" y="351"/>
                    </a:lnTo>
                    <a:lnTo>
                      <a:pt x="362" y="352"/>
                    </a:lnTo>
                    <a:lnTo>
                      <a:pt x="362" y="354"/>
                    </a:lnTo>
                    <a:lnTo>
                      <a:pt x="362" y="356"/>
                    </a:lnTo>
                    <a:lnTo>
                      <a:pt x="362" y="359"/>
                    </a:lnTo>
                    <a:lnTo>
                      <a:pt x="362" y="361"/>
                    </a:lnTo>
                    <a:lnTo>
                      <a:pt x="362" y="364"/>
                    </a:lnTo>
                    <a:lnTo>
                      <a:pt x="362" y="373"/>
                    </a:lnTo>
                    <a:lnTo>
                      <a:pt x="366" y="371"/>
                    </a:lnTo>
                    <a:lnTo>
                      <a:pt x="367" y="373"/>
                    </a:lnTo>
                    <a:lnTo>
                      <a:pt x="369" y="375"/>
                    </a:lnTo>
                    <a:lnTo>
                      <a:pt x="371" y="375"/>
                    </a:lnTo>
                    <a:lnTo>
                      <a:pt x="371" y="376"/>
                    </a:lnTo>
                    <a:lnTo>
                      <a:pt x="373" y="376"/>
                    </a:lnTo>
                    <a:lnTo>
                      <a:pt x="374" y="376"/>
                    </a:lnTo>
                    <a:lnTo>
                      <a:pt x="374" y="375"/>
                    </a:lnTo>
                    <a:lnTo>
                      <a:pt x="376" y="376"/>
                    </a:lnTo>
                    <a:lnTo>
                      <a:pt x="376" y="375"/>
                    </a:lnTo>
                    <a:lnTo>
                      <a:pt x="376" y="376"/>
                    </a:lnTo>
                    <a:lnTo>
                      <a:pt x="378" y="375"/>
                    </a:lnTo>
                    <a:lnTo>
                      <a:pt x="379" y="375"/>
                    </a:lnTo>
                    <a:lnTo>
                      <a:pt x="379" y="373"/>
                    </a:lnTo>
                    <a:lnTo>
                      <a:pt x="381" y="373"/>
                    </a:lnTo>
                    <a:lnTo>
                      <a:pt x="383" y="373"/>
                    </a:lnTo>
                    <a:lnTo>
                      <a:pt x="383" y="371"/>
                    </a:lnTo>
                    <a:lnTo>
                      <a:pt x="384" y="373"/>
                    </a:lnTo>
                    <a:lnTo>
                      <a:pt x="384" y="371"/>
                    </a:lnTo>
                    <a:lnTo>
                      <a:pt x="386" y="371"/>
                    </a:lnTo>
                    <a:lnTo>
                      <a:pt x="388" y="371"/>
                    </a:lnTo>
                    <a:lnTo>
                      <a:pt x="390" y="371"/>
                    </a:lnTo>
                    <a:lnTo>
                      <a:pt x="391" y="371"/>
                    </a:lnTo>
                    <a:lnTo>
                      <a:pt x="391" y="373"/>
                    </a:lnTo>
                    <a:lnTo>
                      <a:pt x="393" y="373"/>
                    </a:lnTo>
                    <a:lnTo>
                      <a:pt x="395" y="373"/>
                    </a:lnTo>
                    <a:lnTo>
                      <a:pt x="396" y="373"/>
                    </a:lnTo>
                    <a:lnTo>
                      <a:pt x="396" y="371"/>
                    </a:lnTo>
                    <a:lnTo>
                      <a:pt x="396" y="373"/>
                    </a:lnTo>
                    <a:lnTo>
                      <a:pt x="396" y="371"/>
                    </a:lnTo>
                    <a:lnTo>
                      <a:pt x="398" y="371"/>
                    </a:lnTo>
                    <a:lnTo>
                      <a:pt x="398" y="373"/>
                    </a:lnTo>
                    <a:lnTo>
                      <a:pt x="400" y="375"/>
                    </a:lnTo>
                    <a:lnTo>
                      <a:pt x="401" y="378"/>
                    </a:lnTo>
                    <a:lnTo>
                      <a:pt x="401" y="380"/>
                    </a:lnTo>
                    <a:lnTo>
                      <a:pt x="403" y="381"/>
                    </a:lnTo>
                    <a:lnTo>
                      <a:pt x="405" y="383"/>
                    </a:lnTo>
                    <a:lnTo>
                      <a:pt x="407" y="385"/>
                    </a:lnTo>
                    <a:lnTo>
                      <a:pt x="408" y="388"/>
                    </a:lnTo>
                    <a:lnTo>
                      <a:pt x="408" y="390"/>
                    </a:lnTo>
                    <a:lnTo>
                      <a:pt x="410" y="390"/>
                    </a:lnTo>
                    <a:lnTo>
                      <a:pt x="410" y="393"/>
                    </a:lnTo>
                    <a:lnTo>
                      <a:pt x="413" y="395"/>
                    </a:lnTo>
                    <a:lnTo>
                      <a:pt x="413" y="397"/>
                    </a:lnTo>
                    <a:lnTo>
                      <a:pt x="415" y="398"/>
                    </a:lnTo>
                    <a:lnTo>
                      <a:pt x="415" y="402"/>
                    </a:lnTo>
                    <a:lnTo>
                      <a:pt x="417" y="403"/>
                    </a:lnTo>
                    <a:lnTo>
                      <a:pt x="418" y="405"/>
                    </a:lnTo>
                    <a:lnTo>
                      <a:pt x="418" y="407"/>
                    </a:lnTo>
                    <a:lnTo>
                      <a:pt x="420" y="409"/>
                    </a:lnTo>
                    <a:lnTo>
                      <a:pt x="420" y="410"/>
                    </a:lnTo>
                    <a:lnTo>
                      <a:pt x="422" y="414"/>
                    </a:lnTo>
                    <a:lnTo>
                      <a:pt x="424" y="415"/>
                    </a:lnTo>
                    <a:lnTo>
                      <a:pt x="427" y="422"/>
                    </a:lnTo>
                    <a:lnTo>
                      <a:pt x="429" y="426"/>
                    </a:lnTo>
                    <a:lnTo>
                      <a:pt x="429" y="427"/>
                    </a:lnTo>
                    <a:lnTo>
                      <a:pt x="429" y="426"/>
                    </a:lnTo>
                    <a:lnTo>
                      <a:pt x="427" y="426"/>
                    </a:lnTo>
                    <a:lnTo>
                      <a:pt x="429" y="426"/>
                    </a:lnTo>
                    <a:lnTo>
                      <a:pt x="429" y="427"/>
                    </a:lnTo>
                    <a:lnTo>
                      <a:pt x="427" y="427"/>
                    </a:lnTo>
                    <a:lnTo>
                      <a:pt x="427" y="429"/>
                    </a:lnTo>
                    <a:lnTo>
                      <a:pt x="425" y="429"/>
                    </a:lnTo>
                    <a:lnTo>
                      <a:pt x="425" y="431"/>
                    </a:lnTo>
                    <a:lnTo>
                      <a:pt x="427" y="432"/>
                    </a:lnTo>
                    <a:lnTo>
                      <a:pt x="425" y="432"/>
                    </a:lnTo>
                    <a:lnTo>
                      <a:pt x="427" y="432"/>
                    </a:lnTo>
                    <a:lnTo>
                      <a:pt x="425" y="432"/>
                    </a:lnTo>
                    <a:lnTo>
                      <a:pt x="427" y="432"/>
                    </a:lnTo>
                    <a:lnTo>
                      <a:pt x="425" y="432"/>
                    </a:lnTo>
                    <a:lnTo>
                      <a:pt x="425" y="434"/>
                    </a:lnTo>
                    <a:lnTo>
                      <a:pt x="424" y="434"/>
                    </a:lnTo>
                    <a:lnTo>
                      <a:pt x="424" y="436"/>
                    </a:lnTo>
                    <a:lnTo>
                      <a:pt x="422" y="436"/>
                    </a:lnTo>
                    <a:lnTo>
                      <a:pt x="424" y="437"/>
                    </a:lnTo>
                    <a:lnTo>
                      <a:pt x="422" y="437"/>
                    </a:lnTo>
                    <a:lnTo>
                      <a:pt x="422" y="439"/>
                    </a:lnTo>
                    <a:lnTo>
                      <a:pt x="422" y="441"/>
                    </a:lnTo>
                    <a:lnTo>
                      <a:pt x="420" y="441"/>
                    </a:lnTo>
                    <a:lnTo>
                      <a:pt x="422" y="443"/>
                    </a:lnTo>
                    <a:lnTo>
                      <a:pt x="422" y="441"/>
                    </a:lnTo>
                    <a:lnTo>
                      <a:pt x="422" y="443"/>
                    </a:lnTo>
                    <a:lnTo>
                      <a:pt x="422" y="444"/>
                    </a:lnTo>
                    <a:lnTo>
                      <a:pt x="422" y="446"/>
                    </a:lnTo>
                    <a:lnTo>
                      <a:pt x="422" y="448"/>
                    </a:lnTo>
                    <a:lnTo>
                      <a:pt x="422" y="449"/>
                    </a:lnTo>
                    <a:lnTo>
                      <a:pt x="422" y="451"/>
                    </a:lnTo>
                    <a:lnTo>
                      <a:pt x="422" y="453"/>
                    </a:lnTo>
                    <a:lnTo>
                      <a:pt x="422" y="454"/>
                    </a:lnTo>
                    <a:lnTo>
                      <a:pt x="420" y="454"/>
                    </a:lnTo>
                    <a:lnTo>
                      <a:pt x="422" y="454"/>
                    </a:lnTo>
                    <a:lnTo>
                      <a:pt x="420" y="456"/>
                    </a:lnTo>
                    <a:lnTo>
                      <a:pt x="420" y="458"/>
                    </a:lnTo>
                    <a:lnTo>
                      <a:pt x="420" y="460"/>
                    </a:lnTo>
                    <a:lnTo>
                      <a:pt x="420" y="461"/>
                    </a:lnTo>
                    <a:lnTo>
                      <a:pt x="418" y="461"/>
                    </a:lnTo>
                    <a:lnTo>
                      <a:pt x="418" y="463"/>
                    </a:lnTo>
                    <a:lnTo>
                      <a:pt x="418" y="465"/>
                    </a:lnTo>
                    <a:lnTo>
                      <a:pt x="417" y="465"/>
                    </a:lnTo>
                    <a:lnTo>
                      <a:pt x="415" y="465"/>
                    </a:lnTo>
                    <a:lnTo>
                      <a:pt x="415" y="466"/>
                    </a:lnTo>
                    <a:lnTo>
                      <a:pt x="415" y="468"/>
                    </a:lnTo>
                    <a:lnTo>
                      <a:pt x="417" y="468"/>
                    </a:lnTo>
                    <a:lnTo>
                      <a:pt x="417" y="470"/>
                    </a:lnTo>
                    <a:lnTo>
                      <a:pt x="417" y="472"/>
                    </a:lnTo>
                    <a:lnTo>
                      <a:pt x="417" y="473"/>
                    </a:lnTo>
                    <a:lnTo>
                      <a:pt x="418" y="473"/>
                    </a:lnTo>
                    <a:lnTo>
                      <a:pt x="417" y="475"/>
                    </a:lnTo>
                    <a:lnTo>
                      <a:pt x="418" y="475"/>
                    </a:lnTo>
                    <a:lnTo>
                      <a:pt x="418" y="477"/>
                    </a:lnTo>
                    <a:lnTo>
                      <a:pt x="418" y="478"/>
                    </a:lnTo>
                    <a:lnTo>
                      <a:pt x="420" y="478"/>
                    </a:lnTo>
                    <a:lnTo>
                      <a:pt x="420" y="480"/>
                    </a:lnTo>
                    <a:lnTo>
                      <a:pt x="422" y="480"/>
                    </a:lnTo>
                    <a:lnTo>
                      <a:pt x="422" y="482"/>
                    </a:lnTo>
                    <a:lnTo>
                      <a:pt x="422" y="483"/>
                    </a:lnTo>
                    <a:lnTo>
                      <a:pt x="422" y="485"/>
                    </a:lnTo>
                    <a:lnTo>
                      <a:pt x="424" y="485"/>
                    </a:lnTo>
                    <a:lnTo>
                      <a:pt x="422" y="485"/>
                    </a:lnTo>
                    <a:lnTo>
                      <a:pt x="420" y="485"/>
                    </a:lnTo>
                    <a:lnTo>
                      <a:pt x="418" y="485"/>
                    </a:lnTo>
                    <a:lnTo>
                      <a:pt x="417" y="485"/>
                    </a:lnTo>
                    <a:lnTo>
                      <a:pt x="417" y="487"/>
                    </a:lnTo>
                    <a:lnTo>
                      <a:pt x="417" y="489"/>
                    </a:lnTo>
                    <a:lnTo>
                      <a:pt x="417" y="490"/>
                    </a:lnTo>
                    <a:lnTo>
                      <a:pt x="417" y="492"/>
                    </a:lnTo>
                    <a:lnTo>
                      <a:pt x="415" y="492"/>
                    </a:lnTo>
                    <a:lnTo>
                      <a:pt x="415" y="494"/>
                    </a:lnTo>
                    <a:lnTo>
                      <a:pt x="413" y="494"/>
                    </a:lnTo>
                    <a:lnTo>
                      <a:pt x="413" y="495"/>
                    </a:lnTo>
                    <a:lnTo>
                      <a:pt x="412" y="495"/>
                    </a:lnTo>
                    <a:lnTo>
                      <a:pt x="412" y="497"/>
                    </a:lnTo>
                    <a:lnTo>
                      <a:pt x="412" y="499"/>
                    </a:lnTo>
                    <a:lnTo>
                      <a:pt x="410" y="497"/>
                    </a:lnTo>
                    <a:lnTo>
                      <a:pt x="410" y="499"/>
                    </a:lnTo>
                    <a:lnTo>
                      <a:pt x="410" y="500"/>
                    </a:lnTo>
                    <a:lnTo>
                      <a:pt x="408" y="500"/>
                    </a:lnTo>
                    <a:lnTo>
                      <a:pt x="408" y="502"/>
                    </a:lnTo>
                    <a:lnTo>
                      <a:pt x="410" y="504"/>
                    </a:lnTo>
                    <a:lnTo>
                      <a:pt x="408" y="504"/>
                    </a:lnTo>
                    <a:lnTo>
                      <a:pt x="407" y="504"/>
                    </a:lnTo>
                    <a:lnTo>
                      <a:pt x="407" y="506"/>
                    </a:lnTo>
                    <a:lnTo>
                      <a:pt x="405" y="506"/>
                    </a:lnTo>
                    <a:lnTo>
                      <a:pt x="405" y="507"/>
                    </a:lnTo>
                    <a:lnTo>
                      <a:pt x="405" y="509"/>
                    </a:lnTo>
                    <a:lnTo>
                      <a:pt x="405" y="511"/>
                    </a:lnTo>
                    <a:lnTo>
                      <a:pt x="405" y="512"/>
                    </a:lnTo>
                    <a:lnTo>
                      <a:pt x="407" y="512"/>
                    </a:lnTo>
                    <a:lnTo>
                      <a:pt x="407" y="514"/>
                    </a:lnTo>
                    <a:lnTo>
                      <a:pt x="407" y="516"/>
                    </a:lnTo>
                    <a:lnTo>
                      <a:pt x="408" y="516"/>
                    </a:lnTo>
                    <a:lnTo>
                      <a:pt x="408" y="517"/>
                    </a:lnTo>
                    <a:lnTo>
                      <a:pt x="408" y="516"/>
                    </a:lnTo>
                    <a:lnTo>
                      <a:pt x="410" y="517"/>
                    </a:lnTo>
                    <a:lnTo>
                      <a:pt x="412" y="519"/>
                    </a:lnTo>
                    <a:lnTo>
                      <a:pt x="412" y="521"/>
                    </a:lnTo>
                    <a:lnTo>
                      <a:pt x="413" y="521"/>
                    </a:lnTo>
                    <a:lnTo>
                      <a:pt x="412" y="521"/>
                    </a:lnTo>
                    <a:lnTo>
                      <a:pt x="412" y="523"/>
                    </a:lnTo>
                    <a:lnTo>
                      <a:pt x="412" y="521"/>
                    </a:lnTo>
                    <a:lnTo>
                      <a:pt x="412" y="523"/>
                    </a:lnTo>
                    <a:lnTo>
                      <a:pt x="410" y="523"/>
                    </a:lnTo>
                    <a:lnTo>
                      <a:pt x="410" y="524"/>
                    </a:lnTo>
                    <a:lnTo>
                      <a:pt x="408" y="526"/>
                    </a:lnTo>
                    <a:lnTo>
                      <a:pt x="408" y="528"/>
                    </a:lnTo>
                    <a:lnTo>
                      <a:pt x="410" y="528"/>
                    </a:lnTo>
                    <a:lnTo>
                      <a:pt x="408" y="528"/>
                    </a:lnTo>
                    <a:lnTo>
                      <a:pt x="408" y="529"/>
                    </a:lnTo>
                    <a:lnTo>
                      <a:pt x="407" y="528"/>
                    </a:lnTo>
                    <a:lnTo>
                      <a:pt x="407" y="529"/>
                    </a:lnTo>
                    <a:lnTo>
                      <a:pt x="407" y="531"/>
                    </a:lnTo>
                    <a:lnTo>
                      <a:pt x="403" y="534"/>
                    </a:lnTo>
                    <a:lnTo>
                      <a:pt x="405" y="538"/>
                    </a:lnTo>
                    <a:lnTo>
                      <a:pt x="405" y="540"/>
                    </a:lnTo>
                    <a:lnTo>
                      <a:pt x="407" y="543"/>
                    </a:lnTo>
                    <a:lnTo>
                      <a:pt x="407" y="548"/>
                    </a:lnTo>
                    <a:lnTo>
                      <a:pt x="408" y="553"/>
                    </a:lnTo>
                    <a:lnTo>
                      <a:pt x="410" y="553"/>
                    </a:lnTo>
                    <a:lnTo>
                      <a:pt x="413" y="555"/>
                    </a:lnTo>
                    <a:lnTo>
                      <a:pt x="415" y="555"/>
                    </a:lnTo>
                    <a:lnTo>
                      <a:pt x="417" y="555"/>
                    </a:lnTo>
                    <a:lnTo>
                      <a:pt x="418" y="555"/>
                    </a:lnTo>
                    <a:lnTo>
                      <a:pt x="420" y="557"/>
                    </a:lnTo>
                    <a:lnTo>
                      <a:pt x="422" y="557"/>
                    </a:lnTo>
                    <a:lnTo>
                      <a:pt x="424" y="558"/>
                    </a:lnTo>
                    <a:lnTo>
                      <a:pt x="424" y="560"/>
                    </a:lnTo>
                    <a:lnTo>
                      <a:pt x="418" y="563"/>
                    </a:lnTo>
                    <a:lnTo>
                      <a:pt x="417" y="563"/>
                    </a:lnTo>
                    <a:lnTo>
                      <a:pt x="417" y="565"/>
                    </a:lnTo>
                    <a:lnTo>
                      <a:pt x="415" y="567"/>
                    </a:lnTo>
                    <a:lnTo>
                      <a:pt x="415" y="568"/>
                    </a:lnTo>
                    <a:lnTo>
                      <a:pt x="417" y="568"/>
                    </a:lnTo>
                    <a:lnTo>
                      <a:pt x="417" y="570"/>
                    </a:lnTo>
                    <a:lnTo>
                      <a:pt x="417" y="572"/>
                    </a:lnTo>
                    <a:lnTo>
                      <a:pt x="415" y="572"/>
                    </a:lnTo>
                    <a:lnTo>
                      <a:pt x="413" y="572"/>
                    </a:lnTo>
                    <a:lnTo>
                      <a:pt x="412" y="574"/>
                    </a:lnTo>
                    <a:lnTo>
                      <a:pt x="412" y="575"/>
                    </a:lnTo>
                    <a:lnTo>
                      <a:pt x="410" y="575"/>
                    </a:lnTo>
                    <a:lnTo>
                      <a:pt x="410" y="577"/>
                    </a:lnTo>
                    <a:lnTo>
                      <a:pt x="408" y="577"/>
                    </a:lnTo>
                    <a:lnTo>
                      <a:pt x="408" y="579"/>
                    </a:lnTo>
                    <a:lnTo>
                      <a:pt x="407" y="579"/>
                    </a:lnTo>
                    <a:lnTo>
                      <a:pt x="407" y="580"/>
                    </a:lnTo>
                    <a:lnTo>
                      <a:pt x="407" y="582"/>
                    </a:lnTo>
                    <a:lnTo>
                      <a:pt x="405" y="582"/>
                    </a:lnTo>
                    <a:lnTo>
                      <a:pt x="403" y="584"/>
                    </a:lnTo>
                    <a:lnTo>
                      <a:pt x="405" y="584"/>
                    </a:lnTo>
                    <a:lnTo>
                      <a:pt x="405" y="585"/>
                    </a:lnTo>
                    <a:lnTo>
                      <a:pt x="403" y="585"/>
                    </a:lnTo>
                    <a:lnTo>
                      <a:pt x="403" y="587"/>
                    </a:lnTo>
                    <a:lnTo>
                      <a:pt x="401" y="587"/>
                    </a:lnTo>
                    <a:lnTo>
                      <a:pt x="401" y="585"/>
                    </a:lnTo>
                    <a:lnTo>
                      <a:pt x="400" y="587"/>
                    </a:lnTo>
                    <a:lnTo>
                      <a:pt x="400" y="589"/>
                    </a:lnTo>
                    <a:lnTo>
                      <a:pt x="398" y="589"/>
                    </a:lnTo>
                    <a:lnTo>
                      <a:pt x="398" y="591"/>
                    </a:lnTo>
                    <a:lnTo>
                      <a:pt x="396" y="591"/>
                    </a:lnTo>
                    <a:lnTo>
                      <a:pt x="396" y="592"/>
                    </a:lnTo>
                    <a:lnTo>
                      <a:pt x="395" y="592"/>
                    </a:lnTo>
                    <a:lnTo>
                      <a:pt x="396" y="592"/>
                    </a:lnTo>
                    <a:lnTo>
                      <a:pt x="398" y="592"/>
                    </a:lnTo>
                    <a:lnTo>
                      <a:pt x="400" y="596"/>
                    </a:lnTo>
                    <a:lnTo>
                      <a:pt x="401" y="596"/>
                    </a:lnTo>
                    <a:lnTo>
                      <a:pt x="401" y="597"/>
                    </a:lnTo>
                    <a:lnTo>
                      <a:pt x="401" y="599"/>
                    </a:lnTo>
                    <a:lnTo>
                      <a:pt x="401" y="601"/>
                    </a:lnTo>
                    <a:lnTo>
                      <a:pt x="398" y="602"/>
                    </a:lnTo>
                    <a:lnTo>
                      <a:pt x="396" y="604"/>
                    </a:lnTo>
                    <a:lnTo>
                      <a:pt x="395" y="606"/>
                    </a:lnTo>
                    <a:lnTo>
                      <a:pt x="393" y="606"/>
                    </a:lnTo>
                    <a:lnTo>
                      <a:pt x="391" y="606"/>
                    </a:lnTo>
                    <a:lnTo>
                      <a:pt x="390" y="606"/>
                    </a:lnTo>
                    <a:lnTo>
                      <a:pt x="390" y="608"/>
                    </a:lnTo>
                    <a:lnTo>
                      <a:pt x="388" y="609"/>
                    </a:lnTo>
                    <a:lnTo>
                      <a:pt x="390" y="609"/>
                    </a:lnTo>
                    <a:lnTo>
                      <a:pt x="390" y="611"/>
                    </a:lnTo>
                    <a:lnTo>
                      <a:pt x="390" y="613"/>
                    </a:lnTo>
                    <a:lnTo>
                      <a:pt x="391" y="613"/>
                    </a:lnTo>
                    <a:lnTo>
                      <a:pt x="390" y="614"/>
                    </a:lnTo>
                    <a:lnTo>
                      <a:pt x="391" y="614"/>
                    </a:lnTo>
                    <a:lnTo>
                      <a:pt x="391" y="616"/>
                    </a:lnTo>
                    <a:lnTo>
                      <a:pt x="391" y="618"/>
                    </a:lnTo>
                    <a:lnTo>
                      <a:pt x="391" y="619"/>
                    </a:lnTo>
                    <a:lnTo>
                      <a:pt x="391" y="621"/>
                    </a:lnTo>
                    <a:lnTo>
                      <a:pt x="391" y="623"/>
                    </a:lnTo>
                    <a:lnTo>
                      <a:pt x="390" y="623"/>
                    </a:lnTo>
                    <a:lnTo>
                      <a:pt x="388" y="625"/>
                    </a:lnTo>
                    <a:lnTo>
                      <a:pt x="386" y="625"/>
                    </a:lnTo>
                    <a:lnTo>
                      <a:pt x="386" y="626"/>
                    </a:lnTo>
                    <a:lnTo>
                      <a:pt x="384" y="626"/>
                    </a:lnTo>
                    <a:lnTo>
                      <a:pt x="383" y="626"/>
                    </a:lnTo>
                    <a:lnTo>
                      <a:pt x="383" y="628"/>
                    </a:lnTo>
                    <a:lnTo>
                      <a:pt x="381" y="628"/>
                    </a:lnTo>
                    <a:lnTo>
                      <a:pt x="379" y="630"/>
                    </a:lnTo>
                    <a:lnTo>
                      <a:pt x="378" y="630"/>
                    </a:lnTo>
                    <a:lnTo>
                      <a:pt x="376" y="630"/>
                    </a:lnTo>
                    <a:lnTo>
                      <a:pt x="374" y="630"/>
                    </a:lnTo>
                    <a:lnTo>
                      <a:pt x="373" y="630"/>
                    </a:lnTo>
                    <a:lnTo>
                      <a:pt x="371" y="630"/>
                    </a:lnTo>
                    <a:lnTo>
                      <a:pt x="369" y="630"/>
                    </a:lnTo>
                    <a:lnTo>
                      <a:pt x="367" y="628"/>
                    </a:lnTo>
                    <a:lnTo>
                      <a:pt x="366" y="628"/>
                    </a:lnTo>
                    <a:lnTo>
                      <a:pt x="366" y="626"/>
                    </a:lnTo>
                    <a:lnTo>
                      <a:pt x="364" y="626"/>
                    </a:lnTo>
                    <a:lnTo>
                      <a:pt x="362" y="625"/>
                    </a:lnTo>
                    <a:lnTo>
                      <a:pt x="361" y="625"/>
                    </a:lnTo>
                    <a:lnTo>
                      <a:pt x="361" y="623"/>
                    </a:lnTo>
                    <a:lnTo>
                      <a:pt x="359" y="623"/>
                    </a:lnTo>
                    <a:lnTo>
                      <a:pt x="359" y="621"/>
                    </a:lnTo>
                    <a:lnTo>
                      <a:pt x="357" y="621"/>
                    </a:lnTo>
                    <a:lnTo>
                      <a:pt x="357" y="619"/>
                    </a:lnTo>
                    <a:lnTo>
                      <a:pt x="356" y="619"/>
                    </a:lnTo>
                    <a:lnTo>
                      <a:pt x="354" y="619"/>
                    </a:lnTo>
                    <a:lnTo>
                      <a:pt x="354" y="618"/>
                    </a:lnTo>
                    <a:lnTo>
                      <a:pt x="354" y="616"/>
                    </a:lnTo>
                    <a:lnTo>
                      <a:pt x="352" y="616"/>
                    </a:lnTo>
                    <a:lnTo>
                      <a:pt x="350" y="614"/>
                    </a:lnTo>
                    <a:lnTo>
                      <a:pt x="349" y="614"/>
                    </a:lnTo>
                    <a:lnTo>
                      <a:pt x="347" y="614"/>
                    </a:lnTo>
                    <a:lnTo>
                      <a:pt x="347" y="613"/>
                    </a:lnTo>
                    <a:lnTo>
                      <a:pt x="347" y="614"/>
                    </a:lnTo>
                    <a:lnTo>
                      <a:pt x="347" y="613"/>
                    </a:lnTo>
                    <a:lnTo>
                      <a:pt x="345" y="613"/>
                    </a:lnTo>
                    <a:lnTo>
                      <a:pt x="345" y="611"/>
                    </a:lnTo>
                    <a:lnTo>
                      <a:pt x="344" y="611"/>
                    </a:lnTo>
                    <a:lnTo>
                      <a:pt x="342" y="609"/>
                    </a:lnTo>
                    <a:lnTo>
                      <a:pt x="339" y="608"/>
                    </a:lnTo>
                    <a:lnTo>
                      <a:pt x="337" y="608"/>
                    </a:lnTo>
                    <a:lnTo>
                      <a:pt x="337" y="606"/>
                    </a:lnTo>
                    <a:lnTo>
                      <a:pt x="339" y="606"/>
                    </a:lnTo>
                    <a:lnTo>
                      <a:pt x="339" y="604"/>
                    </a:lnTo>
                    <a:lnTo>
                      <a:pt x="337" y="604"/>
                    </a:lnTo>
                    <a:lnTo>
                      <a:pt x="337" y="602"/>
                    </a:lnTo>
                    <a:lnTo>
                      <a:pt x="337" y="601"/>
                    </a:lnTo>
                    <a:lnTo>
                      <a:pt x="337" y="599"/>
                    </a:lnTo>
                    <a:lnTo>
                      <a:pt x="337" y="597"/>
                    </a:lnTo>
                    <a:lnTo>
                      <a:pt x="337" y="596"/>
                    </a:lnTo>
                    <a:lnTo>
                      <a:pt x="335" y="596"/>
                    </a:lnTo>
                    <a:lnTo>
                      <a:pt x="335" y="594"/>
                    </a:lnTo>
                    <a:lnTo>
                      <a:pt x="333" y="594"/>
                    </a:lnTo>
                    <a:lnTo>
                      <a:pt x="333" y="592"/>
                    </a:lnTo>
                    <a:lnTo>
                      <a:pt x="332" y="592"/>
                    </a:lnTo>
                    <a:lnTo>
                      <a:pt x="330" y="592"/>
                    </a:lnTo>
                    <a:lnTo>
                      <a:pt x="330" y="591"/>
                    </a:lnTo>
                    <a:lnTo>
                      <a:pt x="328" y="591"/>
                    </a:lnTo>
                    <a:lnTo>
                      <a:pt x="327" y="591"/>
                    </a:lnTo>
                    <a:lnTo>
                      <a:pt x="325" y="591"/>
                    </a:lnTo>
                    <a:lnTo>
                      <a:pt x="325" y="589"/>
                    </a:lnTo>
                    <a:lnTo>
                      <a:pt x="323" y="589"/>
                    </a:lnTo>
                    <a:lnTo>
                      <a:pt x="322" y="589"/>
                    </a:lnTo>
                    <a:lnTo>
                      <a:pt x="320" y="587"/>
                    </a:lnTo>
                    <a:lnTo>
                      <a:pt x="318" y="587"/>
                    </a:lnTo>
                    <a:lnTo>
                      <a:pt x="318" y="585"/>
                    </a:lnTo>
                    <a:lnTo>
                      <a:pt x="316" y="584"/>
                    </a:lnTo>
                    <a:lnTo>
                      <a:pt x="315" y="584"/>
                    </a:lnTo>
                    <a:lnTo>
                      <a:pt x="313" y="584"/>
                    </a:lnTo>
                    <a:lnTo>
                      <a:pt x="311" y="584"/>
                    </a:lnTo>
                    <a:lnTo>
                      <a:pt x="313" y="582"/>
                    </a:lnTo>
                    <a:lnTo>
                      <a:pt x="311" y="582"/>
                    </a:lnTo>
                    <a:lnTo>
                      <a:pt x="311" y="580"/>
                    </a:lnTo>
                    <a:lnTo>
                      <a:pt x="310" y="580"/>
                    </a:lnTo>
                    <a:lnTo>
                      <a:pt x="310" y="579"/>
                    </a:lnTo>
                    <a:lnTo>
                      <a:pt x="308" y="579"/>
                    </a:lnTo>
                    <a:lnTo>
                      <a:pt x="306" y="579"/>
                    </a:lnTo>
                    <a:lnTo>
                      <a:pt x="306" y="577"/>
                    </a:lnTo>
                    <a:lnTo>
                      <a:pt x="305" y="575"/>
                    </a:lnTo>
                    <a:lnTo>
                      <a:pt x="305" y="574"/>
                    </a:lnTo>
                    <a:lnTo>
                      <a:pt x="303" y="574"/>
                    </a:lnTo>
                    <a:lnTo>
                      <a:pt x="301" y="574"/>
                    </a:lnTo>
                    <a:lnTo>
                      <a:pt x="301" y="572"/>
                    </a:lnTo>
                    <a:lnTo>
                      <a:pt x="299" y="572"/>
                    </a:lnTo>
                    <a:lnTo>
                      <a:pt x="298" y="572"/>
                    </a:lnTo>
                    <a:lnTo>
                      <a:pt x="296" y="572"/>
                    </a:lnTo>
                    <a:lnTo>
                      <a:pt x="296" y="570"/>
                    </a:lnTo>
                    <a:lnTo>
                      <a:pt x="294" y="570"/>
                    </a:lnTo>
                    <a:lnTo>
                      <a:pt x="293" y="570"/>
                    </a:lnTo>
                    <a:lnTo>
                      <a:pt x="291" y="570"/>
                    </a:lnTo>
                    <a:lnTo>
                      <a:pt x="289" y="570"/>
                    </a:lnTo>
                    <a:lnTo>
                      <a:pt x="289" y="568"/>
                    </a:lnTo>
                    <a:lnTo>
                      <a:pt x="288" y="568"/>
                    </a:lnTo>
                    <a:lnTo>
                      <a:pt x="288" y="567"/>
                    </a:lnTo>
                    <a:lnTo>
                      <a:pt x="286" y="567"/>
                    </a:lnTo>
                    <a:lnTo>
                      <a:pt x="286" y="565"/>
                    </a:lnTo>
                    <a:lnTo>
                      <a:pt x="284" y="565"/>
                    </a:lnTo>
                    <a:lnTo>
                      <a:pt x="282" y="565"/>
                    </a:lnTo>
                    <a:lnTo>
                      <a:pt x="281" y="565"/>
                    </a:lnTo>
                    <a:lnTo>
                      <a:pt x="279" y="565"/>
                    </a:lnTo>
                    <a:lnTo>
                      <a:pt x="279" y="563"/>
                    </a:lnTo>
                    <a:lnTo>
                      <a:pt x="277" y="563"/>
                    </a:lnTo>
                    <a:lnTo>
                      <a:pt x="277" y="562"/>
                    </a:lnTo>
                    <a:lnTo>
                      <a:pt x="276" y="562"/>
                    </a:lnTo>
                    <a:lnTo>
                      <a:pt x="274" y="562"/>
                    </a:lnTo>
                    <a:lnTo>
                      <a:pt x="272" y="562"/>
                    </a:lnTo>
                    <a:lnTo>
                      <a:pt x="272" y="560"/>
                    </a:lnTo>
                    <a:lnTo>
                      <a:pt x="271" y="560"/>
                    </a:lnTo>
                    <a:lnTo>
                      <a:pt x="271" y="558"/>
                    </a:lnTo>
                    <a:lnTo>
                      <a:pt x="269" y="558"/>
                    </a:lnTo>
                    <a:lnTo>
                      <a:pt x="267" y="558"/>
                    </a:lnTo>
                    <a:lnTo>
                      <a:pt x="267" y="557"/>
                    </a:lnTo>
                    <a:lnTo>
                      <a:pt x="265" y="557"/>
                    </a:lnTo>
                    <a:lnTo>
                      <a:pt x="264" y="557"/>
                    </a:lnTo>
                    <a:lnTo>
                      <a:pt x="262" y="557"/>
                    </a:lnTo>
                    <a:lnTo>
                      <a:pt x="260" y="555"/>
                    </a:lnTo>
                    <a:lnTo>
                      <a:pt x="259" y="555"/>
                    </a:lnTo>
                    <a:lnTo>
                      <a:pt x="259" y="557"/>
                    </a:lnTo>
                    <a:lnTo>
                      <a:pt x="259" y="555"/>
                    </a:lnTo>
                    <a:lnTo>
                      <a:pt x="257" y="555"/>
                    </a:lnTo>
                    <a:lnTo>
                      <a:pt x="257" y="553"/>
                    </a:lnTo>
                    <a:lnTo>
                      <a:pt x="255" y="553"/>
                    </a:lnTo>
                    <a:lnTo>
                      <a:pt x="254" y="553"/>
                    </a:lnTo>
                    <a:lnTo>
                      <a:pt x="254" y="551"/>
                    </a:lnTo>
                    <a:lnTo>
                      <a:pt x="252" y="551"/>
                    </a:lnTo>
                    <a:lnTo>
                      <a:pt x="250" y="550"/>
                    </a:lnTo>
                    <a:lnTo>
                      <a:pt x="248" y="550"/>
                    </a:lnTo>
                    <a:lnTo>
                      <a:pt x="248" y="548"/>
                    </a:lnTo>
                    <a:lnTo>
                      <a:pt x="247" y="548"/>
                    </a:lnTo>
                    <a:lnTo>
                      <a:pt x="247" y="546"/>
                    </a:lnTo>
                    <a:lnTo>
                      <a:pt x="245" y="545"/>
                    </a:lnTo>
                    <a:lnTo>
                      <a:pt x="243" y="545"/>
                    </a:lnTo>
                    <a:lnTo>
                      <a:pt x="242" y="543"/>
                    </a:lnTo>
                    <a:lnTo>
                      <a:pt x="240" y="543"/>
                    </a:lnTo>
                    <a:lnTo>
                      <a:pt x="240" y="541"/>
                    </a:lnTo>
                    <a:lnTo>
                      <a:pt x="238" y="541"/>
                    </a:lnTo>
                    <a:lnTo>
                      <a:pt x="237" y="541"/>
                    </a:lnTo>
                    <a:lnTo>
                      <a:pt x="235" y="541"/>
                    </a:lnTo>
                    <a:lnTo>
                      <a:pt x="233" y="541"/>
                    </a:lnTo>
                    <a:lnTo>
                      <a:pt x="233" y="540"/>
                    </a:lnTo>
                    <a:lnTo>
                      <a:pt x="233" y="538"/>
                    </a:lnTo>
                    <a:lnTo>
                      <a:pt x="231" y="538"/>
                    </a:lnTo>
                    <a:lnTo>
                      <a:pt x="230" y="536"/>
                    </a:lnTo>
                    <a:lnTo>
                      <a:pt x="228" y="536"/>
                    </a:lnTo>
                    <a:lnTo>
                      <a:pt x="226" y="536"/>
                    </a:lnTo>
                    <a:lnTo>
                      <a:pt x="226" y="534"/>
                    </a:lnTo>
                    <a:lnTo>
                      <a:pt x="225" y="534"/>
                    </a:lnTo>
                    <a:lnTo>
                      <a:pt x="223" y="534"/>
                    </a:lnTo>
                    <a:lnTo>
                      <a:pt x="223" y="533"/>
                    </a:lnTo>
                    <a:lnTo>
                      <a:pt x="221" y="533"/>
                    </a:lnTo>
                    <a:lnTo>
                      <a:pt x="220" y="533"/>
                    </a:lnTo>
                    <a:lnTo>
                      <a:pt x="220" y="531"/>
                    </a:lnTo>
                    <a:lnTo>
                      <a:pt x="218" y="531"/>
                    </a:lnTo>
                    <a:lnTo>
                      <a:pt x="218" y="529"/>
                    </a:lnTo>
                    <a:lnTo>
                      <a:pt x="216" y="529"/>
                    </a:lnTo>
                    <a:lnTo>
                      <a:pt x="214" y="529"/>
                    </a:lnTo>
                    <a:lnTo>
                      <a:pt x="213" y="528"/>
                    </a:lnTo>
                    <a:lnTo>
                      <a:pt x="211" y="528"/>
                    </a:lnTo>
                    <a:lnTo>
                      <a:pt x="211" y="526"/>
                    </a:lnTo>
                    <a:lnTo>
                      <a:pt x="209" y="526"/>
                    </a:lnTo>
                    <a:lnTo>
                      <a:pt x="208" y="526"/>
                    </a:lnTo>
                    <a:lnTo>
                      <a:pt x="208" y="524"/>
                    </a:lnTo>
                    <a:lnTo>
                      <a:pt x="209" y="524"/>
                    </a:lnTo>
                    <a:lnTo>
                      <a:pt x="209" y="523"/>
                    </a:lnTo>
                    <a:lnTo>
                      <a:pt x="208" y="523"/>
                    </a:lnTo>
                    <a:lnTo>
                      <a:pt x="206" y="523"/>
                    </a:lnTo>
                    <a:lnTo>
                      <a:pt x="206" y="521"/>
                    </a:lnTo>
                    <a:lnTo>
                      <a:pt x="208" y="521"/>
                    </a:lnTo>
                    <a:lnTo>
                      <a:pt x="208" y="519"/>
                    </a:lnTo>
                    <a:lnTo>
                      <a:pt x="206" y="519"/>
                    </a:lnTo>
                    <a:lnTo>
                      <a:pt x="206" y="517"/>
                    </a:lnTo>
                    <a:lnTo>
                      <a:pt x="204" y="517"/>
                    </a:lnTo>
                    <a:lnTo>
                      <a:pt x="203" y="517"/>
                    </a:lnTo>
                    <a:lnTo>
                      <a:pt x="201" y="516"/>
                    </a:lnTo>
                    <a:lnTo>
                      <a:pt x="201" y="514"/>
                    </a:lnTo>
                    <a:lnTo>
                      <a:pt x="199" y="514"/>
                    </a:lnTo>
                    <a:lnTo>
                      <a:pt x="199" y="512"/>
                    </a:lnTo>
                    <a:lnTo>
                      <a:pt x="197" y="512"/>
                    </a:lnTo>
                    <a:lnTo>
                      <a:pt x="197" y="511"/>
                    </a:lnTo>
                    <a:lnTo>
                      <a:pt x="197" y="509"/>
                    </a:lnTo>
                    <a:lnTo>
                      <a:pt x="196" y="509"/>
                    </a:lnTo>
                    <a:lnTo>
                      <a:pt x="196" y="507"/>
                    </a:lnTo>
                    <a:lnTo>
                      <a:pt x="194" y="507"/>
                    </a:lnTo>
                    <a:lnTo>
                      <a:pt x="192" y="506"/>
                    </a:lnTo>
                    <a:lnTo>
                      <a:pt x="191" y="506"/>
                    </a:lnTo>
                    <a:lnTo>
                      <a:pt x="189" y="506"/>
                    </a:lnTo>
                    <a:lnTo>
                      <a:pt x="189" y="504"/>
                    </a:lnTo>
                    <a:lnTo>
                      <a:pt x="187" y="504"/>
                    </a:lnTo>
                    <a:lnTo>
                      <a:pt x="187" y="502"/>
                    </a:lnTo>
                    <a:lnTo>
                      <a:pt x="186" y="502"/>
                    </a:lnTo>
                    <a:lnTo>
                      <a:pt x="186" y="500"/>
                    </a:lnTo>
                    <a:lnTo>
                      <a:pt x="184" y="500"/>
                    </a:lnTo>
                    <a:lnTo>
                      <a:pt x="184" y="499"/>
                    </a:lnTo>
                    <a:lnTo>
                      <a:pt x="184" y="497"/>
                    </a:lnTo>
                    <a:lnTo>
                      <a:pt x="182" y="497"/>
                    </a:lnTo>
                    <a:lnTo>
                      <a:pt x="182" y="495"/>
                    </a:lnTo>
                    <a:lnTo>
                      <a:pt x="182" y="494"/>
                    </a:lnTo>
                    <a:lnTo>
                      <a:pt x="180" y="494"/>
                    </a:lnTo>
                    <a:lnTo>
                      <a:pt x="180" y="492"/>
                    </a:lnTo>
                    <a:lnTo>
                      <a:pt x="179" y="492"/>
                    </a:lnTo>
                    <a:lnTo>
                      <a:pt x="179" y="490"/>
                    </a:lnTo>
                    <a:lnTo>
                      <a:pt x="177" y="490"/>
                    </a:lnTo>
                    <a:lnTo>
                      <a:pt x="175" y="490"/>
                    </a:lnTo>
                    <a:lnTo>
                      <a:pt x="175" y="489"/>
                    </a:lnTo>
                    <a:lnTo>
                      <a:pt x="177" y="489"/>
                    </a:lnTo>
                    <a:lnTo>
                      <a:pt x="177" y="487"/>
                    </a:lnTo>
                    <a:lnTo>
                      <a:pt x="175" y="485"/>
                    </a:lnTo>
                    <a:lnTo>
                      <a:pt x="174" y="485"/>
                    </a:lnTo>
                    <a:lnTo>
                      <a:pt x="174" y="483"/>
                    </a:lnTo>
                    <a:lnTo>
                      <a:pt x="172" y="483"/>
                    </a:lnTo>
                    <a:lnTo>
                      <a:pt x="172" y="482"/>
                    </a:lnTo>
                    <a:lnTo>
                      <a:pt x="172" y="483"/>
                    </a:lnTo>
                    <a:lnTo>
                      <a:pt x="172" y="485"/>
                    </a:lnTo>
                    <a:lnTo>
                      <a:pt x="172" y="483"/>
                    </a:lnTo>
                    <a:lnTo>
                      <a:pt x="170" y="483"/>
                    </a:lnTo>
                    <a:lnTo>
                      <a:pt x="172" y="483"/>
                    </a:lnTo>
                    <a:lnTo>
                      <a:pt x="170" y="482"/>
                    </a:lnTo>
                    <a:lnTo>
                      <a:pt x="172" y="482"/>
                    </a:lnTo>
                    <a:lnTo>
                      <a:pt x="170" y="480"/>
                    </a:lnTo>
                    <a:lnTo>
                      <a:pt x="172" y="480"/>
                    </a:lnTo>
                    <a:lnTo>
                      <a:pt x="172" y="478"/>
                    </a:lnTo>
                    <a:lnTo>
                      <a:pt x="170" y="477"/>
                    </a:lnTo>
                    <a:lnTo>
                      <a:pt x="172" y="477"/>
                    </a:lnTo>
                    <a:lnTo>
                      <a:pt x="172" y="475"/>
                    </a:lnTo>
                    <a:lnTo>
                      <a:pt x="170" y="475"/>
                    </a:lnTo>
                    <a:lnTo>
                      <a:pt x="172" y="475"/>
                    </a:lnTo>
                    <a:lnTo>
                      <a:pt x="170" y="473"/>
                    </a:lnTo>
                    <a:lnTo>
                      <a:pt x="170" y="475"/>
                    </a:lnTo>
                    <a:lnTo>
                      <a:pt x="169" y="475"/>
                    </a:lnTo>
                    <a:lnTo>
                      <a:pt x="167" y="475"/>
                    </a:lnTo>
                    <a:lnTo>
                      <a:pt x="167" y="473"/>
                    </a:lnTo>
                    <a:lnTo>
                      <a:pt x="169" y="472"/>
                    </a:lnTo>
                    <a:lnTo>
                      <a:pt x="169" y="470"/>
                    </a:lnTo>
                    <a:lnTo>
                      <a:pt x="170" y="470"/>
                    </a:lnTo>
                    <a:lnTo>
                      <a:pt x="170" y="472"/>
                    </a:lnTo>
                    <a:lnTo>
                      <a:pt x="172" y="472"/>
                    </a:lnTo>
                    <a:lnTo>
                      <a:pt x="172" y="473"/>
                    </a:lnTo>
                    <a:lnTo>
                      <a:pt x="172" y="472"/>
                    </a:lnTo>
                    <a:lnTo>
                      <a:pt x="172" y="470"/>
                    </a:lnTo>
                    <a:lnTo>
                      <a:pt x="174" y="468"/>
                    </a:lnTo>
                    <a:lnTo>
                      <a:pt x="174" y="466"/>
                    </a:lnTo>
                    <a:lnTo>
                      <a:pt x="174" y="465"/>
                    </a:lnTo>
                    <a:lnTo>
                      <a:pt x="174" y="463"/>
                    </a:lnTo>
                    <a:lnTo>
                      <a:pt x="174" y="461"/>
                    </a:lnTo>
                    <a:lnTo>
                      <a:pt x="174" y="460"/>
                    </a:lnTo>
                    <a:lnTo>
                      <a:pt x="174" y="458"/>
                    </a:lnTo>
                    <a:lnTo>
                      <a:pt x="174" y="456"/>
                    </a:lnTo>
                    <a:lnTo>
                      <a:pt x="174" y="454"/>
                    </a:lnTo>
                    <a:lnTo>
                      <a:pt x="172" y="454"/>
                    </a:lnTo>
                    <a:lnTo>
                      <a:pt x="172" y="453"/>
                    </a:lnTo>
                    <a:lnTo>
                      <a:pt x="170" y="453"/>
                    </a:lnTo>
                    <a:lnTo>
                      <a:pt x="170" y="451"/>
                    </a:lnTo>
                    <a:lnTo>
                      <a:pt x="169" y="449"/>
                    </a:lnTo>
                    <a:lnTo>
                      <a:pt x="169" y="448"/>
                    </a:lnTo>
                    <a:lnTo>
                      <a:pt x="167" y="448"/>
                    </a:lnTo>
                    <a:lnTo>
                      <a:pt x="167" y="446"/>
                    </a:lnTo>
                    <a:lnTo>
                      <a:pt x="165" y="446"/>
                    </a:lnTo>
                    <a:lnTo>
                      <a:pt x="165" y="444"/>
                    </a:lnTo>
                    <a:lnTo>
                      <a:pt x="163" y="444"/>
                    </a:lnTo>
                    <a:lnTo>
                      <a:pt x="165" y="443"/>
                    </a:lnTo>
                    <a:lnTo>
                      <a:pt x="163" y="443"/>
                    </a:lnTo>
                    <a:lnTo>
                      <a:pt x="163" y="441"/>
                    </a:lnTo>
                    <a:lnTo>
                      <a:pt x="163" y="439"/>
                    </a:lnTo>
                    <a:lnTo>
                      <a:pt x="163" y="437"/>
                    </a:lnTo>
                    <a:lnTo>
                      <a:pt x="162" y="437"/>
                    </a:lnTo>
                    <a:lnTo>
                      <a:pt x="162" y="436"/>
                    </a:lnTo>
                    <a:lnTo>
                      <a:pt x="160" y="436"/>
                    </a:lnTo>
                    <a:lnTo>
                      <a:pt x="160" y="434"/>
                    </a:lnTo>
                    <a:lnTo>
                      <a:pt x="160" y="432"/>
                    </a:lnTo>
                    <a:lnTo>
                      <a:pt x="158" y="432"/>
                    </a:lnTo>
                    <a:lnTo>
                      <a:pt x="158" y="431"/>
                    </a:lnTo>
                    <a:lnTo>
                      <a:pt x="158" y="429"/>
                    </a:lnTo>
                    <a:lnTo>
                      <a:pt x="157" y="429"/>
                    </a:lnTo>
                    <a:lnTo>
                      <a:pt x="157" y="427"/>
                    </a:lnTo>
                    <a:lnTo>
                      <a:pt x="155" y="427"/>
                    </a:lnTo>
                    <a:lnTo>
                      <a:pt x="155" y="426"/>
                    </a:lnTo>
                    <a:lnTo>
                      <a:pt x="153" y="426"/>
                    </a:lnTo>
                    <a:lnTo>
                      <a:pt x="153" y="424"/>
                    </a:lnTo>
                    <a:lnTo>
                      <a:pt x="155" y="424"/>
                    </a:lnTo>
                    <a:lnTo>
                      <a:pt x="155" y="422"/>
                    </a:lnTo>
                    <a:lnTo>
                      <a:pt x="153" y="422"/>
                    </a:lnTo>
                    <a:lnTo>
                      <a:pt x="153" y="420"/>
                    </a:lnTo>
                    <a:lnTo>
                      <a:pt x="153" y="419"/>
                    </a:lnTo>
                    <a:lnTo>
                      <a:pt x="152" y="419"/>
                    </a:lnTo>
                    <a:lnTo>
                      <a:pt x="150" y="417"/>
                    </a:lnTo>
                    <a:lnTo>
                      <a:pt x="148" y="417"/>
                    </a:lnTo>
                    <a:lnTo>
                      <a:pt x="148" y="415"/>
                    </a:lnTo>
                    <a:lnTo>
                      <a:pt x="146" y="415"/>
                    </a:lnTo>
                    <a:lnTo>
                      <a:pt x="146" y="414"/>
                    </a:lnTo>
                    <a:lnTo>
                      <a:pt x="146" y="412"/>
                    </a:lnTo>
                    <a:lnTo>
                      <a:pt x="145" y="412"/>
                    </a:lnTo>
                    <a:lnTo>
                      <a:pt x="143" y="410"/>
                    </a:lnTo>
                    <a:lnTo>
                      <a:pt x="141" y="410"/>
                    </a:lnTo>
                    <a:lnTo>
                      <a:pt x="141" y="409"/>
                    </a:lnTo>
                    <a:lnTo>
                      <a:pt x="141" y="410"/>
                    </a:lnTo>
                    <a:lnTo>
                      <a:pt x="141" y="409"/>
                    </a:lnTo>
                    <a:lnTo>
                      <a:pt x="143" y="409"/>
                    </a:lnTo>
                    <a:lnTo>
                      <a:pt x="143" y="407"/>
                    </a:lnTo>
                    <a:lnTo>
                      <a:pt x="143" y="405"/>
                    </a:lnTo>
                    <a:lnTo>
                      <a:pt x="141" y="405"/>
                    </a:lnTo>
                    <a:lnTo>
                      <a:pt x="141" y="403"/>
                    </a:lnTo>
                    <a:lnTo>
                      <a:pt x="141" y="402"/>
                    </a:lnTo>
                    <a:lnTo>
                      <a:pt x="141" y="400"/>
                    </a:lnTo>
                    <a:lnTo>
                      <a:pt x="140" y="400"/>
                    </a:lnTo>
                    <a:lnTo>
                      <a:pt x="141" y="400"/>
                    </a:lnTo>
                    <a:lnTo>
                      <a:pt x="141" y="398"/>
                    </a:lnTo>
                    <a:lnTo>
                      <a:pt x="140" y="398"/>
                    </a:lnTo>
                    <a:lnTo>
                      <a:pt x="140" y="397"/>
                    </a:lnTo>
                    <a:lnTo>
                      <a:pt x="140" y="395"/>
                    </a:lnTo>
                    <a:lnTo>
                      <a:pt x="138" y="395"/>
                    </a:lnTo>
                    <a:lnTo>
                      <a:pt x="138" y="393"/>
                    </a:lnTo>
                    <a:lnTo>
                      <a:pt x="136" y="392"/>
                    </a:lnTo>
                    <a:lnTo>
                      <a:pt x="136" y="390"/>
                    </a:lnTo>
                    <a:lnTo>
                      <a:pt x="135" y="390"/>
                    </a:lnTo>
                    <a:lnTo>
                      <a:pt x="133" y="388"/>
                    </a:lnTo>
                    <a:lnTo>
                      <a:pt x="129" y="386"/>
                    </a:lnTo>
                    <a:lnTo>
                      <a:pt x="128" y="385"/>
                    </a:lnTo>
                    <a:lnTo>
                      <a:pt x="126" y="385"/>
                    </a:lnTo>
                    <a:lnTo>
                      <a:pt x="124" y="385"/>
                    </a:lnTo>
                    <a:lnTo>
                      <a:pt x="124" y="383"/>
                    </a:lnTo>
                    <a:lnTo>
                      <a:pt x="126" y="383"/>
                    </a:lnTo>
                    <a:lnTo>
                      <a:pt x="124" y="383"/>
                    </a:lnTo>
                    <a:lnTo>
                      <a:pt x="126" y="381"/>
                    </a:lnTo>
                    <a:lnTo>
                      <a:pt x="124" y="381"/>
                    </a:lnTo>
                    <a:lnTo>
                      <a:pt x="126" y="381"/>
                    </a:lnTo>
                    <a:lnTo>
                      <a:pt x="128" y="380"/>
                    </a:lnTo>
                    <a:lnTo>
                      <a:pt x="126" y="380"/>
                    </a:lnTo>
                    <a:lnTo>
                      <a:pt x="126" y="378"/>
                    </a:lnTo>
                    <a:lnTo>
                      <a:pt x="126" y="376"/>
                    </a:lnTo>
                    <a:lnTo>
                      <a:pt x="126" y="375"/>
                    </a:lnTo>
                    <a:lnTo>
                      <a:pt x="124" y="375"/>
                    </a:lnTo>
                    <a:lnTo>
                      <a:pt x="124" y="373"/>
                    </a:lnTo>
                    <a:lnTo>
                      <a:pt x="124" y="371"/>
                    </a:lnTo>
                    <a:lnTo>
                      <a:pt x="124" y="369"/>
                    </a:lnTo>
                    <a:lnTo>
                      <a:pt x="123" y="369"/>
                    </a:lnTo>
                    <a:lnTo>
                      <a:pt x="123" y="368"/>
                    </a:lnTo>
                    <a:lnTo>
                      <a:pt x="121" y="368"/>
                    </a:lnTo>
                    <a:lnTo>
                      <a:pt x="123" y="366"/>
                    </a:lnTo>
                    <a:lnTo>
                      <a:pt x="121" y="366"/>
                    </a:lnTo>
                    <a:lnTo>
                      <a:pt x="121" y="364"/>
                    </a:lnTo>
                    <a:lnTo>
                      <a:pt x="119" y="364"/>
                    </a:lnTo>
                    <a:lnTo>
                      <a:pt x="119" y="363"/>
                    </a:lnTo>
                    <a:lnTo>
                      <a:pt x="118" y="363"/>
                    </a:lnTo>
                    <a:lnTo>
                      <a:pt x="118" y="361"/>
                    </a:lnTo>
                    <a:lnTo>
                      <a:pt x="118" y="359"/>
                    </a:lnTo>
                    <a:lnTo>
                      <a:pt x="116" y="359"/>
                    </a:lnTo>
                    <a:lnTo>
                      <a:pt x="116" y="358"/>
                    </a:lnTo>
                    <a:lnTo>
                      <a:pt x="114" y="356"/>
                    </a:lnTo>
                    <a:lnTo>
                      <a:pt x="114" y="354"/>
                    </a:lnTo>
                    <a:lnTo>
                      <a:pt x="112" y="354"/>
                    </a:lnTo>
                    <a:lnTo>
                      <a:pt x="112" y="352"/>
                    </a:lnTo>
                    <a:lnTo>
                      <a:pt x="112" y="351"/>
                    </a:lnTo>
                    <a:lnTo>
                      <a:pt x="111" y="351"/>
                    </a:lnTo>
                    <a:lnTo>
                      <a:pt x="111" y="349"/>
                    </a:lnTo>
                    <a:lnTo>
                      <a:pt x="111" y="347"/>
                    </a:lnTo>
                    <a:lnTo>
                      <a:pt x="109" y="346"/>
                    </a:lnTo>
                    <a:lnTo>
                      <a:pt x="107" y="344"/>
                    </a:lnTo>
                    <a:lnTo>
                      <a:pt x="107" y="342"/>
                    </a:lnTo>
                    <a:lnTo>
                      <a:pt x="107" y="341"/>
                    </a:lnTo>
                    <a:lnTo>
                      <a:pt x="107" y="339"/>
                    </a:lnTo>
                    <a:lnTo>
                      <a:pt x="106" y="339"/>
                    </a:lnTo>
                    <a:lnTo>
                      <a:pt x="106" y="337"/>
                    </a:lnTo>
                    <a:lnTo>
                      <a:pt x="106" y="335"/>
                    </a:lnTo>
                    <a:lnTo>
                      <a:pt x="106" y="334"/>
                    </a:lnTo>
                    <a:lnTo>
                      <a:pt x="106" y="332"/>
                    </a:lnTo>
                    <a:lnTo>
                      <a:pt x="104" y="330"/>
                    </a:lnTo>
                    <a:lnTo>
                      <a:pt x="104" y="329"/>
                    </a:lnTo>
                    <a:lnTo>
                      <a:pt x="102" y="329"/>
                    </a:lnTo>
                    <a:lnTo>
                      <a:pt x="102" y="327"/>
                    </a:lnTo>
                    <a:lnTo>
                      <a:pt x="101" y="327"/>
                    </a:lnTo>
                    <a:lnTo>
                      <a:pt x="101" y="325"/>
                    </a:lnTo>
                    <a:lnTo>
                      <a:pt x="101" y="324"/>
                    </a:lnTo>
                    <a:lnTo>
                      <a:pt x="101" y="322"/>
                    </a:lnTo>
                    <a:lnTo>
                      <a:pt x="99" y="322"/>
                    </a:lnTo>
                    <a:lnTo>
                      <a:pt x="101" y="322"/>
                    </a:lnTo>
                    <a:lnTo>
                      <a:pt x="101" y="320"/>
                    </a:lnTo>
                    <a:lnTo>
                      <a:pt x="99" y="320"/>
                    </a:lnTo>
                    <a:lnTo>
                      <a:pt x="99" y="318"/>
                    </a:lnTo>
                    <a:lnTo>
                      <a:pt x="99" y="317"/>
                    </a:lnTo>
                    <a:lnTo>
                      <a:pt x="97" y="317"/>
                    </a:lnTo>
                    <a:lnTo>
                      <a:pt x="97" y="315"/>
                    </a:lnTo>
                    <a:lnTo>
                      <a:pt x="95" y="315"/>
                    </a:lnTo>
                    <a:lnTo>
                      <a:pt x="95" y="313"/>
                    </a:lnTo>
                    <a:lnTo>
                      <a:pt x="97" y="313"/>
                    </a:lnTo>
                    <a:lnTo>
                      <a:pt x="97" y="312"/>
                    </a:lnTo>
                    <a:lnTo>
                      <a:pt x="95" y="312"/>
                    </a:lnTo>
                    <a:lnTo>
                      <a:pt x="94" y="312"/>
                    </a:lnTo>
                    <a:lnTo>
                      <a:pt x="94" y="313"/>
                    </a:lnTo>
                    <a:lnTo>
                      <a:pt x="94" y="312"/>
                    </a:lnTo>
                    <a:lnTo>
                      <a:pt x="92" y="312"/>
                    </a:lnTo>
                    <a:lnTo>
                      <a:pt x="92" y="310"/>
                    </a:lnTo>
                    <a:lnTo>
                      <a:pt x="94" y="312"/>
                    </a:lnTo>
                    <a:lnTo>
                      <a:pt x="94" y="310"/>
                    </a:lnTo>
                    <a:lnTo>
                      <a:pt x="94" y="312"/>
                    </a:lnTo>
                    <a:lnTo>
                      <a:pt x="94" y="310"/>
                    </a:lnTo>
                    <a:lnTo>
                      <a:pt x="94" y="308"/>
                    </a:lnTo>
                    <a:lnTo>
                      <a:pt x="92" y="308"/>
                    </a:lnTo>
                    <a:lnTo>
                      <a:pt x="92" y="307"/>
                    </a:lnTo>
                    <a:lnTo>
                      <a:pt x="92" y="305"/>
                    </a:lnTo>
                    <a:lnTo>
                      <a:pt x="90" y="305"/>
                    </a:lnTo>
                    <a:lnTo>
                      <a:pt x="92" y="305"/>
                    </a:lnTo>
                    <a:lnTo>
                      <a:pt x="92" y="303"/>
                    </a:lnTo>
                    <a:lnTo>
                      <a:pt x="90" y="301"/>
                    </a:lnTo>
                    <a:lnTo>
                      <a:pt x="90" y="300"/>
                    </a:lnTo>
                    <a:lnTo>
                      <a:pt x="89" y="300"/>
                    </a:lnTo>
                    <a:lnTo>
                      <a:pt x="89" y="298"/>
                    </a:lnTo>
                    <a:lnTo>
                      <a:pt x="87" y="298"/>
                    </a:lnTo>
                    <a:lnTo>
                      <a:pt x="87" y="296"/>
                    </a:lnTo>
                    <a:lnTo>
                      <a:pt x="89" y="296"/>
                    </a:lnTo>
                    <a:lnTo>
                      <a:pt x="89" y="295"/>
                    </a:lnTo>
                    <a:lnTo>
                      <a:pt x="89" y="293"/>
                    </a:lnTo>
                    <a:lnTo>
                      <a:pt x="87" y="291"/>
                    </a:lnTo>
                    <a:lnTo>
                      <a:pt x="87" y="289"/>
                    </a:lnTo>
                    <a:lnTo>
                      <a:pt x="85" y="289"/>
                    </a:lnTo>
                    <a:lnTo>
                      <a:pt x="85" y="288"/>
                    </a:lnTo>
                    <a:lnTo>
                      <a:pt x="84" y="288"/>
                    </a:lnTo>
                    <a:lnTo>
                      <a:pt x="82" y="286"/>
                    </a:lnTo>
                    <a:lnTo>
                      <a:pt x="84" y="284"/>
                    </a:lnTo>
                    <a:lnTo>
                      <a:pt x="84" y="283"/>
                    </a:lnTo>
                    <a:lnTo>
                      <a:pt x="82" y="283"/>
                    </a:lnTo>
                    <a:lnTo>
                      <a:pt x="82" y="281"/>
                    </a:lnTo>
                    <a:lnTo>
                      <a:pt x="80" y="281"/>
                    </a:lnTo>
                    <a:lnTo>
                      <a:pt x="80" y="279"/>
                    </a:lnTo>
                    <a:lnTo>
                      <a:pt x="80" y="278"/>
                    </a:lnTo>
                    <a:lnTo>
                      <a:pt x="78" y="278"/>
                    </a:lnTo>
                    <a:lnTo>
                      <a:pt x="78" y="276"/>
                    </a:lnTo>
                    <a:lnTo>
                      <a:pt x="77" y="276"/>
                    </a:lnTo>
                    <a:lnTo>
                      <a:pt x="77" y="274"/>
                    </a:lnTo>
                    <a:lnTo>
                      <a:pt x="75" y="274"/>
                    </a:lnTo>
                    <a:lnTo>
                      <a:pt x="75" y="272"/>
                    </a:lnTo>
                    <a:lnTo>
                      <a:pt x="73" y="271"/>
                    </a:lnTo>
                    <a:lnTo>
                      <a:pt x="72" y="271"/>
                    </a:lnTo>
                    <a:lnTo>
                      <a:pt x="70" y="269"/>
                    </a:lnTo>
                    <a:lnTo>
                      <a:pt x="68" y="267"/>
                    </a:lnTo>
                    <a:lnTo>
                      <a:pt x="67" y="266"/>
                    </a:lnTo>
                    <a:lnTo>
                      <a:pt x="67" y="264"/>
                    </a:lnTo>
                    <a:lnTo>
                      <a:pt x="65" y="262"/>
                    </a:lnTo>
                    <a:lnTo>
                      <a:pt x="63" y="261"/>
                    </a:lnTo>
                    <a:lnTo>
                      <a:pt x="65" y="261"/>
                    </a:lnTo>
                    <a:lnTo>
                      <a:pt x="65" y="259"/>
                    </a:lnTo>
                    <a:lnTo>
                      <a:pt x="63" y="257"/>
                    </a:lnTo>
                    <a:lnTo>
                      <a:pt x="63" y="255"/>
                    </a:lnTo>
                    <a:lnTo>
                      <a:pt x="61" y="255"/>
                    </a:lnTo>
                    <a:lnTo>
                      <a:pt x="61" y="254"/>
                    </a:lnTo>
                    <a:lnTo>
                      <a:pt x="60" y="254"/>
                    </a:lnTo>
                    <a:lnTo>
                      <a:pt x="60" y="252"/>
                    </a:lnTo>
                    <a:lnTo>
                      <a:pt x="60" y="250"/>
                    </a:lnTo>
                    <a:lnTo>
                      <a:pt x="60" y="249"/>
                    </a:lnTo>
                    <a:lnTo>
                      <a:pt x="60" y="247"/>
                    </a:lnTo>
                    <a:lnTo>
                      <a:pt x="58" y="245"/>
                    </a:lnTo>
                    <a:lnTo>
                      <a:pt x="56" y="244"/>
                    </a:lnTo>
                    <a:lnTo>
                      <a:pt x="56" y="242"/>
                    </a:lnTo>
                    <a:lnTo>
                      <a:pt x="56" y="240"/>
                    </a:lnTo>
                    <a:lnTo>
                      <a:pt x="55" y="240"/>
                    </a:lnTo>
                    <a:lnTo>
                      <a:pt x="55" y="238"/>
                    </a:lnTo>
                    <a:lnTo>
                      <a:pt x="53" y="237"/>
                    </a:lnTo>
                    <a:lnTo>
                      <a:pt x="51" y="235"/>
                    </a:lnTo>
                    <a:lnTo>
                      <a:pt x="50" y="235"/>
                    </a:lnTo>
                    <a:lnTo>
                      <a:pt x="50" y="233"/>
                    </a:lnTo>
                    <a:lnTo>
                      <a:pt x="48" y="233"/>
                    </a:lnTo>
                    <a:lnTo>
                      <a:pt x="48" y="232"/>
                    </a:lnTo>
                    <a:lnTo>
                      <a:pt x="48" y="230"/>
                    </a:lnTo>
                    <a:lnTo>
                      <a:pt x="46" y="230"/>
                    </a:lnTo>
                    <a:lnTo>
                      <a:pt x="46" y="228"/>
                    </a:lnTo>
                    <a:lnTo>
                      <a:pt x="44" y="227"/>
                    </a:lnTo>
                    <a:lnTo>
                      <a:pt x="43" y="227"/>
                    </a:lnTo>
                    <a:lnTo>
                      <a:pt x="41" y="225"/>
                    </a:lnTo>
                    <a:lnTo>
                      <a:pt x="41" y="223"/>
                    </a:lnTo>
                    <a:lnTo>
                      <a:pt x="39" y="223"/>
                    </a:lnTo>
                    <a:lnTo>
                      <a:pt x="38" y="223"/>
                    </a:lnTo>
                    <a:lnTo>
                      <a:pt x="38" y="221"/>
                    </a:lnTo>
                    <a:lnTo>
                      <a:pt x="36" y="221"/>
                    </a:lnTo>
                    <a:lnTo>
                      <a:pt x="34" y="220"/>
                    </a:lnTo>
                    <a:lnTo>
                      <a:pt x="33" y="220"/>
                    </a:lnTo>
                    <a:lnTo>
                      <a:pt x="31" y="218"/>
                    </a:lnTo>
                    <a:lnTo>
                      <a:pt x="29" y="218"/>
                    </a:lnTo>
                    <a:lnTo>
                      <a:pt x="28" y="216"/>
                    </a:lnTo>
                    <a:lnTo>
                      <a:pt x="26" y="216"/>
                    </a:lnTo>
                    <a:lnTo>
                      <a:pt x="24" y="216"/>
                    </a:lnTo>
                    <a:lnTo>
                      <a:pt x="24" y="215"/>
                    </a:lnTo>
                    <a:lnTo>
                      <a:pt x="22" y="215"/>
                    </a:lnTo>
                    <a:lnTo>
                      <a:pt x="21" y="213"/>
                    </a:lnTo>
                    <a:lnTo>
                      <a:pt x="19" y="213"/>
                    </a:lnTo>
                    <a:lnTo>
                      <a:pt x="17" y="211"/>
                    </a:lnTo>
                    <a:lnTo>
                      <a:pt x="16" y="210"/>
                    </a:lnTo>
                    <a:lnTo>
                      <a:pt x="14" y="210"/>
                    </a:lnTo>
                    <a:lnTo>
                      <a:pt x="14" y="208"/>
                    </a:lnTo>
                    <a:lnTo>
                      <a:pt x="12" y="208"/>
                    </a:lnTo>
                    <a:lnTo>
                      <a:pt x="11" y="206"/>
                    </a:lnTo>
                    <a:lnTo>
                      <a:pt x="9" y="206"/>
                    </a:lnTo>
                    <a:lnTo>
                      <a:pt x="9" y="204"/>
                    </a:lnTo>
                    <a:lnTo>
                      <a:pt x="7" y="204"/>
                    </a:lnTo>
                    <a:lnTo>
                      <a:pt x="7" y="203"/>
                    </a:lnTo>
                    <a:lnTo>
                      <a:pt x="7" y="201"/>
                    </a:lnTo>
                    <a:lnTo>
                      <a:pt x="7" y="199"/>
                    </a:lnTo>
                    <a:lnTo>
                      <a:pt x="7" y="198"/>
                    </a:lnTo>
                    <a:lnTo>
                      <a:pt x="9" y="198"/>
                    </a:lnTo>
                    <a:lnTo>
                      <a:pt x="9" y="196"/>
                    </a:lnTo>
                    <a:lnTo>
                      <a:pt x="11" y="196"/>
                    </a:lnTo>
                    <a:lnTo>
                      <a:pt x="11" y="198"/>
                    </a:lnTo>
                    <a:lnTo>
                      <a:pt x="12" y="198"/>
                    </a:lnTo>
                    <a:lnTo>
                      <a:pt x="14" y="198"/>
                    </a:lnTo>
                    <a:lnTo>
                      <a:pt x="16" y="198"/>
                    </a:lnTo>
                    <a:lnTo>
                      <a:pt x="16" y="196"/>
                    </a:lnTo>
                    <a:lnTo>
                      <a:pt x="17" y="194"/>
                    </a:lnTo>
                    <a:lnTo>
                      <a:pt x="17" y="193"/>
                    </a:lnTo>
                    <a:lnTo>
                      <a:pt x="17" y="191"/>
                    </a:lnTo>
                    <a:lnTo>
                      <a:pt x="17" y="189"/>
                    </a:lnTo>
                    <a:lnTo>
                      <a:pt x="16" y="189"/>
                    </a:lnTo>
                    <a:lnTo>
                      <a:pt x="16" y="187"/>
                    </a:lnTo>
                    <a:lnTo>
                      <a:pt x="16" y="186"/>
                    </a:lnTo>
                    <a:lnTo>
                      <a:pt x="14" y="184"/>
                    </a:lnTo>
                    <a:lnTo>
                      <a:pt x="12" y="182"/>
                    </a:lnTo>
                    <a:lnTo>
                      <a:pt x="11" y="181"/>
                    </a:lnTo>
                    <a:lnTo>
                      <a:pt x="11" y="179"/>
                    </a:lnTo>
                    <a:lnTo>
                      <a:pt x="9" y="179"/>
                    </a:lnTo>
                    <a:lnTo>
                      <a:pt x="7" y="179"/>
                    </a:lnTo>
                    <a:lnTo>
                      <a:pt x="7" y="177"/>
                    </a:lnTo>
                    <a:lnTo>
                      <a:pt x="5" y="177"/>
                    </a:lnTo>
                    <a:lnTo>
                      <a:pt x="5" y="176"/>
                    </a:lnTo>
                    <a:lnTo>
                      <a:pt x="7" y="176"/>
                    </a:lnTo>
                    <a:lnTo>
                      <a:pt x="7" y="174"/>
                    </a:lnTo>
                    <a:lnTo>
                      <a:pt x="5" y="174"/>
                    </a:lnTo>
                    <a:lnTo>
                      <a:pt x="7" y="174"/>
                    </a:lnTo>
                    <a:lnTo>
                      <a:pt x="7" y="172"/>
                    </a:lnTo>
                    <a:lnTo>
                      <a:pt x="5" y="172"/>
                    </a:lnTo>
                    <a:lnTo>
                      <a:pt x="7" y="172"/>
                    </a:lnTo>
                    <a:lnTo>
                      <a:pt x="9" y="172"/>
                    </a:lnTo>
                    <a:lnTo>
                      <a:pt x="11" y="170"/>
                    </a:lnTo>
                    <a:lnTo>
                      <a:pt x="11" y="169"/>
                    </a:lnTo>
                    <a:lnTo>
                      <a:pt x="9" y="169"/>
                    </a:lnTo>
                    <a:lnTo>
                      <a:pt x="9" y="167"/>
                    </a:lnTo>
                    <a:lnTo>
                      <a:pt x="7" y="165"/>
                    </a:lnTo>
                    <a:lnTo>
                      <a:pt x="5" y="164"/>
                    </a:lnTo>
                    <a:lnTo>
                      <a:pt x="5" y="162"/>
                    </a:lnTo>
                    <a:lnTo>
                      <a:pt x="4" y="162"/>
                    </a:lnTo>
                    <a:lnTo>
                      <a:pt x="2" y="159"/>
                    </a:lnTo>
                    <a:lnTo>
                      <a:pt x="0" y="159"/>
                    </a:lnTo>
                    <a:lnTo>
                      <a:pt x="2" y="157"/>
                    </a:lnTo>
                    <a:lnTo>
                      <a:pt x="2" y="155"/>
                    </a:lnTo>
                    <a:lnTo>
                      <a:pt x="2" y="153"/>
                    </a:lnTo>
                    <a:lnTo>
                      <a:pt x="2" y="152"/>
                    </a:lnTo>
                    <a:lnTo>
                      <a:pt x="2" y="150"/>
                    </a:lnTo>
                    <a:lnTo>
                      <a:pt x="4" y="150"/>
                    </a:lnTo>
                    <a:lnTo>
                      <a:pt x="4" y="148"/>
                    </a:lnTo>
                    <a:lnTo>
                      <a:pt x="4" y="147"/>
                    </a:lnTo>
                    <a:lnTo>
                      <a:pt x="4" y="145"/>
                    </a:lnTo>
                    <a:lnTo>
                      <a:pt x="4" y="143"/>
                    </a:lnTo>
                    <a:lnTo>
                      <a:pt x="5" y="143"/>
                    </a:lnTo>
                    <a:lnTo>
                      <a:pt x="7" y="141"/>
                    </a:lnTo>
                    <a:lnTo>
                      <a:pt x="9" y="140"/>
                    </a:lnTo>
                    <a:lnTo>
                      <a:pt x="9" y="138"/>
                    </a:lnTo>
                    <a:lnTo>
                      <a:pt x="11" y="138"/>
                    </a:lnTo>
                    <a:lnTo>
                      <a:pt x="11" y="136"/>
                    </a:lnTo>
                    <a:lnTo>
                      <a:pt x="12" y="136"/>
                    </a:lnTo>
                    <a:lnTo>
                      <a:pt x="12" y="135"/>
                    </a:lnTo>
                    <a:lnTo>
                      <a:pt x="14" y="133"/>
                    </a:lnTo>
                    <a:lnTo>
                      <a:pt x="16" y="131"/>
                    </a:lnTo>
                    <a:lnTo>
                      <a:pt x="17" y="131"/>
                    </a:lnTo>
                    <a:lnTo>
                      <a:pt x="17" y="130"/>
                    </a:lnTo>
                    <a:lnTo>
                      <a:pt x="19" y="128"/>
                    </a:lnTo>
                    <a:lnTo>
                      <a:pt x="19" y="126"/>
                    </a:lnTo>
                    <a:lnTo>
                      <a:pt x="21" y="126"/>
                    </a:lnTo>
                    <a:lnTo>
                      <a:pt x="21" y="124"/>
                    </a:lnTo>
                    <a:lnTo>
                      <a:pt x="22" y="124"/>
                    </a:lnTo>
                    <a:lnTo>
                      <a:pt x="24" y="124"/>
                    </a:lnTo>
                    <a:lnTo>
                      <a:pt x="24" y="123"/>
                    </a:lnTo>
                    <a:lnTo>
                      <a:pt x="26" y="123"/>
                    </a:lnTo>
                    <a:lnTo>
                      <a:pt x="28" y="121"/>
                    </a:lnTo>
                    <a:lnTo>
                      <a:pt x="28" y="119"/>
                    </a:lnTo>
                    <a:lnTo>
                      <a:pt x="29" y="119"/>
                    </a:lnTo>
                    <a:lnTo>
                      <a:pt x="29" y="118"/>
                    </a:lnTo>
                    <a:lnTo>
                      <a:pt x="31" y="118"/>
                    </a:lnTo>
                    <a:lnTo>
                      <a:pt x="33" y="118"/>
                    </a:lnTo>
                    <a:lnTo>
                      <a:pt x="31" y="119"/>
                    </a:lnTo>
                    <a:lnTo>
                      <a:pt x="33" y="118"/>
                    </a:lnTo>
                    <a:lnTo>
                      <a:pt x="34" y="118"/>
                    </a:lnTo>
                    <a:lnTo>
                      <a:pt x="34" y="116"/>
                    </a:lnTo>
                    <a:lnTo>
                      <a:pt x="36" y="114"/>
                    </a:lnTo>
                    <a:lnTo>
                      <a:pt x="36" y="116"/>
                    </a:lnTo>
                    <a:lnTo>
                      <a:pt x="38" y="116"/>
                    </a:lnTo>
                    <a:lnTo>
                      <a:pt x="38" y="118"/>
                    </a:lnTo>
                    <a:lnTo>
                      <a:pt x="38" y="119"/>
                    </a:lnTo>
                    <a:lnTo>
                      <a:pt x="39" y="119"/>
                    </a:lnTo>
                    <a:lnTo>
                      <a:pt x="38" y="121"/>
                    </a:lnTo>
                    <a:lnTo>
                      <a:pt x="39" y="121"/>
                    </a:lnTo>
                    <a:lnTo>
                      <a:pt x="39" y="123"/>
                    </a:lnTo>
                    <a:lnTo>
                      <a:pt x="39" y="124"/>
                    </a:lnTo>
                    <a:lnTo>
                      <a:pt x="39" y="126"/>
                    </a:lnTo>
                    <a:lnTo>
                      <a:pt x="39" y="128"/>
                    </a:lnTo>
                    <a:lnTo>
                      <a:pt x="41" y="128"/>
                    </a:lnTo>
                    <a:lnTo>
                      <a:pt x="41" y="130"/>
                    </a:lnTo>
                    <a:lnTo>
                      <a:pt x="41" y="131"/>
                    </a:lnTo>
                    <a:lnTo>
                      <a:pt x="39" y="133"/>
                    </a:lnTo>
                    <a:lnTo>
                      <a:pt x="38" y="133"/>
                    </a:lnTo>
                    <a:lnTo>
                      <a:pt x="38" y="135"/>
                    </a:lnTo>
                    <a:lnTo>
                      <a:pt x="36" y="135"/>
                    </a:lnTo>
                    <a:lnTo>
                      <a:pt x="36" y="136"/>
                    </a:lnTo>
                    <a:lnTo>
                      <a:pt x="34" y="135"/>
                    </a:lnTo>
                    <a:lnTo>
                      <a:pt x="33" y="135"/>
                    </a:lnTo>
                    <a:lnTo>
                      <a:pt x="31" y="135"/>
                    </a:lnTo>
                    <a:lnTo>
                      <a:pt x="31" y="136"/>
                    </a:lnTo>
                    <a:lnTo>
                      <a:pt x="29" y="136"/>
                    </a:lnTo>
                    <a:lnTo>
                      <a:pt x="29" y="138"/>
                    </a:lnTo>
                    <a:lnTo>
                      <a:pt x="31" y="138"/>
                    </a:lnTo>
                    <a:lnTo>
                      <a:pt x="29" y="140"/>
                    </a:lnTo>
                    <a:lnTo>
                      <a:pt x="31" y="140"/>
                    </a:lnTo>
                    <a:lnTo>
                      <a:pt x="31" y="141"/>
                    </a:lnTo>
                    <a:lnTo>
                      <a:pt x="33" y="143"/>
                    </a:lnTo>
                    <a:lnTo>
                      <a:pt x="33" y="141"/>
                    </a:lnTo>
                    <a:lnTo>
                      <a:pt x="34" y="143"/>
                    </a:lnTo>
                    <a:lnTo>
                      <a:pt x="34" y="141"/>
                    </a:lnTo>
                    <a:lnTo>
                      <a:pt x="36" y="141"/>
                    </a:lnTo>
                    <a:lnTo>
                      <a:pt x="34" y="141"/>
                    </a:lnTo>
                    <a:lnTo>
                      <a:pt x="34" y="143"/>
                    </a:lnTo>
                    <a:lnTo>
                      <a:pt x="33" y="145"/>
                    </a:lnTo>
                    <a:lnTo>
                      <a:pt x="33" y="147"/>
                    </a:lnTo>
                    <a:lnTo>
                      <a:pt x="31" y="147"/>
                    </a:lnTo>
                    <a:lnTo>
                      <a:pt x="31" y="148"/>
                    </a:lnTo>
                    <a:lnTo>
                      <a:pt x="31" y="150"/>
                    </a:lnTo>
                    <a:lnTo>
                      <a:pt x="31" y="152"/>
                    </a:lnTo>
                    <a:lnTo>
                      <a:pt x="31" y="150"/>
                    </a:lnTo>
                    <a:lnTo>
                      <a:pt x="33" y="152"/>
                    </a:lnTo>
                    <a:lnTo>
                      <a:pt x="34" y="152"/>
                    </a:lnTo>
                    <a:lnTo>
                      <a:pt x="34" y="150"/>
                    </a:lnTo>
                    <a:lnTo>
                      <a:pt x="36" y="150"/>
                    </a:lnTo>
                    <a:lnTo>
                      <a:pt x="36" y="148"/>
                    </a:lnTo>
                    <a:lnTo>
                      <a:pt x="38" y="148"/>
                    </a:lnTo>
                    <a:lnTo>
                      <a:pt x="38" y="147"/>
                    </a:lnTo>
                    <a:lnTo>
                      <a:pt x="39" y="147"/>
                    </a:lnTo>
                    <a:lnTo>
                      <a:pt x="39" y="145"/>
                    </a:lnTo>
                    <a:lnTo>
                      <a:pt x="41" y="145"/>
                    </a:lnTo>
                    <a:lnTo>
                      <a:pt x="43" y="145"/>
                    </a:lnTo>
                    <a:lnTo>
                      <a:pt x="44" y="145"/>
                    </a:lnTo>
                    <a:lnTo>
                      <a:pt x="44" y="147"/>
                    </a:lnTo>
                    <a:lnTo>
                      <a:pt x="46" y="148"/>
                    </a:lnTo>
                    <a:lnTo>
                      <a:pt x="48" y="148"/>
                    </a:lnTo>
                    <a:lnTo>
                      <a:pt x="50" y="148"/>
                    </a:lnTo>
                    <a:lnTo>
                      <a:pt x="51" y="150"/>
                    </a:lnTo>
                    <a:lnTo>
                      <a:pt x="51" y="152"/>
                    </a:lnTo>
                    <a:lnTo>
                      <a:pt x="53" y="152"/>
                    </a:lnTo>
                    <a:lnTo>
                      <a:pt x="55" y="152"/>
                    </a:lnTo>
                    <a:lnTo>
                      <a:pt x="56" y="152"/>
                    </a:lnTo>
                    <a:lnTo>
                      <a:pt x="56" y="150"/>
                    </a:lnTo>
                    <a:lnTo>
                      <a:pt x="58" y="150"/>
                    </a:lnTo>
                    <a:lnTo>
                      <a:pt x="60" y="150"/>
                    </a:lnTo>
                    <a:lnTo>
                      <a:pt x="60" y="152"/>
                    </a:lnTo>
                    <a:lnTo>
                      <a:pt x="61" y="152"/>
                    </a:lnTo>
                    <a:lnTo>
                      <a:pt x="61" y="153"/>
                    </a:lnTo>
                    <a:lnTo>
                      <a:pt x="61" y="152"/>
                    </a:lnTo>
                    <a:lnTo>
                      <a:pt x="63" y="153"/>
                    </a:lnTo>
                    <a:lnTo>
                      <a:pt x="63" y="155"/>
                    </a:lnTo>
                    <a:lnTo>
                      <a:pt x="63" y="157"/>
                    </a:lnTo>
                    <a:lnTo>
                      <a:pt x="65" y="159"/>
                    </a:lnTo>
                    <a:lnTo>
                      <a:pt x="65" y="160"/>
                    </a:lnTo>
                    <a:lnTo>
                      <a:pt x="65" y="162"/>
                    </a:lnTo>
                    <a:lnTo>
                      <a:pt x="67" y="164"/>
                    </a:lnTo>
                    <a:lnTo>
                      <a:pt x="68" y="165"/>
                    </a:lnTo>
                    <a:lnTo>
                      <a:pt x="70" y="165"/>
                    </a:lnTo>
                    <a:lnTo>
                      <a:pt x="70" y="167"/>
                    </a:lnTo>
                    <a:lnTo>
                      <a:pt x="72" y="167"/>
                    </a:lnTo>
                    <a:lnTo>
                      <a:pt x="73" y="167"/>
                    </a:lnTo>
                    <a:lnTo>
                      <a:pt x="75" y="167"/>
                    </a:lnTo>
                    <a:lnTo>
                      <a:pt x="75" y="169"/>
                    </a:lnTo>
                    <a:lnTo>
                      <a:pt x="77" y="169"/>
                    </a:lnTo>
                    <a:lnTo>
                      <a:pt x="78" y="169"/>
                    </a:lnTo>
                    <a:lnTo>
                      <a:pt x="80" y="169"/>
                    </a:lnTo>
                    <a:lnTo>
                      <a:pt x="80" y="167"/>
                    </a:lnTo>
                    <a:lnTo>
                      <a:pt x="80" y="165"/>
                    </a:lnTo>
                    <a:lnTo>
                      <a:pt x="82" y="165"/>
                    </a:lnTo>
                    <a:lnTo>
                      <a:pt x="84" y="165"/>
                    </a:lnTo>
                    <a:lnTo>
                      <a:pt x="82" y="164"/>
                    </a:lnTo>
                    <a:lnTo>
                      <a:pt x="84" y="164"/>
                    </a:lnTo>
                    <a:lnTo>
                      <a:pt x="84" y="162"/>
                    </a:lnTo>
                    <a:lnTo>
                      <a:pt x="82" y="162"/>
                    </a:lnTo>
                    <a:lnTo>
                      <a:pt x="84" y="162"/>
                    </a:lnTo>
                    <a:lnTo>
                      <a:pt x="84" y="160"/>
                    </a:lnTo>
                    <a:lnTo>
                      <a:pt x="84" y="159"/>
                    </a:lnTo>
                    <a:lnTo>
                      <a:pt x="85" y="157"/>
                    </a:lnTo>
                    <a:lnTo>
                      <a:pt x="87" y="157"/>
                    </a:lnTo>
                    <a:lnTo>
                      <a:pt x="89" y="157"/>
                    </a:lnTo>
                    <a:lnTo>
                      <a:pt x="90" y="155"/>
                    </a:lnTo>
                    <a:lnTo>
                      <a:pt x="90" y="153"/>
                    </a:lnTo>
                    <a:lnTo>
                      <a:pt x="92" y="152"/>
                    </a:lnTo>
                    <a:lnTo>
                      <a:pt x="92" y="150"/>
                    </a:lnTo>
                    <a:lnTo>
                      <a:pt x="94" y="150"/>
                    </a:lnTo>
                    <a:lnTo>
                      <a:pt x="92" y="148"/>
                    </a:lnTo>
                    <a:lnTo>
                      <a:pt x="92" y="147"/>
                    </a:lnTo>
                    <a:lnTo>
                      <a:pt x="92" y="145"/>
                    </a:lnTo>
                    <a:lnTo>
                      <a:pt x="94" y="143"/>
                    </a:lnTo>
                    <a:lnTo>
                      <a:pt x="92" y="143"/>
                    </a:lnTo>
                    <a:lnTo>
                      <a:pt x="92" y="141"/>
                    </a:lnTo>
                    <a:lnTo>
                      <a:pt x="94" y="141"/>
                    </a:lnTo>
                    <a:lnTo>
                      <a:pt x="94" y="140"/>
                    </a:lnTo>
                    <a:lnTo>
                      <a:pt x="94" y="138"/>
                    </a:lnTo>
                    <a:lnTo>
                      <a:pt x="95" y="138"/>
                    </a:lnTo>
                    <a:lnTo>
                      <a:pt x="95" y="136"/>
                    </a:lnTo>
                    <a:lnTo>
                      <a:pt x="94" y="136"/>
                    </a:lnTo>
                    <a:lnTo>
                      <a:pt x="94" y="135"/>
                    </a:lnTo>
                    <a:lnTo>
                      <a:pt x="95" y="135"/>
                    </a:lnTo>
                    <a:lnTo>
                      <a:pt x="95" y="133"/>
                    </a:lnTo>
                    <a:lnTo>
                      <a:pt x="97" y="133"/>
                    </a:lnTo>
                    <a:lnTo>
                      <a:pt x="97" y="131"/>
                    </a:lnTo>
                    <a:lnTo>
                      <a:pt x="97" y="130"/>
                    </a:lnTo>
                    <a:lnTo>
                      <a:pt x="99" y="130"/>
                    </a:lnTo>
                    <a:lnTo>
                      <a:pt x="99" y="128"/>
                    </a:lnTo>
                    <a:lnTo>
                      <a:pt x="99" y="126"/>
                    </a:lnTo>
                    <a:lnTo>
                      <a:pt x="99" y="124"/>
                    </a:lnTo>
                    <a:lnTo>
                      <a:pt x="101" y="124"/>
                    </a:lnTo>
                    <a:lnTo>
                      <a:pt x="101" y="123"/>
                    </a:lnTo>
                    <a:lnTo>
                      <a:pt x="99" y="123"/>
                    </a:lnTo>
                    <a:lnTo>
                      <a:pt x="101" y="123"/>
                    </a:lnTo>
                    <a:lnTo>
                      <a:pt x="101" y="121"/>
                    </a:lnTo>
                    <a:lnTo>
                      <a:pt x="101" y="119"/>
                    </a:lnTo>
                    <a:lnTo>
                      <a:pt x="101" y="118"/>
                    </a:lnTo>
                    <a:lnTo>
                      <a:pt x="101" y="116"/>
                    </a:lnTo>
                    <a:lnTo>
                      <a:pt x="102" y="116"/>
                    </a:lnTo>
                    <a:lnTo>
                      <a:pt x="101" y="114"/>
                    </a:lnTo>
                    <a:lnTo>
                      <a:pt x="102" y="114"/>
                    </a:lnTo>
                    <a:lnTo>
                      <a:pt x="101" y="114"/>
                    </a:lnTo>
                    <a:lnTo>
                      <a:pt x="102" y="114"/>
                    </a:lnTo>
                    <a:lnTo>
                      <a:pt x="104" y="114"/>
                    </a:lnTo>
                    <a:lnTo>
                      <a:pt x="106" y="114"/>
                    </a:lnTo>
                    <a:lnTo>
                      <a:pt x="106" y="116"/>
                    </a:lnTo>
                    <a:lnTo>
                      <a:pt x="106" y="118"/>
                    </a:lnTo>
                    <a:lnTo>
                      <a:pt x="107" y="118"/>
                    </a:lnTo>
                    <a:lnTo>
                      <a:pt x="109" y="118"/>
                    </a:lnTo>
                    <a:lnTo>
                      <a:pt x="109" y="116"/>
                    </a:lnTo>
                    <a:lnTo>
                      <a:pt x="107" y="116"/>
                    </a:lnTo>
                    <a:lnTo>
                      <a:pt x="107" y="114"/>
                    </a:lnTo>
                    <a:lnTo>
                      <a:pt x="107" y="113"/>
                    </a:lnTo>
                    <a:lnTo>
                      <a:pt x="109" y="113"/>
                    </a:lnTo>
                    <a:lnTo>
                      <a:pt x="109" y="111"/>
                    </a:lnTo>
                    <a:lnTo>
                      <a:pt x="111" y="109"/>
                    </a:lnTo>
                    <a:lnTo>
                      <a:pt x="111" y="107"/>
                    </a:lnTo>
                    <a:lnTo>
                      <a:pt x="112" y="107"/>
                    </a:lnTo>
                    <a:lnTo>
                      <a:pt x="112" y="106"/>
                    </a:lnTo>
                    <a:lnTo>
                      <a:pt x="114" y="106"/>
                    </a:lnTo>
                    <a:lnTo>
                      <a:pt x="114" y="104"/>
                    </a:lnTo>
                    <a:lnTo>
                      <a:pt x="116" y="104"/>
                    </a:lnTo>
                    <a:lnTo>
                      <a:pt x="119" y="101"/>
                    </a:lnTo>
                    <a:lnTo>
                      <a:pt x="123" y="99"/>
                    </a:lnTo>
                    <a:lnTo>
                      <a:pt x="128" y="99"/>
                    </a:lnTo>
                    <a:lnTo>
                      <a:pt x="141" y="94"/>
                    </a:lnTo>
                    <a:lnTo>
                      <a:pt x="153" y="89"/>
                    </a:lnTo>
                    <a:lnTo>
                      <a:pt x="155" y="89"/>
                    </a:lnTo>
                    <a:lnTo>
                      <a:pt x="157" y="89"/>
                    </a:lnTo>
                    <a:lnTo>
                      <a:pt x="158" y="87"/>
                    </a:lnTo>
                    <a:lnTo>
                      <a:pt x="160" y="87"/>
                    </a:lnTo>
                    <a:lnTo>
                      <a:pt x="162" y="85"/>
                    </a:lnTo>
                    <a:lnTo>
                      <a:pt x="163" y="85"/>
                    </a:lnTo>
                    <a:lnTo>
                      <a:pt x="165" y="82"/>
                    </a:lnTo>
                    <a:lnTo>
                      <a:pt x="167" y="80"/>
                    </a:lnTo>
                    <a:lnTo>
                      <a:pt x="170" y="79"/>
                    </a:lnTo>
                    <a:lnTo>
                      <a:pt x="175" y="75"/>
                    </a:lnTo>
                    <a:lnTo>
                      <a:pt x="179" y="73"/>
                    </a:lnTo>
                    <a:lnTo>
                      <a:pt x="179" y="72"/>
                    </a:lnTo>
                    <a:lnTo>
                      <a:pt x="180" y="70"/>
                    </a:lnTo>
                    <a:lnTo>
                      <a:pt x="184" y="65"/>
                    </a:lnTo>
                    <a:lnTo>
                      <a:pt x="187" y="62"/>
                    </a:lnTo>
                    <a:lnTo>
                      <a:pt x="187" y="60"/>
                    </a:lnTo>
                    <a:lnTo>
                      <a:pt x="191" y="58"/>
                    </a:lnTo>
                    <a:lnTo>
                      <a:pt x="192" y="55"/>
                    </a:lnTo>
                    <a:lnTo>
                      <a:pt x="194" y="53"/>
                    </a:lnTo>
                    <a:lnTo>
                      <a:pt x="194" y="51"/>
                    </a:lnTo>
                    <a:lnTo>
                      <a:pt x="196" y="53"/>
                    </a:lnTo>
                    <a:lnTo>
                      <a:pt x="196" y="51"/>
                    </a:lnTo>
                    <a:lnTo>
                      <a:pt x="196" y="50"/>
                    </a:lnTo>
                    <a:lnTo>
                      <a:pt x="197" y="48"/>
                    </a:lnTo>
                    <a:lnTo>
                      <a:pt x="199" y="41"/>
                    </a:lnTo>
                    <a:lnTo>
                      <a:pt x="199" y="39"/>
                    </a:lnTo>
                    <a:lnTo>
                      <a:pt x="201" y="33"/>
                    </a:lnTo>
                    <a:lnTo>
                      <a:pt x="201" y="31"/>
                    </a:lnTo>
                    <a:lnTo>
                      <a:pt x="203" y="31"/>
                    </a:lnTo>
                    <a:lnTo>
                      <a:pt x="203" y="33"/>
                    </a:lnTo>
                    <a:lnTo>
                      <a:pt x="204" y="33"/>
                    </a:lnTo>
                    <a:lnTo>
                      <a:pt x="206" y="33"/>
                    </a:lnTo>
                    <a:lnTo>
                      <a:pt x="208" y="33"/>
                    </a:lnTo>
                    <a:lnTo>
                      <a:pt x="206" y="31"/>
                    </a:lnTo>
                    <a:lnTo>
                      <a:pt x="208" y="31"/>
                    </a:lnTo>
                    <a:lnTo>
                      <a:pt x="208" y="29"/>
                    </a:lnTo>
                    <a:lnTo>
                      <a:pt x="206" y="29"/>
                    </a:lnTo>
                    <a:lnTo>
                      <a:pt x="206" y="28"/>
                    </a:lnTo>
                    <a:lnTo>
                      <a:pt x="206" y="26"/>
                    </a:lnTo>
                    <a:lnTo>
                      <a:pt x="206" y="24"/>
                    </a:lnTo>
                    <a:lnTo>
                      <a:pt x="206" y="22"/>
                    </a:lnTo>
                    <a:lnTo>
                      <a:pt x="206" y="21"/>
                    </a:lnTo>
                    <a:lnTo>
                      <a:pt x="206" y="22"/>
                    </a:lnTo>
                    <a:lnTo>
                      <a:pt x="206" y="21"/>
                    </a:lnTo>
                    <a:lnTo>
                      <a:pt x="206" y="22"/>
                    </a:lnTo>
                    <a:lnTo>
                      <a:pt x="208" y="21"/>
                    </a:lnTo>
                    <a:lnTo>
                      <a:pt x="206" y="21"/>
                    </a:lnTo>
                    <a:lnTo>
                      <a:pt x="206" y="19"/>
                    </a:lnTo>
                    <a:lnTo>
                      <a:pt x="208" y="19"/>
                    </a:lnTo>
                    <a:lnTo>
                      <a:pt x="206" y="19"/>
                    </a:lnTo>
                    <a:lnTo>
                      <a:pt x="206" y="17"/>
                    </a:lnTo>
                    <a:lnTo>
                      <a:pt x="204" y="17"/>
                    </a:lnTo>
                    <a:lnTo>
                      <a:pt x="204" y="16"/>
                    </a:lnTo>
                    <a:lnTo>
                      <a:pt x="203" y="16"/>
                    </a:lnTo>
                    <a:lnTo>
                      <a:pt x="201" y="14"/>
                    </a:lnTo>
                    <a:lnTo>
                      <a:pt x="201" y="12"/>
                    </a:lnTo>
                    <a:lnTo>
                      <a:pt x="199" y="12"/>
                    </a:lnTo>
                    <a:lnTo>
                      <a:pt x="199" y="11"/>
                    </a:lnTo>
                    <a:lnTo>
                      <a:pt x="199" y="9"/>
                    </a:lnTo>
                    <a:lnTo>
                      <a:pt x="197" y="9"/>
                    </a:lnTo>
                    <a:lnTo>
                      <a:pt x="199" y="9"/>
                    </a:lnTo>
                    <a:lnTo>
                      <a:pt x="197" y="7"/>
                    </a:lnTo>
                    <a:lnTo>
                      <a:pt x="196" y="7"/>
                    </a:lnTo>
                    <a:lnTo>
                      <a:pt x="196" y="5"/>
                    </a:lnTo>
                    <a:lnTo>
                      <a:pt x="194" y="5"/>
                    </a:lnTo>
                    <a:lnTo>
                      <a:pt x="194" y="4"/>
                    </a:lnTo>
                    <a:lnTo>
                      <a:pt x="196" y="4"/>
                    </a:lnTo>
                    <a:lnTo>
                      <a:pt x="197" y="4"/>
                    </a:lnTo>
                    <a:lnTo>
                      <a:pt x="199" y="4"/>
                    </a:lnTo>
                    <a:lnTo>
                      <a:pt x="199" y="5"/>
                    </a:lnTo>
                    <a:lnTo>
                      <a:pt x="201" y="5"/>
                    </a:lnTo>
                    <a:lnTo>
                      <a:pt x="203" y="5"/>
                    </a:lnTo>
                    <a:lnTo>
                      <a:pt x="204" y="5"/>
                    </a:lnTo>
                    <a:lnTo>
                      <a:pt x="206" y="4"/>
                    </a:lnTo>
                    <a:lnTo>
                      <a:pt x="208" y="2"/>
                    </a:lnTo>
                    <a:lnTo>
                      <a:pt x="208" y="0"/>
                    </a:lnTo>
                    <a:lnTo>
                      <a:pt x="208" y="2"/>
                    </a:lnTo>
                    <a:lnTo>
                      <a:pt x="209" y="2"/>
                    </a:lnTo>
                    <a:lnTo>
                      <a:pt x="211" y="2"/>
                    </a:lnTo>
                    <a:lnTo>
                      <a:pt x="213" y="4"/>
                    </a:lnTo>
                    <a:lnTo>
                      <a:pt x="214" y="5"/>
                    </a:lnTo>
                    <a:lnTo>
                      <a:pt x="216" y="5"/>
                    </a:lnTo>
                    <a:lnTo>
                      <a:pt x="216" y="7"/>
                    </a:lnTo>
                    <a:lnTo>
                      <a:pt x="218" y="7"/>
                    </a:lnTo>
                    <a:lnTo>
                      <a:pt x="218" y="9"/>
                    </a:lnTo>
                    <a:lnTo>
                      <a:pt x="220" y="7"/>
                    </a:lnTo>
                    <a:lnTo>
                      <a:pt x="221" y="7"/>
                    </a:lnTo>
                    <a:lnTo>
                      <a:pt x="221" y="5"/>
                    </a:lnTo>
                    <a:lnTo>
                      <a:pt x="221" y="7"/>
                    </a:lnTo>
                    <a:lnTo>
                      <a:pt x="223" y="7"/>
                    </a:lnTo>
                    <a:lnTo>
                      <a:pt x="223" y="9"/>
                    </a:lnTo>
                    <a:lnTo>
                      <a:pt x="223" y="11"/>
                    </a:lnTo>
                    <a:lnTo>
                      <a:pt x="223" y="12"/>
                    </a:lnTo>
                    <a:lnTo>
                      <a:pt x="225" y="12"/>
                    </a:lnTo>
                    <a:lnTo>
                      <a:pt x="225" y="11"/>
                    </a:lnTo>
                    <a:lnTo>
                      <a:pt x="225" y="12"/>
                    </a:lnTo>
                    <a:lnTo>
                      <a:pt x="226" y="12"/>
                    </a:lnTo>
                    <a:lnTo>
                      <a:pt x="228" y="12"/>
                    </a:lnTo>
                    <a:lnTo>
                      <a:pt x="230" y="14"/>
                    </a:lnTo>
                    <a:lnTo>
                      <a:pt x="230" y="16"/>
                    </a:lnTo>
                    <a:lnTo>
                      <a:pt x="231" y="16"/>
                    </a:lnTo>
                    <a:lnTo>
                      <a:pt x="233" y="16"/>
                    </a:lnTo>
                    <a:lnTo>
                      <a:pt x="233" y="17"/>
                    </a:lnTo>
                    <a:lnTo>
                      <a:pt x="235" y="17"/>
                    </a:lnTo>
                    <a:lnTo>
                      <a:pt x="233" y="17"/>
                    </a:lnTo>
                    <a:lnTo>
                      <a:pt x="233" y="19"/>
                    </a:lnTo>
                    <a:lnTo>
                      <a:pt x="235" y="19"/>
                    </a:lnTo>
                    <a:lnTo>
                      <a:pt x="235" y="17"/>
                    </a:lnTo>
                    <a:lnTo>
                      <a:pt x="235" y="19"/>
                    </a:lnTo>
                    <a:lnTo>
                      <a:pt x="235" y="21"/>
                    </a:lnTo>
                    <a:lnTo>
                      <a:pt x="237" y="21"/>
                    </a:lnTo>
                    <a:lnTo>
                      <a:pt x="235" y="22"/>
                    </a:lnTo>
                    <a:lnTo>
                      <a:pt x="237" y="22"/>
                    </a:lnTo>
                    <a:lnTo>
                      <a:pt x="237" y="24"/>
                    </a:lnTo>
                    <a:lnTo>
                      <a:pt x="235" y="24"/>
                    </a:lnTo>
                    <a:lnTo>
                      <a:pt x="237" y="24"/>
                    </a:lnTo>
                    <a:lnTo>
                      <a:pt x="237" y="26"/>
                    </a:lnTo>
                    <a:lnTo>
                      <a:pt x="238" y="26"/>
                    </a:lnTo>
                    <a:lnTo>
                      <a:pt x="238" y="28"/>
                    </a:lnTo>
                    <a:lnTo>
                      <a:pt x="240" y="28"/>
                    </a:lnTo>
                    <a:lnTo>
                      <a:pt x="238" y="29"/>
                    </a:lnTo>
                    <a:lnTo>
                      <a:pt x="240" y="29"/>
                    </a:lnTo>
                    <a:lnTo>
                      <a:pt x="238" y="29"/>
                    </a:lnTo>
                    <a:lnTo>
                      <a:pt x="238" y="31"/>
                    </a:lnTo>
                    <a:lnTo>
                      <a:pt x="238" y="29"/>
                    </a:lnTo>
                    <a:lnTo>
                      <a:pt x="238" y="31"/>
                    </a:lnTo>
                    <a:lnTo>
                      <a:pt x="240" y="31"/>
                    </a:lnTo>
                    <a:lnTo>
                      <a:pt x="240" y="33"/>
                    </a:lnTo>
                    <a:lnTo>
                      <a:pt x="238" y="33"/>
                    </a:lnTo>
                    <a:lnTo>
                      <a:pt x="240" y="33"/>
                    </a:lnTo>
                    <a:lnTo>
                      <a:pt x="240" y="34"/>
                    </a:lnTo>
                    <a:lnTo>
                      <a:pt x="242" y="34"/>
                    </a:lnTo>
                    <a:lnTo>
                      <a:pt x="243" y="34"/>
                    </a:lnTo>
                    <a:lnTo>
                      <a:pt x="245" y="34"/>
                    </a:lnTo>
                    <a:lnTo>
                      <a:pt x="245" y="36"/>
                    </a:lnTo>
                    <a:lnTo>
                      <a:pt x="247" y="36"/>
                    </a:lnTo>
                    <a:lnTo>
                      <a:pt x="247" y="34"/>
                    </a:lnTo>
                    <a:lnTo>
                      <a:pt x="248" y="34"/>
                    </a:lnTo>
                    <a:lnTo>
                      <a:pt x="247" y="34"/>
                    </a:lnTo>
                    <a:lnTo>
                      <a:pt x="247" y="36"/>
                    </a:lnTo>
                    <a:lnTo>
                      <a:pt x="248" y="36"/>
                    </a:lnTo>
                    <a:lnTo>
                      <a:pt x="248" y="38"/>
                    </a:lnTo>
                    <a:lnTo>
                      <a:pt x="248" y="36"/>
                    </a:lnTo>
                    <a:lnTo>
                      <a:pt x="250" y="36"/>
                    </a:lnTo>
                    <a:lnTo>
                      <a:pt x="250" y="38"/>
                    </a:lnTo>
                    <a:lnTo>
                      <a:pt x="252" y="38"/>
                    </a:lnTo>
                    <a:lnTo>
                      <a:pt x="252" y="39"/>
                    </a:lnTo>
                    <a:lnTo>
                      <a:pt x="252" y="41"/>
                    </a:lnTo>
                    <a:lnTo>
                      <a:pt x="254" y="41"/>
                    </a:lnTo>
                    <a:lnTo>
                      <a:pt x="255" y="43"/>
                    </a:lnTo>
                    <a:lnTo>
                      <a:pt x="255" y="41"/>
                    </a:lnTo>
                    <a:lnTo>
                      <a:pt x="255" y="43"/>
                    </a:lnTo>
                    <a:lnTo>
                      <a:pt x="257" y="43"/>
                    </a:lnTo>
                    <a:lnTo>
                      <a:pt x="257" y="41"/>
                    </a:lnTo>
                    <a:lnTo>
                      <a:pt x="259" y="43"/>
                    </a:lnTo>
                    <a:lnTo>
                      <a:pt x="259" y="41"/>
                    </a:lnTo>
                    <a:lnTo>
                      <a:pt x="260" y="43"/>
                    </a:lnTo>
                    <a:lnTo>
                      <a:pt x="262" y="45"/>
                    </a:lnTo>
                    <a:lnTo>
                      <a:pt x="262" y="46"/>
                    </a:lnTo>
                    <a:lnTo>
                      <a:pt x="264" y="46"/>
                    </a:lnTo>
                    <a:lnTo>
                      <a:pt x="264" y="48"/>
                    </a:lnTo>
                    <a:lnTo>
                      <a:pt x="262" y="48"/>
                    </a:lnTo>
                    <a:lnTo>
                      <a:pt x="264" y="48"/>
                    </a:lnTo>
                    <a:lnTo>
                      <a:pt x="264" y="50"/>
                    </a:lnTo>
                    <a:lnTo>
                      <a:pt x="265" y="50"/>
                    </a:lnTo>
                    <a:lnTo>
                      <a:pt x="265" y="51"/>
                    </a:lnTo>
                    <a:lnTo>
                      <a:pt x="265" y="53"/>
                    </a:lnTo>
                    <a:lnTo>
                      <a:pt x="267" y="53"/>
                    </a:lnTo>
                    <a:lnTo>
                      <a:pt x="265" y="53"/>
                    </a:lnTo>
                    <a:lnTo>
                      <a:pt x="265" y="55"/>
                    </a:lnTo>
                    <a:lnTo>
                      <a:pt x="265" y="56"/>
                    </a:lnTo>
                    <a:lnTo>
                      <a:pt x="264" y="56"/>
                    </a:lnTo>
                    <a:lnTo>
                      <a:pt x="264" y="58"/>
                    </a:lnTo>
                    <a:lnTo>
                      <a:pt x="265" y="58"/>
                    </a:lnTo>
                    <a:lnTo>
                      <a:pt x="267" y="58"/>
                    </a:lnTo>
                    <a:lnTo>
                      <a:pt x="267" y="60"/>
                    </a:lnTo>
                    <a:lnTo>
                      <a:pt x="269" y="60"/>
                    </a:lnTo>
                    <a:lnTo>
                      <a:pt x="271" y="60"/>
                    </a:lnTo>
                    <a:lnTo>
                      <a:pt x="271" y="62"/>
                    </a:lnTo>
                    <a:lnTo>
                      <a:pt x="272" y="62"/>
                    </a:lnTo>
                    <a:lnTo>
                      <a:pt x="272" y="60"/>
                    </a:lnTo>
                    <a:lnTo>
                      <a:pt x="274" y="60"/>
                    </a:lnTo>
                    <a:lnTo>
                      <a:pt x="274" y="62"/>
                    </a:lnTo>
                    <a:lnTo>
                      <a:pt x="274" y="60"/>
                    </a:lnTo>
                    <a:lnTo>
                      <a:pt x="274" y="58"/>
                    </a:lnTo>
                    <a:lnTo>
                      <a:pt x="276" y="60"/>
                    </a:lnTo>
                    <a:lnTo>
                      <a:pt x="277" y="62"/>
                    </a:lnTo>
                    <a:lnTo>
                      <a:pt x="277" y="63"/>
                    </a:lnTo>
                    <a:lnTo>
                      <a:pt x="279" y="63"/>
                    </a:lnTo>
                    <a:lnTo>
                      <a:pt x="277" y="65"/>
                    </a:lnTo>
                    <a:lnTo>
                      <a:pt x="277" y="67"/>
                    </a:lnTo>
                    <a:lnTo>
                      <a:pt x="277" y="68"/>
                    </a:lnTo>
                    <a:lnTo>
                      <a:pt x="279" y="68"/>
                    </a:lnTo>
                    <a:lnTo>
                      <a:pt x="279" y="70"/>
                    </a:lnTo>
                    <a:lnTo>
                      <a:pt x="279" y="72"/>
                    </a:lnTo>
                    <a:lnTo>
                      <a:pt x="277" y="72"/>
                    </a:lnTo>
                    <a:lnTo>
                      <a:pt x="277" y="73"/>
                    </a:lnTo>
                    <a:lnTo>
                      <a:pt x="276" y="73"/>
                    </a:lnTo>
                    <a:lnTo>
                      <a:pt x="276" y="75"/>
                    </a:lnTo>
                    <a:lnTo>
                      <a:pt x="277" y="77"/>
                    </a:lnTo>
                    <a:lnTo>
                      <a:pt x="277" y="79"/>
                    </a:lnTo>
                    <a:lnTo>
                      <a:pt x="279" y="79"/>
                    </a:lnTo>
                    <a:lnTo>
                      <a:pt x="279" y="80"/>
                    </a:lnTo>
                    <a:lnTo>
                      <a:pt x="281" y="79"/>
                    </a:lnTo>
                    <a:lnTo>
                      <a:pt x="282" y="80"/>
                    </a:lnTo>
                    <a:lnTo>
                      <a:pt x="282" y="79"/>
                    </a:lnTo>
                    <a:lnTo>
                      <a:pt x="282" y="80"/>
                    </a:lnTo>
                    <a:lnTo>
                      <a:pt x="284" y="80"/>
                    </a:lnTo>
                    <a:lnTo>
                      <a:pt x="284" y="82"/>
                    </a:lnTo>
                    <a:lnTo>
                      <a:pt x="286" y="82"/>
                    </a:lnTo>
                    <a:lnTo>
                      <a:pt x="288" y="82"/>
                    </a:lnTo>
                    <a:lnTo>
                      <a:pt x="289" y="82"/>
                    </a:lnTo>
                    <a:lnTo>
                      <a:pt x="289" y="80"/>
                    </a:lnTo>
                    <a:lnTo>
                      <a:pt x="291" y="80"/>
                    </a:lnTo>
                    <a:lnTo>
                      <a:pt x="291" y="82"/>
                    </a:lnTo>
                    <a:lnTo>
                      <a:pt x="291" y="80"/>
                    </a:lnTo>
                    <a:lnTo>
                      <a:pt x="293" y="82"/>
                    </a:lnTo>
                    <a:lnTo>
                      <a:pt x="294" y="82"/>
                    </a:lnTo>
                    <a:lnTo>
                      <a:pt x="294" y="80"/>
                    </a:lnTo>
                    <a:lnTo>
                      <a:pt x="296" y="80"/>
                    </a:lnTo>
                    <a:lnTo>
                      <a:pt x="298" y="80"/>
                    </a:lnTo>
                    <a:lnTo>
                      <a:pt x="298" y="82"/>
                    </a:lnTo>
                    <a:lnTo>
                      <a:pt x="299" y="82"/>
                    </a:lnTo>
                    <a:lnTo>
                      <a:pt x="301" y="82"/>
                    </a:lnTo>
                    <a:lnTo>
                      <a:pt x="303" y="82"/>
                    </a:lnTo>
                    <a:lnTo>
                      <a:pt x="303" y="84"/>
                    </a:lnTo>
                    <a:lnTo>
                      <a:pt x="305" y="84"/>
                    </a:lnTo>
                    <a:lnTo>
                      <a:pt x="306" y="84"/>
                    </a:lnTo>
                    <a:lnTo>
                      <a:pt x="306" y="82"/>
                    </a:lnTo>
                    <a:lnTo>
                      <a:pt x="306" y="84"/>
                    </a:lnTo>
                    <a:lnTo>
                      <a:pt x="306" y="82"/>
                    </a:lnTo>
                    <a:lnTo>
                      <a:pt x="308" y="82"/>
                    </a:lnTo>
                    <a:lnTo>
                      <a:pt x="310" y="82"/>
                    </a:lnTo>
                    <a:lnTo>
                      <a:pt x="310" y="84"/>
                    </a:lnTo>
                    <a:lnTo>
                      <a:pt x="311" y="84"/>
                    </a:lnTo>
                    <a:lnTo>
                      <a:pt x="311" y="82"/>
                    </a:lnTo>
                    <a:lnTo>
                      <a:pt x="311" y="80"/>
                    </a:lnTo>
                    <a:lnTo>
                      <a:pt x="313" y="80"/>
                    </a:lnTo>
                    <a:lnTo>
                      <a:pt x="313" y="79"/>
                    </a:lnTo>
                    <a:lnTo>
                      <a:pt x="315" y="79"/>
                    </a:lnTo>
                    <a:lnTo>
                      <a:pt x="315" y="80"/>
                    </a:lnTo>
                    <a:lnTo>
                      <a:pt x="316" y="80"/>
                    </a:lnTo>
                    <a:lnTo>
                      <a:pt x="318" y="80"/>
                    </a:lnTo>
                    <a:lnTo>
                      <a:pt x="318" y="79"/>
                    </a:lnTo>
                    <a:lnTo>
                      <a:pt x="320" y="79"/>
                    </a:lnTo>
                    <a:lnTo>
                      <a:pt x="320" y="77"/>
                    </a:lnTo>
                    <a:lnTo>
                      <a:pt x="320" y="75"/>
                    </a:lnTo>
                    <a:lnTo>
                      <a:pt x="322" y="75"/>
                    </a:lnTo>
                    <a:lnTo>
                      <a:pt x="322" y="73"/>
                    </a:lnTo>
                    <a:lnTo>
                      <a:pt x="322" y="75"/>
                    </a:lnTo>
                    <a:lnTo>
                      <a:pt x="323" y="73"/>
                    </a:lnTo>
                    <a:lnTo>
                      <a:pt x="325" y="72"/>
                    </a:lnTo>
                    <a:lnTo>
                      <a:pt x="325" y="73"/>
                    </a:lnTo>
                    <a:lnTo>
                      <a:pt x="325" y="75"/>
                    </a:lnTo>
                    <a:lnTo>
                      <a:pt x="327" y="75"/>
                    </a:lnTo>
                    <a:lnTo>
                      <a:pt x="327" y="73"/>
                    </a:lnTo>
                    <a:lnTo>
                      <a:pt x="328" y="73"/>
                    </a:lnTo>
                    <a:lnTo>
                      <a:pt x="328" y="75"/>
                    </a:lnTo>
                    <a:lnTo>
                      <a:pt x="330" y="75"/>
                    </a:lnTo>
                    <a:lnTo>
                      <a:pt x="332" y="75"/>
                    </a:lnTo>
                    <a:lnTo>
                      <a:pt x="332" y="77"/>
                    </a:lnTo>
                    <a:lnTo>
                      <a:pt x="332" y="79"/>
                    </a:lnTo>
                    <a:lnTo>
                      <a:pt x="333" y="79"/>
                    </a:lnTo>
                    <a:lnTo>
                      <a:pt x="333" y="77"/>
                    </a:lnTo>
                    <a:lnTo>
                      <a:pt x="335" y="77"/>
                    </a:lnTo>
                    <a:lnTo>
                      <a:pt x="335" y="79"/>
                    </a:lnTo>
                    <a:lnTo>
                      <a:pt x="337" y="79"/>
                    </a:lnTo>
                    <a:lnTo>
                      <a:pt x="337" y="80"/>
                    </a:lnTo>
                    <a:lnTo>
                      <a:pt x="335" y="80"/>
                    </a:lnTo>
                    <a:lnTo>
                      <a:pt x="337" y="82"/>
                    </a:lnTo>
                    <a:lnTo>
                      <a:pt x="337" y="80"/>
                    </a:lnTo>
                    <a:lnTo>
                      <a:pt x="339" y="80"/>
                    </a:lnTo>
                    <a:lnTo>
                      <a:pt x="339" y="79"/>
                    </a:lnTo>
                    <a:lnTo>
                      <a:pt x="340" y="79"/>
                    </a:lnTo>
                    <a:lnTo>
                      <a:pt x="340" y="80"/>
                    </a:lnTo>
                    <a:lnTo>
                      <a:pt x="340" y="79"/>
                    </a:lnTo>
                    <a:lnTo>
                      <a:pt x="342" y="79"/>
                    </a:lnTo>
                    <a:lnTo>
                      <a:pt x="342" y="80"/>
                    </a:lnTo>
                    <a:lnTo>
                      <a:pt x="344" y="80"/>
                    </a:lnTo>
                    <a:lnTo>
                      <a:pt x="344" y="79"/>
                    </a:lnTo>
                    <a:lnTo>
                      <a:pt x="345" y="79"/>
                    </a:lnTo>
                    <a:lnTo>
                      <a:pt x="345" y="77"/>
                    </a:lnTo>
                    <a:lnTo>
                      <a:pt x="347" y="77"/>
                    </a:lnTo>
                    <a:lnTo>
                      <a:pt x="349" y="77"/>
                    </a:lnTo>
                    <a:lnTo>
                      <a:pt x="350" y="77"/>
                    </a:lnTo>
                    <a:lnTo>
                      <a:pt x="349" y="77"/>
                    </a:lnTo>
                    <a:lnTo>
                      <a:pt x="349" y="75"/>
                    </a:lnTo>
                    <a:lnTo>
                      <a:pt x="350" y="75"/>
                    </a:lnTo>
                    <a:lnTo>
                      <a:pt x="352" y="75"/>
                    </a:lnTo>
                    <a:lnTo>
                      <a:pt x="354" y="75"/>
                    </a:lnTo>
                    <a:lnTo>
                      <a:pt x="354" y="77"/>
                    </a:lnTo>
                    <a:lnTo>
                      <a:pt x="356" y="77"/>
                    </a:lnTo>
                    <a:lnTo>
                      <a:pt x="357" y="77"/>
                    </a:lnTo>
                    <a:lnTo>
                      <a:pt x="357" y="79"/>
                    </a:lnTo>
                    <a:lnTo>
                      <a:pt x="359" y="79"/>
                    </a:lnTo>
                    <a:lnTo>
                      <a:pt x="361" y="79"/>
                    </a:lnTo>
                    <a:lnTo>
                      <a:pt x="361" y="80"/>
                    </a:lnTo>
                    <a:lnTo>
                      <a:pt x="361" y="82"/>
                    </a:lnTo>
                    <a:lnTo>
                      <a:pt x="362" y="80"/>
                    </a:lnTo>
                    <a:lnTo>
                      <a:pt x="362" y="82"/>
                    </a:lnTo>
                    <a:lnTo>
                      <a:pt x="362" y="84"/>
                    </a:lnTo>
                    <a:lnTo>
                      <a:pt x="364" y="84"/>
                    </a:lnTo>
                    <a:lnTo>
                      <a:pt x="364" y="82"/>
                    </a:lnTo>
                    <a:lnTo>
                      <a:pt x="366" y="82"/>
                    </a:lnTo>
                    <a:lnTo>
                      <a:pt x="366" y="84"/>
                    </a:lnTo>
                    <a:lnTo>
                      <a:pt x="367" y="84"/>
                    </a:lnTo>
                    <a:lnTo>
                      <a:pt x="367" y="82"/>
                    </a:lnTo>
                    <a:lnTo>
                      <a:pt x="367" y="84"/>
                    </a:lnTo>
                    <a:lnTo>
                      <a:pt x="367" y="85"/>
                    </a:lnTo>
                    <a:lnTo>
                      <a:pt x="369" y="85"/>
                    </a:lnTo>
                    <a:lnTo>
                      <a:pt x="371" y="84"/>
                    </a:lnTo>
                    <a:lnTo>
                      <a:pt x="373" y="84"/>
                    </a:lnTo>
                    <a:lnTo>
                      <a:pt x="373" y="85"/>
                    </a:lnTo>
                    <a:lnTo>
                      <a:pt x="371" y="85"/>
                    </a:lnTo>
                    <a:lnTo>
                      <a:pt x="371" y="87"/>
                    </a:lnTo>
                    <a:lnTo>
                      <a:pt x="373" y="87"/>
                    </a:lnTo>
                    <a:lnTo>
                      <a:pt x="374" y="85"/>
                    </a:lnTo>
                    <a:lnTo>
                      <a:pt x="376" y="87"/>
                    </a:lnTo>
                    <a:lnTo>
                      <a:pt x="376" y="89"/>
                    </a:lnTo>
                    <a:lnTo>
                      <a:pt x="376" y="90"/>
                    </a:lnTo>
                    <a:lnTo>
                      <a:pt x="376" y="89"/>
                    </a:lnTo>
                    <a:lnTo>
                      <a:pt x="378" y="89"/>
                    </a:lnTo>
                    <a:lnTo>
                      <a:pt x="378" y="90"/>
                    </a:lnTo>
                    <a:lnTo>
                      <a:pt x="379" y="90"/>
                    </a:lnTo>
                    <a:lnTo>
                      <a:pt x="381" y="89"/>
                    </a:lnTo>
                    <a:lnTo>
                      <a:pt x="381" y="90"/>
                    </a:lnTo>
                    <a:lnTo>
                      <a:pt x="381" y="92"/>
                    </a:lnTo>
                    <a:lnTo>
                      <a:pt x="381" y="94"/>
                    </a:lnTo>
                    <a:lnTo>
                      <a:pt x="379" y="97"/>
                    </a:lnTo>
                    <a:lnTo>
                      <a:pt x="378" y="99"/>
                    </a:lnTo>
                    <a:lnTo>
                      <a:pt x="374" y="104"/>
                    </a:lnTo>
                    <a:lnTo>
                      <a:pt x="373" y="106"/>
                    </a:lnTo>
                    <a:lnTo>
                      <a:pt x="373" y="107"/>
                    </a:lnTo>
                    <a:lnTo>
                      <a:pt x="371" y="109"/>
                    </a:lnTo>
                    <a:lnTo>
                      <a:pt x="369" y="113"/>
                    </a:lnTo>
                    <a:lnTo>
                      <a:pt x="367" y="116"/>
                    </a:lnTo>
                    <a:lnTo>
                      <a:pt x="366" y="116"/>
                    </a:lnTo>
                    <a:lnTo>
                      <a:pt x="364" y="119"/>
                    </a:lnTo>
                    <a:lnTo>
                      <a:pt x="362" y="124"/>
                    </a:lnTo>
                    <a:lnTo>
                      <a:pt x="361" y="124"/>
                    </a:lnTo>
                    <a:lnTo>
                      <a:pt x="359" y="128"/>
                    </a:lnTo>
                    <a:lnTo>
                      <a:pt x="361" y="128"/>
                    </a:lnTo>
                    <a:lnTo>
                      <a:pt x="361" y="130"/>
                    </a:lnTo>
                    <a:lnTo>
                      <a:pt x="362" y="130"/>
                    </a:lnTo>
                    <a:lnTo>
                      <a:pt x="364" y="130"/>
                    </a:lnTo>
                    <a:lnTo>
                      <a:pt x="366" y="131"/>
                    </a:lnTo>
                    <a:lnTo>
                      <a:pt x="367" y="131"/>
                    </a:lnTo>
                    <a:lnTo>
                      <a:pt x="367" y="130"/>
                    </a:lnTo>
                    <a:lnTo>
                      <a:pt x="369" y="130"/>
                    </a:lnTo>
                    <a:lnTo>
                      <a:pt x="371" y="130"/>
                    </a:lnTo>
                    <a:lnTo>
                      <a:pt x="371" y="128"/>
                    </a:lnTo>
                    <a:lnTo>
                      <a:pt x="373" y="128"/>
                    </a:lnTo>
                    <a:lnTo>
                      <a:pt x="373" y="130"/>
                    </a:lnTo>
                    <a:lnTo>
                      <a:pt x="374" y="130"/>
                    </a:lnTo>
                    <a:lnTo>
                      <a:pt x="374" y="131"/>
                    </a:lnTo>
                    <a:lnTo>
                      <a:pt x="376" y="131"/>
                    </a:lnTo>
                    <a:lnTo>
                      <a:pt x="376" y="133"/>
                    </a:lnTo>
                    <a:lnTo>
                      <a:pt x="378" y="133"/>
                    </a:lnTo>
                    <a:lnTo>
                      <a:pt x="378" y="135"/>
                    </a:lnTo>
                    <a:lnTo>
                      <a:pt x="378" y="136"/>
                    </a:lnTo>
                    <a:lnTo>
                      <a:pt x="379" y="136"/>
                    </a:lnTo>
                    <a:lnTo>
                      <a:pt x="381" y="138"/>
                    </a:lnTo>
                    <a:lnTo>
                      <a:pt x="381" y="140"/>
                    </a:lnTo>
                    <a:lnTo>
                      <a:pt x="383" y="140"/>
                    </a:lnTo>
                    <a:lnTo>
                      <a:pt x="383" y="141"/>
                    </a:lnTo>
                    <a:lnTo>
                      <a:pt x="384" y="141"/>
                    </a:lnTo>
                    <a:lnTo>
                      <a:pt x="384" y="143"/>
                    </a:lnTo>
                    <a:close/>
                    <a:moveTo>
                      <a:pt x="138" y="410"/>
                    </a:moveTo>
                    <a:lnTo>
                      <a:pt x="141" y="410"/>
                    </a:lnTo>
                    <a:lnTo>
                      <a:pt x="141" y="412"/>
                    </a:lnTo>
                    <a:lnTo>
                      <a:pt x="138" y="412"/>
                    </a:lnTo>
                    <a:lnTo>
                      <a:pt x="138" y="410"/>
                    </a:lnTo>
                    <a:close/>
                    <a:moveTo>
                      <a:pt x="16" y="216"/>
                    </a:moveTo>
                    <a:lnTo>
                      <a:pt x="17" y="216"/>
                    </a:lnTo>
                    <a:lnTo>
                      <a:pt x="17" y="220"/>
                    </a:lnTo>
                    <a:lnTo>
                      <a:pt x="16" y="220"/>
                    </a:lnTo>
                    <a:lnTo>
                      <a:pt x="16" y="216"/>
                    </a:lnTo>
                    <a:close/>
                    <a:moveTo>
                      <a:pt x="174" y="487"/>
                    </a:moveTo>
                    <a:lnTo>
                      <a:pt x="175" y="487"/>
                    </a:lnTo>
                    <a:lnTo>
                      <a:pt x="175" y="489"/>
                    </a:lnTo>
                    <a:lnTo>
                      <a:pt x="174" y="489"/>
                    </a:lnTo>
                    <a:lnTo>
                      <a:pt x="174" y="487"/>
                    </a:lnTo>
                    <a:close/>
                    <a:moveTo>
                      <a:pt x="165" y="472"/>
                    </a:moveTo>
                    <a:lnTo>
                      <a:pt x="167" y="472"/>
                    </a:lnTo>
                    <a:lnTo>
                      <a:pt x="167" y="473"/>
                    </a:lnTo>
                    <a:lnTo>
                      <a:pt x="165" y="473"/>
                    </a:lnTo>
                    <a:lnTo>
                      <a:pt x="165" y="472"/>
                    </a:lnTo>
                    <a:close/>
                    <a:moveTo>
                      <a:pt x="36" y="116"/>
                    </a:moveTo>
                    <a:lnTo>
                      <a:pt x="38" y="116"/>
                    </a:lnTo>
                    <a:lnTo>
                      <a:pt x="36" y="116"/>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4" name="Freeform 52">
                <a:extLst>
                  <a:ext uri="{FF2B5EF4-FFF2-40B4-BE49-F238E27FC236}">
                    <a16:creationId xmlns:a16="http://schemas.microsoft.com/office/drawing/2014/main" id="{1B66D035-6CE8-AE7C-64FF-C9A61FD464A2}"/>
                  </a:ext>
                </a:extLst>
              </p:cNvPr>
              <p:cNvSpPr>
                <a:spLocks noEditPoints="1"/>
              </p:cNvSpPr>
              <p:nvPr/>
            </p:nvSpPr>
            <p:spPr bwMode="auto">
              <a:xfrm>
                <a:off x="5769041" y="2812899"/>
                <a:ext cx="3526" cy="8224"/>
              </a:xfrm>
              <a:custGeom>
                <a:avLst/>
                <a:gdLst>
                  <a:gd name="T0" fmla="*/ 10 w 12"/>
                  <a:gd name="T1" fmla="*/ 0 h 28"/>
                  <a:gd name="T2" fmla="*/ 12 w 12"/>
                  <a:gd name="T3" fmla="*/ 2 h 28"/>
                  <a:gd name="T4" fmla="*/ 12 w 12"/>
                  <a:gd name="T5" fmla="*/ 4 h 28"/>
                  <a:gd name="T6" fmla="*/ 12 w 12"/>
                  <a:gd name="T7" fmla="*/ 6 h 28"/>
                  <a:gd name="T8" fmla="*/ 10 w 12"/>
                  <a:gd name="T9" fmla="*/ 6 h 28"/>
                  <a:gd name="T10" fmla="*/ 10 w 12"/>
                  <a:gd name="T11" fmla="*/ 7 h 28"/>
                  <a:gd name="T12" fmla="*/ 10 w 12"/>
                  <a:gd name="T13" fmla="*/ 9 h 28"/>
                  <a:gd name="T14" fmla="*/ 8 w 12"/>
                  <a:gd name="T15" fmla="*/ 9 h 28"/>
                  <a:gd name="T16" fmla="*/ 7 w 12"/>
                  <a:gd name="T17" fmla="*/ 9 h 28"/>
                  <a:gd name="T18" fmla="*/ 7 w 12"/>
                  <a:gd name="T19" fmla="*/ 7 h 28"/>
                  <a:gd name="T20" fmla="*/ 5 w 12"/>
                  <a:gd name="T21" fmla="*/ 6 h 28"/>
                  <a:gd name="T22" fmla="*/ 5 w 12"/>
                  <a:gd name="T23" fmla="*/ 4 h 28"/>
                  <a:gd name="T24" fmla="*/ 7 w 12"/>
                  <a:gd name="T25" fmla="*/ 4 h 28"/>
                  <a:gd name="T26" fmla="*/ 7 w 12"/>
                  <a:gd name="T27" fmla="*/ 2 h 28"/>
                  <a:gd name="T28" fmla="*/ 8 w 12"/>
                  <a:gd name="T29" fmla="*/ 0 h 28"/>
                  <a:gd name="T30" fmla="*/ 10 w 12"/>
                  <a:gd name="T31" fmla="*/ 0 h 28"/>
                  <a:gd name="T32" fmla="*/ 5 w 12"/>
                  <a:gd name="T33" fmla="*/ 11 h 28"/>
                  <a:gd name="T34" fmla="*/ 8 w 12"/>
                  <a:gd name="T35" fmla="*/ 11 h 28"/>
                  <a:gd name="T36" fmla="*/ 8 w 12"/>
                  <a:gd name="T37" fmla="*/ 14 h 28"/>
                  <a:gd name="T38" fmla="*/ 5 w 12"/>
                  <a:gd name="T39" fmla="*/ 14 h 28"/>
                  <a:gd name="T40" fmla="*/ 5 w 12"/>
                  <a:gd name="T41" fmla="*/ 11 h 28"/>
                  <a:gd name="T42" fmla="*/ 0 w 12"/>
                  <a:gd name="T43" fmla="*/ 26 h 28"/>
                  <a:gd name="T44" fmla="*/ 1 w 12"/>
                  <a:gd name="T45" fmla="*/ 26 h 28"/>
                  <a:gd name="T46" fmla="*/ 1 w 12"/>
                  <a:gd name="T47" fmla="*/ 28 h 28"/>
                  <a:gd name="T48" fmla="*/ 0 w 12"/>
                  <a:gd name="T49" fmla="*/ 28 h 28"/>
                  <a:gd name="T50" fmla="*/ 0 w 12"/>
                  <a:gd name="T51" fmla="*/ 26 h 28"/>
                  <a:gd name="T52" fmla="*/ 3 w 12"/>
                  <a:gd name="T53" fmla="*/ 23 h 28"/>
                  <a:gd name="T54" fmla="*/ 5 w 12"/>
                  <a:gd name="T55" fmla="*/ 23 h 28"/>
                  <a:gd name="T56" fmla="*/ 5 w 12"/>
                  <a:gd name="T57" fmla="*/ 24 h 28"/>
                  <a:gd name="T58" fmla="*/ 3 w 12"/>
                  <a:gd name="T59" fmla="*/ 24 h 28"/>
                  <a:gd name="T60" fmla="*/ 3 w 12"/>
                  <a:gd name="T61" fmla="*/ 23 h 28"/>
                  <a:gd name="T62" fmla="*/ 8 w 12"/>
                  <a:gd name="T63" fmla="*/ 17 h 28"/>
                  <a:gd name="T64" fmla="*/ 10 w 12"/>
                  <a:gd name="T65" fmla="*/ 17 h 28"/>
                  <a:gd name="T66" fmla="*/ 8 w 12"/>
                  <a:gd name="T67" fmla="*/ 17 h 28"/>
                  <a:gd name="T68" fmla="*/ 1 w 12"/>
                  <a:gd name="T69" fmla="*/ 24 h 28"/>
                  <a:gd name="T70" fmla="*/ 1 w 12"/>
                  <a:gd name="T71" fmla="*/ 26 h 28"/>
                  <a:gd name="T72" fmla="*/ 1 w 12"/>
                  <a:gd name="T73" fmla="*/ 24 h 28"/>
                  <a:gd name="T74" fmla="*/ 10 w 12"/>
                  <a:gd name="T75" fmla="*/ 14 h 28"/>
                  <a:gd name="T76" fmla="*/ 10 w 12"/>
                  <a:gd name="T77" fmla="*/ 16 h 28"/>
                  <a:gd name="T78" fmla="*/ 10 w 12"/>
                  <a:gd name="T79"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 h="28">
                    <a:moveTo>
                      <a:pt x="10" y="0"/>
                    </a:moveTo>
                    <a:lnTo>
                      <a:pt x="12" y="2"/>
                    </a:lnTo>
                    <a:lnTo>
                      <a:pt x="12" y="4"/>
                    </a:lnTo>
                    <a:lnTo>
                      <a:pt x="12" y="6"/>
                    </a:lnTo>
                    <a:lnTo>
                      <a:pt x="10" y="6"/>
                    </a:lnTo>
                    <a:lnTo>
                      <a:pt x="10" y="7"/>
                    </a:lnTo>
                    <a:lnTo>
                      <a:pt x="10" y="9"/>
                    </a:lnTo>
                    <a:lnTo>
                      <a:pt x="8" y="9"/>
                    </a:lnTo>
                    <a:lnTo>
                      <a:pt x="7" y="9"/>
                    </a:lnTo>
                    <a:lnTo>
                      <a:pt x="7" y="7"/>
                    </a:lnTo>
                    <a:lnTo>
                      <a:pt x="5" y="6"/>
                    </a:lnTo>
                    <a:lnTo>
                      <a:pt x="5" y="4"/>
                    </a:lnTo>
                    <a:lnTo>
                      <a:pt x="7" y="4"/>
                    </a:lnTo>
                    <a:lnTo>
                      <a:pt x="7" y="2"/>
                    </a:lnTo>
                    <a:lnTo>
                      <a:pt x="8" y="0"/>
                    </a:lnTo>
                    <a:lnTo>
                      <a:pt x="10" y="0"/>
                    </a:lnTo>
                    <a:close/>
                    <a:moveTo>
                      <a:pt x="5" y="11"/>
                    </a:moveTo>
                    <a:lnTo>
                      <a:pt x="8" y="11"/>
                    </a:lnTo>
                    <a:lnTo>
                      <a:pt x="8" y="14"/>
                    </a:lnTo>
                    <a:lnTo>
                      <a:pt x="5" y="14"/>
                    </a:lnTo>
                    <a:lnTo>
                      <a:pt x="5" y="11"/>
                    </a:lnTo>
                    <a:close/>
                    <a:moveTo>
                      <a:pt x="0" y="26"/>
                    </a:moveTo>
                    <a:lnTo>
                      <a:pt x="1" y="26"/>
                    </a:lnTo>
                    <a:lnTo>
                      <a:pt x="1" y="28"/>
                    </a:lnTo>
                    <a:lnTo>
                      <a:pt x="0" y="28"/>
                    </a:lnTo>
                    <a:lnTo>
                      <a:pt x="0" y="26"/>
                    </a:lnTo>
                    <a:close/>
                    <a:moveTo>
                      <a:pt x="3" y="23"/>
                    </a:moveTo>
                    <a:lnTo>
                      <a:pt x="5" y="23"/>
                    </a:lnTo>
                    <a:lnTo>
                      <a:pt x="5" y="24"/>
                    </a:lnTo>
                    <a:lnTo>
                      <a:pt x="3" y="24"/>
                    </a:lnTo>
                    <a:lnTo>
                      <a:pt x="3" y="23"/>
                    </a:lnTo>
                    <a:close/>
                    <a:moveTo>
                      <a:pt x="8" y="17"/>
                    </a:moveTo>
                    <a:lnTo>
                      <a:pt x="10" y="17"/>
                    </a:lnTo>
                    <a:lnTo>
                      <a:pt x="8" y="17"/>
                    </a:lnTo>
                    <a:close/>
                    <a:moveTo>
                      <a:pt x="1" y="24"/>
                    </a:moveTo>
                    <a:lnTo>
                      <a:pt x="1" y="26"/>
                    </a:lnTo>
                    <a:lnTo>
                      <a:pt x="1" y="24"/>
                    </a:lnTo>
                    <a:close/>
                    <a:moveTo>
                      <a:pt x="10" y="14"/>
                    </a:moveTo>
                    <a:lnTo>
                      <a:pt x="10" y="16"/>
                    </a:lnTo>
                    <a:lnTo>
                      <a:pt x="10" y="1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6" name="Freeform 54">
                <a:extLst>
                  <a:ext uri="{FF2B5EF4-FFF2-40B4-BE49-F238E27FC236}">
                    <a16:creationId xmlns:a16="http://schemas.microsoft.com/office/drawing/2014/main" id="{8890AFAC-519C-3C24-CD06-1EC964D53C98}"/>
                  </a:ext>
                </a:extLst>
              </p:cNvPr>
              <p:cNvSpPr>
                <a:spLocks noEditPoints="1"/>
              </p:cNvSpPr>
              <p:nvPr/>
            </p:nvSpPr>
            <p:spPr bwMode="auto">
              <a:xfrm>
                <a:off x="5802525" y="2886916"/>
                <a:ext cx="40239" cy="41415"/>
              </a:xfrm>
              <a:custGeom>
                <a:avLst/>
                <a:gdLst>
                  <a:gd name="T0" fmla="*/ 134 w 137"/>
                  <a:gd name="T1" fmla="*/ 19 h 141"/>
                  <a:gd name="T2" fmla="*/ 127 w 137"/>
                  <a:gd name="T3" fmla="*/ 27 h 141"/>
                  <a:gd name="T4" fmla="*/ 120 w 137"/>
                  <a:gd name="T5" fmla="*/ 38 h 141"/>
                  <a:gd name="T6" fmla="*/ 124 w 137"/>
                  <a:gd name="T7" fmla="*/ 50 h 141"/>
                  <a:gd name="T8" fmla="*/ 124 w 137"/>
                  <a:gd name="T9" fmla="*/ 60 h 141"/>
                  <a:gd name="T10" fmla="*/ 125 w 137"/>
                  <a:gd name="T11" fmla="*/ 68 h 141"/>
                  <a:gd name="T12" fmla="*/ 132 w 137"/>
                  <a:gd name="T13" fmla="*/ 75 h 141"/>
                  <a:gd name="T14" fmla="*/ 137 w 137"/>
                  <a:gd name="T15" fmla="*/ 80 h 141"/>
                  <a:gd name="T16" fmla="*/ 136 w 137"/>
                  <a:gd name="T17" fmla="*/ 92 h 141"/>
                  <a:gd name="T18" fmla="*/ 131 w 137"/>
                  <a:gd name="T19" fmla="*/ 97 h 141"/>
                  <a:gd name="T20" fmla="*/ 131 w 137"/>
                  <a:gd name="T21" fmla="*/ 106 h 141"/>
                  <a:gd name="T22" fmla="*/ 127 w 137"/>
                  <a:gd name="T23" fmla="*/ 116 h 141"/>
                  <a:gd name="T24" fmla="*/ 120 w 137"/>
                  <a:gd name="T25" fmla="*/ 123 h 141"/>
                  <a:gd name="T26" fmla="*/ 117 w 137"/>
                  <a:gd name="T27" fmla="*/ 126 h 141"/>
                  <a:gd name="T28" fmla="*/ 108 w 137"/>
                  <a:gd name="T29" fmla="*/ 121 h 141"/>
                  <a:gd name="T30" fmla="*/ 102 w 137"/>
                  <a:gd name="T31" fmla="*/ 118 h 141"/>
                  <a:gd name="T32" fmla="*/ 93 w 137"/>
                  <a:gd name="T33" fmla="*/ 119 h 141"/>
                  <a:gd name="T34" fmla="*/ 85 w 137"/>
                  <a:gd name="T35" fmla="*/ 121 h 141"/>
                  <a:gd name="T36" fmla="*/ 78 w 137"/>
                  <a:gd name="T37" fmla="*/ 121 h 141"/>
                  <a:gd name="T38" fmla="*/ 69 w 137"/>
                  <a:gd name="T39" fmla="*/ 119 h 141"/>
                  <a:gd name="T40" fmla="*/ 66 w 137"/>
                  <a:gd name="T41" fmla="*/ 124 h 141"/>
                  <a:gd name="T42" fmla="*/ 71 w 137"/>
                  <a:gd name="T43" fmla="*/ 131 h 141"/>
                  <a:gd name="T44" fmla="*/ 71 w 137"/>
                  <a:gd name="T45" fmla="*/ 141 h 141"/>
                  <a:gd name="T46" fmla="*/ 59 w 137"/>
                  <a:gd name="T47" fmla="*/ 138 h 141"/>
                  <a:gd name="T48" fmla="*/ 51 w 137"/>
                  <a:gd name="T49" fmla="*/ 136 h 141"/>
                  <a:gd name="T50" fmla="*/ 44 w 137"/>
                  <a:gd name="T51" fmla="*/ 129 h 141"/>
                  <a:gd name="T52" fmla="*/ 37 w 137"/>
                  <a:gd name="T53" fmla="*/ 121 h 141"/>
                  <a:gd name="T54" fmla="*/ 34 w 137"/>
                  <a:gd name="T55" fmla="*/ 114 h 141"/>
                  <a:gd name="T56" fmla="*/ 29 w 137"/>
                  <a:gd name="T57" fmla="*/ 107 h 141"/>
                  <a:gd name="T58" fmla="*/ 30 w 137"/>
                  <a:gd name="T59" fmla="*/ 102 h 141"/>
                  <a:gd name="T60" fmla="*/ 27 w 137"/>
                  <a:gd name="T61" fmla="*/ 99 h 141"/>
                  <a:gd name="T62" fmla="*/ 27 w 137"/>
                  <a:gd name="T63" fmla="*/ 90 h 141"/>
                  <a:gd name="T64" fmla="*/ 22 w 137"/>
                  <a:gd name="T65" fmla="*/ 90 h 141"/>
                  <a:gd name="T66" fmla="*/ 13 w 137"/>
                  <a:gd name="T67" fmla="*/ 85 h 141"/>
                  <a:gd name="T68" fmla="*/ 8 w 137"/>
                  <a:gd name="T69" fmla="*/ 80 h 141"/>
                  <a:gd name="T70" fmla="*/ 3 w 137"/>
                  <a:gd name="T71" fmla="*/ 72 h 141"/>
                  <a:gd name="T72" fmla="*/ 1 w 137"/>
                  <a:gd name="T73" fmla="*/ 61 h 141"/>
                  <a:gd name="T74" fmla="*/ 5 w 137"/>
                  <a:gd name="T75" fmla="*/ 55 h 141"/>
                  <a:gd name="T76" fmla="*/ 8 w 137"/>
                  <a:gd name="T77" fmla="*/ 44 h 141"/>
                  <a:gd name="T78" fmla="*/ 8 w 137"/>
                  <a:gd name="T79" fmla="*/ 38 h 141"/>
                  <a:gd name="T80" fmla="*/ 17 w 137"/>
                  <a:gd name="T81" fmla="*/ 34 h 141"/>
                  <a:gd name="T82" fmla="*/ 25 w 137"/>
                  <a:gd name="T83" fmla="*/ 34 h 141"/>
                  <a:gd name="T84" fmla="*/ 29 w 137"/>
                  <a:gd name="T85" fmla="*/ 31 h 141"/>
                  <a:gd name="T86" fmla="*/ 27 w 137"/>
                  <a:gd name="T87" fmla="*/ 26 h 141"/>
                  <a:gd name="T88" fmla="*/ 29 w 137"/>
                  <a:gd name="T89" fmla="*/ 15 h 141"/>
                  <a:gd name="T90" fmla="*/ 34 w 137"/>
                  <a:gd name="T91" fmla="*/ 4 h 141"/>
                  <a:gd name="T92" fmla="*/ 42 w 137"/>
                  <a:gd name="T93" fmla="*/ 2 h 141"/>
                  <a:gd name="T94" fmla="*/ 54 w 137"/>
                  <a:gd name="T95" fmla="*/ 4 h 141"/>
                  <a:gd name="T96" fmla="*/ 66 w 137"/>
                  <a:gd name="T97" fmla="*/ 7 h 141"/>
                  <a:gd name="T98" fmla="*/ 73 w 137"/>
                  <a:gd name="T99" fmla="*/ 2 h 141"/>
                  <a:gd name="T100" fmla="*/ 86 w 137"/>
                  <a:gd name="T101" fmla="*/ 2 h 141"/>
                  <a:gd name="T102" fmla="*/ 98 w 137"/>
                  <a:gd name="T103" fmla="*/ 4 h 141"/>
                  <a:gd name="T104" fmla="*/ 100 w 137"/>
                  <a:gd name="T105" fmla="*/ 2 h 141"/>
                  <a:gd name="T106" fmla="*/ 112 w 137"/>
                  <a:gd name="T107" fmla="*/ 2 h 141"/>
                  <a:gd name="T108" fmla="*/ 124 w 137"/>
                  <a:gd name="T109" fmla="*/ 4 h 141"/>
                  <a:gd name="T110" fmla="*/ 136 w 137"/>
                  <a:gd name="T111" fmla="*/ 5 h 141"/>
                  <a:gd name="T112" fmla="*/ 34 w 137"/>
                  <a:gd name="T113" fmla="*/ 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7" h="141">
                    <a:moveTo>
                      <a:pt x="137" y="10"/>
                    </a:moveTo>
                    <a:lnTo>
                      <a:pt x="137" y="12"/>
                    </a:lnTo>
                    <a:lnTo>
                      <a:pt x="137" y="14"/>
                    </a:lnTo>
                    <a:lnTo>
                      <a:pt x="137" y="15"/>
                    </a:lnTo>
                    <a:lnTo>
                      <a:pt x="137" y="17"/>
                    </a:lnTo>
                    <a:lnTo>
                      <a:pt x="136" y="17"/>
                    </a:lnTo>
                    <a:lnTo>
                      <a:pt x="136" y="19"/>
                    </a:lnTo>
                    <a:lnTo>
                      <a:pt x="134" y="19"/>
                    </a:lnTo>
                    <a:lnTo>
                      <a:pt x="134" y="21"/>
                    </a:lnTo>
                    <a:lnTo>
                      <a:pt x="132" y="21"/>
                    </a:lnTo>
                    <a:lnTo>
                      <a:pt x="132" y="22"/>
                    </a:lnTo>
                    <a:lnTo>
                      <a:pt x="131" y="24"/>
                    </a:lnTo>
                    <a:lnTo>
                      <a:pt x="129" y="24"/>
                    </a:lnTo>
                    <a:lnTo>
                      <a:pt x="129" y="26"/>
                    </a:lnTo>
                    <a:lnTo>
                      <a:pt x="127" y="26"/>
                    </a:lnTo>
                    <a:lnTo>
                      <a:pt x="127" y="27"/>
                    </a:lnTo>
                    <a:lnTo>
                      <a:pt x="125" y="29"/>
                    </a:lnTo>
                    <a:lnTo>
                      <a:pt x="125" y="31"/>
                    </a:lnTo>
                    <a:lnTo>
                      <a:pt x="124" y="31"/>
                    </a:lnTo>
                    <a:lnTo>
                      <a:pt x="124" y="32"/>
                    </a:lnTo>
                    <a:lnTo>
                      <a:pt x="122" y="34"/>
                    </a:lnTo>
                    <a:lnTo>
                      <a:pt x="122" y="36"/>
                    </a:lnTo>
                    <a:lnTo>
                      <a:pt x="122" y="38"/>
                    </a:lnTo>
                    <a:lnTo>
                      <a:pt x="120" y="38"/>
                    </a:lnTo>
                    <a:lnTo>
                      <a:pt x="122" y="39"/>
                    </a:lnTo>
                    <a:lnTo>
                      <a:pt x="122" y="41"/>
                    </a:lnTo>
                    <a:lnTo>
                      <a:pt x="122" y="43"/>
                    </a:lnTo>
                    <a:lnTo>
                      <a:pt x="122" y="44"/>
                    </a:lnTo>
                    <a:lnTo>
                      <a:pt x="122" y="46"/>
                    </a:lnTo>
                    <a:lnTo>
                      <a:pt x="122" y="48"/>
                    </a:lnTo>
                    <a:lnTo>
                      <a:pt x="124" y="48"/>
                    </a:lnTo>
                    <a:lnTo>
                      <a:pt x="124" y="50"/>
                    </a:lnTo>
                    <a:lnTo>
                      <a:pt x="122" y="50"/>
                    </a:lnTo>
                    <a:lnTo>
                      <a:pt x="122" y="51"/>
                    </a:lnTo>
                    <a:lnTo>
                      <a:pt x="122" y="53"/>
                    </a:lnTo>
                    <a:lnTo>
                      <a:pt x="122" y="55"/>
                    </a:lnTo>
                    <a:lnTo>
                      <a:pt x="122" y="56"/>
                    </a:lnTo>
                    <a:lnTo>
                      <a:pt x="124" y="56"/>
                    </a:lnTo>
                    <a:lnTo>
                      <a:pt x="124" y="58"/>
                    </a:lnTo>
                    <a:lnTo>
                      <a:pt x="124" y="60"/>
                    </a:lnTo>
                    <a:lnTo>
                      <a:pt x="124" y="61"/>
                    </a:lnTo>
                    <a:lnTo>
                      <a:pt x="124" y="63"/>
                    </a:lnTo>
                    <a:lnTo>
                      <a:pt x="125" y="63"/>
                    </a:lnTo>
                    <a:lnTo>
                      <a:pt x="127" y="63"/>
                    </a:lnTo>
                    <a:lnTo>
                      <a:pt x="127" y="65"/>
                    </a:lnTo>
                    <a:lnTo>
                      <a:pt x="125" y="65"/>
                    </a:lnTo>
                    <a:lnTo>
                      <a:pt x="125" y="67"/>
                    </a:lnTo>
                    <a:lnTo>
                      <a:pt x="125" y="68"/>
                    </a:lnTo>
                    <a:lnTo>
                      <a:pt x="127" y="68"/>
                    </a:lnTo>
                    <a:lnTo>
                      <a:pt x="127" y="70"/>
                    </a:lnTo>
                    <a:lnTo>
                      <a:pt x="127" y="72"/>
                    </a:lnTo>
                    <a:lnTo>
                      <a:pt x="129" y="72"/>
                    </a:lnTo>
                    <a:lnTo>
                      <a:pt x="129" y="73"/>
                    </a:lnTo>
                    <a:lnTo>
                      <a:pt x="131" y="73"/>
                    </a:lnTo>
                    <a:lnTo>
                      <a:pt x="131" y="75"/>
                    </a:lnTo>
                    <a:lnTo>
                      <a:pt x="132" y="75"/>
                    </a:lnTo>
                    <a:lnTo>
                      <a:pt x="134" y="75"/>
                    </a:lnTo>
                    <a:lnTo>
                      <a:pt x="134" y="77"/>
                    </a:lnTo>
                    <a:lnTo>
                      <a:pt x="134" y="78"/>
                    </a:lnTo>
                    <a:lnTo>
                      <a:pt x="134" y="80"/>
                    </a:lnTo>
                    <a:lnTo>
                      <a:pt x="136" y="80"/>
                    </a:lnTo>
                    <a:lnTo>
                      <a:pt x="136" y="82"/>
                    </a:lnTo>
                    <a:lnTo>
                      <a:pt x="136" y="80"/>
                    </a:lnTo>
                    <a:lnTo>
                      <a:pt x="137" y="80"/>
                    </a:lnTo>
                    <a:lnTo>
                      <a:pt x="137" y="82"/>
                    </a:lnTo>
                    <a:lnTo>
                      <a:pt x="137" y="84"/>
                    </a:lnTo>
                    <a:lnTo>
                      <a:pt x="137" y="85"/>
                    </a:lnTo>
                    <a:lnTo>
                      <a:pt x="137" y="87"/>
                    </a:lnTo>
                    <a:lnTo>
                      <a:pt x="137" y="89"/>
                    </a:lnTo>
                    <a:lnTo>
                      <a:pt x="136" y="89"/>
                    </a:lnTo>
                    <a:lnTo>
                      <a:pt x="136" y="90"/>
                    </a:lnTo>
                    <a:lnTo>
                      <a:pt x="136" y="92"/>
                    </a:lnTo>
                    <a:lnTo>
                      <a:pt x="134" y="92"/>
                    </a:lnTo>
                    <a:lnTo>
                      <a:pt x="132" y="92"/>
                    </a:lnTo>
                    <a:lnTo>
                      <a:pt x="132" y="94"/>
                    </a:lnTo>
                    <a:lnTo>
                      <a:pt x="132" y="95"/>
                    </a:lnTo>
                    <a:lnTo>
                      <a:pt x="131" y="95"/>
                    </a:lnTo>
                    <a:lnTo>
                      <a:pt x="131" y="97"/>
                    </a:lnTo>
                    <a:lnTo>
                      <a:pt x="131" y="99"/>
                    </a:lnTo>
                    <a:lnTo>
                      <a:pt x="131" y="97"/>
                    </a:lnTo>
                    <a:lnTo>
                      <a:pt x="131" y="99"/>
                    </a:lnTo>
                    <a:lnTo>
                      <a:pt x="131" y="101"/>
                    </a:lnTo>
                    <a:lnTo>
                      <a:pt x="131" y="102"/>
                    </a:lnTo>
                    <a:lnTo>
                      <a:pt x="132" y="102"/>
                    </a:lnTo>
                    <a:lnTo>
                      <a:pt x="131" y="102"/>
                    </a:lnTo>
                    <a:lnTo>
                      <a:pt x="132" y="104"/>
                    </a:lnTo>
                    <a:lnTo>
                      <a:pt x="131" y="104"/>
                    </a:lnTo>
                    <a:lnTo>
                      <a:pt x="131" y="106"/>
                    </a:lnTo>
                    <a:lnTo>
                      <a:pt x="131" y="107"/>
                    </a:lnTo>
                    <a:lnTo>
                      <a:pt x="131" y="109"/>
                    </a:lnTo>
                    <a:lnTo>
                      <a:pt x="131" y="111"/>
                    </a:lnTo>
                    <a:lnTo>
                      <a:pt x="129" y="111"/>
                    </a:lnTo>
                    <a:lnTo>
                      <a:pt x="129" y="112"/>
                    </a:lnTo>
                    <a:lnTo>
                      <a:pt x="127" y="112"/>
                    </a:lnTo>
                    <a:lnTo>
                      <a:pt x="127" y="114"/>
                    </a:lnTo>
                    <a:lnTo>
                      <a:pt x="127" y="116"/>
                    </a:lnTo>
                    <a:lnTo>
                      <a:pt x="125" y="116"/>
                    </a:lnTo>
                    <a:lnTo>
                      <a:pt x="125" y="118"/>
                    </a:lnTo>
                    <a:lnTo>
                      <a:pt x="125" y="119"/>
                    </a:lnTo>
                    <a:lnTo>
                      <a:pt x="124" y="119"/>
                    </a:lnTo>
                    <a:lnTo>
                      <a:pt x="124" y="121"/>
                    </a:lnTo>
                    <a:lnTo>
                      <a:pt x="122" y="121"/>
                    </a:lnTo>
                    <a:lnTo>
                      <a:pt x="122" y="123"/>
                    </a:lnTo>
                    <a:lnTo>
                      <a:pt x="120" y="123"/>
                    </a:lnTo>
                    <a:lnTo>
                      <a:pt x="120" y="124"/>
                    </a:lnTo>
                    <a:lnTo>
                      <a:pt x="120" y="126"/>
                    </a:lnTo>
                    <a:lnTo>
                      <a:pt x="120" y="124"/>
                    </a:lnTo>
                    <a:lnTo>
                      <a:pt x="119" y="126"/>
                    </a:lnTo>
                    <a:lnTo>
                      <a:pt x="120" y="126"/>
                    </a:lnTo>
                    <a:lnTo>
                      <a:pt x="119" y="128"/>
                    </a:lnTo>
                    <a:lnTo>
                      <a:pt x="119" y="126"/>
                    </a:lnTo>
                    <a:lnTo>
                      <a:pt x="117" y="126"/>
                    </a:lnTo>
                    <a:lnTo>
                      <a:pt x="117" y="124"/>
                    </a:lnTo>
                    <a:lnTo>
                      <a:pt x="115" y="124"/>
                    </a:lnTo>
                    <a:lnTo>
                      <a:pt x="114" y="124"/>
                    </a:lnTo>
                    <a:lnTo>
                      <a:pt x="114" y="123"/>
                    </a:lnTo>
                    <a:lnTo>
                      <a:pt x="114" y="121"/>
                    </a:lnTo>
                    <a:lnTo>
                      <a:pt x="112" y="121"/>
                    </a:lnTo>
                    <a:lnTo>
                      <a:pt x="110" y="121"/>
                    </a:lnTo>
                    <a:lnTo>
                      <a:pt x="108" y="121"/>
                    </a:lnTo>
                    <a:lnTo>
                      <a:pt x="107" y="121"/>
                    </a:lnTo>
                    <a:lnTo>
                      <a:pt x="107" y="119"/>
                    </a:lnTo>
                    <a:lnTo>
                      <a:pt x="105" y="119"/>
                    </a:lnTo>
                    <a:lnTo>
                      <a:pt x="105" y="118"/>
                    </a:lnTo>
                    <a:lnTo>
                      <a:pt x="105" y="116"/>
                    </a:lnTo>
                    <a:lnTo>
                      <a:pt x="103" y="116"/>
                    </a:lnTo>
                    <a:lnTo>
                      <a:pt x="103" y="118"/>
                    </a:lnTo>
                    <a:lnTo>
                      <a:pt x="102" y="118"/>
                    </a:lnTo>
                    <a:lnTo>
                      <a:pt x="100" y="118"/>
                    </a:lnTo>
                    <a:lnTo>
                      <a:pt x="100" y="119"/>
                    </a:lnTo>
                    <a:lnTo>
                      <a:pt x="100" y="118"/>
                    </a:lnTo>
                    <a:lnTo>
                      <a:pt x="98" y="118"/>
                    </a:lnTo>
                    <a:lnTo>
                      <a:pt x="97" y="118"/>
                    </a:lnTo>
                    <a:lnTo>
                      <a:pt x="97" y="119"/>
                    </a:lnTo>
                    <a:lnTo>
                      <a:pt x="95" y="119"/>
                    </a:lnTo>
                    <a:lnTo>
                      <a:pt x="93" y="119"/>
                    </a:lnTo>
                    <a:lnTo>
                      <a:pt x="91" y="119"/>
                    </a:lnTo>
                    <a:lnTo>
                      <a:pt x="91" y="121"/>
                    </a:lnTo>
                    <a:lnTo>
                      <a:pt x="91" y="123"/>
                    </a:lnTo>
                    <a:lnTo>
                      <a:pt x="90" y="123"/>
                    </a:lnTo>
                    <a:lnTo>
                      <a:pt x="90" y="121"/>
                    </a:lnTo>
                    <a:lnTo>
                      <a:pt x="88" y="121"/>
                    </a:lnTo>
                    <a:lnTo>
                      <a:pt x="86" y="121"/>
                    </a:lnTo>
                    <a:lnTo>
                      <a:pt x="85" y="121"/>
                    </a:lnTo>
                    <a:lnTo>
                      <a:pt x="85" y="123"/>
                    </a:lnTo>
                    <a:lnTo>
                      <a:pt x="85" y="121"/>
                    </a:lnTo>
                    <a:lnTo>
                      <a:pt x="83" y="121"/>
                    </a:lnTo>
                    <a:lnTo>
                      <a:pt x="83" y="123"/>
                    </a:lnTo>
                    <a:lnTo>
                      <a:pt x="81" y="123"/>
                    </a:lnTo>
                    <a:lnTo>
                      <a:pt x="80" y="123"/>
                    </a:lnTo>
                    <a:lnTo>
                      <a:pt x="78" y="123"/>
                    </a:lnTo>
                    <a:lnTo>
                      <a:pt x="78" y="121"/>
                    </a:lnTo>
                    <a:lnTo>
                      <a:pt x="76" y="121"/>
                    </a:lnTo>
                    <a:lnTo>
                      <a:pt x="74" y="121"/>
                    </a:lnTo>
                    <a:lnTo>
                      <a:pt x="74" y="119"/>
                    </a:lnTo>
                    <a:lnTo>
                      <a:pt x="73" y="119"/>
                    </a:lnTo>
                    <a:lnTo>
                      <a:pt x="73" y="118"/>
                    </a:lnTo>
                    <a:lnTo>
                      <a:pt x="71" y="118"/>
                    </a:lnTo>
                    <a:lnTo>
                      <a:pt x="71" y="119"/>
                    </a:lnTo>
                    <a:lnTo>
                      <a:pt x="69" y="119"/>
                    </a:lnTo>
                    <a:lnTo>
                      <a:pt x="71" y="119"/>
                    </a:lnTo>
                    <a:lnTo>
                      <a:pt x="69" y="119"/>
                    </a:lnTo>
                    <a:lnTo>
                      <a:pt x="69" y="121"/>
                    </a:lnTo>
                    <a:lnTo>
                      <a:pt x="69" y="123"/>
                    </a:lnTo>
                    <a:lnTo>
                      <a:pt x="68" y="124"/>
                    </a:lnTo>
                    <a:lnTo>
                      <a:pt x="69" y="124"/>
                    </a:lnTo>
                    <a:lnTo>
                      <a:pt x="68" y="124"/>
                    </a:lnTo>
                    <a:lnTo>
                      <a:pt x="66" y="124"/>
                    </a:lnTo>
                    <a:lnTo>
                      <a:pt x="66" y="126"/>
                    </a:lnTo>
                    <a:lnTo>
                      <a:pt x="64" y="128"/>
                    </a:lnTo>
                    <a:lnTo>
                      <a:pt x="66" y="128"/>
                    </a:lnTo>
                    <a:lnTo>
                      <a:pt x="68" y="128"/>
                    </a:lnTo>
                    <a:lnTo>
                      <a:pt x="68" y="129"/>
                    </a:lnTo>
                    <a:lnTo>
                      <a:pt x="68" y="131"/>
                    </a:lnTo>
                    <a:lnTo>
                      <a:pt x="69" y="131"/>
                    </a:lnTo>
                    <a:lnTo>
                      <a:pt x="71" y="131"/>
                    </a:lnTo>
                    <a:lnTo>
                      <a:pt x="71" y="133"/>
                    </a:lnTo>
                    <a:lnTo>
                      <a:pt x="73" y="133"/>
                    </a:lnTo>
                    <a:lnTo>
                      <a:pt x="73" y="135"/>
                    </a:lnTo>
                    <a:lnTo>
                      <a:pt x="73" y="136"/>
                    </a:lnTo>
                    <a:lnTo>
                      <a:pt x="71" y="136"/>
                    </a:lnTo>
                    <a:lnTo>
                      <a:pt x="73" y="138"/>
                    </a:lnTo>
                    <a:lnTo>
                      <a:pt x="73" y="140"/>
                    </a:lnTo>
                    <a:lnTo>
                      <a:pt x="71" y="141"/>
                    </a:lnTo>
                    <a:lnTo>
                      <a:pt x="69" y="141"/>
                    </a:lnTo>
                    <a:lnTo>
                      <a:pt x="68" y="141"/>
                    </a:lnTo>
                    <a:lnTo>
                      <a:pt x="66" y="141"/>
                    </a:lnTo>
                    <a:lnTo>
                      <a:pt x="64" y="140"/>
                    </a:lnTo>
                    <a:lnTo>
                      <a:pt x="63" y="140"/>
                    </a:lnTo>
                    <a:lnTo>
                      <a:pt x="61" y="140"/>
                    </a:lnTo>
                    <a:lnTo>
                      <a:pt x="59" y="140"/>
                    </a:lnTo>
                    <a:lnTo>
                      <a:pt x="59" y="138"/>
                    </a:lnTo>
                    <a:lnTo>
                      <a:pt x="57" y="138"/>
                    </a:lnTo>
                    <a:lnTo>
                      <a:pt x="56" y="138"/>
                    </a:lnTo>
                    <a:lnTo>
                      <a:pt x="56" y="140"/>
                    </a:lnTo>
                    <a:lnTo>
                      <a:pt x="56" y="138"/>
                    </a:lnTo>
                    <a:lnTo>
                      <a:pt x="54" y="138"/>
                    </a:lnTo>
                    <a:lnTo>
                      <a:pt x="52" y="138"/>
                    </a:lnTo>
                    <a:lnTo>
                      <a:pt x="52" y="136"/>
                    </a:lnTo>
                    <a:lnTo>
                      <a:pt x="51" y="136"/>
                    </a:lnTo>
                    <a:lnTo>
                      <a:pt x="49" y="136"/>
                    </a:lnTo>
                    <a:lnTo>
                      <a:pt x="47" y="136"/>
                    </a:lnTo>
                    <a:lnTo>
                      <a:pt x="47" y="135"/>
                    </a:lnTo>
                    <a:lnTo>
                      <a:pt x="46" y="135"/>
                    </a:lnTo>
                    <a:lnTo>
                      <a:pt x="46" y="133"/>
                    </a:lnTo>
                    <a:lnTo>
                      <a:pt x="44" y="133"/>
                    </a:lnTo>
                    <a:lnTo>
                      <a:pt x="44" y="131"/>
                    </a:lnTo>
                    <a:lnTo>
                      <a:pt x="44" y="129"/>
                    </a:lnTo>
                    <a:lnTo>
                      <a:pt x="42" y="129"/>
                    </a:lnTo>
                    <a:lnTo>
                      <a:pt x="42" y="128"/>
                    </a:lnTo>
                    <a:lnTo>
                      <a:pt x="40" y="126"/>
                    </a:lnTo>
                    <a:lnTo>
                      <a:pt x="40" y="124"/>
                    </a:lnTo>
                    <a:lnTo>
                      <a:pt x="39" y="124"/>
                    </a:lnTo>
                    <a:lnTo>
                      <a:pt x="39" y="123"/>
                    </a:lnTo>
                    <a:lnTo>
                      <a:pt x="39" y="121"/>
                    </a:lnTo>
                    <a:lnTo>
                      <a:pt x="37" y="121"/>
                    </a:lnTo>
                    <a:lnTo>
                      <a:pt x="39" y="121"/>
                    </a:lnTo>
                    <a:lnTo>
                      <a:pt x="39" y="119"/>
                    </a:lnTo>
                    <a:lnTo>
                      <a:pt x="37" y="119"/>
                    </a:lnTo>
                    <a:lnTo>
                      <a:pt x="37" y="118"/>
                    </a:lnTo>
                    <a:lnTo>
                      <a:pt x="35" y="118"/>
                    </a:lnTo>
                    <a:lnTo>
                      <a:pt x="35" y="116"/>
                    </a:lnTo>
                    <a:lnTo>
                      <a:pt x="35" y="114"/>
                    </a:lnTo>
                    <a:lnTo>
                      <a:pt x="34" y="114"/>
                    </a:lnTo>
                    <a:lnTo>
                      <a:pt x="34" y="112"/>
                    </a:lnTo>
                    <a:lnTo>
                      <a:pt x="32" y="111"/>
                    </a:lnTo>
                    <a:lnTo>
                      <a:pt x="34" y="111"/>
                    </a:lnTo>
                    <a:lnTo>
                      <a:pt x="32" y="111"/>
                    </a:lnTo>
                    <a:lnTo>
                      <a:pt x="32" y="109"/>
                    </a:lnTo>
                    <a:lnTo>
                      <a:pt x="30" y="109"/>
                    </a:lnTo>
                    <a:lnTo>
                      <a:pt x="29" y="109"/>
                    </a:lnTo>
                    <a:lnTo>
                      <a:pt x="29" y="107"/>
                    </a:lnTo>
                    <a:lnTo>
                      <a:pt x="30" y="107"/>
                    </a:lnTo>
                    <a:lnTo>
                      <a:pt x="29" y="107"/>
                    </a:lnTo>
                    <a:lnTo>
                      <a:pt x="29" y="106"/>
                    </a:lnTo>
                    <a:lnTo>
                      <a:pt x="30" y="106"/>
                    </a:lnTo>
                    <a:lnTo>
                      <a:pt x="30" y="104"/>
                    </a:lnTo>
                    <a:lnTo>
                      <a:pt x="29" y="104"/>
                    </a:lnTo>
                    <a:lnTo>
                      <a:pt x="29" y="102"/>
                    </a:lnTo>
                    <a:lnTo>
                      <a:pt x="30" y="102"/>
                    </a:lnTo>
                    <a:lnTo>
                      <a:pt x="30" y="101"/>
                    </a:lnTo>
                    <a:lnTo>
                      <a:pt x="29" y="101"/>
                    </a:lnTo>
                    <a:lnTo>
                      <a:pt x="29" y="99"/>
                    </a:lnTo>
                    <a:lnTo>
                      <a:pt x="27" y="99"/>
                    </a:lnTo>
                    <a:lnTo>
                      <a:pt x="29" y="99"/>
                    </a:lnTo>
                    <a:lnTo>
                      <a:pt x="29" y="97"/>
                    </a:lnTo>
                    <a:lnTo>
                      <a:pt x="27" y="97"/>
                    </a:lnTo>
                    <a:lnTo>
                      <a:pt x="27" y="99"/>
                    </a:lnTo>
                    <a:lnTo>
                      <a:pt x="27" y="97"/>
                    </a:lnTo>
                    <a:lnTo>
                      <a:pt x="25" y="97"/>
                    </a:lnTo>
                    <a:lnTo>
                      <a:pt x="25" y="95"/>
                    </a:lnTo>
                    <a:lnTo>
                      <a:pt x="27" y="95"/>
                    </a:lnTo>
                    <a:lnTo>
                      <a:pt x="27" y="94"/>
                    </a:lnTo>
                    <a:lnTo>
                      <a:pt x="25" y="92"/>
                    </a:lnTo>
                    <a:lnTo>
                      <a:pt x="27" y="92"/>
                    </a:lnTo>
                    <a:lnTo>
                      <a:pt x="27" y="90"/>
                    </a:lnTo>
                    <a:lnTo>
                      <a:pt x="25" y="90"/>
                    </a:lnTo>
                    <a:lnTo>
                      <a:pt x="27" y="90"/>
                    </a:lnTo>
                    <a:lnTo>
                      <a:pt x="25" y="89"/>
                    </a:lnTo>
                    <a:lnTo>
                      <a:pt x="25" y="90"/>
                    </a:lnTo>
                    <a:lnTo>
                      <a:pt x="23" y="90"/>
                    </a:lnTo>
                    <a:lnTo>
                      <a:pt x="22" y="90"/>
                    </a:lnTo>
                    <a:lnTo>
                      <a:pt x="22" y="89"/>
                    </a:lnTo>
                    <a:lnTo>
                      <a:pt x="22" y="90"/>
                    </a:lnTo>
                    <a:lnTo>
                      <a:pt x="20" y="90"/>
                    </a:lnTo>
                    <a:lnTo>
                      <a:pt x="18" y="90"/>
                    </a:lnTo>
                    <a:lnTo>
                      <a:pt x="17" y="90"/>
                    </a:lnTo>
                    <a:lnTo>
                      <a:pt x="15" y="90"/>
                    </a:lnTo>
                    <a:lnTo>
                      <a:pt x="13" y="90"/>
                    </a:lnTo>
                    <a:lnTo>
                      <a:pt x="13" y="89"/>
                    </a:lnTo>
                    <a:lnTo>
                      <a:pt x="13" y="87"/>
                    </a:lnTo>
                    <a:lnTo>
                      <a:pt x="13" y="85"/>
                    </a:lnTo>
                    <a:lnTo>
                      <a:pt x="15" y="85"/>
                    </a:lnTo>
                    <a:lnTo>
                      <a:pt x="15" y="84"/>
                    </a:lnTo>
                    <a:lnTo>
                      <a:pt x="13" y="84"/>
                    </a:lnTo>
                    <a:lnTo>
                      <a:pt x="12" y="84"/>
                    </a:lnTo>
                    <a:lnTo>
                      <a:pt x="12" y="82"/>
                    </a:lnTo>
                    <a:lnTo>
                      <a:pt x="10" y="82"/>
                    </a:lnTo>
                    <a:lnTo>
                      <a:pt x="10" y="80"/>
                    </a:lnTo>
                    <a:lnTo>
                      <a:pt x="8" y="80"/>
                    </a:lnTo>
                    <a:lnTo>
                      <a:pt x="8" y="78"/>
                    </a:lnTo>
                    <a:lnTo>
                      <a:pt x="8" y="77"/>
                    </a:lnTo>
                    <a:lnTo>
                      <a:pt x="6" y="77"/>
                    </a:lnTo>
                    <a:lnTo>
                      <a:pt x="6" y="75"/>
                    </a:lnTo>
                    <a:lnTo>
                      <a:pt x="6" y="73"/>
                    </a:lnTo>
                    <a:lnTo>
                      <a:pt x="5" y="73"/>
                    </a:lnTo>
                    <a:lnTo>
                      <a:pt x="5" y="72"/>
                    </a:lnTo>
                    <a:lnTo>
                      <a:pt x="3" y="72"/>
                    </a:lnTo>
                    <a:lnTo>
                      <a:pt x="3" y="70"/>
                    </a:lnTo>
                    <a:lnTo>
                      <a:pt x="1" y="70"/>
                    </a:lnTo>
                    <a:lnTo>
                      <a:pt x="1" y="68"/>
                    </a:lnTo>
                    <a:lnTo>
                      <a:pt x="1" y="67"/>
                    </a:lnTo>
                    <a:lnTo>
                      <a:pt x="1" y="65"/>
                    </a:lnTo>
                    <a:lnTo>
                      <a:pt x="0" y="63"/>
                    </a:lnTo>
                    <a:lnTo>
                      <a:pt x="1" y="63"/>
                    </a:lnTo>
                    <a:lnTo>
                      <a:pt x="1" y="61"/>
                    </a:lnTo>
                    <a:lnTo>
                      <a:pt x="1" y="60"/>
                    </a:lnTo>
                    <a:lnTo>
                      <a:pt x="3" y="60"/>
                    </a:lnTo>
                    <a:lnTo>
                      <a:pt x="3" y="58"/>
                    </a:lnTo>
                    <a:lnTo>
                      <a:pt x="5" y="58"/>
                    </a:lnTo>
                    <a:lnTo>
                      <a:pt x="5" y="56"/>
                    </a:lnTo>
                    <a:lnTo>
                      <a:pt x="3" y="56"/>
                    </a:lnTo>
                    <a:lnTo>
                      <a:pt x="3" y="55"/>
                    </a:lnTo>
                    <a:lnTo>
                      <a:pt x="5" y="55"/>
                    </a:lnTo>
                    <a:lnTo>
                      <a:pt x="5" y="53"/>
                    </a:lnTo>
                    <a:lnTo>
                      <a:pt x="5" y="51"/>
                    </a:lnTo>
                    <a:lnTo>
                      <a:pt x="6" y="51"/>
                    </a:lnTo>
                    <a:lnTo>
                      <a:pt x="6" y="50"/>
                    </a:lnTo>
                    <a:lnTo>
                      <a:pt x="6" y="48"/>
                    </a:lnTo>
                    <a:lnTo>
                      <a:pt x="8" y="48"/>
                    </a:lnTo>
                    <a:lnTo>
                      <a:pt x="8" y="46"/>
                    </a:lnTo>
                    <a:lnTo>
                      <a:pt x="8" y="44"/>
                    </a:lnTo>
                    <a:lnTo>
                      <a:pt x="6" y="44"/>
                    </a:lnTo>
                    <a:lnTo>
                      <a:pt x="6" y="43"/>
                    </a:lnTo>
                    <a:lnTo>
                      <a:pt x="5" y="43"/>
                    </a:lnTo>
                    <a:lnTo>
                      <a:pt x="5" y="41"/>
                    </a:lnTo>
                    <a:lnTo>
                      <a:pt x="5" y="39"/>
                    </a:lnTo>
                    <a:lnTo>
                      <a:pt x="6" y="39"/>
                    </a:lnTo>
                    <a:lnTo>
                      <a:pt x="6" y="38"/>
                    </a:lnTo>
                    <a:lnTo>
                      <a:pt x="8" y="38"/>
                    </a:lnTo>
                    <a:lnTo>
                      <a:pt x="10" y="38"/>
                    </a:lnTo>
                    <a:lnTo>
                      <a:pt x="10" y="36"/>
                    </a:lnTo>
                    <a:lnTo>
                      <a:pt x="12" y="36"/>
                    </a:lnTo>
                    <a:lnTo>
                      <a:pt x="12" y="34"/>
                    </a:lnTo>
                    <a:lnTo>
                      <a:pt x="13" y="34"/>
                    </a:lnTo>
                    <a:lnTo>
                      <a:pt x="15" y="36"/>
                    </a:lnTo>
                    <a:lnTo>
                      <a:pt x="15" y="34"/>
                    </a:lnTo>
                    <a:lnTo>
                      <a:pt x="17" y="34"/>
                    </a:lnTo>
                    <a:lnTo>
                      <a:pt x="18" y="34"/>
                    </a:lnTo>
                    <a:lnTo>
                      <a:pt x="20" y="36"/>
                    </a:lnTo>
                    <a:lnTo>
                      <a:pt x="20" y="34"/>
                    </a:lnTo>
                    <a:lnTo>
                      <a:pt x="22" y="34"/>
                    </a:lnTo>
                    <a:lnTo>
                      <a:pt x="22" y="36"/>
                    </a:lnTo>
                    <a:lnTo>
                      <a:pt x="22" y="34"/>
                    </a:lnTo>
                    <a:lnTo>
                      <a:pt x="23" y="34"/>
                    </a:lnTo>
                    <a:lnTo>
                      <a:pt x="25" y="34"/>
                    </a:lnTo>
                    <a:lnTo>
                      <a:pt x="27" y="34"/>
                    </a:lnTo>
                    <a:lnTo>
                      <a:pt x="27" y="32"/>
                    </a:lnTo>
                    <a:lnTo>
                      <a:pt x="25" y="32"/>
                    </a:lnTo>
                    <a:lnTo>
                      <a:pt x="25" y="31"/>
                    </a:lnTo>
                    <a:lnTo>
                      <a:pt x="25" y="29"/>
                    </a:lnTo>
                    <a:lnTo>
                      <a:pt x="27" y="29"/>
                    </a:lnTo>
                    <a:lnTo>
                      <a:pt x="29" y="29"/>
                    </a:lnTo>
                    <a:lnTo>
                      <a:pt x="29" y="31"/>
                    </a:lnTo>
                    <a:lnTo>
                      <a:pt x="29" y="29"/>
                    </a:lnTo>
                    <a:lnTo>
                      <a:pt x="30" y="29"/>
                    </a:lnTo>
                    <a:lnTo>
                      <a:pt x="30" y="27"/>
                    </a:lnTo>
                    <a:lnTo>
                      <a:pt x="29" y="27"/>
                    </a:lnTo>
                    <a:lnTo>
                      <a:pt x="29" y="26"/>
                    </a:lnTo>
                    <a:lnTo>
                      <a:pt x="27" y="26"/>
                    </a:lnTo>
                    <a:lnTo>
                      <a:pt x="27" y="27"/>
                    </a:lnTo>
                    <a:lnTo>
                      <a:pt x="27" y="26"/>
                    </a:lnTo>
                    <a:lnTo>
                      <a:pt x="27" y="24"/>
                    </a:lnTo>
                    <a:lnTo>
                      <a:pt x="25" y="24"/>
                    </a:lnTo>
                    <a:lnTo>
                      <a:pt x="25" y="22"/>
                    </a:lnTo>
                    <a:lnTo>
                      <a:pt x="27" y="22"/>
                    </a:lnTo>
                    <a:lnTo>
                      <a:pt x="27" y="21"/>
                    </a:lnTo>
                    <a:lnTo>
                      <a:pt x="27" y="19"/>
                    </a:lnTo>
                    <a:lnTo>
                      <a:pt x="29" y="17"/>
                    </a:lnTo>
                    <a:lnTo>
                      <a:pt x="29" y="15"/>
                    </a:lnTo>
                    <a:lnTo>
                      <a:pt x="30" y="14"/>
                    </a:lnTo>
                    <a:lnTo>
                      <a:pt x="30" y="12"/>
                    </a:lnTo>
                    <a:lnTo>
                      <a:pt x="32" y="12"/>
                    </a:lnTo>
                    <a:lnTo>
                      <a:pt x="32" y="10"/>
                    </a:lnTo>
                    <a:lnTo>
                      <a:pt x="32" y="9"/>
                    </a:lnTo>
                    <a:lnTo>
                      <a:pt x="32" y="7"/>
                    </a:lnTo>
                    <a:lnTo>
                      <a:pt x="34" y="5"/>
                    </a:lnTo>
                    <a:lnTo>
                      <a:pt x="34" y="4"/>
                    </a:lnTo>
                    <a:lnTo>
                      <a:pt x="34" y="2"/>
                    </a:lnTo>
                    <a:lnTo>
                      <a:pt x="35" y="2"/>
                    </a:lnTo>
                    <a:lnTo>
                      <a:pt x="37" y="2"/>
                    </a:lnTo>
                    <a:lnTo>
                      <a:pt x="37" y="0"/>
                    </a:lnTo>
                    <a:lnTo>
                      <a:pt x="39" y="0"/>
                    </a:lnTo>
                    <a:lnTo>
                      <a:pt x="39" y="2"/>
                    </a:lnTo>
                    <a:lnTo>
                      <a:pt x="40" y="2"/>
                    </a:lnTo>
                    <a:lnTo>
                      <a:pt x="42" y="2"/>
                    </a:lnTo>
                    <a:lnTo>
                      <a:pt x="44" y="2"/>
                    </a:lnTo>
                    <a:lnTo>
                      <a:pt x="46" y="2"/>
                    </a:lnTo>
                    <a:lnTo>
                      <a:pt x="47" y="2"/>
                    </a:lnTo>
                    <a:lnTo>
                      <a:pt x="49" y="2"/>
                    </a:lnTo>
                    <a:lnTo>
                      <a:pt x="49" y="4"/>
                    </a:lnTo>
                    <a:lnTo>
                      <a:pt x="51" y="4"/>
                    </a:lnTo>
                    <a:lnTo>
                      <a:pt x="52" y="4"/>
                    </a:lnTo>
                    <a:lnTo>
                      <a:pt x="54" y="4"/>
                    </a:lnTo>
                    <a:lnTo>
                      <a:pt x="56" y="4"/>
                    </a:lnTo>
                    <a:lnTo>
                      <a:pt x="57" y="4"/>
                    </a:lnTo>
                    <a:lnTo>
                      <a:pt x="59" y="5"/>
                    </a:lnTo>
                    <a:lnTo>
                      <a:pt x="61" y="5"/>
                    </a:lnTo>
                    <a:lnTo>
                      <a:pt x="63" y="5"/>
                    </a:lnTo>
                    <a:lnTo>
                      <a:pt x="64" y="5"/>
                    </a:lnTo>
                    <a:lnTo>
                      <a:pt x="66" y="5"/>
                    </a:lnTo>
                    <a:lnTo>
                      <a:pt x="66" y="7"/>
                    </a:lnTo>
                    <a:lnTo>
                      <a:pt x="68" y="7"/>
                    </a:lnTo>
                    <a:lnTo>
                      <a:pt x="69" y="7"/>
                    </a:lnTo>
                    <a:lnTo>
                      <a:pt x="71" y="7"/>
                    </a:lnTo>
                    <a:lnTo>
                      <a:pt x="73" y="7"/>
                    </a:lnTo>
                    <a:lnTo>
                      <a:pt x="71" y="5"/>
                    </a:lnTo>
                    <a:lnTo>
                      <a:pt x="71" y="4"/>
                    </a:lnTo>
                    <a:lnTo>
                      <a:pt x="73" y="4"/>
                    </a:lnTo>
                    <a:lnTo>
                      <a:pt x="73" y="2"/>
                    </a:lnTo>
                    <a:lnTo>
                      <a:pt x="74" y="2"/>
                    </a:lnTo>
                    <a:lnTo>
                      <a:pt x="76" y="2"/>
                    </a:lnTo>
                    <a:lnTo>
                      <a:pt x="78" y="2"/>
                    </a:lnTo>
                    <a:lnTo>
                      <a:pt x="80" y="2"/>
                    </a:lnTo>
                    <a:lnTo>
                      <a:pt x="81" y="2"/>
                    </a:lnTo>
                    <a:lnTo>
                      <a:pt x="83" y="0"/>
                    </a:lnTo>
                    <a:lnTo>
                      <a:pt x="85" y="2"/>
                    </a:lnTo>
                    <a:lnTo>
                      <a:pt x="86" y="2"/>
                    </a:lnTo>
                    <a:lnTo>
                      <a:pt x="88" y="2"/>
                    </a:lnTo>
                    <a:lnTo>
                      <a:pt x="90" y="2"/>
                    </a:lnTo>
                    <a:lnTo>
                      <a:pt x="91" y="2"/>
                    </a:lnTo>
                    <a:lnTo>
                      <a:pt x="93" y="2"/>
                    </a:lnTo>
                    <a:lnTo>
                      <a:pt x="93" y="4"/>
                    </a:lnTo>
                    <a:lnTo>
                      <a:pt x="95" y="4"/>
                    </a:lnTo>
                    <a:lnTo>
                      <a:pt x="97" y="4"/>
                    </a:lnTo>
                    <a:lnTo>
                      <a:pt x="98" y="4"/>
                    </a:lnTo>
                    <a:lnTo>
                      <a:pt x="100" y="5"/>
                    </a:lnTo>
                    <a:lnTo>
                      <a:pt x="102" y="5"/>
                    </a:lnTo>
                    <a:lnTo>
                      <a:pt x="103" y="5"/>
                    </a:lnTo>
                    <a:lnTo>
                      <a:pt x="102" y="4"/>
                    </a:lnTo>
                    <a:lnTo>
                      <a:pt x="100" y="4"/>
                    </a:lnTo>
                    <a:lnTo>
                      <a:pt x="98" y="4"/>
                    </a:lnTo>
                    <a:lnTo>
                      <a:pt x="98" y="2"/>
                    </a:lnTo>
                    <a:lnTo>
                      <a:pt x="100" y="2"/>
                    </a:lnTo>
                    <a:lnTo>
                      <a:pt x="102" y="2"/>
                    </a:lnTo>
                    <a:lnTo>
                      <a:pt x="103" y="0"/>
                    </a:lnTo>
                    <a:lnTo>
                      <a:pt x="103" y="2"/>
                    </a:lnTo>
                    <a:lnTo>
                      <a:pt x="105" y="2"/>
                    </a:lnTo>
                    <a:lnTo>
                      <a:pt x="107" y="2"/>
                    </a:lnTo>
                    <a:lnTo>
                      <a:pt x="108" y="2"/>
                    </a:lnTo>
                    <a:lnTo>
                      <a:pt x="110" y="2"/>
                    </a:lnTo>
                    <a:lnTo>
                      <a:pt x="112" y="2"/>
                    </a:lnTo>
                    <a:lnTo>
                      <a:pt x="114" y="2"/>
                    </a:lnTo>
                    <a:lnTo>
                      <a:pt x="115" y="2"/>
                    </a:lnTo>
                    <a:lnTo>
                      <a:pt x="117" y="2"/>
                    </a:lnTo>
                    <a:lnTo>
                      <a:pt x="119" y="2"/>
                    </a:lnTo>
                    <a:lnTo>
                      <a:pt x="120" y="2"/>
                    </a:lnTo>
                    <a:lnTo>
                      <a:pt x="120" y="4"/>
                    </a:lnTo>
                    <a:lnTo>
                      <a:pt x="122" y="4"/>
                    </a:lnTo>
                    <a:lnTo>
                      <a:pt x="124" y="4"/>
                    </a:lnTo>
                    <a:lnTo>
                      <a:pt x="125" y="4"/>
                    </a:lnTo>
                    <a:lnTo>
                      <a:pt x="127" y="4"/>
                    </a:lnTo>
                    <a:lnTo>
                      <a:pt x="129" y="4"/>
                    </a:lnTo>
                    <a:lnTo>
                      <a:pt x="129" y="5"/>
                    </a:lnTo>
                    <a:lnTo>
                      <a:pt x="131" y="5"/>
                    </a:lnTo>
                    <a:lnTo>
                      <a:pt x="132" y="5"/>
                    </a:lnTo>
                    <a:lnTo>
                      <a:pt x="134" y="5"/>
                    </a:lnTo>
                    <a:lnTo>
                      <a:pt x="136" y="5"/>
                    </a:lnTo>
                    <a:lnTo>
                      <a:pt x="136" y="7"/>
                    </a:lnTo>
                    <a:lnTo>
                      <a:pt x="137" y="7"/>
                    </a:lnTo>
                    <a:lnTo>
                      <a:pt x="137" y="9"/>
                    </a:lnTo>
                    <a:lnTo>
                      <a:pt x="137" y="10"/>
                    </a:lnTo>
                    <a:close/>
                    <a:moveTo>
                      <a:pt x="32" y="9"/>
                    </a:moveTo>
                    <a:lnTo>
                      <a:pt x="32" y="7"/>
                    </a:lnTo>
                    <a:lnTo>
                      <a:pt x="32" y="5"/>
                    </a:lnTo>
                    <a:lnTo>
                      <a:pt x="34" y="4"/>
                    </a:lnTo>
                    <a:lnTo>
                      <a:pt x="34" y="5"/>
                    </a:lnTo>
                    <a:lnTo>
                      <a:pt x="32" y="7"/>
                    </a:lnTo>
                    <a:lnTo>
                      <a:pt x="32" y="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7" name="Freeform 55">
                <a:extLst>
                  <a:ext uri="{FF2B5EF4-FFF2-40B4-BE49-F238E27FC236}">
                    <a16:creationId xmlns:a16="http://schemas.microsoft.com/office/drawing/2014/main" id="{058881AD-BEFA-0335-69BF-A8B5B4DEA6FC}"/>
                  </a:ext>
                </a:extLst>
              </p:cNvPr>
              <p:cNvSpPr>
                <a:spLocks noEditPoints="1"/>
              </p:cNvSpPr>
              <p:nvPr/>
            </p:nvSpPr>
            <p:spPr bwMode="auto">
              <a:xfrm>
                <a:off x="5764341" y="2833458"/>
                <a:ext cx="13512" cy="12925"/>
              </a:xfrm>
              <a:custGeom>
                <a:avLst/>
                <a:gdLst>
                  <a:gd name="T0" fmla="*/ 34 w 46"/>
                  <a:gd name="T1" fmla="*/ 17 h 44"/>
                  <a:gd name="T2" fmla="*/ 33 w 46"/>
                  <a:gd name="T3" fmla="*/ 21 h 44"/>
                  <a:gd name="T4" fmla="*/ 29 w 46"/>
                  <a:gd name="T5" fmla="*/ 22 h 44"/>
                  <a:gd name="T6" fmla="*/ 31 w 46"/>
                  <a:gd name="T7" fmla="*/ 26 h 44"/>
                  <a:gd name="T8" fmla="*/ 29 w 46"/>
                  <a:gd name="T9" fmla="*/ 29 h 44"/>
                  <a:gd name="T10" fmla="*/ 31 w 46"/>
                  <a:gd name="T11" fmla="*/ 32 h 44"/>
                  <a:gd name="T12" fmla="*/ 31 w 46"/>
                  <a:gd name="T13" fmla="*/ 36 h 44"/>
                  <a:gd name="T14" fmla="*/ 31 w 46"/>
                  <a:gd name="T15" fmla="*/ 41 h 44"/>
                  <a:gd name="T16" fmla="*/ 28 w 46"/>
                  <a:gd name="T17" fmla="*/ 43 h 44"/>
                  <a:gd name="T18" fmla="*/ 24 w 46"/>
                  <a:gd name="T19" fmla="*/ 44 h 44"/>
                  <a:gd name="T20" fmla="*/ 23 w 46"/>
                  <a:gd name="T21" fmla="*/ 44 h 44"/>
                  <a:gd name="T22" fmla="*/ 19 w 46"/>
                  <a:gd name="T23" fmla="*/ 44 h 44"/>
                  <a:gd name="T24" fmla="*/ 14 w 46"/>
                  <a:gd name="T25" fmla="*/ 44 h 44"/>
                  <a:gd name="T26" fmla="*/ 9 w 46"/>
                  <a:gd name="T27" fmla="*/ 44 h 44"/>
                  <a:gd name="T28" fmla="*/ 6 w 46"/>
                  <a:gd name="T29" fmla="*/ 43 h 44"/>
                  <a:gd name="T30" fmla="*/ 4 w 46"/>
                  <a:gd name="T31" fmla="*/ 43 h 44"/>
                  <a:gd name="T32" fmla="*/ 0 w 46"/>
                  <a:gd name="T33" fmla="*/ 44 h 44"/>
                  <a:gd name="T34" fmla="*/ 4 w 46"/>
                  <a:gd name="T35" fmla="*/ 43 h 44"/>
                  <a:gd name="T36" fmla="*/ 7 w 46"/>
                  <a:gd name="T37" fmla="*/ 41 h 44"/>
                  <a:gd name="T38" fmla="*/ 9 w 46"/>
                  <a:gd name="T39" fmla="*/ 38 h 44"/>
                  <a:gd name="T40" fmla="*/ 12 w 46"/>
                  <a:gd name="T41" fmla="*/ 38 h 44"/>
                  <a:gd name="T42" fmla="*/ 16 w 46"/>
                  <a:gd name="T43" fmla="*/ 36 h 44"/>
                  <a:gd name="T44" fmla="*/ 14 w 46"/>
                  <a:gd name="T45" fmla="*/ 32 h 44"/>
                  <a:gd name="T46" fmla="*/ 16 w 46"/>
                  <a:gd name="T47" fmla="*/ 27 h 44"/>
                  <a:gd name="T48" fmla="*/ 12 w 46"/>
                  <a:gd name="T49" fmla="*/ 24 h 44"/>
                  <a:gd name="T50" fmla="*/ 9 w 46"/>
                  <a:gd name="T51" fmla="*/ 24 h 44"/>
                  <a:gd name="T52" fmla="*/ 11 w 46"/>
                  <a:gd name="T53" fmla="*/ 21 h 44"/>
                  <a:gd name="T54" fmla="*/ 16 w 46"/>
                  <a:gd name="T55" fmla="*/ 19 h 44"/>
                  <a:gd name="T56" fmla="*/ 19 w 46"/>
                  <a:gd name="T57" fmla="*/ 19 h 44"/>
                  <a:gd name="T58" fmla="*/ 24 w 46"/>
                  <a:gd name="T59" fmla="*/ 19 h 44"/>
                  <a:gd name="T60" fmla="*/ 29 w 46"/>
                  <a:gd name="T61" fmla="*/ 17 h 44"/>
                  <a:gd name="T62" fmla="*/ 46 w 46"/>
                  <a:gd name="T63" fmla="*/ 2 h 44"/>
                  <a:gd name="T64" fmla="*/ 45 w 46"/>
                  <a:gd name="T65" fmla="*/ 5 h 44"/>
                  <a:gd name="T66" fmla="*/ 41 w 46"/>
                  <a:gd name="T67" fmla="*/ 7 h 44"/>
                  <a:gd name="T68" fmla="*/ 38 w 46"/>
                  <a:gd name="T69" fmla="*/ 7 h 44"/>
                  <a:gd name="T70" fmla="*/ 38 w 46"/>
                  <a:gd name="T71" fmla="*/ 7 h 44"/>
                  <a:gd name="T72" fmla="*/ 38 w 46"/>
                  <a:gd name="T73" fmla="*/ 4 h 44"/>
                  <a:gd name="T74" fmla="*/ 41 w 46"/>
                  <a:gd name="T75" fmla="*/ 2 h 44"/>
                  <a:gd name="T76" fmla="*/ 45 w 46"/>
                  <a:gd name="T77" fmla="*/ 0 h 44"/>
                  <a:gd name="T78" fmla="*/ 7 w 46"/>
                  <a:gd name="T79" fmla="*/ 22 h 44"/>
                  <a:gd name="T80" fmla="*/ 6 w 46"/>
                  <a:gd name="T81" fmla="*/ 22 h 44"/>
                  <a:gd name="T82" fmla="*/ 6 w 46"/>
                  <a:gd name="T83"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6" h="44">
                    <a:moveTo>
                      <a:pt x="31" y="17"/>
                    </a:moveTo>
                    <a:lnTo>
                      <a:pt x="33" y="17"/>
                    </a:lnTo>
                    <a:lnTo>
                      <a:pt x="34" y="17"/>
                    </a:lnTo>
                    <a:lnTo>
                      <a:pt x="34" y="19"/>
                    </a:lnTo>
                    <a:lnTo>
                      <a:pt x="33" y="19"/>
                    </a:lnTo>
                    <a:lnTo>
                      <a:pt x="33" y="21"/>
                    </a:lnTo>
                    <a:lnTo>
                      <a:pt x="31" y="21"/>
                    </a:lnTo>
                    <a:lnTo>
                      <a:pt x="31" y="22"/>
                    </a:lnTo>
                    <a:lnTo>
                      <a:pt x="29" y="22"/>
                    </a:lnTo>
                    <a:lnTo>
                      <a:pt x="29" y="24"/>
                    </a:lnTo>
                    <a:lnTo>
                      <a:pt x="29" y="26"/>
                    </a:lnTo>
                    <a:lnTo>
                      <a:pt x="31" y="26"/>
                    </a:lnTo>
                    <a:lnTo>
                      <a:pt x="31" y="27"/>
                    </a:lnTo>
                    <a:lnTo>
                      <a:pt x="31" y="29"/>
                    </a:lnTo>
                    <a:lnTo>
                      <a:pt x="29" y="29"/>
                    </a:lnTo>
                    <a:lnTo>
                      <a:pt x="29" y="31"/>
                    </a:lnTo>
                    <a:lnTo>
                      <a:pt x="29" y="32"/>
                    </a:lnTo>
                    <a:lnTo>
                      <a:pt x="31" y="32"/>
                    </a:lnTo>
                    <a:lnTo>
                      <a:pt x="31" y="34"/>
                    </a:lnTo>
                    <a:lnTo>
                      <a:pt x="33" y="34"/>
                    </a:lnTo>
                    <a:lnTo>
                      <a:pt x="31" y="36"/>
                    </a:lnTo>
                    <a:lnTo>
                      <a:pt x="31" y="38"/>
                    </a:lnTo>
                    <a:lnTo>
                      <a:pt x="31" y="39"/>
                    </a:lnTo>
                    <a:lnTo>
                      <a:pt x="31" y="41"/>
                    </a:lnTo>
                    <a:lnTo>
                      <a:pt x="29" y="41"/>
                    </a:lnTo>
                    <a:lnTo>
                      <a:pt x="29" y="43"/>
                    </a:lnTo>
                    <a:lnTo>
                      <a:pt x="28" y="43"/>
                    </a:lnTo>
                    <a:lnTo>
                      <a:pt x="26" y="43"/>
                    </a:lnTo>
                    <a:lnTo>
                      <a:pt x="26" y="44"/>
                    </a:lnTo>
                    <a:lnTo>
                      <a:pt x="24" y="44"/>
                    </a:lnTo>
                    <a:lnTo>
                      <a:pt x="23" y="44"/>
                    </a:lnTo>
                    <a:lnTo>
                      <a:pt x="23" y="43"/>
                    </a:lnTo>
                    <a:lnTo>
                      <a:pt x="23" y="44"/>
                    </a:lnTo>
                    <a:lnTo>
                      <a:pt x="21" y="43"/>
                    </a:lnTo>
                    <a:lnTo>
                      <a:pt x="21" y="44"/>
                    </a:lnTo>
                    <a:lnTo>
                      <a:pt x="19" y="44"/>
                    </a:lnTo>
                    <a:lnTo>
                      <a:pt x="17" y="44"/>
                    </a:lnTo>
                    <a:lnTo>
                      <a:pt x="16" y="44"/>
                    </a:lnTo>
                    <a:lnTo>
                      <a:pt x="14" y="44"/>
                    </a:lnTo>
                    <a:lnTo>
                      <a:pt x="12" y="44"/>
                    </a:lnTo>
                    <a:lnTo>
                      <a:pt x="11" y="44"/>
                    </a:lnTo>
                    <a:lnTo>
                      <a:pt x="9" y="44"/>
                    </a:lnTo>
                    <a:lnTo>
                      <a:pt x="7" y="44"/>
                    </a:lnTo>
                    <a:lnTo>
                      <a:pt x="7" y="43"/>
                    </a:lnTo>
                    <a:lnTo>
                      <a:pt x="6" y="43"/>
                    </a:lnTo>
                    <a:lnTo>
                      <a:pt x="6" y="44"/>
                    </a:lnTo>
                    <a:lnTo>
                      <a:pt x="4" y="44"/>
                    </a:lnTo>
                    <a:lnTo>
                      <a:pt x="4" y="43"/>
                    </a:lnTo>
                    <a:lnTo>
                      <a:pt x="4" y="44"/>
                    </a:lnTo>
                    <a:lnTo>
                      <a:pt x="2" y="44"/>
                    </a:lnTo>
                    <a:lnTo>
                      <a:pt x="0" y="44"/>
                    </a:lnTo>
                    <a:lnTo>
                      <a:pt x="0" y="43"/>
                    </a:lnTo>
                    <a:lnTo>
                      <a:pt x="2" y="43"/>
                    </a:lnTo>
                    <a:lnTo>
                      <a:pt x="4" y="43"/>
                    </a:lnTo>
                    <a:lnTo>
                      <a:pt x="4" y="41"/>
                    </a:lnTo>
                    <a:lnTo>
                      <a:pt x="6" y="41"/>
                    </a:lnTo>
                    <a:lnTo>
                      <a:pt x="7" y="41"/>
                    </a:lnTo>
                    <a:lnTo>
                      <a:pt x="7" y="39"/>
                    </a:lnTo>
                    <a:lnTo>
                      <a:pt x="9" y="39"/>
                    </a:lnTo>
                    <a:lnTo>
                      <a:pt x="9" y="38"/>
                    </a:lnTo>
                    <a:lnTo>
                      <a:pt x="11" y="38"/>
                    </a:lnTo>
                    <a:lnTo>
                      <a:pt x="12" y="39"/>
                    </a:lnTo>
                    <a:lnTo>
                      <a:pt x="12" y="38"/>
                    </a:lnTo>
                    <a:lnTo>
                      <a:pt x="14" y="38"/>
                    </a:lnTo>
                    <a:lnTo>
                      <a:pt x="16" y="38"/>
                    </a:lnTo>
                    <a:lnTo>
                      <a:pt x="16" y="36"/>
                    </a:lnTo>
                    <a:lnTo>
                      <a:pt x="16" y="34"/>
                    </a:lnTo>
                    <a:lnTo>
                      <a:pt x="14" y="34"/>
                    </a:lnTo>
                    <a:lnTo>
                      <a:pt x="14" y="32"/>
                    </a:lnTo>
                    <a:lnTo>
                      <a:pt x="14" y="31"/>
                    </a:lnTo>
                    <a:lnTo>
                      <a:pt x="16" y="29"/>
                    </a:lnTo>
                    <a:lnTo>
                      <a:pt x="16" y="27"/>
                    </a:lnTo>
                    <a:lnTo>
                      <a:pt x="14" y="26"/>
                    </a:lnTo>
                    <a:lnTo>
                      <a:pt x="14" y="24"/>
                    </a:lnTo>
                    <a:lnTo>
                      <a:pt x="12" y="24"/>
                    </a:lnTo>
                    <a:lnTo>
                      <a:pt x="11" y="22"/>
                    </a:lnTo>
                    <a:lnTo>
                      <a:pt x="11" y="24"/>
                    </a:lnTo>
                    <a:lnTo>
                      <a:pt x="9" y="24"/>
                    </a:lnTo>
                    <a:lnTo>
                      <a:pt x="9" y="22"/>
                    </a:lnTo>
                    <a:lnTo>
                      <a:pt x="9" y="21"/>
                    </a:lnTo>
                    <a:lnTo>
                      <a:pt x="11" y="21"/>
                    </a:lnTo>
                    <a:lnTo>
                      <a:pt x="12" y="21"/>
                    </a:lnTo>
                    <a:lnTo>
                      <a:pt x="14" y="21"/>
                    </a:lnTo>
                    <a:lnTo>
                      <a:pt x="16" y="19"/>
                    </a:lnTo>
                    <a:lnTo>
                      <a:pt x="16" y="21"/>
                    </a:lnTo>
                    <a:lnTo>
                      <a:pt x="17" y="19"/>
                    </a:lnTo>
                    <a:lnTo>
                      <a:pt x="19" y="19"/>
                    </a:lnTo>
                    <a:lnTo>
                      <a:pt x="21" y="19"/>
                    </a:lnTo>
                    <a:lnTo>
                      <a:pt x="23" y="19"/>
                    </a:lnTo>
                    <a:lnTo>
                      <a:pt x="24" y="19"/>
                    </a:lnTo>
                    <a:lnTo>
                      <a:pt x="26" y="19"/>
                    </a:lnTo>
                    <a:lnTo>
                      <a:pt x="28" y="19"/>
                    </a:lnTo>
                    <a:lnTo>
                      <a:pt x="29" y="17"/>
                    </a:lnTo>
                    <a:lnTo>
                      <a:pt x="31" y="17"/>
                    </a:lnTo>
                    <a:close/>
                    <a:moveTo>
                      <a:pt x="46" y="0"/>
                    </a:moveTo>
                    <a:lnTo>
                      <a:pt x="46" y="2"/>
                    </a:lnTo>
                    <a:lnTo>
                      <a:pt x="46" y="4"/>
                    </a:lnTo>
                    <a:lnTo>
                      <a:pt x="45" y="4"/>
                    </a:lnTo>
                    <a:lnTo>
                      <a:pt x="45" y="5"/>
                    </a:lnTo>
                    <a:lnTo>
                      <a:pt x="43" y="5"/>
                    </a:lnTo>
                    <a:lnTo>
                      <a:pt x="41" y="5"/>
                    </a:lnTo>
                    <a:lnTo>
                      <a:pt x="41" y="7"/>
                    </a:lnTo>
                    <a:lnTo>
                      <a:pt x="40" y="5"/>
                    </a:lnTo>
                    <a:lnTo>
                      <a:pt x="40" y="7"/>
                    </a:lnTo>
                    <a:lnTo>
                      <a:pt x="38" y="7"/>
                    </a:lnTo>
                    <a:lnTo>
                      <a:pt x="36" y="7"/>
                    </a:lnTo>
                    <a:lnTo>
                      <a:pt x="36" y="5"/>
                    </a:lnTo>
                    <a:lnTo>
                      <a:pt x="38" y="7"/>
                    </a:lnTo>
                    <a:lnTo>
                      <a:pt x="36" y="5"/>
                    </a:lnTo>
                    <a:lnTo>
                      <a:pt x="38" y="5"/>
                    </a:lnTo>
                    <a:lnTo>
                      <a:pt x="38" y="4"/>
                    </a:lnTo>
                    <a:lnTo>
                      <a:pt x="40" y="4"/>
                    </a:lnTo>
                    <a:lnTo>
                      <a:pt x="41" y="4"/>
                    </a:lnTo>
                    <a:lnTo>
                      <a:pt x="41" y="2"/>
                    </a:lnTo>
                    <a:lnTo>
                      <a:pt x="43" y="2"/>
                    </a:lnTo>
                    <a:lnTo>
                      <a:pt x="45" y="2"/>
                    </a:lnTo>
                    <a:lnTo>
                      <a:pt x="45" y="0"/>
                    </a:lnTo>
                    <a:lnTo>
                      <a:pt x="46" y="2"/>
                    </a:lnTo>
                    <a:lnTo>
                      <a:pt x="46" y="0"/>
                    </a:lnTo>
                    <a:close/>
                    <a:moveTo>
                      <a:pt x="7" y="22"/>
                    </a:moveTo>
                    <a:lnTo>
                      <a:pt x="9" y="22"/>
                    </a:lnTo>
                    <a:lnTo>
                      <a:pt x="7" y="22"/>
                    </a:lnTo>
                    <a:close/>
                    <a:moveTo>
                      <a:pt x="6" y="22"/>
                    </a:moveTo>
                    <a:lnTo>
                      <a:pt x="6" y="24"/>
                    </a:lnTo>
                    <a:lnTo>
                      <a:pt x="6" y="22"/>
                    </a:lnTo>
                    <a:close/>
                    <a:moveTo>
                      <a:pt x="6" y="22"/>
                    </a:moveTo>
                    <a:lnTo>
                      <a:pt x="7" y="22"/>
                    </a:lnTo>
                    <a:lnTo>
                      <a:pt x="6" y="2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9" name="Freeform 57">
                <a:extLst>
                  <a:ext uri="{FF2B5EF4-FFF2-40B4-BE49-F238E27FC236}">
                    <a16:creationId xmlns:a16="http://schemas.microsoft.com/office/drawing/2014/main" id="{77F6F645-CED9-0C71-FBF4-B8875F1EEAC5}"/>
                  </a:ext>
                </a:extLst>
              </p:cNvPr>
              <p:cNvSpPr>
                <a:spLocks noEditPoints="1"/>
              </p:cNvSpPr>
              <p:nvPr/>
            </p:nvSpPr>
            <p:spPr bwMode="auto">
              <a:xfrm>
                <a:off x="5798423" y="3260229"/>
                <a:ext cx="53457" cy="57570"/>
              </a:xfrm>
              <a:custGeom>
                <a:avLst/>
                <a:gdLst>
                  <a:gd name="T0" fmla="*/ 167 w 182"/>
                  <a:gd name="T1" fmla="*/ 153 h 196"/>
                  <a:gd name="T2" fmla="*/ 162 w 182"/>
                  <a:gd name="T3" fmla="*/ 163 h 196"/>
                  <a:gd name="T4" fmla="*/ 156 w 182"/>
                  <a:gd name="T5" fmla="*/ 172 h 196"/>
                  <a:gd name="T6" fmla="*/ 146 w 182"/>
                  <a:gd name="T7" fmla="*/ 182 h 196"/>
                  <a:gd name="T8" fmla="*/ 134 w 182"/>
                  <a:gd name="T9" fmla="*/ 187 h 196"/>
                  <a:gd name="T10" fmla="*/ 128 w 182"/>
                  <a:gd name="T11" fmla="*/ 190 h 196"/>
                  <a:gd name="T12" fmla="*/ 117 w 182"/>
                  <a:gd name="T13" fmla="*/ 192 h 196"/>
                  <a:gd name="T14" fmla="*/ 107 w 182"/>
                  <a:gd name="T15" fmla="*/ 192 h 196"/>
                  <a:gd name="T16" fmla="*/ 100 w 182"/>
                  <a:gd name="T17" fmla="*/ 187 h 196"/>
                  <a:gd name="T18" fmla="*/ 87 w 182"/>
                  <a:gd name="T19" fmla="*/ 189 h 196"/>
                  <a:gd name="T20" fmla="*/ 78 w 182"/>
                  <a:gd name="T21" fmla="*/ 192 h 196"/>
                  <a:gd name="T22" fmla="*/ 70 w 182"/>
                  <a:gd name="T23" fmla="*/ 189 h 196"/>
                  <a:gd name="T24" fmla="*/ 63 w 182"/>
                  <a:gd name="T25" fmla="*/ 185 h 196"/>
                  <a:gd name="T26" fmla="*/ 53 w 182"/>
                  <a:gd name="T27" fmla="*/ 180 h 196"/>
                  <a:gd name="T28" fmla="*/ 44 w 182"/>
                  <a:gd name="T29" fmla="*/ 173 h 196"/>
                  <a:gd name="T30" fmla="*/ 32 w 182"/>
                  <a:gd name="T31" fmla="*/ 173 h 196"/>
                  <a:gd name="T32" fmla="*/ 24 w 182"/>
                  <a:gd name="T33" fmla="*/ 173 h 196"/>
                  <a:gd name="T34" fmla="*/ 19 w 182"/>
                  <a:gd name="T35" fmla="*/ 168 h 196"/>
                  <a:gd name="T36" fmla="*/ 9 w 182"/>
                  <a:gd name="T37" fmla="*/ 161 h 196"/>
                  <a:gd name="T38" fmla="*/ 2 w 182"/>
                  <a:gd name="T39" fmla="*/ 151 h 196"/>
                  <a:gd name="T40" fmla="*/ 0 w 182"/>
                  <a:gd name="T41" fmla="*/ 134 h 196"/>
                  <a:gd name="T42" fmla="*/ 5 w 182"/>
                  <a:gd name="T43" fmla="*/ 119 h 196"/>
                  <a:gd name="T44" fmla="*/ 14 w 182"/>
                  <a:gd name="T45" fmla="*/ 112 h 196"/>
                  <a:gd name="T46" fmla="*/ 10 w 182"/>
                  <a:gd name="T47" fmla="*/ 100 h 196"/>
                  <a:gd name="T48" fmla="*/ 10 w 182"/>
                  <a:gd name="T49" fmla="*/ 90 h 196"/>
                  <a:gd name="T50" fmla="*/ 10 w 182"/>
                  <a:gd name="T51" fmla="*/ 82 h 196"/>
                  <a:gd name="T52" fmla="*/ 10 w 182"/>
                  <a:gd name="T53" fmla="*/ 70 h 196"/>
                  <a:gd name="T54" fmla="*/ 17 w 182"/>
                  <a:gd name="T55" fmla="*/ 56 h 196"/>
                  <a:gd name="T56" fmla="*/ 17 w 182"/>
                  <a:gd name="T57" fmla="*/ 48 h 196"/>
                  <a:gd name="T58" fmla="*/ 20 w 182"/>
                  <a:gd name="T59" fmla="*/ 36 h 196"/>
                  <a:gd name="T60" fmla="*/ 22 w 182"/>
                  <a:gd name="T61" fmla="*/ 25 h 196"/>
                  <a:gd name="T62" fmla="*/ 22 w 182"/>
                  <a:gd name="T63" fmla="*/ 13 h 196"/>
                  <a:gd name="T64" fmla="*/ 29 w 182"/>
                  <a:gd name="T65" fmla="*/ 5 h 196"/>
                  <a:gd name="T66" fmla="*/ 34 w 182"/>
                  <a:gd name="T67" fmla="*/ 7 h 196"/>
                  <a:gd name="T68" fmla="*/ 41 w 182"/>
                  <a:gd name="T69" fmla="*/ 7 h 196"/>
                  <a:gd name="T70" fmla="*/ 51 w 182"/>
                  <a:gd name="T71" fmla="*/ 0 h 196"/>
                  <a:gd name="T72" fmla="*/ 61 w 182"/>
                  <a:gd name="T73" fmla="*/ 5 h 196"/>
                  <a:gd name="T74" fmla="*/ 66 w 182"/>
                  <a:gd name="T75" fmla="*/ 10 h 196"/>
                  <a:gd name="T76" fmla="*/ 70 w 182"/>
                  <a:gd name="T77" fmla="*/ 15 h 196"/>
                  <a:gd name="T78" fmla="*/ 77 w 182"/>
                  <a:gd name="T79" fmla="*/ 19 h 196"/>
                  <a:gd name="T80" fmla="*/ 82 w 182"/>
                  <a:gd name="T81" fmla="*/ 25 h 196"/>
                  <a:gd name="T82" fmla="*/ 88 w 182"/>
                  <a:gd name="T83" fmla="*/ 36 h 196"/>
                  <a:gd name="T84" fmla="*/ 95 w 182"/>
                  <a:gd name="T85" fmla="*/ 34 h 196"/>
                  <a:gd name="T86" fmla="*/ 100 w 182"/>
                  <a:gd name="T87" fmla="*/ 32 h 196"/>
                  <a:gd name="T88" fmla="*/ 105 w 182"/>
                  <a:gd name="T89" fmla="*/ 39 h 196"/>
                  <a:gd name="T90" fmla="*/ 109 w 182"/>
                  <a:gd name="T91" fmla="*/ 46 h 196"/>
                  <a:gd name="T92" fmla="*/ 117 w 182"/>
                  <a:gd name="T93" fmla="*/ 48 h 196"/>
                  <a:gd name="T94" fmla="*/ 124 w 182"/>
                  <a:gd name="T95" fmla="*/ 53 h 196"/>
                  <a:gd name="T96" fmla="*/ 134 w 182"/>
                  <a:gd name="T97" fmla="*/ 56 h 196"/>
                  <a:gd name="T98" fmla="*/ 143 w 182"/>
                  <a:gd name="T99" fmla="*/ 68 h 196"/>
                  <a:gd name="T100" fmla="*/ 151 w 182"/>
                  <a:gd name="T101" fmla="*/ 71 h 196"/>
                  <a:gd name="T102" fmla="*/ 158 w 182"/>
                  <a:gd name="T103" fmla="*/ 78 h 196"/>
                  <a:gd name="T104" fmla="*/ 162 w 182"/>
                  <a:gd name="T105" fmla="*/ 85 h 196"/>
                  <a:gd name="T106" fmla="*/ 168 w 182"/>
                  <a:gd name="T107" fmla="*/ 93 h 196"/>
                  <a:gd name="T108" fmla="*/ 175 w 182"/>
                  <a:gd name="T109" fmla="*/ 99 h 196"/>
                  <a:gd name="T110" fmla="*/ 179 w 182"/>
                  <a:gd name="T111" fmla="*/ 105 h 196"/>
                  <a:gd name="T112" fmla="*/ 170 w 182"/>
                  <a:gd name="T113" fmla="*/ 119 h 196"/>
                  <a:gd name="T114" fmla="*/ 168 w 182"/>
                  <a:gd name="T115" fmla="*/ 129 h 196"/>
                  <a:gd name="T116" fmla="*/ 168 w 182"/>
                  <a:gd name="T117" fmla="*/ 143 h 196"/>
                  <a:gd name="T118" fmla="*/ 71 w 182"/>
                  <a:gd name="T119" fmla="*/ 187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2" h="196">
                    <a:moveTo>
                      <a:pt x="172" y="144"/>
                    </a:moveTo>
                    <a:lnTo>
                      <a:pt x="172" y="146"/>
                    </a:lnTo>
                    <a:lnTo>
                      <a:pt x="170" y="146"/>
                    </a:lnTo>
                    <a:lnTo>
                      <a:pt x="170" y="148"/>
                    </a:lnTo>
                    <a:lnTo>
                      <a:pt x="168" y="150"/>
                    </a:lnTo>
                    <a:lnTo>
                      <a:pt x="168" y="151"/>
                    </a:lnTo>
                    <a:lnTo>
                      <a:pt x="168" y="153"/>
                    </a:lnTo>
                    <a:lnTo>
                      <a:pt x="167" y="153"/>
                    </a:lnTo>
                    <a:lnTo>
                      <a:pt x="167" y="155"/>
                    </a:lnTo>
                    <a:lnTo>
                      <a:pt x="167" y="156"/>
                    </a:lnTo>
                    <a:lnTo>
                      <a:pt x="167" y="158"/>
                    </a:lnTo>
                    <a:lnTo>
                      <a:pt x="165" y="158"/>
                    </a:lnTo>
                    <a:lnTo>
                      <a:pt x="163" y="160"/>
                    </a:lnTo>
                    <a:lnTo>
                      <a:pt x="163" y="161"/>
                    </a:lnTo>
                    <a:lnTo>
                      <a:pt x="162" y="161"/>
                    </a:lnTo>
                    <a:lnTo>
                      <a:pt x="162" y="163"/>
                    </a:lnTo>
                    <a:lnTo>
                      <a:pt x="160" y="163"/>
                    </a:lnTo>
                    <a:lnTo>
                      <a:pt x="160" y="165"/>
                    </a:lnTo>
                    <a:lnTo>
                      <a:pt x="158" y="167"/>
                    </a:lnTo>
                    <a:lnTo>
                      <a:pt x="158" y="168"/>
                    </a:lnTo>
                    <a:lnTo>
                      <a:pt x="160" y="170"/>
                    </a:lnTo>
                    <a:lnTo>
                      <a:pt x="158" y="170"/>
                    </a:lnTo>
                    <a:lnTo>
                      <a:pt x="158" y="172"/>
                    </a:lnTo>
                    <a:lnTo>
                      <a:pt x="156" y="172"/>
                    </a:lnTo>
                    <a:lnTo>
                      <a:pt x="155" y="173"/>
                    </a:lnTo>
                    <a:lnTo>
                      <a:pt x="153" y="173"/>
                    </a:lnTo>
                    <a:lnTo>
                      <a:pt x="151" y="175"/>
                    </a:lnTo>
                    <a:lnTo>
                      <a:pt x="150" y="177"/>
                    </a:lnTo>
                    <a:lnTo>
                      <a:pt x="148" y="178"/>
                    </a:lnTo>
                    <a:lnTo>
                      <a:pt x="148" y="180"/>
                    </a:lnTo>
                    <a:lnTo>
                      <a:pt x="146" y="180"/>
                    </a:lnTo>
                    <a:lnTo>
                      <a:pt x="146" y="182"/>
                    </a:lnTo>
                    <a:lnTo>
                      <a:pt x="145" y="182"/>
                    </a:lnTo>
                    <a:lnTo>
                      <a:pt x="143" y="182"/>
                    </a:lnTo>
                    <a:lnTo>
                      <a:pt x="141" y="184"/>
                    </a:lnTo>
                    <a:lnTo>
                      <a:pt x="139" y="184"/>
                    </a:lnTo>
                    <a:lnTo>
                      <a:pt x="139" y="185"/>
                    </a:lnTo>
                    <a:lnTo>
                      <a:pt x="138" y="185"/>
                    </a:lnTo>
                    <a:lnTo>
                      <a:pt x="136" y="185"/>
                    </a:lnTo>
                    <a:lnTo>
                      <a:pt x="134" y="187"/>
                    </a:lnTo>
                    <a:lnTo>
                      <a:pt x="133" y="187"/>
                    </a:lnTo>
                    <a:lnTo>
                      <a:pt x="133" y="189"/>
                    </a:lnTo>
                    <a:lnTo>
                      <a:pt x="131" y="189"/>
                    </a:lnTo>
                    <a:lnTo>
                      <a:pt x="129" y="189"/>
                    </a:lnTo>
                    <a:lnTo>
                      <a:pt x="129" y="190"/>
                    </a:lnTo>
                    <a:lnTo>
                      <a:pt x="129" y="189"/>
                    </a:lnTo>
                    <a:lnTo>
                      <a:pt x="129" y="190"/>
                    </a:lnTo>
                    <a:lnTo>
                      <a:pt x="128" y="190"/>
                    </a:lnTo>
                    <a:lnTo>
                      <a:pt x="126" y="190"/>
                    </a:lnTo>
                    <a:lnTo>
                      <a:pt x="124" y="192"/>
                    </a:lnTo>
                    <a:lnTo>
                      <a:pt x="122" y="192"/>
                    </a:lnTo>
                    <a:lnTo>
                      <a:pt x="121" y="194"/>
                    </a:lnTo>
                    <a:lnTo>
                      <a:pt x="119" y="196"/>
                    </a:lnTo>
                    <a:lnTo>
                      <a:pt x="119" y="194"/>
                    </a:lnTo>
                    <a:lnTo>
                      <a:pt x="119" y="192"/>
                    </a:lnTo>
                    <a:lnTo>
                      <a:pt x="117" y="192"/>
                    </a:lnTo>
                    <a:lnTo>
                      <a:pt x="116" y="192"/>
                    </a:lnTo>
                    <a:lnTo>
                      <a:pt x="116" y="190"/>
                    </a:lnTo>
                    <a:lnTo>
                      <a:pt x="114" y="190"/>
                    </a:lnTo>
                    <a:lnTo>
                      <a:pt x="112" y="190"/>
                    </a:lnTo>
                    <a:lnTo>
                      <a:pt x="112" y="192"/>
                    </a:lnTo>
                    <a:lnTo>
                      <a:pt x="111" y="192"/>
                    </a:lnTo>
                    <a:lnTo>
                      <a:pt x="109" y="192"/>
                    </a:lnTo>
                    <a:lnTo>
                      <a:pt x="107" y="192"/>
                    </a:lnTo>
                    <a:lnTo>
                      <a:pt x="109" y="190"/>
                    </a:lnTo>
                    <a:lnTo>
                      <a:pt x="107" y="190"/>
                    </a:lnTo>
                    <a:lnTo>
                      <a:pt x="107" y="189"/>
                    </a:lnTo>
                    <a:lnTo>
                      <a:pt x="105" y="189"/>
                    </a:lnTo>
                    <a:lnTo>
                      <a:pt x="104" y="189"/>
                    </a:lnTo>
                    <a:lnTo>
                      <a:pt x="104" y="187"/>
                    </a:lnTo>
                    <a:lnTo>
                      <a:pt x="102" y="187"/>
                    </a:lnTo>
                    <a:lnTo>
                      <a:pt x="100" y="187"/>
                    </a:lnTo>
                    <a:lnTo>
                      <a:pt x="99" y="187"/>
                    </a:lnTo>
                    <a:lnTo>
                      <a:pt x="97" y="187"/>
                    </a:lnTo>
                    <a:lnTo>
                      <a:pt x="95" y="187"/>
                    </a:lnTo>
                    <a:lnTo>
                      <a:pt x="94" y="187"/>
                    </a:lnTo>
                    <a:lnTo>
                      <a:pt x="92" y="187"/>
                    </a:lnTo>
                    <a:lnTo>
                      <a:pt x="90" y="187"/>
                    </a:lnTo>
                    <a:lnTo>
                      <a:pt x="88" y="187"/>
                    </a:lnTo>
                    <a:lnTo>
                      <a:pt x="87" y="189"/>
                    </a:lnTo>
                    <a:lnTo>
                      <a:pt x="85" y="189"/>
                    </a:lnTo>
                    <a:lnTo>
                      <a:pt x="85" y="190"/>
                    </a:lnTo>
                    <a:lnTo>
                      <a:pt x="83" y="190"/>
                    </a:lnTo>
                    <a:lnTo>
                      <a:pt x="82" y="192"/>
                    </a:lnTo>
                    <a:lnTo>
                      <a:pt x="80" y="192"/>
                    </a:lnTo>
                    <a:lnTo>
                      <a:pt x="78" y="192"/>
                    </a:lnTo>
                    <a:lnTo>
                      <a:pt x="78" y="194"/>
                    </a:lnTo>
                    <a:lnTo>
                      <a:pt x="78" y="192"/>
                    </a:lnTo>
                    <a:lnTo>
                      <a:pt x="77" y="192"/>
                    </a:lnTo>
                    <a:lnTo>
                      <a:pt x="77" y="190"/>
                    </a:lnTo>
                    <a:lnTo>
                      <a:pt x="75" y="190"/>
                    </a:lnTo>
                    <a:lnTo>
                      <a:pt x="75" y="192"/>
                    </a:lnTo>
                    <a:lnTo>
                      <a:pt x="73" y="192"/>
                    </a:lnTo>
                    <a:lnTo>
                      <a:pt x="71" y="190"/>
                    </a:lnTo>
                    <a:lnTo>
                      <a:pt x="70" y="190"/>
                    </a:lnTo>
                    <a:lnTo>
                      <a:pt x="70" y="189"/>
                    </a:lnTo>
                    <a:lnTo>
                      <a:pt x="71" y="187"/>
                    </a:lnTo>
                    <a:lnTo>
                      <a:pt x="70" y="187"/>
                    </a:lnTo>
                    <a:lnTo>
                      <a:pt x="70" y="185"/>
                    </a:lnTo>
                    <a:lnTo>
                      <a:pt x="68" y="185"/>
                    </a:lnTo>
                    <a:lnTo>
                      <a:pt x="66" y="185"/>
                    </a:lnTo>
                    <a:lnTo>
                      <a:pt x="65" y="187"/>
                    </a:lnTo>
                    <a:lnTo>
                      <a:pt x="65" y="185"/>
                    </a:lnTo>
                    <a:lnTo>
                      <a:pt x="63" y="185"/>
                    </a:lnTo>
                    <a:lnTo>
                      <a:pt x="61" y="185"/>
                    </a:lnTo>
                    <a:lnTo>
                      <a:pt x="61" y="184"/>
                    </a:lnTo>
                    <a:lnTo>
                      <a:pt x="60" y="184"/>
                    </a:lnTo>
                    <a:lnTo>
                      <a:pt x="58" y="184"/>
                    </a:lnTo>
                    <a:lnTo>
                      <a:pt x="56" y="184"/>
                    </a:lnTo>
                    <a:lnTo>
                      <a:pt x="54" y="182"/>
                    </a:lnTo>
                    <a:lnTo>
                      <a:pt x="53" y="182"/>
                    </a:lnTo>
                    <a:lnTo>
                      <a:pt x="53" y="180"/>
                    </a:lnTo>
                    <a:lnTo>
                      <a:pt x="51" y="180"/>
                    </a:lnTo>
                    <a:lnTo>
                      <a:pt x="51" y="178"/>
                    </a:lnTo>
                    <a:lnTo>
                      <a:pt x="49" y="177"/>
                    </a:lnTo>
                    <a:lnTo>
                      <a:pt x="48" y="177"/>
                    </a:lnTo>
                    <a:lnTo>
                      <a:pt x="48" y="175"/>
                    </a:lnTo>
                    <a:lnTo>
                      <a:pt x="46" y="175"/>
                    </a:lnTo>
                    <a:lnTo>
                      <a:pt x="46" y="173"/>
                    </a:lnTo>
                    <a:lnTo>
                      <a:pt x="44" y="173"/>
                    </a:lnTo>
                    <a:lnTo>
                      <a:pt x="43" y="173"/>
                    </a:lnTo>
                    <a:lnTo>
                      <a:pt x="41" y="173"/>
                    </a:lnTo>
                    <a:lnTo>
                      <a:pt x="39" y="173"/>
                    </a:lnTo>
                    <a:lnTo>
                      <a:pt x="37" y="173"/>
                    </a:lnTo>
                    <a:lnTo>
                      <a:pt x="37" y="172"/>
                    </a:lnTo>
                    <a:lnTo>
                      <a:pt x="36" y="173"/>
                    </a:lnTo>
                    <a:lnTo>
                      <a:pt x="34" y="173"/>
                    </a:lnTo>
                    <a:lnTo>
                      <a:pt x="32" y="173"/>
                    </a:lnTo>
                    <a:lnTo>
                      <a:pt x="31" y="173"/>
                    </a:lnTo>
                    <a:lnTo>
                      <a:pt x="31" y="172"/>
                    </a:lnTo>
                    <a:lnTo>
                      <a:pt x="29" y="173"/>
                    </a:lnTo>
                    <a:lnTo>
                      <a:pt x="27" y="173"/>
                    </a:lnTo>
                    <a:lnTo>
                      <a:pt x="26" y="173"/>
                    </a:lnTo>
                    <a:lnTo>
                      <a:pt x="24" y="173"/>
                    </a:lnTo>
                    <a:lnTo>
                      <a:pt x="24" y="175"/>
                    </a:lnTo>
                    <a:lnTo>
                      <a:pt x="24" y="173"/>
                    </a:lnTo>
                    <a:lnTo>
                      <a:pt x="22" y="175"/>
                    </a:lnTo>
                    <a:lnTo>
                      <a:pt x="20" y="175"/>
                    </a:lnTo>
                    <a:lnTo>
                      <a:pt x="22" y="173"/>
                    </a:lnTo>
                    <a:lnTo>
                      <a:pt x="20" y="173"/>
                    </a:lnTo>
                    <a:lnTo>
                      <a:pt x="20" y="172"/>
                    </a:lnTo>
                    <a:lnTo>
                      <a:pt x="20" y="170"/>
                    </a:lnTo>
                    <a:lnTo>
                      <a:pt x="19" y="170"/>
                    </a:lnTo>
                    <a:lnTo>
                      <a:pt x="19" y="168"/>
                    </a:lnTo>
                    <a:lnTo>
                      <a:pt x="17" y="168"/>
                    </a:lnTo>
                    <a:lnTo>
                      <a:pt x="17" y="167"/>
                    </a:lnTo>
                    <a:lnTo>
                      <a:pt x="15" y="165"/>
                    </a:lnTo>
                    <a:lnTo>
                      <a:pt x="14" y="165"/>
                    </a:lnTo>
                    <a:lnTo>
                      <a:pt x="14" y="163"/>
                    </a:lnTo>
                    <a:lnTo>
                      <a:pt x="12" y="161"/>
                    </a:lnTo>
                    <a:lnTo>
                      <a:pt x="10" y="161"/>
                    </a:lnTo>
                    <a:lnTo>
                      <a:pt x="9" y="161"/>
                    </a:lnTo>
                    <a:lnTo>
                      <a:pt x="9" y="160"/>
                    </a:lnTo>
                    <a:lnTo>
                      <a:pt x="9" y="158"/>
                    </a:lnTo>
                    <a:lnTo>
                      <a:pt x="7" y="156"/>
                    </a:lnTo>
                    <a:lnTo>
                      <a:pt x="7" y="155"/>
                    </a:lnTo>
                    <a:lnTo>
                      <a:pt x="5" y="155"/>
                    </a:lnTo>
                    <a:lnTo>
                      <a:pt x="5" y="153"/>
                    </a:lnTo>
                    <a:lnTo>
                      <a:pt x="3" y="153"/>
                    </a:lnTo>
                    <a:lnTo>
                      <a:pt x="2" y="151"/>
                    </a:lnTo>
                    <a:lnTo>
                      <a:pt x="2" y="150"/>
                    </a:lnTo>
                    <a:lnTo>
                      <a:pt x="2" y="148"/>
                    </a:lnTo>
                    <a:lnTo>
                      <a:pt x="2" y="146"/>
                    </a:lnTo>
                    <a:lnTo>
                      <a:pt x="0" y="144"/>
                    </a:lnTo>
                    <a:lnTo>
                      <a:pt x="0" y="143"/>
                    </a:lnTo>
                    <a:lnTo>
                      <a:pt x="0" y="138"/>
                    </a:lnTo>
                    <a:lnTo>
                      <a:pt x="0" y="136"/>
                    </a:lnTo>
                    <a:lnTo>
                      <a:pt x="0" y="134"/>
                    </a:lnTo>
                    <a:lnTo>
                      <a:pt x="0" y="131"/>
                    </a:lnTo>
                    <a:lnTo>
                      <a:pt x="2" y="129"/>
                    </a:lnTo>
                    <a:lnTo>
                      <a:pt x="2" y="127"/>
                    </a:lnTo>
                    <a:lnTo>
                      <a:pt x="3" y="127"/>
                    </a:lnTo>
                    <a:lnTo>
                      <a:pt x="3" y="126"/>
                    </a:lnTo>
                    <a:lnTo>
                      <a:pt x="3" y="121"/>
                    </a:lnTo>
                    <a:lnTo>
                      <a:pt x="3" y="119"/>
                    </a:lnTo>
                    <a:lnTo>
                      <a:pt x="5" y="119"/>
                    </a:lnTo>
                    <a:lnTo>
                      <a:pt x="7" y="119"/>
                    </a:lnTo>
                    <a:lnTo>
                      <a:pt x="9" y="119"/>
                    </a:lnTo>
                    <a:lnTo>
                      <a:pt x="10" y="117"/>
                    </a:lnTo>
                    <a:lnTo>
                      <a:pt x="12" y="117"/>
                    </a:lnTo>
                    <a:lnTo>
                      <a:pt x="12" y="116"/>
                    </a:lnTo>
                    <a:lnTo>
                      <a:pt x="14" y="116"/>
                    </a:lnTo>
                    <a:lnTo>
                      <a:pt x="14" y="114"/>
                    </a:lnTo>
                    <a:lnTo>
                      <a:pt x="14" y="112"/>
                    </a:lnTo>
                    <a:lnTo>
                      <a:pt x="12" y="110"/>
                    </a:lnTo>
                    <a:lnTo>
                      <a:pt x="12" y="109"/>
                    </a:lnTo>
                    <a:lnTo>
                      <a:pt x="12" y="107"/>
                    </a:lnTo>
                    <a:lnTo>
                      <a:pt x="12" y="105"/>
                    </a:lnTo>
                    <a:lnTo>
                      <a:pt x="12" y="104"/>
                    </a:lnTo>
                    <a:lnTo>
                      <a:pt x="12" y="102"/>
                    </a:lnTo>
                    <a:lnTo>
                      <a:pt x="12" y="100"/>
                    </a:lnTo>
                    <a:lnTo>
                      <a:pt x="10" y="100"/>
                    </a:lnTo>
                    <a:lnTo>
                      <a:pt x="12" y="100"/>
                    </a:lnTo>
                    <a:lnTo>
                      <a:pt x="10" y="99"/>
                    </a:lnTo>
                    <a:lnTo>
                      <a:pt x="10" y="97"/>
                    </a:lnTo>
                    <a:lnTo>
                      <a:pt x="10" y="95"/>
                    </a:lnTo>
                    <a:lnTo>
                      <a:pt x="10" y="93"/>
                    </a:lnTo>
                    <a:lnTo>
                      <a:pt x="9" y="93"/>
                    </a:lnTo>
                    <a:lnTo>
                      <a:pt x="10" y="92"/>
                    </a:lnTo>
                    <a:lnTo>
                      <a:pt x="10" y="90"/>
                    </a:lnTo>
                    <a:lnTo>
                      <a:pt x="10" y="88"/>
                    </a:lnTo>
                    <a:lnTo>
                      <a:pt x="12" y="88"/>
                    </a:lnTo>
                    <a:lnTo>
                      <a:pt x="12" y="87"/>
                    </a:lnTo>
                    <a:lnTo>
                      <a:pt x="14" y="87"/>
                    </a:lnTo>
                    <a:lnTo>
                      <a:pt x="14" y="85"/>
                    </a:lnTo>
                    <a:lnTo>
                      <a:pt x="12" y="85"/>
                    </a:lnTo>
                    <a:lnTo>
                      <a:pt x="12" y="83"/>
                    </a:lnTo>
                    <a:lnTo>
                      <a:pt x="10" y="82"/>
                    </a:lnTo>
                    <a:lnTo>
                      <a:pt x="10" y="80"/>
                    </a:lnTo>
                    <a:lnTo>
                      <a:pt x="10" y="78"/>
                    </a:lnTo>
                    <a:lnTo>
                      <a:pt x="12" y="78"/>
                    </a:lnTo>
                    <a:lnTo>
                      <a:pt x="12" y="76"/>
                    </a:lnTo>
                    <a:lnTo>
                      <a:pt x="12" y="75"/>
                    </a:lnTo>
                    <a:lnTo>
                      <a:pt x="10" y="73"/>
                    </a:lnTo>
                    <a:lnTo>
                      <a:pt x="10" y="71"/>
                    </a:lnTo>
                    <a:lnTo>
                      <a:pt x="10" y="70"/>
                    </a:lnTo>
                    <a:lnTo>
                      <a:pt x="10" y="68"/>
                    </a:lnTo>
                    <a:lnTo>
                      <a:pt x="12" y="68"/>
                    </a:lnTo>
                    <a:lnTo>
                      <a:pt x="14" y="68"/>
                    </a:lnTo>
                    <a:lnTo>
                      <a:pt x="15" y="65"/>
                    </a:lnTo>
                    <a:lnTo>
                      <a:pt x="15" y="63"/>
                    </a:lnTo>
                    <a:lnTo>
                      <a:pt x="17" y="59"/>
                    </a:lnTo>
                    <a:lnTo>
                      <a:pt x="17" y="58"/>
                    </a:lnTo>
                    <a:lnTo>
                      <a:pt x="17" y="56"/>
                    </a:lnTo>
                    <a:lnTo>
                      <a:pt x="15" y="56"/>
                    </a:lnTo>
                    <a:lnTo>
                      <a:pt x="15" y="54"/>
                    </a:lnTo>
                    <a:lnTo>
                      <a:pt x="14" y="54"/>
                    </a:lnTo>
                    <a:lnTo>
                      <a:pt x="14" y="53"/>
                    </a:lnTo>
                    <a:lnTo>
                      <a:pt x="15" y="51"/>
                    </a:lnTo>
                    <a:lnTo>
                      <a:pt x="17" y="51"/>
                    </a:lnTo>
                    <a:lnTo>
                      <a:pt x="17" y="49"/>
                    </a:lnTo>
                    <a:lnTo>
                      <a:pt x="17" y="48"/>
                    </a:lnTo>
                    <a:lnTo>
                      <a:pt x="19" y="46"/>
                    </a:lnTo>
                    <a:lnTo>
                      <a:pt x="19" y="44"/>
                    </a:lnTo>
                    <a:lnTo>
                      <a:pt x="19" y="42"/>
                    </a:lnTo>
                    <a:lnTo>
                      <a:pt x="19" y="41"/>
                    </a:lnTo>
                    <a:lnTo>
                      <a:pt x="19" y="39"/>
                    </a:lnTo>
                    <a:lnTo>
                      <a:pt x="20" y="39"/>
                    </a:lnTo>
                    <a:lnTo>
                      <a:pt x="20" y="37"/>
                    </a:lnTo>
                    <a:lnTo>
                      <a:pt x="20" y="36"/>
                    </a:lnTo>
                    <a:lnTo>
                      <a:pt x="20" y="34"/>
                    </a:lnTo>
                    <a:lnTo>
                      <a:pt x="19" y="34"/>
                    </a:lnTo>
                    <a:lnTo>
                      <a:pt x="19" y="32"/>
                    </a:lnTo>
                    <a:lnTo>
                      <a:pt x="20" y="32"/>
                    </a:lnTo>
                    <a:lnTo>
                      <a:pt x="22" y="32"/>
                    </a:lnTo>
                    <a:lnTo>
                      <a:pt x="22" y="31"/>
                    </a:lnTo>
                    <a:lnTo>
                      <a:pt x="22" y="27"/>
                    </a:lnTo>
                    <a:lnTo>
                      <a:pt x="22" y="25"/>
                    </a:lnTo>
                    <a:lnTo>
                      <a:pt x="22" y="24"/>
                    </a:lnTo>
                    <a:lnTo>
                      <a:pt x="22" y="22"/>
                    </a:lnTo>
                    <a:lnTo>
                      <a:pt x="22" y="20"/>
                    </a:lnTo>
                    <a:lnTo>
                      <a:pt x="20" y="19"/>
                    </a:lnTo>
                    <a:lnTo>
                      <a:pt x="20" y="17"/>
                    </a:lnTo>
                    <a:lnTo>
                      <a:pt x="20" y="15"/>
                    </a:lnTo>
                    <a:lnTo>
                      <a:pt x="20" y="13"/>
                    </a:lnTo>
                    <a:lnTo>
                      <a:pt x="22" y="13"/>
                    </a:lnTo>
                    <a:lnTo>
                      <a:pt x="24" y="13"/>
                    </a:lnTo>
                    <a:lnTo>
                      <a:pt x="24" y="12"/>
                    </a:lnTo>
                    <a:lnTo>
                      <a:pt x="26" y="12"/>
                    </a:lnTo>
                    <a:lnTo>
                      <a:pt x="27" y="10"/>
                    </a:lnTo>
                    <a:lnTo>
                      <a:pt x="29" y="10"/>
                    </a:lnTo>
                    <a:lnTo>
                      <a:pt x="29" y="8"/>
                    </a:lnTo>
                    <a:lnTo>
                      <a:pt x="29" y="7"/>
                    </a:lnTo>
                    <a:lnTo>
                      <a:pt x="29" y="5"/>
                    </a:lnTo>
                    <a:lnTo>
                      <a:pt x="29" y="3"/>
                    </a:lnTo>
                    <a:lnTo>
                      <a:pt x="27" y="3"/>
                    </a:lnTo>
                    <a:lnTo>
                      <a:pt x="29" y="3"/>
                    </a:lnTo>
                    <a:lnTo>
                      <a:pt x="31" y="3"/>
                    </a:lnTo>
                    <a:lnTo>
                      <a:pt x="31" y="5"/>
                    </a:lnTo>
                    <a:lnTo>
                      <a:pt x="31" y="7"/>
                    </a:lnTo>
                    <a:lnTo>
                      <a:pt x="32" y="7"/>
                    </a:lnTo>
                    <a:lnTo>
                      <a:pt x="34" y="7"/>
                    </a:lnTo>
                    <a:lnTo>
                      <a:pt x="36" y="7"/>
                    </a:lnTo>
                    <a:lnTo>
                      <a:pt x="36" y="8"/>
                    </a:lnTo>
                    <a:lnTo>
                      <a:pt x="37" y="8"/>
                    </a:lnTo>
                    <a:lnTo>
                      <a:pt x="37" y="7"/>
                    </a:lnTo>
                    <a:lnTo>
                      <a:pt x="39" y="7"/>
                    </a:lnTo>
                    <a:lnTo>
                      <a:pt x="39" y="5"/>
                    </a:lnTo>
                    <a:lnTo>
                      <a:pt x="39" y="7"/>
                    </a:lnTo>
                    <a:lnTo>
                      <a:pt x="41" y="7"/>
                    </a:lnTo>
                    <a:lnTo>
                      <a:pt x="43" y="7"/>
                    </a:lnTo>
                    <a:lnTo>
                      <a:pt x="44" y="5"/>
                    </a:lnTo>
                    <a:lnTo>
                      <a:pt x="44" y="3"/>
                    </a:lnTo>
                    <a:lnTo>
                      <a:pt x="46" y="2"/>
                    </a:lnTo>
                    <a:lnTo>
                      <a:pt x="46" y="0"/>
                    </a:lnTo>
                    <a:lnTo>
                      <a:pt x="48" y="0"/>
                    </a:lnTo>
                    <a:lnTo>
                      <a:pt x="49" y="0"/>
                    </a:lnTo>
                    <a:lnTo>
                      <a:pt x="51" y="0"/>
                    </a:lnTo>
                    <a:lnTo>
                      <a:pt x="53" y="0"/>
                    </a:lnTo>
                    <a:lnTo>
                      <a:pt x="54" y="0"/>
                    </a:lnTo>
                    <a:lnTo>
                      <a:pt x="56" y="0"/>
                    </a:lnTo>
                    <a:lnTo>
                      <a:pt x="58" y="0"/>
                    </a:lnTo>
                    <a:lnTo>
                      <a:pt x="58" y="2"/>
                    </a:lnTo>
                    <a:lnTo>
                      <a:pt x="60" y="3"/>
                    </a:lnTo>
                    <a:lnTo>
                      <a:pt x="61" y="3"/>
                    </a:lnTo>
                    <a:lnTo>
                      <a:pt x="61" y="5"/>
                    </a:lnTo>
                    <a:lnTo>
                      <a:pt x="63" y="5"/>
                    </a:lnTo>
                    <a:lnTo>
                      <a:pt x="63" y="7"/>
                    </a:lnTo>
                    <a:lnTo>
                      <a:pt x="65" y="7"/>
                    </a:lnTo>
                    <a:lnTo>
                      <a:pt x="65" y="8"/>
                    </a:lnTo>
                    <a:lnTo>
                      <a:pt x="66" y="8"/>
                    </a:lnTo>
                    <a:lnTo>
                      <a:pt x="65" y="8"/>
                    </a:lnTo>
                    <a:lnTo>
                      <a:pt x="65" y="10"/>
                    </a:lnTo>
                    <a:lnTo>
                      <a:pt x="66" y="10"/>
                    </a:lnTo>
                    <a:lnTo>
                      <a:pt x="66" y="12"/>
                    </a:lnTo>
                    <a:lnTo>
                      <a:pt x="68" y="12"/>
                    </a:lnTo>
                    <a:lnTo>
                      <a:pt x="68" y="10"/>
                    </a:lnTo>
                    <a:lnTo>
                      <a:pt x="68" y="12"/>
                    </a:lnTo>
                    <a:lnTo>
                      <a:pt x="70" y="13"/>
                    </a:lnTo>
                    <a:lnTo>
                      <a:pt x="70" y="12"/>
                    </a:lnTo>
                    <a:lnTo>
                      <a:pt x="70" y="13"/>
                    </a:lnTo>
                    <a:lnTo>
                      <a:pt x="70" y="15"/>
                    </a:lnTo>
                    <a:lnTo>
                      <a:pt x="71" y="15"/>
                    </a:lnTo>
                    <a:lnTo>
                      <a:pt x="73" y="15"/>
                    </a:lnTo>
                    <a:lnTo>
                      <a:pt x="73" y="17"/>
                    </a:lnTo>
                    <a:lnTo>
                      <a:pt x="75" y="17"/>
                    </a:lnTo>
                    <a:lnTo>
                      <a:pt x="75" y="19"/>
                    </a:lnTo>
                    <a:lnTo>
                      <a:pt x="77" y="19"/>
                    </a:lnTo>
                    <a:lnTo>
                      <a:pt x="77" y="20"/>
                    </a:lnTo>
                    <a:lnTo>
                      <a:pt x="77" y="19"/>
                    </a:lnTo>
                    <a:lnTo>
                      <a:pt x="78" y="20"/>
                    </a:lnTo>
                    <a:lnTo>
                      <a:pt x="78" y="22"/>
                    </a:lnTo>
                    <a:lnTo>
                      <a:pt x="78" y="24"/>
                    </a:lnTo>
                    <a:lnTo>
                      <a:pt x="80" y="24"/>
                    </a:lnTo>
                    <a:lnTo>
                      <a:pt x="80" y="25"/>
                    </a:lnTo>
                    <a:lnTo>
                      <a:pt x="80" y="24"/>
                    </a:lnTo>
                    <a:lnTo>
                      <a:pt x="80" y="25"/>
                    </a:lnTo>
                    <a:lnTo>
                      <a:pt x="82" y="25"/>
                    </a:lnTo>
                    <a:lnTo>
                      <a:pt x="83" y="27"/>
                    </a:lnTo>
                    <a:lnTo>
                      <a:pt x="83" y="29"/>
                    </a:lnTo>
                    <a:lnTo>
                      <a:pt x="85" y="31"/>
                    </a:lnTo>
                    <a:lnTo>
                      <a:pt x="85" y="32"/>
                    </a:lnTo>
                    <a:lnTo>
                      <a:pt x="87" y="32"/>
                    </a:lnTo>
                    <a:lnTo>
                      <a:pt x="87" y="34"/>
                    </a:lnTo>
                    <a:lnTo>
                      <a:pt x="88" y="34"/>
                    </a:lnTo>
                    <a:lnTo>
                      <a:pt x="88" y="36"/>
                    </a:lnTo>
                    <a:lnTo>
                      <a:pt x="90" y="36"/>
                    </a:lnTo>
                    <a:lnTo>
                      <a:pt x="92" y="36"/>
                    </a:lnTo>
                    <a:lnTo>
                      <a:pt x="92" y="34"/>
                    </a:lnTo>
                    <a:lnTo>
                      <a:pt x="94" y="34"/>
                    </a:lnTo>
                    <a:lnTo>
                      <a:pt x="94" y="32"/>
                    </a:lnTo>
                    <a:lnTo>
                      <a:pt x="94" y="34"/>
                    </a:lnTo>
                    <a:lnTo>
                      <a:pt x="94" y="32"/>
                    </a:lnTo>
                    <a:lnTo>
                      <a:pt x="95" y="34"/>
                    </a:lnTo>
                    <a:lnTo>
                      <a:pt x="95" y="32"/>
                    </a:lnTo>
                    <a:lnTo>
                      <a:pt x="95" y="31"/>
                    </a:lnTo>
                    <a:lnTo>
                      <a:pt x="95" y="29"/>
                    </a:lnTo>
                    <a:lnTo>
                      <a:pt x="97" y="29"/>
                    </a:lnTo>
                    <a:lnTo>
                      <a:pt x="99" y="29"/>
                    </a:lnTo>
                    <a:lnTo>
                      <a:pt x="99" y="31"/>
                    </a:lnTo>
                    <a:lnTo>
                      <a:pt x="100" y="31"/>
                    </a:lnTo>
                    <a:lnTo>
                      <a:pt x="100" y="32"/>
                    </a:lnTo>
                    <a:lnTo>
                      <a:pt x="102" y="32"/>
                    </a:lnTo>
                    <a:lnTo>
                      <a:pt x="102" y="34"/>
                    </a:lnTo>
                    <a:lnTo>
                      <a:pt x="104" y="34"/>
                    </a:lnTo>
                    <a:lnTo>
                      <a:pt x="102" y="36"/>
                    </a:lnTo>
                    <a:lnTo>
                      <a:pt x="104" y="36"/>
                    </a:lnTo>
                    <a:lnTo>
                      <a:pt x="105" y="36"/>
                    </a:lnTo>
                    <a:lnTo>
                      <a:pt x="105" y="37"/>
                    </a:lnTo>
                    <a:lnTo>
                      <a:pt x="105" y="39"/>
                    </a:lnTo>
                    <a:lnTo>
                      <a:pt x="107" y="39"/>
                    </a:lnTo>
                    <a:lnTo>
                      <a:pt x="105" y="41"/>
                    </a:lnTo>
                    <a:lnTo>
                      <a:pt x="107" y="41"/>
                    </a:lnTo>
                    <a:lnTo>
                      <a:pt x="109" y="42"/>
                    </a:lnTo>
                    <a:lnTo>
                      <a:pt x="107" y="42"/>
                    </a:lnTo>
                    <a:lnTo>
                      <a:pt x="109" y="42"/>
                    </a:lnTo>
                    <a:lnTo>
                      <a:pt x="109" y="44"/>
                    </a:lnTo>
                    <a:lnTo>
                      <a:pt x="109" y="46"/>
                    </a:lnTo>
                    <a:lnTo>
                      <a:pt x="111" y="46"/>
                    </a:lnTo>
                    <a:lnTo>
                      <a:pt x="112" y="46"/>
                    </a:lnTo>
                    <a:lnTo>
                      <a:pt x="112" y="48"/>
                    </a:lnTo>
                    <a:lnTo>
                      <a:pt x="114" y="48"/>
                    </a:lnTo>
                    <a:lnTo>
                      <a:pt x="116" y="48"/>
                    </a:lnTo>
                    <a:lnTo>
                      <a:pt x="116" y="46"/>
                    </a:lnTo>
                    <a:lnTo>
                      <a:pt x="117" y="46"/>
                    </a:lnTo>
                    <a:lnTo>
                      <a:pt x="117" y="48"/>
                    </a:lnTo>
                    <a:lnTo>
                      <a:pt x="119" y="48"/>
                    </a:lnTo>
                    <a:lnTo>
                      <a:pt x="119" y="49"/>
                    </a:lnTo>
                    <a:lnTo>
                      <a:pt x="119" y="51"/>
                    </a:lnTo>
                    <a:lnTo>
                      <a:pt x="121" y="51"/>
                    </a:lnTo>
                    <a:lnTo>
                      <a:pt x="121" y="49"/>
                    </a:lnTo>
                    <a:lnTo>
                      <a:pt x="122" y="51"/>
                    </a:lnTo>
                    <a:lnTo>
                      <a:pt x="122" y="53"/>
                    </a:lnTo>
                    <a:lnTo>
                      <a:pt x="124" y="53"/>
                    </a:lnTo>
                    <a:lnTo>
                      <a:pt x="126" y="53"/>
                    </a:lnTo>
                    <a:lnTo>
                      <a:pt x="126" y="51"/>
                    </a:lnTo>
                    <a:lnTo>
                      <a:pt x="128" y="53"/>
                    </a:lnTo>
                    <a:lnTo>
                      <a:pt x="129" y="53"/>
                    </a:lnTo>
                    <a:lnTo>
                      <a:pt x="131" y="53"/>
                    </a:lnTo>
                    <a:lnTo>
                      <a:pt x="133" y="54"/>
                    </a:lnTo>
                    <a:lnTo>
                      <a:pt x="134" y="54"/>
                    </a:lnTo>
                    <a:lnTo>
                      <a:pt x="134" y="56"/>
                    </a:lnTo>
                    <a:lnTo>
                      <a:pt x="134" y="58"/>
                    </a:lnTo>
                    <a:lnTo>
                      <a:pt x="136" y="58"/>
                    </a:lnTo>
                    <a:lnTo>
                      <a:pt x="136" y="59"/>
                    </a:lnTo>
                    <a:lnTo>
                      <a:pt x="136" y="61"/>
                    </a:lnTo>
                    <a:lnTo>
                      <a:pt x="139" y="65"/>
                    </a:lnTo>
                    <a:lnTo>
                      <a:pt x="141" y="66"/>
                    </a:lnTo>
                    <a:lnTo>
                      <a:pt x="143" y="66"/>
                    </a:lnTo>
                    <a:lnTo>
                      <a:pt x="143" y="68"/>
                    </a:lnTo>
                    <a:lnTo>
                      <a:pt x="145" y="68"/>
                    </a:lnTo>
                    <a:lnTo>
                      <a:pt x="145" y="70"/>
                    </a:lnTo>
                    <a:lnTo>
                      <a:pt x="146" y="70"/>
                    </a:lnTo>
                    <a:lnTo>
                      <a:pt x="146" y="71"/>
                    </a:lnTo>
                    <a:lnTo>
                      <a:pt x="148" y="71"/>
                    </a:lnTo>
                    <a:lnTo>
                      <a:pt x="150" y="71"/>
                    </a:lnTo>
                    <a:lnTo>
                      <a:pt x="150" y="70"/>
                    </a:lnTo>
                    <a:lnTo>
                      <a:pt x="151" y="71"/>
                    </a:lnTo>
                    <a:lnTo>
                      <a:pt x="153" y="71"/>
                    </a:lnTo>
                    <a:lnTo>
                      <a:pt x="151" y="71"/>
                    </a:lnTo>
                    <a:lnTo>
                      <a:pt x="153" y="73"/>
                    </a:lnTo>
                    <a:lnTo>
                      <a:pt x="155" y="73"/>
                    </a:lnTo>
                    <a:lnTo>
                      <a:pt x="155" y="75"/>
                    </a:lnTo>
                    <a:lnTo>
                      <a:pt x="156" y="75"/>
                    </a:lnTo>
                    <a:lnTo>
                      <a:pt x="156" y="76"/>
                    </a:lnTo>
                    <a:lnTo>
                      <a:pt x="158" y="78"/>
                    </a:lnTo>
                    <a:lnTo>
                      <a:pt x="158" y="76"/>
                    </a:lnTo>
                    <a:lnTo>
                      <a:pt x="160" y="78"/>
                    </a:lnTo>
                    <a:lnTo>
                      <a:pt x="160" y="80"/>
                    </a:lnTo>
                    <a:lnTo>
                      <a:pt x="162" y="80"/>
                    </a:lnTo>
                    <a:lnTo>
                      <a:pt x="160" y="82"/>
                    </a:lnTo>
                    <a:lnTo>
                      <a:pt x="162" y="82"/>
                    </a:lnTo>
                    <a:lnTo>
                      <a:pt x="162" y="83"/>
                    </a:lnTo>
                    <a:lnTo>
                      <a:pt x="162" y="85"/>
                    </a:lnTo>
                    <a:lnTo>
                      <a:pt x="163" y="85"/>
                    </a:lnTo>
                    <a:lnTo>
                      <a:pt x="163" y="87"/>
                    </a:lnTo>
                    <a:lnTo>
                      <a:pt x="163" y="88"/>
                    </a:lnTo>
                    <a:lnTo>
                      <a:pt x="163" y="90"/>
                    </a:lnTo>
                    <a:lnTo>
                      <a:pt x="165" y="90"/>
                    </a:lnTo>
                    <a:lnTo>
                      <a:pt x="165" y="92"/>
                    </a:lnTo>
                    <a:lnTo>
                      <a:pt x="167" y="93"/>
                    </a:lnTo>
                    <a:lnTo>
                      <a:pt x="168" y="93"/>
                    </a:lnTo>
                    <a:lnTo>
                      <a:pt x="170" y="93"/>
                    </a:lnTo>
                    <a:lnTo>
                      <a:pt x="170" y="95"/>
                    </a:lnTo>
                    <a:lnTo>
                      <a:pt x="170" y="97"/>
                    </a:lnTo>
                    <a:lnTo>
                      <a:pt x="172" y="97"/>
                    </a:lnTo>
                    <a:lnTo>
                      <a:pt x="172" y="99"/>
                    </a:lnTo>
                    <a:lnTo>
                      <a:pt x="172" y="97"/>
                    </a:lnTo>
                    <a:lnTo>
                      <a:pt x="173" y="99"/>
                    </a:lnTo>
                    <a:lnTo>
                      <a:pt x="175" y="99"/>
                    </a:lnTo>
                    <a:lnTo>
                      <a:pt x="177" y="99"/>
                    </a:lnTo>
                    <a:lnTo>
                      <a:pt x="177" y="100"/>
                    </a:lnTo>
                    <a:lnTo>
                      <a:pt x="179" y="100"/>
                    </a:lnTo>
                    <a:lnTo>
                      <a:pt x="179" y="102"/>
                    </a:lnTo>
                    <a:lnTo>
                      <a:pt x="182" y="104"/>
                    </a:lnTo>
                    <a:lnTo>
                      <a:pt x="180" y="104"/>
                    </a:lnTo>
                    <a:lnTo>
                      <a:pt x="180" y="105"/>
                    </a:lnTo>
                    <a:lnTo>
                      <a:pt x="179" y="105"/>
                    </a:lnTo>
                    <a:lnTo>
                      <a:pt x="177" y="107"/>
                    </a:lnTo>
                    <a:lnTo>
                      <a:pt x="177" y="109"/>
                    </a:lnTo>
                    <a:lnTo>
                      <a:pt x="175" y="109"/>
                    </a:lnTo>
                    <a:lnTo>
                      <a:pt x="175" y="110"/>
                    </a:lnTo>
                    <a:lnTo>
                      <a:pt x="175" y="112"/>
                    </a:lnTo>
                    <a:lnTo>
                      <a:pt x="175" y="114"/>
                    </a:lnTo>
                    <a:lnTo>
                      <a:pt x="173" y="114"/>
                    </a:lnTo>
                    <a:lnTo>
                      <a:pt x="170" y="119"/>
                    </a:lnTo>
                    <a:lnTo>
                      <a:pt x="168" y="119"/>
                    </a:lnTo>
                    <a:lnTo>
                      <a:pt x="168" y="121"/>
                    </a:lnTo>
                    <a:lnTo>
                      <a:pt x="168" y="122"/>
                    </a:lnTo>
                    <a:lnTo>
                      <a:pt x="167" y="122"/>
                    </a:lnTo>
                    <a:lnTo>
                      <a:pt x="167" y="124"/>
                    </a:lnTo>
                    <a:lnTo>
                      <a:pt x="167" y="126"/>
                    </a:lnTo>
                    <a:lnTo>
                      <a:pt x="167" y="127"/>
                    </a:lnTo>
                    <a:lnTo>
                      <a:pt x="168" y="129"/>
                    </a:lnTo>
                    <a:lnTo>
                      <a:pt x="168" y="131"/>
                    </a:lnTo>
                    <a:lnTo>
                      <a:pt x="168" y="134"/>
                    </a:lnTo>
                    <a:lnTo>
                      <a:pt x="167" y="136"/>
                    </a:lnTo>
                    <a:lnTo>
                      <a:pt x="167" y="138"/>
                    </a:lnTo>
                    <a:lnTo>
                      <a:pt x="167" y="139"/>
                    </a:lnTo>
                    <a:lnTo>
                      <a:pt x="167" y="141"/>
                    </a:lnTo>
                    <a:lnTo>
                      <a:pt x="167" y="143"/>
                    </a:lnTo>
                    <a:lnTo>
                      <a:pt x="168" y="143"/>
                    </a:lnTo>
                    <a:lnTo>
                      <a:pt x="170" y="143"/>
                    </a:lnTo>
                    <a:lnTo>
                      <a:pt x="170" y="144"/>
                    </a:lnTo>
                    <a:lnTo>
                      <a:pt x="172" y="144"/>
                    </a:lnTo>
                    <a:close/>
                    <a:moveTo>
                      <a:pt x="3" y="153"/>
                    </a:moveTo>
                    <a:lnTo>
                      <a:pt x="3" y="155"/>
                    </a:lnTo>
                    <a:lnTo>
                      <a:pt x="3" y="153"/>
                    </a:lnTo>
                    <a:close/>
                    <a:moveTo>
                      <a:pt x="70" y="187"/>
                    </a:moveTo>
                    <a:lnTo>
                      <a:pt x="71" y="187"/>
                    </a:lnTo>
                    <a:lnTo>
                      <a:pt x="70" y="187"/>
                    </a:lnTo>
                    <a:close/>
                    <a:moveTo>
                      <a:pt x="5" y="156"/>
                    </a:moveTo>
                    <a:lnTo>
                      <a:pt x="5" y="158"/>
                    </a:lnTo>
                    <a:lnTo>
                      <a:pt x="5" y="156"/>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81" name="Freeform 59">
                <a:extLst>
                  <a:ext uri="{FF2B5EF4-FFF2-40B4-BE49-F238E27FC236}">
                    <a16:creationId xmlns:a16="http://schemas.microsoft.com/office/drawing/2014/main" id="{F09156C3-02AF-7424-2C52-BFDF736C2126}"/>
                  </a:ext>
                </a:extLst>
              </p:cNvPr>
              <p:cNvSpPr>
                <a:spLocks noEditPoints="1"/>
              </p:cNvSpPr>
              <p:nvPr/>
            </p:nvSpPr>
            <p:spPr bwMode="auto">
              <a:xfrm>
                <a:off x="5651260" y="2824952"/>
                <a:ext cx="134228" cy="115431"/>
              </a:xfrm>
              <a:custGeom>
                <a:avLst/>
                <a:gdLst>
                  <a:gd name="T0" fmla="*/ 428 w 457"/>
                  <a:gd name="T1" fmla="*/ 157 h 393"/>
                  <a:gd name="T2" fmla="*/ 433 w 457"/>
                  <a:gd name="T3" fmla="*/ 181 h 393"/>
                  <a:gd name="T4" fmla="*/ 409 w 457"/>
                  <a:gd name="T5" fmla="*/ 194 h 393"/>
                  <a:gd name="T6" fmla="*/ 426 w 457"/>
                  <a:gd name="T7" fmla="*/ 238 h 393"/>
                  <a:gd name="T8" fmla="*/ 408 w 457"/>
                  <a:gd name="T9" fmla="*/ 262 h 393"/>
                  <a:gd name="T10" fmla="*/ 380 w 457"/>
                  <a:gd name="T11" fmla="*/ 276 h 393"/>
                  <a:gd name="T12" fmla="*/ 357 w 457"/>
                  <a:gd name="T13" fmla="*/ 286 h 393"/>
                  <a:gd name="T14" fmla="*/ 333 w 457"/>
                  <a:gd name="T15" fmla="*/ 281 h 393"/>
                  <a:gd name="T16" fmla="*/ 311 w 457"/>
                  <a:gd name="T17" fmla="*/ 279 h 393"/>
                  <a:gd name="T18" fmla="*/ 292 w 457"/>
                  <a:gd name="T19" fmla="*/ 279 h 393"/>
                  <a:gd name="T20" fmla="*/ 312 w 457"/>
                  <a:gd name="T21" fmla="*/ 317 h 393"/>
                  <a:gd name="T22" fmla="*/ 336 w 457"/>
                  <a:gd name="T23" fmla="*/ 334 h 393"/>
                  <a:gd name="T24" fmla="*/ 312 w 457"/>
                  <a:gd name="T25" fmla="*/ 352 h 393"/>
                  <a:gd name="T26" fmla="*/ 292 w 457"/>
                  <a:gd name="T27" fmla="*/ 371 h 393"/>
                  <a:gd name="T28" fmla="*/ 270 w 457"/>
                  <a:gd name="T29" fmla="*/ 383 h 393"/>
                  <a:gd name="T30" fmla="*/ 249 w 457"/>
                  <a:gd name="T31" fmla="*/ 385 h 393"/>
                  <a:gd name="T32" fmla="*/ 212 w 457"/>
                  <a:gd name="T33" fmla="*/ 352 h 393"/>
                  <a:gd name="T34" fmla="*/ 192 w 457"/>
                  <a:gd name="T35" fmla="*/ 320 h 393"/>
                  <a:gd name="T36" fmla="*/ 192 w 457"/>
                  <a:gd name="T37" fmla="*/ 288 h 393"/>
                  <a:gd name="T38" fmla="*/ 185 w 457"/>
                  <a:gd name="T39" fmla="*/ 252 h 393"/>
                  <a:gd name="T40" fmla="*/ 195 w 457"/>
                  <a:gd name="T41" fmla="*/ 216 h 393"/>
                  <a:gd name="T42" fmla="*/ 171 w 457"/>
                  <a:gd name="T43" fmla="*/ 206 h 393"/>
                  <a:gd name="T44" fmla="*/ 120 w 457"/>
                  <a:gd name="T45" fmla="*/ 194 h 393"/>
                  <a:gd name="T46" fmla="*/ 76 w 457"/>
                  <a:gd name="T47" fmla="*/ 179 h 393"/>
                  <a:gd name="T48" fmla="*/ 40 w 457"/>
                  <a:gd name="T49" fmla="*/ 167 h 393"/>
                  <a:gd name="T50" fmla="*/ 32 w 457"/>
                  <a:gd name="T51" fmla="*/ 141 h 393"/>
                  <a:gd name="T52" fmla="*/ 11 w 457"/>
                  <a:gd name="T53" fmla="*/ 106 h 393"/>
                  <a:gd name="T54" fmla="*/ 11 w 457"/>
                  <a:gd name="T55" fmla="*/ 82 h 393"/>
                  <a:gd name="T56" fmla="*/ 25 w 457"/>
                  <a:gd name="T57" fmla="*/ 44 h 393"/>
                  <a:gd name="T58" fmla="*/ 64 w 457"/>
                  <a:gd name="T59" fmla="*/ 16 h 393"/>
                  <a:gd name="T60" fmla="*/ 57 w 457"/>
                  <a:gd name="T61" fmla="*/ 41 h 393"/>
                  <a:gd name="T62" fmla="*/ 49 w 457"/>
                  <a:gd name="T63" fmla="*/ 72 h 393"/>
                  <a:gd name="T64" fmla="*/ 47 w 457"/>
                  <a:gd name="T65" fmla="*/ 97 h 393"/>
                  <a:gd name="T66" fmla="*/ 62 w 457"/>
                  <a:gd name="T67" fmla="*/ 107 h 393"/>
                  <a:gd name="T68" fmla="*/ 71 w 457"/>
                  <a:gd name="T69" fmla="*/ 77 h 393"/>
                  <a:gd name="T70" fmla="*/ 62 w 457"/>
                  <a:gd name="T71" fmla="*/ 44 h 393"/>
                  <a:gd name="T72" fmla="*/ 96 w 457"/>
                  <a:gd name="T73" fmla="*/ 31 h 393"/>
                  <a:gd name="T74" fmla="*/ 113 w 457"/>
                  <a:gd name="T75" fmla="*/ 24 h 393"/>
                  <a:gd name="T76" fmla="*/ 105 w 457"/>
                  <a:gd name="T77" fmla="*/ 19 h 393"/>
                  <a:gd name="T78" fmla="*/ 119 w 457"/>
                  <a:gd name="T79" fmla="*/ 9 h 393"/>
                  <a:gd name="T80" fmla="*/ 153 w 457"/>
                  <a:gd name="T81" fmla="*/ 27 h 393"/>
                  <a:gd name="T82" fmla="*/ 170 w 457"/>
                  <a:gd name="T83" fmla="*/ 48 h 393"/>
                  <a:gd name="T84" fmla="*/ 200 w 457"/>
                  <a:gd name="T85" fmla="*/ 56 h 393"/>
                  <a:gd name="T86" fmla="*/ 244 w 457"/>
                  <a:gd name="T87" fmla="*/ 56 h 393"/>
                  <a:gd name="T88" fmla="*/ 282 w 457"/>
                  <a:gd name="T89" fmla="*/ 73 h 393"/>
                  <a:gd name="T90" fmla="*/ 307 w 457"/>
                  <a:gd name="T91" fmla="*/ 61 h 393"/>
                  <a:gd name="T92" fmla="*/ 311 w 457"/>
                  <a:gd name="T93" fmla="*/ 56 h 393"/>
                  <a:gd name="T94" fmla="*/ 329 w 457"/>
                  <a:gd name="T95" fmla="*/ 53 h 393"/>
                  <a:gd name="T96" fmla="*/ 370 w 457"/>
                  <a:gd name="T97" fmla="*/ 51 h 393"/>
                  <a:gd name="T98" fmla="*/ 363 w 457"/>
                  <a:gd name="T99" fmla="*/ 56 h 393"/>
                  <a:gd name="T100" fmla="*/ 370 w 457"/>
                  <a:gd name="T101" fmla="*/ 78 h 393"/>
                  <a:gd name="T102" fmla="*/ 399 w 457"/>
                  <a:gd name="T103" fmla="*/ 82 h 393"/>
                  <a:gd name="T104" fmla="*/ 419 w 457"/>
                  <a:gd name="T105" fmla="*/ 101 h 393"/>
                  <a:gd name="T106" fmla="*/ 423 w 457"/>
                  <a:gd name="T107" fmla="*/ 116 h 393"/>
                  <a:gd name="T108" fmla="*/ 436 w 457"/>
                  <a:gd name="T109" fmla="*/ 124 h 393"/>
                  <a:gd name="T110" fmla="*/ 311 w 457"/>
                  <a:gd name="T111" fmla="*/ 44 h 393"/>
                  <a:gd name="T112" fmla="*/ 309 w 457"/>
                  <a:gd name="T113" fmla="*/ 39 h 393"/>
                  <a:gd name="T114" fmla="*/ 295 w 457"/>
                  <a:gd name="T115" fmla="*/ 10 h 393"/>
                  <a:gd name="T116" fmla="*/ 226 w 457"/>
                  <a:gd name="T117" fmla="*/ 14 h 393"/>
                  <a:gd name="T118" fmla="*/ 221 w 457"/>
                  <a:gd name="T119" fmla="*/ 10 h 393"/>
                  <a:gd name="T120" fmla="*/ 302 w 457"/>
                  <a:gd name="T121" fmla="*/ 63 h 393"/>
                  <a:gd name="T122" fmla="*/ 190 w 457"/>
                  <a:gd name="T123" fmla="*/ 7 h 393"/>
                  <a:gd name="T124" fmla="*/ 219 w 457"/>
                  <a:gd name="T125"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7" h="393">
                    <a:moveTo>
                      <a:pt x="450" y="126"/>
                    </a:moveTo>
                    <a:lnTo>
                      <a:pt x="452" y="128"/>
                    </a:lnTo>
                    <a:lnTo>
                      <a:pt x="453" y="130"/>
                    </a:lnTo>
                    <a:lnTo>
                      <a:pt x="455" y="133"/>
                    </a:lnTo>
                    <a:lnTo>
                      <a:pt x="457" y="135"/>
                    </a:lnTo>
                    <a:lnTo>
                      <a:pt x="455" y="135"/>
                    </a:lnTo>
                    <a:lnTo>
                      <a:pt x="455" y="136"/>
                    </a:lnTo>
                    <a:lnTo>
                      <a:pt x="452" y="136"/>
                    </a:lnTo>
                    <a:lnTo>
                      <a:pt x="450" y="138"/>
                    </a:lnTo>
                    <a:lnTo>
                      <a:pt x="450" y="140"/>
                    </a:lnTo>
                    <a:lnTo>
                      <a:pt x="450" y="141"/>
                    </a:lnTo>
                    <a:lnTo>
                      <a:pt x="448" y="141"/>
                    </a:lnTo>
                    <a:lnTo>
                      <a:pt x="448" y="143"/>
                    </a:lnTo>
                    <a:lnTo>
                      <a:pt x="447" y="143"/>
                    </a:lnTo>
                    <a:lnTo>
                      <a:pt x="445" y="143"/>
                    </a:lnTo>
                    <a:lnTo>
                      <a:pt x="445" y="145"/>
                    </a:lnTo>
                    <a:lnTo>
                      <a:pt x="443" y="145"/>
                    </a:lnTo>
                    <a:lnTo>
                      <a:pt x="442" y="145"/>
                    </a:lnTo>
                    <a:lnTo>
                      <a:pt x="442" y="147"/>
                    </a:lnTo>
                    <a:lnTo>
                      <a:pt x="440" y="148"/>
                    </a:lnTo>
                    <a:lnTo>
                      <a:pt x="438" y="148"/>
                    </a:lnTo>
                    <a:lnTo>
                      <a:pt x="438" y="150"/>
                    </a:lnTo>
                    <a:lnTo>
                      <a:pt x="436" y="150"/>
                    </a:lnTo>
                    <a:lnTo>
                      <a:pt x="435" y="150"/>
                    </a:lnTo>
                    <a:lnTo>
                      <a:pt x="433" y="150"/>
                    </a:lnTo>
                    <a:lnTo>
                      <a:pt x="431" y="150"/>
                    </a:lnTo>
                    <a:lnTo>
                      <a:pt x="431" y="152"/>
                    </a:lnTo>
                    <a:lnTo>
                      <a:pt x="430" y="153"/>
                    </a:lnTo>
                    <a:lnTo>
                      <a:pt x="430" y="155"/>
                    </a:lnTo>
                    <a:lnTo>
                      <a:pt x="430" y="157"/>
                    </a:lnTo>
                    <a:lnTo>
                      <a:pt x="428" y="157"/>
                    </a:lnTo>
                    <a:lnTo>
                      <a:pt x="428" y="158"/>
                    </a:lnTo>
                    <a:lnTo>
                      <a:pt x="428" y="160"/>
                    </a:lnTo>
                    <a:lnTo>
                      <a:pt x="428" y="162"/>
                    </a:lnTo>
                    <a:lnTo>
                      <a:pt x="428" y="164"/>
                    </a:lnTo>
                    <a:lnTo>
                      <a:pt x="428" y="165"/>
                    </a:lnTo>
                    <a:lnTo>
                      <a:pt x="430" y="165"/>
                    </a:lnTo>
                    <a:lnTo>
                      <a:pt x="430" y="167"/>
                    </a:lnTo>
                    <a:lnTo>
                      <a:pt x="430" y="169"/>
                    </a:lnTo>
                    <a:lnTo>
                      <a:pt x="428" y="169"/>
                    </a:lnTo>
                    <a:lnTo>
                      <a:pt x="428" y="170"/>
                    </a:lnTo>
                    <a:lnTo>
                      <a:pt x="430" y="170"/>
                    </a:lnTo>
                    <a:lnTo>
                      <a:pt x="430" y="172"/>
                    </a:lnTo>
                    <a:lnTo>
                      <a:pt x="431" y="172"/>
                    </a:lnTo>
                    <a:lnTo>
                      <a:pt x="431" y="174"/>
                    </a:lnTo>
                    <a:lnTo>
                      <a:pt x="431" y="172"/>
                    </a:lnTo>
                    <a:lnTo>
                      <a:pt x="433" y="172"/>
                    </a:lnTo>
                    <a:lnTo>
                      <a:pt x="433" y="170"/>
                    </a:lnTo>
                    <a:lnTo>
                      <a:pt x="435" y="172"/>
                    </a:lnTo>
                    <a:lnTo>
                      <a:pt x="435" y="170"/>
                    </a:lnTo>
                    <a:lnTo>
                      <a:pt x="435" y="172"/>
                    </a:lnTo>
                    <a:lnTo>
                      <a:pt x="436" y="172"/>
                    </a:lnTo>
                    <a:lnTo>
                      <a:pt x="438" y="172"/>
                    </a:lnTo>
                    <a:lnTo>
                      <a:pt x="438" y="174"/>
                    </a:lnTo>
                    <a:lnTo>
                      <a:pt x="438" y="175"/>
                    </a:lnTo>
                    <a:lnTo>
                      <a:pt x="438" y="177"/>
                    </a:lnTo>
                    <a:lnTo>
                      <a:pt x="438" y="179"/>
                    </a:lnTo>
                    <a:lnTo>
                      <a:pt x="436" y="179"/>
                    </a:lnTo>
                    <a:lnTo>
                      <a:pt x="436" y="181"/>
                    </a:lnTo>
                    <a:lnTo>
                      <a:pt x="436" y="179"/>
                    </a:lnTo>
                    <a:lnTo>
                      <a:pt x="435" y="181"/>
                    </a:lnTo>
                    <a:lnTo>
                      <a:pt x="433" y="181"/>
                    </a:lnTo>
                    <a:lnTo>
                      <a:pt x="433" y="182"/>
                    </a:lnTo>
                    <a:lnTo>
                      <a:pt x="431" y="182"/>
                    </a:lnTo>
                    <a:lnTo>
                      <a:pt x="430" y="182"/>
                    </a:lnTo>
                    <a:lnTo>
                      <a:pt x="430" y="184"/>
                    </a:lnTo>
                    <a:lnTo>
                      <a:pt x="428" y="184"/>
                    </a:lnTo>
                    <a:lnTo>
                      <a:pt x="426" y="184"/>
                    </a:lnTo>
                    <a:lnTo>
                      <a:pt x="426" y="186"/>
                    </a:lnTo>
                    <a:lnTo>
                      <a:pt x="425" y="186"/>
                    </a:lnTo>
                    <a:lnTo>
                      <a:pt x="423" y="186"/>
                    </a:lnTo>
                    <a:lnTo>
                      <a:pt x="423" y="184"/>
                    </a:lnTo>
                    <a:lnTo>
                      <a:pt x="423" y="186"/>
                    </a:lnTo>
                    <a:lnTo>
                      <a:pt x="421" y="186"/>
                    </a:lnTo>
                    <a:lnTo>
                      <a:pt x="419" y="186"/>
                    </a:lnTo>
                    <a:lnTo>
                      <a:pt x="419" y="184"/>
                    </a:lnTo>
                    <a:lnTo>
                      <a:pt x="418" y="184"/>
                    </a:lnTo>
                    <a:lnTo>
                      <a:pt x="418" y="186"/>
                    </a:lnTo>
                    <a:lnTo>
                      <a:pt x="419" y="186"/>
                    </a:lnTo>
                    <a:lnTo>
                      <a:pt x="418" y="187"/>
                    </a:lnTo>
                    <a:lnTo>
                      <a:pt x="416" y="187"/>
                    </a:lnTo>
                    <a:lnTo>
                      <a:pt x="414" y="187"/>
                    </a:lnTo>
                    <a:lnTo>
                      <a:pt x="413" y="187"/>
                    </a:lnTo>
                    <a:lnTo>
                      <a:pt x="411" y="187"/>
                    </a:lnTo>
                    <a:lnTo>
                      <a:pt x="411" y="189"/>
                    </a:lnTo>
                    <a:lnTo>
                      <a:pt x="409" y="189"/>
                    </a:lnTo>
                    <a:lnTo>
                      <a:pt x="409" y="191"/>
                    </a:lnTo>
                    <a:lnTo>
                      <a:pt x="409" y="192"/>
                    </a:lnTo>
                    <a:lnTo>
                      <a:pt x="408" y="192"/>
                    </a:lnTo>
                    <a:lnTo>
                      <a:pt x="409" y="192"/>
                    </a:lnTo>
                    <a:lnTo>
                      <a:pt x="408" y="192"/>
                    </a:lnTo>
                    <a:lnTo>
                      <a:pt x="409" y="192"/>
                    </a:lnTo>
                    <a:lnTo>
                      <a:pt x="409" y="194"/>
                    </a:lnTo>
                    <a:lnTo>
                      <a:pt x="411" y="194"/>
                    </a:lnTo>
                    <a:lnTo>
                      <a:pt x="409" y="196"/>
                    </a:lnTo>
                    <a:lnTo>
                      <a:pt x="411" y="196"/>
                    </a:lnTo>
                    <a:lnTo>
                      <a:pt x="411" y="198"/>
                    </a:lnTo>
                    <a:lnTo>
                      <a:pt x="411" y="199"/>
                    </a:lnTo>
                    <a:lnTo>
                      <a:pt x="411" y="201"/>
                    </a:lnTo>
                    <a:lnTo>
                      <a:pt x="409" y="201"/>
                    </a:lnTo>
                    <a:lnTo>
                      <a:pt x="411" y="201"/>
                    </a:lnTo>
                    <a:lnTo>
                      <a:pt x="411" y="203"/>
                    </a:lnTo>
                    <a:lnTo>
                      <a:pt x="413" y="203"/>
                    </a:lnTo>
                    <a:lnTo>
                      <a:pt x="411" y="203"/>
                    </a:lnTo>
                    <a:lnTo>
                      <a:pt x="411" y="204"/>
                    </a:lnTo>
                    <a:lnTo>
                      <a:pt x="413" y="204"/>
                    </a:lnTo>
                    <a:lnTo>
                      <a:pt x="411" y="206"/>
                    </a:lnTo>
                    <a:lnTo>
                      <a:pt x="409" y="206"/>
                    </a:lnTo>
                    <a:lnTo>
                      <a:pt x="409" y="208"/>
                    </a:lnTo>
                    <a:lnTo>
                      <a:pt x="408" y="208"/>
                    </a:lnTo>
                    <a:lnTo>
                      <a:pt x="406" y="209"/>
                    </a:lnTo>
                    <a:lnTo>
                      <a:pt x="406" y="211"/>
                    </a:lnTo>
                    <a:lnTo>
                      <a:pt x="404" y="211"/>
                    </a:lnTo>
                    <a:lnTo>
                      <a:pt x="404" y="213"/>
                    </a:lnTo>
                    <a:lnTo>
                      <a:pt x="402" y="213"/>
                    </a:lnTo>
                    <a:lnTo>
                      <a:pt x="402" y="215"/>
                    </a:lnTo>
                    <a:lnTo>
                      <a:pt x="404" y="216"/>
                    </a:lnTo>
                    <a:lnTo>
                      <a:pt x="409" y="221"/>
                    </a:lnTo>
                    <a:lnTo>
                      <a:pt x="413" y="223"/>
                    </a:lnTo>
                    <a:lnTo>
                      <a:pt x="414" y="228"/>
                    </a:lnTo>
                    <a:lnTo>
                      <a:pt x="421" y="235"/>
                    </a:lnTo>
                    <a:lnTo>
                      <a:pt x="423" y="237"/>
                    </a:lnTo>
                    <a:lnTo>
                      <a:pt x="425" y="238"/>
                    </a:lnTo>
                    <a:lnTo>
                      <a:pt x="426" y="238"/>
                    </a:lnTo>
                    <a:lnTo>
                      <a:pt x="426" y="240"/>
                    </a:lnTo>
                    <a:lnTo>
                      <a:pt x="428" y="240"/>
                    </a:lnTo>
                    <a:lnTo>
                      <a:pt x="428" y="242"/>
                    </a:lnTo>
                    <a:lnTo>
                      <a:pt x="428" y="243"/>
                    </a:lnTo>
                    <a:lnTo>
                      <a:pt x="428" y="245"/>
                    </a:lnTo>
                    <a:lnTo>
                      <a:pt x="430" y="245"/>
                    </a:lnTo>
                    <a:lnTo>
                      <a:pt x="430" y="247"/>
                    </a:lnTo>
                    <a:lnTo>
                      <a:pt x="430" y="249"/>
                    </a:lnTo>
                    <a:lnTo>
                      <a:pt x="428" y="249"/>
                    </a:lnTo>
                    <a:lnTo>
                      <a:pt x="428" y="250"/>
                    </a:lnTo>
                    <a:lnTo>
                      <a:pt x="426" y="250"/>
                    </a:lnTo>
                    <a:lnTo>
                      <a:pt x="426" y="252"/>
                    </a:lnTo>
                    <a:lnTo>
                      <a:pt x="425" y="252"/>
                    </a:lnTo>
                    <a:lnTo>
                      <a:pt x="425" y="254"/>
                    </a:lnTo>
                    <a:lnTo>
                      <a:pt x="423" y="254"/>
                    </a:lnTo>
                    <a:lnTo>
                      <a:pt x="423" y="255"/>
                    </a:lnTo>
                    <a:lnTo>
                      <a:pt x="421" y="255"/>
                    </a:lnTo>
                    <a:lnTo>
                      <a:pt x="419" y="255"/>
                    </a:lnTo>
                    <a:lnTo>
                      <a:pt x="419" y="257"/>
                    </a:lnTo>
                    <a:lnTo>
                      <a:pt x="418" y="257"/>
                    </a:lnTo>
                    <a:lnTo>
                      <a:pt x="418" y="259"/>
                    </a:lnTo>
                    <a:lnTo>
                      <a:pt x="418" y="261"/>
                    </a:lnTo>
                    <a:lnTo>
                      <a:pt x="416" y="261"/>
                    </a:lnTo>
                    <a:lnTo>
                      <a:pt x="416" y="262"/>
                    </a:lnTo>
                    <a:lnTo>
                      <a:pt x="414" y="262"/>
                    </a:lnTo>
                    <a:lnTo>
                      <a:pt x="413" y="262"/>
                    </a:lnTo>
                    <a:lnTo>
                      <a:pt x="411" y="262"/>
                    </a:lnTo>
                    <a:lnTo>
                      <a:pt x="411" y="264"/>
                    </a:lnTo>
                    <a:lnTo>
                      <a:pt x="411" y="262"/>
                    </a:lnTo>
                    <a:lnTo>
                      <a:pt x="409" y="262"/>
                    </a:lnTo>
                    <a:lnTo>
                      <a:pt x="408" y="262"/>
                    </a:lnTo>
                    <a:lnTo>
                      <a:pt x="406" y="262"/>
                    </a:lnTo>
                    <a:lnTo>
                      <a:pt x="404" y="262"/>
                    </a:lnTo>
                    <a:lnTo>
                      <a:pt x="406" y="262"/>
                    </a:lnTo>
                    <a:lnTo>
                      <a:pt x="406" y="264"/>
                    </a:lnTo>
                    <a:lnTo>
                      <a:pt x="406" y="266"/>
                    </a:lnTo>
                    <a:lnTo>
                      <a:pt x="404" y="266"/>
                    </a:lnTo>
                    <a:lnTo>
                      <a:pt x="402" y="266"/>
                    </a:lnTo>
                    <a:lnTo>
                      <a:pt x="401" y="266"/>
                    </a:lnTo>
                    <a:lnTo>
                      <a:pt x="399" y="266"/>
                    </a:lnTo>
                    <a:lnTo>
                      <a:pt x="399" y="267"/>
                    </a:lnTo>
                    <a:lnTo>
                      <a:pt x="399" y="269"/>
                    </a:lnTo>
                    <a:lnTo>
                      <a:pt x="399" y="271"/>
                    </a:lnTo>
                    <a:lnTo>
                      <a:pt x="397" y="271"/>
                    </a:lnTo>
                    <a:lnTo>
                      <a:pt x="396" y="271"/>
                    </a:lnTo>
                    <a:lnTo>
                      <a:pt x="394" y="271"/>
                    </a:lnTo>
                    <a:lnTo>
                      <a:pt x="394" y="272"/>
                    </a:lnTo>
                    <a:lnTo>
                      <a:pt x="394" y="271"/>
                    </a:lnTo>
                    <a:lnTo>
                      <a:pt x="392" y="271"/>
                    </a:lnTo>
                    <a:lnTo>
                      <a:pt x="391" y="271"/>
                    </a:lnTo>
                    <a:lnTo>
                      <a:pt x="391" y="272"/>
                    </a:lnTo>
                    <a:lnTo>
                      <a:pt x="389" y="272"/>
                    </a:lnTo>
                    <a:lnTo>
                      <a:pt x="389" y="274"/>
                    </a:lnTo>
                    <a:lnTo>
                      <a:pt x="387" y="274"/>
                    </a:lnTo>
                    <a:lnTo>
                      <a:pt x="385" y="274"/>
                    </a:lnTo>
                    <a:lnTo>
                      <a:pt x="385" y="276"/>
                    </a:lnTo>
                    <a:lnTo>
                      <a:pt x="384" y="276"/>
                    </a:lnTo>
                    <a:lnTo>
                      <a:pt x="384" y="274"/>
                    </a:lnTo>
                    <a:lnTo>
                      <a:pt x="382" y="274"/>
                    </a:lnTo>
                    <a:lnTo>
                      <a:pt x="380" y="274"/>
                    </a:lnTo>
                    <a:lnTo>
                      <a:pt x="379" y="274"/>
                    </a:lnTo>
                    <a:lnTo>
                      <a:pt x="380" y="276"/>
                    </a:lnTo>
                    <a:lnTo>
                      <a:pt x="379" y="276"/>
                    </a:lnTo>
                    <a:lnTo>
                      <a:pt x="377" y="278"/>
                    </a:lnTo>
                    <a:lnTo>
                      <a:pt x="377" y="276"/>
                    </a:lnTo>
                    <a:lnTo>
                      <a:pt x="375" y="276"/>
                    </a:lnTo>
                    <a:lnTo>
                      <a:pt x="374" y="276"/>
                    </a:lnTo>
                    <a:lnTo>
                      <a:pt x="372" y="274"/>
                    </a:lnTo>
                    <a:lnTo>
                      <a:pt x="372" y="276"/>
                    </a:lnTo>
                    <a:lnTo>
                      <a:pt x="372" y="274"/>
                    </a:lnTo>
                    <a:lnTo>
                      <a:pt x="372" y="276"/>
                    </a:lnTo>
                    <a:lnTo>
                      <a:pt x="370" y="274"/>
                    </a:lnTo>
                    <a:lnTo>
                      <a:pt x="368" y="274"/>
                    </a:lnTo>
                    <a:lnTo>
                      <a:pt x="367" y="274"/>
                    </a:lnTo>
                    <a:lnTo>
                      <a:pt x="367" y="276"/>
                    </a:lnTo>
                    <a:lnTo>
                      <a:pt x="365" y="274"/>
                    </a:lnTo>
                    <a:lnTo>
                      <a:pt x="365" y="276"/>
                    </a:lnTo>
                    <a:lnTo>
                      <a:pt x="363" y="276"/>
                    </a:lnTo>
                    <a:lnTo>
                      <a:pt x="363" y="278"/>
                    </a:lnTo>
                    <a:lnTo>
                      <a:pt x="363" y="279"/>
                    </a:lnTo>
                    <a:lnTo>
                      <a:pt x="362" y="279"/>
                    </a:lnTo>
                    <a:lnTo>
                      <a:pt x="362" y="278"/>
                    </a:lnTo>
                    <a:lnTo>
                      <a:pt x="360" y="278"/>
                    </a:lnTo>
                    <a:lnTo>
                      <a:pt x="360" y="279"/>
                    </a:lnTo>
                    <a:lnTo>
                      <a:pt x="360" y="278"/>
                    </a:lnTo>
                    <a:lnTo>
                      <a:pt x="358" y="279"/>
                    </a:lnTo>
                    <a:lnTo>
                      <a:pt x="357" y="278"/>
                    </a:lnTo>
                    <a:lnTo>
                      <a:pt x="357" y="279"/>
                    </a:lnTo>
                    <a:lnTo>
                      <a:pt x="357" y="281"/>
                    </a:lnTo>
                    <a:lnTo>
                      <a:pt x="357" y="283"/>
                    </a:lnTo>
                    <a:lnTo>
                      <a:pt x="355" y="283"/>
                    </a:lnTo>
                    <a:lnTo>
                      <a:pt x="357" y="284"/>
                    </a:lnTo>
                    <a:lnTo>
                      <a:pt x="357" y="286"/>
                    </a:lnTo>
                    <a:lnTo>
                      <a:pt x="358" y="286"/>
                    </a:lnTo>
                    <a:lnTo>
                      <a:pt x="357" y="286"/>
                    </a:lnTo>
                    <a:lnTo>
                      <a:pt x="358" y="288"/>
                    </a:lnTo>
                    <a:lnTo>
                      <a:pt x="357" y="288"/>
                    </a:lnTo>
                    <a:lnTo>
                      <a:pt x="358" y="289"/>
                    </a:lnTo>
                    <a:lnTo>
                      <a:pt x="357" y="289"/>
                    </a:lnTo>
                    <a:lnTo>
                      <a:pt x="357" y="291"/>
                    </a:lnTo>
                    <a:lnTo>
                      <a:pt x="357" y="289"/>
                    </a:lnTo>
                    <a:lnTo>
                      <a:pt x="355" y="289"/>
                    </a:lnTo>
                    <a:lnTo>
                      <a:pt x="355" y="288"/>
                    </a:lnTo>
                    <a:lnTo>
                      <a:pt x="353" y="289"/>
                    </a:lnTo>
                    <a:lnTo>
                      <a:pt x="351" y="291"/>
                    </a:lnTo>
                    <a:lnTo>
                      <a:pt x="351" y="293"/>
                    </a:lnTo>
                    <a:lnTo>
                      <a:pt x="350" y="293"/>
                    </a:lnTo>
                    <a:lnTo>
                      <a:pt x="348" y="293"/>
                    </a:lnTo>
                    <a:lnTo>
                      <a:pt x="348" y="291"/>
                    </a:lnTo>
                    <a:lnTo>
                      <a:pt x="346" y="291"/>
                    </a:lnTo>
                    <a:lnTo>
                      <a:pt x="346" y="289"/>
                    </a:lnTo>
                    <a:lnTo>
                      <a:pt x="346" y="288"/>
                    </a:lnTo>
                    <a:lnTo>
                      <a:pt x="345" y="288"/>
                    </a:lnTo>
                    <a:lnTo>
                      <a:pt x="345" y="286"/>
                    </a:lnTo>
                    <a:lnTo>
                      <a:pt x="343" y="286"/>
                    </a:lnTo>
                    <a:lnTo>
                      <a:pt x="341" y="286"/>
                    </a:lnTo>
                    <a:lnTo>
                      <a:pt x="341" y="284"/>
                    </a:lnTo>
                    <a:lnTo>
                      <a:pt x="341" y="283"/>
                    </a:lnTo>
                    <a:lnTo>
                      <a:pt x="341" y="281"/>
                    </a:lnTo>
                    <a:lnTo>
                      <a:pt x="340" y="281"/>
                    </a:lnTo>
                    <a:lnTo>
                      <a:pt x="338" y="281"/>
                    </a:lnTo>
                    <a:lnTo>
                      <a:pt x="336" y="281"/>
                    </a:lnTo>
                    <a:lnTo>
                      <a:pt x="334" y="281"/>
                    </a:lnTo>
                    <a:lnTo>
                      <a:pt x="333" y="281"/>
                    </a:lnTo>
                    <a:lnTo>
                      <a:pt x="334" y="281"/>
                    </a:lnTo>
                    <a:lnTo>
                      <a:pt x="334" y="283"/>
                    </a:lnTo>
                    <a:lnTo>
                      <a:pt x="334" y="284"/>
                    </a:lnTo>
                    <a:lnTo>
                      <a:pt x="333" y="284"/>
                    </a:lnTo>
                    <a:lnTo>
                      <a:pt x="331" y="284"/>
                    </a:lnTo>
                    <a:lnTo>
                      <a:pt x="329" y="284"/>
                    </a:lnTo>
                    <a:lnTo>
                      <a:pt x="329" y="283"/>
                    </a:lnTo>
                    <a:lnTo>
                      <a:pt x="329" y="284"/>
                    </a:lnTo>
                    <a:lnTo>
                      <a:pt x="328" y="283"/>
                    </a:lnTo>
                    <a:lnTo>
                      <a:pt x="329" y="283"/>
                    </a:lnTo>
                    <a:lnTo>
                      <a:pt x="328" y="283"/>
                    </a:lnTo>
                    <a:lnTo>
                      <a:pt x="328" y="281"/>
                    </a:lnTo>
                    <a:lnTo>
                      <a:pt x="326" y="281"/>
                    </a:lnTo>
                    <a:lnTo>
                      <a:pt x="326" y="279"/>
                    </a:lnTo>
                    <a:lnTo>
                      <a:pt x="324" y="281"/>
                    </a:lnTo>
                    <a:lnTo>
                      <a:pt x="326" y="283"/>
                    </a:lnTo>
                    <a:lnTo>
                      <a:pt x="324" y="283"/>
                    </a:lnTo>
                    <a:lnTo>
                      <a:pt x="323" y="281"/>
                    </a:lnTo>
                    <a:lnTo>
                      <a:pt x="323" y="283"/>
                    </a:lnTo>
                    <a:lnTo>
                      <a:pt x="321" y="283"/>
                    </a:lnTo>
                    <a:lnTo>
                      <a:pt x="321" y="281"/>
                    </a:lnTo>
                    <a:lnTo>
                      <a:pt x="319" y="281"/>
                    </a:lnTo>
                    <a:lnTo>
                      <a:pt x="319" y="283"/>
                    </a:lnTo>
                    <a:lnTo>
                      <a:pt x="317" y="283"/>
                    </a:lnTo>
                    <a:lnTo>
                      <a:pt x="316" y="283"/>
                    </a:lnTo>
                    <a:lnTo>
                      <a:pt x="316" y="284"/>
                    </a:lnTo>
                    <a:lnTo>
                      <a:pt x="316" y="283"/>
                    </a:lnTo>
                    <a:lnTo>
                      <a:pt x="314" y="283"/>
                    </a:lnTo>
                    <a:lnTo>
                      <a:pt x="312" y="281"/>
                    </a:lnTo>
                    <a:lnTo>
                      <a:pt x="312" y="279"/>
                    </a:lnTo>
                    <a:lnTo>
                      <a:pt x="311" y="279"/>
                    </a:lnTo>
                    <a:lnTo>
                      <a:pt x="312" y="278"/>
                    </a:lnTo>
                    <a:lnTo>
                      <a:pt x="311" y="278"/>
                    </a:lnTo>
                    <a:lnTo>
                      <a:pt x="311" y="276"/>
                    </a:lnTo>
                    <a:lnTo>
                      <a:pt x="309" y="276"/>
                    </a:lnTo>
                    <a:lnTo>
                      <a:pt x="307" y="276"/>
                    </a:lnTo>
                    <a:lnTo>
                      <a:pt x="306" y="276"/>
                    </a:lnTo>
                    <a:lnTo>
                      <a:pt x="306" y="274"/>
                    </a:lnTo>
                    <a:lnTo>
                      <a:pt x="304" y="276"/>
                    </a:lnTo>
                    <a:lnTo>
                      <a:pt x="302" y="276"/>
                    </a:lnTo>
                    <a:lnTo>
                      <a:pt x="302" y="274"/>
                    </a:lnTo>
                    <a:lnTo>
                      <a:pt x="300" y="276"/>
                    </a:lnTo>
                    <a:lnTo>
                      <a:pt x="300" y="274"/>
                    </a:lnTo>
                    <a:lnTo>
                      <a:pt x="300" y="276"/>
                    </a:lnTo>
                    <a:lnTo>
                      <a:pt x="299" y="276"/>
                    </a:lnTo>
                    <a:lnTo>
                      <a:pt x="297" y="276"/>
                    </a:lnTo>
                    <a:lnTo>
                      <a:pt x="295" y="276"/>
                    </a:lnTo>
                    <a:lnTo>
                      <a:pt x="294" y="276"/>
                    </a:lnTo>
                    <a:lnTo>
                      <a:pt x="294" y="274"/>
                    </a:lnTo>
                    <a:lnTo>
                      <a:pt x="292" y="272"/>
                    </a:lnTo>
                    <a:lnTo>
                      <a:pt x="292" y="271"/>
                    </a:lnTo>
                    <a:lnTo>
                      <a:pt x="290" y="271"/>
                    </a:lnTo>
                    <a:lnTo>
                      <a:pt x="289" y="271"/>
                    </a:lnTo>
                    <a:lnTo>
                      <a:pt x="287" y="271"/>
                    </a:lnTo>
                    <a:lnTo>
                      <a:pt x="287" y="272"/>
                    </a:lnTo>
                    <a:lnTo>
                      <a:pt x="287" y="274"/>
                    </a:lnTo>
                    <a:lnTo>
                      <a:pt x="289" y="274"/>
                    </a:lnTo>
                    <a:lnTo>
                      <a:pt x="289" y="276"/>
                    </a:lnTo>
                    <a:lnTo>
                      <a:pt x="290" y="276"/>
                    </a:lnTo>
                    <a:lnTo>
                      <a:pt x="290" y="278"/>
                    </a:lnTo>
                    <a:lnTo>
                      <a:pt x="292" y="278"/>
                    </a:lnTo>
                    <a:lnTo>
                      <a:pt x="292" y="279"/>
                    </a:lnTo>
                    <a:lnTo>
                      <a:pt x="294" y="281"/>
                    </a:lnTo>
                    <a:lnTo>
                      <a:pt x="295" y="283"/>
                    </a:lnTo>
                    <a:lnTo>
                      <a:pt x="295" y="284"/>
                    </a:lnTo>
                    <a:lnTo>
                      <a:pt x="297" y="284"/>
                    </a:lnTo>
                    <a:lnTo>
                      <a:pt x="297" y="286"/>
                    </a:lnTo>
                    <a:lnTo>
                      <a:pt x="299" y="286"/>
                    </a:lnTo>
                    <a:lnTo>
                      <a:pt x="299" y="288"/>
                    </a:lnTo>
                    <a:lnTo>
                      <a:pt x="300" y="288"/>
                    </a:lnTo>
                    <a:lnTo>
                      <a:pt x="302" y="288"/>
                    </a:lnTo>
                    <a:lnTo>
                      <a:pt x="304" y="288"/>
                    </a:lnTo>
                    <a:lnTo>
                      <a:pt x="304" y="289"/>
                    </a:lnTo>
                    <a:lnTo>
                      <a:pt x="306" y="289"/>
                    </a:lnTo>
                    <a:lnTo>
                      <a:pt x="306" y="291"/>
                    </a:lnTo>
                    <a:lnTo>
                      <a:pt x="307" y="293"/>
                    </a:lnTo>
                    <a:lnTo>
                      <a:pt x="309" y="295"/>
                    </a:lnTo>
                    <a:lnTo>
                      <a:pt x="309" y="296"/>
                    </a:lnTo>
                    <a:lnTo>
                      <a:pt x="307" y="298"/>
                    </a:lnTo>
                    <a:lnTo>
                      <a:pt x="306" y="300"/>
                    </a:lnTo>
                    <a:lnTo>
                      <a:pt x="307" y="300"/>
                    </a:lnTo>
                    <a:lnTo>
                      <a:pt x="307" y="301"/>
                    </a:lnTo>
                    <a:lnTo>
                      <a:pt x="307" y="303"/>
                    </a:lnTo>
                    <a:lnTo>
                      <a:pt x="307" y="305"/>
                    </a:lnTo>
                    <a:lnTo>
                      <a:pt x="307" y="306"/>
                    </a:lnTo>
                    <a:lnTo>
                      <a:pt x="307" y="308"/>
                    </a:lnTo>
                    <a:lnTo>
                      <a:pt x="307" y="310"/>
                    </a:lnTo>
                    <a:lnTo>
                      <a:pt x="309" y="312"/>
                    </a:lnTo>
                    <a:lnTo>
                      <a:pt x="309" y="313"/>
                    </a:lnTo>
                    <a:lnTo>
                      <a:pt x="311" y="313"/>
                    </a:lnTo>
                    <a:lnTo>
                      <a:pt x="311" y="315"/>
                    </a:lnTo>
                    <a:lnTo>
                      <a:pt x="312" y="315"/>
                    </a:lnTo>
                    <a:lnTo>
                      <a:pt x="312" y="317"/>
                    </a:lnTo>
                    <a:lnTo>
                      <a:pt x="312" y="318"/>
                    </a:lnTo>
                    <a:lnTo>
                      <a:pt x="314" y="320"/>
                    </a:lnTo>
                    <a:lnTo>
                      <a:pt x="314" y="322"/>
                    </a:lnTo>
                    <a:lnTo>
                      <a:pt x="316" y="322"/>
                    </a:lnTo>
                    <a:lnTo>
                      <a:pt x="314" y="322"/>
                    </a:lnTo>
                    <a:lnTo>
                      <a:pt x="316" y="323"/>
                    </a:lnTo>
                    <a:lnTo>
                      <a:pt x="314" y="323"/>
                    </a:lnTo>
                    <a:lnTo>
                      <a:pt x="316" y="323"/>
                    </a:lnTo>
                    <a:lnTo>
                      <a:pt x="316" y="325"/>
                    </a:lnTo>
                    <a:lnTo>
                      <a:pt x="314" y="325"/>
                    </a:lnTo>
                    <a:lnTo>
                      <a:pt x="314" y="327"/>
                    </a:lnTo>
                    <a:lnTo>
                      <a:pt x="314" y="329"/>
                    </a:lnTo>
                    <a:lnTo>
                      <a:pt x="312" y="329"/>
                    </a:lnTo>
                    <a:lnTo>
                      <a:pt x="312" y="330"/>
                    </a:lnTo>
                    <a:lnTo>
                      <a:pt x="314" y="330"/>
                    </a:lnTo>
                    <a:lnTo>
                      <a:pt x="314" y="332"/>
                    </a:lnTo>
                    <a:lnTo>
                      <a:pt x="314" y="330"/>
                    </a:lnTo>
                    <a:lnTo>
                      <a:pt x="316" y="332"/>
                    </a:lnTo>
                    <a:lnTo>
                      <a:pt x="317" y="332"/>
                    </a:lnTo>
                    <a:lnTo>
                      <a:pt x="319" y="332"/>
                    </a:lnTo>
                    <a:lnTo>
                      <a:pt x="321" y="334"/>
                    </a:lnTo>
                    <a:lnTo>
                      <a:pt x="323" y="334"/>
                    </a:lnTo>
                    <a:lnTo>
                      <a:pt x="324" y="334"/>
                    </a:lnTo>
                    <a:lnTo>
                      <a:pt x="326" y="334"/>
                    </a:lnTo>
                    <a:lnTo>
                      <a:pt x="328" y="334"/>
                    </a:lnTo>
                    <a:lnTo>
                      <a:pt x="329" y="334"/>
                    </a:lnTo>
                    <a:lnTo>
                      <a:pt x="331" y="334"/>
                    </a:lnTo>
                    <a:lnTo>
                      <a:pt x="333" y="332"/>
                    </a:lnTo>
                    <a:lnTo>
                      <a:pt x="334" y="332"/>
                    </a:lnTo>
                    <a:lnTo>
                      <a:pt x="336" y="332"/>
                    </a:lnTo>
                    <a:lnTo>
                      <a:pt x="336" y="334"/>
                    </a:lnTo>
                    <a:lnTo>
                      <a:pt x="336" y="335"/>
                    </a:lnTo>
                    <a:lnTo>
                      <a:pt x="336" y="337"/>
                    </a:lnTo>
                    <a:lnTo>
                      <a:pt x="336" y="339"/>
                    </a:lnTo>
                    <a:lnTo>
                      <a:pt x="336" y="340"/>
                    </a:lnTo>
                    <a:lnTo>
                      <a:pt x="334" y="340"/>
                    </a:lnTo>
                    <a:lnTo>
                      <a:pt x="336" y="340"/>
                    </a:lnTo>
                    <a:lnTo>
                      <a:pt x="334" y="342"/>
                    </a:lnTo>
                    <a:lnTo>
                      <a:pt x="333" y="344"/>
                    </a:lnTo>
                    <a:lnTo>
                      <a:pt x="333" y="342"/>
                    </a:lnTo>
                    <a:lnTo>
                      <a:pt x="333" y="344"/>
                    </a:lnTo>
                    <a:lnTo>
                      <a:pt x="331" y="344"/>
                    </a:lnTo>
                    <a:lnTo>
                      <a:pt x="331" y="342"/>
                    </a:lnTo>
                    <a:lnTo>
                      <a:pt x="329" y="342"/>
                    </a:lnTo>
                    <a:lnTo>
                      <a:pt x="329" y="344"/>
                    </a:lnTo>
                    <a:lnTo>
                      <a:pt x="328" y="344"/>
                    </a:lnTo>
                    <a:lnTo>
                      <a:pt x="328" y="346"/>
                    </a:lnTo>
                    <a:lnTo>
                      <a:pt x="326" y="346"/>
                    </a:lnTo>
                    <a:lnTo>
                      <a:pt x="326" y="347"/>
                    </a:lnTo>
                    <a:lnTo>
                      <a:pt x="324" y="346"/>
                    </a:lnTo>
                    <a:lnTo>
                      <a:pt x="324" y="347"/>
                    </a:lnTo>
                    <a:lnTo>
                      <a:pt x="323" y="347"/>
                    </a:lnTo>
                    <a:lnTo>
                      <a:pt x="321" y="347"/>
                    </a:lnTo>
                    <a:lnTo>
                      <a:pt x="321" y="349"/>
                    </a:lnTo>
                    <a:lnTo>
                      <a:pt x="319" y="347"/>
                    </a:lnTo>
                    <a:lnTo>
                      <a:pt x="317" y="347"/>
                    </a:lnTo>
                    <a:lnTo>
                      <a:pt x="316" y="347"/>
                    </a:lnTo>
                    <a:lnTo>
                      <a:pt x="314" y="347"/>
                    </a:lnTo>
                    <a:lnTo>
                      <a:pt x="314" y="349"/>
                    </a:lnTo>
                    <a:lnTo>
                      <a:pt x="312" y="349"/>
                    </a:lnTo>
                    <a:lnTo>
                      <a:pt x="312" y="351"/>
                    </a:lnTo>
                    <a:lnTo>
                      <a:pt x="312" y="352"/>
                    </a:lnTo>
                    <a:lnTo>
                      <a:pt x="312" y="354"/>
                    </a:lnTo>
                    <a:lnTo>
                      <a:pt x="312" y="356"/>
                    </a:lnTo>
                    <a:lnTo>
                      <a:pt x="312" y="357"/>
                    </a:lnTo>
                    <a:lnTo>
                      <a:pt x="312" y="359"/>
                    </a:lnTo>
                    <a:lnTo>
                      <a:pt x="312" y="361"/>
                    </a:lnTo>
                    <a:lnTo>
                      <a:pt x="311" y="361"/>
                    </a:lnTo>
                    <a:lnTo>
                      <a:pt x="309" y="361"/>
                    </a:lnTo>
                    <a:lnTo>
                      <a:pt x="309" y="363"/>
                    </a:lnTo>
                    <a:lnTo>
                      <a:pt x="309" y="364"/>
                    </a:lnTo>
                    <a:lnTo>
                      <a:pt x="307" y="364"/>
                    </a:lnTo>
                    <a:lnTo>
                      <a:pt x="306" y="364"/>
                    </a:lnTo>
                    <a:lnTo>
                      <a:pt x="304" y="366"/>
                    </a:lnTo>
                    <a:lnTo>
                      <a:pt x="304" y="368"/>
                    </a:lnTo>
                    <a:lnTo>
                      <a:pt x="304" y="369"/>
                    </a:lnTo>
                    <a:lnTo>
                      <a:pt x="302" y="368"/>
                    </a:lnTo>
                    <a:lnTo>
                      <a:pt x="300" y="368"/>
                    </a:lnTo>
                    <a:lnTo>
                      <a:pt x="302" y="368"/>
                    </a:lnTo>
                    <a:lnTo>
                      <a:pt x="302" y="366"/>
                    </a:lnTo>
                    <a:lnTo>
                      <a:pt x="302" y="364"/>
                    </a:lnTo>
                    <a:lnTo>
                      <a:pt x="302" y="363"/>
                    </a:lnTo>
                    <a:lnTo>
                      <a:pt x="302" y="364"/>
                    </a:lnTo>
                    <a:lnTo>
                      <a:pt x="302" y="363"/>
                    </a:lnTo>
                    <a:lnTo>
                      <a:pt x="300" y="364"/>
                    </a:lnTo>
                    <a:lnTo>
                      <a:pt x="299" y="364"/>
                    </a:lnTo>
                    <a:lnTo>
                      <a:pt x="299" y="366"/>
                    </a:lnTo>
                    <a:lnTo>
                      <a:pt x="297" y="366"/>
                    </a:lnTo>
                    <a:lnTo>
                      <a:pt x="295" y="368"/>
                    </a:lnTo>
                    <a:lnTo>
                      <a:pt x="295" y="369"/>
                    </a:lnTo>
                    <a:lnTo>
                      <a:pt x="294" y="369"/>
                    </a:lnTo>
                    <a:lnTo>
                      <a:pt x="294" y="371"/>
                    </a:lnTo>
                    <a:lnTo>
                      <a:pt x="292" y="371"/>
                    </a:lnTo>
                    <a:lnTo>
                      <a:pt x="290" y="371"/>
                    </a:lnTo>
                    <a:lnTo>
                      <a:pt x="290" y="373"/>
                    </a:lnTo>
                    <a:lnTo>
                      <a:pt x="289" y="373"/>
                    </a:lnTo>
                    <a:lnTo>
                      <a:pt x="289" y="371"/>
                    </a:lnTo>
                    <a:lnTo>
                      <a:pt x="287" y="371"/>
                    </a:lnTo>
                    <a:lnTo>
                      <a:pt x="285" y="371"/>
                    </a:lnTo>
                    <a:lnTo>
                      <a:pt x="287" y="373"/>
                    </a:lnTo>
                    <a:lnTo>
                      <a:pt x="285" y="373"/>
                    </a:lnTo>
                    <a:lnTo>
                      <a:pt x="283" y="373"/>
                    </a:lnTo>
                    <a:lnTo>
                      <a:pt x="283" y="374"/>
                    </a:lnTo>
                    <a:lnTo>
                      <a:pt x="283" y="373"/>
                    </a:lnTo>
                    <a:lnTo>
                      <a:pt x="282" y="373"/>
                    </a:lnTo>
                    <a:lnTo>
                      <a:pt x="282" y="374"/>
                    </a:lnTo>
                    <a:lnTo>
                      <a:pt x="282" y="376"/>
                    </a:lnTo>
                    <a:lnTo>
                      <a:pt x="280" y="376"/>
                    </a:lnTo>
                    <a:lnTo>
                      <a:pt x="280" y="378"/>
                    </a:lnTo>
                    <a:lnTo>
                      <a:pt x="278" y="378"/>
                    </a:lnTo>
                    <a:lnTo>
                      <a:pt x="278" y="376"/>
                    </a:lnTo>
                    <a:lnTo>
                      <a:pt x="277" y="376"/>
                    </a:lnTo>
                    <a:lnTo>
                      <a:pt x="275" y="376"/>
                    </a:lnTo>
                    <a:lnTo>
                      <a:pt x="277" y="378"/>
                    </a:lnTo>
                    <a:lnTo>
                      <a:pt x="275" y="378"/>
                    </a:lnTo>
                    <a:lnTo>
                      <a:pt x="275" y="380"/>
                    </a:lnTo>
                    <a:lnTo>
                      <a:pt x="277" y="381"/>
                    </a:lnTo>
                    <a:lnTo>
                      <a:pt x="275" y="381"/>
                    </a:lnTo>
                    <a:lnTo>
                      <a:pt x="275" y="383"/>
                    </a:lnTo>
                    <a:lnTo>
                      <a:pt x="275" y="385"/>
                    </a:lnTo>
                    <a:lnTo>
                      <a:pt x="273" y="385"/>
                    </a:lnTo>
                    <a:lnTo>
                      <a:pt x="273" y="383"/>
                    </a:lnTo>
                    <a:lnTo>
                      <a:pt x="272" y="383"/>
                    </a:lnTo>
                    <a:lnTo>
                      <a:pt x="270" y="383"/>
                    </a:lnTo>
                    <a:lnTo>
                      <a:pt x="270" y="385"/>
                    </a:lnTo>
                    <a:lnTo>
                      <a:pt x="268" y="385"/>
                    </a:lnTo>
                    <a:lnTo>
                      <a:pt x="270" y="385"/>
                    </a:lnTo>
                    <a:lnTo>
                      <a:pt x="268" y="386"/>
                    </a:lnTo>
                    <a:lnTo>
                      <a:pt x="266" y="388"/>
                    </a:lnTo>
                    <a:lnTo>
                      <a:pt x="268" y="388"/>
                    </a:lnTo>
                    <a:lnTo>
                      <a:pt x="268" y="390"/>
                    </a:lnTo>
                    <a:lnTo>
                      <a:pt x="266" y="390"/>
                    </a:lnTo>
                    <a:lnTo>
                      <a:pt x="266" y="391"/>
                    </a:lnTo>
                    <a:lnTo>
                      <a:pt x="265" y="391"/>
                    </a:lnTo>
                    <a:lnTo>
                      <a:pt x="263" y="391"/>
                    </a:lnTo>
                    <a:lnTo>
                      <a:pt x="263" y="393"/>
                    </a:lnTo>
                    <a:lnTo>
                      <a:pt x="261" y="391"/>
                    </a:lnTo>
                    <a:lnTo>
                      <a:pt x="261" y="390"/>
                    </a:lnTo>
                    <a:lnTo>
                      <a:pt x="263" y="388"/>
                    </a:lnTo>
                    <a:lnTo>
                      <a:pt x="263" y="386"/>
                    </a:lnTo>
                    <a:lnTo>
                      <a:pt x="265" y="386"/>
                    </a:lnTo>
                    <a:lnTo>
                      <a:pt x="265" y="385"/>
                    </a:lnTo>
                    <a:lnTo>
                      <a:pt x="263" y="385"/>
                    </a:lnTo>
                    <a:lnTo>
                      <a:pt x="263" y="383"/>
                    </a:lnTo>
                    <a:lnTo>
                      <a:pt x="263" y="381"/>
                    </a:lnTo>
                    <a:lnTo>
                      <a:pt x="261" y="381"/>
                    </a:lnTo>
                    <a:lnTo>
                      <a:pt x="260" y="381"/>
                    </a:lnTo>
                    <a:lnTo>
                      <a:pt x="258" y="381"/>
                    </a:lnTo>
                    <a:lnTo>
                      <a:pt x="256" y="381"/>
                    </a:lnTo>
                    <a:lnTo>
                      <a:pt x="255" y="381"/>
                    </a:lnTo>
                    <a:lnTo>
                      <a:pt x="255" y="383"/>
                    </a:lnTo>
                    <a:lnTo>
                      <a:pt x="253" y="383"/>
                    </a:lnTo>
                    <a:lnTo>
                      <a:pt x="251" y="383"/>
                    </a:lnTo>
                    <a:lnTo>
                      <a:pt x="251" y="385"/>
                    </a:lnTo>
                    <a:lnTo>
                      <a:pt x="249" y="385"/>
                    </a:lnTo>
                    <a:lnTo>
                      <a:pt x="249" y="386"/>
                    </a:lnTo>
                    <a:lnTo>
                      <a:pt x="248" y="386"/>
                    </a:lnTo>
                    <a:lnTo>
                      <a:pt x="248" y="388"/>
                    </a:lnTo>
                    <a:lnTo>
                      <a:pt x="246" y="388"/>
                    </a:lnTo>
                    <a:lnTo>
                      <a:pt x="244" y="388"/>
                    </a:lnTo>
                    <a:lnTo>
                      <a:pt x="244" y="390"/>
                    </a:lnTo>
                    <a:lnTo>
                      <a:pt x="243" y="390"/>
                    </a:lnTo>
                    <a:lnTo>
                      <a:pt x="241" y="390"/>
                    </a:lnTo>
                    <a:lnTo>
                      <a:pt x="241" y="388"/>
                    </a:lnTo>
                    <a:lnTo>
                      <a:pt x="239" y="388"/>
                    </a:lnTo>
                    <a:lnTo>
                      <a:pt x="238" y="390"/>
                    </a:lnTo>
                    <a:lnTo>
                      <a:pt x="236" y="390"/>
                    </a:lnTo>
                    <a:lnTo>
                      <a:pt x="219" y="373"/>
                    </a:lnTo>
                    <a:lnTo>
                      <a:pt x="217" y="373"/>
                    </a:lnTo>
                    <a:lnTo>
                      <a:pt x="217" y="371"/>
                    </a:lnTo>
                    <a:lnTo>
                      <a:pt x="219" y="371"/>
                    </a:lnTo>
                    <a:lnTo>
                      <a:pt x="219" y="369"/>
                    </a:lnTo>
                    <a:lnTo>
                      <a:pt x="219" y="368"/>
                    </a:lnTo>
                    <a:lnTo>
                      <a:pt x="217" y="368"/>
                    </a:lnTo>
                    <a:lnTo>
                      <a:pt x="217" y="366"/>
                    </a:lnTo>
                    <a:lnTo>
                      <a:pt x="217" y="364"/>
                    </a:lnTo>
                    <a:lnTo>
                      <a:pt x="215" y="364"/>
                    </a:lnTo>
                    <a:lnTo>
                      <a:pt x="215" y="363"/>
                    </a:lnTo>
                    <a:lnTo>
                      <a:pt x="215" y="361"/>
                    </a:lnTo>
                    <a:lnTo>
                      <a:pt x="215" y="359"/>
                    </a:lnTo>
                    <a:lnTo>
                      <a:pt x="214" y="359"/>
                    </a:lnTo>
                    <a:lnTo>
                      <a:pt x="214" y="357"/>
                    </a:lnTo>
                    <a:lnTo>
                      <a:pt x="214" y="356"/>
                    </a:lnTo>
                    <a:lnTo>
                      <a:pt x="212" y="356"/>
                    </a:lnTo>
                    <a:lnTo>
                      <a:pt x="212" y="354"/>
                    </a:lnTo>
                    <a:lnTo>
                      <a:pt x="212" y="352"/>
                    </a:lnTo>
                    <a:lnTo>
                      <a:pt x="212" y="351"/>
                    </a:lnTo>
                    <a:lnTo>
                      <a:pt x="210" y="349"/>
                    </a:lnTo>
                    <a:lnTo>
                      <a:pt x="209" y="347"/>
                    </a:lnTo>
                    <a:lnTo>
                      <a:pt x="210" y="347"/>
                    </a:lnTo>
                    <a:lnTo>
                      <a:pt x="210" y="346"/>
                    </a:lnTo>
                    <a:lnTo>
                      <a:pt x="210" y="344"/>
                    </a:lnTo>
                    <a:lnTo>
                      <a:pt x="209" y="342"/>
                    </a:lnTo>
                    <a:lnTo>
                      <a:pt x="209" y="344"/>
                    </a:lnTo>
                    <a:lnTo>
                      <a:pt x="209" y="342"/>
                    </a:lnTo>
                    <a:lnTo>
                      <a:pt x="207" y="342"/>
                    </a:lnTo>
                    <a:lnTo>
                      <a:pt x="207" y="340"/>
                    </a:lnTo>
                    <a:lnTo>
                      <a:pt x="207" y="339"/>
                    </a:lnTo>
                    <a:lnTo>
                      <a:pt x="205" y="339"/>
                    </a:lnTo>
                    <a:lnTo>
                      <a:pt x="207" y="339"/>
                    </a:lnTo>
                    <a:lnTo>
                      <a:pt x="207" y="337"/>
                    </a:lnTo>
                    <a:lnTo>
                      <a:pt x="207" y="335"/>
                    </a:lnTo>
                    <a:lnTo>
                      <a:pt x="207" y="334"/>
                    </a:lnTo>
                    <a:lnTo>
                      <a:pt x="205" y="334"/>
                    </a:lnTo>
                    <a:lnTo>
                      <a:pt x="205" y="332"/>
                    </a:lnTo>
                    <a:lnTo>
                      <a:pt x="204" y="332"/>
                    </a:lnTo>
                    <a:lnTo>
                      <a:pt x="202" y="330"/>
                    </a:lnTo>
                    <a:lnTo>
                      <a:pt x="202" y="329"/>
                    </a:lnTo>
                    <a:lnTo>
                      <a:pt x="200" y="329"/>
                    </a:lnTo>
                    <a:lnTo>
                      <a:pt x="200" y="327"/>
                    </a:lnTo>
                    <a:lnTo>
                      <a:pt x="198" y="327"/>
                    </a:lnTo>
                    <a:lnTo>
                      <a:pt x="197" y="325"/>
                    </a:lnTo>
                    <a:lnTo>
                      <a:pt x="195" y="325"/>
                    </a:lnTo>
                    <a:lnTo>
                      <a:pt x="195" y="323"/>
                    </a:lnTo>
                    <a:lnTo>
                      <a:pt x="193" y="322"/>
                    </a:lnTo>
                    <a:lnTo>
                      <a:pt x="193" y="320"/>
                    </a:lnTo>
                    <a:lnTo>
                      <a:pt x="192" y="320"/>
                    </a:lnTo>
                    <a:lnTo>
                      <a:pt x="190" y="320"/>
                    </a:lnTo>
                    <a:lnTo>
                      <a:pt x="188" y="320"/>
                    </a:lnTo>
                    <a:lnTo>
                      <a:pt x="188" y="318"/>
                    </a:lnTo>
                    <a:lnTo>
                      <a:pt x="187" y="320"/>
                    </a:lnTo>
                    <a:lnTo>
                      <a:pt x="187" y="318"/>
                    </a:lnTo>
                    <a:lnTo>
                      <a:pt x="185" y="320"/>
                    </a:lnTo>
                    <a:lnTo>
                      <a:pt x="185" y="318"/>
                    </a:lnTo>
                    <a:lnTo>
                      <a:pt x="187" y="317"/>
                    </a:lnTo>
                    <a:lnTo>
                      <a:pt x="190" y="313"/>
                    </a:lnTo>
                    <a:lnTo>
                      <a:pt x="193" y="310"/>
                    </a:lnTo>
                    <a:lnTo>
                      <a:pt x="197" y="308"/>
                    </a:lnTo>
                    <a:lnTo>
                      <a:pt x="198" y="305"/>
                    </a:lnTo>
                    <a:lnTo>
                      <a:pt x="200" y="305"/>
                    </a:lnTo>
                    <a:lnTo>
                      <a:pt x="200" y="303"/>
                    </a:lnTo>
                    <a:lnTo>
                      <a:pt x="202" y="303"/>
                    </a:lnTo>
                    <a:lnTo>
                      <a:pt x="202" y="301"/>
                    </a:lnTo>
                    <a:lnTo>
                      <a:pt x="204" y="301"/>
                    </a:lnTo>
                    <a:lnTo>
                      <a:pt x="204" y="300"/>
                    </a:lnTo>
                    <a:lnTo>
                      <a:pt x="202" y="300"/>
                    </a:lnTo>
                    <a:lnTo>
                      <a:pt x="202" y="298"/>
                    </a:lnTo>
                    <a:lnTo>
                      <a:pt x="200" y="298"/>
                    </a:lnTo>
                    <a:lnTo>
                      <a:pt x="200" y="296"/>
                    </a:lnTo>
                    <a:lnTo>
                      <a:pt x="200" y="295"/>
                    </a:lnTo>
                    <a:lnTo>
                      <a:pt x="198" y="295"/>
                    </a:lnTo>
                    <a:lnTo>
                      <a:pt x="198" y="293"/>
                    </a:lnTo>
                    <a:lnTo>
                      <a:pt x="198" y="291"/>
                    </a:lnTo>
                    <a:lnTo>
                      <a:pt x="197" y="289"/>
                    </a:lnTo>
                    <a:lnTo>
                      <a:pt x="197" y="288"/>
                    </a:lnTo>
                    <a:lnTo>
                      <a:pt x="195" y="288"/>
                    </a:lnTo>
                    <a:lnTo>
                      <a:pt x="193" y="288"/>
                    </a:lnTo>
                    <a:lnTo>
                      <a:pt x="192" y="288"/>
                    </a:lnTo>
                    <a:lnTo>
                      <a:pt x="192" y="286"/>
                    </a:lnTo>
                    <a:lnTo>
                      <a:pt x="192" y="284"/>
                    </a:lnTo>
                    <a:lnTo>
                      <a:pt x="192" y="283"/>
                    </a:lnTo>
                    <a:lnTo>
                      <a:pt x="190" y="283"/>
                    </a:lnTo>
                    <a:lnTo>
                      <a:pt x="190" y="281"/>
                    </a:lnTo>
                    <a:lnTo>
                      <a:pt x="190" y="279"/>
                    </a:lnTo>
                    <a:lnTo>
                      <a:pt x="190" y="278"/>
                    </a:lnTo>
                    <a:lnTo>
                      <a:pt x="188" y="276"/>
                    </a:lnTo>
                    <a:lnTo>
                      <a:pt x="188" y="274"/>
                    </a:lnTo>
                    <a:lnTo>
                      <a:pt x="187" y="274"/>
                    </a:lnTo>
                    <a:lnTo>
                      <a:pt x="187" y="272"/>
                    </a:lnTo>
                    <a:lnTo>
                      <a:pt x="187" y="271"/>
                    </a:lnTo>
                    <a:lnTo>
                      <a:pt x="187" y="269"/>
                    </a:lnTo>
                    <a:lnTo>
                      <a:pt x="187" y="267"/>
                    </a:lnTo>
                    <a:lnTo>
                      <a:pt x="188" y="269"/>
                    </a:lnTo>
                    <a:lnTo>
                      <a:pt x="188" y="267"/>
                    </a:lnTo>
                    <a:lnTo>
                      <a:pt x="187" y="267"/>
                    </a:lnTo>
                    <a:lnTo>
                      <a:pt x="187" y="266"/>
                    </a:lnTo>
                    <a:lnTo>
                      <a:pt x="188" y="266"/>
                    </a:lnTo>
                    <a:lnTo>
                      <a:pt x="187" y="266"/>
                    </a:lnTo>
                    <a:lnTo>
                      <a:pt x="187" y="264"/>
                    </a:lnTo>
                    <a:lnTo>
                      <a:pt x="187" y="262"/>
                    </a:lnTo>
                    <a:lnTo>
                      <a:pt x="185" y="262"/>
                    </a:lnTo>
                    <a:lnTo>
                      <a:pt x="185" y="261"/>
                    </a:lnTo>
                    <a:lnTo>
                      <a:pt x="185" y="259"/>
                    </a:lnTo>
                    <a:lnTo>
                      <a:pt x="185" y="257"/>
                    </a:lnTo>
                    <a:lnTo>
                      <a:pt x="185" y="255"/>
                    </a:lnTo>
                    <a:lnTo>
                      <a:pt x="187" y="255"/>
                    </a:lnTo>
                    <a:lnTo>
                      <a:pt x="187" y="254"/>
                    </a:lnTo>
                    <a:lnTo>
                      <a:pt x="185" y="254"/>
                    </a:lnTo>
                    <a:lnTo>
                      <a:pt x="185" y="252"/>
                    </a:lnTo>
                    <a:lnTo>
                      <a:pt x="185" y="250"/>
                    </a:lnTo>
                    <a:lnTo>
                      <a:pt x="185" y="249"/>
                    </a:lnTo>
                    <a:lnTo>
                      <a:pt x="185" y="247"/>
                    </a:lnTo>
                    <a:lnTo>
                      <a:pt x="187" y="247"/>
                    </a:lnTo>
                    <a:lnTo>
                      <a:pt x="187" y="245"/>
                    </a:lnTo>
                    <a:lnTo>
                      <a:pt x="187" y="243"/>
                    </a:lnTo>
                    <a:lnTo>
                      <a:pt x="185" y="243"/>
                    </a:lnTo>
                    <a:lnTo>
                      <a:pt x="187" y="243"/>
                    </a:lnTo>
                    <a:lnTo>
                      <a:pt x="185" y="242"/>
                    </a:lnTo>
                    <a:lnTo>
                      <a:pt x="185" y="240"/>
                    </a:lnTo>
                    <a:lnTo>
                      <a:pt x="185" y="238"/>
                    </a:lnTo>
                    <a:lnTo>
                      <a:pt x="187" y="237"/>
                    </a:lnTo>
                    <a:lnTo>
                      <a:pt x="185" y="237"/>
                    </a:lnTo>
                    <a:lnTo>
                      <a:pt x="185" y="235"/>
                    </a:lnTo>
                    <a:lnTo>
                      <a:pt x="187" y="235"/>
                    </a:lnTo>
                    <a:lnTo>
                      <a:pt x="187" y="233"/>
                    </a:lnTo>
                    <a:lnTo>
                      <a:pt x="188" y="233"/>
                    </a:lnTo>
                    <a:lnTo>
                      <a:pt x="188" y="232"/>
                    </a:lnTo>
                    <a:lnTo>
                      <a:pt x="190" y="232"/>
                    </a:lnTo>
                    <a:lnTo>
                      <a:pt x="192" y="230"/>
                    </a:lnTo>
                    <a:lnTo>
                      <a:pt x="192" y="228"/>
                    </a:lnTo>
                    <a:lnTo>
                      <a:pt x="193" y="228"/>
                    </a:lnTo>
                    <a:lnTo>
                      <a:pt x="193" y="226"/>
                    </a:lnTo>
                    <a:lnTo>
                      <a:pt x="193" y="225"/>
                    </a:lnTo>
                    <a:lnTo>
                      <a:pt x="192" y="225"/>
                    </a:lnTo>
                    <a:lnTo>
                      <a:pt x="192" y="223"/>
                    </a:lnTo>
                    <a:lnTo>
                      <a:pt x="192" y="221"/>
                    </a:lnTo>
                    <a:lnTo>
                      <a:pt x="193" y="220"/>
                    </a:lnTo>
                    <a:lnTo>
                      <a:pt x="193" y="218"/>
                    </a:lnTo>
                    <a:lnTo>
                      <a:pt x="193" y="216"/>
                    </a:lnTo>
                    <a:lnTo>
                      <a:pt x="195" y="216"/>
                    </a:lnTo>
                    <a:lnTo>
                      <a:pt x="195" y="215"/>
                    </a:lnTo>
                    <a:lnTo>
                      <a:pt x="197" y="215"/>
                    </a:lnTo>
                    <a:lnTo>
                      <a:pt x="198" y="213"/>
                    </a:lnTo>
                    <a:lnTo>
                      <a:pt x="200" y="213"/>
                    </a:lnTo>
                    <a:lnTo>
                      <a:pt x="200" y="211"/>
                    </a:lnTo>
                    <a:lnTo>
                      <a:pt x="198" y="211"/>
                    </a:lnTo>
                    <a:lnTo>
                      <a:pt x="198" y="209"/>
                    </a:lnTo>
                    <a:lnTo>
                      <a:pt x="197" y="208"/>
                    </a:lnTo>
                    <a:lnTo>
                      <a:pt x="197" y="206"/>
                    </a:lnTo>
                    <a:lnTo>
                      <a:pt x="198" y="206"/>
                    </a:lnTo>
                    <a:lnTo>
                      <a:pt x="198" y="204"/>
                    </a:lnTo>
                    <a:lnTo>
                      <a:pt x="197" y="204"/>
                    </a:lnTo>
                    <a:lnTo>
                      <a:pt x="195" y="203"/>
                    </a:lnTo>
                    <a:lnTo>
                      <a:pt x="193" y="203"/>
                    </a:lnTo>
                    <a:lnTo>
                      <a:pt x="192" y="203"/>
                    </a:lnTo>
                    <a:lnTo>
                      <a:pt x="190" y="203"/>
                    </a:lnTo>
                    <a:lnTo>
                      <a:pt x="190" y="201"/>
                    </a:lnTo>
                    <a:lnTo>
                      <a:pt x="188" y="201"/>
                    </a:lnTo>
                    <a:lnTo>
                      <a:pt x="188" y="203"/>
                    </a:lnTo>
                    <a:lnTo>
                      <a:pt x="188" y="201"/>
                    </a:lnTo>
                    <a:lnTo>
                      <a:pt x="187" y="201"/>
                    </a:lnTo>
                    <a:lnTo>
                      <a:pt x="185" y="201"/>
                    </a:lnTo>
                    <a:lnTo>
                      <a:pt x="183" y="203"/>
                    </a:lnTo>
                    <a:lnTo>
                      <a:pt x="181" y="204"/>
                    </a:lnTo>
                    <a:lnTo>
                      <a:pt x="180" y="204"/>
                    </a:lnTo>
                    <a:lnTo>
                      <a:pt x="178" y="204"/>
                    </a:lnTo>
                    <a:lnTo>
                      <a:pt x="176" y="204"/>
                    </a:lnTo>
                    <a:lnTo>
                      <a:pt x="175" y="204"/>
                    </a:lnTo>
                    <a:lnTo>
                      <a:pt x="173" y="204"/>
                    </a:lnTo>
                    <a:lnTo>
                      <a:pt x="171" y="204"/>
                    </a:lnTo>
                    <a:lnTo>
                      <a:pt x="171" y="206"/>
                    </a:lnTo>
                    <a:lnTo>
                      <a:pt x="170" y="206"/>
                    </a:lnTo>
                    <a:lnTo>
                      <a:pt x="168" y="206"/>
                    </a:lnTo>
                    <a:lnTo>
                      <a:pt x="166" y="206"/>
                    </a:lnTo>
                    <a:lnTo>
                      <a:pt x="164" y="206"/>
                    </a:lnTo>
                    <a:lnTo>
                      <a:pt x="163" y="206"/>
                    </a:lnTo>
                    <a:lnTo>
                      <a:pt x="161" y="206"/>
                    </a:lnTo>
                    <a:lnTo>
                      <a:pt x="159" y="206"/>
                    </a:lnTo>
                    <a:lnTo>
                      <a:pt x="158" y="208"/>
                    </a:lnTo>
                    <a:lnTo>
                      <a:pt x="156" y="208"/>
                    </a:lnTo>
                    <a:lnTo>
                      <a:pt x="156" y="206"/>
                    </a:lnTo>
                    <a:lnTo>
                      <a:pt x="154" y="206"/>
                    </a:lnTo>
                    <a:lnTo>
                      <a:pt x="153" y="206"/>
                    </a:lnTo>
                    <a:lnTo>
                      <a:pt x="151" y="206"/>
                    </a:lnTo>
                    <a:lnTo>
                      <a:pt x="149" y="206"/>
                    </a:lnTo>
                    <a:lnTo>
                      <a:pt x="147" y="206"/>
                    </a:lnTo>
                    <a:lnTo>
                      <a:pt x="147" y="204"/>
                    </a:lnTo>
                    <a:lnTo>
                      <a:pt x="146" y="206"/>
                    </a:lnTo>
                    <a:lnTo>
                      <a:pt x="146" y="204"/>
                    </a:lnTo>
                    <a:lnTo>
                      <a:pt x="144" y="204"/>
                    </a:lnTo>
                    <a:lnTo>
                      <a:pt x="142" y="204"/>
                    </a:lnTo>
                    <a:lnTo>
                      <a:pt x="142" y="206"/>
                    </a:lnTo>
                    <a:lnTo>
                      <a:pt x="141" y="206"/>
                    </a:lnTo>
                    <a:lnTo>
                      <a:pt x="139" y="208"/>
                    </a:lnTo>
                    <a:lnTo>
                      <a:pt x="137" y="209"/>
                    </a:lnTo>
                    <a:lnTo>
                      <a:pt x="136" y="209"/>
                    </a:lnTo>
                    <a:lnTo>
                      <a:pt x="136" y="208"/>
                    </a:lnTo>
                    <a:lnTo>
                      <a:pt x="134" y="208"/>
                    </a:lnTo>
                    <a:lnTo>
                      <a:pt x="132" y="208"/>
                    </a:lnTo>
                    <a:lnTo>
                      <a:pt x="127" y="203"/>
                    </a:lnTo>
                    <a:lnTo>
                      <a:pt x="127" y="201"/>
                    </a:lnTo>
                    <a:lnTo>
                      <a:pt x="120" y="194"/>
                    </a:lnTo>
                    <a:lnTo>
                      <a:pt x="113" y="186"/>
                    </a:lnTo>
                    <a:lnTo>
                      <a:pt x="110" y="181"/>
                    </a:lnTo>
                    <a:lnTo>
                      <a:pt x="108" y="179"/>
                    </a:lnTo>
                    <a:lnTo>
                      <a:pt x="107" y="179"/>
                    </a:lnTo>
                    <a:lnTo>
                      <a:pt x="105" y="179"/>
                    </a:lnTo>
                    <a:lnTo>
                      <a:pt x="103" y="179"/>
                    </a:lnTo>
                    <a:lnTo>
                      <a:pt x="103" y="181"/>
                    </a:lnTo>
                    <a:lnTo>
                      <a:pt x="102" y="181"/>
                    </a:lnTo>
                    <a:lnTo>
                      <a:pt x="100" y="181"/>
                    </a:lnTo>
                    <a:lnTo>
                      <a:pt x="100" y="179"/>
                    </a:lnTo>
                    <a:lnTo>
                      <a:pt x="98" y="179"/>
                    </a:lnTo>
                    <a:lnTo>
                      <a:pt x="98" y="177"/>
                    </a:lnTo>
                    <a:lnTo>
                      <a:pt x="96" y="177"/>
                    </a:lnTo>
                    <a:lnTo>
                      <a:pt x="95" y="177"/>
                    </a:lnTo>
                    <a:lnTo>
                      <a:pt x="95" y="175"/>
                    </a:lnTo>
                    <a:lnTo>
                      <a:pt x="93" y="175"/>
                    </a:lnTo>
                    <a:lnTo>
                      <a:pt x="91" y="175"/>
                    </a:lnTo>
                    <a:lnTo>
                      <a:pt x="90" y="175"/>
                    </a:lnTo>
                    <a:lnTo>
                      <a:pt x="90" y="174"/>
                    </a:lnTo>
                    <a:lnTo>
                      <a:pt x="88" y="175"/>
                    </a:lnTo>
                    <a:lnTo>
                      <a:pt x="86" y="174"/>
                    </a:lnTo>
                    <a:lnTo>
                      <a:pt x="86" y="175"/>
                    </a:lnTo>
                    <a:lnTo>
                      <a:pt x="85" y="175"/>
                    </a:lnTo>
                    <a:lnTo>
                      <a:pt x="83" y="175"/>
                    </a:lnTo>
                    <a:lnTo>
                      <a:pt x="81" y="177"/>
                    </a:lnTo>
                    <a:lnTo>
                      <a:pt x="81" y="175"/>
                    </a:lnTo>
                    <a:lnTo>
                      <a:pt x="81" y="177"/>
                    </a:lnTo>
                    <a:lnTo>
                      <a:pt x="79" y="177"/>
                    </a:lnTo>
                    <a:lnTo>
                      <a:pt x="79" y="179"/>
                    </a:lnTo>
                    <a:lnTo>
                      <a:pt x="78" y="179"/>
                    </a:lnTo>
                    <a:lnTo>
                      <a:pt x="76" y="179"/>
                    </a:lnTo>
                    <a:lnTo>
                      <a:pt x="74" y="179"/>
                    </a:lnTo>
                    <a:lnTo>
                      <a:pt x="74" y="177"/>
                    </a:lnTo>
                    <a:lnTo>
                      <a:pt x="73" y="177"/>
                    </a:lnTo>
                    <a:lnTo>
                      <a:pt x="71" y="177"/>
                    </a:lnTo>
                    <a:lnTo>
                      <a:pt x="69" y="177"/>
                    </a:lnTo>
                    <a:lnTo>
                      <a:pt x="68" y="177"/>
                    </a:lnTo>
                    <a:lnTo>
                      <a:pt x="66" y="177"/>
                    </a:lnTo>
                    <a:lnTo>
                      <a:pt x="64" y="177"/>
                    </a:lnTo>
                    <a:lnTo>
                      <a:pt x="62" y="177"/>
                    </a:lnTo>
                    <a:lnTo>
                      <a:pt x="61" y="177"/>
                    </a:lnTo>
                    <a:lnTo>
                      <a:pt x="59" y="177"/>
                    </a:lnTo>
                    <a:lnTo>
                      <a:pt x="59" y="175"/>
                    </a:lnTo>
                    <a:lnTo>
                      <a:pt x="57" y="177"/>
                    </a:lnTo>
                    <a:lnTo>
                      <a:pt x="57" y="175"/>
                    </a:lnTo>
                    <a:lnTo>
                      <a:pt x="56" y="177"/>
                    </a:lnTo>
                    <a:lnTo>
                      <a:pt x="54" y="177"/>
                    </a:lnTo>
                    <a:lnTo>
                      <a:pt x="54" y="175"/>
                    </a:lnTo>
                    <a:lnTo>
                      <a:pt x="52" y="175"/>
                    </a:lnTo>
                    <a:lnTo>
                      <a:pt x="51" y="175"/>
                    </a:lnTo>
                    <a:lnTo>
                      <a:pt x="51" y="177"/>
                    </a:lnTo>
                    <a:lnTo>
                      <a:pt x="49" y="177"/>
                    </a:lnTo>
                    <a:lnTo>
                      <a:pt x="47" y="177"/>
                    </a:lnTo>
                    <a:lnTo>
                      <a:pt x="45" y="177"/>
                    </a:lnTo>
                    <a:lnTo>
                      <a:pt x="44" y="177"/>
                    </a:lnTo>
                    <a:lnTo>
                      <a:pt x="42" y="175"/>
                    </a:lnTo>
                    <a:lnTo>
                      <a:pt x="40" y="172"/>
                    </a:lnTo>
                    <a:lnTo>
                      <a:pt x="40" y="170"/>
                    </a:lnTo>
                    <a:lnTo>
                      <a:pt x="39" y="170"/>
                    </a:lnTo>
                    <a:lnTo>
                      <a:pt x="39" y="169"/>
                    </a:lnTo>
                    <a:lnTo>
                      <a:pt x="39" y="167"/>
                    </a:lnTo>
                    <a:lnTo>
                      <a:pt x="40" y="167"/>
                    </a:lnTo>
                    <a:lnTo>
                      <a:pt x="39" y="167"/>
                    </a:lnTo>
                    <a:lnTo>
                      <a:pt x="39" y="165"/>
                    </a:lnTo>
                    <a:lnTo>
                      <a:pt x="37" y="164"/>
                    </a:lnTo>
                    <a:lnTo>
                      <a:pt x="37" y="165"/>
                    </a:lnTo>
                    <a:lnTo>
                      <a:pt x="35" y="165"/>
                    </a:lnTo>
                    <a:lnTo>
                      <a:pt x="34" y="165"/>
                    </a:lnTo>
                    <a:lnTo>
                      <a:pt x="34" y="164"/>
                    </a:lnTo>
                    <a:lnTo>
                      <a:pt x="32" y="165"/>
                    </a:lnTo>
                    <a:lnTo>
                      <a:pt x="32" y="164"/>
                    </a:lnTo>
                    <a:lnTo>
                      <a:pt x="30" y="164"/>
                    </a:lnTo>
                    <a:lnTo>
                      <a:pt x="30" y="162"/>
                    </a:lnTo>
                    <a:lnTo>
                      <a:pt x="28" y="162"/>
                    </a:lnTo>
                    <a:lnTo>
                      <a:pt x="28" y="160"/>
                    </a:lnTo>
                    <a:lnTo>
                      <a:pt x="30" y="160"/>
                    </a:lnTo>
                    <a:lnTo>
                      <a:pt x="30" y="158"/>
                    </a:lnTo>
                    <a:lnTo>
                      <a:pt x="28" y="158"/>
                    </a:lnTo>
                    <a:lnTo>
                      <a:pt x="28" y="157"/>
                    </a:lnTo>
                    <a:lnTo>
                      <a:pt x="28" y="155"/>
                    </a:lnTo>
                    <a:lnTo>
                      <a:pt x="28" y="153"/>
                    </a:lnTo>
                    <a:lnTo>
                      <a:pt x="28" y="152"/>
                    </a:lnTo>
                    <a:lnTo>
                      <a:pt x="30" y="150"/>
                    </a:lnTo>
                    <a:lnTo>
                      <a:pt x="30" y="148"/>
                    </a:lnTo>
                    <a:lnTo>
                      <a:pt x="28" y="148"/>
                    </a:lnTo>
                    <a:lnTo>
                      <a:pt x="28" y="147"/>
                    </a:lnTo>
                    <a:lnTo>
                      <a:pt x="28" y="145"/>
                    </a:lnTo>
                    <a:lnTo>
                      <a:pt x="30" y="145"/>
                    </a:lnTo>
                    <a:lnTo>
                      <a:pt x="30" y="143"/>
                    </a:lnTo>
                    <a:lnTo>
                      <a:pt x="32" y="143"/>
                    </a:lnTo>
                    <a:lnTo>
                      <a:pt x="34" y="143"/>
                    </a:lnTo>
                    <a:lnTo>
                      <a:pt x="34" y="141"/>
                    </a:lnTo>
                    <a:lnTo>
                      <a:pt x="32" y="141"/>
                    </a:lnTo>
                    <a:lnTo>
                      <a:pt x="32" y="140"/>
                    </a:lnTo>
                    <a:lnTo>
                      <a:pt x="32" y="138"/>
                    </a:lnTo>
                    <a:lnTo>
                      <a:pt x="34" y="138"/>
                    </a:lnTo>
                    <a:lnTo>
                      <a:pt x="32" y="138"/>
                    </a:lnTo>
                    <a:lnTo>
                      <a:pt x="32" y="136"/>
                    </a:lnTo>
                    <a:lnTo>
                      <a:pt x="32" y="135"/>
                    </a:lnTo>
                    <a:lnTo>
                      <a:pt x="32" y="133"/>
                    </a:lnTo>
                    <a:lnTo>
                      <a:pt x="32" y="131"/>
                    </a:lnTo>
                    <a:lnTo>
                      <a:pt x="30" y="131"/>
                    </a:lnTo>
                    <a:lnTo>
                      <a:pt x="28" y="130"/>
                    </a:lnTo>
                    <a:lnTo>
                      <a:pt x="28" y="128"/>
                    </a:lnTo>
                    <a:lnTo>
                      <a:pt x="27" y="126"/>
                    </a:lnTo>
                    <a:lnTo>
                      <a:pt x="25" y="126"/>
                    </a:lnTo>
                    <a:lnTo>
                      <a:pt x="25" y="124"/>
                    </a:lnTo>
                    <a:lnTo>
                      <a:pt x="23" y="124"/>
                    </a:lnTo>
                    <a:lnTo>
                      <a:pt x="23" y="123"/>
                    </a:lnTo>
                    <a:lnTo>
                      <a:pt x="22" y="121"/>
                    </a:lnTo>
                    <a:lnTo>
                      <a:pt x="22" y="118"/>
                    </a:lnTo>
                    <a:lnTo>
                      <a:pt x="20" y="113"/>
                    </a:lnTo>
                    <a:lnTo>
                      <a:pt x="20" y="111"/>
                    </a:lnTo>
                    <a:lnTo>
                      <a:pt x="20" y="109"/>
                    </a:lnTo>
                    <a:lnTo>
                      <a:pt x="18" y="107"/>
                    </a:lnTo>
                    <a:lnTo>
                      <a:pt x="18" y="106"/>
                    </a:lnTo>
                    <a:lnTo>
                      <a:pt x="17" y="106"/>
                    </a:lnTo>
                    <a:lnTo>
                      <a:pt x="17" y="104"/>
                    </a:lnTo>
                    <a:lnTo>
                      <a:pt x="17" y="106"/>
                    </a:lnTo>
                    <a:lnTo>
                      <a:pt x="15" y="106"/>
                    </a:lnTo>
                    <a:lnTo>
                      <a:pt x="13" y="106"/>
                    </a:lnTo>
                    <a:lnTo>
                      <a:pt x="13" y="107"/>
                    </a:lnTo>
                    <a:lnTo>
                      <a:pt x="13" y="106"/>
                    </a:lnTo>
                    <a:lnTo>
                      <a:pt x="11" y="106"/>
                    </a:lnTo>
                    <a:lnTo>
                      <a:pt x="11" y="104"/>
                    </a:lnTo>
                    <a:lnTo>
                      <a:pt x="13" y="104"/>
                    </a:lnTo>
                    <a:lnTo>
                      <a:pt x="11" y="104"/>
                    </a:lnTo>
                    <a:lnTo>
                      <a:pt x="11" y="102"/>
                    </a:lnTo>
                    <a:lnTo>
                      <a:pt x="11" y="101"/>
                    </a:lnTo>
                    <a:lnTo>
                      <a:pt x="11" y="99"/>
                    </a:lnTo>
                    <a:lnTo>
                      <a:pt x="10" y="101"/>
                    </a:lnTo>
                    <a:lnTo>
                      <a:pt x="8" y="101"/>
                    </a:lnTo>
                    <a:lnTo>
                      <a:pt x="8" y="102"/>
                    </a:lnTo>
                    <a:lnTo>
                      <a:pt x="6" y="102"/>
                    </a:lnTo>
                    <a:lnTo>
                      <a:pt x="5" y="104"/>
                    </a:lnTo>
                    <a:lnTo>
                      <a:pt x="3" y="104"/>
                    </a:lnTo>
                    <a:lnTo>
                      <a:pt x="1" y="104"/>
                    </a:lnTo>
                    <a:lnTo>
                      <a:pt x="0" y="104"/>
                    </a:lnTo>
                    <a:lnTo>
                      <a:pt x="0" y="102"/>
                    </a:lnTo>
                    <a:lnTo>
                      <a:pt x="0" y="101"/>
                    </a:lnTo>
                    <a:lnTo>
                      <a:pt x="1" y="101"/>
                    </a:lnTo>
                    <a:lnTo>
                      <a:pt x="1" y="99"/>
                    </a:lnTo>
                    <a:lnTo>
                      <a:pt x="3" y="97"/>
                    </a:lnTo>
                    <a:lnTo>
                      <a:pt x="3" y="96"/>
                    </a:lnTo>
                    <a:lnTo>
                      <a:pt x="5" y="96"/>
                    </a:lnTo>
                    <a:lnTo>
                      <a:pt x="5" y="94"/>
                    </a:lnTo>
                    <a:lnTo>
                      <a:pt x="5" y="92"/>
                    </a:lnTo>
                    <a:lnTo>
                      <a:pt x="6" y="92"/>
                    </a:lnTo>
                    <a:lnTo>
                      <a:pt x="6" y="90"/>
                    </a:lnTo>
                    <a:lnTo>
                      <a:pt x="8" y="89"/>
                    </a:lnTo>
                    <a:lnTo>
                      <a:pt x="8" y="87"/>
                    </a:lnTo>
                    <a:lnTo>
                      <a:pt x="10" y="87"/>
                    </a:lnTo>
                    <a:lnTo>
                      <a:pt x="10" y="85"/>
                    </a:lnTo>
                    <a:lnTo>
                      <a:pt x="11" y="84"/>
                    </a:lnTo>
                    <a:lnTo>
                      <a:pt x="11" y="82"/>
                    </a:lnTo>
                    <a:lnTo>
                      <a:pt x="13" y="82"/>
                    </a:lnTo>
                    <a:lnTo>
                      <a:pt x="13" y="80"/>
                    </a:lnTo>
                    <a:lnTo>
                      <a:pt x="11" y="80"/>
                    </a:lnTo>
                    <a:lnTo>
                      <a:pt x="11" y="78"/>
                    </a:lnTo>
                    <a:lnTo>
                      <a:pt x="11" y="77"/>
                    </a:lnTo>
                    <a:lnTo>
                      <a:pt x="11" y="75"/>
                    </a:lnTo>
                    <a:lnTo>
                      <a:pt x="13" y="75"/>
                    </a:lnTo>
                    <a:lnTo>
                      <a:pt x="13" y="73"/>
                    </a:lnTo>
                    <a:lnTo>
                      <a:pt x="13" y="72"/>
                    </a:lnTo>
                    <a:lnTo>
                      <a:pt x="15" y="72"/>
                    </a:lnTo>
                    <a:lnTo>
                      <a:pt x="13" y="70"/>
                    </a:lnTo>
                    <a:lnTo>
                      <a:pt x="15" y="70"/>
                    </a:lnTo>
                    <a:lnTo>
                      <a:pt x="15" y="68"/>
                    </a:lnTo>
                    <a:lnTo>
                      <a:pt x="15" y="67"/>
                    </a:lnTo>
                    <a:lnTo>
                      <a:pt x="15" y="65"/>
                    </a:lnTo>
                    <a:lnTo>
                      <a:pt x="15" y="63"/>
                    </a:lnTo>
                    <a:lnTo>
                      <a:pt x="15" y="61"/>
                    </a:lnTo>
                    <a:lnTo>
                      <a:pt x="15" y="60"/>
                    </a:lnTo>
                    <a:lnTo>
                      <a:pt x="17" y="60"/>
                    </a:lnTo>
                    <a:lnTo>
                      <a:pt x="17" y="58"/>
                    </a:lnTo>
                    <a:lnTo>
                      <a:pt x="17" y="56"/>
                    </a:lnTo>
                    <a:lnTo>
                      <a:pt x="18" y="55"/>
                    </a:lnTo>
                    <a:lnTo>
                      <a:pt x="20" y="55"/>
                    </a:lnTo>
                    <a:lnTo>
                      <a:pt x="20" y="53"/>
                    </a:lnTo>
                    <a:lnTo>
                      <a:pt x="20" y="51"/>
                    </a:lnTo>
                    <a:lnTo>
                      <a:pt x="20" y="50"/>
                    </a:lnTo>
                    <a:lnTo>
                      <a:pt x="22" y="50"/>
                    </a:lnTo>
                    <a:lnTo>
                      <a:pt x="22" y="48"/>
                    </a:lnTo>
                    <a:lnTo>
                      <a:pt x="22" y="46"/>
                    </a:lnTo>
                    <a:lnTo>
                      <a:pt x="23" y="44"/>
                    </a:lnTo>
                    <a:lnTo>
                      <a:pt x="25" y="44"/>
                    </a:lnTo>
                    <a:lnTo>
                      <a:pt x="27" y="43"/>
                    </a:lnTo>
                    <a:lnTo>
                      <a:pt x="27" y="41"/>
                    </a:lnTo>
                    <a:lnTo>
                      <a:pt x="28" y="39"/>
                    </a:lnTo>
                    <a:lnTo>
                      <a:pt x="28" y="38"/>
                    </a:lnTo>
                    <a:lnTo>
                      <a:pt x="30" y="36"/>
                    </a:lnTo>
                    <a:lnTo>
                      <a:pt x="30" y="38"/>
                    </a:lnTo>
                    <a:lnTo>
                      <a:pt x="30" y="36"/>
                    </a:lnTo>
                    <a:lnTo>
                      <a:pt x="32" y="36"/>
                    </a:lnTo>
                    <a:lnTo>
                      <a:pt x="34" y="36"/>
                    </a:lnTo>
                    <a:lnTo>
                      <a:pt x="35" y="36"/>
                    </a:lnTo>
                    <a:lnTo>
                      <a:pt x="37" y="36"/>
                    </a:lnTo>
                    <a:lnTo>
                      <a:pt x="39" y="33"/>
                    </a:lnTo>
                    <a:lnTo>
                      <a:pt x="40" y="29"/>
                    </a:lnTo>
                    <a:lnTo>
                      <a:pt x="40" y="27"/>
                    </a:lnTo>
                    <a:lnTo>
                      <a:pt x="42" y="27"/>
                    </a:lnTo>
                    <a:lnTo>
                      <a:pt x="42" y="26"/>
                    </a:lnTo>
                    <a:lnTo>
                      <a:pt x="44" y="24"/>
                    </a:lnTo>
                    <a:lnTo>
                      <a:pt x="44" y="22"/>
                    </a:lnTo>
                    <a:lnTo>
                      <a:pt x="45" y="21"/>
                    </a:lnTo>
                    <a:lnTo>
                      <a:pt x="45" y="19"/>
                    </a:lnTo>
                    <a:lnTo>
                      <a:pt x="52" y="17"/>
                    </a:lnTo>
                    <a:lnTo>
                      <a:pt x="57" y="16"/>
                    </a:lnTo>
                    <a:lnTo>
                      <a:pt x="62" y="14"/>
                    </a:lnTo>
                    <a:lnTo>
                      <a:pt x="66" y="12"/>
                    </a:lnTo>
                    <a:lnTo>
                      <a:pt x="66" y="14"/>
                    </a:lnTo>
                    <a:lnTo>
                      <a:pt x="66" y="12"/>
                    </a:lnTo>
                    <a:lnTo>
                      <a:pt x="68" y="12"/>
                    </a:lnTo>
                    <a:lnTo>
                      <a:pt x="68" y="14"/>
                    </a:lnTo>
                    <a:lnTo>
                      <a:pt x="66" y="14"/>
                    </a:lnTo>
                    <a:lnTo>
                      <a:pt x="66" y="16"/>
                    </a:lnTo>
                    <a:lnTo>
                      <a:pt x="64" y="16"/>
                    </a:lnTo>
                    <a:lnTo>
                      <a:pt x="62" y="17"/>
                    </a:lnTo>
                    <a:lnTo>
                      <a:pt x="61" y="17"/>
                    </a:lnTo>
                    <a:lnTo>
                      <a:pt x="59" y="17"/>
                    </a:lnTo>
                    <a:lnTo>
                      <a:pt x="57" y="17"/>
                    </a:lnTo>
                    <a:lnTo>
                      <a:pt x="56" y="17"/>
                    </a:lnTo>
                    <a:lnTo>
                      <a:pt x="54" y="19"/>
                    </a:lnTo>
                    <a:lnTo>
                      <a:pt x="52" y="19"/>
                    </a:lnTo>
                    <a:lnTo>
                      <a:pt x="51" y="19"/>
                    </a:lnTo>
                    <a:lnTo>
                      <a:pt x="49" y="19"/>
                    </a:lnTo>
                    <a:lnTo>
                      <a:pt x="49" y="21"/>
                    </a:lnTo>
                    <a:lnTo>
                      <a:pt x="47" y="21"/>
                    </a:lnTo>
                    <a:lnTo>
                      <a:pt x="45" y="21"/>
                    </a:lnTo>
                    <a:lnTo>
                      <a:pt x="45" y="22"/>
                    </a:lnTo>
                    <a:lnTo>
                      <a:pt x="45" y="24"/>
                    </a:lnTo>
                    <a:lnTo>
                      <a:pt x="45" y="26"/>
                    </a:lnTo>
                    <a:lnTo>
                      <a:pt x="45" y="27"/>
                    </a:lnTo>
                    <a:lnTo>
                      <a:pt x="47" y="27"/>
                    </a:lnTo>
                    <a:lnTo>
                      <a:pt x="47" y="29"/>
                    </a:lnTo>
                    <a:lnTo>
                      <a:pt x="47" y="31"/>
                    </a:lnTo>
                    <a:lnTo>
                      <a:pt x="49" y="33"/>
                    </a:lnTo>
                    <a:lnTo>
                      <a:pt x="49" y="34"/>
                    </a:lnTo>
                    <a:lnTo>
                      <a:pt x="51" y="34"/>
                    </a:lnTo>
                    <a:lnTo>
                      <a:pt x="51" y="36"/>
                    </a:lnTo>
                    <a:lnTo>
                      <a:pt x="52" y="38"/>
                    </a:lnTo>
                    <a:lnTo>
                      <a:pt x="54" y="38"/>
                    </a:lnTo>
                    <a:lnTo>
                      <a:pt x="54" y="39"/>
                    </a:lnTo>
                    <a:lnTo>
                      <a:pt x="56" y="39"/>
                    </a:lnTo>
                    <a:lnTo>
                      <a:pt x="56" y="41"/>
                    </a:lnTo>
                    <a:lnTo>
                      <a:pt x="57" y="41"/>
                    </a:lnTo>
                    <a:lnTo>
                      <a:pt x="57" y="43"/>
                    </a:lnTo>
                    <a:lnTo>
                      <a:pt x="57" y="41"/>
                    </a:lnTo>
                    <a:lnTo>
                      <a:pt x="56" y="41"/>
                    </a:lnTo>
                    <a:lnTo>
                      <a:pt x="54" y="41"/>
                    </a:lnTo>
                    <a:lnTo>
                      <a:pt x="52" y="41"/>
                    </a:lnTo>
                    <a:lnTo>
                      <a:pt x="54" y="43"/>
                    </a:lnTo>
                    <a:lnTo>
                      <a:pt x="54" y="44"/>
                    </a:lnTo>
                    <a:lnTo>
                      <a:pt x="54" y="46"/>
                    </a:lnTo>
                    <a:lnTo>
                      <a:pt x="56" y="46"/>
                    </a:lnTo>
                    <a:lnTo>
                      <a:pt x="56" y="48"/>
                    </a:lnTo>
                    <a:lnTo>
                      <a:pt x="56" y="50"/>
                    </a:lnTo>
                    <a:lnTo>
                      <a:pt x="57" y="50"/>
                    </a:lnTo>
                    <a:lnTo>
                      <a:pt x="56" y="50"/>
                    </a:lnTo>
                    <a:lnTo>
                      <a:pt x="57" y="50"/>
                    </a:lnTo>
                    <a:lnTo>
                      <a:pt x="59" y="51"/>
                    </a:lnTo>
                    <a:lnTo>
                      <a:pt x="59" y="53"/>
                    </a:lnTo>
                    <a:lnTo>
                      <a:pt x="57" y="53"/>
                    </a:lnTo>
                    <a:lnTo>
                      <a:pt x="57" y="55"/>
                    </a:lnTo>
                    <a:lnTo>
                      <a:pt x="57" y="56"/>
                    </a:lnTo>
                    <a:lnTo>
                      <a:pt x="57" y="58"/>
                    </a:lnTo>
                    <a:lnTo>
                      <a:pt x="57" y="60"/>
                    </a:lnTo>
                    <a:lnTo>
                      <a:pt x="56" y="60"/>
                    </a:lnTo>
                    <a:lnTo>
                      <a:pt x="56" y="61"/>
                    </a:lnTo>
                    <a:lnTo>
                      <a:pt x="54" y="61"/>
                    </a:lnTo>
                    <a:lnTo>
                      <a:pt x="54" y="63"/>
                    </a:lnTo>
                    <a:lnTo>
                      <a:pt x="52" y="63"/>
                    </a:lnTo>
                    <a:lnTo>
                      <a:pt x="52" y="65"/>
                    </a:lnTo>
                    <a:lnTo>
                      <a:pt x="51" y="65"/>
                    </a:lnTo>
                    <a:lnTo>
                      <a:pt x="51" y="67"/>
                    </a:lnTo>
                    <a:lnTo>
                      <a:pt x="51" y="68"/>
                    </a:lnTo>
                    <a:lnTo>
                      <a:pt x="49" y="68"/>
                    </a:lnTo>
                    <a:lnTo>
                      <a:pt x="49" y="70"/>
                    </a:lnTo>
                    <a:lnTo>
                      <a:pt x="49" y="72"/>
                    </a:lnTo>
                    <a:lnTo>
                      <a:pt x="47" y="72"/>
                    </a:lnTo>
                    <a:lnTo>
                      <a:pt x="45" y="72"/>
                    </a:lnTo>
                    <a:lnTo>
                      <a:pt x="45" y="73"/>
                    </a:lnTo>
                    <a:lnTo>
                      <a:pt x="45" y="75"/>
                    </a:lnTo>
                    <a:lnTo>
                      <a:pt x="44" y="75"/>
                    </a:lnTo>
                    <a:lnTo>
                      <a:pt x="44" y="77"/>
                    </a:lnTo>
                    <a:lnTo>
                      <a:pt x="44" y="78"/>
                    </a:lnTo>
                    <a:lnTo>
                      <a:pt x="42" y="78"/>
                    </a:lnTo>
                    <a:lnTo>
                      <a:pt x="42" y="80"/>
                    </a:lnTo>
                    <a:lnTo>
                      <a:pt x="40" y="80"/>
                    </a:lnTo>
                    <a:lnTo>
                      <a:pt x="40" y="82"/>
                    </a:lnTo>
                    <a:lnTo>
                      <a:pt x="40" y="84"/>
                    </a:lnTo>
                    <a:lnTo>
                      <a:pt x="42" y="84"/>
                    </a:lnTo>
                    <a:lnTo>
                      <a:pt x="42" y="85"/>
                    </a:lnTo>
                    <a:lnTo>
                      <a:pt x="44" y="85"/>
                    </a:lnTo>
                    <a:lnTo>
                      <a:pt x="44" y="87"/>
                    </a:lnTo>
                    <a:lnTo>
                      <a:pt x="45" y="87"/>
                    </a:lnTo>
                    <a:lnTo>
                      <a:pt x="45" y="89"/>
                    </a:lnTo>
                    <a:lnTo>
                      <a:pt x="45" y="90"/>
                    </a:lnTo>
                    <a:lnTo>
                      <a:pt x="45" y="89"/>
                    </a:lnTo>
                    <a:lnTo>
                      <a:pt x="45" y="90"/>
                    </a:lnTo>
                    <a:lnTo>
                      <a:pt x="44" y="90"/>
                    </a:lnTo>
                    <a:lnTo>
                      <a:pt x="45" y="90"/>
                    </a:lnTo>
                    <a:lnTo>
                      <a:pt x="45" y="92"/>
                    </a:lnTo>
                    <a:lnTo>
                      <a:pt x="47" y="92"/>
                    </a:lnTo>
                    <a:lnTo>
                      <a:pt x="47" y="94"/>
                    </a:lnTo>
                    <a:lnTo>
                      <a:pt x="49" y="94"/>
                    </a:lnTo>
                    <a:lnTo>
                      <a:pt x="51" y="96"/>
                    </a:lnTo>
                    <a:lnTo>
                      <a:pt x="49" y="96"/>
                    </a:lnTo>
                    <a:lnTo>
                      <a:pt x="47" y="96"/>
                    </a:lnTo>
                    <a:lnTo>
                      <a:pt x="47" y="97"/>
                    </a:lnTo>
                    <a:lnTo>
                      <a:pt x="49" y="97"/>
                    </a:lnTo>
                    <a:lnTo>
                      <a:pt x="49" y="96"/>
                    </a:lnTo>
                    <a:lnTo>
                      <a:pt x="51" y="96"/>
                    </a:lnTo>
                    <a:lnTo>
                      <a:pt x="51" y="97"/>
                    </a:lnTo>
                    <a:lnTo>
                      <a:pt x="52" y="97"/>
                    </a:lnTo>
                    <a:lnTo>
                      <a:pt x="52" y="96"/>
                    </a:lnTo>
                    <a:lnTo>
                      <a:pt x="52" y="97"/>
                    </a:lnTo>
                    <a:lnTo>
                      <a:pt x="54" y="97"/>
                    </a:lnTo>
                    <a:lnTo>
                      <a:pt x="54" y="96"/>
                    </a:lnTo>
                    <a:lnTo>
                      <a:pt x="54" y="97"/>
                    </a:lnTo>
                    <a:lnTo>
                      <a:pt x="54" y="99"/>
                    </a:lnTo>
                    <a:lnTo>
                      <a:pt x="54" y="101"/>
                    </a:lnTo>
                    <a:lnTo>
                      <a:pt x="52" y="101"/>
                    </a:lnTo>
                    <a:lnTo>
                      <a:pt x="51" y="102"/>
                    </a:lnTo>
                    <a:lnTo>
                      <a:pt x="52" y="102"/>
                    </a:lnTo>
                    <a:lnTo>
                      <a:pt x="54" y="102"/>
                    </a:lnTo>
                    <a:lnTo>
                      <a:pt x="52" y="102"/>
                    </a:lnTo>
                    <a:lnTo>
                      <a:pt x="54" y="102"/>
                    </a:lnTo>
                    <a:lnTo>
                      <a:pt x="54" y="104"/>
                    </a:lnTo>
                    <a:lnTo>
                      <a:pt x="54" y="106"/>
                    </a:lnTo>
                    <a:lnTo>
                      <a:pt x="52" y="106"/>
                    </a:lnTo>
                    <a:lnTo>
                      <a:pt x="54" y="106"/>
                    </a:lnTo>
                    <a:lnTo>
                      <a:pt x="54" y="107"/>
                    </a:lnTo>
                    <a:lnTo>
                      <a:pt x="56" y="107"/>
                    </a:lnTo>
                    <a:lnTo>
                      <a:pt x="57" y="107"/>
                    </a:lnTo>
                    <a:lnTo>
                      <a:pt x="57" y="109"/>
                    </a:lnTo>
                    <a:lnTo>
                      <a:pt x="59" y="109"/>
                    </a:lnTo>
                    <a:lnTo>
                      <a:pt x="59" y="107"/>
                    </a:lnTo>
                    <a:lnTo>
                      <a:pt x="61" y="109"/>
                    </a:lnTo>
                    <a:lnTo>
                      <a:pt x="61" y="107"/>
                    </a:lnTo>
                    <a:lnTo>
                      <a:pt x="62" y="107"/>
                    </a:lnTo>
                    <a:lnTo>
                      <a:pt x="64" y="107"/>
                    </a:lnTo>
                    <a:lnTo>
                      <a:pt x="66" y="107"/>
                    </a:lnTo>
                    <a:lnTo>
                      <a:pt x="68" y="107"/>
                    </a:lnTo>
                    <a:lnTo>
                      <a:pt x="68" y="106"/>
                    </a:lnTo>
                    <a:lnTo>
                      <a:pt x="69" y="106"/>
                    </a:lnTo>
                    <a:lnTo>
                      <a:pt x="69" y="104"/>
                    </a:lnTo>
                    <a:lnTo>
                      <a:pt x="71" y="104"/>
                    </a:lnTo>
                    <a:lnTo>
                      <a:pt x="71" y="102"/>
                    </a:lnTo>
                    <a:lnTo>
                      <a:pt x="73" y="102"/>
                    </a:lnTo>
                    <a:lnTo>
                      <a:pt x="73" y="101"/>
                    </a:lnTo>
                    <a:lnTo>
                      <a:pt x="74" y="101"/>
                    </a:lnTo>
                    <a:lnTo>
                      <a:pt x="74" y="99"/>
                    </a:lnTo>
                    <a:lnTo>
                      <a:pt x="76" y="99"/>
                    </a:lnTo>
                    <a:lnTo>
                      <a:pt x="76" y="97"/>
                    </a:lnTo>
                    <a:lnTo>
                      <a:pt x="76" y="96"/>
                    </a:lnTo>
                    <a:lnTo>
                      <a:pt x="76" y="94"/>
                    </a:lnTo>
                    <a:lnTo>
                      <a:pt x="76" y="92"/>
                    </a:lnTo>
                    <a:lnTo>
                      <a:pt x="76" y="90"/>
                    </a:lnTo>
                    <a:lnTo>
                      <a:pt x="76" y="89"/>
                    </a:lnTo>
                    <a:lnTo>
                      <a:pt x="76" y="87"/>
                    </a:lnTo>
                    <a:lnTo>
                      <a:pt x="78" y="87"/>
                    </a:lnTo>
                    <a:lnTo>
                      <a:pt x="76" y="85"/>
                    </a:lnTo>
                    <a:lnTo>
                      <a:pt x="78" y="85"/>
                    </a:lnTo>
                    <a:lnTo>
                      <a:pt x="78" y="84"/>
                    </a:lnTo>
                    <a:lnTo>
                      <a:pt x="76" y="84"/>
                    </a:lnTo>
                    <a:lnTo>
                      <a:pt x="76" y="82"/>
                    </a:lnTo>
                    <a:lnTo>
                      <a:pt x="76" y="80"/>
                    </a:lnTo>
                    <a:lnTo>
                      <a:pt x="74" y="78"/>
                    </a:lnTo>
                    <a:lnTo>
                      <a:pt x="74" y="77"/>
                    </a:lnTo>
                    <a:lnTo>
                      <a:pt x="73" y="77"/>
                    </a:lnTo>
                    <a:lnTo>
                      <a:pt x="71" y="77"/>
                    </a:lnTo>
                    <a:lnTo>
                      <a:pt x="71" y="75"/>
                    </a:lnTo>
                    <a:lnTo>
                      <a:pt x="71" y="73"/>
                    </a:lnTo>
                    <a:lnTo>
                      <a:pt x="71" y="72"/>
                    </a:lnTo>
                    <a:lnTo>
                      <a:pt x="69" y="72"/>
                    </a:lnTo>
                    <a:lnTo>
                      <a:pt x="69" y="70"/>
                    </a:lnTo>
                    <a:lnTo>
                      <a:pt x="68" y="68"/>
                    </a:lnTo>
                    <a:lnTo>
                      <a:pt x="66" y="68"/>
                    </a:lnTo>
                    <a:lnTo>
                      <a:pt x="66" y="67"/>
                    </a:lnTo>
                    <a:lnTo>
                      <a:pt x="66" y="65"/>
                    </a:lnTo>
                    <a:lnTo>
                      <a:pt x="64" y="65"/>
                    </a:lnTo>
                    <a:lnTo>
                      <a:pt x="64" y="63"/>
                    </a:lnTo>
                    <a:lnTo>
                      <a:pt x="62" y="63"/>
                    </a:lnTo>
                    <a:lnTo>
                      <a:pt x="62" y="61"/>
                    </a:lnTo>
                    <a:lnTo>
                      <a:pt x="62" y="60"/>
                    </a:lnTo>
                    <a:lnTo>
                      <a:pt x="62" y="58"/>
                    </a:lnTo>
                    <a:lnTo>
                      <a:pt x="61" y="58"/>
                    </a:lnTo>
                    <a:lnTo>
                      <a:pt x="61" y="56"/>
                    </a:lnTo>
                    <a:lnTo>
                      <a:pt x="61" y="55"/>
                    </a:lnTo>
                    <a:lnTo>
                      <a:pt x="62" y="55"/>
                    </a:lnTo>
                    <a:lnTo>
                      <a:pt x="61" y="55"/>
                    </a:lnTo>
                    <a:lnTo>
                      <a:pt x="61" y="53"/>
                    </a:lnTo>
                    <a:lnTo>
                      <a:pt x="61" y="51"/>
                    </a:lnTo>
                    <a:lnTo>
                      <a:pt x="61" y="50"/>
                    </a:lnTo>
                    <a:lnTo>
                      <a:pt x="59" y="50"/>
                    </a:lnTo>
                    <a:lnTo>
                      <a:pt x="59" y="48"/>
                    </a:lnTo>
                    <a:lnTo>
                      <a:pt x="61" y="48"/>
                    </a:lnTo>
                    <a:lnTo>
                      <a:pt x="62" y="48"/>
                    </a:lnTo>
                    <a:lnTo>
                      <a:pt x="64" y="48"/>
                    </a:lnTo>
                    <a:lnTo>
                      <a:pt x="64" y="46"/>
                    </a:lnTo>
                    <a:lnTo>
                      <a:pt x="64" y="44"/>
                    </a:lnTo>
                    <a:lnTo>
                      <a:pt x="62" y="44"/>
                    </a:lnTo>
                    <a:lnTo>
                      <a:pt x="62" y="43"/>
                    </a:lnTo>
                    <a:lnTo>
                      <a:pt x="64" y="43"/>
                    </a:lnTo>
                    <a:lnTo>
                      <a:pt x="64" y="44"/>
                    </a:lnTo>
                    <a:lnTo>
                      <a:pt x="64" y="43"/>
                    </a:lnTo>
                    <a:lnTo>
                      <a:pt x="62" y="43"/>
                    </a:lnTo>
                    <a:lnTo>
                      <a:pt x="64" y="43"/>
                    </a:lnTo>
                    <a:lnTo>
                      <a:pt x="66" y="43"/>
                    </a:lnTo>
                    <a:lnTo>
                      <a:pt x="68" y="43"/>
                    </a:lnTo>
                    <a:lnTo>
                      <a:pt x="69" y="43"/>
                    </a:lnTo>
                    <a:lnTo>
                      <a:pt x="69" y="41"/>
                    </a:lnTo>
                    <a:lnTo>
                      <a:pt x="71" y="41"/>
                    </a:lnTo>
                    <a:lnTo>
                      <a:pt x="73" y="41"/>
                    </a:lnTo>
                    <a:lnTo>
                      <a:pt x="73" y="39"/>
                    </a:lnTo>
                    <a:lnTo>
                      <a:pt x="74" y="39"/>
                    </a:lnTo>
                    <a:lnTo>
                      <a:pt x="76" y="39"/>
                    </a:lnTo>
                    <a:lnTo>
                      <a:pt x="76" y="38"/>
                    </a:lnTo>
                    <a:lnTo>
                      <a:pt x="78" y="38"/>
                    </a:lnTo>
                    <a:lnTo>
                      <a:pt x="79" y="38"/>
                    </a:lnTo>
                    <a:lnTo>
                      <a:pt x="79" y="36"/>
                    </a:lnTo>
                    <a:lnTo>
                      <a:pt x="81" y="36"/>
                    </a:lnTo>
                    <a:lnTo>
                      <a:pt x="83" y="36"/>
                    </a:lnTo>
                    <a:lnTo>
                      <a:pt x="83" y="34"/>
                    </a:lnTo>
                    <a:lnTo>
                      <a:pt x="85" y="34"/>
                    </a:lnTo>
                    <a:lnTo>
                      <a:pt x="86" y="34"/>
                    </a:lnTo>
                    <a:lnTo>
                      <a:pt x="88" y="34"/>
                    </a:lnTo>
                    <a:lnTo>
                      <a:pt x="88" y="33"/>
                    </a:lnTo>
                    <a:lnTo>
                      <a:pt x="90" y="33"/>
                    </a:lnTo>
                    <a:lnTo>
                      <a:pt x="91" y="33"/>
                    </a:lnTo>
                    <a:lnTo>
                      <a:pt x="93" y="33"/>
                    </a:lnTo>
                    <a:lnTo>
                      <a:pt x="95" y="33"/>
                    </a:lnTo>
                    <a:lnTo>
                      <a:pt x="96" y="31"/>
                    </a:lnTo>
                    <a:lnTo>
                      <a:pt x="95" y="33"/>
                    </a:lnTo>
                    <a:lnTo>
                      <a:pt x="95" y="31"/>
                    </a:lnTo>
                    <a:lnTo>
                      <a:pt x="96" y="31"/>
                    </a:lnTo>
                    <a:lnTo>
                      <a:pt x="98" y="31"/>
                    </a:lnTo>
                    <a:lnTo>
                      <a:pt x="100" y="31"/>
                    </a:lnTo>
                    <a:lnTo>
                      <a:pt x="102" y="31"/>
                    </a:lnTo>
                    <a:lnTo>
                      <a:pt x="102" y="29"/>
                    </a:lnTo>
                    <a:lnTo>
                      <a:pt x="103" y="29"/>
                    </a:lnTo>
                    <a:lnTo>
                      <a:pt x="105" y="29"/>
                    </a:lnTo>
                    <a:lnTo>
                      <a:pt x="107" y="29"/>
                    </a:lnTo>
                    <a:lnTo>
                      <a:pt x="107" y="27"/>
                    </a:lnTo>
                    <a:lnTo>
                      <a:pt x="107" y="26"/>
                    </a:lnTo>
                    <a:lnTo>
                      <a:pt x="108" y="26"/>
                    </a:lnTo>
                    <a:lnTo>
                      <a:pt x="107" y="26"/>
                    </a:lnTo>
                    <a:lnTo>
                      <a:pt x="108" y="26"/>
                    </a:lnTo>
                    <a:lnTo>
                      <a:pt x="110" y="26"/>
                    </a:lnTo>
                    <a:lnTo>
                      <a:pt x="110" y="24"/>
                    </a:lnTo>
                    <a:lnTo>
                      <a:pt x="112" y="24"/>
                    </a:lnTo>
                    <a:lnTo>
                      <a:pt x="110" y="24"/>
                    </a:lnTo>
                    <a:lnTo>
                      <a:pt x="110" y="22"/>
                    </a:lnTo>
                    <a:lnTo>
                      <a:pt x="108" y="22"/>
                    </a:lnTo>
                    <a:lnTo>
                      <a:pt x="110" y="22"/>
                    </a:lnTo>
                    <a:lnTo>
                      <a:pt x="108" y="22"/>
                    </a:lnTo>
                    <a:lnTo>
                      <a:pt x="110" y="22"/>
                    </a:lnTo>
                    <a:lnTo>
                      <a:pt x="110" y="24"/>
                    </a:lnTo>
                    <a:lnTo>
                      <a:pt x="112" y="24"/>
                    </a:lnTo>
                    <a:lnTo>
                      <a:pt x="112" y="22"/>
                    </a:lnTo>
                    <a:lnTo>
                      <a:pt x="112" y="24"/>
                    </a:lnTo>
                    <a:lnTo>
                      <a:pt x="113" y="24"/>
                    </a:lnTo>
                    <a:lnTo>
                      <a:pt x="113" y="22"/>
                    </a:lnTo>
                    <a:lnTo>
                      <a:pt x="113" y="24"/>
                    </a:lnTo>
                    <a:lnTo>
                      <a:pt x="115" y="22"/>
                    </a:lnTo>
                    <a:lnTo>
                      <a:pt x="115" y="24"/>
                    </a:lnTo>
                    <a:lnTo>
                      <a:pt x="117" y="24"/>
                    </a:lnTo>
                    <a:lnTo>
                      <a:pt x="117" y="26"/>
                    </a:lnTo>
                    <a:lnTo>
                      <a:pt x="119" y="26"/>
                    </a:lnTo>
                    <a:lnTo>
                      <a:pt x="120" y="26"/>
                    </a:lnTo>
                    <a:lnTo>
                      <a:pt x="120" y="24"/>
                    </a:lnTo>
                    <a:lnTo>
                      <a:pt x="122" y="24"/>
                    </a:lnTo>
                    <a:lnTo>
                      <a:pt x="120" y="22"/>
                    </a:lnTo>
                    <a:lnTo>
                      <a:pt x="120" y="21"/>
                    </a:lnTo>
                    <a:lnTo>
                      <a:pt x="120" y="19"/>
                    </a:lnTo>
                    <a:lnTo>
                      <a:pt x="119" y="19"/>
                    </a:lnTo>
                    <a:lnTo>
                      <a:pt x="119" y="17"/>
                    </a:lnTo>
                    <a:lnTo>
                      <a:pt x="117" y="17"/>
                    </a:lnTo>
                    <a:lnTo>
                      <a:pt x="117" y="19"/>
                    </a:lnTo>
                    <a:lnTo>
                      <a:pt x="117" y="17"/>
                    </a:lnTo>
                    <a:lnTo>
                      <a:pt x="115" y="17"/>
                    </a:lnTo>
                    <a:lnTo>
                      <a:pt x="115" y="19"/>
                    </a:lnTo>
                    <a:lnTo>
                      <a:pt x="113" y="19"/>
                    </a:lnTo>
                    <a:lnTo>
                      <a:pt x="115" y="19"/>
                    </a:lnTo>
                    <a:lnTo>
                      <a:pt x="113" y="17"/>
                    </a:lnTo>
                    <a:lnTo>
                      <a:pt x="113" y="19"/>
                    </a:lnTo>
                    <a:lnTo>
                      <a:pt x="113" y="17"/>
                    </a:lnTo>
                    <a:lnTo>
                      <a:pt x="113" y="19"/>
                    </a:lnTo>
                    <a:lnTo>
                      <a:pt x="112" y="19"/>
                    </a:lnTo>
                    <a:lnTo>
                      <a:pt x="110" y="19"/>
                    </a:lnTo>
                    <a:lnTo>
                      <a:pt x="108" y="19"/>
                    </a:lnTo>
                    <a:lnTo>
                      <a:pt x="107" y="19"/>
                    </a:lnTo>
                    <a:lnTo>
                      <a:pt x="107" y="21"/>
                    </a:lnTo>
                    <a:lnTo>
                      <a:pt x="105" y="21"/>
                    </a:lnTo>
                    <a:lnTo>
                      <a:pt x="105" y="19"/>
                    </a:lnTo>
                    <a:lnTo>
                      <a:pt x="105" y="17"/>
                    </a:lnTo>
                    <a:lnTo>
                      <a:pt x="105" y="16"/>
                    </a:lnTo>
                    <a:lnTo>
                      <a:pt x="105" y="17"/>
                    </a:lnTo>
                    <a:lnTo>
                      <a:pt x="105" y="16"/>
                    </a:lnTo>
                    <a:lnTo>
                      <a:pt x="105" y="14"/>
                    </a:lnTo>
                    <a:lnTo>
                      <a:pt x="105" y="16"/>
                    </a:lnTo>
                    <a:lnTo>
                      <a:pt x="103" y="14"/>
                    </a:lnTo>
                    <a:lnTo>
                      <a:pt x="103" y="12"/>
                    </a:lnTo>
                    <a:lnTo>
                      <a:pt x="102" y="12"/>
                    </a:lnTo>
                    <a:lnTo>
                      <a:pt x="103" y="10"/>
                    </a:lnTo>
                    <a:lnTo>
                      <a:pt x="102" y="10"/>
                    </a:lnTo>
                    <a:lnTo>
                      <a:pt x="103" y="9"/>
                    </a:lnTo>
                    <a:lnTo>
                      <a:pt x="103" y="7"/>
                    </a:lnTo>
                    <a:lnTo>
                      <a:pt x="105" y="5"/>
                    </a:lnTo>
                    <a:lnTo>
                      <a:pt x="105" y="4"/>
                    </a:lnTo>
                    <a:lnTo>
                      <a:pt x="107" y="4"/>
                    </a:lnTo>
                    <a:lnTo>
                      <a:pt x="107" y="2"/>
                    </a:lnTo>
                    <a:lnTo>
                      <a:pt x="108" y="2"/>
                    </a:lnTo>
                    <a:lnTo>
                      <a:pt x="110" y="0"/>
                    </a:lnTo>
                    <a:lnTo>
                      <a:pt x="112" y="0"/>
                    </a:lnTo>
                    <a:lnTo>
                      <a:pt x="113" y="0"/>
                    </a:lnTo>
                    <a:lnTo>
                      <a:pt x="115" y="0"/>
                    </a:lnTo>
                    <a:lnTo>
                      <a:pt x="115" y="2"/>
                    </a:lnTo>
                    <a:lnTo>
                      <a:pt x="117" y="2"/>
                    </a:lnTo>
                    <a:lnTo>
                      <a:pt x="117" y="4"/>
                    </a:lnTo>
                    <a:lnTo>
                      <a:pt x="117" y="5"/>
                    </a:lnTo>
                    <a:lnTo>
                      <a:pt x="117" y="7"/>
                    </a:lnTo>
                    <a:lnTo>
                      <a:pt x="117" y="5"/>
                    </a:lnTo>
                    <a:lnTo>
                      <a:pt x="119" y="5"/>
                    </a:lnTo>
                    <a:lnTo>
                      <a:pt x="119" y="7"/>
                    </a:lnTo>
                    <a:lnTo>
                      <a:pt x="119" y="9"/>
                    </a:lnTo>
                    <a:lnTo>
                      <a:pt x="119" y="10"/>
                    </a:lnTo>
                    <a:lnTo>
                      <a:pt x="119" y="12"/>
                    </a:lnTo>
                    <a:lnTo>
                      <a:pt x="119" y="14"/>
                    </a:lnTo>
                    <a:lnTo>
                      <a:pt x="120" y="16"/>
                    </a:lnTo>
                    <a:lnTo>
                      <a:pt x="120" y="17"/>
                    </a:lnTo>
                    <a:lnTo>
                      <a:pt x="122" y="19"/>
                    </a:lnTo>
                    <a:lnTo>
                      <a:pt x="122" y="21"/>
                    </a:lnTo>
                    <a:lnTo>
                      <a:pt x="122" y="22"/>
                    </a:lnTo>
                    <a:lnTo>
                      <a:pt x="124" y="22"/>
                    </a:lnTo>
                    <a:lnTo>
                      <a:pt x="124" y="24"/>
                    </a:lnTo>
                    <a:lnTo>
                      <a:pt x="125" y="24"/>
                    </a:lnTo>
                    <a:lnTo>
                      <a:pt x="125" y="26"/>
                    </a:lnTo>
                    <a:lnTo>
                      <a:pt x="127" y="26"/>
                    </a:lnTo>
                    <a:lnTo>
                      <a:pt x="127" y="24"/>
                    </a:lnTo>
                    <a:lnTo>
                      <a:pt x="129" y="24"/>
                    </a:lnTo>
                    <a:lnTo>
                      <a:pt x="130" y="24"/>
                    </a:lnTo>
                    <a:lnTo>
                      <a:pt x="132" y="24"/>
                    </a:lnTo>
                    <a:lnTo>
                      <a:pt x="134" y="24"/>
                    </a:lnTo>
                    <a:lnTo>
                      <a:pt x="136" y="24"/>
                    </a:lnTo>
                    <a:lnTo>
                      <a:pt x="136" y="22"/>
                    </a:lnTo>
                    <a:lnTo>
                      <a:pt x="137" y="22"/>
                    </a:lnTo>
                    <a:lnTo>
                      <a:pt x="139" y="24"/>
                    </a:lnTo>
                    <a:lnTo>
                      <a:pt x="141" y="24"/>
                    </a:lnTo>
                    <a:lnTo>
                      <a:pt x="142" y="24"/>
                    </a:lnTo>
                    <a:lnTo>
                      <a:pt x="144" y="26"/>
                    </a:lnTo>
                    <a:lnTo>
                      <a:pt x="146" y="26"/>
                    </a:lnTo>
                    <a:lnTo>
                      <a:pt x="147" y="26"/>
                    </a:lnTo>
                    <a:lnTo>
                      <a:pt x="149" y="26"/>
                    </a:lnTo>
                    <a:lnTo>
                      <a:pt x="151" y="26"/>
                    </a:lnTo>
                    <a:lnTo>
                      <a:pt x="153" y="26"/>
                    </a:lnTo>
                    <a:lnTo>
                      <a:pt x="153" y="27"/>
                    </a:lnTo>
                    <a:lnTo>
                      <a:pt x="154" y="27"/>
                    </a:lnTo>
                    <a:lnTo>
                      <a:pt x="154" y="29"/>
                    </a:lnTo>
                    <a:lnTo>
                      <a:pt x="156" y="29"/>
                    </a:lnTo>
                    <a:lnTo>
                      <a:pt x="158" y="29"/>
                    </a:lnTo>
                    <a:lnTo>
                      <a:pt x="158" y="31"/>
                    </a:lnTo>
                    <a:lnTo>
                      <a:pt x="159" y="31"/>
                    </a:lnTo>
                    <a:lnTo>
                      <a:pt x="161" y="31"/>
                    </a:lnTo>
                    <a:lnTo>
                      <a:pt x="161" y="33"/>
                    </a:lnTo>
                    <a:lnTo>
                      <a:pt x="163" y="33"/>
                    </a:lnTo>
                    <a:lnTo>
                      <a:pt x="163" y="34"/>
                    </a:lnTo>
                    <a:lnTo>
                      <a:pt x="164" y="34"/>
                    </a:lnTo>
                    <a:lnTo>
                      <a:pt x="166" y="34"/>
                    </a:lnTo>
                    <a:lnTo>
                      <a:pt x="166" y="36"/>
                    </a:lnTo>
                    <a:lnTo>
                      <a:pt x="168" y="38"/>
                    </a:lnTo>
                    <a:lnTo>
                      <a:pt x="168" y="39"/>
                    </a:lnTo>
                    <a:lnTo>
                      <a:pt x="170" y="39"/>
                    </a:lnTo>
                    <a:lnTo>
                      <a:pt x="170" y="41"/>
                    </a:lnTo>
                    <a:lnTo>
                      <a:pt x="170" y="43"/>
                    </a:lnTo>
                    <a:lnTo>
                      <a:pt x="171" y="43"/>
                    </a:lnTo>
                    <a:lnTo>
                      <a:pt x="171" y="44"/>
                    </a:lnTo>
                    <a:lnTo>
                      <a:pt x="170" y="44"/>
                    </a:lnTo>
                    <a:lnTo>
                      <a:pt x="170" y="43"/>
                    </a:lnTo>
                    <a:lnTo>
                      <a:pt x="168" y="43"/>
                    </a:lnTo>
                    <a:lnTo>
                      <a:pt x="168" y="44"/>
                    </a:lnTo>
                    <a:lnTo>
                      <a:pt x="170" y="44"/>
                    </a:lnTo>
                    <a:lnTo>
                      <a:pt x="171" y="44"/>
                    </a:lnTo>
                    <a:lnTo>
                      <a:pt x="173" y="44"/>
                    </a:lnTo>
                    <a:lnTo>
                      <a:pt x="173" y="46"/>
                    </a:lnTo>
                    <a:lnTo>
                      <a:pt x="171" y="46"/>
                    </a:lnTo>
                    <a:lnTo>
                      <a:pt x="170" y="46"/>
                    </a:lnTo>
                    <a:lnTo>
                      <a:pt x="170" y="48"/>
                    </a:lnTo>
                    <a:lnTo>
                      <a:pt x="170" y="50"/>
                    </a:lnTo>
                    <a:lnTo>
                      <a:pt x="170" y="51"/>
                    </a:lnTo>
                    <a:lnTo>
                      <a:pt x="170" y="53"/>
                    </a:lnTo>
                    <a:lnTo>
                      <a:pt x="171" y="53"/>
                    </a:lnTo>
                    <a:lnTo>
                      <a:pt x="171" y="55"/>
                    </a:lnTo>
                    <a:lnTo>
                      <a:pt x="171" y="56"/>
                    </a:lnTo>
                    <a:lnTo>
                      <a:pt x="173" y="56"/>
                    </a:lnTo>
                    <a:lnTo>
                      <a:pt x="173" y="58"/>
                    </a:lnTo>
                    <a:lnTo>
                      <a:pt x="175" y="58"/>
                    </a:lnTo>
                    <a:lnTo>
                      <a:pt x="176" y="58"/>
                    </a:lnTo>
                    <a:lnTo>
                      <a:pt x="178" y="58"/>
                    </a:lnTo>
                    <a:lnTo>
                      <a:pt x="178" y="60"/>
                    </a:lnTo>
                    <a:lnTo>
                      <a:pt x="180" y="60"/>
                    </a:lnTo>
                    <a:lnTo>
                      <a:pt x="180" y="58"/>
                    </a:lnTo>
                    <a:lnTo>
                      <a:pt x="180" y="60"/>
                    </a:lnTo>
                    <a:lnTo>
                      <a:pt x="180" y="58"/>
                    </a:lnTo>
                    <a:lnTo>
                      <a:pt x="181" y="60"/>
                    </a:lnTo>
                    <a:lnTo>
                      <a:pt x="183" y="60"/>
                    </a:lnTo>
                    <a:lnTo>
                      <a:pt x="185" y="60"/>
                    </a:lnTo>
                    <a:lnTo>
                      <a:pt x="187" y="58"/>
                    </a:lnTo>
                    <a:lnTo>
                      <a:pt x="187" y="60"/>
                    </a:lnTo>
                    <a:lnTo>
                      <a:pt x="187" y="58"/>
                    </a:lnTo>
                    <a:lnTo>
                      <a:pt x="188" y="58"/>
                    </a:lnTo>
                    <a:lnTo>
                      <a:pt x="190" y="58"/>
                    </a:lnTo>
                    <a:lnTo>
                      <a:pt x="192" y="58"/>
                    </a:lnTo>
                    <a:lnTo>
                      <a:pt x="193" y="58"/>
                    </a:lnTo>
                    <a:lnTo>
                      <a:pt x="195" y="58"/>
                    </a:lnTo>
                    <a:lnTo>
                      <a:pt x="197" y="58"/>
                    </a:lnTo>
                    <a:lnTo>
                      <a:pt x="197" y="56"/>
                    </a:lnTo>
                    <a:lnTo>
                      <a:pt x="198" y="56"/>
                    </a:lnTo>
                    <a:lnTo>
                      <a:pt x="200" y="56"/>
                    </a:lnTo>
                    <a:lnTo>
                      <a:pt x="202" y="56"/>
                    </a:lnTo>
                    <a:lnTo>
                      <a:pt x="204" y="56"/>
                    </a:lnTo>
                    <a:lnTo>
                      <a:pt x="205" y="56"/>
                    </a:lnTo>
                    <a:lnTo>
                      <a:pt x="207" y="56"/>
                    </a:lnTo>
                    <a:lnTo>
                      <a:pt x="209" y="56"/>
                    </a:lnTo>
                    <a:lnTo>
                      <a:pt x="210" y="55"/>
                    </a:lnTo>
                    <a:lnTo>
                      <a:pt x="212" y="55"/>
                    </a:lnTo>
                    <a:lnTo>
                      <a:pt x="214" y="55"/>
                    </a:lnTo>
                    <a:lnTo>
                      <a:pt x="215" y="55"/>
                    </a:lnTo>
                    <a:lnTo>
                      <a:pt x="217" y="55"/>
                    </a:lnTo>
                    <a:lnTo>
                      <a:pt x="219" y="55"/>
                    </a:lnTo>
                    <a:lnTo>
                      <a:pt x="221" y="55"/>
                    </a:lnTo>
                    <a:lnTo>
                      <a:pt x="222" y="55"/>
                    </a:lnTo>
                    <a:lnTo>
                      <a:pt x="224" y="55"/>
                    </a:lnTo>
                    <a:lnTo>
                      <a:pt x="226" y="55"/>
                    </a:lnTo>
                    <a:lnTo>
                      <a:pt x="227" y="55"/>
                    </a:lnTo>
                    <a:lnTo>
                      <a:pt x="227" y="53"/>
                    </a:lnTo>
                    <a:lnTo>
                      <a:pt x="229" y="55"/>
                    </a:lnTo>
                    <a:lnTo>
                      <a:pt x="229" y="53"/>
                    </a:lnTo>
                    <a:lnTo>
                      <a:pt x="231" y="53"/>
                    </a:lnTo>
                    <a:lnTo>
                      <a:pt x="232" y="53"/>
                    </a:lnTo>
                    <a:lnTo>
                      <a:pt x="232" y="55"/>
                    </a:lnTo>
                    <a:lnTo>
                      <a:pt x="234" y="53"/>
                    </a:lnTo>
                    <a:lnTo>
                      <a:pt x="234" y="55"/>
                    </a:lnTo>
                    <a:lnTo>
                      <a:pt x="236" y="55"/>
                    </a:lnTo>
                    <a:lnTo>
                      <a:pt x="238" y="53"/>
                    </a:lnTo>
                    <a:lnTo>
                      <a:pt x="239" y="53"/>
                    </a:lnTo>
                    <a:lnTo>
                      <a:pt x="241" y="55"/>
                    </a:lnTo>
                    <a:lnTo>
                      <a:pt x="243" y="55"/>
                    </a:lnTo>
                    <a:lnTo>
                      <a:pt x="244" y="55"/>
                    </a:lnTo>
                    <a:lnTo>
                      <a:pt x="244" y="56"/>
                    </a:lnTo>
                    <a:lnTo>
                      <a:pt x="244" y="55"/>
                    </a:lnTo>
                    <a:lnTo>
                      <a:pt x="246" y="56"/>
                    </a:lnTo>
                    <a:lnTo>
                      <a:pt x="244" y="56"/>
                    </a:lnTo>
                    <a:lnTo>
                      <a:pt x="243" y="56"/>
                    </a:lnTo>
                    <a:lnTo>
                      <a:pt x="244" y="56"/>
                    </a:lnTo>
                    <a:lnTo>
                      <a:pt x="243" y="58"/>
                    </a:lnTo>
                    <a:lnTo>
                      <a:pt x="244" y="58"/>
                    </a:lnTo>
                    <a:lnTo>
                      <a:pt x="244" y="60"/>
                    </a:lnTo>
                    <a:lnTo>
                      <a:pt x="246" y="60"/>
                    </a:lnTo>
                    <a:lnTo>
                      <a:pt x="246" y="61"/>
                    </a:lnTo>
                    <a:lnTo>
                      <a:pt x="248" y="61"/>
                    </a:lnTo>
                    <a:lnTo>
                      <a:pt x="248" y="63"/>
                    </a:lnTo>
                    <a:lnTo>
                      <a:pt x="249" y="63"/>
                    </a:lnTo>
                    <a:lnTo>
                      <a:pt x="251" y="65"/>
                    </a:lnTo>
                    <a:lnTo>
                      <a:pt x="253" y="65"/>
                    </a:lnTo>
                    <a:lnTo>
                      <a:pt x="255" y="67"/>
                    </a:lnTo>
                    <a:lnTo>
                      <a:pt x="256" y="67"/>
                    </a:lnTo>
                    <a:lnTo>
                      <a:pt x="258" y="68"/>
                    </a:lnTo>
                    <a:lnTo>
                      <a:pt x="260" y="68"/>
                    </a:lnTo>
                    <a:lnTo>
                      <a:pt x="263" y="70"/>
                    </a:lnTo>
                    <a:lnTo>
                      <a:pt x="265" y="70"/>
                    </a:lnTo>
                    <a:lnTo>
                      <a:pt x="266" y="70"/>
                    </a:lnTo>
                    <a:lnTo>
                      <a:pt x="268" y="72"/>
                    </a:lnTo>
                    <a:lnTo>
                      <a:pt x="270" y="72"/>
                    </a:lnTo>
                    <a:lnTo>
                      <a:pt x="272" y="72"/>
                    </a:lnTo>
                    <a:lnTo>
                      <a:pt x="273" y="72"/>
                    </a:lnTo>
                    <a:lnTo>
                      <a:pt x="275" y="72"/>
                    </a:lnTo>
                    <a:lnTo>
                      <a:pt x="277" y="73"/>
                    </a:lnTo>
                    <a:lnTo>
                      <a:pt x="278" y="73"/>
                    </a:lnTo>
                    <a:lnTo>
                      <a:pt x="280" y="73"/>
                    </a:lnTo>
                    <a:lnTo>
                      <a:pt x="282" y="73"/>
                    </a:lnTo>
                    <a:lnTo>
                      <a:pt x="282" y="72"/>
                    </a:lnTo>
                    <a:lnTo>
                      <a:pt x="283" y="72"/>
                    </a:lnTo>
                    <a:lnTo>
                      <a:pt x="285" y="72"/>
                    </a:lnTo>
                    <a:lnTo>
                      <a:pt x="287" y="72"/>
                    </a:lnTo>
                    <a:lnTo>
                      <a:pt x="289" y="72"/>
                    </a:lnTo>
                    <a:lnTo>
                      <a:pt x="290" y="72"/>
                    </a:lnTo>
                    <a:lnTo>
                      <a:pt x="290" y="70"/>
                    </a:lnTo>
                    <a:lnTo>
                      <a:pt x="292" y="68"/>
                    </a:lnTo>
                    <a:lnTo>
                      <a:pt x="290" y="68"/>
                    </a:lnTo>
                    <a:lnTo>
                      <a:pt x="292" y="68"/>
                    </a:lnTo>
                    <a:lnTo>
                      <a:pt x="294" y="68"/>
                    </a:lnTo>
                    <a:lnTo>
                      <a:pt x="294" y="67"/>
                    </a:lnTo>
                    <a:lnTo>
                      <a:pt x="295" y="67"/>
                    </a:lnTo>
                    <a:lnTo>
                      <a:pt x="297" y="67"/>
                    </a:lnTo>
                    <a:lnTo>
                      <a:pt x="299" y="67"/>
                    </a:lnTo>
                    <a:lnTo>
                      <a:pt x="300" y="67"/>
                    </a:lnTo>
                    <a:lnTo>
                      <a:pt x="300" y="65"/>
                    </a:lnTo>
                    <a:lnTo>
                      <a:pt x="302" y="65"/>
                    </a:lnTo>
                    <a:lnTo>
                      <a:pt x="300" y="65"/>
                    </a:lnTo>
                    <a:lnTo>
                      <a:pt x="299" y="65"/>
                    </a:lnTo>
                    <a:lnTo>
                      <a:pt x="300" y="65"/>
                    </a:lnTo>
                    <a:lnTo>
                      <a:pt x="300" y="63"/>
                    </a:lnTo>
                    <a:lnTo>
                      <a:pt x="302" y="63"/>
                    </a:lnTo>
                    <a:lnTo>
                      <a:pt x="302" y="61"/>
                    </a:lnTo>
                    <a:lnTo>
                      <a:pt x="304" y="61"/>
                    </a:lnTo>
                    <a:lnTo>
                      <a:pt x="304" y="63"/>
                    </a:lnTo>
                    <a:lnTo>
                      <a:pt x="302" y="63"/>
                    </a:lnTo>
                    <a:lnTo>
                      <a:pt x="304" y="63"/>
                    </a:lnTo>
                    <a:lnTo>
                      <a:pt x="304" y="61"/>
                    </a:lnTo>
                    <a:lnTo>
                      <a:pt x="306" y="61"/>
                    </a:lnTo>
                    <a:lnTo>
                      <a:pt x="307" y="61"/>
                    </a:lnTo>
                    <a:lnTo>
                      <a:pt x="309" y="60"/>
                    </a:lnTo>
                    <a:lnTo>
                      <a:pt x="309" y="58"/>
                    </a:lnTo>
                    <a:lnTo>
                      <a:pt x="309" y="60"/>
                    </a:lnTo>
                    <a:lnTo>
                      <a:pt x="311" y="60"/>
                    </a:lnTo>
                    <a:lnTo>
                      <a:pt x="312" y="60"/>
                    </a:lnTo>
                    <a:lnTo>
                      <a:pt x="314" y="60"/>
                    </a:lnTo>
                    <a:lnTo>
                      <a:pt x="316" y="60"/>
                    </a:lnTo>
                    <a:lnTo>
                      <a:pt x="317" y="60"/>
                    </a:lnTo>
                    <a:lnTo>
                      <a:pt x="319" y="60"/>
                    </a:lnTo>
                    <a:lnTo>
                      <a:pt x="321" y="60"/>
                    </a:lnTo>
                    <a:lnTo>
                      <a:pt x="323" y="60"/>
                    </a:lnTo>
                    <a:lnTo>
                      <a:pt x="324" y="60"/>
                    </a:lnTo>
                    <a:lnTo>
                      <a:pt x="326" y="60"/>
                    </a:lnTo>
                    <a:lnTo>
                      <a:pt x="326" y="58"/>
                    </a:lnTo>
                    <a:lnTo>
                      <a:pt x="324" y="58"/>
                    </a:lnTo>
                    <a:lnTo>
                      <a:pt x="323" y="58"/>
                    </a:lnTo>
                    <a:lnTo>
                      <a:pt x="321" y="56"/>
                    </a:lnTo>
                    <a:lnTo>
                      <a:pt x="319" y="56"/>
                    </a:lnTo>
                    <a:lnTo>
                      <a:pt x="317" y="56"/>
                    </a:lnTo>
                    <a:lnTo>
                      <a:pt x="316" y="56"/>
                    </a:lnTo>
                    <a:lnTo>
                      <a:pt x="316" y="55"/>
                    </a:lnTo>
                    <a:lnTo>
                      <a:pt x="316" y="56"/>
                    </a:lnTo>
                    <a:lnTo>
                      <a:pt x="314" y="55"/>
                    </a:lnTo>
                    <a:lnTo>
                      <a:pt x="314" y="56"/>
                    </a:lnTo>
                    <a:lnTo>
                      <a:pt x="314" y="55"/>
                    </a:lnTo>
                    <a:lnTo>
                      <a:pt x="314" y="56"/>
                    </a:lnTo>
                    <a:lnTo>
                      <a:pt x="312" y="55"/>
                    </a:lnTo>
                    <a:lnTo>
                      <a:pt x="314" y="55"/>
                    </a:lnTo>
                    <a:lnTo>
                      <a:pt x="312" y="55"/>
                    </a:lnTo>
                    <a:lnTo>
                      <a:pt x="312" y="56"/>
                    </a:lnTo>
                    <a:lnTo>
                      <a:pt x="311" y="56"/>
                    </a:lnTo>
                    <a:lnTo>
                      <a:pt x="311" y="55"/>
                    </a:lnTo>
                    <a:lnTo>
                      <a:pt x="309" y="56"/>
                    </a:lnTo>
                    <a:lnTo>
                      <a:pt x="307" y="56"/>
                    </a:lnTo>
                    <a:lnTo>
                      <a:pt x="307" y="58"/>
                    </a:lnTo>
                    <a:lnTo>
                      <a:pt x="306" y="56"/>
                    </a:lnTo>
                    <a:lnTo>
                      <a:pt x="306" y="55"/>
                    </a:lnTo>
                    <a:lnTo>
                      <a:pt x="306" y="53"/>
                    </a:lnTo>
                    <a:lnTo>
                      <a:pt x="307" y="53"/>
                    </a:lnTo>
                    <a:lnTo>
                      <a:pt x="309" y="53"/>
                    </a:lnTo>
                    <a:lnTo>
                      <a:pt x="309" y="55"/>
                    </a:lnTo>
                    <a:lnTo>
                      <a:pt x="309" y="53"/>
                    </a:lnTo>
                    <a:lnTo>
                      <a:pt x="309" y="55"/>
                    </a:lnTo>
                    <a:lnTo>
                      <a:pt x="311" y="55"/>
                    </a:lnTo>
                    <a:lnTo>
                      <a:pt x="311" y="53"/>
                    </a:lnTo>
                    <a:lnTo>
                      <a:pt x="312" y="53"/>
                    </a:lnTo>
                    <a:lnTo>
                      <a:pt x="314" y="53"/>
                    </a:lnTo>
                    <a:lnTo>
                      <a:pt x="316" y="53"/>
                    </a:lnTo>
                    <a:lnTo>
                      <a:pt x="317" y="55"/>
                    </a:lnTo>
                    <a:lnTo>
                      <a:pt x="317" y="53"/>
                    </a:lnTo>
                    <a:lnTo>
                      <a:pt x="319" y="53"/>
                    </a:lnTo>
                    <a:lnTo>
                      <a:pt x="321" y="53"/>
                    </a:lnTo>
                    <a:lnTo>
                      <a:pt x="323" y="53"/>
                    </a:lnTo>
                    <a:lnTo>
                      <a:pt x="321" y="51"/>
                    </a:lnTo>
                    <a:lnTo>
                      <a:pt x="321" y="53"/>
                    </a:lnTo>
                    <a:lnTo>
                      <a:pt x="321" y="51"/>
                    </a:lnTo>
                    <a:lnTo>
                      <a:pt x="323" y="51"/>
                    </a:lnTo>
                    <a:lnTo>
                      <a:pt x="323" y="53"/>
                    </a:lnTo>
                    <a:lnTo>
                      <a:pt x="324" y="53"/>
                    </a:lnTo>
                    <a:lnTo>
                      <a:pt x="326" y="53"/>
                    </a:lnTo>
                    <a:lnTo>
                      <a:pt x="328" y="53"/>
                    </a:lnTo>
                    <a:lnTo>
                      <a:pt x="329" y="53"/>
                    </a:lnTo>
                    <a:lnTo>
                      <a:pt x="331" y="55"/>
                    </a:lnTo>
                    <a:lnTo>
                      <a:pt x="331" y="53"/>
                    </a:lnTo>
                    <a:lnTo>
                      <a:pt x="333" y="53"/>
                    </a:lnTo>
                    <a:lnTo>
                      <a:pt x="334" y="53"/>
                    </a:lnTo>
                    <a:lnTo>
                      <a:pt x="334" y="51"/>
                    </a:lnTo>
                    <a:lnTo>
                      <a:pt x="336" y="51"/>
                    </a:lnTo>
                    <a:lnTo>
                      <a:pt x="336" y="53"/>
                    </a:lnTo>
                    <a:lnTo>
                      <a:pt x="338" y="53"/>
                    </a:lnTo>
                    <a:lnTo>
                      <a:pt x="338" y="51"/>
                    </a:lnTo>
                    <a:lnTo>
                      <a:pt x="338" y="53"/>
                    </a:lnTo>
                    <a:lnTo>
                      <a:pt x="340" y="53"/>
                    </a:lnTo>
                    <a:lnTo>
                      <a:pt x="341" y="53"/>
                    </a:lnTo>
                    <a:lnTo>
                      <a:pt x="341" y="51"/>
                    </a:lnTo>
                    <a:lnTo>
                      <a:pt x="343" y="51"/>
                    </a:lnTo>
                    <a:lnTo>
                      <a:pt x="345" y="51"/>
                    </a:lnTo>
                    <a:lnTo>
                      <a:pt x="346" y="51"/>
                    </a:lnTo>
                    <a:lnTo>
                      <a:pt x="348" y="51"/>
                    </a:lnTo>
                    <a:lnTo>
                      <a:pt x="350" y="51"/>
                    </a:lnTo>
                    <a:lnTo>
                      <a:pt x="351" y="51"/>
                    </a:lnTo>
                    <a:lnTo>
                      <a:pt x="353" y="51"/>
                    </a:lnTo>
                    <a:lnTo>
                      <a:pt x="355" y="51"/>
                    </a:lnTo>
                    <a:lnTo>
                      <a:pt x="355" y="50"/>
                    </a:lnTo>
                    <a:lnTo>
                      <a:pt x="357" y="50"/>
                    </a:lnTo>
                    <a:lnTo>
                      <a:pt x="358" y="50"/>
                    </a:lnTo>
                    <a:lnTo>
                      <a:pt x="360" y="50"/>
                    </a:lnTo>
                    <a:lnTo>
                      <a:pt x="362" y="50"/>
                    </a:lnTo>
                    <a:lnTo>
                      <a:pt x="363" y="50"/>
                    </a:lnTo>
                    <a:lnTo>
                      <a:pt x="365" y="50"/>
                    </a:lnTo>
                    <a:lnTo>
                      <a:pt x="367" y="51"/>
                    </a:lnTo>
                    <a:lnTo>
                      <a:pt x="368" y="51"/>
                    </a:lnTo>
                    <a:lnTo>
                      <a:pt x="370" y="51"/>
                    </a:lnTo>
                    <a:lnTo>
                      <a:pt x="372" y="51"/>
                    </a:lnTo>
                    <a:lnTo>
                      <a:pt x="374" y="51"/>
                    </a:lnTo>
                    <a:lnTo>
                      <a:pt x="375" y="51"/>
                    </a:lnTo>
                    <a:lnTo>
                      <a:pt x="377" y="51"/>
                    </a:lnTo>
                    <a:lnTo>
                      <a:pt x="379" y="51"/>
                    </a:lnTo>
                    <a:lnTo>
                      <a:pt x="380" y="51"/>
                    </a:lnTo>
                    <a:lnTo>
                      <a:pt x="382" y="51"/>
                    </a:lnTo>
                    <a:lnTo>
                      <a:pt x="384" y="51"/>
                    </a:lnTo>
                    <a:lnTo>
                      <a:pt x="385" y="51"/>
                    </a:lnTo>
                    <a:lnTo>
                      <a:pt x="385" y="50"/>
                    </a:lnTo>
                    <a:lnTo>
                      <a:pt x="387" y="50"/>
                    </a:lnTo>
                    <a:lnTo>
                      <a:pt x="387" y="51"/>
                    </a:lnTo>
                    <a:lnTo>
                      <a:pt x="385" y="51"/>
                    </a:lnTo>
                    <a:lnTo>
                      <a:pt x="385" y="53"/>
                    </a:lnTo>
                    <a:lnTo>
                      <a:pt x="385" y="51"/>
                    </a:lnTo>
                    <a:lnTo>
                      <a:pt x="385" y="53"/>
                    </a:lnTo>
                    <a:lnTo>
                      <a:pt x="384" y="53"/>
                    </a:lnTo>
                    <a:lnTo>
                      <a:pt x="382" y="53"/>
                    </a:lnTo>
                    <a:lnTo>
                      <a:pt x="380" y="53"/>
                    </a:lnTo>
                    <a:lnTo>
                      <a:pt x="379" y="53"/>
                    </a:lnTo>
                    <a:lnTo>
                      <a:pt x="377" y="53"/>
                    </a:lnTo>
                    <a:lnTo>
                      <a:pt x="375" y="53"/>
                    </a:lnTo>
                    <a:lnTo>
                      <a:pt x="374" y="53"/>
                    </a:lnTo>
                    <a:lnTo>
                      <a:pt x="374" y="55"/>
                    </a:lnTo>
                    <a:lnTo>
                      <a:pt x="372" y="55"/>
                    </a:lnTo>
                    <a:lnTo>
                      <a:pt x="372" y="56"/>
                    </a:lnTo>
                    <a:lnTo>
                      <a:pt x="370" y="56"/>
                    </a:lnTo>
                    <a:lnTo>
                      <a:pt x="368" y="56"/>
                    </a:lnTo>
                    <a:lnTo>
                      <a:pt x="367" y="56"/>
                    </a:lnTo>
                    <a:lnTo>
                      <a:pt x="365" y="56"/>
                    </a:lnTo>
                    <a:lnTo>
                      <a:pt x="363" y="56"/>
                    </a:lnTo>
                    <a:lnTo>
                      <a:pt x="362" y="56"/>
                    </a:lnTo>
                    <a:lnTo>
                      <a:pt x="360" y="56"/>
                    </a:lnTo>
                    <a:lnTo>
                      <a:pt x="358" y="56"/>
                    </a:lnTo>
                    <a:lnTo>
                      <a:pt x="357" y="56"/>
                    </a:lnTo>
                    <a:lnTo>
                      <a:pt x="355" y="56"/>
                    </a:lnTo>
                    <a:lnTo>
                      <a:pt x="353" y="58"/>
                    </a:lnTo>
                    <a:lnTo>
                      <a:pt x="355" y="58"/>
                    </a:lnTo>
                    <a:lnTo>
                      <a:pt x="357" y="58"/>
                    </a:lnTo>
                    <a:lnTo>
                      <a:pt x="357" y="60"/>
                    </a:lnTo>
                    <a:lnTo>
                      <a:pt x="358" y="60"/>
                    </a:lnTo>
                    <a:lnTo>
                      <a:pt x="358" y="61"/>
                    </a:lnTo>
                    <a:lnTo>
                      <a:pt x="360" y="63"/>
                    </a:lnTo>
                    <a:lnTo>
                      <a:pt x="360" y="65"/>
                    </a:lnTo>
                    <a:lnTo>
                      <a:pt x="360" y="67"/>
                    </a:lnTo>
                    <a:lnTo>
                      <a:pt x="360" y="68"/>
                    </a:lnTo>
                    <a:lnTo>
                      <a:pt x="360" y="70"/>
                    </a:lnTo>
                    <a:lnTo>
                      <a:pt x="362" y="70"/>
                    </a:lnTo>
                    <a:lnTo>
                      <a:pt x="362" y="68"/>
                    </a:lnTo>
                    <a:lnTo>
                      <a:pt x="362" y="67"/>
                    </a:lnTo>
                    <a:lnTo>
                      <a:pt x="363" y="68"/>
                    </a:lnTo>
                    <a:lnTo>
                      <a:pt x="365" y="68"/>
                    </a:lnTo>
                    <a:lnTo>
                      <a:pt x="365" y="70"/>
                    </a:lnTo>
                    <a:lnTo>
                      <a:pt x="367" y="70"/>
                    </a:lnTo>
                    <a:lnTo>
                      <a:pt x="367" y="72"/>
                    </a:lnTo>
                    <a:lnTo>
                      <a:pt x="367" y="73"/>
                    </a:lnTo>
                    <a:lnTo>
                      <a:pt x="367" y="75"/>
                    </a:lnTo>
                    <a:lnTo>
                      <a:pt x="368" y="75"/>
                    </a:lnTo>
                    <a:lnTo>
                      <a:pt x="368" y="77"/>
                    </a:lnTo>
                    <a:lnTo>
                      <a:pt x="367" y="77"/>
                    </a:lnTo>
                    <a:lnTo>
                      <a:pt x="368" y="78"/>
                    </a:lnTo>
                    <a:lnTo>
                      <a:pt x="370" y="78"/>
                    </a:lnTo>
                    <a:lnTo>
                      <a:pt x="370" y="80"/>
                    </a:lnTo>
                    <a:lnTo>
                      <a:pt x="370" y="78"/>
                    </a:lnTo>
                    <a:lnTo>
                      <a:pt x="372" y="78"/>
                    </a:lnTo>
                    <a:lnTo>
                      <a:pt x="370" y="77"/>
                    </a:lnTo>
                    <a:lnTo>
                      <a:pt x="372" y="77"/>
                    </a:lnTo>
                    <a:lnTo>
                      <a:pt x="374" y="77"/>
                    </a:lnTo>
                    <a:lnTo>
                      <a:pt x="375" y="75"/>
                    </a:lnTo>
                    <a:lnTo>
                      <a:pt x="377" y="75"/>
                    </a:lnTo>
                    <a:lnTo>
                      <a:pt x="379" y="75"/>
                    </a:lnTo>
                    <a:lnTo>
                      <a:pt x="380" y="77"/>
                    </a:lnTo>
                    <a:lnTo>
                      <a:pt x="382" y="77"/>
                    </a:lnTo>
                    <a:lnTo>
                      <a:pt x="382" y="78"/>
                    </a:lnTo>
                    <a:lnTo>
                      <a:pt x="384" y="78"/>
                    </a:lnTo>
                    <a:lnTo>
                      <a:pt x="385" y="80"/>
                    </a:lnTo>
                    <a:lnTo>
                      <a:pt x="385" y="82"/>
                    </a:lnTo>
                    <a:lnTo>
                      <a:pt x="387" y="82"/>
                    </a:lnTo>
                    <a:lnTo>
                      <a:pt x="389" y="82"/>
                    </a:lnTo>
                    <a:lnTo>
                      <a:pt x="391" y="82"/>
                    </a:lnTo>
                    <a:lnTo>
                      <a:pt x="392" y="82"/>
                    </a:lnTo>
                    <a:lnTo>
                      <a:pt x="394" y="82"/>
                    </a:lnTo>
                    <a:lnTo>
                      <a:pt x="396" y="82"/>
                    </a:lnTo>
                    <a:lnTo>
                      <a:pt x="394" y="82"/>
                    </a:lnTo>
                    <a:lnTo>
                      <a:pt x="396" y="82"/>
                    </a:lnTo>
                    <a:lnTo>
                      <a:pt x="396" y="80"/>
                    </a:lnTo>
                    <a:lnTo>
                      <a:pt x="394" y="80"/>
                    </a:lnTo>
                    <a:lnTo>
                      <a:pt x="396" y="80"/>
                    </a:lnTo>
                    <a:lnTo>
                      <a:pt x="394" y="80"/>
                    </a:lnTo>
                    <a:lnTo>
                      <a:pt x="394" y="78"/>
                    </a:lnTo>
                    <a:lnTo>
                      <a:pt x="396" y="80"/>
                    </a:lnTo>
                    <a:lnTo>
                      <a:pt x="397" y="80"/>
                    </a:lnTo>
                    <a:lnTo>
                      <a:pt x="399" y="82"/>
                    </a:lnTo>
                    <a:lnTo>
                      <a:pt x="401" y="82"/>
                    </a:lnTo>
                    <a:lnTo>
                      <a:pt x="401" y="84"/>
                    </a:lnTo>
                    <a:lnTo>
                      <a:pt x="401" y="82"/>
                    </a:lnTo>
                    <a:lnTo>
                      <a:pt x="399" y="82"/>
                    </a:lnTo>
                    <a:lnTo>
                      <a:pt x="399" y="80"/>
                    </a:lnTo>
                    <a:lnTo>
                      <a:pt x="399" y="82"/>
                    </a:lnTo>
                    <a:lnTo>
                      <a:pt x="401" y="82"/>
                    </a:lnTo>
                    <a:lnTo>
                      <a:pt x="402" y="82"/>
                    </a:lnTo>
                    <a:lnTo>
                      <a:pt x="402" y="84"/>
                    </a:lnTo>
                    <a:lnTo>
                      <a:pt x="404" y="84"/>
                    </a:lnTo>
                    <a:lnTo>
                      <a:pt x="404" y="85"/>
                    </a:lnTo>
                    <a:lnTo>
                      <a:pt x="406" y="85"/>
                    </a:lnTo>
                    <a:lnTo>
                      <a:pt x="406" y="87"/>
                    </a:lnTo>
                    <a:lnTo>
                      <a:pt x="408" y="87"/>
                    </a:lnTo>
                    <a:lnTo>
                      <a:pt x="408" y="89"/>
                    </a:lnTo>
                    <a:lnTo>
                      <a:pt x="409" y="89"/>
                    </a:lnTo>
                    <a:lnTo>
                      <a:pt x="411" y="90"/>
                    </a:lnTo>
                    <a:lnTo>
                      <a:pt x="413" y="90"/>
                    </a:lnTo>
                    <a:lnTo>
                      <a:pt x="414" y="90"/>
                    </a:lnTo>
                    <a:lnTo>
                      <a:pt x="416" y="90"/>
                    </a:lnTo>
                    <a:lnTo>
                      <a:pt x="416" y="92"/>
                    </a:lnTo>
                    <a:lnTo>
                      <a:pt x="418" y="92"/>
                    </a:lnTo>
                    <a:lnTo>
                      <a:pt x="419" y="94"/>
                    </a:lnTo>
                    <a:lnTo>
                      <a:pt x="421" y="94"/>
                    </a:lnTo>
                    <a:lnTo>
                      <a:pt x="421" y="96"/>
                    </a:lnTo>
                    <a:lnTo>
                      <a:pt x="423" y="96"/>
                    </a:lnTo>
                    <a:lnTo>
                      <a:pt x="423" y="97"/>
                    </a:lnTo>
                    <a:lnTo>
                      <a:pt x="423" y="99"/>
                    </a:lnTo>
                    <a:lnTo>
                      <a:pt x="423" y="101"/>
                    </a:lnTo>
                    <a:lnTo>
                      <a:pt x="421" y="101"/>
                    </a:lnTo>
                    <a:lnTo>
                      <a:pt x="419" y="101"/>
                    </a:lnTo>
                    <a:lnTo>
                      <a:pt x="419" y="102"/>
                    </a:lnTo>
                    <a:lnTo>
                      <a:pt x="418" y="102"/>
                    </a:lnTo>
                    <a:lnTo>
                      <a:pt x="418" y="104"/>
                    </a:lnTo>
                    <a:lnTo>
                      <a:pt x="419" y="104"/>
                    </a:lnTo>
                    <a:lnTo>
                      <a:pt x="419" y="102"/>
                    </a:lnTo>
                    <a:lnTo>
                      <a:pt x="421" y="102"/>
                    </a:lnTo>
                    <a:lnTo>
                      <a:pt x="423" y="102"/>
                    </a:lnTo>
                    <a:lnTo>
                      <a:pt x="425" y="102"/>
                    </a:lnTo>
                    <a:lnTo>
                      <a:pt x="425" y="104"/>
                    </a:lnTo>
                    <a:lnTo>
                      <a:pt x="423" y="104"/>
                    </a:lnTo>
                    <a:lnTo>
                      <a:pt x="425" y="104"/>
                    </a:lnTo>
                    <a:lnTo>
                      <a:pt x="425" y="106"/>
                    </a:lnTo>
                    <a:lnTo>
                      <a:pt x="423" y="106"/>
                    </a:lnTo>
                    <a:lnTo>
                      <a:pt x="423" y="107"/>
                    </a:lnTo>
                    <a:lnTo>
                      <a:pt x="425" y="107"/>
                    </a:lnTo>
                    <a:lnTo>
                      <a:pt x="423" y="107"/>
                    </a:lnTo>
                    <a:lnTo>
                      <a:pt x="423" y="109"/>
                    </a:lnTo>
                    <a:lnTo>
                      <a:pt x="423" y="111"/>
                    </a:lnTo>
                    <a:lnTo>
                      <a:pt x="421" y="111"/>
                    </a:lnTo>
                    <a:lnTo>
                      <a:pt x="421" y="109"/>
                    </a:lnTo>
                    <a:lnTo>
                      <a:pt x="421" y="111"/>
                    </a:lnTo>
                    <a:lnTo>
                      <a:pt x="423" y="111"/>
                    </a:lnTo>
                    <a:lnTo>
                      <a:pt x="425" y="111"/>
                    </a:lnTo>
                    <a:lnTo>
                      <a:pt x="423" y="111"/>
                    </a:lnTo>
                    <a:lnTo>
                      <a:pt x="423" y="113"/>
                    </a:lnTo>
                    <a:lnTo>
                      <a:pt x="421" y="113"/>
                    </a:lnTo>
                    <a:lnTo>
                      <a:pt x="421" y="114"/>
                    </a:lnTo>
                    <a:lnTo>
                      <a:pt x="423" y="114"/>
                    </a:lnTo>
                    <a:lnTo>
                      <a:pt x="425" y="114"/>
                    </a:lnTo>
                    <a:lnTo>
                      <a:pt x="423" y="114"/>
                    </a:lnTo>
                    <a:lnTo>
                      <a:pt x="423" y="116"/>
                    </a:lnTo>
                    <a:lnTo>
                      <a:pt x="425" y="116"/>
                    </a:lnTo>
                    <a:lnTo>
                      <a:pt x="426" y="116"/>
                    </a:lnTo>
                    <a:lnTo>
                      <a:pt x="426" y="118"/>
                    </a:lnTo>
                    <a:lnTo>
                      <a:pt x="425" y="118"/>
                    </a:lnTo>
                    <a:lnTo>
                      <a:pt x="425" y="119"/>
                    </a:lnTo>
                    <a:lnTo>
                      <a:pt x="423" y="119"/>
                    </a:lnTo>
                    <a:lnTo>
                      <a:pt x="423" y="121"/>
                    </a:lnTo>
                    <a:lnTo>
                      <a:pt x="421" y="121"/>
                    </a:lnTo>
                    <a:lnTo>
                      <a:pt x="419" y="121"/>
                    </a:lnTo>
                    <a:lnTo>
                      <a:pt x="419" y="123"/>
                    </a:lnTo>
                    <a:lnTo>
                      <a:pt x="418" y="123"/>
                    </a:lnTo>
                    <a:lnTo>
                      <a:pt x="416" y="123"/>
                    </a:lnTo>
                    <a:lnTo>
                      <a:pt x="416" y="124"/>
                    </a:lnTo>
                    <a:lnTo>
                      <a:pt x="414" y="126"/>
                    </a:lnTo>
                    <a:lnTo>
                      <a:pt x="416" y="126"/>
                    </a:lnTo>
                    <a:lnTo>
                      <a:pt x="416" y="124"/>
                    </a:lnTo>
                    <a:lnTo>
                      <a:pt x="418" y="124"/>
                    </a:lnTo>
                    <a:lnTo>
                      <a:pt x="419" y="123"/>
                    </a:lnTo>
                    <a:lnTo>
                      <a:pt x="421" y="124"/>
                    </a:lnTo>
                    <a:lnTo>
                      <a:pt x="423" y="124"/>
                    </a:lnTo>
                    <a:lnTo>
                      <a:pt x="425" y="123"/>
                    </a:lnTo>
                    <a:lnTo>
                      <a:pt x="426" y="123"/>
                    </a:lnTo>
                    <a:lnTo>
                      <a:pt x="426" y="124"/>
                    </a:lnTo>
                    <a:lnTo>
                      <a:pt x="428" y="124"/>
                    </a:lnTo>
                    <a:lnTo>
                      <a:pt x="430" y="124"/>
                    </a:lnTo>
                    <a:lnTo>
                      <a:pt x="430" y="126"/>
                    </a:lnTo>
                    <a:lnTo>
                      <a:pt x="431" y="126"/>
                    </a:lnTo>
                    <a:lnTo>
                      <a:pt x="433" y="126"/>
                    </a:lnTo>
                    <a:lnTo>
                      <a:pt x="435" y="126"/>
                    </a:lnTo>
                    <a:lnTo>
                      <a:pt x="435" y="124"/>
                    </a:lnTo>
                    <a:lnTo>
                      <a:pt x="436" y="124"/>
                    </a:lnTo>
                    <a:lnTo>
                      <a:pt x="435" y="123"/>
                    </a:lnTo>
                    <a:lnTo>
                      <a:pt x="436" y="123"/>
                    </a:lnTo>
                    <a:lnTo>
                      <a:pt x="438" y="123"/>
                    </a:lnTo>
                    <a:lnTo>
                      <a:pt x="440" y="123"/>
                    </a:lnTo>
                    <a:lnTo>
                      <a:pt x="442" y="123"/>
                    </a:lnTo>
                    <a:lnTo>
                      <a:pt x="443" y="123"/>
                    </a:lnTo>
                    <a:lnTo>
                      <a:pt x="445" y="123"/>
                    </a:lnTo>
                    <a:lnTo>
                      <a:pt x="447" y="123"/>
                    </a:lnTo>
                    <a:lnTo>
                      <a:pt x="447" y="124"/>
                    </a:lnTo>
                    <a:lnTo>
                      <a:pt x="448" y="124"/>
                    </a:lnTo>
                    <a:lnTo>
                      <a:pt x="450" y="124"/>
                    </a:lnTo>
                    <a:lnTo>
                      <a:pt x="450" y="126"/>
                    </a:lnTo>
                    <a:close/>
                    <a:moveTo>
                      <a:pt x="321" y="38"/>
                    </a:moveTo>
                    <a:lnTo>
                      <a:pt x="321" y="39"/>
                    </a:lnTo>
                    <a:lnTo>
                      <a:pt x="321" y="41"/>
                    </a:lnTo>
                    <a:lnTo>
                      <a:pt x="323" y="41"/>
                    </a:lnTo>
                    <a:lnTo>
                      <a:pt x="321" y="41"/>
                    </a:lnTo>
                    <a:lnTo>
                      <a:pt x="321" y="43"/>
                    </a:lnTo>
                    <a:lnTo>
                      <a:pt x="319" y="43"/>
                    </a:lnTo>
                    <a:lnTo>
                      <a:pt x="319" y="44"/>
                    </a:lnTo>
                    <a:lnTo>
                      <a:pt x="317" y="44"/>
                    </a:lnTo>
                    <a:lnTo>
                      <a:pt x="316" y="43"/>
                    </a:lnTo>
                    <a:lnTo>
                      <a:pt x="317" y="44"/>
                    </a:lnTo>
                    <a:lnTo>
                      <a:pt x="316" y="44"/>
                    </a:lnTo>
                    <a:lnTo>
                      <a:pt x="317" y="44"/>
                    </a:lnTo>
                    <a:lnTo>
                      <a:pt x="316" y="44"/>
                    </a:lnTo>
                    <a:lnTo>
                      <a:pt x="314" y="44"/>
                    </a:lnTo>
                    <a:lnTo>
                      <a:pt x="314" y="46"/>
                    </a:lnTo>
                    <a:lnTo>
                      <a:pt x="312" y="46"/>
                    </a:lnTo>
                    <a:lnTo>
                      <a:pt x="312" y="44"/>
                    </a:lnTo>
                    <a:lnTo>
                      <a:pt x="311" y="44"/>
                    </a:lnTo>
                    <a:lnTo>
                      <a:pt x="311" y="43"/>
                    </a:lnTo>
                    <a:lnTo>
                      <a:pt x="311" y="44"/>
                    </a:lnTo>
                    <a:lnTo>
                      <a:pt x="311" y="43"/>
                    </a:lnTo>
                    <a:lnTo>
                      <a:pt x="309" y="43"/>
                    </a:lnTo>
                    <a:lnTo>
                      <a:pt x="309" y="41"/>
                    </a:lnTo>
                    <a:lnTo>
                      <a:pt x="311" y="41"/>
                    </a:lnTo>
                    <a:lnTo>
                      <a:pt x="311" y="43"/>
                    </a:lnTo>
                    <a:lnTo>
                      <a:pt x="311" y="41"/>
                    </a:lnTo>
                    <a:lnTo>
                      <a:pt x="311" y="43"/>
                    </a:lnTo>
                    <a:lnTo>
                      <a:pt x="312" y="41"/>
                    </a:lnTo>
                    <a:lnTo>
                      <a:pt x="314" y="43"/>
                    </a:lnTo>
                    <a:lnTo>
                      <a:pt x="314" y="41"/>
                    </a:lnTo>
                    <a:lnTo>
                      <a:pt x="312" y="41"/>
                    </a:lnTo>
                    <a:lnTo>
                      <a:pt x="311" y="41"/>
                    </a:lnTo>
                    <a:lnTo>
                      <a:pt x="309" y="41"/>
                    </a:lnTo>
                    <a:lnTo>
                      <a:pt x="309" y="43"/>
                    </a:lnTo>
                    <a:lnTo>
                      <a:pt x="307" y="43"/>
                    </a:lnTo>
                    <a:lnTo>
                      <a:pt x="306" y="43"/>
                    </a:lnTo>
                    <a:lnTo>
                      <a:pt x="304" y="43"/>
                    </a:lnTo>
                    <a:lnTo>
                      <a:pt x="302" y="43"/>
                    </a:lnTo>
                    <a:lnTo>
                      <a:pt x="300" y="43"/>
                    </a:lnTo>
                    <a:lnTo>
                      <a:pt x="300" y="41"/>
                    </a:lnTo>
                    <a:lnTo>
                      <a:pt x="302" y="41"/>
                    </a:lnTo>
                    <a:lnTo>
                      <a:pt x="302" y="39"/>
                    </a:lnTo>
                    <a:lnTo>
                      <a:pt x="304" y="39"/>
                    </a:lnTo>
                    <a:lnTo>
                      <a:pt x="306" y="39"/>
                    </a:lnTo>
                    <a:lnTo>
                      <a:pt x="307" y="38"/>
                    </a:lnTo>
                    <a:lnTo>
                      <a:pt x="309" y="38"/>
                    </a:lnTo>
                    <a:lnTo>
                      <a:pt x="309" y="39"/>
                    </a:lnTo>
                    <a:lnTo>
                      <a:pt x="307" y="39"/>
                    </a:lnTo>
                    <a:lnTo>
                      <a:pt x="309" y="39"/>
                    </a:lnTo>
                    <a:lnTo>
                      <a:pt x="309" y="41"/>
                    </a:lnTo>
                    <a:lnTo>
                      <a:pt x="311" y="41"/>
                    </a:lnTo>
                    <a:lnTo>
                      <a:pt x="312" y="41"/>
                    </a:lnTo>
                    <a:lnTo>
                      <a:pt x="314" y="41"/>
                    </a:lnTo>
                    <a:lnTo>
                      <a:pt x="314" y="39"/>
                    </a:lnTo>
                    <a:lnTo>
                      <a:pt x="316" y="39"/>
                    </a:lnTo>
                    <a:lnTo>
                      <a:pt x="316" y="38"/>
                    </a:lnTo>
                    <a:lnTo>
                      <a:pt x="317" y="38"/>
                    </a:lnTo>
                    <a:lnTo>
                      <a:pt x="317" y="36"/>
                    </a:lnTo>
                    <a:lnTo>
                      <a:pt x="319" y="36"/>
                    </a:lnTo>
                    <a:lnTo>
                      <a:pt x="319" y="34"/>
                    </a:lnTo>
                    <a:lnTo>
                      <a:pt x="319" y="36"/>
                    </a:lnTo>
                    <a:lnTo>
                      <a:pt x="321" y="36"/>
                    </a:lnTo>
                    <a:lnTo>
                      <a:pt x="321" y="38"/>
                    </a:lnTo>
                    <a:close/>
                    <a:moveTo>
                      <a:pt x="272" y="43"/>
                    </a:moveTo>
                    <a:lnTo>
                      <a:pt x="273" y="43"/>
                    </a:lnTo>
                    <a:lnTo>
                      <a:pt x="275" y="43"/>
                    </a:lnTo>
                    <a:lnTo>
                      <a:pt x="275" y="44"/>
                    </a:lnTo>
                    <a:lnTo>
                      <a:pt x="273" y="44"/>
                    </a:lnTo>
                    <a:lnTo>
                      <a:pt x="272" y="44"/>
                    </a:lnTo>
                    <a:lnTo>
                      <a:pt x="270" y="44"/>
                    </a:lnTo>
                    <a:lnTo>
                      <a:pt x="268" y="44"/>
                    </a:lnTo>
                    <a:lnTo>
                      <a:pt x="266" y="44"/>
                    </a:lnTo>
                    <a:lnTo>
                      <a:pt x="266" y="43"/>
                    </a:lnTo>
                    <a:lnTo>
                      <a:pt x="268" y="43"/>
                    </a:lnTo>
                    <a:lnTo>
                      <a:pt x="268" y="41"/>
                    </a:lnTo>
                    <a:lnTo>
                      <a:pt x="270" y="41"/>
                    </a:lnTo>
                    <a:lnTo>
                      <a:pt x="272" y="41"/>
                    </a:lnTo>
                    <a:lnTo>
                      <a:pt x="272" y="43"/>
                    </a:lnTo>
                    <a:close/>
                    <a:moveTo>
                      <a:pt x="294" y="10"/>
                    </a:moveTo>
                    <a:lnTo>
                      <a:pt x="295" y="10"/>
                    </a:lnTo>
                    <a:lnTo>
                      <a:pt x="295" y="14"/>
                    </a:lnTo>
                    <a:lnTo>
                      <a:pt x="294" y="14"/>
                    </a:lnTo>
                    <a:lnTo>
                      <a:pt x="294" y="10"/>
                    </a:lnTo>
                    <a:close/>
                    <a:moveTo>
                      <a:pt x="316" y="48"/>
                    </a:moveTo>
                    <a:lnTo>
                      <a:pt x="317" y="48"/>
                    </a:lnTo>
                    <a:lnTo>
                      <a:pt x="319" y="50"/>
                    </a:lnTo>
                    <a:lnTo>
                      <a:pt x="317" y="50"/>
                    </a:lnTo>
                    <a:lnTo>
                      <a:pt x="316" y="50"/>
                    </a:lnTo>
                    <a:lnTo>
                      <a:pt x="317" y="50"/>
                    </a:lnTo>
                    <a:lnTo>
                      <a:pt x="316" y="50"/>
                    </a:lnTo>
                    <a:lnTo>
                      <a:pt x="314" y="48"/>
                    </a:lnTo>
                    <a:lnTo>
                      <a:pt x="316" y="48"/>
                    </a:lnTo>
                    <a:close/>
                    <a:moveTo>
                      <a:pt x="244" y="14"/>
                    </a:moveTo>
                    <a:lnTo>
                      <a:pt x="243" y="14"/>
                    </a:lnTo>
                    <a:lnTo>
                      <a:pt x="241" y="14"/>
                    </a:lnTo>
                    <a:lnTo>
                      <a:pt x="241" y="12"/>
                    </a:lnTo>
                    <a:lnTo>
                      <a:pt x="243" y="12"/>
                    </a:lnTo>
                    <a:lnTo>
                      <a:pt x="244" y="14"/>
                    </a:lnTo>
                    <a:close/>
                    <a:moveTo>
                      <a:pt x="307" y="46"/>
                    </a:moveTo>
                    <a:lnTo>
                      <a:pt x="311" y="46"/>
                    </a:lnTo>
                    <a:lnTo>
                      <a:pt x="311" y="48"/>
                    </a:lnTo>
                    <a:lnTo>
                      <a:pt x="307" y="48"/>
                    </a:lnTo>
                    <a:lnTo>
                      <a:pt x="307" y="46"/>
                    </a:lnTo>
                    <a:close/>
                    <a:moveTo>
                      <a:pt x="227" y="14"/>
                    </a:moveTo>
                    <a:lnTo>
                      <a:pt x="227" y="16"/>
                    </a:lnTo>
                    <a:lnTo>
                      <a:pt x="226" y="16"/>
                    </a:lnTo>
                    <a:lnTo>
                      <a:pt x="224" y="16"/>
                    </a:lnTo>
                    <a:lnTo>
                      <a:pt x="224" y="14"/>
                    </a:lnTo>
                    <a:lnTo>
                      <a:pt x="224" y="16"/>
                    </a:lnTo>
                    <a:lnTo>
                      <a:pt x="226" y="16"/>
                    </a:lnTo>
                    <a:lnTo>
                      <a:pt x="226" y="14"/>
                    </a:lnTo>
                    <a:lnTo>
                      <a:pt x="227" y="14"/>
                    </a:lnTo>
                    <a:lnTo>
                      <a:pt x="226" y="12"/>
                    </a:lnTo>
                    <a:lnTo>
                      <a:pt x="227" y="14"/>
                    </a:lnTo>
                    <a:close/>
                    <a:moveTo>
                      <a:pt x="59" y="41"/>
                    </a:moveTo>
                    <a:lnTo>
                      <a:pt x="61" y="41"/>
                    </a:lnTo>
                    <a:lnTo>
                      <a:pt x="61" y="43"/>
                    </a:lnTo>
                    <a:lnTo>
                      <a:pt x="59" y="43"/>
                    </a:lnTo>
                    <a:lnTo>
                      <a:pt x="59" y="41"/>
                    </a:lnTo>
                    <a:close/>
                    <a:moveTo>
                      <a:pt x="292" y="65"/>
                    </a:moveTo>
                    <a:lnTo>
                      <a:pt x="294" y="65"/>
                    </a:lnTo>
                    <a:lnTo>
                      <a:pt x="294" y="67"/>
                    </a:lnTo>
                    <a:lnTo>
                      <a:pt x="292" y="67"/>
                    </a:lnTo>
                    <a:lnTo>
                      <a:pt x="292" y="65"/>
                    </a:lnTo>
                    <a:close/>
                    <a:moveTo>
                      <a:pt x="289" y="65"/>
                    </a:moveTo>
                    <a:lnTo>
                      <a:pt x="290" y="65"/>
                    </a:lnTo>
                    <a:lnTo>
                      <a:pt x="290" y="67"/>
                    </a:lnTo>
                    <a:lnTo>
                      <a:pt x="289" y="67"/>
                    </a:lnTo>
                    <a:lnTo>
                      <a:pt x="289" y="65"/>
                    </a:lnTo>
                    <a:close/>
                    <a:moveTo>
                      <a:pt x="57" y="41"/>
                    </a:moveTo>
                    <a:lnTo>
                      <a:pt x="57" y="43"/>
                    </a:lnTo>
                    <a:lnTo>
                      <a:pt x="57" y="41"/>
                    </a:lnTo>
                    <a:close/>
                    <a:moveTo>
                      <a:pt x="56" y="43"/>
                    </a:moveTo>
                    <a:lnTo>
                      <a:pt x="57" y="43"/>
                    </a:lnTo>
                    <a:lnTo>
                      <a:pt x="56" y="43"/>
                    </a:lnTo>
                    <a:close/>
                    <a:moveTo>
                      <a:pt x="300" y="61"/>
                    </a:moveTo>
                    <a:lnTo>
                      <a:pt x="300" y="63"/>
                    </a:lnTo>
                    <a:lnTo>
                      <a:pt x="300" y="61"/>
                    </a:lnTo>
                    <a:close/>
                    <a:moveTo>
                      <a:pt x="345" y="27"/>
                    </a:moveTo>
                    <a:lnTo>
                      <a:pt x="345" y="29"/>
                    </a:lnTo>
                    <a:lnTo>
                      <a:pt x="345" y="27"/>
                    </a:lnTo>
                    <a:close/>
                    <a:moveTo>
                      <a:pt x="221" y="10"/>
                    </a:moveTo>
                    <a:lnTo>
                      <a:pt x="221" y="12"/>
                    </a:lnTo>
                    <a:lnTo>
                      <a:pt x="222" y="12"/>
                    </a:lnTo>
                    <a:lnTo>
                      <a:pt x="224" y="10"/>
                    </a:lnTo>
                    <a:lnTo>
                      <a:pt x="224" y="12"/>
                    </a:lnTo>
                    <a:lnTo>
                      <a:pt x="222" y="12"/>
                    </a:lnTo>
                    <a:lnTo>
                      <a:pt x="221" y="12"/>
                    </a:lnTo>
                    <a:lnTo>
                      <a:pt x="221" y="10"/>
                    </a:lnTo>
                    <a:lnTo>
                      <a:pt x="219" y="10"/>
                    </a:lnTo>
                    <a:lnTo>
                      <a:pt x="221" y="10"/>
                    </a:lnTo>
                    <a:close/>
                    <a:moveTo>
                      <a:pt x="299" y="63"/>
                    </a:moveTo>
                    <a:lnTo>
                      <a:pt x="300" y="63"/>
                    </a:lnTo>
                    <a:lnTo>
                      <a:pt x="299" y="63"/>
                    </a:lnTo>
                    <a:close/>
                    <a:moveTo>
                      <a:pt x="170" y="46"/>
                    </a:moveTo>
                    <a:lnTo>
                      <a:pt x="170" y="48"/>
                    </a:lnTo>
                    <a:lnTo>
                      <a:pt x="170" y="46"/>
                    </a:lnTo>
                    <a:close/>
                    <a:moveTo>
                      <a:pt x="243" y="10"/>
                    </a:moveTo>
                    <a:lnTo>
                      <a:pt x="244" y="10"/>
                    </a:lnTo>
                    <a:lnTo>
                      <a:pt x="244" y="12"/>
                    </a:lnTo>
                    <a:lnTo>
                      <a:pt x="243" y="12"/>
                    </a:lnTo>
                    <a:lnTo>
                      <a:pt x="243" y="10"/>
                    </a:lnTo>
                    <a:close/>
                    <a:moveTo>
                      <a:pt x="282" y="70"/>
                    </a:moveTo>
                    <a:lnTo>
                      <a:pt x="283" y="70"/>
                    </a:lnTo>
                    <a:lnTo>
                      <a:pt x="282" y="70"/>
                    </a:lnTo>
                    <a:close/>
                    <a:moveTo>
                      <a:pt x="227" y="12"/>
                    </a:moveTo>
                    <a:lnTo>
                      <a:pt x="227" y="14"/>
                    </a:lnTo>
                    <a:lnTo>
                      <a:pt x="227" y="12"/>
                    </a:lnTo>
                    <a:close/>
                    <a:moveTo>
                      <a:pt x="224" y="9"/>
                    </a:moveTo>
                    <a:lnTo>
                      <a:pt x="226" y="9"/>
                    </a:lnTo>
                    <a:lnTo>
                      <a:pt x="224" y="9"/>
                    </a:lnTo>
                    <a:close/>
                    <a:moveTo>
                      <a:pt x="300" y="63"/>
                    </a:moveTo>
                    <a:lnTo>
                      <a:pt x="302" y="63"/>
                    </a:lnTo>
                    <a:lnTo>
                      <a:pt x="300" y="63"/>
                    </a:lnTo>
                    <a:close/>
                    <a:moveTo>
                      <a:pt x="226" y="10"/>
                    </a:moveTo>
                    <a:lnTo>
                      <a:pt x="227" y="10"/>
                    </a:lnTo>
                    <a:lnTo>
                      <a:pt x="227" y="12"/>
                    </a:lnTo>
                    <a:lnTo>
                      <a:pt x="226" y="12"/>
                    </a:lnTo>
                    <a:lnTo>
                      <a:pt x="226" y="10"/>
                    </a:lnTo>
                    <a:close/>
                    <a:moveTo>
                      <a:pt x="59" y="43"/>
                    </a:moveTo>
                    <a:lnTo>
                      <a:pt x="59" y="44"/>
                    </a:lnTo>
                    <a:lnTo>
                      <a:pt x="59" y="43"/>
                    </a:lnTo>
                    <a:close/>
                    <a:moveTo>
                      <a:pt x="170" y="46"/>
                    </a:moveTo>
                    <a:lnTo>
                      <a:pt x="171" y="46"/>
                    </a:lnTo>
                    <a:lnTo>
                      <a:pt x="171" y="48"/>
                    </a:lnTo>
                    <a:lnTo>
                      <a:pt x="170" y="48"/>
                    </a:lnTo>
                    <a:lnTo>
                      <a:pt x="170" y="46"/>
                    </a:lnTo>
                    <a:close/>
                    <a:moveTo>
                      <a:pt x="222" y="14"/>
                    </a:moveTo>
                    <a:lnTo>
                      <a:pt x="222" y="16"/>
                    </a:lnTo>
                    <a:lnTo>
                      <a:pt x="221" y="16"/>
                    </a:lnTo>
                    <a:lnTo>
                      <a:pt x="219" y="16"/>
                    </a:lnTo>
                    <a:lnTo>
                      <a:pt x="221" y="16"/>
                    </a:lnTo>
                    <a:lnTo>
                      <a:pt x="222" y="16"/>
                    </a:lnTo>
                    <a:lnTo>
                      <a:pt x="222" y="14"/>
                    </a:lnTo>
                    <a:close/>
                    <a:moveTo>
                      <a:pt x="295" y="67"/>
                    </a:moveTo>
                    <a:lnTo>
                      <a:pt x="297" y="67"/>
                    </a:lnTo>
                    <a:lnTo>
                      <a:pt x="295" y="67"/>
                    </a:lnTo>
                    <a:close/>
                    <a:moveTo>
                      <a:pt x="171" y="46"/>
                    </a:moveTo>
                    <a:lnTo>
                      <a:pt x="171" y="48"/>
                    </a:lnTo>
                    <a:lnTo>
                      <a:pt x="171" y="46"/>
                    </a:lnTo>
                    <a:close/>
                    <a:moveTo>
                      <a:pt x="61" y="43"/>
                    </a:moveTo>
                    <a:lnTo>
                      <a:pt x="62" y="43"/>
                    </a:lnTo>
                    <a:lnTo>
                      <a:pt x="61" y="43"/>
                    </a:lnTo>
                    <a:close/>
                    <a:moveTo>
                      <a:pt x="190" y="7"/>
                    </a:moveTo>
                    <a:lnTo>
                      <a:pt x="192" y="7"/>
                    </a:lnTo>
                    <a:lnTo>
                      <a:pt x="190" y="7"/>
                    </a:lnTo>
                    <a:close/>
                    <a:moveTo>
                      <a:pt x="294" y="65"/>
                    </a:moveTo>
                    <a:lnTo>
                      <a:pt x="295" y="65"/>
                    </a:lnTo>
                    <a:lnTo>
                      <a:pt x="294" y="65"/>
                    </a:lnTo>
                    <a:close/>
                    <a:moveTo>
                      <a:pt x="297" y="63"/>
                    </a:moveTo>
                    <a:lnTo>
                      <a:pt x="299" y="63"/>
                    </a:lnTo>
                    <a:lnTo>
                      <a:pt x="297" y="63"/>
                    </a:lnTo>
                    <a:close/>
                    <a:moveTo>
                      <a:pt x="224" y="10"/>
                    </a:moveTo>
                    <a:lnTo>
                      <a:pt x="224" y="12"/>
                    </a:lnTo>
                    <a:lnTo>
                      <a:pt x="224" y="10"/>
                    </a:lnTo>
                    <a:close/>
                    <a:moveTo>
                      <a:pt x="345" y="27"/>
                    </a:moveTo>
                    <a:lnTo>
                      <a:pt x="346" y="27"/>
                    </a:lnTo>
                    <a:lnTo>
                      <a:pt x="345" y="27"/>
                    </a:lnTo>
                    <a:close/>
                    <a:moveTo>
                      <a:pt x="170" y="46"/>
                    </a:moveTo>
                    <a:lnTo>
                      <a:pt x="170" y="48"/>
                    </a:lnTo>
                    <a:lnTo>
                      <a:pt x="170" y="46"/>
                    </a:lnTo>
                    <a:close/>
                    <a:moveTo>
                      <a:pt x="198" y="9"/>
                    </a:moveTo>
                    <a:lnTo>
                      <a:pt x="200" y="9"/>
                    </a:lnTo>
                    <a:lnTo>
                      <a:pt x="198" y="9"/>
                    </a:lnTo>
                    <a:close/>
                    <a:moveTo>
                      <a:pt x="170" y="46"/>
                    </a:moveTo>
                    <a:lnTo>
                      <a:pt x="171" y="46"/>
                    </a:lnTo>
                    <a:lnTo>
                      <a:pt x="170" y="46"/>
                    </a:lnTo>
                    <a:close/>
                    <a:moveTo>
                      <a:pt x="171" y="46"/>
                    </a:moveTo>
                    <a:lnTo>
                      <a:pt x="173" y="46"/>
                    </a:lnTo>
                    <a:lnTo>
                      <a:pt x="171" y="46"/>
                    </a:lnTo>
                    <a:close/>
                    <a:moveTo>
                      <a:pt x="226" y="7"/>
                    </a:moveTo>
                    <a:lnTo>
                      <a:pt x="226" y="9"/>
                    </a:lnTo>
                    <a:lnTo>
                      <a:pt x="226" y="7"/>
                    </a:lnTo>
                    <a:close/>
                    <a:moveTo>
                      <a:pt x="217" y="10"/>
                    </a:moveTo>
                    <a:lnTo>
                      <a:pt x="219" y="10"/>
                    </a:lnTo>
                    <a:lnTo>
                      <a:pt x="217" y="10"/>
                    </a:lnTo>
                    <a:close/>
                    <a:moveTo>
                      <a:pt x="272" y="44"/>
                    </a:moveTo>
                    <a:lnTo>
                      <a:pt x="273" y="44"/>
                    </a:lnTo>
                    <a:lnTo>
                      <a:pt x="272" y="4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 name="Oval 7">
                <a:extLst>
                  <a:ext uri="{FF2B5EF4-FFF2-40B4-BE49-F238E27FC236}">
                    <a16:creationId xmlns:a16="http://schemas.microsoft.com/office/drawing/2014/main" id="{8F930C40-5995-C619-16DF-F8884C1A0BD1}"/>
                  </a:ext>
                </a:extLst>
              </p:cNvPr>
              <p:cNvSpPr/>
              <p:nvPr/>
            </p:nvSpPr>
            <p:spPr>
              <a:xfrm>
                <a:off x="3957324" y="2842086"/>
                <a:ext cx="1229355" cy="620442"/>
              </a:xfrm>
              <a:prstGeom prst="ellipse">
                <a:avLst/>
              </a:prstGeom>
              <a:solidFill>
                <a:srgbClr val="F7F7F7"/>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pic>
          <p:nvPicPr>
            <p:cNvPr id="27" name="Picture 26">
              <a:extLst>
                <a:ext uri="{FF2B5EF4-FFF2-40B4-BE49-F238E27FC236}">
                  <a16:creationId xmlns:a16="http://schemas.microsoft.com/office/drawing/2014/main" id="{BB66DEBF-6F84-C8EC-BADB-B979297B7CF4}"/>
                </a:ext>
              </a:extLst>
            </p:cNvPr>
            <p:cNvPicPr>
              <a:picLocks/>
            </p:cNvPicPr>
            <p:nvPr/>
          </p:nvPicPr>
          <p:blipFill>
            <a:blip r:embed="rId69" cstate="screen">
              <a:extLst>
                <a:ext uri="{28A0092B-C50C-407E-A947-70E740481C1C}">
                  <a14:useLocalDpi xmlns:a14="http://schemas.microsoft.com/office/drawing/2010/main"/>
                </a:ext>
              </a:extLst>
            </a:blip>
            <a:stretch>
              <a:fillRect/>
            </a:stretch>
          </p:blipFill>
          <p:spPr>
            <a:xfrm>
              <a:off x="1615441" y="2734812"/>
              <a:ext cx="259080" cy="167383"/>
            </a:xfrm>
            <a:prstGeom prst="rect">
              <a:avLst/>
            </a:prstGeom>
            <a:ln>
              <a:solidFill>
                <a:srgbClr val="CCCCCC"/>
              </a:solidFill>
            </a:ln>
          </p:spPr>
        </p:pic>
        <p:sp>
          <p:nvSpPr>
            <p:cNvPr id="32" name="Freeform 61">
              <a:extLst>
                <a:ext uri="{FF2B5EF4-FFF2-40B4-BE49-F238E27FC236}">
                  <a16:creationId xmlns:a16="http://schemas.microsoft.com/office/drawing/2014/main" id="{C810A0CC-8D80-7618-0840-0F914C0950F9}"/>
                </a:ext>
              </a:extLst>
            </p:cNvPr>
            <p:cNvSpPr>
              <a:spLocks noEditPoints="1"/>
            </p:cNvSpPr>
            <p:nvPr/>
          </p:nvSpPr>
          <p:spPr bwMode="gray">
            <a:xfrm>
              <a:off x="4085866" y="2858580"/>
              <a:ext cx="607448" cy="540106"/>
            </a:xfrm>
            <a:custGeom>
              <a:avLst/>
              <a:gdLst>
                <a:gd name="T0" fmla="*/ 2232 w 4005"/>
                <a:gd name="T1" fmla="*/ 2979 h 3561"/>
                <a:gd name="T2" fmla="*/ 1844 w 4005"/>
                <a:gd name="T3" fmla="*/ 3482 h 3561"/>
                <a:gd name="T4" fmla="*/ 1630 w 4005"/>
                <a:gd name="T5" fmla="*/ 3340 h 3561"/>
                <a:gd name="T6" fmla="*/ 1457 w 4005"/>
                <a:gd name="T7" fmla="*/ 3229 h 3561"/>
                <a:gd name="T8" fmla="*/ 1627 w 4005"/>
                <a:gd name="T9" fmla="*/ 3030 h 3561"/>
                <a:gd name="T10" fmla="*/ 1778 w 4005"/>
                <a:gd name="T11" fmla="*/ 2926 h 3561"/>
                <a:gd name="T12" fmla="*/ 1739 w 4005"/>
                <a:gd name="T13" fmla="*/ 2814 h 3561"/>
                <a:gd name="T14" fmla="*/ 1630 w 4005"/>
                <a:gd name="T15" fmla="*/ 2605 h 3561"/>
                <a:gd name="T16" fmla="*/ 1453 w 4005"/>
                <a:gd name="T17" fmla="*/ 2501 h 3561"/>
                <a:gd name="T18" fmla="*/ 1418 w 4005"/>
                <a:gd name="T19" fmla="*/ 2278 h 3561"/>
                <a:gd name="T20" fmla="*/ 1365 w 4005"/>
                <a:gd name="T21" fmla="*/ 1968 h 3561"/>
                <a:gd name="T22" fmla="*/ 1168 w 4005"/>
                <a:gd name="T23" fmla="*/ 1712 h 3561"/>
                <a:gd name="T24" fmla="*/ 1011 w 4005"/>
                <a:gd name="T25" fmla="*/ 1667 h 3561"/>
                <a:gd name="T26" fmla="*/ 812 w 4005"/>
                <a:gd name="T27" fmla="*/ 1576 h 3561"/>
                <a:gd name="T28" fmla="*/ 746 w 4005"/>
                <a:gd name="T29" fmla="*/ 1370 h 3561"/>
                <a:gd name="T30" fmla="*/ 591 w 4005"/>
                <a:gd name="T31" fmla="*/ 1436 h 3561"/>
                <a:gd name="T32" fmla="*/ 382 w 4005"/>
                <a:gd name="T33" fmla="*/ 1482 h 3561"/>
                <a:gd name="T34" fmla="*/ 165 w 4005"/>
                <a:gd name="T35" fmla="*/ 1378 h 3561"/>
                <a:gd name="T36" fmla="*/ 25 w 4005"/>
                <a:gd name="T37" fmla="*/ 1104 h 3561"/>
                <a:gd name="T38" fmla="*/ 129 w 4005"/>
                <a:gd name="T39" fmla="*/ 936 h 3561"/>
                <a:gd name="T40" fmla="*/ 228 w 4005"/>
                <a:gd name="T41" fmla="*/ 888 h 3561"/>
                <a:gd name="T42" fmla="*/ 338 w 4005"/>
                <a:gd name="T43" fmla="*/ 870 h 3561"/>
                <a:gd name="T44" fmla="*/ 389 w 4005"/>
                <a:gd name="T45" fmla="*/ 424 h 3561"/>
                <a:gd name="T46" fmla="*/ 532 w 4005"/>
                <a:gd name="T47" fmla="*/ 301 h 3561"/>
                <a:gd name="T48" fmla="*/ 787 w 4005"/>
                <a:gd name="T49" fmla="*/ 412 h 3561"/>
                <a:gd name="T50" fmla="*/ 964 w 4005"/>
                <a:gd name="T51" fmla="*/ 259 h 3561"/>
                <a:gd name="T52" fmla="*/ 967 w 4005"/>
                <a:gd name="T53" fmla="*/ 118 h 3561"/>
                <a:gd name="T54" fmla="*/ 1144 w 4005"/>
                <a:gd name="T55" fmla="*/ 75 h 3561"/>
                <a:gd name="T56" fmla="*/ 1293 w 4005"/>
                <a:gd name="T57" fmla="*/ 75 h 3561"/>
                <a:gd name="T58" fmla="*/ 1287 w 4005"/>
                <a:gd name="T59" fmla="*/ 264 h 3561"/>
                <a:gd name="T60" fmla="*/ 1431 w 4005"/>
                <a:gd name="T61" fmla="*/ 335 h 3561"/>
                <a:gd name="T62" fmla="*/ 1649 w 4005"/>
                <a:gd name="T63" fmla="*/ 293 h 3561"/>
                <a:gd name="T64" fmla="*/ 1921 w 4005"/>
                <a:gd name="T65" fmla="*/ 283 h 3561"/>
                <a:gd name="T66" fmla="*/ 2114 w 4005"/>
                <a:gd name="T67" fmla="*/ 252 h 3561"/>
                <a:gd name="T68" fmla="*/ 2118 w 4005"/>
                <a:gd name="T69" fmla="*/ 516 h 3561"/>
                <a:gd name="T70" fmla="*/ 2286 w 4005"/>
                <a:gd name="T71" fmla="*/ 642 h 3561"/>
                <a:gd name="T72" fmla="*/ 2386 w 4005"/>
                <a:gd name="T73" fmla="*/ 541 h 3561"/>
                <a:gd name="T74" fmla="*/ 2448 w 4005"/>
                <a:gd name="T75" fmla="*/ 550 h 3561"/>
                <a:gd name="T76" fmla="*/ 2509 w 4005"/>
                <a:gd name="T77" fmla="*/ 563 h 3561"/>
                <a:gd name="T78" fmla="*/ 2556 w 4005"/>
                <a:gd name="T79" fmla="*/ 586 h 3561"/>
                <a:gd name="T80" fmla="*/ 2604 w 4005"/>
                <a:gd name="T81" fmla="*/ 618 h 3561"/>
                <a:gd name="T82" fmla="*/ 2674 w 4005"/>
                <a:gd name="T83" fmla="*/ 631 h 3561"/>
                <a:gd name="T84" fmla="*/ 2679 w 4005"/>
                <a:gd name="T85" fmla="*/ 727 h 3561"/>
                <a:gd name="T86" fmla="*/ 2735 w 4005"/>
                <a:gd name="T87" fmla="*/ 723 h 3561"/>
                <a:gd name="T88" fmla="*/ 2900 w 4005"/>
                <a:gd name="T89" fmla="*/ 734 h 3561"/>
                <a:gd name="T90" fmla="*/ 3294 w 4005"/>
                <a:gd name="T91" fmla="*/ 880 h 3561"/>
                <a:gd name="T92" fmla="*/ 3564 w 4005"/>
                <a:gd name="T93" fmla="*/ 1193 h 3561"/>
                <a:gd name="T94" fmla="*/ 3252 w 4005"/>
                <a:gd name="T95" fmla="*/ 1638 h 3561"/>
                <a:gd name="T96" fmla="*/ 3191 w 4005"/>
                <a:gd name="T97" fmla="*/ 1671 h 3561"/>
                <a:gd name="T98" fmla="*/ 3131 w 4005"/>
                <a:gd name="T99" fmla="*/ 2047 h 3561"/>
                <a:gd name="T100" fmla="*/ 2919 w 4005"/>
                <a:gd name="T101" fmla="*/ 2503 h 3561"/>
                <a:gd name="T102" fmla="*/ 2669 w 4005"/>
                <a:gd name="T103" fmla="*/ 2589 h 3561"/>
                <a:gd name="T104" fmla="*/ 2621 w 4005"/>
                <a:gd name="T105" fmla="*/ 2606 h 3561"/>
                <a:gd name="T106" fmla="*/ 2446 w 4005"/>
                <a:gd name="T107" fmla="*/ 2674 h 3561"/>
                <a:gd name="T108" fmla="*/ 2531 w 4005"/>
                <a:gd name="T109" fmla="*/ 2661 h 3561"/>
                <a:gd name="T110" fmla="*/ 2749 w 4005"/>
                <a:gd name="T111" fmla="*/ 2557 h 3561"/>
                <a:gd name="T112" fmla="*/ 2191 w 4005"/>
                <a:gd name="T113" fmla="*/ 398 h 3561"/>
                <a:gd name="T114" fmla="*/ 2283 w 4005"/>
                <a:gd name="T115" fmla="*/ 497 h 3561"/>
                <a:gd name="T116" fmla="*/ 2128 w 4005"/>
                <a:gd name="T117" fmla="*/ 473 h 3561"/>
                <a:gd name="T118" fmla="*/ 2203 w 4005"/>
                <a:gd name="T119" fmla="*/ 455 h 3561"/>
                <a:gd name="T120" fmla="*/ 2165 w 4005"/>
                <a:gd name="T121" fmla="*/ 402 h 3561"/>
                <a:gd name="T122" fmla="*/ 2624 w 4005"/>
                <a:gd name="T123" fmla="*/ 631 h 3561"/>
                <a:gd name="T124" fmla="*/ 2650 w 4005"/>
                <a:gd name="T125" fmla="*/ 597 h 3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05" h="3561">
                  <a:moveTo>
                    <a:pt x="2245" y="2981"/>
                  </a:moveTo>
                  <a:lnTo>
                    <a:pt x="2247" y="2984"/>
                  </a:lnTo>
                  <a:lnTo>
                    <a:pt x="2249" y="2986"/>
                  </a:lnTo>
                  <a:lnTo>
                    <a:pt x="2249" y="2984"/>
                  </a:lnTo>
                  <a:lnTo>
                    <a:pt x="2249" y="2986"/>
                  </a:lnTo>
                  <a:lnTo>
                    <a:pt x="2244" y="2994"/>
                  </a:lnTo>
                  <a:lnTo>
                    <a:pt x="2244" y="2999"/>
                  </a:lnTo>
                  <a:lnTo>
                    <a:pt x="2235" y="3010"/>
                  </a:lnTo>
                  <a:lnTo>
                    <a:pt x="2235" y="3013"/>
                  </a:lnTo>
                  <a:lnTo>
                    <a:pt x="2237" y="3015"/>
                  </a:lnTo>
                  <a:lnTo>
                    <a:pt x="2235" y="3018"/>
                  </a:lnTo>
                  <a:lnTo>
                    <a:pt x="2232" y="3016"/>
                  </a:lnTo>
                  <a:lnTo>
                    <a:pt x="2230" y="3020"/>
                  </a:lnTo>
                  <a:lnTo>
                    <a:pt x="2228" y="3021"/>
                  </a:lnTo>
                  <a:lnTo>
                    <a:pt x="2230" y="3016"/>
                  </a:lnTo>
                  <a:lnTo>
                    <a:pt x="2228" y="3015"/>
                  </a:lnTo>
                  <a:lnTo>
                    <a:pt x="2230" y="3013"/>
                  </a:lnTo>
                  <a:lnTo>
                    <a:pt x="2230" y="3010"/>
                  </a:lnTo>
                  <a:lnTo>
                    <a:pt x="2228" y="3006"/>
                  </a:lnTo>
                  <a:lnTo>
                    <a:pt x="2230" y="3004"/>
                  </a:lnTo>
                  <a:lnTo>
                    <a:pt x="2233" y="3004"/>
                  </a:lnTo>
                  <a:lnTo>
                    <a:pt x="2233" y="3001"/>
                  </a:lnTo>
                  <a:lnTo>
                    <a:pt x="2230" y="2999"/>
                  </a:lnTo>
                  <a:lnTo>
                    <a:pt x="2233" y="2998"/>
                  </a:lnTo>
                  <a:lnTo>
                    <a:pt x="2235" y="2998"/>
                  </a:lnTo>
                  <a:lnTo>
                    <a:pt x="2235" y="2994"/>
                  </a:lnTo>
                  <a:lnTo>
                    <a:pt x="2233" y="2994"/>
                  </a:lnTo>
                  <a:lnTo>
                    <a:pt x="2235" y="2993"/>
                  </a:lnTo>
                  <a:lnTo>
                    <a:pt x="2233" y="2989"/>
                  </a:lnTo>
                  <a:lnTo>
                    <a:pt x="2235" y="2987"/>
                  </a:lnTo>
                  <a:lnTo>
                    <a:pt x="2233" y="2987"/>
                  </a:lnTo>
                  <a:lnTo>
                    <a:pt x="2235" y="2984"/>
                  </a:lnTo>
                  <a:lnTo>
                    <a:pt x="2239" y="2984"/>
                  </a:lnTo>
                  <a:lnTo>
                    <a:pt x="2244" y="2984"/>
                  </a:lnTo>
                  <a:lnTo>
                    <a:pt x="2244" y="2981"/>
                  </a:lnTo>
                  <a:lnTo>
                    <a:pt x="2245" y="2981"/>
                  </a:lnTo>
                  <a:close/>
                  <a:moveTo>
                    <a:pt x="2239" y="2851"/>
                  </a:moveTo>
                  <a:lnTo>
                    <a:pt x="2237" y="2858"/>
                  </a:lnTo>
                  <a:lnTo>
                    <a:pt x="2237" y="2867"/>
                  </a:lnTo>
                  <a:lnTo>
                    <a:pt x="2239" y="2868"/>
                  </a:lnTo>
                  <a:lnTo>
                    <a:pt x="2244" y="2868"/>
                  </a:lnTo>
                  <a:lnTo>
                    <a:pt x="2244" y="2873"/>
                  </a:lnTo>
                  <a:lnTo>
                    <a:pt x="2245" y="2873"/>
                  </a:lnTo>
                  <a:lnTo>
                    <a:pt x="2235" y="2890"/>
                  </a:lnTo>
                  <a:lnTo>
                    <a:pt x="2235" y="2896"/>
                  </a:lnTo>
                  <a:lnTo>
                    <a:pt x="2228" y="2906"/>
                  </a:lnTo>
                  <a:lnTo>
                    <a:pt x="2225" y="2916"/>
                  </a:lnTo>
                  <a:lnTo>
                    <a:pt x="2227" y="2924"/>
                  </a:lnTo>
                  <a:lnTo>
                    <a:pt x="2228" y="2923"/>
                  </a:lnTo>
                  <a:lnTo>
                    <a:pt x="2232" y="2926"/>
                  </a:lnTo>
                  <a:lnTo>
                    <a:pt x="2233" y="2924"/>
                  </a:lnTo>
                  <a:lnTo>
                    <a:pt x="2233" y="2926"/>
                  </a:lnTo>
                  <a:lnTo>
                    <a:pt x="2232" y="2930"/>
                  </a:lnTo>
                  <a:lnTo>
                    <a:pt x="2230" y="2930"/>
                  </a:lnTo>
                  <a:lnTo>
                    <a:pt x="2228" y="2936"/>
                  </a:lnTo>
                  <a:lnTo>
                    <a:pt x="2230" y="2938"/>
                  </a:lnTo>
                  <a:lnTo>
                    <a:pt x="2228" y="2945"/>
                  </a:lnTo>
                  <a:lnTo>
                    <a:pt x="2230" y="2945"/>
                  </a:lnTo>
                  <a:lnTo>
                    <a:pt x="2233" y="2945"/>
                  </a:lnTo>
                  <a:lnTo>
                    <a:pt x="2232" y="2952"/>
                  </a:lnTo>
                  <a:lnTo>
                    <a:pt x="2230" y="2953"/>
                  </a:lnTo>
                  <a:lnTo>
                    <a:pt x="2230" y="2955"/>
                  </a:lnTo>
                  <a:lnTo>
                    <a:pt x="2233" y="2959"/>
                  </a:lnTo>
                  <a:lnTo>
                    <a:pt x="2235" y="2959"/>
                  </a:lnTo>
                  <a:lnTo>
                    <a:pt x="2239" y="2955"/>
                  </a:lnTo>
                  <a:lnTo>
                    <a:pt x="2239" y="2959"/>
                  </a:lnTo>
                  <a:lnTo>
                    <a:pt x="2240" y="2959"/>
                  </a:lnTo>
                  <a:lnTo>
                    <a:pt x="2240" y="2957"/>
                  </a:lnTo>
                  <a:lnTo>
                    <a:pt x="2242" y="2959"/>
                  </a:lnTo>
                  <a:lnTo>
                    <a:pt x="2239" y="2960"/>
                  </a:lnTo>
                  <a:lnTo>
                    <a:pt x="2240" y="2964"/>
                  </a:lnTo>
                  <a:lnTo>
                    <a:pt x="2237" y="2965"/>
                  </a:lnTo>
                  <a:lnTo>
                    <a:pt x="2239" y="2964"/>
                  </a:lnTo>
                  <a:lnTo>
                    <a:pt x="2235" y="2962"/>
                  </a:lnTo>
                  <a:lnTo>
                    <a:pt x="2228" y="2965"/>
                  </a:lnTo>
                  <a:lnTo>
                    <a:pt x="2228" y="2967"/>
                  </a:lnTo>
                  <a:lnTo>
                    <a:pt x="2230" y="2974"/>
                  </a:lnTo>
                  <a:lnTo>
                    <a:pt x="2233" y="2974"/>
                  </a:lnTo>
                  <a:lnTo>
                    <a:pt x="2235" y="2972"/>
                  </a:lnTo>
                  <a:lnTo>
                    <a:pt x="2235" y="2976"/>
                  </a:lnTo>
                  <a:lnTo>
                    <a:pt x="2235" y="2977"/>
                  </a:lnTo>
                  <a:lnTo>
                    <a:pt x="2235" y="2979"/>
                  </a:lnTo>
                  <a:lnTo>
                    <a:pt x="2232" y="2979"/>
                  </a:lnTo>
                  <a:lnTo>
                    <a:pt x="2232" y="2984"/>
                  </a:lnTo>
                  <a:lnTo>
                    <a:pt x="2227" y="2984"/>
                  </a:lnTo>
                  <a:lnTo>
                    <a:pt x="2223" y="2989"/>
                  </a:lnTo>
                  <a:lnTo>
                    <a:pt x="2227" y="2996"/>
                  </a:lnTo>
                  <a:lnTo>
                    <a:pt x="2230" y="2999"/>
                  </a:lnTo>
                  <a:lnTo>
                    <a:pt x="2228" y="3001"/>
                  </a:lnTo>
                  <a:lnTo>
                    <a:pt x="2227" y="2999"/>
                  </a:lnTo>
                  <a:lnTo>
                    <a:pt x="2225" y="2999"/>
                  </a:lnTo>
                  <a:lnTo>
                    <a:pt x="2225" y="3003"/>
                  </a:lnTo>
                  <a:lnTo>
                    <a:pt x="2222" y="3004"/>
                  </a:lnTo>
                  <a:lnTo>
                    <a:pt x="2223" y="3006"/>
                  </a:lnTo>
                  <a:lnTo>
                    <a:pt x="2223" y="3011"/>
                  </a:lnTo>
                  <a:lnTo>
                    <a:pt x="2225" y="3013"/>
                  </a:lnTo>
                  <a:lnTo>
                    <a:pt x="2223" y="3016"/>
                  </a:lnTo>
                  <a:lnTo>
                    <a:pt x="2225" y="3016"/>
                  </a:lnTo>
                  <a:lnTo>
                    <a:pt x="2223" y="3020"/>
                  </a:lnTo>
                  <a:lnTo>
                    <a:pt x="2227" y="3020"/>
                  </a:lnTo>
                  <a:lnTo>
                    <a:pt x="2227" y="3023"/>
                  </a:lnTo>
                  <a:lnTo>
                    <a:pt x="2225" y="3023"/>
                  </a:lnTo>
                  <a:lnTo>
                    <a:pt x="2225" y="3025"/>
                  </a:lnTo>
                  <a:lnTo>
                    <a:pt x="2227" y="3027"/>
                  </a:lnTo>
                  <a:lnTo>
                    <a:pt x="2222" y="3032"/>
                  </a:lnTo>
                  <a:lnTo>
                    <a:pt x="2222" y="3037"/>
                  </a:lnTo>
                  <a:lnTo>
                    <a:pt x="2225" y="3038"/>
                  </a:lnTo>
                  <a:lnTo>
                    <a:pt x="2218" y="3052"/>
                  </a:lnTo>
                  <a:lnTo>
                    <a:pt x="2216" y="3055"/>
                  </a:lnTo>
                  <a:lnTo>
                    <a:pt x="2218" y="3057"/>
                  </a:lnTo>
                  <a:lnTo>
                    <a:pt x="2213" y="3062"/>
                  </a:lnTo>
                  <a:lnTo>
                    <a:pt x="2213" y="3066"/>
                  </a:lnTo>
                  <a:lnTo>
                    <a:pt x="2213" y="3067"/>
                  </a:lnTo>
                  <a:lnTo>
                    <a:pt x="2210" y="3071"/>
                  </a:lnTo>
                  <a:lnTo>
                    <a:pt x="2210" y="3074"/>
                  </a:lnTo>
                  <a:lnTo>
                    <a:pt x="2206" y="3078"/>
                  </a:lnTo>
                  <a:lnTo>
                    <a:pt x="2206" y="3081"/>
                  </a:lnTo>
                  <a:lnTo>
                    <a:pt x="2208" y="3083"/>
                  </a:lnTo>
                  <a:lnTo>
                    <a:pt x="2201" y="3090"/>
                  </a:lnTo>
                  <a:lnTo>
                    <a:pt x="2201" y="3091"/>
                  </a:lnTo>
                  <a:lnTo>
                    <a:pt x="2193" y="3095"/>
                  </a:lnTo>
                  <a:lnTo>
                    <a:pt x="2176" y="3103"/>
                  </a:lnTo>
                  <a:lnTo>
                    <a:pt x="2167" y="3110"/>
                  </a:lnTo>
                  <a:lnTo>
                    <a:pt x="2154" y="3118"/>
                  </a:lnTo>
                  <a:lnTo>
                    <a:pt x="2142" y="3129"/>
                  </a:lnTo>
                  <a:lnTo>
                    <a:pt x="2135" y="3135"/>
                  </a:lnTo>
                  <a:lnTo>
                    <a:pt x="2128" y="3144"/>
                  </a:lnTo>
                  <a:lnTo>
                    <a:pt x="2120" y="3152"/>
                  </a:lnTo>
                  <a:lnTo>
                    <a:pt x="2116" y="3158"/>
                  </a:lnTo>
                  <a:lnTo>
                    <a:pt x="2114" y="3161"/>
                  </a:lnTo>
                  <a:lnTo>
                    <a:pt x="2108" y="3168"/>
                  </a:lnTo>
                  <a:lnTo>
                    <a:pt x="2097" y="3180"/>
                  </a:lnTo>
                  <a:lnTo>
                    <a:pt x="2091" y="3190"/>
                  </a:lnTo>
                  <a:lnTo>
                    <a:pt x="2084" y="3202"/>
                  </a:lnTo>
                  <a:lnTo>
                    <a:pt x="2075" y="3217"/>
                  </a:lnTo>
                  <a:lnTo>
                    <a:pt x="2070" y="3227"/>
                  </a:lnTo>
                  <a:lnTo>
                    <a:pt x="2065" y="3241"/>
                  </a:lnTo>
                  <a:lnTo>
                    <a:pt x="2060" y="3249"/>
                  </a:lnTo>
                  <a:lnTo>
                    <a:pt x="2057" y="3258"/>
                  </a:lnTo>
                  <a:lnTo>
                    <a:pt x="2052" y="3266"/>
                  </a:lnTo>
                  <a:lnTo>
                    <a:pt x="2040" y="3282"/>
                  </a:lnTo>
                  <a:lnTo>
                    <a:pt x="2031" y="3292"/>
                  </a:lnTo>
                  <a:lnTo>
                    <a:pt x="2023" y="3304"/>
                  </a:lnTo>
                  <a:lnTo>
                    <a:pt x="2012" y="3317"/>
                  </a:lnTo>
                  <a:lnTo>
                    <a:pt x="2007" y="3323"/>
                  </a:lnTo>
                  <a:lnTo>
                    <a:pt x="1997" y="3333"/>
                  </a:lnTo>
                  <a:lnTo>
                    <a:pt x="1984" y="3343"/>
                  </a:lnTo>
                  <a:lnTo>
                    <a:pt x="1975" y="3351"/>
                  </a:lnTo>
                  <a:lnTo>
                    <a:pt x="1967" y="3358"/>
                  </a:lnTo>
                  <a:lnTo>
                    <a:pt x="1961" y="3363"/>
                  </a:lnTo>
                  <a:lnTo>
                    <a:pt x="1943" y="3377"/>
                  </a:lnTo>
                  <a:lnTo>
                    <a:pt x="1929" y="3384"/>
                  </a:lnTo>
                  <a:lnTo>
                    <a:pt x="1917" y="3391"/>
                  </a:lnTo>
                  <a:lnTo>
                    <a:pt x="1907" y="3396"/>
                  </a:lnTo>
                  <a:lnTo>
                    <a:pt x="1892" y="3409"/>
                  </a:lnTo>
                  <a:lnTo>
                    <a:pt x="1887" y="3416"/>
                  </a:lnTo>
                  <a:lnTo>
                    <a:pt x="1887" y="3414"/>
                  </a:lnTo>
                  <a:lnTo>
                    <a:pt x="1885" y="3413"/>
                  </a:lnTo>
                  <a:lnTo>
                    <a:pt x="1885" y="3416"/>
                  </a:lnTo>
                  <a:lnTo>
                    <a:pt x="1880" y="3418"/>
                  </a:lnTo>
                  <a:lnTo>
                    <a:pt x="1871" y="3425"/>
                  </a:lnTo>
                  <a:lnTo>
                    <a:pt x="1865" y="3435"/>
                  </a:lnTo>
                  <a:lnTo>
                    <a:pt x="1858" y="3447"/>
                  </a:lnTo>
                  <a:lnTo>
                    <a:pt x="1853" y="3459"/>
                  </a:lnTo>
                  <a:lnTo>
                    <a:pt x="1849" y="3472"/>
                  </a:lnTo>
                  <a:lnTo>
                    <a:pt x="1844" y="3482"/>
                  </a:lnTo>
                  <a:lnTo>
                    <a:pt x="1832" y="3499"/>
                  </a:lnTo>
                  <a:lnTo>
                    <a:pt x="1827" y="3508"/>
                  </a:lnTo>
                  <a:lnTo>
                    <a:pt x="1819" y="3516"/>
                  </a:lnTo>
                  <a:lnTo>
                    <a:pt x="1815" y="3520"/>
                  </a:lnTo>
                  <a:lnTo>
                    <a:pt x="1810" y="3523"/>
                  </a:lnTo>
                  <a:lnTo>
                    <a:pt x="1807" y="3527"/>
                  </a:lnTo>
                  <a:lnTo>
                    <a:pt x="1791" y="3537"/>
                  </a:lnTo>
                  <a:lnTo>
                    <a:pt x="1786" y="3542"/>
                  </a:lnTo>
                  <a:lnTo>
                    <a:pt x="1780" y="3547"/>
                  </a:lnTo>
                  <a:lnTo>
                    <a:pt x="1764" y="3557"/>
                  </a:lnTo>
                  <a:lnTo>
                    <a:pt x="1761" y="3561"/>
                  </a:lnTo>
                  <a:lnTo>
                    <a:pt x="1756" y="3561"/>
                  </a:lnTo>
                  <a:lnTo>
                    <a:pt x="1756" y="3556"/>
                  </a:lnTo>
                  <a:lnTo>
                    <a:pt x="1747" y="3556"/>
                  </a:lnTo>
                  <a:lnTo>
                    <a:pt x="1747" y="3549"/>
                  </a:lnTo>
                  <a:lnTo>
                    <a:pt x="1751" y="3528"/>
                  </a:lnTo>
                  <a:lnTo>
                    <a:pt x="1751" y="3515"/>
                  </a:lnTo>
                  <a:lnTo>
                    <a:pt x="1754" y="3506"/>
                  </a:lnTo>
                  <a:lnTo>
                    <a:pt x="1756" y="3503"/>
                  </a:lnTo>
                  <a:lnTo>
                    <a:pt x="1773" y="3489"/>
                  </a:lnTo>
                  <a:lnTo>
                    <a:pt x="1773" y="3484"/>
                  </a:lnTo>
                  <a:lnTo>
                    <a:pt x="1781" y="3474"/>
                  </a:lnTo>
                  <a:lnTo>
                    <a:pt x="1785" y="3471"/>
                  </a:lnTo>
                  <a:lnTo>
                    <a:pt x="1791" y="3467"/>
                  </a:lnTo>
                  <a:lnTo>
                    <a:pt x="1786" y="3464"/>
                  </a:lnTo>
                  <a:lnTo>
                    <a:pt x="1785" y="3460"/>
                  </a:lnTo>
                  <a:lnTo>
                    <a:pt x="1781" y="3459"/>
                  </a:lnTo>
                  <a:lnTo>
                    <a:pt x="1780" y="3457"/>
                  </a:lnTo>
                  <a:lnTo>
                    <a:pt x="1776" y="3459"/>
                  </a:lnTo>
                  <a:lnTo>
                    <a:pt x="1769" y="3454"/>
                  </a:lnTo>
                  <a:lnTo>
                    <a:pt x="1768" y="3455"/>
                  </a:lnTo>
                  <a:lnTo>
                    <a:pt x="1766" y="3452"/>
                  </a:lnTo>
                  <a:lnTo>
                    <a:pt x="1764" y="3454"/>
                  </a:lnTo>
                  <a:lnTo>
                    <a:pt x="1763" y="3445"/>
                  </a:lnTo>
                  <a:lnTo>
                    <a:pt x="1756" y="3445"/>
                  </a:lnTo>
                  <a:lnTo>
                    <a:pt x="1752" y="3442"/>
                  </a:lnTo>
                  <a:lnTo>
                    <a:pt x="1749" y="3438"/>
                  </a:lnTo>
                  <a:lnTo>
                    <a:pt x="1747" y="3437"/>
                  </a:lnTo>
                  <a:lnTo>
                    <a:pt x="1747" y="3433"/>
                  </a:lnTo>
                  <a:lnTo>
                    <a:pt x="1746" y="3430"/>
                  </a:lnTo>
                  <a:lnTo>
                    <a:pt x="1747" y="3428"/>
                  </a:lnTo>
                  <a:lnTo>
                    <a:pt x="1746" y="3425"/>
                  </a:lnTo>
                  <a:lnTo>
                    <a:pt x="1744" y="3420"/>
                  </a:lnTo>
                  <a:lnTo>
                    <a:pt x="1742" y="3420"/>
                  </a:lnTo>
                  <a:lnTo>
                    <a:pt x="1742" y="3414"/>
                  </a:lnTo>
                  <a:lnTo>
                    <a:pt x="1740" y="3414"/>
                  </a:lnTo>
                  <a:lnTo>
                    <a:pt x="1742" y="3414"/>
                  </a:lnTo>
                  <a:lnTo>
                    <a:pt x="1740" y="3411"/>
                  </a:lnTo>
                  <a:lnTo>
                    <a:pt x="1742" y="3409"/>
                  </a:lnTo>
                  <a:lnTo>
                    <a:pt x="1740" y="3408"/>
                  </a:lnTo>
                  <a:lnTo>
                    <a:pt x="1734" y="3406"/>
                  </a:lnTo>
                  <a:lnTo>
                    <a:pt x="1730" y="3404"/>
                  </a:lnTo>
                  <a:lnTo>
                    <a:pt x="1732" y="3401"/>
                  </a:lnTo>
                  <a:lnTo>
                    <a:pt x="1729" y="3401"/>
                  </a:lnTo>
                  <a:lnTo>
                    <a:pt x="1727" y="3397"/>
                  </a:lnTo>
                  <a:lnTo>
                    <a:pt x="1722" y="3397"/>
                  </a:lnTo>
                  <a:lnTo>
                    <a:pt x="1722" y="3394"/>
                  </a:lnTo>
                  <a:lnTo>
                    <a:pt x="1717" y="3392"/>
                  </a:lnTo>
                  <a:lnTo>
                    <a:pt x="1712" y="3396"/>
                  </a:lnTo>
                  <a:lnTo>
                    <a:pt x="1710" y="3394"/>
                  </a:lnTo>
                  <a:lnTo>
                    <a:pt x="1710" y="3392"/>
                  </a:lnTo>
                  <a:lnTo>
                    <a:pt x="1706" y="3392"/>
                  </a:lnTo>
                  <a:lnTo>
                    <a:pt x="1706" y="3391"/>
                  </a:lnTo>
                  <a:lnTo>
                    <a:pt x="1703" y="3389"/>
                  </a:lnTo>
                  <a:lnTo>
                    <a:pt x="1696" y="3384"/>
                  </a:lnTo>
                  <a:lnTo>
                    <a:pt x="1681" y="3370"/>
                  </a:lnTo>
                  <a:lnTo>
                    <a:pt x="1679" y="3365"/>
                  </a:lnTo>
                  <a:lnTo>
                    <a:pt x="1681" y="3365"/>
                  </a:lnTo>
                  <a:lnTo>
                    <a:pt x="1676" y="3357"/>
                  </a:lnTo>
                  <a:lnTo>
                    <a:pt x="1671" y="3353"/>
                  </a:lnTo>
                  <a:lnTo>
                    <a:pt x="1671" y="3351"/>
                  </a:lnTo>
                  <a:lnTo>
                    <a:pt x="1662" y="3351"/>
                  </a:lnTo>
                  <a:lnTo>
                    <a:pt x="1657" y="3348"/>
                  </a:lnTo>
                  <a:lnTo>
                    <a:pt x="1649" y="3350"/>
                  </a:lnTo>
                  <a:lnTo>
                    <a:pt x="1644" y="3345"/>
                  </a:lnTo>
                  <a:lnTo>
                    <a:pt x="1640" y="3345"/>
                  </a:lnTo>
                  <a:lnTo>
                    <a:pt x="1640" y="3343"/>
                  </a:lnTo>
                  <a:lnTo>
                    <a:pt x="1638" y="3341"/>
                  </a:lnTo>
                  <a:lnTo>
                    <a:pt x="1638" y="3340"/>
                  </a:lnTo>
                  <a:lnTo>
                    <a:pt x="1637" y="3340"/>
                  </a:lnTo>
                  <a:lnTo>
                    <a:pt x="1635" y="3334"/>
                  </a:lnTo>
                  <a:lnTo>
                    <a:pt x="1632" y="3334"/>
                  </a:lnTo>
                  <a:lnTo>
                    <a:pt x="1630" y="3340"/>
                  </a:lnTo>
                  <a:lnTo>
                    <a:pt x="1628" y="3340"/>
                  </a:lnTo>
                  <a:lnTo>
                    <a:pt x="1621" y="3336"/>
                  </a:lnTo>
                  <a:lnTo>
                    <a:pt x="1620" y="3334"/>
                  </a:lnTo>
                  <a:lnTo>
                    <a:pt x="1613" y="3334"/>
                  </a:lnTo>
                  <a:lnTo>
                    <a:pt x="1613" y="3329"/>
                  </a:lnTo>
                  <a:lnTo>
                    <a:pt x="1610" y="3328"/>
                  </a:lnTo>
                  <a:lnTo>
                    <a:pt x="1611" y="3326"/>
                  </a:lnTo>
                  <a:lnTo>
                    <a:pt x="1610" y="3323"/>
                  </a:lnTo>
                  <a:lnTo>
                    <a:pt x="1606" y="3323"/>
                  </a:lnTo>
                  <a:lnTo>
                    <a:pt x="1608" y="3317"/>
                  </a:lnTo>
                  <a:lnTo>
                    <a:pt x="1604" y="3316"/>
                  </a:lnTo>
                  <a:lnTo>
                    <a:pt x="1606" y="3314"/>
                  </a:lnTo>
                  <a:lnTo>
                    <a:pt x="1603" y="3312"/>
                  </a:lnTo>
                  <a:lnTo>
                    <a:pt x="1601" y="3312"/>
                  </a:lnTo>
                  <a:lnTo>
                    <a:pt x="1599" y="3312"/>
                  </a:lnTo>
                  <a:lnTo>
                    <a:pt x="1598" y="3306"/>
                  </a:lnTo>
                  <a:lnTo>
                    <a:pt x="1594" y="3306"/>
                  </a:lnTo>
                  <a:lnTo>
                    <a:pt x="1594" y="3304"/>
                  </a:lnTo>
                  <a:lnTo>
                    <a:pt x="1589" y="3300"/>
                  </a:lnTo>
                  <a:lnTo>
                    <a:pt x="1587" y="3295"/>
                  </a:lnTo>
                  <a:lnTo>
                    <a:pt x="1579" y="3297"/>
                  </a:lnTo>
                  <a:lnTo>
                    <a:pt x="1581" y="3302"/>
                  </a:lnTo>
                  <a:lnTo>
                    <a:pt x="1577" y="3306"/>
                  </a:lnTo>
                  <a:lnTo>
                    <a:pt x="1576" y="3306"/>
                  </a:lnTo>
                  <a:lnTo>
                    <a:pt x="1574" y="3306"/>
                  </a:lnTo>
                  <a:lnTo>
                    <a:pt x="1572" y="3309"/>
                  </a:lnTo>
                  <a:lnTo>
                    <a:pt x="1569" y="3309"/>
                  </a:lnTo>
                  <a:lnTo>
                    <a:pt x="1569" y="3311"/>
                  </a:lnTo>
                  <a:lnTo>
                    <a:pt x="1564" y="3312"/>
                  </a:lnTo>
                  <a:lnTo>
                    <a:pt x="1553" y="3304"/>
                  </a:lnTo>
                  <a:lnTo>
                    <a:pt x="1547" y="3290"/>
                  </a:lnTo>
                  <a:lnTo>
                    <a:pt x="1543" y="3290"/>
                  </a:lnTo>
                  <a:lnTo>
                    <a:pt x="1543" y="3287"/>
                  </a:lnTo>
                  <a:lnTo>
                    <a:pt x="1542" y="3289"/>
                  </a:lnTo>
                  <a:lnTo>
                    <a:pt x="1540" y="3285"/>
                  </a:lnTo>
                  <a:lnTo>
                    <a:pt x="1538" y="3287"/>
                  </a:lnTo>
                  <a:lnTo>
                    <a:pt x="1538" y="3283"/>
                  </a:lnTo>
                  <a:lnTo>
                    <a:pt x="1536" y="3283"/>
                  </a:lnTo>
                  <a:lnTo>
                    <a:pt x="1538" y="3282"/>
                  </a:lnTo>
                  <a:lnTo>
                    <a:pt x="1536" y="3280"/>
                  </a:lnTo>
                  <a:lnTo>
                    <a:pt x="1536" y="3277"/>
                  </a:lnTo>
                  <a:lnTo>
                    <a:pt x="1535" y="3277"/>
                  </a:lnTo>
                  <a:lnTo>
                    <a:pt x="1535" y="3275"/>
                  </a:lnTo>
                  <a:lnTo>
                    <a:pt x="1531" y="3275"/>
                  </a:lnTo>
                  <a:lnTo>
                    <a:pt x="1530" y="3272"/>
                  </a:lnTo>
                  <a:lnTo>
                    <a:pt x="1528" y="3272"/>
                  </a:lnTo>
                  <a:lnTo>
                    <a:pt x="1528" y="3270"/>
                  </a:lnTo>
                  <a:lnTo>
                    <a:pt x="1526" y="3270"/>
                  </a:lnTo>
                  <a:lnTo>
                    <a:pt x="1525" y="3266"/>
                  </a:lnTo>
                  <a:lnTo>
                    <a:pt x="1523" y="3266"/>
                  </a:lnTo>
                  <a:lnTo>
                    <a:pt x="1519" y="3263"/>
                  </a:lnTo>
                  <a:lnTo>
                    <a:pt x="1518" y="3265"/>
                  </a:lnTo>
                  <a:lnTo>
                    <a:pt x="1516" y="3261"/>
                  </a:lnTo>
                  <a:lnTo>
                    <a:pt x="1516" y="3260"/>
                  </a:lnTo>
                  <a:lnTo>
                    <a:pt x="1511" y="3258"/>
                  </a:lnTo>
                  <a:lnTo>
                    <a:pt x="1513" y="3256"/>
                  </a:lnTo>
                  <a:lnTo>
                    <a:pt x="1511" y="3255"/>
                  </a:lnTo>
                  <a:lnTo>
                    <a:pt x="1509" y="3255"/>
                  </a:lnTo>
                  <a:lnTo>
                    <a:pt x="1506" y="3251"/>
                  </a:lnTo>
                  <a:lnTo>
                    <a:pt x="1504" y="3251"/>
                  </a:lnTo>
                  <a:lnTo>
                    <a:pt x="1504" y="3248"/>
                  </a:lnTo>
                  <a:lnTo>
                    <a:pt x="1502" y="3248"/>
                  </a:lnTo>
                  <a:lnTo>
                    <a:pt x="1501" y="3244"/>
                  </a:lnTo>
                  <a:lnTo>
                    <a:pt x="1497" y="3246"/>
                  </a:lnTo>
                  <a:lnTo>
                    <a:pt x="1499" y="3243"/>
                  </a:lnTo>
                  <a:lnTo>
                    <a:pt x="1496" y="3243"/>
                  </a:lnTo>
                  <a:lnTo>
                    <a:pt x="1497" y="3241"/>
                  </a:lnTo>
                  <a:lnTo>
                    <a:pt x="1494" y="3239"/>
                  </a:lnTo>
                  <a:lnTo>
                    <a:pt x="1496" y="3237"/>
                  </a:lnTo>
                  <a:lnTo>
                    <a:pt x="1492" y="3236"/>
                  </a:lnTo>
                  <a:lnTo>
                    <a:pt x="1491" y="3237"/>
                  </a:lnTo>
                  <a:lnTo>
                    <a:pt x="1491" y="3234"/>
                  </a:lnTo>
                  <a:lnTo>
                    <a:pt x="1485" y="3234"/>
                  </a:lnTo>
                  <a:lnTo>
                    <a:pt x="1484" y="3231"/>
                  </a:lnTo>
                  <a:lnTo>
                    <a:pt x="1482" y="3229"/>
                  </a:lnTo>
                  <a:lnTo>
                    <a:pt x="1475" y="3227"/>
                  </a:lnTo>
                  <a:lnTo>
                    <a:pt x="1474" y="3229"/>
                  </a:lnTo>
                  <a:lnTo>
                    <a:pt x="1472" y="3227"/>
                  </a:lnTo>
                  <a:lnTo>
                    <a:pt x="1468" y="3227"/>
                  </a:lnTo>
                  <a:lnTo>
                    <a:pt x="1465" y="3227"/>
                  </a:lnTo>
                  <a:lnTo>
                    <a:pt x="1462" y="3229"/>
                  </a:lnTo>
                  <a:lnTo>
                    <a:pt x="1460" y="3227"/>
                  </a:lnTo>
                  <a:lnTo>
                    <a:pt x="1457" y="3229"/>
                  </a:lnTo>
                  <a:lnTo>
                    <a:pt x="1455" y="3229"/>
                  </a:lnTo>
                  <a:lnTo>
                    <a:pt x="1455" y="3231"/>
                  </a:lnTo>
                  <a:lnTo>
                    <a:pt x="1453" y="3232"/>
                  </a:lnTo>
                  <a:lnTo>
                    <a:pt x="1450" y="3237"/>
                  </a:lnTo>
                  <a:lnTo>
                    <a:pt x="1451" y="3241"/>
                  </a:lnTo>
                  <a:lnTo>
                    <a:pt x="1445" y="3244"/>
                  </a:lnTo>
                  <a:lnTo>
                    <a:pt x="1441" y="3244"/>
                  </a:lnTo>
                  <a:lnTo>
                    <a:pt x="1441" y="3243"/>
                  </a:lnTo>
                  <a:lnTo>
                    <a:pt x="1440" y="3246"/>
                  </a:lnTo>
                  <a:lnTo>
                    <a:pt x="1436" y="3243"/>
                  </a:lnTo>
                  <a:lnTo>
                    <a:pt x="1433" y="3244"/>
                  </a:lnTo>
                  <a:lnTo>
                    <a:pt x="1431" y="3244"/>
                  </a:lnTo>
                  <a:lnTo>
                    <a:pt x="1429" y="3246"/>
                  </a:lnTo>
                  <a:lnTo>
                    <a:pt x="1426" y="3246"/>
                  </a:lnTo>
                  <a:lnTo>
                    <a:pt x="1428" y="3244"/>
                  </a:lnTo>
                  <a:lnTo>
                    <a:pt x="1423" y="3243"/>
                  </a:lnTo>
                  <a:lnTo>
                    <a:pt x="1421" y="3243"/>
                  </a:lnTo>
                  <a:lnTo>
                    <a:pt x="1419" y="3244"/>
                  </a:lnTo>
                  <a:lnTo>
                    <a:pt x="1418" y="3244"/>
                  </a:lnTo>
                  <a:lnTo>
                    <a:pt x="1414" y="3243"/>
                  </a:lnTo>
                  <a:lnTo>
                    <a:pt x="1416" y="3237"/>
                  </a:lnTo>
                  <a:lnTo>
                    <a:pt x="1411" y="3236"/>
                  </a:lnTo>
                  <a:lnTo>
                    <a:pt x="1423" y="3229"/>
                  </a:lnTo>
                  <a:lnTo>
                    <a:pt x="1429" y="3222"/>
                  </a:lnTo>
                  <a:lnTo>
                    <a:pt x="1436" y="3219"/>
                  </a:lnTo>
                  <a:lnTo>
                    <a:pt x="1438" y="3214"/>
                  </a:lnTo>
                  <a:lnTo>
                    <a:pt x="1438" y="3207"/>
                  </a:lnTo>
                  <a:lnTo>
                    <a:pt x="1441" y="3202"/>
                  </a:lnTo>
                  <a:lnTo>
                    <a:pt x="1448" y="3198"/>
                  </a:lnTo>
                  <a:lnTo>
                    <a:pt x="1453" y="3198"/>
                  </a:lnTo>
                  <a:lnTo>
                    <a:pt x="1457" y="3197"/>
                  </a:lnTo>
                  <a:lnTo>
                    <a:pt x="1465" y="3192"/>
                  </a:lnTo>
                  <a:lnTo>
                    <a:pt x="1467" y="3186"/>
                  </a:lnTo>
                  <a:lnTo>
                    <a:pt x="1470" y="3186"/>
                  </a:lnTo>
                  <a:lnTo>
                    <a:pt x="1470" y="3183"/>
                  </a:lnTo>
                  <a:lnTo>
                    <a:pt x="1472" y="3181"/>
                  </a:lnTo>
                  <a:lnTo>
                    <a:pt x="1480" y="3175"/>
                  </a:lnTo>
                  <a:lnTo>
                    <a:pt x="1485" y="3171"/>
                  </a:lnTo>
                  <a:lnTo>
                    <a:pt x="1489" y="3168"/>
                  </a:lnTo>
                  <a:lnTo>
                    <a:pt x="1491" y="3161"/>
                  </a:lnTo>
                  <a:lnTo>
                    <a:pt x="1496" y="3161"/>
                  </a:lnTo>
                  <a:lnTo>
                    <a:pt x="1497" y="3159"/>
                  </a:lnTo>
                  <a:lnTo>
                    <a:pt x="1501" y="3152"/>
                  </a:lnTo>
                  <a:lnTo>
                    <a:pt x="1502" y="3146"/>
                  </a:lnTo>
                  <a:lnTo>
                    <a:pt x="1508" y="3139"/>
                  </a:lnTo>
                  <a:lnTo>
                    <a:pt x="1523" y="3134"/>
                  </a:lnTo>
                  <a:lnTo>
                    <a:pt x="1525" y="3129"/>
                  </a:lnTo>
                  <a:lnTo>
                    <a:pt x="1523" y="3127"/>
                  </a:lnTo>
                  <a:lnTo>
                    <a:pt x="1525" y="3125"/>
                  </a:lnTo>
                  <a:lnTo>
                    <a:pt x="1535" y="3118"/>
                  </a:lnTo>
                  <a:lnTo>
                    <a:pt x="1535" y="3110"/>
                  </a:lnTo>
                  <a:lnTo>
                    <a:pt x="1538" y="3107"/>
                  </a:lnTo>
                  <a:lnTo>
                    <a:pt x="1545" y="3107"/>
                  </a:lnTo>
                  <a:lnTo>
                    <a:pt x="1552" y="3098"/>
                  </a:lnTo>
                  <a:lnTo>
                    <a:pt x="1557" y="3093"/>
                  </a:lnTo>
                  <a:lnTo>
                    <a:pt x="1562" y="3091"/>
                  </a:lnTo>
                  <a:lnTo>
                    <a:pt x="1562" y="3090"/>
                  </a:lnTo>
                  <a:lnTo>
                    <a:pt x="1560" y="3084"/>
                  </a:lnTo>
                  <a:lnTo>
                    <a:pt x="1562" y="3083"/>
                  </a:lnTo>
                  <a:lnTo>
                    <a:pt x="1574" y="3079"/>
                  </a:lnTo>
                  <a:lnTo>
                    <a:pt x="1572" y="3074"/>
                  </a:lnTo>
                  <a:lnTo>
                    <a:pt x="1576" y="3069"/>
                  </a:lnTo>
                  <a:lnTo>
                    <a:pt x="1586" y="3069"/>
                  </a:lnTo>
                  <a:lnTo>
                    <a:pt x="1587" y="3071"/>
                  </a:lnTo>
                  <a:lnTo>
                    <a:pt x="1589" y="3074"/>
                  </a:lnTo>
                  <a:lnTo>
                    <a:pt x="1591" y="3074"/>
                  </a:lnTo>
                  <a:lnTo>
                    <a:pt x="1594" y="3066"/>
                  </a:lnTo>
                  <a:lnTo>
                    <a:pt x="1587" y="3062"/>
                  </a:lnTo>
                  <a:lnTo>
                    <a:pt x="1584" y="3061"/>
                  </a:lnTo>
                  <a:lnTo>
                    <a:pt x="1584" y="3059"/>
                  </a:lnTo>
                  <a:lnTo>
                    <a:pt x="1591" y="3057"/>
                  </a:lnTo>
                  <a:lnTo>
                    <a:pt x="1598" y="3052"/>
                  </a:lnTo>
                  <a:lnTo>
                    <a:pt x="1599" y="3047"/>
                  </a:lnTo>
                  <a:lnTo>
                    <a:pt x="1603" y="3047"/>
                  </a:lnTo>
                  <a:lnTo>
                    <a:pt x="1601" y="3049"/>
                  </a:lnTo>
                  <a:lnTo>
                    <a:pt x="1604" y="3050"/>
                  </a:lnTo>
                  <a:lnTo>
                    <a:pt x="1611" y="3044"/>
                  </a:lnTo>
                  <a:lnTo>
                    <a:pt x="1615" y="3045"/>
                  </a:lnTo>
                  <a:lnTo>
                    <a:pt x="1618" y="3042"/>
                  </a:lnTo>
                  <a:lnTo>
                    <a:pt x="1621" y="3038"/>
                  </a:lnTo>
                  <a:lnTo>
                    <a:pt x="1621" y="3035"/>
                  </a:lnTo>
                  <a:lnTo>
                    <a:pt x="1625" y="3033"/>
                  </a:lnTo>
                  <a:lnTo>
                    <a:pt x="1627" y="3030"/>
                  </a:lnTo>
                  <a:lnTo>
                    <a:pt x="1632" y="3030"/>
                  </a:lnTo>
                  <a:lnTo>
                    <a:pt x="1638" y="3023"/>
                  </a:lnTo>
                  <a:lnTo>
                    <a:pt x="1640" y="3023"/>
                  </a:lnTo>
                  <a:lnTo>
                    <a:pt x="1644" y="3027"/>
                  </a:lnTo>
                  <a:lnTo>
                    <a:pt x="1645" y="3023"/>
                  </a:lnTo>
                  <a:lnTo>
                    <a:pt x="1649" y="3021"/>
                  </a:lnTo>
                  <a:lnTo>
                    <a:pt x="1654" y="3023"/>
                  </a:lnTo>
                  <a:lnTo>
                    <a:pt x="1654" y="3021"/>
                  </a:lnTo>
                  <a:lnTo>
                    <a:pt x="1649" y="3018"/>
                  </a:lnTo>
                  <a:lnTo>
                    <a:pt x="1649" y="3016"/>
                  </a:lnTo>
                  <a:lnTo>
                    <a:pt x="1652" y="3015"/>
                  </a:lnTo>
                  <a:lnTo>
                    <a:pt x="1655" y="3018"/>
                  </a:lnTo>
                  <a:lnTo>
                    <a:pt x="1657" y="3015"/>
                  </a:lnTo>
                  <a:lnTo>
                    <a:pt x="1662" y="3016"/>
                  </a:lnTo>
                  <a:lnTo>
                    <a:pt x="1666" y="3011"/>
                  </a:lnTo>
                  <a:lnTo>
                    <a:pt x="1666" y="3003"/>
                  </a:lnTo>
                  <a:lnTo>
                    <a:pt x="1671" y="3003"/>
                  </a:lnTo>
                  <a:lnTo>
                    <a:pt x="1674" y="2994"/>
                  </a:lnTo>
                  <a:lnTo>
                    <a:pt x="1676" y="2994"/>
                  </a:lnTo>
                  <a:lnTo>
                    <a:pt x="1678" y="2998"/>
                  </a:lnTo>
                  <a:lnTo>
                    <a:pt x="1681" y="2996"/>
                  </a:lnTo>
                  <a:lnTo>
                    <a:pt x="1686" y="2998"/>
                  </a:lnTo>
                  <a:lnTo>
                    <a:pt x="1686" y="2991"/>
                  </a:lnTo>
                  <a:lnTo>
                    <a:pt x="1691" y="2994"/>
                  </a:lnTo>
                  <a:lnTo>
                    <a:pt x="1696" y="2986"/>
                  </a:lnTo>
                  <a:lnTo>
                    <a:pt x="1700" y="2991"/>
                  </a:lnTo>
                  <a:lnTo>
                    <a:pt x="1701" y="2989"/>
                  </a:lnTo>
                  <a:lnTo>
                    <a:pt x="1708" y="2987"/>
                  </a:lnTo>
                  <a:lnTo>
                    <a:pt x="1705" y="2984"/>
                  </a:lnTo>
                  <a:lnTo>
                    <a:pt x="1712" y="2982"/>
                  </a:lnTo>
                  <a:lnTo>
                    <a:pt x="1715" y="2987"/>
                  </a:lnTo>
                  <a:lnTo>
                    <a:pt x="1717" y="2986"/>
                  </a:lnTo>
                  <a:lnTo>
                    <a:pt x="1717" y="2982"/>
                  </a:lnTo>
                  <a:lnTo>
                    <a:pt x="1722" y="2986"/>
                  </a:lnTo>
                  <a:lnTo>
                    <a:pt x="1725" y="2981"/>
                  </a:lnTo>
                  <a:lnTo>
                    <a:pt x="1729" y="2981"/>
                  </a:lnTo>
                  <a:lnTo>
                    <a:pt x="1734" y="2969"/>
                  </a:lnTo>
                  <a:lnTo>
                    <a:pt x="1734" y="2972"/>
                  </a:lnTo>
                  <a:lnTo>
                    <a:pt x="1740" y="2972"/>
                  </a:lnTo>
                  <a:lnTo>
                    <a:pt x="1744" y="2969"/>
                  </a:lnTo>
                  <a:lnTo>
                    <a:pt x="1746" y="2969"/>
                  </a:lnTo>
                  <a:lnTo>
                    <a:pt x="1747" y="2964"/>
                  </a:lnTo>
                  <a:lnTo>
                    <a:pt x="1752" y="2964"/>
                  </a:lnTo>
                  <a:lnTo>
                    <a:pt x="1754" y="2959"/>
                  </a:lnTo>
                  <a:lnTo>
                    <a:pt x="1757" y="2960"/>
                  </a:lnTo>
                  <a:lnTo>
                    <a:pt x="1761" y="2957"/>
                  </a:lnTo>
                  <a:lnTo>
                    <a:pt x="1764" y="2960"/>
                  </a:lnTo>
                  <a:lnTo>
                    <a:pt x="1764" y="2959"/>
                  </a:lnTo>
                  <a:lnTo>
                    <a:pt x="1768" y="2959"/>
                  </a:lnTo>
                  <a:lnTo>
                    <a:pt x="1764" y="2957"/>
                  </a:lnTo>
                  <a:lnTo>
                    <a:pt x="1766" y="2957"/>
                  </a:lnTo>
                  <a:lnTo>
                    <a:pt x="1766" y="2953"/>
                  </a:lnTo>
                  <a:lnTo>
                    <a:pt x="1769" y="2955"/>
                  </a:lnTo>
                  <a:lnTo>
                    <a:pt x="1766" y="2952"/>
                  </a:lnTo>
                  <a:lnTo>
                    <a:pt x="1768" y="2952"/>
                  </a:lnTo>
                  <a:lnTo>
                    <a:pt x="1769" y="2952"/>
                  </a:lnTo>
                  <a:lnTo>
                    <a:pt x="1768" y="2950"/>
                  </a:lnTo>
                  <a:lnTo>
                    <a:pt x="1768" y="2948"/>
                  </a:lnTo>
                  <a:lnTo>
                    <a:pt x="1771" y="2952"/>
                  </a:lnTo>
                  <a:lnTo>
                    <a:pt x="1769" y="2947"/>
                  </a:lnTo>
                  <a:lnTo>
                    <a:pt x="1771" y="2948"/>
                  </a:lnTo>
                  <a:lnTo>
                    <a:pt x="1773" y="2948"/>
                  </a:lnTo>
                  <a:lnTo>
                    <a:pt x="1771" y="2945"/>
                  </a:lnTo>
                  <a:lnTo>
                    <a:pt x="1773" y="2947"/>
                  </a:lnTo>
                  <a:lnTo>
                    <a:pt x="1774" y="2945"/>
                  </a:lnTo>
                  <a:lnTo>
                    <a:pt x="1773" y="2945"/>
                  </a:lnTo>
                  <a:lnTo>
                    <a:pt x="1774" y="2943"/>
                  </a:lnTo>
                  <a:lnTo>
                    <a:pt x="1773" y="2943"/>
                  </a:lnTo>
                  <a:lnTo>
                    <a:pt x="1774" y="2942"/>
                  </a:lnTo>
                  <a:lnTo>
                    <a:pt x="1776" y="2942"/>
                  </a:lnTo>
                  <a:lnTo>
                    <a:pt x="1776" y="2938"/>
                  </a:lnTo>
                  <a:lnTo>
                    <a:pt x="1780" y="2940"/>
                  </a:lnTo>
                  <a:lnTo>
                    <a:pt x="1778" y="2938"/>
                  </a:lnTo>
                  <a:lnTo>
                    <a:pt x="1780" y="2935"/>
                  </a:lnTo>
                  <a:lnTo>
                    <a:pt x="1778" y="2935"/>
                  </a:lnTo>
                  <a:lnTo>
                    <a:pt x="1780" y="2933"/>
                  </a:lnTo>
                  <a:lnTo>
                    <a:pt x="1778" y="2933"/>
                  </a:lnTo>
                  <a:lnTo>
                    <a:pt x="1781" y="2931"/>
                  </a:lnTo>
                  <a:lnTo>
                    <a:pt x="1780" y="2931"/>
                  </a:lnTo>
                  <a:lnTo>
                    <a:pt x="1778" y="2931"/>
                  </a:lnTo>
                  <a:lnTo>
                    <a:pt x="1776" y="2928"/>
                  </a:lnTo>
                  <a:lnTo>
                    <a:pt x="1778" y="2928"/>
                  </a:lnTo>
                  <a:lnTo>
                    <a:pt x="1778" y="2926"/>
                  </a:lnTo>
                  <a:lnTo>
                    <a:pt x="1776" y="2924"/>
                  </a:lnTo>
                  <a:lnTo>
                    <a:pt x="1778" y="2924"/>
                  </a:lnTo>
                  <a:lnTo>
                    <a:pt x="1774" y="2923"/>
                  </a:lnTo>
                  <a:lnTo>
                    <a:pt x="1776" y="2923"/>
                  </a:lnTo>
                  <a:lnTo>
                    <a:pt x="1774" y="2921"/>
                  </a:lnTo>
                  <a:lnTo>
                    <a:pt x="1773" y="2919"/>
                  </a:lnTo>
                  <a:lnTo>
                    <a:pt x="1773" y="2918"/>
                  </a:lnTo>
                  <a:lnTo>
                    <a:pt x="1774" y="2919"/>
                  </a:lnTo>
                  <a:lnTo>
                    <a:pt x="1774" y="2916"/>
                  </a:lnTo>
                  <a:lnTo>
                    <a:pt x="1776" y="2916"/>
                  </a:lnTo>
                  <a:lnTo>
                    <a:pt x="1776" y="2913"/>
                  </a:lnTo>
                  <a:lnTo>
                    <a:pt x="1776" y="2914"/>
                  </a:lnTo>
                  <a:lnTo>
                    <a:pt x="1773" y="2913"/>
                  </a:lnTo>
                  <a:lnTo>
                    <a:pt x="1774" y="2913"/>
                  </a:lnTo>
                  <a:lnTo>
                    <a:pt x="1776" y="2907"/>
                  </a:lnTo>
                  <a:lnTo>
                    <a:pt x="1778" y="2904"/>
                  </a:lnTo>
                  <a:lnTo>
                    <a:pt x="1776" y="2906"/>
                  </a:lnTo>
                  <a:lnTo>
                    <a:pt x="1776" y="2904"/>
                  </a:lnTo>
                  <a:lnTo>
                    <a:pt x="1778" y="2902"/>
                  </a:lnTo>
                  <a:lnTo>
                    <a:pt x="1776" y="2899"/>
                  </a:lnTo>
                  <a:lnTo>
                    <a:pt x="1780" y="2901"/>
                  </a:lnTo>
                  <a:lnTo>
                    <a:pt x="1780" y="2899"/>
                  </a:lnTo>
                  <a:lnTo>
                    <a:pt x="1780" y="2897"/>
                  </a:lnTo>
                  <a:lnTo>
                    <a:pt x="1778" y="2897"/>
                  </a:lnTo>
                  <a:lnTo>
                    <a:pt x="1780" y="2897"/>
                  </a:lnTo>
                  <a:lnTo>
                    <a:pt x="1780" y="2894"/>
                  </a:lnTo>
                  <a:lnTo>
                    <a:pt x="1781" y="2894"/>
                  </a:lnTo>
                  <a:lnTo>
                    <a:pt x="1781" y="2892"/>
                  </a:lnTo>
                  <a:lnTo>
                    <a:pt x="1780" y="2889"/>
                  </a:lnTo>
                  <a:lnTo>
                    <a:pt x="1786" y="2880"/>
                  </a:lnTo>
                  <a:lnTo>
                    <a:pt x="1786" y="2877"/>
                  </a:lnTo>
                  <a:lnTo>
                    <a:pt x="1786" y="2872"/>
                  </a:lnTo>
                  <a:lnTo>
                    <a:pt x="1778" y="2865"/>
                  </a:lnTo>
                  <a:lnTo>
                    <a:pt x="1780" y="2858"/>
                  </a:lnTo>
                  <a:lnTo>
                    <a:pt x="1776" y="2856"/>
                  </a:lnTo>
                  <a:lnTo>
                    <a:pt x="1773" y="2853"/>
                  </a:lnTo>
                  <a:lnTo>
                    <a:pt x="1771" y="2853"/>
                  </a:lnTo>
                  <a:lnTo>
                    <a:pt x="1773" y="2851"/>
                  </a:lnTo>
                  <a:lnTo>
                    <a:pt x="1769" y="2851"/>
                  </a:lnTo>
                  <a:lnTo>
                    <a:pt x="1769" y="2848"/>
                  </a:lnTo>
                  <a:lnTo>
                    <a:pt x="1771" y="2846"/>
                  </a:lnTo>
                  <a:lnTo>
                    <a:pt x="1773" y="2846"/>
                  </a:lnTo>
                  <a:lnTo>
                    <a:pt x="1771" y="2846"/>
                  </a:lnTo>
                  <a:lnTo>
                    <a:pt x="1773" y="2845"/>
                  </a:lnTo>
                  <a:lnTo>
                    <a:pt x="1769" y="2843"/>
                  </a:lnTo>
                  <a:lnTo>
                    <a:pt x="1773" y="2841"/>
                  </a:lnTo>
                  <a:lnTo>
                    <a:pt x="1769" y="2839"/>
                  </a:lnTo>
                  <a:lnTo>
                    <a:pt x="1771" y="2836"/>
                  </a:lnTo>
                  <a:lnTo>
                    <a:pt x="1773" y="2838"/>
                  </a:lnTo>
                  <a:lnTo>
                    <a:pt x="1773" y="2834"/>
                  </a:lnTo>
                  <a:lnTo>
                    <a:pt x="1771" y="2834"/>
                  </a:lnTo>
                  <a:lnTo>
                    <a:pt x="1769" y="2833"/>
                  </a:lnTo>
                  <a:lnTo>
                    <a:pt x="1771" y="2831"/>
                  </a:lnTo>
                  <a:lnTo>
                    <a:pt x="1769" y="2831"/>
                  </a:lnTo>
                  <a:lnTo>
                    <a:pt x="1769" y="2828"/>
                  </a:lnTo>
                  <a:lnTo>
                    <a:pt x="1768" y="2828"/>
                  </a:lnTo>
                  <a:lnTo>
                    <a:pt x="1769" y="2828"/>
                  </a:lnTo>
                  <a:lnTo>
                    <a:pt x="1768" y="2826"/>
                  </a:lnTo>
                  <a:lnTo>
                    <a:pt x="1771" y="2828"/>
                  </a:lnTo>
                  <a:lnTo>
                    <a:pt x="1769" y="2826"/>
                  </a:lnTo>
                  <a:lnTo>
                    <a:pt x="1771" y="2826"/>
                  </a:lnTo>
                  <a:lnTo>
                    <a:pt x="1769" y="2822"/>
                  </a:lnTo>
                  <a:lnTo>
                    <a:pt x="1768" y="2822"/>
                  </a:lnTo>
                  <a:lnTo>
                    <a:pt x="1768" y="2821"/>
                  </a:lnTo>
                  <a:lnTo>
                    <a:pt x="1766" y="2821"/>
                  </a:lnTo>
                  <a:lnTo>
                    <a:pt x="1768" y="2819"/>
                  </a:lnTo>
                  <a:lnTo>
                    <a:pt x="1766" y="2821"/>
                  </a:lnTo>
                  <a:lnTo>
                    <a:pt x="1764" y="2819"/>
                  </a:lnTo>
                  <a:lnTo>
                    <a:pt x="1763" y="2817"/>
                  </a:lnTo>
                  <a:lnTo>
                    <a:pt x="1761" y="2821"/>
                  </a:lnTo>
                  <a:lnTo>
                    <a:pt x="1761" y="2819"/>
                  </a:lnTo>
                  <a:lnTo>
                    <a:pt x="1759" y="2819"/>
                  </a:lnTo>
                  <a:lnTo>
                    <a:pt x="1761" y="2817"/>
                  </a:lnTo>
                  <a:lnTo>
                    <a:pt x="1757" y="2814"/>
                  </a:lnTo>
                  <a:lnTo>
                    <a:pt x="1754" y="2816"/>
                  </a:lnTo>
                  <a:lnTo>
                    <a:pt x="1751" y="2814"/>
                  </a:lnTo>
                  <a:lnTo>
                    <a:pt x="1749" y="2819"/>
                  </a:lnTo>
                  <a:lnTo>
                    <a:pt x="1747" y="2814"/>
                  </a:lnTo>
                  <a:lnTo>
                    <a:pt x="1749" y="2809"/>
                  </a:lnTo>
                  <a:lnTo>
                    <a:pt x="1749" y="2807"/>
                  </a:lnTo>
                  <a:lnTo>
                    <a:pt x="1744" y="2812"/>
                  </a:lnTo>
                  <a:lnTo>
                    <a:pt x="1740" y="2812"/>
                  </a:lnTo>
                  <a:lnTo>
                    <a:pt x="1739" y="2814"/>
                  </a:lnTo>
                  <a:lnTo>
                    <a:pt x="1742" y="2816"/>
                  </a:lnTo>
                  <a:lnTo>
                    <a:pt x="1737" y="2814"/>
                  </a:lnTo>
                  <a:lnTo>
                    <a:pt x="1737" y="2817"/>
                  </a:lnTo>
                  <a:lnTo>
                    <a:pt x="1735" y="2817"/>
                  </a:lnTo>
                  <a:lnTo>
                    <a:pt x="1732" y="2812"/>
                  </a:lnTo>
                  <a:lnTo>
                    <a:pt x="1729" y="2814"/>
                  </a:lnTo>
                  <a:lnTo>
                    <a:pt x="1727" y="2817"/>
                  </a:lnTo>
                  <a:lnTo>
                    <a:pt x="1723" y="2817"/>
                  </a:lnTo>
                  <a:lnTo>
                    <a:pt x="1723" y="2821"/>
                  </a:lnTo>
                  <a:lnTo>
                    <a:pt x="1720" y="2822"/>
                  </a:lnTo>
                  <a:lnTo>
                    <a:pt x="1718" y="2826"/>
                  </a:lnTo>
                  <a:lnTo>
                    <a:pt x="1717" y="2822"/>
                  </a:lnTo>
                  <a:lnTo>
                    <a:pt x="1713" y="2819"/>
                  </a:lnTo>
                  <a:lnTo>
                    <a:pt x="1710" y="2819"/>
                  </a:lnTo>
                  <a:lnTo>
                    <a:pt x="1708" y="2816"/>
                  </a:lnTo>
                  <a:lnTo>
                    <a:pt x="1705" y="2816"/>
                  </a:lnTo>
                  <a:lnTo>
                    <a:pt x="1705" y="2807"/>
                  </a:lnTo>
                  <a:lnTo>
                    <a:pt x="1703" y="2804"/>
                  </a:lnTo>
                  <a:lnTo>
                    <a:pt x="1706" y="2797"/>
                  </a:lnTo>
                  <a:lnTo>
                    <a:pt x="1715" y="2790"/>
                  </a:lnTo>
                  <a:lnTo>
                    <a:pt x="1718" y="2780"/>
                  </a:lnTo>
                  <a:lnTo>
                    <a:pt x="1722" y="2777"/>
                  </a:lnTo>
                  <a:lnTo>
                    <a:pt x="1720" y="2771"/>
                  </a:lnTo>
                  <a:lnTo>
                    <a:pt x="1720" y="2766"/>
                  </a:lnTo>
                  <a:lnTo>
                    <a:pt x="1722" y="2756"/>
                  </a:lnTo>
                  <a:lnTo>
                    <a:pt x="1727" y="2742"/>
                  </a:lnTo>
                  <a:lnTo>
                    <a:pt x="1734" y="2732"/>
                  </a:lnTo>
                  <a:lnTo>
                    <a:pt x="1734" y="2724"/>
                  </a:lnTo>
                  <a:lnTo>
                    <a:pt x="1734" y="2717"/>
                  </a:lnTo>
                  <a:lnTo>
                    <a:pt x="1740" y="2705"/>
                  </a:lnTo>
                  <a:lnTo>
                    <a:pt x="1739" y="2698"/>
                  </a:lnTo>
                  <a:lnTo>
                    <a:pt x="1735" y="2693"/>
                  </a:lnTo>
                  <a:lnTo>
                    <a:pt x="1734" y="2685"/>
                  </a:lnTo>
                  <a:lnTo>
                    <a:pt x="1735" y="2681"/>
                  </a:lnTo>
                  <a:lnTo>
                    <a:pt x="1740" y="2678"/>
                  </a:lnTo>
                  <a:lnTo>
                    <a:pt x="1737" y="2671"/>
                  </a:lnTo>
                  <a:lnTo>
                    <a:pt x="1734" y="2671"/>
                  </a:lnTo>
                  <a:lnTo>
                    <a:pt x="1729" y="2668"/>
                  </a:lnTo>
                  <a:lnTo>
                    <a:pt x="1727" y="2663"/>
                  </a:lnTo>
                  <a:lnTo>
                    <a:pt x="1723" y="2661"/>
                  </a:lnTo>
                  <a:lnTo>
                    <a:pt x="1722" y="2659"/>
                  </a:lnTo>
                  <a:lnTo>
                    <a:pt x="1717" y="2659"/>
                  </a:lnTo>
                  <a:lnTo>
                    <a:pt x="1717" y="2657"/>
                  </a:lnTo>
                  <a:lnTo>
                    <a:pt x="1715" y="2656"/>
                  </a:lnTo>
                  <a:lnTo>
                    <a:pt x="1712" y="2657"/>
                  </a:lnTo>
                  <a:lnTo>
                    <a:pt x="1712" y="2656"/>
                  </a:lnTo>
                  <a:lnTo>
                    <a:pt x="1708" y="2656"/>
                  </a:lnTo>
                  <a:lnTo>
                    <a:pt x="1706" y="2654"/>
                  </a:lnTo>
                  <a:lnTo>
                    <a:pt x="1703" y="2659"/>
                  </a:lnTo>
                  <a:lnTo>
                    <a:pt x="1700" y="2659"/>
                  </a:lnTo>
                  <a:lnTo>
                    <a:pt x="1698" y="2657"/>
                  </a:lnTo>
                  <a:lnTo>
                    <a:pt x="1693" y="2661"/>
                  </a:lnTo>
                  <a:lnTo>
                    <a:pt x="1691" y="2661"/>
                  </a:lnTo>
                  <a:lnTo>
                    <a:pt x="1689" y="2663"/>
                  </a:lnTo>
                  <a:lnTo>
                    <a:pt x="1686" y="2663"/>
                  </a:lnTo>
                  <a:lnTo>
                    <a:pt x="1683" y="2664"/>
                  </a:lnTo>
                  <a:lnTo>
                    <a:pt x="1683" y="2668"/>
                  </a:lnTo>
                  <a:lnTo>
                    <a:pt x="1678" y="2668"/>
                  </a:lnTo>
                  <a:lnTo>
                    <a:pt x="1671" y="2671"/>
                  </a:lnTo>
                  <a:lnTo>
                    <a:pt x="1667" y="2668"/>
                  </a:lnTo>
                  <a:lnTo>
                    <a:pt x="1664" y="2669"/>
                  </a:lnTo>
                  <a:lnTo>
                    <a:pt x="1659" y="2669"/>
                  </a:lnTo>
                  <a:lnTo>
                    <a:pt x="1655" y="2673"/>
                  </a:lnTo>
                  <a:lnTo>
                    <a:pt x="1649" y="2668"/>
                  </a:lnTo>
                  <a:lnTo>
                    <a:pt x="1645" y="2671"/>
                  </a:lnTo>
                  <a:lnTo>
                    <a:pt x="1640" y="2668"/>
                  </a:lnTo>
                  <a:lnTo>
                    <a:pt x="1638" y="2664"/>
                  </a:lnTo>
                  <a:lnTo>
                    <a:pt x="1637" y="2664"/>
                  </a:lnTo>
                  <a:lnTo>
                    <a:pt x="1638" y="2659"/>
                  </a:lnTo>
                  <a:lnTo>
                    <a:pt x="1637" y="2654"/>
                  </a:lnTo>
                  <a:lnTo>
                    <a:pt x="1638" y="2652"/>
                  </a:lnTo>
                  <a:lnTo>
                    <a:pt x="1637" y="2649"/>
                  </a:lnTo>
                  <a:lnTo>
                    <a:pt x="1638" y="2646"/>
                  </a:lnTo>
                  <a:lnTo>
                    <a:pt x="1637" y="2646"/>
                  </a:lnTo>
                  <a:lnTo>
                    <a:pt x="1635" y="2639"/>
                  </a:lnTo>
                  <a:lnTo>
                    <a:pt x="1630" y="2637"/>
                  </a:lnTo>
                  <a:lnTo>
                    <a:pt x="1632" y="2632"/>
                  </a:lnTo>
                  <a:lnTo>
                    <a:pt x="1628" y="2623"/>
                  </a:lnTo>
                  <a:lnTo>
                    <a:pt x="1630" y="2623"/>
                  </a:lnTo>
                  <a:lnTo>
                    <a:pt x="1630" y="2620"/>
                  </a:lnTo>
                  <a:lnTo>
                    <a:pt x="1635" y="2615"/>
                  </a:lnTo>
                  <a:lnTo>
                    <a:pt x="1630" y="2608"/>
                  </a:lnTo>
                  <a:lnTo>
                    <a:pt x="1630" y="2605"/>
                  </a:lnTo>
                  <a:lnTo>
                    <a:pt x="1633" y="2603"/>
                  </a:lnTo>
                  <a:lnTo>
                    <a:pt x="1632" y="2603"/>
                  </a:lnTo>
                  <a:lnTo>
                    <a:pt x="1632" y="2600"/>
                  </a:lnTo>
                  <a:lnTo>
                    <a:pt x="1633" y="2598"/>
                  </a:lnTo>
                  <a:lnTo>
                    <a:pt x="1632" y="2596"/>
                  </a:lnTo>
                  <a:lnTo>
                    <a:pt x="1632" y="2594"/>
                  </a:lnTo>
                  <a:lnTo>
                    <a:pt x="1630" y="2593"/>
                  </a:lnTo>
                  <a:lnTo>
                    <a:pt x="1627" y="2593"/>
                  </a:lnTo>
                  <a:lnTo>
                    <a:pt x="1627" y="2584"/>
                  </a:lnTo>
                  <a:lnTo>
                    <a:pt x="1623" y="2583"/>
                  </a:lnTo>
                  <a:lnTo>
                    <a:pt x="1625" y="2579"/>
                  </a:lnTo>
                  <a:lnTo>
                    <a:pt x="1623" y="2576"/>
                  </a:lnTo>
                  <a:lnTo>
                    <a:pt x="1623" y="2569"/>
                  </a:lnTo>
                  <a:lnTo>
                    <a:pt x="1623" y="2560"/>
                  </a:lnTo>
                  <a:lnTo>
                    <a:pt x="1627" y="2555"/>
                  </a:lnTo>
                  <a:lnTo>
                    <a:pt x="1627" y="2547"/>
                  </a:lnTo>
                  <a:lnTo>
                    <a:pt x="1618" y="2538"/>
                  </a:lnTo>
                  <a:lnTo>
                    <a:pt x="1616" y="2533"/>
                  </a:lnTo>
                  <a:lnTo>
                    <a:pt x="1618" y="2528"/>
                  </a:lnTo>
                  <a:lnTo>
                    <a:pt x="1616" y="2523"/>
                  </a:lnTo>
                  <a:lnTo>
                    <a:pt x="1613" y="2523"/>
                  </a:lnTo>
                  <a:lnTo>
                    <a:pt x="1608" y="2515"/>
                  </a:lnTo>
                  <a:lnTo>
                    <a:pt x="1601" y="2515"/>
                  </a:lnTo>
                  <a:lnTo>
                    <a:pt x="1598" y="2515"/>
                  </a:lnTo>
                  <a:lnTo>
                    <a:pt x="1596" y="2515"/>
                  </a:lnTo>
                  <a:lnTo>
                    <a:pt x="1594" y="2516"/>
                  </a:lnTo>
                  <a:lnTo>
                    <a:pt x="1589" y="2515"/>
                  </a:lnTo>
                  <a:lnTo>
                    <a:pt x="1586" y="2515"/>
                  </a:lnTo>
                  <a:lnTo>
                    <a:pt x="1584" y="2513"/>
                  </a:lnTo>
                  <a:lnTo>
                    <a:pt x="1581" y="2515"/>
                  </a:lnTo>
                  <a:lnTo>
                    <a:pt x="1577" y="2513"/>
                  </a:lnTo>
                  <a:lnTo>
                    <a:pt x="1576" y="2515"/>
                  </a:lnTo>
                  <a:lnTo>
                    <a:pt x="1574" y="2509"/>
                  </a:lnTo>
                  <a:lnTo>
                    <a:pt x="1567" y="2508"/>
                  </a:lnTo>
                  <a:lnTo>
                    <a:pt x="1562" y="2504"/>
                  </a:lnTo>
                  <a:lnTo>
                    <a:pt x="1560" y="2496"/>
                  </a:lnTo>
                  <a:lnTo>
                    <a:pt x="1550" y="2498"/>
                  </a:lnTo>
                  <a:lnTo>
                    <a:pt x="1548" y="2499"/>
                  </a:lnTo>
                  <a:lnTo>
                    <a:pt x="1548" y="2501"/>
                  </a:lnTo>
                  <a:lnTo>
                    <a:pt x="1545" y="2504"/>
                  </a:lnTo>
                  <a:lnTo>
                    <a:pt x="1545" y="2506"/>
                  </a:lnTo>
                  <a:lnTo>
                    <a:pt x="1542" y="2508"/>
                  </a:lnTo>
                  <a:lnTo>
                    <a:pt x="1538" y="2511"/>
                  </a:lnTo>
                  <a:lnTo>
                    <a:pt x="1538" y="2513"/>
                  </a:lnTo>
                  <a:lnTo>
                    <a:pt x="1535" y="2511"/>
                  </a:lnTo>
                  <a:lnTo>
                    <a:pt x="1533" y="2509"/>
                  </a:lnTo>
                  <a:lnTo>
                    <a:pt x="1531" y="2508"/>
                  </a:lnTo>
                  <a:lnTo>
                    <a:pt x="1533" y="2509"/>
                  </a:lnTo>
                  <a:lnTo>
                    <a:pt x="1530" y="2513"/>
                  </a:lnTo>
                  <a:lnTo>
                    <a:pt x="1528" y="2509"/>
                  </a:lnTo>
                  <a:lnTo>
                    <a:pt x="1525" y="2513"/>
                  </a:lnTo>
                  <a:lnTo>
                    <a:pt x="1525" y="2511"/>
                  </a:lnTo>
                  <a:lnTo>
                    <a:pt x="1523" y="2513"/>
                  </a:lnTo>
                  <a:lnTo>
                    <a:pt x="1523" y="2515"/>
                  </a:lnTo>
                  <a:lnTo>
                    <a:pt x="1519" y="2516"/>
                  </a:lnTo>
                  <a:lnTo>
                    <a:pt x="1516" y="2515"/>
                  </a:lnTo>
                  <a:lnTo>
                    <a:pt x="1516" y="2511"/>
                  </a:lnTo>
                  <a:lnTo>
                    <a:pt x="1514" y="2513"/>
                  </a:lnTo>
                  <a:lnTo>
                    <a:pt x="1511" y="2511"/>
                  </a:lnTo>
                  <a:lnTo>
                    <a:pt x="1509" y="2513"/>
                  </a:lnTo>
                  <a:lnTo>
                    <a:pt x="1509" y="2511"/>
                  </a:lnTo>
                  <a:lnTo>
                    <a:pt x="1506" y="2511"/>
                  </a:lnTo>
                  <a:lnTo>
                    <a:pt x="1506" y="2509"/>
                  </a:lnTo>
                  <a:lnTo>
                    <a:pt x="1501" y="2511"/>
                  </a:lnTo>
                  <a:lnTo>
                    <a:pt x="1501" y="2509"/>
                  </a:lnTo>
                  <a:lnTo>
                    <a:pt x="1499" y="2511"/>
                  </a:lnTo>
                  <a:lnTo>
                    <a:pt x="1497" y="2511"/>
                  </a:lnTo>
                  <a:lnTo>
                    <a:pt x="1496" y="2511"/>
                  </a:lnTo>
                  <a:lnTo>
                    <a:pt x="1496" y="2509"/>
                  </a:lnTo>
                  <a:lnTo>
                    <a:pt x="1489" y="2509"/>
                  </a:lnTo>
                  <a:lnTo>
                    <a:pt x="1487" y="2508"/>
                  </a:lnTo>
                  <a:lnTo>
                    <a:pt x="1484" y="2511"/>
                  </a:lnTo>
                  <a:lnTo>
                    <a:pt x="1479" y="2508"/>
                  </a:lnTo>
                  <a:lnTo>
                    <a:pt x="1477" y="2511"/>
                  </a:lnTo>
                  <a:lnTo>
                    <a:pt x="1475" y="2509"/>
                  </a:lnTo>
                  <a:lnTo>
                    <a:pt x="1472" y="2509"/>
                  </a:lnTo>
                  <a:lnTo>
                    <a:pt x="1472" y="2508"/>
                  </a:lnTo>
                  <a:lnTo>
                    <a:pt x="1468" y="2506"/>
                  </a:lnTo>
                  <a:lnTo>
                    <a:pt x="1462" y="2506"/>
                  </a:lnTo>
                  <a:lnTo>
                    <a:pt x="1458" y="2504"/>
                  </a:lnTo>
                  <a:lnTo>
                    <a:pt x="1457" y="2504"/>
                  </a:lnTo>
                  <a:lnTo>
                    <a:pt x="1453" y="2504"/>
                  </a:lnTo>
                  <a:lnTo>
                    <a:pt x="1453" y="2501"/>
                  </a:lnTo>
                  <a:lnTo>
                    <a:pt x="1451" y="2499"/>
                  </a:lnTo>
                  <a:lnTo>
                    <a:pt x="1451" y="2498"/>
                  </a:lnTo>
                  <a:lnTo>
                    <a:pt x="1446" y="2498"/>
                  </a:lnTo>
                  <a:lnTo>
                    <a:pt x="1443" y="2498"/>
                  </a:lnTo>
                  <a:lnTo>
                    <a:pt x="1441" y="2499"/>
                  </a:lnTo>
                  <a:lnTo>
                    <a:pt x="1440" y="2498"/>
                  </a:lnTo>
                  <a:lnTo>
                    <a:pt x="1440" y="2501"/>
                  </a:lnTo>
                  <a:lnTo>
                    <a:pt x="1436" y="2499"/>
                  </a:lnTo>
                  <a:lnTo>
                    <a:pt x="1433" y="2503"/>
                  </a:lnTo>
                  <a:lnTo>
                    <a:pt x="1431" y="2499"/>
                  </a:lnTo>
                  <a:lnTo>
                    <a:pt x="1428" y="2501"/>
                  </a:lnTo>
                  <a:lnTo>
                    <a:pt x="1423" y="2499"/>
                  </a:lnTo>
                  <a:lnTo>
                    <a:pt x="1421" y="2496"/>
                  </a:lnTo>
                  <a:lnTo>
                    <a:pt x="1418" y="2496"/>
                  </a:lnTo>
                  <a:lnTo>
                    <a:pt x="1418" y="2494"/>
                  </a:lnTo>
                  <a:lnTo>
                    <a:pt x="1416" y="2492"/>
                  </a:lnTo>
                  <a:lnTo>
                    <a:pt x="1419" y="2489"/>
                  </a:lnTo>
                  <a:lnTo>
                    <a:pt x="1423" y="2482"/>
                  </a:lnTo>
                  <a:lnTo>
                    <a:pt x="1421" y="2481"/>
                  </a:lnTo>
                  <a:lnTo>
                    <a:pt x="1424" y="2477"/>
                  </a:lnTo>
                  <a:lnTo>
                    <a:pt x="1419" y="2475"/>
                  </a:lnTo>
                  <a:lnTo>
                    <a:pt x="1423" y="2474"/>
                  </a:lnTo>
                  <a:lnTo>
                    <a:pt x="1426" y="2469"/>
                  </a:lnTo>
                  <a:lnTo>
                    <a:pt x="1423" y="2465"/>
                  </a:lnTo>
                  <a:lnTo>
                    <a:pt x="1428" y="2460"/>
                  </a:lnTo>
                  <a:lnTo>
                    <a:pt x="1424" y="2457"/>
                  </a:lnTo>
                  <a:lnTo>
                    <a:pt x="1423" y="2453"/>
                  </a:lnTo>
                  <a:lnTo>
                    <a:pt x="1426" y="2452"/>
                  </a:lnTo>
                  <a:lnTo>
                    <a:pt x="1423" y="2448"/>
                  </a:lnTo>
                  <a:lnTo>
                    <a:pt x="1421" y="2445"/>
                  </a:lnTo>
                  <a:lnTo>
                    <a:pt x="1424" y="2440"/>
                  </a:lnTo>
                  <a:lnTo>
                    <a:pt x="1428" y="2435"/>
                  </a:lnTo>
                  <a:lnTo>
                    <a:pt x="1433" y="2428"/>
                  </a:lnTo>
                  <a:lnTo>
                    <a:pt x="1433" y="2426"/>
                  </a:lnTo>
                  <a:lnTo>
                    <a:pt x="1428" y="2426"/>
                  </a:lnTo>
                  <a:lnTo>
                    <a:pt x="1426" y="2423"/>
                  </a:lnTo>
                  <a:lnTo>
                    <a:pt x="1433" y="2418"/>
                  </a:lnTo>
                  <a:lnTo>
                    <a:pt x="1433" y="2411"/>
                  </a:lnTo>
                  <a:lnTo>
                    <a:pt x="1435" y="2406"/>
                  </a:lnTo>
                  <a:lnTo>
                    <a:pt x="1433" y="2401"/>
                  </a:lnTo>
                  <a:lnTo>
                    <a:pt x="1436" y="2395"/>
                  </a:lnTo>
                  <a:lnTo>
                    <a:pt x="1436" y="2392"/>
                  </a:lnTo>
                  <a:lnTo>
                    <a:pt x="1433" y="2392"/>
                  </a:lnTo>
                  <a:lnTo>
                    <a:pt x="1431" y="2389"/>
                  </a:lnTo>
                  <a:lnTo>
                    <a:pt x="1428" y="2389"/>
                  </a:lnTo>
                  <a:lnTo>
                    <a:pt x="1433" y="2384"/>
                  </a:lnTo>
                  <a:lnTo>
                    <a:pt x="1435" y="2382"/>
                  </a:lnTo>
                  <a:lnTo>
                    <a:pt x="1431" y="2378"/>
                  </a:lnTo>
                  <a:lnTo>
                    <a:pt x="1424" y="2378"/>
                  </a:lnTo>
                  <a:lnTo>
                    <a:pt x="1428" y="2373"/>
                  </a:lnTo>
                  <a:lnTo>
                    <a:pt x="1435" y="2373"/>
                  </a:lnTo>
                  <a:lnTo>
                    <a:pt x="1429" y="2367"/>
                  </a:lnTo>
                  <a:lnTo>
                    <a:pt x="1428" y="2367"/>
                  </a:lnTo>
                  <a:lnTo>
                    <a:pt x="1426" y="2370"/>
                  </a:lnTo>
                  <a:lnTo>
                    <a:pt x="1423" y="2370"/>
                  </a:lnTo>
                  <a:lnTo>
                    <a:pt x="1424" y="2365"/>
                  </a:lnTo>
                  <a:lnTo>
                    <a:pt x="1421" y="2361"/>
                  </a:lnTo>
                  <a:lnTo>
                    <a:pt x="1423" y="2358"/>
                  </a:lnTo>
                  <a:lnTo>
                    <a:pt x="1421" y="2353"/>
                  </a:lnTo>
                  <a:lnTo>
                    <a:pt x="1423" y="2346"/>
                  </a:lnTo>
                  <a:lnTo>
                    <a:pt x="1421" y="2343"/>
                  </a:lnTo>
                  <a:lnTo>
                    <a:pt x="1416" y="2341"/>
                  </a:lnTo>
                  <a:lnTo>
                    <a:pt x="1416" y="2339"/>
                  </a:lnTo>
                  <a:lnTo>
                    <a:pt x="1414" y="2336"/>
                  </a:lnTo>
                  <a:lnTo>
                    <a:pt x="1414" y="2329"/>
                  </a:lnTo>
                  <a:lnTo>
                    <a:pt x="1412" y="2329"/>
                  </a:lnTo>
                  <a:lnTo>
                    <a:pt x="1411" y="2331"/>
                  </a:lnTo>
                  <a:lnTo>
                    <a:pt x="1409" y="2329"/>
                  </a:lnTo>
                  <a:lnTo>
                    <a:pt x="1409" y="2327"/>
                  </a:lnTo>
                  <a:lnTo>
                    <a:pt x="1412" y="2324"/>
                  </a:lnTo>
                  <a:lnTo>
                    <a:pt x="1409" y="2321"/>
                  </a:lnTo>
                  <a:lnTo>
                    <a:pt x="1412" y="2319"/>
                  </a:lnTo>
                  <a:lnTo>
                    <a:pt x="1416" y="2316"/>
                  </a:lnTo>
                  <a:lnTo>
                    <a:pt x="1419" y="2316"/>
                  </a:lnTo>
                  <a:lnTo>
                    <a:pt x="1421" y="2312"/>
                  </a:lnTo>
                  <a:lnTo>
                    <a:pt x="1426" y="2312"/>
                  </a:lnTo>
                  <a:lnTo>
                    <a:pt x="1428" y="2309"/>
                  </a:lnTo>
                  <a:lnTo>
                    <a:pt x="1429" y="2309"/>
                  </a:lnTo>
                  <a:lnTo>
                    <a:pt x="1433" y="2310"/>
                  </a:lnTo>
                  <a:lnTo>
                    <a:pt x="1436" y="2304"/>
                  </a:lnTo>
                  <a:lnTo>
                    <a:pt x="1424" y="2293"/>
                  </a:lnTo>
                  <a:lnTo>
                    <a:pt x="1414" y="2283"/>
                  </a:lnTo>
                  <a:lnTo>
                    <a:pt x="1418" y="2278"/>
                  </a:lnTo>
                  <a:lnTo>
                    <a:pt x="1418" y="2276"/>
                  </a:lnTo>
                  <a:lnTo>
                    <a:pt x="1428" y="2258"/>
                  </a:lnTo>
                  <a:lnTo>
                    <a:pt x="1436" y="2239"/>
                  </a:lnTo>
                  <a:lnTo>
                    <a:pt x="1440" y="2234"/>
                  </a:lnTo>
                  <a:lnTo>
                    <a:pt x="1446" y="2219"/>
                  </a:lnTo>
                  <a:lnTo>
                    <a:pt x="1453" y="2219"/>
                  </a:lnTo>
                  <a:lnTo>
                    <a:pt x="1455" y="2215"/>
                  </a:lnTo>
                  <a:lnTo>
                    <a:pt x="1453" y="2213"/>
                  </a:lnTo>
                  <a:lnTo>
                    <a:pt x="1453" y="2205"/>
                  </a:lnTo>
                  <a:lnTo>
                    <a:pt x="1450" y="2205"/>
                  </a:lnTo>
                  <a:lnTo>
                    <a:pt x="1451" y="2202"/>
                  </a:lnTo>
                  <a:lnTo>
                    <a:pt x="1457" y="2185"/>
                  </a:lnTo>
                  <a:lnTo>
                    <a:pt x="1462" y="2171"/>
                  </a:lnTo>
                  <a:lnTo>
                    <a:pt x="1467" y="2154"/>
                  </a:lnTo>
                  <a:lnTo>
                    <a:pt x="1470" y="2145"/>
                  </a:lnTo>
                  <a:lnTo>
                    <a:pt x="1480" y="2145"/>
                  </a:lnTo>
                  <a:lnTo>
                    <a:pt x="1477" y="2142"/>
                  </a:lnTo>
                  <a:lnTo>
                    <a:pt x="1475" y="2142"/>
                  </a:lnTo>
                  <a:lnTo>
                    <a:pt x="1468" y="2135"/>
                  </a:lnTo>
                  <a:lnTo>
                    <a:pt x="1467" y="2127"/>
                  </a:lnTo>
                  <a:lnTo>
                    <a:pt x="1465" y="2125"/>
                  </a:lnTo>
                  <a:lnTo>
                    <a:pt x="1457" y="2108"/>
                  </a:lnTo>
                  <a:lnTo>
                    <a:pt x="1460" y="2108"/>
                  </a:lnTo>
                  <a:lnTo>
                    <a:pt x="1460" y="2106"/>
                  </a:lnTo>
                  <a:lnTo>
                    <a:pt x="1458" y="2103"/>
                  </a:lnTo>
                  <a:lnTo>
                    <a:pt x="1458" y="2099"/>
                  </a:lnTo>
                  <a:lnTo>
                    <a:pt x="1451" y="2091"/>
                  </a:lnTo>
                  <a:lnTo>
                    <a:pt x="1453" y="2088"/>
                  </a:lnTo>
                  <a:lnTo>
                    <a:pt x="1451" y="2088"/>
                  </a:lnTo>
                  <a:lnTo>
                    <a:pt x="1457" y="2084"/>
                  </a:lnTo>
                  <a:lnTo>
                    <a:pt x="1455" y="2082"/>
                  </a:lnTo>
                  <a:lnTo>
                    <a:pt x="1443" y="2074"/>
                  </a:lnTo>
                  <a:lnTo>
                    <a:pt x="1436" y="2079"/>
                  </a:lnTo>
                  <a:lnTo>
                    <a:pt x="1433" y="2079"/>
                  </a:lnTo>
                  <a:lnTo>
                    <a:pt x="1429" y="2077"/>
                  </a:lnTo>
                  <a:lnTo>
                    <a:pt x="1428" y="2074"/>
                  </a:lnTo>
                  <a:lnTo>
                    <a:pt x="1424" y="2074"/>
                  </a:lnTo>
                  <a:lnTo>
                    <a:pt x="1423" y="2074"/>
                  </a:lnTo>
                  <a:lnTo>
                    <a:pt x="1423" y="2071"/>
                  </a:lnTo>
                  <a:lnTo>
                    <a:pt x="1419" y="2069"/>
                  </a:lnTo>
                  <a:lnTo>
                    <a:pt x="1419" y="2067"/>
                  </a:lnTo>
                  <a:lnTo>
                    <a:pt x="1416" y="2067"/>
                  </a:lnTo>
                  <a:lnTo>
                    <a:pt x="1416" y="2064"/>
                  </a:lnTo>
                  <a:lnTo>
                    <a:pt x="1411" y="2064"/>
                  </a:lnTo>
                  <a:lnTo>
                    <a:pt x="1407" y="2062"/>
                  </a:lnTo>
                  <a:lnTo>
                    <a:pt x="1409" y="2060"/>
                  </a:lnTo>
                  <a:lnTo>
                    <a:pt x="1407" y="2060"/>
                  </a:lnTo>
                  <a:lnTo>
                    <a:pt x="1406" y="2057"/>
                  </a:lnTo>
                  <a:lnTo>
                    <a:pt x="1404" y="2057"/>
                  </a:lnTo>
                  <a:lnTo>
                    <a:pt x="1401" y="2050"/>
                  </a:lnTo>
                  <a:lnTo>
                    <a:pt x="1399" y="2048"/>
                  </a:lnTo>
                  <a:lnTo>
                    <a:pt x="1399" y="2040"/>
                  </a:lnTo>
                  <a:lnTo>
                    <a:pt x="1395" y="2038"/>
                  </a:lnTo>
                  <a:lnTo>
                    <a:pt x="1395" y="2037"/>
                  </a:lnTo>
                  <a:lnTo>
                    <a:pt x="1397" y="2035"/>
                  </a:lnTo>
                  <a:lnTo>
                    <a:pt x="1395" y="2035"/>
                  </a:lnTo>
                  <a:lnTo>
                    <a:pt x="1397" y="2031"/>
                  </a:lnTo>
                  <a:lnTo>
                    <a:pt x="1394" y="2031"/>
                  </a:lnTo>
                  <a:lnTo>
                    <a:pt x="1392" y="2030"/>
                  </a:lnTo>
                  <a:lnTo>
                    <a:pt x="1394" y="2026"/>
                  </a:lnTo>
                  <a:lnTo>
                    <a:pt x="1392" y="2026"/>
                  </a:lnTo>
                  <a:lnTo>
                    <a:pt x="1392" y="2025"/>
                  </a:lnTo>
                  <a:lnTo>
                    <a:pt x="1394" y="2023"/>
                  </a:lnTo>
                  <a:lnTo>
                    <a:pt x="1392" y="2023"/>
                  </a:lnTo>
                  <a:lnTo>
                    <a:pt x="1394" y="2018"/>
                  </a:lnTo>
                  <a:lnTo>
                    <a:pt x="1392" y="2016"/>
                  </a:lnTo>
                  <a:lnTo>
                    <a:pt x="1394" y="2013"/>
                  </a:lnTo>
                  <a:lnTo>
                    <a:pt x="1392" y="2006"/>
                  </a:lnTo>
                  <a:lnTo>
                    <a:pt x="1397" y="1996"/>
                  </a:lnTo>
                  <a:lnTo>
                    <a:pt x="1406" y="1989"/>
                  </a:lnTo>
                  <a:lnTo>
                    <a:pt x="1406" y="1986"/>
                  </a:lnTo>
                  <a:lnTo>
                    <a:pt x="1404" y="1980"/>
                  </a:lnTo>
                  <a:lnTo>
                    <a:pt x="1406" y="1977"/>
                  </a:lnTo>
                  <a:lnTo>
                    <a:pt x="1409" y="1975"/>
                  </a:lnTo>
                  <a:lnTo>
                    <a:pt x="1409" y="1968"/>
                  </a:lnTo>
                  <a:lnTo>
                    <a:pt x="1407" y="1965"/>
                  </a:lnTo>
                  <a:lnTo>
                    <a:pt x="1404" y="1967"/>
                  </a:lnTo>
                  <a:lnTo>
                    <a:pt x="1402" y="1965"/>
                  </a:lnTo>
                  <a:lnTo>
                    <a:pt x="1401" y="1968"/>
                  </a:lnTo>
                  <a:lnTo>
                    <a:pt x="1397" y="1970"/>
                  </a:lnTo>
                  <a:lnTo>
                    <a:pt x="1377" y="1970"/>
                  </a:lnTo>
                  <a:lnTo>
                    <a:pt x="1372" y="1970"/>
                  </a:lnTo>
                  <a:lnTo>
                    <a:pt x="1365" y="1968"/>
                  </a:lnTo>
                  <a:lnTo>
                    <a:pt x="1346" y="1968"/>
                  </a:lnTo>
                  <a:lnTo>
                    <a:pt x="1333" y="1968"/>
                  </a:lnTo>
                  <a:lnTo>
                    <a:pt x="1329" y="1968"/>
                  </a:lnTo>
                  <a:lnTo>
                    <a:pt x="1326" y="1967"/>
                  </a:lnTo>
                  <a:lnTo>
                    <a:pt x="1324" y="1967"/>
                  </a:lnTo>
                  <a:lnTo>
                    <a:pt x="1304" y="1967"/>
                  </a:lnTo>
                  <a:lnTo>
                    <a:pt x="1297" y="1967"/>
                  </a:lnTo>
                  <a:lnTo>
                    <a:pt x="1278" y="1967"/>
                  </a:lnTo>
                  <a:lnTo>
                    <a:pt x="1273" y="1967"/>
                  </a:lnTo>
                  <a:lnTo>
                    <a:pt x="1268" y="1965"/>
                  </a:lnTo>
                  <a:lnTo>
                    <a:pt x="1258" y="1965"/>
                  </a:lnTo>
                  <a:lnTo>
                    <a:pt x="1251" y="1965"/>
                  </a:lnTo>
                  <a:lnTo>
                    <a:pt x="1241" y="1965"/>
                  </a:lnTo>
                  <a:lnTo>
                    <a:pt x="1239" y="1957"/>
                  </a:lnTo>
                  <a:lnTo>
                    <a:pt x="1239" y="1946"/>
                  </a:lnTo>
                  <a:lnTo>
                    <a:pt x="1237" y="1904"/>
                  </a:lnTo>
                  <a:lnTo>
                    <a:pt x="1236" y="1894"/>
                  </a:lnTo>
                  <a:lnTo>
                    <a:pt x="1234" y="1890"/>
                  </a:lnTo>
                  <a:lnTo>
                    <a:pt x="1225" y="1880"/>
                  </a:lnTo>
                  <a:lnTo>
                    <a:pt x="1214" y="1866"/>
                  </a:lnTo>
                  <a:lnTo>
                    <a:pt x="1207" y="1858"/>
                  </a:lnTo>
                  <a:lnTo>
                    <a:pt x="1219" y="1858"/>
                  </a:lnTo>
                  <a:lnTo>
                    <a:pt x="1229" y="1858"/>
                  </a:lnTo>
                  <a:lnTo>
                    <a:pt x="1237" y="1858"/>
                  </a:lnTo>
                  <a:lnTo>
                    <a:pt x="1236" y="1849"/>
                  </a:lnTo>
                  <a:lnTo>
                    <a:pt x="1236" y="1829"/>
                  </a:lnTo>
                  <a:lnTo>
                    <a:pt x="1236" y="1826"/>
                  </a:lnTo>
                  <a:lnTo>
                    <a:pt x="1236" y="1815"/>
                  </a:lnTo>
                  <a:lnTo>
                    <a:pt x="1231" y="1814"/>
                  </a:lnTo>
                  <a:lnTo>
                    <a:pt x="1231" y="1805"/>
                  </a:lnTo>
                  <a:lnTo>
                    <a:pt x="1227" y="1803"/>
                  </a:lnTo>
                  <a:lnTo>
                    <a:pt x="1229" y="1802"/>
                  </a:lnTo>
                  <a:lnTo>
                    <a:pt x="1225" y="1800"/>
                  </a:lnTo>
                  <a:lnTo>
                    <a:pt x="1224" y="1797"/>
                  </a:lnTo>
                  <a:lnTo>
                    <a:pt x="1225" y="1792"/>
                  </a:lnTo>
                  <a:lnTo>
                    <a:pt x="1224" y="1792"/>
                  </a:lnTo>
                  <a:lnTo>
                    <a:pt x="1222" y="1790"/>
                  </a:lnTo>
                  <a:lnTo>
                    <a:pt x="1220" y="1786"/>
                  </a:lnTo>
                  <a:lnTo>
                    <a:pt x="1219" y="1783"/>
                  </a:lnTo>
                  <a:lnTo>
                    <a:pt x="1220" y="1780"/>
                  </a:lnTo>
                  <a:lnTo>
                    <a:pt x="1219" y="1780"/>
                  </a:lnTo>
                  <a:lnTo>
                    <a:pt x="1219" y="1776"/>
                  </a:lnTo>
                  <a:lnTo>
                    <a:pt x="1217" y="1776"/>
                  </a:lnTo>
                  <a:lnTo>
                    <a:pt x="1219" y="1773"/>
                  </a:lnTo>
                  <a:lnTo>
                    <a:pt x="1219" y="1768"/>
                  </a:lnTo>
                  <a:lnTo>
                    <a:pt x="1222" y="1766"/>
                  </a:lnTo>
                  <a:lnTo>
                    <a:pt x="1225" y="1759"/>
                  </a:lnTo>
                  <a:lnTo>
                    <a:pt x="1222" y="1752"/>
                  </a:lnTo>
                  <a:lnTo>
                    <a:pt x="1220" y="1752"/>
                  </a:lnTo>
                  <a:lnTo>
                    <a:pt x="1220" y="1747"/>
                  </a:lnTo>
                  <a:lnTo>
                    <a:pt x="1219" y="1749"/>
                  </a:lnTo>
                  <a:lnTo>
                    <a:pt x="1220" y="1746"/>
                  </a:lnTo>
                  <a:lnTo>
                    <a:pt x="1217" y="1746"/>
                  </a:lnTo>
                  <a:lnTo>
                    <a:pt x="1220" y="1744"/>
                  </a:lnTo>
                  <a:lnTo>
                    <a:pt x="1217" y="1742"/>
                  </a:lnTo>
                  <a:lnTo>
                    <a:pt x="1220" y="1742"/>
                  </a:lnTo>
                  <a:lnTo>
                    <a:pt x="1219" y="1741"/>
                  </a:lnTo>
                  <a:lnTo>
                    <a:pt x="1220" y="1741"/>
                  </a:lnTo>
                  <a:lnTo>
                    <a:pt x="1215" y="1739"/>
                  </a:lnTo>
                  <a:lnTo>
                    <a:pt x="1215" y="1737"/>
                  </a:lnTo>
                  <a:lnTo>
                    <a:pt x="1212" y="1737"/>
                  </a:lnTo>
                  <a:lnTo>
                    <a:pt x="1212" y="1739"/>
                  </a:lnTo>
                  <a:lnTo>
                    <a:pt x="1210" y="1735"/>
                  </a:lnTo>
                  <a:lnTo>
                    <a:pt x="1207" y="1735"/>
                  </a:lnTo>
                  <a:lnTo>
                    <a:pt x="1207" y="1732"/>
                  </a:lnTo>
                  <a:lnTo>
                    <a:pt x="1203" y="1734"/>
                  </a:lnTo>
                  <a:lnTo>
                    <a:pt x="1198" y="1730"/>
                  </a:lnTo>
                  <a:lnTo>
                    <a:pt x="1193" y="1730"/>
                  </a:lnTo>
                  <a:lnTo>
                    <a:pt x="1193" y="1727"/>
                  </a:lnTo>
                  <a:lnTo>
                    <a:pt x="1190" y="1727"/>
                  </a:lnTo>
                  <a:lnTo>
                    <a:pt x="1188" y="1725"/>
                  </a:lnTo>
                  <a:lnTo>
                    <a:pt x="1183" y="1724"/>
                  </a:lnTo>
                  <a:lnTo>
                    <a:pt x="1180" y="1718"/>
                  </a:lnTo>
                  <a:lnTo>
                    <a:pt x="1180" y="1717"/>
                  </a:lnTo>
                  <a:lnTo>
                    <a:pt x="1176" y="1718"/>
                  </a:lnTo>
                  <a:lnTo>
                    <a:pt x="1174" y="1717"/>
                  </a:lnTo>
                  <a:lnTo>
                    <a:pt x="1171" y="1717"/>
                  </a:lnTo>
                  <a:lnTo>
                    <a:pt x="1171" y="1715"/>
                  </a:lnTo>
                  <a:lnTo>
                    <a:pt x="1173" y="1715"/>
                  </a:lnTo>
                  <a:lnTo>
                    <a:pt x="1171" y="1713"/>
                  </a:lnTo>
                  <a:lnTo>
                    <a:pt x="1173" y="1713"/>
                  </a:lnTo>
                  <a:lnTo>
                    <a:pt x="1171" y="1712"/>
                  </a:lnTo>
                  <a:lnTo>
                    <a:pt x="1168" y="1712"/>
                  </a:lnTo>
                  <a:lnTo>
                    <a:pt x="1169" y="1713"/>
                  </a:lnTo>
                  <a:lnTo>
                    <a:pt x="1168" y="1713"/>
                  </a:lnTo>
                  <a:lnTo>
                    <a:pt x="1164" y="1712"/>
                  </a:lnTo>
                  <a:lnTo>
                    <a:pt x="1163" y="1715"/>
                  </a:lnTo>
                  <a:lnTo>
                    <a:pt x="1161" y="1715"/>
                  </a:lnTo>
                  <a:lnTo>
                    <a:pt x="1159" y="1715"/>
                  </a:lnTo>
                  <a:lnTo>
                    <a:pt x="1159" y="1713"/>
                  </a:lnTo>
                  <a:lnTo>
                    <a:pt x="1159" y="1715"/>
                  </a:lnTo>
                  <a:lnTo>
                    <a:pt x="1156" y="1713"/>
                  </a:lnTo>
                  <a:lnTo>
                    <a:pt x="1154" y="1717"/>
                  </a:lnTo>
                  <a:lnTo>
                    <a:pt x="1151" y="1715"/>
                  </a:lnTo>
                  <a:lnTo>
                    <a:pt x="1149" y="1712"/>
                  </a:lnTo>
                  <a:lnTo>
                    <a:pt x="1147" y="1713"/>
                  </a:lnTo>
                  <a:lnTo>
                    <a:pt x="1146" y="1713"/>
                  </a:lnTo>
                  <a:lnTo>
                    <a:pt x="1130" y="1718"/>
                  </a:lnTo>
                  <a:lnTo>
                    <a:pt x="1125" y="1717"/>
                  </a:lnTo>
                  <a:lnTo>
                    <a:pt x="1123" y="1715"/>
                  </a:lnTo>
                  <a:lnTo>
                    <a:pt x="1120" y="1715"/>
                  </a:lnTo>
                  <a:lnTo>
                    <a:pt x="1120" y="1712"/>
                  </a:lnTo>
                  <a:lnTo>
                    <a:pt x="1115" y="1715"/>
                  </a:lnTo>
                  <a:lnTo>
                    <a:pt x="1113" y="1713"/>
                  </a:lnTo>
                  <a:lnTo>
                    <a:pt x="1113" y="1715"/>
                  </a:lnTo>
                  <a:lnTo>
                    <a:pt x="1110" y="1713"/>
                  </a:lnTo>
                  <a:lnTo>
                    <a:pt x="1108" y="1715"/>
                  </a:lnTo>
                  <a:lnTo>
                    <a:pt x="1105" y="1715"/>
                  </a:lnTo>
                  <a:lnTo>
                    <a:pt x="1106" y="1715"/>
                  </a:lnTo>
                  <a:lnTo>
                    <a:pt x="1103" y="1715"/>
                  </a:lnTo>
                  <a:lnTo>
                    <a:pt x="1103" y="1717"/>
                  </a:lnTo>
                  <a:lnTo>
                    <a:pt x="1101" y="1715"/>
                  </a:lnTo>
                  <a:lnTo>
                    <a:pt x="1101" y="1717"/>
                  </a:lnTo>
                  <a:lnTo>
                    <a:pt x="1098" y="1715"/>
                  </a:lnTo>
                  <a:lnTo>
                    <a:pt x="1095" y="1717"/>
                  </a:lnTo>
                  <a:lnTo>
                    <a:pt x="1093" y="1712"/>
                  </a:lnTo>
                  <a:lnTo>
                    <a:pt x="1091" y="1707"/>
                  </a:lnTo>
                  <a:lnTo>
                    <a:pt x="1089" y="1707"/>
                  </a:lnTo>
                  <a:lnTo>
                    <a:pt x="1088" y="1705"/>
                  </a:lnTo>
                  <a:lnTo>
                    <a:pt x="1084" y="1705"/>
                  </a:lnTo>
                  <a:lnTo>
                    <a:pt x="1084" y="1701"/>
                  </a:lnTo>
                  <a:lnTo>
                    <a:pt x="1083" y="1700"/>
                  </a:lnTo>
                  <a:lnTo>
                    <a:pt x="1081" y="1701"/>
                  </a:lnTo>
                  <a:lnTo>
                    <a:pt x="1081" y="1698"/>
                  </a:lnTo>
                  <a:lnTo>
                    <a:pt x="1079" y="1698"/>
                  </a:lnTo>
                  <a:lnTo>
                    <a:pt x="1076" y="1696"/>
                  </a:lnTo>
                  <a:lnTo>
                    <a:pt x="1078" y="1693"/>
                  </a:lnTo>
                  <a:lnTo>
                    <a:pt x="1076" y="1695"/>
                  </a:lnTo>
                  <a:lnTo>
                    <a:pt x="1076" y="1693"/>
                  </a:lnTo>
                  <a:lnTo>
                    <a:pt x="1074" y="1693"/>
                  </a:lnTo>
                  <a:lnTo>
                    <a:pt x="1072" y="1691"/>
                  </a:lnTo>
                  <a:lnTo>
                    <a:pt x="1072" y="1681"/>
                  </a:lnTo>
                  <a:lnTo>
                    <a:pt x="1071" y="1681"/>
                  </a:lnTo>
                  <a:lnTo>
                    <a:pt x="1069" y="1683"/>
                  </a:lnTo>
                  <a:lnTo>
                    <a:pt x="1067" y="1678"/>
                  </a:lnTo>
                  <a:lnTo>
                    <a:pt x="1064" y="1681"/>
                  </a:lnTo>
                  <a:lnTo>
                    <a:pt x="1062" y="1678"/>
                  </a:lnTo>
                  <a:lnTo>
                    <a:pt x="1061" y="1678"/>
                  </a:lnTo>
                  <a:lnTo>
                    <a:pt x="1061" y="1681"/>
                  </a:lnTo>
                  <a:lnTo>
                    <a:pt x="1057" y="1681"/>
                  </a:lnTo>
                  <a:lnTo>
                    <a:pt x="1054" y="1679"/>
                  </a:lnTo>
                  <a:lnTo>
                    <a:pt x="1054" y="1681"/>
                  </a:lnTo>
                  <a:lnTo>
                    <a:pt x="1052" y="1679"/>
                  </a:lnTo>
                  <a:lnTo>
                    <a:pt x="1052" y="1681"/>
                  </a:lnTo>
                  <a:lnTo>
                    <a:pt x="1052" y="1679"/>
                  </a:lnTo>
                  <a:lnTo>
                    <a:pt x="1047" y="1679"/>
                  </a:lnTo>
                  <a:lnTo>
                    <a:pt x="1047" y="1678"/>
                  </a:lnTo>
                  <a:lnTo>
                    <a:pt x="1045" y="1679"/>
                  </a:lnTo>
                  <a:lnTo>
                    <a:pt x="1044" y="1674"/>
                  </a:lnTo>
                  <a:lnTo>
                    <a:pt x="1040" y="1676"/>
                  </a:lnTo>
                  <a:lnTo>
                    <a:pt x="1038" y="1673"/>
                  </a:lnTo>
                  <a:lnTo>
                    <a:pt x="1038" y="1674"/>
                  </a:lnTo>
                  <a:lnTo>
                    <a:pt x="1037" y="1674"/>
                  </a:lnTo>
                  <a:lnTo>
                    <a:pt x="1027" y="1671"/>
                  </a:lnTo>
                  <a:lnTo>
                    <a:pt x="1027" y="1669"/>
                  </a:lnTo>
                  <a:lnTo>
                    <a:pt x="1028" y="1669"/>
                  </a:lnTo>
                  <a:lnTo>
                    <a:pt x="1025" y="1669"/>
                  </a:lnTo>
                  <a:lnTo>
                    <a:pt x="1025" y="1666"/>
                  </a:lnTo>
                  <a:lnTo>
                    <a:pt x="1023" y="1666"/>
                  </a:lnTo>
                  <a:lnTo>
                    <a:pt x="1023" y="1664"/>
                  </a:lnTo>
                  <a:lnTo>
                    <a:pt x="1020" y="1667"/>
                  </a:lnTo>
                  <a:lnTo>
                    <a:pt x="1016" y="1667"/>
                  </a:lnTo>
                  <a:lnTo>
                    <a:pt x="1016" y="1669"/>
                  </a:lnTo>
                  <a:lnTo>
                    <a:pt x="1015" y="1667"/>
                  </a:lnTo>
                  <a:lnTo>
                    <a:pt x="1013" y="1669"/>
                  </a:lnTo>
                  <a:lnTo>
                    <a:pt x="1011" y="1667"/>
                  </a:lnTo>
                  <a:lnTo>
                    <a:pt x="1010" y="1664"/>
                  </a:lnTo>
                  <a:lnTo>
                    <a:pt x="1010" y="1662"/>
                  </a:lnTo>
                  <a:lnTo>
                    <a:pt x="1008" y="1661"/>
                  </a:lnTo>
                  <a:lnTo>
                    <a:pt x="1006" y="1662"/>
                  </a:lnTo>
                  <a:lnTo>
                    <a:pt x="1006" y="1661"/>
                  </a:lnTo>
                  <a:lnTo>
                    <a:pt x="1003" y="1659"/>
                  </a:lnTo>
                  <a:lnTo>
                    <a:pt x="1001" y="1654"/>
                  </a:lnTo>
                  <a:lnTo>
                    <a:pt x="999" y="1652"/>
                  </a:lnTo>
                  <a:lnTo>
                    <a:pt x="998" y="1654"/>
                  </a:lnTo>
                  <a:lnTo>
                    <a:pt x="996" y="1654"/>
                  </a:lnTo>
                  <a:lnTo>
                    <a:pt x="994" y="1654"/>
                  </a:lnTo>
                  <a:lnTo>
                    <a:pt x="994" y="1652"/>
                  </a:lnTo>
                  <a:lnTo>
                    <a:pt x="991" y="1652"/>
                  </a:lnTo>
                  <a:lnTo>
                    <a:pt x="991" y="1650"/>
                  </a:lnTo>
                  <a:lnTo>
                    <a:pt x="991" y="1649"/>
                  </a:lnTo>
                  <a:lnTo>
                    <a:pt x="987" y="1644"/>
                  </a:lnTo>
                  <a:lnTo>
                    <a:pt x="986" y="1642"/>
                  </a:lnTo>
                  <a:lnTo>
                    <a:pt x="987" y="1638"/>
                  </a:lnTo>
                  <a:lnTo>
                    <a:pt x="984" y="1638"/>
                  </a:lnTo>
                  <a:lnTo>
                    <a:pt x="984" y="1637"/>
                  </a:lnTo>
                  <a:lnTo>
                    <a:pt x="981" y="1635"/>
                  </a:lnTo>
                  <a:lnTo>
                    <a:pt x="979" y="1632"/>
                  </a:lnTo>
                  <a:lnTo>
                    <a:pt x="977" y="1635"/>
                  </a:lnTo>
                  <a:lnTo>
                    <a:pt x="976" y="1633"/>
                  </a:lnTo>
                  <a:lnTo>
                    <a:pt x="976" y="1635"/>
                  </a:lnTo>
                  <a:lnTo>
                    <a:pt x="970" y="1637"/>
                  </a:lnTo>
                  <a:lnTo>
                    <a:pt x="970" y="1638"/>
                  </a:lnTo>
                  <a:lnTo>
                    <a:pt x="959" y="1637"/>
                  </a:lnTo>
                  <a:lnTo>
                    <a:pt x="955" y="1632"/>
                  </a:lnTo>
                  <a:lnTo>
                    <a:pt x="952" y="1632"/>
                  </a:lnTo>
                  <a:lnTo>
                    <a:pt x="953" y="1630"/>
                  </a:lnTo>
                  <a:lnTo>
                    <a:pt x="953" y="1628"/>
                  </a:lnTo>
                  <a:lnTo>
                    <a:pt x="947" y="1628"/>
                  </a:lnTo>
                  <a:lnTo>
                    <a:pt x="943" y="1621"/>
                  </a:lnTo>
                  <a:lnTo>
                    <a:pt x="930" y="1616"/>
                  </a:lnTo>
                  <a:lnTo>
                    <a:pt x="923" y="1616"/>
                  </a:lnTo>
                  <a:lnTo>
                    <a:pt x="921" y="1615"/>
                  </a:lnTo>
                  <a:lnTo>
                    <a:pt x="918" y="1618"/>
                  </a:lnTo>
                  <a:lnTo>
                    <a:pt x="913" y="1616"/>
                  </a:lnTo>
                  <a:lnTo>
                    <a:pt x="911" y="1621"/>
                  </a:lnTo>
                  <a:lnTo>
                    <a:pt x="906" y="1625"/>
                  </a:lnTo>
                  <a:lnTo>
                    <a:pt x="902" y="1621"/>
                  </a:lnTo>
                  <a:lnTo>
                    <a:pt x="901" y="1623"/>
                  </a:lnTo>
                  <a:lnTo>
                    <a:pt x="899" y="1623"/>
                  </a:lnTo>
                  <a:lnTo>
                    <a:pt x="897" y="1621"/>
                  </a:lnTo>
                  <a:lnTo>
                    <a:pt x="894" y="1621"/>
                  </a:lnTo>
                  <a:lnTo>
                    <a:pt x="894" y="1620"/>
                  </a:lnTo>
                  <a:lnTo>
                    <a:pt x="891" y="1621"/>
                  </a:lnTo>
                  <a:lnTo>
                    <a:pt x="891" y="1620"/>
                  </a:lnTo>
                  <a:lnTo>
                    <a:pt x="889" y="1620"/>
                  </a:lnTo>
                  <a:lnTo>
                    <a:pt x="889" y="1621"/>
                  </a:lnTo>
                  <a:lnTo>
                    <a:pt x="887" y="1623"/>
                  </a:lnTo>
                  <a:lnTo>
                    <a:pt x="885" y="1618"/>
                  </a:lnTo>
                  <a:lnTo>
                    <a:pt x="884" y="1620"/>
                  </a:lnTo>
                  <a:lnTo>
                    <a:pt x="880" y="1618"/>
                  </a:lnTo>
                  <a:lnTo>
                    <a:pt x="875" y="1621"/>
                  </a:lnTo>
                  <a:lnTo>
                    <a:pt x="875" y="1618"/>
                  </a:lnTo>
                  <a:lnTo>
                    <a:pt x="868" y="1618"/>
                  </a:lnTo>
                  <a:lnTo>
                    <a:pt x="865" y="1616"/>
                  </a:lnTo>
                  <a:lnTo>
                    <a:pt x="860" y="1611"/>
                  </a:lnTo>
                  <a:lnTo>
                    <a:pt x="855" y="1608"/>
                  </a:lnTo>
                  <a:lnTo>
                    <a:pt x="858" y="1603"/>
                  </a:lnTo>
                  <a:lnTo>
                    <a:pt x="857" y="1596"/>
                  </a:lnTo>
                  <a:lnTo>
                    <a:pt x="853" y="1598"/>
                  </a:lnTo>
                  <a:lnTo>
                    <a:pt x="850" y="1596"/>
                  </a:lnTo>
                  <a:lnTo>
                    <a:pt x="846" y="1596"/>
                  </a:lnTo>
                  <a:lnTo>
                    <a:pt x="840" y="1593"/>
                  </a:lnTo>
                  <a:lnTo>
                    <a:pt x="838" y="1589"/>
                  </a:lnTo>
                  <a:lnTo>
                    <a:pt x="840" y="1586"/>
                  </a:lnTo>
                  <a:lnTo>
                    <a:pt x="838" y="1584"/>
                  </a:lnTo>
                  <a:lnTo>
                    <a:pt x="836" y="1586"/>
                  </a:lnTo>
                  <a:lnTo>
                    <a:pt x="834" y="1591"/>
                  </a:lnTo>
                  <a:lnTo>
                    <a:pt x="833" y="1589"/>
                  </a:lnTo>
                  <a:lnTo>
                    <a:pt x="834" y="1586"/>
                  </a:lnTo>
                  <a:lnTo>
                    <a:pt x="831" y="1584"/>
                  </a:lnTo>
                  <a:lnTo>
                    <a:pt x="828" y="1587"/>
                  </a:lnTo>
                  <a:lnTo>
                    <a:pt x="826" y="1584"/>
                  </a:lnTo>
                  <a:lnTo>
                    <a:pt x="829" y="1581"/>
                  </a:lnTo>
                  <a:lnTo>
                    <a:pt x="826" y="1577"/>
                  </a:lnTo>
                  <a:lnTo>
                    <a:pt x="819" y="1579"/>
                  </a:lnTo>
                  <a:lnTo>
                    <a:pt x="817" y="1576"/>
                  </a:lnTo>
                  <a:lnTo>
                    <a:pt x="814" y="1577"/>
                  </a:lnTo>
                  <a:lnTo>
                    <a:pt x="812" y="1576"/>
                  </a:lnTo>
                  <a:lnTo>
                    <a:pt x="809" y="1576"/>
                  </a:lnTo>
                  <a:lnTo>
                    <a:pt x="809" y="1574"/>
                  </a:lnTo>
                  <a:lnTo>
                    <a:pt x="809" y="1572"/>
                  </a:lnTo>
                  <a:lnTo>
                    <a:pt x="811" y="1567"/>
                  </a:lnTo>
                  <a:lnTo>
                    <a:pt x="807" y="1565"/>
                  </a:lnTo>
                  <a:lnTo>
                    <a:pt x="806" y="1564"/>
                  </a:lnTo>
                  <a:lnTo>
                    <a:pt x="807" y="1557"/>
                  </a:lnTo>
                  <a:lnTo>
                    <a:pt x="806" y="1550"/>
                  </a:lnTo>
                  <a:lnTo>
                    <a:pt x="795" y="1550"/>
                  </a:lnTo>
                  <a:lnTo>
                    <a:pt x="795" y="1552"/>
                  </a:lnTo>
                  <a:lnTo>
                    <a:pt x="797" y="1553"/>
                  </a:lnTo>
                  <a:lnTo>
                    <a:pt x="795" y="1553"/>
                  </a:lnTo>
                  <a:lnTo>
                    <a:pt x="789" y="1550"/>
                  </a:lnTo>
                  <a:lnTo>
                    <a:pt x="794" y="1545"/>
                  </a:lnTo>
                  <a:lnTo>
                    <a:pt x="792" y="1536"/>
                  </a:lnTo>
                  <a:lnTo>
                    <a:pt x="794" y="1533"/>
                  </a:lnTo>
                  <a:lnTo>
                    <a:pt x="794" y="1531"/>
                  </a:lnTo>
                  <a:lnTo>
                    <a:pt x="785" y="1530"/>
                  </a:lnTo>
                  <a:lnTo>
                    <a:pt x="783" y="1516"/>
                  </a:lnTo>
                  <a:lnTo>
                    <a:pt x="787" y="1514"/>
                  </a:lnTo>
                  <a:lnTo>
                    <a:pt x="782" y="1513"/>
                  </a:lnTo>
                  <a:lnTo>
                    <a:pt x="780" y="1506"/>
                  </a:lnTo>
                  <a:lnTo>
                    <a:pt x="785" y="1502"/>
                  </a:lnTo>
                  <a:lnTo>
                    <a:pt x="782" y="1502"/>
                  </a:lnTo>
                  <a:lnTo>
                    <a:pt x="780" y="1497"/>
                  </a:lnTo>
                  <a:lnTo>
                    <a:pt x="783" y="1494"/>
                  </a:lnTo>
                  <a:lnTo>
                    <a:pt x="789" y="1492"/>
                  </a:lnTo>
                  <a:lnTo>
                    <a:pt x="789" y="1490"/>
                  </a:lnTo>
                  <a:lnTo>
                    <a:pt x="787" y="1487"/>
                  </a:lnTo>
                  <a:lnTo>
                    <a:pt x="792" y="1484"/>
                  </a:lnTo>
                  <a:lnTo>
                    <a:pt x="789" y="1480"/>
                  </a:lnTo>
                  <a:lnTo>
                    <a:pt x="789" y="1473"/>
                  </a:lnTo>
                  <a:lnTo>
                    <a:pt x="782" y="1465"/>
                  </a:lnTo>
                  <a:lnTo>
                    <a:pt x="783" y="1463"/>
                  </a:lnTo>
                  <a:lnTo>
                    <a:pt x="783" y="1455"/>
                  </a:lnTo>
                  <a:lnTo>
                    <a:pt x="780" y="1453"/>
                  </a:lnTo>
                  <a:lnTo>
                    <a:pt x="778" y="1451"/>
                  </a:lnTo>
                  <a:lnTo>
                    <a:pt x="777" y="1448"/>
                  </a:lnTo>
                  <a:lnTo>
                    <a:pt x="778" y="1446"/>
                  </a:lnTo>
                  <a:lnTo>
                    <a:pt x="777" y="1443"/>
                  </a:lnTo>
                  <a:lnTo>
                    <a:pt x="777" y="1439"/>
                  </a:lnTo>
                  <a:lnTo>
                    <a:pt x="775" y="1438"/>
                  </a:lnTo>
                  <a:lnTo>
                    <a:pt x="780" y="1433"/>
                  </a:lnTo>
                  <a:lnTo>
                    <a:pt x="780" y="1428"/>
                  </a:lnTo>
                  <a:lnTo>
                    <a:pt x="785" y="1421"/>
                  </a:lnTo>
                  <a:lnTo>
                    <a:pt x="789" y="1414"/>
                  </a:lnTo>
                  <a:lnTo>
                    <a:pt x="787" y="1409"/>
                  </a:lnTo>
                  <a:lnTo>
                    <a:pt x="787" y="1402"/>
                  </a:lnTo>
                  <a:lnTo>
                    <a:pt x="785" y="1399"/>
                  </a:lnTo>
                  <a:lnTo>
                    <a:pt x="787" y="1394"/>
                  </a:lnTo>
                  <a:lnTo>
                    <a:pt x="785" y="1387"/>
                  </a:lnTo>
                  <a:lnTo>
                    <a:pt x="790" y="1380"/>
                  </a:lnTo>
                  <a:lnTo>
                    <a:pt x="787" y="1377"/>
                  </a:lnTo>
                  <a:lnTo>
                    <a:pt x="783" y="1368"/>
                  </a:lnTo>
                  <a:lnTo>
                    <a:pt x="775" y="1363"/>
                  </a:lnTo>
                  <a:lnTo>
                    <a:pt x="775" y="1366"/>
                  </a:lnTo>
                  <a:lnTo>
                    <a:pt x="773" y="1368"/>
                  </a:lnTo>
                  <a:lnTo>
                    <a:pt x="772" y="1366"/>
                  </a:lnTo>
                  <a:lnTo>
                    <a:pt x="772" y="1368"/>
                  </a:lnTo>
                  <a:lnTo>
                    <a:pt x="770" y="1368"/>
                  </a:lnTo>
                  <a:lnTo>
                    <a:pt x="770" y="1373"/>
                  </a:lnTo>
                  <a:lnTo>
                    <a:pt x="768" y="1375"/>
                  </a:lnTo>
                  <a:lnTo>
                    <a:pt x="766" y="1373"/>
                  </a:lnTo>
                  <a:lnTo>
                    <a:pt x="766" y="1375"/>
                  </a:lnTo>
                  <a:lnTo>
                    <a:pt x="765" y="1377"/>
                  </a:lnTo>
                  <a:lnTo>
                    <a:pt x="765" y="1380"/>
                  </a:lnTo>
                  <a:lnTo>
                    <a:pt x="761" y="1380"/>
                  </a:lnTo>
                  <a:lnTo>
                    <a:pt x="761" y="1378"/>
                  </a:lnTo>
                  <a:lnTo>
                    <a:pt x="758" y="1378"/>
                  </a:lnTo>
                  <a:lnTo>
                    <a:pt x="758" y="1377"/>
                  </a:lnTo>
                  <a:lnTo>
                    <a:pt x="756" y="1377"/>
                  </a:lnTo>
                  <a:lnTo>
                    <a:pt x="756" y="1375"/>
                  </a:lnTo>
                  <a:lnTo>
                    <a:pt x="755" y="1373"/>
                  </a:lnTo>
                  <a:lnTo>
                    <a:pt x="753" y="1377"/>
                  </a:lnTo>
                  <a:lnTo>
                    <a:pt x="751" y="1377"/>
                  </a:lnTo>
                  <a:lnTo>
                    <a:pt x="751" y="1375"/>
                  </a:lnTo>
                  <a:lnTo>
                    <a:pt x="751" y="1373"/>
                  </a:lnTo>
                  <a:lnTo>
                    <a:pt x="753" y="1373"/>
                  </a:lnTo>
                  <a:lnTo>
                    <a:pt x="753" y="1371"/>
                  </a:lnTo>
                  <a:lnTo>
                    <a:pt x="749" y="1371"/>
                  </a:lnTo>
                  <a:lnTo>
                    <a:pt x="748" y="1373"/>
                  </a:lnTo>
                  <a:lnTo>
                    <a:pt x="746" y="1371"/>
                  </a:lnTo>
                  <a:lnTo>
                    <a:pt x="746" y="1370"/>
                  </a:lnTo>
                  <a:lnTo>
                    <a:pt x="743" y="1375"/>
                  </a:lnTo>
                  <a:lnTo>
                    <a:pt x="741" y="1373"/>
                  </a:lnTo>
                  <a:lnTo>
                    <a:pt x="743" y="1371"/>
                  </a:lnTo>
                  <a:lnTo>
                    <a:pt x="741" y="1371"/>
                  </a:lnTo>
                  <a:lnTo>
                    <a:pt x="738" y="1375"/>
                  </a:lnTo>
                  <a:lnTo>
                    <a:pt x="736" y="1375"/>
                  </a:lnTo>
                  <a:lnTo>
                    <a:pt x="738" y="1373"/>
                  </a:lnTo>
                  <a:lnTo>
                    <a:pt x="736" y="1371"/>
                  </a:lnTo>
                  <a:lnTo>
                    <a:pt x="734" y="1371"/>
                  </a:lnTo>
                  <a:lnTo>
                    <a:pt x="732" y="1371"/>
                  </a:lnTo>
                  <a:lnTo>
                    <a:pt x="731" y="1373"/>
                  </a:lnTo>
                  <a:lnTo>
                    <a:pt x="729" y="1371"/>
                  </a:lnTo>
                  <a:lnTo>
                    <a:pt x="727" y="1373"/>
                  </a:lnTo>
                  <a:lnTo>
                    <a:pt x="727" y="1375"/>
                  </a:lnTo>
                  <a:lnTo>
                    <a:pt x="726" y="1377"/>
                  </a:lnTo>
                  <a:lnTo>
                    <a:pt x="724" y="1375"/>
                  </a:lnTo>
                  <a:lnTo>
                    <a:pt x="722" y="1377"/>
                  </a:lnTo>
                  <a:lnTo>
                    <a:pt x="721" y="1373"/>
                  </a:lnTo>
                  <a:lnTo>
                    <a:pt x="719" y="1373"/>
                  </a:lnTo>
                  <a:lnTo>
                    <a:pt x="717" y="1375"/>
                  </a:lnTo>
                  <a:lnTo>
                    <a:pt x="715" y="1377"/>
                  </a:lnTo>
                  <a:lnTo>
                    <a:pt x="715" y="1373"/>
                  </a:lnTo>
                  <a:lnTo>
                    <a:pt x="710" y="1373"/>
                  </a:lnTo>
                  <a:lnTo>
                    <a:pt x="707" y="1375"/>
                  </a:lnTo>
                  <a:lnTo>
                    <a:pt x="707" y="1377"/>
                  </a:lnTo>
                  <a:lnTo>
                    <a:pt x="705" y="1378"/>
                  </a:lnTo>
                  <a:lnTo>
                    <a:pt x="704" y="1377"/>
                  </a:lnTo>
                  <a:lnTo>
                    <a:pt x="702" y="1378"/>
                  </a:lnTo>
                  <a:lnTo>
                    <a:pt x="698" y="1378"/>
                  </a:lnTo>
                  <a:lnTo>
                    <a:pt x="698" y="1380"/>
                  </a:lnTo>
                  <a:lnTo>
                    <a:pt x="697" y="1378"/>
                  </a:lnTo>
                  <a:lnTo>
                    <a:pt x="693" y="1378"/>
                  </a:lnTo>
                  <a:lnTo>
                    <a:pt x="692" y="1382"/>
                  </a:lnTo>
                  <a:lnTo>
                    <a:pt x="688" y="1382"/>
                  </a:lnTo>
                  <a:lnTo>
                    <a:pt x="687" y="1383"/>
                  </a:lnTo>
                  <a:lnTo>
                    <a:pt x="685" y="1385"/>
                  </a:lnTo>
                  <a:lnTo>
                    <a:pt x="685" y="1382"/>
                  </a:lnTo>
                  <a:lnTo>
                    <a:pt x="683" y="1383"/>
                  </a:lnTo>
                  <a:lnTo>
                    <a:pt x="681" y="1382"/>
                  </a:lnTo>
                  <a:lnTo>
                    <a:pt x="680" y="1383"/>
                  </a:lnTo>
                  <a:lnTo>
                    <a:pt x="680" y="1382"/>
                  </a:lnTo>
                  <a:lnTo>
                    <a:pt x="676" y="1383"/>
                  </a:lnTo>
                  <a:lnTo>
                    <a:pt x="673" y="1383"/>
                  </a:lnTo>
                  <a:lnTo>
                    <a:pt x="671" y="1385"/>
                  </a:lnTo>
                  <a:lnTo>
                    <a:pt x="668" y="1383"/>
                  </a:lnTo>
                  <a:lnTo>
                    <a:pt x="666" y="1388"/>
                  </a:lnTo>
                  <a:lnTo>
                    <a:pt x="664" y="1388"/>
                  </a:lnTo>
                  <a:lnTo>
                    <a:pt x="663" y="1390"/>
                  </a:lnTo>
                  <a:lnTo>
                    <a:pt x="659" y="1392"/>
                  </a:lnTo>
                  <a:lnTo>
                    <a:pt x="654" y="1394"/>
                  </a:lnTo>
                  <a:lnTo>
                    <a:pt x="654" y="1395"/>
                  </a:lnTo>
                  <a:lnTo>
                    <a:pt x="653" y="1395"/>
                  </a:lnTo>
                  <a:lnTo>
                    <a:pt x="651" y="1399"/>
                  </a:lnTo>
                  <a:lnTo>
                    <a:pt x="647" y="1399"/>
                  </a:lnTo>
                  <a:lnTo>
                    <a:pt x="647" y="1400"/>
                  </a:lnTo>
                  <a:lnTo>
                    <a:pt x="644" y="1400"/>
                  </a:lnTo>
                  <a:lnTo>
                    <a:pt x="644" y="1402"/>
                  </a:lnTo>
                  <a:lnTo>
                    <a:pt x="642" y="1405"/>
                  </a:lnTo>
                  <a:lnTo>
                    <a:pt x="641" y="1405"/>
                  </a:lnTo>
                  <a:lnTo>
                    <a:pt x="641" y="1407"/>
                  </a:lnTo>
                  <a:lnTo>
                    <a:pt x="639" y="1407"/>
                  </a:lnTo>
                  <a:lnTo>
                    <a:pt x="637" y="1411"/>
                  </a:lnTo>
                  <a:lnTo>
                    <a:pt x="634" y="1412"/>
                  </a:lnTo>
                  <a:lnTo>
                    <a:pt x="634" y="1414"/>
                  </a:lnTo>
                  <a:lnTo>
                    <a:pt x="632" y="1417"/>
                  </a:lnTo>
                  <a:lnTo>
                    <a:pt x="625" y="1419"/>
                  </a:lnTo>
                  <a:lnTo>
                    <a:pt x="622" y="1421"/>
                  </a:lnTo>
                  <a:lnTo>
                    <a:pt x="620" y="1421"/>
                  </a:lnTo>
                  <a:lnTo>
                    <a:pt x="622" y="1422"/>
                  </a:lnTo>
                  <a:lnTo>
                    <a:pt x="617" y="1424"/>
                  </a:lnTo>
                  <a:lnTo>
                    <a:pt x="613" y="1422"/>
                  </a:lnTo>
                  <a:lnTo>
                    <a:pt x="608" y="1424"/>
                  </a:lnTo>
                  <a:lnTo>
                    <a:pt x="605" y="1422"/>
                  </a:lnTo>
                  <a:lnTo>
                    <a:pt x="603" y="1424"/>
                  </a:lnTo>
                  <a:lnTo>
                    <a:pt x="605" y="1428"/>
                  </a:lnTo>
                  <a:lnTo>
                    <a:pt x="602" y="1428"/>
                  </a:lnTo>
                  <a:lnTo>
                    <a:pt x="602" y="1429"/>
                  </a:lnTo>
                  <a:lnTo>
                    <a:pt x="600" y="1428"/>
                  </a:lnTo>
                  <a:lnTo>
                    <a:pt x="596" y="1428"/>
                  </a:lnTo>
                  <a:lnTo>
                    <a:pt x="595" y="1429"/>
                  </a:lnTo>
                  <a:lnTo>
                    <a:pt x="595" y="1433"/>
                  </a:lnTo>
                  <a:lnTo>
                    <a:pt x="593" y="1433"/>
                  </a:lnTo>
                  <a:lnTo>
                    <a:pt x="591" y="1436"/>
                  </a:lnTo>
                  <a:lnTo>
                    <a:pt x="590" y="1434"/>
                  </a:lnTo>
                  <a:lnTo>
                    <a:pt x="585" y="1438"/>
                  </a:lnTo>
                  <a:lnTo>
                    <a:pt x="581" y="1439"/>
                  </a:lnTo>
                  <a:lnTo>
                    <a:pt x="574" y="1448"/>
                  </a:lnTo>
                  <a:lnTo>
                    <a:pt x="573" y="1450"/>
                  </a:lnTo>
                  <a:lnTo>
                    <a:pt x="571" y="1448"/>
                  </a:lnTo>
                  <a:lnTo>
                    <a:pt x="568" y="1458"/>
                  </a:lnTo>
                  <a:lnTo>
                    <a:pt x="564" y="1458"/>
                  </a:lnTo>
                  <a:lnTo>
                    <a:pt x="564" y="1456"/>
                  </a:lnTo>
                  <a:lnTo>
                    <a:pt x="554" y="1451"/>
                  </a:lnTo>
                  <a:lnTo>
                    <a:pt x="551" y="1451"/>
                  </a:lnTo>
                  <a:lnTo>
                    <a:pt x="549" y="1453"/>
                  </a:lnTo>
                  <a:lnTo>
                    <a:pt x="545" y="1453"/>
                  </a:lnTo>
                  <a:lnTo>
                    <a:pt x="544" y="1455"/>
                  </a:lnTo>
                  <a:lnTo>
                    <a:pt x="542" y="1453"/>
                  </a:lnTo>
                  <a:lnTo>
                    <a:pt x="539" y="1453"/>
                  </a:lnTo>
                  <a:lnTo>
                    <a:pt x="532" y="1458"/>
                  </a:lnTo>
                  <a:lnTo>
                    <a:pt x="532" y="1465"/>
                  </a:lnTo>
                  <a:lnTo>
                    <a:pt x="523" y="1472"/>
                  </a:lnTo>
                  <a:lnTo>
                    <a:pt x="520" y="1480"/>
                  </a:lnTo>
                  <a:lnTo>
                    <a:pt x="511" y="1485"/>
                  </a:lnTo>
                  <a:lnTo>
                    <a:pt x="510" y="1485"/>
                  </a:lnTo>
                  <a:lnTo>
                    <a:pt x="506" y="1487"/>
                  </a:lnTo>
                  <a:lnTo>
                    <a:pt x="505" y="1490"/>
                  </a:lnTo>
                  <a:lnTo>
                    <a:pt x="503" y="1487"/>
                  </a:lnTo>
                  <a:lnTo>
                    <a:pt x="496" y="1490"/>
                  </a:lnTo>
                  <a:lnTo>
                    <a:pt x="491" y="1496"/>
                  </a:lnTo>
                  <a:lnTo>
                    <a:pt x="476" y="1499"/>
                  </a:lnTo>
                  <a:lnTo>
                    <a:pt x="476" y="1494"/>
                  </a:lnTo>
                  <a:lnTo>
                    <a:pt x="472" y="1494"/>
                  </a:lnTo>
                  <a:lnTo>
                    <a:pt x="472" y="1490"/>
                  </a:lnTo>
                  <a:lnTo>
                    <a:pt x="474" y="1485"/>
                  </a:lnTo>
                  <a:lnTo>
                    <a:pt x="472" y="1487"/>
                  </a:lnTo>
                  <a:lnTo>
                    <a:pt x="472" y="1485"/>
                  </a:lnTo>
                  <a:lnTo>
                    <a:pt x="471" y="1485"/>
                  </a:lnTo>
                  <a:lnTo>
                    <a:pt x="469" y="1485"/>
                  </a:lnTo>
                  <a:lnTo>
                    <a:pt x="469" y="1484"/>
                  </a:lnTo>
                  <a:lnTo>
                    <a:pt x="466" y="1485"/>
                  </a:lnTo>
                  <a:lnTo>
                    <a:pt x="464" y="1484"/>
                  </a:lnTo>
                  <a:lnTo>
                    <a:pt x="464" y="1487"/>
                  </a:lnTo>
                  <a:lnTo>
                    <a:pt x="460" y="1485"/>
                  </a:lnTo>
                  <a:lnTo>
                    <a:pt x="460" y="1487"/>
                  </a:lnTo>
                  <a:lnTo>
                    <a:pt x="460" y="1485"/>
                  </a:lnTo>
                  <a:lnTo>
                    <a:pt x="459" y="1487"/>
                  </a:lnTo>
                  <a:lnTo>
                    <a:pt x="457" y="1485"/>
                  </a:lnTo>
                  <a:lnTo>
                    <a:pt x="455" y="1485"/>
                  </a:lnTo>
                  <a:lnTo>
                    <a:pt x="455" y="1484"/>
                  </a:lnTo>
                  <a:lnTo>
                    <a:pt x="452" y="1484"/>
                  </a:lnTo>
                  <a:lnTo>
                    <a:pt x="450" y="1485"/>
                  </a:lnTo>
                  <a:lnTo>
                    <a:pt x="447" y="1482"/>
                  </a:lnTo>
                  <a:lnTo>
                    <a:pt x="445" y="1484"/>
                  </a:lnTo>
                  <a:lnTo>
                    <a:pt x="443" y="1482"/>
                  </a:lnTo>
                  <a:lnTo>
                    <a:pt x="440" y="1484"/>
                  </a:lnTo>
                  <a:lnTo>
                    <a:pt x="440" y="1482"/>
                  </a:lnTo>
                  <a:lnTo>
                    <a:pt x="437" y="1482"/>
                  </a:lnTo>
                  <a:lnTo>
                    <a:pt x="437" y="1480"/>
                  </a:lnTo>
                  <a:lnTo>
                    <a:pt x="435" y="1482"/>
                  </a:lnTo>
                  <a:lnTo>
                    <a:pt x="433" y="1480"/>
                  </a:lnTo>
                  <a:lnTo>
                    <a:pt x="432" y="1480"/>
                  </a:lnTo>
                  <a:lnTo>
                    <a:pt x="430" y="1479"/>
                  </a:lnTo>
                  <a:lnTo>
                    <a:pt x="426" y="1480"/>
                  </a:lnTo>
                  <a:lnTo>
                    <a:pt x="428" y="1479"/>
                  </a:lnTo>
                  <a:lnTo>
                    <a:pt x="425" y="1480"/>
                  </a:lnTo>
                  <a:lnTo>
                    <a:pt x="421" y="1479"/>
                  </a:lnTo>
                  <a:lnTo>
                    <a:pt x="420" y="1480"/>
                  </a:lnTo>
                  <a:lnTo>
                    <a:pt x="420" y="1479"/>
                  </a:lnTo>
                  <a:lnTo>
                    <a:pt x="416" y="1479"/>
                  </a:lnTo>
                  <a:lnTo>
                    <a:pt x="416" y="1480"/>
                  </a:lnTo>
                  <a:lnTo>
                    <a:pt x="415" y="1479"/>
                  </a:lnTo>
                  <a:lnTo>
                    <a:pt x="415" y="1480"/>
                  </a:lnTo>
                  <a:lnTo>
                    <a:pt x="413" y="1479"/>
                  </a:lnTo>
                  <a:lnTo>
                    <a:pt x="409" y="1479"/>
                  </a:lnTo>
                  <a:lnTo>
                    <a:pt x="409" y="1480"/>
                  </a:lnTo>
                  <a:lnTo>
                    <a:pt x="406" y="1480"/>
                  </a:lnTo>
                  <a:lnTo>
                    <a:pt x="404" y="1479"/>
                  </a:lnTo>
                  <a:lnTo>
                    <a:pt x="401" y="1479"/>
                  </a:lnTo>
                  <a:lnTo>
                    <a:pt x="401" y="1480"/>
                  </a:lnTo>
                  <a:lnTo>
                    <a:pt x="398" y="1479"/>
                  </a:lnTo>
                  <a:lnTo>
                    <a:pt x="394" y="1480"/>
                  </a:lnTo>
                  <a:lnTo>
                    <a:pt x="391" y="1480"/>
                  </a:lnTo>
                  <a:lnTo>
                    <a:pt x="386" y="1482"/>
                  </a:lnTo>
                  <a:lnTo>
                    <a:pt x="384" y="1482"/>
                  </a:lnTo>
                  <a:lnTo>
                    <a:pt x="382" y="1482"/>
                  </a:lnTo>
                  <a:lnTo>
                    <a:pt x="381" y="1479"/>
                  </a:lnTo>
                  <a:lnTo>
                    <a:pt x="374" y="1479"/>
                  </a:lnTo>
                  <a:lnTo>
                    <a:pt x="372" y="1479"/>
                  </a:lnTo>
                  <a:lnTo>
                    <a:pt x="369" y="1477"/>
                  </a:lnTo>
                  <a:lnTo>
                    <a:pt x="367" y="1479"/>
                  </a:lnTo>
                  <a:lnTo>
                    <a:pt x="365" y="1477"/>
                  </a:lnTo>
                  <a:lnTo>
                    <a:pt x="353" y="1484"/>
                  </a:lnTo>
                  <a:lnTo>
                    <a:pt x="352" y="1484"/>
                  </a:lnTo>
                  <a:lnTo>
                    <a:pt x="345" y="1489"/>
                  </a:lnTo>
                  <a:lnTo>
                    <a:pt x="341" y="1490"/>
                  </a:lnTo>
                  <a:lnTo>
                    <a:pt x="338" y="1489"/>
                  </a:lnTo>
                  <a:lnTo>
                    <a:pt x="331" y="1490"/>
                  </a:lnTo>
                  <a:lnTo>
                    <a:pt x="319" y="1489"/>
                  </a:lnTo>
                  <a:lnTo>
                    <a:pt x="318" y="1484"/>
                  </a:lnTo>
                  <a:lnTo>
                    <a:pt x="311" y="1479"/>
                  </a:lnTo>
                  <a:lnTo>
                    <a:pt x="302" y="1485"/>
                  </a:lnTo>
                  <a:lnTo>
                    <a:pt x="304" y="1462"/>
                  </a:lnTo>
                  <a:lnTo>
                    <a:pt x="304" y="1453"/>
                  </a:lnTo>
                  <a:lnTo>
                    <a:pt x="304" y="1445"/>
                  </a:lnTo>
                  <a:lnTo>
                    <a:pt x="304" y="1433"/>
                  </a:lnTo>
                  <a:lnTo>
                    <a:pt x="304" y="1431"/>
                  </a:lnTo>
                  <a:lnTo>
                    <a:pt x="304" y="1424"/>
                  </a:lnTo>
                  <a:lnTo>
                    <a:pt x="304" y="1409"/>
                  </a:lnTo>
                  <a:lnTo>
                    <a:pt x="304" y="1405"/>
                  </a:lnTo>
                  <a:lnTo>
                    <a:pt x="304" y="1394"/>
                  </a:lnTo>
                  <a:lnTo>
                    <a:pt x="304" y="1378"/>
                  </a:lnTo>
                  <a:lnTo>
                    <a:pt x="307" y="1373"/>
                  </a:lnTo>
                  <a:lnTo>
                    <a:pt x="311" y="1375"/>
                  </a:lnTo>
                  <a:lnTo>
                    <a:pt x="313" y="1371"/>
                  </a:lnTo>
                  <a:lnTo>
                    <a:pt x="313" y="1368"/>
                  </a:lnTo>
                  <a:lnTo>
                    <a:pt x="307" y="1361"/>
                  </a:lnTo>
                  <a:lnTo>
                    <a:pt x="307" y="1358"/>
                  </a:lnTo>
                  <a:lnTo>
                    <a:pt x="307" y="1354"/>
                  </a:lnTo>
                  <a:lnTo>
                    <a:pt x="306" y="1353"/>
                  </a:lnTo>
                  <a:lnTo>
                    <a:pt x="307" y="1353"/>
                  </a:lnTo>
                  <a:lnTo>
                    <a:pt x="307" y="1354"/>
                  </a:lnTo>
                  <a:lnTo>
                    <a:pt x="311" y="1354"/>
                  </a:lnTo>
                  <a:lnTo>
                    <a:pt x="309" y="1351"/>
                  </a:lnTo>
                  <a:lnTo>
                    <a:pt x="313" y="1351"/>
                  </a:lnTo>
                  <a:lnTo>
                    <a:pt x="311" y="1349"/>
                  </a:lnTo>
                  <a:lnTo>
                    <a:pt x="313" y="1349"/>
                  </a:lnTo>
                  <a:lnTo>
                    <a:pt x="313" y="1348"/>
                  </a:lnTo>
                  <a:lnTo>
                    <a:pt x="314" y="1348"/>
                  </a:lnTo>
                  <a:lnTo>
                    <a:pt x="316" y="1348"/>
                  </a:lnTo>
                  <a:lnTo>
                    <a:pt x="314" y="1344"/>
                  </a:lnTo>
                  <a:lnTo>
                    <a:pt x="316" y="1344"/>
                  </a:lnTo>
                  <a:lnTo>
                    <a:pt x="314" y="1342"/>
                  </a:lnTo>
                  <a:lnTo>
                    <a:pt x="316" y="1341"/>
                  </a:lnTo>
                  <a:lnTo>
                    <a:pt x="307" y="1342"/>
                  </a:lnTo>
                  <a:lnTo>
                    <a:pt x="307" y="1344"/>
                  </a:lnTo>
                  <a:lnTo>
                    <a:pt x="306" y="1344"/>
                  </a:lnTo>
                  <a:lnTo>
                    <a:pt x="301" y="1351"/>
                  </a:lnTo>
                  <a:lnTo>
                    <a:pt x="296" y="1353"/>
                  </a:lnTo>
                  <a:lnTo>
                    <a:pt x="296" y="1354"/>
                  </a:lnTo>
                  <a:lnTo>
                    <a:pt x="292" y="1353"/>
                  </a:lnTo>
                  <a:lnTo>
                    <a:pt x="292" y="1358"/>
                  </a:lnTo>
                  <a:lnTo>
                    <a:pt x="290" y="1358"/>
                  </a:lnTo>
                  <a:lnTo>
                    <a:pt x="289" y="1361"/>
                  </a:lnTo>
                  <a:lnTo>
                    <a:pt x="285" y="1361"/>
                  </a:lnTo>
                  <a:lnTo>
                    <a:pt x="285" y="1363"/>
                  </a:lnTo>
                  <a:lnTo>
                    <a:pt x="282" y="1363"/>
                  </a:lnTo>
                  <a:lnTo>
                    <a:pt x="277" y="1370"/>
                  </a:lnTo>
                  <a:lnTo>
                    <a:pt x="273" y="1371"/>
                  </a:lnTo>
                  <a:lnTo>
                    <a:pt x="270" y="1377"/>
                  </a:lnTo>
                  <a:lnTo>
                    <a:pt x="265" y="1377"/>
                  </a:lnTo>
                  <a:lnTo>
                    <a:pt x="260" y="1380"/>
                  </a:lnTo>
                  <a:lnTo>
                    <a:pt x="256" y="1380"/>
                  </a:lnTo>
                  <a:lnTo>
                    <a:pt x="250" y="1390"/>
                  </a:lnTo>
                  <a:lnTo>
                    <a:pt x="246" y="1390"/>
                  </a:lnTo>
                  <a:lnTo>
                    <a:pt x="246" y="1392"/>
                  </a:lnTo>
                  <a:lnTo>
                    <a:pt x="241" y="1392"/>
                  </a:lnTo>
                  <a:lnTo>
                    <a:pt x="238" y="1390"/>
                  </a:lnTo>
                  <a:lnTo>
                    <a:pt x="236" y="1394"/>
                  </a:lnTo>
                  <a:lnTo>
                    <a:pt x="221" y="1394"/>
                  </a:lnTo>
                  <a:lnTo>
                    <a:pt x="211" y="1394"/>
                  </a:lnTo>
                  <a:lnTo>
                    <a:pt x="195" y="1394"/>
                  </a:lnTo>
                  <a:lnTo>
                    <a:pt x="187" y="1394"/>
                  </a:lnTo>
                  <a:lnTo>
                    <a:pt x="177" y="1394"/>
                  </a:lnTo>
                  <a:lnTo>
                    <a:pt x="163" y="1394"/>
                  </a:lnTo>
                  <a:lnTo>
                    <a:pt x="165" y="1390"/>
                  </a:lnTo>
                  <a:lnTo>
                    <a:pt x="163" y="1387"/>
                  </a:lnTo>
                  <a:lnTo>
                    <a:pt x="166" y="1382"/>
                  </a:lnTo>
                  <a:lnTo>
                    <a:pt x="165" y="1378"/>
                  </a:lnTo>
                  <a:lnTo>
                    <a:pt x="165" y="1375"/>
                  </a:lnTo>
                  <a:lnTo>
                    <a:pt x="154" y="1371"/>
                  </a:lnTo>
                  <a:lnTo>
                    <a:pt x="156" y="1363"/>
                  </a:lnTo>
                  <a:lnTo>
                    <a:pt x="156" y="1361"/>
                  </a:lnTo>
                  <a:lnTo>
                    <a:pt x="156" y="1358"/>
                  </a:lnTo>
                  <a:lnTo>
                    <a:pt x="154" y="1360"/>
                  </a:lnTo>
                  <a:lnTo>
                    <a:pt x="153" y="1358"/>
                  </a:lnTo>
                  <a:lnTo>
                    <a:pt x="153" y="1351"/>
                  </a:lnTo>
                  <a:lnTo>
                    <a:pt x="151" y="1351"/>
                  </a:lnTo>
                  <a:lnTo>
                    <a:pt x="148" y="1348"/>
                  </a:lnTo>
                  <a:lnTo>
                    <a:pt x="143" y="1346"/>
                  </a:lnTo>
                  <a:lnTo>
                    <a:pt x="132" y="1348"/>
                  </a:lnTo>
                  <a:lnTo>
                    <a:pt x="127" y="1344"/>
                  </a:lnTo>
                  <a:lnTo>
                    <a:pt x="115" y="1342"/>
                  </a:lnTo>
                  <a:lnTo>
                    <a:pt x="114" y="1339"/>
                  </a:lnTo>
                  <a:lnTo>
                    <a:pt x="112" y="1339"/>
                  </a:lnTo>
                  <a:lnTo>
                    <a:pt x="93" y="1339"/>
                  </a:lnTo>
                  <a:lnTo>
                    <a:pt x="69" y="1339"/>
                  </a:lnTo>
                  <a:lnTo>
                    <a:pt x="71" y="1336"/>
                  </a:lnTo>
                  <a:lnTo>
                    <a:pt x="78" y="1331"/>
                  </a:lnTo>
                  <a:lnTo>
                    <a:pt x="78" y="1327"/>
                  </a:lnTo>
                  <a:lnTo>
                    <a:pt x="81" y="1324"/>
                  </a:lnTo>
                  <a:lnTo>
                    <a:pt x="85" y="1324"/>
                  </a:lnTo>
                  <a:lnTo>
                    <a:pt x="88" y="1322"/>
                  </a:lnTo>
                  <a:lnTo>
                    <a:pt x="88" y="1320"/>
                  </a:lnTo>
                  <a:lnTo>
                    <a:pt x="88" y="1317"/>
                  </a:lnTo>
                  <a:lnTo>
                    <a:pt x="93" y="1315"/>
                  </a:lnTo>
                  <a:lnTo>
                    <a:pt x="95" y="1310"/>
                  </a:lnTo>
                  <a:lnTo>
                    <a:pt x="93" y="1303"/>
                  </a:lnTo>
                  <a:lnTo>
                    <a:pt x="93" y="1302"/>
                  </a:lnTo>
                  <a:lnTo>
                    <a:pt x="90" y="1297"/>
                  </a:lnTo>
                  <a:lnTo>
                    <a:pt x="83" y="1293"/>
                  </a:lnTo>
                  <a:lnTo>
                    <a:pt x="75" y="1276"/>
                  </a:lnTo>
                  <a:lnTo>
                    <a:pt x="73" y="1274"/>
                  </a:lnTo>
                  <a:lnTo>
                    <a:pt x="66" y="1273"/>
                  </a:lnTo>
                  <a:lnTo>
                    <a:pt x="58" y="1266"/>
                  </a:lnTo>
                  <a:lnTo>
                    <a:pt x="59" y="1254"/>
                  </a:lnTo>
                  <a:lnTo>
                    <a:pt x="54" y="1254"/>
                  </a:lnTo>
                  <a:lnTo>
                    <a:pt x="51" y="1249"/>
                  </a:lnTo>
                  <a:lnTo>
                    <a:pt x="46" y="1247"/>
                  </a:lnTo>
                  <a:lnTo>
                    <a:pt x="41" y="1242"/>
                  </a:lnTo>
                  <a:lnTo>
                    <a:pt x="41" y="1235"/>
                  </a:lnTo>
                  <a:lnTo>
                    <a:pt x="35" y="1230"/>
                  </a:lnTo>
                  <a:lnTo>
                    <a:pt x="35" y="1222"/>
                  </a:lnTo>
                  <a:lnTo>
                    <a:pt x="32" y="1217"/>
                  </a:lnTo>
                  <a:lnTo>
                    <a:pt x="32" y="1213"/>
                  </a:lnTo>
                  <a:lnTo>
                    <a:pt x="29" y="1212"/>
                  </a:lnTo>
                  <a:lnTo>
                    <a:pt x="27" y="1208"/>
                  </a:lnTo>
                  <a:lnTo>
                    <a:pt x="24" y="1208"/>
                  </a:lnTo>
                  <a:lnTo>
                    <a:pt x="20" y="1201"/>
                  </a:lnTo>
                  <a:lnTo>
                    <a:pt x="22" y="1201"/>
                  </a:lnTo>
                  <a:lnTo>
                    <a:pt x="20" y="1198"/>
                  </a:lnTo>
                  <a:lnTo>
                    <a:pt x="22" y="1200"/>
                  </a:lnTo>
                  <a:lnTo>
                    <a:pt x="25" y="1200"/>
                  </a:lnTo>
                  <a:lnTo>
                    <a:pt x="27" y="1196"/>
                  </a:lnTo>
                  <a:lnTo>
                    <a:pt x="27" y="1189"/>
                  </a:lnTo>
                  <a:lnTo>
                    <a:pt x="22" y="1186"/>
                  </a:lnTo>
                  <a:lnTo>
                    <a:pt x="15" y="1186"/>
                  </a:lnTo>
                  <a:lnTo>
                    <a:pt x="13" y="1181"/>
                  </a:lnTo>
                  <a:lnTo>
                    <a:pt x="10" y="1181"/>
                  </a:lnTo>
                  <a:lnTo>
                    <a:pt x="8" y="1177"/>
                  </a:lnTo>
                  <a:lnTo>
                    <a:pt x="0" y="1171"/>
                  </a:lnTo>
                  <a:lnTo>
                    <a:pt x="0" y="1167"/>
                  </a:lnTo>
                  <a:lnTo>
                    <a:pt x="3" y="1167"/>
                  </a:lnTo>
                  <a:lnTo>
                    <a:pt x="7" y="1162"/>
                  </a:lnTo>
                  <a:lnTo>
                    <a:pt x="3" y="1152"/>
                  </a:lnTo>
                  <a:lnTo>
                    <a:pt x="5" y="1152"/>
                  </a:lnTo>
                  <a:lnTo>
                    <a:pt x="7" y="1154"/>
                  </a:lnTo>
                  <a:lnTo>
                    <a:pt x="12" y="1154"/>
                  </a:lnTo>
                  <a:lnTo>
                    <a:pt x="15" y="1150"/>
                  </a:lnTo>
                  <a:lnTo>
                    <a:pt x="20" y="1150"/>
                  </a:lnTo>
                  <a:lnTo>
                    <a:pt x="22" y="1152"/>
                  </a:lnTo>
                  <a:lnTo>
                    <a:pt x="27" y="1147"/>
                  </a:lnTo>
                  <a:lnTo>
                    <a:pt x="25" y="1142"/>
                  </a:lnTo>
                  <a:lnTo>
                    <a:pt x="22" y="1138"/>
                  </a:lnTo>
                  <a:lnTo>
                    <a:pt x="17" y="1130"/>
                  </a:lnTo>
                  <a:lnTo>
                    <a:pt x="24" y="1121"/>
                  </a:lnTo>
                  <a:lnTo>
                    <a:pt x="24" y="1120"/>
                  </a:lnTo>
                  <a:lnTo>
                    <a:pt x="22" y="1118"/>
                  </a:lnTo>
                  <a:lnTo>
                    <a:pt x="22" y="1116"/>
                  </a:lnTo>
                  <a:lnTo>
                    <a:pt x="22" y="1115"/>
                  </a:lnTo>
                  <a:lnTo>
                    <a:pt x="25" y="1109"/>
                  </a:lnTo>
                  <a:lnTo>
                    <a:pt x="25" y="1104"/>
                  </a:lnTo>
                  <a:lnTo>
                    <a:pt x="27" y="1104"/>
                  </a:lnTo>
                  <a:lnTo>
                    <a:pt x="30" y="1103"/>
                  </a:lnTo>
                  <a:lnTo>
                    <a:pt x="32" y="1098"/>
                  </a:lnTo>
                  <a:lnTo>
                    <a:pt x="39" y="1094"/>
                  </a:lnTo>
                  <a:lnTo>
                    <a:pt x="42" y="1091"/>
                  </a:lnTo>
                  <a:lnTo>
                    <a:pt x="56" y="1087"/>
                  </a:lnTo>
                  <a:lnTo>
                    <a:pt x="56" y="1086"/>
                  </a:lnTo>
                  <a:lnTo>
                    <a:pt x="59" y="1082"/>
                  </a:lnTo>
                  <a:lnTo>
                    <a:pt x="69" y="1082"/>
                  </a:lnTo>
                  <a:lnTo>
                    <a:pt x="71" y="1081"/>
                  </a:lnTo>
                  <a:lnTo>
                    <a:pt x="73" y="1079"/>
                  </a:lnTo>
                  <a:lnTo>
                    <a:pt x="75" y="1079"/>
                  </a:lnTo>
                  <a:lnTo>
                    <a:pt x="73" y="1075"/>
                  </a:lnTo>
                  <a:lnTo>
                    <a:pt x="76" y="1077"/>
                  </a:lnTo>
                  <a:lnTo>
                    <a:pt x="78" y="1075"/>
                  </a:lnTo>
                  <a:lnTo>
                    <a:pt x="78" y="1074"/>
                  </a:lnTo>
                  <a:lnTo>
                    <a:pt x="81" y="1070"/>
                  </a:lnTo>
                  <a:lnTo>
                    <a:pt x="80" y="1069"/>
                  </a:lnTo>
                  <a:lnTo>
                    <a:pt x="81" y="1065"/>
                  </a:lnTo>
                  <a:lnTo>
                    <a:pt x="78" y="1064"/>
                  </a:lnTo>
                  <a:lnTo>
                    <a:pt x="76" y="1053"/>
                  </a:lnTo>
                  <a:lnTo>
                    <a:pt x="71" y="1048"/>
                  </a:lnTo>
                  <a:lnTo>
                    <a:pt x="71" y="1045"/>
                  </a:lnTo>
                  <a:lnTo>
                    <a:pt x="68" y="1041"/>
                  </a:lnTo>
                  <a:lnTo>
                    <a:pt x="68" y="1038"/>
                  </a:lnTo>
                  <a:lnTo>
                    <a:pt x="69" y="1036"/>
                  </a:lnTo>
                  <a:lnTo>
                    <a:pt x="69" y="1031"/>
                  </a:lnTo>
                  <a:lnTo>
                    <a:pt x="75" y="1029"/>
                  </a:lnTo>
                  <a:lnTo>
                    <a:pt x="73" y="1028"/>
                  </a:lnTo>
                  <a:lnTo>
                    <a:pt x="75" y="1026"/>
                  </a:lnTo>
                  <a:lnTo>
                    <a:pt x="75" y="1023"/>
                  </a:lnTo>
                  <a:lnTo>
                    <a:pt x="78" y="1016"/>
                  </a:lnTo>
                  <a:lnTo>
                    <a:pt x="80" y="1016"/>
                  </a:lnTo>
                  <a:lnTo>
                    <a:pt x="81" y="1012"/>
                  </a:lnTo>
                  <a:lnTo>
                    <a:pt x="83" y="1012"/>
                  </a:lnTo>
                  <a:lnTo>
                    <a:pt x="85" y="1012"/>
                  </a:lnTo>
                  <a:lnTo>
                    <a:pt x="83" y="1011"/>
                  </a:lnTo>
                  <a:lnTo>
                    <a:pt x="86" y="1009"/>
                  </a:lnTo>
                  <a:lnTo>
                    <a:pt x="86" y="1006"/>
                  </a:lnTo>
                  <a:lnTo>
                    <a:pt x="90" y="1004"/>
                  </a:lnTo>
                  <a:lnTo>
                    <a:pt x="88" y="1004"/>
                  </a:lnTo>
                  <a:lnTo>
                    <a:pt x="92" y="1004"/>
                  </a:lnTo>
                  <a:lnTo>
                    <a:pt x="92" y="1002"/>
                  </a:lnTo>
                  <a:lnTo>
                    <a:pt x="93" y="999"/>
                  </a:lnTo>
                  <a:lnTo>
                    <a:pt x="92" y="999"/>
                  </a:lnTo>
                  <a:lnTo>
                    <a:pt x="95" y="997"/>
                  </a:lnTo>
                  <a:lnTo>
                    <a:pt x="93" y="994"/>
                  </a:lnTo>
                  <a:lnTo>
                    <a:pt x="95" y="990"/>
                  </a:lnTo>
                  <a:lnTo>
                    <a:pt x="95" y="989"/>
                  </a:lnTo>
                  <a:lnTo>
                    <a:pt x="97" y="987"/>
                  </a:lnTo>
                  <a:lnTo>
                    <a:pt x="95" y="987"/>
                  </a:lnTo>
                  <a:lnTo>
                    <a:pt x="95" y="985"/>
                  </a:lnTo>
                  <a:lnTo>
                    <a:pt x="97" y="982"/>
                  </a:lnTo>
                  <a:lnTo>
                    <a:pt x="95" y="980"/>
                  </a:lnTo>
                  <a:lnTo>
                    <a:pt x="98" y="975"/>
                  </a:lnTo>
                  <a:lnTo>
                    <a:pt x="98" y="972"/>
                  </a:lnTo>
                  <a:lnTo>
                    <a:pt x="102" y="970"/>
                  </a:lnTo>
                  <a:lnTo>
                    <a:pt x="100" y="968"/>
                  </a:lnTo>
                  <a:lnTo>
                    <a:pt x="103" y="961"/>
                  </a:lnTo>
                  <a:lnTo>
                    <a:pt x="103" y="960"/>
                  </a:lnTo>
                  <a:lnTo>
                    <a:pt x="103" y="953"/>
                  </a:lnTo>
                  <a:lnTo>
                    <a:pt x="102" y="955"/>
                  </a:lnTo>
                  <a:lnTo>
                    <a:pt x="102" y="951"/>
                  </a:lnTo>
                  <a:lnTo>
                    <a:pt x="105" y="950"/>
                  </a:lnTo>
                  <a:lnTo>
                    <a:pt x="105" y="951"/>
                  </a:lnTo>
                  <a:lnTo>
                    <a:pt x="107" y="950"/>
                  </a:lnTo>
                  <a:lnTo>
                    <a:pt x="109" y="950"/>
                  </a:lnTo>
                  <a:lnTo>
                    <a:pt x="109" y="946"/>
                  </a:lnTo>
                  <a:lnTo>
                    <a:pt x="110" y="948"/>
                  </a:lnTo>
                  <a:lnTo>
                    <a:pt x="110" y="946"/>
                  </a:lnTo>
                  <a:lnTo>
                    <a:pt x="112" y="946"/>
                  </a:lnTo>
                  <a:lnTo>
                    <a:pt x="114" y="944"/>
                  </a:lnTo>
                  <a:lnTo>
                    <a:pt x="115" y="944"/>
                  </a:lnTo>
                  <a:lnTo>
                    <a:pt x="117" y="941"/>
                  </a:lnTo>
                  <a:lnTo>
                    <a:pt x="119" y="943"/>
                  </a:lnTo>
                  <a:lnTo>
                    <a:pt x="122" y="941"/>
                  </a:lnTo>
                  <a:lnTo>
                    <a:pt x="122" y="943"/>
                  </a:lnTo>
                  <a:lnTo>
                    <a:pt x="124" y="941"/>
                  </a:lnTo>
                  <a:lnTo>
                    <a:pt x="124" y="943"/>
                  </a:lnTo>
                  <a:lnTo>
                    <a:pt x="126" y="941"/>
                  </a:lnTo>
                  <a:lnTo>
                    <a:pt x="127" y="938"/>
                  </a:lnTo>
                  <a:lnTo>
                    <a:pt x="127" y="936"/>
                  </a:lnTo>
                  <a:lnTo>
                    <a:pt x="129" y="936"/>
                  </a:lnTo>
                  <a:lnTo>
                    <a:pt x="129" y="938"/>
                  </a:lnTo>
                  <a:lnTo>
                    <a:pt x="129" y="936"/>
                  </a:lnTo>
                  <a:lnTo>
                    <a:pt x="131" y="936"/>
                  </a:lnTo>
                  <a:lnTo>
                    <a:pt x="132" y="933"/>
                  </a:lnTo>
                  <a:lnTo>
                    <a:pt x="136" y="934"/>
                  </a:lnTo>
                  <a:lnTo>
                    <a:pt x="136" y="931"/>
                  </a:lnTo>
                  <a:lnTo>
                    <a:pt x="137" y="933"/>
                  </a:lnTo>
                  <a:lnTo>
                    <a:pt x="137" y="931"/>
                  </a:lnTo>
                  <a:lnTo>
                    <a:pt x="139" y="933"/>
                  </a:lnTo>
                  <a:lnTo>
                    <a:pt x="139" y="931"/>
                  </a:lnTo>
                  <a:lnTo>
                    <a:pt x="141" y="929"/>
                  </a:lnTo>
                  <a:lnTo>
                    <a:pt x="139" y="927"/>
                  </a:lnTo>
                  <a:lnTo>
                    <a:pt x="143" y="929"/>
                  </a:lnTo>
                  <a:lnTo>
                    <a:pt x="144" y="927"/>
                  </a:lnTo>
                  <a:lnTo>
                    <a:pt x="144" y="926"/>
                  </a:lnTo>
                  <a:lnTo>
                    <a:pt x="146" y="927"/>
                  </a:lnTo>
                  <a:lnTo>
                    <a:pt x="146" y="926"/>
                  </a:lnTo>
                  <a:lnTo>
                    <a:pt x="148" y="926"/>
                  </a:lnTo>
                  <a:lnTo>
                    <a:pt x="148" y="924"/>
                  </a:lnTo>
                  <a:lnTo>
                    <a:pt x="148" y="922"/>
                  </a:lnTo>
                  <a:lnTo>
                    <a:pt x="149" y="921"/>
                  </a:lnTo>
                  <a:lnTo>
                    <a:pt x="149" y="919"/>
                  </a:lnTo>
                  <a:lnTo>
                    <a:pt x="151" y="919"/>
                  </a:lnTo>
                  <a:lnTo>
                    <a:pt x="153" y="921"/>
                  </a:lnTo>
                  <a:lnTo>
                    <a:pt x="153" y="917"/>
                  </a:lnTo>
                  <a:lnTo>
                    <a:pt x="154" y="917"/>
                  </a:lnTo>
                  <a:lnTo>
                    <a:pt x="156" y="917"/>
                  </a:lnTo>
                  <a:lnTo>
                    <a:pt x="158" y="916"/>
                  </a:lnTo>
                  <a:lnTo>
                    <a:pt x="156" y="919"/>
                  </a:lnTo>
                  <a:lnTo>
                    <a:pt x="158" y="919"/>
                  </a:lnTo>
                  <a:lnTo>
                    <a:pt x="160" y="917"/>
                  </a:lnTo>
                  <a:lnTo>
                    <a:pt x="160" y="916"/>
                  </a:lnTo>
                  <a:lnTo>
                    <a:pt x="161" y="917"/>
                  </a:lnTo>
                  <a:lnTo>
                    <a:pt x="163" y="916"/>
                  </a:lnTo>
                  <a:lnTo>
                    <a:pt x="163" y="914"/>
                  </a:lnTo>
                  <a:lnTo>
                    <a:pt x="165" y="916"/>
                  </a:lnTo>
                  <a:lnTo>
                    <a:pt x="165" y="914"/>
                  </a:lnTo>
                  <a:lnTo>
                    <a:pt x="168" y="914"/>
                  </a:lnTo>
                  <a:lnTo>
                    <a:pt x="170" y="910"/>
                  </a:lnTo>
                  <a:lnTo>
                    <a:pt x="171" y="912"/>
                  </a:lnTo>
                  <a:lnTo>
                    <a:pt x="171" y="910"/>
                  </a:lnTo>
                  <a:lnTo>
                    <a:pt x="177" y="909"/>
                  </a:lnTo>
                  <a:lnTo>
                    <a:pt x="175" y="907"/>
                  </a:lnTo>
                  <a:lnTo>
                    <a:pt x="177" y="907"/>
                  </a:lnTo>
                  <a:lnTo>
                    <a:pt x="177" y="905"/>
                  </a:lnTo>
                  <a:lnTo>
                    <a:pt x="180" y="905"/>
                  </a:lnTo>
                  <a:lnTo>
                    <a:pt x="178" y="904"/>
                  </a:lnTo>
                  <a:lnTo>
                    <a:pt x="182" y="905"/>
                  </a:lnTo>
                  <a:lnTo>
                    <a:pt x="183" y="904"/>
                  </a:lnTo>
                  <a:lnTo>
                    <a:pt x="185" y="904"/>
                  </a:lnTo>
                  <a:lnTo>
                    <a:pt x="183" y="902"/>
                  </a:lnTo>
                  <a:lnTo>
                    <a:pt x="187" y="902"/>
                  </a:lnTo>
                  <a:lnTo>
                    <a:pt x="187" y="899"/>
                  </a:lnTo>
                  <a:lnTo>
                    <a:pt x="190" y="897"/>
                  </a:lnTo>
                  <a:lnTo>
                    <a:pt x="190" y="893"/>
                  </a:lnTo>
                  <a:lnTo>
                    <a:pt x="194" y="895"/>
                  </a:lnTo>
                  <a:lnTo>
                    <a:pt x="192" y="893"/>
                  </a:lnTo>
                  <a:lnTo>
                    <a:pt x="195" y="893"/>
                  </a:lnTo>
                  <a:lnTo>
                    <a:pt x="197" y="892"/>
                  </a:lnTo>
                  <a:lnTo>
                    <a:pt x="199" y="893"/>
                  </a:lnTo>
                  <a:lnTo>
                    <a:pt x="199" y="892"/>
                  </a:lnTo>
                  <a:lnTo>
                    <a:pt x="200" y="892"/>
                  </a:lnTo>
                  <a:lnTo>
                    <a:pt x="202" y="890"/>
                  </a:lnTo>
                  <a:lnTo>
                    <a:pt x="202" y="892"/>
                  </a:lnTo>
                  <a:lnTo>
                    <a:pt x="202" y="890"/>
                  </a:lnTo>
                  <a:lnTo>
                    <a:pt x="204" y="892"/>
                  </a:lnTo>
                  <a:lnTo>
                    <a:pt x="205" y="892"/>
                  </a:lnTo>
                  <a:lnTo>
                    <a:pt x="205" y="888"/>
                  </a:lnTo>
                  <a:lnTo>
                    <a:pt x="207" y="892"/>
                  </a:lnTo>
                  <a:lnTo>
                    <a:pt x="209" y="892"/>
                  </a:lnTo>
                  <a:lnTo>
                    <a:pt x="211" y="892"/>
                  </a:lnTo>
                  <a:lnTo>
                    <a:pt x="214" y="892"/>
                  </a:lnTo>
                  <a:lnTo>
                    <a:pt x="214" y="888"/>
                  </a:lnTo>
                  <a:lnTo>
                    <a:pt x="216" y="892"/>
                  </a:lnTo>
                  <a:lnTo>
                    <a:pt x="217" y="888"/>
                  </a:lnTo>
                  <a:lnTo>
                    <a:pt x="217" y="890"/>
                  </a:lnTo>
                  <a:lnTo>
                    <a:pt x="216" y="893"/>
                  </a:lnTo>
                  <a:lnTo>
                    <a:pt x="219" y="893"/>
                  </a:lnTo>
                  <a:lnTo>
                    <a:pt x="224" y="890"/>
                  </a:lnTo>
                  <a:lnTo>
                    <a:pt x="222" y="890"/>
                  </a:lnTo>
                  <a:lnTo>
                    <a:pt x="226" y="890"/>
                  </a:lnTo>
                  <a:lnTo>
                    <a:pt x="226" y="888"/>
                  </a:lnTo>
                  <a:lnTo>
                    <a:pt x="228" y="888"/>
                  </a:lnTo>
                  <a:lnTo>
                    <a:pt x="229" y="890"/>
                  </a:lnTo>
                  <a:lnTo>
                    <a:pt x="228" y="887"/>
                  </a:lnTo>
                  <a:lnTo>
                    <a:pt x="229" y="888"/>
                  </a:lnTo>
                  <a:lnTo>
                    <a:pt x="231" y="885"/>
                  </a:lnTo>
                  <a:lnTo>
                    <a:pt x="233" y="885"/>
                  </a:lnTo>
                  <a:lnTo>
                    <a:pt x="234" y="887"/>
                  </a:lnTo>
                  <a:lnTo>
                    <a:pt x="234" y="885"/>
                  </a:lnTo>
                  <a:lnTo>
                    <a:pt x="236" y="885"/>
                  </a:lnTo>
                  <a:lnTo>
                    <a:pt x="234" y="887"/>
                  </a:lnTo>
                  <a:lnTo>
                    <a:pt x="234" y="890"/>
                  </a:lnTo>
                  <a:lnTo>
                    <a:pt x="238" y="885"/>
                  </a:lnTo>
                  <a:lnTo>
                    <a:pt x="243" y="885"/>
                  </a:lnTo>
                  <a:lnTo>
                    <a:pt x="243" y="887"/>
                  </a:lnTo>
                  <a:lnTo>
                    <a:pt x="245" y="887"/>
                  </a:lnTo>
                  <a:lnTo>
                    <a:pt x="246" y="888"/>
                  </a:lnTo>
                  <a:lnTo>
                    <a:pt x="246" y="887"/>
                  </a:lnTo>
                  <a:lnTo>
                    <a:pt x="245" y="885"/>
                  </a:lnTo>
                  <a:lnTo>
                    <a:pt x="250" y="887"/>
                  </a:lnTo>
                  <a:lnTo>
                    <a:pt x="250" y="885"/>
                  </a:lnTo>
                  <a:lnTo>
                    <a:pt x="250" y="882"/>
                  </a:lnTo>
                  <a:lnTo>
                    <a:pt x="248" y="882"/>
                  </a:lnTo>
                  <a:lnTo>
                    <a:pt x="250" y="882"/>
                  </a:lnTo>
                  <a:lnTo>
                    <a:pt x="253" y="882"/>
                  </a:lnTo>
                  <a:lnTo>
                    <a:pt x="253" y="883"/>
                  </a:lnTo>
                  <a:lnTo>
                    <a:pt x="255" y="882"/>
                  </a:lnTo>
                  <a:lnTo>
                    <a:pt x="256" y="880"/>
                  </a:lnTo>
                  <a:lnTo>
                    <a:pt x="256" y="885"/>
                  </a:lnTo>
                  <a:lnTo>
                    <a:pt x="258" y="882"/>
                  </a:lnTo>
                  <a:lnTo>
                    <a:pt x="260" y="883"/>
                  </a:lnTo>
                  <a:lnTo>
                    <a:pt x="260" y="882"/>
                  </a:lnTo>
                  <a:lnTo>
                    <a:pt x="263" y="883"/>
                  </a:lnTo>
                  <a:lnTo>
                    <a:pt x="265" y="880"/>
                  </a:lnTo>
                  <a:lnTo>
                    <a:pt x="267" y="880"/>
                  </a:lnTo>
                  <a:lnTo>
                    <a:pt x="267" y="882"/>
                  </a:lnTo>
                  <a:lnTo>
                    <a:pt x="270" y="880"/>
                  </a:lnTo>
                  <a:lnTo>
                    <a:pt x="270" y="883"/>
                  </a:lnTo>
                  <a:lnTo>
                    <a:pt x="272" y="882"/>
                  </a:lnTo>
                  <a:lnTo>
                    <a:pt x="273" y="882"/>
                  </a:lnTo>
                  <a:lnTo>
                    <a:pt x="275" y="880"/>
                  </a:lnTo>
                  <a:lnTo>
                    <a:pt x="275" y="878"/>
                  </a:lnTo>
                  <a:lnTo>
                    <a:pt x="277" y="880"/>
                  </a:lnTo>
                  <a:lnTo>
                    <a:pt x="280" y="882"/>
                  </a:lnTo>
                  <a:lnTo>
                    <a:pt x="280" y="878"/>
                  </a:lnTo>
                  <a:lnTo>
                    <a:pt x="282" y="878"/>
                  </a:lnTo>
                  <a:lnTo>
                    <a:pt x="284" y="876"/>
                  </a:lnTo>
                  <a:lnTo>
                    <a:pt x="285" y="875"/>
                  </a:lnTo>
                  <a:lnTo>
                    <a:pt x="285" y="873"/>
                  </a:lnTo>
                  <a:lnTo>
                    <a:pt x="289" y="871"/>
                  </a:lnTo>
                  <a:lnTo>
                    <a:pt x="287" y="868"/>
                  </a:lnTo>
                  <a:lnTo>
                    <a:pt x="289" y="870"/>
                  </a:lnTo>
                  <a:lnTo>
                    <a:pt x="290" y="866"/>
                  </a:lnTo>
                  <a:lnTo>
                    <a:pt x="289" y="866"/>
                  </a:lnTo>
                  <a:lnTo>
                    <a:pt x="296" y="861"/>
                  </a:lnTo>
                  <a:lnTo>
                    <a:pt x="299" y="863"/>
                  </a:lnTo>
                  <a:lnTo>
                    <a:pt x="302" y="863"/>
                  </a:lnTo>
                  <a:lnTo>
                    <a:pt x="304" y="864"/>
                  </a:lnTo>
                  <a:lnTo>
                    <a:pt x="304" y="859"/>
                  </a:lnTo>
                  <a:lnTo>
                    <a:pt x="306" y="861"/>
                  </a:lnTo>
                  <a:lnTo>
                    <a:pt x="306" y="858"/>
                  </a:lnTo>
                  <a:lnTo>
                    <a:pt x="309" y="858"/>
                  </a:lnTo>
                  <a:lnTo>
                    <a:pt x="307" y="861"/>
                  </a:lnTo>
                  <a:lnTo>
                    <a:pt x="309" y="863"/>
                  </a:lnTo>
                  <a:lnTo>
                    <a:pt x="314" y="861"/>
                  </a:lnTo>
                  <a:lnTo>
                    <a:pt x="313" y="864"/>
                  </a:lnTo>
                  <a:lnTo>
                    <a:pt x="314" y="864"/>
                  </a:lnTo>
                  <a:lnTo>
                    <a:pt x="314" y="861"/>
                  </a:lnTo>
                  <a:lnTo>
                    <a:pt x="316" y="859"/>
                  </a:lnTo>
                  <a:lnTo>
                    <a:pt x="314" y="858"/>
                  </a:lnTo>
                  <a:lnTo>
                    <a:pt x="319" y="859"/>
                  </a:lnTo>
                  <a:lnTo>
                    <a:pt x="318" y="863"/>
                  </a:lnTo>
                  <a:lnTo>
                    <a:pt x="319" y="864"/>
                  </a:lnTo>
                  <a:lnTo>
                    <a:pt x="321" y="861"/>
                  </a:lnTo>
                  <a:lnTo>
                    <a:pt x="323" y="863"/>
                  </a:lnTo>
                  <a:lnTo>
                    <a:pt x="324" y="861"/>
                  </a:lnTo>
                  <a:lnTo>
                    <a:pt x="326" y="861"/>
                  </a:lnTo>
                  <a:lnTo>
                    <a:pt x="324" y="859"/>
                  </a:lnTo>
                  <a:lnTo>
                    <a:pt x="326" y="858"/>
                  </a:lnTo>
                  <a:lnTo>
                    <a:pt x="331" y="858"/>
                  </a:lnTo>
                  <a:lnTo>
                    <a:pt x="335" y="863"/>
                  </a:lnTo>
                  <a:lnTo>
                    <a:pt x="336" y="859"/>
                  </a:lnTo>
                  <a:lnTo>
                    <a:pt x="340" y="861"/>
                  </a:lnTo>
                  <a:lnTo>
                    <a:pt x="340" y="866"/>
                  </a:lnTo>
                  <a:lnTo>
                    <a:pt x="338" y="870"/>
                  </a:lnTo>
                  <a:lnTo>
                    <a:pt x="340" y="871"/>
                  </a:lnTo>
                  <a:lnTo>
                    <a:pt x="338" y="873"/>
                  </a:lnTo>
                  <a:lnTo>
                    <a:pt x="343" y="871"/>
                  </a:lnTo>
                  <a:lnTo>
                    <a:pt x="341" y="873"/>
                  </a:lnTo>
                  <a:lnTo>
                    <a:pt x="341" y="875"/>
                  </a:lnTo>
                  <a:lnTo>
                    <a:pt x="345" y="875"/>
                  </a:lnTo>
                  <a:lnTo>
                    <a:pt x="347" y="873"/>
                  </a:lnTo>
                  <a:lnTo>
                    <a:pt x="347" y="878"/>
                  </a:lnTo>
                  <a:lnTo>
                    <a:pt x="352" y="876"/>
                  </a:lnTo>
                  <a:lnTo>
                    <a:pt x="350" y="873"/>
                  </a:lnTo>
                  <a:lnTo>
                    <a:pt x="352" y="871"/>
                  </a:lnTo>
                  <a:lnTo>
                    <a:pt x="355" y="871"/>
                  </a:lnTo>
                  <a:lnTo>
                    <a:pt x="355" y="870"/>
                  </a:lnTo>
                  <a:lnTo>
                    <a:pt x="357" y="873"/>
                  </a:lnTo>
                  <a:lnTo>
                    <a:pt x="362" y="873"/>
                  </a:lnTo>
                  <a:lnTo>
                    <a:pt x="358" y="875"/>
                  </a:lnTo>
                  <a:lnTo>
                    <a:pt x="362" y="876"/>
                  </a:lnTo>
                  <a:lnTo>
                    <a:pt x="362" y="880"/>
                  </a:lnTo>
                  <a:lnTo>
                    <a:pt x="369" y="882"/>
                  </a:lnTo>
                  <a:lnTo>
                    <a:pt x="367" y="878"/>
                  </a:lnTo>
                  <a:lnTo>
                    <a:pt x="370" y="873"/>
                  </a:lnTo>
                  <a:lnTo>
                    <a:pt x="370" y="866"/>
                  </a:lnTo>
                  <a:lnTo>
                    <a:pt x="372" y="866"/>
                  </a:lnTo>
                  <a:lnTo>
                    <a:pt x="375" y="841"/>
                  </a:lnTo>
                  <a:lnTo>
                    <a:pt x="381" y="817"/>
                  </a:lnTo>
                  <a:lnTo>
                    <a:pt x="392" y="756"/>
                  </a:lnTo>
                  <a:lnTo>
                    <a:pt x="394" y="742"/>
                  </a:lnTo>
                  <a:lnTo>
                    <a:pt x="401" y="703"/>
                  </a:lnTo>
                  <a:lnTo>
                    <a:pt x="404" y="689"/>
                  </a:lnTo>
                  <a:lnTo>
                    <a:pt x="406" y="674"/>
                  </a:lnTo>
                  <a:lnTo>
                    <a:pt x="408" y="664"/>
                  </a:lnTo>
                  <a:lnTo>
                    <a:pt x="413" y="643"/>
                  </a:lnTo>
                  <a:lnTo>
                    <a:pt x="416" y="621"/>
                  </a:lnTo>
                  <a:lnTo>
                    <a:pt x="416" y="616"/>
                  </a:lnTo>
                  <a:lnTo>
                    <a:pt x="418" y="613"/>
                  </a:lnTo>
                  <a:lnTo>
                    <a:pt x="418" y="609"/>
                  </a:lnTo>
                  <a:lnTo>
                    <a:pt x="421" y="604"/>
                  </a:lnTo>
                  <a:lnTo>
                    <a:pt x="418" y="592"/>
                  </a:lnTo>
                  <a:lnTo>
                    <a:pt x="421" y="584"/>
                  </a:lnTo>
                  <a:lnTo>
                    <a:pt x="418" y="579"/>
                  </a:lnTo>
                  <a:lnTo>
                    <a:pt x="420" y="577"/>
                  </a:lnTo>
                  <a:lnTo>
                    <a:pt x="416" y="574"/>
                  </a:lnTo>
                  <a:lnTo>
                    <a:pt x="420" y="572"/>
                  </a:lnTo>
                  <a:lnTo>
                    <a:pt x="416" y="572"/>
                  </a:lnTo>
                  <a:lnTo>
                    <a:pt x="415" y="569"/>
                  </a:lnTo>
                  <a:lnTo>
                    <a:pt x="409" y="565"/>
                  </a:lnTo>
                  <a:lnTo>
                    <a:pt x="409" y="560"/>
                  </a:lnTo>
                  <a:lnTo>
                    <a:pt x="406" y="558"/>
                  </a:lnTo>
                  <a:lnTo>
                    <a:pt x="406" y="555"/>
                  </a:lnTo>
                  <a:lnTo>
                    <a:pt x="404" y="555"/>
                  </a:lnTo>
                  <a:lnTo>
                    <a:pt x="404" y="551"/>
                  </a:lnTo>
                  <a:lnTo>
                    <a:pt x="403" y="553"/>
                  </a:lnTo>
                  <a:lnTo>
                    <a:pt x="403" y="550"/>
                  </a:lnTo>
                  <a:lnTo>
                    <a:pt x="401" y="550"/>
                  </a:lnTo>
                  <a:lnTo>
                    <a:pt x="406" y="540"/>
                  </a:lnTo>
                  <a:lnTo>
                    <a:pt x="403" y="534"/>
                  </a:lnTo>
                  <a:lnTo>
                    <a:pt x="404" y="533"/>
                  </a:lnTo>
                  <a:lnTo>
                    <a:pt x="401" y="529"/>
                  </a:lnTo>
                  <a:lnTo>
                    <a:pt x="403" y="526"/>
                  </a:lnTo>
                  <a:lnTo>
                    <a:pt x="391" y="521"/>
                  </a:lnTo>
                  <a:lnTo>
                    <a:pt x="387" y="516"/>
                  </a:lnTo>
                  <a:lnTo>
                    <a:pt x="382" y="516"/>
                  </a:lnTo>
                  <a:lnTo>
                    <a:pt x="381" y="512"/>
                  </a:lnTo>
                  <a:lnTo>
                    <a:pt x="377" y="512"/>
                  </a:lnTo>
                  <a:lnTo>
                    <a:pt x="374" y="511"/>
                  </a:lnTo>
                  <a:lnTo>
                    <a:pt x="365" y="500"/>
                  </a:lnTo>
                  <a:lnTo>
                    <a:pt x="365" y="495"/>
                  </a:lnTo>
                  <a:lnTo>
                    <a:pt x="362" y="490"/>
                  </a:lnTo>
                  <a:lnTo>
                    <a:pt x="362" y="480"/>
                  </a:lnTo>
                  <a:lnTo>
                    <a:pt x="362" y="465"/>
                  </a:lnTo>
                  <a:lnTo>
                    <a:pt x="362" y="458"/>
                  </a:lnTo>
                  <a:lnTo>
                    <a:pt x="362" y="456"/>
                  </a:lnTo>
                  <a:lnTo>
                    <a:pt x="362" y="444"/>
                  </a:lnTo>
                  <a:lnTo>
                    <a:pt x="362" y="429"/>
                  </a:lnTo>
                  <a:lnTo>
                    <a:pt x="365" y="431"/>
                  </a:lnTo>
                  <a:lnTo>
                    <a:pt x="367" y="429"/>
                  </a:lnTo>
                  <a:lnTo>
                    <a:pt x="369" y="427"/>
                  </a:lnTo>
                  <a:lnTo>
                    <a:pt x="372" y="431"/>
                  </a:lnTo>
                  <a:lnTo>
                    <a:pt x="374" y="427"/>
                  </a:lnTo>
                  <a:lnTo>
                    <a:pt x="377" y="429"/>
                  </a:lnTo>
                  <a:lnTo>
                    <a:pt x="382" y="427"/>
                  </a:lnTo>
                  <a:lnTo>
                    <a:pt x="384" y="429"/>
                  </a:lnTo>
                  <a:lnTo>
                    <a:pt x="389" y="424"/>
                  </a:lnTo>
                  <a:lnTo>
                    <a:pt x="391" y="424"/>
                  </a:lnTo>
                  <a:lnTo>
                    <a:pt x="392" y="422"/>
                  </a:lnTo>
                  <a:lnTo>
                    <a:pt x="396" y="421"/>
                  </a:lnTo>
                  <a:lnTo>
                    <a:pt x="398" y="421"/>
                  </a:lnTo>
                  <a:lnTo>
                    <a:pt x="403" y="426"/>
                  </a:lnTo>
                  <a:lnTo>
                    <a:pt x="403" y="422"/>
                  </a:lnTo>
                  <a:lnTo>
                    <a:pt x="404" y="422"/>
                  </a:lnTo>
                  <a:lnTo>
                    <a:pt x="406" y="419"/>
                  </a:lnTo>
                  <a:lnTo>
                    <a:pt x="409" y="419"/>
                  </a:lnTo>
                  <a:lnTo>
                    <a:pt x="409" y="417"/>
                  </a:lnTo>
                  <a:lnTo>
                    <a:pt x="415" y="414"/>
                  </a:lnTo>
                  <a:lnTo>
                    <a:pt x="425" y="426"/>
                  </a:lnTo>
                  <a:lnTo>
                    <a:pt x="426" y="422"/>
                  </a:lnTo>
                  <a:lnTo>
                    <a:pt x="428" y="424"/>
                  </a:lnTo>
                  <a:lnTo>
                    <a:pt x="432" y="422"/>
                  </a:lnTo>
                  <a:lnTo>
                    <a:pt x="430" y="426"/>
                  </a:lnTo>
                  <a:lnTo>
                    <a:pt x="435" y="426"/>
                  </a:lnTo>
                  <a:lnTo>
                    <a:pt x="437" y="426"/>
                  </a:lnTo>
                  <a:lnTo>
                    <a:pt x="440" y="426"/>
                  </a:lnTo>
                  <a:lnTo>
                    <a:pt x="440" y="422"/>
                  </a:lnTo>
                  <a:lnTo>
                    <a:pt x="443" y="421"/>
                  </a:lnTo>
                  <a:lnTo>
                    <a:pt x="447" y="422"/>
                  </a:lnTo>
                  <a:lnTo>
                    <a:pt x="440" y="414"/>
                  </a:lnTo>
                  <a:lnTo>
                    <a:pt x="443" y="410"/>
                  </a:lnTo>
                  <a:lnTo>
                    <a:pt x="442" y="404"/>
                  </a:lnTo>
                  <a:lnTo>
                    <a:pt x="445" y="404"/>
                  </a:lnTo>
                  <a:lnTo>
                    <a:pt x="445" y="400"/>
                  </a:lnTo>
                  <a:lnTo>
                    <a:pt x="440" y="397"/>
                  </a:lnTo>
                  <a:lnTo>
                    <a:pt x="440" y="395"/>
                  </a:lnTo>
                  <a:lnTo>
                    <a:pt x="442" y="395"/>
                  </a:lnTo>
                  <a:lnTo>
                    <a:pt x="437" y="392"/>
                  </a:lnTo>
                  <a:lnTo>
                    <a:pt x="440" y="390"/>
                  </a:lnTo>
                  <a:lnTo>
                    <a:pt x="435" y="385"/>
                  </a:lnTo>
                  <a:lnTo>
                    <a:pt x="432" y="385"/>
                  </a:lnTo>
                  <a:lnTo>
                    <a:pt x="428" y="381"/>
                  </a:lnTo>
                  <a:lnTo>
                    <a:pt x="425" y="383"/>
                  </a:lnTo>
                  <a:lnTo>
                    <a:pt x="423" y="381"/>
                  </a:lnTo>
                  <a:lnTo>
                    <a:pt x="420" y="386"/>
                  </a:lnTo>
                  <a:lnTo>
                    <a:pt x="418" y="385"/>
                  </a:lnTo>
                  <a:lnTo>
                    <a:pt x="418" y="383"/>
                  </a:lnTo>
                  <a:lnTo>
                    <a:pt x="406" y="383"/>
                  </a:lnTo>
                  <a:lnTo>
                    <a:pt x="401" y="381"/>
                  </a:lnTo>
                  <a:lnTo>
                    <a:pt x="396" y="383"/>
                  </a:lnTo>
                  <a:lnTo>
                    <a:pt x="392" y="383"/>
                  </a:lnTo>
                  <a:lnTo>
                    <a:pt x="392" y="378"/>
                  </a:lnTo>
                  <a:lnTo>
                    <a:pt x="387" y="380"/>
                  </a:lnTo>
                  <a:lnTo>
                    <a:pt x="384" y="383"/>
                  </a:lnTo>
                  <a:lnTo>
                    <a:pt x="381" y="383"/>
                  </a:lnTo>
                  <a:lnTo>
                    <a:pt x="381" y="363"/>
                  </a:lnTo>
                  <a:lnTo>
                    <a:pt x="381" y="358"/>
                  </a:lnTo>
                  <a:lnTo>
                    <a:pt x="381" y="349"/>
                  </a:lnTo>
                  <a:lnTo>
                    <a:pt x="381" y="341"/>
                  </a:lnTo>
                  <a:lnTo>
                    <a:pt x="381" y="329"/>
                  </a:lnTo>
                  <a:lnTo>
                    <a:pt x="381" y="324"/>
                  </a:lnTo>
                  <a:lnTo>
                    <a:pt x="382" y="325"/>
                  </a:lnTo>
                  <a:lnTo>
                    <a:pt x="386" y="327"/>
                  </a:lnTo>
                  <a:lnTo>
                    <a:pt x="389" y="324"/>
                  </a:lnTo>
                  <a:lnTo>
                    <a:pt x="399" y="324"/>
                  </a:lnTo>
                  <a:lnTo>
                    <a:pt x="404" y="320"/>
                  </a:lnTo>
                  <a:lnTo>
                    <a:pt x="408" y="318"/>
                  </a:lnTo>
                  <a:lnTo>
                    <a:pt x="409" y="320"/>
                  </a:lnTo>
                  <a:lnTo>
                    <a:pt x="411" y="318"/>
                  </a:lnTo>
                  <a:lnTo>
                    <a:pt x="415" y="322"/>
                  </a:lnTo>
                  <a:lnTo>
                    <a:pt x="415" y="320"/>
                  </a:lnTo>
                  <a:lnTo>
                    <a:pt x="421" y="324"/>
                  </a:lnTo>
                  <a:lnTo>
                    <a:pt x="428" y="324"/>
                  </a:lnTo>
                  <a:lnTo>
                    <a:pt x="442" y="324"/>
                  </a:lnTo>
                  <a:lnTo>
                    <a:pt x="457" y="324"/>
                  </a:lnTo>
                  <a:lnTo>
                    <a:pt x="469" y="324"/>
                  </a:lnTo>
                  <a:lnTo>
                    <a:pt x="500" y="324"/>
                  </a:lnTo>
                  <a:lnTo>
                    <a:pt x="534" y="324"/>
                  </a:lnTo>
                  <a:lnTo>
                    <a:pt x="534" y="322"/>
                  </a:lnTo>
                  <a:lnTo>
                    <a:pt x="532" y="324"/>
                  </a:lnTo>
                  <a:lnTo>
                    <a:pt x="530" y="322"/>
                  </a:lnTo>
                  <a:lnTo>
                    <a:pt x="532" y="320"/>
                  </a:lnTo>
                  <a:lnTo>
                    <a:pt x="530" y="318"/>
                  </a:lnTo>
                  <a:lnTo>
                    <a:pt x="527" y="318"/>
                  </a:lnTo>
                  <a:lnTo>
                    <a:pt x="528" y="313"/>
                  </a:lnTo>
                  <a:lnTo>
                    <a:pt x="523" y="315"/>
                  </a:lnTo>
                  <a:lnTo>
                    <a:pt x="522" y="313"/>
                  </a:lnTo>
                  <a:lnTo>
                    <a:pt x="528" y="301"/>
                  </a:lnTo>
                  <a:lnTo>
                    <a:pt x="530" y="295"/>
                  </a:lnTo>
                  <a:lnTo>
                    <a:pt x="532" y="301"/>
                  </a:lnTo>
                  <a:lnTo>
                    <a:pt x="535" y="300"/>
                  </a:lnTo>
                  <a:lnTo>
                    <a:pt x="540" y="308"/>
                  </a:lnTo>
                  <a:lnTo>
                    <a:pt x="545" y="308"/>
                  </a:lnTo>
                  <a:lnTo>
                    <a:pt x="549" y="312"/>
                  </a:lnTo>
                  <a:lnTo>
                    <a:pt x="554" y="313"/>
                  </a:lnTo>
                  <a:lnTo>
                    <a:pt x="557" y="315"/>
                  </a:lnTo>
                  <a:lnTo>
                    <a:pt x="559" y="310"/>
                  </a:lnTo>
                  <a:lnTo>
                    <a:pt x="561" y="308"/>
                  </a:lnTo>
                  <a:lnTo>
                    <a:pt x="564" y="307"/>
                  </a:lnTo>
                  <a:lnTo>
                    <a:pt x="564" y="301"/>
                  </a:lnTo>
                  <a:lnTo>
                    <a:pt x="569" y="298"/>
                  </a:lnTo>
                  <a:lnTo>
                    <a:pt x="573" y="296"/>
                  </a:lnTo>
                  <a:lnTo>
                    <a:pt x="583" y="296"/>
                  </a:lnTo>
                  <a:lnTo>
                    <a:pt x="590" y="295"/>
                  </a:lnTo>
                  <a:lnTo>
                    <a:pt x="595" y="283"/>
                  </a:lnTo>
                  <a:lnTo>
                    <a:pt x="598" y="283"/>
                  </a:lnTo>
                  <a:lnTo>
                    <a:pt x="600" y="278"/>
                  </a:lnTo>
                  <a:lnTo>
                    <a:pt x="603" y="278"/>
                  </a:lnTo>
                  <a:lnTo>
                    <a:pt x="607" y="279"/>
                  </a:lnTo>
                  <a:lnTo>
                    <a:pt x="607" y="283"/>
                  </a:lnTo>
                  <a:lnTo>
                    <a:pt x="608" y="284"/>
                  </a:lnTo>
                  <a:lnTo>
                    <a:pt x="607" y="290"/>
                  </a:lnTo>
                  <a:lnTo>
                    <a:pt x="610" y="293"/>
                  </a:lnTo>
                  <a:lnTo>
                    <a:pt x="607" y="298"/>
                  </a:lnTo>
                  <a:lnTo>
                    <a:pt x="608" y="301"/>
                  </a:lnTo>
                  <a:lnTo>
                    <a:pt x="610" y="301"/>
                  </a:lnTo>
                  <a:lnTo>
                    <a:pt x="610" y="303"/>
                  </a:lnTo>
                  <a:lnTo>
                    <a:pt x="612" y="307"/>
                  </a:lnTo>
                  <a:lnTo>
                    <a:pt x="619" y="313"/>
                  </a:lnTo>
                  <a:lnTo>
                    <a:pt x="622" y="312"/>
                  </a:lnTo>
                  <a:lnTo>
                    <a:pt x="625" y="313"/>
                  </a:lnTo>
                  <a:lnTo>
                    <a:pt x="627" y="320"/>
                  </a:lnTo>
                  <a:lnTo>
                    <a:pt x="625" y="322"/>
                  </a:lnTo>
                  <a:lnTo>
                    <a:pt x="625" y="327"/>
                  </a:lnTo>
                  <a:lnTo>
                    <a:pt x="629" y="332"/>
                  </a:lnTo>
                  <a:lnTo>
                    <a:pt x="627" y="334"/>
                  </a:lnTo>
                  <a:lnTo>
                    <a:pt x="629" y="337"/>
                  </a:lnTo>
                  <a:lnTo>
                    <a:pt x="629" y="341"/>
                  </a:lnTo>
                  <a:lnTo>
                    <a:pt x="632" y="347"/>
                  </a:lnTo>
                  <a:lnTo>
                    <a:pt x="632" y="354"/>
                  </a:lnTo>
                  <a:lnTo>
                    <a:pt x="627" y="358"/>
                  </a:lnTo>
                  <a:lnTo>
                    <a:pt x="627" y="359"/>
                  </a:lnTo>
                  <a:lnTo>
                    <a:pt x="627" y="363"/>
                  </a:lnTo>
                  <a:lnTo>
                    <a:pt x="630" y="366"/>
                  </a:lnTo>
                  <a:lnTo>
                    <a:pt x="632" y="375"/>
                  </a:lnTo>
                  <a:lnTo>
                    <a:pt x="651" y="369"/>
                  </a:lnTo>
                  <a:lnTo>
                    <a:pt x="654" y="369"/>
                  </a:lnTo>
                  <a:lnTo>
                    <a:pt x="702" y="412"/>
                  </a:lnTo>
                  <a:lnTo>
                    <a:pt x="712" y="409"/>
                  </a:lnTo>
                  <a:lnTo>
                    <a:pt x="714" y="410"/>
                  </a:lnTo>
                  <a:lnTo>
                    <a:pt x="717" y="412"/>
                  </a:lnTo>
                  <a:lnTo>
                    <a:pt x="722" y="412"/>
                  </a:lnTo>
                  <a:lnTo>
                    <a:pt x="724" y="407"/>
                  </a:lnTo>
                  <a:lnTo>
                    <a:pt x="734" y="407"/>
                  </a:lnTo>
                  <a:lnTo>
                    <a:pt x="738" y="400"/>
                  </a:lnTo>
                  <a:lnTo>
                    <a:pt x="741" y="400"/>
                  </a:lnTo>
                  <a:lnTo>
                    <a:pt x="743" y="395"/>
                  </a:lnTo>
                  <a:lnTo>
                    <a:pt x="753" y="393"/>
                  </a:lnTo>
                  <a:lnTo>
                    <a:pt x="755" y="390"/>
                  </a:lnTo>
                  <a:lnTo>
                    <a:pt x="758" y="390"/>
                  </a:lnTo>
                  <a:lnTo>
                    <a:pt x="760" y="390"/>
                  </a:lnTo>
                  <a:lnTo>
                    <a:pt x="763" y="388"/>
                  </a:lnTo>
                  <a:lnTo>
                    <a:pt x="765" y="390"/>
                  </a:lnTo>
                  <a:lnTo>
                    <a:pt x="766" y="388"/>
                  </a:lnTo>
                  <a:lnTo>
                    <a:pt x="768" y="388"/>
                  </a:lnTo>
                  <a:lnTo>
                    <a:pt x="770" y="392"/>
                  </a:lnTo>
                  <a:lnTo>
                    <a:pt x="772" y="390"/>
                  </a:lnTo>
                  <a:lnTo>
                    <a:pt x="772" y="392"/>
                  </a:lnTo>
                  <a:lnTo>
                    <a:pt x="773" y="392"/>
                  </a:lnTo>
                  <a:lnTo>
                    <a:pt x="777" y="397"/>
                  </a:lnTo>
                  <a:lnTo>
                    <a:pt x="775" y="400"/>
                  </a:lnTo>
                  <a:lnTo>
                    <a:pt x="777" y="400"/>
                  </a:lnTo>
                  <a:lnTo>
                    <a:pt x="777" y="404"/>
                  </a:lnTo>
                  <a:lnTo>
                    <a:pt x="775" y="405"/>
                  </a:lnTo>
                  <a:lnTo>
                    <a:pt x="775" y="407"/>
                  </a:lnTo>
                  <a:lnTo>
                    <a:pt x="770" y="412"/>
                  </a:lnTo>
                  <a:lnTo>
                    <a:pt x="768" y="415"/>
                  </a:lnTo>
                  <a:lnTo>
                    <a:pt x="773" y="422"/>
                  </a:lnTo>
                  <a:lnTo>
                    <a:pt x="775" y="421"/>
                  </a:lnTo>
                  <a:lnTo>
                    <a:pt x="780" y="419"/>
                  </a:lnTo>
                  <a:lnTo>
                    <a:pt x="783" y="415"/>
                  </a:lnTo>
                  <a:lnTo>
                    <a:pt x="785" y="412"/>
                  </a:lnTo>
                  <a:lnTo>
                    <a:pt x="787" y="412"/>
                  </a:lnTo>
                  <a:lnTo>
                    <a:pt x="787" y="409"/>
                  </a:lnTo>
                  <a:lnTo>
                    <a:pt x="785" y="407"/>
                  </a:lnTo>
                  <a:lnTo>
                    <a:pt x="790" y="402"/>
                  </a:lnTo>
                  <a:lnTo>
                    <a:pt x="792" y="397"/>
                  </a:lnTo>
                  <a:lnTo>
                    <a:pt x="797" y="395"/>
                  </a:lnTo>
                  <a:lnTo>
                    <a:pt x="799" y="397"/>
                  </a:lnTo>
                  <a:lnTo>
                    <a:pt x="804" y="397"/>
                  </a:lnTo>
                  <a:lnTo>
                    <a:pt x="804" y="398"/>
                  </a:lnTo>
                  <a:lnTo>
                    <a:pt x="806" y="397"/>
                  </a:lnTo>
                  <a:lnTo>
                    <a:pt x="809" y="388"/>
                  </a:lnTo>
                  <a:lnTo>
                    <a:pt x="807" y="388"/>
                  </a:lnTo>
                  <a:lnTo>
                    <a:pt x="809" y="383"/>
                  </a:lnTo>
                  <a:lnTo>
                    <a:pt x="807" y="378"/>
                  </a:lnTo>
                  <a:lnTo>
                    <a:pt x="812" y="375"/>
                  </a:lnTo>
                  <a:lnTo>
                    <a:pt x="816" y="376"/>
                  </a:lnTo>
                  <a:lnTo>
                    <a:pt x="816" y="380"/>
                  </a:lnTo>
                  <a:lnTo>
                    <a:pt x="821" y="380"/>
                  </a:lnTo>
                  <a:lnTo>
                    <a:pt x="826" y="373"/>
                  </a:lnTo>
                  <a:lnTo>
                    <a:pt x="826" y="369"/>
                  </a:lnTo>
                  <a:lnTo>
                    <a:pt x="828" y="369"/>
                  </a:lnTo>
                  <a:lnTo>
                    <a:pt x="831" y="366"/>
                  </a:lnTo>
                  <a:lnTo>
                    <a:pt x="834" y="369"/>
                  </a:lnTo>
                  <a:lnTo>
                    <a:pt x="836" y="364"/>
                  </a:lnTo>
                  <a:lnTo>
                    <a:pt x="840" y="361"/>
                  </a:lnTo>
                  <a:lnTo>
                    <a:pt x="841" y="364"/>
                  </a:lnTo>
                  <a:lnTo>
                    <a:pt x="845" y="369"/>
                  </a:lnTo>
                  <a:lnTo>
                    <a:pt x="848" y="368"/>
                  </a:lnTo>
                  <a:lnTo>
                    <a:pt x="850" y="363"/>
                  </a:lnTo>
                  <a:lnTo>
                    <a:pt x="853" y="363"/>
                  </a:lnTo>
                  <a:lnTo>
                    <a:pt x="860" y="358"/>
                  </a:lnTo>
                  <a:lnTo>
                    <a:pt x="860" y="356"/>
                  </a:lnTo>
                  <a:lnTo>
                    <a:pt x="865" y="349"/>
                  </a:lnTo>
                  <a:lnTo>
                    <a:pt x="867" y="349"/>
                  </a:lnTo>
                  <a:lnTo>
                    <a:pt x="872" y="346"/>
                  </a:lnTo>
                  <a:lnTo>
                    <a:pt x="874" y="346"/>
                  </a:lnTo>
                  <a:lnTo>
                    <a:pt x="877" y="342"/>
                  </a:lnTo>
                  <a:lnTo>
                    <a:pt x="880" y="342"/>
                  </a:lnTo>
                  <a:lnTo>
                    <a:pt x="882" y="344"/>
                  </a:lnTo>
                  <a:lnTo>
                    <a:pt x="879" y="347"/>
                  </a:lnTo>
                  <a:lnTo>
                    <a:pt x="877" y="354"/>
                  </a:lnTo>
                  <a:lnTo>
                    <a:pt x="880" y="354"/>
                  </a:lnTo>
                  <a:lnTo>
                    <a:pt x="882" y="356"/>
                  </a:lnTo>
                  <a:lnTo>
                    <a:pt x="882" y="354"/>
                  </a:lnTo>
                  <a:lnTo>
                    <a:pt x="884" y="354"/>
                  </a:lnTo>
                  <a:lnTo>
                    <a:pt x="884" y="351"/>
                  </a:lnTo>
                  <a:lnTo>
                    <a:pt x="885" y="347"/>
                  </a:lnTo>
                  <a:lnTo>
                    <a:pt x="891" y="342"/>
                  </a:lnTo>
                  <a:lnTo>
                    <a:pt x="896" y="342"/>
                  </a:lnTo>
                  <a:lnTo>
                    <a:pt x="897" y="337"/>
                  </a:lnTo>
                  <a:lnTo>
                    <a:pt x="902" y="337"/>
                  </a:lnTo>
                  <a:lnTo>
                    <a:pt x="908" y="329"/>
                  </a:lnTo>
                  <a:lnTo>
                    <a:pt x="908" y="325"/>
                  </a:lnTo>
                  <a:lnTo>
                    <a:pt x="906" y="320"/>
                  </a:lnTo>
                  <a:lnTo>
                    <a:pt x="908" y="313"/>
                  </a:lnTo>
                  <a:lnTo>
                    <a:pt x="908" y="312"/>
                  </a:lnTo>
                  <a:lnTo>
                    <a:pt x="908" y="305"/>
                  </a:lnTo>
                  <a:lnTo>
                    <a:pt x="913" y="300"/>
                  </a:lnTo>
                  <a:lnTo>
                    <a:pt x="916" y="300"/>
                  </a:lnTo>
                  <a:lnTo>
                    <a:pt x="923" y="300"/>
                  </a:lnTo>
                  <a:lnTo>
                    <a:pt x="928" y="301"/>
                  </a:lnTo>
                  <a:lnTo>
                    <a:pt x="930" y="300"/>
                  </a:lnTo>
                  <a:lnTo>
                    <a:pt x="933" y="300"/>
                  </a:lnTo>
                  <a:lnTo>
                    <a:pt x="935" y="298"/>
                  </a:lnTo>
                  <a:lnTo>
                    <a:pt x="936" y="298"/>
                  </a:lnTo>
                  <a:lnTo>
                    <a:pt x="940" y="295"/>
                  </a:lnTo>
                  <a:lnTo>
                    <a:pt x="942" y="296"/>
                  </a:lnTo>
                  <a:lnTo>
                    <a:pt x="943" y="296"/>
                  </a:lnTo>
                  <a:lnTo>
                    <a:pt x="943" y="293"/>
                  </a:lnTo>
                  <a:lnTo>
                    <a:pt x="947" y="291"/>
                  </a:lnTo>
                  <a:lnTo>
                    <a:pt x="948" y="288"/>
                  </a:lnTo>
                  <a:lnTo>
                    <a:pt x="953" y="286"/>
                  </a:lnTo>
                  <a:lnTo>
                    <a:pt x="959" y="288"/>
                  </a:lnTo>
                  <a:lnTo>
                    <a:pt x="962" y="286"/>
                  </a:lnTo>
                  <a:lnTo>
                    <a:pt x="965" y="286"/>
                  </a:lnTo>
                  <a:lnTo>
                    <a:pt x="969" y="284"/>
                  </a:lnTo>
                  <a:lnTo>
                    <a:pt x="969" y="281"/>
                  </a:lnTo>
                  <a:lnTo>
                    <a:pt x="970" y="279"/>
                  </a:lnTo>
                  <a:lnTo>
                    <a:pt x="970" y="276"/>
                  </a:lnTo>
                  <a:lnTo>
                    <a:pt x="972" y="269"/>
                  </a:lnTo>
                  <a:lnTo>
                    <a:pt x="970" y="266"/>
                  </a:lnTo>
                  <a:lnTo>
                    <a:pt x="972" y="262"/>
                  </a:lnTo>
                  <a:lnTo>
                    <a:pt x="970" y="259"/>
                  </a:lnTo>
                  <a:lnTo>
                    <a:pt x="964" y="259"/>
                  </a:lnTo>
                  <a:lnTo>
                    <a:pt x="947" y="262"/>
                  </a:lnTo>
                  <a:lnTo>
                    <a:pt x="938" y="264"/>
                  </a:lnTo>
                  <a:lnTo>
                    <a:pt x="921" y="257"/>
                  </a:lnTo>
                  <a:lnTo>
                    <a:pt x="916" y="256"/>
                  </a:lnTo>
                  <a:lnTo>
                    <a:pt x="914" y="256"/>
                  </a:lnTo>
                  <a:lnTo>
                    <a:pt x="913" y="254"/>
                  </a:lnTo>
                  <a:lnTo>
                    <a:pt x="911" y="256"/>
                  </a:lnTo>
                  <a:lnTo>
                    <a:pt x="908" y="252"/>
                  </a:lnTo>
                  <a:lnTo>
                    <a:pt x="909" y="245"/>
                  </a:lnTo>
                  <a:lnTo>
                    <a:pt x="911" y="245"/>
                  </a:lnTo>
                  <a:lnTo>
                    <a:pt x="914" y="240"/>
                  </a:lnTo>
                  <a:lnTo>
                    <a:pt x="914" y="235"/>
                  </a:lnTo>
                  <a:lnTo>
                    <a:pt x="913" y="233"/>
                  </a:lnTo>
                  <a:lnTo>
                    <a:pt x="914" y="232"/>
                  </a:lnTo>
                  <a:lnTo>
                    <a:pt x="913" y="232"/>
                  </a:lnTo>
                  <a:lnTo>
                    <a:pt x="913" y="228"/>
                  </a:lnTo>
                  <a:lnTo>
                    <a:pt x="911" y="227"/>
                  </a:lnTo>
                  <a:lnTo>
                    <a:pt x="911" y="223"/>
                  </a:lnTo>
                  <a:lnTo>
                    <a:pt x="908" y="220"/>
                  </a:lnTo>
                  <a:lnTo>
                    <a:pt x="906" y="213"/>
                  </a:lnTo>
                  <a:lnTo>
                    <a:pt x="902" y="211"/>
                  </a:lnTo>
                  <a:lnTo>
                    <a:pt x="897" y="201"/>
                  </a:lnTo>
                  <a:lnTo>
                    <a:pt x="892" y="198"/>
                  </a:lnTo>
                  <a:lnTo>
                    <a:pt x="894" y="191"/>
                  </a:lnTo>
                  <a:lnTo>
                    <a:pt x="894" y="186"/>
                  </a:lnTo>
                  <a:lnTo>
                    <a:pt x="891" y="179"/>
                  </a:lnTo>
                  <a:lnTo>
                    <a:pt x="891" y="172"/>
                  </a:lnTo>
                  <a:lnTo>
                    <a:pt x="889" y="169"/>
                  </a:lnTo>
                  <a:lnTo>
                    <a:pt x="896" y="162"/>
                  </a:lnTo>
                  <a:lnTo>
                    <a:pt x="896" y="155"/>
                  </a:lnTo>
                  <a:lnTo>
                    <a:pt x="887" y="147"/>
                  </a:lnTo>
                  <a:lnTo>
                    <a:pt x="885" y="143"/>
                  </a:lnTo>
                  <a:lnTo>
                    <a:pt x="874" y="136"/>
                  </a:lnTo>
                  <a:lnTo>
                    <a:pt x="868" y="135"/>
                  </a:lnTo>
                  <a:lnTo>
                    <a:pt x="867" y="133"/>
                  </a:lnTo>
                  <a:lnTo>
                    <a:pt x="860" y="126"/>
                  </a:lnTo>
                  <a:lnTo>
                    <a:pt x="860" y="123"/>
                  </a:lnTo>
                  <a:lnTo>
                    <a:pt x="851" y="116"/>
                  </a:lnTo>
                  <a:lnTo>
                    <a:pt x="846" y="104"/>
                  </a:lnTo>
                  <a:lnTo>
                    <a:pt x="838" y="101"/>
                  </a:lnTo>
                  <a:lnTo>
                    <a:pt x="838" y="92"/>
                  </a:lnTo>
                  <a:lnTo>
                    <a:pt x="841" y="89"/>
                  </a:lnTo>
                  <a:lnTo>
                    <a:pt x="850" y="94"/>
                  </a:lnTo>
                  <a:lnTo>
                    <a:pt x="851" y="96"/>
                  </a:lnTo>
                  <a:lnTo>
                    <a:pt x="855" y="102"/>
                  </a:lnTo>
                  <a:lnTo>
                    <a:pt x="860" y="106"/>
                  </a:lnTo>
                  <a:lnTo>
                    <a:pt x="874" y="102"/>
                  </a:lnTo>
                  <a:lnTo>
                    <a:pt x="882" y="104"/>
                  </a:lnTo>
                  <a:lnTo>
                    <a:pt x="887" y="102"/>
                  </a:lnTo>
                  <a:lnTo>
                    <a:pt x="887" y="104"/>
                  </a:lnTo>
                  <a:lnTo>
                    <a:pt x="892" y="106"/>
                  </a:lnTo>
                  <a:lnTo>
                    <a:pt x="897" y="104"/>
                  </a:lnTo>
                  <a:lnTo>
                    <a:pt x="902" y="108"/>
                  </a:lnTo>
                  <a:lnTo>
                    <a:pt x="904" y="113"/>
                  </a:lnTo>
                  <a:lnTo>
                    <a:pt x="908" y="119"/>
                  </a:lnTo>
                  <a:lnTo>
                    <a:pt x="909" y="121"/>
                  </a:lnTo>
                  <a:lnTo>
                    <a:pt x="913" y="121"/>
                  </a:lnTo>
                  <a:lnTo>
                    <a:pt x="913" y="125"/>
                  </a:lnTo>
                  <a:lnTo>
                    <a:pt x="914" y="125"/>
                  </a:lnTo>
                  <a:lnTo>
                    <a:pt x="916" y="128"/>
                  </a:lnTo>
                  <a:lnTo>
                    <a:pt x="919" y="123"/>
                  </a:lnTo>
                  <a:lnTo>
                    <a:pt x="926" y="121"/>
                  </a:lnTo>
                  <a:lnTo>
                    <a:pt x="931" y="121"/>
                  </a:lnTo>
                  <a:lnTo>
                    <a:pt x="935" y="121"/>
                  </a:lnTo>
                  <a:lnTo>
                    <a:pt x="938" y="125"/>
                  </a:lnTo>
                  <a:lnTo>
                    <a:pt x="942" y="125"/>
                  </a:lnTo>
                  <a:lnTo>
                    <a:pt x="943" y="123"/>
                  </a:lnTo>
                  <a:lnTo>
                    <a:pt x="940" y="121"/>
                  </a:lnTo>
                  <a:lnTo>
                    <a:pt x="940" y="114"/>
                  </a:lnTo>
                  <a:lnTo>
                    <a:pt x="942" y="114"/>
                  </a:lnTo>
                  <a:lnTo>
                    <a:pt x="950" y="123"/>
                  </a:lnTo>
                  <a:lnTo>
                    <a:pt x="950" y="126"/>
                  </a:lnTo>
                  <a:lnTo>
                    <a:pt x="953" y="126"/>
                  </a:lnTo>
                  <a:lnTo>
                    <a:pt x="953" y="128"/>
                  </a:lnTo>
                  <a:lnTo>
                    <a:pt x="959" y="130"/>
                  </a:lnTo>
                  <a:lnTo>
                    <a:pt x="959" y="128"/>
                  </a:lnTo>
                  <a:lnTo>
                    <a:pt x="964" y="128"/>
                  </a:lnTo>
                  <a:lnTo>
                    <a:pt x="964" y="126"/>
                  </a:lnTo>
                  <a:lnTo>
                    <a:pt x="965" y="125"/>
                  </a:lnTo>
                  <a:lnTo>
                    <a:pt x="965" y="121"/>
                  </a:lnTo>
                  <a:lnTo>
                    <a:pt x="962" y="119"/>
                  </a:lnTo>
                  <a:lnTo>
                    <a:pt x="964" y="118"/>
                  </a:lnTo>
                  <a:lnTo>
                    <a:pt x="967" y="118"/>
                  </a:lnTo>
                  <a:lnTo>
                    <a:pt x="972" y="119"/>
                  </a:lnTo>
                  <a:lnTo>
                    <a:pt x="976" y="119"/>
                  </a:lnTo>
                  <a:lnTo>
                    <a:pt x="976" y="118"/>
                  </a:lnTo>
                  <a:lnTo>
                    <a:pt x="977" y="119"/>
                  </a:lnTo>
                  <a:lnTo>
                    <a:pt x="984" y="119"/>
                  </a:lnTo>
                  <a:lnTo>
                    <a:pt x="982" y="126"/>
                  </a:lnTo>
                  <a:lnTo>
                    <a:pt x="982" y="131"/>
                  </a:lnTo>
                  <a:lnTo>
                    <a:pt x="986" y="133"/>
                  </a:lnTo>
                  <a:lnTo>
                    <a:pt x="993" y="133"/>
                  </a:lnTo>
                  <a:lnTo>
                    <a:pt x="996" y="135"/>
                  </a:lnTo>
                  <a:lnTo>
                    <a:pt x="998" y="138"/>
                  </a:lnTo>
                  <a:lnTo>
                    <a:pt x="998" y="143"/>
                  </a:lnTo>
                  <a:lnTo>
                    <a:pt x="996" y="143"/>
                  </a:lnTo>
                  <a:lnTo>
                    <a:pt x="1001" y="147"/>
                  </a:lnTo>
                  <a:lnTo>
                    <a:pt x="1004" y="150"/>
                  </a:lnTo>
                  <a:lnTo>
                    <a:pt x="1008" y="152"/>
                  </a:lnTo>
                  <a:lnTo>
                    <a:pt x="1011" y="148"/>
                  </a:lnTo>
                  <a:lnTo>
                    <a:pt x="1011" y="145"/>
                  </a:lnTo>
                  <a:lnTo>
                    <a:pt x="1015" y="145"/>
                  </a:lnTo>
                  <a:lnTo>
                    <a:pt x="1018" y="140"/>
                  </a:lnTo>
                  <a:lnTo>
                    <a:pt x="1021" y="140"/>
                  </a:lnTo>
                  <a:lnTo>
                    <a:pt x="1023" y="143"/>
                  </a:lnTo>
                  <a:lnTo>
                    <a:pt x="1027" y="145"/>
                  </a:lnTo>
                  <a:lnTo>
                    <a:pt x="1028" y="143"/>
                  </a:lnTo>
                  <a:lnTo>
                    <a:pt x="1027" y="135"/>
                  </a:lnTo>
                  <a:lnTo>
                    <a:pt x="1028" y="133"/>
                  </a:lnTo>
                  <a:lnTo>
                    <a:pt x="1025" y="131"/>
                  </a:lnTo>
                  <a:lnTo>
                    <a:pt x="1027" y="130"/>
                  </a:lnTo>
                  <a:lnTo>
                    <a:pt x="1023" y="125"/>
                  </a:lnTo>
                  <a:lnTo>
                    <a:pt x="1023" y="123"/>
                  </a:lnTo>
                  <a:lnTo>
                    <a:pt x="1027" y="118"/>
                  </a:lnTo>
                  <a:lnTo>
                    <a:pt x="1025" y="114"/>
                  </a:lnTo>
                  <a:lnTo>
                    <a:pt x="1027" y="113"/>
                  </a:lnTo>
                  <a:lnTo>
                    <a:pt x="1038" y="113"/>
                  </a:lnTo>
                  <a:lnTo>
                    <a:pt x="1044" y="114"/>
                  </a:lnTo>
                  <a:lnTo>
                    <a:pt x="1044" y="113"/>
                  </a:lnTo>
                  <a:lnTo>
                    <a:pt x="1045" y="111"/>
                  </a:lnTo>
                  <a:lnTo>
                    <a:pt x="1045" y="109"/>
                  </a:lnTo>
                  <a:lnTo>
                    <a:pt x="1044" y="109"/>
                  </a:lnTo>
                  <a:lnTo>
                    <a:pt x="1044" y="106"/>
                  </a:lnTo>
                  <a:lnTo>
                    <a:pt x="1047" y="106"/>
                  </a:lnTo>
                  <a:lnTo>
                    <a:pt x="1047" y="104"/>
                  </a:lnTo>
                  <a:lnTo>
                    <a:pt x="1052" y="102"/>
                  </a:lnTo>
                  <a:lnTo>
                    <a:pt x="1054" y="101"/>
                  </a:lnTo>
                  <a:lnTo>
                    <a:pt x="1052" y="101"/>
                  </a:lnTo>
                  <a:lnTo>
                    <a:pt x="1052" y="99"/>
                  </a:lnTo>
                  <a:lnTo>
                    <a:pt x="1055" y="99"/>
                  </a:lnTo>
                  <a:lnTo>
                    <a:pt x="1062" y="101"/>
                  </a:lnTo>
                  <a:lnTo>
                    <a:pt x="1064" y="104"/>
                  </a:lnTo>
                  <a:lnTo>
                    <a:pt x="1067" y="102"/>
                  </a:lnTo>
                  <a:lnTo>
                    <a:pt x="1072" y="106"/>
                  </a:lnTo>
                  <a:lnTo>
                    <a:pt x="1076" y="106"/>
                  </a:lnTo>
                  <a:lnTo>
                    <a:pt x="1081" y="109"/>
                  </a:lnTo>
                  <a:lnTo>
                    <a:pt x="1084" y="108"/>
                  </a:lnTo>
                  <a:lnTo>
                    <a:pt x="1084" y="106"/>
                  </a:lnTo>
                  <a:lnTo>
                    <a:pt x="1088" y="104"/>
                  </a:lnTo>
                  <a:lnTo>
                    <a:pt x="1088" y="102"/>
                  </a:lnTo>
                  <a:lnTo>
                    <a:pt x="1088" y="101"/>
                  </a:lnTo>
                  <a:lnTo>
                    <a:pt x="1093" y="102"/>
                  </a:lnTo>
                  <a:lnTo>
                    <a:pt x="1096" y="99"/>
                  </a:lnTo>
                  <a:lnTo>
                    <a:pt x="1096" y="102"/>
                  </a:lnTo>
                  <a:lnTo>
                    <a:pt x="1101" y="106"/>
                  </a:lnTo>
                  <a:lnTo>
                    <a:pt x="1101" y="101"/>
                  </a:lnTo>
                  <a:lnTo>
                    <a:pt x="1106" y="102"/>
                  </a:lnTo>
                  <a:lnTo>
                    <a:pt x="1106" y="101"/>
                  </a:lnTo>
                  <a:lnTo>
                    <a:pt x="1108" y="99"/>
                  </a:lnTo>
                  <a:lnTo>
                    <a:pt x="1110" y="101"/>
                  </a:lnTo>
                  <a:lnTo>
                    <a:pt x="1112" y="101"/>
                  </a:lnTo>
                  <a:lnTo>
                    <a:pt x="1112" y="97"/>
                  </a:lnTo>
                  <a:lnTo>
                    <a:pt x="1113" y="96"/>
                  </a:lnTo>
                  <a:lnTo>
                    <a:pt x="1117" y="96"/>
                  </a:lnTo>
                  <a:lnTo>
                    <a:pt x="1115" y="92"/>
                  </a:lnTo>
                  <a:lnTo>
                    <a:pt x="1120" y="91"/>
                  </a:lnTo>
                  <a:lnTo>
                    <a:pt x="1120" y="94"/>
                  </a:lnTo>
                  <a:lnTo>
                    <a:pt x="1125" y="92"/>
                  </a:lnTo>
                  <a:lnTo>
                    <a:pt x="1127" y="94"/>
                  </a:lnTo>
                  <a:lnTo>
                    <a:pt x="1130" y="92"/>
                  </a:lnTo>
                  <a:lnTo>
                    <a:pt x="1132" y="94"/>
                  </a:lnTo>
                  <a:lnTo>
                    <a:pt x="1135" y="92"/>
                  </a:lnTo>
                  <a:lnTo>
                    <a:pt x="1139" y="87"/>
                  </a:lnTo>
                  <a:lnTo>
                    <a:pt x="1137" y="85"/>
                  </a:lnTo>
                  <a:lnTo>
                    <a:pt x="1139" y="79"/>
                  </a:lnTo>
                  <a:lnTo>
                    <a:pt x="1144" y="75"/>
                  </a:lnTo>
                  <a:lnTo>
                    <a:pt x="1146" y="77"/>
                  </a:lnTo>
                  <a:lnTo>
                    <a:pt x="1147" y="77"/>
                  </a:lnTo>
                  <a:lnTo>
                    <a:pt x="1154" y="77"/>
                  </a:lnTo>
                  <a:lnTo>
                    <a:pt x="1157" y="73"/>
                  </a:lnTo>
                  <a:lnTo>
                    <a:pt x="1159" y="73"/>
                  </a:lnTo>
                  <a:lnTo>
                    <a:pt x="1159" y="72"/>
                  </a:lnTo>
                  <a:lnTo>
                    <a:pt x="1156" y="70"/>
                  </a:lnTo>
                  <a:lnTo>
                    <a:pt x="1156" y="67"/>
                  </a:lnTo>
                  <a:lnTo>
                    <a:pt x="1161" y="68"/>
                  </a:lnTo>
                  <a:lnTo>
                    <a:pt x="1161" y="67"/>
                  </a:lnTo>
                  <a:lnTo>
                    <a:pt x="1163" y="68"/>
                  </a:lnTo>
                  <a:lnTo>
                    <a:pt x="1163" y="67"/>
                  </a:lnTo>
                  <a:lnTo>
                    <a:pt x="1166" y="68"/>
                  </a:lnTo>
                  <a:lnTo>
                    <a:pt x="1166" y="67"/>
                  </a:lnTo>
                  <a:lnTo>
                    <a:pt x="1173" y="72"/>
                  </a:lnTo>
                  <a:lnTo>
                    <a:pt x="1176" y="68"/>
                  </a:lnTo>
                  <a:lnTo>
                    <a:pt x="1186" y="68"/>
                  </a:lnTo>
                  <a:lnTo>
                    <a:pt x="1186" y="67"/>
                  </a:lnTo>
                  <a:lnTo>
                    <a:pt x="1190" y="65"/>
                  </a:lnTo>
                  <a:lnTo>
                    <a:pt x="1190" y="63"/>
                  </a:lnTo>
                  <a:lnTo>
                    <a:pt x="1191" y="62"/>
                  </a:lnTo>
                  <a:lnTo>
                    <a:pt x="1190" y="56"/>
                  </a:lnTo>
                  <a:lnTo>
                    <a:pt x="1193" y="55"/>
                  </a:lnTo>
                  <a:lnTo>
                    <a:pt x="1193" y="51"/>
                  </a:lnTo>
                  <a:lnTo>
                    <a:pt x="1195" y="50"/>
                  </a:lnTo>
                  <a:lnTo>
                    <a:pt x="1198" y="51"/>
                  </a:lnTo>
                  <a:lnTo>
                    <a:pt x="1203" y="48"/>
                  </a:lnTo>
                  <a:lnTo>
                    <a:pt x="1208" y="46"/>
                  </a:lnTo>
                  <a:lnTo>
                    <a:pt x="1217" y="38"/>
                  </a:lnTo>
                  <a:lnTo>
                    <a:pt x="1217" y="34"/>
                  </a:lnTo>
                  <a:lnTo>
                    <a:pt x="1222" y="31"/>
                  </a:lnTo>
                  <a:lnTo>
                    <a:pt x="1222" y="24"/>
                  </a:lnTo>
                  <a:lnTo>
                    <a:pt x="1217" y="19"/>
                  </a:lnTo>
                  <a:lnTo>
                    <a:pt x="1217" y="14"/>
                  </a:lnTo>
                  <a:lnTo>
                    <a:pt x="1217" y="11"/>
                  </a:lnTo>
                  <a:lnTo>
                    <a:pt x="1214" y="7"/>
                  </a:lnTo>
                  <a:lnTo>
                    <a:pt x="1208" y="5"/>
                  </a:lnTo>
                  <a:lnTo>
                    <a:pt x="1210" y="4"/>
                  </a:lnTo>
                  <a:lnTo>
                    <a:pt x="1217" y="4"/>
                  </a:lnTo>
                  <a:lnTo>
                    <a:pt x="1225" y="7"/>
                  </a:lnTo>
                  <a:lnTo>
                    <a:pt x="1227" y="5"/>
                  </a:lnTo>
                  <a:lnTo>
                    <a:pt x="1234" y="5"/>
                  </a:lnTo>
                  <a:lnTo>
                    <a:pt x="1236" y="7"/>
                  </a:lnTo>
                  <a:lnTo>
                    <a:pt x="1239" y="5"/>
                  </a:lnTo>
                  <a:lnTo>
                    <a:pt x="1241" y="4"/>
                  </a:lnTo>
                  <a:lnTo>
                    <a:pt x="1242" y="5"/>
                  </a:lnTo>
                  <a:lnTo>
                    <a:pt x="1246" y="5"/>
                  </a:lnTo>
                  <a:lnTo>
                    <a:pt x="1256" y="0"/>
                  </a:lnTo>
                  <a:lnTo>
                    <a:pt x="1258" y="2"/>
                  </a:lnTo>
                  <a:lnTo>
                    <a:pt x="1258" y="4"/>
                  </a:lnTo>
                  <a:lnTo>
                    <a:pt x="1259" y="4"/>
                  </a:lnTo>
                  <a:lnTo>
                    <a:pt x="1263" y="2"/>
                  </a:lnTo>
                  <a:lnTo>
                    <a:pt x="1268" y="11"/>
                  </a:lnTo>
                  <a:lnTo>
                    <a:pt x="1275" y="16"/>
                  </a:lnTo>
                  <a:lnTo>
                    <a:pt x="1278" y="17"/>
                  </a:lnTo>
                  <a:lnTo>
                    <a:pt x="1278" y="19"/>
                  </a:lnTo>
                  <a:lnTo>
                    <a:pt x="1275" y="38"/>
                  </a:lnTo>
                  <a:lnTo>
                    <a:pt x="1273" y="43"/>
                  </a:lnTo>
                  <a:lnTo>
                    <a:pt x="1275" y="45"/>
                  </a:lnTo>
                  <a:lnTo>
                    <a:pt x="1273" y="50"/>
                  </a:lnTo>
                  <a:lnTo>
                    <a:pt x="1275" y="51"/>
                  </a:lnTo>
                  <a:lnTo>
                    <a:pt x="1270" y="56"/>
                  </a:lnTo>
                  <a:lnTo>
                    <a:pt x="1270" y="60"/>
                  </a:lnTo>
                  <a:lnTo>
                    <a:pt x="1265" y="62"/>
                  </a:lnTo>
                  <a:lnTo>
                    <a:pt x="1266" y="63"/>
                  </a:lnTo>
                  <a:lnTo>
                    <a:pt x="1265" y="63"/>
                  </a:lnTo>
                  <a:lnTo>
                    <a:pt x="1265" y="65"/>
                  </a:lnTo>
                  <a:lnTo>
                    <a:pt x="1263" y="63"/>
                  </a:lnTo>
                  <a:lnTo>
                    <a:pt x="1261" y="68"/>
                  </a:lnTo>
                  <a:lnTo>
                    <a:pt x="1266" y="70"/>
                  </a:lnTo>
                  <a:lnTo>
                    <a:pt x="1268" y="67"/>
                  </a:lnTo>
                  <a:lnTo>
                    <a:pt x="1268" y="68"/>
                  </a:lnTo>
                  <a:lnTo>
                    <a:pt x="1271" y="68"/>
                  </a:lnTo>
                  <a:lnTo>
                    <a:pt x="1270" y="70"/>
                  </a:lnTo>
                  <a:lnTo>
                    <a:pt x="1276" y="70"/>
                  </a:lnTo>
                  <a:lnTo>
                    <a:pt x="1280" y="72"/>
                  </a:lnTo>
                  <a:lnTo>
                    <a:pt x="1280" y="70"/>
                  </a:lnTo>
                  <a:lnTo>
                    <a:pt x="1283" y="70"/>
                  </a:lnTo>
                  <a:lnTo>
                    <a:pt x="1285" y="73"/>
                  </a:lnTo>
                  <a:lnTo>
                    <a:pt x="1288" y="72"/>
                  </a:lnTo>
                  <a:lnTo>
                    <a:pt x="1288" y="75"/>
                  </a:lnTo>
                  <a:lnTo>
                    <a:pt x="1292" y="73"/>
                  </a:lnTo>
                  <a:lnTo>
                    <a:pt x="1293" y="75"/>
                  </a:lnTo>
                  <a:lnTo>
                    <a:pt x="1295" y="73"/>
                  </a:lnTo>
                  <a:lnTo>
                    <a:pt x="1295" y="75"/>
                  </a:lnTo>
                  <a:lnTo>
                    <a:pt x="1299" y="77"/>
                  </a:lnTo>
                  <a:lnTo>
                    <a:pt x="1302" y="82"/>
                  </a:lnTo>
                  <a:lnTo>
                    <a:pt x="1305" y="82"/>
                  </a:lnTo>
                  <a:lnTo>
                    <a:pt x="1305" y="85"/>
                  </a:lnTo>
                  <a:lnTo>
                    <a:pt x="1302" y="91"/>
                  </a:lnTo>
                  <a:lnTo>
                    <a:pt x="1304" y="92"/>
                  </a:lnTo>
                  <a:lnTo>
                    <a:pt x="1300" y="94"/>
                  </a:lnTo>
                  <a:lnTo>
                    <a:pt x="1302" y="99"/>
                  </a:lnTo>
                  <a:lnTo>
                    <a:pt x="1305" y="102"/>
                  </a:lnTo>
                  <a:lnTo>
                    <a:pt x="1312" y="104"/>
                  </a:lnTo>
                  <a:lnTo>
                    <a:pt x="1309" y="109"/>
                  </a:lnTo>
                  <a:lnTo>
                    <a:pt x="1312" y="111"/>
                  </a:lnTo>
                  <a:lnTo>
                    <a:pt x="1312" y="113"/>
                  </a:lnTo>
                  <a:lnTo>
                    <a:pt x="1314" y="113"/>
                  </a:lnTo>
                  <a:lnTo>
                    <a:pt x="1312" y="114"/>
                  </a:lnTo>
                  <a:lnTo>
                    <a:pt x="1314" y="114"/>
                  </a:lnTo>
                  <a:lnTo>
                    <a:pt x="1314" y="116"/>
                  </a:lnTo>
                  <a:lnTo>
                    <a:pt x="1316" y="116"/>
                  </a:lnTo>
                  <a:lnTo>
                    <a:pt x="1316" y="118"/>
                  </a:lnTo>
                  <a:lnTo>
                    <a:pt x="1316" y="119"/>
                  </a:lnTo>
                  <a:lnTo>
                    <a:pt x="1317" y="119"/>
                  </a:lnTo>
                  <a:lnTo>
                    <a:pt x="1319" y="118"/>
                  </a:lnTo>
                  <a:lnTo>
                    <a:pt x="1321" y="121"/>
                  </a:lnTo>
                  <a:lnTo>
                    <a:pt x="1321" y="123"/>
                  </a:lnTo>
                  <a:lnTo>
                    <a:pt x="1319" y="123"/>
                  </a:lnTo>
                  <a:lnTo>
                    <a:pt x="1317" y="123"/>
                  </a:lnTo>
                  <a:lnTo>
                    <a:pt x="1317" y="126"/>
                  </a:lnTo>
                  <a:lnTo>
                    <a:pt x="1316" y="125"/>
                  </a:lnTo>
                  <a:lnTo>
                    <a:pt x="1316" y="126"/>
                  </a:lnTo>
                  <a:lnTo>
                    <a:pt x="1314" y="126"/>
                  </a:lnTo>
                  <a:lnTo>
                    <a:pt x="1316" y="133"/>
                  </a:lnTo>
                  <a:lnTo>
                    <a:pt x="1314" y="133"/>
                  </a:lnTo>
                  <a:lnTo>
                    <a:pt x="1314" y="135"/>
                  </a:lnTo>
                  <a:lnTo>
                    <a:pt x="1312" y="133"/>
                  </a:lnTo>
                  <a:lnTo>
                    <a:pt x="1310" y="135"/>
                  </a:lnTo>
                  <a:lnTo>
                    <a:pt x="1307" y="136"/>
                  </a:lnTo>
                  <a:lnTo>
                    <a:pt x="1307" y="138"/>
                  </a:lnTo>
                  <a:lnTo>
                    <a:pt x="1307" y="140"/>
                  </a:lnTo>
                  <a:lnTo>
                    <a:pt x="1307" y="143"/>
                  </a:lnTo>
                  <a:lnTo>
                    <a:pt x="1300" y="147"/>
                  </a:lnTo>
                  <a:lnTo>
                    <a:pt x="1299" y="150"/>
                  </a:lnTo>
                  <a:lnTo>
                    <a:pt x="1290" y="152"/>
                  </a:lnTo>
                  <a:lnTo>
                    <a:pt x="1290" y="155"/>
                  </a:lnTo>
                  <a:lnTo>
                    <a:pt x="1288" y="155"/>
                  </a:lnTo>
                  <a:lnTo>
                    <a:pt x="1292" y="157"/>
                  </a:lnTo>
                  <a:lnTo>
                    <a:pt x="1292" y="159"/>
                  </a:lnTo>
                  <a:lnTo>
                    <a:pt x="1295" y="160"/>
                  </a:lnTo>
                  <a:lnTo>
                    <a:pt x="1295" y="162"/>
                  </a:lnTo>
                  <a:lnTo>
                    <a:pt x="1293" y="164"/>
                  </a:lnTo>
                  <a:lnTo>
                    <a:pt x="1295" y="164"/>
                  </a:lnTo>
                  <a:lnTo>
                    <a:pt x="1293" y="164"/>
                  </a:lnTo>
                  <a:lnTo>
                    <a:pt x="1292" y="169"/>
                  </a:lnTo>
                  <a:lnTo>
                    <a:pt x="1295" y="169"/>
                  </a:lnTo>
                  <a:lnTo>
                    <a:pt x="1293" y="169"/>
                  </a:lnTo>
                  <a:lnTo>
                    <a:pt x="1295" y="174"/>
                  </a:lnTo>
                  <a:lnTo>
                    <a:pt x="1292" y="176"/>
                  </a:lnTo>
                  <a:lnTo>
                    <a:pt x="1293" y="177"/>
                  </a:lnTo>
                  <a:lnTo>
                    <a:pt x="1288" y="186"/>
                  </a:lnTo>
                  <a:lnTo>
                    <a:pt x="1287" y="187"/>
                  </a:lnTo>
                  <a:lnTo>
                    <a:pt x="1287" y="193"/>
                  </a:lnTo>
                  <a:lnTo>
                    <a:pt x="1285" y="194"/>
                  </a:lnTo>
                  <a:lnTo>
                    <a:pt x="1287" y="194"/>
                  </a:lnTo>
                  <a:lnTo>
                    <a:pt x="1285" y="194"/>
                  </a:lnTo>
                  <a:lnTo>
                    <a:pt x="1287" y="196"/>
                  </a:lnTo>
                  <a:lnTo>
                    <a:pt x="1285" y="196"/>
                  </a:lnTo>
                  <a:lnTo>
                    <a:pt x="1283" y="199"/>
                  </a:lnTo>
                  <a:lnTo>
                    <a:pt x="1282" y="199"/>
                  </a:lnTo>
                  <a:lnTo>
                    <a:pt x="1282" y="206"/>
                  </a:lnTo>
                  <a:lnTo>
                    <a:pt x="1283" y="208"/>
                  </a:lnTo>
                  <a:lnTo>
                    <a:pt x="1282" y="211"/>
                  </a:lnTo>
                  <a:lnTo>
                    <a:pt x="1280" y="213"/>
                  </a:lnTo>
                  <a:lnTo>
                    <a:pt x="1280" y="216"/>
                  </a:lnTo>
                  <a:lnTo>
                    <a:pt x="1278" y="218"/>
                  </a:lnTo>
                  <a:lnTo>
                    <a:pt x="1278" y="235"/>
                  </a:lnTo>
                  <a:lnTo>
                    <a:pt x="1282" y="242"/>
                  </a:lnTo>
                  <a:lnTo>
                    <a:pt x="1280" y="244"/>
                  </a:lnTo>
                  <a:lnTo>
                    <a:pt x="1285" y="247"/>
                  </a:lnTo>
                  <a:lnTo>
                    <a:pt x="1283" y="249"/>
                  </a:lnTo>
                  <a:lnTo>
                    <a:pt x="1287" y="254"/>
                  </a:lnTo>
                  <a:lnTo>
                    <a:pt x="1288" y="259"/>
                  </a:lnTo>
                  <a:lnTo>
                    <a:pt x="1287" y="264"/>
                  </a:lnTo>
                  <a:lnTo>
                    <a:pt x="1288" y="266"/>
                  </a:lnTo>
                  <a:lnTo>
                    <a:pt x="1290" y="266"/>
                  </a:lnTo>
                  <a:lnTo>
                    <a:pt x="1292" y="269"/>
                  </a:lnTo>
                  <a:lnTo>
                    <a:pt x="1293" y="269"/>
                  </a:lnTo>
                  <a:lnTo>
                    <a:pt x="1297" y="273"/>
                  </a:lnTo>
                  <a:lnTo>
                    <a:pt x="1302" y="271"/>
                  </a:lnTo>
                  <a:lnTo>
                    <a:pt x="1304" y="273"/>
                  </a:lnTo>
                  <a:lnTo>
                    <a:pt x="1304" y="276"/>
                  </a:lnTo>
                  <a:lnTo>
                    <a:pt x="1302" y="283"/>
                  </a:lnTo>
                  <a:lnTo>
                    <a:pt x="1304" y="290"/>
                  </a:lnTo>
                  <a:lnTo>
                    <a:pt x="1302" y="291"/>
                  </a:lnTo>
                  <a:lnTo>
                    <a:pt x="1304" y="296"/>
                  </a:lnTo>
                  <a:lnTo>
                    <a:pt x="1302" y="296"/>
                  </a:lnTo>
                  <a:lnTo>
                    <a:pt x="1302" y="303"/>
                  </a:lnTo>
                  <a:lnTo>
                    <a:pt x="1300" y="305"/>
                  </a:lnTo>
                  <a:lnTo>
                    <a:pt x="1300" y="312"/>
                  </a:lnTo>
                  <a:lnTo>
                    <a:pt x="1304" y="312"/>
                  </a:lnTo>
                  <a:lnTo>
                    <a:pt x="1305" y="312"/>
                  </a:lnTo>
                  <a:lnTo>
                    <a:pt x="1307" y="313"/>
                  </a:lnTo>
                  <a:lnTo>
                    <a:pt x="1309" y="310"/>
                  </a:lnTo>
                  <a:lnTo>
                    <a:pt x="1310" y="313"/>
                  </a:lnTo>
                  <a:lnTo>
                    <a:pt x="1309" y="315"/>
                  </a:lnTo>
                  <a:lnTo>
                    <a:pt x="1307" y="315"/>
                  </a:lnTo>
                  <a:lnTo>
                    <a:pt x="1307" y="320"/>
                  </a:lnTo>
                  <a:lnTo>
                    <a:pt x="1309" y="320"/>
                  </a:lnTo>
                  <a:lnTo>
                    <a:pt x="1309" y="322"/>
                  </a:lnTo>
                  <a:lnTo>
                    <a:pt x="1312" y="322"/>
                  </a:lnTo>
                  <a:lnTo>
                    <a:pt x="1312" y="324"/>
                  </a:lnTo>
                  <a:lnTo>
                    <a:pt x="1317" y="322"/>
                  </a:lnTo>
                  <a:lnTo>
                    <a:pt x="1321" y="324"/>
                  </a:lnTo>
                  <a:lnTo>
                    <a:pt x="1322" y="329"/>
                  </a:lnTo>
                  <a:lnTo>
                    <a:pt x="1324" y="329"/>
                  </a:lnTo>
                  <a:lnTo>
                    <a:pt x="1326" y="332"/>
                  </a:lnTo>
                  <a:lnTo>
                    <a:pt x="1329" y="334"/>
                  </a:lnTo>
                  <a:lnTo>
                    <a:pt x="1331" y="339"/>
                  </a:lnTo>
                  <a:lnTo>
                    <a:pt x="1333" y="339"/>
                  </a:lnTo>
                  <a:lnTo>
                    <a:pt x="1334" y="344"/>
                  </a:lnTo>
                  <a:lnTo>
                    <a:pt x="1339" y="342"/>
                  </a:lnTo>
                  <a:lnTo>
                    <a:pt x="1339" y="347"/>
                  </a:lnTo>
                  <a:lnTo>
                    <a:pt x="1343" y="347"/>
                  </a:lnTo>
                  <a:lnTo>
                    <a:pt x="1344" y="352"/>
                  </a:lnTo>
                  <a:lnTo>
                    <a:pt x="1350" y="356"/>
                  </a:lnTo>
                  <a:lnTo>
                    <a:pt x="1353" y="356"/>
                  </a:lnTo>
                  <a:lnTo>
                    <a:pt x="1356" y="358"/>
                  </a:lnTo>
                  <a:lnTo>
                    <a:pt x="1361" y="358"/>
                  </a:lnTo>
                  <a:lnTo>
                    <a:pt x="1365" y="359"/>
                  </a:lnTo>
                  <a:lnTo>
                    <a:pt x="1370" y="359"/>
                  </a:lnTo>
                  <a:lnTo>
                    <a:pt x="1372" y="363"/>
                  </a:lnTo>
                  <a:lnTo>
                    <a:pt x="1377" y="361"/>
                  </a:lnTo>
                  <a:lnTo>
                    <a:pt x="1377" y="363"/>
                  </a:lnTo>
                  <a:lnTo>
                    <a:pt x="1380" y="366"/>
                  </a:lnTo>
                  <a:lnTo>
                    <a:pt x="1378" y="368"/>
                  </a:lnTo>
                  <a:lnTo>
                    <a:pt x="1378" y="369"/>
                  </a:lnTo>
                  <a:lnTo>
                    <a:pt x="1380" y="369"/>
                  </a:lnTo>
                  <a:lnTo>
                    <a:pt x="1382" y="373"/>
                  </a:lnTo>
                  <a:lnTo>
                    <a:pt x="1385" y="373"/>
                  </a:lnTo>
                  <a:lnTo>
                    <a:pt x="1385" y="375"/>
                  </a:lnTo>
                  <a:lnTo>
                    <a:pt x="1389" y="373"/>
                  </a:lnTo>
                  <a:lnTo>
                    <a:pt x="1390" y="373"/>
                  </a:lnTo>
                  <a:lnTo>
                    <a:pt x="1392" y="371"/>
                  </a:lnTo>
                  <a:lnTo>
                    <a:pt x="1394" y="371"/>
                  </a:lnTo>
                  <a:lnTo>
                    <a:pt x="1395" y="368"/>
                  </a:lnTo>
                  <a:lnTo>
                    <a:pt x="1395" y="363"/>
                  </a:lnTo>
                  <a:lnTo>
                    <a:pt x="1399" y="363"/>
                  </a:lnTo>
                  <a:lnTo>
                    <a:pt x="1401" y="364"/>
                  </a:lnTo>
                  <a:lnTo>
                    <a:pt x="1402" y="363"/>
                  </a:lnTo>
                  <a:lnTo>
                    <a:pt x="1407" y="366"/>
                  </a:lnTo>
                  <a:lnTo>
                    <a:pt x="1409" y="363"/>
                  </a:lnTo>
                  <a:lnTo>
                    <a:pt x="1411" y="363"/>
                  </a:lnTo>
                  <a:lnTo>
                    <a:pt x="1412" y="366"/>
                  </a:lnTo>
                  <a:lnTo>
                    <a:pt x="1414" y="364"/>
                  </a:lnTo>
                  <a:lnTo>
                    <a:pt x="1416" y="364"/>
                  </a:lnTo>
                  <a:lnTo>
                    <a:pt x="1419" y="356"/>
                  </a:lnTo>
                  <a:lnTo>
                    <a:pt x="1414" y="352"/>
                  </a:lnTo>
                  <a:lnTo>
                    <a:pt x="1414" y="347"/>
                  </a:lnTo>
                  <a:lnTo>
                    <a:pt x="1419" y="347"/>
                  </a:lnTo>
                  <a:lnTo>
                    <a:pt x="1426" y="347"/>
                  </a:lnTo>
                  <a:lnTo>
                    <a:pt x="1426" y="346"/>
                  </a:lnTo>
                  <a:lnTo>
                    <a:pt x="1424" y="344"/>
                  </a:lnTo>
                  <a:lnTo>
                    <a:pt x="1426" y="342"/>
                  </a:lnTo>
                  <a:lnTo>
                    <a:pt x="1424" y="342"/>
                  </a:lnTo>
                  <a:lnTo>
                    <a:pt x="1428" y="341"/>
                  </a:lnTo>
                  <a:lnTo>
                    <a:pt x="1431" y="335"/>
                  </a:lnTo>
                  <a:lnTo>
                    <a:pt x="1431" y="337"/>
                  </a:lnTo>
                  <a:lnTo>
                    <a:pt x="1436" y="337"/>
                  </a:lnTo>
                  <a:lnTo>
                    <a:pt x="1438" y="341"/>
                  </a:lnTo>
                  <a:lnTo>
                    <a:pt x="1443" y="337"/>
                  </a:lnTo>
                  <a:lnTo>
                    <a:pt x="1445" y="339"/>
                  </a:lnTo>
                  <a:lnTo>
                    <a:pt x="1446" y="342"/>
                  </a:lnTo>
                  <a:lnTo>
                    <a:pt x="1448" y="344"/>
                  </a:lnTo>
                  <a:lnTo>
                    <a:pt x="1451" y="342"/>
                  </a:lnTo>
                  <a:lnTo>
                    <a:pt x="1453" y="344"/>
                  </a:lnTo>
                  <a:lnTo>
                    <a:pt x="1455" y="342"/>
                  </a:lnTo>
                  <a:lnTo>
                    <a:pt x="1460" y="344"/>
                  </a:lnTo>
                  <a:lnTo>
                    <a:pt x="1462" y="337"/>
                  </a:lnTo>
                  <a:lnTo>
                    <a:pt x="1462" y="332"/>
                  </a:lnTo>
                  <a:lnTo>
                    <a:pt x="1460" y="330"/>
                  </a:lnTo>
                  <a:lnTo>
                    <a:pt x="1462" y="329"/>
                  </a:lnTo>
                  <a:lnTo>
                    <a:pt x="1468" y="330"/>
                  </a:lnTo>
                  <a:lnTo>
                    <a:pt x="1472" y="327"/>
                  </a:lnTo>
                  <a:lnTo>
                    <a:pt x="1474" y="329"/>
                  </a:lnTo>
                  <a:lnTo>
                    <a:pt x="1474" y="327"/>
                  </a:lnTo>
                  <a:lnTo>
                    <a:pt x="1479" y="327"/>
                  </a:lnTo>
                  <a:lnTo>
                    <a:pt x="1479" y="324"/>
                  </a:lnTo>
                  <a:lnTo>
                    <a:pt x="1480" y="324"/>
                  </a:lnTo>
                  <a:lnTo>
                    <a:pt x="1487" y="324"/>
                  </a:lnTo>
                  <a:lnTo>
                    <a:pt x="1492" y="327"/>
                  </a:lnTo>
                  <a:lnTo>
                    <a:pt x="1499" y="325"/>
                  </a:lnTo>
                  <a:lnTo>
                    <a:pt x="1499" y="327"/>
                  </a:lnTo>
                  <a:lnTo>
                    <a:pt x="1502" y="325"/>
                  </a:lnTo>
                  <a:lnTo>
                    <a:pt x="1502" y="324"/>
                  </a:lnTo>
                  <a:lnTo>
                    <a:pt x="1504" y="324"/>
                  </a:lnTo>
                  <a:lnTo>
                    <a:pt x="1504" y="320"/>
                  </a:lnTo>
                  <a:lnTo>
                    <a:pt x="1506" y="320"/>
                  </a:lnTo>
                  <a:lnTo>
                    <a:pt x="1506" y="318"/>
                  </a:lnTo>
                  <a:lnTo>
                    <a:pt x="1509" y="317"/>
                  </a:lnTo>
                  <a:lnTo>
                    <a:pt x="1511" y="315"/>
                  </a:lnTo>
                  <a:lnTo>
                    <a:pt x="1511" y="313"/>
                  </a:lnTo>
                  <a:lnTo>
                    <a:pt x="1513" y="310"/>
                  </a:lnTo>
                  <a:lnTo>
                    <a:pt x="1511" y="307"/>
                  </a:lnTo>
                  <a:lnTo>
                    <a:pt x="1516" y="305"/>
                  </a:lnTo>
                  <a:lnTo>
                    <a:pt x="1518" y="305"/>
                  </a:lnTo>
                  <a:lnTo>
                    <a:pt x="1519" y="301"/>
                  </a:lnTo>
                  <a:lnTo>
                    <a:pt x="1523" y="300"/>
                  </a:lnTo>
                  <a:lnTo>
                    <a:pt x="1523" y="298"/>
                  </a:lnTo>
                  <a:lnTo>
                    <a:pt x="1526" y="300"/>
                  </a:lnTo>
                  <a:lnTo>
                    <a:pt x="1526" y="301"/>
                  </a:lnTo>
                  <a:lnTo>
                    <a:pt x="1530" y="305"/>
                  </a:lnTo>
                  <a:lnTo>
                    <a:pt x="1533" y="300"/>
                  </a:lnTo>
                  <a:lnTo>
                    <a:pt x="1536" y="298"/>
                  </a:lnTo>
                  <a:lnTo>
                    <a:pt x="1538" y="300"/>
                  </a:lnTo>
                  <a:lnTo>
                    <a:pt x="1540" y="295"/>
                  </a:lnTo>
                  <a:lnTo>
                    <a:pt x="1543" y="296"/>
                  </a:lnTo>
                  <a:lnTo>
                    <a:pt x="1545" y="303"/>
                  </a:lnTo>
                  <a:lnTo>
                    <a:pt x="1548" y="303"/>
                  </a:lnTo>
                  <a:lnTo>
                    <a:pt x="1550" y="307"/>
                  </a:lnTo>
                  <a:lnTo>
                    <a:pt x="1553" y="307"/>
                  </a:lnTo>
                  <a:lnTo>
                    <a:pt x="1555" y="305"/>
                  </a:lnTo>
                  <a:lnTo>
                    <a:pt x="1559" y="305"/>
                  </a:lnTo>
                  <a:lnTo>
                    <a:pt x="1560" y="307"/>
                  </a:lnTo>
                  <a:lnTo>
                    <a:pt x="1569" y="310"/>
                  </a:lnTo>
                  <a:lnTo>
                    <a:pt x="1570" y="312"/>
                  </a:lnTo>
                  <a:lnTo>
                    <a:pt x="1577" y="305"/>
                  </a:lnTo>
                  <a:lnTo>
                    <a:pt x="1581" y="307"/>
                  </a:lnTo>
                  <a:lnTo>
                    <a:pt x="1586" y="303"/>
                  </a:lnTo>
                  <a:lnTo>
                    <a:pt x="1589" y="307"/>
                  </a:lnTo>
                  <a:lnTo>
                    <a:pt x="1598" y="305"/>
                  </a:lnTo>
                  <a:lnTo>
                    <a:pt x="1598" y="303"/>
                  </a:lnTo>
                  <a:lnTo>
                    <a:pt x="1601" y="301"/>
                  </a:lnTo>
                  <a:lnTo>
                    <a:pt x="1606" y="305"/>
                  </a:lnTo>
                  <a:lnTo>
                    <a:pt x="1610" y="303"/>
                  </a:lnTo>
                  <a:lnTo>
                    <a:pt x="1611" y="305"/>
                  </a:lnTo>
                  <a:lnTo>
                    <a:pt x="1620" y="310"/>
                  </a:lnTo>
                  <a:lnTo>
                    <a:pt x="1621" y="308"/>
                  </a:lnTo>
                  <a:lnTo>
                    <a:pt x="1627" y="308"/>
                  </a:lnTo>
                  <a:lnTo>
                    <a:pt x="1632" y="312"/>
                  </a:lnTo>
                  <a:lnTo>
                    <a:pt x="1638" y="312"/>
                  </a:lnTo>
                  <a:lnTo>
                    <a:pt x="1644" y="313"/>
                  </a:lnTo>
                  <a:lnTo>
                    <a:pt x="1647" y="312"/>
                  </a:lnTo>
                  <a:lnTo>
                    <a:pt x="1652" y="308"/>
                  </a:lnTo>
                  <a:lnTo>
                    <a:pt x="1649" y="305"/>
                  </a:lnTo>
                  <a:lnTo>
                    <a:pt x="1649" y="300"/>
                  </a:lnTo>
                  <a:lnTo>
                    <a:pt x="1649" y="298"/>
                  </a:lnTo>
                  <a:lnTo>
                    <a:pt x="1650" y="300"/>
                  </a:lnTo>
                  <a:lnTo>
                    <a:pt x="1650" y="295"/>
                  </a:lnTo>
                  <a:lnTo>
                    <a:pt x="1649" y="293"/>
                  </a:lnTo>
                  <a:lnTo>
                    <a:pt x="1649" y="291"/>
                  </a:lnTo>
                  <a:lnTo>
                    <a:pt x="1645" y="290"/>
                  </a:lnTo>
                  <a:lnTo>
                    <a:pt x="1642" y="283"/>
                  </a:lnTo>
                  <a:lnTo>
                    <a:pt x="1637" y="281"/>
                  </a:lnTo>
                  <a:lnTo>
                    <a:pt x="1638" y="279"/>
                  </a:lnTo>
                  <a:lnTo>
                    <a:pt x="1638" y="278"/>
                  </a:lnTo>
                  <a:lnTo>
                    <a:pt x="1633" y="276"/>
                  </a:lnTo>
                  <a:lnTo>
                    <a:pt x="1632" y="276"/>
                  </a:lnTo>
                  <a:lnTo>
                    <a:pt x="1630" y="274"/>
                  </a:lnTo>
                  <a:lnTo>
                    <a:pt x="1632" y="269"/>
                  </a:lnTo>
                  <a:lnTo>
                    <a:pt x="1633" y="269"/>
                  </a:lnTo>
                  <a:lnTo>
                    <a:pt x="1633" y="264"/>
                  </a:lnTo>
                  <a:lnTo>
                    <a:pt x="1637" y="267"/>
                  </a:lnTo>
                  <a:lnTo>
                    <a:pt x="1640" y="267"/>
                  </a:lnTo>
                  <a:lnTo>
                    <a:pt x="1638" y="264"/>
                  </a:lnTo>
                  <a:lnTo>
                    <a:pt x="1644" y="261"/>
                  </a:lnTo>
                  <a:lnTo>
                    <a:pt x="1642" y="257"/>
                  </a:lnTo>
                  <a:lnTo>
                    <a:pt x="1644" y="254"/>
                  </a:lnTo>
                  <a:lnTo>
                    <a:pt x="1642" y="252"/>
                  </a:lnTo>
                  <a:lnTo>
                    <a:pt x="1644" y="250"/>
                  </a:lnTo>
                  <a:lnTo>
                    <a:pt x="1649" y="250"/>
                  </a:lnTo>
                  <a:lnTo>
                    <a:pt x="1657" y="257"/>
                  </a:lnTo>
                  <a:lnTo>
                    <a:pt x="1664" y="257"/>
                  </a:lnTo>
                  <a:lnTo>
                    <a:pt x="1666" y="261"/>
                  </a:lnTo>
                  <a:lnTo>
                    <a:pt x="1669" y="262"/>
                  </a:lnTo>
                  <a:lnTo>
                    <a:pt x="1671" y="261"/>
                  </a:lnTo>
                  <a:lnTo>
                    <a:pt x="1678" y="261"/>
                  </a:lnTo>
                  <a:lnTo>
                    <a:pt x="1681" y="259"/>
                  </a:lnTo>
                  <a:lnTo>
                    <a:pt x="1681" y="261"/>
                  </a:lnTo>
                  <a:lnTo>
                    <a:pt x="1688" y="257"/>
                  </a:lnTo>
                  <a:lnTo>
                    <a:pt x="1689" y="259"/>
                  </a:lnTo>
                  <a:lnTo>
                    <a:pt x="1693" y="259"/>
                  </a:lnTo>
                  <a:lnTo>
                    <a:pt x="1698" y="261"/>
                  </a:lnTo>
                  <a:lnTo>
                    <a:pt x="1701" y="257"/>
                  </a:lnTo>
                  <a:lnTo>
                    <a:pt x="1701" y="256"/>
                  </a:lnTo>
                  <a:lnTo>
                    <a:pt x="1703" y="252"/>
                  </a:lnTo>
                  <a:lnTo>
                    <a:pt x="1713" y="252"/>
                  </a:lnTo>
                  <a:lnTo>
                    <a:pt x="1718" y="247"/>
                  </a:lnTo>
                  <a:lnTo>
                    <a:pt x="1722" y="247"/>
                  </a:lnTo>
                  <a:lnTo>
                    <a:pt x="1723" y="250"/>
                  </a:lnTo>
                  <a:lnTo>
                    <a:pt x="1732" y="244"/>
                  </a:lnTo>
                  <a:lnTo>
                    <a:pt x="1737" y="245"/>
                  </a:lnTo>
                  <a:lnTo>
                    <a:pt x="1739" y="250"/>
                  </a:lnTo>
                  <a:lnTo>
                    <a:pt x="1746" y="259"/>
                  </a:lnTo>
                  <a:lnTo>
                    <a:pt x="1752" y="259"/>
                  </a:lnTo>
                  <a:lnTo>
                    <a:pt x="1756" y="256"/>
                  </a:lnTo>
                  <a:lnTo>
                    <a:pt x="1759" y="256"/>
                  </a:lnTo>
                  <a:lnTo>
                    <a:pt x="1763" y="259"/>
                  </a:lnTo>
                  <a:lnTo>
                    <a:pt x="1761" y="266"/>
                  </a:lnTo>
                  <a:lnTo>
                    <a:pt x="1764" y="267"/>
                  </a:lnTo>
                  <a:lnTo>
                    <a:pt x="1769" y="267"/>
                  </a:lnTo>
                  <a:lnTo>
                    <a:pt x="1780" y="274"/>
                  </a:lnTo>
                  <a:lnTo>
                    <a:pt x="1781" y="278"/>
                  </a:lnTo>
                  <a:lnTo>
                    <a:pt x="1791" y="279"/>
                  </a:lnTo>
                  <a:lnTo>
                    <a:pt x="1795" y="284"/>
                  </a:lnTo>
                  <a:lnTo>
                    <a:pt x="1802" y="284"/>
                  </a:lnTo>
                  <a:lnTo>
                    <a:pt x="1807" y="283"/>
                  </a:lnTo>
                  <a:lnTo>
                    <a:pt x="1812" y="286"/>
                  </a:lnTo>
                  <a:lnTo>
                    <a:pt x="1815" y="286"/>
                  </a:lnTo>
                  <a:lnTo>
                    <a:pt x="1819" y="279"/>
                  </a:lnTo>
                  <a:lnTo>
                    <a:pt x="1824" y="281"/>
                  </a:lnTo>
                  <a:lnTo>
                    <a:pt x="1831" y="278"/>
                  </a:lnTo>
                  <a:lnTo>
                    <a:pt x="1831" y="273"/>
                  </a:lnTo>
                  <a:lnTo>
                    <a:pt x="1834" y="274"/>
                  </a:lnTo>
                  <a:lnTo>
                    <a:pt x="1836" y="271"/>
                  </a:lnTo>
                  <a:lnTo>
                    <a:pt x="1839" y="271"/>
                  </a:lnTo>
                  <a:lnTo>
                    <a:pt x="1841" y="269"/>
                  </a:lnTo>
                  <a:lnTo>
                    <a:pt x="1839" y="269"/>
                  </a:lnTo>
                  <a:lnTo>
                    <a:pt x="1844" y="264"/>
                  </a:lnTo>
                  <a:lnTo>
                    <a:pt x="1846" y="266"/>
                  </a:lnTo>
                  <a:lnTo>
                    <a:pt x="1849" y="269"/>
                  </a:lnTo>
                  <a:lnTo>
                    <a:pt x="1856" y="271"/>
                  </a:lnTo>
                  <a:lnTo>
                    <a:pt x="1858" y="273"/>
                  </a:lnTo>
                  <a:lnTo>
                    <a:pt x="1871" y="274"/>
                  </a:lnTo>
                  <a:lnTo>
                    <a:pt x="1875" y="273"/>
                  </a:lnTo>
                  <a:lnTo>
                    <a:pt x="1878" y="273"/>
                  </a:lnTo>
                  <a:lnTo>
                    <a:pt x="1883" y="271"/>
                  </a:lnTo>
                  <a:lnTo>
                    <a:pt x="1887" y="269"/>
                  </a:lnTo>
                  <a:lnTo>
                    <a:pt x="1895" y="274"/>
                  </a:lnTo>
                  <a:lnTo>
                    <a:pt x="1893" y="279"/>
                  </a:lnTo>
                  <a:lnTo>
                    <a:pt x="1907" y="278"/>
                  </a:lnTo>
                  <a:lnTo>
                    <a:pt x="1917" y="283"/>
                  </a:lnTo>
                  <a:lnTo>
                    <a:pt x="1921" y="283"/>
                  </a:lnTo>
                  <a:lnTo>
                    <a:pt x="1922" y="281"/>
                  </a:lnTo>
                  <a:lnTo>
                    <a:pt x="1924" y="281"/>
                  </a:lnTo>
                  <a:lnTo>
                    <a:pt x="1926" y="276"/>
                  </a:lnTo>
                  <a:lnTo>
                    <a:pt x="1929" y="274"/>
                  </a:lnTo>
                  <a:lnTo>
                    <a:pt x="1929" y="273"/>
                  </a:lnTo>
                  <a:lnTo>
                    <a:pt x="1946" y="264"/>
                  </a:lnTo>
                  <a:lnTo>
                    <a:pt x="1948" y="259"/>
                  </a:lnTo>
                  <a:lnTo>
                    <a:pt x="1951" y="257"/>
                  </a:lnTo>
                  <a:lnTo>
                    <a:pt x="1951" y="256"/>
                  </a:lnTo>
                  <a:lnTo>
                    <a:pt x="1956" y="250"/>
                  </a:lnTo>
                  <a:lnTo>
                    <a:pt x="1956" y="249"/>
                  </a:lnTo>
                  <a:lnTo>
                    <a:pt x="1958" y="247"/>
                  </a:lnTo>
                  <a:lnTo>
                    <a:pt x="1960" y="245"/>
                  </a:lnTo>
                  <a:lnTo>
                    <a:pt x="1956" y="240"/>
                  </a:lnTo>
                  <a:lnTo>
                    <a:pt x="1960" y="239"/>
                  </a:lnTo>
                  <a:lnTo>
                    <a:pt x="1963" y="230"/>
                  </a:lnTo>
                  <a:lnTo>
                    <a:pt x="1963" y="227"/>
                  </a:lnTo>
                  <a:lnTo>
                    <a:pt x="1968" y="216"/>
                  </a:lnTo>
                  <a:lnTo>
                    <a:pt x="1972" y="216"/>
                  </a:lnTo>
                  <a:lnTo>
                    <a:pt x="1973" y="215"/>
                  </a:lnTo>
                  <a:lnTo>
                    <a:pt x="1972" y="213"/>
                  </a:lnTo>
                  <a:lnTo>
                    <a:pt x="1972" y="211"/>
                  </a:lnTo>
                  <a:lnTo>
                    <a:pt x="1977" y="201"/>
                  </a:lnTo>
                  <a:lnTo>
                    <a:pt x="1975" y="198"/>
                  </a:lnTo>
                  <a:lnTo>
                    <a:pt x="1977" y="196"/>
                  </a:lnTo>
                  <a:lnTo>
                    <a:pt x="1975" y="196"/>
                  </a:lnTo>
                  <a:lnTo>
                    <a:pt x="1977" y="191"/>
                  </a:lnTo>
                  <a:lnTo>
                    <a:pt x="1980" y="191"/>
                  </a:lnTo>
                  <a:lnTo>
                    <a:pt x="1980" y="186"/>
                  </a:lnTo>
                  <a:lnTo>
                    <a:pt x="1984" y="184"/>
                  </a:lnTo>
                  <a:lnTo>
                    <a:pt x="1985" y="186"/>
                  </a:lnTo>
                  <a:lnTo>
                    <a:pt x="1989" y="181"/>
                  </a:lnTo>
                  <a:lnTo>
                    <a:pt x="1989" y="179"/>
                  </a:lnTo>
                  <a:lnTo>
                    <a:pt x="1999" y="165"/>
                  </a:lnTo>
                  <a:lnTo>
                    <a:pt x="2001" y="160"/>
                  </a:lnTo>
                  <a:lnTo>
                    <a:pt x="2007" y="150"/>
                  </a:lnTo>
                  <a:lnTo>
                    <a:pt x="2009" y="143"/>
                  </a:lnTo>
                  <a:lnTo>
                    <a:pt x="2011" y="142"/>
                  </a:lnTo>
                  <a:lnTo>
                    <a:pt x="2014" y="142"/>
                  </a:lnTo>
                  <a:lnTo>
                    <a:pt x="2014" y="136"/>
                  </a:lnTo>
                  <a:lnTo>
                    <a:pt x="2018" y="133"/>
                  </a:lnTo>
                  <a:lnTo>
                    <a:pt x="2024" y="126"/>
                  </a:lnTo>
                  <a:lnTo>
                    <a:pt x="2028" y="118"/>
                  </a:lnTo>
                  <a:lnTo>
                    <a:pt x="2038" y="111"/>
                  </a:lnTo>
                  <a:lnTo>
                    <a:pt x="2043" y="99"/>
                  </a:lnTo>
                  <a:lnTo>
                    <a:pt x="2043" y="94"/>
                  </a:lnTo>
                  <a:lnTo>
                    <a:pt x="2045" y="96"/>
                  </a:lnTo>
                  <a:lnTo>
                    <a:pt x="2048" y="102"/>
                  </a:lnTo>
                  <a:lnTo>
                    <a:pt x="2057" y="121"/>
                  </a:lnTo>
                  <a:lnTo>
                    <a:pt x="2057" y="118"/>
                  </a:lnTo>
                  <a:lnTo>
                    <a:pt x="2048" y="102"/>
                  </a:lnTo>
                  <a:lnTo>
                    <a:pt x="2045" y="84"/>
                  </a:lnTo>
                  <a:lnTo>
                    <a:pt x="2048" y="75"/>
                  </a:lnTo>
                  <a:lnTo>
                    <a:pt x="2053" y="77"/>
                  </a:lnTo>
                  <a:lnTo>
                    <a:pt x="2067" y="89"/>
                  </a:lnTo>
                  <a:lnTo>
                    <a:pt x="2077" y="101"/>
                  </a:lnTo>
                  <a:lnTo>
                    <a:pt x="2079" y="106"/>
                  </a:lnTo>
                  <a:lnTo>
                    <a:pt x="2082" y="116"/>
                  </a:lnTo>
                  <a:lnTo>
                    <a:pt x="2082" y="131"/>
                  </a:lnTo>
                  <a:lnTo>
                    <a:pt x="2079" y="147"/>
                  </a:lnTo>
                  <a:lnTo>
                    <a:pt x="2080" y="145"/>
                  </a:lnTo>
                  <a:lnTo>
                    <a:pt x="2086" y="126"/>
                  </a:lnTo>
                  <a:lnTo>
                    <a:pt x="2087" y="125"/>
                  </a:lnTo>
                  <a:lnTo>
                    <a:pt x="2091" y="126"/>
                  </a:lnTo>
                  <a:lnTo>
                    <a:pt x="2089" y="142"/>
                  </a:lnTo>
                  <a:lnTo>
                    <a:pt x="2091" y="162"/>
                  </a:lnTo>
                  <a:lnTo>
                    <a:pt x="2089" y="165"/>
                  </a:lnTo>
                  <a:lnTo>
                    <a:pt x="2089" y="172"/>
                  </a:lnTo>
                  <a:lnTo>
                    <a:pt x="2096" y="187"/>
                  </a:lnTo>
                  <a:lnTo>
                    <a:pt x="2094" y="194"/>
                  </a:lnTo>
                  <a:lnTo>
                    <a:pt x="2097" y="199"/>
                  </a:lnTo>
                  <a:lnTo>
                    <a:pt x="2096" y="203"/>
                  </a:lnTo>
                  <a:lnTo>
                    <a:pt x="2099" y="206"/>
                  </a:lnTo>
                  <a:lnTo>
                    <a:pt x="2099" y="213"/>
                  </a:lnTo>
                  <a:lnTo>
                    <a:pt x="2103" y="218"/>
                  </a:lnTo>
                  <a:lnTo>
                    <a:pt x="2103" y="225"/>
                  </a:lnTo>
                  <a:lnTo>
                    <a:pt x="2104" y="225"/>
                  </a:lnTo>
                  <a:lnTo>
                    <a:pt x="2108" y="227"/>
                  </a:lnTo>
                  <a:lnTo>
                    <a:pt x="2108" y="230"/>
                  </a:lnTo>
                  <a:lnTo>
                    <a:pt x="2109" y="232"/>
                  </a:lnTo>
                  <a:lnTo>
                    <a:pt x="2109" y="235"/>
                  </a:lnTo>
                  <a:lnTo>
                    <a:pt x="2113" y="240"/>
                  </a:lnTo>
                  <a:lnTo>
                    <a:pt x="2114" y="252"/>
                  </a:lnTo>
                  <a:lnTo>
                    <a:pt x="2111" y="254"/>
                  </a:lnTo>
                  <a:lnTo>
                    <a:pt x="2118" y="252"/>
                  </a:lnTo>
                  <a:lnTo>
                    <a:pt x="2120" y="259"/>
                  </a:lnTo>
                  <a:lnTo>
                    <a:pt x="2120" y="261"/>
                  </a:lnTo>
                  <a:lnTo>
                    <a:pt x="2121" y="269"/>
                  </a:lnTo>
                  <a:lnTo>
                    <a:pt x="2123" y="273"/>
                  </a:lnTo>
                  <a:lnTo>
                    <a:pt x="2123" y="276"/>
                  </a:lnTo>
                  <a:lnTo>
                    <a:pt x="2128" y="281"/>
                  </a:lnTo>
                  <a:lnTo>
                    <a:pt x="2128" y="284"/>
                  </a:lnTo>
                  <a:lnTo>
                    <a:pt x="2125" y="286"/>
                  </a:lnTo>
                  <a:lnTo>
                    <a:pt x="2123" y="284"/>
                  </a:lnTo>
                  <a:lnTo>
                    <a:pt x="2121" y="288"/>
                  </a:lnTo>
                  <a:lnTo>
                    <a:pt x="2123" y="288"/>
                  </a:lnTo>
                  <a:lnTo>
                    <a:pt x="2125" y="288"/>
                  </a:lnTo>
                  <a:lnTo>
                    <a:pt x="2126" y="286"/>
                  </a:lnTo>
                  <a:lnTo>
                    <a:pt x="2133" y="290"/>
                  </a:lnTo>
                  <a:lnTo>
                    <a:pt x="2135" y="293"/>
                  </a:lnTo>
                  <a:lnTo>
                    <a:pt x="2137" y="300"/>
                  </a:lnTo>
                  <a:lnTo>
                    <a:pt x="2142" y="305"/>
                  </a:lnTo>
                  <a:lnTo>
                    <a:pt x="2148" y="315"/>
                  </a:lnTo>
                  <a:lnTo>
                    <a:pt x="2154" y="317"/>
                  </a:lnTo>
                  <a:lnTo>
                    <a:pt x="2160" y="315"/>
                  </a:lnTo>
                  <a:lnTo>
                    <a:pt x="2176" y="315"/>
                  </a:lnTo>
                  <a:lnTo>
                    <a:pt x="2188" y="320"/>
                  </a:lnTo>
                  <a:lnTo>
                    <a:pt x="2196" y="325"/>
                  </a:lnTo>
                  <a:lnTo>
                    <a:pt x="2199" y="335"/>
                  </a:lnTo>
                  <a:lnTo>
                    <a:pt x="2199" y="346"/>
                  </a:lnTo>
                  <a:lnTo>
                    <a:pt x="2201" y="352"/>
                  </a:lnTo>
                  <a:lnTo>
                    <a:pt x="2201" y="354"/>
                  </a:lnTo>
                  <a:lnTo>
                    <a:pt x="2201" y="359"/>
                  </a:lnTo>
                  <a:lnTo>
                    <a:pt x="2198" y="363"/>
                  </a:lnTo>
                  <a:lnTo>
                    <a:pt x="2189" y="369"/>
                  </a:lnTo>
                  <a:lnTo>
                    <a:pt x="2177" y="369"/>
                  </a:lnTo>
                  <a:lnTo>
                    <a:pt x="2179" y="363"/>
                  </a:lnTo>
                  <a:lnTo>
                    <a:pt x="2177" y="358"/>
                  </a:lnTo>
                  <a:lnTo>
                    <a:pt x="2176" y="359"/>
                  </a:lnTo>
                  <a:lnTo>
                    <a:pt x="2169" y="358"/>
                  </a:lnTo>
                  <a:lnTo>
                    <a:pt x="2165" y="359"/>
                  </a:lnTo>
                  <a:lnTo>
                    <a:pt x="2165" y="361"/>
                  </a:lnTo>
                  <a:lnTo>
                    <a:pt x="2169" y="359"/>
                  </a:lnTo>
                  <a:lnTo>
                    <a:pt x="2177" y="359"/>
                  </a:lnTo>
                  <a:lnTo>
                    <a:pt x="2177" y="361"/>
                  </a:lnTo>
                  <a:lnTo>
                    <a:pt x="2176" y="371"/>
                  </a:lnTo>
                  <a:lnTo>
                    <a:pt x="2177" y="373"/>
                  </a:lnTo>
                  <a:lnTo>
                    <a:pt x="2184" y="373"/>
                  </a:lnTo>
                  <a:lnTo>
                    <a:pt x="2196" y="369"/>
                  </a:lnTo>
                  <a:lnTo>
                    <a:pt x="2201" y="369"/>
                  </a:lnTo>
                  <a:lnTo>
                    <a:pt x="2201" y="375"/>
                  </a:lnTo>
                  <a:lnTo>
                    <a:pt x="2193" y="381"/>
                  </a:lnTo>
                  <a:lnTo>
                    <a:pt x="2186" y="385"/>
                  </a:lnTo>
                  <a:lnTo>
                    <a:pt x="2179" y="393"/>
                  </a:lnTo>
                  <a:lnTo>
                    <a:pt x="2176" y="395"/>
                  </a:lnTo>
                  <a:lnTo>
                    <a:pt x="2165" y="402"/>
                  </a:lnTo>
                  <a:lnTo>
                    <a:pt x="2164" y="400"/>
                  </a:lnTo>
                  <a:lnTo>
                    <a:pt x="2160" y="410"/>
                  </a:lnTo>
                  <a:lnTo>
                    <a:pt x="2162" y="412"/>
                  </a:lnTo>
                  <a:lnTo>
                    <a:pt x="2160" y="414"/>
                  </a:lnTo>
                  <a:lnTo>
                    <a:pt x="2148" y="422"/>
                  </a:lnTo>
                  <a:lnTo>
                    <a:pt x="2145" y="427"/>
                  </a:lnTo>
                  <a:lnTo>
                    <a:pt x="2138" y="441"/>
                  </a:lnTo>
                  <a:lnTo>
                    <a:pt x="2126" y="453"/>
                  </a:lnTo>
                  <a:lnTo>
                    <a:pt x="2120" y="463"/>
                  </a:lnTo>
                  <a:lnTo>
                    <a:pt x="2108" y="465"/>
                  </a:lnTo>
                  <a:lnTo>
                    <a:pt x="2099" y="472"/>
                  </a:lnTo>
                  <a:lnTo>
                    <a:pt x="2091" y="485"/>
                  </a:lnTo>
                  <a:lnTo>
                    <a:pt x="2094" y="487"/>
                  </a:lnTo>
                  <a:lnTo>
                    <a:pt x="2099" y="489"/>
                  </a:lnTo>
                  <a:lnTo>
                    <a:pt x="2101" y="487"/>
                  </a:lnTo>
                  <a:lnTo>
                    <a:pt x="2103" y="485"/>
                  </a:lnTo>
                  <a:lnTo>
                    <a:pt x="2113" y="485"/>
                  </a:lnTo>
                  <a:lnTo>
                    <a:pt x="2116" y="482"/>
                  </a:lnTo>
                  <a:lnTo>
                    <a:pt x="2128" y="480"/>
                  </a:lnTo>
                  <a:lnTo>
                    <a:pt x="2133" y="489"/>
                  </a:lnTo>
                  <a:lnTo>
                    <a:pt x="2130" y="492"/>
                  </a:lnTo>
                  <a:lnTo>
                    <a:pt x="2125" y="497"/>
                  </a:lnTo>
                  <a:lnTo>
                    <a:pt x="2120" y="499"/>
                  </a:lnTo>
                  <a:lnTo>
                    <a:pt x="2114" y="504"/>
                  </a:lnTo>
                  <a:lnTo>
                    <a:pt x="2109" y="507"/>
                  </a:lnTo>
                  <a:lnTo>
                    <a:pt x="2099" y="516"/>
                  </a:lnTo>
                  <a:lnTo>
                    <a:pt x="2113" y="514"/>
                  </a:lnTo>
                  <a:lnTo>
                    <a:pt x="2116" y="516"/>
                  </a:lnTo>
                  <a:lnTo>
                    <a:pt x="2116" y="517"/>
                  </a:lnTo>
                  <a:lnTo>
                    <a:pt x="2118" y="516"/>
                  </a:lnTo>
                  <a:lnTo>
                    <a:pt x="2120" y="517"/>
                  </a:lnTo>
                  <a:lnTo>
                    <a:pt x="2121" y="521"/>
                  </a:lnTo>
                  <a:lnTo>
                    <a:pt x="2118" y="524"/>
                  </a:lnTo>
                  <a:lnTo>
                    <a:pt x="2113" y="528"/>
                  </a:lnTo>
                  <a:lnTo>
                    <a:pt x="2099" y="534"/>
                  </a:lnTo>
                  <a:lnTo>
                    <a:pt x="2094" y="540"/>
                  </a:lnTo>
                  <a:lnTo>
                    <a:pt x="2094" y="543"/>
                  </a:lnTo>
                  <a:lnTo>
                    <a:pt x="2104" y="534"/>
                  </a:lnTo>
                  <a:lnTo>
                    <a:pt x="2114" y="531"/>
                  </a:lnTo>
                  <a:lnTo>
                    <a:pt x="2116" y="534"/>
                  </a:lnTo>
                  <a:lnTo>
                    <a:pt x="2114" y="543"/>
                  </a:lnTo>
                  <a:lnTo>
                    <a:pt x="2118" y="553"/>
                  </a:lnTo>
                  <a:lnTo>
                    <a:pt x="2120" y="551"/>
                  </a:lnTo>
                  <a:lnTo>
                    <a:pt x="2120" y="540"/>
                  </a:lnTo>
                  <a:lnTo>
                    <a:pt x="2125" y="529"/>
                  </a:lnTo>
                  <a:lnTo>
                    <a:pt x="2123" y="526"/>
                  </a:lnTo>
                  <a:lnTo>
                    <a:pt x="2126" y="521"/>
                  </a:lnTo>
                  <a:lnTo>
                    <a:pt x="2126" y="514"/>
                  </a:lnTo>
                  <a:lnTo>
                    <a:pt x="2131" y="506"/>
                  </a:lnTo>
                  <a:lnTo>
                    <a:pt x="2138" y="497"/>
                  </a:lnTo>
                  <a:lnTo>
                    <a:pt x="2147" y="495"/>
                  </a:lnTo>
                  <a:lnTo>
                    <a:pt x="2148" y="492"/>
                  </a:lnTo>
                  <a:lnTo>
                    <a:pt x="2154" y="490"/>
                  </a:lnTo>
                  <a:lnTo>
                    <a:pt x="2160" y="489"/>
                  </a:lnTo>
                  <a:lnTo>
                    <a:pt x="2167" y="492"/>
                  </a:lnTo>
                  <a:lnTo>
                    <a:pt x="2179" y="492"/>
                  </a:lnTo>
                  <a:lnTo>
                    <a:pt x="2186" y="495"/>
                  </a:lnTo>
                  <a:lnTo>
                    <a:pt x="2191" y="495"/>
                  </a:lnTo>
                  <a:lnTo>
                    <a:pt x="2205" y="499"/>
                  </a:lnTo>
                  <a:lnTo>
                    <a:pt x="2208" y="499"/>
                  </a:lnTo>
                  <a:lnTo>
                    <a:pt x="2213" y="500"/>
                  </a:lnTo>
                  <a:lnTo>
                    <a:pt x="2223" y="504"/>
                  </a:lnTo>
                  <a:lnTo>
                    <a:pt x="2233" y="502"/>
                  </a:lnTo>
                  <a:lnTo>
                    <a:pt x="2240" y="500"/>
                  </a:lnTo>
                  <a:lnTo>
                    <a:pt x="2244" y="502"/>
                  </a:lnTo>
                  <a:lnTo>
                    <a:pt x="2244" y="499"/>
                  </a:lnTo>
                  <a:lnTo>
                    <a:pt x="2249" y="499"/>
                  </a:lnTo>
                  <a:lnTo>
                    <a:pt x="2250" y="495"/>
                  </a:lnTo>
                  <a:lnTo>
                    <a:pt x="2259" y="495"/>
                  </a:lnTo>
                  <a:lnTo>
                    <a:pt x="2262" y="494"/>
                  </a:lnTo>
                  <a:lnTo>
                    <a:pt x="2264" y="494"/>
                  </a:lnTo>
                  <a:lnTo>
                    <a:pt x="2269" y="497"/>
                  </a:lnTo>
                  <a:lnTo>
                    <a:pt x="2281" y="495"/>
                  </a:lnTo>
                  <a:lnTo>
                    <a:pt x="2281" y="497"/>
                  </a:lnTo>
                  <a:lnTo>
                    <a:pt x="2290" y="502"/>
                  </a:lnTo>
                  <a:lnTo>
                    <a:pt x="2300" y="500"/>
                  </a:lnTo>
                  <a:lnTo>
                    <a:pt x="2305" y="504"/>
                  </a:lnTo>
                  <a:lnTo>
                    <a:pt x="2308" y="504"/>
                  </a:lnTo>
                  <a:lnTo>
                    <a:pt x="2315" y="502"/>
                  </a:lnTo>
                  <a:lnTo>
                    <a:pt x="2327" y="502"/>
                  </a:lnTo>
                  <a:lnTo>
                    <a:pt x="2329" y="502"/>
                  </a:lnTo>
                  <a:lnTo>
                    <a:pt x="2332" y="502"/>
                  </a:lnTo>
                  <a:lnTo>
                    <a:pt x="2335" y="504"/>
                  </a:lnTo>
                  <a:lnTo>
                    <a:pt x="2339" y="509"/>
                  </a:lnTo>
                  <a:lnTo>
                    <a:pt x="2337" y="514"/>
                  </a:lnTo>
                  <a:lnTo>
                    <a:pt x="2332" y="519"/>
                  </a:lnTo>
                  <a:lnTo>
                    <a:pt x="2329" y="526"/>
                  </a:lnTo>
                  <a:lnTo>
                    <a:pt x="2329" y="538"/>
                  </a:lnTo>
                  <a:lnTo>
                    <a:pt x="2329" y="540"/>
                  </a:lnTo>
                  <a:lnTo>
                    <a:pt x="2329" y="541"/>
                  </a:lnTo>
                  <a:lnTo>
                    <a:pt x="2329" y="548"/>
                  </a:lnTo>
                  <a:lnTo>
                    <a:pt x="2325" y="550"/>
                  </a:lnTo>
                  <a:lnTo>
                    <a:pt x="2324" y="553"/>
                  </a:lnTo>
                  <a:lnTo>
                    <a:pt x="2327" y="562"/>
                  </a:lnTo>
                  <a:lnTo>
                    <a:pt x="2324" y="565"/>
                  </a:lnTo>
                  <a:lnTo>
                    <a:pt x="2317" y="569"/>
                  </a:lnTo>
                  <a:lnTo>
                    <a:pt x="2315" y="572"/>
                  </a:lnTo>
                  <a:lnTo>
                    <a:pt x="2317" y="577"/>
                  </a:lnTo>
                  <a:lnTo>
                    <a:pt x="2315" y="579"/>
                  </a:lnTo>
                  <a:lnTo>
                    <a:pt x="2305" y="587"/>
                  </a:lnTo>
                  <a:lnTo>
                    <a:pt x="2305" y="589"/>
                  </a:lnTo>
                  <a:lnTo>
                    <a:pt x="2305" y="591"/>
                  </a:lnTo>
                  <a:lnTo>
                    <a:pt x="2305" y="592"/>
                  </a:lnTo>
                  <a:lnTo>
                    <a:pt x="2300" y="597"/>
                  </a:lnTo>
                  <a:lnTo>
                    <a:pt x="2301" y="599"/>
                  </a:lnTo>
                  <a:lnTo>
                    <a:pt x="2298" y="613"/>
                  </a:lnTo>
                  <a:lnTo>
                    <a:pt x="2291" y="616"/>
                  </a:lnTo>
                  <a:lnTo>
                    <a:pt x="2290" y="621"/>
                  </a:lnTo>
                  <a:lnTo>
                    <a:pt x="2291" y="628"/>
                  </a:lnTo>
                  <a:lnTo>
                    <a:pt x="2290" y="633"/>
                  </a:lnTo>
                  <a:lnTo>
                    <a:pt x="2286" y="637"/>
                  </a:lnTo>
                  <a:lnTo>
                    <a:pt x="2288" y="640"/>
                  </a:lnTo>
                  <a:lnTo>
                    <a:pt x="2286" y="642"/>
                  </a:lnTo>
                  <a:lnTo>
                    <a:pt x="2284" y="643"/>
                  </a:lnTo>
                  <a:lnTo>
                    <a:pt x="2281" y="645"/>
                  </a:lnTo>
                  <a:lnTo>
                    <a:pt x="2278" y="650"/>
                  </a:lnTo>
                  <a:lnTo>
                    <a:pt x="2274" y="650"/>
                  </a:lnTo>
                  <a:lnTo>
                    <a:pt x="2276" y="650"/>
                  </a:lnTo>
                  <a:lnTo>
                    <a:pt x="2279" y="650"/>
                  </a:lnTo>
                  <a:lnTo>
                    <a:pt x="2281" y="645"/>
                  </a:lnTo>
                  <a:lnTo>
                    <a:pt x="2286" y="645"/>
                  </a:lnTo>
                  <a:lnTo>
                    <a:pt x="2288" y="642"/>
                  </a:lnTo>
                  <a:lnTo>
                    <a:pt x="2288" y="640"/>
                  </a:lnTo>
                  <a:lnTo>
                    <a:pt x="2291" y="640"/>
                  </a:lnTo>
                  <a:lnTo>
                    <a:pt x="2291" y="637"/>
                  </a:lnTo>
                  <a:lnTo>
                    <a:pt x="2291" y="633"/>
                  </a:lnTo>
                  <a:lnTo>
                    <a:pt x="2296" y="630"/>
                  </a:lnTo>
                  <a:lnTo>
                    <a:pt x="2298" y="630"/>
                  </a:lnTo>
                  <a:lnTo>
                    <a:pt x="2301" y="625"/>
                  </a:lnTo>
                  <a:lnTo>
                    <a:pt x="2303" y="623"/>
                  </a:lnTo>
                  <a:lnTo>
                    <a:pt x="2303" y="621"/>
                  </a:lnTo>
                  <a:lnTo>
                    <a:pt x="2307" y="620"/>
                  </a:lnTo>
                  <a:lnTo>
                    <a:pt x="2307" y="618"/>
                  </a:lnTo>
                  <a:lnTo>
                    <a:pt x="2310" y="616"/>
                  </a:lnTo>
                  <a:lnTo>
                    <a:pt x="2308" y="614"/>
                  </a:lnTo>
                  <a:lnTo>
                    <a:pt x="2312" y="611"/>
                  </a:lnTo>
                  <a:lnTo>
                    <a:pt x="2312" y="608"/>
                  </a:lnTo>
                  <a:lnTo>
                    <a:pt x="2313" y="608"/>
                  </a:lnTo>
                  <a:lnTo>
                    <a:pt x="2315" y="608"/>
                  </a:lnTo>
                  <a:lnTo>
                    <a:pt x="2317" y="608"/>
                  </a:lnTo>
                  <a:lnTo>
                    <a:pt x="2318" y="603"/>
                  </a:lnTo>
                  <a:lnTo>
                    <a:pt x="2322" y="601"/>
                  </a:lnTo>
                  <a:lnTo>
                    <a:pt x="2324" y="608"/>
                  </a:lnTo>
                  <a:lnTo>
                    <a:pt x="2324" y="614"/>
                  </a:lnTo>
                  <a:lnTo>
                    <a:pt x="2325" y="621"/>
                  </a:lnTo>
                  <a:lnTo>
                    <a:pt x="2327" y="621"/>
                  </a:lnTo>
                  <a:lnTo>
                    <a:pt x="2327" y="618"/>
                  </a:lnTo>
                  <a:lnTo>
                    <a:pt x="2332" y="616"/>
                  </a:lnTo>
                  <a:lnTo>
                    <a:pt x="2334" y="614"/>
                  </a:lnTo>
                  <a:lnTo>
                    <a:pt x="2327" y="616"/>
                  </a:lnTo>
                  <a:lnTo>
                    <a:pt x="2327" y="614"/>
                  </a:lnTo>
                  <a:lnTo>
                    <a:pt x="2329" y="604"/>
                  </a:lnTo>
                  <a:lnTo>
                    <a:pt x="2329" y="597"/>
                  </a:lnTo>
                  <a:lnTo>
                    <a:pt x="2334" y="591"/>
                  </a:lnTo>
                  <a:lnTo>
                    <a:pt x="2330" y="587"/>
                  </a:lnTo>
                  <a:lnTo>
                    <a:pt x="2330" y="584"/>
                  </a:lnTo>
                  <a:lnTo>
                    <a:pt x="2335" y="580"/>
                  </a:lnTo>
                  <a:lnTo>
                    <a:pt x="2334" y="579"/>
                  </a:lnTo>
                  <a:lnTo>
                    <a:pt x="2339" y="577"/>
                  </a:lnTo>
                  <a:lnTo>
                    <a:pt x="2339" y="579"/>
                  </a:lnTo>
                  <a:lnTo>
                    <a:pt x="2339" y="577"/>
                  </a:lnTo>
                  <a:lnTo>
                    <a:pt x="2342" y="579"/>
                  </a:lnTo>
                  <a:lnTo>
                    <a:pt x="2342" y="582"/>
                  </a:lnTo>
                  <a:lnTo>
                    <a:pt x="2346" y="582"/>
                  </a:lnTo>
                  <a:lnTo>
                    <a:pt x="2344" y="577"/>
                  </a:lnTo>
                  <a:lnTo>
                    <a:pt x="2346" y="577"/>
                  </a:lnTo>
                  <a:lnTo>
                    <a:pt x="2344" y="569"/>
                  </a:lnTo>
                  <a:lnTo>
                    <a:pt x="2349" y="562"/>
                  </a:lnTo>
                  <a:lnTo>
                    <a:pt x="2351" y="557"/>
                  </a:lnTo>
                  <a:lnTo>
                    <a:pt x="2356" y="557"/>
                  </a:lnTo>
                  <a:lnTo>
                    <a:pt x="2359" y="558"/>
                  </a:lnTo>
                  <a:lnTo>
                    <a:pt x="2358" y="562"/>
                  </a:lnTo>
                  <a:lnTo>
                    <a:pt x="2359" y="558"/>
                  </a:lnTo>
                  <a:lnTo>
                    <a:pt x="2358" y="553"/>
                  </a:lnTo>
                  <a:lnTo>
                    <a:pt x="2368" y="541"/>
                  </a:lnTo>
                  <a:lnTo>
                    <a:pt x="2371" y="541"/>
                  </a:lnTo>
                  <a:lnTo>
                    <a:pt x="2371" y="545"/>
                  </a:lnTo>
                  <a:lnTo>
                    <a:pt x="2373" y="543"/>
                  </a:lnTo>
                  <a:lnTo>
                    <a:pt x="2373" y="545"/>
                  </a:lnTo>
                  <a:lnTo>
                    <a:pt x="2375" y="545"/>
                  </a:lnTo>
                  <a:lnTo>
                    <a:pt x="2376" y="545"/>
                  </a:lnTo>
                  <a:lnTo>
                    <a:pt x="2376" y="550"/>
                  </a:lnTo>
                  <a:lnTo>
                    <a:pt x="2376" y="545"/>
                  </a:lnTo>
                  <a:lnTo>
                    <a:pt x="2375" y="543"/>
                  </a:lnTo>
                  <a:lnTo>
                    <a:pt x="2376" y="540"/>
                  </a:lnTo>
                  <a:lnTo>
                    <a:pt x="2381" y="538"/>
                  </a:lnTo>
                  <a:lnTo>
                    <a:pt x="2380" y="536"/>
                  </a:lnTo>
                  <a:lnTo>
                    <a:pt x="2381" y="536"/>
                  </a:lnTo>
                  <a:lnTo>
                    <a:pt x="2380" y="533"/>
                  </a:lnTo>
                  <a:lnTo>
                    <a:pt x="2381" y="531"/>
                  </a:lnTo>
                  <a:lnTo>
                    <a:pt x="2385" y="533"/>
                  </a:lnTo>
                  <a:lnTo>
                    <a:pt x="2385" y="534"/>
                  </a:lnTo>
                  <a:lnTo>
                    <a:pt x="2386" y="534"/>
                  </a:lnTo>
                  <a:lnTo>
                    <a:pt x="2386" y="538"/>
                  </a:lnTo>
                  <a:lnTo>
                    <a:pt x="2385" y="545"/>
                  </a:lnTo>
                  <a:lnTo>
                    <a:pt x="2386" y="541"/>
                  </a:lnTo>
                  <a:lnTo>
                    <a:pt x="2386" y="543"/>
                  </a:lnTo>
                  <a:lnTo>
                    <a:pt x="2388" y="541"/>
                  </a:lnTo>
                  <a:lnTo>
                    <a:pt x="2388" y="543"/>
                  </a:lnTo>
                  <a:lnTo>
                    <a:pt x="2388" y="540"/>
                  </a:lnTo>
                  <a:lnTo>
                    <a:pt x="2390" y="541"/>
                  </a:lnTo>
                  <a:lnTo>
                    <a:pt x="2388" y="536"/>
                  </a:lnTo>
                  <a:lnTo>
                    <a:pt x="2390" y="534"/>
                  </a:lnTo>
                  <a:lnTo>
                    <a:pt x="2392" y="536"/>
                  </a:lnTo>
                  <a:lnTo>
                    <a:pt x="2392" y="534"/>
                  </a:lnTo>
                  <a:lnTo>
                    <a:pt x="2393" y="536"/>
                  </a:lnTo>
                  <a:lnTo>
                    <a:pt x="2393" y="538"/>
                  </a:lnTo>
                  <a:lnTo>
                    <a:pt x="2393" y="540"/>
                  </a:lnTo>
                  <a:lnTo>
                    <a:pt x="2395" y="538"/>
                  </a:lnTo>
                  <a:lnTo>
                    <a:pt x="2398" y="540"/>
                  </a:lnTo>
                  <a:lnTo>
                    <a:pt x="2395" y="538"/>
                  </a:lnTo>
                  <a:lnTo>
                    <a:pt x="2393" y="533"/>
                  </a:lnTo>
                  <a:lnTo>
                    <a:pt x="2397" y="533"/>
                  </a:lnTo>
                  <a:lnTo>
                    <a:pt x="2397" y="531"/>
                  </a:lnTo>
                  <a:lnTo>
                    <a:pt x="2398" y="529"/>
                  </a:lnTo>
                  <a:lnTo>
                    <a:pt x="2400" y="529"/>
                  </a:lnTo>
                  <a:lnTo>
                    <a:pt x="2400" y="533"/>
                  </a:lnTo>
                  <a:lnTo>
                    <a:pt x="2400" y="536"/>
                  </a:lnTo>
                  <a:lnTo>
                    <a:pt x="2402" y="534"/>
                  </a:lnTo>
                  <a:lnTo>
                    <a:pt x="2405" y="534"/>
                  </a:lnTo>
                  <a:lnTo>
                    <a:pt x="2405" y="538"/>
                  </a:lnTo>
                  <a:lnTo>
                    <a:pt x="2407" y="536"/>
                  </a:lnTo>
                  <a:lnTo>
                    <a:pt x="2407" y="538"/>
                  </a:lnTo>
                  <a:lnTo>
                    <a:pt x="2405" y="545"/>
                  </a:lnTo>
                  <a:lnTo>
                    <a:pt x="2405" y="543"/>
                  </a:lnTo>
                  <a:lnTo>
                    <a:pt x="2405" y="545"/>
                  </a:lnTo>
                  <a:lnTo>
                    <a:pt x="2400" y="546"/>
                  </a:lnTo>
                  <a:lnTo>
                    <a:pt x="2397" y="550"/>
                  </a:lnTo>
                  <a:lnTo>
                    <a:pt x="2402" y="548"/>
                  </a:lnTo>
                  <a:lnTo>
                    <a:pt x="2403" y="548"/>
                  </a:lnTo>
                  <a:lnTo>
                    <a:pt x="2407" y="545"/>
                  </a:lnTo>
                  <a:lnTo>
                    <a:pt x="2410" y="545"/>
                  </a:lnTo>
                  <a:lnTo>
                    <a:pt x="2409" y="546"/>
                  </a:lnTo>
                  <a:lnTo>
                    <a:pt x="2410" y="546"/>
                  </a:lnTo>
                  <a:lnTo>
                    <a:pt x="2410" y="545"/>
                  </a:lnTo>
                  <a:lnTo>
                    <a:pt x="2409" y="543"/>
                  </a:lnTo>
                  <a:lnTo>
                    <a:pt x="2412" y="540"/>
                  </a:lnTo>
                  <a:lnTo>
                    <a:pt x="2410" y="534"/>
                  </a:lnTo>
                  <a:lnTo>
                    <a:pt x="2412" y="534"/>
                  </a:lnTo>
                  <a:lnTo>
                    <a:pt x="2415" y="536"/>
                  </a:lnTo>
                  <a:lnTo>
                    <a:pt x="2414" y="540"/>
                  </a:lnTo>
                  <a:lnTo>
                    <a:pt x="2420" y="548"/>
                  </a:lnTo>
                  <a:lnTo>
                    <a:pt x="2419" y="550"/>
                  </a:lnTo>
                  <a:lnTo>
                    <a:pt x="2426" y="550"/>
                  </a:lnTo>
                  <a:lnTo>
                    <a:pt x="2426" y="555"/>
                  </a:lnTo>
                  <a:lnTo>
                    <a:pt x="2429" y="555"/>
                  </a:lnTo>
                  <a:lnTo>
                    <a:pt x="2427" y="555"/>
                  </a:lnTo>
                  <a:lnTo>
                    <a:pt x="2427" y="550"/>
                  </a:lnTo>
                  <a:lnTo>
                    <a:pt x="2426" y="548"/>
                  </a:lnTo>
                  <a:lnTo>
                    <a:pt x="2422" y="545"/>
                  </a:lnTo>
                  <a:lnTo>
                    <a:pt x="2420" y="545"/>
                  </a:lnTo>
                  <a:lnTo>
                    <a:pt x="2420" y="538"/>
                  </a:lnTo>
                  <a:lnTo>
                    <a:pt x="2422" y="536"/>
                  </a:lnTo>
                  <a:lnTo>
                    <a:pt x="2420" y="534"/>
                  </a:lnTo>
                  <a:lnTo>
                    <a:pt x="2424" y="534"/>
                  </a:lnTo>
                  <a:lnTo>
                    <a:pt x="2426" y="536"/>
                  </a:lnTo>
                  <a:lnTo>
                    <a:pt x="2426" y="540"/>
                  </a:lnTo>
                  <a:lnTo>
                    <a:pt x="2427" y="541"/>
                  </a:lnTo>
                  <a:lnTo>
                    <a:pt x="2429" y="538"/>
                  </a:lnTo>
                  <a:lnTo>
                    <a:pt x="2431" y="540"/>
                  </a:lnTo>
                  <a:lnTo>
                    <a:pt x="2429" y="536"/>
                  </a:lnTo>
                  <a:lnTo>
                    <a:pt x="2434" y="538"/>
                  </a:lnTo>
                  <a:lnTo>
                    <a:pt x="2432" y="536"/>
                  </a:lnTo>
                  <a:lnTo>
                    <a:pt x="2434" y="534"/>
                  </a:lnTo>
                  <a:lnTo>
                    <a:pt x="2437" y="536"/>
                  </a:lnTo>
                  <a:lnTo>
                    <a:pt x="2437" y="540"/>
                  </a:lnTo>
                  <a:lnTo>
                    <a:pt x="2439" y="540"/>
                  </a:lnTo>
                  <a:lnTo>
                    <a:pt x="2441" y="541"/>
                  </a:lnTo>
                  <a:lnTo>
                    <a:pt x="2441" y="538"/>
                  </a:lnTo>
                  <a:lnTo>
                    <a:pt x="2444" y="540"/>
                  </a:lnTo>
                  <a:lnTo>
                    <a:pt x="2444" y="543"/>
                  </a:lnTo>
                  <a:lnTo>
                    <a:pt x="2443" y="543"/>
                  </a:lnTo>
                  <a:lnTo>
                    <a:pt x="2439" y="545"/>
                  </a:lnTo>
                  <a:lnTo>
                    <a:pt x="2444" y="545"/>
                  </a:lnTo>
                  <a:lnTo>
                    <a:pt x="2444" y="546"/>
                  </a:lnTo>
                  <a:lnTo>
                    <a:pt x="2446" y="545"/>
                  </a:lnTo>
                  <a:lnTo>
                    <a:pt x="2448" y="543"/>
                  </a:lnTo>
                  <a:lnTo>
                    <a:pt x="2449" y="548"/>
                  </a:lnTo>
                  <a:lnTo>
                    <a:pt x="2448" y="550"/>
                  </a:lnTo>
                  <a:lnTo>
                    <a:pt x="2446" y="550"/>
                  </a:lnTo>
                  <a:lnTo>
                    <a:pt x="2449" y="551"/>
                  </a:lnTo>
                  <a:lnTo>
                    <a:pt x="2449" y="555"/>
                  </a:lnTo>
                  <a:lnTo>
                    <a:pt x="2451" y="553"/>
                  </a:lnTo>
                  <a:lnTo>
                    <a:pt x="2449" y="550"/>
                  </a:lnTo>
                  <a:lnTo>
                    <a:pt x="2451" y="550"/>
                  </a:lnTo>
                  <a:lnTo>
                    <a:pt x="2453" y="543"/>
                  </a:lnTo>
                  <a:lnTo>
                    <a:pt x="2456" y="543"/>
                  </a:lnTo>
                  <a:lnTo>
                    <a:pt x="2458" y="545"/>
                  </a:lnTo>
                  <a:lnTo>
                    <a:pt x="2454" y="546"/>
                  </a:lnTo>
                  <a:lnTo>
                    <a:pt x="2456" y="548"/>
                  </a:lnTo>
                  <a:lnTo>
                    <a:pt x="2454" y="550"/>
                  </a:lnTo>
                  <a:lnTo>
                    <a:pt x="2456" y="551"/>
                  </a:lnTo>
                  <a:lnTo>
                    <a:pt x="2456" y="553"/>
                  </a:lnTo>
                  <a:lnTo>
                    <a:pt x="2458" y="553"/>
                  </a:lnTo>
                  <a:lnTo>
                    <a:pt x="2454" y="558"/>
                  </a:lnTo>
                  <a:lnTo>
                    <a:pt x="2456" y="557"/>
                  </a:lnTo>
                  <a:lnTo>
                    <a:pt x="2456" y="558"/>
                  </a:lnTo>
                  <a:lnTo>
                    <a:pt x="2460" y="553"/>
                  </a:lnTo>
                  <a:lnTo>
                    <a:pt x="2460" y="555"/>
                  </a:lnTo>
                  <a:lnTo>
                    <a:pt x="2463" y="555"/>
                  </a:lnTo>
                  <a:lnTo>
                    <a:pt x="2461" y="551"/>
                  </a:lnTo>
                  <a:lnTo>
                    <a:pt x="2463" y="551"/>
                  </a:lnTo>
                  <a:lnTo>
                    <a:pt x="2465" y="546"/>
                  </a:lnTo>
                  <a:lnTo>
                    <a:pt x="2466" y="545"/>
                  </a:lnTo>
                  <a:lnTo>
                    <a:pt x="2468" y="546"/>
                  </a:lnTo>
                  <a:lnTo>
                    <a:pt x="2465" y="553"/>
                  </a:lnTo>
                  <a:lnTo>
                    <a:pt x="2468" y="551"/>
                  </a:lnTo>
                  <a:lnTo>
                    <a:pt x="2468" y="553"/>
                  </a:lnTo>
                  <a:lnTo>
                    <a:pt x="2468" y="555"/>
                  </a:lnTo>
                  <a:lnTo>
                    <a:pt x="2470" y="555"/>
                  </a:lnTo>
                  <a:lnTo>
                    <a:pt x="2470" y="558"/>
                  </a:lnTo>
                  <a:lnTo>
                    <a:pt x="2468" y="560"/>
                  </a:lnTo>
                  <a:lnTo>
                    <a:pt x="2471" y="560"/>
                  </a:lnTo>
                  <a:lnTo>
                    <a:pt x="2471" y="555"/>
                  </a:lnTo>
                  <a:lnTo>
                    <a:pt x="2475" y="555"/>
                  </a:lnTo>
                  <a:lnTo>
                    <a:pt x="2475" y="551"/>
                  </a:lnTo>
                  <a:lnTo>
                    <a:pt x="2477" y="550"/>
                  </a:lnTo>
                  <a:lnTo>
                    <a:pt x="2477" y="548"/>
                  </a:lnTo>
                  <a:lnTo>
                    <a:pt x="2478" y="548"/>
                  </a:lnTo>
                  <a:lnTo>
                    <a:pt x="2480" y="553"/>
                  </a:lnTo>
                  <a:lnTo>
                    <a:pt x="2478" y="553"/>
                  </a:lnTo>
                  <a:lnTo>
                    <a:pt x="2480" y="555"/>
                  </a:lnTo>
                  <a:lnTo>
                    <a:pt x="2478" y="557"/>
                  </a:lnTo>
                  <a:lnTo>
                    <a:pt x="2480" y="557"/>
                  </a:lnTo>
                  <a:lnTo>
                    <a:pt x="2478" y="558"/>
                  </a:lnTo>
                  <a:lnTo>
                    <a:pt x="2482" y="557"/>
                  </a:lnTo>
                  <a:lnTo>
                    <a:pt x="2480" y="563"/>
                  </a:lnTo>
                  <a:lnTo>
                    <a:pt x="2483" y="560"/>
                  </a:lnTo>
                  <a:lnTo>
                    <a:pt x="2485" y="562"/>
                  </a:lnTo>
                  <a:lnTo>
                    <a:pt x="2483" y="558"/>
                  </a:lnTo>
                  <a:lnTo>
                    <a:pt x="2485" y="558"/>
                  </a:lnTo>
                  <a:lnTo>
                    <a:pt x="2485" y="555"/>
                  </a:lnTo>
                  <a:lnTo>
                    <a:pt x="2487" y="555"/>
                  </a:lnTo>
                  <a:lnTo>
                    <a:pt x="2488" y="565"/>
                  </a:lnTo>
                  <a:lnTo>
                    <a:pt x="2490" y="563"/>
                  </a:lnTo>
                  <a:lnTo>
                    <a:pt x="2490" y="558"/>
                  </a:lnTo>
                  <a:lnTo>
                    <a:pt x="2492" y="557"/>
                  </a:lnTo>
                  <a:lnTo>
                    <a:pt x="2494" y="560"/>
                  </a:lnTo>
                  <a:lnTo>
                    <a:pt x="2494" y="555"/>
                  </a:lnTo>
                  <a:lnTo>
                    <a:pt x="2495" y="555"/>
                  </a:lnTo>
                  <a:lnTo>
                    <a:pt x="2494" y="553"/>
                  </a:lnTo>
                  <a:lnTo>
                    <a:pt x="2497" y="553"/>
                  </a:lnTo>
                  <a:lnTo>
                    <a:pt x="2497" y="555"/>
                  </a:lnTo>
                  <a:lnTo>
                    <a:pt x="2499" y="555"/>
                  </a:lnTo>
                  <a:lnTo>
                    <a:pt x="2500" y="558"/>
                  </a:lnTo>
                  <a:lnTo>
                    <a:pt x="2499" y="558"/>
                  </a:lnTo>
                  <a:lnTo>
                    <a:pt x="2499" y="562"/>
                  </a:lnTo>
                  <a:lnTo>
                    <a:pt x="2497" y="563"/>
                  </a:lnTo>
                  <a:lnTo>
                    <a:pt x="2497" y="567"/>
                  </a:lnTo>
                  <a:lnTo>
                    <a:pt x="2495" y="569"/>
                  </a:lnTo>
                  <a:lnTo>
                    <a:pt x="2494" y="567"/>
                  </a:lnTo>
                  <a:lnTo>
                    <a:pt x="2488" y="570"/>
                  </a:lnTo>
                  <a:lnTo>
                    <a:pt x="2492" y="569"/>
                  </a:lnTo>
                  <a:lnTo>
                    <a:pt x="2495" y="570"/>
                  </a:lnTo>
                  <a:lnTo>
                    <a:pt x="2500" y="569"/>
                  </a:lnTo>
                  <a:lnTo>
                    <a:pt x="2502" y="570"/>
                  </a:lnTo>
                  <a:lnTo>
                    <a:pt x="2504" y="567"/>
                  </a:lnTo>
                  <a:lnTo>
                    <a:pt x="2504" y="565"/>
                  </a:lnTo>
                  <a:lnTo>
                    <a:pt x="2505" y="563"/>
                  </a:lnTo>
                  <a:lnTo>
                    <a:pt x="2507" y="570"/>
                  </a:lnTo>
                  <a:lnTo>
                    <a:pt x="2507" y="567"/>
                  </a:lnTo>
                  <a:lnTo>
                    <a:pt x="2509" y="563"/>
                  </a:lnTo>
                  <a:lnTo>
                    <a:pt x="2509" y="562"/>
                  </a:lnTo>
                  <a:lnTo>
                    <a:pt x="2511" y="562"/>
                  </a:lnTo>
                  <a:lnTo>
                    <a:pt x="2512" y="563"/>
                  </a:lnTo>
                  <a:lnTo>
                    <a:pt x="2514" y="562"/>
                  </a:lnTo>
                  <a:lnTo>
                    <a:pt x="2512" y="560"/>
                  </a:lnTo>
                  <a:lnTo>
                    <a:pt x="2516" y="560"/>
                  </a:lnTo>
                  <a:lnTo>
                    <a:pt x="2517" y="562"/>
                  </a:lnTo>
                  <a:lnTo>
                    <a:pt x="2511" y="565"/>
                  </a:lnTo>
                  <a:lnTo>
                    <a:pt x="2512" y="569"/>
                  </a:lnTo>
                  <a:lnTo>
                    <a:pt x="2509" y="570"/>
                  </a:lnTo>
                  <a:lnTo>
                    <a:pt x="2512" y="570"/>
                  </a:lnTo>
                  <a:lnTo>
                    <a:pt x="2512" y="572"/>
                  </a:lnTo>
                  <a:lnTo>
                    <a:pt x="2512" y="574"/>
                  </a:lnTo>
                  <a:lnTo>
                    <a:pt x="2511" y="572"/>
                  </a:lnTo>
                  <a:lnTo>
                    <a:pt x="2512" y="574"/>
                  </a:lnTo>
                  <a:lnTo>
                    <a:pt x="2512" y="575"/>
                  </a:lnTo>
                  <a:lnTo>
                    <a:pt x="2514" y="575"/>
                  </a:lnTo>
                  <a:lnTo>
                    <a:pt x="2517" y="575"/>
                  </a:lnTo>
                  <a:lnTo>
                    <a:pt x="2516" y="574"/>
                  </a:lnTo>
                  <a:lnTo>
                    <a:pt x="2519" y="572"/>
                  </a:lnTo>
                  <a:lnTo>
                    <a:pt x="2521" y="575"/>
                  </a:lnTo>
                  <a:lnTo>
                    <a:pt x="2522" y="574"/>
                  </a:lnTo>
                  <a:lnTo>
                    <a:pt x="2524" y="577"/>
                  </a:lnTo>
                  <a:lnTo>
                    <a:pt x="2522" y="580"/>
                  </a:lnTo>
                  <a:lnTo>
                    <a:pt x="2526" y="579"/>
                  </a:lnTo>
                  <a:lnTo>
                    <a:pt x="2524" y="579"/>
                  </a:lnTo>
                  <a:lnTo>
                    <a:pt x="2526" y="574"/>
                  </a:lnTo>
                  <a:lnTo>
                    <a:pt x="2528" y="577"/>
                  </a:lnTo>
                  <a:lnTo>
                    <a:pt x="2528" y="574"/>
                  </a:lnTo>
                  <a:lnTo>
                    <a:pt x="2528" y="572"/>
                  </a:lnTo>
                  <a:lnTo>
                    <a:pt x="2529" y="574"/>
                  </a:lnTo>
                  <a:lnTo>
                    <a:pt x="2529" y="570"/>
                  </a:lnTo>
                  <a:lnTo>
                    <a:pt x="2531" y="569"/>
                  </a:lnTo>
                  <a:lnTo>
                    <a:pt x="2531" y="567"/>
                  </a:lnTo>
                  <a:lnTo>
                    <a:pt x="2534" y="563"/>
                  </a:lnTo>
                  <a:lnTo>
                    <a:pt x="2533" y="563"/>
                  </a:lnTo>
                  <a:lnTo>
                    <a:pt x="2536" y="562"/>
                  </a:lnTo>
                  <a:lnTo>
                    <a:pt x="2538" y="565"/>
                  </a:lnTo>
                  <a:lnTo>
                    <a:pt x="2534" y="570"/>
                  </a:lnTo>
                  <a:lnTo>
                    <a:pt x="2536" y="579"/>
                  </a:lnTo>
                  <a:lnTo>
                    <a:pt x="2531" y="584"/>
                  </a:lnTo>
                  <a:lnTo>
                    <a:pt x="2529" y="589"/>
                  </a:lnTo>
                  <a:lnTo>
                    <a:pt x="2534" y="582"/>
                  </a:lnTo>
                  <a:lnTo>
                    <a:pt x="2538" y="579"/>
                  </a:lnTo>
                  <a:lnTo>
                    <a:pt x="2539" y="572"/>
                  </a:lnTo>
                  <a:lnTo>
                    <a:pt x="2541" y="574"/>
                  </a:lnTo>
                  <a:lnTo>
                    <a:pt x="2541" y="577"/>
                  </a:lnTo>
                  <a:lnTo>
                    <a:pt x="2538" y="584"/>
                  </a:lnTo>
                  <a:lnTo>
                    <a:pt x="2541" y="580"/>
                  </a:lnTo>
                  <a:lnTo>
                    <a:pt x="2541" y="584"/>
                  </a:lnTo>
                  <a:lnTo>
                    <a:pt x="2543" y="577"/>
                  </a:lnTo>
                  <a:lnTo>
                    <a:pt x="2546" y="577"/>
                  </a:lnTo>
                  <a:lnTo>
                    <a:pt x="2546" y="574"/>
                  </a:lnTo>
                  <a:lnTo>
                    <a:pt x="2548" y="574"/>
                  </a:lnTo>
                  <a:lnTo>
                    <a:pt x="2548" y="575"/>
                  </a:lnTo>
                  <a:lnTo>
                    <a:pt x="2548" y="574"/>
                  </a:lnTo>
                  <a:lnTo>
                    <a:pt x="2546" y="579"/>
                  </a:lnTo>
                  <a:lnTo>
                    <a:pt x="2546" y="580"/>
                  </a:lnTo>
                  <a:lnTo>
                    <a:pt x="2546" y="579"/>
                  </a:lnTo>
                  <a:lnTo>
                    <a:pt x="2548" y="579"/>
                  </a:lnTo>
                  <a:lnTo>
                    <a:pt x="2550" y="582"/>
                  </a:lnTo>
                  <a:lnTo>
                    <a:pt x="2546" y="587"/>
                  </a:lnTo>
                  <a:lnTo>
                    <a:pt x="2546" y="591"/>
                  </a:lnTo>
                  <a:lnTo>
                    <a:pt x="2543" y="591"/>
                  </a:lnTo>
                  <a:lnTo>
                    <a:pt x="2541" y="592"/>
                  </a:lnTo>
                  <a:lnTo>
                    <a:pt x="2541" y="594"/>
                  </a:lnTo>
                  <a:lnTo>
                    <a:pt x="2543" y="592"/>
                  </a:lnTo>
                  <a:lnTo>
                    <a:pt x="2546" y="591"/>
                  </a:lnTo>
                  <a:lnTo>
                    <a:pt x="2548" y="586"/>
                  </a:lnTo>
                  <a:lnTo>
                    <a:pt x="2551" y="589"/>
                  </a:lnTo>
                  <a:lnTo>
                    <a:pt x="2550" y="584"/>
                  </a:lnTo>
                  <a:lnTo>
                    <a:pt x="2553" y="579"/>
                  </a:lnTo>
                  <a:lnTo>
                    <a:pt x="2555" y="580"/>
                  </a:lnTo>
                  <a:lnTo>
                    <a:pt x="2555" y="579"/>
                  </a:lnTo>
                  <a:lnTo>
                    <a:pt x="2556" y="577"/>
                  </a:lnTo>
                  <a:lnTo>
                    <a:pt x="2558" y="577"/>
                  </a:lnTo>
                  <a:lnTo>
                    <a:pt x="2556" y="579"/>
                  </a:lnTo>
                  <a:lnTo>
                    <a:pt x="2558" y="580"/>
                  </a:lnTo>
                  <a:lnTo>
                    <a:pt x="2556" y="580"/>
                  </a:lnTo>
                  <a:lnTo>
                    <a:pt x="2556" y="584"/>
                  </a:lnTo>
                  <a:lnTo>
                    <a:pt x="2558" y="582"/>
                  </a:lnTo>
                  <a:lnTo>
                    <a:pt x="2558" y="584"/>
                  </a:lnTo>
                  <a:lnTo>
                    <a:pt x="2556" y="586"/>
                  </a:lnTo>
                  <a:lnTo>
                    <a:pt x="2553" y="589"/>
                  </a:lnTo>
                  <a:lnTo>
                    <a:pt x="2560" y="591"/>
                  </a:lnTo>
                  <a:lnTo>
                    <a:pt x="2558" y="594"/>
                  </a:lnTo>
                  <a:lnTo>
                    <a:pt x="2565" y="580"/>
                  </a:lnTo>
                  <a:lnTo>
                    <a:pt x="2568" y="577"/>
                  </a:lnTo>
                  <a:lnTo>
                    <a:pt x="2568" y="579"/>
                  </a:lnTo>
                  <a:lnTo>
                    <a:pt x="2568" y="582"/>
                  </a:lnTo>
                  <a:lnTo>
                    <a:pt x="2567" y="582"/>
                  </a:lnTo>
                  <a:lnTo>
                    <a:pt x="2567" y="584"/>
                  </a:lnTo>
                  <a:lnTo>
                    <a:pt x="2565" y="586"/>
                  </a:lnTo>
                  <a:lnTo>
                    <a:pt x="2563" y="587"/>
                  </a:lnTo>
                  <a:lnTo>
                    <a:pt x="2563" y="589"/>
                  </a:lnTo>
                  <a:lnTo>
                    <a:pt x="2567" y="586"/>
                  </a:lnTo>
                  <a:lnTo>
                    <a:pt x="2565" y="589"/>
                  </a:lnTo>
                  <a:lnTo>
                    <a:pt x="2567" y="587"/>
                  </a:lnTo>
                  <a:lnTo>
                    <a:pt x="2567" y="591"/>
                  </a:lnTo>
                  <a:lnTo>
                    <a:pt x="2563" y="594"/>
                  </a:lnTo>
                  <a:lnTo>
                    <a:pt x="2568" y="592"/>
                  </a:lnTo>
                  <a:lnTo>
                    <a:pt x="2567" y="592"/>
                  </a:lnTo>
                  <a:lnTo>
                    <a:pt x="2568" y="592"/>
                  </a:lnTo>
                  <a:lnTo>
                    <a:pt x="2565" y="596"/>
                  </a:lnTo>
                  <a:lnTo>
                    <a:pt x="2565" y="597"/>
                  </a:lnTo>
                  <a:lnTo>
                    <a:pt x="2565" y="599"/>
                  </a:lnTo>
                  <a:lnTo>
                    <a:pt x="2565" y="597"/>
                  </a:lnTo>
                  <a:lnTo>
                    <a:pt x="2565" y="596"/>
                  </a:lnTo>
                  <a:lnTo>
                    <a:pt x="2567" y="596"/>
                  </a:lnTo>
                  <a:lnTo>
                    <a:pt x="2568" y="596"/>
                  </a:lnTo>
                  <a:lnTo>
                    <a:pt x="2572" y="587"/>
                  </a:lnTo>
                  <a:lnTo>
                    <a:pt x="2573" y="587"/>
                  </a:lnTo>
                  <a:lnTo>
                    <a:pt x="2572" y="591"/>
                  </a:lnTo>
                  <a:lnTo>
                    <a:pt x="2573" y="592"/>
                  </a:lnTo>
                  <a:lnTo>
                    <a:pt x="2570" y="597"/>
                  </a:lnTo>
                  <a:lnTo>
                    <a:pt x="2572" y="594"/>
                  </a:lnTo>
                  <a:lnTo>
                    <a:pt x="2573" y="594"/>
                  </a:lnTo>
                  <a:lnTo>
                    <a:pt x="2579" y="586"/>
                  </a:lnTo>
                  <a:lnTo>
                    <a:pt x="2580" y="584"/>
                  </a:lnTo>
                  <a:lnTo>
                    <a:pt x="2584" y="586"/>
                  </a:lnTo>
                  <a:lnTo>
                    <a:pt x="2579" y="592"/>
                  </a:lnTo>
                  <a:lnTo>
                    <a:pt x="2582" y="597"/>
                  </a:lnTo>
                  <a:lnTo>
                    <a:pt x="2582" y="599"/>
                  </a:lnTo>
                  <a:lnTo>
                    <a:pt x="2584" y="604"/>
                  </a:lnTo>
                  <a:lnTo>
                    <a:pt x="2582" y="604"/>
                  </a:lnTo>
                  <a:lnTo>
                    <a:pt x="2582" y="608"/>
                  </a:lnTo>
                  <a:lnTo>
                    <a:pt x="2582" y="609"/>
                  </a:lnTo>
                  <a:lnTo>
                    <a:pt x="2584" y="609"/>
                  </a:lnTo>
                  <a:lnTo>
                    <a:pt x="2582" y="608"/>
                  </a:lnTo>
                  <a:lnTo>
                    <a:pt x="2582" y="606"/>
                  </a:lnTo>
                  <a:lnTo>
                    <a:pt x="2587" y="606"/>
                  </a:lnTo>
                  <a:lnTo>
                    <a:pt x="2589" y="603"/>
                  </a:lnTo>
                  <a:lnTo>
                    <a:pt x="2589" y="597"/>
                  </a:lnTo>
                  <a:lnTo>
                    <a:pt x="2592" y="596"/>
                  </a:lnTo>
                  <a:lnTo>
                    <a:pt x="2592" y="597"/>
                  </a:lnTo>
                  <a:lnTo>
                    <a:pt x="2592" y="601"/>
                  </a:lnTo>
                  <a:lnTo>
                    <a:pt x="2594" y="597"/>
                  </a:lnTo>
                  <a:lnTo>
                    <a:pt x="2596" y="597"/>
                  </a:lnTo>
                  <a:lnTo>
                    <a:pt x="2594" y="599"/>
                  </a:lnTo>
                  <a:lnTo>
                    <a:pt x="2594" y="604"/>
                  </a:lnTo>
                  <a:lnTo>
                    <a:pt x="2597" y="603"/>
                  </a:lnTo>
                  <a:lnTo>
                    <a:pt x="2599" y="599"/>
                  </a:lnTo>
                  <a:lnTo>
                    <a:pt x="2599" y="601"/>
                  </a:lnTo>
                  <a:lnTo>
                    <a:pt x="2597" y="604"/>
                  </a:lnTo>
                  <a:lnTo>
                    <a:pt x="2599" y="606"/>
                  </a:lnTo>
                  <a:lnTo>
                    <a:pt x="2599" y="608"/>
                  </a:lnTo>
                  <a:lnTo>
                    <a:pt x="2594" y="609"/>
                  </a:lnTo>
                  <a:lnTo>
                    <a:pt x="2597" y="609"/>
                  </a:lnTo>
                  <a:lnTo>
                    <a:pt x="2596" y="609"/>
                  </a:lnTo>
                  <a:lnTo>
                    <a:pt x="2596" y="611"/>
                  </a:lnTo>
                  <a:lnTo>
                    <a:pt x="2601" y="608"/>
                  </a:lnTo>
                  <a:lnTo>
                    <a:pt x="2602" y="604"/>
                  </a:lnTo>
                  <a:lnTo>
                    <a:pt x="2602" y="606"/>
                  </a:lnTo>
                  <a:lnTo>
                    <a:pt x="2602" y="604"/>
                  </a:lnTo>
                  <a:lnTo>
                    <a:pt x="2602" y="603"/>
                  </a:lnTo>
                  <a:lnTo>
                    <a:pt x="2606" y="601"/>
                  </a:lnTo>
                  <a:lnTo>
                    <a:pt x="2604" y="599"/>
                  </a:lnTo>
                  <a:lnTo>
                    <a:pt x="2607" y="599"/>
                  </a:lnTo>
                  <a:lnTo>
                    <a:pt x="2609" y="603"/>
                  </a:lnTo>
                  <a:lnTo>
                    <a:pt x="2602" y="606"/>
                  </a:lnTo>
                  <a:lnTo>
                    <a:pt x="2602" y="614"/>
                  </a:lnTo>
                  <a:lnTo>
                    <a:pt x="2601" y="616"/>
                  </a:lnTo>
                  <a:lnTo>
                    <a:pt x="2601" y="614"/>
                  </a:lnTo>
                  <a:lnTo>
                    <a:pt x="2602" y="618"/>
                  </a:lnTo>
                  <a:lnTo>
                    <a:pt x="2602" y="616"/>
                  </a:lnTo>
                  <a:lnTo>
                    <a:pt x="2604" y="618"/>
                  </a:lnTo>
                  <a:lnTo>
                    <a:pt x="2604" y="614"/>
                  </a:lnTo>
                  <a:lnTo>
                    <a:pt x="2607" y="611"/>
                  </a:lnTo>
                  <a:lnTo>
                    <a:pt x="2609" y="611"/>
                  </a:lnTo>
                  <a:lnTo>
                    <a:pt x="2613" y="608"/>
                  </a:lnTo>
                  <a:lnTo>
                    <a:pt x="2613" y="606"/>
                  </a:lnTo>
                  <a:lnTo>
                    <a:pt x="2614" y="604"/>
                  </a:lnTo>
                  <a:lnTo>
                    <a:pt x="2613" y="601"/>
                  </a:lnTo>
                  <a:lnTo>
                    <a:pt x="2616" y="601"/>
                  </a:lnTo>
                  <a:lnTo>
                    <a:pt x="2618" y="603"/>
                  </a:lnTo>
                  <a:lnTo>
                    <a:pt x="2618" y="604"/>
                  </a:lnTo>
                  <a:lnTo>
                    <a:pt x="2619" y="613"/>
                  </a:lnTo>
                  <a:lnTo>
                    <a:pt x="2613" y="614"/>
                  </a:lnTo>
                  <a:lnTo>
                    <a:pt x="2611" y="616"/>
                  </a:lnTo>
                  <a:lnTo>
                    <a:pt x="2614" y="614"/>
                  </a:lnTo>
                  <a:lnTo>
                    <a:pt x="2614" y="618"/>
                  </a:lnTo>
                  <a:lnTo>
                    <a:pt x="2616" y="616"/>
                  </a:lnTo>
                  <a:lnTo>
                    <a:pt x="2618" y="618"/>
                  </a:lnTo>
                  <a:lnTo>
                    <a:pt x="2618" y="623"/>
                  </a:lnTo>
                  <a:lnTo>
                    <a:pt x="2614" y="625"/>
                  </a:lnTo>
                  <a:lnTo>
                    <a:pt x="2613" y="638"/>
                  </a:lnTo>
                  <a:lnTo>
                    <a:pt x="2616" y="640"/>
                  </a:lnTo>
                  <a:lnTo>
                    <a:pt x="2621" y="640"/>
                  </a:lnTo>
                  <a:lnTo>
                    <a:pt x="2624" y="643"/>
                  </a:lnTo>
                  <a:lnTo>
                    <a:pt x="2623" y="648"/>
                  </a:lnTo>
                  <a:lnTo>
                    <a:pt x="2626" y="652"/>
                  </a:lnTo>
                  <a:lnTo>
                    <a:pt x="2630" y="650"/>
                  </a:lnTo>
                  <a:lnTo>
                    <a:pt x="2626" y="650"/>
                  </a:lnTo>
                  <a:lnTo>
                    <a:pt x="2624" y="648"/>
                  </a:lnTo>
                  <a:lnTo>
                    <a:pt x="2624" y="643"/>
                  </a:lnTo>
                  <a:lnTo>
                    <a:pt x="2621" y="637"/>
                  </a:lnTo>
                  <a:lnTo>
                    <a:pt x="2624" y="633"/>
                  </a:lnTo>
                  <a:lnTo>
                    <a:pt x="2623" y="626"/>
                  </a:lnTo>
                  <a:lnTo>
                    <a:pt x="2628" y="620"/>
                  </a:lnTo>
                  <a:lnTo>
                    <a:pt x="2628" y="616"/>
                  </a:lnTo>
                  <a:lnTo>
                    <a:pt x="2630" y="620"/>
                  </a:lnTo>
                  <a:lnTo>
                    <a:pt x="2631" y="614"/>
                  </a:lnTo>
                  <a:lnTo>
                    <a:pt x="2633" y="616"/>
                  </a:lnTo>
                  <a:lnTo>
                    <a:pt x="2633" y="614"/>
                  </a:lnTo>
                  <a:lnTo>
                    <a:pt x="2635" y="618"/>
                  </a:lnTo>
                  <a:lnTo>
                    <a:pt x="2635" y="616"/>
                  </a:lnTo>
                  <a:lnTo>
                    <a:pt x="2636" y="616"/>
                  </a:lnTo>
                  <a:lnTo>
                    <a:pt x="2638" y="614"/>
                  </a:lnTo>
                  <a:lnTo>
                    <a:pt x="2640" y="614"/>
                  </a:lnTo>
                  <a:lnTo>
                    <a:pt x="2638" y="616"/>
                  </a:lnTo>
                  <a:lnTo>
                    <a:pt x="2640" y="614"/>
                  </a:lnTo>
                  <a:lnTo>
                    <a:pt x="2641" y="616"/>
                  </a:lnTo>
                  <a:lnTo>
                    <a:pt x="2645" y="616"/>
                  </a:lnTo>
                  <a:lnTo>
                    <a:pt x="2647" y="620"/>
                  </a:lnTo>
                  <a:lnTo>
                    <a:pt x="2645" y="620"/>
                  </a:lnTo>
                  <a:lnTo>
                    <a:pt x="2645" y="621"/>
                  </a:lnTo>
                  <a:lnTo>
                    <a:pt x="2648" y="620"/>
                  </a:lnTo>
                  <a:lnTo>
                    <a:pt x="2650" y="623"/>
                  </a:lnTo>
                  <a:lnTo>
                    <a:pt x="2645" y="625"/>
                  </a:lnTo>
                  <a:lnTo>
                    <a:pt x="2647" y="625"/>
                  </a:lnTo>
                  <a:lnTo>
                    <a:pt x="2650" y="623"/>
                  </a:lnTo>
                  <a:lnTo>
                    <a:pt x="2652" y="621"/>
                  </a:lnTo>
                  <a:lnTo>
                    <a:pt x="2648" y="618"/>
                  </a:lnTo>
                  <a:lnTo>
                    <a:pt x="2648" y="616"/>
                  </a:lnTo>
                  <a:lnTo>
                    <a:pt x="2652" y="616"/>
                  </a:lnTo>
                  <a:lnTo>
                    <a:pt x="2657" y="613"/>
                  </a:lnTo>
                  <a:lnTo>
                    <a:pt x="2657" y="611"/>
                  </a:lnTo>
                  <a:lnTo>
                    <a:pt x="2660" y="609"/>
                  </a:lnTo>
                  <a:lnTo>
                    <a:pt x="2662" y="611"/>
                  </a:lnTo>
                  <a:lnTo>
                    <a:pt x="2660" y="614"/>
                  </a:lnTo>
                  <a:lnTo>
                    <a:pt x="2660" y="616"/>
                  </a:lnTo>
                  <a:lnTo>
                    <a:pt x="2655" y="616"/>
                  </a:lnTo>
                  <a:lnTo>
                    <a:pt x="2658" y="616"/>
                  </a:lnTo>
                  <a:lnTo>
                    <a:pt x="2655" y="621"/>
                  </a:lnTo>
                  <a:lnTo>
                    <a:pt x="2653" y="621"/>
                  </a:lnTo>
                  <a:lnTo>
                    <a:pt x="2655" y="626"/>
                  </a:lnTo>
                  <a:lnTo>
                    <a:pt x="2652" y="628"/>
                  </a:lnTo>
                  <a:lnTo>
                    <a:pt x="2657" y="626"/>
                  </a:lnTo>
                  <a:lnTo>
                    <a:pt x="2660" y="630"/>
                  </a:lnTo>
                  <a:lnTo>
                    <a:pt x="2660" y="625"/>
                  </a:lnTo>
                  <a:lnTo>
                    <a:pt x="2665" y="626"/>
                  </a:lnTo>
                  <a:lnTo>
                    <a:pt x="2667" y="623"/>
                  </a:lnTo>
                  <a:lnTo>
                    <a:pt x="2667" y="626"/>
                  </a:lnTo>
                  <a:lnTo>
                    <a:pt x="2672" y="623"/>
                  </a:lnTo>
                  <a:lnTo>
                    <a:pt x="2670" y="626"/>
                  </a:lnTo>
                  <a:lnTo>
                    <a:pt x="2675" y="623"/>
                  </a:lnTo>
                  <a:lnTo>
                    <a:pt x="2679" y="628"/>
                  </a:lnTo>
                  <a:lnTo>
                    <a:pt x="2677" y="633"/>
                  </a:lnTo>
                  <a:lnTo>
                    <a:pt x="2674" y="631"/>
                  </a:lnTo>
                  <a:lnTo>
                    <a:pt x="2670" y="631"/>
                  </a:lnTo>
                  <a:lnTo>
                    <a:pt x="2667" y="635"/>
                  </a:lnTo>
                  <a:lnTo>
                    <a:pt x="2665" y="633"/>
                  </a:lnTo>
                  <a:lnTo>
                    <a:pt x="2665" y="635"/>
                  </a:lnTo>
                  <a:lnTo>
                    <a:pt x="2664" y="637"/>
                  </a:lnTo>
                  <a:lnTo>
                    <a:pt x="2665" y="638"/>
                  </a:lnTo>
                  <a:lnTo>
                    <a:pt x="2667" y="638"/>
                  </a:lnTo>
                  <a:lnTo>
                    <a:pt x="2665" y="637"/>
                  </a:lnTo>
                  <a:lnTo>
                    <a:pt x="2667" y="637"/>
                  </a:lnTo>
                  <a:lnTo>
                    <a:pt x="2669" y="638"/>
                  </a:lnTo>
                  <a:lnTo>
                    <a:pt x="2672" y="637"/>
                  </a:lnTo>
                  <a:lnTo>
                    <a:pt x="2674" y="638"/>
                  </a:lnTo>
                  <a:lnTo>
                    <a:pt x="2669" y="643"/>
                  </a:lnTo>
                  <a:lnTo>
                    <a:pt x="2665" y="643"/>
                  </a:lnTo>
                  <a:lnTo>
                    <a:pt x="2672" y="643"/>
                  </a:lnTo>
                  <a:lnTo>
                    <a:pt x="2674" y="642"/>
                  </a:lnTo>
                  <a:lnTo>
                    <a:pt x="2677" y="643"/>
                  </a:lnTo>
                  <a:lnTo>
                    <a:pt x="2677" y="638"/>
                  </a:lnTo>
                  <a:lnTo>
                    <a:pt x="2682" y="640"/>
                  </a:lnTo>
                  <a:lnTo>
                    <a:pt x="2679" y="643"/>
                  </a:lnTo>
                  <a:lnTo>
                    <a:pt x="2681" y="645"/>
                  </a:lnTo>
                  <a:lnTo>
                    <a:pt x="2682" y="642"/>
                  </a:lnTo>
                  <a:lnTo>
                    <a:pt x="2684" y="643"/>
                  </a:lnTo>
                  <a:lnTo>
                    <a:pt x="2682" y="643"/>
                  </a:lnTo>
                  <a:lnTo>
                    <a:pt x="2682" y="647"/>
                  </a:lnTo>
                  <a:lnTo>
                    <a:pt x="2684" y="645"/>
                  </a:lnTo>
                  <a:lnTo>
                    <a:pt x="2686" y="645"/>
                  </a:lnTo>
                  <a:lnTo>
                    <a:pt x="2686" y="648"/>
                  </a:lnTo>
                  <a:lnTo>
                    <a:pt x="2687" y="647"/>
                  </a:lnTo>
                  <a:lnTo>
                    <a:pt x="2687" y="654"/>
                  </a:lnTo>
                  <a:lnTo>
                    <a:pt x="2689" y="652"/>
                  </a:lnTo>
                  <a:lnTo>
                    <a:pt x="2692" y="659"/>
                  </a:lnTo>
                  <a:lnTo>
                    <a:pt x="2692" y="660"/>
                  </a:lnTo>
                  <a:lnTo>
                    <a:pt x="2691" y="660"/>
                  </a:lnTo>
                  <a:lnTo>
                    <a:pt x="2692" y="662"/>
                  </a:lnTo>
                  <a:lnTo>
                    <a:pt x="2691" y="664"/>
                  </a:lnTo>
                  <a:lnTo>
                    <a:pt x="2686" y="665"/>
                  </a:lnTo>
                  <a:lnTo>
                    <a:pt x="2689" y="667"/>
                  </a:lnTo>
                  <a:lnTo>
                    <a:pt x="2691" y="665"/>
                  </a:lnTo>
                  <a:lnTo>
                    <a:pt x="2692" y="667"/>
                  </a:lnTo>
                  <a:lnTo>
                    <a:pt x="2687" y="671"/>
                  </a:lnTo>
                  <a:lnTo>
                    <a:pt x="2686" y="676"/>
                  </a:lnTo>
                  <a:lnTo>
                    <a:pt x="2684" y="676"/>
                  </a:lnTo>
                  <a:lnTo>
                    <a:pt x="2682" y="679"/>
                  </a:lnTo>
                  <a:lnTo>
                    <a:pt x="2679" y="684"/>
                  </a:lnTo>
                  <a:lnTo>
                    <a:pt x="2674" y="688"/>
                  </a:lnTo>
                  <a:lnTo>
                    <a:pt x="2674" y="686"/>
                  </a:lnTo>
                  <a:lnTo>
                    <a:pt x="2674" y="688"/>
                  </a:lnTo>
                  <a:lnTo>
                    <a:pt x="2674" y="689"/>
                  </a:lnTo>
                  <a:lnTo>
                    <a:pt x="2667" y="688"/>
                  </a:lnTo>
                  <a:lnTo>
                    <a:pt x="2672" y="689"/>
                  </a:lnTo>
                  <a:lnTo>
                    <a:pt x="2677" y="689"/>
                  </a:lnTo>
                  <a:lnTo>
                    <a:pt x="2675" y="696"/>
                  </a:lnTo>
                  <a:lnTo>
                    <a:pt x="2672" y="698"/>
                  </a:lnTo>
                  <a:lnTo>
                    <a:pt x="2675" y="696"/>
                  </a:lnTo>
                  <a:lnTo>
                    <a:pt x="2677" y="698"/>
                  </a:lnTo>
                  <a:lnTo>
                    <a:pt x="2677" y="694"/>
                  </a:lnTo>
                  <a:lnTo>
                    <a:pt x="2681" y="688"/>
                  </a:lnTo>
                  <a:lnTo>
                    <a:pt x="2684" y="684"/>
                  </a:lnTo>
                  <a:lnTo>
                    <a:pt x="2687" y="682"/>
                  </a:lnTo>
                  <a:lnTo>
                    <a:pt x="2686" y="682"/>
                  </a:lnTo>
                  <a:lnTo>
                    <a:pt x="2689" y="677"/>
                  </a:lnTo>
                  <a:lnTo>
                    <a:pt x="2694" y="677"/>
                  </a:lnTo>
                  <a:lnTo>
                    <a:pt x="2701" y="682"/>
                  </a:lnTo>
                  <a:lnTo>
                    <a:pt x="2699" y="684"/>
                  </a:lnTo>
                  <a:lnTo>
                    <a:pt x="2701" y="684"/>
                  </a:lnTo>
                  <a:lnTo>
                    <a:pt x="2704" y="694"/>
                  </a:lnTo>
                  <a:lnTo>
                    <a:pt x="2703" y="696"/>
                  </a:lnTo>
                  <a:lnTo>
                    <a:pt x="2703" y="698"/>
                  </a:lnTo>
                  <a:lnTo>
                    <a:pt x="2701" y="701"/>
                  </a:lnTo>
                  <a:lnTo>
                    <a:pt x="2694" y="701"/>
                  </a:lnTo>
                  <a:lnTo>
                    <a:pt x="2691" y="698"/>
                  </a:lnTo>
                  <a:lnTo>
                    <a:pt x="2692" y="701"/>
                  </a:lnTo>
                  <a:lnTo>
                    <a:pt x="2691" y="703"/>
                  </a:lnTo>
                  <a:lnTo>
                    <a:pt x="2691" y="706"/>
                  </a:lnTo>
                  <a:lnTo>
                    <a:pt x="2689" y="708"/>
                  </a:lnTo>
                  <a:lnTo>
                    <a:pt x="2689" y="711"/>
                  </a:lnTo>
                  <a:lnTo>
                    <a:pt x="2684" y="713"/>
                  </a:lnTo>
                  <a:lnTo>
                    <a:pt x="2684" y="715"/>
                  </a:lnTo>
                  <a:lnTo>
                    <a:pt x="2686" y="713"/>
                  </a:lnTo>
                  <a:lnTo>
                    <a:pt x="2687" y="713"/>
                  </a:lnTo>
                  <a:lnTo>
                    <a:pt x="2682" y="723"/>
                  </a:lnTo>
                  <a:lnTo>
                    <a:pt x="2679" y="727"/>
                  </a:lnTo>
                  <a:lnTo>
                    <a:pt x="2681" y="730"/>
                  </a:lnTo>
                  <a:lnTo>
                    <a:pt x="2677" y="737"/>
                  </a:lnTo>
                  <a:lnTo>
                    <a:pt x="2679" y="742"/>
                  </a:lnTo>
                  <a:lnTo>
                    <a:pt x="2674" y="747"/>
                  </a:lnTo>
                  <a:lnTo>
                    <a:pt x="2675" y="756"/>
                  </a:lnTo>
                  <a:lnTo>
                    <a:pt x="2681" y="759"/>
                  </a:lnTo>
                  <a:lnTo>
                    <a:pt x="2670" y="771"/>
                  </a:lnTo>
                  <a:lnTo>
                    <a:pt x="2665" y="771"/>
                  </a:lnTo>
                  <a:lnTo>
                    <a:pt x="2664" y="773"/>
                  </a:lnTo>
                  <a:lnTo>
                    <a:pt x="2664" y="778"/>
                  </a:lnTo>
                  <a:lnTo>
                    <a:pt x="2667" y="781"/>
                  </a:lnTo>
                  <a:lnTo>
                    <a:pt x="2664" y="781"/>
                  </a:lnTo>
                  <a:lnTo>
                    <a:pt x="2665" y="785"/>
                  </a:lnTo>
                  <a:lnTo>
                    <a:pt x="2669" y="785"/>
                  </a:lnTo>
                  <a:lnTo>
                    <a:pt x="2669" y="783"/>
                  </a:lnTo>
                  <a:lnTo>
                    <a:pt x="2667" y="778"/>
                  </a:lnTo>
                  <a:lnTo>
                    <a:pt x="2667" y="776"/>
                  </a:lnTo>
                  <a:lnTo>
                    <a:pt x="2672" y="773"/>
                  </a:lnTo>
                  <a:lnTo>
                    <a:pt x="2677" y="773"/>
                  </a:lnTo>
                  <a:lnTo>
                    <a:pt x="2681" y="766"/>
                  </a:lnTo>
                  <a:lnTo>
                    <a:pt x="2692" y="756"/>
                  </a:lnTo>
                  <a:lnTo>
                    <a:pt x="2698" y="749"/>
                  </a:lnTo>
                  <a:lnTo>
                    <a:pt x="2699" y="744"/>
                  </a:lnTo>
                  <a:lnTo>
                    <a:pt x="2699" y="737"/>
                  </a:lnTo>
                  <a:lnTo>
                    <a:pt x="2701" y="732"/>
                  </a:lnTo>
                  <a:lnTo>
                    <a:pt x="2703" y="725"/>
                  </a:lnTo>
                  <a:lnTo>
                    <a:pt x="2703" y="722"/>
                  </a:lnTo>
                  <a:lnTo>
                    <a:pt x="2704" y="722"/>
                  </a:lnTo>
                  <a:lnTo>
                    <a:pt x="2704" y="717"/>
                  </a:lnTo>
                  <a:lnTo>
                    <a:pt x="2703" y="715"/>
                  </a:lnTo>
                  <a:lnTo>
                    <a:pt x="2704" y="713"/>
                  </a:lnTo>
                  <a:lnTo>
                    <a:pt x="2704" y="711"/>
                  </a:lnTo>
                  <a:lnTo>
                    <a:pt x="2708" y="711"/>
                  </a:lnTo>
                  <a:lnTo>
                    <a:pt x="2708" y="713"/>
                  </a:lnTo>
                  <a:lnTo>
                    <a:pt x="2711" y="715"/>
                  </a:lnTo>
                  <a:lnTo>
                    <a:pt x="2709" y="717"/>
                  </a:lnTo>
                  <a:lnTo>
                    <a:pt x="2711" y="715"/>
                  </a:lnTo>
                  <a:lnTo>
                    <a:pt x="2711" y="713"/>
                  </a:lnTo>
                  <a:lnTo>
                    <a:pt x="2709" y="713"/>
                  </a:lnTo>
                  <a:lnTo>
                    <a:pt x="2708" y="711"/>
                  </a:lnTo>
                  <a:lnTo>
                    <a:pt x="2709" y="711"/>
                  </a:lnTo>
                  <a:lnTo>
                    <a:pt x="2708" y="710"/>
                  </a:lnTo>
                  <a:lnTo>
                    <a:pt x="2709" y="708"/>
                  </a:lnTo>
                  <a:lnTo>
                    <a:pt x="2721" y="705"/>
                  </a:lnTo>
                  <a:lnTo>
                    <a:pt x="2726" y="701"/>
                  </a:lnTo>
                  <a:lnTo>
                    <a:pt x="2735" y="701"/>
                  </a:lnTo>
                  <a:lnTo>
                    <a:pt x="2735" y="705"/>
                  </a:lnTo>
                  <a:lnTo>
                    <a:pt x="2732" y="705"/>
                  </a:lnTo>
                  <a:lnTo>
                    <a:pt x="2728" y="705"/>
                  </a:lnTo>
                  <a:lnTo>
                    <a:pt x="2732" y="706"/>
                  </a:lnTo>
                  <a:lnTo>
                    <a:pt x="2732" y="710"/>
                  </a:lnTo>
                  <a:lnTo>
                    <a:pt x="2732" y="706"/>
                  </a:lnTo>
                  <a:lnTo>
                    <a:pt x="2735" y="710"/>
                  </a:lnTo>
                  <a:lnTo>
                    <a:pt x="2733" y="715"/>
                  </a:lnTo>
                  <a:lnTo>
                    <a:pt x="2730" y="715"/>
                  </a:lnTo>
                  <a:lnTo>
                    <a:pt x="2728" y="718"/>
                  </a:lnTo>
                  <a:lnTo>
                    <a:pt x="2725" y="718"/>
                  </a:lnTo>
                  <a:lnTo>
                    <a:pt x="2726" y="718"/>
                  </a:lnTo>
                  <a:lnTo>
                    <a:pt x="2726" y="722"/>
                  </a:lnTo>
                  <a:lnTo>
                    <a:pt x="2725" y="725"/>
                  </a:lnTo>
                  <a:lnTo>
                    <a:pt x="2720" y="728"/>
                  </a:lnTo>
                  <a:lnTo>
                    <a:pt x="2716" y="725"/>
                  </a:lnTo>
                  <a:lnTo>
                    <a:pt x="2718" y="728"/>
                  </a:lnTo>
                  <a:lnTo>
                    <a:pt x="2713" y="730"/>
                  </a:lnTo>
                  <a:lnTo>
                    <a:pt x="2706" y="735"/>
                  </a:lnTo>
                  <a:lnTo>
                    <a:pt x="2709" y="735"/>
                  </a:lnTo>
                  <a:lnTo>
                    <a:pt x="2711" y="735"/>
                  </a:lnTo>
                  <a:lnTo>
                    <a:pt x="2711" y="737"/>
                  </a:lnTo>
                  <a:lnTo>
                    <a:pt x="2713" y="734"/>
                  </a:lnTo>
                  <a:lnTo>
                    <a:pt x="2715" y="735"/>
                  </a:lnTo>
                  <a:lnTo>
                    <a:pt x="2715" y="734"/>
                  </a:lnTo>
                  <a:lnTo>
                    <a:pt x="2720" y="734"/>
                  </a:lnTo>
                  <a:lnTo>
                    <a:pt x="2720" y="739"/>
                  </a:lnTo>
                  <a:lnTo>
                    <a:pt x="2721" y="739"/>
                  </a:lnTo>
                  <a:lnTo>
                    <a:pt x="2721" y="735"/>
                  </a:lnTo>
                  <a:lnTo>
                    <a:pt x="2725" y="735"/>
                  </a:lnTo>
                  <a:lnTo>
                    <a:pt x="2726" y="732"/>
                  </a:lnTo>
                  <a:lnTo>
                    <a:pt x="2728" y="734"/>
                  </a:lnTo>
                  <a:lnTo>
                    <a:pt x="2728" y="732"/>
                  </a:lnTo>
                  <a:lnTo>
                    <a:pt x="2728" y="734"/>
                  </a:lnTo>
                  <a:lnTo>
                    <a:pt x="2730" y="734"/>
                  </a:lnTo>
                  <a:lnTo>
                    <a:pt x="2730" y="730"/>
                  </a:lnTo>
                  <a:lnTo>
                    <a:pt x="2735" y="723"/>
                  </a:lnTo>
                  <a:lnTo>
                    <a:pt x="2738" y="720"/>
                  </a:lnTo>
                  <a:lnTo>
                    <a:pt x="2740" y="722"/>
                  </a:lnTo>
                  <a:lnTo>
                    <a:pt x="2743" y="715"/>
                  </a:lnTo>
                  <a:lnTo>
                    <a:pt x="2745" y="713"/>
                  </a:lnTo>
                  <a:lnTo>
                    <a:pt x="2747" y="717"/>
                  </a:lnTo>
                  <a:lnTo>
                    <a:pt x="2747" y="711"/>
                  </a:lnTo>
                  <a:lnTo>
                    <a:pt x="2749" y="713"/>
                  </a:lnTo>
                  <a:lnTo>
                    <a:pt x="2749" y="710"/>
                  </a:lnTo>
                  <a:lnTo>
                    <a:pt x="2750" y="713"/>
                  </a:lnTo>
                  <a:lnTo>
                    <a:pt x="2752" y="701"/>
                  </a:lnTo>
                  <a:lnTo>
                    <a:pt x="2755" y="699"/>
                  </a:lnTo>
                  <a:lnTo>
                    <a:pt x="2752" y="706"/>
                  </a:lnTo>
                  <a:lnTo>
                    <a:pt x="2752" y="710"/>
                  </a:lnTo>
                  <a:lnTo>
                    <a:pt x="2754" y="708"/>
                  </a:lnTo>
                  <a:lnTo>
                    <a:pt x="2755" y="703"/>
                  </a:lnTo>
                  <a:lnTo>
                    <a:pt x="2762" y="698"/>
                  </a:lnTo>
                  <a:lnTo>
                    <a:pt x="2762" y="696"/>
                  </a:lnTo>
                  <a:lnTo>
                    <a:pt x="2760" y="696"/>
                  </a:lnTo>
                  <a:lnTo>
                    <a:pt x="2762" y="689"/>
                  </a:lnTo>
                  <a:lnTo>
                    <a:pt x="2771" y="686"/>
                  </a:lnTo>
                  <a:lnTo>
                    <a:pt x="2772" y="686"/>
                  </a:lnTo>
                  <a:lnTo>
                    <a:pt x="2772" y="688"/>
                  </a:lnTo>
                  <a:lnTo>
                    <a:pt x="2769" y="689"/>
                  </a:lnTo>
                  <a:lnTo>
                    <a:pt x="2766" y="693"/>
                  </a:lnTo>
                  <a:lnTo>
                    <a:pt x="2766" y="694"/>
                  </a:lnTo>
                  <a:lnTo>
                    <a:pt x="2767" y="693"/>
                  </a:lnTo>
                  <a:lnTo>
                    <a:pt x="2771" y="691"/>
                  </a:lnTo>
                  <a:lnTo>
                    <a:pt x="2769" y="699"/>
                  </a:lnTo>
                  <a:lnTo>
                    <a:pt x="2766" y="699"/>
                  </a:lnTo>
                  <a:lnTo>
                    <a:pt x="2764" y="703"/>
                  </a:lnTo>
                  <a:lnTo>
                    <a:pt x="2760" y="701"/>
                  </a:lnTo>
                  <a:lnTo>
                    <a:pt x="2759" y="706"/>
                  </a:lnTo>
                  <a:lnTo>
                    <a:pt x="2757" y="706"/>
                  </a:lnTo>
                  <a:lnTo>
                    <a:pt x="2759" y="708"/>
                  </a:lnTo>
                  <a:lnTo>
                    <a:pt x="2757" y="711"/>
                  </a:lnTo>
                  <a:lnTo>
                    <a:pt x="2762" y="706"/>
                  </a:lnTo>
                  <a:lnTo>
                    <a:pt x="2764" y="708"/>
                  </a:lnTo>
                  <a:lnTo>
                    <a:pt x="2764" y="710"/>
                  </a:lnTo>
                  <a:lnTo>
                    <a:pt x="2766" y="711"/>
                  </a:lnTo>
                  <a:lnTo>
                    <a:pt x="2769" y="708"/>
                  </a:lnTo>
                  <a:lnTo>
                    <a:pt x="2772" y="710"/>
                  </a:lnTo>
                  <a:lnTo>
                    <a:pt x="2774" y="705"/>
                  </a:lnTo>
                  <a:lnTo>
                    <a:pt x="2776" y="706"/>
                  </a:lnTo>
                  <a:lnTo>
                    <a:pt x="2774" y="710"/>
                  </a:lnTo>
                  <a:lnTo>
                    <a:pt x="2776" y="710"/>
                  </a:lnTo>
                  <a:lnTo>
                    <a:pt x="2777" y="706"/>
                  </a:lnTo>
                  <a:lnTo>
                    <a:pt x="2777" y="705"/>
                  </a:lnTo>
                  <a:lnTo>
                    <a:pt x="2781" y="701"/>
                  </a:lnTo>
                  <a:lnTo>
                    <a:pt x="2781" y="703"/>
                  </a:lnTo>
                  <a:lnTo>
                    <a:pt x="2781" y="706"/>
                  </a:lnTo>
                  <a:lnTo>
                    <a:pt x="2786" y="710"/>
                  </a:lnTo>
                  <a:lnTo>
                    <a:pt x="2788" y="713"/>
                  </a:lnTo>
                  <a:lnTo>
                    <a:pt x="2788" y="705"/>
                  </a:lnTo>
                  <a:lnTo>
                    <a:pt x="2786" y="701"/>
                  </a:lnTo>
                  <a:lnTo>
                    <a:pt x="2789" y="703"/>
                  </a:lnTo>
                  <a:lnTo>
                    <a:pt x="2793" y="703"/>
                  </a:lnTo>
                  <a:lnTo>
                    <a:pt x="2789" y="703"/>
                  </a:lnTo>
                  <a:lnTo>
                    <a:pt x="2784" y="698"/>
                  </a:lnTo>
                  <a:lnTo>
                    <a:pt x="2789" y="694"/>
                  </a:lnTo>
                  <a:lnTo>
                    <a:pt x="2798" y="694"/>
                  </a:lnTo>
                  <a:lnTo>
                    <a:pt x="2811" y="698"/>
                  </a:lnTo>
                  <a:lnTo>
                    <a:pt x="2815" y="701"/>
                  </a:lnTo>
                  <a:lnTo>
                    <a:pt x="2818" y="701"/>
                  </a:lnTo>
                  <a:lnTo>
                    <a:pt x="2835" y="708"/>
                  </a:lnTo>
                  <a:lnTo>
                    <a:pt x="2847" y="715"/>
                  </a:lnTo>
                  <a:lnTo>
                    <a:pt x="2851" y="715"/>
                  </a:lnTo>
                  <a:lnTo>
                    <a:pt x="2854" y="717"/>
                  </a:lnTo>
                  <a:lnTo>
                    <a:pt x="2856" y="717"/>
                  </a:lnTo>
                  <a:lnTo>
                    <a:pt x="2866" y="725"/>
                  </a:lnTo>
                  <a:lnTo>
                    <a:pt x="2873" y="725"/>
                  </a:lnTo>
                  <a:lnTo>
                    <a:pt x="2874" y="728"/>
                  </a:lnTo>
                  <a:lnTo>
                    <a:pt x="2885" y="728"/>
                  </a:lnTo>
                  <a:lnTo>
                    <a:pt x="2888" y="732"/>
                  </a:lnTo>
                  <a:lnTo>
                    <a:pt x="2895" y="732"/>
                  </a:lnTo>
                  <a:lnTo>
                    <a:pt x="2896" y="734"/>
                  </a:lnTo>
                  <a:lnTo>
                    <a:pt x="2896" y="737"/>
                  </a:lnTo>
                  <a:lnTo>
                    <a:pt x="2898" y="737"/>
                  </a:lnTo>
                  <a:lnTo>
                    <a:pt x="2896" y="740"/>
                  </a:lnTo>
                  <a:lnTo>
                    <a:pt x="2898" y="737"/>
                  </a:lnTo>
                  <a:lnTo>
                    <a:pt x="2902" y="739"/>
                  </a:lnTo>
                  <a:lnTo>
                    <a:pt x="2907" y="737"/>
                  </a:lnTo>
                  <a:lnTo>
                    <a:pt x="2902" y="735"/>
                  </a:lnTo>
                  <a:lnTo>
                    <a:pt x="2900" y="734"/>
                  </a:lnTo>
                  <a:lnTo>
                    <a:pt x="2903" y="735"/>
                  </a:lnTo>
                  <a:lnTo>
                    <a:pt x="2905" y="732"/>
                  </a:lnTo>
                  <a:lnTo>
                    <a:pt x="2910" y="734"/>
                  </a:lnTo>
                  <a:lnTo>
                    <a:pt x="2912" y="735"/>
                  </a:lnTo>
                  <a:lnTo>
                    <a:pt x="2908" y="735"/>
                  </a:lnTo>
                  <a:lnTo>
                    <a:pt x="2910" y="737"/>
                  </a:lnTo>
                  <a:lnTo>
                    <a:pt x="2912" y="737"/>
                  </a:lnTo>
                  <a:lnTo>
                    <a:pt x="2912" y="735"/>
                  </a:lnTo>
                  <a:lnTo>
                    <a:pt x="2915" y="735"/>
                  </a:lnTo>
                  <a:lnTo>
                    <a:pt x="2917" y="734"/>
                  </a:lnTo>
                  <a:lnTo>
                    <a:pt x="2919" y="735"/>
                  </a:lnTo>
                  <a:lnTo>
                    <a:pt x="2917" y="728"/>
                  </a:lnTo>
                  <a:lnTo>
                    <a:pt x="2937" y="730"/>
                  </a:lnTo>
                  <a:lnTo>
                    <a:pt x="2936" y="732"/>
                  </a:lnTo>
                  <a:lnTo>
                    <a:pt x="2934" y="734"/>
                  </a:lnTo>
                  <a:lnTo>
                    <a:pt x="2939" y="732"/>
                  </a:lnTo>
                  <a:lnTo>
                    <a:pt x="2942" y="737"/>
                  </a:lnTo>
                  <a:lnTo>
                    <a:pt x="2944" y="737"/>
                  </a:lnTo>
                  <a:lnTo>
                    <a:pt x="2956" y="745"/>
                  </a:lnTo>
                  <a:lnTo>
                    <a:pt x="2959" y="745"/>
                  </a:lnTo>
                  <a:lnTo>
                    <a:pt x="2963" y="747"/>
                  </a:lnTo>
                  <a:lnTo>
                    <a:pt x="2966" y="745"/>
                  </a:lnTo>
                  <a:lnTo>
                    <a:pt x="2970" y="747"/>
                  </a:lnTo>
                  <a:lnTo>
                    <a:pt x="2975" y="745"/>
                  </a:lnTo>
                  <a:lnTo>
                    <a:pt x="2980" y="749"/>
                  </a:lnTo>
                  <a:lnTo>
                    <a:pt x="2981" y="747"/>
                  </a:lnTo>
                  <a:lnTo>
                    <a:pt x="2987" y="744"/>
                  </a:lnTo>
                  <a:lnTo>
                    <a:pt x="3000" y="745"/>
                  </a:lnTo>
                  <a:lnTo>
                    <a:pt x="3009" y="745"/>
                  </a:lnTo>
                  <a:lnTo>
                    <a:pt x="3019" y="742"/>
                  </a:lnTo>
                  <a:lnTo>
                    <a:pt x="3022" y="742"/>
                  </a:lnTo>
                  <a:lnTo>
                    <a:pt x="3024" y="744"/>
                  </a:lnTo>
                  <a:lnTo>
                    <a:pt x="3031" y="742"/>
                  </a:lnTo>
                  <a:lnTo>
                    <a:pt x="3046" y="740"/>
                  </a:lnTo>
                  <a:lnTo>
                    <a:pt x="3053" y="739"/>
                  </a:lnTo>
                  <a:lnTo>
                    <a:pt x="3055" y="735"/>
                  </a:lnTo>
                  <a:lnTo>
                    <a:pt x="3056" y="735"/>
                  </a:lnTo>
                  <a:lnTo>
                    <a:pt x="3065" y="737"/>
                  </a:lnTo>
                  <a:lnTo>
                    <a:pt x="3083" y="737"/>
                  </a:lnTo>
                  <a:lnTo>
                    <a:pt x="3089" y="740"/>
                  </a:lnTo>
                  <a:lnTo>
                    <a:pt x="3090" y="739"/>
                  </a:lnTo>
                  <a:lnTo>
                    <a:pt x="3094" y="740"/>
                  </a:lnTo>
                  <a:lnTo>
                    <a:pt x="3100" y="740"/>
                  </a:lnTo>
                  <a:lnTo>
                    <a:pt x="3111" y="745"/>
                  </a:lnTo>
                  <a:lnTo>
                    <a:pt x="3109" y="744"/>
                  </a:lnTo>
                  <a:lnTo>
                    <a:pt x="3111" y="744"/>
                  </a:lnTo>
                  <a:lnTo>
                    <a:pt x="3126" y="754"/>
                  </a:lnTo>
                  <a:lnTo>
                    <a:pt x="3129" y="754"/>
                  </a:lnTo>
                  <a:lnTo>
                    <a:pt x="3133" y="757"/>
                  </a:lnTo>
                  <a:lnTo>
                    <a:pt x="3136" y="757"/>
                  </a:lnTo>
                  <a:lnTo>
                    <a:pt x="3138" y="761"/>
                  </a:lnTo>
                  <a:lnTo>
                    <a:pt x="3143" y="762"/>
                  </a:lnTo>
                  <a:lnTo>
                    <a:pt x="3150" y="768"/>
                  </a:lnTo>
                  <a:lnTo>
                    <a:pt x="3157" y="771"/>
                  </a:lnTo>
                  <a:lnTo>
                    <a:pt x="3160" y="771"/>
                  </a:lnTo>
                  <a:lnTo>
                    <a:pt x="3163" y="774"/>
                  </a:lnTo>
                  <a:lnTo>
                    <a:pt x="3168" y="774"/>
                  </a:lnTo>
                  <a:lnTo>
                    <a:pt x="3177" y="785"/>
                  </a:lnTo>
                  <a:lnTo>
                    <a:pt x="3182" y="786"/>
                  </a:lnTo>
                  <a:lnTo>
                    <a:pt x="3185" y="791"/>
                  </a:lnTo>
                  <a:lnTo>
                    <a:pt x="3187" y="793"/>
                  </a:lnTo>
                  <a:lnTo>
                    <a:pt x="3194" y="791"/>
                  </a:lnTo>
                  <a:lnTo>
                    <a:pt x="3197" y="796"/>
                  </a:lnTo>
                  <a:lnTo>
                    <a:pt x="3199" y="800"/>
                  </a:lnTo>
                  <a:lnTo>
                    <a:pt x="3206" y="803"/>
                  </a:lnTo>
                  <a:lnTo>
                    <a:pt x="3209" y="805"/>
                  </a:lnTo>
                  <a:lnTo>
                    <a:pt x="3211" y="803"/>
                  </a:lnTo>
                  <a:lnTo>
                    <a:pt x="3209" y="805"/>
                  </a:lnTo>
                  <a:lnTo>
                    <a:pt x="3213" y="810"/>
                  </a:lnTo>
                  <a:lnTo>
                    <a:pt x="3223" y="817"/>
                  </a:lnTo>
                  <a:lnTo>
                    <a:pt x="3238" y="820"/>
                  </a:lnTo>
                  <a:lnTo>
                    <a:pt x="3240" y="820"/>
                  </a:lnTo>
                  <a:lnTo>
                    <a:pt x="3238" y="819"/>
                  </a:lnTo>
                  <a:lnTo>
                    <a:pt x="3242" y="819"/>
                  </a:lnTo>
                  <a:lnTo>
                    <a:pt x="3243" y="825"/>
                  </a:lnTo>
                  <a:lnTo>
                    <a:pt x="3250" y="836"/>
                  </a:lnTo>
                  <a:lnTo>
                    <a:pt x="3255" y="841"/>
                  </a:lnTo>
                  <a:lnTo>
                    <a:pt x="3257" y="841"/>
                  </a:lnTo>
                  <a:lnTo>
                    <a:pt x="3265" y="849"/>
                  </a:lnTo>
                  <a:lnTo>
                    <a:pt x="3270" y="859"/>
                  </a:lnTo>
                  <a:lnTo>
                    <a:pt x="3279" y="866"/>
                  </a:lnTo>
                  <a:lnTo>
                    <a:pt x="3284" y="870"/>
                  </a:lnTo>
                  <a:lnTo>
                    <a:pt x="3294" y="880"/>
                  </a:lnTo>
                  <a:lnTo>
                    <a:pt x="3299" y="882"/>
                  </a:lnTo>
                  <a:lnTo>
                    <a:pt x="3303" y="883"/>
                  </a:lnTo>
                  <a:lnTo>
                    <a:pt x="3308" y="892"/>
                  </a:lnTo>
                  <a:lnTo>
                    <a:pt x="3318" y="904"/>
                  </a:lnTo>
                  <a:lnTo>
                    <a:pt x="3323" y="905"/>
                  </a:lnTo>
                  <a:lnTo>
                    <a:pt x="3328" y="904"/>
                  </a:lnTo>
                  <a:lnTo>
                    <a:pt x="3330" y="905"/>
                  </a:lnTo>
                  <a:lnTo>
                    <a:pt x="3344" y="910"/>
                  </a:lnTo>
                  <a:lnTo>
                    <a:pt x="3347" y="914"/>
                  </a:lnTo>
                  <a:lnTo>
                    <a:pt x="3349" y="922"/>
                  </a:lnTo>
                  <a:lnTo>
                    <a:pt x="3354" y="927"/>
                  </a:lnTo>
                  <a:lnTo>
                    <a:pt x="3359" y="933"/>
                  </a:lnTo>
                  <a:lnTo>
                    <a:pt x="3362" y="931"/>
                  </a:lnTo>
                  <a:lnTo>
                    <a:pt x="3369" y="933"/>
                  </a:lnTo>
                  <a:lnTo>
                    <a:pt x="3376" y="929"/>
                  </a:lnTo>
                  <a:lnTo>
                    <a:pt x="3379" y="933"/>
                  </a:lnTo>
                  <a:lnTo>
                    <a:pt x="3384" y="934"/>
                  </a:lnTo>
                  <a:lnTo>
                    <a:pt x="3389" y="941"/>
                  </a:lnTo>
                  <a:lnTo>
                    <a:pt x="3401" y="946"/>
                  </a:lnTo>
                  <a:lnTo>
                    <a:pt x="3401" y="944"/>
                  </a:lnTo>
                  <a:lnTo>
                    <a:pt x="3408" y="946"/>
                  </a:lnTo>
                  <a:lnTo>
                    <a:pt x="3410" y="946"/>
                  </a:lnTo>
                  <a:lnTo>
                    <a:pt x="3408" y="944"/>
                  </a:lnTo>
                  <a:lnTo>
                    <a:pt x="3415" y="944"/>
                  </a:lnTo>
                  <a:lnTo>
                    <a:pt x="3422" y="943"/>
                  </a:lnTo>
                  <a:lnTo>
                    <a:pt x="3429" y="946"/>
                  </a:lnTo>
                  <a:lnTo>
                    <a:pt x="3432" y="944"/>
                  </a:lnTo>
                  <a:lnTo>
                    <a:pt x="3435" y="948"/>
                  </a:lnTo>
                  <a:lnTo>
                    <a:pt x="3437" y="946"/>
                  </a:lnTo>
                  <a:lnTo>
                    <a:pt x="3437" y="944"/>
                  </a:lnTo>
                  <a:lnTo>
                    <a:pt x="3451" y="946"/>
                  </a:lnTo>
                  <a:lnTo>
                    <a:pt x="3459" y="943"/>
                  </a:lnTo>
                  <a:lnTo>
                    <a:pt x="3466" y="941"/>
                  </a:lnTo>
                  <a:lnTo>
                    <a:pt x="3483" y="944"/>
                  </a:lnTo>
                  <a:lnTo>
                    <a:pt x="3496" y="948"/>
                  </a:lnTo>
                  <a:lnTo>
                    <a:pt x="3498" y="948"/>
                  </a:lnTo>
                  <a:lnTo>
                    <a:pt x="3510" y="951"/>
                  </a:lnTo>
                  <a:lnTo>
                    <a:pt x="3519" y="960"/>
                  </a:lnTo>
                  <a:lnTo>
                    <a:pt x="3522" y="970"/>
                  </a:lnTo>
                  <a:lnTo>
                    <a:pt x="3525" y="972"/>
                  </a:lnTo>
                  <a:lnTo>
                    <a:pt x="3527" y="978"/>
                  </a:lnTo>
                  <a:lnTo>
                    <a:pt x="3530" y="982"/>
                  </a:lnTo>
                  <a:lnTo>
                    <a:pt x="3530" y="987"/>
                  </a:lnTo>
                  <a:lnTo>
                    <a:pt x="3532" y="990"/>
                  </a:lnTo>
                  <a:lnTo>
                    <a:pt x="3534" y="999"/>
                  </a:lnTo>
                  <a:lnTo>
                    <a:pt x="3536" y="1001"/>
                  </a:lnTo>
                  <a:lnTo>
                    <a:pt x="3534" y="1006"/>
                  </a:lnTo>
                  <a:lnTo>
                    <a:pt x="3537" y="1011"/>
                  </a:lnTo>
                  <a:lnTo>
                    <a:pt x="3537" y="1016"/>
                  </a:lnTo>
                  <a:lnTo>
                    <a:pt x="3539" y="1018"/>
                  </a:lnTo>
                  <a:lnTo>
                    <a:pt x="3539" y="1024"/>
                  </a:lnTo>
                  <a:lnTo>
                    <a:pt x="3541" y="1026"/>
                  </a:lnTo>
                  <a:lnTo>
                    <a:pt x="3542" y="1029"/>
                  </a:lnTo>
                  <a:lnTo>
                    <a:pt x="3544" y="1045"/>
                  </a:lnTo>
                  <a:lnTo>
                    <a:pt x="3546" y="1048"/>
                  </a:lnTo>
                  <a:lnTo>
                    <a:pt x="3549" y="1050"/>
                  </a:lnTo>
                  <a:lnTo>
                    <a:pt x="3549" y="1060"/>
                  </a:lnTo>
                  <a:lnTo>
                    <a:pt x="3553" y="1062"/>
                  </a:lnTo>
                  <a:lnTo>
                    <a:pt x="3554" y="1074"/>
                  </a:lnTo>
                  <a:lnTo>
                    <a:pt x="3554" y="1087"/>
                  </a:lnTo>
                  <a:lnTo>
                    <a:pt x="3556" y="1089"/>
                  </a:lnTo>
                  <a:lnTo>
                    <a:pt x="3558" y="1091"/>
                  </a:lnTo>
                  <a:lnTo>
                    <a:pt x="3558" y="1096"/>
                  </a:lnTo>
                  <a:lnTo>
                    <a:pt x="3556" y="1098"/>
                  </a:lnTo>
                  <a:lnTo>
                    <a:pt x="3559" y="1099"/>
                  </a:lnTo>
                  <a:lnTo>
                    <a:pt x="3559" y="1108"/>
                  </a:lnTo>
                  <a:lnTo>
                    <a:pt x="3564" y="1111"/>
                  </a:lnTo>
                  <a:lnTo>
                    <a:pt x="3563" y="1115"/>
                  </a:lnTo>
                  <a:lnTo>
                    <a:pt x="3566" y="1116"/>
                  </a:lnTo>
                  <a:lnTo>
                    <a:pt x="3564" y="1125"/>
                  </a:lnTo>
                  <a:lnTo>
                    <a:pt x="3566" y="1132"/>
                  </a:lnTo>
                  <a:lnTo>
                    <a:pt x="3570" y="1133"/>
                  </a:lnTo>
                  <a:lnTo>
                    <a:pt x="3568" y="1142"/>
                  </a:lnTo>
                  <a:lnTo>
                    <a:pt x="3568" y="1150"/>
                  </a:lnTo>
                  <a:lnTo>
                    <a:pt x="3568" y="1162"/>
                  </a:lnTo>
                  <a:lnTo>
                    <a:pt x="3566" y="1169"/>
                  </a:lnTo>
                  <a:lnTo>
                    <a:pt x="3564" y="1169"/>
                  </a:lnTo>
                  <a:lnTo>
                    <a:pt x="3566" y="1176"/>
                  </a:lnTo>
                  <a:lnTo>
                    <a:pt x="3564" y="1183"/>
                  </a:lnTo>
                  <a:lnTo>
                    <a:pt x="3563" y="1183"/>
                  </a:lnTo>
                  <a:lnTo>
                    <a:pt x="3564" y="1184"/>
                  </a:lnTo>
                  <a:lnTo>
                    <a:pt x="3564" y="1188"/>
                  </a:lnTo>
                  <a:lnTo>
                    <a:pt x="3564" y="1193"/>
                  </a:lnTo>
                  <a:lnTo>
                    <a:pt x="3563" y="1195"/>
                  </a:lnTo>
                  <a:lnTo>
                    <a:pt x="3564" y="1201"/>
                  </a:lnTo>
                  <a:lnTo>
                    <a:pt x="3564" y="1206"/>
                  </a:lnTo>
                  <a:lnTo>
                    <a:pt x="3559" y="1217"/>
                  </a:lnTo>
                  <a:lnTo>
                    <a:pt x="3558" y="1218"/>
                  </a:lnTo>
                  <a:lnTo>
                    <a:pt x="3559" y="1218"/>
                  </a:lnTo>
                  <a:lnTo>
                    <a:pt x="3553" y="1235"/>
                  </a:lnTo>
                  <a:lnTo>
                    <a:pt x="3553" y="1242"/>
                  </a:lnTo>
                  <a:lnTo>
                    <a:pt x="3553" y="1244"/>
                  </a:lnTo>
                  <a:lnTo>
                    <a:pt x="3551" y="1246"/>
                  </a:lnTo>
                  <a:lnTo>
                    <a:pt x="3549" y="1246"/>
                  </a:lnTo>
                  <a:lnTo>
                    <a:pt x="3551" y="1247"/>
                  </a:lnTo>
                  <a:lnTo>
                    <a:pt x="3553" y="1247"/>
                  </a:lnTo>
                  <a:lnTo>
                    <a:pt x="3551" y="1247"/>
                  </a:lnTo>
                  <a:lnTo>
                    <a:pt x="3551" y="1249"/>
                  </a:lnTo>
                  <a:lnTo>
                    <a:pt x="3549" y="1247"/>
                  </a:lnTo>
                  <a:lnTo>
                    <a:pt x="3549" y="1249"/>
                  </a:lnTo>
                  <a:lnTo>
                    <a:pt x="3547" y="1256"/>
                  </a:lnTo>
                  <a:lnTo>
                    <a:pt x="3546" y="1263"/>
                  </a:lnTo>
                  <a:lnTo>
                    <a:pt x="3544" y="1263"/>
                  </a:lnTo>
                  <a:lnTo>
                    <a:pt x="3539" y="1274"/>
                  </a:lnTo>
                  <a:lnTo>
                    <a:pt x="3539" y="1280"/>
                  </a:lnTo>
                  <a:lnTo>
                    <a:pt x="3534" y="1286"/>
                  </a:lnTo>
                  <a:lnTo>
                    <a:pt x="3534" y="1290"/>
                  </a:lnTo>
                  <a:lnTo>
                    <a:pt x="3532" y="1295"/>
                  </a:lnTo>
                  <a:lnTo>
                    <a:pt x="3529" y="1300"/>
                  </a:lnTo>
                  <a:lnTo>
                    <a:pt x="3525" y="1303"/>
                  </a:lnTo>
                  <a:lnTo>
                    <a:pt x="3519" y="1319"/>
                  </a:lnTo>
                  <a:lnTo>
                    <a:pt x="3513" y="1325"/>
                  </a:lnTo>
                  <a:lnTo>
                    <a:pt x="3507" y="1332"/>
                  </a:lnTo>
                  <a:lnTo>
                    <a:pt x="3503" y="1334"/>
                  </a:lnTo>
                  <a:lnTo>
                    <a:pt x="3498" y="1342"/>
                  </a:lnTo>
                  <a:lnTo>
                    <a:pt x="3490" y="1351"/>
                  </a:lnTo>
                  <a:lnTo>
                    <a:pt x="3485" y="1354"/>
                  </a:lnTo>
                  <a:lnTo>
                    <a:pt x="3481" y="1360"/>
                  </a:lnTo>
                  <a:lnTo>
                    <a:pt x="3481" y="1363"/>
                  </a:lnTo>
                  <a:lnTo>
                    <a:pt x="3478" y="1365"/>
                  </a:lnTo>
                  <a:lnTo>
                    <a:pt x="3478" y="1363"/>
                  </a:lnTo>
                  <a:lnTo>
                    <a:pt x="3476" y="1363"/>
                  </a:lnTo>
                  <a:lnTo>
                    <a:pt x="3474" y="1366"/>
                  </a:lnTo>
                  <a:lnTo>
                    <a:pt x="3474" y="1365"/>
                  </a:lnTo>
                  <a:lnTo>
                    <a:pt x="3471" y="1368"/>
                  </a:lnTo>
                  <a:lnTo>
                    <a:pt x="3461" y="1380"/>
                  </a:lnTo>
                  <a:lnTo>
                    <a:pt x="3461" y="1382"/>
                  </a:lnTo>
                  <a:lnTo>
                    <a:pt x="3457" y="1385"/>
                  </a:lnTo>
                  <a:lnTo>
                    <a:pt x="3447" y="1400"/>
                  </a:lnTo>
                  <a:lnTo>
                    <a:pt x="3444" y="1402"/>
                  </a:lnTo>
                  <a:lnTo>
                    <a:pt x="3439" y="1409"/>
                  </a:lnTo>
                  <a:lnTo>
                    <a:pt x="3437" y="1409"/>
                  </a:lnTo>
                  <a:lnTo>
                    <a:pt x="3425" y="1421"/>
                  </a:lnTo>
                  <a:lnTo>
                    <a:pt x="3423" y="1424"/>
                  </a:lnTo>
                  <a:lnTo>
                    <a:pt x="3423" y="1426"/>
                  </a:lnTo>
                  <a:lnTo>
                    <a:pt x="3415" y="1439"/>
                  </a:lnTo>
                  <a:lnTo>
                    <a:pt x="3413" y="1441"/>
                  </a:lnTo>
                  <a:lnTo>
                    <a:pt x="3395" y="1446"/>
                  </a:lnTo>
                  <a:lnTo>
                    <a:pt x="3381" y="1455"/>
                  </a:lnTo>
                  <a:lnTo>
                    <a:pt x="3372" y="1462"/>
                  </a:lnTo>
                  <a:lnTo>
                    <a:pt x="3364" y="1470"/>
                  </a:lnTo>
                  <a:lnTo>
                    <a:pt x="3366" y="1470"/>
                  </a:lnTo>
                  <a:lnTo>
                    <a:pt x="3364" y="1470"/>
                  </a:lnTo>
                  <a:lnTo>
                    <a:pt x="3355" y="1480"/>
                  </a:lnTo>
                  <a:lnTo>
                    <a:pt x="3355" y="1479"/>
                  </a:lnTo>
                  <a:lnTo>
                    <a:pt x="3354" y="1479"/>
                  </a:lnTo>
                  <a:lnTo>
                    <a:pt x="3355" y="1484"/>
                  </a:lnTo>
                  <a:lnTo>
                    <a:pt x="3344" y="1497"/>
                  </a:lnTo>
                  <a:lnTo>
                    <a:pt x="3342" y="1499"/>
                  </a:lnTo>
                  <a:lnTo>
                    <a:pt x="3342" y="1502"/>
                  </a:lnTo>
                  <a:lnTo>
                    <a:pt x="3333" y="1511"/>
                  </a:lnTo>
                  <a:lnTo>
                    <a:pt x="3328" y="1523"/>
                  </a:lnTo>
                  <a:lnTo>
                    <a:pt x="3323" y="1525"/>
                  </a:lnTo>
                  <a:lnTo>
                    <a:pt x="3325" y="1526"/>
                  </a:lnTo>
                  <a:lnTo>
                    <a:pt x="3316" y="1538"/>
                  </a:lnTo>
                  <a:lnTo>
                    <a:pt x="3308" y="1552"/>
                  </a:lnTo>
                  <a:lnTo>
                    <a:pt x="3306" y="1557"/>
                  </a:lnTo>
                  <a:lnTo>
                    <a:pt x="3299" y="1572"/>
                  </a:lnTo>
                  <a:lnTo>
                    <a:pt x="3291" y="1586"/>
                  </a:lnTo>
                  <a:lnTo>
                    <a:pt x="3284" y="1596"/>
                  </a:lnTo>
                  <a:lnTo>
                    <a:pt x="3279" y="1603"/>
                  </a:lnTo>
                  <a:lnTo>
                    <a:pt x="3267" y="1620"/>
                  </a:lnTo>
                  <a:lnTo>
                    <a:pt x="3262" y="1628"/>
                  </a:lnTo>
                  <a:lnTo>
                    <a:pt x="3259" y="1632"/>
                  </a:lnTo>
                  <a:lnTo>
                    <a:pt x="3257" y="1633"/>
                  </a:lnTo>
                  <a:lnTo>
                    <a:pt x="3252" y="1638"/>
                  </a:lnTo>
                  <a:lnTo>
                    <a:pt x="3238" y="1654"/>
                  </a:lnTo>
                  <a:lnTo>
                    <a:pt x="3230" y="1662"/>
                  </a:lnTo>
                  <a:lnTo>
                    <a:pt x="3225" y="1664"/>
                  </a:lnTo>
                  <a:lnTo>
                    <a:pt x="3218" y="1669"/>
                  </a:lnTo>
                  <a:lnTo>
                    <a:pt x="3211" y="1669"/>
                  </a:lnTo>
                  <a:lnTo>
                    <a:pt x="3214" y="1662"/>
                  </a:lnTo>
                  <a:lnTo>
                    <a:pt x="3213" y="1661"/>
                  </a:lnTo>
                  <a:lnTo>
                    <a:pt x="3216" y="1659"/>
                  </a:lnTo>
                  <a:lnTo>
                    <a:pt x="3216" y="1661"/>
                  </a:lnTo>
                  <a:lnTo>
                    <a:pt x="3218" y="1659"/>
                  </a:lnTo>
                  <a:lnTo>
                    <a:pt x="3216" y="1657"/>
                  </a:lnTo>
                  <a:lnTo>
                    <a:pt x="3218" y="1652"/>
                  </a:lnTo>
                  <a:lnTo>
                    <a:pt x="3216" y="1652"/>
                  </a:lnTo>
                  <a:lnTo>
                    <a:pt x="3216" y="1649"/>
                  </a:lnTo>
                  <a:lnTo>
                    <a:pt x="3218" y="1649"/>
                  </a:lnTo>
                  <a:lnTo>
                    <a:pt x="3216" y="1650"/>
                  </a:lnTo>
                  <a:lnTo>
                    <a:pt x="3218" y="1650"/>
                  </a:lnTo>
                  <a:lnTo>
                    <a:pt x="3219" y="1650"/>
                  </a:lnTo>
                  <a:lnTo>
                    <a:pt x="3219" y="1645"/>
                  </a:lnTo>
                  <a:lnTo>
                    <a:pt x="3221" y="1647"/>
                  </a:lnTo>
                  <a:lnTo>
                    <a:pt x="3223" y="1647"/>
                  </a:lnTo>
                  <a:lnTo>
                    <a:pt x="3219" y="1645"/>
                  </a:lnTo>
                  <a:lnTo>
                    <a:pt x="3219" y="1647"/>
                  </a:lnTo>
                  <a:lnTo>
                    <a:pt x="3216" y="1647"/>
                  </a:lnTo>
                  <a:lnTo>
                    <a:pt x="3216" y="1649"/>
                  </a:lnTo>
                  <a:lnTo>
                    <a:pt x="3214" y="1645"/>
                  </a:lnTo>
                  <a:lnTo>
                    <a:pt x="3216" y="1642"/>
                  </a:lnTo>
                  <a:lnTo>
                    <a:pt x="3213" y="1644"/>
                  </a:lnTo>
                  <a:lnTo>
                    <a:pt x="3209" y="1640"/>
                  </a:lnTo>
                  <a:lnTo>
                    <a:pt x="3206" y="1644"/>
                  </a:lnTo>
                  <a:lnTo>
                    <a:pt x="3206" y="1642"/>
                  </a:lnTo>
                  <a:lnTo>
                    <a:pt x="3204" y="1642"/>
                  </a:lnTo>
                  <a:lnTo>
                    <a:pt x="3204" y="1638"/>
                  </a:lnTo>
                  <a:lnTo>
                    <a:pt x="3202" y="1638"/>
                  </a:lnTo>
                  <a:lnTo>
                    <a:pt x="3204" y="1638"/>
                  </a:lnTo>
                  <a:lnTo>
                    <a:pt x="3202" y="1637"/>
                  </a:lnTo>
                  <a:lnTo>
                    <a:pt x="3202" y="1638"/>
                  </a:lnTo>
                  <a:lnTo>
                    <a:pt x="3202" y="1635"/>
                  </a:lnTo>
                  <a:lnTo>
                    <a:pt x="3202" y="1633"/>
                  </a:lnTo>
                  <a:lnTo>
                    <a:pt x="3199" y="1633"/>
                  </a:lnTo>
                  <a:lnTo>
                    <a:pt x="3199" y="1637"/>
                  </a:lnTo>
                  <a:lnTo>
                    <a:pt x="3197" y="1635"/>
                  </a:lnTo>
                  <a:lnTo>
                    <a:pt x="3196" y="1635"/>
                  </a:lnTo>
                  <a:lnTo>
                    <a:pt x="3196" y="1632"/>
                  </a:lnTo>
                  <a:lnTo>
                    <a:pt x="3196" y="1638"/>
                  </a:lnTo>
                  <a:lnTo>
                    <a:pt x="3192" y="1640"/>
                  </a:lnTo>
                  <a:lnTo>
                    <a:pt x="3192" y="1645"/>
                  </a:lnTo>
                  <a:lnTo>
                    <a:pt x="3187" y="1652"/>
                  </a:lnTo>
                  <a:lnTo>
                    <a:pt x="3185" y="1652"/>
                  </a:lnTo>
                  <a:lnTo>
                    <a:pt x="3182" y="1650"/>
                  </a:lnTo>
                  <a:lnTo>
                    <a:pt x="3184" y="1649"/>
                  </a:lnTo>
                  <a:lnTo>
                    <a:pt x="3180" y="1638"/>
                  </a:lnTo>
                  <a:lnTo>
                    <a:pt x="3184" y="1638"/>
                  </a:lnTo>
                  <a:lnTo>
                    <a:pt x="3184" y="1635"/>
                  </a:lnTo>
                  <a:lnTo>
                    <a:pt x="3182" y="1635"/>
                  </a:lnTo>
                  <a:lnTo>
                    <a:pt x="3182" y="1637"/>
                  </a:lnTo>
                  <a:lnTo>
                    <a:pt x="3184" y="1638"/>
                  </a:lnTo>
                  <a:lnTo>
                    <a:pt x="3180" y="1637"/>
                  </a:lnTo>
                  <a:lnTo>
                    <a:pt x="3179" y="1638"/>
                  </a:lnTo>
                  <a:lnTo>
                    <a:pt x="3180" y="1642"/>
                  </a:lnTo>
                  <a:lnTo>
                    <a:pt x="3177" y="1642"/>
                  </a:lnTo>
                  <a:lnTo>
                    <a:pt x="3180" y="1645"/>
                  </a:lnTo>
                  <a:lnTo>
                    <a:pt x="3177" y="1649"/>
                  </a:lnTo>
                  <a:lnTo>
                    <a:pt x="3180" y="1647"/>
                  </a:lnTo>
                  <a:lnTo>
                    <a:pt x="3182" y="1649"/>
                  </a:lnTo>
                  <a:lnTo>
                    <a:pt x="3182" y="1654"/>
                  </a:lnTo>
                  <a:lnTo>
                    <a:pt x="3185" y="1655"/>
                  </a:lnTo>
                  <a:lnTo>
                    <a:pt x="3189" y="1652"/>
                  </a:lnTo>
                  <a:lnTo>
                    <a:pt x="3191" y="1655"/>
                  </a:lnTo>
                  <a:lnTo>
                    <a:pt x="3192" y="1655"/>
                  </a:lnTo>
                  <a:lnTo>
                    <a:pt x="3196" y="1655"/>
                  </a:lnTo>
                  <a:lnTo>
                    <a:pt x="3194" y="1655"/>
                  </a:lnTo>
                  <a:lnTo>
                    <a:pt x="3194" y="1657"/>
                  </a:lnTo>
                  <a:lnTo>
                    <a:pt x="3191" y="1661"/>
                  </a:lnTo>
                  <a:lnTo>
                    <a:pt x="3191" y="1664"/>
                  </a:lnTo>
                  <a:lnTo>
                    <a:pt x="3191" y="1662"/>
                  </a:lnTo>
                  <a:lnTo>
                    <a:pt x="3189" y="1664"/>
                  </a:lnTo>
                  <a:lnTo>
                    <a:pt x="3191" y="1664"/>
                  </a:lnTo>
                  <a:lnTo>
                    <a:pt x="3189" y="1664"/>
                  </a:lnTo>
                  <a:lnTo>
                    <a:pt x="3191" y="1666"/>
                  </a:lnTo>
                  <a:lnTo>
                    <a:pt x="3187" y="1669"/>
                  </a:lnTo>
                  <a:lnTo>
                    <a:pt x="3189" y="1671"/>
                  </a:lnTo>
                  <a:lnTo>
                    <a:pt x="3191" y="1671"/>
                  </a:lnTo>
                  <a:lnTo>
                    <a:pt x="3196" y="1666"/>
                  </a:lnTo>
                  <a:lnTo>
                    <a:pt x="3197" y="1666"/>
                  </a:lnTo>
                  <a:lnTo>
                    <a:pt x="3197" y="1664"/>
                  </a:lnTo>
                  <a:lnTo>
                    <a:pt x="3199" y="1664"/>
                  </a:lnTo>
                  <a:lnTo>
                    <a:pt x="3199" y="1662"/>
                  </a:lnTo>
                  <a:lnTo>
                    <a:pt x="3197" y="1662"/>
                  </a:lnTo>
                  <a:lnTo>
                    <a:pt x="3199" y="1661"/>
                  </a:lnTo>
                  <a:lnTo>
                    <a:pt x="3199" y="1662"/>
                  </a:lnTo>
                  <a:lnTo>
                    <a:pt x="3199" y="1661"/>
                  </a:lnTo>
                  <a:lnTo>
                    <a:pt x="3197" y="1659"/>
                  </a:lnTo>
                  <a:lnTo>
                    <a:pt x="3197" y="1655"/>
                  </a:lnTo>
                  <a:lnTo>
                    <a:pt x="3202" y="1659"/>
                  </a:lnTo>
                  <a:lnTo>
                    <a:pt x="3206" y="1664"/>
                  </a:lnTo>
                  <a:lnTo>
                    <a:pt x="3201" y="1671"/>
                  </a:lnTo>
                  <a:lnTo>
                    <a:pt x="3196" y="1673"/>
                  </a:lnTo>
                  <a:lnTo>
                    <a:pt x="3191" y="1678"/>
                  </a:lnTo>
                  <a:lnTo>
                    <a:pt x="3189" y="1679"/>
                  </a:lnTo>
                  <a:lnTo>
                    <a:pt x="3185" y="1678"/>
                  </a:lnTo>
                  <a:lnTo>
                    <a:pt x="3182" y="1678"/>
                  </a:lnTo>
                  <a:lnTo>
                    <a:pt x="3187" y="1681"/>
                  </a:lnTo>
                  <a:lnTo>
                    <a:pt x="3175" y="1688"/>
                  </a:lnTo>
                  <a:lnTo>
                    <a:pt x="3174" y="1690"/>
                  </a:lnTo>
                  <a:lnTo>
                    <a:pt x="3170" y="1698"/>
                  </a:lnTo>
                  <a:lnTo>
                    <a:pt x="3172" y="1703"/>
                  </a:lnTo>
                  <a:lnTo>
                    <a:pt x="3175" y="1701"/>
                  </a:lnTo>
                  <a:lnTo>
                    <a:pt x="3177" y="1703"/>
                  </a:lnTo>
                  <a:lnTo>
                    <a:pt x="3177" y="1708"/>
                  </a:lnTo>
                  <a:lnTo>
                    <a:pt x="3175" y="1710"/>
                  </a:lnTo>
                  <a:lnTo>
                    <a:pt x="3175" y="1712"/>
                  </a:lnTo>
                  <a:lnTo>
                    <a:pt x="3174" y="1718"/>
                  </a:lnTo>
                  <a:lnTo>
                    <a:pt x="3175" y="1722"/>
                  </a:lnTo>
                  <a:lnTo>
                    <a:pt x="3177" y="1727"/>
                  </a:lnTo>
                  <a:lnTo>
                    <a:pt x="3175" y="1729"/>
                  </a:lnTo>
                  <a:lnTo>
                    <a:pt x="3174" y="1727"/>
                  </a:lnTo>
                  <a:lnTo>
                    <a:pt x="3168" y="1729"/>
                  </a:lnTo>
                  <a:lnTo>
                    <a:pt x="3170" y="1730"/>
                  </a:lnTo>
                  <a:lnTo>
                    <a:pt x="3167" y="1732"/>
                  </a:lnTo>
                  <a:lnTo>
                    <a:pt x="3167" y="1737"/>
                  </a:lnTo>
                  <a:lnTo>
                    <a:pt x="3168" y="1744"/>
                  </a:lnTo>
                  <a:lnTo>
                    <a:pt x="3165" y="1744"/>
                  </a:lnTo>
                  <a:lnTo>
                    <a:pt x="3163" y="1749"/>
                  </a:lnTo>
                  <a:lnTo>
                    <a:pt x="3167" y="1751"/>
                  </a:lnTo>
                  <a:lnTo>
                    <a:pt x="3170" y="1747"/>
                  </a:lnTo>
                  <a:lnTo>
                    <a:pt x="3172" y="1752"/>
                  </a:lnTo>
                  <a:lnTo>
                    <a:pt x="3168" y="1766"/>
                  </a:lnTo>
                  <a:lnTo>
                    <a:pt x="3165" y="1776"/>
                  </a:lnTo>
                  <a:lnTo>
                    <a:pt x="3165" y="1781"/>
                  </a:lnTo>
                  <a:lnTo>
                    <a:pt x="3165" y="1785"/>
                  </a:lnTo>
                  <a:lnTo>
                    <a:pt x="3163" y="1790"/>
                  </a:lnTo>
                  <a:lnTo>
                    <a:pt x="3160" y="1807"/>
                  </a:lnTo>
                  <a:lnTo>
                    <a:pt x="3157" y="1815"/>
                  </a:lnTo>
                  <a:lnTo>
                    <a:pt x="3157" y="1826"/>
                  </a:lnTo>
                  <a:lnTo>
                    <a:pt x="3157" y="1829"/>
                  </a:lnTo>
                  <a:lnTo>
                    <a:pt x="3160" y="1831"/>
                  </a:lnTo>
                  <a:lnTo>
                    <a:pt x="3160" y="1829"/>
                  </a:lnTo>
                  <a:lnTo>
                    <a:pt x="3160" y="1843"/>
                  </a:lnTo>
                  <a:lnTo>
                    <a:pt x="3162" y="1849"/>
                  </a:lnTo>
                  <a:lnTo>
                    <a:pt x="3160" y="1865"/>
                  </a:lnTo>
                  <a:lnTo>
                    <a:pt x="3160" y="1870"/>
                  </a:lnTo>
                  <a:lnTo>
                    <a:pt x="3160" y="1877"/>
                  </a:lnTo>
                  <a:lnTo>
                    <a:pt x="3163" y="1892"/>
                  </a:lnTo>
                  <a:lnTo>
                    <a:pt x="3163" y="1894"/>
                  </a:lnTo>
                  <a:lnTo>
                    <a:pt x="3163" y="1895"/>
                  </a:lnTo>
                  <a:lnTo>
                    <a:pt x="3163" y="1904"/>
                  </a:lnTo>
                  <a:lnTo>
                    <a:pt x="3165" y="1914"/>
                  </a:lnTo>
                  <a:lnTo>
                    <a:pt x="3165" y="1916"/>
                  </a:lnTo>
                  <a:lnTo>
                    <a:pt x="3170" y="1928"/>
                  </a:lnTo>
                  <a:lnTo>
                    <a:pt x="3165" y="1936"/>
                  </a:lnTo>
                  <a:lnTo>
                    <a:pt x="3160" y="1950"/>
                  </a:lnTo>
                  <a:lnTo>
                    <a:pt x="3160" y="1955"/>
                  </a:lnTo>
                  <a:lnTo>
                    <a:pt x="3158" y="1960"/>
                  </a:lnTo>
                  <a:lnTo>
                    <a:pt x="3153" y="1965"/>
                  </a:lnTo>
                  <a:lnTo>
                    <a:pt x="3153" y="1975"/>
                  </a:lnTo>
                  <a:lnTo>
                    <a:pt x="3151" y="1975"/>
                  </a:lnTo>
                  <a:lnTo>
                    <a:pt x="3150" y="1980"/>
                  </a:lnTo>
                  <a:lnTo>
                    <a:pt x="3146" y="1992"/>
                  </a:lnTo>
                  <a:lnTo>
                    <a:pt x="3143" y="2004"/>
                  </a:lnTo>
                  <a:lnTo>
                    <a:pt x="3140" y="2011"/>
                  </a:lnTo>
                  <a:lnTo>
                    <a:pt x="3140" y="2021"/>
                  </a:lnTo>
                  <a:lnTo>
                    <a:pt x="3143" y="2023"/>
                  </a:lnTo>
                  <a:lnTo>
                    <a:pt x="3138" y="2026"/>
                  </a:lnTo>
                  <a:lnTo>
                    <a:pt x="3134" y="2043"/>
                  </a:lnTo>
                  <a:lnTo>
                    <a:pt x="3131" y="2047"/>
                  </a:lnTo>
                  <a:lnTo>
                    <a:pt x="3131" y="2060"/>
                  </a:lnTo>
                  <a:lnTo>
                    <a:pt x="3133" y="2072"/>
                  </a:lnTo>
                  <a:lnTo>
                    <a:pt x="3131" y="2086"/>
                  </a:lnTo>
                  <a:lnTo>
                    <a:pt x="3136" y="2094"/>
                  </a:lnTo>
                  <a:lnTo>
                    <a:pt x="3124" y="2106"/>
                  </a:lnTo>
                  <a:lnTo>
                    <a:pt x="3123" y="2111"/>
                  </a:lnTo>
                  <a:lnTo>
                    <a:pt x="3117" y="2113"/>
                  </a:lnTo>
                  <a:lnTo>
                    <a:pt x="3114" y="2113"/>
                  </a:lnTo>
                  <a:lnTo>
                    <a:pt x="3114" y="2115"/>
                  </a:lnTo>
                  <a:lnTo>
                    <a:pt x="3107" y="2118"/>
                  </a:lnTo>
                  <a:lnTo>
                    <a:pt x="3102" y="2123"/>
                  </a:lnTo>
                  <a:lnTo>
                    <a:pt x="3095" y="2133"/>
                  </a:lnTo>
                  <a:lnTo>
                    <a:pt x="3089" y="2145"/>
                  </a:lnTo>
                  <a:lnTo>
                    <a:pt x="3085" y="2156"/>
                  </a:lnTo>
                  <a:lnTo>
                    <a:pt x="3078" y="2168"/>
                  </a:lnTo>
                  <a:lnTo>
                    <a:pt x="3075" y="2188"/>
                  </a:lnTo>
                  <a:lnTo>
                    <a:pt x="3075" y="2200"/>
                  </a:lnTo>
                  <a:lnTo>
                    <a:pt x="3075" y="2208"/>
                  </a:lnTo>
                  <a:lnTo>
                    <a:pt x="3075" y="2210"/>
                  </a:lnTo>
                  <a:lnTo>
                    <a:pt x="3077" y="2230"/>
                  </a:lnTo>
                  <a:lnTo>
                    <a:pt x="3077" y="2242"/>
                  </a:lnTo>
                  <a:lnTo>
                    <a:pt x="3075" y="2251"/>
                  </a:lnTo>
                  <a:lnTo>
                    <a:pt x="3072" y="2258"/>
                  </a:lnTo>
                  <a:lnTo>
                    <a:pt x="3065" y="2275"/>
                  </a:lnTo>
                  <a:lnTo>
                    <a:pt x="3056" y="2278"/>
                  </a:lnTo>
                  <a:lnTo>
                    <a:pt x="3048" y="2283"/>
                  </a:lnTo>
                  <a:lnTo>
                    <a:pt x="3041" y="2290"/>
                  </a:lnTo>
                  <a:lnTo>
                    <a:pt x="3041" y="2292"/>
                  </a:lnTo>
                  <a:lnTo>
                    <a:pt x="3039" y="2295"/>
                  </a:lnTo>
                  <a:lnTo>
                    <a:pt x="3038" y="2299"/>
                  </a:lnTo>
                  <a:lnTo>
                    <a:pt x="3032" y="2302"/>
                  </a:lnTo>
                  <a:lnTo>
                    <a:pt x="3034" y="2304"/>
                  </a:lnTo>
                  <a:lnTo>
                    <a:pt x="3031" y="2309"/>
                  </a:lnTo>
                  <a:lnTo>
                    <a:pt x="3027" y="2310"/>
                  </a:lnTo>
                  <a:lnTo>
                    <a:pt x="3029" y="2314"/>
                  </a:lnTo>
                  <a:lnTo>
                    <a:pt x="3029" y="2316"/>
                  </a:lnTo>
                  <a:lnTo>
                    <a:pt x="3027" y="2324"/>
                  </a:lnTo>
                  <a:lnTo>
                    <a:pt x="3022" y="2331"/>
                  </a:lnTo>
                  <a:lnTo>
                    <a:pt x="3022" y="2333"/>
                  </a:lnTo>
                  <a:lnTo>
                    <a:pt x="3022" y="2334"/>
                  </a:lnTo>
                  <a:lnTo>
                    <a:pt x="3022" y="2333"/>
                  </a:lnTo>
                  <a:lnTo>
                    <a:pt x="3021" y="2331"/>
                  </a:lnTo>
                  <a:lnTo>
                    <a:pt x="3017" y="2333"/>
                  </a:lnTo>
                  <a:lnTo>
                    <a:pt x="3017" y="2334"/>
                  </a:lnTo>
                  <a:lnTo>
                    <a:pt x="3019" y="2334"/>
                  </a:lnTo>
                  <a:lnTo>
                    <a:pt x="3014" y="2336"/>
                  </a:lnTo>
                  <a:lnTo>
                    <a:pt x="3014" y="2338"/>
                  </a:lnTo>
                  <a:lnTo>
                    <a:pt x="3015" y="2336"/>
                  </a:lnTo>
                  <a:lnTo>
                    <a:pt x="3019" y="2336"/>
                  </a:lnTo>
                  <a:lnTo>
                    <a:pt x="3015" y="2341"/>
                  </a:lnTo>
                  <a:lnTo>
                    <a:pt x="3010" y="2353"/>
                  </a:lnTo>
                  <a:lnTo>
                    <a:pt x="3007" y="2356"/>
                  </a:lnTo>
                  <a:lnTo>
                    <a:pt x="3004" y="2365"/>
                  </a:lnTo>
                  <a:lnTo>
                    <a:pt x="3000" y="2363"/>
                  </a:lnTo>
                  <a:lnTo>
                    <a:pt x="3000" y="2367"/>
                  </a:lnTo>
                  <a:lnTo>
                    <a:pt x="2997" y="2367"/>
                  </a:lnTo>
                  <a:lnTo>
                    <a:pt x="2993" y="2373"/>
                  </a:lnTo>
                  <a:lnTo>
                    <a:pt x="2990" y="2375"/>
                  </a:lnTo>
                  <a:lnTo>
                    <a:pt x="2990" y="2378"/>
                  </a:lnTo>
                  <a:lnTo>
                    <a:pt x="2988" y="2380"/>
                  </a:lnTo>
                  <a:lnTo>
                    <a:pt x="2987" y="2380"/>
                  </a:lnTo>
                  <a:lnTo>
                    <a:pt x="2983" y="2384"/>
                  </a:lnTo>
                  <a:lnTo>
                    <a:pt x="2983" y="2380"/>
                  </a:lnTo>
                  <a:lnTo>
                    <a:pt x="2981" y="2380"/>
                  </a:lnTo>
                  <a:lnTo>
                    <a:pt x="2973" y="2385"/>
                  </a:lnTo>
                  <a:lnTo>
                    <a:pt x="2968" y="2392"/>
                  </a:lnTo>
                  <a:lnTo>
                    <a:pt x="2966" y="2401"/>
                  </a:lnTo>
                  <a:lnTo>
                    <a:pt x="2964" y="2402"/>
                  </a:lnTo>
                  <a:lnTo>
                    <a:pt x="2961" y="2409"/>
                  </a:lnTo>
                  <a:lnTo>
                    <a:pt x="2956" y="2412"/>
                  </a:lnTo>
                  <a:lnTo>
                    <a:pt x="2953" y="2419"/>
                  </a:lnTo>
                  <a:lnTo>
                    <a:pt x="2951" y="2424"/>
                  </a:lnTo>
                  <a:lnTo>
                    <a:pt x="2951" y="2431"/>
                  </a:lnTo>
                  <a:lnTo>
                    <a:pt x="2942" y="2441"/>
                  </a:lnTo>
                  <a:lnTo>
                    <a:pt x="2939" y="2445"/>
                  </a:lnTo>
                  <a:lnTo>
                    <a:pt x="2941" y="2450"/>
                  </a:lnTo>
                  <a:lnTo>
                    <a:pt x="2944" y="2453"/>
                  </a:lnTo>
                  <a:lnTo>
                    <a:pt x="2942" y="2464"/>
                  </a:lnTo>
                  <a:lnTo>
                    <a:pt x="2946" y="2482"/>
                  </a:lnTo>
                  <a:lnTo>
                    <a:pt x="2944" y="2489"/>
                  </a:lnTo>
                  <a:lnTo>
                    <a:pt x="2942" y="2491"/>
                  </a:lnTo>
                  <a:lnTo>
                    <a:pt x="2924" y="2501"/>
                  </a:lnTo>
                  <a:lnTo>
                    <a:pt x="2919" y="2503"/>
                  </a:lnTo>
                  <a:lnTo>
                    <a:pt x="2900" y="2508"/>
                  </a:lnTo>
                  <a:lnTo>
                    <a:pt x="2893" y="2509"/>
                  </a:lnTo>
                  <a:lnTo>
                    <a:pt x="2881" y="2515"/>
                  </a:lnTo>
                  <a:lnTo>
                    <a:pt x="2873" y="2521"/>
                  </a:lnTo>
                  <a:lnTo>
                    <a:pt x="2873" y="2525"/>
                  </a:lnTo>
                  <a:lnTo>
                    <a:pt x="2866" y="2528"/>
                  </a:lnTo>
                  <a:lnTo>
                    <a:pt x="2862" y="2532"/>
                  </a:lnTo>
                  <a:lnTo>
                    <a:pt x="2861" y="2533"/>
                  </a:lnTo>
                  <a:lnTo>
                    <a:pt x="2857" y="2537"/>
                  </a:lnTo>
                  <a:lnTo>
                    <a:pt x="2854" y="2537"/>
                  </a:lnTo>
                  <a:lnTo>
                    <a:pt x="2851" y="2543"/>
                  </a:lnTo>
                  <a:lnTo>
                    <a:pt x="2851" y="2554"/>
                  </a:lnTo>
                  <a:lnTo>
                    <a:pt x="2856" y="2559"/>
                  </a:lnTo>
                  <a:lnTo>
                    <a:pt x="2861" y="2555"/>
                  </a:lnTo>
                  <a:lnTo>
                    <a:pt x="2861" y="2557"/>
                  </a:lnTo>
                  <a:lnTo>
                    <a:pt x="2859" y="2559"/>
                  </a:lnTo>
                  <a:lnTo>
                    <a:pt x="2859" y="2560"/>
                  </a:lnTo>
                  <a:lnTo>
                    <a:pt x="2856" y="2560"/>
                  </a:lnTo>
                  <a:lnTo>
                    <a:pt x="2856" y="2562"/>
                  </a:lnTo>
                  <a:lnTo>
                    <a:pt x="2851" y="2564"/>
                  </a:lnTo>
                  <a:lnTo>
                    <a:pt x="2849" y="2566"/>
                  </a:lnTo>
                  <a:lnTo>
                    <a:pt x="2851" y="2569"/>
                  </a:lnTo>
                  <a:lnTo>
                    <a:pt x="2845" y="2571"/>
                  </a:lnTo>
                  <a:lnTo>
                    <a:pt x="2845" y="2574"/>
                  </a:lnTo>
                  <a:lnTo>
                    <a:pt x="2845" y="2576"/>
                  </a:lnTo>
                  <a:lnTo>
                    <a:pt x="2847" y="2576"/>
                  </a:lnTo>
                  <a:lnTo>
                    <a:pt x="2849" y="2576"/>
                  </a:lnTo>
                  <a:lnTo>
                    <a:pt x="2845" y="2577"/>
                  </a:lnTo>
                  <a:lnTo>
                    <a:pt x="2845" y="2579"/>
                  </a:lnTo>
                  <a:lnTo>
                    <a:pt x="2842" y="2576"/>
                  </a:lnTo>
                  <a:lnTo>
                    <a:pt x="2832" y="2574"/>
                  </a:lnTo>
                  <a:lnTo>
                    <a:pt x="2815" y="2574"/>
                  </a:lnTo>
                  <a:lnTo>
                    <a:pt x="2803" y="2574"/>
                  </a:lnTo>
                  <a:lnTo>
                    <a:pt x="2794" y="2574"/>
                  </a:lnTo>
                  <a:lnTo>
                    <a:pt x="2788" y="2574"/>
                  </a:lnTo>
                  <a:lnTo>
                    <a:pt x="2786" y="2576"/>
                  </a:lnTo>
                  <a:lnTo>
                    <a:pt x="2766" y="2577"/>
                  </a:lnTo>
                  <a:lnTo>
                    <a:pt x="2757" y="2577"/>
                  </a:lnTo>
                  <a:lnTo>
                    <a:pt x="2754" y="2577"/>
                  </a:lnTo>
                  <a:lnTo>
                    <a:pt x="2754" y="2576"/>
                  </a:lnTo>
                  <a:lnTo>
                    <a:pt x="2745" y="2574"/>
                  </a:lnTo>
                  <a:lnTo>
                    <a:pt x="2747" y="2572"/>
                  </a:lnTo>
                  <a:lnTo>
                    <a:pt x="2749" y="2574"/>
                  </a:lnTo>
                  <a:lnTo>
                    <a:pt x="2750" y="2572"/>
                  </a:lnTo>
                  <a:lnTo>
                    <a:pt x="2747" y="2572"/>
                  </a:lnTo>
                  <a:lnTo>
                    <a:pt x="2747" y="2569"/>
                  </a:lnTo>
                  <a:lnTo>
                    <a:pt x="2749" y="2569"/>
                  </a:lnTo>
                  <a:lnTo>
                    <a:pt x="2747" y="2569"/>
                  </a:lnTo>
                  <a:lnTo>
                    <a:pt x="2749" y="2567"/>
                  </a:lnTo>
                  <a:lnTo>
                    <a:pt x="2749" y="2569"/>
                  </a:lnTo>
                  <a:lnTo>
                    <a:pt x="2750" y="2564"/>
                  </a:lnTo>
                  <a:lnTo>
                    <a:pt x="2754" y="2562"/>
                  </a:lnTo>
                  <a:lnTo>
                    <a:pt x="2752" y="2560"/>
                  </a:lnTo>
                  <a:lnTo>
                    <a:pt x="2757" y="2555"/>
                  </a:lnTo>
                  <a:lnTo>
                    <a:pt x="2757" y="2552"/>
                  </a:lnTo>
                  <a:lnTo>
                    <a:pt x="2752" y="2550"/>
                  </a:lnTo>
                  <a:lnTo>
                    <a:pt x="2749" y="2554"/>
                  </a:lnTo>
                  <a:lnTo>
                    <a:pt x="2745" y="2554"/>
                  </a:lnTo>
                  <a:lnTo>
                    <a:pt x="2740" y="2555"/>
                  </a:lnTo>
                  <a:lnTo>
                    <a:pt x="2733" y="2560"/>
                  </a:lnTo>
                  <a:lnTo>
                    <a:pt x="2735" y="2564"/>
                  </a:lnTo>
                  <a:lnTo>
                    <a:pt x="2738" y="2567"/>
                  </a:lnTo>
                  <a:lnTo>
                    <a:pt x="2738" y="2569"/>
                  </a:lnTo>
                  <a:lnTo>
                    <a:pt x="2740" y="2569"/>
                  </a:lnTo>
                  <a:lnTo>
                    <a:pt x="2738" y="2569"/>
                  </a:lnTo>
                  <a:lnTo>
                    <a:pt x="2740" y="2571"/>
                  </a:lnTo>
                  <a:lnTo>
                    <a:pt x="2742" y="2571"/>
                  </a:lnTo>
                  <a:lnTo>
                    <a:pt x="2743" y="2572"/>
                  </a:lnTo>
                  <a:lnTo>
                    <a:pt x="2742" y="2576"/>
                  </a:lnTo>
                  <a:lnTo>
                    <a:pt x="2743" y="2574"/>
                  </a:lnTo>
                  <a:lnTo>
                    <a:pt x="2745" y="2576"/>
                  </a:lnTo>
                  <a:lnTo>
                    <a:pt x="2742" y="2579"/>
                  </a:lnTo>
                  <a:lnTo>
                    <a:pt x="2733" y="2579"/>
                  </a:lnTo>
                  <a:lnTo>
                    <a:pt x="2732" y="2581"/>
                  </a:lnTo>
                  <a:lnTo>
                    <a:pt x="2718" y="2583"/>
                  </a:lnTo>
                  <a:lnTo>
                    <a:pt x="2709" y="2584"/>
                  </a:lnTo>
                  <a:lnTo>
                    <a:pt x="2708" y="2588"/>
                  </a:lnTo>
                  <a:lnTo>
                    <a:pt x="2706" y="2586"/>
                  </a:lnTo>
                  <a:lnTo>
                    <a:pt x="2706" y="2584"/>
                  </a:lnTo>
                  <a:lnTo>
                    <a:pt x="2701" y="2584"/>
                  </a:lnTo>
                  <a:lnTo>
                    <a:pt x="2687" y="2586"/>
                  </a:lnTo>
                  <a:lnTo>
                    <a:pt x="2677" y="2586"/>
                  </a:lnTo>
                  <a:lnTo>
                    <a:pt x="2669" y="2589"/>
                  </a:lnTo>
                  <a:lnTo>
                    <a:pt x="2667" y="2589"/>
                  </a:lnTo>
                  <a:lnTo>
                    <a:pt x="2667" y="2586"/>
                  </a:lnTo>
                  <a:lnTo>
                    <a:pt x="2670" y="2584"/>
                  </a:lnTo>
                  <a:lnTo>
                    <a:pt x="2679" y="2586"/>
                  </a:lnTo>
                  <a:lnTo>
                    <a:pt x="2679" y="2584"/>
                  </a:lnTo>
                  <a:lnTo>
                    <a:pt x="2675" y="2583"/>
                  </a:lnTo>
                  <a:lnTo>
                    <a:pt x="2686" y="2586"/>
                  </a:lnTo>
                  <a:lnTo>
                    <a:pt x="2704" y="2583"/>
                  </a:lnTo>
                  <a:lnTo>
                    <a:pt x="2698" y="2577"/>
                  </a:lnTo>
                  <a:lnTo>
                    <a:pt x="2694" y="2579"/>
                  </a:lnTo>
                  <a:lnTo>
                    <a:pt x="2687" y="2572"/>
                  </a:lnTo>
                  <a:lnTo>
                    <a:pt x="2686" y="2572"/>
                  </a:lnTo>
                  <a:lnTo>
                    <a:pt x="2682" y="2574"/>
                  </a:lnTo>
                  <a:lnTo>
                    <a:pt x="2682" y="2572"/>
                  </a:lnTo>
                  <a:lnTo>
                    <a:pt x="2682" y="2571"/>
                  </a:lnTo>
                  <a:lnTo>
                    <a:pt x="2677" y="2574"/>
                  </a:lnTo>
                  <a:lnTo>
                    <a:pt x="2667" y="2574"/>
                  </a:lnTo>
                  <a:lnTo>
                    <a:pt x="2664" y="2579"/>
                  </a:lnTo>
                  <a:lnTo>
                    <a:pt x="2664" y="2577"/>
                  </a:lnTo>
                  <a:lnTo>
                    <a:pt x="2665" y="2576"/>
                  </a:lnTo>
                  <a:lnTo>
                    <a:pt x="2664" y="2574"/>
                  </a:lnTo>
                  <a:lnTo>
                    <a:pt x="2662" y="2576"/>
                  </a:lnTo>
                  <a:lnTo>
                    <a:pt x="2660" y="2579"/>
                  </a:lnTo>
                  <a:lnTo>
                    <a:pt x="2657" y="2583"/>
                  </a:lnTo>
                  <a:lnTo>
                    <a:pt x="2653" y="2584"/>
                  </a:lnTo>
                  <a:lnTo>
                    <a:pt x="2652" y="2583"/>
                  </a:lnTo>
                  <a:lnTo>
                    <a:pt x="2652" y="2584"/>
                  </a:lnTo>
                  <a:lnTo>
                    <a:pt x="2650" y="2584"/>
                  </a:lnTo>
                  <a:lnTo>
                    <a:pt x="2650" y="2583"/>
                  </a:lnTo>
                  <a:lnTo>
                    <a:pt x="2647" y="2584"/>
                  </a:lnTo>
                  <a:lnTo>
                    <a:pt x="2647" y="2586"/>
                  </a:lnTo>
                  <a:lnTo>
                    <a:pt x="2645" y="2584"/>
                  </a:lnTo>
                  <a:lnTo>
                    <a:pt x="2648" y="2581"/>
                  </a:lnTo>
                  <a:lnTo>
                    <a:pt x="2645" y="2579"/>
                  </a:lnTo>
                  <a:lnTo>
                    <a:pt x="2641" y="2583"/>
                  </a:lnTo>
                  <a:lnTo>
                    <a:pt x="2641" y="2581"/>
                  </a:lnTo>
                  <a:lnTo>
                    <a:pt x="2636" y="2583"/>
                  </a:lnTo>
                  <a:lnTo>
                    <a:pt x="2635" y="2581"/>
                  </a:lnTo>
                  <a:lnTo>
                    <a:pt x="2641" y="2576"/>
                  </a:lnTo>
                  <a:lnTo>
                    <a:pt x="2640" y="2576"/>
                  </a:lnTo>
                  <a:lnTo>
                    <a:pt x="2638" y="2577"/>
                  </a:lnTo>
                  <a:lnTo>
                    <a:pt x="2638" y="2574"/>
                  </a:lnTo>
                  <a:lnTo>
                    <a:pt x="2636" y="2572"/>
                  </a:lnTo>
                  <a:lnTo>
                    <a:pt x="2635" y="2574"/>
                  </a:lnTo>
                  <a:lnTo>
                    <a:pt x="2636" y="2576"/>
                  </a:lnTo>
                  <a:lnTo>
                    <a:pt x="2633" y="2577"/>
                  </a:lnTo>
                  <a:lnTo>
                    <a:pt x="2635" y="2576"/>
                  </a:lnTo>
                  <a:lnTo>
                    <a:pt x="2631" y="2576"/>
                  </a:lnTo>
                  <a:lnTo>
                    <a:pt x="2631" y="2574"/>
                  </a:lnTo>
                  <a:lnTo>
                    <a:pt x="2630" y="2576"/>
                  </a:lnTo>
                  <a:lnTo>
                    <a:pt x="2628" y="2579"/>
                  </a:lnTo>
                  <a:lnTo>
                    <a:pt x="2630" y="2579"/>
                  </a:lnTo>
                  <a:lnTo>
                    <a:pt x="2628" y="2581"/>
                  </a:lnTo>
                  <a:lnTo>
                    <a:pt x="2630" y="2581"/>
                  </a:lnTo>
                  <a:lnTo>
                    <a:pt x="2628" y="2583"/>
                  </a:lnTo>
                  <a:lnTo>
                    <a:pt x="2624" y="2581"/>
                  </a:lnTo>
                  <a:lnTo>
                    <a:pt x="2623" y="2583"/>
                  </a:lnTo>
                  <a:lnTo>
                    <a:pt x="2619" y="2583"/>
                  </a:lnTo>
                  <a:lnTo>
                    <a:pt x="2614" y="2586"/>
                  </a:lnTo>
                  <a:lnTo>
                    <a:pt x="2614" y="2584"/>
                  </a:lnTo>
                  <a:lnTo>
                    <a:pt x="2609" y="2584"/>
                  </a:lnTo>
                  <a:lnTo>
                    <a:pt x="2606" y="2586"/>
                  </a:lnTo>
                  <a:lnTo>
                    <a:pt x="2604" y="2593"/>
                  </a:lnTo>
                  <a:lnTo>
                    <a:pt x="2604" y="2594"/>
                  </a:lnTo>
                  <a:lnTo>
                    <a:pt x="2604" y="2596"/>
                  </a:lnTo>
                  <a:lnTo>
                    <a:pt x="2602" y="2598"/>
                  </a:lnTo>
                  <a:lnTo>
                    <a:pt x="2602" y="2601"/>
                  </a:lnTo>
                  <a:lnTo>
                    <a:pt x="2604" y="2601"/>
                  </a:lnTo>
                  <a:lnTo>
                    <a:pt x="2609" y="2596"/>
                  </a:lnTo>
                  <a:lnTo>
                    <a:pt x="2609" y="2598"/>
                  </a:lnTo>
                  <a:lnTo>
                    <a:pt x="2611" y="2598"/>
                  </a:lnTo>
                  <a:lnTo>
                    <a:pt x="2611" y="2600"/>
                  </a:lnTo>
                  <a:lnTo>
                    <a:pt x="2607" y="2600"/>
                  </a:lnTo>
                  <a:lnTo>
                    <a:pt x="2607" y="2601"/>
                  </a:lnTo>
                  <a:lnTo>
                    <a:pt x="2604" y="2603"/>
                  </a:lnTo>
                  <a:lnTo>
                    <a:pt x="2611" y="2601"/>
                  </a:lnTo>
                  <a:lnTo>
                    <a:pt x="2607" y="2606"/>
                  </a:lnTo>
                  <a:lnTo>
                    <a:pt x="2607" y="2608"/>
                  </a:lnTo>
                  <a:lnTo>
                    <a:pt x="2613" y="2601"/>
                  </a:lnTo>
                  <a:lnTo>
                    <a:pt x="2616" y="2601"/>
                  </a:lnTo>
                  <a:lnTo>
                    <a:pt x="2614" y="2605"/>
                  </a:lnTo>
                  <a:lnTo>
                    <a:pt x="2618" y="2605"/>
                  </a:lnTo>
                  <a:lnTo>
                    <a:pt x="2621" y="2606"/>
                  </a:lnTo>
                  <a:lnTo>
                    <a:pt x="2619" y="2606"/>
                  </a:lnTo>
                  <a:lnTo>
                    <a:pt x="2616" y="2608"/>
                  </a:lnTo>
                  <a:lnTo>
                    <a:pt x="2613" y="2613"/>
                  </a:lnTo>
                  <a:lnTo>
                    <a:pt x="2611" y="2613"/>
                  </a:lnTo>
                  <a:lnTo>
                    <a:pt x="2609" y="2611"/>
                  </a:lnTo>
                  <a:lnTo>
                    <a:pt x="2609" y="2610"/>
                  </a:lnTo>
                  <a:lnTo>
                    <a:pt x="2606" y="2611"/>
                  </a:lnTo>
                  <a:lnTo>
                    <a:pt x="2606" y="2610"/>
                  </a:lnTo>
                  <a:lnTo>
                    <a:pt x="2604" y="2611"/>
                  </a:lnTo>
                  <a:lnTo>
                    <a:pt x="2601" y="2611"/>
                  </a:lnTo>
                  <a:lnTo>
                    <a:pt x="2601" y="2613"/>
                  </a:lnTo>
                  <a:lnTo>
                    <a:pt x="2594" y="2613"/>
                  </a:lnTo>
                  <a:lnTo>
                    <a:pt x="2590" y="2615"/>
                  </a:lnTo>
                  <a:lnTo>
                    <a:pt x="2589" y="2613"/>
                  </a:lnTo>
                  <a:lnTo>
                    <a:pt x="2585" y="2613"/>
                  </a:lnTo>
                  <a:lnTo>
                    <a:pt x="2587" y="2611"/>
                  </a:lnTo>
                  <a:lnTo>
                    <a:pt x="2584" y="2610"/>
                  </a:lnTo>
                  <a:lnTo>
                    <a:pt x="2579" y="2617"/>
                  </a:lnTo>
                  <a:lnTo>
                    <a:pt x="2572" y="2618"/>
                  </a:lnTo>
                  <a:lnTo>
                    <a:pt x="2570" y="2618"/>
                  </a:lnTo>
                  <a:lnTo>
                    <a:pt x="2570" y="2622"/>
                  </a:lnTo>
                  <a:lnTo>
                    <a:pt x="2573" y="2622"/>
                  </a:lnTo>
                  <a:lnTo>
                    <a:pt x="2570" y="2622"/>
                  </a:lnTo>
                  <a:lnTo>
                    <a:pt x="2568" y="2627"/>
                  </a:lnTo>
                  <a:lnTo>
                    <a:pt x="2567" y="2625"/>
                  </a:lnTo>
                  <a:lnTo>
                    <a:pt x="2563" y="2625"/>
                  </a:lnTo>
                  <a:lnTo>
                    <a:pt x="2565" y="2627"/>
                  </a:lnTo>
                  <a:lnTo>
                    <a:pt x="2565" y="2629"/>
                  </a:lnTo>
                  <a:lnTo>
                    <a:pt x="2560" y="2625"/>
                  </a:lnTo>
                  <a:lnTo>
                    <a:pt x="2560" y="2629"/>
                  </a:lnTo>
                  <a:lnTo>
                    <a:pt x="2558" y="2629"/>
                  </a:lnTo>
                  <a:lnTo>
                    <a:pt x="2558" y="2627"/>
                  </a:lnTo>
                  <a:lnTo>
                    <a:pt x="2555" y="2629"/>
                  </a:lnTo>
                  <a:lnTo>
                    <a:pt x="2556" y="2634"/>
                  </a:lnTo>
                  <a:lnTo>
                    <a:pt x="2551" y="2634"/>
                  </a:lnTo>
                  <a:lnTo>
                    <a:pt x="2548" y="2632"/>
                  </a:lnTo>
                  <a:lnTo>
                    <a:pt x="2545" y="2634"/>
                  </a:lnTo>
                  <a:lnTo>
                    <a:pt x="2543" y="2637"/>
                  </a:lnTo>
                  <a:lnTo>
                    <a:pt x="2539" y="2637"/>
                  </a:lnTo>
                  <a:lnTo>
                    <a:pt x="2538" y="2637"/>
                  </a:lnTo>
                  <a:lnTo>
                    <a:pt x="2536" y="2640"/>
                  </a:lnTo>
                  <a:lnTo>
                    <a:pt x="2536" y="2644"/>
                  </a:lnTo>
                  <a:lnTo>
                    <a:pt x="2536" y="2646"/>
                  </a:lnTo>
                  <a:lnTo>
                    <a:pt x="2538" y="2646"/>
                  </a:lnTo>
                  <a:lnTo>
                    <a:pt x="2536" y="2649"/>
                  </a:lnTo>
                  <a:lnTo>
                    <a:pt x="2538" y="2652"/>
                  </a:lnTo>
                  <a:lnTo>
                    <a:pt x="2539" y="2652"/>
                  </a:lnTo>
                  <a:lnTo>
                    <a:pt x="2538" y="2652"/>
                  </a:lnTo>
                  <a:lnTo>
                    <a:pt x="2538" y="2654"/>
                  </a:lnTo>
                  <a:lnTo>
                    <a:pt x="2534" y="2656"/>
                  </a:lnTo>
                  <a:lnTo>
                    <a:pt x="2531" y="2654"/>
                  </a:lnTo>
                  <a:lnTo>
                    <a:pt x="2528" y="2657"/>
                  </a:lnTo>
                  <a:lnTo>
                    <a:pt x="2524" y="2656"/>
                  </a:lnTo>
                  <a:lnTo>
                    <a:pt x="2524" y="2652"/>
                  </a:lnTo>
                  <a:lnTo>
                    <a:pt x="2517" y="2654"/>
                  </a:lnTo>
                  <a:lnTo>
                    <a:pt x="2516" y="2651"/>
                  </a:lnTo>
                  <a:lnTo>
                    <a:pt x="2514" y="2652"/>
                  </a:lnTo>
                  <a:lnTo>
                    <a:pt x="2512" y="2651"/>
                  </a:lnTo>
                  <a:lnTo>
                    <a:pt x="2502" y="2651"/>
                  </a:lnTo>
                  <a:lnTo>
                    <a:pt x="2500" y="2649"/>
                  </a:lnTo>
                  <a:lnTo>
                    <a:pt x="2490" y="2651"/>
                  </a:lnTo>
                  <a:lnTo>
                    <a:pt x="2482" y="2654"/>
                  </a:lnTo>
                  <a:lnTo>
                    <a:pt x="2480" y="2656"/>
                  </a:lnTo>
                  <a:lnTo>
                    <a:pt x="2478" y="2654"/>
                  </a:lnTo>
                  <a:lnTo>
                    <a:pt x="2471" y="2657"/>
                  </a:lnTo>
                  <a:lnTo>
                    <a:pt x="2470" y="2663"/>
                  </a:lnTo>
                  <a:lnTo>
                    <a:pt x="2466" y="2664"/>
                  </a:lnTo>
                  <a:lnTo>
                    <a:pt x="2468" y="2666"/>
                  </a:lnTo>
                  <a:lnTo>
                    <a:pt x="2466" y="2668"/>
                  </a:lnTo>
                  <a:lnTo>
                    <a:pt x="2466" y="2671"/>
                  </a:lnTo>
                  <a:lnTo>
                    <a:pt x="2460" y="2671"/>
                  </a:lnTo>
                  <a:lnTo>
                    <a:pt x="2456" y="2674"/>
                  </a:lnTo>
                  <a:lnTo>
                    <a:pt x="2456" y="2673"/>
                  </a:lnTo>
                  <a:lnTo>
                    <a:pt x="2453" y="2673"/>
                  </a:lnTo>
                  <a:lnTo>
                    <a:pt x="2454" y="2671"/>
                  </a:lnTo>
                  <a:lnTo>
                    <a:pt x="2454" y="2669"/>
                  </a:lnTo>
                  <a:lnTo>
                    <a:pt x="2451" y="2668"/>
                  </a:lnTo>
                  <a:lnTo>
                    <a:pt x="2449" y="2669"/>
                  </a:lnTo>
                  <a:lnTo>
                    <a:pt x="2449" y="2668"/>
                  </a:lnTo>
                  <a:lnTo>
                    <a:pt x="2449" y="2669"/>
                  </a:lnTo>
                  <a:lnTo>
                    <a:pt x="2448" y="2671"/>
                  </a:lnTo>
                  <a:lnTo>
                    <a:pt x="2448" y="2673"/>
                  </a:lnTo>
                  <a:lnTo>
                    <a:pt x="2446" y="2674"/>
                  </a:lnTo>
                  <a:lnTo>
                    <a:pt x="2446" y="2673"/>
                  </a:lnTo>
                  <a:lnTo>
                    <a:pt x="2439" y="2674"/>
                  </a:lnTo>
                  <a:lnTo>
                    <a:pt x="2424" y="2681"/>
                  </a:lnTo>
                  <a:lnTo>
                    <a:pt x="2410" y="2688"/>
                  </a:lnTo>
                  <a:lnTo>
                    <a:pt x="2397" y="2697"/>
                  </a:lnTo>
                  <a:lnTo>
                    <a:pt x="2392" y="2702"/>
                  </a:lnTo>
                  <a:lnTo>
                    <a:pt x="2392" y="2703"/>
                  </a:lnTo>
                  <a:lnTo>
                    <a:pt x="2388" y="2705"/>
                  </a:lnTo>
                  <a:lnTo>
                    <a:pt x="2390" y="2707"/>
                  </a:lnTo>
                  <a:lnTo>
                    <a:pt x="2390" y="2708"/>
                  </a:lnTo>
                  <a:lnTo>
                    <a:pt x="2380" y="2715"/>
                  </a:lnTo>
                  <a:lnTo>
                    <a:pt x="2369" y="2724"/>
                  </a:lnTo>
                  <a:lnTo>
                    <a:pt x="2352" y="2732"/>
                  </a:lnTo>
                  <a:lnTo>
                    <a:pt x="2351" y="2734"/>
                  </a:lnTo>
                  <a:lnTo>
                    <a:pt x="2334" y="2742"/>
                  </a:lnTo>
                  <a:lnTo>
                    <a:pt x="2324" y="2751"/>
                  </a:lnTo>
                  <a:lnTo>
                    <a:pt x="2315" y="2758"/>
                  </a:lnTo>
                  <a:lnTo>
                    <a:pt x="2310" y="2763"/>
                  </a:lnTo>
                  <a:lnTo>
                    <a:pt x="2307" y="2768"/>
                  </a:lnTo>
                  <a:lnTo>
                    <a:pt x="2305" y="2768"/>
                  </a:lnTo>
                  <a:lnTo>
                    <a:pt x="2307" y="2771"/>
                  </a:lnTo>
                  <a:lnTo>
                    <a:pt x="2303" y="2775"/>
                  </a:lnTo>
                  <a:lnTo>
                    <a:pt x="2305" y="2777"/>
                  </a:lnTo>
                  <a:lnTo>
                    <a:pt x="2286" y="2790"/>
                  </a:lnTo>
                  <a:lnTo>
                    <a:pt x="2279" y="2799"/>
                  </a:lnTo>
                  <a:lnTo>
                    <a:pt x="2276" y="2804"/>
                  </a:lnTo>
                  <a:lnTo>
                    <a:pt x="2266" y="2807"/>
                  </a:lnTo>
                  <a:lnTo>
                    <a:pt x="2266" y="2812"/>
                  </a:lnTo>
                  <a:lnTo>
                    <a:pt x="2267" y="2812"/>
                  </a:lnTo>
                  <a:lnTo>
                    <a:pt x="2267" y="2814"/>
                  </a:lnTo>
                  <a:lnTo>
                    <a:pt x="2262" y="2814"/>
                  </a:lnTo>
                  <a:lnTo>
                    <a:pt x="2256" y="2821"/>
                  </a:lnTo>
                  <a:lnTo>
                    <a:pt x="2245" y="2834"/>
                  </a:lnTo>
                  <a:lnTo>
                    <a:pt x="2244" y="2839"/>
                  </a:lnTo>
                  <a:lnTo>
                    <a:pt x="2242" y="2841"/>
                  </a:lnTo>
                  <a:lnTo>
                    <a:pt x="2242" y="2843"/>
                  </a:lnTo>
                  <a:lnTo>
                    <a:pt x="2239" y="2851"/>
                  </a:lnTo>
                  <a:close/>
                  <a:moveTo>
                    <a:pt x="2611" y="2598"/>
                  </a:moveTo>
                  <a:lnTo>
                    <a:pt x="2614" y="2598"/>
                  </a:lnTo>
                  <a:lnTo>
                    <a:pt x="2614" y="2600"/>
                  </a:lnTo>
                  <a:lnTo>
                    <a:pt x="2611" y="2600"/>
                  </a:lnTo>
                  <a:lnTo>
                    <a:pt x="2611" y="2598"/>
                  </a:lnTo>
                  <a:close/>
                  <a:moveTo>
                    <a:pt x="2188" y="398"/>
                  </a:moveTo>
                  <a:lnTo>
                    <a:pt x="2189" y="400"/>
                  </a:lnTo>
                  <a:lnTo>
                    <a:pt x="2186" y="404"/>
                  </a:lnTo>
                  <a:lnTo>
                    <a:pt x="2188" y="404"/>
                  </a:lnTo>
                  <a:lnTo>
                    <a:pt x="2188" y="405"/>
                  </a:lnTo>
                  <a:lnTo>
                    <a:pt x="2181" y="410"/>
                  </a:lnTo>
                  <a:lnTo>
                    <a:pt x="2167" y="414"/>
                  </a:lnTo>
                  <a:lnTo>
                    <a:pt x="2165" y="414"/>
                  </a:lnTo>
                  <a:lnTo>
                    <a:pt x="2164" y="410"/>
                  </a:lnTo>
                  <a:lnTo>
                    <a:pt x="2165" y="405"/>
                  </a:lnTo>
                  <a:lnTo>
                    <a:pt x="2171" y="400"/>
                  </a:lnTo>
                  <a:lnTo>
                    <a:pt x="2172" y="400"/>
                  </a:lnTo>
                  <a:lnTo>
                    <a:pt x="2177" y="402"/>
                  </a:lnTo>
                  <a:lnTo>
                    <a:pt x="2181" y="402"/>
                  </a:lnTo>
                  <a:lnTo>
                    <a:pt x="2181" y="400"/>
                  </a:lnTo>
                  <a:lnTo>
                    <a:pt x="2186" y="402"/>
                  </a:lnTo>
                  <a:lnTo>
                    <a:pt x="2188" y="400"/>
                  </a:lnTo>
                  <a:lnTo>
                    <a:pt x="2188" y="398"/>
                  </a:lnTo>
                  <a:close/>
                  <a:moveTo>
                    <a:pt x="2562" y="2652"/>
                  </a:moveTo>
                  <a:lnTo>
                    <a:pt x="2563" y="2654"/>
                  </a:lnTo>
                  <a:lnTo>
                    <a:pt x="2560" y="2654"/>
                  </a:lnTo>
                  <a:lnTo>
                    <a:pt x="2558" y="2652"/>
                  </a:lnTo>
                  <a:lnTo>
                    <a:pt x="2562" y="2652"/>
                  </a:lnTo>
                  <a:close/>
                  <a:moveTo>
                    <a:pt x="2546" y="2647"/>
                  </a:moveTo>
                  <a:lnTo>
                    <a:pt x="2550" y="2647"/>
                  </a:lnTo>
                  <a:lnTo>
                    <a:pt x="2553" y="2651"/>
                  </a:lnTo>
                  <a:lnTo>
                    <a:pt x="2551" y="2656"/>
                  </a:lnTo>
                  <a:lnTo>
                    <a:pt x="2553" y="2656"/>
                  </a:lnTo>
                  <a:lnTo>
                    <a:pt x="2548" y="2656"/>
                  </a:lnTo>
                  <a:lnTo>
                    <a:pt x="2546" y="2659"/>
                  </a:lnTo>
                  <a:lnTo>
                    <a:pt x="2548" y="2659"/>
                  </a:lnTo>
                  <a:lnTo>
                    <a:pt x="2548" y="2661"/>
                  </a:lnTo>
                  <a:lnTo>
                    <a:pt x="2553" y="2663"/>
                  </a:lnTo>
                  <a:lnTo>
                    <a:pt x="2551" y="2663"/>
                  </a:lnTo>
                  <a:lnTo>
                    <a:pt x="2551" y="2666"/>
                  </a:lnTo>
                  <a:lnTo>
                    <a:pt x="2550" y="2668"/>
                  </a:lnTo>
                  <a:lnTo>
                    <a:pt x="2548" y="2668"/>
                  </a:lnTo>
                  <a:lnTo>
                    <a:pt x="2546" y="2663"/>
                  </a:lnTo>
                  <a:lnTo>
                    <a:pt x="2534" y="2666"/>
                  </a:lnTo>
                  <a:lnTo>
                    <a:pt x="2531" y="2663"/>
                  </a:lnTo>
                  <a:lnTo>
                    <a:pt x="2531" y="2661"/>
                  </a:lnTo>
                  <a:lnTo>
                    <a:pt x="2539" y="2654"/>
                  </a:lnTo>
                  <a:lnTo>
                    <a:pt x="2543" y="2646"/>
                  </a:lnTo>
                  <a:lnTo>
                    <a:pt x="2546" y="2647"/>
                  </a:lnTo>
                  <a:close/>
                  <a:moveTo>
                    <a:pt x="2568" y="2629"/>
                  </a:moveTo>
                  <a:lnTo>
                    <a:pt x="2570" y="2629"/>
                  </a:lnTo>
                  <a:lnTo>
                    <a:pt x="2572" y="2629"/>
                  </a:lnTo>
                  <a:lnTo>
                    <a:pt x="2568" y="2630"/>
                  </a:lnTo>
                  <a:lnTo>
                    <a:pt x="2568" y="2629"/>
                  </a:lnTo>
                  <a:close/>
                  <a:moveTo>
                    <a:pt x="2181" y="397"/>
                  </a:moveTo>
                  <a:lnTo>
                    <a:pt x="2184" y="398"/>
                  </a:lnTo>
                  <a:lnTo>
                    <a:pt x="2186" y="400"/>
                  </a:lnTo>
                  <a:lnTo>
                    <a:pt x="2181" y="400"/>
                  </a:lnTo>
                  <a:lnTo>
                    <a:pt x="2181" y="397"/>
                  </a:lnTo>
                  <a:close/>
                  <a:moveTo>
                    <a:pt x="2647" y="2588"/>
                  </a:moveTo>
                  <a:lnTo>
                    <a:pt x="2650" y="2589"/>
                  </a:lnTo>
                  <a:lnTo>
                    <a:pt x="2648" y="2589"/>
                  </a:lnTo>
                  <a:lnTo>
                    <a:pt x="2652" y="2591"/>
                  </a:lnTo>
                  <a:lnTo>
                    <a:pt x="2652" y="2593"/>
                  </a:lnTo>
                  <a:lnTo>
                    <a:pt x="2655" y="2591"/>
                  </a:lnTo>
                  <a:lnTo>
                    <a:pt x="2655" y="2594"/>
                  </a:lnTo>
                  <a:lnTo>
                    <a:pt x="2657" y="2593"/>
                  </a:lnTo>
                  <a:lnTo>
                    <a:pt x="2658" y="2596"/>
                  </a:lnTo>
                  <a:lnTo>
                    <a:pt x="2655" y="2596"/>
                  </a:lnTo>
                  <a:lnTo>
                    <a:pt x="2655" y="2594"/>
                  </a:lnTo>
                  <a:lnTo>
                    <a:pt x="2650" y="2596"/>
                  </a:lnTo>
                  <a:lnTo>
                    <a:pt x="2648" y="2598"/>
                  </a:lnTo>
                  <a:lnTo>
                    <a:pt x="2643" y="2598"/>
                  </a:lnTo>
                  <a:lnTo>
                    <a:pt x="2643" y="2596"/>
                  </a:lnTo>
                  <a:lnTo>
                    <a:pt x="2640" y="2596"/>
                  </a:lnTo>
                  <a:lnTo>
                    <a:pt x="2635" y="2601"/>
                  </a:lnTo>
                  <a:lnTo>
                    <a:pt x="2636" y="2596"/>
                  </a:lnTo>
                  <a:lnTo>
                    <a:pt x="2635" y="2598"/>
                  </a:lnTo>
                  <a:lnTo>
                    <a:pt x="2633" y="2596"/>
                  </a:lnTo>
                  <a:lnTo>
                    <a:pt x="2638" y="2594"/>
                  </a:lnTo>
                  <a:lnTo>
                    <a:pt x="2641" y="2591"/>
                  </a:lnTo>
                  <a:lnTo>
                    <a:pt x="2640" y="2591"/>
                  </a:lnTo>
                  <a:lnTo>
                    <a:pt x="2641" y="2593"/>
                  </a:lnTo>
                  <a:lnTo>
                    <a:pt x="2643" y="2591"/>
                  </a:lnTo>
                  <a:lnTo>
                    <a:pt x="2645" y="2589"/>
                  </a:lnTo>
                  <a:lnTo>
                    <a:pt x="2647" y="2588"/>
                  </a:lnTo>
                  <a:close/>
                  <a:moveTo>
                    <a:pt x="2635" y="2584"/>
                  </a:moveTo>
                  <a:lnTo>
                    <a:pt x="2636" y="2583"/>
                  </a:lnTo>
                  <a:lnTo>
                    <a:pt x="2636" y="2586"/>
                  </a:lnTo>
                  <a:lnTo>
                    <a:pt x="2635" y="2586"/>
                  </a:lnTo>
                  <a:lnTo>
                    <a:pt x="2635" y="2584"/>
                  </a:lnTo>
                  <a:lnTo>
                    <a:pt x="2633" y="2584"/>
                  </a:lnTo>
                  <a:lnTo>
                    <a:pt x="2635" y="2584"/>
                  </a:lnTo>
                  <a:close/>
                  <a:moveTo>
                    <a:pt x="2664" y="2579"/>
                  </a:moveTo>
                  <a:lnTo>
                    <a:pt x="2665" y="2579"/>
                  </a:lnTo>
                  <a:lnTo>
                    <a:pt x="2665" y="2581"/>
                  </a:lnTo>
                  <a:lnTo>
                    <a:pt x="2664" y="2581"/>
                  </a:lnTo>
                  <a:lnTo>
                    <a:pt x="2664" y="2579"/>
                  </a:lnTo>
                  <a:close/>
                  <a:moveTo>
                    <a:pt x="2674" y="2579"/>
                  </a:moveTo>
                  <a:lnTo>
                    <a:pt x="2675" y="2579"/>
                  </a:lnTo>
                  <a:lnTo>
                    <a:pt x="2675" y="2581"/>
                  </a:lnTo>
                  <a:lnTo>
                    <a:pt x="2674" y="2581"/>
                  </a:lnTo>
                  <a:lnTo>
                    <a:pt x="2674" y="2579"/>
                  </a:lnTo>
                  <a:close/>
                  <a:moveTo>
                    <a:pt x="2849" y="2579"/>
                  </a:moveTo>
                  <a:lnTo>
                    <a:pt x="2847" y="2581"/>
                  </a:lnTo>
                  <a:lnTo>
                    <a:pt x="2845" y="2579"/>
                  </a:lnTo>
                  <a:lnTo>
                    <a:pt x="2849" y="2577"/>
                  </a:lnTo>
                  <a:lnTo>
                    <a:pt x="2849" y="2579"/>
                  </a:lnTo>
                  <a:close/>
                  <a:moveTo>
                    <a:pt x="2681" y="2572"/>
                  </a:moveTo>
                  <a:lnTo>
                    <a:pt x="2679" y="2576"/>
                  </a:lnTo>
                  <a:lnTo>
                    <a:pt x="2677" y="2576"/>
                  </a:lnTo>
                  <a:lnTo>
                    <a:pt x="2675" y="2574"/>
                  </a:lnTo>
                  <a:lnTo>
                    <a:pt x="2681" y="2572"/>
                  </a:lnTo>
                  <a:close/>
                  <a:moveTo>
                    <a:pt x="2737" y="2566"/>
                  </a:moveTo>
                  <a:lnTo>
                    <a:pt x="2740" y="2566"/>
                  </a:lnTo>
                  <a:lnTo>
                    <a:pt x="2740" y="2569"/>
                  </a:lnTo>
                  <a:lnTo>
                    <a:pt x="2737" y="2569"/>
                  </a:lnTo>
                  <a:lnTo>
                    <a:pt x="2737" y="2566"/>
                  </a:lnTo>
                  <a:close/>
                  <a:moveTo>
                    <a:pt x="2743" y="2559"/>
                  </a:moveTo>
                  <a:lnTo>
                    <a:pt x="2745" y="2560"/>
                  </a:lnTo>
                  <a:lnTo>
                    <a:pt x="2743" y="2562"/>
                  </a:lnTo>
                  <a:lnTo>
                    <a:pt x="2743" y="2564"/>
                  </a:lnTo>
                  <a:lnTo>
                    <a:pt x="2740" y="2564"/>
                  </a:lnTo>
                  <a:lnTo>
                    <a:pt x="2737" y="2564"/>
                  </a:lnTo>
                  <a:lnTo>
                    <a:pt x="2735" y="2562"/>
                  </a:lnTo>
                  <a:lnTo>
                    <a:pt x="2738" y="2560"/>
                  </a:lnTo>
                  <a:lnTo>
                    <a:pt x="2742" y="2560"/>
                  </a:lnTo>
                  <a:lnTo>
                    <a:pt x="2743" y="2559"/>
                  </a:lnTo>
                  <a:close/>
                  <a:moveTo>
                    <a:pt x="2749" y="2557"/>
                  </a:moveTo>
                  <a:lnTo>
                    <a:pt x="2750" y="2557"/>
                  </a:lnTo>
                  <a:lnTo>
                    <a:pt x="2750" y="2559"/>
                  </a:lnTo>
                  <a:lnTo>
                    <a:pt x="2749" y="2559"/>
                  </a:lnTo>
                  <a:lnTo>
                    <a:pt x="2749" y="2557"/>
                  </a:lnTo>
                  <a:close/>
                  <a:moveTo>
                    <a:pt x="4005" y="2353"/>
                  </a:moveTo>
                  <a:lnTo>
                    <a:pt x="4003" y="2355"/>
                  </a:lnTo>
                  <a:lnTo>
                    <a:pt x="4001" y="2353"/>
                  </a:lnTo>
                  <a:lnTo>
                    <a:pt x="4001" y="2351"/>
                  </a:lnTo>
                  <a:lnTo>
                    <a:pt x="4005" y="2353"/>
                  </a:lnTo>
                  <a:close/>
                  <a:moveTo>
                    <a:pt x="2199" y="380"/>
                  </a:moveTo>
                  <a:lnTo>
                    <a:pt x="2198" y="383"/>
                  </a:lnTo>
                  <a:lnTo>
                    <a:pt x="2198" y="388"/>
                  </a:lnTo>
                  <a:lnTo>
                    <a:pt x="2198" y="390"/>
                  </a:lnTo>
                  <a:lnTo>
                    <a:pt x="2196" y="388"/>
                  </a:lnTo>
                  <a:lnTo>
                    <a:pt x="2196" y="392"/>
                  </a:lnTo>
                  <a:lnTo>
                    <a:pt x="2194" y="393"/>
                  </a:lnTo>
                  <a:lnTo>
                    <a:pt x="2186" y="397"/>
                  </a:lnTo>
                  <a:lnTo>
                    <a:pt x="2181" y="395"/>
                  </a:lnTo>
                  <a:lnTo>
                    <a:pt x="2184" y="388"/>
                  </a:lnTo>
                  <a:lnTo>
                    <a:pt x="2186" y="385"/>
                  </a:lnTo>
                  <a:lnTo>
                    <a:pt x="2194" y="383"/>
                  </a:lnTo>
                  <a:lnTo>
                    <a:pt x="2198" y="380"/>
                  </a:lnTo>
                  <a:lnTo>
                    <a:pt x="2199" y="380"/>
                  </a:lnTo>
                  <a:close/>
                  <a:moveTo>
                    <a:pt x="3189" y="1667"/>
                  </a:moveTo>
                  <a:lnTo>
                    <a:pt x="3191" y="1667"/>
                  </a:lnTo>
                  <a:lnTo>
                    <a:pt x="3191" y="1671"/>
                  </a:lnTo>
                  <a:lnTo>
                    <a:pt x="3189" y="1671"/>
                  </a:lnTo>
                  <a:lnTo>
                    <a:pt x="3189" y="1667"/>
                  </a:lnTo>
                  <a:close/>
                  <a:moveTo>
                    <a:pt x="3184" y="1652"/>
                  </a:moveTo>
                  <a:lnTo>
                    <a:pt x="3185" y="1652"/>
                  </a:lnTo>
                  <a:lnTo>
                    <a:pt x="3185" y="1654"/>
                  </a:lnTo>
                  <a:lnTo>
                    <a:pt x="3184" y="1654"/>
                  </a:lnTo>
                  <a:lnTo>
                    <a:pt x="3184" y="1652"/>
                  </a:lnTo>
                  <a:close/>
                  <a:moveTo>
                    <a:pt x="3204" y="1645"/>
                  </a:moveTo>
                  <a:lnTo>
                    <a:pt x="3204" y="1647"/>
                  </a:lnTo>
                  <a:lnTo>
                    <a:pt x="3202" y="1650"/>
                  </a:lnTo>
                  <a:lnTo>
                    <a:pt x="3201" y="1647"/>
                  </a:lnTo>
                  <a:lnTo>
                    <a:pt x="3204" y="1645"/>
                  </a:lnTo>
                  <a:close/>
                  <a:moveTo>
                    <a:pt x="3213" y="1644"/>
                  </a:moveTo>
                  <a:lnTo>
                    <a:pt x="3214" y="1645"/>
                  </a:lnTo>
                  <a:lnTo>
                    <a:pt x="3213" y="1649"/>
                  </a:lnTo>
                  <a:lnTo>
                    <a:pt x="3211" y="1645"/>
                  </a:lnTo>
                  <a:lnTo>
                    <a:pt x="3213" y="1644"/>
                  </a:lnTo>
                  <a:close/>
                  <a:moveTo>
                    <a:pt x="3204" y="1642"/>
                  </a:moveTo>
                  <a:lnTo>
                    <a:pt x="3208" y="1642"/>
                  </a:lnTo>
                  <a:lnTo>
                    <a:pt x="3206" y="1645"/>
                  </a:lnTo>
                  <a:lnTo>
                    <a:pt x="3204" y="1645"/>
                  </a:lnTo>
                  <a:lnTo>
                    <a:pt x="3204" y="1642"/>
                  </a:lnTo>
                  <a:close/>
                  <a:moveTo>
                    <a:pt x="3202" y="1640"/>
                  </a:moveTo>
                  <a:lnTo>
                    <a:pt x="3204" y="1640"/>
                  </a:lnTo>
                  <a:lnTo>
                    <a:pt x="3204" y="1642"/>
                  </a:lnTo>
                  <a:lnTo>
                    <a:pt x="3202" y="1642"/>
                  </a:lnTo>
                  <a:lnTo>
                    <a:pt x="3202" y="1640"/>
                  </a:lnTo>
                  <a:close/>
                  <a:moveTo>
                    <a:pt x="3196" y="1637"/>
                  </a:moveTo>
                  <a:lnTo>
                    <a:pt x="3197" y="1637"/>
                  </a:lnTo>
                  <a:lnTo>
                    <a:pt x="3197" y="1638"/>
                  </a:lnTo>
                  <a:lnTo>
                    <a:pt x="3196" y="1638"/>
                  </a:lnTo>
                  <a:lnTo>
                    <a:pt x="3196" y="1637"/>
                  </a:lnTo>
                  <a:close/>
                  <a:moveTo>
                    <a:pt x="2327" y="604"/>
                  </a:moveTo>
                  <a:lnTo>
                    <a:pt x="2327" y="606"/>
                  </a:lnTo>
                  <a:lnTo>
                    <a:pt x="2327" y="604"/>
                  </a:lnTo>
                  <a:close/>
                  <a:moveTo>
                    <a:pt x="2154" y="288"/>
                  </a:moveTo>
                  <a:lnTo>
                    <a:pt x="2157" y="293"/>
                  </a:lnTo>
                  <a:lnTo>
                    <a:pt x="2157" y="296"/>
                  </a:lnTo>
                  <a:lnTo>
                    <a:pt x="2162" y="303"/>
                  </a:lnTo>
                  <a:lnTo>
                    <a:pt x="2157" y="308"/>
                  </a:lnTo>
                  <a:lnTo>
                    <a:pt x="2150" y="310"/>
                  </a:lnTo>
                  <a:lnTo>
                    <a:pt x="2148" y="308"/>
                  </a:lnTo>
                  <a:lnTo>
                    <a:pt x="2145" y="298"/>
                  </a:lnTo>
                  <a:lnTo>
                    <a:pt x="2142" y="298"/>
                  </a:lnTo>
                  <a:lnTo>
                    <a:pt x="2142" y="295"/>
                  </a:lnTo>
                  <a:lnTo>
                    <a:pt x="2143" y="290"/>
                  </a:lnTo>
                  <a:lnTo>
                    <a:pt x="2147" y="290"/>
                  </a:lnTo>
                  <a:lnTo>
                    <a:pt x="2148" y="288"/>
                  </a:lnTo>
                  <a:lnTo>
                    <a:pt x="2154" y="288"/>
                  </a:lnTo>
                  <a:close/>
                  <a:moveTo>
                    <a:pt x="2123" y="286"/>
                  </a:moveTo>
                  <a:lnTo>
                    <a:pt x="2125" y="286"/>
                  </a:lnTo>
                  <a:lnTo>
                    <a:pt x="2125" y="288"/>
                  </a:lnTo>
                  <a:lnTo>
                    <a:pt x="2123" y="288"/>
                  </a:lnTo>
                  <a:lnTo>
                    <a:pt x="2123" y="286"/>
                  </a:lnTo>
                  <a:close/>
                  <a:moveTo>
                    <a:pt x="2191" y="398"/>
                  </a:moveTo>
                  <a:lnTo>
                    <a:pt x="2191" y="402"/>
                  </a:lnTo>
                  <a:lnTo>
                    <a:pt x="2191" y="398"/>
                  </a:lnTo>
                  <a:close/>
                  <a:moveTo>
                    <a:pt x="2291" y="623"/>
                  </a:moveTo>
                  <a:lnTo>
                    <a:pt x="2295" y="623"/>
                  </a:lnTo>
                  <a:lnTo>
                    <a:pt x="2295" y="626"/>
                  </a:lnTo>
                  <a:lnTo>
                    <a:pt x="2291" y="626"/>
                  </a:lnTo>
                  <a:lnTo>
                    <a:pt x="2291" y="623"/>
                  </a:lnTo>
                  <a:close/>
                  <a:moveTo>
                    <a:pt x="2288" y="637"/>
                  </a:moveTo>
                  <a:lnTo>
                    <a:pt x="2291" y="637"/>
                  </a:lnTo>
                  <a:lnTo>
                    <a:pt x="2291" y="638"/>
                  </a:lnTo>
                  <a:lnTo>
                    <a:pt x="2288" y="638"/>
                  </a:lnTo>
                  <a:lnTo>
                    <a:pt x="2288" y="637"/>
                  </a:lnTo>
                  <a:close/>
                  <a:moveTo>
                    <a:pt x="2291" y="635"/>
                  </a:moveTo>
                  <a:lnTo>
                    <a:pt x="2291" y="637"/>
                  </a:lnTo>
                  <a:lnTo>
                    <a:pt x="2291" y="635"/>
                  </a:lnTo>
                  <a:close/>
                  <a:moveTo>
                    <a:pt x="3792" y="830"/>
                  </a:moveTo>
                  <a:lnTo>
                    <a:pt x="3794" y="832"/>
                  </a:lnTo>
                  <a:lnTo>
                    <a:pt x="3791" y="834"/>
                  </a:lnTo>
                  <a:lnTo>
                    <a:pt x="3787" y="836"/>
                  </a:lnTo>
                  <a:lnTo>
                    <a:pt x="3785" y="834"/>
                  </a:lnTo>
                  <a:lnTo>
                    <a:pt x="3787" y="834"/>
                  </a:lnTo>
                  <a:lnTo>
                    <a:pt x="3789" y="832"/>
                  </a:lnTo>
                  <a:lnTo>
                    <a:pt x="3792" y="830"/>
                  </a:lnTo>
                  <a:close/>
                  <a:moveTo>
                    <a:pt x="2324" y="603"/>
                  </a:moveTo>
                  <a:lnTo>
                    <a:pt x="2324" y="606"/>
                  </a:lnTo>
                  <a:lnTo>
                    <a:pt x="2322" y="603"/>
                  </a:lnTo>
                  <a:lnTo>
                    <a:pt x="2324" y="601"/>
                  </a:lnTo>
                  <a:lnTo>
                    <a:pt x="2324" y="603"/>
                  </a:lnTo>
                  <a:close/>
                  <a:moveTo>
                    <a:pt x="2324" y="599"/>
                  </a:moveTo>
                  <a:lnTo>
                    <a:pt x="2325" y="599"/>
                  </a:lnTo>
                  <a:lnTo>
                    <a:pt x="2325" y="601"/>
                  </a:lnTo>
                  <a:lnTo>
                    <a:pt x="2324" y="601"/>
                  </a:lnTo>
                  <a:lnTo>
                    <a:pt x="2324" y="599"/>
                  </a:lnTo>
                  <a:close/>
                  <a:moveTo>
                    <a:pt x="2324" y="599"/>
                  </a:moveTo>
                  <a:lnTo>
                    <a:pt x="2322" y="597"/>
                  </a:lnTo>
                  <a:lnTo>
                    <a:pt x="2324" y="596"/>
                  </a:lnTo>
                  <a:lnTo>
                    <a:pt x="2324" y="599"/>
                  </a:lnTo>
                  <a:close/>
                  <a:moveTo>
                    <a:pt x="2325" y="594"/>
                  </a:moveTo>
                  <a:lnTo>
                    <a:pt x="2325" y="597"/>
                  </a:lnTo>
                  <a:lnTo>
                    <a:pt x="2325" y="594"/>
                  </a:lnTo>
                  <a:close/>
                  <a:moveTo>
                    <a:pt x="2325" y="592"/>
                  </a:moveTo>
                  <a:lnTo>
                    <a:pt x="2322" y="597"/>
                  </a:lnTo>
                  <a:lnTo>
                    <a:pt x="2322" y="592"/>
                  </a:lnTo>
                  <a:lnTo>
                    <a:pt x="2325" y="592"/>
                  </a:lnTo>
                  <a:close/>
                  <a:moveTo>
                    <a:pt x="2521" y="572"/>
                  </a:moveTo>
                  <a:lnTo>
                    <a:pt x="2521" y="574"/>
                  </a:lnTo>
                  <a:lnTo>
                    <a:pt x="2521" y="572"/>
                  </a:lnTo>
                  <a:close/>
                  <a:moveTo>
                    <a:pt x="2517" y="570"/>
                  </a:moveTo>
                  <a:lnTo>
                    <a:pt x="2516" y="570"/>
                  </a:lnTo>
                  <a:lnTo>
                    <a:pt x="2517" y="567"/>
                  </a:lnTo>
                  <a:lnTo>
                    <a:pt x="2519" y="567"/>
                  </a:lnTo>
                  <a:lnTo>
                    <a:pt x="2517" y="570"/>
                  </a:lnTo>
                  <a:close/>
                  <a:moveTo>
                    <a:pt x="2528" y="567"/>
                  </a:moveTo>
                  <a:lnTo>
                    <a:pt x="2526" y="572"/>
                  </a:lnTo>
                  <a:lnTo>
                    <a:pt x="2524" y="569"/>
                  </a:lnTo>
                  <a:lnTo>
                    <a:pt x="2526" y="567"/>
                  </a:lnTo>
                  <a:lnTo>
                    <a:pt x="2528" y="567"/>
                  </a:lnTo>
                  <a:close/>
                  <a:moveTo>
                    <a:pt x="2358" y="557"/>
                  </a:moveTo>
                  <a:lnTo>
                    <a:pt x="2359" y="557"/>
                  </a:lnTo>
                  <a:lnTo>
                    <a:pt x="2358" y="557"/>
                  </a:lnTo>
                  <a:close/>
                  <a:moveTo>
                    <a:pt x="2488" y="551"/>
                  </a:moveTo>
                  <a:lnTo>
                    <a:pt x="2490" y="551"/>
                  </a:lnTo>
                  <a:lnTo>
                    <a:pt x="2490" y="553"/>
                  </a:lnTo>
                  <a:lnTo>
                    <a:pt x="2488" y="553"/>
                  </a:lnTo>
                  <a:lnTo>
                    <a:pt x="2488" y="551"/>
                  </a:lnTo>
                  <a:close/>
                  <a:moveTo>
                    <a:pt x="2422" y="550"/>
                  </a:moveTo>
                  <a:lnTo>
                    <a:pt x="2420" y="548"/>
                  </a:lnTo>
                  <a:lnTo>
                    <a:pt x="2422" y="545"/>
                  </a:lnTo>
                  <a:lnTo>
                    <a:pt x="2424" y="548"/>
                  </a:lnTo>
                  <a:lnTo>
                    <a:pt x="2422" y="550"/>
                  </a:lnTo>
                  <a:close/>
                  <a:moveTo>
                    <a:pt x="2371" y="541"/>
                  </a:moveTo>
                  <a:lnTo>
                    <a:pt x="2371" y="543"/>
                  </a:lnTo>
                  <a:lnTo>
                    <a:pt x="2371" y="541"/>
                  </a:lnTo>
                  <a:close/>
                  <a:moveTo>
                    <a:pt x="2390" y="534"/>
                  </a:moveTo>
                  <a:lnTo>
                    <a:pt x="2390" y="533"/>
                  </a:lnTo>
                  <a:lnTo>
                    <a:pt x="2390" y="531"/>
                  </a:lnTo>
                  <a:lnTo>
                    <a:pt x="2392" y="533"/>
                  </a:lnTo>
                  <a:lnTo>
                    <a:pt x="2390" y="534"/>
                  </a:lnTo>
                  <a:close/>
                  <a:moveTo>
                    <a:pt x="2118" y="512"/>
                  </a:moveTo>
                  <a:lnTo>
                    <a:pt x="2108" y="514"/>
                  </a:lnTo>
                  <a:lnTo>
                    <a:pt x="2106" y="512"/>
                  </a:lnTo>
                  <a:lnTo>
                    <a:pt x="2121" y="500"/>
                  </a:lnTo>
                  <a:lnTo>
                    <a:pt x="2121" y="507"/>
                  </a:lnTo>
                  <a:lnTo>
                    <a:pt x="2118" y="512"/>
                  </a:lnTo>
                  <a:close/>
                  <a:moveTo>
                    <a:pt x="2283" y="497"/>
                  </a:moveTo>
                  <a:lnTo>
                    <a:pt x="2284" y="497"/>
                  </a:lnTo>
                  <a:lnTo>
                    <a:pt x="2284" y="499"/>
                  </a:lnTo>
                  <a:lnTo>
                    <a:pt x="2283" y="499"/>
                  </a:lnTo>
                  <a:lnTo>
                    <a:pt x="2283" y="497"/>
                  </a:lnTo>
                  <a:close/>
                  <a:moveTo>
                    <a:pt x="2303" y="495"/>
                  </a:moveTo>
                  <a:lnTo>
                    <a:pt x="2305" y="495"/>
                  </a:lnTo>
                  <a:lnTo>
                    <a:pt x="2305" y="497"/>
                  </a:lnTo>
                  <a:lnTo>
                    <a:pt x="2303" y="497"/>
                  </a:lnTo>
                  <a:lnTo>
                    <a:pt x="2303" y="495"/>
                  </a:lnTo>
                  <a:close/>
                  <a:moveTo>
                    <a:pt x="2293" y="499"/>
                  </a:moveTo>
                  <a:lnTo>
                    <a:pt x="2288" y="500"/>
                  </a:lnTo>
                  <a:lnTo>
                    <a:pt x="2286" y="500"/>
                  </a:lnTo>
                  <a:lnTo>
                    <a:pt x="2288" y="495"/>
                  </a:lnTo>
                  <a:lnTo>
                    <a:pt x="2291" y="495"/>
                  </a:lnTo>
                  <a:lnTo>
                    <a:pt x="2293" y="495"/>
                  </a:lnTo>
                  <a:lnTo>
                    <a:pt x="2293" y="497"/>
                  </a:lnTo>
                  <a:lnTo>
                    <a:pt x="2295" y="497"/>
                  </a:lnTo>
                  <a:lnTo>
                    <a:pt x="2293" y="499"/>
                  </a:lnTo>
                  <a:close/>
                  <a:moveTo>
                    <a:pt x="2267" y="494"/>
                  </a:moveTo>
                  <a:lnTo>
                    <a:pt x="2271" y="494"/>
                  </a:lnTo>
                  <a:lnTo>
                    <a:pt x="2271" y="495"/>
                  </a:lnTo>
                  <a:lnTo>
                    <a:pt x="2267" y="495"/>
                  </a:lnTo>
                  <a:lnTo>
                    <a:pt x="2267" y="494"/>
                  </a:lnTo>
                  <a:close/>
                  <a:moveTo>
                    <a:pt x="2157" y="483"/>
                  </a:moveTo>
                  <a:lnTo>
                    <a:pt x="2157" y="487"/>
                  </a:lnTo>
                  <a:lnTo>
                    <a:pt x="2150" y="487"/>
                  </a:lnTo>
                  <a:lnTo>
                    <a:pt x="2157" y="483"/>
                  </a:lnTo>
                  <a:close/>
                  <a:moveTo>
                    <a:pt x="2137" y="483"/>
                  </a:moveTo>
                  <a:lnTo>
                    <a:pt x="2138" y="485"/>
                  </a:lnTo>
                  <a:lnTo>
                    <a:pt x="2135" y="487"/>
                  </a:lnTo>
                  <a:lnTo>
                    <a:pt x="2133" y="483"/>
                  </a:lnTo>
                  <a:lnTo>
                    <a:pt x="2137" y="483"/>
                  </a:lnTo>
                  <a:close/>
                  <a:moveTo>
                    <a:pt x="2133" y="485"/>
                  </a:moveTo>
                  <a:lnTo>
                    <a:pt x="2131" y="482"/>
                  </a:lnTo>
                  <a:lnTo>
                    <a:pt x="2131" y="483"/>
                  </a:lnTo>
                  <a:lnTo>
                    <a:pt x="2133" y="485"/>
                  </a:lnTo>
                  <a:close/>
                  <a:moveTo>
                    <a:pt x="2137" y="482"/>
                  </a:moveTo>
                  <a:lnTo>
                    <a:pt x="2137" y="483"/>
                  </a:lnTo>
                  <a:lnTo>
                    <a:pt x="2131" y="480"/>
                  </a:lnTo>
                  <a:lnTo>
                    <a:pt x="2137" y="482"/>
                  </a:lnTo>
                  <a:close/>
                  <a:moveTo>
                    <a:pt x="2130" y="480"/>
                  </a:moveTo>
                  <a:lnTo>
                    <a:pt x="2126" y="480"/>
                  </a:lnTo>
                  <a:lnTo>
                    <a:pt x="2126" y="478"/>
                  </a:lnTo>
                  <a:lnTo>
                    <a:pt x="2130" y="480"/>
                  </a:lnTo>
                  <a:close/>
                  <a:moveTo>
                    <a:pt x="2121" y="477"/>
                  </a:moveTo>
                  <a:lnTo>
                    <a:pt x="2125" y="478"/>
                  </a:lnTo>
                  <a:lnTo>
                    <a:pt x="2125" y="480"/>
                  </a:lnTo>
                  <a:lnTo>
                    <a:pt x="2123" y="480"/>
                  </a:lnTo>
                  <a:lnTo>
                    <a:pt x="2111" y="483"/>
                  </a:lnTo>
                  <a:lnTo>
                    <a:pt x="2101" y="485"/>
                  </a:lnTo>
                  <a:lnTo>
                    <a:pt x="2103" y="482"/>
                  </a:lnTo>
                  <a:lnTo>
                    <a:pt x="2109" y="480"/>
                  </a:lnTo>
                  <a:lnTo>
                    <a:pt x="2113" y="478"/>
                  </a:lnTo>
                  <a:lnTo>
                    <a:pt x="2121" y="477"/>
                  </a:lnTo>
                  <a:close/>
                  <a:moveTo>
                    <a:pt x="2114" y="477"/>
                  </a:moveTo>
                  <a:lnTo>
                    <a:pt x="2116" y="477"/>
                  </a:lnTo>
                  <a:lnTo>
                    <a:pt x="2114" y="477"/>
                  </a:lnTo>
                  <a:close/>
                  <a:moveTo>
                    <a:pt x="2104" y="477"/>
                  </a:moveTo>
                  <a:lnTo>
                    <a:pt x="2108" y="477"/>
                  </a:lnTo>
                  <a:lnTo>
                    <a:pt x="2108" y="478"/>
                  </a:lnTo>
                  <a:lnTo>
                    <a:pt x="2104" y="478"/>
                  </a:lnTo>
                  <a:lnTo>
                    <a:pt x="2104" y="477"/>
                  </a:lnTo>
                  <a:close/>
                  <a:moveTo>
                    <a:pt x="2228" y="473"/>
                  </a:moveTo>
                  <a:lnTo>
                    <a:pt x="2242" y="473"/>
                  </a:lnTo>
                  <a:lnTo>
                    <a:pt x="2247" y="477"/>
                  </a:lnTo>
                  <a:lnTo>
                    <a:pt x="2247" y="478"/>
                  </a:lnTo>
                  <a:lnTo>
                    <a:pt x="2245" y="478"/>
                  </a:lnTo>
                  <a:lnTo>
                    <a:pt x="2249" y="480"/>
                  </a:lnTo>
                  <a:lnTo>
                    <a:pt x="2249" y="483"/>
                  </a:lnTo>
                  <a:lnTo>
                    <a:pt x="2245" y="487"/>
                  </a:lnTo>
                  <a:lnTo>
                    <a:pt x="2244" y="487"/>
                  </a:lnTo>
                  <a:lnTo>
                    <a:pt x="2242" y="490"/>
                  </a:lnTo>
                  <a:lnTo>
                    <a:pt x="2237" y="492"/>
                  </a:lnTo>
                  <a:lnTo>
                    <a:pt x="2220" y="494"/>
                  </a:lnTo>
                  <a:lnTo>
                    <a:pt x="2206" y="490"/>
                  </a:lnTo>
                  <a:lnTo>
                    <a:pt x="2206" y="489"/>
                  </a:lnTo>
                  <a:lnTo>
                    <a:pt x="2210" y="483"/>
                  </a:lnTo>
                  <a:lnTo>
                    <a:pt x="2222" y="475"/>
                  </a:lnTo>
                  <a:lnTo>
                    <a:pt x="2228" y="473"/>
                  </a:lnTo>
                  <a:close/>
                  <a:moveTo>
                    <a:pt x="2128" y="472"/>
                  </a:moveTo>
                  <a:lnTo>
                    <a:pt x="2130" y="472"/>
                  </a:lnTo>
                  <a:lnTo>
                    <a:pt x="2130" y="473"/>
                  </a:lnTo>
                  <a:lnTo>
                    <a:pt x="2128" y="473"/>
                  </a:lnTo>
                  <a:lnTo>
                    <a:pt x="2128" y="472"/>
                  </a:lnTo>
                  <a:close/>
                  <a:moveTo>
                    <a:pt x="2242" y="470"/>
                  </a:moveTo>
                  <a:lnTo>
                    <a:pt x="2240" y="472"/>
                  </a:lnTo>
                  <a:lnTo>
                    <a:pt x="2237" y="468"/>
                  </a:lnTo>
                  <a:lnTo>
                    <a:pt x="2242" y="470"/>
                  </a:lnTo>
                  <a:close/>
                  <a:moveTo>
                    <a:pt x="2215" y="473"/>
                  </a:moveTo>
                  <a:lnTo>
                    <a:pt x="2213" y="470"/>
                  </a:lnTo>
                  <a:lnTo>
                    <a:pt x="2215" y="468"/>
                  </a:lnTo>
                  <a:lnTo>
                    <a:pt x="2215" y="473"/>
                  </a:lnTo>
                  <a:close/>
                  <a:moveTo>
                    <a:pt x="2138" y="465"/>
                  </a:moveTo>
                  <a:lnTo>
                    <a:pt x="2143" y="465"/>
                  </a:lnTo>
                  <a:lnTo>
                    <a:pt x="2150" y="470"/>
                  </a:lnTo>
                  <a:lnTo>
                    <a:pt x="2150" y="477"/>
                  </a:lnTo>
                  <a:lnTo>
                    <a:pt x="2150" y="482"/>
                  </a:lnTo>
                  <a:lnTo>
                    <a:pt x="2145" y="483"/>
                  </a:lnTo>
                  <a:lnTo>
                    <a:pt x="2137" y="478"/>
                  </a:lnTo>
                  <a:lnTo>
                    <a:pt x="2133" y="475"/>
                  </a:lnTo>
                  <a:lnTo>
                    <a:pt x="2130" y="470"/>
                  </a:lnTo>
                  <a:lnTo>
                    <a:pt x="2131" y="465"/>
                  </a:lnTo>
                  <a:lnTo>
                    <a:pt x="2133" y="465"/>
                  </a:lnTo>
                  <a:lnTo>
                    <a:pt x="2135" y="463"/>
                  </a:lnTo>
                  <a:lnTo>
                    <a:pt x="2138" y="465"/>
                  </a:lnTo>
                  <a:close/>
                  <a:moveTo>
                    <a:pt x="2131" y="465"/>
                  </a:moveTo>
                  <a:lnTo>
                    <a:pt x="2135" y="465"/>
                  </a:lnTo>
                  <a:lnTo>
                    <a:pt x="2131" y="465"/>
                  </a:lnTo>
                  <a:close/>
                  <a:moveTo>
                    <a:pt x="2225" y="466"/>
                  </a:moveTo>
                  <a:lnTo>
                    <a:pt x="2222" y="466"/>
                  </a:lnTo>
                  <a:lnTo>
                    <a:pt x="2220" y="465"/>
                  </a:lnTo>
                  <a:lnTo>
                    <a:pt x="2223" y="463"/>
                  </a:lnTo>
                  <a:lnTo>
                    <a:pt x="2227" y="465"/>
                  </a:lnTo>
                  <a:lnTo>
                    <a:pt x="2225" y="466"/>
                  </a:lnTo>
                  <a:close/>
                  <a:moveTo>
                    <a:pt x="2225" y="463"/>
                  </a:moveTo>
                  <a:lnTo>
                    <a:pt x="2223" y="461"/>
                  </a:lnTo>
                  <a:lnTo>
                    <a:pt x="2227" y="460"/>
                  </a:lnTo>
                  <a:lnTo>
                    <a:pt x="2230" y="458"/>
                  </a:lnTo>
                  <a:lnTo>
                    <a:pt x="2228" y="461"/>
                  </a:lnTo>
                  <a:lnTo>
                    <a:pt x="2225" y="463"/>
                  </a:lnTo>
                  <a:close/>
                  <a:moveTo>
                    <a:pt x="2179" y="455"/>
                  </a:moveTo>
                  <a:lnTo>
                    <a:pt x="2181" y="455"/>
                  </a:lnTo>
                  <a:lnTo>
                    <a:pt x="2179" y="460"/>
                  </a:lnTo>
                  <a:lnTo>
                    <a:pt x="2172" y="460"/>
                  </a:lnTo>
                  <a:lnTo>
                    <a:pt x="2169" y="460"/>
                  </a:lnTo>
                  <a:lnTo>
                    <a:pt x="2172" y="455"/>
                  </a:lnTo>
                  <a:lnTo>
                    <a:pt x="2177" y="451"/>
                  </a:lnTo>
                  <a:lnTo>
                    <a:pt x="2182" y="451"/>
                  </a:lnTo>
                  <a:lnTo>
                    <a:pt x="2182" y="453"/>
                  </a:lnTo>
                  <a:lnTo>
                    <a:pt x="2179" y="455"/>
                  </a:lnTo>
                  <a:close/>
                  <a:moveTo>
                    <a:pt x="2228" y="446"/>
                  </a:moveTo>
                  <a:lnTo>
                    <a:pt x="2230" y="448"/>
                  </a:lnTo>
                  <a:lnTo>
                    <a:pt x="2232" y="449"/>
                  </a:lnTo>
                  <a:lnTo>
                    <a:pt x="2230" y="451"/>
                  </a:lnTo>
                  <a:lnTo>
                    <a:pt x="2232" y="455"/>
                  </a:lnTo>
                  <a:lnTo>
                    <a:pt x="2230" y="453"/>
                  </a:lnTo>
                  <a:lnTo>
                    <a:pt x="2232" y="455"/>
                  </a:lnTo>
                  <a:lnTo>
                    <a:pt x="2230" y="455"/>
                  </a:lnTo>
                  <a:lnTo>
                    <a:pt x="2228" y="453"/>
                  </a:lnTo>
                  <a:lnTo>
                    <a:pt x="2228" y="455"/>
                  </a:lnTo>
                  <a:lnTo>
                    <a:pt x="2223" y="458"/>
                  </a:lnTo>
                  <a:lnTo>
                    <a:pt x="2223" y="461"/>
                  </a:lnTo>
                  <a:lnTo>
                    <a:pt x="2216" y="465"/>
                  </a:lnTo>
                  <a:lnTo>
                    <a:pt x="2216" y="468"/>
                  </a:lnTo>
                  <a:lnTo>
                    <a:pt x="2213" y="468"/>
                  </a:lnTo>
                  <a:lnTo>
                    <a:pt x="2211" y="468"/>
                  </a:lnTo>
                  <a:lnTo>
                    <a:pt x="2203" y="480"/>
                  </a:lnTo>
                  <a:lnTo>
                    <a:pt x="2191" y="485"/>
                  </a:lnTo>
                  <a:lnTo>
                    <a:pt x="2189" y="485"/>
                  </a:lnTo>
                  <a:lnTo>
                    <a:pt x="2188" y="480"/>
                  </a:lnTo>
                  <a:lnTo>
                    <a:pt x="2184" y="478"/>
                  </a:lnTo>
                  <a:lnTo>
                    <a:pt x="2172" y="477"/>
                  </a:lnTo>
                  <a:lnTo>
                    <a:pt x="2162" y="478"/>
                  </a:lnTo>
                  <a:lnTo>
                    <a:pt x="2159" y="478"/>
                  </a:lnTo>
                  <a:lnTo>
                    <a:pt x="2155" y="468"/>
                  </a:lnTo>
                  <a:lnTo>
                    <a:pt x="2154" y="461"/>
                  </a:lnTo>
                  <a:lnTo>
                    <a:pt x="2162" y="461"/>
                  </a:lnTo>
                  <a:lnTo>
                    <a:pt x="2167" y="460"/>
                  </a:lnTo>
                  <a:lnTo>
                    <a:pt x="2172" y="461"/>
                  </a:lnTo>
                  <a:lnTo>
                    <a:pt x="2179" y="460"/>
                  </a:lnTo>
                  <a:lnTo>
                    <a:pt x="2182" y="458"/>
                  </a:lnTo>
                  <a:lnTo>
                    <a:pt x="2186" y="451"/>
                  </a:lnTo>
                  <a:lnTo>
                    <a:pt x="2191" y="453"/>
                  </a:lnTo>
                  <a:lnTo>
                    <a:pt x="2193" y="453"/>
                  </a:lnTo>
                  <a:lnTo>
                    <a:pt x="2194" y="455"/>
                  </a:lnTo>
                  <a:lnTo>
                    <a:pt x="2203" y="455"/>
                  </a:lnTo>
                  <a:lnTo>
                    <a:pt x="2216" y="448"/>
                  </a:lnTo>
                  <a:lnTo>
                    <a:pt x="2228" y="446"/>
                  </a:lnTo>
                  <a:close/>
                  <a:moveTo>
                    <a:pt x="2172" y="422"/>
                  </a:moveTo>
                  <a:lnTo>
                    <a:pt x="2174" y="422"/>
                  </a:lnTo>
                  <a:lnTo>
                    <a:pt x="2174" y="424"/>
                  </a:lnTo>
                  <a:lnTo>
                    <a:pt x="2172" y="424"/>
                  </a:lnTo>
                  <a:lnTo>
                    <a:pt x="2172" y="422"/>
                  </a:lnTo>
                  <a:close/>
                  <a:moveTo>
                    <a:pt x="2184" y="424"/>
                  </a:moveTo>
                  <a:lnTo>
                    <a:pt x="2186" y="429"/>
                  </a:lnTo>
                  <a:lnTo>
                    <a:pt x="2186" y="432"/>
                  </a:lnTo>
                  <a:lnTo>
                    <a:pt x="2182" y="436"/>
                  </a:lnTo>
                  <a:lnTo>
                    <a:pt x="2184" y="438"/>
                  </a:lnTo>
                  <a:lnTo>
                    <a:pt x="2181" y="438"/>
                  </a:lnTo>
                  <a:lnTo>
                    <a:pt x="2181" y="441"/>
                  </a:lnTo>
                  <a:lnTo>
                    <a:pt x="2177" y="441"/>
                  </a:lnTo>
                  <a:lnTo>
                    <a:pt x="2172" y="444"/>
                  </a:lnTo>
                  <a:lnTo>
                    <a:pt x="2171" y="444"/>
                  </a:lnTo>
                  <a:lnTo>
                    <a:pt x="2169" y="448"/>
                  </a:lnTo>
                  <a:lnTo>
                    <a:pt x="2167" y="449"/>
                  </a:lnTo>
                  <a:lnTo>
                    <a:pt x="2164" y="449"/>
                  </a:lnTo>
                  <a:lnTo>
                    <a:pt x="2162" y="441"/>
                  </a:lnTo>
                  <a:lnTo>
                    <a:pt x="2164" y="427"/>
                  </a:lnTo>
                  <a:lnTo>
                    <a:pt x="2165" y="429"/>
                  </a:lnTo>
                  <a:lnTo>
                    <a:pt x="2165" y="426"/>
                  </a:lnTo>
                  <a:lnTo>
                    <a:pt x="2167" y="426"/>
                  </a:lnTo>
                  <a:lnTo>
                    <a:pt x="2169" y="427"/>
                  </a:lnTo>
                  <a:lnTo>
                    <a:pt x="2172" y="426"/>
                  </a:lnTo>
                  <a:lnTo>
                    <a:pt x="2176" y="427"/>
                  </a:lnTo>
                  <a:lnTo>
                    <a:pt x="2177" y="426"/>
                  </a:lnTo>
                  <a:lnTo>
                    <a:pt x="2177" y="427"/>
                  </a:lnTo>
                  <a:lnTo>
                    <a:pt x="2179" y="424"/>
                  </a:lnTo>
                  <a:lnTo>
                    <a:pt x="2182" y="422"/>
                  </a:lnTo>
                  <a:lnTo>
                    <a:pt x="2184" y="424"/>
                  </a:lnTo>
                  <a:close/>
                  <a:moveTo>
                    <a:pt x="2160" y="424"/>
                  </a:moveTo>
                  <a:lnTo>
                    <a:pt x="2162" y="422"/>
                  </a:lnTo>
                  <a:lnTo>
                    <a:pt x="2164" y="424"/>
                  </a:lnTo>
                  <a:lnTo>
                    <a:pt x="2160" y="441"/>
                  </a:lnTo>
                  <a:lnTo>
                    <a:pt x="2162" y="443"/>
                  </a:lnTo>
                  <a:lnTo>
                    <a:pt x="2160" y="448"/>
                  </a:lnTo>
                  <a:lnTo>
                    <a:pt x="2164" y="453"/>
                  </a:lnTo>
                  <a:lnTo>
                    <a:pt x="2160" y="458"/>
                  </a:lnTo>
                  <a:lnTo>
                    <a:pt x="2152" y="460"/>
                  </a:lnTo>
                  <a:lnTo>
                    <a:pt x="2152" y="466"/>
                  </a:lnTo>
                  <a:lnTo>
                    <a:pt x="2143" y="463"/>
                  </a:lnTo>
                  <a:lnTo>
                    <a:pt x="2140" y="456"/>
                  </a:lnTo>
                  <a:lnTo>
                    <a:pt x="2143" y="456"/>
                  </a:lnTo>
                  <a:lnTo>
                    <a:pt x="2147" y="455"/>
                  </a:lnTo>
                  <a:lnTo>
                    <a:pt x="2152" y="441"/>
                  </a:lnTo>
                  <a:lnTo>
                    <a:pt x="2150" y="439"/>
                  </a:lnTo>
                  <a:lnTo>
                    <a:pt x="2154" y="429"/>
                  </a:lnTo>
                  <a:lnTo>
                    <a:pt x="2157" y="424"/>
                  </a:lnTo>
                  <a:lnTo>
                    <a:pt x="2159" y="424"/>
                  </a:lnTo>
                  <a:lnTo>
                    <a:pt x="2159" y="422"/>
                  </a:lnTo>
                  <a:lnTo>
                    <a:pt x="2160" y="424"/>
                  </a:lnTo>
                  <a:close/>
                  <a:moveTo>
                    <a:pt x="2165" y="422"/>
                  </a:moveTo>
                  <a:lnTo>
                    <a:pt x="2167" y="424"/>
                  </a:lnTo>
                  <a:lnTo>
                    <a:pt x="2164" y="426"/>
                  </a:lnTo>
                  <a:lnTo>
                    <a:pt x="2164" y="422"/>
                  </a:lnTo>
                  <a:lnTo>
                    <a:pt x="2165" y="422"/>
                  </a:lnTo>
                  <a:close/>
                  <a:moveTo>
                    <a:pt x="2143" y="281"/>
                  </a:moveTo>
                  <a:lnTo>
                    <a:pt x="2150" y="283"/>
                  </a:lnTo>
                  <a:lnTo>
                    <a:pt x="2152" y="284"/>
                  </a:lnTo>
                  <a:lnTo>
                    <a:pt x="2152" y="288"/>
                  </a:lnTo>
                  <a:lnTo>
                    <a:pt x="2148" y="288"/>
                  </a:lnTo>
                  <a:lnTo>
                    <a:pt x="2145" y="290"/>
                  </a:lnTo>
                  <a:lnTo>
                    <a:pt x="2143" y="290"/>
                  </a:lnTo>
                  <a:lnTo>
                    <a:pt x="2142" y="286"/>
                  </a:lnTo>
                  <a:lnTo>
                    <a:pt x="2140" y="284"/>
                  </a:lnTo>
                  <a:lnTo>
                    <a:pt x="2143" y="281"/>
                  </a:lnTo>
                  <a:close/>
                  <a:moveTo>
                    <a:pt x="2137" y="449"/>
                  </a:moveTo>
                  <a:lnTo>
                    <a:pt x="2138" y="451"/>
                  </a:lnTo>
                  <a:lnTo>
                    <a:pt x="2133" y="455"/>
                  </a:lnTo>
                  <a:lnTo>
                    <a:pt x="2137" y="449"/>
                  </a:lnTo>
                  <a:close/>
                  <a:moveTo>
                    <a:pt x="2675" y="769"/>
                  </a:moveTo>
                  <a:lnTo>
                    <a:pt x="2677" y="769"/>
                  </a:lnTo>
                  <a:lnTo>
                    <a:pt x="2677" y="771"/>
                  </a:lnTo>
                  <a:lnTo>
                    <a:pt x="2675" y="771"/>
                  </a:lnTo>
                  <a:lnTo>
                    <a:pt x="2675" y="769"/>
                  </a:lnTo>
                  <a:close/>
                  <a:moveTo>
                    <a:pt x="2165" y="402"/>
                  </a:moveTo>
                  <a:lnTo>
                    <a:pt x="2167" y="402"/>
                  </a:lnTo>
                  <a:lnTo>
                    <a:pt x="2167" y="404"/>
                  </a:lnTo>
                  <a:lnTo>
                    <a:pt x="2165" y="404"/>
                  </a:lnTo>
                  <a:lnTo>
                    <a:pt x="2165" y="402"/>
                  </a:lnTo>
                  <a:close/>
                  <a:moveTo>
                    <a:pt x="2179" y="395"/>
                  </a:moveTo>
                  <a:lnTo>
                    <a:pt x="2181" y="402"/>
                  </a:lnTo>
                  <a:lnTo>
                    <a:pt x="2174" y="398"/>
                  </a:lnTo>
                  <a:lnTo>
                    <a:pt x="2176" y="397"/>
                  </a:lnTo>
                  <a:lnTo>
                    <a:pt x="2179" y="395"/>
                  </a:lnTo>
                  <a:close/>
                  <a:moveTo>
                    <a:pt x="2675" y="747"/>
                  </a:moveTo>
                  <a:lnTo>
                    <a:pt x="2679" y="747"/>
                  </a:lnTo>
                  <a:lnTo>
                    <a:pt x="2679" y="749"/>
                  </a:lnTo>
                  <a:lnTo>
                    <a:pt x="2675" y="749"/>
                  </a:lnTo>
                  <a:lnTo>
                    <a:pt x="2675" y="747"/>
                  </a:lnTo>
                  <a:close/>
                  <a:moveTo>
                    <a:pt x="2896" y="734"/>
                  </a:moveTo>
                  <a:lnTo>
                    <a:pt x="2898" y="734"/>
                  </a:lnTo>
                  <a:lnTo>
                    <a:pt x="2898" y="735"/>
                  </a:lnTo>
                  <a:lnTo>
                    <a:pt x="2896" y="735"/>
                  </a:lnTo>
                  <a:lnTo>
                    <a:pt x="2896" y="734"/>
                  </a:lnTo>
                  <a:close/>
                  <a:moveTo>
                    <a:pt x="2692" y="730"/>
                  </a:moveTo>
                  <a:lnTo>
                    <a:pt x="2692" y="745"/>
                  </a:lnTo>
                  <a:lnTo>
                    <a:pt x="2691" y="749"/>
                  </a:lnTo>
                  <a:lnTo>
                    <a:pt x="2692" y="751"/>
                  </a:lnTo>
                  <a:lnTo>
                    <a:pt x="2684" y="757"/>
                  </a:lnTo>
                  <a:lnTo>
                    <a:pt x="2677" y="752"/>
                  </a:lnTo>
                  <a:lnTo>
                    <a:pt x="2681" y="751"/>
                  </a:lnTo>
                  <a:lnTo>
                    <a:pt x="2682" y="745"/>
                  </a:lnTo>
                  <a:lnTo>
                    <a:pt x="2682" y="737"/>
                  </a:lnTo>
                  <a:lnTo>
                    <a:pt x="2691" y="730"/>
                  </a:lnTo>
                  <a:lnTo>
                    <a:pt x="2692" y="730"/>
                  </a:lnTo>
                  <a:close/>
                  <a:moveTo>
                    <a:pt x="2902" y="728"/>
                  </a:moveTo>
                  <a:lnTo>
                    <a:pt x="2905" y="730"/>
                  </a:lnTo>
                  <a:lnTo>
                    <a:pt x="2908" y="732"/>
                  </a:lnTo>
                  <a:lnTo>
                    <a:pt x="2905" y="732"/>
                  </a:lnTo>
                  <a:lnTo>
                    <a:pt x="2903" y="734"/>
                  </a:lnTo>
                  <a:lnTo>
                    <a:pt x="2896" y="730"/>
                  </a:lnTo>
                  <a:lnTo>
                    <a:pt x="2895" y="728"/>
                  </a:lnTo>
                  <a:lnTo>
                    <a:pt x="2898" y="727"/>
                  </a:lnTo>
                  <a:lnTo>
                    <a:pt x="2902" y="728"/>
                  </a:lnTo>
                  <a:close/>
                  <a:moveTo>
                    <a:pt x="2900" y="727"/>
                  </a:moveTo>
                  <a:lnTo>
                    <a:pt x="2913" y="727"/>
                  </a:lnTo>
                  <a:lnTo>
                    <a:pt x="2917" y="734"/>
                  </a:lnTo>
                  <a:lnTo>
                    <a:pt x="2915" y="735"/>
                  </a:lnTo>
                  <a:lnTo>
                    <a:pt x="2912" y="734"/>
                  </a:lnTo>
                  <a:lnTo>
                    <a:pt x="2908" y="730"/>
                  </a:lnTo>
                  <a:lnTo>
                    <a:pt x="2900" y="727"/>
                  </a:lnTo>
                  <a:lnTo>
                    <a:pt x="2898" y="727"/>
                  </a:lnTo>
                  <a:lnTo>
                    <a:pt x="2900" y="727"/>
                  </a:lnTo>
                  <a:close/>
                  <a:moveTo>
                    <a:pt x="2694" y="703"/>
                  </a:moveTo>
                  <a:lnTo>
                    <a:pt x="2696" y="703"/>
                  </a:lnTo>
                  <a:lnTo>
                    <a:pt x="2696" y="705"/>
                  </a:lnTo>
                  <a:lnTo>
                    <a:pt x="2691" y="711"/>
                  </a:lnTo>
                  <a:lnTo>
                    <a:pt x="2689" y="708"/>
                  </a:lnTo>
                  <a:lnTo>
                    <a:pt x="2691" y="706"/>
                  </a:lnTo>
                  <a:lnTo>
                    <a:pt x="2691" y="703"/>
                  </a:lnTo>
                  <a:lnTo>
                    <a:pt x="2694" y="703"/>
                  </a:lnTo>
                  <a:close/>
                  <a:moveTo>
                    <a:pt x="2779" y="698"/>
                  </a:moveTo>
                  <a:lnTo>
                    <a:pt x="2783" y="698"/>
                  </a:lnTo>
                  <a:lnTo>
                    <a:pt x="2783" y="701"/>
                  </a:lnTo>
                  <a:lnTo>
                    <a:pt x="2779" y="701"/>
                  </a:lnTo>
                  <a:lnTo>
                    <a:pt x="2779" y="698"/>
                  </a:lnTo>
                  <a:close/>
                  <a:moveTo>
                    <a:pt x="2759" y="698"/>
                  </a:moveTo>
                  <a:lnTo>
                    <a:pt x="2755" y="701"/>
                  </a:lnTo>
                  <a:lnTo>
                    <a:pt x="2755" y="698"/>
                  </a:lnTo>
                  <a:lnTo>
                    <a:pt x="2759" y="698"/>
                  </a:lnTo>
                  <a:close/>
                  <a:moveTo>
                    <a:pt x="2777" y="696"/>
                  </a:moveTo>
                  <a:lnTo>
                    <a:pt x="2779" y="698"/>
                  </a:lnTo>
                  <a:lnTo>
                    <a:pt x="2777" y="701"/>
                  </a:lnTo>
                  <a:lnTo>
                    <a:pt x="2774" y="701"/>
                  </a:lnTo>
                  <a:lnTo>
                    <a:pt x="2772" y="698"/>
                  </a:lnTo>
                  <a:lnTo>
                    <a:pt x="2777" y="696"/>
                  </a:lnTo>
                  <a:close/>
                  <a:moveTo>
                    <a:pt x="2769" y="689"/>
                  </a:moveTo>
                  <a:lnTo>
                    <a:pt x="2771" y="689"/>
                  </a:lnTo>
                  <a:lnTo>
                    <a:pt x="2771" y="691"/>
                  </a:lnTo>
                  <a:lnTo>
                    <a:pt x="2769" y="691"/>
                  </a:lnTo>
                  <a:lnTo>
                    <a:pt x="2769" y="689"/>
                  </a:lnTo>
                  <a:close/>
                  <a:moveTo>
                    <a:pt x="2669" y="635"/>
                  </a:moveTo>
                  <a:lnTo>
                    <a:pt x="2670" y="635"/>
                  </a:lnTo>
                  <a:lnTo>
                    <a:pt x="2670" y="637"/>
                  </a:lnTo>
                  <a:lnTo>
                    <a:pt x="2669" y="637"/>
                  </a:lnTo>
                  <a:lnTo>
                    <a:pt x="2669" y="635"/>
                  </a:lnTo>
                  <a:close/>
                  <a:moveTo>
                    <a:pt x="2669" y="631"/>
                  </a:moveTo>
                  <a:lnTo>
                    <a:pt x="2670" y="631"/>
                  </a:lnTo>
                  <a:lnTo>
                    <a:pt x="2670" y="633"/>
                  </a:lnTo>
                  <a:lnTo>
                    <a:pt x="2669" y="633"/>
                  </a:lnTo>
                  <a:lnTo>
                    <a:pt x="2669" y="631"/>
                  </a:lnTo>
                  <a:close/>
                  <a:moveTo>
                    <a:pt x="2624" y="631"/>
                  </a:moveTo>
                  <a:lnTo>
                    <a:pt x="2624" y="633"/>
                  </a:lnTo>
                  <a:lnTo>
                    <a:pt x="2621" y="635"/>
                  </a:lnTo>
                  <a:lnTo>
                    <a:pt x="2621" y="638"/>
                  </a:lnTo>
                  <a:lnTo>
                    <a:pt x="2619" y="638"/>
                  </a:lnTo>
                  <a:lnTo>
                    <a:pt x="2618" y="631"/>
                  </a:lnTo>
                  <a:lnTo>
                    <a:pt x="2621" y="631"/>
                  </a:lnTo>
                  <a:lnTo>
                    <a:pt x="2623" y="630"/>
                  </a:lnTo>
                  <a:lnTo>
                    <a:pt x="2624" y="631"/>
                  </a:lnTo>
                  <a:close/>
                  <a:moveTo>
                    <a:pt x="2621" y="626"/>
                  </a:moveTo>
                  <a:lnTo>
                    <a:pt x="2623" y="630"/>
                  </a:lnTo>
                  <a:lnTo>
                    <a:pt x="2621" y="631"/>
                  </a:lnTo>
                  <a:lnTo>
                    <a:pt x="2619" y="631"/>
                  </a:lnTo>
                  <a:lnTo>
                    <a:pt x="2618" y="631"/>
                  </a:lnTo>
                  <a:lnTo>
                    <a:pt x="2619" y="638"/>
                  </a:lnTo>
                  <a:lnTo>
                    <a:pt x="2616" y="640"/>
                  </a:lnTo>
                  <a:lnTo>
                    <a:pt x="2614" y="637"/>
                  </a:lnTo>
                  <a:lnTo>
                    <a:pt x="2618" y="626"/>
                  </a:lnTo>
                  <a:lnTo>
                    <a:pt x="2621" y="626"/>
                  </a:lnTo>
                  <a:close/>
                  <a:moveTo>
                    <a:pt x="2669" y="625"/>
                  </a:moveTo>
                  <a:lnTo>
                    <a:pt x="2669" y="621"/>
                  </a:lnTo>
                  <a:lnTo>
                    <a:pt x="2670" y="621"/>
                  </a:lnTo>
                  <a:lnTo>
                    <a:pt x="2670" y="623"/>
                  </a:lnTo>
                  <a:lnTo>
                    <a:pt x="2669" y="625"/>
                  </a:lnTo>
                  <a:close/>
                  <a:moveTo>
                    <a:pt x="2664" y="620"/>
                  </a:moveTo>
                  <a:lnTo>
                    <a:pt x="2662" y="621"/>
                  </a:lnTo>
                  <a:lnTo>
                    <a:pt x="2665" y="621"/>
                  </a:lnTo>
                  <a:lnTo>
                    <a:pt x="2664" y="623"/>
                  </a:lnTo>
                  <a:lnTo>
                    <a:pt x="2662" y="621"/>
                  </a:lnTo>
                  <a:lnTo>
                    <a:pt x="2665" y="616"/>
                  </a:lnTo>
                  <a:lnTo>
                    <a:pt x="2667" y="616"/>
                  </a:lnTo>
                  <a:lnTo>
                    <a:pt x="2664" y="620"/>
                  </a:lnTo>
                  <a:close/>
                  <a:moveTo>
                    <a:pt x="2669" y="620"/>
                  </a:moveTo>
                  <a:lnTo>
                    <a:pt x="2665" y="620"/>
                  </a:lnTo>
                  <a:lnTo>
                    <a:pt x="2667" y="616"/>
                  </a:lnTo>
                  <a:lnTo>
                    <a:pt x="2665" y="614"/>
                  </a:lnTo>
                  <a:lnTo>
                    <a:pt x="2669" y="614"/>
                  </a:lnTo>
                  <a:lnTo>
                    <a:pt x="2669" y="620"/>
                  </a:lnTo>
                  <a:close/>
                  <a:moveTo>
                    <a:pt x="2638" y="611"/>
                  </a:moveTo>
                  <a:lnTo>
                    <a:pt x="2640" y="611"/>
                  </a:lnTo>
                  <a:lnTo>
                    <a:pt x="2640" y="614"/>
                  </a:lnTo>
                  <a:lnTo>
                    <a:pt x="2638" y="614"/>
                  </a:lnTo>
                  <a:lnTo>
                    <a:pt x="2638" y="611"/>
                  </a:lnTo>
                  <a:close/>
                  <a:moveTo>
                    <a:pt x="2638" y="611"/>
                  </a:moveTo>
                  <a:lnTo>
                    <a:pt x="2638" y="613"/>
                  </a:lnTo>
                  <a:lnTo>
                    <a:pt x="2638" y="611"/>
                  </a:lnTo>
                  <a:close/>
                  <a:moveTo>
                    <a:pt x="2636" y="614"/>
                  </a:moveTo>
                  <a:lnTo>
                    <a:pt x="2635" y="614"/>
                  </a:lnTo>
                  <a:lnTo>
                    <a:pt x="2636" y="611"/>
                  </a:lnTo>
                  <a:lnTo>
                    <a:pt x="2636" y="614"/>
                  </a:lnTo>
                  <a:close/>
                  <a:moveTo>
                    <a:pt x="2607" y="609"/>
                  </a:moveTo>
                  <a:lnTo>
                    <a:pt x="2609" y="609"/>
                  </a:lnTo>
                  <a:lnTo>
                    <a:pt x="2609" y="611"/>
                  </a:lnTo>
                  <a:lnTo>
                    <a:pt x="2607" y="611"/>
                  </a:lnTo>
                  <a:lnTo>
                    <a:pt x="2607" y="609"/>
                  </a:lnTo>
                  <a:close/>
                  <a:moveTo>
                    <a:pt x="2636" y="611"/>
                  </a:moveTo>
                  <a:lnTo>
                    <a:pt x="2640" y="606"/>
                  </a:lnTo>
                  <a:lnTo>
                    <a:pt x="2636" y="611"/>
                  </a:lnTo>
                  <a:close/>
                  <a:moveTo>
                    <a:pt x="2636" y="609"/>
                  </a:moveTo>
                  <a:lnTo>
                    <a:pt x="2635" y="608"/>
                  </a:lnTo>
                  <a:lnTo>
                    <a:pt x="2636" y="606"/>
                  </a:lnTo>
                  <a:lnTo>
                    <a:pt x="2638" y="608"/>
                  </a:lnTo>
                  <a:lnTo>
                    <a:pt x="2636" y="609"/>
                  </a:lnTo>
                  <a:close/>
                  <a:moveTo>
                    <a:pt x="2641" y="606"/>
                  </a:moveTo>
                  <a:lnTo>
                    <a:pt x="2643" y="606"/>
                  </a:lnTo>
                  <a:lnTo>
                    <a:pt x="2643" y="609"/>
                  </a:lnTo>
                  <a:lnTo>
                    <a:pt x="2641" y="609"/>
                  </a:lnTo>
                  <a:lnTo>
                    <a:pt x="2641" y="606"/>
                  </a:lnTo>
                  <a:close/>
                  <a:moveTo>
                    <a:pt x="2655" y="603"/>
                  </a:moveTo>
                  <a:lnTo>
                    <a:pt x="2657" y="603"/>
                  </a:lnTo>
                  <a:lnTo>
                    <a:pt x="2657" y="604"/>
                  </a:lnTo>
                  <a:lnTo>
                    <a:pt x="2655" y="604"/>
                  </a:lnTo>
                  <a:lnTo>
                    <a:pt x="2655" y="603"/>
                  </a:lnTo>
                  <a:close/>
                  <a:moveTo>
                    <a:pt x="2596" y="601"/>
                  </a:moveTo>
                  <a:lnTo>
                    <a:pt x="2597" y="601"/>
                  </a:lnTo>
                  <a:lnTo>
                    <a:pt x="2597" y="603"/>
                  </a:lnTo>
                  <a:lnTo>
                    <a:pt x="2596" y="603"/>
                  </a:lnTo>
                  <a:lnTo>
                    <a:pt x="2596" y="601"/>
                  </a:lnTo>
                  <a:close/>
                  <a:moveTo>
                    <a:pt x="2594" y="597"/>
                  </a:moveTo>
                  <a:lnTo>
                    <a:pt x="2597" y="597"/>
                  </a:lnTo>
                  <a:lnTo>
                    <a:pt x="2597" y="599"/>
                  </a:lnTo>
                  <a:lnTo>
                    <a:pt x="2594" y="599"/>
                  </a:lnTo>
                  <a:lnTo>
                    <a:pt x="2594" y="597"/>
                  </a:lnTo>
                  <a:close/>
                  <a:moveTo>
                    <a:pt x="2650" y="597"/>
                  </a:moveTo>
                  <a:lnTo>
                    <a:pt x="2653" y="597"/>
                  </a:lnTo>
                  <a:lnTo>
                    <a:pt x="2657" y="599"/>
                  </a:lnTo>
                  <a:lnTo>
                    <a:pt x="2657" y="601"/>
                  </a:lnTo>
                  <a:lnTo>
                    <a:pt x="2655" y="599"/>
                  </a:lnTo>
                  <a:lnTo>
                    <a:pt x="2655" y="603"/>
                  </a:lnTo>
                  <a:lnTo>
                    <a:pt x="2653" y="601"/>
                  </a:lnTo>
                  <a:lnTo>
                    <a:pt x="2655" y="603"/>
                  </a:lnTo>
                  <a:lnTo>
                    <a:pt x="2648" y="608"/>
                  </a:lnTo>
                  <a:lnTo>
                    <a:pt x="2645" y="609"/>
                  </a:lnTo>
                  <a:lnTo>
                    <a:pt x="2645" y="608"/>
                  </a:lnTo>
                  <a:lnTo>
                    <a:pt x="2645" y="604"/>
                  </a:lnTo>
                  <a:lnTo>
                    <a:pt x="2643" y="603"/>
                  </a:lnTo>
                  <a:lnTo>
                    <a:pt x="2648" y="603"/>
                  </a:lnTo>
                  <a:lnTo>
                    <a:pt x="2648" y="601"/>
                  </a:lnTo>
                  <a:lnTo>
                    <a:pt x="2647" y="599"/>
                  </a:lnTo>
                  <a:lnTo>
                    <a:pt x="2648" y="596"/>
                  </a:lnTo>
                  <a:lnTo>
                    <a:pt x="2650" y="597"/>
                  </a:lnTo>
                  <a:close/>
                  <a:moveTo>
                    <a:pt x="2558" y="591"/>
                  </a:moveTo>
                  <a:lnTo>
                    <a:pt x="2560" y="591"/>
                  </a:lnTo>
                  <a:lnTo>
                    <a:pt x="2560" y="594"/>
                  </a:lnTo>
                  <a:lnTo>
                    <a:pt x="2558" y="594"/>
                  </a:lnTo>
                  <a:lnTo>
                    <a:pt x="2558" y="591"/>
                  </a:lnTo>
                  <a:close/>
                  <a:moveTo>
                    <a:pt x="2597" y="592"/>
                  </a:moveTo>
                  <a:lnTo>
                    <a:pt x="2592" y="594"/>
                  </a:lnTo>
                  <a:lnTo>
                    <a:pt x="2594" y="589"/>
                  </a:lnTo>
                  <a:lnTo>
                    <a:pt x="2597" y="592"/>
                  </a:lnTo>
                  <a:close/>
                  <a:moveTo>
                    <a:pt x="2584" y="591"/>
                  </a:moveTo>
                  <a:lnTo>
                    <a:pt x="2585" y="594"/>
                  </a:lnTo>
                  <a:lnTo>
                    <a:pt x="2584" y="596"/>
                  </a:lnTo>
                  <a:lnTo>
                    <a:pt x="2582" y="592"/>
                  </a:lnTo>
                  <a:lnTo>
                    <a:pt x="2582" y="589"/>
                  </a:lnTo>
                  <a:lnTo>
                    <a:pt x="2584" y="591"/>
                  </a:lnTo>
                  <a:close/>
                  <a:moveTo>
                    <a:pt x="2573" y="589"/>
                  </a:moveTo>
                  <a:lnTo>
                    <a:pt x="2575" y="591"/>
                  </a:lnTo>
                  <a:lnTo>
                    <a:pt x="2573" y="592"/>
                  </a:lnTo>
                  <a:lnTo>
                    <a:pt x="2572" y="591"/>
                  </a:lnTo>
                  <a:lnTo>
                    <a:pt x="2573" y="589"/>
                  </a:lnTo>
                  <a:close/>
                  <a:moveTo>
                    <a:pt x="2558" y="587"/>
                  </a:moveTo>
                  <a:lnTo>
                    <a:pt x="2558" y="591"/>
                  </a:lnTo>
                  <a:lnTo>
                    <a:pt x="2553" y="589"/>
                  </a:lnTo>
                  <a:lnTo>
                    <a:pt x="2556" y="586"/>
                  </a:lnTo>
                  <a:lnTo>
                    <a:pt x="2560" y="586"/>
                  </a:lnTo>
                  <a:lnTo>
                    <a:pt x="2558" y="587"/>
                  </a:lnTo>
                  <a:close/>
                  <a:moveTo>
                    <a:pt x="2590" y="587"/>
                  </a:moveTo>
                  <a:lnTo>
                    <a:pt x="2587" y="592"/>
                  </a:lnTo>
                  <a:lnTo>
                    <a:pt x="2589" y="596"/>
                  </a:lnTo>
                  <a:lnTo>
                    <a:pt x="2587" y="599"/>
                  </a:lnTo>
                  <a:lnTo>
                    <a:pt x="2589" y="603"/>
                  </a:lnTo>
                  <a:lnTo>
                    <a:pt x="2587" y="604"/>
                  </a:lnTo>
                  <a:lnTo>
                    <a:pt x="2582" y="606"/>
                  </a:lnTo>
                  <a:lnTo>
                    <a:pt x="2584" y="604"/>
                  </a:lnTo>
                  <a:lnTo>
                    <a:pt x="2582" y="601"/>
                  </a:lnTo>
                  <a:lnTo>
                    <a:pt x="2584" y="597"/>
                  </a:lnTo>
                  <a:lnTo>
                    <a:pt x="2585" y="596"/>
                  </a:lnTo>
                  <a:lnTo>
                    <a:pt x="2585" y="597"/>
                  </a:lnTo>
                  <a:lnTo>
                    <a:pt x="2587" y="596"/>
                  </a:lnTo>
                  <a:lnTo>
                    <a:pt x="2587" y="591"/>
                  </a:lnTo>
                  <a:lnTo>
                    <a:pt x="2589" y="584"/>
                  </a:lnTo>
                  <a:lnTo>
                    <a:pt x="2590" y="584"/>
                  </a:lnTo>
                  <a:lnTo>
                    <a:pt x="2590" y="587"/>
                  </a:lnTo>
                  <a:close/>
                  <a:moveTo>
                    <a:pt x="2570" y="584"/>
                  </a:moveTo>
                  <a:lnTo>
                    <a:pt x="2573" y="584"/>
                  </a:lnTo>
                  <a:lnTo>
                    <a:pt x="2573" y="586"/>
                  </a:lnTo>
                  <a:lnTo>
                    <a:pt x="2570" y="586"/>
                  </a:lnTo>
                  <a:lnTo>
                    <a:pt x="2570" y="584"/>
                  </a:lnTo>
                  <a:close/>
                </a:path>
              </a:pathLst>
            </a:custGeom>
            <a:solidFill>
              <a:schemeClr val="accent1"/>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
        <p:nvSpPr>
          <p:cNvPr id="4" name="Rectangle 5">
            <a:extLst>
              <a:ext uri="{FF2B5EF4-FFF2-40B4-BE49-F238E27FC236}">
                <a16:creationId xmlns:a16="http://schemas.microsoft.com/office/drawing/2014/main" id="{18C89DB0-878D-FFE4-29D4-9099729BAA00}"/>
              </a:ext>
            </a:extLst>
          </p:cNvPr>
          <p:cNvSpPr txBox="1">
            <a:spLocks/>
          </p:cNvSpPr>
          <p:nvPr>
            <p:custDataLst>
              <p:tags r:id="rId8"/>
            </p:custDataLst>
          </p:nvPr>
        </p:nvSpPr>
        <p:spPr>
          <a:xfrm>
            <a:off x="346074" y="5064759"/>
            <a:ext cx="5524265" cy="1296355"/>
          </a:xfrm>
          <a:prstGeom prst="rect">
            <a:avLst/>
          </a:prstGeom>
          <a:noFill/>
          <a:ln w="6350">
            <a:solidFill>
              <a:schemeClr val="accent1"/>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C9A319"/>
              </a:buClr>
              <a:buSzTx/>
              <a:buFontTx/>
              <a:buNone/>
              <a:tabLst/>
              <a:defRPr/>
            </a:pPr>
            <a:endParaRPr kumimoji="0" lang="en-CA" sz="1200" b="0" i="0" u="none" strike="noStrike" kern="1200" cap="none" spc="0" normalizeH="0" baseline="0" noProof="0" dirty="0">
              <a:ln>
                <a:noFill/>
              </a:ln>
              <a:solidFill>
                <a:srgbClr val="FF0000"/>
              </a:solidFill>
              <a:effectLst/>
              <a:uLnTx/>
              <a:uFillTx/>
              <a:latin typeface="Calibri" panose="020F0502020204030204" pitchFamily="34" charset="0"/>
              <a:ea typeface="ＭＳ Ｐゴシック"/>
              <a:cs typeface="Calibri" panose="020F0502020204030204" pitchFamily="34" charset="0"/>
            </a:endParaRPr>
          </a:p>
        </p:txBody>
      </p:sp>
      <p:sp>
        <p:nvSpPr>
          <p:cNvPr id="9" name="Rectangle 5">
            <a:extLst>
              <a:ext uri="{FF2B5EF4-FFF2-40B4-BE49-F238E27FC236}">
                <a16:creationId xmlns:a16="http://schemas.microsoft.com/office/drawing/2014/main" id="{9CC717D2-F54E-DE23-6B20-6378BC00F840}"/>
              </a:ext>
            </a:extLst>
          </p:cNvPr>
          <p:cNvSpPr txBox="1">
            <a:spLocks/>
          </p:cNvSpPr>
          <p:nvPr>
            <p:custDataLst>
              <p:tags r:id="rId9"/>
            </p:custDataLst>
          </p:nvPr>
        </p:nvSpPr>
        <p:spPr>
          <a:xfrm>
            <a:off x="6197600" y="5064759"/>
            <a:ext cx="5689601" cy="1296355"/>
          </a:xfrm>
          <a:prstGeom prst="rect">
            <a:avLst/>
          </a:prstGeom>
          <a:noFill/>
          <a:ln w="6350">
            <a:solidFill>
              <a:schemeClr val="accent1"/>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C9A319"/>
              </a:buClr>
              <a:buSzTx/>
              <a:buFontTx/>
              <a:buNone/>
              <a:tabLst/>
              <a:defRPr/>
            </a:pPr>
            <a:endParaRPr kumimoji="0" lang="en-CA" sz="1200" b="0" i="0" u="none" strike="noStrike" kern="1200" cap="none" spc="0" normalizeH="0" baseline="0" noProof="0" dirty="0">
              <a:ln>
                <a:noFill/>
              </a:ln>
              <a:solidFill>
                <a:srgbClr val="FF0000"/>
              </a:solidFill>
              <a:effectLst/>
              <a:uLnTx/>
              <a:uFillTx/>
              <a:latin typeface="Calibri" panose="020F0502020204030204" pitchFamily="34" charset="0"/>
              <a:ea typeface="ＭＳ Ｐゴシック"/>
              <a:cs typeface="Calibri" panose="020F0502020204030204" pitchFamily="34" charset="0"/>
            </a:endParaRPr>
          </a:p>
        </p:txBody>
      </p:sp>
      <p:sp>
        <p:nvSpPr>
          <p:cNvPr id="10" name="AutoShape 250">
            <a:extLst>
              <a:ext uri="{FF2B5EF4-FFF2-40B4-BE49-F238E27FC236}">
                <a16:creationId xmlns:a16="http://schemas.microsoft.com/office/drawing/2014/main" id="{05119A4F-7C11-9FEE-34F2-112D0C75F132}"/>
              </a:ext>
            </a:extLst>
          </p:cNvPr>
          <p:cNvSpPr>
            <a:spLocks noChangeArrowheads="1"/>
          </p:cNvSpPr>
          <p:nvPr/>
        </p:nvSpPr>
        <p:spPr bwMode="auto">
          <a:xfrm>
            <a:off x="429449" y="5337175"/>
            <a:ext cx="5195032" cy="153888"/>
          </a:xfrm>
          <a:prstGeom prst="leftRightArrow">
            <a:avLst>
              <a:gd name="adj1" fmla="val 100000"/>
              <a:gd name="adj2" fmla="val 0"/>
            </a:avLst>
          </a:prstGeom>
          <a:noFill/>
          <a:ln w="9525">
            <a:noFill/>
            <a:miter lim="800000"/>
            <a:headEnd/>
            <a:tailEnd/>
          </a:ln>
          <a:effectLst/>
        </p:spPr>
        <p:txBody>
          <a:bodyPr vert="horz" wrap="square" lIns="0" tIns="0" rIns="0" bIns="0" numCol="1" anchor="ctr" anchorCtr="0" compatLnSpc="1">
            <a:prstTxWarp prst="textNoShape">
              <a:avLst/>
            </a:prstTxWarp>
            <a:spAutoFit/>
          </a:body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Contribution of mining to national GDP, </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a:t>
            </a:r>
          </a:p>
        </p:txBody>
      </p:sp>
      <p:sp>
        <p:nvSpPr>
          <p:cNvPr id="13" name="Rectangle 8">
            <a:extLst>
              <a:ext uri="{FF2B5EF4-FFF2-40B4-BE49-F238E27FC236}">
                <a16:creationId xmlns:a16="http://schemas.microsoft.com/office/drawing/2014/main" id="{B07FC199-360C-974C-EF20-1F816E02F11A}"/>
              </a:ext>
            </a:extLst>
          </p:cNvPr>
          <p:cNvSpPr txBox="1">
            <a:spLocks/>
          </p:cNvSpPr>
          <p:nvPr>
            <p:custDataLst>
              <p:tags r:id="rId10"/>
            </p:custDataLst>
          </p:nvPr>
        </p:nvSpPr>
        <p:spPr>
          <a:xfrm>
            <a:off x="428225" y="5110807"/>
            <a:ext cx="5524264" cy="184666"/>
          </a:xfrm>
          <a:prstGeom prst="rect">
            <a:avLst/>
          </a:prstGeom>
          <a:noFill/>
          <a:ln w="9525">
            <a:noFill/>
            <a:miter lim="800000"/>
            <a:headEnd/>
            <a:tailEnd/>
          </a:ln>
          <a:effectLst/>
        </p:spPr>
        <p:txBody>
          <a:bodyPr vert="horz" wrap="square" lIns="0" tIns="0" rIns="0" bIns="0" numCol="1" anchor="ctr"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Mining corresponds to ~1% of the country’s GDP, with relatively low share of gold</a:t>
            </a:r>
            <a:endParaRPr kumimoji="0" lang="en-CA" sz="12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25" name="Rectangle 8">
            <a:extLst>
              <a:ext uri="{FF2B5EF4-FFF2-40B4-BE49-F238E27FC236}">
                <a16:creationId xmlns:a16="http://schemas.microsoft.com/office/drawing/2014/main" id="{B6C705F5-6843-416F-990A-2DE0067927C8}"/>
              </a:ext>
            </a:extLst>
          </p:cNvPr>
          <p:cNvSpPr txBox="1">
            <a:spLocks/>
          </p:cNvSpPr>
          <p:nvPr>
            <p:custDataLst>
              <p:tags r:id="rId11"/>
            </p:custDataLst>
          </p:nvPr>
        </p:nvSpPr>
        <p:spPr>
          <a:xfrm>
            <a:off x="6312992" y="5141656"/>
            <a:ext cx="5744216" cy="184666"/>
          </a:xfrm>
          <a:prstGeom prst="rect">
            <a:avLst/>
          </a:prstGeom>
          <a:noFill/>
          <a:ln w="9525">
            <a:noFill/>
            <a:miter lim="800000"/>
            <a:headEnd/>
            <a:tailEnd/>
          </a:ln>
          <a:effectLst/>
        </p:spPr>
        <p:txBody>
          <a:bodyPr vert="horz" wrap="square" lIns="0" tIns="0" rIns="0" bIns="0" numCol="1" anchor="ctr"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CA" sz="12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Minas Gerais is the largest producer of gold, followed by Bahia, Para and </a:t>
            </a:r>
            <a:r>
              <a:rPr kumimoji="0" lang="en-CA" sz="1200" b="1"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a:cs typeface="Calibri" panose="020F0502020204030204" pitchFamily="34" charset="0"/>
              </a:rPr>
              <a:t>Goias</a:t>
            </a:r>
            <a:endParaRPr kumimoji="0" lang="en-CA" sz="12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26" name="Rectangle 25">
            <a:extLst>
              <a:ext uri="{FF2B5EF4-FFF2-40B4-BE49-F238E27FC236}">
                <a16:creationId xmlns:a16="http://schemas.microsoft.com/office/drawing/2014/main" id="{8153BFA0-ED1B-D90A-7281-186BCCA8734C}"/>
              </a:ext>
            </a:extLst>
          </p:cNvPr>
          <p:cNvSpPr/>
          <p:nvPr>
            <p:custDataLst>
              <p:tags r:id="rId12"/>
            </p:custDataLst>
          </p:nvPr>
        </p:nvSpPr>
        <p:spPr bwMode="auto">
          <a:xfrm>
            <a:off x="3868739" y="5308600"/>
            <a:ext cx="123825" cy="123825"/>
          </a:xfrm>
          <a:prstGeom prst="rect">
            <a:avLst/>
          </a:prstGeom>
          <a:solidFill>
            <a:schemeClr val="accent3"/>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pt-BR" sz="1600" b="0" i="0" u="none" strike="noStrike" kern="1200" cap="none" spc="0" normalizeH="0" baseline="0" noProof="0" dirty="0" err="1">
              <a:ln>
                <a:noFill/>
              </a:ln>
              <a:solidFill>
                <a:srgbClr val="FFFFFF"/>
              </a:solidFill>
              <a:effectLst/>
              <a:uLnTx/>
              <a:uFillTx/>
              <a:latin typeface="Calibri" panose="020F0502020204030204" pitchFamily="34" charset="0"/>
              <a:ea typeface="+mn-ea"/>
              <a:cs typeface="+mn-cs"/>
            </a:endParaRPr>
          </a:p>
        </p:txBody>
      </p:sp>
      <p:sp>
        <p:nvSpPr>
          <p:cNvPr id="40" name="Rectangle 39">
            <a:extLst>
              <a:ext uri="{FF2B5EF4-FFF2-40B4-BE49-F238E27FC236}">
                <a16:creationId xmlns:a16="http://schemas.microsoft.com/office/drawing/2014/main" id="{ABFFE11A-18BF-8CDA-8C47-AFC4D074282E}"/>
              </a:ext>
            </a:extLst>
          </p:cNvPr>
          <p:cNvSpPr/>
          <p:nvPr>
            <p:custDataLst>
              <p:tags r:id="rId13"/>
            </p:custDataLst>
          </p:nvPr>
        </p:nvSpPr>
        <p:spPr bwMode="auto">
          <a:xfrm>
            <a:off x="4710114" y="5308600"/>
            <a:ext cx="123825" cy="123825"/>
          </a:xfrm>
          <a:prstGeom prst="rect">
            <a:avLst/>
          </a:prstGeom>
          <a:solidFill>
            <a:schemeClr val="accent1"/>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pt-BR" sz="1600" b="0" i="0" u="none" strike="noStrike" kern="1200" cap="none" spc="0" normalizeH="0" baseline="0" noProof="0" dirty="0" err="1">
              <a:ln>
                <a:noFill/>
              </a:ln>
              <a:solidFill>
                <a:srgbClr val="FFFFFF"/>
              </a:solidFill>
              <a:effectLst/>
              <a:uLnTx/>
              <a:uFillTx/>
              <a:latin typeface="Calibri" panose="020F0502020204030204" pitchFamily="34" charset="0"/>
              <a:ea typeface="+mn-ea"/>
              <a:cs typeface="+mn-cs"/>
            </a:endParaRPr>
          </a:p>
        </p:txBody>
      </p:sp>
      <p:sp>
        <p:nvSpPr>
          <p:cNvPr id="44" name="Text Placeholder 2">
            <a:extLst>
              <a:ext uri="{FF2B5EF4-FFF2-40B4-BE49-F238E27FC236}">
                <a16:creationId xmlns:a16="http://schemas.microsoft.com/office/drawing/2014/main" id="{9460A1D7-D3E8-0A62-CBB5-226D67100E47}"/>
              </a:ext>
            </a:extLst>
          </p:cNvPr>
          <p:cNvSpPr>
            <a:spLocks noGrp="1"/>
          </p:cNvSpPr>
          <p:nvPr>
            <p:custDataLst>
              <p:tags r:id="rId14"/>
            </p:custDataLst>
          </p:nvPr>
        </p:nvSpPr>
        <p:spPr bwMode="auto">
          <a:xfrm>
            <a:off x="4043363" y="5307013"/>
            <a:ext cx="5651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CFD9687A-E157-48A4-B000-F980DBB88AEF}" type="datetime'G''o''''''''''''''''''ld'''' m''ini''''''''''''n''g'''">
              <a:rPr kumimoji="0" lang="pt-BR" altLang="en-US" sz="900" b="0" i="0" u="none" strike="noStrike" kern="1200" cap="none" spc="0" normalizeH="0" baseline="0" noProof="0" smtClean="0">
                <a:ln>
                  <a:noFill/>
                </a:ln>
                <a:solidFill>
                  <a:srgbClr val="000000"/>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Gold mining</a:t>
            </a:fld>
            <a:endParaRPr kumimoji="0" lang="pt-BR" sz="9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endParaRPr>
          </a:p>
        </p:txBody>
      </p:sp>
      <p:sp>
        <p:nvSpPr>
          <p:cNvPr id="45" name="Text Placeholder 2">
            <a:extLst>
              <a:ext uri="{FF2B5EF4-FFF2-40B4-BE49-F238E27FC236}">
                <a16:creationId xmlns:a16="http://schemas.microsoft.com/office/drawing/2014/main" id="{8E145F4B-153E-0965-5F7E-EB23AB5430C9}"/>
              </a:ext>
            </a:extLst>
          </p:cNvPr>
          <p:cNvSpPr>
            <a:spLocks noGrp="1"/>
          </p:cNvSpPr>
          <p:nvPr>
            <p:custDataLst>
              <p:tags r:id="rId15"/>
            </p:custDataLst>
          </p:nvPr>
        </p:nvSpPr>
        <p:spPr bwMode="auto">
          <a:xfrm>
            <a:off x="4884738" y="5307013"/>
            <a:ext cx="6175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1E82F7BC-63FB-44EB-99DD-3F4C92115308}" type="datetime'''O''''''''''the''''''''''''''''r mi''''n''''i''''''''n''g'">
              <a:rPr kumimoji="0" lang="pt-BR" altLang="en-US" sz="900" b="0" i="0" u="none" strike="noStrike" kern="1200" cap="none" spc="0" normalizeH="0" baseline="0" noProof="0" smtClean="0">
                <a:ln>
                  <a:noFill/>
                </a:ln>
                <a:solidFill>
                  <a:srgbClr val="000000"/>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Other mining</a:t>
            </a:fld>
            <a:endParaRPr kumimoji="0" lang="pt-BR" sz="9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endParaRPr>
          </a:p>
        </p:txBody>
      </p:sp>
      <p:graphicFrame>
        <p:nvGraphicFramePr>
          <p:cNvPr id="22" name="Chart 21">
            <a:extLst>
              <a:ext uri="{FF2B5EF4-FFF2-40B4-BE49-F238E27FC236}">
                <a16:creationId xmlns:a16="http://schemas.microsoft.com/office/drawing/2014/main" id="{6025DA09-D286-D3DD-6AC2-F75F0D025631}"/>
              </a:ext>
            </a:extLst>
          </p:cNvPr>
          <p:cNvGraphicFramePr/>
          <p:nvPr>
            <p:custDataLst>
              <p:tags r:id="rId16"/>
            </p:custDataLst>
          </p:nvPr>
        </p:nvGraphicFramePr>
        <p:xfrm>
          <a:off x="344488" y="5683250"/>
          <a:ext cx="5359400" cy="523875"/>
        </p:xfrm>
        <a:graphic>
          <a:graphicData uri="http://schemas.openxmlformats.org/drawingml/2006/chart">
            <c:chart xmlns:c="http://schemas.openxmlformats.org/drawingml/2006/chart" xmlns:r="http://schemas.openxmlformats.org/officeDocument/2006/relationships" r:id="rId70"/>
          </a:graphicData>
        </a:graphic>
      </p:graphicFrame>
      <p:sp>
        <p:nvSpPr>
          <p:cNvPr id="59" name="Text Placeholder 2">
            <a:extLst>
              <a:ext uri="{FF2B5EF4-FFF2-40B4-BE49-F238E27FC236}">
                <a16:creationId xmlns:a16="http://schemas.microsoft.com/office/drawing/2014/main" id="{6C0CF079-AEAB-F335-31EE-168BE0B31FEC}"/>
              </a:ext>
            </a:extLst>
          </p:cNvPr>
          <p:cNvSpPr>
            <a:spLocks noGrp="1"/>
          </p:cNvSpPr>
          <p:nvPr>
            <p:custDataLst>
              <p:tags r:id="rId17"/>
            </p:custDataLst>
          </p:nvPr>
        </p:nvSpPr>
        <p:spPr bwMode="gray">
          <a:xfrm>
            <a:off x="847725" y="5732463"/>
            <a:ext cx="196850" cy="152400"/>
          </a:xfrm>
          <a:prstGeom prst="rect">
            <a:avLst/>
          </a:prstGeom>
          <a:solidFill>
            <a:schemeClr val="accent3"/>
          </a:solidFill>
          <a:ln>
            <a:noFill/>
          </a:ln>
          <a:effec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D2D543B6-8B7C-4CB6-BE05-A6A22D798B79}" type="datetime'0''''''''''''''.''''''3'''''''''''''''''''''''''''''''''''">
              <a:rPr kumimoji="0" lang="pt-BR" altLang="en-US" sz="1000" b="0" i="0" u="none" strike="noStrike" kern="1200" cap="none" spc="0" normalizeH="0" baseline="0" noProof="0" smtClean="0">
                <a:ln>
                  <a:noFill/>
                </a:ln>
                <a:solidFill>
                  <a:srgbClr val="FFFFFF"/>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0.3</a:t>
            </a:fld>
            <a:endParaRPr kumimoji="0" lang="pt-BR" sz="1000" b="0"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endParaRPr>
          </a:p>
        </p:txBody>
      </p:sp>
      <p:sp>
        <p:nvSpPr>
          <p:cNvPr id="69" name="Text Placeholder 2">
            <a:extLst>
              <a:ext uri="{FF2B5EF4-FFF2-40B4-BE49-F238E27FC236}">
                <a16:creationId xmlns:a16="http://schemas.microsoft.com/office/drawing/2014/main" id="{757A9A4F-4961-86FC-AC9D-3FC11F38A742}"/>
              </a:ext>
            </a:extLst>
          </p:cNvPr>
          <p:cNvSpPr>
            <a:spLocks noGrp="1"/>
          </p:cNvSpPr>
          <p:nvPr>
            <p:custDataLst>
              <p:tags r:id="rId18"/>
            </p:custDataLst>
          </p:nvPr>
        </p:nvSpPr>
        <p:spPr bwMode="auto">
          <a:xfrm>
            <a:off x="809625" y="6167438"/>
            <a:ext cx="2730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0E1A8222-B5A6-48E4-8A6D-84CBC8B66705}" type="datetime'''''''''''2''''''''''''''''''''''''''''''''0''''18'''''''''''">
              <a:rPr kumimoji="0" lang="pt-BR" altLang="en-US" sz="1000" b="0" i="0" u="none" strike="noStrike" kern="1200" cap="none" spc="0" normalizeH="0" baseline="0" noProof="0" smtClean="0">
                <a:ln>
                  <a:noFill/>
                </a:ln>
                <a:solidFill>
                  <a:srgbClr val="000000"/>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18</a:t>
            </a:fld>
            <a:endParaRPr kumimoji="0" lang="pt-BR" sz="10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endParaRPr>
          </a:p>
        </p:txBody>
      </p:sp>
      <p:sp>
        <p:nvSpPr>
          <p:cNvPr id="70" name="Text Placeholder 2">
            <a:extLst>
              <a:ext uri="{FF2B5EF4-FFF2-40B4-BE49-F238E27FC236}">
                <a16:creationId xmlns:a16="http://schemas.microsoft.com/office/drawing/2014/main" id="{C829FA39-DA6F-82FF-D66D-3F5CB6E6D328}"/>
              </a:ext>
            </a:extLst>
          </p:cNvPr>
          <p:cNvSpPr>
            <a:spLocks noGrp="1"/>
          </p:cNvSpPr>
          <p:nvPr>
            <p:custDataLst>
              <p:tags r:id="rId19"/>
            </p:custDataLst>
          </p:nvPr>
        </p:nvSpPr>
        <p:spPr bwMode="gray">
          <a:xfrm>
            <a:off x="1885950" y="5789613"/>
            <a:ext cx="196850" cy="152400"/>
          </a:xfrm>
          <a:prstGeom prst="rect">
            <a:avLst/>
          </a:prstGeom>
          <a:solidFill>
            <a:schemeClr val="accent3"/>
          </a:solidFill>
          <a:ln>
            <a:noFill/>
          </a:ln>
          <a:effec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60CB7266-FAC5-42CF-A23C-8D3724359DC6}" type="datetime'''''''''''''0''''''''''''''''''''''.''''2'''''''''">
              <a:rPr kumimoji="0" lang="pt-BR" altLang="en-US" sz="1000" b="0" i="0" u="none" strike="noStrike" kern="1200" cap="none" spc="0" normalizeH="0" baseline="0" noProof="0" smtClean="0">
                <a:ln>
                  <a:noFill/>
                </a:ln>
                <a:solidFill>
                  <a:srgbClr val="FFFFFF"/>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0.2</a:t>
            </a:fld>
            <a:endParaRPr kumimoji="0" lang="pt-BR" sz="1000" b="0"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endParaRPr>
          </a:p>
        </p:txBody>
      </p:sp>
      <p:sp>
        <p:nvSpPr>
          <p:cNvPr id="63" name="Text Placeholder 2">
            <a:extLst>
              <a:ext uri="{FF2B5EF4-FFF2-40B4-BE49-F238E27FC236}">
                <a16:creationId xmlns:a16="http://schemas.microsoft.com/office/drawing/2014/main" id="{02DBBEF8-168D-E242-2E5A-68ED86AFBF3C}"/>
              </a:ext>
            </a:extLst>
          </p:cNvPr>
          <p:cNvSpPr>
            <a:spLocks noGrp="1"/>
          </p:cNvSpPr>
          <p:nvPr>
            <p:custDataLst>
              <p:tags r:id="rId20"/>
            </p:custDataLst>
          </p:nvPr>
        </p:nvSpPr>
        <p:spPr bwMode="auto">
          <a:xfrm>
            <a:off x="1912938" y="6167438"/>
            <a:ext cx="1428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D45D1B56-59A3-4A92-A416-1532367D4132}" type="datetime'''''19'''''''''''''''''''''''''''''''''''">
              <a:rPr kumimoji="0" lang="pt-BR" altLang="en-US" sz="1000" b="0" i="0" u="none" strike="noStrike" kern="1200" cap="none" spc="0" normalizeH="0" baseline="0" noProof="0" smtClean="0">
                <a:ln>
                  <a:noFill/>
                </a:ln>
                <a:solidFill>
                  <a:srgbClr val="000000"/>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19</a:t>
            </a:fld>
            <a:endParaRPr kumimoji="0" lang="pt-BR" sz="10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endParaRPr>
          </a:p>
        </p:txBody>
      </p:sp>
      <p:sp>
        <p:nvSpPr>
          <p:cNvPr id="58" name="Text Placeholder 2">
            <a:extLst>
              <a:ext uri="{FF2B5EF4-FFF2-40B4-BE49-F238E27FC236}">
                <a16:creationId xmlns:a16="http://schemas.microsoft.com/office/drawing/2014/main" id="{1AF98142-D5AA-16D6-D447-D014221F0DBE}"/>
              </a:ext>
            </a:extLst>
          </p:cNvPr>
          <p:cNvSpPr>
            <a:spLocks noGrp="1"/>
          </p:cNvSpPr>
          <p:nvPr>
            <p:custDataLst>
              <p:tags r:id="rId21"/>
            </p:custDataLst>
          </p:nvPr>
        </p:nvSpPr>
        <p:spPr bwMode="gray">
          <a:xfrm>
            <a:off x="2925763" y="5795963"/>
            <a:ext cx="196850" cy="152400"/>
          </a:xfrm>
          <a:prstGeom prst="rect">
            <a:avLst/>
          </a:prstGeom>
          <a:solidFill>
            <a:schemeClr val="accent3"/>
          </a:solidFill>
          <a:ln>
            <a:noFill/>
          </a:ln>
          <a:effec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AEEE3DDE-EB5D-48AB-B884-324045F3F1B2}" type="datetime'''''''''''''''''''''''0''''''''''''''''''''''''.''''2'''''">
              <a:rPr kumimoji="0" lang="pt-BR" altLang="en-US" sz="1000" b="0" i="0" u="none" strike="noStrike" kern="1200" cap="none" spc="0" normalizeH="0" baseline="0" noProof="0" smtClean="0">
                <a:ln>
                  <a:noFill/>
                </a:ln>
                <a:solidFill>
                  <a:srgbClr val="FFFFFF"/>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0.2</a:t>
            </a:fld>
            <a:endParaRPr kumimoji="0" lang="pt-BR" sz="1000" b="0"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endParaRPr>
          </a:p>
        </p:txBody>
      </p:sp>
      <p:sp>
        <p:nvSpPr>
          <p:cNvPr id="53" name="Text Placeholder 2">
            <a:extLst>
              <a:ext uri="{FF2B5EF4-FFF2-40B4-BE49-F238E27FC236}">
                <a16:creationId xmlns:a16="http://schemas.microsoft.com/office/drawing/2014/main" id="{76EF615D-74F3-82BB-467C-58CE260C02BC}"/>
              </a:ext>
            </a:extLst>
          </p:cNvPr>
          <p:cNvSpPr>
            <a:spLocks noGrp="1"/>
          </p:cNvSpPr>
          <p:nvPr>
            <p:custDataLst>
              <p:tags r:id="rId22"/>
            </p:custDataLst>
          </p:nvPr>
        </p:nvSpPr>
        <p:spPr bwMode="auto">
          <a:xfrm>
            <a:off x="2952750" y="6167438"/>
            <a:ext cx="1428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F17FD67C-2897-4C72-ABAC-8FD7B2ACCD16}" type="datetime'''''''''''2''''''''''''''''''''0'''''''''''''''">
              <a:rPr kumimoji="0" lang="pt-BR" altLang="en-US" sz="1000" b="0" i="0" u="none" strike="noStrike" kern="1200" cap="none" spc="0" normalizeH="0" baseline="0" noProof="0" smtClean="0">
                <a:ln>
                  <a:noFill/>
                </a:ln>
                <a:solidFill>
                  <a:srgbClr val="000000"/>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a:t>
            </a:fld>
            <a:endParaRPr kumimoji="0" lang="pt-BR" sz="10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endParaRPr>
          </a:p>
        </p:txBody>
      </p:sp>
      <p:sp>
        <p:nvSpPr>
          <p:cNvPr id="71" name="Text Placeholder 2">
            <a:extLst>
              <a:ext uri="{FF2B5EF4-FFF2-40B4-BE49-F238E27FC236}">
                <a16:creationId xmlns:a16="http://schemas.microsoft.com/office/drawing/2014/main" id="{C99CCD94-9E83-4771-0290-AD731B6B2FE0}"/>
              </a:ext>
            </a:extLst>
          </p:cNvPr>
          <p:cNvSpPr>
            <a:spLocks noGrp="1"/>
          </p:cNvSpPr>
          <p:nvPr>
            <p:custDataLst>
              <p:tags r:id="rId23"/>
            </p:custDataLst>
          </p:nvPr>
        </p:nvSpPr>
        <p:spPr bwMode="gray">
          <a:xfrm>
            <a:off x="3963988" y="5783263"/>
            <a:ext cx="196850" cy="152400"/>
          </a:xfrm>
          <a:prstGeom prst="rect">
            <a:avLst/>
          </a:prstGeom>
          <a:solidFill>
            <a:schemeClr val="accent3"/>
          </a:solidFill>
          <a:ln>
            <a:noFill/>
          </a:ln>
          <a:effec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C5FC6B19-2A64-41E0-A018-3562B5C6A546}" type="datetime'''''''''''0''''''''''.1'''''''''''''''''''''">
              <a:rPr kumimoji="0" lang="pt-BR" altLang="en-US" sz="1000" b="0" i="0" u="none" strike="noStrike" kern="1200" cap="none" spc="0" normalizeH="0" baseline="0" noProof="0" smtClean="0">
                <a:ln>
                  <a:noFill/>
                </a:ln>
                <a:solidFill>
                  <a:srgbClr val="FFFFFF"/>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0.1</a:t>
            </a:fld>
            <a:endParaRPr kumimoji="0" lang="pt-BR" sz="1000" b="0"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endParaRPr>
          </a:p>
        </p:txBody>
      </p:sp>
      <p:sp>
        <p:nvSpPr>
          <p:cNvPr id="73" name="Text Placeholder 2">
            <a:extLst>
              <a:ext uri="{FF2B5EF4-FFF2-40B4-BE49-F238E27FC236}">
                <a16:creationId xmlns:a16="http://schemas.microsoft.com/office/drawing/2014/main" id="{605BFAE5-9BA1-A9F6-5551-448877CBADB0}"/>
              </a:ext>
            </a:extLst>
          </p:cNvPr>
          <p:cNvSpPr>
            <a:spLocks noGrp="1"/>
          </p:cNvSpPr>
          <p:nvPr>
            <p:custDataLst>
              <p:tags r:id="rId24"/>
            </p:custDataLst>
          </p:nvPr>
        </p:nvSpPr>
        <p:spPr bwMode="auto">
          <a:xfrm>
            <a:off x="3990975" y="6167438"/>
            <a:ext cx="1428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5C738A93-CA81-43BE-9B8D-28CD29A68858}" type="datetime'''''''''''2''''''''''''1'''''''''''''''''''">
              <a:rPr kumimoji="0" lang="pt-BR" altLang="en-US" sz="1000" b="0" i="0" u="none" strike="noStrike" kern="1200" cap="none" spc="0" normalizeH="0" baseline="0" noProof="0" smtClean="0">
                <a:ln>
                  <a:noFill/>
                </a:ln>
                <a:solidFill>
                  <a:srgbClr val="000000"/>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1</a:t>
            </a:fld>
            <a:endParaRPr kumimoji="0" lang="pt-BR" sz="10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endParaRPr>
          </a:p>
        </p:txBody>
      </p:sp>
      <p:sp>
        <p:nvSpPr>
          <p:cNvPr id="60" name="Text Placeholder 2">
            <a:extLst>
              <a:ext uri="{FF2B5EF4-FFF2-40B4-BE49-F238E27FC236}">
                <a16:creationId xmlns:a16="http://schemas.microsoft.com/office/drawing/2014/main" id="{6952D2D0-679B-EE0F-6565-C08EC8F9EDCD}"/>
              </a:ext>
            </a:extLst>
          </p:cNvPr>
          <p:cNvSpPr>
            <a:spLocks noGrp="1"/>
          </p:cNvSpPr>
          <p:nvPr>
            <p:custDataLst>
              <p:tags r:id="rId25"/>
            </p:custDataLst>
          </p:nvPr>
        </p:nvSpPr>
        <p:spPr bwMode="gray">
          <a:xfrm>
            <a:off x="5189538" y="5810250"/>
            <a:ext cx="196850" cy="152400"/>
          </a:xfrm>
          <a:prstGeom prst="rect">
            <a:avLst/>
          </a:prstGeom>
          <a:solidFill>
            <a:schemeClr val="accent3"/>
          </a:solidFill>
          <a:ln>
            <a:noFill/>
          </a:ln>
          <a:effec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8B23AAEA-7753-4FB6-AD9C-B82EBAA0572A}" type="datetime'''0''''''''''''''''''''.''''''''''''''''''''''1'''''">
              <a:rPr kumimoji="0" lang="pt-BR" altLang="en-US" sz="1000" b="0" i="0" u="none" strike="noStrike" kern="1200" cap="none" spc="0" normalizeH="0" baseline="0" noProof="0" smtClean="0">
                <a:ln>
                  <a:noFill/>
                </a:ln>
                <a:solidFill>
                  <a:srgbClr val="FFFFFF"/>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0.1</a:t>
            </a:fld>
            <a:endParaRPr kumimoji="0" lang="pt-BR" sz="1000" b="0"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endParaRPr>
          </a:p>
        </p:txBody>
      </p:sp>
      <p:sp>
        <p:nvSpPr>
          <p:cNvPr id="74" name="Text Placeholder 2">
            <a:extLst>
              <a:ext uri="{FF2B5EF4-FFF2-40B4-BE49-F238E27FC236}">
                <a16:creationId xmlns:a16="http://schemas.microsoft.com/office/drawing/2014/main" id="{5C8AB9D4-23A4-6267-D72E-5D4D2B621013}"/>
              </a:ext>
            </a:extLst>
          </p:cNvPr>
          <p:cNvSpPr>
            <a:spLocks noGrp="1"/>
          </p:cNvSpPr>
          <p:nvPr>
            <p:custDataLst>
              <p:tags r:id="rId26"/>
            </p:custDataLst>
          </p:nvPr>
        </p:nvSpPr>
        <p:spPr bwMode="auto">
          <a:xfrm>
            <a:off x="4965700" y="6167438"/>
            <a:ext cx="2730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6D39530B-660B-42DB-924D-3270D7ADF377}" type="datetime'''''''2''''''''''''0''''''''''''''''''''2''2'">
              <a:rPr kumimoji="0" lang="pt-BR" altLang="en-US" sz="1000" b="0" i="0" u="none" strike="noStrike" kern="1200" cap="none" spc="0" normalizeH="0" baseline="0" noProof="0" smtClean="0">
                <a:ln>
                  <a:noFill/>
                </a:ln>
                <a:solidFill>
                  <a:srgbClr val="000000"/>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22</a:t>
            </a:fld>
            <a:endParaRPr kumimoji="0" lang="pt-BR" sz="10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endParaRPr>
          </a:p>
        </p:txBody>
      </p:sp>
      <p:sp>
        <p:nvSpPr>
          <p:cNvPr id="75" name="Text Placeholder 2">
            <a:extLst>
              <a:ext uri="{FF2B5EF4-FFF2-40B4-BE49-F238E27FC236}">
                <a16:creationId xmlns:a16="http://schemas.microsoft.com/office/drawing/2014/main" id="{3840D0A7-DF95-D46A-2B66-05FCC06B4C39}"/>
              </a:ext>
            </a:extLst>
          </p:cNvPr>
          <p:cNvSpPr>
            <a:spLocks noGrp="1"/>
          </p:cNvSpPr>
          <p:nvPr>
            <p:custDataLst>
              <p:tags r:id="rId27"/>
            </p:custDataLst>
          </p:nvPr>
        </p:nvSpPr>
        <p:spPr bwMode="gray">
          <a:xfrm>
            <a:off x="847725" y="5595938"/>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4529DDF6-7136-4A51-8D0A-663E11470256}" type="datetime'''''''''''''''''''''''''1.''''''''''''''''''''''''''''1'">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1</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76" name="Text Placeholder 2">
            <a:extLst>
              <a:ext uri="{FF2B5EF4-FFF2-40B4-BE49-F238E27FC236}">
                <a16:creationId xmlns:a16="http://schemas.microsoft.com/office/drawing/2014/main" id="{F28CD8A8-D0B5-7272-A332-3D0B8FC3049F}"/>
              </a:ext>
            </a:extLst>
          </p:cNvPr>
          <p:cNvSpPr>
            <a:spLocks noGrp="1"/>
          </p:cNvSpPr>
          <p:nvPr>
            <p:custDataLst>
              <p:tags r:id="rId28"/>
            </p:custDataLst>
          </p:nvPr>
        </p:nvSpPr>
        <p:spPr bwMode="gray">
          <a:xfrm>
            <a:off x="1885950" y="5646738"/>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03FDE72F-4E06-4EB8-800F-055B130BAC24}" type="datetime'''''0''.''9'''''''''''''''''''''''''''''''''''''''">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0.9</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80" name="Text Placeholder 2">
            <a:extLst>
              <a:ext uri="{FF2B5EF4-FFF2-40B4-BE49-F238E27FC236}">
                <a16:creationId xmlns:a16="http://schemas.microsoft.com/office/drawing/2014/main" id="{F20754C6-CD75-473F-403A-8DC50C254EF8}"/>
              </a:ext>
            </a:extLst>
          </p:cNvPr>
          <p:cNvSpPr>
            <a:spLocks noGrp="1"/>
          </p:cNvSpPr>
          <p:nvPr>
            <p:custDataLst>
              <p:tags r:id="rId29"/>
            </p:custDataLst>
          </p:nvPr>
        </p:nvSpPr>
        <p:spPr bwMode="gray">
          <a:xfrm>
            <a:off x="2925763" y="5646738"/>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03929BD6-3E35-4BF1-93A9-313C5B1B23D3}" type="datetime'''''''''''''''''0''''.''''''''''''''''''''''''''''9'">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0.9</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81" name="Text Placeholder 2">
            <a:extLst>
              <a:ext uri="{FF2B5EF4-FFF2-40B4-BE49-F238E27FC236}">
                <a16:creationId xmlns:a16="http://schemas.microsoft.com/office/drawing/2014/main" id="{042D86B2-CB3F-91E5-0C90-E7D2EA216A8A}"/>
              </a:ext>
            </a:extLst>
          </p:cNvPr>
          <p:cNvSpPr>
            <a:spLocks noGrp="1"/>
          </p:cNvSpPr>
          <p:nvPr>
            <p:custDataLst>
              <p:tags r:id="rId30"/>
            </p:custDataLst>
          </p:nvPr>
        </p:nvSpPr>
        <p:spPr bwMode="gray">
          <a:xfrm>
            <a:off x="3963988" y="5646738"/>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92746371-CB44-4318-8267-E79B06F1D807}" type="datetime'''''''''''''''''''''0''''''''.''''9'''''''''''''''">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0.9</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82" name="Text Placeholder 2">
            <a:extLst>
              <a:ext uri="{FF2B5EF4-FFF2-40B4-BE49-F238E27FC236}">
                <a16:creationId xmlns:a16="http://schemas.microsoft.com/office/drawing/2014/main" id="{A714BA8C-ECE0-E1FC-A46C-D62216F2F495}"/>
              </a:ext>
            </a:extLst>
          </p:cNvPr>
          <p:cNvSpPr>
            <a:spLocks noGrp="1"/>
          </p:cNvSpPr>
          <p:nvPr>
            <p:custDataLst>
              <p:tags r:id="rId31"/>
            </p:custDataLst>
          </p:nvPr>
        </p:nvSpPr>
        <p:spPr bwMode="gray">
          <a:xfrm>
            <a:off x="5003800" y="5673725"/>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50229613-51FD-4D5C-8944-E38E10C9A953}" type="datetime'''''''''''''''''0''''''.''''''''''''''''''''''''''''''8'''''''">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0.8</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5" name="Text Placeholder 2">
            <a:extLst>
              <a:ext uri="{FF2B5EF4-FFF2-40B4-BE49-F238E27FC236}">
                <a16:creationId xmlns:a16="http://schemas.microsoft.com/office/drawing/2014/main" id="{B946D9DD-DA0A-BE42-839C-B2B1D503385A}"/>
              </a:ext>
            </a:extLst>
          </p:cNvPr>
          <p:cNvSpPr>
            <a:spLocks noGrp="1"/>
          </p:cNvSpPr>
          <p:nvPr>
            <p:custDataLst>
              <p:tags r:id="rId32"/>
            </p:custDataLst>
          </p:nvPr>
        </p:nvSpPr>
        <p:spPr bwMode="gray">
          <a:xfrm>
            <a:off x="847725" y="5911850"/>
            <a:ext cx="196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lnSpc>
                <a:spcPct val="100000"/>
              </a:lnSpc>
              <a:spcBef>
                <a:spcPct val="0"/>
              </a:spcBef>
              <a:spcAft>
                <a:spcPct val="0"/>
              </a:spcAft>
              <a:buNone/>
            </a:pPr>
            <a:fld id="{52164070-08B9-4BB3-923E-0F8D10E758FA}" type="datetime'''''''''''''0''''''''.''''''''''''''''''''''''''''''''8'''''''">
              <a:rPr lang="pt-BR" altLang="en-US" sz="1000" smtClean="0">
                <a:solidFill>
                  <a:srgbClr val="FFFFFF"/>
                </a:solidFill>
                <a:effectLst/>
                <a:cs typeface="Calibri" panose="020F0502020204030204" pitchFamily="34" charset="0"/>
              </a:rPr>
              <a:pPr marL="0" lvl="0" indent="0" algn="ctr">
                <a:lnSpc>
                  <a:spcPct val="100000"/>
                </a:lnSpc>
                <a:spcBef>
                  <a:spcPct val="0"/>
                </a:spcBef>
                <a:spcAft>
                  <a:spcPct val="0"/>
                </a:spcAft>
                <a:buNone/>
              </a:pPr>
              <a:t>0.8</a:t>
            </a:fld>
            <a:endParaRPr lang="pt-BR" sz="1000" dirty="0">
              <a:solidFill>
                <a:srgbClr val="FFFFFF"/>
              </a:solidFill>
              <a:cs typeface="Calibri" panose="020F0502020204030204" pitchFamily="34" charset="0"/>
            </a:endParaRPr>
          </a:p>
        </p:txBody>
      </p:sp>
      <p:sp>
        <p:nvSpPr>
          <p:cNvPr id="6" name="Text Placeholder 2">
            <a:extLst>
              <a:ext uri="{FF2B5EF4-FFF2-40B4-BE49-F238E27FC236}">
                <a16:creationId xmlns:a16="http://schemas.microsoft.com/office/drawing/2014/main" id="{B946D9DD-DA0A-BE42-839C-B2B1D503385A}"/>
              </a:ext>
            </a:extLst>
          </p:cNvPr>
          <p:cNvSpPr>
            <a:spLocks noGrp="1"/>
          </p:cNvSpPr>
          <p:nvPr>
            <p:custDataLst>
              <p:tags r:id="rId33"/>
            </p:custDataLst>
          </p:nvPr>
        </p:nvSpPr>
        <p:spPr bwMode="gray">
          <a:xfrm>
            <a:off x="1885950" y="5935663"/>
            <a:ext cx="196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lnSpc>
                <a:spcPct val="100000"/>
              </a:lnSpc>
              <a:spcBef>
                <a:spcPct val="0"/>
              </a:spcBef>
              <a:spcAft>
                <a:spcPct val="0"/>
              </a:spcAft>
              <a:buNone/>
            </a:pPr>
            <a:fld id="{C8CE2C98-870A-452C-9C94-4AA1C14BCD24}" type="datetime'''''''''''0''.''''''''''''''7'''''''''''''''">
              <a:rPr lang="pt-BR" altLang="en-US" sz="1000" smtClean="0">
                <a:solidFill>
                  <a:schemeClr val="bg1"/>
                </a:solidFill>
                <a:effectLst/>
                <a:cs typeface="Calibri" panose="020F0502020204030204" pitchFamily="34" charset="0"/>
              </a:rPr>
              <a:pPr marL="0" lvl="0" indent="0" algn="ctr">
                <a:lnSpc>
                  <a:spcPct val="100000"/>
                </a:lnSpc>
                <a:spcBef>
                  <a:spcPct val="0"/>
                </a:spcBef>
                <a:spcAft>
                  <a:spcPct val="0"/>
                </a:spcAft>
                <a:buNone/>
              </a:pPr>
              <a:t>0.7</a:t>
            </a:fld>
            <a:endParaRPr lang="pt-BR" sz="1000" dirty="0">
              <a:solidFill>
                <a:schemeClr val="bg1"/>
              </a:solidFill>
              <a:cs typeface="Calibri" panose="020F0502020204030204" pitchFamily="34" charset="0"/>
            </a:endParaRPr>
          </a:p>
        </p:txBody>
      </p:sp>
      <p:sp>
        <p:nvSpPr>
          <p:cNvPr id="7" name="Text Placeholder 2">
            <a:extLst>
              <a:ext uri="{FF2B5EF4-FFF2-40B4-BE49-F238E27FC236}">
                <a16:creationId xmlns:a16="http://schemas.microsoft.com/office/drawing/2014/main" id="{B946D9DD-DA0A-BE42-839C-B2B1D503385A}"/>
              </a:ext>
            </a:extLst>
          </p:cNvPr>
          <p:cNvSpPr>
            <a:spLocks noGrp="1"/>
          </p:cNvSpPr>
          <p:nvPr>
            <p:custDataLst>
              <p:tags r:id="rId34"/>
            </p:custDataLst>
          </p:nvPr>
        </p:nvSpPr>
        <p:spPr bwMode="gray">
          <a:xfrm>
            <a:off x="2925763" y="5942013"/>
            <a:ext cx="196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lnSpc>
                <a:spcPct val="100000"/>
              </a:lnSpc>
              <a:spcBef>
                <a:spcPct val="0"/>
              </a:spcBef>
              <a:spcAft>
                <a:spcPct val="0"/>
              </a:spcAft>
              <a:buNone/>
            </a:pPr>
            <a:fld id="{B5050203-4F5F-49C0-8E27-BD1752A78859}" type="datetime'''''0''''.''''''''''6'''''''''''''''">
              <a:rPr lang="pt-BR" altLang="en-US" sz="1000" smtClean="0">
                <a:solidFill>
                  <a:srgbClr val="FFFFFF"/>
                </a:solidFill>
                <a:effectLst/>
                <a:cs typeface="Calibri" panose="020F0502020204030204" pitchFamily="34" charset="0"/>
              </a:rPr>
              <a:pPr marL="0" lvl="0" indent="0" algn="ctr">
                <a:lnSpc>
                  <a:spcPct val="100000"/>
                </a:lnSpc>
                <a:spcBef>
                  <a:spcPct val="0"/>
                </a:spcBef>
                <a:spcAft>
                  <a:spcPct val="0"/>
                </a:spcAft>
                <a:buNone/>
              </a:pPr>
              <a:t>0.6</a:t>
            </a:fld>
            <a:endParaRPr lang="pt-BR" sz="1000" dirty="0">
              <a:solidFill>
                <a:srgbClr val="FFFFFF"/>
              </a:solidFill>
              <a:cs typeface="Calibri" panose="020F0502020204030204" pitchFamily="34" charset="0"/>
            </a:endParaRPr>
          </a:p>
        </p:txBody>
      </p:sp>
      <p:sp>
        <p:nvSpPr>
          <p:cNvPr id="20" name="Text Placeholder 2">
            <a:extLst>
              <a:ext uri="{FF2B5EF4-FFF2-40B4-BE49-F238E27FC236}">
                <a16:creationId xmlns:a16="http://schemas.microsoft.com/office/drawing/2014/main" id="{B946D9DD-DA0A-BE42-839C-B2B1D503385A}"/>
              </a:ext>
            </a:extLst>
          </p:cNvPr>
          <p:cNvSpPr>
            <a:spLocks noGrp="1"/>
          </p:cNvSpPr>
          <p:nvPr>
            <p:custDataLst>
              <p:tags r:id="rId35"/>
            </p:custDataLst>
          </p:nvPr>
        </p:nvSpPr>
        <p:spPr bwMode="gray">
          <a:xfrm>
            <a:off x="3963988" y="5927725"/>
            <a:ext cx="196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lnSpc>
                <a:spcPct val="100000"/>
              </a:lnSpc>
              <a:spcBef>
                <a:spcPct val="0"/>
              </a:spcBef>
              <a:spcAft>
                <a:spcPct val="0"/>
              </a:spcAft>
              <a:buNone/>
            </a:pPr>
            <a:fld id="{08B87530-D6BD-4CE4-AC57-6CD414BA9E38}" type="datetime'''''''''''''0.''''''''''''''''''''''''''''''''''''''7'">
              <a:rPr lang="pt-BR" altLang="en-US" sz="1000" smtClean="0">
                <a:solidFill>
                  <a:srgbClr val="FFFFFF"/>
                </a:solidFill>
                <a:effectLst/>
                <a:cs typeface="Calibri" panose="020F0502020204030204" pitchFamily="34" charset="0"/>
              </a:rPr>
              <a:pPr marL="0" lvl="0" indent="0" algn="ctr">
                <a:lnSpc>
                  <a:spcPct val="100000"/>
                </a:lnSpc>
                <a:spcBef>
                  <a:spcPct val="0"/>
                </a:spcBef>
                <a:spcAft>
                  <a:spcPct val="0"/>
                </a:spcAft>
                <a:buNone/>
              </a:pPr>
              <a:t>0.7</a:t>
            </a:fld>
            <a:endParaRPr lang="pt-BR" sz="1000" dirty="0">
              <a:solidFill>
                <a:srgbClr val="FFFFFF"/>
              </a:solidFill>
              <a:cs typeface="Calibri" panose="020F0502020204030204" pitchFamily="34" charset="0"/>
            </a:endParaRPr>
          </a:p>
        </p:txBody>
      </p:sp>
      <p:sp>
        <p:nvSpPr>
          <p:cNvPr id="21" name="Text Placeholder 2">
            <a:extLst>
              <a:ext uri="{FF2B5EF4-FFF2-40B4-BE49-F238E27FC236}">
                <a16:creationId xmlns:a16="http://schemas.microsoft.com/office/drawing/2014/main" id="{B946D9DD-DA0A-BE42-839C-B2B1D503385A}"/>
              </a:ext>
            </a:extLst>
          </p:cNvPr>
          <p:cNvSpPr>
            <a:spLocks noGrp="1"/>
          </p:cNvSpPr>
          <p:nvPr>
            <p:custDataLst>
              <p:tags r:id="rId36"/>
            </p:custDataLst>
          </p:nvPr>
        </p:nvSpPr>
        <p:spPr bwMode="gray">
          <a:xfrm>
            <a:off x="4818063" y="5942013"/>
            <a:ext cx="196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lnSpc>
                <a:spcPct val="100000"/>
              </a:lnSpc>
              <a:spcBef>
                <a:spcPct val="0"/>
              </a:spcBef>
              <a:spcAft>
                <a:spcPct val="0"/>
              </a:spcAft>
              <a:buNone/>
            </a:pPr>
            <a:fld id="{2FB98177-F04E-4529-BE35-D478516203AF}" type="datetime'''''''0''.''''''''''''''''''''''''''''6'''''''''''''''''''">
              <a:rPr lang="pt-BR" altLang="en-US" sz="1000" smtClean="0">
                <a:solidFill>
                  <a:srgbClr val="FFFFFF"/>
                </a:solidFill>
                <a:effectLst/>
                <a:cs typeface="Calibri" panose="020F0502020204030204" pitchFamily="34" charset="0"/>
              </a:rPr>
              <a:pPr marL="0" lvl="0" indent="0" algn="ctr">
                <a:lnSpc>
                  <a:spcPct val="100000"/>
                </a:lnSpc>
                <a:spcBef>
                  <a:spcPct val="0"/>
                </a:spcBef>
                <a:spcAft>
                  <a:spcPct val="0"/>
                </a:spcAft>
                <a:buNone/>
              </a:pPr>
              <a:t>0.6</a:t>
            </a:fld>
            <a:endParaRPr lang="pt-BR" sz="1000" dirty="0">
              <a:solidFill>
                <a:srgbClr val="FFFFFF"/>
              </a:solidFill>
              <a:cs typeface="Calibri" panose="020F0502020204030204" pitchFamily="34" charset="0"/>
            </a:endParaRPr>
          </a:p>
        </p:txBody>
      </p:sp>
      <p:sp>
        <p:nvSpPr>
          <p:cNvPr id="83" name="AutoShape 250">
            <a:extLst>
              <a:ext uri="{FF2B5EF4-FFF2-40B4-BE49-F238E27FC236}">
                <a16:creationId xmlns:a16="http://schemas.microsoft.com/office/drawing/2014/main" id="{34C397C2-5ACE-3836-3F12-BDB033F456CB}"/>
              </a:ext>
            </a:extLst>
          </p:cNvPr>
          <p:cNvSpPr>
            <a:spLocks noChangeArrowheads="1"/>
          </p:cNvSpPr>
          <p:nvPr/>
        </p:nvSpPr>
        <p:spPr bwMode="auto">
          <a:xfrm>
            <a:off x="6300402" y="5337175"/>
            <a:ext cx="5483996" cy="153888"/>
          </a:xfrm>
          <a:prstGeom prst="leftRightArrow">
            <a:avLst>
              <a:gd name="adj1" fmla="val 100000"/>
              <a:gd name="adj2" fmla="val 0"/>
            </a:avLst>
          </a:prstGeom>
          <a:noFill/>
          <a:ln w="9525">
            <a:noFill/>
            <a:miter lim="800000"/>
            <a:headEnd/>
            <a:tailEnd/>
          </a:ln>
          <a:effectLst/>
        </p:spPr>
        <p:txBody>
          <a:bodyPr vert="horz" wrap="square" lIns="0" tIns="0" rIns="0" bIns="0" numCol="1" anchor="ctr" anchorCtr="0" compatLnSpc="1">
            <a:prstTxWarp prst="textNoShape">
              <a:avLst/>
            </a:prstTxWarp>
            <a:spAutoFit/>
          </a:body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Gold production by state (2022), </a:t>
            </a: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a:cs typeface="Calibri" panose="020F0502020204030204" pitchFamily="34" charset="0"/>
              </a:rPr>
              <a:t>koz</a:t>
            </a:r>
            <a:endPar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cxnSp>
        <p:nvCxnSpPr>
          <p:cNvPr id="84" name="Straight Connector 83">
            <a:extLst>
              <a:ext uri="{FF2B5EF4-FFF2-40B4-BE49-F238E27FC236}">
                <a16:creationId xmlns:a16="http://schemas.microsoft.com/office/drawing/2014/main" id="{37DA0B7D-399E-EC7E-6E84-A1570D119940}"/>
              </a:ext>
            </a:extLst>
          </p:cNvPr>
          <p:cNvCxnSpPr/>
          <p:nvPr>
            <p:custDataLst>
              <p:tags r:id="rId37"/>
            </p:custDataLst>
          </p:nvPr>
        </p:nvCxnSpPr>
        <p:spPr bwMode="auto">
          <a:xfrm>
            <a:off x="7004050" y="5883275"/>
            <a:ext cx="39528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5" name="Straight Connector 84">
            <a:extLst>
              <a:ext uri="{FF2B5EF4-FFF2-40B4-BE49-F238E27FC236}">
                <a16:creationId xmlns:a16="http://schemas.microsoft.com/office/drawing/2014/main" id="{3BB4D743-9DBB-C39A-0953-23149ACC0F3F}"/>
              </a:ext>
            </a:extLst>
          </p:cNvPr>
          <p:cNvCxnSpPr/>
          <p:nvPr>
            <p:custDataLst>
              <p:tags r:id="rId38"/>
            </p:custDataLst>
          </p:nvPr>
        </p:nvCxnSpPr>
        <p:spPr bwMode="auto">
          <a:xfrm>
            <a:off x="7894638" y="5813425"/>
            <a:ext cx="3937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6" name="Straight Connector 85">
            <a:extLst>
              <a:ext uri="{FF2B5EF4-FFF2-40B4-BE49-F238E27FC236}">
                <a16:creationId xmlns:a16="http://schemas.microsoft.com/office/drawing/2014/main" id="{732C727C-538F-B904-0729-1544F1F47AB4}"/>
              </a:ext>
            </a:extLst>
          </p:cNvPr>
          <p:cNvCxnSpPr/>
          <p:nvPr>
            <p:custDataLst>
              <p:tags r:id="rId39"/>
            </p:custDataLst>
          </p:nvPr>
        </p:nvCxnSpPr>
        <p:spPr bwMode="auto">
          <a:xfrm>
            <a:off x="8783638" y="5762625"/>
            <a:ext cx="39528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8" name="Straight Connector 87">
            <a:extLst>
              <a:ext uri="{FF2B5EF4-FFF2-40B4-BE49-F238E27FC236}">
                <a16:creationId xmlns:a16="http://schemas.microsoft.com/office/drawing/2014/main" id="{1C938B14-246C-FC55-49FF-2367D93637F1}"/>
              </a:ext>
            </a:extLst>
          </p:cNvPr>
          <p:cNvCxnSpPr/>
          <p:nvPr>
            <p:custDataLst>
              <p:tags r:id="rId40"/>
            </p:custDataLst>
          </p:nvPr>
        </p:nvCxnSpPr>
        <p:spPr bwMode="auto">
          <a:xfrm>
            <a:off x="9674225" y="5716588"/>
            <a:ext cx="39528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7" name="Straight Connector 86">
            <a:extLst>
              <a:ext uri="{FF2B5EF4-FFF2-40B4-BE49-F238E27FC236}">
                <a16:creationId xmlns:a16="http://schemas.microsoft.com/office/drawing/2014/main" id="{D3413014-8170-3D21-7E58-B62706719A73}"/>
              </a:ext>
            </a:extLst>
          </p:cNvPr>
          <p:cNvCxnSpPr/>
          <p:nvPr>
            <p:custDataLst>
              <p:tags r:id="rId41"/>
            </p:custDataLst>
          </p:nvPr>
        </p:nvCxnSpPr>
        <p:spPr bwMode="auto">
          <a:xfrm>
            <a:off x="10564813" y="5491163"/>
            <a:ext cx="3937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47" name="Chart 46">
            <a:extLst>
              <a:ext uri="{FF2B5EF4-FFF2-40B4-BE49-F238E27FC236}">
                <a16:creationId xmlns:a16="http://schemas.microsoft.com/office/drawing/2014/main" id="{3AF3E81A-3C63-A742-BA3A-9B4FB405ADB5}"/>
              </a:ext>
            </a:extLst>
          </p:cNvPr>
          <p:cNvGraphicFramePr/>
          <p:nvPr>
            <p:custDataLst>
              <p:tags r:id="rId42"/>
            </p:custDataLst>
          </p:nvPr>
        </p:nvGraphicFramePr>
        <p:xfrm>
          <a:off x="6229350" y="5265738"/>
          <a:ext cx="5505450" cy="1084262"/>
        </p:xfrm>
        <a:graphic>
          <a:graphicData uri="http://schemas.openxmlformats.org/drawingml/2006/chart">
            <c:chart xmlns:c="http://schemas.openxmlformats.org/drawingml/2006/chart" xmlns:r="http://schemas.openxmlformats.org/officeDocument/2006/relationships" r:id="rId71"/>
          </a:graphicData>
        </a:graphic>
      </p:graphicFrame>
      <p:sp>
        <p:nvSpPr>
          <p:cNvPr id="97" name="Text Placeholder 2">
            <a:extLst>
              <a:ext uri="{FF2B5EF4-FFF2-40B4-BE49-F238E27FC236}">
                <a16:creationId xmlns:a16="http://schemas.microsoft.com/office/drawing/2014/main" id="{B74BE842-2E14-19F7-70DC-E61CC2033077}"/>
              </a:ext>
            </a:extLst>
          </p:cNvPr>
          <p:cNvSpPr>
            <a:spLocks noGrp="1"/>
          </p:cNvSpPr>
          <p:nvPr>
            <p:custDataLst>
              <p:tags r:id="rId43"/>
            </p:custDataLst>
          </p:nvPr>
        </p:nvSpPr>
        <p:spPr bwMode="auto">
          <a:xfrm>
            <a:off x="6416675" y="6167438"/>
            <a:ext cx="679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0A3443FA-487B-4680-B066-0A16076530E2}" type="datetime'''''''''M''in''''''''as ''Ge''ra''''''''''''''is'''''''''">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Minas Gerais</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mn-cs"/>
            </a:endParaRPr>
          </a:p>
        </p:txBody>
      </p:sp>
      <p:sp>
        <p:nvSpPr>
          <p:cNvPr id="109" name="Text Placeholder 2">
            <a:extLst>
              <a:ext uri="{FF2B5EF4-FFF2-40B4-BE49-F238E27FC236}">
                <a16:creationId xmlns:a16="http://schemas.microsoft.com/office/drawing/2014/main" id="{44A5D4D6-1A50-91A7-2A86-98D83B74AB70}"/>
              </a:ext>
            </a:extLst>
          </p:cNvPr>
          <p:cNvSpPr>
            <a:spLocks noGrp="1"/>
          </p:cNvSpPr>
          <p:nvPr>
            <p:custDataLst>
              <p:tags r:id="rId44"/>
            </p:custDataLst>
          </p:nvPr>
        </p:nvSpPr>
        <p:spPr bwMode="gray">
          <a:xfrm>
            <a:off x="7532688" y="5780088"/>
            <a:ext cx="230188" cy="136525"/>
          </a:xfrm>
          <a:prstGeom prst="rect">
            <a:avLst/>
          </a:prstGeom>
          <a:solidFill>
            <a:schemeClr val="accent1"/>
          </a:solidFill>
          <a:ln>
            <a:noFill/>
          </a:ln>
          <a:effec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7812777B-080A-4BE4-9915-054E5F16DD07}" type="datetime'2''''''''''''''''9''''9'''''''''''''">
              <a:rPr kumimoji="0" lang="pt-BR" altLang="en-US" sz="10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99</a:t>
            </a:fld>
            <a:endParaRPr kumimoji="0" lang="pt-BR" sz="10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0" name="Text Placeholder 2">
            <a:extLst>
              <a:ext uri="{FF2B5EF4-FFF2-40B4-BE49-F238E27FC236}">
                <a16:creationId xmlns:a16="http://schemas.microsoft.com/office/drawing/2014/main" id="{AD8D64EF-4EBE-51AB-EBA3-9326283638E9}"/>
              </a:ext>
            </a:extLst>
          </p:cNvPr>
          <p:cNvSpPr>
            <a:spLocks noGrp="1"/>
          </p:cNvSpPr>
          <p:nvPr>
            <p:custDataLst>
              <p:tags r:id="rId45"/>
            </p:custDataLst>
          </p:nvPr>
        </p:nvSpPr>
        <p:spPr bwMode="auto">
          <a:xfrm>
            <a:off x="7497763" y="6167438"/>
            <a:ext cx="298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6CAACBC7-3F84-4301-9507-391C76D604B6}" type="datetime'''''''Ba''''''h''''''''''''''''''ia'''''">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Bahia</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mn-cs"/>
            </a:endParaRPr>
          </a:p>
        </p:txBody>
      </p:sp>
      <p:sp>
        <p:nvSpPr>
          <p:cNvPr id="110" name="Text Placeholder 2">
            <a:extLst>
              <a:ext uri="{FF2B5EF4-FFF2-40B4-BE49-F238E27FC236}">
                <a16:creationId xmlns:a16="http://schemas.microsoft.com/office/drawing/2014/main" id="{A643BABC-3A98-C9A4-8761-6C0B14AC62A9}"/>
              </a:ext>
            </a:extLst>
          </p:cNvPr>
          <p:cNvSpPr>
            <a:spLocks noGrp="1"/>
          </p:cNvSpPr>
          <p:nvPr>
            <p:custDataLst>
              <p:tags r:id="rId46"/>
            </p:custDataLst>
          </p:nvPr>
        </p:nvSpPr>
        <p:spPr bwMode="gray">
          <a:xfrm>
            <a:off x="8421688" y="5719763"/>
            <a:ext cx="230188" cy="136525"/>
          </a:xfrm>
          <a:prstGeom prst="rect">
            <a:avLst/>
          </a:prstGeom>
          <a:solidFill>
            <a:schemeClr val="accent1"/>
          </a:solidFill>
          <a:ln>
            <a:noFill/>
          </a:ln>
          <a:effec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87FC4312-EC10-4815-B54A-4105C773CA88}" type="datetime'2''''''''''''''''''''''''''''12'''''''''''''''''''''''''''''">
              <a:rPr kumimoji="0" lang="pt-BR" altLang="en-US" sz="10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12</a:t>
            </a:fld>
            <a:endParaRPr kumimoji="0" lang="pt-BR" sz="10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7" name="Text Placeholder 2">
            <a:extLst>
              <a:ext uri="{FF2B5EF4-FFF2-40B4-BE49-F238E27FC236}">
                <a16:creationId xmlns:a16="http://schemas.microsoft.com/office/drawing/2014/main" id="{F2339228-06B1-40AD-ABDE-4A7480A79ED3}"/>
              </a:ext>
            </a:extLst>
          </p:cNvPr>
          <p:cNvSpPr>
            <a:spLocks noGrp="1"/>
          </p:cNvSpPr>
          <p:nvPr>
            <p:custDataLst>
              <p:tags r:id="rId47"/>
            </p:custDataLst>
          </p:nvPr>
        </p:nvSpPr>
        <p:spPr bwMode="auto">
          <a:xfrm>
            <a:off x="8415338" y="6167438"/>
            <a:ext cx="242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35FC169D-8FCE-4564-BC70-C253954C0269}" type="datetime'''P''''''''''''''''''''''''''''''a''''''r''''á'''''''''''">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Pará</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mn-cs"/>
            </a:endParaRPr>
          </a:p>
        </p:txBody>
      </p:sp>
      <p:sp>
        <p:nvSpPr>
          <p:cNvPr id="113" name="Text Placeholder 2">
            <a:extLst>
              <a:ext uri="{FF2B5EF4-FFF2-40B4-BE49-F238E27FC236}">
                <a16:creationId xmlns:a16="http://schemas.microsoft.com/office/drawing/2014/main" id="{625A58FC-E2C5-8E6D-9137-A7BDF5830EDD}"/>
              </a:ext>
            </a:extLst>
          </p:cNvPr>
          <p:cNvSpPr>
            <a:spLocks noGrp="1"/>
          </p:cNvSpPr>
          <p:nvPr>
            <p:custDataLst>
              <p:tags r:id="rId48"/>
            </p:custDataLst>
          </p:nvPr>
        </p:nvSpPr>
        <p:spPr bwMode="gray">
          <a:xfrm>
            <a:off x="9312275" y="5670550"/>
            <a:ext cx="230188" cy="136525"/>
          </a:xfrm>
          <a:prstGeom prst="rect">
            <a:avLst/>
          </a:prstGeom>
          <a:solidFill>
            <a:schemeClr val="accent1"/>
          </a:solidFill>
          <a:ln>
            <a:noFill/>
          </a:ln>
          <a:effec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F53C0714-AC13-4EAC-8910-125B5221FB93}" type="datetime'''''''''''''''''''''''''''2''''''''''0''0'''''''''''''''''''''">
              <a:rPr kumimoji="0" lang="pt-BR" altLang="en-US" sz="10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00</a:t>
            </a:fld>
            <a:endParaRPr kumimoji="0" lang="pt-BR" sz="10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6" name="Text Placeholder 2">
            <a:extLst>
              <a:ext uri="{FF2B5EF4-FFF2-40B4-BE49-F238E27FC236}">
                <a16:creationId xmlns:a16="http://schemas.microsoft.com/office/drawing/2014/main" id="{CC75883C-CF41-E77D-62C0-5FE7A329ADA0}"/>
              </a:ext>
            </a:extLst>
          </p:cNvPr>
          <p:cNvSpPr>
            <a:spLocks noGrp="1"/>
          </p:cNvSpPr>
          <p:nvPr>
            <p:custDataLst>
              <p:tags r:id="rId49"/>
            </p:custDataLst>
          </p:nvPr>
        </p:nvSpPr>
        <p:spPr bwMode="auto">
          <a:xfrm>
            <a:off x="9278938" y="6167438"/>
            <a:ext cx="2968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5BC4A184-811D-4FC2-B5DE-6BEE993D8E55}" type="datetime'''G''''''o''''''''''''i''''''''a''''''''''''''''''s'''''">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Goias</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mn-cs"/>
            </a:endParaRPr>
          </a:p>
        </p:txBody>
      </p:sp>
      <p:sp>
        <p:nvSpPr>
          <p:cNvPr id="111" name="Text Placeholder 2">
            <a:extLst>
              <a:ext uri="{FF2B5EF4-FFF2-40B4-BE49-F238E27FC236}">
                <a16:creationId xmlns:a16="http://schemas.microsoft.com/office/drawing/2014/main" id="{92E5946F-C9A8-4437-BEDE-979F80BF6991}"/>
              </a:ext>
            </a:extLst>
          </p:cNvPr>
          <p:cNvSpPr>
            <a:spLocks noGrp="1"/>
          </p:cNvSpPr>
          <p:nvPr>
            <p:custDataLst>
              <p:tags r:id="rId50"/>
            </p:custDataLst>
          </p:nvPr>
        </p:nvSpPr>
        <p:spPr bwMode="auto">
          <a:xfrm>
            <a:off x="9815512" y="6167438"/>
            <a:ext cx="1004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0B424D74-AF29-47D0-867B-AFC7B85EFC50}" type="datetime'Ot''''''hers''/''un''s''''pec''''''''ifi''''e''''''''''d'''">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Others/unspecified</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mn-cs"/>
            </a:endParaRPr>
          </a:p>
        </p:txBody>
      </p:sp>
      <p:sp>
        <p:nvSpPr>
          <p:cNvPr id="108" name="Text Placeholder 2">
            <a:extLst>
              <a:ext uri="{FF2B5EF4-FFF2-40B4-BE49-F238E27FC236}">
                <a16:creationId xmlns:a16="http://schemas.microsoft.com/office/drawing/2014/main" id="{EFBE1035-2122-3130-17FC-E15C241D8387}"/>
              </a:ext>
            </a:extLst>
          </p:cNvPr>
          <p:cNvSpPr>
            <a:spLocks noGrp="1"/>
          </p:cNvSpPr>
          <p:nvPr>
            <p:custDataLst>
              <p:tags r:id="rId51"/>
            </p:custDataLst>
          </p:nvPr>
        </p:nvSpPr>
        <p:spPr bwMode="auto">
          <a:xfrm>
            <a:off x="11069638" y="6167438"/>
            <a:ext cx="2730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AC5636C0-30CA-415B-9682-0BB278DAEE02}" type="datetime'''''''''T''''''''''''''''''''''o''''''''t''a''''l'''">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Total</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mn-cs"/>
            </a:endParaRPr>
          </a:p>
        </p:txBody>
      </p:sp>
      <p:sp>
        <p:nvSpPr>
          <p:cNvPr id="23" name="Text Placeholder 2">
            <a:extLst>
              <a:ext uri="{FF2B5EF4-FFF2-40B4-BE49-F238E27FC236}">
                <a16:creationId xmlns:a16="http://schemas.microsoft.com/office/drawing/2014/main" id="{B946D9DD-DA0A-BE42-839C-B2B1D503385A}"/>
              </a:ext>
            </a:extLst>
          </p:cNvPr>
          <p:cNvSpPr>
            <a:spLocks noGrp="1"/>
          </p:cNvSpPr>
          <p:nvPr>
            <p:custDataLst>
              <p:tags r:id="rId52"/>
            </p:custDataLst>
          </p:nvPr>
        </p:nvSpPr>
        <p:spPr bwMode="gray">
          <a:xfrm>
            <a:off x="6592888" y="5721351"/>
            <a:ext cx="3270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9C0FEB3-E490-4DF3-9650-8332D6CED078}" type="datetime'1'''''',''''''''''''''''''0''''''''''''''''3''''''''''1'''''''">
              <a:rPr lang="pt-BR" altLang="en-US" sz="1000" smtClean="0">
                <a:effectLst/>
              </a:rPr>
              <a:pPr marL="0" lvl="0" indent="0" algn="ctr">
                <a:spcBef>
                  <a:spcPct val="0"/>
                </a:spcBef>
                <a:spcAft>
                  <a:spcPct val="0"/>
                </a:spcAft>
                <a:buNone/>
              </a:pPr>
              <a:t>1,031</a:t>
            </a:fld>
            <a:endParaRPr lang="pt-BR" sz="1000" dirty="0"/>
          </a:p>
        </p:txBody>
      </p:sp>
      <p:sp>
        <p:nvSpPr>
          <p:cNvPr id="24" name="Text Placeholder 2">
            <a:extLst>
              <a:ext uri="{FF2B5EF4-FFF2-40B4-BE49-F238E27FC236}">
                <a16:creationId xmlns:a16="http://schemas.microsoft.com/office/drawing/2014/main" id="{B946D9DD-DA0A-BE42-839C-B2B1D503385A}"/>
              </a:ext>
            </a:extLst>
          </p:cNvPr>
          <p:cNvSpPr>
            <a:spLocks noGrp="1"/>
          </p:cNvSpPr>
          <p:nvPr>
            <p:custDataLst>
              <p:tags r:id="rId53"/>
            </p:custDataLst>
          </p:nvPr>
        </p:nvSpPr>
        <p:spPr bwMode="gray">
          <a:xfrm>
            <a:off x="11042650" y="5329239"/>
            <a:ext cx="3270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55352C1-7D47-4DC7-BFD4-751D373192B6}" type="datetime'''''''''''2'''''''',''''''''''''''''''''''''''''7''''''03'''''">
              <a:rPr lang="pt-BR" altLang="en-US" sz="1000" smtClean="0">
                <a:effectLst/>
              </a:rPr>
              <a:pPr marL="0" lvl="0" indent="0" algn="ctr">
                <a:spcBef>
                  <a:spcPct val="0"/>
                </a:spcBef>
                <a:spcAft>
                  <a:spcPct val="0"/>
                </a:spcAft>
                <a:buNone/>
              </a:pPr>
              <a:t>2,703</a:t>
            </a:fld>
            <a:endParaRPr lang="pt-BR" sz="1000" dirty="0"/>
          </a:p>
        </p:txBody>
      </p:sp>
      <p:pic>
        <p:nvPicPr>
          <p:cNvPr id="127" name="Picture 4">
            <a:extLst>
              <a:ext uri="{FF2B5EF4-FFF2-40B4-BE49-F238E27FC236}">
                <a16:creationId xmlns:a16="http://schemas.microsoft.com/office/drawing/2014/main" id="{6BB1F293-82B3-0726-26FB-DBA82F454E58}"/>
              </a:ext>
            </a:extLst>
          </p:cNvPr>
          <p:cNvPicPr>
            <a:picLocks noChangeAspect="1" noChangeArrowheads="1"/>
          </p:cNvPicPr>
          <p:nvPr/>
        </p:nvPicPr>
        <p:blipFill>
          <a:blip r:embed="rId72" cstate="screen">
            <a:extLst>
              <a:ext uri="{28A0092B-C50C-407E-A947-70E740481C1C}">
                <a14:useLocalDpi xmlns:a14="http://schemas.microsoft.com/office/drawing/2010/main"/>
              </a:ext>
            </a:extLst>
          </a:blip>
          <a:srcRect/>
          <a:stretch>
            <a:fillRect/>
          </a:stretch>
        </p:blipFill>
        <p:spPr bwMode="auto">
          <a:xfrm>
            <a:off x="7275184" y="2649163"/>
            <a:ext cx="521030" cy="156691"/>
          </a:xfrm>
          <a:prstGeom prst="rect">
            <a:avLst/>
          </a:prstGeom>
          <a:noFill/>
          <a:extLst>
            <a:ext uri="{909E8E84-426E-40DD-AFC4-6F175D3DCCD1}">
              <a14:hiddenFill xmlns:a14="http://schemas.microsoft.com/office/drawing/2010/main">
                <a:solidFill>
                  <a:srgbClr val="FFFFFF"/>
                </a:solidFill>
              </a14:hiddenFill>
            </a:ext>
          </a:extLst>
        </p:spPr>
      </p:pic>
      <p:sp>
        <p:nvSpPr>
          <p:cNvPr id="1024" name="Rectangle 8">
            <a:extLst>
              <a:ext uri="{FF2B5EF4-FFF2-40B4-BE49-F238E27FC236}">
                <a16:creationId xmlns:a16="http://schemas.microsoft.com/office/drawing/2014/main" id="{A3F78508-A964-0314-D537-B58AC27C34DF}"/>
              </a:ext>
            </a:extLst>
          </p:cNvPr>
          <p:cNvSpPr txBox="1">
            <a:spLocks/>
          </p:cNvSpPr>
          <p:nvPr>
            <p:custDataLst>
              <p:tags r:id="rId54"/>
            </p:custDataLst>
          </p:nvPr>
        </p:nvSpPr>
        <p:spPr>
          <a:xfrm>
            <a:off x="6197599" y="1370013"/>
            <a:ext cx="896621" cy="1698307"/>
          </a:xfrm>
          <a:prstGeom prst="rect">
            <a:avLst/>
          </a:prstGeom>
          <a:solidFill>
            <a:schemeClr val="accent1"/>
          </a:solidFill>
          <a:ln w="9525">
            <a:noFill/>
            <a:miter lim="800000"/>
            <a:headEnd/>
            <a:tailEnd/>
          </a:ln>
          <a:effectLst/>
        </p:spPr>
        <p:txBody>
          <a:bodyPr vert="horz" wrap="square" lIns="36576" tIns="76200" rIns="36576" bIns="76200" numCol="1" anchor="ctr"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Gold industry context</a:t>
            </a:r>
            <a:endParaRPr kumimoji="0" lang="en-CA"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endParaRPr>
          </a:p>
        </p:txBody>
      </p:sp>
      <p:sp>
        <p:nvSpPr>
          <p:cNvPr id="1025" name="TextBox 1024">
            <a:extLst>
              <a:ext uri="{FF2B5EF4-FFF2-40B4-BE49-F238E27FC236}">
                <a16:creationId xmlns:a16="http://schemas.microsoft.com/office/drawing/2014/main" id="{DAD314E2-AD5F-2097-3D88-678F0CCF4CBE}"/>
              </a:ext>
            </a:extLst>
          </p:cNvPr>
          <p:cNvSpPr txBox="1">
            <a:spLocks/>
          </p:cNvSpPr>
          <p:nvPr/>
        </p:nvSpPr>
        <p:spPr>
          <a:xfrm>
            <a:off x="7171817" y="1370013"/>
            <a:ext cx="4712209" cy="66941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5425"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Large-scale gold production is well-established in the country, with the presence of prominent international players such as Kinross, AngloGold Ashanti, Lundin (</a:t>
            </a:r>
            <a:r>
              <a:rPr kumimoji="0" lang="en-US" sz="9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Chapada</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copper-gold mine)</a:t>
            </a:r>
          </a:p>
          <a:p>
            <a:pPr marL="228600" marR="0" lvl="1" indent="-225425"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Approximately 25% of gold in Brazil comes from small-scale and artisanal producers, mainly in the Amazon region</a:t>
            </a:r>
          </a:p>
        </p:txBody>
      </p:sp>
      <p:sp>
        <p:nvSpPr>
          <p:cNvPr id="1026" name="TextBox 1025">
            <a:extLst>
              <a:ext uri="{FF2B5EF4-FFF2-40B4-BE49-F238E27FC236}">
                <a16:creationId xmlns:a16="http://schemas.microsoft.com/office/drawing/2014/main" id="{1E4E2C97-85F2-E614-DACB-CADA4522D9BA}"/>
              </a:ext>
            </a:extLst>
          </p:cNvPr>
          <p:cNvSpPr txBox="1">
            <a:spLocks/>
          </p:cNvSpPr>
          <p:nvPr/>
        </p:nvSpPr>
        <p:spPr>
          <a:xfrm>
            <a:off x="7254089" y="2056924"/>
            <a:ext cx="4554013" cy="153888"/>
          </a:xfrm>
          <a:prstGeom prst="rect">
            <a:avLst/>
          </a:prstGeom>
          <a:noFill/>
          <a:ln w="9525">
            <a:noFill/>
            <a:miter lim="800000"/>
            <a:headEnd/>
            <a:tailEnd/>
          </a:ln>
          <a:effectLst/>
        </p:spPr>
        <p:txBody>
          <a:bodyPr vert="horz" wrap="square" lIns="0" tIns="0" rIns="0" bIns="0" numCol="1" anchor="ctr"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C9A319"/>
              </a:buClr>
              <a:buSzTx/>
              <a:buFontTx/>
              <a:buNone/>
              <a:tabLst/>
              <a:defRPr/>
            </a:pPr>
            <a:r>
              <a:rPr kumimoji="0" lang="en-CA" sz="10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Largest gold mines by production </a:t>
            </a:r>
          </a:p>
        </p:txBody>
      </p:sp>
      <p:cxnSp>
        <p:nvCxnSpPr>
          <p:cNvPr id="1028" name="Straight Connector 1027">
            <a:extLst>
              <a:ext uri="{FF2B5EF4-FFF2-40B4-BE49-F238E27FC236}">
                <a16:creationId xmlns:a16="http://schemas.microsoft.com/office/drawing/2014/main" id="{FF0B593C-D848-9FB4-A4F6-0E12D9A887D3}"/>
              </a:ext>
            </a:extLst>
          </p:cNvPr>
          <p:cNvCxnSpPr>
            <a:cxnSpLocks/>
          </p:cNvCxnSpPr>
          <p:nvPr>
            <p:custDataLst>
              <p:tags r:id="rId55"/>
            </p:custDataLst>
          </p:nvPr>
        </p:nvCxnSpPr>
        <p:spPr>
          <a:xfrm>
            <a:off x="8710559" y="2434531"/>
            <a:ext cx="784899" cy="0"/>
          </a:xfrm>
          <a:prstGeom prst="line">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sp>
        <p:nvSpPr>
          <p:cNvPr id="1029" name="TextBox 1028">
            <a:extLst>
              <a:ext uri="{FF2B5EF4-FFF2-40B4-BE49-F238E27FC236}">
                <a16:creationId xmlns:a16="http://schemas.microsoft.com/office/drawing/2014/main" id="{482CA360-9D79-17B5-9ADF-D4357DEB7783}"/>
              </a:ext>
            </a:extLst>
          </p:cNvPr>
          <p:cNvSpPr txBox="1">
            <a:spLocks/>
          </p:cNvSpPr>
          <p:nvPr/>
        </p:nvSpPr>
        <p:spPr>
          <a:xfrm>
            <a:off x="8710559" y="2272432"/>
            <a:ext cx="401691" cy="1384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Mine</a:t>
            </a:r>
          </a:p>
        </p:txBody>
      </p:sp>
      <p:cxnSp>
        <p:nvCxnSpPr>
          <p:cNvPr id="1030" name="Straight Connector 1029">
            <a:extLst>
              <a:ext uri="{FF2B5EF4-FFF2-40B4-BE49-F238E27FC236}">
                <a16:creationId xmlns:a16="http://schemas.microsoft.com/office/drawing/2014/main" id="{58FAC8FE-427B-945B-18CE-2D531EF1CB05}"/>
              </a:ext>
            </a:extLst>
          </p:cNvPr>
          <p:cNvCxnSpPr>
            <a:cxnSpLocks/>
          </p:cNvCxnSpPr>
          <p:nvPr>
            <p:custDataLst>
              <p:tags r:id="rId56"/>
            </p:custDataLst>
          </p:nvPr>
        </p:nvCxnSpPr>
        <p:spPr>
          <a:xfrm>
            <a:off x="9703779" y="2434531"/>
            <a:ext cx="797529" cy="0"/>
          </a:xfrm>
          <a:prstGeom prst="line">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sp>
        <p:nvSpPr>
          <p:cNvPr id="1031" name="TextBox 1030">
            <a:extLst>
              <a:ext uri="{FF2B5EF4-FFF2-40B4-BE49-F238E27FC236}">
                <a16:creationId xmlns:a16="http://schemas.microsoft.com/office/drawing/2014/main" id="{DA9AE0B7-F515-5E02-EE91-A9C47C13156C}"/>
              </a:ext>
            </a:extLst>
          </p:cNvPr>
          <p:cNvSpPr txBox="1">
            <a:spLocks/>
          </p:cNvSpPr>
          <p:nvPr/>
        </p:nvSpPr>
        <p:spPr>
          <a:xfrm>
            <a:off x="9703779" y="2261907"/>
            <a:ext cx="797529" cy="1384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Output</a:t>
            </a: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oz / year</a:t>
            </a:r>
          </a:p>
        </p:txBody>
      </p:sp>
      <p:cxnSp>
        <p:nvCxnSpPr>
          <p:cNvPr id="1032" name="Straight Connector 1031">
            <a:extLst>
              <a:ext uri="{FF2B5EF4-FFF2-40B4-BE49-F238E27FC236}">
                <a16:creationId xmlns:a16="http://schemas.microsoft.com/office/drawing/2014/main" id="{B7C007AA-56BB-619C-F2A8-85C273755624}"/>
              </a:ext>
            </a:extLst>
          </p:cNvPr>
          <p:cNvCxnSpPr>
            <a:cxnSpLocks/>
          </p:cNvCxnSpPr>
          <p:nvPr>
            <p:custDataLst>
              <p:tags r:id="rId57"/>
            </p:custDataLst>
          </p:nvPr>
        </p:nvCxnSpPr>
        <p:spPr>
          <a:xfrm>
            <a:off x="10683198" y="2434531"/>
            <a:ext cx="1124902" cy="0"/>
          </a:xfrm>
          <a:prstGeom prst="line">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sp>
        <p:nvSpPr>
          <p:cNvPr id="1035" name="TextBox 1034">
            <a:extLst>
              <a:ext uri="{FF2B5EF4-FFF2-40B4-BE49-F238E27FC236}">
                <a16:creationId xmlns:a16="http://schemas.microsoft.com/office/drawing/2014/main" id="{1E4CD653-A35E-0DCD-6A78-C2E1878AC761}"/>
              </a:ext>
            </a:extLst>
          </p:cNvPr>
          <p:cNvSpPr txBox="1">
            <a:spLocks/>
          </p:cNvSpPr>
          <p:nvPr/>
        </p:nvSpPr>
        <p:spPr>
          <a:xfrm>
            <a:off x="10683198" y="2260923"/>
            <a:ext cx="1124902" cy="1384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Date of first production</a:t>
            </a:r>
          </a:p>
        </p:txBody>
      </p:sp>
      <p:cxnSp>
        <p:nvCxnSpPr>
          <p:cNvPr id="1036" name="Straight Connector 1035">
            <a:extLst>
              <a:ext uri="{FF2B5EF4-FFF2-40B4-BE49-F238E27FC236}">
                <a16:creationId xmlns:a16="http://schemas.microsoft.com/office/drawing/2014/main" id="{20C0DD8D-3E62-EAEC-AD24-6B42F5A37BCA}"/>
              </a:ext>
            </a:extLst>
          </p:cNvPr>
          <p:cNvCxnSpPr>
            <a:cxnSpLocks/>
          </p:cNvCxnSpPr>
          <p:nvPr>
            <p:custDataLst>
              <p:tags r:id="rId58"/>
            </p:custDataLst>
          </p:nvPr>
        </p:nvCxnSpPr>
        <p:spPr>
          <a:xfrm>
            <a:off x="7254089" y="2626833"/>
            <a:ext cx="4554013" cy="0"/>
          </a:xfrm>
          <a:prstGeom prst="line">
            <a:avLst/>
          </a:prstGeom>
          <a:ln w="6350">
            <a:solidFill>
              <a:srgbClr val="757575"/>
            </a:solidFill>
            <a:prstDash val="solid"/>
          </a:ln>
        </p:spPr>
        <p:style>
          <a:lnRef idx="1">
            <a:schemeClr val="accent1"/>
          </a:lnRef>
          <a:fillRef idx="0">
            <a:schemeClr val="accent1"/>
          </a:fillRef>
          <a:effectRef idx="0">
            <a:schemeClr val="accent1"/>
          </a:effectRef>
          <a:fontRef idx="minor">
            <a:schemeClr val="tx1"/>
          </a:fontRef>
        </p:style>
      </p:cxnSp>
      <p:sp>
        <p:nvSpPr>
          <p:cNvPr id="1037" name="TextBox 1036">
            <a:extLst>
              <a:ext uri="{FF2B5EF4-FFF2-40B4-BE49-F238E27FC236}">
                <a16:creationId xmlns:a16="http://schemas.microsoft.com/office/drawing/2014/main" id="{55A506C1-33E5-6199-554D-45AAA2FC19BF}"/>
              </a:ext>
            </a:extLst>
          </p:cNvPr>
          <p:cNvSpPr txBox="1">
            <a:spLocks/>
          </p:cNvSpPr>
          <p:nvPr/>
        </p:nvSpPr>
        <p:spPr>
          <a:xfrm>
            <a:off x="7254089" y="2280157"/>
            <a:ext cx="1248149" cy="1384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Company</a:t>
            </a:r>
          </a:p>
        </p:txBody>
      </p:sp>
      <p:sp>
        <p:nvSpPr>
          <p:cNvPr id="1038" name="TextBox 1037">
            <a:extLst>
              <a:ext uri="{FF2B5EF4-FFF2-40B4-BE49-F238E27FC236}">
                <a16:creationId xmlns:a16="http://schemas.microsoft.com/office/drawing/2014/main" id="{3CDE89D9-6FA6-CBBA-BD5F-E04EA230D579}"/>
              </a:ext>
            </a:extLst>
          </p:cNvPr>
          <p:cNvSpPr txBox="1">
            <a:spLocks/>
          </p:cNvSpPr>
          <p:nvPr/>
        </p:nvSpPr>
        <p:spPr>
          <a:xfrm>
            <a:off x="8710560" y="2482214"/>
            <a:ext cx="664862" cy="12906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Paracatu</a:t>
            </a:r>
          </a:p>
        </p:txBody>
      </p:sp>
      <p:sp>
        <p:nvSpPr>
          <p:cNvPr id="1039" name="TextBox 1038">
            <a:extLst>
              <a:ext uri="{FF2B5EF4-FFF2-40B4-BE49-F238E27FC236}">
                <a16:creationId xmlns:a16="http://schemas.microsoft.com/office/drawing/2014/main" id="{A4920BEE-2966-562A-5E1C-6303979D945F}"/>
              </a:ext>
            </a:extLst>
          </p:cNvPr>
          <p:cNvSpPr txBox="1">
            <a:spLocks/>
          </p:cNvSpPr>
          <p:nvPr/>
        </p:nvSpPr>
        <p:spPr>
          <a:xfrm>
            <a:off x="9704901" y="2482214"/>
            <a:ext cx="796688" cy="13512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570</a:t>
            </a:r>
          </a:p>
        </p:txBody>
      </p:sp>
      <p:sp>
        <p:nvSpPr>
          <p:cNvPr id="1040" name="TextBox 1039">
            <a:extLst>
              <a:ext uri="{FF2B5EF4-FFF2-40B4-BE49-F238E27FC236}">
                <a16:creationId xmlns:a16="http://schemas.microsoft.com/office/drawing/2014/main" id="{979CE3AE-03C8-53BF-EC59-82861F799DD9}"/>
              </a:ext>
            </a:extLst>
          </p:cNvPr>
          <p:cNvSpPr txBox="1">
            <a:spLocks/>
          </p:cNvSpPr>
          <p:nvPr/>
        </p:nvSpPr>
        <p:spPr>
          <a:xfrm>
            <a:off x="10682552" y="2482214"/>
            <a:ext cx="899848" cy="13715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1987</a:t>
            </a:r>
          </a:p>
        </p:txBody>
      </p:sp>
      <p:sp>
        <p:nvSpPr>
          <p:cNvPr id="1041" name="TextBox 1040">
            <a:extLst>
              <a:ext uri="{FF2B5EF4-FFF2-40B4-BE49-F238E27FC236}">
                <a16:creationId xmlns:a16="http://schemas.microsoft.com/office/drawing/2014/main" id="{7AB8DAED-410A-1785-BA6A-54FA0D33E14A}"/>
              </a:ext>
            </a:extLst>
          </p:cNvPr>
          <p:cNvSpPr txBox="1">
            <a:spLocks/>
          </p:cNvSpPr>
          <p:nvPr/>
        </p:nvSpPr>
        <p:spPr>
          <a:xfrm>
            <a:off x="8710559" y="2675061"/>
            <a:ext cx="784899" cy="13512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AGA Mineracao</a:t>
            </a:r>
          </a:p>
        </p:txBody>
      </p:sp>
      <p:sp>
        <p:nvSpPr>
          <p:cNvPr id="1042" name="TextBox 1041">
            <a:extLst>
              <a:ext uri="{FF2B5EF4-FFF2-40B4-BE49-F238E27FC236}">
                <a16:creationId xmlns:a16="http://schemas.microsoft.com/office/drawing/2014/main" id="{2F0723F8-8636-5C2B-6250-520F196B1975}"/>
              </a:ext>
            </a:extLst>
          </p:cNvPr>
          <p:cNvSpPr txBox="1">
            <a:spLocks/>
          </p:cNvSpPr>
          <p:nvPr/>
        </p:nvSpPr>
        <p:spPr>
          <a:xfrm>
            <a:off x="9704901" y="2675061"/>
            <a:ext cx="796688" cy="13512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330</a:t>
            </a:r>
          </a:p>
        </p:txBody>
      </p:sp>
      <p:sp>
        <p:nvSpPr>
          <p:cNvPr id="1043" name="TextBox 1042">
            <a:extLst>
              <a:ext uri="{FF2B5EF4-FFF2-40B4-BE49-F238E27FC236}">
                <a16:creationId xmlns:a16="http://schemas.microsoft.com/office/drawing/2014/main" id="{6781E4CB-4C92-17B9-973F-766FAD006728}"/>
              </a:ext>
            </a:extLst>
          </p:cNvPr>
          <p:cNvSpPr txBox="1">
            <a:spLocks/>
          </p:cNvSpPr>
          <p:nvPr/>
        </p:nvSpPr>
        <p:spPr>
          <a:xfrm>
            <a:off x="10682552" y="2675061"/>
            <a:ext cx="1125550" cy="13512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1988</a:t>
            </a:r>
          </a:p>
        </p:txBody>
      </p:sp>
      <p:cxnSp>
        <p:nvCxnSpPr>
          <p:cNvPr id="1044" name="Straight Connector 1043">
            <a:extLst>
              <a:ext uri="{FF2B5EF4-FFF2-40B4-BE49-F238E27FC236}">
                <a16:creationId xmlns:a16="http://schemas.microsoft.com/office/drawing/2014/main" id="{F6C248A5-3840-C9CD-27E4-804CF784D90E}"/>
              </a:ext>
            </a:extLst>
          </p:cNvPr>
          <p:cNvCxnSpPr>
            <a:cxnSpLocks/>
          </p:cNvCxnSpPr>
          <p:nvPr>
            <p:custDataLst>
              <p:tags r:id="rId59"/>
            </p:custDataLst>
          </p:nvPr>
        </p:nvCxnSpPr>
        <p:spPr>
          <a:xfrm>
            <a:off x="7254089" y="2434531"/>
            <a:ext cx="1248149" cy="0"/>
          </a:xfrm>
          <a:prstGeom prst="line">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sp>
        <p:nvSpPr>
          <p:cNvPr id="1045" name="TextBox 1044">
            <a:extLst>
              <a:ext uri="{FF2B5EF4-FFF2-40B4-BE49-F238E27FC236}">
                <a16:creationId xmlns:a16="http://schemas.microsoft.com/office/drawing/2014/main" id="{0F70E0E6-7F12-F8E3-2C93-0FE87EC65599}"/>
              </a:ext>
            </a:extLst>
          </p:cNvPr>
          <p:cNvSpPr txBox="1">
            <a:spLocks/>
          </p:cNvSpPr>
          <p:nvPr/>
        </p:nvSpPr>
        <p:spPr>
          <a:xfrm>
            <a:off x="8710559" y="2889546"/>
            <a:ext cx="784899" cy="13512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Jacobina</a:t>
            </a:r>
          </a:p>
        </p:txBody>
      </p:sp>
      <p:cxnSp>
        <p:nvCxnSpPr>
          <p:cNvPr id="1047" name="Straight Connector 1046">
            <a:extLst>
              <a:ext uri="{FF2B5EF4-FFF2-40B4-BE49-F238E27FC236}">
                <a16:creationId xmlns:a16="http://schemas.microsoft.com/office/drawing/2014/main" id="{E6F1B657-E941-F2D9-BB7D-5A399E512644}"/>
              </a:ext>
            </a:extLst>
          </p:cNvPr>
          <p:cNvCxnSpPr>
            <a:cxnSpLocks/>
          </p:cNvCxnSpPr>
          <p:nvPr>
            <p:custDataLst>
              <p:tags r:id="rId60"/>
            </p:custDataLst>
          </p:nvPr>
        </p:nvCxnSpPr>
        <p:spPr>
          <a:xfrm>
            <a:off x="7254089" y="2830809"/>
            <a:ext cx="4554013" cy="0"/>
          </a:xfrm>
          <a:prstGeom prst="line">
            <a:avLst/>
          </a:prstGeom>
          <a:ln w="6350">
            <a:solidFill>
              <a:srgbClr val="757575"/>
            </a:solidFill>
            <a:prstDash val="solid"/>
          </a:ln>
        </p:spPr>
        <p:style>
          <a:lnRef idx="1">
            <a:schemeClr val="accent1"/>
          </a:lnRef>
          <a:fillRef idx="0">
            <a:schemeClr val="accent1"/>
          </a:fillRef>
          <a:effectRef idx="0">
            <a:schemeClr val="accent1"/>
          </a:effectRef>
          <a:fontRef idx="minor">
            <a:schemeClr val="tx1"/>
          </a:fontRef>
        </p:style>
      </p:cxnSp>
      <p:sp>
        <p:nvSpPr>
          <p:cNvPr id="1052" name="TextBox 1051">
            <a:extLst>
              <a:ext uri="{FF2B5EF4-FFF2-40B4-BE49-F238E27FC236}">
                <a16:creationId xmlns:a16="http://schemas.microsoft.com/office/drawing/2014/main" id="{BFA83F51-2CB3-C5BF-5DF7-C6EFC7EA480C}"/>
              </a:ext>
            </a:extLst>
          </p:cNvPr>
          <p:cNvSpPr txBox="1">
            <a:spLocks/>
          </p:cNvSpPr>
          <p:nvPr/>
        </p:nvSpPr>
        <p:spPr>
          <a:xfrm>
            <a:off x="9704901" y="2879267"/>
            <a:ext cx="796688" cy="13512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200</a:t>
            </a:r>
          </a:p>
        </p:txBody>
      </p:sp>
      <p:pic>
        <p:nvPicPr>
          <p:cNvPr id="1053" name="Picture 2">
            <a:extLst>
              <a:ext uri="{FF2B5EF4-FFF2-40B4-BE49-F238E27FC236}">
                <a16:creationId xmlns:a16="http://schemas.microsoft.com/office/drawing/2014/main" id="{5A966BB2-E767-B8A7-9083-521B216EFE3C}"/>
              </a:ext>
            </a:extLst>
          </p:cNvPr>
          <p:cNvPicPr>
            <a:picLocks noChangeAspect="1" noChangeArrowheads="1"/>
          </p:cNvPicPr>
          <p:nvPr/>
        </p:nvPicPr>
        <p:blipFill>
          <a:blip r:embed="rId73" cstate="screen">
            <a:extLst>
              <a:ext uri="{28A0092B-C50C-407E-A947-70E740481C1C}">
                <a14:useLocalDpi xmlns:a14="http://schemas.microsoft.com/office/drawing/2010/main"/>
              </a:ext>
            </a:extLst>
          </a:blip>
          <a:srcRect/>
          <a:stretch>
            <a:fillRect/>
          </a:stretch>
        </p:blipFill>
        <p:spPr bwMode="auto">
          <a:xfrm>
            <a:off x="7259710" y="2474222"/>
            <a:ext cx="469828" cy="142133"/>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6">
            <a:extLst>
              <a:ext uri="{FF2B5EF4-FFF2-40B4-BE49-F238E27FC236}">
                <a16:creationId xmlns:a16="http://schemas.microsoft.com/office/drawing/2014/main" id="{15640388-0FF7-DEF7-76EE-FF265DEC520A}"/>
              </a:ext>
            </a:extLst>
          </p:cNvPr>
          <p:cNvPicPr>
            <a:picLocks noChangeAspect="1" noChangeArrowheads="1"/>
          </p:cNvPicPr>
          <p:nvPr/>
        </p:nvPicPr>
        <p:blipFill>
          <a:blip r:embed="rId74">
            <a:extLst>
              <a:ext uri="{28A0092B-C50C-407E-A947-70E740481C1C}">
                <a14:useLocalDpi xmlns:a14="http://schemas.microsoft.com/office/drawing/2010/main"/>
              </a:ext>
            </a:extLst>
          </a:blip>
          <a:srcRect/>
          <a:stretch>
            <a:fillRect/>
          </a:stretch>
        </p:blipFill>
        <p:spPr bwMode="auto">
          <a:xfrm>
            <a:off x="7254089" y="2863276"/>
            <a:ext cx="802831" cy="161916"/>
          </a:xfrm>
          <a:prstGeom prst="rect">
            <a:avLst/>
          </a:prstGeom>
          <a:noFill/>
          <a:extLst>
            <a:ext uri="{909E8E84-426E-40DD-AFC4-6F175D3DCCD1}">
              <a14:hiddenFill xmlns:a14="http://schemas.microsoft.com/office/drawing/2010/main">
                <a:solidFill>
                  <a:srgbClr val="FFFFFF"/>
                </a:solidFill>
              </a14:hiddenFill>
            </a:ext>
          </a:extLst>
        </p:spPr>
      </p:pic>
      <p:sp>
        <p:nvSpPr>
          <p:cNvPr id="1055" name="Rectangle 1054">
            <a:extLst>
              <a:ext uri="{FF2B5EF4-FFF2-40B4-BE49-F238E27FC236}">
                <a16:creationId xmlns:a16="http://schemas.microsoft.com/office/drawing/2014/main" id="{F7B0F23C-8F86-927D-0684-1B9FFDBF2FF1}"/>
              </a:ext>
            </a:extLst>
          </p:cNvPr>
          <p:cNvSpPr>
            <a:spLocks/>
          </p:cNvSpPr>
          <p:nvPr/>
        </p:nvSpPr>
        <p:spPr>
          <a:xfrm>
            <a:off x="7174991" y="2234624"/>
            <a:ext cx="4712207" cy="833697"/>
          </a:xfrm>
          <a:prstGeom prst="rect">
            <a:avLst/>
          </a:prstGeom>
          <a:no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CA" sz="1400" b="0" i="0" u="none" strike="noStrike" kern="1200" cap="none" spc="0" normalizeH="0" baseline="0" noProof="0" dirty="0" err="1">
              <a:ln>
                <a:noFill/>
              </a:ln>
              <a:solidFill>
                <a:srgbClr val="2A516C"/>
              </a:solidFill>
              <a:effectLst/>
              <a:uLnTx/>
              <a:uFillTx/>
              <a:latin typeface="Calibri" panose="020F0502020204030204" pitchFamily="34" charset="0"/>
              <a:ea typeface="ＭＳ Ｐゴシック"/>
              <a:cs typeface="Calibri" panose="020F0502020204030204" pitchFamily="34" charset="0"/>
            </a:endParaRPr>
          </a:p>
        </p:txBody>
      </p:sp>
      <p:sp>
        <p:nvSpPr>
          <p:cNvPr id="1056" name="TextBox 1055">
            <a:extLst>
              <a:ext uri="{FF2B5EF4-FFF2-40B4-BE49-F238E27FC236}">
                <a16:creationId xmlns:a16="http://schemas.microsoft.com/office/drawing/2014/main" id="{7F9AD6BC-E650-7D16-2477-8F96CA86DA2C}"/>
              </a:ext>
            </a:extLst>
          </p:cNvPr>
          <p:cNvSpPr txBox="1">
            <a:spLocks/>
          </p:cNvSpPr>
          <p:nvPr/>
        </p:nvSpPr>
        <p:spPr>
          <a:xfrm>
            <a:off x="10682552" y="2879111"/>
            <a:ext cx="1125550" cy="13512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2005</a:t>
            </a:r>
          </a:p>
        </p:txBody>
      </p:sp>
    </p:spTree>
    <p:extLst>
      <p:ext uri="{BB962C8B-B14F-4D97-AF65-F5344CB8AC3E}">
        <p14:creationId xmlns:p14="http://schemas.microsoft.com/office/powerpoint/2010/main" val="25720714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0F01A5E-C01F-D63D-FBA3-695B476A92D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95" imgH="396" progId="TCLayout.ActiveDocument.1">
                  <p:embed/>
                </p:oleObj>
              </mc:Choice>
              <mc:Fallback>
                <p:oleObj name="think-cell Slide" r:id="rId16" imgW="395" imgH="396" progId="TCLayout.ActiveDocument.1">
                  <p:embed/>
                  <p:pic>
                    <p:nvPicPr>
                      <p:cNvPr id="5" name="Object 4" hidden="1">
                        <a:extLst>
                          <a:ext uri="{FF2B5EF4-FFF2-40B4-BE49-F238E27FC236}">
                            <a16:creationId xmlns:a16="http://schemas.microsoft.com/office/drawing/2014/main" id="{60F01A5E-C01F-D63D-FBA3-695B476A92D4}"/>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11" name="2. Slide Title">
            <a:extLst>
              <a:ext uri="{FF2B5EF4-FFF2-40B4-BE49-F238E27FC236}">
                <a16:creationId xmlns:a16="http://schemas.microsoft.com/office/drawing/2014/main" id="{8C7A8047-9EC5-7379-5DE5-1EFA93CEB23D}"/>
              </a:ext>
            </a:extLst>
          </p:cNvPr>
          <p:cNvSpPr txBox="1">
            <a:spLocks noChangeArrowheads="1"/>
          </p:cNvSpPr>
          <p:nvPr>
            <p:custDataLst>
              <p:tags r:id="rId2"/>
            </p:custDataLst>
          </p:nvPr>
        </p:nvSpPr>
        <p:spPr>
          <a:xfrm>
            <a:off x="262527" y="309296"/>
            <a:ext cx="7870722" cy="75713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ctr" anchorCtr="0">
            <a:noAutofit/>
          </a:bodyPr>
          <a:lstStyle>
            <a:lvl1pPr algn="l" defTabSz="914400" rtl="0" eaLnBrk="1" latinLnBrk="0" hangingPunct="1">
              <a:lnSpc>
                <a:spcPct val="90000"/>
              </a:lnSpc>
              <a:spcBef>
                <a:spcPct val="0"/>
              </a:spcBef>
              <a:buNone/>
              <a:defRPr sz="3200" b="1" i="0" kern="1200">
                <a:solidFill>
                  <a:srgbClr val="002060"/>
                </a:solidFill>
                <a:latin typeface="Calibri" panose="020F0502020204030204" pitchFamily="34" charset="0"/>
                <a:ea typeface="+mj-ea"/>
                <a:cs typeface="Calibri" panose="020F050202020403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pt-BR" sz="2400" b="1" i="0" u="none" strike="noStrike" kern="1200" cap="none" spc="0" normalizeH="0" baseline="0" noProof="0" dirty="0">
                <a:ln>
                  <a:noFill/>
                </a:ln>
                <a:solidFill>
                  <a:srgbClr val="002060"/>
                </a:solidFill>
                <a:effectLst/>
                <a:uLnTx/>
                <a:uFillTx/>
                <a:latin typeface="Calibri" panose="020F0502020204030204" pitchFamily="34" charset="0"/>
                <a:ea typeface="+mj-ea"/>
                <a:cs typeface="Calibri" panose="020F0502020204030204" pitchFamily="34" charset="0"/>
              </a:rPr>
              <a:t>Two factors highlight Latin America’s growing requirement for private investments</a:t>
            </a:r>
            <a:endParaRPr kumimoji="0" lang="en-US" sz="2400" b="1" i="0" u="none" strike="noStrike" kern="1200" cap="none" spc="0" normalizeH="0" baseline="0" noProof="0" dirty="0">
              <a:ln>
                <a:noFill/>
              </a:ln>
              <a:solidFill>
                <a:srgbClr val="002060"/>
              </a:solidFill>
              <a:effectLst/>
              <a:uLnTx/>
              <a:uFillTx/>
              <a:latin typeface="Calibri" panose="020F0502020204030204" pitchFamily="34" charset="0"/>
              <a:ea typeface="+mj-ea"/>
              <a:cs typeface="Calibri" panose="020F0502020204030204" pitchFamily="34" charset="0"/>
            </a:endParaRPr>
          </a:p>
        </p:txBody>
      </p:sp>
      <p:sp>
        <p:nvSpPr>
          <p:cNvPr id="2" name="Rectangle 1">
            <a:extLst>
              <a:ext uri="{FF2B5EF4-FFF2-40B4-BE49-F238E27FC236}">
                <a16:creationId xmlns:a16="http://schemas.microsoft.com/office/drawing/2014/main" id="{D98B61BE-60EA-645C-7549-33ACA17481C8}"/>
              </a:ext>
            </a:extLst>
          </p:cNvPr>
          <p:cNvSpPr/>
          <p:nvPr/>
        </p:nvSpPr>
        <p:spPr>
          <a:xfrm>
            <a:off x="8288073" y="1552575"/>
            <a:ext cx="3903927" cy="53054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26EBF6C6-BAA9-CE45-1F2B-481830F9014E}"/>
              </a:ext>
            </a:extLst>
          </p:cNvPr>
          <p:cNvSpPr txBox="1"/>
          <p:nvPr/>
        </p:nvSpPr>
        <p:spPr>
          <a:xfrm>
            <a:off x="262528" y="2244760"/>
            <a:ext cx="2185398" cy="369332"/>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BR" sz="2000" b="1"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mn-cs"/>
              </a:rPr>
              <a:t>Resource wealth</a:t>
            </a:r>
          </a:p>
        </p:txBody>
      </p:sp>
      <p:sp>
        <p:nvSpPr>
          <p:cNvPr id="4" name="TextBox 3">
            <a:extLst>
              <a:ext uri="{FF2B5EF4-FFF2-40B4-BE49-F238E27FC236}">
                <a16:creationId xmlns:a16="http://schemas.microsoft.com/office/drawing/2014/main" id="{43BB862E-F976-BE14-5F94-EFC5805A61E6}"/>
              </a:ext>
            </a:extLst>
          </p:cNvPr>
          <p:cNvSpPr txBox="1">
            <a:spLocks/>
          </p:cNvSpPr>
          <p:nvPr/>
        </p:nvSpPr>
        <p:spPr>
          <a:xfrm>
            <a:off x="2927886" y="2244760"/>
            <a:ext cx="5103848" cy="369332"/>
          </a:xfrm>
          <a:prstGeom prst="rect">
            <a:avLst/>
          </a:prstGeom>
        </p:spPr>
        <p:txBody>
          <a:bodyPr vert="horz" wrap="square" lIns="91440" tIns="45720" rIns="91440" bIns="45720" rtlCol="0">
            <a:no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BR" sz="2000" b="1" i="0" u="none" strike="noStrike" kern="1200" cap="none" spc="0" normalizeH="0" baseline="0" noProof="0" dirty="0">
                <a:ln>
                  <a:noFill/>
                </a:ln>
                <a:solidFill>
                  <a:srgbClr val="000000"/>
                </a:solidFill>
                <a:effectLst/>
                <a:uLnTx/>
                <a:uFillTx/>
                <a:latin typeface="Calibri" panose="020F0502020204030204"/>
                <a:ea typeface="+mn-ea"/>
                <a:cs typeface="+mn-cs"/>
              </a:rPr>
              <a:t>Political distrust</a:t>
            </a:r>
          </a:p>
        </p:txBody>
      </p:sp>
      <p:grpSp>
        <p:nvGrpSpPr>
          <p:cNvPr id="9" name="CustomIcon">
            <a:extLst>
              <a:ext uri="{FF2B5EF4-FFF2-40B4-BE49-F238E27FC236}">
                <a16:creationId xmlns:a16="http://schemas.microsoft.com/office/drawing/2014/main" id="{DF4BC2C3-27AE-D61F-E935-C48AFDF7ED88}"/>
              </a:ext>
            </a:extLst>
          </p:cNvPr>
          <p:cNvGrpSpPr>
            <a:grpSpLocks noChangeAspect="1"/>
          </p:cNvGrpSpPr>
          <p:nvPr>
            <p:custDataLst>
              <p:tags r:id="rId3"/>
            </p:custDataLst>
          </p:nvPr>
        </p:nvGrpSpPr>
        <p:grpSpPr>
          <a:xfrm>
            <a:off x="380423" y="1220107"/>
            <a:ext cx="851898" cy="851898"/>
            <a:chOff x="-205105" y="-205105"/>
            <a:chExt cx="1019810" cy="1019810"/>
          </a:xfrm>
          <a:solidFill>
            <a:schemeClr val="accent3"/>
          </a:solidFill>
        </p:grpSpPr>
        <p:sp>
          <p:nvSpPr>
            <p:cNvPr id="6" name="Oval 5">
              <a:extLst>
                <a:ext uri="{FF2B5EF4-FFF2-40B4-BE49-F238E27FC236}">
                  <a16:creationId xmlns:a16="http://schemas.microsoft.com/office/drawing/2014/main" id="{B6BE8858-C79D-5001-D804-5E502525F858}"/>
                </a:ext>
              </a:extLst>
            </p:cNvPr>
            <p:cNvSpPr>
              <a:spLocks noChangeAspect="1"/>
            </p:cNvSpPr>
            <p:nvPr/>
          </p:nvSpPr>
          <p:spPr>
            <a:xfrm>
              <a:off x="-205105" y="-205105"/>
              <a:ext cx="1019810" cy="1019810"/>
            </a:xfrm>
            <a:prstGeom prst="ellipse">
              <a:avLst/>
            </a:prstGeom>
            <a:grp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8" name="Graphic 7">
              <a:extLst>
                <a:ext uri="{FF2B5EF4-FFF2-40B4-BE49-F238E27FC236}">
                  <a16:creationId xmlns:a16="http://schemas.microsoft.com/office/drawing/2014/main" id="{BAAC6CB6-47E7-3C04-2BAA-2DE0CCA36F27}"/>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0" y="0"/>
              <a:ext cx="609600" cy="609600"/>
            </a:xfrm>
            <a:prstGeom prst="rect">
              <a:avLst/>
            </a:prstGeom>
          </p:spPr>
        </p:pic>
      </p:grpSp>
      <p:grpSp>
        <p:nvGrpSpPr>
          <p:cNvPr id="14" name="CustomIcon">
            <a:extLst>
              <a:ext uri="{FF2B5EF4-FFF2-40B4-BE49-F238E27FC236}">
                <a16:creationId xmlns:a16="http://schemas.microsoft.com/office/drawing/2014/main" id="{2C38E7D5-2342-9FD4-4896-AB822BB66D17}"/>
              </a:ext>
            </a:extLst>
          </p:cNvPr>
          <p:cNvGrpSpPr>
            <a:grpSpLocks noChangeAspect="1"/>
          </p:cNvGrpSpPr>
          <p:nvPr>
            <p:custDataLst>
              <p:tags r:id="rId4"/>
            </p:custDataLst>
          </p:nvPr>
        </p:nvGrpSpPr>
        <p:grpSpPr>
          <a:xfrm>
            <a:off x="3045781" y="1220107"/>
            <a:ext cx="851898" cy="851898"/>
            <a:chOff x="-205105" y="-205105"/>
            <a:chExt cx="1019810" cy="1019810"/>
          </a:xfrm>
          <a:solidFill>
            <a:schemeClr val="accent1"/>
          </a:solidFill>
        </p:grpSpPr>
        <p:sp>
          <p:nvSpPr>
            <p:cNvPr id="10" name="Oval 9">
              <a:extLst>
                <a:ext uri="{FF2B5EF4-FFF2-40B4-BE49-F238E27FC236}">
                  <a16:creationId xmlns:a16="http://schemas.microsoft.com/office/drawing/2014/main" id="{0BCAC8C2-2208-FA00-EEC8-37D9AC10687A}"/>
                </a:ext>
              </a:extLst>
            </p:cNvPr>
            <p:cNvSpPr>
              <a:spLocks noChangeAspect="1"/>
            </p:cNvSpPr>
            <p:nvPr/>
          </p:nvSpPr>
          <p:spPr>
            <a:xfrm>
              <a:off x="-205105" y="-205105"/>
              <a:ext cx="1019810" cy="1019810"/>
            </a:xfrm>
            <a:prstGeom prst="ellipse">
              <a:avLst/>
            </a:prstGeom>
            <a:grp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3" name="Graphic 12">
              <a:extLst>
                <a:ext uri="{FF2B5EF4-FFF2-40B4-BE49-F238E27FC236}">
                  <a16:creationId xmlns:a16="http://schemas.microsoft.com/office/drawing/2014/main" id="{F1CC7F4F-C62A-D233-1084-4DBBEE1FF1B7}"/>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0" y="0"/>
              <a:ext cx="609600" cy="609600"/>
            </a:xfrm>
            <a:prstGeom prst="rect">
              <a:avLst/>
            </a:prstGeom>
          </p:spPr>
        </p:pic>
      </p:grpSp>
      <p:sp>
        <p:nvSpPr>
          <p:cNvPr id="15" name="TextBox 14">
            <a:extLst>
              <a:ext uri="{FF2B5EF4-FFF2-40B4-BE49-F238E27FC236}">
                <a16:creationId xmlns:a16="http://schemas.microsoft.com/office/drawing/2014/main" id="{BEBCDEDB-560F-701F-F381-A9DF41D7C3D2}"/>
              </a:ext>
            </a:extLst>
          </p:cNvPr>
          <p:cNvSpPr txBox="1">
            <a:spLocks/>
          </p:cNvSpPr>
          <p:nvPr/>
        </p:nvSpPr>
        <p:spPr>
          <a:xfrm>
            <a:off x="262528" y="2665528"/>
            <a:ext cx="2185398" cy="1421928"/>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mn-cs"/>
              </a:rPr>
              <a:t>The region's </a:t>
            </a:r>
            <a:r>
              <a:rPr kumimoji="0" lang="en-US" sz="1600" b="1"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mn-cs"/>
              </a:rPr>
              <a:t>assets for energy, minerals, and agricultural production </a:t>
            </a:r>
            <a:r>
              <a:rPr kumimoji="0" lang="en-US" sz="16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mn-cs"/>
              </a:rPr>
              <a:t>put it in a </a:t>
            </a:r>
            <a:r>
              <a:rPr kumimoji="0" lang="en-US" sz="1600" b="1" i="0" u="none" strike="noStrike" kern="1200" cap="none" spc="0" normalizeH="0" baseline="0" noProof="0" dirty="0">
                <a:ln>
                  <a:noFill/>
                </a:ln>
                <a:solidFill>
                  <a:srgbClr val="002659">
                    <a:lumMod val="50000"/>
                    <a:lumOff val="50000"/>
                  </a:srgbClr>
                </a:solidFill>
                <a:effectLst/>
                <a:uLnTx/>
                <a:uFillTx/>
                <a:latin typeface="Calibri" panose="020F0502020204030204"/>
                <a:ea typeface="+mn-ea"/>
                <a:cs typeface="+mn-cs"/>
              </a:rPr>
              <a:t>good position for investments and economic growth</a:t>
            </a:r>
            <a:endParaRPr kumimoji="0" lang="pt-BR" sz="1600" b="1" i="0" u="none" strike="noStrike" kern="1200" cap="none" spc="0" normalizeH="0" baseline="0" noProof="0" dirty="0">
              <a:ln>
                <a:noFill/>
              </a:ln>
              <a:solidFill>
                <a:srgbClr val="002659">
                  <a:lumMod val="50000"/>
                  <a:lumOff val="50000"/>
                </a:srgbClr>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85401A92-3E59-D4F8-5E14-DD0FD79492F6}"/>
              </a:ext>
            </a:extLst>
          </p:cNvPr>
          <p:cNvSpPr txBox="1">
            <a:spLocks/>
          </p:cNvSpPr>
          <p:nvPr/>
        </p:nvSpPr>
        <p:spPr>
          <a:xfrm>
            <a:off x="2927885" y="2665528"/>
            <a:ext cx="5103848" cy="978729"/>
          </a:xfrm>
          <a:prstGeom prst="rect">
            <a:avLst/>
          </a:prstGeom>
        </p:spPr>
        <p:txBody>
          <a:bodyPr vert="horz" wrap="square" lIns="91440" tIns="45720" rIns="91440" bIns="45720" rtlCol="0">
            <a:no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mn-cs"/>
              </a:rPr>
              <a:t>Distrust in the system </a:t>
            </a: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and resentment against the establishment are </a:t>
            </a: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mn-cs"/>
              </a:rPr>
              <a:t>higher in Latin America than in other regions</a:t>
            </a: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 generating an era of </a:t>
            </a:r>
            <a:r>
              <a:rPr kumimoji="0" lang="en-US" sz="1600" b="1" i="0" u="none" strike="noStrike" kern="1200" cap="none" spc="0" normalizeH="0" baseline="0" noProof="0" dirty="0">
                <a:ln>
                  <a:noFill/>
                </a:ln>
                <a:solidFill>
                  <a:srgbClr val="002659">
                    <a:lumMod val="50000"/>
                    <a:lumOff val="50000"/>
                  </a:srgbClr>
                </a:solidFill>
                <a:effectLst/>
                <a:uLnTx/>
                <a:uFillTx/>
                <a:latin typeface="Calibri" panose="020F0502020204030204"/>
                <a:ea typeface="+mn-ea"/>
                <a:cs typeface="+mn-cs"/>
              </a:rPr>
              <a:t>governments with weak support</a:t>
            </a:r>
            <a:endParaRPr kumimoji="0" lang="pt-BR" sz="1600" b="1" i="0" u="none" strike="noStrike" kern="1200" cap="none" spc="0" normalizeH="0" baseline="0" noProof="0" dirty="0">
              <a:ln>
                <a:noFill/>
              </a:ln>
              <a:solidFill>
                <a:srgbClr val="002659">
                  <a:lumMod val="50000"/>
                  <a:lumOff val="50000"/>
                </a:srgbClr>
              </a:solidFill>
              <a:effectLst/>
              <a:uLnTx/>
              <a:uFillTx/>
              <a:latin typeface="Calibri" panose="020F0502020204030204"/>
              <a:ea typeface="+mn-ea"/>
              <a:cs typeface="+mn-cs"/>
            </a:endParaRPr>
          </a:p>
        </p:txBody>
      </p:sp>
      <p:pic>
        <p:nvPicPr>
          <p:cNvPr id="20" name="Picture 19">
            <a:extLst>
              <a:ext uri="{FF2B5EF4-FFF2-40B4-BE49-F238E27FC236}">
                <a16:creationId xmlns:a16="http://schemas.microsoft.com/office/drawing/2014/main" id="{B6E09A8A-E61D-9385-F7DC-7218291CFF80}"/>
              </a:ext>
            </a:extLst>
          </p:cNvPr>
          <p:cNvPicPr>
            <a:picLocks noChangeAspect="1"/>
          </p:cNvPicPr>
          <p:nvPr>
            <p:custDataLst>
              <p:tags r:id="rId5"/>
            </p:custDataLst>
          </p:nvPr>
        </p:nvPicPr>
        <p:blipFill rotWithShape="1">
          <a:blip r:embed="rId22" cstate="screen">
            <a:extLst>
              <a:ext uri="{28A0092B-C50C-407E-A947-70E740481C1C}">
                <a14:useLocalDpi xmlns:a14="http://schemas.microsoft.com/office/drawing/2010/main"/>
              </a:ext>
            </a:extLst>
          </a:blip>
          <a:srcRect/>
          <a:stretch/>
        </p:blipFill>
        <p:spPr>
          <a:xfrm>
            <a:off x="0" y="4435086"/>
            <a:ext cx="1727725" cy="2422914"/>
          </a:xfrm>
          <a:prstGeom prst="rect">
            <a:avLst/>
          </a:prstGeom>
        </p:spPr>
      </p:pic>
      <p:cxnSp>
        <p:nvCxnSpPr>
          <p:cNvPr id="21" name="GreyLineContentSeparatorDefault 21">
            <a:extLst>
              <a:ext uri="{FF2B5EF4-FFF2-40B4-BE49-F238E27FC236}">
                <a16:creationId xmlns:a16="http://schemas.microsoft.com/office/drawing/2014/main" id="{E958543D-D682-121A-4630-4E8972E755EC}"/>
              </a:ext>
            </a:extLst>
          </p:cNvPr>
          <p:cNvCxnSpPr>
            <a:cxnSpLocks/>
          </p:cNvCxnSpPr>
          <p:nvPr>
            <p:custDataLst>
              <p:tags r:id="rId6"/>
            </p:custDataLst>
          </p:nvPr>
        </p:nvCxnSpPr>
        <p:spPr>
          <a:xfrm>
            <a:off x="262527" y="2639810"/>
            <a:ext cx="2185398" cy="0"/>
          </a:xfrm>
          <a:prstGeom prst="straightConnector1">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cxnSp>
        <p:nvCxnSpPr>
          <p:cNvPr id="23" name="GreyLineContentSeparatorDefault 21">
            <a:extLst>
              <a:ext uri="{FF2B5EF4-FFF2-40B4-BE49-F238E27FC236}">
                <a16:creationId xmlns:a16="http://schemas.microsoft.com/office/drawing/2014/main" id="{AC252C93-53BD-4090-0C5A-93B1F2BC8C8A}"/>
              </a:ext>
            </a:extLst>
          </p:cNvPr>
          <p:cNvCxnSpPr>
            <a:cxnSpLocks/>
          </p:cNvCxnSpPr>
          <p:nvPr>
            <p:custDataLst>
              <p:tags r:id="rId7"/>
            </p:custDataLst>
          </p:nvPr>
        </p:nvCxnSpPr>
        <p:spPr>
          <a:xfrm>
            <a:off x="2927886" y="2639810"/>
            <a:ext cx="5103848" cy="0"/>
          </a:xfrm>
          <a:prstGeom prst="straightConnector1">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F1A8886C-BD75-5D62-FE2B-FA7E1040E73E}"/>
              </a:ext>
            </a:extLst>
          </p:cNvPr>
          <p:cNvGrpSpPr>
            <a:grpSpLocks/>
          </p:cNvGrpSpPr>
          <p:nvPr/>
        </p:nvGrpSpPr>
        <p:grpSpPr>
          <a:xfrm>
            <a:off x="4951018" y="4439204"/>
            <a:ext cx="1057582" cy="1057298"/>
            <a:chOff x="-5255192" y="1980533"/>
            <a:chExt cx="4235401" cy="4235826"/>
          </a:xfrm>
        </p:grpSpPr>
        <p:sp>
          <p:nvSpPr>
            <p:cNvPr id="25" name="Freeform: Shape 24">
              <a:extLst>
                <a:ext uri="{FF2B5EF4-FFF2-40B4-BE49-F238E27FC236}">
                  <a16:creationId xmlns:a16="http://schemas.microsoft.com/office/drawing/2014/main" id="{FA0C1C1F-E8F5-5D13-839C-093C6DB40403}"/>
                </a:ext>
              </a:extLst>
            </p:cNvPr>
            <p:cNvSpPr/>
            <p:nvPr/>
          </p:nvSpPr>
          <p:spPr>
            <a:xfrm>
              <a:off x="-3145830" y="1980533"/>
              <a:ext cx="2126039" cy="4235826"/>
            </a:xfrm>
            <a:custGeom>
              <a:avLst/>
              <a:gdLst>
                <a:gd name="connsiteX0" fmla="*/ 0 w 2126039"/>
                <a:gd name="connsiteY0" fmla="*/ 0 h 4235826"/>
                <a:gd name="connsiteX1" fmla="*/ 223689 w 2126039"/>
                <a:gd name="connsiteY1" fmla="*/ 7030 h 4235826"/>
                <a:gd name="connsiteX2" fmla="*/ 1979058 w 2126039"/>
                <a:gd name="connsiteY2" fmla="*/ 1338744 h 4235826"/>
                <a:gd name="connsiteX3" fmla="*/ 2001385 w 2126039"/>
                <a:gd name="connsiteY3" fmla="*/ 1404115 h 4235826"/>
                <a:gd name="connsiteX4" fmla="*/ 2003245 w 2126039"/>
                <a:gd name="connsiteY4" fmla="*/ 1408506 h 4235826"/>
                <a:gd name="connsiteX5" fmla="*/ 2005218 w 2126039"/>
                <a:gd name="connsiteY5" fmla="*/ 1415336 h 4235826"/>
                <a:gd name="connsiteX6" fmla="*/ 2042046 w 2126039"/>
                <a:gd name="connsiteY6" fmla="*/ 1523160 h 4235826"/>
                <a:gd name="connsiteX7" fmla="*/ 2070283 w 2126039"/>
                <a:gd name="connsiteY7" fmla="*/ 1640584 h 4235826"/>
                <a:gd name="connsiteX8" fmla="*/ 2073773 w 2126039"/>
                <a:gd name="connsiteY8" fmla="*/ 1652669 h 4235826"/>
                <a:gd name="connsiteX9" fmla="*/ 2076223 w 2126039"/>
                <a:gd name="connsiteY9" fmla="*/ 1665287 h 4235826"/>
                <a:gd name="connsiteX10" fmla="*/ 2088124 w 2126039"/>
                <a:gd name="connsiteY10" fmla="*/ 1714777 h 4235826"/>
                <a:gd name="connsiteX11" fmla="*/ 2094526 w 2126039"/>
                <a:gd name="connsiteY11" fmla="*/ 1759573 h 4235826"/>
                <a:gd name="connsiteX12" fmla="*/ 2098010 w 2126039"/>
                <a:gd name="connsiteY12" fmla="*/ 1777522 h 4235826"/>
                <a:gd name="connsiteX13" fmla="*/ 2109984 w 2126039"/>
                <a:gd name="connsiteY13" fmla="*/ 1867726 h 4235826"/>
                <a:gd name="connsiteX14" fmla="*/ 2116414 w 2126039"/>
                <a:gd name="connsiteY14" fmla="*/ 1912716 h 4235826"/>
                <a:gd name="connsiteX15" fmla="*/ 2118328 w 2126039"/>
                <a:gd name="connsiteY15" fmla="*/ 1953155 h 4235826"/>
                <a:gd name="connsiteX16" fmla="*/ 2123940 w 2126039"/>
                <a:gd name="connsiteY16" fmla="*/ 2030995 h 4235826"/>
                <a:gd name="connsiteX17" fmla="*/ 2124574 w 2126039"/>
                <a:gd name="connsiteY17" fmla="*/ 2085146 h 4235826"/>
                <a:gd name="connsiteX18" fmla="*/ 2126039 w 2126039"/>
                <a:gd name="connsiteY18" fmla="*/ 2116100 h 4235826"/>
                <a:gd name="connsiteX19" fmla="*/ 2125144 w 2126039"/>
                <a:gd name="connsiteY19" fmla="*/ 2133833 h 4235826"/>
                <a:gd name="connsiteX20" fmla="*/ 2125438 w 2126039"/>
                <a:gd name="connsiteY20" fmla="*/ 2158907 h 4235826"/>
                <a:gd name="connsiteX21" fmla="*/ 2119159 w 2126039"/>
                <a:gd name="connsiteY21" fmla="*/ 2287129 h 4235826"/>
                <a:gd name="connsiteX22" fmla="*/ 2115931 w 2126039"/>
                <a:gd name="connsiteY22" fmla="*/ 2316366 h 4235826"/>
                <a:gd name="connsiteX23" fmla="*/ 2115099 w 2126039"/>
                <a:gd name="connsiteY23" fmla="*/ 2332860 h 4235826"/>
                <a:gd name="connsiteX24" fmla="*/ 2111520 w 2126039"/>
                <a:gd name="connsiteY24" fmla="*/ 2356319 h 4235826"/>
                <a:gd name="connsiteX25" fmla="*/ 2105008 w 2126039"/>
                <a:gd name="connsiteY25" fmla="*/ 2415307 h 4235826"/>
                <a:gd name="connsiteX26" fmla="*/ 2084105 w 2126039"/>
                <a:gd name="connsiteY26" fmla="*/ 2536034 h 4235826"/>
                <a:gd name="connsiteX27" fmla="*/ 2082988 w 2126039"/>
                <a:gd name="connsiteY27" fmla="*/ 2543357 h 4235826"/>
                <a:gd name="connsiteX28" fmla="*/ 2080749 w 2126039"/>
                <a:gd name="connsiteY28" fmla="*/ 2552070 h 4235826"/>
                <a:gd name="connsiteX29" fmla="*/ 2052692 w 2126039"/>
                <a:gd name="connsiteY29" fmla="*/ 2670112 h 4235826"/>
                <a:gd name="connsiteX30" fmla="*/ 2038108 w 2126039"/>
                <a:gd name="connsiteY30" fmla="*/ 2717986 h 4235826"/>
                <a:gd name="connsiteX31" fmla="*/ 2030773 w 2126039"/>
                <a:gd name="connsiteY31" fmla="*/ 2746528 h 4235826"/>
                <a:gd name="connsiteX32" fmla="*/ 2022645 w 2126039"/>
                <a:gd name="connsiteY32" fmla="*/ 2768745 h 4235826"/>
                <a:gd name="connsiteX33" fmla="*/ 2014333 w 2126039"/>
                <a:gd name="connsiteY33" fmla="*/ 2796030 h 4235826"/>
                <a:gd name="connsiteX34" fmla="*/ 1967709 w 2126039"/>
                <a:gd name="connsiteY34" fmla="*/ 2920486 h 4235826"/>
                <a:gd name="connsiteX35" fmla="*/ 1964585 w 2126039"/>
                <a:gd name="connsiteY35" fmla="*/ 2927452 h 4235826"/>
                <a:gd name="connsiteX36" fmla="*/ 1959517 w 2126039"/>
                <a:gd name="connsiteY36" fmla="*/ 2941306 h 4235826"/>
                <a:gd name="connsiteX37" fmla="*/ 1948961 w 2126039"/>
                <a:gd name="connsiteY37" fmla="*/ 2962299 h 4235826"/>
                <a:gd name="connsiteX38" fmla="*/ 1912722 w 2126039"/>
                <a:gd name="connsiteY38" fmla="*/ 3043124 h 4235826"/>
                <a:gd name="connsiteX39" fmla="*/ 1849275 w 2126039"/>
                <a:gd name="connsiteY39" fmla="*/ 3163591 h 4235826"/>
                <a:gd name="connsiteX40" fmla="*/ 168925 w 2126039"/>
                <a:gd name="connsiteY40" fmla="*/ 4230138 h 4235826"/>
                <a:gd name="connsiteX41" fmla="*/ 92863 w 2126039"/>
                <a:gd name="connsiteY41" fmla="*/ 4235826 h 4235826"/>
                <a:gd name="connsiteX42" fmla="*/ 2487 w 2126039"/>
                <a:gd name="connsiteY42" fmla="*/ 3983930 h 4235826"/>
                <a:gd name="connsiteX43" fmla="*/ 93791 w 2126039"/>
                <a:gd name="connsiteY43" fmla="*/ 3732503 h 4235826"/>
                <a:gd name="connsiteX44" fmla="*/ 130194 w 2126039"/>
                <a:gd name="connsiteY44" fmla="*/ 3728782 h 4235826"/>
                <a:gd name="connsiteX45" fmla="*/ 1411890 w 2126039"/>
                <a:gd name="connsiteY45" fmla="*/ 2915269 h 4235826"/>
                <a:gd name="connsiteX46" fmla="*/ 1420187 w 2126039"/>
                <a:gd name="connsiteY46" fmla="*/ 2898240 h 4235826"/>
                <a:gd name="connsiteX47" fmla="*/ 1417546 w 2126039"/>
                <a:gd name="connsiteY47" fmla="*/ 2894877 h 4235826"/>
                <a:gd name="connsiteX48" fmla="*/ 1473708 w 2126039"/>
                <a:gd name="connsiteY48" fmla="*/ 2788378 h 4235826"/>
                <a:gd name="connsiteX49" fmla="*/ 1501493 w 2126039"/>
                <a:gd name="connsiteY49" fmla="*/ 2731345 h 4235826"/>
                <a:gd name="connsiteX50" fmla="*/ 1504576 w 2126039"/>
                <a:gd name="connsiteY50" fmla="*/ 2722919 h 4235826"/>
                <a:gd name="connsiteX51" fmla="*/ 1561023 w 2126039"/>
                <a:gd name="connsiteY51" fmla="*/ 2556615 h 4235826"/>
                <a:gd name="connsiteX52" fmla="*/ 1572859 w 2126039"/>
                <a:gd name="connsiteY52" fmla="*/ 2510561 h 4235826"/>
                <a:gd name="connsiteX53" fmla="*/ 1600727 w 2126039"/>
                <a:gd name="connsiteY53" fmla="*/ 2374830 h 4235826"/>
                <a:gd name="connsiteX54" fmla="*/ 1608702 w 2126039"/>
                <a:gd name="connsiteY54" fmla="*/ 2322554 h 4235826"/>
                <a:gd name="connsiteX55" fmla="*/ 1620151 w 2126039"/>
                <a:gd name="connsiteY55" fmla="*/ 2178857 h 4235826"/>
                <a:gd name="connsiteX56" fmla="*/ 1622139 w 2126039"/>
                <a:gd name="connsiteY56" fmla="*/ 2139473 h 4235826"/>
                <a:gd name="connsiteX57" fmla="*/ 1614395 w 2126039"/>
                <a:gd name="connsiteY57" fmla="*/ 1954317 h 4235826"/>
                <a:gd name="connsiteX58" fmla="*/ 1583289 w 2126039"/>
                <a:gd name="connsiteY58" fmla="*/ 1763789 h 4235826"/>
                <a:gd name="connsiteX59" fmla="*/ 1582674 w 2126039"/>
                <a:gd name="connsiteY59" fmla="*/ 1761235 h 4235826"/>
                <a:gd name="connsiteX60" fmla="*/ 1529332 w 2126039"/>
                <a:gd name="connsiteY60" fmla="*/ 1576567 h 4235826"/>
                <a:gd name="connsiteX61" fmla="*/ 1453604 w 2126039"/>
                <a:gd name="connsiteY61" fmla="*/ 1397768 h 4235826"/>
                <a:gd name="connsiteX62" fmla="*/ 1420509 w 2126039"/>
                <a:gd name="connsiteY62" fmla="*/ 1338427 h 4235826"/>
                <a:gd name="connsiteX63" fmla="*/ 1422499 w 2126039"/>
                <a:gd name="connsiteY63" fmla="*/ 1338126 h 4235826"/>
                <a:gd name="connsiteX64" fmla="*/ 1379102 w 2126039"/>
                <a:gd name="connsiteY64" fmla="*/ 1260997 h 4235826"/>
                <a:gd name="connsiteX65" fmla="*/ 172290 w 2126039"/>
                <a:gd name="connsiteY65" fmla="*/ 507396 h 4235826"/>
                <a:gd name="connsiteX66" fmla="*/ 3673 w 2126039"/>
                <a:gd name="connsiteY66" fmla="*/ 500403 h 4235826"/>
                <a:gd name="connsiteX67" fmla="*/ 87439 w 2126039"/>
                <a:gd name="connsiteY67" fmla="*/ 256542 h 4235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2126039" h="4235826">
                  <a:moveTo>
                    <a:pt x="0" y="0"/>
                  </a:moveTo>
                  <a:lnTo>
                    <a:pt x="223689" y="7030"/>
                  </a:lnTo>
                  <a:cubicBezTo>
                    <a:pt x="1025080" y="88455"/>
                    <a:pt x="1694456" y="616653"/>
                    <a:pt x="1979058" y="1338744"/>
                  </a:cubicBezTo>
                  <a:lnTo>
                    <a:pt x="2001385" y="1404115"/>
                  </a:lnTo>
                  <a:lnTo>
                    <a:pt x="2003245" y="1408506"/>
                  </a:lnTo>
                  <a:lnTo>
                    <a:pt x="2005218" y="1415336"/>
                  </a:lnTo>
                  <a:lnTo>
                    <a:pt x="2042046" y="1523160"/>
                  </a:lnTo>
                  <a:lnTo>
                    <a:pt x="2070283" y="1640584"/>
                  </a:lnTo>
                  <a:lnTo>
                    <a:pt x="2073773" y="1652669"/>
                  </a:lnTo>
                  <a:lnTo>
                    <a:pt x="2076223" y="1665287"/>
                  </a:lnTo>
                  <a:lnTo>
                    <a:pt x="2088124" y="1714777"/>
                  </a:lnTo>
                  <a:lnTo>
                    <a:pt x="2094526" y="1759573"/>
                  </a:lnTo>
                  <a:lnTo>
                    <a:pt x="2098010" y="1777522"/>
                  </a:lnTo>
                  <a:lnTo>
                    <a:pt x="2109984" y="1867726"/>
                  </a:lnTo>
                  <a:lnTo>
                    <a:pt x="2116414" y="1912716"/>
                  </a:lnTo>
                  <a:lnTo>
                    <a:pt x="2118328" y="1953155"/>
                  </a:lnTo>
                  <a:lnTo>
                    <a:pt x="2123940" y="2030995"/>
                  </a:lnTo>
                  <a:lnTo>
                    <a:pt x="2124574" y="2085146"/>
                  </a:lnTo>
                  <a:lnTo>
                    <a:pt x="2126039" y="2116100"/>
                  </a:lnTo>
                  <a:lnTo>
                    <a:pt x="2125144" y="2133833"/>
                  </a:lnTo>
                  <a:lnTo>
                    <a:pt x="2125438" y="2158907"/>
                  </a:lnTo>
                  <a:cubicBezTo>
                    <a:pt x="2124646" y="2201615"/>
                    <a:pt x="2122559" y="2244376"/>
                    <a:pt x="2119159" y="2287129"/>
                  </a:cubicBezTo>
                  <a:lnTo>
                    <a:pt x="2115931" y="2316366"/>
                  </a:lnTo>
                  <a:lnTo>
                    <a:pt x="2115099" y="2332860"/>
                  </a:lnTo>
                  <a:lnTo>
                    <a:pt x="2111520" y="2356319"/>
                  </a:lnTo>
                  <a:lnTo>
                    <a:pt x="2105008" y="2415307"/>
                  </a:lnTo>
                  <a:lnTo>
                    <a:pt x="2084105" y="2536034"/>
                  </a:lnTo>
                  <a:lnTo>
                    <a:pt x="2082988" y="2543357"/>
                  </a:lnTo>
                  <a:lnTo>
                    <a:pt x="2080749" y="2552070"/>
                  </a:lnTo>
                  <a:lnTo>
                    <a:pt x="2052692" y="2670112"/>
                  </a:lnTo>
                  <a:lnTo>
                    <a:pt x="2038108" y="2717986"/>
                  </a:lnTo>
                  <a:lnTo>
                    <a:pt x="2030773" y="2746528"/>
                  </a:lnTo>
                  <a:lnTo>
                    <a:pt x="2022645" y="2768745"/>
                  </a:lnTo>
                  <a:lnTo>
                    <a:pt x="2014333" y="2796030"/>
                  </a:lnTo>
                  <a:cubicBezTo>
                    <a:pt x="2000175" y="2837779"/>
                    <a:pt x="1984639" y="2879283"/>
                    <a:pt x="1967709" y="2920486"/>
                  </a:cubicBezTo>
                  <a:lnTo>
                    <a:pt x="1964585" y="2927452"/>
                  </a:lnTo>
                  <a:lnTo>
                    <a:pt x="1959517" y="2941306"/>
                  </a:lnTo>
                  <a:lnTo>
                    <a:pt x="1948961" y="2962299"/>
                  </a:lnTo>
                  <a:lnTo>
                    <a:pt x="1912722" y="3043124"/>
                  </a:lnTo>
                  <a:cubicBezTo>
                    <a:pt x="1892988" y="3083662"/>
                    <a:pt x="1871845" y="3123837"/>
                    <a:pt x="1849275" y="3163591"/>
                  </a:cubicBezTo>
                  <a:cubicBezTo>
                    <a:pt x="1488152" y="3799662"/>
                    <a:pt x="847337" y="4177407"/>
                    <a:pt x="168925" y="4230138"/>
                  </a:cubicBezTo>
                  <a:lnTo>
                    <a:pt x="92863" y="4235826"/>
                  </a:lnTo>
                  <a:lnTo>
                    <a:pt x="2487" y="3983930"/>
                  </a:lnTo>
                  <a:lnTo>
                    <a:pt x="93791" y="3732503"/>
                  </a:lnTo>
                  <a:lnTo>
                    <a:pt x="130194" y="3728782"/>
                  </a:lnTo>
                  <a:cubicBezTo>
                    <a:pt x="647657" y="3688562"/>
                    <a:pt x="1136443" y="3400435"/>
                    <a:pt x="1411890" y="2915269"/>
                  </a:cubicBezTo>
                  <a:lnTo>
                    <a:pt x="1420187" y="2898240"/>
                  </a:lnTo>
                  <a:lnTo>
                    <a:pt x="1417546" y="2894877"/>
                  </a:lnTo>
                  <a:lnTo>
                    <a:pt x="1473708" y="2788378"/>
                  </a:lnTo>
                  <a:lnTo>
                    <a:pt x="1501493" y="2731345"/>
                  </a:lnTo>
                  <a:lnTo>
                    <a:pt x="1504576" y="2722919"/>
                  </a:lnTo>
                  <a:lnTo>
                    <a:pt x="1561023" y="2556615"/>
                  </a:lnTo>
                  <a:lnTo>
                    <a:pt x="1572859" y="2510561"/>
                  </a:lnTo>
                  <a:lnTo>
                    <a:pt x="1600727" y="2374830"/>
                  </a:lnTo>
                  <a:lnTo>
                    <a:pt x="1608702" y="2322554"/>
                  </a:lnTo>
                  <a:lnTo>
                    <a:pt x="1620151" y="2178857"/>
                  </a:lnTo>
                  <a:lnTo>
                    <a:pt x="1622139" y="2139473"/>
                  </a:lnTo>
                  <a:lnTo>
                    <a:pt x="1614395" y="1954317"/>
                  </a:lnTo>
                  <a:lnTo>
                    <a:pt x="1583289" y="1763789"/>
                  </a:lnTo>
                  <a:lnTo>
                    <a:pt x="1582674" y="1761235"/>
                  </a:lnTo>
                  <a:lnTo>
                    <a:pt x="1529332" y="1576567"/>
                  </a:lnTo>
                  <a:cubicBezTo>
                    <a:pt x="1507711" y="1515608"/>
                    <a:pt x="1482435" y="1455888"/>
                    <a:pt x="1453604" y="1397768"/>
                  </a:cubicBezTo>
                  <a:lnTo>
                    <a:pt x="1420509" y="1338427"/>
                  </a:lnTo>
                  <a:lnTo>
                    <a:pt x="1422499" y="1338126"/>
                  </a:lnTo>
                  <a:lnTo>
                    <a:pt x="1379102" y="1260997"/>
                  </a:lnTo>
                  <a:cubicBezTo>
                    <a:pt x="1121140" y="847560"/>
                    <a:pt x="681679" y="559152"/>
                    <a:pt x="172290" y="507396"/>
                  </a:cubicBezTo>
                  <a:lnTo>
                    <a:pt x="3673" y="500403"/>
                  </a:lnTo>
                  <a:lnTo>
                    <a:pt x="87439" y="256542"/>
                  </a:lnTo>
                  <a:close/>
                </a:path>
              </a:pathLst>
            </a:custGeom>
            <a:solidFill>
              <a:schemeClr val="accent1">
                <a:lumMod val="50000"/>
                <a:lumOff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Calibri" panose="020F0502020204030204"/>
                <a:ea typeface="+mn-ea"/>
                <a:cs typeface="+mn-cs"/>
              </a:endParaRPr>
            </a:p>
          </p:txBody>
        </p:sp>
        <p:sp>
          <p:nvSpPr>
            <p:cNvPr id="26" name="Freeform: Shape 25">
              <a:extLst>
                <a:ext uri="{FF2B5EF4-FFF2-40B4-BE49-F238E27FC236}">
                  <a16:creationId xmlns:a16="http://schemas.microsoft.com/office/drawing/2014/main" id="{854FE9B8-FC0A-8797-C1D7-57A3A40C318A}"/>
                </a:ext>
              </a:extLst>
            </p:cNvPr>
            <p:cNvSpPr/>
            <p:nvPr/>
          </p:nvSpPr>
          <p:spPr>
            <a:xfrm flipH="1" flipV="1">
              <a:off x="-5255192" y="1980533"/>
              <a:ext cx="2126039" cy="4235826"/>
            </a:xfrm>
            <a:custGeom>
              <a:avLst/>
              <a:gdLst>
                <a:gd name="connsiteX0" fmla="*/ 0 w 2126039"/>
                <a:gd name="connsiteY0" fmla="*/ 0 h 4235826"/>
                <a:gd name="connsiteX1" fmla="*/ 223689 w 2126039"/>
                <a:gd name="connsiteY1" fmla="*/ 7030 h 4235826"/>
                <a:gd name="connsiteX2" fmla="*/ 1979058 w 2126039"/>
                <a:gd name="connsiteY2" fmla="*/ 1338744 h 4235826"/>
                <a:gd name="connsiteX3" fmla="*/ 2001385 w 2126039"/>
                <a:gd name="connsiteY3" fmla="*/ 1404115 h 4235826"/>
                <a:gd name="connsiteX4" fmla="*/ 2003245 w 2126039"/>
                <a:gd name="connsiteY4" fmla="*/ 1408506 h 4235826"/>
                <a:gd name="connsiteX5" fmla="*/ 2005218 w 2126039"/>
                <a:gd name="connsiteY5" fmla="*/ 1415336 h 4235826"/>
                <a:gd name="connsiteX6" fmla="*/ 2042046 w 2126039"/>
                <a:gd name="connsiteY6" fmla="*/ 1523160 h 4235826"/>
                <a:gd name="connsiteX7" fmla="*/ 2070283 w 2126039"/>
                <a:gd name="connsiteY7" fmla="*/ 1640584 h 4235826"/>
                <a:gd name="connsiteX8" fmla="*/ 2073773 w 2126039"/>
                <a:gd name="connsiteY8" fmla="*/ 1652669 h 4235826"/>
                <a:gd name="connsiteX9" fmla="*/ 2076223 w 2126039"/>
                <a:gd name="connsiteY9" fmla="*/ 1665287 h 4235826"/>
                <a:gd name="connsiteX10" fmla="*/ 2088124 w 2126039"/>
                <a:gd name="connsiteY10" fmla="*/ 1714777 h 4235826"/>
                <a:gd name="connsiteX11" fmla="*/ 2094526 w 2126039"/>
                <a:gd name="connsiteY11" fmla="*/ 1759573 h 4235826"/>
                <a:gd name="connsiteX12" fmla="*/ 2098010 w 2126039"/>
                <a:gd name="connsiteY12" fmla="*/ 1777522 h 4235826"/>
                <a:gd name="connsiteX13" fmla="*/ 2109984 w 2126039"/>
                <a:gd name="connsiteY13" fmla="*/ 1867726 h 4235826"/>
                <a:gd name="connsiteX14" fmla="*/ 2116414 w 2126039"/>
                <a:gd name="connsiteY14" fmla="*/ 1912716 h 4235826"/>
                <a:gd name="connsiteX15" fmla="*/ 2118328 w 2126039"/>
                <a:gd name="connsiteY15" fmla="*/ 1953155 h 4235826"/>
                <a:gd name="connsiteX16" fmla="*/ 2123940 w 2126039"/>
                <a:gd name="connsiteY16" fmla="*/ 2030995 h 4235826"/>
                <a:gd name="connsiteX17" fmla="*/ 2124574 w 2126039"/>
                <a:gd name="connsiteY17" fmla="*/ 2085146 h 4235826"/>
                <a:gd name="connsiteX18" fmla="*/ 2126039 w 2126039"/>
                <a:gd name="connsiteY18" fmla="*/ 2116100 h 4235826"/>
                <a:gd name="connsiteX19" fmla="*/ 2125144 w 2126039"/>
                <a:gd name="connsiteY19" fmla="*/ 2133833 h 4235826"/>
                <a:gd name="connsiteX20" fmla="*/ 2125438 w 2126039"/>
                <a:gd name="connsiteY20" fmla="*/ 2158907 h 4235826"/>
                <a:gd name="connsiteX21" fmla="*/ 2119159 w 2126039"/>
                <a:gd name="connsiteY21" fmla="*/ 2287129 h 4235826"/>
                <a:gd name="connsiteX22" fmla="*/ 2115931 w 2126039"/>
                <a:gd name="connsiteY22" fmla="*/ 2316366 h 4235826"/>
                <a:gd name="connsiteX23" fmla="*/ 2115099 w 2126039"/>
                <a:gd name="connsiteY23" fmla="*/ 2332860 h 4235826"/>
                <a:gd name="connsiteX24" fmla="*/ 2111520 w 2126039"/>
                <a:gd name="connsiteY24" fmla="*/ 2356319 h 4235826"/>
                <a:gd name="connsiteX25" fmla="*/ 2105008 w 2126039"/>
                <a:gd name="connsiteY25" fmla="*/ 2415307 h 4235826"/>
                <a:gd name="connsiteX26" fmla="*/ 2084105 w 2126039"/>
                <a:gd name="connsiteY26" fmla="*/ 2536034 h 4235826"/>
                <a:gd name="connsiteX27" fmla="*/ 2082988 w 2126039"/>
                <a:gd name="connsiteY27" fmla="*/ 2543357 h 4235826"/>
                <a:gd name="connsiteX28" fmla="*/ 2080749 w 2126039"/>
                <a:gd name="connsiteY28" fmla="*/ 2552070 h 4235826"/>
                <a:gd name="connsiteX29" fmla="*/ 2052692 w 2126039"/>
                <a:gd name="connsiteY29" fmla="*/ 2670112 h 4235826"/>
                <a:gd name="connsiteX30" fmla="*/ 2038108 w 2126039"/>
                <a:gd name="connsiteY30" fmla="*/ 2717986 h 4235826"/>
                <a:gd name="connsiteX31" fmla="*/ 2030773 w 2126039"/>
                <a:gd name="connsiteY31" fmla="*/ 2746528 h 4235826"/>
                <a:gd name="connsiteX32" fmla="*/ 2022645 w 2126039"/>
                <a:gd name="connsiteY32" fmla="*/ 2768745 h 4235826"/>
                <a:gd name="connsiteX33" fmla="*/ 2014333 w 2126039"/>
                <a:gd name="connsiteY33" fmla="*/ 2796030 h 4235826"/>
                <a:gd name="connsiteX34" fmla="*/ 1967709 w 2126039"/>
                <a:gd name="connsiteY34" fmla="*/ 2920486 h 4235826"/>
                <a:gd name="connsiteX35" fmla="*/ 1964585 w 2126039"/>
                <a:gd name="connsiteY35" fmla="*/ 2927452 h 4235826"/>
                <a:gd name="connsiteX36" fmla="*/ 1959517 w 2126039"/>
                <a:gd name="connsiteY36" fmla="*/ 2941306 h 4235826"/>
                <a:gd name="connsiteX37" fmla="*/ 1948961 w 2126039"/>
                <a:gd name="connsiteY37" fmla="*/ 2962299 h 4235826"/>
                <a:gd name="connsiteX38" fmla="*/ 1912722 w 2126039"/>
                <a:gd name="connsiteY38" fmla="*/ 3043124 h 4235826"/>
                <a:gd name="connsiteX39" fmla="*/ 1849275 w 2126039"/>
                <a:gd name="connsiteY39" fmla="*/ 3163591 h 4235826"/>
                <a:gd name="connsiteX40" fmla="*/ 168925 w 2126039"/>
                <a:gd name="connsiteY40" fmla="*/ 4230138 h 4235826"/>
                <a:gd name="connsiteX41" fmla="*/ 92863 w 2126039"/>
                <a:gd name="connsiteY41" fmla="*/ 4235826 h 4235826"/>
                <a:gd name="connsiteX42" fmla="*/ 2487 w 2126039"/>
                <a:gd name="connsiteY42" fmla="*/ 3983930 h 4235826"/>
                <a:gd name="connsiteX43" fmla="*/ 93791 w 2126039"/>
                <a:gd name="connsiteY43" fmla="*/ 3732503 h 4235826"/>
                <a:gd name="connsiteX44" fmla="*/ 130194 w 2126039"/>
                <a:gd name="connsiteY44" fmla="*/ 3728782 h 4235826"/>
                <a:gd name="connsiteX45" fmla="*/ 1411890 w 2126039"/>
                <a:gd name="connsiteY45" fmla="*/ 2915269 h 4235826"/>
                <a:gd name="connsiteX46" fmla="*/ 1420187 w 2126039"/>
                <a:gd name="connsiteY46" fmla="*/ 2898240 h 4235826"/>
                <a:gd name="connsiteX47" fmla="*/ 1417546 w 2126039"/>
                <a:gd name="connsiteY47" fmla="*/ 2894877 h 4235826"/>
                <a:gd name="connsiteX48" fmla="*/ 1473708 w 2126039"/>
                <a:gd name="connsiteY48" fmla="*/ 2788378 h 4235826"/>
                <a:gd name="connsiteX49" fmla="*/ 1501493 w 2126039"/>
                <a:gd name="connsiteY49" fmla="*/ 2731345 h 4235826"/>
                <a:gd name="connsiteX50" fmla="*/ 1504576 w 2126039"/>
                <a:gd name="connsiteY50" fmla="*/ 2722919 h 4235826"/>
                <a:gd name="connsiteX51" fmla="*/ 1561023 w 2126039"/>
                <a:gd name="connsiteY51" fmla="*/ 2556615 h 4235826"/>
                <a:gd name="connsiteX52" fmla="*/ 1572859 w 2126039"/>
                <a:gd name="connsiteY52" fmla="*/ 2510561 h 4235826"/>
                <a:gd name="connsiteX53" fmla="*/ 1600727 w 2126039"/>
                <a:gd name="connsiteY53" fmla="*/ 2374830 h 4235826"/>
                <a:gd name="connsiteX54" fmla="*/ 1608702 w 2126039"/>
                <a:gd name="connsiteY54" fmla="*/ 2322554 h 4235826"/>
                <a:gd name="connsiteX55" fmla="*/ 1620151 w 2126039"/>
                <a:gd name="connsiteY55" fmla="*/ 2178857 h 4235826"/>
                <a:gd name="connsiteX56" fmla="*/ 1622139 w 2126039"/>
                <a:gd name="connsiteY56" fmla="*/ 2139473 h 4235826"/>
                <a:gd name="connsiteX57" fmla="*/ 1614395 w 2126039"/>
                <a:gd name="connsiteY57" fmla="*/ 1954317 h 4235826"/>
                <a:gd name="connsiteX58" fmla="*/ 1583289 w 2126039"/>
                <a:gd name="connsiteY58" fmla="*/ 1763789 h 4235826"/>
                <a:gd name="connsiteX59" fmla="*/ 1582674 w 2126039"/>
                <a:gd name="connsiteY59" fmla="*/ 1761235 h 4235826"/>
                <a:gd name="connsiteX60" fmla="*/ 1529332 w 2126039"/>
                <a:gd name="connsiteY60" fmla="*/ 1576567 h 4235826"/>
                <a:gd name="connsiteX61" fmla="*/ 1453604 w 2126039"/>
                <a:gd name="connsiteY61" fmla="*/ 1397768 h 4235826"/>
                <a:gd name="connsiteX62" fmla="*/ 1420509 w 2126039"/>
                <a:gd name="connsiteY62" fmla="*/ 1338427 h 4235826"/>
                <a:gd name="connsiteX63" fmla="*/ 1422499 w 2126039"/>
                <a:gd name="connsiteY63" fmla="*/ 1338126 h 4235826"/>
                <a:gd name="connsiteX64" fmla="*/ 1379102 w 2126039"/>
                <a:gd name="connsiteY64" fmla="*/ 1260997 h 4235826"/>
                <a:gd name="connsiteX65" fmla="*/ 172290 w 2126039"/>
                <a:gd name="connsiteY65" fmla="*/ 507396 h 4235826"/>
                <a:gd name="connsiteX66" fmla="*/ 3673 w 2126039"/>
                <a:gd name="connsiteY66" fmla="*/ 500403 h 4235826"/>
                <a:gd name="connsiteX67" fmla="*/ 87439 w 2126039"/>
                <a:gd name="connsiteY67" fmla="*/ 256542 h 4235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2126039" h="4235826">
                  <a:moveTo>
                    <a:pt x="0" y="0"/>
                  </a:moveTo>
                  <a:lnTo>
                    <a:pt x="223689" y="7030"/>
                  </a:lnTo>
                  <a:cubicBezTo>
                    <a:pt x="1025080" y="88455"/>
                    <a:pt x="1694456" y="616653"/>
                    <a:pt x="1979058" y="1338744"/>
                  </a:cubicBezTo>
                  <a:lnTo>
                    <a:pt x="2001385" y="1404115"/>
                  </a:lnTo>
                  <a:lnTo>
                    <a:pt x="2003245" y="1408506"/>
                  </a:lnTo>
                  <a:lnTo>
                    <a:pt x="2005218" y="1415336"/>
                  </a:lnTo>
                  <a:lnTo>
                    <a:pt x="2042046" y="1523160"/>
                  </a:lnTo>
                  <a:lnTo>
                    <a:pt x="2070283" y="1640584"/>
                  </a:lnTo>
                  <a:lnTo>
                    <a:pt x="2073773" y="1652669"/>
                  </a:lnTo>
                  <a:lnTo>
                    <a:pt x="2076223" y="1665287"/>
                  </a:lnTo>
                  <a:lnTo>
                    <a:pt x="2088124" y="1714777"/>
                  </a:lnTo>
                  <a:lnTo>
                    <a:pt x="2094526" y="1759573"/>
                  </a:lnTo>
                  <a:lnTo>
                    <a:pt x="2098010" y="1777522"/>
                  </a:lnTo>
                  <a:lnTo>
                    <a:pt x="2109984" y="1867726"/>
                  </a:lnTo>
                  <a:lnTo>
                    <a:pt x="2116414" y="1912716"/>
                  </a:lnTo>
                  <a:lnTo>
                    <a:pt x="2118328" y="1953155"/>
                  </a:lnTo>
                  <a:lnTo>
                    <a:pt x="2123940" y="2030995"/>
                  </a:lnTo>
                  <a:lnTo>
                    <a:pt x="2124574" y="2085146"/>
                  </a:lnTo>
                  <a:lnTo>
                    <a:pt x="2126039" y="2116100"/>
                  </a:lnTo>
                  <a:lnTo>
                    <a:pt x="2125144" y="2133833"/>
                  </a:lnTo>
                  <a:lnTo>
                    <a:pt x="2125438" y="2158907"/>
                  </a:lnTo>
                  <a:cubicBezTo>
                    <a:pt x="2124646" y="2201615"/>
                    <a:pt x="2122559" y="2244376"/>
                    <a:pt x="2119159" y="2287129"/>
                  </a:cubicBezTo>
                  <a:lnTo>
                    <a:pt x="2115931" y="2316366"/>
                  </a:lnTo>
                  <a:lnTo>
                    <a:pt x="2115099" y="2332860"/>
                  </a:lnTo>
                  <a:lnTo>
                    <a:pt x="2111520" y="2356319"/>
                  </a:lnTo>
                  <a:lnTo>
                    <a:pt x="2105008" y="2415307"/>
                  </a:lnTo>
                  <a:lnTo>
                    <a:pt x="2084105" y="2536034"/>
                  </a:lnTo>
                  <a:lnTo>
                    <a:pt x="2082988" y="2543357"/>
                  </a:lnTo>
                  <a:lnTo>
                    <a:pt x="2080749" y="2552070"/>
                  </a:lnTo>
                  <a:lnTo>
                    <a:pt x="2052692" y="2670112"/>
                  </a:lnTo>
                  <a:lnTo>
                    <a:pt x="2038108" y="2717986"/>
                  </a:lnTo>
                  <a:lnTo>
                    <a:pt x="2030773" y="2746528"/>
                  </a:lnTo>
                  <a:lnTo>
                    <a:pt x="2022645" y="2768745"/>
                  </a:lnTo>
                  <a:lnTo>
                    <a:pt x="2014333" y="2796030"/>
                  </a:lnTo>
                  <a:cubicBezTo>
                    <a:pt x="2000175" y="2837779"/>
                    <a:pt x="1984639" y="2879283"/>
                    <a:pt x="1967709" y="2920486"/>
                  </a:cubicBezTo>
                  <a:lnTo>
                    <a:pt x="1964585" y="2927452"/>
                  </a:lnTo>
                  <a:lnTo>
                    <a:pt x="1959517" y="2941306"/>
                  </a:lnTo>
                  <a:lnTo>
                    <a:pt x="1948961" y="2962299"/>
                  </a:lnTo>
                  <a:lnTo>
                    <a:pt x="1912722" y="3043124"/>
                  </a:lnTo>
                  <a:cubicBezTo>
                    <a:pt x="1892988" y="3083662"/>
                    <a:pt x="1871845" y="3123837"/>
                    <a:pt x="1849275" y="3163591"/>
                  </a:cubicBezTo>
                  <a:cubicBezTo>
                    <a:pt x="1488152" y="3799662"/>
                    <a:pt x="847337" y="4177407"/>
                    <a:pt x="168925" y="4230138"/>
                  </a:cubicBezTo>
                  <a:lnTo>
                    <a:pt x="92863" y="4235826"/>
                  </a:lnTo>
                  <a:lnTo>
                    <a:pt x="2487" y="3983930"/>
                  </a:lnTo>
                  <a:lnTo>
                    <a:pt x="93791" y="3732503"/>
                  </a:lnTo>
                  <a:lnTo>
                    <a:pt x="130194" y="3728782"/>
                  </a:lnTo>
                  <a:cubicBezTo>
                    <a:pt x="647657" y="3688562"/>
                    <a:pt x="1136443" y="3400435"/>
                    <a:pt x="1411890" y="2915269"/>
                  </a:cubicBezTo>
                  <a:lnTo>
                    <a:pt x="1420187" y="2898240"/>
                  </a:lnTo>
                  <a:lnTo>
                    <a:pt x="1417546" y="2894877"/>
                  </a:lnTo>
                  <a:lnTo>
                    <a:pt x="1473708" y="2788378"/>
                  </a:lnTo>
                  <a:lnTo>
                    <a:pt x="1501493" y="2731345"/>
                  </a:lnTo>
                  <a:lnTo>
                    <a:pt x="1504576" y="2722919"/>
                  </a:lnTo>
                  <a:lnTo>
                    <a:pt x="1561023" y="2556615"/>
                  </a:lnTo>
                  <a:lnTo>
                    <a:pt x="1572859" y="2510561"/>
                  </a:lnTo>
                  <a:lnTo>
                    <a:pt x="1600727" y="2374830"/>
                  </a:lnTo>
                  <a:lnTo>
                    <a:pt x="1608702" y="2322554"/>
                  </a:lnTo>
                  <a:lnTo>
                    <a:pt x="1620151" y="2178857"/>
                  </a:lnTo>
                  <a:lnTo>
                    <a:pt x="1622139" y="2139473"/>
                  </a:lnTo>
                  <a:lnTo>
                    <a:pt x="1614395" y="1954317"/>
                  </a:lnTo>
                  <a:lnTo>
                    <a:pt x="1583289" y="1763789"/>
                  </a:lnTo>
                  <a:lnTo>
                    <a:pt x="1582674" y="1761235"/>
                  </a:lnTo>
                  <a:lnTo>
                    <a:pt x="1529332" y="1576567"/>
                  </a:lnTo>
                  <a:cubicBezTo>
                    <a:pt x="1507711" y="1515608"/>
                    <a:pt x="1482435" y="1455888"/>
                    <a:pt x="1453604" y="1397768"/>
                  </a:cubicBezTo>
                  <a:lnTo>
                    <a:pt x="1420509" y="1338427"/>
                  </a:lnTo>
                  <a:lnTo>
                    <a:pt x="1422499" y="1338126"/>
                  </a:lnTo>
                  <a:lnTo>
                    <a:pt x="1379102" y="1260997"/>
                  </a:lnTo>
                  <a:cubicBezTo>
                    <a:pt x="1121140" y="847560"/>
                    <a:pt x="681679" y="559152"/>
                    <a:pt x="172290" y="507396"/>
                  </a:cubicBezTo>
                  <a:lnTo>
                    <a:pt x="3673" y="500403"/>
                  </a:lnTo>
                  <a:lnTo>
                    <a:pt x="87439" y="256542"/>
                  </a:lnTo>
                  <a:close/>
                </a:path>
              </a:pathLst>
            </a:cu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Calibri" panose="020F0502020204030204"/>
                <a:ea typeface="+mn-ea"/>
                <a:cs typeface="+mn-cs"/>
              </a:endParaRPr>
            </a:p>
          </p:txBody>
        </p:sp>
      </p:grpSp>
      <p:sp>
        <p:nvSpPr>
          <p:cNvPr id="35" name="TextBox 34">
            <a:extLst>
              <a:ext uri="{FF2B5EF4-FFF2-40B4-BE49-F238E27FC236}">
                <a16:creationId xmlns:a16="http://schemas.microsoft.com/office/drawing/2014/main" id="{465928F4-C3D9-AA6D-59FD-E6E6D2459CF8}"/>
              </a:ext>
            </a:extLst>
          </p:cNvPr>
          <p:cNvSpPr txBox="1">
            <a:spLocks/>
          </p:cNvSpPr>
          <p:nvPr/>
        </p:nvSpPr>
        <p:spPr>
          <a:xfrm>
            <a:off x="2927885" y="4367689"/>
            <a:ext cx="1881123" cy="1200329"/>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mn-cs"/>
              </a:rPr>
              <a:t>The political center collapsed </a:t>
            </a: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and gave rise to </a:t>
            </a: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mn-cs"/>
              </a:rPr>
              <a:t>anti-establishment politicians</a:t>
            </a:r>
            <a:endParaRPr kumimoji="0" lang="pt-BR" sz="16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FADA2901-7B55-2A01-E1FB-0FA294049AE4}"/>
              </a:ext>
            </a:extLst>
          </p:cNvPr>
          <p:cNvSpPr txBox="1">
            <a:spLocks/>
          </p:cNvSpPr>
          <p:nvPr/>
        </p:nvSpPr>
        <p:spPr>
          <a:xfrm>
            <a:off x="6150610" y="4146090"/>
            <a:ext cx="1881123" cy="1643527"/>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Weak support from the public </a:t>
            </a: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mn-cs"/>
              </a:rPr>
              <a:t>often leads to </a:t>
            </a: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governments with </a:t>
            </a: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mn-cs"/>
              </a:rPr>
              <a:t>short tenure and little mobilization power</a:t>
            </a:r>
            <a:endParaRPr kumimoji="0" lang="pt-BR" sz="16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pic>
        <p:nvPicPr>
          <p:cNvPr id="42" name="Chevron 40">
            <a:extLst>
              <a:ext uri="{FF2B5EF4-FFF2-40B4-BE49-F238E27FC236}">
                <a16:creationId xmlns:a16="http://schemas.microsoft.com/office/drawing/2014/main" id="{072511CC-B7E7-76FC-C559-1CA032F88830}"/>
              </a:ext>
            </a:extLst>
          </p:cNvPr>
          <p:cNvPicPr>
            <a:picLocks noChangeAspect="1"/>
          </p:cNvPicPr>
          <p:nvPr>
            <p:custDataLst>
              <p:tags r:id="rId8"/>
            </p:custDataLst>
          </p:nvPr>
        </p:nvPicPr>
        <p:blipFill>
          <a:blip r:embed="rId23">
            <a:extLst>
              <a:ext uri="{96DAC541-7B7A-43D3-8B79-37D633B846F1}">
                <asvg:svgBlip xmlns:asvg="http://schemas.microsoft.com/office/drawing/2016/SVG/main" r:embed="rId24"/>
              </a:ext>
            </a:extLst>
          </a:blip>
          <a:stretch>
            <a:fillRect/>
          </a:stretch>
        </p:blipFill>
        <p:spPr>
          <a:xfrm rot="5400000">
            <a:off x="5289309" y="3733248"/>
            <a:ext cx="381000" cy="381000"/>
          </a:xfrm>
          <a:prstGeom prst="rect">
            <a:avLst/>
          </a:prstGeom>
        </p:spPr>
      </p:pic>
      <p:sp>
        <p:nvSpPr>
          <p:cNvPr id="43" name="TextBox 42">
            <a:extLst>
              <a:ext uri="{FF2B5EF4-FFF2-40B4-BE49-F238E27FC236}">
                <a16:creationId xmlns:a16="http://schemas.microsoft.com/office/drawing/2014/main" id="{27049C72-7DBC-C85D-B5B3-43EB3425AF5B}"/>
              </a:ext>
            </a:extLst>
          </p:cNvPr>
          <p:cNvSpPr txBox="1">
            <a:spLocks/>
          </p:cNvSpPr>
          <p:nvPr/>
        </p:nvSpPr>
        <p:spPr>
          <a:xfrm>
            <a:off x="8540906" y="2665528"/>
            <a:ext cx="3388566" cy="2786404"/>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FFFFFF"/>
                </a:solidFill>
                <a:effectLst/>
                <a:uLnTx/>
                <a:uFillTx/>
                <a:latin typeface="Calibri" panose="020F0502020204030204"/>
                <a:ea typeface="+mn-ea"/>
                <a:cs typeface="+mn-cs"/>
              </a:rPr>
              <a:t>There is </a:t>
            </a:r>
            <a:r>
              <a:rPr kumimoji="0" lang="en-US" sz="1600" b="1" i="0" u="none" strike="noStrike" kern="1200" cap="none" spc="0" normalizeH="0" baseline="0" noProof="0" dirty="0">
                <a:ln>
                  <a:noFill/>
                </a:ln>
                <a:solidFill>
                  <a:srgbClr val="FFFFFF"/>
                </a:solidFill>
                <a:effectLst/>
                <a:uLnTx/>
                <a:uFillTx/>
                <a:latin typeface="Calibri" panose="020F0502020204030204"/>
                <a:ea typeface="+mn-ea"/>
                <a:cs typeface="+mn-cs"/>
              </a:rPr>
              <a:t>pressure for governments to increase revenue</a:t>
            </a:r>
            <a:r>
              <a:rPr kumimoji="0" lang="en-US" sz="1600" b="0" i="0" u="none" strike="noStrike" kern="1200" cap="none" spc="0" normalizeH="0" baseline="0" noProof="0" dirty="0">
                <a:ln>
                  <a:noFill/>
                </a:ln>
                <a:solidFill>
                  <a:srgbClr val="FFFFFF"/>
                </a:solidFill>
                <a:effectLst/>
                <a:uLnTx/>
                <a:uFillTx/>
                <a:latin typeface="Calibri" panose="020F0502020204030204"/>
                <a:ea typeface="+mn-ea"/>
                <a:cs typeface="+mn-cs"/>
              </a:rPr>
              <a:t>, but tax reform proposals are complex to approv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FFFFFF"/>
                </a:solidFill>
                <a:effectLst/>
                <a:uLnTx/>
                <a:uFillTx/>
                <a:latin typeface="Calibri" panose="020F0502020204030204"/>
                <a:ea typeface="+mn-ea"/>
                <a:cs typeface="+mn-cs"/>
              </a:rPr>
              <a:t>Thus, </a:t>
            </a:r>
            <a:r>
              <a:rPr kumimoji="0" lang="en-US" sz="1600" b="1" i="0" u="none" strike="noStrike" kern="1200" cap="none" spc="0" normalizeH="0" baseline="0" noProof="0" dirty="0">
                <a:ln>
                  <a:noFill/>
                </a:ln>
                <a:solidFill>
                  <a:srgbClr val="FAB700"/>
                </a:solidFill>
                <a:effectLst/>
                <a:uLnTx/>
                <a:uFillTx/>
                <a:latin typeface="Calibri" panose="020F0502020204030204"/>
                <a:ea typeface="+mn-ea"/>
                <a:cs typeface="+mn-cs"/>
              </a:rPr>
              <a:t>they need private sector investments to develop the region’s resources into valu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FFFFFF"/>
                </a:solidFill>
                <a:effectLst/>
                <a:uLnTx/>
                <a:uFillTx/>
                <a:latin typeface="Calibri" panose="020F0502020204030204"/>
                <a:ea typeface="+mn-ea"/>
                <a:cs typeface="+mn-cs"/>
              </a:rPr>
              <a:t>However, they have </a:t>
            </a:r>
            <a:r>
              <a:rPr kumimoji="0" lang="en-US" sz="1600" b="1" i="0" u="none" strike="noStrike" kern="1200" cap="none" spc="0" normalizeH="0" baseline="0" noProof="0" dirty="0">
                <a:ln>
                  <a:noFill/>
                </a:ln>
                <a:solidFill>
                  <a:srgbClr val="FFFFFF"/>
                </a:solidFill>
                <a:effectLst/>
                <a:uLnTx/>
                <a:uFillTx/>
                <a:latin typeface="Calibri" panose="020F0502020204030204"/>
                <a:ea typeface="+mn-ea"/>
                <a:cs typeface="+mn-cs"/>
              </a:rPr>
              <a:t>limited political capital to defend challenging projects </a:t>
            </a:r>
            <a:r>
              <a:rPr kumimoji="0" lang="en-US" sz="1600" i="0" u="none" strike="noStrike" kern="1200" cap="none" spc="0" normalizeH="0" baseline="0" noProof="0" dirty="0">
                <a:ln>
                  <a:noFill/>
                </a:ln>
                <a:solidFill>
                  <a:srgbClr val="FFFFFF"/>
                </a:solidFill>
                <a:effectLst/>
                <a:uLnTx/>
                <a:uFillTx/>
                <a:latin typeface="Calibri" panose="020F0502020204030204"/>
                <a:ea typeface="+mn-ea"/>
                <a:cs typeface="+mn-cs"/>
              </a:rPr>
              <a:t>against public opinion and it is </a:t>
            </a:r>
            <a:r>
              <a:rPr kumimoji="0" lang="en-US" sz="1600" b="1" i="0" u="none" strike="noStrike" kern="1200" cap="none" spc="0" normalizeH="0" baseline="0" noProof="0" dirty="0">
                <a:ln>
                  <a:noFill/>
                </a:ln>
                <a:solidFill>
                  <a:srgbClr val="FFFFFF"/>
                </a:solidFill>
                <a:effectLst/>
                <a:uLnTx/>
                <a:uFillTx/>
                <a:latin typeface="Calibri" panose="020F0502020204030204"/>
                <a:ea typeface="+mn-ea"/>
                <a:cs typeface="+mn-cs"/>
              </a:rPr>
              <a:t>important to find the right opportunities</a:t>
            </a:r>
            <a:endParaRPr kumimoji="0" lang="pt-BR" sz="1600" b="1"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67" name="PlusSignBlue 67">
            <a:extLst>
              <a:ext uri="{FF2B5EF4-FFF2-40B4-BE49-F238E27FC236}">
                <a16:creationId xmlns:a16="http://schemas.microsoft.com/office/drawing/2014/main" id="{DC1B0F51-B0B9-3F71-C177-F6D2E06FE3E9}"/>
              </a:ext>
            </a:extLst>
          </p:cNvPr>
          <p:cNvGrpSpPr>
            <a:grpSpLocks/>
          </p:cNvGrpSpPr>
          <p:nvPr>
            <p:custDataLst>
              <p:tags r:id="rId9"/>
            </p:custDataLst>
          </p:nvPr>
        </p:nvGrpSpPr>
        <p:grpSpPr>
          <a:xfrm>
            <a:off x="2561496" y="2478798"/>
            <a:ext cx="322024" cy="322024"/>
            <a:chOff x="1016000" y="1016000"/>
            <a:chExt cx="396228" cy="396228"/>
          </a:xfrm>
          <a:solidFill>
            <a:schemeClr val="accent3"/>
          </a:solidFill>
        </p:grpSpPr>
        <p:sp>
          <p:nvSpPr>
            <p:cNvPr id="64" name="Oval 63">
              <a:extLst>
                <a:ext uri="{FF2B5EF4-FFF2-40B4-BE49-F238E27FC236}">
                  <a16:creationId xmlns:a16="http://schemas.microsoft.com/office/drawing/2014/main" id="{065A1295-313B-6DF7-5DC3-E86A59618170}"/>
                </a:ext>
              </a:extLst>
            </p:cNvPr>
            <p:cNvSpPr/>
            <p:nvPr/>
          </p:nvSpPr>
          <p:spPr>
            <a:xfrm>
              <a:off x="1016000" y="1016000"/>
              <a:ext cx="396228" cy="39622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66" name="Graphic 65">
              <a:extLst>
                <a:ext uri="{FF2B5EF4-FFF2-40B4-BE49-F238E27FC236}">
                  <a16:creationId xmlns:a16="http://schemas.microsoft.com/office/drawing/2014/main" id="{AFBDB769-F174-F48D-16BA-3B89D40A74A3}"/>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1023614" y="1023614"/>
              <a:ext cx="381000" cy="381000"/>
            </a:xfrm>
            <a:prstGeom prst="rect">
              <a:avLst/>
            </a:prstGeom>
          </p:spPr>
        </p:pic>
      </p:grpSp>
      <p:cxnSp>
        <p:nvCxnSpPr>
          <p:cNvPr id="41" name="GreyLineContentSeparatorDefault 44">
            <a:extLst>
              <a:ext uri="{FF2B5EF4-FFF2-40B4-BE49-F238E27FC236}">
                <a16:creationId xmlns:a16="http://schemas.microsoft.com/office/drawing/2014/main" id="{013FDF85-845F-2EDE-927E-24D5CCEB1F4E}"/>
              </a:ext>
            </a:extLst>
          </p:cNvPr>
          <p:cNvCxnSpPr>
            <a:cxnSpLocks/>
          </p:cNvCxnSpPr>
          <p:nvPr>
            <p:custDataLst>
              <p:tags r:id="rId10"/>
            </p:custDataLst>
          </p:nvPr>
        </p:nvCxnSpPr>
        <p:spPr>
          <a:xfrm>
            <a:off x="2927885" y="3895173"/>
            <a:ext cx="2288569" cy="0"/>
          </a:xfrm>
          <a:prstGeom prst="straightConnector1">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7" name="GreyLineContentSeparatorDefault 44">
            <a:extLst>
              <a:ext uri="{FF2B5EF4-FFF2-40B4-BE49-F238E27FC236}">
                <a16:creationId xmlns:a16="http://schemas.microsoft.com/office/drawing/2014/main" id="{3EE90B12-83D8-EE62-24CE-D94E78C1C4E5}"/>
              </a:ext>
            </a:extLst>
          </p:cNvPr>
          <p:cNvCxnSpPr>
            <a:cxnSpLocks/>
          </p:cNvCxnSpPr>
          <p:nvPr>
            <p:custDataLst>
              <p:tags r:id="rId11"/>
            </p:custDataLst>
          </p:nvPr>
        </p:nvCxnSpPr>
        <p:spPr>
          <a:xfrm>
            <a:off x="5743164" y="3895173"/>
            <a:ext cx="2288569" cy="0"/>
          </a:xfrm>
          <a:prstGeom prst="straightConnector1">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8" name="GreyLineContentSeparatorDefault 21">
            <a:extLst>
              <a:ext uri="{FF2B5EF4-FFF2-40B4-BE49-F238E27FC236}">
                <a16:creationId xmlns:a16="http://schemas.microsoft.com/office/drawing/2014/main" id="{58DB10A9-850B-B65E-8B82-D204F4323AE1}"/>
              </a:ext>
            </a:extLst>
          </p:cNvPr>
          <p:cNvCxnSpPr>
            <a:cxnSpLocks/>
          </p:cNvCxnSpPr>
          <p:nvPr>
            <p:custDataLst>
              <p:tags r:id="rId12"/>
            </p:custDataLst>
          </p:nvPr>
        </p:nvCxnSpPr>
        <p:spPr>
          <a:xfrm>
            <a:off x="8540906" y="2639810"/>
            <a:ext cx="3388566" cy="0"/>
          </a:xfrm>
          <a:prstGeom prst="straightConnector1">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8958DEA0-B748-3D01-ABFF-24454026A9A2}"/>
              </a:ext>
            </a:extLst>
          </p:cNvPr>
          <p:cNvSpPr txBox="1">
            <a:spLocks/>
          </p:cNvSpPr>
          <p:nvPr/>
        </p:nvSpPr>
        <p:spPr>
          <a:xfrm>
            <a:off x="8540906" y="2244760"/>
            <a:ext cx="3388566" cy="369332"/>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t-BR" sz="2000" b="1" i="0" u="none" strike="noStrike" kern="1200" cap="none" spc="0" normalizeH="0" baseline="0" noProof="0" dirty="0">
                <a:ln>
                  <a:noFill/>
                </a:ln>
                <a:solidFill>
                  <a:srgbClr val="FFFFFF"/>
                </a:solidFill>
                <a:effectLst/>
                <a:uLnTx/>
                <a:uFillTx/>
                <a:latin typeface="Calibri" panose="020F0502020204030204"/>
                <a:ea typeface="+mn-ea"/>
                <a:cs typeface="+mn-cs"/>
              </a:rPr>
              <a:t>Private investment appetite</a:t>
            </a:r>
          </a:p>
        </p:txBody>
      </p:sp>
      <p:grpSp>
        <p:nvGrpSpPr>
          <p:cNvPr id="57" name="Group 56">
            <a:extLst>
              <a:ext uri="{FF2B5EF4-FFF2-40B4-BE49-F238E27FC236}">
                <a16:creationId xmlns:a16="http://schemas.microsoft.com/office/drawing/2014/main" id="{9FAD37E7-84A8-CA69-976D-76B08C159DCA}"/>
              </a:ext>
            </a:extLst>
          </p:cNvPr>
          <p:cNvGrpSpPr>
            <a:grpSpLocks/>
          </p:cNvGrpSpPr>
          <p:nvPr/>
        </p:nvGrpSpPr>
        <p:grpSpPr>
          <a:xfrm>
            <a:off x="8127061" y="2504516"/>
            <a:ext cx="322024" cy="322024"/>
            <a:chOff x="1595540" y="1270000"/>
            <a:chExt cx="396228" cy="396228"/>
          </a:xfrm>
        </p:grpSpPr>
        <p:sp>
          <p:nvSpPr>
            <p:cNvPr id="52" name="Oval 51">
              <a:extLst>
                <a:ext uri="{FF2B5EF4-FFF2-40B4-BE49-F238E27FC236}">
                  <a16:creationId xmlns:a16="http://schemas.microsoft.com/office/drawing/2014/main" id="{41A377D5-8ED6-DE1E-CA0A-576CB4EE1C68}"/>
                </a:ext>
              </a:extLst>
            </p:cNvPr>
            <p:cNvSpPr/>
            <p:nvPr/>
          </p:nvSpPr>
          <p:spPr>
            <a:xfrm>
              <a:off x="1595540" y="1270000"/>
              <a:ext cx="396228" cy="39622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54" name="Graphic 53">
              <a:extLst>
                <a:ext uri="{FF2B5EF4-FFF2-40B4-BE49-F238E27FC236}">
                  <a16:creationId xmlns:a16="http://schemas.microsoft.com/office/drawing/2014/main" id="{AA752BF1-3024-6872-837B-07DD2DDFC114}"/>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1603154" y="1277614"/>
              <a:ext cx="381000" cy="381000"/>
            </a:xfrm>
            <a:prstGeom prst="rect">
              <a:avLst/>
            </a:prstGeom>
          </p:spPr>
        </p:pic>
      </p:grpSp>
      <p:grpSp>
        <p:nvGrpSpPr>
          <p:cNvPr id="61" name="CustomIcon">
            <a:extLst>
              <a:ext uri="{FF2B5EF4-FFF2-40B4-BE49-F238E27FC236}">
                <a16:creationId xmlns:a16="http://schemas.microsoft.com/office/drawing/2014/main" id="{C8FBC2FF-D1D0-E1A3-D5E7-FDFB76EDACE7}"/>
              </a:ext>
            </a:extLst>
          </p:cNvPr>
          <p:cNvGrpSpPr>
            <a:grpSpLocks/>
          </p:cNvGrpSpPr>
          <p:nvPr>
            <p:custDataLst>
              <p:tags r:id="rId13"/>
            </p:custDataLst>
          </p:nvPr>
        </p:nvGrpSpPr>
        <p:grpSpPr>
          <a:xfrm>
            <a:off x="8675056" y="1220107"/>
            <a:ext cx="851898" cy="851898"/>
            <a:chOff x="-205105" y="-205105"/>
            <a:chExt cx="1019810" cy="1019810"/>
          </a:xfrm>
        </p:grpSpPr>
        <p:sp>
          <p:nvSpPr>
            <p:cNvPr id="58" name="Oval 57">
              <a:extLst>
                <a:ext uri="{FF2B5EF4-FFF2-40B4-BE49-F238E27FC236}">
                  <a16:creationId xmlns:a16="http://schemas.microsoft.com/office/drawing/2014/main" id="{DD91678C-BCF4-512E-A5BA-46D35D6E789A}"/>
                </a:ext>
              </a:extLst>
            </p:cNvPr>
            <p:cNvSpPr>
              <a:spLocks noChangeAspect="1"/>
            </p:cNvSpPr>
            <p:nvPr/>
          </p:nvSpPr>
          <p:spPr>
            <a:xfrm>
              <a:off x="-205105" y="-205105"/>
              <a:ext cx="1019810" cy="1019810"/>
            </a:xfrm>
            <a:prstGeom prst="ellipse">
              <a:avLst/>
            </a:prstGeom>
            <a:solidFill>
              <a:schemeClr val="accent2"/>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60" name="Graphic 59">
              <a:extLst>
                <a:ext uri="{FF2B5EF4-FFF2-40B4-BE49-F238E27FC236}">
                  <a16:creationId xmlns:a16="http://schemas.microsoft.com/office/drawing/2014/main" id="{A3948177-C01D-0411-1C71-0CE0145B3FA7}"/>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0" y="0"/>
              <a:ext cx="609600" cy="609600"/>
            </a:xfrm>
            <a:prstGeom prst="rect">
              <a:avLst/>
            </a:prstGeom>
          </p:spPr>
        </p:pic>
      </p:grpSp>
    </p:spTree>
    <p:extLst>
      <p:ext uri="{BB962C8B-B14F-4D97-AF65-F5344CB8AC3E}">
        <p14:creationId xmlns:p14="http://schemas.microsoft.com/office/powerpoint/2010/main" val="4253919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 hidden="1">
            <a:extLst>
              <a:ext uri="{FF2B5EF4-FFF2-40B4-BE49-F238E27FC236}">
                <a16:creationId xmlns:a16="http://schemas.microsoft.com/office/drawing/2014/main" id="{578D55DE-3BB1-3BCB-BC1B-44EF337F1908}"/>
              </a:ext>
            </a:extLst>
          </p:cNvPr>
          <p:cNvGraphicFramePr>
            <a:graphicFrameLocks noChangeAspect="1"/>
          </p:cNvGraphicFramePr>
          <p:nvPr>
            <p:custDataLst>
              <p:tags r:id="rId1"/>
            </p:custDataLst>
            <p:extLst>
              <p:ext uri="{D42A27DB-BD31-4B8C-83A1-F6EECF244321}">
                <p14:modId xmlns:p14="http://schemas.microsoft.com/office/powerpoint/2010/main" val="2981662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1" imgW="395" imgH="396" progId="TCLayout.ActiveDocument.1">
                  <p:embed/>
                </p:oleObj>
              </mc:Choice>
              <mc:Fallback>
                <p:oleObj name="think-cell Slide" r:id="rId71" imgW="395" imgH="396" progId="TCLayout.ActiveDocument.1">
                  <p:embed/>
                  <p:pic>
                    <p:nvPicPr>
                      <p:cNvPr id="15" name="Object 1" hidden="1">
                        <a:extLst>
                          <a:ext uri="{FF2B5EF4-FFF2-40B4-BE49-F238E27FC236}">
                            <a16:creationId xmlns:a16="http://schemas.microsoft.com/office/drawing/2014/main" id="{578D55DE-3BB1-3BCB-BC1B-44EF337F1908}"/>
                          </a:ext>
                        </a:extLst>
                      </p:cNvPr>
                      <p:cNvPicPr/>
                      <p:nvPr/>
                    </p:nvPicPr>
                    <p:blipFill>
                      <a:blip r:embed="rId72"/>
                      <a:stretch>
                        <a:fillRect/>
                      </a:stretch>
                    </p:blipFill>
                    <p:spPr>
                      <a:xfrm>
                        <a:off x="1588" y="1588"/>
                        <a:ext cx="1588" cy="1588"/>
                      </a:xfrm>
                      <a:prstGeom prst="rect">
                        <a:avLst/>
                      </a:prstGeom>
                    </p:spPr>
                  </p:pic>
                </p:oleObj>
              </mc:Fallback>
            </mc:AlternateContent>
          </a:graphicData>
        </a:graphic>
      </p:graphicFrame>
      <p:sp>
        <p:nvSpPr>
          <p:cNvPr id="20" name="Rectangle 5">
            <a:extLst>
              <a:ext uri="{FF2B5EF4-FFF2-40B4-BE49-F238E27FC236}">
                <a16:creationId xmlns:a16="http://schemas.microsoft.com/office/drawing/2014/main" id="{0B11E638-A380-6E40-BBC3-20AD5665800D}"/>
              </a:ext>
            </a:extLst>
          </p:cNvPr>
          <p:cNvSpPr txBox="1">
            <a:spLocks/>
          </p:cNvSpPr>
          <p:nvPr>
            <p:custDataLst>
              <p:tags r:id="rId2"/>
            </p:custDataLst>
          </p:nvPr>
        </p:nvSpPr>
        <p:spPr>
          <a:xfrm>
            <a:off x="346074" y="5064759"/>
            <a:ext cx="5524265" cy="1296355"/>
          </a:xfrm>
          <a:prstGeom prst="rect">
            <a:avLst/>
          </a:prstGeom>
          <a:noFill/>
          <a:ln w="6350">
            <a:solidFill>
              <a:schemeClr val="accent1"/>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C9A319"/>
              </a:buClr>
              <a:buSzTx/>
              <a:buFontTx/>
              <a:buNone/>
              <a:tabLst/>
              <a:defRPr/>
            </a:pPr>
            <a:endParaRPr kumimoji="0" lang="en-CA" sz="1200" b="0" i="0" u="none" strike="noStrike" kern="1200" cap="none" spc="0" normalizeH="0" baseline="0" noProof="0" dirty="0">
              <a:ln>
                <a:noFill/>
              </a:ln>
              <a:solidFill>
                <a:srgbClr val="FF0000"/>
              </a:solidFill>
              <a:effectLst/>
              <a:uLnTx/>
              <a:uFillTx/>
              <a:latin typeface="Calibri" panose="020F0502020204030204" pitchFamily="34" charset="0"/>
              <a:ea typeface="ＭＳ Ｐゴシック"/>
              <a:cs typeface="Calibri" panose="020F0502020204030204" pitchFamily="34" charset="0"/>
            </a:endParaRPr>
          </a:p>
        </p:txBody>
      </p:sp>
      <p:sp>
        <p:nvSpPr>
          <p:cNvPr id="2" name="Title 1"/>
          <p:cNvSpPr>
            <a:spLocks noGrp="1"/>
          </p:cNvSpPr>
          <p:nvPr>
            <p:ph type="title" idx="4294967295"/>
          </p:nvPr>
        </p:nvSpPr>
        <p:spPr>
          <a:xfrm>
            <a:off x="262526" y="236449"/>
            <a:ext cx="9232929" cy="830997"/>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ctr" anchorCtr="0">
            <a:spAutoFit/>
          </a:bodyPr>
          <a:lstStyle/>
          <a:p>
            <a:r>
              <a:rPr lang="en-CA" sz="2400" dirty="0"/>
              <a:t>Ecuador is an emerging market for mining developers willing to take the risk to build a large-scale mine in an unknown environment</a:t>
            </a:r>
          </a:p>
        </p:txBody>
      </p:sp>
      <p:sp>
        <p:nvSpPr>
          <p:cNvPr id="51" name="5. Source">
            <a:extLst>
              <a:ext uri="{FF2B5EF4-FFF2-40B4-BE49-F238E27FC236}">
                <a16:creationId xmlns:a16="http://schemas.microsoft.com/office/drawing/2014/main" id="{FEA89F67-585A-557F-A85D-1AAFAD031886}"/>
              </a:ext>
            </a:extLst>
          </p:cNvPr>
          <p:cNvSpPr txBox="1"/>
          <p:nvPr>
            <p:custDataLst>
              <p:tags r:id="rId3"/>
            </p:custDataLst>
          </p:nvPr>
        </p:nvSpPr>
        <p:spPr>
          <a:xfrm>
            <a:off x="346356"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ource: CIA World Factbook, World Bank WDI, IMF (WEO), Oxford Economics, </a:t>
            </a:r>
            <a:r>
              <a:rPr kumimoji="0" lang="en-US" sz="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MineSpans</a:t>
            </a: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en-US" sz="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Dentos</a:t>
            </a: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Global Mining Guide, </a:t>
            </a:r>
            <a:r>
              <a:rPr kumimoji="0" lang="en-US" sz="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Lexology</a:t>
            </a: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press search</a:t>
            </a:r>
          </a:p>
        </p:txBody>
      </p:sp>
      <p:sp>
        <p:nvSpPr>
          <p:cNvPr id="21" name="Rectangle 5">
            <a:extLst>
              <a:ext uri="{FF2B5EF4-FFF2-40B4-BE49-F238E27FC236}">
                <a16:creationId xmlns:a16="http://schemas.microsoft.com/office/drawing/2014/main" id="{0B3F432D-B6F4-682F-06ED-CF3E87555A0D}"/>
              </a:ext>
            </a:extLst>
          </p:cNvPr>
          <p:cNvSpPr txBox="1">
            <a:spLocks/>
          </p:cNvSpPr>
          <p:nvPr>
            <p:custDataLst>
              <p:tags r:id="rId4"/>
            </p:custDataLst>
          </p:nvPr>
        </p:nvSpPr>
        <p:spPr>
          <a:xfrm>
            <a:off x="6197600" y="5064759"/>
            <a:ext cx="5689601" cy="1296355"/>
          </a:xfrm>
          <a:prstGeom prst="rect">
            <a:avLst/>
          </a:prstGeom>
          <a:noFill/>
          <a:ln w="6350">
            <a:solidFill>
              <a:schemeClr val="accent1"/>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C9A319"/>
              </a:buClr>
              <a:buSzTx/>
              <a:buFontTx/>
              <a:buNone/>
              <a:tabLst/>
              <a:defRPr/>
            </a:pPr>
            <a:endParaRPr kumimoji="0" lang="en-CA" sz="1200" b="0" i="0" u="none" strike="noStrike" kern="1200" cap="none" spc="0" normalizeH="0" baseline="0" noProof="0" dirty="0">
              <a:ln>
                <a:noFill/>
              </a:ln>
              <a:solidFill>
                <a:srgbClr val="FF0000"/>
              </a:solidFill>
              <a:effectLst/>
              <a:uLnTx/>
              <a:uFillTx/>
              <a:latin typeface="Calibri" panose="020F0502020204030204" pitchFamily="34" charset="0"/>
              <a:ea typeface="ＭＳ Ｐゴシック"/>
              <a:cs typeface="Calibri" panose="020F0502020204030204" pitchFamily="34" charset="0"/>
            </a:endParaRPr>
          </a:p>
        </p:txBody>
      </p:sp>
      <p:sp>
        <p:nvSpPr>
          <p:cNvPr id="22" name="AutoShape 250">
            <a:extLst>
              <a:ext uri="{FF2B5EF4-FFF2-40B4-BE49-F238E27FC236}">
                <a16:creationId xmlns:a16="http://schemas.microsoft.com/office/drawing/2014/main" id="{733DB914-4118-F763-42C8-DB8D2F387978}"/>
              </a:ext>
            </a:extLst>
          </p:cNvPr>
          <p:cNvSpPr>
            <a:spLocks noChangeArrowheads="1"/>
          </p:cNvSpPr>
          <p:nvPr/>
        </p:nvSpPr>
        <p:spPr bwMode="auto">
          <a:xfrm>
            <a:off x="429449" y="5337175"/>
            <a:ext cx="5195032" cy="153888"/>
          </a:xfrm>
          <a:prstGeom prst="leftRightArrow">
            <a:avLst>
              <a:gd name="adj1" fmla="val 100000"/>
              <a:gd name="adj2" fmla="val 0"/>
            </a:avLst>
          </a:prstGeom>
          <a:noFill/>
          <a:ln w="9525">
            <a:noFill/>
            <a:miter lim="800000"/>
            <a:headEnd/>
            <a:tailEnd/>
          </a:ln>
          <a:effectLst/>
        </p:spPr>
        <p:txBody>
          <a:bodyPr vert="horz" wrap="square" lIns="0" tIns="0" rIns="0" bIns="0" numCol="1" anchor="ctr" anchorCtr="0" compatLnSpc="1">
            <a:prstTxWarp prst="textNoShape">
              <a:avLst/>
            </a:prstTxWarp>
            <a:spAutoFit/>
          </a:body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Contribution of mining to national GDP, </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a:t>
            </a:r>
          </a:p>
        </p:txBody>
      </p:sp>
      <p:sp>
        <p:nvSpPr>
          <p:cNvPr id="23" name="Rectangle 8">
            <a:extLst>
              <a:ext uri="{FF2B5EF4-FFF2-40B4-BE49-F238E27FC236}">
                <a16:creationId xmlns:a16="http://schemas.microsoft.com/office/drawing/2014/main" id="{9B00C195-51E8-574B-1B06-5CBA96CB036D}"/>
              </a:ext>
            </a:extLst>
          </p:cNvPr>
          <p:cNvSpPr txBox="1">
            <a:spLocks/>
          </p:cNvSpPr>
          <p:nvPr>
            <p:custDataLst>
              <p:tags r:id="rId5"/>
            </p:custDataLst>
          </p:nvPr>
        </p:nvSpPr>
        <p:spPr>
          <a:xfrm>
            <a:off x="429449" y="5097205"/>
            <a:ext cx="5195032" cy="184666"/>
          </a:xfrm>
          <a:prstGeom prst="rect">
            <a:avLst/>
          </a:prstGeom>
          <a:noFill/>
          <a:ln w="9525">
            <a:noFill/>
            <a:miter lim="800000"/>
            <a:headEnd/>
            <a:tailEnd/>
          </a:ln>
          <a:effectLst/>
        </p:spPr>
        <p:txBody>
          <a:bodyPr vert="horz" wrap="square" lIns="0" tIns="0" rIns="0" bIns="0" numCol="1" anchor="ctr"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Mining corresponds to ~2.5% of the country’s GDP</a:t>
            </a:r>
            <a:endParaRPr kumimoji="0" lang="en-CA" sz="12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24" name="Rectangle 8">
            <a:extLst>
              <a:ext uri="{FF2B5EF4-FFF2-40B4-BE49-F238E27FC236}">
                <a16:creationId xmlns:a16="http://schemas.microsoft.com/office/drawing/2014/main" id="{7FEBD79E-B3C0-545E-A0E9-D7AE8A1BBA81}"/>
              </a:ext>
            </a:extLst>
          </p:cNvPr>
          <p:cNvSpPr txBox="1">
            <a:spLocks/>
          </p:cNvSpPr>
          <p:nvPr>
            <p:custDataLst>
              <p:tags r:id="rId6"/>
            </p:custDataLst>
          </p:nvPr>
        </p:nvSpPr>
        <p:spPr>
          <a:xfrm>
            <a:off x="6300402" y="5097205"/>
            <a:ext cx="5483996" cy="184666"/>
          </a:xfrm>
          <a:prstGeom prst="rect">
            <a:avLst/>
          </a:prstGeom>
          <a:noFill/>
          <a:ln w="9525">
            <a:noFill/>
            <a:miter lim="800000"/>
            <a:headEnd/>
            <a:tailEnd/>
          </a:ln>
          <a:effectLst/>
        </p:spPr>
        <p:txBody>
          <a:bodyPr vert="horz" wrap="square" lIns="0" tIns="0" rIns="0" bIns="0" numCol="1" anchor="ctr"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CA" sz="12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Gold production is growing, driven by the ramp up of industrial scale operations</a:t>
            </a:r>
          </a:p>
        </p:txBody>
      </p:sp>
      <p:cxnSp>
        <p:nvCxnSpPr>
          <p:cNvPr id="34" name="Straight Connector 33">
            <a:extLst>
              <a:ext uri="{FF2B5EF4-FFF2-40B4-BE49-F238E27FC236}">
                <a16:creationId xmlns:a16="http://schemas.microsoft.com/office/drawing/2014/main" id="{EB3C492B-2B23-BBB8-FD5D-B1EF650D1AA8}"/>
              </a:ext>
            </a:extLst>
          </p:cNvPr>
          <p:cNvCxnSpPr>
            <a:cxnSpLocks/>
          </p:cNvCxnSpPr>
          <p:nvPr>
            <p:custDataLst>
              <p:tags r:id="rId7"/>
            </p:custDataLst>
          </p:nvPr>
        </p:nvCxnSpPr>
        <p:spPr>
          <a:xfrm>
            <a:off x="346074" y="4114347"/>
            <a:ext cx="5524265" cy="0"/>
          </a:xfrm>
          <a:prstGeom prst="line">
            <a:avLst/>
          </a:prstGeom>
          <a:ln w="6350">
            <a:solidFill>
              <a:srgbClr val="757575"/>
            </a:solidFill>
            <a:prstDash val="soli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D80A1D05-FAF3-BED8-FD5C-2BE9D20B7596}"/>
              </a:ext>
            </a:extLst>
          </p:cNvPr>
          <p:cNvCxnSpPr>
            <a:cxnSpLocks/>
          </p:cNvCxnSpPr>
          <p:nvPr>
            <p:custDataLst>
              <p:tags r:id="rId8"/>
            </p:custDataLst>
          </p:nvPr>
        </p:nvCxnSpPr>
        <p:spPr>
          <a:xfrm>
            <a:off x="346074" y="2363056"/>
            <a:ext cx="5524265" cy="0"/>
          </a:xfrm>
          <a:prstGeom prst="line">
            <a:avLst/>
          </a:prstGeom>
          <a:ln w="6350">
            <a:solidFill>
              <a:srgbClr val="757575"/>
            </a:solidFill>
            <a:prstDash val="soli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E48FF427-B204-0939-2F10-F61E62D6A4AB}"/>
              </a:ext>
            </a:extLst>
          </p:cNvPr>
          <p:cNvCxnSpPr>
            <a:cxnSpLocks/>
          </p:cNvCxnSpPr>
          <p:nvPr>
            <p:custDataLst>
              <p:tags r:id="rId9"/>
            </p:custDataLst>
          </p:nvPr>
        </p:nvCxnSpPr>
        <p:spPr>
          <a:xfrm>
            <a:off x="346074" y="3486731"/>
            <a:ext cx="5524265" cy="0"/>
          </a:xfrm>
          <a:prstGeom prst="line">
            <a:avLst/>
          </a:prstGeom>
          <a:ln w="6350">
            <a:solidFill>
              <a:srgbClr val="757575"/>
            </a:solidFill>
            <a:prstDash val="soli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64A3520-D2D9-CE31-EF86-4AF475BF887E}"/>
              </a:ext>
            </a:extLst>
          </p:cNvPr>
          <p:cNvCxnSpPr>
            <a:cxnSpLocks/>
          </p:cNvCxnSpPr>
          <p:nvPr>
            <p:custDataLst>
              <p:tags r:id="rId10"/>
            </p:custDataLst>
          </p:nvPr>
        </p:nvCxnSpPr>
        <p:spPr>
          <a:xfrm>
            <a:off x="6197600" y="3128633"/>
            <a:ext cx="5689601" cy="0"/>
          </a:xfrm>
          <a:prstGeom prst="line">
            <a:avLst/>
          </a:prstGeom>
          <a:ln w="6350">
            <a:solidFill>
              <a:srgbClr val="757575"/>
            </a:solidFill>
            <a:prstDash val="solid"/>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8D38C8ED-8C9C-CE72-EAFF-03F2B8E3C572}"/>
              </a:ext>
            </a:extLst>
          </p:cNvPr>
          <p:cNvSpPr/>
          <p:nvPr>
            <p:custDataLst>
              <p:tags r:id="rId11"/>
            </p:custDataLst>
          </p:nvPr>
        </p:nvSpPr>
        <p:spPr bwMode="auto">
          <a:xfrm>
            <a:off x="3868739" y="5308600"/>
            <a:ext cx="123825" cy="123825"/>
          </a:xfrm>
          <a:prstGeom prst="rect">
            <a:avLst/>
          </a:prstGeom>
          <a:solidFill>
            <a:schemeClr val="accent3"/>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pt-BR" sz="1600" b="0" i="0" u="none" strike="noStrike" kern="1200" cap="none" spc="0" normalizeH="0" baseline="0" noProof="0" dirty="0" err="1">
              <a:ln>
                <a:noFill/>
              </a:ln>
              <a:solidFill>
                <a:srgbClr val="FFFFFF"/>
              </a:solidFill>
              <a:effectLst/>
              <a:uLnTx/>
              <a:uFillTx/>
              <a:latin typeface="Calibri" panose="020F0502020204030204" pitchFamily="34" charset="0"/>
              <a:ea typeface="+mn-ea"/>
              <a:cs typeface="+mn-cs"/>
            </a:endParaRPr>
          </a:p>
        </p:txBody>
      </p:sp>
      <p:sp>
        <p:nvSpPr>
          <p:cNvPr id="62" name="Rectangle 61">
            <a:extLst>
              <a:ext uri="{FF2B5EF4-FFF2-40B4-BE49-F238E27FC236}">
                <a16:creationId xmlns:a16="http://schemas.microsoft.com/office/drawing/2014/main" id="{B82E9124-EB74-2C7A-5376-54921C28C111}"/>
              </a:ext>
            </a:extLst>
          </p:cNvPr>
          <p:cNvSpPr/>
          <p:nvPr>
            <p:custDataLst>
              <p:tags r:id="rId12"/>
            </p:custDataLst>
          </p:nvPr>
        </p:nvSpPr>
        <p:spPr bwMode="auto">
          <a:xfrm>
            <a:off x="4762501" y="5308600"/>
            <a:ext cx="123825" cy="123825"/>
          </a:xfrm>
          <a:prstGeom prst="rect">
            <a:avLst/>
          </a:prstGeom>
          <a:solidFill>
            <a:schemeClr val="accent1"/>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pt-BR" sz="1600" b="0" i="0" u="none" strike="noStrike" kern="1200" cap="none" spc="0" normalizeH="0" baseline="0" noProof="0" dirty="0" err="1">
              <a:ln>
                <a:noFill/>
              </a:ln>
              <a:solidFill>
                <a:srgbClr val="FFFFFF"/>
              </a:solidFill>
              <a:effectLst/>
              <a:uLnTx/>
              <a:uFillTx/>
              <a:latin typeface="Calibri" panose="020F0502020204030204" pitchFamily="34" charset="0"/>
              <a:ea typeface="+mn-ea"/>
              <a:cs typeface="+mn-cs"/>
            </a:endParaRPr>
          </a:p>
        </p:txBody>
      </p:sp>
      <p:sp>
        <p:nvSpPr>
          <p:cNvPr id="64" name="Text Placeholder 2">
            <a:extLst>
              <a:ext uri="{FF2B5EF4-FFF2-40B4-BE49-F238E27FC236}">
                <a16:creationId xmlns:a16="http://schemas.microsoft.com/office/drawing/2014/main" id="{9AE7DD72-8AE7-491C-8EB8-C01E72F4659B}"/>
              </a:ext>
            </a:extLst>
          </p:cNvPr>
          <p:cNvSpPr>
            <a:spLocks noGrp="1"/>
          </p:cNvSpPr>
          <p:nvPr>
            <p:custDataLst>
              <p:tags r:id="rId13"/>
            </p:custDataLst>
          </p:nvPr>
        </p:nvSpPr>
        <p:spPr bwMode="auto">
          <a:xfrm>
            <a:off x="4043363" y="5307013"/>
            <a:ext cx="6175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909715C4-803C-4EEA-A073-3AD5ADF48C8B}" type="datetime'''O''t''''he''''''''r'' m''''''''''''i''n''''i''ng'''''''''">
              <a:rPr kumimoji="0" lang="pt-BR" altLang="en-US" sz="900" b="0" i="0" u="none" strike="noStrike" kern="1200" cap="none" spc="0" normalizeH="0" baseline="0" noProof="0" smtClean="0">
                <a:ln>
                  <a:noFill/>
                </a:ln>
                <a:solidFill>
                  <a:srgbClr val="000000"/>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Other mining</a:t>
            </a:fld>
            <a:endParaRPr kumimoji="0" lang="pt-BR" sz="9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endParaRPr>
          </a:p>
        </p:txBody>
      </p:sp>
      <p:sp>
        <p:nvSpPr>
          <p:cNvPr id="67" name="Text Placeholder 2">
            <a:extLst>
              <a:ext uri="{FF2B5EF4-FFF2-40B4-BE49-F238E27FC236}">
                <a16:creationId xmlns:a16="http://schemas.microsoft.com/office/drawing/2014/main" id="{79C97CB9-6BDF-DE0A-6F75-0369142A3EFD}"/>
              </a:ext>
            </a:extLst>
          </p:cNvPr>
          <p:cNvSpPr>
            <a:spLocks noGrp="1"/>
          </p:cNvSpPr>
          <p:nvPr>
            <p:custDataLst>
              <p:tags r:id="rId14"/>
            </p:custDataLst>
          </p:nvPr>
        </p:nvSpPr>
        <p:spPr bwMode="auto">
          <a:xfrm>
            <a:off x="4937125" y="5307013"/>
            <a:ext cx="5651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6C4F8136-D53E-40EB-842B-D27BCDDCD6FB}" type="datetime'Gol''''''''''''''''d'''''''''' m''''i''''nin''''''''g'''">
              <a:rPr kumimoji="0" lang="pt-BR" altLang="en-US" sz="900" b="0" i="0" u="none" strike="noStrike" kern="1200" cap="none" spc="0" normalizeH="0" baseline="0" noProof="0" smtClean="0">
                <a:ln>
                  <a:noFill/>
                </a:ln>
                <a:solidFill>
                  <a:srgbClr val="000000"/>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Gold mining</a:t>
            </a:fld>
            <a:endParaRPr kumimoji="0" lang="pt-BR" sz="9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endParaRPr>
          </a:p>
        </p:txBody>
      </p:sp>
      <p:graphicFrame>
        <p:nvGraphicFramePr>
          <p:cNvPr id="44" name="Chart 43">
            <a:extLst>
              <a:ext uri="{FF2B5EF4-FFF2-40B4-BE49-F238E27FC236}">
                <a16:creationId xmlns:a16="http://schemas.microsoft.com/office/drawing/2014/main" id="{AFFA5107-7FD8-D011-AB47-C629B18F9C6A}"/>
              </a:ext>
            </a:extLst>
          </p:cNvPr>
          <p:cNvGraphicFramePr/>
          <p:nvPr>
            <p:custDataLst>
              <p:tags r:id="rId15"/>
            </p:custDataLst>
            <p:extLst>
              <p:ext uri="{D42A27DB-BD31-4B8C-83A1-F6EECF244321}">
                <p14:modId xmlns:p14="http://schemas.microsoft.com/office/powerpoint/2010/main" val="3710869158"/>
              </p:ext>
            </p:extLst>
          </p:nvPr>
        </p:nvGraphicFramePr>
        <p:xfrm>
          <a:off x="344488" y="5683250"/>
          <a:ext cx="5359400" cy="523875"/>
        </p:xfrm>
        <a:graphic>
          <a:graphicData uri="http://schemas.openxmlformats.org/drawingml/2006/chart">
            <c:chart xmlns:c="http://schemas.openxmlformats.org/drawingml/2006/chart" xmlns:r="http://schemas.openxmlformats.org/officeDocument/2006/relationships" r:id="rId73"/>
          </a:graphicData>
        </a:graphic>
      </p:graphicFrame>
      <p:cxnSp>
        <p:nvCxnSpPr>
          <p:cNvPr id="40" name="Straight Connector 39">
            <a:extLst>
              <a:ext uri="{FF2B5EF4-FFF2-40B4-BE49-F238E27FC236}">
                <a16:creationId xmlns:a16="http://schemas.microsoft.com/office/drawing/2014/main" id="{26D7B532-554F-AF24-6D85-330A57F88017}"/>
              </a:ext>
            </a:extLst>
          </p:cNvPr>
          <p:cNvCxnSpPr/>
          <p:nvPr>
            <p:custDataLst>
              <p:tags r:id="rId16"/>
            </p:custDataLst>
          </p:nvPr>
        </p:nvCxnSpPr>
        <p:spPr bwMode="auto">
          <a:xfrm flipH="1">
            <a:off x="1241425" y="5867400"/>
            <a:ext cx="920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27" name="Text Placeholder 2">
            <a:extLst>
              <a:ext uri="{FF2B5EF4-FFF2-40B4-BE49-F238E27FC236}">
                <a16:creationId xmlns:a16="http://schemas.microsoft.com/office/drawing/2014/main" id="{B946D9DD-DA0A-BE42-839C-B2B1D503385A}"/>
              </a:ext>
            </a:extLst>
          </p:cNvPr>
          <p:cNvSpPr>
            <a:spLocks noGrp="1"/>
          </p:cNvSpPr>
          <p:nvPr>
            <p:custDataLst>
              <p:tags r:id="rId17"/>
            </p:custDataLst>
          </p:nvPr>
        </p:nvSpPr>
        <p:spPr bwMode="gray">
          <a:xfrm>
            <a:off x="1333500" y="5791200"/>
            <a:ext cx="196850" cy="152400"/>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BAF3E388-504E-4C21-B9B1-A1420290296A}" type="datetime'''0''''.''''''''9'''''''''''''''''''''''''''''''''''''''''''''">
              <a:rPr kumimoji="0" lang="pt-BR" altLang="en-US" sz="1000" b="0" i="0" u="none" strike="noStrike" kern="1200" cap="none" spc="0" normalizeH="0" baseline="0" noProof="0" smtClean="0">
                <a:ln>
                  <a:noFill/>
                </a:ln>
                <a:solidFill>
                  <a:srgbClr val="FFFFFF"/>
                </a:solidFill>
                <a:effectLst/>
                <a:uLnTx/>
                <a:uFillTx/>
                <a:latin typeface="Calibri" panose="020F0502020204030204"/>
                <a:ea typeface="+mn-ea"/>
                <a:cs typeface="Calibri" panose="020F0502020204030204" pitchFamily="34" charset="0"/>
              </a:rPr>
              <a:pPr marL="0" marR="0" lvl="0" indent="0" defTabSz="914400" rtl="0" eaLnBrk="1" fontAlgn="auto" latinLnBrk="0" hangingPunct="1">
                <a:lnSpc>
                  <a:spcPct val="100000"/>
                </a:lnSpc>
                <a:spcBef>
                  <a:spcPct val="0"/>
                </a:spcBef>
                <a:spcAft>
                  <a:spcPct val="0"/>
                </a:spcAft>
                <a:buClrTx/>
                <a:buSzTx/>
                <a:buFont typeface="Arial" panose="020B0604020202020204" pitchFamily="34" charset="0"/>
                <a:buNone/>
                <a:tabLst/>
                <a:defRPr/>
              </a:pPr>
              <a:t>0.9</a:t>
            </a:fld>
            <a:endParaRPr kumimoji="0" lang="pt-BR" sz="1000" b="0"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endParaRPr>
          </a:p>
        </p:txBody>
      </p:sp>
      <p:sp>
        <p:nvSpPr>
          <p:cNvPr id="54" name="Text Placeholder 2">
            <a:extLst>
              <a:ext uri="{FF2B5EF4-FFF2-40B4-BE49-F238E27FC236}">
                <a16:creationId xmlns:a16="http://schemas.microsoft.com/office/drawing/2014/main" id="{E2A46E54-617B-7794-BDC4-DF3DC6D1CEA8}"/>
              </a:ext>
            </a:extLst>
          </p:cNvPr>
          <p:cNvSpPr>
            <a:spLocks noGrp="1"/>
          </p:cNvSpPr>
          <p:nvPr>
            <p:custDataLst>
              <p:tags r:id="rId18"/>
            </p:custDataLst>
          </p:nvPr>
        </p:nvSpPr>
        <p:spPr bwMode="auto">
          <a:xfrm>
            <a:off x="809625" y="6167438"/>
            <a:ext cx="2730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33AEC9D3-106B-4702-B270-597006562BD1}" type="datetime'''''''''2''''''0''''''1''''''''''''''8'''''''''''''''''''''''">
              <a:rPr kumimoji="0" lang="pt-BR" altLang="en-US" sz="1000" b="0" i="0" u="none" strike="noStrike" kern="1200" cap="none" spc="0" normalizeH="0" baseline="0" noProof="0" smtClean="0">
                <a:ln>
                  <a:noFill/>
                </a:ln>
                <a:solidFill>
                  <a:srgbClr val="000000"/>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18</a:t>
            </a:fld>
            <a:endParaRPr kumimoji="0" lang="pt-BR" sz="10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endParaRPr>
          </a:p>
        </p:txBody>
      </p:sp>
      <p:sp>
        <p:nvSpPr>
          <p:cNvPr id="57" name="Text Placeholder 2">
            <a:extLst>
              <a:ext uri="{FF2B5EF4-FFF2-40B4-BE49-F238E27FC236}">
                <a16:creationId xmlns:a16="http://schemas.microsoft.com/office/drawing/2014/main" id="{88D07227-1FB7-DD1A-376E-D1A4AB1D2F74}"/>
              </a:ext>
            </a:extLst>
          </p:cNvPr>
          <p:cNvSpPr>
            <a:spLocks noGrp="1"/>
          </p:cNvSpPr>
          <p:nvPr>
            <p:custDataLst>
              <p:tags r:id="rId19"/>
            </p:custDataLst>
          </p:nvPr>
        </p:nvSpPr>
        <p:spPr bwMode="auto">
          <a:xfrm>
            <a:off x="1912938" y="6167438"/>
            <a:ext cx="1428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1B2BA692-32EA-45DC-8270-8EC178A898C3}" type="datetime'''''''''1''''''''''''''''''''''''''''9'">
              <a:rPr kumimoji="0" lang="pt-BR" altLang="en-US" sz="1000" b="0" i="0" u="none" strike="noStrike" kern="1200" cap="none" spc="0" normalizeH="0" baseline="0" noProof="0" smtClean="0">
                <a:ln>
                  <a:noFill/>
                </a:ln>
                <a:solidFill>
                  <a:srgbClr val="000000"/>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19</a:t>
            </a:fld>
            <a:endParaRPr kumimoji="0" lang="pt-BR" sz="10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endParaRPr>
          </a:p>
        </p:txBody>
      </p:sp>
      <p:sp>
        <p:nvSpPr>
          <p:cNvPr id="52" name="Text Placeholder 2">
            <a:extLst>
              <a:ext uri="{FF2B5EF4-FFF2-40B4-BE49-F238E27FC236}">
                <a16:creationId xmlns:a16="http://schemas.microsoft.com/office/drawing/2014/main" id="{9E37D6A5-A8E8-192D-12A0-EFE2909F2BEE}"/>
              </a:ext>
            </a:extLst>
          </p:cNvPr>
          <p:cNvSpPr>
            <a:spLocks noGrp="1"/>
          </p:cNvSpPr>
          <p:nvPr>
            <p:custDataLst>
              <p:tags r:id="rId20"/>
            </p:custDataLst>
          </p:nvPr>
        </p:nvSpPr>
        <p:spPr bwMode="auto">
          <a:xfrm>
            <a:off x="2952750" y="6167438"/>
            <a:ext cx="1428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54416EF1-1BB0-43B5-9EC2-190DF52B48AC}" type="datetime'''2''''''''''0'''''''''''''''''''''''">
              <a:rPr kumimoji="0" lang="pt-BR" altLang="en-US" sz="1000" b="0" i="0" u="none" strike="noStrike" kern="1200" cap="none" spc="0" normalizeH="0" baseline="0" noProof="0" smtClean="0">
                <a:ln>
                  <a:noFill/>
                </a:ln>
                <a:solidFill>
                  <a:srgbClr val="000000"/>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a:t>
            </a:fld>
            <a:endParaRPr kumimoji="0" lang="pt-BR" sz="10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endParaRPr>
          </a:p>
        </p:txBody>
      </p:sp>
      <p:sp>
        <p:nvSpPr>
          <p:cNvPr id="55" name="Text Placeholder 2">
            <a:extLst>
              <a:ext uri="{FF2B5EF4-FFF2-40B4-BE49-F238E27FC236}">
                <a16:creationId xmlns:a16="http://schemas.microsoft.com/office/drawing/2014/main" id="{74F38503-27C0-EECC-85D9-E749A3321C92}"/>
              </a:ext>
            </a:extLst>
          </p:cNvPr>
          <p:cNvSpPr>
            <a:spLocks noGrp="1"/>
          </p:cNvSpPr>
          <p:nvPr>
            <p:custDataLst>
              <p:tags r:id="rId21"/>
            </p:custDataLst>
          </p:nvPr>
        </p:nvSpPr>
        <p:spPr bwMode="auto">
          <a:xfrm>
            <a:off x="3990975" y="6167438"/>
            <a:ext cx="1428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FCA65B13-676D-4669-9C84-B355D413B5EC}" type="datetime'''''2''''''''''''''''''1'">
              <a:rPr kumimoji="0" lang="pt-BR" altLang="en-US" sz="1000" b="0" i="0" u="none" strike="noStrike" kern="1200" cap="none" spc="0" normalizeH="0" baseline="0" noProof="0" smtClean="0">
                <a:ln>
                  <a:noFill/>
                </a:ln>
                <a:solidFill>
                  <a:srgbClr val="000000"/>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1</a:t>
            </a:fld>
            <a:endParaRPr kumimoji="0" lang="pt-BR" sz="10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endParaRPr>
          </a:p>
        </p:txBody>
      </p:sp>
      <p:sp>
        <p:nvSpPr>
          <p:cNvPr id="56" name="Text Placeholder 2">
            <a:extLst>
              <a:ext uri="{FF2B5EF4-FFF2-40B4-BE49-F238E27FC236}">
                <a16:creationId xmlns:a16="http://schemas.microsoft.com/office/drawing/2014/main" id="{00676BBC-D649-2461-8072-F7915FEB0602}"/>
              </a:ext>
            </a:extLst>
          </p:cNvPr>
          <p:cNvSpPr>
            <a:spLocks noGrp="1"/>
          </p:cNvSpPr>
          <p:nvPr>
            <p:custDataLst>
              <p:tags r:id="rId22"/>
            </p:custDataLst>
          </p:nvPr>
        </p:nvSpPr>
        <p:spPr bwMode="auto">
          <a:xfrm>
            <a:off x="4965700" y="6167438"/>
            <a:ext cx="2730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292E498D-BAA4-420B-9926-73EC4C4E6D3E}" type="datetime'''''''''2''''0''2''''''''''''''''''''2'">
              <a:rPr kumimoji="0" lang="pt-BR" altLang="en-US" sz="1000" b="0" i="0" u="none" strike="noStrike" kern="1200" cap="none" spc="0" normalizeH="0" baseline="0" noProof="0" smtClean="0">
                <a:ln>
                  <a:noFill/>
                </a:ln>
                <a:solidFill>
                  <a:srgbClr val="000000"/>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22</a:t>
            </a:fld>
            <a:endParaRPr kumimoji="0" lang="pt-BR" sz="10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endParaRPr>
          </a:p>
        </p:txBody>
      </p:sp>
      <p:sp>
        <p:nvSpPr>
          <p:cNvPr id="204" name="Text Placeholder 2">
            <a:extLst>
              <a:ext uri="{FF2B5EF4-FFF2-40B4-BE49-F238E27FC236}">
                <a16:creationId xmlns:a16="http://schemas.microsoft.com/office/drawing/2014/main" id="{B946D9DD-DA0A-BE42-839C-B2B1D503385A}"/>
              </a:ext>
            </a:extLst>
          </p:cNvPr>
          <p:cNvSpPr>
            <a:spLocks noGrp="1"/>
          </p:cNvSpPr>
          <p:nvPr>
            <p:custDataLst>
              <p:tags r:id="rId23"/>
            </p:custDataLst>
          </p:nvPr>
        </p:nvSpPr>
        <p:spPr bwMode="gray">
          <a:xfrm>
            <a:off x="847725" y="5641975"/>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1597E566-459E-40D1-AC53-E20CD68700F6}" type="datetime'''''''''''''''''2''''''''''''''''''''''''.''3'''''">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3</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205" name="Text Placeholder 2">
            <a:extLst>
              <a:ext uri="{FF2B5EF4-FFF2-40B4-BE49-F238E27FC236}">
                <a16:creationId xmlns:a16="http://schemas.microsoft.com/office/drawing/2014/main" id="{B946D9DD-DA0A-BE42-839C-B2B1D503385A}"/>
              </a:ext>
            </a:extLst>
          </p:cNvPr>
          <p:cNvSpPr>
            <a:spLocks noGrp="1"/>
          </p:cNvSpPr>
          <p:nvPr>
            <p:custDataLst>
              <p:tags r:id="rId24"/>
            </p:custDataLst>
          </p:nvPr>
        </p:nvSpPr>
        <p:spPr bwMode="gray">
          <a:xfrm>
            <a:off x="1885950" y="5629275"/>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0DC13567-AC73-4F1D-B69A-82D8D4F386E1}" type="datetime'''''2''.''''''''''''''''''''''4'''''''''''''''''''''''''''''''">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4</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206" name="Text Placeholder 2">
            <a:extLst>
              <a:ext uri="{FF2B5EF4-FFF2-40B4-BE49-F238E27FC236}">
                <a16:creationId xmlns:a16="http://schemas.microsoft.com/office/drawing/2014/main" id="{B946D9DD-DA0A-BE42-839C-B2B1D503385A}"/>
              </a:ext>
            </a:extLst>
          </p:cNvPr>
          <p:cNvSpPr>
            <a:spLocks noGrp="1"/>
          </p:cNvSpPr>
          <p:nvPr>
            <p:custDataLst>
              <p:tags r:id="rId25"/>
            </p:custDataLst>
          </p:nvPr>
        </p:nvSpPr>
        <p:spPr bwMode="gray">
          <a:xfrm>
            <a:off x="2925763" y="5622925"/>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33124C64-3DDA-47A7-85EF-21FA56AC177A}" type="datetime'2''''''''''.''''''''''''''''''''4'''''''">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4</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207" name="Text Placeholder 2">
            <a:extLst>
              <a:ext uri="{FF2B5EF4-FFF2-40B4-BE49-F238E27FC236}">
                <a16:creationId xmlns:a16="http://schemas.microsoft.com/office/drawing/2014/main" id="{B946D9DD-DA0A-BE42-839C-B2B1D503385A}"/>
              </a:ext>
            </a:extLst>
          </p:cNvPr>
          <p:cNvSpPr>
            <a:spLocks noGrp="1"/>
          </p:cNvSpPr>
          <p:nvPr>
            <p:custDataLst>
              <p:tags r:id="rId26"/>
            </p:custDataLst>
          </p:nvPr>
        </p:nvSpPr>
        <p:spPr bwMode="gray">
          <a:xfrm>
            <a:off x="3963988" y="5622925"/>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66A0E145-03DD-43FE-9D40-3A72434C6846}" type="datetime'''''''''2.''''''''''''''''''''4'''''''''">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4</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208" name="Text Placeholder 2">
            <a:extLst>
              <a:ext uri="{FF2B5EF4-FFF2-40B4-BE49-F238E27FC236}">
                <a16:creationId xmlns:a16="http://schemas.microsoft.com/office/drawing/2014/main" id="{B946D9DD-DA0A-BE42-839C-B2B1D503385A}"/>
              </a:ext>
            </a:extLst>
          </p:cNvPr>
          <p:cNvSpPr>
            <a:spLocks noGrp="1"/>
          </p:cNvSpPr>
          <p:nvPr>
            <p:custDataLst>
              <p:tags r:id="rId27"/>
            </p:custDataLst>
          </p:nvPr>
        </p:nvSpPr>
        <p:spPr bwMode="gray">
          <a:xfrm>
            <a:off x="5003800" y="5603875"/>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6FCB926A-DD59-477D-B5E5-CF675129E79B}" type="datetime'''''2''''''''''''.''''''''''''''''''5'''''''''''">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5</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5" name="Text Placeholder 4">
            <a:extLst>
              <a:ext uri="{FF2B5EF4-FFF2-40B4-BE49-F238E27FC236}">
                <a16:creationId xmlns:a16="http://schemas.microsoft.com/office/drawing/2014/main" id="{4C1F3293-4EFE-461D-940D-7EE66BAE31C5}"/>
              </a:ext>
            </a:extLst>
          </p:cNvPr>
          <p:cNvSpPr>
            <a:spLocks noGrp="1"/>
          </p:cNvSpPr>
          <p:nvPr>
            <p:custDataLst>
              <p:tags r:id="rId28"/>
            </p:custDataLst>
          </p:nvPr>
        </p:nvSpPr>
        <p:spPr bwMode="gray">
          <a:xfrm>
            <a:off x="847725" y="5951538"/>
            <a:ext cx="196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4DD309E-F765-41A4-AFCE-E75116E18F5B}" type="datetime'''''''''''''1''''''''''''''''.''''''''''4'">
              <a:rPr lang="pt-BR" altLang="en-US" sz="1000" smtClean="0">
                <a:solidFill>
                  <a:srgbClr val="FFFFFF"/>
                </a:solidFill>
                <a:effectLst/>
                <a:cs typeface="Calibri" panose="020F0502020204030204" pitchFamily="34" charset="0"/>
              </a:rPr>
              <a:pPr lvl="0" algn="ctr">
                <a:spcBef>
                  <a:spcPct val="0"/>
                </a:spcBef>
                <a:spcAft>
                  <a:spcPct val="0"/>
                </a:spcAft>
              </a:pPr>
              <a:t>1.4</a:t>
            </a:fld>
            <a:endParaRPr lang="pt-BR" sz="1000" dirty="0">
              <a:solidFill>
                <a:srgbClr val="FFFFFF"/>
              </a:solidFill>
              <a:cs typeface="Calibri" panose="020F0502020204030204" pitchFamily="34" charset="0"/>
            </a:endParaRPr>
          </a:p>
        </p:txBody>
      </p:sp>
      <p:sp>
        <p:nvSpPr>
          <p:cNvPr id="6" name="Text Placeholder 4">
            <a:extLst>
              <a:ext uri="{FF2B5EF4-FFF2-40B4-BE49-F238E27FC236}">
                <a16:creationId xmlns:a16="http://schemas.microsoft.com/office/drawing/2014/main" id="{4C1F3293-4EFE-461D-940D-7EE66BAE31C5}"/>
              </a:ext>
            </a:extLst>
          </p:cNvPr>
          <p:cNvSpPr>
            <a:spLocks noGrp="1"/>
          </p:cNvSpPr>
          <p:nvPr>
            <p:custDataLst>
              <p:tags r:id="rId29"/>
            </p:custDataLst>
          </p:nvPr>
        </p:nvSpPr>
        <p:spPr bwMode="gray">
          <a:xfrm>
            <a:off x="1885950" y="5781675"/>
            <a:ext cx="196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AB547A5-A4A5-417B-A7B4-997CE57565D7}" type="datetime'''''''''''0''''''''''''''''''''''''''''''''''.9'''''''''''''">
              <a:rPr lang="pt-BR" altLang="en-US" sz="1000" smtClean="0">
                <a:solidFill>
                  <a:schemeClr val="tx2"/>
                </a:solidFill>
                <a:effectLst/>
                <a:cs typeface="Calibri" panose="020F0502020204030204" pitchFamily="34" charset="0"/>
              </a:rPr>
              <a:pPr lvl="0" algn="ctr">
                <a:spcBef>
                  <a:spcPct val="0"/>
                </a:spcBef>
                <a:spcAft>
                  <a:spcPct val="0"/>
                </a:spcAft>
              </a:pPr>
              <a:t>0.9</a:t>
            </a:fld>
            <a:endParaRPr lang="pt-BR" sz="1000" dirty="0">
              <a:solidFill>
                <a:schemeClr val="tx2"/>
              </a:solidFill>
              <a:cs typeface="Calibri" panose="020F0502020204030204" pitchFamily="34" charset="0"/>
            </a:endParaRPr>
          </a:p>
        </p:txBody>
      </p:sp>
      <p:sp>
        <p:nvSpPr>
          <p:cNvPr id="7" name="Text Placeholder 4">
            <a:extLst>
              <a:ext uri="{FF2B5EF4-FFF2-40B4-BE49-F238E27FC236}">
                <a16:creationId xmlns:a16="http://schemas.microsoft.com/office/drawing/2014/main" id="{4C1F3293-4EFE-461D-940D-7EE66BAE31C5}"/>
              </a:ext>
            </a:extLst>
          </p:cNvPr>
          <p:cNvSpPr>
            <a:spLocks noGrp="1"/>
          </p:cNvSpPr>
          <p:nvPr>
            <p:custDataLst>
              <p:tags r:id="rId30"/>
            </p:custDataLst>
          </p:nvPr>
        </p:nvSpPr>
        <p:spPr bwMode="gray">
          <a:xfrm>
            <a:off x="1885950" y="5948363"/>
            <a:ext cx="196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073E4F24-836A-40EE-A646-90F9174AB296}" type="datetime'1''''''.''''''''4'''''">
              <a:rPr lang="pt-BR" altLang="en-US" sz="1000" smtClean="0">
                <a:solidFill>
                  <a:schemeClr val="tx2"/>
                </a:solidFill>
                <a:effectLst/>
                <a:cs typeface="Calibri" panose="020F0502020204030204" pitchFamily="34" charset="0"/>
              </a:rPr>
              <a:pPr lvl="0" algn="ctr">
                <a:spcBef>
                  <a:spcPct val="0"/>
                </a:spcBef>
                <a:spcAft>
                  <a:spcPct val="0"/>
                </a:spcAft>
              </a:pPr>
              <a:t>1.4</a:t>
            </a:fld>
            <a:endParaRPr lang="pt-BR" sz="1000" dirty="0">
              <a:solidFill>
                <a:schemeClr val="tx2"/>
              </a:solidFill>
              <a:cs typeface="Calibri" panose="020F0502020204030204" pitchFamily="34" charset="0"/>
            </a:endParaRPr>
          </a:p>
        </p:txBody>
      </p:sp>
      <p:sp>
        <p:nvSpPr>
          <p:cNvPr id="9" name="Text Placeholder 4">
            <a:extLst>
              <a:ext uri="{FF2B5EF4-FFF2-40B4-BE49-F238E27FC236}">
                <a16:creationId xmlns:a16="http://schemas.microsoft.com/office/drawing/2014/main" id="{4C1F3293-4EFE-461D-940D-7EE66BAE31C5}"/>
              </a:ext>
            </a:extLst>
          </p:cNvPr>
          <p:cNvSpPr>
            <a:spLocks noGrp="1"/>
          </p:cNvSpPr>
          <p:nvPr>
            <p:custDataLst>
              <p:tags r:id="rId31"/>
            </p:custDataLst>
          </p:nvPr>
        </p:nvSpPr>
        <p:spPr bwMode="gray">
          <a:xfrm>
            <a:off x="2925763" y="5776913"/>
            <a:ext cx="196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AEFA1B1-6558-40C4-AED9-CCD4BCA1E660}" type="datetime'''''''''''''''''''1''''''''''''''''''''''''.''0'''''''''''">
              <a:rPr lang="pt-BR" altLang="en-US" sz="1000" smtClean="0">
                <a:solidFill>
                  <a:schemeClr val="tx2"/>
                </a:solidFill>
                <a:effectLst/>
                <a:cs typeface="Calibri" panose="020F0502020204030204" pitchFamily="34" charset="0"/>
              </a:rPr>
              <a:pPr lvl="0" algn="ctr">
                <a:spcBef>
                  <a:spcPct val="0"/>
                </a:spcBef>
                <a:spcAft>
                  <a:spcPct val="0"/>
                </a:spcAft>
              </a:pPr>
              <a:t>1.0</a:t>
            </a:fld>
            <a:endParaRPr lang="pt-BR" sz="1000" dirty="0">
              <a:solidFill>
                <a:schemeClr val="tx2"/>
              </a:solidFill>
              <a:cs typeface="Calibri" panose="020F0502020204030204" pitchFamily="34" charset="0"/>
            </a:endParaRPr>
          </a:p>
        </p:txBody>
      </p:sp>
      <p:sp>
        <p:nvSpPr>
          <p:cNvPr id="13" name="Text Placeholder 4">
            <a:extLst>
              <a:ext uri="{FF2B5EF4-FFF2-40B4-BE49-F238E27FC236}">
                <a16:creationId xmlns:a16="http://schemas.microsoft.com/office/drawing/2014/main" id="{4C1F3293-4EFE-461D-940D-7EE66BAE31C5}"/>
              </a:ext>
            </a:extLst>
          </p:cNvPr>
          <p:cNvSpPr>
            <a:spLocks noGrp="1"/>
          </p:cNvSpPr>
          <p:nvPr>
            <p:custDataLst>
              <p:tags r:id="rId32"/>
            </p:custDataLst>
          </p:nvPr>
        </p:nvSpPr>
        <p:spPr bwMode="gray">
          <a:xfrm>
            <a:off x="2925763" y="5946775"/>
            <a:ext cx="196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C238C5B-ABE5-48E2-B174-2CF1E0BC05BC}" type="datetime'''''''''''''''''''''1''''''''''''''.''''''''''4'''''''''''">
              <a:rPr lang="pt-BR" altLang="en-US" sz="1000" smtClean="0">
                <a:solidFill>
                  <a:srgbClr val="FFFFFF"/>
                </a:solidFill>
                <a:effectLst/>
                <a:cs typeface="Calibri" panose="020F0502020204030204" pitchFamily="34" charset="0"/>
              </a:rPr>
              <a:pPr lvl="0" algn="ctr">
                <a:spcBef>
                  <a:spcPct val="0"/>
                </a:spcBef>
                <a:spcAft>
                  <a:spcPct val="0"/>
                </a:spcAft>
              </a:pPr>
              <a:t>1.4</a:t>
            </a:fld>
            <a:endParaRPr lang="pt-BR" sz="1000" dirty="0">
              <a:solidFill>
                <a:srgbClr val="FFFFFF"/>
              </a:solidFill>
              <a:cs typeface="Calibri" panose="020F0502020204030204" pitchFamily="34" charset="0"/>
            </a:endParaRPr>
          </a:p>
        </p:txBody>
      </p:sp>
      <p:sp>
        <p:nvSpPr>
          <p:cNvPr id="25" name="Text Placeholder 4">
            <a:extLst>
              <a:ext uri="{FF2B5EF4-FFF2-40B4-BE49-F238E27FC236}">
                <a16:creationId xmlns:a16="http://schemas.microsoft.com/office/drawing/2014/main" id="{4C1F3293-4EFE-461D-940D-7EE66BAE31C5}"/>
              </a:ext>
            </a:extLst>
          </p:cNvPr>
          <p:cNvSpPr>
            <a:spLocks noGrp="1"/>
          </p:cNvSpPr>
          <p:nvPr>
            <p:custDataLst>
              <p:tags r:id="rId33"/>
            </p:custDataLst>
          </p:nvPr>
        </p:nvSpPr>
        <p:spPr bwMode="gray">
          <a:xfrm>
            <a:off x="3963988" y="5800725"/>
            <a:ext cx="196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C847058-8E74-4D93-A8EF-96E89E48DC16}" type="datetime'''''''''''''''''''''''''1''''''''''''''''''''.''''''''''3'">
              <a:rPr lang="pt-BR" altLang="en-US" sz="1000" smtClean="0">
                <a:solidFill>
                  <a:schemeClr val="tx2"/>
                </a:solidFill>
                <a:effectLst/>
                <a:cs typeface="Calibri" panose="020F0502020204030204" pitchFamily="34" charset="0"/>
              </a:rPr>
              <a:pPr lvl="0" algn="ctr">
                <a:spcBef>
                  <a:spcPct val="0"/>
                </a:spcBef>
                <a:spcAft>
                  <a:spcPct val="0"/>
                </a:spcAft>
              </a:pPr>
              <a:t>1.3</a:t>
            </a:fld>
            <a:endParaRPr lang="pt-BR" sz="1000" dirty="0">
              <a:solidFill>
                <a:schemeClr val="tx2"/>
              </a:solidFill>
              <a:cs typeface="Calibri" panose="020F0502020204030204" pitchFamily="34" charset="0"/>
            </a:endParaRPr>
          </a:p>
        </p:txBody>
      </p:sp>
      <p:sp>
        <p:nvSpPr>
          <p:cNvPr id="26" name="Text Placeholder 4">
            <a:extLst>
              <a:ext uri="{FF2B5EF4-FFF2-40B4-BE49-F238E27FC236}">
                <a16:creationId xmlns:a16="http://schemas.microsoft.com/office/drawing/2014/main" id="{4C1F3293-4EFE-461D-940D-7EE66BAE31C5}"/>
              </a:ext>
            </a:extLst>
          </p:cNvPr>
          <p:cNvSpPr>
            <a:spLocks noGrp="1"/>
          </p:cNvSpPr>
          <p:nvPr>
            <p:custDataLst>
              <p:tags r:id="rId34"/>
            </p:custDataLst>
          </p:nvPr>
        </p:nvSpPr>
        <p:spPr bwMode="gray">
          <a:xfrm>
            <a:off x="3963988" y="5970588"/>
            <a:ext cx="196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B7502F1-7B07-4108-8692-2B22BA0E022D}" type="datetime'''''1''''.''''''''''''''''''''''''''''''''''''''''1'''">
              <a:rPr lang="pt-BR" altLang="en-US" sz="1000" smtClean="0">
                <a:solidFill>
                  <a:srgbClr val="FFFFFF"/>
                </a:solidFill>
                <a:effectLst/>
                <a:cs typeface="Calibri" panose="020F0502020204030204" pitchFamily="34" charset="0"/>
              </a:rPr>
              <a:pPr lvl="0" algn="ctr">
                <a:spcBef>
                  <a:spcPct val="0"/>
                </a:spcBef>
                <a:spcAft>
                  <a:spcPct val="0"/>
                </a:spcAft>
              </a:pPr>
              <a:t>1.1</a:t>
            </a:fld>
            <a:endParaRPr lang="pt-BR" sz="1000" dirty="0">
              <a:solidFill>
                <a:srgbClr val="FFFFFF"/>
              </a:solidFill>
              <a:cs typeface="Calibri" panose="020F0502020204030204" pitchFamily="34" charset="0"/>
            </a:endParaRPr>
          </a:p>
        </p:txBody>
      </p:sp>
      <p:sp>
        <p:nvSpPr>
          <p:cNvPr id="27" name="Text Placeholder 4">
            <a:extLst>
              <a:ext uri="{FF2B5EF4-FFF2-40B4-BE49-F238E27FC236}">
                <a16:creationId xmlns:a16="http://schemas.microsoft.com/office/drawing/2014/main" id="{4C1F3293-4EFE-461D-940D-7EE66BAE31C5}"/>
              </a:ext>
            </a:extLst>
          </p:cNvPr>
          <p:cNvSpPr>
            <a:spLocks noGrp="1"/>
          </p:cNvSpPr>
          <p:nvPr>
            <p:custDataLst>
              <p:tags r:id="rId35"/>
            </p:custDataLst>
          </p:nvPr>
        </p:nvSpPr>
        <p:spPr bwMode="gray">
          <a:xfrm>
            <a:off x="5003800" y="5788025"/>
            <a:ext cx="196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AA25E357-E496-43F6-93AD-A73989A9B059}" type="datetime'''''1''''''''''''.''''''''''''''''''''''''''''''4'''''''">
              <a:rPr lang="pt-BR" altLang="en-US" sz="1000" smtClean="0">
                <a:solidFill>
                  <a:schemeClr val="tx2"/>
                </a:solidFill>
                <a:effectLst/>
                <a:cs typeface="Calibri" panose="020F0502020204030204" pitchFamily="34" charset="0"/>
              </a:rPr>
              <a:pPr lvl="0" algn="ctr">
                <a:spcBef>
                  <a:spcPct val="0"/>
                </a:spcBef>
                <a:spcAft>
                  <a:spcPct val="0"/>
                </a:spcAft>
              </a:pPr>
              <a:t>1.4</a:t>
            </a:fld>
            <a:endParaRPr lang="pt-BR" sz="1000" dirty="0">
              <a:solidFill>
                <a:schemeClr val="tx2"/>
              </a:solidFill>
              <a:cs typeface="Calibri" panose="020F0502020204030204" pitchFamily="34" charset="0"/>
            </a:endParaRPr>
          </a:p>
        </p:txBody>
      </p:sp>
      <p:sp>
        <p:nvSpPr>
          <p:cNvPr id="32" name="Text Placeholder 4">
            <a:extLst>
              <a:ext uri="{FF2B5EF4-FFF2-40B4-BE49-F238E27FC236}">
                <a16:creationId xmlns:a16="http://schemas.microsoft.com/office/drawing/2014/main" id="{4C1F3293-4EFE-461D-940D-7EE66BAE31C5}"/>
              </a:ext>
            </a:extLst>
          </p:cNvPr>
          <p:cNvSpPr>
            <a:spLocks noGrp="1"/>
          </p:cNvSpPr>
          <p:nvPr>
            <p:custDataLst>
              <p:tags r:id="rId36"/>
            </p:custDataLst>
          </p:nvPr>
        </p:nvSpPr>
        <p:spPr bwMode="gray">
          <a:xfrm>
            <a:off x="5003800" y="5967413"/>
            <a:ext cx="196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376AF79B-B547-4E7C-AD1D-B16880124FB9}" type="datetime'''''1''''''''.''''''''''''''''''''''''1'''''''''">
              <a:rPr lang="pt-BR" altLang="en-US" sz="1000" smtClean="0">
                <a:solidFill>
                  <a:srgbClr val="FFFFFF"/>
                </a:solidFill>
                <a:effectLst/>
                <a:cs typeface="Calibri" panose="020F0502020204030204" pitchFamily="34" charset="0"/>
              </a:rPr>
              <a:pPr lvl="0" algn="ctr">
                <a:spcBef>
                  <a:spcPct val="0"/>
                </a:spcBef>
                <a:spcAft>
                  <a:spcPct val="0"/>
                </a:spcAft>
              </a:pPr>
              <a:t>1.1</a:t>
            </a:fld>
            <a:endParaRPr lang="pt-BR" sz="1000" dirty="0">
              <a:solidFill>
                <a:srgbClr val="FFFFFF"/>
              </a:solidFill>
              <a:cs typeface="Calibri" panose="020F0502020204030204" pitchFamily="34" charset="0"/>
            </a:endParaRPr>
          </a:p>
        </p:txBody>
      </p:sp>
      <p:sp>
        <p:nvSpPr>
          <p:cNvPr id="68" name="AutoShape 250">
            <a:extLst>
              <a:ext uri="{FF2B5EF4-FFF2-40B4-BE49-F238E27FC236}">
                <a16:creationId xmlns:a16="http://schemas.microsoft.com/office/drawing/2014/main" id="{D53F7663-7C8E-B403-F97F-99E60E323913}"/>
              </a:ext>
            </a:extLst>
          </p:cNvPr>
          <p:cNvSpPr>
            <a:spLocks noChangeArrowheads="1"/>
          </p:cNvSpPr>
          <p:nvPr/>
        </p:nvSpPr>
        <p:spPr bwMode="auto">
          <a:xfrm>
            <a:off x="6300402" y="5337175"/>
            <a:ext cx="5483996" cy="153888"/>
          </a:xfrm>
          <a:prstGeom prst="leftRightArrow">
            <a:avLst>
              <a:gd name="adj1" fmla="val 100000"/>
              <a:gd name="adj2" fmla="val 0"/>
            </a:avLst>
          </a:prstGeom>
          <a:noFill/>
          <a:ln w="9525">
            <a:noFill/>
            <a:miter lim="800000"/>
            <a:headEnd/>
            <a:tailEnd/>
          </a:ln>
          <a:effectLst/>
        </p:spPr>
        <p:txBody>
          <a:bodyPr vert="horz" wrap="square" lIns="0" tIns="0" rIns="0" bIns="0" numCol="1" anchor="ctr" anchorCtr="0" compatLnSpc="1">
            <a:prstTxWarp prst="textNoShape">
              <a:avLst/>
            </a:prstTxWarp>
            <a:spAutoFit/>
          </a:body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Gold production, </a:t>
            </a: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a:cs typeface="Calibri" panose="020F0502020204030204" pitchFamily="34" charset="0"/>
              </a:rPr>
              <a:t>koz</a:t>
            </a:r>
            <a:endPar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42" name="Rectangle 8">
            <a:extLst>
              <a:ext uri="{FF2B5EF4-FFF2-40B4-BE49-F238E27FC236}">
                <a16:creationId xmlns:a16="http://schemas.microsoft.com/office/drawing/2014/main" id="{EF0C4F77-5819-4FF8-28E6-3CC6E87DC0F5}"/>
              </a:ext>
            </a:extLst>
          </p:cNvPr>
          <p:cNvSpPr txBox="1">
            <a:spLocks/>
          </p:cNvSpPr>
          <p:nvPr>
            <p:custDataLst>
              <p:tags r:id="rId37"/>
            </p:custDataLst>
          </p:nvPr>
        </p:nvSpPr>
        <p:spPr>
          <a:xfrm>
            <a:off x="6197598" y="3188945"/>
            <a:ext cx="896621" cy="1801067"/>
          </a:xfrm>
          <a:prstGeom prst="rect">
            <a:avLst/>
          </a:prstGeom>
          <a:solidFill>
            <a:schemeClr val="accent1"/>
          </a:solidFill>
          <a:ln w="9525">
            <a:noFill/>
            <a:miter lim="800000"/>
            <a:headEnd/>
            <a:tailEnd/>
          </a:ln>
          <a:effectLst/>
        </p:spPr>
        <p:txBody>
          <a:bodyPr vert="horz" wrap="square" lIns="36576" tIns="76200" rIns="36576" bIns="76200" numCol="1" anchor="ctr" anchorCtr="0" compatLnSpc="1">
            <a:prstTxWarp prst="textNoShape">
              <a:avLst/>
            </a:prstTxWarp>
            <a:noAutofit/>
          </a:bodyPr>
          <a:lstStyle>
            <a:defPPr>
              <a:defRPr lang="en-US"/>
            </a:defPPr>
            <a:lvl1pPr marL="0" lvl="0" indent="0" defTabSz="913526" eaLnBrk="1" hangingPunct="1">
              <a:buClr>
                <a:schemeClr val="tx2"/>
              </a:buClr>
              <a:defRPr sz="1000" b="1"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Fiscal and regulatory terms relevant to gold industry</a:t>
            </a:r>
            <a:endParaRPr kumimoji="0" lang="en-CA"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endParaRPr>
          </a:p>
        </p:txBody>
      </p:sp>
      <p:sp>
        <p:nvSpPr>
          <p:cNvPr id="93" name="TextBox 92">
            <a:extLst>
              <a:ext uri="{FF2B5EF4-FFF2-40B4-BE49-F238E27FC236}">
                <a16:creationId xmlns:a16="http://schemas.microsoft.com/office/drawing/2014/main" id="{973EABFE-AA29-2CE1-B02E-CAAF3B875086}"/>
              </a:ext>
            </a:extLst>
          </p:cNvPr>
          <p:cNvSpPr txBox="1">
            <a:spLocks/>
          </p:cNvSpPr>
          <p:nvPr/>
        </p:nvSpPr>
        <p:spPr>
          <a:xfrm>
            <a:off x="7174991" y="3188945"/>
            <a:ext cx="4712209" cy="180106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Exploration and mining activities are regulated by the Mining Act of 2009 (Ley de </a:t>
            </a:r>
            <a:r>
              <a:rPr kumimoji="0" lang="en-US" sz="9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Minería</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and grant mining concessions for 25 years, extendable for the same period</a:t>
            </a:r>
          </a:p>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The corporate income tax rate is at the rate of 25 percent and 22 </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percent in the case of being classified as regular exporters</a:t>
            </a:r>
          </a:p>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9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Labour</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Profit-Sharing Tax: 15% (12% to the State and 3% to employees for large-scale mining)</a:t>
            </a:r>
          </a:p>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Value Added Tax: 12%</a:t>
            </a:r>
          </a:p>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Royalty rates between 3% and 8% determined by the mining law in force</a:t>
            </a:r>
          </a:p>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There are no incentives for Income Tax or Tax on Funds sent abroad for the mining sector. In the case of VAT, </a:t>
            </a: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the mining exports apply the reimbursement of VAT paid by the exports sending from January 1, 2018, onwards</a:t>
            </a:r>
          </a:p>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A yearly sovereign adjustment duty is applicable </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whenever the mining company’s profit is higher than the government earnings (sum of taxes recollected) from the operation</a:t>
            </a:r>
          </a:p>
        </p:txBody>
      </p:sp>
      <p:sp>
        <p:nvSpPr>
          <p:cNvPr id="94" name="Rectangle 8">
            <a:extLst>
              <a:ext uri="{FF2B5EF4-FFF2-40B4-BE49-F238E27FC236}">
                <a16:creationId xmlns:a16="http://schemas.microsoft.com/office/drawing/2014/main" id="{D3E4679F-7577-B31D-45D3-E552C6FADC39}"/>
              </a:ext>
            </a:extLst>
          </p:cNvPr>
          <p:cNvSpPr txBox="1">
            <a:spLocks/>
          </p:cNvSpPr>
          <p:nvPr>
            <p:custDataLst>
              <p:tags r:id="rId38"/>
            </p:custDataLst>
          </p:nvPr>
        </p:nvSpPr>
        <p:spPr>
          <a:xfrm>
            <a:off x="6197599" y="1370013"/>
            <a:ext cx="896621" cy="1698307"/>
          </a:xfrm>
          <a:prstGeom prst="rect">
            <a:avLst/>
          </a:prstGeom>
          <a:solidFill>
            <a:schemeClr val="accent1"/>
          </a:solidFill>
          <a:ln w="9525">
            <a:noFill/>
            <a:miter lim="800000"/>
            <a:headEnd/>
            <a:tailEnd/>
          </a:ln>
          <a:effectLst/>
        </p:spPr>
        <p:txBody>
          <a:bodyPr vert="horz" wrap="square" lIns="36576" tIns="76200" rIns="36576" bIns="76200" numCol="1" anchor="ctr"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Gold industry context</a:t>
            </a:r>
            <a:endParaRPr kumimoji="0" lang="en-CA"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endParaRPr>
          </a:p>
        </p:txBody>
      </p:sp>
      <p:grpSp>
        <p:nvGrpSpPr>
          <p:cNvPr id="69" name="Group 68">
            <a:extLst>
              <a:ext uri="{FF2B5EF4-FFF2-40B4-BE49-F238E27FC236}">
                <a16:creationId xmlns:a16="http://schemas.microsoft.com/office/drawing/2014/main" id="{98D8C242-14B4-3A26-7443-A57236905354}"/>
              </a:ext>
            </a:extLst>
          </p:cNvPr>
          <p:cNvGrpSpPr/>
          <p:nvPr/>
        </p:nvGrpSpPr>
        <p:grpSpPr>
          <a:xfrm>
            <a:off x="346075" y="3606262"/>
            <a:ext cx="5361781" cy="388554"/>
            <a:chOff x="346075" y="3738545"/>
            <a:chExt cx="5361781" cy="388554"/>
          </a:xfrm>
        </p:grpSpPr>
        <p:sp>
          <p:nvSpPr>
            <p:cNvPr id="33" name="Rectangle 8">
              <a:extLst>
                <a:ext uri="{FF2B5EF4-FFF2-40B4-BE49-F238E27FC236}">
                  <a16:creationId xmlns:a16="http://schemas.microsoft.com/office/drawing/2014/main" id="{CB027349-3B9C-8384-4834-48368D61E2E8}"/>
                </a:ext>
              </a:extLst>
            </p:cNvPr>
            <p:cNvSpPr txBox="1">
              <a:spLocks/>
            </p:cNvSpPr>
            <p:nvPr>
              <p:custDataLst>
                <p:tags r:id="rId68"/>
              </p:custDataLst>
            </p:nvPr>
          </p:nvSpPr>
          <p:spPr>
            <a:xfrm>
              <a:off x="346075" y="3738545"/>
              <a:ext cx="1194435" cy="388554"/>
            </a:xfrm>
            <a:prstGeom prst="rect">
              <a:avLst/>
            </a:prstGeom>
            <a:solidFill>
              <a:schemeClr val="accent1"/>
            </a:solidFill>
            <a:ln w="9525">
              <a:noFill/>
              <a:miter lim="800000"/>
              <a:headEnd/>
              <a:tailEnd/>
            </a:ln>
            <a:effectLst/>
          </p:spPr>
          <p:txBody>
            <a:bodyPr vert="horz" wrap="square" lIns="36576" tIns="76200" rIns="36576" bIns="76200" numCol="1" anchor="ctr" anchorCtr="0" compatLnSpc="1">
              <a:prstTxWarp prst="textNoShape">
                <a:avLst/>
              </a:prstTxWarp>
              <a:noAutofit/>
            </a:bodyPr>
            <a:lstStyle>
              <a:defPPr>
                <a:defRPr lang="en-US"/>
              </a:defPPr>
              <a:lvl1pPr marL="0" lvl="0" indent="0" defTabSz="913526" eaLnBrk="1" hangingPunct="1">
                <a:buClr>
                  <a:schemeClr val="tx2"/>
                </a:buClr>
                <a:defRPr sz="1000" b="1"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Comparable opera-</a:t>
              </a:r>
              <a:r>
                <a:rPr kumimoji="0" lang="en-US" sz="1000" b="1" i="0" u="none" strike="noStrike" kern="1200" cap="none" spc="0" normalizeH="0" baseline="0" noProof="0" dirty="0" err="1">
                  <a:ln>
                    <a:noFill/>
                  </a:ln>
                  <a:solidFill>
                    <a:srgbClr val="FFFFFF"/>
                  </a:solidFill>
                  <a:effectLst/>
                  <a:uLnTx/>
                  <a:uFillTx/>
                  <a:latin typeface="Calibri" panose="020F0502020204030204" pitchFamily="34" charset="0"/>
                  <a:ea typeface="ＭＳ Ｐゴシック"/>
                  <a:cs typeface="Calibri" panose="020F0502020204030204" pitchFamily="34" charset="0"/>
                </a:rPr>
                <a:t>tional</a:t>
              </a: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 environments</a:t>
              </a:r>
              <a:endParaRPr kumimoji="0" lang="en-CA"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endParaRPr>
            </a:p>
          </p:txBody>
        </p:sp>
        <p:sp>
          <p:nvSpPr>
            <p:cNvPr id="91" name="TextBox 90">
              <a:extLst>
                <a:ext uri="{FF2B5EF4-FFF2-40B4-BE49-F238E27FC236}">
                  <a16:creationId xmlns:a16="http://schemas.microsoft.com/office/drawing/2014/main" id="{BEE782B9-C50C-7145-E203-58E3D3C475B7}"/>
                </a:ext>
              </a:extLst>
            </p:cNvPr>
            <p:cNvSpPr txBox="1">
              <a:spLocks/>
            </p:cNvSpPr>
            <p:nvPr/>
          </p:nvSpPr>
          <p:spPr>
            <a:xfrm>
              <a:off x="1615440" y="3738545"/>
              <a:ext cx="4092416" cy="30264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Chile/Peru – presence of copper-gold porphyric deposits</a:t>
              </a:r>
            </a:p>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Colombia – emerging market without a long history of significant mining investments</a:t>
              </a:r>
            </a:p>
          </p:txBody>
        </p:sp>
      </p:grpSp>
      <p:grpSp>
        <p:nvGrpSpPr>
          <p:cNvPr id="70" name="Group 69">
            <a:extLst>
              <a:ext uri="{FF2B5EF4-FFF2-40B4-BE49-F238E27FC236}">
                <a16:creationId xmlns:a16="http://schemas.microsoft.com/office/drawing/2014/main" id="{2F164F07-3036-3FA3-8F28-7A69332AB479}"/>
              </a:ext>
            </a:extLst>
          </p:cNvPr>
          <p:cNvGrpSpPr/>
          <p:nvPr/>
        </p:nvGrpSpPr>
        <p:grpSpPr>
          <a:xfrm>
            <a:off x="346075" y="4233878"/>
            <a:ext cx="5361782" cy="743793"/>
            <a:chOff x="346075" y="4246219"/>
            <a:chExt cx="5361782" cy="743793"/>
          </a:xfrm>
        </p:grpSpPr>
        <p:sp>
          <p:nvSpPr>
            <p:cNvPr id="41" name="Rectangle 8">
              <a:extLst>
                <a:ext uri="{FF2B5EF4-FFF2-40B4-BE49-F238E27FC236}">
                  <a16:creationId xmlns:a16="http://schemas.microsoft.com/office/drawing/2014/main" id="{EA08B892-A175-5A1E-4459-FB7C21FBFBD3}"/>
                </a:ext>
              </a:extLst>
            </p:cNvPr>
            <p:cNvSpPr txBox="1">
              <a:spLocks/>
            </p:cNvSpPr>
            <p:nvPr>
              <p:custDataLst>
                <p:tags r:id="rId67"/>
              </p:custDataLst>
            </p:nvPr>
          </p:nvSpPr>
          <p:spPr>
            <a:xfrm>
              <a:off x="346075" y="4246219"/>
              <a:ext cx="1194435" cy="743793"/>
            </a:xfrm>
            <a:prstGeom prst="rect">
              <a:avLst/>
            </a:prstGeom>
            <a:solidFill>
              <a:schemeClr val="accent1"/>
            </a:solidFill>
            <a:ln w="9525">
              <a:noFill/>
              <a:miter lim="800000"/>
              <a:headEnd/>
              <a:tailEnd/>
            </a:ln>
            <a:effectLst/>
          </p:spPr>
          <p:txBody>
            <a:bodyPr vert="horz" wrap="square" lIns="36576" tIns="76200" rIns="36576" bIns="76200" numCol="1" anchor="ctr"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Other relevant factors</a:t>
              </a:r>
              <a:endParaRPr kumimoji="0" lang="en-CA"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endParaRPr>
            </a:p>
          </p:txBody>
        </p:sp>
        <p:sp>
          <p:nvSpPr>
            <p:cNvPr id="92" name="TextBox 91">
              <a:extLst>
                <a:ext uri="{FF2B5EF4-FFF2-40B4-BE49-F238E27FC236}">
                  <a16:creationId xmlns:a16="http://schemas.microsoft.com/office/drawing/2014/main" id="{234F2287-030E-8A2F-7325-FADEC940D7CA}"/>
                </a:ext>
              </a:extLst>
            </p:cNvPr>
            <p:cNvSpPr txBox="1">
              <a:spLocks/>
            </p:cNvSpPr>
            <p:nvPr/>
          </p:nvSpPr>
          <p:spPr>
            <a:xfrm>
              <a:off x="1615441" y="4246219"/>
              <a:ext cx="4092416" cy="74379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Presence of Chinese mining investors (e.g., Mirador copper-gold mine)</a:t>
              </a:r>
            </a:p>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Referendums can ban mining activities in selected areas (e.g., ongoing process for Chocó Andino – Northeast of Quito – impacting Loma Larga project)</a:t>
              </a:r>
            </a:p>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Illegal artisan mining is present near some mining properties and can threaten their security</a:t>
              </a:r>
            </a:p>
          </p:txBody>
        </p:sp>
      </p:grpSp>
      <p:sp>
        <p:nvSpPr>
          <p:cNvPr id="95" name="TextBox 94">
            <a:extLst>
              <a:ext uri="{FF2B5EF4-FFF2-40B4-BE49-F238E27FC236}">
                <a16:creationId xmlns:a16="http://schemas.microsoft.com/office/drawing/2014/main" id="{6283FB81-02E1-B76D-0D86-CAC0631510D7}"/>
              </a:ext>
            </a:extLst>
          </p:cNvPr>
          <p:cNvSpPr txBox="1">
            <a:spLocks/>
          </p:cNvSpPr>
          <p:nvPr/>
        </p:nvSpPr>
        <p:spPr>
          <a:xfrm>
            <a:off x="7174991" y="1370013"/>
            <a:ext cx="4712209" cy="66941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5425"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Gold production currently is ~700 </a:t>
            </a:r>
            <a:r>
              <a:rPr kumimoji="0" lang="en-US" sz="900" b="1"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koz</a:t>
            </a: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ounces per year</a:t>
            </a:r>
          </a:p>
          <a:p>
            <a:pPr marL="228600" marR="0" lvl="1" indent="-225425"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900" b="1"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Fruta</a:t>
            </a: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del Norte is the only large-scale </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primary gold operation</a:t>
            </a:r>
          </a:p>
          <a:p>
            <a:pPr marL="228600" marR="0" lvl="1" indent="-225425"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Multiple copper-gold projects, including BHP-backed </a:t>
            </a:r>
            <a:r>
              <a:rPr kumimoji="0" lang="en-US" sz="9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Solgold’s</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Cascabel and Loma </a:t>
            </a:r>
            <a:r>
              <a:rPr kumimoji="0" lang="en-US" sz="9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Larga</a:t>
            </a:r>
            <a:endPar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endParaRPr>
          </a:p>
          <a:p>
            <a:pPr marL="228600" marR="0" lvl="1" indent="-225425"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Small–scale and artisanal gold production is responsible for ~30% of gold production</a:t>
            </a:r>
          </a:p>
        </p:txBody>
      </p:sp>
      <p:sp>
        <p:nvSpPr>
          <p:cNvPr id="48" name="Rectangle 47">
            <a:extLst>
              <a:ext uri="{FF2B5EF4-FFF2-40B4-BE49-F238E27FC236}">
                <a16:creationId xmlns:a16="http://schemas.microsoft.com/office/drawing/2014/main" id="{4B641A03-E8ED-5E52-7537-47DA6C5AF670}"/>
              </a:ext>
            </a:extLst>
          </p:cNvPr>
          <p:cNvSpPr>
            <a:spLocks/>
          </p:cNvSpPr>
          <p:nvPr/>
        </p:nvSpPr>
        <p:spPr>
          <a:xfrm>
            <a:off x="7174991" y="2113281"/>
            <a:ext cx="4712209" cy="955040"/>
          </a:xfrm>
          <a:prstGeom prst="rect">
            <a:avLst/>
          </a:prstGeom>
          <a:no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CA" sz="1400" b="0" i="0" u="none" strike="noStrike" kern="1200" cap="none" spc="0" normalizeH="0" baseline="0" noProof="0" dirty="0" err="1">
              <a:ln>
                <a:noFill/>
              </a:ln>
              <a:solidFill>
                <a:srgbClr val="2A516C"/>
              </a:solidFill>
              <a:effectLst/>
              <a:uLnTx/>
              <a:uFillTx/>
              <a:latin typeface="Calibri" panose="020F0502020204030204" pitchFamily="34" charset="0"/>
              <a:ea typeface="ＭＳ Ｐゴシック"/>
              <a:cs typeface="Calibri" panose="020F0502020204030204" pitchFamily="34" charset="0"/>
            </a:endParaRPr>
          </a:p>
        </p:txBody>
      </p:sp>
      <p:grpSp>
        <p:nvGrpSpPr>
          <p:cNvPr id="190" name="Group 189">
            <a:extLst>
              <a:ext uri="{FF2B5EF4-FFF2-40B4-BE49-F238E27FC236}">
                <a16:creationId xmlns:a16="http://schemas.microsoft.com/office/drawing/2014/main" id="{C097F5D4-B8BE-C961-D863-18E8765E7B7B}"/>
              </a:ext>
            </a:extLst>
          </p:cNvPr>
          <p:cNvGrpSpPr/>
          <p:nvPr/>
        </p:nvGrpSpPr>
        <p:grpSpPr>
          <a:xfrm>
            <a:off x="7254089" y="2160133"/>
            <a:ext cx="4554013" cy="861336"/>
            <a:chOff x="7254089" y="2144854"/>
            <a:chExt cx="4554013" cy="861336"/>
          </a:xfrm>
        </p:grpSpPr>
        <p:sp>
          <p:nvSpPr>
            <p:cNvPr id="49" name="TextBox 48">
              <a:extLst>
                <a:ext uri="{FF2B5EF4-FFF2-40B4-BE49-F238E27FC236}">
                  <a16:creationId xmlns:a16="http://schemas.microsoft.com/office/drawing/2014/main" id="{5A750C92-1935-C459-34D8-C3264BE50BDD}"/>
                </a:ext>
              </a:extLst>
            </p:cNvPr>
            <p:cNvSpPr txBox="1">
              <a:spLocks/>
            </p:cNvSpPr>
            <p:nvPr/>
          </p:nvSpPr>
          <p:spPr>
            <a:xfrm>
              <a:off x="7254089" y="2144854"/>
              <a:ext cx="4554013" cy="153888"/>
            </a:xfrm>
            <a:prstGeom prst="rect">
              <a:avLst/>
            </a:prstGeom>
            <a:noFill/>
            <a:ln w="9525">
              <a:noFill/>
              <a:miter lim="800000"/>
              <a:headEnd/>
              <a:tailEnd/>
            </a:ln>
            <a:effectLst/>
          </p:spPr>
          <p:txBody>
            <a:bodyPr vert="horz" wrap="square" lIns="0" tIns="0" rIns="0" bIns="0" numCol="1" anchor="ctr"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C9A319"/>
                </a:buClr>
                <a:buSzTx/>
                <a:buFontTx/>
                <a:buNone/>
                <a:tabLst/>
                <a:defRPr/>
              </a:pPr>
              <a:r>
                <a:rPr kumimoji="0" lang="en-CA" sz="10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Largest gold mines by production</a:t>
              </a:r>
            </a:p>
          </p:txBody>
        </p:sp>
        <p:cxnSp>
          <p:nvCxnSpPr>
            <p:cNvPr id="99" name="Straight Connector 98">
              <a:extLst>
                <a:ext uri="{FF2B5EF4-FFF2-40B4-BE49-F238E27FC236}">
                  <a16:creationId xmlns:a16="http://schemas.microsoft.com/office/drawing/2014/main" id="{F4D79126-9D9C-CC9C-45BB-88CC3188BF5B}"/>
                </a:ext>
              </a:extLst>
            </p:cNvPr>
            <p:cNvCxnSpPr>
              <a:cxnSpLocks/>
            </p:cNvCxnSpPr>
            <p:nvPr>
              <p:custDataLst>
                <p:tags r:id="rId62"/>
              </p:custDataLst>
            </p:nvPr>
          </p:nvCxnSpPr>
          <p:spPr>
            <a:xfrm>
              <a:off x="8710559" y="2484530"/>
              <a:ext cx="784899" cy="0"/>
            </a:xfrm>
            <a:prstGeom prst="line">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CAE06211-AE0D-0FAB-0104-B90EB3161BA0}"/>
                </a:ext>
              </a:extLst>
            </p:cNvPr>
            <p:cNvSpPr txBox="1">
              <a:spLocks/>
            </p:cNvSpPr>
            <p:nvPr/>
          </p:nvSpPr>
          <p:spPr>
            <a:xfrm>
              <a:off x="8710559" y="2330156"/>
              <a:ext cx="784899" cy="1384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Mine</a:t>
              </a:r>
            </a:p>
          </p:txBody>
        </p:sp>
        <p:cxnSp>
          <p:nvCxnSpPr>
            <p:cNvPr id="101" name="Straight Connector 100">
              <a:extLst>
                <a:ext uri="{FF2B5EF4-FFF2-40B4-BE49-F238E27FC236}">
                  <a16:creationId xmlns:a16="http://schemas.microsoft.com/office/drawing/2014/main" id="{834EB032-96AD-6C24-0838-B7E15E675B0C}"/>
                </a:ext>
              </a:extLst>
            </p:cNvPr>
            <p:cNvCxnSpPr>
              <a:cxnSpLocks/>
            </p:cNvCxnSpPr>
            <p:nvPr>
              <p:custDataLst>
                <p:tags r:id="rId63"/>
              </p:custDataLst>
            </p:nvPr>
          </p:nvCxnSpPr>
          <p:spPr>
            <a:xfrm>
              <a:off x="9703779" y="2484530"/>
              <a:ext cx="797529" cy="0"/>
            </a:xfrm>
            <a:prstGeom prst="line">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sp>
          <p:nvSpPr>
            <p:cNvPr id="102" name="TextBox 101">
              <a:extLst>
                <a:ext uri="{FF2B5EF4-FFF2-40B4-BE49-F238E27FC236}">
                  <a16:creationId xmlns:a16="http://schemas.microsoft.com/office/drawing/2014/main" id="{5BEBDFCE-F780-129E-8CEE-3F6672091B65}"/>
                </a:ext>
              </a:extLst>
            </p:cNvPr>
            <p:cNvSpPr txBox="1">
              <a:spLocks/>
            </p:cNvSpPr>
            <p:nvPr/>
          </p:nvSpPr>
          <p:spPr>
            <a:xfrm>
              <a:off x="9703779" y="2330156"/>
              <a:ext cx="797529" cy="1384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Output</a:t>
              </a: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oz / year</a:t>
              </a:r>
            </a:p>
          </p:txBody>
        </p:sp>
        <p:cxnSp>
          <p:nvCxnSpPr>
            <p:cNvPr id="103" name="Straight Connector 102">
              <a:extLst>
                <a:ext uri="{FF2B5EF4-FFF2-40B4-BE49-F238E27FC236}">
                  <a16:creationId xmlns:a16="http://schemas.microsoft.com/office/drawing/2014/main" id="{A2BC9A59-FF4F-9947-3B1E-0CDAE2A5F319}"/>
                </a:ext>
              </a:extLst>
            </p:cNvPr>
            <p:cNvCxnSpPr>
              <a:cxnSpLocks/>
            </p:cNvCxnSpPr>
            <p:nvPr>
              <p:custDataLst>
                <p:tags r:id="rId64"/>
              </p:custDataLst>
            </p:nvPr>
          </p:nvCxnSpPr>
          <p:spPr>
            <a:xfrm>
              <a:off x="10683198" y="2484530"/>
              <a:ext cx="1124902" cy="0"/>
            </a:xfrm>
            <a:prstGeom prst="line">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sp>
          <p:nvSpPr>
            <p:cNvPr id="105" name="TextBox 104">
              <a:extLst>
                <a:ext uri="{FF2B5EF4-FFF2-40B4-BE49-F238E27FC236}">
                  <a16:creationId xmlns:a16="http://schemas.microsoft.com/office/drawing/2014/main" id="{120971B0-7586-9421-9218-906229573128}"/>
                </a:ext>
              </a:extLst>
            </p:cNvPr>
            <p:cNvSpPr txBox="1">
              <a:spLocks/>
            </p:cNvSpPr>
            <p:nvPr/>
          </p:nvSpPr>
          <p:spPr>
            <a:xfrm>
              <a:off x="10683198" y="2330156"/>
              <a:ext cx="1124902" cy="1384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Date of first production</a:t>
              </a:r>
            </a:p>
          </p:txBody>
        </p:sp>
        <p:cxnSp>
          <p:nvCxnSpPr>
            <p:cNvPr id="96" name="Straight Connector 95">
              <a:extLst>
                <a:ext uri="{FF2B5EF4-FFF2-40B4-BE49-F238E27FC236}">
                  <a16:creationId xmlns:a16="http://schemas.microsoft.com/office/drawing/2014/main" id="{C80535C4-F1EB-9072-201D-F8FA0B1D39EC}"/>
                </a:ext>
              </a:extLst>
            </p:cNvPr>
            <p:cNvCxnSpPr>
              <a:cxnSpLocks/>
            </p:cNvCxnSpPr>
            <p:nvPr>
              <p:custDataLst>
                <p:tags r:id="rId65"/>
              </p:custDataLst>
            </p:nvPr>
          </p:nvCxnSpPr>
          <p:spPr>
            <a:xfrm>
              <a:off x="7254089" y="2688070"/>
              <a:ext cx="4554013" cy="0"/>
            </a:xfrm>
            <a:prstGeom prst="line">
              <a:avLst/>
            </a:prstGeom>
            <a:ln w="6350">
              <a:solidFill>
                <a:srgbClr val="757575"/>
              </a:solidFill>
              <a:prstDash val="solid"/>
            </a:ln>
          </p:spPr>
          <p:style>
            <a:lnRef idx="1">
              <a:schemeClr val="accent1"/>
            </a:lnRef>
            <a:fillRef idx="0">
              <a:schemeClr val="accent1"/>
            </a:fillRef>
            <a:effectRef idx="0">
              <a:schemeClr val="accent1"/>
            </a:effectRef>
            <a:fontRef idx="minor">
              <a:schemeClr val="tx1"/>
            </a:fontRef>
          </p:style>
        </p:cxnSp>
        <p:sp>
          <p:nvSpPr>
            <p:cNvPr id="104" name="TextBox 103">
              <a:extLst>
                <a:ext uri="{FF2B5EF4-FFF2-40B4-BE49-F238E27FC236}">
                  <a16:creationId xmlns:a16="http://schemas.microsoft.com/office/drawing/2014/main" id="{56470231-1E9B-313E-CFDD-8A7B33F1F8CD}"/>
                </a:ext>
              </a:extLst>
            </p:cNvPr>
            <p:cNvSpPr txBox="1">
              <a:spLocks/>
            </p:cNvSpPr>
            <p:nvPr/>
          </p:nvSpPr>
          <p:spPr>
            <a:xfrm>
              <a:off x="7254089" y="2330156"/>
              <a:ext cx="1248149" cy="1384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Company</a:t>
              </a:r>
            </a:p>
          </p:txBody>
        </p:sp>
        <p:sp>
          <p:nvSpPr>
            <p:cNvPr id="114" name="TextBox 113">
              <a:extLst>
                <a:ext uri="{FF2B5EF4-FFF2-40B4-BE49-F238E27FC236}">
                  <a16:creationId xmlns:a16="http://schemas.microsoft.com/office/drawing/2014/main" id="{9A2C4B60-06A7-F7ED-8CAA-E4EF1A4D5D78}"/>
                </a:ext>
              </a:extLst>
            </p:cNvPr>
            <p:cNvSpPr txBox="1">
              <a:spLocks/>
            </p:cNvSpPr>
            <p:nvPr/>
          </p:nvSpPr>
          <p:spPr>
            <a:xfrm>
              <a:off x="8710559" y="2514560"/>
              <a:ext cx="784899" cy="13512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Fruta Del Norte</a:t>
              </a:r>
            </a:p>
          </p:txBody>
        </p:sp>
        <p:sp>
          <p:nvSpPr>
            <p:cNvPr id="115" name="TextBox 114">
              <a:extLst>
                <a:ext uri="{FF2B5EF4-FFF2-40B4-BE49-F238E27FC236}">
                  <a16:creationId xmlns:a16="http://schemas.microsoft.com/office/drawing/2014/main" id="{209BA2FE-C7E4-8E8F-AE8D-94A8B0581914}"/>
                </a:ext>
              </a:extLst>
            </p:cNvPr>
            <p:cNvSpPr txBox="1">
              <a:spLocks/>
            </p:cNvSpPr>
            <p:nvPr/>
          </p:nvSpPr>
          <p:spPr>
            <a:xfrm>
              <a:off x="9704901" y="2514560"/>
              <a:ext cx="796688" cy="13512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476,000</a:t>
              </a:r>
            </a:p>
          </p:txBody>
        </p:sp>
        <p:sp>
          <p:nvSpPr>
            <p:cNvPr id="116" name="TextBox 115">
              <a:extLst>
                <a:ext uri="{FF2B5EF4-FFF2-40B4-BE49-F238E27FC236}">
                  <a16:creationId xmlns:a16="http://schemas.microsoft.com/office/drawing/2014/main" id="{09FF4C4D-69BC-F922-9F11-788256AD11B4}"/>
                </a:ext>
              </a:extLst>
            </p:cNvPr>
            <p:cNvSpPr txBox="1">
              <a:spLocks/>
            </p:cNvSpPr>
            <p:nvPr/>
          </p:nvSpPr>
          <p:spPr>
            <a:xfrm>
              <a:off x="10682552" y="2514560"/>
              <a:ext cx="1125550" cy="13512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2019</a:t>
              </a:r>
            </a:p>
          </p:txBody>
        </p:sp>
        <p:pic>
          <p:nvPicPr>
            <p:cNvPr id="1159" name="Picture 2" descr="LUNDIN GOLD REPORTS FIRST QUARTER OF 2023 RESULTS">
              <a:extLst>
                <a:ext uri="{FF2B5EF4-FFF2-40B4-BE49-F238E27FC236}">
                  <a16:creationId xmlns:a16="http://schemas.microsoft.com/office/drawing/2014/main" id="{79AEA08E-5AD7-738E-B9BD-246DE298D609}"/>
                </a:ext>
              </a:extLst>
            </p:cNvPr>
            <p:cNvPicPr>
              <a:picLocks noChangeAspect="1" noChangeArrowheads="1"/>
            </p:cNvPicPr>
            <p:nvPr/>
          </p:nvPicPr>
          <p:blipFill rotWithShape="1">
            <a:blip r:embed="rId74" cstate="screen">
              <a:extLst>
                <a:ext uri="{28A0092B-C50C-407E-A947-70E740481C1C}">
                  <a14:useLocalDpi xmlns:a14="http://schemas.microsoft.com/office/drawing/2010/main"/>
                </a:ext>
              </a:extLst>
            </a:blip>
            <a:srcRect l="3084" t="40128" r="1579" b="36901"/>
            <a:stretch/>
          </p:blipFill>
          <p:spPr bwMode="auto">
            <a:xfrm>
              <a:off x="7254089" y="2522033"/>
              <a:ext cx="954405" cy="120178"/>
            </a:xfrm>
            <a:prstGeom prst="rect">
              <a:avLst/>
            </a:prstGeom>
            <a:noFill/>
            <a:extLst>
              <a:ext uri="{909E8E84-426E-40DD-AFC4-6F175D3DCCD1}">
                <a14:hiddenFill xmlns:a14="http://schemas.microsoft.com/office/drawing/2010/main">
                  <a:solidFill>
                    <a:srgbClr val="FFFFFF"/>
                  </a:solidFill>
                </a14:hiddenFill>
              </a:ext>
            </a:extLst>
          </p:spPr>
        </p:pic>
        <p:sp>
          <p:nvSpPr>
            <p:cNvPr id="210" name="TextBox 209">
              <a:extLst>
                <a:ext uri="{FF2B5EF4-FFF2-40B4-BE49-F238E27FC236}">
                  <a16:creationId xmlns:a16="http://schemas.microsoft.com/office/drawing/2014/main" id="{935E05B2-194A-EBEB-F798-756DD4C0C48E}"/>
                </a:ext>
              </a:extLst>
            </p:cNvPr>
            <p:cNvSpPr txBox="1">
              <a:spLocks/>
            </p:cNvSpPr>
            <p:nvPr/>
          </p:nvSpPr>
          <p:spPr>
            <a:xfrm>
              <a:off x="8710559" y="2726457"/>
              <a:ext cx="784899" cy="13512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Mirador</a:t>
              </a:r>
            </a:p>
          </p:txBody>
        </p:sp>
        <p:sp>
          <p:nvSpPr>
            <p:cNvPr id="211" name="TextBox 210">
              <a:extLst>
                <a:ext uri="{FF2B5EF4-FFF2-40B4-BE49-F238E27FC236}">
                  <a16:creationId xmlns:a16="http://schemas.microsoft.com/office/drawing/2014/main" id="{486CA5BB-D09F-7A5C-F900-6BF6DA1211C9}"/>
                </a:ext>
              </a:extLst>
            </p:cNvPr>
            <p:cNvSpPr txBox="1">
              <a:spLocks/>
            </p:cNvSpPr>
            <p:nvPr/>
          </p:nvSpPr>
          <p:spPr>
            <a:xfrm>
              <a:off x="9704901" y="2726457"/>
              <a:ext cx="796688" cy="13512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63,000</a:t>
              </a:r>
            </a:p>
          </p:txBody>
        </p:sp>
        <p:sp>
          <p:nvSpPr>
            <p:cNvPr id="212" name="TextBox 211">
              <a:extLst>
                <a:ext uri="{FF2B5EF4-FFF2-40B4-BE49-F238E27FC236}">
                  <a16:creationId xmlns:a16="http://schemas.microsoft.com/office/drawing/2014/main" id="{4C533E6A-4A81-D3AE-2696-C5A4BE25952A}"/>
                </a:ext>
              </a:extLst>
            </p:cNvPr>
            <p:cNvSpPr txBox="1">
              <a:spLocks/>
            </p:cNvSpPr>
            <p:nvPr/>
          </p:nvSpPr>
          <p:spPr>
            <a:xfrm>
              <a:off x="10682552" y="2726457"/>
              <a:ext cx="1125550" cy="13512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2019</a:t>
              </a:r>
            </a:p>
          </p:txBody>
        </p:sp>
        <p:sp>
          <p:nvSpPr>
            <p:cNvPr id="213" name="TextBox 212">
              <a:extLst>
                <a:ext uri="{FF2B5EF4-FFF2-40B4-BE49-F238E27FC236}">
                  <a16:creationId xmlns:a16="http://schemas.microsoft.com/office/drawing/2014/main" id="{1F50C542-90DC-1B04-0512-21229F14B7CA}"/>
                </a:ext>
              </a:extLst>
            </p:cNvPr>
            <p:cNvSpPr txBox="1">
              <a:spLocks/>
            </p:cNvSpPr>
            <p:nvPr/>
          </p:nvSpPr>
          <p:spPr>
            <a:xfrm>
              <a:off x="7530128" y="2726457"/>
              <a:ext cx="972110"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Tongling Nonferrous Metals Grooup</a:t>
              </a:r>
            </a:p>
          </p:txBody>
        </p:sp>
        <p:pic>
          <p:nvPicPr>
            <p:cNvPr id="1028" name="Picture 4" descr="undefined">
              <a:extLst>
                <a:ext uri="{FF2B5EF4-FFF2-40B4-BE49-F238E27FC236}">
                  <a16:creationId xmlns:a16="http://schemas.microsoft.com/office/drawing/2014/main" id="{BA23DD6C-A723-22E4-F108-296251F2FEE0}"/>
                </a:ext>
              </a:extLst>
            </p:cNvPr>
            <p:cNvPicPr>
              <a:picLocks noChangeAspect="1" noChangeArrowheads="1"/>
            </p:cNvPicPr>
            <p:nvPr/>
          </p:nvPicPr>
          <p:blipFill>
            <a:blip r:embed="rId75" cstate="screen">
              <a:extLst>
                <a:ext uri="{28A0092B-C50C-407E-A947-70E740481C1C}">
                  <a14:useLocalDpi xmlns:a14="http://schemas.microsoft.com/office/drawing/2010/main"/>
                </a:ext>
              </a:extLst>
            </a:blip>
            <a:srcRect/>
            <a:stretch>
              <a:fillRect/>
            </a:stretch>
          </p:blipFill>
          <p:spPr bwMode="auto">
            <a:xfrm>
              <a:off x="7254089" y="2726457"/>
              <a:ext cx="207930" cy="279733"/>
            </a:xfrm>
            <a:prstGeom prst="rect">
              <a:avLst/>
            </a:prstGeom>
            <a:noFill/>
            <a:extLst>
              <a:ext uri="{909E8E84-426E-40DD-AFC4-6F175D3DCCD1}">
                <a14:hiddenFill xmlns:a14="http://schemas.microsoft.com/office/drawing/2010/main">
                  <a:solidFill>
                    <a:srgbClr val="FFFFFF"/>
                  </a:solidFill>
                </a14:hiddenFill>
              </a:ext>
            </a:extLst>
          </p:spPr>
        </p:pic>
        <p:cxnSp>
          <p:nvCxnSpPr>
            <p:cNvPr id="98" name="Straight Connector 97">
              <a:extLst>
                <a:ext uri="{FF2B5EF4-FFF2-40B4-BE49-F238E27FC236}">
                  <a16:creationId xmlns:a16="http://schemas.microsoft.com/office/drawing/2014/main" id="{B852ACA6-4E5C-21A5-CC3A-36B5C6C0BED7}"/>
                </a:ext>
              </a:extLst>
            </p:cNvPr>
            <p:cNvCxnSpPr>
              <a:cxnSpLocks/>
            </p:cNvCxnSpPr>
            <p:nvPr>
              <p:custDataLst>
                <p:tags r:id="rId66"/>
              </p:custDataLst>
            </p:nvPr>
          </p:nvCxnSpPr>
          <p:spPr>
            <a:xfrm>
              <a:off x="7254089" y="2484530"/>
              <a:ext cx="1248149" cy="0"/>
            </a:xfrm>
            <a:prstGeom prst="line">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grpSp>
      <p:graphicFrame>
        <p:nvGraphicFramePr>
          <p:cNvPr id="59" name="Chart 58">
            <a:extLst>
              <a:ext uri="{FF2B5EF4-FFF2-40B4-BE49-F238E27FC236}">
                <a16:creationId xmlns:a16="http://schemas.microsoft.com/office/drawing/2014/main" id="{D3A54426-C244-4186-09E2-205B123ECC7F}"/>
              </a:ext>
            </a:extLst>
          </p:cNvPr>
          <p:cNvGraphicFramePr/>
          <p:nvPr>
            <p:custDataLst>
              <p:tags r:id="rId39"/>
            </p:custDataLst>
            <p:extLst>
              <p:ext uri="{D42A27DB-BD31-4B8C-83A1-F6EECF244321}">
                <p14:modId xmlns:p14="http://schemas.microsoft.com/office/powerpoint/2010/main" val="1594105280"/>
              </p:ext>
            </p:extLst>
          </p:nvPr>
        </p:nvGraphicFramePr>
        <p:xfrm>
          <a:off x="6218238" y="5483225"/>
          <a:ext cx="5648325" cy="866775"/>
        </p:xfrm>
        <a:graphic>
          <a:graphicData uri="http://schemas.openxmlformats.org/drawingml/2006/chart">
            <c:chart xmlns:c="http://schemas.openxmlformats.org/drawingml/2006/chart" xmlns:r="http://schemas.openxmlformats.org/officeDocument/2006/relationships" r:id="rId76"/>
          </a:graphicData>
        </a:graphic>
      </p:graphicFrame>
      <p:cxnSp>
        <p:nvCxnSpPr>
          <p:cNvPr id="77" name="Straight Connector 76">
            <a:extLst>
              <a:ext uri="{FF2B5EF4-FFF2-40B4-BE49-F238E27FC236}">
                <a16:creationId xmlns:a16="http://schemas.microsoft.com/office/drawing/2014/main" id="{B781FAA2-2CAA-7FCE-CFCC-88A641C5FB27}"/>
              </a:ext>
            </a:extLst>
          </p:cNvPr>
          <p:cNvCxnSpPr/>
          <p:nvPr>
            <p:custDataLst>
              <p:tags r:id="rId40"/>
            </p:custDataLst>
          </p:nvPr>
        </p:nvCxnSpPr>
        <p:spPr bwMode="gray">
          <a:xfrm flipH="1">
            <a:off x="8174038" y="5856288"/>
            <a:ext cx="92075" cy="61913"/>
          </a:xfrm>
          <a:prstGeom prst="line">
            <a:avLst/>
          </a:prstGeom>
          <a:ln w="6350" cap="flat" cmpd="sng" algn="ctr">
            <a:solidFill>
              <a:schemeClr val="tx1">
                <a:lumMod val="85000"/>
                <a:lumOff val="15000"/>
              </a:schemeClr>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4253B1E6-5534-DCDB-03F6-447A01C47C2F}"/>
              </a:ext>
            </a:extLst>
          </p:cNvPr>
          <p:cNvCxnSpPr/>
          <p:nvPr>
            <p:custDataLst>
              <p:tags r:id="rId41"/>
            </p:custDataLst>
          </p:nvPr>
        </p:nvCxnSpPr>
        <p:spPr bwMode="auto">
          <a:xfrm flipH="1" flipV="1">
            <a:off x="8174038" y="5929313"/>
            <a:ext cx="92075" cy="6350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EB840CD9-C66D-4AF0-3043-CD8740E9C41C}"/>
              </a:ext>
            </a:extLst>
          </p:cNvPr>
          <p:cNvCxnSpPr/>
          <p:nvPr>
            <p:custDataLst>
              <p:tags r:id="rId42"/>
            </p:custDataLst>
          </p:nvPr>
        </p:nvCxnSpPr>
        <p:spPr bwMode="auto">
          <a:xfrm flipH="1">
            <a:off x="9271000" y="5880100"/>
            <a:ext cx="920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EB6CFA1F-D3FC-4E60-07E8-25DE8518C912}"/>
              </a:ext>
            </a:extLst>
          </p:cNvPr>
          <p:cNvCxnSpPr/>
          <p:nvPr>
            <p:custDataLst>
              <p:tags r:id="rId43"/>
            </p:custDataLst>
          </p:nvPr>
        </p:nvCxnSpPr>
        <p:spPr bwMode="auto">
          <a:xfrm flipH="1" flipV="1">
            <a:off x="10366375" y="5748338"/>
            <a:ext cx="92075" cy="2857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7A4BD1D6-1027-8A52-1B26-EA49B081E2D2}"/>
              </a:ext>
            </a:extLst>
          </p:cNvPr>
          <p:cNvCxnSpPr/>
          <p:nvPr>
            <p:custDataLst>
              <p:tags r:id="rId44"/>
            </p:custDataLst>
          </p:nvPr>
        </p:nvCxnSpPr>
        <p:spPr bwMode="auto">
          <a:xfrm flipH="1" flipV="1">
            <a:off x="11463338" y="5726113"/>
            <a:ext cx="92075" cy="5080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46" name="Text Placeholder 2">
            <a:extLst>
              <a:ext uri="{FF2B5EF4-FFF2-40B4-BE49-F238E27FC236}">
                <a16:creationId xmlns:a16="http://schemas.microsoft.com/office/drawing/2014/main" id="{B946D9DD-DA0A-BE42-839C-B2B1D503385A}"/>
              </a:ext>
            </a:extLst>
          </p:cNvPr>
          <p:cNvSpPr>
            <a:spLocks noGrp="1"/>
          </p:cNvSpPr>
          <p:nvPr>
            <p:custDataLst>
              <p:tags r:id="rId45"/>
            </p:custDataLst>
          </p:nvPr>
        </p:nvSpPr>
        <p:spPr bwMode="auto">
          <a:xfrm>
            <a:off x="6711950" y="6167438"/>
            <a:ext cx="2730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2F95BC9D-563D-4FAF-BC2A-76C307D76234}" type="datetime'2''''''''0''1''''''''''''''8'''''''''''''''''''''''''''">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018</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1048" name="Text Placeholder 2">
            <a:extLst>
              <a:ext uri="{FF2B5EF4-FFF2-40B4-BE49-F238E27FC236}">
                <a16:creationId xmlns:a16="http://schemas.microsoft.com/office/drawing/2014/main" id="{B946D9DD-DA0A-BE42-839C-B2B1D503385A}"/>
              </a:ext>
            </a:extLst>
          </p:cNvPr>
          <p:cNvSpPr>
            <a:spLocks noGrp="1"/>
          </p:cNvSpPr>
          <p:nvPr>
            <p:custDataLst>
              <p:tags r:id="rId46"/>
            </p:custDataLst>
          </p:nvPr>
        </p:nvSpPr>
        <p:spPr bwMode="auto">
          <a:xfrm>
            <a:off x="7808913" y="6167438"/>
            <a:ext cx="2730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2C2533B3-5741-4CBD-85D1-8E82011272B4}" type="datetime'''''''''''''''2''''''''''''''0''''''''1''''''''''''''9'''''">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019</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1049" name="Text Placeholder 2">
            <a:extLst>
              <a:ext uri="{FF2B5EF4-FFF2-40B4-BE49-F238E27FC236}">
                <a16:creationId xmlns:a16="http://schemas.microsoft.com/office/drawing/2014/main" id="{B946D9DD-DA0A-BE42-839C-B2B1D503385A}"/>
              </a:ext>
            </a:extLst>
          </p:cNvPr>
          <p:cNvSpPr>
            <a:spLocks noGrp="1"/>
          </p:cNvSpPr>
          <p:nvPr>
            <p:custDataLst>
              <p:tags r:id="rId47"/>
            </p:custDataLst>
          </p:nvPr>
        </p:nvSpPr>
        <p:spPr bwMode="auto">
          <a:xfrm>
            <a:off x="8905875" y="6167438"/>
            <a:ext cx="2730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2C8D8C84-87CD-416E-A776-6DEE52DDF946}" type="datetime'''''''''2''''''''''''0''2''''''''''''''''''''''''''0'''">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020</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1050" name="Text Placeholder 2">
            <a:extLst>
              <a:ext uri="{FF2B5EF4-FFF2-40B4-BE49-F238E27FC236}">
                <a16:creationId xmlns:a16="http://schemas.microsoft.com/office/drawing/2014/main" id="{B946D9DD-DA0A-BE42-839C-B2B1D503385A}"/>
              </a:ext>
            </a:extLst>
          </p:cNvPr>
          <p:cNvSpPr>
            <a:spLocks noGrp="1"/>
          </p:cNvSpPr>
          <p:nvPr>
            <p:custDataLst>
              <p:tags r:id="rId48"/>
            </p:custDataLst>
          </p:nvPr>
        </p:nvSpPr>
        <p:spPr bwMode="auto">
          <a:xfrm>
            <a:off x="10001250" y="6167438"/>
            <a:ext cx="2730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A80D6A89-921C-427D-A904-C6BECDAC9F98}" type="datetime'''''''''''''''''''''''202''''''''''''''''''''1'">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021</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1051" name="Text Placeholder 2">
            <a:extLst>
              <a:ext uri="{FF2B5EF4-FFF2-40B4-BE49-F238E27FC236}">
                <a16:creationId xmlns:a16="http://schemas.microsoft.com/office/drawing/2014/main" id="{B946D9DD-DA0A-BE42-839C-B2B1D503385A}"/>
              </a:ext>
            </a:extLst>
          </p:cNvPr>
          <p:cNvSpPr>
            <a:spLocks noGrp="1"/>
          </p:cNvSpPr>
          <p:nvPr>
            <p:custDataLst>
              <p:tags r:id="rId49"/>
            </p:custDataLst>
          </p:nvPr>
        </p:nvSpPr>
        <p:spPr bwMode="auto">
          <a:xfrm>
            <a:off x="11098213" y="6167438"/>
            <a:ext cx="2730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76560B8C-F614-4746-9DBF-C1DF0C58900C}" type="datetime'''''''20''''''''''''''''''2''''''2'''''''''''''">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022</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1058" name="Text Placeholder 2">
            <a:extLst>
              <a:ext uri="{FF2B5EF4-FFF2-40B4-BE49-F238E27FC236}">
                <a16:creationId xmlns:a16="http://schemas.microsoft.com/office/drawing/2014/main" id="{B946D9DD-DA0A-BE42-839C-B2B1D503385A}"/>
              </a:ext>
            </a:extLst>
          </p:cNvPr>
          <p:cNvSpPr>
            <a:spLocks noGrp="1"/>
          </p:cNvSpPr>
          <p:nvPr>
            <p:custDataLst>
              <p:tags r:id="rId50"/>
            </p:custDataLst>
          </p:nvPr>
        </p:nvSpPr>
        <p:spPr bwMode="gray">
          <a:xfrm>
            <a:off x="7831138" y="5754688"/>
            <a:ext cx="2301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8765915C-59AE-4527-90D5-1B74BA0CCB3F}" type="datetime'3''''''''''''''''''''''''''''''6''''''''''6'''''">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366</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1060" name="Text Placeholder 2">
            <a:extLst>
              <a:ext uri="{FF2B5EF4-FFF2-40B4-BE49-F238E27FC236}">
                <a16:creationId xmlns:a16="http://schemas.microsoft.com/office/drawing/2014/main" id="{B946D9DD-DA0A-BE42-839C-B2B1D503385A}"/>
              </a:ext>
            </a:extLst>
          </p:cNvPr>
          <p:cNvSpPr>
            <a:spLocks noGrp="1"/>
          </p:cNvSpPr>
          <p:nvPr>
            <p:custDataLst>
              <p:tags r:id="rId51"/>
            </p:custDataLst>
          </p:nvPr>
        </p:nvSpPr>
        <p:spPr bwMode="gray">
          <a:xfrm>
            <a:off x="8928100" y="5715000"/>
            <a:ext cx="2301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4678900A-D21D-47CD-808F-9E13D5BEE085}" type="datetime'''''''''''''4''3''''5'''''''''''''''''''''''''''''''''''">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435</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1061" name="Text Placeholder 2">
            <a:extLst>
              <a:ext uri="{FF2B5EF4-FFF2-40B4-BE49-F238E27FC236}">
                <a16:creationId xmlns:a16="http://schemas.microsoft.com/office/drawing/2014/main" id="{B946D9DD-DA0A-BE42-839C-B2B1D503385A}"/>
              </a:ext>
            </a:extLst>
          </p:cNvPr>
          <p:cNvSpPr>
            <a:spLocks noGrp="1"/>
          </p:cNvSpPr>
          <p:nvPr>
            <p:custDataLst>
              <p:tags r:id="rId52"/>
            </p:custDataLst>
          </p:nvPr>
        </p:nvSpPr>
        <p:spPr bwMode="gray">
          <a:xfrm>
            <a:off x="10023475" y="5573713"/>
            <a:ext cx="2301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A482D6FB-BE23-4957-994D-3D095976680A}" type="datetime'''''''''''6''''''''''''8''6'''">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686</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1062" name="Text Placeholder 2">
            <a:extLst>
              <a:ext uri="{FF2B5EF4-FFF2-40B4-BE49-F238E27FC236}">
                <a16:creationId xmlns:a16="http://schemas.microsoft.com/office/drawing/2014/main" id="{B946D9DD-DA0A-BE42-839C-B2B1D503385A}"/>
              </a:ext>
            </a:extLst>
          </p:cNvPr>
          <p:cNvSpPr>
            <a:spLocks noGrp="1"/>
          </p:cNvSpPr>
          <p:nvPr>
            <p:custDataLst>
              <p:tags r:id="rId53"/>
            </p:custDataLst>
          </p:nvPr>
        </p:nvSpPr>
        <p:spPr bwMode="gray">
          <a:xfrm>
            <a:off x="11120438" y="5546725"/>
            <a:ext cx="2301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4F2A7448-29AF-4A92-90F0-971FC622B8BC}" type="datetime'''''''''''''''''7''''''''''''''''33'''''''''''''''">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733</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1128" name="Rectangle 1127">
            <a:extLst>
              <a:ext uri="{FF2B5EF4-FFF2-40B4-BE49-F238E27FC236}">
                <a16:creationId xmlns:a16="http://schemas.microsoft.com/office/drawing/2014/main" id="{28115D8D-263B-8E8E-0984-E8444742BDDB}"/>
              </a:ext>
            </a:extLst>
          </p:cNvPr>
          <p:cNvSpPr/>
          <p:nvPr>
            <p:custDataLst>
              <p:tags r:id="rId54"/>
            </p:custDataLst>
          </p:nvPr>
        </p:nvSpPr>
        <p:spPr bwMode="auto">
          <a:xfrm>
            <a:off x="9532939" y="5353050"/>
            <a:ext cx="123825" cy="123825"/>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20" name="Rectangle 1119">
            <a:extLst>
              <a:ext uri="{FF2B5EF4-FFF2-40B4-BE49-F238E27FC236}">
                <a16:creationId xmlns:a16="http://schemas.microsoft.com/office/drawing/2014/main" id="{DDD9B86F-E488-EF05-AFF1-20270FBD6442}"/>
              </a:ext>
            </a:extLst>
          </p:cNvPr>
          <p:cNvSpPr/>
          <p:nvPr>
            <p:custDataLst>
              <p:tags r:id="rId55"/>
            </p:custDataLst>
          </p:nvPr>
        </p:nvSpPr>
        <p:spPr bwMode="auto">
          <a:xfrm>
            <a:off x="10188576" y="5353050"/>
            <a:ext cx="123825" cy="123825"/>
          </a:xfrm>
          <a:prstGeom prst="rect">
            <a:avLst/>
          </a:prstGeom>
          <a:solidFill>
            <a:schemeClr val="accent2"/>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37" name="Rectangle 1136">
            <a:extLst>
              <a:ext uri="{FF2B5EF4-FFF2-40B4-BE49-F238E27FC236}">
                <a16:creationId xmlns:a16="http://schemas.microsoft.com/office/drawing/2014/main" id="{8D4CCBC1-C168-B922-7607-31FAD97DFC60}"/>
              </a:ext>
            </a:extLst>
          </p:cNvPr>
          <p:cNvSpPr/>
          <p:nvPr>
            <p:custDataLst>
              <p:tags r:id="rId56"/>
            </p:custDataLst>
          </p:nvPr>
        </p:nvSpPr>
        <p:spPr bwMode="auto">
          <a:xfrm>
            <a:off x="11182351" y="5353050"/>
            <a:ext cx="123825" cy="123825"/>
          </a:xfrm>
          <a:prstGeom prst="rect">
            <a:avLst/>
          </a:prstGeom>
          <a:solidFill>
            <a:schemeClr val="accent3"/>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21" name="Text Placeholder 2">
            <a:extLst>
              <a:ext uri="{FF2B5EF4-FFF2-40B4-BE49-F238E27FC236}">
                <a16:creationId xmlns:a16="http://schemas.microsoft.com/office/drawing/2014/main" id="{74C1CA2A-C6DB-03EA-11C2-4A53CCA0BF9E}"/>
              </a:ext>
            </a:extLst>
          </p:cNvPr>
          <p:cNvSpPr>
            <a:spLocks noGrp="1"/>
          </p:cNvSpPr>
          <p:nvPr>
            <p:custDataLst>
              <p:tags r:id="rId57"/>
            </p:custDataLst>
          </p:nvPr>
        </p:nvSpPr>
        <p:spPr bwMode="auto">
          <a:xfrm>
            <a:off x="9707563" y="5360988"/>
            <a:ext cx="379413"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1562B1F5-3585-46DA-83DB-7663BCA26DF6}" type="datetime'''''''M''''''''''i''''''''''r''''a''''''d''''''''''o''''r'''''">
              <a:rPr kumimoji="0" lang="pt-BR" altLang="en-US" sz="9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Mirador</a:t>
            </a:fld>
            <a:endParaRPr kumimoji="0" lang="pt-BR" sz="9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1116" name="Text Placeholder 2">
            <a:extLst>
              <a:ext uri="{FF2B5EF4-FFF2-40B4-BE49-F238E27FC236}">
                <a16:creationId xmlns:a16="http://schemas.microsoft.com/office/drawing/2014/main" id="{9EA82284-5D73-E59E-E082-A7081D80A670}"/>
              </a:ext>
            </a:extLst>
          </p:cNvPr>
          <p:cNvSpPr>
            <a:spLocks noGrp="1"/>
          </p:cNvSpPr>
          <p:nvPr>
            <p:custDataLst>
              <p:tags r:id="rId58"/>
            </p:custDataLst>
          </p:nvPr>
        </p:nvSpPr>
        <p:spPr bwMode="auto">
          <a:xfrm>
            <a:off x="10363200" y="5360988"/>
            <a:ext cx="71755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2DB76726-3B15-4CA8-854B-3A6F78B8DEC5}" type="datetime'''Fru''ta'''' ''''''De''''l'''' N''o''''r''''''te'''''">
              <a:rPr kumimoji="0" lang="pt-BR" altLang="en-US" sz="9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Fruta Del Norte</a:t>
            </a:fld>
            <a:endParaRPr kumimoji="0" lang="pt-BR" sz="9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1129" name="Text Placeholder 2">
            <a:extLst>
              <a:ext uri="{FF2B5EF4-FFF2-40B4-BE49-F238E27FC236}">
                <a16:creationId xmlns:a16="http://schemas.microsoft.com/office/drawing/2014/main" id="{8F1456CE-24A2-4BCC-C285-B5451163003D}"/>
              </a:ext>
            </a:extLst>
          </p:cNvPr>
          <p:cNvSpPr>
            <a:spLocks noGrp="1"/>
          </p:cNvSpPr>
          <p:nvPr>
            <p:custDataLst>
              <p:tags r:id="rId59"/>
            </p:custDataLst>
          </p:nvPr>
        </p:nvSpPr>
        <p:spPr bwMode="auto">
          <a:xfrm>
            <a:off x="11356975" y="5360988"/>
            <a:ext cx="271463"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E6AC15EF-DAAC-42B3-BE4B-9DB7798BFEF2}" type="datetime'''O''''th''''e''r'''''''''''''''''''''''''''''''''">
              <a:rPr kumimoji="0" lang="pt-BR" altLang="en-US" sz="9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Other</a:t>
            </a:fld>
            <a:endParaRPr kumimoji="0" lang="pt-BR" sz="9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grpSp>
        <p:nvGrpSpPr>
          <p:cNvPr id="63" name="Group 62">
            <a:extLst>
              <a:ext uri="{FF2B5EF4-FFF2-40B4-BE49-F238E27FC236}">
                <a16:creationId xmlns:a16="http://schemas.microsoft.com/office/drawing/2014/main" id="{E1F12601-CF51-FA8C-889A-DCA43E6EEB5A}"/>
              </a:ext>
            </a:extLst>
          </p:cNvPr>
          <p:cNvGrpSpPr/>
          <p:nvPr/>
        </p:nvGrpSpPr>
        <p:grpSpPr>
          <a:xfrm>
            <a:off x="346075" y="1370013"/>
            <a:ext cx="5524265" cy="873512"/>
            <a:chOff x="346075" y="1742180"/>
            <a:chExt cx="5524265" cy="873512"/>
          </a:xfrm>
        </p:grpSpPr>
        <p:sp>
          <p:nvSpPr>
            <p:cNvPr id="46" name="Rectangle 8">
              <a:extLst>
                <a:ext uri="{FF2B5EF4-FFF2-40B4-BE49-F238E27FC236}">
                  <a16:creationId xmlns:a16="http://schemas.microsoft.com/office/drawing/2014/main" id="{DF62B165-B198-85FE-915A-1686D3ACAA0E}"/>
                </a:ext>
              </a:extLst>
            </p:cNvPr>
            <p:cNvSpPr txBox="1">
              <a:spLocks/>
            </p:cNvSpPr>
            <p:nvPr>
              <p:custDataLst>
                <p:tags r:id="rId61"/>
              </p:custDataLst>
            </p:nvPr>
          </p:nvSpPr>
          <p:spPr>
            <a:xfrm>
              <a:off x="346075" y="1742180"/>
              <a:ext cx="1194435" cy="873512"/>
            </a:xfrm>
            <a:prstGeom prst="rect">
              <a:avLst/>
            </a:prstGeom>
            <a:solidFill>
              <a:schemeClr val="accent1"/>
            </a:solidFill>
            <a:ln w="9525">
              <a:noFill/>
              <a:miter lim="800000"/>
              <a:headEnd/>
              <a:tailEnd/>
            </a:ln>
            <a:effectLst/>
          </p:spPr>
          <p:txBody>
            <a:bodyPr vert="horz" wrap="square" lIns="36576" tIns="76200" rIns="36576" bIns="76200" numCol="1" anchor="ctr"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Government overview and key stakeholders</a:t>
              </a:r>
              <a:endParaRPr kumimoji="0" lang="en-CA"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endParaRPr>
            </a:p>
          </p:txBody>
        </p:sp>
        <p:sp>
          <p:nvSpPr>
            <p:cNvPr id="132" name="TextBox 131">
              <a:extLst>
                <a:ext uri="{FF2B5EF4-FFF2-40B4-BE49-F238E27FC236}">
                  <a16:creationId xmlns:a16="http://schemas.microsoft.com/office/drawing/2014/main" id="{92FF2AEE-7746-7067-2EA0-26A153EB1600}"/>
                </a:ext>
              </a:extLst>
            </p:cNvPr>
            <p:cNvSpPr txBox="1">
              <a:spLocks/>
            </p:cNvSpPr>
            <p:nvPr/>
          </p:nvSpPr>
          <p:spPr>
            <a:xfrm>
              <a:off x="1615442" y="1887603"/>
              <a:ext cx="913446" cy="13652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Parliament type:</a:t>
              </a:r>
            </a:p>
          </p:txBody>
        </p:sp>
        <p:sp>
          <p:nvSpPr>
            <p:cNvPr id="133" name="TextBox 132">
              <a:extLst>
                <a:ext uri="{FF2B5EF4-FFF2-40B4-BE49-F238E27FC236}">
                  <a16:creationId xmlns:a16="http://schemas.microsoft.com/office/drawing/2014/main" id="{045FCAF2-5034-7D0C-CAC2-3B228E3769BA}"/>
                </a:ext>
              </a:extLst>
            </p:cNvPr>
            <p:cNvSpPr txBox="1">
              <a:spLocks/>
            </p:cNvSpPr>
            <p:nvPr/>
          </p:nvSpPr>
          <p:spPr>
            <a:xfrm>
              <a:off x="2600326" y="1887603"/>
              <a:ext cx="3270014"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unicameral National Assembly </a:t>
              </a:r>
              <a:endPar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endParaRPr>
            </a:p>
          </p:txBody>
        </p:sp>
        <p:sp>
          <p:nvSpPr>
            <p:cNvPr id="128" name="TextBox 127">
              <a:extLst>
                <a:ext uri="{FF2B5EF4-FFF2-40B4-BE49-F238E27FC236}">
                  <a16:creationId xmlns:a16="http://schemas.microsoft.com/office/drawing/2014/main" id="{08BB0351-7469-B33B-7341-A6C5B691B92D}"/>
                </a:ext>
              </a:extLst>
            </p:cNvPr>
            <p:cNvSpPr txBox="1">
              <a:spLocks/>
            </p:cNvSpPr>
            <p:nvPr/>
          </p:nvSpPr>
          <p:spPr>
            <a:xfrm>
              <a:off x="1615442" y="1742180"/>
              <a:ext cx="913446" cy="13652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Government type:</a:t>
              </a:r>
            </a:p>
          </p:txBody>
        </p:sp>
        <p:sp>
          <p:nvSpPr>
            <p:cNvPr id="129" name="TextBox 128">
              <a:extLst>
                <a:ext uri="{FF2B5EF4-FFF2-40B4-BE49-F238E27FC236}">
                  <a16:creationId xmlns:a16="http://schemas.microsoft.com/office/drawing/2014/main" id="{1591AFA9-25E4-06CF-CED4-57D391FB4D61}"/>
                </a:ext>
              </a:extLst>
            </p:cNvPr>
            <p:cNvSpPr txBox="1">
              <a:spLocks/>
            </p:cNvSpPr>
            <p:nvPr/>
          </p:nvSpPr>
          <p:spPr>
            <a:xfrm>
              <a:off x="2600326" y="1742180"/>
              <a:ext cx="3270014" cy="13652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Democracy</a:t>
              </a:r>
            </a:p>
          </p:txBody>
        </p:sp>
        <p:sp>
          <p:nvSpPr>
            <p:cNvPr id="135" name="TextBox 134">
              <a:extLst>
                <a:ext uri="{FF2B5EF4-FFF2-40B4-BE49-F238E27FC236}">
                  <a16:creationId xmlns:a16="http://schemas.microsoft.com/office/drawing/2014/main" id="{8FC8F185-8320-ED7C-8C9C-C417ECD7A218}"/>
                </a:ext>
              </a:extLst>
            </p:cNvPr>
            <p:cNvSpPr txBox="1">
              <a:spLocks/>
            </p:cNvSpPr>
            <p:nvPr/>
          </p:nvSpPr>
          <p:spPr>
            <a:xfrm>
              <a:off x="1615442" y="2035000"/>
              <a:ext cx="913446" cy="13493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President:</a:t>
              </a:r>
            </a:p>
          </p:txBody>
        </p:sp>
        <p:sp>
          <p:nvSpPr>
            <p:cNvPr id="136" name="TextBox 135">
              <a:extLst>
                <a:ext uri="{FF2B5EF4-FFF2-40B4-BE49-F238E27FC236}">
                  <a16:creationId xmlns:a16="http://schemas.microsoft.com/office/drawing/2014/main" id="{286FD3F8-A9FB-E0FA-11D2-E82BA030CF9B}"/>
                </a:ext>
              </a:extLst>
            </p:cNvPr>
            <p:cNvSpPr txBox="1">
              <a:spLocks/>
            </p:cNvSpPr>
            <p:nvPr/>
          </p:nvSpPr>
          <p:spPr>
            <a:xfrm>
              <a:off x="2600326" y="2035000"/>
              <a:ext cx="3270014" cy="138499"/>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s-E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Guillermo Lasso Mendoza (</a:t>
              </a:r>
              <a:r>
                <a:rPr kumimoji="0" lang="es-ES" sz="9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since</a:t>
              </a:r>
              <a:r>
                <a:rPr kumimoji="0" lang="es-E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2021)</a:t>
              </a:r>
              <a:endPar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endParaRPr>
            </a:p>
          </p:txBody>
        </p:sp>
        <p:sp>
          <p:nvSpPr>
            <p:cNvPr id="139" name="TextBox 138">
              <a:extLst>
                <a:ext uri="{FF2B5EF4-FFF2-40B4-BE49-F238E27FC236}">
                  <a16:creationId xmlns:a16="http://schemas.microsoft.com/office/drawing/2014/main" id="{CC8673C0-B27B-4146-B381-90AA05457754}"/>
                </a:ext>
              </a:extLst>
            </p:cNvPr>
            <p:cNvSpPr txBox="1">
              <a:spLocks/>
            </p:cNvSpPr>
            <p:nvPr/>
          </p:nvSpPr>
          <p:spPr>
            <a:xfrm>
              <a:off x="1615442" y="2182397"/>
              <a:ext cx="913446"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Next election:</a:t>
              </a:r>
            </a:p>
          </p:txBody>
        </p:sp>
        <p:sp>
          <p:nvSpPr>
            <p:cNvPr id="140" name="TextBox 139">
              <a:extLst>
                <a:ext uri="{FF2B5EF4-FFF2-40B4-BE49-F238E27FC236}">
                  <a16:creationId xmlns:a16="http://schemas.microsoft.com/office/drawing/2014/main" id="{3ED62777-DDCE-5F21-D331-4AEE1668ECF3}"/>
                </a:ext>
              </a:extLst>
            </p:cNvPr>
            <p:cNvSpPr txBox="1">
              <a:spLocks/>
            </p:cNvSpPr>
            <p:nvPr/>
          </p:nvSpPr>
          <p:spPr>
            <a:xfrm>
              <a:off x="2600326" y="2182397"/>
              <a:ext cx="3270014"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2025</a:t>
              </a:r>
            </a:p>
          </p:txBody>
        </p:sp>
        <p:sp>
          <p:nvSpPr>
            <p:cNvPr id="143" name="TextBox 142">
              <a:extLst>
                <a:ext uri="{FF2B5EF4-FFF2-40B4-BE49-F238E27FC236}">
                  <a16:creationId xmlns:a16="http://schemas.microsoft.com/office/drawing/2014/main" id="{CA777830-90B0-AC47-B276-1B852CEBD625}"/>
                </a:ext>
              </a:extLst>
            </p:cNvPr>
            <p:cNvSpPr txBox="1">
              <a:spLocks/>
            </p:cNvSpPr>
            <p:nvPr/>
          </p:nvSpPr>
          <p:spPr>
            <a:xfrm>
              <a:off x="1615442" y="2329794"/>
              <a:ext cx="913446" cy="13493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Mining ministry:</a:t>
              </a:r>
            </a:p>
          </p:txBody>
        </p:sp>
        <p:sp>
          <p:nvSpPr>
            <p:cNvPr id="144" name="TextBox 143">
              <a:extLst>
                <a:ext uri="{FF2B5EF4-FFF2-40B4-BE49-F238E27FC236}">
                  <a16:creationId xmlns:a16="http://schemas.microsoft.com/office/drawing/2014/main" id="{0F6E1B82-5A40-B08E-4FCB-69D6C6C2E0A8}"/>
                </a:ext>
              </a:extLst>
            </p:cNvPr>
            <p:cNvSpPr txBox="1">
              <a:spLocks/>
            </p:cNvSpPr>
            <p:nvPr/>
          </p:nvSpPr>
          <p:spPr>
            <a:xfrm>
              <a:off x="2600326" y="2329794"/>
              <a:ext cx="3270014"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Ministry of Mines and Energy</a:t>
              </a:r>
            </a:p>
          </p:txBody>
        </p:sp>
        <p:sp>
          <p:nvSpPr>
            <p:cNvPr id="146" name="TextBox 145">
              <a:extLst>
                <a:ext uri="{FF2B5EF4-FFF2-40B4-BE49-F238E27FC236}">
                  <a16:creationId xmlns:a16="http://schemas.microsoft.com/office/drawing/2014/main" id="{C9C2C543-5312-BA95-CE37-7BA9D157C26F}"/>
                </a:ext>
              </a:extLst>
            </p:cNvPr>
            <p:cNvSpPr txBox="1">
              <a:spLocks/>
            </p:cNvSpPr>
            <p:nvPr/>
          </p:nvSpPr>
          <p:spPr>
            <a:xfrm>
              <a:off x="1615442" y="2477193"/>
              <a:ext cx="913446" cy="13493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Affiliations:</a:t>
              </a:r>
            </a:p>
          </p:txBody>
        </p:sp>
        <p:sp>
          <p:nvSpPr>
            <p:cNvPr id="147" name="TextBox 146">
              <a:extLst>
                <a:ext uri="{FF2B5EF4-FFF2-40B4-BE49-F238E27FC236}">
                  <a16:creationId xmlns:a16="http://schemas.microsoft.com/office/drawing/2014/main" id="{7343889F-A382-98A9-7730-3C431ABAD8B5}"/>
                </a:ext>
              </a:extLst>
            </p:cNvPr>
            <p:cNvSpPr txBox="1">
              <a:spLocks/>
            </p:cNvSpPr>
            <p:nvPr/>
          </p:nvSpPr>
          <p:spPr>
            <a:xfrm>
              <a:off x="2600326" y="2477193"/>
              <a:ext cx="3270014"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OPEC, WTO, IFC, OAS, UN, Mercosur (associate)</a:t>
              </a:r>
            </a:p>
          </p:txBody>
        </p:sp>
      </p:grpSp>
      <p:grpSp>
        <p:nvGrpSpPr>
          <p:cNvPr id="123" name="Group 122">
            <a:extLst>
              <a:ext uri="{FF2B5EF4-FFF2-40B4-BE49-F238E27FC236}">
                <a16:creationId xmlns:a16="http://schemas.microsoft.com/office/drawing/2014/main" id="{5F824363-3B6E-CDE7-8B94-E3CC39A494FB}"/>
              </a:ext>
            </a:extLst>
          </p:cNvPr>
          <p:cNvGrpSpPr/>
          <p:nvPr/>
        </p:nvGrpSpPr>
        <p:grpSpPr>
          <a:xfrm>
            <a:off x="346075" y="2482587"/>
            <a:ext cx="5524265" cy="884613"/>
            <a:chOff x="346075" y="2734812"/>
            <a:chExt cx="5524265" cy="884613"/>
          </a:xfrm>
        </p:grpSpPr>
        <p:sp>
          <p:nvSpPr>
            <p:cNvPr id="43" name="Rectangle 8">
              <a:extLst>
                <a:ext uri="{FF2B5EF4-FFF2-40B4-BE49-F238E27FC236}">
                  <a16:creationId xmlns:a16="http://schemas.microsoft.com/office/drawing/2014/main" id="{F8D474FE-B311-2170-5018-2B21548A87C7}"/>
                </a:ext>
              </a:extLst>
            </p:cNvPr>
            <p:cNvSpPr txBox="1">
              <a:spLocks/>
            </p:cNvSpPr>
            <p:nvPr>
              <p:custDataLst>
                <p:tags r:id="rId60"/>
              </p:custDataLst>
            </p:nvPr>
          </p:nvSpPr>
          <p:spPr>
            <a:xfrm>
              <a:off x="346075" y="2734812"/>
              <a:ext cx="1194435" cy="884613"/>
            </a:xfrm>
            <a:prstGeom prst="rect">
              <a:avLst/>
            </a:prstGeom>
            <a:solidFill>
              <a:schemeClr val="accent1"/>
            </a:solidFill>
            <a:ln w="9525">
              <a:noFill/>
              <a:miter lim="800000"/>
              <a:headEnd/>
              <a:tailEnd/>
            </a:ln>
            <a:effectLst/>
          </p:spPr>
          <p:txBody>
            <a:bodyPr vert="horz" wrap="square" lIns="36576" tIns="76200" rIns="36576" bIns="76200" numCol="1" anchor="ctr"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Country overview</a:t>
              </a:r>
              <a:endParaRPr kumimoji="0" lang="en-CA"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endParaRPr>
            </a:p>
          </p:txBody>
        </p:sp>
        <p:grpSp>
          <p:nvGrpSpPr>
            <p:cNvPr id="117" name="Group 116">
              <a:extLst>
                <a:ext uri="{FF2B5EF4-FFF2-40B4-BE49-F238E27FC236}">
                  <a16:creationId xmlns:a16="http://schemas.microsoft.com/office/drawing/2014/main" id="{0D700741-E291-821A-8C10-BB317B1AF13D}"/>
                </a:ext>
              </a:extLst>
            </p:cNvPr>
            <p:cNvGrpSpPr/>
            <p:nvPr/>
          </p:nvGrpSpPr>
          <p:grpSpPr>
            <a:xfrm>
              <a:off x="1615442" y="2734812"/>
              <a:ext cx="4254898" cy="138499"/>
              <a:chOff x="1615442" y="2734812"/>
              <a:chExt cx="4254898" cy="138499"/>
            </a:xfrm>
          </p:grpSpPr>
          <p:sp>
            <p:nvSpPr>
              <p:cNvPr id="149" name="TextBox 148">
                <a:extLst>
                  <a:ext uri="{FF2B5EF4-FFF2-40B4-BE49-F238E27FC236}">
                    <a16:creationId xmlns:a16="http://schemas.microsoft.com/office/drawing/2014/main" id="{AE99F63B-9356-119E-2124-9025192EC592}"/>
                  </a:ext>
                </a:extLst>
              </p:cNvPr>
              <p:cNvSpPr txBox="1">
                <a:spLocks/>
              </p:cNvSpPr>
              <p:nvPr/>
            </p:nvSpPr>
            <p:spPr>
              <a:xfrm>
                <a:off x="1615442" y="2734812"/>
                <a:ext cx="913446" cy="13493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Population:</a:t>
                </a:r>
              </a:p>
            </p:txBody>
          </p:sp>
          <p:sp>
            <p:nvSpPr>
              <p:cNvPr id="150" name="TextBox 149">
                <a:extLst>
                  <a:ext uri="{FF2B5EF4-FFF2-40B4-BE49-F238E27FC236}">
                    <a16:creationId xmlns:a16="http://schemas.microsoft.com/office/drawing/2014/main" id="{AB7C5F20-D7EE-1CF5-FE7D-7AAB651A0DE7}"/>
                  </a:ext>
                </a:extLst>
              </p:cNvPr>
              <p:cNvSpPr txBox="1">
                <a:spLocks/>
              </p:cNvSpPr>
              <p:nvPr/>
            </p:nvSpPr>
            <p:spPr>
              <a:xfrm>
                <a:off x="2600326" y="2734812"/>
                <a:ext cx="3270014" cy="138499"/>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18 M</a:t>
                </a:r>
              </a:p>
            </p:txBody>
          </p:sp>
        </p:grpSp>
        <p:grpSp>
          <p:nvGrpSpPr>
            <p:cNvPr id="118" name="Group 117">
              <a:extLst>
                <a:ext uri="{FF2B5EF4-FFF2-40B4-BE49-F238E27FC236}">
                  <a16:creationId xmlns:a16="http://schemas.microsoft.com/office/drawing/2014/main" id="{75D92D83-F78D-2A33-183E-21E55BE40F5E}"/>
                </a:ext>
              </a:extLst>
            </p:cNvPr>
            <p:cNvGrpSpPr/>
            <p:nvPr/>
          </p:nvGrpSpPr>
          <p:grpSpPr>
            <a:xfrm>
              <a:off x="1615442" y="2884747"/>
              <a:ext cx="4254898" cy="134938"/>
              <a:chOff x="1615442" y="2884747"/>
              <a:chExt cx="4254898" cy="134938"/>
            </a:xfrm>
          </p:grpSpPr>
          <p:sp>
            <p:nvSpPr>
              <p:cNvPr id="152" name="TextBox 151">
                <a:extLst>
                  <a:ext uri="{FF2B5EF4-FFF2-40B4-BE49-F238E27FC236}">
                    <a16:creationId xmlns:a16="http://schemas.microsoft.com/office/drawing/2014/main" id="{313CD90E-654F-4BD9-14E0-95192A35D357}"/>
                  </a:ext>
                </a:extLst>
              </p:cNvPr>
              <p:cNvSpPr txBox="1">
                <a:spLocks/>
              </p:cNvSpPr>
              <p:nvPr/>
            </p:nvSpPr>
            <p:spPr>
              <a:xfrm>
                <a:off x="1615442" y="2884747"/>
                <a:ext cx="913446" cy="13493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Language:</a:t>
                </a:r>
              </a:p>
            </p:txBody>
          </p:sp>
          <p:sp>
            <p:nvSpPr>
              <p:cNvPr id="153" name="TextBox 152">
                <a:extLst>
                  <a:ext uri="{FF2B5EF4-FFF2-40B4-BE49-F238E27FC236}">
                    <a16:creationId xmlns:a16="http://schemas.microsoft.com/office/drawing/2014/main" id="{E254005B-DA49-EDF3-48A6-CCA356330855}"/>
                  </a:ext>
                </a:extLst>
              </p:cNvPr>
              <p:cNvSpPr txBox="1">
                <a:spLocks/>
              </p:cNvSpPr>
              <p:nvPr/>
            </p:nvSpPr>
            <p:spPr>
              <a:xfrm>
                <a:off x="2600326" y="2884747"/>
                <a:ext cx="3270014" cy="134938"/>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Spanish</a:t>
                </a:r>
              </a:p>
            </p:txBody>
          </p:sp>
        </p:grpSp>
        <p:grpSp>
          <p:nvGrpSpPr>
            <p:cNvPr id="119" name="Group 118">
              <a:extLst>
                <a:ext uri="{FF2B5EF4-FFF2-40B4-BE49-F238E27FC236}">
                  <a16:creationId xmlns:a16="http://schemas.microsoft.com/office/drawing/2014/main" id="{E3276519-0FBA-B8DD-DEB5-94D4112A275E}"/>
                </a:ext>
              </a:extLst>
            </p:cNvPr>
            <p:cNvGrpSpPr/>
            <p:nvPr/>
          </p:nvGrpSpPr>
          <p:grpSpPr>
            <a:xfrm>
              <a:off x="1615442" y="3031121"/>
              <a:ext cx="4254898" cy="138499"/>
              <a:chOff x="1615442" y="3031121"/>
              <a:chExt cx="4254898" cy="138499"/>
            </a:xfrm>
          </p:grpSpPr>
          <p:sp>
            <p:nvSpPr>
              <p:cNvPr id="155" name="TextBox 154">
                <a:extLst>
                  <a:ext uri="{FF2B5EF4-FFF2-40B4-BE49-F238E27FC236}">
                    <a16:creationId xmlns:a16="http://schemas.microsoft.com/office/drawing/2014/main" id="{E1CEF0DF-2075-199B-7D67-0C756649C778}"/>
                  </a:ext>
                </a:extLst>
              </p:cNvPr>
              <p:cNvSpPr txBox="1">
                <a:spLocks/>
              </p:cNvSpPr>
              <p:nvPr/>
            </p:nvSpPr>
            <p:spPr>
              <a:xfrm>
                <a:off x="1615442" y="3031121"/>
                <a:ext cx="913446" cy="13493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Currency:</a:t>
                </a:r>
              </a:p>
            </p:txBody>
          </p:sp>
          <p:sp>
            <p:nvSpPr>
              <p:cNvPr id="156" name="TextBox 155">
                <a:extLst>
                  <a:ext uri="{FF2B5EF4-FFF2-40B4-BE49-F238E27FC236}">
                    <a16:creationId xmlns:a16="http://schemas.microsoft.com/office/drawing/2014/main" id="{E8E68DDD-ED49-C541-1AE5-B7EEC7DC9112}"/>
                  </a:ext>
                </a:extLst>
              </p:cNvPr>
              <p:cNvSpPr txBox="1">
                <a:spLocks/>
              </p:cNvSpPr>
              <p:nvPr/>
            </p:nvSpPr>
            <p:spPr>
              <a:xfrm>
                <a:off x="2600326" y="3031121"/>
                <a:ext cx="3270014" cy="138499"/>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US Dollar (user) (USD)</a:t>
                </a:r>
              </a:p>
            </p:txBody>
          </p:sp>
        </p:grpSp>
        <p:grpSp>
          <p:nvGrpSpPr>
            <p:cNvPr id="120" name="Group 119">
              <a:extLst>
                <a:ext uri="{FF2B5EF4-FFF2-40B4-BE49-F238E27FC236}">
                  <a16:creationId xmlns:a16="http://schemas.microsoft.com/office/drawing/2014/main" id="{35AFA302-D84E-EE58-CF86-DF61DA597128}"/>
                </a:ext>
              </a:extLst>
            </p:cNvPr>
            <p:cNvGrpSpPr/>
            <p:nvPr/>
          </p:nvGrpSpPr>
          <p:grpSpPr>
            <a:xfrm>
              <a:off x="1615442" y="3181056"/>
              <a:ext cx="4254898" cy="138499"/>
              <a:chOff x="1615442" y="3181056"/>
              <a:chExt cx="4254898" cy="138499"/>
            </a:xfrm>
          </p:grpSpPr>
          <p:sp>
            <p:nvSpPr>
              <p:cNvPr id="159" name="TextBox 158">
                <a:extLst>
                  <a:ext uri="{FF2B5EF4-FFF2-40B4-BE49-F238E27FC236}">
                    <a16:creationId xmlns:a16="http://schemas.microsoft.com/office/drawing/2014/main" id="{E77F8775-5EF5-5DA0-F571-01185669986D}"/>
                  </a:ext>
                </a:extLst>
              </p:cNvPr>
              <p:cNvSpPr txBox="1">
                <a:spLocks/>
              </p:cNvSpPr>
              <p:nvPr/>
            </p:nvSpPr>
            <p:spPr>
              <a:xfrm>
                <a:off x="1615442" y="3181056"/>
                <a:ext cx="913446"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Exchange rate:</a:t>
                </a:r>
              </a:p>
            </p:txBody>
          </p:sp>
          <p:sp>
            <p:nvSpPr>
              <p:cNvPr id="160" name="TextBox 159">
                <a:extLst>
                  <a:ext uri="{FF2B5EF4-FFF2-40B4-BE49-F238E27FC236}">
                    <a16:creationId xmlns:a16="http://schemas.microsoft.com/office/drawing/2014/main" id="{8D2084E0-1F0A-EA53-2101-573D4A0B7D35}"/>
                  </a:ext>
                </a:extLst>
              </p:cNvPr>
              <p:cNvSpPr txBox="1">
                <a:spLocks/>
              </p:cNvSpPr>
              <p:nvPr/>
            </p:nvSpPr>
            <p:spPr>
              <a:xfrm>
                <a:off x="2600326" y="3181056"/>
                <a:ext cx="3270014" cy="138499"/>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N/A</a:t>
                </a:r>
              </a:p>
            </p:txBody>
          </p:sp>
        </p:grpSp>
        <p:grpSp>
          <p:nvGrpSpPr>
            <p:cNvPr id="122" name="Group 121">
              <a:extLst>
                <a:ext uri="{FF2B5EF4-FFF2-40B4-BE49-F238E27FC236}">
                  <a16:creationId xmlns:a16="http://schemas.microsoft.com/office/drawing/2014/main" id="{1B8844CB-0FC0-9D73-DA72-21471BD615A7}"/>
                </a:ext>
              </a:extLst>
            </p:cNvPr>
            <p:cNvGrpSpPr/>
            <p:nvPr/>
          </p:nvGrpSpPr>
          <p:grpSpPr>
            <a:xfrm>
              <a:off x="1615442" y="3330991"/>
              <a:ext cx="4254898" cy="138499"/>
              <a:chOff x="1615442" y="3330991"/>
              <a:chExt cx="4254898" cy="138499"/>
            </a:xfrm>
          </p:grpSpPr>
          <p:sp>
            <p:nvSpPr>
              <p:cNvPr id="162" name="TextBox 161">
                <a:extLst>
                  <a:ext uri="{FF2B5EF4-FFF2-40B4-BE49-F238E27FC236}">
                    <a16:creationId xmlns:a16="http://schemas.microsoft.com/office/drawing/2014/main" id="{76B76856-C654-E263-B4BA-6F7F2F92C6D5}"/>
                  </a:ext>
                </a:extLst>
              </p:cNvPr>
              <p:cNvSpPr txBox="1">
                <a:spLocks/>
              </p:cNvSpPr>
              <p:nvPr/>
            </p:nvSpPr>
            <p:spPr>
              <a:xfrm>
                <a:off x="1615442" y="3330991"/>
                <a:ext cx="913446" cy="13652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Unemployment:</a:t>
                </a:r>
              </a:p>
            </p:txBody>
          </p:sp>
          <p:sp>
            <p:nvSpPr>
              <p:cNvPr id="163" name="TextBox 162">
                <a:extLst>
                  <a:ext uri="{FF2B5EF4-FFF2-40B4-BE49-F238E27FC236}">
                    <a16:creationId xmlns:a16="http://schemas.microsoft.com/office/drawing/2014/main" id="{5056F202-CE90-6AAF-63E3-548B804AE4F1}"/>
                  </a:ext>
                </a:extLst>
              </p:cNvPr>
              <p:cNvSpPr txBox="1">
                <a:spLocks/>
              </p:cNvSpPr>
              <p:nvPr/>
            </p:nvSpPr>
            <p:spPr>
              <a:xfrm>
                <a:off x="2600326" y="3330991"/>
                <a:ext cx="3270014" cy="138499"/>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6.43% (2022)</a:t>
                </a:r>
              </a:p>
            </p:txBody>
          </p:sp>
        </p:grpSp>
        <p:grpSp>
          <p:nvGrpSpPr>
            <p:cNvPr id="121" name="Group 120">
              <a:extLst>
                <a:ext uri="{FF2B5EF4-FFF2-40B4-BE49-F238E27FC236}">
                  <a16:creationId xmlns:a16="http://schemas.microsoft.com/office/drawing/2014/main" id="{6996271A-FA53-38D8-C9B4-8E1C1D06E063}"/>
                </a:ext>
              </a:extLst>
            </p:cNvPr>
            <p:cNvGrpSpPr/>
            <p:nvPr/>
          </p:nvGrpSpPr>
          <p:grpSpPr>
            <a:xfrm>
              <a:off x="1615442" y="3480926"/>
              <a:ext cx="4254898" cy="138499"/>
              <a:chOff x="1615442" y="3480926"/>
              <a:chExt cx="4254898" cy="138499"/>
            </a:xfrm>
          </p:grpSpPr>
          <p:sp>
            <p:nvSpPr>
              <p:cNvPr id="165" name="TextBox 164">
                <a:extLst>
                  <a:ext uri="{FF2B5EF4-FFF2-40B4-BE49-F238E27FC236}">
                    <a16:creationId xmlns:a16="http://schemas.microsoft.com/office/drawing/2014/main" id="{444C5EFD-7B02-49E1-5490-7F10EC8CD8AC}"/>
                  </a:ext>
                </a:extLst>
              </p:cNvPr>
              <p:cNvSpPr txBox="1">
                <a:spLocks/>
              </p:cNvSpPr>
              <p:nvPr/>
            </p:nvSpPr>
            <p:spPr>
              <a:xfrm>
                <a:off x="1615442" y="3480926"/>
                <a:ext cx="913446"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Inflation (CPI):</a:t>
                </a:r>
              </a:p>
            </p:txBody>
          </p:sp>
          <p:sp>
            <p:nvSpPr>
              <p:cNvPr id="166" name="TextBox 165">
                <a:extLst>
                  <a:ext uri="{FF2B5EF4-FFF2-40B4-BE49-F238E27FC236}">
                    <a16:creationId xmlns:a16="http://schemas.microsoft.com/office/drawing/2014/main" id="{0740A040-C3E7-6D3E-153A-B12C72258648}"/>
                  </a:ext>
                </a:extLst>
              </p:cNvPr>
              <p:cNvSpPr txBox="1">
                <a:spLocks/>
              </p:cNvSpPr>
              <p:nvPr/>
            </p:nvSpPr>
            <p:spPr>
              <a:xfrm>
                <a:off x="2600326" y="3480926"/>
                <a:ext cx="3270014" cy="138499"/>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2.1% (2022)</a:t>
                </a:r>
              </a:p>
            </p:txBody>
          </p:sp>
        </p:grpSp>
        <p:pic>
          <p:nvPicPr>
            <p:cNvPr id="184" name="Picture 183">
              <a:extLst>
                <a:ext uri="{FF2B5EF4-FFF2-40B4-BE49-F238E27FC236}">
                  <a16:creationId xmlns:a16="http://schemas.microsoft.com/office/drawing/2014/main" id="{9AF75C72-1351-1D23-D616-0FB01838FB96}"/>
                </a:ext>
              </a:extLst>
            </p:cNvPr>
            <p:cNvPicPr>
              <a:picLocks/>
            </p:cNvPicPr>
            <p:nvPr/>
          </p:nvPicPr>
          <p:blipFill>
            <a:blip r:embed="rId77" cstate="screen">
              <a:extLst>
                <a:ext uri="{28A0092B-C50C-407E-A947-70E740481C1C}">
                  <a14:useLocalDpi xmlns:a14="http://schemas.microsoft.com/office/drawing/2010/main"/>
                </a:ext>
              </a:extLst>
            </a:blip>
            <a:stretch>
              <a:fillRect/>
            </a:stretch>
          </p:blipFill>
          <p:spPr>
            <a:xfrm>
              <a:off x="1615441" y="2734812"/>
              <a:ext cx="259080" cy="167383"/>
            </a:xfrm>
            <a:prstGeom prst="rect">
              <a:avLst/>
            </a:prstGeom>
            <a:ln w="6350">
              <a:solidFill>
                <a:srgbClr val="CCCCCC"/>
              </a:solidFill>
            </a:ln>
          </p:spPr>
        </p:pic>
        <p:grpSp>
          <p:nvGrpSpPr>
            <p:cNvPr id="30" name="Group 29">
              <a:extLst>
                <a:ext uri="{FF2B5EF4-FFF2-40B4-BE49-F238E27FC236}">
                  <a16:creationId xmlns:a16="http://schemas.microsoft.com/office/drawing/2014/main" id="{01DCF41D-C81B-9E91-E9BE-BB08DC5EDC92}"/>
                </a:ext>
              </a:extLst>
            </p:cNvPr>
            <p:cNvGrpSpPr/>
            <p:nvPr/>
          </p:nvGrpSpPr>
          <p:grpSpPr>
            <a:xfrm>
              <a:off x="3740224" y="2751667"/>
              <a:ext cx="2130116" cy="850903"/>
              <a:chOff x="3957324" y="2769132"/>
              <a:chExt cx="2130116" cy="850903"/>
            </a:xfrm>
          </p:grpSpPr>
          <p:sp>
            <p:nvSpPr>
              <p:cNvPr id="16" name="Freeform: Shape 15">
                <a:extLst>
                  <a:ext uri="{FF2B5EF4-FFF2-40B4-BE49-F238E27FC236}">
                    <a16:creationId xmlns:a16="http://schemas.microsoft.com/office/drawing/2014/main" id="{F9B5D8D3-C6A0-E8FB-9318-5C03935D715E}"/>
                  </a:ext>
                </a:extLst>
              </p:cNvPr>
              <p:cNvSpPr/>
              <p:nvPr/>
            </p:nvSpPr>
            <p:spPr>
              <a:xfrm>
                <a:off x="4723765" y="2851785"/>
                <a:ext cx="875665" cy="491490"/>
              </a:xfrm>
              <a:custGeom>
                <a:avLst/>
                <a:gdLst>
                  <a:gd name="connsiteX0" fmla="*/ 1013460 w 1018540"/>
                  <a:gd name="connsiteY0" fmla="*/ 88900 h 624840"/>
                  <a:gd name="connsiteX1" fmla="*/ 0 w 1018540"/>
                  <a:gd name="connsiteY1" fmla="*/ 0 h 624840"/>
                  <a:gd name="connsiteX2" fmla="*/ 0 w 1018540"/>
                  <a:gd name="connsiteY2" fmla="*/ 624840 h 624840"/>
                  <a:gd name="connsiteX3" fmla="*/ 1018540 w 1018540"/>
                  <a:gd name="connsiteY3" fmla="*/ 147320 h 624840"/>
                  <a:gd name="connsiteX4" fmla="*/ 1013460 w 1018540"/>
                  <a:gd name="connsiteY4" fmla="*/ 88900 h 624840"/>
                  <a:gd name="connsiteX0" fmla="*/ 1013460 w 1018540"/>
                  <a:gd name="connsiteY0" fmla="*/ 88900 h 501015"/>
                  <a:gd name="connsiteX1" fmla="*/ 0 w 1018540"/>
                  <a:gd name="connsiteY1" fmla="*/ 0 h 501015"/>
                  <a:gd name="connsiteX2" fmla="*/ 470535 w 1018540"/>
                  <a:gd name="connsiteY2" fmla="*/ 501015 h 501015"/>
                  <a:gd name="connsiteX3" fmla="*/ 1018540 w 1018540"/>
                  <a:gd name="connsiteY3" fmla="*/ 147320 h 501015"/>
                  <a:gd name="connsiteX4" fmla="*/ 1013460 w 1018540"/>
                  <a:gd name="connsiteY4" fmla="*/ 88900 h 501015"/>
                  <a:gd name="connsiteX0" fmla="*/ 691515 w 696595"/>
                  <a:gd name="connsiteY0" fmla="*/ 41275 h 453390"/>
                  <a:gd name="connsiteX1" fmla="*/ 0 w 696595"/>
                  <a:gd name="connsiteY1" fmla="*/ 0 h 453390"/>
                  <a:gd name="connsiteX2" fmla="*/ 148590 w 696595"/>
                  <a:gd name="connsiteY2" fmla="*/ 453390 h 453390"/>
                  <a:gd name="connsiteX3" fmla="*/ 696595 w 696595"/>
                  <a:gd name="connsiteY3" fmla="*/ 99695 h 453390"/>
                  <a:gd name="connsiteX4" fmla="*/ 691515 w 696595"/>
                  <a:gd name="connsiteY4" fmla="*/ 41275 h 453390"/>
                  <a:gd name="connsiteX0" fmla="*/ 691515 w 692785"/>
                  <a:gd name="connsiteY0" fmla="*/ 41275 h 453390"/>
                  <a:gd name="connsiteX1" fmla="*/ 0 w 692785"/>
                  <a:gd name="connsiteY1" fmla="*/ 0 h 453390"/>
                  <a:gd name="connsiteX2" fmla="*/ 148590 w 692785"/>
                  <a:gd name="connsiteY2" fmla="*/ 453390 h 453390"/>
                  <a:gd name="connsiteX3" fmla="*/ 692785 w 692785"/>
                  <a:gd name="connsiteY3" fmla="*/ 76835 h 453390"/>
                  <a:gd name="connsiteX4" fmla="*/ 691515 w 692785"/>
                  <a:gd name="connsiteY4" fmla="*/ 41275 h 453390"/>
                  <a:gd name="connsiteX0" fmla="*/ 874395 w 875665"/>
                  <a:gd name="connsiteY0" fmla="*/ 79375 h 491490"/>
                  <a:gd name="connsiteX1" fmla="*/ 0 w 875665"/>
                  <a:gd name="connsiteY1" fmla="*/ 0 h 491490"/>
                  <a:gd name="connsiteX2" fmla="*/ 331470 w 875665"/>
                  <a:gd name="connsiteY2" fmla="*/ 491490 h 491490"/>
                  <a:gd name="connsiteX3" fmla="*/ 875665 w 875665"/>
                  <a:gd name="connsiteY3" fmla="*/ 114935 h 491490"/>
                  <a:gd name="connsiteX4" fmla="*/ 874395 w 875665"/>
                  <a:gd name="connsiteY4" fmla="*/ 79375 h 491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5665" h="491490">
                    <a:moveTo>
                      <a:pt x="874395" y="79375"/>
                    </a:moveTo>
                    <a:lnTo>
                      <a:pt x="0" y="0"/>
                    </a:lnTo>
                    <a:lnTo>
                      <a:pt x="331470" y="491490"/>
                    </a:lnTo>
                    <a:lnTo>
                      <a:pt x="875665" y="114935"/>
                    </a:lnTo>
                    <a:cubicBezTo>
                      <a:pt x="875242" y="103082"/>
                      <a:pt x="874818" y="91228"/>
                      <a:pt x="874395" y="79375"/>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Freeform 11">
                <a:extLst>
                  <a:ext uri="{FF2B5EF4-FFF2-40B4-BE49-F238E27FC236}">
                    <a16:creationId xmlns:a16="http://schemas.microsoft.com/office/drawing/2014/main" id="{ED43C623-77B2-0000-B9F1-AF0F22E61AA1}"/>
                  </a:ext>
                </a:extLst>
              </p:cNvPr>
              <p:cNvSpPr>
                <a:spLocks noEditPoints="1"/>
              </p:cNvSpPr>
              <p:nvPr/>
            </p:nvSpPr>
            <p:spPr bwMode="auto">
              <a:xfrm>
                <a:off x="5648622" y="3168297"/>
                <a:ext cx="197672" cy="435584"/>
              </a:xfrm>
              <a:custGeom>
                <a:avLst/>
                <a:gdLst>
                  <a:gd name="T0" fmla="*/ 418 w 673"/>
                  <a:gd name="T1" fmla="*/ 65 h 1483"/>
                  <a:gd name="T2" fmla="*/ 512 w 673"/>
                  <a:gd name="T3" fmla="*/ 116 h 1483"/>
                  <a:gd name="T4" fmla="*/ 527 w 673"/>
                  <a:gd name="T5" fmla="*/ 158 h 1483"/>
                  <a:gd name="T6" fmla="*/ 513 w 673"/>
                  <a:gd name="T7" fmla="*/ 204 h 1483"/>
                  <a:gd name="T8" fmla="*/ 597 w 673"/>
                  <a:gd name="T9" fmla="*/ 206 h 1483"/>
                  <a:gd name="T10" fmla="*/ 641 w 673"/>
                  <a:gd name="T11" fmla="*/ 155 h 1483"/>
                  <a:gd name="T12" fmla="*/ 668 w 673"/>
                  <a:gd name="T13" fmla="*/ 155 h 1483"/>
                  <a:gd name="T14" fmla="*/ 658 w 673"/>
                  <a:gd name="T15" fmla="*/ 204 h 1483"/>
                  <a:gd name="T16" fmla="*/ 614 w 673"/>
                  <a:gd name="T17" fmla="*/ 233 h 1483"/>
                  <a:gd name="T18" fmla="*/ 566 w 673"/>
                  <a:gd name="T19" fmla="*/ 287 h 1483"/>
                  <a:gd name="T20" fmla="*/ 529 w 673"/>
                  <a:gd name="T21" fmla="*/ 357 h 1483"/>
                  <a:gd name="T22" fmla="*/ 512 w 673"/>
                  <a:gd name="T23" fmla="*/ 440 h 1483"/>
                  <a:gd name="T24" fmla="*/ 530 w 673"/>
                  <a:gd name="T25" fmla="*/ 502 h 1483"/>
                  <a:gd name="T26" fmla="*/ 566 w 673"/>
                  <a:gd name="T27" fmla="*/ 565 h 1483"/>
                  <a:gd name="T28" fmla="*/ 532 w 673"/>
                  <a:gd name="T29" fmla="*/ 648 h 1483"/>
                  <a:gd name="T30" fmla="*/ 430 w 673"/>
                  <a:gd name="T31" fmla="*/ 677 h 1483"/>
                  <a:gd name="T32" fmla="*/ 384 w 673"/>
                  <a:gd name="T33" fmla="*/ 691 h 1483"/>
                  <a:gd name="T34" fmla="*/ 376 w 673"/>
                  <a:gd name="T35" fmla="*/ 738 h 1483"/>
                  <a:gd name="T36" fmla="*/ 320 w 673"/>
                  <a:gd name="T37" fmla="*/ 767 h 1483"/>
                  <a:gd name="T38" fmla="*/ 286 w 673"/>
                  <a:gd name="T39" fmla="*/ 774 h 1483"/>
                  <a:gd name="T40" fmla="*/ 309 w 673"/>
                  <a:gd name="T41" fmla="*/ 832 h 1483"/>
                  <a:gd name="T42" fmla="*/ 330 w 673"/>
                  <a:gd name="T43" fmla="*/ 849 h 1483"/>
                  <a:gd name="T44" fmla="*/ 311 w 673"/>
                  <a:gd name="T45" fmla="*/ 856 h 1483"/>
                  <a:gd name="T46" fmla="*/ 281 w 673"/>
                  <a:gd name="T47" fmla="*/ 920 h 1483"/>
                  <a:gd name="T48" fmla="*/ 248 w 673"/>
                  <a:gd name="T49" fmla="*/ 952 h 1483"/>
                  <a:gd name="T50" fmla="*/ 202 w 673"/>
                  <a:gd name="T51" fmla="*/ 1002 h 1483"/>
                  <a:gd name="T52" fmla="*/ 265 w 673"/>
                  <a:gd name="T53" fmla="*/ 1065 h 1483"/>
                  <a:gd name="T54" fmla="*/ 235 w 673"/>
                  <a:gd name="T55" fmla="*/ 1121 h 1483"/>
                  <a:gd name="T56" fmla="*/ 192 w 673"/>
                  <a:gd name="T57" fmla="*/ 1203 h 1483"/>
                  <a:gd name="T58" fmla="*/ 155 w 673"/>
                  <a:gd name="T59" fmla="*/ 1279 h 1483"/>
                  <a:gd name="T60" fmla="*/ 56 w 673"/>
                  <a:gd name="T61" fmla="*/ 1308 h 1483"/>
                  <a:gd name="T62" fmla="*/ 43 w 673"/>
                  <a:gd name="T63" fmla="*/ 1242 h 1483"/>
                  <a:gd name="T64" fmla="*/ 2 w 673"/>
                  <a:gd name="T65" fmla="*/ 1201 h 1483"/>
                  <a:gd name="T66" fmla="*/ 36 w 673"/>
                  <a:gd name="T67" fmla="*/ 1131 h 1483"/>
                  <a:gd name="T68" fmla="*/ 43 w 673"/>
                  <a:gd name="T69" fmla="*/ 1072 h 1483"/>
                  <a:gd name="T70" fmla="*/ 60 w 673"/>
                  <a:gd name="T71" fmla="*/ 1009 h 1483"/>
                  <a:gd name="T72" fmla="*/ 66 w 673"/>
                  <a:gd name="T73" fmla="*/ 951 h 1483"/>
                  <a:gd name="T74" fmla="*/ 85 w 673"/>
                  <a:gd name="T75" fmla="*/ 929 h 1483"/>
                  <a:gd name="T76" fmla="*/ 68 w 673"/>
                  <a:gd name="T77" fmla="*/ 886 h 1483"/>
                  <a:gd name="T78" fmla="*/ 53 w 673"/>
                  <a:gd name="T79" fmla="*/ 830 h 1483"/>
                  <a:gd name="T80" fmla="*/ 58 w 673"/>
                  <a:gd name="T81" fmla="*/ 774 h 1483"/>
                  <a:gd name="T82" fmla="*/ 65 w 673"/>
                  <a:gd name="T83" fmla="*/ 716 h 1483"/>
                  <a:gd name="T84" fmla="*/ 90 w 673"/>
                  <a:gd name="T85" fmla="*/ 663 h 1483"/>
                  <a:gd name="T86" fmla="*/ 83 w 673"/>
                  <a:gd name="T87" fmla="*/ 597 h 1483"/>
                  <a:gd name="T88" fmla="*/ 107 w 673"/>
                  <a:gd name="T89" fmla="*/ 554 h 1483"/>
                  <a:gd name="T90" fmla="*/ 119 w 673"/>
                  <a:gd name="T91" fmla="*/ 486 h 1483"/>
                  <a:gd name="T92" fmla="*/ 121 w 673"/>
                  <a:gd name="T93" fmla="*/ 427 h 1483"/>
                  <a:gd name="T94" fmla="*/ 104 w 673"/>
                  <a:gd name="T95" fmla="*/ 354 h 1483"/>
                  <a:gd name="T96" fmla="*/ 126 w 673"/>
                  <a:gd name="T97" fmla="*/ 304 h 1483"/>
                  <a:gd name="T98" fmla="*/ 138 w 673"/>
                  <a:gd name="T99" fmla="*/ 243 h 1483"/>
                  <a:gd name="T100" fmla="*/ 175 w 673"/>
                  <a:gd name="T101" fmla="*/ 196 h 1483"/>
                  <a:gd name="T102" fmla="*/ 170 w 673"/>
                  <a:gd name="T103" fmla="*/ 110 h 1483"/>
                  <a:gd name="T104" fmla="*/ 253 w 673"/>
                  <a:gd name="T105" fmla="*/ 2 h 1483"/>
                  <a:gd name="T106" fmla="*/ 315 w 673"/>
                  <a:gd name="T107" fmla="*/ 32 h 1483"/>
                  <a:gd name="T108" fmla="*/ 180 w 673"/>
                  <a:gd name="T109" fmla="*/ 1362 h 1483"/>
                  <a:gd name="T110" fmla="*/ 213 w 673"/>
                  <a:gd name="T111" fmla="*/ 1425 h 1483"/>
                  <a:gd name="T112" fmla="*/ 282 w 673"/>
                  <a:gd name="T113" fmla="*/ 1466 h 1483"/>
                  <a:gd name="T114" fmla="*/ 223 w 673"/>
                  <a:gd name="T115" fmla="*/ 1475 h 1483"/>
                  <a:gd name="T116" fmla="*/ 320 w 673"/>
                  <a:gd name="T117" fmla="*/ 1465 h 1483"/>
                  <a:gd name="T118" fmla="*/ 301 w 673"/>
                  <a:gd name="T119" fmla="*/ 1466 h 1483"/>
                  <a:gd name="T120" fmla="*/ 206 w 673"/>
                  <a:gd name="T121" fmla="*/ 1473 h 1483"/>
                  <a:gd name="T122" fmla="*/ 269 w 673"/>
                  <a:gd name="T123" fmla="*/ 954 h 1483"/>
                  <a:gd name="T124" fmla="*/ 383 w 673"/>
                  <a:gd name="T125" fmla="*/ 721 h 1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73" h="1483">
                    <a:moveTo>
                      <a:pt x="369" y="17"/>
                    </a:moveTo>
                    <a:lnTo>
                      <a:pt x="371" y="17"/>
                    </a:lnTo>
                    <a:lnTo>
                      <a:pt x="371" y="19"/>
                    </a:lnTo>
                    <a:lnTo>
                      <a:pt x="369" y="19"/>
                    </a:lnTo>
                    <a:lnTo>
                      <a:pt x="371" y="19"/>
                    </a:lnTo>
                    <a:lnTo>
                      <a:pt x="372" y="20"/>
                    </a:lnTo>
                    <a:lnTo>
                      <a:pt x="372" y="22"/>
                    </a:lnTo>
                    <a:lnTo>
                      <a:pt x="374" y="22"/>
                    </a:lnTo>
                    <a:lnTo>
                      <a:pt x="376" y="22"/>
                    </a:lnTo>
                    <a:lnTo>
                      <a:pt x="376" y="24"/>
                    </a:lnTo>
                    <a:lnTo>
                      <a:pt x="377" y="24"/>
                    </a:lnTo>
                    <a:lnTo>
                      <a:pt x="379" y="24"/>
                    </a:lnTo>
                    <a:lnTo>
                      <a:pt x="379" y="25"/>
                    </a:lnTo>
                    <a:lnTo>
                      <a:pt x="379" y="24"/>
                    </a:lnTo>
                    <a:lnTo>
                      <a:pt x="379" y="25"/>
                    </a:lnTo>
                    <a:lnTo>
                      <a:pt x="381" y="25"/>
                    </a:lnTo>
                    <a:lnTo>
                      <a:pt x="379" y="25"/>
                    </a:lnTo>
                    <a:lnTo>
                      <a:pt x="381" y="25"/>
                    </a:lnTo>
                    <a:lnTo>
                      <a:pt x="381" y="27"/>
                    </a:lnTo>
                    <a:lnTo>
                      <a:pt x="383" y="27"/>
                    </a:lnTo>
                    <a:lnTo>
                      <a:pt x="384" y="27"/>
                    </a:lnTo>
                    <a:lnTo>
                      <a:pt x="383" y="29"/>
                    </a:lnTo>
                    <a:lnTo>
                      <a:pt x="384" y="29"/>
                    </a:lnTo>
                    <a:lnTo>
                      <a:pt x="383" y="29"/>
                    </a:lnTo>
                    <a:lnTo>
                      <a:pt x="383" y="31"/>
                    </a:lnTo>
                    <a:lnTo>
                      <a:pt x="383" y="32"/>
                    </a:lnTo>
                    <a:lnTo>
                      <a:pt x="384" y="31"/>
                    </a:lnTo>
                    <a:lnTo>
                      <a:pt x="384" y="32"/>
                    </a:lnTo>
                    <a:lnTo>
                      <a:pt x="384" y="34"/>
                    </a:lnTo>
                    <a:lnTo>
                      <a:pt x="384" y="36"/>
                    </a:lnTo>
                    <a:lnTo>
                      <a:pt x="386" y="37"/>
                    </a:lnTo>
                    <a:lnTo>
                      <a:pt x="388" y="39"/>
                    </a:lnTo>
                    <a:lnTo>
                      <a:pt x="388" y="41"/>
                    </a:lnTo>
                    <a:lnTo>
                      <a:pt x="389" y="42"/>
                    </a:lnTo>
                    <a:lnTo>
                      <a:pt x="389" y="44"/>
                    </a:lnTo>
                    <a:lnTo>
                      <a:pt x="391" y="44"/>
                    </a:lnTo>
                    <a:lnTo>
                      <a:pt x="391" y="46"/>
                    </a:lnTo>
                    <a:lnTo>
                      <a:pt x="393" y="46"/>
                    </a:lnTo>
                    <a:lnTo>
                      <a:pt x="394" y="48"/>
                    </a:lnTo>
                    <a:lnTo>
                      <a:pt x="396" y="48"/>
                    </a:lnTo>
                    <a:lnTo>
                      <a:pt x="396" y="49"/>
                    </a:lnTo>
                    <a:lnTo>
                      <a:pt x="398" y="49"/>
                    </a:lnTo>
                    <a:lnTo>
                      <a:pt x="398" y="51"/>
                    </a:lnTo>
                    <a:lnTo>
                      <a:pt x="400" y="51"/>
                    </a:lnTo>
                    <a:lnTo>
                      <a:pt x="400" y="53"/>
                    </a:lnTo>
                    <a:lnTo>
                      <a:pt x="401" y="53"/>
                    </a:lnTo>
                    <a:lnTo>
                      <a:pt x="401" y="54"/>
                    </a:lnTo>
                    <a:lnTo>
                      <a:pt x="403" y="54"/>
                    </a:lnTo>
                    <a:lnTo>
                      <a:pt x="405" y="54"/>
                    </a:lnTo>
                    <a:lnTo>
                      <a:pt x="405" y="56"/>
                    </a:lnTo>
                    <a:lnTo>
                      <a:pt x="406" y="56"/>
                    </a:lnTo>
                    <a:lnTo>
                      <a:pt x="406" y="58"/>
                    </a:lnTo>
                    <a:lnTo>
                      <a:pt x="408" y="58"/>
                    </a:lnTo>
                    <a:lnTo>
                      <a:pt x="408" y="59"/>
                    </a:lnTo>
                    <a:lnTo>
                      <a:pt x="410" y="59"/>
                    </a:lnTo>
                    <a:lnTo>
                      <a:pt x="410" y="61"/>
                    </a:lnTo>
                    <a:lnTo>
                      <a:pt x="411" y="61"/>
                    </a:lnTo>
                    <a:lnTo>
                      <a:pt x="413" y="61"/>
                    </a:lnTo>
                    <a:lnTo>
                      <a:pt x="415" y="61"/>
                    </a:lnTo>
                    <a:lnTo>
                      <a:pt x="415" y="63"/>
                    </a:lnTo>
                    <a:lnTo>
                      <a:pt x="417" y="63"/>
                    </a:lnTo>
                    <a:lnTo>
                      <a:pt x="417" y="65"/>
                    </a:lnTo>
                    <a:lnTo>
                      <a:pt x="418" y="65"/>
                    </a:lnTo>
                    <a:lnTo>
                      <a:pt x="420" y="65"/>
                    </a:lnTo>
                    <a:lnTo>
                      <a:pt x="420" y="66"/>
                    </a:lnTo>
                    <a:lnTo>
                      <a:pt x="422" y="66"/>
                    </a:lnTo>
                    <a:lnTo>
                      <a:pt x="422" y="68"/>
                    </a:lnTo>
                    <a:lnTo>
                      <a:pt x="422" y="70"/>
                    </a:lnTo>
                    <a:lnTo>
                      <a:pt x="423" y="70"/>
                    </a:lnTo>
                    <a:lnTo>
                      <a:pt x="423" y="71"/>
                    </a:lnTo>
                    <a:lnTo>
                      <a:pt x="425" y="73"/>
                    </a:lnTo>
                    <a:lnTo>
                      <a:pt x="425" y="75"/>
                    </a:lnTo>
                    <a:lnTo>
                      <a:pt x="427" y="75"/>
                    </a:lnTo>
                    <a:lnTo>
                      <a:pt x="427" y="73"/>
                    </a:lnTo>
                    <a:lnTo>
                      <a:pt x="428" y="75"/>
                    </a:lnTo>
                    <a:lnTo>
                      <a:pt x="430" y="76"/>
                    </a:lnTo>
                    <a:lnTo>
                      <a:pt x="432" y="76"/>
                    </a:lnTo>
                    <a:lnTo>
                      <a:pt x="434" y="76"/>
                    </a:lnTo>
                    <a:lnTo>
                      <a:pt x="435" y="76"/>
                    </a:lnTo>
                    <a:lnTo>
                      <a:pt x="435" y="78"/>
                    </a:lnTo>
                    <a:lnTo>
                      <a:pt x="437" y="78"/>
                    </a:lnTo>
                    <a:lnTo>
                      <a:pt x="439" y="78"/>
                    </a:lnTo>
                    <a:lnTo>
                      <a:pt x="439" y="80"/>
                    </a:lnTo>
                    <a:lnTo>
                      <a:pt x="440" y="80"/>
                    </a:lnTo>
                    <a:lnTo>
                      <a:pt x="442" y="80"/>
                    </a:lnTo>
                    <a:lnTo>
                      <a:pt x="444" y="80"/>
                    </a:lnTo>
                    <a:lnTo>
                      <a:pt x="445" y="80"/>
                    </a:lnTo>
                    <a:lnTo>
                      <a:pt x="445" y="82"/>
                    </a:lnTo>
                    <a:lnTo>
                      <a:pt x="447" y="82"/>
                    </a:lnTo>
                    <a:lnTo>
                      <a:pt x="449" y="83"/>
                    </a:lnTo>
                    <a:lnTo>
                      <a:pt x="451" y="83"/>
                    </a:lnTo>
                    <a:lnTo>
                      <a:pt x="452" y="83"/>
                    </a:lnTo>
                    <a:lnTo>
                      <a:pt x="454" y="83"/>
                    </a:lnTo>
                    <a:lnTo>
                      <a:pt x="456" y="82"/>
                    </a:lnTo>
                    <a:lnTo>
                      <a:pt x="457" y="82"/>
                    </a:lnTo>
                    <a:lnTo>
                      <a:pt x="466" y="87"/>
                    </a:lnTo>
                    <a:lnTo>
                      <a:pt x="473" y="92"/>
                    </a:lnTo>
                    <a:lnTo>
                      <a:pt x="476" y="93"/>
                    </a:lnTo>
                    <a:lnTo>
                      <a:pt x="478" y="95"/>
                    </a:lnTo>
                    <a:lnTo>
                      <a:pt x="478" y="97"/>
                    </a:lnTo>
                    <a:lnTo>
                      <a:pt x="479" y="97"/>
                    </a:lnTo>
                    <a:lnTo>
                      <a:pt x="481" y="99"/>
                    </a:lnTo>
                    <a:lnTo>
                      <a:pt x="483" y="100"/>
                    </a:lnTo>
                    <a:lnTo>
                      <a:pt x="485" y="100"/>
                    </a:lnTo>
                    <a:lnTo>
                      <a:pt x="485" y="102"/>
                    </a:lnTo>
                    <a:lnTo>
                      <a:pt x="486" y="102"/>
                    </a:lnTo>
                    <a:lnTo>
                      <a:pt x="488" y="104"/>
                    </a:lnTo>
                    <a:lnTo>
                      <a:pt x="490" y="104"/>
                    </a:lnTo>
                    <a:lnTo>
                      <a:pt x="491" y="105"/>
                    </a:lnTo>
                    <a:lnTo>
                      <a:pt x="493" y="105"/>
                    </a:lnTo>
                    <a:lnTo>
                      <a:pt x="495" y="107"/>
                    </a:lnTo>
                    <a:lnTo>
                      <a:pt x="496" y="107"/>
                    </a:lnTo>
                    <a:lnTo>
                      <a:pt x="496" y="109"/>
                    </a:lnTo>
                    <a:lnTo>
                      <a:pt x="498" y="109"/>
                    </a:lnTo>
                    <a:lnTo>
                      <a:pt x="498" y="110"/>
                    </a:lnTo>
                    <a:lnTo>
                      <a:pt x="500" y="110"/>
                    </a:lnTo>
                    <a:lnTo>
                      <a:pt x="502" y="110"/>
                    </a:lnTo>
                    <a:lnTo>
                      <a:pt x="503" y="110"/>
                    </a:lnTo>
                    <a:lnTo>
                      <a:pt x="503" y="112"/>
                    </a:lnTo>
                    <a:lnTo>
                      <a:pt x="505" y="112"/>
                    </a:lnTo>
                    <a:lnTo>
                      <a:pt x="507" y="112"/>
                    </a:lnTo>
                    <a:lnTo>
                      <a:pt x="508" y="112"/>
                    </a:lnTo>
                    <a:lnTo>
                      <a:pt x="510" y="112"/>
                    </a:lnTo>
                    <a:lnTo>
                      <a:pt x="510" y="114"/>
                    </a:lnTo>
                    <a:lnTo>
                      <a:pt x="512" y="114"/>
                    </a:lnTo>
                    <a:lnTo>
                      <a:pt x="512" y="116"/>
                    </a:lnTo>
                    <a:lnTo>
                      <a:pt x="513" y="116"/>
                    </a:lnTo>
                    <a:lnTo>
                      <a:pt x="513" y="117"/>
                    </a:lnTo>
                    <a:lnTo>
                      <a:pt x="515" y="117"/>
                    </a:lnTo>
                    <a:lnTo>
                      <a:pt x="515" y="119"/>
                    </a:lnTo>
                    <a:lnTo>
                      <a:pt x="515" y="117"/>
                    </a:lnTo>
                    <a:lnTo>
                      <a:pt x="517" y="117"/>
                    </a:lnTo>
                    <a:lnTo>
                      <a:pt x="517" y="116"/>
                    </a:lnTo>
                    <a:lnTo>
                      <a:pt x="519" y="116"/>
                    </a:lnTo>
                    <a:lnTo>
                      <a:pt x="520" y="117"/>
                    </a:lnTo>
                    <a:lnTo>
                      <a:pt x="522" y="117"/>
                    </a:lnTo>
                    <a:lnTo>
                      <a:pt x="522" y="119"/>
                    </a:lnTo>
                    <a:lnTo>
                      <a:pt x="524" y="119"/>
                    </a:lnTo>
                    <a:lnTo>
                      <a:pt x="524" y="121"/>
                    </a:lnTo>
                    <a:lnTo>
                      <a:pt x="525" y="119"/>
                    </a:lnTo>
                    <a:lnTo>
                      <a:pt x="525" y="121"/>
                    </a:lnTo>
                    <a:lnTo>
                      <a:pt x="525" y="119"/>
                    </a:lnTo>
                    <a:lnTo>
                      <a:pt x="525" y="121"/>
                    </a:lnTo>
                    <a:lnTo>
                      <a:pt x="525" y="119"/>
                    </a:lnTo>
                    <a:lnTo>
                      <a:pt x="527" y="121"/>
                    </a:lnTo>
                    <a:lnTo>
                      <a:pt x="529" y="121"/>
                    </a:lnTo>
                    <a:lnTo>
                      <a:pt x="530" y="121"/>
                    </a:lnTo>
                    <a:lnTo>
                      <a:pt x="532" y="122"/>
                    </a:lnTo>
                    <a:lnTo>
                      <a:pt x="532" y="124"/>
                    </a:lnTo>
                    <a:lnTo>
                      <a:pt x="534" y="124"/>
                    </a:lnTo>
                    <a:lnTo>
                      <a:pt x="534" y="126"/>
                    </a:lnTo>
                    <a:lnTo>
                      <a:pt x="536" y="126"/>
                    </a:lnTo>
                    <a:lnTo>
                      <a:pt x="534" y="126"/>
                    </a:lnTo>
                    <a:lnTo>
                      <a:pt x="536" y="127"/>
                    </a:lnTo>
                    <a:lnTo>
                      <a:pt x="536" y="129"/>
                    </a:lnTo>
                    <a:lnTo>
                      <a:pt x="537" y="129"/>
                    </a:lnTo>
                    <a:lnTo>
                      <a:pt x="536" y="129"/>
                    </a:lnTo>
                    <a:lnTo>
                      <a:pt x="536" y="131"/>
                    </a:lnTo>
                    <a:lnTo>
                      <a:pt x="537" y="131"/>
                    </a:lnTo>
                    <a:lnTo>
                      <a:pt x="537" y="133"/>
                    </a:lnTo>
                    <a:lnTo>
                      <a:pt x="539" y="133"/>
                    </a:lnTo>
                    <a:lnTo>
                      <a:pt x="541" y="133"/>
                    </a:lnTo>
                    <a:lnTo>
                      <a:pt x="541" y="134"/>
                    </a:lnTo>
                    <a:lnTo>
                      <a:pt x="541" y="136"/>
                    </a:lnTo>
                    <a:lnTo>
                      <a:pt x="541" y="138"/>
                    </a:lnTo>
                    <a:lnTo>
                      <a:pt x="541" y="139"/>
                    </a:lnTo>
                    <a:lnTo>
                      <a:pt x="539" y="139"/>
                    </a:lnTo>
                    <a:lnTo>
                      <a:pt x="539" y="141"/>
                    </a:lnTo>
                    <a:lnTo>
                      <a:pt x="537" y="141"/>
                    </a:lnTo>
                    <a:lnTo>
                      <a:pt x="537" y="143"/>
                    </a:lnTo>
                    <a:lnTo>
                      <a:pt x="536" y="143"/>
                    </a:lnTo>
                    <a:lnTo>
                      <a:pt x="534" y="144"/>
                    </a:lnTo>
                    <a:lnTo>
                      <a:pt x="536" y="144"/>
                    </a:lnTo>
                    <a:lnTo>
                      <a:pt x="536" y="146"/>
                    </a:lnTo>
                    <a:lnTo>
                      <a:pt x="534" y="146"/>
                    </a:lnTo>
                    <a:lnTo>
                      <a:pt x="532" y="146"/>
                    </a:lnTo>
                    <a:lnTo>
                      <a:pt x="532" y="148"/>
                    </a:lnTo>
                    <a:lnTo>
                      <a:pt x="534" y="148"/>
                    </a:lnTo>
                    <a:lnTo>
                      <a:pt x="534" y="150"/>
                    </a:lnTo>
                    <a:lnTo>
                      <a:pt x="532" y="150"/>
                    </a:lnTo>
                    <a:lnTo>
                      <a:pt x="530" y="150"/>
                    </a:lnTo>
                    <a:lnTo>
                      <a:pt x="530" y="151"/>
                    </a:lnTo>
                    <a:lnTo>
                      <a:pt x="532" y="153"/>
                    </a:lnTo>
                    <a:lnTo>
                      <a:pt x="530" y="153"/>
                    </a:lnTo>
                    <a:lnTo>
                      <a:pt x="530" y="155"/>
                    </a:lnTo>
                    <a:lnTo>
                      <a:pt x="530" y="156"/>
                    </a:lnTo>
                    <a:lnTo>
                      <a:pt x="529" y="156"/>
                    </a:lnTo>
                    <a:lnTo>
                      <a:pt x="529" y="158"/>
                    </a:lnTo>
                    <a:lnTo>
                      <a:pt x="527" y="158"/>
                    </a:lnTo>
                    <a:lnTo>
                      <a:pt x="527" y="160"/>
                    </a:lnTo>
                    <a:lnTo>
                      <a:pt x="525" y="160"/>
                    </a:lnTo>
                    <a:lnTo>
                      <a:pt x="524" y="160"/>
                    </a:lnTo>
                    <a:lnTo>
                      <a:pt x="524" y="161"/>
                    </a:lnTo>
                    <a:lnTo>
                      <a:pt x="522" y="161"/>
                    </a:lnTo>
                    <a:lnTo>
                      <a:pt x="522" y="163"/>
                    </a:lnTo>
                    <a:lnTo>
                      <a:pt x="520" y="163"/>
                    </a:lnTo>
                    <a:lnTo>
                      <a:pt x="522" y="163"/>
                    </a:lnTo>
                    <a:lnTo>
                      <a:pt x="522" y="165"/>
                    </a:lnTo>
                    <a:lnTo>
                      <a:pt x="520" y="165"/>
                    </a:lnTo>
                    <a:lnTo>
                      <a:pt x="520" y="167"/>
                    </a:lnTo>
                    <a:lnTo>
                      <a:pt x="520" y="168"/>
                    </a:lnTo>
                    <a:lnTo>
                      <a:pt x="520" y="170"/>
                    </a:lnTo>
                    <a:lnTo>
                      <a:pt x="519" y="170"/>
                    </a:lnTo>
                    <a:lnTo>
                      <a:pt x="519" y="172"/>
                    </a:lnTo>
                    <a:lnTo>
                      <a:pt x="520" y="172"/>
                    </a:lnTo>
                    <a:lnTo>
                      <a:pt x="520" y="173"/>
                    </a:lnTo>
                    <a:lnTo>
                      <a:pt x="519" y="173"/>
                    </a:lnTo>
                    <a:lnTo>
                      <a:pt x="519" y="175"/>
                    </a:lnTo>
                    <a:lnTo>
                      <a:pt x="519" y="177"/>
                    </a:lnTo>
                    <a:lnTo>
                      <a:pt x="520" y="177"/>
                    </a:lnTo>
                    <a:lnTo>
                      <a:pt x="520" y="178"/>
                    </a:lnTo>
                    <a:lnTo>
                      <a:pt x="519" y="178"/>
                    </a:lnTo>
                    <a:lnTo>
                      <a:pt x="520" y="180"/>
                    </a:lnTo>
                    <a:lnTo>
                      <a:pt x="519" y="180"/>
                    </a:lnTo>
                    <a:lnTo>
                      <a:pt x="517" y="180"/>
                    </a:lnTo>
                    <a:lnTo>
                      <a:pt x="517" y="182"/>
                    </a:lnTo>
                    <a:lnTo>
                      <a:pt x="519" y="184"/>
                    </a:lnTo>
                    <a:lnTo>
                      <a:pt x="517" y="184"/>
                    </a:lnTo>
                    <a:lnTo>
                      <a:pt x="517" y="185"/>
                    </a:lnTo>
                    <a:lnTo>
                      <a:pt x="515" y="185"/>
                    </a:lnTo>
                    <a:lnTo>
                      <a:pt x="515" y="187"/>
                    </a:lnTo>
                    <a:lnTo>
                      <a:pt x="515" y="189"/>
                    </a:lnTo>
                    <a:lnTo>
                      <a:pt x="513" y="189"/>
                    </a:lnTo>
                    <a:lnTo>
                      <a:pt x="513" y="190"/>
                    </a:lnTo>
                    <a:lnTo>
                      <a:pt x="512" y="190"/>
                    </a:lnTo>
                    <a:lnTo>
                      <a:pt x="510" y="190"/>
                    </a:lnTo>
                    <a:lnTo>
                      <a:pt x="510" y="192"/>
                    </a:lnTo>
                    <a:lnTo>
                      <a:pt x="510" y="194"/>
                    </a:lnTo>
                    <a:lnTo>
                      <a:pt x="508" y="194"/>
                    </a:lnTo>
                    <a:lnTo>
                      <a:pt x="510" y="196"/>
                    </a:lnTo>
                    <a:lnTo>
                      <a:pt x="508" y="196"/>
                    </a:lnTo>
                    <a:lnTo>
                      <a:pt x="507" y="196"/>
                    </a:lnTo>
                    <a:lnTo>
                      <a:pt x="508" y="196"/>
                    </a:lnTo>
                    <a:lnTo>
                      <a:pt x="507" y="197"/>
                    </a:lnTo>
                    <a:lnTo>
                      <a:pt x="508" y="197"/>
                    </a:lnTo>
                    <a:lnTo>
                      <a:pt x="507" y="197"/>
                    </a:lnTo>
                    <a:lnTo>
                      <a:pt x="505" y="197"/>
                    </a:lnTo>
                    <a:lnTo>
                      <a:pt x="505" y="199"/>
                    </a:lnTo>
                    <a:lnTo>
                      <a:pt x="503" y="199"/>
                    </a:lnTo>
                    <a:lnTo>
                      <a:pt x="503" y="201"/>
                    </a:lnTo>
                    <a:lnTo>
                      <a:pt x="505" y="201"/>
                    </a:lnTo>
                    <a:lnTo>
                      <a:pt x="505" y="202"/>
                    </a:lnTo>
                    <a:lnTo>
                      <a:pt x="507" y="202"/>
                    </a:lnTo>
                    <a:lnTo>
                      <a:pt x="507" y="204"/>
                    </a:lnTo>
                    <a:lnTo>
                      <a:pt x="505" y="204"/>
                    </a:lnTo>
                    <a:lnTo>
                      <a:pt x="505" y="206"/>
                    </a:lnTo>
                    <a:lnTo>
                      <a:pt x="507" y="206"/>
                    </a:lnTo>
                    <a:lnTo>
                      <a:pt x="507" y="204"/>
                    </a:lnTo>
                    <a:lnTo>
                      <a:pt x="508" y="204"/>
                    </a:lnTo>
                    <a:lnTo>
                      <a:pt x="510" y="204"/>
                    </a:lnTo>
                    <a:lnTo>
                      <a:pt x="512" y="204"/>
                    </a:lnTo>
                    <a:lnTo>
                      <a:pt x="513" y="204"/>
                    </a:lnTo>
                    <a:lnTo>
                      <a:pt x="515" y="204"/>
                    </a:lnTo>
                    <a:lnTo>
                      <a:pt x="517" y="204"/>
                    </a:lnTo>
                    <a:lnTo>
                      <a:pt x="519" y="204"/>
                    </a:lnTo>
                    <a:lnTo>
                      <a:pt x="520" y="204"/>
                    </a:lnTo>
                    <a:lnTo>
                      <a:pt x="522" y="204"/>
                    </a:lnTo>
                    <a:lnTo>
                      <a:pt x="524" y="204"/>
                    </a:lnTo>
                    <a:lnTo>
                      <a:pt x="525" y="204"/>
                    </a:lnTo>
                    <a:lnTo>
                      <a:pt x="527" y="204"/>
                    </a:lnTo>
                    <a:lnTo>
                      <a:pt x="529" y="204"/>
                    </a:lnTo>
                    <a:lnTo>
                      <a:pt x="530" y="204"/>
                    </a:lnTo>
                    <a:lnTo>
                      <a:pt x="532" y="206"/>
                    </a:lnTo>
                    <a:lnTo>
                      <a:pt x="534" y="206"/>
                    </a:lnTo>
                    <a:lnTo>
                      <a:pt x="536" y="206"/>
                    </a:lnTo>
                    <a:lnTo>
                      <a:pt x="537" y="206"/>
                    </a:lnTo>
                    <a:lnTo>
                      <a:pt x="537" y="207"/>
                    </a:lnTo>
                    <a:lnTo>
                      <a:pt x="539" y="207"/>
                    </a:lnTo>
                    <a:lnTo>
                      <a:pt x="541" y="209"/>
                    </a:lnTo>
                    <a:lnTo>
                      <a:pt x="542" y="209"/>
                    </a:lnTo>
                    <a:lnTo>
                      <a:pt x="542" y="211"/>
                    </a:lnTo>
                    <a:lnTo>
                      <a:pt x="544" y="211"/>
                    </a:lnTo>
                    <a:lnTo>
                      <a:pt x="546" y="211"/>
                    </a:lnTo>
                    <a:lnTo>
                      <a:pt x="546" y="209"/>
                    </a:lnTo>
                    <a:lnTo>
                      <a:pt x="547" y="209"/>
                    </a:lnTo>
                    <a:lnTo>
                      <a:pt x="549" y="209"/>
                    </a:lnTo>
                    <a:lnTo>
                      <a:pt x="551" y="211"/>
                    </a:lnTo>
                    <a:lnTo>
                      <a:pt x="553" y="211"/>
                    </a:lnTo>
                    <a:lnTo>
                      <a:pt x="554" y="211"/>
                    </a:lnTo>
                    <a:lnTo>
                      <a:pt x="556" y="213"/>
                    </a:lnTo>
                    <a:lnTo>
                      <a:pt x="558" y="213"/>
                    </a:lnTo>
                    <a:lnTo>
                      <a:pt x="559" y="213"/>
                    </a:lnTo>
                    <a:lnTo>
                      <a:pt x="559" y="211"/>
                    </a:lnTo>
                    <a:lnTo>
                      <a:pt x="561" y="211"/>
                    </a:lnTo>
                    <a:lnTo>
                      <a:pt x="561" y="209"/>
                    </a:lnTo>
                    <a:lnTo>
                      <a:pt x="563" y="209"/>
                    </a:lnTo>
                    <a:lnTo>
                      <a:pt x="564" y="209"/>
                    </a:lnTo>
                    <a:lnTo>
                      <a:pt x="564" y="211"/>
                    </a:lnTo>
                    <a:lnTo>
                      <a:pt x="566" y="211"/>
                    </a:lnTo>
                    <a:lnTo>
                      <a:pt x="568" y="213"/>
                    </a:lnTo>
                    <a:lnTo>
                      <a:pt x="570" y="213"/>
                    </a:lnTo>
                    <a:lnTo>
                      <a:pt x="570" y="211"/>
                    </a:lnTo>
                    <a:lnTo>
                      <a:pt x="571" y="211"/>
                    </a:lnTo>
                    <a:lnTo>
                      <a:pt x="573" y="211"/>
                    </a:lnTo>
                    <a:lnTo>
                      <a:pt x="575" y="211"/>
                    </a:lnTo>
                    <a:lnTo>
                      <a:pt x="576" y="211"/>
                    </a:lnTo>
                    <a:lnTo>
                      <a:pt x="576" y="213"/>
                    </a:lnTo>
                    <a:lnTo>
                      <a:pt x="578" y="213"/>
                    </a:lnTo>
                    <a:lnTo>
                      <a:pt x="578" y="214"/>
                    </a:lnTo>
                    <a:lnTo>
                      <a:pt x="581" y="216"/>
                    </a:lnTo>
                    <a:lnTo>
                      <a:pt x="581" y="214"/>
                    </a:lnTo>
                    <a:lnTo>
                      <a:pt x="583" y="214"/>
                    </a:lnTo>
                    <a:lnTo>
                      <a:pt x="583" y="213"/>
                    </a:lnTo>
                    <a:lnTo>
                      <a:pt x="585" y="211"/>
                    </a:lnTo>
                    <a:lnTo>
                      <a:pt x="583" y="211"/>
                    </a:lnTo>
                    <a:lnTo>
                      <a:pt x="583" y="209"/>
                    </a:lnTo>
                    <a:lnTo>
                      <a:pt x="585" y="209"/>
                    </a:lnTo>
                    <a:lnTo>
                      <a:pt x="587" y="209"/>
                    </a:lnTo>
                    <a:lnTo>
                      <a:pt x="587" y="207"/>
                    </a:lnTo>
                    <a:lnTo>
                      <a:pt x="588" y="206"/>
                    </a:lnTo>
                    <a:lnTo>
                      <a:pt x="590" y="206"/>
                    </a:lnTo>
                    <a:lnTo>
                      <a:pt x="592" y="206"/>
                    </a:lnTo>
                    <a:lnTo>
                      <a:pt x="593" y="206"/>
                    </a:lnTo>
                    <a:lnTo>
                      <a:pt x="595" y="207"/>
                    </a:lnTo>
                    <a:lnTo>
                      <a:pt x="597" y="206"/>
                    </a:lnTo>
                    <a:lnTo>
                      <a:pt x="598" y="207"/>
                    </a:lnTo>
                    <a:lnTo>
                      <a:pt x="598" y="209"/>
                    </a:lnTo>
                    <a:lnTo>
                      <a:pt x="600" y="209"/>
                    </a:lnTo>
                    <a:lnTo>
                      <a:pt x="600" y="211"/>
                    </a:lnTo>
                    <a:lnTo>
                      <a:pt x="602" y="211"/>
                    </a:lnTo>
                    <a:lnTo>
                      <a:pt x="604" y="209"/>
                    </a:lnTo>
                    <a:lnTo>
                      <a:pt x="604" y="207"/>
                    </a:lnTo>
                    <a:lnTo>
                      <a:pt x="605" y="207"/>
                    </a:lnTo>
                    <a:lnTo>
                      <a:pt x="607" y="207"/>
                    </a:lnTo>
                    <a:lnTo>
                      <a:pt x="607" y="206"/>
                    </a:lnTo>
                    <a:lnTo>
                      <a:pt x="607" y="204"/>
                    </a:lnTo>
                    <a:lnTo>
                      <a:pt x="609" y="204"/>
                    </a:lnTo>
                    <a:lnTo>
                      <a:pt x="609" y="202"/>
                    </a:lnTo>
                    <a:lnTo>
                      <a:pt x="607" y="202"/>
                    </a:lnTo>
                    <a:lnTo>
                      <a:pt x="607" y="201"/>
                    </a:lnTo>
                    <a:lnTo>
                      <a:pt x="607" y="199"/>
                    </a:lnTo>
                    <a:lnTo>
                      <a:pt x="609" y="201"/>
                    </a:lnTo>
                    <a:lnTo>
                      <a:pt x="609" y="199"/>
                    </a:lnTo>
                    <a:lnTo>
                      <a:pt x="609" y="197"/>
                    </a:lnTo>
                    <a:lnTo>
                      <a:pt x="610" y="197"/>
                    </a:lnTo>
                    <a:lnTo>
                      <a:pt x="612" y="197"/>
                    </a:lnTo>
                    <a:lnTo>
                      <a:pt x="612" y="196"/>
                    </a:lnTo>
                    <a:lnTo>
                      <a:pt x="612" y="194"/>
                    </a:lnTo>
                    <a:lnTo>
                      <a:pt x="614" y="194"/>
                    </a:lnTo>
                    <a:lnTo>
                      <a:pt x="615" y="192"/>
                    </a:lnTo>
                    <a:lnTo>
                      <a:pt x="617" y="192"/>
                    </a:lnTo>
                    <a:lnTo>
                      <a:pt x="619" y="190"/>
                    </a:lnTo>
                    <a:lnTo>
                      <a:pt x="621" y="192"/>
                    </a:lnTo>
                    <a:lnTo>
                      <a:pt x="622" y="192"/>
                    </a:lnTo>
                    <a:lnTo>
                      <a:pt x="622" y="190"/>
                    </a:lnTo>
                    <a:lnTo>
                      <a:pt x="622" y="189"/>
                    </a:lnTo>
                    <a:lnTo>
                      <a:pt x="624" y="187"/>
                    </a:lnTo>
                    <a:lnTo>
                      <a:pt x="626" y="185"/>
                    </a:lnTo>
                    <a:lnTo>
                      <a:pt x="627" y="185"/>
                    </a:lnTo>
                    <a:lnTo>
                      <a:pt x="629" y="185"/>
                    </a:lnTo>
                    <a:lnTo>
                      <a:pt x="629" y="184"/>
                    </a:lnTo>
                    <a:lnTo>
                      <a:pt x="629" y="182"/>
                    </a:lnTo>
                    <a:lnTo>
                      <a:pt x="631" y="180"/>
                    </a:lnTo>
                    <a:lnTo>
                      <a:pt x="632" y="180"/>
                    </a:lnTo>
                    <a:lnTo>
                      <a:pt x="632" y="182"/>
                    </a:lnTo>
                    <a:lnTo>
                      <a:pt x="634" y="180"/>
                    </a:lnTo>
                    <a:lnTo>
                      <a:pt x="634" y="178"/>
                    </a:lnTo>
                    <a:lnTo>
                      <a:pt x="634" y="177"/>
                    </a:lnTo>
                    <a:lnTo>
                      <a:pt x="634" y="175"/>
                    </a:lnTo>
                    <a:lnTo>
                      <a:pt x="636" y="175"/>
                    </a:lnTo>
                    <a:lnTo>
                      <a:pt x="636" y="173"/>
                    </a:lnTo>
                    <a:lnTo>
                      <a:pt x="638" y="173"/>
                    </a:lnTo>
                    <a:lnTo>
                      <a:pt x="638" y="172"/>
                    </a:lnTo>
                    <a:lnTo>
                      <a:pt x="638" y="170"/>
                    </a:lnTo>
                    <a:lnTo>
                      <a:pt x="638" y="168"/>
                    </a:lnTo>
                    <a:lnTo>
                      <a:pt x="639" y="168"/>
                    </a:lnTo>
                    <a:lnTo>
                      <a:pt x="639" y="167"/>
                    </a:lnTo>
                    <a:lnTo>
                      <a:pt x="638" y="165"/>
                    </a:lnTo>
                    <a:lnTo>
                      <a:pt x="639" y="165"/>
                    </a:lnTo>
                    <a:lnTo>
                      <a:pt x="641" y="165"/>
                    </a:lnTo>
                    <a:lnTo>
                      <a:pt x="641" y="163"/>
                    </a:lnTo>
                    <a:lnTo>
                      <a:pt x="639" y="163"/>
                    </a:lnTo>
                    <a:lnTo>
                      <a:pt x="639" y="161"/>
                    </a:lnTo>
                    <a:lnTo>
                      <a:pt x="639" y="160"/>
                    </a:lnTo>
                    <a:lnTo>
                      <a:pt x="639" y="158"/>
                    </a:lnTo>
                    <a:lnTo>
                      <a:pt x="638" y="156"/>
                    </a:lnTo>
                    <a:lnTo>
                      <a:pt x="639" y="155"/>
                    </a:lnTo>
                    <a:lnTo>
                      <a:pt x="641" y="155"/>
                    </a:lnTo>
                    <a:lnTo>
                      <a:pt x="641" y="153"/>
                    </a:lnTo>
                    <a:lnTo>
                      <a:pt x="641" y="151"/>
                    </a:lnTo>
                    <a:lnTo>
                      <a:pt x="641" y="150"/>
                    </a:lnTo>
                    <a:lnTo>
                      <a:pt x="641" y="148"/>
                    </a:lnTo>
                    <a:lnTo>
                      <a:pt x="639" y="148"/>
                    </a:lnTo>
                    <a:lnTo>
                      <a:pt x="639" y="146"/>
                    </a:lnTo>
                    <a:lnTo>
                      <a:pt x="639" y="144"/>
                    </a:lnTo>
                    <a:lnTo>
                      <a:pt x="639" y="143"/>
                    </a:lnTo>
                    <a:lnTo>
                      <a:pt x="641" y="143"/>
                    </a:lnTo>
                    <a:lnTo>
                      <a:pt x="641" y="141"/>
                    </a:lnTo>
                    <a:lnTo>
                      <a:pt x="643" y="141"/>
                    </a:lnTo>
                    <a:lnTo>
                      <a:pt x="643" y="139"/>
                    </a:lnTo>
                    <a:lnTo>
                      <a:pt x="643" y="141"/>
                    </a:lnTo>
                    <a:lnTo>
                      <a:pt x="644" y="141"/>
                    </a:lnTo>
                    <a:lnTo>
                      <a:pt x="646" y="143"/>
                    </a:lnTo>
                    <a:lnTo>
                      <a:pt x="646" y="144"/>
                    </a:lnTo>
                    <a:lnTo>
                      <a:pt x="648" y="144"/>
                    </a:lnTo>
                    <a:lnTo>
                      <a:pt x="646" y="143"/>
                    </a:lnTo>
                    <a:lnTo>
                      <a:pt x="648" y="143"/>
                    </a:lnTo>
                    <a:lnTo>
                      <a:pt x="648" y="141"/>
                    </a:lnTo>
                    <a:lnTo>
                      <a:pt x="649" y="141"/>
                    </a:lnTo>
                    <a:lnTo>
                      <a:pt x="649" y="139"/>
                    </a:lnTo>
                    <a:lnTo>
                      <a:pt x="651" y="139"/>
                    </a:lnTo>
                    <a:lnTo>
                      <a:pt x="653" y="141"/>
                    </a:lnTo>
                    <a:lnTo>
                      <a:pt x="653" y="139"/>
                    </a:lnTo>
                    <a:lnTo>
                      <a:pt x="655" y="139"/>
                    </a:lnTo>
                    <a:lnTo>
                      <a:pt x="655" y="138"/>
                    </a:lnTo>
                    <a:lnTo>
                      <a:pt x="656" y="138"/>
                    </a:lnTo>
                    <a:lnTo>
                      <a:pt x="658" y="136"/>
                    </a:lnTo>
                    <a:lnTo>
                      <a:pt x="658" y="138"/>
                    </a:lnTo>
                    <a:lnTo>
                      <a:pt x="658" y="139"/>
                    </a:lnTo>
                    <a:lnTo>
                      <a:pt x="656" y="139"/>
                    </a:lnTo>
                    <a:lnTo>
                      <a:pt x="658" y="141"/>
                    </a:lnTo>
                    <a:lnTo>
                      <a:pt x="658" y="139"/>
                    </a:lnTo>
                    <a:lnTo>
                      <a:pt x="660" y="139"/>
                    </a:lnTo>
                    <a:lnTo>
                      <a:pt x="661" y="139"/>
                    </a:lnTo>
                    <a:lnTo>
                      <a:pt x="661" y="141"/>
                    </a:lnTo>
                    <a:lnTo>
                      <a:pt x="663" y="141"/>
                    </a:lnTo>
                    <a:lnTo>
                      <a:pt x="661" y="141"/>
                    </a:lnTo>
                    <a:lnTo>
                      <a:pt x="663" y="141"/>
                    </a:lnTo>
                    <a:lnTo>
                      <a:pt x="663" y="143"/>
                    </a:lnTo>
                    <a:lnTo>
                      <a:pt x="663" y="141"/>
                    </a:lnTo>
                    <a:lnTo>
                      <a:pt x="665" y="141"/>
                    </a:lnTo>
                    <a:lnTo>
                      <a:pt x="665" y="143"/>
                    </a:lnTo>
                    <a:lnTo>
                      <a:pt x="665" y="141"/>
                    </a:lnTo>
                    <a:lnTo>
                      <a:pt x="665" y="143"/>
                    </a:lnTo>
                    <a:lnTo>
                      <a:pt x="666" y="143"/>
                    </a:lnTo>
                    <a:lnTo>
                      <a:pt x="666" y="144"/>
                    </a:lnTo>
                    <a:lnTo>
                      <a:pt x="665" y="144"/>
                    </a:lnTo>
                    <a:lnTo>
                      <a:pt x="666" y="144"/>
                    </a:lnTo>
                    <a:lnTo>
                      <a:pt x="665" y="144"/>
                    </a:lnTo>
                    <a:lnTo>
                      <a:pt x="666" y="144"/>
                    </a:lnTo>
                    <a:lnTo>
                      <a:pt x="666" y="146"/>
                    </a:lnTo>
                    <a:lnTo>
                      <a:pt x="666" y="148"/>
                    </a:lnTo>
                    <a:lnTo>
                      <a:pt x="668" y="150"/>
                    </a:lnTo>
                    <a:lnTo>
                      <a:pt x="666" y="150"/>
                    </a:lnTo>
                    <a:lnTo>
                      <a:pt x="666" y="151"/>
                    </a:lnTo>
                    <a:lnTo>
                      <a:pt x="668" y="151"/>
                    </a:lnTo>
                    <a:lnTo>
                      <a:pt x="666" y="153"/>
                    </a:lnTo>
                    <a:lnTo>
                      <a:pt x="668" y="153"/>
                    </a:lnTo>
                    <a:lnTo>
                      <a:pt x="666" y="153"/>
                    </a:lnTo>
                    <a:lnTo>
                      <a:pt x="666" y="155"/>
                    </a:lnTo>
                    <a:lnTo>
                      <a:pt x="668" y="155"/>
                    </a:lnTo>
                    <a:lnTo>
                      <a:pt x="668" y="156"/>
                    </a:lnTo>
                    <a:lnTo>
                      <a:pt x="670" y="158"/>
                    </a:lnTo>
                    <a:lnTo>
                      <a:pt x="670" y="160"/>
                    </a:lnTo>
                    <a:lnTo>
                      <a:pt x="672" y="161"/>
                    </a:lnTo>
                    <a:lnTo>
                      <a:pt x="673" y="163"/>
                    </a:lnTo>
                    <a:lnTo>
                      <a:pt x="673" y="165"/>
                    </a:lnTo>
                    <a:lnTo>
                      <a:pt x="673" y="167"/>
                    </a:lnTo>
                    <a:lnTo>
                      <a:pt x="673" y="168"/>
                    </a:lnTo>
                    <a:lnTo>
                      <a:pt x="672" y="168"/>
                    </a:lnTo>
                    <a:lnTo>
                      <a:pt x="672" y="170"/>
                    </a:lnTo>
                    <a:lnTo>
                      <a:pt x="672" y="172"/>
                    </a:lnTo>
                    <a:lnTo>
                      <a:pt x="672" y="173"/>
                    </a:lnTo>
                    <a:lnTo>
                      <a:pt x="672" y="175"/>
                    </a:lnTo>
                    <a:lnTo>
                      <a:pt x="670" y="175"/>
                    </a:lnTo>
                    <a:lnTo>
                      <a:pt x="672" y="175"/>
                    </a:lnTo>
                    <a:lnTo>
                      <a:pt x="670" y="177"/>
                    </a:lnTo>
                    <a:lnTo>
                      <a:pt x="672" y="177"/>
                    </a:lnTo>
                    <a:lnTo>
                      <a:pt x="670" y="177"/>
                    </a:lnTo>
                    <a:lnTo>
                      <a:pt x="670" y="178"/>
                    </a:lnTo>
                    <a:lnTo>
                      <a:pt x="670" y="180"/>
                    </a:lnTo>
                    <a:lnTo>
                      <a:pt x="672" y="180"/>
                    </a:lnTo>
                    <a:lnTo>
                      <a:pt x="670" y="182"/>
                    </a:lnTo>
                    <a:lnTo>
                      <a:pt x="672" y="182"/>
                    </a:lnTo>
                    <a:lnTo>
                      <a:pt x="670" y="182"/>
                    </a:lnTo>
                    <a:lnTo>
                      <a:pt x="670" y="184"/>
                    </a:lnTo>
                    <a:lnTo>
                      <a:pt x="670" y="182"/>
                    </a:lnTo>
                    <a:lnTo>
                      <a:pt x="670" y="184"/>
                    </a:lnTo>
                    <a:lnTo>
                      <a:pt x="672" y="184"/>
                    </a:lnTo>
                    <a:lnTo>
                      <a:pt x="670" y="185"/>
                    </a:lnTo>
                    <a:lnTo>
                      <a:pt x="672" y="185"/>
                    </a:lnTo>
                    <a:lnTo>
                      <a:pt x="672" y="187"/>
                    </a:lnTo>
                    <a:lnTo>
                      <a:pt x="673" y="189"/>
                    </a:lnTo>
                    <a:lnTo>
                      <a:pt x="672" y="189"/>
                    </a:lnTo>
                    <a:lnTo>
                      <a:pt x="672" y="190"/>
                    </a:lnTo>
                    <a:lnTo>
                      <a:pt x="672" y="192"/>
                    </a:lnTo>
                    <a:lnTo>
                      <a:pt x="672" y="190"/>
                    </a:lnTo>
                    <a:lnTo>
                      <a:pt x="672" y="192"/>
                    </a:lnTo>
                    <a:lnTo>
                      <a:pt x="670" y="192"/>
                    </a:lnTo>
                    <a:lnTo>
                      <a:pt x="672" y="194"/>
                    </a:lnTo>
                    <a:lnTo>
                      <a:pt x="670" y="194"/>
                    </a:lnTo>
                    <a:lnTo>
                      <a:pt x="670" y="196"/>
                    </a:lnTo>
                    <a:lnTo>
                      <a:pt x="668" y="194"/>
                    </a:lnTo>
                    <a:lnTo>
                      <a:pt x="668" y="196"/>
                    </a:lnTo>
                    <a:lnTo>
                      <a:pt x="670" y="196"/>
                    </a:lnTo>
                    <a:lnTo>
                      <a:pt x="668" y="196"/>
                    </a:lnTo>
                    <a:lnTo>
                      <a:pt x="668" y="197"/>
                    </a:lnTo>
                    <a:lnTo>
                      <a:pt x="668" y="196"/>
                    </a:lnTo>
                    <a:lnTo>
                      <a:pt x="668" y="197"/>
                    </a:lnTo>
                    <a:lnTo>
                      <a:pt x="668" y="199"/>
                    </a:lnTo>
                    <a:lnTo>
                      <a:pt x="666" y="199"/>
                    </a:lnTo>
                    <a:lnTo>
                      <a:pt x="668" y="199"/>
                    </a:lnTo>
                    <a:lnTo>
                      <a:pt x="666" y="199"/>
                    </a:lnTo>
                    <a:lnTo>
                      <a:pt x="666" y="201"/>
                    </a:lnTo>
                    <a:lnTo>
                      <a:pt x="666" y="199"/>
                    </a:lnTo>
                    <a:lnTo>
                      <a:pt x="665" y="199"/>
                    </a:lnTo>
                    <a:lnTo>
                      <a:pt x="665" y="201"/>
                    </a:lnTo>
                    <a:lnTo>
                      <a:pt x="663" y="199"/>
                    </a:lnTo>
                    <a:lnTo>
                      <a:pt x="663" y="201"/>
                    </a:lnTo>
                    <a:lnTo>
                      <a:pt x="661" y="201"/>
                    </a:lnTo>
                    <a:lnTo>
                      <a:pt x="661" y="202"/>
                    </a:lnTo>
                    <a:lnTo>
                      <a:pt x="660" y="202"/>
                    </a:lnTo>
                    <a:lnTo>
                      <a:pt x="660" y="204"/>
                    </a:lnTo>
                    <a:lnTo>
                      <a:pt x="658" y="204"/>
                    </a:lnTo>
                    <a:lnTo>
                      <a:pt x="658" y="206"/>
                    </a:lnTo>
                    <a:lnTo>
                      <a:pt x="656" y="206"/>
                    </a:lnTo>
                    <a:lnTo>
                      <a:pt x="656" y="204"/>
                    </a:lnTo>
                    <a:lnTo>
                      <a:pt x="655" y="204"/>
                    </a:lnTo>
                    <a:lnTo>
                      <a:pt x="655" y="206"/>
                    </a:lnTo>
                    <a:lnTo>
                      <a:pt x="655" y="207"/>
                    </a:lnTo>
                    <a:lnTo>
                      <a:pt x="653" y="209"/>
                    </a:lnTo>
                    <a:lnTo>
                      <a:pt x="653" y="211"/>
                    </a:lnTo>
                    <a:lnTo>
                      <a:pt x="651" y="211"/>
                    </a:lnTo>
                    <a:lnTo>
                      <a:pt x="651" y="209"/>
                    </a:lnTo>
                    <a:lnTo>
                      <a:pt x="649" y="209"/>
                    </a:lnTo>
                    <a:lnTo>
                      <a:pt x="649" y="211"/>
                    </a:lnTo>
                    <a:lnTo>
                      <a:pt x="648" y="211"/>
                    </a:lnTo>
                    <a:lnTo>
                      <a:pt x="648" y="209"/>
                    </a:lnTo>
                    <a:lnTo>
                      <a:pt x="646" y="209"/>
                    </a:lnTo>
                    <a:lnTo>
                      <a:pt x="646" y="211"/>
                    </a:lnTo>
                    <a:lnTo>
                      <a:pt x="646" y="213"/>
                    </a:lnTo>
                    <a:lnTo>
                      <a:pt x="644" y="213"/>
                    </a:lnTo>
                    <a:lnTo>
                      <a:pt x="643" y="213"/>
                    </a:lnTo>
                    <a:lnTo>
                      <a:pt x="643" y="211"/>
                    </a:lnTo>
                    <a:lnTo>
                      <a:pt x="641" y="211"/>
                    </a:lnTo>
                    <a:lnTo>
                      <a:pt x="641" y="213"/>
                    </a:lnTo>
                    <a:lnTo>
                      <a:pt x="641" y="214"/>
                    </a:lnTo>
                    <a:lnTo>
                      <a:pt x="639" y="214"/>
                    </a:lnTo>
                    <a:lnTo>
                      <a:pt x="639" y="213"/>
                    </a:lnTo>
                    <a:lnTo>
                      <a:pt x="638" y="213"/>
                    </a:lnTo>
                    <a:lnTo>
                      <a:pt x="638" y="214"/>
                    </a:lnTo>
                    <a:lnTo>
                      <a:pt x="639" y="214"/>
                    </a:lnTo>
                    <a:lnTo>
                      <a:pt x="638" y="216"/>
                    </a:lnTo>
                    <a:lnTo>
                      <a:pt x="638" y="214"/>
                    </a:lnTo>
                    <a:lnTo>
                      <a:pt x="636" y="214"/>
                    </a:lnTo>
                    <a:lnTo>
                      <a:pt x="636" y="216"/>
                    </a:lnTo>
                    <a:lnTo>
                      <a:pt x="634" y="216"/>
                    </a:lnTo>
                    <a:lnTo>
                      <a:pt x="634" y="214"/>
                    </a:lnTo>
                    <a:lnTo>
                      <a:pt x="632" y="216"/>
                    </a:lnTo>
                    <a:lnTo>
                      <a:pt x="632" y="218"/>
                    </a:lnTo>
                    <a:lnTo>
                      <a:pt x="631" y="218"/>
                    </a:lnTo>
                    <a:lnTo>
                      <a:pt x="631" y="219"/>
                    </a:lnTo>
                    <a:lnTo>
                      <a:pt x="631" y="221"/>
                    </a:lnTo>
                    <a:lnTo>
                      <a:pt x="631" y="223"/>
                    </a:lnTo>
                    <a:lnTo>
                      <a:pt x="629" y="223"/>
                    </a:lnTo>
                    <a:lnTo>
                      <a:pt x="627" y="223"/>
                    </a:lnTo>
                    <a:lnTo>
                      <a:pt x="627" y="224"/>
                    </a:lnTo>
                    <a:lnTo>
                      <a:pt x="626" y="223"/>
                    </a:lnTo>
                    <a:lnTo>
                      <a:pt x="624" y="223"/>
                    </a:lnTo>
                    <a:lnTo>
                      <a:pt x="624" y="224"/>
                    </a:lnTo>
                    <a:lnTo>
                      <a:pt x="626" y="224"/>
                    </a:lnTo>
                    <a:lnTo>
                      <a:pt x="627" y="224"/>
                    </a:lnTo>
                    <a:lnTo>
                      <a:pt x="626" y="226"/>
                    </a:lnTo>
                    <a:lnTo>
                      <a:pt x="624" y="226"/>
                    </a:lnTo>
                    <a:lnTo>
                      <a:pt x="624" y="228"/>
                    </a:lnTo>
                    <a:lnTo>
                      <a:pt x="622" y="228"/>
                    </a:lnTo>
                    <a:lnTo>
                      <a:pt x="622" y="226"/>
                    </a:lnTo>
                    <a:lnTo>
                      <a:pt x="621" y="226"/>
                    </a:lnTo>
                    <a:lnTo>
                      <a:pt x="621" y="228"/>
                    </a:lnTo>
                    <a:lnTo>
                      <a:pt x="619" y="228"/>
                    </a:lnTo>
                    <a:lnTo>
                      <a:pt x="619" y="230"/>
                    </a:lnTo>
                    <a:lnTo>
                      <a:pt x="617" y="228"/>
                    </a:lnTo>
                    <a:lnTo>
                      <a:pt x="615" y="230"/>
                    </a:lnTo>
                    <a:lnTo>
                      <a:pt x="615" y="231"/>
                    </a:lnTo>
                    <a:lnTo>
                      <a:pt x="614" y="231"/>
                    </a:lnTo>
                    <a:lnTo>
                      <a:pt x="615" y="233"/>
                    </a:lnTo>
                    <a:lnTo>
                      <a:pt x="614" y="233"/>
                    </a:lnTo>
                    <a:lnTo>
                      <a:pt x="612" y="235"/>
                    </a:lnTo>
                    <a:lnTo>
                      <a:pt x="610" y="235"/>
                    </a:lnTo>
                    <a:lnTo>
                      <a:pt x="610" y="236"/>
                    </a:lnTo>
                    <a:lnTo>
                      <a:pt x="609" y="236"/>
                    </a:lnTo>
                    <a:lnTo>
                      <a:pt x="609" y="238"/>
                    </a:lnTo>
                    <a:lnTo>
                      <a:pt x="607" y="238"/>
                    </a:lnTo>
                    <a:lnTo>
                      <a:pt x="607" y="236"/>
                    </a:lnTo>
                    <a:lnTo>
                      <a:pt x="607" y="238"/>
                    </a:lnTo>
                    <a:lnTo>
                      <a:pt x="605" y="238"/>
                    </a:lnTo>
                    <a:lnTo>
                      <a:pt x="605" y="240"/>
                    </a:lnTo>
                    <a:lnTo>
                      <a:pt x="604" y="240"/>
                    </a:lnTo>
                    <a:lnTo>
                      <a:pt x="602" y="240"/>
                    </a:lnTo>
                    <a:lnTo>
                      <a:pt x="602" y="241"/>
                    </a:lnTo>
                    <a:lnTo>
                      <a:pt x="602" y="243"/>
                    </a:lnTo>
                    <a:lnTo>
                      <a:pt x="604" y="243"/>
                    </a:lnTo>
                    <a:lnTo>
                      <a:pt x="605" y="243"/>
                    </a:lnTo>
                    <a:lnTo>
                      <a:pt x="605" y="245"/>
                    </a:lnTo>
                    <a:lnTo>
                      <a:pt x="604" y="247"/>
                    </a:lnTo>
                    <a:lnTo>
                      <a:pt x="604" y="248"/>
                    </a:lnTo>
                    <a:lnTo>
                      <a:pt x="604" y="247"/>
                    </a:lnTo>
                    <a:lnTo>
                      <a:pt x="602" y="245"/>
                    </a:lnTo>
                    <a:lnTo>
                      <a:pt x="600" y="245"/>
                    </a:lnTo>
                    <a:lnTo>
                      <a:pt x="598" y="245"/>
                    </a:lnTo>
                    <a:lnTo>
                      <a:pt x="597" y="247"/>
                    </a:lnTo>
                    <a:lnTo>
                      <a:pt x="597" y="248"/>
                    </a:lnTo>
                    <a:lnTo>
                      <a:pt x="598" y="250"/>
                    </a:lnTo>
                    <a:lnTo>
                      <a:pt x="597" y="250"/>
                    </a:lnTo>
                    <a:lnTo>
                      <a:pt x="595" y="250"/>
                    </a:lnTo>
                    <a:lnTo>
                      <a:pt x="593" y="250"/>
                    </a:lnTo>
                    <a:lnTo>
                      <a:pt x="593" y="252"/>
                    </a:lnTo>
                    <a:lnTo>
                      <a:pt x="593" y="253"/>
                    </a:lnTo>
                    <a:lnTo>
                      <a:pt x="593" y="255"/>
                    </a:lnTo>
                    <a:lnTo>
                      <a:pt x="592" y="255"/>
                    </a:lnTo>
                    <a:lnTo>
                      <a:pt x="592" y="257"/>
                    </a:lnTo>
                    <a:lnTo>
                      <a:pt x="590" y="257"/>
                    </a:lnTo>
                    <a:lnTo>
                      <a:pt x="590" y="258"/>
                    </a:lnTo>
                    <a:lnTo>
                      <a:pt x="588" y="258"/>
                    </a:lnTo>
                    <a:lnTo>
                      <a:pt x="588" y="260"/>
                    </a:lnTo>
                    <a:lnTo>
                      <a:pt x="587" y="262"/>
                    </a:lnTo>
                    <a:lnTo>
                      <a:pt x="585" y="262"/>
                    </a:lnTo>
                    <a:lnTo>
                      <a:pt x="583" y="262"/>
                    </a:lnTo>
                    <a:lnTo>
                      <a:pt x="583" y="264"/>
                    </a:lnTo>
                    <a:lnTo>
                      <a:pt x="583" y="265"/>
                    </a:lnTo>
                    <a:lnTo>
                      <a:pt x="583" y="267"/>
                    </a:lnTo>
                    <a:lnTo>
                      <a:pt x="581" y="267"/>
                    </a:lnTo>
                    <a:lnTo>
                      <a:pt x="581" y="269"/>
                    </a:lnTo>
                    <a:lnTo>
                      <a:pt x="580" y="269"/>
                    </a:lnTo>
                    <a:lnTo>
                      <a:pt x="580" y="270"/>
                    </a:lnTo>
                    <a:lnTo>
                      <a:pt x="580" y="272"/>
                    </a:lnTo>
                    <a:lnTo>
                      <a:pt x="580" y="274"/>
                    </a:lnTo>
                    <a:lnTo>
                      <a:pt x="576" y="274"/>
                    </a:lnTo>
                    <a:lnTo>
                      <a:pt x="575" y="274"/>
                    </a:lnTo>
                    <a:lnTo>
                      <a:pt x="575" y="275"/>
                    </a:lnTo>
                    <a:lnTo>
                      <a:pt x="573" y="275"/>
                    </a:lnTo>
                    <a:lnTo>
                      <a:pt x="573" y="277"/>
                    </a:lnTo>
                    <a:lnTo>
                      <a:pt x="571" y="277"/>
                    </a:lnTo>
                    <a:lnTo>
                      <a:pt x="571" y="279"/>
                    </a:lnTo>
                    <a:lnTo>
                      <a:pt x="571" y="281"/>
                    </a:lnTo>
                    <a:lnTo>
                      <a:pt x="570" y="284"/>
                    </a:lnTo>
                    <a:lnTo>
                      <a:pt x="568" y="284"/>
                    </a:lnTo>
                    <a:lnTo>
                      <a:pt x="568" y="286"/>
                    </a:lnTo>
                    <a:lnTo>
                      <a:pt x="568" y="287"/>
                    </a:lnTo>
                    <a:lnTo>
                      <a:pt x="566" y="287"/>
                    </a:lnTo>
                    <a:lnTo>
                      <a:pt x="566" y="289"/>
                    </a:lnTo>
                    <a:lnTo>
                      <a:pt x="564" y="289"/>
                    </a:lnTo>
                    <a:lnTo>
                      <a:pt x="564" y="291"/>
                    </a:lnTo>
                    <a:lnTo>
                      <a:pt x="563" y="291"/>
                    </a:lnTo>
                    <a:lnTo>
                      <a:pt x="563" y="292"/>
                    </a:lnTo>
                    <a:lnTo>
                      <a:pt x="561" y="292"/>
                    </a:lnTo>
                    <a:lnTo>
                      <a:pt x="561" y="294"/>
                    </a:lnTo>
                    <a:lnTo>
                      <a:pt x="561" y="296"/>
                    </a:lnTo>
                    <a:lnTo>
                      <a:pt x="559" y="296"/>
                    </a:lnTo>
                    <a:lnTo>
                      <a:pt x="559" y="298"/>
                    </a:lnTo>
                    <a:lnTo>
                      <a:pt x="558" y="298"/>
                    </a:lnTo>
                    <a:lnTo>
                      <a:pt x="558" y="299"/>
                    </a:lnTo>
                    <a:lnTo>
                      <a:pt x="556" y="299"/>
                    </a:lnTo>
                    <a:lnTo>
                      <a:pt x="554" y="301"/>
                    </a:lnTo>
                    <a:lnTo>
                      <a:pt x="553" y="299"/>
                    </a:lnTo>
                    <a:lnTo>
                      <a:pt x="553" y="301"/>
                    </a:lnTo>
                    <a:lnTo>
                      <a:pt x="551" y="301"/>
                    </a:lnTo>
                    <a:lnTo>
                      <a:pt x="549" y="303"/>
                    </a:lnTo>
                    <a:lnTo>
                      <a:pt x="549" y="304"/>
                    </a:lnTo>
                    <a:lnTo>
                      <a:pt x="549" y="306"/>
                    </a:lnTo>
                    <a:lnTo>
                      <a:pt x="549" y="308"/>
                    </a:lnTo>
                    <a:lnTo>
                      <a:pt x="549" y="309"/>
                    </a:lnTo>
                    <a:lnTo>
                      <a:pt x="547" y="309"/>
                    </a:lnTo>
                    <a:lnTo>
                      <a:pt x="546" y="309"/>
                    </a:lnTo>
                    <a:lnTo>
                      <a:pt x="546" y="311"/>
                    </a:lnTo>
                    <a:lnTo>
                      <a:pt x="544" y="311"/>
                    </a:lnTo>
                    <a:lnTo>
                      <a:pt x="544" y="313"/>
                    </a:lnTo>
                    <a:lnTo>
                      <a:pt x="542" y="315"/>
                    </a:lnTo>
                    <a:lnTo>
                      <a:pt x="541" y="316"/>
                    </a:lnTo>
                    <a:lnTo>
                      <a:pt x="539" y="316"/>
                    </a:lnTo>
                    <a:lnTo>
                      <a:pt x="537" y="316"/>
                    </a:lnTo>
                    <a:lnTo>
                      <a:pt x="539" y="316"/>
                    </a:lnTo>
                    <a:lnTo>
                      <a:pt x="539" y="318"/>
                    </a:lnTo>
                    <a:lnTo>
                      <a:pt x="539" y="320"/>
                    </a:lnTo>
                    <a:lnTo>
                      <a:pt x="539" y="321"/>
                    </a:lnTo>
                    <a:lnTo>
                      <a:pt x="539" y="323"/>
                    </a:lnTo>
                    <a:lnTo>
                      <a:pt x="537" y="323"/>
                    </a:lnTo>
                    <a:lnTo>
                      <a:pt x="536" y="325"/>
                    </a:lnTo>
                    <a:lnTo>
                      <a:pt x="534" y="325"/>
                    </a:lnTo>
                    <a:lnTo>
                      <a:pt x="534" y="326"/>
                    </a:lnTo>
                    <a:lnTo>
                      <a:pt x="532" y="326"/>
                    </a:lnTo>
                    <a:lnTo>
                      <a:pt x="530" y="326"/>
                    </a:lnTo>
                    <a:lnTo>
                      <a:pt x="530" y="328"/>
                    </a:lnTo>
                    <a:lnTo>
                      <a:pt x="530" y="330"/>
                    </a:lnTo>
                    <a:lnTo>
                      <a:pt x="530" y="332"/>
                    </a:lnTo>
                    <a:lnTo>
                      <a:pt x="532" y="333"/>
                    </a:lnTo>
                    <a:lnTo>
                      <a:pt x="532" y="335"/>
                    </a:lnTo>
                    <a:lnTo>
                      <a:pt x="532" y="337"/>
                    </a:lnTo>
                    <a:lnTo>
                      <a:pt x="532" y="338"/>
                    </a:lnTo>
                    <a:lnTo>
                      <a:pt x="532" y="340"/>
                    </a:lnTo>
                    <a:lnTo>
                      <a:pt x="532" y="344"/>
                    </a:lnTo>
                    <a:lnTo>
                      <a:pt x="532" y="345"/>
                    </a:lnTo>
                    <a:lnTo>
                      <a:pt x="530" y="345"/>
                    </a:lnTo>
                    <a:lnTo>
                      <a:pt x="529" y="345"/>
                    </a:lnTo>
                    <a:lnTo>
                      <a:pt x="529" y="347"/>
                    </a:lnTo>
                    <a:lnTo>
                      <a:pt x="530" y="347"/>
                    </a:lnTo>
                    <a:lnTo>
                      <a:pt x="530" y="349"/>
                    </a:lnTo>
                    <a:lnTo>
                      <a:pt x="530" y="350"/>
                    </a:lnTo>
                    <a:lnTo>
                      <a:pt x="530" y="352"/>
                    </a:lnTo>
                    <a:lnTo>
                      <a:pt x="529" y="352"/>
                    </a:lnTo>
                    <a:lnTo>
                      <a:pt x="529" y="354"/>
                    </a:lnTo>
                    <a:lnTo>
                      <a:pt x="529" y="355"/>
                    </a:lnTo>
                    <a:lnTo>
                      <a:pt x="529" y="357"/>
                    </a:lnTo>
                    <a:lnTo>
                      <a:pt x="529" y="359"/>
                    </a:lnTo>
                    <a:lnTo>
                      <a:pt x="527" y="361"/>
                    </a:lnTo>
                    <a:lnTo>
                      <a:pt x="527" y="362"/>
                    </a:lnTo>
                    <a:lnTo>
                      <a:pt x="527" y="364"/>
                    </a:lnTo>
                    <a:lnTo>
                      <a:pt x="525" y="364"/>
                    </a:lnTo>
                    <a:lnTo>
                      <a:pt x="524" y="366"/>
                    </a:lnTo>
                    <a:lnTo>
                      <a:pt x="524" y="367"/>
                    </a:lnTo>
                    <a:lnTo>
                      <a:pt x="525" y="367"/>
                    </a:lnTo>
                    <a:lnTo>
                      <a:pt x="525" y="369"/>
                    </a:lnTo>
                    <a:lnTo>
                      <a:pt x="527" y="369"/>
                    </a:lnTo>
                    <a:lnTo>
                      <a:pt x="527" y="371"/>
                    </a:lnTo>
                    <a:lnTo>
                      <a:pt x="527" y="372"/>
                    </a:lnTo>
                    <a:lnTo>
                      <a:pt x="525" y="376"/>
                    </a:lnTo>
                    <a:lnTo>
                      <a:pt x="525" y="378"/>
                    </a:lnTo>
                    <a:lnTo>
                      <a:pt x="524" y="381"/>
                    </a:lnTo>
                    <a:lnTo>
                      <a:pt x="522" y="381"/>
                    </a:lnTo>
                    <a:lnTo>
                      <a:pt x="520" y="381"/>
                    </a:lnTo>
                    <a:lnTo>
                      <a:pt x="520" y="383"/>
                    </a:lnTo>
                    <a:lnTo>
                      <a:pt x="520" y="384"/>
                    </a:lnTo>
                    <a:lnTo>
                      <a:pt x="520" y="386"/>
                    </a:lnTo>
                    <a:lnTo>
                      <a:pt x="522" y="388"/>
                    </a:lnTo>
                    <a:lnTo>
                      <a:pt x="522" y="389"/>
                    </a:lnTo>
                    <a:lnTo>
                      <a:pt x="522" y="391"/>
                    </a:lnTo>
                    <a:lnTo>
                      <a:pt x="520" y="391"/>
                    </a:lnTo>
                    <a:lnTo>
                      <a:pt x="520" y="393"/>
                    </a:lnTo>
                    <a:lnTo>
                      <a:pt x="520" y="395"/>
                    </a:lnTo>
                    <a:lnTo>
                      <a:pt x="522" y="396"/>
                    </a:lnTo>
                    <a:lnTo>
                      <a:pt x="522" y="398"/>
                    </a:lnTo>
                    <a:lnTo>
                      <a:pt x="524" y="398"/>
                    </a:lnTo>
                    <a:lnTo>
                      <a:pt x="524" y="400"/>
                    </a:lnTo>
                    <a:lnTo>
                      <a:pt x="522" y="400"/>
                    </a:lnTo>
                    <a:lnTo>
                      <a:pt x="522" y="401"/>
                    </a:lnTo>
                    <a:lnTo>
                      <a:pt x="520" y="401"/>
                    </a:lnTo>
                    <a:lnTo>
                      <a:pt x="520" y="403"/>
                    </a:lnTo>
                    <a:lnTo>
                      <a:pt x="520" y="405"/>
                    </a:lnTo>
                    <a:lnTo>
                      <a:pt x="519" y="406"/>
                    </a:lnTo>
                    <a:lnTo>
                      <a:pt x="520" y="406"/>
                    </a:lnTo>
                    <a:lnTo>
                      <a:pt x="520" y="408"/>
                    </a:lnTo>
                    <a:lnTo>
                      <a:pt x="520" y="410"/>
                    </a:lnTo>
                    <a:lnTo>
                      <a:pt x="520" y="412"/>
                    </a:lnTo>
                    <a:lnTo>
                      <a:pt x="522" y="413"/>
                    </a:lnTo>
                    <a:lnTo>
                      <a:pt x="520" y="413"/>
                    </a:lnTo>
                    <a:lnTo>
                      <a:pt x="522" y="413"/>
                    </a:lnTo>
                    <a:lnTo>
                      <a:pt x="522" y="415"/>
                    </a:lnTo>
                    <a:lnTo>
                      <a:pt x="522" y="417"/>
                    </a:lnTo>
                    <a:lnTo>
                      <a:pt x="522" y="418"/>
                    </a:lnTo>
                    <a:lnTo>
                      <a:pt x="522" y="420"/>
                    </a:lnTo>
                    <a:lnTo>
                      <a:pt x="522" y="422"/>
                    </a:lnTo>
                    <a:lnTo>
                      <a:pt x="522" y="423"/>
                    </a:lnTo>
                    <a:lnTo>
                      <a:pt x="524" y="425"/>
                    </a:lnTo>
                    <a:lnTo>
                      <a:pt x="524" y="427"/>
                    </a:lnTo>
                    <a:lnTo>
                      <a:pt x="524" y="429"/>
                    </a:lnTo>
                    <a:lnTo>
                      <a:pt x="522" y="429"/>
                    </a:lnTo>
                    <a:lnTo>
                      <a:pt x="522" y="430"/>
                    </a:lnTo>
                    <a:lnTo>
                      <a:pt x="520" y="430"/>
                    </a:lnTo>
                    <a:lnTo>
                      <a:pt x="519" y="432"/>
                    </a:lnTo>
                    <a:lnTo>
                      <a:pt x="517" y="432"/>
                    </a:lnTo>
                    <a:lnTo>
                      <a:pt x="515" y="432"/>
                    </a:lnTo>
                    <a:lnTo>
                      <a:pt x="513" y="432"/>
                    </a:lnTo>
                    <a:lnTo>
                      <a:pt x="513" y="434"/>
                    </a:lnTo>
                    <a:lnTo>
                      <a:pt x="513" y="439"/>
                    </a:lnTo>
                    <a:lnTo>
                      <a:pt x="513" y="440"/>
                    </a:lnTo>
                    <a:lnTo>
                      <a:pt x="512" y="440"/>
                    </a:lnTo>
                    <a:lnTo>
                      <a:pt x="512" y="442"/>
                    </a:lnTo>
                    <a:lnTo>
                      <a:pt x="510" y="444"/>
                    </a:lnTo>
                    <a:lnTo>
                      <a:pt x="510" y="447"/>
                    </a:lnTo>
                    <a:lnTo>
                      <a:pt x="510" y="449"/>
                    </a:lnTo>
                    <a:lnTo>
                      <a:pt x="510" y="451"/>
                    </a:lnTo>
                    <a:lnTo>
                      <a:pt x="510" y="456"/>
                    </a:lnTo>
                    <a:lnTo>
                      <a:pt x="510" y="457"/>
                    </a:lnTo>
                    <a:lnTo>
                      <a:pt x="512" y="459"/>
                    </a:lnTo>
                    <a:lnTo>
                      <a:pt x="512" y="461"/>
                    </a:lnTo>
                    <a:lnTo>
                      <a:pt x="512" y="463"/>
                    </a:lnTo>
                    <a:lnTo>
                      <a:pt x="512" y="464"/>
                    </a:lnTo>
                    <a:lnTo>
                      <a:pt x="512" y="466"/>
                    </a:lnTo>
                    <a:lnTo>
                      <a:pt x="512" y="468"/>
                    </a:lnTo>
                    <a:lnTo>
                      <a:pt x="513" y="469"/>
                    </a:lnTo>
                    <a:lnTo>
                      <a:pt x="515" y="469"/>
                    </a:lnTo>
                    <a:lnTo>
                      <a:pt x="513" y="469"/>
                    </a:lnTo>
                    <a:lnTo>
                      <a:pt x="513" y="471"/>
                    </a:lnTo>
                    <a:lnTo>
                      <a:pt x="513" y="473"/>
                    </a:lnTo>
                    <a:lnTo>
                      <a:pt x="513" y="474"/>
                    </a:lnTo>
                    <a:lnTo>
                      <a:pt x="513" y="476"/>
                    </a:lnTo>
                    <a:lnTo>
                      <a:pt x="513" y="478"/>
                    </a:lnTo>
                    <a:lnTo>
                      <a:pt x="512" y="480"/>
                    </a:lnTo>
                    <a:lnTo>
                      <a:pt x="510" y="480"/>
                    </a:lnTo>
                    <a:lnTo>
                      <a:pt x="510" y="481"/>
                    </a:lnTo>
                    <a:lnTo>
                      <a:pt x="512" y="481"/>
                    </a:lnTo>
                    <a:lnTo>
                      <a:pt x="512" y="483"/>
                    </a:lnTo>
                    <a:lnTo>
                      <a:pt x="512" y="485"/>
                    </a:lnTo>
                    <a:lnTo>
                      <a:pt x="510" y="483"/>
                    </a:lnTo>
                    <a:lnTo>
                      <a:pt x="510" y="485"/>
                    </a:lnTo>
                    <a:lnTo>
                      <a:pt x="510" y="486"/>
                    </a:lnTo>
                    <a:lnTo>
                      <a:pt x="508" y="486"/>
                    </a:lnTo>
                    <a:lnTo>
                      <a:pt x="508" y="485"/>
                    </a:lnTo>
                    <a:lnTo>
                      <a:pt x="507" y="485"/>
                    </a:lnTo>
                    <a:lnTo>
                      <a:pt x="507" y="486"/>
                    </a:lnTo>
                    <a:lnTo>
                      <a:pt x="508" y="486"/>
                    </a:lnTo>
                    <a:lnTo>
                      <a:pt x="510" y="486"/>
                    </a:lnTo>
                    <a:lnTo>
                      <a:pt x="510" y="488"/>
                    </a:lnTo>
                    <a:lnTo>
                      <a:pt x="510" y="490"/>
                    </a:lnTo>
                    <a:lnTo>
                      <a:pt x="512" y="490"/>
                    </a:lnTo>
                    <a:lnTo>
                      <a:pt x="510" y="490"/>
                    </a:lnTo>
                    <a:lnTo>
                      <a:pt x="512" y="490"/>
                    </a:lnTo>
                    <a:lnTo>
                      <a:pt x="512" y="491"/>
                    </a:lnTo>
                    <a:lnTo>
                      <a:pt x="513" y="491"/>
                    </a:lnTo>
                    <a:lnTo>
                      <a:pt x="513" y="493"/>
                    </a:lnTo>
                    <a:lnTo>
                      <a:pt x="515" y="495"/>
                    </a:lnTo>
                    <a:lnTo>
                      <a:pt x="515" y="493"/>
                    </a:lnTo>
                    <a:lnTo>
                      <a:pt x="515" y="495"/>
                    </a:lnTo>
                    <a:lnTo>
                      <a:pt x="517" y="495"/>
                    </a:lnTo>
                    <a:lnTo>
                      <a:pt x="517" y="497"/>
                    </a:lnTo>
                    <a:lnTo>
                      <a:pt x="519" y="497"/>
                    </a:lnTo>
                    <a:lnTo>
                      <a:pt x="519" y="498"/>
                    </a:lnTo>
                    <a:lnTo>
                      <a:pt x="520" y="498"/>
                    </a:lnTo>
                    <a:lnTo>
                      <a:pt x="522" y="498"/>
                    </a:lnTo>
                    <a:lnTo>
                      <a:pt x="524" y="498"/>
                    </a:lnTo>
                    <a:lnTo>
                      <a:pt x="524" y="500"/>
                    </a:lnTo>
                    <a:lnTo>
                      <a:pt x="525" y="500"/>
                    </a:lnTo>
                    <a:lnTo>
                      <a:pt x="527" y="500"/>
                    </a:lnTo>
                    <a:lnTo>
                      <a:pt x="527" y="502"/>
                    </a:lnTo>
                    <a:lnTo>
                      <a:pt x="529" y="502"/>
                    </a:lnTo>
                    <a:lnTo>
                      <a:pt x="529" y="503"/>
                    </a:lnTo>
                    <a:lnTo>
                      <a:pt x="529" y="502"/>
                    </a:lnTo>
                    <a:lnTo>
                      <a:pt x="530" y="503"/>
                    </a:lnTo>
                    <a:lnTo>
                      <a:pt x="530" y="502"/>
                    </a:lnTo>
                    <a:lnTo>
                      <a:pt x="532" y="503"/>
                    </a:lnTo>
                    <a:lnTo>
                      <a:pt x="534" y="505"/>
                    </a:lnTo>
                    <a:lnTo>
                      <a:pt x="536" y="505"/>
                    </a:lnTo>
                    <a:lnTo>
                      <a:pt x="536" y="507"/>
                    </a:lnTo>
                    <a:lnTo>
                      <a:pt x="537" y="507"/>
                    </a:lnTo>
                    <a:lnTo>
                      <a:pt x="539" y="507"/>
                    </a:lnTo>
                    <a:lnTo>
                      <a:pt x="539" y="509"/>
                    </a:lnTo>
                    <a:lnTo>
                      <a:pt x="541" y="509"/>
                    </a:lnTo>
                    <a:lnTo>
                      <a:pt x="542" y="510"/>
                    </a:lnTo>
                    <a:lnTo>
                      <a:pt x="544" y="510"/>
                    </a:lnTo>
                    <a:lnTo>
                      <a:pt x="544" y="512"/>
                    </a:lnTo>
                    <a:lnTo>
                      <a:pt x="546" y="512"/>
                    </a:lnTo>
                    <a:lnTo>
                      <a:pt x="546" y="514"/>
                    </a:lnTo>
                    <a:lnTo>
                      <a:pt x="547" y="514"/>
                    </a:lnTo>
                    <a:lnTo>
                      <a:pt x="547" y="515"/>
                    </a:lnTo>
                    <a:lnTo>
                      <a:pt x="549" y="515"/>
                    </a:lnTo>
                    <a:lnTo>
                      <a:pt x="549" y="517"/>
                    </a:lnTo>
                    <a:lnTo>
                      <a:pt x="551" y="517"/>
                    </a:lnTo>
                    <a:lnTo>
                      <a:pt x="551" y="519"/>
                    </a:lnTo>
                    <a:lnTo>
                      <a:pt x="553" y="520"/>
                    </a:lnTo>
                    <a:lnTo>
                      <a:pt x="553" y="522"/>
                    </a:lnTo>
                    <a:lnTo>
                      <a:pt x="554" y="522"/>
                    </a:lnTo>
                    <a:lnTo>
                      <a:pt x="554" y="524"/>
                    </a:lnTo>
                    <a:lnTo>
                      <a:pt x="554" y="526"/>
                    </a:lnTo>
                    <a:lnTo>
                      <a:pt x="556" y="526"/>
                    </a:lnTo>
                    <a:lnTo>
                      <a:pt x="556" y="527"/>
                    </a:lnTo>
                    <a:lnTo>
                      <a:pt x="556" y="529"/>
                    </a:lnTo>
                    <a:lnTo>
                      <a:pt x="554" y="529"/>
                    </a:lnTo>
                    <a:lnTo>
                      <a:pt x="554" y="531"/>
                    </a:lnTo>
                    <a:lnTo>
                      <a:pt x="553" y="531"/>
                    </a:lnTo>
                    <a:lnTo>
                      <a:pt x="553" y="532"/>
                    </a:lnTo>
                    <a:lnTo>
                      <a:pt x="551" y="534"/>
                    </a:lnTo>
                    <a:lnTo>
                      <a:pt x="551" y="536"/>
                    </a:lnTo>
                    <a:lnTo>
                      <a:pt x="549" y="537"/>
                    </a:lnTo>
                    <a:lnTo>
                      <a:pt x="549" y="539"/>
                    </a:lnTo>
                    <a:lnTo>
                      <a:pt x="547" y="539"/>
                    </a:lnTo>
                    <a:lnTo>
                      <a:pt x="549" y="539"/>
                    </a:lnTo>
                    <a:lnTo>
                      <a:pt x="547" y="539"/>
                    </a:lnTo>
                    <a:lnTo>
                      <a:pt x="547" y="541"/>
                    </a:lnTo>
                    <a:lnTo>
                      <a:pt x="547" y="543"/>
                    </a:lnTo>
                    <a:lnTo>
                      <a:pt x="547" y="544"/>
                    </a:lnTo>
                    <a:lnTo>
                      <a:pt x="547" y="546"/>
                    </a:lnTo>
                    <a:lnTo>
                      <a:pt x="547" y="548"/>
                    </a:lnTo>
                    <a:lnTo>
                      <a:pt x="547" y="549"/>
                    </a:lnTo>
                    <a:lnTo>
                      <a:pt x="547" y="551"/>
                    </a:lnTo>
                    <a:lnTo>
                      <a:pt x="549" y="551"/>
                    </a:lnTo>
                    <a:lnTo>
                      <a:pt x="549" y="553"/>
                    </a:lnTo>
                    <a:lnTo>
                      <a:pt x="549" y="554"/>
                    </a:lnTo>
                    <a:lnTo>
                      <a:pt x="551" y="554"/>
                    </a:lnTo>
                    <a:lnTo>
                      <a:pt x="551" y="556"/>
                    </a:lnTo>
                    <a:lnTo>
                      <a:pt x="551" y="558"/>
                    </a:lnTo>
                    <a:lnTo>
                      <a:pt x="553" y="558"/>
                    </a:lnTo>
                    <a:lnTo>
                      <a:pt x="553" y="560"/>
                    </a:lnTo>
                    <a:lnTo>
                      <a:pt x="554" y="560"/>
                    </a:lnTo>
                    <a:lnTo>
                      <a:pt x="554" y="561"/>
                    </a:lnTo>
                    <a:lnTo>
                      <a:pt x="556" y="561"/>
                    </a:lnTo>
                    <a:lnTo>
                      <a:pt x="556" y="563"/>
                    </a:lnTo>
                    <a:lnTo>
                      <a:pt x="558" y="563"/>
                    </a:lnTo>
                    <a:lnTo>
                      <a:pt x="559" y="565"/>
                    </a:lnTo>
                    <a:lnTo>
                      <a:pt x="561" y="565"/>
                    </a:lnTo>
                    <a:lnTo>
                      <a:pt x="563" y="565"/>
                    </a:lnTo>
                    <a:lnTo>
                      <a:pt x="564" y="565"/>
                    </a:lnTo>
                    <a:lnTo>
                      <a:pt x="566" y="565"/>
                    </a:lnTo>
                    <a:lnTo>
                      <a:pt x="568" y="565"/>
                    </a:lnTo>
                    <a:lnTo>
                      <a:pt x="568" y="563"/>
                    </a:lnTo>
                    <a:lnTo>
                      <a:pt x="570" y="563"/>
                    </a:lnTo>
                    <a:lnTo>
                      <a:pt x="570" y="565"/>
                    </a:lnTo>
                    <a:lnTo>
                      <a:pt x="570" y="566"/>
                    </a:lnTo>
                    <a:lnTo>
                      <a:pt x="570" y="568"/>
                    </a:lnTo>
                    <a:lnTo>
                      <a:pt x="571" y="571"/>
                    </a:lnTo>
                    <a:lnTo>
                      <a:pt x="571" y="573"/>
                    </a:lnTo>
                    <a:lnTo>
                      <a:pt x="571" y="575"/>
                    </a:lnTo>
                    <a:lnTo>
                      <a:pt x="571" y="577"/>
                    </a:lnTo>
                    <a:lnTo>
                      <a:pt x="571" y="578"/>
                    </a:lnTo>
                    <a:lnTo>
                      <a:pt x="571" y="580"/>
                    </a:lnTo>
                    <a:lnTo>
                      <a:pt x="571" y="582"/>
                    </a:lnTo>
                    <a:lnTo>
                      <a:pt x="571" y="583"/>
                    </a:lnTo>
                    <a:lnTo>
                      <a:pt x="571" y="585"/>
                    </a:lnTo>
                    <a:lnTo>
                      <a:pt x="571" y="587"/>
                    </a:lnTo>
                    <a:lnTo>
                      <a:pt x="571" y="588"/>
                    </a:lnTo>
                    <a:lnTo>
                      <a:pt x="570" y="590"/>
                    </a:lnTo>
                    <a:lnTo>
                      <a:pt x="568" y="592"/>
                    </a:lnTo>
                    <a:lnTo>
                      <a:pt x="568" y="594"/>
                    </a:lnTo>
                    <a:lnTo>
                      <a:pt x="566" y="595"/>
                    </a:lnTo>
                    <a:lnTo>
                      <a:pt x="566" y="597"/>
                    </a:lnTo>
                    <a:lnTo>
                      <a:pt x="564" y="599"/>
                    </a:lnTo>
                    <a:lnTo>
                      <a:pt x="563" y="600"/>
                    </a:lnTo>
                    <a:lnTo>
                      <a:pt x="563" y="602"/>
                    </a:lnTo>
                    <a:lnTo>
                      <a:pt x="561" y="604"/>
                    </a:lnTo>
                    <a:lnTo>
                      <a:pt x="561" y="605"/>
                    </a:lnTo>
                    <a:lnTo>
                      <a:pt x="559" y="605"/>
                    </a:lnTo>
                    <a:lnTo>
                      <a:pt x="559" y="607"/>
                    </a:lnTo>
                    <a:lnTo>
                      <a:pt x="558" y="609"/>
                    </a:lnTo>
                    <a:lnTo>
                      <a:pt x="558" y="611"/>
                    </a:lnTo>
                    <a:lnTo>
                      <a:pt x="558" y="612"/>
                    </a:lnTo>
                    <a:lnTo>
                      <a:pt x="556" y="612"/>
                    </a:lnTo>
                    <a:lnTo>
                      <a:pt x="556" y="614"/>
                    </a:lnTo>
                    <a:lnTo>
                      <a:pt x="554" y="614"/>
                    </a:lnTo>
                    <a:lnTo>
                      <a:pt x="554" y="616"/>
                    </a:lnTo>
                    <a:lnTo>
                      <a:pt x="553" y="617"/>
                    </a:lnTo>
                    <a:lnTo>
                      <a:pt x="551" y="619"/>
                    </a:lnTo>
                    <a:lnTo>
                      <a:pt x="549" y="621"/>
                    </a:lnTo>
                    <a:lnTo>
                      <a:pt x="547" y="622"/>
                    </a:lnTo>
                    <a:lnTo>
                      <a:pt x="546" y="624"/>
                    </a:lnTo>
                    <a:lnTo>
                      <a:pt x="546" y="626"/>
                    </a:lnTo>
                    <a:lnTo>
                      <a:pt x="544" y="626"/>
                    </a:lnTo>
                    <a:lnTo>
                      <a:pt x="544" y="628"/>
                    </a:lnTo>
                    <a:lnTo>
                      <a:pt x="542" y="629"/>
                    </a:lnTo>
                    <a:lnTo>
                      <a:pt x="542" y="631"/>
                    </a:lnTo>
                    <a:lnTo>
                      <a:pt x="542" y="633"/>
                    </a:lnTo>
                    <a:lnTo>
                      <a:pt x="542" y="634"/>
                    </a:lnTo>
                    <a:lnTo>
                      <a:pt x="542" y="636"/>
                    </a:lnTo>
                    <a:lnTo>
                      <a:pt x="542" y="638"/>
                    </a:lnTo>
                    <a:lnTo>
                      <a:pt x="542" y="636"/>
                    </a:lnTo>
                    <a:lnTo>
                      <a:pt x="542" y="638"/>
                    </a:lnTo>
                    <a:lnTo>
                      <a:pt x="542" y="639"/>
                    </a:lnTo>
                    <a:lnTo>
                      <a:pt x="541" y="639"/>
                    </a:lnTo>
                    <a:lnTo>
                      <a:pt x="539" y="641"/>
                    </a:lnTo>
                    <a:lnTo>
                      <a:pt x="539" y="643"/>
                    </a:lnTo>
                    <a:lnTo>
                      <a:pt x="537" y="643"/>
                    </a:lnTo>
                    <a:lnTo>
                      <a:pt x="537" y="645"/>
                    </a:lnTo>
                    <a:lnTo>
                      <a:pt x="536" y="645"/>
                    </a:lnTo>
                    <a:lnTo>
                      <a:pt x="534" y="645"/>
                    </a:lnTo>
                    <a:lnTo>
                      <a:pt x="534" y="646"/>
                    </a:lnTo>
                    <a:lnTo>
                      <a:pt x="532" y="646"/>
                    </a:lnTo>
                    <a:lnTo>
                      <a:pt x="532" y="648"/>
                    </a:lnTo>
                    <a:lnTo>
                      <a:pt x="530" y="648"/>
                    </a:lnTo>
                    <a:lnTo>
                      <a:pt x="529" y="648"/>
                    </a:lnTo>
                    <a:lnTo>
                      <a:pt x="527" y="650"/>
                    </a:lnTo>
                    <a:lnTo>
                      <a:pt x="525" y="650"/>
                    </a:lnTo>
                    <a:lnTo>
                      <a:pt x="525" y="651"/>
                    </a:lnTo>
                    <a:lnTo>
                      <a:pt x="524" y="651"/>
                    </a:lnTo>
                    <a:lnTo>
                      <a:pt x="522" y="653"/>
                    </a:lnTo>
                    <a:lnTo>
                      <a:pt x="520" y="653"/>
                    </a:lnTo>
                    <a:lnTo>
                      <a:pt x="519" y="655"/>
                    </a:lnTo>
                    <a:lnTo>
                      <a:pt x="517" y="655"/>
                    </a:lnTo>
                    <a:lnTo>
                      <a:pt x="515" y="655"/>
                    </a:lnTo>
                    <a:lnTo>
                      <a:pt x="515" y="656"/>
                    </a:lnTo>
                    <a:lnTo>
                      <a:pt x="513" y="656"/>
                    </a:lnTo>
                    <a:lnTo>
                      <a:pt x="512" y="656"/>
                    </a:lnTo>
                    <a:lnTo>
                      <a:pt x="510" y="658"/>
                    </a:lnTo>
                    <a:lnTo>
                      <a:pt x="508" y="658"/>
                    </a:lnTo>
                    <a:lnTo>
                      <a:pt x="507" y="658"/>
                    </a:lnTo>
                    <a:lnTo>
                      <a:pt x="507" y="660"/>
                    </a:lnTo>
                    <a:lnTo>
                      <a:pt x="505" y="660"/>
                    </a:lnTo>
                    <a:lnTo>
                      <a:pt x="503" y="660"/>
                    </a:lnTo>
                    <a:lnTo>
                      <a:pt x="502" y="660"/>
                    </a:lnTo>
                    <a:lnTo>
                      <a:pt x="500" y="662"/>
                    </a:lnTo>
                    <a:lnTo>
                      <a:pt x="498" y="662"/>
                    </a:lnTo>
                    <a:lnTo>
                      <a:pt x="496" y="663"/>
                    </a:lnTo>
                    <a:lnTo>
                      <a:pt x="495" y="663"/>
                    </a:lnTo>
                    <a:lnTo>
                      <a:pt x="493" y="663"/>
                    </a:lnTo>
                    <a:lnTo>
                      <a:pt x="491" y="665"/>
                    </a:lnTo>
                    <a:lnTo>
                      <a:pt x="490" y="665"/>
                    </a:lnTo>
                    <a:lnTo>
                      <a:pt x="488" y="665"/>
                    </a:lnTo>
                    <a:lnTo>
                      <a:pt x="486" y="665"/>
                    </a:lnTo>
                    <a:lnTo>
                      <a:pt x="485" y="667"/>
                    </a:lnTo>
                    <a:lnTo>
                      <a:pt x="483" y="667"/>
                    </a:lnTo>
                    <a:lnTo>
                      <a:pt x="481" y="667"/>
                    </a:lnTo>
                    <a:lnTo>
                      <a:pt x="479" y="667"/>
                    </a:lnTo>
                    <a:lnTo>
                      <a:pt x="479" y="668"/>
                    </a:lnTo>
                    <a:lnTo>
                      <a:pt x="478" y="668"/>
                    </a:lnTo>
                    <a:lnTo>
                      <a:pt x="476" y="668"/>
                    </a:lnTo>
                    <a:lnTo>
                      <a:pt x="474" y="668"/>
                    </a:lnTo>
                    <a:lnTo>
                      <a:pt x="473" y="668"/>
                    </a:lnTo>
                    <a:lnTo>
                      <a:pt x="471" y="668"/>
                    </a:lnTo>
                    <a:lnTo>
                      <a:pt x="469" y="670"/>
                    </a:lnTo>
                    <a:lnTo>
                      <a:pt x="468" y="670"/>
                    </a:lnTo>
                    <a:lnTo>
                      <a:pt x="466" y="670"/>
                    </a:lnTo>
                    <a:lnTo>
                      <a:pt x="464" y="672"/>
                    </a:lnTo>
                    <a:lnTo>
                      <a:pt x="462" y="672"/>
                    </a:lnTo>
                    <a:lnTo>
                      <a:pt x="461" y="672"/>
                    </a:lnTo>
                    <a:lnTo>
                      <a:pt x="459" y="672"/>
                    </a:lnTo>
                    <a:lnTo>
                      <a:pt x="457" y="672"/>
                    </a:lnTo>
                    <a:lnTo>
                      <a:pt x="456" y="672"/>
                    </a:lnTo>
                    <a:lnTo>
                      <a:pt x="454" y="672"/>
                    </a:lnTo>
                    <a:lnTo>
                      <a:pt x="454" y="674"/>
                    </a:lnTo>
                    <a:lnTo>
                      <a:pt x="452" y="674"/>
                    </a:lnTo>
                    <a:lnTo>
                      <a:pt x="449" y="674"/>
                    </a:lnTo>
                    <a:lnTo>
                      <a:pt x="447" y="674"/>
                    </a:lnTo>
                    <a:lnTo>
                      <a:pt x="445" y="675"/>
                    </a:lnTo>
                    <a:lnTo>
                      <a:pt x="444" y="675"/>
                    </a:lnTo>
                    <a:lnTo>
                      <a:pt x="442" y="675"/>
                    </a:lnTo>
                    <a:lnTo>
                      <a:pt x="440" y="675"/>
                    </a:lnTo>
                    <a:lnTo>
                      <a:pt x="439" y="675"/>
                    </a:lnTo>
                    <a:lnTo>
                      <a:pt x="435" y="677"/>
                    </a:lnTo>
                    <a:lnTo>
                      <a:pt x="434" y="677"/>
                    </a:lnTo>
                    <a:lnTo>
                      <a:pt x="432" y="677"/>
                    </a:lnTo>
                    <a:lnTo>
                      <a:pt x="430" y="677"/>
                    </a:lnTo>
                    <a:lnTo>
                      <a:pt x="428" y="677"/>
                    </a:lnTo>
                    <a:lnTo>
                      <a:pt x="427" y="677"/>
                    </a:lnTo>
                    <a:lnTo>
                      <a:pt x="425" y="677"/>
                    </a:lnTo>
                    <a:lnTo>
                      <a:pt x="423" y="679"/>
                    </a:lnTo>
                    <a:lnTo>
                      <a:pt x="422" y="679"/>
                    </a:lnTo>
                    <a:lnTo>
                      <a:pt x="420" y="679"/>
                    </a:lnTo>
                    <a:lnTo>
                      <a:pt x="418" y="679"/>
                    </a:lnTo>
                    <a:lnTo>
                      <a:pt x="417" y="679"/>
                    </a:lnTo>
                    <a:lnTo>
                      <a:pt x="415" y="679"/>
                    </a:lnTo>
                    <a:lnTo>
                      <a:pt x="411" y="679"/>
                    </a:lnTo>
                    <a:lnTo>
                      <a:pt x="410" y="679"/>
                    </a:lnTo>
                    <a:lnTo>
                      <a:pt x="408" y="679"/>
                    </a:lnTo>
                    <a:lnTo>
                      <a:pt x="406" y="679"/>
                    </a:lnTo>
                    <a:lnTo>
                      <a:pt x="405" y="679"/>
                    </a:lnTo>
                    <a:lnTo>
                      <a:pt x="403" y="679"/>
                    </a:lnTo>
                    <a:lnTo>
                      <a:pt x="401" y="677"/>
                    </a:lnTo>
                    <a:lnTo>
                      <a:pt x="400" y="677"/>
                    </a:lnTo>
                    <a:lnTo>
                      <a:pt x="398" y="679"/>
                    </a:lnTo>
                    <a:lnTo>
                      <a:pt x="396" y="677"/>
                    </a:lnTo>
                    <a:lnTo>
                      <a:pt x="394" y="677"/>
                    </a:lnTo>
                    <a:lnTo>
                      <a:pt x="393" y="677"/>
                    </a:lnTo>
                    <a:lnTo>
                      <a:pt x="393" y="675"/>
                    </a:lnTo>
                    <a:lnTo>
                      <a:pt x="391" y="675"/>
                    </a:lnTo>
                    <a:lnTo>
                      <a:pt x="389" y="675"/>
                    </a:lnTo>
                    <a:lnTo>
                      <a:pt x="389" y="674"/>
                    </a:lnTo>
                    <a:lnTo>
                      <a:pt x="388" y="674"/>
                    </a:lnTo>
                    <a:lnTo>
                      <a:pt x="388" y="672"/>
                    </a:lnTo>
                    <a:lnTo>
                      <a:pt x="386" y="670"/>
                    </a:lnTo>
                    <a:lnTo>
                      <a:pt x="384" y="670"/>
                    </a:lnTo>
                    <a:lnTo>
                      <a:pt x="383" y="668"/>
                    </a:lnTo>
                    <a:lnTo>
                      <a:pt x="383" y="670"/>
                    </a:lnTo>
                    <a:lnTo>
                      <a:pt x="381" y="668"/>
                    </a:lnTo>
                    <a:lnTo>
                      <a:pt x="379" y="668"/>
                    </a:lnTo>
                    <a:lnTo>
                      <a:pt x="381" y="668"/>
                    </a:lnTo>
                    <a:lnTo>
                      <a:pt x="381" y="670"/>
                    </a:lnTo>
                    <a:lnTo>
                      <a:pt x="379" y="670"/>
                    </a:lnTo>
                    <a:lnTo>
                      <a:pt x="379" y="672"/>
                    </a:lnTo>
                    <a:lnTo>
                      <a:pt x="381" y="670"/>
                    </a:lnTo>
                    <a:lnTo>
                      <a:pt x="381" y="672"/>
                    </a:lnTo>
                    <a:lnTo>
                      <a:pt x="383" y="672"/>
                    </a:lnTo>
                    <a:lnTo>
                      <a:pt x="381" y="672"/>
                    </a:lnTo>
                    <a:lnTo>
                      <a:pt x="379" y="672"/>
                    </a:lnTo>
                    <a:lnTo>
                      <a:pt x="379" y="674"/>
                    </a:lnTo>
                    <a:lnTo>
                      <a:pt x="381" y="674"/>
                    </a:lnTo>
                    <a:lnTo>
                      <a:pt x="379" y="675"/>
                    </a:lnTo>
                    <a:lnTo>
                      <a:pt x="379" y="677"/>
                    </a:lnTo>
                    <a:lnTo>
                      <a:pt x="381" y="677"/>
                    </a:lnTo>
                    <a:lnTo>
                      <a:pt x="383" y="677"/>
                    </a:lnTo>
                    <a:lnTo>
                      <a:pt x="384" y="677"/>
                    </a:lnTo>
                    <a:lnTo>
                      <a:pt x="386" y="679"/>
                    </a:lnTo>
                    <a:lnTo>
                      <a:pt x="384" y="679"/>
                    </a:lnTo>
                    <a:lnTo>
                      <a:pt x="383" y="680"/>
                    </a:lnTo>
                    <a:lnTo>
                      <a:pt x="381" y="680"/>
                    </a:lnTo>
                    <a:lnTo>
                      <a:pt x="381" y="682"/>
                    </a:lnTo>
                    <a:lnTo>
                      <a:pt x="381" y="684"/>
                    </a:lnTo>
                    <a:lnTo>
                      <a:pt x="381" y="685"/>
                    </a:lnTo>
                    <a:lnTo>
                      <a:pt x="381" y="687"/>
                    </a:lnTo>
                    <a:lnTo>
                      <a:pt x="381" y="689"/>
                    </a:lnTo>
                    <a:lnTo>
                      <a:pt x="383" y="689"/>
                    </a:lnTo>
                    <a:lnTo>
                      <a:pt x="381" y="689"/>
                    </a:lnTo>
                    <a:lnTo>
                      <a:pt x="381" y="691"/>
                    </a:lnTo>
                    <a:lnTo>
                      <a:pt x="383" y="691"/>
                    </a:lnTo>
                    <a:lnTo>
                      <a:pt x="384" y="691"/>
                    </a:lnTo>
                    <a:lnTo>
                      <a:pt x="386" y="691"/>
                    </a:lnTo>
                    <a:lnTo>
                      <a:pt x="388" y="691"/>
                    </a:lnTo>
                    <a:lnTo>
                      <a:pt x="388" y="692"/>
                    </a:lnTo>
                    <a:lnTo>
                      <a:pt x="389" y="692"/>
                    </a:lnTo>
                    <a:lnTo>
                      <a:pt x="389" y="694"/>
                    </a:lnTo>
                    <a:lnTo>
                      <a:pt x="391" y="694"/>
                    </a:lnTo>
                    <a:lnTo>
                      <a:pt x="391" y="696"/>
                    </a:lnTo>
                    <a:lnTo>
                      <a:pt x="391" y="697"/>
                    </a:lnTo>
                    <a:lnTo>
                      <a:pt x="389" y="696"/>
                    </a:lnTo>
                    <a:lnTo>
                      <a:pt x="388" y="696"/>
                    </a:lnTo>
                    <a:lnTo>
                      <a:pt x="388" y="694"/>
                    </a:lnTo>
                    <a:lnTo>
                      <a:pt x="386" y="694"/>
                    </a:lnTo>
                    <a:lnTo>
                      <a:pt x="386" y="692"/>
                    </a:lnTo>
                    <a:lnTo>
                      <a:pt x="384" y="691"/>
                    </a:lnTo>
                    <a:lnTo>
                      <a:pt x="384" y="692"/>
                    </a:lnTo>
                    <a:lnTo>
                      <a:pt x="384" y="691"/>
                    </a:lnTo>
                    <a:lnTo>
                      <a:pt x="383" y="692"/>
                    </a:lnTo>
                    <a:lnTo>
                      <a:pt x="384" y="692"/>
                    </a:lnTo>
                    <a:lnTo>
                      <a:pt x="384" y="694"/>
                    </a:lnTo>
                    <a:lnTo>
                      <a:pt x="386" y="694"/>
                    </a:lnTo>
                    <a:lnTo>
                      <a:pt x="386" y="696"/>
                    </a:lnTo>
                    <a:lnTo>
                      <a:pt x="388" y="696"/>
                    </a:lnTo>
                    <a:lnTo>
                      <a:pt x="388" y="697"/>
                    </a:lnTo>
                    <a:lnTo>
                      <a:pt x="389" y="697"/>
                    </a:lnTo>
                    <a:lnTo>
                      <a:pt x="389" y="699"/>
                    </a:lnTo>
                    <a:lnTo>
                      <a:pt x="389" y="701"/>
                    </a:lnTo>
                    <a:lnTo>
                      <a:pt x="389" y="702"/>
                    </a:lnTo>
                    <a:lnTo>
                      <a:pt x="388" y="702"/>
                    </a:lnTo>
                    <a:lnTo>
                      <a:pt x="388" y="704"/>
                    </a:lnTo>
                    <a:lnTo>
                      <a:pt x="388" y="706"/>
                    </a:lnTo>
                    <a:lnTo>
                      <a:pt x="388" y="708"/>
                    </a:lnTo>
                    <a:lnTo>
                      <a:pt x="388" y="709"/>
                    </a:lnTo>
                    <a:lnTo>
                      <a:pt x="388" y="711"/>
                    </a:lnTo>
                    <a:lnTo>
                      <a:pt x="388" y="713"/>
                    </a:lnTo>
                    <a:lnTo>
                      <a:pt x="388" y="714"/>
                    </a:lnTo>
                    <a:lnTo>
                      <a:pt x="388" y="716"/>
                    </a:lnTo>
                    <a:lnTo>
                      <a:pt x="388" y="718"/>
                    </a:lnTo>
                    <a:lnTo>
                      <a:pt x="386" y="718"/>
                    </a:lnTo>
                    <a:lnTo>
                      <a:pt x="386" y="716"/>
                    </a:lnTo>
                    <a:lnTo>
                      <a:pt x="384" y="716"/>
                    </a:lnTo>
                    <a:lnTo>
                      <a:pt x="384" y="718"/>
                    </a:lnTo>
                    <a:lnTo>
                      <a:pt x="383" y="718"/>
                    </a:lnTo>
                    <a:lnTo>
                      <a:pt x="383" y="716"/>
                    </a:lnTo>
                    <a:lnTo>
                      <a:pt x="381" y="716"/>
                    </a:lnTo>
                    <a:lnTo>
                      <a:pt x="381" y="718"/>
                    </a:lnTo>
                    <a:lnTo>
                      <a:pt x="381" y="719"/>
                    </a:lnTo>
                    <a:lnTo>
                      <a:pt x="381" y="721"/>
                    </a:lnTo>
                    <a:lnTo>
                      <a:pt x="381" y="723"/>
                    </a:lnTo>
                    <a:lnTo>
                      <a:pt x="379" y="723"/>
                    </a:lnTo>
                    <a:lnTo>
                      <a:pt x="379" y="725"/>
                    </a:lnTo>
                    <a:lnTo>
                      <a:pt x="379" y="726"/>
                    </a:lnTo>
                    <a:lnTo>
                      <a:pt x="379" y="728"/>
                    </a:lnTo>
                    <a:lnTo>
                      <a:pt x="381" y="728"/>
                    </a:lnTo>
                    <a:lnTo>
                      <a:pt x="381" y="730"/>
                    </a:lnTo>
                    <a:lnTo>
                      <a:pt x="379" y="730"/>
                    </a:lnTo>
                    <a:lnTo>
                      <a:pt x="379" y="731"/>
                    </a:lnTo>
                    <a:lnTo>
                      <a:pt x="377" y="731"/>
                    </a:lnTo>
                    <a:lnTo>
                      <a:pt x="377" y="733"/>
                    </a:lnTo>
                    <a:lnTo>
                      <a:pt x="376" y="733"/>
                    </a:lnTo>
                    <a:lnTo>
                      <a:pt x="376" y="735"/>
                    </a:lnTo>
                    <a:lnTo>
                      <a:pt x="374" y="735"/>
                    </a:lnTo>
                    <a:lnTo>
                      <a:pt x="374" y="736"/>
                    </a:lnTo>
                    <a:lnTo>
                      <a:pt x="376" y="738"/>
                    </a:lnTo>
                    <a:lnTo>
                      <a:pt x="376" y="740"/>
                    </a:lnTo>
                    <a:lnTo>
                      <a:pt x="376" y="742"/>
                    </a:lnTo>
                    <a:lnTo>
                      <a:pt x="377" y="742"/>
                    </a:lnTo>
                    <a:lnTo>
                      <a:pt x="377" y="743"/>
                    </a:lnTo>
                    <a:lnTo>
                      <a:pt x="379" y="743"/>
                    </a:lnTo>
                    <a:lnTo>
                      <a:pt x="381" y="745"/>
                    </a:lnTo>
                    <a:lnTo>
                      <a:pt x="383" y="747"/>
                    </a:lnTo>
                    <a:lnTo>
                      <a:pt x="384" y="747"/>
                    </a:lnTo>
                    <a:lnTo>
                      <a:pt x="384" y="748"/>
                    </a:lnTo>
                    <a:lnTo>
                      <a:pt x="386" y="748"/>
                    </a:lnTo>
                    <a:lnTo>
                      <a:pt x="386" y="750"/>
                    </a:lnTo>
                    <a:lnTo>
                      <a:pt x="384" y="752"/>
                    </a:lnTo>
                    <a:lnTo>
                      <a:pt x="383" y="753"/>
                    </a:lnTo>
                    <a:lnTo>
                      <a:pt x="383" y="755"/>
                    </a:lnTo>
                    <a:lnTo>
                      <a:pt x="383" y="757"/>
                    </a:lnTo>
                    <a:lnTo>
                      <a:pt x="381" y="759"/>
                    </a:lnTo>
                    <a:lnTo>
                      <a:pt x="381" y="760"/>
                    </a:lnTo>
                    <a:lnTo>
                      <a:pt x="379" y="762"/>
                    </a:lnTo>
                    <a:lnTo>
                      <a:pt x="377" y="762"/>
                    </a:lnTo>
                    <a:lnTo>
                      <a:pt x="377" y="764"/>
                    </a:lnTo>
                    <a:lnTo>
                      <a:pt x="376" y="764"/>
                    </a:lnTo>
                    <a:lnTo>
                      <a:pt x="374" y="764"/>
                    </a:lnTo>
                    <a:lnTo>
                      <a:pt x="372" y="764"/>
                    </a:lnTo>
                    <a:lnTo>
                      <a:pt x="372" y="765"/>
                    </a:lnTo>
                    <a:lnTo>
                      <a:pt x="371" y="765"/>
                    </a:lnTo>
                    <a:lnTo>
                      <a:pt x="369" y="767"/>
                    </a:lnTo>
                    <a:lnTo>
                      <a:pt x="367" y="767"/>
                    </a:lnTo>
                    <a:lnTo>
                      <a:pt x="367" y="769"/>
                    </a:lnTo>
                    <a:lnTo>
                      <a:pt x="366" y="769"/>
                    </a:lnTo>
                    <a:lnTo>
                      <a:pt x="366" y="767"/>
                    </a:lnTo>
                    <a:lnTo>
                      <a:pt x="364" y="767"/>
                    </a:lnTo>
                    <a:lnTo>
                      <a:pt x="364" y="769"/>
                    </a:lnTo>
                    <a:lnTo>
                      <a:pt x="362" y="769"/>
                    </a:lnTo>
                    <a:lnTo>
                      <a:pt x="362" y="770"/>
                    </a:lnTo>
                    <a:lnTo>
                      <a:pt x="360" y="770"/>
                    </a:lnTo>
                    <a:lnTo>
                      <a:pt x="359" y="770"/>
                    </a:lnTo>
                    <a:lnTo>
                      <a:pt x="357" y="772"/>
                    </a:lnTo>
                    <a:lnTo>
                      <a:pt x="355" y="772"/>
                    </a:lnTo>
                    <a:lnTo>
                      <a:pt x="355" y="774"/>
                    </a:lnTo>
                    <a:lnTo>
                      <a:pt x="354" y="774"/>
                    </a:lnTo>
                    <a:lnTo>
                      <a:pt x="352" y="774"/>
                    </a:lnTo>
                    <a:lnTo>
                      <a:pt x="350" y="774"/>
                    </a:lnTo>
                    <a:lnTo>
                      <a:pt x="349" y="774"/>
                    </a:lnTo>
                    <a:lnTo>
                      <a:pt x="347" y="774"/>
                    </a:lnTo>
                    <a:lnTo>
                      <a:pt x="345" y="774"/>
                    </a:lnTo>
                    <a:lnTo>
                      <a:pt x="343" y="774"/>
                    </a:lnTo>
                    <a:lnTo>
                      <a:pt x="342" y="774"/>
                    </a:lnTo>
                    <a:lnTo>
                      <a:pt x="340" y="774"/>
                    </a:lnTo>
                    <a:lnTo>
                      <a:pt x="338" y="774"/>
                    </a:lnTo>
                    <a:lnTo>
                      <a:pt x="337" y="774"/>
                    </a:lnTo>
                    <a:lnTo>
                      <a:pt x="335" y="774"/>
                    </a:lnTo>
                    <a:lnTo>
                      <a:pt x="333" y="774"/>
                    </a:lnTo>
                    <a:lnTo>
                      <a:pt x="332" y="774"/>
                    </a:lnTo>
                    <a:lnTo>
                      <a:pt x="330" y="774"/>
                    </a:lnTo>
                    <a:lnTo>
                      <a:pt x="330" y="772"/>
                    </a:lnTo>
                    <a:lnTo>
                      <a:pt x="328" y="772"/>
                    </a:lnTo>
                    <a:lnTo>
                      <a:pt x="326" y="772"/>
                    </a:lnTo>
                    <a:lnTo>
                      <a:pt x="326" y="770"/>
                    </a:lnTo>
                    <a:lnTo>
                      <a:pt x="325" y="769"/>
                    </a:lnTo>
                    <a:lnTo>
                      <a:pt x="323" y="769"/>
                    </a:lnTo>
                    <a:lnTo>
                      <a:pt x="321" y="769"/>
                    </a:lnTo>
                    <a:lnTo>
                      <a:pt x="321" y="767"/>
                    </a:lnTo>
                    <a:lnTo>
                      <a:pt x="320" y="767"/>
                    </a:lnTo>
                    <a:lnTo>
                      <a:pt x="321" y="767"/>
                    </a:lnTo>
                    <a:lnTo>
                      <a:pt x="321" y="765"/>
                    </a:lnTo>
                    <a:lnTo>
                      <a:pt x="320" y="765"/>
                    </a:lnTo>
                    <a:lnTo>
                      <a:pt x="320" y="767"/>
                    </a:lnTo>
                    <a:lnTo>
                      <a:pt x="318" y="767"/>
                    </a:lnTo>
                    <a:lnTo>
                      <a:pt x="316" y="767"/>
                    </a:lnTo>
                    <a:lnTo>
                      <a:pt x="315" y="765"/>
                    </a:lnTo>
                    <a:lnTo>
                      <a:pt x="313" y="765"/>
                    </a:lnTo>
                    <a:lnTo>
                      <a:pt x="313" y="764"/>
                    </a:lnTo>
                    <a:lnTo>
                      <a:pt x="311" y="764"/>
                    </a:lnTo>
                    <a:lnTo>
                      <a:pt x="309" y="762"/>
                    </a:lnTo>
                    <a:lnTo>
                      <a:pt x="308" y="762"/>
                    </a:lnTo>
                    <a:lnTo>
                      <a:pt x="306" y="760"/>
                    </a:lnTo>
                    <a:lnTo>
                      <a:pt x="304" y="760"/>
                    </a:lnTo>
                    <a:lnTo>
                      <a:pt x="303" y="760"/>
                    </a:lnTo>
                    <a:lnTo>
                      <a:pt x="301" y="759"/>
                    </a:lnTo>
                    <a:lnTo>
                      <a:pt x="299" y="759"/>
                    </a:lnTo>
                    <a:lnTo>
                      <a:pt x="298" y="759"/>
                    </a:lnTo>
                    <a:lnTo>
                      <a:pt x="296" y="759"/>
                    </a:lnTo>
                    <a:lnTo>
                      <a:pt x="294" y="759"/>
                    </a:lnTo>
                    <a:lnTo>
                      <a:pt x="292" y="759"/>
                    </a:lnTo>
                    <a:lnTo>
                      <a:pt x="294" y="757"/>
                    </a:lnTo>
                    <a:lnTo>
                      <a:pt x="296" y="757"/>
                    </a:lnTo>
                    <a:lnTo>
                      <a:pt x="298" y="757"/>
                    </a:lnTo>
                    <a:lnTo>
                      <a:pt x="298" y="759"/>
                    </a:lnTo>
                    <a:lnTo>
                      <a:pt x="299" y="757"/>
                    </a:lnTo>
                    <a:lnTo>
                      <a:pt x="298" y="757"/>
                    </a:lnTo>
                    <a:lnTo>
                      <a:pt x="299" y="757"/>
                    </a:lnTo>
                    <a:lnTo>
                      <a:pt x="298" y="757"/>
                    </a:lnTo>
                    <a:lnTo>
                      <a:pt x="296" y="757"/>
                    </a:lnTo>
                    <a:lnTo>
                      <a:pt x="298" y="755"/>
                    </a:lnTo>
                    <a:lnTo>
                      <a:pt x="296" y="755"/>
                    </a:lnTo>
                    <a:lnTo>
                      <a:pt x="298" y="755"/>
                    </a:lnTo>
                    <a:lnTo>
                      <a:pt x="296" y="755"/>
                    </a:lnTo>
                    <a:lnTo>
                      <a:pt x="296" y="753"/>
                    </a:lnTo>
                    <a:lnTo>
                      <a:pt x="294" y="753"/>
                    </a:lnTo>
                    <a:lnTo>
                      <a:pt x="292" y="753"/>
                    </a:lnTo>
                    <a:lnTo>
                      <a:pt x="291" y="753"/>
                    </a:lnTo>
                    <a:lnTo>
                      <a:pt x="292" y="753"/>
                    </a:lnTo>
                    <a:lnTo>
                      <a:pt x="291" y="753"/>
                    </a:lnTo>
                    <a:lnTo>
                      <a:pt x="291" y="755"/>
                    </a:lnTo>
                    <a:lnTo>
                      <a:pt x="292" y="753"/>
                    </a:lnTo>
                    <a:lnTo>
                      <a:pt x="292" y="755"/>
                    </a:lnTo>
                    <a:lnTo>
                      <a:pt x="294" y="755"/>
                    </a:lnTo>
                    <a:lnTo>
                      <a:pt x="292" y="755"/>
                    </a:lnTo>
                    <a:lnTo>
                      <a:pt x="291" y="755"/>
                    </a:lnTo>
                    <a:lnTo>
                      <a:pt x="289" y="755"/>
                    </a:lnTo>
                    <a:lnTo>
                      <a:pt x="289" y="757"/>
                    </a:lnTo>
                    <a:lnTo>
                      <a:pt x="287" y="757"/>
                    </a:lnTo>
                    <a:lnTo>
                      <a:pt x="287" y="759"/>
                    </a:lnTo>
                    <a:lnTo>
                      <a:pt x="286" y="759"/>
                    </a:lnTo>
                    <a:lnTo>
                      <a:pt x="286" y="760"/>
                    </a:lnTo>
                    <a:lnTo>
                      <a:pt x="286" y="762"/>
                    </a:lnTo>
                    <a:lnTo>
                      <a:pt x="284" y="764"/>
                    </a:lnTo>
                    <a:lnTo>
                      <a:pt x="284" y="765"/>
                    </a:lnTo>
                    <a:lnTo>
                      <a:pt x="284" y="767"/>
                    </a:lnTo>
                    <a:lnTo>
                      <a:pt x="284" y="769"/>
                    </a:lnTo>
                    <a:lnTo>
                      <a:pt x="284" y="770"/>
                    </a:lnTo>
                    <a:lnTo>
                      <a:pt x="286" y="770"/>
                    </a:lnTo>
                    <a:lnTo>
                      <a:pt x="286" y="772"/>
                    </a:lnTo>
                    <a:lnTo>
                      <a:pt x="286" y="774"/>
                    </a:lnTo>
                    <a:lnTo>
                      <a:pt x="284" y="774"/>
                    </a:lnTo>
                    <a:lnTo>
                      <a:pt x="286" y="774"/>
                    </a:lnTo>
                    <a:lnTo>
                      <a:pt x="286" y="776"/>
                    </a:lnTo>
                    <a:lnTo>
                      <a:pt x="286" y="777"/>
                    </a:lnTo>
                    <a:lnTo>
                      <a:pt x="286" y="779"/>
                    </a:lnTo>
                    <a:lnTo>
                      <a:pt x="286" y="781"/>
                    </a:lnTo>
                    <a:lnTo>
                      <a:pt x="287" y="781"/>
                    </a:lnTo>
                    <a:lnTo>
                      <a:pt x="287" y="782"/>
                    </a:lnTo>
                    <a:lnTo>
                      <a:pt x="287" y="784"/>
                    </a:lnTo>
                    <a:lnTo>
                      <a:pt x="287" y="786"/>
                    </a:lnTo>
                    <a:lnTo>
                      <a:pt x="289" y="787"/>
                    </a:lnTo>
                    <a:lnTo>
                      <a:pt x="291" y="789"/>
                    </a:lnTo>
                    <a:lnTo>
                      <a:pt x="291" y="791"/>
                    </a:lnTo>
                    <a:lnTo>
                      <a:pt x="289" y="791"/>
                    </a:lnTo>
                    <a:lnTo>
                      <a:pt x="291" y="793"/>
                    </a:lnTo>
                    <a:lnTo>
                      <a:pt x="289" y="793"/>
                    </a:lnTo>
                    <a:lnTo>
                      <a:pt x="289" y="794"/>
                    </a:lnTo>
                    <a:lnTo>
                      <a:pt x="289" y="796"/>
                    </a:lnTo>
                    <a:lnTo>
                      <a:pt x="289" y="798"/>
                    </a:lnTo>
                    <a:lnTo>
                      <a:pt x="289" y="799"/>
                    </a:lnTo>
                    <a:lnTo>
                      <a:pt x="289" y="801"/>
                    </a:lnTo>
                    <a:lnTo>
                      <a:pt x="291" y="801"/>
                    </a:lnTo>
                    <a:lnTo>
                      <a:pt x="289" y="801"/>
                    </a:lnTo>
                    <a:lnTo>
                      <a:pt x="289" y="803"/>
                    </a:lnTo>
                    <a:lnTo>
                      <a:pt x="289" y="804"/>
                    </a:lnTo>
                    <a:lnTo>
                      <a:pt x="289" y="806"/>
                    </a:lnTo>
                    <a:lnTo>
                      <a:pt x="287" y="806"/>
                    </a:lnTo>
                    <a:lnTo>
                      <a:pt x="287" y="808"/>
                    </a:lnTo>
                    <a:lnTo>
                      <a:pt x="287" y="810"/>
                    </a:lnTo>
                    <a:lnTo>
                      <a:pt x="287" y="811"/>
                    </a:lnTo>
                    <a:lnTo>
                      <a:pt x="287" y="813"/>
                    </a:lnTo>
                    <a:lnTo>
                      <a:pt x="289" y="815"/>
                    </a:lnTo>
                    <a:lnTo>
                      <a:pt x="289" y="816"/>
                    </a:lnTo>
                    <a:lnTo>
                      <a:pt x="291" y="816"/>
                    </a:lnTo>
                    <a:lnTo>
                      <a:pt x="291" y="818"/>
                    </a:lnTo>
                    <a:lnTo>
                      <a:pt x="292" y="818"/>
                    </a:lnTo>
                    <a:lnTo>
                      <a:pt x="292" y="820"/>
                    </a:lnTo>
                    <a:lnTo>
                      <a:pt x="294" y="820"/>
                    </a:lnTo>
                    <a:lnTo>
                      <a:pt x="296" y="820"/>
                    </a:lnTo>
                    <a:lnTo>
                      <a:pt x="298" y="820"/>
                    </a:lnTo>
                    <a:lnTo>
                      <a:pt x="298" y="822"/>
                    </a:lnTo>
                    <a:lnTo>
                      <a:pt x="299" y="822"/>
                    </a:lnTo>
                    <a:lnTo>
                      <a:pt x="301" y="822"/>
                    </a:lnTo>
                    <a:lnTo>
                      <a:pt x="303" y="822"/>
                    </a:lnTo>
                    <a:lnTo>
                      <a:pt x="304" y="822"/>
                    </a:lnTo>
                    <a:lnTo>
                      <a:pt x="306" y="822"/>
                    </a:lnTo>
                    <a:lnTo>
                      <a:pt x="306" y="823"/>
                    </a:lnTo>
                    <a:lnTo>
                      <a:pt x="306" y="822"/>
                    </a:lnTo>
                    <a:lnTo>
                      <a:pt x="308" y="823"/>
                    </a:lnTo>
                    <a:lnTo>
                      <a:pt x="306" y="823"/>
                    </a:lnTo>
                    <a:lnTo>
                      <a:pt x="306" y="825"/>
                    </a:lnTo>
                    <a:lnTo>
                      <a:pt x="304" y="825"/>
                    </a:lnTo>
                    <a:lnTo>
                      <a:pt x="304" y="827"/>
                    </a:lnTo>
                    <a:lnTo>
                      <a:pt x="304" y="828"/>
                    </a:lnTo>
                    <a:lnTo>
                      <a:pt x="303" y="830"/>
                    </a:lnTo>
                    <a:lnTo>
                      <a:pt x="303" y="832"/>
                    </a:lnTo>
                    <a:lnTo>
                      <a:pt x="304" y="832"/>
                    </a:lnTo>
                    <a:lnTo>
                      <a:pt x="304" y="830"/>
                    </a:lnTo>
                    <a:lnTo>
                      <a:pt x="304" y="832"/>
                    </a:lnTo>
                    <a:lnTo>
                      <a:pt x="306" y="830"/>
                    </a:lnTo>
                    <a:lnTo>
                      <a:pt x="306" y="832"/>
                    </a:lnTo>
                    <a:lnTo>
                      <a:pt x="308" y="832"/>
                    </a:lnTo>
                    <a:lnTo>
                      <a:pt x="308" y="830"/>
                    </a:lnTo>
                    <a:lnTo>
                      <a:pt x="308" y="832"/>
                    </a:lnTo>
                    <a:lnTo>
                      <a:pt x="309" y="832"/>
                    </a:lnTo>
                    <a:lnTo>
                      <a:pt x="311" y="832"/>
                    </a:lnTo>
                    <a:lnTo>
                      <a:pt x="311" y="830"/>
                    </a:lnTo>
                    <a:lnTo>
                      <a:pt x="311" y="832"/>
                    </a:lnTo>
                    <a:lnTo>
                      <a:pt x="313" y="830"/>
                    </a:lnTo>
                    <a:lnTo>
                      <a:pt x="315" y="830"/>
                    </a:lnTo>
                    <a:lnTo>
                      <a:pt x="316" y="830"/>
                    </a:lnTo>
                    <a:lnTo>
                      <a:pt x="318" y="830"/>
                    </a:lnTo>
                    <a:lnTo>
                      <a:pt x="320" y="832"/>
                    </a:lnTo>
                    <a:lnTo>
                      <a:pt x="320" y="830"/>
                    </a:lnTo>
                    <a:lnTo>
                      <a:pt x="321" y="830"/>
                    </a:lnTo>
                    <a:lnTo>
                      <a:pt x="321" y="828"/>
                    </a:lnTo>
                    <a:lnTo>
                      <a:pt x="323" y="828"/>
                    </a:lnTo>
                    <a:lnTo>
                      <a:pt x="321" y="827"/>
                    </a:lnTo>
                    <a:lnTo>
                      <a:pt x="323" y="827"/>
                    </a:lnTo>
                    <a:lnTo>
                      <a:pt x="321" y="825"/>
                    </a:lnTo>
                    <a:lnTo>
                      <a:pt x="321" y="823"/>
                    </a:lnTo>
                    <a:lnTo>
                      <a:pt x="320" y="823"/>
                    </a:lnTo>
                    <a:lnTo>
                      <a:pt x="318" y="823"/>
                    </a:lnTo>
                    <a:lnTo>
                      <a:pt x="316" y="823"/>
                    </a:lnTo>
                    <a:lnTo>
                      <a:pt x="316" y="822"/>
                    </a:lnTo>
                    <a:lnTo>
                      <a:pt x="315" y="823"/>
                    </a:lnTo>
                    <a:lnTo>
                      <a:pt x="313" y="823"/>
                    </a:lnTo>
                    <a:lnTo>
                      <a:pt x="311" y="823"/>
                    </a:lnTo>
                    <a:lnTo>
                      <a:pt x="311" y="822"/>
                    </a:lnTo>
                    <a:lnTo>
                      <a:pt x="313" y="822"/>
                    </a:lnTo>
                    <a:lnTo>
                      <a:pt x="316" y="822"/>
                    </a:lnTo>
                    <a:lnTo>
                      <a:pt x="318" y="820"/>
                    </a:lnTo>
                    <a:lnTo>
                      <a:pt x="320" y="820"/>
                    </a:lnTo>
                    <a:lnTo>
                      <a:pt x="321" y="820"/>
                    </a:lnTo>
                    <a:lnTo>
                      <a:pt x="323" y="820"/>
                    </a:lnTo>
                    <a:lnTo>
                      <a:pt x="323" y="818"/>
                    </a:lnTo>
                    <a:lnTo>
                      <a:pt x="325" y="818"/>
                    </a:lnTo>
                    <a:lnTo>
                      <a:pt x="325" y="816"/>
                    </a:lnTo>
                    <a:lnTo>
                      <a:pt x="326" y="816"/>
                    </a:lnTo>
                    <a:lnTo>
                      <a:pt x="328" y="816"/>
                    </a:lnTo>
                    <a:lnTo>
                      <a:pt x="328" y="815"/>
                    </a:lnTo>
                    <a:lnTo>
                      <a:pt x="330" y="815"/>
                    </a:lnTo>
                    <a:lnTo>
                      <a:pt x="332" y="815"/>
                    </a:lnTo>
                    <a:lnTo>
                      <a:pt x="333" y="816"/>
                    </a:lnTo>
                    <a:lnTo>
                      <a:pt x="333" y="818"/>
                    </a:lnTo>
                    <a:lnTo>
                      <a:pt x="333" y="820"/>
                    </a:lnTo>
                    <a:lnTo>
                      <a:pt x="335" y="822"/>
                    </a:lnTo>
                    <a:lnTo>
                      <a:pt x="335" y="823"/>
                    </a:lnTo>
                    <a:lnTo>
                      <a:pt x="337" y="825"/>
                    </a:lnTo>
                    <a:lnTo>
                      <a:pt x="337" y="827"/>
                    </a:lnTo>
                    <a:lnTo>
                      <a:pt x="337" y="828"/>
                    </a:lnTo>
                    <a:lnTo>
                      <a:pt x="337" y="830"/>
                    </a:lnTo>
                    <a:lnTo>
                      <a:pt x="337" y="832"/>
                    </a:lnTo>
                    <a:lnTo>
                      <a:pt x="337" y="833"/>
                    </a:lnTo>
                    <a:lnTo>
                      <a:pt x="337" y="835"/>
                    </a:lnTo>
                    <a:lnTo>
                      <a:pt x="337" y="837"/>
                    </a:lnTo>
                    <a:lnTo>
                      <a:pt x="338" y="837"/>
                    </a:lnTo>
                    <a:lnTo>
                      <a:pt x="338" y="839"/>
                    </a:lnTo>
                    <a:lnTo>
                      <a:pt x="338" y="840"/>
                    </a:lnTo>
                    <a:lnTo>
                      <a:pt x="337" y="840"/>
                    </a:lnTo>
                    <a:lnTo>
                      <a:pt x="337" y="842"/>
                    </a:lnTo>
                    <a:lnTo>
                      <a:pt x="337" y="844"/>
                    </a:lnTo>
                    <a:lnTo>
                      <a:pt x="337" y="845"/>
                    </a:lnTo>
                    <a:lnTo>
                      <a:pt x="337" y="847"/>
                    </a:lnTo>
                    <a:lnTo>
                      <a:pt x="335" y="847"/>
                    </a:lnTo>
                    <a:lnTo>
                      <a:pt x="333" y="849"/>
                    </a:lnTo>
                    <a:lnTo>
                      <a:pt x="332" y="849"/>
                    </a:lnTo>
                    <a:lnTo>
                      <a:pt x="330" y="849"/>
                    </a:lnTo>
                    <a:lnTo>
                      <a:pt x="328" y="849"/>
                    </a:lnTo>
                    <a:lnTo>
                      <a:pt x="328" y="850"/>
                    </a:lnTo>
                    <a:lnTo>
                      <a:pt x="326" y="850"/>
                    </a:lnTo>
                    <a:lnTo>
                      <a:pt x="325" y="850"/>
                    </a:lnTo>
                    <a:lnTo>
                      <a:pt x="323" y="850"/>
                    </a:lnTo>
                    <a:lnTo>
                      <a:pt x="321" y="850"/>
                    </a:lnTo>
                    <a:lnTo>
                      <a:pt x="321" y="852"/>
                    </a:lnTo>
                    <a:lnTo>
                      <a:pt x="320" y="852"/>
                    </a:lnTo>
                    <a:lnTo>
                      <a:pt x="318" y="850"/>
                    </a:lnTo>
                    <a:lnTo>
                      <a:pt x="316" y="849"/>
                    </a:lnTo>
                    <a:lnTo>
                      <a:pt x="316" y="847"/>
                    </a:lnTo>
                    <a:lnTo>
                      <a:pt x="315" y="847"/>
                    </a:lnTo>
                    <a:lnTo>
                      <a:pt x="315" y="845"/>
                    </a:lnTo>
                    <a:lnTo>
                      <a:pt x="316" y="844"/>
                    </a:lnTo>
                    <a:lnTo>
                      <a:pt x="315" y="842"/>
                    </a:lnTo>
                    <a:lnTo>
                      <a:pt x="316" y="842"/>
                    </a:lnTo>
                    <a:lnTo>
                      <a:pt x="316" y="840"/>
                    </a:lnTo>
                    <a:lnTo>
                      <a:pt x="315" y="840"/>
                    </a:lnTo>
                    <a:lnTo>
                      <a:pt x="315" y="839"/>
                    </a:lnTo>
                    <a:lnTo>
                      <a:pt x="313" y="839"/>
                    </a:lnTo>
                    <a:lnTo>
                      <a:pt x="313" y="837"/>
                    </a:lnTo>
                    <a:lnTo>
                      <a:pt x="311" y="837"/>
                    </a:lnTo>
                    <a:lnTo>
                      <a:pt x="311" y="835"/>
                    </a:lnTo>
                    <a:lnTo>
                      <a:pt x="309" y="835"/>
                    </a:lnTo>
                    <a:lnTo>
                      <a:pt x="308" y="835"/>
                    </a:lnTo>
                    <a:lnTo>
                      <a:pt x="306" y="835"/>
                    </a:lnTo>
                    <a:lnTo>
                      <a:pt x="306" y="833"/>
                    </a:lnTo>
                    <a:lnTo>
                      <a:pt x="304" y="833"/>
                    </a:lnTo>
                    <a:lnTo>
                      <a:pt x="303" y="835"/>
                    </a:lnTo>
                    <a:lnTo>
                      <a:pt x="301" y="835"/>
                    </a:lnTo>
                    <a:lnTo>
                      <a:pt x="299" y="835"/>
                    </a:lnTo>
                    <a:lnTo>
                      <a:pt x="299" y="837"/>
                    </a:lnTo>
                    <a:lnTo>
                      <a:pt x="298" y="837"/>
                    </a:lnTo>
                    <a:lnTo>
                      <a:pt x="298" y="839"/>
                    </a:lnTo>
                    <a:lnTo>
                      <a:pt x="296" y="839"/>
                    </a:lnTo>
                    <a:lnTo>
                      <a:pt x="296" y="840"/>
                    </a:lnTo>
                    <a:lnTo>
                      <a:pt x="294" y="840"/>
                    </a:lnTo>
                    <a:lnTo>
                      <a:pt x="292" y="840"/>
                    </a:lnTo>
                    <a:lnTo>
                      <a:pt x="291" y="840"/>
                    </a:lnTo>
                    <a:lnTo>
                      <a:pt x="291" y="842"/>
                    </a:lnTo>
                    <a:lnTo>
                      <a:pt x="291" y="844"/>
                    </a:lnTo>
                    <a:lnTo>
                      <a:pt x="289" y="844"/>
                    </a:lnTo>
                    <a:lnTo>
                      <a:pt x="289" y="845"/>
                    </a:lnTo>
                    <a:lnTo>
                      <a:pt x="289" y="847"/>
                    </a:lnTo>
                    <a:lnTo>
                      <a:pt x="291" y="847"/>
                    </a:lnTo>
                    <a:lnTo>
                      <a:pt x="291" y="849"/>
                    </a:lnTo>
                    <a:lnTo>
                      <a:pt x="291" y="847"/>
                    </a:lnTo>
                    <a:lnTo>
                      <a:pt x="292" y="847"/>
                    </a:lnTo>
                    <a:lnTo>
                      <a:pt x="292" y="849"/>
                    </a:lnTo>
                    <a:lnTo>
                      <a:pt x="294" y="849"/>
                    </a:lnTo>
                    <a:lnTo>
                      <a:pt x="294" y="850"/>
                    </a:lnTo>
                    <a:lnTo>
                      <a:pt x="296" y="850"/>
                    </a:lnTo>
                    <a:lnTo>
                      <a:pt x="298" y="850"/>
                    </a:lnTo>
                    <a:lnTo>
                      <a:pt x="299" y="852"/>
                    </a:lnTo>
                    <a:lnTo>
                      <a:pt x="301" y="852"/>
                    </a:lnTo>
                    <a:lnTo>
                      <a:pt x="301" y="854"/>
                    </a:lnTo>
                    <a:lnTo>
                      <a:pt x="303" y="854"/>
                    </a:lnTo>
                    <a:lnTo>
                      <a:pt x="304" y="854"/>
                    </a:lnTo>
                    <a:lnTo>
                      <a:pt x="306" y="854"/>
                    </a:lnTo>
                    <a:lnTo>
                      <a:pt x="306" y="856"/>
                    </a:lnTo>
                    <a:lnTo>
                      <a:pt x="308" y="856"/>
                    </a:lnTo>
                    <a:lnTo>
                      <a:pt x="309" y="856"/>
                    </a:lnTo>
                    <a:lnTo>
                      <a:pt x="311" y="856"/>
                    </a:lnTo>
                    <a:lnTo>
                      <a:pt x="313" y="854"/>
                    </a:lnTo>
                    <a:lnTo>
                      <a:pt x="313" y="856"/>
                    </a:lnTo>
                    <a:lnTo>
                      <a:pt x="313" y="857"/>
                    </a:lnTo>
                    <a:lnTo>
                      <a:pt x="311" y="857"/>
                    </a:lnTo>
                    <a:lnTo>
                      <a:pt x="311" y="859"/>
                    </a:lnTo>
                    <a:lnTo>
                      <a:pt x="309" y="859"/>
                    </a:lnTo>
                    <a:lnTo>
                      <a:pt x="309" y="861"/>
                    </a:lnTo>
                    <a:lnTo>
                      <a:pt x="308" y="861"/>
                    </a:lnTo>
                    <a:lnTo>
                      <a:pt x="306" y="861"/>
                    </a:lnTo>
                    <a:lnTo>
                      <a:pt x="304" y="862"/>
                    </a:lnTo>
                    <a:lnTo>
                      <a:pt x="303" y="862"/>
                    </a:lnTo>
                    <a:lnTo>
                      <a:pt x="301" y="864"/>
                    </a:lnTo>
                    <a:lnTo>
                      <a:pt x="298" y="864"/>
                    </a:lnTo>
                    <a:lnTo>
                      <a:pt x="294" y="866"/>
                    </a:lnTo>
                    <a:lnTo>
                      <a:pt x="294" y="867"/>
                    </a:lnTo>
                    <a:lnTo>
                      <a:pt x="291" y="869"/>
                    </a:lnTo>
                    <a:lnTo>
                      <a:pt x="289" y="871"/>
                    </a:lnTo>
                    <a:lnTo>
                      <a:pt x="289" y="873"/>
                    </a:lnTo>
                    <a:lnTo>
                      <a:pt x="287" y="874"/>
                    </a:lnTo>
                    <a:lnTo>
                      <a:pt x="289" y="874"/>
                    </a:lnTo>
                    <a:lnTo>
                      <a:pt x="289" y="876"/>
                    </a:lnTo>
                    <a:lnTo>
                      <a:pt x="287" y="876"/>
                    </a:lnTo>
                    <a:lnTo>
                      <a:pt x="287" y="878"/>
                    </a:lnTo>
                    <a:lnTo>
                      <a:pt x="286" y="878"/>
                    </a:lnTo>
                    <a:lnTo>
                      <a:pt x="286" y="879"/>
                    </a:lnTo>
                    <a:lnTo>
                      <a:pt x="284" y="879"/>
                    </a:lnTo>
                    <a:lnTo>
                      <a:pt x="284" y="881"/>
                    </a:lnTo>
                    <a:lnTo>
                      <a:pt x="284" y="883"/>
                    </a:lnTo>
                    <a:lnTo>
                      <a:pt x="282" y="883"/>
                    </a:lnTo>
                    <a:lnTo>
                      <a:pt x="282" y="884"/>
                    </a:lnTo>
                    <a:lnTo>
                      <a:pt x="281" y="884"/>
                    </a:lnTo>
                    <a:lnTo>
                      <a:pt x="281" y="886"/>
                    </a:lnTo>
                    <a:lnTo>
                      <a:pt x="279" y="886"/>
                    </a:lnTo>
                    <a:lnTo>
                      <a:pt x="279" y="888"/>
                    </a:lnTo>
                    <a:lnTo>
                      <a:pt x="279" y="890"/>
                    </a:lnTo>
                    <a:lnTo>
                      <a:pt x="279" y="891"/>
                    </a:lnTo>
                    <a:lnTo>
                      <a:pt x="279" y="893"/>
                    </a:lnTo>
                    <a:lnTo>
                      <a:pt x="279" y="895"/>
                    </a:lnTo>
                    <a:lnTo>
                      <a:pt x="279" y="896"/>
                    </a:lnTo>
                    <a:lnTo>
                      <a:pt x="279" y="898"/>
                    </a:lnTo>
                    <a:lnTo>
                      <a:pt x="279" y="900"/>
                    </a:lnTo>
                    <a:lnTo>
                      <a:pt x="281" y="900"/>
                    </a:lnTo>
                    <a:lnTo>
                      <a:pt x="281" y="901"/>
                    </a:lnTo>
                    <a:lnTo>
                      <a:pt x="281" y="903"/>
                    </a:lnTo>
                    <a:lnTo>
                      <a:pt x="282" y="903"/>
                    </a:lnTo>
                    <a:lnTo>
                      <a:pt x="281" y="903"/>
                    </a:lnTo>
                    <a:lnTo>
                      <a:pt x="282" y="905"/>
                    </a:lnTo>
                    <a:lnTo>
                      <a:pt x="282" y="907"/>
                    </a:lnTo>
                    <a:lnTo>
                      <a:pt x="284" y="905"/>
                    </a:lnTo>
                    <a:lnTo>
                      <a:pt x="282" y="907"/>
                    </a:lnTo>
                    <a:lnTo>
                      <a:pt x="282" y="908"/>
                    </a:lnTo>
                    <a:lnTo>
                      <a:pt x="282" y="910"/>
                    </a:lnTo>
                    <a:lnTo>
                      <a:pt x="282" y="912"/>
                    </a:lnTo>
                    <a:lnTo>
                      <a:pt x="281" y="910"/>
                    </a:lnTo>
                    <a:lnTo>
                      <a:pt x="281" y="912"/>
                    </a:lnTo>
                    <a:lnTo>
                      <a:pt x="279" y="912"/>
                    </a:lnTo>
                    <a:lnTo>
                      <a:pt x="279" y="913"/>
                    </a:lnTo>
                    <a:lnTo>
                      <a:pt x="279" y="915"/>
                    </a:lnTo>
                    <a:lnTo>
                      <a:pt x="281" y="915"/>
                    </a:lnTo>
                    <a:lnTo>
                      <a:pt x="281" y="917"/>
                    </a:lnTo>
                    <a:lnTo>
                      <a:pt x="281" y="918"/>
                    </a:lnTo>
                    <a:lnTo>
                      <a:pt x="282" y="918"/>
                    </a:lnTo>
                    <a:lnTo>
                      <a:pt x="281" y="920"/>
                    </a:lnTo>
                    <a:lnTo>
                      <a:pt x="282" y="920"/>
                    </a:lnTo>
                    <a:lnTo>
                      <a:pt x="282" y="922"/>
                    </a:lnTo>
                    <a:lnTo>
                      <a:pt x="281" y="922"/>
                    </a:lnTo>
                    <a:lnTo>
                      <a:pt x="281" y="924"/>
                    </a:lnTo>
                    <a:lnTo>
                      <a:pt x="279" y="924"/>
                    </a:lnTo>
                    <a:lnTo>
                      <a:pt x="279" y="925"/>
                    </a:lnTo>
                    <a:lnTo>
                      <a:pt x="279" y="927"/>
                    </a:lnTo>
                    <a:lnTo>
                      <a:pt x="281" y="927"/>
                    </a:lnTo>
                    <a:lnTo>
                      <a:pt x="281" y="929"/>
                    </a:lnTo>
                    <a:lnTo>
                      <a:pt x="279" y="929"/>
                    </a:lnTo>
                    <a:lnTo>
                      <a:pt x="277" y="929"/>
                    </a:lnTo>
                    <a:lnTo>
                      <a:pt x="277" y="930"/>
                    </a:lnTo>
                    <a:lnTo>
                      <a:pt x="277" y="932"/>
                    </a:lnTo>
                    <a:lnTo>
                      <a:pt x="277" y="930"/>
                    </a:lnTo>
                    <a:lnTo>
                      <a:pt x="277" y="932"/>
                    </a:lnTo>
                    <a:lnTo>
                      <a:pt x="275" y="930"/>
                    </a:lnTo>
                    <a:lnTo>
                      <a:pt x="274" y="930"/>
                    </a:lnTo>
                    <a:lnTo>
                      <a:pt x="274" y="932"/>
                    </a:lnTo>
                    <a:lnTo>
                      <a:pt x="272" y="932"/>
                    </a:lnTo>
                    <a:lnTo>
                      <a:pt x="272" y="934"/>
                    </a:lnTo>
                    <a:lnTo>
                      <a:pt x="270" y="934"/>
                    </a:lnTo>
                    <a:lnTo>
                      <a:pt x="269" y="935"/>
                    </a:lnTo>
                    <a:lnTo>
                      <a:pt x="267" y="937"/>
                    </a:lnTo>
                    <a:lnTo>
                      <a:pt x="267" y="939"/>
                    </a:lnTo>
                    <a:lnTo>
                      <a:pt x="267" y="941"/>
                    </a:lnTo>
                    <a:lnTo>
                      <a:pt x="267" y="942"/>
                    </a:lnTo>
                    <a:lnTo>
                      <a:pt x="265" y="942"/>
                    </a:lnTo>
                    <a:lnTo>
                      <a:pt x="265" y="944"/>
                    </a:lnTo>
                    <a:lnTo>
                      <a:pt x="265" y="946"/>
                    </a:lnTo>
                    <a:lnTo>
                      <a:pt x="267" y="946"/>
                    </a:lnTo>
                    <a:lnTo>
                      <a:pt x="269" y="946"/>
                    </a:lnTo>
                    <a:lnTo>
                      <a:pt x="270" y="947"/>
                    </a:lnTo>
                    <a:lnTo>
                      <a:pt x="270" y="946"/>
                    </a:lnTo>
                    <a:lnTo>
                      <a:pt x="270" y="947"/>
                    </a:lnTo>
                    <a:lnTo>
                      <a:pt x="272" y="947"/>
                    </a:lnTo>
                    <a:lnTo>
                      <a:pt x="272" y="949"/>
                    </a:lnTo>
                    <a:lnTo>
                      <a:pt x="270" y="949"/>
                    </a:lnTo>
                    <a:lnTo>
                      <a:pt x="270" y="951"/>
                    </a:lnTo>
                    <a:lnTo>
                      <a:pt x="269" y="951"/>
                    </a:lnTo>
                    <a:lnTo>
                      <a:pt x="269" y="952"/>
                    </a:lnTo>
                    <a:lnTo>
                      <a:pt x="270" y="952"/>
                    </a:lnTo>
                    <a:lnTo>
                      <a:pt x="269" y="952"/>
                    </a:lnTo>
                    <a:lnTo>
                      <a:pt x="269" y="954"/>
                    </a:lnTo>
                    <a:lnTo>
                      <a:pt x="269" y="952"/>
                    </a:lnTo>
                    <a:lnTo>
                      <a:pt x="267" y="952"/>
                    </a:lnTo>
                    <a:lnTo>
                      <a:pt x="267" y="954"/>
                    </a:lnTo>
                    <a:lnTo>
                      <a:pt x="265" y="952"/>
                    </a:lnTo>
                    <a:lnTo>
                      <a:pt x="264" y="952"/>
                    </a:lnTo>
                    <a:lnTo>
                      <a:pt x="262" y="952"/>
                    </a:lnTo>
                    <a:lnTo>
                      <a:pt x="264" y="952"/>
                    </a:lnTo>
                    <a:lnTo>
                      <a:pt x="262" y="952"/>
                    </a:lnTo>
                    <a:lnTo>
                      <a:pt x="262" y="951"/>
                    </a:lnTo>
                    <a:lnTo>
                      <a:pt x="260" y="951"/>
                    </a:lnTo>
                    <a:lnTo>
                      <a:pt x="260" y="952"/>
                    </a:lnTo>
                    <a:lnTo>
                      <a:pt x="258" y="952"/>
                    </a:lnTo>
                    <a:lnTo>
                      <a:pt x="258" y="954"/>
                    </a:lnTo>
                    <a:lnTo>
                      <a:pt x="257" y="954"/>
                    </a:lnTo>
                    <a:lnTo>
                      <a:pt x="257" y="952"/>
                    </a:lnTo>
                    <a:lnTo>
                      <a:pt x="255" y="951"/>
                    </a:lnTo>
                    <a:lnTo>
                      <a:pt x="253" y="951"/>
                    </a:lnTo>
                    <a:lnTo>
                      <a:pt x="252" y="951"/>
                    </a:lnTo>
                    <a:lnTo>
                      <a:pt x="250" y="951"/>
                    </a:lnTo>
                    <a:lnTo>
                      <a:pt x="248" y="952"/>
                    </a:lnTo>
                    <a:lnTo>
                      <a:pt x="247" y="954"/>
                    </a:lnTo>
                    <a:lnTo>
                      <a:pt x="245" y="954"/>
                    </a:lnTo>
                    <a:lnTo>
                      <a:pt x="245" y="952"/>
                    </a:lnTo>
                    <a:lnTo>
                      <a:pt x="243" y="954"/>
                    </a:lnTo>
                    <a:lnTo>
                      <a:pt x="245" y="954"/>
                    </a:lnTo>
                    <a:lnTo>
                      <a:pt x="243" y="954"/>
                    </a:lnTo>
                    <a:lnTo>
                      <a:pt x="241" y="954"/>
                    </a:lnTo>
                    <a:lnTo>
                      <a:pt x="240" y="954"/>
                    </a:lnTo>
                    <a:lnTo>
                      <a:pt x="240" y="956"/>
                    </a:lnTo>
                    <a:lnTo>
                      <a:pt x="238" y="958"/>
                    </a:lnTo>
                    <a:lnTo>
                      <a:pt x="238" y="959"/>
                    </a:lnTo>
                    <a:lnTo>
                      <a:pt x="240" y="958"/>
                    </a:lnTo>
                    <a:lnTo>
                      <a:pt x="240" y="959"/>
                    </a:lnTo>
                    <a:lnTo>
                      <a:pt x="238" y="959"/>
                    </a:lnTo>
                    <a:lnTo>
                      <a:pt x="238" y="958"/>
                    </a:lnTo>
                    <a:lnTo>
                      <a:pt x="236" y="958"/>
                    </a:lnTo>
                    <a:lnTo>
                      <a:pt x="236" y="959"/>
                    </a:lnTo>
                    <a:lnTo>
                      <a:pt x="238" y="959"/>
                    </a:lnTo>
                    <a:lnTo>
                      <a:pt x="238" y="961"/>
                    </a:lnTo>
                    <a:lnTo>
                      <a:pt x="238" y="963"/>
                    </a:lnTo>
                    <a:lnTo>
                      <a:pt x="238" y="961"/>
                    </a:lnTo>
                    <a:lnTo>
                      <a:pt x="236" y="961"/>
                    </a:lnTo>
                    <a:lnTo>
                      <a:pt x="235" y="961"/>
                    </a:lnTo>
                    <a:lnTo>
                      <a:pt x="233" y="961"/>
                    </a:lnTo>
                    <a:lnTo>
                      <a:pt x="233" y="963"/>
                    </a:lnTo>
                    <a:lnTo>
                      <a:pt x="231" y="963"/>
                    </a:lnTo>
                    <a:lnTo>
                      <a:pt x="230" y="963"/>
                    </a:lnTo>
                    <a:lnTo>
                      <a:pt x="228" y="963"/>
                    </a:lnTo>
                    <a:lnTo>
                      <a:pt x="226" y="963"/>
                    </a:lnTo>
                    <a:lnTo>
                      <a:pt x="224" y="964"/>
                    </a:lnTo>
                    <a:lnTo>
                      <a:pt x="223" y="966"/>
                    </a:lnTo>
                    <a:lnTo>
                      <a:pt x="221" y="966"/>
                    </a:lnTo>
                    <a:lnTo>
                      <a:pt x="221" y="968"/>
                    </a:lnTo>
                    <a:lnTo>
                      <a:pt x="219" y="969"/>
                    </a:lnTo>
                    <a:lnTo>
                      <a:pt x="218" y="971"/>
                    </a:lnTo>
                    <a:lnTo>
                      <a:pt x="218" y="973"/>
                    </a:lnTo>
                    <a:lnTo>
                      <a:pt x="216" y="975"/>
                    </a:lnTo>
                    <a:lnTo>
                      <a:pt x="214" y="976"/>
                    </a:lnTo>
                    <a:lnTo>
                      <a:pt x="214" y="978"/>
                    </a:lnTo>
                    <a:lnTo>
                      <a:pt x="213" y="978"/>
                    </a:lnTo>
                    <a:lnTo>
                      <a:pt x="213" y="980"/>
                    </a:lnTo>
                    <a:lnTo>
                      <a:pt x="211" y="980"/>
                    </a:lnTo>
                    <a:lnTo>
                      <a:pt x="211" y="981"/>
                    </a:lnTo>
                    <a:lnTo>
                      <a:pt x="211" y="983"/>
                    </a:lnTo>
                    <a:lnTo>
                      <a:pt x="211" y="985"/>
                    </a:lnTo>
                    <a:lnTo>
                      <a:pt x="211" y="987"/>
                    </a:lnTo>
                    <a:lnTo>
                      <a:pt x="209" y="987"/>
                    </a:lnTo>
                    <a:lnTo>
                      <a:pt x="211" y="988"/>
                    </a:lnTo>
                    <a:lnTo>
                      <a:pt x="209" y="988"/>
                    </a:lnTo>
                    <a:lnTo>
                      <a:pt x="211" y="990"/>
                    </a:lnTo>
                    <a:lnTo>
                      <a:pt x="209" y="990"/>
                    </a:lnTo>
                    <a:lnTo>
                      <a:pt x="207" y="990"/>
                    </a:lnTo>
                    <a:lnTo>
                      <a:pt x="207" y="992"/>
                    </a:lnTo>
                    <a:lnTo>
                      <a:pt x="206" y="992"/>
                    </a:lnTo>
                    <a:lnTo>
                      <a:pt x="207" y="993"/>
                    </a:lnTo>
                    <a:lnTo>
                      <a:pt x="206" y="993"/>
                    </a:lnTo>
                    <a:lnTo>
                      <a:pt x="206" y="995"/>
                    </a:lnTo>
                    <a:lnTo>
                      <a:pt x="204" y="995"/>
                    </a:lnTo>
                    <a:lnTo>
                      <a:pt x="204" y="997"/>
                    </a:lnTo>
                    <a:lnTo>
                      <a:pt x="204" y="998"/>
                    </a:lnTo>
                    <a:lnTo>
                      <a:pt x="202" y="998"/>
                    </a:lnTo>
                    <a:lnTo>
                      <a:pt x="202" y="1000"/>
                    </a:lnTo>
                    <a:lnTo>
                      <a:pt x="202" y="1002"/>
                    </a:lnTo>
                    <a:lnTo>
                      <a:pt x="201" y="1002"/>
                    </a:lnTo>
                    <a:lnTo>
                      <a:pt x="202" y="1002"/>
                    </a:lnTo>
                    <a:lnTo>
                      <a:pt x="201" y="1004"/>
                    </a:lnTo>
                    <a:lnTo>
                      <a:pt x="201" y="1005"/>
                    </a:lnTo>
                    <a:lnTo>
                      <a:pt x="201" y="1007"/>
                    </a:lnTo>
                    <a:lnTo>
                      <a:pt x="202" y="1009"/>
                    </a:lnTo>
                    <a:lnTo>
                      <a:pt x="202" y="1012"/>
                    </a:lnTo>
                    <a:lnTo>
                      <a:pt x="202" y="1014"/>
                    </a:lnTo>
                    <a:lnTo>
                      <a:pt x="202" y="1015"/>
                    </a:lnTo>
                    <a:lnTo>
                      <a:pt x="204" y="1017"/>
                    </a:lnTo>
                    <a:lnTo>
                      <a:pt x="204" y="1019"/>
                    </a:lnTo>
                    <a:lnTo>
                      <a:pt x="206" y="1021"/>
                    </a:lnTo>
                    <a:lnTo>
                      <a:pt x="206" y="1022"/>
                    </a:lnTo>
                    <a:lnTo>
                      <a:pt x="206" y="1024"/>
                    </a:lnTo>
                    <a:lnTo>
                      <a:pt x="207" y="1024"/>
                    </a:lnTo>
                    <a:lnTo>
                      <a:pt x="207" y="1027"/>
                    </a:lnTo>
                    <a:lnTo>
                      <a:pt x="209" y="1027"/>
                    </a:lnTo>
                    <a:lnTo>
                      <a:pt x="209" y="1029"/>
                    </a:lnTo>
                    <a:lnTo>
                      <a:pt x="211" y="1029"/>
                    </a:lnTo>
                    <a:lnTo>
                      <a:pt x="211" y="1031"/>
                    </a:lnTo>
                    <a:lnTo>
                      <a:pt x="213" y="1031"/>
                    </a:lnTo>
                    <a:lnTo>
                      <a:pt x="214" y="1031"/>
                    </a:lnTo>
                    <a:lnTo>
                      <a:pt x="214" y="1032"/>
                    </a:lnTo>
                    <a:lnTo>
                      <a:pt x="216" y="1032"/>
                    </a:lnTo>
                    <a:lnTo>
                      <a:pt x="218" y="1034"/>
                    </a:lnTo>
                    <a:lnTo>
                      <a:pt x="219" y="1036"/>
                    </a:lnTo>
                    <a:lnTo>
                      <a:pt x="219" y="1038"/>
                    </a:lnTo>
                    <a:lnTo>
                      <a:pt x="221" y="1038"/>
                    </a:lnTo>
                    <a:lnTo>
                      <a:pt x="221" y="1039"/>
                    </a:lnTo>
                    <a:lnTo>
                      <a:pt x="223" y="1041"/>
                    </a:lnTo>
                    <a:lnTo>
                      <a:pt x="224" y="1043"/>
                    </a:lnTo>
                    <a:lnTo>
                      <a:pt x="226" y="1044"/>
                    </a:lnTo>
                    <a:lnTo>
                      <a:pt x="228" y="1046"/>
                    </a:lnTo>
                    <a:lnTo>
                      <a:pt x="228" y="1048"/>
                    </a:lnTo>
                    <a:lnTo>
                      <a:pt x="230" y="1048"/>
                    </a:lnTo>
                    <a:lnTo>
                      <a:pt x="230" y="1049"/>
                    </a:lnTo>
                    <a:lnTo>
                      <a:pt x="231" y="1049"/>
                    </a:lnTo>
                    <a:lnTo>
                      <a:pt x="233" y="1049"/>
                    </a:lnTo>
                    <a:lnTo>
                      <a:pt x="235" y="1051"/>
                    </a:lnTo>
                    <a:lnTo>
                      <a:pt x="236" y="1051"/>
                    </a:lnTo>
                    <a:lnTo>
                      <a:pt x="238" y="1051"/>
                    </a:lnTo>
                    <a:lnTo>
                      <a:pt x="240" y="1051"/>
                    </a:lnTo>
                    <a:lnTo>
                      <a:pt x="241" y="1051"/>
                    </a:lnTo>
                    <a:lnTo>
                      <a:pt x="243" y="1051"/>
                    </a:lnTo>
                    <a:lnTo>
                      <a:pt x="245" y="1051"/>
                    </a:lnTo>
                    <a:lnTo>
                      <a:pt x="245" y="1053"/>
                    </a:lnTo>
                    <a:lnTo>
                      <a:pt x="247" y="1053"/>
                    </a:lnTo>
                    <a:lnTo>
                      <a:pt x="248" y="1053"/>
                    </a:lnTo>
                    <a:lnTo>
                      <a:pt x="250" y="1053"/>
                    </a:lnTo>
                    <a:lnTo>
                      <a:pt x="252" y="1053"/>
                    </a:lnTo>
                    <a:lnTo>
                      <a:pt x="253" y="1053"/>
                    </a:lnTo>
                    <a:lnTo>
                      <a:pt x="255" y="1053"/>
                    </a:lnTo>
                    <a:lnTo>
                      <a:pt x="257" y="1053"/>
                    </a:lnTo>
                    <a:lnTo>
                      <a:pt x="258" y="1053"/>
                    </a:lnTo>
                    <a:lnTo>
                      <a:pt x="260" y="1053"/>
                    </a:lnTo>
                    <a:lnTo>
                      <a:pt x="262" y="1055"/>
                    </a:lnTo>
                    <a:lnTo>
                      <a:pt x="262" y="1056"/>
                    </a:lnTo>
                    <a:lnTo>
                      <a:pt x="264" y="1056"/>
                    </a:lnTo>
                    <a:lnTo>
                      <a:pt x="265" y="1058"/>
                    </a:lnTo>
                    <a:lnTo>
                      <a:pt x="265" y="1060"/>
                    </a:lnTo>
                    <a:lnTo>
                      <a:pt x="265" y="1061"/>
                    </a:lnTo>
                    <a:lnTo>
                      <a:pt x="265" y="1063"/>
                    </a:lnTo>
                    <a:lnTo>
                      <a:pt x="265" y="1065"/>
                    </a:lnTo>
                    <a:lnTo>
                      <a:pt x="265" y="1066"/>
                    </a:lnTo>
                    <a:lnTo>
                      <a:pt x="265" y="1068"/>
                    </a:lnTo>
                    <a:lnTo>
                      <a:pt x="265" y="1070"/>
                    </a:lnTo>
                    <a:lnTo>
                      <a:pt x="265" y="1072"/>
                    </a:lnTo>
                    <a:lnTo>
                      <a:pt x="265" y="1073"/>
                    </a:lnTo>
                    <a:lnTo>
                      <a:pt x="265" y="1075"/>
                    </a:lnTo>
                    <a:lnTo>
                      <a:pt x="265" y="1077"/>
                    </a:lnTo>
                    <a:lnTo>
                      <a:pt x="264" y="1077"/>
                    </a:lnTo>
                    <a:lnTo>
                      <a:pt x="264" y="1078"/>
                    </a:lnTo>
                    <a:lnTo>
                      <a:pt x="264" y="1080"/>
                    </a:lnTo>
                    <a:lnTo>
                      <a:pt x="262" y="1082"/>
                    </a:lnTo>
                    <a:lnTo>
                      <a:pt x="262" y="1083"/>
                    </a:lnTo>
                    <a:lnTo>
                      <a:pt x="262" y="1085"/>
                    </a:lnTo>
                    <a:lnTo>
                      <a:pt x="260" y="1087"/>
                    </a:lnTo>
                    <a:lnTo>
                      <a:pt x="260" y="1089"/>
                    </a:lnTo>
                    <a:lnTo>
                      <a:pt x="260" y="1090"/>
                    </a:lnTo>
                    <a:lnTo>
                      <a:pt x="260" y="1092"/>
                    </a:lnTo>
                    <a:lnTo>
                      <a:pt x="262" y="1092"/>
                    </a:lnTo>
                    <a:lnTo>
                      <a:pt x="262" y="1094"/>
                    </a:lnTo>
                    <a:lnTo>
                      <a:pt x="264" y="1094"/>
                    </a:lnTo>
                    <a:lnTo>
                      <a:pt x="264" y="1095"/>
                    </a:lnTo>
                    <a:lnTo>
                      <a:pt x="262" y="1097"/>
                    </a:lnTo>
                    <a:lnTo>
                      <a:pt x="262" y="1095"/>
                    </a:lnTo>
                    <a:lnTo>
                      <a:pt x="260" y="1095"/>
                    </a:lnTo>
                    <a:lnTo>
                      <a:pt x="258" y="1095"/>
                    </a:lnTo>
                    <a:lnTo>
                      <a:pt x="258" y="1097"/>
                    </a:lnTo>
                    <a:lnTo>
                      <a:pt x="258" y="1099"/>
                    </a:lnTo>
                    <a:lnTo>
                      <a:pt x="258" y="1100"/>
                    </a:lnTo>
                    <a:lnTo>
                      <a:pt x="257" y="1100"/>
                    </a:lnTo>
                    <a:lnTo>
                      <a:pt x="257" y="1102"/>
                    </a:lnTo>
                    <a:lnTo>
                      <a:pt x="258" y="1102"/>
                    </a:lnTo>
                    <a:lnTo>
                      <a:pt x="260" y="1102"/>
                    </a:lnTo>
                    <a:lnTo>
                      <a:pt x="260" y="1104"/>
                    </a:lnTo>
                    <a:lnTo>
                      <a:pt x="258" y="1104"/>
                    </a:lnTo>
                    <a:lnTo>
                      <a:pt x="260" y="1104"/>
                    </a:lnTo>
                    <a:lnTo>
                      <a:pt x="258" y="1104"/>
                    </a:lnTo>
                    <a:lnTo>
                      <a:pt x="257" y="1104"/>
                    </a:lnTo>
                    <a:lnTo>
                      <a:pt x="255" y="1104"/>
                    </a:lnTo>
                    <a:lnTo>
                      <a:pt x="253" y="1104"/>
                    </a:lnTo>
                    <a:lnTo>
                      <a:pt x="252" y="1104"/>
                    </a:lnTo>
                    <a:lnTo>
                      <a:pt x="252" y="1106"/>
                    </a:lnTo>
                    <a:lnTo>
                      <a:pt x="252" y="1107"/>
                    </a:lnTo>
                    <a:lnTo>
                      <a:pt x="250" y="1107"/>
                    </a:lnTo>
                    <a:lnTo>
                      <a:pt x="252" y="1109"/>
                    </a:lnTo>
                    <a:lnTo>
                      <a:pt x="250" y="1109"/>
                    </a:lnTo>
                    <a:lnTo>
                      <a:pt x="248" y="1109"/>
                    </a:lnTo>
                    <a:lnTo>
                      <a:pt x="247" y="1111"/>
                    </a:lnTo>
                    <a:lnTo>
                      <a:pt x="247" y="1112"/>
                    </a:lnTo>
                    <a:lnTo>
                      <a:pt x="245" y="1112"/>
                    </a:lnTo>
                    <a:lnTo>
                      <a:pt x="245" y="1114"/>
                    </a:lnTo>
                    <a:lnTo>
                      <a:pt x="245" y="1116"/>
                    </a:lnTo>
                    <a:lnTo>
                      <a:pt x="245" y="1117"/>
                    </a:lnTo>
                    <a:lnTo>
                      <a:pt x="245" y="1116"/>
                    </a:lnTo>
                    <a:lnTo>
                      <a:pt x="245" y="1117"/>
                    </a:lnTo>
                    <a:lnTo>
                      <a:pt x="243" y="1116"/>
                    </a:lnTo>
                    <a:lnTo>
                      <a:pt x="241" y="1116"/>
                    </a:lnTo>
                    <a:lnTo>
                      <a:pt x="240" y="1117"/>
                    </a:lnTo>
                    <a:lnTo>
                      <a:pt x="240" y="1119"/>
                    </a:lnTo>
                    <a:lnTo>
                      <a:pt x="238" y="1119"/>
                    </a:lnTo>
                    <a:lnTo>
                      <a:pt x="238" y="1121"/>
                    </a:lnTo>
                    <a:lnTo>
                      <a:pt x="238" y="1119"/>
                    </a:lnTo>
                    <a:lnTo>
                      <a:pt x="236" y="1119"/>
                    </a:lnTo>
                    <a:lnTo>
                      <a:pt x="235" y="1121"/>
                    </a:lnTo>
                    <a:lnTo>
                      <a:pt x="233" y="1121"/>
                    </a:lnTo>
                    <a:lnTo>
                      <a:pt x="231" y="1123"/>
                    </a:lnTo>
                    <a:lnTo>
                      <a:pt x="230" y="1124"/>
                    </a:lnTo>
                    <a:lnTo>
                      <a:pt x="228" y="1124"/>
                    </a:lnTo>
                    <a:lnTo>
                      <a:pt x="228" y="1126"/>
                    </a:lnTo>
                    <a:lnTo>
                      <a:pt x="226" y="1128"/>
                    </a:lnTo>
                    <a:lnTo>
                      <a:pt x="226" y="1129"/>
                    </a:lnTo>
                    <a:lnTo>
                      <a:pt x="224" y="1129"/>
                    </a:lnTo>
                    <a:lnTo>
                      <a:pt x="223" y="1129"/>
                    </a:lnTo>
                    <a:lnTo>
                      <a:pt x="221" y="1131"/>
                    </a:lnTo>
                    <a:lnTo>
                      <a:pt x="219" y="1133"/>
                    </a:lnTo>
                    <a:lnTo>
                      <a:pt x="218" y="1133"/>
                    </a:lnTo>
                    <a:lnTo>
                      <a:pt x="218" y="1135"/>
                    </a:lnTo>
                    <a:lnTo>
                      <a:pt x="218" y="1136"/>
                    </a:lnTo>
                    <a:lnTo>
                      <a:pt x="218" y="1138"/>
                    </a:lnTo>
                    <a:lnTo>
                      <a:pt x="216" y="1138"/>
                    </a:lnTo>
                    <a:lnTo>
                      <a:pt x="216" y="1140"/>
                    </a:lnTo>
                    <a:lnTo>
                      <a:pt x="216" y="1141"/>
                    </a:lnTo>
                    <a:lnTo>
                      <a:pt x="214" y="1141"/>
                    </a:lnTo>
                    <a:lnTo>
                      <a:pt x="213" y="1143"/>
                    </a:lnTo>
                    <a:lnTo>
                      <a:pt x="211" y="1143"/>
                    </a:lnTo>
                    <a:lnTo>
                      <a:pt x="209" y="1145"/>
                    </a:lnTo>
                    <a:lnTo>
                      <a:pt x="206" y="1146"/>
                    </a:lnTo>
                    <a:lnTo>
                      <a:pt x="206" y="1148"/>
                    </a:lnTo>
                    <a:lnTo>
                      <a:pt x="204" y="1150"/>
                    </a:lnTo>
                    <a:lnTo>
                      <a:pt x="204" y="1152"/>
                    </a:lnTo>
                    <a:lnTo>
                      <a:pt x="202" y="1152"/>
                    </a:lnTo>
                    <a:lnTo>
                      <a:pt x="202" y="1155"/>
                    </a:lnTo>
                    <a:lnTo>
                      <a:pt x="201" y="1157"/>
                    </a:lnTo>
                    <a:lnTo>
                      <a:pt x="202" y="1158"/>
                    </a:lnTo>
                    <a:lnTo>
                      <a:pt x="201" y="1160"/>
                    </a:lnTo>
                    <a:lnTo>
                      <a:pt x="199" y="1162"/>
                    </a:lnTo>
                    <a:lnTo>
                      <a:pt x="201" y="1162"/>
                    </a:lnTo>
                    <a:lnTo>
                      <a:pt x="199" y="1162"/>
                    </a:lnTo>
                    <a:lnTo>
                      <a:pt x="201" y="1163"/>
                    </a:lnTo>
                    <a:lnTo>
                      <a:pt x="202" y="1162"/>
                    </a:lnTo>
                    <a:lnTo>
                      <a:pt x="202" y="1163"/>
                    </a:lnTo>
                    <a:lnTo>
                      <a:pt x="202" y="1165"/>
                    </a:lnTo>
                    <a:lnTo>
                      <a:pt x="202" y="1167"/>
                    </a:lnTo>
                    <a:lnTo>
                      <a:pt x="201" y="1167"/>
                    </a:lnTo>
                    <a:lnTo>
                      <a:pt x="201" y="1169"/>
                    </a:lnTo>
                    <a:lnTo>
                      <a:pt x="201" y="1170"/>
                    </a:lnTo>
                    <a:lnTo>
                      <a:pt x="201" y="1172"/>
                    </a:lnTo>
                    <a:lnTo>
                      <a:pt x="199" y="1174"/>
                    </a:lnTo>
                    <a:lnTo>
                      <a:pt x="199" y="1175"/>
                    </a:lnTo>
                    <a:lnTo>
                      <a:pt x="199" y="1177"/>
                    </a:lnTo>
                    <a:lnTo>
                      <a:pt x="199" y="1179"/>
                    </a:lnTo>
                    <a:lnTo>
                      <a:pt x="199" y="1180"/>
                    </a:lnTo>
                    <a:lnTo>
                      <a:pt x="199" y="1182"/>
                    </a:lnTo>
                    <a:lnTo>
                      <a:pt x="199" y="1184"/>
                    </a:lnTo>
                    <a:lnTo>
                      <a:pt x="199" y="1186"/>
                    </a:lnTo>
                    <a:lnTo>
                      <a:pt x="199" y="1187"/>
                    </a:lnTo>
                    <a:lnTo>
                      <a:pt x="197" y="1189"/>
                    </a:lnTo>
                    <a:lnTo>
                      <a:pt x="197" y="1191"/>
                    </a:lnTo>
                    <a:lnTo>
                      <a:pt x="197" y="1192"/>
                    </a:lnTo>
                    <a:lnTo>
                      <a:pt x="196" y="1194"/>
                    </a:lnTo>
                    <a:lnTo>
                      <a:pt x="196" y="1196"/>
                    </a:lnTo>
                    <a:lnTo>
                      <a:pt x="196" y="1197"/>
                    </a:lnTo>
                    <a:lnTo>
                      <a:pt x="194" y="1197"/>
                    </a:lnTo>
                    <a:lnTo>
                      <a:pt x="194" y="1199"/>
                    </a:lnTo>
                    <a:lnTo>
                      <a:pt x="194" y="1201"/>
                    </a:lnTo>
                    <a:lnTo>
                      <a:pt x="192" y="1201"/>
                    </a:lnTo>
                    <a:lnTo>
                      <a:pt x="192" y="1203"/>
                    </a:lnTo>
                    <a:lnTo>
                      <a:pt x="190" y="1203"/>
                    </a:lnTo>
                    <a:lnTo>
                      <a:pt x="189" y="1204"/>
                    </a:lnTo>
                    <a:lnTo>
                      <a:pt x="187" y="1204"/>
                    </a:lnTo>
                    <a:lnTo>
                      <a:pt x="187" y="1206"/>
                    </a:lnTo>
                    <a:lnTo>
                      <a:pt x="185" y="1206"/>
                    </a:lnTo>
                    <a:lnTo>
                      <a:pt x="184" y="1208"/>
                    </a:lnTo>
                    <a:lnTo>
                      <a:pt x="182" y="1208"/>
                    </a:lnTo>
                    <a:lnTo>
                      <a:pt x="180" y="1208"/>
                    </a:lnTo>
                    <a:lnTo>
                      <a:pt x="179" y="1208"/>
                    </a:lnTo>
                    <a:lnTo>
                      <a:pt x="177" y="1208"/>
                    </a:lnTo>
                    <a:lnTo>
                      <a:pt x="177" y="1209"/>
                    </a:lnTo>
                    <a:lnTo>
                      <a:pt x="177" y="1211"/>
                    </a:lnTo>
                    <a:lnTo>
                      <a:pt x="175" y="1211"/>
                    </a:lnTo>
                    <a:lnTo>
                      <a:pt x="173" y="1213"/>
                    </a:lnTo>
                    <a:lnTo>
                      <a:pt x="172" y="1213"/>
                    </a:lnTo>
                    <a:lnTo>
                      <a:pt x="170" y="1213"/>
                    </a:lnTo>
                    <a:lnTo>
                      <a:pt x="170" y="1214"/>
                    </a:lnTo>
                    <a:lnTo>
                      <a:pt x="168" y="1214"/>
                    </a:lnTo>
                    <a:lnTo>
                      <a:pt x="167" y="1214"/>
                    </a:lnTo>
                    <a:lnTo>
                      <a:pt x="167" y="1216"/>
                    </a:lnTo>
                    <a:lnTo>
                      <a:pt x="167" y="1214"/>
                    </a:lnTo>
                    <a:lnTo>
                      <a:pt x="167" y="1216"/>
                    </a:lnTo>
                    <a:lnTo>
                      <a:pt x="165" y="1216"/>
                    </a:lnTo>
                    <a:lnTo>
                      <a:pt x="163" y="1216"/>
                    </a:lnTo>
                    <a:lnTo>
                      <a:pt x="162" y="1218"/>
                    </a:lnTo>
                    <a:lnTo>
                      <a:pt x="160" y="1218"/>
                    </a:lnTo>
                    <a:lnTo>
                      <a:pt x="160" y="1220"/>
                    </a:lnTo>
                    <a:lnTo>
                      <a:pt x="158" y="1220"/>
                    </a:lnTo>
                    <a:lnTo>
                      <a:pt x="160" y="1221"/>
                    </a:lnTo>
                    <a:lnTo>
                      <a:pt x="158" y="1221"/>
                    </a:lnTo>
                    <a:lnTo>
                      <a:pt x="156" y="1223"/>
                    </a:lnTo>
                    <a:lnTo>
                      <a:pt x="156" y="1225"/>
                    </a:lnTo>
                    <a:lnTo>
                      <a:pt x="155" y="1225"/>
                    </a:lnTo>
                    <a:lnTo>
                      <a:pt x="155" y="1226"/>
                    </a:lnTo>
                    <a:lnTo>
                      <a:pt x="153" y="1228"/>
                    </a:lnTo>
                    <a:lnTo>
                      <a:pt x="153" y="1230"/>
                    </a:lnTo>
                    <a:lnTo>
                      <a:pt x="153" y="1231"/>
                    </a:lnTo>
                    <a:lnTo>
                      <a:pt x="153" y="1233"/>
                    </a:lnTo>
                    <a:lnTo>
                      <a:pt x="151" y="1233"/>
                    </a:lnTo>
                    <a:lnTo>
                      <a:pt x="151" y="1235"/>
                    </a:lnTo>
                    <a:lnTo>
                      <a:pt x="151" y="1237"/>
                    </a:lnTo>
                    <a:lnTo>
                      <a:pt x="151" y="1238"/>
                    </a:lnTo>
                    <a:lnTo>
                      <a:pt x="150" y="1240"/>
                    </a:lnTo>
                    <a:lnTo>
                      <a:pt x="150" y="1242"/>
                    </a:lnTo>
                    <a:lnTo>
                      <a:pt x="151" y="1243"/>
                    </a:lnTo>
                    <a:lnTo>
                      <a:pt x="151" y="1245"/>
                    </a:lnTo>
                    <a:lnTo>
                      <a:pt x="151" y="1247"/>
                    </a:lnTo>
                    <a:lnTo>
                      <a:pt x="151" y="1248"/>
                    </a:lnTo>
                    <a:lnTo>
                      <a:pt x="150" y="1250"/>
                    </a:lnTo>
                    <a:lnTo>
                      <a:pt x="148" y="1252"/>
                    </a:lnTo>
                    <a:lnTo>
                      <a:pt x="148" y="1254"/>
                    </a:lnTo>
                    <a:lnTo>
                      <a:pt x="150" y="1254"/>
                    </a:lnTo>
                    <a:lnTo>
                      <a:pt x="150" y="1255"/>
                    </a:lnTo>
                    <a:lnTo>
                      <a:pt x="150" y="1257"/>
                    </a:lnTo>
                    <a:lnTo>
                      <a:pt x="150" y="1259"/>
                    </a:lnTo>
                    <a:lnTo>
                      <a:pt x="151" y="1264"/>
                    </a:lnTo>
                    <a:lnTo>
                      <a:pt x="151" y="1265"/>
                    </a:lnTo>
                    <a:lnTo>
                      <a:pt x="153" y="1267"/>
                    </a:lnTo>
                    <a:lnTo>
                      <a:pt x="153" y="1269"/>
                    </a:lnTo>
                    <a:lnTo>
                      <a:pt x="153" y="1271"/>
                    </a:lnTo>
                    <a:lnTo>
                      <a:pt x="155" y="1274"/>
                    </a:lnTo>
                    <a:lnTo>
                      <a:pt x="155" y="1276"/>
                    </a:lnTo>
                    <a:lnTo>
                      <a:pt x="155" y="1279"/>
                    </a:lnTo>
                    <a:lnTo>
                      <a:pt x="156" y="1281"/>
                    </a:lnTo>
                    <a:lnTo>
                      <a:pt x="156" y="1282"/>
                    </a:lnTo>
                    <a:lnTo>
                      <a:pt x="156" y="1284"/>
                    </a:lnTo>
                    <a:lnTo>
                      <a:pt x="156" y="1286"/>
                    </a:lnTo>
                    <a:lnTo>
                      <a:pt x="155" y="1286"/>
                    </a:lnTo>
                    <a:lnTo>
                      <a:pt x="155" y="1288"/>
                    </a:lnTo>
                    <a:lnTo>
                      <a:pt x="156" y="1288"/>
                    </a:lnTo>
                    <a:lnTo>
                      <a:pt x="156" y="1289"/>
                    </a:lnTo>
                    <a:lnTo>
                      <a:pt x="156" y="1291"/>
                    </a:lnTo>
                    <a:lnTo>
                      <a:pt x="158" y="1293"/>
                    </a:lnTo>
                    <a:lnTo>
                      <a:pt x="160" y="1296"/>
                    </a:lnTo>
                    <a:lnTo>
                      <a:pt x="162" y="1300"/>
                    </a:lnTo>
                    <a:lnTo>
                      <a:pt x="163" y="1305"/>
                    </a:lnTo>
                    <a:lnTo>
                      <a:pt x="165" y="1308"/>
                    </a:lnTo>
                    <a:lnTo>
                      <a:pt x="167" y="1310"/>
                    </a:lnTo>
                    <a:lnTo>
                      <a:pt x="168" y="1315"/>
                    </a:lnTo>
                    <a:lnTo>
                      <a:pt x="170" y="1317"/>
                    </a:lnTo>
                    <a:lnTo>
                      <a:pt x="173" y="1322"/>
                    </a:lnTo>
                    <a:lnTo>
                      <a:pt x="175" y="1325"/>
                    </a:lnTo>
                    <a:lnTo>
                      <a:pt x="177" y="1325"/>
                    </a:lnTo>
                    <a:lnTo>
                      <a:pt x="177" y="1327"/>
                    </a:lnTo>
                    <a:lnTo>
                      <a:pt x="177" y="1328"/>
                    </a:lnTo>
                    <a:lnTo>
                      <a:pt x="175" y="1328"/>
                    </a:lnTo>
                    <a:lnTo>
                      <a:pt x="175" y="1330"/>
                    </a:lnTo>
                    <a:lnTo>
                      <a:pt x="175" y="1328"/>
                    </a:lnTo>
                    <a:lnTo>
                      <a:pt x="175" y="1327"/>
                    </a:lnTo>
                    <a:lnTo>
                      <a:pt x="173" y="1327"/>
                    </a:lnTo>
                    <a:lnTo>
                      <a:pt x="172" y="1327"/>
                    </a:lnTo>
                    <a:lnTo>
                      <a:pt x="170" y="1327"/>
                    </a:lnTo>
                    <a:lnTo>
                      <a:pt x="168" y="1327"/>
                    </a:lnTo>
                    <a:lnTo>
                      <a:pt x="168" y="1325"/>
                    </a:lnTo>
                    <a:lnTo>
                      <a:pt x="167" y="1325"/>
                    </a:lnTo>
                    <a:lnTo>
                      <a:pt x="165" y="1325"/>
                    </a:lnTo>
                    <a:lnTo>
                      <a:pt x="163" y="1325"/>
                    </a:lnTo>
                    <a:lnTo>
                      <a:pt x="163" y="1323"/>
                    </a:lnTo>
                    <a:lnTo>
                      <a:pt x="162" y="1323"/>
                    </a:lnTo>
                    <a:lnTo>
                      <a:pt x="158" y="1322"/>
                    </a:lnTo>
                    <a:lnTo>
                      <a:pt x="156" y="1322"/>
                    </a:lnTo>
                    <a:lnTo>
                      <a:pt x="155" y="1320"/>
                    </a:lnTo>
                    <a:lnTo>
                      <a:pt x="153" y="1320"/>
                    </a:lnTo>
                    <a:lnTo>
                      <a:pt x="151" y="1320"/>
                    </a:lnTo>
                    <a:lnTo>
                      <a:pt x="150" y="1318"/>
                    </a:lnTo>
                    <a:lnTo>
                      <a:pt x="148" y="1318"/>
                    </a:lnTo>
                    <a:lnTo>
                      <a:pt x="145" y="1318"/>
                    </a:lnTo>
                    <a:lnTo>
                      <a:pt x="141" y="1318"/>
                    </a:lnTo>
                    <a:lnTo>
                      <a:pt x="139" y="1317"/>
                    </a:lnTo>
                    <a:lnTo>
                      <a:pt x="138" y="1317"/>
                    </a:lnTo>
                    <a:lnTo>
                      <a:pt x="134" y="1315"/>
                    </a:lnTo>
                    <a:lnTo>
                      <a:pt x="131" y="1313"/>
                    </a:lnTo>
                    <a:lnTo>
                      <a:pt x="128" y="1313"/>
                    </a:lnTo>
                    <a:lnTo>
                      <a:pt x="126" y="1311"/>
                    </a:lnTo>
                    <a:lnTo>
                      <a:pt x="124" y="1310"/>
                    </a:lnTo>
                    <a:lnTo>
                      <a:pt x="121" y="1308"/>
                    </a:lnTo>
                    <a:lnTo>
                      <a:pt x="109" y="1310"/>
                    </a:lnTo>
                    <a:lnTo>
                      <a:pt x="104" y="1308"/>
                    </a:lnTo>
                    <a:lnTo>
                      <a:pt x="99" y="1310"/>
                    </a:lnTo>
                    <a:lnTo>
                      <a:pt x="92" y="1308"/>
                    </a:lnTo>
                    <a:lnTo>
                      <a:pt x="78" y="1310"/>
                    </a:lnTo>
                    <a:lnTo>
                      <a:pt x="75" y="1308"/>
                    </a:lnTo>
                    <a:lnTo>
                      <a:pt x="73" y="1308"/>
                    </a:lnTo>
                    <a:lnTo>
                      <a:pt x="65" y="1308"/>
                    </a:lnTo>
                    <a:lnTo>
                      <a:pt x="56" y="1310"/>
                    </a:lnTo>
                    <a:lnTo>
                      <a:pt x="56" y="1308"/>
                    </a:lnTo>
                    <a:lnTo>
                      <a:pt x="54" y="1308"/>
                    </a:lnTo>
                    <a:lnTo>
                      <a:pt x="53" y="1308"/>
                    </a:lnTo>
                    <a:lnTo>
                      <a:pt x="53" y="1306"/>
                    </a:lnTo>
                    <a:lnTo>
                      <a:pt x="54" y="1306"/>
                    </a:lnTo>
                    <a:lnTo>
                      <a:pt x="54" y="1305"/>
                    </a:lnTo>
                    <a:lnTo>
                      <a:pt x="56" y="1305"/>
                    </a:lnTo>
                    <a:lnTo>
                      <a:pt x="56" y="1303"/>
                    </a:lnTo>
                    <a:lnTo>
                      <a:pt x="54" y="1301"/>
                    </a:lnTo>
                    <a:lnTo>
                      <a:pt x="54" y="1300"/>
                    </a:lnTo>
                    <a:lnTo>
                      <a:pt x="53" y="1300"/>
                    </a:lnTo>
                    <a:lnTo>
                      <a:pt x="53" y="1298"/>
                    </a:lnTo>
                    <a:lnTo>
                      <a:pt x="51" y="1298"/>
                    </a:lnTo>
                    <a:lnTo>
                      <a:pt x="51" y="1296"/>
                    </a:lnTo>
                    <a:lnTo>
                      <a:pt x="49" y="1296"/>
                    </a:lnTo>
                    <a:lnTo>
                      <a:pt x="49" y="1294"/>
                    </a:lnTo>
                    <a:lnTo>
                      <a:pt x="48" y="1294"/>
                    </a:lnTo>
                    <a:lnTo>
                      <a:pt x="48" y="1293"/>
                    </a:lnTo>
                    <a:lnTo>
                      <a:pt x="46" y="1293"/>
                    </a:lnTo>
                    <a:lnTo>
                      <a:pt x="44" y="1293"/>
                    </a:lnTo>
                    <a:lnTo>
                      <a:pt x="44" y="1291"/>
                    </a:lnTo>
                    <a:lnTo>
                      <a:pt x="44" y="1289"/>
                    </a:lnTo>
                    <a:lnTo>
                      <a:pt x="43" y="1288"/>
                    </a:lnTo>
                    <a:lnTo>
                      <a:pt x="43" y="1286"/>
                    </a:lnTo>
                    <a:lnTo>
                      <a:pt x="41" y="1286"/>
                    </a:lnTo>
                    <a:lnTo>
                      <a:pt x="39" y="1286"/>
                    </a:lnTo>
                    <a:lnTo>
                      <a:pt x="39" y="1284"/>
                    </a:lnTo>
                    <a:lnTo>
                      <a:pt x="41" y="1282"/>
                    </a:lnTo>
                    <a:lnTo>
                      <a:pt x="39" y="1282"/>
                    </a:lnTo>
                    <a:lnTo>
                      <a:pt x="41" y="1282"/>
                    </a:lnTo>
                    <a:lnTo>
                      <a:pt x="43" y="1282"/>
                    </a:lnTo>
                    <a:lnTo>
                      <a:pt x="43" y="1281"/>
                    </a:lnTo>
                    <a:lnTo>
                      <a:pt x="43" y="1279"/>
                    </a:lnTo>
                    <a:lnTo>
                      <a:pt x="43" y="1277"/>
                    </a:lnTo>
                    <a:lnTo>
                      <a:pt x="43" y="1276"/>
                    </a:lnTo>
                    <a:lnTo>
                      <a:pt x="43" y="1274"/>
                    </a:lnTo>
                    <a:lnTo>
                      <a:pt x="41" y="1272"/>
                    </a:lnTo>
                    <a:lnTo>
                      <a:pt x="43" y="1272"/>
                    </a:lnTo>
                    <a:lnTo>
                      <a:pt x="43" y="1271"/>
                    </a:lnTo>
                    <a:lnTo>
                      <a:pt x="44" y="1271"/>
                    </a:lnTo>
                    <a:lnTo>
                      <a:pt x="44" y="1269"/>
                    </a:lnTo>
                    <a:lnTo>
                      <a:pt x="44" y="1267"/>
                    </a:lnTo>
                    <a:lnTo>
                      <a:pt x="44" y="1265"/>
                    </a:lnTo>
                    <a:lnTo>
                      <a:pt x="43" y="1265"/>
                    </a:lnTo>
                    <a:lnTo>
                      <a:pt x="41" y="1264"/>
                    </a:lnTo>
                    <a:lnTo>
                      <a:pt x="41" y="1262"/>
                    </a:lnTo>
                    <a:lnTo>
                      <a:pt x="41" y="1260"/>
                    </a:lnTo>
                    <a:lnTo>
                      <a:pt x="39" y="1260"/>
                    </a:lnTo>
                    <a:lnTo>
                      <a:pt x="41" y="1259"/>
                    </a:lnTo>
                    <a:lnTo>
                      <a:pt x="41" y="1257"/>
                    </a:lnTo>
                    <a:lnTo>
                      <a:pt x="41" y="1255"/>
                    </a:lnTo>
                    <a:lnTo>
                      <a:pt x="43" y="1255"/>
                    </a:lnTo>
                    <a:lnTo>
                      <a:pt x="43" y="1257"/>
                    </a:lnTo>
                    <a:lnTo>
                      <a:pt x="44" y="1257"/>
                    </a:lnTo>
                    <a:lnTo>
                      <a:pt x="44" y="1255"/>
                    </a:lnTo>
                    <a:lnTo>
                      <a:pt x="44" y="1254"/>
                    </a:lnTo>
                    <a:lnTo>
                      <a:pt x="44" y="1252"/>
                    </a:lnTo>
                    <a:lnTo>
                      <a:pt x="46" y="1250"/>
                    </a:lnTo>
                    <a:lnTo>
                      <a:pt x="46" y="1248"/>
                    </a:lnTo>
                    <a:lnTo>
                      <a:pt x="44" y="1247"/>
                    </a:lnTo>
                    <a:lnTo>
                      <a:pt x="44" y="1245"/>
                    </a:lnTo>
                    <a:lnTo>
                      <a:pt x="44" y="1243"/>
                    </a:lnTo>
                    <a:lnTo>
                      <a:pt x="43" y="1243"/>
                    </a:lnTo>
                    <a:lnTo>
                      <a:pt x="43" y="1242"/>
                    </a:lnTo>
                    <a:lnTo>
                      <a:pt x="43" y="1240"/>
                    </a:lnTo>
                    <a:lnTo>
                      <a:pt x="44" y="1238"/>
                    </a:lnTo>
                    <a:lnTo>
                      <a:pt x="44" y="1237"/>
                    </a:lnTo>
                    <a:lnTo>
                      <a:pt x="43" y="1237"/>
                    </a:lnTo>
                    <a:lnTo>
                      <a:pt x="43" y="1235"/>
                    </a:lnTo>
                    <a:lnTo>
                      <a:pt x="41" y="1235"/>
                    </a:lnTo>
                    <a:lnTo>
                      <a:pt x="39" y="1235"/>
                    </a:lnTo>
                    <a:lnTo>
                      <a:pt x="37" y="1233"/>
                    </a:lnTo>
                    <a:lnTo>
                      <a:pt x="36" y="1235"/>
                    </a:lnTo>
                    <a:lnTo>
                      <a:pt x="34" y="1235"/>
                    </a:lnTo>
                    <a:lnTo>
                      <a:pt x="34" y="1237"/>
                    </a:lnTo>
                    <a:lnTo>
                      <a:pt x="34" y="1238"/>
                    </a:lnTo>
                    <a:lnTo>
                      <a:pt x="32" y="1237"/>
                    </a:lnTo>
                    <a:lnTo>
                      <a:pt x="31" y="1235"/>
                    </a:lnTo>
                    <a:lnTo>
                      <a:pt x="31" y="1237"/>
                    </a:lnTo>
                    <a:lnTo>
                      <a:pt x="29" y="1235"/>
                    </a:lnTo>
                    <a:lnTo>
                      <a:pt x="27" y="1235"/>
                    </a:lnTo>
                    <a:lnTo>
                      <a:pt x="26" y="1237"/>
                    </a:lnTo>
                    <a:lnTo>
                      <a:pt x="24" y="1237"/>
                    </a:lnTo>
                    <a:lnTo>
                      <a:pt x="24" y="1238"/>
                    </a:lnTo>
                    <a:lnTo>
                      <a:pt x="22" y="1238"/>
                    </a:lnTo>
                    <a:lnTo>
                      <a:pt x="22" y="1240"/>
                    </a:lnTo>
                    <a:lnTo>
                      <a:pt x="20" y="1242"/>
                    </a:lnTo>
                    <a:lnTo>
                      <a:pt x="19" y="1242"/>
                    </a:lnTo>
                    <a:lnTo>
                      <a:pt x="17" y="1243"/>
                    </a:lnTo>
                    <a:lnTo>
                      <a:pt x="17" y="1242"/>
                    </a:lnTo>
                    <a:lnTo>
                      <a:pt x="15" y="1243"/>
                    </a:lnTo>
                    <a:lnTo>
                      <a:pt x="14" y="1245"/>
                    </a:lnTo>
                    <a:lnTo>
                      <a:pt x="12" y="1245"/>
                    </a:lnTo>
                    <a:lnTo>
                      <a:pt x="10" y="1245"/>
                    </a:lnTo>
                    <a:lnTo>
                      <a:pt x="10" y="1243"/>
                    </a:lnTo>
                    <a:lnTo>
                      <a:pt x="10" y="1242"/>
                    </a:lnTo>
                    <a:lnTo>
                      <a:pt x="10" y="1240"/>
                    </a:lnTo>
                    <a:lnTo>
                      <a:pt x="12" y="1240"/>
                    </a:lnTo>
                    <a:lnTo>
                      <a:pt x="14" y="1238"/>
                    </a:lnTo>
                    <a:lnTo>
                      <a:pt x="14" y="1237"/>
                    </a:lnTo>
                    <a:lnTo>
                      <a:pt x="12" y="1237"/>
                    </a:lnTo>
                    <a:lnTo>
                      <a:pt x="10" y="1235"/>
                    </a:lnTo>
                    <a:lnTo>
                      <a:pt x="10" y="1233"/>
                    </a:lnTo>
                    <a:lnTo>
                      <a:pt x="10" y="1231"/>
                    </a:lnTo>
                    <a:lnTo>
                      <a:pt x="9" y="1231"/>
                    </a:lnTo>
                    <a:lnTo>
                      <a:pt x="9" y="1230"/>
                    </a:lnTo>
                    <a:lnTo>
                      <a:pt x="7" y="1228"/>
                    </a:lnTo>
                    <a:lnTo>
                      <a:pt x="9" y="1228"/>
                    </a:lnTo>
                    <a:lnTo>
                      <a:pt x="7" y="1226"/>
                    </a:lnTo>
                    <a:lnTo>
                      <a:pt x="5" y="1226"/>
                    </a:lnTo>
                    <a:lnTo>
                      <a:pt x="7" y="1226"/>
                    </a:lnTo>
                    <a:lnTo>
                      <a:pt x="5" y="1225"/>
                    </a:lnTo>
                    <a:lnTo>
                      <a:pt x="3" y="1221"/>
                    </a:lnTo>
                    <a:lnTo>
                      <a:pt x="3" y="1220"/>
                    </a:lnTo>
                    <a:lnTo>
                      <a:pt x="3" y="1218"/>
                    </a:lnTo>
                    <a:lnTo>
                      <a:pt x="2" y="1218"/>
                    </a:lnTo>
                    <a:lnTo>
                      <a:pt x="2" y="1216"/>
                    </a:lnTo>
                    <a:lnTo>
                      <a:pt x="0" y="1214"/>
                    </a:lnTo>
                    <a:lnTo>
                      <a:pt x="2" y="1213"/>
                    </a:lnTo>
                    <a:lnTo>
                      <a:pt x="2" y="1211"/>
                    </a:lnTo>
                    <a:lnTo>
                      <a:pt x="2" y="1209"/>
                    </a:lnTo>
                    <a:lnTo>
                      <a:pt x="2" y="1208"/>
                    </a:lnTo>
                    <a:lnTo>
                      <a:pt x="3" y="1206"/>
                    </a:lnTo>
                    <a:lnTo>
                      <a:pt x="3" y="1204"/>
                    </a:lnTo>
                    <a:lnTo>
                      <a:pt x="2" y="1204"/>
                    </a:lnTo>
                    <a:lnTo>
                      <a:pt x="2" y="1203"/>
                    </a:lnTo>
                    <a:lnTo>
                      <a:pt x="2" y="1201"/>
                    </a:lnTo>
                    <a:lnTo>
                      <a:pt x="3" y="1199"/>
                    </a:lnTo>
                    <a:lnTo>
                      <a:pt x="2" y="1199"/>
                    </a:lnTo>
                    <a:lnTo>
                      <a:pt x="2" y="1197"/>
                    </a:lnTo>
                    <a:lnTo>
                      <a:pt x="2" y="1196"/>
                    </a:lnTo>
                    <a:lnTo>
                      <a:pt x="3" y="1196"/>
                    </a:lnTo>
                    <a:lnTo>
                      <a:pt x="3" y="1194"/>
                    </a:lnTo>
                    <a:lnTo>
                      <a:pt x="3" y="1192"/>
                    </a:lnTo>
                    <a:lnTo>
                      <a:pt x="5" y="1191"/>
                    </a:lnTo>
                    <a:lnTo>
                      <a:pt x="5" y="1189"/>
                    </a:lnTo>
                    <a:lnTo>
                      <a:pt x="3" y="1187"/>
                    </a:lnTo>
                    <a:lnTo>
                      <a:pt x="3" y="1186"/>
                    </a:lnTo>
                    <a:lnTo>
                      <a:pt x="3" y="1184"/>
                    </a:lnTo>
                    <a:lnTo>
                      <a:pt x="3" y="1182"/>
                    </a:lnTo>
                    <a:lnTo>
                      <a:pt x="5" y="1182"/>
                    </a:lnTo>
                    <a:lnTo>
                      <a:pt x="3" y="1180"/>
                    </a:lnTo>
                    <a:lnTo>
                      <a:pt x="3" y="1179"/>
                    </a:lnTo>
                    <a:lnTo>
                      <a:pt x="2" y="1179"/>
                    </a:lnTo>
                    <a:lnTo>
                      <a:pt x="2" y="1177"/>
                    </a:lnTo>
                    <a:lnTo>
                      <a:pt x="2" y="1175"/>
                    </a:lnTo>
                    <a:lnTo>
                      <a:pt x="3" y="1175"/>
                    </a:lnTo>
                    <a:lnTo>
                      <a:pt x="3" y="1174"/>
                    </a:lnTo>
                    <a:lnTo>
                      <a:pt x="3" y="1172"/>
                    </a:lnTo>
                    <a:lnTo>
                      <a:pt x="3" y="1170"/>
                    </a:lnTo>
                    <a:lnTo>
                      <a:pt x="5" y="1170"/>
                    </a:lnTo>
                    <a:lnTo>
                      <a:pt x="5" y="1169"/>
                    </a:lnTo>
                    <a:lnTo>
                      <a:pt x="5" y="1167"/>
                    </a:lnTo>
                    <a:lnTo>
                      <a:pt x="7" y="1165"/>
                    </a:lnTo>
                    <a:lnTo>
                      <a:pt x="5" y="1165"/>
                    </a:lnTo>
                    <a:lnTo>
                      <a:pt x="3" y="1163"/>
                    </a:lnTo>
                    <a:lnTo>
                      <a:pt x="3" y="1162"/>
                    </a:lnTo>
                    <a:lnTo>
                      <a:pt x="3" y="1160"/>
                    </a:lnTo>
                    <a:lnTo>
                      <a:pt x="17" y="1163"/>
                    </a:lnTo>
                    <a:lnTo>
                      <a:pt x="19" y="1163"/>
                    </a:lnTo>
                    <a:lnTo>
                      <a:pt x="17" y="1163"/>
                    </a:lnTo>
                    <a:lnTo>
                      <a:pt x="17" y="1162"/>
                    </a:lnTo>
                    <a:lnTo>
                      <a:pt x="17" y="1163"/>
                    </a:lnTo>
                    <a:lnTo>
                      <a:pt x="15" y="1163"/>
                    </a:lnTo>
                    <a:lnTo>
                      <a:pt x="15" y="1162"/>
                    </a:lnTo>
                    <a:lnTo>
                      <a:pt x="15" y="1160"/>
                    </a:lnTo>
                    <a:lnTo>
                      <a:pt x="15" y="1158"/>
                    </a:lnTo>
                    <a:lnTo>
                      <a:pt x="17" y="1157"/>
                    </a:lnTo>
                    <a:lnTo>
                      <a:pt x="19" y="1155"/>
                    </a:lnTo>
                    <a:lnTo>
                      <a:pt x="19" y="1153"/>
                    </a:lnTo>
                    <a:lnTo>
                      <a:pt x="20" y="1153"/>
                    </a:lnTo>
                    <a:lnTo>
                      <a:pt x="20" y="1152"/>
                    </a:lnTo>
                    <a:lnTo>
                      <a:pt x="20" y="1150"/>
                    </a:lnTo>
                    <a:lnTo>
                      <a:pt x="20" y="1148"/>
                    </a:lnTo>
                    <a:lnTo>
                      <a:pt x="22" y="1148"/>
                    </a:lnTo>
                    <a:lnTo>
                      <a:pt x="22" y="1146"/>
                    </a:lnTo>
                    <a:lnTo>
                      <a:pt x="24" y="1146"/>
                    </a:lnTo>
                    <a:lnTo>
                      <a:pt x="26" y="1148"/>
                    </a:lnTo>
                    <a:lnTo>
                      <a:pt x="27" y="1148"/>
                    </a:lnTo>
                    <a:lnTo>
                      <a:pt x="27" y="1146"/>
                    </a:lnTo>
                    <a:lnTo>
                      <a:pt x="29" y="1145"/>
                    </a:lnTo>
                    <a:lnTo>
                      <a:pt x="31" y="1145"/>
                    </a:lnTo>
                    <a:lnTo>
                      <a:pt x="31" y="1143"/>
                    </a:lnTo>
                    <a:lnTo>
                      <a:pt x="32" y="1141"/>
                    </a:lnTo>
                    <a:lnTo>
                      <a:pt x="34" y="1140"/>
                    </a:lnTo>
                    <a:lnTo>
                      <a:pt x="36" y="1140"/>
                    </a:lnTo>
                    <a:lnTo>
                      <a:pt x="36" y="1138"/>
                    </a:lnTo>
                    <a:lnTo>
                      <a:pt x="36" y="1136"/>
                    </a:lnTo>
                    <a:lnTo>
                      <a:pt x="36" y="1135"/>
                    </a:lnTo>
                    <a:lnTo>
                      <a:pt x="36" y="1131"/>
                    </a:lnTo>
                    <a:lnTo>
                      <a:pt x="34" y="1124"/>
                    </a:lnTo>
                    <a:lnTo>
                      <a:pt x="34" y="1123"/>
                    </a:lnTo>
                    <a:lnTo>
                      <a:pt x="36" y="1123"/>
                    </a:lnTo>
                    <a:lnTo>
                      <a:pt x="36" y="1124"/>
                    </a:lnTo>
                    <a:lnTo>
                      <a:pt x="37" y="1124"/>
                    </a:lnTo>
                    <a:lnTo>
                      <a:pt x="39" y="1124"/>
                    </a:lnTo>
                    <a:lnTo>
                      <a:pt x="41" y="1123"/>
                    </a:lnTo>
                    <a:lnTo>
                      <a:pt x="41" y="1121"/>
                    </a:lnTo>
                    <a:lnTo>
                      <a:pt x="39" y="1121"/>
                    </a:lnTo>
                    <a:lnTo>
                      <a:pt x="39" y="1119"/>
                    </a:lnTo>
                    <a:lnTo>
                      <a:pt x="41" y="1119"/>
                    </a:lnTo>
                    <a:lnTo>
                      <a:pt x="43" y="1117"/>
                    </a:lnTo>
                    <a:lnTo>
                      <a:pt x="41" y="1117"/>
                    </a:lnTo>
                    <a:lnTo>
                      <a:pt x="41" y="1116"/>
                    </a:lnTo>
                    <a:lnTo>
                      <a:pt x="43" y="1116"/>
                    </a:lnTo>
                    <a:lnTo>
                      <a:pt x="43" y="1117"/>
                    </a:lnTo>
                    <a:lnTo>
                      <a:pt x="43" y="1116"/>
                    </a:lnTo>
                    <a:lnTo>
                      <a:pt x="44" y="1117"/>
                    </a:lnTo>
                    <a:lnTo>
                      <a:pt x="44" y="1116"/>
                    </a:lnTo>
                    <a:lnTo>
                      <a:pt x="46" y="1116"/>
                    </a:lnTo>
                    <a:lnTo>
                      <a:pt x="46" y="1114"/>
                    </a:lnTo>
                    <a:lnTo>
                      <a:pt x="44" y="1112"/>
                    </a:lnTo>
                    <a:lnTo>
                      <a:pt x="44" y="1111"/>
                    </a:lnTo>
                    <a:lnTo>
                      <a:pt x="43" y="1111"/>
                    </a:lnTo>
                    <a:lnTo>
                      <a:pt x="43" y="1109"/>
                    </a:lnTo>
                    <a:lnTo>
                      <a:pt x="44" y="1109"/>
                    </a:lnTo>
                    <a:lnTo>
                      <a:pt x="43" y="1107"/>
                    </a:lnTo>
                    <a:lnTo>
                      <a:pt x="44" y="1106"/>
                    </a:lnTo>
                    <a:lnTo>
                      <a:pt x="43" y="1106"/>
                    </a:lnTo>
                    <a:lnTo>
                      <a:pt x="43" y="1104"/>
                    </a:lnTo>
                    <a:lnTo>
                      <a:pt x="41" y="1104"/>
                    </a:lnTo>
                    <a:lnTo>
                      <a:pt x="41" y="1102"/>
                    </a:lnTo>
                    <a:lnTo>
                      <a:pt x="39" y="1102"/>
                    </a:lnTo>
                    <a:lnTo>
                      <a:pt x="39" y="1100"/>
                    </a:lnTo>
                    <a:lnTo>
                      <a:pt x="39" y="1099"/>
                    </a:lnTo>
                    <a:lnTo>
                      <a:pt x="39" y="1097"/>
                    </a:lnTo>
                    <a:lnTo>
                      <a:pt x="37" y="1097"/>
                    </a:lnTo>
                    <a:lnTo>
                      <a:pt x="36" y="1095"/>
                    </a:lnTo>
                    <a:lnTo>
                      <a:pt x="36" y="1094"/>
                    </a:lnTo>
                    <a:lnTo>
                      <a:pt x="37" y="1094"/>
                    </a:lnTo>
                    <a:lnTo>
                      <a:pt x="37" y="1092"/>
                    </a:lnTo>
                    <a:lnTo>
                      <a:pt x="37" y="1090"/>
                    </a:lnTo>
                    <a:lnTo>
                      <a:pt x="37" y="1089"/>
                    </a:lnTo>
                    <a:lnTo>
                      <a:pt x="37" y="1087"/>
                    </a:lnTo>
                    <a:lnTo>
                      <a:pt x="36" y="1087"/>
                    </a:lnTo>
                    <a:lnTo>
                      <a:pt x="36" y="1085"/>
                    </a:lnTo>
                    <a:lnTo>
                      <a:pt x="37" y="1087"/>
                    </a:lnTo>
                    <a:lnTo>
                      <a:pt x="39" y="1087"/>
                    </a:lnTo>
                    <a:lnTo>
                      <a:pt x="41" y="1087"/>
                    </a:lnTo>
                    <a:lnTo>
                      <a:pt x="41" y="1085"/>
                    </a:lnTo>
                    <a:lnTo>
                      <a:pt x="39" y="1085"/>
                    </a:lnTo>
                    <a:lnTo>
                      <a:pt x="39" y="1083"/>
                    </a:lnTo>
                    <a:lnTo>
                      <a:pt x="39" y="1082"/>
                    </a:lnTo>
                    <a:lnTo>
                      <a:pt x="41" y="1082"/>
                    </a:lnTo>
                    <a:lnTo>
                      <a:pt x="41" y="1080"/>
                    </a:lnTo>
                    <a:lnTo>
                      <a:pt x="43" y="1080"/>
                    </a:lnTo>
                    <a:lnTo>
                      <a:pt x="43" y="1078"/>
                    </a:lnTo>
                    <a:lnTo>
                      <a:pt x="43" y="1077"/>
                    </a:lnTo>
                    <a:lnTo>
                      <a:pt x="43" y="1075"/>
                    </a:lnTo>
                    <a:lnTo>
                      <a:pt x="44" y="1075"/>
                    </a:lnTo>
                    <a:lnTo>
                      <a:pt x="44" y="1073"/>
                    </a:lnTo>
                    <a:lnTo>
                      <a:pt x="43" y="1073"/>
                    </a:lnTo>
                    <a:lnTo>
                      <a:pt x="43" y="1072"/>
                    </a:lnTo>
                    <a:lnTo>
                      <a:pt x="43" y="1073"/>
                    </a:lnTo>
                    <a:lnTo>
                      <a:pt x="43" y="1072"/>
                    </a:lnTo>
                    <a:lnTo>
                      <a:pt x="44" y="1072"/>
                    </a:lnTo>
                    <a:lnTo>
                      <a:pt x="44" y="1070"/>
                    </a:lnTo>
                    <a:lnTo>
                      <a:pt x="46" y="1070"/>
                    </a:lnTo>
                    <a:lnTo>
                      <a:pt x="46" y="1068"/>
                    </a:lnTo>
                    <a:lnTo>
                      <a:pt x="48" y="1070"/>
                    </a:lnTo>
                    <a:lnTo>
                      <a:pt x="48" y="1068"/>
                    </a:lnTo>
                    <a:lnTo>
                      <a:pt x="49" y="1066"/>
                    </a:lnTo>
                    <a:lnTo>
                      <a:pt x="49" y="1065"/>
                    </a:lnTo>
                    <a:lnTo>
                      <a:pt x="51" y="1065"/>
                    </a:lnTo>
                    <a:lnTo>
                      <a:pt x="53" y="1065"/>
                    </a:lnTo>
                    <a:lnTo>
                      <a:pt x="53" y="1063"/>
                    </a:lnTo>
                    <a:lnTo>
                      <a:pt x="54" y="1063"/>
                    </a:lnTo>
                    <a:lnTo>
                      <a:pt x="53" y="1061"/>
                    </a:lnTo>
                    <a:lnTo>
                      <a:pt x="54" y="1060"/>
                    </a:lnTo>
                    <a:lnTo>
                      <a:pt x="53" y="1058"/>
                    </a:lnTo>
                    <a:lnTo>
                      <a:pt x="54" y="1060"/>
                    </a:lnTo>
                    <a:lnTo>
                      <a:pt x="56" y="1060"/>
                    </a:lnTo>
                    <a:lnTo>
                      <a:pt x="58" y="1060"/>
                    </a:lnTo>
                    <a:lnTo>
                      <a:pt x="58" y="1058"/>
                    </a:lnTo>
                    <a:lnTo>
                      <a:pt x="58" y="1056"/>
                    </a:lnTo>
                    <a:lnTo>
                      <a:pt x="60" y="1056"/>
                    </a:lnTo>
                    <a:lnTo>
                      <a:pt x="58" y="1056"/>
                    </a:lnTo>
                    <a:lnTo>
                      <a:pt x="58" y="1055"/>
                    </a:lnTo>
                    <a:lnTo>
                      <a:pt x="56" y="1053"/>
                    </a:lnTo>
                    <a:lnTo>
                      <a:pt x="54" y="1053"/>
                    </a:lnTo>
                    <a:lnTo>
                      <a:pt x="56" y="1051"/>
                    </a:lnTo>
                    <a:lnTo>
                      <a:pt x="58" y="1049"/>
                    </a:lnTo>
                    <a:lnTo>
                      <a:pt x="58" y="1048"/>
                    </a:lnTo>
                    <a:lnTo>
                      <a:pt x="56" y="1048"/>
                    </a:lnTo>
                    <a:lnTo>
                      <a:pt x="54" y="1048"/>
                    </a:lnTo>
                    <a:lnTo>
                      <a:pt x="56" y="1046"/>
                    </a:lnTo>
                    <a:lnTo>
                      <a:pt x="54" y="1046"/>
                    </a:lnTo>
                    <a:lnTo>
                      <a:pt x="54" y="1044"/>
                    </a:lnTo>
                    <a:lnTo>
                      <a:pt x="54" y="1043"/>
                    </a:lnTo>
                    <a:lnTo>
                      <a:pt x="56" y="1043"/>
                    </a:lnTo>
                    <a:lnTo>
                      <a:pt x="56" y="1041"/>
                    </a:lnTo>
                    <a:lnTo>
                      <a:pt x="54" y="1039"/>
                    </a:lnTo>
                    <a:lnTo>
                      <a:pt x="56" y="1039"/>
                    </a:lnTo>
                    <a:lnTo>
                      <a:pt x="58" y="1039"/>
                    </a:lnTo>
                    <a:lnTo>
                      <a:pt x="60" y="1039"/>
                    </a:lnTo>
                    <a:lnTo>
                      <a:pt x="60" y="1038"/>
                    </a:lnTo>
                    <a:lnTo>
                      <a:pt x="61" y="1038"/>
                    </a:lnTo>
                    <a:lnTo>
                      <a:pt x="61" y="1036"/>
                    </a:lnTo>
                    <a:lnTo>
                      <a:pt x="63" y="1036"/>
                    </a:lnTo>
                    <a:lnTo>
                      <a:pt x="63" y="1034"/>
                    </a:lnTo>
                    <a:lnTo>
                      <a:pt x="65" y="1034"/>
                    </a:lnTo>
                    <a:lnTo>
                      <a:pt x="66" y="1032"/>
                    </a:lnTo>
                    <a:lnTo>
                      <a:pt x="65" y="1031"/>
                    </a:lnTo>
                    <a:lnTo>
                      <a:pt x="66" y="1031"/>
                    </a:lnTo>
                    <a:lnTo>
                      <a:pt x="65" y="1029"/>
                    </a:lnTo>
                    <a:lnTo>
                      <a:pt x="65" y="1027"/>
                    </a:lnTo>
                    <a:lnTo>
                      <a:pt x="65" y="1026"/>
                    </a:lnTo>
                    <a:lnTo>
                      <a:pt x="65" y="1024"/>
                    </a:lnTo>
                    <a:lnTo>
                      <a:pt x="63" y="1021"/>
                    </a:lnTo>
                    <a:lnTo>
                      <a:pt x="63" y="1017"/>
                    </a:lnTo>
                    <a:lnTo>
                      <a:pt x="63" y="1015"/>
                    </a:lnTo>
                    <a:lnTo>
                      <a:pt x="63" y="1014"/>
                    </a:lnTo>
                    <a:lnTo>
                      <a:pt x="63" y="1012"/>
                    </a:lnTo>
                    <a:lnTo>
                      <a:pt x="61" y="1010"/>
                    </a:lnTo>
                    <a:lnTo>
                      <a:pt x="61" y="1009"/>
                    </a:lnTo>
                    <a:lnTo>
                      <a:pt x="60" y="1009"/>
                    </a:lnTo>
                    <a:lnTo>
                      <a:pt x="58" y="1009"/>
                    </a:lnTo>
                    <a:lnTo>
                      <a:pt x="58" y="1007"/>
                    </a:lnTo>
                    <a:lnTo>
                      <a:pt x="56" y="1007"/>
                    </a:lnTo>
                    <a:lnTo>
                      <a:pt x="58" y="1005"/>
                    </a:lnTo>
                    <a:lnTo>
                      <a:pt x="60" y="1005"/>
                    </a:lnTo>
                    <a:lnTo>
                      <a:pt x="61" y="1005"/>
                    </a:lnTo>
                    <a:lnTo>
                      <a:pt x="61" y="1004"/>
                    </a:lnTo>
                    <a:lnTo>
                      <a:pt x="63" y="1004"/>
                    </a:lnTo>
                    <a:lnTo>
                      <a:pt x="65" y="1004"/>
                    </a:lnTo>
                    <a:lnTo>
                      <a:pt x="65" y="1002"/>
                    </a:lnTo>
                    <a:lnTo>
                      <a:pt x="65" y="1000"/>
                    </a:lnTo>
                    <a:lnTo>
                      <a:pt x="66" y="1000"/>
                    </a:lnTo>
                    <a:lnTo>
                      <a:pt x="66" y="998"/>
                    </a:lnTo>
                    <a:lnTo>
                      <a:pt x="66" y="997"/>
                    </a:lnTo>
                    <a:lnTo>
                      <a:pt x="66" y="995"/>
                    </a:lnTo>
                    <a:lnTo>
                      <a:pt x="65" y="993"/>
                    </a:lnTo>
                    <a:lnTo>
                      <a:pt x="63" y="993"/>
                    </a:lnTo>
                    <a:lnTo>
                      <a:pt x="63" y="992"/>
                    </a:lnTo>
                    <a:lnTo>
                      <a:pt x="63" y="993"/>
                    </a:lnTo>
                    <a:lnTo>
                      <a:pt x="61" y="992"/>
                    </a:lnTo>
                    <a:lnTo>
                      <a:pt x="63" y="990"/>
                    </a:lnTo>
                    <a:lnTo>
                      <a:pt x="61" y="990"/>
                    </a:lnTo>
                    <a:lnTo>
                      <a:pt x="61" y="988"/>
                    </a:lnTo>
                    <a:lnTo>
                      <a:pt x="61" y="987"/>
                    </a:lnTo>
                    <a:lnTo>
                      <a:pt x="61" y="985"/>
                    </a:lnTo>
                    <a:lnTo>
                      <a:pt x="61" y="983"/>
                    </a:lnTo>
                    <a:lnTo>
                      <a:pt x="61" y="981"/>
                    </a:lnTo>
                    <a:lnTo>
                      <a:pt x="63" y="980"/>
                    </a:lnTo>
                    <a:lnTo>
                      <a:pt x="61" y="980"/>
                    </a:lnTo>
                    <a:lnTo>
                      <a:pt x="61" y="978"/>
                    </a:lnTo>
                    <a:lnTo>
                      <a:pt x="63" y="978"/>
                    </a:lnTo>
                    <a:lnTo>
                      <a:pt x="63" y="976"/>
                    </a:lnTo>
                    <a:lnTo>
                      <a:pt x="65" y="976"/>
                    </a:lnTo>
                    <a:lnTo>
                      <a:pt x="66" y="976"/>
                    </a:lnTo>
                    <a:lnTo>
                      <a:pt x="68" y="976"/>
                    </a:lnTo>
                    <a:lnTo>
                      <a:pt x="70" y="976"/>
                    </a:lnTo>
                    <a:lnTo>
                      <a:pt x="70" y="975"/>
                    </a:lnTo>
                    <a:lnTo>
                      <a:pt x="71" y="975"/>
                    </a:lnTo>
                    <a:lnTo>
                      <a:pt x="70" y="973"/>
                    </a:lnTo>
                    <a:lnTo>
                      <a:pt x="70" y="971"/>
                    </a:lnTo>
                    <a:lnTo>
                      <a:pt x="70" y="969"/>
                    </a:lnTo>
                    <a:lnTo>
                      <a:pt x="71" y="969"/>
                    </a:lnTo>
                    <a:lnTo>
                      <a:pt x="73" y="969"/>
                    </a:lnTo>
                    <a:lnTo>
                      <a:pt x="73" y="968"/>
                    </a:lnTo>
                    <a:lnTo>
                      <a:pt x="75" y="968"/>
                    </a:lnTo>
                    <a:lnTo>
                      <a:pt x="77" y="968"/>
                    </a:lnTo>
                    <a:lnTo>
                      <a:pt x="77" y="966"/>
                    </a:lnTo>
                    <a:lnTo>
                      <a:pt x="77" y="964"/>
                    </a:lnTo>
                    <a:lnTo>
                      <a:pt x="75" y="964"/>
                    </a:lnTo>
                    <a:lnTo>
                      <a:pt x="77" y="963"/>
                    </a:lnTo>
                    <a:lnTo>
                      <a:pt x="75" y="963"/>
                    </a:lnTo>
                    <a:lnTo>
                      <a:pt x="75" y="961"/>
                    </a:lnTo>
                    <a:lnTo>
                      <a:pt x="73" y="961"/>
                    </a:lnTo>
                    <a:lnTo>
                      <a:pt x="73" y="959"/>
                    </a:lnTo>
                    <a:lnTo>
                      <a:pt x="71" y="958"/>
                    </a:lnTo>
                    <a:lnTo>
                      <a:pt x="71" y="956"/>
                    </a:lnTo>
                    <a:lnTo>
                      <a:pt x="70" y="956"/>
                    </a:lnTo>
                    <a:lnTo>
                      <a:pt x="70" y="954"/>
                    </a:lnTo>
                    <a:lnTo>
                      <a:pt x="68" y="952"/>
                    </a:lnTo>
                    <a:lnTo>
                      <a:pt x="68" y="951"/>
                    </a:lnTo>
                    <a:lnTo>
                      <a:pt x="70" y="951"/>
                    </a:lnTo>
                    <a:lnTo>
                      <a:pt x="68" y="951"/>
                    </a:lnTo>
                    <a:lnTo>
                      <a:pt x="66" y="951"/>
                    </a:lnTo>
                    <a:lnTo>
                      <a:pt x="66" y="949"/>
                    </a:lnTo>
                    <a:lnTo>
                      <a:pt x="65" y="951"/>
                    </a:lnTo>
                    <a:lnTo>
                      <a:pt x="65" y="949"/>
                    </a:lnTo>
                    <a:lnTo>
                      <a:pt x="63" y="949"/>
                    </a:lnTo>
                    <a:lnTo>
                      <a:pt x="61" y="947"/>
                    </a:lnTo>
                    <a:lnTo>
                      <a:pt x="61" y="949"/>
                    </a:lnTo>
                    <a:lnTo>
                      <a:pt x="60" y="947"/>
                    </a:lnTo>
                    <a:lnTo>
                      <a:pt x="58" y="947"/>
                    </a:lnTo>
                    <a:lnTo>
                      <a:pt x="58" y="949"/>
                    </a:lnTo>
                    <a:lnTo>
                      <a:pt x="56" y="949"/>
                    </a:lnTo>
                    <a:lnTo>
                      <a:pt x="56" y="947"/>
                    </a:lnTo>
                    <a:lnTo>
                      <a:pt x="54" y="947"/>
                    </a:lnTo>
                    <a:lnTo>
                      <a:pt x="53" y="946"/>
                    </a:lnTo>
                    <a:lnTo>
                      <a:pt x="53" y="947"/>
                    </a:lnTo>
                    <a:lnTo>
                      <a:pt x="53" y="946"/>
                    </a:lnTo>
                    <a:lnTo>
                      <a:pt x="51" y="946"/>
                    </a:lnTo>
                    <a:lnTo>
                      <a:pt x="53" y="944"/>
                    </a:lnTo>
                    <a:lnTo>
                      <a:pt x="51" y="944"/>
                    </a:lnTo>
                    <a:lnTo>
                      <a:pt x="53" y="944"/>
                    </a:lnTo>
                    <a:lnTo>
                      <a:pt x="53" y="942"/>
                    </a:lnTo>
                    <a:lnTo>
                      <a:pt x="51" y="942"/>
                    </a:lnTo>
                    <a:lnTo>
                      <a:pt x="51" y="941"/>
                    </a:lnTo>
                    <a:lnTo>
                      <a:pt x="51" y="939"/>
                    </a:lnTo>
                    <a:lnTo>
                      <a:pt x="53" y="941"/>
                    </a:lnTo>
                    <a:lnTo>
                      <a:pt x="54" y="941"/>
                    </a:lnTo>
                    <a:lnTo>
                      <a:pt x="56" y="941"/>
                    </a:lnTo>
                    <a:lnTo>
                      <a:pt x="56" y="942"/>
                    </a:lnTo>
                    <a:lnTo>
                      <a:pt x="56" y="941"/>
                    </a:lnTo>
                    <a:lnTo>
                      <a:pt x="58" y="941"/>
                    </a:lnTo>
                    <a:lnTo>
                      <a:pt x="58" y="942"/>
                    </a:lnTo>
                    <a:lnTo>
                      <a:pt x="60" y="941"/>
                    </a:lnTo>
                    <a:lnTo>
                      <a:pt x="60" y="942"/>
                    </a:lnTo>
                    <a:lnTo>
                      <a:pt x="60" y="941"/>
                    </a:lnTo>
                    <a:lnTo>
                      <a:pt x="61" y="939"/>
                    </a:lnTo>
                    <a:lnTo>
                      <a:pt x="61" y="941"/>
                    </a:lnTo>
                    <a:lnTo>
                      <a:pt x="63" y="941"/>
                    </a:lnTo>
                    <a:lnTo>
                      <a:pt x="65" y="941"/>
                    </a:lnTo>
                    <a:lnTo>
                      <a:pt x="66" y="941"/>
                    </a:lnTo>
                    <a:lnTo>
                      <a:pt x="68" y="941"/>
                    </a:lnTo>
                    <a:lnTo>
                      <a:pt x="68" y="939"/>
                    </a:lnTo>
                    <a:lnTo>
                      <a:pt x="68" y="941"/>
                    </a:lnTo>
                    <a:lnTo>
                      <a:pt x="70" y="939"/>
                    </a:lnTo>
                    <a:lnTo>
                      <a:pt x="71" y="939"/>
                    </a:lnTo>
                    <a:lnTo>
                      <a:pt x="73" y="939"/>
                    </a:lnTo>
                    <a:lnTo>
                      <a:pt x="73" y="941"/>
                    </a:lnTo>
                    <a:lnTo>
                      <a:pt x="75" y="941"/>
                    </a:lnTo>
                    <a:lnTo>
                      <a:pt x="75" y="942"/>
                    </a:lnTo>
                    <a:lnTo>
                      <a:pt x="77" y="942"/>
                    </a:lnTo>
                    <a:lnTo>
                      <a:pt x="78" y="942"/>
                    </a:lnTo>
                    <a:lnTo>
                      <a:pt x="78" y="941"/>
                    </a:lnTo>
                    <a:lnTo>
                      <a:pt x="80" y="941"/>
                    </a:lnTo>
                    <a:lnTo>
                      <a:pt x="80" y="939"/>
                    </a:lnTo>
                    <a:lnTo>
                      <a:pt x="80" y="937"/>
                    </a:lnTo>
                    <a:lnTo>
                      <a:pt x="82" y="935"/>
                    </a:lnTo>
                    <a:lnTo>
                      <a:pt x="80" y="935"/>
                    </a:lnTo>
                    <a:lnTo>
                      <a:pt x="80" y="934"/>
                    </a:lnTo>
                    <a:lnTo>
                      <a:pt x="82" y="932"/>
                    </a:lnTo>
                    <a:lnTo>
                      <a:pt x="80" y="932"/>
                    </a:lnTo>
                    <a:lnTo>
                      <a:pt x="82" y="932"/>
                    </a:lnTo>
                    <a:lnTo>
                      <a:pt x="83" y="932"/>
                    </a:lnTo>
                    <a:lnTo>
                      <a:pt x="85" y="932"/>
                    </a:lnTo>
                    <a:lnTo>
                      <a:pt x="83" y="930"/>
                    </a:lnTo>
                    <a:lnTo>
                      <a:pt x="85" y="929"/>
                    </a:lnTo>
                    <a:lnTo>
                      <a:pt x="83" y="929"/>
                    </a:lnTo>
                    <a:lnTo>
                      <a:pt x="82" y="927"/>
                    </a:lnTo>
                    <a:lnTo>
                      <a:pt x="83" y="927"/>
                    </a:lnTo>
                    <a:lnTo>
                      <a:pt x="83" y="925"/>
                    </a:lnTo>
                    <a:lnTo>
                      <a:pt x="82" y="925"/>
                    </a:lnTo>
                    <a:lnTo>
                      <a:pt x="80" y="924"/>
                    </a:lnTo>
                    <a:lnTo>
                      <a:pt x="80" y="925"/>
                    </a:lnTo>
                    <a:lnTo>
                      <a:pt x="80" y="924"/>
                    </a:lnTo>
                    <a:lnTo>
                      <a:pt x="78" y="924"/>
                    </a:lnTo>
                    <a:lnTo>
                      <a:pt x="77" y="924"/>
                    </a:lnTo>
                    <a:lnTo>
                      <a:pt x="75" y="924"/>
                    </a:lnTo>
                    <a:lnTo>
                      <a:pt x="75" y="922"/>
                    </a:lnTo>
                    <a:lnTo>
                      <a:pt x="73" y="922"/>
                    </a:lnTo>
                    <a:lnTo>
                      <a:pt x="71" y="922"/>
                    </a:lnTo>
                    <a:lnTo>
                      <a:pt x="71" y="924"/>
                    </a:lnTo>
                    <a:lnTo>
                      <a:pt x="70" y="922"/>
                    </a:lnTo>
                    <a:lnTo>
                      <a:pt x="70" y="924"/>
                    </a:lnTo>
                    <a:lnTo>
                      <a:pt x="68" y="924"/>
                    </a:lnTo>
                    <a:lnTo>
                      <a:pt x="66" y="922"/>
                    </a:lnTo>
                    <a:lnTo>
                      <a:pt x="66" y="924"/>
                    </a:lnTo>
                    <a:lnTo>
                      <a:pt x="65" y="924"/>
                    </a:lnTo>
                    <a:lnTo>
                      <a:pt x="65" y="922"/>
                    </a:lnTo>
                    <a:lnTo>
                      <a:pt x="63" y="922"/>
                    </a:lnTo>
                    <a:lnTo>
                      <a:pt x="63" y="924"/>
                    </a:lnTo>
                    <a:lnTo>
                      <a:pt x="61" y="924"/>
                    </a:lnTo>
                    <a:lnTo>
                      <a:pt x="60" y="924"/>
                    </a:lnTo>
                    <a:lnTo>
                      <a:pt x="60" y="922"/>
                    </a:lnTo>
                    <a:lnTo>
                      <a:pt x="60" y="920"/>
                    </a:lnTo>
                    <a:lnTo>
                      <a:pt x="61" y="920"/>
                    </a:lnTo>
                    <a:lnTo>
                      <a:pt x="61" y="918"/>
                    </a:lnTo>
                    <a:lnTo>
                      <a:pt x="60" y="917"/>
                    </a:lnTo>
                    <a:lnTo>
                      <a:pt x="60" y="915"/>
                    </a:lnTo>
                    <a:lnTo>
                      <a:pt x="61" y="913"/>
                    </a:lnTo>
                    <a:lnTo>
                      <a:pt x="60" y="913"/>
                    </a:lnTo>
                    <a:lnTo>
                      <a:pt x="60" y="912"/>
                    </a:lnTo>
                    <a:lnTo>
                      <a:pt x="58" y="910"/>
                    </a:lnTo>
                    <a:lnTo>
                      <a:pt x="60" y="910"/>
                    </a:lnTo>
                    <a:lnTo>
                      <a:pt x="61" y="910"/>
                    </a:lnTo>
                    <a:lnTo>
                      <a:pt x="63" y="908"/>
                    </a:lnTo>
                    <a:lnTo>
                      <a:pt x="63" y="907"/>
                    </a:lnTo>
                    <a:lnTo>
                      <a:pt x="63" y="905"/>
                    </a:lnTo>
                    <a:lnTo>
                      <a:pt x="65" y="905"/>
                    </a:lnTo>
                    <a:lnTo>
                      <a:pt x="65" y="903"/>
                    </a:lnTo>
                    <a:lnTo>
                      <a:pt x="65" y="901"/>
                    </a:lnTo>
                    <a:lnTo>
                      <a:pt x="66" y="901"/>
                    </a:lnTo>
                    <a:lnTo>
                      <a:pt x="65" y="900"/>
                    </a:lnTo>
                    <a:lnTo>
                      <a:pt x="63" y="900"/>
                    </a:lnTo>
                    <a:lnTo>
                      <a:pt x="63" y="898"/>
                    </a:lnTo>
                    <a:lnTo>
                      <a:pt x="63" y="896"/>
                    </a:lnTo>
                    <a:lnTo>
                      <a:pt x="61" y="896"/>
                    </a:lnTo>
                    <a:lnTo>
                      <a:pt x="63" y="896"/>
                    </a:lnTo>
                    <a:lnTo>
                      <a:pt x="61" y="896"/>
                    </a:lnTo>
                    <a:lnTo>
                      <a:pt x="63" y="895"/>
                    </a:lnTo>
                    <a:lnTo>
                      <a:pt x="61" y="895"/>
                    </a:lnTo>
                    <a:lnTo>
                      <a:pt x="63" y="893"/>
                    </a:lnTo>
                    <a:lnTo>
                      <a:pt x="65" y="891"/>
                    </a:lnTo>
                    <a:lnTo>
                      <a:pt x="65" y="890"/>
                    </a:lnTo>
                    <a:lnTo>
                      <a:pt x="66" y="890"/>
                    </a:lnTo>
                    <a:lnTo>
                      <a:pt x="68" y="890"/>
                    </a:lnTo>
                    <a:lnTo>
                      <a:pt x="66" y="890"/>
                    </a:lnTo>
                    <a:lnTo>
                      <a:pt x="68" y="890"/>
                    </a:lnTo>
                    <a:lnTo>
                      <a:pt x="68" y="888"/>
                    </a:lnTo>
                    <a:lnTo>
                      <a:pt x="68" y="886"/>
                    </a:lnTo>
                    <a:lnTo>
                      <a:pt x="66" y="886"/>
                    </a:lnTo>
                    <a:lnTo>
                      <a:pt x="65" y="886"/>
                    </a:lnTo>
                    <a:lnTo>
                      <a:pt x="63" y="886"/>
                    </a:lnTo>
                    <a:lnTo>
                      <a:pt x="63" y="884"/>
                    </a:lnTo>
                    <a:lnTo>
                      <a:pt x="61" y="884"/>
                    </a:lnTo>
                    <a:lnTo>
                      <a:pt x="61" y="883"/>
                    </a:lnTo>
                    <a:lnTo>
                      <a:pt x="60" y="883"/>
                    </a:lnTo>
                    <a:lnTo>
                      <a:pt x="58" y="883"/>
                    </a:lnTo>
                    <a:lnTo>
                      <a:pt x="58" y="881"/>
                    </a:lnTo>
                    <a:lnTo>
                      <a:pt x="60" y="879"/>
                    </a:lnTo>
                    <a:lnTo>
                      <a:pt x="58" y="879"/>
                    </a:lnTo>
                    <a:lnTo>
                      <a:pt x="58" y="878"/>
                    </a:lnTo>
                    <a:lnTo>
                      <a:pt x="58" y="879"/>
                    </a:lnTo>
                    <a:lnTo>
                      <a:pt x="56" y="879"/>
                    </a:lnTo>
                    <a:lnTo>
                      <a:pt x="56" y="878"/>
                    </a:lnTo>
                    <a:lnTo>
                      <a:pt x="56" y="876"/>
                    </a:lnTo>
                    <a:lnTo>
                      <a:pt x="58" y="874"/>
                    </a:lnTo>
                    <a:lnTo>
                      <a:pt x="58" y="873"/>
                    </a:lnTo>
                    <a:lnTo>
                      <a:pt x="56" y="873"/>
                    </a:lnTo>
                    <a:lnTo>
                      <a:pt x="58" y="873"/>
                    </a:lnTo>
                    <a:lnTo>
                      <a:pt x="60" y="873"/>
                    </a:lnTo>
                    <a:lnTo>
                      <a:pt x="61" y="873"/>
                    </a:lnTo>
                    <a:lnTo>
                      <a:pt x="61" y="871"/>
                    </a:lnTo>
                    <a:lnTo>
                      <a:pt x="61" y="873"/>
                    </a:lnTo>
                    <a:lnTo>
                      <a:pt x="63" y="873"/>
                    </a:lnTo>
                    <a:lnTo>
                      <a:pt x="63" y="871"/>
                    </a:lnTo>
                    <a:lnTo>
                      <a:pt x="63" y="869"/>
                    </a:lnTo>
                    <a:lnTo>
                      <a:pt x="61" y="867"/>
                    </a:lnTo>
                    <a:lnTo>
                      <a:pt x="63" y="867"/>
                    </a:lnTo>
                    <a:lnTo>
                      <a:pt x="63" y="866"/>
                    </a:lnTo>
                    <a:lnTo>
                      <a:pt x="61" y="866"/>
                    </a:lnTo>
                    <a:lnTo>
                      <a:pt x="61" y="864"/>
                    </a:lnTo>
                    <a:lnTo>
                      <a:pt x="60" y="864"/>
                    </a:lnTo>
                    <a:lnTo>
                      <a:pt x="58" y="864"/>
                    </a:lnTo>
                    <a:lnTo>
                      <a:pt x="58" y="862"/>
                    </a:lnTo>
                    <a:lnTo>
                      <a:pt x="56" y="862"/>
                    </a:lnTo>
                    <a:lnTo>
                      <a:pt x="56" y="861"/>
                    </a:lnTo>
                    <a:lnTo>
                      <a:pt x="54" y="859"/>
                    </a:lnTo>
                    <a:lnTo>
                      <a:pt x="53" y="859"/>
                    </a:lnTo>
                    <a:lnTo>
                      <a:pt x="53" y="857"/>
                    </a:lnTo>
                    <a:lnTo>
                      <a:pt x="51" y="857"/>
                    </a:lnTo>
                    <a:lnTo>
                      <a:pt x="51" y="856"/>
                    </a:lnTo>
                    <a:lnTo>
                      <a:pt x="49" y="854"/>
                    </a:lnTo>
                    <a:lnTo>
                      <a:pt x="49" y="852"/>
                    </a:lnTo>
                    <a:lnTo>
                      <a:pt x="49" y="850"/>
                    </a:lnTo>
                    <a:lnTo>
                      <a:pt x="49" y="849"/>
                    </a:lnTo>
                    <a:lnTo>
                      <a:pt x="48" y="849"/>
                    </a:lnTo>
                    <a:lnTo>
                      <a:pt x="49" y="849"/>
                    </a:lnTo>
                    <a:lnTo>
                      <a:pt x="49" y="847"/>
                    </a:lnTo>
                    <a:lnTo>
                      <a:pt x="49" y="845"/>
                    </a:lnTo>
                    <a:lnTo>
                      <a:pt x="49" y="844"/>
                    </a:lnTo>
                    <a:lnTo>
                      <a:pt x="48" y="844"/>
                    </a:lnTo>
                    <a:lnTo>
                      <a:pt x="48" y="842"/>
                    </a:lnTo>
                    <a:lnTo>
                      <a:pt x="49" y="842"/>
                    </a:lnTo>
                    <a:lnTo>
                      <a:pt x="49" y="840"/>
                    </a:lnTo>
                    <a:lnTo>
                      <a:pt x="49" y="839"/>
                    </a:lnTo>
                    <a:lnTo>
                      <a:pt x="51" y="839"/>
                    </a:lnTo>
                    <a:lnTo>
                      <a:pt x="51" y="837"/>
                    </a:lnTo>
                    <a:lnTo>
                      <a:pt x="53" y="837"/>
                    </a:lnTo>
                    <a:lnTo>
                      <a:pt x="53" y="835"/>
                    </a:lnTo>
                    <a:lnTo>
                      <a:pt x="53" y="833"/>
                    </a:lnTo>
                    <a:lnTo>
                      <a:pt x="53" y="832"/>
                    </a:lnTo>
                    <a:lnTo>
                      <a:pt x="53" y="830"/>
                    </a:lnTo>
                    <a:lnTo>
                      <a:pt x="51" y="830"/>
                    </a:lnTo>
                    <a:lnTo>
                      <a:pt x="51" y="828"/>
                    </a:lnTo>
                    <a:lnTo>
                      <a:pt x="49" y="830"/>
                    </a:lnTo>
                    <a:lnTo>
                      <a:pt x="49" y="828"/>
                    </a:lnTo>
                    <a:lnTo>
                      <a:pt x="49" y="827"/>
                    </a:lnTo>
                    <a:lnTo>
                      <a:pt x="49" y="825"/>
                    </a:lnTo>
                    <a:lnTo>
                      <a:pt x="48" y="823"/>
                    </a:lnTo>
                    <a:lnTo>
                      <a:pt x="49" y="823"/>
                    </a:lnTo>
                    <a:lnTo>
                      <a:pt x="48" y="822"/>
                    </a:lnTo>
                    <a:lnTo>
                      <a:pt x="48" y="820"/>
                    </a:lnTo>
                    <a:lnTo>
                      <a:pt x="48" y="818"/>
                    </a:lnTo>
                    <a:lnTo>
                      <a:pt x="49" y="818"/>
                    </a:lnTo>
                    <a:lnTo>
                      <a:pt x="51" y="818"/>
                    </a:lnTo>
                    <a:lnTo>
                      <a:pt x="51" y="816"/>
                    </a:lnTo>
                    <a:lnTo>
                      <a:pt x="53" y="816"/>
                    </a:lnTo>
                    <a:lnTo>
                      <a:pt x="53" y="818"/>
                    </a:lnTo>
                    <a:lnTo>
                      <a:pt x="54" y="818"/>
                    </a:lnTo>
                    <a:lnTo>
                      <a:pt x="56" y="820"/>
                    </a:lnTo>
                    <a:lnTo>
                      <a:pt x="58" y="820"/>
                    </a:lnTo>
                    <a:lnTo>
                      <a:pt x="58" y="818"/>
                    </a:lnTo>
                    <a:lnTo>
                      <a:pt x="60" y="818"/>
                    </a:lnTo>
                    <a:lnTo>
                      <a:pt x="60" y="820"/>
                    </a:lnTo>
                    <a:lnTo>
                      <a:pt x="60" y="818"/>
                    </a:lnTo>
                    <a:lnTo>
                      <a:pt x="61" y="818"/>
                    </a:lnTo>
                    <a:lnTo>
                      <a:pt x="63" y="818"/>
                    </a:lnTo>
                    <a:lnTo>
                      <a:pt x="63" y="816"/>
                    </a:lnTo>
                    <a:lnTo>
                      <a:pt x="63" y="815"/>
                    </a:lnTo>
                    <a:lnTo>
                      <a:pt x="63" y="813"/>
                    </a:lnTo>
                    <a:lnTo>
                      <a:pt x="61" y="813"/>
                    </a:lnTo>
                    <a:lnTo>
                      <a:pt x="61" y="811"/>
                    </a:lnTo>
                    <a:lnTo>
                      <a:pt x="61" y="810"/>
                    </a:lnTo>
                    <a:lnTo>
                      <a:pt x="61" y="808"/>
                    </a:lnTo>
                    <a:lnTo>
                      <a:pt x="61" y="806"/>
                    </a:lnTo>
                    <a:lnTo>
                      <a:pt x="61" y="804"/>
                    </a:lnTo>
                    <a:lnTo>
                      <a:pt x="61" y="803"/>
                    </a:lnTo>
                    <a:lnTo>
                      <a:pt x="61" y="801"/>
                    </a:lnTo>
                    <a:lnTo>
                      <a:pt x="61" y="799"/>
                    </a:lnTo>
                    <a:lnTo>
                      <a:pt x="60" y="799"/>
                    </a:lnTo>
                    <a:lnTo>
                      <a:pt x="61" y="798"/>
                    </a:lnTo>
                    <a:lnTo>
                      <a:pt x="60" y="798"/>
                    </a:lnTo>
                    <a:lnTo>
                      <a:pt x="60" y="796"/>
                    </a:lnTo>
                    <a:lnTo>
                      <a:pt x="58" y="796"/>
                    </a:lnTo>
                    <a:lnTo>
                      <a:pt x="58" y="794"/>
                    </a:lnTo>
                    <a:lnTo>
                      <a:pt x="58" y="793"/>
                    </a:lnTo>
                    <a:lnTo>
                      <a:pt x="60" y="793"/>
                    </a:lnTo>
                    <a:lnTo>
                      <a:pt x="60" y="791"/>
                    </a:lnTo>
                    <a:lnTo>
                      <a:pt x="60" y="789"/>
                    </a:lnTo>
                    <a:lnTo>
                      <a:pt x="60" y="787"/>
                    </a:lnTo>
                    <a:lnTo>
                      <a:pt x="60" y="786"/>
                    </a:lnTo>
                    <a:lnTo>
                      <a:pt x="58" y="786"/>
                    </a:lnTo>
                    <a:lnTo>
                      <a:pt x="58" y="784"/>
                    </a:lnTo>
                    <a:lnTo>
                      <a:pt x="58" y="782"/>
                    </a:lnTo>
                    <a:lnTo>
                      <a:pt x="56" y="782"/>
                    </a:lnTo>
                    <a:lnTo>
                      <a:pt x="58" y="782"/>
                    </a:lnTo>
                    <a:lnTo>
                      <a:pt x="58" y="781"/>
                    </a:lnTo>
                    <a:lnTo>
                      <a:pt x="58" y="779"/>
                    </a:lnTo>
                    <a:lnTo>
                      <a:pt x="58" y="777"/>
                    </a:lnTo>
                    <a:lnTo>
                      <a:pt x="60" y="779"/>
                    </a:lnTo>
                    <a:lnTo>
                      <a:pt x="58" y="777"/>
                    </a:lnTo>
                    <a:lnTo>
                      <a:pt x="60" y="777"/>
                    </a:lnTo>
                    <a:lnTo>
                      <a:pt x="58" y="777"/>
                    </a:lnTo>
                    <a:lnTo>
                      <a:pt x="58" y="776"/>
                    </a:lnTo>
                    <a:lnTo>
                      <a:pt x="58" y="774"/>
                    </a:lnTo>
                    <a:lnTo>
                      <a:pt x="60" y="774"/>
                    </a:lnTo>
                    <a:lnTo>
                      <a:pt x="60" y="772"/>
                    </a:lnTo>
                    <a:lnTo>
                      <a:pt x="60" y="770"/>
                    </a:lnTo>
                    <a:lnTo>
                      <a:pt x="60" y="769"/>
                    </a:lnTo>
                    <a:lnTo>
                      <a:pt x="58" y="769"/>
                    </a:lnTo>
                    <a:lnTo>
                      <a:pt x="58" y="767"/>
                    </a:lnTo>
                    <a:lnTo>
                      <a:pt x="58" y="765"/>
                    </a:lnTo>
                    <a:lnTo>
                      <a:pt x="56" y="765"/>
                    </a:lnTo>
                    <a:lnTo>
                      <a:pt x="58" y="765"/>
                    </a:lnTo>
                    <a:lnTo>
                      <a:pt x="58" y="764"/>
                    </a:lnTo>
                    <a:lnTo>
                      <a:pt x="58" y="762"/>
                    </a:lnTo>
                    <a:lnTo>
                      <a:pt x="58" y="760"/>
                    </a:lnTo>
                    <a:lnTo>
                      <a:pt x="58" y="762"/>
                    </a:lnTo>
                    <a:lnTo>
                      <a:pt x="58" y="760"/>
                    </a:lnTo>
                    <a:lnTo>
                      <a:pt x="56" y="760"/>
                    </a:lnTo>
                    <a:lnTo>
                      <a:pt x="56" y="759"/>
                    </a:lnTo>
                    <a:lnTo>
                      <a:pt x="56" y="757"/>
                    </a:lnTo>
                    <a:lnTo>
                      <a:pt x="56" y="755"/>
                    </a:lnTo>
                    <a:lnTo>
                      <a:pt x="54" y="755"/>
                    </a:lnTo>
                    <a:lnTo>
                      <a:pt x="54" y="753"/>
                    </a:lnTo>
                    <a:lnTo>
                      <a:pt x="56" y="753"/>
                    </a:lnTo>
                    <a:lnTo>
                      <a:pt x="58" y="752"/>
                    </a:lnTo>
                    <a:lnTo>
                      <a:pt x="58" y="750"/>
                    </a:lnTo>
                    <a:lnTo>
                      <a:pt x="60" y="750"/>
                    </a:lnTo>
                    <a:lnTo>
                      <a:pt x="60" y="748"/>
                    </a:lnTo>
                    <a:lnTo>
                      <a:pt x="58" y="748"/>
                    </a:lnTo>
                    <a:lnTo>
                      <a:pt x="58" y="747"/>
                    </a:lnTo>
                    <a:lnTo>
                      <a:pt x="60" y="745"/>
                    </a:lnTo>
                    <a:lnTo>
                      <a:pt x="58" y="745"/>
                    </a:lnTo>
                    <a:lnTo>
                      <a:pt x="60" y="743"/>
                    </a:lnTo>
                    <a:lnTo>
                      <a:pt x="60" y="742"/>
                    </a:lnTo>
                    <a:lnTo>
                      <a:pt x="61" y="740"/>
                    </a:lnTo>
                    <a:lnTo>
                      <a:pt x="61" y="742"/>
                    </a:lnTo>
                    <a:lnTo>
                      <a:pt x="61" y="740"/>
                    </a:lnTo>
                    <a:lnTo>
                      <a:pt x="63" y="742"/>
                    </a:lnTo>
                    <a:lnTo>
                      <a:pt x="65" y="740"/>
                    </a:lnTo>
                    <a:lnTo>
                      <a:pt x="65" y="738"/>
                    </a:lnTo>
                    <a:lnTo>
                      <a:pt x="65" y="736"/>
                    </a:lnTo>
                    <a:lnTo>
                      <a:pt x="65" y="735"/>
                    </a:lnTo>
                    <a:lnTo>
                      <a:pt x="63" y="735"/>
                    </a:lnTo>
                    <a:lnTo>
                      <a:pt x="61" y="735"/>
                    </a:lnTo>
                    <a:lnTo>
                      <a:pt x="60" y="733"/>
                    </a:lnTo>
                    <a:lnTo>
                      <a:pt x="61" y="733"/>
                    </a:lnTo>
                    <a:lnTo>
                      <a:pt x="60" y="733"/>
                    </a:lnTo>
                    <a:lnTo>
                      <a:pt x="60" y="731"/>
                    </a:lnTo>
                    <a:lnTo>
                      <a:pt x="61" y="730"/>
                    </a:lnTo>
                    <a:lnTo>
                      <a:pt x="60" y="730"/>
                    </a:lnTo>
                    <a:lnTo>
                      <a:pt x="60" y="728"/>
                    </a:lnTo>
                    <a:lnTo>
                      <a:pt x="61" y="728"/>
                    </a:lnTo>
                    <a:lnTo>
                      <a:pt x="60" y="726"/>
                    </a:lnTo>
                    <a:lnTo>
                      <a:pt x="61" y="726"/>
                    </a:lnTo>
                    <a:lnTo>
                      <a:pt x="63" y="726"/>
                    </a:lnTo>
                    <a:lnTo>
                      <a:pt x="65" y="728"/>
                    </a:lnTo>
                    <a:lnTo>
                      <a:pt x="65" y="726"/>
                    </a:lnTo>
                    <a:lnTo>
                      <a:pt x="65" y="725"/>
                    </a:lnTo>
                    <a:lnTo>
                      <a:pt x="65" y="723"/>
                    </a:lnTo>
                    <a:lnTo>
                      <a:pt x="65" y="721"/>
                    </a:lnTo>
                    <a:lnTo>
                      <a:pt x="66" y="721"/>
                    </a:lnTo>
                    <a:lnTo>
                      <a:pt x="66" y="719"/>
                    </a:lnTo>
                    <a:lnTo>
                      <a:pt x="68" y="719"/>
                    </a:lnTo>
                    <a:lnTo>
                      <a:pt x="68" y="718"/>
                    </a:lnTo>
                    <a:lnTo>
                      <a:pt x="66" y="716"/>
                    </a:lnTo>
                    <a:lnTo>
                      <a:pt x="65" y="716"/>
                    </a:lnTo>
                    <a:lnTo>
                      <a:pt x="65" y="714"/>
                    </a:lnTo>
                    <a:lnTo>
                      <a:pt x="65" y="713"/>
                    </a:lnTo>
                    <a:lnTo>
                      <a:pt x="65" y="711"/>
                    </a:lnTo>
                    <a:lnTo>
                      <a:pt x="63" y="711"/>
                    </a:lnTo>
                    <a:lnTo>
                      <a:pt x="63" y="709"/>
                    </a:lnTo>
                    <a:lnTo>
                      <a:pt x="65" y="709"/>
                    </a:lnTo>
                    <a:lnTo>
                      <a:pt x="63" y="709"/>
                    </a:lnTo>
                    <a:lnTo>
                      <a:pt x="65" y="709"/>
                    </a:lnTo>
                    <a:lnTo>
                      <a:pt x="65" y="708"/>
                    </a:lnTo>
                    <a:lnTo>
                      <a:pt x="63" y="706"/>
                    </a:lnTo>
                    <a:lnTo>
                      <a:pt x="65" y="706"/>
                    </a:lnTo>
                    <a:lnTo>
                      <a:pt x="65" y="704"/>
                    </a:lnTo>
                    <a:lnTo>
                      <a:pt x="65" y="702"/>
                    </a:lnTo>
                    <a:lnTo>
                      <a:pt x="65" y="704"/>
                    </a:lnTo>
                    <a:lnTo>
                      <a:pt x="66" y="704"/>
                    </a:lnTo>
                    <a:lnTo>
                      <a:pt x="66" y="706"/>
                    </a:lnTo>
                    <a:lnTo>
                      <a:pt x="68" y="706"/>
                    </a:lnTo>
                    <a:lnTo>
                      <a:pt x="70" y="706"/>
                    </a:lnTo>
                    <a:lnTo>
                      <a:pt x="71" y="706"/>
                    </a:lnTo>
                    <a:lnTo>
                      <a:pt x="71" y="704"/>
                    </a:lnTo>
                    <a:lnTo>
                      <a:pt x="71" y="702"/>
                    </a:lnTo>
                    <a:lnTo>
                      <a:pt x="70" y="702"/>
                    </a:lnTo>
                    <a:lnTo>
                      <a:pt x="70" y="701"/>
                    </a:lnTo>
                    <a:lnTo>
                      <a:pt x="71" y="699"/>
                    </a:lnTo>
                    <a:lnTo>
                      <a:pt x="71" y="697"/>
                    </a:lnTo>
                    <a:lnTo>
                      <a:pt x="73" y="697"/>
                    </a:lnTo>
                    <a:lnTo>
                      <a:pt x="71" y="697"/>
                    </a:lnTo>
                    <a:lnTo>
                      <a:pt x="73" y="696"/>
                    </a:lnTo>
                    <a:lnTo>
                      <a:pt x="71" y="696"/>
                    </a:lnTo>
                    <a:lnTo>
                      <a:pt x="71" y="694"/>
                    </a:lnTo>
                    <a:lnTo>
                      <a:pt x="73" y="694"/>
                    </a:lnTo>
                    <a:lnTo>
                      <a:pt x="75" y="694"/>
                    </a:lnTo>
                    <a:lnTo>
                      <a:pt x="75" y="692"/>
                    </a:lnTo>
                    <a:lnTo>
                      <a:pt x="75" y="691"/>
                    </a:lnTo>
                    <a:lnTo>
                      <a:pt x="75" y="689"/>
                    </a:lnTo>
                    <a:lnTo>
                      <a:pt x="75" y="687"/>
                    </a:lnTo>
                    <a:lnTo>
                      <a:pt x="73" y="685"/>
                    </a:lnTo>
                    <a:lnTo>
                      <a:pt x="73" y="684"/>
                    </a:lnTo>
                    <a:lnTo>
                      <a:pt x="73" y="682"/>
                    </a:lnTo>
                    <a:lnTo>
                      <a:pt x="73" y="680"/>
                    </a:lnTo>
                    <a:lnTo>
                      <a:pt x="75" y="680"/>
                    </a:lnTo>
                    <a:lnTo>
                      <a:pt x="73" y="680"/>
                    </a:lnTo>
                    <a:lnTo>
                      <a:pt x="73" y="679"/>
                    </a:lnTo>
                    <a:lnTo>
                      <a:pt x="73" y="677"/>
                    </a:lnTo>
                    <a:lnTo>
                      <a:pt x="73" y="675"/>
                    </a:lnTo>
                    <a:lnTo>
                      <a:pt x="75" y="675"/>
                    </a:lnTo>
                    <a:lnTo>
                      <a:pt x="75" y="674"/>
                    </a:lnTo>
                    <a:lnTo>
                      <a:pt x="77" y="674"/>
                    </a:lnTo>
                    <a:lnTo>
                      <a:pt x="78" y="672"/>
                    </a:lnTo>
                    <a:lnTo>
                      <a:pt x="78" y="670"/>
                    </a:lnTo>
                    <a:lnTo>
                      <a:pt x="80" y="670"/>
                    </a:lnTo>
                    <a:lnTo>
                      <a:pt x="82" y="670"/>
                    </a:lnTo>
                    <a:lnTo>
                      <a:pt x="83" y="670"/>
                    </a:lnTo>
                    <a:lnTo>
                      <a:pt x="83" y="668"/>
                    </a:lnTo>
                    <a:lnTo>
                      <a:pt x="85" y="668"/>
                    </a:lnTo>
                    <a:lnTo>
                      <a:pt x="87" y="668"/>
                    </a:lnTo>
                    <a:lnTo>
                      <a:pt x="88" y="668"/>
                    </a:lnTo>
                    <a:lnTo>
                      <a:pt x="90" y="668"/>
                    </a:lnTo>
                    <a:lnTo>
                      <a:pt x="90" y="667"/>
                    </a:lnTo>
                    <a:lnTo>
                      <a:pt x="92" y="667"/>
                    </a:lnTo>
                    <a:lnTo>
                      <a:pt x="92" y="665"/>
                    </a:lnTo>
                    <a:lnTo>
                      <a:pt x="90" y="665"/>
                    </a:lnTo>
                    <a:lnTo>
                      <a:pt x="90" y="663"/>
                    </a:lnTo>
                    <a:lnTo>
                      <a:pt x="92" y="663"/>
                    </a:lnTo>
                    <a:lnTo>
                      <a:pt x="92" y="662"/>
                    </a:lnTo>
                    <a:lnTo>
                      <a:pt x="94" y="662"/>
                    </a:lnTo>
                    <a:lnTo>
                      <a:pt x="94" y="660"/>
                    </a:lnTo>
                    <a:lnTo>
                      <a:pt x="94" y="658"/>
                    </a:lnTo>
                    <a:lnTo>
                      <a:pt x="92" y="658"/>
                    </a:lnTo>
                    <a:lnTo>
                      <a:pt x="92" y="656"/>
                    </a:lnTo>
                    <a:lnTo>
                      <a:pt x="90" y="656"/>
                    </a:lnTo>
                    <a:lnTo>
                      <a:pt x="90" y="655"/>
                    </a:lnTo>
                    <a:lnTo>
                      <a:pt x="88" y="655"/>
                    </a:lnTo>
                    <a:lnTo>
                      <a:pt x="88" y="653"/>
                    </a:lnTo>
                    <a:lnTo>
                      <a:pt x="88" y="651"/>
                    </a:lnTo>
                    <a:lnTo>
                      <a:pt x="87" y="650"/>
                    </a:lnTo>
                    <a:lnTo>
                      <a:pt x="88" y="650"/>
                    </a:lnTo>
                    <a:lnTo>
                      <a:pt x="87" y="650"/>
                    </a:lnTo>
                    <a:lnTo>
                      <a:pt x="87" y="648"/>
                    </a:lnTo>
                    <a:lnTo>
                      <a:pt x="87" y="646"/>
                    </a:lnTo>
                    <a:lnTo>
                      <a:pt x="87" y="645"/>
                    </a:lnTo>
                    <a:lnTo>
                      <a:pt x="88" y="645"/>
                    </a:lnTo>
                    <a:lnTo>
                      <a:pt x="88" y="643"/>
                    </a:lnTo>
                    <a:lnTo>
                      <a:pt x="87" y="641"/>
                    </a:lnTo>
                    <a:lnTo>
                      <a:pt x="85" y="639"/>
                    </a:lnTo>
                    <a:lnTo>
                      <a:pt x="87" y="639"/>
                    </a:lnTo>
                    <a:lnTo>
                      <a:pt x="88" y="639"/>
                    </a:lnTo>
                    <a:lnTo>
                      <a:pt x="87" y="639"/>
                    </a:lnTo>
                    <a:lnTo>
                      <a:pt x="87" y="638"/>
                    </a:lnTo>
                    <a:lnTo>
                      <a:pt x="85" y="638"/>
                    </a:lnTo>
                    <a:lnTo>
                      <a:pt x="85" y="636"/>
                    </a:lnTo>
                    <a:lnTo>
                      <a:pt x="85" y="634"/>
                    </a:lnTo>
                    <a:lnTo>
                      <a:pt x="83" y="633"/>
                    </a:lnTo>
                    <a:lnTo>
                      <a:pt x="83" y="631"/>
                    </a:lnTo>
                    <a:lnTo>
                      <a:pt x="83" y="629"/>
                    </a:lnTo>
                    <a:lnTo>
                      <a:pt x="82" y="629"/>
                    </a:lnTo>
                    <a:lnTo>
                      <a:pt x="82" y="628"/>
                    </a:lnTo>
                    <a:lnTo>
                      <a:pt x="83" y="628"/>
                    </a:lnTo>
                    <a:lnTo>
                      <a:pt x="82" y="628"/>
                    </a:lnTo>
                    <a:lnTo>
                      <a:pt x="82" y="626"/>
                    </a:lnTo>
                    <a:lnTo>
                      <a:pt x="82" y="624"/>
                    </a:lnTo>
                    <a:lnTo>
                      <a:pt x="82" y="622"/>
                    </a:lnTo>
                    <a:lnTo>
                      <a:pt x="80" y="622"/>
                    </a:lnTo>
                    <a:lnTo>
                      <a:pt x="80" y="621"/>
                    </a:lnTo>
                    <a:lnTo>
                      <a:pt x="82" y="619"/>
                    </a:lnTo>
                    <a:lnTo>
                      <a:pt x="83" y="617"/>
                    </a:lnTo>
                    <a:lnTo>
                      <a:pt x="83" y="616"/>
                    </a:lnTo>
                    <a:lnTo>
                      <a:pt x="82" y="616"/>
                    </a:lnTo>
                    <a:lnTo>
                      <a:pt x="83" y="616"/>
                    </a:lnTo>
                    <a:lnTo>
                      <a:pt x="83" y="614"/>
                    </a:lnTo>
                    <a:lnTo>
                      <a:pt x="83" y="612"/>
                    </a:lnTo>
                    <a:lnTo>
                      <a:pt x="83" y="611"/>
                    </a:lnTo>
                    <a:lnTo>
                      <a:pt x="82" y="609"/>
                    </a:lnTo>
                    <a:lnTo>
                      <a:pt x="80" y="609"/>
                    </a:lnTo>
                    <a:lnTo>
                      <a:pt x="82" y="607"/>
                    </a:lnTo>
                    <a:lnTo>
                      <a:pt x="80" y="607"/>
                    </a:lnTo>
                    <a:lnTo>
                      <a:pt x="80" y="605"/>
                    </a:lnTo>
                    <a:lnTo>
                      <a:pt x="80" y="604"/>
                    </a:lnTo>
                    <a:lnTo>
                      <a:pt x="82" y="604"/>
                    </a:lnTo>
                    <a:lnTo>
                      <a:pt x="82" y="602"/>
                    </a:lnTo>
                    <a:lnTo>
                      <a:pt x="83" y="602"/>
                    </a:lnTo>
                    <a:lnTo>
                      <a:pt x="83" y="600"/>
                    </a:lnTo>
                    <a:lnTo>
                      <a:pt x="83" y="599"/>
                    </a:lnTo>
                    <a:lnTo>
                      <a:pt x="85" y="599"/>
                    </a:lnTo>
                    <a:lnTo>
                      <a:pt x="85" y="597"/>
                    </a:lnTo>
                    <a:lnTo>
                      <a:pt x="83" y="597"/>
                    </a:lnTo>
                    <a:lnTo>
                      <a:pt x="83" y="595"/>
                    </a:lnTo>
                    <a:lnTo>
                      <a:pt x="83" y="594"/>
                    </a:lnTo>
                    <a:lnTo>
                      <a:pt x="82" y="594"/>
                    </a:lnTo>
                    <a:lnTo>
                      <a:pt x="82" y="592"/>
                    </a:lnTo>
                    <a:lnTo>
                      <a:pt x="80" y="592"/>
                    </a:lnTo>
                    <a:lnTo>
                      <a:pt x="82" y="592"/>
                    </a:lnTo>
                    <a:lnTo>
                      <a:pt x="83" y="592"/>
                    </a:lnTo>
                    <a:lnTo>
                      <a:pt x="83" y="590"/>
                    </a:lnTo>
                    <a:lnTo>
                      <a:pt x="85" y="590"/>
                    </a:lnTo>
                    <a:lnTo>
                      <a:pt x="83" y="590"/>
                    </a:lnTo>
                    <a:lnTo>
                      <a:pt x="82" y="588"/>
                    </a:lnTo>
                    <a:lnTo>
                      <a:pt x="83" y="588"/>
                    </a:lnTo>
                    <a:lnTo>
                      <a:pt x="83" y="587"/>
                    </a:lnTo>
                    <a:lnTo>
                      <a:pt x="82" y="587"/>
                    </a:lnTo>
                    <a:lnTo>
                      <a:pt x="82" y="585"/>
                    </a:lnTo>
                    <a:lnTo>
                      <a:pt x="83" y="585"/>
                    </a:lnTo>
                    <a:lnTo>
                      <a:pt x="83" y="583"/>
                    </a:lnTo>
                    <a:lnTo>
                      <a:pt x="83" y="582"/>
                    </a:lnTo>
                    <a:lnTo>
                      <a:pt x="83" y="580"/>
                    </a:lnTo>
                    <a:lnTo>
                      <a:pt x="83" y="578"/>
                    </a:lnTo>
                    <a:lnTo>
                      <a:pt x="85" y="578"/>
                    </a:lnTo>
                    <a:lnTo>
                      <a:pt x="85" y="580"/>
                    </a:lnTo>
                    <a:lnTo>
                      <a:pt x="87" y="580"/>
                    </a:lnTo>
                    <a:lnTo>
                      <a:pt x="87" y="578"/>
                    </a:lnTo>
                    <a:lnTo>
                      <a:pt x="87" y="577"/>
                    </a:lnTo>
                    <a:lnTo>
                      <a:pt x="85" y="577"/>
                    </a:lnTo>
                    <a:lnTo>
                      <a:pt x="87" y="575"/>
                    </a:lnTo>
                    <a:lnTo>
                      <a:pt x="85" y="575"/>
                    </a:lnTo>
                    <a:lnTo>
                      <a:pt x="87" y="573"/>
                    </a:lnTo>
                    <a:lnTo>
                      <a:pt x="85" y="573"/>
                    </a:lnTo>
                    <a:lnTo>
                      <a:pt x="87" y="571"/>
                    </a:lnTo>
                    <a:lnTo>
                      <a:pt x="87" y="570"/>
                    </a:lnTo>
                    <a:lnTo>
                      <a:pt x="87" y="571"/>
                    </a:lnTo>
                    <a:lnTo>
                      <a:pt x="88" y="571"/>
                    </a:lnTo>
                    <a:lnTo>
                      <a:pt x="90" y="571"/>
                    </a:lnTo>
                    <a:lnTo>
                      <a:pt x="90" y="570"/>
                    </a:lnTo>
                    <a:lnTo>
                      <a:pt x="92" y="570"/>
                    </a:lnTo>
                    <a:lnTo>
                      <a:pt x="92" y="568"/>
                    </a:lnTo>
                    <a:lnTo>
                      <a:pt x="92" y="566"/>
                    </a:lnTo>
                    <a:lnTo>
                      <a:pt x="92" y="568"/>
                    </a:lnTo>
                    <a:lnTo>
                      <a:pt x="94" y="568"/>
                    </a:lnTo>
                    <a:lnTo>
                      <a:pt x="94" y="566"/>
                    </a:lnTo>
                    <a:lnTo>
                      <a:pt x="94" y="568"/>
                    </a:lnTo>
                    <a:lnTo>
                      <a:pt x="95" y="568"/>
                    </a:lnTo>
                    <a:lnTo>
                      <a:pt x="97" y="568"/>
                    </a:lnTo>
                    <a:lnTo>
                      <a:pt x="99" y="568"/>
                    </a:lnTo>
                    <a:lnTo>
                      <a:pt x="99" y="566"/>
                    </a:lnTo>
                    <a:lnTo>
                      <a:pt x="97" y="566"/>
                    </a:lnTo>
                    <a:lnTo>
                      <a:pt x="97" y="565"/>
                    </a:lnTo>
                    <a:lnTo>
                      <a:pt x="99" y="563"/>
                    </a:lnTo>
                    <a:lnTo>
                      <a:pt x="97" y="561"/>
                    </a:lnTo>
                    <a:lnTo>
                      <a:pt x="99" y="561"/>
                    </a:lnTo>
                    <a:lnTo>
                      <a:pt x="100" y="561"/>
                    </a:lnTo>
                    <a:lnTo>
                      <a:pt x="100" y="560"/>
                    </a:lnTo>
                    <a:lnTo>
                      <a:pt x="100" y="558"/>
                    </a:lnTo>
                    <a:lnTo>
                      <a:pt x="102" y="558"/>
                    </a:lnTo>
                    <a:lnTo>
                      <a:pt x="102" y="556"/>
                    </a:lnTo>
                    <a:lnTo>
                      <a:pt x="104" y="556"/>
                    </a:lnTo>
                    <a:lnTo>
                      <a:pt x="104" y="558"/>
                    </a:lnTo>
                    <a:lnTo>
                      <a:pt x="105" y="558"/>
                    </a:lnTo>
                    <a:lnTo>
                      <a:pt x="107" y="558"/>
                    </a:lnTo>
                    <a:lnTo>
                      <a:pt x="107" y="556"/>
                    </a:lnTo>
                    <a:lnTo>
                      <a:pt x="107" y="554"/>
                    </a:lnTo>
                    <a:lnTo>
                      <a:pt x="107" y="553"/>
                    </a:lnTo>
                    <a:lnTo>
                      <a:pt x="109" y="553"/>
                    </a:lnTo>
                    <a:lnTo>
                      <a:pt x="109" y="551"/>
                    </a:lnTo>
                    <a:lnTo>
                      <a:pt x="109" y="549"/>
                    </a:lnTo>
                    <a:lnTo>
                      <a:pt x="107" y="549"/>
                    </a:lnTo>
                    <a:lnTo>
                      <a:pt x="109" y="548"/>
                    </a:lnTo>
                    <a:lnTo>
                      <a:pt x="107" y="548"/>
                    </a:lnTo>
                    <a:lnTo>
                      <a:pt x="107" y="546"/>
                    </a:lnTo>
                    <a:lnTo>
                      <a:pt x="107" y="544"/>
                    </a:lnTo>
                    <a:lnTo>
                      <a:pt x="109" y="544"/>
                    </a:lnTo>
                    <a:lnTo>
                      <a:pt x="111" y="544"/>
                    </a:lnTo>
                    <a:lnTo>
                      <a:pt x="111" y="543"/>
                    </a:lnTo>
                    <a:lnTo>
                      <a:pt x="109" y="543"/>
                    </a:lnTo>
                    <a:lnTo>
                      <a:pt x="109" y="541"/>
                    </a:lnTo>
                    <a:lnTo>
                      <a:pt x="109" y="539"/>
                    </a:lnTo>
                    <a:lnTo>
                      <a:pt x="109" y="537"/>
                    </a:lnTo>
                    <a:lnTo>
                      <a:pt x="107" y="537"/>
                    </a:lnTo>
                    <a:lnTo>
                      <a:pt x="107" y="536"/>
                    </a:lnTo>
                    <a:lnTo>
                      <a:pt x="109" y="534"/>
                    </a:lnTo>
                    <a:lnTo>
                      <a:pt x="107" y="532"/>
                    </a:lnTo>
                    <a:lnTo>
                      <a:pt x="107" y="531"/>
                    </a:lnTo>
                    <a:lnTo>
                      <a:pt x="109" y="531"/>
                    </a:lnTo>
                    <a:lnTo>
                      <a:pt x="107" y="529"/>
                    </a:lnTo>
                    <a:lnTo>
                      <a:pt x="105" y="529"/>
                    </a:lnTo>
                    <a:lnTo>
                      <a:pt x="107" y="527"/>
                    </a:lnTo>
                    <a:lnTo>
                      <a:pt x="105" y="527"/>
                    </a:lnTo>
                    <a:lnTo>
                      <a:pt x="107" y="526"/>
                    </a:lnTo>
                    <a:lnTo>
                      <a:pt x="105" y="526"/>
                    </a:lnTo>
                    <a:lnTo>
                      <a:pt x="107" y="524"/>
                    </a:lnTo>
                    <a:lnTo>
                      <a:pt x="107" y="522"/>
                    </a:lnTo>
                    <a:lnTo>
                      <a:pt x="105" y="522"/>
                    </a:lnTo>
                    <a:lnTo>
                      <a:pt x="104" y="522"/>
                    </a:lnTo>
                    <a:lnTo>
                      <a:pt x="102" y="522"/>
                    </a:lnTo>
                    <a:lnTo>
                      <a:pt x="102" y="520"/>
                    </a:lnTo>
                    <a:lnTo>
                      <a:pt x="102" y="519"/>
                    </a:lnTo>
                    <a:lnTo>
                      <a:pt x="102" y="517"/>
                    </a:lnTo>
                    <a:lnTo>
                      <a:pt x="104" y="517"/>
                    </a:lnTo>
                    <a:lnTo>
                      <a:pt x="105" y="517"/>
                    </a:lnTo>
                    <a:lnTo>
                      <a:pt x="107" y="517"/>
                    </a:lnTo>
                    <a:lnTo>
                      <a:pt x="109" y="517"/>
                    </a:lnTo>
                    <a:lnTo>
                      <a:pt x="109" y="515"/>
                    </a:lnTo>
                    <a:lnTo>
                      <a:pt x="109" y="514"/>
                    </a:lnTo>
                    <a:lnTo>
                      <a:pt x="109" y="512"/>
                    </a:lnTo>
                    <a:lnTo>
                      <a:pt x="109" y="510"/>
                    </a:lnTo>
                    <a:lnTo>
                      <a:pt x="109" y="509"/>
                    </a:lnTo>
                    <a:lnTo>
                      <a:pt x="111" y="509"/>
                    </a:lnTo>
                    <a:lnTo>
                      <a:pt x="111" y="507"/>
                    </a:lnTo>
                    <a:lnTo>
                      <a:pt x="111" y="505"/>
                    </a:lnTo>
                    <a:lnTo>
                      <a:pt x="112" y="503"/>
                    </a:lnTo>
                    <a:lnTo>
                      <a:pt x="112" y="502"/>
                    </a:lnTo>
                    <a:lnTo>
                      <a:pt x="112" y="500"/>
                    </a:lnTo>
                    <a:lnTo>
                      <a:pt x="111" y="500"/>
                    </a:lnTo>
                    <a:lnTo>
                      <a:pt x="111" y="498"/>
                    </a:lnTo>
                    <a:lnTo>
                      <a:pt x="112" y="498"/>
                    </a:lnTo>
                    <a:lnTo>
                      <a:pt x="112" y="497"/>
                    </a:lnTo>
                    <a:lnTo>
                      <a:pt x="114" y="497"/>
                    </a:lnTo>
                    <a:lnTo>
                      <a:pt x="114" y="495"/>
                    </a:lnTo>
                    <a:lnTo>
                      <a:pt x="114" y="493"/>
                    </a:lnTo>
                    <a:lnTo>
                      <a:pt x="116" y="491"/>
                    </a:lnTo>
                    <a:lnTo>
                      <a:pt x="116" y="490"/>
                    </a:lnTo>
                    <a:lnTo>
                      <a:pt x="117" y="488"/>
                    </a:lnTo>
                    <a:lnTo>
                      <a:pt x="119" y="488"/>
                    </a:lnTo>
                    <a:lnTo>
                      <a:pt x="119" y="486"/>
                    </a:lnTo>
                    <a:lnTo>
                      <a:pt x="121" y="485"/>
                    </a:lnTo>
                    <a:lnTo>
                      <a:pt x="121" y="483"/>
                    </a:lnTo>
                    <a:lnTo>
                      <a:pt x="121" y="481"/>
                    </a:lnTo>
                    <a:lnTo>
                      <a:pt x="121" y="480"/>
                    </a:lnTo>
                    <a:lnTo>
                      <a:pt x="122" y="480"/>
                    </a:lnTo>
                    <a:lnTo>
                      <a:pt x="122" y="478"/>
                    </a:lnTo>
                    <a:lnTo>
                      <a:pt x="122" y="480"/>
                    </a:lnTo>
                    <a:lnTo>
                      <a:pt x="124" y="480"/>
                    </a:lnTo>
                    <a:lnTo>
                      <a:pt x="126" y="480"/>
                    </a:lnTo>
                    <a:lnTo>
                      <a:pt x="126" y="478"/>
                    </a:lnTo>
                    <a:lnTo>
                      <a:pt x="128" y="478"/>
                    </a:lnTo>
                    <a:lnTo>
                      <a:pt x="128" y="476"/>
                    </a:lnTo>
                    <a:lnTo>
                      <a:pt x="128" y="474"/>
                    </a:lnTo>
                    <a:lnTo>
                      <a:pt x="126" y="474"/>
                    </a:lnTo>
                    <a:lnTo>
                      <a:pt x="126" y="473"/>
                    </a:lnTo>
                    <a:lnTo>
                      <a:pt x="128" y="471"/>
                    </a:lnTo>
                    <a:lnTo>
                      <a:pt x="126" y="471"/>
                    </a:lnTo>
                    <a:lnTo>
                      <a:pt x="126" y="469"/>
                    </a:lnTo>
                    <a:lnTo>
                      <a:pt x="128" y="469"/>
                    </a:lnTo>
                    <a:lnTo>
                      <a:pt x="126" y="468"/>
                    </a:lnTo>
                    <a:lnTo>
                      <a:pt x="126" y="466"/>
                    </a:lnTo>
                    <a:lnTo>
                      <a:pt x="126" y="468"/>
                    </a:lnTo>
                    <a:lnTo>
                      <a:pt x="124" y="466"/>
                    </a:lnTo>
                    <a:lnTo>
                      <a:pt x="124" y="464"/>
                    </a:lnTo>
                    <a:lnTo>
                      <a:pt x="126" y="464"/>
                    </a:lnTo>
                    <a:lnTo>
                      <a:pt x="126" y="463"/>
                    </a:lnTo>
                    <a:lnTo>
                      <a:pt x="124" y="463"/>
                    </a:lnTo>
                    <a:lnTo>
                      <a:pt x="124" y="461"/>
                    </a:lnTo>
                    <a:lnTo>
                      <a:pt x="124" y="459"/>
                    </a:lnTo>
                    <a:lnTo>
                      <a:pt x="124" y="457"/>
                    </a:lnTo>
                    <a:lnTo>
                      <a:pt x="126" y="457"/>
                    </a:lnTo>
                    <a:lnTo>
                      <a:pt x="126" y="456"/>
                    </a:lnTo>
                    <a:lnTo>
                      <a:pt x="126" y="454"/>
                    </a:lnTo>
                    <a:lnTo>
                      <a:pt x="126" y="452"/>
                    </a:lnTo>
                    <a:lnTo>
                      <a:pt x="126" y="451"/>
                    </a:lnTo>
                    <a:lnTo>
                      <a:pt x="126" y="449"/>
                    </a:lnTo>
                    <a:lnTo>
                      <a:pt x="128" y="449"/>
                    </a:lnTo>
                    <a:lnTo>
                      <a:pt x="128" y="447"/>
                    </a:lnTo>
                    <a:lnTo>
                      <a:pt x="128" y="446"/>
                    </a:lnTo>
                    <a:lnTo>
                      <a:pt x="128" y="444"/>
                    </a:lnTo>
                    <a:lnTo>
                      <a:pt x="129" y="444"/>
                    </a:lnTo>
                    <a:lnTo>
                      <a:pt x="129" y="442"/>
                    </a:lnTo>
                    <a:lnTo>
                      <a:pt x="129" y="440"/>
                    </a:lnTo>
                    <a:lnTo>
                      <a:pt x="128" y="440"/>
                    </a:lnTo>
                    <a:lnTo>
                      <a:pt x="128" y="439"/>
                    </a:lnTo>
                    <a:lnTo>
                      <a:pt x="126" y="439"/>
                    </a:lnTo>
                    <a:lnTo>
                      <a:pt x="124" y="439"/>
                    </a:lnTo>
                    <a:lnTo>
                      <a:pt x="124" y="437"/>
                    </a:lnTo>
                    <a:lnTo>
                      <a:pt x="124" y="439"/>
                    </a:lnTo>
                    <a:lnTo>
                      <a:pt x="122" y="439"/>
                    </a:lnTo>
                    <a:lnTo>
                      <a:pt x="122" y="440"/>
                    </a:lnTo>
                    <a:lnTo>
                      <a:pt x="121" y="440"/>
                    </a:lnTo>
                    <a:lnTo>
                      <a:pt x="121" y="439"/>
                    </a:lnTo>
                    <a:lnTo>
                      <a:pt x="121" y="437"/>
                    </a:lnTo>
                    <a:lnTo>
                      <a:pt x="119" y="437"/>
                    </a:lnTo>
                    <a:lnTo>
                      <a:pt x="119" y="435"/>
                    </a:lnTo>
                    <a:lnTo>
                      <a:pt x="119" y="434"/>
                    </a:lnTo>
                    <a:lnTo>
                      <a:pt x="119" y="432"/>
                    </a:lnTo>
                    <a:lnTo>
                      <a:pt x="119" y="430"/>
                    </a:lnTo>
                    <a:lnTo>
                      <a:pt x="117" y="430"/>
                    </a:lnTo>
                    <a:lnTo>
                      <a:pt x="119" y="429"/>
                    </a:lnTo>
                    <a:lnTo>
                      <a:pt x="121" y="429"/>
                    </a:lnTo>
                    <a:lnTo>
                      <a:pt x="121" y="427"/>
                    </a:lnTo>
                    <a:lnTo>
                      <a:pt x="122" y="427"/>
                    </a:lnTo>
                    <a:lnTo>
                      <a:pt x="121" y="427"/>
                    </a:lnTo>
                    <a:lnTo>
                      <a:pt x="121" y="425"/>
                    </a:lnTo>
                    <a:lnTo>
                      <a:pt x="121" y="423"/>
                    </a:lnTo>
                    <a:lnTo>
                      <a:pt x="119" y="422"/>
                    </a:lnTo>
                    <a:lnTo>
                      <a:pt x="119" y="420"/>
                    </a:lnTo>
                    <a:lnTo>
                      <a:pt x="117" y="420"/>
                    </a:lnTo>
                    <a:lnTo>
                      <a:pt x="117" y="418"/>
                    </a:lnTo>
                    <a:lnTo>
                      <a:pt x="117" y="417"/>
                    </a:lnTo>
                    <a:lnTo>
                      <a:pt x="116" y="417"/>
                    </a:lnTo>
                    <a:lnTo>
                      <a:pt x="116" y="415"/>
                    </a:lnTo>
                    <a:lnTo>
                      <a:pt x="116" y="413"/>
                    </a:lnTo>
                    <a:lnTo>
                      <a:pt x="116" y="412"/>
                    </a:lnTo>
                    <a:lnTo>
                      <a:pt x="117" y="410"/>
                    </a:lnTo>
                    <a:lnTo>
                      <a:pt x="117" y="408"/>
                    </a:lnTo>
                    <a:lnTo>
                      <a:pt x="116" y="408"/>
                    </a:lnTo>
                    <a:lnTo>
                      <a:pt x="117" y="406"/>
                    </a:lnTo>
                    <a:lnTo>
                      <a:pt x="116" y="406"/>
                    </a:lnTo>
                    <a:lnTo>
                      <a:pt x="114" y="405"/>
                    </a:lnTo>
                    <a:lnTo>
                      <a:pt x="114" y="403"/>
                    </a:lnTo>
                    <a:lnTo>
                      <a:pt x="114" y="401"/>
                    </a:lnTo>
                    <a:lnTo>
                      <a:pt x="114" y="400"/>
                    </a:lnTo>
                    <a:lnTo>
                      <a:pt x="112" y="400"/>
                    </a:lnTo>
                    <a:lnTo>
                      <a:pt x="111" y="398"/>
                    </a:lnTo>
                    <a:lnTo>
                      <a:pt x="111" y="396"/>
                    </a:lnTo>
                    <a:lnTo>
                      <a:pt x="111" y="395"/>
                    </a:lnTo>
                    <a:lnTo>
                      <a:pt x="111" y="393"/>
                    </a:lnTo>
                    <a:lnTo>
                      <a:pt x="111" y="391"/>
                    </a:lnTo>
                    <a:lnTo>
                      <a:pt x="109" y="391"/>
                    </a:lnTo>
                    <a:lnTo>
                      <a:pt x="111" y="391"/>
                    </a:lnTo>
                    <a:lnTo>
                      <a:pt x="109" y="389"/>
                    </a:lnTo>
                    <a:lnTo>
                      <a:pt x="109" y="388"/>
                    </a:lnTo>
                    <a:lnTo>
                      <a:pt x="111" y="389"/>
                    </a:lnTo>
                    <a:lnTo>
                      <a:pt x="112" y="389"/>
                    </a:lnTo>
                    <a:lnTo>
                      <a:pt x="112" y="388"/>
                    </a:lnTo>
                    <a:lnTo>
                      <a:pt x="114" y="386"/>
                    </a:lnTo>
                    <a:lnTo>
                      <a:pt x="114" y="384"/>
                    </a:lnTo>
                    <a:lnTo>
                      <a:pt x="112" y="384"/>
                    </a:lnTo>
                    <a:lnTo>
                      <a:pt x="112" y="383"/>
                    </a:lnTo>
                    <a:lnTo>
                      <a:pt x="111" y="383"/>
                    </a:lnTo>
                    <a:lnTo>
                      <a:pt x="109" y="383"/>
                    </a:lnTo>
                    <a:lnTo>
                      <a:pt x="107" y="383"/>
                    </a:lnTo>
                    <a:lnTo>
                      <a:pt x="105" y="381"/>
                    </a:lnTo>
                    <a:lnTo>
                      <a:pt x="105" y="379"/>
                    </a:lnTo>
                    <a:lnTo>
                      <a:pt x="105" y="378"/>
                    </a:lnTo>
                    <a:lnTo>
                      <a:pt x="105" y="376"/>
                    </a:lnTo>
                    <a:lnTo>
                      <a:pt x="105" y="374"/>
                    </a:lnTo>
                    <a:lnTo>
                      <a:pt x="104" y="374"/>
                    </a:lnTo>
                    <a:lnTo>
                      <a:pt x="104" y="372"/>
                    </a:lnTo>
                    <a:lnTo>
                      <a:pt x="102" y="372"/>
                    </a:lnTo>
                    <a:lnTo>
                      <a:pt x="102" y="371"/>
                    </a:lnTo>
                    <a:lnTo>
                      <a:pt x="102" y="369"/>
                    </a:lnTo>
                    <a:lnTo>
                      <a:pt x="102" y="367"/>
                    </a:lnTo>
                    <a:lnTo>
                      <a:pt x="102" y="366"/>
                    </a:lnTo>
                    <a:lnTo>
                      <a:pt x="102" y="364"/>
                    </a:lnTo>
                    <a:lnTo>
                      <a:pt x="104" y="364"/>
                    </a:lnTo>
                    <a:lnTo>
                      <a:pt x="104" y="362"/>
                    </a:lnTo>
                    <a:lnTo>
                      <a:pt x="104" y="361"/>
                    </a:lnTo>
                    <a:lnTo>
                      <a:pt x="102" y="361"/>
                    </a:lnTo>
                    <a:lnTo>
                      <a:pt x="104" y="359"/>
                    </a:lnTo>
                    <a:lnTo>
                      <a:pt x="104" y="357"/>
                    </a:lnTo>
                    <a:lnTo>
                      <a:pt x="104" y="355"/>
                    </a:lnTo>
                    <a:lnTo>
                      <a:pt x="104" y="354"/>
                    </a:lnTo>
                    <a:lnTo>
                      <a:pt x="104" y="352"/>
                    </a:lnTo>
                    <a:lnTo>
                      <a:pt x="105" y="352"/>
                    </a:lnTo>
                    <a:lnTo>
                      <a:pt x="105" y="350"/>
                    </a:lnTo>
                    <a:lnTo>
                      <a:pt x="105" y="352"/>
                    </a:lnTo>
                    <a:lnTo>
                      <a:pt x="107" y="352"/>
                    </a:lnTo>
                    <a:lnTo>
                      <a:pt x="107" y="354"/>
                    </a:lnTo>
                    <a:lnTo>
                      <a:pt x="107" y="355"/>
                    </a:lnTo>
                    <a:lnTo>
                      <a:pt x="109" y="354"/>
                    </a:lnTo>
                    <a:lnTo>
                      <a:pt x="109" y="352"/>
                    </a:lnTo>
                    <a:lnTo>
                      <a:pt x="109" y="350"/>
                    </a:lnTo>
                    <a:lnTo>
                      <a:pt x="111" y="350"/>
                    </a:lnTo>
                    <a:lnTo>
                      <a:pt x="112" y="350"/>
                    </a:lnTo>
                    <a:lnTo>
                      <a:pt x="112" y="349"/>
                    </a:lnTo>
                    <a:lnTo>
                      <a:pt x="111" y="349"/>
                    </a:lnTo>
                    <a:lnTo>
                      <a:pt x="111" y="347"/>
                    </a:lnTo>
                    <a:lnTo>
                      <a:pt x="111" y="345"/>
                    </a:lnTo>
                    <a:lnTo>
                      <a:pt x="111" y="344"/>
                    </a:lnTo>
                    <a:lnTo>
                      <a:pt x="111" y="342"/>
                    </a:lnTo>
                    <a:lnTo>
                      <a:pt x="112" y="342"/>
                    </a:lnTo>
                    <a:lnTo>
                      <a:pt x="112" y="340"/>
                    </a:lnTo>
                    <a:lnTo>
                      <a:pt x="112" y="338"/>
                    </a:lnTo>
                    <a:lnTo>
                      <a:pt x="112" y="337"/>
                    </a:lnTo>
                    <a:lnTo>
                      <a:pt x="112" y="335"/>
                    </a:lnTo>
                    <a:lnTo>
                      <a:pt x="114" y="335"/>
                    </a:lnTo>
                    <a:lnTo>
                      <a:pt x="112" y="335"/>
                    </a:lnTo>
                    <a:lnTo>
                      <a:pt x="112" y="333"/>
                    </a:lnTo>
                    <a:lnTo>
                      <a:pt x="114" y="333"/>
                    </a:lnTo>
                    <a:lnTo>
                      <a:pt x="114" y="332"/>
                    </a:lnTo>
                    <a:lnTo>
                      <a:pt x="114" y="330"/>
                    </a:lnTo>
                    <a:lnTo>
                      <a:pt x="116" y="328"/>
                    </a:lnTo>
                    <a:lnTo>
                      <a:pt x="114" y="328"/>
                    </a:lnTo>
                    <a:lnTo>
                      <a:pt x="116" y="328"/>
                    </a:lnTo>
                    <a:lnTo>
                      <a:pt x="116" y="326"/>
                    </a:lnTo>
                    <a:lnTo>
                      <a:pt x="117" y="326"/>
                    </a:lnTo>
                    <a:lnTo>
                      <a:pt x="117" y="325"/>
                    </a:lnTo>
                    <a:lnTo>
                      <a:pt x="116" y="323"/>
                    </a:lnTo>
                    <a:lnTo>
                      <a:pt x="117" y="321"/>
                    </a:lnTo>
                    <a:lnTo>
                      <a:pt x="117" y="323"/>
                    </a:lnTo>
                    <a:lnTo>
                      <a:pt x="119" y="323"/>
                    </a:lnTo>
                    <a:lnTo>
                      <a:pt x="119" y="325"/>
                    </a:lnTo>
                    <a:lnTo>
                      <a:pt x="121" y="325"/>
                    </a:lnTo>
                    <a:lnTo>
                      <a:pt x="121" y="323"/>
                    </a:lnTo>
                    <a:lnTo>
                      <a:pt x="122" y="323"/>
                    </a:lnTo>
                    <a:lnTo>
                      <a:pt x="124" y="323"/>
                    </a:lnTo>
                    <a:lnTo>
                      <a:pt x="124" y="321"/>
                    </a:lnTo>
                    <a:lnTo>
                      <a:pt x="124" y="320"/>
                    </a:lnTo>
                    <a:lnTo>
                      <a:pt x="126" y="320"/>
                    </a:lnTo>
                    <a:lnTo>
                      <a:pt x="126" y="318"/>
                    </a:lnTo>
                    <a:lnTo>
                      <a:pt x="126" y="316"/>
                    </a:lnTo>
                    <a:lnTo>
                      <a:pt x="126" y="318"/>
                    </a:lnTo>
                    <a:lnTo>
                      <a:pt x="128" y="318"/>
                    </a:lnTo>
                    <a:lnTo>
                      <a:pt x="128" y="316"/>
                    </a:lnTo>
                    <a:lnTo>
                      <a:pt x="128" y="315"/>
                    </a:lnTo>
                    <a:lnTo>
                      <a:pt x="126" y="315"/>
                    </a:lnTo>
                    <a:lnTo>
                      <a:pt x="126" y="313"/>
                    </a:lnTo>
                    <a:lnTo>
                      <a:pt x="124" y="313"/>
                    </a:lnTo>
                    <a:lnTo>
                      <a:pt x="122" y="313"/>
                    </a:lnTo>
                    <a:lnTo>
                      <a:pt x="122" y="311"/>
                    </a:lnTo>
                    <a:lnTo>
                      <a:pt x="124" y="311"/>
                    </a:lnTo>
                    <a:lnTo>
                      <a:pt x="124" y="309"/>
                    </a:lnTo>
                    <a:lnTo>
                      <a:pt x="124" y="308"/>
                    </a:lnTo>
                    <a:lnTo>
                      <a:pt x="124" y="306"/>
                    </a:lnTo>
                    <a:lnTo>
                      <a:pt x="126" y="304"/>
                    </a:lnTo>
                    <a:lnTo>
                      <a:pt x="124" y="304"/>
                    </a:lnTo>
                    <a:lnTo>
                      <a:pt x="126" y="303"/>
                    </a:lnTo>
                    <a:lnTo>
                      <a:pt x="124" y="303"/>
                    </a:lnTo>
                    <a:lnTo>
                      <a:pt x="124" y="301"/>
                    </a:lnTo>
                    <a:lnTo>
                      <a:pt x="124" y="299"/>
                    </a:lnTo>
                    <a:lnTo>
                      <a:pt x="126" y="299"/>
                    </a:lnTo>
                    <a:lnTo>
                      <a:pt x="126" y="298"/>
                    </a:lnTo>
                    <a:lnTo>
                      <a:pt x="124" y="298"/>
                    </a:lnTo>
                    <a:lnTo>
                      <a:pt x="124" y="296"/>
                    </a:lnTo>
                    <a:lnTo>
                      <a:pt x="122" y="296"/>
                    </a:lnTo>
                    <a:lnTo>
                      <a:pt x="122" y="294"/>
                    </a:lnTo>
                    <a:lnTo>
                      <a:pt x="124" y="294"/>
                    </a:lnTo>
                    <a:lnTo>
                      <a:pt x="122" y="294"/>
                    </a:lnTo>
                    <a:lnTo>
                      <a:pt x="124" y="292"/>
                    </a:lnTo>
                    <a:lnTo>
                      <a:pt x="122" y="292"/>
                    </a:lnTo>
                    <a:lnTo>
                      <a:pt x="124" y="291"/>
                    </a:lnTo>
                    <a:lnTo>
                      <a:pt x="122" y="291"/>
                    </a:lnTo>
                    <a:lnTo>
                      <a:pt x="122" y="289"/>
                    </a:lnTo>
                    <a:lnTo>
                      <a:pt x="122" y="287"/>
                    </a:lnTo>
                    <a:lnTo>
                      <a:pt x="122" y="286"/>
                    </a:lnTo>
                    <a:lnTo>
                      <a:pt x="121" y="286"/>
                    </a:lnTo>
                    <a:lnTo>
                      <a:pt x="121" y="284"/>
                    </a:lnTo>
                    <a:lnTo>
                      <a:pt x="121" y="282"/>
                    </a:lnTo>
                    <a:lnTo>
                      <a:pt x="121" y="281"/>
                    </a:lnTo>
                    <a:lnTo>
                      <a:pt x="122" y="281"/>
                    </a:lnTo>
                    <a:lnTo>
                      <a:pt x="122" y="279"/>
                    </a:lnTo>
                    <a:lnTo>
                      <a:pt x="122" y="277"/>
                    </a:lnTo>
                    <a:lnTo>
                      <a:pt x="124" y="277"/>
                    </a:lnTo>
                    <a:lnTo>
                      <a:pt x="124" y="275"/>
                    </a:lnTo>
                    <a:lnTo>
                      <a:pt x="126" y="275"/>
                    </a:lnTo>
                    <a:lnTo>
                      <a:pt x="128" y="275"/>
                    </a:lnTo>
                    <a:lnTo>
                      <a:pt x="128" y="274"/>
                    </a:lnTo>
                    <a:lnTo>
                      <a:pt x="129" y="274"/>
                    </a:lnTo>
                    <a:lnTo>
                      <a:pt x="128" y="274"/>
                    </a:lnTo>
                    <a:lnTo>
                      <a:pt x="128" y="272"/>
                    </a:lnTo>
                    <a:lnTo>
                      <a:pt x="129" y="272"/>
                    </a:lnTo>
                    <a:lnTo>
                      <a:pt x="128" y="270"/>
                    </a:lnTo>
                    <a:lnTo>
                      <a:pt x="129" y="270"/>
                    </a:lnTo>
                    <a:lnTo>
                      <a:pt x="129" y="269"/>
                    </a:lnTo>
                    <a:lnTo>
                      <a:pt x="129" y="267"/>
                    </a:lnTo>
                    <a:lnTo>
                      <a:pt x="129" y="265"/>
                    </a:lnTo>
                    <a:lnTo>
                      <a:pt x="129" y="264"/>
                    </a:lnTo>
                    <a:lnTo>
                      <a:pt x="131" y="264"/>
                    </a:lnTo>
                    <a:lnTo>
                      <a:pt x="131" y="262"/>
                    </a:lnTo>
                    <a:lnTo>
                      <a:pt x="131" y="260"/>
                    </a:lnTo>
                    <a:lnTo>
                      <a:pt x="131" y="258"/>
                    </a:lnTo>
                    <a:lnTo>
                      <a:pt x="131" y="257"/>
                    </a:lnTo>
                    <a:lnTo>
                      <a:pt x="131" y="255"/>
                    </a:lnTo>
                    <a:lnTo>
                      <a:pt x="133" y="255"/>
                    </a:lnTo>
                    <a:lnTo>
                      <a:pt x="131" y="253"/>
                    </a:lnTo>
                    <a:lnTo>
                      <a:pt x="133" y="253"/>
                    </a:lnTo>
                    <a:lnTo>
                      <a:pt x="133" y="252"/>
                    </a:lnTo>
                    <a:lnTo>
                      <a:pt x="133" y="250"/>
                    </a:lnTo>
                    <a:lnTo>
                      <a:pt x="133" y="248"/>
                    </a:lnTo>
                    <a:lnTo>
                      <a:pt x="134" y="248"/>
                    </a:lnTo>
                    <a:lnTo>
                      <a:pt x="133" y="248"/>
                    </a:lnTo>
                    <a:lnTo>
                      <a:pt x="133" y="247"/>
                    </a:lnTo>
                    <a:lnTo>
                      <a:pt x="134" y="247"/>
                    </a:lnTo>
                    <a:lnTo>
                      <a:pt x="136" y="247"/>
                    </a:lnTo>
                    <a:lnTo>
                      <a:pt x="134" y="245"/>
                    </a:lnTo>
                    <a:lnTo>
                      <a:pt x="136" y="245"/>
                    </a:lnTo>
                    <a:lnTo>
                      <a:pt x="138" y="245"/>
                    </a:lnTo>
                    <a:lnTo>
                      <a:pt x="138" y="243"/>
                    </a:lnTo>
                    <a:lnTo>
                      <a:pt x="138" y="241"/>
                    </a:lnTo>
                    <a:lnTo>
                      <a:pt x="139" y="241"/>
                    </a:lnTo>
                    <a:lnTo>
                      <a:pt x="139" y="240"/>
                    </a:lnTo>
                    <a:lnTo>
                      <a:pt x="139" y="238"/>
                    </a:lnTo>
                    <a:lnTo>
                      <a:pt x="141" y="240"/>
                    </a:lnTo>
                    <a:lnTo>
                      <a:pt x="143" y="240"/>
                    </a:lnTo>
                    <a:lnTo>
                      <a:pt x="143" y="238"/>
                    </a:lnTo>
                    <a:lnTo>
                      <a:pt x="145" y="236"/>
                    </a:lnTo>
                    <a:lnTo>
                      <a:pt x="145" y="235"/>
                    </a:lnTo>
                    <a:lnTo>
                      <a:pt x="146" y="233"/>
                    </a:lnTo>
                    <a:lnTo>
                      <a:pt x="146" y="231"/>
                    </a:lnTo>
                    <a:lnTo>
                      <a:pt x="148" y="230"/>
                    </a:lnTo>
                    <a:lnTo>
                      <a:pt x="150" y="231"/>
                    </a:lnTo>
                    <a:lnTo>
                      <a:pt x="150" y="230"/>
                    </a:lnTo>
                    <a:lnTo>
                      <a:pt x="150" y="228"/>
                    </a:lnTo>
                    <a:lnTo>
                      <a:pt x="151" y="228"/>
                    </a:lnTo>
                    <a:lnTo>
                      <a:pt x="151" y="226"/>
                    </a:lnTo>
                    <a:lnTo>
                      <a:pt x="151" y="224"/>
                    </a:lnTo>
                    <a:lnTo>
                      <a:pt x="151" y="223"/>
                    </a:lnTo>
                    <a:lnTo>
                      <a:pt x="151" y="221"/>
                    </a:lnTo>
                    <a:lnTo>
                      <a:pt x="153" y="221"/>
                    </a:lnTo>
                    <a:lnTo>
                      <a:pt x="153" y="219"/>
                    </a:lnTo>
                    <a:lnTo>
                      <a:pt x="153" y="218"/>
                    </a:lnTo>
                    <a:lnTo>
                      <a:pt x="153" y="216"/>
                    </a:lnTo>
                    <a:lnTo>
                      <a:pt x="155" y="216"/>
                    </a:lnTo>
                    <a:lnTo>
                      <a:pt x="156" y="214"/>
                    </a:lnTo>
                    <a:lnTo>
                      <a:pt x="155" y="214"/>
                    </a:lnTo>
                    <a:lnTo>
                      <a:pt x="156" y="214"/>
                    </a:lnTo>
                    <a:lnTo>
                      <a:pt x="156" y="213"/>
                    </a:lnTo>
                    <a:lnTo>
                      <a:pt x="156" y="211"/>
                    </a:lnTo>
                    <a:lnTo>
                      <a:pt x="155" y="211"/>
                    </a:lnTo>
                    <a:lnTo>
                      <a:pt x="156" y="211"/>
                    </a:lnTo>
                    <a:lnTo>
                      <a:pt x="156" y="209"/>
                    </a:lnTo>
                    <a:lnTo>
                      <a:pt x="156" y="211"/>
                    </a:lnTo>
                    <a:lnTo>
                      <a:pt x="158" y="209"/>
                    </a:lnTo>
                    <a:lnTo>
                      <a:pt x="156" y="209"/>
                    </a:lnTo>
                    <a:lnTo>
                      <a:pt x="158" y="209"/>
                    </a:lnTo>
                    <a:lnTo>
                      <a:pt x="158" y="207"/>
                    </a:lnTo>
                    <a:lnTo>
                      <a:pt x="158" y="206"/>
                    </a:lnTo>
                    <a:lnTo>
                      <a:pt x="160" y="206"/>
                    </a:lnTo>
                    <a:lnTo>
                      <a:pt x="160" y="204"/>
                    </a:lnTo>
                    <a:lnTo>
                      <a:pt x="162" y="204"/>
                    </a:lnTo>
                    <a:lnTo>
                      <a:pt x="160" y="204"/>
                    </a:lnTo>
                    <a:lnTo>
                      <a:pt x="160" y="202"/>
                    </a:lnTo>
                    <a:lnTo>
                      <a:pt x="160" y="201"/>
                    </a:lnTo>
                    <a:lnTo>
                      <a:pt x="160" y="199"/>
                    </a:lnTo>
                    <a:lnTo>
                      <a:pt x="162" y="199"/>
                    </a:lnTo>
                    <a:lnTo>
                      <a:pt x="162" y="197"/>
                    </a:lnTo>
                    <a:lnTo>
                      <a:pt x="163" y="197"/>
                    </a:lnTo>
                    <a:lnTo>
                      <a:pt x="165" y="197"/>
                    </a:lnTo>
                    <a:lnTo>
                      <a:pt x="167" y="197"/>
                    </a:lnTo>
                    <a:lnTo>
                      <a:pt x="167" y="199"/>
                    </a:lnTo>
                    <a:lnTo>
                      <a:pt x="168" y="201"/>
                    </a:lnTo>
                    <a:lnTo>
                      <a:pt x="168" y="199"/>
                    </a:lnTo>
                    <a:lnTo>
                      <a:pt x="170" y="201"/>
                    </a:lnTo>
                    <a:lnTo>
                      <a:pt x="170" y="199"/>
                    </a:lnTo>
                    <a:lnTo>
                      <a:pt x="170" y="197"/>
                    </a:lnTo>
                    <a:lnTo>
                      <a:pt x="172" y="199"/>
                    </a:lnTo>
                    <a:lnTo>
                      <a:pt x="173" y="197"/>
                    </a:lnTo>
                    <a:lnTo>
                      <a:pt x="172" y="196"/>
                    </a:lnTo>
                    <a:lnTo>
                      <a:pt x="173" y="197"/>
                    </a:lnTo>
                    <a:lnTo>
                      <a:pt x="173" y="196"/>
                    </a:lnTo>
                    <a:lnTo>
                      <a:pt x="175" y="196"/>
                    </a:lnTo>
                    <a:lnTo>
                      <a:pt x="177" y="196"/>
                    </a:lnTo>
                    <a:lnTo>
                      <a:pt x="179" y="196"/>
                    </a:lnTo>
                    <a:lnTo>
                      <a:pt x="179" y="194"/>
                    </a:lnTo>
                    <a:lnTo>
                      <a:pt x="179" y="192"/>
                    </a:lnTo>
                    <a:lnTo>
                      <a:pt x="179" y="190"/>
                    </a:lnTo>
                    <a:lnTo>
                      <a:pt x="180" y="190"/>
                    </a:lnTo>
                    <a:lnTo>
                      <a:pt x="179" y="190"/>
                    </a:lnTo>
                    <a:lnTo>
                      <a:pt x="179" y="189"/>
                    </a:lnTo>
                    <a:lnTo>
                      <a:pt x="177" y="187"/>
                    </a:lnTo>
                    <a:lnTo>
                      <a:pt x="177" y="185"/>
                    </a:lnTo>
                    <a:lnTo>
                      <a:pt x="175" y="185"/>
                    </a:lnTo>
                    <a:lnTo>
                      <a:pt x="173" y="182"/>
                    </a:lnTo>
                    <a:lnTo>
                      <a:pt x="173" y="180"/>
                    </a:lnTo>
                    <a:lnTo>
                      <a:pt x="172" y="180"/>
                    </a:lnTo>
                    <a:lnTo>
                      <a:pt x="172" y="178"/>
                    </a:lnTo>
                    <a:lnTo>
                      <a:pt x="170" y="177"/>
                    </a:lnTo>
                    <a:lnTo>
                      <a:pt x="170" y="175"/>
                    </a:lnTo>
                    <a:lnTo>
                      <a:pt x="168" y="173"/>
                    </a:lnTo>
                    <a:lnTo>
                      <a:pt x="168" y="172"/>
                    </a:lnTo>
                    <a:lnTo>
                      <a:pt x="170" y="170"/>
                    </a:lnTo>
                    <a:lnTo>
                      <a:pt x="170" y="167"/>
                    </a:lnTo>
                    <a:lnTo>
                      <a:pt x="172" y="165"/>
                    </a:lnTo>
                    <a:lnTo>
                      <a:pt x="173" y="163"/>
                    </a:lnTo>
                    <a:lnTo>
                      <a:pt x="175" y="163"/>
                    </a:lnTo>
                    <a:lnTo>
                      <a:pt x="175" y="160"/>
                    </a:lnTo>
                    <a:lnTo>
                      <a:pt x="175" y="156"/>
                    </a:lnTo>
                    <a:lnTo>
                      <a:pt x="175" y="155"/>
                    </a:lnTo>
                    <a:lnTo>
                      <a:pt x="173" y="151"/>
                    </a:lnTo>
                    <a:lnTo>
                      <a:pt x="173" y="146"/>
                    </a:lnTo>
                    <a:lnTo>
                      <a:pt x="172" y="144"/>
                    </a:lnTo>
                    <a:lnTo>
                      <a:pt x="172" y="143"/>
                    </a:lnTo>
                    <a:lnTo>
                      <a:pt x="170" y="143"/>
                    </a:lnTo>
                    <a:lnTo>
                      <a:pt x="170" y="141"/>
                    </a:lnTo>
                    <a:lnTo>
                      <a:pt x="172" y="139"/>
                    </a:lnTo>
                    <a:lnTo>
                      <a:pt x="170" y="139"/>
                    </a:lnTo>
                    <a:lnTo>
                      <a:pt x="170" y="138"/>
                    </a:lnTo>
                    <a:lnTo>
                      <a:pt x="170" y="136"/>
                    </a:lnTo>
                    <a:lnTo>
                      <a:pt x="168" y="134"/>
                    </a:lnTo>
                    <a:lnTo>
                      <a:pt x="170" y="134"/>
                    </a:lnTo>
                    <a:lnTo>
                      <a:pt x="170" y="133"/>
                    </a:lnTo>
                    <a:lnTo>
                      <a:pt x="172" y="133"/>
                    </a:lnTo>
                    <a:lnTo>
                      <a:pt x="172" y="131"/>
                    </a:lnTo>
                    <a:lnTo>
                      <a:pt x="170" y="131"/>
                    </a:lnTo>
                    <a:lnTo>
                      <a:pt x="170" y="129"/>
                    </a:lnTo>
                    <a:lnTo>
                      <a:pt x="170" y="127"/>
                    </a:lnTo>
                    <a:lnTo>
                      <a:pt x="172" y="127"/>
                    </a:lnTo>
                    <a:lnTo>
                      <a:pt x="172" y="126"/>
                    </a:lnTo>
                    <a:lnTo>
                      <a:pt x="172" y="124"/>
                    </a:lnTo>
                    <a:lnTo>
                      <a:pt x="173" y="122"/>
                    </a:lnTo>
                    <a:lnTo>
                      <a:pt x="175" y="122"/>
                    </a:lnTo>
                    <a:lnTo>
                      <a:pt x="175" y="124"/>
                    </a:lnTo>
                    <a:lnTo>
                      <a:pt x="175" y="122"/>
                    </a:lnTo>
                    <a:lnTo>
                      <a:pt x="177" y="122"/>
                    </a:lnTo>
                    <a:lnTo>
                      <a:pt x="177" y="121"/>
                    </a:lnTo>
                    <a:lnTo>
                      <a:pt x="177" y="119"/>
                    </a:lnTo>
                    <a:lnTo>
                      <a:pt x="175" y="119"/>
                    </a:lnTo>
                    <a:lnTo>
                      <a:pt x="175" y="117"/>
                    </a:lnTo>
                    <a:lnTo>
                      <a:pt x="173" y="117"/>
                    </a:lnTo>
                    <a:lnTo>
                      <a:pt x="173" y="116"/>
                    </a:lnTo>
                    <a:lnTo>
                      <a:pt x="173" y="114"/>
                    </a:lnTo>
                    <a:lnTo>
                      <a:pt x="172" y="114"/>
                    </a:lnTo>
                    <a:lnTo>
                      <a:pt x="170" y="112"/>
                    </a:lnTo>
                    <a:lnTo>
                      <a:pt x="170" y="110"/>
                    </a:lnTo>
                    <a:lnTo>
                      <a:pt x="170" y="109"/>
                    </a:lnTo>
                    <a:lnTo>
                      <a:pt x="170" y="107"/>
                    </a:lnTo>
                    <a:lnTo>
                      <a:pt x="172" y="107"/>
                    </a:lnTo>
                    <a:lnTo>
                      <a:pt x="172" y="105"/>
                    </a:lnTo>
                    <a:lnTo>
                      <a:pt x="172" y="104"/>
                    </a:lnTo>
                    <a:lnTo>
                      <a:pt x="173" y="104"/>
                    </a:lnTo>
                    <a:lnTo>
                      <a:pt x="173" y="102"/>
                    </a:lnTo>
                    <a:lnTo>
                      <a:pt x="175" y="102"/>
                    </a:lnTo>
                    <a:lnTo>
                      <a:pt x="175" y="100"/>
                    </a:lnTo>
                    <a:lnTo>
                      <a:pt x="175" y="99"/>
                    </a:lnTo>
                    <a:lnTo>
                      <a:pt x="177" y="99"/>
                    </a:lnTo>
                    <a:lnTo>
                      <a:pt x="177" y="100"/>
                    </a:lnTo>
                    <a:lnTo>
                      <a:pt x="179" y="99"/>
                    </a:lnTo>
                    <a:lnTo>
                      <a:pt x="179" y="97"/>
                    </a:lnTo>
                    <a:lnTo>
                      <a:pt x="180" y="97"/>
                    </a:lnTo>
                    <a:lnTo>
                      <a:pt x="180" y="95"/>
                    </a:lnTo>
                    <a:lnTo>
                      <a:pt x="187" y="93"/>
                    </a:lnTo>
                    <a:lnTo>
                      <a:pt x="189" y="92"/>
                    </a:lnTo>
                    <a:lnTo>
                      <a:pt x="190" y="92"/>
                    </a:lnTo>
                    <a:lnTo>
                      <a:pt x="199" y="88"/>
                    </a:lnTo>
                    <a:lnTo>
                      <a:pt x="206" y="85"/>
                    </a:lnTo>
                    <a:lnTo>
                      <a:pt x="211" y="83"/>
                    </a:lnTo>
                    <a:lnTo>
                      <a:pt x="214" y="73"/>
                    </a:lnTo>
                    <a:lnTo>
                      <a:pt x="214" y="71"/>
                    </a:lnTo>
                    <a:lnTo>
                      <a:pt x="218" y="61"/>
                    </a:lnTo>
                    <a:lnTo>
                      <a:pt x="219" y="54"/>
                    </a:lnTo>
                    <a:lnTo>
                      <a:pt x="219" y="53"/>
                    </a:lnTo>
                    <a:lnTo>
                      <a:pt x="223" y="44"/>
                    </a:lnTo>
                    <a:lnTo>
                      <a:pt x="219" y="41"/>
                    </a:lnTo>
                    <a:lnTo>
                      <a:pt x="216" y="37"/>
                    </a:lnTo>
                    <a:lnTo>
                      <a:pt x="218" y="34"/>
                    </a:lnTo>
                    <a:lnTo>
                      <a:pt x="223" y="32"/>
                    </a:lnTo>
                    <a:lnTo>
                      <a:pt x="223" y="31"/>
                    </a:lnTo>
                    <a:lnTo>
                      <a:pt x="221" y="31"/>
                    </a:lnTo>
                    <a:lnTo>
                      <a:pt x="221" y="29"/>
                    </a:lnTo>
                    <a:lnTo>
                      <a:pt x="221" y="27"/>
                    </a:lnTo>
                    <a:lnTo>
                      <a:pt x="223" y="27"/>
                    </a:lnTo>
                    <a:lnTo>
                      <a:pt x="224" y="25"/>
                    </a:lnTo>
                    <a:lnTo>
                      <a:pt x="226" y="25"/>
                    </a:lnTo>
                    <a:lnTo>
                      <a:pt x="230" y="24"/>
                    </a:lnTo>
                    <a:lnTo>
                      <a:pt x="230" y="22"/>
                    </a:lnTo>
                    <a:lnTo>
                      <a:pt x="230" y="20"/>
                    </a:lnTo>
                    <a:lnTo>
                      <a:pt x="231" y="20"/>
                    </a:lnTo>
                    <a:lnTo>
                      <a:pt x="231" y="19"/>
                    </a:lnTo>
                    <a:lnTo>
                      <a:pt x="231" y="17"/>
                    </a:lnTo>
                    <a:lnTo>
                      <a:pt x="233" y="15"/>
                    </a:lnTo>
                    <a:lnTo>
                      <a:pt x="235" y="15"/>
                    </a:lnTo>
                    <a:lnTo>
                      <a:pt x="241" y="13"/>
                    </a:lnTo>
                    <a:lnTo>
                      <a:pt x="245" y="12"/>
                    </a:lnTo>
                    <a:lnTo>
                      <a:pt x="247" y="12"/>
                    </a:lnTo>
                    <a:lnTo>
                      <a:pt x="247" y="10"/>
                    </a:lnTo>
                    <a:lnTo>
                      <a:pt x="247" y="8"/>
                    </a:lnTo>
                    <a:lnTo>
                      <a:pt x="247" y="7"/>
                    </a:lnTo>
                    <a:lnTo>
                      <a:pt x="247" y="5"/>
                    </a:lnTo>
                    <a:lnTo>
                      <a:pt x="248" y="5"/>
                    </a:lnTo>
                    <a:lnTo>
                      <a:pt x="247" y="5"/>
                    </a:lnTo>
                    <a:lnTo>
                      <a:pt x="248" y="5"/>
                    </a:lnTo>
                    <a:lnTo>
                      <a:pt x="248" y="3"/>
                    </a:lnTo>
                    <a:lnTo>
                      <a:pt x="248" y="2"/>
                    </a:lnTo>
                    <a:lnTo>
                      <a:pt x="248" y="0"/>
                    </a:lnTo>
                    <a:lnTo>
                      <a:pt x="250" y="0"/>
                    </a:lnTo>
                    <a:lnTo>
                      <a:pt x="252" y="2"/>
                    </a:lnTo>
                    <a:lnTo>
                      <a:pt x="253" y="2"/>
                    </a:lnTo>
                    <a:lnTo>
                      <a:pt x="255" y="3"/>
                    </a:lnTo>
                    <a:lnTo>
                      <a:pt x="255" y="5"/>
                    </a:lnTo>
                    <a:lnTo>
                      <a:pt x="257" y="5"/>
                    </a:lnTo>
                    <a:lnTo>
                      <a:pt x="258" y="5"/>
                    </a:lnTo>
                    <a:lnTo>
                      <a:pt x="260" y="8"/>
                    </a:lnTo>
                    <a:lnTo>
                      <a:pt x="262" y="10"/>
                    </a:lnTo>
                    <a:lnTo>
                      <a:pt x="264" y="10"/>
                    </a:lnTo>
                    <a:lnTo>
                      <a:pt x="264" y="12"/>
                    </a:lnTo>
                    <a:lnTo>
                      <a:pt x="265" y="12"/>
                    </a:lnTo>
                    <a:lnTo>
                      <a:pt x="267" y="12"/>
                    </a:lnTo>
                    <a:lnTo>
                      <a:pt x="269" y="12"/>
                    </a:lnTo>
                    <a:lnTo>
                      <a:pt x="270" y="12"/>
                    </a:lnTo>
                    <a:lnTo>
                      <a:pt x="270" y="10"/>
                    </a:lnTo>
                    <a:lnTo>
                      <a:pt x="274" y="12"/>
                    </a:lnTo>
                    <a:lnTo>
                      <a:pt x="275" y="12"/>
                    </a:lnTo>
                    <a:lnTo>
                      <a:pt x="277" y="12"/>
                    </a:lnTo>
                    <a:lnTo>
                      <a:pt x="281" y="12"/>
                    </a:lnTo>
                    <a:lnTo>
                      <a:pt x="281" y="10"/>
                    </a:lnTo>
                    <a:lnTo>
                      <a:pt x="281" y="12"/>
                    </a:lnTo>
                    <a:lnTo>
                      <a:pt x="284" y="10"/>
                    </a:lnTo>
                    <a:lnTo>
                      <a:pt x="287" y="10"/>
                    </a:lnTo>
                    <a:lnTo>
                      <a:pt x="289" y="10"/>
                    </a:lnTo>
                    <a:lnTo>
                      <a:pt x="291" y="10"/>
                    </a:lnTo>
                    <a:lnTo>
                      <a:pt x="291" y="12"/>
                    </a:lnTo>
                    <a:lnTo>
                      <a:pt x="292" y="12"/>
                    </a:lnTo>
                    <a:lnTo>
                      <a:pt x="294" y="12"/>
                    </a:lnTo>
                    <a:lnTo>
                      <a:pt x="296" y="13"/>
                    </a:lnTo>
                    <a:lnTo>
                      <a:pt x="298" y="13"/>
                    </a:lnTo>
                    <a:lnTo>
                      <a:pt x="299" y="15"/>
                    </a:lnTo>
                    <a:lnTo>
                      <a:pt x="301" y="15"/>
                    </a:lnTo>
                    <a:lnTo>
                      <a:pt x="303" y="15"/>
                    </a:lnTo>
                    <a:lnTo>
                      <a:pt x="304" y="17"/>
                    </a:lnTo>
                    <a:lnTo>
                      <a:pt x="306" y="17"/>
                    </a:lnTo>
                    <a:lnTo>
                      <a:pt x="306" y="19"/>
                    </a:lnTo>
                    <a:lnTo>
                      <a:pt x="304" y="20"/>
                    </a:lnTo>
                    <a:lnTo>
                      <a:pt x="304" y="22"/>
                    </a:lnTo>
                    <a:lnTo>
                      <a:pt x="306" y="22"/>
                    </a:lnTo>
                    <a:lnTo>
                      <a:pt x="306" y="24"/>
                    </a:lnTo>
                    <a:lnTo>
                      <a:pt x="308" y="24"/>
                    </a:lnTo>
                    <a:lnTo>
                      <a:pt x="308" y="25"/>
                    </a:lnTo>
                    <a:lnTo>
                      <a:pt x="309" y="25"/>
                    </a:lnTo>
                    <a:lnTo>
                      <a:pt x="308" y="27"/>
                    </a:lnTo>
                    <a:lnTo>
                      <a:pt x="309" y="27"/>
                    </a:lnTo>
                    <a:lnTo>
                      <a:pt x="309" y="29"/>
                    </a:lnTo>
                    <a:lnTo>
                      <a:pt x="309" y="31"/>
                    </a:lnTo>
                    <a:lnTo>
                      <a:pt x="309" y="32"/>
                    </a:lnTo>
                    <a:lnTo>
                      <a:pt x="311" y="32"/>
                    </a:lnTo>
                    <a:lnTo>
                      <a:pt x="311" y="34"/>
                    </a:lnTo>
                    <a:lnTo>
                      <a:pt x="309" y="34"/>
                    </a:lnTo>
                    <a:lnTo>
                      <a:pt x="311" y="34"/>
                    </a:lnTo>
                    <a:lnTo>
                      <a:pt x="313" y="36"/>
                    </a:lnTo>
                    <a:lnTo>
                      <a:pt x="313" y="37"/>
                    </a:lnTo>
                    <a:lnTo>
                      <a:pt x="311" y="37"/>
                    </a:lnTo>
                    <a:lnTo>
                      <a:pt x="313" y="37"/>
                    </a:lnTo>
                    <a:lnTo>
                      <a:pt x="313" y="39"/>
                    </a:lnTo>
                    <a:lnTo>
                      <a:pt x="313" y="41"/>
                    </a:lnTo>
                    <a:lnTo>
                      <a:pt x="313" y="39"/>
                    </a:lnTo>
                    <a:lnTo>
                      <a:pt x="315" y="39"/>
                    </a:lnTo>
                    <a:lnTo>
                      <a:pt x="313" y="39"/>
                    </a:lnTo>
                    <a:lnTo>
                      <a:pt x="315" y="37"/>
                    </a:lnTo>
                    <a:lnTo>
                      <a:pt x="315" y="36"/>
                    </a:lnTo>
                    <a:lnTo>
                      <a:pt x="315" y="34"/>
                    </a:lnTo>
                    <a:lnTo>
                      <a:pt x="315" y="32"/>
                    </a:lnTo>
                    <a:lnTo>
                      <a:pt x="315" y="31"/>
                    </a:lnTo>
                    <a:lnTo>
                      <a:pt x="316" y="31"/>
                    </a:lnTo>
                    <a:lnTo>
                      <a:pt x="316" y="29"/>
                    </a:lnTo>
                    <a:lnTo>
                      <a:pt x="315" y="29"/>
                    </a:lnTo>
                    <a:lnTo>
                      <a:pt x="316" y="29"/>
                    </a:lnTo>
                    <a:lnTo>
                      <a:pt x="316" y="27"/>
                    </a:lnTo>
                    <a:lnTo>
                      <a:pt x="316" y="25"/>
                    </a:lnTo>
                    <a:lnTo>
                      <a:pt x="318" y="25"/>
                    </a:lnTo>
                    <a:lnTo>
                      <a:pt x="318" y="24"/>
                    </a:lnTo>
                    <a:lnTo>
                      <a:pt x="320" y="24"/>
                    </a:lnTo>
                    <a:lnTo>
                      <a:pt x="320" y="22"/>
                    </a:lnTo>
                    <a:lnTo>
                      <a:pt x="320" y="20"/>
                    </a:lnTo>
                    <a:lnTo>
                      <a:pt x="321" y="19"/>
                    </a:lnTo>
                    <a:lnTo>
                      <a:pt x="321" y="17"/>
                    </a:lnTo>
                    <a:lnTo>
                      <a:pt x="323" y="17"/>
                    </a:lnTo>
                    <a:lnTo>
                      <a:pt x="323" y="15"/>
                    </a:lnTo>
                    <a:lnTo>
                      <a:pt x="323" y="13"/>
                    </a:lnTo>
                    <a:lnTo>
                      <a:pt x="325" y="12"/>
                    </a:lnTo>
                    <a:lnTo>
                      <a:pt x="323" y="12"/>
                    </a:lnTo>
                    <a:lnTo>
                      <a:pt x="325" y="12"/>
                    </a:lnTo>
                    <a:lnTo>
                      <a:pt x="325" y="10"/>
                    </a:lnTo>
                    <a:lnTo>
                      <a:pt x="325" y="8"/>
                    </a:lnTo>
                    <a:lnTo>
                      <a:pt x="326" y="8"/>
                    </a:lnTo>
                    <a:lnTo>
                      <a:pt x="332" y="8"/>
                    </a:lnTo>
                    <a:lnTo>
                      <a:pt x="333" y="8"/>
                    </a:lnTo>
                    <a:lnTo>
                      <a:pt x="335" y="8"/>
                    </a:lnTo>
                    <a:lnTo>
                      <a:pt x="335" y="10"/>
                    </a:lnTo>
                    <a:lnTo>
                      <a:pt x="335" y="8"/>
                    </a:lnTo>
                    <a:lnTo>
                      <a:pt x="354" y="8"/>
                    </a:lnTo>
                    <a:lnTo>
                      <a:pt x="364" y="8"/>
                    </a:lnTo>
                    <a:lnTo>
                      <a:pt x="364" y="10"/>
                    </a:lnTo>
                    <a:lnTo>
                      <a:pt x="364" y="12"/>
                    </a:lnTo>
                    <a:lnTo>
                      <a:pt x="364" y="13"/>
                    </a:lnTo>
                    <a:lnTo>
                      <a:pt x="366" y="13"/>
                    </a:lnTo>
                    <a:lnTo>
                      <a:pt x="367" y="13"/>
                    </a:lnTo>
                    <a:lnTo>
                      <a:pt x="367" y="15"/>
                    </a:lnTo>
                    <a:lnTo>
                      <a:pt x="369" y="15"/>
                    </a:lnTo>
                    <a:lnTo>
                      <a:pt x="369" y="17"/>
                    </a:lnTo>
                    <a:close/>
                    <a:moveTo>
                      <a:pt x="167" y="1473"/>
                    </a:moveTo>
                    <a:lnTo>
                      <a:pt x="167" y="1468"/>
                    </a:lnTo>
                    <a:lnTo>
                      <a:pt x="167" y="1456"/>
                    </a:lnTo>
                    <a:lnTo>
                      <a:pt x="167" y="1454"/>
                    </a:lnTo>
                    <a:lnTo>
                      <a:pt x="167" y="1453"/>
                    </a:lnTo>
                    <a:lnTo>
                      <a:pt x="167" y="1451"/>
                    </a:lnTo>
                    <a:lnTo>
                      <a:pt x="167" y="1444"/>
                    </a:lnTo>
                    <a:lnTo>
                      <a:pt x="167" y="1442"/>
                    </a:lnTo>
                    <a:lnTo>
                      <a:pt x="167" y="1429"/>
                    </a:lnTo>
                    <a:lnTo>
                      <a:pt x="167" y="1417"/>
                    </a:lnTo>
                    <a:lnTo>
                      <a:pt x="167" y="1410"/>
                    </a:lnTo>
                    <a:lnTo>
                      <a:pt x="168" y="1398"/>
                    </a:lnTo>
                    <a:lnTo>
                      <a:pt x="168" y="1386"/>
                    </a:lnTo>
                    <a:lnTo>
                      <a:pt x="168" y="1383"/>
                    </a:lnTo>
                    <a:lnTo>
                      <a:pt x="168" y="1378"/>
                    </a:lnTo>
                    <a:lnTo>
                      <a:pt x="168" y="1364"/>
                    </a:lnTo>
                    <a:lnTo>
                      <a:pt x="168" y="1347"/>
                    </a:lnTo>
                    <a:lnTo>
                      <a:pt x="168" y="1345"/>
                    </a:lnTo>
                    <a:lnTo>
                      <a:pt x="168" y="1347"/>
                    </a:lnTo>
                    <a:lnTo>
                      <a:pt x="170" y="1349"/>
                    </a:lnTo>
                    <a:lnTo>
                      <a:pt x="173" y="1352"/>
                    </a:lnTo>
                    <a:lnTo>
                      <a:pt x="175" y="1356"/>
                    </a:lnTo>
                    <a:lnTo>
                      <a:pt x="177" y="1359"/>
                    </a:lnTo>
                    <a:lnTo>
                      <a:pt x="179" y="1361"/>
                    </a:lnTo>
                    <a:lnTo>
                      <a:pt x="180" y="1362"/>
                    </a:lnTo>
                    <a:lnTo>
                      <a:pt x="180" y="1366"/>
                    </a:lnTo>
                    <a:lnTo>
                      <a:pt x="180" y="1368"/>
                    </a:lnTo>
                    <a:lnTo>
                      <a:pt x="182" y="1371"/>
                    </a:lnTo>
                    <a:lnTo>
                      <a:pt x="182" y="1373"/>
                    </a:lnTo>
                    <a:lnTo>
                      <a:pt x="182" y="1371"/>
                    </a:lnTo>
                    <a:lnTo>
                      <a:pt x="180" y="1369"/>
                    </a:lnTo>
                    <a:lnTo>
                      <a:pt x="180" y="1368"/>
                    </a:lnTo>
                    <a:lnTo>
                      <a:pt x="180" y="1366"/>
                    </a:lnTo>
                    <a:lnTo>
                      <a:pt x="179" y="1364"/>
                    </a:lnTo>
                    <a:lnTo>
                      <a:pt x="179" y="1366"/>
                    </a:lnTo>
                    <a:lnTo>
                      <a:pt x="177" y="1366"/>
                    </a:lnTo>
                    <a:lnTo>
                      <a:pt x="175" y="1366"/>
                    </a:lnTo>
                    <a:lnTo>
                      <a:pt x="175" y="1368"/>
                    </a:lnTo>
                    <a:lnTo>
                      <a:pt x="173" y="1369"/>
                    </a:lnTo>
                    <a:lnTo>
                      <a:pt x="172" y="1371"/>
                    </a:lnTo>
                    <a:lnTo>
                      <a:pt x="172" y="1373"/>
                    </a:lnTo>
                    <a:lnTo>
                      <a:pt x="170" y="1373"/>
                    </a:lnTo>
                    <a:lnTo>
                      <a:pt x="170" y="1374"/>
                    </a:lnTo>
                    <a:lnTo>
                      <a:pt x="170" y="1376"/>
                    </a:lnTo>
                    <a:lnTo>
                      <a:pt x="170" y="1378"/>
                    </a:lnTo>
                    <a:lnTo>
                      <a:pt x="172" y="1379"/>
                    </a:lnTo>
                    <a:lnTo>
                      <a:pt x="173" y="1381"/>
                    </a:lnTo>
                    <a:lnTo>
                      <a:pt x="175" y="1381"/>
                    </a:lnTo>
                    <a:lnTo>
                      <a:pt x="177" y="1381"/>
                    </a:lnTo>
                    <a:lnTo>
                      <a:pt x="177" y="1383"/>
                    </a:lnTo>
                    <a:lnTo>
                      <a:pt x="179" y="1383"/>
                    </a:lnTo>
                    <a:lnTo>
                      <a:pt x="180" y="1381"/>
                    </a:lnTo>
                    <a:lnTo>
                      <a:pt x="182" y="1381"/>
                    </a:lnTo>
                    <a:lnTo>
                      <a:pt x="182" y="1383"/>
                    </a:lnTo>
                    <a:lnTo>
                      <a:pt x="184" y="1383"/>
                    </a:lnTo>
                    <a:lnTo>
                      <a:pt x="185" y="1385"/>
                    </a:lnTo>
                    <a:lnTo>
                      <a:pt x="185" y="1386"/>
                    </a:lnTo>
                    <a:lnTo>
                      <a:pt x="185" y="1388"/>
                    </a:lnTo>
                    <a:lnTo>
                      <a:pt x="187" y="1390"/>
                    </a:lnTo>
                    <a:lnTo>
                      <a:pt x="187" y="1391"/>
                    </a:lnTo>
                    <a:lnTo>
                      <a:pt x="187" y="1393"/>
                    </a:lnTo>
                    <a:lnTo>
                      <a:pt x="189" y="1395"/>
                    </a:lnTo>
                    <a:lnTo>
                      <a:pt x="189" y="1396"/>
                    </a:lnTo>
                    <a:lnTo>
                      <a:pt x="189" y="1398"/>
                    </a:lnTo>
                    <a:lnTo>
                      <a:pt x="190" y="1398"/>
                    </a:lnTo>
                    <a:lnTo>
                      <a:pt x="190" y="1400"/>
                    </a:lnTo>
                    <a:lnTo>
                      <a:pt x="192" y="1402"/>
                    </a:lnTo>
                    <a:lnTo>
                      <a:pt x="194" y="1403"/>
                    </a:lnTo>
                    <a:lnTo>
                      <a:pt x="194" y="1405"/>
                    </a:lnTo>
                    <a:lnTo>
                      <a:pt x="196" y="1405"/>
                    </a:lnTo>
                    <a:lnTo>
                      <a:pt x="197" y="1407"/>
                    </a:lnTo>
                    <a:lnTo>
                      <a:pt x="199" y="1408"/>
                    </a:lnTo>
                    <a:lnTo>
                      <a:pt x="201" y="1410"/>
                    </a:lnTo>
                    <a:lnTo>
                      <a:pt x="202" y="1412"/>
                    </a:lnTo>
                    <a:lnTo>
                      <a:pt x="204" y="1412"/>
                    </a:lnTo>
                    <a:lnTo>
                      <a:pt x="202" y="1413"/>
                    </a:lnTo>
                    <a:lnTo>
                      <a:pt x="204" y="1415"/>
                    </a:lnTo>
                    <a:lnTo>
                      <a:pt x="204" y="1417"/>
                    </a:lnTo>
                    <a:lnTo>
                      <a:pt x="206" y="1417"/>
                    </a:lnTo>
                    <a:lnTo>
                      <a:pt x="206" y="1419"/>
                    </a:lnTo>
                    <a:lnTo>
                      <a:pt x="207" y="1419"/>
                    </a:lnTo>
                    <a:lnTo>
                      <a:pt x="207" y="1420"/>
                    </a:lnTo>
                    <a:lnTo>
                      <a:pt x="209" y="1420"/>
                    </a:lnTo>
                    <a:lnTo>
                      <a:pt x="209" y="1422"/>
                    </a:lnTo>
                    <a:lnTo>
                      <a:pt x="211" y="1422"/>
                    </a:lnTo>
                    <a:lnTo>
                      <a:pt x="211" y="1424"/>
                    </a:lnTo>
                    <a:lnTo>
                      <a:pt x="213" y="1424"/>
                    </a:lnTo>
                    <a:lnTo>
                      <a:pt x="213" y="1425"/>
                    </a:lnTo>
                    <a:lnTo>
                      <a:pt x="214" y="1425"/>
                    </a:lnTo>
                    <a:lnTo>
                      <a:pt x="216" y="1427"/>
                    </a:lnTo>
                    <a:lnTo>
                      <a:pt x="218" y="1427"/>
                    </a:lnTo>
                    <a:lnTo>
                      <a:pt x="218" y="1429"/>
                    </a:lnTo>
                    <a:lnTo>
                      <a:pt x="219" y="1429"/>
                    </a:lnTo>
                    <a:lnTo>
                      <a:pt x="221" y="1430"/>
                    </a:lnTo>
                    <a:lnTo>
                      <a:pt x="223" y="1430"/>
                    </a:lnTo>
                    <a:lnTo>
                      <a:pt x="224" y="1432"/>
                    </a:lnTo>
                    <a:lnTo>
                      <a:pt x="226" y="1434"/>
                    </a:lnTo>
                    <a:lnTo>
                      <a:pt x="228" y="1434"/>
                    </a:lnTo>
                    <a:lnTo>
                      <a:pt x="230" y="1436"/>
                    </a:lnTo>
                    <a:lnTo>
                      <a:pt x="231" y="1436"/>
                    </a:lnTo>
                    <a:lnTo>
                      <a:pt x="231" y="1437"/>
                    </a:lnTo>
                    <a:lnTo>
                      <a:pt x="233" y="1437"/>
                    </a:lnTo>
                    <a:lnTo>
                      <a:pt x="233" y="1439"/>
                    </a:lnTo>
                    <a:lnTo>
                      <a:pt x="233" y="1441"/>
                    </a:lnTo>
                    <a:lnTo>
                      <a:pt x="235" y="1441"/>
                    </a:lnTo>
                    <a:lnTo>
                      <a:pt x="235" y="1442"/>
                    </a:lnTo>
                    <a:lnTo>
                      <a:pt x="236" y="1442"/>
                    </a:lnTo>
                    <a:lnTo>
                      <a:pt x="236" y="1444"/>
                    </a:lnTo>
                    <a:lnTo>
                      <a:pt x="238" y="1444"/>
                    </a:lnTo>
                    <a:lnTo>
                      <a:pt x="238" y="1446"/>
                    </a:lnTo>
                    <a:lnTo>
                      <a:pt x="240" y="1447"/>
                    </a:lnTo>
                    <a:lnTo>
                      <a:pt x="240" y="1449"/>
                    </a:lnTo>
                    <a:lnTo>
                      <a:pt x="241" y="1449"/>
                    </a:lnTo>
                    <a:lnTo>
                      <a:pt x="243" y="1449"/>
                    </a:lnTo>
                    <a:lnTo>
                      <a:pt x="245" y="1451"/>
                    </a:lnTo>
                    <a:lnTo>
                      <a:pt x="247" y="1451"/>
                    </a:lnTo>
                    <a:lnTo>
                      <a:pt x="248" y="1453"/>
                    </a:lnTo>
                    <a:lnTo>
                      <a:pt x="250" y="1453"/>
                    </a:lnTo>
                    <a:lnTo>
                      <a:pt x="252" y="1454"/>
                    </a:lnTo>
                    <a:lnTo>
                      <a:pt x="253" y="1454"/>
                    </a:lnTo>
                    <a:lnTo>
                      <a:pt x="255" y="1454"/>
                    </a:lnTo>
                    <a:lnTo>
                      <a:pt x="257" y="1456"/>
                    </a:lnTo>
                    <a:lnTo>
                      <a:pt x="258" y="1456"/>
                    </a:lnTo>
                    <a:lnTo>
                      <a:pt x="260" y="1456"/>
                    </a:lnTo>
                    <a:lnTo>
                      <a:pt x="260" y="1458"/>
                    </a:lnTo>
                    <a:lnTo>
                      <a:pt x="262" y="1458"/>
                    </a:lnTo>
                    <a:lnTo>
                      <a:pt x="264" y="1459"/>
                    </a:lnTo>
                    <a:lnTo>
                      <a:pt x="265" y="1459"/>
                    </a:lnTo>
                    <a:lnTo>
                      <a:pt x="267" y="1459"/>
                    </a:lnTo>
                    <a:lnTo>
                      <a:pt x="269" y="1459"/>
                    </a:lnTo>
                    <a:lnTo>
                      <a:pt x="270" y="1459"/>
                    </a:lnTo>
                    <a:lnTo>
                      <a:pt x="272" y="1459"/>
                    </a:lnTo>
                    <a:lnTo>
                      <a:pt x="274" y="1459"/>
                    </a:lnTo>
                    <a:lnTo>
                      <a:pt x="275" y="1458"/>
                    </a:lnTo>
                    <a:lnTo>
                      <a:pt x="275" y="1459"/>
                    </a:lnTo>
                    <a:lnTo>
                      <a:pt x="275" y="1458"/>
                    </a:lnTo>
                    <a:lnTo>
                      <a:pt x="277" y="1458"/>
                    </a:lnTo>
                    <a:lnTo>
                      <a:pt x="279" y="1458"/>
                    </a:lnTo>
                    <a:lnTo>
                      <a:pt x="281" y="1458"/>
                    </a:lnTo>
                    <a:lnTo>
                      <a:pt x="282" y="1458"/>
                    </a:lnTo>
                    <a:lnTo>
                      <a:pt x="282" y="1459"/>
                    </a:lnTo>
                    <a:lnTo>
                      <a:pt x="282" y="1458"/>
                    </a:lnTo>
                    <a:lnTo>
                      <a:pt x="282" y="1459"/>
                    </a:lnTo>
                    <a:lnTo>
                      <a:pt x="284" y="1459"/>
                    </a:lnTo>
                    <a:lnTo>
                      <a:pt x="286" y="1459"/>
                    </a:lnTo>
                    <a:lnTo>
                      <a:pt x="284" y="1461"/>
                    </a:lnTo>
                    <a:lnTo>
                      <a:pt x="284" y="1463"/>
                    </a:lnTo>
                    <a:lnTo>
                      <a:pt x="284" y="1465"/>
                    </a:lnTo>
                    <a:lnTo>
                      <a:pt x="282" y="1465"/>
                    </a:lnTo>
                    <a:lnTo>
                      <a:pt x="284" y="1465"/>
                    </a:lnTo>
                    <a:lnTo>
                      <a:pt x="282" y="1466"/>
                    </a:lnTo>
                    <a:lnTo>
                      <a:pt x="282" y="1468"/>
                    </a:lnTo>
                    <a:lnTo>
                      <a:pt x="281" y="1468"/>
                    </a:lnTo>
                    <a:lnTo>
                      <a:pt x="282" y="1468"/>
                    </a:lnTo>
                    <a:lnTo>
                      <a:pt x="282" y="1470"/>
                    </a:lnTo>
                    <a:lnTo>
                      <a:pt x="281" y="1470"/>
                    </a:lnTo>
                    <a:lnTo>
                      <a:pt x="281" y="1471"/>
                    </a:lnTo>
                    <a:lnTo>
                      <a:pt x="279" y="1471"/>
                    </a:lnTo>
                    <a:lnTo>
                      <a:pt x="279" y="1473"/>
                    </a:lnTo>
                    <a:lnTo>
                      <a:pt x="279" y="1475"/>
                    </a:lnTo>
                    <a:lnTo>
                      <a:pt x="277" y="1476"/>
                    </a:lnTo>
                    <a:lnTo>
                      <a:pt x="275" y="1476"/>
                    </a:lnTo>
                    <a:lnTo>
                      <a:pt x="275" y="1475"/>
                    </a:lnTo>
                    <a:lnTo>
                      <a:pt x="275" y="1473"/>
                    </a:lnTo>
                    <a:lnTo>
                      <a:pt x="274" y="1473"/>
                    </a:lnTo>
                    <a:lnTo>
                      <a:pt x="274" y="1475"/>
                    </a:lnTo>
                    <a:lnTo>
                      <a:pt x="272" y="1476"/>
                    </a:lnTo>
                    <a:lnTo>
                      <a:pt x="270" y="1476"/>
                    </a:lnTo>
                    <a:lnTo>
                      <a:pt x="269" y="1476"/>
                    </a:lnTo>
                    <a:lnTo>
                      <a:pt x="269" y="1478"/>
                    </a:lnTo>
                    <a:lnTo>
                      <a:pt x="267" y="1478"/>
                    </a:lnTo>
                    <a:lnTo>
                      <a:pt x="265" y="1478"/>
                    </a:lnTo>
                    <a:lnTo>
                      <a:pt x="265" y="1476"/>
                    </a:lnTo>
                    <a:lnTo>
                      <a:pt x="265" y="1475"/>
                    </a:lnTo>
                    <a:lnTo>
                      <a:pt x="264" y="1473"/>
                    </a:lnTo>
                    <a:lnTo>
                      <a:pt x="264" y="1475"/>
                    </a:lnTo>
                    <a:lnTo>
                      <a:pt x="262" y="1475"/>
                    </a:lnTo>
                    <a:lnTo>
                      <a:pt x="262" y="1473"/>
                    </a:lnTo>
                    <a:lnTo>
                      <a:pt x="260" y="1473"/>
                    </a:lnTo>
                    <a:lnTo>
                      <a:pt x="258" y="1475"/>
                    </a:lnTo>
                    <a:lnTo>
                      <a:pt x="258" y="1473"/>
                    </a:lnTo>
                    <a:lnTo>
                      <a:pt x="257" y="1473"/>
                    </a:lnTo>
                    <a:lnTo>
                      <a:pt x="257" y="1475"/>
                    </a:lnTo>
                    <a:lnTo>
                      <a:pt x="258" y="1476"/>
                    </a:lnTo>
                    <a:lnTo>
                      <a:pt x="257" y="1478"/>
                    </a:lnTo>
                    <a:lnTo>
                      <a:pt x="255" y="1478"/>
                    </a:lnTo>
                    <a:lnTo>
                      <a:pt x="253" y="1478"/>
                    </a:lnTo>
                    <a:lnTo>
                      <a:pt x="252" y="1478"/>
                    </a:lnTo>
                    <a:lnTo>
                      <a:pt x="250" y="1478"/>
                    </a:lnTo>
                    <a:lnTo>
                      <a:pt x="250" y="1480"/>
                    </a:lnTo>
                    <a:lnTo>
                      <a:pt x="248" y="1478"/>
                    </a:lnTo>
                    <a:lnTo>
                      <a:pt x="247" y="1478"/>
                    </a:lnTo>
                    <a:lnTo>
                      <a:pt x="245" y="1478"/>
                    </a:lnTo>
                    <a:lnTo>
                      <a:pt x="245" y="1480"/>
                    </a:lnTo>
                    <a:lnTo>
                      <a:pt x="243" y="1480"/>
                    </a:lnTo>
                    <a:lnTo>
                      <a:pt x="245" y="1482"/>
                    </a:lnTo>
                    <a:lnTo>
                      <a:pt x="243" y="1482"/>
                    </a:lnTo>
                    <a:lnTo>
                      <a:pt x="241" y="1482"/>
                    </a:lnTo>
                    <a:lnTo>
                      <a:pt x="241" y="1483"/>
                    </a:lnTo>
                    <a:lnTo>
                      <a:pt x="240" y="1482"/>
                    </a:lnTo>
                    <a:lnTo>
                      <a:pt x="238" y="1483"/>
                    </a:lnTo>
                    <a:lnTo>
                      <a:pt x="238" y="1482"/>
                    </a:lnTo>
                    <a:lnTo>
                      <a:pt x="236" y="1482"/>
                    </a:lnTo>
                    <a:lnTo>
                      <a:pt x="235" y="1482"/>
                    </a:lnTo>
                    <a:lnTo>
                      <a:pt x="233" y="1480"/>
                    </a:lnTo>
                    <a:lnTo>
                      <a:pt x="231" y="1480"/>
                    </a:lnTo>
                    <a:lnTo>
                      <a:pt x="231" y="1478"/>
                    </a:lnTo>
                    <a:lnTo>
                      <a:pt x="231" y="1476"/>
                    </a:lnTo>
                    <a:lnTo>
                      <a:pt x="230" y="1476"/>
                    </a:lnTo>
                    <a:lnTo>
                      <a:pt x="228" y="1476"/>
                    </a:lnTo>
                    <a:lnTo>
                      <a:pt x="226" y="1476"/>
                    </a:lnTo>
                    <a:lnTo>
                      <a:pt x="224" y="1476"/>
                    </a:lnTo>
                    <a:lnTo>
                      <a:pt x="224" y="1475"/>
                    </a:lnTo>
                    <a:lnTo>
                      <a:pt x="223" y="1475"/>
                    </a:lnTo>
                    <a:lnTo>
                      <a:pt x="221" y="1475"/>
                    </a:lnTo>
                    <a:lnTo>
                      <a:pt x="219" y="1475"/>
                    </a:lnTo>
                    <a:lnTo>
                      <a:pt x="219" y="1473"/>
                    </a:lnTo>
                    <a:lnTo>
                      <a:pt x="218" y="1473"/>
                    </a:lnTo>
                    <a:lnTo>
                      <a:pt x="216" y="1473"/>
                    </a:lnTo>
                    <a:lnTo>
                      <a:pt x="214" y="1473"/>
                    </a:lnTo>
                    <a:lnTo>
                      <a:pt x="213" y="1473"/>
                    </a:lnTo>
                    <a:lnTo>
                      <a:pt x="213" y="1471"/>
                    </a:lnTo>
                    <a:lnTo>
                      <a:pt x="213" y="1473"/>
                    </a:lnTo>
                    <a:lnTo>
                      <a:pt x="213" y="1471"/>
                    </a:lnTo>
                    <a:lnTo>
                      <a:pt x="213" y="1473"/>
                    </a:lnTo>
                    <a:lnTo>
                      <a:pt x="211" y="1471"/>
                    </a:lnTo>
                    <a:lnTo>
                      <a:pt x="213" y="1473"/>
                    </a:lnTo>
                    <a:lnTo>
                      <a:pt x="211" y="1473"/>
                    </a:lnTo>
                    <a:lnTo>
                      <a:pt x="211" y="1471"/>
                    </a:lnTo>
                    <a:lnTo>
                      <a:pt x="209" y="1471"/>
                    </a:lnTo>
                    <a:lnTo>
                      <a:pt x="211" y="1473"/>
                    </a:lnTo>
                    <a:lnTo>
                      <a:pt x="209" y="1473"/>
                    </a:lnTo>
                    <a:lnTo>
                      <a:pt x="207" y="1473"/>
                    </a:lnTo>
                    <a:lnTo>
                      <a:pt x="207" y="1471"/>
                    </a:lnTo>
                    <a:lnTo>
                      <a:pt x="206" y="1471"/>
                    </a:lnTo>
                    <a:lnTo>
                      <a:pt x="204" y="1471"/>
                    </a:lnTo>
                    <a:lnTo>
                      <a:pt x="202" y="1471"/>
                    </a:lnTo>
                    <a:lnTo>
                      <a:pt x="202" y="1473"/>
                    </a:lnTo>
                    <a:lnTo>
                      <a:pt x="201" y="1473"/>
                    </a:lnTo>
                    <a:lnTo>
                      <a:pt x="199" y="1473"/>
                    </a:lnTo>
                    <a:lnTo>
                      <a:pt x="197" y="1473"/>
                    </a:lnTo>
                    <a:lnTo>
                      <a:pt x="196" y="1471"/>
                    </a:lnTo>
                    <a:lnTo>
                      <a:pt x="194" y="1471"/>
                    </a:lnTo>
                    <a:lnTo>
                      <a:pt x="192" y="1471"/>
                    </a:lnTo>
                    <a:lnTo>
                      <a:pt x="190" y="1471"/>
                    </a:lnTo>
                    <a:lnTo>
                      <a:pt x="189" y="1471"/>
                    </a:lnTo>
                    <a:lnTo>
                      <a:pt x="189" y="1470"/>
                    </a:lnTo>
                    <a:lnTo>
                      <a:pt x="187" y="1471"/>
                    </a:lnTo>
                    <a:lnTo>
                      <a:pt x="187" y="1470"/>
                    </a:lnTo>
                    <a:lnTo>
                      <a:pt x="185" y="1470"/>
                    </a:lnTo>
                    <a:lnTo>
                      <a:pt x="184" y="1470"/>
                    </a:lnTo>
                    <a:lnTo>
                      <a:pt x="182" y="1468"/>
                    </a:lnTo>
                    <a:lnTo>
                      <a:pt x="180" y="1468"/>
                    </a:lnTo>
                    <a:lnTo>
                      <a:pt x="179" y="1468"/>
                    </a:lnTo>
                    <a:lnTo>
                      <a:pt x="179" y="1470"/>
                    </a:lnTo>
                    <a:lnTo>
                      <a:pt x="180" y="1470"/>
                    </a:lnTo>
                    <a:lnTo>
                      <a:pt x="179" y="1470"/>
                    </a:lnTo>
                    <a:lnTo>
                      <a:pt x="177" y="1470"/>
                    </a:lnTo>
                    <a:lnTo>
                      <a:pt x="175" y="1471"/>
                    </a:lnTo>
                    <a:lnTo>
                      <a:pt x="173" y="1471"/>
                    </a:lnTo>
                    <a:lnTo>
                      <a:pt x="172" y="1470"/>
                    </a:lnTo>
                    <a:lnTo>
                      <a:pt x="172" y="1471"/>
                    </a:lnTo>
                    <a:lnTo>
                      <a:pt x="170" y="1471"/>
                    </a:lnTo>
                    <a:lnTo>
                      <a:pt x="172" y="1471"/>
                    </a:lnTo>
                    <a:lnTo>
                      <a:pt x="170" y="1473"/>
                    </a:lnTo>
                    <a:lnTo>
                      <a:pt x="168" y="1473"/>
                    </a:lnTo>
                    <a:lnTo>
                      <a:pt x="167" y="1473"/>
                    </a:lnTo>
                    <a:close/>
                    <a:moveTo>
                      <a:pt x="313" y="1465"/>
                    </a:moveTo>
                    <a:lnTo>
                      <a:pt x="315" y="1463"/>
                    </a:lnTo>
                    <a:lnTo>
                      <a:pt x="315" y="1465"/>
                    </a:lnTo>
                    <a:lnTo>
                      <a:pt x="316" y="1463"/>
                    </a:lnTo>
                    <a:lnTo>
                      <a:pt x="318" y="1465"/>
                    </a:lnTo>
                    <a:lnTo>
                      <a:pt x="318" y="1466"/>
                    </a:lnTo>
                    <a:lnTo>
                      <a:pt x="320" y="1465"/>
                    </a:lnTo>
                    <a:lnTo>
                      <a:pt x="318" y="1465"/>
                    </a:lnTo>
                    <a:lnTo>
                      <a:pt x="318" y="1463"/>
                    </a:lnTo>
                    <a:lnTo>
                      <a:pt x="320" y="1465"/>
                    </a:lnTo>
                    <a:lnTo>
                      <a:pt x="321" y="1465"/>
                    </a:lnTo>
                    <a:lnTo>
                      <a:pt x="321" y="1463"/>
                    </a:lnTo>
                    <a:lnTo>
                      <a:pt x="323" y="1465"/>
                    </a:lnTo>
                    <a:lnTo>
                      <a:pt x="321" y="1466"/>
                    </a:lnTo>
                    <a:lnTo>
                      <a:pt x="323" y="1466"/>
                    </a:lnTo>
                    <a:lnTo>
                      <a:pt x="323" y="1465"/>
                    </a:lnTo>
                    <a:lnTo>
                      <a:pt x="325" y="1465"/>
                    </a:lnTo>
                    <a:lnTo>
                      <a:pt x="326" y="1463"/>
                    </a:lnTo>
                    <a:lnTo>
                      <a:pt x="328" y="1463"/>
                    </a:lnTo>
                    <a:lnTo>
                      <a:pt x="328" y="1465"/>
                    </a:lnTo>
                    <a:lnTo>
                      <a:pt x="330" y="1463"/>
                    </a:lnTo>
                    <a:lnTo>
                      <a:pt x="330" y="1465"/>
                    </a:lnTo>
                    <a:lnTo>
                      <a:pt x="328" y="1466"/>
                    </a:lnTo>
                    <a:lnTo>
                      <a:pt x="328" y="1468"/>
                    </a:lnTo>
                    <a:lnTo>
                      <a:pt x="328" y="1466"/>
                    </a:lnTo>
                    <a:lnTo>
                      <a:pt x="326" y="1466"/>
                    </a:lnTo>
                    <a:lnTo>
                      <a:pt x="326" y="1468"/>
                    </a:lnTo>
                    <a:lnTo>
                      <a:pt x="325" y="1468"/>
                    </a:lnTo>
                    <a:lnTo>
                      <a:pt x="325" y="1466"/>
                    </a:lnTo>
                    <a:lnTo>
                      <a:pt x="323" y="1466"/>
                    </a:lnTo>
                    <a:lnTo>
                      <a:pt x="323" y="1468"/>
                    </a:lnTo>
                    <a:lnTo>
                      <a:pt x="321" y="1468"/>
                    </a:lnTo>
                    <a:lnTo>
                      <a:pt x="321" y="1466"/>
                    </a:lnTo>
                    <a:lnTo>
                      <a:pt x="321" y="1468"/>
                    </a:lnTo>
                    <a:lnTo>
                      <a:pt x="320" y="1468"/>
                    </a:lnTo>
                    <a:lnTo>
                      <a:pt x="320" y="1470"/>
                    </a:lnTo>
                    <a:lnTo>
                      <a:pt x="320" y="1468"/>
                    </a:lnTo>
                    <a:lnTo>
                      <a:pt x="318" y="1470"/>
                    </a:lnTo>
                    <a:lnTo>
                      <a:pt x="316" y="1470"/>
                    </a:lnTo>
                    <a:lnTo>
                      <a:pt x="316" y="1471"/>
                    </a:lnTo>
                    <a:lnTo>
                      <a:pt x="316" y="1470"/>
                    </a:lnTo>
                    <a:lnTo>
                      <a:pt x="316" y="1468"/>
                    </a:lnTo>
                    <a:lnTo>
                      <a:pt x="316" y="1466"/>
                    </a:lnTo>
                    <a:lnTo>
                      <a:pt x="315" y="1468"/>
                    </a:lnTo>
                    <a:lnTo>
                      <a:pt x="315" y="1466"/>
                    </a:lnTo>
                    <a:lnTo>
                      <a:pt x="313" y="1466"/>
                    </a:lnTo>
                    <a:lnTo>
                      <a:pt x="313" y="1468"/>
                    </a:lnTo>
                    <a:lnTo>
                      <a:pt x="313" y="1470"/>
                    </a:lnTo>
                    <a:lnTo>
                      <a:pt x="311" y="1470"/>
                    </a:lnTo>
                    <a:lnTo>
                      <a:pt x="309" y="1471"/>
                    </a:lnTo>
                    <a:lnTo>
                      <a:pt x="308" y="1471"/>
                    </a:lnTo>
                    <a:lnTo>
                      <a:pt x="308" y="1470"/>
                    </a:lnTo>
                    <a:lnTo>
                      <a:pt x="309" y="1470"/>
                    </a:lnTo>
                    <a:lnTo>
                      <a:pt x="308" y="1470"/>
                    </a:lnTo>
                    <a:lnTo>
                      <a:pt x="306" y="1471"/>
                    </a:lnTo>
                    <a:lnTo>
                      <a:pt x="306" y="1473"/>
                    </a:lnTo>
                    <a:lnTo>
                      <a:pt x="304" y="1473"/>
                    </a:lnTo>
                    <a:lnTo>
                      <a:pt x="303" y="1475"/>
                    </a:lnTo>
                    <a:lnTo>
                      <a:pt x="303" y="1473"/>
                    </a:lnTo>
                    <a:lnTo>
                      <a:pt x="301" y="1475"/>
                    </a:lnTo>
                    <a:lnTo>
                      <a:pt x="299" y="1475"/>
                    </a:lnTo>
                    <a:lnTo>
                      <a:pt x="299" y="1473"/>
                    </a:lnTo>
                    <a:lnTo>
                      <a:pt x="301" y="1473"/>
                    </a:lnTo>
                    <a:lnTo>
                      <a:pt x="303" y="1473"/>
                    </a:lnTo>
                    <a:lnTo>
                      <a:pt x="301" y="1471"/>
                    </a:lnTo>
                    <a:lnTo>
                      <a:pt x="301" y="1470"/>
                    </a:lnTo>
                    <a:lnTo>
                      <a:pt x="299" y="1471"/>
                    </a:lnTo>
                    <a:lnTo>
                      <a:pt x="298" y="1470"/>
                    </a:lnTo>
                    <a:lnTo>
                      <a:pt x="299" y="1470"/>
                    </a:lnTo>
                    <a:lnTo>
                      <a:pt x="299" y="1468"/>
                    </a:lnTo>
                    <a:lnTo>
                      <a:pt x="299" y="1466"/>
                    </a:lnTo>
                    <a:lnTo>
                      <a:pt x="301" y="1468"/>
                    </a:lnTo>
                    <a:lnTo>
                      <a:pt x="301" y="1466"/>
                    </a:lnTo>
                    <a:lnTo>
                      <a:pt x="303" y="1466"/>
                    </a:lnTo>
                    <a:lnTo>
                      <a:pt x="303" y="1468"/>
                    </a:lnTo>
                    <a:lnTo>
                      <a:pt x="304" y="1468"/>
                    </a:lnTo>
                    <a:lnTo>
                      <a:pt x="306" y="1468"/>
                    </a:lnTo>
                    <a:lnTo>
                      <a:pt x="306" y="1466"/>
                    </a:lnTo>
                    <a:lnTo>
                      <a:pt x="306" y="1465"/>
                    </a:lnTo>
                    <a:lnTo>
                      <a:pt x="306" y="1463"/>
                    </a:lnTo>
                    <a:lnTo>
                      <a:pt x="306" y="1465"/>
                    </a:lnTo>
                    <a:lnTo>
                      <a:pt x="308" y="1466"/>
                    </a:lnTo>
                    <a:lnTo>
                      <a:pt x="309" y="1465"/>
                    </a:lnTo>
                    <a:lnTo>
                      <a:pt x="309" y="1466"/>
                    </a:lnTo>
                    <a:lnTo>
                      <a:pt x="309" y="1465"/>
                    </a:lnTo>
                    <a:lnTo>
                      <a:pt x="311" y="1465"/>
                    </a:lnTo>
                    <a:lnTo>
                      <a:pt x="311" y="1466"/>
                    </a:lnTo>
                    <a:lnTo>
                      <a:pt x="311" y="1465"/>
                    </a:lnTo>
                    <a:lnTo>
                      <a:pt x="313" y="1463"/>
                    </a:lnTo>
                    <a:lnTo>
                      <a:pt x="313" y="1465"/>
                    </a:lnTo>
                    <a:close/>
                    <a:moveTo>
                      <a:pt x="391" y="682"/>
                    </a:moveTo>
                    <a:lnTo>
                      <a:pt x="393" y="682"/>
                    </a:lnTo>
                    <a:lnTo>
                      <a:pt x="394" y="682"/>
                    </a:lnTo>
                    <a:lnTo>
                      <a:pt x="394" y="684"/>
                    </a:lnTo>
                    <a:lnTo>
                      <a:pt x="396" y="684"/>
                    </a:lnTo>
                    <a:lnTo>
                      <a:pt x="396" y="685"/>
                    </a:lnTo>
                    <a:lnTo>
                      <a:pt x="396" y="687"/>
                    </a:lnTo>
                    <a:lnTo>
                      <a:pt x="396" y="689"/>
                    </a:lnTo>
                    <a:lnTo>
                      <a:pt x="394" y="689"/>
                    </a:lnTo>
                    <a:lnTo>
                      <a:pt x="394" y="687"/>
                    </a:lnTo>
                    <a:lnTo>
                      <a:pt x="393" y="687"/>
                    </a:lnTo>
                    <a:lnTo>
                      <a:pt x="391" y="687"/>
                    </a:lnTo>
                    <a:lnTo>
                      <a:pt x="391" y="685"/>
                    </a:lnTo>
                    <a:lnTo>
                      <a:pt x="389" y="685"/>
                    </a:lnTo>
                    <a:lnTo>
                      <a:pt x="389" y="684"/>
                    </a:lnTo>
                    <a:lnTo>
                      <a:pt x="388" y="684"/>
                    </a:lnTo>
                    <a:lnTo>
                      <a:pt x="388" y="682"/>
                    </a:lnTo>
                    <a:lnTo>
                      <a:pt x="389" y="682"/>
                    </a:lnTo>
                    <a:lnTo>
                      <a:pt x="391" y="682"/>
                    </a:lnTo>
                    <a:close/>
                    <a:moveTo>
                      <a:pt x="388" y="718"/>
                    </a:moveTo>
                    <a:lnTo>
                      <a:pt x="388" y="719"/>
                    </a:lnTo>
                    <a:lnTo>
                      <a:pt x="388" y="721"/>
                    </a:lnTo>
                    <a:lnTo>
                      <a:pt x="386" y="719"/>
                    </a:lnTo>
                    <a:lnTo>
                      <a:pt x="384" y="719"/>
                    </a:lnTo>
                    <a:lnTo>
                      <a:pt x="384" y="718"/>
                    </a:lnTo>
                    <a:lnTo>
                      <a:pt x="386" y="718"/>
                    </a:lnTo>
                    <a:lnTo>
                      <a:pt x="386" y="716"/>
                    </a:lnTo>
                    <a:lnTo>
                      <a:pt x="386" y="718"/>
                    </a:lnTo>
                    <a:lnTo>
                      <a:pt x="388" y="718"/>
                    </a:lnTo>
                    <a:close/>
                    <a:moveTo>
                      <a:pt x="386" y="742"/>
                    </a:moveTo>
                    <a:lnTo>
                      <a:pt x="386" y="743"/>
                    </a:lnTo>
                    <a:lnTo>
                      <a:pt x="386" y="745"/>
                    </a:lnTo>
                    <a:lnTo>
                      <a:pt x="386" y="747"/>
                    </a:lnTo>
                    <a:lnTo>
                      <a:pt x="384" y="745"/>
                    </a:lnTo>
                    <a:lnTo>
                      <a:pt x="383" y="745"/>
                    </a:lnTo>
                    <a:lnTo>
                      <a:pt x="384" y="743"/>
                    </a:lnTo>
                    <a:lnTo>
                      <a:pt x="384" y="742"/>
                    </a:lnTo>
                    <a:lnTo>
                      <a:pt x="386" y="742"/>
                    </a:lnTo>
                    <a:close/>
                    <a:moveTo>
                      <a:pt x="207" y="1473"/>
                    </a:moveTo>
                    <a:lnTo>
                      <a:pt x="209" y="1473"/>
                    </a:lnTo>
                    <a:lnTo>
                      <a:pt x="209" y="1475"/>
                    </a:lnTo>
                    <a:lnTo>
                      <a:pt x="207" y="1473"/>
                    </a:lnTo>
                    <a:lnTo>
                      <a:pt x="206" y="1475"/>
                    </a:lnTo>
                    <a:lnTo>
                      <a:pt x="204" y="1473"/>
                    </a:lnTo>
                    <a:lnTo>
                      <a:pt x="206" y="1471"/>
                    </a:lnTo>
                    <a:lnTo>
                      <a:pt x="206" y="1473"/>
                    </a:lnTo>
                    <a:lnTo>
                      <a:pt x="206" y="1471"/>
                    </a:lnTo>
                    <a:lnTo>
                      <a:pt x="207" y="1471"/>
                    </a:lnTo>
                    <a:lnTo>
                      <a:pt x="207" y="1473"/>
                    </a:lnTo>
                    <a:close/>
                    <a:moveTo>
                      <a:pt x="384" y="738"/>
                    </a:moveTo>
                    <a:lnTo>
                      <a:pt x="386" y="738"/>
                    </a:lnTo>
                    <a:lnTo>
                      <a:pt x="386" y="742"/>
                    </a:lnTo>
                    <a:lnTo>
                      <a:pt x="384" y="742"/>
                    </a:lnTo>
                    <a:lnTo>
                      <a:pt x="384" y="738"/>
                    </a:lnTo>
                    <a:close/>
                    <a:moveTo>
                      <a:pt x="386" y="687"/>
                    </a:moveTo>
                    <a:lnTo>
                      <a:pt x="389" y="687"/>
                    </a:lnTo>
                    <a:lnTo>
                      <a:pt x="389" y="689"/>
                    </a:lnTo>
                    <a:lnTo>
                      <a:pt x="386" y="689"/>
                    </a:lnTo>
                    <a:lnTo>
                      <a:pt x="386" y="687"/>
                    </a:lnTo>
                    <a:close/>
                    <a:moveTo>
                      <a:pt x="389" y="679"/>
                    </a:moveTo>
                    <a:lnTo>
                      <a:pt x="391" y="679"/>
                    </a:lnTo>
                    <a:lnTo>
                      <a:pt x="391" y="680"/>
                    </a:lnTo>
                    <a:lnTo>
                      <a:pt x="389" y="680"/>
                    </a:lnTo>
                    <a:lnTo>
                      <a:pt x="389" y="679"/>
                    </a:lnTo>
                    <a:close/>
                    <a:moveTo>
                      <a:pt x="381" y="672"/>
                    </a:moveTo>
                    <a:lnTo>
                      <a:pt x="383" y="672"/>
                    </a:lnTo>
                    <a:lnTo>
                      <a:pt x="383" y="675"/>
                    </a:lnTo>
                    <a:lnTo>
                      <a:pt x="381" y="675"/>
                    </a:lnTo>
                    <a:lnTo>
                      <a:pt x="381" y="672"/>
                    </a:lnTo>
                    <a:close/>
                    <a:moveTo>
                      <a:pt x="386" y="679"/>
                    </a:moveTo>
                    <a:lnTo>
                      <a:pt x="389" y="679"/>
                    </a:lnTo>
                    <a:lnTo>
                      <a:pt x="389" y="680"/>
                    </a:lnTo>
                    <a:lnTo>
                      <a:pt x="386" y="680"/>
                    </a:lnTo>
                    <a:lnTo>
                      <a:pt x="386" y="679"/>
                    </a:lnTo>
                    <a:close/>
                    <a:moveTo>
                      <a:pt x="386" y="728"/>
                    </a:moveTo>
                    <a:lnTo>
                      <a:pt x="388" y="728"/>
                    </a:lnTo>
                    <a:lnTo>
                      <a:pt x="388" y="731"/>
                    </a:lnTo>
                    <a:lnTo>
                      <a:pt x="386" y="731"/>
                    </a:lnTo>
                    <a:lnTo>
                      <a:pt x="386" y="728"/>
                    </a:lnTo>
                    <a:close/>
                    <a:moveTo>
                      <a:pt x="515" y="476"/>
                    </a:moveTo>
                    <a:lnTo>
                      <a:pt x="517" y="476"/>
                    </a:lnTo>
                    <a:lnTo>
                      <a:pt x="517" y="478"/>
                    </a:lnTo>
                    <a:lnTo>
                      <a:pt x="515" y="478"/>
                    </a:lnTo>
                    <a:lnTo>
                      <a:pt x="515" y="476"/>
                    </a:lnTo>
                    <a:close/>
                    <a:moveTo>
                      <a:pt x="386" y="677"/>
                    </a:moveTo>
                    <a:lnTo>
                      <a:pt x="388" y="677"/>
                    </a:lnTo>
                    <a:lnTo>
                      <a:pt x="388" y="679"/>
                    </a:lnTo>
                    <a:lnTo>
                      <a:pt x="386" y="679"/>
                    </a:lnTo>
                    <a:lnTo>
                      <a:pt x="386" y="677"/>
                    </a:lnTo>
                    <a:close/>
                    <a:moveTo>
                      <a:pt x="381" y="675"/>
                    </a:moveTo>
                    <a:lnTo>
                      <a:pt x="384" y="675"/>
                    </a:lnTo>
                    <a:lnTo>
                      <a:pt x="384" y="677"/>
                    </a:lnTo>
                    <a:lnTo>
                      <a:pt x="381" y="677"/>
                    </a:lnTo>
                    <a:lnTo>
                      <a:pt x="381" y="675"/>
                    </a:lnTo>
                    <a:close/>
                    <a:moveTo>
                      <a:pt x="255" y="956"/>
                    </a:moveTo>
                    <a:lnTo>
                      <a:pt x="257" y="956"/>
                    </a:lnTo>
                    <a:lnTo>
                      <a:pt x="255" y="956"/>
                    </a:lnTo>
                    <a:close/>
                    <a:moveTo>
                      <a:pt x="513" y="493"/>
                    </a:moveTo>
                    <a:lnTo>
                      <a:pt x="515" y="493"/>
                    </a:lnTo>
                    <a:lnTo>
                      <a:pt x="513" y="493"/>
                    </a:lnTo>
                    <a:close/>
                    <a:moveTo>
                      <a:pt x="318" y="1458"/>
                    </a:moveTo>
                    <a:lnTo>
                      <a:pt x="320" y="1458"/>
                    </a:lnTo>
                    <a:lnTo>
                      <a:pt x="320" y="1459"/>
                    </a:lnTo>
                    <a:lnTo>
                      <a:pt x="318" y="1459"/>
                    </a:lnTo>
                    <a:lnTo>
                      <a:pt x="318" y="1458"/>
                    </a:lnTo>
                    <a:close/>
                    <a:moveTo>
                      <a:pt x="269" y="952"/>
                    </a:moveTo>
                    <a:lnTo>
                      <a:pt x="270" y="952"/>
                    </a:lnTo>
                    <a:lnTo>
                      <a:pt x="270" y="954"/>
                    </a:lnTo>
                    <a:lnTo>
                      <a:pt x="269" y="954"/>
                    </a:lnTo>
                    <a:lnTo>
                      <a:pt x="269" y="952"/>
                    </a:lnTo>
                    <a:close/>
                    <a:moveTo>
                      <a:pt x="389" y="689"/>
                    </a:moveTo>
                    <a:lnTo>
                      <a:pt x="391" y="689"/>
                    </a:lnTo>
                    <a:lnTo>
                      <a:pt x="389" y="689"/>
                    </a:lnTo>
                    <a:close/>
                    <a:moveTo>
                      <a:pt x="383" y="718"/>
                    </a:moveTo>
                    <a:lnTo>
                      <a:pt x="384" y="718"/>
                    </a:lnTo>
                    <a:lnTo>
                      <a:pt x="384" y="719"/>
                    </a:lnTo>
                    <a:lnTo>
                      <a:pt x="383" y="719"/>
                    </a:lnTo>
                    <a:lnTo>
                      <a:pt x="383" y="718"/>
                    </a:lnTo>
                    <a:close/>
                    <a:moveTo>
                      <a:pt x="529" y="502"/>
                    </a:moveTo>
                    <a:lnTo>
                      <a:pt x="530" y="502"/>
                    </a:lnTo>
                    <a:lnTo>
                      <a:pt x="530" y="503"/>
                    </a:lnTo>
                    <a:lnTo>
                      <a:pt x="529" y="503"/>
                    </a:lnTo>
                    <a:lnTo>
                      <a:pt x="529" y="502"/>
                    </a:lnTo>
                    <a:close/>
                    <a:moveTo>
                      <a:pt x="515" y="474"/>
                    </a:moveTo>
                    <a:lnTo>
                      <a:pt x="515" y="476"/>
                    </a:lnTo>
                    <a:lnTo>
                      <a:pt x="515" y="474"/>
                    </a:lnTo>
                    <a:close/>
                    <a:moveTo>
                      <a:pt x="381" y="716"/>
                    </a:moveTo>
                    <a:lnTo>
                      <a:pt x="383" y="716"/>
                    </a:lnTo>
                    <a:lnTo>
                      <a:pt x="383" y="718"/>
                    </a:lnTo>
                    <a:lnTo>
                      <a:pt x="381" y="718"/>
                    </a:lnTo>
                    <a:lnTo>
                      <a:pt x="381" y="716"/>
                    </a:lnTo>
                    <a:close/>
                    <a:moveTo>
                      <a:pt x="383" y="674"/>
                    </a:moveTo>
                    <a:lnTo>
                      <a:pt x="384" y="674"/>
                    </a:lnTo>
                    <a:lnTo>
                      <a:pt x="384" y="675"/>
                    </a:lnTo>
                    <a:lnTo>
                      <a:pt x="383" y="675"/>
                    </a:lnTo>
                    <a:lnTo>
                      <a:pt x="383" y="674"/>
                    </a:lnTo>
                    <a:close/>
                    <a:moveTo>
                      <a:pt x="315" y="1459"/>
                    </a:moveTo>
                    <a:lnTo>
                      <a:pt x="315" y="1461"/>
                    </a:lnTo>
                    <a:lnTo>
                      <a:pt x="315" y="1459"/>
                    </a:lnTo>
                    <a:close/>
                    <a:moveTo>
                      <a:pt x="515" y="476"/>
                    </a:moveTo>
                    <a:lnTo>
                      <a:pt x="515" y="478"/>
                    </a:lnTo>
                    <a:lnTo>
                      <a:pt x="515" y="476"/>
                    </a:lnTo>
                    <a:close/>
                    <a:moveTo>
                      <a:pt x="517" y="474"/>
                    </a:moveTo>
                    <a:lnTo>
                      <a:pt x="519" y="474"/>
                    </a:lnTo>
                    <a:lnTo>
                      <a:pt x="519" y="476"/>
                    </a:lnTo>
                    <a:lnTo>
                      <a:pt x="517" y="476"/>
                    </a:lnTo>
                    <a:lnTo>
                      <a:pt x="517" y="474"/>
                    </a:lnTo>
                    <a:close/>
                    <a:moveTo>
                      <a:pt x="383" y="687"/>
                    </a:moveTo>
                    <a:lnTo>
                      <a:pt x="384" y="687"/>
                    </a:lnTo>
                    <a:lnTo>
                      <a:pt x="383" y="687"/>
                    </a:lnTo>
                    <a:close/>
                    <a:moveTo>
                      <a:pt x="257" y="956"/>
                    </a:moveTo>
                    <a:lnTo>
                      <a:pt x="258" y="956"/>
                    </a:lnTo>
                    <a:lnTo>
                      <a:pt x="258" y="958"/>
                    </a:lnTo>
                    <a:lnTo>
                      <a:pt x="257" y="958"/>
                    </a:lnTo>
                    <a:lnTo>
                      <a:pt x="257" y="956"/>
                    </a:lnTo>
                    <a:close/>
                    <a:moveTo>
                      <a:pt x="384" y="675"/>
                    </a:moveTo>
                    <a:lnTo>
                      <a:pt x="386" y="675"/>
                    </a:lnTo>
                    <a:lnTo>
                      <a:pt x="384" y="675"/>
                    </a:lnTo>
                    <a:close/>
                    <a:moveTo>
                      <a:pt x="386" y="723"/>
                    </a:moveTo>
                    <a:lnTo>
                      <a:pt x="388" y="723"/>
                    </a:lnTo>
                    <a:lnTo>
                      <a:pt x="388" y="725"/>
                    </a:lnTo>
                    <a:lnTo>
                      <a:pt x="386" y="725"/>
                    </a:lnTo>
                    <a:lnTo>
                      <a:pt x="386" y="723"/>
                    </a:lnTo>
                    <a:close/>
                    <a:moveTo>
                      <a:pt x="265" y="954"/>
                    </a:moveTo>
                    <a:lnTo>
                      <a:pt x="267" y="954"/>
                    </a:lnTo>
                    <a:lnTo>
                      <a:pt x="265" y="954"/>
                    </a:lnTo>
                    <a:close/>
                    <a:moveTo>
                      <a:pt x="381" y="721"/>
                    </a:moveTo>
                    <a:lnTo>
                      <a:pt x="383" y="721"/>
                    </a:lnTo>
                    <a:lnTo>
                      <a:pt x="381" y="721"/>
                    </a:lnTo>
                    <a:close/>
                    <a:moveTo>
                      <a:pt x="383" y="721"/>
                    </a:moveTo>
                    <a:lnTo>
                      <a:pt x="383" y="723"/>
                    </a:lnTo>
                    <a:lnTo>
                      <a:pt x="383" y="721"/>
                    </a:lnTo>
                    <a:close/>
                    <a:moveTo>
                      <a:pt x="274" y="951"/>
                    </a:moveTo>
                    <a:lnTo>
                      <a:pt x="274" y="952"/>
                    </a:lnTo>
                    <a:lnTo>
                      <a:pt x="274" y="951"/>
                    </a:lnTo>
                    <a:close/>
                    <a:moveTo>
                      <a:pt x="367" y="767"/>
                    </a:moveTo>
                    <a:lnTo>
                      <a:pt x="369" y="767"/>
                    </a:lnTo>
                    <a:lnTo>
                      <a:pt x="367" y="767"/>
                    </a:lnTo>
                    <a:close/>
                    <a:moveTo>
                      <a:pt x="517" y="474"/>
                    </a:moveTo>
                    <a:lnTo>
                      <a:pt x="519" y="474"/>
                    </a:lnTo>
                    <a:lnTo>
                      <a:pt x="517" y="474"/>
                    </a:lnTo>
                    <a:close/>
                    <a:moveTo>
                      <a:pt x="515" y="471"/>
                    </a:moveTo>
                    <a:lnTo>
                      <a:pt x="515" y="473"/>
                    </a:lnTo>
                    <a:lnTo>
                      <a:pt x="515" y="471"/>
                    </a:lnTo>
                    <a:close/>
                    <a:moveTo>
                      <a:pt x="513" y="476"/>
                    </a:moveTo>
                    <a:lnTo>
                      <a:pt x="515" y="476"/>
                    </a:lnTo>
                    <a:lnTo>
                      <a:pt x="513" y="476"/>
                    </a:lnTo>
                    <a:close/>
                    <a:moveTo>
                      <a:pt x="209" y="1473"/>
                    </a:moveTo>
                    <a:lnTo>
                      <a:pt x="209" y="1475"/>
                    </a:lnTo>
                    <a:lnTo>
                      <a:pt x="209" y="1473"/>
                    </a:lnTo>
                    <a:close/>
                    <a:moveTo>
                      <a:pt x="388" y="721"/>
                    </a:moveTo>
                    <a:lnTo>
                      <a:pt x="389" y="721"/>
                    </a:lnTo>
                    <a:lnTo>
                      <a:pt x="389" y="723"/>
                    </a:lnTo>
                    <a:lnTo>
                      <a:pt x="388" y="723"/>
                    </a:lnTo>
                    <a:lnTo>
                      <a:pt x="388" y="721"/>
                    </a:lnTo>
                    <a:close/>
                    <a:moveTo>
                      <a:pt x="384" y="677"/>
                    </a:moveTo>
                    <a:lnTo>
                      <a:pt x="386" y="677"/>
                    </a:lnTo>
                    <a:lnTo>
                      <a:pt x="384" y="677"/>
                    </a:lnTo>
                    <a:close/>
                    <a:moveTo>
                      <a:pt x="394" y="680"/>
                    </a:moveTo>
                    <a:lnTo>
                      <a:pt x="394" y="682"/>
                    </a:lnTo>
                    <a:lnTo>
                      <a:pt x="394" y="680"/>
                    </a:lnTo>
                    <a:close/>
                    <a:moveTo>
                      <a:pt x="512" y="464"/>
                    </a:moveTo>
                    <a:lnTo>
                      <a:pt x="512" y="466"/>
                    </a:lnTo>
                    <a:lnTo>
                      <a:pt x="512" y="46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2" name="Freeform 12">
                <a:extLst>
                  <a:ext uri="{FF2B5EF4-FFF2-40B4-BE49-F238E27FC236}">
                    <a16:creationId xmlns:a16="http://schemas.microsoft.com/office/drawing/2014/main" id="{D0CA2042-1D74-2124-C35A-4E189A90A6EC}"/>
                  </a:ext>
                </a:extLst>
              </p:cNvPr>
              <p:cNvSpPr>
                <a:spLocks noEditPoints="1"/>
              </p:cNvSpPr>
              <p:nvPr/>
            </p:nvSpPr>
            <p:spPr bwMode="auto">
              <a:xfrm>
                <a:off x="5683575" y="2820535"/>
                <a:ext cx="2056" cy="2056"/>
              </a:xfrm>
              <a:custGeom>
                <a:avLst/>
                <a:gdLst>
                  <a:gd name="T0" fmla="*/ 0 w 7"/>
                  <a:gd name="T1" fmla="*/ 0 h 7"/>
                  <a:gd name="T2" fmla="*/ 2 w 7"/>
                  <a:gd name="T3" fmla="*/ 0 h 7"/>
                  <a:gd name="T4" fmla="*/ 2 w 7"/>
                  <a:gd name="T5" fmla="*/ 2 h 7"/>
                  <a:gd name="T6" fmla="*/ 3 w 7"/>
                  <a:gd name="T7" fmla="*/ 2 h 7"/>
                  <a:gd name="T8" fmla="*/ 3 w 7"/>
                  <a:gd name="T9" fmla="*/ 3 h 7"/>
                  <a:gd name="T10" fmla="*/ 5 w 7"/>
                  <a:gd name="T11" fmla="*/ 3 h 7"/>
                  <a:gd name="T12" fmla="*/ 5 w 7"/>
                  <a:gd name="T13" fmla="*/ 5 h 7"/>
                  <a:gd name="T14" fmla="*/ 7 w 7"/>
                  <a:gd name="T15" fmla="*/ 5 h 7"/>
                  <a:gd name="T16" fmla="*/ 7 w 7"/>
                  <a:gd name="T17" fmla="*/ 7 h 7"/>
                  <a:gd name="T18" fmla="*/ 5 w 7"/>
                  <a:gd name="T19" fmla="*/ 7 h 7"/>
                  <a:gd name="T20" fmla="*/ 3 w 7"/>
                  <a:gd name="T21" fmla="*/ 7 h 7"/>
                  <a:gd name="T22" fmla="*/ 3 w 7"/>
                  <a:gd name="T23" fmla="*/ 5 h 7"/>
                  <a:gd name="T24" fmla="*/ 2 w 7"/>
                  <a:gd name="T25" fmla="*/ 5 h 7"/>
                  <a:gd name="T26" fmla="*/ 2 w 7"/>
                  <a:gd name="T27" fmla="*/ 3 h 7"/>
                  <a:gd name="T28" fmla="*/ 0 w 7"/>
                  <a:gd name="T29" fmla="*/ 3 h 7"/>
                  <a:gd name="T30" fmla="*/ 0 w 7"/>
                  <a:gd name="T31" fmla="*/ 2 h 7"/>
                  <a:gd name="T32" fmla="*/ 0 w 7"/>
                  <a:gd name="T33" fmla="*/ 0 h 7"/>
                  <a:gd name="T34" fmla="*/ 2 w 7"/>
                  <a:gd name="T35" fmla="*/ 5 h 7"/>
                  <a:gd name="T36" fmla="*/ 3 w 7"/>
                  <a:gd name="T37" fmla="*/ 5 h 7"/>
                  <a:gd name="T38" fmla="*/ 2 w 7"/>
                  <a:gd name="T3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 h="7">
                    <a:moveTo>
                      <a:pt x="0" y="0"/>
                    </a:moveTo>
                    <a:lnTo>
                      <a:pt x="2" y="0"/>
                    </a:lnTo>
                    <a:lnTo>
                      <a:pt x="2" y="2"/>
                    </a:lnTo>
                    <a:lnTo>
                      <a:pt x="3" y="2"/>
                    </a:lnTo>
                    <a:lnTo>
                      <a:pt x="3" y="3"/>
                    </a:lnTo>
                    <a:lnTo>
                      <a:pt x="5" y="3"/>
                    </a:lnTo>
                    <a:lnTo>
                      <a:pt x="5" y="5"/>
                    </a:lnTo>
                    <a:lnTo>
                      <a:pt x="7" y="5"/>
                    </a:lnTo>
                    <a:lnTo>
                      <a:pt x="7" y="7"/>
                    </a:lnTo>
                    <a:lnTo>
                      <a:pt x="5" y="7"/>
                    </a:lnTo>
                    <a:lnTo>
                      <a:pt x="3" y="7"/>
                    </a:lnTo>
                    <a:lnTo>
                      <a:pt x="3" y="5"/>
                    </a:lnTo>
                    <a:lnTo>
                      <a:pt x="2" y="5"/>
                    </a:lnTo>
                    <a:lnTo>
                      <a:pt x="2" y="3"/>
                    </a:lnTo>
                    <a:lnTo>
                      <a:pt x="0" y="3"/>
                    </a:lnTo>
                    <a:lnTo>
                      <a:pt x="0" y="2"/>
                    </a:lnTo>
                    <a:lnTo>
                      <a:pt x="0" y="0"/>
                    </a:lnTo>
                    <a:close/>
                    <a:moveTo>
                      <a:pt x="2" y="5"/>
                    </a:moveTo>
                    <a:lnTo>
                      <a:pt x="3" y="5"/>
                    </a:lnTo>
                    <a:lnTo>
                      <a:pt x="2" y="5"/>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4" name="Freeform 14">
                <a:extLst>
                  <a:ext uri="{FF2B5EF4-FFF2-40B4-BE49-F238E27FC236}">
                    <a16:creationId xmlns:a16="http://schemas.microsoft.com/office/drawing/2014/main" id="{EE4B53D8-7570-EF59-47F0-6E1A39F2832D}"/>
                  </a:ext>
                </a:extLst>
              </p:cNvPr>
              <p:cNvSpPr>
                <a:spLocks/>
              </p:cNvSpPr>
              <p:nvPr/>
            </p:nvSpPr>
            <p:spPr bwMode="auto">
              <a:xfrm>
                <a:off x="5786963" y="2813485"/>
                <a:ext cx="2056" cy="2644"/>
              </a:xfrm>
              <a:custGeom>
                <a:avLst/>
                <a:gdLst>
                  <a:gd name="T0" fmla="*/ 2 w 7"/>
                  <a:gd name="T1" fmla="*/ 0 h 9"/>
                  <a:gd name="T2" fmla="*/ 2 w 7"/>
                  <a:gd name="T3" fmla="*/ 2 h 9"/>
                  <a:gd name="T4" fmla="*/ 3 w 7"/>
                  <a:gd name="T5" fmla="*/ 2 h 9"/>
                  <a:gd name="T6" fmla="*/ 3 w 7"/>
                  <a:gd name="T7" fmla="*/ 4 h 9"/>
                  <a:gd name="T8" fmla="*/ 5 w 7"/>
                  <a:gd name="T9" fmla="*/ 4 h 9"/>
                  <a:gd name="T10" fmla="*/ 5 w 7"/>
                  <a:gd name="T11" fmla="*/ 5 h 9"/>
                  <a:gd name="T12" fmla="*/ 7 w 7"/>
                  <a:gd name="T13" fmla="*/ 5 h 9"/>
                  <a:gd name="T14" fmla="*/ 7 w 7"/>
                  <a:gd name="T15" fmla="*/ 7 h 9"/>
                  <a:gd name="T16" fmla="*/ 7 w 7"/>
                  <a:gd name="T17" fmla="*/ 9 h 9"/>
                  <a:gd name="T18" fmla="*/ 5 w 7"/>
                  <a:gd name="T19" fmla="*/ 9 h 9"/>
                  <a:gd name="T20" fmla="*/ 3 w 7"/>
                  <a:gd name="T21" fmla="*/ 9 h 9"/>
                  <a:gd name="T22" fmla="*/ 2 w 7"/>
                  <a:gd name="T23" fmla="*/ 9 h 9"/>
                  <a:gd name="T24" fmla="*/ 0 w 7"/>
                  <a:gd name="T25" fmla="*/ 7 h 9"/>
                  <a:gd name="T26" fmla="*/ 0 w 7"/>
                  <a:gd name="T27" fmla="*/ 5 h 9"/>
                  <a:gd name="T28" fmla="*/ 0 w 7"/>
                  <a:gd name="T29" fmla="*/ 4 h 9"/>
                  <a:gd name="T30" fmla="*/ 0 w 7"/>
                  <a:gd name="T31" fmla="*/ 2 h 9"/>
                  <a:gd name="T32" fmla="*/ 0 w 7"/>
                  <a:gd name="T33" fmla="*/ 0 h 9"/>
                  <a:gd name="T34" fmla="*/ 2 w 7"/>
                  <a:gd name="T3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9">
                    <a:moveTo>
                      <a:pt x="2" y="0"/>
                    </a:moveTo>
                    <a:lnTo>
                      <a:pt x="2" y="2"/>
                    </a:lnTo>
                    <a:lnTo>
                      <a:pt x="3" y="2"/>
                    </a:lnTo>
                    <a:lnTo>
                      <a:pt x="3" y="4"/>
                    </a:lnTo>
                    <a:lnTo>
                      <a:pt x="5" y="4"/>
                    </a:lnTo>
                    <a:lnTo>
                      <a:pt x="5" y="5"/>
                    </a:lnTo>
                    <a:lnTo>
                      <a:pt x="7" y="5"/>
                    </a:lnTo>
                    <a:lnTo>
                      <a:pt x="7" y="7"/>
                    </a:lnTo>
                    <a:lnTo>
                      <a:pt x="7" y="9"/>
                    </a:lnTo>
                    <a:lnTo>
                      <a:pt x="5" y="9"/>
                    </a:lnTo>
                    <a:lnTo>
                      <a:pt x="3" y="9"/>
                    </a:lnTo>
                    <a:lnTo>
                      <a:pt x="2" y="9"/>
                    </a:lnTo>
                    <a:lnTo>
                      <a:pt x="0" y="7"/>
                    </a:lnTo>
                    <a:lnTo>
                      <a:pt x="0" y="5"/>
                    </a:lnTo>
                    <a:lnTo>
                      <a:pt x="0" y="4"/>
                    </a:lnTo>
                    <a:lnTo>
                      <a:pt x="0" y="2"/>
                    </a:lnTo>
                    <a:lnTo>
                      <a:pt x="0" y="0"/>
                    </a:lnTo>
                    <a:lnTo>
                      <a:pt x="2"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 name="Freeform 16">
                <a:extLst>
                  <a:ext uri="{FF2B5EF4-FFF2-40B4-BE49-F238E27FC236}">
                    <a16:creationId xmlns:a16="http://schemas.microsoft.com/office/drawing/2014/main" id="{57A9C2A5-739D-4E9A-26A2-CF3307E8F913}"/>
                  </a:ext>
                </a:extLst>
              </p:cNvPr>
              <p:cNvSpPr>
                <a:spLocks/>
              </p:cNvSpPr>
              <p:nvPr/>
            </p:nvSpPr>
            <p:spPr bwMode="auto">
              <a:xfrm>
                <a:off x="5687688" y="3043466"/>
                <a:ext cx="120719" cy="136874"/>
              </a:xfrm>
              <a:custGeom>
                <a:avLst/>
                <a:gdLst>
                  <a:gd name="T0" fmla="*/ 306 w 411"/>
                  <a:gd name="T1" fmla="*/ 342 h 466"/>
                  <a:gd name="T2" fmla="*/ 231 w 411"/>
                  <a:gd name="T3" fmla="*/ 435 h 466"/>
                  <a:gd name="T4" fmla="*/ 188 w 411"/>
                  <a:gd name="T5" fmla="*/ 444 h 466"/>
                  <a:gd name="T6" fmla="*/ 182 w 411"/>
                  <a:gd name="T7" fmla="*/ 464 h 466"/>
                  <a:gd name="T8" fmla="*/ 175 w 411"/>
                  <a:gd name="T9" fmla="*/ 450 h 466"/>
                  <a:gd name="T10" fmla="*/ 156 w 411"/>
                  <a:gd name="T11" fmla="*/ 435 h 466"/>
                  <a:gd name="T12" fmla="*/ 125 w 411"/>
                  <a:gd name="T13" fmla="*/ 430 h 466"/>
                  <a:gd name="T14" fmla="*/ 112 w 411"/>
                  <a:gd name="T15" fmla="*/ 437 h 466"/>
                  <a:gd name="T16" fmla="*/ 85 w 411"/>
                  <a:gd name="T17" fmla="*/ 459 h 466"/>
                  <a:gd name="T18" fmla="*/ 59 w 411"/>
                  <a:gd name="T19" fmla="*/ 452 h 466"/>
                  <a:gd name="T20" fmla="*/ 54 w 411"/>
                  <a:gd name="T21" fmla="*/ 427 h 466"/>
                  <a:gd name="T22" fmla="*/ 42 w 411"/>
                  <a:gd name="T23" fmla="*/ 394 h 466"/>
                  <a:gd name="T24" fmla="*/ 32 w 411"/>
                  <a:gd name="T25" fmla="*/ 379 h 466"/>
                  <a:gd name="T26" fmla="*/ 37 w 411"/>
                  <a:gd name="T27" fmla="*/ 362 h 466"/>
                  <a:gd name="T28" fmla="*/ 37 w 411"/>
                  <a:gd name="T29" fmla="*/ 347 h 466"/>
                  <a:gd name="T30" fmla="*/ 29 w 411"/>
                  <a:gd name="T31" fmla="*/ 328 h 466"/>
                  <a:gd name="T32" fmla="*/ 22 w 411"/>
                  <a:gd name="T33" fmla="*/ 308 h 466"/>
                  <a:gd name="T34" fmla="*/ 18 w 411"/>
                  <a:gd name="T35" fmla="*/ 290 h 466"/>
                  <a:gd name="T36" fmla="*/ 6 w 411"/>
                  <a:gd name="T37" fmla="*/ 267 h 466"/>
                  <a:gd name="T38" fmla="*/ 10 w 411"/>
                  <a:gd name="T39" fmla="*/ 253 h 466"/>
                  <a:gd name="T40" fmla="*/ 22 w 411"/>
                  <a:gd name="T41" fmla="*/ 234 h 466"/>
                  <a:gd name="T42" fmla="*/ 12 w 411"/>
                  <a:gd name="T43" fmla="*/ 200 h 466"/>
                  <a:gd name="T44" fmla="*/ 13 w 411"/>
                  <a:gd name="T45" fmla="*/ 188 h 466"/>
                  <a:gd name="T46" fmla="*/ 15 w 411"/>
                  <a:gd name="T47" fmla="*/ 168 h 466"/>
                  <a:gd name="T48" fmla="*/ 27 w 411"/>
                  <a:gd name="T49" fmla="*/ 154 h 466"/>
                  <a:gd name="T50" fmla="*/ 23 w 411"/>
                  <a:gd name="T51" fmla="*/ 136 h 466"/>
                  <a:gd name="T52" fmla="*/ 27 w 411"/>
                  <a:gd name="T53" fmla="*/ 114 h 466"/>
                  <a:gd name="T54" fmla="*/ 32 w 411"/>
                  <a:gd name="T55" fmla="*/ 100 h 466"/>
                  <a:gd name="T56" fmla="*/ 18 w 411"/>
                  <a:gd name="T57" fmla="*/ 68 h 466"/>
                  <a:gd name="T58" fmla="*/ 6 w 411"/>
                  <a:gd name="T59" fmla="*/ 42 h 466"/>
                  <a:gd name="T60" fmla="*/ 23 w 411"/>
                  <a:gd name="T61" fmla="*/ 44 h 466"/>
                  <a:gd name="T62" fmla="*/ 39 w 411"/>
                  <a:gd name="T63" fmla="*/ 46 h 466"/>
                  <a:gd name="T64" fmla="*/ 54 w 411"/>
                  <a:gd name="T65" fmla="*/ 34 h 466"/>
                  <a:gd name="T66" fmla="*/ 71 w 411"/>
                  <a:gd name="T67" fmla="*/ 27 h 466"/>
                  <a:gd name="T68" fmla="*/ 86 w 411"/>
                  <a:gd name="T69" fmla="*/ 20 h 466"/>
                  <a:gd name="T70" fmla="*/ 103 w 411"/>
                  <a:gd name="T71" fmla="*/ 6 h 466"/>
                  <a:gd name="T72" fmla="*/ 120 w 411"/>
                  <a:gd name="T73" fmla="*/ 3 h 466"/>
                  <a:gd name="T74" fmla="*/ 132 w 411"/>
                  <a:gd name="T75" fmla="*/ 3 h 466"/>
                  <a:gd name="T76" fmla="*/ 141 w 411"/>
                  <a:gd name="T77" fmla="*/ 3 h 466"/>
                  <a:gd name="T78" fmla="*/ 148 w 411"/>
                  <a:gd name="T79" fmla="*/ 13 h 466"/>
                  <a:gd name="T80" fmla="*/ 146 w 411"/>
                  <a:gd name="T81" fmla="*/ 34 h 466"/>
                  <a:gd name="T82" fmla="*/ 146 w 411"/>
                  <a:gd name="T83" fmla="*/ 54 h 466"/>
                  <a:gd name="T84" fmla="*/ 154 w 411"/>
                  <a:gd name="T85" fmla="*/ 69 h 466"/>
                  <a:gd name="T86" fmla="*/ 166 w 411"/>
                  <a:gd name="T87" fmla="*/ 85 h 466"/>
                  <a:gd name="T88" fmla="*/ 175 w 411"/>
                  <a:gd name="T89" fmla="*/ 93 h 466"/>
                  <a:gd name="T90" fmla="*/ 193 w 411"/>
                  <a:gd name="T91" fmla="*/ 97 h 466"/>
                  <a:gd name="T92" fmla="*/ 212 w 411"/>
                  <a:gd name="T93" fmla="*/ 102 h 466"/>
                  <a:gd name="T94" fmla="*/ 226 w 411"/>
                  <a:gd name="T95" fmla="*/ 108 h 466"/>
                  <a:gd name="T96" fmla="*/ 241 w 411"/>
                  <a:gd name="T97" fmla="*/ 117 h 466"/>
                  <a:gd name="T98" fmla="*/ 255 w 411"/>
                  <a:gd name="T99" fmla="*/ 119 h 466"/>
                  <a:gd name="T100" fmla="*/ 268 w 411"/>
                  <a:gd name="T101" fmla="*/ 132 h 466"/>
                  <a:gd name="T102" fmla="*/ 285 w 411"/>
                  <a:gd name="T103" fmla="*/ 132 h 466"/>
                  <a:gd name="T104" fmla="*/ 301 w 411"/>
                  <a:gd name="T105" fmla="*/ 137 h 466"/>
                  <a:gd name="T106" fmla="*/ 309 w 411"/>
                  <a:gd name="T107" fmla="*/ 144 h 466"/>
                  <a:gd name="T108" fmla="*/ 312 w 411"/>
                  <a:gd name="T109" fmla="*/ 165 h 466"/>
                  <a:gd name="T110" fmla="*/ 306 w 411"/>
                  <a:gd name="T111" fmla="*/ 187 h 466"/>
                  <a:gd name="T112" fmla="*/ 343 w 411"/>
                  <a:gd name="T113" fmla="*/ 228 h 466"/>
                  <a:gd name="T114" fmla="*/ 380 w 411"/>
                  <a:gd name="T115" fmla="*/ 233 h 466"/>
                  <a:gd name="T116" fmla="*/ 379 w 411"/>
                  <a:gd name="T117" fmla="*/ 256 h 466"/>
                  <a:gd name="T118" fmla="*/ 396 w 411"/>
                  <a:gd name="T119" fmla="*/ 272 h 466"/>
                  <a:gd name="T120" fmla="*/ 408 w 411"/>
                  <a:gd name="T121" fmla="*/ 294 h 466"/>
                  <a:gd name="T122" fmla="*/ 403 w 411"/>
                  <a:gd name="T123" fmla="*/ 325 h 466"/>
                  <a:gd name="T124" fmla="*/ 392 w 411"/>
                  <a:gd name="T125" fmla="*/ 36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1" h="466">
                    <a:moveTo>
                      <a:pt x="387" y="367"/>
                    </a:moveTo>
                    <a:lnTo>
                      <a:pt x="387" y="365"/>
                    </a:lnTo>
                    <a:lnTo>
                      <a:pt x="389" y="365"/>
                    </a:lnTo>
                    <a:lnTo>
                      <a:pt x="389" y="364"/>
                    </a:lnTo>
                    <a:lnTo>
                      <a:pt x="387" y="364"/>
                    </a:lnTo>
                    <a:lnTo>
                      <a:pt x="387" y="362"/>
                    </a:lnTo>
                    <a:lnTo>
                      <a:pt x="387" y="360"/>
                    </a:lnTo>
                    <a:lnTo>
                      <a:pt x="387" y="359"/>
                    </a:lnTo>
                    <a:lnTo>
                      <a:pt x="386" y="359"/>
                    </a:lnTo>
                    <a:lnTo>
                      <a:pt x="387" y="359"/>
                    </a:lnTo>
                    <a:lnTo>
                      <a:pt x="387" y="357"/>
                    </a:lnTo>
                    <a:lnTo>
                      <a:pt x="386" y="357"/>
                    </a:lnTo>
                    <a:lnTo>
                      <a:pt x="387" y="355"/>
                    </a:lnTo>
                    <a:lnTo>
                      <a:pt x="379" y="348"/>
                    </a:lnTo>
                    <a:lnTo>
                      <a:pt x="375" y="347"/>
                    </a:lnTo>
                    <a:lnTo>
                      <a:pt x="358" y="335"/>
                    </a:lnTo>
                    <a:lnTo>
                      <a:pt x="326" y="335"/>
                    </a:lnTo>
                    <a:lnTo>
                      <a:pt x="306" y="342"/>
                    </a:lnTo>
                    <a:lnTo>
                      <a:pt x="268" y="348"/>
                    </a:lnTo>
                    <a:lnTo>
                      <a:pt x="267" y="348"/>
                    </a:lnTo>
                    <a:lnTo>
                      <a:pt x="261" y="362"/>
                    </a:lnTo>
                    <a:lnTo>
                      <a:pt x="261" y="364"/>
                    </a:lnTo>
                    <a:lnTo>
                      <a:pt x="251" y="377"/>
                    </a:lnTo>
                    <a:lnTo>
                      <a:pt x="250" y="381"/>
                    </a:lnTo>
                    <a:lnTo>
                      <a:pt x="250" y="396"/>
                    </a:lnTo>
                    <a:lnTo>
                      <a:pt x="250" y="399"/>
                    </a:lnTo>
                    <a:lnTo>
                      <a:pt x="243" y="421"/>
                    </a:lnTo>
                    <a:lnTo>
                      <a:pt x="239" y="430"/>
                    </a:lnTo>
                    <a:lnTo>
                      <a:pt x="236" y="442"/>
                    </a:lnTo>
                    <a:lnTo>
                      <a:pt x="236" y="440"/>
                    </a:lnTo>
                    <a:lnTo>
                      <a:pt x="234" y="440"/>
                    </a:lnTo>
                    <a:lnTo>
                      <a:pt x="234" y="438"/>
                    </a:lnTo>
                    <a:lnTo>
                      <a:pt x="233" y="438"/>
                    </a:lnTo>
                    <a:lnTo>
                      <a:pt x="231" y="438"/>
                    </a:lnTo>
                    <a:lnTo>
                      <a:pt x="231" y="437"/>
                    </a:lnTo>
                    <a:lnTo>
                      <a:pt x="231" y="435"/>
                    </a:lnTo>
                    <a:lnTo>
                      <a:pt x="231" y="433"/>
                    </a:lnTo>
                    <a:lnTo>
                      <a:pt x="221" y="433"/>
                    </a:lnTo>
                    <a:lnTo>
                      <a:pt x="202" y="433"/>
                    </a:lnTo>
                    <a:lnTo>
                      <a:pt x="202" y="435"/>
                    </a:lnTo>
                    <a:lnTo>
                      <a:pt x="202" y="433"/>
                    </a:lnTo>
                    <a:lnTo>
                      <a:pt x="200" y="433"/>
                    </a:lnTo>
                    <a:lnTo>
                      <a:pt x="199" y="433"/>
                    </a:lnTo>
                    <a:lnTo>
                      <a:pt x="193" y="433"/>
                    </a:lnTo>
                    <a:lnTo>
                      <a:pt x="192" y="433"/>
                    </a:lnTo>
                    <a:lnTo>
                      <a:pt x="192" y="435"/>
                    </a:lnTo>
                    <a:lnTo>
                      <a:pt x="192" y="437"/>
                    </a:lnTo>
                    <a:lnTo>
                      <a:pt x="190" y="437"/>
                    </a:lnTo>
                    <a:lnTo>
                      <a:pt x="192" y="437"/>
                    </a:lnTo>
                    <a:lnTo>
                      <a:pt x="190" y="438"/>
                    </a:lnTo>
                    <a:lnTo>
                      <a:pt x="190" y="440"/>
                    </a:lnTo>
                    <a:lnTo>
                      <a:pt x="190" y="442"/>
                    </a:lnTo>
                    <a:lnTo>
                      <a:pt x="188" y="442"/>
                    </a:lnTo>
                    <a:lnTo>
                      <a:pt x="188" y="444"/>
                    </a:lnTo>
                    <a:lnTo>
                      <a:pt x="187" y="445"/>
                    </a:lnTo>
                    <a:lnTo>
                      <a:pt x="187" y="447"/>
                    </a:lnTo>
                    <a:lnTo>
                      <a:pt x="187" y="449"/>
                    </a:lnTo>
                    <a:lnTo>
                      <a:pt x="185" y="449"/>
                    </a:lnTo>
                    <a:lnTo>
                      <a:pt x="185" y="450"/>
                    </a:lnTo>
                    <a:lnTo>
                      <a:pt x="183" y="450"/>
                    </a:lnTo>
                    <a:lnTo>
                      <a:pt x="183" y="452"/>
                    </a:lnTo>
                    <a:lnTo>
                      <a:pt x="183" y="454"/>
                    </a:lnTo>
                    <a:lnTo>
                      <a:pt x="182" y="454"/>
                    </a:lnTo>
                    <a:lnTo>
                      <a:pt x="183" y="454"/>
                    </a:lnTo>
                    <a:lnTo>
                      <a:pt x="183" y="456"/>
                    </a:lnTo>
                    <a:lnTo>
                      <a:pt x="182" y="456"/>
                    </a:lnTo>
                    <a:lnTo>
                      <a:pt x="182" y="457"/>
                    </a:lnTo>
                    <a:lnTo>
                      <a:pt x="182" y="459"/>
                    </a:lnTo>
                    <a:lnTo>
                      <a:pt x="182" y="461"/>
                    </a:lnTo>
                    <a:lnTo>
                      <a:pt x="182" y="462"/>
                    </a:lnTo>
                    <a:lnTo>
                      <a:pt x="180" y="464"/>
                    </a:lnTo>
                    <a:lnTo>
                      <a:pt x="182" y="464"/>
                    </a:lnTo>
                    <a:lnTo>
                      <a:pt x="180" y="464"/>
                    </a:lnTo>
                    <a:lnTo>
                      <a:pt x="180" y="466"/>
                    </a:lnTo>
                    <a:lnTo>
                      <a:pt x="180" y="464"/>
                    </a:lnTo>
                    <a:lnTo>
                      <a:pt x="180" y="462"/>
                    </a:lnTo>
                    <a:lnTo>
                      <a:pt x="178" y="462"/>
                    </a:lnTo>
                    <a:lnTo>
                      <a:pt x="180" y="462"/>
                    </a:lnTo>
                    <a:lnTo>
                      <a:pt x="180" y="461"/>
                    </a:lnTo>
                    <a:lnTo>
                      <a:pt x="178" y="459"/>
                    </a:lnTo>
                    <a:lnTo>
                      <a:pt x="176" y="459"/>
                    </a:lnTo>
                    <a:lnTo>
                      <a:pt x="178" y="459"/>
                    </a:lnTo>
                    <a:lnTo>
                      <a:pt x="178" y="457"/>
                    </a:lnTo>
                    <a:lnTo>
                      <a:pt x="176" y="457"/>
                    </a:lnTo>
                    <a:lnTo>
                      <a:pt x="176" y="456"/>
                    </a:lnTo>
                    <a:lnTo>
                      <a:pt x="176" y="454"/>
                    </a:lnTo>
                    <a:lnTo>
                      <a:pt x="176" y="452"/>
                    </a:lnTo>
                    <a:lnTo>
                      <a:pt x="175" y="452"/>
                    </a:lnTo>
                    <a:lnTo>
                      <a:pt x="176" y="450"/>
                    </a:lnTo>
                    <a:lnTo>
                      <a:pt x="175" y="450"/>
                    </a:lnTo>
                    <a:lnTo>
                      <a:pt x="175" y="449"/>
                    </a:lnTo>
                    <a:lnTo>
                      <a:pt x="173" y="449"/>
                    </a:lnTo>
                    <a:lnTo>
                      <a:pt x="173" y="447"/>
                    </a:lnTo>
                    <a:lnTo>
                      <a:pt x="171" y="447"/>
                    </a:lnTo>
                    <a:lnTo>
                      <a:pt x="171" y="445"/>
                    </a:lnTo>
                    <a:lnTo>
                      <a:pt x="173" y="444"/>
                    </a:lnTo>
                    <a:lnTo>
                      <a:pt x="173" y="442"/>
                    </a:lnTo>
                    <a:lnTo>
                      <a:pt x="171" y="442"/>
                    </a:lnTo>
                    <a:lnTo>
                      <a:pt x="170" y="440"/>
                    </a:lnTo>
                    <a:lnTo>
                      <a:pt x="168" y="440"/>
                    </a:lnTo>
                    <a:lnTo>
                      <a:pt x="166" y="440"/>
                    </a:lnTo>
                    <a:lnTo>
                      <a:pt x="165" y="438"/>
                    </a:lnTo>
                    <a:lnTo>
                      <a:pt x="163" y="438"/>
                    </a:lnTo>
                    <a:lnTo>
                      <a:pt x="161" y="437"/>
                    </a:lnTo>
                    <a:lnTo>
                      <a:pt x="159" y="437"/>
                    </a:lnTo>
                    <a:lnTo>
                      <a:pt x="158" y="437"/>
                    </a:lnTo>
                    <a:lnTo>
                      <a:pt x="158" y="435"/>
                    </a:lnTo>
                    <a:lnTo>
                      <a:pt x="156" y="435"/>
                    </a:lnTo>
                    <a:lnTo>
                      <a:pt x="154" y="435"/>
                    </a:lnTo>
                    <a:lnTo>
                      <a:pt x="151" y="435"/>
                    </a:lnTo>
                    <a:lnTo>
                      <a:pt x="148" y="437"/>
                    </a:lnTo>
                    <a:lnTo>
                      <a:pt x="148" y="435"/>
                    </a:lnTo>
                    <a:lnTo>
                      <a:pt x="148" y="437"/>
                    </a:lnTo>
                    <a:lnTo>
                      <a:pt x="144" y="437"/>
                    </a:lnTo>
                    <a:lnTo>
                      <a:pt x="142" y="437"/>
                    </a:lnTo>
                    <a:lnTo>
                      <a:pt x="141" y="437"/>
                    </a:lnTo>
                    <a:lnTo>
                      <a:pt x="137" y="435"/>
                    </a:lnTo>
                    <a:lnTo>
                      <a:pt x="137" y="437"/>
                    </a:lnTo>
                    <a:lnTo>
                      <a:pt x="136" y="437"/>
                    </a:lnTo>
                    <a:lnTo>
                      <a:pt x="134" y="437"/>
                    </a:lnTo>
                    <a:lnTo>
                      <a:pt x="132" y="437"/>
                    </a:lnTo>
                    <a:lnTo>
                      <a:pt x="131" y="437"/>
                    </a:lnTo>
                    <a:lnTo>
                      <a:pt x="131" y="435"/>
                    </a:lnTo>
                    <a:lnTo>
                      <a:pt x="129" y="435"/>
                    </a:lnTo>
                    <a:lnTo>
                      <a:pt x="127" y="433"/>
                    </a:lnTo>
                    <a:lnTo>
                      <a:pt x="125" y="430"/>
                    </a:lnTo>
                    <a:lnTo>
                      <a:pt x="124" y="430"/>
                    </a:lnTo>
                    <a:lnTo>
                      <a:pt x="122" y="430"/>
                    </a:lnTo>
                    <a:lnTo>
                      <a:pt x="122" y="428"/>
                    </a:lnTo>
                    <a:lnTo>
                      <a:pt x="120" y="427"/>
                    </a:lnTo>
                    <a:lnTo>
                      <a:pt x="119" y="427"/>
                    </a:lnTo>
                    <a:lnTo>
                      <a:pt x="117" y="425"/>
                    </a:lnTo>
                    <a:lnTo>
                      <a:pt x="115" y="425"/>
                    </a:lnTo>
                    <a:lnTo>
                      <a:pt x="115" y="427"/>
                    </a:lnTo>
                    <a:lnTo>
                      <a:pt x="115" y="428"/>
                    </a:lnTo>
                    <a:lnTo>
                      <a:pt x="115" y="430"/>
                    </a:lnTo>
                    <a:lnTo>
                      <a:pt x="114" y="430"/>
                    </a:lnTo>
                    <a:lnTo>
                      <a:pt x="115" y="430"/>
                    </a:lnTo>
                    <a:lnTo>
                      <a:pt x="114" y="430"/>
                    </a:lnTo>
                    <a:lnTo>
                      <a:pt x="114" y="432"/>
                    </a:lnTo>
                    <a:lnTo>
                      <a:pt x="114" y="433"/>
                    </a:lnTo>
                    <a:lnTo>
                      <a:pt x="114" y="435"/>
                    </a:lnTo>
                    <a:lnTo>
                      <a:pt x="114" y="437"/>
                    </a:lnTo>
                    <a:lnTo>
                      <a:pt x="112" y="437"/>
                    </a:lnTo>
                    <a:lnTo>
                      <a:pt x="108" y="438"/>
                    </a:lnTo>
                    <a:lnTo>
                      <a:pt x="102" y="440"/>
                    </a:lnTo>
                    <a:lnTo>
                      <a:pt x="100" y="440"/>
                    </a:lnTo>
                    <a:lnTo>
                      <a:pt x="98" y="442"/>
                    </a:lnTo>
                    <a:lnTo>
                      <a:pt x="98" y="444"/>
                    </a:lnTo>
                    <a:lnTo>
                      <a:pt x="98" y="445"/>
                    </a:lnTo>
                    <a:lnTo>
                      <a:pt x="97" y="445"/>
                    </a:lnTo>
                    <a:lnTo>
                      <a:pt x="97" y="447"/>
                    </a:lnTo>
                    <a:lnTo>
                      <a:pt x="97" y="449"/>
                    </a:lnTo>
                    <a:lnTo>
                      <a:pt x="93" y="450"/>
                    </a:lnTo>
                    <a:lnTo>
                      <a:pt x="91" y="450"/>
                    </a:lnTo>
                    <a:lnTo>
                      <a:pt x="90" y="452"/>
                    </a:lnTo>
                    <a:lnTo>
                      <a:pt x="88" y="452"/>
                    </a:lnTo>
                    <a:lnTo>
                      <a:pt x="88" y="454"/>
                    </a:lnTo>
                    <a:lnTo>
                      <a:pt x="88" y="456"/>
                    </a:lnTo>
                    <a:lnTo>
                      <a:pt x="90" y="456"/>
                    </a:lnTo>
                    <a:lnTo>
                      <a:pt x="90" y="457"/>
                    </a:lnTo>
                    <a:lnTo>
                      <a:pt x="85" y="459"/>
                    </a:lnTo>
                    <a:lnTo>
                      <a:pt x="83" y="462"/>
                    </a:lnTo>
                    <a:lnTo>
                      <a:pt x="73" y="466"/>
                    </a:lnTo>
                    <a:lnTo>
                      <a:pt x="71" y="466"/>
                    </a:lnTo>
                    <a:lnTo>
                      <a:pt x="63" y="464"/>
                    </a:lnTo>
                    <a:lnTo>
                      <a:pt x="61" y="464"/>
                    </a:lnTo>
                    <a:lnTo>
                      <a:pt x="59" y="464"/>
                    </a:lnTo>
                    <a:lnTo>
                      <a:pt x="59" y="462"/>
                    </a:lnTo>
                    <a:lnTo>
                      <a:pt x="61" y="461"/>
                    </a:lnTo>
                    <a:lnTo>
                      <a:pt x="59" y="461"/>
                    </a:lnTo>
                    <a:lnTo>
                      <a:pt x="61" y="461"/>
                    </a:lnTo>
                    <a:lnTo>
                      <a:pt x="59" y="459"/>
                    </a:lnTo>
                    <a:lnTo>
                      <a:pt x="61" y="457"/>
                    </a:lnTo>
                    <a:lnTo>
                      <a:pt x="59" y="457"/>
                    </a:lnTo>
                    <a:lnTo>
                      <a:pt x="59" y="456"/>
                    </a:lnTo>
                    <a:lnTo>
                      <a:pt x="61" y="456"/>
                    </a:lnTo>
                    <a:lnTo>
                      <a:pt x="61" y="454"/>
                    </a:lnTo>
                    <a:lnTo>
                      <a:pt x="61" y="452"/>
                    </a:lnTo>
                    <a:lnTo>
                      <a:pt x="59" y="452"/>
                    </a:lnTo>
                    <a:lnTo>
                      <a:pt x="59" y="450"/>
                    </a:lnTo>
                    <a:lnTo>
                      <a:pt x="59" y="449"/>
                    </a:lnTo>
                    <a:lnTo>
                      <a:pt x="59" y="447"/>
                    </a:lnTo>
                    <a:lnTo>
                      <a:pt x="57" y="447"/>
                    </a:lnTo>
                    <a:lnTo>
                      <a:pt x="57" y="445"/>
                    </a:lnTo>
                    <a:lnTo>
                      <a:pt x="57" y="444"/>
                    </a:lnTo>
                    <a:lnTo>
                      <a:pt x="59" y="442"/>
                    </a:lnTo>
                    <a:lnTo>
                      <a:pt x="57" y="442"/>
                    </a:lnTo>
                    <a:lnTo>
                      <a:pt x="59" y="440"/>
                    </a:lnTo>
                    <a:lnTo>
                      <a:pt x="57" y="440"/>
                    </a:lnTo>
                    <a:lnTo>
                      <a:pt x="57" y="438"/>
                    </a:lnTo>
                    <a:lnTo>
                      <a:pt x="57" y="437"/>
                    </a:lnTo>
                    <a:lnTo>
                      <a:pt x="57" y="435"/>
                    </a:lnTo>
                    <a:lnTo>
                      <a:pt x="56" y="435"/>
                    </a:lnTo>
                    <a:lnTo>
                      <a:pt x="56" y="433"/>
                    </a:lnTo>
                    <a:lnTo>
                      <a:pt x="54" y="433"/>
                    </a:lnTo>
                    <a:lnTo>
                      <a:pt x="54" y="432"/>
                    </a:lnTo>
                    <a:lnTo>
                      <a:pt x="54" y="427"/>
                    </a:lnTo>
                    <a:lnTo>
                      <a:pt x="54" y="425"/>
                    </a:lnTo>
                    <a:lnTo>
                      <a:pt x="52" y="423"/>
                    </a:lnTo>
                    <a:lnTo>
                      <a:pt x="52" y="421"/>
                    </a:lnTo>
                    <a:lnTo>
                      <a:pt x="51" y="420"/>
                    </a:lnTo>
                    <a:lnTo>
                      <a:pt x="49" y="418"/>
                    </a:lnTo>
                    <a:lnTo>
                      <a:pt x="49" y="416"/>
                    </a:lnTo>
                    <a:lnTo>
                      <a:pt x="49" y="415"/>
                    </a:lnTo>
                    <a:lnTo>
                      <a:pt x="49" y="413"/>
                    </a:lnTo>
                    <a:lnTo>
                      <a:pt x="49" y="410"/>
                    </a:lnTo>
                    <a:lnTo>
                      <a:pt x="49" y="408"/>
                    </a:lnTo>
                    <a:lnTo>
                      <a:pt x="49" y="406"/>
                    </a:lnTo>
                    <a:lnTo>
                      <a:pt x="46" y="401"/>
                    </a:lnTo>
                    <a:lnTo>
                      <a:pt x="46" y="399"/>
                    </a:lnTo>
                    <a:lnTo>
                      <a:pt x="46" y="398"/>
                    </a:lnTo>
                    <a:lnTo>
                      <a:pt x="44" y="398"/>
                    </a:lnTo>
                    <a:lnTo>
                      <a:pt x="44" y="396"/>
                    </a:lnTo>
                    <a:lnTo>
                      <a:pt x="42" y="396"/>
                    </a:lnTo>
                    <a:lnTo>
                      <a:pt x="42" y="394"/>
                    </a:lnTo>
                    <a:lnTo>
                      <a:pt x="40" y="394"/>
                    </a:lnTo>
                    <a:lnTo>
                      <a:pt x="39" y="394"/>
                    </a:lnTo>
                    <a:lnTo>
                      <a:pt x="37" y="393"/>
                    </a:lnTo>
                    <a:lnTo>
                      <a:pt x="37" y="391"/>
                    </a:lnTo>
                    <a:lnTo>
                      <a:pt x="37" y="389"/>
                    </a:lnTo>
                    <a:lnTo>
                      <a:pt x="37" y="387"/>
                    </a:lnTo>
                    <a:lnTo>
                      <a:pt x="37" y="386"/>
                    </a:lnTo>
                    <a:lnTo>
                      <a:pt x="39" y="386"/>
                    </a:lnTo>
                    <a:lnTo>
                      <a:pt x="39" y="384"/>
                    </a:lnTo>
                    <a:lnTo>
                      <a:pt x="40" y="384"/>
                    </a:lnTo>
                    <a:lnTo>
                      <a:pt x="40" y="382"/>
                    </a:lnTo>
                    <a:lnTo>
                      <a:pt x="39" y="382"/>
                    </a:lnTo>
                    <a:lnTo>
                      <a:pt x="39" y="381"/>
                    </a:lnTo>
                    <a:lnTo>
                      <a:pt x="37" y="381"/>
                    </a:lnTo>
                    <a:lnTo>
                      <a:pt x="35" y="381"/>
                    </a:lnTo>
                    <a:lnTo>
                      <a:pt x="35" y="379"/>
                    </a:lnTo>
                    <a:lnTo>
                      <a:pt x="34" y="379"/>
                    </a:lnTo>
                    <a:lnTo>
                      <a:pt x="32" y="379"/>
                    </a:lnTo>
                    <a:lnTo>
                      <a:pt x="32" y="377"/>
                    </a:lnTo>
                    <a:lnTo>
                      <a:pt x="30" y="377"/>
                    </a:lnTo>
                    <a:lnTo>
                      <a:pt x="30" y="376"/>
                    </a:lnTo>
                    <a:lnTo>
                      <a:pt x="30" y="374"/>
                    </a:lnTo>
                    <a:lnTo>
                      <a:pt x="32" y="374"/>
                    </a:lnTo>
                    <a:lnTo>
                      <a:pt x="34" y="374"/>
                    </a:lnTo>
                    <a:lnTo>
                      <a:pt x="34" y="372"/>
                    </a:lnTo>
                    <a:lnTo>
                      <a:pt x="34" y="370"/>
                    </a:lnTo>
                    <a:lnTo>
                      <a:pt x="32" y="370"/>
                    </a:lnTo>
                    <a:lnTo>
                      <a:pt x="32" y="369"/>
                    </a:lnTo>
                    <a:lnTo>
                      <a:pt x="32" y="367"/>
                    </a:lnTo>
                    <a:lnTo>
                      <a:pt x="32" y="365"/>
                    </a:lnTo>
                    <a:lnTo>
                      <a:pt x="30" y="365"/>
                    </a:lnTo>
                    <a:lnTo>
                      <a:pt x="30" y="364"/>
                    </a:lnTo>
                    <a:lnTo>
                      <a:pt x="32" y="364"/>
                    </a:lnTo>
                    <a:lnTo>
                      <a:pt x="34" y="362"/>
                    </a:lnTo>
                    <a:lnTo>
                      <a:pt x="35" y="362"/>
                    </a:lnTo>
                    <a:lnTo>
                      <a:pt x="37" y="362"/>
                    </a:lnTo>
                    <a:lnTo>
                      <a:pt x="37" y="360"/>
                    </a:lnTo>
                    <a:lnTo>
                      <a:pt x="37" y="359"/>
                    </a:lnTo>
                    <a:lnTo>
                      <a:pt x="39" y="359"/>
                    </a:lnTo>
                    <a:lnTo>
                      <a:pt x="39" y="357"/>
                    </a:lnTo>
                    <a:lnTo>
                      <a:pt x="37" y="357"/>
                    </a:lnTo>
                    <a:lnTo>
                      <a:pt x="37" y="355"/>
                    </a:lnTo>
                    <a:lnTo>
                      <a:pt x="39" y="355"/>
                    </a:lnTo>
                    <a:lnTo>
                      <a:pt x="37" y="355"/>
                    </a:lnTo>
                    <a:lnTo>
                      <a:pt x="35" y="355"/>
                    </a:lnTo>
                    <a:lnTo>
                      <a:pt x="35" y="353"/>
                    </a:lnTo>
                    <a:lnTo>
                      <a:pt x="34" y="352"/>
                    </a:lnTo>
                    <a:lnTo>
                      <a:pt x="32" y="352"/>
                    </a:lnTo>
                    <a:lnTo>
                      <a:pt x="32" y="350"/>
                    </a:lnTo>
                    <a:lnTo>
                      <a:pt x="34" y="350"/>
                    </a:lnTo>
                    <a:lnTo>
                      <a:pt x="35" y="350"/>
                    </a:lnTo>
                    <a:lnTo>
                      <a:pt x="35" y="348"/>
                    </a:lnTo>
                    <a:lnTo>
                      <a:pt x="35" y="347"/>
                    </a:lnTo>
                    <a:lnTo>
                      <a:pt x="37" y="347"/>
                    </a:lnTo>
                    <a:lnTo>
                      <a:pt x="37" y="345"/>
                    </a:lnTo>
                    <a:lnTo>
                      <a:pt x="39" y="345"/>
                    </a:lnTo>
                    <a:lnTo>
                      <a:pt x="39" y="343"/>
                    </a:lnTo>
                    <a:lnTo>
                      <a:pt x="40" y="342"/>
                    </a:lnTo>
                    <a:lnTo>
                      <a:pt x="40" y="340"/>
                    </a:lnTo>
                    <a:lnTo>
                      <a:pt x="40" y="338"/>
                    </a:lnTo>
                    <a:lnTo>
                      <a:pt x="39" y="338"/>
                    </a:lnTo>
                    <a:lnTo>
                      <a:pt x="39" y="336"/>
                    </a:lnTo>
                    <a:lnTo>
                      <a:pt x="37" y="335"/>
                    </a:lnTo>
                    <a:lnTo>
                      <a:pt x="35" y="335"/>
                    </a:lnTo>
                    <a:lnTo>
                      <a:pt x="35" y="333"/>
                    </a:lnTo>
                    <a:lnTo>
                      <a:pt x="34" y="333"/>
                    </a:lnTo>
                    <a:lnTo>
                      <a:pt x="34" y="331"/>
                    </a:lnTo>
                    <a:lnTo>
                      <a:pt x="32" y="331"/>
                    </a:lnTo>
                    <a:lnTo>
                      <a:pt x="32" y="330"/>
                    </a:lnTo>
                    <a:lnTo>
                      <a:pt x="30" y="330"/>
                    </a:lnTo>
                    <a:lnTo>
                      <a:pt x="30" y="328"/>
                    </a:lnTo>
                    <a:lnTo>
                      <a:pt x="29" y="328"/>
                    </a:lnTo>
                    <a:lnTo>
                      <a:pt x="27" y="326"/>
                    </a:lnTo>
                    <a:lnTo>
                      <a:pt x="25" y="326"/>
                    </a:lnTo>
                    <a:lnTo>
                      <a:pt x="25" y="325"/>
                    </a:lnTo>
                    <a:lnTo>
                      <a:pt x="25" y="323"/>
                    </a:lnTo>
                    <a:lnTo>
                      <a:pt x="23" y="323"/>
                    </a:lnTo>
                    <a:lnTo>
                      <a:pt x="23" y="321"/>
                    </a:lnTo>
                    <a:lnTo>
                      <a:pt x="25" y="321"/>
                    </a:lnTo>
                    <a:lnTo>
                      <a:pt x="25" y="319"/>
                    </a:lnTo>
                    <a:lnTo>
                      <a:pt x="23" y="318"/>
                    </a:lnTo>
                    <a:lnTo>
                      <a:pt x="23" y="316"/>
                    </a:lnTo>
                    <a:lnTo>
                      <a:pt x="23" y="314"/>
                    </a:lnTo>
                    <a:lnTo>
                      <a:pt x="22" y="314"/>
                    </a:lnTo>
                    <a:lnTo>
                      <a:pt x="22" y="313"/>
                    </a:lnTo>
                    <a:lnTo>
                      <a:pt x="22" y="311"/>
                    </a:lnTo>
                    <a:lnTo>
                      <a:pt x="20" y="311"/>
                    </a:lnTo>
                    <a:lnTo>
                      <a:pt x="22" y="311"/>
                    </a:lnTo>
                    <a:lnTo>
                      <a:pt x="22" y="309"/>
                    </a:lnTo>
                    <a:lnTo>
                      <a:pt x="22" y="308"/>
                    </a:lnTo>
                    <a:lnTo>
                      <a:pt x="22" y="306"/>
                    </a:lnTo>
                    <a:lnTo>
                      <a:pt x="22" y="304"/>
                    </a:lnTo>
                    <a:lnTo>
                      <a:pt x="20" y="304"/>
                    </a:lnTo>
                    <a:lnTo>
                      <a:pt x="20" y="302"/>
                    </a:lnTo>
                    <a:lnTo>
                      <a:pt x="20" y="301"/>
                    </a:lnTo>
                    <a:lnTo>
                      <a:pt x="20" y="299"/>
                    </a:lnTo>
                    <a:lnTo>
                      <a:pt x="20" y="297"/>
                    </a:lnTo>
                    <a:lnTo>
                      <a:pt x="18" y="297"/>
                    </a:lnTo>
                    <a:lnTo>
                      <a:pt x="18" y="296"/>
                    </a:lnTo>
                    <a:lnTo>
                      <a:pt x="17" y="296"/>
                    </a:lnTo>
                    <a:lnTo>
                      <a:pt x="17" y="294"/>
                    </a:lnTo>
                    <a:lnTo>
                      <a:pt x="18" y="294"/>
                    </a:lnTo>
                    <a:lnTo>
                      <a:pt x="18" y="292"/>
                    </a:lnTo>
                    <a:lnTo>
                      <a:pt x="20" y="292"/>
                    </a:lnTo>
                    <a:lnTo>
                      <a:pt x="18" y="292"/>
                    </a:lnTo>
                    <a:lnTo>
                      <a:pt x="20" y="292"/>
                    </a:lnTo>
                    <a:lnTo>
                      <a:pt x="20" y="290"/>
                    </a:lnTo>
                    <a:lnTo>
                      <a:pt x="18" y="290"/>
                    </a:lnTo>
                    <a:lnTo>
                      <a:pt x="18" y="289"/>
                    </a:lnTo>
                    <a:lnTo>
                      <a:pt x="17" y="289"/>
                    </a:lnTo>
                    <a:lnTo>
                      <a:pt x="15" y="289"/>
                    </a:lnTo>
                    <a:lnTo>
                      <a:pt x="13" y="289"/>
                    </a:lnTo>
                    <a:lnTo>
                      <a:pt x="13" y="287"/>
                    </a:lnTo>
                    <a:lnTo>
                      <a:pt x="12" y="287"/>
                    </a:lnTo>
                    <a:lnTo>
                      <a:pt x="12" y="285"/>
                    </a:lnTo>
                    <a:lnTo>
                      <a:pt x="12" y="284"/>
                    </a:lnTo>
                    <a:lnTo>
                      <a:pt x="12" y="282"/>
                    </a:lnTo>
                    <a:lnTo>
                      <a:pt x="12" y="280"/>
                    </a:lnTo>
                    <a:lnTo>
                      <a:pt x="10" y="280"/>
                    </a:lnTo>
                    <a:lnTo>
                      <a:pt x="10" y="279"/>
                    </a:lnTo>
                    <a:lnTo>
                      <a:pt x="8" y="277"/>
                    </a:lnTo>
                    <a:lnTo>
                      <a:pt x="6" y="275"/>
                    </a:lnTo>
                    <a:lnTo>
                      <a:pt x="6" y="272"/>
                    </a:lnTo>
                    <a:lnTo>
                      <a:pt x="6" y="270"/>
                    </a:lnTo>
                    <a:lnTo>
                      <a:pt x="6" y="268"/>
                    </a:lnTo>
                    <a:lnTo>
                      <a:pt x="6" y="267"/>
                    </a:lnTo>
                    <a:lnTo>
                      <a:pt x="5" y="267"/>
                    </a:lnTo>
                    <a:lnTo>
                      <a:pt x="3" y="263"/>
                    </a:lnTo>
                    <a:lnTo>
                      <a:pt x="1" y="263"/>
                    </a:lnTo>
                    <a:lnTo>
                      <a:pt x="0" y="263"/>
                    </a:lnTo>
                    <a:lnTo>
                      <a:pt x="1" y="263"/>
                    </a:lnTo>
                    <a:lnTo>
                      <a:pt x="1" y="262"/>
                    </a:lnTo>
                    <a:lnTo>
                      <a:pt x="3" y="262"/>
                    </a:lnTo>
                    <a:lnTo>
                      <a:pt x="3" y="260"/>
                    </a:lnTo>
                    <a:lnTo>
                      <a:pt x="5" y="260"/>
                    </a:lnTo>
                    <a:lnTo>
                      <a:pt x="5" y="258"/>
                    </a:lnTo>
                    <a:lnTo>
                      <a:pt x="6" y="256"/>
                    </a:lnTo>
                    <a:lnTo>
                      <a:pt x="6" y="258"/>
                    </a:lnTo>
                    <a:lnTo>
                      <a:pt x="8" y="258"/>
                    </a:lnTo>
                    <a:lnTo>
                      <a:pt x="8" y="256"/>
                    </a:lnTo>
                    <a:lnTo>
                      <a:pt x="10" y="256"/>
                    </a:lnTo>
                    <a:lnTo>
                      <a:pt x="10" y="255"/>
                    </a:lnTo>
                    <a:lnTo>
                      <a:pt x="8" y="255"/>
                    </a:lnTo>
                    <a:lnTo>
                      <a:pt x="10" y="253"/>
                    </a:lnTo>
                    <a:lnTo>
                      <a:pt x="12" y="253"/>
                    </a:lnTo>
                    <a:lnTo>
                      <a:pt x="12" y="251"/>
                    </a:lnTo>
                    <a:lnTo>
                      <a:pt x="12" y="250"/>
                    </a:lnTo>
                    <a:lnTo>
                      <a:pt x="13" y="250"/>
                    </a:lnTo>
                    <a:lnTo>
                      <a:pt x="13" y="248"/>
                    </a:lnTo>
                    <a:lnTo>
                      <a:pt x="15" y="248"/>
                    </a:lnTo>
                    <a:lnTo>
                      <a:pt x="15" y="246"/>
                    </a:lnTo>
                    <a:lnTo>
                      <a:pt x="17" y="246"/>
                    </a:lnTo>
                    <a:lnTo>
                      <a:pt x="17" y="245"/>
                    </a:lnTo>
                    <a:lnTo>
                      <a:pt x="18" y="243"/>
                    </a:lnTo>
                    <a:lnTo>
                      <a:pt x="20" y="243"/>
                    </a:lnTo>
                    <a:lnTo>
                      <a:pt x="22" y="243"/>
                    </a:lnTo>
                    <a:lnTo>
                      <a:pt x="22" y="241"/>
                    </a:lnTo>
                    <a:lnTo>
                      <a:pt x="22" y="239"/>
                    </a:lnTo>
                    <a:lnTo>
                      <a:pt x="20" y="239"/>
                    </a:lnTo>
                    <a:lnTo>
                      <a:pt x="20" y="238"/>
                    </a:lnTo>
                    <a:lnTo>
                      <a:pt x="22" y="236"/>
                    </a:lnTo>
                    <a:lnTo>
                      <a:pt x="22" y="234"/>
                    </a:lnTo>
                    <a:lnTo>
                      <a:pt x="23" y="234"/>
                    </a:lnTo>
                    <a:lnTo>
                      <a:pt x="29" y="231"/>
                    </a:lnTo>
                    <a:lnTo>
                      <a:pt x="29" y="229"/>
                    </a:lnTo>
                    <a:lnTo>
                      <a:pt x="27" y="228"/>
                    </a:lnTo>
                    <a:lnTo>
                      <a:pt x="25" y="228"/>
                    </a:lnTo>
                    <a:lnTo>
                      <a:pt x="23" y="226"/>
                    </a:lnTo>
                    <a:lnTo>
                      <a:pt x="22" y="226"/>
                    </a:lnTo>
                    <a:lnTo>
                      <a:pt x="20" y="226"/>
                    </a:lnTo>
                    <a:lnTo>
                      <a:pt x="18" y="226"/>
                    </a:lnTo>
                    <a:lnTo>
                      <a:pt x="15" y="224"/>
                    </a:lnTo>
                    <a:lnTo>
                      <a:pt x="13" y="224"/>
                    </a:lnTo>
                    <a:lnTo>
                      <a:pt x="12" y="219"/>
                    </a:lnTo>
                    <a:lnTo>
                      <a:pt x="12" y="214"/>
                    </a:lnTo>
                    <a:lnTo>
                      <a:pt x="10" y="211"/>
                    </a:lnTo>
                    <a:lnTo>
                      <a:pt x="10" y="209"/>
                    </a:lnTo>
                    <a:lnTo>
                      <a:pt x="8" y="205"/>
                    </a:lnTo>
                    <a:lnTo>
                      <a:pt x="12" y="202"/>
                    </a:lnTo>
                    <a:lnTo>
                      <a:pt x="12" y="200"/>
                    </a:lnTo>
                    <a:lnTo>
                      <a:pt x="12" y="199"/>
                    </a:lnTo>
                    <a:lnTo>
                      <a:pt x="13" y="200"/>
                    </a:lnTo>
                    <a:lnTo>
                      <a:pt x="13" y="199"/>
                    </a:lnTo>
                    <a:lnTo>
                      <a:pt x="15" y="199"/>
                    </a:lnTo>
                    <a:lnTo>
                      <a:pt x="13" y="199"/>
                    </a:lnTo>
                    <a:lnTo>
                      <a:pt x="13" y="197"/>
                    </a:lnTo>
                    <a:lnTo>
                      <a:pt x="15" y="195"/>
                    </a:lnTo>
                    <a:lnTo>
                      <a:pt x="15" y="194"/>
                    </a:lnTo>
                    <a:lnTo>
                      <a:pt x="17" y="194"/>
                    </a:lnTo>
                    <a:lnTo>
                      <a:pt x="17" y="192"/>
                    </a:lnTo>
                    <a:lnTo>
                      <a:pt x="17" y="194"/>
                    </a:lnTo>
                    <a:lnTo>
                      <a:pt x="17" y="192"/>
                    </a:lnTo>
                    <a:lnTo>
                      <a:pt x="18" y="192"/>
                    </a:lnTo>
                    <a:lnTo>
                      <a:pt x="17" y="192"/>
                    </a:lnTo>
                    <a:lnTo>
                      <a:pt x="17" y="190"/>
                    </a:lnTo>
                    <a:lnTo>
                      <a:pt x="15" y="188"/>
                    </a:lnTo>
                    <a:lnTo>
                      <a:pt x="13" y="187"/>
                    </a:lnTo>
                    <a:lnTo>
                      <a:pt x="13" y="188"/>
                    </a:lnTo>
                    <a:lnTo>
                      <a:pt x="13" y="187"/>
                    </a:lnTo>
                    <a:lnTo>
                      <a:pt x="12" y="187"/>
                    </a:lnTo>
                    <a:lnTo>
                      <a:pt x="12" y="185"/>
                    </a:lnTo>
                    <a:lnTo>
                      <a:pt x="12" y="183"/>
                    </a:lnTo>
                    <a:lnTo>
                      <a:pt x="10" y="183"/>
                    </a:lnTo>
                    <a:lnTo>
                      <a:pt x="10" y="182"/>
                    </a:lnTo>
                    <a:lnTo>
                      <a:pt x="10" y="180"/>
                    </a:lnTo>
                    <a:lnTo>
                      <a:pt x="10" y="178"/>
                    </a:lnTo>
                    <a:lnTo>
                      <a:pt x="10" y="177"/>
                    </a:lnTo>
                    <a:lnTo>
                      <a:pt x="12" y="177"/>
                    </a:lnTo>
                    <a:lnTo>
                      <a:pt x="12" y="175"/>
                    </a:lnTo>
                    <a:lnTo>
                      <a:pt x="13" y="175"/>
                    </a:lnTo>
                    <a:lnTo>
                      <a:pt x="15" y="175"/>
                    </a:lnTo>
                    <a:lnTo>
                      <a:pt x="13" y="173"/>
                    </a:lnTo>
                    <a:lnTo>
                      <a:pt x="13" y="171"/>
                    </a:lnTo>
                    <a:lnTo>
                      <a:pt x="15" y="171"/>
                    </a:lnTo>
                    <a:lnTo>
                      <a:pt x="15" y="170"/>
                    </a:lnTo>
                    <a:lnTo>
                      <a:pt x="15" y="168"/>
                    </a:lnTo>
                    <a:lnTo>
                      <a:pt x="17" y="170"/>
                    </a:lnTo>
                    <a:lnTo>
                      <a:pt x="17" y="168"/>
                    </a:lnTo>
                    <a:lnTo>
                      <a:pt x="17" y="166"/>
                    </a:lnTo>
                    <a:lnTo>
                      <a:pt x="18" y="166"/>
                    </a:lnTo>
                    <a:lnTo>
                      <a:pt x="18" y="165"/>
                    </a:lnTo>
                    <a:lnTo>
                      <a:pt x="20" y="165"/>
                    </a:lnTo>
                    <a:lnTo>
                      <a:pt x="20" y="163"/>
                    </a:lnTo>
                    <a:lnTo>
                      <a:pt x="22" y="163"/>
                    </a:lnTo>
                    <a:lnTo>
                      <a:pt x="22" y="161"/>
                    </a:lnTo>
                    <a:lnTo>
                      <a:pt x="22" y="160"/>
                    </a:lnTo>
                    <a:lnTo>
                      <a:pt x="22" y="158"/>
                    </a:lnTo>
                    <a:lnTo>
                      <a:pt x="22" y="156"/>
                    </a:lnTo>
                    <a:lnTo>
                      <a:pt x="23" y="156"/>
                    </a:lnTo>
                    <a:lnTo>
                      <a:pt x="25" y="156"/>
                    </a:lnTo>
                    <a:lnTo>
                      <a:pt x="27" y="156"/>
                    </a:lnTo>
                    <a:lnTo>
                      <a:pt x="29" y="156"/>
                    </a:lnTo>
                    <a:lnTo>
                      <a:pt x="27" y="156"/>
                    </a:lnTo>
                    <a:lnTo>
                      <a:pt x="27" y="154"/>
                    </a:lnTo>
                    <a:lnTo>
                      <a:pt x="27" y="153"/>
                    </a:lnTo>
                    <a:lnTo>
                      <a:pt x="27" y="151"/>
                    </a:lnTo>
                    <a:lnTo>
                      <a:pt x="25" y="151"/>
                    </a:lnTo>
                    <a:lnTo>
                      <a:pt x="25" y="149"/>
                    </a:lnTo>
                    <a:lnTo>
                      <a:pt x="23" y="149"/>
                    </a:lnTo>
                    <a:lnTo>
                      <a:pt x="23" y="148"/>
                    </a:lnTo>
                    <a:lnTo>
                      <a:pt x="23" y="146"/>
                    </a:lnTo>
                    <a:lnTo>
                      <a:pt x="22" y="146"/>
                    </a:lnTo>
                    <a:lnTo>
                      <a:pt x="23" y="144"/>
                    </a:lnTo>
                    <a:lnTo>
                      <a:pt x="22" y="144"/>
                    </a:lnTo>
                    <a:lnTo>
                      <a:pt x="22" y="143"/>
                    </a:lnTo>
                    <a:lnTo>
                      <a:pt x="22" y="141"/>
                    </a:lnTo>
                    <a:lnTo>
                      <a:pt x="22" y="139"/>
                    </a:lnTo>
                    <a:lnTo>
                      <a:pt x="20" y="139"/>
                    </a:lnTo>
                    <a:lnTo>
                      <a:pt x="20" y="137"/>
                    </a:lnTo>
                    <a:lnTo>
                      <a:pt x="20" y="136"/>
                    </a:lnTo>
                    <a:lnTo>
                      <a:pt x="22" y="136"/>
                    </a:lnTo>
                    <a:lnTo>
                      <a:pt x="23" y="136"/>
                    </a:lnTo>
                    <a:lnTo>
                      <a:pt x="23" y="134"/>
                    </a:lnTo>
                    <a:lnTo>
                      <a:pt x="23" y="132"/>
                    </a:lnTo>
                    <a:lnTo>
                      <a:pt x="25" y="132"/>
                    </a:lnTo>
                    <a:lnTo>
                      <a:pt x="25" y="131"/>
                    </a:lnTo>
                    <a:lnTo>
                      <a:pt x="25" y="129"/>
                    </a:lnTo>
                    <a:lnTo>
                      <a:pt x="25" y="127"/>
                    </a:lnTo>
                    <a:lnTo>
                      <a:pt x="27" y="125"/>
                    </a:lnTo>
                    <a:lnTo>
                      <a:pt x="25" y="125"/>
                    </a:lnTo>
                    <a:lnTo>
                      <a:pt x="27" y="125"/>
                    </a:lnTo>
                    <a:lnTo>
                      <a:pt x="27" y="124"/>
                    </a:lnTo>
                    <a:lnTo>
                      <a:pt x="27" y="122"/>
                    </a:lnTo>
                    <a:lnTo>
                      <a:pt x="27" y="120"/>
                    </a:lnTo>
                    <a:lnTo>
                      <a:pt x="27" y="119"/>
                    </a:lnTo>
                    <a:lnTo>
                      <a:pt x="27" y="117"/>
                    </a:lnTo>
                    <a:lnTo>
                      <a:pt x="27" y="115"/>
                    </a:lnTo>
                    <a:lnTo>
                      <a:pt x="27" y="114"/>
                    </a:lnTo>
                    <a:lnTo>
                      <a:pt x="27" y="112"/>
                    </a:lnTo>
                    <a:lnTo>
                      <a:pt x="27" y="114"/>
                    </a:lnTo>
                    <a:lnTo>
                      <a:pt x="25" y="112"/>
                    </a:lnTo>
                    <a:lnTo>
                      <a:pt x="27" y="112"/>
                    </a:lnTo>
                    <a:lnTo>
                      <a:pt x="27" y="110"/>
                    </a:lnTo>
                    <a:lnTo>
                      <a:pt x="27" y="108"/>
                    </a:lnTo>
                    <a:lnTo>
                      <a:pt x="29" y="108"/>
                    </a:lnTo>
                    <a:lnTo>
                      <a:pt x="27" y="107"/>
                    </a:lnTo>
                    <a:lnTo>
                      <a:pt x="29" y="107"/>
                    </a:lnTo>
                    <a:lnTo>
                      <a:pt x="29" y="105"/>
                    </a:lnTo>
                    <a:lnTo>
                      <a:pt x="30" y="105"/>
                    </a:lnTo>
                    <a:lnTo>
                      <a:pt x="30" y="103"/>
                    </a:lnTo>
                    <a:lnTo>
                      <a:pt x="32" y="103"/>
                    </a:lnTo>
                    <a:lnTo>
                      <a:pt x="30" y="103"/>
                    </a:lnTo>
                    <a:lnTo>
                      <a:pt x="32" y="103"/>
                    </a:lnTo>
                    <a:lnTo>
                      <a:pt x="30" y="103"/>
                    </a:lnTo>
                    <a:lnTo>
                      <a:pt x="32" y="103"/>
                    </a:lnTo>
                    <a:lnTo>
                      <a:pt x="30" y="102"/>
                    </a:lnTo>
                    <a:lnTo>
                      <a:pt x="30" y="100"/>
                    </a:lnTo>
                    <a:lnTo>
                      <a:pt x="32" y="100"/>
                    </a:lnTo>
                    <a:lnTo>
                      <a:pt x="32" y="98"/>
                    </a:lnTo>
                    <a:lnTo>
                      <a:pt x="34" y="98"/>
                    </a:lnTo>
                    <a:lnTo>
                      <a:pt x="34" y="97"/>
                    </a:lnTo>
                    <a:lnTo>
                      <a:pt x="32" y="97"/>
                    </a:lnTo>
                    <a:lnTo>
                      <a:pt x="34" y="97"/>
                    </a:lnTo>
                    <a:lnTo>
                      <a:pt x="34" y="98"/>
                    </a:lnTo>
                    <a:lnTo>
                      <a:pt x="34" y="97"/>
                    </a:lnTo>
                    <a:lnTo>
                      <a:pt x="32" y="93"/>
                    </a:lnTo>
                    <a:lnTo>
                      <a:pt x="29" y="86"/>
                    </a:lnTo>
                    <a:lnTo>
                      <a:pt x="27" y="85"/>
                    </a:lnTo>
                    <a:lnTo>
                      <a:pt x="25" y="81"/>
                    </a:lnTo>
                    <a:lnTo>
                      <a:pt x="25" y="80"/>
                    </a:lnTo>
                    <a:lnTo>
                      <a:pt x="23" y="78"/>
                    </a:lnTo>
                    <a:lnTo>
                      <a:pt x="23" y="76"/>
                    </a:lnTo>
                    <a:lnTo>
                      <a:pt x="22" y="74"/>
                    </a:lnTo>
                    <a:lnTo>
                      <a:pt x="20" y="73"/>
                    </a:lnTo>
                    <a:lnTo>
                      <a:pt x="20" y="69"/>
                    </a:lnTo>
                    <a:lnTo>
                      <a:pt x="18" y="68"/>
                    </a:lnTo>
                    <a:lnTo>
                      <a:pt x="18" y="66"/>
                    </a:lnTo>
                    <a:lnTo>
                      <a:pt x="15" y="64"/>
                    </a:lnTo>
                    <a:lnTo>
                      <a:pt x="15" y="61"/>
                    </a:lnTo>
                    <a:lnTo>
                      <a:pt x="13" y="61"/>
                    </a:lnTo>
                    <a:lnTo>
                      <a:pt x="13" y="59"/>
                    </a:lnTo>
                    <a:lnTo>
                      <a:pt x="12" y="56"/>
                    </a:lnTo>
                    <a:lnTo>
                      <a:pt x="10" y="54"/>
                    </a:lnTo>
                    <a:lnTo>
                      <a:pt x="8" y="52"/>
                    </a:lnTo>
                    <a:lnTo>
                      <a:pt x="6" y="51"/>
                    </a:lnTo>
                    <a:lnTo>
                      <a:pt x="6" y="49"/>
                    </a:lnTo>
                    <a:lnTo>
                      <a:pt x="5" y="46"/>
                    </a:lnTo>
                    <a:lnTo>
                      <a:pt x="3" y="44"/>
                    </a:lnTo>
                    <a:lnTo>
                      <a:pt x="3" y="42"/>
                    </a:lnTo>
                    <a:lnTo>
                      <a:pt x="3" y="44"/>
                    </a:lnTo>
                    <a:lnTo>
                      <a:pt x="3" y="42"/>
                    </a:lnTo>
                    <a:lnTo>
                      <a:pt x="5" y="42"/>
                    </a:lnTo>
                    <a:lnTo>
                      <a:pt x="6" y="44"/>
                    </a:lnTo>
                    <a:lnTo>
                      <a:pt x="6" y="42"/>
                    </a:lnTo>
                    <a:lnTo>
                      <a:pt x="8" y="42"/>
                    </a:lnTo>
                    <a:lnTo>
                      <a:pt x="10" y="44"/>
                    </a:lnTo>
                    <a:lnTo>
                      <a:pt x="10" y="42"/>
                    </a:lnTo>
                    <a:lnTo>
                      <a:pt x="10" y="44"/>
                    </a:lnTo>
                    <a:lnTo>
                      <a:pt x="12" y="42"/>
                    </a:lnTo>
                    <a:lnTo>
                      <a:pt x="13" y="42"/>
                    </a:lnTo>
                    <a:lnTo>
                      <a:pt x="13" y="44"/>
                    </a:lnTo>
                    <a:lnTo>
                      <a:pt x="13" y="42"/>
                    </a:lnTo>
                    <a:lnTo>
                      <a:pt x="15" y="42"/>
                    </a:lnTo>
                    <a:lnTo>
                      <a:pt x="15" y="44"/>
                    </a:lnTo>
                    <a:lnTo>
                      <a:pt x="15" y="42"/>
                    </a:lnTo>
                    <a:lnTo>
                      <a:pt x="17" y="44"/>
                    </a:lnTo>
                    <a:lnTo>
                      <a:pt x="18" y="44"/>
                    </a:lnTo>
                    <a:lnTo>
                      <a:pt x="20" y="44"/>
                    </a:lnTo>
                    <a:lnTo>
                      <a:pt x="22" y="44"/>
                    </a:lnTo>
                    <a:lnTo>
                      <a:pt x="22" y="46"/>
                    </a:lnTo>
                    <a:lnTo>
                      <a:pt x="22" y="44"/>
                    </a:lnTo>
                    <a:lnTo>
                      <a:pt x="23" y="44"/>
                    </a:lnTo>
                    <a:lnTo>
                      <a:pt x="23" y="46"/>
                    </a:lnTo>
                    <a:lnTo>
                      <a:pt x="25" y="46"/>
                    </a:lnTo>
                    <a:lnTo>
                      <a:pt x="27" y="46"/>
                    </a:lnTo>
                    <a:lnTo>
                      <a:pt x="25" y="46"/>
                    </a:lnTo>
                    <a:lnTo>
                      <a:pt x="27" y="46"/>
                    </a:lnTo>
                    <a:lnTo>
                      <a:pt x="27" y="44"/>
                    </a:lnTo>
                    <a:lnTo>
                      <a:pt x="29" y="46"/>
                    </a:lnTo>
                    <a:lnTo>
                      <a:pt x="29" y="44"/>
                    </a:lnTo>
                    <a:lnTo>
                      <a:pt x="29" y="46"/>
                    </a:lnTo>
                    <a:lnTo>
                      <a:pt x="30" y="44"/>
                    </a:lnTo>
                    <a:lnTo>
                      <a:pt x="30" y="46"/>
                    </a:lnTo>
                    <a:lnTo>
                      <a:pt x="30" y="47"/>
                    </a:lnTo>
                    <a:lnTo>
                      <a:pt x="32" y="49"/>
                    </a:lnTo>
                    <a:lnTo>
                      <a:pt x="32" y="51"/>
                    </a:lnTo>
                    <a:lnTo>
                      <a:pt x="37" y="49"/>
                    </a:lnTo>
                    <a:lnTo>
                      <a:pt x="37" y="47"/>
                    </a:lnTo>
                    <a:lnTo>
                      <a:pt x="39" y="47"/>
                    </a:lnTo>
                    <a:lnTo>
                      <a:pt x="39" y="46"/>
                    </a:lnTo>
                    <a:lnTo>
                      <a:pt x="40" y="47"/>
                    </a:lnTo>
                    <a:lnTo>
                      <a:pt x="40" y="46"/>
                    </a:lnTo>
                    <a:lnTo>
                      <a:pt x="42" y="46"/>
                    </a:lnTo>
                    <a:lnTo>
                      <a:pt x="42" y="47"/>
                    </a:lnTo>
                    <a:lnTo>
                      <a:pt x="42" y="46"/>
                    </a:lnTo>
                    <a:lnTo>
                      <a:pt x="44" y="46"/>
                    </a:lnTo>
                    <a:lnTo>
                      <a:pt x="46" y="46"/>
                    </a:lnTo>
                    <a:lnTo>
                      <a:pt x="46" y="44"/>
                    </a:lnTo>
                    <a:lnTo>
                      <a:pt x="47" y="44"/>
                    </a:lnTo>
                    <a:lnTo>
                      <a:pt x="47" y="42"/>
                    </a:lnTo>
                    <a:lnTo>
                      <a:pt x="49" y="42"/>
                    </a:lnTo>
                    <a:lnTo>
                      <a:pt x="49" y="40"/>
                    </a:lnTo>
                    <a:lnTo>
                      <a:pt x="51" y="39"/>
                    </a:lnTo>
                    <a:lnTo>
                      <a:pt x="51" y="37"/>
                    </a:lnTo>
                    <a:lnTo>
                      <a:pt x="52" y="37"/>
                    </a:lnTo>
                    <a:lnTo>
                      <a:pt x="52" y="35"/>
                    </a:lnTo>
                    <a:lnTo>
                      <a:pt x="52" y="34"/>
                    </a:lnTo>
                    <a:lnTo>
                      <a:pt x="54" y="34"/>
                    </a:lnTo>
                    <a:lnTo>
                      <a:pt x="56" y="32"/>
                    </a:lnTo>
                    <a:lnTo>
                      <a:pt x="56" y="34"/>
                    </a:lnTo>
                    <a:lnTo>
                      <a:pt x="57" y="32"/>
                    </a:lnTo>
                    <a:lnTo>
                      <a:pt x="57" y="34"/>
                    </a:lnTo>
                    <a:lnTo>
                      <a:pt x="59" y="32"/>
                    </a:lnTo>
                    <a:lnTo>
                      <a:pt x="61" y="32"/>
                    </a:lnTo>
                    <a:lnTo>
                      <a:pt x="63" y="34"/>
                    </a:lnTo>
                    <a:lnTo>
                      <a:pt x="64" y="34"/>
                    </a:lnTo>
                    <a:lnTo>
                      <a:pt x="64" y="35"/>
                    </a:lnTo>
                    <a:lnTo>
                      <a:pt x="66" y="35"/>
                    </a:lnTo>
                    <a:lnTo>
                      <a:pt x="66" y="34"/>
                    </a:lnTo>
                    <a:lnTo>
                      <a:pt x="66" y="32"/>
                    </a:lnTo>
                    <a:lnTo>
                      <a:pt x="66" y="30"/>
                    </a:lnTo>
                    <a:lnTo>
                      <a:pt x="68" y="32"/>
                    </a:lnTo>
                    <a:lnTo>
                      <a:pt x="68" y="30"/>
                    </a:lnTo>
                    <a:lnTo>
                      <a:pt x="69" y="30"/>
                    </a:lnTo>
                    <a:lnTo>
                      <a:pt x="69" y="29"/>
                    </a:lnTo>
                    <a:lnTo>
                      <a:pt x="71" y="27"/>
                    </a:lnTo>
                    <a:lnTo>
                      <a:pt x="73" y="27"/>
                    </a:lnTo>
                    <a:lnTo>
                      <a:pt x="74" y="25"/>
                    </a:lnTo>
                    <a:lnTo>
                      <a:pt x="74" y="27"/>
                    </a:lnTo>
                    <a:lnTo>
                      <a:pt x="74" y="25"/>
                    </a:lnTo>
                    <a:lnTo>
                      <a:pt x="76" y="25"/>
                    </a:lnTo>
                    <a:lnTo>
                      <a:pt x="76" y="23"/>
                    </a:lnTo>
                    <a:lnTo>
                      <a:pt x="74" y="23"/>
                    </a:lnTo>
                    <a:lnTo>
                      <a:pt x="76" y="23"/>
                    </a:lnTo>
                    <a:lnTo>
                      <a:pt x="78" y="23"/>
                    </a:lnTo>
                    <a:lnTo>
                      <a:pt x="80" y="23"/>
                    </a:lnTo>
                    <a:lnTo>
                      <a:pt x="80" y="22"/>
                    </a:lnTo>
                    <a:lnTo>
                      <a:pt x="78" y="22"/>
                    </a:lnTo>
                    <a:lnTo>
                      <a:pt x="80" y="22"/>
                    </a:lnTo>
                    <a:lnTo>
                      <a:pt x="81" y="22"/>
                    </a:lnTo>
                    <a:lnTo>
                      <a:pt x="83" y="22"/>
                    </a:lnTo>
                    <a:lnTo>
                      <a:pt x="85" y="22"/>
                    </a:lnTo>
                    <a:lnTo>
                      <a:pt x="85" y="20"/>
                    </a:lnTo>
                    <a:lnTo>
                      <a:pt x="86" y="20"/>
                    </a:lnTo>
                    <a:lnTo>
                      <a:pt x="88" y="20"/>
                    </a:lnTo>
                    <a:lnTo>
                      <a:pt x="90" y="18"/>
                    </a:lnTo>
                    <a:lnTo>
                      <a:pt x="90" y="17"/>
                    </a:lnTo>
                    <a:lnTo>
                      <a:pt x="91" y="17"/>
                    </a:lnTo>
                    <a:lnTo>
                      <a:pt x="91" y="15"/>
                    </a:lnTo>
                    <a:lnTo>
                      <a:pt x="93" y="15"/>
                    </a:lnTo>
                    <a:lnTo>
                      <a:pt x="91" y="15"/>
                    </a:lnTo>
                    <a:lnTo>
                      <a:pt x="93" y="15"/>
                    </a:lnTo>
                    <a:lnTo>
                      <a:pt x="93" y="13"/>
                    </a:lnTo>
                    <a:lnTo>
                      <a:pt x="95" y="13"/>
                    </a:lnTo>
                    <a:lnTo>
                      <a:pt x="95" y="12"/>
                    </a:lnTo>
                    <a:lnTo>
                      <a:pt x="97" y="12"/>
                    </a:lnTo>
                    <a:lnTo>
                      <a:pt x="98" y="10"/>
                    </a:lnTo>
                    <a:lnTo>
                      <a:pt x="100" y="10"/>
                    </a:lnTo>
                    <a:lnTo>
                      <a:pt x="100" y="8"/>
                    </a:lnTo>
                    <a:lnTo>
                      <a:pt x="102" y="8"/>
                    </a:lnTo>
                    <a:lnTo>
                      <a:pt x="102" y="6"/>
                    </a:lnTo>
                    <a:lnTo>
                      <a:pt x="103" y="6"/>
                    </a:lnTo>
                    <a:lnTo>
                      <a:pt x="105" y="6"/>
                    </a:lnTo>
                    <a:lnTo>
                      <a:pt x="107" y="6"/>
                    </a:lnTo>
                    <a:lnTo>
                      <a:pt x="108" y="6"/>
                    </a:lnTo>
                    <a:lnTo>
                      <a:pt x="110" y="6"/>
                    </a:lnTo>
                    <a:lnTo>
                      <a:pt x="108" y="6"/>
                    </a:lnTo>
                    <a:lnTo>
                      <a:pt x="110" y="6"/>
                    </a:lnTo>
                    <a:lnTo>
                      <a:pt x="112" y="6"/>
                    </a:lnTo>
                    <a:lnTo>
                      <a:pt x="112" y="5"/>
                    </a:lnTo>
                    <a:lnTo>
                      <a:pt x="114" y="5"/>
                    </a:lnTo>
                    <a:lnTo>
                      <a:pt x="115" y="5"/>
                    </a:lnTo>
                    <a:lnTo>
                      <a:pt x="115" y="3"/>
                    </a:lnTo>
                    <a:lnTo>
                      <a:pt x="115" y="5"/>
                    </a:lnTo>
                    <a:lnTo>
                      <a:pt x="117" y="5"/>
                    </a:lnTo>
                    <a:lnTo>
                      <a:pt x="117" y="3"/>
                    </a:lnTo>
                    <a:lnTo>
                      <a:pt x="119" y="3"/>
                    </a:lnTo>
                    <a:lnTo>
                      <a:pt x="120" y="3"/>
                    </a:lnTo>
                    <a:lnTo>
                      <a:pt x="120" y="5"/>
                    </a:lnTo>
                    <a:lnTo>
                      <a:pt x="120" y="3"/>
                    </a:lnTo>
                    <a:lnTo>
                      <a:pt x="122" y="3"/>
                    </a:lnTo>
                    <a:lnTo>
                      <a:pt x="122" y="5"/>
                    </a:lnTo>
                    <a:lnTo>
                      <a:pt x="122" y="3"/>
                    </a:lnTo>
                    <a:lnTo>
                      <a:pt x="124" y="3"/>
                    </a:lnTo>
                    <a:lnTo>
                      <a:pt x="125" y="3"/>
                    </a:lnTo>
                    <a:lnTo>
                      <a:pt x="125" y="1"/>
                    </a:lnTo>
                    <a:lnTo>
                      <a:pt x="125" y="3"/>
                    </a:lnTo>
                    <a:lnTo>
                      <a:pt x="125" y="1"/>
                    </a:lnTo>
                    <a:lnTo>
                      <a:pt x="127" y="3"/>
                    </a:lnTo>
                    <a:lnTo>
                      <a:pt x="127" y="1"/>
                    </a:lnTo>
                    <a:lnTo>
                      <a:pt x="127" y="3"/>
                    </a:lnTo>
                    <a:lnTo>
                      <a:pt x="129" y="3"/>
                    </a:lnTo>
                    <a:lnTo>
                      <a:pt x="129" y="1"/>
                    </a:lnTo>
                    <a:lnTo>
                      <a:pt x="131" y="1"/>
                    </a:lnTo>
                    <a:lnTo>
                      <a:pt x="129" y="3"/>
                    </a:lnTo>
                    <a:lnTo>
                      <a:pt x="131" y="3"/>
                    </a:lnTo>
                    <a:lnTo>
                      <a:pt x="131" y="1"/>
                    </a:lnTo>
                    <a:lnTo>
                      <a:pt x="132" y="3"/>
                    </a:lnTo>
                    <a:lnTo>
                      <a:pt x="132" y="1"/>
                    </a:lnTo>
                    <a:lnTo>
                      <a:pt x="134" y="1"/>
                    </a:lnTo>
                    <a:lnTo>
                      <a:pt x="134" y="3"/>
                    </a:lnTo>
                    <a:lnTo>
                      <a:pt x="132" y="3"/>
                    </a:lnTo>
                    <a:lnTo>
                      <a:pt x="134" y="3"/>
                    </a:lnTo>
                    <a:lnTo>
                      <a:pt x="132" y="3"/>
                    </a:lnTo>
                    <a:lnTo>
                      <a:pt x="134" y="5"/>
                    </a:lnTo>
                    <a:lnTo>
                      <a:pt x="134" y="3"/>
                    </a:lnTo>
                    <a:lnTo>
                      <a:pt x="136" y="3"/>
                    </a:lnTo>
                    <a:lnTo>
                      <a:pt x="136" y="5"/>
                    </a:lnTo>
                    <a:lnTo>
                      <a:pt x="136" y="3"/>
                    </a:lnTo>
                    <a:lnTo>
                      <a:pt x="136" y="5"/>
                    </a:lnTo>
                    <a:lnTo>
                      <a:pt x="137" y="5"/>
                    </a:lnTo>
                    <a:lnTo>
                      <a:pt x="139" y="5"/>
                    </a:lnTo>
                    <a:lnTo>
                      <a:pt x="137" y="5"/>
                    </a:lnTo>
                    <a:lnTo>
                      <a:pt x="137" y="3"/>
                    </a:lnTo>
                    <a:lnTo>
                      <a:pt x="139" y="3"/>
                    </a:lnTo>
                    <a:lnTo>
                      <a:pt x="141" y="3"/>
                    </a:lnTo>
                    <a:lnTo>
                      <a:pt x="141" y="1"/>
                    </a:lnTo>
                    <a:lnTo>
                      <a:pt x="141" y="0"/>
                    </a:lnTo>
                    <a:lnTo>
                      <a:pt x="141" y="1"/>
                    </a:lnTo>
                    <a:lnTo>
                      <a:pt x="141" y="0"/>
                    </a:lnTo>
                    <a:lnTo>
                      <a:pt x="142" y="0"/>
                    </a:lnTo>
                    <a:lnTo>
                      <a:pt x="144" y="0"/>
                    </a:lnTo>
                    <a:lnTo>
                      <a:pt x="144" y="1"/>
                    </a:lnTo>
                    <a:lnTo>
                      <a:pt x="146" y="1"/>
                    </a:lnTo>
                    <a:lnTo>
                      <a:pt x="146" y="3"/>
                    </a:lnTo>
                    <a:lnTo>
                      <a:pt x="146" y="5"/>
                    </a:lnTo>
                    <a:lnTo>
                      <a:pt x="148" y="5"/>
                    </a:lnTo>
                    <a:lnTo>
                      <a:pt x="148" y="6"/>
                    </a:lnTo>
                    <a:lnTo>
                      <a:pt x="146" y="6"/>
                    </a:lnTo>
                    <a:lnTo>
                      <a:pt x="146" y="8"/>
                    </a:lnTo>
                    <a:lnTo>
                      <a:pt x="146" y="10"/>
                    </a:lnTo>
                    <a:lnTo>
                      <a:pt x="146" y="12"/>
                    </a:lnTo>
                    <a:lnTo>
                      <a:pt x="146" y="13"/>
                    </a:lnTo>
                    <a:lnTo>
                      <a:pt x="148" y="13"/>
                    </a:lnTo>
                    <a:lnTo>
                      <a:pt x="148" y="15"/>
                    </a:lnTo>
                    <a:lnTo>
                      <a:pt x="146" y="17"/>
                    </a:lnTo>
                    <a:lnTo>
                      <a:pt x="148" y="17"/>
                    </a:lnTo>
                    <a:lnTo>
                      <a:pt x="148" y="18"/>
                    </a:lnTo>
                    <a:lnTo>
                      <a:pt x="146" y="18"/>
                    </a:lnTo>
                    <a:lnTo>
                      <a:pt x="146" y="20"/>
                    </a:lnTo>
                    <a:lnTo>
                      <a:pt x="146" y="22"/>
                    </a:lnTo>
                    <a:lnTo>
                      <a:pt x="144" y="22"/>
                    </a:lnTo>
                    <a:lnTo>
                      <a:pt x="144" y="23"/>
                    </a:lnTo>
                    <a:lnTo>
                      <a:pt x="144" y="25"/>
                    </a:lnTo>
                    <a:lnTo>
                      <a:pt x="144" y="27"/>
                    </a:lnTo>
                    <a:lnTo>
                      <a:pt x="142" y="27"/>
                    </a:lnTo>
                    <a:lnTo>
                      <a:pt x="142" y="29"/>
                    </a:lnTo>
                    <a:lnTo>
                      <a:pt x="144" y="29"/>
                    </a:lnTo>
                    <a:lnTo>
                      <a:pt x="144" y="30"/>
                    </a:lnTo>
                    <a:lnTo>
                      <a:pt x="142" y="30"/>
                    </a:lnTo>
                    <a:lnTo>
                      <a:pt x="144" y="32"/>
                    </a:lnTo>
                    <a:lnTo>
                      <a:pt x="146" y="34"/>
                    </a:lnTo>
                    <a:lnTo>
                      <a:pt x="146" y="35"/>
                    </a:lnTo>
                    <a:lnTo>
                      <a:pt x="146" y="37"/>
                    </a:lnTo>
                    <a:lnTo>
                      <a:pt x="146" y="39"/>
                    </a:lnTo>
                    <a:lnTo>
                      <a:pt x="148" y="39"/>
                    </a:lnTo>
                    <a:lnTo>
                      <a:pt x="148" y="40"/>
                    </a:lnTo>
                    <a:lnTo>
                      <a:pt x="148" y="42"/>
                    </a:lnTo>
                    <a:lnTo>
                      <a:pt x="148" y="44"/>
                    </a:lnTo>
                    <a:lnTo>
                      <a:pt x="149" y="44"/>
                    </a:lnTo>
                    <a:lnTo>
                      <a:pt x="148" y="46"/>
                    </a:lnTo>
                    <a:lnTo>
                      <a:pt x="148" y="47"/>
                    </a:lnTo>
                    <a:lnTo>
                      <a:pt x="146" y="49"/>
                    </a:lnTo>
                    <a:lnTo>
                      <a:pt x="144" y="49"/>
                    </a:lnTo>
                    <a:lnTo>
                      <a:pt x="144" y="51"/>
                    </a:lnTo>
                    <a:lnTo>
                      <a:pt x="146" y="51"/>
                    </a:lnTo>
                    <a:lnTo>
                      <a:pt x="146" y="52"/>
                    </a:lnTo>
                    <a:lnTo>
                      <a:pt x="144" y="52"/>
                    </a:lnTo>
                    <a:lnTo>
                      <a:pt x="144" y="54"/>
                    </a:lnTo>
                    <a:lnTo>
                      <a:pt x="146" y="54"/>
                    </a:lnTo>
                    <a:lnTo>
                      <a:pt x="146" y="56"/>
                    </a:lnTo>
                    <a:lnTo>
                      <a:pt x="148" y="56"/>
                    </a:lnTo>
                    <a:lnTo>
                      <a:pt x="146" y="56"/>
                    </a:lnTo>
                    <a:lnTo>
                      <a:pt x="146" y="57"/>
                    </a:lnTo>
                    <a:lnTo>
                      <a:pt x="146" y="59"/>
                    </a:lnTo>
                    <a:lnTo>
                      <a:pt x="146" y="61"/>
                    </a:lnTo>
                    <a:lnTo>
                      <a:pt x="148" y="63"/>
                    </a:lnTo>
                    <a:lnTo>
                      <a:pt x="149" y="63"/>
                    </a:lnTo>
                    <a:lnTo>
                      <a:pt x="149" y="64"/>
                    </a:lnTo>
                    <a:lnTo>
                      <a:pt x="149" y="66"/>
                    </a:lnTo>
                    <a:lnTo>
                      <a:pt x="149" y="68"/>
                    </a:lnTo>
                    <a:lnTo>
                      <a:pt x="148" y="69"/>
                    </a:lnTo>
                    <a:lnTo>
                      <a:pt x="149" y="69"/>
                    </a:lnTo>
                    <a:lnTo>
                      <a:pt x="149" y="71"/>
                    </a:lnTo>
                    <a:lnTo>
                      <a:pt x="151" y="71"/>
                    </a:lnTo>
                    <a:lnTo>
                      <a:pt x="151" y="69"/>
                    </a:lnTo>
                    <a:lnTo>
                      <a:pt x="153" y="69"/>
                    </a:lnTo>
                    <a:lnTo>
                      <a:pt x="154" y="69"/>
                    </a:lnTo>
                    <a:lnTo>
                      <a:pt x="154" y="71"/>
                    </a:lnTo>
                    <a:lnTo>
                      <a:pt x="154" y="73"/>
                    </a:lnTo>
                    <a:lnTo>
                      <a:pt x="154" y="74"/>
                    </a:lnTo>
                    <a:lnTo>
                      <a:pt x="156" y="74"/>
                    </a:lnTo>
                    <a:lnTo>
                      <a:pt x="156" y="76"/>
                    </a:lnTo>
                    <a:lnTo>
                      <a:pt x="156" y="78"/>
                    </a:lnTo>
                    <a:lnTo>
                      <a:pt x="156" y="80"/>
                    </a:lnTo>
                    <a:lnTo>
                      <a:pt x="158" y="80"/>
                    </a:lnTo>
                    <a:lnTo>
                      <a:pt x="159" y="80"/>
                    </a:lnTo>
                    <a:lnTo>
                      <a:pt x="161" y="80"/>
                    </a:lnTo>
                    <a:lnTo>
                      <a:pt x="163" y="80"/>
                    </a:lnTo>
                    <a:lnTo>
                      <a:pt x="163" y="81"/>
                    </a:lnTo>
                    <a:lnTo>
                      <a:pt x="163" y="83"/>
                    </a:lnTo>
                    <a:lnTo>
                      <a:pt x="163" y="81"/>
                    </a:lnTo>
                    <a:lnTo>
                      <a:pt x="165" y="81"/>
                    </a:lnTo>
                    <a:lnTo>
                      <a:pt x="165" y="83"/>
                    </a:lnTo>
                    <a:lnTo>
                      <a:pt x="165" y="85"/>
                    </a:lnTo>
                    <a:lnTo>
                      <a:pt x="166" y="85"/>
                    </a:lnTo>
                    <a:lnTo>
                      <a:pt x="166" y="83"/>
                    </a:lnTo>
                    <a:lnTo>
                      <a:pt x="166" y="81"/>
                    </a:lnTo>
                    <a:lnTo>
                      <a:pt x="166" y="83"/>
                    </a:lnTo>
                    <a:lnTo>
                      <a:pt x="168" y="83"/>
                    </a:lnTo>
                    <a:lnTo>
                      <a:pt x="166" y="83"/>
                    </a:lnTo>
                    <a:lnTo>
                      <a:pt x="166" y="85"/>
                    </a:lnTo>
                    <a:lnTo>
                      <a:pt x="168" y="86"/>
                    </a:lnTo>
                    <a:lnTo>
                      <a:pt x="170" y="86"/>
                    </a:lnTo>
                    <a:lnTo>
                      <a:pt x="171" y="86"/>
                    </a:lnTo>
                    <a:lnTo>
                      <a:pt x="171" y="88"/>
                    </a:lnTo>
                    <a:lnTo>
                      <a:pt x="173" y="88"/>
                    </a:lnTo>
                    <a:lnTo>
                      <a:pt x="173" y="86"/>
                    </a:lnTo>
                    <a:lnTo>
                      <a:pt x="173" y="88"/>
                    </a:lnTo>
                    <a:lnTo>
                      <a:pt x="175" y="88"/>
                    </a:lnTo>
                    <a:lnTo>
                      <a:pt x="175" y="90"/>
                    </a:lnTo>
                    <a:lnTo>
                      <a:pt x="173" y="91"/>
                    </a:lnTo>
                    <a:lnTo>
                      <a:pt x="175" y="91"/>
                    </a:lnTo>
                    <a:lnTo>
                      <a:pt x="175" y="93"/>
                    </a:lnTo>
                    <a:lnTo>
                      <a:pt x="176" y="93"/>
                    </a:lnTo>
                    <a:lnTo>
                      <a:pt x="176" y="95"/>
                    </a:lnTo>
                    <a:lnTo>
                      <a:pt x="178" y="95"/>
                    </a:lnTo>
                    <a:lnTo>
                      <a:pt x="180" y="95"/>
                    </a:lnTo>
                    <a:lnTo>
                      <a:pt x="182" y="95"/>
                    </a:lnTo>
                    <a:lnTo>
                      <a:pt x="180" y="97"/>
                    </a:lnTo>
                    <a:lnTo>
                      <a:pt x="182" y="97"/>
                    </a:lnTo>
                    <a:lnTo>
                      <a:pt x="182" y="95"/>
                    </a:lnTo>
                    <a:lnTo>
                      <a:pt x="183" y="95"/>
                    </a:lnTo>
                    <a:lnTo>
                      <a:pt x="185" y="95"/>
                    </a:lnTo>
                    <a:lnTo>
                      <a:pt x="185" y="97"/>
                    </a:lnTo>
                    <a:lnTo>
                      <a:pt x="187" y="97"/>
                    </a:lnTo>
                    <a:lnTo>
                      <a:pt x="187" y="95"/>
                    </a:lnTo>
                    <a:lnTo>
                      <a:pt x="187" y="97"/>
                    </a:lnTo>
                    <a:lnTo>
                      <a:pt x="188" y="97"/>
                    </a:lnTo>
                    <a:lnTo>
                      <a:pt x="190" y="97"/>
                    </a:lnTo>
                    <a:lnTo>
                      <a:pt x="192" y="97"/>
                    </a:lnTo>
                    <a:lnTo>
                      <a:pt x="193" y="97"/>
                    </a:lnTo>
                    <a:lnTo>
                      <a:pt x="195" y="95"/>
                    </a:lnTo>
                    <a:lnTo>
                      <a:pt x="197" y="95"/>
                    </a:lnTo>
                    <a:lnTo>
                      <a:pt x="199" y="93"/>
                    </a:lnTo>
                    <a:lnTo>
                      <a:pt x="199" y="95"/>
                    </a:lnTo>
                    <a:lnTo>
                      <a:pt x="200" y="95"/>
                    </a:lnTo>
                    <a:lnTo>
                      <a:pt x="202" y="95"/>
                    </a:lnTo>
                    <a:lnTo>
                      <a:pt x="204" y="95"/>
                    </a:lnTo>
                    <a:lnTo>
                      <a:pt x="204" y="97"/>
                    </a:lnTo>
                    <a:lnTo>
                      <a:pt x="205" y="97"/>
                    </a:lnTo>
                    <a:lnTo>
                      <a:pt x="207" y="97"/>
                    </a:lnTo>
                    <a:lnTo>
                      <a:pt x="207" y="98"/>
                    </a:lnTo>
                    <a:lnTo>
                      <a:pt x="209" y="98"/>
                    </a:lnTo>
                    <a:lnTo>
                      <a:pt x="210" y="98"/>
                    </a:lnTo>
                    <a:lnTo>
                      <a:pt x="210" y="100"/>
                    </a:lnTo>
                    <a:lnTo>
                      <a:pt x="209" y="100"/>
                    </a:lnTo>
                    <a:lnTo>
                      <a:pt x="210" y="100"/>
                    </a:lnTo>
                    <a:lnTo>
                      <a:pt x="210" y="102"/>
                    </a:lnTo>
                    <a:lnTo>
                      <a:pt x="212" y="102"/>
                    </a:lnTo>
                    <a:lnTo>
                      <a:pt x="214" y="102"/>
                    </a:lnTo>
                    <a:lnTo>
                      <a:pt x="214" y="103"/>
                    </a:lnTo>
                    <a:lnTo>
                      <a:pt x="216" y="103"/>
                    </a:lnTo>
                    <a:lnTo>
                      <a:pt x="217" y="103"/>
                    </a:lnTo>
                    <a:lnTo>
                      <a:pt x="216" y="102"/>
                    </a:lnTo>
                    <a:lnTo>
                      <a:pt x="217" y="102"/>
                    </a:lnTo>
                    <a:lnTo>
                      <a:pt x="217" y="100"/>
                    </a:lnTo>
                    <a:lnTo>
                      <a:pt x="219" y="102"/>
                    </a:lnTo>
                    <a:lnTo>
                      <a:pt x="219" y="100"/>
                    </a:lnTo>
                    <a:lnTo>
                      <a:pt x="219" y="102"/>
                    </a:lnTo>
                    <a:lnTo>
                      <a:pt x="221" y="102"/>
                    </a:lnTo>
                    <a:lnTo>
                      <a:pt x="221" y="103"/>
                    </a:lnTo>
                    <a:lnTo>
                      <a:pt x="222" y="103"/>
                    </a:lnTo>
                    <a:lnTo>
                      <a:pt x="222" y="105"/>
                    </a:lnTo>
                    <a:lnTo>
                      <a:pt x="224" y="105"/>
                    </a:lnTo>
                    <a:lnTo>
                      <a:pt x="224" y="107"/>
                    </a:lnTo>
                    <a:lnTo>
                      <a:pt x="224" y="108"/>
                    </a:lnTo>
                    <a:lnTo>
                      <a:pt x="226" y="108"/>
                    </a:lnTo>
                    <a:lnTo>
                      <a:pt x="227" y="108"/>
                    </a:lnTo>
                    <a:lnTo>
                      <a:pt x="227" y="110"/>
                    </a:lnTo>
                    <a:lnTo>
                      <a:pt x="229" y="110"/>
                    </a:lnTo>
                    <a:lnTo>
                      <a:pt x="229" y="112"/>
                    </a:lnTo>
                    <a:lnTo>
                      <a:pt x="231" y="112"/>
                    </a:lnTo>
                    <a:lnTo>
                      <a:pt x="231" y="114"/>
                    </a:lnTo>
                    <a:lnTo>
                      <a:pt x="233" y="114"/>
                    </a:lnTo>
                    <a:lnTo>
                      <a:pt x="234" y="115"/>
                    </a:lnTo>
                    <a:lnTo>
                      <a:pt x="234" y="114"/>
                    </a:lnTo>
                    <a:lnTo>
                      <a:pt x="236" y="114"/>
                    </a:lnTo>
                    <a:lnTo>
                      <a:pt x="236" y="112"/>
                    </a:lnTo>
                    <a:lnTo>
                      <a:pt x="236" y="114"/>
                    </a:lnTo>
                    <a:lnTo>
                      <a:pt x="238" y="114"/>
                    </a:lnTo>
                    <a:lnTo>
                      <a:pt x="238" y="115"/>
                    </a:lnTo>
                    <a:lnTo>
                      <a:pt x="239" y="115"/>
                    </a:lnTo>
                    <a:lnTo>
                      <a:pt x="239" y="117"/>
                    </a:lnTo>
                    <a:lnTo>
                      <a:pt x="241" y="115"/>
                    </a:lnTo>
                    <a:lnTo>
                      <a:pt x="241" y="117"/>
                    </a:lnTo>
                    <a:lnTo>
                      <a:pt x="243" y="117"/>
                    </a:lnTo>
                    <a:lnTo>
                      <a:pt x="243" y="115"/>
                    </a:lnTo>
                    <a:lnTo>
                      <a:pt x="243" y="117"/>
                    </a:lnTo>
                    <a:lnTo>
                      <a:pt x="244" y="117"/>
                    </a:lnTo>
                    <a:lnTo>
                      <a:pt x="244" y="119"/>
                    </a:lnTo>
                    <a:lnTo>
                      <a:pt x="244" y="117"/>
                    </a:lnTo>
                    <a:lnTo>
                      <a:pt x="244" y="119"/>
                    </a:lnTo>
                    <a:lnTo>
                      <a:pt x="246" y="119"/>
                    </a:lnTo>
                    <a:lnTo>
                      <a:pt x="248" y="119"/>
                    </a:lnTo>
                    <a:lnTo>
                      <a:pt x="250" y="119"/>
                    </a:lnTo>
                    <a:lnTo>
                      <a:pt x="250" y="117"/>
                    </a:lnTo>
                    <a:lnTo>
                      <a:pt x="251" y="117"/>
                    </a:lnTo>
                    <a:lnTo>
                      <a:pt x="251" y="119"/>
                    </a:lnTo>
                    <a:lnTo>
                      <a:pt x="253" y="119"/>
                    </a:lnTo>
                    <a:lnTo>
                      <a:pt x="251" y="117"/>
                    </a:lnTo>
                    <a:lnTo>
                      <a:pt x="253" y="117"/>
                    </a:lnTo>
                    <a:lnTo>
                      <a:pt x="253" y="119"/>
                    </a:lnTo>
                    <a:lnTo>
                      <a:pt x="255" y="119"/>
                    </a:lnTo>
                    <a:lnTo>
                      <a:pt x="255" y="120"/>
                    </a:lnTo>
                    <a:lnTo>
                      <a:pt x="255" y="122"/>
                    </a:lnTo>
                    <a:lnTo>
                      <a:pt x="255" y="124"/>
                    </a:lnTo>
                    <a:lnTo>
                      <a:pt x="256" y="124"/>
                    </a:lnTo>
                    <a:lnTo>
                      <a:pt x="256" y="125"/>
                    </a:lnTo>
                    <a:lnTo>
                      <a:pt x="258" y="125"/>
                    </a:lnTo>
                    <a:lnTo>
                      <a:pt x="258" y="127"/>
                    </a:lnTo>
                    <a:lnTo>
                      <a:pt x="258" y="125"/>
                    </a:lnTo>
                    <a:lnTo>
                      <a:pt x="260" y="127"/>
                    </a:lnTo>
                    <a:lnTo>
                      <a:pt x="260" y="129"/>
                    </a:lnTo>
                    <a:lnTo>
                      <a:pt x="260" y="127"/>
                    </a:lnTo>
                    <a:lnTo>
                      <a:pt x="261" y="129"/>
                    </a:lnTo>
                    <a:lnTo>
                      <a:pt x="261" y="131"/>
                    </a:lnTo>
                    <a:lnTo>
                      <a:pt x="263" y="131"/>
                    </a:lnTo>
                    <a:lnTo>
                      <a:pt x="263" y="132"/>
                    </a:lnTo>
                    <a:lnTo>
                      <a:pt x="265" y="132"/>
                    </a:lnTo>
                    <a:lnTo>
                      <a:pt x="267" y="132"/>
                    </a:lnTo>
                    <a:lnTo>
                      <a:pt x="268" y="132"/>
                    </a:lnTo>
                    <a:lnTo>
                      <a:pt x="268" y="131"/>
                    </a:lnTo>
                    <a:lnTo>
                      <a:pt x="270" y="131"/>
                    </a:lnTo>
                    <a:lnTo>
                      <a:pt x="270" y="132"/>
                    </a:lnTo>
                    <a:lnTo>
                      <a:pt x="270" y="131"/>
                    </a:lnTo>
                    <a:lnTo>
                      <a:pt x="272" y="132"/>
                    </a:lnTo>
                    <a:lnTo>
                      <a:pt x="272" y="131"/>
                    </a:lnTo>
                    <a:lnTo>
                      <a:pt x="273" y="132"/>
                    </a:lnTo>
                    <a:lnTo>
                      <a:pt x="275" y="132"/>
                    </a:lnTo>
                    <a:lnTo>
                      <a:pt x="277" y="132"/>
                    </a:lnTo>
                    <a:lnTo>
                      <a:pt x="278" y="132"/>
                    </a:lnTo>
                    <a:lnTo>
                      <a:pt x="280" y="132"/>
                    </a:lnTo>
                    <a:lnTo>
                      <a:pt x="280" y="131"/>
                    </a:lnTo>
                    <a:lnTo>
                      <a:pt x="282" y="131"/>
                    </a:lnTo>
                    <a:lnTo>
                      <a:pt x="284" y="131"/>
                    </a:lnTo>
                    <a:lnTo>
                      <a:pt x="284" y="132"/>
                    </a:lnTo>
                    <a:lnTo>
                      <a:pt x="285" y="132"/>
                    </a:lnTo>
                    <a:lnTo>
                      <a:pt x="285" y="131"/>
                    </a:lnTo>
                    <a:lnTo>
                      <a:pt x="285" y="132"/>
                    </a:lnTo>
                    <a:lnTo>
                      <a:pt x="287" y="132"/>
                    </a:lnTo>
                    <a:lnTo>
                      <a:pt x="287" y="131"/>
                    </a:lnTo>
                    <a:lnTo>
                      <a:pt x="287" y="132"/>
                    </a:lnTo>
                    <a:lnTo>
                      <a:pt x="289" y="132"/>
                    </a:lnTo>
                    <a:lnTo>
                      <a:pt x="289" y="131"/>
                    </a:lnTo>
                    <a:lnTo>
                      <a:pt x="290" y="131"/>
                    </a:lnTo>
                    <a:lnTo>
                      <a:pt x="290" y="132"/>
                    </a:lnTo>
                    <a:lnTo>
                      <a:pt x="290" y="131"/>
                    </a:lnTo>
                    <a:lnTo>
                      <a:pt x="292" y="131"/>
                    </a:lnTo>
                    <a:lnTo>
                      <a:pt x="292" y="132"/>
                    </a:lnTo>
                    <a:lnTo>
                      <a:pt x="294" y="132"/>
                    </a:lnTo>
                    <a:lnTo>
                      <a:pt x="295" y="132"/>
                    </a:lnTo>
                    <a:lnTo>
                      <a:pt x="295" y="134"/>
                    </a:lnTo>
                    <a:lnTo>
                      <a:pt x="295" y="136"/>
                    </a:lnTo>
                    <a:lnTo>
                      <a:pt x="297" y="136"/>
                    </a:lnTo>
                    <a:lnTo>
                      <a:pt x="299" y="136"/>
                    </a:lnTo>
                    <a:lnTo>
                      <a:pt x="299" y="137"/>
                    </a:lnTo>
                    <a:lnTo>
                      <a:pt x="301" y="137"/>
                    </a:lnTo>
                    <a:lnTo>
                      <a:pt x="302" y="137"/>
                    </a:lnTo>
                    <a:lnTo>
                      <a:pt x="302" y="139"/>
                    </a:lnTo>
                    <a:lnTo>
                      <a:pt x="302" y="137"/>
                    </a:lnTo>
                    <a:lnTo>
                      <a:pt x="302" y="139"/>
                    </a:lnTo>
                    <a:lnTo>
                      <a:pt x="304" y="139"/>
                    </a:lnTo>
                    <a:lnTo>
                      <a:pt x="306" y="139"/>
                    </a:lnTo>
                    <a:lnTo>
                      <a:pt x="307" y="141"/>
                    </a:lnTo>
                    <a:lnTo>
                      <a:pt x="309" y="141"/>
                    </a:lnTo>
                    <a:lnTo>
                      <a:pt x="311" y="141"/>
                    </a:lnTo>
                    <a:lnTo>
                      <a:pt x="309" y="143"/>
                    </a:lnTo>
                    <a:lnTo>
                      <a:pt x="311" y="143"/>
                    </a:lnTo>
                    <a:lnTo>
                      <a:pt x="309" y="143"/>
                    </a:lnTo>
                    <a:lnTo>
                      <a:pt x="311" y="143"/>
                    </a:lnTo>
                    <a:lnTo>
                      <a:pt x="309" y="143"/>
                    </a:lnTo>
                    <a:lnTo>
                      <a:pt x="309" y="144"/>
                    </a:lnTo>
                    <a:lnTo>
                      <a:pt x="309" y="143"/>
                    </a:lnTo>
                    <a:lnTo>
                      <a:pt x="311" y="144"/>
                    </a:lnTo>
                    <a:lnTo>
                      <a:pt x="309" y="144"/>
                    </a:lnTo>
                    <a:lnTo>
                      <a:pt x="311" y="144"/>
                    </a:lnTo>
                    <a:lnTo>
                      <a:pt x="311" y="146"/>
                    </a:lnTo>
                    <a:lnTo>
                      <a:pt x="311" y="148"/>
                    </a:lnTo>
                    <a:lnTo>
                      <a:pt x="312" y="148"/>
                    </a:lnTo>
                    <a:lnTo>
                      <a:pt x="312" y="149"/>
                    </a:lnTo>
                    <a:lnTo>
                      <a:pt x="311" y="149"/>
                    </a:lnTo>
                    <a:lnTo>
                      <a:pt x="311" y="151"/>
                    </a:lnTo>
                    <a:lnTo>
                      <a:pt x="309" y="151"/>
                    </a:lnTo>
                    <a:lnTo>
                      <a:pt x="309" y="153"/>
                    </a:lnTo>
                    <a:lnTo>
                      <a:pt x="309" y="154"/>
                    </a:lnTo>
                    <a:lnTo>
                      <a:pt x="309" y="156"/>
                    </a:lnTo>
                    <a:lnTo>
                      <a:pt x="311" y="156"/>
                    </a:lnTo>
                    <a:lnTo>
                      <a:pt x="311" y="158"/>
                    </a:lnTo>
                    <a:lnTo>
                      <a:pt x="311" y="160"/>
                    </a:lnTo>
                    <a:lnTo>
                      <a:pt x="311" y="161"/>
                    </a:lnTo>
                    <a:lnTo>
                      <a:pt x="312" y="161"/>
                    </a:lnTo>
                    <a:lnTo>
                      <a:pt x="312" y="163"/>
                    </a:lnTo>
                    <a:lnTo>
                      <a:pt x="312" y="165"/>
                    </a:lnTo>
                    <a:lnTo>
                      <a:pt x="314" y="165"/>
                    </a:lnTo>
                    <a:lnTo>
                      <a:pt x="314" y="166"/>
                    </a:lnTo>
                    <a:lnTo>
                      <a:pt x="314" y="168"/>
                    </a:lnTo>
                    <a:lnTo>
                      <a:pt x="314" y="170"/>
                    </a:lnTo>
                    <a:lnTo>
                      <a:pt x="316" y="170"/>
                    </a:lnTo>
                    <a:lnTo>
                      <a:pt x="316" y="171"/>
                    </a:lnTo>
                    <a:lnTo>
                      <a:pt x="318" y="173"/>
                    </a:lnTo>
                    <a:lnTo>
                      <a:pt x="318" y="175"/>
                    </a:lnTo>
                    <a:lnTo>
                      <a:pt x="318" y="177"/>
                    </a:lnTo>
                    <a:lnTo>
                      <a:pt x="318" y="180"/>
                    </a:lnTo>
                    <a:lnTo>
                      <a:pt x="318" y="182"/>
                    </a:lnTo>
                    <a:lnTo>
                      <a:pt x="318" y="183"/>
                    </a:lnTo>
                    <a:lnTo>
                      <a:pt x="318" y="187"/>
                    </a:lnTo>
                    <a:lnTo>
                      <a:pt x="316" y="187"/>
                    </a:lnTo>
                    <a:lnTo>
                      <a:pt x="314" y="187"/>
                    </a:lnTo>
                    <a:lnTo>
                      <a:pt x="311" y="187"/>
                    </a:lnTo>
                    <a:lnTo>
                      <a:pt x="309" y="187"/>
                    </a:lnTo>
                    <a:lnTo>
                      <a:pt x="306" y="187"/>
                    </a:lnTo>
                    <a:lnTo>
                      <a:pt x="309" y="190"/>
                    </a:lnTo>
                    <a:lnTo>
                      <a:pt x="314" y="195"/>
                    </a:lnTo>
                    <a:lnTo>
                      <a:pt x="316" y="199"/>
                    </a:lnTo>
                    <a:lnTo>
                      <a:pt x="318" y="200"/>
                    </a:lnTo>
                    <a:lnTo>
                      <a:pt x="318" y="202"/>
                    </a:lnTo>
                    <a:lnTo>
                      <a:pt x="318" y="204"/>
                    </a:lnTo>
                    <a:lnTo>
                      <a:pt x="319" y="221"/>
                    </a:lnTo>
                    <a:lnTo>
                      <a:pt x="319" y="224"/>
                    </a:lnTo>
                    <a:lnTo>
                      <a:pt x="319" y="228"/>
                    </a:lnTo>
                    <a:lnTo>
                      <a:pt x="321" y="228"/>
                    </a:lnTo>
                    <a:lnTo>
                      <a:pt x="323" y="228"/>
                    </a:lnTo>
                    <a:lnTo>
                      <a:pt x="324" y="228"/>
                    </a:lnTo>
                    <a:lnTo>
                      <a:pt x="326" y="228"/>
                    </a:lnTo>
                    <a:lnTo>
                      <a:pt x="329" y="228"/>
                    </a:lnTo>
                    <a:lnTo>
                      <a:pt x="331" y="228"/>
                    </a:lnTo>
                    <a:lnTo>
                      <a:pt x="335" y="228"/>
                    </a:lnTo>
                    <a:lnTo>
                      <a:pt x="341" y="228"/>
                    </a:lnTo>
                    <a:lnTo>
                      <a:pt x="343" y="228"/>
                    </a:lnTo>
                    <a:lnTo>
                      <a:pt x="345" y="228"/>
                    </a:lnTo>
                    <a:lnTo>
                      <a:pt x="348" y="228"/>
                    </a:lnTo>
                    <a:lnTo>
                      <a:pt x="352" y="229"/>
                    </a:lnTo>
                    <a:lnTo>
                      <a:pt x="353" y="229"/>
                    </a:lnTo>
                    <a:lnTo>
                      <a:pt x="355" y="229"/>
                    </a:lnTo>
                    <a:lnTo>
                      <a:pt x="360" y="229"/>
                    </a:lnTo>
                    <a:lnTo>
                      <a:pt x="367" y="229"/>
                    </a:lnTo>
                    <a:lnTo>
                      <a:pt x="369" y="229"/>
                    </a:lnTo>
                    <a:lnTo>
                      <a:pt x="370" y="229"/>
                    </a:lnTo>
                    <a:lnTo>
                      <a:pt x="375" y="229"/>
                    </a:lnTo>
                    <a:lnTo>
                      <a:pt x="379" y="229"/>
                    </a:lnTo>
                    <a:lnTo>
                      <a:pt x="380" y="229"/>
                    </a:lnTo>
                    <a:lnTo>
                      <a:pt x="380" y="228"/>
                    </a:lnTo>
                    <a:lnTo>
                      <a:pt x="382" y="228"/>
                    </a:lnTo>
                    <a:lnTo>
                      <a:pt x="382" y="229"/>
                    </a:lnTo>
                    <a:lnTo>
                      <a:pt x="382" y="231"/>
                    </a:lnTo>
                    <a:lnTo>
                      <a:pt x="382" y="233"/>
                    </a:lnTo>
                    <a:lnTo>
                      <a:pt x="380" y="233"/>
                    </a:lnTo>
                    <a:lnTo>
                      <a:pt x="380" y="234"/>
                    </a:lnTo>
                    <a:lnTo>
                      <a:pt x="382" y="234"/>
                    </a:lnTo>
                    <a:lnTo>
                      <a:pt x="382" y="236"/>
                    </a:lnTo>
                    <a:lnTo>
                      <a:pt x="380" y="238"/>
                    </a:lnTo>
                    <a:lnTo>
                      <a:pt x="379" y="238"/>
                    </a:lnTo>
                    <a:lnTo>
                      <a:pt x="379" y="239"/>
                    </a:lnTo>
                    <a:lnTo>
                      <a:pt x="379" y="241"/>
                    </a:lnTo>
                    <a:lnTo>
                      <a:pt x="377" y="241"/>
                    </a:lnTo>
                    <a:lnTo>
                      <a:pt x="377" y="243"/>
                    </a:lnTo>
                    <a:lnTo>
                      <a:pt x="377" y="245"/>
                    </a:lnTo>
                    <a:lnTo>
                      <a:pt x="377" y="246"/>
                    </a:lnTo>
                    <a:lnTo>
                      <a:pt x="377" y="248"/>
                    </a:lnTo>
                    <a:lnTo>
                      <a:pt x="377" y="250"/>
                    </a:lnTo>
                    <a:lnTo>
                      <a:pt x="377" y="251"/>
                    </a:lnTo>
                    <a:lnTo>
                      <a:pt x="377" y="253"/>
                    </a:lnTo>
                    <a:lnTo>
                      <a:pt x="379" y="253"/>
                    </a:lnTo>
                    <a:lnTo>
                      <a:pt x="379" y="255"/>
                    </a:lnTo>
                    <a:lnTo>
                      <a:pt x="379" y="256"/>
                    </a:lnTo>
                    <a:lnTo>
                      <a:pt x="380" y="256"/>
                    </a:lnTo>
                    <a:lnTo>
                      <a:pt x="380" y="258"/>
                    </a:lnTo>
                    <a:lnTo>
                      <a:pt x="380" y="260"/>
                    </a:lnTo>
                    <a:lnTo>
                      <a:pt x="380" y="262"/>
                    </a:lnTo>
                    <a:lnTo>
                      <a:pt x="382" y="262"/>
                    </a:lnTo>
                    <a:lnTo>
                      <a:pt x="382" y="263"/>
                    </a:lnTo>
                    <a:lnTo>
                      <a:pt x="384" y="263"/>
                    </a:lnTo>
                    <a:lnTo>
                      <a:pt x="384" y="265"/>
                    </a:lnTo>
                    <a:lnTo>
                      <a:pt x="384" y="267"/>
                    </a:lnTo>
                    <a:lnTo>
                      <a:pt x="386" y="267"/>
                    </a:lnTo>
                    <a:lnTo>
                      <a:pt x="387" y="267"/>
                    </a:lnTo>
                    <a:lnTo>
                      <a:pt x="389" y="268"/>
                    </a:lnTo>
                    <a:lnTo>
                      <a:pt x="389" y="270"/>
                    </a:lnTo>
                    <a:lnTo>
                      <a:pt x="391" y="270"/>
                    </a:lnTo>
                    <a:lnTo>
                      <a:pt x="392" y="270"/>
                    </a:lnTo>
                    <a:lnTo>
                      <a:pt x="392" y="272"/>
                    </a:lnTo>
                    <a:lnTo>
                      <a:pt x="394" y="272"/>
                    </a:lnTo>
                    <a:lnTo>
                      <a:pt x="396" y="272"/>
                    </a:lnTo>
                    <a:lnTo>
                      <a:pt x="396" y="270"/>
                    </a:lnTo>
                    <a:lnTo>
                      <a:pt x="397" y="270"/>
                    </a:lnTo>
                    <a:lnTo>
                      <a:pt x="399" y="272"/>
                    </a:lnTo>
                    <a:lnTo>
                      <a:pt x="401" y="273"/>
                    </a:lnTo>
                    <a:lnTo>
                      <a:pt x="403" y="273"/>
                    </a:lnTo>
                    <a:lnTo>
                      <a:pt x="401" y="273"/>
                    </a:lnTo>
                    <a:lnTo>
                      <a:pt x="401" y="275"/>
                    </a:lnTo>
                    <a:lnTo>
                      <a:pt x="401" y="277"/>
                    </a:lnTo>
                    <a:lnTo>
                      <a:pt x="401" y="279"/>
                    </a:lnTo>
                    <a:lnTo>
                      <a:pt x="403" y="279"/>
                    </a:lnTo>
                    <a:lnTo>
                      <a:pt x="403" y="280"/>
                    </a:lnTo>
                    <a:lnTo>
                      <a:pt x="404" y="282"/>
                    </a:lnTo>
                    <a:lnTo>
                      <a:pt x="404" y="284"/>
                    </a:lnTo>
                    <a:lnTo>
                      <a:pt x="403" y="284"/>
                    </a:lnTo>
                    <a:lnTo>
                      <a:pt x="406" y="289"/>
                    </a:lnTo>
                    <a:lnTo>
                      <a:pt x="406" y="290"/>
                    </a:lnTo>
                    <a:lnTo>
                      <a:pt x="408" y="292"/>
                    </a:lnTo>
                    <a:lnTo>
                      <a:pt x="408" y="294"/>
                    </a:lnTo>
                    <a:lnTo>
                      <a:pt x="409" y="296"/>
                    </a:lnTo>
                    <a:lnTo>
                      <a:pt x="411" y="296"/>
                    </a:lnTo>
                    <a:lnTo>
                      <a:pt x="411" y="297"/>
                    </a:lnTo>
                    <a:lnTo>
                      <a:pt x="409" y="297"/>
                    </a:lnTo>
                    <a:lnTo>
                      <a:pt x="408" y="297"/>
                    </a:lnTo>
                    <a:lnTo>
                      <a:pt x="408" y="299"/>
                    </a:lnTo>
                    <a:lnTo>
                      <a:pt x="408" y="301"/>
                    </a:lnTo>
                    <a:lnTo>
                      <a:pt x="406" y="308"/>
                    </a:lnTo>
                    <a:lnTo>
                      <a:pt x="404" y="309"/>
                    </a:lnTo>
                    <a:lnTo>
                      <a:pt x="404" y="313"/>
                    </a:lnTo>
                    <a:lnTo>
                      <a:pt x="403" y="314"/>
                    </a:lnTo>
                    <a:lnTo>
                      <a:pt x="403" y="316"/>
                    </a:lnTo>
                    <a:lnTo>
                      <a:pt x="403" y="318"/>
                    </a:lnTo>
                    <a:lnTo>
                      <a:pt x="401" y="319"/>
                    </a:lnTo>
                    <a:lnTo>
                      <a:pt x="401" y="321"/>
                    </a:lnTo>
                    <a:lnTo>
                      <a:pt x="403" y="321"/>
                    </a:lnTo>
                    <a:lnTo>
                      <a:pt x="403" y="323"/>
                    </a:lnTo>
                    <a:lnTo>
                      <a:pt x="403" y="325"/>
                    </a:lnTo>
                    <a:lnTo>
                      <a:pt x="404" y="325"/>
                    </a:lnTo>
                    <a:lnTo>
                      <a:pt x="403" y="325"/>
                    </a:lnTo>
                    <a:lnTo>
                      <a:pt x="403" y="326"/>
                    </a:lnTo>
                    <a:lnTo>
                      <a:pt x="401" y="326"/>
                    </a:lnTo>
                    <a:lnTo>
                      <a:pt x="399" y="330"/>
                    </a:lnTo>
                    <a:lnTo>
                      <a:pt x="397" y="331"/>
                    </a:lnTo>
                    <a:lnTo>
                      <a:pt x="397" y="333"/>
                    </a:lnTo>
                    <a:lnTo>
                      <a:pt x="397" y="335"/>
                    </a:lnTo>
                    <a:lnTo>
                      <a:pt x="394" y="342"/>
                    </a:lnTo>
                    <a:lnTo>
                      <a:pt x="391" y="348"/>
                    </a:lnTo>
                    <a:lnTo>
                      <a:pt x="389" y="352"/>
                    </a:lnTo>
                    <a:lnTo>
                      <a:pt x="394" y="355"/>
                    </a:lnTo>
                    <a:lnTo>
                      <a:pt x="397" y="359"/>
                    </a:lnTo>
                    <a:lnTo>
                      <a:pt x="397" y="360"/>
                    </a:lnTo>
                    <a:lnTo>
                      <a:pt x="397" y="362"/>
                    </a:lnTo>
                    <a:lnTo>
                      <a:pt x="396" y="362"/>
                    </a:lnTo>
                    <a:lnTo>
                      <a:pt x="394" y="362"/>
                    </a:lnTo>
                    <a:lnTo>
                      <a:pt x="392" y="362"/>
                    </a:lnTo>
                    <a:lnTo>
                      <a:pt x="392" y="364"/>
                    </a:lnTo>
                    <a:lnTo>
                      <a:pt x="391" y="364"/>
                    </a:lnTo>
                    <a:lnTo>
                      <a:pt x="391" y="365"/>
                    </a:lnTo>
                    <a:lnTo>
                      <a:pt x="389" y="365"/>
                    </a:lnTo>
                    <a:lnTo>
                      <a:pt x="387" y="36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8" name="Freeform 17">
                <a:extLst>
                  <a:ext uri="{FF2B5EF4-FFF2-40B4-BE49-F238E27FC236}">
                    <a16:creationId xmlns:a16="http://schemas.microsoft.com/office/drawing/2014/main" id="{F891C738-8B7F-A920-D907-FF661EB76FF3}"/>
                  </a:ext>
                </a:extLst>
              </p:cNvPr>
              <p:cNvSpPr>
                <a:spLocks noEditPoints="1"/>
              </p:cNvSpPr>
              <p:nvPr/>
            </p:nvSpPr>
            <p:spPr bwMode="auto">
              <a:xfrm>
                <a:off x="5700022" y="2769132"/>
                <a:ext cx="54044" cy="57276"/>
              </a:xfrm>
              <a:custGeom>
                <a:avLst/>
                <a:gdLst>
                  <a:gd name="T0" fmla="*/ 2 w 184"/>
                  <a:gd name="T1" fmla="*/ 187 h 195"/>
                  <a:gd name="T2" fmla="*/ 4 w 184"/>
                  <a:gd name="T3" fmla="*/ 187 h 195"/>
                  <a:gd name="T4" fmla="*/ 4 w 184"/>
                  <a:gd name="T5" fmla="*/ 189 h 195"/>
                  <a:gd name="T6" fmla="*/ 5 w 184"/>
                  <a:gd name="T7" fmla="*/ 189 h 195"/>
                  <a:gd name="T8" fmla="*/ 7 w 184"/>
                  <a:gd name="T9" fmla="*/ 189 h 195"/>
                  <a:gd name="T10" fmla="*/ 7 w 184"/>
                  <a:gd name="T11" fmla="*/ 190 h 195"/>
                  <a:gd name="T12" fmla="*/ 7 w 184"/>
                  <a:gd name="T13" fmla="*/ 192 h 195"/>
                  <a:gd name="T14" fmla="*/ 7 w 184"/>
                  <a:gd name="T15" fmla="*/ 194 h 195"/>
                  <a:gd name="T16" fmla="*/ 5 w 184"/>
                  <a:gd name="T17" fmla="*/ 192 h 195"/>
                  <a:gd name="T18" fmla="*/ 5 w 184"/>
                  <a:gd name="T19" fmla="*/ 194 h 195"/>
                  <a:gd name="T20" fmla="*/ 7 w 184"/>
                  <a:gd name="T21" fmla="*/ 195 h 195"/>
                  <a:gd name="T22" fmla="*/ 5 w 184"/>
                  <a:gd name="T23" fmla="*/ 195 h 195"/>
                  <a:gd name="T24" fmla="*/ 4 w 184"/>
                  <a:gd name="T25" fmla="*/ 195 h 195"/>
                  <a:gd name="T26" fmla="*/ 4 w 184"/>
                  <a:gd name="T27" fmla="*/ 194 h 195"/>
                  <a:gd name="T28" fmla="*/ 4 w 184"/>
                  <a:gd name="T29" fmla="*/ 192 h 195"/>
                  <a:gd name="T30" fmla="*/ 5 w 184"/>
                  <a:gd name="T31" fmla="*/ 192 h 195"/>
                  <a:gd name="T32" fmla="*/ 4 w 184"/>
                  <a:gd name="T33" fmla="*/ 192 h 195"/>
                  <a:gd name="T34" fmla="*/ 4 w 184"/>
                  <a:gd name="T35" fmla="*/ 190 h 195"/>
                  <a:gd name="T36" fmla="*/ 4 w 184"/>
                  <a:gd name="T37" fmla="*/ 189 h 195"/>
                  <a:gd name="T38" fmla="*/ 2 w 184"/>
                  <a:gd name="T39" fmla="*/ 189 h 195"/>
                  <a:gd name="T40" fmla="*/ 0 w 184"/>
                  <a:gd name="T41" fmla="*/ 189 h 195"/>
                  <a:gd name="T42" fmla="*/ 0 w 184"/>
                  <a:gd name="T43" fmla="*/ 187 h 195"/>
                  <a:gd name="T44" fmla="*/ 0 w 184"/>
                  <a:gd name="T45" fmla="*/ 185 h 195"/>
                  <a:gd name="T46" fmla="*/ 2 w 184"/>
                  <a:gd name="T47" fmla="*/ 187 h 195"/>
                  <a:gd name="T48" fmla="*/ 182 w 184"/>
                  <a:gd name="T49" fmla="*/ 3 h 195"/>
                  <a:gd name="T50" fmla="*/ 184 w 184"/>
                  <a:gd name="T51" fmla="*/ 3 h 195"/>
                  <a:gd name="T52" fmla="*/ 184 w 184"/>
                  <a:gd name="T53" fmla="*/ 5 h 195"/>
                  <a:gd name="T54" fmla="*/ 182 w 184"/>
                  <a:gd name="T55" fmla="*/ 5 h 195"/>
                  <a:gd name="T56" fmla="*/ 182 w 184"/>
                  <a:gd name="T57" fmla="*/ 3 h 195"/>
                  <a:gd name="T58" fmla="*/ 174 w 184"/>
                  <a:gd name="T59" fmla="*/ 0 h 195"/>
                  <a:gd name="T60" fmla="*/ 175 w 184"/>
                  <a:gd name="T61" fmla="*/ 0 h 195"/>
                  <a:gd name="T62" fmla="*/ 174 w 184"/>
                  <a:gd name="T63" fmla="*/ 0 h 195"/>
                  <a:gd name="T64" fmla="*/ 2 w 184"/>
                  <a:gd name="T65" fmla="*/ 190 h 195"/>
                  <a:gd name="T66" fmla="*/ 4 w 184"/>
                  <a:gd name="T67" fmla="*/ 190 h 195"/>
                  <a:gd name="T68" fmla="*/ 4 w 184"/>
                  <a:gd name="T69" fmla="*/ 192 h 195"/>
                  <a:gd name="T70" fmla="*/ 2 w 184"/>
                  <a:gd name="T71" fmla="*/ 192 h 195"/>
                  <a:gd name="T72" fmla="*/ 2 w 184"/>
                  <a:gd name="T73" fmla="*/ 19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4" h="195">
                    <a:moveTo>
                      <a:pt x="2" y="187"/>
                    </a:moveTo>
                    <a:lnTo>
                      <a:pt x="4" y="187"/>
                    </a:lnTo>
                    <a:lnTo>
                      <a:pt x="4" y="189"/>
                    </a:lnTo>
                    <a:lnTo>
                      <a:pt x="5" y="189"/>
                    </a:lnTo>
                    <a:lnTo>
                      <a:pt x="7" y="189"/>
                    </a:lnTo>
                    <a:lnTo>
                      <a:pt x="7" y="190"/>
                    </a:lnTo>
                    <a:lnTo>
                      <a:pt x="7" y="192"/>
                    </a:lnTo>
                    <a:lnTo>
                      <a:pt x="7" y="194"/>
                    </a:lnTo>
                    <a:lnTo>
                      <a:pt x="5" y="192"/>
                    </a:lnTo>
                    <a:lnTo>
                      <a:pt x="5" y="194"/>
                    </a:lnTo>
                    <a:lnTo>
                      <a:pt x="7" y="195"/>
                    </a:lnTo>
                    <a:lnTo>
                      <a:pt x="5" y="195"/>
                    </a:lnTo>
                    <a:lnTo>
                      <a:pt x="4" y="195"/>
                    </a:lnTo>
                    <a:lnTo>
                      <a:pt x="4" y="194"/>
                    </a:lnTo>
                    <a:lnTo>
                      <a:pt x="4" y="192"/>
                    </a:lnTo>
                    <a:lnTo>
                      <a:pt x="5" y="192"/>
                    </a:lnTo>
                    <a:lnTo>
                      <a:pt x="4" y="192"/>
                    </a:lnTo>
                    <a:lnTo>
                      <a:pt x="4" y="190"/>
                    </a:lnTo>
                    <a:lnTo>
                      <a:pt x="4" y="189"/>
                    </a:lnTo>
                    <a:lnTo>
                      <a:pt x="2" y="189"/>
                    </a:lnTo>
                    <a:lnTo>
                      <a:pt x="0" y="189"/>
                    </a:lnTo>
                    <a:lnTo>
                      <a:pt x="0" y="187"/>
                    </a:lnTo>
                    <a:lnTo>
                      <a:pt x="0" y="185"/>
                    </a:lnTo>
                    <a:lnTo>
                      <a:pt x="2" y="187"/>
                    </a:lnTo>
                    <a:close/>
                    <a:moveTo>
                      <a:pt x="182" y="3"/>
                    </a:moveTo>
                    <a:lnTo>
                      <a:pt x="184" y="3"/>
                    </a:lnTo>
                    <a:lnTo>
                      <a:pt x="184" y="5"/>
                    </a:lnTo>
                    <a:lnTo>
                      <a:pt x="182" y="5"/>
                    </a:lnTo>
                    <a:lnTo>
                      <a:pt x="182" y="3"/>
                    </a:lnTo>
                    <a:close/>
                    <a:moveTo>
                      <a:pt x="174" y="0"/>
                    </a:moveTo>
                    <a:lnTo>
                      <a:pt x="175" y="0"/>
                    </a:lnTo>
                    <a:lnTo>
                      <a:pt x="174" y="0"/>
                    </a:lnTo>
                    <a:close/>
                    <a:moveTo>
                      <a:pt x="2" y="190"/>
                    </a:moveTo>
                    <a:lnTo>
                      <a:pt x="4" y="190"/>
                    </a:lnTo>
                    <a:lnTo>
                      <a:pt x="4" y="192"/>
                    </a:lnTo>
                    <a:lnTo>
                      <a:pt x="2" y="192"/>
                    </a:lnTo>
                    <a:lnTo>
                      <a:pt x="2" y="19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9" name="Freeform 18">
                <a:extLst>
                  <a:ext uri="{FF2B5EF4-FFF2-40B4-BE49-F238E27FC236}">
                    <a16:creationId xmlns:a16="http://schemas.microsoft.com/office/drawing/2014/main" id="{4E88C0F6-0275-140C-B363-E9B295EBEBA7}"/>
                  </a:ext>
                </a:extLst>
              </p:cNvPr>
              <p:cNvSpPr>
                <a:spLocks noEditPoints="1"/>
              </p:cNvSpPr>
              <p:nvPr/>
            </p:nvSpPr>
            <p:spPr bwMode="auto">
              <a:xfrm>
                <a:off x="5644513" y="2894550"/>
                <a:ext cx="442927" cy="407976"/>
              </a:xfrm>
              <a:custGeom>
                <a:avLst/>
                <a:gdLst>
                  <a:gd name="T0" fmla="*/ 84 w 1508"/>
                  <a:gd name="T1" fmla="*/ 517 h 1389"/>
                  <a:gd name="T2" fmla="*/ 6 w 1508"/>
                  <a:gd name="T3" fmla="*/ 437 h 1389"/>
                  <a:gd name="T4" fmla="*/ 45 w 1508"/>
                  <a:gd name="T5" fmla="*/ 348 h 1389"/>
                  <a:gd name="T6" fmla="*/ 119 w 1508"/>
                  <a:gd name="T7" fmla="*/ 318 h 1389"/>
                  <a:gd name="T8" fmla="*/ 138 w 1508"/>
                  <a:gd name="T9" fmla="*/ 158 h 1389"/>
                  <a:gd name="T10" fmla="*/ 194 w 1508"/>
                  <a:gd name="T11" fmla="*/ 117 h 1389"/>
                  <a:gd name="T12" fmla="*/ 286 w 1508"/>
                  <a:gd name="T13" fmla="*/ 144 h 1389"/>
                  <a:gd name="T14" fmla="*/ 349 w 1508"/>
                  <a:gd name="T15" fmla="*/ 109 h 1389"/>
                  <a:gd name="T16" fmla="*/ 323 w 1508"/>
                  <a:gd name="T17" fmla="*/ 39 h 1389"/>
                  <a:gd name="T18" fmla="*/ 395 w 1508"/>
                  <a:gd name="T19" fmla="*/ 39 h 1389"/>
                  <a:gd name="T20" fmla="*/ 473 w 1508"/>
                  <a:gd name="T21" fmla="*/ 10 h 1389"/>
                  <a:gd name="T22" fmla="*/ 475 w 1508"/>
                  <a:gd name="T23" fmla="*/ 93 h 1389"/>
                  <a:gd name="T24" fmla="*/ 539 w 1508"/>
                  <a:gd name="T25" fmla="*/ 126 h 1389"/>
                  <a:gd name="T26" fmla="*/ 609 w 1508"/>
                  <a:gd name="T27" fmla="*/ 93 h 1389"/>
                  <a:gd name="T28" fmla="*/ 708 w 1508"/>
                  <a:gd name="T29" fmla="*/ 103 h 1389"/>
                  <a:gd name="T30" fmla="*/ 764 w 1508"/>
                  <a:gd name="T31" fmla="*/ 30 h 1389"/>
                  <a:gd name="T32" fmla="*/ 813 w 1508"/>
                  <a:gd name="T33" fmla="*/ 120 h 1389"/>
                  <a:gd name="T34" fmla="*/ 786 w 1508"/>
                  <a:gd name="T35" fmla="*/ 183 h 1389"/>
                  <a:gd name="T36" fmla="*/ 854 w 1508"/>
                  <a:gd name="T37" fmla="*/ 187 h 1389"/>
                  <a:gd name="T38" fmla="*/ 861 w 1508"/>
                  <a:gd name="T39" fmla="*/ 223 h 1389"/>
                  <a:gd name="T40" fmla="*/ 896 w 1508"/>
                  <a:gd name="T41" fmla="*/ 199 h 1389"/>
                  <a:gd name="T42" fmla="*/ 924 w 1508"/>
                  <a:gd name="T43" fmla="*/ 211 h 1389"/>
                  <a:gd name="T44" fmla="*/ 949 w 1508"/>
                  <a:gd name="T45" fmla="*/ 219 h 1389"/>
                  <a:gd name="T46" fmla="*/ 969 w 1508"/>
                  <a:gd name="T47" fmla="*/ 234 h 1389"/>
                  <a:gd name="T48" fmla="*/ 988 w 1508"/>
                  <a:gd name="T49" fmla="*/ 258 h 1389"/>
                  <a:gd name="T50" fmla="*/ 1012 w 1508"/>
                  <a:gd name="T51" fmla="*/ 263 h 1389"/>
                  <a:gd name="T52" fmla="*/ 1049 w 1508"/>
                  <a:gd name="T53" fmla="*/ 262 h 1389"/>
                  <a:gd name="T54" fmla="*/ 1153 w 1508"/>
                  <a:gd name="T55" fmla="*/ 275 h 1389"/>
                  <a:gd name="T56" fmla="*/ 1264 w 1508"/>
                  <a:gd name="T57" fmla="*/ 350 h 1389"/>
                  <a:gd name="T58" fmla="*/ 1323 w 1508"/>
                  <a:gd name="T59" fmla="*/ 437 h 1389"/>
                  <a:gd name="T60" fmla="*/ 1258 w 1508"/>
                  <a:gd name="T61" fmla="*/ 539 h 1389"/>
                  <a:gd name="T62" fmla="*/ 1192 w 1508"/>
                  <a:gd name="T63" fmla="*/ 607 h 1389"/>
                  <a:gd name="T64" fmla="*/ 1180 w 1508"/>
                  <a:gd name="T65" fmla="*/ 672 h 1389"/>
                  <a:gd name="T66" fmla="*/ 1163 w 1508"/>
                  <a:gd name="T67" fmla="*/ 797 h 1389"/>
                  <a:gd name="T68" fmla="*/ 1117 w 1508"/>
                  <a:gd name="T69" fmla="*/ 908 h 1389"/>
                  <a:gd name="T70" fmla="*/ 1044 w 1508"/>
                  <a:gd name="T71" fmla="*/ 976 h 1389"/>
                  <a:gd name="T72" fmla="*/ 1002 w 1508"/>
                  <a:gd name="T73" fmla="*/ 974 h 1389"/>
                  <a:gd name="T74" fmla="*/ 949 w 1508"/>
                  <a:gd name="T75" fmla="*/ 1005 h 1389"/>
                  <a:gd name="T76" fmla="*/ 859 w 1508"/>
                  <a:gd name="T77" fmla="*/ 1085 h 1389"/>
                  <a:gd name="T78" fmla="*/ 856 w 1508"/>
                  <a:gd name="T79" fmla="*/ 1170 h 1389"/>
                  <a:gd name="T80" fmla="*/ 743 w 1508"/>
                  <a:gd name="T81" fmla="*/ 1320 h 1389"/>
                  <a:gd name="T82" fmla="*/ 687 w 1508"/>
                  <a:gd name="T83" fmla="*/ 1332 h 1389"/>
                  <a:gd name="T84" fmla="*/ 607 w 1508"/>
                  <a:gd name="T85" fmla="*/ 1272 h 1389"/>
                  <a:gd name="T86" fmla="*/ 585 w 1508"/>
                  <a:gd name="T87" fmla="*/ 1213 h 1389"/>
                  <a:gd name="T88" fmla="*/ 653 w 1508"/>
                  <a:gd name="T89" fmla="*/ 1146 h 1389"/>
                  <a:gd name="T90" fmla="*/ 680 w 1508"/>
                  <a:gd name="T91" fmla="*/ 1078 h 1389"/>
                  <a:gd name="T92" fmla="*/ 650 w 1508"/>
                  <a:gd name="T93" fmla="*/ 1008 h 1389"/>
                  <a:gd name="T94" fmla="*/ 594 w 1508"/>
                  <a:gd name="T95" fmla="*/ 944 h 1389"/>
                  <a:gd name="T96" fmla="*/ 546 w 1508"/>
                  <a:gd name="T97" fmla="*/ 905 h 1389"/>
                  <a:gd name="T98" fmla="*/ 543 w 1508"/>
                  <a:gd name="T99" fmla="*/ 779 h 1389"/>
                  <a:gd name="T100" fmla="*/ 456 w 1508"/>
                  <a:gd name="T101" fmla="*/ 663 h 1389"/>
                  <a:gd name="T102" fmla="*/ 391 w 1508"/>
                  <a:gd name="T103" fmla="*/ 624 h 1389"/>
                  <a:gd name="T104" fmla="*/ 312 w 1508"/>
                  <a:gd name="T105" fmla="*/ 588 h 1389"/>
                  <a:gd name="T106" fmla="*/ 281 w 1508"/>
                  <a:gd name="T107" fmla="*/ 510 h 1389"/>
                  <a:gd name="T108" fmla="*/ 203 w 1508"/>
                  <a:gd name="T109" fmla="*/ 539 h 1389"/>
                  <a:gd name="T110" fmla="*/ 930 w 1508"/>
                  <a:gd name="T111" fmla="*/ 209 h 1389"/>
                  <a:gd name="T112" fmla="*/ 781 w 1508"/>
                  <a:gd name="T113" fmla="*/ 177 h 1389"/>
                  <a:gd name="T114" fmla="*/ 818 w 1508"/>
                  <a:gd name="T115" fmla="*/ 173 h 1389"/>
                  <a:gd name="T116" fmla="*/ 793 w 1508"/>
                  <a:gd name="T117" fmla="*/ 168 h 1389"/>
                  <a:gd name="T118" fmla="*/ 990 w 1508"/>
                  <a:gd name="T119" fmla="*/ 285 h 1389"/>
                  <a:gd name="T120" fmla="*/ 986 w 1508"/>
                  <a:gd name="T121" fmla="*/ 228 h 1389"/>
                  <a:gd name="T122" fmla="*/ 1189 w 1508"/>
                  <a:gd name="T123" fmla="*/ 621 h 1389"/>
                  <a:gd name="T124" fmla="*/ 973 w 1508"/>
                  <a:gd name="T125" fmla="*/ 1007 h 1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08" h="1389">
                    <a:moveTo>
                      <a:pt x="150" y="549"/>
                    </a:moveTo>
                    <a:lnTo>
                      <a:pt x="148" y="549"/>
                    </a:lnTo>
                    <a:lnTo>
                      <a:pt x="148" y="551"/>
                    </a:lnTo>
                    <a:lnTo>
                      <a:pt x="148" y="549"/>
                    </a:lnTo>
                    <a:lnTo>
                      <a:pt x="148" y="551"/>
                    </a:lnTo>
                    <a:lnTo>
                      <a:pt x="147" y="551"/>
                    </a:lnTo>
                    <a:lnTo>
                      <a:pt x="145" y="551"/>
                    </a:lnTo>
                    <a:lnTo>
                      <a:pt x="143" y="551"/>
                    </a:lnTo>
                    <a:lnTo>
                      <a:pt x="143" y="549"/>
                    </a:lnTo>
                    <a:lnTo>
                      <a:pt x="142" y="549"/>
                    </a:lnTo>
                    <a:lnTo>
                      <a:pt x="140" y="549"/>
                    </a:lnTo>
                    <a:lnTo>
                      <a:pt x="138" y="549"/>
                    </a:lnTo>
                    <a:lnTo>
                      <a:pt x="136" y="549"/>
                    </a:lnTo>
                    <a:lnTo>
                      <a:pt x="136" y="551"/>
                    </a:lnTo>
                    <a:lnTo>
                      <a:pt x="135" y="549"/>
                    </a:lnTo>
                    <a:lnTo>
                      <a:pt x="135" y="551"/>
                    </a:lnTo>
                    <a:lnTo>
                      <a:pt x="133" y="551"/>
                    </a:lnTo>
                    <a:lnTo>
                      <a:pt x="131" y="551"/>
                    </a:lnTo>
                    <a:lnTo>
                      <a:pt x="131" y="553"/>
                    </a:lnTo>
                    <a:lnTo>
                      <a:pt x="130" y="553"/>
                    </a:lnTo>
                    <a:lnTo>
                      <a:pt x="128" y="554"/>
                    </a:lnTo>
                    <a:lnTo>
                      <a:pt x="128" y="553"/>
                    </a:lnTo>
                    <a:lnTo>
                      <a:pt x="128" y="554"/>
                    </a:lnTo>
                    <a:lnTo>
                      <a:pt x="126" y="553"/>
                    </a:lnTo>
                    <a:lnTo>
                      <a:pt x="126" y="554"/>
                    </a:lnTo>
                    <a:lnTo>
                      <a:pt x="125" y="554"/>
                    </a:lnTo>
                    <a:lnTo>
                      <a:pt x="123" y="554"/>
                    </a:lnTo>
                    <a:lnTo>
                      <a:pt x="123" y="553"/>
                    </a:lnTo>
                    <a:lnTo>
                      <a:pt x="121" y="553"/>
                    </a:lnTo>
                    <a:lnTo>
                      <a:pt x="119" y="551"/>
                    </a:lnTo>
                    <a:lnTo>
                      <a:pt x="118" y="549"/>
                    </a:lnTo>
                    <a:lnTo>
                      <a:pt x="114" y="551"/>
                    </a:lnTo>
                    <a:lnTo>
                      <a:pt x="114" y="542"/>
                    </a:lnTo>
                    <a:lnTo>
                      <a:pt x="114" y="539"/>
                    </a:lnTo>
                    <a:lnTo>
                      <a:pt x="114" y="537"/>
                    </a:lnTo>
                    <a:lnTo>
                      <a:pt x="114" y="534"/>
                    </a:lnTo>
                    <a:lnTo>
                      <a:pt x="114" y="532"/>
                    </a:lnTo>
                    <a:lnTo>
                      <a:pt x="114" y="530"/>
                    </a:lnTo>
                    <a:lnTo>
                      <a:pt x="114" y="529"/>
                    </a:lnTo>
                    <a:lnTo>
                      <a:pt x="114" y="525"/>
                    </a:lnTo>
                    <a:lnTo>
                      <a:pt x="114" y="524"/>
                    </a:lnTo>
                    <a:lnTo>
                      <a:pt x="114" y="522"/>
                    </a:lnTo>
                    <a:lnTo>
                      <a:pt x="114" y="520"/>
                    </a:lnTo>
                    <a:lnTo>
                      <a:pt x="114" y="519"/>
                    </a:lnTo>
                    <a:lnTo>
                      <a:pt x="114" y="517"/>
                    </a:lnTo>
                    <a:lnTo>
                      <a:pt x="114" y="513"/>
                    </a:lnTo>
                    <a:lnTo>
                      <a:pt x="114" y="512"/>
                    </a:lnTo>
                    <a:lnTo>
                      <a:pt x="114" y="510"/>
                    </a:lnTo>
                    <a:lnTo>
                      <a:pt x="116" y="510"/>
                    </a:lnTo>
                    <a:lnTo>
                      <a:pt x="118" y="510"/>
                    </a:lnTo>
                    <a:lnTo>
                      <a:pt x="118" y="508"/>
                    </a:lnTo>
                    <a:lnTo>
                      <a:pt x="118" y="507"/>
                    </a:lnTo>
                    <a:lnTo>
                      <a:pt x="116" y="507"/>
                    </a:lnTo>
                    <a:lnTo>
                      <a:pt x="116" y="505"/>
                    </a:lnTo>
                    <a:lnTo>
                      <a:pt x="114" y="503"/>
                    </a:lnTo>
                    <a:lnTo>
                      <a:pt x="116" y="503"/>
                    </a:lnTo>
                    <a:lnTo>
                      <a:pt x="114" y="502"/>
                    </a:lnTo>
                    <a:lnTo>
                      <a:pt x="116" y="502"/>
                    </a:lnTo>
                    <a:lnTo>
                      <a:pt x="116" y="503"/>
                    </a:lnTo>
                    <a:lnTo>
                      <a:pt x="116" y="502"/>
                    </a:lnTo>
                    <a:lnTo>
                      <a:pt x="116" y="503"/>
                    </a:lnTo>
                    <a:lnTo>
                      <a:pt x="116" y="502"/>
                    </a:lnTo>
                    <a:lnTo>
                      <a:pt x="118" y="502"/>
                    </a:lnTo>
                    <a:lnTo>
                      <a:pt x="116" y="502"/>
                    </a:lnTo>
                    <a:lnTo>
                      <a:pt x="118" y="502"/>
                    </a:lnTo>
                    <a:lnTo>
                      <a:pt x="118" y="500"/>
                    </a:lnTo>
                    <a:lnTo>
                      <a:pt x="118" y="498"/>
                    </a:lnTo>
                    <a:lnTo>
                      <a:pt x="116" y="498"/>
                    </a:lnTo>
                    <a:lnTo>
                      <a:pt x="114" y="498"/>
                    </a:lnTo>
                    <a:lnTo>
                      <a:pt x="114" y="500"/>
                    </a:lnTo>
                    <a:lnTo>
                      <a:pt x="113" y="500"/>
                    </a:lnTo>
                    <a:lnTo>
                      <a:pt x="113" y="502"/>
                    </a:lnTo>
                    <a:lnTo>
                      <a:pt x="111" y="502"/>
                    </a:lnTo>
                    <a:lnTo>
                      <a:pt x="111" y="503"/>
                    </a:lnTo>
                    <a:lnTo>
                      <a:pt x="109" y="502"/>
                    </a:lnTo>
                    <a:lnTo>
                      <a:pt x="109" y="503"/>
                    </a:lnTo>
                    <a:lnTo>
                      <a:pt x="109" y="505"/>
                    </a:lnTo>
                    <a:lnTo>
                      <a:pt x="108" y="505"/>
                    </a:lnTo>
                    <a:lnTo>
                      <a:pt x="106" y="505"/>
                    </a:lnTo>
                    <a:lnTo>
                      <a:pt x="106" y="507"/>
                    </a:lnTo>
                    <a:lnTo>
                      <a:pt x="104" y="508"/>
                    </a:lnTo>
                    <a:lnTo>
                      <a:pt x="102" y="508"/>
                    </a:lnTo>
                    <a:lnTo>
                      <a:pt x="102" y="510"/>
                    </a:lnTo>
                    <a:lnTo>
                      <a:pt x="102" y="512"/>
                    </a:lnTo>
                    <a:lnTo>
                      <a:pt x="101" y="512"/>
                    </a:lnTo>
                    <a:lnTo>
                      <a:pt x="99" y="512"/>
                    </a:lnTo>
                    <a:lnTo>
                      <a:pt x="97" y="512"/>
                    </a:lnTo>
                    <a:lnTo>
                      <a:pt x="97" y="513"/>
                    </a:lnTo>
                    <a:lnTo>
                      <a:pt x="96" y="513"/>
                    </a:lnTo>
                    <a:lnTo>
                      <a:pt x="96" y="515"/>
                    </a:lnTo>
                    <a:lnTo>
                      <a:pt x="94" y="515"/>
                    </a:lnTo>
                    <a:lnTo>
                      <a:pt x="94" y="517"/>
                    </a:lnTo>
                    <a:lnTo>
                      <a:pt x="92" y="517"/>
                    </a:lnTo>
                    <a:lnTo>
                      <a:pt x="91" y="517"/>
                    </a:lnTo>
                    <a:lnTo>
                      <a:pt x="89" y="517"/>
                    </a:lnTo>
                    <a:lnTo>
                      <a:pt x="85" y="517"/>
                    </a:lnTo>
                    <a:lnTo>
                      <a:pt x="84" y="517"/>
                    </a:lnTo>
                    <a:lnTo>
                      <a:pt x="80" y="517"/>
                    </a:lnTo>
                    <a:lnTo>
                      <a:pt x="77" y="517"/>
                    </a:lnTo>
                    <a:lnTo>
                      <a:pt x="74" y="517"/>
                    </a:lnTo>
                    <a:lnTo>
                      <a:pt x="70" y="517"/>
                    </a:lnTo>
                    <a:lnTo>
                      <a:pt x="67" y="517"/>
                    </a:lnTo>
                    <a:lnTo>
                      <a:pt x="62" y="517"/>
                    </a:lnTo>
                    <a:lnTo>
                      <a:pt x="63" y="517"/>
                    </a:lnTo>
                    <a:lnTo>
                      <a:pt x="62" y="515"/>
                    </a:lnTo>
                    <a:lnTo>
                      <a:pt x="62" y="513"/>
                    </a:lnTo>
                    <a:lnTo>
                      <a:pt x="63" y="513"/>
                    </a:lnTo>
                    <a:lnTo>
                      <a:pt x="62" y="512"/>
                    </a:lnTo>
                    <a:lnTo>
                      <a:pt x="63" y="512"/>
                    </a:lnTo>
                    <a:lnTo>
                      <a:pt x="62" y="512"/>
                    </a:lnTo>
                    <a:lnTo>
                      <a:pt x="63" y="510"/>
                    </a:lnTo>
                    <a:lnTo>
                      <a:pt x="62" y="510"/>
                    </a:lnTo>
                    <a:lnTo>
                      <a:pt x="60" y="510"/>
                    </a:lnTo>
                    <a:lnTo>
                      <a:pt x="60" y="508"/>
                    </a:lnTo>
                    <a:lnTo>
                      <a:pt x="58" y="508"/>
                    </a:lnTo>
                    <a:lnTo>
                      <a:pt x="60" y="508"/>
                    </a:lnTo>
                    <a:lnTo>
                      <a:pt x="58" y="507"/>
                    </a:lnTo>
                    <a:lnTo>
                      <a:pt x="60" y="507"/>
                    </a:lnTo>
                    <a:lnTo>
                      <a:pt x="60" y="505"/>
                    </a:lnTo>
                    <a:lnTo>
                      <a:pt x="58" y="505"/>
                    </a:lnTo>
                    <a:lnTo>
                      <a:pt x="60" y="505"/>
                    </a:lnTo>
                    <a:lnTo>
                      <a:pt x="58" y="505"/>
                    </a:lnTo>
                    <a:lnTo>
                      <a:pt x="58" y="503"/>
                    </a:lnTo>
                    <a:lnTo>
                      <a:pt x="58" y="502"/>
                    </a:lnTo>
                    <a:lnTo>
                      <a:pt x="57" y="502"/>
                    </a:lnTo>
                    <a:lnTo>
                      <a:pt x="57" y="500"/>
                    </a:lnTo>
                    <a:lnTo>
                      <a:pt x="55" y="500"/>
                    </a:lnTo>
                    <a:lnTo>
                      <a:pt x="53" y="500"/>
                    </a:lnTo>
                    <a:lnTo>
                      <a:pt x="51" y="500"/>
                    </a:lnTo>
                    <a:lnTo>
                      <a:pt x="50" y="500"/>
                    </a:lnTo>
                    <a:lnTo>
                      <a:pt x="48" y="500"/>
                    </a:lnTo>
                    <a:lnTo>
                      <a:pt x="48" y="498"/>
                    </a:lnTo>
                    <a:lnTo>
                      <a:pt x="46" y="498"/>
                    </a:lnTo>
                    <a:lnTo>
                      <a:pt x="45" y="498"/>
                    </a:lnTo>
                    <a:lnTo>
                      <a:pt x="43" y="498"/>
                    </a:lnTo>
                    <a:lnTo>
                      <a:pt x="43" y="496"/>
                    </a:lnTo>
                    <a:lnTo>
                      <a:pt x="36" y="496"/>
                    </a:lnTo>
                    <a:lnTo>
                      <a:pt x="28" y="496"/>
                    </a:lnTo>
                    <a:lnTo>
                      <a:pt x="28" y="495"/>
                    </a:lnTo>
                    <a:lnTo>
                      <a:pt x="29" y="495"/>
                    </a:lnTo>
                    <a:lnTo>
                      <a:pt x="31" y="493"/>
                    </a:lnTo>
                    <a:lnTo>
                      <a:pt x="31" y="491"/>
                    </a:lnTo>
                    <a:lnTo>
                      <a:pt x="33" y="491"/>
                    </a:lnTo>
                    <a:lnTo>
                      <a:pt x="34" y="490"/>
                    </a:lnTo>
                    <a:lnTo>
                      <a:pt x="33" y="490"/>
                    </a:lnTo>
                    <a:lnTo>
                      <a:pt x="34" y="488"/>
                    </a:lnTo>
                    <a:lnTo>
                      <a:pt x="36" y="488"/>
                    </a:lnTo>
                    <a:lnTo>
                      <a:pt x="36" y="486"/>
                    </a:lnTo>
                    <a:lnTo>
                      <a:pt x="36" y="485"/>
                    </a:lnTo>
                    <a:lnTo>
                      <a:pt x="36" y="483"/>
                    </a:lnTo>
                    <a:lnTo>
                      <a:pt x="34" y="483"/>
                    </a:lnTo>
                    <a:lnTo>
                      <a:pt x="34" y="481"/>
                    </a:lnTo>
                    <a:lnTo>
                      <a:pt x="33" y="479"/>
                    </a:lnTo>
                    <a:lnTo>
                      <a:pt x="31" y="478"/>
                    </a:lnTo>
                    <a:lnTo>
                      <a:pt x="29" y="476"/>
                    </a:lnTo>
                    <a:lnTo>
                      <a:pt x="29" y="474"/>
                    </a:lnTo>
                    <a:lnTo>
                      <a:pt x="29" y="473"/>
                    </a:lnTo>
                    <a:lnTo>
                      <a:pt x="28" y="473"/>
                    </a:lnTo>
                    <a:lnTo>
                      <a:pt x="26" y="473"/>
                    </a:lnTo>
                    <a:lnTo>
                      <a:pt x="24" y="473"/>
                    </a:lnTo>
                    <a:lnTo>
                      <a:pt x="24" y="471"/>
                    </a:lnTo>
                    <a:lnTo>
                      <a:pt x="23" y="471"/>
                    </a:lnTo>
                    <a:lnTo>
                      <a:pt x="23" y="469"/>
                    </a:lnTo>
                    <a:lnTo>
                      <a:pt x="23" y="467"/>
                    </a:lnTo>
                    <a:lnTo>
                      <a:pt x="23" y="466"/>
                    </a:lnTo>
                    <a:lnTo>
                      <a:pt x="21" y="466"/>
                    </a:lnTo>
                    <a:lnTo>
                      <a:pt x="21" y="464"/>
                    </a:lnTo>
                    <a:lnTo>
                      <a:pt x="21" y="462"/>
                    </a:lnTo>
                    <a:lnTo>
                      <a:pt x="19" y="462"/>
                    </a:lnTo>
                    <a:lnTo>
                      <a:pt x="17" y="462"/>
                    </a:lnTo>
                    <a:lnTo>
                      <a:pt x="16" y="461"/>
                    </a:lnTo>
                    <a:lnTo>
                      <a:pt x="16" y="459"/>
                    </a:lnTo>
                    <a:lnTo>
                      <a:pt x="16" y="457"/>
                    </a:lnTo>
                    <a:lnTo>
                      <a:pt x="14" y="456"/>
                    </a:lnTo>
                    <a:lnTo>
                      <a:pt x="14" y="454"/>
                    </a:lnTo>
                    <a:lnTo>
                      <a:pt x="14" y="452"/>
                    </a:lnTo>
                    <a:lnTo>
                      <a:pt x="12" y="450"/>
                    </a:lnTo>
                    <a:lnTo>
                      <a:pt x="12" y="449"/>
                    </a:lnTo>
                    <a:lnTo>
                      <a:pt x="11" y="449"/>
                    </a:lnTo>
                    <a:lnTo>
                      <a:pt x="11" y="447"/>
                    </a:lnTo>
                    <a:lnTo>
                      <a:pt x="9" y="447"/>
                    </a:lnTo>
                    <a:lnTo>
                      <a:pt x="9" y="445"/>
                    </a:lnTo>
                    <a:lnTo>
                      <a:pt x="7" y="445"/>
                    </a:lnTo>
                    <a:lnTo>
                      <a:pt x="9" y="445"/>
                    </a:lnTo>
                    <a:lnTo>
                      <a:pt x="9" y="444"/>
                    </a:lnTo>
                    <a:lnTo>
                      <a:pt x="9" y="445"/>
                    </a:lnTo>
                    <a:lnTo>
                      <a:pt x="11" y="444"/>
                    </a:lnTo>
                    <a:lnTo>
                      <a:pt x="11" y="442"/>
                    </a:lnTo>
                    <a:lnTo>
                      <a:pt x="11" y="440"/>
                    </a:lnTo>
                    <a:lnTo>
                      <a:pt x="9" y="440"/>
                    </a:lnTo>
                    <a:lnTo>
                      <a:pt x="7" y="440"/>
                    </a:lnTo>
                    <a:lnTo>
                      <a:pt x="7" y="439"/>
                    </a:lnTo>
                    <a:lnTo>
                      <a:pt x="6" y="439"/>
                    </a:lnTo>
                    <a:lnTo>
                      <a:pt x="6" y="437"/>
                    </a:lnTo>
                    <a:lnTo>
                      <a:pt x="4" y="437"/>
                    </a:lnTo>
                    <a:lnTo>
                      <a:pt x="2" y="435"/>
                    </a:lnTo>
                    <a:lnTo>
                      <a:pt x="0" y="433"/>
                    </a:lnTo>
                    <a:lnTo>
                      <a:pt x="2" y="433"/>
                    </a:lnTo>
                    <a:lnTo>
                      <a:pt x="2" y="432"/>
                    </a:lnTo>
                    <a:lnTo>
                      <a:pt x="2" y="430"/>
                    </a:lnTo>
                    <a:lnTo>
                      <a:pt x="2" y="427"/>
                    </a:lnTo>
                    <a:lnTo>
                      <a:pt x="4" y="428"/>
                    </a:lnTo>
                    <a:lnTo>
                      <a:pt x="6" y="427"/>
                    </a:lnTo>
                    <a:lnTo>
                      <a:pt x="7" y="427"/>
                    </a:lnTo>
                    <a:lnTo>
                      <a:pt x="9" y="427"/>
                    </a:lnTo>
                    <a:lnTo>
                      <a:pt x="9" y="425"/>
                    </a:lnTo>
                    <a:lnTo>
                      <a:pt x="11" y="425"/>
                    </a:lnTo>
                    <a:lnTo>
                      <a:pt x="11" y="423"/>
                    </a:lnTo>
                    <a:lnTo>
                      <a:pt x="9" y="422"/>
                    </a:lnTo>
                    <a:lnTo>
                      <a:pt x="7" y="418"/>
                    </a:lnTo>
                    <a:lnTo>
                      <a:pt x="9" y="416"/>
                    </a:lnTo>
                    <a:lnTo>
                      <a:pt x="9" y="415"/>
                    </a:lnTo>
                    <a:lnTo>
                      <a:pt x="9" y="413"/>
                    </a:lnTo>
                    <a:lnTo>
                      <a:pt x="9" y="411"/>
                    </a:lnTo>
                    <a:lnTo>
                      <a:pt x="9" y="410"/>
                    </a:lnTo>
                    <a:lnTo>
                      <a:pt x="11" y="410"/>
                    </a:lnTo>
                    <a:lnTo>
                      <a:pt x="11" y="408"/>
                    </a:lnTo>
                    <a:lnTo>
                      <a:pt x="12" y="408"/>
                    </a:lnTo>
                    <a:lnTo>
                      <a:pt x="12" y="406"/>
                    </a:lnTo>
                    <a:lnTo>
                      <a:pt x="14" y="406"/>
                    </a:lnTo>
                    <a:lnTo>
                      <a:pt x="16" y="406"/>
                    </a:lnTo>
                    <a:lnTo>
                      <a:pt x="16" y="405"/>
                    </a:lnTo>
                    <a:lnTo>
                      <a:pt x="17" y="403"/>
                    </a:lnTo>
                    <a:lnTo>
                      <a:pt x="17" y="405"/>
                    </a:lnTo>
                    <a:lnTo>
                      <a:pt x="17" y="403"/>
                    </a:lnTo>
                    <a:lnTo>
                      <a:pt x="19" y="403"/>
                    </a:lnTo>
                    <a:lnTo>
                      <a:pt x="21" y="403"/>
                    </a:lnTo>
                    <a:lnTo>
                      <a:pt x="21" y="401"/>
                    </a:lnTo>
                    <a:lnTo>
                      <a:pt x="23" y="401"/>
                    </a:lnTo>
                    <a:lnTo>
                      <a:pt x="24" y="401"/>
                    </a:lnTo>
                    <a:lnTo>
                      <a:pt x="26" y="401"/>
                    </a:lnTo>
                    <a:lnTo>
                      <a:pt x="26" y="399"/>
                    </a:lnTo>
                    <a:lnTo>
                      <a:pt x="28" y="401"/>
                    </a:lnTo>
                    <a:lnTo>
                      <a:pt x="28" y="399"/>
                    </a:lnTo>
                    <a:lnTo>
                      <a:pt x="28" y="398"/>
                    </a:lnTo>
                    <a:lnTo>
                      <a:pt x="29" y="399"/>
                    </a:lnTo>
                    <a:lnTo>
                      <a:pt x="29" y="398"/>
                    </a:lnTo>
                    <a:lnTo>
                      <a:pt x="29" y="396"/>
                    </a:lnTo>
                    <a:lnTo>
                      <a:pt x="31" y="396"/>
                    </a:lnTo>
                    <a:lnTo>
                      <a:pt x="29" y="396"/>
                    </a:lnTo>
                    <a:lnTo>
                      <a:pt x="31" y="394"/>
                    </a:lnTo>
                    <a:lnTo>
                      <a:pt x="29" y="394"/>
                    </a:lnTo>
                    <a:lnTo>
                      <a:pt x="29" y="393"/>
                    </a:lnTo>
                    <a:lnTo>
                      <a:pt x="29" y="391"/>
                    </a:lnTo>
                    <a:lnTo>
                      <a:pt x="28" y="391"/>
                    </a:lnTo>
                    <a:lnTo>
                      <a:pt x="29" y="391"/>
                    </a:lnTo>
                    <a:lnTo>
                      <a:pt x="28" y="389"/>
                    </a:lnTo>
                    <a:lnTo>
                      <a:pt x="28" y="388"/>
                    </a:lnTo>
                    <a:lnTo>
                      <a:pt x="26" y="388"/>
                    </a:lnTo>
                    <a:lnTo>
                      <a:pt x="28" y="388"/>
                    </a:lnTo>
                    <a:lnTo>
                      <a:pt x="26" y="388"/>
                    </a:lnTo>
                    <a:lnTo>
                      <a:pt x="26" y="386"/>
                    </a:lnTo>
                    <a:lnTo>
                      <a:pt x="26" y="384"/>
                    </a:lnTo>
                    <a:lnTo>
                      <a:pt x="26" y="382"/>
                    </a:lnTo>
                    <a:lnTo>
                      <a:pt x="26" y="381"/>
                    </a:lnTo>
                    <a:lnTo>
                      <a:pt x="28" y="382"/>
                    </a:lnTo>
                    <a:lnTo>
                      <a:pt x="26" y="381"/>
                    </a:lnTo>
                    <a:lnTo>
                      <a:pt x="28" y="381"/>
                    </a:lnTo>
                    <a:lnTo>
                      <a:pt x="28" y="379"/>
                    </a:lnTo>
                    <a:lnTo>
                      <a:pt x="28" y="377"/>
                    </a:lnTo>
                    <a:lnTo>
                      <a:pt x="29" y="377"/>
                    </a:lnTo>
                    <a:lnTo>
                      <a:pt x="29" y="376"/>
                    </a:lnTo>
                    <a:lnTo>
                      <a:pt x="31" y="376"/>
                    </a:lnTo>
                    <a:lnTo>
                      <a:pt x="31" y="374"/>
                    </a:lnTo>
                    <a:lnTo>
                      <a:pt x="33" y="374"/>
                    </a:lnTo>
                    <a:lnTo>
                      <a:pt x="33" y="372"/>
                    </a:lnTo>
                    <a:lnTo>
                      <a:pt x="34" y="372"/>
                    </a:lnTo>
                    <a:lnTo>
                      <a:pt x="34" y="371"/>
                    </a:lnTo>
                    <a:lnTo>
                      <a:pt x="34" y="369"/>
                    </a:lnTo>
                    <a:lnTo>
                      <a:pt x="36" y="369"/>
                    </a:lnTo>
                    <a:lnTo>
                      <a:pt x="34" y="369"/>
                    </a:lnTo>
                    <a:lnTo>
                      <a:pt x="34" y="367"/>
                    </a:lnTo>
                    <a:lnTo>
                      <a:pt x="36" y="367"/>
                    </a:lnTo>
                    <a:lnTo>
                      <a:pt x="36" y="365"/>
                    </a:lnTo>
                    <a:lnTo>
                      <a:pt x="36" y="364"/>
                    </a:lnTo>
                    <a:lnTo>
                      <a:pt x="34" y="364"/>
                    </a:lnTo>
                    <a:lnTo>
                      <a:pt x="36" y="364"/>
                    </a:lnTo>
                    <a:lnTo>
                      <a:pt x="36" y="362"/>
                    </a:lnTo>
                    <a:lnTo>
                      <a:pt x="36" y="360"/>
                    </a:lnTo>
                    <a:lnTo>
                      <a:pt x="38" y="360"/>
                    </a:lnTo>
                    <a:lnTo>
                      <a:pt x="38" y="359"/>
                    </a:lnTo>
                    <a:lnTo>
                      <a:pt x="38" y="357"/>
                    </a:lnTo>
                    <a:lnTo>
                      <a:pt x="38" y="355"/>
                    </a:lnTo>
                    <a:lnTo>
                      <a:pt x="38" y="354"/>
                    </a:lnTo>
                    <a:lnTo>
                      <a:pt x="38" y="352"/>
                    </a:lnTo>
                    <a:lnTo>
                      <a:pt x="40" y="352"/>
                    </a:lnTo>
                    <a:lnTo>
                      <a:pt x="40" y="350"/>
                    </a:lnTo>
                    <a:lnTo>
                      <a:pt x="41" y="350"/>
                    </a:lnTo>
                    <a:lnTo>
                      <a:pt x="43" y="350"/>
                    </a:lnTo>
                    <a:lnTo>
                      <a:pt x="43" y="348"/>
                    </a:lnTo>
                    <a:lnTo>
                      <a:pt x="45" y="348"/>
                    </a:lnTo>
                    <a:lnTo>
                      <a:pt x="46" y="348"/>
                    </a:lnTo>
                    <a:lnTo>
                      <a:pt x="48" y="348"/>
                    </a:lnTo>
                    <a:lnTo>
                      <a:pt x="46" y="347"/>
                    </a:lnTo>
                    <a:lnTo>
                      <a:pt x="48" y="347"/>
                    </a:lnTo>
                    <a:lnTo>
                      <a:pt x="46" y="347"/>
                    </a:lnTo>
                    <a:lnTo>
                      <a:pt x="48" y="347"/>
                    </a:lnTo>
                    <a:lnTo>
                      <a:pt x="50" y="345"/>
                    </a:lnTo>
                    <a:lnTo>
                      <a:pt x="51" y="345"/>
                    </a:lnTo>
                    <a:lnTo>
                      <a:pt x="53" y="343"/>
                    </a:lnTo>
                    <a:lnTo>
                      <a:pt x="51" y="343"/>
                    </a:lnTo>
                    <a:lnTo>
                      <a:pt x="53" y="343"/>
                    </a:lnTo>
                    <a:lnTo>
                      <a:pt x="55" y="343"/>
                    </a:lnTo>
                    <a:lnTo>
                      <a:pt x="55" y="342"/>
                    </a:lnTo>
                    <a:lnTo>
                      <a:pt x="55" y="340"/>
                    </a:lnTo>
                    <a:lnTo>
                      <a:pt x="57" y="340"/>
                    </a:lnTo>
                    <a:lnTo>
                      <a:pt x="58" y="340"/>
                    </a:lnTo>
                    <a:lnTo>
                      <a:pt x="60" y="340"/>
                    </a:lnTo>
                    <a:lnTo>
                      <a:pt x="58" y="338"/>
                    </a:lnTo>
                    <a:lnTo>
                      <a:pt x="60" y="340"/>
                    </a:lnTo>
                    <a:lnTo>
                      <a:pt x="60" y="338"/>
                    </a:lnTo>
                    <a:lnTo>
                      <a:pt x="62" y="338"/>
                    </a:lnTo>
                    <a:lnTo>
                      <a:pt x="63" y="337"/>
                    </a:lnTo>
                    <a:lnTo>
                      <a:pt x="63" y="338"/>
                    </a:lnTo>
                    <a:lnTo>
                      <a:pt x="63" y="337"/>
                    </a:lnTo>
                    <a:lnTo>
                      <a:pt x="65" y="337"/>
                    </a:lnTo>
                    <a:lnTo>
                      <a:pt x="65" y="335"/>
                    </a:lnTo>
                    <a:lnTo>
                      <a:pt x="67" y="335"/>
                    </a:lnTo>
                    <a:lnTo>
                      <a:pt x="68" y="335"/>
                    </a:lnTo>
                    <a:lnTo>
                      <a:pt x="68" y="333"/>
                    </a:lnTo>
                    <a:lnTo>
                      <a:pt x="70" y="333"/>
                    </a:lnTo>
                    <a:lnTo>
                      <a:pt x="70" y="331"/>
                    </a:lnTo>
                    <a:lnTo>
                      <a:pt x="72" y="331"/>
                    </a:lnTo>
                    <a:lnTo>
                      <a:pt x="70" y="330"/>
                    </a:lnTo>
                    <a:lnTo>
                      <a:pt x="72" y="330"/>
                    </a:lnTo>
                    <a:lnTo>
                      <a:pt x="72" y="331"/>
                    </a:lnTo>
                    <a:lnTo>
                      <a:pt x="72" y="330"/>
                    </a:lnTo>
                    <a:lnTo>
                      <a:pt x="74" y="330"/>
                    </a:lnTo>
                    <a:lnTo>
                      <a:pt x="75" y="330"/>
                    </a:lnTo>
                    <a:lnTo>
                      <a:pt x="77" y="330"/>
                    </a:lnTo>
                    <a:lnTo>
                      <a:pt x="75" y="330"/>
                    </a:lnTo>
                    <a:lnTo>
                      <a:pt x="77" y="330"/>
                    </a:lnTo>
                    <a:lnTo>
                      <a:pt x="79" y="330"/>
                    </a:lnTo>
                    <a:lnTo>
                      <a:pt x="80" y="330"/>
                    </a:lnTo>
                    <a:lnTo>
                      <a:pt x="80" y="331"/>
                    </a:lnTo>
                    <a:lnTo>
                      <a:pt x="82" y="331"/>
                    </a:lnTo>
                    <a:lnTo>
                      <a:pt x="82" y="330"/>
                    </a:lnTo>
                    <a:lnTo>
                      <a:pt x="84" y="330"/>
                    </a:lnTo>
                    <a:lnTo>
                      <a:pt x="84" y="328"/>
                    </a:lnTo>
                    <a:lnTo>
                      <a:pt x="84" y="330"/>
                    </a:lnTo>
                    <a:lnTo>
                      <a:pt x="85" y="330"/>
                    </a:lnTo>
                    <a:lnTo>
                      <a:pt x="84" y="328"/>
                    </a:lnTo>
                    <a:lnTo>
                      <a:pt x="85" y="328"/>
                    </a:lnTo>
                    <a:lnTo>
                      <a:pt x="87" y="328"/>
                    </a:lnTo>
                    <a:lnTo>
                      <a:pt x="87" y="330"/>
                    </a:lnTo>
                    <a:lnTo>
                      <a:pt x="87" y="328"/>
                    </a:lnTo>
                    <a:lnTo>
                      <a:pt x="89" y="328"/>
                    </a:lnTo>
                    <a:lnTo>
                      <a:pt x="91" y="328"/>
                    </a:lnTo>
                    <a:lnTo>
                      <a:pt x="91" y="326"/>
                    </a:lnTo>
                    <a:lnTo>
                      <a:pt x="91" y="328"/>
                    </a:lnTo>
                    <a:lnTo>
                      <a:pt x="92" y="328"/>
                    </a:lnTo>
                    <a:lnTo>
                      <a:pt x="92" y="326"/>
                    </a:lnTo>
                    <a:lnTo>
                      <a:pt x="94" y="326"/>
                    </a:lnTo>
                    <a:lnTo>
                      <a:pt x="96" y="328"/>
                    </a:lnTo>
                    <a:lnTo>
                      <a:pt x="96" y="326"/>
                    </a:lnTo>
                    <a:lnTo>
                      <a:pt x="97" y="326"/>
                    </a:lnTo>
                    <a:lnTo>
                      <a:pt x="99" y="326"/>
                    </a:lnTo>
                    <a:lnTo>
                      <a:pt x="101" y="326"/>
                    </a:lnTo>
                    <a:lnTo>
                      <a:pt x="102" y="326"/>
                    </a:lnTo>
                    <a:lnTo>
                      <a:pt x="102" y="325"/>
                    </a:lnTo>
                    <a:lnTo>
                      <a:pt x="101" y="325"/>
                    </a:lnTo>
                    <a:lnTo>
                      <a:pt x="102" y="325"/>
                    </a:lnTo>
                    <a:lnTo>
                      <a:pt x="102" y="326"/>
                    </a:lnTo>
                    <a:lnTo>
                      <a:pt x="104" y="326"/>
                    </a:lnTo>
                    <a:lnTo>
                      <a:pt x="104" y="325"/>
                    </a:lnTo>
                    <a:lnTo>
                      <a:pt x="106" y="325"/>
                    </a:lnTo>
                    <a:lnTo>
                      <a:pt x="106" y="323"/>
                    </a:lnTo>
                    <a:lnTo>
                      <a:pt x="106" y="321"/>
                    </a:lnTo>
                    <a:lnTo>
                      <a:pt x="108" y="321"/>
                    </a:lnTo>
                    <a:lnTo>
                      <a:pt x="108" y="319"/>
                    </a:lnTo>
                    <a:lnTo>
                      <a:pt x="109" y="319"/>
                    </a:lnTo>
                    <a:lnTo>
                      <a:pt x="109" y="318"/>
                    </a:lnTo>
                    <a:lnTo>
                      <a:pt x="111" y="319"/>
                    </a:lnTo>
                    <a:lnTo>
                      <a:pt x="113" y="319"/>
                    </a:lnTo>
                    <a:lnTo>
                      <a:pt x="113" y="318"/>
                    </a:lnTo>
                    <a:lnTo>
                      <a:pt x="114" y="318"/>
                    </a:lnTo>
                    <a:lnTo>
                      <a:pt x="114" y="319"/>
                    </a:lnTo>
                    <a:lnTo>
                      <a:pt x="116" y="319"/>
                    </a:lnTo>
                    <a:lnTo>
                      <a:pt x="118" y="318"/>
                    </a:lnTo>
                    <a:lnTo>
                      <a:pt x="116" y="318"/>
                    </a:lnTo>
                    <a:lnTo>
                      <a:pt x="118" y="318"/>
                    </a:lnTo>
                    <a:lnTo>
                      <a:pt x="118" y="319"/>
                    </a:lnTo>
                    <a:lnTo>
                      <a:pt x="119" y="319"/>
                    </a:lnTo>
                    <a:lnTo>
                      <a:pt x="119" y="318"/>
                    </a:lnTo>
                    <a:lnTo>
                      <a:pt x="119" y="319"/>
                    </a:lnTo>
                    <a:lnTo>
                      <a:pt x="119" y="318"/>
                    </a:lnTo>
                    <a:lnTo>
                      <a:pt x="121" y="318"/>
                    </a:lnTo>
                    <a:lnTo>
                      <a:pt x="119" y="318"/>
                    </a:lnTo>
                    <a:lnTo>
                      <a:pt x="121" y="318"/>
                    </a:lnTo>
                    <a:lnTo>
                      <a:pt x="123" y="318"/>
                    </a:lnTo>
                    <a:lnTo>
                      <a:pt x="123" y="319"/>
                    </a:lnTo>
                    <a:lnTo>
                      <a:pt x="125" y="319"/>
                    </a:lnTo>
                    <a:lnTo>
                      <a:pt x="125" y="318"/>
                    </a:lnTo>
                    <a:lnTo>
                      <a:pt x="126" y="319"/>
                    </a:lnTo>
                    <a:lnTo>
                      <a:pt x="126" y="321"/>
                    </a:lnTo>
                    <a:lnTo>
                      <a:pt x="125" y="321"/>
                    </a:lnTo>
                    <a:lnTo>
                      <a:pt x="126" y="323"/>
                    </a:lnTo>
                    <a:lnTo>
                      <a:pt x="128" y="325"/>
                    </a:lnTo>
                    <a:lnTo>
                      <a:pt x="128" y="323"/>
                    </a:lnTo>
                    <a:lnTo>
                      <a:pt x="128" y="325"/>
                    </a:lnTo>
                    <a:lnTo>
                      <a:pt x="130" y="325"/>
                    </a:lnTo>
                    <a:lnTo>
                      <a:pt x="130" y="323"/>
                    </a:lnTo>
                    <a:lnTo>
                      <a:pt x="131" y="323"/>
                    </a:lnTo>
                    <a:lnTo>
                      <a:pt x="131" y="321"/>
                    </a:lnTo>
                    <a:lnTo>
                      <a:pt x="131" y="323"/>
                    </a:lnTo>
                    <a:lnTo>
                      <a:pt x="133" y="323"/>
                    </a:lnTo>
                    <a:lnTo>
                      <a:pt x="133" y="325"/>
                    </a:lnTo>
                    <a:lnTo>
                      <a:pt x="135" y="326"/>
                    </a:lnTo>
                    <a:lnTo>
                      <a:pt x="136" y="326"/>
                    </a:lnTo>
                    <a:lnTo>
                      <a:pt x="136" y="325"/>
                    </a:lnTo>
                    <a:lnTo>
                      <a:pt x="136" y="323"/>
                    </a:lnTo>
                    <a:lnTo>
                      <a:pt x="136" y="321"/>
                    </a:lnTo>
                    <a:lnTo>
                      <a:pt x="138" y="321"/>
                    </a:lnTo>
                    <a:lnTo>
                      <a:pt x="140" y="311"/>
                    </a:lnTo>
                    <a:lnTo>
                      <a:pt x="142" y="302"/>
                    </a:lnTo>
                    <a:lnTo>
                      <a:pt x="145" y="279"/>
                    </a:lnTo>
                    <a:lnTo>
                      <a:pt x="145" y="275"/>
                    </a:lnTo>
                    <a:lnTo>
                      <a:pt x="148" y="260"/>
                    </a:lnTo>
                    <a:lnTo>
                      <a:pt x="148" y="255"/>
                    </a:lnTo>
                    <a:lnTo>
                      <a:pt x="150" y="250"/>
                    </a:lnTo>
                    <a:lnTo>
                      <a:pt x="152" y="245"/>
                    </a:lnTo>
                    <a:lnTo>
                      <a:pt x="152" y="238"/>
                    </a:lnTo>
                    <a:lnTo>
                      <a:pt x="153" y="229"/>
                    </a:lnTo>
                    <a:lnTo>
                      <a:pt x="153" y="228"/>
                    </a:lnTo>
                    <a:lnTo>
                      <a:pt x="155" y="228"/>
                    </a:lnTo>
                    <a:lnTo>
                      <a:pt x="155" y="226"/>
                    </a:lnTo>
                    <a:lnTo>
                      <a:pt x="153" y="226"/>
                    </a:lnTo>
                    <a:lnTo>
                      <a:pt x="155" y="224"/>
                    </a:lnTo>
                    <a:lnTo>
                      <a:pt x="155" y="223"/>
                    </a:lnTo>
                    <a:lnTo>
                      <a:pt x="155" y="221"/>
                    </a:lnTo>
                    <a:lnTo>
                      <a:pt x="155" y="219"/>
                    </a:lnTo>
                    <a:lnTo>
                      <a:pt x="155" y="217"/>
                    </a:lnTo>
                    <a:lnTo>
                      <a:pt x="155" y="216"/>
                    </a:lnTo>
                    <a:lnTo>
                      <a:pt x="155" y="214"/>
                    </a:lnTo>
                    <a:lnTo>
                      <a:pt x="155" y="212"/>
                    </a:lnTo>
                    <a:lnTo>
                      <a:pt x="153" y="212"/>
                    </a:lnTo>
                    <a:lnTo>
                      <a:pt x="155" y="212"/>
                    </a:lnTo>
                    <a:lnTo>
                      <a:pt x="153" y="211"/>
                    </a:lnTo>
                    <a:lnTo>
                      <a:pt x="152" y="209"/>
                    </a:lnTo>
                    <a:lnTo>
                      <a:pt x="152" y="211"/>
                    </a:lnTo>
                    <a:lnTo>
                      <a:pt x="152" y="209"/>
                    </a:lnTo>
                    <a:lnTo>
                      <a:pt x="152" y="207"/>
                    </a:lnTo>
                    <a:lnTo>
                      <a:pt x="150" y="207"/>
                    </a:lnTo>
                    <a:lnTo>
                      <a:pt x="150" y="206"/>
                    </a:lnTo>
                    <a:lnTo>
                      <a:pt x="148" y="204"/>
                    </a:lnTo>
                    <a:lnTo>
                      <a:pt x="150" y="204"/>
                    </a:lnTo>
                    <a:lnTo>
                      <a:pt x="148" y="204"/>
                    </a:lnTo>
                    <a:lnTo>
                      <a:pt x="148" y="202"/>
                    </a:lnTo>
                    <a:lnTo>
                      <a:pt x="148" y="200"/>
                    </a:lnTo>
                    <a:lnTo>
                      <a:pt x="150" y="200"/>
                    </a:lnTo>
                    <a:lnTo>
                      <a:pt x="150" y="199"/>
                    </a:lnTo>
                    <a:lnTo>
                      <a:pt x="148" y="199"/>
                    </a:lnTo>
                    <a:lnTo>
                      <a:pt x="148" y="197"/>
                    </a:lnTo>
                    <a:lnTo>
                      <a:pt x="148" y="195"/>
                    </a:lnTo>
                    <a:lnTo>
                      <a:pt x="148" y="194"/>
                    </a:lnTo>
                    <a:lnTo>
                      <a:pt x="147" y="195"/>
                    </a:lnTo>
                    <a:lnTo>
                      <a:pt x="147" y="194"/>
                    </a:lnTo>
                    <a:lnTo>
                      <a:pt x="145" y="194"/>
                    </a:lnTo>
                    <a:lnTo>
                      <a:pt x="143" y="192"/>
                    </a:lnTo>
                    <a:lnTo>
                      <a:pt x="142" y="192"/>
                    </a:lnTo>
                    <a:lnTo>
                      <a:pt x="142" y="190"/>
                    </a:lnTo>
                    <a:lnTo>
                      <a:pt x="140" y="189"/>
                    </a:lnTo>
                    <a:lnTo>
                      <a:pt x="138" y="190"/>
                    </a:lnTo>
                    <a:lnTo>
                      <a:pt x="138" y="189"/>
                    </a:lnTo>
                    <a:lnTo>
                      <a:pt x="136" y="189"/>
                    </a:lnTo>
                    <a:lnTo>
                      <a:pt x="136" y="187"/>
                    </a:lnTo>
                    <a:lnTo>
                      <a:pt x="135" y="185"/>
                    </a:lnTo>
                    <a:lnTo>
                      <a:pt x="135" y="183"/>
                    </a:lnTo>
                    <a:lnTo>
                      <a:pt x="135" y="182"/>
                    </a:lnTo>
                    <a:lnTo>
                      <a:pt x="133" y="182"/>
                    </a:lnTo>
                    <a:lnTo>
                      <a:pt x="133" y="178"/>
                    </a:lnTo>
                    <a:lnTo>
                      <a:pt x="133" y="175"/>
                    </a:lnTo>
                    <a:lnTo>
                      <a:pt x="133" y="172"/>
                    </a:lnTo>
                    <a:lnTo>
                      <a:pt x="133" y="170"/>
                    </a:lnTo>
                    <a:lnTo>
                      <a:pt x="133" y="168"/>
                    </a:lnTo>
                    <a:lnTo>
                      <a:pt x="133" y="166"/>
                    </a:lnTo>
                    <a:lnTo>
                      <a:pt x="133" y="165"/>
                    </a:lnTo>
                    <a:lnTo>
                      <a:pt x="133" y="161"/>
                    </a:lnTo>
                    <a:lnTo>
                      <a:pt x="133" y="160"/>
                    </a:lnTo>
                    <a:lnTo>
                      <a:pt x="135" y="160"/>
                    </a:lnTo>
                    <a:lnTo>
                      <a:pt x="135" y="158"/>
                    </a:lnTo>
                    <a:lnTo>
                      <a:pt x="136" y="158"/>
                    </a:lnTo>
                    <a:lnTo>
                      <a:pt x="136" y="160"/>
                    </a:lnTo>
                    <a:lnTo>
                      <a:pt x="138" y="160"/>
                    </a:lnTo>
                    <a:lnTo>
                      <a:pt x="138" y="158"/>
                    </a:lnTo>
                    <a:lnTo>
                      <a:pt x="140" y="158"/>
                    </a:lnTo>
                    <a:lnTo>
                      <a:pt x="142" y="158"/>
                    </a:lnTo>
                    <a:lnTo>
                      <a:pt x="143" y="158"/>
                    </a:lnTo>
                    <a:lnTo>
                      <a:pt x="143" y="156"/>
                    </a:lnTo>
                    <a:lnTo>
                      <a:pt x="145" y="158"/>
                    </a:lnTo>
                    <a:lnTo>
                      <a:pt x="145" y="156"/>
                    </a:lnTo>
                    <a:lnTo>
                      <a:pt x="147" y="154"/>
                    </a:lnTo>
                    <a:lnTo>
                      <a:pt x="147" y="156"/>
                    </a:lnTo>
                    <a:lnTo>
                      <a:pt x="148" y="156"/>
                    </a:lnTo>
                    <a:lnTo>
                      <a:pt x="148" y="158"/>
                    </a:lnTo>
                    <a:lnTo>
                      <a:pt x="148" y="156"/>
                    </a:lnTo>
                    <a:lnTo>
                      <a:pt x="150" y="156"/>
                    </a:lnTo>
                    <a:lnTo>
                      <a:pt x="150" y="154"/>
                    </a:lnTo>
                    <a:lnTo>
                      <a:pt x="152" y="154"/>
                    </a:lnTo>
                    <a:lnTo>
                      <a:pt x="152" y="153"/>
                    </a:lnTo>
                    <a:lnTo>
                      <a:pt x="153" y="153"/>
                    </a:lnTo>
                    <a:lnTo>
                      <a:pt x="155" y="154"/>
                    </a:lnTo>
                    <a:lnTo>
                      <a:pt x="155" y="156"/>
                    </a:lnTo>
                    <a:lnTo>
                      <a:pt x="157" y="156"/>
                    </a:lnTo>
                    <a:lnTo>
                      <a:pt x="157" y="158"/>
                    </a:lnTo>
                    <a:lnTo>
                      <a:pt x="157" y="156"/>
                    </a:lnTo>
                    <a:lnTo>
                      <a:pt x="159" y="156"/>
                    </a:lnTo>
                    <a:lnTo>
                      <a:pt x="159" y="158"/>
                    </a:lnTo>
                    <a:lnTo>
                      <a:pt x="160" y="158"/>
                    </a:lnTo>
                    <a:lnTo>
                      <a:pt x="162" y="158"/>
                    </a:lnTo>
                    <a:lnTo>
                      <a:pt x="162" y="156"/>
                    </a:lnTo>
                    <a:lnTo>
                      <a:pt x="164" y="156"/>
                    </a:lnTo>
                    <a:lnTo>
                      <a:pt x="165" y="156"/>
                    </a:lnTo>
                    <a:lnTo>
                      <a:pt x="165" y="154"/>
                    </a:lnTo>
                    <a:lnTo>
                      <a:pt x="164" y="154"/>
                    </a:lnTo>
                    <a:lnTo>
                      <a:pt x="162" y="153"/>
                    </a:lnTo>
                    <a:lnTo>
                      <a:pt x="164" y="153"/>
                    </a:lnTo>
                    <a:lnTo>
                      <a:pt x="164" y="151"/>
                    </a:lnTo>
                    <a:lnTo>
                      <a:pt x="164" y="149"/>
                    </a:lnTo>
                    <a:lnTo>
                      <a:pt x="164" y="148"/>
                    </a:lnTo>
                    <a:lnTo>
                      <a:pt x="162" y="148"/>
                    </a:lnTo>
                    <a:lnTo>
                      <a:pt x="162" y="146"/>
                    </a:lnTo>
                    <a:lnTo>
                      <a:pt x="164" y="146"/>
                    </a:lnTo>
                    <a:lnTo>
                      <a:pt x="162" y="146"/>
                    </a:lnTo>
                    <a:lnTo>
                      <a:pt x="162" y="144"/>
                    </a:lnTo>
                    <a:lnTo>
                      <a:pt x="162" y="143"/>
                    </a:lnTo>
                    <a:lnTo>
                      <a:pt x="160" y="143"/>
                    </a:lnTo>
                    <a:lnTo>
                      <a:pt x="159" y="143"/>
                    </a:lnTo>
                    <a:lnTo>
                      <a:pt x="159" y="141"/>
                    </a:lnTo>
                    <a:lnTo>
                      <a:pt x="157" y="141"/>
                    </a:lnTo>
                    <a:lnTo>
                      <a:pt x="155" y="143"/>
                    </a:lnTo>
                    <a:lnTo>
                      <a:pt x="153" y="141"/>
                    </a:lnTo>
                    <a:lnTo>
                      <a:pt x="152" y="141"/>
                    </a:lnTo>
                    <a:lnTo>
                      <a:pt x="150" y="141"/>
                    </a:lnTo>
                    <a:lnTo>
                      <a:pt x="148" y="141"/>
                    </a:lnTo>
                    <a:lnTo>
                      <a:pt x="147" y="141"/>
                    </a:lnTo>
                    <a:lnTo>
                      <a:pt x="145" y="141"/>
                    </a:lnTo>
                    <a:lnTo>
                      <a:pt x="143" y="141"/>
                    </a:lnTo>
                    <a:lnTo>
                      <a:pt x="142" y="141"/>
                    </a:lnTo>
                    <a:lnTo>
                      <a:pt x="142" y="143"/>
                    </a:lnTo>
                    <a:lnTo>
                      <a:pt x="142" y="141"/>
                    </a:lnTo>
                    <a:lnTo>
                      <a:pt x="140" y="141"/>
                    </a:lnTo>
                    <a:lnTo>
                      <a:pt x="140" y="139"/>
                    </a:lnTo>
                    <a:lnTo>
                      <a:pt x="140" y="136"/>
                    </a:lnTo>
                    <a:lnTo>
                      <a:pt x="140" y="134"/>
                    </a:lnTo>
                    <a:lnTo>
                      <a:pt x="140" y="132"/>
                    </a:lnTo>
                    <a:lnTo>
                      <a:pt x="140" y="129"/>
                    </a:lnTo>
                    <a:lnTo>
                      <a:pt x="140" y="126"/>
                    </a:lnTo>
                    <a:lnTo>
                      <a:pt x="140" y="122"/>
                    </a:lnTo>
                    <a:lnTo>
                      <a:pt x="140" y="120"/>
                    </a:lnTo>
                    <a:lnTo>
                      <a:pt x="142" y="120"/>
                    </a:lnTo>
                    <a:lnTo>
                      <a:pt x="143" y="120"/>
                    </a:lnTo>
                    <a:lnTo>
                      <a:pt x="143" y="119"/>
                    </a:lnTo>
                    <a:lnTo>
                      <a:pt x="145" y="119"/>
                    </a:lnTo>
                    <a:lnTo>
                      <a:pt x="147" y="119"/>
                    </a:lnTo>
                    <a:lnTo>
                      <a:pt x="147" y="120"/>
                    </a:lnTo>
                    <a:lnTo>
                      <a:pt x="147" y="119"/>
                    </a:lnTo>
                    <a:lnTo>
                      <a:pt x="147" y="120"/>
                    </a:lnTo>
                    <a:lnTo>
                      <a:pt x="147" y="119"/>
                    </a:lnTo>
                    <a:lnTo>
                      <a:pt x="148" y="120"/>
                    </a:lnTo>
                    <a:lnTo>
                      <a:pt x="148" y="119"/>
                    </a:lnTo>
                    <a:lnTo>
                      <a:pt x="150" y="119"/>
                    </a:lnTo>
                    <a:lnTo>
                      <a:pt x="152" y="117"/>
                    </a:lnTo>
                    <a:lnTo>
                      <a:pt x="152" y="119"/>
                    </a:lnTo>
                    <a:lnTo>
                      <a:pt x="153" y="119"/>
                    </a:lnTo>
                    <a:lnTo>
                      <a:pt x="155" y="119"/>
                    </a:lnTo>
                    <a:lnTo>
                      <a:pt x="159" y="119"/>
                    </a:lnTo>
                    <a:lnTo>
                      <a:pt x="164" y="119"/>
                    </a:lnTo>
                    <a:lnTo>
                      <a:pt x="169" y="119"/>
                    </a:lnTo>
                    <a:lnTo>
                      <a:pt x="174" y="119"/>
                    </a:lnTo>
                    <a:lnTo>
                      <a:pt x="184" y="119"/>
                    </a:lnTo>
                    <a:lnTo>
                      <a:pt x="198" y="119"/>
                    </a:lnTo>
                    <a:lnTo>
                      <a:pt x="196" y="119"/>
                    </a:lnTo>
                    <a:lnTo>
                      <a:pt x="196" y="117"/>
                    </a:lnTo>
                    <a:lnTo>
                      <a:pt x="196" y="119"/>
                    </a:lnTo>
                    <a:lnTo>
                      <a:pt x="194" y="117"/>
                    </a:lnTo>
                    <a:lnTo>
                      <a:pt x="194" y="119"/>
                    </a:lnTo>
                    <a:lnTo>
                      <a:pt x="194" y="117"/>
                    </a:lnTo>
                    <a:lnTo>
                      <a:pt x="194" y="115"/>
                    </a:lnTo>
                    <a:lnTo>
                      <a:pt x="194" y="117"/>
                    </a:lnTo>
                    <a:lnTo>
                      <a:pt x="194" y="115"/>
                    </a:lnTo>
                    <a:lnTo>
                      <a:pt x="194" y="117"/>
                    </a:lnTo>
                    <a:lnTo>
                      <a:pt x="193" y="115"/>
                    </a:lnTo>
                    <a:lnTo>
                      <a:pt x="194" y="115"/>
                    </a:lnTo>
                    <a:lnTo>
                      <a:pt x="193" y="115"/>
                    </a:lnTo>
                    <a:lnTo>
                      <a:pt x="194" y="115"/>
                    </a:lnTo>
                    <a:lnTo>
                      <a:pt x="194" y="114"/>
                    </a:lnTo>
                    <a:lnTo>
                      <a:pt x="194" y="112"/>
                    </a:lnTo>
                    <a:lnTo>
                      <a:pt x="196" y="112"/>
                    </a:lnTo>
                    <a:lnTo>
                      <a:pt x="196" y="110"/>
                    </a:lnTo>
                    <a:lnTo>
                      <a:pt x="196" y="109"/>
                    </a:lnTo>
                    <a:lnTo>
                      <a:pt x="196" y="110"/>
                    </a:lnTo>
                    <a:lnTo>
                      <a:pt x="196" y="112"/>
                    </a:lnTo>
                    <a:lnTo>
                      <a:pt x="198" y="112"/>
                    </a:lnTo>
                    <a:lnTo>
                      <a:pt x="198" y="110"/>
                    </a:lnTo>
                    <a:lnTo>
                      <a:pt x="198" y="112"/>
                    </a:lnTo>
                    <a:lnTo>
                      <a:pt x="199" y="112"/>
                    </a:lnTo>
                    <a:lnTo>
                      <a:pt x="199" y="114"/>
                    </a:lnTo>
                    <a:lnTo>
                      <a:pt x="201" y="114"/>
                    </a:lnTo>
                    <a:lnTo>
                      <a:pt x="203" y="114"/>
                    </a:lnTo>
                    <a:lnTo>
                      <a:pt x="203" y="115"/>
                    </a:lnTo>
                    <a:lnTo>
                      <a:pt x="204" y="115"/>
                    </a:lnTo>
                    <a:lnTo>
                      <a:pt x="204" y="117"/>
                    </a:lnTo>
                    <a:lnTo>
                      <a:pt x="206" y="117"/>
                    </a:lnTo>
                    <a:lnTo>
                      <a:pt x="206" y="115"/>
                    </a:lnTo>
                    <a:lnTo>
                      <a:pt x="208" y="114"/>
                    </a:lnTo>
                    <a:lnTo>
                      <a:pt x="208" y="112"/>
                    </a:lnTo>
                    <a:lnTo>
                      <a:pt x="210" y="112"/>
                    </a:lnTo>
                    <a:lnTo>
                      <a:pt x="210" y="110"/>
                    </a:lnTo>
                    <a:lnTo>
                      <a:pt x="211" y="110"/>
                    </a:lnTo>
                    <a:lnTo>
                      <a:pt x="211" y="109"/>
                    </a:lnTo>
                    <a:lnTo>
                      <a:pt x="213" y="109"/>
                    </a:lnTo>
                    <a:lnTo>
                      <a:pt x="215" y="109"/>
                    </a:lnTo>
                    <a:lnTo>
                      <a:pt x="216" y="109"/>
                    </a:lnTo>
                    <a:lnTo>
                      <a:pt x="218" y="109"/>
                    </a:lnTo>
                    <a:lnTo>
                      <a:pt x="218" y="107"/>
                    </a:lnTo>
                    <a:lnTo>
                      <a:pt x="220" y="107"/>
                    </a:lnTo>
                    <a:lnTo>
                      <a:pt x="220" y="105"/>
                    </a:lnTo>
                    <a:lnTo>
                      <a:pt x="221" y="105"/>
                    </a:lnTo>
                    <a:lnTo>
                      <a:pt x="221" y="103"/>
                    </a:lnTo>
                    <a:lnTo>
                      <a:pt x="223" y="102"/>
                    </a:lnTo>
                    <a:lnTo>
                      <a:pt x="223" y="103"/>
                    </a:lnTo>
                    <a:lnTo>
                      <a:pt x="225" y="103"/>
                    </a:lnTo>
                    <a:lnTo>
                      <a:pt x="223" y="103"/>
                    </a:lnTo>
                    <a:lnTo>
                      <a:pt x="223" y="105"/>
                    </a:lnTo>
                    <a:lnTo>
                      <a:pt x="225" y="105"/>
                    </a:lnTo>
                    <a:lnTo>
                      <a:pt x="225" y="107"/>
                    </a:lnTo>
                    <a:lnTo>
                      <a:pt x="225" y="109"/>
                    </a:lnTo>
                    <a:lnTo>
                      <a:pt x="225" y="110"/>
                    </a:lnTo>
                    <a:lnTo>
                      <a:pt x="225" y="112"/>
                    </a:lnTo>
                    <a:lnTo>
                      <a:pt x="227" y="112"/>
                    </a:lnTo>
                    <a:lnTo>
                      <a:pt x="227" y="114"/>
                    </a:lnTo>
                    <a:lnTo>
                      <a:pt x="228" y="115"/>
                    </a:lnTo>
                    <a:lnTo>
                      <a:pt x="230" y="115"/>
                    </a:lnTo>
                    <a:lnTo>
                      <a:pt x="232" y="115"/>
                    </a:lnTo>
                    <a:lnTo>
                      <a:pt x="232" y="117"/>
                    </a:lnTo>
                    <a:lnTo>
                      <a:pt x="232" y="119"/>
                    </a:lnTo>
                    <a:lnTo>
                      <a:pt x="232" y="120"/>
                    </a:lnTo>
                    <a:lnTo>
                      <a:pt x="232" y="122"/>
                    </a:lnTo>
                    <a:lnTo>
                      <a:pt x="232" y="124"/>
                    </a:lnTo>
                    <a:lnTo>
                      <a:pt x="233" y="124"/>
                    </a:lnTo>
                    <a:lnTo>
                      <a:pt x="232" y="126"/>
                    </a:lnTo>
                    <a:lnTo>
                      <a:pt x="232" y="127"/>
                    </a:lnTo>
                    <a:lnTo>
                      <a:pt x="233" y="127"/>
                    </a:lnTo>
                    <a:lnTo>
                      <a:pt x="233" y="129"/>
                    </a:lnTo>
                    <a:lnTo>
                      <a:pt x="233" y="131"/>
                    </a:lnTo>
                    <a:lnTo>
                      <a:pt x="233" y="132"/>
                    </a:lnTo>
                    <a:lnTo>
                      <a:pt x="232" y="132"/>
                    </a:lnTo>
                    <a:lnTo>
                      <a:pt x="232" y="134"/>
                    </a:lnTo>
                    <a:lnTo>
                      <a:pt x="233" y="134"/>
                    </a:lnTo>
                    <a:lnTo>
                      <a:pt x="233" y="136"/>
                    </a:lnTo>
                    <a:lnTo>
                      <a:pt x="233" y="137"/>
                    </a:lnTo>
                    <a:lnTo>
                      <a:pt x="233" y="139"/>
                    </a:lnTo>
                    <a:lnTo>
                      <a:pt x="235" y="137"/>
                    </a:lnTo>
                    <a:lnTo>
                      <a:pt x="240" y="137"/>
                    </a:lnTo>
                    <a:lnTo>
                      <a:pt x="242" y="136"/>
                    </a:lnTo>
                    <a:lnTo>
                      <a:pt x="259" y="153"/>
                    </a:lnTo>
                    <a:lnTo>
                      <a:pt x="261" y="153"/>
                    </a:lnTo>
                    <a:lnTo>
                      <a:pt x="262" y="151"/>
                    </a:lnTo>
                    <a:lnTo>
                      <a:pt x="264" y="151"/>
                    </a:lnTo>
                    <a:lnTo>
                      <a:pt x="264" y="153"/>
                    </a:lnTo>
                    <a:lnTo>
                      <a:pt x="266" y="153"/>
                    </a:lnTo>
                    <a:lnTo>
                      <a:pt x="267" y="153"/>
                    </a:lnTo>
                    <a:lnTo>
                      <a:pt x="267" y="151"/>
                    </a:lnTo>
                    <a:lnTo>
                      <a:pt x="269" y="151"/>
                    </a:lnTo>
                    <a:lnTo>
                      <a:pt x="271" y="151"/>
                    </a:lnTo>
                    <a:lnTo>
                      <a:pt x="271" y="149"/>
                    </a:lnTo>
                    <a:lnTo>
                      <a:pt x="272" y="149"/>
                    </a:lnTo>
                    <a:lnTo>
                      <a:pt x="272" y="148"/>
                    </a:lnTo>
                    <a:lnTo>
                      <a:pt x="274" y="148"/>
                    </a:lnTo>
                    <a:lnTo>
                      <a:pt x="274" y="146"/>
                    </a:lnTo>
                    <a:lnTo>
                      <a:pt x="276" y="146"/>
                    </a:lnTo>
                    <a:lnTo>
                      <a:pt x="278" y="146"/>
                    </a:lnTo>
                    <a:lnTo>
                      <a:pt x="278" y="144"/>
                    </a:lnTo>
                    <a:lnTo>
                      <a:pt x="279" y="144"/>
                    </a:lnTo>
                    <a:lnTo>
                      <a:pt x="281" y="144"/>
                    </a:lnTo>
                    <a:lnTo>
                      <a:pt x="283" y="144"/>
                    </a:lnTo>
                    <a:lnTo>
                      <a:pt x="284" y="144"/>
                    </a:lnTo>
                    <a:lnTo>
                      <a:pt x="286" y="144"/>
                    </a:lnTo>
                    <a:lnTo>
                      <a:pt x="286" y="146"/>
                    </a:lnTo>
                    <a:lnTo>
                      <a:pt x="286" y="148"/>
                    </a:lnTo>
                    <a:lnTo>
                      <a:pt x="288" y="148"/>
                    </a:lnTo>
                    <a:lnTo>
                      <a:pt x="288" y="149"/>
                    </a:lnTo>
                    <a:lnTo>
                      <a:pt x="286" y="149"/>
                    </a:lnTo>
                    <a:lnTo>
                      <a:pt x="286" y="151"/>
                    </a:lnTo>
                    <a:lnTo>
                      <a:pt x="284" y="153"/>
                    </a:lnTo>
                    <a:lnTo>
                      <a:pt x="284" y="154"/>
                    </a:lnTo>
                    <a:lnTo>
                      <a:pt x="286" y="156"/>
                    </a:lnTo>
                    <a:lnTo>
                      <a:pt x="286" y="154"/>
                    </a:lnTo>
                    <a:lnTo>
                      <a:pt x="288" y="154"/>
                    </a:lnTo>
                    <a:lnTo>
                      <a:pt x="289" y="154"/>
                    </a:lnTo>
                    <a:lnTo>
                      <a:pt x="289" y="153"/>
                    </a:lnTo>
                    <a:lnTo>
                      <a:pt x="291" y="153"/>
                    </a:lnTo>
                    <a:lnTo>
                      <a:pt x="291" y="151"/>
                    </a:lnTo>
                    <a:lnTo>
                      <a:pt x="289" y="151"/>
                    </a:lnTo>
                    <a:lnTo>
                      <a:pt x="291" y="149"/>
                    </a:lnTo>
                    <a:lnTo>
                      <a:pt x="293" y="148"/>
                    </a:lnTo>
                    <a:lnTo>
                      <a:pt x="291" y="148"/>
                    </a:lnTo>
                    <a:lnTo>
                      <a:pt x="293" y="148"/>
                    </a:lnTo>
                    <a:lnTo>
                      <a:pt x="293" y="146"/>
                    </a:lnTo>
                    <a:lnTo>
                      <a:pt x="295" y="146"/>
                    </a:lnTo>
                    <a:lnTo>
                      <a:pt x="296" y="146"/>
                    </a:lnTo>
                    <a:lnTo>
                      <a:pt x="296" y="148"/>
                    </a:lnTo>
                    <a:lnTo>
                      <a:pt x="298" y="148"/>
                    </a:lnTo>
                    <a:lnTo>
                      <a:pt x="298" y="146"/>
                    </a:lnTo>
                    <a:lnTo>
                      <a:pt x="298" y="144"/>
                    </a:lnTo>
                    <a:lnTo>
                      <a:pt x="300" y="144"/>
                    </a:lnTo>
                    <a:lnTo>
                      <a:pt x="298" y="143"/>
                    </a:lnTo>
                    <a:lnTo>
                      <a:pt x="298" y="141"/>
                    </a:lnTo>
                    <a:lnTo>
                      <a:pt x="300" y="141"/>
                    </a:lnTo>
                    <a:lnTo>
                      <a:pt x="298" y="139"/>
                    </a:lnTo>
                    <a:lnTo>
                      <a:pt x="300" y="139"/>
                    </a:lnTo>
                    <a:lnTo>
                      <a:pt x="301" y="139"/>
                    </a:lnTo>
                    <a:lnTo>
                      <a:pt x="301" y="141"/>
                    </a:lnTo>
                    <a:lnTo>
                      <a:pt x="303" y="141"/>
                    </a:lnTo>
                    <a:lnTo>
                      <a:pt x="303" y="139"/>
                    </a:lnTo>
                    <a:lnTo>
                      <a:pt x="305" y="139"/>
                    </a:lnTo>
                    <a:lnTo>
                      <a:pt x="305" y="137"/>
                    </a:lnTo>
                    <a:lnTo>
                      <a:pt x="305" y="136"/>
                    </a:lnTo>
                    <a:lnTo>
                      <a:pt x="306" y="136"/>
                    </a:lnTo>
                    <a:lnTo>
                      <a:pt x="306" y="137"/>
                    </a:lnTo>
                    <a:lnTo>
                      <a:pt x="306" y="136"/>
                    </a:lnTo>
                    <a:lnTo>
                      <a:pt x="308" y="136"/>
                    </a:lnTo>
                    <a:lnTo>
                      <a:pt x="310" y="136"/>
                    </a:lnTo>
                    <a:lnTo>
                      <a:pt x="308" y="134"/>
                    </a:lnTo>
                    <a:lnTo>
                      <a:pt x="310" y="134"/>
                    </a:lnTo>
                    <a:lnTo>
                      <a:pt x="312" y="134"/>
                    </a:lnTo>
                    <a:lnTo>
                      <a:pt x="312" y="136"/>
                    </a:lnTo>
                    <a:lnTo>
                      <a:pt x="313" y="136"/>
                    </a:lnTo>
                    <a:lnTo>
                      <a:pt x="313" y="134"/>
                    </a:lnTo>
                    <a:lnTo>
                      <a:pt x="315" y="134"/>
                    </a:lnTo>
                    <a:lnTo>
                      <a:pt x="317" y="134"/>
                    </a:lnTo>
                    <a:lnTo>
                      <a:pt x="317" y="132"/>
                    </a:lnTo>
                    <a:lnTo>
                      <a:pt x="318" y="132"/>
                    </a:lnTo>
                    <a:lnTo>
                      <a:pt x="318" y="131"/>
                    </a:lnTo>
                    <a:lnTo>
                      <a:pt x="320" y="129"/>
                    </a:lnTo>
                    <a:lnTo>
                      <a:pt x="322" y="129"/>
                    </a:lnTo>
                    <a:lnTo>
                      <a:pt x="322" y="127"/>
                    </a:lnTo>
                    <a:lnTo>
                      <a:pt x="323" y="127"/>
                    </a:lnTo>
                    <a:lnTo>
                      <a:pt x="325" y="126"/>
                    </a:lnTo>
                    <a:lnTo>
                      <a:pt x="325" y="127"/>
                    </a:lnTo>
                    <a:lnTo>
                      <a:pt x="325" y="126"/>
                    </a:lnTo>
                    <a:lnTo>
                      <a:pt x="325" y="127"/>
                    </a:lnTo>
                    <a:lnTo>
                      <a:pt x="325" y="129"/>
                    </a:lnTo>
                    <a:lnTo>
                      <a:pt x="325" y="131"/>
                    </a:lnTo>
                    <a:lnTo>
                      <a:pt x="323" y="131"/>
                    </a:lnTo>
                    <a:lnTo>
                      <a:pt x="325" y="131"/>
                    </a:lnTo>
                    <a:lnTo>
                      <a:pt x="327" y="132"/>
                    </a:lnTo>
                    <a:lnTo>
                      <a:pt x="327" y="131"/>
                    </a:lnTo>
                    <a:lnTo>
                      <a:pt x="327" y="129"/>
                    </a:lnTo>
                    <a:lnTo>
                      <a:pt x="329" y="127"/>
                    </a:lnTo>
                    <a:lnTo>
                      <a:pt x="330" y="127"/>
                    </a:lnTo>
                    <a:lnTo>
                      <a:pt x="332" y="127"/>
                    </a:lnTo>
                    <a:lnTo>
                      <a:pt x="332" y="126"/>
                    </a:lnTo>
                    <a:lnTo>
                      <a:pt x="332" y="124"/>
                    </a:lnTo>
                    <a:lnTo>
                      <a:pt x="334" y="124"/>
                    </a:lnTo>
                    <a:lnTo>
                      <a:pt x="335" y="124"/>
                    </a:lnTo>
                    <a:lnTo>
                      <a:pt x="335" y="122"/>
                    </a:lnTo>
                    <a:lnTo>
                      <a:pt x="335" y="120"/>
                    </a:lnTo>
                    <a:lnTo>
                      <a:pt x="335" y="119"/>
                    </a:lnTo>
                    <a:lnTo>
                      <a:pt x="335" y="117"/>
                    </a:lnTo>
                    <a:lnTo>
                      <a:pt x="335" y="115"/>
                    </a:lnTo>
                    <a:lnTo>
                      <a:pt x="335" y="114"/>
                    </a:lnTo>
                    <a:lnTo>
                      <a:pt x="335" y="112"/>
                    </a:lnTo>
                    <a:lnTo>
                      <a:pt x="337" y="112"/>
                    </a:lnTo>
                    <a:lnTo>
                      <a:pt x="337" y="110"/>
                    </a:lnTo>
                    <a:lnTo>
                      <a:pt x="339" y="110"/>
                    </a:lnTo>
                    <a:lnTo>
                      <a:pt x="340" y="110"/>
                    </a:lnTo>
                    <a:lnTo>
                      <a:pt x="342" y="110"/>
                    </a:lnTo>
                    <a:lnTo>
                      <a:pt x="344" y="112"/>
                    </a:lnTo>
                    <a:lnTo>
                      <a:pt x="344" y="110"/>
                    </a:lnTo>
                    <a:lnTo>
                      <a:pt x="346" y="110"/>
                    </a:lnTo>
                    <a:lnTo>
                      <a:pt x="347" y="110"/>
                    </a:lnTo>
                    <a:lnTo>
                      <a:pt x="347" y="109"/>
                    </a:lnTo>
                    <a:lnTo>
                      <a:pt x="349" y="110"/>
                    </a:lnTo>
                    <a:lnTo>
                      <a:pt x="349" y="109"/>
                    </a:lnTo>
                    <a:lnTo>
                      <a:pt x="351" y="109"/>
                    </a:lnTo>
                    <a:lnTo>
                      <a:pt x="351" y="107"/>
                    </a:lnTo>
                    <a:lnTo>
                      <a:pt x="352" y="107"/>
                    </a:lnTo>
                    <a:lnTo>
                      <a:pt x="352" y="105"/>
                    </a:lnTo>
                    <a:lnTo>
                      <a:pt x="354" y="105"/>
                    </a:lnTo>
                    <a:lnTo>
                      <a:pt x="354" y="107"/>
                    </a:lnTo>
                    <a:lnTo>
                      <a:pt x="356" y="107"/>
                    </a:lnTo>
                    <a:lnTo>
                      <a:pt x="356" y="105"/>
                    </a:lnTo>
                    <a:lnTo>
                      <a:pt x="356" y="107"/>
                    </a:lnTo>
                    <a:lnTo>
                      <a:pt x="357" y="105"/>
                    </a:lnTo>
                    <a:lnTo>
                      <a:pt x="359" y="103"/>
                    </a:lnTo>
                    <a:lnTo>
                      <a:pt x="357" y="103"/>
                    </a:lnTo>
                    <a:lnTo>
                      <a:pt x="359" y="103"/>
                    </a:lnTo>
                    <a:lnTo>
                      <a:pt x="359" y="102"/>
                    </a:lnTo>
                    <a:lnTo>
                      <a:pt x="359" y="100"/>
                    </a:lnTo>
                    <a:lnTo>
                      <a:pt x="359" y="98"/>
                    </a:lnTo>
                    <a:lnTo>
                      <a:pt x="359" y="97"/>
                    </a:lnTo>
                    <a:lnTo>
                      <a:pt x="359" y="95"/>
                    </a:lnTo>
                    <a:lnTo>
                      <a:pt x="357" y="95"/>
                    </a:lnTo>
                    <a:lnTo>
                      <a:pt x="356" y="95"/>
                    </a:lnTo>
                    <a:lnTo>
                      <a:pt x="354" y="97"/>
                    </a:lnTo>
                    <a:lnTo>
                      <a:pt x="352" y="97"/>
                    </a:lnTo>
                    <a:lnTo>
                      <a:pt x="351" y="97"/>
                    </a:lnTo>
                    <a:lnTo>
                      <a:pt x="349" y="97"/>
                    </a:lnTo>
                    <a:lnTo>
                      <a:pt x="347" y="97"/>
                    </a:lnTo>
                    <a:lnTo>
                      <a:pt x="346" y="97"/>
                    </a:lnTo>
                    <a:lnTo>
                      <a:pt x="344" y="97"/>
                    </a:lnTo>
                    <a:lnTo>
                      <a:pt x="342" y="95"/>
                    </a:lnTo>
                    <a:lnTo>
                      <a:pt x="340" y="95"/>
                    </a:lnTo>
                    <a:lnTo>
                      <a:pt x="339" y="95"/>
                    </a:lnTo>
                    <a:lnTo>
                      <a:pt x="337" y="93"/>
                    </a:lnTo>
                    <a:lnTo>
                      <a:pt x="337" y="95"/>
                    </a:lnTo>
                    <a:lnTo>
                      <a:pt x="337" y="93"/>
                    </a:lnTo>
                    <a:lnTo>
                      <a:pt x="335" y="93"/>
                    </a:lnTo>
                    <a:lnTo>
                      <a:pt x="335" y="92"/>
                    </a:lnTo>
                    <a:lnTo>
                      <a:pt x="337" y="92"/>
                    </a:lnTo>
                    <a:lnTo>
                      <a:pt x="337" y="90"/>
                    </a:lnTo>
                    <a:lnTo>
                      <a:pt x="337" y="88"/>
                    </a:lnTo>
                    <a:lnTo>
                      <a:pt x="339" y="88"/>
                    </a:lnTo>
                    <a:lnTo>
                      <a:pt x="339" y="86"/>
                    </a:lnTo>
                    <a:lnTo>
                      <a:pt x="337" y="86"/>
                    </a:lnTo>
                    <a:lnTo>
                      <a:pt x="339" y="86"/>
                    </a:lnTo>
                    <a:lnTo>
                      <a:pt x="337" y="85"/>
                    </a:lnTo>
                    <a:lnTo>
                      <a:pt x="339" y="85"/>
                    </a:lnTo>
                    <a:lnTo>
                      <a:pt x="337" y="85"/>
                    </a:lnTo>
                    <a:lnTo>
                      <a:pt x="337" y="83"/>
                    </a:lnTo>
                    <a:lnTo>
                      <a:pt x="335" y="81"/>
                    </a:lnTo>
                    <a:lnTo>
                      <a:pt x="335" y="80"/>
                    </a:lnTo>
                    <a:lnTo>
                      <a:pt x="335" y="78"/>
                    </a:lnTo>
                    <a:lnTo>
                      <a:pt x="334" y="78"/>
                    </a:lnTo>
                    <a:lnTo>
                      <a:pt x="334" y="76"/>
                    </a:lnTo>
                    <a:lnTo>
                      <a:pt x="332" y="76"/>
                    </a:lnTo>
                    <a:lnTo>
                      <a:pt x="332" y="75"/>
                    </a:lnTo>
                    <a:lnTo>
                      <a:pt x="330" y="73"/>
                    </a:lnTo>
                    <a:lnTo>
                      <a:pt x="330" y="71"/>
                    </a:lnTo>
                    <a:lnTo>
                      <a:pt x="330" y="69"/>
                    </a:lnTo>
                    <a:lnTo>
                      <a:pt x="330" y="68"/>
                    </a:lnTo>
                    <a:lnTo>
                      <a:pt x="330" y="66"/>
                    </a:lnTo>
                    <a:lnTo>
                      <a:pt x="330" y="64"/>
                    </a:lnTo>
                    <a:lnTo>
                      <a:pt x="330" y="63"/>
                    </a:lnTo>
                    <a:lnTo>
                      <a:pt x="329" y="63"/>
                    </a:lnTo>
                    <a:lnTo>
                      <a:pt x="330" y="61"/>
                    </a:lnTo>
                    <a:lnTo>
                      <a:pt x="332" y="59"/>
                    </a:lnTo>
                    <a:lnTo>
                      <a:pt x="332" y="58"/>
                    </a:lnTo>
                    <a:lnTo>
                      <a:pt x="330" y="56"/>
                    </a:lnTo>
                    <a:lnTo>
                      <a:pt x="329" y="54"/>
                    </a:lnTo>
                    <a:lnTo>
                      <a:pt x="329" y="52"/>
                    </a:lnTo>
                    <a:lnTo>
                      <a:pt x="327" y="52"/>
                    </a:lnTo>
                    <a:lnTo>
                      <a:pt x="327" y="51"/>
                    </a:lnTo>
                    <a:lnTo>
                      <a:pt x="325" y="51"/>
                    </a:lnTo>
                    <a:lnTo>
                      <a:pt x="323" y="51"/>
                    </a:lnTo>
                    <a:lnTo>
                      <a:pt x="322" y="51"/>
                    </a:lnTo>
                    <a:lnTo>
                      <a:pt x="322" y="49"/>
                    </a:lnTo>
                    <a:lnTo>
                      <a:pt x="320" y="49"/>
                    </a:lnTo>
                    <a:lnTo>
                      <a:pt x="320" y="47"/>
                    </a:lnTo>
                    <a:lnTo>
                      <a:pt x="318" y="47"/>
                    </a:lnTo>
                    <a:lnTo>
                      <a:pt x="318" y="46"/>
                    </a:lnTo>
                    <a:lnTo>
                      <a:pt x="317" y="44"/>
                    </a:lnTo>
                    <a:lnTo>
                      <a:pt x="315" y="42"/>
                    </a:lnTo>
                    <a:lnTo>
                      <a:pt x="315" y="41"/>
                    </a:lnTo>
                    <a:lnTo>
                      <a:pt x="313" y="41"/>
                    </a:lnTo>
                    <a:lnTo>
                      <a:pt x="313" y="39"/>
                    </a:lnTo>
                    <a:lnTo>
                      <a:pt x="312" y="39"/>
                    </a:lnTo>
                    <a:lnTo>
                      <a:pt x="312" y="37"/>
                    </a:lnTo>
                    <a:lnTo>
                      <a:pt x="310" y="37"/>
                    </a:lnTo>
                    <a:lnTo>
                      <a:pt x="310" y="35"/>
                    </a:lnTo>
                    <a:lnTo>
                      <a:pt x="310" y="34"/>
                    </a:lnTo>
                    <a:lnTo>
                      <a:pt x="312" y="34"/>
                    </a:lnTo>
                    <a:lnTo>
                      <a:pt x="313" y="34"/>
                    </a:lnTo>
                    <a:lnTo>
                      <a:pt x="315" y="34"/>
                    </a:lnTo>
                    <a:lnTo>
                      <a:pt x="315" y="35"/>
                    </a:lnTo>
                    <a:lnTo>
                      <a:pt x="317" y="37"/>
                    </a:lnTo>
                    <a:lnTo>
                      <a:pt x="317" y="39"/>
                    </a:lnTo>
                    <a:lnTo>
                      <a:pt x="318" y="39"/>
                    </a:lnTo>
                    <a:lnTo>
                      <a:pt x="320" y="39"/>
                    </a:lnTo>
                    <a:lnTo>
                      <a:pt x="322" y="39"/>
                    </a:lnTo>
                    <a:lnTo>
                      <a:pt x="323" y="39"/>
                    </a:lnTo>
                    <a:lnTo>
                      <a:pt x="323" y="37"/>
                    </a:lnTo>
                    <a:lnTo>
                      <a:pt x="323" y="39"/>
                    </a:lnTo>
                    <a:lnTo>
                      <a:pt x="325" y="37"/>
                    </a:lnTo>
                    <a:lnTo>
                      <a:pt x="325" y="39"/>
                    </a:lnTo>
                    <a:lnTo>
                      <a:pt x="327" y="39"/>
                    </a:lnTo>
                    <a:lnTo>
                      <a:pt x="329" y="37"/>
                    </a:lnTo>
                    <a:lnTo>
                      <a:pt x="329" y="39"/>
                    </a:lnTo>
                    <a:lnTo>
                      <a:pt x="330" y="39"/>
                    </a:lnTo>
                    <a:lnTo>
                      <a:pt x="332" y="39"/>
                    </a:lnTo>
                    <a:lnTo>
                      <a:pt x="334" y="39"/>
                    </a:lnTo>
                    <a:lnTo>
                      <a:pt x="334" y="41"/>
                    </a:lnTo>
                    <a:lnTo>
                      <a:pt x="335" y="41"/>
                    </a:lnTo>
                    <a:lnTo>
                      <a:pt x="334" y="42"/>
                    </a:lnTo>
                    <a:lnTo>
                      <a:pt x="335" y="42"/>
                    </a:lnTo>
                    <a:lnTo>
                      <a:pt x="335" y="44"/>
                    </a:lnTo>
                    <a:lnTo>
                      <a:pt x="337" y="46"/>
                    </a:lnTo>
                    <a:lnTo>
                      <a:pt x="339" y="46"/>
                    </a:lnTo>
                    <a:lnTo>
                      <a:pt x="339" y="47"/>
                    </a:lnTo>
                    <a:lnTo>
                      <a:pt x="339" y="46"/>
                    </a:lnTo>
                    <a:lnTo>
                      <a:pt x="340" y="46"/>
                    </a:lnTo>
                    <a:lnTo>
                      <a:pt x="342" y="46"/>
                    </a:lnTo>
                    <a:lnTo>
                      <a:pt x="342" y="44"/>
                    </a:lnTo>
                    <a:lnTo>
                      <a:pt x="344" y="44"/>
                    </a:lnTo>
                    <a:lnTo>
                      <a:pt x="344" y="46"/>
                    </a:lnTo>
                    <a:lnTo>
                      <a:pt x="346" y="46"/>
                    </a:lnTo>
                    <a:lnTo>
                      <a:pt x="346" y="44"/>
                    </a:lnTo>
                    <a:lnTo>
                      <a:pt x="347" y="46"/>
                    </a:lnTo>
                    <a:lnTo>
                      <a:pt x="349" y="46"/>
                    </a:lnTo>
                    <a:lnTo>
                      <a:pt x="347" y="44"/>
                    </a:lnTo>
                    <a:lnTo>
                      <a:pt x="349" y="42"/>
                    </a:lnTo>
                    <a:lnTo>
                      <a:pt x="349" y="44"/>
                    </a:lnTo>
                    <a:lnTo>
                      <a:pt x="351" y="44"/>
                    </a:lnTo>
                    <a:lnTo>
                      <a:pt x="351" y="46"/>
                    </a:lnTo>
                    <a:lnTo>
                      <a:pt x="352" y="46"/>
                    </a:lnTo>
                    <a:lnTo>
                      <a:pt x="351" y="46"/>
                    </a:lnTo>
                    <a:lnTo>
                      <a:pt x="352" y="47"/>
                    </a:lnTo>
                    <a:lnTo>
                      <a:pt x="352" y="46"/>
                    </a:lnTo>
                    <a:lnTo>
                      <a:pt x="352" y="47"/>
                    </a:lnTo>
                    <a:lnTo>
                      <a:pt x="354" y="47"/>
                    </a:lnTo>
                    <a:lnTo>
                      <a:pt x="356" y="47"/>
                    </a:lnTo>
                    <a:lnTo>
                      <a:pt x="357" y="47"/>
                    </a:lnTo>
                    <a:lnTo>
                      <a:pt x="357" y="46"/>
                    </a:lnTo>
                    <a:lnTo>
                      <a:pt x="357" y="44"/>
                    </a:lnTo>
                    <a:lnTo>
                      <a:pt x="356" y="44"/>
                    </a:lnTo>
                    <a:lnTo>
                      <a:pt x="357" y="44"/>
                    </a:lnTo>
                    <a:lnTo>
                      <a:pt x="359" y="44"/>
                    </a:lnTo>
                    <a:lnTo>
                      <a:pt x="361" y="44"/>
                    </a:lnTo>
                    <a:lnTo>
                      <a:pt x="363" y="44"/>
                    </a:lnTo>
                    <a:lnTo>
                      <a:pt x="364" y="44"/>
                    </a:lnTo>
                    <a:lnTo>
                      <a:pt x="364" y="46"/>
                    </a:lnTo>
                    <a:lnTo>
                      <a:pt x="364" y="47"/>
                    </a:lnTo>
                    <a:lnTo>
                      <a:pt x="364" y="49"/>
                    </a:lnTo>
                    <a:lnTo>
                      <a:pt x="366" y="49"/>
                    </a:lnTo>
                    <a:lnTo>
                      <a:pt x="368" y="49"/>
                    </a:lnTo>
                    <a:lnTo>
                      <a:pt x="368" y="51"/>
                    </a:lnTo>
                    <a:lnTo>
                      <a:pt x="369" y="51"/>
                    </a:lnTo>
                    <a:lnTo>
                      <a:pt x="369" y="52"/>
                    </a:lnTo>
                    <a:lnTo>
                      <a:pt x="369" y="54"/>
                    </a:lnTo>
                    <a:lnTo>
                      <a:pt x="371" y="54"/>
                    </a:lnTo>
                    <a:lnTo>
                      <a:pt x="371" y="56"/>
                    </a:lnTo>
                    <a:lnTo>
                      <a:pt x="373" y="56"/>
                    </a:lnTo>
                    <a:lnTo>
                      <a:pt x="374" y="56"/>
                    </a:lnTo>
                    <a:lnTo>
                      <a:pt x="374" y="54"/>
                    </a:lnTo>
                    <a:lnTo>
                      <a:pt x="376" y="52"/>
                    </a:lnTo>
                    <a:lnTo>
                      <a:pt x="378" y="51"/>
                    </a:lnTo>
                    <a:lnTo>
                      <a:pt x="378" y="52"/>
                    </a:lnTo>
                    <a:lnTo>
                      <a:pt x="380" y="52"/>
                    </a:lnTo>
                    <a:lnTo>
                      <a:pt x="380" y="54"/>
                    </a:lnTo>
                    <a:lnTo>
                      <a:pt x="380" y="52"/>
                    </a:lnTo>
                    <a:lnTo>
                      <a:pt x="381" y="52"/>
                    </a:lnTo>
                    <a:lnTo>
                      <a:pt x="380" y="51"/>
                    </a:lnTo>
                    <a:lnTo>
                      <a:pt x="381" y="51"/>
                    </a:lnTo>
                    <a:lnTo>
                      <a:pt x="380" y="49"/>
                    </a:lnTo>
                    <a:lnTo>
                      <a:pt x="381" y="49"/>
                    </a:lnTo>
                    <a:lnTo>
                      <a:pt x="380" y="49"/>
                    </a:lnTo>
                    <a:lnTo>
                      <a:pt x="380" y="47"/>
                    </a:lnTo>
                    <a:lnTo>
                      <a:pt x="378" y="46"/>
                    </a:lnTo>
                    <a:lnTo>
                      <a:pt x="380" y="46"/>
                    </a:lnTo>
                    <a:lnTo>
                      <a:pt x="380" y="44"/>
                    </a:lnTo>
                    <a:lnTo>
                      <a:pt x="380" y="42"/>
                    </a:lnTo>
                    <a:lnTo>
                      <a:pt x="380" y="41"/>
                    </a:lnTo>
                    <a:lnTo>
                      <a:pt x="381" y="42"/>
                    </a:lnTo>
                    <a:lnTo>
                      <a:pt x="383" y="41"/>
                    </a:lnTo>
                    <a:lnTo>
                      <a:pt x="383" y="42"/>
                    </a:lnTo>
                    <a:lnTo>
                      <a:pt x="383" y="41"/>
                    </a:lnTo>
                    <a:lnTo>
                      <a:pt x="385" y="41"/>
                    </a:lnTo>
                    <a:lnTo>
                      <a:pt x="385" y="42"/>
                    </a:lnTo>
                    <a:lnTo>
                      <a:pt x="386" y="42"/>
                    </a:lnTo>
                    <a:lnTo>
                      <a:pt x="386" y="41"/>
                    </a:lnTo>
                    <a:lnTo>
                      <a:pt x="386" y="39"/>
                    </a:lnTo>
                    <a:lnTo>
                      <a:pt x="388" y="39"/>
                    </a:lnTo>
                    <a:lnTo>
                      <a:pt x="388" y="37"/>
                    </a:lnTo>
                    <a:lnTo>
                      <a:pt x="390" y="39"/>
                    </a:lnTo>
                    <a:lnTo>
                      <a:pt x="390" y="37"/>
                    </a:lnTo>
                    <a:lnTo>
                      <a:pt x="391" y="37"/>
                    </a:lnTo>
                    <a:lnTo>
                      <a:pt x="393" y="37"/>
                    </a:lnTo>
                    <a:lnTo>
                      <a:pt x="395" y="39"/>
                    </a:lnTo>
                    <a:lnTo>
                      <a:pt x="395" y="37"/>
                    </a:lnTo>
                    <a:lnTo>
                      <a:pt x="395" y="39"/>
                    </a:lnTo>
                    <a:lnTo>
                      <a:pt x="395" y="37"/>
                    </a:lnTo>
                    <a:lnTo>
                      <a:pt x="397" y="39"/>
                    </a:lnTo>
                    <a:lnTo>
                      <a:pt x="398" y="39"/>
                    </a:lnTo>
                    <a:lnTo>
                      <a:pt x="400" y="39"/>
                    </a:lnTo>
                    <a:lnTo>
                      <a:pt x="400" y="41"/>
                    </a:lnTo>
                    <a:lnTo>
                      <a:pt x="402" y="39"/>
                    </a:lnTo>
                    <a:lnTo>
                      <a:pt x="403" y="39"/>
                    </a:lnTo>
                    <a:lnTo>
                      <a:pt x="402" y="37"/>
                    </a:lnTo>
                    <a:lnTo>
                      <a:pt x="403" y="37"/>
                    </a:lnTo>
                    <a:lnTo>
                      <a:pt x="405" y="37"/>
                    </a:lnTo>
                    <a:lnTo>
                      <a:pt x="407" y="37"/>
                    </a:lnTo>
                    <a:lnTo>
                      <a:pt x="407" y="39"/>
                    </a:lnTo>
                    <a:lnTo>
                      <a:pt x="408" y="39"/>
                    </a:lnTo>
                    <a:lnTo>
                      <a:pt x="408" y="37"/>
                    </a:lnTo>
                    <a:lnTo>
                      <a:pt x="410" y="37"/>
                    </a:lnTo>
                    <a:lnTo>
                      <a:pt x="412" y="37"/>
                    </a:lnTo>
                    <a:lnTo>
                      <a:pt x="412" y="35"/>
                    </a:lnTo>
                    <a:lnTo>
                      <a:pt x="414" y="35"/>
                    </a:lnTo>
                    <a:lnTo>
                      <a:pt x="414" y="34"/>
                    </a:lnTo>
                    <a:lnTo>
                      <a:pt x="415" y="34"/>
                    </a:lnTo>
                    <a:lnTo>
                      <a:pt x="417" y="34"/>
                    </a:lnTo>
                    <a:lnTo>
                      <a:pt x="417" y="35"/>
                    </a:lnTo>
                    <a:lnTo>
                      <a:pt x="417" y="34"/>
                    </a:lnTo>
                    <a:lnTo>
                      <a:pt x="419" y="34"/>
                    </a:lnTo>
                    <a:lnTo>
                      <a:pt x="420" y="34"/>
                    </a:lnTo>
                    <a:lnTo>
                      <a:pt x="422" y="34"/>
                    </a:lnTo>
                    <a:lnTo>
                      <a:pt x="422" y="32"/>
                    </a:lnTo>
                    <a:lnTo>
                      <a:pt x="422" y="30"/>
                    </a:lnTo>
                    <a:lnTo>
                      <a:pt x="422" y="29"/>
                    </a:lnTo>
                    <a:lnTo>
                      <a:pt x="424" y="29"/>
                    </a:lnTo>
                    <a:lnTo>
                      <a:pt x="425" y="29"/>
                    </a:lnTo>
                    <a:lnTo>
                      <a:pt x="427" y="29"/>
                    </a:lnTo>
                    <a:lnTo>
                      <a:pt x="429" y="29"/>
                    </a:lnTo>
                    <a:lnTo>
                      <a:pt x="429" y="27"/>
                    </a:lnTo>
                    <a:lnTo>
                      <a:pt x="429" y="25"/>
                    </a:lnTo>
                    <a:lnTo>
                      <a:pt x="427" y="25"/>
                    </a:lnTo>
                    <a:lnTo>
                      <a:pt x="429" y="25"/>
                    </a:lnTo>
                    <a:lnTo>
                      <a:pt x="431" y="25"/>
                    </a:lnTo>
                    <a:lnTo>
                      <a:pt x="432" y="25"/>
                    </a:lnTo>
                    <a:lnTo>
                      <a:pt x="434" y="25"/>
                    </a:lnTo>
                    <a:lnTo>
                      <a:pt x="434" y="27"/>
                    </a:lnTo>
                    <a:lnTo>
                      <a:pt x="434" y="25"/>
                    </a:lnTo>
                    <a:lnTo>
                      <a:pt x="436" y="25"/>
                    </a:lnTo>
                    <a:lnTo>
                      <a:pt x="437" y="25"/>
                    </a:lnTo>
                    <a:lnTo>
                      <a:pt x="439" y="25"/>
                    </a:lnTo>
                    <a:lnTo>
                      <a:pt x="439" y="24"/>
                    </a:lnTo>
                    <a:lnTo>
                      <a:pt x="441" y="24"/>
                    </a:lnTo>
                    <a:lnTo>
                      <a:pt x="441" y="22"/>
                    </a:lnTo>
                    <a:lnTo>
                      <a:pt x="441" y="20"/>
                    </a:lnTo>
                    <a:lnTo>
                      <a:pt x="442" y="20"/>
                    </a:lnTo>
                    <a:lnTo>
                      <a:pt x="442" y="18"/>
                    </a:lnTo>
                    <a:lnTo>
                      <a:pt x="444" y="18"/>
                    </a:lnTo>
                    <a:lnTo>
                      <a:pt x="446" y="18"/>
                    </a:lnTo>
                    <a:lnTo>
                      <a:pt x="446" y="17"/>
                    </a:lnTo>
                    <a:lnTo>
                      <a:pt x="448" y="17"/>
                    </a:lnTo>
                    <a:lnTo>
                      <a:pt x="448" y="15"/>
                    </a:lnTo>
                    <a:lnTo>
                      <a:pt x="449" y="15"/>
                    </a:lnTo>
                    <a:lnTo>
                      <a:pt x="449" y="13"/>
                    </a:lnTo>
                    <a:lnTo>
                      <a:pt x="451" y="13"/>
                    </a:lnTo>
                    <a:lnTo>
                      <a:pt x="451" y="12"/>
                    </a:lnTo>
                    <a:lnTo>
                      <a:pt x="453" y="12"/>
                    </a:lnTo>
                    <a:lnTo>
                      <a:pt x="453" y="10"/>
                    </a:lnTo>
                    <a:lnTo>
                      <a:pt x="453" y="8"/>
                    </a:lnTo>
                    <a:lnTo>
                      <a:pt x="451" y="8"/>
                    </a:lnTo>
                    <a:lnTo>
                      <a:pt x="451" y="6"/>
                    </a:lnTo>
                    <a:lnTo>
                      <a:pt x="451" y="5"/>
                    </a:lnTo>
                    <a:lnTo>
                      <a:pt x="451" y="3"/>
                    </a:lnTo>
                    <a:lnTo>
                      <a:pt x="449" y="3"/>
                    </a:lnTo>
                    <a:lnTo>
                      <a:pt x="449" y="1"/>
                    </a:lnTo>
                    <a:lnTo>
                      <a:pt x="448" y="1"/>
                    </a:lnTo>
                    <a:lnTo>
                      <a:pt x="449" y="1"/>
                    </a:lnTo>
                    <a:lnTo>
                      <a:pt x="451" y="1"/>
                    </a:lnTo>
                    <a:lnTo>
                      <a:pt x="453" y="1"/>
                    </a:lnTo>
                    <a:lnTo>
                      <a:pt x="454" y="1"/>
                    </a:lnTo>
                    <a:lnTo>
                      <a:pt x="456" y="1"/>
                    </a:lnTo>
                    <a:lnTo>
                      <a:pt x="458" y="1"/>
                    </a:lnTo>
                    <a:lnTo>
                      <a:pt x="458" y="3"/>
                    </a:lnTo>
                    <a:lnTo>
                      <a:pt x="458" y="1"/>
                    </a:lnTo>
                    <a:lnTo>
                      <a:pt x="459" y="1"/>
                    </a:lnTo>
                    <a:lnTo>
                      <a:pt x="461" y="1"/>
                    </a:lnTo>
                    <a:lnTo>
                      <a:pt x="463" y="1"/>
                    </a:lnTo>
                    <a:lnTo>
                      <a:pt x="465" y="0"/>
                    </a:lnTo>
                    <a:lnTo>
                      <a:pt x="466" y="0"/>
                    </a:lnTo>
                    <a:lnTo>
                      <a:pt x="466" y="1"/>
                    </a:lnTo>
                    <a:lnTo>
                      <a:pt x="468" y="1"/>
                    </a:lnTo>
                    <a:lnTo>
                      <a:pt x="468" y="0"/>
                    </a:lnTo>
                    <a:lnTo>
                      <a:pt x="468" y="1"/>
                    </a:lnTo>
                    <a:lnTo>
                      <a:pt x="470" y="1"/>
                    </a:lnTo>
                    <a:lnTo>
                      <a:pt x="470" y="3"/>
                    </a:lnTo>
                    <a:lnTo>
                      <a:pt x="470" y="5"/>
                    </a:lnTo>
                    <a:lnTo>
                      <a:pt x="471" y="5"/>
                    </a:lnTo>
                    <a:lnTo>
                      <a:pt x="471" y="6"/>
                    </a:lnTo>
                    <a:lnTo>
                      <a:pt x="473" y="6"/>
                    </a:lnTo>
                    <a:lnTo>
                      <a:pt x="473" y="8"/>
                    </a:lnTo>
                    <a:lnTo>
                      <a:pt x="473" y="10"/>
                    </a:lnTo>
                    <a:lnTo>
                      <a:pt x="473" y="12"/>
                    </a:lnTo>
                    <a:lnTo>
                      <a:pt x="473" y="13"/>
                    </a:lnTo>
                    <a:lnTo>
                      <a:pt x="471" y="15"/>
                    </a:lnTo>
                    <a:lnTo>
                      <a:pt x="471" y="17"/>
                    </a:lnTo>
                    <a:lnTo>
                      <a:pt x="471" y="18"/>
                    </a:lnTo>
                    <a:lnTo>
                      <a:pt x="471" y="20"/>
                    </a:lnTo>
                    <a:lnTo>
                      <a:pt x="470" y="20"/>
                    </a:lnTo>
                    <a:lnTo>
                      <a:pt x="470" y="22"/>
                    </a:lnTo>
                    <a:lnTo>
                      <a:pt x="468" y="22"/>
                    </a:lnTo>
                    <a:lnTo>
                      <a:pt x="468" y="24"/>
                    </a:lnTo>
                    <a:lnTo>
                      <a:pt x="468" y="25"/>
                    </a:lnTo>
                    <a:lnTo>
                      <a:pt x="470" y="25"/>
                    </a:lnTo>
                    <a:lnTo>
                      <a:pt x="471" y="25"/>
                    </a:lnTo>
                    <a:lnTo>
                      <a:pt x="470" y="25"/>
                    </a:lnTo>
                    <a:lnTo>
                      <a:pt x="471" y="25"/>
                    </a:lnTo>
                    <a:lnTo>
                      <a:pt x="471" y="27"/>
                    </a:lnTo>
                    <a:lnTo>
                      <a:pt x="473" y="25"/>
                    </a:lnTo>
                    <a:lnTo>
                      <a:pt x="473" y="27"/>
                    </a:lnTo>
                    <a:lnTo>
                      <a:pt x="473" y="25"/>
                    </a:lnTo>
                    <a:lnTo>
                      <a:pt x="475" y="25"/>
                    </a:lnTo>
                    <a:lnTo>
                      <a:pt x="475" y="27"/>
                    </a:lnTo>
                    <a:lnTo>
                      <a:pt x="476" y="27"/>
                    </a:lnTo>
                    <a:lnTo>
                      <a:pt x="478" y="27"/>
                    </a:lnTo>
                    <a:lnTo>
                      <a:pt x="476" y="27"/>
                    </a:lnTo>
                    <a:lnTo>
                      <a:pt x="478" y="27"/>
                    </a:lnTo>
                    <a:lnTo>
                      <a:pt x="480" y="27"/>
                    </a:lnTo>
                    <a:lnTo>
                      <a:pt x="482" y="29"/>
                    </a:lnTo>
                    <a:lnTo>
                      <a:pt x="482" y="30"/>
                    </a:lnTo>
                    <a:lnTo>
                      <a:pt x="483" y="30"/>
                    </a:lnTo>
                    <a:lnTo>
                      <a:pt x="483" y="32"/>
                    </a:lnTo>
                    <a:lnTo>
                      <a:pt x="482" y="32"/>
                    </a:lnTo>
                    <a:lnTo>
                      <a:pt x="482" y="34"/>
                    </a:lnTo>
                    <a:lnTo>
                      <a:pt x="483" y="34"/>
                    </a:lnTo>
                    <a:lnTo>
                      <a:pt x="482" y="34"/>
                    </a:lnTo>
                    <a:lnTo>
                      <a:pt x="482" y="35"/>
                    </a:lnTo>
                    <a:lnTo>
                      <a:pt x="482" y="37"/>
                    </a:lnTo>
                    <a:lnTo>
                      <a:pt x="483" y="37"/>
                    </a:lnTo>
                    <a:lnTo>
                      <a:pt x="485" y="37"/>
                    </a:lnTo>
                    <a:lnTo>
                      <a:pt x="485" y="39"/>
                    </a:lnTo>
                    <a:lnTo>
                      <a:pt x="485" y="41"/>
                    </a:lnTo>
                    <a:lnTo>
                      <a:pt x="487" y="42"/>
                    </a:lnTo>
                    <a:lnTo>
                      <a:pt x="487" y="44"/>
                    </a:lnTo>
                    <a:lnTo>
                      <a:pt x="488" y="44"/>
                    </a:lnTo>
                    <a:lnTo>
                      <a:pt x="488" y="46"/>
                    </a:lnTo>
                    <a:lnTo>
                      <a:pt x="487" y="46"/>
                    </a:lnTo>
                    <a:lnTo>
                      <a:pt x="487" y="47"/>
                    </a:lnTo>
                    <a:lnTo>
                      <a:pt x="487" y="49"/>
                    </a:lnTo>
                    <a:lnTo>
                      <a:pt x="485" y="49"/>
                    </a:lnTo>
                    <a:lnTo>
                      <a:pt x="485" y="51"/>
                    </a:lnTo>
                    <a:lnTo>
                      <a:pt x="485" y="49"/>
                    </a:lnTo>
                    <a:lnTo>
                      <a:pt x="485" y="51"/>
                    </a:lnTo>
                    <a:lnTo>
                      <a:pt x="483" y="51"/>
                    </a:lnTo>
                    <a:lnTo>
                      <a:pt x="483" y="52"/>
                    </a:lnTo>
                    <a:lnTo>
                      <a:pt x="482" y="54"/>
                    </a:lnTo>
                    <a:lnTo>
                      <a:pt x="480" y="56"/>
                    </a:lnTo>
                    <a:lnTo>
                      <a:pt x="478" y="56"/>
                    </a:lnTo>
                    <a:lnTo>
                      <a:pt x="478" y="58"/>
                    </a:lnTo>
                    <a:lnTo>
                      <a:pt x="476" y="58"/>
                    </a:lnTo>
                    <a:lnTo>
                      <a:pt x="478" y="58"/>
                    </a:lnTo>
                    <a:lnTo>
                      <a:pt x="476" y="58"/>
                    </a:lnTo>
                    <a:lnTo>
                      <a:pt x="478" y="58"/>
                    </a:lnTo>
                    <a:lnTo>
                      <a:pt x="478" y="59"/>
                    </a:lnTo>
                    <a:lnTo>
                      <a:pt x="480" y="59"/>
                    </a:lnTo>
                    <a:lnTo>
                      <a:pt x="478" y="61"/>
                    </a:lnTo>
                    <a:lnTo>
                      <a:pt x="480" y="61"/>
                    </a:lnTo>
                    <a:lnTo>
                      <a:pt x="478" y="61"/>
                    </a:lnTo>
                    <a:lnTo>
                      <a:pt x="478" y="63"/>
                    </a:lnTo>
                    <a:lnTo>
                      <a:pt x="480" y="63"/>
                    </a:lnTo>
                    <a:lnTo>
                      <a:pt x="478" y="63"/>
                    </a:lnTo>
                    <a:lnTo>
                      <a:pt x="480" y="63"/>
                    </a:lnTo>
                    <a:lnTo>
                      <a:pt x="480" y="64"/>
                    </a:lnTo>
                    <a:lnTo>
                      <a:pt x="478" y="64"/>
                    </a:lnTo>
                    <a:lnTo>
                      <a:pt x="478" y="66"/>
                    </a:lnTo>
                    <a:lnTo>
                      <a:pt x="478" y="68"/>
                    </a:lnTo>
                    <a:lnTo>
                      <a:pt x="476" y="68"/>
                    </a:lnTo>
                    <a:lnTo>
                      <a:pt x="476" y="69"/>
                    </a:lnTo>
                    <a:lnTo>
                      <a:pt x="476" y="71"/>
                    </a:lnTo>
                    <a:lnTo>
                      <a:pt x="475" y="71"/>
                    </a:lnTo>
                    <a:lnTo>
                      <a:pt x="476" y="71"/>
                    </a:lnTo>
                    <a:lnTo>
                      <a:pt x="475" y="73"/>
                    </a:lnTo>
                    <a:lnTo>
                      <a:pt x="476" y="73"/>
                    </a:lnTo>
                    <a:lnTo>
                      <a:pt x="475" y="73"/>
                    </a:lnTo>
                    <a:lnTo>
                      <a:pt x="475" y="75"/>
                    </a:lnTo>
                    <a:lnTo>
                      <a:pt x="475" y="76"/>
                    </a:lnTo>
                    <a:lnTo>
                      <a:pt x="475" y="78"/>
                    </a:lnTo>
                    <a:lnTo>
                      <a:pt x="473" y="78"/>
                    </a:lnTo>
                    <a:lnTo>
                      <a:pt x="473" y="80"/>
                    </a:lnTo>
                    <a:lnTo>
                      <a:pt x="473" y="81"/>
                    </a:lnTo>
                    <a:lnTo>
                      <a:pt x="473" y="83"/>
                    </a:lnTo>
                    <a:lnTo>
                      <a:pt x="473" y="85"/>
                    </a:lnTo>
                    <a:lnTo>
                      <a:pt x="473" y="86"/>
                    </a:lnTo>
                    <a:lnTo>
                      <a:pt x="473" y="88"/>
                    </a:lnTo>
                    <a:lnTo>
                      <a:pt x="475" y="90"/>
                    </a:lnTo>
                    <a:lnTo>
                      <a:pt x="473" y="90"/>
                    </a:lnTo>
                    <a:lnTo>
                      <a:pt x="475" y="90"/>
                    </a:lnTo>
                    <a:lnTo>
                      <a:pt x="475" y="92"/>
                    </a:lnTo>
                    <a:lnTo>
                      <a:pt x="475" y="93"/>
                    </a:lnTo>
                    <a:lnTo>
                      <a:pt x="476" y="93"/>
                    </a:lnTo>
                    <a:lnTo>
                      <a:pt x="476" y="95"/>
                    </a:lnTo>
                    <a:lnTo>
                      <a:pt x="476" y="97"/>
                    </a:lnTo>
                    <a:lnTo>
                      <a:pt x="476" y="98"/>
                    </a:lnTo>
                    <a:lnTo>
                      <a:pt x="478" y="98"/>
                    </a:lnTo>
                    <a:lnTo>
                      <a:pt x="478" y="100"/>
                    </a:lnTo>
                    <a:lnTo>
                      <a:pt x="478" y="98"/>
                    </a:lnTo>
                    <a:lnTo>
                      <a:pt x="478" y="100"/>
                    </a:lnTo>
                    <a:lnTo>
                      <a:pt x="480" y="100"/>
                    </a:lnTo>
                    <a:lnTo>
                      <a:pt x="482" y="100"/>
                    </a:lnTo>
                    <a:lnTo>
                      <a:pt x="482" y="102"/>
                    </a:lnTo>
                    <a:lnTo>
                      <a:pt x="482" y="103"/>
                    </a:lnTo>
                    <a:lnTo>
                      <a:pt x="482" y="105"/>
                    </a:lnTo>
                    <a:lnTo>
                      <a:pt x="482" y="107"/>
                    </a:lnTo>
                    <a:lnTo>
                      <a:pt x="482" y="109"/>
                    </a:lnTo>
                    <a:lnTo>
                      <a:pt x="482" y="110"/>
                    </a:lnTo>
                    <a:lnTo>
                      <a:pt x="482" y="112"/>
                    </a:lnTo>
                    <a:lnTo>
                      <a:pt x="482" y="114"/>
                    </a:lnTo>
                    <a:lnTo>
                      <a:pt x="482" y="115"/>
                    </a:lnTo>
                    <a:lnTo>
                      <a:pt x="483" y="115"/>
                    </a:lnTo>
                    <a:lnTo>
                      <a:pt x="485" y="115"/>
                    </a:lnTo>
                    <a:lnTo>
                      <a:pt x="485" y="117"/>
                    </a:lnTo>
                    <a:lnTo>
                      <a:pt x="483" y="117"/>
                    </a:lnTo>
                    <a:lnTo>
                      <a:pt x="483" y="119"/>
                    </a:lnTo>
                    <a:lnTo>
                      <a:pt x="485" y="119"/>
                    </a:lnTo>
                    <a:lnTo>
                      <a:pt x="485" y="120"/>
                    </a:lnTo>
                    <a:lnTo>
                      <a:pt x="487" y="120"/>
                    </a:lnTo>
                    <a:lnTo>
                      <a:pt x="487" y="119"/>
                    </a:lnTo>
                    <a:lnTo>
                      <a:pt x="488" y="119"/>
                    </a:lnTo>
                    <a:lnTo>
                      <a:pt x="488" y="120"/>
                    </a:lnTo>
                    <a:lnTo>
                      <a:pt x="490" y="122"/>
                    </a:lnTo>
                    <a:lnTo>
                      <a:pt x="490" y="120"/>
                    </a:lnTo>
                    <a:lnTo>
                      <a:pt x="490" y="122"/>
                    </a:lnTo>
                    <a:lnTo>
                      <a:pt x="490" y="124"/>
                    </a:lnTo>
                    <a:lnTo>
                      <a:pt x="492" y="124"/>
                    </a:lnTo>
                    <a:lnTo>
                      <a:pt x="492" y="126"/>
                    </a:lnTo>
                    <a:lnTo>
                      <a:pt x="493" y="126"/>
                    </a:lnTo>
                    <a:lnTo>
                      <a:pt x="493" y="127"/>
                    </a:lnTo>
                    <a:lnTo>
                      <a:pt x="495" y="127"/>
                    </a:lnTo>
                    <a:lnTo>
                      <a:pt x="495" y="129"/>
                    </a:lnTo>
                    <a:lnTo>
                      <a:pt x="497" y="129"/>
                    </a:lnTo>
                    <a:lnTo>
                      <a:pt x="497" y="131"/>
                    </a:lnTo>
                    <a:lnTo>
                      <a:pt x="499" y="131"/>
                    </a:lnTo>
                    <a:lnTo>
                      <a:pt x="500" y="131"/>
                    </a:lnTo>
                    <a:lnTo>
                      <a:pt x="500" y="132"/>
                    </a:lnTo>
                    <a:lnTo>
                      <a:pt x="502" y="132"/>
                    </a:lnTo>
                    <a:lnTo>
                      <a:pt x="504" y="132"/>
                    </a:lnTo>
                    <a:lnTo>
                      <a:pt x="505" y="132"/>
                    </a:lnTo>
                    <a:lnTo>
                      <a:pt x="507" y="132"/>
                    </a:lnTo>
                    <a:lnTo>
                      <a:pt x="507" y="134"/>
                    </a:lnTo>
                    <a:lnTo>
                      <a:pt x="509" y="134"/>
                    </a:lnTo>
                    <a:lnTo>
                      <a:pt x="510" y="134"/>
                    </a:lnTo>
                    <a:lnTo>
                      <a:pt x="510" y="136"/>
                    </a:lnTo>
                    <a:lnTo>
                      <a:pt x="509" y="136"/>
                    </a:lnTo>
                    <a:lnTo>
                      <a:pt x="510" y="136"/>
                    </a:lnTo>
                    <a:lnTo>
                      <a:pt x="510" y="137"/>
                    </a:lnTo>
                    <a:lnTo>
                      <a:pt x="512" y="137"/>
                    </a:lnTo>
                    <a:lnTo>
                      <a:pt x="514" y="137"/>
                    </a:lnTo>
                    <a:lnTo>
                      <a:pt x="516" y="137"/>
                    </a:lnTo>
                    <a:lnTo>
                      <a:pt x="516" y="136"/>
                    </a:lnTo>
                    <a:lnTo>
                      <a:pt x="516" y="134"/>
                    </a:lnTo>
                    <a:lnTo>
                      <a:pt x="517" y="134"/>
                    </a:lnTo>
                    <a:lnTo>
                      <a:pt x="519" y="134"/>
                    </a:lnTo>
                    <a:lnTo>
                      <a:pt x="521" y="134"/>
                    </a:lnTo>
                    <a:lnTo>
                      <a:pt x="521" y="136"/>
                    </a:lnTo>
                    <a:lnTo>
                      <a:pt x="521" y="134"/>
                    </a:lnTo>
                    <a:lnTo>
                      <a:pt x="522" y="134"/>
                    </a:lnTo>
                    <a:lnTo>
                      <a:pt x="522" y="136"/>
                    </a:lnTo>
                    <a:lnTo>
                      <a:pt x="522" y="134"/>
                    </a:lnTo>
                    <a:lnTo>
                      <a:pt x="524" y="136"/>
                    </a:lnTo>
                    <a:lnTo>
                      <a:pt x="524" y="134"/>
                    </a:lnTo>
                    <a:lnTo>
                      <a:pt x="524" y="132"/>
                    </a:lnTo>
                    <a:lnTo>
                      <a:pt x="524" y="131"/>
                    </a:lnTo>
                    <a:lnTo>
                      <a:pt x="522" y="131"/>
                    </a:lnTo>
                    <a:lnTo>
                      <a:pt x="524" y="129"/>
                    </a:lnTo>
                    <a:lnTo>
                      <a:pt x="522" y="129"/>
                    </a:lnTo>
                    <a:lnTo>
                      <a:pt x="524" y="129"/>
                    </a:lnTo>
                    <a:lnTo>
                      <a:pt x="526" y="129"/>
                    </a:lnTo>
                    <a:lnTo>
                      <a:pt x="526" y="127"/>
                    </a:lnTo>
                    <a:lnTo>
                      <a:pt x="527" y="129"/>
                    </a:lnTo>
                    <a:lnTo>
                      <a:pt x="527" y="127"/>
                    </a:lnTo>
                    <a:lnTo>
                      <a:pt x="527" y="126"/>
                    </a:lnTo>
                    <a:lnTo>
                      <a:pt x="529" y="126"/>
                    </a:lnTo>
                    <a:lnTo>
                      <a:pt x="529" y="124"/>
                    </a:lnTo>
                    <a:lnTo>
                      <a:pt x="529" y="126"/>
                    </a:lnTo>
                    <a:lnTo>
                      <a:pt x="531" y="126"/>
                    </a:lnTo>
                    <a:lnTo>
                      <a:pt x="531" y="124"/>
                    </a:lnTo>
                    <a:lnTo>
                      <a:pt x="531" y="126"/>
                    </a:lnTo>
                    <a:lnTo>
                      <a:pt x="533" y="126"/>
                    </a:lnTo>
                    <a:lnTo>
                      <a:pt x="534" y="126"/>
                    </a:lnTo>
                    <a:lnTo>
                      <a:pt x="536" y="127"/>
                    </a:lnTo>
                    <a:lnTo>
                      <a:pt x="534" y="127"/>
                    </a:lnTo>
                    <a:lnTo>
                      <a:pt x="536" y="127"/>
                    </a:lnTo>
                    <a:lnTo>
                      <a:pt x="538" y="127"/>
                    </a:lnTo>
                    <a:lnTo>
                      <a:pt x="538" y="126"/>
                    </a:lnTo>
                    <a:lnTo>
                      <a:pt x="539" y="127"/>
                    </a:lnTo>
                    <a:lnTo>
                      <a:pt x="539" y="126"/>
                    </a:lnTo>
                    <a:lnTo>
                      <a:pt x="541" y="126"/>
                    </a:lnTo>
                    <a:lnTo>
                      <a:pt x="541" y="124"/>
                    </a:lnTo>
                    <a:lnTo>
                      <a:pt x="541" y="122"/>
                    </a:lnTo>
                    <a:lnTo>
                      <a:pt x="539" y="122"/>
                    </a:lnTo>
                    <a:lnTo>
                      <a:pt x="541" y="122"/>
                    </a:lnTo>
                    <a:lnTo>
                      <a:pt x="543" y="122"/>
                    </a:lnTo>
                    <a:lnTo>
                      <a:pt x="544" y="122"/>
                    </a:lnTo>
                    <a:lnTo>
                      <a:pt x="544" y="120"/>
                    </a:lnTo>
                    <a:lnTo>
                      <a:pt x="544" y="122"/>
                    </a:lnTo>
                    <a:lnTo>
                      <a:pt x="546" y="120"/>
                    </a:lnTo>
                    <a:lnTo>
                      <a:pt x="548" y="120"/>
                    </a:lnTo>
                    <a:lnTo>
                      <a:pt x="548" y="119"/>
                    </a:lnTo>
                    <a:lnTo>
                      <a:pt x="548" y="120"/>
                    </a:lnTo>
                    <a:lnTo>
                      <a:pt x="550" y="119"/>
                    </a:lnTo>
                    <a:lnTo>
                      <a:pt x="550" y="120"/>
                    </a:lnTo>
                    <a:lnTo>
                      <a:pt x="550" y="119"/>
                    </a:lnTo>
                    <a:lnTo>
                      <a:pt x="550" y="120"/>
                    </a:lnTo>
                    <a:lnTo>
                      <a:pt x="551" y="120"/>
                    </a:lnTo>
                    <a:lnTo>
                      <a:pt x="553" y="120"/>
                    </a:lnTo>
                    <a:lnTo>
                      <a:pt x="555" y="120"/>
                    </a:lnTo>
                    <a:lnTo>
                      <a:pt x="556" y="120"/>
                    </a:lnTo>
                    <a:lnTo>
                      <a:pt x="556" y="119"/>
                    </a:lnTo>
                    <a:lnTo>
                      <a:pt x="556" y="117"/>
                    </a:lnTo>
                    <a:lnTo>
                      <a:pt x="558" y="117"/>
                    </a:lnTo>
                    <a:lnTo>
                      <a:pt x="560" y="115"/>
                    </a:lnTo>
                    <a:lnTo>
                      <a:pt x="558" y="115"/>
                    </a:lnTo>
                    <a:lnTo>
                      <a:pt x="560" y="115"/>
                    </a:lnTo>
                    <a:lnTo>
                      <a:pt x="560" y="114"/>
                    </a:lnTo>
                    <a:lnTo>
                      <a:pt x="561" y="112"/>
                    </a:lnTo>
                    <a:lnTo>
                      <a:pt x="561" y="114"/>
                    </a:lnTo>
                    <a:lnTo>
                      <a:pt x="561" y="112"/>
                    </a:lnTo>
                    <a:lnTo>
                      <a:pt x="561" y="110"/>
                    </a:lnTo>
                    <a:lnTo>
                      <a:pt x="563" y="110"/>
                    </a:lnTo>
                    <a:lnTo>
                      <a:pt x="565" y="110"/>
                    </a:lnTo>
                    <a:lnTo>
                      <a:pt x="565" y="112"/>
                    </a:lnTo>
                    <a:lnTo>
                      <a:pt x="567" y="112"/>
                    </a:lnTo>
                    <a:lnTo>
                      <a:pt x="567" y="110"/>
                    </a:lnTo>
                    <a:lnTo>
                      <a:pt x="568" y="110"/>
                    </a:lnTo>
                    <a:lnTo>
                      <a:pt x="570" y="110"/>
                    </a:lnTo>
                    <a:lnTo>
                      <a:pt x="570" y="109"/>
                    </a:lnTo>
                    <a:lnTo>
                      <a:pt x="570" y="110"/>
                    </a:lnTo>
                    <a:lnTo>
                      <a:pt x="572" y="110"/>
                    </a:lnTo>
                    <a:lnTo>
                      <a:pt x="572" y="112"/>
                    </a:lnTo>
                    <a:lnTo>
                      <a:pt x="573" y="112"/>
                    </a:lnTo>
                    <a:lnTo>
                      <a:pt x="573" y="114"/>
                    </a:lnTo>
                    <a:lnTo>
                      <a:pt x="575" y="114"/>
                    </a:lnTo>
                    <a:lnTo>
                      <a:pt x="577" y="112"/>
                    </a:lnTo>
                    <a:lnTo>
                      <a:pt x="577" y="114"/>
                    </a:lnTo>
                    <a:lnTo>
                      <a:pt x="578" y="114"/>
                    </a:lnTo>
                    <a:lnTo>
                      <a:pt x="580" y="114"/>
                    </a:lnTo>
                    <a:lnTo>
                      <a:pt x="580" y="115"/>
                    </a:lnTo>
                    <a:lnTo>
                      <a:pt x="582" y="115"/>
                    </a:lnTo>
                    <a:lnTo>
                      <a:pt x="582" y="114"/>
                    </a:lnTo>
                    <a:lnTo>
                      <a:pt x="584" y="112"/>
                    </a:lnTo>
                    <a:lnTo>
                      <a:pt x="584" y="114"/>
                    </a:lnTo>
                    <a:lnTo>
                      <a:pt x="585" y="114"/>
                    </a:lnTo>
                    <a:lnTo>
                      <a:pt x="585" y="112"/>
                    </a:lnTo>
                    <a:lnTo>
                      <a:pt x="587" y="112"/>
                    </a:lnTo>
                    <a:lnTo>
                      <a:pt x="589" y="114"/>
                    </a:lnTo>
                    <a:lnTo>
                      <a:pt x="590" y="112"/>
                    </a:lnTo>
                    <a:lnTo>
                      <a:pt x="592" y="112"/>
                    </a:lnTo>
                    <a:lnTo>
                      <a:pt x="594" y="112"/>
                    </a:lnTo>
                    <a:lnTo>
                      <a:pt x="594" y="114"/>
                    </a:lnTo>
                    <a:lnTo>
                      <a:pt x="594" y="112"/>
                    </a:lnTo>
                    <a:lnTo>
                      <a:pt x="595" y="112"/>
                    </a:lnTo>
                    <a:lnTo>
                      <a:pt x="597" y="112"/>
                    </a:lnTo>
                    <a:lnTo>
                      <a:pt x="597" y="114"/>
                    </a:lnTo>
                    <a:lnTo>
                      <a:pt x="599" y="114"/>
                    </a:lnTo>
                    <a:lnTo>
                      <a:pt x="601" y="114"/>
                    </a:lnTo>
                    <a:lnTo>
                      <a:pt x="602" y="114"/>
                    </a:lnTo>
                    <a:lnTo>
                      <a:pt x="604" y="115"/>
                    </a:lnTo>
                    <a:lnTo>
                      <a:pt x="606" y="115"/>
                    </a:lnTo>
                    <a:lnTo>
                      <a:pt x="607" y="115"/>
                    </a:lnTo>
                    <a:lnTo>
                      <a:pt x="609" y="115"/>
                    </a:lnTo>
                    <a:lnTo>
                      <a:pt x="611" y="114"/>
                    </a:lnTo>
                    <a:lnTo>
                      <a:pt x="611" y="112"/>
                    </a:lnTo>
                    <a:lnTo>
                      <a:pt x="609" y="110"/>
                    </a:lnTo>
                    <a:lnTo>
                      <a:pt x="611" y="110"/>
                    </a:lnTo>
                    <a:lnTo>
                      <a:pt x="611" y="109"/>
                    </a:lnTo>
                    <a:lnTo>
                      <a:pt x="611" y="107"/>
                    </a:lnTo>
                    <a:lnTo>
                      <a:pt x="609" y="107"/>
                    </a:lnTo>
                    <a:lnTo>
                      <a:pt x="609" y="105"/>
                    </a:lnTo>
                    <a:lnTo>
                      <a:pt x="607" y="105"/>
                    </a:lnTo>
                    <a:lnTo>
                      <a:pt x="606" y="105"/>
                    </a:lnTo>
                    <a:lnTo>
                      <a:pt x="606" y="103"/>
                    </a:lnTo>
                    <a:lnTo>
                      <a:pt x="606" y="102"/>
                    </a:lnTo>
                    <a:lnTo>
                      <a:pt x="604" y="102"/>
                    </a:lnTo>
                    <a:lnTo>
                      <a:pt x="602" y="102"/>
                    </a:lnTo>
                    <a:lnTo>
                      <a:pt x="604" y="100"/>
                    </a:lnTo>
                    <a:lnTo>
                      <a:pt x="604" y="98"/>
                    </a:lnTo>
                    <a:lnTo>
                      <a:pt x="606" y="98"/>
                    </a:lnTo>
                    <a:lnTo>
                      <a:pt x="607" y="98"/>
                    </a:lnTo>
                    <a:lnTo>
                      <a:pt x="606" y="98"/>
                    </a:lnTo>
                    <a:lnTo>
                      <a:pt x="607" y="97"/>
                    </a:lnTo>
                    <a:lnTo>
                      <a:pt x="607" y="95"/>
                    </a:lnTo>
                    <a:lnTo>
                      <a:pt x="607" y="93"/>
                    </a:lnTo>
                    <a:lnTo>
                      <a:pt x="609" y="93"/>
                    </a:lnTo>
                    <a:lnTo>
                      <a:pt x="607" y="93"/>
                    </a:lnTo>
                    <a:lnTo>
                      <a:pt x="609" y="93"/>
                    </a:lnTo>
                    <a:lnTo>
                      <a:pt x="609" y="92"/>
                    </a:lnTo>
                    <a:lnTo>
                      <a:pt x="611" y="92"/>
                    </a:lnTo>
                    <a:lnTo>
                      <a:pt x="611" y="93"/>
                    </a:lnTo>
                    <a:lnTo>
                      <a:pt x="612" y="93"/>
                    </a:lnTo>
                    <a:lnTo>
                      <a:pt x="612" y="95"/>
                    </a:lnTo>
                    <a:lnTo>
                      <a:pt x="614" y="95"/>
                    </a:lnTo>
                    <a:lnTo>
                      <a:pt x="616" y="95"/>
                    </a:lnTo>
                    <a:lnTo>
                      <a:pt x="616" y="97"/>
                    </a:lnTo>
                    <a:lnTo>
                      <a:pt x="618" y="97"/>
                    </a:lnTo>
                    <a:lnTo>
                      <a:pt x="619" y="97"/>
                    </a:lnTo>
                    <a:lnTo>
                      <a:pt x="621" y="97"/>
                    </a:lnTo>
                    <a:lnTo>
                      <a:pt x="621" y="95"/>
                    </a:lnTo>
                    <a:lnTo>
                      <a:pt x="623" y="95"/>
                    </a:lnTo>
                    <a:lnTo>
                      <a:pt x="623" y="97"/>
                    </a:lnTo>
                    <a:lnTo>
                      <a:pt x="623" y="95"/>
                    </a:lnTo>
                    <a:lnTo>
                      <a:pt x="624" y="95"/>
                    </a:lnTo>
                    <a:lnTo>
                      <a:pt x="626" y="95"/>
                    </a:lnTo>
                    <a:lnTo>
                      <a:pt x="628" y="95"/>
                    </a:lnTo>
                    <a:lnTo>
                      <a:pt x="628" y="97"/>
                    </a:lnTo>
                    <a:lnTo>
                      <a:pt x="629" y="97"/>
                    </a:lnTo>
                    <a:lnTo>
                      <a:pt x="629" y="95"/>
                    </a:lnTo>
                    <a:lnTo>
                      <a:pt x="629" y="93"/>
                    </a:lnTo>
                    <a:lnTo>
                      <a:pt x="631" y="93"/>
                    </a:lnTo>
                    <a:lnTo>
                      <a:pt x="633" y="93"/>
                    </a:lnTo>
                    <a:lnTo>
                      <a:pt x="635" y="93"/>
                    </a:lnTo>
                    <a:lnTo>
                      <a:pt x="635" y="92"/>
                    </a:lnTo>
                    <a:lnTo>
                      <a:pt x="636" y="92"/>
                    </a:lnTo>
                    <a:lnTo>
                      <a:pt x="638" y="92"/>
                    </a:lnTo>
                    <a:lnTo>
                      <a:pt x="638" y="93"/>
                    </a:lnTo>
                    <a:lnTo>
                      <a:pt x="638" y="92"/>
                    </a:lnTo>
                    <a:lnTo>
                      <a:pt x="640" y="92"/>
                    </a:lnTo>
                    <a:lnTo>
                      <a:pt x="641" y="92"/>
                    </a:lnTo>
                    <a:lnTo>
                      <a:pt x="641" y="90"/>
                    </a:lnTo>
                    <a:lnTo>
                      <a:pt x="643" y="90"/>
                    </a:lnTo>
                    <a:lnTo>
                      <a:pt x="643" y="92"/>
                    </a:lnTo>
                    <a:lnTo>
                      <a:pt x="643" y="93"/>
                    </a:lnTo>
                    <a:lnTo>
                      <a:pt x="645" y="93"/>
                    </a:lnTo>
                    <a:lnTo>
                      <a:pt x="645" y="95"/>
                    </a:lnTo>
                    <a:lnTo>
                      <a:pt x="646" y="95"/>
                    </a:lnTo>
                    <a:lnTo>
                      <a:pt x="648" y="95"/>
                    </a:lnTo>
                    <a:lnTo>
                      <a:pt x="650" y="95"/>
                    </a:lnTo>
                    <a:lnTo>
                      <a:pt x="652" y="95"/>
                    </a:lnTo>
                    <a:lnTo>
                      <a:pt x="652" y="97"/>
                    </a:lnTo>
                    <a:lnTo>
                      <a:pt x="652" y="98"/>
                    </a:lnTo>
                    <a:lnTo>
                      <a:pt x="653" y="98"/>
                    </a:lnTo>
                    <a:lnTo>
                      <a:pt x="655" y="98"/>
                    </a:lnTo>
                    <a:lnTo>
                      <a:pt x="655" y="100"/>
                    </a:lnTo>
                    <a:lnTo>
                      <a:pt x="657" y="100"/>
                    </a:lnTo>
                    <a:lnTo>
                      <a:pt x="657" y="102"/>
                    </a:lnTo>
                    <a:lnTo>
                      <a:pt x="658" y="102"/>
                    </a:lnTo>
                    <a:lnTo>
                      <a:pt x="660" y="103"/>
                    </a:lnTo>
                    <a:lnTo>
                      <a:pt x="662" y="103"/>
                    </a:lnTo>
                    <a:lnTo>
                      <a:pt x="663" y="103"/>
                    </a:lnTo>
                    <a:lnTo>
                      <a:pt x="663" y="105"/>
                    </a:lnTo>
                    <a:lnTo>
                      <a:pt x="665" y="105"/>
                    </a:lnTo>
                    <a:lnTo>
                      <a:pt x="667" y="105"/>
                    </a:lnTo>
                    <a:lnTo>
                      <a:pt x="669" y="105"/>
                    </a:lnTo>
                    <a:lnTo>
                      <a:pt x="670" y="105"/>
                    </a:lnTo>
                    <a:lnTo>
                      <a:pt x="670" y="107"/>
                    </a:lnTo>
                    <a:lnTo>
                      <a:pt x="672" y="107"/>
                    </a:lnTo>
                    <a:lnTo>
                      <a:pt x="672" y="105"/>
                    </a:lnTo>
                    <a:lnTo>
                      <a:pt x="672" y="103"/>
                    </a:lnTo>
                    <a:lnTo>
                      <a:pt x="674" y="103"/>
                    </a:lnTo>
                    <a:lnTo>
                      <a:pt x="675" y="103"/>
                    </a:lnTo>
                    <a:lnTo>
                      <a:pt x="677" y="103"/>
                    </a:lnTo>
                    <a:lnTo>
                      <a:pt x="677" y="102"/>
                    </a:lnTo>
                    <a:lnTo>
                      <a:pt x="677" y="100"/>
                    </a:lnTo>
                    <a:lnTo>
                      <a:pt x="677" y="102"/>
                    </a:lnTo>
                    <a:lnTo>
                      <a:pt x="679" y="102"/>
                    </a:lnTo>
                    <a:lnTo>
                      <a:pt x="679" y="100"/>
                    </a:lnTo>
                    <a:lnTo>
                      <a:pt x="680" y="100"/>
                    </a:lnTo>
                    <a:lnTo>
                      <a:pt x="682" y="100"/>
                    </a:lnTo>
                    <a:lnTo>
                      <a:pt x="680" y="100"/>
                    </a:lnTo>
                    <a:lnTo>
                      <a:pt x="680" y="98"/>
                    </a:lnTo>
                    <a:lnTo>
                      <a:pt x="682" y="98"/>
                    </a:lnTo>
                    <a:lnTo>
                      <a:pt x="684" y="98"/>
                    </a:lnTo>
                    <a:lnTo>
                      <a:pt x="684" y="100"/>
                    </a:lnTo>
                    <a:lnTo>
                      <a:pt x="686" y="100"/>
                    </a:lnTo>
                    <a:lnTo>
                      <a:pt x="687" y="100"/>
                    </a:lnTo>
                    <a:lnTo>
                      <a:pt x="689" y="100"/>
                    </a:lnTo>
                    <a:lnTo>
                      <a:pt x="689" y="102"/>
                    </a:lnTo>
                    <a:lnTo>
                      <a:pt x="691" y="102"/>
                    </a:lnTo>
                    <a:lnTo>
                      <a:pt x="692" y="102"/>
                    </a:lnTo>
                    <a:lnTo>
                      <a:pt x="694" y="100"/>
                    </a:lnTo>
                    <a:lnTo>
                      <a:pt x="696" y="100"/>
                    </a:lnTo>
                    <a:lnTo>
                      <a:pt x="697" y="100"/>
                    </a:lnTo>
                    <a:lnTo>
                      <a:pt x="699" y="100"/>
                    </a:lnTo>
                    <a:lnTo>
                      <a:pt x="701" y="100"/>
                    </a:lnTo>
                    <a:lnTo>
                      <a:pt x="701" y="102"/>
                    </a:lnTo>
                    <a:lnTo>
                      <a:pt x="701" y="103"/>
                    </a:lnTo>
                    <a:lnTo>
                      <a:pt x="703" y="103"/>
                    </a:lnTo>
                    <a:lnTo>
                      <a:pt x="704" y="103"/>
                    </a:lnTo>
                    <a:lnTo>
                      <a:pt x="706" y="102"/>
                    </a:lnTo>
                    <a:lnTo>
                      <a:pt x="706" y="103"/>
                    </a:lnTo>
                    <a:lnTo>
                      <a:pt x="708" y="103"/>
                    </a:lnTo>
                    <a:lnTo>
                      <a:pt x="709" y="103"/>
                    </a:lnTo>
                    <a:lnTo>
                      <a:pt x="709" y="105"/>
                    </a:lnTo>
                    <a:lnTo>
                      <a:pt x="711" y="105"/>
                    </a:lnTo>
                    <a:lnTo>
                      <a:pt x="711" y="103"/>
                    </a:lnTo>
                    <a:lnTo>
                      <a:pt x="713" y="103"/>
                    </a:lnTo>
                    <a:lnTo>
                      <a:pt x="713" y="102"/>
                    </a:lnTo>
                    <a:lnTo>
                      <a:pt x="714" y="102"/>
                    </a:lnTo>
                    <a:lnTo>
                      <a:pt x="714" y="100"/>
                    </a:lnTo>
                    <a:lnTo>
                      <a:pt x="716" y="100"/>
                    </a:lnTo>
                    <a:lnTo>
                      <a:pt x="718" y="98"/>
                    </a:lnTo>
                    <a:lnTo>
                      <a:pt x="720" y="98"/>
                    </a:lnTo>
                    <a:lnTo>
                      <a:pt x="721" y="98"/>
                    </a:lnTo>
                    <a:lnTo>
                      <a:pt x="721" y="97"/>
                    </a:lnTo>
                    <a:lnTo>
                      <a:pt x="721" y="95"/>
                    </a:lnTo>
                    <a:lnTo>
                      <a:pt x="723" y="95"/>
                    </a:lnTo>
                    <a:lnTo>
                      <a:pt x="721" y="95"/>
                    </a:lnTo>
                    <a:lnTo>
                      <a:pt x="723" y="95"/>
                    </a:lnTo>
                    <a:lnTo>
                      <a:pt x="723" y="93"/>
                    </a:lnTo>
                    <a:lnTo>
                      <a:pt x="725" y="93"/>
                    </a:lnTo>
                    <a:lnTo>
                      <a:pt x="725" y="92"/>
                    </a:lnTo>
                    <a:lnTo>
                      <a:pt x="725" y="90"/>
                    </a:lnTo>
                    <a:lnTo>
                      <a:pt x="725" y="88"/>
                    </a:lnTo>
                    <a:lnTo>
                      <a:pt x="725" y="86"/>
                    </a:lnTo>
                    <a:lnTo>
                      <a:pt x="726" y="86"/>
                    </a:lnTo>
                    <a:lnTo>
                      <a:pt x="726" y="85"/>
                    </a:lnTo>
                    <a:lnTo>
                      <a:pt x="726" y="83"/>
                    </a:lnTo>
                    <a:lnTo>
                      <a:pt x="728" y="83"/>
                    </a:lnTo>
                    <a:lnTo>
                      <a:pt x="728" y="81"/>
                    </a:lnTo>
                    <a:lnTo>
                      <a:pt x="728" y="80"/>
                    </a:lnTo>
                    <a:lnTo>
                      <a:pt x="730" y="80"/>
                    </a:lnTo>
                    <a:lnTo>
                      <a:pt x="730" y="78"/>
                    </a:lnTo>
                    <a:lnTo>
                      <a:pt x="730" y="76"/>
                    </a:lnTo>
                    <a:lnTo>
                      <a:pt x="731" y="76"/>
                    </a:lnTo>
                    <a:lnTo>
                      <a:pt x="731" y="75"/>
                    </a:lnTo>
                    <a:lnTo>
                      <a:pt x="731" y="73"/>
                    </a:lnTo>
                    <a:lnTo>
                      <a:pt x="731" y="71"/>
                    </a:lnTo>
                    <a:lnTo>
                      <a:pt x="733" y="71"/>
                    </a:lnTo>
                    <a:lnTo>
                      <a:pt x="733" y="69"/>
                    </a:lnTo>
                    <a:lnTo>
                      <a:pt x="733" y="68"/>
                    </a:lnTo>
                    <a:lnTo>
                      <a:pt x="735" y="68"/>
                    </a:lnTo>
                    <a:lnTo>
                      <a:pt x="737" y="68"/>
                    </a:lnTo>
                    <a:lnTo>
                      <a:pt x="737" y="66"/>
                    </a:lnTo>
                    <a:lnTo>
                      <a:pt x="737" y="64"/>
                    </a:lnTo>
                    <a:lnTo>
                      <a:pt x="738" y="64"/>
                    </a:lnTo>
                    <a:lnTo>
                      <a:pt x="738" y="63"/>
                    </a:lnTo>
                    <a:lnTo>
                      <a:pt x="738" y="61"/>
                    </a:lnTo>
                    <a:lnTo>
                      <a:pt x="740" y="61"/>
                    </a:lnTo>
                    <a:lnTo>
                      <a:pt x="740" y="59"/>
                    </a:lnTo>
                    <a:lnTo>
                      <a:pt x="742" y="59"/>
                    </a:lnTo>
                    <a:lnTo>
                      <a:pt x="742" y="58"/>
                    </a:lnTo>
                    <a:lnTo>
                      <a:pt x="742" y="56"/>
                    </a:lnTo>
                    <a:lnTo>
                      <a:pt x="743" y="56"/>
                    </a:lnTo>
                    <a:lnTo>
                      <a:pt x="743" y="54"/>
                    </a:lnTo>
                    <a:lnTo>
                      <a:pt x="743" y="52"/>
                    </a:lnTo>
                    <a:lnTo>
                      <a:pt x="745" y="52"/>
                    </a:lnTo>
                    <a:lnTo>
                      <a:pt x="745" y="51"/>
                    </a:lnTo>
                    <a:lnTo>
                      <a:pt x="747" y="49"/>
                    </a:lnTo>
                    <a:lnTo>
                      <a:pt x="748" y="47"/>
                    </a:lnTo>
                    <a:lnTo>
                      <a:pt x="750" y="47"/>
                    </a:lnTo>
                    <a:lnTo>
                      <a:pt x="750" y="46"/>
                    </a:lnTo>
                    <a:lnTo>
                      <a:pt x="750" y="44"/>
                    </a:lnTo>
                    <a:lnTo>
                      <a:pt x="752" y="42"/>
                    </a:lnTo>
                    <a:lnTo>
                      <a:pt x="754" y="42"/>
                    </a:lnTo>
                    <a:lnTo>
                      <a:pt x="754" y="41"/>
                    </a:lnTo>
                    <a:lnTo>
                      <a:pt x="755" y="41"/>
                    </a:lnTo>
                    <a:lnTo>
                      <a:pt x="755" y="39"/>
                    </a:lnTo>
                    <a:lnTo>
                      <a:pt x="755" y="37"/>
                    </a:lnTo>
                    <a:lnTo>
                      <a:pt x="757" y="37"/>
                    </a:lnTo>
                    <a:lnTo>
                      <a:pt x="755" y="35"/>
                    </a:lnTo>
                    <a:lnTo>
                      <a:pt x="757" y="35"/>
                    </a:lnTo>
                    <a:lnTo>
                      <a:pt x="757" y="34"/>
                    </a:lnTo>
                    <a:lnTo>
                      <a:pt x="757" y="35"/>
                    </a:lnTo>
                    <a:lnTo>
                      <a:pt x="759" y="37"/>
                    </a:lnTo>
                    <a:lnTo>
                      <a:pt x="759" y="39"/>
                    </a:lnTo>
                    <a:lnTo>
                      <a:pt x="759" y="41"/>
                    </a:lnTo>
                    <a:lnTo>
                      <a:pt x="760" y="41"/>
                    </a:lnTo>
                    <a:lnTo>
                      <a:pt x="760" y="42"/>
                    </a:lnTo>
                    <a:lnTo>
                      <a:pt x="760" y="44"/>
                    </a:lnTo>
                    <a:lnTo>
                      <a:pt x="762" y="44"/>
                    </a:lnTo>
                    <a:lnTo>
                      <a:pt x="760" y="44"/>
                    </a:lnTo>
                    <a:lnTo>
                      <a:pt x="760" y="42"/>
                    </a:lnTo>
                    <a:lnTo>
                      <a:pt x="760" y="41"/>
                    </a:lnTo>
                    <a:lnTo>
                      <a:pt x="760" y="39"/>
                    </a:lnTo>
                    <a:lnTo>
                      <a:pt x="759" y="39"/>
                    </a:lnTo>
                    <a:lnTo>
                      <a:pt x="759" y="37"/>
                    </a:lnTo>
                    <a:lnTo>
                      <a:pt x="759" y="35"/>
                    </a:lnTo>
                    <a:lnTo>
                      <a:pt x="759" y="34"/>
                    </a:lnTo>
                    <a:lnTo>
                      <a:pt x="757" y="34"/>
                    </a:lnTo>
                    <a:lnTo>
                      <a:pt x="757" y="32"/>
                    </a:lnTo>
                    <a:lnTo>
                      <a:pt x="757" y="30"/>
                    </a:lnTo>
                    <a:lnTo>
                      <a:pt x="757" y="29"/>
                    </a:lnTo>
                    <a:lnTo>
                      <a:pt x="759" y="29"/>
                    </a:lnTo>
                    <a:lnTo>
                      <a:pt x="759" y="27"/>
                    </a:lnTo>
                    <a:lnTo>
                      <a:pt x="760" y="29"/>
                    </a:lnTo>
                    <a:lnTo>
                      <a:pt x="762" y="29"/>
                    </a:lnTo>
                    <a:lnTo>
                      <a:pt x="762" y="30"/>
                    </a:lnTo>
                    <a:lnTo>
                      <a:pt x="764" y="30"/>
                    </a:lnTo>
                    <a:lnTo>
                      <a:pt x="764" y="32"/>
                    </a:lnTo>
                    <a:lnTo>
                      <a:pt x="765" y="32"/>
                    </a:lnTo>
                    <a:lnTo>
                      <a:pt x="765" y="34"/>
                    </a:lnTo>
                    <a:lnTo>
                      <a:pt x="767" y="34"/>
                    </a:lnTo>
                    <a:lnTo>
                      <a:pt x="767" y="35"/>
                    </a:lnTo>
                    <a:lnTo>
                      <a:pt x="769" y="37"/>
                    </a:lnTo>
                    <a:lnTo>
                      <a:pt x="769" y="39"/>
                    </a:lnTo>
                    <a:lnTo>
                      <a:pt x="771" y="39"/>
                    </a:lnTo>
                    <a:lnTo>
                      <a:pt x="771" y="41"/>
                    </a:lnTo>
                    <a:lnTo>
                      <a:pt x="771" y="42"/>
                    </a:lnTo>
                    <a:lnTo>
                      <a:pt x="771" y="44"/>
                    </a:lnTo>
                    <a:lnTo>
                      <a:pt x="771" y="46"/>
                    </a:lnTo>
                    <a:lnTo>
                      <a:pt x="771" y="47"/>
                    </a:lnTo>
                    <a:lnTo>
                      <a:pt x="771" y="49"/>
                    </a:lnTo>
                    <a:lnTo>
                      <a:pt x="771" y="51"/>
                    </a:lnTo>
                    <a:lnTo>
                      <a:pt x="771" y="52"/>
                    </a:lnTo>
                    <a:lnTo>
                      <a:pt x="769" y="54"/>
                    </a:lnTo>
                    <a:lnTo>
                      <a:pt x="771" y="52"/>
                    </a:lnTo>
                    <a:lnTo>
                      <a:pt x="771" y="51"/>
                    </a:lnTo>
                    <a:lnTo>
                      <a:pt x="771" y="49"/>
                    </a:lnTo>
                    <a:lnTo>
                      <a:pt x="771" y="47"/>
                    </a:lnTo>
                    <a:lnTo>
                      <a:pt x="772" y="47"/>
                    </a:lnTo>
                    <a:lnTo>
                      <a:pt x="772" y="46"/>
                    </a:lnTo>
                    <a:lnTo>
                      <a:pt x="774" y="46"/>
                    </a:lnTo>
                    <a:lnTo>
                      <a:pt x="774" y="47"/>
                    </a:lnTo>
                    <a:lnTo>
                      <a:pt x="774" y="49"/>
                    </a:lnTo>
                    <a:lnTo>
                      <a:pt x="774" y="51"/>
                    </a:lnTo>
                    <a:lnTo>
                      <a:pt x="774" y="52"/>
                    </a:lnTo>
                    <a:lnTo>
                      <a:pt x="774" y="54"/>
                    </a:lnTo>
                    <a:lnTo>
                      <a:pt x="774" y="56"/>
                    </a:lnTo>
                    <a:lnTo>
                      <a:pt x="774" y="58"/>
                    </a:lnTo>
                    <a:lnTo>
                      <a:pt x="774" y="59"/>
                    </a:lnTo>
                    <a:lnTo>
                      <a:pt x="774" y="61"/>
                    </a:lnTo>
                    <a:lnTo>
                      <a:pt x="772" y="61"/>
                    </a:lnTo>
                    <a:lnTo>
                      <a:pt x="774" y="63"/>
                    </a:lnTo>
                    <a:lnTo>
                      <a:pt x="774" y="64"/>
                    </a:lnTo>
                    <a:lnTo>
                      <a:pt x="774" y="66"/>
                    </a:lnTo>
                    <a:lnTo>
                      <a:pt x="774" y="68"/>
                    </a:lnTo>
                    <a:lnTo>
                      <a:pt x="776" y="68"/>
                    </a:lnTo>
                    <a:lnTo>
                      <a:pt x="776" y="69"/>
                    </a:lnTo>
                    <a:lnTo>
                      <a:pt x="776" y="71"/>
                    </a:lnTo>
                    <a:lnTo>
                      <a:pt x="776" y="73"/>
                    </a:lnTo>
                    <a:lnTo>
                      <a:pt x="776" y="75"/>
                    </a:lnTo>
                    <a:lnTo>
                      <a:pt x="776" y="76"/>
                    </a:lnTo>
                    <a:lnTo>
                      <a:pt x="777" y="76"/>
                    </a:lnTo>
                    <a:lnTo>
                      <a:pt x="777" y="78"/>
                    </a:lnTo>
                    <a:lnTo>
                      <a:pt x="777" y="80"/>
                    </a:lnTo>
                    <a:lnTo>
                      <a:pt x="779" y="81"/>
                    </a:lnTo>
                    <a:lnTo>
                      <a:pt x="777" y="81"/>
                    </a:lnTo>
                    <a:lnTo>
                      <a:pt x="779" y="83"/>
                    </a:lnTo>
                    <a:lnTo>
                      <a:pt x="779" y="85"/>
                    </a:lnTo>
                    <a:lnTo>
                      <a:pt x="781" y="85"/>
                    </a:lnTo>
                    <a:lnTo>
                      <a:pt x="781" y="86"/>
                    </a:lnTo>
                    <a:lnTo>
                      <a:pt x="781" y="88"/>
                    </a:lnTo>
                    <a:lnTo>
                      <a:pt x="782" y="88"/>
                    </a:lnTo>
                    <a:lnTo>
                      <a:pt x="782" y="90"/>
                    </a:lnTo>
                    <a:lnTo>
                      <a:pt x="782" y="92"/>
                    </a:lnTo>
                    <a:lnTo>
                      <a:pt x="782" y="93"/>
                    </a:lnTo>
                    <a:lnTo>
                      <a:pt x="781" y="93"/>
                    </a:lnTo>
                    <a:lnTo>
                      <a:pt x="782" y="93"/>
                    </a:lnTo>
                    <a:lnTo>
                      <a:pt x="784" y="93"/>
                    </a:lnTo>
                    <a:lnTo>
                      <a:pt x="784" y="95"/>
                    </a:lnTo>
                    <a:lnTo>
                      <a:pt x="784" y="97"/>
                    </a:lnTo>
                    <a:lnTo>
                      <a:pt x="784" y="98"/>
                    </a:lnTo>
                    <a:lnTo>
                      <a:pt x="786" y="98"/>
                    </a:lnTo>
                    <a:lnTo>
                      <a:pt x="786" y="100"/>
                    </a:lnTo>
                    <a:lnTo>
                      <a:pt x="786" y="102"/>
                    </a:lnTo>
                    <a:lnTo>
                      <a:pt x="786" y="103"/>
                    </a:lnTo>
                    <a:lnTo>
                      <a:pt x="788" y="103"/>
                    </a:lnTo>
                    <a:lnTo>
                      <a:pt x="788" y="105"/>
                    </a:lnTo>
                    <a:lnTo>
                      <a:pt x="786" y="105"/>
                    </a:lnTo>
                    <a:lnTo>
                      <a:pt x="786" y="107"/>
                    </a:lnTo>
                    <a:lnTo>
                      <a:pt x="784" y="107"/>
                    </a:lnTo>
                    <a:lnTo>
                      <a:pt x="786" y="107"/>
                    </a:lnTo>
                    <a:lnTo>
                      <a:pt x="788" y="105"/>
                    </a:lnTo>
                    <a:lnTo>
                      <a:pt x="788" y="107"/>
                    </a:lnTo>
                    <a:lnTo>
                      <a:pt x="789" y="107"/>
                    </a:lnTo>
                    <a:lnTo>
                      <a:pt x="791" y="109"/>
                    </a:lnTo>
                    <a:lnTo>
                      <a:pt x="789" y="109"/>
                    </a:lnTo>
                    <a:lnTo>
                      <a:pt x="789" y="110"/>
                    </a:lnTo>
                    <a:lnTo>
                      <a:pt x="791" y="110"/>
                    </a:lnTo>
                    <a:lnTo>
                      <a:pt x="791" y="112"/>
                    </a:lnTo>
                    <a:lnTo>
                      <a:pt x="793" y="112"/>
                    </a:lnTo>
                    <a:lnTo>
                      <a:pt x="793" y="114"/>
                    </a:lnTo>
                    <a:lnTo>
                      <a:pt x="794" y="115"/>
                    </a:lnTo>
                    <a:lnTo>
                      <a:pt x="794" y="117"/>
                    </a:lnTo>
                    <a:lnTo>
                      <a:pt x="796" y="117"/>
                    </a:lnTo>
                    <a:lnTo>
                      <a:pt x="798" y="117"/>
                    </a:lnTo>
                    <a:lnTo>
                      <a:pt x="799" y="117"/>
                    </a:lnTo>
                    <a:lnTo>
                      <a:pt x="801" y="117"/>
                    </a:lnTo>
                    <a:lnTo>
                      <a:pt x="803" y="117"/>
                    </a:lnTo>
                    <a:lnTo>
                      <a:pt x="805" y="117"/>
                    </a:lnTo>
                    <a:lnTo>
                      <a:pt x="806" y="117"/>
                    </a:lnTo>
                    <a:lnTo>
                      <a:pt x="808" y="117"/>
                    </a:lnTo>
                    <a:lnTo>
                      <a:pt x="810" y="119"/>
                    </a:lnTo>
                    <a:lnTo>
                      <a:pt x="811" y="119"/>
                    </a:lnTo>
                    <a:lnTo>
                      <a:pt x="813" y="120"/>
                    </a:lnTo>
                    <a:lnTo>
                      <a:pt x="813" y="122"/>
                    </a:lnTo>
                    <a:lnTo>
                      <a:pt x="813" y="124"/>
                    </a:lnTo>
                    <a:lnTo>
                      <a:pt x="813" y="126"/>
                    </a:lnTo>
                    <a:lnTo>
                      <a:pt x="813" y="127"/>
                    </a:lnTo>
                    <a:lnTo>
                      <a:pt x="815" y="127"/>
                    </a:lnTo>
                    <a:lnTo>
                      <a:pt x="815" y="129"/>
                    </a:lnTo>
                    <a:lnTo>
                      <a:pt x="815" y="131"/>
                    </a:lnTo>
                    <a:lnTo>
                      <a:pt x="815" y="132"/>
                    </a:lnTo>
                    <a:lnTo>
                      <a:pt x="813" y="134"/>
                    </a:lnTo>
                    <a:lnTo>
                      <a:pt x="813" y="136"/>
                    </a:lnTo>
                    <a:lnTo>
                      <a:pt x="811" y="136"/>
                    </a:lnTo>
                    <a:lnTo>
                      <a:pt x="810" y="136"/>
                    </a:lnTo>
                    <a:lnTo>
                      <a:pt x="808" y="136"/>
                    </a:lnTo>
                    <a:lnTo>
                      <a:pt x="806" y="136"/>
                    </a:lnTo>
                    <a:lnTo>
                      <a:pt x="806" y="137"/>
                    </a:lnTo>
                    <a:lnTo>
                      <a:pt x="806" y="136"/>
                    </a:lnTo>
                    <a:lnTo>
                      <a:pt x="806" y="134"/>
                    </a:lnTo>
                    <a:lnTo>
                      <a:pt x="806" y="132"/>
                    </a:lnTo>
                    <a:lnTo>
                      <a:pt x="805" y="132"/>
                    </a:lnTo>
                    <a:lnTo>
                      <a:pt x="803" y="132"/>
                    </a:lnTo>
                    <a:lnTo>
                      <a:pt x="801" y="132"/>
                    </a:lnTo>
                    <a:lnTo>
                      <a:pt x="801" y="134"/>
                    </a:lnTo>
                    <a:lnTo>
                      <a:pt x="803" y="132"/>
                    </a:lnTo>
                    <a:lnTo>
                      <a:pt x="805" y="132"/>
                    </a:lnTo>
                    <a:lnTo>
                      <a:pt x="806" y="132"/>
                    </a:lnTo>
                    <a:lnTo>
                      <a:pt x="806" y="134"/>
                    </a:lnTo>
                    <a:lnTo>
                      <a:pt x="805" y="136"/>
                    </a:lnTo>
                    <a:lnTo>
                      <a:pt x="805" y="137"/>
                    </a:lnTo>
                    <a:lnTo>
                      <a:pt x="806" y="137"/>
                    </a:lnTo>
                    <a:lnTo>
                      <a:pt x="808" y="137"/>
                    </a:lnTo>
                    <a:lnTo>
                      <a:pt x="810" y="137"/>
                    </a:lnTo>
                    <a:lnTo>
                      <a:pt x="811" y="137"/>
                    </a:lnTo>
                    <a:lnTo>
                      <a:pt x="811" y="136"/>
                    </a:lnTo>
                    <a:lnTo>
                      <a:pt x="813" y="136"/>
                    </a:lnTo>
                    <a:lnTo>
                      <a:pt x="813" y="137"/>
                    </a:lnTo>
                    <a:lnTo>
                      <a:pt x="815" y="137"/>
                    </a:lnTo>
                    <a:lnTo>
                      <a:pt x="815" y="139"/>
                    </a:lnTo>
                    <a:lnTo>
                      <a:pt x="813" y="139"/>
                    </a:lnTo>
                    <a:lnTo>
                      <a:pt x="813" y="141"/>
                    </a:lnTo>
                    <a:lnTo>
                      <a:pt x="811" y="141"/>
                    </a:lnTo>
                    <a:lnTo>
                      <a:pt x="810" y="143"/>
                    </a:lnTo>
                    <a:lnTo>
                      <a:pt x="808" y="143"/>
                    </a:lnTo>
                    <a:lnTo>
                      <a:pt x="808" y="144"/>
                    </a:lnTo>
                    <a:lnTo>
                      <a:pt x="806" y="144"/>
                    </a:lnTo>
                    <a:lnTo>
                      <a:pt x="806" y="146"/>
                    </a:lnTo>
                    <a:lnTo>
                      <a:pt x="805" y="146"/>
                    </a:lnTo>
                    <a:lnTo>
                      <a:pt x="805" y="148"/>
                    </a:lnTo>
                    <a:lnTo>
                      <a:pt x="803" y="148"/>
                    </a:lnTo>
                    <a:lnTo>
                      <a:pt x="801" y="148"/>
                    </a:lnTo>
                    <a:lnTo>
                      <a:pt x="801" y="149"/>
                    </a:lnTo>
                    <a:lnTo>
                      <a:pt x="799" y="149"/>
                    </a:lnTo>
                    <a:lnTo>
                      <a:pt x="799" y="151"/>
                    </a:lnTo>
                    <a:lnTo>
                      <a:pt x="799" y="153"/>
                    </a:lnTo>
                    <a:lnTo>
                      <a:pt x="798" y="153"/>
                    </a:lnTo>
                    <a:lnTo>
                      <a:pt x="798" y="154"/>
                    </a:lnTo>
                    <a:lnTo>
                      <a:pt x="796" y="154"/>
                    </a:lnTo>
                    <a:lnTo>
                      <a:pt x="794" y="156"/>
                    </a:lnTo>
                    <a:lnTo>
                      <a:pt x="794" y="158"/>
                    </a:lnTo>
                    <a:lnTo>
                      <a:pt x="793" y="158"/>
                    </a:lnTo>
                    <a:lnTo>
                      <a:pt x="793" y="160"/>
                    </a:lnTo>
                    <a:lnTo>
                      <a:pt x="793" y="161"/>
                    </a:lnTo>
                    <a:lnTo>
                      <a:pt x="791" y="161"/>
                    </a:lnTo>
                    <a:lnTo>
                      <a:pt x="791" y="163"/>
                    </a:lnTo>
                    <a:lnTo>
                      <a:pt x="791" y="165"/>
                    </a:lnTo>
                    <a:lnTo>
                      <a:pt x="789" y="165"/>
                    </a:lnTo>
                    <a:lnTo>
                      <a:pt x="789" y="166"/>
                    </a:lnTo>
                    <a:lnTo>
                      <a:pt x="788" y="166"/>
                    </a:lnTo>
                    <a:lnTo>
                      <a:pt x="788" y="168"/>
                    </a:lnTo>
                    <a:lnTo>
                      <a:pt x="786" y="168"/>
                    </a:lnTo>
                    <a:lnTo>
                      <a:pt x="786" y="170"/>
                    </a:lnTo>
                    <a:lnTo>
                      <a:pt x="784" y="170"/>
                    </a:lnTo>
                    <a:lnTo>
                      <a:pt x="784" y="172"/>
                    </a:lnTo>
                    <a:lnTo>
                      <a:pt x="782" y="172"/>
                    </a:lnTo>
                    <a:lnTo>
                      <a:pt x="781" y="172"/>
                    </a:lnTo>
                    <a:lnTo>
                      <a:pt x="779" y="172"/>
                    </a:lnTo>
                    <a:lnTo>
                      <a:pt x="779" y="173"/>
                    </a:lnTo>
                    <a:lnTo>
                      <a:pt x="777" y="173"/>
                    </a:lnTo>
                    <a:lnTo>
                      <a:pt x="776" y="175"/>
                    </a:lnTo>
                    <a:lnTo>
                      <a:pt x="776" y="177"/>
                    </a:lnTo>
                    <a:lnTo>
                      <a:pt x="774" y="177"/>
                    </a:lnTo>
                    <a:lnTo>
                      <a:pt x="774" y="178"/>
                    </a:lnTo>
                    <a:lnTo>
                      <a:pt x="774" y="180"/>
                    </a:lnTo>
                    <a:lnTo>
                      <a:pt x="777" y="182"/>
                    </a:lnTo>
                    <a:lnTo>
                      <a:pt x="777" y="180"/>
                    </a:lnTo>
                    <a:lnTo>
                      <a:pt x="779" y="180"/>
                    </a:lnTo>
                    <a:lnTo>
                      <a:pt x="781" y="180"/>
                    </a:lnTo>
                    <a:lnTo>
                      <a:pt x="782" y="180"/>
                    </a:lnTo>
                    <a:lnTo>
                      <a:pt x="782" y="178"/>
                    </a:lnTo>
                    <a:lnTo>
                      <a:pt x="784" y="178"/>
                    </a:lnTo>
                    <a:lnTo>
                      <a:pt x="786" y="178"/>
                    </a:lnTo>
                    <a:lnTo>
                      <a:pt x="788" y="178"/>
                    </a:lnTo>
                    <a:lnTo>
                      <a:pt x="788" y="180"/>
                    </a:lnTo>
                    <a:lnTo>
                      <a:pt x="789" y="180"/>
                    </a:lnTo>
                    <a:lnTo>
                      <a:pt x="789" y="182"/>
                    </a:lnTo>
                    <a:lnTo>
                      <a:pt x="788" y="182"/>
                    </a:lnTo>
                    <a:lnTo>
                      <a:pt x="788" y="183"/>
                    </a:lnTo>
                    <a:lnTo>
                      <a:pt x="786" y="183"/>
                    </a:lnTo>
                    <a:lnTo>
                      <a:pt x="784" y="185"/>
                    </a:lnTo>
                    <a:lnTo>
                      <a:pt x="782" y="185"/>
                    </a:lnTo>
                    <a:lnTo>
                      <a:pt x="782" y="187"/>
                    </a:lnTo>
                    <a:lnTo>
                      <a:pt x="781" y="187"/>
                    </a:lnTo>
                    <a:lnTo>
                      <a:pt x="779" y="189"/>
                    </a:lnTo>
                    <a:lnTo>
                      <a:pt x="777" y="190"/>
                    </a:lnTo>
                    <a:lnTo>
                      <a:pt x="776" y="190"/>
                    </a:lnTo>
                    <a:lnTo>
                      <a:pt x="777" y="192"/>
                    </a:lnTo>
                    <a:lnTo>
                      <a:pt x="777" y="190"/>
                    </a:lnTo>
                    <a:lnTo>
                      <a:pt x="779" y="190"/>
                    </a:lnTo>
                    <a:lnTo>
                      <a:pt x="781" y="190"/>
                    </a:lnTo>
                    <a:lnTo>
                      <a:pt x="782" y="190"/>
                    </a:lnTo>
                    <a:lnTo>
                      <a:pt x="782" y="192"/>
                    </a:lnTo>
                    <a:lnTo>
                      <a:pt x="782" y="190"/>
                    </a:lnTo>
                    <a:lnTo>
                      <a:pt x="784" y="190"/>
                    </a:lnTo>
                    <a:lnTo>
                      <a:pt x="784" y="192"/>
                    </a:lnTo>
                    <a:lnTo>
                      <a:pt x="784" y="194"/>
                    </a:lnTo>
                    <a:lnTo>
                      <a:pt x="782" y="194"/>
                    </a:lnTo>
                    <a:lnTo>
                      <a:pt x="782" y="195"/>
                    </a:lnTo>
                    <a:lnTo>
                      <a:pt x="781" y="195"/>
                    </a:lnTo>
                    <a:lnTo>
                      <a:pt x="779" y="195"/>
                    </a:lnTo>
                    <a:lnTo>
                      <a:pt x="779" y="197"/>
                    </a:lnTo>
                    <a:lnTo>
                      <a:pt x="777" y="197"/>
                    </a:lnTo>
                    <a:lnTo>
                      <a:pt x="776" y="197"/>
                    </a:lnTo>
                    <a:lnTo>
                      <a:pt x="776" y="199"/>
                    </a:lnTo>
                    <a:lnTo>
                      <a:pt x="776" y="200"/>
                    </a:lnTo>
                    <a:lnTo>
                      <a:pt x="774" y="200"/>
                    </a:lnTo>
                    <a:lnTo>
                      <a:pt x="776" y="200"/>
                    </a:lnTo>
                    <a:lnTo>
                      <a:pt x="777" y="199"/>
                    </a:lnTo>
                    <a:lnTo>
                      <a:pt x="779" y="197"/>
                    </a:lnTo>
                    <a:lnTo>
                      <a:pt x="781" y="197"/>
                    </a:lnTo>
                    <a:lnTo>
                      <a:pt x="782" y="197"/>
                    </a:lnTo>
                    <a:lnTo>
                      <a:pt x="782" y="199"/>
                    </a:lnTo>
                    <a:lnTo>
                      <a:pt x="782" y="200"/>
                    </a:lnTo>
                    <a:lnTo>
                      <a:pt x="782" y="202"/>
                    </a:lnTo>
                    <a:lnTo>
                      <a:pt x="782" y="204"/>
                    </a:lnTo>
                    <a:lnTo>
                      <a:pt x="784" y="204"/>
                    </a:lnTo>
                    <a:lnTo>
                      <a:pt x="784" y="202"/>
                    </a:lnTo>
                    <a:lnTo>
                      <a:pt x="784" y="200"/>
                    </a:lnTo>
                    <a:lnTo>
                      <a:pt x="784" y="199"/>
                    </a:lnTo>
                    <a:lnTo>
                      <a:pt x="784" y="197"/>
                    </a:lnTo>
                    <a:lnTo>
                      <a:pt x="786" y="197"/>
                    </a:lnTo>
                    <a:lnTo>
                      <a:pt x="786" y="195"/>
                    </a:lnTo>
                    <a:lnTo>
                      <a:pt x="786" y="194"/>
                    </a:lnTo>
                    <a:lnTo>
                      <a:pt x="786" y="192"/>
                    </a:lnTo>
                    <a:lnTo>
                      <a:pt x="786" y="190"/>
                    </a:lnTo>
                    <a:lnTo>
                      <a:pt x="788" y="190"/>
                    </a:lnTo>
                    <a:lnTo>
                      <a:pt x="788" y="189"/>
                    </a:lnTo>
                    <a:lnTo>
                      <a:pt x="788" y="187"/>
                    </a:lnTo>
                    <a:lnTo>
                      <a:pt x="789" y="187"/>
                    </a:lnTo>
                    <a:lnTo>
                      <a:pt x="789" y="185"/>
                    </a:lnTo>
                    <a:lnTo>
                      <a:pt x="791" y="185"/>
                    </a:lnTo>
                    <a:lnTo>
                      <a:pt x="791" y="183"/>
                    </a:lnTo>
                    <a:lnTo>
                      <a:pt x="793" y="183"/>
                    </a:lnTo>
                    <a:lnTo>
                      <a:pt x="794" y="183"/>
                    </a:lnTo>
                    <a:lnTo>
                      <a:pt x="794" y="182"/>
                    </a:lnTo>
                    <a:lnTo>
                      <a:pt x="796" y="182"/>
                    </a:lnTo>
                    <a:lnTo>
                      <a:pt x="798" y="182"/>
                    </a:lnTo>
                    <a:lnTo>
                      <a:pt x="799" y="182"/>
                    </a:lnTo>
                    <a:lnTo>
                      <a:pt x="801" y="182"/>
                    </a:lnTo>
                    <a:lnTo>
                      <a:pt x="803" y="182"/>
                    </a:lnTo>
                    <a:lnTo>
                      <a:pt x="805" y="182"/>
                    </a:lnTo>
                    <a:lnTo>
                      <a:pt x="806" y="182"/>
                    </a:lnTo>
                    <a:lnTo>
                      <a:pt x="806" y="183"/>
                    </a:lnTo>
                    <a:lnTo>
                      <a:pt x="808" y="183"/>
                    </a:lnTo>
                    <a:lnTo>
                      <a:pt x="810" y="183"/>
                    </a:lnTo>
                    <a:lnTo>
                      <a:pt x="811" y="183"/>
                    </a:lnTo>
                    <a:lnTo>
                      <a:pt x="813" y="183"/>
                    </a:lnTo>
                    <a:lnTo>
                      <a:pt x="815" y="183"/>
                    </a:lnTo>
                    <a:lnTo>
                      <a:pt x="815" y="185"/>
                    </a:lnTo>
                    <a:lnTo>
                      <a:pt x="816" y="185"/>
                    </a:lnTo>
                    <a:lnTo>
                      <a:pt x="818" y="185"/>
                    </a:lnTo>
                    <a:lnTo>
                      <a:pt x="820" y="185"/>
                    </a:lnTo>
                    <a:lnTo>
                      <a:pt x="822" y="185"/>
                    </a:lnTo>
                    <a:lnTo>
                      <a:pt x="823" y="187"/>
                    </a:lnTo>
                    <a:lnTo>
                      <a:pt x="823" y="185"/>
                    </a:lnTo>
                    <a:lnTo>
                      <a:pt x="825" y="185"/>
                    </a:lnTo>
                    <a:lnTo>
                      <a:pt x="827" y="185"/>
                    </a:lnTo>
                    <a:lnTo>
                      <a:pt x="828" y="185"/>
                    </a:lnTo>
                    <a:lnTo>
                      <a:pt x="830" y="185"/>
                    </a:lnTo>
                    <a:lnTo>
                      <a:pt x="830" y="183"/>
                    </a:lnTo>
                    <a:lnTo>
                      <a:pt x="832" y="183"/>
                    </a:lnTo>
                    <a:lnTo>
                      <a:pt x="833" y="183"/>
                    </a:lnTo>
                    <a:lnTo>
                      <a:pt x="835" y="183"/>
                    </a:lnTo>
                    <a:lnTo>
                      <a:pt x="837" y="183"/>
                    </a:lnTo>
                    <a:lnTo>
                      <a:pt x="837" y="182"/>
                    </a:lnTo>
                    <a:lnTo>
                      <a:pt x="839" y="183"/>
                    </a:lnTo>
                    <a:lnTo>
                      <a:pt x="840" y="183"/>
                    </a:lnTo>
                    <a:lnTo>
                      <a:pt x="842" y="183"/>
                    </a:lnTo>
                    <a:lnTo>
                      <a:pt x="844" y="183"/>
                    </a:lnTo>
                    <a:lnTo>
                      <a:pt x="845" y="185"/>
                    </a:lnTo>
                    <a:lnTo>
                      <a:pt x="847" y="185"/>
                    </a:lnTo>
                    <a:lnTo>
                      <a:pt x="849" y="185"/>
                    </a:lnTo>
                    <a:lnTo>
                      <a:pt x="850" y="185"/>
                    </a:lnTo>
                    <a:lnTo>
                      <a:pt x="852" y="185"/>
                    </a:lnTo>
                    <a:lnTo>
                      <a:pt x="852" y="187"/>
                    </a:lnTo>
                    <a:lnTo>
                      <a:pt x="854" y="187"/>
                    </a:lnTo>
                    <a:lnTo>
                      <a:pt x="856" y="187"/>
                    </a:lnTo>
                    <a:lnTo>
                      <a:pt x="856" y="185"/>
                    </a:lnTo>
                    <a:lnTo>
                      <a:pt x="857" y="185"/>
                    </a:lnTo>
                    <a:lnTo>
                      <a:pt x="859" y="185"/>
                    </a:lnTo>
                    <a:lnTo>
                      <a:pt x="861" y="185"/>
                    </a:lnTo>
                    <a:lnTo>
                      <a:pt x="861" y="187"/>
                    </a:lnTo>
                    <a:lnTo>
                      <a:pt x="861" y="185"/>
                    </a:lnTo>
                    <a:lnTo>
                      <a:pt x="862" y="185"/>
                    </a:lnTo>
                    <a:lnTo>
                      <a:pt x="864" y="187"/>
                    </a:lnTo>
                    <a:lnTo>
                      <a:pt x="866" y="187"/>
                    </a:lnTo>
                    <a:lnTo>
                      <a:pt x="866" y="189"/>
                    </a:lnTo>
                    <a:lnTo>
                      <a:pt x="864" y="189"/>
                    </a:lnTo>
                    <a:lnTo>
                      <a:pt x="864" y="190"/>
                    </a:lnTo>
                    <a:lnTo>
                      <a:pt x="864" y="192"/>
                    </a:lnTo>
                    <a:lnTo>
                      <a:pt x="862" y="192"/>
                    </a:lnTo>
                    <a:lnTo>
                      <a:pt x="862" y="194"/>
                    </a:lnTo>
                    <a:lnTo>
                      <a:pt x="862" y="195"/>
                    </a:lnTo>
                    <a:lnTo>
                      <a:pt x="862" y="197"/>
                    </a:lnTo>
                    <a:lnTo>
                      <a:pt x="862" y="199"/>
                    </a:lnTo>
                    <a:lnTo>
                      <a:pt x="861" y="199"/>
                    </a:lnTo>
                    <a:lnTo>
                      <a:pt x="862" y="199"/>
                    </a:lnTo>
                    <a:lnTo>
                      <a:pt x="861" y="200"/>
                    </a:lnTo>
                    <a:lnTo>
                      <a:pt x="862" y="200"/>
                    </a:lnTo>
                    <a:lnTo>
                      <a:pt x="861" y="200"/>
                    </a:lnTo>
                    <a:lnTo>
                      <a:pt x="861" y="202"/>
                    </a:lnTo>
                    <a:lnTo>
                      <a:pt x="861" y="204"/>
                    </a:lnTo>
                    <a:lnTo>
                      <a:pt x="861" y="206"/>
                    </a:lnTo>
                    <a:lnTo>
                      <a:pt x="861" y="207"/>
                    </a:lnTo>
                    <a:lnTo>
                      <a:pt x="861" y="209"/>
                    </a:lnTo>
                    <a:lnTo>
                      <a:pt x="859" y="209"/>
                    </a:lnTo>
                    <a:lnTo>
                      <a:pt x="857" y="211"/>
                    </a:lnTo>
                    <a:lnTo>
                      <a:pt x="856" y="212"/>
                    </a:lnTo>
                    <a:lnTo>
                      <a:pt x="857" y="212"/>
                    </a:lnTo>
                    <a:lnTo>
                      <a:pt x="857" y="214"/>
                    </a:lnTo>
                    <a:lnTo>
                      <a:pt x="856" y="214"/>
                    </a:lnTo>
                    <a:lnTo>
                      <a:pt x="856" y="216"/>
                    </a:lnTo>
                    <a:lnTo>
                      <a:pt x="854" y="216"/>
                    </a:lnTo>
                    <a:lnTo>
                      <a:pt x="854" y="217"/>
                    </a:lnTo>
                    <a:lnTo>
                      <a:pt x="852" y="217"/>
                    </a:lnTo>
                    <a:lnTo>
                      <a:pt x="852" y="219"/>
                    </a:lnTo>
                    <a:lnTo>
                      <a:pt x="852" y="221"/>
                    </a:lnTo>
                    <a:lnTo>
                      <a:pt x="850" y="221"/>
                    </a:lnTo>
                    <a:lnTo>
                      <a:pt x="850" y="223"/>
                    </a:lnTo>
                    <a:lnTo>
                      <a:pt x="850" y="224"/>
                    </a:lnTo>
                    <a:lnTo>
                      <a:pt x="850" y="226"/>
                    </a:lnTo>
                    <a:lnTo>
                      <a:pt x="850" y="228"/>
                    </a:lnTo>
                    <a:lnTo>
                      <a:pt x="849" y="228"/>
                    </a:lnTo>
                    <a:lnTo>
                      <a:pt x="847" y="228"/>
                    </a:lnTo>
                    <a:lnTo>
                      <a:pt x="847" y="229"/>
                    </a:lnTo>
                    <a:lnTo>
                      <a:pt x="847" y="231"/>
                    </a:lnTo>
                    <a:lnTo>
                      <a:pt x="847" y="233"/>
                    </a:lnTo>
                    <a:lnTo>
                      <a:pt x="847" y="234"/>
                    </a:lnTo>
                    <a:lnTo>
                      <a:pt x="845" y="234"/>
                    </a:lnTo>
                    <a:lnTo>
                      <a:pt x="845" y="236"/>
                    </a:lnTo>
                    <a:lnTo>
                      <a:pt x="847" y="236"/>
                    </a:lnTo>
                    <a:lnTo>
                      <a:pt x="845" y="238"/>
                    </a:lnTo>
                    <a:lnTo>
                      <a:pt x="844" y="238"/>
                    </a:lnTo>
                    <a:lnTo>
                      <a:pt x="844" y="240"/>
                    </a:lnTo>
                    <a:lnTo>
                      <a:pt x="842" y="241"/>
                    </a:lnTo>
                    <a:lnTo>
                      <a:pt x="842" y="240"/>
                    </a:lnTo>
                    <a:lnTo>
                      <a:pt x="842" y="241"/>
                    </a:lnTo>
                    <a:lnTo>
                      <a:pt x="844" y="240"/>
                    </a:lnTo>
                    <a:lnTo>
                      <a:pt x="845" y="240"/>
                    </a:lnTo>
                    <a:lnTo>
                      <a:pt x="845" y="238"/>
                    </a:lnTo>
                    <a:lnTo>
                      <a:pt x="847" y="238"/>
                    </a:lnTo>
                    <a:lnTo>
                      <a:pt x="847" y="236"/>
                    </a:lnTo>
                    <a:lnTo>
                      <a:pt x="849" y="236"/>
                    </a:lnTo>
                    <a:lnTo>
                      <a:pt x="849" y="234"/>
                    </a:lnTo>
                    <a:lnTo>
                      <a:pt x="849" y="233"/>
                    </a:lnTo>
                    <a:lnTo>
                      <a:pt x="850" y="233"/>
                    </a:lnTo>
                    <a:lnTo>
                      <a:pt x="850" y="231"/>
                    </a:lnTo>
                    <a:lnTo>
                      <a:pt x="852" y="231"/>
                    </a:lnTo>
                    <a:lnTo>
                      <a:pt x="852" y="229"/>
                    </a:lnTo>
                    <a:lnTo>
                      <a:pt x="854" y="229"/>
                    </a:lnTo>
                    <a:lnTo>
                      <a:pt x="854" y="228"/>
                    </a:lnTo>
                    <a:lnTo>
                      <a:pt x="854" y="226"/>
                    </a:lnTo>
                    <a:lnTo>
                      <a:pt x="856" y="226"/>
                    </a:lnTo>
                    <a:lnTo>
                      <a:pt x="856" y="224"/>
                    </a:lnTo>
                    <a:lnTo>
                      <a:pt x="857" y="224"/>
                    </a:lnTo>
                    <a:lnTo>
                      <a:pt x="857" y="223"/>
                    </a:lnTo>
                    <a:lnTo>
                      <a:pt x="859" y="223"/>
                    </a:lnTo>
                    <a:lnTo>
                      <a:pt x="859" y="224"/>
                    </a:lnTo>
                    <a:lnTo>
                      <a:pt x="861" y="224"/>
                    </a:lnTo>
                    <a:lnTo>
                      <a:pt x="861" y="226"/>
                    </a:lnTo>
                    <a:lnTo>
                      <a:pt x="859" y="226"/>
                    </a:lnTo>
                    <a:lnTo>
                      <a:pt x="859" y="228"/>
                    </a:lnTo>
                    <a:lnTo>
                      <a:pt x="861" y="228"/>
                    </a:lnTo>
                    <a:lnTo>
                      <a:pt x="861" y="229"/>
                    </a:lnTo>
                    <a:lnTo>
                      <a:pt x="861" y="228"/>
                    </a:lnTo>
                    <a:lnTo>
                      <a:pt x="862" y="228"/>
                    </a:lnTo>
                    <a:lnTo>
                      <a:pt x="864" y="228"/>
                    </a:lnTo>
                    <a:lnTo>
                      <a:pt x="862" y="228"/>
                    </a:lnTo>
                    <a:lnTo>
                      <a:pt x="861" y="228"/>
                    </a:lnTo>
                    <a:lnTo>
                      <a:pt x="861" y="226"/>
                    </a:lnTo>
                    <a:lnTo>
                      <a:pt x="861" y="224"/>
                    </a:lnTo>
                    <a:lnTo>
                      <a:pt x="862" y="224"/>
                    </a:lnTo>
                    <a:lnTo>
                      <a:pt x="861" y="223"/>
                    </a:lnTo>
                    <a:lnTo>
                      <a:pt x="861" y="221"/>
                    </a:lnTo>
                    <a:lnTo>
                      <a:pt x="862" y="221"/>
                    </a:lnTo>
                    <a:lnTo>
                      <a:pt x="862" y="219"/>
                    </a:lnTo>
                    <a:lnTo>
                      <a:pt x="864" y="219"/>
                    </a:lnTo>
                    <a:lnTo>
                      <a:pt x="862" y="217"/>
                    </a:lnTo>
                    <a:lnTo>
                      <a:pt x="862" y="216"/>
                    </a:lnTo>
                    <a:lnTo>
                      <a:pt x="864" y="216"/>
                    </a:lnTo>
                    <a:lnTo>
                      <a:pt x="864" y="214"/>
                    </a:lnTo>
                    <a:lnTo>
                      <a:pt x="864" y="216"/>
                    </a:lnTo>
                    <a:lnTo>
                      <a:pt x="864" y="214"/>
                    </a:lnTo>
                    <a:lnTo>
                      <a:pt x="866" y="214"/>
                    </a:lnTo>
                    <a:lnTo>
                      <a:pt x="867" y="214"/>
                    </a:lnTo>
                    <a:lnTo>
                      <a:pt x="866" y="214"/>
                    </a:lnTo>
                    <a:lnTo>
                      <a:pt x="867" y="216"/>
                    </a:lnTo>
                    <a:lnTo>
                      <a:pt x="867" y="214"/>
                    </a:lnTo>
                    <a:lnTo>
                      <a:pt x="867" y="212"/>
                    </a:lnTo>
                    <a:lnTo>
                      <a:pt x="867" y="211"/>
                    </a:lnTo>
                    <a:lnTo>
                      <a:pt x="867" y="209"/>
                    </a:lnTo>
                    <a:lnTo>
                      <a:pt x="869" y="209"/>
                    </a:lnTo>
                    <a:lnTo>
                      <a:pt x="869" y="207"/>
                    </a:lnTo>
                    <a:lnTo>
                      <a:pt x="871" y="206"/>
                    </a:lnTo>
                    <a:lnTo>
                      <a:pt x="873" y="206"/>
                    </a:lnTo>
                    <a:lnTo>
                      <a:pt x="873" y="207"/>
                    </a:lnTo>
                    <a:lnTo>
                      <a:pt x="873" y="206"/>
                    </a:lnTo>
                    <a:lnTo>
                      <a:pt x="873" y="204"/>
                    </a:lnTo>
                    <a:lnTo>
                      <a:pt x="874" y="204"/>
                    </a:lnTo>
                    <a:lnTo>
                      <a:pt x="874" y="202"/>
                    </a:lnTo>
                    <a:lnTo>
                      <a:pt x="876" y="200"/>
                    </a:lnTo>
                    <a:lnTo>
                      <a:pt x="878" y="200"/>
                    </a:lnTo>
                    <a:lnTo>
                      <a:pt x="878" y="202"/>
                    </a:lnTo>
                    <a:lnTo>
                      <a:pt x="878" y="200"/>
                    </a:lnTo>
                    <a:lnTo>
                      <a:pt x="878" y="202"/>
                    </a:lnTo>
                    <a:lnTo>
                      <a:pt x="878" y="200"/>
                    </a:lnTo>
                    <a:lnTo>
                      <a:pt x="879" y="202"/>
                    </a:lnTo>
                    <a:lnTo>
                      <a:pt x="879" y="204"/>
                    </a:lnTo>
                    <a:lnTo>
                      <a:pt x="879" y="202"/>
                    </a:lnTo>
                    <a:lnTo>
                      <a:pt x="879" y="200"/>
                    </a:lnTo>
                    <a:lnTo>
                      <a:pt x="879" y="199"/>
                    </a:lnTo>
                    <a:lnTo>
                      <a:pt x="881" y="199"/>
                    </a:lnTo>
                    <a:lnTo>
                      <a:pt x="881" y="197"/>
                    </a:lnTo>
                    <a:lnTo>
                      <a:pt x="883" y="197"/>
                    </a:lnTo>
                    <a:lnTo>
                      <a:pt x="883" y="199"/>
                    </a:lnTo>
                    <a:lnTo>
                      <a:pt x="883" y="200"/>
                    </a:lnTo>
                    <a:lnTo>
                      <a:pt x="883" y="202"/>
                    </a:lnTo>
                    <a:lnTo>
                      <a:pt x="883" y="200"/>
                    </a:lnTo>
                    <a:lnTo>
                      <a:pt x="884" y="200"/>
                    </a:lnTo>
                    <a:lnTo>
                      <a:pt x="884" y="199"/>
                    </a:lnTo>
                    <a:lnTo>
                      <a:pt x="883" y="199"/>
                    </a:lnTo>
                    <a:lnTo>
                      <a:pt x="884" y="199"/>
                    </a:lnTo>
                    <a:lnTo>
                      <a:pt x="884" y="197"/>
                    </a:lnTo>
                    <a:lnTo>
                      <a:pt x="884" y="199"/>
                    </a:lnTo>
                    <a:lnTo>
                      <a:pt x="884" y="197"/>
                    </a:lnTo>
                    <a:lnTo>
                      <a:pt x="884" y="199"/>
                    </a:lnTo>
                    <a:lnTo>
                      <a:pt x="886" y="199"/>
                    </a:lnTo>
                    <a:lnTo>
                      <a:pt x="884" y="199"/>
                    </a:lnTo>
                    <a:lnTo>
                      <a:pt x="886" y="199"/>
                    </a:lnTo>
                    <a:lnTo>
                      <a:pt x="888" y="200"/>
                    </a:lnTo>
                    <a:lnTo>
                      <a:pt x="888" y="199"/>
                    </a:lnTo>
                    <a:lnTo>
                      <a:pt x="886" y="199"/>
                    </a:lnTo>
                    <a:lnTo>
                      <a:pt x="886" y="197"/>
                    </a:lnTo>
                    <a:lnTo>
                      <a:pt x="886" y="195"/>
                    </a:lnTo>
                    <a:lnTo>
                      <a:pt x="888" y="195"/>
                    </a:lnTo>
                    <a:lnTo>
                      <a:pt x="888" y="197"/>
                    </a:lnTo>
                    <a:lnTo>
                      <a:pt x="888" y="199"/>
                    </a:lnTo>
                    <a:lnTo>
                      <a:pt x="888" y="197"/>
                    </a:lnTo>
                    <a:lnTo>
                      <a:pt x="890" y="197"/>
                    </a:lnTo>
                    <a:lnTo>
                      <a:pt x="890" y="199"/>
                    </a:lnTo>
                    <a:lnTo>
                      <a:pt x="890" y="200"/>
                    </a:lnTo>
                    <a:lnTo>
                      <a:pt x="890" y="202"/>
                    </a:lnTo>
                    <a:lnTo>
                      <a:pt x="890" y="200"/>
                    </a:lnTo>
                    <a:lnTo>
                      <a:pt x="890" y="202"/>
                    </a:lnTo>
                    <a:lnTo>
                      <a:pt x="888" y="202"/>
                    </a:lnTo>
                    <a:lnTo>
                      <a:pt x="886" y="202"/>
                    </a:lnTo>
                    <a:lnTo>
                      <a:pt x="886" y="204"/>
                    </a:lnTo>
                    <a:lnTo>
                      <a:pt x="888" y="204"/>
                    </a:lnTo>
                    <a:lnTo>
                      <a:pt x="888" y="202"/>
                    </a:lnTo>
                    <a:lnTo>
                      <a:pt x="890" y="202"/>
                    </a:lnTo>
                    <a:lnTo>
                      <a:pt x="891" y="202"/>
                    </a:lnTo>
                    <a:lnTo>
                      <a:pt x="891" y="200"/>
                    </a:lnTo>
                    <a:lnTo>
                      <a:pt x="891" y="199"/>
                    </a:lnTo>
                    <a:lnTo>
                      <a:pt x="893" y="199"/>
                    </a:lnTo>
                    <a:lnTo>
                      <a:pt x="891" y="199"/>
                    </a:lnTo>
                    <a:lnTo>
                      <a:pt x="891" y="197"/>
                    </a:lnTo>
                    <a:lnTo>
                      <a:pt x="893" y="197"/>
                    </a:lnTo>
                    <a:lnTo>
                      <a:pt x="893" y="199"/>
                    </a:lnTo>
                    <a:lnTo>
                      <a:pt x="893" y="200"/>
                    </a:lnTo>
                    <a:lnTo>
                      <a:pt x="895" y="200"/>
                    </a:lnTo>
                    <a:lnTo>
                      <a:pt x="895" y="202"/>
                    </a:lnTo>
                    <a:lnTo>
                      <a:pt x="895" y="204"/>
                    </a:lnTo>
                    <a:lnTo>
                      <a:pt x="896" y="204"/>
                    </a:lnTo>
                    <a:lnTo>
                      <a:pt x="898" y="204"/>
                    </a:lnTo>
                    <a:lnTo>
                      <a:pt x="898" y="206"/>
                    </a:lnTo>
                    <a:lnTo>
                      <a:pt x="898" y="204"/>
                    </a:lnTo>
                    <a:lnTo>
                      <a:pt x="896" y="202"/>
                    </a:lnTo>
                    <a:lnTo>
                      <a:pt x="896" y="200"/>
                    </a:lnTo>
                    <a:lnTo>
                      <a:pt x="895" y="200"/>
                    </a:lnTo>
                    <a:lnTo>
                      <a:pt x="896" y="199"/>
                    </a:lnTo>
                    <a:lnTo>
                      <a:pt x="895" y="199"/>
                    </a:lnTo>
                    <a:lnTo>
                      <a:pt x="896" y="199"/>
                    </a:lnTo>
                    <a:lnTo>
                      <a:pt x="895" y="199"/>
                    </a:lnTo>
                    <a:lnTo>
                      <a:pt x="895" y="197"/>
                    </a:lnTo>
                    <a:lnTo>
                      <a:pt x="896" y="197"/>
                    </a:lnTo>
                    <a:lnTo>
                      <a:pt x="898" y="197"/>
                    </a:lnTo>
                    <a:lnTo>
                      <a:pt x="898" y="199"/>
                    </a:lnTo>
                    <a:lnTo>
                      <a:pt x="896" y="199"/>
                    </a:lnTo>
                    <a:lnTo>
                      <a:pt x="898" y="199"/>
                    </a:lnTo>
                    <a:lnTo>
                      <a:pt x="896" y="199"/>
                    </a:lnTo>
                    <a:lnTo>
                      <a:pt x="896" y="200"/>
                    </a:lnTo>
                    <a:lnTo>
                      <a:pt x="898" y="199"/>
                    </a:lnTo>
                    <a:lnTo>
                      <a:pt x="898" y="200"/>
                    </a:lnTo>
                    <a:lnTo>
                      <a:pt x="898" y="199"/>
                    </a:lnTo>
                    <a:lnTo>
                      <a:pt x="900" y="199"/>
                    </a:lnTo>
                    <a:lnTo>
                      <a:pt x="898" y="199"/>
                    </a:lnTo>
                    <a:lnTo>
                      <a:pt x="900" y="199"/>
                    </a:lnTo>
                    <a:lnTo>
                      <a:pt x="901" y="197"/>
                    </a:lnTo>
                    <a:lnTo>
                      <a:pt x="901" y="199"/>
                    </a:lnTo>
                    <a:lnTo>
                      <a:pt x="901" y="200"/>
                    </a:lnTo>
                    <a:lnTo>
                      <a:pt x="901" y="199"/>
                    </a:lnTo>
                    <a:lnTo>
                      <a:pt x="903" y="200"/>
                    </a:lnTo>
                    <a:lnTo>
                      <a:pt x="903" y="199"/>
                    </a:lnTo>
                    <a:lnTo>
                      <a:pt x="905" y="199"/>
                    </a:lnTo>
                    <a:lnTo>
                      <a:pt x="905" y="200"/>
                    </a:lnTo>
                    <a:lnTo>
                      <a:pt x="903" y="200"/>
                    </a:lnTo>
                    <a:lnTo>
                      <a:pt x="903" y="202"/>
                    </a:lnTo>
                    <a:lnTo>
                      <a:pt x="905" y="202"/>
                    </a:lnTo>
                    <a:lnTo>
                      <a:pt x="905" y="200"/>
                    </a:lnTo>
                    <a:lnTo>
                      <a:pt x="907" y="200"/>
                    </a:lnTo>
                    <a:lnTo>
                      <a:pt x="907" y="202"/>
                    </a:lnTo>
                    <a:lnTo>
                      <a:pt x="905" y="202"/>
                    </a:lnTo>
                    <a:lnTo>
                      <a:pt x="905" y="204"/>
                    </a:lnTo>
                    <a:lnTo>
                      <a:pt x="907" y="204"/>
                    </a:lnTo>
                    <a:lnTo>
                      <a:pt x="907" y="206"/>
                    </a:lnTo>
                    <a:lnTo>
                      <a:pt x="907" y="204"/>
                    </a:lnTo>
                    <a:lnTo>
                      <a:pt x="907" y="202"/>
                    </a:lnTo>
                    <a:lnTo>
                      <a:pt x="907" y="204"/>
                    </a:lnTo>
                    <a:lnTo>
                      <a:pt x="907" y="202"/>
                    </a:lnTo>
                    <a:lnTo>
                      <a:pt x="908" y="202"/>
                    </a:lnTo>
                    <a:lnTo>
                      <a:pt x="907" y="200"/>
                    </a:lnTo>
                    <a:lnTo>
                      <a:pt x="908" y="200"/>
                    </a:lnTo>
                    <a:lnTo>
                      <a:pt x="908" y="202"/>
                    </a:lnTo>
                    <a:lnTo>
                      <a:pt x="908" y="204"/>
                    </a:lnTo>
                    <a:lnTo>
                      <a:pt x="908" y="206"/>
                    </a:lnTo>
                    <a:lnTo>
                      <a:pt x="910" y="204"/>
                    </a:lnTo>
                    <a:lnTo>
                      <a:pt x="910" y="206"/>
                    </a:lnTo>
                    <a:lnTo>
                      <a:pt x="908" y="206"/>
                    </a:lnTo>
                    <a:lnTo>
                      <a:pt x="908" y="207"/>
                    </a:lnTo>
                    <a:lnTo>
                      <a:pt x="908" y="206"/>
                    </a:lnTo>
                    <a:lnTo>
                      <a:pt x="910" y="206"/>
                    </a:lnTo>
                    <a:lnTo>
                      <a:pt x="912" y="206"/>
                    </a:lnTo>
                    <a:lnTo>
                      <a:pt x="910" y="206"/>
                    </a:lnTo>
                    <a:lnTo>
                      <a:pt x="910" y="204"/>
                    </a:lnTo>
                    <a:lnTo>
                      <a:pt x="912" y="204"/>
                    </a:lnTo>
                    <a:lnTo>
                      <a:pt x="912" y="202"/>
                    </a:lnTo>
                    <a:lnTo>
                      <a:pt x="913" y="202"/>
                    </a:lnTo>
                    <a:lnTo>
                      <a:pt x="913" y="204"/>
                    </a:lnTo>
                    <a:lnTo>
                      <a:pt x="912" y="204"/>
                    </a:lnTo>
                    <a:lnTo>
                      <a:pt x="913" y="204"/>
                    </a:lnTo>
                    <a:lnTo>
                      <a:pt x="913" y="206"/>
                    </a:lnTo>
                    <a:lnTo>
                      <a:pt x="913" y="207"/>
                    </a:lnTo>
                    <a:lnTo>
                      <a:pt x="915" y="207"/>
                    </a:lnTo>
                    <a:lnTo>
                      <a:pt x="915" y="206"/>
                    </a:lnTo>
                    <a:lnTo>
                      <a:pt x="915" y="204"/>
                    </a:lnTo>
                    <a:lnTo>
                      <a:pt x="917" y="204"/>
                    </a:lnTo>
                    <a:lnTo>
                      <a:pt x="917" y="202"/>
                    </a:lnTo>
                    <a:lnTo>
                      <a:pt x="917" y="204"/>
                    </a:lnTo>
                    <a:lnTo>
                      <a:pt x="917" y="206"/>
                    </a:lnTo>
                    <a:lnTo>
                      <a:pt x="917" y="207"/>
                    </a:lnTo>
                    <a:lnTo>
                      <a:pt x="918" y="206"/>
                    </a:lnTo>
                    <a:lnTo>
                      <a:pt x="918" y="207"/>
                    </a:lnTo>
                    <a:lnTo>
                      <a:pt x="917" y="207"/>
                    </a:lnTo>
                    <a:lnTo>
                      <a:pt x="918" y="209"/>
                    </a:lnTo>
                    <a:lnTo>
                      <a:pt x="918" y="207"/>
                    </a:lnTo>
                    <a:lnTo>
                      <a:pt x="918" y="206"/>
                    </a:lnTo>
                    <a:lnTo>
                      <a:pt x="920" y="206"/>
                    </a:lnTo>
                    <a:lnTo>
                      <a:pt x="920" y="207"/>
                    </a:lnTo>
                    <a:lnTo>
                      <a:pt x="920" y="209"/>
                    </a:lnTo>
                    <a:lnTo>
                      <a:pt x="922" y="209"/>
                    </a:lnTo>
                    <a:lnTo>
                      <a:pt x="920" y="207"/>
                    </a:lnTo>
                    <a:lnTo>
                      <a:pt x="922" y="207"/>
                    </a:lnTo>
                    <a:lnTo>
                      <a:pt x="922" y="206"/>
                    </a:lnTo>
                    <a:lnTo>
                      <a:pt x="922" y="207"/>
                    </a:lnTo>
                    <a:lnTo>
                      <a:pt x="924" y="207"/>
                    </a:lnTo>
                    <a:lnTo>
                      <a:pt x="922" y="206"/>
                    </a:lnTo>
                    <a:lnTo>
                      <a:pt x="924" y="206"/>
                    </a:lnTo>
                    <a:lnTo>
                      <a:pt x="922" y="204"/>
                    </a:lnTo>
                    <a:lnTo>
                      <a:pt x="924" y="204"/>
                    </a:lnTo>
                    <a:lnTo>
                      <a:pt x="924" y="206"/>
                    </a:lnTo>
                    <a:lnTo>
                      <a:pt x="925" y="206"/>
                    </a:lnTo>
                    <a:lnTo>
                      <a:pt x="925" y="207"/>
                    </a:lnTo>
                    <a:lnTo>
                      <a:pt x="924" y="207"/>
                    </a:lnTo>
                    <a:lnTo>
                      <a:pt x="925" y="207"/>
                    </a:lnTo>
                    <a:lnTo>
                      <a:pt x="924" y="207"/>
                    </a:lnTo>
                    <a:lnTo>
                      <a:pt x="924" y="209"/>
                    </a:lnTo>
                    <a:lnTo>
                      <a:pt x="924" y="211"/>
                    </a:lnTo>
                    <a:lnTo>
                      <a:pt x="922" y="211"/>
                    </a:lnTo>
                    <a:lnTo>
                      <a:pt x="920" y="211"/>
                    </a:lnTo>
                    <a:lnTo>
                      <a:pt x="922" y="211"/>
                    </a:lnTo>
                    <a:lnTo>
                      <a:pt x="924" y="211"/>
                    </a:lnTo>
                    <a:lnTo>
                      <a:pt x="925" y="211"/>
                    </a:lnTo>
                    <a:lnTo>
                      <a:pt x="927" y="211"/>
                    </a:lnTo>
                    <a:lnTo>
                      <a:pt x="927" y="209"/>
                    </a:lnTo>
                    <a:lnTo>
                      <a:pt x="927" y="211"/>
                    </a:lnTo>
                    <a:lnTo>
                      <a:pt x="929" y="209"/>
                    </a:lnTo>
                    <a:lnTo>
                      <a:pt x="929" y="207"/>
                    </a:lnTo>
                    <a:lnTo>
                      <a:pt x="929" y="209"/>
                    </a:lnTo>
                    <a:lnTo>
                      <a:pt x="930" y="207"/>
                    </a:lnTo>
                    <a:lnTo>
                      <a:pt x="932" y="207"/>
                    </a:lnTo>
                    <a:lnTo>
                      <a:pt x="930" y="207"/>
                    </a:lnTo>
                    <a:lnTo>
                      <a:pt x="930" y="209"/>
                    </a:lnTo>
                    <a:lnTo>
                      <a:pt x="929" y="209"/>
                    </a:lnTo>
                    <a:lnTo>
                      <a:pt x="929" y="211"/>
                    </a:lnTo>
                    <a:lnTo>
                      <a:pt x="930" y="212"/>
                    </a:lnTo>
                    <a:lnTo>
                      <a:pt x="929" y="212"/>
                    </a:lnTo>
                    <a:lnTo>
                      <a:pt x="930" y="212"/>
                    </a:lnTo>
                    <a:lnTo>
                      <a:pt x="932" y="212"/>
                    </a:lnTo>
                    <a:lnTo>
                      <a:pt x="930" y="212"/>
                    </a:lnTo>
                    <a:lnTo>
                      <a:pt x="932" y="212"/>
                    </a:lnTo>
                    <a:lnTo>
                      <a:pt x="932" y="211"/>
                    </a:lnTo>
                    <a:lnTo>
                      <a:pt x="932" y="212"/>
                    </a:lnTo>
                    <a:lnTo>
                      <a:pt x="934" y="212"/>
                    </a:lnTo>
                    <a:lnTo>
                      <a:pt x="934" y="214"/>
                    </a:lnTo>
                    <a:lnTo>
                      <a:pt x="934" y="212"/>
                    </a:lnTo>
                    <a:lnTo>
                      <a:pt x="935" y="212"/>
                    </a:lnTo>
                    <a:lnTo>
                      <a:pt x="935" y="214"/>
                    </a:lnTo>
                    <a:lnTo>
                      <a:pt x="935" y="212"/>
                    </a:lnTo>
                    <a:lnTo>
                      <a:pt x="935" y="211"/>
                    </a:lnTo>
                    <a:lnTo>
                      <a:pt x="937" y="209"/>
                    </a:lnTo>
                    <a:lnTo>
                      <a:pt x="935" y="209"/>
                    </a:lnTo>
                    <a:lnTo>
                      <a:pt x="937" y="209"/>
                    </a:lnTo>
                    <a:lnTo>
                      <a:pt x="937" y="207"/>
                    </a:lnTo>
                    <a:lnTo>
                      <a:pt x="939" y="207"/>
                    </a:lnTo>
                    <a:lnTo>
                      <a:pt x="939" y="209"/>
                    </a:lnTo>
                    <a:lnTo>
                      <a:pt x="939" y="211"/>
                    </a:lnTo>
                    <a:lnTo>
                      <a:pt x="937" y="211"/>
                    </a:lnTo>
                    <a:lnTo>
                      <a:pt x="937" y="212"/>
                    </a:lnTo>
                    <a:lnTo>
                      <a:pt x="939" y="212"/>
                    </a:lnTo>
                    <a:lnTo>
                      <a:pt x="939" y="214"/>
                    </a:lnTo>
                    <a:lnTo>
                      <a:pt x="937" y="214"/>
                    </a:lnTo>
                    <a:lnTo>
                      <a:pt x="937" y="216"/>
                    </a:lnTo>
                    <a:lnTo>
                      <a:pt x="937" y="217"/>
                    </a:lnTo>
                    <a:lnTo>
                      <a:pt x="935" y="217"/>
                    </a:lnTo>
                    <a:lnTo>
                      <a:pt x="937" y="217"/>
                    </a:lnTo>
                    <a:lnTo>
                      <a:pt x="937" y="216"/>
                    </a:lnTo>
                    <a:lnTo>
                      <a:pt x="939" y="214"/>
                    </a:lnTo>
                    <a:lnTo>
                      <a:pt x="939" y="212"/>
                    </a:lnTo>
                    <a:lnTo>
                      <a:pt x="941" y="212"/>
                    </a:lnTo>
                    <a:lnTo>
                      <a:pt x="941" y="214"/>
                    </a:lnTo>
                    <a:lnTo>
                      <a:pt x="939" y="214"/>
                    </a:lnTo>
                    <a:lnTo>
                      <a:pt x="939" y="216"/>
                    </a:lnTo>
                    <a:lnTo>
                      <a:pt x="939" y="214"/>
                    </a:lnTo>
                    <a:lnTo>
                      <a:pt x="941" y="214"/>
                    </a:lnTo>
                    <a:lnTo>
                      <a:pt x="941" y="216"/>
                    </a:lnTo>
                    <a:lnTo>
                      <a:pt x="941" y="214"/>
                    </a:lnTo>
                    <a:lnTo>
                      <a:pt x="942" y="212"/>
                    </a:lnTo>
                    <a:lnTo>
                      <a:pt x="942" y="214"/>
                    </a:lnTo>
                    <a:lnTo>
                      <a:pt x="942" y="212"/>
                    </a:lnTo>
                    <a:lnTo>
                      <a:pt x="942" y="214"/>
                    </a:lnTo>
                    <a:lnTo>
                      <a:pt x="942" y="216"/>
                    </a:lnTo>
                    <a:lnTo>
                      <a:pt x="944" y="216"/>
                    </a:lnTo>
                    <a:lnTo>
                      <a:pt x="942" y="216"/>
                    </a:lnTo>
                    <a:lnTo>
                      <a:pt x="942" y="217"/>
                    </a:lnTo>
                    <a:lnTo>
                      <a:pt x="942" y="219"/>
                    </a:lnTo>
                    <a:lnTo>
                      <a:pt x="941" y="219"/>
                    </a:lnTo>
                    <a:lnTo>
                      <a:pt x="942" y="219"/>
                    </a:lnTo>
                    <a:lnTo>
                      <a:pt x="942" y="217"/>
                    </a:lnTo>
                    <a:lnTo>
                      <a:pt x="942" y="216"/>
                    </a:lnTo>
                    <a:lnTo>
                      <a:pt x="944" y="216"/>
                    </a:lnTo>
                    <a:lnTo>
                      <a:pt x="944" y="217"/>
                    </a:lnTo>
                    <a:lnTo>
                      <a:pt x="944" y="216"/>
                    </a:lnTo>
                    <a:lnTo>
                      <a:pt x="944" y="214"/>
                    </a:lnTo>
                    <a:lnTo>
                      <a:pt x="946" y="214"/>
                    </a:lnTo>
                    <a:lnTo>
                      <a:pt x="946" y="216"/>
                    </a:lnTo>
                    <a:lnTo>
                      <a:pt x="947" y="216"/>
                    </a:lnTo>
                    <a:lnTo>
                      <a:pt x="946" y="216"/>
                    </a:lnTo>
                    <a:lnTo>
                      <a:pt x="946" y="217"/>
                    </a:lnTo>
                    <a:lnTo>
                      <a:pt x="944" y="217"/>
                    </a:lnTo>
                    <a:lnTo>
                      <a:pt x="946" y="217"/>
                    </a:lnTo>
                    <a:lnTo>
                      <a:pt x="947" y="219"/>
                    </a:lnTo>
                    <a:lnTo>
                      <a:pt x="946" y="219"/>
                    </a:lnTo>
                    <a:lnTo>
                      <a:pt x="947" y="219"/>
                    </a:lnTo>
                    <a:lnTo>
                      <a:pt x="947" y="217"/>
                    </a:lnTo>
                    <a:lnTo>
                      <a:pt x="947" y="216"/>
                    </a:lnTo>
                    <a:lnTo>
                      <a:pt x="949" y="216"/>
                    </a:lnTo>
                    <a:lnTo>
                      <a:pt x="949" y="214"/>
                    </a:lnTo>
                    <a:lnTo>
                      <a:pt x="951" y="214"/>
                    </a:lnTo>
                    <a:lnTo>
                      <a:pt x="951" y="216"/>
                    </a:lnTo>
                    <a:lnTo>
                      <a:pt x="949" y="216"/>
                    </a:lnTo>
                    <a:lnTo>
                      <a:pt x="949" y="217"/>
                    </a:lnTo>
                    <a:lnTo>
                      <a:pt x="947" y="217"/>
                    </a:lnTo>
                    <a:lnTo>
                      <a:pt x="949" y="217"/>
                    </a:lnTo>
                    <a:lnTo>
                      <a:pt x="949" y="219"/>
                    </a:lnTo>
                    <a:lnTo>
                      <a:pt x="951" y="219"/>
                    </a:lnTo>
                    <a:lnTo>
                      <a:pt x="949" y="219"/>
                    </a:lnTo>
                    <a:lnTo>
                      <a:pt x="951" y="219"/>
                    </a:lnTo>
                    <a:lnTo>
                      <a:pt x="949" y="219"/>
                    </a:lnTo>
                    <a:lnTo>
                      <a:pt x="949" y="221"/>
                    </a:lnTo>
                    <a:lnTo>
                      <a:pt x="951" y="221"/>
                    </a:lnTo>
                    <a:lnTo>
                      <a:pt x="951" y="219"/>
                    </a:lnTo>
                    <a:lnTo>
                      <a:pt x="951" y="217"/>
                    </a:lnTo>
                    <a:lnTo>
                      <a:pt x="952" y="217"/>
                    </a:lnTo>
                    <a:lnTo>
                      <a:pt x="951" y="219"/>
                    </a:lnTo>
                    <a:lnTo>
                      <a:pt x="952" y="219"/>
                    </a:lnTo>
                    <a:lnTo>
                      <a:pt x="951" y="219"/>
                    </a:lnTo>
                    <a:lnTo>
                      <a:pt x="951" y="221"/>
                    </a:lnTo>
                    <a:lnTo>
                      <a:pt x="952" y="219"/>
                    </a:lnTo>
                    <a:lnTo>
                      <a:pt x="952" y="217"/>
                    </a:lnTo>
                    <a:lnTo>
                      <a:pt x="954" y="217"/>
                    </a:lnTo>
                    <a:lnTo>
                      <a:pt x="954" y="216"/>
                    </a:lnTo>
                    <a:lnTo>
                      <a:pt x="956" y="216"/>
                    </a:lnTo>
                    <a:lnTo>
                      <a:pt x="956" y="217"/>
                    </a:lnTo>
                    <a:lnTo>
                      <a:pt x="954" y="217"/>
                    </a:lnTo>
                    <a:lnTo>
                      <a:pt x="954" y="219"/>
                    </a:lnTo>
                    <a:lnTo>
                      <a:pt x="954" y="221"/>
                    </a:lnTo>
                    <a:lnTo>
                      <a:pt x="956" y="221"/>
                    </a:lnTo>
                    <a:lnTo>
                      <a:pt x="954" y="223"/>
                    </a:lnTo>
                    <a:lnTo>
                      <a:pt x="956" y="223"/>
                    </a:lnTo>
                    <a:lnTo>
                      <a:pt x="956" y="224"/>
                    </a:lnTo>
                    <a:lnTo>
                      <a:pt x="954" y="224"/>
                    </a:lnTo>
                    <a:lnTo>
                      <a:pt x="956" y="224"/>
                    </a:lnTo>
                    <a:lnTo>
                      <a:pt x="956" y="226"/>
                    </a:lnTo>
                    <a:lnTo>
                      <a:pt x="956" y="224"/>
                    </a:lnTo>
                    <a:lnTo>
                      <a:pt x="958" y="224"/>
                    </a:lnTo>
                    <a:lnTo>
                      <a:pt x="958" y="223"/>
                    </a:lnTo>
                    <a:lnTo>
                      <a:pt x="958" y="221"/>
                    </a:lnTo>
                    <a:lnTo>
                      <a:pt x="959" y="221"/>
                    </a:lnTo>
                    <a:lnTo>
                      <a:pt x="959" y="223"/>
                    </a:lnTo>
                    <a:lnTo>
                      <a:pt x="959" y="221"/>
                    </a:lnTo>
                    <a:lnTo>
                      <a:pt x="959" y="223"/>
                    </a:lnTo>
                    <a:lnTo>
                      <a:pt x="961" y="223"/>
                    </a:lnTo>
                    <a:lnTo>
                      <a:pt x="961" y="224"/>
                    </a:lnTo>
                    <a:lnTo>
                      <a:pt x="961" y="226"/>
                    </a:lnTo>
                    <a:lnTo>
                      <a:pt x="959" y="224"/>
                    </a:lnTo>
                    <a:lnTo>
                      <a:pt x="959" y="226"/>
                    </a:lnTo>
                    <a:lnTo>
                      <a:pt x="959" y="224"/>
                    </a:lnTo>
                    <a:lnTo>
                      <a:pt x="961" y="226"/>
                    </a:lnTo>
                    <a:lnTo>
                      <a:pt x="961" y="224"/>
                    </a:lnTo>
                    <a:lnTo>
                      <a:pt x="963" y="224"/>
                    </a:lnTo>
                    <a:lnTo>
                      <a:pt x="963" y="223"/>
                    </a:lnTo>
                    <a:lnTo>
                      <a:pt x="963" y="224"/>
                    </a:lnTo>
                    <a:lnTo>
                      <a:pt x="963" y="223"/>
                    </a:lnTo>
                    <a:lnTo>
                      <a:pt x="964" y="223"/>
                    </a:lnTo>
                    <a:lnTo>
                      <a:pt x="964" y="221"/>
                    </a:lnTo>
                    <a:lnTo>
                      <a:pt x="966" y="223"/>
                    </a:lnTo>
                    <a:lnTo>
                      <a:pt x="964" y="223"/>
                    </a:lnTo>
                    <a:lnTo>
                      <a:pt x="964" y="224"/>
                    </a:lnTo>
                    <a:lnTo>
                      <a:pt x="963" y="224"/>
                    </a:lnTo>
                    <a:lnTo>
                      <a:pt x="963" y="226"/>
                    </a:lnTo>
                    <a:lnTo>
                      <a:pt x="963" y="228"/>
                    </a:lnTo>
                    <a:lnTo>
                      <a:pt x="964" y="228"/>
                    </a:lnTo>
                    <a:lnTo>
                      <a:pt x="963" y="228"/>
                    </a:lnTo>
                    <a:lnTo>
                      <a:pt x="964" y="228"/>
                    </a:lnTo>
                    <a:lnTo>
                      <a:pt x="964" y="226"/>
                    </a:lnTo>
                    <a:lnTo>
                      <a:pt x="966" y="226"/>
                    </a:lnTo>
                    <a:lnTo>
                      <a:pt x="966" y="224"/>
                    </a:lnTo>
                    <a:lnTo>
                      <a:pt x="968" y="223"/>
                    </a:lnTo>
                    <a:lnTo>
                      <a:pt x="966" y="223"/>
                    </a:lnTo>
                    <a:lnTo>
                      <a:pt x="968" y="223"/>
                    </a:lnTo>
                    <a:lnTo>
                      <a:pt x="969" y="223"/>
                    </a:lnTo>
                    <a:lnTo>
                      <a:pt x="968" y="223"/>
                    </a:lnTo>
                    <a:lnTo>
                      <a:pt x="969" y="224"/>
                    </a:lnTo>
                    <a:lnTo>
                      <a:pt x="968" y="224"/>
                    </a:lnTo>
                    <a:lnTo>
                      <a:pt x="969" y="224"/>
                    </a:lnTo>
                    <a:lnTo>
                      <a:pt x="969" y="226"/>
                    </a:lnTo>
                    <a:lnTo>
                      <a:pt x="968" y="226"/>
                    </a:lnTo>
                    <a:lnTo>
                      <a:pt x="968" y="228"/>
                    </a:lnTo>
                    <a:lnTo>
                      <a:pt x="966" y="228"/>
                    </a:lnTo>
                    <a:lnTo>
                      <a:pt x="968" y="228"/>
                    </a:lnTo>
                    <a:lnTo>
                      <a:pt x="969" y="228"/>
                    </a:lnTo>
                    <a:lnTo>
                      <a:pt x="968" y="229"/>
                    </a:lnTo>
                    <a:lnTo>
                      <a:pt x="968" y="231"/>
                    </a:lnTo>
                    <a:lnTo>
                      <a:pt x="968" y="233"/>
                    </a:lnTo>
                    <a:lnTo>
                      <a:pt x="968" y="234"/>
                    </a:lnTo>
                    <a:lnTo>
                      <a:pt x="966" y="234"/>
                    </a:lnTo>
                    <a:lnTo>
                      <a:pt x="966" y="236"/>
                    </a:lnTo>
                    <a:lnTo>
                      <a:pt x="968" y="236"/>
                    </a:lnTo>
                    <a:lnTo>
                      <a:pt x="969" y="236"/>
                    </a:lnTo>
                    <a:lnTo>
                      <a:pt x="969" y="238"/>
                    </a:lnTo>
                    <a:lnTo>
                      <a:pt x="971" y="238"/>
                    </a:lnTo>
                    <a:lnTo>
                      <a:pt x="971" y="240"/>
                    </a:lnTo>
                    <a:lnTo>
                      <a:pt x="971" y="241"/>
                    </a:lnTo>
                    <a:lnTo>
                      <a:pt x="973" y="241"/>
                    </a:lnTo>
                    <a:lnTo>
                      <a:pt x="973" y="240"/>
                    </a:lnTo>
                    <a:lnTo>
                      <a:pt x="971" y="241"/>
                    </a:lnTo>
                    <a:lnTo>
                      <a:pt x="971" y="240"/>
                    </a:lnTo>
                    <a:lnTo>
                      <a:pt x="971" y="238"/>
                    </a:lnTo>
                    <a:lnTo>
                      <a:pt x="971" y="236"/>
                    </a:lnTo>
                    <a:lnTo>
                      <a:pt x="969" y="236"/>
                    </a:lnTo>
                    <a:lnTo>
                      <a:pt x="969" y="234"/>
                    </a:lnTo>
                    <a:lnTo>
                      <a:pt x="971" y="234"/>
                    </a:lnTo>
                    <a:lnTo>
                      <a:pt x="971" y="233"/>
                    </a:lnTo>
                    <a:lnTo>
                      <a:pt x="971" y="231"/>
                    </a:lnTo>
                    <a:lnTo>
                      <a:pt x="971" y="229"/>
                    </a:lnTo>
                    <a:lnTo>
                      <a:pt x="973" y="229"/>
                    </a:lnTo>
                    <a:lnTo>
                      <a:pt x="973" y="228"/>
                    </a:lnTo>
                    <a:lnTo>
                      <a:pt x="973" y="229"/>
                    </a:lnTo>
                    <a:lnTo>
                      <a:pt x="973" y="228"/>
                    </a:lnTo>
                    <a:lnTo>
                      <a:pt x="975" y="228"/>
                    </a:lnTo>
                    <a:lnTo>
                      <a:pt x="975" y="229"/>
                    </a:lnTo>
                    <a:lnTo>
                      <a:pt x="975" y="228"/>
                    </a:lnTo>
                    <a:lnTo>
                      <a:pt x="976" y="228"/>
                    </a:lnTo>
                    <a:lnTo>
                      <a:pt x="978" y="228"/>
                    </a:lnTo>
                    <a:lnTo>
                      <a:pt x="980" y="229"/>
                    </a:lnTo>
                    <a:lnTo>
                      <a:pt x="978" y="229"/>
                    </a:lnTo>
                    <a:lnTo>
                      <a:pt x="980" y="229"/>
                    </a:lnTo>
                    <a:lnTo>
                      <a:pt x="980" y="231"/>
                    </a:lnTo>
                    <a:lnTo>
                      <a:pt x="978" y="231"/>
                    </a:lnTo>
                    <a:lnTo>
                      <a:pt x="980" y="231"/>
                    </a:lnTo>
                    <a:lnTo>
                      <a:pt x="981" y="231"/>
                    </a:lnTo>
                    <a:lnTo>
                      <a:pt x="981" y="229"/>
                    </a:lnTo>
                    <a:lnTo>
                      <a:pt x="980" y="229"/>
                    </a:lnTo>
                    <a:lnTo>
                      <a:pt x="980" y="228"/>
                    </a:lnTo>
                    <a:lnTo>
                      <a:pt x="981" y="228"/>
                    </a:lnTo>
                    <a:lnTo>
                      <a:pt x="983" y="226"/>
                    </a:lnTo>
                    <a:lnTo>
                      <a:pt x="985" y="226"/>
                    </a:lnTo>
                    <a:lnTo>
                      <a:pt x="985" y="228"/>
                    </a:lnTo>
                    <a:lnTo>
                      <a:pt x="983" y="228"/>
                    </a:lnTo>
                    <a:lnTo>
                      <a:pt x="983" y="229"/>
                    </a:lnTo>
                    <a:lnTo>
                      <a:pt x="981" y="229"/>
                    </a:lnTo>
                    <a:lnTo>
                      <a:pt x="981" y="231"/>
                    </a:lnTo>
                    <a:lnTo>
                      <a:pt x="981" y="233"/>
                    </a:lnTo>
                    <a:lnTo>
                      <a:pt x="983" y="233"/>
                    </a:lnTo>
                    <a:lnTo>
                      <a:pt x="985" y="233"/>
                    </a:lnTo>
                    <a:lnTo>
                      <a:pt x="985" y="231"/>
                    </a:lnTo>
                    <a:lnTo>
                      <a:pt x="986" y="231"/>
                    </a:lnTo>
                    <a:lnTo>
                      <a:pt x="986" y="233"/>
                    </a:lnTo>
                    <a:lnTo>
                      <a:pt x="986" y="231"/>
                    </a:lnTo>
                    <a:lnTo>
                      <a:pt x="988" y="231"/>
                    </a:lnTo>
                    <a:lnTo>
                      <a:pt x="988" y="233"/>
                    </a:lnTo>
                    <a:lnTo>
                      <a:pt x="988" y="231"/>
                    </a:lnTo>
                    <a:lnTo>
                      <a:pt x="990" y="231"/>
                    </a:lnTo>
                    <a:lnTo>
                      <a:pt x="992" y="233"/>
                    </a:lnTo>
                    <a:lnTo>
                      <a:pt x="990" y="234"/>
                    </a:lnTo>
                    <a:lnTo>
                      <a:pt x="990" y="233"/>
                    </a:lnTo>
                    <a:lnTo>
                      <a:pt x="988" y="233"/>
                    </a:lnTo>
                    <a:lnTo>
                      <a:pt x="988" y="234"/>
                    </a:lnTo>
                    <a:lnTo>
                      <a:pt x="986" y="234"/>
                    </a:lnTo>
                    <a:lnTo>
                      <a:pt x="986" y="236"/>
                    </a:lnTo>
                    <a:lnTo>
                      <a:pt x="988" y="236"/>
                    </a:lnTo>
                    <a:lnTo>
                      <a:pt x="990" y="236"/>
                    </a:lnTo>
                    <a:lnTo>
                      <a:pt x="988" y="236"/>
                    </a:lnTo>
                    <a:lnTo>
                      <a:pt x="988" y="238"/>
                    </a:lnTo>
                    <a:lnTo>
                      <a:pt x="986" y="238"/>
                    </a:lnTo>
                    <a:lnTo>
                      <a:pt x="988" y="238"/>
                    </a:lnTo>
                    <a:lnTo>
                      <a:pt x="990" y="238"/>
                    </a:lnTo>
                    <a:lnTo>
                      <a:pt x="992" y="238"/>
                    </a:lnTo>
                    <a:lnTo>
                      <a:pt x="990" y="236"/>
                    </a:lnTo>
                    <a:lnTo>
                      <a:pt x="992" y="236"/>
                    </a:lnTo>
                    <a:lnTo>
                      <a:pt x="993" y="236"/>
                    </a:lnTo>
                    <a:lnTo>
                      <a:pt x="992" y="236"/>
                    </a:lnTo>
                    <a:lnTo>
                      <a:pt x="992" y="238"/>
                    </a:lnTo>
                    <a:lnTo>
                      <a:pt x="993" y="238"/>
                    </a:lnTo>
                    <a:lnTo>
                      <a:pt x="992" y="238"/>
                    </a:lnTo>
                    <a:lnTo>
                      <a:pt x="993" y="240"/>
                    </a:lnTo>
                    <a:lnTo>
                      <a:pt x="993" y="238"/>
                    </a:lnTo>
                    <a:lnTo>
                      <a:pt x="993" y="240"/>
                    </a:lnTo>
                    <a:lnTo>
                      <a:pt x="995" y="240"/>
                    </a:lnTo>
                    <a:lnTo>
                      <a:pt x="995" y="241"/>
                    </a:lnTo>
                    <a:lnTo>
                      <a:pt x="993" y="241"/>
                    </a:lnTo>
                    <a:lnTo>
                      <a:pt x="995" y="241"/>
                    </a:lnTo>
                    <a:lnTo>
                      <a:pt x="997" y="243"/>
                    </a:lnTo>
                    <a:lnTo>
                      <a:pt x="997" y="245"/>
                    </a:lnTo>
                    <a:lnTo>
                      <a:pt x="995" y="245"/>
                    </a:lnTo>
                    <a:lnTo>
                      <a:pt x="997" y="245"/>
                    </a:lnTo>
                    <a:lnTo>
                      <a:pt x="995" y="246"/>
                    </a:lnTo>
                    <a:lnTo>
                      <a:pt x="993" y="246"/>
                    </a:lnTo>
                    <a:lnTo>
                      <a:pt x="995" y="246"/>
                    </a:lnTo>
                    <a:lnTo>
                      <a:pt x="997" y="246"/>
                    </a:lnTo>
                    <a:lnTo>
                      <a:pt x="995" y="248"/>
                    </a:lnTo>
                    <a:lnTo>
                      <a:pt x="993" y="248"/>
                    </a:lnTo>
                    <a:lnTo>
                      <a:pt x="993" y="250"/>
                    </a:lnTo>
                    <a:lnTo>
                      <a:pt x="993" y="251"/>
                    </a:lnTo>
                    <a:lnTo>
                      <a:pt x="992" y="251"/>
                    </a:lnTo>
                    <a:lnTo>
                      <a:pt x="992" y="253"/>
                    </a:lnTo>
                    <a:lnTo>
                      <a:pt x="990" y="253"/>
                    </a:lnTo>
                    <a:lnTo>
                      <a:pt x="990" y="255"/>
                    </a:lnTo>
                    <a:lnTo>
                      <a:pt x="990" y="253"/>
                    </a:lnTo>
                    <a:lnTo>
                      <a:pt x="990" y="255"/>
                    </a:lnTo>
                    <a:lnTo>
                      <a:pt x="988" y="255"/>
                    </a:lnTo>
                    <a:lnTo>
                      <a:pt x="986" y="255"/>
                    </a:lnTo>
                    <a:lnTo>
                      <a:pt x="988" y="255"/>
                    </a:lnTo>
                    <a:lnTo>
                      <a:pt x="990" y="255"/>
                    </a:lnTo>
                    <a:lnTo>
                      <a:pt x="992" y="255"/>
                    </a:lnTo>
                    <a:lnTo>
                      <a:pt x="990" y="257"/>
                    </a:lnTo>
                    <a:lnTo>
                      <a:pt x="990" y="258"/>
                    </a:lnTo>
                    <a:lnTo>
                      <a:pt x="988" y="258"/>
                    </a:lnTo>
                    <a:lnTo>
                      <a:pt x="990" y="258"/>
                    </a:lnTo>
                    <a:lnTo>
                      <a:pt x="992" y="258"/>
                    </a:lnTo>
                    <a:lnTo>
                      <a:pt x="990" y="257"/>
                    </a:lnTo>
                    <a:lnTo>
                      <a:pt x="992" y="257"/>
                    </a:lnTo>
                    <a:lnTo>
                      <a:pt x="992" y="255"/>
                    </a:lnTo>
                    <a:lnTo>
                      <a:pt x="993" y="253"/>
                    </a:lnTo>
                    <a:lnTo>
                      <a:pt x="995" y="253"/>
                    </a:lnTo>
                    <a:lnTo>
                      <a:pt x="993" y="253"/>
                    </a:lnTo>
                    <a:lnTo>
                      <a:pt x="995" y="251"/>
                    </a:lnTo>
                    <a:lnTo>
                      <a:pt x="995" y="250"/>
                    </a:lnTo>
                    <a:lnTo>
                      <a:pt x="997" y="250"/>
                    </a:lnTo>
                    <a:lnTo>
                      <a:pt x="998" y="251"/>
                    </a:lnTo>
                    <a:lnTo>
                      <a:pt x="1000" y="253"/>
                    </a:lnTo>
                    <a:lnTo>
                      <a:pt x="998" y="253"/>
                    </a:lnTo>
                    <a:lnTo>
                      <a:pt x="1000" y="253"/>
                    </a:lnTo>
                    <a:lnTo>
                      <a:pt x="1000" y="255"/>
                    </a:lnTo>
                    <a:lnTo>
                      <a:pt x="1000" y="257"/>
                    </a:lnTo>
                    <a:lnTo>
                      <a:pt x="1000" y="258"/>
                    </a:lnTo>
                    <a:lnTo>
                      <a:pt x="1000" y="260"/>
                    </a:lnTo>
                    <a:lnTo>
                      <a:pt x="998" y="260"/>
                    </a:lnTo>
                    <a:lnTo>
                      <a:pt x="997" y="260"/>
                    </a:lnTo>
                    <a:lnTo>
                      <a:pt x="997" y="258"/>
                    </a:lnTo>
                    <a:lnTo>
                      <a:pt x="995" y="258"/>
                    </a:lnTo>
                    <a:lnTo>
                      <a:pt x="997" y="258"/>
                    </a:lnTo>
                    <a:lnTo>
                      <a:pt x="997" y="260"/>
                    </a:lnTo>
                    <a:lnTo>
                      <a:pt x="995" y="260"/>
                    </a:lnTo>
                    <a:lnTo>
                      <a:pt x="995" y="262"/>
                    </a:lnTo>
                    <a:lnTo>
                      <a:pt x="997" y="262"/>
                    </a:lnTo>
                    <a:lnTo>
                      <a:pt x="995" y="262"/>
                    </a:lnTo>
                    <a:lnTo>
                      <a:pt x="995" y="263"/>
                    </a:lnTo>
                    <a:lnTo>
                      <a:pt x="993" y="263"/>
                    </a:lnTo>
                    <a:lnTo>
                      <a:pt x="993" y="265"/>
                    </a:lnTo>
                    <a:lnTo>
                      <a:pt x="993" y="263"/>
                    </a:lnTo>
                    <a:lnTo>
                      <a:pt x="995" y="263"/>
                    </a:lnTo>
                    <a:lnTo>
                      <a:pt x="995" y="265"/>
                    </a:lnTo>
                    <a:lnTo>
                      <a:pt x="993" y="265"/>
                    </a:lnTo>
                    <a:lnTo>
                      <a:pt x="993" y="267"/>
                    </a:lnTo>
                    <a:lnTo>
                      <a:pt x="993" y="268"/>
                    </a:lnTo>
                    <a:lnTo>
                      <a:pt x="992" y="268"/>
                    </a:lnTo>
                    <a:lnTo>
                      <a:pt x="992" y="270"/>
                    </a:lnTo>
                    <a:lnTo>
                      <a:pt x="992" y="272"/>
                    </a:lnTo>
                    <a:lnTo>
                      <a:pt x="992" y="274"/>
                    </a:lnTo>
                    <a:lnTo>
                      <a:pt x="992" y="275"/>
                    </a:lnTo>
                    <a:lnTo>
                      <a:pt x="990" y="275"/>
                    </a:lnTo>
                    <a:lnTo>
                      <a:pt x="990" y="277"/>
                    </a:lnTo>
                    <a:lnTo>
                      <a:pt x="990" y="279"/>
                    </a:lnTo>
                    <a:lnTo>
                      <a:pt x="992" y="280"/>
                    </a:lnTo>
                    <a:lnTo>
                      <a:pt x="992" y="282"/>
                    </a:lnTo>
                    <a:lnTo>
                      <a:pt x="990" y="282"/>
                    </a:lnTo>
                    <a:lnTo>
                      <a:pt x="990" y="284"/>
                    </a:lnTo>
                    <a:lnTo>
                      <a:pt x="988" y="284"/>
                    </a:lnTo>
                    <a:lnTo>
                      <a:pt x="988" y="285"/>
                    </a:lnTo>
                    <a:lnTo>
                      <a:pt x="986" y="285"/>
                    </a:lnTo>
                    <a:lnTo>
                      <a:pt x="986" y="287"/>
                    </a:lnTo>
                    <a:lnTo>
                      <a:pt x="986" y="289"/>
                    </a:lnTo>
                    <a:lnTo>
                      <a:pt x="986" y="291"/>
                    </a:lnTo>
                    <a:lnTo>
                      <a:pt x="988" y="291"/>
                    </a:lnTo>
                    <a:lnTo>
                      <a:pt x="988" y="289"/>
                    </a:lnTo>
                    <a:lnTo>
                      <a:pt x="986" y="287"/>
                    </a:lnTo>
                    <a:lnTo>
                      <a:pt x="988" y="287"/>
                    </a:lnTo>
                    <a:lnTo>
                      <a:pt x="988" y="285"/>
                    </a:lnTo>
                    <a:lnTo>
                      <a:pt x="990" y="285"/>
                    </a:lnTo>
                    <a:lnTo>
                      <a:pt x="992" y="285"/>
                    </a:lnTo>
                    <a:lnTo>
                      <a:pt x="992" y="284"/>
                    </a:lnTo>
                    <a:lnTo>
                      <a:pt x="995" y="282"/>
                    </a:lnTo>
                    <a:lnTo>
                      <a:pt x="995" y="280"/>
                    </a:lnTo>
                    <a:lnTo>
                      <a:pt x="997" y="280"/>
                    </a:lnTo>
                    <a:lnTo>
                      <a:pt x="997" y="279"/>
                    </a:lnTo>
                    <a:lnTo>
                      <a:pt x="998" y="279"/>
                    </a:lnTo>
                    <a:lnTo>
                      <a:pt x="998" y="277"/>
                    </a:lnTo>
                    <a:lnTo>
                      <a:pt x="998" y="275"/>
                    </a:lnTo>
                    <a:lnTo>
                      <a:pt x="998" y="274"/>
                    </a:lnTo>
                    <a:lnTo>
                      <a:pt x="998" y="272"/>
                    </a:lnTo>
                    <a:lnTo>
                      <a:pt x="1000" y="270"/>
                    </a:lnTo>
                    <a:lnTo>
                      <a:pt x="1000" y="268"/>
                    </a:lnTo>
                    <a:lnTo>
                      <a:pt x="1000" y="267"/>
                    </a:lnTo>
                    <a:lnTo>
                      <a:pt x="1000" y="265"/>
                    </a:lnTo>
                    <a:lnTo>
                      <a:pt x="1000" y="263"/>
                    </a:lnTo>
                    <a:lnTo>
                      <a:pt x="1002" y="263"/>
                    </a:lnTo>
                    <a:lnTo>
                      <a:pt x="1003" y="265"/>
                    </a:lnTo>
                    <a:lnTo>
                      <a:pt x="1003" y="263"/>
                    </a:lnTo>
                    <a:lnTo>
                      <a:pt x="1002" y="263"/>
                    </a:lnTo>
                    <a:lnTo>
                      <a:pt x="1003" y="263"/>
                    </a:lnTo>
                    <a:lnTo>
                      <a:pt x="1002" y="263"/>
                    </a:lnTo>
                    <a:lnTo>
                      <a:pt x="1002" y="262"/>
                    </a:lnTo>
                    <a:lnTo>
                      <a:pt x="1003" y="262"/>
                    </a:lnTo>
                    <a:lnTo>
                      <a:pt x="1005" y="262"/>
                    </a:lnTo>
                    <a:lnTo>
                      <a:pt x="1007" y="262"/>
                    </a:lnTo>
                    <a:lnTo>
                      <a:pt x="1007" y="260"/>
                    </a:lnTo>
                    <a:lnTo>
                      <a:pt x="1009" y="260"/>
                    </a:lnTo>
                    <a:lnTo>
                      <a:pt x="1010" y="260"/>
                    </a:lnTo>
                    <a:lnTo>
                      <a:pt x="1010" y="258"/>
                    </a:lnTo>
                    <a:lnTo>
                      <a:pt x="1012" y="260"/>
                    </a:lnTo>
                    <a:lnTo>
                      <a:pt x="1010" y="260"/>
                    </a:lnTo>
                    <a:lnTo>
                      <a:pt x="1010" y="262"/>
                    </a:lnTo>
                    <a:lnTo>
                      <a:pt x="1012" y="262"/>
                    </a:lnTo>
                    <a:lnTo>
                      <a:pt x="1012" y="263"/>
                    </a:lnTo>
                    <a:lnTo>
                      <a:pt x="1010" y="265"/>
                    </a:lnTo>
                    <a:lnTo>
                      <a:pt x="1009" y="265"/>
                    </a:lnTo>
                    <a:lnTo>
                      <a:pt x="1009" y="267"/>
                    </a:lnTo>
                    <a:lnTo>
                      <a:pt x="1009" y="268"/>
                    </a:lnTo>
                    <a:lnTo>
                      <a:pt x="1007" y="268"/>
                    </a:lnTo>
                    <a:lnTo>
                      <a:pt x="1005" y="268"/>
                    </a:lnTo>
                    <a:lnTo>
                      <a:pt x="1005" y="270"/>
                    </a:lnTo>
                    <a:lnTo>
                      <a:pt x="1003" y="270"/>
                    </a:lnTo>
                    <a:lnTo>
                      <a:pt x="1003" y="272"/>
                    </a:lnTo>
                    <a:lnTo>
                      <a:pt x="1002" y="272"/>
                    </a:lnTo>
                    <a:lnTo>
                      <a:pt x="1003" y="272"/>
                    </a:lnTo>
                    <a:lnTo>
                      <a:pt x="1003" y="274"/>
                    </a:lnTo>
                    <a:lnTo>
                      <a:pt x="1003" y="272"/>
                    </a:lnTo>
                    <a:lnTo>
                      <a:pt x="1005" y="272"/>
                    </a:lnTo>
                    <a:lnTo>
                      <a:pt x="1007" y="272"/>
                    </a:lnTo>
                    <a:lnTo>
                      <a:pt x="1007" y="274"/>
                    </a:lnTo>
                    <a:lnTo>
                      <a:pt x="1007" y="272"/>
                    </a:lnTo>
                    <a:lnTo>
                      <a:pt x="1009" y="272"/>
                    </a:lnTo>
                    <a:lnTo>
                      <a:pt x="1009" y="270"/>
                    </a:lnTo>
                    <a:lnTo>
                      <a:pt x="1010" y="272"/>
                    </a:lnTo>
                    <a:lnTo>
                      <a:pt x="1010" y="270"/>
                    </a:lnTo>
                    <a:lnTo>
                      <a:pt x="1010" y="272"/>
                    </a:lnTo>
                    <a:lnTo>
                      <a:pt x="1010" y="270"/>
                    </a:lnTo>
                    <a:lnTo>
                      <a:pt x="1012" y="268"/>
                    </a:lnTo>
                    <a:lnTo>
                      <a:pt x="1012" y="267"/>
                    </a:lnTo>
                    <a:lnTo>
                      <a:pt x="1014" y="267"/>
                    </a:lnTo>
                    <a:lnTo>
                      <a:pt x="1014" y="265"/>
                    </a:lnTo>
                    <a:lnTo>
                      <a:pt x="1015" y="265"/>
                    </a:lnTo>
                    <a:lnTo>
                      <a:pt x="1015" y="263"/>
                    </a:lnTo>
                    <a:lnTo>
                      <a:pt x="1017" y="265"/>
                    </a:lnTo>
                    <a:lnTo>
                      <a:pt x="1017" y="263"/>
                    </a:lnTo>
                    <a:lnTo>
                      <a:pt x="1019" y="263"/>
                    </a:lnTo>
                    <a:lnTo>
                      <a:pt x="1017" y="263"/>
                    </a:lnTo>
                    <a:lnTo>
                      <a:pt x="1019" y="262"/>
                    </a:lnTo>
                    <a:lnTo>
                      <a:pt x="1019" y="260"/>
                    </a:lnTo>
                    <a:lnTo>
                      <a:pt x="1019" y="258"/>
                    </a:lnTo>
                    <a:lnTo>
                      <a:pt x="1020" y="258"/>
                    </a:lnTo>
                    <a:lnTo>
                      <a:pt x="1019" y="260"/>
                    </a:lnTo>
                    <a:lnTo>
                      <a:pt x="1019" y="262"/>
                    </a:lnTo>
                    <a:lnTo>
                      <a:pt x="1019" y="260"/>
                    </a:lnTo>
                    <a:lnTo>
                      <a:pt x="1020" y="260"/>
                    </a:lnTo>
                    <a:lnTo>
                      <a:pt x="1022" y="258"/>
                    </a:lnTo>
                    <a:lnTo>
                      <a:pt x="1022" y="257"/>
                    </a:lnTo>
                    <a:lnTo>
                      <a:pt x="1022" y="255"/>
                    </a:lnTo>
                    <a:lnTo>
                      <a:pt x="1024" y="255"/>
                    </a:lnTo>
                    <a:lnTo>
                      <a:pt x="1026" y="255"/>
                    </a:lnTo>
                    <a:lnTo>
                      <a:pt x="1026" y="253"/>
                    </a:lnTo>
                    <a:lnTo>
                      <a:pt x="1026" y="255"/>
                    </a:lnTo>
                    <a:lnTo>
                      <a:pt x="1024" y="255"/>
                    </a:lnTo>
                    <a:lnTo>
                      <a:pt x="1024" y="257"/>
                    </a:lnTo>
                    <a:lnTo>
                      <a:pt x="1026" y="257"/>
                    </a:lnTo>
                    <a:lnTo>
                      <a:pt x="1026" y="258"/>
                    </a:lnTo>
                    <a:lnTo>
                      <a:pt x="1024" y="258"/>
                    </a:lnTo>
                    <a:lnTo>
                      <a:pt x="1024" y="260"/>
                    </a:lnTo>
                    <a:lnTo>
                      <a:pt x="1022" y="260"/>
                    </a:lnTo>
                    <a:lnTo>
                      <a:pt x="1020" y="260"/>
                    </a:lnTo>
                    <a:lnTo>
                      <a:pt x="1020" y="262"/>
                    </a:lnTo>
                    <a:lnTo>
                      <a:pt x="1020" y="263"/>
                    </a:lnTo>
                    <a:lnTo>
                      <a:pt x="1020" y="262"/>
                    </a:lnTo>
                    <a:lnTo>
                      <a:pt x="1022" y="262"/>
                    </a:lnTo>
                    <a:lnTo>
                      <a:pt x="1024" y="262"/>
                    </a:lnTo>
                    <a:lnTo>
                      <a:pt x="1022" y="262"/>
                    </a:lnTo>
                    <a:lnTo>
                      <a:pt x="1022" y="263"/>
                    </a:lnTo>
                    <a:lnTo>
                      <a:pt x="1024" y="263"/>
                    </a:lnTo>
                    <a:lnTo>
                      <a:pt x="1024" y="262"/>
                    </a:lnTo>
                    <a:lnTo>
                      <a:pt x="1026" y="262"/>
                    </a:lnTo>
                    <a:lnTo>
                      <a:pt x="1026" y="263"/>
                    </a:lnTo>
                    <a:lnTo>
                      <a:pt x="1026" y="262"/>
                    </a:lnTo>
                    <a:lnTo>
                      <a:pt x="1027" y="262"/>
                    </a:lnTo>
                    <a:lnTo>
                      <a:pt x="1026" y="262"/>
                    </a:lnTo>
                    <a:lnTo>
                      <a:pt x="1027" y="263"/>
                    </a:lnTo>
                    <a:lnTo>
                      <a:pt x="1027" y="262"/>
                    </a:lnTo>
                    <a:lnTo>
                      <a:pt x="1027" y="260"/>
                    </a:lnTo>
                    <a:lnTo>
                      <a:pt x="1029" y="260"/>
                    </a:lnTo>
                    <a:lnTo>
                      <a:pt x="1029" y="262"/>
                    </a:lnTo>
                    <a:lnTo>
                      <a:pt x="1031" y="262"/>
                    </a:lnTo>
                    <a:lnTo>
                      <a:pt x="1031" y="263"/>
                    </a:lnTo>
                    <a:lnTo>
                      <a:pt x="1031" y="262"/>
                    </a:lnTo>
                    <a:lnTo>
                      <a:pt x="1031" y="260"/>
                    </a:lnTo>
                    <a:lnTo>
                      <a:pt x="1032" y="260"/>
                    </a:lnTo>
                    <a:lnTo>
                      <a:pt x="1034" y="260"/>
                    </a:lnTo>
                    <a:lnTo>
                      <a:pt x="1032" y="260"/>
                    </a:lnTo>
                    <a:lnTo>
                      <a:pt x="1031" y="260"/>
                    </a:lnTo>
                    <a:lnTo>
                      <a:pt x="1031" y="258"/>
                    </a:lnTo>
                    <a:lnTo>
                      <a:pt x="1031" y="257"/>
                    </a:lnTo>
                    <a:lnTo>
                      <a:pt x="1032" y="257"/>
                    </a:lnTo>
                    <a:lnTo>
                      <a:pt x="1034" y="257"/>
                    </a:lnTo>
                    <a:lnTo>
                      <a:pt x="1036" y="257"/>
                    </a:lnTo>
                    <a:lnTo>
                      <a:pt x="1037" y="257"/>
                    </a:lnTo>
                    <a:lnTo>
                      <a:pt x="1039" y="258"/>
                    </a:lnTo>
                    <a:lnTo>
                      <a:pt x="1041" y="258"/>
                    </a:lnTo>
                    <a:lnTo>
                      <a:pt x="1043" y="258"/>
                    </a:lnTo>
                    <a:lnTo>
                      <a:pt x="1043" y="260"/>
                    </a:lnTo>
                    <a:lnTo>
                      <a:pt x="1044" y="260"/>
                    </a:lnTo>
                    <a:lnTo>
                      <a:pt x="1046" y="262"/>
                    </a:lnTo>
                    <a:lnTo>
                      <a:pt x="1048" y="262"/>
                    </a:lnTo>
                    <a:lnTo>
                      <a:pt x="1049" y="262"/>
                    </a:lnTo>
                    <a:lnTo>
                      <a:pt x="1049" y="263"/>
                    </a:lnTo>
                    <a:lnTo>
                      <a:pt x="1051" y="263"/>
                    </a:lnTo>
                    <a:lnTo>
                      <a:pt x="1053" y="263"/>
                    </a:lnTo>
                    <a:lnTo>
                      <a:pt x="1053" y="265"/>
                    </a:lnTo>
                    <a:lnTo>
                      <a:pt x="1054" y="265"/>
                    </a:lnTo>
                    <a:lnTo>
                      <a:pt x="1056" y="265"/>
                    </a:lnTo>
                    <a:lnTo>
                      <a:pt x="1058" y="267"/>
                    </a:lnTo>
                    <a:lnTo>
                      <a:pt x="1060" y="267"/>
                    </a:lnTo>
                    <a:lnTo>
                      <a:pt x="1061" y="268"/>
                    </a:lnTo>
                    <a:lnTo>
                      <a:pt x="1063" y="268"/>
                    </a:lnTo>
                    <a:lnTo>
                      <a:pt x="1065" y="268"/>
                    </a:lnTo>
                    <a:lnTo>
                      <a:pt x="1066" y="270"/>
                    </a:lnTo>
                    <a:lnTo>
                      <a:pt x="1068" y="270"/>
                    </a:lnTo>
                    <a:lnTo>
                      <a:pt x="1070" y="270"/>
                    </a:lnTo>
                    <a:lnTo>
                      <a:pt x="1071" y="270"/>
                    </a:lnTo>
                    <a:lnTo>
                      <a:pt x="1071" y="272"/>
                    </a:lnTo>
                    <a:lnTo>
                      <a:pt x="1073" y="274"/>
                    </a:lnTo>
                    <a:lnTo>
                      <a:pt x="1071" y="274"/>
                    </a:lnTo>
                    <a:lnTo>
                      <a:pt x="1073" y="274"/>
                    </a:lnTo>
                    <a:lnTo>
                      <a:pt x="1073" y="272"/>
                    </a:lnTo>
                    <a:lnTo>
                      <a:pt x="1073" y="274"/>
                    </a:lnTo>
                    <a:lnTo>
                      <a:pt x="1073" y="272"/>
                    </a:lnTo>
                    <a:lnTo>
                      <a:pt x="1073" y="274"/>
                    </a:lnTo>
                    <a:lnTo>
                      <a:pt x="1075" y="274"/>
                    </a:lnTo>
                    <a:lnTo>
                      <a:pt x="1075" y="272"/>
                    </a:lnTo>
                    <a:lnTo>
                      <a:pt x="1077" y="272"/>
                    </a:lnTo>
                    <a:lnTo>
                      <a:pt x="1075" y="272"/>
                    </a:lnTo>
                    <a:lnTo>
                      <a:pt x="1073" y="272"/>
                    </a:lnTo>
                    <a:lnTo>
                      <a:pt x="1075" y="272"/>
                    </a:lnTo>
                    <a:lnTo>
                      <a:pt x="1075" y="270"/>
                    </a:lnTo>
                    <a:lnTo>
                      <a:pt x="1077" y="272"/>
                    </a:lnTo>
                    <a:lnTo>
                      <a:pt x="1078" y="272"/>
                    </a:lnTo>
                    <a:lnTo>
                      <a:pt x="1078" y="274"/>
                    </a:lnTo>
                    <a:lnTo>
                      <a:pt x="1078" y="272"/>
                    </a:lnTo>
                    <a:lnTo>
                      <a:pt x="1080" y="272"/>
                    </a:lnTo>
                    <a:lnTo>
                      <a:pt x="1080" y="270"/>
                    </a:lnTo>
                    <a:lnTo>
                      <a:pt x="1082" y="270"/>
                    </a:lnTo>
                    <a:lnTo>
                      <a:pt x="1083" y="270"/>
                    </a:lnTo>
                    <a:lnTo>
                      <a:pt x="1085" y="270"/>
                    </a:lnTo>
                    <a:lnTo>
                      <a:pt x="1087" y="270"/>
                    </a:lnTo>
                    <a:lnTo>
                      <a:pt x="1085" y="272"/>
                    </a:lnTo>
                    <a:lnTo>
                      <a:pt x="1087" y="272"/>
                    </a:lnTo>
                    <a:lnTo>
                      <a:pt x="1087" y="270"/>
                    </a:lnTo>
                    <a:lnTo>
                      <a:pt x="1088" y="272"/>
                    </a:lnTo>
                    <a:lnTo>
                      <a:pt x="1090" y="272"/>
                    </a:lnTo>
                    <a:lnTo>
                      <a:pt x="1090" y="274"/>
                    </a:lnTo>
                    <a:lnTo>
                      <a:pt x="1092" y="274"/>
                    </a:lnTo>
                    <a:lnTo>
                      <a:pt x="1092" y="275"/>
                    </a:lnTo>
                    <a:lnTo>
                      <a:pt x="1094" y="275"/>
                    </a:lnTo>
                    <a:lnTo>
                      <a:pt x="1095" y="275"/>
                    </a:lnTo>
                    <a:lnTo>
                      <a:pt x="1095" y="277"/>
                    </a:lnTo>
                    <a:lnTo>
                      <a:pt x="1097" y="277"/>
                    </a:lnTo>
                    <a:lnTo>
                      <a:pt x="1097" y="275"/>
                    </a:lnTo>
                    <a:lnTo>
                      <a:pt x="1099" y="275"/>
                    </a:lnTo>
                    <a:lnTo>
                      <a:pt x="1099" y="277"/>
                    </a:lnTo>
                    <a:lnTo>
                      <a:pt x="1100" y="277"/>
                    </a:lnTo>
                    <a:lnTo>
                      <a:pt x="1100" y="275"/>
                    </a:lnTo>
                    <a:lnTo>
                      <a:pt x="1100" y="277"/>
                    </a:lnTo>
                    <a:lnTo>
                      <a:pt x="1102" y="277"/>
                    </a:lnTo>
                    <a:lnTo>
                      <a:pt x="1104" y="277"/>
                    </a:lnTo>
                    <a:lnTo>
                      <a:pt x="1104" y="275"/>
                    </a:lnTo>
                    <a:lnTo>
                      <a:pt x="1105" y="275"/>
                    </a:lnTo>
                    <a:lnTo>
                      <a:pt x="1107" y="275"/>
                    </a:lnTo>
                    <a:lnTo>
                      <a:pt x="1109" y="275"/>
                    </a:lnTo>
                    <a:lnTo>
                      <a:pt x="1111" y="275"/>
                    </a:lnTo>
                    <a:lnTo>
                      <a:pt x="1112" y="275"/>
                    </a:lnTo>
                    <a:lnTo>
                      <a:pt x="1114" y="275"/>
                    </a:lnTo>
                    <a:lnTo>
                      <a:pt x="1116" y="275"/>
                    </a:lnTo>
                    <a:lnTo>
                      <a:pt x="1117" y="275"/>
                    </a:lnTo>
                    <a:lnTo>
                      <a:pt x="1119" y="275"/>
                    </a:lnTo>
                    <a:lnTo>
                      <a:pt x="1121" y="275"/>
                    </a:lnTo>
                    <a:lnTo>
                      <a:pt x="1121" y="274"/>
                    </a:lnTo>
                    <a:lnTo>
                      <a:pt x="1122" y="274"/>
                    </a:lnTo>
                    <a:lnTo>
                      <a:pt x="1124" y="274"/>
                    </a:lnTo>
                    <a:lnTo>
                      <a:pt x="1126" y="274"/>
                    </a:lnTo>
                    <a:lnTo>
                      <a:pt x="1128" y="274"/>
                    </a:lnTo>
                    <a:lnTo>
                      <a:pt x="1129" y="274"/>
                    </a:lnTo>
                    <a:lnTo>
                      <a:pt x="1131" y="272"/>
                    </a:lnTo>
                    <a:lnTo>
                      <a:pt x="1133" y="272"/>
                    </a:lnTo>
                    <a:lnTo>
                      <a:pt x="1133" y="274"/>
                    </a:lnTo>
                    <a:lnTo>
                      <a:pt x="1134" y="274"/>
                    </a:lnTo>
                    <a:lnTo>
                      <a:pt x="1136" y="274"/>
                    </a:lnTo>
                    <a:lnTo>
                      <a:pt x="1136" y="272"/>
                    </a:lnTo>
                    <a:lnTo>
                      <a:pt x="1138" y="272"/>
                    </a:lnTo>
                    <a:lnTo>
                      <a:pt x="1138" y="274"/>
                    </a:lnTo>
                    <a:lnTo>
                      <a:pt x="1139" y="274"/>
                    </a:lnTo>
                    <a:lnTo>
                      <a:pt x="1141" y="274"/>
                    </a:lnTo>
                    <a:lnTo>
                      <a:pt x="1143" y="274"/>
                    </a:lnTo>
                    <a:lnTo>
                      <a:pt x="1145" y="274"/>
                    </a:lnTo>
                    <a:lnTo>
                      <a:pt x="1146" y="274"/>
                    </a:lnTo>
                    <a:lnTo>
                      <a:pt x="1148" y="274"/>
                    </a:lnTo>
                    <a:lnTo>
                      <a:pt x="1150" y="274"/>
                    </a:lnTo>
                    <a:lnTo>
                      <a:pt x="1150" y="275"/>
                    </a:lnTo>
                    <a:lnTo>
                      <a:pt x="1151" y="275"/>
                    </a:lnTo>
                    <a:lnTo>
                      <a:pt x="1150" y="275"/>
                    </a:lnTo>
                    <a:lnTo>
                      <a:pt x="1151" y="275"/>
                    </a:lnTo>
                    <a:lnTo>
                      <a:pt x="1153" y="275"/>
                    </a:lnTo>
                    <a:lnTo>
                      <a:pt x="1153" y="277"/>
                    </a:lnTo>
                    <a:lnTo>
                      <a:pt x="1155" y="277"/>
                    </a:lnTo>
                    <a:lnTo>
                      <a:pt x="1156" y="279"/>
                    </a:lnTo>
                    <a:lnTo>
                      <a:pt x="1158" y="279"/>
                    </a:lnTo>
                    <a:lnTo>
                      <a:pt x="1160" y="280"/>
                    </a:lnTo>
                    <a:lnTo>
                      <a:pt x="1162" y="280"/>
                    </a:lnTo>
                    <a:lnTo>
                      <a:pt x="1162" y="282"/>
                    </a:lnTo>
                    <a:lnTo>
                      <a:pt x="1163" y="282"/>
                    </a:lnTo>
                    <a:lnTo>
                      <a:pt x="1165" y="282"/>
                    </a:lnTo>
                    <a:lnTo>
                      <a:pt x="1165" y="284"/>
                    </a:lnTo>
                    <a:lnTo>
                      <a:pt x="1167" y="284"/>
                    </a:lnTo>
                    <a:lnTo>
                      <a:pt x="1168" y="285"/>
                    </a:lnTo>
                    <a:lnTo>
                      <a:pt x="1170" y="285"/>
                    </a:lnTo>
                    <a:lnTo>
                      <a:pt x="1172" y="285"/>
                    </a:lnTo>
                    <a:lnTo>
                      <a:pt x="1172" y="287"/>
                    </a:lnTo>
                    <a:lnTo>
                      <a:pt x="1173" y="287"/>
                    </a:lnTo>
                    <a:lnTo>
                      <a:pt x="1175" y="287"/>
                    </a:lnTo>
                    <a:lnTo>
                      <a:pt x="1175" y="289"/>
                    </a:lnTo>
                    <a:lnTo>
                      <a:pt x="1175" y="291"/>
                    </a:lnTo>
                    <a:lnTo>
                      <a:pt x="1177" y="291"/>
                    </a:lnTo>
                    <a:lnTo>
                      <a:pt x="1179" y="292"/>
                    </a:lnTo>
                    <a:lnTo>
                      <a:pt x="1180" y="294"/>
                    </a:lnTo>
                    <a:lnTo>
                      <a:pt x="1180" y="292"/>
                    </a:lnTo>
                    <a:lnTo>
                      <a:pt x="1182" y="292"/>
                    </a:lnTo>
                    <a:lnTo>
                      <a:pt x="1184" y="294"/>
                    </a:lnTo>
                    <a:lnTo>
                      <a:pt x="1184" y="296"/>
                    </a:lnTo>
                    <a:lnTo>
                      <a:pt x="1185" y="296"/>
                    </a:lnTo>
                    <a:lnTo>
                      <a:pt x="1185" y="297"/>
                    </a:lnTo>
                    <a:lnTo>
                      <a:pt x="1187" y="297"/>
                    </a:lnTo>
                    <a:lnTo>
                      <a:pt x="1189" y="297"/>
                    </a:lnTo>
                    <a:lnTo>
                      <a:pt x="1189" y="299"/>
                    </a:lnTo>
                    <a:lnTo>
                      <a:pt x="1190" y="301"/>
                    </a:lnTo>
                    <a:lnTo>
                      <a:pt x="1192" y="301"/>
                    </a:lnTo>
                    <a:lnTo>
                      <a:pt x="1192" y="302"/>
                    </a:lnTo>
                    <a:lnTo>
                      <a:pt x="1194" y="302"/>
                    </a:lnTo>
                    <a:lnTo>
                      <a:pt x="1196" y="302"/>
                    </a:lnTo>
                    <a:lnTo>
                      <a:pt x="1197" y="304"/>
                    </a:lnTo>
                    <a:lnTo>
                      <a:pt x="1199" y="304"/>
                    </a:lnTo>
                    <a:lnTo>
                      <a:pt x="1199" y="302"/>
                    </a:lnTo>
                    <a:lnTo>
                      <a:pt x="1199" y="304"/>
                    </a:lnTo>
                    <a:lnTo>
                      <a:pt x="1201" y="304"/>
                    </a:lnTo>
                    <a:lnTo>
                      <a:pt x="1201" y="306"/>
                    </a:lnTo>
                    <a:lnTo>
                      <a:pt x="1202" y="308"/>
                    </a:lnTo>
                    <a:lnTo>
                      <a:pt x="1202" y="309"/>
                    </a:lnTo>
                    <a:lnTo>
                      <a:pt x="1204" y="309"/>
                    </a:lnTo>
                    <a:lnTo>
                      <a:pt x="1204" y="311"/>
                    </a:lnTo>
                    <a:lnTo>
                      <a:pt x="1206" y="311"/>
                    </a:lnTo>
                    <a:lnTo>
                      <a:pt x="1207" y="313"/>
                    </a:lnTo>
                    <a:lnTo>
                      <a:pt x="1209" y="314"/>
                    </a:lnTo>
                    <a:lnTo>
                      <a:pt x="1209" y="316"/>
                    </a:lnTo>
                    <a:lnTo>
                      <a:pt x="1211" y="316"/>
                    </a:lnTo>
                    <a:lnTo>
                      <a:pt x="1211" y="318"/>
                    </a:lnTo>
                    <a:lnTo>
                      <a:pt x="1213" y="319"/>
                    </a:lnTo>
                    <a:lnTo>
                      <a:pt x="1214" y="321"/>
                    </a:lnTo>
                    <a:lnTo>
                      <a:pt x="1216" y="321"/>
                    </a:lnTo>
                    <a:lnTo>
                      <a:pt x="1216" y="323"/>
                    </a:lnTo>
                    <a:lnTo>
                      <a:pt x="1218" y="323"/>
                    </a:lnTo>
                    <a:lnTo>
                      <a:pt x="1218" y="325"/>
                    </a:lnTo>
                    <a:lnTo>
                      <a:pt x="1219" y="326"/>
                    </a:lnTo>
                    <a:lnTo>
                      <a:pt x="1221" y="326"/>
                    </a:lnTo>
                    <a:lnTo>
                      <a:pt x="1223" y="326"/>
                    </a:lnTo>
                    <a:lnTo>
                      <a:pt x="1223" y="328"/>
                    </a:lnTo>
                    <a:lnTo>
                      <a:pt x="1224" y="328"/>
                    </a:lnTo>
                    <a:lnTo>
                      <a:pt x="1224" y="330"/>
                    </a:lnTo>
                    <a:lnTo>
                      <a:pt x="1224" y="331"/>
                    </a:lnTo>
                    <a:lnTo>
                      <a:pt x="1226" y="331"/>
                    </a:lnTo>
                    <a:lnTo>
                      <a:pt x="1228" y="333"/>
                    </a:lnTo>
                    <a:lnTo>
                      <a:pt x="1230" y="335"/>
                    </a:lnTo>
                    <a:lnTo>
                      <a:pt x="1231" y="335"/>
                    </a:lnTo>
                    <a:lnTo>
                      <a:pt x="1233" y="335"/>
                    </a:lnTo>
                    <a:lnTo>
                      <a:pt x="1235" y="335"/>
                    </a:lnTo>
                    <a:lnTo>
                      <a:pt x="1235" y="337"/>
                    </a:lnTo>
                    <a:lnTo>
                      <a:pt x="1236" y="337"/>
                    </a:lnTo>
                    <a:lnTo>
                      <a:pt x="1238" y="337"/>
                    </a:lnTo>
                    <a:lnTo>
                      <a:pt x="1238" y="338"/>
                    </a:lnTo>
                    <a:lnTo>
                      <a:pt x="1240" y="338"/>
                    </a:lnTo>
                    <a:lnTo>
                      <a:pt x="1240" y="340"/>
                    </a:lnTo>
                    <a:lnTo>
                      <a:pt x="1240" y="342"/>
                    </a:lnTo>
                    <a:lnTo>
                      <a:pt x="1241" y="342"/>
                    </a:lnTo>
                    <a:lnTo>
                      <a:pt x="1241" y="343"/>
                    </a:lnTo>
                    <a:lnTo>
                      <a:pt x="1243" y="343"/>
                    </a:lnTo>
                    <a:lnTo>
                      <a:pt x="1243" y="345"/>
                    </a:lnTo>
                    <a:lnTo>
                      <a:pt x="1245" y="345"/>
                    </a:lnTo>
                    <a:lnTo>
                      <a:pt x="1247" y="345"/>
                    </a:lnTo>
                    <a:lnTo>
                      <a:pt x="1248" y="345"/>
                    </a:lnTo>
                    <a:lnTo>
                      <a:pt x="1250" y="345"/>
                    </a:lnTo>
                    <a:lnTo>
                      <a:pt x="1252" y="345"/>
                    </a:lnTo>
                    <a:lnTo>
                      <a:pt x="1253" y="345"/>
                    </a:lnTo>
                    <a:lnTo>
                      <a:pt x="1253" y="347"/>
                    </a:lnTo>
                    <a:lnTo>
                      <a:pt x="1255" y="347"/>
                    </a:lnTo>
                    <a:lnTo>
                      <a:pt x="1255" y="348"/>
                    </a:lnTo>
                    <a:lnTo>
                      <a:pt x="1257" y="348"/>
                    </a:lnTo>
                    <a:lnTo>
                      <a:pt x="1258" y="348"/>
                    </a:lnTo>
                    <a:lnTo>
                      <a:pt x="1258" y="350"/>
                    </a:lnTo>
                    <a:lnTo>
                      <a:pt x="1260" y="350"/>
                    </a:lnTo>
                    <a:lnTo>
                      <a:pt x="1262" y="350"/>
                    </a:lnTo>
                    <a:lnTo>
                      <a:pt x="1264" y="350"/>
                    </a:lnTo>
                    <a:lnTo>
                      <a:pt x="1262" y="350"/>
                    </a:lnTo>
                    <a:lnTo>
                      <a:pt x="1264" y="350"/>
                    </a:lnTo>
                    <a:lnTo>
                      <a:pt x="1265" y="350"/>
                    </a:lnTo>
                    <a:lnTo>
                      <a:pt x="1267" y="350"/>
                    </a:lnTo>
                    <a:lnTo>
                      <a:pt x="1267" y="348"/>
                    </a:lnTo>
                    <a:lnTo>
                      <a:pt x="1269" y="350"/>
                    </a:lnTo>
                    <a:lnTo>
                      <a:pt x="1270" y="350"/>
                    </a:lnTo>
                    <a:lnTo>
                      <a:pt x="1272" y="350"/>
                    </a:lnTo>
                    <a:lnTo>
                      <a:pt x="1274" y="350"/>
                    </a:lnTo>
                    <a:lnTo>
                      <a:pt x="1275" y="350"/>
                    </a:lnTo>
                    <a:lnTo>
                      <a:pt x="1277" y="350"/>
                    </a:lnTo>
                    <a:lnTo>
                      <a:pt x="1279" y="350"/>
                    </a:lnTo>
                    <a:lnTo>
                      <a:pt x="1281" y="348"/>
                    </a:lnTo>
                    <a:lnTo>
                      <a:pt x="1282" y="348"/>
                    </a:lnTo>
                    <a:lnTo>
                      <a:pt x="1284" y="348"/>
                    </a:lnTo>
                    <a:lnTo>
                      <a:pt x="1286" y="348"/>
                    </a:lnTo>
                    <a:lnTo>
                      <a:pt x="1287" y="348"/>
                    </a:lnTo>
                    <a:lnTo>
                      <a:pt x="1289" y="350"/>
                    </a:lnTo>
                    <a:lnTo>
                      <a:pt x="1291" y="350"/>
                    </a:lnTo>
                    <a:lnTo>
                      <a:pt x="1292" y="350"/>
                    </a:lnTo>
                    <a:lnTo>
                      <a:pt x="1294" y="350"/>
                    </a:lnTo>
                    <a:lnTo>
                      <a:pt x="1294" y="352"/>
                    </a:lnTo>
                    <a:lnTo>
                      <a:pt x="1296" y="350"/>
                    </a:lnTo>
                    <a:lnTo>
                      <a:pt x="1296" y="352"/>
                    </a:lnTo>
                    <a:lnTo>
                      <a:pt x="1298" y="352"/>
                    </a:lnTo>
                    <a:lnTo>
                      <a:pt x="1299" y="352"/>
                    </a:lnTo>
                    <a:lnTo>
                      <a:pt x="1301" y="352"/>
                    </a:lnTo>
                    <a:lnTo>
                      <a:pt x="1301" y="354"/>
                    </a:lnTo>
                    <a:lnTo>
                      <a:pt x="1303" y="354"/>
                    </a:lnTo>
                    <a:lnTo>
                      <a:pt x="1303" y="355"/>
                    </a:lnTo>
                    <a:lnTo>
                      <a:pt x="1304" y="357"/>
                    </a:lnTo>
                    <a:lnTo>
                      <a:pt x="1304" y="359"/>
                    </a:lnTo>
                    <a:lnTo>
                      <a:pt x="1306" y="360"/>
                    </a:lnTo>
                    <a:lnTo>
                      <a:pt x="1306" y="362"/>
                    </a:lnTo>
                    <a:lnTo>
                      <a:pt x="1308" y="364"/>
                    </a:lnTo>
                    <a:lnTo>
                      <a:pt x="1308" y="365"/>
                    </a:lnTo>
                    <a:lnTo>
                      <a:pt x="1308" y="367"/>
                    </a:lnTo>
                    <a:lnTo>
                      <a:pt x="1309" y="367"/>
                    </a:lnTo>
                    <a:lnTo>
                      <a:pt x="1309" y="369"/>
                    </a:lnTo>
                    <a:lnTo>
                      <a:pt x="1309" y="371"/>
                    </a:lnTo>
                    <a:lnTo>
                      <a:pt x="1309" y="372"/>
                    </a:lnTo>
                    <a:lnTo>
                      <a:pt x="1309" y="374"/>
                    </a:lnTo>
                    <a:lnTo>
                      <a:pt x="1311" y="374"/>
                    </a:lnTo>
                    <a:lnTo>
                      <a:pt x="1311" y="376"/>
                    </a:lnTo>
                    <a:lnTo>
                      <a:pt x="1311" y="377"/>
                    </a:lnTo>
                    <a:lnTo>
                      <a:pt x="1311" y="379"/>
                    </a:lnTo>
                    <a:lnTo>
                      <a:pt x="1313" y="379"/>
                    </a:lnTo>
                    <a:lnTo>
                      <a:pt x="1313" y="381"/>
                    </a:lnTo>
                    <a:lnTo>
                      <a:pt x="1313" y="382"/>
                    </a:lnTo>
                    <a:lnTo>
                      <a:pt x="1313" y="384"/>
                    </a:lnTo>
                    <a:lnTo>
                      <a:pt x="1313" y="386"/>
                    </a:lnTo>
                    <a:lnTo>
                      <a:pt x="1313" y="388"/>
                    </a:lnTo>
                    <a:lnTo>
                      <a:pt x="1315" y="388"/>
                    </a:lnTo>
                    <a:lnTo>
                      <a:pt x="1315" y="389"/>
                    </a:lnTo>
                    <a:lnTo>
                      <a:pt x="1315" y="391"/>
                    </a:lnTo>
                    <a:lnTo>
                      <a:pt x="1316" y="391"/>
                    </a:lnTo>
                    <a:lnTo>
                      <a:pt x="1315" y="391"/>
                    </a:lnTo>
                    <a:lnTo>
                      <a:pt x="1316" y="393"/>
                    </a:lnTo>
                    <a:lnTo>
                      <a:pt x="1316" y="394"/>
                    </a:lnTo>
                    <a:lnTo>
                      <a:pt x="1318" y="394"/>
                    </a:lnTo>
                    <a:lnTo>
                      <a:pt x="1318" y="396"/>
                    </a:lnTo>
                    <a:lnTo>
                      <a:pt x="1318" y="398"/>
                    </a:lnTo>
                    <a:lnTo>
                      <a:pt x="1318" y="399"/>
                    </a:lnTo>
                    <a:lnTo>
                      <a:pt x="1318" y="401"/>
                    </a:lnTo>
                    <a:lnTo>
                      <a:pt x="1318" y="403"/>
                    </a:lnTo>
                    <a:lnTo>
                      <a:pt x="1318" y="405"/>
                    </a:lnTo>
                    <a:lnTo>
                      <a:pt x="1320" y="405"/>
                    </a:lnTo>
                    <a:lnTo>
                      <a:pt x="1318" y="405"/>
                    </a:lnTo>
                    <a:lnTo>
                      <a:pt x="1320" y="405"/>
                    </a:lnTo>
                    <a:lnTo>
                      <a:pt x="1318" y="406"/>
                    </a:lnTo>
                    <a:lnTo>
                      <a:pt x="1320" y="406"/>
                    </a:lnTo>
                    <a:lnTo>
                      <a:pt x="1318" y="406"/>
                    </a:lnTo>
                    <a:lnTo>
                      <a:pt x="1320" y="406"/>
                    </a:lnTo>
                    <a:lnTo>
                      <a:pt x="1320" y="408"/>
                    </a:lnTo>
                    <a:lnTo>
                      <a:pt x="1320" y="410"/>
                    </a:lnTo>
                    <a:lnTo>
                      <a:pt x="1320" y="411"/>
                    </a:lnTo>
                    <a:lnTo>
                      <a:pt x="1321" y="411"/>
                    </a:lnTo>
                    <a:lnTo>
                      <a:pt x="1321" y="413"/>
                    </a:lnTo>
                    <a:lnTo>
                      <a:pt x="1323" y="413"/>
                    </a:lnTo>
                    <a:lnTo>
                      <a:pt x="1323" y="415"/>
                    </a:lnTo>
                    <a:lnTo>
                      <a:pt x="1323" y="416"/>
                    </a:lnTo>
                    <a:lnTo>
                      <a:pt x="1321" y="416"/>
                    </a:lnTo>
                    <a:lnTo>
                      <a:pt x="1323" y="418"/>
                    </a:lnTo>
                    <a:lnTo>
                      <a:pt x="1321" y="418"/>
                    </a:lnTo>
                    <a:lnTo>
                      <a:pt x="1323" y="418"/>
                    </a:lnTo>
                    <a:lnTo>
                      <a:pt x="1323" y="420"/>
                    </a:lnTo>
                    <a:lnTo>
                      <a:pt x="1323" y="422"/>
                    </a:lnTo>
                    <a:lnTo>
                      <a:pt x="1323" y="423"/>
                    </a:lnTo>
                    <a:lnTo>
                      <a:pt x="1323" y="425"/>
                    </a:lnTo>
                    <a:lnTo>
                      <a:pt x="1323" y="427"/>
                    </a:lnTo>
                    <a:lnTo>
                      <a:pt x="1323" y="428"/>
                    </a:lnTo>
                    <a:lnTo>
                      <a:pt x="1323" y="430"/>
                    </a:lnTo>
                    <a:lnTo>
                      <a:pt x="1323" y="432"/>
                    </a:lnTo>
                    <a:lnTo>
                      <a:pt x="1323" y="433"/>
                    </a:lnTo>
                    <a:lnTo>
                      <a:pt x="1321" y="433"/>
                    </a:lnTo>
                    <a:lnTo>
                      <a:pt x="1323" y="435"/>
                    </a:lnTo>
                    <a:lnTo>
                      <a:pt x="1323" y="437"/>
                    </a:lnTo>
                    <a:lnTo>
                      <a:pt x="1323" y="439"/>
                    </a:lnTo>
                    <a:lnTo>
                      <a:pt x="1321" y="439"/>
                    </a:lnTo>
                    <a:lnTo>
                      <a:pt x="1323" y="439"/>
                    </a:lnTo>
                    <a:lnTo>
                      <a:pt x="1321" y="439"/>
                    </a:lnTo>
                    <a:lnTo>
                      <a:pt x="1323" y="440"/>
                    </a:lnTo>
                    <a:lnTo>
                      <a:pt x="1321" y="442"/>
                    </a:lnTo>
                    <a:lnTo>
                      <a:pt x="1321" y="444"/>
                    </a:lnTo>
                    <a:lnTo>
                      <a:pt x="1323" y="445"/>
                    </a:lnTo>
                    <a:lnTo>
                      <a:pt x="1323" y="447"/>
                    </a:lnTo>
                    <a:lnTo>
                      <a:pt x="1321" y="449"/>
                    </a:lnTo>
                    <a:lnTo>
                      <a:pt x="1321" y="450"/>
                    </a:lnTo>
                    <a:lnTo>
                      <a:pt x="1320" y="452"/>
                    </a:lnTo>
                    <a:lnTo>
                      <a:pt x="1321" y="452"/>
                    </a:lnTo>
                    <a:lnTo>
                      <a:pt x="1320" y="452"/>
                    </a:lnTo>
                    <a:lnTo>
                      <a:pt x="1320" y="454"/>
                    </a:lnTo>
                    <a:lnTo>
                      <a:pt x="1320" y="456"/>
                    </a:lnTo>
                    <a:lnTo>
                      <a:pt x="1320" y="457"/>
                    </a:lnTo>
                    <a:lnTo>
                      <a:pt x="1318" y="457"/>
                    </a:lnTo>
                    <a:lnTo>
                      <a:pt x="1318" y="459"/>
                    </a:lnTo>
                    <a:lnTo>
                      <a:pt x="1318" y="461"/>
                    </a:lnTo>
                    <a:lnTo>
                      <a:pt x="1318" y="462"/>
                    </a:lnTo>
                    <a:lnTo>
                      <a:pt x="1318" y="464"/>
                    </a:lnTo>
                    <a:lnTo>
                      <a:pt x="1316" y="464"/>
                    </a:lnTo>
                    <a:lnTo>
                      <a:pt x="1316" y="466"/>
                    </a:lnTo>
                    <a:lnTo>
                      <a:pt x="1316" y="467"/>
                    </a:lnTo>
                    <a:lnTo>
                      <a:pt x="1315" y="469"/>
                    </a:lnTo>
                    <a:lnTo>
                      <a:pt x="1315" y="471"/>
                    </a:lnTo>
                    <a:lnTo>
                      <a:pt x="1315" y="473"/>
                    </a:lnTo>
                    <a:lnTo>
                      <a:pt x="1313" y="473"/>
                    </a:lnTo>
                    <a:lnTo>
                      <a:pt x="1315" y="473"/>
                    </a:lnTo>
                    <a:lnTo>
                      <a:pt x="1313" y="474"/>
                    </a:lnTo>
                    <a:lnTo>
                      <a:pt x="1313" y="476"/>
                    </a:lnTo>
                    <a:lnTo>
                      <a:pt x="1313" y="478"/>
                    </a:lnTo>
                    <a:lnTo>
                      <a:pt x="1311" y="478"/>
                    </a:lnTo>
                    <a:lnTo>
                      <a:pt x="1313" y="478"/>
                    </a:lnTo>
                    <a:lnTo>
                      <a:pt x="1311" y="479"/>
                    </a:lnTo>
                    <a:lnTo>
                      <a:pt x="1311" y="481"/>
                    </a:lnTo>
                    <a:lnTo>
                      <a:pt x="1311" y="483"/>
                    </a:lnTo>
                    <a:lnTo>
                      <a:pt x="1309" y="483"/>
                    </a:lnTo>
                    <a:lnTo>
                      <a:pt x="1309" y="485"/>
                    </a:lnTo>
                    <a:lnTo>
                      <a:pt x="1308" y="485"/>
                    </a:lnTo>
                    <a:lnTo>
                      <a:pt x="1308" y="486"/>
                    </a:lnTo>
                    <a:lnTo>
                      <a:pt x="1308" y="488"/>
                    </a:lnTo>
                    <a:lnTo>
                      <a:pt x="1306" y="488"/>
                    </a:lnTo>
                    <a:lnTo>
                      <a:pt x="1306" y="490"/>
                    </a:lnTo>
                    <a:lnTo>
                      <a:pt x="1306" y="491"/>
                    </a:lnTo>
                    <a:lnTo>
                      <a:pt x="1304" y="491"/>
                    </a:lnTo>
                    <a:lnTo>
                      <a:pt x="1304" y="493"/>
                    </a:lnTo>
                    <a:lnTo>
                      <a:pt x="1303" y="493"/>
                    </a:lnTo>
                    <a:lnTo>
                      <a:pt x="1303" y="495"/>
                    </a:lnTo>
                    <a:lnTo>
                      <a:pt x="1301" y="495"/>
                    </a:lnTo>
                    <a:lnTo>
                      <a:pt x="1301" y="496"/>
                    </a:lnTo>
                    <a:lnTo>
                      <a:pt x="1299" y="496"/>
                    </a:lnTo>
                    <a:lnTo>
                      <a:pt x="1299" y="498"/>
                    </a:lnTo>
                    <a:lnTo>
                      <a:pt x="1298" y="500"/>
                    </a:lnTo>
                    <a:lnTo>
                      <a:pt x="1296" y="500"/>
                    </a:lnTo>
                    <a:lnTo>
                      <a:pt x="1296" y="502"/>
                    </a:lnTo>
                    <a:lnTo>
                      <a:pt x="1294" y="502"/>
                    </a:lnTo>
                    <a:lnTo>
                      <a:pt x="1294" y="503"/>
                    </a:lnTo>
                    <a:lnTo>
                      <a:pt x="1292" y="505"/>
                    </a:lnTo>
                    <a:lnTo>
                      <a:pt x="1292" y="507"/>
                    </a:lnTo>
                    <a:lnTo>
                      <a:pt x="1291" y="507"/>
                    </a:lnTo>
                    <a:lnTo>
                      <a:pt x="1289" y="507"/>
                    </a:lnTo>
                    <a:lnTo>
                      <a:pt x="1289" y="508"/>
                    </a:lnTo>
                    <a:lnTo>
                      <a:pt x="1289" y="510"/>
                    </a:lnTo>
                    <a:lnTo>
                      <a:pt x="1287" y="510"/>
                    </a:lnTo>
                    <a:lnTo>
                      <a:pt x="1287" y="512"/>
                    </a:lnTo>
                    <a:lnTo>
                      <a:pt x="1286" y="512"/>
                    </a:lnTo>
                    <a:lnTo>
                      <a:pt x="1286" y="513"/>
                    </a:lnTo>
                    <a:lnTo>
                      <a:pt x="1284" y="513"/>
                    </a:lnTo>
                    <a:lnTo>
                      <a:pt x="1284" y="515"/>
                    </a:lnTo>
                    <a:lnTo>
                      <a:pt x="1284" y="517"/>
                    </a:lnTo>
                    <a:lnTo>
                      <a:pt x="1282" y="517"/>
                    </a:lnTo>
                    <a:lnTo>
                      <a:pt x="1282" y="519"/>
                    </a:lnTo>
                    <a:lnTo>
                      <a:pt x="1281" y="520"/>
                    </a:lnTo>
                    <a:lnTo>
                      <a:pt x="1279" y="520"/>
                    </a:lnTo>
                    <a:lnTo>
                      <a:pt x="1279" y="522"/>
                    </a:lnTo>
                    <a:lnTo>
                      <a:pt x="1279" y="524"/>
                    </a:lnTo>
                    <a:lnTo>
                      <a:pt x="1277" y="522"/>
                    </a:lnTo>
                    <a:lnTo>
                      <a:pt x="1277" y="524"/>
                    </a:lnTo>
                    <a:lnTo>
                      <a:pt x="1275" y="524"/>
                    </a:lnTo>
                    <a:lnTo>
                      <a:pt x="1275" y="525"/>
                    </a:lnTo>
                    <a:lnTo>
                      <a:pt x="1274" y="525"/>
                    </a:lnTo>
                    <a:lnTo>
                      <a:pt x="1274" y="527"/>
                    </a:lnTo>
                    <a:lnTo>
                      <a:pt x="1272" y="527"/>
                    </a:lnTo>
                    <a:lnTo>
                      <a:pt x="1272" y="529"/>
                    </a:lnTo>
                    <a:lnTo>
                      <a:pt x="1272" y="530"/>
                    </a:lnTo>
                    <a:lnTo>
                      <a:pt x="1270" y="532"/>
                    </a:lnTo>
                    <a:lnTo>
                      <a:pt x="1270" y="534"/>
                    </a:lnTo>
                    <a:lnTo>
                      <a:pt x="1269" y="534"/>
                    </a:lnTo>
                    <a:lnTo>
                      <a:pt x="1269" y="536"/>
                    </a:lnTo>
                    <a:lnTo>
                      <a:pt x="1267" y="536"/>
                    </a:lnTo>
                    <a:lnTo>
                      <a:pt x="1265" y="536"/>
                    </a:lnTo>
                    <a:lnTo>
                      <a:pt x="1264" y="537"/>
                    </a:lnTo>
                    <a:lnTo>
                      <a:pt x="1262" y="537"/>
                    </a:lnTo>
                    <a:lnTo>
                      <a:pt x="1260" y="539"/>
                    </a:lnTo>
                    <a:lnTo>
                      <a:pt x="1258" y="539"/>
                    </a:lnTo>
                    <a:lnTo>
                      <a:pt x="1258" y="541"/>
                    </a:lnTo>
                    <a:lnTo>
                      <a:pt x="1257" y="541"/>
                    </a:lnTo>
                    <a:lnTo>
                      <a:pt x="1255" y="541"/>
                    </a:lnTo>
                    <a:lnTo>
                      <a:pt x="1255" y="542"/>
                    </a:lnTo>
                    <a:lnTo>
                      <a:pt x="1253" y="542"/>
                    </a:lnTo>
                    <a:lnTo>
                      <a:pt x="1253" y="544"/>
                    </a:lnTo>
                    <a:lnTo>
                      <a:pt x="1252" y="546"/>
                    </a:lnTo>
                    <a:lnTo>
                      <a:pt x="1250" y="547"/>
                    </a:lnTo>
                    <a:lnTo>
                      <a:pt x="1248" y="549"/>
                    </a:lnTo>
                    <a:lnTo>
                      <a:pt x="1248" y="551"/>
                    </a:lnTo>
                    <a:lnTo>
                      <a:pt x="1248" y="549"/>
                    </a:lnTo>
                    <a:lnTo>
                      <a:pt x="1248" y="551"/>
                    </a:lnTo>
                    <a:lnTo>
                      <a:pt x="1247" y="551"/>
                    </a:lnTo>
                    <a:lnTo>
                      <a:pt x="1247" y="553"/>
                    </a:lnTo>
                    <a:lnTo>
                      <a:pt x="1245" y="554"/>
                    </a:lnTo>
                    <a:lnTo>
                      <a:pt x="1245" y="556"/>
                    </a:lnTo>
                    <a:lnTo>
                      <a:pt x="1243" y="556"/>
                    </a:lnTo>
                    <a:lnTo>
                      <a:pt x="1243" y="558"/>
                    </a:lnTo>
                    <a:lnTo>
                      <a:pt x="1243" y="559"/>
                    </a:lnTo>
                    <a:lnTo>
                      <a:pt x="1241" y="559"/>
                    </a:lnTo>
                    <a:lnTo>
                      <a:pt x="1241" y="561"/>
                    </a:lnTo>
                    <a:lnTo>
                      <a:pt x="1240" y="561"/>
                    </a:lnTo>
                    <a:lnTo>
                      <a:pt x="1240" y="563"/>
                    </a:lnTo>
                    <a:lnTo>
                      <a:pt x="1238" y="564"/>
                    </a:lnTo>
                    <a:lnTo>
                      <a:pt x="1238" y="566"/>
                    </a:lnTo>
                    <a:lnTo>
                      <a:pt x="1236" y="566"/>
                    </a:lnTo>
                    <a:lnTo>
                      <a:pt x="1238" y="568"/>
                    </a:lnTo>
                    <a:lnTo>
                      <a:pt x="1236" y="568"/>
                    </a:lnTo>
                    <a:lnTo>
                      <a:pt x="1236" y="570"/>
                    </a:lnTo>
                    <a:lnTo>
                      <a:pt x="1235" y="571"/>
                    </a:lnTo>
                    <a:lnTo>
                      <a:pt x="1233" y="573"/>
                    </a:lnTo>
                    <a:lnTo>
                      <a:pt x="1233" y="575"/>
                    </a:lnTo>
                    <a:lnTo>
                      <a:pt x="1233" y="576"/>
                    </a:lnTo>
                    <a:lnTo>
                      <a:pt x="1231" y="576"/>
                    </a:lnTo>
                    <a:lnTo>
                      <a:pt x="1231" y="578"/>
                    </a:lnTo>
                    <a:lnTo>
                      <a:pt x="1231" y="580"/>
                    </a:lnTo>
                    <a:lnTo>
                      <a:pt x="1230" y="581"/>
                    </a:lnTo>
                    <a:lnTo>
                      <a:pt x="1230" y="583"/>
                    </a:lnTo>
                    <a:lnTo>
                      <a:pt x="1228" y="585"/>
                    </a:lnTo>
                    <a:lnTo>
                      <a:pt x="1228" y="587"/>
                    </a:lnTo>
                    <a:lnTo>
                      <a:pt x="1226" y="588"/>
                    </a:lnTo>
                    <a:lnTo>
                      <a:pt x="1226" y="590"/>
                    </a:lnTo>
                    <a:lnTo>
                      <a:pt x="1224" y="592"/>
                    </a:lnTo>
                    <a:lnTo>
                      <a:pt x="1223" y="593"/>
                    </a:lnTo>
                    <a:lnTo>
                      <a:pt x="1223" y="595"/>
                    </a:lnTo>
                    <a:lnTo>
                      <a:pt x="1221" y="597"/>
                    </a:lnTo>
                    <a:lnTo>
                      <a:pt x="1221" y="598"/>
                    </a:lnTo>
                    <a:lnTo>
                      <a:pt x="1219" y="598"/>
                    </a:lnTo>
                    <a:lnTo>
                      <a:pt x="1219" y="600"/>
                    </a:lnTo>
                    <a:lnTo>
                      <a:pt x="1218" y="600"/>
                    </a:lnTo>
                    <a:lnTo>
                      <a:pt x="1218" y="602"/>
                    </a:lnTo>
                    <a:lnTo>
                      <a:pt x="1218" y="604"/>
                    </a:lnTo>
                    <a:lnTo>
                      <a:pt x="1216" y="604"/>
                    </a:lnTo>
                    <a:lnTo>
                      <a:pt x="1216" y="605"/>
                    </a:lnTo>
                    <a:lnTo>
                      <a:pt x="1214" y="607"/>
                    </a:lnTo>
                    <a:lnTo>
                      <a:pt x="1214" y="609"/>
                    </a:lnTo>
                    <a:lnTo>
                      <a:pt x="1213" y="609"/>
                    </a:lnTo>
                    <a:lnTo>
                      <a:pt x="1213" y="610"/>
                    </a:lnTo>
                    <a:lnTo>
                      <a:pt x="1211" y="610"/>
                    </a:lnTo>
                    <a:lnTo>
                      <a:pt x="1211" y="612"/>
                    </a:lnTo>
                    <a:lnTo>
                      <a:pt x="1209" y="612"/>
                    </a:lnTo>
                    <a:lnTo>
                      <a:pt x="1209" y="614"/>
                    </a:lnTo>
                    <a:lnTo>
                      <a:pt x="1207" y="614"/>
                    </a:lnTo>
                    <a:lnTo>
                      <a:pt x="1207" y="615"/>
                    </a:lnTo>
                    <a:lnTo>
                      <a:pt x="1206" y="615"/>
                    </a:lnTo>
                    <a:lnTo>
                      <a:pt x="1206" y="617"/>
                    </a:lnTo>
                    <a:lnTo>
                      <a:pt x="1204" y="617"/>
                    </a:lnTo>
                    <a:lnTo>
                      <a:pt x="1204" y="619"/>
                    </a:lnTo>
                    <a:lnTo>
                      <a:pt x="1202" y="619"/>
                    </a:lnTo>
                    <a:lnTo>
                      <a:pt x="1201" y="621"/>
                    </a:lnTo>
                    <a:lnTo>
                      <a:pt x="1199" y="621"/>
                    </a:lnTo>
                    <a:lnTo>
                      <a:pt x="1197" y="621"/>
                    </a:lnTo>
                    <a:lnTo>
                      <a:pt x="1199" y="619"/>
                    </a:lnTo>
                    <a:lnTo>
                      <a:pt x="1197" y="619"/>
                    </a:lnTo>
                    <a:lnTo>
                      <a:pt x="1199" y="617"/>
                    </a:lnTo>
                    <a:lnTo>
                      <a:pt x="1199" y="619"/>
                    </a:lnTo>
                    <a:lnTo>
                      <a:pt x="1199" y="617"/>
                    </a:lnTo>
                    <a:lnTo>
                      <a:pt x="1199" y="615"/>
                    </a:lnTo>
                    <a:lnTo>
                      <a:pt x="1199" y="614"/>
                    </a:lnTo>
                    <a:lnTo>
                      <a:pt x="1201" y="614"/>
                    </a:lnTo>
                    <a:lnTo>
                      <a:pt x="1201" y="612"/>
                    </a:lnTo>
                    <a:lnTo>
                      <a:pt x="1201" y="614"/>
                    </a:lnTo>
                    <a:lnTo>
                      <a:pt x="1201" y="612"/>
                    </a:lnTo>
                    <a:lnTo>
                      <a:pt x="1199" y="614"/>
                    </a:lnTo>
                    <a:lnTo>
                      <a:pt x="1199" y="612"/>
                    </a:lnTo>
                    <a:lnTo>
                      <a:pt x="1199" y="614"/>
                    </a:lnTo>
                    <a:lnTo>
                      <a:pt x="1199" y="612"/>
                    </a:lnTo>
                    <a:lnTo>
                      <a:pt x="1197" y="612"/>
                    </a:lnTo>
                    <a:lnTo>
                      <a:pt x="1197" y="610"/>
                    </a:lnTo>
                    <a:lnTo>
                      <a:pt x="1196" y="610"/>
                    </a:lnTo>
                    <a:lnTo>
                      <a:pt x="1196" y="612"/>
                    </a:lnTo>
                    <a:lnTo>
                      <a:pt x="1194" y="610"/>
                    </a:lnTo>
                    <a:lnTo>
                      <a:pt x="1194" y="609"/>
                    </a:lnTo>
                    <a:lnTo>
                      <a:pt x="1194" y="610"/>
                    </a:lnTo>
                    <a:lnTo>
                      <a:pt x="1194" y="609"/>
                    </a:lnTo>
                    <a:lnTo>
                      <a:pt x="1192" y="609"/>
                    </a:lnTo>
                    <a:lnTo>
                      <a:pt x="1192" y="607"/>
                    </a:lnTo>
                    <a:lnTo>
                      <a:pt x="1192" y="609"/>
                    </a:lnTo>
                    <a:lnTo>
                      <a:pt x="1190" y="609"/>
                    </a:lnTo>
                    <a:lnTo>
                      <a:pt x="1190" y="607"/>
                    </a:lnTo>
                    <a:lnTo>
                      <a:pt x="1190" y="609"/>
                    </a:lnTo>
                    <a:lnTo>
                      <a:pt x="1190" y="610"/>
                    </a:lnTo>
                    <a:lnTo>
                      <a:pt x="1190" y="612"/>
                    </a:lnTo>
                    <a:lnTo>
                      <a:pt x="1189" y="614"/>
                    </a:lnTo>
                    <a:lnTo>
                      <a:pt x="1189" y="615"/>
                    </a:lnTo>
                    <a:lnTo>
                      <a:pt x="1187" y="615"/>
                    </a:lnTo>
                    <a:lnTo>
                      <a:pt x="1187" y="614"/>
                    </a:lnTo>
                    <a:lnTo>
                      <a:pt x="1185" y="612"/>
                    </a:lnTo>
                    <a:lnTo>
                      <a:pt x="1185" y="610"/>
                    </a:lnTo>
                    <a:lnTo>
                      <a:pt x="1187" y="610"/>
                    </a:lnTo>
                    <a:lnTo>
                      <a:pt x="1187" y="609"/>
                    </a:lnTo>
                    <a:lnTo>
                      <a:pt x="1185" y="609"/>
                    </a:lnTo>
                    <a:lnTo>
                      <a:pt x="1187" y="609"/>
                    </a:lnTo>
                    <a:lnTo>
                      <a:pt x="1185" y="610"/>
                    </a:lnTo>
                    <a:lnTo>
                      <a:pt x="1185" y="609"/>
                    </a:lnTo>
                    <a:lnTo>
                      <a:pt x="1185" y="610"/>
                    </a:lnTo>
                    <a:lnTo>
                      <a:pt x="1184" y="612"/>
                    </a:lnTo>
                    <a:lnTo>
                      <a:pt x="1185" y="612"/>
                    </a:lnTo>
                    <a:lnTo>
                      <a:pt x="1185" y="614"/>
                    </a:lnTo>
                    <a:lnTo>
                      <a:pt x="1184" y="614"/>
                    </a:lnTo>
                    <a:lnTo>
                      <a:pt x="1185" y="614"/>
                    </a:lnTo>
                    <a:lnTo>
                      <a:pt x="1187" y="614"/>
                    </a:lnTo>
                    <a:lnTo>
                      <a:pt x="1185" y="614"/>
                    </a:lnTo>
                    <a:lnTo>
                      <a:pt x="1187" y="615"/>
                    </a:lnTo>
                    <a:lnTo>
                      <a:pt x="1189" y="615"/>
                    </a:lnTo>
                    <a:lnTo>
                      <a:pt x="1189" y="617"/>
                    </a:lnTo>
                    <a:lnTo>
                      <a:pt x="1190" y="615"/>
                    </a:lnTo>
                    <a:lnTo>
                      <a:pt x="1190" y="617"/>
                    </a:lnTo>
                    <a:lnTo>
                      <a:pt x="1189" y="617"/>
                    </a:lnTo>
                    <a:lnTo>
                      <a:pt x="1189" y="619"/>
                    </a:lnTo>
                    <a:lnTo>
                      <a:pt x="1189" y="621"/>
                    </a:lnTo>
                    <a:lnTo>
                      <a:pt x="1189" y="622"/>
                    </a:lnTo>
                    <a:lnTo>
                      <a:pt x="1190" y="622"/>
                    </a:lnTo>
                    <a:lnTo>
                      <a:pt x="1190" y="621"/>
                    </a:lnTo>
                    <a:lnTo>
                      <a:pt x="1192" y="621"/>
                    </a:lnTo>
                    <a:lnTo>
                      <a:pt x="1192" y="619"/>
                    </a:lnTo>
                    <a:lnTo>
                      <a:pt x="1192" y="617"/>
                    </a:lnTo>
                    <a:lnTo>
                      <a:pt x="1194" y="617"/>
                    </a:lnTo>
                    <a:lnTo>
                      <a:pt x="1194" y="619"/>
                    </a:lnTo>
                    <a:lnTo>
                      <a:pt x="1196" y="619"/>
                    </a:lnTo>
                    <a:lnTo>
                      <a:pt x="1194" y="621"/>
                    </a:lnTo>
                    <a:lnTo>
                      <a:pt x="1194" y="622"/>
                    </a:lnTo>
                    <a:lnTo>
                      <a:pt x="1192" y="622"/>
                    </a:lnTo>
                    <a:lnTo>
                      <a:pt x="1190" y="622"/>
                    </a:lnTo>
                    <a:lnTo>
                      <a:pt x="1190" y="624"/>
                    </a:lnTo>
                    <a:lnTo>
                      <a:pt x="1189" y="624"/>
                    </a:lnTo>
                    <a:lnTo>
                      <a:pt x="1189" y="626"/>
                    </a:lnTo>
                    <a:lnTo>
                      <a:pt x="1189" y="624"/>
                    </a:lnTo>
                    <a:lnTo>
                      <a:pt x="1187" y="624"/>
                    </a:lnTo>
                    <a:lnTo>
                      <a:pt x="1187" y="626"/>
                    </a:lnTo>
                    <a:lnTo>
                      <a:pt x="1189" y="626"/>
                    </a:lnTo>
                    <a:lnTo>
                      <a:pt x="1187" y="626"/>
                    </a:lnTo>
                    <a:lnTo>
                      <a:pt x="1187" y="627"/>
                    </a:lnTo>
                    <a:lnTo>
                      <a:pt x="1185" y="627"/>
                    </a:lnTo>
                    <a:lnTo>
                      <a:pt x="1184" y="629"/>
                    </a:lnTo>
                    <a:lnTo>
                      <a:pt x="1182" y="631"/>
                    </a:lnTo>
                    <a:lnTo>
                      <a:pt x="1182" y="632"/>
                    </a:lnTo>
                    <a:lnTo>
                      <a:pt x="1184" y="634"/>
                    </a:lnTo>
                    <a:lnTo>
                      <a:pt x="1185" y="634"/>
                    </a:lnTo>
                    <a:lnTo>
                      <a:pt x="1185" y="636"/>
                    </a:lnTo>
                    <a:lnTo>
                      <a:pt x="1185" y="638"/>
                    </a:lnTo>
                    <a:lnTo>
                      <a:pt x="1184" y="638"/>
                    </a:lnTo>
                    <a:lnTo>
                      <a:pt x="1185" y="638"/>
                    </a:lnTo>
                    <a:lnTo>
                      <a:pt x="1184" y="639"/>
                    </a:lnTo>
                    <a:lnTo>
                      <a:pt x="1184" y="641"/>
                    </a:lnTo>
                    <a:lnTo>
                      <a:pt x="1185" y="641"/>
                    </a:lnTo>
                    <a:lnTo>
                      <a:pt x="1185" y="643"/>
                    </a:lnTo>
                    <a:lnTo>
                      <a:pt x="1185" y="644"/>
                    </a:lnTo>
                    <a:lnTo>
                      <a:pt x="1184" y="644"/>
                    </a:lnTo>
                    <a:lnTo>
                      <a:pt x="1184" y="643"/>
                    </a:lnTo>
                    <a:lnTo>
                      <a:pt x="1184" y="644"/>
                    </a:lnTo>
                    <a:lnTo>
                      <a:pt x="1182" y="644"/>
                    </a:lnTo>
                    <a:lnTo>
                      <a:pt x="1182" y="646"/>
                    </a:lnTo>
                    <a:lnTo>
                      <a:pt x="1182" y="648"/>
                    </a:lnTo>
                    <a:lnTo>
                      <a:pt x="1182" y="650"/>
                    </a:lnTo>
                    <a:lnTo>
                      <a:pt x="1182" y="651"/>
                    </a:lnTo>
                    <a:lnTo>
                      <a:pt x="1180" y="651"/>
                    </a:lnTo>
                    <a:lnTo>
                      <a:pt x="1182" y="651"/>
                    </a:lnTo>
                    <a:lnTo>
                      <a:pt x="1182" y="653"/>
                    </a:lnTo>
                    <a:lnTo>
                      <a:pt x="1182" y="651"/>
                    </a:lnTo>
                    <a:lnTo>
                      <a:pt x="1184" y="651"/>
                    </a:lnTo>
                    <a:lnTo>
                      <a:pt x="1184" y="653"/>
                    </a:lnTo>
                    <a:lnTo>
                      <a:pt x="1184" y="655"/>
                    </a:lnTo>
                    <a:lnTo>
                      <a:pt x="1184" y="656"/>
                    </a:lnTo>
                    <a:lnTo>
                      <a:pt x="1184" y="658"/>
                    </a:lnTo>
                    <a:lnTo>
                      <a:pt x="1182" y="660"/>
                    </a:lnTo>
                    <a:lnTo>
                      <a:pt x="1182" y="661"/>
                    </a:lnTo>
                    <a:lnTo>
                      <a:pt x="1182" y="663"/>
                    </a:lnTo>
                    <a:lnTo>
                      <a:pt x="1182" y="665"/>
                    </a:lnTo>
                    <a:lnTo>
                      <a:pt x="1182" y="667"/>
                    </a:lnTo>
                    <a:lnTo>
                      <a:pt x="1182" y="668"/>
                    </a:lnTo>
                    <a:lnTo>
                      <a:pt x="1182" y="670"/>
                    </a:lnTo>
                    <a:lnTo>
                      <a:pt x="1180" y="670"/>
                    </a:lnTo>
                    <a:lnTo>
                      <a:pt x="1180" y="672"/>
                    </a:lnTo>
                    <a:lnTo>
                      <a:pt x="1180" y="673"/>
                    </a:lnTo>
                    <a:lnTo>
                      <a:pt x="1180" y="675"/>
                    </a:lnTo>
                    <a:lnTo>
                      <a:pt x="1180" y="677"/>
                    </a:lnTo>
                    <a:lnTo>
                      <a:pt x="1179" y="678"/>
                    </a:lnTo>
                    <a:lnTo>
                      <a:pt x="1179" y="680"/>
                    </a:lnTo>
                    <a:lnTo>
                      <a:pt x="1179" y="682"/>
                    </a:lnTo>
                    <a:lnTo>
                      <a:pt x="1180" y="682"/>
                    </a:lnTo>
                    <a:lnTo>
                      <a:pt x="1180" y="684"/>
                    </a:lnTo>
                    <a:lnTo>
                      <a:pt x="1180" y="682"/>
                    </a:lnTo>
                    <a:lnTo>
                      <a:pt x="1180" y="684"/>
                    </a:lnTo>
                    <a:lnTo>
                      <a:pt x="1180" y="685"/>
                    </a:lnTo>
                    <a:lnTo>
                      <a:pt x="1180" y="687"/>
                    </a:lnTo>
                    <a:lnTo>
                      <a:pt x="1180" y="689"/>
                    </a:lnTo>
                    <a:lnTo>
                      <a:pt x="1182" y="689"/>
                    </a:lnTo>
                    <a:lnTo>
                      <a:pt x="1182" y="690"/>
                    </a:lnTo>
                    <a:lnTo>
                      <a:pt x="1182" y="694"/>
                    </a:lnTo>
                    <a:lnTo>
                      <a:pt x="1182" y="695"/>
                    </a:lnTo>
                    <a:lnTo>
                      <a:pt x="1182" y="697"/>
                    </a:lnTo>
                    <a:lnTo>
                      <a:pt x="1182" y="699"/>
                    </a:lnTo>
                    <a:lnTo>
                      <a:pt x="1182" y="701"/>
                    </a:lnTo>
                    <a:lnTo>
                      <a:pt x="1182" y="702"/>
                    </a:lnTo>
                    <a:lnTo>
                      <a:pt x="1182" y="704"/>
                    </a:lnTo>
                    <a:lnTo>
                      <a:pt x="1184" y="706"/>
                    </a:lnTo>
                    <a:lnTo>
                      <a:pt x="1184" y="707"/>
                    </a:lnTo>
                    <a:lnTo>
                      <a:pt x="1184" y="709"/>
                    </a:lnTo>
                    <a:lnTo>
                      <a:pt x="1184" y="711"/>
                    </a:lnTo>
                    <a:lnTo>
                      <a:pt x="1184" y="712"/>
                    </a:lnTo>
                    <a:lnTo>
                      <a:pt x="1184" y="714"/>
                    </a:lnTo>
                    <a:lnTo>
                      <a:pt x="1184" y="716"/>
                    </a:lnTo>
                    <a:lnTo>
                      <a:pt x="1185" y="716"/>
                    </a:lnTo>
                    <a:lnTo>
                      <a:pt x="1185" y="718"/>
                    </a:lnTo>
                    <a:lnTo>
                      <a:pt x="1185" y="719"/>
                    </a:lnTo>
                    <a:lnTo>
                      <a:pt x="1187" y="719"/>
                    </a:lnTo>
                    <a:lnTo>
                      <a:pt x="1187" y="721"/>
                    </a:lnTo>
                    <a:lnTo>
                      <a:pt x="1185" y="721"/>
                    </a:lnTo>
                    <a:lnTo>
                      <a:pt x="1185" y="723"/>
                    </a:lnTo>
                    <a:lnTo>
                      <a:pt x="1185" y="724"/>
                    </a:lnTo>
                    <a:lnTo>
                      <a:pt x="1184" y="726"/>
                    </a:lnTo>
                    <a:lnTo>
                      <a:pt x="1184" y="728"/>
                    </a:lnTo>
                    <a:lnTo>
                      <a:pt x="1184" y="729"/>
                    </a:lnTo>
                    <a:lnTo>
                      <a:pt x="1184" y="731"/>
                    </a:lnTo>
                    <a:lnTo>
                      <a:pt x="1182" y="731"/>
                    </a:lnTo>
                    <a:lnTo>
                      <a:pt x="1182" y="733"/>
                    </a:lnTo>
                    <a:lnTo>
                      <a:pt x="1182" y="735"/>
                    </a:lnTo>
                    <a:lnTo>
                      <a:pt x="1180" y="735"/>
                    </a:lnTo>
                    <a:lnTo>
                      <a:pt x="1180" y="736"/>
                    </a:lnTo>
                    <a:lnTo>
                      <a:pt x="1182" y="736"/>
                    </a:lnTo>
                    <a:lnTo>
                      <a:pt x="1180" y="738"/>
                    </a:lnTo>
                    <a:lnTo>
                      <a:pt x="1182" y="738"/>
                    </a:lnTo>
                    <a:lnTo>
                      <a:pt x="1180" y="740"/>
                    </a:lnTo>
                    <a:lnTo>
                      <a:pt x="1180" y="741"/>
                    </a:lnTo>
                    <a:lnTo>
                      <a:pt x="1179" y="741"/>
                    </a:lnTo>
                    <a:lnTo>
                      <a:pt x="1180" y="741"/>
                    </a:lnTo>
                    <a:lnTo>
                      <a:pt x="1179" y="743"/>
                    </a:lnTo>
                    <a:lnTo>
                      <a:pt x="1179" y="745"/>
                    </a:lnTo>
                    <a:lnTo>
                      <a:pt x="1179" y="746"/>
                    </a:lnTo>
                    <a:lnTo>
                      <a:pt x="1179" y="748"/>
                    </a:lnTo>
                    <a:lnTo>
                      <a:pt x="1179" y="750"/>
                    </a:lnTo>
                    <a:lnTo>
                      <a:pt x="1177" y="750"/>
                    </a:lnTo>
                    <a:lnTo>
                      <a:pt x="1177" y="752"/>
                    </a:lnTo>
                    <a:lnTo>
                      <a:pt x="1177" y="753"/>
                    </a:lnTo>
                    <a:lnTo>
                      <a:pt x="1177" y="755"/>
                    </a:lnTo>
                    <a:lnTo>
                      <a:pt x="1177" y="757"/>
                    </a:lnTo>
                    <a:lnTo>
                      <a:pt x="1179" y="757"/>
                    </a:lnTo>
                    <a:lnTo>
                      <a:pt x="1177" y="757"/>
                    </a:lnTo>
                    <a:lnTo>
                      <a:pt x="1177" y="758"/>
                    </a:lnTo>
                    <a:lnTo>
                      <a:pt x="1177" y="760"/>
                    </a:lnTo>
                    <a:lnTo>
                      <a:pt x="1175" y="760"/>
                    </a:lnTo>
                    <a:lnTo>
                      <a:pt x="1175" y="762"/>
                    </a:lnTo>
                    <a:lnTo>
                      <a:pt x="1175" y="763"/>
                    </a:lnTo>
                    <a:lnTo>
                      <a:pt x="1175" y="765"/>
                    </a:lnTo>
                    <a:lnTo>
                      <a:pt x="1175" y="767"/>
                    </a:lnTo>
                    <a:lnTo>
                      <a:pt x="1173" y="769"/>
                    </a:lnTo>
                    <a:lnTo>
                      <a:pt x="1175" y="769"/>
                    </a:lnTo>
                    <a:lnTo>
                      <a:pt x="1173" y="770"/>
                    </a:lnTo>
                    <a:lnTo>
                      <a:pt x="1173" y="772"/>
                    </a:lnTo>
                    <a:lnTo>
                      <a:pt x="1175" y="774"/>
                    </a:lnTo>
                    <a:lnTo>
                      <a:pt x="1175" y="775"/>
                    </a:lnTo>
                    <a:lnTo>
                      <a:pt x="1175" y="777"/>
                    </a:lnTo>
                    <a:lnTo>
                      <a:pt x="1175" y="779"/>
                    </a:lnTo>
                    <a:lnTo>
                      <a:pt x="1175" y="780"/>
                    </a:lnTo>
                    <a:lnTo>
                      <a:pt x="1175" y="782"/>
                    </a:lnTo>
                    <a:lnTo>
                      <a:pt x="1175" y="784"/>
                    </a:lnTo>
                    <a:lnTo>
                      <a:pt x="1177" y="784"/>
                    </a:lnTo>
                    <a:lnTo>
                      <a:pt x="1177" y="786"/>
                    </a:lnTo>
                    <a:lnTo>
                      <a:pt x="1175" y="786"/>
                    </a:lnTo>
                    <a:lnTo>
                      <a:pt x="1175" y="787"/>
                    </a:lnTo>
                    <a:lnTo>
                      <a:pt x="1173" y="789"/>
                    </a:lnTo>
                    <a:lnTo>
                      <a:pt x="1173" y="791"/>
                    </a:lnTo>
                    <a:lnTo>
                      <a:pt x="1172" y="791"/>
                    </a:lnTo>
                    <a:lnTo>
                      <a:pt x="1172" y="792"/>
                    </a:lnTo>
                    <a:lnTo>
                      <a:pt x="1170" y="792"/>
                    </a:lnTo>
                    <a:lnTo>
                      <a:pt x="1168" y="792"/>
                    </a:lnTo>
                    <a:lnTo>
                      <a:pt x="1168" y="794"/>
                    </a:lnTo>
                    <a:lnTo>
                      <a:pt x="1167" y="794"/>
                    </a:lnTo>
                    <a:lnTo>
                      <a:pt x="1165" y="796"/>
                    </a:lnTo>
                    <a:lnTo>
                      <a:pt x="1163" y="797"/>
                    </a:lnTo>
                    <a:lnTo>
                      <a:pt x="1163" y="799"/>
                    </a:lnTo>
                    <a:lnTo>
                      <a:pt x="1162" y="801"/>
                    </a:lnTo>
                    <a:lnTo>
                      <a:pt x="1162" y="803"/>
                    </a:lnTo>
                    <a:lnTo>
                      <a:pt x="1160" y="804"/>
                    </a:lnTo>
                    <a:lnTo>
                      <a:pt x="1160" y="806"/>
                    </a:lnTo>
                    <a:lnTo>
                      <a:pt x="1160" y="808"/>
                    </a:lnTo>
                    <a:lnTo>
                      <a:pt x="1158" y="808"/>
                    </a:lnTo>
                    <a:lnTo>
                      <a:pt x="1158" y="809"/>
                    </a:lnTo>
                    <a:lnTo>
                      <a:pt x="1158" y="811"/>
                    </a:lnTo>
                    <a:lnTo>
                      <a:pt x="1158" y="813"/>
                    </a:lnTo>
                    <a:lnTo>
                      <a:pt x="1156" y="813"/>
                    </a:lnTo>
                    <a:lnTo>
                      <a:pt x="1156" y="815"/>
                    </a:lnTo>
                    <a:lnTo>
                      <a:pt x="1156" y="816"/>
                    </a:lnTo>
                    <a:lnTo>
                      <a:pt x="1156" y="818"/>
                    </a:lnTo>
                    <a:lnTo>
                      <a:pt x="1156" y="820"/>
                    </a:lnTo>
                    <a:lnTo>
                      <a:pt x="1156" y="821"/>
                    </a:lnTo>
                    <a:lnTo>
                      <a:pt x="1156" y="823"/>
                    </a:lnTo>
                    <a:lnTo>
                      <a:pt x="1156" y="825"/>
                    </a:lnTo>
                    <a:lnTo>
                      <a:pt x="1156" y="826"/>
                    </a:lnTo>
                    <a:lnTo>
                      <a:pt x="1156" y="828"/>
                    </a:lnTo>
                    <a:lnTo>
                      <a:pt x="1156" y="830"/>
                    </a:lnTo>
                    <a:lnTo>
                      <a:pt x="1156" y="832"/>
                    </a:lnTo>
                    <a:lnTo>
                      <a:pt x="1156" y="833"/>
                    </a:lnTo>
                    <a:lnTo>
                      <a:pt x="1156" y="835"/>
                    </a:lnTo>
                    <a:lnTo>
                      <a:pt x="1158" y="837"/>
                    </a:lnTo>
                    <a:lnTo>
                      <a:pt x="1158" y="838"/>
                    </a:lnTo>
                    <a:lnTo>
                      <a:pt x="1158" y="840"/>
                    </a:lnTo>
                    <a:lnTo>
                      <a:pt x="1158" y="842"/>
                    </a:lnTo>
                    <a:lnTo>
                      <a:pt x="1158" y="843"/>
                    </a:lnTo>
                    <a:lnTo>
                      <a:pt x="1158" y="845"/>
                    </a:lnTo>
                    <a:lnTo>
                      <a:pt x="1158" y="847"/>
                    </a:lnTo>
                    <a:lnTo>
                      <a:pt x="1156" y="849"/>
                    </a:lnTo>
                    <a:lnTo>
                      <a:pt x="1156" y="850"/>
                    </a:lnTo>
                    <a:lnTo>
                      <a:pt x="1156" y="852"/>
                    </a:lnTo>
                    <a:lnTo>
                      <a:pt x="1155" y="852"/>
                    </a:lnTo>
                    <a:lnTo>
                      <a:pt x="1155" y="854"/>
                    </a:lnTo>
                    <a:lnTo>
                      <a:pt x="1155" y="855"/>
                    </a:lnTo>
                    <a:lnTo>
                      <a:pt x="1153" y="855"/>
                    </a:lnTo>
                    <a:lnTo>
                      <a:pt x="1151" y="855"/>
                    </a:lnTo>
                    <a:lnTo>
                      <a:pt x="1150" y="857"/>
                    </a:lnTo>
                    <a:lnTo>
                      <a:pt x="1148" y="857"/>
                    </a:lnTo>
                    <a:lnTo>
                      <a:pt x="1148" y="859"/>
                    </a:lnTo>
                    <a:lnTo>
                      <a:pt x="1146" y="859"/>
                    </a:lnTo>
                    <a:lnTo>
                      <a:pt x="1146" y="860"/>
                    </a:lnTo>
                    <a:lnTo>
                      <a:pt x="1146" y="862"/>
                    </a:lnTo>
                    <a:lnTo>
                      <a:pt x="1145" y="862"/>
                    </a:lnTo>
                    <a:lnTo>
                      <a:pt x="1145" y="864"/>
                    </a:lnTo>
                    <a:lnTo>
                      <a:pt x="1145" y="866"/>
                    </a:lnTo>
                    <a:lnTo>
                      <a:pt x="1143" y="866"/>
                    </a:lnTo>
                    <a:lnTo>
                      <a:pt x="1143" y="867"/>
                    </a:lnTo>
                    <a:lnTo>
                      <a:pt x="1143" y="869"/>
                    </a:lnTo>
                    <a:lnTo>
                      <a:pt x="1141" y="869"/>
                    </a:lnTo>
                    <a:lnTo>
                      <a:pt x="1141" y="871"/>
                    </a:lnTo>
                    <a:lnTo>
                      <a:pt x="1141" y="872"/>
                    </a:lnTo>
                    <a:lnTo>
                      <a:pt x="1141" y="874"/>
                    </a:lnTo>
                    <a:lnTo>
                      <a:pt x="1141" y="876"/>
                    </a:lnTo>
                    <a:lnTo>
                      <a:pt x="1141" y="877"/>
                    </a:lnTo>
                    <a:lnTo>
                      <a:pt x="1139" y="877"/>
                    </a:lnTo>
                    <a:lnTo>
                      <a:pt x="1138" y="877"/>
                    </a:lnTo>
                    <a:lnTo>
                      <a:pt x="1138" y="879"/>
                    </a:lnTo>
                    <a:lnTo>
                      <a:pt x="1136" y="879"/>
                    </a:lnTo>
                    <a:lnTo>
                      <a:pt x="1138" y="879"/>
                    </a:lnTo>
                    <a:lnTo>
                      <a:pt x="1139" y="879"/>
                    </a:lnTo>
                    <a:lnTo>
                      <a:pt x="1138" y="879"/>
                    </a:lnTo>
                    <a:lnTo>
                      <a:pt x="1138" y="881"/>
                    </a:lnTo>
                    <a:lnTo>
                      <a:pt x="1138" y="883"/>
                    </a:lnTo>
                    <a:lnTo>
                      <a:pt x="1136" y="884"/>
                    </a:lnTo>
                    <a:lnTo>
                      <a:pt x="1136" y="886"/>
                    </a:lnTo>
                    <a:lnTo>
                      <a:pt x="1134" y="886"/>
                    </a:lnTo>
                    <a:lnTo>
                      <a:pt x="1134" y="888"/>
                    </a:lnTo>
                    <a:lnTo>
                      <a:pt x="1134" y="889"/>
                    </a:lnTo>
                    <a:lnTo>
                      <a:pt x="1133" y="889"/>
                    </a:lnTo>
                    <a:lnTo>
                      <a:pt x="1133" y="891"/>
                    </a:lnTo>
                    <a:lnTo>
                      <a:pt x="1133" y="889"/>
                    </a:lnTo>
                    <a:lnTo>
                      <a:pt x="1133" y="891"/>
                    </a:lnTo>
                    <a:lnTo>
                      <a:pt x="1131" y="891"/>
                    </a:lnTo>
                    <a:lnTo>
                      <a:pt x="1131" y="893"/>
                    </a:lnTo>
                    <a:lnTo>
                      <a:pt x="1129" y="893"/>
                    </a:lnTo>
                    <a:lnTo>
                      <a:pt x="1131" y="894"/>
                    </a:lnTo>
                    <a:lnTo>
                      <a:pt x="1129" y="894"/>
                    </a:lnTo>
                    <a:lnTo>
                      <a:pt x="1128" y="894"/>
                    </a:lnTo>
                    <a:lnTo>
                      <a:pt x="1129" y="896"/>
                    </a:lnTo>
                    <a:lnTo>
                      <a:pt x="1128" y="896"/>
                    </a:lnTo>
                    <a:lnTo>
                      <a:pt x="1128" y="898"/>
                    </a:lnTo>
                    <a:lnTo>
                      <a:pt x="1126" y="898"/>
                    </a:lnTo>
                    <a:lnTo>
                      <a:pt x="1126" y="896"/>
                    </a:lnTo>
                    <a:lnTo>
                      <a:pt x="1124" y="898"/>
                    </a:lnTo>
                    <a:lnTo>
                      <a:pt x="1122" y="898"/>
                    </a:lnTo>
                    <a:lnTo>
                      <a:pt x="1122" y="900"/>
                    </a:lnTo>
                    <a:lnTo>
                      <a:pt x="1121" y="900"/>
                    </a:lnTo>
                    <a:lnTo>
                      <a:pt x="1121" y="901"/>
                    </a:lnTo>
                    <a:lnTo>
                      <a:pt x="1121" y="903"/>
                    </a:lnTo>
                    <a:lnTo>
                      <a:pt x="1121" y="905"/>
                    </a:lnTo>
                    <a:lnTo>
                      <a:pt x="1119" y="905"/>
                    </a:lnTo>
                    <a:lnTo>
                      <a:pt x="1119" y="906"/>
                    </a:lnTo>
                    <a:lnTo>
                      <a:pt x="1119" y="908"/>
                    </a:lnTo>
                    <a:lnTo>
                      <a:pt x="1117" y="908"/>
                    </a:lnTo>
                    <a:lnTo>
                      <a:pt x="1117" y="910"/>
                    </a:lnTo>
                    <a:lnTo>
                      <a:pt x="1116" y="910"/>
                    </a:lnTo>
                    <a:lnTo>
                      <a:pt x="1116" y="911"/>
                    </a:lnTo>
                    <a:lnTo>
                      <a:pt x="1116" y="913"/>
                    </a:lnTo>
                    <a:lnTo>
                      <a:pt x="1116" y="915"/>
                    </a:lnTo>
                    <a:lnTo>
                      <a:pt x="1116" y="917"/>
                    </a:lnTo>
                    <a:lnTo>
                      <a:pt x="1114" y="918"/>
                    </a:lnTo>
                    <a:lnTo>
                      <a:pt x="1114" y="920"/>
                    </a:lnTo>
                    <a:lnTo>
                      <a:pt x="1112" y="920"/>
                    </a:lnTo>
                    <a:lnTo>
                      <a:pt x="1112" y="922"/>
                    </a:lnTo>
                    <a:lnTo>
                      <a:pt x="1112" y="923"/>
                    </a:lnTo>
                    <a:lnTo>
                      <a:pt x="1112" y="925"/>
                    </a:lnTo>
                    <a:lnTo>
                      <a:pt x="1114" y="925"/>
                    </a:lnTo>
                    <a:lnTo>
                      <a:pt x="1114" y="927"/>
                    </a:lnTo>
                    <a:lnTo>
                      <a:pt x="1114" y="928"/>
                    </a:lnTo>
                    <a:lnTo>
                      <a:pt x="1114" y="930"/>
                    </a:lnTo>
                    <a:lnTo>
                      <a:pt x="1114" y="932"/>
                    </a:lnTo>
                    <a:lnTo>
                      <a:pt x="1114" y="934"/>
                    </a:lnTo>
                    <a:lnTo>
                      <a:pt x="1114" y="935"/>
                    </a:lnTo>
                    <a:lnTo>
                      <a:pt x="1114" y="937"/>
                    </a:lnTo>
                    <a:lnTo>
                      <a:pt x="1116" y="937"/>
                    </a:lnTo>
                    <a:lnTo>
                      <a:pt x="1116" y="939"/>
                    </a:lnTo>
                    <a:lnTo>
                      <a:pt x="1114" y="939"/>
                    </a:lnTo>
                    <a:lnTo>
                      <a:pt x="1114" y="940"/>
                    </a:lnTo>
                    <a:lnTo>
                      <a:pt x="1112" y="940"/>
                    </a:lnTo>
                    <a:lnTo>
                      <a:pt x="1112" y="942"/>
                    </a:lnTo>
                    <a:lnTo>
                      <a:pt x="1111" y="942"/>
                    </a:lnTo>
                    <a:lnTo>
                      <a:pt x="1109" y="944"/>
                    </a:lnTo>
                    <a:lnTo>
                      <a:pt x="1107" y="944"/>
                    </a:lnTo>
                    <a:lnTo>
                      <a:pt x="1107" y="945"/>
                    </a:lnTo>
                    <a:lnTo>
                      <a:pt x="1105" y="945"/>
                    </a:lnTo>
                    <a:lnTo>
                      <a:pt x="1104" y="945"/>
                    </a:lnTo>
                    <a:lnTo>
                      <a:pt x="1102" y="945"/>
                    </a:lnTo>
                    <a:lnTo>
                      <a:pt x="1100" y="947"/>
                    </a:lnTo>
                    <a:lnTo>
                      <a:pt x="1099" y="947"/>
                    </a:lnTo>
                    <a:lnTo>
                      <a:pt x="1097" y="947"/>
                    </a:lnTo>
                    <a:lnTo>
                      <a:pt x="1095" y="949"/>
                    </a:lnTo>
                    <a:lnTo>
                      <a:pt x="1095" y="947"/>
                    </a:lnTo>
                    <a:lnTo>
                      <a:pt x="1095" y="949"/>
                    </a:lnTo>
                    <a:lnTo>
                      <a:pt x="1094" y="949"/>
                    </a:lnTo>
                    <a:lnTo>
                      <a:pt x="1092" y="951"/>
                    </a:lnTo>
                    <a:lnTo>
                      <a:pt x="1090" y="951"/>
                    </a:lnTo>
                    <a:lnTo>
                      <a:pt x="1090" y="952"/>
                    </a:lnTo>
                    <a:lnTo>
                      <a:pt x="1088" y="952"/>
                    </a:lnTo>
                    <a:lnTo>
                      <a:pt x="1088" y="954"/>
                    </a:lnTo>
                    <a:lnTo>
                      <a:pt x="1087" y="954"/>
                    </a:lnTo>
                    <a:lnTo>
                      <a:pt x="1087" y="956"/>
                    </a:lnTo>
                    <a:lnTo>
                      <a:pt x="1085" y="956"/>
                    </a:lnTo>
                    <a:lnTo>
                      <a:pt x="1085" y="957"/>
                    </a:lnTo>
                    <a:lnTo>
                      <a:pt x="1083" y="957"/>
                    </a:lnTo>
                    <a:lnTo>
                      <a:pt x="1083" y="959"/>
                    </a:lnTo>
                    <a:lnTo>
                      <a:pt x="1082" y="959"/>
                    </a:lnTo>
                    <a:lnTo>
                      <a:pt x="1082" y="961"/>
                    </a:lnTo>
                    <a:lnTo>
                      <a:pt x="1080" y="961"/>
                    </a:lnTo>
                    <a:lnTo>
                      <a:pt x="1080" y="963"/>
                    </a:lnTo>
                    <a:lnTo>
                      <a:pt x="1080" y="964"/>
                    </a:lnTo>
                    <a:lnTo>
                      <a:pt x="1080" y="966"/>
                    </a:lnTo>
                    <a:lnTo>
                      <a:pt x="1082" y="966"/>
                    </a:lnTo>
                    <a:lnTo>
                      <a:pt x="1082" y="968"/>
                    </a:lnTo>
                    <a:lnTo>
                      <a:pt x="1083" y="968"/>
                    </a:lnTo>
                    <a:lnTo>
                      <a:pt x="1085" y="966"/>
                    </a:lnTo>
                    <a:lnTo>
                      <a:pt x="1085" y="968"/>
                    </a:lnTo>
                    <a:lnTo>
                      <a:pt x="1083" y="968"/>
                    </a:lnTo>
                    <a:lnTo>
                      <a:pt x="1085" y="968"/>
                    </a:lnTo>
                    <a:lnTo>
                      <a:pt x="1083" y="968"/>
                    </a:lnTo>
                    <a:lnTo>
                      <a:pt x="1083" y="969"/>
                    </a:lnTo>
                    <a:lnTo>
                      <a:pt x="1082" y="969"/>
                    </a:lnTo>
                    <a:lnTo>
                      <a:pt x="1082" y="971"/>
                    </a:lnTo>
                    <a:lnTo>
                      <a:pt x="1080" y="971"/>
                    </a:lnTo>
                    <a:lnTo>
                      <a:pt x="1082" y="971"/>
                    </a:lnTo>
                    <a:lnTo>
                      <a:pt x="1080" y="973"/>
                    </a:lnTo>
                    <a:lnTo>
                      <a:pt x="1078" y="973"/>
                    </a:lnTo>
                    <a:lnTo>
                      <a:pt x="1080" y="974"/>
                    </a:lnTo>
                    <a:lnTo>
                      <a:pt x="1080" y="976"/>
                    </a:lnTo>
                    <a:lnTo>
                      <a:pt x="1078" y="974"/>
                    </a:lnTo>
                    <a:lnTo>
                      <a:pt x="1077" y="974"/>
                    </a:lnTo>
                    <a:lnTo>
                      <a:pt x="1075" y="974"/>
                    </a:lnTo>
                    <a:lnTo>
                      <a:pt x="1073" y="974"/>
                    </a:lnTo>
                    <a:lnTo>
                      <a:pt x="1071" y="974"/>
                    </a:lnTo>
                    <a:lnTo>
                      <a:pt x="1070" y="974"/>
                    </a:lnTo>
                    <a:lnTo>
                      <a:pt x="1068" y="974"/>
                    </a:lnTo>
                    <a:lnTo>
                      <a:pt x="1066" y="974"/>
                    </a:lnTo>
                    <a:lnTo>
                      <a:pt x="1065" y="974"/>
                    </a:lnTo>
                    <a:lnTo>
                      <a:pt x="1063" y="974"/>
                    </a:lnTo>
                    <a:lnTo>
                      <a:pt x="1061" y="974"/>
                    </a:lnTo>
                    <a:lnTo>
                      <a:pt x="1060" y="974"/>
                    </a:lnTo>
                    <a:lnTo>
                      <a:pt x="1058" y="974"/>
                    </a:lnTo>
                    <a:lnTo>
                      <a:pt x="1056" y="974"/>
                    </a:lnTo>
                    <a:lnTo>
                      <a:pt x="1054" y="974"/>
                    </a:lnTo>
                    <a:lnTo>
                      <a:pt x="1053" y="974"/>
                    </a:lnTo>
                    <a:lnTo>
                      <a:pt x="1051" y="974"/>
                    </a:lnTo>
                    <a:lnTo>
                      <a:pt x="1049" y="974"/>
                    </a:lnTo>
                    <a:lnTo>
                      <a:pt x="1049" y="976"/>
                    </a:lnTo>
                    <a:lnTo>
                      <a:pt x="1048" y="976"/>
                    </a:lnTo>
                    <a:lnTo>
                      <a:pt x="1046" y="974"/>
                    </a:lnTo>
                    <a:lnTo>
                      <a:pt x="1046" y="976"/>
                    </a:lnTo>
                    <a:lnTo>
                      <a:pt x="1044" y="976"/>
                    </a:lnTo>
                    <a:lnTo>
                      <a:pt x="1044" y="974"/>
                    </a:lnTo>
                    <a:lnTo>
                      <a:pt x="1043" y="974"/>
                    </a:lnTo>
                    <a:lnTo>
                      <a:pt x="1043" y="973"/>
                    </a:lnTo>
                    <a:lnTo>
                      <a:pt x="1043" y="974"/>
                    </a:lnTo>
                    <a:lnTo>
                      <a:pt x="1043" y="973"/>
                    </a:lnTo>
                    <a:lnTo>
                      <a:pt x="1043" y="971"/>
                    </a:lnTo>
                    <a:lnTo>
                      <a:pt x="1043" y="969"/>
                    </a:lnTo>
                    <a:lnTo>
                      <a:pt x="1044" y="969"/>
                    </a:lnTo>
                    <a:lnTo>
                      <a:pt x="1044" y="968"/>
                    </a:lnTo>
                    <a:lnTo>
                      <a:pt x="1046" y="968"/>
                    </a:lnTo>
                    <a:lnTo>
                      <a:pt x="1046" y="966"/>
                    </a:lnTo>
                    <a:lnTo>
                      <a:pt x="1044" y="964"/>
                    </a:lnTo>
                    <a:lnTo>
                      <a:pt x="1043" y="964"/>
                    </a:lnTo>
                    <a:lnTo>
                      <a:pt x="1043" y="966"/>
                    </a:lnTo>
                    <a:lnTo>
                      <a:pt x="1041" y="966"/>
                    </a:lnTo>
                    <a:lnTo>
                      <a:pt x="1039" y="966"/>
                    </a:lnTo>
                    <a:lnTo>
                      <a:pt x="1039" y="968"/>
                    </a:lnTo>
                    <a:lnTo>
                      <a:pt x="1039" y="966"/>
                    </a:lnTo>
                    <a:lnTo>
                      <a:pt x="1037" y="968"/>
                    </a:lnTo>
                    <a:lnTo>
                      <a:pt x="1037" y="969"/>
                    </a:lnTo>
                    <a:lnTo>
                      <a:pt x="1037" y="971"/>
                    </a:lnTo>
                    <a:lnTo>
                      <a:pt x="1039" y="971"/>
                    </a:lnTo>
                    <a:lnTo>
                      <a:pt x="1039" y="973"/>
                    </a:lnTo>
                    <a:lnTo>
                      <a:pt x="1041" y="973"/>
                    </a:lnTo>
                    <a:lnTo>
                      <a:pt x="1041" y="974"/>
                    </a:lnTo>
                    <a:lnTo>
                      <a:pt x="1041" y="976"/>
                    </a:lnTo>
                    <a:lnTo>
                      <a:pt x="1039" y="976"/>
                    </a:lnTo>
                    <a:lnTo>
                      <a:pt x="1037" y="976"/>
                    </a:lnTo>
                    <a:lnTo>
                      <a:pt x="1036" y="978"/>
                    </a:lnTo>
                    <a:lnTo>
                      <a:pt x="1036" y="976"/>
                    </a:lnTo>
                    <a:lnTo>
                      <a:pt x="1034" y="976"/>
                    </a:lnTo>
                    <a:lnTo>
                      <a:pt x="1032" y="976"/>
                    </a:lnTo>
                    <a:lnTo>
                      <a:pt x="1032" y="978"/>
                    </a:lnTo>
                    <a:lnTo>
                      <a:pt x="1031" y="978"/>
                    </a:lnTo>
                    <a:lnTo>
                      <a:pt x="1029" y="978"/>
                    </a:lnTo>
                    <a:lnTo>
                      <a:pt x="1027" y="978"/>
                    </a:lnTo>
                    <a:lnTo>
                      <a:pt x="1027" y="980"/>
                    </a:lnTo>
                    <a:lnTo>
                      <a:pt x="1027" y="978"/>
                    </a:lnTo>
                    <a:lnTo>
                      <a:pt x="1026" y="978"/>
                    </a:lnTo>
                    <a:lnTo>
                      <a:pt x="1024" y="978"/>
                    </a:lnTo>
                    <a:lnTo>
                      <a:pt x="1022" y="978"/>
                    </a:lnTo>
                    <a:lnTo>
                      <a:pt x="1020" y="978"/>
                    </a:lnTo>
                    <a:lnTo>
                      <a:pt x="1020" y="980"/>
                    </a:lnTo>
                    <a:lnTo>
                      <a:pt x="1019" y="980"/>
                    </a:lnTo>
                    <a:lnTo>
                      <a:pt x="1017" y="980"/>
                    </a:lnTo>
                    <a:lnTo>
                      <a:pt x="1015" y="980"/>
                    </a:lnTo>
                    <a:lnTo>
                      <a:pt x="1014" y="980"/>
                    </a:lnTo>
                    <a:lnTo>
                      <a:pt x="1012" y="980"/>
                    </a:lnTo>
                    <a:lnTo>
                      <a:pt x="1014" y="978"/>
                    </a:lnTo>
                    <a:lnTo>
                      <a:pt x="1015" y="978"/>
                    </a:lnTo>
                    <a:lnTo>
                      <a:pt x="1015" y="980"/>
                    </a:lnTo>
                    <a:lnTo>
                      <a:pt x="1017" y="980"/>
                    </a:lnTo>
                    <a:lnTo>
                      <a:pt x="1017" y="978"/>
                    </a:lnTo>
                    <a:lnTo>
                      <a:pt x="1015" y="978"/>
                    </a:lnTo>
                    <a:lnTo>
                      <a:pt x="1017" y="978"/>
                    </a:lnTo>
                    <a:lnTo>
                      <a:pt x="1019" y="978"/>
                    </a:lnTo>
                    <a:lnTo>
                      <a:pt x="1020" y="978"/>
                    </a:lnTo>
                    <a:lnTo>
                      <a:pt x="1022" y="978"/>
                    </a:lnTo>
                    <a:lnTo>
                      <a:pt x="1024" y="978"/>
                    </a:lnTo>
                    <a:lnTo>
                      <a:pt x="1026" y="978"/>
                    </a:lnTo>
                    <a:lnTo>
                      <a:pt x="1026" y="976"/>
                    </a:lnTo>
                    <a:lnTo>
                      <a:pt x="1024" y="976"/>
                    </a:lnTo>
                    <a:lnTo>
                      <a:pt x="1022" y="976"/>
                    </a:lnTo>
                    <a:lnTo>
                      <a:pt x="1022" y="974"/>
                    </a:lnTo>
                    <a:lnTo>
                      <a:pt x="1020" y="974"/>
                    </a:lnTo>
                    <a:lnTo>
                      <a:pt x="1020" y="973"/>
                    </a:lnTo>
                    <a:lnTo>
                      <a:pt x="1020" y="974"/>
                    </a:lnTo>
                    <a:lnTo>
                      <a:pt x="1020" y="973"/>
                    </a:lnTo>
                    <a:lnTo>
                      <a:pt x="1019" y="973"/>
                    </a:lnTo>
                    <a:lnTo>
                      <a:pt x="1019" y="974"/>
                    </a:lnTo>
                    <a:lnTo>
                      <a:pt x="1017" y="973"/>
                    </a:lnTo>
                    <a:lnTo>
                      <a:pt x="1019" y="973"/>
                    </a:lnTo>
                    <a:lnTo>
                      <a:pt x="1017" y="973"/>
                    </a:lnTo>
                    <a:lnTo>
                      <a:pt x="1015" y="974"/>
                    </a:lnTo>
                    <a:lnTo>
                      <a:pt x="1014" y="974"/>
                    </a:lnTo>
                    <a:lnTo>
                      <a:pt x="1012" y="974"/>
                    </a:lnTo>
                    <a:lnTo>
                      <a:pt x="1012" y="976"/>
                    </a:lnTo>
                    <a:lnTo>
                      <a:pt x="1010" y="976"/>
                    </a:lnTo>
                    <a:lnTo>
                      <a:pt x="1012" y="974"/>
                    </a:lnTo>
                    <a:lnTo>
                      <a:pt x="1010" y="974"/>
                    </a:lnTo>
                    <a:lnTo>
                      <a:pt x="1010" y="976"/>
                    </a:lnTo>
                    <a:lnTo>
                      <a:pt x="1009" y="978"/>
                    </a:lnTo>
                    <a:lnTo>
                      <a:pt x="1007" y="978"/>
                    </a:lnTo>
                    <a:lnTo>
                      <a:pt x="1005" y="978"/>
                    </a:lnTo>
                    <a:lnTo>
                      <a:pt x="1005" y="976"/>
                    </a:lnTo>
                    <a:lnTo>
                      <a:pt x="1003" y="976"/>
                    </a:lnTo>
                    <a:lnTo>
                      <a:pt x="1003" y="978"/>
                    </a:lnTo>
                    <a:lnTo>
                      <a:pt x="1002" y="976"/>
                    </a:lnTo>
                    <a:lnTo>
                      <a:pt x="1002" y="978"/>
                    </a:lnTo>
                    <a:lnTo>
                      <a:pt x="1000" y="978"/>
                    </a:lnTo>
                    <a:lnTo>
                      <a:pt x="1000" y="976"/>
                    </a:lnTo>
                    <a:lnTo>
                      <a:pt x="1002" y="976"/>
                    </a:lnTo>
                    <a:lnTo>
                      <a:pt x="1002" y="974"/>
                    </a:lnTo>
                    <a:lnTo>
                      <a:pt x="1003" y="974"/>
                    </a:lnTo>
                    <a:lnTo>
                      <a:pt x="1002" y="974"/>
                    </a:lnTo>
                    <a:lnTo>
                      <a:pt x="1000" y="974"/>
                    </a:lnTo>
                    <a:lnTo>
                      <a:pt x="1002" y="974"/>
                    </a:lnTo>
                    <a:lnTo>
                      <a:pt x="1000" y="974"/>
                    </a:lnTo>
                    <a:lnTo>
                      <a:pt x="1000" y="976"/>
                    </a:lnTo>
                    <a:lnTo>
                      <a:pt x="1000" y="974"/>
                    </a:lnTo>
                    <a:lnTo>
                      <a:pt x="998" y="974"/>
                    </a:lnTo>
                    <a:lnTo>
                      <a:pt x="998" y="976"/>
                    </a:lnTo>
                    <a:lnTo>
                      <a:pt x="998" y="978"/>
                    </a:lnTo>
                    <a:lnTo>
                      <a:pt x="997" y="976"/>
                    </a:lnTo>
                    <a:lnTo>
                      <a:pt x="997" y="978"/>
                    </a:lnTo>
                    <a:lnTo>
                      <a:pt x="995" y="978"/>
                    </a:lnTo>
                    <a:lnTo>
                      <a:pt x="993" y="978"/>
                    </a:lnTo>
                    <a:lnTo>
                      <a:pt x="993" y="980"/>
                    </a:lnTo>
                    <a:lnTo>
                      <a:pt x="993" y="978"/>
                    </a:lnTo>
                    <a:lnTo>
                      <a:pt x="992" y="978"/>
                    </a:lnTo>
                    <a:lnTo>
                      <a:pt x="990" y="978"/>
                    </a:lnTo>
                    <a:lnTo>
                      <a:pt x="990" y="980"/>
                    </a:lnTo>
                    <a:lnTo>
                      <a:pt x="990" y="981"/>
                    </a:lnTo>
                    <a:lnTo>
                      <a:pt x="988" y="983"/>
                    </a:lnTo>
                    <a:lnTo>
                      <a:pt x="990" y="983"/>
                    </a:lnTo>
                    <a:lnTo>
                      <a:pt x="988" y="983"/>
                    </a:lnTo>
                    <a:lnTo>
                      <a:pt x="988" y="985"/>
                    </a:lnTo>
                    <a:lnTo>
                      <a:pt x="990" y="985"/>
                    </a:lnTo>
                    <a:lnTo>
                      <a:pt x="992" y="983"/>
                    </a:lnTo>
                    <a:lnTo>
                      <a:pt x="992" y="985"/>
                    </a:lnTo>
                    <a:lnTo>
                      <a:pt x="990" y="985"/>
                    </a:lnTo>
                    <a:lnTo>
                      <a:pt x="990" y="986"/>
                    </a:lnTo>
                    <a:lnTo>
                      <a:pt x="990" y="985"/>
                    </a:lnTo>
                    <a:lnTo>
                      <a:pt x="992" y="985"/>
                    </a:lnTo>
                    <a:lnTo>
                      <a:pt x="992" y="986"/>
                    </a:lnTo>
                    <a:lnTo>
                      <a:pt x="990" y="986"/>
                    </a:lnTo>
                    <a:lnTo>
                      <a:pt x="992" y="988"/>
                    </a:lnTo>
                    <a:lnTo>
                      <a:pt x="992" y="986"/>
                    </a:lnTo>
                    <a:lnTo>
                      <a:pt x="993" y="985"/>
                    </a:lnTo>
                    <a:lnTo>
                      <a:pt x="993" y="986"/>
                    </a:lnTo>
                    <a:lnTo>
                      <a:pt x="995" y="986"/>
                    </a:lnTo>
                    <a:lnTo>
                      <a:pt x="995" y="988"/>
                    </a:lnTo>
                    <a:lnTo>
                      <a:pt x="995" y="986"/>
                    </a:lnTo>
                    <a:lnTo>
                      <a:pt x="995" y="988"/>
                    </a:lnTo>
                    <a:lnTo>
                      <a:pt x="993" y="988"/>
                    </a:lnTo>
                    <a:lnTo>
                      <a:pt x="993" y="990"/>
                    </a:lnTo>
                    <a:lnTo>
                      <a:pt x="992" y="990"/>
                    </a:lnTo>
                    <a:lnTo>
                      <a:pt x="992" y="988"/>
                    </a:lnTo>
                    <a:lnTo>
                      <a:pt x="992" y="990"/>
                    </a:lnTo>
                    <a:lnTo>
                      <a:pt x="992" y="988"/>
                    </a:lnTo>
                    <a:lnTo>
                      <a:pt x="990" y="990"/>
                    </a:lnTo>
                    <a:lnTo>
                      <a:pt x="990" y="988"/>
                    </a:lnTo>
                    <a:lnTo>
                      <a:pt x="990" y="990"/>
                    </a:lnTo>
                    <a:lnTo>
                      <a:pt x="990" y="988"/>
                    </a:lnTo>
                    <a:lnTo>
                      <a:pt x="988" y="990"/>
                    </a:lnTo>
                    <a:lnTo>
                      <a:pt x="986" y="990"/>
                    </a:lnTo>
                    <a:lnTo>
                      <a:pt x="985" y="990"/>
                    </a:lnTo>
                    <a:lnTo>
                      <a:pt x="985" y="991"/>
                    </a:lnTo>
                    <a:lnTo>
                      <a:pt x="985" y="990"/>
                    </a:lnTo>
                    <a:lnTo>
                      <a:pt x="983" y="990"/>
                    </a:lnTo>
                    <a:lnTo>
                      <a:pt x="981" y="988"/>
                    </a:lnTo>
                    <a:lnTo>
                      <a:pt x="981" y="990"/>
                    </a:lnTo>
                    <a:lnTo>
                      <a:pt x="980" y="990"/>
                    </a:lnTo>
                    <a:lnTo>
                      <a:pt x="980" y="991"/>
                    </a:lnTo>
                    <a:lnTo>
                      <a:pt x="978" y="991"/>
                    </a:lnTo>
                    <a:lnTo>
                      <a:pt x="976" y="991"/>
                    </a:lnTo>
                    <a:lnTo>
                      <a:pt x="976" y="993"/>
                    </a:lnTo>
                    <a:lnTo>
                      <a:pt x="978" y="993"/>
                    </a:lnTo>
                    <a:lnTo>
                      <a:pt x="976" y="993"/>
                    </a:lnTo>
                    <a:lnTo>
                      <a:pt x="976" y="995"/>
                    </a:lnTo>
                    <a:lnTo>
                      <a:pt x="975" y="995"/>
                    </a:lnTo>
                    <a:lnTo>
                      <a:pt x="975" y="997"/>
                    </a:lnTo>
                    <a:lnTo>
                      <a:pt x="975" y="995"/>
                    </a:lnTo>
                    <a:lnTo>
                      <a:pt x="973" y="995"/>
                    </a:lnTo>
                    <a:lnTo>
                      <a:pt x="973" y="997"/>
                    </a:lnTo>
                    <a:lnTo>
                      <a:pt x="973" y="995"/>
                    </a:lnTo>
                    <a:lnTo>
                      <a:pt x="971" y="995"/>
                    </a:lnTo>
                    <a:lnTo>
                      <a:pt x="971" y="997"/>
                    </a:lnTo>
                    <a:lnTo>
                      <a:pt x="971" y="998"/>
                    </a:lnTo>
                    <a:lnTo>
                      <a:pt x="969" y="998"/>
                    </a:lnTo>
                    <a:lnTo>
                      <a:pt x="969" y="997"/>
                    </a:lnTo>
                    <a:lnTo>
                      <a:pt x="968" y="998"/>
                    </a:lnTo>
                    <a:lnTo>
                      <a:pt x="968" y="1000"/>
                    </a:lnTo>
                    <a:lnTo>
                      <a:pt x="966" y="1000"/>
                    </a:lnTo>
                    <a:lnTo>
                      <a:pt x="964" y="1000"/>
                    </a:lnTo>
                    <a:lnTo>
                      <a:pt x="964" y="1002"/>
                    </a:lnTo>
                    <a:lnTo>
                      <a:pt x="964" y="1003"/>
                    </a:lnTo>
                    <a:lnTo>
                      <a:pt x="966" y="1003"/>
                    </a:lnTo>
                    <a:lnTo>
                      <a:pt x="964" y="1003"/>
                    </a:lnTo>
                    <a:lnTo>
                      <a:pt x="966" y="1005"/>
                    </a:lnTo>
                    <a:lnTo>
                      <a:pt x="966" y="1007"/>
                    </a:lnTo>
                    <a:lnTo>
                      <a:pt x="964" y="1007"/>
                    </a:lnTo>
                    <a:lnTo>
                      <a:pt x="963" y="1007"/>
                    </a:lnTo>
                    <a:lnTo>
                      <a:pt x="961" y="1007"/>
                    </a:lnTo>
                    <a:lnTo>
                      <a:pt x="959" y="1005"/>
                    </a:lnTo>
                    <a:lnTo>
                      <a:pt x="958" y="1005"/>
                    </a:lnTo>
                    <a:lnTo>
                      <a:pt x="958" y="1007"/>
                    </a:lnTo>
                    <a:lnTo>
                      <a:pt x="958" y="1005"/>
                    </a:lnTo>
                    <a:lnTo>
                      <a:pt x="956" y="1005"/>
                    </a:lnTo>
                    <a:lnTo>
                      <a:pt x="954" y="1005"/>
                    </a:lnTo>
                    <a:lnTo>
                      <a:pt x="952" y="1005"/>
                    </a:lnTo>
                    <a:lnTo>
                      <a:pt x="951" y="1003"/>
                    </a:lnTo>
                    <a:lnTo>
                      <a:pt x="951" y="1005"/>
                    </a:lnTo>
                    <a:lnTo>
                      <a:pt x="949" y="1005"/>
                    </a:lnTo>
                    <a:lnTo>
                      <a:pt x="947" y="1005"/>
                    </a:lnTo>
                    <a:lnTo>
                      <a:pt x="946" y="1005"/>
                    </a:lnTo>
                    <a:lnTo>
                      <a:pt x="944" y="1007"/>
                    </a:lnTo>
                    <a:lnTo>
                      <a:pt x="942" y="1007"/>
                    </a:lnTo>
                    <a:lnTo>
                      <a:pt x="941" y="1007"/>
                    </a:lnTo>
                    <a:lnTo>
                      <a:pt x="941" y="1008"/>
                    </a:lnTo>
                    <a:lnTo>
                      <a:pt x="941" y="1010"/>
                    </a:lnTo>
                    <a:lnTo>
                      <a:pt x="939" y="1010"/>
                    </a:lnTo>
                    <a:lnTo>
                      <a:pt x="941" y="1012"/>
                    </a:lnTo>
                    <a:lnTo>
                      <a:pt x="939" y="1012"/>
                    </a:lnTo>
                    <a:lnTo>
                      <a:pt x="939" y="1014"/>
                    </a:lnTo>
                    <a:lnTo>
                      <a:pt x="939" y="1012"/>
                    </a:lnTo>
                    <a:lnTo>
                      <a:pt x="937" y="1014"/>
                    </a:lnTo>
                    <a:lnTo>
                      <a:pt x="935" y="1014"/>
                    </a:lnTo>
                    <a:lnTo>
                      <a:pt x="935" y="1015"/>
                    </a:lnTo>
                    <a:lnTo>
                      <a:pt x="935" y="1014"/>
                    </a:lnTo>
                    <a:lnTo>
                      <a:pt x="934" y="1014"/>
                    </a:lnTo>
                    <a:lnTo>
                      <a:pt x="935" y="1014"/>
                    </a:lnTo>
                    <a:lnTo>
                      <a:pt x="934" y="1012"/>
                    </a:lnTo>
                    <a:lnTo>
                      <a:pt x="932" y="1012"/>
                    </a:lnTo>
                    <a:lnTo>
                      <a:pt x="932" y="1014"/>
                    </a:lnTo>
                    <a:lnTo>
                      <a:pt x="932" y="1015"/>
                    </a:lnTo>
                    <a:lnTo>
                      <a:pt x="932" y="1014"/>
                    </a:lnTo>
                    <a:lnTo>
                      <a:pt x="930" y="1014"/>
                    </a:lnTo>
                    <a:lnTo>
                      <a:pt x="929" y="1015"/>
                    </a:lnTo>
                    <a:lnTo>
                      <a:pt x="927" y="1015"/>
                    </a:lnTo>
                    <a:lnTo>
                      <a:pt x="925" y="1017"/>
                    </a:lnTo>
                    <a:lnTo>
                      <a:pt x="924" y="1017"/>
                    </a:lnTo>
                    <a:lnTo>
                      <a:pt x="922" y="1017"/>
                    </a:lnTo>
                    <a:lnTo>
                      <a:pt x="922" y="1019"/>
                    </a:lnTo>
                    <a:lnTo>
                      <a:pt x="920" y="1019"/>
                    </a:lnTo>
                    <a:lnTo>
                      <a:pt x="920" y="1020"/>
                    </a:lnTo>
                    <a:lnTo>
                      <a:pt x="918" y="1020"/>
                    </a:lnTo>
                    <a:lnTo>
                      <a:pt x="917" y="1020"/>
                    </a:lnTo>
                    <a:lnTo>
                      <a:pt x="917" y="1022"/>
                    </a:lnTo>
                    <a:lnTo>
                      <a:pt x="915" y="1022"/>
                    </a:lnTo>
                    <a:lnTo>
                      <a:pt x="913" y="1024"/>
                    </a:lnTo>
                    <a:lnTo>
                      <a:pt x="912" y="1025"/>
                    </a:lnTo>
                    <a:lnTo>
                      <a:pt x="912" y="1027"/>
                    </a:lnTo>
                    <a:lnTo>
                      <a:pt x="912" y="1029"/>
                    </a:lnTo>
                    <a:lnTo>
                      <a:pt x="910" y="1029"/>
                    </a:lnTo>
                    <a:lnTo>
                      <a:pt x="908" y="1031"/>
                    </a:lnTo>
                    <a:lnTo>
                      <a:pt x="907" y="1032"/>
                    </a:lnTo>
                    <a:lnTo>
                      <a:pt x="905" y="1032"/>
                    </a:lnTo>
                    <a:lnTo>
                      <a:pt x="905" y="1034"/>
                    </a:lnTo>
                    <a:lnTo>
                      <a:pt x="903" y="1034"/>
                    </a:lnTo>
                    <a:lnTo>
                      <a:pt x="901" y="1036"/>
                    </a:lnTo>
                    <a:lnTo>
                      <a:pt x="900" y="1036"/>
                    </a:lnTo>
                    <a:lnTo>
                      <a:pt x="900" y="1037"/>
                    </a:lnTo>
                    <a:lnTo>
                      <a:pt x="898" y="1037"/>
                    </a:lnTo>
                    <a:lnTo>
                      <a:pt x="896" y="1039"/>
                    </a:lnTo>
                    <a:lnTo>
                      <a:pt x="895" y="1039"/>
                    </a:lnTo>
                    <a:lnTo>
                      <a:pt x="895" y="1041"/>
                    </a:lnTo>
                    <a:lnTo>
                      <a:pt x="893" y="1041"/>
                    </a:lnTo>
                    <a:lnTo>
                      <a:pt x="891" y="1042"/>
                    </a:lnTo>
                    <a:lnTo>
                      <a:pt x="890" y="1042"/>
                    </a:lnTo>
                    <a:lnTo>
                      <a:pt x="890" y="1044"/>
                    </a:lnTo>
                    <a:lnTo>
                      <a:pt x="888" y="1044"/>
                    </a:lnTo>
                    <a:lnTo>
                      <a:pt x="888" y="1046"/>
                    </a:lnTo>
                    <a:lnTo>
                      <a:pt x="886" y="1046"/>
                    </a:lnTo>
                    <a:lnTo>
                      <a:pt x="884" y="1048"/>
                    </a:lnTo>
                    <a:lnTo>
                      <a:pt x="884" y="1049"/>
                    </a:lnTo>
                    <a:lnTo>
                      <a:pt x="883" y="1049"/>
                    </a:lnTo>
                    <a:lnTo>
                      <a:pt x="883" y="1051"/>
                    </a:lnTo>
                    <a:lnTo>
                      <a:pt x="881" y="1051"/>
                    </a:lnTo>
                    <a:lnTo>
                      <a:pt x="881" y="1053"/>
                    </a:lnTo>
                    <a:lnTo>
                      <a:pt x="881" y="1054"/>
                    </a:lnTo>
                    <a:lnTo>
                      <a:pt x="881" y="1056"/>
                    </a:lnTo>
                    <a:lnTo>
                      <a:pt x="879" y="1056"/>
                    </a:lnTo>
                    <a:lnTo>
                      <a:pt x="879" y="1058"/>
                    </a:lnTo>
                    <a:lnTo>
                      <a:pt x="878" y="1058"/>
                    </a:lnTo>
                    <a:lnTo>
                      <a:pt x="878" y="1059"/>
                    </a:lnTo>
                    <a:lnTo>
                      <a:pt x="876" y="1059"/>
                    </a:lnTo>
                    <a:lnTo>
                      <a:pt x="876" y="1061"/>
                    </a:lnTo>
                    <a:lnTo>
                      <a:pt x="874" y="1061"/>
                    </a:lnTo>
                    <a:lnTo>
                      <a:pt x="874" y="1063"/>
                    </a:lnTo>
                    <a:lnTo>
                      <a:pt x="873" y="1063"/>
                    </a:lnTo>
                    <a:lnTo>
                      <a:pt x="873" y="1065"/>
                    </a:lnTo>
                    <a:lnTo>
                      <a:pt x="871" y="1065"/>
                    </a:lnTo>
                    <a:lnTo>
                      <a:pt x="871" y="1066"/>
                    </a:lnTo>
                    <a:lnTo>
                      <a:pt x="871" y="1068"/>
                    </a:lnTo>
                    <a:lnTo>
                      <a:pt x="869" y="1068"/>
                    </a:lnTo>
                    <a:lnTo>
                      <a:pt x="867" y="1068"/>
                    </a:lnTo>
                    <a:lnTo>
                      <a:pt x="867" y="1070"/>
                    </a:lnTo>
                    <a:lnTo>
                      <a:pt x="867" y="1071"/>
                    </a:lnTo>
                    <a:lnTo>
                      <a:pt x="866" y="1071"/>
                    </a:lnTo>
                    <a:lnTo>
                      <a:pt x="866" y="1073"/>
                    </a:lnTo>
                    <a:lnTo>
                      <a:pt x="864" y="1073"/>
                    </a:lnTo>
                    <a:lnTo>
                      <a:pt x="862" y="1075"/>
                    </a:lnTo>
                    <a:lnTo>
                      <a:pt x="862" y="1076"/>
                    </a:lnTo>
                    <a:lnTo>
                      <a:pt x="861" y="1078"/>
                    </a:lnTo>
                    <a:lnTo>
                      <a:pt x="861" y="1080"/>
                    </a:lnTo>
                    <a:lnTo>
                      <a:pt x="859" y="1080"/>
                    </a:lnTo>
                    <a:lnTo>
                      <a:pt x="861" y="1082"/>
                    </a:lnTo>
                    <a:lnTo>
                      <a:pt x="859" y="1082"/>
                    </a:lnTo>
                    <a:lnTo>
                      <a:pt x="859" y="1083"/>
                    </a:lnTo>
                    <a:lnTo>
                      <a:pt x="859" y="1085"/>
                    </a:lnTo>
                    <a:lnTo>
                      <a:pt x="857" y="1085"/>
                    </a:lnTo>
                    <a:lnTo>
                      <a:pt x="857" y="1087"/>
                    </a:lnTo>
                    <a:lnTo>
                      <a:pt x="857" y="1088"/>
                    </a:lnTo>
                    <a:lnTo>
                      <a:pt x="857" y="1090"/>
                    </a:lnTo>
                    <a:lnTo>
                      <a:pt x="857" y="1092"/>
                    </a:lnTo>
                    <a:lnTo>
                      <a:pt x="857" y="1093"/>
                    </a:lnTo>
                    <a:lnTo>
                      <a:pt x="859" y="1093"/>
                    </a:lnTo>
                    <a:lnTo>
                      <a:pt x="861" y="1093"/>
                    </a:lnTo>
                    <a:lnTo>
                      <a:pt x="861" y="1095"/>
                    </a:lnTo>
                    <a:lnTo>
                      <a:pt x="861" y="1097"/>
                    </a:lnTo>
                    <a:lnTo>
                      <a:pt x="859" y="1099"/>
                    </a:lnTo>
                    <a:lnTo>
                      <a:pt x="859" y="1100"/>
                    </a:lnTo>
                    <a:lnTo>
                      <a:pt x="859" y="1102"/>
                    </a:lnTo>
                    <a:lnTo>
                      <a:pt x="857" y="1102"/>
                    </a:lnTo>
                    <a:lnTo>
                      <a:pt x="857" y="1104"/>
                    </a:lnTo>
                    <a:lnTo>
                      <a:pt x="857" y="1105"/>
                    </a:lnTo>
                    <a:lnTo>
                      <a:pt x="857" y="1107"/>
                    </a:lnTo>
                    <a:lnTo>
                      <a:pt x="856" y="1107"/>
                    </a:lnTo>
                    <a:lnTo>
                      <a:pt x="856" y="1109"/>
                    </a:lnTo>
                    <a:lnTo>
                      <a:pt x="856" y="1110"/>
                    </a:lnTo>
                    <a:lnTo>
                      <a:pt x="856" y="1112"/>
                    </a:lnTo>
                    <a:lnTo>
                      <a:pt x="854" y="1112"/>
                    </a:lnTo>
                    <a:lnTo>
                      <a:pt x="856" y="1112"/>
                    </a:lnTo>
                    <a:lnTo>
                      <a:pt x="854" y="1112"/>
                    </a:lnTo>
                    <a:lnTo>
                      <a:pt x="854" y="1114"/>
                    </a:lnTo>
                    <a:lnTo>
                      <a:pt x="856" y="1114"/>
                    </a:lnTo>
                    <a:lnTo>
                      <a:pt x="856" y="1116"/>
                    </a:lnTo>
                    <a:lnTo>
                      <a:pt x="856" y="1117"/>
                    </a:lnTo>
                    <a:lnTo>
                      <a:pt x="856" y="1116"/>
                    </a:lnTo>
                    <a:lnTo>
                      <a:pt x="857" y="1117"/>
                    </a:lnTo>
                    <a:lnTo>
                      <a:pt x="857" y="1119"/>
                    </a:lnTo>
                    <a:lnTo>
                      <a:pt x="856" y="1121"/>
                    </a:lnTo>
                    <a:lnTo>
                      <a:pt x="856" y="1122"/>
                    </a:lnTo>
                    <a:lnTo>
                      <a:pt x="857" y="1122"/>
                    </a:lnTo>
                    <a:lnTo>
                      <a:pt x="857" y="1124"/>
                    </a:lnTo>
                    <a:lnTo>
                      <a:pt x="856" y="1124"/>
                    </a:lnTo>
                    <a:lnTo>
                      <a:pt x="857" y="1126"/>
                    </a:lnTo>
                    <a:lnTo>
                      <a:pt x="859" y="1126"/>
                    </a:lnTo>
                    <a:lnTo>
                      <a:pt x="859" y="1128"/>
                    </a:lnTo>
                    <a:lnTo>
                      <a:pt x="857" y="1128"/>
                    </a:lnTo>
                    <a:lnTo>
                      <a:pt x="857" y="1129"/>
                    </a:lnTo>
                    <a:lnTo>
                      <a:pt x="857" y="1131"/>
                    </a:lnTo>
                    <a:lnTo>
                      <a:pt x="859" y="1131"/>
                    </a:lnTo>
                    <a:lnTo>
                      <a:pt x="861" y="1131"/>
                    </a:lnTo>
                    <a:lnTo>
                      <a:pt x="861" y="1129"/>
                    </a:lnTo>
                    <a:lnTo>
                      <a:pt x="861" y="1131"/>
                    </a:lnTo>
                    <a:lnTo>
                      <a:pt x="862" y="1131"/>
                    </a:lnTo>
                    <a:lnTo>
                      <a:pt x="861" y="1131"/>
                    </a:lnTo>
                    <a:lnTo>
                      <a:pt x="861" y="1133"/>
                    </a:lnTo>
                    <a:lnTo>
                      <a:pt x="862" y="1133"/>
                    </a:lnTo>
                    <a:lnTo>
                      <a:pt x="861" y="1134"/>
                    </a:lnTo>
                    <a:lnTo>
                      <a:pt x="861" y="1133"/>
                    </a:lnTo>
                    <a:lnTo>
                      <a:pt x="859" y="1133"/>
                    </a:lnTo>
                    <a:lnTo>
                      <a:pt x="857" y="1134"/>
                    </a:lnTo>
                    <a:lnTo>
                      <a:pt x="857" y="1136"/>
                    </a:lnTo>
                    <a:lnTo>
                      <a:pt x="857" y="1138"/>
                    </a:lnTo>
                    <a:lnTo>
                      <a:pt x="859" y="1138"/>
                    </a:lnTo>
                    <a:lnTo>
                      <a:pt x="859" y="1136"/>
                    </a:lnTo>
                    <a:lnTo>
                      <a:pt x="859" y="1138"/>
                    </a:lnTo>
                    <a:lnTo>
                      <a:pt x="861" y="1138"/>
                    </a:lnTo>
                    <a:lnTo>
                      <a:pt x="859" y="1139"/>
                    </a:lnTo>
                    <a:lnTo>
                      <a:pt x="861" y="1139"/>
                    </a:lnTo>
                    <a:lnTo>
                      <a:pt x="859" y="1139"/>
                    </a:lnTo>
                    <a:lnTo>
                      <a:pt x="859" y="1141"/>
                    </a:lnTo>
                    <a:lnTo>
                      <a:pt x="857" y="1141"/>
                    </a:lnTo>
                    <a:lnTo>
                      <a:pt x="857" y="1143"/>
                    </a:lnTo>
                    <a:lnTo>
                      <a:pt x="856" y="1143"/>
                    </a:lnTo>
                    <a:lnTo>
                      <a:pt x="856" y="1145"/>
                    </a:lnTo>
                    <a:lnTo>
                      <a:pt x="857" y="1145"/>
                    </a:lnTo>
                    <a:lnTo>
                      <a:pt x="857" y="1146"/>
                    </a:lnTo>
                    <a:lnTo>
                      <a:pt x="857" y="1148"/>
                    </a:lnTo>
                    <a:lnTo>
                      <a:pt x="859" y="1148"/>
                    </a:lnTo>
                    <a:lnTo>
                      <a:pt x="857" y="1150"/>
                    </a:lnTo>
                    <a:lnTo>
                      <a:pt x="857" y="1148"/>
                    </a:lnTo>
                    <a:lnTo>
                      <a:pt x="857" y="1150"/>
                    </a:lnTo>
                    <a:lnTo>
                      <a:pt x="856" y="1150"/>
                    </a:lnTo>
                    <a:lnTo>
                      <a:pt x="856" y="1151"/>
                    </a:lnTo>
                    <a:lnTo>
                      <a:pt x="857" y="1151"/>
                    </a:lnTo>
                    <a:lnTo>
                      <a:pt x="856" y="1151"/>
                    </a:lnTo>
                    <a:lnTo>
                      <a:pt x="856" y="1153"/>
                    </a:lnTo>
                    <a:lnTo>
                      <a:pt x="857" y="1155"/>
                    </a:lnTo>
                    <a:lnTo>
                      <a:pt x="856" y="1155"/>
                    </a:lnTo>
                    <a:lnTo>
                      <a:pt x="857" y="1155"/>
                    </a:lnTo>
                    <a:lnTo>
                      <a:pt x="857" y="1156"/>
                    </a:lnTo>
                    <a:lnTo>
                      <a:pt x="859" y="1158"/>
                    </a:lnTo>
                    <a:lnTo>
                      <a:pt x="857" y="1158"/>
                    </a:lnTo>
                    <a:lnTo>
                      <a:pt x="857" y="1160"/>
                    </a:lnTo>
                    <a:lnTo>
                      <a:pt x="859" y="1160"/>
                    </a:lnTo>
                    <a:lnTo>
                      <a:pt x="857" y="1160"/>
                    </a:lnTo>
                    <a:lnTo>
                      <a:pt x="857" y="1162"/>
                    </a:lnTo>
                    <a:lnTo>
                      <a:pt x="857" y="1163"/>
                    </a:lnTo>
                    <a:lnTo>
                      <a:pt x="857" y="1165"/>
                    </a:lnTo>
                    <a:lnTo>
                      <a:pt x="857" y="1167"/>
                    </a:lnTo>
                    <a:lnTo>
                      <a:pt x="856" y="1168"/>
                    </a:lnTo>
                    <a:lnTo>
                      <a:pt x="857" y="1168"/>
                    </a:lnTo>
                    <a:lnTo>
                      <a:pt x="856" y="1168"/>
                    </a:lnTo>
                    <a:lnTo>
                      <a:pt x="856" y="1170"/>
                    </a:lnTo>
                    <a:lnTo>
                      <a:pt x="856" y="1172"/>
                    </a:lnTo>
                    <a:lnTo>
                      <a:pt x="856" y="1173"/>
                    </a:lnTo>
                    <a:lnTo>
                      <a:pt x="854" y="1175"/>
                    </a:lnTo>
                    <a:lnTo>
                      <a:pt x="854" y="1177"/>
                    </a:lnTo>
                    <a:lnTo>
                      <a:pt x="852" y="1179"/>
                    </a:lnTo>
                    <a:lnTo>
                      <a:pt x="852" y="1180"/>
                    </a:lnTo>
                    <a:lnTo>
                      <a:pt x="852" y="1182"/>
                    </a:lnTo>
                    <a:lnTo>
                      <a:pt x="852" y="1184"/>
                    </a:lnTo>
                    <a:lnTo>
                      <a:pt x="852" y="1185"/>
                    </a:lnTo>
                    <a:lnTo>
                      <a:pt x="850" y="1185"/>
                    </a:lnTo>
                    <a:lnTo>
                      <a:pt x="850" y="1187"/>
                    </a:lnTo>
                    <a:lnTo>
                      <a:pt x="849" y="1187"/>
                    </a:lnTo>
                    <a:lnTo>
                      <a:pt x="847" y="1187"/>
                    </a:lnTo>
                    <a:lnTo>
                      <a:pt x="847" y="1189"/>
                    </a:lnTo>
                    <a:lnTo>
                      <a:pt x="845" y="1189"/>
                    </a:lnTo>
                    <a:lnTo>
                      <a:pt x="844" y="1190"/>
                    </a:lnTo>
                    <a:lnTo>
                      <a:pt x="840" y="1192"/>
                    </a:lnTo>
                    <a:lnTo>
                      <a:pt x="839" y="1194"/>
                    </a:lnTo>
                    <a:lnTo>
                      <a:pt x="837" y="1194"/>
                    </a:lnTo>
                    <a:lnTo>
                      <a:pt x="837" y="1196"/>
                    </a:lnTo>
                    <a:lnTo>
                      <a:pt x="833" y="1197"/>
                    </a:lnTo>
                    <a:lnTo>
                      <a:pt x="833" y="1199"/>
                    </a:lnTo>
                    <a:lnTo>
                      <a:pt x="832" y="1199"/>
                    </a:lnTo>
                    <a:lnTo>
                      <a:pt x="832" y="1201"/>
                    </a:lnTo>
                    <a:lnTo>
                      <a:pt x="828" y="1202"/>
                    </a:lnTo>
                    <a:lnTo>
                      <a:pt x="828" y="1204"/>
                    </a:lnTo>
                    <a:lnTo>
                      <a:pt x="827" y="1206"/>
                    </a:lnTo>
                    <a:lnTo>
                      <a:pt x="825" y="1207"/>
                    </a:lnTo>
                    <a:lnTo>
                      <a:pt x="823" y="1209"/>
                    </a:lnTo>
                    <a:lnTo>
                      <a:pt x="822" y="1211"/>
                    </a:lnTo>
                    <a:lnTo>
                      <a:pt x="822" y="1213"/>
                    </a:lnTo>
                    <a:lnTo>
                      <a:pt x="820" y="1213"/>
                    </a:lnTo>
                    <a:lnTo>
                      <a:pt x="820" y="1214"/>
                    </a:lnTo>
                    <a:lnTo>
                      <a:pt x="820" y="1216"/>
                    </a:lnTo>
                    <a:lnTo>
                      <a:pt x="818" y="1216"/>
                    </a:lnTo>
                    <a:lnTo>
                      <a:pt x="818" y="1218"/>
                    </a:lnTo>
                    <a:lnTo>
                      <a:pt x="816" y="1219"/>
                    </a:lnTo>
                    <a:lnTo>
                      <a:pt x="815" y="1221"/>
                    </a:lnTo>
                    <a:lnTo>
                      <a:pt x="815" y="1223"/>
                    </a:lnTo>
                    <a:lnTo>
                      <a:pt x="813" y="1224"/>
                    </a:lnTo>
                    <a:lnTo>
                      <a:pt x="813" y="1226"/>
                    </a:lnTo>
                    <a:lnTo>
                      <a:pt x="811" y="1228"/>
                    </a:lnTo>
                    <a:lnTo>
                      <a:pt x="810" y="1231"/>
                    </a:lnTo>
                    <a:lnTo>
                      <a:pt x="810" y="1233"/>
                    </a:lnTo>
                    <a:lnTo>
                      <a:pt x="808" y="1235"/>
                    </a:lnTo>
                    <a:lnTo>
                      <a:pt x="808" y="1236"/>
                    </a:lnTo>
                    <a:lnTo>
                      <a:pt x="806" y="1240"/>
                    </a:lnTo>
                    <a:lnTo>
                      <a:pt x="806" y="1241"/>
                    </a:lnTo>
                    <a:lnTo>
                      <a:pt x="805" y="1245"/>
                    </a:lnTo>
                    <a:lnTo>
                      <a:pt x="803" y="1250"/>
                    </a:lnTo>
                    <a:lnTo>
                      <a:pt x="801" y="1252"/>
                    </a:lnTo>
                    <a:lnTo>
                      <a:pt x="801" y="1253"/>
                    </a:lnTo>
                    <a:lnTo>
                      <a:pt x="799" y="1257"/>
                    </a:lnTo>
                    <a:lnTo>
                      <a:pt x="799" y="1258"/>
                    </a:lnTo>
                    <a:lnTo>
                      <a:pt x="799" y="1260"/>
                    </a:lnTo>
                    <a:lnTo>
                      <a:pt x="798" y="1262"/>
                    </a:lnTo>
                    <a:lnTo>
                      <a:pt x="798" y="1264"/>
                    </a:lnTo>
                    <a:lnTo>
                      <a:pt x="796" y="1267"/>
                    </a:lnTo>
                    <a:lnTo>
                      <a:pt x="794" y="1269"/>
                    </a:lnTo>
                    <a:lnTo>
                      <a:pt x="793" y="1270"/>
                    </a:lnTo>
                    <a:lnTo>
                      <a:pt x="793" y="1272"/>
                    </a:lnTo>
                    <a:lnTo>
                      <a:pt x="791" y="1272"/>
                    </a:lnTo>
                    <a:lnTo>
                      <a:pt x="791" y="1274"/>
                    </a:lnTo>
                    <a:lnTo>
                      <a:pt x="789" y="1276"/>
                    </a:lnTo>
                    <a:lnTo>
                      <a:pt x="789" y="1277"/>
                    </a:lnTo>
                    <a:lnTo>
                      <a:pt x="788" y="1279"/>
                    </a:lnTo>
                    <a:lnTo>
                      <a:pt x="786" y="1281"/>
                    </a:lnTo>
                    <a:lnTo>
                      <a:pt x="784" y="1284"/>
                    </a:lnTo>
                    <a:lnTo>
                      <a:pt x="784" y="1286"/>
                    </a:lnTo>
                    <a:lnTo>
                      <a:pt x="782" y="1286"/>
                    </a:lnTo>
                    <a:lnTo>
                      <a:pt x="782" y="1287"/>
                    </a:lnTo>
                    <a:lnTo>
                      <a:pt x="779" y="1289"/>
                    </a:lnTo>
                    <a:lnTo>
                      <a:pt x="779" y="1291"/>
                    </a:lnTo>
                    <a:lnTo>
                      <a:pt x="777" y="1293"/>
                    </a:lnTo>
                    <a:lnTo>
                      <a:pt x="776" y="1294"/>
                    </a:lnTo>
                    <a:lnTo>
                      <a:pt x="774" y="1294"/>
                    </a:lnTo>
                    <a:lnTo>
                      <a:pt x="774" y="1296"/>
                    </a:lnTo>
                    <a:lnTo>
                      <a:pt x="772" y="1298"/>
                    </a:lnTo>
                    <a:lnTo>
                      <a:pt x="771" y="1299"/>
                    </a:lnTo>
                    <a:lnTo>
                      <a:pt x="769" y="1301"/>
                    </a:lnTo>
                    <a:lnTo>
                      <a:pt x="769" y="1303"/>
                    </a:lnTo>
                    <a:lnTo>
                      <a:pt x="767" y="1303"/>
                    </a:lnTo>
                    <a:lnTo>
                      <a:pt x="765" y="1304"/>
                    </a:lnTo>
                    <a:lnTo>
                      <a:pt x="764" y="1306"/>
                    </a:lnTo>
                    <a:lnTo>
                      <a:pt x="762" y="1308"/>
                    </a:lnTo>
                    <a:lnTo>
                      <a:pt x="760" y="1308"/>
                    </a:lnTo>
                    <a:lnTo>
                      <a:pt x="759" y="1310"/>
                    </a:lnTo>
                    <a:lnTo>
                      <a:pt x="757" y="1311"/>
                    </a:lnTo>
                    <a:lnTo>
                      <a:pt x="755" y="1311"/>
                    </a:lnTo>
                    <a:lnTo>
                      <a:pt x="755" y="1313"/>
                    </a:lnTo>
                    <a:lnTo>
                      <a:pt x="754" y="1313"/>
                    </a:lnTo>
                    <a:lnTo>
                      <a:pt x="752" y="1315"/>
                    </a:lnTo>
                    <a:lnTo>
                      <a:pt x="750" y="1315"/>
                    </a:lnTo>
                    <a:lnTo>
                      <a:pt x="748" y="1316"/>
                    </a:lnTo>
                    <a:lnTo>
                      <a:pt x="747" y="1318"/>
                    </a:lnTo>
                    <a:lnTo>
                      <a:pt x="745" y="1320"/>
                    </a:lnTo>
                    <a:lnTo>
                      <a:pt x="743" y="1320"/>
                    </a:lnTo>
                    <a:lnTo>
                      <a:pt x="742" y="1323"/>
                    </a:lnTo>
                    <a:lnTo>
                      <a:pt x="742" y="1325"/>
                    </a:lnTo>
                    <a:lnTo>
                      <a:pt x="740" y="1325"/>
                    </a:lnTo>
                    <a:lnTo>
                      <a:pt x="740" y="1327"/>
                    </a:lnTo>
                    <a:lnTo>
                      <a:pt x="740" y="1325"/>
                    </a:lnTo>
                    <a:lnTo>
                      <a:pt x="740" y="1327"/>
                    </a:lnTo>
                    <a:lnTo>
                      <a:pt x="738" y="1327"/>
                    </a:lnTo>
                    <a:lnTo>
                      <a:pt x="737" y="1328"/>
                    </a:lnTo>
                    <a:lnTo>
                      <a:pt x="735" y="1330"/>
                    </a:lnTo>
                    <a:lnTo>
                      <a:pt x="733" y="1333"/>
                    </a:lnTo>
                    <a:lnTo>
                      <a:pt x="731" y="1335"/>
                    </a:lnTo>
                    <a:lnTo>
                      <a:pt x="731" y="1337"/>
                    </a:lnTo>
                    <a:lnTo>
                      <a:pt x="731" y="1338"/>
                    </a:lnTo>
                    <a:lnTo>
                      <a:pt x="730" y="1338"/>
                    </a:lnTo>
                    <a:lnTo>
                      <a:pt x="730" y="1342"/>
                    </a:lnTo>
                    <a:lnTo>
                      <a:pt x="730" y="1344"/>
                    </a:lnTo>
                    <a:lnTo>
                      <a:pt x="728" y="1344"/>
                    </a:lnTo>
                    <a:lnTo>
                      <a:pt x="728" y="1345"/>
                    </a:lnTo>
                    <a:lnTo>
                      <a:pt x="728" y="1347"/>
                    </a:lnTo>
                    <a:lnTo>
                      <a:pt x="728" y="1349"/>
                    </a:lnTo>
                    <a:lnTo>
                      <a:pt x="728" y="1350"/>
                    </a:lnTo>
                    <a:lnTo>
                      <a:pt x="726" y="1352"/>
                    </a:lnTo>
                    <a:lnTo>
                      <a:pt x="726" y="1354"/>
                    </a:lnTo>
                    <a:lnTo>
                      <a:pt x="726" y="1355"/>
                    </a:lnTo>
                    <a:lnTo>
                      <a:pt x="725" y="1355"/>
                    </a:lnTo>
                    <a:lnTo>
                      <a:pt x="725" y="1357"/>
                    </a:lnTo>
                    <a:lnTo>
                      <a:pt x="725" y="1359"/>
                    </a:lnTo>
                    <a:lnTo>
                      <a:pt x="723" y="1362"/>
                    </a:lnTo>
                    <a:lnTo>
                      <a:pt x="721" y="1364"/>
                    </a:lnTo>
                    <a:lnTo>
                      <a:pt x="721" y="1366"/>
                    </a:lnTo>
                    <a:lnTo>
                      <a:pt x="720" y="1366"/>
                    </a:lnTo>
                    <a:lnTo>
                      <a:pt x="720" y="1367"/>
                    </a:lnTo>
                    <a:lnTo>
                      <a:pt x="718" y="1369"/>
                    </a:lnTo>
                    <a:lnTo>
                      <a:pt x="716" y="1371"/>
                    </a:lnTo>
                    <a:lnTo>
                      <a:pt x="714" y="1372"/>
                    </a:lnTo>
                    <a:lnTo>
                      <a:pt x="713" y="1374"/>
                    </a:lnTo>
                    <a:lnTo>
                      <a:pt x="711" y="1376"/>
                    </a:lnTo>
                    <a:lnTo>
                      <a:pt x="709" y="1378"/>
                    </a:lnTo>
                    <a:lnTo>
                      <a:pt x="708" y="1379"/>
                    </a:lnTo>
                    <a:lnTo>
                      <a:pt x="706" y="1381"/>
                    </a:lnTo>
                    <a:lnTo>
                      <a:pt x="704" y="1383"/>
                    </a:lnTo>
                    <a:lnTo>
                      <a:pt x="704" y="1384"/>
                    </a:lnTo>
                    <a:lnTo>
                      <a:pt x="703" y="1384"/>
                    </a:lnTo>
                    <a:lnTo>
                      <a:pt x="701" y="1386"/>
                    </a:lnTo>
                    <a:lnTo>
                      <a:pt x="699" y="1388"/>
                    </a:lnTo>
                    <a:lnTo>
                      <a:pt x="697" y="1388"/>
                    </a:lnTo>
                    <a:lnTo>
                      <a:pt x="697" y="1389"/>
                    </a:lnTo>
                    <a:lnTo>
                      <a:pt x="696" y="1389"/>
                    </a:lnTo>
                    <a:lnTo>
                      <a:pt x="694" y="1389"/>
                    </a:lnTo>
                    <a:lnTo>
                      <a:pt x="694" y="1388"/>
                    </a:lnTo>
                    <a:lnTo>
                      <a:pt x="692" y="1388"/>
                    </a:lnTo>
                    <a:lnTo>
                      <a:pt x="691" y="1388"/>
                    </a:lnTo>
                    <a:lnTo>
                      <a:pt x="691" y="1386"/>
                    </a:lnTo>
                    <a:lnTo>
                      <a:pt x="691" y="1384"/>
                    </a:lnTo>
                    <a:lnTo>
                      <a:pt x="691" y="1383"/>
                    </a:lnTo>
                    <a:lnTo>
                      <a:pt x="691" y="1381"/>
                    </a:lnTo>
                    <a:lnTo>
                      <a:pt x="692" y="1379"/>
                    </a:lnTo>
                    <a:lnTo>
                      <a:pt x="692" y="1376"/>
                    </a:lnTo>
                    <a:lnTo>
                      <a:pt x="692" y="1374"/>
                    </a:lnTo>
                    <a:lnTo>
                      <a:pt x="691" y="1372"/>
                    </a:lnTo>
                    <a:lnTo>
                      <a:pt x="691" y="1371"/>
                    </a:lnTo>
                    <a:lnTo>
                      <a:pt x="691" y="1369"/>
                    </a:lnTo>
                    <a:lnTo>
                      <a:pt x="691" y="1367"/>
                    </a:lnTo>
                    <a:lnTo>
                      <a:pt x="692" y="1367"/>
                    </a:lnTo>
                    <a:lnTo>
                      <a:pt x="692" y="1366"/>
                    </a:lnTo>
                    <a:lnTo>
                      <a:pt x="692" y="1364"/>
                    </a:lnTo>
                    <a:lnTo>
                      <a:pt x="694" y="1364"/>
                    </a:lnTo>
                    <a:lnTo>
                      <a:pt x="697" y="1359"/>
                    </a:lnTo>
                    <a:lnTo>
                      <a:pt x="699" y="1359"/>
                    </a:lnTo>
                    <a:lnTo>
                      <a:pt x="699" y="1357"/>
                    </a:lnTo>
                    <a:lnTo>
                      <a:pt x="699" y="1355"/>
                    </a:lnTo>
                    <a:lnTo>
                      <a:pt x="699" y="1354"/>
                    </a:lnTo>
                    <a:lnTo>
                      <a:pt x="701" y="1354"/>
                    </a:lnTo>
                    <a:lnTo>
                      <a:pt x="701" y="1352"/>
                    </a:lnTo>
                    <a:lnTo>
                      <a:pt x="703" y="1350"/>
                    </a:lnTo>
                    <a:lnTo>
                      <a:pt x="704" y="1350"/>
                    </a:lnTo>
                    <a:lnTo>
                      <a:pt x="704" y="1349"/>
                    </a:lnTo>
                    <a:lnTo>
                      <a:pt x="706" y="1349"/>
                    </a:lnTo>
                    <a:lnTo>
                      <a:pt x="703" y="1347"/>
                    </a:lnTo>
                    <a:lnTo>
                      <a:pt x="703" y="1345"/>
                    </a:lnTo>
                    <a:lnTo>
                      <a:pt x="701" y="1345"/>
                    </a:lnTo>
                    <a:lnTo>
                      <a:pt x="701" y="1344"/>
                    </a:lnTo>
                    <a:lnTo>
                      <a:pt x="699" y="1344"/>
                    </a:lnTo>
                    <a:lnTo>
                      <a:pt x="697" y="1344"/>
                    </a:lnTo>
                    <a:lnTo>
                      <a:pt x="696" y="1342"/>
                    </a:lnTo>
                    <a:lnTo>
                      <a:pt x="696" y="1344"/>
                    </a:lnTo>
                    <a:lnTo>
                      <a:pt x="696" y="1342"/>
                    </a:lnTo>
                    <a:lnTo>
                      <a:pt x="694" y="1342"/>
                    </a:lnTo>
                    <a:lnTo>
                      <a:pt x="694" y="1340"/>
                    </a:lnTo>
                    <a:lnTo>
                      <a:pt x="694" y="1338"/>
                    </a:lnTo>
                    <a:lnTo>
                      <a:pt x="692" y="1338"/>
                    </a:lnTo>
                    <a:lnTo>
                      <a:pt x="691" y="1338"/>
                    </a:lnTo>
                    <a:lnTo>
                      <a:pt x="689" y="1337"/>
                    </a:lnTo>
                    <a:lnTo>
                      <a:pt x="689" y="1335"/>
                    </a:lnTo>
                    <a:lnTo>
                      <a:pt x="687" y="1335"/>
                    </a:lnTo>
                    <a:lnTo>
                      <a:pt x="687" y="1333"/>
                    </a:lnTo>
                    <a:lnTo>
                      <a:pt x="687" y="1332"/>
                    </a:lnTo>
                    <a:lnTo>
                      <a:pt x="687" y="1330"/>
                    </a:lnTo>
                    <a:lnTo>
                      <a:pt x="686" y="1330"/>
                    </a:lnTo>
                    <a:lnTo>
                      <a:pt x="686" y="1328"/>
                    </a:lnTo>
                    <a:lnTo>
                      <a:pt x="686" y="1327"/>
                    </a:lnTo>
                    <a:lnTo>
                      <a:pt x="684" y="1327"/>
                    </a:lnTo>
                    <a:lnTo>
                      <a:pt x="686" y="1325"/>
                    </a:lnTo>
                    <a:lnTo>
                      <a:pt x="684" y="1325"/>
                    </a:lnTo>
                    <a:lnTo>
                      <a:pt x="684" y="1323"/>
                    </a:lnTo>
                    <a:lnTo>
                      <a:pt x="682" y="1321"/>
                    </a:lnTo>
                    <a:lnTo>
                      <a:pt x="682" y="1323"/>
                    </a:lnTo>
                    <a:lnTo>
                      <a:pt x="680" y="1321"/>
                    </a:lnTo>
                    <a:lnTo>
                      <a:pt x="680" y="1320"/>
                    </a:lnTo>
                    <a:lnTo>
                      <a:pt x="679" y="1320"/>
                    </a:lnTo>
                    <a:lnTo>
                      <a:pt x="679" y="1318"/>
                    </a:lnTo>
                    <a:lnTo>
                      <a:pt x="677" y="1318"/>
                    </a:lnTo>
                    <a:lnTo>
                      <a:pt x="675" y="1316"/>
                    </a:lnTo>
                    <a:lnTo>
                      <a:pt x="677" y="1316"/>
                    </a:lnTo>
                    <a:lnTo>
                      <a:pt x="675" y="1316"/>
                    </a:lnTo>
                    <a:lnTo>
                      <a:pt x="674" y="1315"/>
                    </a:lnTo>
                    <a:lnTo>
                      <a:pt x="674" y="1316"/>
                    </a:lnTo>
                    <a:lnTo>
                      <a:pt x="672" y="1316"/>
                    </a:lnTo>
                    <a:lnTo>
                      <a:pt x="670" y="1316"/>
                    </a:lnTo>
                    <a:lnTo>
                      <a:pt x="670" y="1315"/>
                    </a:lnTo>
                    <a:lnTo>
                      <a:pt x="669" y="1315"/>
                    </a:lnTo>
                    <a:lnTo>
                      <a:pt x="669" y="1313"/>
                    </a:lnTo>
                    <a:lnTo>
                      <a:pt x="667" y="1313"/>
                    </a:lnTo>
                    <a:lnTo>
                      <a:pt x="667" y="1311"/>
                    </a:lnTo>
                    <a:lnTo>
                      <a:pt x="665" y="1311"/>
                    </a:lnTo>
                    <a:lnTo>
                      <a:pt x="663" y="1310"/>
                    </a:lnTo>
                    <a:lnTo>
                      <a:pt x="660" y="1306"/>
                    </a:lnTo>
                    <a:lnTo>
                      <a:pt x="660" y="1304"/>
                    </a:lnTo>
                    <a:lnTo>
                      <a:pt x="660" y="1303"/>
                    </a:lnTo>
                    <a:lnTo>
                      <a:pt x="658" y="1303"/>
                    </a:lnTo>
                    <a:lnTo>
                      <a:pt x="658" y="1301"/>
                    </a:lnTo>
                    <a:lnTo>
                      <a:pt x="658" y="1299"/>
                    </a:lnTo>
                    <a:lnTo>
                      <a:pt x="657" y="1299"/>
                    </a:lnTo>
                    <a:lnTo>
                      <a:pt x="655" y="1298"/>
                    </a:lnTo>
                    <a:lnTo>
                      <a:pt x="653" y="1298"/>
                    </a:lnTo>
                    <a:lnTo>
                      <a:pt x="652" y="1298"/>
                    </a:lnTo>
                    <a:lnTo>
                      <a:pt x="650" y="1296"/>
                    </a:lnTo>
                    <a:lnTo>
                      <a:pt x="650" y="1298"/>
                    </a:lnTo>
                    <a:lnTo>
                      <a:pt x="648" y="1298"/>
                    </a:lnTo>
                    <a:lnTo>
                      <a:pt x="646" y="1298"/>
                    </a:lnTo>
                    <a:lnTo>
                      <a:pt x="646" y="1296"/>
                    </a:lnTo>
                    <a:lnTo>
                      <a:pt x="645" y="1294"/>
                    </a:lnTo>
                    <a:lnTo>
                      <a:pt x="645" y="1296"/>
                    </a:lnTo>
                    <a:lnTo>
                      <a:pt x="643" y="1296"/>
                    </a:lnTo>
                    <a:lnTo>
                      <a:pt x="643" y="1294"/>
                    </a:lnTo>
                    <a:lnTo>
                      <a:pt x="643" y="1293"/>
                    </a:lnTo>
                    <a:lnTo>
                      <a:pt x="641" y="1293"/>
                    </a:lnTo>
                    <a:lnTo>
                      <a:pt x="641" y="1291"/>
                    </a:lnTo>
                    <a:lnTo>
                      <a:pt x="640" y="1291"/>
                    </a:lnTo>
                    <a:lnTo>
                      <a:pt x="640" y="1293"/>
                    </a:lnTo>
                    <a:lnTo>
                      <a:pt x="638" y="1293"/>
                    </a:lnTo>
                    <a:lnTo>
                      <a:pt x="636" y="1293"/>
                    </a:lnTo>
                    <a:lnTo>
                      <a:pt x="636" y="1291"/>
                    </a:lnTo>
                    <a:lnTo>
                      <a:pt x="635" y="1291"/>
                    </a:lnTo>
                    <a:lnTo>
                      <a:pt x="633" y="1291"/>
                    </a:lnTo>
                    <a:lnTo>
                      <a:pt x="633" y="1289"/>
                    </a:lnTo>
                    <a:lnTo>
                      <a:pt x="633" y="1287"/>
                    </a:lnTo>
                    <a:lnTo>
                      <a:pt x="631" y="1287"/>
                    </a:lnTo>
                    <a:lnTo>
                      <a:pt x="633" y="1287"/>
                    </a:lnTo>
                    <a:lnTo>
                      <a:pt x="631" y="1286"/>
                    </a:lnTo>
                    <a:lnTo>
                      <a:pt x="629" y="1286"/>
                    </a:lnTo>
                    <a:lnTo>
                      <a:pt x="631" y="1284"/>
                    </a:lnTo>
                    <a:lnTo>
                      <a:pt x="629" y="1284"/>
                    </a:lnTo>
                    <a:lnTo>
                      <a:pt x="629" y="1282"/>
                    </a:lnTo>
                    <a:lnTo>
                      <a:pt x="629" y="1281"/>
                    </a:lnTo>
                    <a:lnTo>
                      <a:pt x="628" y="1281"/>
                    </a:lnTo>
                    <a:lnTo>
                      <a:pt x="626" y="1281"/>
                    </a:lnTo>
                    <a:lnTo>
                      <a:pt x="628" y="1279"/>
                    </a:lnTo>
                    <a:lnTo>
                      <a:pt x="626" y="1279"/>
                    </a:lnTo>
                    <a:lnTo>
                      <a:pt x="626" y="1277"/>
                    </a:lnTo>
                    <a:lnTo>
                      <a:pt x="624" y="1277"/>
                    </a:lnTo>
                    <a:lnTo>
                      <a:pt x="624" y="1276"/>
                    </a:lnTo>
                    <a:lnTo>
                      <a:pt x="623" y="1276"/>
                    </a:lnTo>
                    <a:lnTo>
                      <a:pt x="623" y="1274"/>
                    </a:lnTo>
                    <a:lnTo>
                      <a:pt x="621" y="1274"/>
                    </a:lnTo>
                    <a:lnTo>
                      <a:pt x="619" y="1274"/>
                    </a:lnTo>
                    <a:lnTo>
                      <a:pt x="619" y="1276"/>
                    </a:lnTo>
                    <a:lnTo>
                      <a:pt x="619" y="1277"/>
                    </a:lnTo>
                    <a:lnTo>
                      <a:pt x="619" y="1279"/>
                    </a:lnTo>
                    <a:lnTo>
                      <a:pt x="618" y="1277"/>
                    </a:lnTo>
                    <a:lnTo>
                      <a:pt x="618" y="1279"/>
                    </a:lnTo>
                    <a:lnTo>
                      <a:pt x="618" y="1277"/>
                    </a:lnTo>
                    <a:lnTo>
                      <a:pt x="618" y="1279"/>
                    </a:lnTo>
                    <a:lnTo>
                      <a:pt x="616" y="1279"/>
                    </a:lnTo>
                    <a:lnTo>
                      <a:pt x="616" y="1281"/>
                    </a:lnTo>
                    <a:lnTo>
                      <a:pt x="614" y="1281"/>
                    </a:lnTo>
                    <a:lnTo>
                      <a:pt x="612" y="1281"/>
                    </a:lnTo>
                    <a:lnTo>
                      <a:pt x="612" y="1279"/>
                    </a:lnTo>
                    <a:lnTo>
                      <a:pt x="611" y="1279"/>
                    </a:lnTo>
                    <a:lnTo>
                      <a:pt x="611" y="1277"/>
                    </a:lnTo>
                    <a:lnTo>
                      <a:pt x="609" y="1277"/>
                    </a:lnTo>
                    <a:lnTo>
                      <a:pt x="609" y="1276"/>
                    </a:lnTo>
                    <a:lnTo>
                      <a:pt x="607" y="1274"/>
                    </a:lnTo>
                    <a:lnTo>
                      <a:pt x="607" y="1272"/>
                    </a:lnTo>
                    <a:lnTo>
                      <a:pt x="606" y="1270"/>
                    </a:lnTo>
                    <a:lnTo>
                      <a:pt x="604" y="1270"/>
                    </a:lnTo>
                    <a:lnTo>
                      <a:pt x="604" y="1269"/>
                    </a:lnTo>
                    <a:lnTo>
                      <a:pt x="604" y="1270"/>
                    </a:lnTo>
                    <a:lnTo>
                      <a:pt x="604" y="1269"/>
                    </a:lnTo>
                    <a:lnTo>
                      <a:pt x="602" y="1269"/>
                    </a:lnTo>
                    <a:lnTo>
                      <a:pt x="602" y="1267"/>
                    </a:lnTo>
                    <a:lnTo>
                      <a:pt x="602" y="1265"/>
                    </a:lnTo>
                    <a:lnTo>
                      <a:pt x="601" y="1264"/>
                    </a:lnTo>
                    <a:lnTo>
                      <a:pt x="601" y="1265"/>
                    </a:lnTo>
                    <a:lnTo>
                      <a:pt x="601" y="1264"/>
                    </a:lnTo>
                    <a:lnTo>
                      <a:pt x="599" y="1264"/>
                    </a:lnTo>
                    <a:lnTo>
                      <a:pt x="599" y="1262"/>
                    </a:lnTo>
                    <a:lnTo>
                      <a:pt x="597" y="1262"/>
                    </a:lnTo>
                    <a:lnTo>
                      <a:pt x="597" y="1260"/>
                    </a:lnTo>
                    <a:lnTo>
                      <a:pt x="595" y="1260"/>
                    </a:lnTo>
                    <a:lnTo>
                      <a:pt x="594" y="1260"/>
                    </a:lnTo>
                    <a:lnTo>
                      <a:pt x="594" y="1258"/>
                    </a:lnTo>
                    <a:lnTo>
                      <a:pt x="594" y="1257"/>
                    </a:lnTo>
                    <a:lnTo>
                      <a:pt x="594" y="1258"/>
                    </a:lnTo>
                    <a:lnTo>
                      <a:pt x="592" y="1257"/>
                    </a:lnTo>
                    <a:lnTo>
                      <a:pt x="592" y="1255"/>
                    </a:lnTo>
                    <a:lnTo>
                      <a:pt x="592" y="1257"/>
                    </a:lnTo>
                    <a:lnTo>
                      <a:pt x="590" y="1257"/>
                    </a:lnTo>
                    <a:lnTo>
                      <a:pt x="590" y="1255"/>
                    </a:lnTo>
                    <a:lnTo>
                      <a:pt x="589" y="1255"/>
                    </a:lnTo>
                    <a:lnTo>
                      <a:pt x="589" y="1253"/>
                    </a:lnTo>
                    <a:lnTo>
                      <a:pt x="590" y="1253"/>
                    </a:lnTo>
                    <a:lnTo>
                      <a:pt x="589" y="1253"/>
                    </a:lnTo>
                    <a:lnTo>
                      <a:pt x="589" y="1252"/>
                    </a:lnTo>
                    <a:lnTo>
                      <a:pt x="587" y="1252"/>
                    </a:lnTo>
                    <a:lnTo>
                      <a:pt x="587" y="1250"/>
                    </a:lnTo>
                    <a:lnTo>
                      <a:pt x="585" y="1250"/>
                    </a:lnTo>
                    <a:lnTo>
                      <a:pt x="585" y="1248"/>
                    </a:lnTo>
                    <a:lnTo>
                      <a:pt x="584" y="1248"/>
                    </a:lnTo>
                    <a:lnTo>
                      <a:pt x="582" y="1247"/>
                    </a:lnTo>
                    <a:lnTo>
                      <a:pt x="582" y="1245"/>
                    </a:lnTo>
                    <a:lnTo>
                      <a:pt x="580" y="1245"/>
                    </a:lnTo>
                    <a:lnTo>
                      <a:pt x="578" y="1245"/>
                    </a:lnTo>
                    <a:lnTo>
                      <a:pt x="577" y="1245"/>
                    </a:lnTo>
                    <a:lnTo>
                      <a:pt x="575" y="1245"/>
                    </a:lnTo>
                    <a:lnTo>
                      <a:pt x="573" y="1245"/>
                    </a:lnTo>
                    <a:lnTo>
                      <a:pt x="572" y="1245"/>
                    </a:lnTo>
                    <a:lnTo>
                      <a:pt x="570" y="1245"/>
                    </a:lnTo>
                    <a:lnTo>
                      <a:pt x="570" y="1247"/>
                    </a:lnTo>
                    <a:lnTo>
                      <a:pt x="568" y="1248"/>
                    </a:lnTo>
                    <a:lnTo>
                      <a:pt x="568" y="1250"/>
                    </a:lnTo>
                    <a:lnTo>
                      <a:pt x="567" y="1252"/>
                    </a:lnTo>
                    <a:lnTo>
                      <a:pt x="565" y="1252"/>
                    </a:lnTo>
                    <a:lnTo>
                      <a:pt x="563" y="1252"/>
                    </a:lnTo>
                    <a:lnTo>
                      <a:pt x="563" y="1250"/>
                    </a:lnTo>
                    <a:lnTo>
                      <a:pt x="563" y="1252"/>
                    </a:lnTo>
                    <a:lnTo>
                      <a:pt x="561" y="1252"/>
                    </a:lnTo>
                    <a:lnTo>
                      <a:pt x="561" y="1253"/>
                    </a:lnTo>
                    <a:lnTo>
                      <a:pt x="560" y="1253"/>
                    </a:lnTo>
                    <a:lnTo>
                      <a:pt x="560" y="1252"/>
                    </a:lnTo>
                    <a:lnTo>
                      <a:pt x="558" y="1252"/>
                    </a:lnTo>
                    <a:lnTo>
                      <a:pt x="556" y="1252"/>
                    </a:lnTo>
                    <a:lnTo>
                      <a:pt x="555" y="1252"/>
                    </a:lnTo>
                    <a:lnTo>
                      <a:pt x="555" y="1250"/>
                    </a:lnTo>
                    <a:lnTo>
                      <a:pt x="555" y="1248"/>
                    </a:lnTo>
                    <a:lnTo>
                      <a:pt x="553" y="1248"/>
                    </a:lnTo>
                    <a:lnTo>
                      <a:pt x="555" y="1248"/>
                    </a:lnTo>
                    <a:lnTo>
                      <a:pt x="556" y="1247"/>
                    </a:lnTo>
                    <a:lnTo>
                      <a:pt x="558" y="1245"/>
                    </a:lnTo>
                    <a:lnTo>
                      <a:pt x="558" y="1243"/>
                    </a:lnTo>
                    <a:lnTo>
                      <a:pt x="560" y="1243"/>
                    </a:lnTo>
                    <a:lnTo>
                      <a:pt x="560" y="1241"/>
                    </a:lnTo>
                    <a:lnTo>
                      <a:pt x="561" y="1241"/>
                    </a:lnTo>
                    <a:lnTo>
                      <a:pt x="563" y="1241"/>
                    </a:lnTo>
                    <a:lnTo>
                      <a:pt x="563" y="1240"/>
                    </a:lnTo>
                    <a:lnTo>
                      <a:pt x="563" y="1238"/>
                    </a:lnTo>
                    <a:lnTo>
                      <a:pt x="563" y="1236"/>
                    </a:lnTo>
                    <a:lnTo>
                      <a:pt x="563" y="1235"/>
                    </a:lnTo>
                    <a:lnTo>
                      <a:pt x="565" y="1233"/>
                    </a:lnTo>
                    <a:lnTo>
                      <a:pt x="567" y="1233"/>
                    </a:lnTo>
                    <a:lnTo>
                      <a:pt x="567" y="1231"/>
                    </a:lnTo>
                    <a:lnTo>
                      <a:pt x="568" y="1233"/>
                    </a:lnTo>
                    <a:lnTo>
                      <a:pt x="570" y="1231"/>
                    </a:lnTo>
                    <a:lnTo>
                      <a:pt x="572" y="1231"/>
                    </a:lnTo>
                    <a:lnTo>
                      <a:pt x="572" y="1230"/>
                    </a:lnTo>
                    <a:lnTo>
                      <a:pt x="573" y="1230"/>
                    </a:lnTo>
                    <a:lnTo>
                      <a:pt x="573" y="1228"/>
                    </a:lnTo>
                    <a:lnTo>
                      <a:pt x="575" y="1228"/>
                    </a:lnTo>
                    <a:lnTo>
                      <a:pt x="575" y="1226"/>
                    </a:lnTo>
                    <a:lnTo>
                      <a:pt x="575" y="1224"/>
                    </a:lnTo>
                    <a:lnTo>
                      <a:pt x="577" y="1224"/>
                    </a:lnTo>
                    <a:lnTo>
                      <a:pt x="577" y="1223"/>
                    </a:lnTo>
                    <a:lnTo>
                      <a:pt x="578" y="1223"/>
                    </a:lnTo>
                    <a:lnTo>
                      <a:pt x="578" y="1221"/>
                    </a:lnTo>
                    <a:lnTo>
                      <a:pt x="580" y="1221"/>
                    </a:lnTo>
                    <a:lnTo>
                      <a:pt x="580" y="1219"/>
                    </a:lnTo>
                    <a:lnTo>
                      <a:pt x="582" y="1219"/>
                    </a:lnTo>
                    <a:lnTo>
                      <a:pt x="582" y="1218"/>
                    </a:lnTo>
                    <a:lnTo>
                      <a:pt x="582" y="1216"/>
                    </a:lnTo>
                    <a:lnTo>
                      <a:pt x="584" y="1216"/>
                    </a:lnTo>
                    <a:lnTo>
                      <a:pt x="585" y="1213"/>
                    </a:lnTo>
                    <a:lnTo>
                      <a:pt x="585" y="1211"/>
                    </a:lnTo>
                    <a:lnTo>
                      <a:pt x="585" y="1209"/>
                    </a:lnTo>
                    <a:lnTo>
                      <a:pt x="587" y="1209"/>
                    </a:lnTo>
                    <a:lnTo>
                      <a:pt x="587" y="1207"/>
                    </a:lnTo>
                    <a:lnTo>
                      <a:pt x="589" y="1207"/>
                    </a:lnTo>
                    <a:lnTo>
                      <a:pt x="589" y="1206"/>
                    </a:lnTo>
                    <a:lnTo>
                      <a:pt x="590" y="1206"/>
                    </a:lnTo>
                    <a:lnTo>
                      <a:pt x="594" y="1206"/>
                    </a:lnTo>
                    <a:lnTo>
                      <a:pt x="594" y="1204"/>
                    </a:lnTo>
                    <a:lnTo>
                      <a:pt x="594" y="1202"/>
                    </a:lnTo>
                    <a:lnTo>
                      <a:pt x="594" y="1201"/>
                    </a:lnTo>
                    <a:lnTo>
                      <a:pt x="595" y="1201"/>
                    </a:lnTo>
                    <a:lnTo>
                      <a:pt x="595" y="1199"/>
                    </a:lnTo>
                    <a:lnTo>
                      <a:pt x="597" y="1199"/>
                    </a:lnTo>
                    <a:lnTo>
                      <a:pt x="597" y="1197"/>
                    </a:lnTo>
                    <a:lnTo>
                      <a:pt x="597" y="1196"/>
                    </a:lnTo>
                    <a:lnTo>
                      <a:pt x="597" y="1194"/>
                    </a:lnTo>
                    <a:lnTo>
                      <a:pt x="599" y="1194"/>
                    </a:lnTo>
                    <a:lnTo>
                      <a:pt x="601" y="1194"/>
                    </a:lnTo>
                    <a:lnTo>
                      <a:pt x="602" y="1192"/>
                    </a:lnTo>
                    <a:lnTo>
                      <a:pt x="602" y="1190"/>
                    </a:lnTo>
                    <a:lnTo>
                      <a:pt x="604" y="1190"/>
                    </a:lnTo>
                    <a:lnTo>
                      <a:pt x="604" y="1189"/>
                    </a:lnTo>
                    <a:lnTo>
                      <a:pt x="606" y="1189"/>
                    </a:lnTo>
                    <a:lnTo>
                      <a:pt x="606" y="1187"/>
                    </a:lnTo>
                    <a:lnTo>
                      <a:pt x="607" y="1187"/>
                    </a:lnTo>
                    <a:lnTo>
                      <a:pt x="607" y="1185"/>
                    </a:lnTo>
                    <a:lnTo>
                      <a:pt x="607" y="1184"/>
                    </a:lnTo>
                    <a:lnTo>
                      <a:pt x="607" y="1182"/>
                    </a:lnTo>
                    <a:lnTo>
                      <a:pt x="609" y="1182"/>
                    </a:lnTo>
                    <a:lnTo>
                      <a:pt x="611" y="1182"/>
                    </a:lnTo>
                    <a:lnTo>
                      <a:pt x="612" y="1182"/>
                    </a:lnTo>
                    <a:lnTo>
                      <a:pt x="611" y="1180"/>
                    </a:lnTo>
                    <a:lnTo>
                      <a:pt x="611" y="1179"/>
                    </a:lnTo>
                    <a:lnTo>
                      <a:pt x="612" y="1177"/>
                    </a:lnTo>
                    <a:lnTo>
                      <a:pt x="614" y="1177"/>
                    </a:lnTo>
                    <a:lnTo>
                      <a:pt x="616" y="1177"/>
                    </a:lnTo>
                    <a:lnTo>
                      <a:pt x="618" y="1179"/>
                    </a:lnTo>
                    <a:lnTo>
                      <a:pt x="618" y="1180"/>
                    </a:lnTo>
                    <a:lnTo>
                      <a:pt x="618" y="1179"/>
                    </a:lnTo>
                    <a:lnTo>
                      <a:pt x="619" y="1177"/>
                    </a:lnTo>
                    <a:lnTo>
                      <a:pt x="619" y="1175"/>
                    </a:lnTo>
                    <a:lnTo>
                      <a:pt x="618" y="1175"/>
                    </a:lnTo>
                    <a:lnTo>
                      <a:pt x="616" y="1175"/>
                    </a:lnTo>
                    <a:lnTo>
                      <a:pt x="616" y="1173"/>
                    </a:lnTo>
                    <a:lnTo>
                      <a:pt x="616" y="1172"/>
                    </a:lnTo>
                    <a:lnTo>
                      <a:pt x="618" y="1172"/>
                    </a:lnTo>
                    <a:lnTo>
                      <a:pt x="619" y="1172"/>
                    </a:lnTo>
                    <a:lnTo>
                      <a:pt x="619" y="1170"/>
                    </a:lnTo>
                    <a:lnTo>
                      <a:pt x="621" y="1170"/>
                    </a:lnTo>
                    <a:lnTo>
                      <a:pt x="621" y="1168"/>
                    </a:lnTo>
                    <a:lnTo>
                      <a:pt x="621" y="1170"/>
                    </a:lnTo>
                    <a:lnTo>
                      <a:pt x="623" y="1170"/>
                    </a:lnTo>
                    <a:lnTo>
                      <a:pt x="623" y="1168"/>
                    </a:lnTo>
                    <a:lnTo>
                      <a:pt x="624" y="1168"/>
                    </a:lnTo>
                    <a:lnTo>
                      <a:pt x="624" y="1167"/>
                    </a:lnTo>
                    <a:lnTo>
                      <a:pt x="626" y="1167"/>
                    </a:lnTo>
                    <a:lnTo>
                      <a:pt x="628" y="1165"/>
                    </a:lnTo>
                    <a:lnTo>
                      <a:pt x="629" y="1165"/>
                    </a:lnTo>
                    <a:lnTo>
                      <a:pt x="628" y="1163"/>
                    </a:lnTo>
                    <a:lnTo>
                      <a:pt x="629" y="1163"/>
                    </a:lnTo>
                    <a:lnTo>
                      <a:pt x="629" y="1162"/>
                    </a:lnTo>
                    <a:lnTo>
                      <a:pt x="631" y="1160"/>
                    </a:lnTo>
                    <a:lnTo>
                      <a:pt x="633" y="1162"/>
                    </a:lnTo>
                    <a:lnTo>
                      <a:pt x="633" y="1160"/>
                    </a:lnTo>
                    <a:lnTo>
                      <a:pt x="635" y="1160"/>
                    </a:lnTo>
                    <a:lnTo>
                      <a:pt x="635" y="1158"/>
                    </a:lnTo>
                    <a:lnTo>
                      <a:pt x="636" y="1158"/>
                    </a:lnTo>
                    <a:lnTo>
                      <a:pt x="636" y="1160"/>
                    </a:lnTo>
                    <a:lnTo>
                      <a:pt x="638" y="1160"/>
                    </a:lnTo>
                    <a:lnTo>
                      <a:pt x="638" y="1158"/>
                    </a:lnTo>
                    <a:lnTo>
                      <a:pt x="640" y="1158"/>
                    </a:lnTo>
                    <a:lnTo>
                      <a:pt x="641" y="1156"/>
                    </a:lnTo>
                    <a:lnTo>
                      <a:pt x="640" y="1156"/>
                    </a:lnTo>
                    <a:lnTo>
                      <a:pt x="638" y="1156"/>
                    </a:lnTo>
                    <a:lnTo>
                      <a:pt x="638" y="1155"/>
                    </a:lnTo>
                    <a:lnTo>
                      <a:pt x="640" y="1155"/>
                    </a:lnTo>
                    <a:lnTo>
                      <a:pt x="641" y="1156"/>
                    </a:lnTo>
                    <a:lnTo>
                      <a:pt x="641" y="1155"/>
                    </a:lnTo>
                    <a:lnTo>
                      <a:pt x="643" y="1155"/>
                    </a:lnTo>
                    <a:lnTo>
                      <a:pt x="645" y="1155"/>
                    </a:lnTo>
                    <a:lnTo>
                      <a:pt x="645" y="1153"/>
                    </a:lnTo>
                    <a:lnTo>
                      <a:pt x="645" y="1151"/>
                    </a:lnTo>
                    <a:lnTo>
                      <a:pt x="645" y="1150"/>
                    </a:lnTo>
                    <a:lnTo>
                      <a:pt x="646" y="1150"/>
                    </a:lnTo>
                    <a:lnTo>
                      <a:pt x="646" y="1148"/>
                    </a:lnTo>
                    <a:lnTo>
                      <a:pt x="648" y="1146"/>
                    </a:lnTo>
                    <a:lnTo>
                      <a:pt x="648" y="1148"/>
                    </a:lnTo>
                    <a:lnTo>
                      <a:pt x="650" y="1148"/>
                    </a:lnTo>
                    <a:lnTo>
                      <a:pt x="650" y="1146"/>
                    </a:lnTo>
                    <a:lnTo>
                      <a:pt x="652" y="1146"/>
                    </a:lnTo>
                    <a:lnTo>
                      <a:pt x="652" y="1148"/>
                    </a:lnTo>
                    <a:lnTo>
                      <a:pt x="653" y="1146"/>
                    </a:lnTo>
                    <a:lnTo>
                      <a:pt x="652" y="1146"/>
                    </a:lnTo>
                    <a:lnTo>
                      <a:pt x="652" y="1145"/>
                    </a:lnTo>
                    <a:lnTo>
                      <a:pt x="653" y="1145"/>
                    </a:lnTo>
                    <a:lnTo>
                      <a:pt x="653" y="1146"/>
                    </a:lnTo>
                    <a:lnTo>
                      <a:pt x="655" y="1146"/>
                    </a:lnTo>
                    <a:lnTo>
                      <a:pt x="655" y="1145"/>
                    </a:lnTo>
                    <a:lnTo>
                      <a:pt x="655" y="1143"/>
                    </a:lnTo>
                    <a:lnTo>
                      <a:pt x="657" y="1143"/>
                    </a:lnTo>
                    <a:lnTo>
                      <a:pt x="657" y="1145"/>
                    </a:lnTo>
                    <a:lnTo>
                      <a:pt x="658" y="1145"/>
                    </a:lnTo>
                    <a:lnTo>
                      <a:pt x="660" y="1145"/>
                    </a:lnTo>
                    <a:lnTo>
                      <a:pt x="660" y="1143"/>
                    </a:lnTo>
                    <a:lnTo>
                      <a:pt x="660" y="1141"/>
                    </a:lnTo>
                    <a:lnTo>
                      <a:pt x="662" y="1141"/>
                    </a:lnTo>
                    <a:lnTo>
                      <a:pt x="662" y="1143"/>
                    </a:lnTo>
                    <a:lnTo>
                      <a:pt x="663" y="1143"/>
                    </a:lnTo>
                    <a:lnTo>
                      <a:pt x="663" y="1141"/>
                    </a:lnTo>
                    <a:lnTo>
                      <a:pt x="665" y="1141"/>
                    </a:lnTo>
                    <a:lnTo>
                      <a:pt x="665" y="1143"/>
                    </a:lnTo>
                    <a:lnTo>
                      <a:pt x="667" y="1143"/>
                    </a:lnTo>
                    <a:lnTo>
                      <a:pt x="667" y="1141"/>
                    </a:lnTo>
                    <a:lnTo>
                      <a:pt x="669" y="1139"/>
                    </a:lnTo>
                    <a:lnTo>
                      <a:pt x="669" y="1138"/>
                    </a:lnTo>
                    <a:lnTo>
                      <a:pt x="669" y="1136"/>
                    </a:lnTo>
                    <a:lnTo>
                      <a:pt x="670" y="1136"/>
                    </a:lnTo>
                    <a:lnTo>
                      <a:pt x="670" y="1138"/>
                    </a:lnTo>
                    <a:lnTo>
                      <a:pt x="672" y="1138"/>
                    </a:lnTo>
                    <a:lnTo>
                      <a:pt x="672" y="1136"/>
                    </a:lnTo>
                    <a:lnTo>
                      <a:pt x="674" y="1136"/>
                    </a:lnTo>
                    <a:lnTo>
                      <a:pt x="674" y="1134"/>
                    </a:lnTo>
                    <a:lnTo>
                      <a:pt x="675" y="1134"/>
                    </a:lnTo>
                    <a:lnTo>
                      <a:pt x="675" y="1133"/>
                    </a:lnTo>
                    <a:lnTo>
                      <a:pt x="677" y="1133"/>
                    </a:lnTo>
                    <a:lnTo>
                      <a:pt x="677" y="1131"/>
                    </a:lnTo>
                    <a:lnTo>
                      <a:pt x="679" y="1133"/>
                    </a:lnTo>
                    <a:lnTo>
                      <a:pt x="679" y="1131"/>
                    </a:lnTo>
                    <a:lnTo>
                      <a:pt x="680" y="1131"/>
                    </a:lnTo>
                    <a:lnTo>
                      <a:pt x="680" y="1133"/>
                    </a:lnTo>
                    <a:lnTo>
                      <a:pt x="680" y="1131"/>
                    </a:lnTo>
                    <a:lnTo>
                      <a:pt x="682" y="1131"/>
                    </a:lnTo>
                    <a:lnTo>
                      <a:pt x="680" y="1131"/>
                    </a:lnTo>
                    <a:lnTo>
                      <a:pt x="682" y="1131"/>
                    </a:lnTo>
                    <a:lnTo>
                      <a:pt x="682" y="1129"/>
                    </a:lnTo>
                    <a:lnTo>
                      <a:pt x="682" y="1128"/>
                    </a:lnTo>
                    <a:lnTo>
                      <a:pt x="682" y="1129"/>
                    </a:lnTo>
                    <a:lnTo>
                      <a:pt x="682" y="1128"/>
                    </a:lnTo>
                    <a:lnTo>
                      <a:pt x="684" y="1128"/>
                    </a:lnTo>
                    <a:lnTo>
                      <a:pt x="682" y="1128"/>
                    </a:lnTo>
                    <a:lnTo>
                      <a:pt x="682" y="1126"/>
                    </a:lnTo>
                    <a:lnTo>
                      <a:pt x="684" y="1128"/>
                    </a:lnTo>
                    <a:lnTo>
                      <a:pt x="684" y="1126"/>
                    </a:lnTo>
                    <a:lnTo>
                      <a:pt x="686" y="1126"/>
                    </a:lnTo>
                    <a:lnTo>
                      <a:pt x="684" y="1124"/>
                    </a:lnTo>
                    <a:lnTo>
                      <a:pt x="686" y="1124"/>
                    </a:lnTo>
                    <a:lnTo>
                      <a:pt x="686" y="1122"/>
                    </a:lnTo>
                    <a:lnTo>
                      <a:pt x="686" y="1124"/>
                    </a:lnTo>
                    <a:lnTo>
                      <a:pt x="686" y="1122"/>
                    </a:lnTo>
                    <a:lnTo>
                      <a:pt x="686" y="1121"/>
                    </a:lnTo>
                    <a:lnTo>
                      <a:pt x="687" y="1121"/>
                    </a:lnTo>
                    <a:lnTo>
                      <a:pt x="686" y="1119"/>
                    </a:lnTo>
                    <a:lnTo>
                      <a:pt x="686" y="1117"/>
                    </a:lnTo>
                    <a:lnTo>
                      <a:pt x="684" y="1117"/>
                    </a:lnTo>
                    <a:lnTo>
                      <a:pt x="686" y="1116"/>
                    </a:lnTo>
                    <a:lnTo>
                      <a:pt x="684" y="1116"/>
                    </a:lnTo>
                    <a:lnTo>
                      <a:pt x="684" y="1114"/>
                    </a:lnTo>
                    <a:lnTo>
                      <a:pt x="684" y="1116"/>
                    </a:lnTo>
                    <a:lnTo>
                      <a:pt x="684" y="1114"/>
                    </a:lnTo>
                    <a:lnTo>
                      <a:pt x="686" y="1114"/>
                    </a:lnTo>
                    <a:lnTo>
                      <a:pt x="684" y="1114"/>
                    </a:lnTo>
                    <a:lnTo>
                      <a:pt x="686" y="1112"/>
                    </a:lnTo>
                    <a:lnTo>
                      <a:pt x="684" y="1112"/>
                    </a:lnTo>
                    <a:lnTo>
                      <a:pt x="684" y="1110"/>
                    </a:lnTo>
                    <a:lnTo>
                      <a:pt x="684" y="1109"/>
                    </a:lnTo>
                    <a:lnTo>
                      <a:pt x="686" y="1109"/>
                    </a:lnTo>
                    <a:lnTo>
                      <a:pt x="684" y="1109"/>
                    </a:lnTo>
                    <a:lnTo>
                      <a:pt x="686" y="1107"/>
                    </a:lnTo>
                    <a:lnTo>
                      <a:pt x="684" y="1107"/>
                    </a:lnTo>
                    <a:lnTo>
                      <a:pt x="686" y="1107"/>
                    </a:lnTo>
                    <a:lnTo>
                      <a:pt x="686" y="1105"/>
                    </a:lnTo>
                    <a:lnTo>
                      <a:pt x="686" y="1104"/>
                    </a:lnTo>
                    <a:lnTo>
                      <a:pt x="686" y="1102"/>
                    </a:lnTo>
                    <a:lnTo>
                      <a:pt x="686" y="1100"/>
                    </a:lnTo>
                    <a:lnTo>
                      <a:pt x="687" y="1100"/>
                    </a:lnTo>
                    <a:lnTo>
                      <a:pt x="687" y="1099"/>
                    </a:lnTo>
                    <a:lnTo>
                      <a:pt x="687" y="1097"/>
                    </a:lnTo>
                    <a:lnTo>
                      <a:pt x="687" y="1095"/>
                    </a:lnTo>
                    <a:lnTo>
                      <a:pt x="686" y="1093"/>
                    </a:lnTo>
                    <a:lnTo>
                      <a:pt x="684" y="1092"/>
                    </a:lnTo>
                    <a:lnTo>
                      <a:pt x="684" y="1090"/>
                    </a:lnTo>
                    <a:lnTo>
                      <a:pt x="682" y="1088"/>
                    </a:lnTo>
                    <a:lnTo>
                      <a:pt x="682" y="1087"/>
                    </a:lnTo>
                    <a:lnTo>
                      <a:pt x="680" y="1087"/>
                    </a:lnTo>
                    <a:lnTo>
                      <a:pt x="680" y="1085"/>
                    </a:lnTo>
                    <a:lnTo>
                      <a:pt x="682" y="1085"/>
                    </a:lnTo>
                    <a:lnTo>
                      <a:pt x="680" y="1085"/>
                    </a:lnTo>
                    <a:lnTo>
                      <a:pt x="682" y="1083"/>
                    </a:lnTo>
                    <a:lnTo>
                      <a:pt x="680" y="1083"/>
                    </a:lnTo>
                    <a:lnTo>
                      <a:pt x="680" y="1082"/>
                    </a:lnTo>
                    <a:lnTo>
                      <a:pt x="682" y="1082"/>
                    </a:lnTo>
                    <a:lnTo>
                      <a:pt x="680" y="1080"/>
                    </a:lnTo>
                    <a:lnTo>
                      <a:pt x="680" y="1078"/>
                    </a:lnTo>
                    <a:lnTo>
                      <a:pt x="680" y="1076"/>
                    </a:lnTo>
                    <a:lnTo>
                      <a:pt x="679" y="1076"/>
                    </a:lnTo>
                    <a:lnTo>
                      <a:pt x="680" y="1076"/>
                    </a:lnTo>
                    <a:lnTo>
                      <a:pt x="679" y="1076"/>
                    </a:lnTo>
                    <a:lnTo>
                      <a:pt x="680" y="1076"/>
                    </a:lnTo>
                    <a:lnTo>
                      <a:pt x="680" y="1075"/>
                    </a:lnTo>
                    <a:lnTo>
                      <a:pt x="679" y="1075"/>
                    </a:lnTo>
                    <a:lnTo>
                      <a:pt x="679" y="1073"/>
                    </a:lnTo>
                    <a:lnTo>
                      <a:pt x="679" y="1075"/>
                    </a:lnTo>
                    <a:lnTo>
                      <a:pt x="679" y="1073"/>
                    </a:lnTo>
                    <a:lnTo>
                      <a:pt x="677" y="1073"/>
                    </a:lnTo>
                    <a:lnTo>
                      <a:pt x="677" y="1075"/>
                    </a:lnTo>
                    <a:lnTo>
                      <a:pt x="677" y="1073"/>
                    </a:lnTo>
                    <a:lnTo>
                      <a:pt x="675" y="1073"/>
                    </a:lnTo>
                    <a:lnTo>
                      <a:pt x="677" y="1073"/>
                    </a:lnTo>
                    <a:lnTo>
                      <a:pt x="675" y="1073"/>
                    </a:lnTo>
                    <a:lnTo>
                      <a:pt x="675" y="1071"/>
                    </a:lnTo>
                    <a:lnTo>
                      <a:pt x="674" y="1071"/>
                    </a:lnTo>
                    <a:lnTo>
                      <a:pt x="672" y="1071"/>
                    </a:lnTo>
                    <a:lnTo>
                      <a:pt x="672" y="1073"/>
                    </a:lnTo>
                    <a:lnTo>
                      <a:pt x="670" y="1071"/>
                    </a:lnTo>
                    <a:lnTo>
                      <a:pt x="672" y="1071"/>
                    </a:lnTo>
                    <a:lnTo>
                      <a:pt x="672" y="1070"/>
                    </a:lnTo>
                    <a:lnTo>
                      <a:pt x="672" y="1068"/>
                    </a:lnTo>
                    <a:lnTo>
                      <a:pt x="670" y="1070"/>
                    </a:lnTo>
                    <a:lnTo>
                      <a:pt x="669" y="1070"/>
                    </a:lnTo>
                    <a:lnTo>
                      <a:pt x="669" y="1071"/>
                    </a:lnTo>
                    <a:lnTo>
                      <a:pt x="667" y="1071"/>
                    </a:lnTo>
                    <a:lnTo>
                      <a:pt x="667" y="1073"/>
                    </a:lnTo>
                    <a:lnTo>
                      <a:pt x="665" y="1071"/>
                    </a:lnTo>
                    <a:lnTo>
                      <a:pt x="663" y="1071"/>
                    </a:lnTo>
                    <a:lnTo>
                      <a:pt x="663" y="1073"/>
                    </a:lnTo>
                    <a:lnTo>
                      <a:pt x="662" y="1073"/>
                    </a:lnTo>
                    <a:lnTo>
                      <a:pt x="662" y="1075"/>
                    </a:lnTo>
                    <a:lnTo>
                      <a:pt x="660" y="1075"/>
                    </a:lnTo>
                    <a:lnTo>
                      <a:pt x="662" y="1076"/>
                    </a:lnTo>
                    <a:lnTo>
                      <a:pt x="660" y="1076"/>
                    </a:lnTo>
                    <a:lnTo>
                      <a:pt x="660" y="1075"/>
                    </a:lnTo>
                    <a:lnTo>
                      <a:pt x="658" y="1073"/>
                    </a:lnTo>
                    <a:lnTo>
                      <a:pt x="657" y="1073"/>
                    </a:lnTo>
                    <a:lnTo>
                      <a:pt x="657" y="1071"/>
                    </a:lnTo>
                    <a:lnTo>
                      <a:pt x="657" y="1073"/>
                    </a:lnTo>
                    <a:lnTo>
                      <a:pt x="655" y="1073"/>
                    </a:lnTo>
                    <a:lnTo>
                      <a:pt x="655" y="1071"/>
                    </a:lnTo>
                    <a:lnTo>
                      <a:pt x="655" y="1070"/>
                    </a:lnTo>
                    <a:lnTo>
                      <a:pt x="655" y="1068"/>
                    </a:lnTo>
                    <a:lnTo>
                      <a:pt x="655" y="1066"/>
                    </a:lnTo>
                    <a:lnTo>
                      <a:pt x="655" y="1065"/>
                    </a:lnTo>
                    <a:lnTo>
                      <a:pt x="657" y="1065"/>
                    </a:lnTo>
                    <a:lnTo>
                      <a:pt x="657" y="1063"/>
                    </a:lnTo>
                    <a:lnTo>
                      <a:pt x="658" y="1061"/>
                    </a:lnTo>
                    <a:lnTo>
                      <a:pt x="658" y="1059"/>
                    </a:lnTo>
                    <a:lnTo>
                      <a:pt x="660" y="1058"/>
                    </a:lnTo>
                    <a:lnTo>
                      <a:pt x="660" y="1056"/>
                    </a:lnTo>
                    <a:lnTo>
                      <a:pt x="660" y="1054"/>
                    </a:lnTo>
                    <a:lnTo>
                      <a:pt x="660" y="1053"/>
                    </a:lnTo>
                    <a:lnTo>
                      <a:pt x="660" y="1051"/>
                    </a:lnTo>
                    <a:lnTo>
                      <a:pt x="660" y="1049"/>
                    </a:lnTo>
                    <a:lnTo>
                      <a:pt x="660" y="1048"/>
                    </a:lnTo>
                    <a:lnTo>
                      <a:pt x="662" y="1046"/>
                    </a:lnTo>
                    <a:lnTo>
                      <a:pt x="662" y="1044"/>
                    </a:lnTo>
                    <a:lnTo>
                      <a:pt x="662" y="1042"/>
                    </a:lnTo>
                    <a:lnTo>
                      <a:pt x="663" y="1041"/>
                    </a:lnTo>
                    <a:lnTo>
                      <a:pt x="663" y="1039"/>
                    </a:lnTo>
                    <a:lnTo>
                      <a:pt x="663" y="1037"/>
                    </a:lnTo>
                    <a:lnTo>
                      <a:pt x="665" y="1037"/>
                    </a:lnTo>
                    <a:lnTo>
                      <a:pt x="665" y="1036"/>
                    </a:lnTo>
                    <a:lnTo>
                      <a:pt x="665" y="1034"/>
                    </a:lnTo>
                    <a:lnTo>
                      <a:pt x="663" y="1034"/>
                    </a:lnTo>
                    <a:lnTo>
                      <a:pt x="663" y="1032"/>
                    </a:lnTo>
                    <a:lnTo>
                      <a:pt x="663" y="1031"/>
                    </a:lnTo>
                    <a:lnTo>
                      <a:pt x="665" y="1031"/>
                    </a:lnTo>
                    <a:lnTo>
                      <a:pt x="665" y="1029"/>
                    </a:lnTo>
                    <a:lnTo>
                      <a:pt x="667" y="1027"/>
                    </a:lnTo>
                    <a:lnTo>
                      <a:pt x="667" y="1025"/>
                    </a:lnTo>
                    <a:lnTo>
                      <a:pt x="665" y="1024"/>
                    </a:lnTo>
                    <a:lnTo>
                      <a:pt x="665" y="1022"/>
                    </a:lnTo>
                    <a:lnTo>
                      <a:pt x="663" y="1022"/>
                    </a:lnTo>
                    <a:lnTo>
                      <a:pt x="663" y="1020"/>
                    </a:lnTo>
                    <a:lnTo>
                      <a:pt x="663" y="1019"/>
                    </a:lnTo>
                    <a:lnTo>
                      <a:pt x="663" y="1017"/>
                    </a:lnTo>
                    <a:lnTo>
                      <a:pt x="665" y="1017"/>
                    </a:lnTo>
                    <a:lnTo>
                      <a:pt x="665" y="1015"/>
                    </a:lnTo>
                    <a:lnTo>
                      <a:pt x="665" y="1014"/>
                    </a:lnTo>
                    <a:lnTo>
                      <a:pt x="663" y="1014"/>
                    </a:lnTo>
                    <a:lnTo>
                      <a:pt x="662" y="1012"/>
                    </a:lnTo>
                    <a:lnTo>
                      <a:pt x="660" y="1010"/>
                    </a:lnTo>
                    <a:lnTo>
                      <a:pt x="660" y="1008"/>
                    </a:lnTo>
                    <a:lnTo>
                      <a:pt x="658" y="1008"/>
                    </a:lnTo>
                    <a:lnTo>
                      <a:pt x="657" y="1008"/>
                    </a:lnTo>
                    <a:lnTo>
                      <a:pt x="655" y="1007"/>
                    </a:lnTo>
                    <a:lnTo>
                      <a:pt x="655" y="1008"/>
                    </a:lnTo>
                    <a:lnTo>
                      <a:pt x="655" y="1007"/>
                    </a:lnTo>
                    <a:lnTo>
                      <a:pt x="653" y="1007"/>
                    </a:lnTo>
                    <a:lnTo>
                      <a:pt x="652" y="1007"/>
                    </a:lnTo>
                    <a:lnTo>
                      <a:pt x="652" y="1008"/>
                    </a:lnTo>
                    <a:lnTo>
                      <a:pt x="650" y="1008"/>
                    </a:lnTo>
                    <a:lnTo>
                      <a:pt x="648" y="1008"/>
                    </a:lnTo>
                    <a:lnTo>
                      <a:pt x="646" y="1008"/>
                    </a:lnTo>
                    <a:lnTo>
                      <a:pt x="646" y="1010"/>
                    </a:lnTo>
                    <a:lnTo>
                      <a:pt x="645" y="1010"/>
                    </a:lnTo>
                    <a:lnTo>
                      <a:pt x="645" y="1012"/>
                    </a:lnTo>
                    <a:lnTo>
                      <a:pt x="643" y="1012"/>
                    </a:lnTo>
                    <a:lnTo>
                      <a:pt x="641" y="1012"/>
                    </a:lnTo>
                    <a:lnTo>
                      <a:pt x="640" y="1012"/>
                    </a:lnTo>
                    <a:lnTo>
                      <a:pt x="640" y="1014"/>
                    </a:lnTo>
                    <a:lnTo>
                      <a:pt x="640" y="1012"/>
                    </a:lnTo>
                    <a:lnTo>
                      <a:pt x="638" y="1012"/>
                    </a:lnTo>
                    <a:lnTo>
                      <a:pt x="636" y="1014"/>
                    </a:lnTo>
                    <a:lnTo>
                      <a:pt x="636" y="1012"/>
                    </a:lnTo>
                    <a:lnTo>
                      <a:pt x="636" y="1014"/>
                    </a:lnTo>
                    <a:lnTo>
                      <a:pt x="635" y="1014"/>
                    </a:lnTo>
                    <a:lnTo>
                      <a:pt x="633" y="1014"/>
                    </a:lnTo>
                    <a:lnTo>
                      <a:pt x="633" y="1012"/>
                    </a:lnTo>
                    <a:lnTo>
                      <a:pt x="631" y="1012"/>
                    </a:lnTo>
                    <a:lnTo>
                      <a:pt x="629" y="1014"/>
                    </a:lnTo>
                    <a:lnTo>
                      <a:pt x="629" y="1012"/>
                    </a:lnTo>
                    <a:lnTo>
                      <a:pt x="628" y="1012"/>
                    </a:lnTo>
                    <a:lnTo>
                      <a:pt x="628" y="1010"/>
                    </a:lnTo>
                    <a:lnTo>
                      <a:pt x="626" y="1010"/>
                    </a:lnTo>
                    <a:lnTo>
                      <a:pt x="626" y="1008"/>
                    </a:lnTo>
                    <a:lnTo>
                      <a:pt x="626" y="1007"/>
                    </a:lnTo>
                    <a:lnTo>
                      <a:pt x="626" y="1005"/>
                    </a:lnTo>
                    <a:lnTo>
                      <a:pt x="628" y="1005"/>
                    </a:lnTo>
                    <a:lnTo>
                      <a:pt x="626" y="1005"/>
                    </a:lnTo>
                    <a:lnTo>
                      <a:pt x="626" y="1003"/>
                    </a:lnTo>
                    <a:lnTo>
                      <a:pt x="626" y="1002"/>
                    </a:lnTo>
                    <a:lnTo>
                      <a:pt x="626" y="1000"/>
                    </a:lnTo>
                    <a:lnTo>
                      <a:pt x="624" y="1000"/>
                    </a:lnTo>
                    <a:lnTo>
                      <a:pt x="623" y="1000"/>
                    </a:lnTo>
                    <a:lnTo>
                      <a:pt x="623" y="998"/>
                    </a:lnTo>
                    <a:lnTo>
                      <a:pt x="624" y="998"/>
                    </a:lnTo>
                    <a:lnTo>
                      <a:pt x="624" y="997"/>
                    </a:lnTo>
                    <a:lnTo>
                      <a:pt x="623" y="997"/>
                    </a:lnTo>
                    <a:lnTo>
                      <a:pt x="623" y="995"/>
                    </a:lnTo>
                    <a:lnTo>
                      <a:pt x="623" y="993"/>
                    </a:lnTo>
                    <a:lnTo>
                      <a:pt x="624" y="991"/>
                    </a:lnTo>
                    <a:lnTo>
                      <a:pt x="624" y="990"/>
                    </a:lnTo>
                    <a:lnTo>
                      <a:pt x="623" y="988"/>
                    </a:lnTo>
                    <a:lnTo>
                      <a:pt x="623" y="986"/>
                    </a:lnTo>
                    <a:lnTo>
                      <a:pt x="624" y="986"/>
                    </a:lnTo>
                    <a:lnTo>
                      <a:pt x="623" y="986"/>
                    </a:lnTo>
                    <a:lnTo>
                      <a:pt x="623" y="985"/>
                    </a:lnTo>
                    <a:lnTo>
                      <a:pt x="624" y="985"/>
                    </a:lnTo>
                    <a:lnTo>
                      <a:pt x="624" y="983"/>
                    </a:lnTo>
                    <a:lnTo>
                      <a:pt x="623" y="983"/>
                    </a:lnTo>
                    <a:lnTo>
                      <a:pt x="623" y="981"/>
                    </a:lnTo>
                    <a:lnTo>
                      <a:pt x="621" y="981"/>
                    </a:lnTo>
                    <a:lnTo>
                      <a:pt x="621" y="980"/>
                    </a:lnTo>
                    <a:lnTo>
                      <a:pt x="621" y="978"/>
                    </a:lnTo>
                    <a:lnTo>
                      <a:pt x="619" y="978"/>
                    </a:lnTo>
                    <a:lnTo>
                      <a:pt x="621" y="976"/>
                    </a:lnTo>
                    <a:lnTo>
                      <a:pt x="619" y="974"/>
                    </a:lnTo>
                    <a:lnTo>
                      <a:pt x="619" y="973"/>
                    </a:lnTo>
                    <a:lnTo>
                      <a:pt x="619" y="971"/>
                    </a:lnTo>
                    <a:lnTo>
                      <a:pt x="619" y="969"/>
                    </a:lnTo>
                    <a:lnTo>
                      <a:pt x="619" y="968"/>
                    </a:lnTo>
                    <a:lnTo>
                      <a:pt x="621" y="968"/>
                    </a:lnTo>
                    <a:lnTo>
                      <a:pt x="621" y="966"/>
                    </a:lnTo>
                    <a:lnTo>
                      <a:pt x="621" y="964"/>
                    </a:lnTo>
                    <a:lnTo>
                      <a:pt x="621" y="963"/>
                    </a:lnTo>
                    <a:lnTo>
                      <a:pt x="619" y="963"/>
                    </a:lnTo>
                    <a:lnTo>
                      <a:pt x="619" y="961"/>
                    </a:lnTo>
                    <a:lnTo>
                      <a:pt x="618" y="961"/>
                    </a:lnTo>
                    <a:lnTo>
                      <a:pt x="618" y="959"/>
                    </a:lnTo>
                    <a:lnTo>
                      <a:pt x="616" y="959"/>
                    </a:lnTo>
                    <a:lnTo>
                      <a:pt x="616" y="957"/>
                    </a:lnTo>
                    <a:lnTo>
                      <a:pt x="616" y="956"/>
                    </a:lnTo>
                    <a:lnTo>
                      <a:pt x="618" y="956"/>
                    </a:lnTo>
                    <a:lnTo>
                      <a:pt x="616" y="956"/>
                    </a:lnTo>
                    <a:lnTo>
                      <a:pt x="616" y="954"/>
                    </a:lnTo>
                    <a:lnTo>
                      <a:pt x="614" y="954"/>
                    </a:lnTo>
                    <a:lnTo>
                      <a:pt x="614" y="952"/>
                    </a:lnTo>
                    <a:lnTo>
                      <a:pt x="612" y="951"/>
                    </a:lnTo>
                    <a:lnTo>
                      <a:pt x="611" y="951"/>
                    </a:lnTo>
                    <a:lnTo>
                      <a:pt x="609" y="951"/>
                    </a:lnTo>
                    <a:lnTo>
                      <a:pt x="607" y="951"/>
                    </a:lnTo>
                    <a:lnTo>
                      <a:pt x="606" y="951"/>
                    </a:lnTo>
                    <a:lnTo>
                      <a:pt x="604" y="951"/>
                    </a:lnTo>
                    <a:lnTo>
                      <a:pt x="604" y="949"/>
                    </a:lnTo>
                    <a:lnTo>
                      <a:pt x="604" y="951"/>
                    </a:lnTo>
                    <a:lnTo>
                      <a:pt x="602" y="951"/>
                    </a:lnTo>
                    <a:lnTo>
                      <a:pt x="601" y="949"/>
                    </a:lnTo>
                    <a:lnTo>
                      <a:pt x="601" y="951"/>
                    </a:lnTo>
                    <a:lnTo>
                      <a:pt x="601" y="949"/>
                    </a:lnTo>
                    <a:lnTo>
                      <a:pt x="599" y="949"/>
                    </a:lnTo>
                    <a:lnTo>
                      <a:pt x="599" y="947"/>
                    </a:lnTo>
                    <a:lnTo>
                      <a:pt x="597" y="947"/>
                    </a:lnTo>
                    <a:lnTo>
                      <a:pt x="595" y="947"/>
                    </a:lnTo>
                    <a:lnTo>
                      <a:pt x="595" y="945"/>
                    </a:lnTo>
                    <a:lnTo>
                      <a:pt x="595" y="944"/>
                    </a:lnTo>
                    <a:lnTo>
                      <a:pt x="594" y="944"/>
                    </a:lnTo>
                    <a:lnTo>
                      <a:pt x="594" y="942"/>
                    </a:lnTo>
                    <a:lnTo>
                      <a:pt x="594" y="944"/>
                    </a:lnTo>
                    <a:lnTo>
                      <a:pt x="592" y="942"/>
                    </a:lnTo>
                    <a:lnTo>
                      <a:pt x="592" y="944"/>
                    </a:lnTo>
                    <a:lnTo>
                      <a:pt x="590" y="944"/>
                    </a:lnTo>
                    <a:lnTo>
                      <a:pt x="590" y="945"/>
                    </a:lnTo>
                    <a:lnTo>
                      <a:pt x="589" y="945"/>
                    </a:lnTo>
                    <a:lnTo>
                      <a:pt x="590" y="945"/>
                    </a:lnTo>
                    <a:lnTo>
                      <a:pt x="589" y="945"/>
                    </a:lnTo>
                    <a:lnTo>
                      <a:pt x="589" y="947"/>
                    </a:lnTo>
                    <a:lnTo>
                      <a:pt x="587" y="947"/>
                    </a:lnTo>
                    <a:lnTo>
                      <a:pt x="587" y="949"/>
                    </a:lnTo>
                    <a:lnTo>
                      <a:pt x="585" y="949"/>
                    </a:lnTo>
                    <a:lnTo>
                      <a:pt x="587" y="949"/>
                    </a:lnTo>
                    <a:lnTo>
                      <a:pt x="585" y="949"/>
                    </a:lnTo>
                    <a:lnTo>
                      <a:pt x="585" y="947"/>
                    </a:lnTo>
                    <a:lnTo>
                      <a:pt x="584" y="947"/>
                    </a:lnTo>
                    <a:lnTo>
                      <a:pt x="584" y="949"/>
                    </a:lnTo>
                    <a:lnTo>
                      <a:pt x="582" y="949"/>
                    </a:lnTo>
                    <a:lnTo>
                      <a:pt x="580" y="949"/>
                    </a:lnTo>
                    <a:lnTo>
                      <a:pt x="580" y="951"/>
                    </a:lnTo>
                    <a:lnTo>
                      <a:pt x="578" y="951"/>
                    </a:lnTo>
                    <a:lnTo>
                      <a:pt x="578" y="949"/>
                    </a:lnTo>
                    <a:lnTo>
                      <a:pt x="577" y="949"/>
                    </a:lnTo>
                    <a:lnTo>
                      <a:pt x="575" y="949"/>
                    </a:lnTo>
                    <a:lnTo>
                      <a:pt x="573" y="947"/>
                    </a:lnTo>
                    <a:lnTo>
                      <a:pt x="573" y="949"/>
                    </a:lnTo>
                    <a:lnTo>
                      <a:pt x="572" y="949"/>
                    </a:lnTo>
                    <a:lnTo>
                      <a:pt x="570" y="949"/>
                    </a:lnTo>
                    <a:lnTo>
                      <a:pt x="570" y="947"/>
                    </a:lnTo>
                    <a:lnTo>
                      <a:pt x="568" y="949"/>
                    </a:lnTo>
                    <a:lnTo>
                      <a:pt x="568" y="947"/>
                    </a:lnTo>
                    <a:lnTo>
                      <a:pt x="567" y="947"/>
                    </a:lnTo>
                    <a:lnTo>
                      <a:pt x="567" y="949"/>
                    </a:lnTo>
                    <a:lnTo>
                      <a:pt x="565" y="949"/>
                    </a:lnTo>
                    <a:lnTo>
                      <a:pt x="565" y="947"/>
                    </a:lnTo>
                    <a:lnTo>
                      <a:pt x="563" y="949"/>
                    </a:lnTo>
                    <a:lnTo>
                      <a:pt x="561" y="947"/>
                    </a:lnTo>
                    <a:lnTo>
                      <a:pt x="561" y="949"/>
                    </a:lnTo>
                    <a:lnTo>
                      <a:pt x="561" y="947"/>
                    </a:lnTo>
                    <a:lnTo>
                      <a:pt x="560" y="947"/>
                    </a:lnTo>
                    <a:lnTo>
                      <a:pt x="558" y="947"/>
                    </a:lnTo>
                    <a:lnTo>
                      <a:pt x="556" y="947"/>
                    </a:lnTo>
                    <a:lnTo>
                      <a:pt x="556" y="945"/>
                    </a:lnTo>
                    <a:lnTo>
                      <a:pt x="556" y="947"/>
                    </a:lnTo>
                    <a:lnTo>
                      <a:pt x="555" y="945"/>
                    </a:lnTo>
                    <a:lnTo>
                      <a:pt x="553" y="945"/>
                    </a:lnTo>
                    <a:lnTo>
                      <a:pt x="553" y="944"/>
                    </a:lnTo>
                    <a:lnTo>
                      <a:pt x="551" y="944"/>
                    </a:lnTo>
                    <a:lnTo>
                      <a:pt x="550" y="944"/>
                    </a:lnTo>
                    <a:lnTo>
                      <a:pt x="550" y="945"/>
                    </a:lnTo>
                    <a:lnTo>
                      <a:pt x="548" y="945"/>
                    </a:lnTo>
                    <a:lnTo>
                      <a:pt x="548" y="944"/>
                    </a:lnTo>
                    <a:lnTo>
                      <a:pt x="546" y="945"/>
                    </a:lnTo>
                    <a:lnTo>
                      <a:pt x="546" y="944"/>
                    </a:lnTo>
                    <a:lnTo>
                      <a:pt x="544" y="944"/>
                    </a:lnTo>
                    <a:lnTo>
                      <a:pt x="544" y="945"/>
                    </a:lnTo>
                    <a:lnTo>
                      <a:pt x="544" y="944"/>
                    </a:lnTo>
                    <a:lnTo>
                      <a:pt x="543" y="944"/>
                    </a:lnTo>
                    <a:lnTo>
                      <a:pt x="543" y="942"/>
                    </a:lnTo>
                    <a:lnTo>
                      <a:pt x="541" y="942"/>
                    </a:lnTo>
                    <a:lnTo>
                      <a:pt x="541" y="944"/>
                    </a:lnTo>
                    <a:lnTo>
                      <a:pt x="541" y="942"/>
                    </a:lnTo>
                    <a:lnTo>
                      <a:pt x="539" y="942"/>
                    </a:lnTo>
                    <a:lnTo>
                      <a:pt x="539" y="940"/>
                    </a:lnTo>
                    <a:lnTo>
                      <a:pt x="541" y="940"/>
                    </a:lnTo>
                    <a:lnTo>
                      <a:pt x="541" y="939"/>
                    </a:lnTo>
                    <a:lnTo>
                      <a:pt x="543" y="939"/>
                    </a:lnTo>
                    <a:lnTo>
                      <a:pt x="543" y="937"/>
                    </a:lnTo>
                    <a:lnTo>
                      <a:pt x="543" y="935"/>
                    </a:lnTo>
                    <a:lnTo>
                      <a:pt x="541" y="935"/>
                    </a:lnTo>
                    <a:lnTo>
                      <a:pt x="541" y="934"/>
                    </a:lnTo>
                    <a:lnTo>
                      <a:pt x="543" y="934"/>
                    </a:lnTo>
                    <a:lnTo>
                      <a:pt x="543" y="932"/>
                    </a:lnTo>
                    <a:lnTo>
                      <a:pt x="543" y="930"/>
                    </a:lnTo>
                    <a:lnTo>
                      <a:pt x="544" y="928"/>
                    </a:lnTo>
                    <a:lnTo>
                      <a:pt x="543" y="928"/>
                    </a:lnTo>
                    <a:lnTo>
                      <a:pt x="543" y="927"/>
                    </a:lnTo>
                    <a:lnTo>
                      <a:pt x="543" y="925"/>
                    </a:lnTo>
                    <a:lnTo>
                      <a:pt x="543" y="923"/>
                    </a:lnTo>
                    <a:lnTo>
                      <a:pt x="541" y="923"/>
                    </a:lnTo>
                    <a:lnTo>
                      <a:pt x="541" y="922"/>
                    </a:lnTo>
                    <a:lnTo>
                      <a:pt x="543" y="922"/>
                    </a:lnTo>
                    <a:lnTo>
                      <a:pt x="543" y="920"/>
                    </a:lnTo>
                    <a:lnTo>
                      <a:pt x="543" y="918"/>
                    </a:lnTo>
                    <a:lnTo>
                      <a:pt x="544" y="918"/>
                    </a:lnTo>
                    <a:lnTo>
                      <a:pt x="544" y="917"/>
                    </a:lnTo>
                    <a:lnTo>
                      <a:pt x="544" y="915"/>
                    </a:lnTo>
                    <a:lnTo>
                      <a:pt x="543" y="913"/>
                    </a:lnTo>
                    <a:lnTo>
                      <a:pt x="544" y="913"/>
                    </a:lnTo>
                    <a:lnTo>
                      <a:pt x="544" y="911"/>
                    </a:lnTo>
                    <a:lnTo>
                      <a:pt x="546" y="911"/>
                    </a:lnTo>
                    <a:lnTo>
                      <a:pt x="546" y="910"/>
                    </a:lnTo>
                    <a:lnTo>
                      <a:pt x="544" y="910"/>
                    </a:lnTo>
                    <a:lnTo>
                      <a:pt x="544" y="908"/>
                    </a:lnTo>
                    <a:lnTo>
                      <a:pt x="546" y="906"/>
                    </a:lnTo>
                    <a:lnTo>
                      <a:pt x="544" y="906"/>
                    </a:lnTo>
                    <a:lnTo>
                      <a:pt x="544" y="905"/>
                    </a:lnTo>
                    <a:lnTo>
                      <a:pt x="546" y="905"/>
                    </a:lnTo>
                    <a:lnTo>
                      <a:pt x="546" y="903"/>
                    </a:lnTo>
                    <a:lnTo>
                      <a:pt x="546" y="901"/>
                    </a:lnTo>
                    <a:lnTo>
                      <a:pt x="544" y="901"/>
                    </a:lnTo>
                    <a:lnTo>
                      <a:pt x="544" y="900"/>
                    </a:lnTo>
                    <a:lnTo>
                      <a:pt x="543" y="900"/>
                    </a:lnTo>
                    <a:lnTo>
                      <a:pt x="544" y="900"/>
                    </a:lnTo>
                    <a:lnTo>
                      <a:pt x="544" y="898"/>
                    </a:lnTo>
                    <a:lnTo>
                      <a:pt x="544" y="896"/>
                    </a:lnTo>
                    <a:lnTo>
                      <a:pt x="543" y="896"/>
                    </a:lnTo>
                    <a:lnTo>
                      <a:pt x="541" y="896"/>
                    </a:lnTo>
                    <a:lnTo>
                      <a:pt x="543" y="894"/>
                    </a:lnTo>
                    <a:lnTo>
                      <a:pt x="544" y="894"/>
                    </a:lnTo>
                    <a:lnTo>
                      <a:pt x="544" y="893"/>
                    </a:lnTo>
                    <a:lnTo>
                      <a:pt x="543" y="893"/>
                    </a:lnTo>
                    <a:lnTo>
                      <a:pt x="543" y="891"/>
                    </a:lnTo>
                    <a:lnTo>
                      <a:pt x="543" y="893"/>
                    </a:lnTo>
                    <a:lnTo>
                      <a:pt x="541" y="893"/>
                    </a:lnTo>
                    <a:lnTo>
                      <a:pt x="541" y="891"/>
                    </a:lnTo>
                    <a:lnTo>
                      <a:pt x="541" y="889"/>
                    </a:lnTo>
                    <a:lnTo>
                      <a:pt x="539" y="889"/>
                    </a:lnTo>
                    <a:lnTo>
                      <a:pt x="541" y="888"/>
                    </a:lnTo>
                    <a:lnTo>
                      <a:pt x="539" y="888"/>
                    </a:lnTo>
                    <a:lnTo>
                      <a:pt x="539" y="886"/>
                    </a:lnTo>
                    <a:lnTo>
                      <a:pt x="539" y="884"/>
                    </a:lnTo>
                    <a:lnTo>
                      <a:pt x="541" y="884"/>
                    </a:lnTo>
                    <a:lnTo>
                      <a:pt x="541" y="883"/>
                    </a:lnTo>
                    <a:lnTo>
                      <a:pt x="539" y="883"/>
                    </a:lnTo>
                    <a:lnTo>
                      <a:pt x="538" y="881"/>
                    </a:lnTo>
                    <a:lnTo>
                      <a:pt x="538" y="879"/>
                    </a:lnTo>
                    <a:lnTo>
                      <a:pt x="536" y="879"/>
                    </a:lnTo>
                    <a:lnTo>
                      <a:pt x="538" y="877"/>
                    </a:lnTo>
                    <a:lnTo>
                      <a:pt x="536" y="876"/>
                    </a:lnTo>
                    <a:lnTo>
                      <a:pt x="536" y="877"/>
                    </a:lnTo>
                    <a:lnTo>
                      <a:pt x="534" y="877"/>
                    </a:lnTo>
                    <a:lnTo>
                      <a:pt x="534" y="876"/>
                    </a:lnTo>
                    <a:lnTo>
                      <a:pt x="536" y="876"/>
                    </a:lnTo>
                    <a:lnTo>
                      <a:pt x="536" y="874"/>
                    </a:lnTo>
                    <a:lnTo>
                      <a:pt x="534" y="874"/>
                    </a:lnTo>
                    <a:lnTo>
                      <a:pt x="536" y="872"/>
                    </a:lnTo>
                    <a:lnTo>
                      <a:pt x="538" y="872"/>
                    </a:lnTo>
                    <a:lnTo>
                      <a:pt x="538" y="871"/>
                    </a:lnTo>
                    <a:lnTo>
                      <a:pt x="539" y="871"/>
                    </a:lnTo>
                    <a:lnTo>
                      <a:pt x="539" y="869"/>
                    </a:lnTo>
                    <a:lnTo>
                      <a:pt x="541" y="869"/>
                    </a:lnTo>
                    <a:lnTo>
                      <a:pt x="543" y="869"/>
                    </a:lnTo>
                    <a:lnTo>
                      <a:pt x="544" y="869"/>
                    </a:lnTo>
                    <a:lnTo>
                      <a:pt x="544" y="867"/>
                    </a:lnTo>
                    <a:lnTo>
                      <a:pt x="544" y="866"/>
                    </a:lnTo>
                    <a:lnTo>
                      <a:pt x="541" y="862"/>
                    </a:lnTo>
                    <a:lnTo>
                      <a:pt x="536" y="859"/>
                    </a:lnTo>
                    <a:lnTo>
                      <a:pt x="538" y="855"/>
                    </a:lnTo>
                    <a:lnTo>
                      <a:pt x="541" y="849"/>
                    </a:lnTo>
                    <a:lnTo>
                      <a:pt x="544" y="842"/>
                    </a:lnTo>
                    <a:lnTo>
                      <a:pt x="544" y="840"/>
                    </a:lnTo>
                    <a:lnTo>
                      <a:pt x="544" y="838"/>
                    </a:lnTo>
                    <a:lnTo>
                      <a:pt x="546" y="837"/>
                    </a:lnTo>
                    <a:lnTo>
                      <a:pt x="548" y="833"/>
                    </a:lnTo>
                    <a:lnTo>
                      <a:pt x="550" y="833"/>
                    </a:lnTo>
                    <a:lnTo>
                      <a:pt x="550" y="832"/>
                    </a:lnTo>
                    <a:lnTo>
                      <a:pt x="551" y="832"/>
                    </a:lnTo>
                    <a:lnTo>
                      <a:pt x="550" y="832"/>
                    </a:lnTo>
                    <a:lnTo>
                      <a:pt x="550" y="830"/>
                    </a:lnTo>
                    <a:lnTo>
                      <a:pt x="550" y="828"/>
                    </a:lnTo>
                    <a:lnTo>
                      <a:pt x="548" y="828"/>
                    </a:lnTo>
                    <a:lnTo>
                      <a:pt x="548" y="826"/>
                    </a:lnTo>
                    <a:lnTo>
                      <a:pt x="550" y="825"/>
                    </a:lnTo>
                    <a:lnTo>
                      <a:pt x="550" y="823"/>
                    </a:lnTo>
                    <a:lnTo>
                      <a:pt x="550" y="821"/>
                    </a:lnTo>
                    <a:lnTo>
                      <a:pt x="551" y="820"/>
                    </a:lnTo>
                    <a:lnTo>
                      <a:pt x="551" y="816"/>
                    </a:lnTo>
                    <a:lnTo>
                      <a:pt x="553" y="815"/>
                    </a:lnTo>
                    <a:lnTo>
                      <a:pt x="555" y="808"/>
                    </a:lnTo>
                    <a:lnTo>
                      <a:pt x="555" y="806"/>
                    </a:lnTo>
                    <a:lnTo>
                      <a:pt x="555" y="804"/>
                    </a:lnTo>
                    <a:lnTo>
                      <a:pt x="556" y="804"/>
                    </a:lnTo>
                    <a:lnTo>
                      <a:pt x="558" y="804"/>
                    </a:lnTo>
                    <a:lnTo>
                      <a:pt x="558" y="803"/>
                    </a:lnTo>
                    <a:lnTo>
                      <a:pt x="556" y="803"/>
                    </a:lnTo>
                    <a:lnTo>
                      <a:pt x="555" y="801"/>
                    </a:lnTo>
                    <a:lnTo>
                      <a:pt x="555" y="799"/>
                    </a:lnTo>
                    <a:lnTo>
                      <a:pt x="553" y="797"/>
                    </a:lnTo>
                    <a:lnTo>
                      <a:pt x="553" y="796"/>
                    </a:lnTo>
                    <a:lnTo>
                      <a:pt x="550" y="791"/>
                    </a:lnTo>
                    <a:lnTo>
                      <a:pt x="551" y="791"/>
                    </a:lnTo>
                    <a:lnTo>
                      <a:pt x="551" y="789"/>
                    </a:lnTo>
                    <a:lnTo>
                      <a:pt x="550" y="787"/>
                    </a:lnTo>
                    <a:lnTo>
                      <a:pt x="550" y="786"/>
                    </a:lnTo>
                    <a:lnTo>
                      <a:pt x="548" y="786"/>
                    </a:lnTo>
                    <a:lnTo>
                      <a:pt x="548" y="784"/>
                    </a:lnTo>
                    <a:lnTo>
                      <a:pt x="548" y="782"/>
                    </a:lnTo>
                    <a:lnTo>
                      <a:pt x="548" y="780"/>
                    </a:lnTo>
                    <a:lnTo>
                      <a:pt x="550" y="780"/>
                    </a:lnTo>
                    <a:lnTo>
                      <a:pt x="548" y="780"/>
                    </a:lnTo>
                    <a:lnTo>
                      <a:pt x="546" y="779"/>
                    </a:lnTo>
                    <a:lnTo>
                      <a:pt x="544" y="777"/>
                    </a:lnTo>
                    <a:lnTo>
                      <a:pt x="543" y="777"/>
                    </a:lnTo>
                    <a:lnTo>
                      <a:pt x="543" y="779"/>
                    </a:lnTo>
                    <a:lnTo>
                      <a:pt x="541" y="779"/>
                    </a:lnTo>
                    <a:lnTo>
                      <a:pt x="539" y="779"/>
                    </a:lnTo>
                    <a:lnTo>
                      <a:pt x="539" y="777"/>
                    </a:lnTo>
                    <a:lnTo>
                      <a:pt x="538" y="777"/>
                    </a:lnTo>
                    <a:lnTo>
                      <a:pt x="536" y="777"/>
                    </a:lnTo>
                    <a:lnTo>
                      <a:pt x="536" y="775"/>
                    </a:lnTo>
                    <a:lnTo>
                      <a:pt x="534" y="774"/>
                    </a:lnTo>
                    <a:lnTo>
                      <a:pt x="533" y="774"/>
                    </a:lnTo>
                    <a:lnTo>
                      <a:pt x="531" y="774"/>
                    </a:lnTo>
                    <a:lnTo>
                      <a:pt x="531" y="772"/>
                    </a:lnTo>
                    <a:lnTo>
                      <a:pt x="531" y="770"/>
                    </a:lnTo>
                    <a:lnTo>
                      <a:pt x="529" y="770"/>
                    </a:lnTo>
                    <a:lnTo>
                      <a:pt x="529" y="769"/>
                    </a:lnTo>
                    <a:lnTo>
                      <a:pt x="527" y="769"/>
                    </a:lnTo>
                    <a:lnTo>
                      <a:pt x="527" y="767"/>
                    </a:lnTo>
                    <a:lnTo>
                      <a:pt x="527" y="765"/>
                    </a:lnTo>
                    <a:lnTo>
                      <a:pt x="527" y="763"/>
                    </a:lnTo>
                    <a:lnTo>
                      <a:pt x="526" y="763"/>
                    </a:lnTo>
                    <a:lnTo>
                      <a:pt x="526" y="762"/>
                    </a:lnTo>
                    <a:lnTo>
                      <a:pt x="526" y="760"/>
                    </a:lnTo>
                    <a:lnTo>
                      <a:pt x="524" y="760"/>
                    </a:lnTo>
                    <a:lnTo>
                      <a:pt x="524" y="758"/>
                    </a:lnTo>
                    <a:lnTo>
                      <a:pt x="524" y="757"/>
                    </a:lnTo>
                    <a:lnTo>
                      <a:pt x="524" y="755"/>
                    </a:lnTo>
                    <a:lnTo>
                      <a:pt x="524" y="753"/>
                    </a:lnTo>
                    <a:lnTo>
                      <a:pt x="524" y="752"/>
                    </a:lnTo>
                    <a:lnTo>
                      <a:pt x="524" y="750"/>
                    </a:lnTo>
                    <a:lnTo>
                      <a:pt x="524" y="748"/>
                    </a:lnTo>
                    <a:lnTo>
                      <a:pt x="526" y="748"/>
                    </a:lnTo>
                    <a:lnTo>
                      <a:pt x="526" y="746"/>
                    </a:lnTo>
                    <a:lnTo>
                      <a:pt x="526" y="745"/>
                    </a:lnTo>
                    <a:lnTo>
                      <a:pt x="527" y="745"/>
                    </a:lnTo>
                    <a:lnTo>
                      <a:pt x="529" y="743"/>
                    </a:lnTo>
                    <a:lnTo>
                      <a:pt x="529" y="741"/>
                    </a:lnTo>
                    <a:lnTo>
                      <a:pt x="527" y="741"/>
                    </a:lnTo>
                    <a:lnTo>
                      <a:pt x="527" y="740"/>
                    </a:lnTo>
                    <a:lnTo>
                      <a:pt x="529" y="740"/>
                    </a:lnTo>
                    <a:lnTo>
                      <a:pt x="529" y="738"/>
                    </a:lnTo>
                    <a:lnTo>
                      <a:pt x="529" y="736"/>
                    </a:lnTo>
                    <a:lnTo>
                      <a:pt x="529" y="735"/>
                    </a:lnTo>
                    <a:lnTo>
                      <a:pt x="527" y="735"/>
                    </a:lnTo>
                    <a:lnTo>
                      <a:pt x="527" y="736"/>
                    </a:lnTo>
                    <a:lnTo>
                      <a:pt x="526" y="736"/>
                    </a:lnTo>
                    <a:lnTo>
                      <a:pt x="522" y="736"/>
                    </a:lnTo>
                    <a:lnTo>
                      <a:pt x="517" y="736"/>
                    </a:lnTo>
                    <a:lnTo>
                      <a:pt x="516" y="736"/>
                    </a:lnTo>
                    <a:lnTo>
                      <a:pt x="514" y="736"/>
                    </a:lnTo>
                    <a:lnTo>
                      <a:pt x="507" y="736"/>
                    </a:lnTo>
                    <a:lnTo>
                      <a:pt x="502" y="736"/>
                    </a:lnTo>
                    <a:lnTo>
                      <a:pt x="500" y="736"/>
                    </a:lnTo>
                    <a:lnTo>
                      <a:pt x="499" y="736"/>
                    </a:lnTo>
                    <a:lnTo>
                      <a:pt x="495" y="735"/>
                    </a:lnTo>
                    <a:lnTo>
                      <a:pt x="492" y="735"/>
                    </a:lnTo>
                    <a:lnTo>
                      <a:pt x="490" y="735"/>
                    </a:lnTo>
                    <a:lnTo>
                      <a:pt x="488" y="735"/>
                    </a:lnTo>
                    <a:lnTo>
                      <a:pt x="482" y="735"/>
                    </a:lnTo>
                    <a:lnTo>
                      <a:pt x="478" y="735"/>
                    </a:lnTo>
                    <a:lnTo>
                      <a:pt x="476" y="735"/>
                    </a:lnTo>
                    <a:lnTo>
                      <a:pt x="473" y="735"/>
                    </a:lnTo>
                    <a:lnTo>
                      <a:pt x="471" y="735"/>
                    </a:lnTo>
                    <a:lnTo>
                      <a:pt x="470" y="735"/>
                    </a:lnTo>
                    <a:lnTo>
                      <a:pt x="468" y="735"/>
                    </a:lnTo>
                    <a:lnTo>
                      <a:pt x="466" y="735"/>
                    </a:lnTo>
                    <a:lnTo>
                      <a:pt x="466" y="731"/>
                    </a:lnTo>
                    <a:lnTo>
                      <a:pt x="466" y="728"/>
                    </a:lnTo>
                    <a:lnTo>
                      <a:pt x="465" y="711"/>
                    </a:lnTo>
                    <a:lnTo>
                      <a:pt x="465" y="709"/>
                    </a:lnTo>
                    <a:lnTo>
                      <a:pt x="465" y="707"/>
                    </a:lnTo>
                    <a:lnTo>
                      <a:pt x="463" y="706"/>
                    </a:lnTo>
                    <a:lnTo>
                      <a:pt x="461" y="702"/>
                    </a:lnTo>
                    <a:lnTo>
                      <a:pt x="456" y="697"/>
                    </a:lnTo>
                    <a:lnTo>
                      <a:pt x="453" y="694"/>
                    </a:lnTo>
                    <a:lnTo>
                      <a:pt x="456" y="694"/>
                    </a:lnTo>
                    <a:lnTo>
                      <a:pt x="458" y="694"/>
                    </a:lnTo>
                    <a:lnTo>
                      <a:pt x="461" y="694"/>
                    </a:lnTo>
                    <a:lnTo>
                      <a:pt x="463" y="694"/>
                    </a:lnTo>
                    <a:lnTo>
                      <a:pt x="465" y="694"/>
                    </a:lnTo>
                    <a:lnTo>
                      <a:pt x="465" y="690"/>
                    </a:lnTo>
                    <a:lnTo>
                      <a:pt x="465" y="689"/>
                    </a:lnTo>
                    <a:lnTo>
                      <a:pt x="465" y="687"/>
                    </a:lnTo>
                    <a:lnTo>
                      <a:pt x="465" y="684"/>
                    </a:lnTo>
                    <a:lnTo>
                      <a:pt x="465" y="682"/>
                    </a:lnTo>
                    <a:lnTo>
                      <a:pt x="465" y="680"/>
                    </a:lnTo>
                    <a:lnTo>
                      <a:pt x="463" y="678"/>
                    </a:lnTo>
                    <a:lnTo>
                      <a:pt x="463" y="677"/>
                    </a:lnTo>
                    <a:lnTo>
                      <a:pt x="461" y="677"/>
                    </a:lnTo>
                    <a:lnTo>
                      <a:pt x="461" y="675"/>
                    </a:lnTo>
                    <a:lnTo>
                      <a:pt x="461" y="673"/>
                    </a:lnTo>
                    <a:lnTo>
                      <a:pt x="461" y="672"/>
                    </a:lnTo>
                    <a:lnTo>
                      <a:pt x="459" y="672"/>
                    </a:lnTo>
                    <a:lnTo>
                      <a:pt x="459" y="670"/>
                    </a:lnTo>
                    <a:lnTo>
                      <a:pt x="459" y="668"/>
                    </a:lnTo>
                    <a:lnTo>
                      <a:pt x="458" y="668"/>
                    </a:lnTo>
                    <a:lnTo>
                      <a:pt x="458" y="667"/>
                    </a:lnTo>
                    <a:lnTo>
                      <a:pt x="458" y="665"/>
                    </a:lnTo>
                    <a:lnTo>
                      <a:pt x="458" y="663"/>
                    </a:lnTo>
                    <a:lnTo>
                      <a:pt x="456" y="663"/>
                    </a:lnTo>
                    <a:lnTo>
                      <a:pt x="456" y="661"/>
                    </a:lnTo>
                    <a:lnTo>
                      <a:pt x="456" y="660"/>
                    </a:lnTo>
                    <a:lnTo>
                      <a:pt x="456" y="658"/>
                    </a:lnTo>
                    <a:lnTo>
                      <a:pt x="458" y="658"/>
                    </a:lnTo>
                    <a:lnTo>
                      <a:pt x="458" y="656"/>
                    </a:lnTo>
                    <a:lnTo>
                      <a:pt x="459" y="656"/>
                    </a:lnTo>
                    <a:lnTo>
                      <a:pt x="459" y="655"/>
                    </a:lnTo>
                    <a:lnTo>
                      <a:pt x="458" y="655"/>
                    </a:lnTo>
                    <a:lnTo>
                      <a:pt x="458" y="653"/>
                    </a:lnTo>
                    <a:lnTo>
                      <a:pt x="458" y="651"/>
                    </a:lnTo>
                    <a:lnTo>
                      <a:pt x="456" y="651"/>
                    </a:lnTo>
                    <a:lnTo>
                      <a:pt x="458" y="651"/>
                    </a:lnTo>
                    <a:lnTo>
                      <a:pt x="456" y="650"/>
                    </a:lnTo>
                    <a:lnTo>
                      <a:pt x="456" y="651"/>
                    </a:lnTo>
                    <a:lnTo>
                      <a:pt x="456" y="650"/>
                    </a:lnTo>
                    <a:lnTo>
                      <a:pt x="458" y="650"/>
                    </a:lnTo>
                    <a:lnTo>
                      <a:pt x="456" y="650"/>
                    </a:lnTo>
                    <a:lnTo>
                      <a:pt x="458" y="650"/>
                    </a:lnTo>
                    <a:lnTo>
                      <a:pt x="456" y="650"/>
                    </a:lnTo>
                    <a:lnTo>
                      <a:pt x="458" y="648"/>
                    </a:lnTo>
                    <a:lnTo>
                      <a:pt x="456" y="648"/>
                    </a:lnTo>
                    <a:lnTo>
                      <a:pt x="454" y="648"/>
                    </a:lnTo>
                    <a:lnTo>
                      <a:pt x="453" y="646"/>
                    </a:lnTo>
                    <a:lnTo>
                      <a:pt x="451" y="646"/>
                    </a:lnTo>
                    <a:lnTo>
                      <a:pt x="449" y="646"/>
                    </a:lnTo>
                    <a:lnTo>
                      <a:pt x="449" y="644"/>
                    </a:lnTo>
                    <a:lnTo>
                      <a:pt x="449" y="646"/>
                    </a:lnTo>
                    <a:lnTo>
                      <a:pt x="449" y="644"/>
                    </a:lnTo>
                    <a:lnTo>
                      <a:pt x="448" y="644"/>
                    </a:lnTo>
                    <a:lnTo>
                      <a:pt x="446" y="644"/>
                    </a:lnTo>
                    <a:lnTo>
                      <a:pt x="446" y="643"/>
                    </a:lnTo>
                    <a:lnTo>
                      <a:pt x="444" y="643"/>
                    </a:lnTo>
                    <a:lnTo>
                      <a:pt x="442" y="643"/>
                    </a:lnTo>
                    <a:lnTo>
                      <a:pt x="442" y="641"/>
                    </a:lnTo>
                    <a:lnTo>
                      <a:pt x="442" y="639"/>
                    </a:lnTo>
                    <a:lnTo>
                      <a:pt x="441" y="639"/>
                    </a:lnTo>
                    <a:lnTo>
                      <a:pt x="439" y="639"/>
                    </a:lnTo>
                    <a:lnTo>
                      <a:pt x="439" y="638"/>
                    </a:lnTo>
                    <a:lnTo>
                      <a:pt x="437" y="638"/>
                    </a:lnTo>
                    <a:lnTo>
                      <a:pt x="437" y="639"/>
                    </a:lnTo>
                    <a:lnTo>
                      <a:pt x="437" y="638"/>
                    </a:lnTo>
                    <a:lnTo>
                      <a:pt x="436" y="638"/>
                    </a:lnTo>
                    <a:lnTo>
                      <a:pt x="436" y="639"/>
                    </a:lnTo>
                    <a:lnTo>
                      <a:pt x="434" y="639"/>
                    </a:lnTo>
                    <a:lnTo>
                      <a:pt x="434" y="638"/>
                    </a:lnTo>
                    <a:lnTo>
                      <a:pt x="434" y="639"/>
                    </a:lnTo>
                    <a:lnTo>
                      <a:pt x="432" y="639"/>
                    </a:lnTo>
                    <a:lnTo>
                      <a:pt x="432" y="638"/>
                    </a:lnTo>
                    <a:lnTo>
                      <a:pt x="432" y="639"/>
                    </a:lnTo>
                    <a:lnTo>
                      <a:pt x="431" y="639"/>
                    </a:lnTo>
                    <a:lnTo>
                      <a:pt x="431" y="638"/>
                    </a:lnTo>
                    <a:lnTo>
                      <a:pt x="429" y="638"/>
                    </a:lnTo>
                    <a:lnTo>
                      <a:pt x="427" y="638"/>
                    </a:lnTo>
                    <a:lnTo>
                      <a:pt x="427" y="639"/>
                    </a:lnTo>
                    <a:lnTo>
                      <a:pt x="425" y="639"/>
                    </a:lnTo>
                    <a:lnTo>
                      <a:pt x="424" y="639"/>
                    </a:lnTo>
                    <a:lnTo>
                      <a:pt x="422" y="639"/>
                    </a:lnTo>
                    <a:lnTo>
                      <a:pt x="420" y="639"/>
                    </a:lnTo>
                    <a:lnTo>
                      <a:pt x="419" y="638"/>
                    </a:lnTo>
                    <a:lnTo>
                      <a:pt x="419" y="639"/>
                    </a:lnTo>
                    <a:lnTo>
                      <a:pt x="417" y="638"/>
                    </a:lnTo>
                    <a:lnTo>
                      <a:pt x="417" y="639"/>
                    </a:lnTo>
                    <a:lnTo>
                      <a:pt x="417" y="638"/>
                    </a:lnTo>
                    <a:lnTo>
                      <a:pt x="415" y="638"/>
                    </a:lnTo>
                    <a:lnTo>
                      <a:pt x="415" y="639"/>
                    </a:lnTo>
                    <a:lnTo>
                      <a:pt x="414" y="639"/>
                    </a:lnTo>
                    <a:lnTo>
                      <a:pt x="412" y="639"/>
                    </a:lnTo>
                    <a:lnTo>
                      <a:pt x="410" y="639"/>
                    </a:lnTo>
                    <a:lnTo>
                      <a:pt x="410" y="638"/>
                    </a:lnTo>
                    <a:lnTo>
                      <a:pt x="408" y="638"/>
                    </a:lnTo>
                    <a:lnTo>
                      <a:pt x="408" y="636"/>
                    </a:lnTo>
                    <a:lnTo>
                      <a:pt x="407" y="634"/>
                    </a:lnTo>
                    <a:lnTo>
                      <a:pt x="407" y="636"/>
                    </a:lnTo>
                    <a:lnTo>
                      <a:pt x="407" y="634"/>
                    </a:lnTo>
                    <a:lnTo>
                      <a:pt x="405" y="632"/>
                    </a:lnTo>
                    <a:lnTo>
                      <a:pt x="405" y="634"/>
                    </a:lnTo>
                    <a:lnTo>
                      <a:pt x="405" y="632"/>
                    </a:lnTo>
                    <a:lnTo>
                      <a:pt x="403" y="632"/>
                    </a:lnTo>
                    <a:lnTo>
                      <a:pt x="403" y="631"/>
                    </a:lnTo>
                    <a:lnTo>
                      <a:pt x="402" y="631"/>
                    </a:lnTo>
                    <a:lnTo>
                      <a:pt x="402" y="629"/>
                    </a:lnTo>
                    <a:lnTo>
                      <a:pt x="402" y="627"/>
                    </a:lnTo>
                    <a:lnTo>
                      <a:pt x="402" y="626"/>
                    </a:lnTo>
                    <a:lnTo>
                      <a:pt x="400" y="626"/>
                    </a:lnTo>
                    <a:lnTo>
                      <a:pt x="400" y="624"/>
                    </a:lnTo>
                    <a:lnTo>
                      <a:pt x="398" y="624"/>
                    </a:lnTo>
                    <a:lnTo>
                      <a:pt x="400" y="626"/>
                    </a:lnTo>
                    <a:lnTo>
                      <a:pt x="398" y="626"/>
                    </a:lnTo>
                    <a:lnTo>
                      <a:pt x="398" y="624"/>
                    </a:lnTo>
                    <a:lnTo>
                      <a:pt x="397" y="624"/>
                    </a:lnTo>
                    <a:lnTo>
                      <a:pt x="397" y="626"/>
                    </a:lnTo>
                    <a:lnTo>
                      <a:pt x="395" y="626"/>
                    </a:lnTo>
                    <a:lnTo>
                      <a:pt x="393" y="626"/>
                    </a:lnTo>
                    <a:lnTo>
                      <a:pt x="391" y="626"/>
                    </a:lnTo>
                    <a:lnTo>
                      <a:pt x="391" y="624"/>
                    </a:lnTo>
                    <a:lnTo>
                      <a:pt x="391" y="626"/>
                    </a:lnTo>
                    <a:lnTo>
                      <a:pt x="391" y="624"/>
                    </a:lnTo>
                    <a:lnTo>
                      <a:pt x="390" y="624"/>
                    </a:lnTo>
                    <a:lnTo>
                      <a:pt x="390" y="622"/>
                    </a:lnTo>
                    <a:lnTo>
                      <a:pt x="390" y="624"/>
                    </a:lnTo>
                    <a:lnTo>
                      <a:pt x="388" y="624"/>
                    </a:lnTo>
                    <a:lnTo>
                      <a:pt x="388" y="622"/>
                    </a:lnTo>
                    <a:lnTo>
                      <a:pt x="386" y="624"/>
                    </a:lnTo>
                    <a:lnTo>
                      <a:pt x="386" y="622"/>
                    </a:lnTo>
                    <a:lnTo>
                      <a:pt x="385" y="622"/>
                    </a:lnTo>
                    <a:lnTo>
                      <a:pt x="385" y="621"/>
                    </a:lnTo>
                    <a:lnTo>
                      <a:pt x="383" y="621"/>
                    </a:lnTo>
                    <a:lnTo>
                      <a:pt x="383" y="619"/>
                    </a:lnTo>
                    <a:lnTo>
                      <a:pt x="383" y="621"/>
                    </a:lnTo>
                    <a:lnTo>
                      <a:pt x="381" y="621"/>
                    </a:lnTo>
                    <a:lnTo>
                      <a:pt x="381" y="622"/>
                    </a:lnTo>
                    <a:lnTo>
                      <a:pt x="380" y="621"/>
                    </a:lnTo>
                    <a:lnTo>
                      <a:pt x="378" y="621"/>
                    </a:lnTo>
                    <a:lnTo>
                      <a:pt x="378" y="619"/>
                    </a:lnTo>
                    <a:lnTo>
                      <a:pt x="376" y="619"/>
                    </a:lnTo>
                    <a:lnTo>
                      <a:pt x="376" y="617"/>
                    </a:lnTo>
                    <a:lnTo>
                      <a:pt x="374" y="617"/>
                    </a:lnTo>
                    <a:lnTo>
                      <a:pt x="374" y="615"/>
                    </a:lnTo>
                    <a:lnTo>
                      <a:pt x="373" y="615"/>
                    </a:lnTo>
                    <a:lnTo>
                      <a:pt x="371" y="615"/>
                    </a:lnTo>
                    <a:lnTo>
                      <a:pt x="371" y="614"/>
                    </a:lnTo>
                    <a:lnTo>
                      <a:pt x="371" y="612"/>
                    </a:lnTo>
                    <a:lnTo>
                      <a:pt x="369" y="612"/>
                    </a:lnTo>
                    <a:lnTo>
                      <a:pt x="369" y="610"/>
                    </a:lnTo>
                    <a:lnTo>
                      <a:pt x="368" y="610"/>
                    </a:lnTo>
                    <a:lnTo>
                      <a:pt x="368" y="609"/>
                    </a:lnTo>
                    <a:lnTo>
                      <a:pt x="366" y="609"/>
                    </a:lnTo>
                    <a:lnTo>
                      <a:pt x="366" y="607"/>
                    </a:lnTo>
                    <a:lnTo>
                      <a:pt x="366" y="609"/>
                    </a:lnTo>
                    <a:lnTo>
                      <a:pt x="364" y="607"/>
                    </a:lnTo>
                    <a:lnTo>
                      <a:pt x="364" y="609"/>
                    </a:lnTo>
                    <a:lnTo>
                      <a:pt x="363" y="609"/>
                    </a:lnTo>
                    <a:lnTo>
                      <a:pt x="364" y="610"/>
                    </a:lnTo>
                    <a:lnTo>
                      <a:pt x="363" y="610"/>
                    </a:lnTo>
                    <a:lnTo>
                      <a:pt x="361" y="610"/>
                    </a:lnTo>
                    <a:lnTo>
                      <a:pt x="361" y="609"/>
                    </a:lnTo>
                    <a:lnTo>
                      <a:pt x="359" y="609"/>
                    </a:lnTo>
                    <a:lnTo>
                      <a:pt x="357" y="609"/>
                    </a:lnTo>
                    <a:lnTo>
                      <a:pt x="357" y="607"/>
                    </a:lnTo>
                    <a:lnTo>
                      <a:pt x="356" y="607"/>
                    </a:lnTo>
                    <a:lnTo>
                      <a:pt x="357" y="607"/>
                    </a:lnTo>
                    <a:lnTo>
                      <a:pt x="357" y="605"/>
                    </a:lnTo>
                    <a:lnTo>
                      <a:pt x="356" y="605"/>
                    </a:lnTo>
                    <a:lnTo>
                      <a:pt x="354" y="605"/>
                    </a:lnTo>
                    <a:lnTo>
                      <a:pt x="354" y="604"/>
                    </a:lnTo>
                    <a:lnTo>
                      <a:pt x="352" y="604"/>
                    </a:lnTo>
                    <a:lnTo>
                      <a:pt x="351" y="604"/>
                    </a:lnTo>
                    <a:lnTo>
                      <a:pt x="351" y="602"/>
                    </a:lnTo>
                    <a:lnTo>
                      <a:pt x="349" y="602"/>
                    </a:lnTo>
                    <a:lnTo>
                      <a:pt x="347" y="602"/>
                    </a:lnTo>
                    <a:lnTo>
                      <a:pt x="346" y="602"/>
                    </a:lnTo>
                    <a:lnTo>
                      <a:pt x="346" y="600"/>
                    </a:lnTo>
                    <a:lnTo>
                      <a:pt x="344" y="602"/>
                    </a:lnTo>
                    <a:lnTo>
                      <a:pt x="342" y="602"/>
                    </a:lnTo>
                    <a:lnTo>
                      <a:pt x="340" y="604"/>
                    </a:lnTo>
                    <a:lnTo>
                      <a:pt x="339" y="604"/>
                    </a:lnTo>
                    <a:lnTo>
                      <a:pt x="337" y="604"/>
                    </a:lnTo>
                    <a:lnTo>
                      <a:pt x="335" y="604"/>
                    </a:lnTo>
                    <a:lnTo>
                      <a:pt x="334" y="604"/>
                    </a:lnTo>
                    <a:lnTo>
                      <a:pt x="334" y="602"/>
                    </a:lnTo>
                    <a:lnTo>
                      <a:pt x="334" y="604"/>
                    </a:lnTo>
                    <a:lnTo>
                      <a:pt x="332" y="604"/>
                    </a:lnTo>
                    <a:lnTo>
                      <a:pt x="332" y="602"/>
                    </a:lnTo>
                    <a:lnTo>
                      <a:pt x="330" y="602"/>
                    </a:lnTo>
                    <a:lnTo>
                      <a:pt x="329" y="602"/>
                    </a:lnTo>
                    <a:lnTo>
                      <a:pt x="329" y="604"/>
                    </a:lnTo>
                    <a:lnTo>
                      <a:pt x="327" y="604"/>
                    </a:lnTo>
                    <a:lnTo>
                      <a:pt x="329" y="602"/>
                    </a:lnTo>
                    <a:lnTo>
                      <a:pt x="327" y="602"/>
                    </a:lnTo>
                    <a:lnTo>
                      <a:pt x="325" y="602"/>
                    </a:lnTo>
                    <a:lnTo>
                      <a:pt x="323" y="602"/>
                    </a:lnTo>
                    <a:lnTo>
                      <a:pt x="323" y="600"/>
                    </a:lnTo>
                    <a:lnTo>
                      <a:pt x="322" y="600"/>
                    </a:lnTo>
                    <a:lnTo>
                      <a:pt x="322" y="598"/>
                    </a:lnTo>
                    <a:lnTo>
                      <a:pt x="320" y="598"/>
                    </a:lnTo>
                    <a:lnTo>
                      <a:pt x="322" y="597"/>
                    </a:lnTo>
                    <a:lnTo>
                      <a:pt x="322" y="595"/>
                    </a:lnTo>
                    <a:lnTo>
                      <a:pt x="320" y="595"/>
                    </a:lnTo>
                    <a:lnTo>
                      <a:pt x="320" y="593"/>
                    </a:lnTo>
                    <a:lnTo>
                      <a:pt x="320" y="595"/>
                    </a:lnTo>
                    <a:lnTo>
                      <a:pt x="318" y="595"/>
                    </a:lnTo>
                    <a:lnTo>
                      <a:pt x="318" y="593"/>
                    </a:lnTo>
                    <a:lnTo>
                      <a:pt x="317" y="593"/>
                    </a:lnTo>
                    <a:lnTo>
                      <a:pt x="315" y="593"/>
                    </a:lnTo>
                    <a:lnTo>
                      <a:pt x="313" y="592"/>
                    </a:lnTo>
                    <a:lnTo>
                      <a:pt x="313" y="590"/>
                    </a:lnTo>
                    <a:lnTo>
                      <a:pt x="315" y="590"/>
                    </a:lnTo>
                    <a:lnTo>
                      <a:pt x="313" y="590"/>
                    </a:lnTo>
                    <a:lnTo>
                      <a:pt x="313" y="588"/>
                    </a:lnTo>
                    <a:lnTo>
                      <a:pt x="313" y="590"/>
                    </a:lnTo>
                    <a:lnTo>
                      <a:pt x="313" y="592"/>
                    </a:lnTo>
                    <a:lnTo>
                      <a:pt x="312" y="592"/>
                    </a:lnTo>
                    <a:lnTo>
                      <a:pt x="312" y="590"/>
                    </a:lnTo>
                    <a:lnTo>
                      <a:pt x="312" y="588"/>
                    </a:lnTo>
                    <a:lnTo>
                      <a:pt x="310" y="588"/>
                    </a:lnTo>
                    <a:lnTo>
                      <a:pt x="310" y="590"/>
                    </a:lnTo>
                    <a:lnTo>
                      <a:pt x="310" y="588"/>
                    </a:lnTo>
                    <a:lnTo>
                      <a:pt x="310" y="587"/>
                    </a:lnTo>
                    <a:lnTo>
                      <a:pt x="308" y="587"/>
                    </a:lnTo>
                    <a:lnTo>
                      <a:pt x="306" y="587"/>
                    </a:lnTo>
                    <a:lnTo>
                      <a:pt x="305" y="587"/>
                    </a:lnTo>
                    <a:lnTo>
                      <a:pt x="303" y="587"/>
                    </a:lnTo>
                    <a:lnTo>
                      <a:pt x="303" y="585"/>
                    </a:lnTo>
                    <a:lnTo>
                      <a:pt x="303" y="583"/>
                    </a:lnTo>
                    <a:lnTo>
                      <a:pt x="303" y="581"/>
                    </a:lnTo>
                    <a:lnTo>
                      <a:pt x="301" y="581"/>
                    </a:lnTo>
                    <a:lnTo>
                      <a:pt x="301" y="580"/>
                    </a:lnTo>
                    <a:lnTo>
                      <a:pt x="301" y="578"/>
                    </a:lnTo>
                    <a:lnTo>
                      <a:pt x="301" y="576"/>
                    </a:lnTo>
                    <a:lnTo>
                      <a:pt x="300" y="576"/>
                    </a:lnTo>
                    <a:lnTo>
                      <a:pt x="298" y="576"/>
                    </a:lnTo>
                    <a:lnTo>
                      <a:pt x="298" y="578"/>
                    </a:lnTo>
                    <a:lnTo>
                      <a:pt x="296" y="578"/>
                    </a:lnTo>
                    <a:lnTo>
                      <a:pt x="296" y="576"/>
                    </a:lnTo>
                    <a:lnTo>
                      <a:pt x="295" y="576"/>
                    </a:lnTo>
                    <a:lnTo>
                      <a:pt x="296" y="575"/>
                    </a:lnTo>
                    <a:lnTo>
                      <a:pt x="296" y="573"/>
                    </a:lnTo>
                    <a:lnTo>
                      <a:pt x="296" y="571"/>
                    </a:lnTo>
                    <a:lnTo>
                      <a:pt x="296" y="570"/>
                    </a:lnTo>
                    <a:lnTo>
                      <a:pt x="295" y="570"/>
                    </a:lnTo>
                    <a:lnTo>
                      <a:pt x="293" y="568"/>
                    </a:lnTo>
                    <a:lnTo>
                      <a:pt x="293" y="566"/>
                    </a:lnTo>
                    <a:lnTo>
                      <a:pt x="293" y="564"/>
                    </a:lnTo>
                    <a:lnTo>
                      <a:pt x="293" y="563"/>
                    </a:lnTo>
                    <a:lnTo>
                      <a:pt x="295" y="563"/>
                    </a:lnTo>
                    <a:lnTo>
                      <a:pt x="293" y="563"/>
                    </a:lnTo>
                    <a:lnTo>
                      <a:pt x="293" y="561"/>
                    </a:lnTo>
                    <a:lnTo>
                      <a:pt x="291" y="561"/>
                    </a:lnTo>
                    <a:lnTo>
                      <a:pt x="291" y="559"/>
                    </a:lnTo>
                    <a:lnTo>
                      <a:pt x="293" y="559"/>
                    </a:lnTo>
                    <a:lnTo>
                      <a:pt x="293" y="558"/>
                    </a:lnTo>
                    <a:lnTo>
                      <a:pt x="291" y="558"/>
                    </a:lnTo>
                    <a:lnTo>
                      <a:pt x="291" y="556"/>
                    </a:lnTo>
                    <a:lnTo>
                      <a:pt x="293" y="556"/>
                    </a:lnTo>
                    <a:lnTo>
                      <a:pt x="295" y="554"/>
                    </a:lnTo>
                    <a:lnTo>
                      <a:pt x="295" y="553"/>
                    </a:lnTo>
                    <a:lnTo>
                      <a:pt x="296" y="551"/>
                    </a:lnTo>
                    <a:lnTo>
                      <a:pt x="295" y="551"/>
                    </a:lnTo>
                    <a:lnTo>
                      <a:pt x="295" y="549"/>
                    </a:lnTo>
                    <a:lnTo>
                      <a:pt x="295" y="547"/>
                    </a:lnTo>
                    <a:lnTo>
                      <a:pt x="295" y="546"/>
                    </a:lnTo>
                    <a:lnTo>
                      <a:pt x="293" y="546"/>
                    </a:lnTo>
                    <a:lnTo>
                      <a:pt x="293" y="544"/>
                    </a:lnTo>
                    <a:lnTo>
                      <a:pt x="293" y="542"/>
                    </a:lnTo>
                    <a:lnTo>
                      <a:pt x="293" y="541"/>
                    </a:lnTo>
                    <a:lnTo>
                      <a:pt x="291" y="539"/>
                    </a:lnTo>
                    <a:lnTo>
                      <a:pt x="289" y="537"/>
                    </a:lnTo>
                    <a:lnTo>
                      <a:pt x="291" y="537"/>
                    </a:lnTo>
                    <a:lnTo>
                      <a:pt x="291" y="536"/>
                    </a:lnTo>
                    <a:lnTo>
                      <a:pt x="289" y="536"/>
                    </a:lnTo>
                    <a:lnTo>
                      <a:pt x="289" y="534"/>
                    </a:lnTo>
                    <a:lnTo>
                      <a:pt x="291" y="534"/>
                    </a:lnTo>
                    <a:lnTo>
                      <a:pt x="291" y="532"/>
                    </a:lnTo>
                    <a:lnTo>
                      <a:pt x="291" y="530"/>
                    </a:lnTo>
                    <a:lnTo>
                      <a:pt x="291" y="529"/>
                    </a:lnTo>
                    <a:lnTo>
                      <a:pt x="293" y="529"/>
                    </a:lnTo>
                    <a:lnTo>
                      <a:pt x="293" y="527"/>
                    </a:lnTo>
                    <a:lnTo>
                      <a:pt x="293" y="525"/>
                    </a:lnTo>
                    <a:lnTo>
                      <a:pt x="295" y="525"/>
                    </a:lnTo>
                    <a:lnTo>
                      <a:pt x="295" y="524"/>
                    </a:lnTo>
                    <a:lnTo>
                      <a:pt x="293" y="524"/>
                    </a:lnTo>
                    <a:lnTo>
                      <a:pt x="295" y="522"/>
                    </a:lnTo>
                    <a:lnTo>
                      <a:pt x="295" y="520"/>
                    </a:lnTo>
                    <a:lnTo>
                      <a:pt x="293" y="520"/>
                    </a:lnTo>
                    <a:lnTo>
                      <a:pt x="293" y="519"/>
                    </a:lnTo>
                    <a:lnTo>
                      <a:pt x="293" y="517"/>
                    </a:lnTo>
                    <a:lnTo>
                      <a:pt x="293" y="515"/>
                    </a:lnTo>
                    <a:lnTo>
                      <a:pt x="293" y="513"/>
                    </a:lnTo>
                    <a:lnTo>
                      <a:pt x="295" y="513"/>
                    </a:lnTo>
                    <a:lnTo>
                      <a:pt x="295" y="512"/>
                    </a:lnTo>
                    <a:lnTo>
                      <a:pt x="293" y="512"/>
                    </a:lnTo>
                    <a:lnTo>
                      <a:pt x="293" y="510"/>
                    </a:lnTo>
                    <a:lnTo>
                      <a:pt x="293" y="508"/>
                    </a:lnTo>
                    <a:lnTo>
                      <a:pt x="291" y="508"/>
                    </a:lnTo>
                    <a:lnTo>
                      <a:pt x="291" y="507"/>
                    </a:lnTo>
                    <a:lnTo>
                      <a:pt x="289" y="507"/>
                    </a:lnTo>
                    <a:lnTo>
                      <a:pt x="288" y="507"/>
                    </a:lnTo>
                    <a:lnTo>
                      <a:pt x="288" y="508"/>
                    </a:lnTo>
                    <a:lnTo>
                      <a:pt x="288" y="507"/>
                    </a:lnTo>
                    <a:lnTo>
                      <a:pt x="288" y="508"/>
                    </a:lnTo>
                    <a:lnTo>
                      <a:pt x="288" y="510"/>
                    </a:lnTo>
                    <a:lnTo>
                      <a:pt x="286" y="510"/>
                    </a:lnTo>
                    <a:lnTo>
                      <a:pt x="284" y="510"/>
                    </a:lnTo>
                    <a:lnTo>
                      <a:pt x="284" y="512"/>
                    </a:lnTo>
                    <a:lnTo>
                      <a:pt x="286" y="512"/>
                    </a:lnTo>
                    <a:lnTo>
                      <a:pt x="284" y="512"/>
                    </a:lnTo>
                    <a:lnTo>
                      <a:pt x="283" y="512"/>
                    </a:lnTo>
                    <a:lnTo>
                      <a:pt x="283" y="510"/>
                    </a:lnTo>
                    <a:lnTo>
                      <a:pt x="283" y="512"/>
                    </a:lnTo>
                    <a:lnTo>
                      <a:pt x="283" y="510"/>
                    </a:lnTo>
                    <a:lnTo>
                      <a:pt x="281" y="510"/>
                    </a:lnTo>
                    <a:lnTo>
                      <a:pt x="281" y="512"/>
                    </a:lnTo>
                    <a:lnTo>
                      <a:pt x="279" y="510"/>
                    </a:lnTo>
                    <a:lnTo>
                      <a:pt x="281" y="510"/>
                    </a:lnTo>
                    <a:lnTo>
                      <a:pt x="279" y="510"/>
                    </a:lnTo>
                    <a:lnTo>
                      <a:pt x="281" y="510"/>
                    </a:lnTo>
                    <a:lnTo>
                      <a:pt x="281" y="508"/>
                    </a:lnTo>
                    <a:lnTo>
                      <a:pt x="279" y="508"/>
                    </a:lnTo>
                    <a:lnTo>
                      <a:pt x="279" y="510"/>
                    </a:lnTo>
                    <a:lnTo>
                      <a:pt x="278" y="508"/>
                    </a:lnTo>
                    <a:lnTo>
                      <a:pt x="278" y="510"/>
                    </a:lnTo>
                    <a:lnTo>
                      <a:pt x="276" y="510"/>
                    </a:lnTo>
                    <a:lnTo>
                      <a:pt x="278" y="508"/>
                    </a:lnTo>
                    <a:lnTo>
                      <a:pt x="276" y="508"/>
                    </a:lnTo>
                    <a:lnTo>
                      <a:pt x="276" y="510"/>
                    </a:lnTo>
                    <a:lnTo>
                      <a:pt x="274" y="510"/>
                    </a:lnTo>
                    <a:lnTo>
                      <a:pt x="274" y="508"/>
                    </a:lnTo>
                    <a:lnTo>
                      <a:pt x="274" y="510"/>
                    </a:lnTo>
                    <a:lnTo>
                      <a:pt x="272" y="508"/>
                    </a:lnTo>
                    <a:lnTo>
                      <a:pt x="272" y="510"/>
                    </a:lnTo>
                    <a:lnTo>
                      <a:pt x="272" y="508"/>
                    </a:lnTo>
                    <a:lnTo>
                      <a:pt x="272" y="510"/>
                    </a:lnTo>
                    <a:lnTo>
                      <a:pt x="271" y="510"/>
                    </a:lnTo>
                    <a:lnTo>
                      <a:pt x="269" y="510"/>
                    </a:lnTo>
                    <a:lnTo>
                      <a:pt x="269" y="512"/>
                    </a:lnTo>
                    <a:lnTo>
                      <a:pt x="269" y="510"/>
                    </a:lnTo>
                    <a:lnTo>
                      <a:pt x="267" y="510"/>
                    </a:lnTo>
                    <a:lnTo>
                      <a:pt x="267" y="512"/>
                    </a:lnTo>
                    <a:lnTo>
                      <a:pt x="267" y="510"/>
                    </a:lnTo>
                    <a:lnTo>
                      <a:pt x="266" y="510"/>
                    </a:lnTo>
                    <a:lnTo>
                      <a:pt x="264" y="510"/>
                    </a:lnTo>
                    <a:lnTo>
                      <a:pt x="264" y="512"/>
                    </a:lnTo>
                    <a:lnTo>
                      <a:pt x="262" y="512"/>
                    </a:lnTo>
                    <a:lnTo>
                      <a:pt x="262" y="510"/>
                    </a:lnTo>
                    <a:lnTo>
                      <a:pt x="262" y="512"/>
                    </a:lnTo>
                    <a:lnTo>
                      <a:pt x="261" y="512"/>
                    </a:lnTo>
                    <a:lnTo>
                      <a:pt x="259" y="512"/>
                    </a:lnTo>
                    <a:lnTo>
                      <a:pt x="259" y="513"/>
                    </a:lnTo>
                    <a:lnTo>
                      <a:pt x="257" y="513"/>
                    </a:lnTo>
                    <a:lnTo>
                      <a:pt x="255" y="513"/>
                    </a:lnTo>
                    <a:lnTo>
                      <a:pt x="257" y="513"/>
                    </a:lnTo>
                    <a:lnTo>
                      <a:pt x="255" y="513"/>
                    </a:lnTo>
                    <a:lnTo>
                      <a:pt x="254" y="513"/>
                    </a:lnTo>
                    <a:lnTo>
                      <a:pt x="252" y="513"/>
                    </a:lnTo>
                    <a:lnTo>
                      <a:pt x="250" y="513"/>
                    </a:lnTo>
                    <a:lnTo>
                      <a:pt x="249" y="513"/>
                    </a:lnTo>
                    <a:lnTo>
                      <a:pt x="249" y="515"/>
                    </a:lnTo>
                    <a:lnTo>
                      <a:pt x="247" y="515"/>
                    </a:lnTo>
                    <a:lnTo>
                      <a:pt x="247" y="517"/>
                    </a:lnTo>
                    <a:lnTo>
                      <a:pt x="245" y="517"/>
                    </a:lnTo>
                    <a:lnTo>
                      <a:pt x="244" y="519"/>
                    </a:lnTo>
                    <a:lnTo>
                      <a:pt x="242" y="519"/>
                    </a:lnTo>
                    <a:lnTo>
                      <a:pt x="242" y="520"/>
                    </a:lnTo>
                    <a:lnTo>
                      <a:pt x="240" y="520"/>
                    </a:lnTo>
                    <a:lnTo>
                      <a:pt x="240" y="522"/>
                    </a:lnTo>
                    <a:lnTo>
                      <a:pt x="238" y="522"/>
                    </a:lnTo>
                    <a:lnTo>
                      <a:pt x="240" y="522"/>
                    </a:lnTo>
                    <a:lnTo>
                      <a:pt x="238" y="522"/>
                    </a:lnTo>
                    <a:lnTo>
                      <a:pt x="238" y="524"/>
                    </a:lnTo>
                    <a:lnTo>
                      <a:pt x="237" y="524"/>
                    </a:lnTo>
                    <a:lnTo>
                      <a:pt x="237" y="525"/>
                    </a:lnTo>
                    <a:lnTo>
                      <a:pt x="235" y="527"/>
                    </a:lnTo>
                    <a:lnTo>
                      <a:pt x="233" y="527"/>
                    </a:lnTo>
                    <a:lnTo>
                      <a:pt x="232" y="527"/>
                    </a:lnTo>
                    <a:lnTo>
                      <a:pt x="232" y="529"/>
                    </a:lnTo>
                    <a:lnTo>
                      <a:pt x="230" y="529"/>
                    </a:lnTo>
                    <a:lnTo>
                      <a:pt x="228" y="529"/>
                    </a:lnTo>
                    <a:lnTo>
                      <a:pt x="227" y="529"/>
                    </a:lnTo>
                    <a:lnTo>
                      <a:pt x="225" y="529"/>
                    </a:lnTo>
                    <a:lnTo>
                      <a:pt x="227" y="529"/>
                    </a:lnTo>
                    <a:lnTo>
                      <a:pt x="227" y="530"/>
                    </a:lnTo>
                    <a:lnTo>
                      <a:pt x="225" y="530"/>
                    </a:lnTo>
                    <a:lnTo>
                      <a:pt x="223" y="530"/>
                    </a:lnTo>
                    <a:lnTo>
                      <a:pt x="221" y="530"/>
                    </a:lnTo>
                    <a:lnTo>
                      <a:pt x="223" y="530"/>
                    </a:lnTo>
                    <a:lnTo>
                      <a:pt x="223" y="532"/>
                    </a:lnTo>
                    <a:lnTo>
                      <a:pt x="221" y="532"/>
                    </a:lnTo>
                    <a:lnTo>
                      <a:pt x="221" y="534"/>
                    </a:lnTo>
                    <a:lnTo>
                      <a:pt x="221" y="532"/>
                    </a:lnTo>
                    <a:lnTo>
                      <a:pt x="220" y="534"/>
                    </a:lnTo>
                    <a:lnTo>
                      <a:pt x="218" y="534"/>
                    </a:lnTo>
                    <a:lnTo>
                      <a:pt x="216" y="536"/>
                    </a:lnTo>
                    <a:lnTo>
                      <a:pt x="216" y="537"/>
                    </a:lnTo>
                    <a:lnTo>
                      <a:pt x="215" y="537"/>
                    </a:lnTo>
                    <a:lnTo>
                      <a:pt x="215" y="539"/>
                    </a:lnTo>
                    <a:lnTo>
                      <a:pt x="213" y="537"/>
                    </a:lnTo>
                    <a:lnTo>
                      <a:pt x="213" y="539"/>
                    </a:lnTo>
                    <a:lnTo>
                      <a:pt x="213" y="541"/>
                    </a:lnTo>
                    <a:lnTo>
                      <a:pt x="213" y="542"/>
                    </a:lnTo>
                    <a:lnTo>
                      <a:pt x="211" y="542"/>
                    </a:lnTo>
                    <a:lnTo>
                      <a:pt x="211" y="541"/>
                    </a:lnTo>
                    <a:lnTo>
                      <a:pt x="210" y="541"/>
                    </a:lnTo>
                    <a:lnTo>
                      <a:pt x="208" y="539"/>
                    </a:lnTo>
                    <a:lnTo>
                      <a:pt x="206" y="539"/>
                    </a:lnTo>
                    <a:lnTo>
                      <a:pt x="204" y="541"/>
                    </a:lnTo>
                    <a:lnTo>
                      <a:pt x="204" y="539"/>
                    </a:lnTo>
                    <a:lnTo>
                      <a:pt x="203" y="541"/>
                    </a:lnTo>
                    <a:lnTo>
                      <a:pt x="203" y="539"/>
                    </a:lnTo>
                    <a:lnTo>
                      <a:pt x="201" y="541"/>
                    </a:lnTo>
                    <a:lnTo>
                      <a:pt x="199" y="541"/>
                    </a:lnTo>
                    <a:lnTo>
                      <a:pt x="199" y="542"/>
                    </a:lnTo>
                    <a:lnTo>
                      <a:pt x="199" y="544"/>
                    </a:lnTo>
                    <a:lnTo>
                      <a:pt x="198" y="544"/>
                    </a:lnTo>
                    <a:lnTo>
                      <a:pt x="198" y="546"/>
                    </a:lnTo>
                    <a:lnTo>
                      <a:pt x="196" y="547"/>
                    </a:lnTo>
                    <a:lnTo>
                      <a:pt x="196" y="549"/>
                    </a:lnTo>
                    <a:lnTo>
                      <a:pt x="194" y="549"/>
                    </a:lnTo>
                    <a:lnTo>
                      <a:pt x="194" y="551"/>
                    </a:lnTo>
                    <a:lnTo>
                      <a:pt x="193" y="551"/>
                    </a:lnTo>
                    <a:lnTo>
                      <a:pt x="193" y="553"/>
                    </a:lnTo>
                    <a:lnTo>
                      <a:pt x="191" y="553"/>
                    </a:lnTo>
                    <a:lnTo>
                      <a:pt x="189" y="553"/>
                    </a:lnTo>
                    <a:lnTo>
                      <a:pt x="189" y="554"/>
                    </a:lnTo>
                    <a:lnTo>
                      <a:pt x="189" y="553"/>
                    </a:lnTo>
                    <a:lnTo>
                      <a:pt x="187" y="553"/>
                    </a:lnTo>
                    <a:lnTo>
                      <a:pt x="187" y="554"/>
                    </a:lnTo>
                    <a:lnTo>
                      <a:pt x="186" y="553"/>
                    </a:lnTo>
                    <a:lnTo>
                      <a:pt x="186" y="554"/>
                    </a:lnTo>
                    <a:lnTo>
                      <a:pt x="184" y="554"/>
                    </a:lnTo>
                    <a:lnTo>
                      <a:pt x="184" y="556"/>
                    </a:lnTo>
                    <a:lnTo>
                      <a:pt x="179" y="558"/>
                    </a:lnTo>
                    <a:lnTo>
                      <a:pt x="179" y="556"/>
                    </a:lnTo>
                    <a:lnTo>
                      <a:pt x="177" y="554"/>
                    </a:lnTo>
                    <a:lnTo>
                      <a:pt x="177" y="553"/>
                    </a:lnTo>
                    <a:lnTo>
                      <a:pt x="177" y="551"/>
                    </a:lnTo>
                    <a:lnTo>
                      <a:pt x="176" y="553"/>
                    </a:lnTo>
                    <a:lnTo>
                      <a:pt x="176" y="551"/>
                    </a:lnTo>
                    <a:lnTo>
                      <a:pt x="176" y="553"/>
                    </a:lnTo>
                    <a:lnTo>
                      <a:pt x="174" y="551"/>
                    </a:lnTo>
                    <a:lnTo>
                      <a:pt x="174" y="553"/>
                    </a:lnTo>
                    <a:lnTo>
                      <a:pt x="172" y="553"/>
                    </a:lnTo>
                    <a:lnTo>
                      <a:pt x="174" y="553"/>
                    </a:lnTo>
                    <a:lnTo>
                      <a:pt x="172" y="553"/>
                    </a:lnTo>
                    <a:lnTo>
                      <a:pt x="170" y="553"/>
                    </a:lnTo>
                    <a:lnTo>
                      <a:pt x="170" y="551"/>
                    </a:lnTo>
                    <a:lnTo>
                      <a:pt x="169" y="551"/>
                    </a:lnTo>
                    <a:lnTo>
                      <a:pt x="169" y="553"/>
                    </a:lnTo>
                    <a:lnTo>
                      <a:pt x="169" y="551"/>
                    </a:lnTo>
                    <a:lnTo>
                      <a:pt x="167" y="551"/>
                    </a:lnTo>
                    <a:lnTo>
                      <a:pt x="165" y="551"/>
                    </a:lnTo>
                    <a:lnTo>
                      <a:pt x="164" y="551"/>
                    </a:lnTo>
                    <a:lnTo>
                      <a:pt x="162" y="549"/>
                    </a:lnTo>
                    <a:lnTo>
                      <a:pt x="162" y="551"/>
                    </a:lnTo>
                    <a:lnTo>
                      <a:pt x="162" y="549"/>
                    </a:lnTo>
                    <a:lnTo>
                      <a:pt x="160" y="549"/>
                    </a:lnTo>
                    <a:lnTo>
                      <a:pt x="160" y="551"/>
                    </a:lnTo>
                    <a:lnTo>
                      <a:pt x="160" y="549"/>
                    </a:lnTo>
                    <a:lnTo>
                      <a:pt x="159" y="549"/>
                    </a:lnTo>
                    <a:lnTo>
                      <a:pt x="157" y="551"/>
                    </a:lnTo>
                    <a:lnTo>
                      <a:pt x="157" y="549"/>
                    </a:lnTo>
                    <a:lnTo>
                      <a:pt x="157" y="551"/>
                    </a:lnTo>
                    <a:lnTo>
                      <a:pt x="155" y="549"/>
                    </a:lnTo>
                    <a:lnTo>
                      <a:pt x="153" y="549"/>
                    </a:lnTo>
                    <a:lnTo>
                      <a:pt x="153" y="551"/>
                    </a:lnTo>
                    <a:lnTo>
                      <a:pt x="152" y="549"/>
                    </a:lnTo>
                    <a:lnTo>
                      <a:pt x="150" y="549"/>
                    </a:lnTo>
                    <a:lnTo>
                      <a:pt x="150" y="551"/>
                    </a:lnTo>
                    <a:lnTo>
                      <a:pt x="150" y="549"/>
                    </a:lnTo>
                    <a:close/>
                    <a:moveTo>
                      <a:pt x="1401" y="308"/>
                    </a:moveTo>
                    <a:lnTo>
                      <a:pt x="1405" y="308"/>
                    </a:lnTo>
                    <a:lnTo>
                      <a:pt x="1405" y="309"/>
                    </a:lnTo>
                    <a:lnTo>
                      <a:pt x="1401" y="309"/>
                    </a:lnTo>
                    <a:lnTo>
                      <a:pt x="1401" y="308"/>
                    </a:lnTo>
                    <a:close/>
                    <a:moveTo>
                      <a:pt x="847" y="234"/>
                    </a:moveTo>
                    <a:lnTo>
                      <a:pt x="849" y="234"/>
                    </a:lnTo>
                    <a:lnTo>
                      <a:pt x="849" y="236"/>
                    </a:lnTo>
                    <a:lnTo>
                      <a:pt x="847" y="236"/>
                    </a:lnTo>
                    <a:lnTo>
                      <a:pt x="847" y="234"/>
                    </a:lnTo>
                    <a:close/>
                    <a:moveTo>
                      <a:pt x="847" y="231"/>
                    </a:moveTo>
                    <a:lnTo>
                      <a:pt x="849" y="231"/>
                    </a:lnTo>
                    <a:lnTo>
                      <a:pt x="847" y="231"/>
                    </a:lnTo>
                    <a:close/>
                    <a:moveTo>
                      <a:pt x="859" y="223"/>
                    </a:moveTo>
                    <a:lnTo>
                      <a:pt x="861" y="223"/>
                    </a:lnTo>
                    <a:lnTo>
                      <a:pt x="861" y="224"/>
                    </a:lnTo>
                    <a:lnTo>
                      <a:pt x="859" y="224"/>
                    </a:lnTo>
                    <a:lnTo>
                      <a:pt x="859" y="223"/>
                    </a:lnTo>
                    <a:close/>
                    <a:moveTo>
                      <a:pt x="859" y="221"/>
                    </a:moveTo>
                    <a:lnTo>
                      <a:pt x="861" y="221"/>
                    </a:lnTo>
                    <a:lnTo>
                      <a:pt x="861" y="223"/>
                    </a:lnTo>
                    <a:lnTo>
                      <a:pt x="859" y="223"/>
                    </a:lnTo>
                    <a:lnTo>
                      <a:pt x="859" y="221"/>
                    </a:lnTo>
                    <a:close/>
                    <a:moveTo>
                      <a:pt x="859" y="221"/>
                    </a:moveTo>
                    <a:lnTo>
                      <a:pt x="861" y="221"/>
                    </a:lnTo>
                    <a:lnTo>
                      <a:pt x="861" y="223"/>
                    </a:lnTo>
                    <a:lnTo>
                      <a:pt x="859" y="223"/>
                    </a:lnTo>
                    <a:lnTo>
                      <a:pt x="859" y="221"/>
                    </a:lnTo>
                    <a:close/>
                    <a:moveTo>
                      <a:pt x="861" y="219"/>
                    </a:moveTo>
                    <a:lnTo>
                      <a:pt x="861" y="221"/>
                    </a:lnTo>
                    <a:lnTo>
                      <a:pt x="861" y="219"/>
                    </a:lnTo>
                    <a:close/>
                    <a:moveTo>
                      <a:pt x="859" y="219"/>
                    </a:moveTo>
                    <a:lnTo>
                      <a:pt x="861" y="219"/>
                    </a:lnTo>
                    <a:lnTo>
                      <a:pt x="861" y="221"/>
                    </a:lnTo>
                    <a:lnTo>
                      <a:pt x="859" y="221"/>
                    </a:lnTo>
                    <a:lnTo>
                      <a:pt x="859" y="219"/>
                    </a:lnTo>
                    <a:close/>
                    <a:moveTo>
                      <a:pt x="930" y="209"/>
                    </a:moveTo>
                    <a:lnTo>
                      <a:pt x="932" y="209"/>
                    </a:lnTo>
                    <a:lnTo>
                      <a:pt x="932" y="211"/>
                    </a:lnTo>
                    <a:lnTo>
                      <a:pt x="930" y="211"/>
                    </a:lnTo>
                    <a:lnTo>
                      <a:pt x="930" y="209"/>
                    </a:lnTo>
                    <a:close/>
                    <a:moveTo>
                      <a:pt x="934" y="209"/>
                    </a:moveTo>
                    <a:lnTo>
                      <a:pt x="935" y="209"/>
                    </a:lnTo>
                    <a:lnTo>
                      <a:pt x="935" y="212"/>
                    </a:lnTo>
                    <a:lnTo>
                      <a:pt x="934" y="212"/>
                    </a:lnTo>
                    <a:lnTo>
                      <a:pt x="934" y="209"/>
                    </a:lnTo>
                    <a:close/>
                    <a:moveTo>
                      <a:pt x="920" y="204"/>
                    </a:moveTo>
                    <a:lnTo>
                      <a:pt x="922" y="204"/>
                    </a:lnTo>
                    <a:lnTo>
                      <a:pt x="920" y="204"/>
                    </a:lnTo>
                    <a:close/>
                    <a:moveTo>
                      <a:pt x="896" y="202"/>
                    </a:moveTo>
                    <a:lnTo>
                      <a:pt x="896" y="204"/>
                    </a:lnTo>
                    <a:lnTo>
                      <a:pt x="896" y="202"/>
                    </a:lnTo>
                    <a:close/>
                    <a:moveTo>
                      <a:pt x="878" y="200"/>
                    </a:moveTo>
                    <a:lnTo>
                      <a:pt x="878" y="202"/>
                    </a:lnTo>
                    <a:lnTo>
                      <a:pt x="878" y="200"/>
                    </a:lnTo>
                    <a:close/>
                    <a:moveTo>
                      <a:pt x="878" y="200"/>
                    </a:moveTo>
                    <a:lnTo>
                      <a:pt x="879" y="200"/>
                    </a:lnTo>
                    <a:lnTo>
                      <a:pt x="878" y="200"/>
                    </a:lnTo>
                    <a:close/>
                    <a:moveTo>
                      <a:pt x="883" y="199"/>
                    </a:moveTo>
                    <a:lnTo>
                      <a:pt x="884" y="199"/>
                    </a:lnTo>
                    <a:lnTo>
                      <a:pt x="884" y="200"/>
                    </a:lnTo>
                    <a:lnTo>
                      <a:pt x="883" y="200"/>
                    </a:lnTo>
                    <a:lnTo>
                      <a:pt x="883" y="199"/>
                    </a:lnTo>
                    <a:close/>
                    <a:moveTo>
                      <a:pt x="884" y="197"/>
                    </a:moveTo>
                    <a:lnTo>
                      <a:pt x="884" y="199"/>
                    </a:lnTo>
                    <a:lnTo>
                      <a:pt x="884" y="197"/>
                    </a:lnTo>
                    <a:close/>
                    <a:moveTo>
                      <a:pt x="784" y="190"/>
                    </a:moveTo>
                    <a:lnTo>
                      <a:pt x="782" y="190"/>
                    </a:lnTo>
                    <a:lnTo>
                      <a:pt x="781" y="190"/>
                    </a:lnTo>
                    <a:lnTo>
                      <a:pt x="779" y="190"/>
                    </a:lnTo>
                    <a:lnTo>
                      <a:pt x="779" y="189"/>
                    </a:lnTo>
                    <a:lnTo>
                      <a:pt x="781" y="189"/>
                    </a:lnTo>
                    <a:lnTo>
                      <a:pt x="782" y="187"/>
                    </a:lnTo>
                    <a:lnTo>
                      <a:pt x="784" y="187"/>
                    </a:lnTo>
                    <a:lnTo>
                      <a:pt x="784" y="185"/>
                    </a:lnTo>
                    <a:lnTo>
                      <a:pt x="784" y="187"/>
                    </a:lnTo>
                    <a:lnTo>
                      <a:pt x="784" y="189"/>
                    </a:lnTo>
                    <a:lnTo>
                      <a:pt x="784" y="190"/>
                    </a:lnTo>
                    <a:close/>
                    <a:moveTo>
                      <a:pt x="844" y="183"/>
                    </a:moveTo>
                    <a:lnTo>
                      <a:pt x="845" y="183"/>
                    </a:lnTo>
                    <a:lnTo>
                      <a:pt x="844" y="183"/>
                    </a:lnTo>
                    <a:close/>
                    <a:moveTo>
                      <a:pt x="793" y="183"/>
                    </a:moveTo>
                    <a:lnTo>
                      <a:pt x="794" y="183"/>
                    </a:lnTo>
                    <a:lnTo>
                      <a:pt x="793" y="183"/>
                    </a:lnTo>
                    <a:close/>
                    <a:moveTo>
                      <a:pt x="845" y="183"/>
                    </a:moveTo>
                    <a:lnTo>
                      <a:pt x="849" y="183"/>
                    </a:lnTo>
                    <a:lnTo>
                      <a:pt x="849" y="185"/>
                    </a:lnTo>
                    <a:lnTo>
                      <a:pt x="845" y="185"/>
                    </a:lnTo>
                    <a:lnTo>
                      <a:pt x="845" y="183"/>
                    </a:lnTo>
                    <a:close/>
                    <a:moveTo>
                      <a:pt x="839" y="182"/>
                    </a:moveTo>
                    <a:lnTo>
                      <a:pt x="840" y="182"/>
                    </a:lnTo>
                    <a:lnTo>
                      <a:pt x="840" y="183"/>
                    </a:lnTo>
                    <a:lnTo>
                      <a:pt x="839" y="183"/>
                    </a:lnTo>
                    <a:lnTo>
                      <a:pt x="839" y="182"/>
                    </a:lnTo>
                    <a:close/>
                    <a:moveTo>
                      <a:pt x="796" y="178"/>
                    </a:moveTo>
                    <a:lnTo>
                      <a:pt x="798" y="178"/>
                    </a:lnTo>
                    <a:lnTo>
                      <a:pt x="798" y="180"/>
                    </a:lnTo>
                    <a:lnTo>
                      <a:pt x="796" y="180"/>
                    </a:lnTo>
                    <a:lnTo>
                      <a:pt x="796" y="178"/>
                    </a:lnTo>
                    <a:close/>
                    <a:moveTo>
                      <a:pt x="789" y="178"/>
                    </a:moveTo>
                    <a:lnTo>
                      <a:pt x="791" y="178"/>
                    </a:lnTo>
                    <a:lnTo>
                      <a:pt x="791" y="180"/>
                    </a:lnTo>
                    <a:lnTo>
                      <a:pt x="789" y="180"/>
                    </a:lnTo>
                    <a:lnTo>
                      <a:pt x="789" y="178"/>
                    </a:lnTo>
                    <a:close/>
                    <a:moveTo>
                      <a:pt x="788" y="178"/>
                    </a:moveTo>
                    <a:lnTo>
                      <a:pt x="789" y="178"/>
                    </a:lnTo>
                    <a:lnTo>
                      <a:pt x="789" y="180"/>
                    </a:lnTo>
                    <a:lnTo>
                      <a:pt x="788" y="180"/>
                    </a:lnTo>
                    <a:lnTo>
                      <a:pt x="788" y="178"/>
                    </a:lnTo>
                    <a:close/>
                    <a:moveTo>
                      <a:pt x="789" y="178"/>
                    </a:moveTo>
                    <a:lnTo>
                      <a:pt x="791" y="178"/>
                    </a:lnTo>
                    <a:lnTo>
                      <a:pt x="789" y="178"/>
                    </a:lnTo>
                    <a:close/>
                    <a:moveTo>
                      <a:pt x="786" y="177"/>
                    </a:moveTo>
                    <a:lnTo>
                      <a:pt x="788" y="177"/>
                    </a:lnTo>
                    <a:lnTo>
                      <a:pt x="788" y="178"/>
                    </a:lnTo>
                    <a:lnTo>
                      <a:pt x="786" y="178"/>
                    </a:lnTo>
                    <a:lnTo>
                      <a:pt x="786" y="177"/>
                    </a:lnTo>
                    <a:close/>
                    <a:moveTo>
                      <a:pt x="779" y="177"/>
                    </a:moveTo>
                    <a:lnTo>
                      <a:pt x="781" y="177"/>
                    </a:lnTo>
                    <a:lnTo>
                      <a:pt x="779" y="177"/>
                    </a:lnTo>
                    <a:close/>
                    <a:moveTo>
                      <a:pt x="784" y="177"/>
                    </a:moveTo>
                    <a:lnTo>
                      <a:pt x="786" y="177"/>
                    </a:lnTo>
                    <a:lnTo>
                      <a:pt x="786" y="178"/>
                    </a:lnTo>
                    <a:lnTo>
                      <a:pt x="784" y="178"/>
                    </a:lnTo>
                    <a:lnTo>
                      <a:pt x="782" y="178"/>
                    </a:lnTo>
                    <a:lnTo>
                      <a:pt x="781" y="178"/>
                    </a:lnTo>
                    <a:lnTo>
                      <a:pt x="779" y="178"/>
                    </a:lnTo>
                    <a:lnTo>
                      <a:pt x="779" y="180"/>
                    </a:lnTo>
                    <a:lnTo>
                      <a:pt x="779" y="178"/>
                    </a:lnTo>
                    <a:lnTo>
                      <a:pt x="777" y="180"/>
                    </a:lnTo>
                    <a:lnTo>
                      <a:pt x="777" y="178"/>
                    </a:lnTo>
                    <a:lnTo>
                      <a:pt x="779" y="178"/>
                    </a:lnTo>
                    <a:lnTo>
                      <a:pt x="781" y="178"/>
                    </a:lnTo>
                    <a:lnTo>
                      <a:pt x="781" y="177"/>
                    </a:lnTo>
                    <a:lnTo>
                      <a:pt x="782" y="177"/>
                    </a:lnTo>
                    <a:lnTo>
                      <a:pt x="784" y="177"/>
                    </a:lnTo>
                    <a:close/>
                    <a:moveTo>
                      <a:pt x="825" y="175"/>
                    </a:moveTo>
                    <a:lnTo>
                      <a:pt x="827" y="175"/>
                    </a:lnTo>
                    <a:lnTo>
                      <a:pt x="828" y="175"/>
                    </a:lnTo>
                    <a:lnTo>
                      <a:pt x="830" y="175"/>
                    </a:lnTo>
                    <a:lnTo>
                      <a:pt x="830" y="177"/>
                    </a:lnTo>
                    <a:lnTo>
                      <a:pt x="832" y="177"/>
                    </a:lnTo>
                    <a:lnTo>
                      <a:pt x="830" y="177"/>
                    </a:lnTo>
                    <a:lnTo>
                      <a:pt x="832" y="177"/>
                    </a:lnTo>
                    <a:lnTo>
                      <a:pt x="832" y="178"/>
                    </a:lnTo>
                    <a:lnTo>
                      <a:pt x="832" y="180"/>
                    </a:lnTo>
                    <a:lnTo>
                      <a:pt x="830" y="180"/>
                    </a:lnTo>
                    <a:lnTo>
                      <a:pt x="828" y="182"/>
                    </a:lnTo>
                    <a:lnTo>
                      <a:pt x="827" y="182"/>
                    </a:lnTo>
                    <a:lnTo>
                      <a:pt x="825" y="182"/>
                    </a:lnTo>
                    <a:lnTo>
                      <a:pt x="823" y="182"/>
                    </a:lnTo>
                    <a:lnTo>
                      <a:pt x="822" y="182"/>
                    </a:lnTo>
                    <a:lnTo>
                      <a:pt x="822" y="183"/>
                    </a:lnTo>
                    <a:lnTo>
                      <a:pt x="820" y="182"/>
                    </a:lnTo>
                    <a:lnTo>
                      <a:pt x="818" y="182"/>
                    </a:lnTo>
                    <a:lnTo>
                      <a:pt x="816" y="182"/>
                    </a:lnTo>
                    <a:lnTo>
                      <a:pt x="816" y="180"/>
                    </a:lnTo>
                    <a:lnTo>
                      <a:pt x="816" y="178"/>
                    </a:lnTo>
                    <a:lnTo>
                      <a:pt x="818" y="178"/>
                    </a:lnTo>
                    <a:lnTo>
                      <a:pt x="820" y="178"/>
                    </a:lnTo>
                    <a:lnTo>
                      <a:pt x="820" y="177"/>
                    </a:lnTo>
                    <a:lnTo>
                      <a:pt x="822" y="177"/>
                    </a:lnTo>
                    <a:lnTo>
                      <a:pt x="823" y="175"/>
                    </a:lnTo>
                    <a:lnTo>
                      <a:pt x="825" y="175"/>
                    </a:lnTo>
                    <a:close/>
                    <a:moveTo>
                      <a:pt x="827" y="173"/>
                    </a:moveTo>
                    <a:lnTo>
                      <a:pt x="828" y="173"/>
                    </a:lnTo>
                    <a:lnTo>
                      <a:pt x="828" y="175"/>
                    </a:lnTo>
                    <a:lnTo>
                      <a:pt x="827" y="175"/>
                    </a:lnTo>
                    <a:lnTo>
                      <a:pt x="827" y="173"/>
                    </a:lnTo>
                    <a:close/>
                    <a:moveTo>
                      <a:pt x="818" y="173"/>
                    </a:moveTo>
                    <a:lnTo>
                      <a:pt x="820" y="173"/>
                    </a:lnTo>
                    <a:lnTo>
                      <a:pt x="820" y="175"/>
                    </a:lnTo>
                    <a:lnTo>
                      <a:pt x="818" y="175"/>
                    </a:lnTo>
                    <a:lnTo>
                      <a:pt x="818" y="173"/>
                    </a:lnTo>
                    <a:close/>
                    <a:moveTo>
                      <a:pt x="791" y="172"/>
                    </a:moveTo>
                    <a:lnTo>
                      <a:pt x="793" y="172"/>
                    </a:lnTo>
                    <a:lnTo>
                      <a:pt x="794" y="173"/>
                    </a:lnTo>
                    <a:lnTo>
                      <a:pt x="796" y="173"/>
                    </a:lnTo>
                    <a:lnTo>
                      <a:pt x="794" y="175"/>
                    </a:lnTo>
                    <a:lnTo>
                      <a:pt x="796" y="175"/>
                    </a:lnTo>
                    <a:lnTo>
                      <a:pt x="796" y="177"/>
                    </a:lnTo>
                    <a:lnTo>
                      <a:pt x="796" y="178"/>
                    </a:lnTo>
                    <a:lnTo>
                      <a:pt x="794" y="178"/>
                    </a:lnTo>
                    <a:lnTo>
                      <a:pt x="793" y="178"/>
                    </a:lnTo>
                    <a:lnTo>
                      <a:pt x="791" y="177"/>
                    </a:lnTo>
                    <a:lnTo>
                      <a:pt x="789" y="177"/>
                    </a:lnTo>
                    <a:lnTo>
                      <a:pt x="789" y="175"/>
                    </a:lnTo>
                    <a:lnTo>
                      <a:pt x="788" y="175"/>
                    </a:lnTo>
                    <a:lnTo>
                      <a:pt x="788" y="173"/>
                    </a:lnTo>
                    <a:lnTo>
                      <a:pt x="788" y="172"/>
                    </a:lnTo>
                    <a:lnTo>
                      <a:pt x="789" y="172"/>
                    </a:lnTo>
                    <a:lnTo>
                      <a:pt x="791" y="172"/>
                    </a:lnTo>
                    <a:close/>
                    <a:moveTo>
                      <a:pt x="788" y="172"/>
                    </a:moveTo>
                    <a:lnTo>
                      <a:pt x="789" y="172"/>
                    </a:lnTo>
                    <a:lnTo>
                      <a:pt x="788" y="172"/>
                    </a:lnTo>
                    <a:close/>
                    <a:moveTo>
                      <a:pt x="822" y="172"/>
                    </a:moveTo>
                    <a:lnTo>
                      <a:pt x="823" y="172"/>
                    </a:lnTo>
                    <a:lnTo>
                      <a:pt x="823" y="173"/>
                    </a:lnTo>
                    <a:lnTo>
                      <a:pt x="822" y="173"/>
                    </a:lnTo>
                    <a:lnTo>
                      <a:pt x="822" y="172"/>
                    </a:lnTo>
                    <a:close/>
                    <a:moveTo>
                      <a:pt x="789" y="172"/>
                    </a:moveTo>
                    <a:lnTo>
                      <a:pt x="791" y="172"/>
                    </a:lnTo>
                    <a:lnTo>
                      <a:pt x="789" y="172"/>
                    </a:lnTo>
                    <a:close/>
                    <a:moveTo>
                      <a:pt x="823" y="170"/>
                    </a:moveTo>
                    <a:lnTo>
                      <a:pt x="825" y="170"/>
                    </a:lnTo>
                    <a:lnTo>
                      <a:pt x="825" y="172"/>
                    </a:lnTo>
                    <a:lnTo>
                      <a:pt x="823" y="172"/>
                    </a:lnTo>
                    <a:lnTo>
                      <a:pt x="823" y="170"/>
                    </a:lnTo>
                    <a:close/>
                    <a:moveTo>
                      <a:pt x="806" y="168"/>
                    </a:moveTo>
                    <a:lnTo>
                      <a:pt x="806" y="170"/>
                    </a:lnTo>
                    <a:lnTo>
                      <a:pt x="805" y="170"/>
                    </a:lnTo>
                    <a:lnTo>
                      <a:pt x="803" y="170"/>
                    </a:lnTo>
                    <a:lnTo>
                      <a:pt x="803" y="168"/>
                    </a:lnTo>
                    <a:lnTo>
                      <a:pt x="805" y="168"/>
                    </a:lnTo>
                    <a:lnTo>
                      <a:pt x="805" y="166"/>
                    </a:lnTo>
                    <a:lnTo>
                      <a:pt x="806" y="166"/>
                    </a:lnTo>
                    <a:lnTo>
                      <a:pt x="808" y="166"/>
                    </a:lnTo>
                    <a:lnTo>
                      <a:pt x="808" y="168"/>
                    </a:lnTo>
                    <a:lnTo>
                      <a:pt x="806" y="168"/>
                    </a:lnTo>
                    <a:close/>
                    <a:moveTo>
                      <a:pt x="825" y="165"/>
                    </a:moveTo>
                    <a:lnTo>
                      <a:pt x="825" y="166"/>
                    </a:lnTo>
                    <a:lnTo>
                      <a:pt x="827" y="166"/>
                    </a:lnTo>
                    <a:lnTo>
                      <a:pt x="825" y="166"/>
                    </a:lnTo>
                    <a:lnTo>
                      <a:pt x="825" y="168"/>
                    </a:lnTo>
                    <a:lnTo>
                      <a:pt x="823" y="168"/>
                    </a:lnTo>
                    <a:lnTo>
                      <a:pt x="823" y="170"/>
                    </a:lnTo>
                    <a:lnTo>
                      <a:pt x="822" y="170"/>
                    </a:lnTo>
                    <a:lnTo>
                      <a:pt x="822" y="172"/>
                    </a:lnTo>
                    <a:lnTo>
                      <a:pt x="820" y="172"/>
                    </a:lnTo>
                    <a:lnTo>
                      <a:pt x="820" y="173"/>
                    </a:lnTo>
                    <a:lnTo>
                      <a:pt x="818" y="173"/>
                    </a:lnTo>
                    <a:lnTo>
                      <a:pt x="818" y="175"/>
                    </a:lnTo>
                    <a:lnTo>
                      <a:pt x="816" y="175"/>
                    </a:lnTo>
                    <a:lnTo>
                      <a:pt x="816" y="177"/>
                    </a:lnTo>
                    <a:lnTo>
                      <a:pt x="815" y="177"/>
                    </a:lnTo>
                    <a:lnTo>
                      <a:pt x="815" y="178"/>
                    </a:lnTo>
                    <a:lnTo>
                      <a:pt x="813" y="178"/>
                    </a:lnTo>
                    <a:lnTo>
                      <a:pt x="811" y="178"/>
                    </a:lnTo>
                    <a:lnTo>
                      <a:pt x="811" y="180"/>
                    </a:lnTo>
                    <a:lnTo>
                      <a:pt x="810" y="180"/>
                    </a:lnTo>
                    <a:lnTo>
                      <a:pt x="810" y="178"/>
                    </a:lnTo>
                    <a:lnTo>
                      <a:pt x="808" y="177"/>
                    </a:lnTo>
                    <a:lnTo>
                      <a:pt x="806" y="177"/>
                    </a:lnTo>
                    <a:lnTo>
                      <a:pt x="805" y="177"/>
                    </a:lnTo>
                    <a:lnTo>
                      <a:pt x="803" y="177"/>
                    </a:lnTo>
                    <a:lnTo>
                      <a:pt x="801" y="177"/>
                    </a:lnTo>
                    <a:lnTo>
                      <a:pt x="799" y="177"/>
                    </a:lnTo>
                    <a:lnTo>
                      <a:pt x="798" y="177"/>
                    </a:lnTo>
                    <a:lnTo>
                      <a:pt x="798" y="175"/>
                    </a:lnTo>
                    <a:lnTo>
                      <a:pt x="798" y="173"/>
                    </a:lnTo>
                    <a:lnTo>
                      <a:pt x="796" y="173"/>
                    </a:lnTo>
                    <a:lnTo>
                      <a:pt x="796" y="172"/>
                    </a:lnTo>
                    <a:lnTo>
                      <a:pt x="798" y="172"/>
                    </a:lnTo>
                    <a:lnTo>
                      <a:pt x="799" y="172"/>
                    </a:lnTo>
                    <a:lnTo>
                      <a:pt x="799" y="170"/>
                    </a:lnTo>
                    <a:lnTo>
                      <a:pt x="801" y="170"/>
                    </a:lnTo>
                    <a:lnTo>
                      <a:pt x="803" y="170"/>
                    </a:lnTo>
                    <a:lnTo>
                      <a:pt x="805" y="170"/>
                    </a:lnTo>
                    <a:lnTo>
                      <a:pt x="806" y="170"/>
                    </a:lnTo>
                    <a:lnTo>
                      <a:pt x="808" y="170"/>
                    </a:lnTo>
                    <a:lnTo>
                      <a:pt x="808" y="168"/>
                    </a:lnTo>
                    <a:lnTo>
                      <a:pt x="808" y="166"/>
                    </a:lnTo>
                    <a:lnTo>
                      <a:pt x="810" y="166"/>
                    </a:lnTo>
                    <a:lnTo>
                      <a:pt x="810" y="168"/>
                    </a:lnTo>
                    <a:lnTo>
                      <a:pt x="810" y="166"/>
                    </a:lnTo>
                    <a:lnTo>
                      <a:pt x="810" y="168"/>
                    </a:lnTo>
                    <a:lnTo>
                      <a:pt x="810" y="166"/>
                    </a:lnTo>
                    <a:lnTo>
                      <a:pt x="811" y="166"/>
                    </a:lnTo>
                    <a:lnTo>
                      <a:pt x="811" y="168"/>
                    </a:lnTo>
                    <a:lnTo>
                      <a:pt x="813" y="168"/>
                    </a:lnTo>
                    <a:lnTo>
                      <a:pt x="815" y="168"/>
                    </a:lnTo>
                    <a:lnTo>
                      <a:pt x="816" y="168"/>
                    </a:lnTo>
                    <a:lnTo>
                      <a:pt x="816" y="166"/>
                    </a:lnTo>
                    <a:lnTo>
                      <a:pt x="818" y="166"/>
                    </a:lnTo>
                    <a:lnTo>
                      <a:pt x="820" y="166"/>
                    </a:lnTo>
                    <a:lnTo>
                      <a:pt x="820" y="165"/>
                    </a:lnTo>
                    <a:lnTo>
                      <a:pt x="822" y="165"/>
                    </a:lnTo>
                    <a:lnTo>
                      <a:pt x="822" y="166"/>
                    </a:lnTo>
                    <a:lnTo>
                      <a:pt x="822" y="165"/>
                    </a:lnTo>
                    <a:lnTo>
                      <a:pt x="823" y="165"/>
                    </a:lnTo>
                    <a:lnTo>
                      <a:pt x="825" y="165"/>
                    </a:lnTo>
                    <a:close/>
                    <a:moveTo>
                      <a:pt x="803" y="156"/>
                    </a:moveTo>
                    <a:lnTo>
                      <a:pt x="805" y="156"/>
                    </a:lnTo>
                    <a:lnTo>
                      <a:pt x="803" y="156"/>
                    </a:lnTo>
                    <a:close/>
                    <a:moveTo>
                      <a:pt x="808" y="156"/>
                    </a:moveTo>
                    <a:lnTo>
                      <a:pt x="808" y="158"/>
                    </a:lnTo>
                    <a:lnTo>
                      <a:pt x="810" y="158"/>
                    </a:lnTo>
                    <a:lnTo>
                      <a:pt x="810" y="160"/>
                    </a:lnTo>
                    <a:lnTo>
                      <a:pt x="808" y="160"/>
                    </a:lnTo>
                    <a:lnTo>
                      <a:pt x="808" y="161"/>
                    </a:lnTo>
                    <a:lnTo>
                      <a:pt x="806" y="161"/>
                    </a:lnTo>
                    <a:lnTo>
                      <a:pt x="806" y="163"/>
                    </a:lnTo>
                    <a:lnTo>
                      <a:pt x="805" y="163"/>
                    </a:lnTo>
                    <a:lnTo>
                      <a:pt x="805" y="165"/>
                    </a:lnTo>
                    <a:lnTo>
                      <a:pt x="803" y="165"/>
                    </a:lnTo>
                    <a:lnTo>
                      <a:pt x="803" y="166"/>
                    </a:lnTo>
                    <a:lnTo>
                      <a:pt x="801" y="166"/>
                    </a:lnTo>
                    <a:lnTo>
                      <a:pt x="799" y="166"/>
                    </a:lnTo>
                    <a:lnTo>
                      <a:pt x="799" y="165"/>
                    </a:lnTo>
                    <a:lnTo>
                      <a:pt x="799" y="163"/>
                    </a:lnTo>
                    <a:lnTo>
                      <a:pt x="799" y="161"/>
                    </a:lnTo>
                    <a:lnTo>
                      <a:pt x="799" y="160"/>
                    </a:lnTo>
                    <a:lnTo>
                      <a:pt x="799" y="158"/>
                    </a:lnTo>
                    <a:lnTo>
                      <a:pt x="801" y="158"/>
                    </a:lnTo>
                    <a:lnTo>
                      <a:pt x="803" y="158"/>
                    </a:lnTo>
                    <a:lnTo>
                      <a:pt x="805" y="158"/>
                    </a:lnTo>
                    <a:lnTo>
                      <a:pt x="806" y="158"/>
                    </a:lnTo>
                    <a:lnTo>
                      <a:pt x="806" y="156"/>
                    </a:lnTo>
                    <a:lnTo>
                      <a:pt x="808" y="156"/>
                    </a:lnTo>
                    <a:close/>
                    <a:moveTo>
                      <a:pt x="799" y="156"/>
                    </a:moveTo>
                    <a:lnTo>
                      <a:pt x="801" y="158"/>
                    </a:lnTo>
                    <a:lnTo>
                      <a:pt x="799" y="158"/>
                    </a:lnTo>
                    <a:lnTo>
                      <a:pt x="799" y="160"/>
                    </a:lnTo>
                    <a:lnTo>
                      <a:pt x="799" y="161"/>
                    </a:lnTo>
                    <a:lnTo>
                      <a:pt x="799" y="163"/>
                    </a:lnTo>
                    <a:lnTo>
                      <a:pt x="799" y="165"/>
                    </a:lnTo>
                    <a:lnTo>
                      <a:pt x="799" y="166"/>
                    </a:lnTo>
                    <a:lnTo>
                      <a:pt x="799" y="168"/>
                    </a:lnTo>
                    <a:lnTo>
                      <a:pt x="799" y="170"/>
                    </a:lnTo>
                    <a:lnTo>
                      <a:pt x="798" y="170"/>
                    </a:lnTo>
                    <a:lnTo>
                      <a:pt x="796" y="170"/>
                    </a:lnTo>
                    <a:lnTo>
                      <a:pt x="796" y="172"/>
                    </a:lnTo>
                    <a:lnTo>
                      <a:pt x="796" y="173"/>
                    </a:lnTo>
                    <a:lnTo>
                      <a:pt x="794" y="172"/>
                    </a:lnTo>
                    <a:lnTo>
                      <a:pt x="793" y="172"/>
                    </a:lnTo>
                    <a:lnTo>
                      <a:pt x="793" y="170"/>
                    </a:lnTo>
                    <a:lnTo>
                      <a:pt x="791" y="170"/>
                    </a:lnTo>
                    <a:lnTo>
                      <a:pt x="793" y="168"/>
                    </a:lnTo>
                    <a:lnTo>
                      <a:pt x="794" y="168"/>
                    </a:lnTo>
                    <a:lnTo>
                      <a:pt x="796" y="165"/>
                    </a:lnTo>
                    <a:lnTo>
                      <a:pt x="796" y="163"/>
                    </a:lnTo>
                    <a:lnTo>
                      <a:pt x="796" y="161"/>
                    </a:lnTo>
                    <a:lnTo>
                      <a:pt x="796" y="160"/>
                    </a:lnTo>
                    <a:lnTo>
                      <a:pt x="796" y="158"/>
                    </a:lnTo>
                    <a:lnTo>
                      <a:pt x="798" y="158"/>
                    </a:lnTo>
                    <a:lnTo>
                      <a:pt x="798" y="156"/>
                    </a:lnTo>
                    <a:lnTo>
                      <a:pt x="799" y="156"/>
                    </a:lnTo>
                    <a:close/>
                    <a:moveTo>
                      <a:pt x="801" y="156"/>
                    </a:moveTo>
                    <a:lnTo>
                      <a:pt x="801" y="158"/>
                    </a:lnTo>
                    <a:lnTo>
                      <a:pt x="801" y="156"/>
                    </a:lnTo>
                    <a:close/>
                    <a:moveTo>
                      <a:pt x="789" y="166"/>
                    </a:moveTo>
                    <a:lnTo>
                      <a:pt x="791" y="166"/>
                    </a:lnTo>
                    <a:lnTo>
                      <a:pt x="791" y="168"/>
                    </a:lnTo>
                    <a:lnTo>
                      <a:pt x="789" y="168"/>
                    </a:lnTo>
                    <a:lnTo>
                      <a:pt x="789" y="166"/>
                    </a:lnTo>
                    <a:close/>
                    <a:moveTo>
                      <a:pt x="801" y="148"/>
                    </a:moveTo>
                    <a:lnTo>
                      <a:pt x="801" y="149"/>
                    </a:lnTo>
                    <a:lnTo>
                      <a:pt x="801" y="148"/>
                    </a:lnTo>
                    <a:close/>
                    <a:moveTo>
                      <a:pt x="810" y="148"/>
                    </a:moveTo>
                    <a:lnTo>
                      <a:pt x="811" y="148"/>
                    </a:lnTo>
                    <a:lnTo>
                      <a:pt x="810" y="148"/>
                    </a:lnTo>
                    <a:close/>
                    <a:moveTo>
                      <a:pt x="810" y="148"/>
                    </a:moveTo>
                    <a:lnTo>
                      <a:pt x="810" y="149"/>
                    </a:lnTo>
                    <a:lnTo>
                      <a:pt x="808" y="149"/>
                    </a:lnTo>
                    <a:lnTo>
                      <a:pt x="810" y="149"/>
                    </a:lnTo>
                    <a:lnTo>
                      <a:pt x="808" y="151"/>
                    </a:lnTo>
                    <a:lnTo>
                      <a:pt x="806" y="153"/>
                    </a:lnTo>
                    <a:lnTo>
                      <a:pt x="805" y="153"/>
                    </a:lnTo>
                    <a:lnTo>
                      <a:pt x="803" y="153"/>
                    </a:lnTo>
                    <a:lnTo>
                      <a:pt x="801" y="153"/>
                    </a:lnTo>
                    <a:lnTo>
                      <a:pt x="801" y="151"/>
                    </a:lnTo>
                    <a:lnTo>
                      <a:pt x="801" y="149"/>
                    </a:lnTo>
                    <a:lnTo>
                      <a:pt x="803" y="148"/>
                    </a:lnTo>
                    <a:lnTo>
                      <a:pt x="805" y="148"/>
                    </a:lnTo>
                    <a:lnTo>
                      <a:pt x="806" y="148"/>
                    </a:lnTo>
                    <a:lnTo>
                      <a:pt x="808" y="148"/>
                    </a:lnTo>
                    <a:lnTo>
                      <a:pt x="810" y="148"/>
                    </a:lnTo>
                    <a:close/>
                    <a:moveTo>
                      <a:pt x="806" y="146"/>
                    </a:moveTo>
                    <a:lnTo>
                      <a:pt x="810" y="146"/>
                    </a:lnTo>
                    <a:lnTo>
                      <a:pt x="810" y="148"/>
                    </a:lnTo>
                    <a:lnTo>
                      <a:pt x="806" y="148"/>
                    </a:lnTo>
                    <a:lnTo>
                      <a:pt x="806" y="146"/>
                    </a:lnTo>
                    <a:close/>
                    <a:moveTo>
                      <a:pt x="805" y="146"/>
                    </a:moveTo>
                    <a:lnTo>
                      <a:pt x="806" y="146"/>
                    </a:lnTo>
                    <a:lnTo>
                      <a:pt x="806" y="148"/>
                    </a:lnTo>
                    <a:lnTo>
                      <a:pt x="805" y="148"/>
                    </a:lnTo>
                    <a:lnTo>
                      <a:pt x="805" y="146"/>
                    </a:lnTo>
                    <a:close/>
                    <a:moveTo>
                      <a:pt x="813" y="141"/>
                    </a:moveTo>
                    <a:lnTo>
                      <a:pt x="813" y="143"/>
                    </a:lnTo>
                    <a:lnTo>
                      <a:pt x="813" y="144"/>
                    </a:lnTo>
                    <a:lnTo>
                      <a:pt x="811" y="146"/>
                    </a:lnTo>
                    <a:lnTo>
                      <a:pt x="810" y="146"/>
                    </a:lnTo>
                    <a:lnTo>
                      <a:pt x="808" y="146"/>
                    </a:lnTo>
                    <a:lnTo>
                      <a:pt x="806" y="146"/>
                    </a:lnTo>
                    <a:lnTo>
                      <a:pt x="806" y="144"/>
                    </a:lnTo>
                    <a:lnTo>
                      <a:pt x="808" y="144"/>
                    </a:lnTo>
                    <a:lnTo>
                      <a:pt x="808" y="143"/>
                    </a:lnTo>
                    <a:lnTo>
                      <a:pt x="810" y="143"/>
                    </a:lnTo>
                    <a:lnTo>
                      <a:pt x="811" y="143"/>
                    </a:lnTo>
                    <a:lnTo>
                      <a:pt x="811" y="141"/>
                    </a:lnTo>
                    <a:lnTo>
                      <a:pt x="813" y="141"/>
                    </a:lnTo>
                    <a:close/>
                    <a:moveTo>
                      <a:pt x="798" y="107"/>
                    </a:moveTo>
                    <a:lnTo>
                      <a:pt x="798" y="109"/>
                    </a:lnTo>
                    <a:lnTo>
                      <a:pt x="798" y="110"/>
                    </a:lnTo>
                    <a:lnTo>
                      <a:pt x="799" y="110"/>
                    </a:lnTo>
                    <a:lnTo>
                      <a:pt x="799" y="112"/>
                    </a:lnTo>
                    <a:lnTo>
                      <a:pt x="798" y="114"/>
                    </a:lnTo>
                    <a:lnTo>
                      <a:pt x="796" y="115"/>
                    </a:lnTo>
                    <a:lnTo>
                      <a:pt x="794" y="114"/>
                    </a:lnTo>
                    <a:lnTo>
                      <a:pt x="794" y="112"/>
                    </a:lnTo>
                    <a:lnTo>
                      <a:pt x="794" y="110"/>
                    </a:lnTo>
                    <a:lnTo>
                      <a:pt x="793" y="110"/>
                    </a:lnTo>
                    <a:lnTo>
                      <a:pt x="793" y="109"/>
                    </a:lnTo>
                    <a:lnTo>
                      <a:pt x="793" y="107"/>
                    </a:lnTo>
                    <a:lnTo>
                      <a:pt x="794" y="107"/>
                    </a:lnTo>
                    <a:lnTo>
                      <a:pt x="796" y="107"/>
                    </a:lnTo>
                    <a:lnTo>
                      <a:pt x="798" y="107"/>
                    </a:lnTo>
                    <a:close/>
                    <a:moveTo>
                      <a:pt x="786" y="105"/>
                    </a:moveTo>
                    <a:lnTo>
                      <a:pt x="786" y="107"/>
                    </a:lnTo>
                    <a:lnTo>
                      <a:pt x="786" y="105"/>
                    </a:lnTo>
                    <a:close/>
                    <a:moveTo>
                      <a:pt x="794" y="103"/>
                    </a:moveTo>
                    <a:lnTo>
                      <a:pt x="794" y="105"/>
                    </a:lnTo>
                    <a:lnTo>
                      <a:pt x="796" y="105"/>
                    </a:lnTo>
                    <a:lnTo>
                      <a:pt x="796" y="107"/>
                    </a:lnTo>
                    <a:lnTo>
                      <a:pt x="794" y="107"/>
                    </a:lnTo>
                    <a:lnTo>
                      <a:pt x="793" y="107"/>
                    </a:lnTo>
                    <a:lnTo>
                      <a:pt x="793" y="105"/>
                    </a:lnTo>
                    <a:lnTo>
                      <a:pt x="791" y="105"/>
                    </a:lnTo>
                    <a:lnTo>
                      <a:pt x="793" y="105"/>
                    </a:lnTo>
                    <a:lnTo>
                      <a:pt x="793" y="103"/>
                    </a:lnTo>
                    <a:lnTo>
                      <a:pt x="794" y="103"/>
                    </a:lnTo>
                    <a:close/>
                    <a:moveTo>
                      <a:pt x="990" y="284"/>
                    </a:moveTo>
                    <a:lnTo>
                      <a:pt x="992" y="284"/>
                    </a:lnTo>
                    <a:lnTo>
                      <a:pt x="992" y="285"/>
                    </a:lnTo>
                    <a:lnTo>
                      <a:pt x="990" y="285"/>
                    </a:lnTo>
                    <a:lnTo>
                      <a:pt x="990" y="284"/>
                    </a:lnTo>
                    <a:close/>
                    <a:moveTo>
                      <a:pt x="990" y="277"/>
                    </a:moveTo>
                    <a:lnTo>
                      <a:pt x="992" y="277"/>
                    </a:lnTo>
                    <a:lnTo>
                      <a:pt x="990" y="277"/>
                    </a:lnTo>
                    <a:close/>
                    <a:moveTo>
                      <a:pt x="1071" y="272"/>
                    </a:moveTo>
                    <a:lnTo>
                      <a:pt x="1073" y="272"/>
                    </a:lnTo>
                    <a:lnTo>
                      <a:pt x="1071" y="272"/>
                    </a:lnTo>
                    <a:close/>
                    <a:moveTo>
                      <a:pt x="997" y="270"/>
                    </a:moveTo>
                    <a:lnTo>
                      <a:pt x="997" y="272"/>
                    </a:lnTo>
                    <a:lnTo>
                      <a:pt x="997" y="274"/>
                    </a:lnTo>
                    <a:lnTo>
                      <a:pt x="997" y="275"/>
                    </a:lnTo>
                    <a:lnTo>
                      <a:pt x="997" y="277"/>
                    </a:lnTo>
                    <a:lnTo>
                      <a:pt x="997" y="279"/>
                    </a:lnTo>
                    <a:lnTo>
                      <a:pt x="995" y="279"/>
                    </a:lnTo>
                    <a:lnTo>
                      <a:pt x="995" y="280"/>
                    </a:lnTo>
                    <a:lnTo>
                      <a:pt x="993" y="280"/>
                    </a:lnTo>
                    <a:lnTo>
                      <a:pt x="992" y="279"/>
                    </a:lnTo>
                    <a:lnTo>
                      <a:pt x="992" y="277"/>
                    </a:lnTo>
                    <a:lnTo>
                      <a:pt x="993" y="275"/>
                    </a:lnTo>
                    <a:lnTo>
                      <a:pt x="993" y="274"/>
                    </a:lnTo>
                    <a:lnTo>
                      <a:pt x="993" y="272"/>
                    </a:lnTo>
                    <a:lnTo>
                      <a:pt x="995" y="272"/>
                    </a:lnTo>
                    <a:lnTo>
                      <a:pt x="995" y="270"/>
                    </a:lnTo>
                    <a:lnTo>
                      <a:pt x="997" y="270"/>
                    </a:lnTo>
                    <a:close/>
                    <a:moveTo>
                      <a:pt x="1073" y="270"/>
                    </a:moveTo>
                    <a:lnTo>
                      <a:pt x="1075" y="270"/>
                    </a:lnTo>
                    <a:lnTo>
                      <a:pt x="1077" y="270"/>
                    </a:lnTo>
                    <a:lnTo>
                      <a:pt x="1075" y="270"/>
                    </a:lnTo>
                    <a:lnTo>
                      <a:pt x="1075" y="272"/>
                    </a:lnTo>
                    <a:lnTo>
                      <a:pt x="1073" y="270"/>
                    </a:lnTo>
                    <a:lnTo>
                      <a:pt x="1071" y="270"/>
                    </a:lnTo>
                    <a:lnTo>
                      <a:pt x="1071" y="268"/>
                    </a:lnTo>
                    <a:lnTo>
                      <a:pt x="1073" y="268"/>
                    </a:lnTo>
                    <a:lnTo>
                      <a:pt x="1073" y="270"/>
                    </a:lnTo>
                    <a:close/>
                    <a:moveTo>
                      <a:pt x="1073" y="268"/>
                    </a:moveTo>
                    <a:lnTo>
                      <a:pt x="1075" y="268"/>
                    </a:lnTo>
                    <a:lnTo>
                      <a:pt x="1077" y="268"/>
                    </a:lnTo>
                    <a:lnTo>
                      <a:pt x="1078" y="268"/>
                    </a:lnTo>
                    <a:lnTo>
                      <a:pt x="1078" y="270"/>
                    </a:lnTo>
                    <a:lnTo>
                      <a:pt x="1080" y="270"/>
                    </a:lnTo>
                    <a:lnTo>
                      <a:pt x="1080" y="272"/>
                    </a:lnTo>
                    <a:lnTo>
                      <a:pt x="1078" y="272"/>
                    </a:lnTo>
                    <a:lnTo>
                      <a:pt x="1077" y="272"/>
                    </a:lnTo>
                    <a:lnTo>
                      <a:pt x="1077" y="270"/>
                    </a:lnTo>
                    <a:lnTo>
                      <a:pt x="1075" y="270"/>
                    </a:lnTo>
                    <a:lnTo>
                      <a:pt x="1073" y="268"/>
                    </a:lnTo>
                    <a:close/>
                    <a:moveTo>
                      <a:pt x="998" y="260"/>
                    </a:moveTo>
                    <a:lnTo>
                      <a:pt x="998" y="262"/>
                    </a:lnTo>
                    <a:lnTo>
                      <a:pt x="997" y="262"/>
                    </a:lnTo>
                    <a:lnTo>
                      <a:pt x="997" y="263"/>
                    </a:lnTo>
                    <a:lnTo>
                      <a:pt x="995" y="263"/>
                    </a:lnTo>
                    <a:lnTo>
                      <a:pt x="995" y="262"/>
                    </a:lnTo>
                    <a:lnTo>
                      <a:pt x="997" y="262"/>
                    </a:lnTo>
                    <a:lnTo>
                      <a:pt x="995" y="260"/>
                    </a:lnTo>
                    <a:lnTo>
                      <a:pt x="997" y="260"/>
                    </a:lnTo>
                    <a:lnTo>
                      <a:pt x="998" y="260"/>
                    </a:lnTo>
                    <a:close/>
                    <a:moveTo>
                      <a:pt x="1029" y="258"/>
                    </a:moveTo>
                    <a:lnTo>
                      <a:pt x="1029" y="260"/>
                    </a:lnTo>
                    <a:lnTo>
                      <a:pt x="1029" y="258"/>
                    </a:lnTo>
                    <a:close/>
                    <a:moveTo>
                      <a:pt x="1020" y="258"/>
                    </a:moveTo>
                    <a:lnTo>
                      <a:pt x="1020" y="260"/>
                    </a:lnTo>
                    <a:lnTo>
                      <a:pt x="1020" y="258"/>
                    </a:lnTo>
                    <a:close/>
                    <a:moveTo>
                      <a:pt x="1026" y="258"/>
                    </a:moveTo>
                    <a:lnTo>
                      <a:pt x="1029" y="258"/>
                    </a:lnTo>
                    <a:lnTo>
                      <a:pt x="1029" y="260"/>
                    </a:lnTo>
                    <a:lnTo>
                      <a:pt x="1026" y="260"/>
                    </a:lnTo>
                    <a:lnTo>
                      <a:pt x="1026" y="258"/>
                    </a:lnTo>
                    <a:close/>
                    <a:moveTo>
                      <a:pt x="1024" y="255"/>
                    </a:moveTo>
                    <a:lnTo>
                      <a:pt x="1026" y="255"/>
                    </a:lnTo>
                    <a:lnTo>
                      <a:pt x="1024" y="255"/>
                    </a:lnTo>
                    <a:close/>
                    <a:moveTo>
                      <a:pt x="1026" y="255"/>
                    </a:moveTo>
                    <a:lnTo>
                      <a:pt x="1027" y="255"/>
                    </a:lnTo>
                    <a:lnTo>
                      <a:pt x="1026" y="255"/>
                    </a:lnTo>
                    <a:close/>
                    <a:moveTo>
                      <a:pt x="986" y="234"/>
                    </a:moveTo>
                    <a:lnTo>
                      <a:pt x="988" y="234"/>
                    </a:lnTo>
                    <a:lnTo>
                      <a:pt x="986" y="234"/>
                    </a:lnTo>
                    <a:close/>
                    <a:moveTo>
                      <a:pt x="969" y="233"/>
                    </a:moveTo>
                    <a:lnTo>
                      <a:pt x="971" y="233"/>
                    </a:lnTo>
                    <a:lnTo>
                      <a:pt x="971" y="236"/>
                    </a:lnTo>
                    <a:lnTo>
                      <a:pt x="969" y="236"/>
                    </a:lnTo>
                    <a:lnTo>
                      <a:pt x="969" y="233"/>
                    </a:lnTo>
                    <a:close/>
                    <a:moveTo>
                      <a:pt x="969" y="233"/>
                    </a:moveTo>
                    <a:lnTo>
                      <a:pt x="968" y="234"/>
                    </a:lnTo>
                    <a:lnTo>
                      <a:pt x="969" y="234"/>
                    </a:lnTo>
                    <a:lnTo>
                      <a:pt x="969" y="236"/>
                    </a:lnTo>
                    <a:lnTo>
                      <a:pt x="968" y="236"/>
                    </a:lnTo>
                    <a:lnTo>
                      <a:pt x="968" y="234"/>
                    </a:lnTo>
                    <a:lnTo>
                      <a:pt x="968" y="233"/>
                    </a:lnTo>
                    <a:lnTo>
                      <a:pt x="969" y="231"/>
                    </a:lnTo>
                    <a:lnTo>
                      <a:pt x="969" y="233"/>
                    </a:lnTo>
                    <a:close/>
                    <a:moveTo>
                      <a:pt x="986" y="229"/>
                    </a:moveTo>
                    <a:lnTo>
                      <a:pt x="988" y="229"/>
                    </a:lnTo>
                    <a:lnTo>
                      <a:pt x="988" y="231"/>
                    </a:lnTo>
                    <a:lnTo>
                      <a:pt x="986" y="231"/>
                    </a:lnTo>
                    <a:lnTo>
                      <a:pt x="986" y="229"/>
                    </a:lnTo>
                    <a:close/>
                    <a:moveTo>
                      <a:pt x="985" y="228"/>
                    </a:moveTo>
                    <a:lnTo>
                      <a:pt x="986" y="228"/>
                    </a:lnTo>
                    <a:lnTo>
                      <a:pt x="986" y="231"/>
                    </a:lnTo>
                    <a:lnTo>
                      <a:pt x="985" y="231"/>
                    </a:lnTo>
                    <a:lnTo>
                      <a:pt x="985" y="228"/>
                    </a:lnTo>
                    <a:close/>
                    <a:moveTo>
                      <a:pt x="986" y="228"/>
                    </a:moveTo>
                    <a:lnTo>
                      <a:pt x="988" y="228"/>
                    </a:lnTo>
                    <a:lnTo>
                      <a:pt x="988" y="229"/>
                    </a:lnTo>
                    <a:lnTo>
                      <a:pt x="986" y="229"/>
                    </a:lnTo>
                    <a:lnTo>
                      <a:pt x="986" y="228"/>
                    </a:lnTo>
                    <a:close/>
                    <a:moveTo>
                      <a:pt x="976" y="226"/>
                    </a:moveTo>
                    <a:lnTo>
                      <a:pt x="976" y="228"/>
                    </a:lnTo>
                    <a:lnTo>
                      <a:pt x="976" y="226"/>
                    </a:lnTo>
                    <a:close/>
                    <a:moveTo>
                      <a:pt x="975" y="226"/>
                    </a:moveTo>
                    <a:lnTo>
                      <a:pt x="976" y="226"/>
                    </a:lnTo>
                    <a:lnTo>
                      <a:pt x="976" y="228"/>
                    </a:lnTo>
                    <a:lnTo>
                      <a:pt x="975" y="228"/>
                    </a:lnTo>
                    <a:lnTo>
                      <a:pt x="975" y="226"/>
                    </a:lnTo>
                    <a:close/>
                    <a:moveTo>
                      <a:pt x="964" y="226"/>
                    </a:moveTo>
                    <a:lnTo>
                      <a:pt x="966" y="226"/>
                    </a:lnTo>
                    <a:lnTo>
                      <a:pt x="964" y="226"/>
                    </a:lnTo>
                    <a:close/>
                    <a:moveTo>
                      <a:pt x="976" y="224"/>
                    </a:moveTo>
                    <a:lnTo>
                      <a:pt x="976" y="226"/>
                    </a:lnTo>
                    <a:lnTo>
                      <a:pt x="976" y="224"/>
                    </a:lnTo>
                    <a:close/>
                    <a:moveTo>
                      <a:pt x="975" y="224"/>
                    </a:moveTo>
                    <a:lnTo>
                      <a:pt x="976" y="224"/>
                    </a:lnTo>
                    <a:lnTo>
                      <a:pt x="976" y="226"/>
                    </a:lnTo>
                    <a:lnTo>
                      <a:pt x="975" y="226"/>
                    </a:lnTo>
                    <a:lnTo>
                      <a:pt x="975" y="224"/>
                    </a:lnTo>
                    <a:close/>
                    <a:moveTo>
                      <a:pt x="978" y="224"/>
                    </a:moveTo>
                    <a:lnTo>
                      <a:pt x="978" y="226"/>
                    </a:lnTo>
                    <a:lnTo>
                      <a:pt x="978" y="224"/>
                    </a:lnTo>
                    <a:close/>
                    <a:moveTo>
                      <a:pt x="983" y="223"/>
                    </a:moveTo>
                    <a:lnTo>
                      <a:pt x="983" y="224"/>
                    </a:lnTo>
                    <a:lnTo>
                      <a:pt x="983" y="223"/>
                    </a:lnTo>
                    <a:close/>
                    <a:moveTo>
                      <a:pt x="959" y="223"/>
                    </a:moveTo>
                    <a:lnTo>
                      <a:pt x="961" y="223"/>
                    </a:lnTo>
                    <a:lnTo>
                      <a:pt x="959" y="223"/>
                    </a:lnTo>
                    <a:close/>
                    <a:moveTo>
                      <a:pt x="959" y="221"/>
                    </a:moveTo>
                    <a:lnTo>
                      <a:pt x="961" y="221"/>
                    </a:lnTo>
                    <a:lnTo>
                      <a:pt x="961" y="223"/>
                    </a:lnTo>
                    <a:lnTo>
                      <a:pt x="959" y="223"/>
                    </a:lnTo>
                    <a:lnTo>
                      <a:pt x="959" y="221"/>
                    </a:lnTo>
                    <a:close/>
                    <a:moveTo>
                      <a:pt x="959" y="221"/>
                    </a:moveTo>
                    <a:lnTo>
                      <a:pt x="961" y="221"/>
                    </a:lnTo>
                    <a:lnTo>
                      <a:pt x="959" y="221"/>
                    </a:lnTo>
                    <a:close/>
                    <a:moveTo>
                      <a:pt x="980" y="221"/>
                    </a:moveTo>
                    <a:lnTo>
                      <a:pt x="981" y="221"/>
                    </a:lnTo>
                    <a:lnTo>
                      <a:pt x="983" y="221"/>
                    </a:lnTo>
                    <a:lnTo>
                      <a:pt x="983" y="223"/>
                    </a:lnTo>
                    <a:lnTo>
                      <a:pt x="983" y="221"/>
                    </a:lnTo>
                    <a:lnTo>
                      <a:pt x="983" y="223"/>
                    </a:lnTo>
                    <a:lnTo>
                      <a:pt x="981" y="223"/>
                    </a:lnTo>
                    <a:lnTo>
                      <a:pt x="981" y="224"/>
                    </a:lnTo>
                    <a:lnTo>
                      <a:pt x="980" y="224"/>
                    </a:lnTo>
                    <a:lnTo>
                      <a:pt x="980" y="226"/>
                    </a:lnTo>
                    <a:lnTo>
                      <a:pt x="978" y="224"/>
                    </a:lnTo>
                    <a:lnTo>
                      <a:pt x="978" y="223"/>
                    </a:lnTo>
                    <a:lnTo>
                      <a:pt x="980" y="223"/>
                    </a:lnTo>
                    <a:lnTo>
                      <a:pt x="980" y="221"/>
                    </a:lnTo>
                    <a:close/>
                    <a:moveTo>
                      <a:pt x="959" y="217"/>
                    </a:moveTo>
                    <a:lnTo>
                      <a:pt x="961" y="217"/>
                    </a:lnTo>
                    <a:lnTo>
                      <a:pt x="961" y="219"/>
                    </a:lnTo>
                    <a:lnTo>
                      <a:pt x="959" y="219"/>
                    </a:lnTo>
                    <a:lnTo>
                      <a:pt x="959" y="217"/>
                    </a:lnTo>
                    <a:close/>
                    <a:moveTo>
                      <a:pt x="956" y="217"/>
                    </a:moveTo>
                    <a:lnTo>
                      <a:pt x="956" y="221"/>
                    </a:lnTo>
                    <a:lnTo>
                      <a:pt x="956" y="217"/>
                    </a:lnTo>
                    <a:close/>
                    <a:moveTo>
                      <a:pt x="952" y="217"/>
                    </a:moveTo>
                    <a:lnTo>
                      <a:pt x="952" y="219"/>
                    </a:lnTo>
                    <a:lnTo>
                      <a:pt x="952" y="217"/>
                    </a:lnTo>
                    <a:close/>
                    <a:moveTo>
                      <a:pt x="944" y="216"/>
                    </a:moveTo>
                    <a:lnTo>
                      <a:pt x="947" y="216"/>
                    </a:lnTo>
                    <a:lnTo>
                      <a:pt x="947" y="217"/>
                    </a:lnTo>
                    <a:lnTo>
                      <a:pt x="944" y="217"/>
                    </a:lnTo>
                    <a:lnTo>
                      <a:pt x="944" y="216"/>
                    </a:lnTo>
                    <a:close/>
                    <a:moveTo>
                      <a:pt x="958" y="217"/>
                    </a:moveTo>
                    <a:lnTo>
                      <a:pt x="958" y="219"/>
                    </a:lnTo>
                    <a:lnTo>
                      <a:pt x="958" y="221"/>
                    </a:lnTo>
                    <a:lnTo>
                      <a:pt x="958" y="223"/>
                    </a:lnTo>
                    <a:lnTo>
                      <a:pt x="958" y="224"/>
                    </a:lnTo>
                    <a:lnTo>
                      <a:pt x="956" y="224"/>
                    </a:lnTo>
                    <a:lnTo>
                      <a:pt x="956" y="223"/>
                    </a:lnTo>
                    <a:lnTo>
                      <a:pt x="956" y="221"/>
                    </a:lnTo>
                    <a:lnTo>
                      <a:pt x="958" y="221"/>
                    </a:lnTo>
                    <a:lnTo>
                      <a:pt x="958" y="219"/>
                    </a:lnTo>
                    <a:lnTo>
                      <a:pt x="958" y="217"/>
                    </a:lnTo>
                    <a:lnTo>
                      <a:pt x="958" y="216"/>
                    </a:lnTo>
                    <a:lnTo>
                      <a:pt x="958" y="217"/>
                    </a:lnTo>
                    <a:close/>
                    <a:moveTo>
                      <a:pt x="951" y="216"/>
                    </a:moveTo>
                    <a:lnTo>
                      <a:pt x="952" y="216"/>
                    </a:lnTo>
                    <a:lnTo>
                      <a:pt x="952" y="217"/>
                    </a:lnTo>
                    <a:lnTo>
                      <a:pt x="951" y="217"/>
                    </a:lnTo>
                    <a:lnTo>
                      <a:pt x="951" y="216"/>
                    </a:lnTo>
                    <a:close/>
                    <a:moveTo>
                      <a:pt x="1189" y="621"/>
                    </a:moveTo>
                    <a:lnTo>
                      <a:pt x="1190" y="621"/>
                    </a:lnTo>
                    <a:lnTo>
                      <a:pt x="1190" y="622"/>
                    </a:lnTo>
                    <a:lnTo>
                      <a:pt x="1189" y="622"/>
                    </a:lnTo>
                    <a:lnTo>
                      <a:pt x="1189" y="621"/>
                    </a:lnTo>
                    <a:close/>
                    <a:moveTo>
                      <a:pt x="1189" y="621"/>
                    </a:moveTo>
                    <a:lnTo>
                      <a:pt x="1190" y="621"/>
                    </a:lnTo>
                    <a:lnTo>
                      <a:pt x="1189" y="621"/>
                    </a:lnTo>
                    <a:close/>
                    <a:moveTo>
                      <a:pt x="1194" y="612"/>
                    </a:moveTo>
                    <a:lnTo>
                      <a:pt x="1194" y="614"/>
                    </a:lnTo>
                    <a:lnTo>
                      <a:pt x="1194" y="612"/>
                    </a:lnTo>
                    <a:close/>
                    <a:moveTo>
                      <a:pt x="1197" y="612"/>
                    </a:moveTo>
                    <a:lnTo>
                      <a:pt x="1197" y="614"/>
                    </a:lnTo>
                    <a:lnTo>
                      <a:pt x="1197" y="612"/>
                    </a:lnTo>
                    <a:close/>
                    <a:moveTo>
                      <a:pt x="1194" y="612"/>
                    </a:moveTo>
                    <a:lnTo>
                      <a:pt x="1196" y="612"/>
                    </a:lnTo>
                    <a:lnTo>
                      <a:pt x="1194" y="612"/>
                    </a:lnTo>
                    <a:close/>
                    <a:moveTo>
                      <a:pt x="1190" y="609"/>
                    </a:moveTo>
                    <a:lnTo>
                      <a:pt x="1192" y="609"/>
                    </a:lnTo>
                    <a:lnTo>
                      <a:pt x="1192" y="610"/>
                    </a:lnTo>
                    <a:lnTo>
                      <a:pt x="1190" y="610"/>
                    </a:lnTo>
                    <a:lnTo>
                      <a:pt x="1190" y="609"/>
                    </a:lnTo>
                    <a:close/>
                    <a:moveTo>
                      <a:pt x="1507" y="884"/>
                    </a:moveTo>
                    <a:lnTo>
                      <a:pt x="1508" y="884"/>
                    </a:lnTo>
                    <a:lnTo>
                      <a:pt x="1508" y="886"/>
                    </a:lnTo>
                    <a:lnTo>
                      <a:pt x="1507" y="886"/>
                    </a:lnTo>
                    <a:lnTo>
                      <a:pt x="1507" y="884"/>
                    </a:lnTo>
                    <a:close/>
                    <a:moveTo>
                      <a:pt x="1007" y="985"/>
                    </a:moveTo>
                    <a:lnTo>
                      <a:pt x="1009" y="985"/>
                    </a:lnTo>
                    <a:lnTo>
                      <a:pt x="1007" y="985"/>
                    </a:lnTo>
                    <a:close/>
                    <a:moveTo>
                      <a:pt x="992" y="985"/>
                    </a:moveTo>
                    <a:lnTo>
                      <a:pt x="993" y="985"/>
                    </a:lnTo>
                    <a:lnTo>
                      <a:pt x="992" y="985"/>
                    </a:lnTo>
                    <a:close/>
                    <a:moveTo>
                      <a:pt x="990" y="981"/>
                    </a:moveTo>
                    <a:lnTo>
                      <a:pt x="990" y="983"/>
                    </a:lnTo>
                    <a:lnTo>
                      <a:pt x="990" y="981"/>
                    </a:lnTo>
                    <a:close/>
                    <a:moveTo>
                      <a:pt x="1005" y="980"/>
                    </a:moveTo>
                    <a:lnTo>
                      <a:pt x="1007" y="980"/>
                    </a:lnTo>
                    <a:lnTo>
                      <a:pt x="1005" y="980"/>
                    </a:lnTo>
                    <a:lnTo>
                      <a:pt x="1007" y="981"/>
                    </a:lnTo>
                    <a:lnTo>
                      <a:pt x="1009" y="981"/>
                    </a:lnTo>
                    <a:lnTo>
                      <a:pt x="1009" y="983"/>
                    </a:lnTo>
                    <a:lnTo>
                      <a:pt x="1009" y="981"/>
                    </a:lnTo>
                    <a:lnTo>
                      <a:pt x="1009" y="983"/>
                    </a:lnTo>
                    <a:lnTo>
                      <a:pt x="1010" y="983"/>
                    </a:lnTo>
                    <a:lnTo>
                      <a:pt x="1009" y="983"/>
                    </a:lnTo>
                    <a:lnTo>
                      <a:pt x="1007" y="983"/>
                    </a:lnTo>
                    <a:lnTo>
                      <a:pt x="1007" y="985"/>
                    </a:lnTo>
                    <a:lnTo>
                      <a:pt x="1005" y="983"/>
                    </a:lnTo>
                    <a:lnTo>
                      <a:pt x="1003" y="985"/>
                    </a:lnTo>
                    <a:lnTo>
                      <a:pt x="1003" y="983"/>
                    </a:lnTo>
                    <a:lnTo>
                      <a:pt x="1002" y="983"/>
                    </a:lnTo>
                    <a:lnTo>
                      <a:pt x="1002" y="985"/>
                    </a:lnTo>
                    <a:lnTo>
                      <a:pt x="1002" y="983"/>
                    </a:lnTo>
                    <a:lnTo>
                      <a:pt x="1000" y="983"/>
                    </a:lnTo>
                    <a:lnTo>
                      <a:pt x="1002" y="983"/>
                    </a:lnTo>
                    <a:lnTo>
                      <a:pt x="1002" y="981"/>
                    </a:lnTo>
                    <a:lnTo>
                      <a:pt x="1003" y="981"/>
                    </a:lnTo>
                    <a:lnTo>
                      <a:pt x="1005" y="981"/>
                    </a:lnTo>
                    <a:lnTo>
                      <a:pt x="1003" y="980"/>
                    </a:lnTo>
                    <a:lnTo>
                      <a:pt x="1005" y="980"/>
                    </a:lnTo>
                    <a:close/>
                    <a:moveTo>
                      <a:pt x="993" y="978"/>
                    </a:moveTo>
                    <a:lnTo>
                      <a:pt x="995" y="978"/>
                    </a:lnTo>
                    <a:lnTo>
                      <a:pt x="995" y="980"/>
                    </a:lnTo>
                    <a:lnTo>
                      <a:pt x="993" y="980"/>
                    </a:lnTo>
                    <a:lnTo>
                      <a:pt x="993" y="978"/>
                    </a:lnTo>
                    <a:close/>
                    <a:moveTo>
                      <a:pt x="995" y="978"/>
                    </a:moveTo>
                    <a:lnTo>
                      <a:pt x="997" y="978"/>
                    </a:lnTo>
                    <a:lnTo>
                      <a:pt x="995" y="978"/>
                    </a:lnTo>
                    <a:close/>
                    <a:moveTo>
                      <a:pt x="1000" y="978"/>
                    </a:moveTo>
                    <a:lnTo>
                      <a:pt x="1002" y="978"/>
                    </a:lnTo>
                    <a:lnTo>
                      <a:pt x="1002" y="980"/>
                    </a:lnTo>
                    <a:lnTo>
                      <a:pt x="1000" y="980"/>
                    </a:lnTo>
                    <a:lnTo>
                      <a:pt x="1000" y="978"/>
                    </a:lnTo>
                    <a:close/>
                    <a:moveTo>
                      <a:pt x="1010" y="976"/>
                    </a:moveTo>
                    <a:lnTo>
                      <a:pt x="1012" y="976"/>
                    </a:lnTo>
                    <a:lnTo>
                      <a:pt x="1010" y="976"/>
                    </a:lnTo>
                    <a:close/>
                    <a:moveTo>
                      <a:pt x="1080" y="976"/>
                    </a:moveTo>
                    <a:lnTo>
                      <a:pt x="1082" y="976"/>
                    </a:lnTo>
                    <a:lnTo>
                      <a:pt x="1080" y="976"/>
                    </a:lnTo>
                    <a:close/>
                    <a:moveTo>
                      <a:pt x="1015" y="974"/>
                    </a:moveTo>
                    <a:lnTo>
                      <a:pt x="1017" y="974"/>
                    </a:lnTo>
                    <a:lnTo>
                      <a:pt x="1015" y="974"/>
                    </a:lnTo>
                    <a:close/>
                    <a:moveTo>
                      <a:pt x="1041" y="968"/>
                    </a:moveTo>
                    <a:lnTo>
                      <a:pt x="1041" y="969"/>
                    </a:lnTo>
                    <a:lnTo>
                      <a:pt x="1041" y="971"/>
                    </a:lnTo>
                    <a:lnTo>
                      <a:pt x="1041" y="969"/>
                    </a:lnTo>
                    <a:lnTo>
                      <a:pt x="1039" y="969"/>
                    </a:lnTo>
                    <a:lnTo>
                      <a:pt x="1039" y="971"/>
                    </a:lnTo>
                    <a:lnTo>
                      <a:pt x="1037" y="969"/>
                    </a:lnTo>
                    <a:lnTo>
                      <a:pt x="1039" y="969"/>
                    </a:lnTo>
                    <a:lnTo>
                      <a:pt x="1039" y="968"/>
                    </a:lnTo>
                    <a:lnTo>
                      <a:pt x="1039" y="969"/>
                    </a:lnTo>
                    <a:lnTo>
                      <a:pt x="1041" y="969"/>
                    </a:lnTo>
                    <a:lnTo>
                      <a:pt x="1041" y="968"/>
                    </a:lnTo>
                    <a:close/>
                    <a:moveTo>
                      <a:pt x="1090" y="954"/>
                    </a:moveTo>
                    <a:lnTo>
                      <a:pt x="1090" y="956"/>
                    </a:lnTo>
                    <a:lnTo>
                      <a:pt x="1090" y="954"/>
                    </a:lnTo>
                    <a:close/>
                    <a:moveTo>
                      <a:pt x="973" y="1005"/>
                    </a:moveTo>
                    <a:lnTo>
                      <a:pt x="975" y="1005"/>
                    </a:lnTo>
                    <a:lnTo>
                      <a:pt x="975" y="1007"/>
                    </a:lnTo>
                    <a:lnTo>
                      <a:pt x="973" y="1007"/>
                    </a:lnTo>
                    <a:lnTo>
                      <a:pt x="973" y="1005"/>
                    </a:lnTo>
                    <a:close/>
                    <a:moveTo>
                      <a:pt x="978" y="1003"/>
                    </a:moveTo>
                    <a:lnTo>
                      <a:pt x="978" y="1005"/>
                    </a:lnTo>
                    <a:lnTo>
                      <a:pt x="978" y="1003"/>
                    </a:lnTo>
                    <a:close/>
                    <a:moveTo>
                      <a:pt x="968" y="1003"/>
                    </a:moveTo>
                    <a:lnTo>
                      <a:pt x="969" y="1003"/>
                    </a:lnTo>
                    <a:lnTo>
                      <a:pt x="971" y="1005"/>
                    </a:lnTo>
                    <a:lnTo>
                      <a:pt x="971" y="1007"/>
                    </a:lnTo>
                    <a:lnTo>
                      <a:pt x="969" y="1007"/>
                    </a:lnTo>
                    <a:lnTo>
                      <a:pt x="969" y="1008"/>
                    </a:lnTo>
                    <a:lnTo>
                      <a:pt x="971" y="1010"/>
                    </a:lnTo>
                    <a:lnTo>
                      <a:pt x="971" y="1008"/>
                    </a:lnTo>
                    <a:lnTo>
                      <a:pt x="971" y="1010"/>
                    </a:lnTo>
                    <a:lnTo>
                      <a:pt x="971" y="1012"/>
                    </a:lnTo>
                    <a:lnTo>
                      <a:pt x="969" y="1012"/>
                    </a:lnTo>
                    <a:lnTo>
                      <a:pt x="969" y="1010"/>
                    </a:lnTo>
                    <a:lnTo>
                      <a:pt x="968" y="1010"/>
                    </a:lnTo>
                    <a:lnTo>
                      <a:pt x="966" y="1010"/>
                    </a:lnTo>
                    <a:lnTo>
                      <a:pt x="964" y="1012"/>
                    </a:lnTo>
                    <a:lnTo>
                      <a:pt x="964" y="1010"/>
                    </a:lnTo>
                    <a:lnTo>
                      <a:pt x="963" y="1010"/>
                    </a:lnTo>
                    <a:lnTo>
                      <a:pt x="963" y="1008"/>
                    </a:lnTo>
                    <a:lnTo>
                      <a:pt x="964" y="1008"/>
                    </a:lnTo>
                    <a:lnTo>
                      <a:pt x="964" y="1007"/>
                    </a:lnTo>
                    <a:lnTo>
                      <a:pt x="966" y="1007"/>
                    </a:lnTo>
                    <a:lnTo>
                      <a:pt x="966" y="1005"/>
                    </a:lnTo>
                    <a:lnTo>
                      <a:pt x="968" y="1005"/>
                    </a:lnTo>
                    <a:lnTo>
                      <a:pt x="968" y="1003"/>
                    </a:lnTo>
                    <a:close/>
                    <a:moveTo>
                      <a:pt x="973" y="997"/>
                    </a:moveTo>
                    <a:lnTo>
                      <a:pt x="975" y="997"/>
                    </a:lnTo>
                    <a:lnTo>
                      <a:pt x="973" y="997"/>
                    </a:lnTo>
                    <a:close/>
                    <a:moveTo>
                      <a:pt x="976" y="997"/>
                    </a:moveTo>
                    <a:lnTo>
                      <a:pt x="978" y="997"/>
                    </a:lnTo>
                    <a:lnTo>
                      <a:pt x="976" y="997"/>
                    </a:lnTo>
                    <a:close/>
                    <a:moveTo>
                      <a:pt x="983" y="991"/>
                    </a:moveTo>
                    <a:lnTo>
                      <a:pt x="985" y="991"/>
                    </a:lnTo>
                    <a:lnTo>
                      <a:pt x="983" y="991"/>
                    </a:lnTo>
                    <a:close/>
                    <a:moveTo>
                      <a:pt x="861" y="1156"/>
                    </a:moveTo>
                    <a:lnTo>
                      <a:pt x="861" y="1158"/>
                    </a:lnTo>
                    <a:lnTo>
                      <a:pt x="861" y="1156"/>
                    </a:lnTo>
                    <a:close/>
                    <a:moveTo>
                      <a:pt x="864" y="1141"/>
                    </a:moveTo>
                    <a:lnTo>
                      <a:pt x="866" y="1143"/>
                    </a:lnTo>
                    <a:lnTo>
                      <a:pt x="866" y="1141"/>
                    </a:lnTo>
                    <a:lnTo>
                      <a:pt x="866" y="1143"/>
                    </a:lnTo>
                    <a:lnTo>
                      <a:pt x="866" y="1145"/>
                    </a:lnTo>
                    <a:lnTo>
                      <a:pt x="864" y="1145"/>
                    </a:lnTo>
                    <a:lnTo>
                      <a:pt x="864" y="1146"/>
                    </a:lnTo>
                    <a:lnTo>
                      <a:pt x="864" y="1148"/>
                    </a:lnTo>
                    <a:lnTo>
                      <a:pt x="862" y="1148"/>
                    </a:lnTo>
                    <a:lnTo>
                      <a:pt x="862" y="1150"/>
                    </a:lnTo>
                    <a:lnTo>
                      <a:pt x="862" y="1151"/>
                    </a:lnTo>
                    <a:lnTo>
                      <a:pt x="861" y="1151"/>
                    </a:lnTo>
                    <a:lnTo>
                      <a:pt x="861" y="1153"/>
                    </a:lnTo>
                    <a:lnTo>
                      <a:pt x="861" y="1155"/>
                    </a:lnTo>
                    <a:lnTo>
                      <a:pt x="862" y="1155"/>
                    </a:lnTo>
                    <a:lnTo>
                      <a:pt x="861" y="1155"/>
                    </a:lnTo>
                    <a:lnTo>
                      <a:pt x="861" y="1156"/>
                    </a:lnTo>
                    <a:lnTo>
                      <a:pt x="861" y="1155"/>
                    </a:lnTo>
                    <a:lnTo>
                      <a:pt x="859" y="1156"/>
                    </a:lnTo>
                    <a:lnTo>
                      <a:pt x="859" y="1155"/>
                    </a:lnTo>
                    <a:lnTo>
                      <a:pt x="859" y="1153"/>
                    </a:lnTo>
                    <a:lnTo>
                      <a:pt x="859" y="1151"/>
                    </a:lnTo>
                    <a:lnTo>
                      <a:pt x="859" y="1150"/>
                    </a:lnTo>
                    <a:lnTo>
                      <a:pt x="861" y="1150"/>
                    </a:lnTo>
                    <a:lnTo>
                      <a:pt x="859" y="1150"/>
                    </a:lnTo>
                    <a:lnTo>
                      <a:pt x="859" y="1148"/>
                    </a:lnTo>
                    <a:lnTo>
                      <a:pt x="861" y="1148"/>
                    </a:lnTo>
                    <a:lnTo>
                      <a:pt x="861" y="1146"/>
                    </a:lnTo>
                    <a:lnTo>
                      <a:pt x="861" y="1145"/>
                    </a:lnTo>
                    <a:lnTo>
                      <a:pt x="859" y="1145"/>
                    </a:lnTo>
                    <a:lnTo>
                      <a:pt x="859" y="1143"/>
                    </a:lnTo>
                    <a:lnTo>
                      <a:pt x="861" y="1143"/>
                    </a:lnTo>
                    <a:lnTo>
                      <a:pt x="859" y="1143"/>
                    </a:lnTo>
                    <a:lnTo>
                      <a:pt x="861" y="1143"/>
                    </a:lnTo>
                    <a:lnTo>
                      <a:pt x="861" y="1141"/>
                    </a:lnTo>
                    <a:lnTo>
                      <a:pt x="861" y="1143"/>
                    </a:lnTo>
                    <a:lnTo>
                      <a:pt x="862" y="1141"/>
                    </a:lnTo>
                    <a:lnTo>
                      <a:pt x="864" y="1141"/>
                    </a:lnTo>
                    <a:lnTo>
                      <a:pt x="862" y="1141"/>
                    </a:lnTo>
                    <a:lnTo>
                      <a:pt x="864" y="1139"/>
                    </a:lnTo>
                    <a:lnTo>
                      <a:pt x="864" y="1141"/>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8" name="Freeform 21">
                <a:extLst>
                  <a:ext uri="{FF2B5EF4-FFF2-40B4-BE49-F238E27FC236}">
                    <a16:creationId xmlns:a16="http://schemas.microsoft.com/office/drawing/2014/main" id="{638A737B-AC0B-D22D-457B-2E0830861D2D}"/>
                  </a:ext>
                </a:extLst>
              </p:cNvPr>
              <p:cNvSpPr>
                <a:spLocks noEditPoints="1"/>
              </p:cNvSpPr>
              <p:nvPr/>
            </p:nvSpPr>
            <p:spPr bwMode="auto">
              <a:xfrm>
                <a:off x="5293224" y="3123357"/>
                <a:ext cx="426185" cy="496678"/>
              </a:xfrm>
              <a:custGeom>
                <a:avLst/>
                <a:gdLst>
                  <a:gd name="T0" fmla="*/ 1322 w 1451"/>
                  <a:gd name="T1" fmla="*/ 542 h 1691"/>
                  <a:gd name="T2" fmla="*/ 1283 w 1451"/>
                  <a:gd name="T3" fmla="*/ 838 h 1691"/>
                  <a:gd name="T4" fmla="*/ 1278 w 1451"/>
                  <a:gd name="T5" fmla="*/ 1092 h 1691"/>
                  <a:gd name="T6" fmla="*/ 1217 w 1451"/>
                  <a:gd name="T7" fmla="*/ 1381 h 1691"/>
                  <a:gd name="T8" fmla="*/ 1264 w 1451"/>
                  <a:gd name="T9" fmla="*/ 1556 h 1691"/>
                  <a:gd name="T10" fmla="*/ 1205 w 1451"/>
                  <a:gd name="T11" fmla="*/ 1514 h 1691"/>
                  <a:gd name="T12" fmla="*/ 1234 w 1451"/>
                  <a:gd name="T13" fmla="*/ 1488 h 1691"/>
                  <a:gd name="T14" fmla="*/ 1208 w 1451"/>
                  <a:gd name="T15" fmla="*/ 1446 h 1691"/>
                  <a:gd name="T16" fmla="*/ 1196 w 1451"/>
                  <a:gd name="T17" fmla="*/ 1384 h 1691"/>
                  <a:gd name="T18" fmla="*/ 1200 w 1451"/>
                  <a:gd name="T19" fmla="*/ 1320 h 1691"/>
                  <a:gd name="T20" fmla="*/ 1219 w 1451"/>
                  <a:gd name="T21" fmla="*/ 1260 h 1691"/>
                  <a:gd name="T22" fmla="*/ 1196 w 1451"/>
                  <a:gd name="T23" fmla="*/ 1208 h 1691"/>
                  <a:gd name="T24" fmla="*/ 1169 w 1451"/>
                  <a:gd name="T25" fmla="*/ 1153 h 1691"/>
                  <a:gd name="T26" fmla="*/ 1222 w 1451"/>
                  <a:gd name="T27" fmla="*/ 1134 h 1691"/>
                  <a:gd name="T28" fmla="*/ 1236 w 1451"/>
                  <a:gd name="T29" fmla="*/ 988 h 1691"/>
                  <a:gd name="T30" fmla="*/ 1219 w 1451"/>
                  <a:gd name="T31" fmla="*/ 871 h 1691"/>
                  <a:gd name="T32" fmla="*/ 1285 w 1451"/>
                  <a:gd name="T33" fmla="*/ 556 h 1691"/>
                  <a:gd name="T34" fmla="*/ 1312 w 1451"/>
                  <a:gd name="T35" fmla="*/ 212 h 1691"/>
                  <a:gd name="T36" fmla="*/ 1389 w 1451"/>
                  <a:gd name="T37" fmla="*/ 127 h 1691"/>
                  <a:gd name="T38" fmla="*/ 1287 w 1451"/>
                  <a:gd name="T39" fmla="*/ 1609 h 1691"/>
                  <a:gd name="T40" fmla="*/ 1321 w 1451"/>
                  <a:gd name="T41" fmla="*/ 1595 h 1691"/>
                  <a:gd name="T42" fmla="*/ 1338 w 1451"/>
                  <a:gd name="T43" fmla="*/ 1505 h 1691"/>
                  <a:gd name="T44" fmla="*/ 1174 w 1451"/>
                  <a:gd name="T45" fmla="*/ 1286 h 1691"/>
                  <a:gd name="T46" fmla="*/ 1164 w 1451"/>
                  <a:gd name="T47" fmla="*/ 1344 h 1691"/>
                  <a:gd name="T48" fmla="*/ 1173 w 1451"/>
                  <a:gd name="T49" fmla="*/ 1284 h 1691"/>
                  <a:gd name="T50" fmla="*/ 1251 w 1451"/>
                  <a:gd name="T51" fmla="*/ 1505 h 1691"/>
                  <a:gd name="T52" fmla="*/ 1355 w 1451"/>
                  <a:gd name="T53" fmla="*/ 1662 h 1691"/>
                  <a:gd name="T54" fmla="*/ 1247 w 1451"/>
                  <a:gd name="T55" fmla="*/ 1568 h 1691"/>
                  <a:gd name="T56" fmla="*/ 1402 w 1451"/>
                  <a:gd name="T57" fmla="*/ 1628 h 1691"/>
                  <a:gd name="T58" fmla="*/ 1300 w 1451"/>
                  <a:gd name="T59" fmla="*/ 1566 h 1691"/>
                  <a:gd name="T60" fmla="*/ 1174 w 1451"/>
                  <a:gd name="T61" fmla="*/ 1502 h 1691"/>
                  <a:gd name="T62" fmla="*/ 1156 w 1451"/>
                  <a:gd name="T63" fmla="*/ 1379 h 1691"/>
                  <a:gd name="T64" fmla="*/ 1156 w 1451"/>
                  <a:gd name="T65" fmla="*/ 1284 h 1691"/>
                  <a:gd name="T66" fmla="*/ 1179 w 1451"/>
                  <a:gd name="T67" fmla="*/ 1282 h 1691"/>
                  <a:gd name="T68" fmla="*/ 1312 w 1451"/>
                  <a:gd name="T69" fmla="*/ 1643 h 1691"/>
                  <a:gd name="T70" fmla="*/ 1169 w 1451"/>
                  <a:gd name="T71" fmla="*/ 1265 h 1691"/>
                  <a:gd name="T72" fmla="*/ 1152 w 1451"/>
                  <a:gd name="T73" fmla="*/ 1277 h 1691"/>
                  <a:gd name="T74" fmla="*/ 1168 w 1451"/>
                  <a:gd name="T75" fmla="*/ 1422 h 1691"/>
                  <a:gd name="T76" fmla="*/ 1196 w 1451"/>
                  <a:gd name="T77" fmla="*/ 1481 h 1691"/>
                  <a:gd name="T78" fmla="*/ 1208 w 1451"/>
                  <a:gd name="T79" fmla="*/ 1126 h 1691"/>
                  <a:gd name="T80" fmla="*/ 1193 w 1451"/>
                  <a:gd name="T81" fmla="*/ 1099 h 1691"/>
                  <a:gd name="T82" fmla="*/ 1292 w 1451"/>
                  <a:gd name="T83" fmla="*/ 1626 h 1691"/>
                  <a:gd name="T84" fmla="*/ 1207 w 1451"/>
                  <a:gd name="T85" fmla="*/ 1155 h 1691"/>
                  <a:gd name="T86" fmla="*/ 1190 w 1451"/>
                  <a:gd name="T87" fmla="*/ 1114 h 1691"/>
                  <a:gd name="T88" fmla="*/ 1173 w 1451"/>
                  <a:gd name="T89" fmla="*/ 1138 h 1691"/>
                  <a:gd name="T90" fmla="*/ 1326 w 1451"/>
                  <a:gd name="T91" fmla="*/ 1629 h 1691"/>
                  <a:gd name="T92" fmla="*/ 1164 w 1451"/>
                  <a:gd name="T93" fmla="*/ 1391 h 1691"/>
                  <a:gd name="T94" fmla="*/ 1173 w 1451"/>
                  <a:gd name="T95" fmla="*/ 1417 h 1691"/>
                  <a:gd name="T96" fmla="*/ 1229 w 1451"/>
                  <a:gd name="T97" fmla="*/ 952 h 1691"/>
                  <a:gd name="T98" fmla="*/ 1183 w 1451"/>
                  <a:gd name="T99" fmla="*/ 1075 h 1691"/>
                  <a:gd name="T100" fmla="*/ 1229 w 1451"/>
                  <a:gd name="T101" fmla="*/ 976 h 1691"/>
                  <a:gd name="T102" fmla="*/ 1378 w 1451"/>
                  <a:gd name="T103" fmla="*/ 1660 h 1691"/>
                  <a:gd name="T104" fmla="*/ 1208 w 1451"/>
                  <a:gd name="T105" fmla="*/ 1065 h 1691"/>
                  <a:gd name="T106" fmla="*/ 1229 w 1451"/>
                  <a:gd name="T107" fmla="*/ 1585 h 1691"/>
                  <a:gd name="T108" fmla="*/ 1336 w 1451"/>
                  <a:gd name="T109" fmla="*/ 1653 h 1691"/>
                  <a:gd name="T110" fmla="*/ 1185 w 1451"/>
                  <a:gd name="T111" fmla="*/ 1463 h 1691"/>
                  <a:gd name="T112" fmla="*/ 1171 w 1451"/>
                  <a:gd name="T113" fmla="*/ 1481 h 1691"/>
                  <a:gd name="T114" fmla="*/ 1215 w 1451"/>
                  <a:gd name="T115" fmla="*/ 1521 h 1691"/>
                  <a:gd name="T116" fmla="*/ 1159 w 1451"/>
                  <a:gd name="T117" fmla="*/ 1356 h 1691"/>
                  <a:gd name="T118" fmla="*/ 1251 w 1451"/>
                  <a:gd name="T119" fmla="*/ 1597 h 1691"/>
                  <a:gd name="T120" fmla="*/ 1232 w 1451"/>
                  <a:gd name="T121" fmla="*/ 1546 h 1691"/>
                  <a:gd name="T122" fmla="*/ 1281 w 1451"/>
                  <a:gd name="T123" fmla="*/ 1614 h 1691"/>
                  <a:gd name="T124" fmla="*/ 1168 w 1451"/>
                  <a:gd name="T125" fmla="*/ 1405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51" h="1691">
                    <a:moveTo>
                      <a:pt x="1426" y="190"/>
                    </a:moveTo>
                    <a:lnTo>
                      <a:pt x="1429" y="194"/>
                    </a:lnTo>
                    <a:lnTo>
                      <a:pt x="1433" y="197"/>
                    </a:lnTo>
                    <a:lnTo>
                      <a:pt x="1429" y="206"/>
                    </a:lnTo>
                    <a:lnTo>
                      <a:pt x="1429" y="207"/>
                    </a:lnTo>
                    <a:lnTo>
                      <a:pt x="1428" y="214"/>
                    </a:lnTo>
                    <a:lnTo>
                      <a:pt x="1424" y="224"/>
                    </a:lnTo>
                    <a:lnTo>
                      <a:pt x="1424" y="226"/>
                    </a:lnTo>
                    <a:lnTo>
                      <a:pt x="1421" y="236"/>
                    </a:lnTo>
                    <a:lnTo>
                      <a:pt x="1416" y="238"/>
                    </a:lnTo>
                    <a:lnTo>
                      <a:pt x="1409" y="241"/>
                    </a:lnTo>
                    <a:lnTo>
                      <a:pt x="1400" y="245"/>
                    </a:lnTo>
                    <a:lnTo>
                      <a:pt x="1399" y="245"/>
                    </a:lnTo>
                    <a:lnTo>
                      <a:pt x="1397" y="246"/>
                    </a:lnTo>
                    <a:lnTo>
                      <a:pt x="1390" y="248"/>
                    </a:lnTo>
                    <a:lnTo>
                      <a:pt x="1390" y="250"/>
                    </a:lnTo>
                    <a:lnTo>
                      <a:pt x="1389" y="250"/>
                    </a:lnTo>
                    <a:lnTo>
                      <a:pt x="1389" y="252"/>
                    </a:lnTo>
                    <a:lnTo>
                      <a:pt x="1387" y="253"/>
                    </a:lnTo>
                    <a:lnTo>
                      <a:pt x="1387" y="252"/>
                    </a:lnTo>
                    <a:lnTo>
                      <a:pt x="1385" y="252"/>
                    </a:lnTo>
                    <a:lnTo>
                      <a:pt x="1385" y="253"/>
                    </a:lnTo>
                    <a:lnTo>
                      <a:pt x="1385" y="255"/>
                    </a:lnTo>
                    <a:lnTo>
                      <a:pt x="1383" y="255"/>
                    </a:lnTo>
                    <a:lnTo>
                      <a:pt x="1383" y="257"/>
                    </a:lnTo>
                    <a:lnTo>
                      <a:pt x="1382" y="257"/>
                    </a:lnTo>
                    <a:lnTo>
                      <a:pt x="1382" y="258"/>
                    </a:lnTo>
                    <a:lnTo>
                      <a:pt x="1382" y="260"/>
                    </a:lnTo>
                    <a:lnTo>
                      <a:pt x="1380" y="260"/>
                    </a:lnTo>
                    <a:lnTo>
                      <a:pt x="1380" y="262"/>
                    </a:lnTo>
                    <a:lnTo>
                      <a:pt x="1380" y="263"/>
                    </a:lnTo>
                    <a:lnTo>
                      <a:pt x="1380" y="265"/>
                    </a:lnTo>
                    <a:lnTo>
                      <a:pt x="1382" y="267"/>
                    </a:lnTo>
                    <a:lnTo>
                      <a:pt x="1383" y="267"/>
                    </a:lnTo>
                    <a:lnTo>
                      <a:pt x="1383" y="269"/>
                    </a:lnTo>
                    <a:lnTo>
                      <a:pt x="1383" y="270"/>
                    </a:lnTo>
                    <a:lnTo>
                      <a:pt x="1385" y="270"/>
                    </a:lnTo>
                    <a:lnTo>
                      <a:pt x="1385" y="272"/>
                    </a:lnTo>
                    <a:lnTo>
                      <a:pt x="1387" y="272"/>
                    </a:lnTo>
                    <a:lnTo>
                      <a:pt x="1387" y="274"/>
                    </a:lnTo>
                    <a:lnTo>
                      <a:pt x="1387" y="275"/>
                    </a:lnTo>
                    <a:lnTo>
                      <a:pt x="1385" y="275"/>
                    </a:lnTo>
                    <a:lnTo>
                      <a:pt x="1385" y="277"/>
                    </a:lnTo>
                    <a:lnTo>
                      <a:pt x="1385" y="275"/>
                    </a:lnTo>
                    <a:lnTo>
                      <a:pt x="1383" y="275"/>
                    </a:lnTo>
                    <a:lnTo>
                      <a:pt x="1382" y="277"/>
                    </a:lnTo>
                    <a:lnTo>
                      <a:pt x="1382" y="279"/>
                    </a:lnTo>
                    <a:lnTo>
                      <a:pt x="1382" y="280"/>
                    </a:lnTo>
                    <a:lnTo>
                      <a:pt x="1380" y="280"/>
                    </a:lnTo>
                    <a:lnTo>
                      <a:pt x="1380" y="282"/>
                    </a:lnTo>
                    <a:lnTo>
                      <a:pt x="1380" y="284"/>
                    </a:lnTo>
                    <a:lnTo>
                      <a:pt x="1382" y="284"/>
                    </a:lnTo>
                    <a:lnTo>
                      <a:pt x="1382" y="286"/>
                    </a:lnTo>
                    <a:lnTo>
                      <a:pt x="1380" y="286"/>
                    </a:lnTo>
                    <a:lnTo>
                      <a:pt x="1380" y="287"/>
                    </a:lnTo>
                    <a:lnTo>
                      <a:pt x="1378" y="287"/>
                    </a:lnTo>
                    <a:lnTo>
                      <a:pt x="1380" y="289"/>
                    </a:lnTo>
                    <a:lnTo>
                      <a:pt x="1380" y="291"/>
                    </a:lnTo>
                    <a:lnTo>
                      <a:pt x="1380" y="292"/>
                    </a:lnTo>
                    <a:lnTo>
                      <a:pt x="1382" y="292"/>
                    </a:lnTo>
                    <a:lnTo>
                      <a:pt x="1380" y="294"/>
                    </a:lnTo>
                    <a:lnTo>
                      <a:pt x="1380" y="296"/>
                    </a:lnTo>
                    <a:lnTo>
                      <a:pt x="1382" y="296"/>
                    </a:lnTo>
                    <a:lnTo>
                      <a:pt x="1382" y="297"/>
                    </a:lnTo>
                    <a:lnTo>
                      <a:pt x="1383" y="299"/>
                    </a:lnTo>
                    <a:lnTo>
                      <a:pt x="1383" y="304"/>
                    </a:lnTo>
                    <a:lnTo>
                      <a:pt x="1385" y="308"/>
                    </a:lnTo>
                    <a:lnTo>
                      <a:pt x="1385" y="309"/>
                    </a:lnTo>
                    <a:lnTo>
                      <a:pt x="1385" y="313"/>
                    </a:lnTo>
                    <a:lnTo>
                      <a:pt x="1385" y="316"/>
                    </a:lnTo>
                    <a:lnTo>
                      <a:pt x="1383" y="316"/>
                    </a:lnTo>
                    <a:lnTo>
                      <a:pt x="1382" y="318"/>
                    </a:lnTo>
                    <a:lnTo>
                      <a:pt x="1380" y="320"/>
                    </a:lnTo>
                    <a:lnTo>
                      <a:pt x="1380" y="323"/>
                    </a:lnTo>
                    <a:lnTo>
                      <a:pt x="1378" y="325"/>
                    </a:lnTo>
                    <a:lnTo>
                      <a:pt x="1378" y="326"/>
                    </a:lnTo>
                    <a:lnTo>
                      <a:pt x="1380" y="328"/>
                    </a:lnTo>
                    <a:lnTo>
                      <a:pt x="1380" y="330"/>
                    </a:lnTo>
                    <a:lnTo>
                      <a:pt x="1382" y="331"/>
                    </a:lnTo>
                    <a:lnTo>
                      <a:pt x="1382" y="333"/>
                    </a:lnTo>
                    <a:lnTo>
                      <a:pt x="1383" y="333"/>
                    </a:lnTo>
                    <a:lnTo>
                      <a:pt x="1383" y="335"/>
                    </a:lnTo>
                    <a:lnTo>
                      <a:pt x="1385" y="338"/>
                    </a:lnTo>
                    <a:lnTo>
                      <a:pt x="1387" y="338"/>
                    </a:lnTo>
                    <a:lnTo>
                      <a:pt x="1387" y="340"/>
                    </a:lnTo>
                    <a:lnTo>
                      <a:pt x="1389" y="342"/>
                    </a:lnTo>
                    <a:lnTo>
                      <a:pt x="1389" y="343"/>
                    </a:lnTo>
                    <a:lnTo>
                      <a:pt x="1390" y="343"/>
                    </a:lnTo>
                    <a:lnTo>
                      <a:pt x="1389" y="343"/>
                    </a:lnTo>
                    <a:lnTo>
                      <a:pt x="1389" y="345"/>
                    </a:lnTo>
                    <a:lnTo>
                      <a:pt x="1389" y="347"/>
                    </a:lnTo>
                    <a:lnTo>
                      <a:pt x="1389" y="349"/>
                    </a:lnTo>
                    <a:lnTo>
                      <a:pt x="1387" y="349"/>
                    </a:lnTo>
                    <a:lnTo>
                      <a:pt x="1385" y="349"/>
                    </a:lnTo>
                    <a:lnTo>
                      <a:pt x="1383" y="349"/>
                    </a:lnTo>
                    <a:lnTo>
                      <a:pt x="1383" y="350"/>
                    </a:lnTo>
                    <a:lnTo>
                      <a:pt x="1382" y="349"/>
                    </a:lnTo>
                    <a:lnTo>
                      <a:pt x="1383" y="350"/>
                    </a:lnTo>
                    <a:lnTo>
                      <a:pt x="1382" y="352"/>
                    </a:lnTo>
                    <a:lnTo>
                      <a:pt x="1380" y="350"/>
                    </a:lnTo>
                    <a:lnTo>
                      <a:pt x="1380" y="352"/>
                    </a:lnTo>
                    <a:lnTo>
                      <a:pt x="1380" y="354"/>
                    </a:lnTo>
                    <a:lnTo>
                      <a:pt x="1378" y="352"/>
                    </a:lnTo>
                    <a:lnTo>
                      <a:pt x="1378" y="354"/>
                    </a:lnTo>
                    <a:lnTo>
                      <a:pt x="1377" y="352"/>
                    </a:lnTo>
                    <a:lnTo>
                      <a:pt x="1377" y="350"/>
                    </a:lnTo>
                    <a:lnTo>
                      <a:pt x="1375" y="350"/>
                    </a:lnTo>
                    <a:lnTo>
                      <a:pt x="1373" y="350"/>
                    </a:lnTo>
                    <a:lnTo>
                      <a:pt x="1372" y="350"/>
                    </a:lnTo>
                    <a:lnTo>
                      <a:pt x="1372" y="352"/>
                    </a:lnTo>
                    <a:lnTo>
                      <a:pt x="1370" y="352"/>
                    </a:lnTo>
                    <a:lnTo>
                      <a:pt x="1370" y="354"/>
                    </a:lnTo>
                    <a:lnTo>
                      <a:pt x="1370" y="355"/>
                    </a:lnTo>
                    <a:lnTo>
                      <a:pt x="1370" y="357"/>
                    </a:lnTo>
                    <a:lnTo>
                      <a:pt x="1372" y="357"/>
                    </a:lnTo>
                    <a:lnTo>
                      <a:pt x="1370" y="357"/>
                    </a:lnTo>
                    <a:lnTo>
                      <a:pt x="1370" y="359"/>
                    </a:lnTo>
                    <a:lnTo>
                      <a:pt x="1368" y="359"/>
                    </a:lnTo>
                    <a:lnTo>
                      <a:pt x="1368" y="360"/>
                    </a:lnTo>
                    <a:lnTo>
                      <a:pt x="1368" y="362"/>
                    </a:lnTo>
                    <a:lnTo>
                      <a:pt x="1366" y="362"/>
                    </a:lnTo>
                    <a:lnTo>
                      <a:pt x="1368" y="362"/>
                    </a:lnTo>
                    <a:lnTo>
                      <a:pt x="1366" y="364"/>
                    </a:lnTo>
                    <a:lnTo>
                      <a:pt x="1366" y="362"/>
                    </a:lnTo>
                    <a:lnTo>
                      <a:pt x="1366" y="364"/>
                    </a:lnTo>
                    <a:lnTo>
                      <a:pt x="1365" y="364"/>
                    </a:lnTo>
                    <a:lnTo>
                      <a:pt x="1366" y="364"/>
                    </a:lnTo>
                    <a:lnTo>
                      <a:pt x="1366" y="366"/>
                    </a:lnTo>
                    <a:lnTo>
                      <a:pt x="1366" y="367"/>
                    </a:lnTo>
                    <a:lnTo>
                      <a:pt x="1365" y="367"/>
                    </a:lnTo>
                    <a:lnTo>
                      <a:pt x="1366" y="367"/>
                    </a:lnTo>
                    <a:lnTo>
                      <a:pt x="1365" y="369"/>
                    </a:lnTo>
                    <a:lnTo>
                      <a:pt x="1363" y="369"/>
                    </a:lnTo>
                    <a:lnTo>
                      <a:pt x="1363" y="371"/>
                    </a:lnTo>
                    <a:lnTo>
                      <a:pt x="1363" y="372"/>
                    </a:lnTo>
                    <a:lnTo>
                      <a:pt x="1363" y="374"/>
                    </a:lnTo>
                    <a:lnTo>
                      <a:pt x="1361" y="374"/>
                    </a:lnTo>
                    <a:lnTo>
                      <a:pt x="1361" y="376"/>
                    </a:lnTo>
                    <a:lnTo>
                      <a:pt x="1361" y="377"/>
                    </a:lnTo>
                    <a:lnTo>
                      <a:pt x="1361" y="379"/>
                    </a:lnTo>
                    <a:lnTo>
                      <a:pt x="1361" y="381"/>
                    </a:lnTo>
                    <a:lnTo>
                      <a:pt x="1360" y="381"/>
                    </a:lnTo>
                    <a:lnTo>
                      <a:pt x="1360" y="383"/>
                    </a:lnTo>
                    <a:lnTo>
                      <a:pt x="1360" y="384"/>
                    </a:lnTo>
                    <a:lnTo>
                      <a:pt x="1358" y="383"/>
                    </a:lnTo>
                    <a:lnTo>
                      <a:pt x="1356" y="384"/>
                    </a:lnTo>
                    <a:lnTo>
                      <a:pt x="1356" y="386"/>
                    </a:lnTo>
                    <a:lnTo>
                      <a:pt x="1355" y="388"/>
                    </a:lnTo>
                    <a:lnTo>
                      <a:pt x="1355" y="389"/>
                    </a:lnTo>
                    <a:lnTo>
                      <a:pt x="1353" y="391"/>
                    </a:lnTo>
                    <a:lnTo>
                      <a:pt x="1353" y="393"/>
                    </a:lnTo>
                    <a:lnTo>
                      <a:pt x="1351" y="393"/>
                    </a:lnTo>
                    <a:lnTo>
                      <a:pt x="1349" y="391"/>
                    </a:lnTo>
                    <a:lnTo>
                      <a:pt x="1349" y="393"/>
                    </a:lnTo>
                    <a:lnTo>
                      <a:pt x="1349" y="394"/>
                    </a:lnTo>
                    <a:lnTo>
                      <a:pt x="1348" y="394"/>
                    </a:lnTo>
                    <a:lnTo>
                      <a:pt x="1348" y="396"/>
                    </a:lnTo>
                    <a:lnTo>
                      <a:pt x="1348" y="398"/>
                    </a:lnTo>
                    <a:lnTo>
                      <a:pt x="1346" y="398"/>
                    </a:lnTo>
                    <a:lnTo>
                      <a:pt x="1344" y="398"/>
                    </a:lnTo>
                    <a:lnTo>
                      <a:pt x="1346" y="400"/>
                    </a:lnTo>
                    <a:lnTo>
                      <a:pt x="1344" y="400"/>
                    </a:lnTo>
                    <a:lnTo>
                      <a:pt x="1343" y="400"/>
                    </a:lnTo>
                    <a:lnTo>
                      <a:pt x="1343" y="401"/>
                    </a:lnTo>
                    <a:lnTo>
                      <a:pt x="1344" y="401"/>
                    </a:lnTo>
                    <a:lnTo>
                      <a:pt x="1343" y="401"/>
                    </a:lnTo>
                    <a:lnTo>
                      <a:pt x="1343" y="403"/>
                    </a:lnTo>
                    <a:lnTo>
                      <a:pt x="1343" y="405"/>
                    </a:lnTo>
                    <a:lnTo>
                      <a:pt x="1343" y="406"/>
                    </a:lnTo>
                    <a:lnTo>
                      <a:pt x="1341" y="406"/>
                    </a:lnTo>
                    <a:lnTo>
                      <a:pt x="1343" y="408"/>
                    </a:lnTo>
                    <a:lnTo>
                      <a:pt x="1341" y="408"/>
                    </a:lnTo>
                    <a:lnTo>
                      <a:pt x="1341" y="410"/>
                    </a:lnTo>
                    <a:lnTo>
                      <a:pt x="1341" y="411"/>
                    </a:lnTo>
                    <a:lnTo>
                      <a:pt x="1341" y="413"/>
                    </a:lnTo>
                    <a:lnTo>
                      <a:pt x="1341" y="415"/>
                    </a:lnTo>
                    <a:lnTo>
                      <a:pt x="1341" y="417"/>
                    </a:lnTo>
                    <a:lnTo>
                      <a:pt x="1339" y="417"/>
                    </a:lnTo>
                    <a:lnTo>
                      <a:pt x="1339" y="418"/>
                    </a:lnTo>
                    <a:lnTo>
                      <a:pt x="1339" y="420"/>
                    </a:lnTo>
                    <a:lnTo>
                      <a:pt x="1339" y="422"/>
                    </a:lnTo>
                    <a:lnTo>
                      <a:pt x="1339" y="423"/>
                    </a:lnTo>
                    <a:lnTo>
                      <a:pt x="1338" y="423"/>
                    </a:lnTo>
                    <a:lnTo>
                      <a:pt x="1339" y="425"/>
                    </a:lnTo>
                    <a:lnTo>
                      <a:pt x="1338" y="425"/>
                    </a:lnTo>
                    <a:lnTo>
                      <a:pt x="1338" y="427"/>
                    </a:lnTo>
                    <a:lnTo>
                      <a:pt x="1339" y="427"/>
                    </a:lnTo>
                    <a:lnTo>
                      <a:pt x="1338" y="427"/>
                    </a:lnTo>
                    <a:lnTo>
                      <a:pt x="1338" y="428"/>
                    </a:lnTo>
                    <a:lnTo>
                      <a:pt x="1336" y="428"/>
                    </a:lnTo>
                    <a:lnTo>
                      <a:pt x="1334" y="428"/>
                    </a:lnTo>
                    <a:lnTo>
                      <a:pt x="1334" y="430"/>
                    </a:lnTo>
                    <a:lnTo>
                      <a:pt x="1332" y="430"/>
                    </a:lnTo>
                    <a:lnTo>
                      <a:pt x="1332" y="432"/>
                    </a:lnTo>
                    <a:lnTo>
                      <a:pt x="1332" y="434"/>
                    </a:lnTo>
                    <a:lnTo>
                      <a:pt x="1331" y="434"/>
                    </a:lnTo>
                    <a:lnTo>
                      <a:pt x="1331" y="435"/>
                    </a:lnTo>
                    <a:lnTo>
                      <a:pt x="1331" y="437"/>
                    </a:lnTo>
                    <a:lnTo>
                      <a:pt x="1331" y="439"/>
                    </a:lnTo>
                    <a:lnTo>
                      <a:pt x="1332" y="439"/>
                    </a:lnTo>
                    <a:lnTo>
                      <a:pt x="1332" y="440"/>
                    </a:lnTo>
                    <a:lnTo>
                      <a:pt x="1332" y="442"/>
                    </a:lnTo>
                    <a:lnTo>
                      <a:pt x="1332" y="444"/>
                    </a:lnTo>
                    <a:lnTo>
                      <a:pt x="1334" y="444"/>
                    </a:lnTo>
                    <a:lnTo>
                      <a:pt x="1332" y="445"/>
                    </a:lnTo>
                    <a:lnTo>
                      <a:pt x="1334" y="445"/>
                    </a:lnTo>
                    <a:lnTo>
                      <a:pt x="1332" y="447"/>
                    </a:lnTo>
                    <a:lnTo>
                      <a:pt x="1334" y="447"/>
                    </a:lnTo>
                    <a:lnTo>
                      <a:pt x="1332" y="447"/>
                    </a:lnTo>
                    <a:lnTo>
                      <a:pt x="1332" y="449"/>
                    </a:lnTo>
                    <a:lnTo>
                      <a:pt x="1334" y="449"/>
                    </a:lnTo>
                    <a:lnTo>
                      <a:pt x="1334" y="451"/>
                    </a:lnTo>
                    <a:lnTo>
                      <a:pt x="1336" y="451"/>
                    </a:lnTo>
                    <a:lnTo>
                      <a:pt x="1336" y="452"/>
                    </a:lnTo>
                    <a:lnTo>
                      <a:pt x="1334" y="452"/>
                    </a:lnTo>
                    <a:lnTo>
                      <a:pt x="1334" y="454"/>
                    </a:lnTo>
                    <a:lnTo>
                      <a:pt x="1334" y="456"/>
                    </a:lnTo>
                    <a:lnTo>
                      <a:pt x="1336" y="456"/>
                    </a:lnTo>
                    <a:lnTo>
                      <a:pt x="1334" y="457"/>
                    </a:lnTo>
                    <a:lnTo>
                      <a:pt x="1336" y="457"/>
                    </a:lnTo>
                    <a:lnTo>
                      <a:pt x="1334" y="459"/>
                    </a:lnTo>
                    <a:lnTo>
                      <a:pt x="1334" y="461"/>
                    </a:lnTo>
                    <a:lnTo>
                      <a:pt x="1334" y="462"/>
                    </a:lnTo>
                    <a:lnTo>
                      <a:pt x="1334" y="464"/>
                    </a:lnTo>
                    <a:lnTo>
                      <a:pt x="1332" y="464"/>
                    </a:lnTo>
                    <a:lnTo>
                      <a:pt x="1332" y="466"/>
                    </a:lnTo>
                    <a:lnTo>
                      <a:pt x="1334" y="466"/>
                    </a:lnTo>
                    <a:lnTo>
                      <a:pt x="1336" y="466"/>
                    </a:lnTo>
                    <a:lnTo>
                      <a:pt x="1336" y="468"/>
                    </a:lnTo>
                    <a:lnTo>
                      <a:pt x="1338" y="468"/>
                    </a:lnTo>
                    <a:lnTo>
                      <a:pt x="1338" y="469"/>
                    </a:lnTo>
                    <a:lnTo>
                      <a:pt x="1338" y="471"/>
                    </a:lnTo>
                    <a:lnTo>
                      <a:pt x="1336" y="471"/>
                    </a:lnTo>
                    <a:lnTo>
                      <a:pt x="1336" y="469"/>
                    </a:lnTo>
                    <a:lnTo>
                      <a:pt x="1336" y="471"/>
                    </a:lnTo>
                    <a:lnTo>
                      <a:pt x="1336" y="473"/>
                    </a:lnTo>
                    <a:lnTo>
                      <a:pt x="1334" y="473"/>
                    </a:lnTo>
                    <a:lnTo>
                      <a:pt x="1334" y="474"/>
                    </a:lnTo>
                    <a:lnTo>
                      <a:pt x="1334" y="476"/>
                    </a:lnTo>
                    <a:lnTo>
                      <a:pt x="1332" y="476"/>
                    </a:lnTo>
                    <a:lnTo>
                      <a:pt x="1331" y="476"/>
                    </a:lnTo>
                    <a:lnTo>
                      <a:pt x="1331" y="478"/>
                    </a:lnTo>
                    <a:lnTo>
                      <a:pt x="1329" y="478"/>
                    </a:lnTo>
                    <a:lnTo>
                      <a:pt x="1329" y="476"/>
                    </a:lnTo>
                    <a:lnTo>
                      <a:pt x="1327" y="476"/>
                    </a:lnTo>
                    <a:lnTo>
                      <a:pt x="1327" y="474"/>
                    </a:lnTo>
                    <a:lnTo>
                      <a:pt x="1326" y="476"/>
                    </a:lnTo>
                    <a:lnTo>
                      <a:pt x="1327" y="478"/>
                    </a:lnTo>
                    <a:lnTo>
                      <a:pt x="1327" y="479"/>
                    </a:lnTo>
                    <a:lnTo>
                      <a:pt x="1326" y="479"/>
                    </a:lnTo>
                    <a:lnTo>
                      <a:pt x="1326" y="481"/>
                    </a:lnTo>
                    <a:lnTo>
                      <a:pt x="1324" y="481"/>
                    </a:lnTo>
                    <a:lnTo>
                      <a:pt x="1326" y="481"/>
                    </a:lnTo>
                    <a:lnTo>
                      <a:pt x="1324" y="483"/>
                    </a:lnTo>
                    <a:lnTo>
                      <a:pt x="1324" y="485"/>
                    </a:lnTo>
                    <a:lnTo>
                      <a:pt x="1324" y="486"/>
                    </a:lnTo>
                    <a:lnTo>
                      <a:pt x="1322" y="486"/>
                    </a:lnTo>
                    <a:lnTo>
                      <a:pt x="1322" y="488"/>
                    </a:lnTo>
                    <a:lnTo>
                      <a:pt x="1324" y="488"/>
                    </a:lnTo>
                    <a:lnTo>
                      <a:pt x="1322" y="488"/>
                    </a:lnTo>
                    <a:lnTo>
                      <a:pt x="1322" y="490"/>
                    </a:lnTo>
                    <a:lnTo>
                      <a:pt x="1322" y="491"/>
                    </a:lnTo>
                    <a:lnTo>
                      <a:pt x="1322" y="493"/>
                    </a:lnTo>
                    <a:lnTo>
                      <a:pt x="1322" y="495"/>
                    </a:lnTo>
                    <a:lnTo>
                      <a:pt x="1321" y="495"/>
                    </a:lnTo>
                    <a:lnTo>
                      <a:pt x="1321" y="497"/>
                    </a:lnTo>
                    <a:lnTo>
                      <a:pt x="1321" y="498"/>
                    </a:lnTo>
                    <a:lnTo>
                      <a:pt x="1321" y="500"/>
                    </a:lnTo>
                    <a:lnTo>
                      <a:pt x="1321" y="502"/>
                    </a:lnTo>
                    <a:lnTo>
                      <a:pt x="1322" y="502"/>
                    </a:lnTo>
                    <a:lnTo>
                      <a:pt x="1322" y="503"/>
                    </a:lnTo>
                    <a:lnTo>
                      <a:pt x="1321" y="503"/>
                    </a:lnTo>
                    <a:lnTo>
                      <a:pt x="1319" y="503"/>
                    </a:lnTo>
                    <a:lnTo>
                      <a:pt x="1319" y="505"/>
                    </a:lnTo>
                    <a:lnTo>
                      <a:pt x="1319" y="507"/>
                    </a:lnTo>
                    <a:lnTo>
                      <a:pt x="1317" y="508"/>
                    </a:lnTo>
                    <a:lnTo>
                      <a:pt x="1317" y="507"/>
                    </a:lnTo>
                    <a:lnTo>
                      <a:pt x="1317" y="505"/>
                    </a:lnTo>
                    <a:lnTo>
                      <a:pt x="1315" y="505"/>
                    </a:lnTo>
                    <a:lnTo>
                      <a:pt x="1315" y="503"/>
                    </a:lnTo>
                    <a:lnTo>
                      <a:pt x="1315" y="505"/>
                    </a:lnTo>
                    <a:lnTo>
                      <a:pt x="1314" y="505"/>
                    </a:lnTo>
                    <a:lnTo>
                      <a:pt x="1314" y="507"/>
                    </a:lnTo>
                    <a:lnTo>
                      <a:pt x="1314" y="508"/>
                    </a:lnTo>
                    <a:lnTo>
                      <a:pt x="1314" y="510"/>
                    </a:lnTo>
                    <a:lnTo>
                      <a:pt x="1314" y="512"/>
                    </a:lnTo>
                    <a:lnTo>
                      <a:pt x="1312" y="514"/>
                    </a:lnTo>
                    <a:lnTo>
                      <a:pt x="1314" y="514"/>
                    </a:lnTo>
                    <a:lnTo>
                      <a:pt x="1314" y="515"/>
                    </a:lnTo>
                    <a:lnTo>
                      <a:pt x="1314" y="517"/>
                    </a:lnTo>
                    <a:lnTo>
                      <a:pt x="1312" y="517"/>
                    </a:lnTo>
                    <a:lnTo>
                      <a:pt x="1312" y="519"/>
                    </a:lnTo>
                    <a:lnTo>
                      <a:pt x="1312" y="520"/>
                    </a:lnTo>
                    <a:lnTo>
                      <a:pt x="1312" y="522"/>
                    </a:lnTo>
                    <a:lnTo>
                      <a:pt x="1312" y="524"/>
                    </a:lnTo>
                    <a:lnTo>
                      <a:pt x="1312" y="525"/>
                    </a:lnTo>
                    <a:lnTo>
                      <a:pt x="1314" y="525"/>
                    </a:lnTo>
                    <a:lnTo>
                      <a:pt x="1314" y="527"/>
                    </a:lnTo>
                    <a:lnTo>
                      <a:pt x="1315" y="527"/>
                    </a:lnTo>
                    <a:lnTo>
                      <a:pt x="1315" y="529"/>
                    </a:lnTo>
                    <a:lnTo>
                      <a:pt x="1315" y="531"/>
                    </a:lnTo>
                    <a:lnTo>
                      <a:pt x="1315" y="532"/>
                    </a:lnTo>
                    <a:lnTo>
                      <a:pt x="1315" y="534"/>
                    </a:lnTo>
                    <a:lnTo>
                      <a:pt x="1317" y="536"/>
                    </a:lnTo>
                    <a:lnTo>
                      <a:pt x="1319" y="536"/>
                    </a:lnTo>
                    <a:lnTo>
                      <a:pt x="1321" y="536"/>
                    </a:lnTo>
                    <a:lnTo>
                      <a:pt x="1322" y="536"/>
                    </a:lnTo>
                    <a:lnTo>
                      <a:pt x="1322" y="537"/>
                    </a:lnTo>
                    <a:lnTo>
                      <a:pt x="1324" y="537"/>
                    </a:lnTo>
                    <a:lnTo>
                      <a:pt x="1324" y="539"/>
                    </a:lnTo>
                    <a:lnTo>
                      <a:pt x="1322" y="541"/>
                    </a:lnTo>
                    <a:lnTo>
                      <a:pt x="1322" y="542"/>
                    </a:lnTo>
                    <a:lnTo>
                      <a:pt x="1321" y="542"/>
                    </a:lnTo>
                    <a:lnTo>
                      <a:pt x="1319" y="541"/>
                    </a:lnTo>
                    <a:lnTo>
                      <a:pt x="1319" y="542"/>
                    </a:lnTo>
                    <a:lnTo>
                      <a:pt x="1321" y="544"/>
                    </a:lnTo>
                    <a:lnTo>
                      <a:pt x="1319" y="544"/>
                    </a:lnTo>
                    <a:lnTo>
                      <a:pt x="1321" y="544"/>
                    </a:lnTo>
                    <a:lnTo>
                      <a:pt x="1321" y="546"/>
                    </a:lnTo>
                    <a:lnTo>
                      <a:pt x="1321" y="548"/>
                    </a:lnTo>
                    <a:lnTo>
                      <a:pt x="1321" y="549"/>
                    </a:lnTo>
                    <a:lnTo>
                      <a:pt x="1321" y="551"/>
                    </a:lnTo>
                    <a:lnTo>
                      <a:pt x="1322" y="553"/>
                    </a:lnTo>
                    <a:lnTo>
                      <a:pt x="1324" y="553"/>
                    </a:lnTo>
                    <a:lnTo>
                      <a:pt x="1324" y="554"/>
                    </a:lnTo>
                    <a:lnTo>
                      <a:pt x="1324" y="556"/>
                    </a:lnTo>
                    <a:lnTo>
                      <a:pt x="1324" y="558"/>
                    </a:lnTo>
                    <a:lnTo>
                      <a:pt x="1326" y="559"/>
                    </a:lnTo>
                    <a:lnTo>
                      <a:pt x="1327" y="559"/>
                    </a:lnTo>
                    <a:lnTo>
                      <a:pt x="1326" y="561"/>
                    </a:lnTo>
                    <a:lnTo>
                      <a:pt x="1327" y="561"/>
                    </a:lnTo>
                    <a:lnTo>
                      <a:pt x="1327" y="563"/>
                    </a:lnTo>
                    <a:lnTo>
                      <a:pt x="1326" y="565"/>
                    </a:lnTo>
                    <a:lnTo>
                      <a:pt x="1326" y="566"/>
                    </a:lnTo>
                    <a:lnTo>
                      <a:pt x="1326" y="568"/>
                    </a:lnTo>
                    <a:lnTo>
                      <a:pt x="1326" y="570"/>
                    </a:lnTo>
                    <a:lnTo>
                      <a:pt x="1327" y="570"/>
                    </a:lnTo>
                    <a:lnTo>
                      <a:pt x="1327" y="571"/>
                    </a:lnTo>
                    <a:lnTo>
                      <a:pt x="1327" y="573"/>
                    </a:lnTo>
                    <a:lnTo>
                      <a:pt x="1329" y="573"/>
                    </a:lnTo>
                    <a:lnTo>
                      <a:pt x="1329" y="575"/>
                    </a:lnTo>
                    <a:lnTo>
                      <a:pt x="1331" y="576"/>
                    </a:lnTo>
                    <a:lnTo>
                      <a:pt x="1331" y="578"/>
                    </a:lnTo>
                    <a:lnTo>
                      <a:pt x="1331" y="580"/>
                    </a:lnTo>
                    <a:lnTo>
                      <a:pt x="1332" y="580"/>
                    </a:lnTo>
                    <a:lnTo>
                      <a:pt x="1331" y="580"/>
                    </a:lnTo>
                    <a:lnTo>
                      <a:pt x="1331" y="582"/>
                    </a:lnTo>
                    <a:lnTo>
                      <a:pt x="1329" y="582"/>
                    </a:lnTo>
                    <a:lnTo>
                      <a:pt x="1327" y="583"/>
                    </a:lnTo>
                    <a:lnTo>
                      <a:pt x="1329" y="583"/>
                    </a:lnTo>
                    <a:lnTo>
                      <a:pt x="1329" y="585"/>
                    </a:lnTo>
                    <a:lnTo>
                      <a:pt x="1329" y="587"/>
                    </a:lnTo>
                    <a:lnTo>
                      <a:pt x="1329" y="588"/>
                    </a:lnTo>
                    <a:lnTo>
                      <a:pt x="1329" y="590"/>
                    </a:lnTo>
                    <a:lnTo>
                      <a:pt x="1331" y="590"/>
                    </a:lnTo>
                    <a:lnTo>
                      <a:pt x="1331" y="592"/>
                    </a:lnTo>
                    <a:lnTo>
                      <a:pt x="1331" y="593"/>
                    </a:lnTo>
                    <a:lnTo>
                      <a:pt x="1332" y="593"/>
                    </a:lnTo>
                    <a:lnTo>
                      <a:pt x="1332" y="592"/>
                    </a:lnTo>
                    <a:lnTo>
                      <a:pt x="1334" y="592"/>
                    </a:lnTo>
                    <a:lnTo>
                      <a:pt x="1334" y="590"/>
                    </a:lnTo>
                    <a:lnTo>
                      <a:pt x="1334" y="592"/>
                    </a:lnTo>
                    <a:lnTo>
                      <a:pt x="1336" y="592"/>
                    </a:lnTo>
                    <a:lnTo>
                      <a:pt x="1338" y="592"/>
                    </a:lnTo>
                    <a:lnTo>
                      <a:pt x="1338" y="593"/>
                    </a:lnTo>
                    <a:lnTo>
                      <a:pt x="1339" y="593"/>
                    </a:lnTo>
                    <a:lnTo>
                      <a:pt x="1339" y="595"/>
                    </a:lnTo>
                    <a:lnTo>
                      <a:pt x="1339" y="597"/>
                    </a:lnTo>
                    <a:lnTo>
                      <a:pt x="1338" y="597"/>
                    </a:lnTo>
                    <a:lnTo>
                      <a:pt x="1338" y="599"/>
                    </a:lnTo>
                    <a:lnTo>
                      <a:pt x="1338" y="600"/>
                    </a:lnTo>
                    <a:lnTo>
                      <a:pt x="1338" y="602"/>
                    </a:lnTo>
                    <a:lnTo>
                      <a:pt x="1336" y="602"/>
                    </a:lnTo>
                    <a:lnTo>
                      <a:pt x="1336" y="604"/>
                    </a:lnTo>
                    <a:lnTo>
                      <a:pt x="1336" y="605"/>
                    </a:lnTo>
                    <a:lnTo>
                      <a:pt x="1336" y="607"/>
                    </a:lnTo>
                    <a:lnTo>
                      <a:pt x="1336" y="609"/>
                    </a:lnTo>
                    <a:lnTo>
                      <a:pt x="1336" y="610"/>
                    </a:lnTo>
                    <a:lnTo>
                      <a:pt x="1334" y="610"/>
                    </a:lnTo>
                    <a:lnTo>
                      <a:pt x="1334" y="612"/>
                    </a:lnTo>
                    <a:lnTo>
                      <a:pt x="1334" y="614"/>
                    </a:lnTo>
                    <a:lnTo>
                      <a:pt x="1334" y="616"/>
                    </a:lnTo>
                    <a:lnTo>
                      <a:pt x="1336" y="616"/>
                    </a:lnTo>
                    <a:lnTo>
                      <a:pt x="1336" y="617"/>
                    </a:lnTo>
                    <a:lnTo>
                      <a:pt x="1334" y="617"/>
                    </a:lnTo>
                    <a:lnTo>
                      <a:pt x="1334" y="619"/>
                    </a:lnTo>
                    <a:lnTo>
                      <a:pt x="1336" y="621"/>
                    </a:lnTo>
                    <a:lnTo>
                      <a:pt x="1336" y="619"/>
                    </a:lnTo>
                    <a:lnTo>
                      <a:pt x="1336" y="621"/>
                    </a:lnTo>
                    <a:lnTo>
                      <a:pt x="1338" y="622"/>
                    </a:lnTo>
                    <a:lnTo>
                      <a:pt x="1336" y="622"/>
                    </a:lnTo>
                    <a:lnTo>
                      <a:pt x="1336" y="624"/>
                    </a:lnTo>
                    <a:lnTo>
                      <a:pt x="1338" y="624"/>
                    </a:lnTo>
                    <a:lnTo>
                      <a:pt x="1336" y="626"/>
                    </a:lnTo>
                    <a:lnTo>
                      <a:pt x="1336" y="627"/>
                    </a:lnTo>
                    <a:lnTo>
                      <a:pt x="1338" y="627"/>
                    </a:lnTo>
                    <a:lnTo>
                      <a:pt x="1338" y="629"/>
                    </a:lnTo>
                    <a:lnTo>
                      <a:pt x="1338" y="631"/>
                    </a:lnTo>
                    <a:lnTo>
                      <a:pt x="1336" y="631"/>
                    </a:lnTo>
                    <a:lnTo>
                      <a:pt x="1336" y="633"/>
                    </a:lnTo>
                    <a:lnTo>
                      <a:pt x="1334" y="633"/>
                    </a:lnTo>
                    <a:lnTo>
                      <a:pt x="1332" y="633"/>
                    </a:lnTo>
                    <a:lnTo>
                      <a:pt x="1332" y="631"/>
                    </a:lnTo>
                    <a:lnTo>
                      <a:pt x="1332" y="633"/>
                    </a:lnTo>
                    <a:lnTo>
                      <a:pt x="1331" y="633"/>
                    </a:lnTo>
                    <a:lnTo>
                      <a:pt x="1331" y="634"/>
                    </a:lnTo>
                    <a:lnTo>
                      <a:pt x="1331" y="636"/>
                    </a:lnTo>
                    <a:lnTo>
                      <a:pt x="1331" y="638"/>
                    </a:lnTo>
                    <a:lnTo>
                      <a:pt x="1329" y="639"/>
                    </a:lnTo>
                    <a:lnTo>
                      <a:pt x="1329" y="641"/>
                    </a:lnTo>
                    <a:lnTo>
                      <a:pt x="1327" y="641"/>
                    </a:lnTo>
                    <a:lnTo>
                      <a:pt x="1326" y="643"/>
                    </a:lnTo>
                    <a:lnTo>
                      <a:pt x="1326" y="644"/>
                    </a:lnTo>
                    <a:lnTo>
                      <a:pt x="1324" y="646"/>
                    </a:lnTo>
                    <a:lnTo>
                      <a:pt x="1324" y="648"/>
                    </a:lnTo>
                    <a:lnTo>
                      <a:pt x="1324" y="650"/>
                    </a:lnTo>
                    <a:lnTo>
                      <a:pt x="1322" y="650"/>
                    </a:lnTo>
                    <a:lnTo>
                      <a:pt x="1322" y="651"/>
                    </a:lnTo>
                    <a:lnTo>
                      <a:pt x="1321" y="651"/>
                    </a:lnTo>
                    <a:lnTo>
                      <a:pt x="1321" y="653"/>
                    </a:lnTo>
                    <a:lnTo>
                      <a:pt x="1322" y="653"/>
                    </a:lnTo>
                    <a:lnTo>
                      <a:pt x="1322" y="655"/>
                    </a:lnTo>
                    <a:lnTo>
                      <a:pt x="1322" y="656"/>
                    </a:lnTo>
                    <a:lnTo>
                      <a:pt x="1321" y="658"/>
                    </a:lnTo>
                    <a:lnTo>
                      <a:pt x="1321" y="660"/>
                    </a:lnTo>
                    <a:lnTo>
                      <a:pt x="1321" y="662"/>
                    </a:lnTo>
                    <a:lnTo>
                      <a:pt x="1319" y="662"/>
                    </a:lnTo>
                    <a:lnTo>
                      <a:pt x="1319" y="663"/>
                    </a:lnTo>
                    <a:lnTo>
                      <a:pt x="1319" y="665"/>
                    </a:lnTo>
                    <a:lnTo>
                      <a:pt x="1319" y="667"/>
                    </a:lnTo>
                    <a:lnTo>
                      <a:pt x="1319" y="668"/>
                    </a:lnTo>
                    <a:lnTo>
                      <a:pt x="1319" y="670"/>
                    </a:lnTo>
                    <a:lnTo>
                      <a:pt x="1317" y="670"/>
                    </a:lnTo>
                    <a:lnTo>
                      <a:pt x="1315" y="670"/>
                    </a:lnTo>
                    <a:lnTo>
                      <a:pt x="1314" y="670"/>
                    </a:lnTo>
                    <a:lnTo>
                      <a:pt x="1312" y="670"/>
                    </a:lnTo>
                    <a:lnTo>
                      <a:pt x="1312" y="672"/>
                    </a:lnTo>
                    <a:lnTo>
                      <a:pt x="1312" y="673"/>
                    </a:lnTo>
                    <a:lnTo>
                      <a:pt x="1312" y="675"/>
                    </a:lnTo>
                    <a:lnTo>
                      <a:pt x="1314" y="675"/>
                    </a:lnTo>
                    <a:lnTo>
                      <a:pt x="1315" y="675"/>
                    </a:lnTo>
                    <a:lnTo>
                      <a:pt x="1317" y="675"/>
                    </a:lnTo>
                    <a:lnTo>
                      <a:pt x="1317" y="677"/>
                    </a:lnTo>
                    <a:lnTo>
                      <a:pt x="1315" y="679"/>
                    </a:lnTo>
                    <a:lnTo>
                      <a:pt x="1317" y="679"/>
                    </a:lnTo>
                    <a:lnTo>
                      <a:pt x="1315" y="680"/>
                    </a:lnTo>
                    <a:lnTo>
                      <a:pt x="1317" y="680"/>
                    </a:lnTo>
                    <a:lnTo>
                      <a:pt x="1315" y="682"/>
                    </a:lnTo>
                    <a:lnTo>
                      <a:pt x="1317" y="682"/>
                    </a:lnTo>
                    <a:lnTo>
                      <a:pt x="1319" y="684"/>
                    </a:lnTo>
                    <a:lnTo>
                      <a:pt x="1317" y="684"/>
                    </a:lnTo>
                    <a:lnTo>
                      <a:pt x="1317" y="685"/>
                    </a:lnTo>
                    <a:lnTo>
                      <a:pt x="1319" y="687"/>
                    </a:lnTo>
                    <a:lnTo>
                      <a:pt x="1317" y="689"/>
                    </a:lnTo>
                    <a:lnTo>
                      <a:pt x="1317" y="690"/>
                    </a:lnTo>
                    <a:lnTo>
                      <a:pt x="1319" y="690"/>
                    </a:lnTo>
                    <a:lnTo>
                      <a:pt x="1319" y="692"/>
                    </a:lnTo>
                    <a:lnTo>
                      <a:pt x="1319" y="694"/>
                    </a:lnTo>
                    <a:lnTo>
                      <a:pt x="1319" y="696"/>
                    </a:lnTo>
                    <a:lnTo>
                      <a:pt x="1321" y="696"/>
                    </a:lnTo>
                    <a:lnTo>
                      <a:pt x="1321" y="697"/>
                    </a:lnTo>
                    <a:lnTo>
                      <a:pt x="1319" y="697"/>
                    </a:lnTo>
                    <a:lnTo>
                      <a:pt x="1317" y="697"/>
                    </a:lnTo>
                    <a:lnTo>
                      <a:pt x="1317" y="699"/>
                    </a:lnTo>
                    <a:lnTo>
                      <a:pt x="1317" y="701"/>
                    </a:lnTo>
                    <a:lnTo>
                      <a:pt x="1319" y="701"/>
                    </a:lnTo>
                    <a:lnTo>
                      <a:pt x="1317" y="702"/>
                    </a:lnTo>
                    <a:lnTo>
                      <a:pt x="1319" y="702"/>
                    </a:lnTo>
                    <a:lnTo>
                      <a:pt x="1319" y="704"/>
                    </a:lnTo>
                    <a:lnTo>
                      <a:pt x="1319" y="706"/>
                    </a:lnTo>
                    <a:lnTo>
                      <a:pt x="1317" y="706"/>
                    </a:lnTo>
                    <a:lnTo>
                      <a:pt x="1317" y="707"/>
                    </a:lnTo>
                    <a:lnTo>
                      <a:pt x="1317" y="709"/>
                    </a:lnTo>
                    <a:lnTo>
                      <a:pt x="1317" y="711"/>
                    </a:lnTo>
                    <a:lnTo>
                      <a:pt x="1315" y="711"/>
                    </a:lnTo>
                    <a:lnTo>
                      <a:pt x="1314" y="711"/>
                    </a:lnTo>
                    <a:lnTo>
                      <a:pt x="1314" y="709"/>
                    </a:lnTo>
                    <a:lnTo>
                      <a:pt x="1312" y="709"/>
                    </a:lnTo>
                    <a:lnTo>
                      <a:pt x="1312" y="711"/>
                    </a:lnTo>
                    <a:lnTo>
                      <a:pt x="1310" y="711"/>
                    </a:lnTo>
                    <a:lnTo>
                      <a:pt x="1310" y="713"/>
                    </a:lnTo>
                    <a:lnTo>
                      <a:pt x="1310" y="714"/>
                    </a:lnTo>
                    <a:lnTo>
                      <a:pt x="1309" y="714"/>
                    </a:lnTo>
                    <a:lnTo>
                      <a:pt x="1307" y="714"/>
                    </a:lnTo>
                    <a:lnTo>
                      <a:pt x="1309" y="716"/>
                    </a:lnTo>
                    <a:lnTo>
                      <a:pt x="1307" y="718"/>
                    </a:lnTo>
                    <a:lnTo>
                      <a:pt x="1307" y="719"/>
                    </a:lnTo>
                    <a:lnTo>
                      <a:pt x="1309" y="719"/>
                    </a:lnTo>
                    <a:lnTo>
                      <a:pt x="1309" y="721"/>
                    </a:lnTo>
                    <a:lnTo>
                      <a:pt x="1307" y="721"/>
                    </a:lnTo>
                    <a:lnTo>
                      <a:pt x="1305" y="721"/>
                    </a:lnTo>
                    <a:lnTo>
                      <a:pt x="1304" y="721"/>
                    </a:lnTo>
                    <a:lnTo>
                      <a:pt x="1304" y="719"/>
                    </a:lnTo>
                    <a:lnTo>
                      <a:pt x="1304" y="721"/>
                    </a:lnTo>
                    <a:lnTo>
                      <a:pt x="1302" y="721"/>
                    </a:lnTo>
                    <a:lnTo>
                      <a:pt x="1302" y="719"/>
                    </a:lnTo>
                    <a:lnTo>
                      <a:pt x="1302" y="721"/>
                    </a:lnTo>
                    <a:lnTo>
                      <a:pt x="1302" y="723"/>
                    </a:lnTo>
                    <a:lnTo>
                      <a:pt x="1300" y="723"/>
                    </a:lnTo>
                    <a:lnTo>
                      <a:pt x="1300" y="724"/>
                    </a:lnTo>
                    <a:lnTo>
                      <a:pt x="1298" y="724"/>
                    </a:lnTo>
                    <a:lnTo>
                      <a:pt x="1297" y="724"/>
                    </a:lnTo>
                    <a:lnTo>
                      <a:pt x="1297" y="723"/>
                    </a:lnTo>
                    <a:lnTo>
                      <a:pt x="1297" y="724"/>
                    </a:lnTo>
                    <a:lnTo>
                      <a:pt x="1295" y="726"/>
                    </a:lnTo>
                    <a:lnTo>
                      <a:pt x="1297" y="726"/>
                    </a:lnTo>
                    <a:lnTo>
                      <a:pt x="1295" y="728"/>
                    </a:lnTo>
                    <a:lnTo>
                      <a:pt x="1297" y="728"/>
                    </a:lnTo>
                    <a:lnTo>
                      <a:pt x="1295" y="730"/>
                    </a:lnTo>
                    <a:lnTo>
                      <a:pt x="1297" y="730"/>
                    </a:lnTo>
                    <a:lnTo>
                      <a:pt x="1297" y="731"/>
                    </a:lnTo>
                    <a:lnTo>
                      <a:pt x="1297" y="733"/>
                    </a:lnTo>
                    <a:lnTo>
                      <a:pt x="1295" y="733"/>
                    </a:lnTo>
                    <a:lnTo>
                      <a:pt x="1295" y="731"/>
                    </a:lnTo>
                    <a:lnTo>
                      <a:pt x="1293" y="731"/>
                    </a:lnTo>
                    <a:lnTo>
                      <a:pt x="1293" y="733"/>
                    </a:lnTo>
                    <a:lnTo>
                      <a:pt x="1293" y="735"/>
                    </a:lnTo>
                    <a:lnTo>
                      <a:pt x="1293" y="736"/>
                    </a:lnTo>
                    <a:lnTo>
                      <a:pt x="1293" y="738"/>
                    </a:lnTo>
                    <a:lnTo>
                      <a:pt x="1292" y="738"/>
                    </a:lnTo>
                    <a:lnTo>
                      <a:pt x="1292" y="740"/>
                    </a:lnTo>
                    <a:lnTo>
                      <a:pt x="1293" y="740"/>
                    </a:lnTo>
                    <a:lnTo>
                      <a:pt x="1293" y="741"/>
                    </a:lnTo>
                    <a:lnTo>
                      <a:pt x="1292" y="741"/>
                    </a:lnTo>
                    <a:lnTo>
                      <a:pt x="1293" y="743"/>
                    </a:lnTo>
                    <a:lnTo>
                      <a:pt x="1295" y="743"/>
                    </a:lnTo>
                    <a:lnTo>
                      <a:pt x="1293" y="743"/>
                    </a:lnTo>
                    <a:lnTo>
                      <a:pt x="1293" y="745"/>
                    </a:lnTo>
                    <a:lnTo>
                      <a:pt x="1292" y="745"/>
                    </a:lnTo>
                    <a:lnTo>
                      <a:pt x="1290" y="745"/>
                    </a:lnTo>
                    <a:lnTo>
                      <a:pt x="1292" y="745"/>
                    </a:lnTo>
                    <a:lnTo>
                      <a:pt x="1292" y="747"/>
                    </a:lnTo>
                    <a:lnTo>
                      <a:pt x="1293" y="747"/>
                    </a:lnTo>
                    <a:lnTo>
                      <a:pt x="1293" y="748"/>
                    </a:lnTo>
                    <a:lnTo>
                      <a:pt x="1293" y="750"/>
                    </a:lnTo>
                    <a:lnTo>
                      <a:pt x="1295" y="750"/>
                    </a:lnTo>
                    <a:lnTo>
                      <a:pt x="1295" y="752"/>
                    </a:lnTo>
                    <a:lnTo>
                      <a:pt x="1293" y="752"/>
                    </a:lnTo>
                    <a:lnTo>
                      <a:pt x="1293" y="753"/>
                    </a:lnTo>
                    <a:lnTo>
                      <a:pt x="1293" y="755"/>
                    </a:lnTo>
                    <a:lnTo>
                      <a:pt x="1292" y="755"/>
                    </a:lnTo>
                    <a:lnTo>
                      <a:pt x="1292" y="757"/>
                    </a:lnTo>
                    <a:lnTo>
                      <a:pt x="1290" y="757"/>
                    </a:lnTo>
                    <a:lnTo>
                      <a:pt x="1290" y="758"/>
                    </a:lnTo>
                    <a:lnTo>
                      <a:pt x="1290" y="760"/>
                    </a:lnTo>
                    <a:lnTo>
                      <a:pt x="1292" y="760"/>
                    </a:lnTo>
                    <a:lnTo>
                      <a:pt x="1290" y="762"/>
                    </a:lnTo>
                    <a:lnTo>
                      <a:pt x="1292" y="762"/>
                    </a:lnTo>
                    <a:lnTo>
                      <a:pt x="1293" y="764"/>
                    </a:lnTo>
                    <a:lnTo>
                      <a:pt x="1293" y="765"/>
                    </a:lnTo>
                    <a:lnTo>
                      <a:pt x="1293" y="767"/>
                    </a:lnTo>
                    <a:lnTo>
                      <a:pt x="1293" y="769"/>
                    </a:lnTo>
                    <a:lnTo>
                      <a:pt x="1292" y="769"/>
                    </a:lnTo>
                    <a:lnTo>
                      <a:pt x="1293" y="769"/>
                    </a:lnTo>
                    <a:lnTo>
                      <a:pt x="1293" y="770"/>
                    </a:lnTo>
                    <a:lnTo>
                      <a:pt x="1292" y="772"/>
                    </a:lnTo>
                    <a:lnTo>
                      <a:pt x="1290" y="774"/>
                    </a:lnTo>
                    <a:lnTo>
                      <a:pt x="1290" y="775"/>
                    </a:lnTo>
                    <a:lnTo>
                      <a:pt x="1292" y="775"/>
                    </a:lnTo>
                    <a:lnTo>
                      <a:pt x="1292" y="777"/>
                    </a:lnTo>
                    <a:lnTo>
                      <a:pt x="1292" y="779"/>
                    </a:lnTo>
                    <a:lnTo>
                      <a:pt x="1292" y="781"/>
                    </a:lnTo>
                    <a:lnTo>
                      <a:pt x="1293" y="781"/>
                    </a:lnTo>
                    <a:lnTo>
                      <a:pt x="1292" y="781"/>
                    </a:lnTo>
                    <a:lnTo>
                      <a:pt x="1292" y="782"/>
                    </a:lnTo>
                    <a:lnTo>
                      <a:pt x="1293" y="782"/>
                    </a:lnTo>
                    <a:lnTo>
                      <a:pt x="1293" y="784"/>
                    </a:lnTo>
                    <a:lnTo>
                      <a:pt x="1293" y="786"/>
                    </a:lnTo>
                    <a:lnTo>
                      <a:pt x="1295" y="787"/>
                    </a:lnTo>
                    <a:lnTo>
                      <a:pt x="1295" y="789"/>
                    </a:lnTo>
                    <a:lnTo>
                      <a:pt x="1295" y="791"/>
                    </a:lnTo>
                    <a:lnTo>
                      <a:pt x="1297" y="791"/>
                    </a:lnTo>
                    <a:lnTo>
                      <a:pt x="1297" y="792"/>
                    </a:lnTo>
                    <a:lnTo>
                      <a:pt x="1298" y="792"/>
                    </a:lnTo>
                    <a:lnTo>
                      <a:pt x="1297" y="792"/>
                    </a:lnTo>
                    <a:lnTo>
                      <a:pt x="1295" y="792"/>
                    </a:lnTo>
                    <a:lnTo>
                      <a:pt x="1297" y="794"/>
                    </a:lnTo>
                    <a:lnTo>
                      <a:pt x="1298" y="796"/>
                    </a:lnTo>
                    <a:lnTo>
                      <a:pt x="1298" y="798"/>
                    </a:lnTo>
                    <a:lnTo>
                      <a:pt x="1297" y="798"/>
                    </a:lnTo>
                    <a:lnTo>
                      <a:pt x="1297" y="799"/>
                    </a:lnTo>
                    <a:lnTo>
                      <a:pt x="1297" y="801"/>
                    </a:lnTo>
                    <a:lnTo>
                      <a:pt x="1297" y="803"/>
                    </a:lnTo>
                    <a:lnTo>
                      <a:pt x="1298" y="803"/>
                    </a:lnTo>
                    <a:lnTo>
                      <a:pt x="1297" y="803"/>
                    </a:lnTo>
                    <a:lnTo>
                      <a:pt x="1298" y="804"/>
                    </a:lnTo>
                    <a:lnTo>
                      <a:pt x="1298" y="806"/>
                    </a:lnTo>
                    <a:lnTo>
                      <a:pt x="1298" y="808"/>
                    </a:lnTo>
                    <a:lnTo>
                      <a:pt x="1300" y="808"/>
                    </a:lnTo>
                    <a:lnTo>
                      <a:pt x="1300" y="809"/>
                    </a:lnTo>
                    <a:lnTo>
                      <a:pt x="1302" y="809"/>
                    </a:lnTo>
                    <a:lnTo>
                      <a:pt x="1302" y="811"/>
                    </a:lnTo>
                    <a:lnTo>
                      <a:pt x="1304" y="811"/>
                    </a:lnTo>
                    <a:lnTo>
                      <a:pt x="1304" y="813"/>
                    </a:lnTo>
                    <a:lnTo>
                      <a:pt x="1304" y="815"/>
                    </a:lnTo>
                    <a:lnTo>
                      <a:pt x="1302" y="815"/>
                    </a:lnTo>
                    <a:lnTo>
                      <a:pt x="1302" y="816"/>
                    </a:lnTo>
                    <a:lnTo>
                      <a:pt x="1300" y="816"/>
                    </a:lnTo>
                    <a:lnTo>
                      <a:pt x="1300" y="818"/>
                    </a:lnTo>
                    <a:lnTo>
                      <a:pt x="1302" y="818"/>
                    </a:lnTo>
                    <a:lnTo>
                      <a:pt x="1302" y="820"/>
                    </a:lnTo>
                    <a:lnTo>
                      <a:pt x="1300" y="820"/>
                    </a:lnTo>
                    <a:lnTo>
                      <a:pt x="1300" y="821"/>
                    </a:lnTo>
                    <a:lnTo>
                      <a:pt x="1298" y="821"/>
                    </a:lnTo>
                    <a:lnTo>
                      <a:pt x="1297" y="821"/>
                    </a:lnTo>
                    <a:lnTo>
                      <a:pt x="1295" y="821"/>
                    </a:lnTo>
                    <a:lnTo>
                      <a:pt x="1293" y="821"/>
                    </a:lnTo>
                    <a:lnTo>
                      <a:pt x="1293" y="823"/>
                    </a:lnTo>
                    <a:lnTo>
                      <a:pt x="1292" y="823"/>
                    </a:lnTo>
                    <a:lnTo>
                      <a:pt x="1290" y="823"/>
                    </a:lnTo>
                    <a:lnTo>
                      <a:pt x="1288" y="823"/>
                    </a:lnTo>
                    <a:lnTo>
                      <a:pt x="1288" y="825"/>
                    </a:lnTo>
                    <a:lnTo>
                      <a:pt x="1287" y="827"/>
                    </a:lnTo>
                    <a:lnTo>
                      <a:pt x="1285" y="827"/>
                    </a:lnTo>
                    <a:lnTo>
                      <a:pt x="1285" y="828"/>
                    </a:lnTo>
                    <a:lnTo>
                      <a:pt x="1283" y="828"/>
                    </a:lnTo>
                    <a:lnTo>
                      <a:pt x="1283" y="830"/>
                    </a:lnTo>
                    <a:lnTo>
                      <a:pt x="1283" y="832"/>
                    </a:lnTo>
                    <a:lnTo>
                      <a:pt x="1283" y="833"/>
                    </a:lnTo>
                    <a:lnTo>
                      <a:pt x="1285" y="833"/>
                    </a:lnTo>
                    <a:lnTo>
                      <a:pt x="1283" y="833"/>
                    </a:lnTo>
                    <a:lnTo>
                      <a:pt x="1283" y="835"/>
                    </a:lnTo>
                    <a:lnTo>
                      <a:pt x="1283" y="837"/>
                    </a:lnTo>
                    <a:lnTo>
                      <a:pt x="1283" y="838"/>
                    </a:lnTo>
                    <a:lnTo>
                      <a:pt x="1285" y="840"/>
                    </a:lnTo>
                    <a:lnTo>
                      <a:pt x="1285" y="842"/>
                    </a:lnTo>
                    <a:lnTo>
                      <a:pt x="1285" y="844"/>
                    </a:lnTo>
                    <a:lnTo>
                      <a:pt x="1285" y="845"/>
                    </a:lnTo>
                    <a:lnTo>
                      <a:pt x="1285" y="847"/>
                    </a:lnTo>
                    <a:lnTo>
                      <a:pt x="1283" y="847"/>
                    </a:lnTo>
                    <a:lnTo>
                      <a:pt x="1281" y="847"/>
                    </a:lnTo>
                    <a:lnTo>
                      <a:pt x="1281" y="849"/>
                    </a:lnTo>
                    <a:lnTo>
                      <a:pt x="1283" y="849"/>
                    </a:lnTo>
                    <a:lnTo>
                      <a:pt x="1281" y="850"/>
                    </a:lnTo>
                    <a:lnTo>
                      <a:pt x="1283" y="850"/>
                    </a:lnTo>
                    <a:lnTo>
                      <a:pt x="1281" y="850"/>
                    </a:lnTo>
                    <a:lnTo>
                      <a:pt x="1281" y="852"/>
                    </a:lnTo>
                    <a:lnTo>
                      <a:pt x="1280" y="854"/>
                    </a:lnTo>
                    <a:lnTo>
                      <a:pt x="1280" y="855"/>
                    </a:lnTo>
                    <a:lnTo>
                      <a:pt x="1281" y="855"/>
                    </a:lnTo>
                    <a:lnTo>
                      <a:pt x="1281" y="857"/>
                    </a:lnTo>
                    <a:lnTo>
                      <a:pt x="1281" y="859"/>
                    </a:lnTo>
                    <a:lnTo>
                      <a:pt x="1280" y="859"/>
                    </a:lnTo>
                    <a:lnTo>
                      <a:pt x="1278" y="859"/>
                    </a:lnTo>
                    <a:lnTo>
                      <a:pt x="1276" y="859"/>
                    </a:lnTo>
                    <a:lnTo>
                      <a:pt x="1276" y="857"/>
                    </a:lnTo>
                    <a:lnTo>
                      <a:pt x="1275" y="857"/>
                    </a:lnTo>
                    <a:lnTo>
                      <a:pt x="1275" y="855"/>
                    </a:lnTo>
                    <a:lnTo>
                      <a:pt x="1275" y="857"/>
                    </a:lnTo>
                    <a:lnTo>
                      <a:pt x="1275" y="859"/>
                    </a:lnTo>
                    <a:lnTo>
                      <a:pt x="1273" y="859"/>
                    </a:lnTo>
                    <a:lnTo>
                      <a:pt x="1275" y="861"/>
                    </a:lnTo>
                    <a:lnTo>
                      <a:pt x="1275" y="862"/>
                    </a:lnTo>
                    <a:lnTo>
                      <a:pt x="1273" y="862"/>
                    </a:lnTo>
                    <a:lnTo>
                      <a:pt x="1275" y="862"/>
                    </a:lnTo>
                    <a:lnTo>
                      <a:pt x="1273" y="862"/>
                    </a:lnTo>
                    <a:lnTo>
                      <a:pt x="1273" y="864"/>
                    </a:lnTo>
                    <a:lnTo>
                      <a:pt x="1275" y="864"/>
                    </a:lnTo>
                    <a:lnTo>
                      <a:pt x="1275" y="866"/>
                    </a:lnTo>
                    <a:lnTo>
                      <a:pt x="1275" y="867"/>
                    </a:lnTo>
                    <a:lnTo>
                      <a:pt x="1275" y="869"/>
                    </a:lnTo>
                    <a:lnTo>
                      <a:pt x="1276" y="869"/>
                    </a:lnTo>
                    <a:lnTo>
                      <a:pt x="1278" y="871"/>
                    </a:lnTo>
                    <a:lnTo>
                      <a:pt x="1278" y="872"/>
                    </a:lnTo>
                    <a:lnTo>
                      <a:pt x="1276" y="872"/>
                    </a:lnTo>
                    <a:lnTo>
                      <a:pt x="1276" y="874"/>
                    </a:lnTo>
                    <a:lnTo>
                      <a:pt x="1275" y="874"/>
                    </a:lnTo>
                    <a:lnTo>
                      <a:pt x="1275" y="876"/>
                    </a:lnTo>
                    <a:lnTo>
                      <a:pt x="1275" y="878"/>
                    </a:lnTo>
                    <a:lnTo>
                      <a:pt x="1275" y="879"/>
                    </a:lnTo>
                    <a:lnTo>
                      <a:pt x="1275" y="881"/>
                    </a:lnTo>
                    <a:lnTo>
                      <a:pt x="1273" y="879"/>
                    </a:lnTo>
                    <a:lnTo>
                      <a:pt x="1271" y="879"/>
                    </a:lnTo>
                    <a:lnTo>
                      <a:pt x="1270" y="879"/>
                    </a:lnTo>
                    <a:lnTo>
                      <a:pt x="1271" y="881"/>
                    </a:lnTo>
                    <a:lnTo>
                      <a:pt x="1270" y="881"/>
                    </a:lnTo>
                    <a:lnTo>
                      <a:pt x="1270" y="883"/>
                    </a:lnTo>
                    <a:lnTo>
                      <a:pt x="1271" y="883"/>
                    </a:lnTo>
                    <a:lnTo>
                      <a:pt x="1270" y="884"/>
                    </a:lnTo>
                    <a:lnTo>
                      <a:pt x="1270" y="886"/>
                    </a:lnTo>
                    <a:lnTo>
                      <a:pt x="1271" y="886"/>
                    </a:lnTo>
                    <a:lnTo>
                      <a:pt x="1270" y="886"/>
                    </a:lnTo>
                    <a:lnTo>
                      <a:pt x="1271" y="888"/>
                    </a:lnTo>
                    <a:lnTo>
                      <a:pt x="1273" y="888"/>
                    </a:lnTo>
                    <a:lnTo>
                      <a:pt x="1275" y="888"/>
                    </a:lnTo>
                    <a:lnTo>
                      <a:pt x="1275" y="889"/>
                    </a:lnTo>
                    <a:lnTo>
                      <a:pt x="1275" y="891"/>
                    </a:lnTo>
                    <a:lnTo>
                      <a:pt x="1275" y="893"/>
                    </a:lnTo>
                    <a:lnTo>
                      <a:pt x="1273" y="895"/>
                    </a:lnTo>
                    <a:lnTo>
                      <a:pt x="1271" y="893"/>
                    </a:lnTo>
                    <a:lnTo>
                      <a:pt x="1271" y="895"/>
                    </a:lnTo>
                    <a:lnTo>
                      <a:pt x="1271" y="893"/>
                    </a:lnTo>
                    <a:lnTo>
                      <a:pt x="1270" y="895"/>
                    </a:lnTo>
                    <a:lnTo>
                      <a:pt x="1270" y="896"/>
                    </a:lnTo>
                    <a:lnTo>
                      <a:pt x="1268" y="898"/>
                    </a:lnTo>
                    <a:lnTo>
                      <a:pt x="1270" y="898"/>
                    </a:lnTo>
                    <a:lnTo>
                      <a:pt x="1268" y="900"/>
                    </a:lnTo>
                    <a:lnTo>
                      <a:pt x="1268" y="901"/>
                    </a:lnTo>
                    <a:lnTo>
                      <a:pt x="1270" y="901"/>
                    </a:lnTo>
                    <a:lnTo>
                      <a:pt x="1270" y="903"/>
                    </a:lnTo>
                    <a:lnTo>
                      <a:pt x="1268" y="903"/>
                    </a:lnTo>
                    <a:lnTo>
                      <a:pt x="1268" y="905"/>
                    </a:lnTo>
                    <a:lnTo>
                      <a:pt x="1266" y="906"/>
                    </a:lnTo>
                    <a:lnTo>
                      <a:pt x="1264" y="906"/>
                    </a:lnTo>
                    <a:lnTo>
                      <a:pt x="1264" y="908"/>
                    </a:lnTo>
                    <a:lnTo>
                      <a:pt x="1266" y="908"/>
                    </a:lnTo>
                    <a:lnTo>
                      <a:pt x="1266" y="910"/>
                    </a:lnTo>
                    <a:lnTo>
                      <a:pt x="1266" y="912"/>
                    </a:lnTo>
                    <a:lnTo>
                      <a:pt x="1266" y="913"/>
                    </a:lnTo>
                    <a:lnTo>
                      <a:pt x="1268" y="913"/>
                    </a:lnTo>
                    <a:lnTo>
                      <a:pt x="1268" y="915"/>
                    </a:lnTo>
                    <a:lnTo>
                      <a:pt x="1268" y="913"/>
                    </a:lnTo>
                    <a:lnTo>
                      <a:pt x="1268" y="915"/>
                    </a:lnTo>
                    <a:lnTo>
                      <a:pt x="1268" y="917"/>
                    </a:lnTo>
                    <a:lnTo>
                      <a:pt x="1268" y="918"/>
                    </a:lnTo>
                    <a:lnTo>
                      <a:pt x="1266" y="918"/>
                    </a:lnTo>
                    <a:lnTo>
                      <a:pt x="1268" y="918"/>
                    </a:lnTo>
                    <a:lnTo>
                      <a:pt x="1268" y="920"/>
                    </a:lnTo>
                    <a:lnTo>
                      <a:pt x="1268" y="922"/>
                    </a:lnTo>
                    <a:lnTo>
                      <a:pt x="1270" y="922"/>
                    </a:lnTo>
                    <a:lnTo>
                      <a:pt x="1270" y="923"/>
                    </a:lnTo>
                    <a:lnTo>
                      <a:pt x="1270" y="925"/>
                    </a:lnTo>
                    <a:lnTo>
                      <a:pt x="1270" y="927"/>
                    </a:lnTo>
                    <a:lnTo>
                      <a:pt x="1268" y="927"/>
                    </a:lnTo>
                    <a:lnTo>
                      <a:pt x="1268" y="929"/>
                    </a:lnTo>
                    <a:lnTo>
                      <a:pt x="1268" y="930"/>
                    </a:lnTo>
                    <a:lnTo>
                      <a:pt x="1270" y="930"/>
                    </a:lnTo>
                    <a:lnTo>
                      <a:pt x="1268" y="930"/>
                    </a:lnTo>
                    <a:lnTo>
                      <a:pt x="1270" y="932"/>
                    </a:lnTo>
                    <a:lnTo>
                      <a:pt x="1268" y="930"/>
                    </a:lnTo>
                    <a:lnTo>
                      <a:pt x="1268" y="932"/>
                    </a:lnTo>
                    <a:lnTo>
                      <a:pt x="1268" y="934"/>
                    </a:lnTo>
                    <a:lnTo>
                      <a:pt x="1268" y="935"/>
                    </a:lnTo>
                    <a:lnTo>
                      <a:pt x="1266" y="935"/>
                    </a:lnTo>
                    <a:lnTo>
                      <a:pt x="1268" y="935"/>
                    </a:lnTo>
                    <a:lnTo>
                      <a:pt x="1268" y="937"/>
                    </a:lnTo>
                    <a:lnTo>
                      <a:pt x="1268" y="939"/>
                    </a:lnTo>
                    <a:lnTo>
                      <a:pt x="1270" y="939"/>
                    </a:lnTo>
                    <a:lnTo>
                      <a:pt x="1270" y="940"/>
                    </a:lnTo>
                    <a:lnTo>
                      <a:pt x="1270" y="942"/>
                    </a:lnTo>
                    <a:lnTo>
                      <a:pt x="1270" y="944"/>
                    </a:lnTo>
                    <a:lnTo>
                      <a:pt x="1270" y="946"/>
                    </a:lnTo>
                    <a:lnTo>
                      <a:pt x="1268" y="946"/>
                    </a:lnTo>
                    <a:lnTo>
                      <a:pt x="1268" y="947"/>
                    </a:lnTo>
                    <a:lnTo>
                      <a:pt x="1268" y="949"/>
                    </a:lnTo>
                    <a:lnTo>
                      <a:pt x="1270" y="949"/>
                    </a:lnTo>
                    <a:lnTo>
                      <a:pt x="1270" y="951"/>
                    </a:lnTo>
                    <a:lnTo>
                      <a:pt x="1271" y="951"/>
                    </a:lnTo>
                    <a:lnTo>
                      <a:pt x="1270" y="952"/>
                    </a:lnTo>
                    <a:lnTo>
                      <a:pt x="1271" y="952"/>
                    </a:lnTo>
                    <a:lnTo>
                      <a:pt x="1271" y="954"/>
                    </a:lnTo>
                    <a:lnTo>
                      <a:pt x="1271" y="956"/>
                    </a:lnTo>
                    <a:lnTo>
                      <a:pt x="1271" y="957"/>
                    </a:lnTo>
                    <a:lnTo>
                      <a:pt x="1271" y="959"/>
                    </a:lnTo>
                    <a:lnTo>
                      <a:pt x="1271" y="961"/>
                    </a:lnTo>
                    <a:lnTo>
                      <a:pt x="1271" y="963"/>
                    </a:lnTo>
                    <a:lnTo>
                      <a:pt x="1271" y="964"/>
                    </a:lnTo>
                    <a:lnTo>
                      <a:pt x="1271" y="966"/>
                    </a:lnTo>
                    <a:lnTo>
                      <a:pt x="1273" y="966"/>
                    </a:lnTo>
                    <a:lnTo>
                      <a:pt x="1273" y="968"/>
                    </a:lnTo>
                    <a:lnTo>
                      <a:pt x="1273" y="969"/>
                    </a:lnTo>
                    <a:lnTo>
                      <a:pt x="1273" y="971"/>
                    </a:lnTo>
                    <a:lnTo>
                      <a:pt x="1271" y="971"/>
                    </a:lnTo>
                    <a:lnTo>
                      <a:pt x="1270" y="971"/>
                    </a:lnTo>
                    <a:lnTo>
                      <a:pt x="1270" y="973"/>
                    </a:lnTo>
                    <a:lnTo>
                      <a:pt x="1270" y="971"/>
                    </a:lnTo>
                    <a:lnTo>
                      <a:pt x="1268" y="971"/>
                    </a:lnTo>
                    <a:lnTo>
                      <a:pt x="1268" y="973"/>
                    </a:lnTo>
                    <a:lnTo>
                      <a:pt x="1266" y="973"/>
                    </a:lnTo>
                    <a:lnTo>
                      <a:pt x="1264" y="971"/>
                    </a:lnTo>
                    <a:lnTo>
                      <a:pt x="1263" y="971"/>
                    </a:lnTo>
                    <a:lnTo>
                      <a:pt x="1263" y="969"/>
                    </a:lnTo>
                    <a:lnTo>
                      <a:pt x="1261" y="969"/>
                    </a:lnTo>
                    <a:lnTo>
                      <a:pt x="1261" y="971"/>
                    </a:lnTo>
                    <a:lnTo>
                      <a:pt x="1259" y="971"/>
                    </a:lnTo>
                    <a:lnTo>
                      <a:pt x="1258" y="971"/>
                    </a:lnTo>
                    <a:lnTo>
                      <a:pt x="1258" y="973"/>
                    </a:lnTo>
                    <a:lnTo>
                      <a:pt x="1258" y="975"/>
                    </a:lnTo>
                    <a:lnTo>
                      <a:pt x="1259" y="976"/>
                    </a:lnTo>
                    <a:lnTo>
                      <a:pt x="1258" y="976"/>
                    </a:lnTo>
                    <a:lnTo>
                      <a:pt x="1259" y="978"/>
                    </a:lnTo>
                    <a:lnTo>
                      <a:pt x="1259" y="980"/>
                    </a:lnTo>
                    <a:lnTo>
                      <a:pt x="1259" y="981"/>
                    </a:lnTo>
                    <a:lnTo>
                      <a:pt x="1259" y="983"/>
                    </a:lnTo>
                    <a:lnTo>
                      <a:pt x="1261" y="981"/>
                    </a:lnTo>
                    <a:lnTo>
                      <a:pt x="1261" y="983"/>
                    </a:lnTo>
                    <a:lnTo>
                      <a:pt x="1263" y="983"/>
                    </a:lnTo>
                    <a:lnTo>
                      <a:pt x="1263" y="985"/>
                    </a:lnTo>
                    <a:lnTo>
                      <a:pt x="1263" y="986"/>
                    </a:lnTo>
                    <a:lnTo>
                      <a:pt x="1263" y="988"/>
                    </a:lnTo>
                    <a:lnTo>
                      <a:pt x="1263" y="990"/>
                    </a:lnTo>
                    <a:lnTo>
                      <a:pt x="1261" y="990"/>
                    </a:lnTo>
                    <a:lnTo>
                      <a:pt x="1261" y="992"/>
                    </a:lnTo>
                    <a:lnTo>
                      <a:pt x="1259" y="992"/>
                    </a:lnTo>
                    <a:lnTo>
                      <a:pt x="1259" y="993"/>
                    </a:lnTo>
                    <a:lnTo>
                      <a:pt x="1259" y="995"/>
                    </a:lnTo>
                    <a:lnTo>
                      <a:pt x="1258" y="995"/>
                    </a:lnTo>
                    <a:lnTo>
                      <a:pt x="1258" y="997"/>
                    </a:lnTo>
                    <a:lnTo>
                      <a:pt x="1259" y="997"/>
                    </a:lnTo>
                    <a:lnTo>
                      <a:pt x="1259" y="998"/>
                    </a:lnTo>
                    <a:lnTo>
                      <a:pt x="1259" y="1000"/>
                    </a:lnTo>
                    <a:lnTo>
                      <a:pt x="1259" y="1002"/>
                    </a:lnTo>
                    <a:lnTo>
                      <a:pt x="1258" y="1002"/>
                    </a:lnTo>
                    <a:lnTo>
                      <a:pt x="1259" y="1002"/>
                    </a:lnTo>
                    <a:lnTo>
                      <a:pt x="1259" y="1003"/>
                    </a:lnTo>
                    <a:lnTo>
                      <a:pt x="1259" y="1005"/>
                    </a:lnTo>
                    <a:lnTo>
                      <a:pt x="1259" y="1007"/>
                    </a:lnTo>
                    <a:lnTo>
                      <a:pt x="1261" y="1009"/>
                    </a:lnTo>
                    <a:lnTo>
                      <a:pt x="1261" y="1010"/>
                    </a:lnTo>
                    <a:lnTo>
                      <a:pt x="1263" y="1010"/>
                    </a:lnTo>
                    <a:lnTo>
                      <a:pt x="1263" y="1012"/>
                    </a:lnTo>
                    <a:lnTo>
                      <a:pt x="1264" y="1012"/>
                    </a:lnTo>
                    <a:lnTo>
                      <a:pt x="1266" y="1014"/>
                    </a:lnTo>
                    <a:lnTo>
                      <a:pt x="1266" y="1015"/>
                    </a:lnTo>
                    <a:lnTo>
                      <a:pt x="1268" y="1015"/>
                    </a:lnTo>
                    <a:lnTo>
                      <a:pt x="1268" y="1017"/>
                    </a:lnTo>
                    <a:lnTo>
                      <a:pt x="1270" y="1017"/>
                    </a:lnTo>
                    <a:lnTo>
                      <a:pt x="1271" y="1017"/>
                    </a:lnTo>
                    <a:lnTo>
                      <a:pt x="1271" y="1019"/>
                    </a:lnTo>
                    <a:lnTo>
                      <a:pt x="1273" y="1019"/>
                    </a:lnTo>
                    <a:lnTo>
                      <a:pt x="1273" y="1020"/>
                    </a:lnTo>
                    <a:lnTo>
                      <a:pt x="1271" y="1020"/>
                    </a:lnTo>
                    <a:lnTo>
                      <a:pt x="1273" y="1022"/>
                    </a:lnTo>
                    <a:lnTo>
                      <a:pt x="1273" y="1024"/>
                    </a:lnTo>
                    <a:lnTo>
                      <a:pt x="1273" y="1026"/>
                    </a:lnTo>
                    <a:lnTo>
                      <a:pt x="1271" y="1026"/>
                    </a:lnTo>
                    <a:lnTo>
                      <a:pt x="1271" y="1024"/>
                    </a:lnTo>
                    <a:lnTo>
                      <a:pt x="1271" y="1026"/>
                    </a:lnTo>
                    <a:lnTo>
                      <a:pt x="1270" y="1026"/>
                    </a:lnTo>
                    <a:lnTo>
                      <a:pt x="1268" y="1026"/>
                    </a:lnTo>
                    <a:lnTo>
                      <a:pt x="1266" y="1026"/>
                    </a:lnTo>
                    <a:lnTo>
                      <a:pt x="1268" y="1026"/>
                    </a:lnTo>
                    <a:lnTo>
                      <a:pt x="1268" y="1027"/>
                    </a:lnTo>
                    <a:lnTo>
                      <a:pt x="1266" y="1029"/>
                    </a:lnTo>
                    <a:lnTo>
                      <a:pt x="1266" y="1031"/>
                    </a:lnTo>
                    <a:lnTo>
                      <a:pt x="1266" y="1032"/>
                    </a:lnTo>
                    <a:lnTo>
                      <a:pt x="1268" y="1032"/>
                    </a:lnTo>
                    <a:lnTo>
                      <a:pt x="1268" y="1031"/>
                    </a:lnTo>
                    <a:lnTo>
                      <a:pt x="1268" y="1032"/>
                    </a:lnTo>
                    <a:lnTo>
                      <a:pt x="1270" y="1032"/>
                    </a:lnTo>
                    <a:lnTo>
                      <a:pt x="1268" y="1034"/>
                    </a:lnTo>
                    <a:lnTo>
                      <a:pt x="1268" y="1036"/>
                    </a:lnTo>
                    <a:lnTo>
                      <a:pt x="1270" y="1036"/>
                    </a:lnTo>
                    <a:lnTo>
                      <a:pt x="1271" y="1036"/>
                    </a:lnTo>
                    <a:lnTo>
                      <a:pt x="1271" y="1037"/>
                    </a:lnTo>
                    <a:lnTo>
                      <a:pt x="1273" y="1037"/>
                    </a:lnTo>
                    <a:lnTo>
                      <a:pt x="1273" y="1039"/>
                    </a:lnTo>
                    <a:lnTo>
                      <a:pt x="1275" y="1039"/>
                    </a:lnTo>
                    <a:lnTo>
                      <a:pt x="1276" y="1039"/>
                    </a:lnTo>
                    <a:lnTo>
                      <a:pt x="1278" y="1039"/>
                    </a:lnTo>
                    <a:lnTo>
                      <a:pt x="1278" y="1041"/>
                    </a:lnTo>
                    <a:lnTo>
                      <a:pt x="1278" y="1043"/>
                    </a:lnTo>
                    <a:lnTo>
                      <a:pt x="1276" y="1043"/>
                    </a:lnTo>
                    <a:lnTo>
                      <a:pt x="1278" y="1043"/>
                    </a:lnTo>
                    <a:lnTo>
                      <a:pt x="1276" y="1043"/>
                    </a:lnTo>
                    <a:lnTo>
                      <a:pt x="1275" y="1043"/>
                    </a:lnTo>
                    <a:lnTo>
                      <a:pt x="1275" y="1044"/>
                    </a:lnTo>
                    <a:lnTo>
                      <a:pt x="1273" y="1046"/>
                    </a:lnTo>
                    <a:lnTo>
                      <a:pt x="1271" y="1048"/>
                    </a:lnTo>
                    <a:lnTo>
                      <a:pt x="1273" y="1048"/>
                    </a:lnTo>
                    <a:lnTo>
                      <a:pt x="1271" y="1049"/>
                    </a:lnTo>
                    <a:lnTo>
                      <a:pt x="1273" y="1049"/>
                    </a:lnTo>
                    <a:lnTo>
                      <a:pt x="1271" y="1049"/>
                    </a:lnTo>
                    <a:lnTo>
                      <a:pt x="1273" y="1049"/>
                    </a:lnTo>
                    <a:lnTo>
                      <a:pt x="1273" y="1051"/>
                    </a:lnTo>
                    <a:lnTo>
                      <a:pt x="1273" y="1053"/>
                    </a:lnTo>
                    <a:lnTo>
                      <a:pt x="1275" y="1053"/>
                    </a:lnTo>
                    <a:lnTo>
                      <a:pt x="1276" y="1054"/>
                    </a:lnTo>
                    <a:lnTo>
                      <a:pt x="1275" y="1054"/>
                    </a:lnTo>
                    <a:lnTo>
                      <a:pt x="1275" y="1056"/>
                    </a:lnTo>
                    <a:lnTo>
                      <a:pt x="1275" y="1058"/>
                    </a:lnTo>
                    <a:lnTo>
                      <a:pt x="1273" y="1058"/>
                    </a:lnTo>
                    <a:lnTo>
                      <a:pt x="1273" y="1060"/>
                    </a:lnTo>
                    <a:lnTo>
                      <a:pt x="1273" y="1061"/>
                    </a:lnTo>
                    <a:lnTo>
                      <a:pt x="1271" y="1063"/>
                    </a:lnTo>
                    <a:lnTo>
                      <a:pt x="1270" y="1063"/>
                    </a:lnTo>
                    <a:lnTo>
                      <a:pt x="1268" y="1063"/>
                    </a:lnTo>
                    <a:lnTo>
                      <a:pt x="1270" y="1065"/>
                    </a:lnTo>
                    <a:lnTo>
                      <a:pt x="1270" y="1066"/>
                    </a:lnTo>
                    <a:lnTo>
                      <a:pt x="1271" y="1066"/>
                    </a:lnTo>
                    <a:lnTo>
                      <a:pt x="1270" y="1068"/>
                    </a:lnTo>
                    <a:lnTo>
                      <a:pt x="1270" y="1070"/>
                    </a:lnTo>
                    <a:lnTo>
                      <a:pt x="1271" y="1071"/>
                    </a:lnTo>
                    <a:lnTo>
                      <a:pt x="1271" y="1073"/>
                    </a:lnTo>
                    <a:lnTo>
                      <a:pt x="1270" y="1073"/>
                    </a:lnTo>
                    <a:lnTo>
                      <a:pt x="1270" y="1075"/>
                    </a:lnTo>
                    <a:lnTo>
                      <a:pt x="1270" y="1077"/>
                    </a:lnTo>
                    <a:lnTo>
                      <a:pt x="1271" y="1077"/>
                    </a:lnTo>
                    <a:lnTo>
                      <a:pt x="1273" y="1077"/>
                    </a:lnTo>
                    <a:lnTo>
                      <a:pt x="1273" y="1075"/>
                    </a:lnTo>
                    <a:lnTo>
                      <a:pt x="1275" y="1075"/>
                    </a:lnTo>
                    <a:lnTo>
                      <a:pt x="1275" y="1077"/>
                    </a:lnTo>
                    <a:lnTo>
                      <a:pt x="1276" y="1077"/>
                    </a:lnTo>
                    <a:lnTo>
                      <a:pt x="1276" y="1075"/>
                    </a:lnTo>
                    <a:lnTo>
                      <a:pt x="1278" y="1077"/>
                    </a:lnTo>
                    <a:lnTo>
                      <a:pt x="1280" y="1077"/>
                    </a:lnTo>
                    <a:lnTo>
                      <a:pt x="1280" y="1075"/>
                    </a:lnTo>
                    <a:lnTo>
                      <a:pt x="1281" y="1077"/>
                    </a:lnTo>
                    <a:lnTo>
                      <a:pt x="1281" y="1075"/>
                    </a:lnTo>
                    <a:lnTo>
                      <a:pt x="1283" y="1075"/>
                    </a:lnTo>
                    <a:lnTo>
                      <a:pt x="1285" y="1075"/>
                    </a:lnTo>
                    <a:lnTo>
                      <a:pt x="1285" y="1077"/>
                    </a:lnTo>
                    <a:lnTo>
                      <a:pt x="1287" y="1077"/>
                    </a:lnTo>
                    <a:lnTo>
                      <a:pt x="1288" y="1077"/>
                    </a:lnTo>
                    <a:lnTo>
                      <a:pt x="1290" y="1077"/>
                    </a:lnTo>
                    <a:lnTo>
                      <a:pt x="1290" y="1078"/>
                    </a:lnTo>
                    <a:lnTo>
                      <a:pt x="1290" y="1077"/>
                    </a:lnTo>
                    <a:lnTo>
                      <a:pt x="1292" y="1078"/>
                    </a:lnTo>
                    <a:lnTo>
                      <a:pt x="1293" y="1078"/>
                    </a:lnTo>
                    <a:lnTo>
                      <a:pt x="1293" y="1080"/>
                    </a:lnTo>
                    <a:lnTo>
                      <a:pt x="1292" y="1080"/>
                    </a:lnTo>
                    <a:lnTo>
                      <a:pt x="1293" y="1082"/>
                    </a:lnTo>
                    <a:lnTo>
                      <a:pt x="1295" y="1082"/>
                    </a:lnTo>
                    <a:lnTo>
                      <a:pt x="1293" y="1083"/>
                    </a:lnTo>
                    <a:lnTo>
                      <a:pt x="1295" y="1085"/>
                    </a:lnTo>
                    <a:lnTo>
                      <a:pt x="1293" y="1085"/>
                    </a:lnTo>
                    <a:lnTo>
                      <a:pt x="1292" y="1085"/>
                    </a:lnTo>
                    <a:lnTo>
                      <a:pt x="1290" y="1085"/>
                    </a:lnTo>
                    <a:lnTo>
                      <a:pt x="1292" y="1085"/>
                    </a:lnTo>
                    <a:lnTo>
                      <a:pt x="1290" y="1087"/>
                    </a:lnTo>
                    <a:lnTo>
                      <a:pt x="1290" y="1088"/>
                    </a:lnTo>
                    <a:lnTo>
                      <a:pt x="1292" y="1088"/>
                    </a:lnTo>
                    <a:lnTo>
                      <a:pt x="1290" y="1090"/>
                    </a:lnTo>
                    <a:lnTo>
                      <a:pt x="1290" y="1092"/>
                    </a:lnTo>
                    <a:lnTo>
                      <a:pt x="1290" y="1094"/>
                    </a:lnTo>
                    <a:lnTo>
                      <a:pt x="1288" y="1094"/>
                    </a:lnTo>
                    <a:lnTo>
                      <a:pt x="1288" y="1095"/>
                    </a:lnTo>
                    <a:lnTo>
                      <a:pt x="1287" y="1095"/>
                    </a:lnTo>
                    <a:lnTo>
                      <a:pt x="1285" y="1095"/>
                    </a:lnTo>
                    <a:lnTo>
                      <a:pt x="1285" y="1094"/>
                    </a:lnTo>
                    <a:lnTo>
                      <a:pt x="1283" y="1094"/>
                    </a:lnTo>
                    <a:lnTo>
                      <a:pt x="1283" y="1092"/>
                    </a:lnTo>
                    <a:lnTo>
                      <a:pt x="1281" y="1092"/>
                    </a:lnTo>
                    <a:lnTo>
                      <a:pt x="1280" y="1092"/>
                    </a:lnTo>
                    <a:lnTo>
                      <a:pt x="1278" y="1094"/>
                    </a:lnTo>
                    <a:lnTo>
                      <a:pt x="1278" y="1092"/>
                    </a:lnTo>
                    <a:lnTo>
                      <a:pt x="1278" y="1094"/>
                    </a:lnTo>
                    <a:lnTo>
                      <a:pt x="1276" y="1094"/>
                    </a:lnTo>
                    <a:lnTo>
                      <a:pt x="1275" y="1094"/>
                    </a:lnTo>
                    <a:lnTo>
                      <a:pt x="1273" y="1094"/>
                    </a:lnTo>
                    <a:lnTo>
                      <a:pt x="1271" y="1094"/>
                    </a:lnTo>
                    <a:lnTo>
                      <a:pt x="1271" y="1092"/>
                    </a:lnTo>
                    <a:lnTo>
                      <a:pt x="1270" y="1094"/>
                    </a:lnTo>
                    <a:lnTo>
                      <a:pt x="1270" y="1095"/>
                    </a:lnTo>
                    <a:lnTo>
                      <a:pt x="1270" y="1094"/>
                    </a:lnTo>
                    <a:lnTo>
                      <a:pt x="1268" y="1095"/>
                    </a:lnTo>
                    <a:lnTo>
                      <a:pt x="1268" y="1094"/>
                    </a:lnTo>
                    <a:lnTo>
                      <a:pt x="1266" y="1094"/>
                    </a:lnTo>
                    <a:lnTo>
                      <a:pt x="1266" y="1095"/>
                    </a:lnTo>
                    <a:lnTo>
                      <a:pt x="1266" y="1094"/>
                    </a:lnTo>
                    <a:lnTo>
                      <a:pt x="1264" y="1094"/>
                    </a:lnTo>
                    <a:lnTo>
                      <a:pt x="1263" y="1094"/>
                    </a:lnTo>
                    <a:lnTo>
                      <a:pt x="1261" y="1092"/>
                    </a:lnTo>
                    <a:lnTo>
                      <a:pt x="1261" y="1094"/>
                    </a:lnTo>
                    <a:lnTo>
                      <a:pt x="1261" y="1095"/>
                    </a:lnTo>
                    <a:lnTo>
                      <a:pt x="1263" y="1095"/>
                    </a:lnTo>
                    <a:lnTo>
                      <a:pt x="1263" y="1097"/>
                    </a:lnTo>
                    <a:lnTo>
                      <a:pt x="1261" y="1097"/>
                    </a:lnTo>
                    <a:lnTo>
                      <a:pt x="1263" y="1097"/>
                    </a:lnTo>
                    <a:lnTo>
                      <a:pt x="1261" y="1099"/>
                    </a:lnTo>
                    <a:lnTo>
                      <a:pt x="1263" y="1099"/>
                    </a:lnTo>
                    <a:lnTo>
                      <a:pt x="1263" y="1100"/>
                    </a:lnTo>
                    <a:lnTo>
                      <a:pt x="1263" y="1099"/>
                    </a:lnTo>
                    <a:lnTo>
                      <a:pt x="1264" y="1100"/>
                    </a:lnTo>
                    <a:lnTo>
                      <a:pt x="1266" y="1100"/>
                    </a:lnTo>
                    <a:lnTo>
                      <a:pt x="1266" y="1102"/>
                    </a:lnTo>
                    <a:lnTo>
                      <a:pt x="1268" y="1102"/>
                    </a:lnTo>
                    <a:lnTo>
                      <a:pt x="1268" y="1100"/>
                    </a:lnTo>
                    <a:lnTo>
                      <a:pt x="1270" y="1100"/>
                    </a:lnTo>
                    <a:lnTo>
                      <a:pt x="1271" y="1102"/>
                    </a:lnTo>
                    <a:lnTo>
                      <a:pt x="1271" y="1100"/>
                    </a:lnTo>
                    <a:lnTo>
                      <a:pt x="1273" y="1102"/>
                    </a:lnTo>
                    <a:lnTo>
                      <a:pt x="1275" y="1102"/>
                    </a:lnTo>
                    <a:lnTo>
                      <a:pt x="1275" y="1104"/>
                    </a:lnTo>
                    <a:lnTo>
                      <a:pt x="1276" y="1102"/>
                    </a:lnTo>
                    <a:lnTo>
                      <a:pt x="1276" y="1104"/>
                    </a:lnTo>
                    <a:lnTo>
                      <a:pt x="1278" y="1104"/>
                    </a:lnTo>
                    <a:lnTo>
                      <a:pt x="1280" y="1104"/>
                    </a:lnTo>
                    <a:lnTo>
                      <a:pt x="1278" y="1104"/>
                    </a:lnTo>
                    <a:lnTo>
                      <a:pt x="1278" y="1105"/>
                    </a:lnTo>
                    <a:lnTo>
                      <a:pt x="1280" y="1107"/>
                    </a:lnTo>
                    <a:lnTo>
                      <a:pt x="1280" y="1109"/>
                    </a:lnTo>
                    <a:lnTo>
                      <a:pt x="1281" y="1109"/>
                    </a:lnTo>
                    <a:lnTo>
                      <a:pt x="1281" y="1111"/>
                    </a:lnTo>
                    <a:lnTo>
                      <a:pt x="1283" y="1112"/>
                    </a:lnTo>
                    <a:lnTo>
                      <a:pt x="1283" y="1114"/>
                    </a:lnTo>
                    <a:lnTo>
                      <a:pt x="1285" y="1114"/>
                    </a:lnTo>
                    <a:lnTo>
                      <a:pt x="1285" y="1116"/>
                    </a:lnTo>
                    <a:lnTo>
                      <a:pt x="1287" y="1116"/>
                    </a:lnTo>
                    <a:lnTo>
                      <a:pt x="1285" y="1117"/>
                    </a:lnTo>
                    <a:lnTo>
                      <a:pt x="1287" y="1117"/>
                    </a:lnTo>
                    <a:lnTo>
                      <a:pt x="1287" y="1119"/>
                    </a:lnTo>
                    <a:lnTo>
                      <a:pt x="1287" y="1121"/>
                    </a:lnTo>
                    <a:lnTo>
                      <a:pt x="1285" y="1121"/>
                    </a:lnTo>
                    <a:lnTo>
                      <a:pt x="1283" y="1121"/>
                    </a:lnTo>
                    <a:lnTo>
                      <a:pt x="1283" y="1122"/>
                    </a:lnTo>
                    <a:lnTo>
                      <a:pt x="1281" y="1122"/>
                    </a:lnTo>
                    <a:lnTo>
                      <a:pt x="1280" y="1122"/>
                    </a:lnTo>
                    <a:lnTo>
                      <a:pt x="1280" y="1124"/>
                    </a:lnTo>
                    <a:lnTo>
                      <a:pt x="1280" y="1126"/>
                    </a:lnTo>
                    <a:lnTo>
                      <a:pt x="1281" y="1128"/>
                    </a:lnTo>
                    <a:lnTo>
                      <a:pt x="1280" y="1128"/>
                    </a:lnTo>
                    <a:lnTo>
                      <a:pt x="1280" y="1129"/>
                    </a:lnTo>
                    <a:lnTo>
                      <a:pt x="1278" y="1129"/>
                    </a:lnTo>
                    <a:lnTo>
                      <a:pt x="1276" y="1129"/>
                    </a:lnTo>
                    <a:lnTo>
                      <a:pt x="1275" y="1129"/>
                    </a:lnTo>
                    <a:lnTo>
                      <a:pt x="1273" y="1129"/>
                    </a:lnTo>
                    <a:lnTo>
                      <a:pt x="1273" y="1131"/>
                    </a:lnTo>
                    <a:lnTo>
                      <a:pt x="1271" y="1131"/>
                    </a:lnTo>
                    <a:lnTo>
                      <a:pt x="1271" y="1133"/>
                    </a:lnTo>
                    <a:lnTo>
                      <a:pt x="1273" y="1133"/>
                    </a:lnTo>
                    <a:lnTo>
                      <a:pt x="1271" y="1134"/>
                    </a:lnTo>
                    <a:lnTo>
                      <a:pt x="1271" y="1136"/>
                    </a:lnTo>
                    <a:lnTo>
                      <a:pt x="1271" y="1138"/>
                    </a:lnTo>
                    <a:lnTo>
                      <a:pt x="1271" y="1140"/>
                    </a:lnTo>
                    <a:lnTo>
                      <a:pt x="1271" y="1141"/>
                    </a:lnTo>
                    <a:lnTo>
                      <a:pt x="1271" y="1143"/>
                    </a:lnTo>
                    <a:lnTo>
                      <a:pt x="1273" y="1143"/>
                    </a:lnTo>
                    <a:lnTo>
                      <a:pt x="1271" y="1145"/>
                    </a:lnTo>
                    <a:lnTo>
                      <a:pt x="1273" y="1146"/>
                    </a:lnTo>
                    <a:lnTo>
                      <a:pt x="1273" y="1145"/>
                    </a:lnTo>
                    <a:lnTo>
                      <a:pt x="1273" y="1146"/>
                    </a:lnTo>
                    <a:lnTo>
                      <a:pt x="1275" y="1146"/>
                    </a:lnTo>
                    <a:lnTo>
                      <a:pt x="1276" y="1148"/>
                    </a:lnTo>
                    <a:lnTo>
                      <a:pt x="1276" y="1150"/>
                    </a:lnTo>
                    <a:lnTo>
                      <a:pt x="1276" y="1151"/>
                    </a:lnTo>
                    <a:lnTo>
                      <a:pt x="1276" y="1153"/>
                    </a:lnTo>
                    <a:lnTo>
                      <a:pt x="1275" y="1153"/>
                    </a:lnTo>
                    <a:lnTo>
                      <a:pt x="1275" y="1155"/>
                    </a:lnTo>
                    <a:lnTo>
                      <a:pt x="1275" y="1157"/>
                    </a:lnTo>
                    <a:lnTo>
                      <a:pt x="1273" y="1157"/>
                    </a:lnTo>
                    <a:lnTo>
                      <a:pt x="1271" y="1157"/>
                    </a:lnTo>
                    <a:lnTo>
                      <a:pt x="1271" y="1158"/>
                    </a:lnTo>
                    <a:lnTo>
                      <a:pt x="1270" y="1158"/>
                    </a:lnTo>
                    <a:lnTo>
                      <a:pt x="1268" y="1158"/>
                    </a:lnTo>
                    <a:lnTo>
                      <a:pt x="1266" y="1160"/>
                    </a:lnTo>
                    <a:lnTo>
                      <a:pt x="1268" y="1160"/>
                    </a:lnTo>
                    <a:lnTo>
                      <a:pt x="1268" y="1162"/>
                    </a:lnTo>
                    <a:lnTo>
                      <a:pt x="1270" y="1162"/>
                    </a:lnTo>
                    <a:lnTo>
                      <a:pt x="1271" y="1162"/>
                    </a:lnTo>
                    <a:lnTo>
                      <a:pt x="1271" y="1163"/>
                    </a:lnTo>
                    <a:lnTo>
                      <a:pt x="1273" y="1165"/>
                    </a:lnTo>
                    <a:lnTo>
                      <a:pt x="1273" y="1167"/>
                    </a:lnTo>
                    <a:lnTo>
                      <a:pt x="1273" y="1168"/>
                    </a:lnTo>
                    <a:lnTo>
                      <a:pt x="1273" y="1170"/>
                    </a:lnTo>
                    <a:lnTo>
                      <a:pt x="1273" y="1174"/>
                    </a:lnTo>
                    <a:lnTo>
                      <a:pt x="1275" y="1177"/>
                    </a:lnTo>
                    <a:lnTo>
                      <a:pt x="1275" y="1179"/>
                    </a:lnTo>
                    <a:lnTo>
                      <a:pt x="1275" y="1180"/>
                    </a:lnTo>
                    <a:lnTo>
                      <a:pt x="1275" y="1182"/>
                    </a:lnTo>
                    <a:lnTo>
                      <a:pt x="1276" y="1184"/>
                    </a:lnTo>
                    <a:lnTo>
                      <a:pt x="1275" y="1184"/>
                    </a:lnTo>
                    <a:lnTo>
                      <a:pt x="1276" y="1185"/>
                    </a:lnTo>
                    <a:lnTo>
                      <a:pt x="1275" y="1187"/>
                    </a:lnTo>
                    <a:lnTo>
                      <a:pt x="1273" y="1187"/>
                    </a:lnTo>
                    <a:lnTo>
                      <a:pt x="1273" y="1189"/>
                    </a:lnTo>
                    <a:lnTo>
                      <a:pt x="1271" y="1189"/>
                    </a:lnTo>
                    <a:lnTo>
                      <a:pt x="1271" y="1191"/>
                    </a:lnTo>
                    <a:lnTo>
                      <a:pt x="1270" y="1191"/>
                    </a:lnTo>
                    <a:lnTo>
                      <a:pt x="1270" y="1192"/>
                    </a:lnTo>
                    <a:lnTo>
                      <a:pt x="1268" y="1192"/>
                    </a:lnTo>
                    <a:lnTo>
                      <a:pt x="1266" y="1192"/>
                    </a:lnTo>
                    <a:lnTo>
                      <a:pt x="1264" y="1192"/>
                    </a:lnTo>
                    <a:lnTo>
                      <a:pt x="1266" y="1194"/>
                    </a:lnTo>
                    <a:lnTo>
                      <a:pt x="1266" y="1196"/>
                    </a:lnTo>
                    <a:lnTo>
                      <a:pt x="1264" y="1196"/>
                    </a:lnTo>
                    <a:lnTo>
                      <a:pt x="1264" y="1197"/>
                    </a:lnTo>
                    <a:lnTo>
                      <a:pt x="1264" y="1199"/>
                    </a:lnTo>
                    <a:lnTo>
                      <a:pt x="1266" y="1199"/>
                    </a:lnTo>
                    <a:lnTo>
                      <a:pt x="1264" y="1201"/>
                    </a:lnTo>
                    <a:lnTo>
                      <a:pt x="1266" y="1201"/>
                    </a:lnTo>
                    <a:lnTo>
                      <a:pt x="1268" y="1201"/>
                    </a:lnTo>
                    <a:lnTo>
                      <a:pt x="1268" y="1202"/>
                    </a:lnTo>
                    <a:lnTo>
                      <a:pt x="1266" y="1204"/>
                    </a:lnTo>
                    <a:lnTo>
                      <a:pt x="1264" y="1206"/>
                    </a:lnTo>
                    <a:lnTo>
                      <a:pt x="1266" y="1206"/>
                    </a:lnTo>
                    <a:lnTo>
                      <a:pt x="1268" y="1208"/>
                    </a:lnTo>
                    <a:lnTo>
                      <a:pt x="1268" y="1209"/>
                    </a:lnTo>
                    <a:lnTo>
                      <a:pt x="1270" y="1209"/>
                    </a:lnTo>
                    <a:lnTo>
                      <a:pt x="1268" y="1209"/>
                    </a:lnTo>
                    <a:lnTo>
                      <a:pt x="1268" y="1211"/>
                    </a:lnTo>
                    <a:lnTo>
                      <a:pt x="1268" y="1213"/>
                    </a:lnTo>
                    <a:lnTo>
                      <a:pt x="1266" y="1213"/>
                    </a:lnTo>
                    <a:lnTo>
                      <a:pt x="1264" y="1213"/>
                    </a:lnTo>
                    <a:lnTo>
                      <a:pt x="1263" y="1211"/>
                    </a:lnTo>
                    <a:lnTo>
                      <a:pt x="1264" y="1213"/>
                    </a:lnTo>
                    <a:lnTo>
                      <a:pt x="1263" y="1214"/>
                    </a:lnTo>
                    <a:lnTo>
                      <a:pt x="1264" y="1216"/>
                    </a:lnTo>
                    <a:lnTo>
                      <a:pt x="1263" y="1216"/>
                    </a:lnTo>
                    <a:lnTo>
                      <a:pt x="1263" y="1218"/>
                    </a:lnTo>
                    <a:lnTo>
                      <a:pt x="1261" y="1218"/>
                    </a:lnTo>
                    <a:lnTo>
                      <a:pt x="1259" y="1218"/>
                    </a:lnTo>
                    <a:lnTo>
                      <a:pt x="1259" y="1219"/>
                    </a:lnTo>
                    <a:lnTo>
                      <a:pt x="1258" y="1221"/>
                    </a:lnTo>
                    <a:lnTo>
                      <a:pt x="1258" y="1223"/>
                    </a:lnTo>
                    <a:lnTo>
                      <a:pt x="1256" y="1221"/>
                    </a:lnTo>
                    <a:lnTo>
                      <a:pt x="1256" y="1223"/>
                    </a:lnTo>
                    <a:lnTo>
                      <a:pt x="1254" y="1223"/>
                    </a:lnTo>
                    <a:lnTo>
                      <a:pt x="1254" y="1225"/>
                    </a:lnTo>
                    <a:lnTo>
                      <a:pt x="1253" y="1225"/>
                    </a:lnTo>
                    <a:lnTo>
                      <a:pt x="1253" y="1226"/>
                    </a:lnTo>
                    <a:lnTo>
                      <a:pt x="1253" y="1225"/>
                    </a:lnTo>
                    <a:lnTo>
                      <a:pt x="1253" y="1226"/>
                    </a:lnTo>
                    <a:lnTo>
                      <a:pt x="1254" y="1226"/>
                    </a:lnTo>
                    <a:lnTo>
                      <a:pt x="1254" y="1228"/>
                    </a:lnTo>
                    <a:lnTo>
                      <a:pt x="1253" y="1228"/>
                    </a:lnTo>
                    <a:lnTo>
                      <a:pt x="1253" y="1230"/>
                    </a:lnTo>
                    <a:lnTo>
                      <a:pt x="1253" y="1231"/>
                    </a:lnTo>
                    <a:lnTo>
                      <a:pt x="1253" y="1233"/>
                    </a:lnTo>
                    <a:lnTo>
                      <a:pt x="1251" y="1233"/>
                    </a:lnTo>
                    <a:lnTo>
                      <a:pt x="1251" y="1235"/>
                    </a:lnTo>
                    <a:lnTo>
                      <a:pt x="1249" y="1235"/>
                    </a:lnTo>
                    <a:lnTo>
                      <a:pt x="1249" y="1236"/>
                    </a:lnTo>
                    <a:lnTo>
                      <a:pt x="1249" y="1238"/>
                    </a:lnTo>
                    <a:lnTo>
                      <a:pt x="1251" y="1238"/>
                    </a:lnTo>
                    <a:lnTo>
                      <a:pt x="1251" y="1240"/>
                    </a:lnTo>
                    <a:lnTo>
                      <a:pt x="1249" y="1240"/>
                    </a:lnTo>
                    <a:lnTo>
                      <a:pt x="1247" y="1240"/>
                    </a:lnTo>
                    <a:lnTo>
                      <a:pt x="1246" y="1238"/>
                    </a:lnTo>
                    <a:lnTo>
                      <a:pt x="1246" y="1240"/>
                    </a:lnTo>
                    <a:lnTo>
                      <a:pt x="1247" y="1240"/>
                    </a:lnTo>
                    <a:lnTo>
                      <a:pt x="1247" y="1242"/>
                    </a:lnTo>
                    <a:lnTo>
                      <a:pt x="1247" y="1243"/>
                    </a:lnTo>
                    <a:lnTo>
                      <a:pt x="1247" y="1245"/>
                    </a:lnTo>
                    <a:lnTo>
                      <a:pt x="1247" y="1247"/>
                    </a:lnTo>
                    <a:lnTo>
                      <a:pt x="1246" y="1247"/>
                    </a:lnTo>
                    <a:lnTo>
                      <a:pt x="1246" y="1248"/>
                    </a:lnTo>
                    <a:lnTo>
                      <a:pt x="1247" y="1250"/>
                    </a:lnTo>
                    <a:lnTo>
                      <a:pt x="1249" y="1250"/>
                    </a:lnTo>
                    <a:lnTo>
                      <a:pt x="1249" y="1252"/>
                    </a:lnTo>
                    <a:lnTo>
                      <a:pt x="1249" y="1253"/>
                    </a:lnTo>
                    <a:lnTo>
                      <a:pt x="1249" y="1255"/>
                    </a:lnTo>
                    <a:lnTo>
                      <a:pt x="1251" y="1255"/>
                    </a:lnTo>
                    <a:lnTo>
                      <a:pt x="1251" y="1257"/>
                    </a:lnTo>
                    <a:lnTo>
                      <a:pt x="1253" y="1257"/>
                    </a:lnTo>
                    <a:lnTo>
                      <a:pt x="1253" y="1259"/>
                    </a:lnTo>
                    <a:lnTo>
                      <a:pt x="1254" y="1259"/>
                    </a:lnTo>
                    <a:lnTo>
                      <a:pt x="1253" y="1260"/>
                    </a:lnTo>
                    <a:lnTo>
                      <a:pt x="1254" y="1262"/>
                    </a:lnTo>
                    <a:lnTo>
                      <a:pt x="1253" y="1262"/>
                    </a:lnTo>
                    <a:lnTo>
                      <a:pt x="1253" y="1264"/>
                    </a:lnTo>
                    <a:lnTo>
                      <a:pt x="1254" y="1264"/>
                    </a:lnTo>
                    <a:lnTo>
                      <a:pt x="1254" y="1265"/>
                    </a:lnTo>
                    <a:lnTo>
                      <a:pt x="1256" y="1267"/>
                    </a:lnTo>
                    <a:lnTo>
                      <a:pt x="1256" y="1269"/>
                    </a:lnTo>
                    <a:lnTo>
                      <a:pt x="1254" y="1269"/>
                    </a:lnTo>
                    <a:lnTo>
                      <a:pt x="1254" y="1270"/>
                    </a:lnTo>
                    <a:lnTo>
                      <a:pt x="1253" y="1269"/>
                    </a:lnTo>
                    <a:lnTo>
                      <a:pt x="1253" y="1270"/>
                    </a:lnTo>
                    <a:lnTo>
                      <a:pt x="1253" y="1269"/>
                    </a:lnTo>
                    <a:lnTo>
                      <a:pt x="1251" y="1269"/>
                    </a:lnTo>
                    <a:lnTo>
                      <a:pt x="1251" y="1270"/>
                    </a:lnTo>
                    <a:lnTo>
                      <a:pt x="1253" y="1270"/>
                    </a:lnTo>
                    <a:lnTo>
                      <a:pt x="1251" y="1272"/>
                    </a:lnTo>
                    <a:lnTo>
                      <a:pt x="1249" y="1272"/>
                    </a:lnTo>
                    <a:lnTo>
                      <a:pt x="1249" y="1274"/>
                    </a:lnTo>
                    <a:lnTo>
                      <a:pt x="1251" y="1274"/>
                    </a:lnTo>
                    <a:lnTo>
                      <a:pt x="1251" y="1276"/>
                    </a:lnTo>
                    <a:lnTo>
                      <a:pt x="1249" y="1277"/>
                    </a:lnTo>
                    <a:lnTo>
                      <a:pt x="1247" y="1277"/>
                    </a:lnTo>
                    <a:lnTo>
                      <a:pt x="1246" y="1277"/>
                    </a:lnTo>
                    <a:lnTo>
                      <a:pt x="1246" y="1276"/>
                    </a:lnTo>
                    <a:lnTo>
                      <a:pt x="1244" y="1276"/>
                    </a:lnTo>
                    <a:lnTo>
                      <a:pt x="1244" y="1277"/>
                    </a:lnTo>
                    <a:lnTo>
                      <a:pt x="1246" y="1284"/>
                    </a:lnTo>
                    <a:lnTo>
                      <a:pt x="1246" y="1288"/>
                    </a:lnTo>
                    <a:lnTo>
                      <a:pt x="1246" y="1289"/>
                    </a:lnTo>
                    <a:lnTo>
                      <a:pt x="1246" y="1291"/>
                    </a:lnTo>
                    <a:lnTo>
                      <a:pt x="1246" y="1293"/>
                    </a:lnTo>
                    <a:lnTo>
                      <a:pt x="1244" y="1293"/>
                    </a:lnTo>
                    <a:lnTo>
                      <a:pt x="1242" y="1294"/>
                    </a:lnTo>
                    <a:lnTo>
                      <a:pt x="1241" y="1296"/>
                    </a:lnTo>
                    <a:lnTo>
                      <a:pt x="1241" y="1298"/>
                    </a:lnTo>
                    <a:lnTo>
                      <a:pt x="1239" y="1298"/>
                    </a:lnTo>
                    <a:lnTo>
                      <a:pt x="1237" y="1299"/>
                    </a:lnTo>
                    <a:lnTo>
                      <a:pt x="1237" y="1301"/>
                    </a:lnTo>
                    <a:lnTo>
                      <a:pt x="1236" y="1301"/>
                    </a:lnTo>
                    <a:lnTo>
                      <a:pt x="1234" y="1299"/>
                    </a:lnTo>
                    <a:lnTo>
                      <a:pt x="1232" y="1299"/>
                    </a:lnTo>
                    <a:lnTo>
                      <a:pt x="1232" y="1301"/>
                    </a:lnTo>
                    <a:lnTo>
                      <a:pt x="1230" y="1301"/>
                    </a:lnTo>
                    <a:lnTo>
                      <a:pt x="1230" y="1303"/>
                    </a:lnTo>
                    <a:lnTo>
                      <a:pt x="1230" y="1305"/>
                    </a:lnTo>
                    <a:lnTo>
                      <a:pt x="1230" y="1306"/>
                    </a:lnTo>
                    <a:lnTo>
                      <a:pt x="1229" y="1306"/>
                    </a:lnTo>
                    <a:lnTo>
                      <a:pt x="1229" y="1308"/>
                    </a:lnTo>
                    <a:lnTo>
                      <a:pt x="1227" y="1310"/>
                    </a:lnTo>
                    <a:lnTo>
                      <a:pt x="1225" y="1311"/>
                    </a:lnTo>
                    <a:lnTo>
                      <a:pt x="1225" y="1313"/>
                    </a:lnTo>
                    <a:lnTo>
                      <a:pt x="1225" y="1315"/>
                    </a:lnTo>
                    <a:lnTo>
                      <a:pt x="1225" y="1316"/>
                    </a:lnTo>
                    <a:lnTo>
                      <a:pt x="1227" y="1316"/>
                    </a:lnTo>
                    <a:lnTo>
                      <a:pt x="1227" y="1315"/>
                    </a:lnTo>
                    <a:lnTo>
                      <a:pt x="1227" y="1316"/>
                    </a:lnTo>
                    <a:lnTo>
                      <a:pt x="1229" y="1316"/>
                    </a:lnTo>
                    <a:lnTo>
                      <a:pt x="1227" y="1316"/>
                    </a:lnTo>
                    <a:lnTo>
                      <a:pt x="1213" y="1313"/>
                    </a:lnTo>
                    <a:lnTo>
                      <a:pt x="1213" y="1315"/>
                    </a:lnTo>
                    <a:lnTo>
                      <a:pt x="1213" y="1316"/>
                    </a:lnTo>
                    <a:lnTo>
                      <a:pt x="1215" y="1318"/>
                    </a:lnTo>
                    <a:lnTo>
                      <a:pt x="1217" y="1318"/>
                    </a:lnTo>
                    <a:lnTo>
                      <a:pt x="1215" y="1320"/>
                    </a:lnTo>
                    <a:lnTo>
                      <a:pt x="1215" y="1322"/>
                    </a:lnTo>
                    <a:lnTo>
                      <a:pt x="1215" y="1323"/>
                    </a:lnTo>
                    <a:lnTo>
                      <a:pt x="1213" y="1323"/>
                    </a:lnTo>
                    <a:lnTo>
                      <a:pt x="1213" y="1325"/>
                    </a:lnTo>
                    <a:lnTo>
                      <a:pt x="1213" y="1327"/>
                    </a:lnTo>
                    <a:lnTo>
                      <a:pt x="1213" y="1328"/>
                    </a:lnTo>
                    <a:lnTo>
                      <a:pt x="1212" y="1328"/>
                    </a:lnTo>
                    <a:lnTo>
                      <a:pt x="1212" y="1330"/>
                    </a:lnTo>
                    <a:lnTo>
                      <a:pt x="1212" y="1332"/>
                    </a:lnTo>
                    <a:lnTo>
                      <a:pt x="1213" y="1332"/>
                    </a:lnTo>
                    <a:lnTo>
                      <a:pt x="1213" y="1333"/>
                    </a:lnTo>
                    <a:lnTo>
                      <a:pt x="1215" y="1335"/>
                    </a:lnTo>
                    <a:lnTo>
                      <a:pt x="1213" y="1335"/>
                    </a:lnTo>
                    <a:lnTo>
                      <a:pt x="1213" y="1337"/>
                    </a:lnTo>
                    <a:lnTo>
                      <a:pt x="1213" y="1339"/>
                    </a:lnTo>
                    <a:lnTo>
                      <a:pt x="1213" y="1340"/>
                    </a:lnTo>
                    <a:lnTo>
                      <a:pt x="1215" y="1342"/>
                    </a:lnTo>
                    <a:lnTo>
                      <a:pt x="1215" y="1344"/>
                    </a:lnTo>
                    <a:lnTo>
                      <a:pt x="1213" y="1345"/>
                    </a:lnTo>
                    <a:lnTo>
                      <a:pt x="1213" y="1347"/>
                    </a:lnTo>
                    <a:lnTo>
                      <a:pt x="1213" y="1349"/>
                    </a:lnTo>
                    <a:lnTo>
                      <a:pt x="1212" y="1349"/>
                    </a:lnTo>
                    <a:lnTo>
                      <a:pt x="1212" y="1350"/>
                    </a:lnTo>
                    <a:lnTo>
                      <a:pt x="1212" y="1352"/>
                    </a:lnTo>
                    <a:lnTo>
                      <a:pt x="1213" y="1352"/>
                    </a:lnTo>
                    <a:lnTo>
                      <a:pt x="1212" y="1354"/>
                    </a:lnTo>
                    <a:lnTo>
                      <a:pt x="1212" y="1356"/>
                    </a:lnTo>
                    <a:lnTo>
                      <a:pt x="1212" y="1357"/>
                    </a:lnTo>
                    <a:lnTo>
                      <a:pt x="1213" y="1357"/>
                    </a:lnTo>
                    <a:lnTo>
                      <a:pt x="1213" y="1359"/>
                    </a:lnTo>
                    <a:lnTo>
                      <a:pt x="1212" y="1361"/>
                    </a:lnTo>
                    <a:lnTo>
                      <a:pt x="1212" y="1362"/>
                    </a:lnTo>
                    <a:lnTo>
                      <a:pt x="1212" y="1364"/>
                    </a:lnTo>
                    <a:lnTo>
                      <a:pt x="1212" y="1366"/>
                    </a:lnTo>
                    <a:lnTo>
                      <a:pt x="1210" y="1367"/>
                    </a:lnTo>
                    <a:lnTo>
                      <a:pt x="1212" y="1369"/>
                    </a:lnTo>
                    <a:lnTo>
                      <a:pt x="1212" y="1371"/>
                    </a:lnTo>
                    <a:lnTo>
                      <a:pt x="1213" y="1371"/>
                    </a:lnTo>
                    <a:lnTo>
                      <a:pt x="1213" y="1373"/>
                    </a:lnTo>
                    <a:lnTo>
                      <a:pt x="1213" y="1374"/>
                    </a:lnTo>
                    <a:lnTo>
                      <a:pt x="1215" y="1378"/>
                    </a:lnTo>
                    <a:lnTo>
                      <a:pt x="1217" y="1379"/>
                    </a:lnTo>
                    <a:lnTo>
                      <a:pt x="1215" y="1379"/>
                    </a:lnTo>
                    <a:lnTo>
                      <a:pt x="1217" y="1379"/>
                    </a:lnTo>
                    <a:lnTo>
                      <a:pt x="1219" y="1381"/>
                    </a:lnTo>
                    <a:lnTo>
                      <a:pt x="1217" y="1381"/>
                    </a:lnTo>
                    <a:lnTo>
                      <a:pt x="1219" y="1383"/>
                    </a:lnTo>
                    <a:lnTo>
                      <a:pt x="1219" y="1384"/>
                    </a:lnTo>
                    <a:lnTo>
                      <a:pt x="1220" y="1384"/>
                    </a:lnTo>
                    <a:lnTo>
                      <a:pt x="1220" y="1386"/>
                    </a:lnTo>
                    <a:lnTo>
                      <a:pt x="1220" y="1388"/>
                    </a:lnTo>
                    <a:lnTo>
                      <a:pt x="1222" y="1390"/>
                    </a:lnTo>
                    <a:lnTo>
                      <a:pt x="1224" y="1390"/>
                    </a:lnTo>
                    <a:lnTo>
                      <a:pt x="1224" y="1391"/>
                    </a:lnTo>
                    <a:lnTo>
                      <a:pt x="1222" y="1393"/>
                    </a:lnTo>
                    <a:lnTo>
                      <a:pt x="1220" y="1393"/>
                    </a:lnTo>
                    <a:lnTo>
                      <a:pt x="1220" y="1395"/>
                    </a:lnTo>
                    <a:lnTo>
                      <a:pt x="1220" y="1396"/>
                    </a:lnTo>
                    <a:lnTo>
                      <a:pt x="1220" y="1398"/>
                    </a:lnTo>
                    <a:lnTo>
                      <a:pt x="1222" y="1398"/>
                    </a:lnTo>
                    <a:lnTo>
                      <a:pt x="1224" y="1398"/>
                    </a:lnTo>
                    <a:lnTo>
                      <a:pt x="1225" y="1396"/>
                    </a:lnTo>
                    <a:lnTo>
                      <a:pt x="1227" y="1395"/>
                    </a:lnTo>
                    <a:lnTo>
                      <a:pt x="1227" y="1396"/>
                    </a:lnTo>
                    <a:lnTo>
                      <a:pt x="1229" y="1395"/>
                    </a:lnTo>
                    <a:lnTo>
                      <a:pt x="1230" y="1395"/>
                    </a:lnTo>
                    <a:lnTo>
                      <a:pt x="1232" y="1393"/>
                    </a:lnTo>
                    <a:lnTo>
                      <a:pt x="1232" y="1391"/>
                    </a:lnTo>
                    <a:lnTo>
                      <a:pt x="1234" y="1391"/>
                    </a:lnTo>
                    <a:lnTo>
                      <a:pt x="1234" y="1390"/>
                    </a:lnTo>
                    <a:lnTo>
                      <a:pt x="1236" y="1390"/>
                    </a:lnTo>
                    <a:lnTo>
                      <a:pt x="1237" y="1388"/>
                    </a:lnTo>
                    <a:lnTo>
                      <a:pt x="1239" y="1388"/>
                    </a:lnTo>
                    <a:lnTo>
                      <a:pt x="1241" y="1390"/>
                    </a:lnTo>
                    <a:lnTo>
                      <a:pt x="1241" y="1388"/>
                    </a:lnTo>
                    <a:lnTo>
                      <a:pt x="1242" y="1390"/>
                    </a:lnTo>
                    <a:lnTo>
                      <a:pt x="1244" y="1391"/>
                    </a:lnTo>
                    <a:lnTo>
                      <a:pt x="1244" y="1390"/>
                    </a:lnTo>
                    <a:lnTo>
                      <a:pt x="1244" y="1388"/>
                    </a:lnTo>
                    <a:lnTo>
                      <a:pt x="1246" y="1388"/>
                    </a:lnTo>
                    <a:lnTo>
                      <a:pt x="1247" y="1386"/>
                    </a:lnTo>
                    <a:lnTo>
                      <a:pt x="1249" y="1388"/>
                    </a:lnTo>
                    <a:lnTo>
                      <a:pt x="1251" y="1388"/>
                    </a:lnTo>
                    <a:lnTo>
                      <a:pt x="1253" y="1388"/>
                    </a:lnTo>
                    <a:lnTo>
                      <a:pt x="1253" y="1390"/>
                    </a:lnTo>
                    <a:lnTo>
                      <a:pt x="1254" y="1390"/>
                    </a:lnTo>
                    <a:lnTo>
                      <a:pt x="1254" y="1391"/>
                    </a:lnTo>
                    <a:lnTo>
                      <a:pt x="1253" y="1393"/>
                    </a:lnTo>
                    <a:lnTo>
                      <a:pt x="1253" y="1395"/>
                    </a:lnTo>
                    <a:lnTo>
                      <a:pt x="1253" y="1396"/>
                    </a:lnTo>
                    <a:lnTo>
                      <a:pt x="1254" y="1396"/>
                    </a:lnTo>
                    <a:lnTo>
                      <a:pt x="1254" y="1398"/>
                    </a:lnTo>
                    <a:lnTo>
                      <a:pt x="1254" y="1400"/>
                    </a:lnTo>
                    <a:lnTo>
                      <a:pt x="1256" y="1401"/>
                    </a:lnTo>
                    <a:lnTo>
                      <a:pt x="1256" y="1403"/>
                    </a:lnTo>
                    <a:lnTo>
                      <a:pt x="1254" y="1405"/>
                    </a:lnTo>
                    <a:lnTo>
                      <a:pt x="1254" y="1407"/>
                    </a:lnTo>
                    <a:lnTo>
                      <a:pt x="1254" y="1408"/>
                    </a:lnTo>
                    <a:lnTo>
                      <a:pt x="1254" y="1410"/>
                    </a:lnTo>
                    <a:lnTo>
                      <a:pt x="1253" y="1410"/>
                    </a:lnTo>
                    <a:lnTo>
                      <a:pt x="1253" y="1408"/>
                    </a:lnTo>
                    <a:lnTo>
                      <a:pt x="1251" y="1408"/>
                    </a:lnTo>
                    <a:lnTo>
                      <a:pt x="1251" y="1410"/>
                    </a:lnTo>
                    <a:lnTo>
                      <a:pt x="1251" y="1412"/>
                    </a:lnTo>
                    <a:lnTo>
                      <a:pt x="1249" y="1413"/>
                    </a:lnTo>
                    <a:lnTo>
                      <a:pt x="1251" y="1413"/>
                    </a:lnTo>
                    <a:lnTo>
                      <a:pt x="1251" y="1415"/>
                    </a:lnTo>
                    <a:lnTo>
                      <a:pt x="1251" y="1417"/>
                    </a:lnTo>
                    <a:lnTo>
                      <a:pt x="1253" y="1418"/>
                    </a:lnTo>
                    <a:lnTo>
                      <a:pt x="1254" y="1418"/>
                    </a:lnTo>
                    <a:lnTo>
                      <a:pt x="1254" y="1420"/>
                    </a:lnTo>
                    <a:lnTo>
                      <a:pt x="1254" y="1422"/>
                    </a:lnTo>
                    <a:lnTo>
                      <a:pt x="1254" y="1424"/>
                    </a:lnTo>
                    <a:lnTo>
                      <a:pt x="1253" y="1424"/>
                    </a:lnTo>
                    <a:lnTo>
                      <a:pt x="1253" y="1425"/>
                    </a:lnTo>
                    <a:lnTo>
                      <a:pt x="1251" y="1425"/>
                    </a:lnTo>
                    <a:lnTo>
                      <a:pt x="1253" y="1427"/>
                    </a:lnTo>
                    <a:lnTo>
                      <a:pt x="1253" y="1429"/>
                    </a:lnTo>
                    <a:lnTo>
                      <a:pt x="1253" y="1430"/>
                    </a:lnTo>
                    <a:lnTo>
                      <a:pt x="1253" y="1432"/>
                    </a:lnTo>
                    <a:lnTo>
                      <a:pt x="1253" y="1434"/>
                    </a:lnTo>
                    <a:lnTo>
                      <a:pt x="1253" y="1435"/>
                    </a:lnTo>
                    <a:lnTo>
                      <a:pt x="1251" y="1435"/>
                    </a:lnTo>
                    <a:lnTo>
                      <a:pt x="1249" y="1435"/>
                    </a:lnTo>
                    <a:lnTo>
                      <a:pt x="1251" y="1435"/>
                    </a:lnTo>
                    <a:lnTo>
                      <a:pt x="1249" y="1437"/>
                    </a:lnTo>
                    <a:lnTo>
                      <a:pt x="1249" y="1439"/>
                    </a:lnTo>
                    <a:lnTo>
                      <a:pt x="1251" y="1439"/>
                    </a:lnTo>
                    <a:lnTo>
                      <a:pt x="1253" y="1439"/>
                    </a:lnTo>
                    <a:lnTo>
                      <a:pt x="1253" y="1441"/>
                    </a:lnTo>
                    <a:lnTo>
                      <a:pt x="1254" y="1442"/>
                    </a:lnTo>
                    <a:lnTo>
                      <a:pt x="1254" y="1444"/>
                    </a:lnTo>
                    <a:lnTo>
                      <a:pt x="1254" y="1446"/>
                    </a:lnTo>
                    <a:lnTo>
                      <a:pt x="1256" y="1446"/>
                    </a:lnTo>
                    <a:lnTo>
                      <a:pt x="1258" y="1446"/>
                    </a:lnTo>
                    <a:lnTo>
                      <a:pt x="1258" y="1447"/>
                    </a:lnTo>
                    <a:lnTo>
                      <a:pt x="1259" y="1447"/>
                    </a:lnTo>
                    <a:lnTo>
                      <a:pt x="1259" y="1449"/>
                    </a:lnTo>
                    <a:lnTo>
                      <a:pt x="1261" y="1449"/>
                    </a:lnTo>
                    <a:lnTo>
                      <a:pt x="1261" y="1451"/>
                    </a:lnTo>
                    <a:lnTo>
                      <a:pt x="1263" y="1451"/>
                    </a:lnTo>
                    <a:lnTo>
                      <a:pt x="1263" y="1453"/>
                    </a:lnTo>
                    <a:lnTo>
                      <a:pt x="1264" y="1453"/>
                    </a:lnTo>
                    <a:lnTo>
                      <a:pt x="1264" y="1454"/>
                    </a:lnTo>
                    <a:lnTo>
                      <a:pt x="1266" y="1456"/>
                    </a:lnTo>
                    <a:lnTo>
                      <a:pt x="1266" y="1458"/>
                    </a:lnTo>
                    <a:lnTo>
                      <a:pt x="1264" y="1458"/>
                    </a:lnTo>
                    <a:lnTo>
                      <a:pt x="1264" y="1459"/>
                    </a:lnTo>
                    <a:lnTo>
                      <a:pt x="1263" y="1459"/>
                    </a:lnTo>
                    <a:lnTo>
                      <a:pt x="1263" y="1461"/>
                    </a:lnTo>
                    <a:lnTo>
                      <a:pt x="1264" y="1461"/>
                    </a:lnTo>
                    <a:lnTo>
                      <a:pt x="1266" y="1461"/>
                    </a:lnTo>
                    <a:lnTo>
                      <a:pt x="1266" y="1463"/>
                    </a:lnTo>
                    <a:lnTo>
                      <a:pt x="1275" y="1461"/>
                    </a:lnTo>
                    <a:lnTo>
                      <a:pt x="1283" y="1461"/>
                    </a:lnTo>
                    <a:lnTo>
                      <a:pt x="1285" y="1461"/>
                    </a:lnTo>
                    <a:lnTo>
                      <a:pt x="1288" y="1463"/>
                    </a:lnTo>
                    <a:lnTo>
                      <a:pt x="1302" y="1461"/>
                    </a:lnTo>
                    <a:lnTo>
                      <a:pt x="1309" y="1463"/>
                    </a:lnTo>
                    <a:lnTo>
                      <a:pt x="1314" y="1461"/>
                    </a:lnTo>
                    <a:lnTo>
                      <a:pt x="1319" y="1463"/>
                    </a:lnTo>
                    <a:lnTo>
                      <a:pt x="1331" y="1461"/>
                    </a:lnTo>
                    <a:lnTo>
                      <a:pt x="1334" y="1463"/>
                    </a:lnTo>
                    <a:lnTo>
                      <a:pt x="1336" y="1464"/>
                    </a:lnTo>
                    <a:lnTo>
                      <a:pt x="1338" y="1466"/>
                    </a:lnTo>
                    <a:lnTo>
                      <a:pt x="1341" y="1466"/>
                    </a:lnTo>
                    <a:lnTo>
                      <a:pt x="1344" y="1468"/>
                    </a:lnTo>
                    <a:lnTo>
                      <a:pt x="1348" y="1470"/>
                    </a:lnTo>
                    <a:lnTo>
                      <a:pt x="1349" y="1470"/>
                    </a:lnTo>
                    <a:lnTo>
                      <a:pt x="1351" y="1471"/>
                    </a:lnTo>
                    <a:lnTo>
                      <a:pt x="1355" y="1471"/>
                    </a:lnTo>
                    <a:lnTo>
                      <a:pt x="1358" y="1471"/>
                    </a:lnTo>
                    <a:lnTo>
                      <a:pt x="1360" y="1471"/>
                    </a:lnTo>
                    <a:lnTo>
                      <a:pt x="1361" y="1473"/>
                    </a:lnTo>
                    <a:lnTo>
                      <a:pt x="1363" y="1473"/>
                    </a:lnTo>
                    <a:lnTo>
                      <a:pt x="1365" y="1473"/>
                    </a:lnTo>
                    <a:lnTo>
                      <a:pt x="1366" y="1475"/>
                    </a:lnTo>
                    <a:lnTo>
                      <a:pt x="1368" y="1475"/>
                    </a:lnTo>
                    <a:lnTo>
                      <a:pt x="1372" y="1476"/>
                    </a:lnTo>
                    <a:lnTo>
                      <a:pt x="1373" y="1476"/>
                    </a:lnTo>
                    <a:lnTo>
                      <a:pt x="1373" y="1478"/>
                    </a:lnTo>
                    <a:lnTo>
                      <a:pt x="1375" y="1478"/>
                    </a:lnTo>
                    <a:lnTo>
                      <a:pt x="1377" y="1478"/>
                    </a:lnTo>
                    <a:lnTo>
                      <a:pt x="1378" y="1478"/>
                    </a:lnTo>
                    <a:lnTo>
                      <a:pt x="1378" y="1480"/>
                    </a:lnTo>
                    <a:lnTo>
                      <a:pt x="1380" y="1480"/>
                    </a:lnTo>
                    <a:lnTo>
                      <a:pt x="1382" y="1480"/>
                    </a:lnTo>
                    <a:lnTo>
                      <a:pt x="1383" y="1480"/>
                    </a:lnTo>
                    <a:lnTo>
                      <a:pt x="1385" y="1480"/>
                    </a:lnTo>
                    <a:lnTo>
                      <a:pt x="1385" y="1481"/>
                    </a:lnTo>
                    <a:lnTo>
                      <a:pt x="1385" y="1483"/>
                    </a:lnTo>
                    <a:lnTo>
                      <a:pt x="1383" y="1483"/>
                    </a:lnTo>
                    <a:lnTo>
                      <a:pt x="1383" y="1481"/>
                    </a:lnTo>
                    <a:lnTo>
                      <a:pt x="1382" y="1481"/>
                    </a:lnTo>
                    <a:lnTo>
                      <a:pt x="1382" y="1480"/>
                    </a:lnTo>
                    <a:lnTo>
                      <a:pt x="1380" y="1481"/>
                    </a:lnTo>
                    <a:lnTo>
                      <a:pt x="1378" y="1480"/>
                    </a:lnTo>
                    <a:lnTo>
                      <a:pt x="1377" y="1480"/>
                    </a:lnTo>
                    <a:lnTo>
                      <a:pt x="1375" y="1480"/>
                    </a:lnTo>
                    <a:lnTo>
                      <a:pt x="1373" y="1480"/>
                    </a:lnTo>
                    <a:lnTo>
                      <a:pt x="1373" y="1478"/>
                    </a:lnTo>
                    <a:lnTo>
                      <a:pt x="1372" y="1480"/>
                    </a:lnTo>
                    <a:lnTo>
                      <a:pt x="1372" y="1478"/>
                    </a:lnTo>
                    <a:lnTo>
                      <a:pt x="1370" y="1480"/>
                    </a:lnTo>
                    <a:lnTo>
                      <a:pt x="1368" y="1478"/>
                    </a:lnTo>
                    <a:lnTo>
                      <a:pt x="1366" y="1478"/>
                    </a:lnTo>
                    <a:lnTo>
                      <a:pt x="1365" y="1476"/>
                    </a:lnTo>
                    <a:lnTo>
                      <a:pt x="1363" y="1475"/>
                    </a:lnTo>
                    <a:lnTo>
                      <a:pt x="1361" y="1475"/>
                    </a:lnTo>
                    <a:lnTo>
                      <a:pt x="1361" y="1473"/>
                    </a:lnTo>
                    <a:lnTo>
                      <a:pt x="1360" y="1473"/>
                    </a:lnTo>
                    <a:lnTo>
                      <a:pt x="1358" y="1473"/>
                    </a:lnTo>
                    <a:lnTo>
                      <a:pt x="1356" y="1473"/>
                    </a:lnTo>
                    <a:lnTo>
                      <a:pt x="1356" y="1475"/>
                    </a:lnTo>
                    <a:lnTo>
                      <a:pt x="1355" y="1475"/>
                    </a:lnTo>
                    <a:lnTo>
                      <a:pt x="1353" y="1475"/>
                    </a:lnTo>
                    <a:lnTo>
                      <a:pt x="1353" y="1476"/>
                    </a:lnTo>
                    <a:lnTo>
                      <a:pt x="1351" y="1476"/>
                    </a:lnTo>
                    <a:lnTo>
                      <a:pt x="1349" y="1476"/>
                    </a:lnTo>
                    <a:lnTo>
                      <a:pt x="1349" y="1478"/>
                    </a:lnTo>
                    <a:lnTo>
                      <a:pt x="1349" y="1480"/>
                    </a:lnTo>
                    <a:lnTo>
                      <a:pt x="1348" y="1480"/>
                    </a:lnTo>
                    <a:lnTo>
                      <a:pt x="1349" y="1481"/>
                    </a:lnTo>
                    <a:lnTo>
                      <a:pt x="1348" y="1481"/>
                    </a:lnTo>
                    <a:lnTo>
                      <a:pt x="1349" y="1483"/>
                    </a:lnTo>
                    <a:lnTo>
                      <a:pt x="1348" y="1483"/>
                    </a:lnTo>
                    <a:lnTo>
                      <a:pt x="1346" y="1485"/>
                    </a:lnTo>
                    <a:lnTo>
                      <a:pt x="1346" y="1487"/>
                    </a:lnTo>
                    <a:lnTo>
                      <a:pt x="1346" y="1488"/>
                    </a:lnTo>
                    <a:lnTo>
                      <a:pt x="1344" y="1488"/>
                    </a:lnTo>
                    <a:lnTo>
                      <a:pt x="1344" y="1490"/>
                    </a:lnTo>
                    <a:lnTo>
                      <a:pt x="1343" y="1492"/>
                    </a:lnTo>
                    <a:lnTo>
                      <a:pt x="1341" y="1492"/>
                    </a:lnTo>
                    <a:lnTo>
                      <a:pt x="1339" y="1492"/>
                    </a:lnTo>
                    <a:lnTo>
                      <a:pt x="1338" y="1490"/>
                    </a:lnTo>
                    <a:lnTo>
                      <a:pt x="1338" y="1488"/>
                    </a:lnTo>
                    <a:lnTo>
                      <a:pt x="1336" y="1488"/>
                    </a:lnTo>
                    <a:lnTo>
                      <a:pt x="1336" y="1490"/>
                    </a:lnTo>
                    <a:lnTo>
                      <a:pt x="1334" y="1490"/>
                    </a:lnTo>
                    <a:lnTo>
                      <a:pt x="1332" y="1492"/>
                    </a:lnTo>
                    <a:lnTo>
                      <a:pt x="1331" y="1492"/>
                    </a:lnTo>
                    <a:lnTo>
                      <a:pt x="1331" y="1493"/>
                    </a:lnTo>
                    <a:lnTo>
                      <a:pt x="1329" y="1493"/>
                    </a:lnTo>
                    <a:lnTo>
                      <a:pt x="1327" y="1493"/>
                    </a:lnTo>
                    <a:lnTo>
                      <a:pt x="1326" y="1495"/>
                    </a:lnTo>
                    <a:lnTo>
                      <a:pt x="1324" y="1495"/>
                    </a:lnTo>
                    <a:lnTo>
                      <a:pt x="1324" y="1497"/>
                    </a:lnTo>
                    <a:lnTo>
                      <a:pt x="1324" y="1498"/>
                    </a:lnTo>
                    <a:lnTo>
                      <a:pt x="1324" y="1497"/>
                    </a:lnTo>
                    <a:lnTo>
                      <a:pt x="1322" y="1497"/>
                    </a:lnTo>
                    <a:lnTo>
                      <a:pt x="1321" y="1497"/>
                    </a:lnTo>
                    <a:lnTo>
                      <a:pt x="1321" y="1498"/>
                    </a:lnTo>
                    <a:lnTo>
                      <a:pt x="1319" y="1498"/>
                    </a:lnTo>
                    <a:lnTo>
                      <a:pt x="1317" y="1500"/>
                    </a:lnTo>
                    <a:lnTo>
                      <a:pt x="1315" y="1500"/>
                    </a:lnTo>
                    <a:lnTo>
                      <a:pt x="1314" y="1502"/>
                    </a:lnTo>
                    <a:lnTo>
                      <a:pt x="1312" y="1502"/>
                    </a:lnTo>
                    <a:lnTo>
                      <a:pt x="1312" y="1500"/>
                    </a:lnTo>
                    <a:lnTo>
                      <a:pt x="1314" y="1500"/>
                    </a:lnTo>
                    <a:lnTo>
                      <a:pt x="1314" y="1498"/>
                    </a:lnTo>
                    <a:lnTo>
                      <a:pt x="1312" y="1498"/>
                    </a:lnTo>
                    <a:lnTo>
                      <a:pt x="1312" y="1500"/>
                    </a:lnTo>
                    <a:lnTo>
                      <a:pt x="1310" y="1502"/>
                    </a:lnTo>
                    <a:lnTo>
                      <a:pt x="1310" y="1500"/>
                    </a:lnTo>
                    <a:lnTo>
                      <a:pt x="1309" y="1502"/>
                    </a:lnTo>
                    <a:lnTo>
                      <a:pt x="1307" y="1502"/>
                    </a:lnTo>
                    <a:lnTo>
                      <a:pt x="1309" y="1504"/>
                    </a:lnTo>
                    <a:lnTo>
                      <a:pt x="1307" y="1504"/>
                    </a:lnTo>
                    <a:lnTo>
                      <a:pt x="1307" y="1502"/>
                    </a:lnTo>
                    <a:lnTo>
                      <a:pt x="1305" y="1502"/>
                    </a:lnTo>
                    <a:lnTo>
                      <a:pt x="1305" y="1504"/>
                    </a:lnTo>
                    <a:lnTo>
                      <a:pt x="1304" y="1504"/>
                    </a:lnTo>
                    <a:lnTo>
                      <a:pt x="1304" y="1502"/>
                    </a:lnTo>
                    <a:lnTo>
                      <a:pt x="1302" y="1502"/>
                    </a:lnTo>
                    <a:lnTo>
                      <a:pt x="1304" y="1502"/>
                    </a:lnTo>
                    <a:lnTo>
                      <a:pt x="1302" y="1502"/>
                    </a:lnTo>
                    <a:lnTo>
                      <a:pt x="1302" y="1504"/>
                    </a:lnTo>
                    <a:lnTo>
                      <a:pt x="1304" y="1504"/>
                    </a:lnTo>
                    <a:lnTo>
                      <a:pt x="1305" y="1504"/>
                    </a:lnTo>
                    <a:lnTo>
                      <a:pt x="1304" y="1505"/>
                    </a:lnTo>
                    <a:lnTo>
                      <a:pt x="1305" y="1505"/>
                    </a:lnTo>
                    <a:lnTo>
                      <a:pt x="1307" y="1505"/>
                    </a:lnTo>
                    <a:lnTo>
                      <a:pt x="1305" y="1507"/>
                    </a:lnTo>
                    <a:lnTo>
                      <a:pt x="1304" y="1507"/>
                    </a:lnTo>
                    <a:lnTo>
                      <a:pt x="1304" y="1509"/>
                    </a:lnTo>
                    <a:lnTo>
                      <a:pt x="1304" y="1507"/>
                    </a:lnTo>
                    <a:lnTo>
                      <a:pt x="1304" y="1509"/>
                    </a:lnTo>
                    <a:lnTo>
                      <a:pt x="1304" y="1510"/>
                    </a:lnTo>
                    <a:lnTo>
                      <a:pt x="1304" y="1512"/>
                    </a:lnTo>
                    <a:lnTo>
                      <a:pt x="1302" y="1512"/>
                    </a:lnTo>
                    <a:lnTo>
                      <a:pt x="1302" y="1514"/>
                    </a:lnTo>
                    <a:lnTo>
                      <a:pt x="1304" y="1514"/>
                    </a:lnTo>
                    <a:lnTo>
                      <a:pt x="1305" y="1514"/>
                    </a:lnTo>
                    <a:lnTo>
                      <a:pt x="1304" y="1515"/>
                    </a:lnTo>
                    <a:lnTo>
                      <a:pt x="1304" y="1517"/>
                    </a:lnTo>
                    <a:lnTo>
                      <a:pt x="1304" y="1519"/>
                    </a:lnTo>
                    <a:lnTo>
                      <a:pt x="1304" y="1521"/>
                    </a:lnTo>
                    <a:lnTo>
                      <a:pt x="1302" y="1521"/>
                    </a:lnTo>
                    <a:lnTo>
                      <a:pt x="1302" y="1522"/>
                    </a:lnTo>
                    <a:lnTo>
                      <a:pt x="1302" y="1524"/>
                    </a:lnTo>
                    <a:lnTo>
                      <a:pt x="1302" y="1526"/>
                    </a:lnTo>
                    <a:lnTo>
                      <a:pt x="1302" y="1527"/>
                    </a:lnTo>
                    <a:lnTo>
                      <a:pt x="1300" y="1527"/>
                    </a:lnTo>
                    <a:lnTo>
                      <a:pt x="1300" y="1529"/>
                    </a:lnTo>
                    <a:lnTo>
                      <a:pt x="1300" y="1531"/>
                    </a:lnTo>
                    <a:lnTo>
                      <a:pt x="1298" y="1532"/>
                    </a:lnTo>
                    <a:lnTo>
                      <a:pt x="1300" y="1532"/>
                    </a:lnTo>
                    <a:lnTo>
                      <a:pt x="1300" y="1534"/>
                    </a:lnTo>
                    <a:lnTo>
                      <a:pt x="1300" y="1536"/>
                    </a:lnTo>
                    <a:lnTo>
                      <a:pt x="1298" y="1538"/>
                    </a:lnTo>
                    <a:lnTo>
                      <a:pt x="1298" y="1539"/>
                    </a:lnTo>
                    <a:lnTo>
                      <a:pt x="1298" y="1541"/>
                    </a:lnTo>
                    <a:lnTo>
                      <a:pt x="1298" y="1543"/>
                    </a:lnTo>
                    <a:lnTo>
                      <a:pt x="1298" y="1544"/>
                    </a:lnTo>
                    <a:lnTo>
                      <a:pt x="1298" y="1546"/>
                    </a:lnTo>
                    <a:lnTo>
                      <a:pt x="1300" y="1548"/>
                    </a:lnTo>
                    <a:lnTo>
                      <a:pt x="1300" y="1549"/>
                    </a:lnTo>
                    <a:lnTo>
                      <a:pt x="1300" y="1551"/>
                    </a:lnTo>
                    <a:lnTo>
                      <a:pt x="1300" y="1553"/>
                    </a:lnTo>
                    <a:lnTo>
                      <a:pt x="1298" y="1553"/>
                    </a:lnTo>
                    <a:lnTo>
                      <a:pt x="1300" y="1555"/>
                    </a:lnTo>
                    <a:lnTo>
                      <a:pt x="1298" y="1556"/>
                    </a:lnTo>
                    <a:lnTo>
                      <a:pt x="1298" y="1558"/>
                    </a:lnTo>
                    <a:lnTo>
                      <a:pt x="1298" y="1560"/>
                    </a:lnTo>
                    <a:lnTo>
                      <a:pt x="1298" y="1561"/>
                    </a:lnTo>
                    <a:lnTo>
                      <a:pt x="1297" y="1561"/>
                    </a:lnTo>
                    <a:lnTo>
                      <a:pt x="1297" y="1563"/>
                    </a:lnTo>
                    <a:lnTo>
                      <a:pt x="1295" y="1565"/>
                    </a:lnTo>
                    <a:lnTo>
                      <a:pt x="1295" y="1563"/>
                    </a:lnTo>
                    <a:lnTo>
                      <a:pt x="1295" y="1565"/>
                    </a:lnTo>
                    <a:lnTo>
                      <a:pt x="1293" y="1565"/>
                    </a:lnTo>
                    <a:lnTo>
                      <a:pt x="1292" y="1566"/>
                    </a:lnTo>
                    <a:lnTo>
                      <a:pt x="1290" y="1566"/>
                    </a:lnTo>
                    <a:lnTo>
                      <a:pt x="1290" y="1568"/>
                    </a:lnTo>
                    <a:lnTo>
                      <a:pt x="1288" y="1568"/>
                    </a:lnTo>
                    <a:lnTo>
                      <a:pt x="1287" y="1568"/>
                    </a:lnTo>
                    <a:lnTo>
                      <a:pt x="1287" y="1566"/>
                    </a:lnTo>
                    <a:lnTo>
                      <a:pt x="1285" y="1566"/>
                    </a:lnTo>
                    <a:lnTo>
                      <a:pt x="1283" y="1565"/>
                    </a:lnTo>
                    <a:lnTo>
                      <a:pt x="1281" y="1565"/>
                    </a:lnTo>
                    <a:lnTo>
                      <a:pt x="1280" y="1565"/>
                    </a:lnTo>
                    <a:lnTo>
                      <a:pt x="1280" y="1563"/>
                    </a:lnTo>
                    <a:lnTo>
                      <a:pt x="1278" y="1563"/>
                    </a:lnTo>
                    <a:lnTo>
                      <a:pt x="1276" y="1563"/>
                    </a:lnTo>
                    <a:lnTo>
                      <a:pt x="1275" y="1563"/>
                    </a:lnTo>
                    <a:lnTo>
                      <a:pt x="1273" y="1563"/>
                    </a:lnTo>
                    <a:lnTo>
                      <a:pt x="1273" y="1561"/>
                    </a:lnTo>
                    <a:lnTo>
                      <a:pt x="1271" y="1561"/>
                    </a:lnTo>
                    <a:lnTo>
                      <a:pt x="1271" y="1560"/>
                    </a:lnTo>
                    <a:lnTo>
                      <a:pt x="1270" y="1560"/>
                    </a:lnTo>
                    <a:lnTo>
                      <a:pt x="1268" y="1560"/>
                    </a:lnTo>
                    <a:lnTo>
                      <a:pt x="1268" y="1558"/>
                    </a:lnTo>
                    <a:lnTo>
                      <a:pt x="1266" y="1556"/>
                    </a:lnTo>
                    <a:lnTo>
                      <a:pt x="1268" y="1556"/>
                    </a:lnTo>
                    <a:lnTo>
                      <a:pt x="1266" y="1556"/>
                    </a:lnTo>
                    <a:lnTo>
                      <a:pt x="1266" y="1558"/>
                    </a:lnTo>
                    <a:lnTo>
                      <a:pt x="1264" y="1558"/>
                    </a:lnTo>
                    <a:lnTo>
                      <a:pt x="1264" y="1556"/>
                    </a:lnTo>
                    <a:lnTo>
                      <a:pt x="1263" y="1556"/>
                    </a:lnTo>
                    <a:lnTo>
                      <a:pt x="1263" y="1558"/>
                    </a:lnTo>
                    <a:lnTo>
                      <a:pt x="1263" y="1556"/>
                    </a:lnTo>
                    <a:lnTo>
                      <a:pt x="1261" y="1556"/>
                    </a:lnTo>
                    <a:lnTo>
                      <a:pt x="1259" y="1556"/>
                    </a:lnTo>
                    <a:lnTo>
                      <a:pt x="1259" y="1555"/>
                    </a:lnTo>
                    <a:lnTo>
                      <a:pt x="1258" y="1555"/>
                    </a:lnTo>
                    <a:lnTo>
                      <a:pt x="1258" y="1553"/>
                    </a:lnTo>
                    <a:lnTo>
                      <a:pt x="1256" y="1553"/>
                    </a:lnTo>
                    <a:lnTo>
                      <a:pt x="1256" y="1551"/>
                    </a:lnTo>
                    <a:lnTo>
                      <a:pt x="1254" y="1551"/>
                    </a:lnTo>
                    <a:lnTo>
                      <a:pt x="1254" y="1549"/>
                    </a:lnTo>
                    <a:lnTo>
                      <a:pt x="1253" y="1549"/>
                    </a:lnTo>
                    <a:lnTo>
                      <a:pt x="1253" y="1548"/>
                    </a:lnTo>
                    <a:lnTo>
                      <a:pt x="1251" y="1546"/>
                    </a:lnTo>
                    <a:lnTo>
                      <a:pt x="1251" y="1544"/>
                    </a:lnTo>
                    <a:lnTo>
                      <a:pt x="1251" y="1546"/>
                    </a:lnTo>
                    <a:lnTo>
                      <a:pt x="1249" y="1544"/>
                    </a:lnTo>
                    <a:lnTo>
                      <a:pt x="1249" y="1543"/>
                    </a:lnTo>
                    <a:lnTo>
                      <a:pt x="1249" y="1541"/>
                    </a:lnTo>
                    <a:lnTo>
                      <a:pt x="1247" y="1541"/>
                    </a:lnTo>
                    <a:lnTo>
                      <a:pt x="1247" y="1539"/>
                    </a:lnTo>
                    <a:lnTo>
                      <a:pt x="1247" y="1538"/>
                    </a:lnTo>
                    <a:lnTo>
                      <a:pt x="1249" y="1539"/>
                    </a:lnTo>
                    <a:lnTo>
                      <a:pt x="1249" y="1538"/>
                    </a:lnTo>
                    <a:lnTo>
                      <a:pt x="1249" y="1536"/>
                    </a:lnTo>
                    <a:lnTo>
                      <a:pt x="1249" y="1534"/>
                    </a:lnTo>
                    <a:lnTo>
                      <a:pt x="1251" y="1534"/>
                    </a:lnTo>
                    <a:lnTo>
                      <a:pt x="1251" y="1532"/>
                    </a:lnTo>
                    <a:lnTo>
                      <a:pt x="1253" y="1532"/>
                    </a:lnTo>
                    <a:lnTo>
                      <a:pt x="1254" y="1531"/>
                    </a:lnTo>
                    <a:lnTo>
                      <a:pt x="1256" y="1532"/>
                    </a:lnTo>
                    <a:lnTo>
                      <a:pt x="1258" y="1532"/>
                    </a:lnTo>
                    <a:lnTo>
                      <a:pt x="1259" y="1532"/>
                    </a:lnTo>
                    <a:lnTo>
                      <a:pt x="1259" y="1531"/>
                    </a:lnTo>
                    <a:lnTo>
                      <a:pt x="1259" y="1532"/>
                    </a:lnTo>
                    <a:lnTo>
                      <a:pt x="1259" y="1534"/>
                    </a:lnTo>
                    <a:lnTo>
                      <a:pt x="1261" y="1534"/>
                    </a:lnTo>
                    <a:lnTo>
                      <a:pt x="1259" y="1536"/>
                    </a:lnTo>
                    <a:lnTo>
                      <a:pt x="1261" y="1536"/>
                    </a:lnTo>
                    <a:lnTo>
                      <a:pt x="1261" y="1538"/>
                    </a:lnTo>
                    <a:lnTo>
                      <a:pt x="1259" y="1539"/>
                    </a:lnTo>
                    <a:lnTo>
                      <a:pt x="1259" y="1541"/>
                    </a:lnTo>
                    <a:lnTo>
                      <a:pt x="1258" y="1541"/>
                    </a:lnTo>
                    <a:lnTo>
                      <a:pt x="1256" y="1543"/>
                    </a:lnTo>
                    <a:lnTo>
                      <a:pt x="1254" y="1541"/>
                    </a:lnTo>
                    <a:lnTo>
                      <a:pt x="1256" y="1543"/>
                    </a:lnTo>
                    <a:lnTo>
                      <a:pt x="1258" y="1543"/>
                    </a:lnTo>
                    <a:lnTo>
                      <a:pt x="1259" y="1541"/>
                    </a:lnTo>
                    <a:lnTo>
                      <a:pt x="1261" y="1541"/>
                    </a:lnTo>
                    <a:lnTo>
                      <a:pt x="1261" y="1539"/>
                    </a:lnTo>
                    <a:lnTo>
                      <a:pt x="1263" y="1539"/>
                    </a:lnTo>
                    <a:lnTo>
                      <a:pt x="1263" y="1538"/>
                    </a:lnTo>
                    <a:lnTo>
                      <a:pt x="1263" y="1536"/>
                    </a:lnTo>
                    <a:lnTo>
                      <a:pt x="1263" y="1534"/>
                    </a:lnTo>
                    <a:lnTo>
                      <a:pt x="1263" y="1532"/>
                    </a:lnTo>
                    <a:lnTo>
                      <a:pt x="1263" y="1531"/>
                    </a:lnTo>
                    <a:lnTo>
                      <a:pt x="1264" y="1531"/>
                    </a:lnTo>
                    <a:lnTo>
                      <a:pt x="1266" y="1531"/>
                    </a:lnTo>
                    <a:lnTo>
                      <a:pt x="1268" y="1531"/>
                    </a:lnTo>
                    <a:lnTo>
                      <a:pt x="1270" y="1531"/>
                    </a:lnTo>
                    <a:lnTo>
                      <a:pt x="1270" y="1532"/>
                    </a:lnTo>
                    <a:lnTo>
                      <a:pt x="1270" y="1534"/>
                    </a:lnTo>
                    <a:lnTo>
                      <a:pt x="1270" y="1536"/>
                    </a:lnTo>
                    <a:lnTo>
                      <a:pt x="1270" y="1538"/>
                    </a:lnTo>
                    <a:lnTo>
                      <a:pt x="1270" y="1539"/>
                    </a:lnTo>
                    <a:lnTo>
                      <a:pt x="1271" y="1541"/>
                    </a:lnTo>
                    <a:lnTo>
                      <a:pt x="1271" y="1543"/>
                    </a:lnTo>
                    <a:lnTo>
                      <a:pt x="1271" y="1541"/>
                    </a:lnTo>
                    <a:lnTo>
                      <a:pt x="1270" y="1543"/>
                    </a:lnTo>
                    <a:lnTo>
                      <a:pt x="1270" y="1544"/>
                    </a:lnTo>
                    <a:lnTo>
                      <a:pt x="1268" y="1544"/>
                    </a:lnTo>
                    <a:lnTo>
                      <a:pt x="1266" y="1546"/>
                    </a:lnTo>
                    <a:lnTo>
                      <a:pt x="1264" y="1546"/>
                    </a:lnTo>
                    <a:lnTo>
                      <a:pt x="1264" y="1548"/>
                    </a:lnTo>
                    <a:lnTo>
                      <a:pt x="1263" y="1548"/>
                    </a:lnTo>
                    <a:lnTo>
                      <a:pt x="1261" y="1548"/>
                    </a:lnTo>
                    <a:lnTo>
                      <a:pt x="1263" y="1548"/>
                    </a:lnTo>
                    <a:lnTo>
                      <a:pt x="1264" y="1549"/>
                    </a:lnTo>
                    <a:lnTo>
                      <a:pt x="1266" y="1548"/>
                    </a:lnTo>
                    <a:lnTo>
                      <a:pt x="1268" y="1548"/>
                    </a:lnTo>
                    <a:lnTo>
                      <a:pt x="1270" y="1546"/>
                    </a:lnTo>
                    <a:lnTo>
                      <a:pt x="1271" y="1544"/>
                    </a:lnTo>
                    <a:lnTo>
                      <a:pt x="1273" y="1543"/>
                    </a:lnTo>
                    <a:lnTo>
                      <a:pt x="1271" y="1543"/>
                    </a:lnTo>
                    <a:lnTo>
                      <a:pt x="1271" y="1541"/>
                    </a:lnTo>
                    <a:lnTo>
                      <a:pt x="1271" y="1539"/>
                    </a:lnTo>
                    <a:lnTo>
                      <a:pt x="1273" y="1538"/>
                    </a:lnTo>
                    <a:lnTo>
                      <a:pt x="1271" y="1538"/>
                    </a:lnTo>
                    <a:lnTo>
                      <a:pt x="1271" y="1536"/>
                    </a:lnTo>
                    <a:lnTo>
                      <a:pt x="1271" y="1534"/>
                    </a:lnTo>
                    <a:lnTo>
                      <a:pt x="1273" y="1536"/>
                    </a:lnTo>
                    <a:lnTo>
                      <a:pt x="1271" y="1534"/>
                    </a:lnTo>
                    <a:lnTo>
                      <a:pt x="1271" y="1532"/>
                    </a:lnTo>
                    <a:lnTo>
                      <a:pt x="1273" y="1532"/>
                    </a:lnTo>
                    <a:lnTo>
                      <a:pt x="1273" y="1531"/>
                    </a:lnTo>
                    <a:lnTo>
                      <a:pt x="1273" y="1529"/>
                    </a:lnTo>
                    <a:lnTo>
                      <a:pt x="1275" y="1529"/>
                    </a:lnTo>
                    <a:lnTo>
                      <a:pt x="1276" y="1529"/>
                    </a:lnTo>
                    <a:lnTo>
                      <a:pt x="1278" y="1527"/>
                    </a:lnTo>
                    <a:lnTo>
                      <a:pt x="1280" y="1527"/>
                    </a:lnTo>
                    <a:lnTo>
                      <a:pt x="1280" y="1526"/>
                    </a:lnTo>
                    <a:lnTo>
                      <a:pt x="1281" y="1526"/>
                    </a:lnTo>
                    <a:lnTo>
                      <a:pt x="1283" y="1526"/>
                    </a:lnTo>
                    <a:lnTo>
                      <a:pt x="1285" y="1524"/>
                    </a:lnTo>
                    <a:lnTo>
                      <a:pt x="1287" y="1524"/>
                    </a:lnTo>
                    <a:lnTo>
                      <a:pt x="1287" y="1522"/>
                    </a:lnTo>
                    <a:lnTo>
                      <a:pt x="1287" y="1521"/>
                    </a:lnTo>
                    <a:lnTo>
                      <a:pt x="1288" y="1521"/>
                    </a:lnTo>
                    <a:lnTo>
                      <a:pt x="1288" y="1519"/>
                    </a:lnTo>
                    <a:lnTo>
                      <a:pt x="1290" y="1517"/>
                    </a:lnTo>
                    <a:lnTo>
                      <a:pt x="1290" y="1515"/>
                    </a:lnTo>
                    <a:lnTo>
                      <a:pt x="1292" y="1515"/>
                    </a:lnTo>
                    <a:lnTo>
                      <a:pt x="1292" y="1514"/>
                    </a:lnTo>
                    <a:lnTo>
                      <a:pt x="1293" y="1514"/>
                    </a:lnTo>
                    <a:lnTo>
                      <a:pt x="1293" y="1512"/>
                    </a:lnTo>
                    <a:lnTo>
                      <a:pt x="1293" y="1510"/>
                    </a:lnTo>
                    <a:lnTo>
                      <a:pt x="1293" y="1509"/>
                    </a:lnTo>
                    <a:lnTo>
                      <a:pt x="1293" y="1507"/>
                    </a:lnTo>
                    <a:lnTo>
                      <a:pt x="1292" y="1507"/>
                    </a:lnTo>
                    <a:lnTo>
                      <a:pt x="1290" y="1507"/>
                    </a:lnTo>
                    <a:lnTo>
                      <a:pt x="1290" y="1505"/>
                    </a:lnTo>
                    <a:lnTo>
                      <a:pt x="1288" y="1505"/>
                    </a:lnTo>
                    <a:lnTo>
                      <a:pt x="1287" y="1507"/>
                    </a:lnTo>
                    <a:lnTo>
                      <a:pt x="1285" y="1507"/>
                    </a:lnTo>
                    <a:lnTo>
                      <a:pt x="1285" y="1505"/>
                    </a:lnTo>
                    <a:lnTo>
                      <a:pt x="1285" y="1504"/>
                    </a:lnTo>
                    <a:lnTo>
                      <a:pt x="1285" y="1502"/>
                    </a:lnTo>
                    <a:lnTo>
                      <a:pt x="1283" y="1502"/>
                    </a:lnTo>
                    <a:lnTo>
                      <a:pt x="1283" y="1500"/>
                    </a:lnTo>
                    <a:lnTo>
                      <a:pt x="1281" y="1498"/>
                    </a:lnTo>
                    <a:lnTo>
                      <a:pt x="1281" y="1497"/>
                    </a:lnTo>
                    <a:lnTo>
                      <a:pt x="1280" y="1497"/>
                    </a:lnTo>
                    <a:lnTo>
                      <a:pt x="1280" y="1495"/>
                    </a:lnTo>
                    <a:lnTo>
                      <a:pt x="1280" y="1493"/>
                    </a:lnTo>
                    <a:lnTo>
                      <a:pt x="1278" y="1493"/>
                    </a:lnTo>
                    <a:lnTo>
                      <a:pt x="1276" y="1493"/>
                    </a:lnTo>
                    <a:lnTo>
                      <a:pt x="1275" y="1493"/>
                    </a:lnTo>
                    <a:lnTo>
                      <a:pt x="1273" y="1493"/>
                    </a:lnTo>
                    <a:lnTo>
                      <a:pt x="1271" y="1493"/>
                    </a:lnTo>
                    <a:lnTo>
                      <a:pt x="1270" y="1493"/>
                    </a:lnTo>
                    <a:lnTo>
                      <a:pt x="1270" y="1492"/>
                    </a:lnTo>
                    <a:lnTo>
                      <a:pt x="1268" y="1492"/>
                    </a:lnTo>
                    <a:lnTo>
                      <a:pt x="1266" y="1492"/>
                    </a:lnTo>
                    <a:lnTo>
                      <a:pt x="1264" y="1492"/>
                    </a:lnTo>
                    <a:lnTo>
                      <a:pt x="1264" y="1493"/>
                    </a:lnTo>
                    <a:lnTo>
                      <a:pt x="1263" y="1492"/>
                    </a:lnTo>
                    <a:lnTo>
                      <a:pt x="1263" y="1493"/>
                    </a:lnTo>
                    <a:lnTo>
                      <a:pt x="1263" y="1492"/>
                    </a:lnTo>
                    <a:lnTo>
                      <a:pt x="1263" y="1493"/>
                    </a:lnTo>
                    <a:lnTo>
                      <a:pt x="1261" y="1492"/>
                    </a:lnTo>
                    <a:lnTo>
                      <a:pt x="1259" y="1492"/>
                    </a:lnTo>
                    <a:lnTo>
                      <a:pt x="1261" y="1492"/>
                    </a:lnTo>
                    <a:lnTo>
                      <a:pt x="1259" y="1493"/>
                    </a:lnTo>
                    <a:lnTo>
                      <a:pt x="1259" y="1492"/>
                    </a:lnTo>
                    <a:lnTo>
                      <a:pt x="1259" y="1490"/>
                    </a:lnTo>
                    <a:lnTo>
                      <a:pt x="1259" y="1492"/>
                    </a:lnTo>
                    <a:lnTo>
                      <a:pt x="1258" y="1490"/>
                    </a:lnTo>
                    <a:lnTo>
                      <a:pt x="1258" y="1492"/>
                    </a:lnTo>
                    <a:lnTo>
                      <a:pt x="1256" y="1492"/>
                    </a:lnTo>
                    <a:lnTo>
                      <a:pt x="1254" y="1492"/>
                    </a:lnTo>
                    <a:lnTo>
                      <a:pt x="1253" y="1492"/>
                    </a:lnTo>
                    <a:lnTo>
                      <a:pt x="1253" y="1493"/>
                    </a:lnTo>
                    <a:lnTo>
                      <a:pt x="1251" y="1495"/>
                    </a:lnTo>
                    <a:lnTo>
                      <a:pt x="1249" y="1495"/>
                    </a:lnTo>
                    <a:lnTo>
                      <a:pt x="1249" y="1497"/>
                    </a:lnTo>
                    <a:lnTo>
                      <a:pt x="1251" y="1497"/>
                    </a:lnTo>
                    <a:lnTo>
                      <a:pt x="1249" y="1498"/>
                    </a:lnTo>
                    <a:lnTo>
                      <a:pt x="1247" y="1498"/>
                    </a:lnTo>
                    <a:lnTo>
                      <a:pt x="1247" y="1497"/>
                    </a:lnTo>
                    <a:lnTo>
                      <a:pt x="1246" y="1497"/>
                    </a:lnTo>
                    <a:lnTo>
                      <a:pt x="1244" y="1495"/>
                    </a:lnTo>
                    <a:lnTo>
                      <a:pt x="1246" y="1495"/>
                    </a:lnTo>
                    <a:lnTo>
                      <a:pt x="1246" y="1493"/>
                    </a:lnTo>
                    <a:lnTo>
                      <a:pt x="1247" y="1493"/>
                    </a:lnTo>
                    <a:lnTo>
                      <a:pt x="1247" y="1492"/>
                    </a:lnTo>
                    <a:lnTo>
                      <a:pt x="1249" y="1493"/>
                    </a:lnTo>
                    <a:lnTo>
                      <a:pt x="1251" y="1493"/>
                    </a:lnTo>
                    <a:lnTo>
                      <a:pt x="1251" y="1492"/>
                    </a:lnTo>
                    <a:lnTo>
                      <a:pt x="1251" y="1490"/>
                    </a:lnTo>
                    <a:lnTo>
                      <a:pt x="1249" y="1490"/>
                    </a:lnTo>
                    <a:lnTo>
                      <a:pt x="1249" y="1492"/>
                    </a:lnTo>
                    <a:lnTo>
                      <a:pt x="1247" y="1492"/>
                    </a:lnTo>
                    <a:lnTo>
                      <a:pt x="1246" y="1492"/>
                    </a:lnTo>
                    <a:lnTo>
                      <a:pt x="1246" y="1493"/>
                    </a:lnTo>
                    <a:lnTo>
                      <a:pt x="1244" y="1493"/>
                    </a:lnTo>
                    <a:lnTo>
                      <a:pt x="1244" y="1495"/>
                    </a:lnTo>
                    <a:lnTo>
                      <a:pt x="1242" y="1493"/>
                    </a:lnTo>
                    <a:lnTo>
                      <a:pt x="1242" y="1492"/>
                    </a:lnTo>
                    <a:lnTo>
                      <a:pt x="1244" y="1490"/>
                    </a:lnTo>
                    <a:lnTo>
                      <a:pt x="1242" y="1492"/>
                    </a:lnTo>
                    <a:lnTo>
                      <a:pt x="1241" y="1492"/>
                    </a:lnTo>
                    <a:lnTo>
                      <a:pt x="1241" y="1493"/>
                    </a:lnTo>
                    <a:lnTo>
                      <a:pt x="1239" y="1493"/>
                    </a:lnTo>
                    <a:lnTo>
                      <a:pt x="1237" y="1493"/>
                    </a:lnTo>
                    <a:lnTo>
                      <a:pt x="1236" y="1492"/>
                    </a:lnTo>
                    <a:lnTo>
                      <a:pt x="1234" y="1492"/>
                    </a:lnTo>
                    <a:lnTo>
                      <a:pt x="1236" y="1493"/>
                    </a:lnTo>
                    <a:lnTo>
                      <a:pt x="1234" y="1493"/>
                    </a:lnTo>
                    <a:lnTo>
                      <a:pt x="1236" y="1493"/>
                    </a:lnTo>
                    <a:lnTo>
                      <a:pt x="1234" y="1493"/>
                    </a:lnTo>
                    <a:lnTo>
                      <a:pt x="1234" y="1495"/>
                    </a:lnTo>
                    <a:lnTo>
                      <a:pt x="1236" y="1495"/>
                    </a:lnTo>
                    <a:lnTo>
                      <a:pt x="1234" y="1495"/>
                    </a:lnTo>
                    <a:lnTo>
                      <a:pt x="1232" y="1495"/>
                    </a:lnTo>
                    <a:lnTo>
                      <a:pt x="1234" y="1495"/>
                    </a:lnTo>
                    <a:lnTo>
                      <a:pt x="1234" y="1497"/>
                    </a:lnTo>
                    <a:lnTo>
                      <a:pt x="1234" y="1498"/>
                    </a:lnTo>
                    <a:lnTo>
                      <a:pt x="1234" y="1497"/>
                    </a:lnTo>
                    <a:lnTo>
                      <a:pt x="1236" y="1497"/>
                    </a:lnTo>
                    <a:lnTo>
                      <a:pt x="1236" y="1495"/>
                    </a:lnTo>
                    <a:lnTo>
                      <a:pt x="1237" y="1497"/>
                    </a:lnTo>
                    <a:lnTo>
                      <a:pt x="1236" y="1498"/>
                    </a:lnTo>
                    <a:lnTo>
                      <a:pt x="1237" y="1497"/>
                    </a:lnTo>
                    <a:lnTo>
                      <a:pt x="1239" y="1497"/>
                    </a:lnTo>
                    <a:lnTo>
                      <a:pt x="1237" y="1498"/>
                    </a:lnTo>
                    <a:lnTo>
                      <a:pt x="1239" y="1497"/>
                    </a:lnTo>
                    <a:lnTo>
                      <a:pt x="1239" y="1498"/>
                    </a:lnTo>
                    <a:lnTo>
                      <a:pt x="1241" y="1498"/>
                    </a:lnTo>
                    <a:lnTo>
                      <a:pt x="1241" y="1500"/>
                    </a:lnTo>
                    <a:lnTo>
                      <a:pt x="1239" y="1502"/>
                    </a:lnTo>
                    <a:lnTo>
                      <a:pt x="1239" y="1504"/>
                    </a:lnTo>
                    <a:lnTo>
                      <a:pt x="1237" y="1504"/>
                    </a:lnTo>
                    <a:lnTo>
                      <a:pt x="1236" y="1505"/>
                    </a:lnTo>
                    <a:lnTo>
                      <a:pt x="1236" y="1507"/>
                    </a:lnTo>
                    <a:lnTo>
                      <a:pt x="1234" y="1507"/>
                    </a:lnTo>
                    <a:lnTo>
                      <a:pt x="1232" y="1505"/>
                    </a:lnTo>
                    <a:lnTo>
                      <a:pt x="1232" y="1507"/>
                    </a:lnTo>
                    <a:lnTo>
                      <a:pt x="1232" y="1509"/>
                    </a:lnTo>
                    <a:lnTo>
                      <a:pt x="1230" y="1509"/>
                    </a:lnTo>
                    <a:lnTo>
                      <a:pt x="1229" y="1509"/>
                    </a:lnTo>
                    <a:lnTo>
                      <a:pt x="1229" y="1510"/>
                    </a:lnTo>
                    <a:lnTo>
                      <a:pt x="1230" y="1510"/>
                    </a:lnTo>
                    <a:lnTo>
                      <a:pt x="1230" y="1512"/>
                    </a:lnTo>
                    <a:lnTo>
                      <a:pt x="1232" y="1512"/>
                    </a:lnTo>
                    <a:lnTo>
                      <a:pt x="1230" y="1514"/>
                    </a:lnTo>
                    <a:lnTo>
                      <a:pt x="1232" y="1515"/>
                    </a:lnTo>
                    <a:lnTo>
                      <a:pt x="1230" y="1515"/>
                    </a:lnTo>
                    <a:lnTo>
                      <a:pt x="1232" y="1515"/>
                    </a:lnTo>
                    <a:lnTo>
                      <a:pt x="1232" y="1517"/>
                    </a:lnTo>
                    <a:lnTo>
                      <a:pt x="1230" y="1517"/>
                    </a:lnTo>
                    <a:lnTo>
                      <a:pt x="1230" y="1519"/>
                    </a:lnTo>
                    <a:lnTo>
                      <a:pt x="1232" y="1519"/>
                    </a:lnTo>
                    <a:lnTo>
                      <a:pt x="1230" y="1521"/>
                    </a:lnTo>
                    <a:lnTo>
                      <a:pt x="1230" y="1522"/>
                    </a:lnTo>
                    <a:lnTo>
                      <a:pt x="1229" y="1521"/>
                    </a:lnTo>
                    <a:lnTo>
                      <a:pt x="1229" y="1522"/>
                    </a:lnTo>
                    <a:lnTo>
                      <a:pt x="1227" y="1522"/>
                    </a:lnTo>
                    <a:lnTo>
                      <a:pt x="1227" y="1524"/>
                    </a:lnTo>
                    <a:lnTo>
                      <a:pt x="1225" y="1524"/>
                    </a:lnTo>
                    <a:lnTo>
                      <a:pt x="1225" y="1522"/>
                    </a:lnTo>
                    <a:lnTo>
                      <a:pt x="1224" y="1521"/>
                    </a:lnTo>
                    <a:lnTo>
                      <a:pt x="1225" y="1521"/>
                    </a:lnTo>
                    <a:lnTo>
                      <a:pt x="1225" y="1519"/>
                    </a:lnTo>
                    <a:lnTo>
                      <a:pt x="1224" y="1519"/>
                    </a:lnTo>
                    <a:lnTo>
                      <a:pt x="1224" y="1521"/>
                    </a:lnTo>
                    <a:lnTo>
                      <a:pt x="1224" y="1522"/>
                    </a:lnTo>
                    <a:lnTo>
                      <a:pt x="1224" y="1524"/>
                    </a:lnTo>
                    <a:lnTo>
                      <a:pt x="1222" y="1522"/>
                    </a:lnTo>
                    <a:lnTo>
                      <a:pt x="1220" y="1522"/>
                    </a:lnTo>
                    <a:lnTo>
                      <a:pt x="1219" y="1522"/>
                    </a:lnTo>
                    <a:lnTo>
                      <a:pt x="1219" y="1521"/>
                    </a:lnTo>
                    <a:lnTo>
                      <a:pt x="1217" y="1521"/>
                    </a:lnTo>
                    <a:lnTo>
                      <a:pt x="1219" y="1521"/>
                    </a:lnTo>
                    <a:lnTo>
                      <a:pt x="1217" y="1521"/>
                    </a:lnTo>
                    <a:lnTo>
                      <a:pt x="1215" y="1519"/>
                    </a:lnTo>
                    <a:lnTo>
                      <a:pt x="1217" y="1517"/>
                    </a:lnTo>
                    <a:lnTo>
                      <a:pt x="1219" y="1517"/>
                    </a:lnTo>
                    <a:lnTo>
                      <a:pt x="1219" y="1519"/>
                    </a:lnTo>
                    <a:lnTo>
                      <a:pt x="1220" y="1517"/>
                    </a:lnTo>
                    <a:lnTo>
                      <a:pt x="1219" y="1517"/>
                    </a:lnTo>
                    <a:lnTo>
                      <a:pt x="1217" y="1515"/>
                    </a:lnTo>
                    <a:lnTo>
                      <a:pt x="1219" y="1515"/>
                    </a:lnTo>
                    <a:lnTo>
                      <a:pt x="1220" y="1515"/>
                    </a:lnTo>
                    <a:lnTo>
                      <a:pt x="1222" y="1515"/>
                    </a:lnTo>
                    <a:lnTo>
                      <a:pt x="1222" y="1517"/>
                    </a:lnTo>
                    <a:lnTo>
                      <a:pt x="1222" y="1515"/>
                    </a:lnTo>
                    <a:lnTo>
                      <a:pt x="1220" y="1515"/>
                    </a:lnTo>
                    <a:lnTo>
                      <a:pt x="1222" y="1514"/>
                    </a:lnTo>
                    <a:lnTo>
                      <a:pt x="1222" y="1512"/>
                    </a:lnTo>
                    <a:lnTo>
                      <a:pt x="1224" y="1512"/>
                    </a:lnTo>
                    <a:lnTo>
                      <a:pt x="1224" y="1514"/>
                    </a:lnTo>
                    <a:lnTo>
                      <a:pt x="1225" y="1514"/>
                    </a:lnTo>
                    <a:lnTo>
                      <a:pt x="1224" y="1512"/>
                    </a:lnTo>
                    <a:lnTo>
                      <a:pt x="1222" y="1512"/>
                    </a:lnTo>
                    <a:lnTo>
                      <a:pt x="1222" y="1514"/>
                    </a:lnTo>
                    <a:lnTo>
                      <a:pt x="1220" y="1514"/>
                    </a:lnTo>
                    <a:lnTo>
                      <a:pt x="1220" y="1512"/>
                    </a:lnTo>
                    <a:lnTo>
                      <a:pt x="1219" y="1514"/>
                    </a:lnTo>
                    <a:lnTo>
                      <a:pt x="1219" y="1512"/>
                    </a:lnTo>
                    <a:lnTo>
                      <a:pt x="1219" y="1514"/>
                    </a:lnTo>
                    <a:lnTo>
                      <a:pt x="1219" y="1512"/>
                    </a:lnTo>
                    <a:lnTo>
                      <a:pt x="1217" y="1512"/>
                    </a:lnTo>
                    <a:lnTo>
                      <a:pt x="1219" y="1514"/>
                    </a:lnTo>
                    <a:lnTo>
                      <a:pt x="1217" y="1514"/>
                    </a:lnTo>
                    <a:lnTo>
                      <a:pt x="1219" y="1515"/>
                    </a:lnTo>
                    <a:lnTo>
                      <a:pt x="1217" y="1515"/>
                    </a:lnTo>
                    <a:lnTo>
                      <a:pt x="1215" y="1515"/>
                    </a:lnTo>
                    <a:lnTo>
                      <a:pt x="1213" y="1515"/>
                    </a:lnTo>
                    <a:lnTo>
                      <a:pt x="1213" y="1514"/>
                    </a:lnTo>
                    <a:lnTo>
                      <a:pt x="1215" y="1514"/>
                    </a:lnTo>
                    <a:lnTo>
                      <a:pt x="1217" y="1514"/>
                    </a:lnTo>
                    <a:lnTo>
                      <a:pt x="1215" y="1512"/>
                    </a:lnTo>
                    <a:lnTo>
                      <a:pt x="1213" y="1512"/>
                    </a:lnTo>
                    <a:lnTo>
                      <a:pt x="1215" y="1514"/>
                    </a:lnTo>
                    <a:lnTo>
                      <a:pt x="1213" y="1514"/>
                    </a:lnTo>
                    <a:lnTo>
                      <a:pt x="1213" y="1512"/>
                    </a:lnTo>
                    <a:lnTo>
                      <a:pt x="1212" y="1512"/>
                    </a:lnTo>
                    <a:lnTo>
                      <a:pt x="1210" y="1512"/>
                    </a:lnTo>
                    <a:lnTo>
                      <a:pt x="1208" y="1512"/>
                    </a:lnTo>
                    <a:lnTo>
                      <a:pt x="1207" y="1512"/>
                    </a:lnTo>
                    <a:lnTo>
                      <a:pt x="1205" y="1514"/>
                    </a:lnTo>
                    <a:lnTo>
                      <a:pt x="1203" y="1514"/>
                    </a:lnTo>
                    <a:lnTo>
                      <a:pt x="1203" y="1512"/>
                    </a:lnTo>
                    <a:lnTo>
                      <a:pt x="1205" y="1512"/>
                    </a:lnTo>
                    <a:lnTo>
                      <a:pt x="1205" y="1510"/>
                    </a:lnTo>
                    <a:lnTo>
                      <a:pt x="1207" y="1510"/>
                    </a:lnTo>
                    <a:lnTo>
                      <a:pt x="1208" y="1509"/>
                    </a:lnTo>
                    <a:lnTo>
                      <a:pt x="1208" y="1510"/>
                    </a:lnTo>
                    <a:lnTo>
                      <a:pt x="1210" y="1510"/>
                    </a:lnTo>
                    <a:lnTo>
                      <a:pt x="1208" y="1509"/>
                    </a:lnTo>
                    <a:lnTo>
                      <a:pt x="1210" y="1509"/>
                    </a:lnTo>
                    <a:lnTo>
                      <a:pt x="1212" y="1510"/>
                    </a:lnTo>
                    <a:lnTo>
                      <a:pt x="1212" y="1509"/>
                    </a:lnTo>
                    <a:lnTo>
                      <a:pt x="1212" y="1510"/>
                    </a:lnTo>
                    <a:lnTo>
                      <a:pt x="1213" y="1510"/>
                    </a:lnTo>
                    <a:lnTo>
                      <a:pt x="1215" y="1510"/>
                    </a:lnTo>
                    <a:lnTo>
                      <a:pt x="1215" y="1512"/>
                    </a:lnTo>
                    <a:lnTo>
                      <a:pt x="1217" y="1510"/>
                    </a:lnTo>
                    <a:lnTo>
                      <a:pt x="1217" y="1512"/>
                    </a:lnTo>
                    <a:lnTo>
                      <a:pt x="1219" y="1512"/>
                    </a:lnTo>
                    <a:lnTo>
                      <a:pt x="1219" y="1510"/>
                    </a:lnTo>
                    <a:lnTo>
                      <a:pt x="1217" y="1510"/>
                    </a:lnTo>
                    <a:lnTo>
                      <a:pt x="1215" y="1510"/>
                    </a:lnTo>
                    <a:lnTo>
                      <a:pt x="1213" y="1510"/>
                    </a:lnTo>
                    <a:lnTo>
                      <a:pt x="1212" y="1509"/>
                    </a:lnTo>
                    <a:lnTo>
                      <a:pt x="1213" y="1509"/>
                    </a:lnTo>
                    <a:lnTo>
                      <a:pt x="1213" y="1510"/>
                    </a:lnTo>
                    <a:lnTo>
                      <a:pt x="1213" y="1509"/>
                    </a:lnTo>
                    <a:lnTo>
                      <a:pt x="1212" y="1509"/>
                    </a:lnTo>
                    <a:lnTo>
                      <a:pt x="1213" y="1509"/>
                    </a:lnTo>
                    <a:lnTo>
                      <a:pt x="1212" y="1507"/>
                    </a:lnTo>
                    <a:lnTo>
                      <a:pt x="1210" y="1507"/>
                    </a:lnTo>
                    <a:lnTo>
                      <a:pt x="1212" y="1507"/>
                    </a:lnTo>
                    <a:lnTo>
                      <a:pt x="1212" y="1505"/>
                    </a:lnTo>
                    <a:lnTo>
                      <a:pt x="1213" y="1505"/>
                    </a:lnTo>
                    <a:lnTo>
                      <a:pt x="1213" y="1507"/>
                    </a:lnTo>
                    <a:lnTo>
                      <a:pt x="1215" y="1507"/>
                    </a:lnTo>
                    <a:lnTo>
                      <a:pt x="1215" y="1509"/>
                    </a:lnTo>
                    <a:lnTo>
                      <a:pt x="1213" y="1509"/>
                    </a:lnTo>
                    <a:lnTo>
                      <a:pt x="1215" y="1509"/>
                    </a:lnTo>
                    <a:lnTo>
                      <a:pt x="1215" y="1507"/>
                    </a:lnTo>
                    <a:lnTo>
                      <a:pt x="1217" y="1505"/>
                    </a:lnTo>
                    <a:lnTo>
                      <a:pt x="1219" y="1507"/>
                    </a:lnTo>
                    <a:lnTo>
                      <a:pt x="1217" y="1507"/>
                    </a:lnTo>
                    <a:lnTo>
                      <a:pt x="1217" y="1509"/>
                    </a:lnTo>
                    <a:lnTo>
                      <a:pt x="1219" y="1509"/>
                    </a:lnTo>
                    <a:lnTo>
                      <a:pt x="1219" y="1507"/>
                    </a:lnTo>
                    <a:lnTo>
                      <a:pt x="1220" y="1509"/>
                    </a:lnTo>
                    <a:lnTo>
                      <a:pt x="1219" y="1507"/>
                    </a:lnTo>
                    <a:lnTo>
                      <a:pt x="1220" y="1507"/>
                    </a:lnTo>
                    <a:lnTo>
                      <a:pt x="1222" y="1507"/>
                    </a:lnTo>
                    <a:lnTo>
                      <a:pt x="1222" y="1505"/>
                    </a:lnTo>
                    <a:lnTo>
                      <a:pt x="1222" y="1504"/>
                    </a:lnTo>
                    <a:lnTo>
                      <a:pt x="1220" y="1505"/>
                    </a:lnTo>
                    <a:lnTo>
                      <a:pt x="1220" y="1504"/>
                    </a:lnTo>
                    <a:lnTo>
                      <a:pt x="1220" y="1502"/>
                    </a:lnTo>
                    <a:lnTo>
                      <a:pt x="1220" y="1504"/>
                    </a:lnTo>
                    <a:lnTo>
                      <a:pt x="1222" y="1504"/>
                    </a:lnTo>
                    <a:lnTo>
                      <a:pt x="1220" y="1502"/>
                    </a:lnTo>
                    <a:lnTo>
                      <a:pt x="1222" y="1502"/>
                    </a:lnTo>
                    <a:lnTo>
                      <a:pt x="1222" y="1500"/>
                    </a:lnTo>
                    <a:lnTo>
                      <a:pt x="1220" y="1500"/>
                    </a:lnTo>
                    <a:lnTo>
                      <a:pt x="1219" y="1500"/>
                    </a:lnTo>
                    <a:lnTo>
                      <a:pt x="1219" y="1498"/>
                    </a:lnTo>
                    <a:lnTo>
                      <a:pt x="1219" y="1497"/>
                    </a:lnTo>
                    <a:lnTo>
                      <a:pt x="1220" y="1497"/>
                    </a:lnTo>
                    <a:lnTo>
                      <a:pt x="1219" y="1497"/>
                    </a:lnTo>
                    <a:lnTo>
                      <a:pt x="1219" y="1495"/>
                    </a:lnTo>
                    <a:lnTo>
                      <a:pt x="1217" y="1495"/>
                    </a:lnTo>
                    <a:lnTo>
                      <a:pt x="1217" y="1493"/>
                    </a:lnTo>
                    <a:lnTo>
                      <a:pt x="1217" y="1495"/>
                    </a:lnTo>
                    <a:lnTo>
                      <a:pt x="1219" y="1495"/>
                    </a:lnTo>
                    <a:lnTo>
                      <a:pt x="1217" y="1495"/>
                    </a:lnTo>
                    <a:lnTo>
                      <a:pt x="1219" y="1497"/>
                    </a:lnTo>
                    <a:lnTo>
                      <a:pt x="1219" y="1498"/>
                    </a:lnTo>
                    <a:lnTo>
                      <a:pt x="1217" y="1498"/>
                    </a:lnTo>
                    <a:lnTo>
                      <a:pt x="1217" y="1500"/>
                    </a:lnTo>
                    <a:lnTo>
                      <a:pt x="1217" y="1498"/>
                    </a:lnTo>
                    <a:lnTo>
                      <a:pt x="1215" y="1500"/>
                    </a:lnTo>
                    <a:lnTo>
                      <a:pt x="1215" y="1498"/>
                    </a:lnTo>
                    <a:lnTo>
                      <a:pt x="1215" y="1500"/>
                    </a:lnTo>
                    <a:lnTo>
                      <a:pt x="1215" y="1498"/>
                    </a:lnTo>
                    <a:lnTo>
                      <a:pt x="1215" y="1500"/>
                    </a:lnTo>
                    <a:lnTo>
                      <a:pt x="1213" y="1498"/>
                    </a:lnTo>
                    <a:lnTo>
                      <a:pt x="1213" y="1500"/>
                    </a:lnTo>
                    <a:lnTo>
                      <a:pt x="1212" y="1498"/>
                    </a:lnTo>
                    <a:lnTo>
                      <a:pt x="1212" y="1500"/>
                    </a:lnTo>
                    <a:lnTo>
                      <a:pt x="1213" y="1500"/>
                    </a:lnTo>
                    <a:lnTo>
                      <a:pt x="1213" y="1502"/>
                    </a:lnTo>
                    <a:lnTo>
                      <a:pt x="1213" y="1500"/>
                    </a:lnTo>
                    <a:lnTo>
                      <a:pt x="1212" y="1500"/>
                    </a:lnTo>
                    <a:lnTo>
                      <a:pt x="1212" y="1502"/>
                    </a:lnTo>
                    <a:lnTo>
                      <a:pt x="1210" y="1502"/>
                    </a:lnTo>
                    <a:lnTo>
                      <a:pt x="1212" y="1502"/>
                    </a:lnTo>
                    <a:lnTo>
                      <a:pt x="1210" y="1504"/>
                    </a:lnTo>
                    <a:lnTo>
                      <a:pt x="1210" y="1502"/>
                    </a:lnTo>
                    <a:lnTo>
                      <a:pt x="1210" y="1504"/>
                    </a:lnTo>
                    <a:lnTo>
                      <a:pt x="1210" y="1502"/>
                    </a:lnTo>
                    <a:lnTo>
                      <a:pt x="1208" y="1502"/>
                    </a:lnTo>
                    <a:lnTo>
                      <a:pt x="1208" y="1504"/>
                    </a:lnTo>
                    <a:lnTo>
                      <a:pt x="1208" y="1505"/>
                    </a:lnTo>
                    <a:lnTo>
                      <a:pt x="1207" y="1505"/>
                    </a:lnTo>
                    <a:lnTo>
                      <a:pt x="1208" y="1505"/>
                    </a:lnTo>
                    <a:lnTo>
                      <a:pt x="1207" y="1505"/>
                    </a:lnTo>
                    <a:lnTo>
                      <a:pt x="1207" y="1504"/>
                    </a:lnTo>
                    <a:lnTo>
                      <a:pt x="1208" y="1504"/>
                    </a:lnTo>
                    <a:lnTo>
                      <a:pt x="1207" y="1504"/>
                    </a:lnTo>
                    <a:lnTo>
                      <a:pt x="1205" y="1504"/>
                    </a:lnTo>
                    <a:lnTo>
                      <a:pt x="1207" y="1502"/>
                    </a:lnTo>
                    <a:lnTo>
                      <a:pt x="1208" y="1502"/>
                    </a:lnTo>
                    <a:lnTo>
                      <a:pt x="1208" y="1500"/>
                    </a:lnTo>
                    <a:lnTo>
                      <a:pt x="1208" y="1498"/>
                    </a:lnTo>
                    <a:lnTo>
                      <a:pt x="1208" y="1500"/>
                    </a:lnTo>
                    <a:lnTo>
                      <a:pt x="1210" y="1498"/>
                    </a:lnTo>
                    <a:lnTo>
                      <a:pt x="1208" y="1500"/>
                    </a:lnTo>
                    <a:lnTo>
                      <a:pt x="1210" y="1500"/>
                    </a:lnTo>
                    <a:lnTo>
                      <a:pt x="1210" y="1498"/>
                    </a:lnTo>
                    <a:lnTo>
                      <a:pt x="1212" y="1498"/>
                    </a:lnTo>
                    <a:lnTo>
                      <a:pt x="1210" y="1498"/>
                    </a:lnTo>
                    <a:lnTo>
                      <a:pt x="1208" y="1498"/>
                    </a:lnTo>
                    <a:lnTo>
                      <a:pt x="1208" y="1497"/>
                    </a:lnTo>
                    <a:lnTo>
                      <a:pt x="1207" y="1497"/>
                    </a:lnTo>
                    <a:lnTo>
                      <a:pt x="1208" y="1497"/>
                    </a:lnTo>
                    <a:lnTo>
                      <a:pt x="1207" y="1497"/>
                    </a:lnTo>
                    <a:lnTo>
                      <a:pt x="1208" y="1495"/>
                    </a:lnTo>
                    <a:lnTo>
                      <a:pt x="1210" y="1495"/>
                    </a:lnTo>
                    <a:lnTo>
                      <a:pt x="1208" y="1495"/>
                    </a:lnTo>
                    <a:lnTo>
                      <a:pt x="1210" y="1493"/>
                    </a:lnTo>
                    <a:lnTo>
                      <a:pt x="1210" y="1495"/>
                    </a:lnTo>
                    <a:lnTo>
                      <a:pt x="1212" y="1495"/>
                    </a:lnTo>
                    <a:lnTo>
                      <a:pt x="1210" y="1493"/>
                    </a:lnTo>
                    <a:lnTo>
                      <a:pt x="1208" y="1492"/>
                    </a:lnTo>
                    <a:lnTo>
                      <a:pt x="1210" y="1493"/>
                    </a:lnTo>
                    <a:lnTo>
                      <a:pt x="1212" y="1493"/>
                    </a:lnTo>
                    <a:lnTo>
                      <a:pt x="1212" y="1495"/>
                    </a:lnTo>
                    <a:lnTo>
                      <a:pt x="1212" y="1493"/>
                    </a:lnTo>
                    <a:lnTo>
                      <a:pt x="1212" y="1492"/>
                    </a:lnTo>
                    <a:lnTo>
                      <a:pt x="1210" y="1492"/>
                    </a:lnTo>
                    <a:lnTo>
                      <a:pt x="1212" y="1490"/>
                    </a:lnTo>
                    <a:lnTo>
                      <a:pt x="1212" y="1488"/>
                    </a:lnTo>
                    <a:lnTo>
                      <a:pt x="1212" y="1490"/>
                    </a:lnTo>
                    <a:lnTo>
                      <a:pt x="1213" y="1490"/>
                    </a:lnTo>
                    <a:lnTo>
                      <a:pt x="1215" y="1490"/>
                    </a:lnTo>
                    <a:lnTo>
                      <a:pt x="1215" y="1488"/>
                    </a:lnTo>
                    <a:lnTo>
                      <a:pt x="1213" y="1488"/>
                    </a:lnTo>
                    <a:lnTo>
                      <a:pt x="1212" y="1488"/>
                    </a:lnTo>
                    <a:lnTo>
                      <a:pt x="1212" y="1487"/>
                    </a:lnTo>
                    <a:lnTo>
                      <a:pt x="1213" y="1487"/>
                    </a:lnTo>
                    <a:lnTo>
                      <a:pt x="1213" y="1485"/>
                    </a:lnTo>
                    <a:lnTo>
                      <a:pt x="1212" y="1487"/>
                    </a:lnTo>
                    <a:lnTo>
                      <a:pt x="1212" y="1488"/>
                    </a:lnTo>
                    <a:lnTo>
                      <a:pt x="1210" y="1488"/>
                    </a:lnTo>
                    <a:lnTo>
                      <a:pt x="1210" y="1487"/>
                    </a:lnTo>
                    <a:lnTo>
                      <a:pt x="1208" y="1487"/>
                    </a:lnTo>
                    <a:lnTo>
                      <a:pt x="1208" y="1485"/>
                    </a:lnTo>
                    <a:lnTo>
                      <a:pt x="1208" y="1483"/>
                    </a:lnTo>
                    <a:lnTo>
                      <a:pt x="1210" y="1483"/>
                    </a:lnTo>
                    <a:lnTo>
                      <a:pt x="1210" y="1485"/>
                    </a:lnTo>
                    <a:lnTo>
                      <a:pt x="1212" y="1483"/>
                    </a:lnTo>
                    <a:lnTo>
                      <a:pt x="1210" y="1481"/>
                    </a:lnTo>
                    <a:lnTo>
                      <a:pt x="1212" y="1481"/>
                    </a:lnTo>
                    <a:lnTo>
                      <a:pt x="1210" y="1481"/>
                    </a:lnTo>
                    <a:lnTo>
                      <a:pt x="1212" y="1481"/>
                    </a:lnTo>
                    <a:lnTo>
                      <a:pt x="1212" y="1480"/>
                    </a:lnTo>
                    <a:lnTo>
                      <a:pt x="1210" y="1480"/>
                    </a:lnTo>
                    <a:lnTo>
                      <a:pt x="1210" y="1478"/>
                    </a:lnTo>
                    <a:lnTo>
                      <a:pt x="1210" y="1476"/>
                    </a:lnTo>
                    <a:lnTo>
                      <a:pt x="1212" y="1475"/>
                    </a:lnTo>
                    <a:lnTo>
                      <a:pt x="1212" y="1473"/>
                    </a:lnTo>
                    <a:lnTo>
                      <a:pt x="1210" y="1473"/>
                    </a:lnTo>
                    <a:lnTo>
                      <a:pt x="1210" y="1471"/>
                    </a:lnTo>
                    <a:lnTo>
                      <a:pt x="1208" y="1471"/>
                    </a:lnTo>
                    <a:lnTo>
                      <a:pt x="1208" y="1470"/>
                    </a:lnTo>
                    <a:lnTo>
                      <a:pt x="1207" y="1468"/>
                    </a:lnTo>
                    <a:lnTo>
                      <a:pt x="1207" y="1466"/>
                    </a:lnTo>
                    <a:lnTo>
                      <a:pt x="1205" y="1466"/>
                    </a:lnTo>
                    <a:lnTo>
                      <a:pt x="1205" y="1464"/>
                    </a:lnTo>
                    <a:lnTo>
                      <a:pt x="1207" y="1463"/>
                    </a:lnTo>
                    <a:lnTo>
                      <a:pt x="1208" y="1464"/>
                    </a:lnTo>
                    <a:lnTo>
                      <a:pt x="1207" y="1466"/>
                    </a:lnTo>
                    <a:lnTo>
                      <a:pt x="1208" y="1466"/>
                    </a:lnTo>
                    <a:lnTo>
                      <a:pt x="1208" y="1468"/>
                    </a:lnTo>
                    <a:lnTo>
                      <a:pt x="1210" y="1468"/>
                    </a:lnTo>
                    <a:lnTo>
                      <a:pt x="1210" y="1470"/>
                    </a:lnTo>
                    <a:lnTo>
                      <a:pt x="1210" y="1471"/>
                    </a:lnTo>
                    <a:lnTo>
                      <a:pt x="1210" y="1470"/>
                    </a:lnTo>
                    <a:lnTo>
                      <a:pt x="1212" y="1470"/>
                    </a:lnTo>
                    <a:lnTo>
                      <a:pt x="1212" y="1471"/>
                    </a:lnTo>
                    <a:lnTo>
                      <a:pt x="1212" y="1473"/>
                    </a:lnTo>
                    <a:lnTo>
                      <a:pt x="1213" y="1473"/>
                    </a:lnTo>
                    <a:lnTo>
                      <a:pt x="1213" y="1471"/>
                    </a:lnTo>
                    <a:lnTo>
                      <a:pt x="1213" y="1470"/>
                    </a:lnTo>
                    <a:lnTo>
                      <a:pt x="1212" y="1470"/>
                    </a:lnTo>
                    <a:lnTo>
                      <a:pt x="1213" y="1470"/>
                    </a:lnTo>
                    <a:lnTo>
                      <a:pt x="1215" y="1470"/>
                    </a:lnTo>
                    <a:lnTo>
                      <a:pt x="1217" y="1471"/>
                    </a:lnTo>
                    <a:lnTo>
                      <a:pt x="1217" y="1473"/>
                    </a:lnTo>
                    <a:lnTo>
                      <a:pt x="1219" y="1475"/>
                    </a:lnTo>
                    <a:lnTo>
                      <a:pt x="1219" y="1473"/>
                    </a:lnTo>
                    <a:lnTo>
                      <a:pt x="1220" y="1473"/>
                    </a:lnTo>
                    <a:lnTo>
                      <a:pt x="1222" y="1473"/>
                    </a:lnTo>
                    <a:lnTo>
                      <a:pt x="1222" y="1471"/>
                    </a:lnTo>
                    <a:lnTo>
                      <a:pt x="1222" y="1470"/>
                    </a:lnTo>
                    <a:lnTo>
                      <a:pt x="1222" y="1468"/>
                    </a:lnTo>
                    <a:lnTo>
                      <a:pt x="1224" y="1468"/>
                    </a:lnTo>
                    <a:lnTo>
                      <a:pt x="1225" y="1470"/>
                    </a:lnTo>
                    <a:lnTo>
                      <a:pt x="1225" y="1468"/>
                    </a:lnTo>
                    <a:lnTo>
                      <a:pt x="1227" y="1466"/>
                    </a:lnTo>
                    <a:lnTo>
                      <a:pt x="1229" y="1466"/>
                    </a:lnTo>
                    <a:lnTo>
                      <a:pt x="1230" y="1464"/>
                    </a:lnTo>
                    <a:lnTo>
                      <a:pt x="1230" y="1466"/>
                    </a:lnTo>
                    <a:lnTo>
                      <a:pt x="1229" y="1466"/>
                    </a:lnTo>
                    <a:lnTo>
                      <a:pt x="1229" y="1468"/>
                    </a:lnTo>
                    <a:lnTo>
                      <a:pt x="1230" y="1470"/>
                    </a:lnTo>
                    <a:lnTo>
                      <a:pt x="1229" y="1470"/>
                    </a:lnTo>
                    <a:lnTo>
                      <a:pt x="1227" y="1470"/>
                    </a:lnTo>
                    <a:lnTo>
                      <a:pt x="1229" y="1471"/>
                    </a:lnTo>
                    <a:lnTo>
                      <a:pt x="1227" y="1471"/>
                    </a:lnTo>
                    <a:lnTo>
                      <a:pt x="1227" y="1473"/>
                    </a:lnTo>
                    <a:lnTo>
                      <a:pt x="1227" y="1475"/>
                    </a:lnTo>
                    <a:lnTo>
                      <a:pt x="1225" y="1475"/>
                    </a:lnTo>
                    <a:lnTo>
                      <a:pt x="1227" y="1475"/>
                    </a:lnTo>
                    <a:lnTo>
                      <a:pt x="1227" y="1473"/>
                    </a:lnTo>
                    <a:lnTo>
                      <a:pt x="1229" y="1471"/>
                    </a:lnTo>
                    <a:lnTo>
                      <a:pt x="1230" y="1471"/>
                    </a:lnTo>
                    <a:lnTo>
                      <a:pt x="1230" y="1473"/>
                    </a:lnTo>
                    <a:lnTo>
                      <a:pt x="1232" y="1473"/>
                    </a:lnTo>
                    <a:lnTo>
                      <a:pt x="1232" y="1475"/>
                    </a:lnTo>
                    <a:lnTo>
                      <a:pt x="1232" y="1476"/>
                    </a:lnTo>
                    <a:lnTo>
                      <a:pt x="1230" y="1476"/>
                    </a:lnTo>
                    <a:lnTo>
                      <a:pt x="1230" y="1478"/>
                    </a:lnTo>
                    <a:lnTo>
                      <a:pt x="1232" y="1478"/>
                    </a:lnTo>
                    <a:lnTo>
                      <a:pt x="1234" y="1478"/>
                    </a:lnTo>
                    <a:lnTo>
                      <a:pt x="1232" y="1476"/>
                    </a:lnTo>
                    <a:lnTo>
                      <a:pt x="1234" y="1476"/>
                    </a:lnTo>
                    <a:lnTo>
                      <a:pt x="1234" y="1478"/>
                    </a:lnTo>
                    <a:lnTo>
                      <a:pt x="1234" y="1476"/>
                    </a:lnTo>
                    <a:lnTo>
                      <a:pt x="1234" y="1475"/>
                    </a:lnTo>
                    <a:lnTo>
                      <a:pt x="1234" y="1473"/>
                    </a:lnTo>
                    <a:lnTo>
                      <a:pt x="1236" y="1473"/>
                    </a:lnTo>
                    <a:lnTo>
                      <a:pt x="1236" y="1471"/>
                    </a:lnTo>
                    <a:lnTo>
                      <a:pt x="1236" y="1470"/>
                    </a:lnTo>
                    <a:lnTo>
                      <a:pt x="1236" y="1468"/>
                    </a:lnTo>
                    <a:lnTo>
                      <a:pt x="1237" y="1468"/>
                    </a:lnTo>
                    <a:lnTo>
                      <a:pt x="1236" y="1466"/>
                    </a:lnTo>
                    <a:lnTo>
                      <a:pt x="1237" y="1468"/>
                    </a:lnTo>
                    <a:lnTo>
                      <a:pt x="1237" y="1466"/>
                    </a:lnTo>
                    <a:lnTo>
                      <a:pt x="1239" y="1466"/>
                    </a:lnTo>
                    <a:lnTo>
                      <a:pt x="1237" y="1464"/>
                    </a:lnTo>
                    <a:lnTo>
                      <a:pt x="1237" y="1466"/>
                    </a:lnTo>
                    <a:lnTo>
                      <a:pt x="1236" y="1466"/>
                    </a:lnTo>
                    <a:lnTo>
                      <a:pt x="1236" y="1468"/>
                    </a:lnTo>
                    <a:lnTo>
                      <a:pt x="1234" y="1470"/>
                    </a:lnTo>
                    <a:lnTo>
                      <a:pt x="1234" y="1471"/>
                    </a:lnTo>
                    <a:lnTo>
                      <a:pt x="1234" y="1473"/>
                    </a:lnTo>
                    <a:lnTo>
                      <a:pt x="1232" y="1475"/>
                    </a:lnTo>
                    <a:lnTo>
                      <a:pt x="1232" y="1473"/>
                    </a:lnTo>
                    <a:lnTo>
                      <a:pt x="1232" y="1471"/>
                    </a:lnTo>
                    <a:lnTo>
                      <a:pt x="1230" y="1471"/>
                    </a:lnTo>
                    <a:lnTo>
                      <a:pt x="1230" y="1470"/>
                    </a:lnTo>
                    <a:lnTo>
                      <a:pt x="1230" y="1468"/>
                    </a:lnTo>
                    <a:lnTo>
                      <a:pt x="1230" y="1466"/>
                    </a:lnTo>
                    <a:lnTo>
                      <a:pt x="1232" y="1466"/>
                    </a:lnTo>
                    <a:lnTo>
                      <a:pt x="1230" y="1466"/>
                    </a:lnTo>
                    <a:lnTo>
                      <a:pt x="1232" y="1464"/>
                    </a:lnTo>
                    <a:lnTo>
                      <a:pt x="1232" y="1466"/>
                    </a:lnTo>
                    <a:lnTo>
                      <a:pt x="1234" y="1466"/>
                    </a:lnTo>
                    <a:lnTo>
                      <a:pt x="1234" y="1464"/>
                    </a:lnTo>
                    <a:lnTo>
                      <a:pt x="1234" y="1463"/>
                    </a:lnTo>
                    <a:lnTo>
                      <a:pt x="1234" y="1461"/>
                    </a:lnTo>
                    <a:lnTo>
                      <a:pt x="1234" y="1459"/>
                    </a:lnTo>
                    <a:lnTo>
                      <a:pt x="1236" y="1459"/>
                    </a:lnTo>
                    <a:lnTo>
                      <a:pt x="1237" y="1459"/>
                    </a:lnTo>
                    <a:lnTo>
                      <a:pt x="1239" y="1459"/>
                    </a:lnTo>
                    <a:lnTo>
                      <a:pt x="1239" y="1461"/>
                    </a:lnTo>
                    <a:lnTo>
                      <a:pt x="1239" y="1463"/>
                    </a:lnTo>
                    <a:lnTo>
                      <a:pt x="1239" y="1464"/>
                    </a:lnTo>
                    <a:lnTo>
                      <a:pt x="1239" y="1466"/>
                    </a:lnTo>
                    <a:lnTo>
                      <a:pt x="1241" y="1468"/>
                    </a:lnTo>
                    <a:lnTo>
                      <a:pt x="1241" y="1470"/>
                    </a:lnTo>
                    <a:lnTo>
                      <a:pt x="1242" y="1470"/>
                    </a:lnTo>
                    <a:lnTo>
                      <a:pt x="1242" y="1468"/>
                    </a:lnTo>
                    <a:lnTo>
                      <a:pt x="1244" y="1470"/>
                    </a:lnTo>
                    <a:lnTo>
                      <a:pt x="1244" y="1471"/>
                    </a:lnTo>
                    <a:lnTo>
                      <a:pt x="1244" y="1473"/>
                    </a:lnTo>
                    <a:lnTo>
                      <a:pt x="1246" y="1473"/>
                    </a:lnTo>
                    <a:lnTo>
                      <a:pt x="1246" y="1475"/>
                    </a:lnTo>
                    <a:lnTo>
                      <a:pt x="1244" y="1475"/>
                    </a:lnTo>
                    <a:lnTo>
                      <a:pt x="1244" y="1476"/>
                    </a:lnTo>
                    <a:lnTo>
                      <a:pt x="1244" y="1478"/>
                    </a:lnTo>
                    <a:lnTo>
                      <a:pt x="1244" y="1480"/>
                    </a:lnTo>
                    <a:lnTo>
                      <a:pt x="1244" y="1481"/>
                    </a:lnTo>
                    <a:lnTo>
                      <a:pt x="1242" y="1481"/>
                    </a:lnTo>
                    <a:lnTo>
                      <a:pt x="1244" y="1481"/>
                    </a:lnTo>
                    <a:lnTo>
                      <a:pt x="1242" y="1481"/>
                    </a:lnTo>
                    <a:lnTo>
                      <a:pt x="1242" y="1483"/>
                    </a:lnTo>
                    <a:lnTo>
                      <a:pt x="1242" y="1481"/>
                    </a:lnTo>
                    <a:lnTo>
                      <a:pt x="1242" y="1483"/>
                    </a:lnTo>
                    <a:lnTo>
                      <a:pt x="1241" y="1481"/>
                    </a:lnTo>
                    <a:lnTo>
                      <a:pt x="1239" y="1481"/>
                    </a:lnTo>
                    <a:lnTo>
                      <a:pt x="1239" y="1483"/>
                    </a:lnTo>
                    <a:lnTo>
                      <a:pt x="1239" y="1485"/>
                    </a:lnTo>
                    <a:lnTo>
                      <a:pt x="1237" y="1483"/>
                    </a:lnTo>
                    <a:lnTo>
                      <a:pt x="1237" y="1485"/>
                    </a:lnTo>
                    <a:lnTo>
                      <a:pt x="1236" y="1485"/>
                    </a:lnTo>
                    <a:lnTo>
                      <a:pt x="1236" y="1487"/>
                    </a:lnTo>
                    <a:lnTo>
                      <a:pt x="1234" y="1487"/>
                    </a:lnTo>
                    <a:lnTo>
                      <a:pt x="1234" y="1488"/>
                    </a:lnTo>
                    <a:lnTo>
                      <a:pt x="1232" y="1488"/>
                    </a:lnTo>
                    <a:lnTo>
                      <a:pt x="1230" y="1488"/>
                    </a:lnTo>
                    <a:lnTo>
                      <a:pt x="1230" y="1490"/>
                    </a:lnTo>
                    <a:lnTo>
                      <a:pt x="1232" y="1490"/>
                    </a:lnTo>
                    <a:lnTo>
                      <a:pt x="1234" y="1488"/>
                    </a:lnTo>
                    <a:lnTo>
                      <a:pt x="1236" y="1488"/>
                    </a:lnTo>
                    <a:lnTo>
                      <a:pt x="1236" y="1487"/>
                    </a:lnTo>
                    <a:lnTo>
                      <a:pt x="1237" y="1487"/>
                    </a:lnTo>
                    <a:lnTo>
                      <a:pt x="1239" y="1487"/>
                    </a:lnTo>
                    <a:lnTo>
                      <a:pt x="1241" y="1487"/>
                    </a:lnTo>
                    <a:lnTo>
                      <a:pt x="1242" y="1487"/>
                    </a:lnTo>
                    <a:lnTo>
                      <a:pt x="1241" y="1487"/>
                    </a:lnTo>
                    <a:lnTo>
                      <a:pt x="1242" y="1487"/>
                    </a:lnTo>
                    <a:lnTo>
                      <a:pt x="1241" y="1485"/>
                    </a:lnTo>
                    <a:lnTo>
                      <a:pt x="1242" y="1485"/>
                    </a:lnTo>
                    <a:lnTo>
                      <a:pt x="1242" y="1483"/>
                    </a:lnTo>
                    <a:lnTo>
                      <a:pt x="1242" y="1485"/>
                    </a:lnTo>
                    <a:lnTo>
                      <a:pt x="1244" y="1483"/>
                    </a:lnTo>
                    <a:lnTo>
                      <a:pt x="1244" y="1485"/>
                    </a:lnTo>
                    <a:lnTo>
                      <a:pt x="1244" y="1483"/>
                    </a:lnTo>
                    <a:lnTo>
                      <a:pt x="1246" y="1483"/>
                    </a:lnTo>
                    <a:lnTo>
                      <a:pt x="1246" y="1481"/>
                    </a:lnTo>
                    <a:lnTo>
                      <a:pt x="1246" y="1480"/>
                    </a:lnTo>
                    <a:lnTo>
                      <a:pt x="1247" y="1478"/>
                    </a:lnTo>
                    <a:lnTo>
                      <a:pt x="1246" y="1478"/>
                    </a:lnTo>
                    <a:lnTo>
                      <a:pt x="1246" y="1476"/>
                    </a:lnTo>
                    <a:lnTo>
                      <a:pt x="1247" y="1476"/>
                    </a:lnTo>
                    <a:lnTo>
                      <a:pt x="1247" y="1475"/>
                    </a:lnTo>
                    <a:lnTo>
                      <a:pt x="1247" y="1473"/>
                    </a:lnTo>
                    <a:lnTo>
                      <a:pt x="1246" y="1473"/>
                    </a:lnTo>
                    <a:lnTo>
                      <a:pt x="1246" y="1471"/>
                    </a:lnTo>
                    <a:lnTo>
                      <a:pt x="1244" y="1470"/>
                    </a:lnTo>
                    <a:lnTo>
                      <a:pt x="1244" y="1468"/>
                    </a:lnTo>
                    <a:lnTo>
                      <a:pt x="1242" y="1466"/>
                    </a:lnTo>
                    <a:lnTo>
                      <a:pt x="1242" y="1464"/>
                    </a:lnTo>
                    <a:lnTo>
                      <a:pt x="1241" y="1464"/>
                    </a:lnTo>
                    <a:lnTo>
                      <a:pt x="1241" y="1463"/>
                    </a:lnTo>
                    <a:lnTo>
                      <a:pt x="1241" y="1461"/>
                    </a:lnTo>
                    <a:lnTo>
                      <a:pt x="1241" y="1459"/>
                    </a:lnTo>
                    <a:lnTo>
                      <a:pt x="1242" y="1458"/>
                    </a:lnTo>
                    <a:lnTo>
                      <a:pt x="1244" y="1458"/>
                    </a:lnTo>
                    <a:lnTo>
                      <a:pt x="1242" y="1458"/>
                    </a:lnTo>
                    <a:lnTo>
                      <a:pt x="1244" y="1459"/>
                    </a:lnTo>
                    <a:lnTo>
                      <a:pt x="1244" y="1461"/>
                    </a:lnTo>
                    <a:lnTo>
                      <a:pt x="1244" y="1459"/>
                    </a:lnTo>
                    <a:lnTo>
                      <a:pt x="1244" y="1458"/>
                    </a:lnTo>
                    <a:lnTo>
                      <a:pt x="1246" y="1459"/>
                    </a:lnTo>
                    <a:lnTo>
                      <a:pt x="1247" y="1458"/>
                    </a:lnTo>
                    <a:lnTo>
                      <a:pt x="1249" y="1458"/>
                    </a:lnTo>
                    <a:lnTo>
                      <a:pt x="1247" y="1456"/>
                    </a:lnTo>
                    <a:lnTo>
                      <a:pt x="1247" y="1454"/>
                    </a:lnTo>
                    <a:lnTo>
                      <a:pt x="1246" y="1453"/>
                    </a:lnTo>
                    <a:lnTo>
                      <a:pt x="1247" y="1453"/>
                    </a:lnTo>
                    <a:lnTo>
                      <a:pt x="1247" y="1451"/>
                    </a:lnTo>
                    <a:lnTo>
                      <a:pt x="1249" y="1449"/>
                    </a:lnTo>
                    <a:lnTo>
                      <a:pt x="1247" y="1449"/>
                    </a:lnTo>
                    <a:lnTo>
                      <a:pt x="1247" y="1447"/>
                    </a:lnTo>
                    <a:lnTo>
                      <a:pt x="1246" y="1447"/>
                    </a:lnTo>
                    <a:lnTo>
                      <a:pt x="1247" y="1446"/>
                    </a:lnTo>
                    <a:lnTo>
                      <a:pt x="1246" y="1446"/>
                    </a:lnTo>
                    <a:lnTo>
                      <a:pt x="1244" y="1444"/>
                    </a:lnTo>
                    <a:lnTo>
                      <a:pt x="1242" y="1444"/>
                    </a:lnTo>
                    <a:lnTo>
                      <a:pt x="1242" y="1442"/>
                    </a:lnTo>
                    <a:lnTo>
                      <a:pt x="1242" y="1441"/>
                    </a:lnTo>
                    <a:lnTo>
                      <a:pt x="1241" y="1441"/>
                    </a:lnTo>
                    <a:lnTo>
                      <a:pt x="1241" y="1439"/>
                    </a:lnTo>
                    <a:lnTo>
                      <a:pt x="1241" y="1441"/>
                    </a:lnTo>
                    <a:lnTo>
                      <a:pt x="1242" y="1441"/>
                    </a:lnTo>
                    <a:lnTo>
                      <a:pt x="1241" y="1442"/>
                    </a:lnTo>
                    <a:lnTo>
                      <a:pt x="1241" y="1441"/>
                    </a:lnTo>
                    <a:lnTo>
                      <a:pt x="1241" y="1439"/>
                    </a:lnTo>
                    <a:lnTo>
                      <a:pt x="1239" y="1439"/>
                    </a:lnTo>
                    <a:lnTo>
                      <a:pt x="1241" y="1439"/>
                    </a:lnTo>
                    <a:lnTo>
                      <a:pt x="1239" y="1439"/>
                    </a:lnTo>
                    <a:lnTo>
                      <a:pt x="1239" y="1437"/>
                    </a:lnTo>
                    <a:lnTo>
                      <a:pt x="1237" y="1439"/>
                    </a:lnTo>
                    <a:lnTo>
                      <a:pt x="1237" y="1437"/>
                    </a:lnTo>
                    <a:lnTo>
                      <a:pt x="1236" y="1437"/>
                    </a:lnTo>
                    <a:lnTo>
                      <a:pt x="1234" y="1437"/>
                    </a:lnTo>
                    <a:lnTo>
                      <a:pt x="1232" y="1435"/>
                    </a:lnTo>
                    <a:lnTo>
                      <a:pt x="1232" y="1434"/>
                    </a:lnTo>
                    <a:lnTo>
                      <a:pt x="1230" y="1434"/>
                    </a:lnTo>
                    <a:lnTo>
                      <a:pt x="1229" y="1434"/>
                    </a:lnTo>
                    <a:lnTo>
                      <a:pt x="1227" y="1434"/>
                    </a:lnTo>
                    <a:lnTo>
                      <a:pt x="1227" y="1432"/>
                    </a:lnTo>
                    <a:lnTo>
                      <a:pt x="1227" y="1430"/>
                    </a:lnTo>
                    <a:lnTo>
                      <a:pt x="1225" y="1432"/>
                    </a:lnTo>
                    <a:lnTo>
                      <a:pt x="1224" y="1432"/>
                    </a:lnTo>
                    <a:lnTo>
                      <a:pt x="1224" y="1434"/>
                    </a:lnTo>
                    <a:lnTo>
                      <a:pt x="1222" y="1432"/>
                    </a:lnTo>
                    <a:lnTo>
                      <a:pt x="1222" y="1434"/>
                    </a:lnTo>
                    <a:lnTo>
                      <a:pt x="1222" y="1432"/>
                    </a:lnTo>
                    <a:lnTo>
                      <a:pt x="1220" y="1434"/>
                    </a:lnTo>
                    <a:lnTo>
                      <a:pt x="1222" y="1434"/>
                    </a:lnTo>
                    <a:lnTo>
                      <a:pt x="1222" y="1435"/>
                    </a:lnTo>
                    <a:lnTo>
                      <a:pt x="1224" y="1435"/>
                    </a:lnTo>
                    <a:lnTo>
                      <a:pt x="1224" y="1434"/>
                    </a:lnTo>
                    <a:lnTo>
                      <a:pt x="1225" y="1434"/>
                    </a:lnTo>
                    <a:lnTo>
                      <a:pt x="1227" y="1434"/>
                    </a:lnTo>
                    <a:lnTo>
                      <a:pt x="1229" y="1434"/>
                    </a:lnTo>
                    <a:lnTo>
                      <a:pt x="1229" y="1435"/>
                    </a:lnTo>
                    <a:lnTo>
                      <a:pt x="1229" y="1437"/>
                    </a:lnTo>
                    <a:lnTo>
                      <a:pt x="1227" y="1439"/>
                    </a:lnTo>
                    <a:lnTo>
                      <a:pt x="1225" y="1439"/>
                    </a:lnTo>
                    <a:lnTo>
                      <a:pt x="1225" y="1441"/>
                    </a:lnTo>
                    <a:lnTo>
                      <a:pt x="1227" y="1439"/>
                    </a:lnTo>
                    <a:lnTo>
                      <a:pt x="1229" y="1439"/>
                    </a:lnTo>
                    <a:lnTo>
                      <a:pt x="1229" y="1437"/>
                    </a:lnTo>
                    <a:lnTo>
                      <a:pt x="1229" y="1435"/>
                    </a:lnTo>
                    <a:lnTo>
                      <a:pt x="1230" y="1435"/>
                    </a:lnTo>
                    <a:lnTo>
                      <a:pt x="1232" y="1437"/>
                    </a:lnTo>
                    <a:lnTo>
                      <a:pt x="1232" y="1439"/>
                    </a:lnTo>
                    <a:lnTo>
                      <a:pt x="1234" y="1437"/>
                    </a:lnTo>
                    <a:lnTo>
                      <a:pt x="1234" y="1439"/>
                    </a:lnTo>
                    <a:lnTo>
                      <a:pt x="1236" y="1441"/>
                    </a:lnTo>
                    <a:lnTo>
                      <a:pt x="1236" y="1439"/>
                    </a:lnTo>
                    <a:lnTo>
                      <a:pt x="1237" y="1439"/>
                    </a:lnTo>
                    <a:lnTo>
                      <a:pt x="1237" y="1441"/>
                    </a:lnTo>
                    <a:lnTo>
                      <a:pt x="1239" y="1441"/>
                    </a:lnTo>
                    <a:lnTo>
                      <a:pt x="1239" y="1442"/>
                    </a:lnTo>
                    <a:lnTo>
                      <a:pt x="1241" y="1444"/>
                    </a:lnTo>
                    <a:lnTo>
                      <a:pt x="1241" y="1446"/>
                    </a:lnTo>
                    <a:lnTo>
                      <a:pt x="1242" y="1444"/>
                    </a:lnTo>
                    <a:lnTo>
                      <a:pt x="1242" y="1446"/>
                    </a:lnTo>
                    <a:lnTo>
                      <a:pt x="1244" y="1446"/>
                    </a:lnTo>
                    <a:lnTo>
                      <a:pt x="1246" y="1446"/>
                    </a:lnTo>
                    <a:lnTo>
                      <a:pt x="1246" y="1447"/>
                    </a:lnTo>
                    <a:lnTo>
                      <a:pt x="1246" y="1449"/>
                    </a:lnTo>
                    <a:lnTo>
                      <a:pt x="1244" y="1451"/>
                    </a:lnTo>
                    <a:lnTo>
                      <a:pt x="1244" y="1453"/>
                    </a:lnTo>
                    <a:lnTo>
                      <a:pt x="1242" y="1453"/>
                    </a:lnTo>
                    <a:lnTo>
                      <a:pt x="1241" y="1453"/>
                    </a:lnTo>
                    <a:lnTo>
                      <a:pt x="1239" y="1451"/>
                    </a:lnTo>
                    <a:lnTo>
                      <a:pt x="1239" y="1453"/>
                    </a:lnTo>
                    <a:lnTo>
                      <a:pt x="1239" y="1451"/>
                    </a:lnTo>
                    <a:lnTo>
                      <a:pt x="1237" y="1451"/>
                    </a:lnTo>
                    <a:lnTo>
                      <a:pt x="1237" y="1449"/>
                    </a:lnTo>
                    <a:lnTo>
                      <a:pt x="1236" y="1449"/>
                    </a:lnTo>
                    <a:lnTo>
                      <a:pt x="1234" y="1447"/>
                    </a:lnTo>
                    <a:lnTo>
                      <a:pt x="1234" y="1449"/>
                    </a:lnTo>
                    <a:lnTo>
                      <a:pt x="1232" y="1447"/>
                    </a:lnTo>
                    <a:lnTo>
                      <a:pt x="1232" y="1449"/>
                    </a:lnTo>
                    <a:lnTo>
                      <a:pt x="1230" y="1449"/>
                    </a:lnTo>
                    <a:lnTo>
                      <a:pt x="1230" y="1447"/>
                    </a:lnTo>
                    <a:lnTo>
                      <a:pt x="1230" y="1446"/>
                    </a:lnTo>
                    <a:lnTo>
                      <a:pt x="1229" y="1446"/>
                    </a:lnTo>
                    <a:lnTo>
                      <a:pt x="1227" y="1446"/>
                    </a:lnTo>
                    <a:lnTo>
                      <a:pt x="1227" y="1444"/>
                    </a:lnTo>
                    <a:lnTo>
                      <a:pt x="1227" y="1446"/>
                    </a:lnTo>
                    <a:lnTo>
                      <a:pt x="1225" y="1446"/>
                    </a:lnTo>
                    <a:lnTo>
                      <a:pt x="1225" y="1444"/>
                    </a:lnTo>
                    <a:lnTo>
                      <a:pt x="1224" y="1444"/>
                    </a:lnTo>
                    <a:lnTo>
                      <a:pt x="1224" y="1442"/>
                    </a:lnTo>
                    <a:lnTo>
                      <a:pt x="1224" y="1441"/>
                    </a:lnTo>
                    <a:lnTo>
                      <a:pt x="1222" y="1441"/>
                    </a:lnTo>
                    <a:lnTo>
                      <a:pt x="1220" y="1439"/>
                    </a:lnTo>
                    <a:lnTo>
                      <a:pt x="1220" y="1441"/>
                    </a:lnTo>
                    <a:lnTo>
                      <a:pt x="1222" y="1441"/>
                    </a:lnTo>
                    <a:lnTo>
                      <a:pt x="1222" y="1442"/>
                    </a:lnTo>
                    <a:lnTo>
                      <a:pt x="1222" y="1444"/>
                    </a:lnTo>
                    <a:lnTo>
                      <a:pt x="1220" y="1444"/>
                    </a:lnTo>
                    <a:lnTo>
                      <a:pt x="1220" y="1446"/>
                    </a:lnTo>
                    <a:lnTo>
                      <a:pt x="1222" y="1444"/>
                    </a:lnTo>
                    <a:lnTo>
                      <a:pt x="1224" y="1446"/>
                    </a:lnTo>
                    <a:lnTo>
                      <a:pt x="1225" y="1446"/>
                    </a:lnTo>
                    <a:lnTo>
                      <a:pt x="1227" y="1446"/>
                    </a:lnTo>
                    <a:lnTo>
                      <a:pt x="1229" y="1447"/>
                    </a:lnTo>
                    <a:lnTo>
                      <a:pt x="1229" y="1449"/>
                    </a:lnTo>
                    <a:lnTo>
                      <a:pt x="1230" y="1451"/>
                    </a:lnTo>
                    <a:lnTo>
                      <a:pt x="1229" y="1451"/>
                    </a:lnTo>
                    <a:lnTo>
                      <a:pt x="1229" y="1449"/>
                    </a:lnTo>
                    <a:lnTo>
                      <a:pt x="1227" y="1447"/>
                    </a:lnTo>
                    <a:lnTo>
                      <a:pt x="1225" y="1449"/>
                    </a:lnTo>
                    <a:lnTo>
                      <a:pt x="1224" y="1449"/>
                    </a:lnTo>
                    <a:lnTo>
                      <a:pt x="1225" y="1451"/>
                    </a:lnTo>
                    <a:lnTo>
                      <a:pt x="1225" y="1449"/>
                    </a:lnTo>
                    <a:lnTo>
                      <a:pt x="1227" y="1449"/>
                    </a:lnTo>
                    <a:lnTo>
                      <a:pt x="1229" y="1449"/>
                    </a:lnTo>
                    <a:lnTo>
                      <a:pt x="1229" y="1451"/>
                    </a:lnTo>
                    <a:lnTo>
                      <a:pt x="1229" y="1453"/>
                    </a:lnTo>
                    <a:lnTo>
                      <a:pt x="1227" y="1453"/>
                    </a:lnTo>
                    <a:lnTo>
                      <a:pt x="1227" y="1454"/>
                    </a:lnTo>
                    <a:lnTo>
                      <a:pt x="1225" y="1454"/>
                    </a:lnTo>
                    <a:lnTo>
                      <a:pt x="1225" y="1456"/>
                    </a:lnTo>
                    <a:lnTo>
                      <a:pt x="1224" y="1454"/>
                    </a:lnTo>
                    <a:lnTo>
                      <a:pt x="1224" y="1456"/>
                    </a:lnTo>
                    <a:lnTo>
                      <a:pt x="1224" y="1454"/>
                    </a:lnTo>
                    <a:lnTo>
                      <a:pt x="1222" y="1456"/>
                    </a:lnTo>
                    <a:lnTo>
                      <a:pt x="1224" y="1456"/>
                    </a:lnTo>
                    <a:lnTo>
                      <a:pt x="1225" y="1456"/>
                    </a:lnTo>
                    <a:lnTo>
                      <a:pt x="1227" y="1456"/>
                    </a:lnTo>
                    <a:lnTo>
                      <a:pt x="1227" y="1454"/>
                    </a:lnTo>
                    <a:lnTo>
                      <a:pt x="1229" y="1454"/>
                    </a:lnTo>
                    <a:lnTo>
                      <a:pt x="1229" y="1453"/>
                    </a:lnTo>
                    <a:lnTo>
                      <a:pt x="1230" y="1453"/>
                    </a:lnTo>
                    <a:lnTo>
                      <a:pt x="1230" y="1451"/>
                    </a:lnTo>
                    <a:lnTo>
                      <a:pt x="1232" y="1453"/>
                    </a:lnTo>
                    <a:lnTo>
                      <a:pt x="1232" y="1454"/>
                    </a:lnTo>
                    <a:lnTo>
                      <a:pt x="1232" y="1453"/>
                    </a:lnTo>
                    <a:lnTo>
                      <a:pt x="1232" y="1454"/>
                    </a:lnTo>
                    <a:lnTo>
                      <a:pt x="1232" y="1456"/>
                    </a:lnTo>
                    <a:lnTo>
                      <a:pt x="1230" y="1456"/>
                    </a:lnTo>
                    <a:lnTo>
                      <a:pt x="1229" y="1458"/>
                    </a:lnTo>
                    <a:lnTo>
                      <a:pt x="1227" y="1458"/>
                    </a:lnTo>
                    <a:lnTo>
                      <a:pt x="1225" y="1459"/>
                    </a:lnTo>
                    <a:lnTo>
                      <a:pt x="1225" y="1461"/>
                    </a:lnTo>
                    <a:lnTo>
                      <a:pt x="1225" y="1463"/>
                    </a:lnTo>
                    <a:lnTo>
                      <a:pt x="1225" y="1464"/>
                    </a:lnTo>
                    <a:lnTo>
                      <a:pt x="1225" y="1466"/>
                    </a:lnTo>
                    <a:lnTo>
                      <a:pt x="1225" y="1468"/>
                    </a:lnTo>
                    <a:lnTo>
                      <a:pt x="1224" y="1468"/>
                    </a:lnTo>
                    <a:lnTo>
                      <a:pt x="1222" y="1468"/>
                    </a:lnTo>
                    <a:lnTo>
                      <a:pt x="1222" y="1466"/>
                    </a:lnTo>
                    <a:lnTo>
                      <a:pt x="1222" y="1464"/>
                    </a:lnTo>
                    <a:lnTo>
                      <a:pt x="1222" y="1463"/>
                    </a:lnTo>
                    <a:lnTo>
                      <a:pt x="1222" y="1461"/>
                    </a:lnTo>
                    <a:lnTo>
                      <a:pt x="1220" y="1459"/>
                    </a:lnTo>
                    <a:lnTo>
                      <a:pt x="1222" y="1458"/>
                    </a:lnTo>
                    <a:lnTo>
                      <a:pt x="1220" y="1456"/>
                    </a:lnTo>
                    <a:lnTo>
                      <a:pt x="1220" y="1458"/>
                    </a:lnTo>
                    <a:lnTo>
                      <a:pt x="1220" y="1456"/>
                    </a:lnTo>
                    <a:lnTo>
                      <a:pt x="1222" y="1456"/>
                    </a:lnTo>
                    <a:lnTo>
                      <a:pt x="1220" y="1454"/>
                    </a:lnTo>
                    <a:lnTo>
                      <a:pt x="1220" y="1453"/>
                    </a:lnTo>
                    <a:lnTo>
                      <a:pt x="1220" y="1451"/>
                    </a:lnTo>
                    <a:lnTo>
                      <a:pt x="1220" y="1449"/>
                    </a:lnTo>
                    <a:lnTo>
                      <a:pt x="1219" y="1449"/>
                    </a:lnTo>
                    <a:lnTo>
                      <a:pt x="1219" y="1447"/>
                    </a:lnTo>
                    <a:lnTo>
                      <a:pt x="1219" y="1446"/>
                    </a:lnTo>
                    <a:lnTo>
                      <a:pt x="1217" y="1444"/>
                    </a:lnTo>
                    <a:lnTo>
                      <a:pt x="1217" y="1442"/>
                    </a:lnTo>
                    <a:lnTo>
                      <a:pt x="1217" y="1444"/>
                    </a:lnTo>
                    <a:lnTo>
                      <a:pt x="1217" y="1446"/>
                    </a:lnTo>
                    <a:lnTo>
                      <a:pt x="1219" y="1446"/>
                    </a:lnTo>
                    <a:lnTo>
                      <a:pt x="1219" y="1447"/>
                    </a:lnTo>
                    <a:lnTo>
                      <a:pt x="1219" y="1449"/>
                    </a:lnTo>
                    <a:lnTo>
                      <a:pt x="1219" y="1451"/>
                    </a:lnTo>
                    <a:lnTo>
                      <a:pt x="1219" y="1453"/>
                    </a:lnTo>
                    <a:lnTo>
                      <a:pt x="1220" y="1454"/>
                    </a:lnTo>
                    <a:lnTo>
                      <a:pt x="1219" y="1453"/>
                    </a:lnTo>
                    <a:lnTo>
                      <a:pt x="1219" y="1454"/>
                    </a:lnTo>
                    <a:lnTo>
                      <a:pt x="1220" y="1454"/>
                    </a:lnTo>
                    <a:lnTo>
                      <a:pt x="1219" y="1456"/>
                    </a:lnTo>
                    <a:lnTo>
                      <a:pt x="1220" y="1458"/>
                    </a:lnTo>
                    <a:lnTo>
                      <a:pt x="1220" y="1459"/>
                    </a:lnTo>
                    <a:lnTo>
                      <a:pt x="1220" y="1461"/>
                    </a:lnTo>
                    <a:lnTo>
                      <a:pt x="1220" y="1463"/>
                    </a:lnTo>
                    <a:lnTo>
                      <a:pt x="1220" y="1464"/>
                    </a:lnTo>
                    <a:lnTo>
                      <a:pt x="1220" y="1466"/>
                    </a:lnTo>
                    <a:lnTo>
                      <a:pt x="1222" y="1468"/>
                    </a:lnTo>
                    <a:lnTo>
                      <a:pt x="1220" y="1470"/>
                    </a:lnTo>
                    <a:lnTo>
                      <a:pt x="1220" y="1471"/>
                    </a:lnTo>
                    <a:lnTo>
                      <a:pt x="1219" y="1471"/>
                    </a:lnTo>
                    <a:lnTo>
                      <a:pt x="1219" y="1470"/>
                    </a:lnTo>
                    <a:lnTo>
                      <a:pt x="1217" y="1470"/>
                    </a:lnTo>
                    <a:lnTo>
                      <a:pt x="1217" y="1468"/>
                    </a:lnTo>
                    <a:lnTo>
                      <a:pt x="1215" y="1468"/>
                    </a:lnTo>
                    <a:lnTo>
                      <a:pt x="1215" y="1466"/>
                    </a:lnTo>
                    <a:lnTo>
                      <a:pt x="1213" y="1466"/>
                    </a:lnTo>
                    <a:lnTo>
                      <a:pt x="1212" y="1464"/>
                    </a:lnTo>
                    <a:lnTo>
                      <a:pt x="1212" y="1463"/>
                    </a:lnTo>
                    <a:lnTo>
                      <a:pt x="1210" y="1463"/>
                    </a:lnTo>
                    <a:lnTo>
                      <a:pt x="1212" y="1463"/>
                    </a:lnTo>
                    <a:lnTo>
                      <a:pt x="1210" y="1463"/>
                    </a:lnTo>
                    <a:lnTo>
                      <a:pt x="1210" y="1461"/>
                    </a:lnTo>
                    <a:lnTo>
                      <a:pt x="1210" y="1459"/>
                    </a:lnTo>
                    <a:lnTo>
                      <a:pt x="1210" y="1458"/>
                    </a:lnTo>
                    <a:lnTo>
                      <a:pt x="1212" y="1458"/>
                    </a:lnTo>
                    <a:lnTo>
                      <a:pt x="1210" y="1458"/>
                    </a:lnTo>
                    <a:lnTo>
                      <a:pt x="1210" y="1456"/>
                    </a:lnTo>
                    <a:lnTo>
                      <a:pt x="1208" y="1456"/>
                    </a:lnTo>
                    <a:lnTo>
                      <a:pt x="1208" y="1454"/>
                    </a:lnTo>
                    <a:lnTo>
                      <a:pt x="1208" y="1453"/>
                    </a:lnTo>
                    <a:lnTo>
                      <a:pt x="1208" y="1451"/>
                    </a:lnTo>
                    <a:lnTo>
                      <a:pt x="1210" y="1453"/>
                    </a:lnTo>
                    <a:lnTo>
                      <a:pt x="1210" y="1451"/>
                    </a:lnTo>
                    <a:lnTo>
                      <a:pt x="1210" y="1453"/>
                    </a:lnTo>
                    <a:lnTo>
                      <a:pt x="1210" y="1454"/>
                    </a:lnTo>
                    <a:lnTo>
                      <a:pt x="1212" y="1454"/>
                    </a:lnTo>
                    <a:lnTo>
                      <a:pt x="1212" y="1456"/>
                    </a:lnTo>
                    <a:lnTo>
                      <a:pt x="1213" y="1458"/>
                    </a:lnTo>
                    <a:lnTo>
                      <a:pt x="1213" y="1459"/>
                    </a:lnTo>
                    <a:lnTo>
                      <a:pt x="1212" y="1458"/>
                    </a:lnTo>
                    <a:lnTo>
                      <a:pt x="1212" y="1459"/>
                    </a:lnTo>
                    <a:lnTo>
                      <a:pt x="1213" y="1459"/>
                    </a:lnTo>
                    <a:lnTo>
                      <a:pt x="1215" y="1461"/>
                    </a:lnTo>
                    <a:lnTo>
                      <a:pt x="1215" y="1463"/>
                    </a:lnTo>
                    <a:lnTo>
                      <a:pt x="1217" y="1464"/>
                    </a:lnTo>
                    <a:lnTo>
                      <a:pt x="1217" y="1463"/>
                    </a:lnTo>
                    <a:lnTo>
                      <a:pt x="1215" y="1461"/>
                    </a:lnTo>
                    <a:lnTo>
                      <a:pt x="1215" y="1459"/>
                    </a:lnTo>
                    <a:lnTo>
                      <a:pt x="1215" y="1458"/>
                    </a:lnTo>
                    <a:lnTo>
                      <a:pt x="1213" y="1458"/>
                    </a:lnTo>
                    <a:lnTo>
                      <a:pt x="1215" y="1456"/>
                    </a:lnTo>
                    <a:lnTo>
                      <a:pt x="1213" y="1456"/>
                    </a:lnTo>
                    <a:lnTo>
                      <a:pt x="1213" y="1454"/>
                    </a:lnTo>
                    <a:lnTo>
                      <a:pt x="1212" y="1453"/>
                    </a:lnTo>
                    <a:lnTo>
                      <a:pt x="1212" y="1451"/>
                    </a:lnTo>
                    <a:lnTo>
                      <a:pt x="1213" y="1451"/>
                    </a:lnTo>
                    <a:lnTo>
                      <a:pt x="1212" y="1451"/>
                    </a:lnTo>
                    <a:lnTo>
                      <a:pt x="1212" y="1449"/>
                    </a:lnTo>
                    <a:lnTo>
                      <a:pt x="1210" y="1449"/>
                    </a:lnTo>
                    <a:lnTo>
                      <a:pt x="1210" y="1447"/>
                    </a:lnTo>
                    <a:lnTo>
                      <a:pt x="1212" y="1447"/>
                    </a:lnTo>
                    <a:lnTo>
                      <a:pt x="1213" y="1447"/>
                    </a:lnTo>
                    <a:lnTo>
                      <a:pt x="1213" y="1446"/>
                    </a:lnTo>
                    <a:lnTo>
                      <a:pt x="1215" y="1444"/>
                    </a:lnTo>
                    <a:lnTo>
                      <a:pt x="1213" y="1444"/>
                    </a:lnTo>
                    <a:lnTo>
                      <a:pt x="1213" y="1446"/>
                    </a:lnTo>
                    <a:lnTo>
                      <a:pt x="1212" y="1446"/>
                    </a:lnTo>
                    <a:lnTo>
                      <a:pt x="1212" y="1447"/>
                    </a:lnTo>
                    <a:lnTo>
                      <a:pt x="1212" y="1446"/>
                    </a:lnTo>
                    <a:lnTo>
                      <a:pt x="1212" y="1444"/>
                    </a:lnTo>
                    <a:lnTo>
                      <a:pt x="1212" y="1446"/>
                    </a:lnTo>
                    <a:lnTo>
                      <a:pt x="1210" y="1447"/>
                    </a:lnTo>
                    <a:lnTo>
                      <a:pt x="1210" y="1446"/>
                    </a:lnTo>
                    <a:lnTo>
                      <a:pt x="1208" y="1446"/>
                    </a:lnTo>
                    <a:lnTo>
                      <a:pt x="1208" y="1444"/>
                    </a:lnTo>
                    <a:lnTo>
                      <a:pt x="1208" y="1442"/>
                    </a:lnTo>
                    <a:lnTo>
                      <a:pt x="1208" y="1444"/>
                    </a:lnTo>
                    <a:lnTo>
                      <a:pt x="1208" y="1446"/>
                    </a:lnTo>
                    <a:lnTo>
                      <a:pt x="1208" y="1447"/>
                    </a:lnTo>
                    <a:lnTo>
                      <a:pt x="1207" y="1447"/>
                    </a:lnTo>
                    <a:lnTo>
                      <a:pt x="1207" y="1449"/>
                    </a:lnTo>
                    <a:lnTo>
                      <a:pt x="1207" y="1451"/>
                    </a:lnTo>
                    <a:lnTo>
                      <a:pt x="1205" y="1449"/>
                    </a:lnTo>
                    <a:lnTo>
                      <a:pt x="1205" y="1447"/>
                    </a:lnTo>
                    <a:lnTo>
                      <a:pt x="1205" y="1446"/>
                    </a:lnTo>
                    <a:lnTo>
                      <a:pt x="1203" y="1446"/>
                    </a:lnTo>
                    <a:lnTo>
                      <a:pt x="1203" y="1444"/>
                    </a:lnTo>
                    <a:lnTo>
                      <a:pt x="1202" y="1444"/>
                    </a:lnTo>
                    <a:lnTo>
                      <a:pt x="1203" y="1442"/>
                    </a:lnTo>
                    <a:lnTo>
                      <a:pt x="1205" y="1442"/>
                    </a:lnTo>
                    <a:lnTo>
                      <a:pt x="1203" y="1442"/>
                    </a:lnTo>
                    <a:lnTo>
                      <a:pt x="1202" y="1442"/>
                    </a:lnTo>
                    <a:lnTo>
                      <a:pt x="1200" y="1442"/>
                    </a:lnTo>
                    <a:lnTo>
                      <a:pt x="1200" y="1441"/>
                    </a:lnTo>
                    <a:lnTo>
                      <a:pt x="1198" y="1441"/>
                    </a:lnTo>
                    <a:lnTo>
                      <a:pt x="1200" y="1441"/>
                    </a:lnTo>
                    <a:lnTo>
                      <a:pt x="1200" y="1439"/>
                    </a:lnTo>
                    <a:lnTo>
                      <a:pt x="1202" y="1439"/>
                    </a:lnTo>
                    <a:lnTo>
                      <a:pt x="1203" y="1439"/>
                    </a:lnTo>
                    <a:lnTo>
                      <a:pt x="1202" y="1439"/>
                    </a:lnTo>
                    <a:lnTo>
                      <a:pt x="1202" y="1437"/>
                    </a:lnTo>
                    <a:lnTo>
                      <a:pt x="1203" y="1437"/>
                    </a:lnTo>
                    <a:lnTo>
                      <a:pt x="1202" y="1437"/>
                    </a:lnTo>
                    <a:lnTo>
                      <a:pt x="1203" y="1435"/>
                    </a:lnTo>
                    <a:lnTo>
                      <a:pt x="1202" y="1437"/>
                    </a:lnTo>
                    <a:lnTo>
                      <a:pt x="1202" y="1435"/>
                    </a:lnTo>
                    <a:lnTo>
                      <a:pt x="1200" y="1437"/>
                    </a:lnTo>
                    <a:lnTo>
                      <a:pt x="1200" y="1439"/>
                    </a:lnTo>
                    <a:lnTo>
                      <a:pt x="1200" y="1437"/>
                    </a:lnTo>
                    <a:lnTo>
                      <a:pt x="1200" y="1435"/>
                    </a:lnTo>
                    <a:lnTo>
                      <a:pt x="1198" y="1435"/>
                    </a:lnTo>
                    <a:lnTo>
                      <a:pt x="1200" y="1435"/>
                    </a:lnTo>
                    <a:lnTo>
                      <a:pt x="1198" y="1435"/>
                    </a:lnTo>
                    <a:lnTo>
                      <a:pt x="1198" y="1434"/>
                    </a:lnTo>
                    <a:lnTo>
                      <a:pt x="1198" y="1435"/>
                    </a:lnTo>
                    <a:lnTo>
                      <a:pt x="1198" y="1434"/>
                    </a:lnTo>
                    <a:lnTo>
                      <a:pt x="1196" y="1435"/>
                    </a:lnTo>
                    <a:lnTo>
                      <a:pt x="1196" y="1434"/>
                    </a:lnTo>
                    <a:lnTo>
                      <a:pt x="1198" y="1432"/>
                    </a:lnTo>
                    <a:lnTo>
                      <a:pt x="1198" y="1434"/>
                    </a:lnTo>
                    <a:lnTo>
                      <a:pt x="1198" y="1432"/>
                    </a:lnTo>
                    <a:lnTo>
                      <a:pt x="1200" y="1432"/>
                    </a:lnTo>
                    <a:lnTo>
                      <a:pt x="1198" y="1432"/>
                    </a:lnTo>
                    <a:lnTo>
                      <a:pt x="1198" y="1430"/>
                    </a:lnTo>
                    <a:lnTo>
                      <a:pt x="1200" y="1430"/>
                    </a:lnTo>
                    <a:lnTo>
                      <a:pt x="1198" y="1430"/>
                    </a:lnTo>
                    <a:lnTo>
                      <a:pt x="1198" y="1429"/>
                    </a:lnTo>
                    <a:lnTo>
                      <a:pt x="1200" y="1429"/>
                    </a:lnTo>
                    <a:lnTo>
                      <a:pt x="1200" y="1427"/>
                    </a:lnTo>
                    <a:lnTo>
                      <a:pt x="1200" y="1429"/>
                    </a:lnTo>
                    <a:lnTo>
                      <a:pt x="1202" y="1429"/>
                    </a:lnTo>
                    <a:lnTo>
                      <a:pt x="1203" y="1429"/>
                    </a:lnTo>
                    <a:lnTo>
                      <a:pt x="1203" y="1430"/>
                    </a:lnTo>
                    <a:lnTo>
                      <a:pt x="1203" y="1432"/>
                    </a:lnTo>
                    <a:lnTo>
                      <a:pt x="1205" y="1432"/>
                    </a:lnTo>
                    <a:lnTo>
                      <a:pt x="1205" y="1434"/>
                    </a:lnTo>
                    <a:lnTo>
                      <a:pt x="1205" y="1432"/>
                    </a:lnTo>
                    <a:lnTo>
                      <a:pt x="1205" y="1430"/>
                    </a:lnTo>
                    <a:lnTo>
                      <a:pt x="1205" y="1432"/>
                    </a:lnTo>
                    <a:lnTo>
                      <a:pt x="1207" y="1434"/>
                    </a:lnTo>
                    <a:lnTo>
                      <a:pt x="1207" y="1435"/>
                    </a:lnTo>
                    <a:lnTo>
                      <a:pt x="1208" y="1437"/>
                    </a:lnTo>
                    <a:lnTo>
                      <a:pt x="1208" y="1439"/>
                    </a:lnTo>
                    <a:lnTo>
                      <a:pt x="1208" y="1441"/>
                    </a:lnTo>
                    <a:lnTo>
                      <a:pt x="1208" y="1442"/>
                    </a:lnTo>
                    <a:lnTo>
                      <a:pt x="1210" y="1441"/>
                    </a:lnTo>
                    <a:lnTo>
                      <a:pt x="1208" y="1439"/>
                    </a:lnTo>
                    <a:lnTo>
                      <a:pt x="1208" y="1437"/>
                    </a:lnTo>
                    <a:lnTo>
                      <a:pt x="1208" y="1435"/>
                    </a:lnTo>
                    <a:lnTo>
                      <a:pt x="1207" y="1434"/>
                    </a:lnTo>
                    <a:lnTo>
                      <a:pt x="1207" y="1435"/>
                    </a:lnTo>
                    <a:lnTo>
                      <a:pt x="1208" y="1435"/>
                    </a:lnTo>
                    <a:lnTo>
                      <a:pt x="1210" y="1435"/>
                    </a:lnTo>
                    <a:lnTo>
                      <a:pt x="1210" y="1437"/>
                    </a:lnTo>
                    <a:lnTo>
                      <a:pt x="1210" y="1435"/>
                    </a:lnTo>
                    <a:lnTo>
                      <a:pt x="1208" y="1435"/>
                    </a:lnTo>
                    <a:lnTo>
                      <a:pt x="1208" y="1434"/>
                    </a:lnTo>
                    <a:lnTo>
                      <a:pt x="1208" y="1432"/>
                    </a:lnTo>
                    <a:lnTo>
                      <a:pt x="1210" y="1432"/>
                    </a:lnTo>
                    <a:lnTo>
                      <a:pt x="1212" y="1432"/>
                    </a:lnTo>
                    <a:lnTo>
                      <a:pt x="1210" y="1432"/>
                    </a:lnTo>
                    <a:lnTo>
                      <a:pt x="1208" y="1432"/>
                    </a:lnTo>
                    <a:lnTo>
                      <a:pt x="1207" y="1430"/>
                    </a:lnTo>
                    <a:lnTo>
                      <a:pt x="1207" y="1429"/>
                    </a:lnTo>
                    <a:lnTo>
                      <a:pt x="1207" y="1427"/>
                    </a:lnTo>
                    <a:lnTo>
                      <a:pt x="1207" y="1425"/>
                    </a:lnTo>
                    <a:lnTo>
                      <a:pt x="1207" y="1427"/>
                    </a:lnTo>
                    <a:lnTo>
                      <a:pt x="1207" y="1425"/>
                    </a:lnTo>
                    <a:lnTo>
                      <a:pt x="1207" y="1424"/>
                    </a:lnTo>
                    <a:lnTo>
                      <a:pt x="1205" y="1422"/>
                    </a:lnTo>
                    <a:lnTo>
                      <a:pt x="1203" y="1420"/>
                    </a:lnTo>
                    <a:lnTo>
                      <a:pt x="1203" y="1418"/>
                    </a:lnTo>
                    <a:lnTo>
                      <a:pt x="1205" y="1418"/>
                    </a:lnTo>
                    <a:lnTo>
                      <a:pt x="1207" y="1418"/>
                    </a:lnTo>
                    <a:lnTo>
                      <a:pt x="1207" y="1420"/>
                    </a:lnTo>
                    <a:lnTo>
                      <a:pt x="1207" y="1422"/>
                    </a:lnTo>
                    <a:lnTo>
                      <a:pt x="1208" y="1422"/>
                    </a:lnTo>
                    <a:lnTo>
                      <a:pt x="1207" y="1422"/>
                    </a:lnTo>
                    <a:lnTo>
                      <a:pt x="1207" y="1420"/>
                    </a:lnTo>
                    <a:lnTo>
                      <a:pt x="1207" y="1418"/>
                    </a:lnTo>
                    <a:lnTo>
                      <a:pt x="1208" y="1418"/>
                    </a:lnTo>
                    <a:lnTo>
                      <a:pt x="1207" y="1418"/>
                    </a:lnTo>
                    <a:lnTo>
                      <a:pt x="1207" y="1417"/>
                    </a:lnTo>
                    <a:lnTo>
                      <a:pt x="1207" y="1415"/>
                    </a:lnTo>
                    <a:lnTo>
                      <a:pt x="1207" y="1417"/>
                    </a:lnTo>
                    <a:lnTo>
                      <a:pt x="1205" y="1417"/>
                    </a:lnTo>
                    <a:lnTo>
                      <a:pt x="1205" y="1415"/>
                    </a:lnTo>
                    <a:lnTo>
                      <a:pt x="1203" y="1413"/>
                    </a:lnTo>
                    <a:lnTo>
                      <a:pt x="1203" y="1412"/>
                    </a:lnTo>
                    <a:lnTo>
                      <a:pt x="1202" y="1412"/>
                    </a:lnTo>
                    <a:lnTo>
                      <a:pt x="1203" y="1412"/>
                    </a:lnTo>
                    <a:lnTo>
                      <a:pt x="1203" y="1413"/>
                    </a:lnTo>
                    <a:lnTo>
                      <a:pt x="1203" y="1415"/>
                    </a:lnTo>
                    <a:lnTo>
                      <a:pt x="1205" y="1415"/>
                    </a:lnTo>
                    <a:lnTo>
                      <a:pt x="1205" y="1417"/>
                    </a:lnTo>
                    <a:lnTo>
                      <a:pt x="1205" y="1418"/>
                    </a:lnTo>
                    <a:lnTo>
                      <a:pt x="1203" y="1418"/>
                    </a:lnTo>
                    <a:lnTo>
                      <a:pt x="1202" y="1420"/>
                    </a:lnTo>
                    <a:lnTo>
                      <a:pt x="1200" y="1422"/>
                    </a:lnTo>
                    <a:lnTo>
                      <a:pt x="1198" y="1420"/>
                    </a:lnTo>
                    <a:lnTo>
                      <a:pt x="1198" y="1418"/>
                    </a:lnTo>
                    <a:lnTo>
                      <a:pt x="1198" y="1417"/>
                    </a:lnTo>
                    <a:lnTo>
                      <a:pt x="1198" y="1415"/>
                    </a:lnTo>
                    <a:lnTo>
                      <a:pt x="1196" y="1415"/>
                    </a:lnTo>
                    <a:lnTo>
                      <a:pt x="1196" y="1413"/>
                    </a:lnTo>
                    <a:lnTo>
                      <a:pt x="1196" y="1415"/>
                    </a:lnTo>
                    <a:lnTo>
                      <a:pt x="1196" y="1417"/>
                    </a:lnTo>
                    <a:lnTo>
                      <a:pt x="1196" y="1418"/>
                    </a:lnTo>
                    <a:lnTo>
                      <a:pt x="1195" y="1418"/>
                    </a:lnTo>
                    <a:lnTo>
                      <a:pt x="1193" y="1418"/>
                    </a:lnTo>
                    <a:lnTo>
                      <a:pt x="1191" y="1417"/>
                    </a:lnTo>
                    <a:lnTo>
                      <a:pt x="1193" y="1415"/>
                    </a:lnTo>
                    <a:lnTo>
                      <a:pt x="1191" y="1413"/>
                    </a:lnTo>
                    <a:lnTo>
                      <a:pt x="1193" y="1413"/>
                    </a:lnTo>
                    <a:lnTo>
                      <a:pt x="1191" y="1413"/>
                    </a:lnTo>
                    <a:lnTo>
                      <a:pt x="1191" y="1412"/>
                    </a:lnTo>
                    <a:lnTo>
                      <a:pt x="1191" y="1410"/>
                    </a:lnTo>
                    <a:lnTo>
                      <a:pt x="1191" y="1412"/>
                    </a:lnTo>
                    <a:lnTo>
                      <a:pt x="1191" y="1410"/>
                    </a:lnTo>
                    <a:lnTo>
                      <a:pt x="1193" y="1410"/>
                    </a:lnTo>
                    <a:lnTo>
                      <a:pt x="1193" y="1408"/>
                    </a:lnTo>
                    <a:lnTo>
                      <a:pt x="1195" y="1408"/>
                    </a:lnTo>
                    <a:lnTo>
                      <a:pt x="1195" y="1407"/>
                    </a:lnTo>
                    <a:lnTo>
                      <a:pt x="1193" y="1407"/>
                    </a:lnTo>
                    <a:lnTo>
                      <a:pt x="1195" y="1405"/>
                    </a:lnTo>
                    <a:lnTo>
                      <a:pt x="1193" y="1407"/>
                    </a:lnTo>
                    <a:lnTo>
                      <a:pt x="1193" y="1405"/>
                    </a:lnTo>
                    <a:lnTo>
                      <a:pt x="1193" y="1407"/>
                    </a:lnTo>
                    <a:lnTo>
                      <a:pt x="1191" y="1408"/>
                    </a:lnTo>
                    <a:lnTo>
                      <a:pt x="1193" y="1407"/>
                    </a:lnTo>
                    <a:lnTo>
                      <a:pt x="1191" y="1407"/>
                    </a:lnTo>
                    <a:lnTo>
                      <a:pt x="1191" y="1408"/>
                    </a:lnTo>
                    <a:lnTo>
                      <a:pt x="1191" y="1410"/>
                    </a:lnTo>
                    <a:lnTo>
                      <a:pt x="1190" y="1410"/>
                    </a:lnTo>
                    <a:lnTo>
                      <a:pt x="1190" y="1408"/>
                    </a:lnTo>
                    <a:lnTo>
                      <a:pt x="1188" y="1408"/>
                    </a:lnTo>
                    <a:lnTo>
                      <a:pt x="1190" y="1407"/>
                    </a:lnTo>
                    <a:lnTo>
                      <a:pt x="1188" y="1407"/>
                    </a:lnTo>
                    <a:lnTo>
                      <a:pt x="1188" y="1405"/>
                    </a:lnTo>
                    <a:lnTo>
                      <a:pt x="1188" y="1403"/>
                    </a:lnTo>
                    <a:lnTo>
                      <a:pt x="1190" y="1403"/>
                    </a:lnTo>
                    <a:lnTo>
                      <a:pt x="1190" y="1401"/>
                    </a:lnTo>
                    <a:lnTo>
                      <a:pt x="1191" y="1401"/>
                    </a:lnTo>
                    <a:lnTo>
                      <a:pt x="1193" y="1400"/>
                    </a:lnTo>
                    <a:lnTo>
                      <a:pt x="1195" y="1401"/>
                    </a:lnTo>
                    <a:lnTo>
                      <a:pt x="1196" y="1401"/>
                    </a:lnTo>
                    <a:lnTo>
                      <a:pt x="1198" y="1401"/>
                    </a:lnTo>
                    <a:lnTo>
                      <a:pt x="1198" y="1403"/>
                    </a:lnTo>
                    <a:lnTo>
                      <a:pt x="1198" y="1401"/>
                    </a:lnTo>
                    <a:lnTo>
                      <a:pt x="1200" y="1400"/>
                    </a:lnTo>
                    <a:lnTo>
                      <a:pt x="1202" y="1401"/>
                    </a:lnTo>
                    <a:lnTo>
                      <a:pt x="1202" y="1403"/>
                    </a:lnTo>
                    <a:lnTo>
                      <a:pt x="1200" y="1405"/>
                    </a:lnTo>
                    <a:lnTo>
                      <a:pt x="1202" y="1405"/>
                    </a:lnTo>
                    <a:lnTo>
                      <a:pt x="1203" y="1405"/>
                    </a:lnTo>
                    <a:lnTo>
                      <a:pt x="1205" y="1405"/>
                    </a:lnTo>
                    <a:lnTo>
                      <a:pt x="1207" y="1405"/>
                    </a:lnTo>
                    <a:lnTo>
                      <a:pt x="1207" y="1403"/>
                    </a:lnTo>
                    <a:lnTo>
                      <a:pt x="1205" y="1405"/>
                    </a:lnTo>
                    <a:lnTo>
                      <a:pt x="1203" y="1403"/>
                    </a:lnTo>
                    <a:lnTo>
                      <a:pt x="1203" y="1401"/>
                    </a:lnTo>
                    <a:lnTo>
                      <a:pt x="1202" y="1401"/>
                    </a:lnTo>
                    <a:lnTo>
                      <a:pt x="1202" y="1400"/>
                    </a:lnTo>
                    <a:lnTo>
                      <a:pt x="1200" y="1400"/>
                    </a:lnTo>
                    <a:lnTo>
                      <a:pt x="1200" y="1398"/>
                    </a:lnTo>
                    <a:lnTo>
                      <a:pt x="1202" y="1398"/>
                    </a:lnTo>
                    <a:lnTo>
                      <a:pt x="1202" y="1396"/>
                    </a:lnTo>
                    <a:lnTo>
                      <a:pt x="1203" y="1396"/>
                    </a:lnTo>
                    <a:lnTo>
                      <a:pt x="1203" y="1398"/>
                    </a:lnTo>
                    <a:lnTo>
                      <a:pt x="1205" y="1398"/>
                    </a:lnTo>
                    <a:lnTo>
                      <a:pt x="1203" y="1398"/>
                    </a:lnTo>
                    <a:lnTo>
                      <a:pt x="1203" y="1396"/>
                    </a:lnTo>
                    <a:lnTo>
                      <a:pt x="1203" y="1395"/>
                    </a:lnTo>
                    <a:lnTo>
                      <a:pt x="1203" y="1393"/>
                    </a:lnTo>
                    <a:lnTo>
                      <a:pt x="1203" y="1391"/>
                    </a:lnTo>
                    <a:lnTo>
                      <a:pt x="1203" y="1390"/>
                    </a:lnTo>
                    <a:lnTo>
                      <a:pt x="1205" y="1390"/>
                    </a:lnTo>
                    <a:lnTo>
                      <a:pt x="1207" y="1390"/>
                    </a:lnTo>
                    <a:lnTo>
                      <a:pt x="1208" y="1388"/>
                    </a:lnTo>
                    <a:lnTo>
                      <a:pt x="1210" y="1390"/>
                    </a:lnTo>
                    <a:lnTo>
                      <a:pt x="1212" y="1390"/>
                    </a:lnTo>
                    <a:lnTo>
                      <a:pt x="1213" y="1391"/>
                    </a:lnTo>
                    <a:lnTo>
                      <a:pt x="1213" y="1390"/>
                    </a:lnTo>
                    <a:lnTo>
                      <a:pt x="1212" y="1390"/>
                    </a:lnTo>
                    <a:lnTo>
                      <a:pt x="1210" y="1388"/>
                    </a:lnTo>
                    <a:lnTo>
                      <a:pt x="1212" y="1388"/>
                    </a:lnTo>
                    <a:lnTo>
                      <a:pt x="1210" y="1386"/>
                    </a:lnTo>
                    <a:lnTo>
                      <a:pt x="1210" y="1388"/>
                    </a:lnTo>
                    <a:lnTo>
                      <a:pt x="1210" y="1386"/>
                    </a:lnTo>
                    <a:lnTo>
                      <a:pt x="1208" y="1388"/>
                    </a:lnTo>
                    <a:lnTo>
                      <a:pt x="1208" y="1386"/>
                    </a:lnTo>
                    <a:lnTo>
                      <a:pt x="1207" y="1386"/>
                    </a:lnTo>
                    <a:lnTo>
                      <a:pt x="1207" y="1384"/>
                    </a:lnTo>
                    <a:lnTo>
                      <a:pt x="1205" y="1384"/>
                    </a:lnTo>
                    <a:lnTo>
                      <a:pt x="1205" y="1383"/>
                    </a:lnTo>
                    <a:lnTo>
                      <a:pt x="1205" y="1381"/>
                    </a:lnTo>
                    <a:lnTo>
                      <a:pt x="1207" y="1381"/>
                    </a:lnTo>
                    <a:lnTo>
                      <a:pt x="1208" y="1381"/>
                    </a:lnTo>
                    <a:lnTo>
                      <a:pt x="1210" y="1381"/>
                    </a:lnTo>
                    <a:lnTo>
                      <a:pt x="1210" y="1379"/>
                    </a:lnTo>
                    <a:lnTo>
                      <a:pt x="1210" y="1378"/>
                    </a:lnTo>
                    <a:lnTo>
                      <a:pt x="1212" y="1378"/>
                    </a:lnTo>
                    <a:lnTo>
                      <a:pt x="1210" y="1376"/>
                    </a:lnTo>
                    <a:lnTo>
                      <a:pt x="1212" y="1376"/>
                    </a:lnTo>
                    <a:lnTo>
                      <a:pt x="1212" y="1374"/>
                    </a:lnTo>
                    <a:lnTo>
                      <a:pt x="1210" y="1374"/>
                    </a:lnTo>
                    <a:lnTo>
                      <a:pt x="1210" y="1376"/>
                    </a:lnTo>
                    <a:lnTo>
                      <a:pt x="1210" y="1378"/>
                    </a:lnTo>
                    <a:lnTo>
                      <a:pt x="1208" y="1379"/>
                    </a:lnTo>
                    <a:lnTo>
                      <a:pt x="1208" y="1381"/>
                    </a:lnTo>
                    <a:lnTo>
                      <a:pt x="1208" y="1379"/>
                    </a:lnTo>
                    <a:lnTo>
                      <a:pt x="1207" y="1381"/>
                    </a:lnTo>
                    <a:lnTo>
                      <a:pt x="1205" y="1381"/>
                    </a:lnTo>
                    <a:lnTo>
                      <a:pt x="1203" y="1383"/>
                    </a:lnTo>
                    <a:lnTo>
                      <a:pt x="1203" y="1384"/>
                    </a:lnTo>
                    <a:lnTo>
                      <a:pt x="1203" y="1386"/>
                    </a:lnTo>
                    <a:lnTo>
                      <a:pt x="1203" y="1388"/>
                    </a:lnTo>
                    <a:lnTo>
                      <a:pt x="1203" y="1390"/>
                    </a:lnTo>
                    <a:lnTo>
                      <a:pt x="1202" y="1391"/>
                    </a:lnTo>
                    <a:lnTo>
                      <a:pt x="1202" y="1393"/>
                    </a:lnTo>
                    <a:lnTo>
                      <a:pt x="1203" y="1393"/>
                    </a:lnTo>
                    <a:lnTo>
                      <a:pt x="1202" y="1395"/>
                    </a:lnTo>
                    <a:lnTo>
                      <a:pt x="1202" y="1396"/>
                    </a:lnTo>
                    <a:lnTo>
                      <a:pt x="1200" y="1396"/>
                    </a:lnTo>
                    <a:lnTo>
                      <a:pt x="1200" y="1398"/>
                    </a:lnTo>
                    <a:lnTo>
                      <a:pt x="1198" y="1400"/>
                    </a:lnTo>
                    <a:lnTo>
                      <a:pt x="1196" y="1400"/>
                    </a:lnTo>
                    <a:lnTo>
                      <a:pt x="1196" y="1398"/>
                    </a:lnTo>
                    <a:lnTo>
                      <a:pt x="1195" y="1400"/>
                    </a:lnTo>
                    <a:lnTo>
                      <a:pt x="1195" y="1398"/>
                    </a:lnTo>
                    <a:lnTo>
                      <a:pt x="1193" y="1396"/>
                    </a:lnTo>
                    <a:lnTo>
                      <a:pt x="1193" y="1395"/>
                    </a:lnTo>
                    <a:lnTo>
                      <a:pt x="1191" y="1395"/>
                    </a:lnTo>
                    <a:lnTo>
                      <a:pt x="1193" y="1395"/>
                    </a:lnTo>
                    <a:lnTo>
                      <a:pt x="1193" y="1393"/>
                    </a:lnTo>
                    <a:lnTo>
                      <a:pt x="1195" y="1393"/>
                    </a:lnTo>
                    <a:lnTo>
                      <a:pt x="1195" y="1391"/>
                    </a:lnTo>
                    <a:lnTo>
                      <a:pt x="1193" y="1391"/>
                    </a:lnTo>
                    <a:lnTo>
                      <a:pt x="1191" y="1391"/>
                    </a:lnTo>
                    <a:lnTo>
                      <a:pt x="1193" y="1391"/>
                    </a:lnTo>
                    <a:lnTo>
                      <a:pt x="1191" y="1393"/>
                    </a:lnTo>
                    <a:lnTo>
                      <a:pt x="1193" y="1395"/>
                    </a:lnTo>
                    <a:lnTo>
                      <a:pt x="1191" y="1395"/>
                    </a:lnTo>
                    <a:lnTo>
                      <a:pt x="1193" y="1395"/>
                    </a:lnTo>
                    <a:lnTo>
                      <a:pt x="1191" y="1393"/>
                    </a:lnTo>
                    <a:lnTo>
                      <a:pt x="1191" y="1391"/>
                    </a:lnTo>
                    <a:lnTo>
                      <a:pt x="1191" y="1390"/>
                    </a:lnTo>
                    <a:lnTo>
                      <a:pt x="1190" y="1390"/>
                    </a:lnTo>
                    <a:lnTo>
                      <a:pt x="1190" y="1388"/>
                    </a:lnTo>
                    <a:lnTo>
                      <a:pt x="1188" y="1386"/>
                    </a:lnTo>
                    <a:lnTo>
                      <a:pt x="1188" y="1384"/>
                    </a:lnTo>
                    <a:lnTo>
                      <a:pt x="1190" y="1384"/>
                    </a:lnTo>
                    <a:lnTo>
                      <a:pt x="1191" y="1383"/>
                    </a:lnTo>
                    <a:lnTo>
                      <a:pt x="1191" y="1384"/>
                    </a:lnTo>
                    <a:lnTo>
                      <a:pt x="1193" y="1384"/>
                    </a:lnTo>
                    <a:lnTo>
                      <a:pt x="1193" y="1386"/>
                    </a:lnTo>
                    <a:lnTo>
                      <a:pt x="1193" y="1384"/>
                    </a:lnTo>
                    <a:lnTo>
                      <a:pt x="1191" y="1384"/>
                    </a:lnTo>
                    <a:lnTo>
                      <a:pt x="1191" y="1383"/>
                    </a:lnTo>
                    <a:lnTo>
                      <a:pt x="1190" y="1383"/>
                    </a:lnTo>
                    <a:lnTo>
                      <a:pt x="1191" y="1383"/>
                    </a:lnTo>
                    <a:lnTo>
                      <a:pt x="1190" y="1384"/>
                    </a:lnTo>
                    <a:lnTo>
                      <a:pt x="1188" y="1384"/>
                    </a:lnTo>
                    <a:lnTo>
                      <a:pt x="1188" y="1383"/>
                    </a:lnTo>
                    <a:lnTo>
                      <a:pt x="1186" y="1381"/>
                    </a:lnTo>
                    <a:lnTo>
                      <a:pt x="1186" y="1379"/>
                    </a:lnTo>
                    <a:lnTo>
                      <a:pt x="1188" y="1379"/>
                    </a:lnTo>
                    <a:lnTo>
                      <a:pt x="1190" y="1379"/>
                    </a:lnTo>
                    <a:lnTo>
                      <a:pt x="1191" y="1381"/>
                    </a:lnTo>
                    <a:lnTo>
                      <a:pt x="1190" y="1381"/>
                    </a:lnTo>
                    <a:lnTo>
                      <a:pt x="1191" y="1383"/>
                    </a:lnTo>
                    <a:lnTo>
                      <a:pt x="1191" y="1381"/>
                    </a:lnTo>
                    <a:lnTo>
                      <a:pt x="1193" y="1383"/>
                    </a:lnTo>
                    <a:lnTo>
                      <a:pt x="1193" y="1381"/>
                    </a:lnTo>
                    <a:lnTo>
                      <a:pt x="1191" y="1381"/>
                    </a:lnTo>
                    <a:lnTo>
                      <a:pt x="1191" y="1379"/>
                    </a:lnTo>
                    <a:lnTo>
                      <a:pt x="1191" y="1381"/>
                    </a:lnTo>
                    <a:lnTo>
                      <a:pt x="1191" y="1379"/>
                    </a:lnTo>
                    <a:lnTo>
                      <a:pt x="1191" y="1381"/>
                    </a:lnTo>
                    <a:lnTo>
                      <a:pt x="1193" y="1381"/>
                    </a:lnTo>
                    <a:lnTo>
                      <a:pt x="1195" y="1381"/>
                    </a:lnTo>
                    <a:lnTo>
                      <a:pt x="1195" y="1383"/>
                    </a:lnTo>
                    <a:lnTo>
                      <a:pt x="1196" y="1383"/>
                    </a:lnTo>
                    <a:lnTo>
                      <a:pt x="1196" y="1384"/>
                    </a:lnTo>
                    <a:lnTo>
                      <a:pt x="1196" y="1386"/>
                    </a:lnTo>
                    <a:lnTo>
                      <a:pt x="1196" y="1384"/>
                    </a:lnTo>
                    <a:lnTo>
                      <a:pt x="1196" y="1383"/>
                    </a:lnTo>
                    <a:lnTo>
                      <a:pt x="1198" y="1383"/>
                    </a:lnTo>
                    <a:lnTo>
                      <a:pt x="1200" y="1383"/>
                    </a:lnTo>
                    <a:lnTo>
                      <a:pt x="1200" y="1384"/>
                    </a:lnTo>
                    <a:lnTo>
                      <a:pt x="1202" y="1384"/>
                    </a:lnTo>
                    <a:lnTo>
                      <a:pt x="1200" y="1383"/>
                    </a:lnTo>
                    <a:lnTo>
                      <a:pt x="1198" y="1383"/>
                    </a:lnTo>
                    <a:lnTo>
                      <a:pt x="1196" y="1383"/>
                    </a:lnTo>
                    <a:lnTo>
                      <a:pt x="1196" y="1381"/>
                    </a:lnTo>
                    <a:lnTo>
                      <a:pt x="1195" y="1381"/>
                    </a:lnTo>
                    <a:lnTo>
                      <a:pt x="1196" y="1379"/>
                    </a:lnTo>
                    <a:lnTo>
                      <a:pt x="1195" y="1379"/>
                    </a:lnTo>
                    <a:lnTo>
                      <a:pt x="1195" y="1381"/>
                    </a:lnTo>
                    <a:lnTo>
                      <a:pt x="1195" y="1379"/>
                    </a:lnTo>
                    <a:lnTo>
                      <a:pt x="1193" y="1379"/>
                    </a:lnTo>
                    <a:lnTo>
                      <a:pt x="1191" y="1378"/>
                    </a:lnTo>
                    <a:lnTo>
                      <a:pt x="1191" y="1376"/>
                    </a:lnTo>
                    <a:lnTo>
                      <a:pt x="1193" y="1376"/>
                    </a:lnTo>
                    <a:lnTo>
                      <a:pt x="1195" y="1374"/>
                    </a:lnTo>
                    <a:lnTo>
                      <a:pt x="1196" y="1374"/>
                    </a:lnTo>
                    <a:lnTo>
                      <a:pt x="1198" y="1374"/>
                    </a:lnTo>
                    <a:lnTo>
                      <a:pt x="1196" y="1374"/>
                    </a:lnTo>
                    <a:lnTo>
                      <a:pt x="1195" y="1374"/>
                    </a:lnTo>
                    <a:lnTo>
                      <a:pt x="1193" y="1374"/>
                    </a:lnTo>
                    <a:lnTo>
                      <a:pt x="1193" y="1376"/>
                    </a:lnTo>
                    <a:lnTo>
                      <a:pt x="1191" y="1376"/>
                    </a:lnTo>
                    <a:lnTo>
                      <a:pt x="1190" y="1378"/>
                    </a:lnTo>
                    <a:lnTo>
                      <a:pt x="1190" y="1376"/>
                    </a:lnTo>
                    <a:lnTo>
                      <a:pt x="1188" y="1378"/>
                    </a:lnTo>
                    <a:lnTo>
                      <a:pt x="1190" y="1378"/>
                    </a:lnTo>
                    <a:lnTo>
                      <a:pt x="1188" y="1378"/>
                    </a:lnTo>
                    <a:lnTo>
                      <a:pt x="1186" y="1378"/>
                    </a:lnTo>
                    <a:lnTo>
                      <a:pt x="1188" y="1376"/>
                    </a:lnTo>
                    <a:lnTo>
                      <a:pt x="1186" y="1376"/>
                    </a:lnTo>
                    <a:lnTo>
                      <a:pt x="1186" y="1378"/>
                    </a:lnTo>
                    <a:lnTo>
                      <a:pt x="1185" y="1376"/>
                    </a:lnTo>
                    <a:lnTo>
                      <a:pt x="1186" y="1374"/>
                    </a:lnTo>
                    <a:lnTo>
                      <a:pt x="1186" y="1373"/>
                    </a:lnTo>
                    <a:lnTo>
                      <a:pt x="1188" y="1373"/>
                    </a:lnTo>
                    <a:lnTo>
                      <a:pt x="1188" y="1371"/>
                    </a:lnTo>
                    <a:lnTo>
                      <a:pt x="1186" y="1371"/>
                    </a:lnTo>
                    <a:lnTo>
                      <a:pt x="1188" y="1371"/>
                    </a:lnTo>
                    <a:lnTo>
                      <a:pt x="1186" y="1371"/>
                    </a:lnTo>
                    <a:lnTo>
                      <a:pt x="1188" y="1369"/>
                    </a:lnTo>
                    <a:lnTo>
                      <a:pt x="1186" y="1367"/>
                    </a:lnTo>
                    <a:lnTo>
                      <a:pt x="1186" y="1369"/>
                    </a:lnTo>
                    <a:lnTo>
                      <a:pt x="1186" y="1367"/>
                    </a:lnTo>
                    <a:lnTo>
                      <a:pt x="1186" y="1369"/>
                    </a:lnTo>
                    <a:lnTo>
                      <a:pt x="1186" y="1371"/>
                    </a:lnTo>
                    <a:lnTo>
                      <a:pt x="1185" y="1371"/>
                    </a:lnTo>
                    <a:lnTo>
                      <a:pt x="1185" y="1373"/>
                    </a:lnTo>
                    <a:lnTo>
                      <a:pt x="1185" y="1374"/>
                    </a:lnTo>
                    <a:lnTo>
                      <a:pt x="1183" y="1374"/>
                    </a:lnTo>
                    <a:lnTo>
                      <a:pt x="1185" y="1374"/>
                    </a:lnTo>
                    <a:lnTo>
                      <a:pt x="1185" y="1376"/>
                    </a:lnTo>
                    <a:lnTo>
                      <a:pt x="1183" y="1374"/>
                    </a:lnTo>
                    <a:lnTo>
                      <a:pt x="1181" y="1374"/>
                    </a:lnTo>
                    <a:lnTo>
                      <a:pt x="1179" y="1373"/>
                    </a:lnTo>
                    <a:lnTo>
                      <a:pt x="1181" y="1373"/>
                    </a:lnTo>
                    <a:lnTo>
                      <a:pt x="1181" y="1371"/>
                    </a:lnTo>
                    <a:lnTo>
                      <a:pt x="1181" y="1373"/>
                    </a:lnTo>
                    <a:lnTo>
                      <a:pt x="1179" y="1373"/>
                    </a:lnTo>
                    <a:lnTo>
                      <a:pt x="1179" y="1371"/>
                    </a:lnTo>
                    <a:lnTo>
                      <a:pt x="1178" y="1371"/>
                    </a:lnTo>
                    <a:lnTo>
                      <a:pt x="1178" y="1369"/>
                    </a:lnTo>
                    <a:lnTo>
                      <a:pt x="1179" y="1369"/>
                    </a:lnTo>
                    <a:lnTo>
                      <a:pt x="1181" y="1369"/>
                    </a:lnTo>
                    <a:lnTo>
                      <a:pt x="1179" y="1369"/>
                    </a:lnTo>
                    <a:lnTo>
                      <a:pt x="1178" y="1369"/>
                    </a:lnTo>
                    <a:lnTo>
                      <a:pt x="1178" y="1367"/>
                    </a:lnTo>
                    <a:lnTo>
                      <a:pt x="1178" y="1366"/>
                    </a:lnTo>
                    <a:lnTo>
                      <a:pt x="1178" y="1367"/>
                    </a:lnTo>
                    <a:lnTo>
                      <a:pt x="1176" y="1367"/>
                    </a:lnTo>
                    <a:lnTo>
                      <a:pt x="1174" y="1367"/>
                    </a:lnTo>
                    <a:lnTo>
                      <a:pt x="1176" y="1366"/>
                    </a:lnTo>
                    <a:lnTo>
                      <a:pt x="1176" y="1364"/>
                    </a:lnTo>
                    <a:lnTo>
                      <a:pt x="1178" y="1364"/>
                    </a:lnTo>
                    <a:lnTo>
                      <a:pt x="1176" y="1364"/>
                    </a:lnTo>
                    <a:lnTo>
                      <a:pt x="1176" y="1366"/>
                    </a:lnTo>
                    <a:lnTo>
                      <a:pt x="1174" y="1366"/>
                    </a:lnTo>
                    <a:lnTo>
                      <a:pt x="1173" y="1366"/>
                    </a:lnTo>
                    <a:lnTo>
                      <a:pt x="1173" y="1364"/>
                    </a:lnTo>
                    <a:lnTo>
                      <a:pt x="1173" y="1362"/>
                    </a:lnTo>
                    <a:lnTo>
                      <a:pt x="1174" y="1362"/>
                    </a:lnTo>
                    <a:lnTo>
                      <a:pt x="1174" y="1361"/>
                    </a:lnTo>
                    <a:lnTo>
                      <a:pt x="1176" y="1361"/>
                    </a:lnTo>
                    <a:lnTo>
                      <a:pt x="1178" y="1359"/>
                    </a:lnTo>
                    <a:lnTo>
                      <a:pt x="1179" y="1361"/>
                    </a:lnTo>
                    <a:lnTo>
                      <a:pt x="1178" y="1362"/>
                    </a:lnTo>
                    <a:lnTo>
                      <a:pt x="1179" y="1362"/>
                    </a:lnTo>
                    <a:lnTo>
                      <a:pt x="1179" y="1361"/>
                    </a:lnTo>
                    <a:lnTo>
                      <a:pt x="1178" y="1359"/>
                    </a:lnTo>
                    <a:lnTo>
                      <a:pt x="1179" y="1359"/>
                    </a:lnTo>
                    <a:lnTo>
                      <a:pt x="1178" y="1359"/>
                    </a:lnTo>
                    <a:lnTo>
                      <a:pt x="1179" y="1359"/>
                    </a:lnTo>
                    <a:lnTo>
                      <a:pt x="1181" y="1359"/>
                    </a:lnTo>
                    <a:lnTo>
                      <a:pt x="1181" y="1361"/>
                    </a:lnTo>
                    <a:lnTo>
                      <a:pt x="1181" y="1359"/>
                    </a:lnTo>
                    <a:lnTo>
                      <a:pt x="1183" y="1359"/>
                    </a:lnTo>
                    <a:lnTo>
                      <a:pt x="1183" y="1361"/>
                    </a:lnTo>
                    <a:lnTo>
                      <a:pt x="1183" y="1359"/>
                    </a:lnTo>
                    <a:lnTo>
                      <a:pt x="1181" y="1359"/>
                    </a:lnTo>
                    <a:lnTo>
                      <a:pt x="1179" y="1357"/>
                    </a:lnTo>
                    <a:lnTo>
                      <a:pt x="1179" y="1359"/>
                    </a:lnTo>
                    <a:lnTo>
                      <a:pt x="1178" y="1359"/>
                    </a:lnTo>
                    <a:lnTo>
                      <a:pt x="1176" y="1359"/>
                    </a:lnTo>
                    <a:lnTo>
                      <a:pt x="1176" y="1361"/>
                    </a:lnTo>
                    <a:lnTo>
                      <a:pt x="1176" y="1359"/>
                    </a:lnTo>
                    <a:lnTo>
                      <a:pt x="1178" y="1359"/>
                    </a:lnTo>
                    <a:lnTo>
                      <a:pt x="1178" y="1357"/>
                    </a:lnTo>
                    <a:lnTo>
                      <a:pt x="1179" y="1357"/>
                    </a:lnTo>
                    <a:lnTo>
                      <a:pt x="1181" y="1356"/>
                    </a:lnTo>
                    <a:lnTo>
                      <a:pt x="1183" y="1357"/>
                    </a:lnTo>
                    <a:lnTo>
                      <a:pt x="1185" y="1357"/>
                    </a:lnTo>
                    <a:lnTo>
                      <a:pt x="1185" y="1359"/>
                    </a:lnTo>
                    <a:lnTo>
                      <a:pt x="1183" y="1359"/>
                    </a:lnTo>
                    <a:lnTo>
                      <a:pt x="1185" y="1359"/>
                    </a:lnTo>
                    <a:lnTo>
                      <a:pt x="1185" y="1361"/>
                    </a:lnTo>
                    <a:lnTo>
                      <a:pt x="1185" y="1359"/>
                    </a:lnTo>
                    <a:lnTo>
                      <a:pt x="1186" y="1359"/>
                    </a:lnTo>
                    <a:lnTo>
                      <a:pt x="1186" y="1361"/>
                    </a:lnTo>
                    <a:lnTo>
                      <a:pt x="1188" y="1361"/>
                    </a:lnTo>
                    <a:lnTo>
                      <a:pt x="1188" y="1362"/>
                    </a:lnTo>
                    <a:lnTo>
                      <a:pt x="1186" y="1362"/>
                    </a:lnTo>
                    <a:lnTo>
                      <a:pt x="1186" y="1364"/>
                    </a:lnTo>
                    <a:lnTo>
                      <a:pt x="1185" y="1364"/>
                    </a:lnTo>
                    <a:lnTo>
                      <a:pt x="1186" y="1364"/>
                    </a:lnTo>
                    <a:lnTo>
                      <a:pt x="1188" y="1362"/>
                    </a:lnTo>
                    <a:lnTo>
                      <a:pt x="1188" y="1364"/>
                    </a:lnTo>
                    <a:lnTo>
                      <a:pt x="1188" y="1366"/>
                    </a:lnTo>
                    <a:lnTo>
                      <a:pt x="1190" y="1366"/>
                    </a:lnTo>
                    <a:lnTo>
                      <a:pt x="1190" y="1367"/>
                    </a:lnTo>
                    <a:lnTo>
                      <a:pt x="1191" y="1369"/>
                    </a:lnTo>
                    <a:lnTo>
                      <a:pt x="1191" y="1367"/>
                    </a:lnTo>
                    <a:lnTo>
                      <a:pt x="1193" y="1366"/>
                    </a:lnTo>
                    <a:lnTo>
                      <a:pt x="1193" y="1367"/>
                    </a:lnTo>
                    <a:lnTo>
                      <a:pt x="1193" y="1366"/>
                    </a:lnTo>
                    <a:lnTo>
                      <a:pt x="1195" y="1367"/>
                    </a:lnTo>
                    <a:lnTo>
                      <a:pt x="1196" y="1367"/>
                    </a:lnTo>
                    <a:lnTo>
                      <a:pt x="1196" y="1369"/>
                    </a:lnTo>
                    <a:lnTo>
                      <a:pt x="1198" y="1369"/>
                    </a:lnTo>
                    <a:lnTo>
                      <a:pt x="1196" y="1367"/>
                    </a:lnTo>
                    <a:lnTo>
                      <a:pt x="1195" y="1367"/>
                    </a:lnTo>
                    <a:lnTo>
                      <a:pt x="1195" y="1366"/>
                    </a:lnTo>
                    <a:lnTo>
                      <a:pt x="1196" y="1366"/>
                    </a:lnTo>
                    <a:lnTo>
                      <a:pt x="1195" y="1366"/>
                    </a:lnTo>
                    <a:lnTo>
                      <a:pt x="1195" y="1364"/>
                    </a:lnTo>
                    <a:lnTo>
                      <a:pt x="1193" y="1364"/>
                    </a:lnTo>
                    <a:lnTo>
                      <a:pt x="1193" y="1366"/>
                    </a:lnTo>
                    <a:lnTo>
                      <a:pt x="1191" y="1366"/>
                    </a:lnTo>
                    <a:lnTo>
                      <a:pt x="1191" y="1364"/>
                    </a:lnTo>
                    <a:lnTo>
                      <a:pt x="1190" y="1364"/>
                    </a:lnTo>
                    <a:lnTo>
                      <a:pt x="1190" y="1362"/>
                    </a:lnTo>
                    <a:lnTo>
                      <a:pt x="1190" y="1361"/>
                    </a:lnTo>
                    <a:lnTo>
                      <a:pt x="1188" y="1361"/>
                    </a:lnTo>
                    <a:lnTo>
                      <a:pt x="1188" y="1359"/>
                    </a:lnTo>
                    <a:lnTo>
                      <a:pt x="1186" y="1359"/>
                    </a:lnTo>
                    <a:lnTo>
                      <a:pt x="1186" y="1357"/>
                    </a:lnTo>
                    <a:lnTo>
                      <a:pt x="1186" y="1356"/>
                    </a:lnTo>
                    <a:lnTo>
                      <a:pt x="1185" y="1356"/>
                    </a:lnTo>
                    <a:lnTo>
                      <a:pt x="1185" y="1354"/>
                    </a:lnTo>
                    <a:lnTo>
                      <a:pt x="1185" y="1352"/>
                    </a:lnTo>
                    <a:lnTo>
                      <a:pt x="1186" y="1350"/>
                    </a:lnTo>
                    <a:lnTo>
                      <a:pt x="1186" y="1352"/>
                    </a:lnTo>
                    <a:lnTo>
                      <a:pt x="1186" y="1354"/>
                    </a:lnTo>
                    <a:lnTo>
                      <a:pt x="1186" y="1352"/>
                    </a:lnTo>
                    <a:lnTo>
                      <a:pt x="1188" y="1352"/>
                    </a:lnTo>
                    <a:lnTo>
                      <a:pt x="1190" y="1352"/>
                    </a:lnTo>
                    <a:lnTo>
                      <a:pt x="1190" y="1354"/>
                    </a:lnTo>
                    <a:lnTo>
                      <a:pt x="1191" y="1354"/>
                    </a:lnTo>
                    <a:lnTo>
                      <a:pt x="1193" y="1356"/>
                    </a:lnTo>
                    <a:lnTo>
                      <a:pt x="1193" y="1354"/>
                    </a:lnTo>
                    <a:lnTo>
                      <a:pt x="1195" y="1356"/>
                    </a:lnTo>
                    <a:lnTo>
                      <a:pt x="1195" y="1357"/>
                    </a:lnTo>
                    <a:lnTo>
                      <a:pt x="1195" y="1356"/>
                    </a:lnTo>
                    <a:lnTo>
                      <a:pt x="1195" y="1357"/>
                    </a:lnTo>
                    <a:lnTo>
                      <a:pt x="1196" y="1356"/>
                    </a:lnTo>
                    <a:lnTo>
                      <a:pt x="1196" y="1354"/>
                    </a:lnTo>
                    <a:lnTo>
                      <a:pt x="1196" y="1352"/>
                    </a:lnTo>
                    <a:lnTo>
                      <a:pt x="1198" y="1352"/>
                    </a:lnTo>
                    <a:lnTo>
                      <a:pt x="1198" y="1350"/>
                    </a:lnTo>
                    <a:lnTo>
                      <a:pt x="1200" y="1350"/>
                    </a:lnTo>
                    <a:lnTo>
                      <a:pt x="1202" y="1350"/>
                    </a:lnTo>
                    <a:lnTo>
                      <a:pt x="1200" y="1350"/>
                    </a:lnTo>
                    <a:lnTo>
                      <a:pt x="1200" y="1349"/>
                    </a:lnTo>
                    <a:lnTo>
                      <a:pt x="1200" y="1347"/>
                    </a:lnTo>
                    <a:lnTo>
                      <a:pt x="1202" y="1347"/>
                    </a:lnTo>
                    <a:lnTo>
                      <a:pt x="1202" y="1345"/>
                    </a:lnTo>
                    <a:lnTo>
                      <a:pt x="1203" y="1345"/>
                    </a:lnTo>
                    <a:lnTo>
                      <a:pt x="1202" y="1345"/>
                    </a:lnTo>
                    <a:lnTo>
                      <a:pt x="1202" y="1347"/>
                    </a:lnTo>
                    <a:lnTo>
                      <a:pt x="1200" y="1347"/>
                    </a:lnTo>
                    <a:lnTo>
                      <a:pt x="1200" y="1349"/>
                    </a:lnTo>
                    <a:lnTo>
                      <a:pt x="1200" y="1350"/>
                    </a:lnTo>
                    <a:lnTo>
                      <a:pt x="1198" y="1350"/>
                    </a:lnTo>
                    <a:lnTo>
                      <a:pt x="1196" y="1350"/>
                    </a:lnTo>
                    <a:lnTo>
                      <a:pt x="1196" y="1352"/>
                    </a:lnTo>
                    <a:lnTo>
                      <a:pt x="1195" y="1354"/>
                    </a:lnTo>
                    <a:lnTo>
                      <a:pt x="1193" y="1352"/>
                    </a:lnTo>
                    <a:lnTo>
                      <a:pt x="1191" y="1350"/>
                    </a:lnTo>
                    <a:lnTo>
                      <a:pt x="1191" y="1349"/>
                    </a:lnTo>
                    <a:lnTo>
                      <a:pt x="1190" y="1350"/>
                    </a:lnTo>
                    <a:lnTo>
                      <a:pt x="1190" y="1349"/>
                    </a:lnTo>
                    <a:lnTo>
                      <a:pt x="1190" y="1350"/>
                    </a:lnTo>
                    <a:lnTo>
                      <a:pt x="1188" y="1350"/>
                    </a:lnTo>
                    <a:lnTo>
                      <a:pt x="1190" y="1350"/>
                    </a:lnTo>
                    <a:lnTo>
                      <a:pt x="1188" y="1349"/>
                    </a:lnTo>
                    <a:lnTo>
                      <a:pt x="1186" y="1350"/>
                    </a:lnTo>
                    <a:lnTo>
                      <a:pt x="1186" y="1349"/>
                    </a:lnTo>
                    <a:lnTo>
                      <a:pt x="1185" y="1349"/>
                    </a:lnTo>
                    <a:lnTo>
                      <a:pt x="1186" y="1347"/>
                    </a:lnTo>
                    <a:lnTo>
                      <a:pt x="1185" y="1347"/>
                    </a:lnTo>
                    <a:lnTo>
                      <a:pt x="1185" y="1345"/>
                    </a:lnTo>
                    <a:lnTo>
                      <a:pt x="1185" y="1344"/>
                    </a:lnTo>
                    <a:lnTo>
                      <a:pt x="1186" y="1344"/>
                    </a:lnTo>
                    <a:lnTo>
                      <a:pt x="1188" y="1344"/>
                    </a:lnTo>
                    <a:lnTo>
                      <a:pt x="1188" y="1342"/>
                    </a:lnTo>
                    <a:lnTo>
                      <a:pt x="1190" y="1342"/>
                    </a:lnTo>
                    <a:lnTo>
                      <a:pt x="1191" y="1342"/>
                    </a:lnTo>
                    <a:lnTo>
                      <a:pt x="1193" y="1342"/>
                    </a:lnTo>
                    <a:lnTo>
                      <a:pt x="1195" y="1340"/>
                    </a:lnTo>
                    <a:lnTo>
                      <a:pt x="1195" y="1342"/>
                    </a:lnTo>
                    <a:lnTo>
                      <a:pt x="1195" y="1340"/>
                    </a:lnTo>
                    <a:lnTo>
                      <a:pt x="1193" y="1340"/>
                    </a:lnTo>
                    <a:lnTo>
                      <a:pt x="1191" y="1340"/>
                    </a:lnTo>
                    <a:lnTo>
                      <a:pt x="1190" y="1340"/>
                    </a:lnTo>
                    <a:lnTo>
                      <a:pt x="1188" y="1340"/>
                    </a:lnTo>
                    <a:lnTo>
                      <a:pt x="1188" y="1342"/>
                    </a:lnTo>
                    <a:lnTo>
                      <a:pt x="1186" y="1342"/>
                    </a:lnTo>
                    <a:lnTo>
                      <a:pt x="1186" y="1340"/>
                    </a:lnTo>
                    <a:lnTo>
                      <a:pt x="1186" y="1339"/>
                    </a:lnTo>
                    <a:lnTo>
                      <a:pt x="1186" y="1337"/>
                    </a:lnTo>
                    <a:lnTo>
                      <a:pt x="1186" y="1335"/>
                    </a:lnTo>
                    <a:lnTo>
                      <a:pt x="1188" y="1333"/>
                    </a:lnTo>
                    <a:lnTo>
                      <a:pt x="1188" y="1335"/>
                    </a:lnTo>
                    <a:lnTo>
                      <a:pt x="1188" y="1333"/>
                    </a:lnTo>
                    <a:lnTo>
                      <a:pt x="1190" y="1332"/>
                    </a:lnTo>
                    <a:lnTo>
                      <a:pt x="1191" y="1332"/>
                    </a:lnTo>
                    <a:lnTo>
                      <a:pt x="1191" y="1333"/>
                    </a:lnTo>
                    <a:lnTo>
                      <a:pt x="1191" y="1332"/>
                    </a:lnTo>
                    <a:lnTo>
                      <a:pt x="1193" y="1332"/>
                    </a:lnTo>
                    <a:lnTo>
                      <a:pt x="1193" y="1330"/>
                    </a:lnTo>
                    <a:lnTo>
                      <a:pt x="1195" y="1330"/>
                    </a:lnTo>
                    <a:lnTo>
                      <a:pt x="1196" y="1332"/>
                    </a:lnTo>
                    <a:lnTo>
                      <a:pt x="1196" y="1333"/>
                    </a:lnTo>
                    <a:lnTo>
                      <a:pt x="1196" y="1335"/>
                    </a:lnTo>
                    <a:lnTo>
                      <a:pt x="1195" y="1335"/>
                    </a:lnTo>
                    <a:lnTo>
                      <a:pt x="1195" y="1337"/>
                    </a:lnTo>
                    <a:lnTo>
                      <a:pt x="1196" y="1335"/>
                    </a:lnTo>
                    <a:lnTo>
                      <a:pt x="1196" y="1333"/>
                    </a:lnTo>
                    <a:lnTo>
                      <a:pt x="1198" y="1332"/>
                    </a:lnTo>
                    <a:lnTo>
                      <a:pt x="1200" y="1332"/>
                    </a:lnTo>
                    <a:lnTo>
                      <a:pt x="1200" y="1333"/>
                    </a:lnTo>
                    <a:lnTo>
                      <a:pt x="1200" y="1335"/>
                    </a:lnTo>
                    <a:lnTo>
                      <a:pt x="1202" y="1335"/>
                    </a:lnTo>
                    <a:lnTo>
                      <a:pt x="1202" y="1337"/>
                    </a:lnTo>
                    <a:lnTo>
                      <a:pt x="1203" y="1337"/>
                    </a:lnTo>
                    <a:lnTo>
                      <a:pt x="1203" y="1339"/>
                    </a:lnTo>
                    <a:lnTo>
                      <a:pt x="1203" y="1340"/>
                    </a:lnTo>
                    <a:lnTo>
                      <a:pt x="1203" y="1339"/>
                    </a:lnTo>
                    <a:lnTo>
                      <a:pt x="1205" y="1339"/>
                    </a:lnTo>
                    <a:lnTo>
                      <a:pt x="1203" y="1339"/>
                    </a:lnTo>
                    <a:lnTo>
                      <a:pt x="1203" y="1337"/>
                    </a:lnTo>
                    <a:lnTo>
                      <a:pt x="1205" y="1337"/>
                    </a:lnTo>
                    <a:lnTo>
                      <a:pt x="1205" y="1339"/>
                    </a:lnTo>
                    <a:lnTo>
                      <a:pt x="1205" y="1340"/>
                    </a:lnTo>
                    <a:lnTo>
                      <a:pt x="1207" y="1340"/>
                    </a:lnTo>
                    <a:lnTo>
                      <a:pt x="1207" y="1342"/>
                    </a:lnTo>
                    <a:lnTo>
                      <a:pt x="1207" y="1340"/>
                    </a:lnTo>
                    <a:lnTo>
                      <a:pt x="1208" y="1340"/>
                    </a:lnTo>
                    <a:lnTo>
                      <a:pt x="1207" y="1340"/>
                    </a:lnTo>
                    <a:lnTo>
                      <a:pt x="1207" y="1339"/>
                    </a:lnTo>
                    <a:lnTo>
                      <a:pt x="1205" y="1339"/>
                    </a:lnTo>
                    <a:lnTo>
                      <a:pt x="1205" y="1337"/>
                    </a:lnTo>
                    <a:lnTo>
                      <a:pt x="1203" y="1335"/>
                    </a:lnTo>
                    <a:lnTo>
                      <a:pt x="1202" y="1335"/>
                    </a:lnTo>
                    <a:lnTo>
                      <a:pt x="1202" y="1333"/>
                    </a:lnTo>
                    <a:lnTo>
                      <a:pt x="1202" y="1332"/>
                    </a:lnTo>
                    <a:lnTo>
                      <a:pt x="1202" y="1330"/>
                    </a:lnTo>
                    <a:lnTo>
                      <a:pt x="1200" y="1330"/>
                    </a:lnTo>
                    <a:lnTo>
                      <a:pt x="1198" y="1330"/>
                    </a:lnTo>
                    <a:lnTo>
                      <a:pt x="1196" y="1330"/>
                    </a:lnTo>
                    <a:lnTo>
                      <a:pt x="1195" y="1328"/>
                    </a:lnTo>
                    <a:lnTo>
                      <a:pt x="1195" y="1330"/>
                    </a:lnTo>
                    <a:lnTo>
                      <a:pt x="1193" y="1328"/>
                    </a:lnTo>
                    <a:lnTo>
                      <a:pt x="1193" y="1327"/>
                    </a:lnTo>
                    <a:lnTo>
                      <a:pt x="1195" y="1327"/>
                    </a:lnTo>
                    <a:lnTo>
                      <a:pt x="1195" y="1325"/>
                    </a:lnTo>
                    <a:lnTo>
                      <a:pt x="1193" y="1325"/>
                    </a:lnTo>
                    <a:lnTo>
                      <a:pt x="1193" y="1323"/>
                    </a:lnTo>
                    <a:lnTo>
                      <a:pt x="1195" y="1323"/>
                    </a:lnTo>
                    <a:lnTo>
                      <a:pt x="1195" y="1322"/>
                    </a:lnTo>
                    <a:lnTo>
                      <a:pt x="1195" y="1320"/>
                    </a:lnTo>
                    <a:lnTo>
                      <a:pt x="1195" y="1318"/>
                    </a:lnTo>
                    <a:lnTo>
                      <a:pt x="1195" y="1316"/>
                    </a:lnTo>
                    <a:lnTo>
                      <a:pt x="1196" y="1316"/>
                    </a:lnTo>
                    <a:lnTo>
                      <a:pt x="1198" y="1316"/>
                    </a:lnTo>
                    <a:lnTo>
                      <a:pt x="1198" y="1318"/>
                    </a:lnTo>
                    <a:lnTo>
                      <a:pt x="1198" y="1320"/>
                    </a:lnTo>
                    <a:lnTo>
                      <a:pt x="1200" y="1320"/>
                    </a:lnTo>
                    <a:lnTo>
                      <a:pt x="1202" y="1320"/>
                    </a:lnTo>
                    <a:lnTo>
                      <a:pt x="1203" y="1320"/>
                    </a:lnTo>
                    <a:lnTo>
                      <a:pt x="1203" y="1322"/>
                    </a:lnTo>
                    <a:lnTo>
                      <a:pt x="1203" y="1323"/>
                    </a:lnTo>
                    <a:lnTo>
                      <a:pt x="1205" y="1323"/>
                    </a:lnTo>
                    <a:lnTo>
                      <a:pt x="1203" y="1323"/>
                    </a:lnTo>
                    <a:lnTo>
                      <a:pt x="1203" y="1322"/>
                    </a:lnTo>
                    <a:lnTo>
                      <a:pt x="1203" y="1320"/>
                    </a:lnTo>
                    <a:lnTo>
                      <a:pt x="1203" y="1322"/>
                    </a:lnTo>
                    <a:lnTo>
                      <a:pt x="1203" y="1320"/>
                    </a:lnTo>
                    <a:lnTo>
                      <a:pt x="1202" y="1320"/>
                    </a:lnTo>
                    <a:lnTo>
                      <a:pt x="1200" y="1320"/>
                    </a:lnTo>
                    <a:lnTo>
                      <a:pt x="1200" y="1318"/>
                    </a:lnTo>
                    <a:lnTo>
                      <a:pt x="1200" y="1316"/>
                    </a:lnTo>
                    <a:lnTo>
                      <a:pt x="1198" y="1316"/>
                    </a:lnTo>
                    <a:lnTo>
                      <a:pt x="1200" y="1318"/>
                    </a:lnTo>
                    <a:lnTo>
                      <a:pt x="1198" y="1318"/>
                    </a:lnTo>
                    <a:lnTo>
                      <a:pt x="1198" y="1316"/>
                    </a:lnTo>
                    <a:lnTo>
                      <a:pt x="1198" y="1315"/>
                    </a:lnTo>
                    <a:lnTo>
                      <a:pt x="1196" y="1315"/>
                    </a:lnTo>
                    <a:lnTo>
                      <a:pt x="1196" y="1313"/>
                    </a:lnTo>
                    <a:lnTo>
                      <a:pt x="1195" y="1313"/>
                    </a:lnTo>
                    <a:lnTo>
                      <a:pt x="1195" y="1315"/>
                    </a:lnTo>
                    <a:lnTo>
                      <a:pt x="1193" y="1315"/>
                    </a:lnTo>
                    <a:lnTo>
                      <a:pt x="1193" y="1313"/>
                    </a:lnTo>
                    <a:lnTo>
                      <a:pt x="1191" y="1313"/>
                    </a:lnTo>
                    <a:lnTo>
                      <a:pt x="1193" y="1315"/>
                    </a:lnTo>
                    <a:lnTo>
                      <a:pt x="1193" y="1316"/>
                    </a:lnTo>
                    <a:lnTo>
                      <a:pt x="1193" y="1318"/>
                    </a:lnTo>
                    <a:lnTo>
                      <a:pt x="1193" y="1320"/>
                    </a:lnTo>
                    <a:lnTo>
                      <a:pt x="1193" y="1322"/>
                    </a:lnTo>
                    <a:lnTo>
                      <a:pt x="1191" y="1322"/>
                    </a:lnTo>
                    <a:lnTo>
                      <a:pt x="1191" y="1323"/>
                    </a:lnTo>
                    <a:lnTo>
                      <a:pt x="1191" y="1325"/>
                    </a:lnTo>
                    <a:lnTo>
                      <a:pt x="1191" y="1327"/>
                    </a:lnTo>
                    <a:lnTo>
                      <a:pt x="1191" y="1328"/>
                    </a:lnTo>
                    <a:lnTo>
                      <a:pt x="1191" y="1330"/>
                    </a:lnTo>
                    <a:lnTo>
                      <a:pt x="1190" y="1330"/>
                    </a:lnTo>
                    <a:lnTo>
                      <a:pt x="1188" y="1330"/>
                    </a:lnTo>
                    <a:lnTo>
                      <a:pt x="1188" y="1328"/>
                    </a:lnTo>
                    <a:lnTo>
                      <a:pt x="1186" y="1327"/>
                    </a:lnTo>
                    <a:lnTo>
                      <a:pt x="1186" y="1325"/>
                    </a:lnTo>
                    <a:lnTo>
                      <a:pt x="1186" y="1323"/>
                    </a:lnTo>
                    <a:lnTo>
                      <a:pt x="1186" y="1325"/>
                    </a:lnTo>
                    <a:lnTo>
                      <a:pt x="1185" y="1325"/>
                    </a:lnTo>
                    <a:lnTo>
                      <a:pt x="1185" y="1323"/>
                    </a:lnTo>
                    <a:lnTo>
                      <a:pt x="1183" y="1323"/>
                    </a:lnTo>
                    <a:lnTo>
                      <a:pt x="1183" y="1322"/>
                    </a:lnTo>
                    <a:lnTo>
                      <a:pt x="1183" y="1323"/>
                    </a:lnTo>
                    <a:lnTo>
                      <a:pt x="1183" y="1322"/>
                    </a:lnTo>
                    <a:lnTo>
                      <a:pt x="1183" y="1320"/>
                    </a:lnTo>
                    <a:lnTo>
                      <a:pt x="1185" y="1320"/>
                    </a:lnTo>
                    <a:lnTo>
                      <a:pt x="1185" y="1318"/>
                    </a:lnTo>
                    <a:lnTo>
                      <a:pt x="1185" y="1316"/>
                    </a:lnTo>
                    <a:lnTo>
                      <a:pt x="1185" y="1315"/>
                    </a:lnTo>
                    <a:lnTo>
                      <a:pt x="1185" y="1313"/>
                    </a:lnTo>
                    <a:lnTo>
                      <a:pt x="1185" y="1311"/>
                    </a:lnTo>
                    <a:lnTo>
                      <a:pt x="1186" y="1311"/>
                    </a:lnTo>
                    <a:lnTo>
                      <a:pt x="1185" y="1311"/>
                    </a:lnTo>
                    <a:lnTo>
                      <a:pt x="1185" y="1310"/>
                    </a:lnTo>
                    <a:lnTo>
                      <a:pt x="1185" y="1308"/>
                    </a:lnTo>
                    <a:lnTo>
                      <a:pt x="1185" y="1306"/>
                    </a:lnTo>
                    <a:lnTo>
                      <a:pt x="1185" y="1305"/>
                    </a:lnTo>
                    <a:lnTo>
                      <a:pt x="1183" y="1306"/>
                    </a:lnTo>
                    <a:lnTo>
                      <a:pt x="1183" y="1308"/>
                    </a:lnTo>
                    <a:lnTo>
                      <a:pt x="1183" y="1306"/>
                    </a:lnTo>
                    <a:lnTo>
                      <a:pt x="1183" y="1305"/>
                    </a:lnTo>
                    <a:lnTo>
                      <a:pt x="1181" y="1303"/>
                    </a:lnTo>
                    <a:lnTo>
                      <a:pt x="1183" y="1303"/>
                    </a:lnTo>
                    <a:lnTo>
                      <a:pt x="1183" y="1301"/>
                    </a:lnTo>
                    <a:lnTo>
                      <a:pt x="1183" y="1303"/>
                    </a:lnTo>
                    <a:lnTo>
                      <a:pt x="1185" y="1301"/>
                    </a:lnTo>
                    <a:lnTo>
                      <a:pt x="1185" y="1299"/>
                    </a:lnTo>
                    <a:lnTo>
                      <a:pt x="1183" y="1299"/>
                    </a:lnTo>
                    <a:lnTo>
                      <a:pt x="1183" y="1298"/>
                    </a:lnTo>
                    <a:lnTo>
                      <a:pt x="1185" y="1299"/>
                    </a:lnTo>
                    <a:lnTo>
                      <a:pt x="1185" y="1298"/>
                    </a:lnTo>
                    <a:lnTo>
                      <a:pt x="1186" y="1299"/>
                    </a:lnTo>
                    <a:lnTo>
                      <a:pt x="1185" y="1298"/>
                    </a:lnTo>
                    <a:lnTo>
                      <a:pt x="1183" y="1298"/>
                    </a:lnTo>
                    <a:lnTo>
                      <a:pt x="1183" y="1296"/>
                    </a:lnTo>
                    <a:lnTo>
                      <a:pt x="1185" y="1296"/>
                    </a:lnTo>
                    <a:lnTo>
                      <a:pt x="1183" y="1296"/>
                    </a:lnTo>
                    <a:lnTo>
                      <a:pt x="1183" y="1294"/>
                    </a:lnTo>
                    <a:lnTo>
                      <a:pt x="1183" y="1293"/>
                    </a:lnTo>
                    <a:lnTo>
                      <a:pt x="1183" y="1291"/>
                    </a:lnTo>
                    <a:lnTo>
                      <a:pt x="1185" y="1291"/>
                    </a:lnTo>
                    <a:lnTo>
                      <a:pt x="1185" y="1289"/>
                    </a:lnTo>
                    <a:lnTo>
                      <a:pt x="1185" y="1288"/>
                    </a:lnTo>
                    <a:lnTo>
                      <a:pt x="1186" y="1288"/>
                    </a:lnTo>
                    <a:lnTo>
                      <a:pt x="1186" y="1289"/>
                    </a:lnTo>
                    <a:lnTo>
                      <a:pt x="1186" y="1288"/>
                    </a:lnTo>
                    <a:lnTo>
                      <a:pt x="1186" y="1289"/>
                    </a:lnTo>
                    <a:lnTo>
                      <a:pt x="1188" y="1289"/>
                    </a:lnTo>
                    <a:lnTo>
                      <a:pt x="1190" y="1289"/>
                    </a:lnTo>
                    <a:lnTo>
                      <a:pt x="1190" y="1288"/>
                    </a:lnTo>
                    <a:lnTo>
                      <a:pt x="1191" y="1288"/>
                    </a:lnTo>
                    <a:lnTo>
                      <a:pt x="1193" y="1288"/>
                    </a:lnTo>
                    <a:lnTo>
                      <a:pt x="1195" y="1289"/>
                    </a:lnTo>
                    <a:lnTo>
                      <a:pt x="1196" y="1288"/>
                    </a:lnTo>
                    <a:lnTo>
                      <a:pt x="1196" y="1289"/>
                    </a:lnTo>
                    <a:lnTo>
                      <a:pt x="1198" y="1288"/>
                    </a:lnTo>
                    <a:lnTo>
                      <a:pt x="1196" y="1288"/>
                    </a:lnTo>
                    <a:lnTo>
                      <a:pt x="1195" y="1288"/>
                    </a:lnTo>
                    <a:lnTo>
                      <a:pt x="1193" y="1288"/>
                    </a:lnTo>
                    <a:lnTo>
                      <a:pt x="1191" y="1286"/>
                    </a:lnTo>
                    <a:lnTo>
                      <a:pt x="1190" y="1288"/>
                    </a:lnTo>
                    <a:lnTo>
                      <a:pt x="1188" y="1288"/>
                    </a:lnTo>
                    <a:lnTo>
                      <a:pt x="1186" y="1288"/>
                    </a:lnTo>
                    <a:lnTo>
                      <a:pt x="1188" y="1286"/>
                    </a:lnTo>
                    <a:lnTo>
                      <a:pt x="1190" y="1286"/>
                    </a:lnTo>
                    <a:lnTo>
                      <a:pt x="1190" y="1284"/>
                    </a:lnTo>
                    <a:lnTo>
                      <a:pt x="1190" y="1286"/>
                    </a:lnTo>
                    <a:lnTo>
                      <a:pt x="1188" y="1286"/>
                    </a:lnTo>
                    <a:lnTo>
                      <a:pt x="1188" y="1284"/>
                    </a:lnTo>
                    <a:lnTo>
                      <a:pt x="1188" y="1286"/>
                    </a:lnTo>
                    <a:lnTo>
                      <a:pt x="1186" y="1286"/>
                    </a:lnTo>
                    <a:lnTo>
                      <a:pt x="1186" y="1284"/>
                    </a:lnTo>
                    <a:lnTo>
                      <a:pt x="1185" y="1286"/>
                    </a:lnTo>
                    <a:lnTo>
                      <a:pt x="1185" y="1284"/>
                    </a:lnTo>
                    <a:lnTo>
                      <a:pt x="1186" y="1284"/>
                    </a:lnTo>
                    <a:lnTo>
                      <a:pt x="1185" y="1282"/>
                    </a:lnTo>
                    <a:lnTo>
                      <a:pt x="1185" y="1281"/>
                    </a:lnTo>
                    <a:lnTo>
                      <a:pt x="1186" y="1281"/>
                    </a:lnTo>
                    <a:lnTo>
                      <a:pt x="1186" y="1279"/>
                    </a:lnTo>
                    <a:lnTo>
                      <a:pt x="1188" y="1279"/>
                    </a:lnTo>
                    <a:lnTo>
                      <a:pt x="1188" y="1277"/>
                    </a:lnTo>
                    <a:lnTo>
                      <a:pt x="1190" y="1279"/>
                    </a:lnTo>
                    <a:lnTo>
                      <a:pt x="1188" y="1277"/>
                    </a:lnTo>
                    <a:lnTo>
                      <a:pt x="1190" y="1277"/>
                    </a:lnTo>
                    <a:lnTo>
                      <a:pt x="1190" y="1276"/>
                    </a:lnTo>
                    <a:lnTo>
                      <a:pt x="1191" y="1276"/>
                    </a:lnTo>
                    <a:lnTo>
                      <a:pt x="1193" y="1276"/>
                    </a:lnTo>
                    <a:lnTo>
                      <a:pt x="1193" y="1277"/>
                    </a:lnTo>
                    <a:lnTo>
                      <a:pt x="1195" y="1277"/>
                    </a:lnTo>
                    <a:lnTo>
                      <a:pt x="1195" y="1279"/>
                    </a:lnTo>
                    <a:lnTo>
                      <a:pt x="1196" y="1279"/>
                    </a:lnTo>
                    <a:lnTo>
                      <a:pt x="1198" y="1281"/>
                    </a:lnTo>
                    <a:lnTo>
                      <a:pt x="1200" y="1282"/>
                    </a:lnTo>
                    <a:lnTo>
                      <a:pt x="1200" y="1281"/>
                    </a:lnTo>
                    <a:lnTo>
                      <a:pt x="1200" y="1279"/>
                    </a:lnTo>
                    <a:lnTo>
                      <a:pt x="1198" y="1279"/>
                    </a:lnTo>
                    <a:lnTo>
                      <a:pt x="1196" y="1279"/>
                    </a:lnTo>
                    <a:lnTo>
                      <a:pt x="1196" y="1277"/>
                    </a:lnTo>
                    <a:lnTo>
                      <a:pt x="1196" y="1276"/>
                    </a:lnTo>
                    <a:lnTo>
                      <a:pt x="1196" y="1274"/>
                    </a:lnTo>
                    <a:lnTo>
                      <a:pt x="1198" y="1272"/>
                    </a:lnTo>
                    <a:lnTo>
                      <a:pt x="1200" y="1274"/>
                    </a:lnTo>
                    <a:lnTo>
                      <a:pt x="1200" y="1272"/>
                    </a:lnTo>
                    <a:lnTo>
                      <a:pt x="1202" y="1272"/>
                    </a:lnTo>
                    <a:lnTo>
                      <a:pt x="1200" y="1272"/>
                    </a:lnTo>
                    <a:lnTo>
                      <a:pt x="1198" y="1272"/>
                    </a:lnTo>
                    <a:lnTo>
                      <a:pt x="1196" y="1272"/>
                    </a:lnTo>
                    <a:lnTo>
                      <a:pt x="1196" y="1270"/>
                    </a:lnTo>
                    <a:lnTo>
                      <a:pt x="1195" y="1270"/>
                    </a:lnTo>
                    <a:lnTo>
                      <a:pt x="1193" y="1270"/>
                    </a:lnTo>
                    <a:lnTo>
                      <a:pt x="1193" y="1269"/>
                    </a:lnTo>
                    <a:lnTo>
                      <a:pt x="1191" y="1269"/>
                    </a:lnTo>
                    <a:lnTo>
                      <a:pt x="1190" y="1269"/>
                    </a:lnTo>
                    <a:lnTo>
                      <a:pt x="1191" y="1267"/>
                    </a:lnTo>
                    <a:lnTo>
                      <a:pt x="1193" y="1267"/>
                    </a:lnTo>
                    <a:lnTo>
                      <a:pt x="1195" y="1267"/>
                    </a:lnTo>
                    <a:lnTo>
                      <a:pt x="1196" y="1267"/>
                    </a:lnTo>
                    <a:lnTo>
                      <a:pt x="1198" y="1267"/>
                    </a:lnTo>
                    <a:lnTo>
                      <a:pt x="1200" y="1267"/>
                    </a:lnTo>
                    <a:lnTo>
                      <a:pt x="1198" y="1267"/>
                    </a:lnTo>
                    <a:lnTo>
                      <a:pt x="1196" y="1267"/>
                    </a:lnTo>
                    <a:lnTo>
                      <a:pt x="1195" y="1267"/>
                    </a:lnTo>
                    <a:lnTo>
                      <a:pt x="1193" y="1267"/>
                    </a:lnTo>
                    <a:lnTo>
                      <a:pt x="1191" y="1267"/>
                    </a:lnTo>
                    <a:lnTo>
                      <a:pt x="1190" y="1267"/>
                    </a:lnTo>
                    <a:lnTo>
                      <a:pt x="1190" y="1269"/>
                    </a:lnTo>
                    <a:lnTo>
                      <a:pt x="1188" y="1269"/>
                    </a:lnTo>
                    <a:lnTo>
                      <a:pt x="1188" y="1267"/>
                    </a:lnTo>
                    <a:lnTo>
                      <a:pt x="1190" y="1267"/>
                    </a:lnTo>
                    <a:lnTo>
                      <a:pt x="1190" y="1265"/>
                    </a:lnTo>
                    <a:lnTo>
                      <a:pt x="1188" y="1264"/>
                    </a:lnTo>
                    <a:lnTo>
                      <a:pt x="1188" y="1265"/>
                    </a:lnTo>
                    <a:lnTo>
                      <a:pt x="1188" y="1264"/>
                    </a:lnTo>
                    <a:lnTo>
                      <a:pt x="1188" y="1262"/>
                    </a:lnTo>
                    <a:lnTo>
                      <a:pt x="1186" y="1262"/>
                    </a:lnTo>
                    <a:lnTo>
                      <a:pt x="1185" y="1262"/>
                    </a:lnTo>
                    <a:lnTo>
                      <a:pt x="1185" y="1260"/>
                    </a:lnTo>
                    <a:lnTo>
                      <a:pt x="1183" y="1260"/>
                    </a:lnTo>
                    <a:lnTo>
                      <a:pt x="1183" y="1259"/>
                    </a:lnTo>
                    <a:lnTo>
                      <a:pt x="1181" y="1259"/>
                    </a:lnTo>
                    <a:lnTo>
                      <a:pt x="1181" y="1257"/>
                    </a:lnTo>
                    <a:lnTo>
                      <a:pt x="1181" y="1255"/>
                    </a:lnTo>
                    <a:lnTo>
                      <a:pt x="1183" y="1255"/>
                    </a:lnTo>
                    <a:lnTo>
                      <a:pt x="1183" y="1253"/>
                    </a:lnTo>
                    <a:lnTo>
                      <a:pt x="1183" y="1255"/>
                    </a:lnTo>
                    <a:lnTo>
                      <a:pt x="1183" y="1253"/>
                    </a:lnTo>
                    <a:lnTo>
                      <a:pt x="1183" y="1252"/>
                    </a:lnTo>
                    <a:lnTo>
                      <a:pt x="1185" y="1252"/>
                    </a:lnTo>
                    <a:lnTo>
                      <a:pt x="1183" y="1252"/>
                    </a:lnTo>
                    <a:lnTo>
                      <a:pt x="1183" y="1253"/>
                    </a:lnTo>
                    <a:lnTo>
                      <a:pt x="1181" y="1253"/>
                    </a:lnTo>
                    <a:lnTo>
                      <a:pt x="1181" y="1255"/>
                    </a:lnTo>
                    <a:lnTo>
                      <a:pt x="1179" y="1255"/>
                    </a:lnTo>
                    <a:lnTo>
                      <a:pt x="1181" y="1255"/>
                    </a:lnTo>
                    <a:lnTo>
                      <a:pt x="1181" y="1253"/>
                    </a:lnTo>
                    <a:lnTo>
                      <a:pt x="1181" y="1255"/>
                    </a:lnTo>
                    <a:lnTo>
                      <a:pt x="1179" y="1255"/>
                    </a:lnTo>
                    <a:lnTo>
                      <a:pt x="1178" y="1257"/>
                    </a:lnTo>
                    <a:lnTo>
                      <a:pt x="1178" y="1255"/>
                    </a:lnTo>
                    <a:lnTo>
                      <a:pt x="1176" y="1255"/>
                    </a:lnTo>
                    <a:lnTo>
                      <a:pt x="1176" y="1253"/>
                    </a:lnTo>
                    <a:lnTo>
                      <a:pt x="1176" y="1255"/>
                    </a:lnTo>
                    <a:lnTo>
                      <a:pt x="1176" y="1253"/>
                    </a:lnTo>
                    <a:lnTo>
                      <a:pt x="1176" y="1252"/>
                    </a:lnTo>
                    <a:lnTo>
                      <a:pt x="1176" y="1250"/>
                    </a:lnTo>
                    <a:lnTo>
                      <a:pt x="1178" y="1250"/>
                    </a:lnTo>
                    <a:lnTo>
                      <a:pt x="1179" y="1248"/>
                    </a:lnTo>
                    <a:lnTo>
                      <a:pt x="1181" y="1248"/>
                    </a:lnTo>
                    <a:lnTo>
                      <a:pt x="1183" y="1250"/>
                    </a:lnTo>
                    <a:lnTo>
                      <a:pt x="1185" y="1250"/>
                    </a:lnTo>
                    <a:lnTo>
                      <a:pt x="1186" y="1252"/>
                    </a:lnTo>
                    <a:lnTo>
                      <a:pt x="1186" y="1253"/>
                    </a:lnTo>
                    <a:lnTo>
                      <a:pt x="1186" y="1252"/>
                    </a:lnTo>
                    <a:lnTo>
                      <a:pt x="1186" y="1253"/>
                    </a:lnTo>
                    <a:lnTo>
                      <a:pt x="1188" y="1255"/>
                    </a:lnTo>
                    <a:lnTo>
                      <a:pt x="1188" y="1257"/>
                    </a:lnTo>
                    <a:lnTo>
                      <a:pt x="1190" y="1259"/>
                    </a:lnTo>
                    <a:lnTo>
                      <a:pt x="1190" y="1260"/>
                    </a:lnTo>
                    <a:lnTo>
                      <a:pt x="1190" y="1262"/>
                    </a:lnTo>
                    <a:lnTo>
                      <a:pt x="1188" y="1262"/>
                    </a:lnTo>
                    <a:lnTo>
                      <a:pt x="1190" y="1262"/>
                    </a:lnTo>
                    <a:lnTo>
                      <a:pt x="1188" y="1264"/>
                    </a:lnTo>
                    <a:lnTo>
                      <a:pt x="1190" y="1264"/>
                    </a:lnTo>
                    <a:lnTo>
                      <a:pt x="1190" y="1262"/>
                    </a:lnTo>
                    <a:lnTo>
                      <a:pt x="1190" y="1260"/>
                    </a:lnTo>
                    <a:lnTo>
                      <a:pt x="1191" y="1262"/>
                    </a:lnTo>
                    <a:lnTo>
                      <a:pt x="1191" y="1264"/>
                    </a:lnTo>
                    <a:lnTo>
                      <a:pt x="1193" y="1262"/>
                    </a:lnTo>
                    <a:lnTo>
                      <a:pt x="1195" y="1262"/>
                    </a:lnTo>
                    <a:lnTo>
                      <a:pt x="1193" y="1262"/>
                    </a:lnTo>
                    <a:lnTo>
                      <a:pt x="1191" y="1264"/>
                    </a:lnTo>
                    <a:lnTo>
                      <a:pt x="1191" y="1262"/>
                    </a:lnTo>
                    <a:lnTo>
                      <a:pt x="1191" y="1260"/>
                    </a:lnTo>
                    <a:lnTo>
                      <a:pt x="1190" y="1260"/>
                    </a:lnTo>
                    <a:lnTo>
                      <a:pt x="1190" y="1259"/>
                    </a:lnTo>
                    <a:lnTo>
                      <a:pt x="1191" y="1259"/>
                    </a:lnTo>
                    <a:lnTo>
                      <a:pt x="1190" y="1259"/>
                    </a:lnTo>
                    <a:lnTo>
                      <a:pt x="1190" y="1257"/>
                    </a:lnTo>
                    <a:lnTo>
                      <a:pt x="1188" y="1255"/>
                    </a:lnTo>
                    <a:lnTo>
                      <a:pt x="1188" y="1253"/>
                    </a:lnTo>
                    <a:lnTo>
                      <a:pt x="1188" y="1252"/>
                    </a:lnTo>
                    <a:lnTo>
                      <a:pt x="1190" y="1252"/>
                    </a:lnTo>
                    <a:lnTo>
                      <a:pt x="1190" y="1250"/>
                    </a:lnTo>
                    <a:lnTo>
                      <a:pt x="1191" y="1250"/>
                    </a:lnTo>
                    <a:lnTo>
                      <a:pt x="1191" y="1252"/>
                    </a:lnTo>
                    <a:lnTo>
                      <a:pt x="1191" y="1253"/>
                    </a:lnTo>
                    <a:lnTo>
                      <a:pt x="1193" y="1253"/>
                    </a:lnTo>
                    <a:lnTo>
                      <a:pt x="1193" y="1255"/>
                    </a:lnTo>
                    <a:lnTo>
                      <a:pt x="1191" y="1253"/>
                    </a:lnTo>
                    <a:lnTo>
                      <a:pt x="1191" y="1252"/>
                    </a:lnTo>
                    <a:lnTo>
                      <a:pt x="1191" y="1250"/>
                    </a:lnTo>
                    <a:lnTo>
                      <a:pt x="1193" y="1250"/>
                    </a:lnTo>
                    <a:lnTo>
                      <a:pt x="1193" y="1252"/>
                    </a:lnTo>
                    <a:lnTo>
                      <a:pt x="1193" y="1250"/>
                    </a:lnTo>
                    <a:lnTo>
                      <a:pt x="1195" y="1250"/>
                    </a:lnTo>
                    <a:lnTo>
                      <a:pt x="1196" y="1250"/>
                    </a:lnTo>
                    <a:lnTo>
                      <a:pt x="1196" y="1252"/>
                    </a:lnTo>
                    <a:lnTo>
                      <a:pt x="1195" y="1252"/>
                    </a:lnTo>
                    <a:lnTo>
                      <a:pt x="1196" y="1252"/>
                    </a:lnTo>
                    <a:lnTo>
                      <a:pt x="1196" y="1253"/>
                    </a:lnTo>
                    <a:lnTo>
                      <a:pt x="1196" y="1252"/>
                    </a:lnTo>
                    <a:lnTo>
                      <a:pt x="1198" y="1252"/>
                    </a:lnTo>
                    <a:lnTo>
                      <a:pt x="1198" y="1253"/>
                    </a:lnTo>
                    <a:lnTo>
                      <a:pt x="1200" y="1253"/>
                    </a:lnTo>
                    <a:lnTo>
                      <a:pt x="1202" y="1252"/>
                    </a:lnTo>
                    <a:lnTo>
                      <a:pt x="1202" y="1253"/>
                    </a:lnTo>
                    <a:lnTo>
                      <a:pt x="1202" y="1252"/>
                    </a:lnTo>
                    <a:lnTo>
                      <a:pt x="1202" y="1253"/>
                    </a:lnTo>
                    <a:lnTo>
                      <a:pt x="1203" y="1253"/>
                    </a:lnTo>
                    <a:lnTo>
                      <a:pt x="1203" y="1255"/>
                    </a:lnTo>
                    <a:lnTo>
                      <a:pt x="1202" y="1255"/>
                    </a:lnTo>
                    <a:lnTo>
                      <a:pt x="1203" y="1257"/>
                    </a:lnTo>
                    <a:lnTo>
                      <a:pt x="1202" y="1257"/>
                    </a:lnTo>
                    <a:lnTo>
                      <a:pt x="1203" y="1257"/>
                    </a:lnTo>
                    <a:lnTo>
                      <a:pt x="1203" y="1255"/>
                    </a:lnTo>
                    <a:lnTo>
                      <a:pt x="1203" y="1253"/>
                    </a:lnTo>
                    <a:lnTo>
                      <a:pt x="1205" y="1253"/>
                    </a:lnTo>
                    <a:lnTo>
                      <a:pt x="1207" y="1253"/>
                    </a:lnTo>
                    <a:lnTo>
                      <a:pt x="1207" y="1255"/>
                    </a:lnTo>
                    <a:lnTo>
                      <a:pt x="1205" y="1255"/>
                    </a:lnTo>
                    <a:lnTo>
                      <a:pt x="1205" y="1257"/>
                    </a:lnTo>
                    <a:lnTo>
                      <a:pt x="1205" y="1259"/>
                    </a:lnTo>
                    <a:lnTo>
                      <a:pt x="1205" y="1257"/>
                    </a:lnTo>
                    <a:lnTo>
                      <a:pt x="1207" y="1255"/>
                    </a:lnTo>
                    <a:lnTo>
                      <a:pt x="1208" y="1257"/>
                    </a:lnTo>
                    <a:lnTo>
                      <a:pt x="1210" y="1257"/>
                    </a:lnTo>
                    <a:lnTo>
                      <a:pt x="1210" y="1259"/>
                    </a:lnTo>
                    <a:lnTo>
                      <a:pt x="1210" y="1257"/>
                    </a:lnTo>
                    <a:lnTo>
                      <a:pt x="1212" y="1259"/>
                    </a:lnTo>
                    <a:lnTo>
                      <a:pt x="1212" y="1260"/>
                    </a:lnTo>
                    <a:lnTo>
                      <a:pt x="1212" y="1262"/>
                    </a:lnTo>
                    <a:lnTo>
                      <a:pt x="1210" y="1262"/>
                    </a:lnTo>
                    <a:lnTo>
                      <a:pt x="1210" y="1264"/>
                    </a:lnTo>
                    <a:lnTo>
                      <a:pt x="1212" y="1262"/>
                    </a:lnTo>
                    <a:lnTo>
                      <a:pt x="1212" y="1260"/>
                    </a:lnTo>
                    <a:lnTo>
                      <a:pt x="1212" y="1262"/>
                    </a:lnTo>
                    <a:lnTo>
                      <a:pt x="1212" y="1264"/>
                    </a:lnTo>
                    <a:lnTo>
                      <a:pt x="1213" y="1264"/>
                    </a:lnTo>
                    <a:lnTo>
                      <a:pt x="1215" y="1264"/>
                    </a:lnTo>
                    <a:lnTo>
                      <a:pt x="1213" y="1262"/>
                    </a:lnTo>
                    <a:lnTo>
                      <a:pt x="1215" y="1260"/>
                    </a:lnTo>
                    <a:lnTo>
                      <a:pt x="1217" y="1260"/>
                    </a:lnTo>
                    <a:lnTo>
                      <a:pt x="1217" y="1262"/>
                    </a:lnTo>
                    <a:lnTo>
                      <a:pt x="1219" y="1262"/>
                    </a:lnTo>
                    <a:lnTo>
                      <a:pt x="1220" y="1262"/>
                    </a:lnTo>
                    <a:lnTo>
                      <a:pt x="1220" y="1260"/>
                    </a:lnTo>
                    <a:lnTo>
                      <a:pt x="1222" y="1260"/>
                    </a:lnTo>
                    <a:lnTo>
                      <a:pt x="1222" y="1259"/>
                    </a:lnTo>
                    <a:lnTo>
                      <a:pt x="1222" y="1257"/>
                    </a:lnTo>
                    <a:lnTo>
                      <a:pt x="1222" y="1255"/>
                    </a:lnTo>
                    <a:lnTo>
                      <a:pt x="1222" y="1253"/>
                    </a:lnTo>
                    <a:lnTo>
                      <a:pt x="1222" y="1252"/>
                    </a:lnTo>
                    <a:lnTo>
                      <a:pt x="1222" y="1253"/>
                    </a:lnTo>
                    <a:lnTo>
                      <a:pt x="1222" y="1255"/>
                    </a:lnTo>
                    <a:lnTo>
                      <a:pt x="1222" y="1257"/>
                    </a:lnTo>
                    <a:lnTo>
                      <a:pt x="1222" y="1259"/>
                    </a:lnTo>
                    <a:lnTo>
                      <a:pt x="1220" y="1260"/>
                    </a:lnTo>
                    <a:lnTo>
                      <a:pt x="1219" y="1260"/>
                    </a:lnTo>
                    <a:lnTo>
                      <a:pt x="1219" y="1259"/>
                    </a:lnTo>
                    <a:lnTo>
                      <a:pt x="1217" y="1259"/>
                    </a:lnTo>
                    <a:lnTo>
                      <a:pt x="1215" y="1259"/>
                    </a:lnTo>
                    <a:lnTo>
                      <a:pt x="1215" y="1257"/>
                    </a:lnTo>
                    <a:lnTo>
                      <a:pt x="1213" y="1255"/>
                    </a:lnTo>
                    <a:lnTo>
                      <a:pt x="1212" y="1255"/>
                    </a:lnTo>
                    <a:lnTo>
                      <a:pt x="1212" y="1253"/>
                    </a:lnTo>
                    <a:lnTo>
                      <a:pt x="1212" y="1252"/>
                    </a:lnTo>
                    <a:lnTo>
                      <a:pt x="1213" y="1252"/>
                    </a:lnTo>
                    <a:lnTo>
                      <a:pt x="1213" y="1250"/>
                    </a:lnTo>
                    <a:lnTo>
                      <a:pt x="1212" y="1250"/>
                    </a:lnTo>
                    <a:lnTo>
                      <a:pt x="1212" y="1252"/>
                    </a:lnTo>
                    <a:lnTo>
                      <a:pt x="1210" y="1252"/>
                    </a:lnTo>
                    <a:lnTo>
                      <a:pt x="1210" y="1250"/>
                    </a:lnTo>
                    <a:lnTo>
                      <a:pt x="1208" y="1248"/>
                    </a:lnTo>
                    <a:lnTo>
                      <a:pt x="1210" y="1248"/>
                    </a:lnTo>
                    <a:lnTo>
                      <a:pt x="1210" y="1247"/>
                    </a:lnTo>
                    <a:lnTo>
                      <a:pt x="1208" y="1247"/>
                    </a:lnTo>
                    <a:lnTo>
                      <a:pt x="1210" y="1245"/>
                    </a:lnTo>
                    <a:lnTo>
                      <a:pt x="1212" y="1245"/>
                    </a:lnTo>
                    <a:lnTo>
                      <a:pt x="1213" y="1245"/>
                    </a:lnTo>
                    <a:lnTo>
                      <a:pt x="1213" y="1247"/>
                    </a:lnTo>
                    <a:lnTo>
                      <a:pt x="1213" y="1248"/>
                    </a:lnTo>
                    <a:lnTo>
                      <a:pt x="1215" y="1248"/>
                    </a:lnTo>
                    <a:lnTo>
                      <a:pt x="1215" y="1250"/>
                    </a:lnTo>
                    <a:lnTo>
                      <a:pt x="1217" y="1250"/>
                    </a:lnTo>
                    <a:lnTo>
                      <a:pt x="1219" y="1250"/>
                    </a:lnTo>
                    <a:lnTo>
                      <a:pt x="1220" y="1248"/>
                    </a:lnTo>
                    <a:lnTo>
                      <a:pt x="1220" y="1250"/>
                    </a:lnTo>
                    <a:lnTo>
                      <a:pt x="1222" y="1250"/>
                    </a:lnTo>
                    <a:lnTo>
                      <a:pt x="1224" y="1250"/>
                    </a:lnTo>
                    <a:lnTo>
                      <a:pt x="1222" y="1248"/>
                    </a:lnTo>
                    <a:lnTo>
                      <a:pt x="1220" y="1248"/>
                    </a:lnTo>
                    <a:lnTo>
                      <a:pt x="1219" y="1248"/>
                    </a:lnTo>
                    <a:lnTo>
                      <a:pt x="1217" y="1248"/>
                    </a:lnTo>
                    <a:lnTo>
                      <a:pt x="1215" y="1248"/>
                    </a:lnTo>
                    <a:lnTo>
                      <a:pt x="1213" y="1248"/>
                    </a:lnTo>
                    <a:lnTo>
                      <a:pt x="1213" y="1247"/>
                    </a:lnTo>
                    <a:lnTo>
                      <a:pt x="1215" y="1247"/>
                    </a:lnTo>
                    <a:lnTo>
                      <a:pt x="1213" y="1245"/>
                    </a:lnTo>
                    <a:lnTo>
                      <a:pt x="1215" y="1245"/>
                    </a:lnTo>
                    <a:lnTo>
                      <a:pt x="1215" y="1243"/>
                    </a:lnTo>
                    <a:lnTo>
                      <a:pt x="1215" y="1245"/>
                    </a:lnTo>
                    <a:lnTo>
                      <a:pt x="1213" y="1245"/>
                    </a:lnTo>
                    <a:lnTo>
                      <a:pt x="1213" y="1243"/>
                    </a:lnTo>
                    <a:lnTo>
                      <a:pt x="1212" y="1243"/>
                    </a:lnTo>
                    <a:lnTo>
                      <a:pt x="1212" y="1242"/>
                    </a:lnTo>
                    <a:lnTo>
                      <a:pt x="1210" y="1242"/>
                    </a:lnTo>
                    <a:lnTo>
                      <a:pt x="1212" y="1242"/>
                    </a:lnTo>
                    <a:lnTo>
                      <a:pt x="1212" y="1240"/>
                    </a:lnTo>
                    <a:lnTo>
                      <a:pt x="1210" y="1240"/>
                    </a:lnTo>
                    <a:lnTo>
                      <a:pt x="1208" y="1240"/>
                    </a:lnTo>
                    <a:lnTo>
                      <a:pt x="1207" y="1240"/>
                    </a:lnTo>
                    <a:lnTo>
                      <a:pt x="1207" y="1238"/>
                    </a:lnTo>
                    <a:lnTo>
                      <a:pt x="1207" y="1236"/>
                    </a:lnTo>
                    <a:lnTo>
                      <a:pt x="1207" y="1235"/>
                    </a:lnTo>
                    <a:lnTo>
                      <a:pt x="1208" y="1233"/>
                    </a:lnTo>
                    <a:lnTo>
                      <a:pt x="1210" y="1231"/>
                    </a:lnTo>
                    <a:lnTo>
                      <a:pt x="1208" y="1231"/>
                    </a:lnTo>
                    <a:lnTo>
                      <a:pt x="1208" y="1233"/>
                    </a:lnTo>
                    <a:lnTo>
                      <a:pt x="1207" y="1233"/>
                    </a:lnTo>
                    <a:lnTo>
                      <a:pt x="1208" y="1233"/>
                    </a:lnTo>
                    <a:lnTo>
                      <a:pt x="1207" y="1233"/>
                    </a:lnTo>
                    <a:lnTo>
                      <a:pt x="1207" y="1235"/>
                    </a:lnTo>
                    <a:lnTo>
                      <a:pt x="1205" y="1235"/>
                    </a:lnTo>
                    <a:lnTo>
                      <a:pt x="1205" y="1236"/>
                    </a:lnTo>
                    <a:lnTo>
                      <a:pt x="1205" y="1238"/>
                    </a:lnTo>
                    <a:lnTo>
                      <a:pt x="1207" y="1238"/>
                    </a:lnTo>
                    <a:lnTo>
                      <a:pt x="1207" y="1240"/>
                    </a:lnTo>
                    <a:lnTo>
                      <a:pt x="1205" y="1240"/>
                    </a:lnTo>
                    <a:lnTo>
                      <a:pt x="1205" y="1242"/>
                    </a:lnTo>
                    <a:lnTo>
                      <a:pt x="1203" y="1242"/>
                    </a:lnTo>
                    <a:lnTo>
                      <a:pt x="1202" y="1242"/>
                    </a:lnTo>
                    <a:lnTo>
                      <a:pt x="1202" y="1243"/>
                    </a:lnTo>
                    <a:lnTo>
                      <a:pt x="1200" y="1243"/>
                    </a:lnTo>
                    <a:lnTo>
                      <a:pt x="1200" y="1242"/>
                    </a:lnTo>
                    <a:lnTo>
                      <a:pt x="1198" y="1242"/>
                    </a:lnTo>
                    <a:lnTo>
                      <a:pt x="1196" y="1242"/>
                    </a:lnTo>
                    <a:lnTo>
                      <a:pt x="1196" y="1240"/>
                    </a:lnTo>
                    <a:lnTo>
                      <a:pt x="1196" y="1238"/>
                    </a:lnTo>
                    <a:lnTo>
                      <a:pt x="1195" y="1240"/>
                    </a:lnTo>
                    <a:lnTo>
                      <a:pt x="1193" y="1240"/>
                    </a:lnTo>
                    <a:lnTo>
                      <a:pt x="1191" y="1240"/>
                    </a:lnTo>
                    <a:lnTo>
                      <a:pt x="1190" y="1240"/>
                    </a:lnTo>
                    <a:lnTo>
                      <a:pt x="1188" y="1240"/>
                    </a:lnTo>
                    <a:lnTo>
                      <a:pt x="1186" y="1240"/>
                    </a:lnTo>
                    <a:lnTo>
                      <a:pt x="1185" y="1240"/>
                    </a:lnTo>
                    <a:lnTo>
                      <a:pt x="1185" y="1238"/>
                    </a:lnTo>
                    <a:lnTo>
                      <a:pt x="1186" y="1238"/>
                    </a:lnTo>
                    <a:lnTo>
                      <a:pt x="1186" y="1240"/>
                    </a:lnTo>
                    <a:lnTo>
                      <a:pt x="1188" y="1240"/>
                    </a:lnTo>
                    <a:lnTo>
                      <a:pt x="1186" y="1238"/>
                    </a:lnTo>
                    <a:lnTo>
                      <a:pt x="1185" y="1238"/>
                    </a:lnTo>
                    <a:lnTo>
                      <a:pt x="1183" y="1238"/>
                    </a:lnTo>
                    <a:lnTo>
                      <a:pt x="1181" y="1238"/>
                    </a:lnTo>
                    <a:lnTo>
                      <a:pt x="1181" y="1240"/>
                    </a:lnTo>
                    <a:lnTo>
                      <a:pt x="1179" y="1240"/>
                    </a:lnTo>
                    <a:lnTo>
                      <a:pt x="1179" y="1238"/>
                    </a:lnTo>
                    <a:lnTo>
                      <a:pt x="1181" y="1238"/>
                    </a:lnTo>
                    <a:lnTo>
                      <a:pt x="1179" y="1238"/>
                    </a:lnTo>
                    <a:lnTo>
                      <a:pt x="1179" y="1240"/>
                    </a:lnTo>
                    <a:lnTo>
                      <a:pt x="1178" y="1240"/>
                    </a:lnTo>
                    <a:lnTo>
                      <a:pt x="1176" y="1240"/>
                    </a:lnTo>
                    <a:lnTo>
                      <a:pt x="1174" y="1238"/>
                    </a:lnTo>
                    <a:lnTo>
                      <a:pt x="1176" y="1238"/>
                    </a:lnTo>
                    <a:lnTo>
                      <a:pt x="1176" y="1236"/>
                    </a:lnTo>
                    <a:lnTo>
                      <a:pt x="1178" y="1236"/>
                    </a:lnTo>
                    <a:lnTo>
                      <a:pt x="1176" y="1236"/>
                    </a:lnTo>
                    <a:lnTo>
                      <a:pt x="1176" y="1238"/>
                    </a:lnTo>
                    <a:lnTo>
                      <a:pt x="1174" y="1238"/>
                    </a:lnTo>
                    <a:lnTo>
                      <a:pt x="1173" y="1238"/>
                    </a:lnTo>
                    <a:lnTo>
                      <a:pt x="1173" y="1236"/>
                    </a:lnTo>
                    <a:lnTo>
                      <a:pt x="1174" y="1235"/>
                    </a:lnTo>
                    <a:lnTo>
                      <a:pt x="1174" y="1233"/>
                    </a:lnTo>
                    <a:lnTo>
                      <a:pt x="1176" y="1233"/>
                    </a:lnTo>
                    <a:lnTo>
                      <a:pt x="1176" y="1231"/>
                    </a:lnTo>
                    <a:lnTo>
                      <a:pt x="1178" y="1233"/>
                    </a:lnTo>
                    <a:lnTo>
                      <a:pt x="1178" y="1231"/>
                    </a:lnTo>
                    <a:lnTo>
                      <a:pt x="1178" y="1233"/>
                    </a:lnTo>
                    <a:lnTo>
                      <a:pt x="1178" y="1231"/>
                    </a:lnTo>
                    <a:lnTo>
                      <a:pt x="1176" y="1231"/>
                    </a:lnTo>
                    <a:lnTo>
                      <a:pt x="1176" y="1230"/>
                    </a:lnTo>
                    <a:lnTo>
                      <a:pt x="1178" y="1230"/>
                    </a:lnTo>
                    <a:lnTo>
                      <a:pt x="1178" y="1228"/>
                    </a:lnTo>
                    <a:lnTo>
                      <a:pt x="1179" y="1228"/>
                    </a:lnTo>
                    <a:lnTo>
                      <a:pt x="1181" y="1228"/>
                    </a:lnTo>
                    <a:lnTo>
                      <a:pt x="1179" y="1230"/>
                    </a:lnTo>
                    <a:lnTo>
                      <a:pt x="1181" y="1230"/>
                    </a:lnTo>
                    <a:lnTo>
                      <a:pt x="1181" y="1231"/>
                    </a:lnTo>
                    <a:lnTo>
                      <a:pt x="1181" y="1230"/>
                    </a:lnTo>
                    <a:lnTo>
                      <a:pt x="1181" y="1228"/>
                    </a:lnTo>
                    <a:lnTo>
                      <a:pt x="1183" y="1228"/>
                    </a:lnTo>
                    <a:lnTo>
                      <a:pt x="1185" y="1228"/>
                    </a:lnTo>
                    <a:lnTo>
                      <a:pt x="1185" y="1230"/>
                    </a:lnTo>
                    <a:lnTo>
                      <a:pt x="1185" y="1231"/>
                    </a:lnTo>
                    <a:lnTo>
                      <a:pt x="1185" y="1230"/>
                    </a:lnTo>
                    <a:lnTo>
                      <a:pt x="1186" y="1231"/>
                    </a:lnTo>
                    <a:lnTo>
                      <a:pt x="1186" y="1233"/>
                    </a:lnTo>
                    <a:lnTo>
                      <a:pt x="1185" y="1233"/>
                    </a:lnTo>
                    <a:lnTo>
                      <a:pt x="1185" y="1235"/>
                    </a:lnTo>
                    <a:lnTo>
                      <a:pt x="1185" y="1233"/>
                    </a:lnTo>
                    <a:lnTo>
                      <a:pt x="1185" y="1231"/>
                    </a:lnTo>
                    <a:lnTo>
                      <a:pt x="1185" y="1233"/>
                    </a:lnTo>
                    <a:lnTo>
                      <a:pt x="1183" y="1233"/>
                    </a:lnTo>
                    <a:lnTo>
                      <a:pt x="1183" y="1235"/>
                    </a:lnTo>
                    <a:lnTo>
                      <a:pt x="1181" y="1235"/>
                    </a:lnTo>
                    <a:lnTo>
                      <a:pt x="1179" y="1235"/>
                    </a:lnTo>
                    <a:lnTo>
                      <a:pt x="1179" y="1233"/>
                    </a:lnTo>
                    <a:lnTo>
                      <a:pt x="1178" y="1233"/>
                    </a:lnTo>
                    <a:lnTo>
                      <a:pt x="1179" y="1233"/>
                    </a:lnTo>
                    <a:lnTo>
                      <a:pt x="1178" y="1235"/>
                    </a:lnTo>
                    <a:lnTo>
                      <a:pt x="1179" y="1235"/>
                    </a:lnTo>
                    <a:lnTo>
                      <a:pt x="1179" y="1236"/>
                    </a:lnTo>
                    <a:lnTo>
                      <a:pt x="1181" y="1235"/>
                    </a:lnTo>
                    <a:lnTo>
                      <a:pt x="1183" y="1235"/>
                    </a:lnTo>
                    <a:lnTo>
                      <a:pt x="1185" y="1235"/>
                    </a:lnTo>
                    <a:lnTo>
                      <a:pt x="1186" y="1233"/>
                    </a:lnTo>
                    <a:lnTo>
                      <a:pt x="1186" y="1235"/>
                    </a:lnTo>
                    <a:lnTo>
                      <a:pt x="1186" y="1233"/>
                    </a:lnTo>
                    <a:lnTo>
                      <a:pt x="1188" y="1235"/>
                    </a:lnTo>
                    <a:lnTo>
                      <a:pt x="1186" y="1235"/>
                    </a:lnTo>
                    <a:lnTo>
                      <a:pt x="1186" y="1236"/>
                    </a:lnTo>
                    <a:lnTo>
                      <a:pt x="1188" y="1236"/>
                    </a:lnTo>
                    <a:lnTo>
                      <a:pt x="1188" y="1238"/>
                    </a:lnTo>
                    <a:lnTo>
                      <a:pt x="1190" y="1238"/>
                    </a:lnTo>
                    <a:lnTo>
                      <a:pt x="1191" y="1238"/>
                    </a:lnTo>
                    <a:lnTo>
                      <a:pt x="1191" y="1240"/>
                    </a:lnTo>
                    <a:lnTo>
                      <a:pt x="1191" y="1238"/>
                    </a:lnTo>
                    <a:lnTo>
                      <a:pt x="1193" y="1238"/>
                    </a:lnTo>
                    <a:lnTo>
                      <a:pt x="1195" y="1238"/>
                    </a:lnTo>
                    <a:lnTo>
                      <a:pt x="1193" y="1238"/>
                    </a:lnTo>
                    <a:lnTo>
                      <a:pt x="1191" y="1238"/>
                    </a:lnTo>
                    <a:lnTo>
                      <a:pt x="1190" y="1238"/>
                    </a:lnTo>
                    <a:lnTo>
                      <a:pt x="1190" y="1236"/>
                    </a:lnTo>
                    <a:lnTo>
                      <a:pt x="1188" y="1236"/>
                    </a:lnTo>
                    <a:lnTo>
                      <a:pt x="1188" y="1235"/>
                    </a:lnTo>
                    <a:lnTo>
                      <a:pt x="1188" y="1233"/>
                    </a:lnTo>
                    <a:lnTo>
                      <a:pt x="1190" y="1233"/>
                    </a:lnTo>
                    <a:lnTo>
                      <a:pt x="1191" y="1233"/>
                    </a:lnTo>
                    <a:lnTo>
                      <a:pt x="1193" y="1235"/>
                    </a:lnTo>
                    <a:lnTo>
                      <a:pt x="1195" y="1235"/>
                    </a:lnTo>
                    <a:lnTo>
                      <a:pt x="1193" y="1233"/>
                    </a:lnTo>
                    <a:lnTo>
                      <a:pt x="1195" y="1233"/>
                    </a:lnTo>
                    <a:lnTo>
                      <a:pt x="1193" y="1233"/>
                    </a:lnTo>
                    <a:lnTo>
                      <a:pt x="1191" y="1233"/>
                    </a:lnTo>
                    <a:lnTo>
                      <a:pt x="1190" y="1233"/>
                    </a:lnTo>
                    <a:lnTo>
                      <a:pt x="1188" y="1233"/>
                    </a:lnTo>
                    <a:lnTo>
                      <a:pt x="1190" y="1233"/>
                    </a:lnTo>
                    <a:lnTo>
                      <a:pt x="1188" y="1233"/>
                    </a:lnTo>
                    <a:lnTo>
                      <a:pt x="1188" y="1231"/>
                    </a:lnTo>
                    <a:lnTo>
                      <a:pt x="1190" y="1231"/>
                    </a:lnTo>
                    <a:lnTo>
                      <a:pt x="1191" y="1231"/>
                    </a:lnTo>
                    <a:lnTo>
                      <a:pt x="1193" y="1231"/>
                    </a:lnTo>
                    <a:lnTo>
                      <a:pt x="1195" y="1231"/>
                    </a:lnTo>
                    <a:lnTo>
                      <a:pt x="1196" y="1231"/>
                    </a:lnTo>
                    <a:lnTo>
                      <a:pt x="1198" y="1231"/>
                    </a:lnTo>
                    <a:lnTo>
                      <a:pt x="1198" y="1230"/>
                    </a:lnTo>
                    <a:lnTo>
                      <a:pt x="1198" y="1231"/>
                    </a:lnTo>
                    <a:lnTo>
                      <a:pt x="1196" y="1231"/>
                    </a:lnTo>
                    <a:lnTo>
                      <a:pt x="1195" y="1231"/>
                    </a:lnTo>
                    <a:lnTo>
                      <a:pt x="1193" y="1231"/>
                    </a:lnTo>
                    <a:lnTo>
                      <a:pt x="1193" y="1230"/>
                    </a:lnTo>
                    <a:lnTo>
                      <a:pt x="1195" y="1230"/>
                    </a:lnTo>
                    <a:lnTo>
                      <a:pt x="1195" y="1228"/>
                    </a:lnTo>
                    <a:lnTo>
                      <a:pt x="1196" y="1228"/>
                    </a:lnTo>
                    <a:lnTo>
                      <a:pt x="1198" y="1226"/>
                    </a:lnTo>
                    <a:lnTo>
                      <a:pt x="1200" y="1226"/>
                    </a:lnTo>
                    <a:lnTo>
                      <a:pt x="1198" y="1226"/>
                    </a:lnTo>
                    <a:lnTo>
                      <a:pt x="1196" y="1226"/>
                    </a:lnTo>
                    <a:lnTo>
                      <a:pt x="1195" y="1226"/>
                    </a:lnTo>
                    <a:lnTo>
                      <a:pt x="1195" y="1228"/>
                    </a:lnTo>
                    <a:lnTo>
                      <a:pt x="1193" y="1230"/>
                    </a:lnTo>
                    <a:lnTo>
                      <a:pt x="1191" y="1230"/>
                    </a:lnTo>
                    <a:lnTo>
                      <a:pt x="1190" y="1230"/>
                    </a:lnTo>
                    <a:lnTo>
                      <a:pt x="1188" y="1230"/>
                    </a:lnTo>
                    <a:lnTo>
                      <a:pt x="1188" y="1231"/>
                    </a:lnTo>
                    <a:lnTo>
                      <a:pt x="1186" y="1231"/>
                    </a:lnTo>
                    <a:lnTo>
                      <a:pt x="1186" y="1230"/>
                    </a:lnTo>
                    <a:lnTo>
                      <a:pt x="1186" y="1228"/>
                    </a:lnTo>
                    <a:lnTo>
                      <a:pt x="1186" y="1226"/>
                    </a:lnTo>
                    <a:lnTo>
                      <a:pt x="1188" y="1226"/>
                    </a:lnTo>
                    <a:lnTo>
                      <a:pt x="1190" y="1226"/>
                    </a:lnTo>
                    <a:lnTo>
                      <a:pt x="1191" y="1226"/>
                    </a:lnTo>
                    <a:lnTo>
                      <a:pt x="1193" y="1225"/>
                    </a:lnTo>
                    <a:lnTo>
                      <a:pt x="1195" y="1225"/>
                    </a:lnTo>
                    <a:lnTo>
                      <a:pt x="1195" y="1223"/>
                    </a:lnTo>
                    <a:lnTo>
                      <a:pt x="1193" y="1223"/>
                    </a:lnTo>
                    <a:lnTo>
                      <a:pt x="1193" y="1225"/>
                    </a:lnTo>
                    <a:lnTo>
                      <a:pt x="1191" y="1225"/>
                    </a:lnTo>
                    <a:lnTo>
                      <a:pt x="1191" y="1226"/>
                    </a:lnTo>
                    <a:lnTo>
                      <a:pt x="1190" y="1225"/>
                    </a:lnTo>
                    <a:lnTo>
                      <a:pt x="1190" y="1226"/>
                    </a:lnTo>
                    <a:lnTo>
                      <a:pt x="1188" y="1226"/>
                    </a:lnTo>
                    <a:lnTo>
                      <a:pt x="1186" y="1226"/>
                    </a:lnTo>
                    <a:lnTo>
                      <a:pt x="1185" y="1226"/>
                    </a:lnTo>
                    <a:lnTo>
                      <a:pt x="1183" y="1226"/>
                    </a:lnTo>
                    <a:lnTo>
                      <a:pt x="1185" y="1226"/>
                    </a:lnTo>
                    <a:lnTo>
                      <a:pt x="1185" y="1228"/>
                    </a:lnTo>
                    <a:lnTo>
                      <a:pt x="1186" y="1226"/>
                    </a:lnTo>
                    <a:lnTo>
                      <a:pt x="1186" y="1228"/>
                    </a:lnTo>
                    <a:lnTo>
                      <a:pt x="1185" y="1228"/>
                    </a:lnTo>
                    <a:lnTo>
                      <a:pt x="1183" y="1226"/>
                    </a:lnTo>
                    <a:lnTo>
                      <a:pt x="1181" y="1225"/>
                    </a:lnTo>
                    <a:lnTo>
                      <a:pt x="1183" y="1225"/>
                    </a:lnTo>
                    <a:lnTo>
                      <a:pt x="1183" y="1223"/>
                    </a:lnTo>
                    <a:lnTo>
                      <a:pt x="1183" y="1225"/>
                    </a:lnTo>
                    <a:lnTo>
                      <a:pt x="1185" y="1223"/>
                    </a:lnTo>
                    <a:lnTo>
                      <a:pt x="1185" y="1225"/>
                    </a:lnTo>
                    <a:lnTo>
                      <a:pt x="1186" y="1225"/>
                    </a:lnTo>
                    <a:lnTo>
                      <a:pt x="1186" y="1223"/>
                    </a:lnTo>
                    <a:lnTo>
                      <a:pt x="1188" y="1223"/>
                    </a:lnTo>
                    <a:lnTo>
                      <a:pt x="1188" y="1221"/>
                    </a:lnTo>
                    <a:lnTo>
                      <a:pt x="1188" y="1223"/>
                    </a:lnTo>
                    <a:lnTo>
                      <a:pt x="1186" y="1223"/>
                    </a:lnTo>
                    <a:lnTo>
                      <a:pt x="1185" y="1223"/>
                    </a:lnTo>
                    <a:lnTo>
                      <a:pt x="1183" y="1223"/>
                    </a:lnTo>
                    <a:lnTo>
                      <a:pt x="1183" y="1221"/>
                    </a:lnTo>
                    <a:lnTo>
                      <a:pt x="1181" y="1223"/>
                    </a:lnTo>
                    <a:lnTo>
                      <a:pt x="1181" y="1225"/>
                    </a:lnTo>
                    <a:lnTo>
                      <a:pt x="1179" y="1223"/>
                    </a:lnTo>
                    <a:lnTo>
                      <a:pt x="1181" y="1223"/>
                    </a:lnTo>
                    <a:lnTo>
                      <a:pt x="1179" y="1223"/>
                    </a:lnTo>
                    <a:lnTo>
                      <a:pt x="1179" y="1221"/>
                    </a:lnTo>
                    <a:lnTo>
                      <a:pt x="1181" y="1221"/>
                    </a:lnTo>
                    <a:lnTo>
                      <a:pt x="1181" y="1219"/>
                    </a:lnTo>
                    <a:lnTo>
                      <a:pt x="1181" y="1218"/>
                    </a:lnTo>
                    <a:lnTo>
                      <a:pt x="1183" y="1218"/>
                    </a:lnTo>
                    <a:lnTo>
                      <a:pt x="1183" y="1216"/>
                    </a:lnTo>
                    <a:lnTo>
                      <a:pt x="1185" y="1216"/>
                    </a:lnTo>
                    <a:lnTo>
                      <a:pt x="1185" y="1214"/>
                    </a:lnTo>
                    <a:lnTo>
                      <a:pt x="1186" y="1214"/>
                    </a:lnTo>
                    <a:lnTo>
                      <a:pt x="1186" y="1213"/>
                    </a:lnTo>
                    <a:lnTo>
                      <a:pt x="1186" y="1211"/>
                    </a:lnTo>
                    <a:lnTo>
                      <a:pt x="1188" y="1211"/>
                    </a:lnTo>
                    <a:lnTo>
                      <a:pt x="1188" y="1213"/>
                    </a:lnTo>
                    <a:lnTo>
                      <a:pt x="1190" y="1213"/>
                    </a:lnTo>
                    <a:lnTo>
                      <a:pt x="1188" y="1213"/>
                    </a:lnTo>
                    <a:lnTo>
                      <a:pt x="1188" y="1211"/>
                    </a:lnTo>
                    <a:lnTo>
                      <a:pt x="1190" y="1211"/>
                    </a:lnTo>
                    <a:lnTo>
                      <a:pt x="1190" y="1213"/>
                    </a:lnTo>
                    <a:lnTo>
                      <a:pt x="1190" y="1214"/>
                    </a:lnTo>
                    <a:lnTo>
                      <a:pt x="1190" y="1216"/>
                    </a:lnTo>
                    <a:lnTo>
                      <a:pt x="1190" y="1218"/>
                    </a:lnTo>
                    <a:lnTo>
                      <a:pt x="1190" y="1219"/>
                    </a:lnTo>
                    <a:lnTo>
                      <a:pt x="1191" y="1219"/>
                    </a:lnTo>
                    <a:lnTo>
                      <a:pt x="1190" y="1218"/>
                    </a:lnTo>
                    <a:lnTo>
                      <a:pt x="1190" y="1216"/>
                    </a:lnTo>
                    <a:lnTo>
                      <a:pt x="1191" y="1214"/>
                    </a:lnTo>
                    <a:lnTo>
                      <a:pt x="1190" y="1213"/>
                    </a:lnTo>
                    <a:lnTo>
                      <a:pt x="1191" y="1211"/>
                    </a:lnTo>
                    <a:lnTo>
                      <a:pt x="1190" y="1213"/>
                    </a:lnTo>
                    <a:lnTo>
                      <a:pt x="1190" y="1211"/>
                    </a:lnTo>
                    <a:lnTo>
                      <a:pt x="1191" y="1211"/>
                    </a:lnTo>
                    <a:lnTo>
                      <a:pt x="1193" y="1211"/>
                    </a:lnTo>
                    <a:lnTo>
                      <a:pt x="1193" y="1213"/>
                    </a:lnTo>
                    <a:lnTo>
                      <a:pt x="1193" y="1214"/>
                    </a:lnTo>
                    <a:lnTo>
                      <a:pt x="1195" y="1214"/>
                    </a:lnTo>
                    <a:lnTo>
                      <a:pt x="1193" y="1214"/>
                    </a:lnTo>
                    <a:lnTo>
                      <a:pt x="1193" y="1213"/>
                    </a:lnTo>
                    <a:lnTo>
                      <a:pt x="1193" y="1211"/>
                    </a:lnTo>
                    <a:lnTo>
                      <a:pt x="1195" y="1211"/>
                    </a:lnTo>
                    <a:lnTo>
                      <a:pt x="1195" y="1209"/>
                    </a:lnTo>
                    <a:lnTo>
                      <a:pt x="1196" y="1209"/>
                    </a:lnTo>
                    <a:lnTo>
                      <a:pt x="1195" y="1211"/>
                    </a:lnTo>
                    <a:lnTo>
                      <a:pt x="1196" y="1211"/>
                    </a:lnTo>
                    <a:lnTo>
                      <a:pt x="1195" y="1213"/>
                    </a:lnTo>
                    <a:lnTo>
                      <a:pt x="1196" y="1213"/>
                    </a:lnTo>
                    <a:lnTo>
                      <a:pt x="1196" y="1211"/>
                    </a:lnTo>
                    <a:lnTo>
                      <a:pt x="1196" y="1209"/>
                    </a:lnTo>
                    <a:lnTo>
                      <a:pt x="1196" y="1208"/>
                    </a:lnTo>
                    <a:lnTo>
                      <a:pt x="1196" y="1206"/>
                    </a:lnTo>
                    <a:lnTo>
                      <a:pt x="1196" y="1208"/>
                    </a:lnTo>
                    <a:lnTo>
                      <a:pt x="1195" y="1208"/>
                    </a:lnTo>
                    <a:lnTo>
                      <a:pt x="1195" y="1209"/>
                    </a:lnTo>
                    <a:lnTo>
                      <a:pt x="1193" y="1209"/>
                    </a:lnTo>
                    <a:lnTo>
                      <a:pt x="1191" y="1209"/>
                    </a:lnTo>
                    <a:lnTo>
                      <a:pt x="1191" y="1208"/>
                    </a:lnTo>
                    <a:lnTo>
                      <a:pt x="1190" y="1208"/>
                    </a:lnTo>
                    <a:lnTo>
                      <a:pt x="1190" y="1206"/>
                    </a:lnTo>
                    <a:lnTo>
                      <a:pt x="1190" y="1204"/>
                    </a:lnTo>
                    <a:lnTo>
                      <a:pt x="1191" y="1202"/>
                    </a:lnTo>
                    <a:lnTo>
                      <a:pt x="1191" y="1201"/>
                    </a:lnTo>
                    <a:lnTo>
                      <a:pt x="1193" y="1201"/>
                    </a:lnTo>
                    <a:lnTo>
                      <a:pt x="1193" y="1202"/>
                    </a:lnTo>
                    <a:lnTo>
                      <a:pt x="1195" y="1202"/>
                    </a:lnTo>
                    <a:lnTo>
                      <a:pt x="1195" y="1204"/>
                    </a:lnTo>
                    <a:lnTo>
                      <a:pt x="1195" y="1202"/>
                    </a:lnTo>
                    <a:lnTo>
                      <a:pt x="1195" y="1201"/>
                    </a:lnTo>
                    <a:lnTo>
                      <a:pt x="1196" y="1199"/>
                    </a:lnTo>
                    <a:lnTo>
                      <a:pt x="1195" y="1199"/>
                    </a:lnTo>
                    <a:lnTo>
                      <a:pt x="1195" y="1201"/>
                    </a:lnTo>
                    <a:lnTo>
                      <a:pt x="1193" y="1199"/>
                    </a:lnTo>
                    <a:lnTo>
                      <a:pt x="1191" y="1197"/>
                    </a:lnTo>
                    <a:lnTo>
                      <a:pt x="1191" y="1196"/>
                    </a:lnTo>
                    <a:lnTo>
                      <a:pt x="1190" y="1196"/>
                    </a:lnTo>
                    <a:lnTo>
                      <a:pt x="1191" y="1194"/>
                    </a:lnTo>
                    <a:lnTo>
                      <a:pt x="1190" y="1194"/>
                    </a:lnTo>
                    <a:lnTo>
                      <a:pt x="1188" y="1192"/>
                    </a:lnTo>
                    <a:lnTo>
                      <a:pt x="1186" y="1191"/>
                    </a:lnTo>
                    <a:lnTo>
                      <a:pt x="1185" y="1191"/>
                    </a:lnTo>
                    <a:lnTo>
                      <a:pt x="1186" y="1191"/>
                    </a:lnTo>
                    <a:lnTo>
                      <a:pt x="1188" y="1192"/>
                    </a:lnTo>
                    <a:lnTo>
                      <a:pt x="1190" y="1191"/>
                    </a:lnTo>
                    <a:lnTo>
                      <a:pt x="1188" y="1191"/>
                    </a:lnTo>
                    <a:lnTo>
                      <a:pt x="1188" y="1189"/>
                    </a:lnTo>
                    <a:lnTo>
                      <a:pt x="1186" y="1191"/>
                    </a:lnTo>
                    <a:lnTo>
                      <a:pt x="1186" y="1189"/>
                    </a:lnTo>
                    <a:lnTo>
                      <a:pt x="1186" y="1191"/>
                    </a:lnTo>
                    <a:lnTo>
                      <a:pt x="1185" y="1189"/>
                    </a:lnTo>
                    <a:lnTo>
                      <a:pt x="1183" y="1189"/>
                    </a:lnTo>
                    <a:lnTo>
                      <a:pt x="1181" y="1189"/>
                    </a:lnTo>
                    <a:lnTo>
                      <a:pt x="1179" y="1189"/>
                    </a:lnTo>
                    <a:lnTo>
                      <a:pt x="1181" y="1187"/>
                    </a:lnTo>
                    <a:lnTo>
                      <a:pt x="1179" y="1187"/>
                    </a:lnTo>
                    <a:lnTo>
                      <a:pt x="1178" y="1187"/>
                    </a:lnTo>
                    <a:lnTo>
                      <a:pt x="1178" y="1189"/>
                    </a:lnTo>
                    <a:lnTo>
                      <a:pt x="1179" y="1189"/>
                    </a:lnTo>
                    <a:lnTo>
                      <a:pt x="1181" y="1189"/>
                    </a:lnTo>
                    <a:lnTo>
                      <a:pt x="1181" y="1191"/>
                    </a:lnTo>
                    <a:lnTo>
                      <a:pt x="1179" y="1191"/>
                    </a:lnTo>
                    <a:lnTo>
                      <a:pt x="1178" y="1191"/>
                    </a:lnTo>
                    <a:lnTo>
                      <a:pt x="1176" y="1191"/>
                    </a:lnTo>
                    <a:lnTo>
                      <a:pt x="1176" y="1192"/>
                    </a:lnTo>
                    <a:lnTo>
                      <a:pt x="1176" y="1194"/>
                    </a:lnTo>
                    <a:lnTo>
                      <a:pt x="1174" y="1194"/>
                    </a:lnTo>
                    <a:lnTo>
                      <a:pt x="1174" y="1192"/>
                    </a:lnTo>
                    <a:lnTo>
                      <a:pt x="1173" y="1192"/>
                    </a:lnTo>
                    <a:lnTo>
                      <a:pt x="1174" y="1192"/>
                    </a:lnTo>
                    <a:lnTo>
                      <a:pt x="1174" y="1194"/>
                    </a:lnTo>
                    <a:lnTo>
                      <a:pt x="1176" y="1194"/>
                    </a:lnTo>
                    <a:lnTo>
                      <a:pt x="1178" y="1194"/>
                    </a:lnTo>
                    <a:lnTo>
                      <a:pt x="1179" y="1192"/>
                    </a:lnTo>
                    <a:lnTo>
                      <a:pt x="1181" y="1194"/>
                    </a:lnTo>
                    <a:lnTo>
                      <a:pt x="1183" y="1194"/>
                    </a:lnTo>
                    <a:lnTo>
                      <a:pt x="1183" y="1196"/>
                    </a:lnTo>
                    <a:lnTo>
                      <a:pt x="1183" y="1197"/>
                    </a:lnTo>
                    <a:lnTo>
                      <a:pt x="1183" y="1196"/>
                    </a:lnTo>
                    <a:lnTo>
                      <a:pt x="1181" y="1196"/>
                    </a:lnTo>
                    <a:lnTo>
                      <a:pt x="1179" y="1196"/>
                    </a:lnTo>
                    <a:lnTo>
                      <a:pt x="1178" y="1196"/>
                    </a:lnTo>
                    <a:lnTo>
                      <a:pt x="1176" y="1194"/>
                    </a:lnTo>
                    <a:lnTo>
                      <a:pt x="1176" y="1196"/>
                    </a:lnTo>
                    <a:lnTo>
                      <a:pt x="1174" y="1196"/>
                    </a:lnTo>
                    <a:lnTo>
                      <a:pt x="1174" y="1194"/>
                    </a:lnTo>
                    <a:lnTo>
                      <a:pt x="1173" y="1192"/>
                    </a:lnTo>
                    <a:lnTo>
                      <a:pt x="1171" y="1192"/>
                    </a:lnTo>
                    <a:lnTo>
                      <a:pt x="1171" y="1191"/>
                    </a:lnTo>
                    <a:lnTo>
                      <a:pt x="1169" y="1191"/>
                    </a:lnTo>
                    <a:lnTo>
                      <a:pt x="1171" y="1191"/>
                    </a:lnTo>
                    <a:lnTo>
                      <a:pt x="1171" y="1189"/>
                    </a:lnTo>
                    <a:lnTo>
                      <a:pt x="1171" y="1191"/>
                    </a:lnTo>
                    <a:lnTo>
                      <a:pt x="1169" y="1191"/>
                    </a:lnTo>
                    <a:lnTo>
                      <a:pt x="1169" y="1192"/>
                    </a:lnTo>
                    <a:lnTo>
                      <a:pt x="1168" y="1191"/>
                    </a:lnTo>
                    <a:lnTo>
                      <a:pt x="1166" y="1191"/>
                    </a:lnTo>
                    <a:lnTo>
                      <a:pt x="1166" y="1189"/>
                    </a:lnTo>
                    <a:lnTo>
                      <a:pt x="1164" y="1189"/>
                    </a:lnTo>
                    <a:lnTo>
                      <a:pt x="1164" y="1187"/>
                    </a:lnTo>
                    <a:lnTo>
                      <a:pt x="1162" y="1187"/>
                    </a:lnTo>
                    <a:lnTo>
                      <a:pt x="1162" y="1185"/>
                    </a:lnTo>
                    <a:lnTo>
                      <a:pt x="1161" y="1185"/>
                    </a:lnTo>
                    <a:lnTo>
                      <a:pt x="1161" y="1184"/>
                    </a:lnTo>
                    <a:lnTo>
                      <a:pt x="1161" y="1182"/>
                    </a:lnTo>
                    <a:lnTo>
                      <a:pt x="1162" y="1182"/>
                    </a:lnTo>
                    <a:lnTo>
                      <a:pt x="1162" y="1180"/>
                    </a:lnTo>
                    <a:lnTo>
                      <a:pt x="1164" y="1179"/>
                    </a:lnTo>
                    <a:lnTo>
                      <a:pt x="1166" y="1177"/>
                    </a:lnTo>
                    <a:lnTo>
                      <a:pt x="1166" y="1175"/>
                    </a:lnTo>
                    <a:lnTo>
                      <a:pt x="1166" y="1174"/>
                    </a:lnTo>
                    <a:lnTo>
                      <a:pt x="1164" y="1174"/>
                    </a:lnTo>
                    <a:lnTo>
                      <a:pt x="1164" y="1175"/>
                    </a:lnTo>
                    <a:lnTo>
                      <a:pt x="1164" y="1177"/>
                    </a:lnTo>
                    <a:lnTo>
                      <a:pt x="1162" y="1177"/>
                    </a:lnTo>
                    <a:lnTo>
                      <a:pt x="1162" y="1179"/>
                    </a:lnTo>
                    <a:lnTo>
                      <a:pt x="1162" y="1177"/>
                    </a:lnTo>
                    <a:lnTo>
                      <a:pt x="1162" y="1179"/>
                    </a:lnTo>
                    <a:lnTo>
                      <a:pt x="1162" y="1177"/>
                    </a:lnTo>
                    <a:lnTo>
                      <a:pt x="1162" y="1179"/>
                    </a:lnTo>
                    <a:lnTo>
                      <a:pt x="1162" y="1180"/>
                    </a:lnTo>
                    <a:lnTo>
                      <a:pt x="1161" y="1180"/>
                    </a:lnTo>
                    <a:lnTo>
                      <a:pt x="1161" y="1182"/>
                    </a:lnTo>
                    <a:lnTo>
                      <a:pt x="1159" y="1182"/>
                    </a:lnTo>
                    <a:lnTo>
                      <a:pt x="1157" y="1184"/>
                    </a:lnTo>
                    <a:lnTo>
                      <a:pt x="1157" y="1182"/>
                    </a:lnTo>
                    <a:lnTo>
                      <a:pt x="1156" y="1180"/>
                    </a:lnTo>
                    <a:lnTo>
                      <a:pt x="1157" y="1182"/>
                    </a:lnTo>
                    <a:lnTo>
                      <a:pt x="1156" y="1182"/>
                    </a:lnTo>
                    <a:lnTo>
                      <a:pt x="1157" y="1182"/>
                    </a:lnTo>
                    <a:lnTo>
                      <a:pt x="1156" y="1184"/>
                    </a:lnTo>
                    <a:lnTo>
                      <a:pt x="1154" y="1184"/>
                    </a:lnTo>
                    <a:lnTo>
                      <a:pt x="1152" y="1184"/>
                    </a:lnTo>
                    <a:lnTo>
                      <a:pt x="1152" y="1185"/>
                    </a:lnTo>
                    <a:lnTo>
                      <a:pt x="1152" y="1184"/>
                    </a:lnTo>
                    <a:lnTo>
                      <a:pt x="1151" y="1185"/>
                    </a:lnTo>
                    <a:lnTo>
                      <a:pt x="1152" y="1185"/>
                    </a:lnTo>
                    <a:lnTo>
                      <a:pt x="1151" y="1185"/>
                    </a:lnTo>
                    <a:lnTo>
                      <a:pt x="1151" y="1184"/>
                    </a:lnTo>
                    <a:lnTo>
                      <a:pt x="1149" y="1184"/>
                    </a:lnTo>
                    <a:lnTo>
                      <a:pt x="1149" y="1185"/>
                    </a:lnTo>
                    <a:lnTo>
                      <a:pt x="1147" y="1185"/>
                    </a:lnTo>
                    <a:lnTo>
                      <a:pt x="1145" y="1187"/>
                    </a:lnTo>
                    <a:lnTo>
                      <a:pt x="1144" y="1187"/>
                    </a:lnTo>
                    <a:lnTo>
                      <a:pt x="1145" y="1187"/>
                    </a:lnTo>
                    <a:lnTo>
                      <a:pt x="1145" y="1189"/>
                    </a:lnTo>
                    <a:lnTo>
                      <a:pt x="1144" y="1189"/>
                    </a:lnTo>
                    <a:lnTo>
                      <a:pt x="1144" y="1191"/>
                    </a:lnTo>
                    <a:lnTo>
                      <a:pt x="1144" y="1192"/>
                    </a:lnTo>
                    <a:lnTo>
                      <a:pt x="1144" y="1191"/>
                    </a:lnTo>
                    <a:lnTo>
                      <a:pt x="1145" y="1191"/>
                    </a:lnTo>
                    <a:lnTo>
                      <a:pt x="1145" y="1189"/>
                    </a:lnTo>
                    <a:lnTo>
                      <a:pt x="1147" y="1187"/>
                    </a:lnTo>
                    <a:lnTo>
                      <a:pt x="1147" y="1189"/>
                    </a:lnTo>
                    <a:lnTo>
                      <a:pt x="1149" y="1187"/>
                    </a:lnTo>
                    <a:lnTo>
                      <a:pt x="1151" y="1187"/>
                    </a:lnTo>
                    <a:lnTo>
                      <a:pt x="1152" y="1189"/>
                    </a:lnTo>
                    <a:lnTo>
                      <a:pt x="1151" y="1189"/>
                    </a:lnTo>
                    <a:lnTo>
                      <a:pt x="1149" y="1189"/>
                    </a:lnTo>
                    <a:lnTo>
                      <a:pt x="1151" y="1189"/>
                    </a:lnTo>
                    <a:lnTo>
                      <a:pt x="1149" y="1191"/>
                    </a:lnTo>
                    <a:lnTo>
                      <a:pt x="1149" y="1192"/>
                    </a:lnTo>
                    <a:lnTo>
                      <a:pt x="1151" y="1191"/>
                    </a:lnTo>
                    <a:lnTo>
                      <a:pt x="1151" y="1192"/>
                    </a:lnTo>
                    <a:lnTo>
                      <a:pt x="1151" y="1191"/>
                    </a:lnTo>
                    <a:lnTo>
                      <a:pt x="1152" y="1191"/>
                    </a:lnTo>
                    <a:lnTo>
                      <a:pt x="1152" y="1192"/>
                    </a:lnTo>
                    <a:lnTo>
                      <a:pt x="1152" y="1194"/>
                    </a:lnTo>
                    <a:lnTo>
                      <a:pt x="1151" y="1194"/>
                    </a:lnTo>
                    <a:lnTo>
                      <a:pt x="1151" y="1196"/>
                    </a:lnTo>
                    <a:lnTo>
                      <a:pt x="1149" y="1196"/>
                    </a:lnTo>
                    <a:lnTo>
                      <a:pt x="1151" y="1196"/>
                    </a:lnTo>
                    <a:lnTo>
                      <a:pt x="1151" y="1194"/>
                    </a:lnTo>
                    <a:lnTo>
                      <a:pt x="1152" y="1194"/>
                    </a:lnTo>
                    <a:lnTo>
                      <a:pt x="1154" y="1196"/>
                    </a:lnTo>
                    <a:lnTo>
                      <a:pt x="1152" y="1194"/>
                    </a:lnTo>
                    <a:lnTo>
                      <a:pt x="1154" y="1194"/>
                    </a:lnTo>
                    <a:lnTo>
                      <a:pt x="1152" y="1194"/>
                    </a:lnTo>
                    <a:lnTo>
                      <a:pt x="1152" y="1192"/>
                    </a:lnTo>
                    <a:lnTo>
                      <a:pt x="1154" y="1194"/>
                    </a:lnTo>
                    <a:lnTo>
                      <a:pt x="1154" y="1196"/>
                    </a:lnTo>
                    <a:lnTo>
                      <a:pt x="1154" y="1197"/>
                    </a:lnTo>
                    <a:lnTo>
                      <a:pt x="1152" y="1197"/>
                    </a:lnTo>
                    <a:lnTo>
                      <a:pt x="1152" y="1199"/>
                    </a:lnTo>
                    <a:lnTo>
                      <a:pt x="1151" y="1199"/>
                    </a:lnTo>
                    <a:lnTo>
                      <a:pt x="1149" y="1199"/>
                    </a:lnTo>
                    <a:lnTo>
                      <a:pt x="1147" y="1201"/>
                    </a:lnTo>
                    <a:lnTo>
                      <a:pt x="1147" y="1199"/>
                    </a:lnTo>
                    <a:lnTo>
                      <a:pt x="1145" y="1199"/>
                    </a:lnTo>
                    <a:lnTo>
                      <a:pt x="1145" y="1197"/>
                    </a:lnTo>
                    <a:lnTo>
                      <a:pt x="1144" y="1197"/>
                    </a:lnTo>
                    <a:lnTo>
                      <a:pt x="1144" y="1196"/>
                    </a:lnTo>
                    <a:lnTo>
                      <a:pt x="1142" y="1194"/>
                    </a:lnTo>
                    <a:lnTo>
                      <a:pt x="1142" y="1192"/>
                    </a:lnTo>
                    <a:lnTo>
                      <a:pt x="1140" y="1192"/>
                    </a:lnTo>
                    <a:lnTo>
                      <a:pt x="1140" y="1191"/>
                    </a:lnTo>
                    <a:lnTo>
                      <a:pt x="1142" y="1191"/>
                    </a:lnTo>
                    <a:lnTo>
                      <a:pt x="1140" y="1189"/>
                    </a:lnTo>
                    <a:lnTo>
                      <a:pt x="1140" y="1187"/>
                    </a:lnTo>
                    <a:lnTo>
                      <a:pt x="1140" y="1185"/>
                    </a:lnTo>
                    <a:lnTo>
                      <a:pt x="1142" y="1185"/>
                    </a:lnTo>
                    <a:lnTo>
                      <a:pt x="1142" y="1184"/>
                    </a:lnTo>
                    <a:lnTo>
                      <a:pt x="1142" y="1182"/>
                    </a:lnTo>
                    <a:lnTo>
                      <a:pt x="1144" y="1182"/>
                    </a:lnTo>
                    <a:lnTo>
                      <a:pt x="1144" y="1180"/>
                    </a:lnTo>
                    <a:lnTo>
                      <a:pt x="1144" y="1182"/>
                    </a:lnTo>
                    <a:lnTo>
                      <a:pt x="1144" y="1180"/>
                    </a:lnTo>
                    <a:lnTo>
                      <a:pt x="1145" y="1182"/>
                    </a:lnTo>
                    <a:lnTo>
                      <a:pt x="1147" y="1182"/>
                    </a:lnTo>
                    <a:lnTo>
                      <a:pt x="1147" y="1184"/>
                    </a:lnTo>
                    <a:lnTo>
                      <a:pt x="1147" y="1182"/>
                    </a:lnTo>
                    <a:lnTo>
                      <a:pt x="1145" y="1182"/>
                    </a:lnTo>
                    <a:lnTo>
                      <a:pt x="1145" y="1180"/>
                    </a:lnTo>
                    <a:lnTo>
                      <a:pt x="1147" y="1180"/>
                    </a:lnTo>
                    <a:lnTo>
                      <a:pt x="1149" y="1182"/>
                    </a:lnTo>
                    <a:lnTo>
                      <a:pt x="1149" y="1180"/>
                    </a:lnTo>
                    <a:lnTo>
                      <a:pt x="1147" y="1180"/>
                    </a:lnTo>
                    <a:lnTo>
                      <a:pt x="1147" y="1179"/>
                    </a:lnTo>
                    <a:lnTo>
                      <a:pt x="1145" y="1179"/>
                    </a:lnTo>
                    <a:lnTo>
                      <a:pt x="1147" y="1179"/>
                    </a:lnTo>
                    <a:lnTo>
                      <a:pt x="1147" y="1177"/>
                    </a:lnTo>
                    <a:lnTo>
                      <a:pt x="1147" y="1179"/>
                    </a:lnTo>
                    <a:lnTo>
                      <a:pt x="1149" y="1179"/>
                    </a:lnTo>
                    <a:lnTo>
                      <a:pt x="1149" y="1177"/>
                    </a:lnTo>
                    <a:lnTo>
                      <a:pt x="1149" y="1179"/>
                    </a:lnTo>
                    <a:lnTo>
                      <a:pt x="1149" y="1177"/>
                    </a:lnTo>
                    <a:lnTo>
                      <a:pt x="1151" y="1177"/>
                    </a:lnTo>
                    <a:lnTo>
                      <a:pt x="1152" y="1177"/>
                    </a:lnTo>
                    <a:lnTo>
                      <a:pt x="1151" y="1175"/>
                    </a:lnTo>
                    <a:lnTo>
                      <a:pt x="1151" y="1174"/>
                    </a:lnTo>
                    <a:lnTo>
                      <a:pt x="1151" y="1175"/>
                    </a:lnTo>
                    <a:lnTo>
                      <a:pt x="1152" y="1175"/>
                    </a:lnTo>
                    <a:lnTo>
                      <a:pt x="1151" y="1174"/>
                    </a:lnTo>
                    <a:lnTo>
                      <a:pt x="1152" y="1174"/>
                    </a:lnTo>
                    <a:lnTo>
                      <a:pt x="1152" y="1172"/>
                    </a:lnTo>
                    <a:lnTo>
                      <a:pt x="1154" y="1172"/>
                    </a:lnTo>
                    <a:lnTo>
                      <a:pt x="1156" y="1170"/>
                    </a:lnTo>
                    <a:lnTo>
                      <a:pt x="1157" y="1172"/>
                    </a:lnTo>
                    <a:lnTo>
                      <a:pt x="1156" y="1170"/>
                    </a:lnTo>
                    <a:lnTo>
                      <a:pt x="1157" y="1170"/>
                    </a:lnTo>
                    <a:lnTo>
                      <a:pt x="1157" y="1168"/>
                    </a:lnTo>
                    <a:lnTo>
                      <a:pt x="1157" y="1167"/>
                    </a:lnTo>
                    <a:lnTo>
                      <a:pt x="1157" y="1168"/>
                    </a:lnTo>
                    <a:lnTo>
                      <a:pt x="1159" y="1168"/>
                    </a:lnTo>
                    <a:lnTo>
                      <a:pt x="1159" y="1170"/>
                    </a:lnTo>
                    <a:lnTo>
                      <a:pt x="1161" y="1170"/>
                    </a:lnTo>
                    <a:lnTo>
                      <a:pt x="1162" y="1170"/>
                    </a:lnTo>
                    <a:lnTo>
                      <a:pt x="1164" y="1170"/>
                    </a:lnTo>
                    <a:lnTo>
                      <a:pt x="1166" y="1170"/>
                    </a:lnTo>
                    <a:lnTo>
                      <a:pt x="1168" y="1170"/>
                    </a:lnTo>
                    <a:lnTo>
                      <a:pt x="1166" y="1170"/>
                    </a:lnTo>
                    <a:lnTo>
                      <a:pt x="1164" y="1170"/>
                    </a:lnTo>
                    <a:lnTo>
                      <a:pt x="1162" y="1170"/>
                    </a:lnTo>
                    <a:lnTo>
                      <a:pt x="1161" y="1170"/>
                    </a:lnTo>
                    <a:lnTo>
                      <a:pt x="1161" y="1168"/>
                    </a:lnTo>
                    <a:lnTo>
                      <a:pt x="1159" y="1168"/>
                    </a:lnTo>
                    <a:lnTo>
                      <a:pt x="1159" y="1167"/>
                    </a:lnTo>
                    <a:lnTo>
                      <a:pt x="1161" y="1167"/>
                    </a:lnTo>
                    <a:lnTo>
                      <a:pt x="1162" y="1167"/>
                    </a:lnTo>
                    <a:lnTo>
                      <a:pt x="1161" y="1167"/>
                    </a:lnTo>
                    <a:lnTo>
                      <a:pt x="1161" y="1165"/>
                    </a:lnTo>
                    <a:lnTo>
                      <a:pt x="1161" y="1163"/>
                    </a:lnTo>
                    <a:lnTo>
                      <a:pt x="1162" y="1163"/>
                    </a:lnTo>
                    <a:lnTo>
                      <a:pt x="1164" y="1163"/>
                    </a:lnTo>
                    <a:lnTo>
                      <a:pt x="1164" y="1165"/>
                    </a:lnTo>
                    <a:lnTo>
                      <a:pt x="1166" y="1165"/>
                    </a:lnTo>
                    <a:lnTo>
                      <a:pt x="1166" y="1167"/>
                    </a:lnTo>
                    <a:lnTo>
                      <a:pt x="1168" y="1167"/>
                    </a:lnTo>
                    <a:lnTo>
                      <a:pt x="1166" y="1165"/>
                    </a:lnTo>
                    <a:lnTo>
                      <a:pt x="1166" y="1163"/>
                    </a:lnTo>
                    <a:lnTo>
                      <a:pt x="1166" y="1162"/>
                    </a:lnTo>
                    <a:lnTo>
                      <a:pt x="1168" y="1162"/>
                    </a:lnTo>
                    <a:lnTo>
                      <a:pt x="1168" y="1160"/>
                    </a:lnTo>
                    <a:lnTo>
                      <a:pt x="1169" y="1160"/>
                    </a:lnTo>
                    <a:lnTo>
                      <a:pt x="1169" y="1162"/>
                    </a:lnTo>
                    <a:lnTo>
                      <a:pt x="1169" y="1160"/>
                    </a:lnTo>
                    <a:lnTo>
                      <a:pt x="1169" y="1162"/>
                    </a:lnTo>
                    <a:lnTo>
                      <a:pt x="1171" y="1162"/>
                    </a:lnTo>
                    <a:lnTo>
                      <a:pt x="1171" y="1163"/>
                    </a:lnTo>
                    <a:lnTo>
                      <a:pt x="1171" y="1162"/>
                    </a:lnTo>
                    <a:lnTo>
                      <a:pt x="1173" y="1162"/>
                    </a:lnTo>
                    <a:lnTo>
                      <a:pt x="1174" y="1162"/>
                    </a:lnTo>
                    <a:lnTo>
                      <a:pt x="1173" y="1160"/>
                    </a:lnTo>
                    <a:lnTo>
                      <a:pt x="1173" y="1162"/>
                    </a:lnTo>
                    <a:lnTo>
                      <a:pt x="1171" y="1162"/>
                    </a:lnTo>
                    <a:lnTo>
                      <a:pt x="1171" y="1160"/>
                    </a:lnTo>
                    <a:lnTo>
                      <a:pt x="1171" y="1158"/>
                    </a:lnTo>
                    <a:lnTo>
                      <a:pt x="1171" y="1157"/>
                    </a:lnTo>
                    <a:lnTo>
                      <a:pt x="1171" y="1155"/>
                    </a:lnTo>
                    <a:lnTo>
                      <a:pt x="1173" y="1155"/>
                    </a:lnTo>
                    <a:lnTo>
                      <a:pt x="1174" y="1155"/>
                    </a:lnTo>
                    <a:lnTo>
                      <a:pt x="1176" y="1155"/>
                    </a:lnTo>
                    <a:lnTo>
                      <a:pt x="1178" y="1155"/>
                    </a:lnTo>
                    <a:lnTo>
                      <a:pt x="1176" y="1153"/>
                    </a:lnTo>
                    <a:lnTo>
                      <a:pt x="1176" y="1155"/>
                    </a:lnTo>
                    <a:lnTo>
                      <a:pt x="1174" y="1155"/>
                    </a:lnTo>
                    <a:lnTo>
                      <a:pt x="1173" y="1155"/>
                    </a:lnTo>
                    <a:lnTo>
                      <a:pt x="1173" y="1153"/>
                    </a:lnTo>
                    <a:lnTo>
                      <a:pt x="1174" y="1153"/>
                    </a:lnTo>
                    <a:lnTo>
                      <a:pt x="1173" y="1151"/>
                    </a:lnTo>
                    <a:lnTo>
                      <a:pt x="1173" y="1150"/>
                    </a:lnTo>
                    <a:lnTo>
                      <a:pt x="1174" y="1148"/>
                    </a:lnTo>
                    <a:lnTo>
                      <a:pt x="1173" y="1148"/>
                    </a:lnTo>
                    <a:lnTo>
                      <a:pt x="1173" y="1150"/>
                    </a:lnTo>
                    <a:lnTo>
                      <a:pt x="1173" y="1151"/>
                    </a:lnTo>
                    <a:lnTo>
                      <a:pt x="1171" y="1151"/>
                    </a:lnTo>
                    <a:lnTo>
                      <a:pt x="1173" y="1151"/>
                    </a:lnTo>
                    <a:lnTo>
                      <a:pt x="1173" y="1153"/>
                    </a:lnTo>
                    <a:lnTo>
                      <a:pt x="1171" y="1153"/>
                    </a:lnTo>
                    <a:lnTo>
                      <a:pt x="1171" y="1155"/>
                    </a:lnTo>
                    <a:lnTo>
                      <a:pt x="1169" y="1155"/>
                    </a:lnTo>
                    <a:lnTo>
                      <a:pt x="1168" y="1155"/>
                    </a:lnTo>
                    <a:lnTo>
                      <a:pt x="1168" y="1157"/>
                    </a:lnTo>
                    <a:lnTo>
                      <a:pt x="1168" y="1158"/>
                    </a:lnTo>
                    <a:lnTo>
                      <a:pt x="1166" y="1158"/>
                    </a:lnTo>
                    <a:lnTo>
                      <a:pt x="1164" y="1158"/>
                    </a:lnTo>
                    <a:lnTo>
                      <a:pt x="1162" y="1158"/>
                    </a:lnTo>
                    <a:lnTo>
                      <a:pt x="1161" y="1157"/>
                    </a:lnTo>
                    <a:lnTo>
                      <a:pt x="1161" y="1155"/>
                    </a:lnTo>
                    <a:lnTo>
                      <a:pt x="1162" y="1155"/>
                    </a:lnTo>
                    <a:lnTo>
                      <a:pt x="1162" y="1153"/>
                    </a:lnTo>
                    <a:lnTo>
                      <a:pt x="1164" y="1155"/>
                    </a:lnTo>
                    <a:lnTo>
                      <a:pt x="1164" y="1153"/>
                    </a:lnTo>
                    <a:lnTo>
                      <a:pt x="1166" y="1153"/>
                    </a:lnTo>
                    <a:lnTo>
                      <a:pt x="1168" y="1153"/>
                    </a:lnTo>
                    <a:lnTo>
                      <a:pt x="1169" y="1153"/>
                    </a:lnTo>
                    <a:lnTo>
                      <a:pt x="1168" y="1153"/>
                    </a:lnTo>
                    <a:lnTo>
                      <a:pt x="1166" y="1151"/>
                    </a:lnTo>
                    <a:lnTo>
                      <a:pt x="1168" y="1153"/>
                    </a:lnTo>
                    <a:lnTo>
                      <a:pt x="1166" y="1153"/>
                    </a:lnTo>
                    <a:lnTo>
                      <a:pt x="1164" y="1153"/>
                    </a:lnTo>
                    <a:lnTo>
                      <a:pt x="1162" y="1153"/>
                    </a:lnTo>
                    <a:lnTo>
                      <a:pt x="1161" y="1151"/>
                    </a:lnTo>
                    <a:lnTo>
                      <a:pt x="1162" y="1151"/>
                    </a:lnTo>
                    <a:lnTo>
                      <a:pt x="1164" y="1151"/>
                    </a:lnTo>
                    <a:lnTo>
                      <a:pt x="1164" y="1150"/>
                    </a:lnTo>
                    <a:lnTo>
                      <a:pt x="1166" y="1151"/>
                    </a:lnTo>
                    <a:lnTo>
                      <a:pt x="1164" y="1150"/>
                    </a:lnTo>
                    <a:lnTo>
                      <a:pt x="1162" y="1151"/>
                    </a:lnTo>
                    <a:lnTo>
                      <a:pt x="1161" y="1151"/>
                    </a:lnTo>
                    <a:lnTo>
                      <a:pt x="1161" y="1150"/>
                    </a:lnTo>
                    <a:lnTo>
                      <a:pt x="1161" y="1148"/>
                    </a:lnTo>
                    <a:lnTo>
                      <a:pt x="1159" y="1148"/>
                    </a:lnTo>
                    <a:lnTo>
                      <a:pt x="1161" y="1146"/>
                    </a:lnTo>
                    <a:lnTo>
                      <a:pt x="1162" y="1146"/>
                    </a:lnTo>
                    <a:lnTo>
                      <a:pt x="1164" y="1146"/>
                    </a:lnTo>
                    <a:lnTo>
                      <a:pt x="1164" y="1148"/>
                    </a:lnTo>
                    <a:lnTo>
                      <a:pt x="1164" y="1146"/>
                    </a:lnTo>
                    <a:lnTo>
                      <a:pt x="1164" y="1148"/>
                    </a:lnTo>
                    <a:lnTo>
                      <a:pt x="1166" y="1148"/>
                    </a:lnTo>
                    <a:lnTo>
                      <a:pt x="1168" y="1148"/>
                    </a:lnTo>
                    <a:lnTo>
                      <a:pt x="1168" y="1150"/>
                    </a:lnTo>
                    <a:lnTo>
                      <a:pt x="1169" y="1150"/>
                    </a:lnTo>
                    <a:lnTo>
                      <a:pt x="1168" y="1150"/>
                    </a:lnTo>
                    <a:lnTo>
                      <a:pt x="1168" y="1148"/>
                    </a:lnTo>
                    <a:lnTo>
                      <a:pt x="1166" y="1148"/>
                    </a:lnTo>
                    <a:lnTo>
                      <a:pt x="1164" y="1146"/>
                    </a:lnTo>
                    <a:lnTo>
                      <a:pt x="1166" y="1146"/>
                    </a:lnTo>
                    <a:lnTo>
                      <a:pt x="1168" y="1146"/>
                    </a:lnTo>
                    <a:lnTo>
                      <a:pt x="1168" y="1148"/>
                    </a:lnTo>
                    <a:lnTo>
                      <a:pt x="1168" y="1146"/>
                    </a:lnTo>
                    <a:lnTo>
                      <a:pt x="1169" y="1146"/>
                    </a:lnTo>
                    <a:lnTo>
                      <a:pt x="1168" y="1146"/>
                    </a:lnTo>
                    <a:lnTo>
                      <a:pt x="1169" y="1146"/>
                    </a:lnTo>
                    <a:lnTo>
                      <a:pt x="1171" y="1146"/>
                    </a:lnTo>
                    <a:lnTo>
                      <a:pt x="1169" y="1146"/>
                    </a:lnTo>
                    <a:lnTo>
                      <a:pt x="1169" y="1145"/>
                    </a:lnTo>
                    <a:lnTo>
                      <a:pt x="1171" y="1145"/>
                    </a:lnTo>
                    <a:lnTo>
                      <a:pt x="1173" y="1143"/>
                    </a:lnTo>
                    <a:lnTo>
                      <a:pt x="1173" y="1145"/>
                    </a:lnTo>
                    <a:lnTo>
                      <a:pt x="1174" y="1145"/>
                    </a:lnTo>
                    <a:lnTo>
                      <a:pt x="1173" y="1146"/>
                    </a:lnTo>
                    <a:lnTo>
                      <a:pt x="1173" y="1148"/>
                    </a:lnTo>
                    <a:lnTo>
                      <a:pt x="1174" y="1146"/>
                    </a:lnTo>
                    <a:lnTo>
                      <a:pt x="1174" y="1145"/>
                    </a:lnTo>
                    <a:lnTo>
                      <a:pt x="1176" y="1145"/>
                    </a:lnTo>
                    <a:lnTo>
                      <a:pt x="1178" y="1145"/>
                    </a:lnTo>
                    <a:lnTo>
                      <a:pt x="1178" y="1146"/>
                    </a:lnTo>
                    <a:lnTo>
                      <a:pt x="1176" y="1146"/>
                    </a:lnTo>
                    <a:lnTo>
                      <a:pt x="1178" y="1146"/>
                    </a:lnTo>
                    <a:lnTo>
                      <a:pt x="1178" y="1145"/>
                    </a:lnTo>
                    <a:lnTo>
                      <a:pt x="1179" y="1145"/>
                    </a:lnTo>
                    <a:lnTo>
                      <a:pt x="1179" y="1146"/>
                    </a:lnTo>
                    <a:lnTo>
                      <a:pt x="1179" y="1148"/>
                    </a:lnTo>
                    <a:lnTo>
                      <a:pt x="1178" y="1148"/>
                    </a:lnTo>
                    <a:lnTo>
                      <a:pt x="1179" y="1148"/>
                    </a:lnTo>
                    <a:lnTo>
                      <a:pt x="1181" y="1148"/>
                    </a:lnTo>
                    <a:lnTo>
                      <a:pt x="1179" y="1150"/>
                    </a:lnTo>
                    <a:lnTo>
                      <a:pt x="1181" y="1150"/>
                    </a:lnTo>
                    <a:lnTo>
                      <a:pt x="1181" y="1148"/>
                    </a:lnTo>
                    <a:lnTo>
                      <a:pt x="1183" y="1150"/>
                    </a:lnTo>
                    <a:lnTo>
                      <a:pt x="1181" y="1151"/>
                    </a:lnTo>
                    <a:lnTo>
                      <a:pt x="1181" y="1153"/>
                    </a:lnTo>
                    <a:lnTo>
                      <a:pt x="1181" y="1155"/>
                    </a:lnTo>
                    <a:lnTo>
                      <a:pt x="1183" y="1155"/>
                    </a:lnTo>
                    <a:lnTo>
                      <a:pt x="1183" y="1153"/>
                    </a:lnTo>
                    <a:lnTo>
                      <a:pt x="1183" y="1151"/>
                    </a:lnTo>
                    <a:lnTo>
                      <a:pt x="1183" y="1153"/>
                    </a:lnTo>
                    <a:lnTo>
                      <a:pt x="1183" y="1151"/>
                    </a:lnTo>
                    <a:lnTo>
                      <a:pt x="1183" y="1150"/>
                    </a:lnTo>
                    <a:lnTo>
                      <a:pt x="1185" y="1150"/>
                    </a:lnTo>
                    <a:lnTo>
                      <a:pt x="1185" y="1151"/>
                    </a:lnTo>
                    <a:lnTo>
                      <a:pt x="1185" y="1150"/>
                    </a:lnTo>
                    <a:lnTo>
                      <a:pt x="1183" y="1150"/>
                    </a:lnTo>
                    <a:lnTo>
                      <a:pt x="1183" y="1148"/>
                    </a:lnTo>
                    <a:lnTo>
                      <a:pt x="1181" y="1148"/>
                    </a:lnTo>
                    <a:lnTo>
                      <a:pt x="1181" y="1146"/>
                    </a:lnTo>
                    <a:lnTo>
                      <a:pt x="1181" y="1145"/>
                    </a:lnTo>
                    <a:lnTo>
                      <a:pt x="1183" y="1145"/>
                    </a:lnTo>
                    <a:lnTo>
                      <a:pt x="1183" y="1146"/>
                    </a:lnTo>
                    <a:lnTo>
                      <a:pt x="1183" y="1145"/>
                    </a:lnTo>
                    <a:lnTo>
                      <a:pt x="1181" y="1145"/>
                    </a:lnTo>
                    <a:lnTo>
                      <a:pt x="1181" y="1143"/>
                    </a:lnTo>
                    <a:lnTo>
                      <a:pt x="1183" y="1145"/>
                    </a:lnTo>
                    <a:lnTo>
                      <a:pt x="1183" y="1143"/>
                    </a:lnTo>
                    <a:lnTo>
                      <a:pt x="1185" y="1143"/>
                    </a:lnTo>
                    <a:lnTo>
                      <a:pt x="1186" y="1145"/>
                    </a:lnTo>
                    <a:lnTo>
                      <a:pt x="1186" y="1143"/>
                    </a:lnTo>
                    <a:lnTo>
                      <a:pt x="1186" y="1145"/>
                    </a:lnTo>
                    <a:lnTo>
                      <a:pt x="1186" y="1146"/>
                    </a:lnTo>
                    <a:lnTo>
                      <a:pt x="1188" y="1146"/>
                    </a:lnTo>
                    <a:lnTo>
                      <a:pt x="1186" y="1146"/>
                    </a:lnTo>
                    <a:lnTo>
                      <a:pt x="1188" y="1145"/>
                    </a:lnTo>
                    <a:lnTo>
                      <a:pt x="1190" y="1143"/>
                    </a:lnTo>
                    <a:lnTo>
                      <a:pt x="1191" y="1143"/>
                    </a:lnTo>
                    <a:lnTo>
                      <a:pt x="1193" y="1143"/>
                    </a:lnTo>
                    <a:lnTo>
                      <a:pt x="1193" y="1145"/>
                    </a:lnTo>
                    <a:lnTo>
                      <a:pt x="1195" y="1145"/>
                    </a:lnTo>
                    <a:lnTo>
                      <a:pt x="1193" y="1145"/>
                    </a:lnTo>
                    <a:lnTo>
                      <a:pt x="1193" y="1143"/>
                    </a:lnTo>
                    <a:lnTo>
                      <a:pt x="1195" y="1145"/>
                    </a:lnTo>
                    <a:lnTo>
                      <a:pt x="1195" y="1146"/>
                    </a:lnTo>
                    <a:lnTo>
                      <a:pt x="1193" y="1146"/>
                    </a:lnTo>
                    <a:lnTo>
                      <a:pt x="1191" y="1146"/>
                    </a:lnTo>
                    <a:lnTo>
                      <a:pt x="1190" y="1146"/>
                    </a:lnTo>
                    <a:lnTo>
                      <a:pt x="1190" y="1148"/>
                    </a:lnTo>
                    <a:lnTo>
                      <a:pt x="1188" y="1148"/>
                    </a:lnTo>
                    <a:lnTo>
                      <a:pt x="1190" y="1148"/>
                    </a:lnTo>
                    <a:lnTo>
                      <a:pt x="1191" y="1148"/>
                    </a:lnTo>
                    <a:lnTo>
                      <a:pt x="1193" y="1148"/>
                    </a:lnTo>
                    <a:lnTo>
                      <a:pt x="1193" y="1150"/>
                    </a:lnTo>
                    <a:lnTo>
                      <a:pt x="1191" y="1150"/>
                    </a:lnTo>
                    <a:lnTo>
                      <a:pt x="1193" y="1150"/>
                    </a:lnTo>
                    <a:lnTo>
                      <a:pt x="1193" y="1148"/>
                    </a:lnTo>
                    <a:lnTo>
                      <a:pt x="1195" y="1148"/>
                    </a:lnTo>
                    <a:lnTo>
                      <a:pt x="1196" y="1150"/>
                    </a:lnTo>
                    <a:lnTo>
                      <a:pt x="1196" y="1151"/>
                    </a:lnTo>
                    <a:lnTo>
                      <a:pt x="1195" y="1151"/>
                    </a:lnTo>
                    <a:lnTo>
                      <a:pt x="1195" y="1153"/>
                    </a:lnTo>
                    <a:lnTo>
                      <a:pt x="1193" y="1153"/>
                    </a:lnTo>
                    <a:lnTo>
                      <a:pt x="1191" y="1153"/>
                    </a:lnTo>
                    <a:lnTo>
                      <a:pt x="1190" y="1153"/>
                    </a:lnTo>
                    <a:lnTo>
                      <a:pt x="1188" y="1155"/>
                    </a:lnTo>
                    <a:lnTo>
                      <a:pt x="1186" y="1153"/>
                    </a:lnTo>
                    <a:lnTo>
                      <a:pt x="1186" y="1155"/>
                    </a:lnTo>
                    <a:lnTo>
                      <a:pt x="1188" y="1155"/>
                    </a:lnTo>
                    <a:lnTo>
                      <a:pt x="1190" y="1155"/>
                    </a:lnTo>
                    <a:lnTo>
                      <a:pt x="1191" y="1153"/>
                    </a:lnTo>
                    <a:lnTo>
                      <a:pt x="1193" y="1153"/>
                    </a:lnTo>
                    <a:lnTo>
                      <a:pt x="1195" y="1153"/>
                    </a:lnTo>
                    <a:lnTo>
                      <a:pt x="1195" y="1155"/>
                    </a:lnTo>
                    <a:lnTo>
                      <a:pt x="1195" y="1157"/>
                    </a:lnTo>
                    <a:lnTo>
                      <a:pt x="1195" y="1158"/>
                    </a:lnTo>
                    <a:lnTo>
                      <a:pt x="1193" y="1158"/>
                    </a:lnTo>
                    <a:lnTo>
                      <a:pt x="1191" y="1160"/>
                    </a:lnTo>
                    <a:lnTo>
                      <a:pt x="1191" y="1158"/>
                    </a:lnTo>
                    <a:lnTo>
                      <a:pt x="1190" y="1158"/>
                    </a:lnTo>
                    <a:lnTo>
                      <a:pt x="1190" y="1160"/>
                    </a:lnTo>
                    <a:lnTo>
                      <a:pt x="1188" y="1160"/>
                    </a:lnTo>
                    <a:lnTo>
                      <a:pt x="1186" y="1160"/>
                    </a:lnTo>
                    <a:lnTo>
                      <a:pt x="1186" y="1158"/>
                    </a:lnTo>
                    <a:lnTo>
                      <a:pt x="1186" y="1160"/>
                    </a:lnTo>
                    <a:lnTo>
                      <a:pt x="1185" y="1158"/>
                    </a:lnTo>
                    <a:lnTo>
                      <a:pt x="1186" y="1160"/>
                    </a:lnTo>
                    <a:lnTo>
                      <a:pt x="1188" y="1160"/>
                    </a:lnTo>
                    <a:lnTo>
                      <a:pt x="1190" y="1160"/>
                    </a:lnTo>
                    <a:lnTo>
                      <a:pt x="1191" y="1160"/>
                    </a:lnTo>
                    <a:lnTo>
                      <a:pt x="1193" y="1160"/>
                    </a:lnTo>
                    <a:lnTo>
                      <a:pt x="1193" y="1158"/>
                    </a:lnTo>
                    <a:lnTo>
                      <a:pt x="1195" y="1158"/>
                    </a:lnTo>
                    <a:lnTo>
                      <a:pt x="1196" y="1157"/>
                    </a:lnTo>
                    <a:lnTo>
                      <a:pt x="1195" y="1157"/>
                    </a:lnTo>
                    <a:lnTo>
                      <a:pt x="1195" y="1155"/>
                    </a:lnTo>
                    <a:lnTo>
                      <a:pt x="1195" y="1153"/>
                    </a:lnTo>
                    <a:lnTo>
                      <a:pt x="1195" y="1151"/>
                    </a:lnTo>
                    <a:lnTo>
                      <a:pt x="1196" y="1151"/>
                    </a:lnTo>
                    <a:lnTo>
                      <a:pt x="1196" y="1153"/>
                    </a:lnTo>
                    <a:lnTo>
                      <a:pt x="1198" y="1153"/>
                    </a:lnTo>
                    <a:lnTo>
                      <a:pt x="1198" y="1155"/>
                    </a:lnTo>
                    <a:lnTo>
                      <a:pt x="1198" y="1157"/>
                    </a:lnTo>
                    <a:lnTo>
                      <a:pt x="1198" y="1158"/>
                    </a:lnTo>
                    <a:lnTo>
                      <a:pt x="1196" y="1160"/>
                    </a:lnTo>
                    <a:lnTo>
                      <a:pt x="1195" y="1160"/>
                    </a:lnTo>
                    <a:lnTo>
                      <a:pt x="1195" y="1162"/>
                    </a:lnTo>
                    <a:lnTo>
                      <a:pt x="1193" y="1162"/>
                    </a:lnTo>
                    <a:lnTo>
                      <a:pt x="1191" y="1163"/>
                    </a:lnTo>
                    <a:lnTo>
                      <a:pt x="1190" y="1163"/>
                    </a:lnTo>
                    <a:lnTo>
                      <a:pt x="1188" y="1163"/>
                    </a:lnTo>
                    <a:lnTo>
                      <a:pt x="1188" y="1165"/>
                    </a:lnTo>
                    <a:lnTo>
                      <a:pt x="1186" y="1165"/>
                    </a:lnTo>
                    <a:lnTo>
                      <a:pt x="1185" y="1163"/>
                    </a:lnTo>
                    <a:lnTo>
                      <a:pt x="1183" y="1163"/>
                    </a:lnTo>
                    <a:lnTo>
                      <a:pt x="1181" y="1162"/>
                    </a:lnTo>
                    <a:lnTo>
                      <a:pt x="1183" y="1162"/>
                    </a:lnTo>
                    <a:lnTo>
                      <a:pt x="1181" y="1160"/>
                    </a:lnTo>
                    <a:lnTo>
                      <a:pt x="1181" y="1162"/>
                    </a:lnTo>
                    <a:lnTo>
                      <a:pt x="1181" y="1163"/>
                    </a:lnTo>
                    <a:lnTo>
                      <a:pt x="1183" y="1163"/>
                    </a:lnTo>
                    <a:lnTo>
                      <a:pt x="1185" y="1165"/>
                    </a:lnTo>
                    <a:lnTo>
                      <a:pt x="1186" y="1165"/>
                    </a:lnTo>
                    <a:lnTo>
                      <a:pt x="1188" y="1165"/>
                    </a:lnTo>
                    <a:lnTo>
                      <a:pt x="1190" y="1165"/>
                    </a:lnTo>
                    <a:lnTo>
                      <a:pt x="1190" y="1163"/>
                    </a:lnTo>
                    <a:lnTo>
                      <a:pt x="1191" y="1163"/>
                    </a:lnTo>
                    <a:lnTo>
                      <a:pt x="1193" y="1163"/>
                    </a:lnTo>
                    <a:lnTo>
                      <a:pt x="1195" y="1162"/>
                    </a:lnTo>
                    <a:lnTo>
                      <a:pt x="1196" y="1162"/>
                    </a:lnTo>
                    <a:lnTo>
                      <a:pt x="1196" y="1163"/>
                    </a:lnTo>
                    <a:lnTo>
                      <a:pt x="1195" y="1163"/>
                    </a:lnTo>
                    <a:lnTo>
                      <a:pt x="1196" y="1163"/>
                    </a:lnTo>
                    <a:lnTo>
                      <a:pt x="1196" y="1165"/>
                    </a:lnTo>
                    <a:lnTo>
                      <a:pt x="1196" y="1163"/>
                    </a:lnTo>
                    <a:lnTo>
                      <a:pt x="1196" y="1162"/>
                    </a:lnTo>
                    <a:lnTo>
                      <a:pt x="1198" y="1162"/>
                    </a:lnTo>
                    <a:lnTo>
                      <a:pt x="1198" y="1160"/>
                    </a:lnTo>
                    <a:lnTo>
                      <a:pt x="1200" y="1160"/>
                    </a:lnTo>
                    <a:lnTo>
                      <a:pt x="1202" y="1158"/>
                    </a:lnTo>
                    <a:lnTo>
                      <a:pt x="1202" y="1160"/>
                    </a:lnTo>
                    <a:lnTo>
                      <a:pt x="1202" y="1162"/>
                    </a:lnTo>
                    <a:lnTo>
                      <a:pt x="1203" y="1162"/>
                    </a:lnTo>
                    <a:lnTo>
                      <a:pt x="1203" y="1163"/>
                    </a:lnTo>
                    <a:lnTo>
                      <a:pt x="1205" y="1163"/>
                    </a:lnTo>
                    <a:lnTo>
                      <a:pt x="1205" y="1165"/>
                    </a:lnTo>
                    <a:lnTo>
                      <a:pt x="1205" y="1167"/>
                    </a:lnTo>
                    <a:lnTo>
                      <a:pt x="1205" y="1168"/>
                    </a:lnTo>
                    <a:lnTo>
                      <a:pt x="1205" y="1170"/>
                    </a:lnTo>
                    <a:lnTo>
                      <a:pt x="1203" y="1170"/>
                    </a:lnTo>
                    <a:lnTo>
                      <a:pt x="1203" y="1172"/>
                    </a:lnTo>
                    <a:lnTo>
                      <a:pt x="1203" y="1174"/>
                    </a:lnTo>
                    <a:lnTo>
                      <a:pt x="1202" y="1174"/>
                    </a:lnTo>
                    <a:lnTo>
                      <a:pt x="1202" y="1175"/>
                    </a:lnTo>
                    <a:lnTo>
                      <a:pt x="1200" y="1175"/>
                    </a:lnTo>
                    <a:lnTo>
                      <a:pt x="1202" y="1177"/>
                    </a:lnTo>
                    <a:lnTo>
                      <a:pt x="1202" y="1179"/>
                    </a:lnTo>
                    <a:lnTo>
                      <a:pt x="1202" y="1177"/>
                    </a:lnTo>
                    <a:lnTo>
                      <a:pt x="1200" y="1177"/>
                    </a:lnTo>
                    <a:lnTo>
                      <a:pt x="1200" y="1179"/>
                    </a:lnTo>
                    <a:lnTo>
                      <a:pt x="1198" y="1179"/>
                    </a:lnTo>
                    <a:lnTo>
                      <a:pt x="1200" y="1179"/>
                    </a:lnTo>
                    <a:lnTo>
                      <a:pt x="1200" y="1180"/>
                    </a:lnTo>
                    <a:lnTo>
                      <a:pt x="1202" y="1180"/>
                    </a:lnTo>
                    <a:lnTo>
                      <a:pt x="1202" y="1182"/>
                    </a:lnTo>
                    <a:lnTo>
                      <a:pt x="1203" y="1180"/>
                    </a:lnTo>
                    <a:lnTo>
                      <a:pt x="1203" y="1179"/>
                    </a:lnTo>
                    <a:lnTo>
                      <a:pt x="1203" y="1177"/>
                    </a:lnTo>
                    <a:lnTo>
                      <a:pt x="1205" y="1177"/>
                    </a:lnTo>
                    <a:lnTo>
                      <a:pt x="1205" y="1175"/>
                    </a:lnTo>
                    <a:lnTo>
                      <a:pt x="1205" y="1174"/>
                    </a:lnTo>
                    <a:lnTo>
                      <a:pt x="1205" y="1172"/>
                    </a:lnTo>
                    <a:lnTo>
                      <a:pt x="1207" y="1172"/>
                    </a:lnTo>
                    <a:lnTo>
                      <a:pt x="1208" y="1170"/>
                    </a:lnTo>
                    <a:lnTo>
                      <a:pt x="1208" y="1168"/>
                    </a:lnTo>
                    <a:lnTo>
                      <a:pt x="1210" y="1168"/>
                    </a:lnTo>
                    <a:lnTo>
                      <a:pt x="1210" y="1167"/>
                    </a:lnTo>
                    <a:lnTo>
                      <a:pt x="1212" y="1167"/>
                    </a:lnTo>
                    <a:lnTo>
                      <a:pt x="1213" y="1167"/>
                    </a:lnTo>
                    <a:lnTo>
                      <a:pt x="1215" y="1167"/>
                    </a:lnTo>
                    <a:lnTo>
                      <a:pt x="1213" y="1167"/>
                    </a:lnTo>
                    <a:lnTo>
                      <a:pt x="1212" y="1167"/>
                    </a:lnTo>
                    <a:lnTo>
                      <a:pt x="1212" y="1165"/>
                    </a:lnTo>
                    <a:lnTo>
                      <a:pt x="1212" y="1163"/>
                    </a:lnTo>
                    <a:lnTo>
                      <a:pt x="1212" y="1162"/>
                    </a:lnTo>
                    <a:lnTo>
                      <a:pt x="1213" y="1162"/>
                    </a:lnTo>
                    <a:lnTo>
                      <a:pt x="1213" y="1160"/>
                    </a:lnTo>
                    <a:lnTo>
                      <a:pt x="1215" y="1160"/>
                    </a:lnTo>
                    <a:lnTo>
                      <a:pt x="1213" y="1160"/>
                    </a:lnTo>
                    <a:lnTo>
                      <a:pt x="1213" y="1158"/>
                    </a:lnTo>
                    <a:lnTo>
                      <a:pt x="1215" y="1158"/>
                    </a:lnTo>
                    <a:lnTo>
                      <a:pt x="1215" y="1157"/>
                    </a:lnTo>
                    <a:lnTo>
                      <a:pt x="1217" y="1157"/>
                    </a:lnTo>
                    <a:lnTo>
                      <a:pt x="1217" y="1155"/>
                    </a:lnTo>
                    <a:lnTo>
                      <a:pt x="1219" y="1155"/>
                    </a:lnTo>
                    <a:lnTo>
                      <a:pt x="1219" y="1153"/>
                    </a:lnTo>
                    <a:lnTo>
                      <a:pt x="1217" y="1153"/>
                    </a:lnTo>
                    <a:lnTo>
                      <a:pt x="1215" y="1155"/>
                    </a:lnTo>
                    <a:lnTo>
                      <a:pt x="1215" y="1157"/>
                    </a:lnTo>
                    <a:lnTo>
                      <a:pt x="1213" y="1157"/>
                    </a:lnTo>
                    <a:lnTo>
                      <a:pt x="1213" y="1158"/>
                    </a:lnTo>
                    <a:lnTo>
                      <a:pt x="1212" y="1160"/>
                    </a:lnTo>
                    <a:lnTo>
                      <a:pt x="1212" y="1162"/>
                    </a:lnTo>
                    <a:lnTo>
                      <a:pt x="1210" y="1163"/>
                    </a:lnTo>
                    <a:lnTo>
                      <a:pt x="1212" y="1162"/>
                    </a:lnTo>
                    <a:lnTo>
                      <a:pt x="1212" y="1163"/>
                    </a:lnTo>
                    <a:lnTo>
                      <a:pt x="1210" y="1163"/>
                    </a:lnTo>
                    <a:lnTo>
                      <a:pt x="1210" y="1165"/>
                    </a:lnTo>
                    <a:lnTo>
                      <a:pt x="1208" y="1167"/>
                    </a:lnTo>
                    <a:lnTo>
                      <a:pt x="1208" y="1168"/>
                    </a:lnTo>
                    <a:lnTo>
                      <a:pt x="1207" y="1168"/>
                    </a:lnTo>
                    <a:lnTo>
                      <a:pt x="1208" y="1168"/>
                    </a:lnTo>
                    <a:lnTo>
                      <a:pt x="1207" y="1168"/>
                    </a:lnTo>
                    <a:lnTo>
                      <a:pt x="1208" y="1167"/>
                    </a:lnTo>
                    <a:lnTo>
                      <a:pt x="1208" y="1165"/>
                    </a:lnTo>
                    <a:lnTo>
                      <a:pt x="1208" y="1163"/>
                    </a:lnTo>
                    <a:lnTo>
                      <a:pt x="1210" y="1163"/>
                    </a:lnTo>
                    <a:lnTo>
                      <a:pt x="1208" y="1163"/>
                    </a:lnTo>
                    <a:lnTo>
                      <a:pt x="1208" y="1162"/>
                    </a:lnTo>
                    <a:lnTo>
                      <a:pt x="1208" y="1160"/>
                    </a:lnTo>
                    <a:lnTo>
                      <a:pt x="1208" y="1158"/>
                    </a:lnTo>
                    <a:lnTo>
                      <a:pt x="1210" y="1158"/>
                    </a:lnTo>
                    <a:lnTo>
                      <a:pt x="1210" y="1157"/>
                    </a:lnTo>
                    <a:lnTo>
                      <a:pt x="1210" y="1155"/>
                    </a:lnTo>
                    <a:lnTo>
                      <a:pt x="1208" y="1153"/>
                    </a:lnTo>
                    <a:lnTo>
                      <a:pt x="1210" y="1153"/>
                    </a:lnTo>
                    <a:lnTo>
                      <a:pt x="1208" y="1151"/>
                    </a:lnTo>
                    <a:lnTo>
                      <a:pt x="1210" y="1151"/>
                    </a:lnTo>
                    <a:lnTo>
                      <a:pt x="1210" y="1150"/>
                    </a:lnTo>
                    <a:lnTo>
                      <a:pt x="1212" y="1150"/>
                    </a:lnTo>
                    <a:lnTo>
                      <a:pt x="1210" y="1150"/>
                    </a:lnTo>
                    <a:lnTo>
                      <a:pt x="1210" y="1148"/>
                    </a:lnTo>
                    <a:lnTo>
                      <a:pt x="1212" y="1146"/>
                    </a:lnTo>
                    <a:lnTo>
                      <a:pt x="1213" y="1146"/>
                    </a:lnTo>
                    <a:lnTo>
                      <a:pt x="1212" y="1145"/>
                    </a:lnTo>
                    <a:lnTo>
                      <a:pt x="1213" y="1143"/>
                    </a:lnTo>
                    <a:lnTo>
                      <a:pt x="1213" y="1141"/>
                    </a:lnTo>
                    <a:lnTo>
                      <a:pt x="1215" y="1141"/>
                    </a:lnTo>
                    <a:lnTo>
                      <a:pt x="1215" y="1140"/>
                    </a:lnTo>
                    <a:lnTo>
                      <a:pt x="1217" y="1138"/>
                    </a:lnTo>
                    <a:lnTo>
                      <a:pt x="1219" y="1138"/>
                    </a:lnTo>
                    <a:lnTo>
                      <a:pt x="1220" y="1138"/>
                    </a:lnTo>
                    <a:lnTo>
                      <a:pt x="1220" y="1136"/>
                    </a:lnTo>
                    <a:lnTo>
                      <a:pt x="1222" y="1138"/>
                    </a:lnTo>
                    <a:lnTo>
                      <a:pt x="1222" y="1136"/>
                    </a:lnTo>
                    <a:lnTo>
                      <a:pt x="1222" y="1138"/>
                    </a:lnTo>
                    <a:lnTo>
                      <a:pt x="1224" y="1138"/>
                    </a:lnTo>
                    <a:lnTo>
                      <a:pt x="1225" y="1136"/>
                    </a:lnTo>
                    <a:lnTo>
                      <a:pt x="1224" y="1136"/>
                    </a:lnTo>
                    <a:lnTo>
                      <a:pt x="1224" y="1134"/>
                    </a:lnTo>
                    <a:lnTo>
                      <a:pt x="1222" y="1134"/>
                    </a:lnTo>
                    <a:lnTo>
                      <a:pt x="1222" y="1136"/>
                    </a:lnTo>
                    <a:lnTo>
                      <a:pt x="1220" y="1136"/>
                    </a:lnTo>
                    <a:lnTo>
                      <a:pt x="1220" y="1134"/>
                    </a:lnTo>
                    <a:lnTo>
                      <a:pt x="1220" y="1133"/>
                    </a:lnTo>
                    <a:lnTo>
                      <a:pt x="1222" y="1133"/>
                    </a:lnTo>
                    <a:lnTo>
                      <a:pt x="1220" y="1133"/>
                    </a:lnTo>
                    <a:lnTo>
                      <a:pt x="1220" y="1134"/>
                    </a:lnTo>
                    <a:lnTo>
                      <a:pt x="1219" y="1134"/>
                    </a:lnTo>
                    <a:lnTo>
                      <a:pt x="1217" y="1136"/>
                    </a:lnTo>
                    <a:lnTo>
                      <a:pt x="1217" y="1138"/>
                    </a:lnTo>
                    <a:lnTo>
                      <a:pt x="1215" y="1138"/>
                    </a:lnTo>
                    <a:lnTo>
                      <a:pt x="1215" y="1140"/>
                    </a:lnTo>
                    <a:lnTo>
                      <a:pt x="1213" y="1140"/>
                    </a:lnTo>
                    <a:lnTo>
                      <a:pt x="1213" y="1141"/>
                    </a:lnTo>
                    <a:lnTo>
                      <a:pt x="1212" y="1141"/>
                    </a:lnTo>
                    <a:lnTo>
                      <a:pt x="1212" y="1140"/>
                    </a:lnTo>
                    <a:lnTo>
                      <a:pt x="1212" y="1138"/>
                    </a:lnTo>
                    <a:lnTo>
                      <a:pt x="1212" y="1136"/>
                    </a:lnTo>
                    <a:lnTo>
                      <a:pt x="1212" y="1134"/>
                    </a:lnTo>
                    <a:lnTo>
                      <a:pt x="1212" y="1133"/>
                    </a:lnTo>
                    <a:lnTo>
                      <a:pt x="1213" y="1133"/>
                    </a:lnTo>
                    <a:lnTo>
                      <a:pt x="1213" y="1131"/>
                    </a:lnTo>
                    <a:lnTo>
                      <a:pt x="1213" y="1129"/>
                    </a:lnTo>
                    <a:lnTo>
                      <a:pt x="1213" y="1128"/>
                    </a:lnTo>
                    <a:lnTo>
                      <a:pt x="1213" y="1126"/>
                    </a:lnTo>
                    <a:lnTo>
                      <a:pt x="1215" y="1124"/>
                    </a:lnTo>
                    <a:lnTo>
                      <a:pt x="1217" y="1124"/>
                    </a:lnTo>
                    <a:lnTo>
                      <a:pt x="1217" y="1126"/>
                    </a:lnTo>
                    <a:lnTo>
                      <a:pt x="1217" y="1128"/>
                    </a:lnTo>
                    <a:lnTo>
                      <a:pt x="1217" y="1126"/>
                    </a:lnTo>
                    <a:lnTo>
                      <a:pt x="1217" y="1124"/>
                    </a:lnTo>
                    <a:lnTo>
                      <a:pt x="1217" y="1122"/>
                    </a:lnTo>
                    <a:lnTo>
                      <a:pt x="1219" y="1122"/>
                    </a:lnTo>
                    <a:lnTo>
                      <a:pt x="1219" y="1121"/>
                    </a:lnTo>
                    <a:lnTo>
                      <a:pt x="1219" y="1122"/>
                    </a:lnTo>
                    <a:lnTo>
                      <a:pt x="1220" y="1124"/>
                    </a:lnTo>
                    <a:lnTo>
                      <a:pt x="1220" y="1122"/>
                    </a:lnTo>
                    <a:lnTo>
                      <a:pt x="1220" y="1121"/>
                    </a:lnTo>
                    <a:lnTo>
                      <a:pt x="1219" y="1121"/>
                    </a:lnTo>
                    <a:lnTo>
                      <a:pt x="1220" y="1121"/>
                    </a:lnTo>
                    <a:lnTo>
                      <a:pt x="1220" y="1119"/>
                    </a:lnTo>
                    <a:lnTo>
                      <a:pt x="1222" y="1119"/>
                    </a:lnTo>
                    <a:lnTo>
                      <a:pt x="1224" y="1119"/>
                    </a:lnTo>
                    <a:lnTo>
                      <a:pt x="1225" y="1119"/>
                    </a:lnTo>
                    <a:lnTo>
                      <a:pt x="1225" y="1121"/>
                    </a:lnTo>
                    <a:lnTo>
                      <a:pt x="1225" y="1122"/>
                    </a:lnTo>
                    <a:lnTo>
                      <a:pt x="1227" y="1122"/>
                    </a:lnTo>
                    <a:lnTo>
                      <a:pt x="1227" y="1124"/>
                    </a:lnTo>
                    <a:lnTo>
                      <a:pt x="1229" y="1124"/>
                    </a:lnTo>
                    <a:lnTo>
                      <a:pt x="1230" y="1126"/>
                    </a:lnTo>
                    <a:lnTo>
                      <a:pt x="1232" y="1126"/>
                    </a:lnTo>
                    <a:lnTo>
                      <a:pt x="1234" y="1126"/>
                    </a:lnTo>
                    <a:lnTo>
                      <a:pt x="1234" y="1128"/>
                    </a:lnTo>
                    <a:lnTo>
                      <a:pt x="1234" y="1126"/>
                    </a:lnTo>
                    <a:lnTo>
                      <a:pt x="1234" y="1128"/>
                    </a:lnTo>
                    <a:lnTo>
                      <a:pt x="1236" y="1126"/>
                    </a:lnTo>
                    <a:lnTo>
                      <a:pt x="1236" y="1128"/>
                    </a:lnTo>
                    <a:lnTo>
                      <a:pt x="1236" y="1126"/>
                    </a:lnTo>
                    <a:lnTo>
                      <a:pt x="1237" y="1126"/>
                    </a:lnTo>
                    <a:lnTo>
                      <a:pt x="1236" y="1126"/>
                    </a:lnTo>
                    <a:lnTo>
                      <a:pt x="1237" y="1126"/>
                    </a:lnTo>
                    <a:lnTo>
                      <a:pt x="1237" y="1124"/>
                    </a:lnTo>
                    <a:lnTo>
                      <a:pt x="1236" y="1124"/>
                    </a:lnTo>
                    <a:lnTo>
                      <a:pt x="1237" y="1122"/>
                    </a:lnTo>
                    <a:lnTo>
                      <a:pt x="1236" y="1122"/>
                    </a:lnTo>
                    <a:lnTo>
                      <a:pt x="1234" y="1122"/>
                    </a:lnTo>
                    <a:lnTo>
                      <a:pt x="1234" y="1124"/>
                    </a:lnTo>
                    <a:lnTo>
                      <a:pt x="1232" y="1124"/>
                    </a:lnTo>
                    <a:lnTo>
                      <a:pt x="1230" y="1124"/>
                    </a:lnTo>
                    <a:lnTo>
                      <a:pt x="1230" y="1122"/>
                    </a:lnTo>
                    <a:lnTo>
                      <a:pt x="1229" y="1122"/>
                    </a:lnTo>
                    <a:lnTo>
                      <a:pt x="1229" y="1121"/>
                    </a:lnTo>
                    <a:lnTo>
                      <a:pt x="1227" y="1121"/>
                    </a:lnTo>
                    <a:lnTo>
                      <a:pt x="1227" y="1119"/>
                    </a:lnTo>
                    <a:lnTo>
                      <a:pt x="1225" y="1117"/>
                    </a:lnTo>
                    <a:lnTo>
                      <a:pt x="1224" y="1117"/>
                    </a:lnTo>
                    <a:lnTo>
                      <a:pt x="1224" y="1116"/>
                    </a:lnTo>
                    <a:lnTo>
                      <a:pt x="1222" y="1116"/>
                    </a:lnTo>
                    <a:lnTo>
                      <a:pt x="1220" y="1116"/>
                    </a:lnTo>
                    <a:lnTo>
                      <a:pt x="1220" y="1117"/>
                    </a:lnTo>
                    <a:lnTo>
                      <a:pt x="1219" y="1117"/>
                    </a:lnTo>
                    <a:lnTo>
                      <a:pt x="1219" y="1119"/>
                    </a:lnTo>
                    <a:lnTo>
                      <a:pt x="1219" y="1117"/>
                    </a:lnTo>
                    <a:lnTo>
                      <a:pt x="1217" y="1117"/>
                    </a:lnTo>
                    <a:lnTo>
                      <a:pt x="1215" y="1117"/>
                    </a:lnTo>
                    <a:lnTo>
                      <a:pt x="1213" y="1116"/>
                    </a:lnTo>
                    <a:lnTo>
                      <a:pt x="1213" y="1114"/>
                    </a:lnTo>
                    <a:lnTo>
                      <a:pt x="1215" y="1116"/>
                    </a:lnTo>
                    <a:lnTo>
                      <a:pt x="1215" y="1117"/>
                    </a:lnTo>
                    <a:lnTo>
                      <a:pt x="1215" y="1116"/>
                    </a:lnTo>
                    <a:lnTo>
                      <a:pt x="1215" y="1114"/>
                    </a:lnTo>
                    <a:lnTo>
                      <a:pt x="1217" y="1114"/>
                    </a:lnTo>
                    <a:lnTo>
                      <a:pt x="1219" y="1114"/>
                    </a:lnTo>
                    <a:lnTo>
                      <a:pt x="1220" y="1114"/>
                    </a:lnTo>
                    <a:lnTo>
                      <a:pt x="1220" y="1112"/>
                    </a:lnTo>
                    <a:lnTo>
                      <a:pt x="1219" y="1112"/>
                    </a:lnTo>
                    <a:lnTo>
                      <a:pt x="1220" y="1112"/>
                    </a:lnTo>
                    <a:lnTo>
                      <a:pt x="1220" y="1111"/>
                    </a:lnTo>
                    <a:lnTo>
                      <a:pt x="1220" y="1109"/>
                    </a:lnTo>
                    <a:lnTo>
                      <a:pt x="1219" y="1109"/>
                    </a:lnTo>
                    <a:lnTo>
                      <a:pt x="1220" y="1109"/>
                    </a:lnTo>
                    <a:lnTo>
                      <a:pt x="1220" y="1107"/>
                    </a:lnTo>
                    <a:lnTo>
                      <a:pt x="1220" y="1109"/>
                    </a:lnTo>
                    <a:lnTo>
                      <a:pt x="1219" y="1109"/>
                    </a:lnTo>
                    <a:lnTo>
                      <a:pt x="1219" y="1107"/>
                    </a:lnTo>
                    <a:lnTo>
                      <a:pt x="1217" y="1107"/>
                    </a:lnTo>
                    <a:lnTo>
                      <a:pt x="1217" y="1105"/>
                    </a:lnTo>
                    <a:lnTo>
                      <a:pt x="1217" y="1104"/>
                    </a:lnTo>
                    <a:lnTo>
                      <a:pt x="1217" y="1102"/>
                    </a:lnTo>
                    <a:lnTo>
                      <a:pt x="1219" y="1102"/>
                    </a:lnTo>
                    <a:lnTo>
                      <a:pt x="1220" y="1102"/>
                    </a:lnTo>
                    <a:lnTo>
                      <a:pt x="1222" y="1102"/>
                    </a:lnTo>
                    <a:lnTo>
                      <a:pt x="1224" y="1102"/>
                    </a:lnTo>
                    <a:lnTo>
                      <a:pt x="1225" y="1100"/>
                    </a:lnTo>
                    <a:lnTo>
                      <a:pt x="1227" y="1102"/>
                    </a:lnTo>
                    <a:lnTo>
                      <a:pt x="1227" y="1100"/>
                    </a:lnTo>
                    <a:lnTo>
                      <a:pt x="1229" y="1100"/>
                    </a:lnTo>
                    <a:lnTo>
                      <a:pt x="1229" y="1099"/>
                    </a:lnTo>
                    <a:lnTo>
                      <a:pt x="1230" y="1099"/>
                    </a:lnTo>
                    <a:lnTo>
                      <a:pt x="1230" y="1097"/>
                    </a:lnTo>
                    <a:lnTo>
                      <a:pt x="1232" y="1097"/>
                    </a:lnTo>
                    <a:lnTo>
                      <a:pt x="1232" y="1099"/>
                    </a:lnTo>
                    <a:lnTo>
                      <a:pt x="1232" y="1097"/>
                    </a:lnTo>
                    <a:lnTo>
                      <a:pt x="1234" y="1097"/>
                    </a:lnTo>
                    <a:lnTo>
                      <a:pt x="1236" y="1095"/>
                    </a:lnTo>
                    <a:lnTo>
                      <a:pt x="1237" y="1094"/>
                    </a:lnTo>
                    <a:lnTo>
                      <a:pt x="1239" y="1092"/>
                    </a:lnTo>
                    <a:lnTo>
                      <a:pt x="1241" y="1092"/>
                    </a:lnTo>
                    <a:lnTo>
                      <a:pt x="1241" y="1090"/>
                    </a:lnTo>
                    <a:lnTo>
                      <a:pt x="1239" y="1088"/>
                    </a:lnTo>
                    <a:lnTo>
                      <a:pt x="1241" y="1087"/>
                    </a:lnTo>
                    <a:lnTo>
                      <a:pt x="1241" y="1085"/>
                    </a:lnTo>
                    <a:lnTo>
                      <a:pt x="1241" y="1083"/>
                    </a:lnTo>
                    <a:lnTo>
                      <a:pt x="1242" y="1082"/>
                    </a:lnTo>
                    <a:lnTo>
                      <a:pt x="1244" y="1082"/>
                    </a:lnTo>
                    <a:lnTo>
                      <a:pt x="1244" y="1080"/>
                    </a:lnTo>
                    <a:lnTo>
                      <a:pt x="1244" y="1082"/>
                    </a:lnTo>
                    <a:lnTo>
                      <a:pt x="1246" y="1082"/>
                    </a:lnTo>
                    <a:lnTo>
                      <a:pt x="1244" y="1080"/>
                    </a:lnTo>
                    <a:lnTo>
                      <a:pt x="1244" y="1078"/>
                    </a:lnTo>
                    <a:lnTo>
                      <a:pt x="1244" y="1077"/>
                    </a:lnTo>
                    <a:lnTo>
                      <a:pt x="1244" y="1075"/>
                    </a:lnTo>
                    <a:lnTo>
                      <a:pt x="1244" y="1073"/>
                    </a:lnTo>
                    <a:lnTo>
                      <a:pt x="1246" y="1071"/>
                    </a:lnTo>
                    <a:lnTo>
                      <a:pt x="1244" y="1071"/>
                    </a:lnTo>
                    <a:lnTo>
                      <a:pt x="1244" y="1073"/>
                    </a:lnTo>
                    <a:lnTo>
                      <a:pt x="1244" y="1075"/>
                    </a:lnTo>
                    <a:lnTo>
                      <a:pt x="1242" y="1077"/>
                    </a:lnTo>
                    <a:lnTo>
                      <a:pt x="1242" y="1078"/>
                    </a:lnTo>
                    <a:lnTo>
                      <a:pt x="1242" y="1080"/>
                    </a:lnTo>
                    <a:lnTo>
                      <a:pt x="1241" y="1080"/>
                    </a:lnTo>
                    <a:lnTo>
                      <a:pt x="1241" y="1082"/>
                    </a:lnTo>
                    <a:lnTo>
                      <a:pt x="1241" y="1080"/>
                    </a:lnTo>
                    <a:lnTo>
                      <a:pt x="1239" y="1080"/>
                    </a:lnTo>
                    <a:lnTo>
                      <a:pt x="1239" y="1078"/>
                    </a:lnTo>
                    <a:lnTo>
                      <a:pt x="1241" y="1078"/>
                    </a:lnTo>
                    <a:lnTo>
                      <a:pt x="1239" y="1078"/>
                    </a:lnTo>
                    <a:lnTo>
                      <a:pt x="1237" y="1078"/>
                    </a:lnTo>
                    <a:lnTo>
                      <a:pt x="1237" y="1077"/>
                    </a:lnTo>
                    <a:lnTo>
                      <a:pt x="1237" y="1075"/>
                    </a:lnTo>
                    <a:lnTo>
                      <a:pt x="1236" y="1075"/>
                    </a:lnTo>
                    <a:lnTo>
                      <a:pt x="1234" y="1075"/>
                    </a:lnTo>
                    <a:lnTo>
                      <a:pt x="1232" y="1073"/>
                    </a:lnTo>
                    <a:lnTo>
                      <a:pt x="1234" y="1073"/>
                    </a:lnTo>
                    <a:lnTo>
                      <a:pt x="1234" y="1071"/>
                    </a:lnTo>
                    <a:lnTo>
                      <a:pt x="1236" y="1071"/>
                    </a:lnTo>
                    <a:lnTo>
                      <a:pt x="1234" y="1071"/>
                    </a:lnTo>
                    <a:lnTo>
                      <a:pt x="1232" y="1071"/>
                    </a:lnTo>
                    <a:lnTo>
                      <a:pt x="1230" y="1071"/>
                    </a:lnTo>
                    <a:lnTo>
                      <a:pt x="1230" y="1070"/>
                    </a:lnTo>
                    <a:lnTo>
                      <a:pt x="1229" y="1070"/>
                    </a:lnTo>
                    <a:lnTo>
                      <a:pt x="1229" y="1068"/>
                    </a:lnTo>
                    <a:lnTo>
                      <a:pt x="1227" y="1068"/>
                    </a:lnTo>
                    <a:lnTo>
                      <a:pt x="1227" y="1070"/>
                    </a:lnTo>
                    <a:lnTo>
                      <a:pt x="1225" y="1070"/>
                    </a:lnTo>
                    <a:lnTo>
                      <a:pt x="1225" y="1068"/>
                    </a:lnTo>
                    <a:lnTo>
                      <a:pt x="1224" y="1068"/>
                    </a:lnTo>
                    <a:lnTo>
                      <a:pt x="1224" y="1066"/>
                    </a:lnTo>
                    <a:lnTo>
                      <a:pt x="1225" y="1066"/>
                    </a:lnTo>
                    <a:lnTo>
                      <a:pt x="1225" y="1068"/>
                    </a:lnTo>
                    <a:lnTo>
                      <a:pt x="1227" y="1068"/>
                    </a:lnTo>
                    <a:lnTo>
                      <a:pt x="1225" y="1066"/>
                    </a:lnTo>
                    <a:lnTo>
                      <a:pt x="1227" y="1066"/>
                    </a:lnTo>
                    <a:lnTo>
                      <a:pt x="1227" y="1065"/>
                    </a:lnTo>
                    <a:lnTo>
                      <a:pt x="1227" y="1066"/>
                    </a:lnTo>
                    <a:lnTo>
                      <a:pt x="1225" y="1065"/>
                    </a:lnTo>
                    <a:lnTo>
                      <a:pt x="1227" y="1065"/>
                    </a:lnTo>
                    <a:lnTo>
                      <a:pt x="1227" y="1063"/>
                    </a:lnTo>
                    <a:lnTo>
                      <a:pt x="1225" y="1063"/>
                    </a:lnTo>
                    <a:lnTo>
                      <a:pt x="1225" y="1065"/>
                    </a:lnTo>
                    <a:lnTo>
                      <a:pt x="1225" y="1066"/>
                    </a:lnTo>
                    <a:lnTo>
                      <a:pt x="1224" y="1066"/>
                    </a:lnTo>
                    <a:lnTo>
                      <a:pt x="1222" y="1066"/>
                    </a:lnTo>
                    <a:lnTo>
                      <a:pt x="1222" y="1065"/>
                    </a:lnTo>
                    <a:lnTo>
                      <a:pt x="1222" y="1066"/>
                    </a:lnTo>
                    <a:lnTo>
                      <a:pt x="1220" y="1066"/>
                    </a:lnTo>
                    <a:lnTo>
                      <a:pt x="1220" y="1065"/>
                    </a:lnTo>
                    <a:lnTo>
                      <a:pt x="1222" y="1065"/>
                    </a:lnTo>
                    <a:lnTo>
                      <a:pt x="1220" y="1065"/>
                    </a:lnTo>
                    <a:lnTo>
                      <a:pt x="1220" y="1063"/>
                    </a:lnTo>
                    <a:lnTo>
                      <a:pt x="1222" y="1061"/>
                    </a:lnTo>
                    <a:lnTo>
                      <a:pt x="1222" y="1063"/>
                    </a:lnTo>
                    <a:lnTo>
                      <a:pt x="1224" y="1065"/>
                    </a:lnTo>
                    <a:lnTo>
                      <a:pt x="1224" y="1063"/>
                    </a:lnTo>
                    <a:lnTo>
                      <a:pt x="1222" y="1061"/>
                    </a:lnTo>
                    <a:lnTo>
                      <a:pt x="1224" y="1060"/>
                    </a:lnTo>
                    <a:lnTo>
                      <a:pt x="1225" y="1060"/>
                    </a:lnTo>
                    <a:lnTo>
                      <a:pt x="1225" y="1061"/>
                    </a:lnTo>
                    <a:lnTo>
                      <a:pt x="1227" y="1061"/>
                    </a:lnTo>
                    <a:lnTo>
                      <a:pt x="1227" y="1060"/>
                    </a:lnTo>
                    <a:lnTo>
                      <a:pt x="1225" y="1060"/>
                    </a:lnTo>
                    <a:lnTo>
                      <a:pt x="1225" y="1058"/>
                    </a:lnTo>
                    <a:lnTo>
                      <a:pt x="1225" y="1056"/>
                    </a:lnTo>
                    <a:lnTo>
                      <a:pt x="1227" y="1056"/>
                    </a:lnTo>
                    <a:lnTo>
                      <a:pt x="1227" y="1054"/>
                    </a:lnTo>
                    <a:lnTo>
                      <a:pt x="1229" y="1054"/>
                    </a:lnTo>
                    <a:lnTo>
                      <a:pt x="1229" y="1053"/>
                    </a:lnTo>
                    <a:lnTo>
                      <a:pt x="1229" y="1051"/>
                    </a:lnTo>
                    <a:lnTo>
                      <a:pt x="1229" y="1049"/>
                    </a:lnTo>
                    <a:lnTo>
                      <a:pt x="1230" y="1049"/>
                    </a:lnTo>
                    <a:lnTo>
                      <a:pt x="1230" y="1048"/>
                    </a:lnTo>
                    <a:lnTo>
                      <a:pt x="1230" y="1046"/>
                    </a:lnTo>
                    <a:lnTo>
                      <a:pt x="1232" y="1046"/>
                    </a:lnTo>
                    <a:lnTo>
                      <a:pt x="1232" y="1048"/>
                    </a:lnTo>
                    <a:lnTo>
                      <a:pt x="1234" y="1048"/>
                    </a:lnTo>
                    <a:lnTo>
                      <a:pt x="1236" y="1048"/>
                    </a:lnTo>
                    <a:lnTo>
                      <a:pt x="1236" y="1049"/>
                    </a:lnTo>
                    <a:lnTo>
                      <a:pt x="1237" y="1048"/>
                    </a:lnTo>
                    <a:lnTo>
                      <a:pt x="1237" y="1049"/>
                    </a:lnTo>
                    <a:lnTo>
                      <a:pt x="1239" y="1049"/>
                    </a:lnTo>
                    <a:lnTo>
                      <a:pt x="1237" y="1049"/>
                    </a:lnTo>
                    <a:lnTo>
                      <a:pt x="1237" y="1048"/>
                    </a:lnTo>
                    <a:lnTo>
                      <a:pt x="1236" y="1048"/>
                    </a:lnTo>
                    <a:lnTo>
                      <a:pt x="1236" y="1046"/>
                    </a:lnTo>
                    <a:lnTo>
                      <a:pt x="1236" y="1044"/>
                    </a:lnTo>
                    <a:lnTo>
                      <a:pt x="1236" y="1043"/>
                    </a:lnTo>
                    <a:lnTo>
                      <a:pt x="1237" y="1043"/>
                    </a:lnTo>
                    <a:lnTo>
                      <a:pt x="1236" y="1043"/>
                    </a:lnTo>
                    <a:lnTo>
                      <a:pt x="1236" y="1041"/>
                    </a:lnTo>
                    <a:lnTo>
                      <a:pt x="1236" y="1043"/>
                    </a:lnTo>
                    <a:lnTo>
                      <a:pt x="1236" y="1044"/>
                    </a:lnTo>
                    <a:lnTo>
                      <a:pt x="1236" y="1046"/>
                    </a:lnTo>
                    <a:lnTo>
                      <a:pt x="1234" y="1046"/>
                    </a:lnTo>
                    <a:lnTo>
                      <a:pt x="1232" y="1046"/>
                    </a:lnTo>
                    <a:lnTo>
                      <a:pt x="1232" y="1048"/>
                    </a:lnTo>
                    <a:lnTo>
                      <a:pt x="1232" y="1046"/>
                    </a:lnTo>
                    <a:lnTo>
                      <a:pt x="1230" y="1046"/>
                    </a:lnTo>
                    <a:lnTo>
                      <a:pt x="1230" y="1044"/>
                    </a:lnTo>
                    <a:lnTo>
                      <a:pt x="1229" y="1044"/>
                    </a:lnTo>
                    <a:lnTo>
                      <a:pt x="1229" y="1043"/>
                    </a:lnTo>
                    <a:lnTo>
                      <a:pt x="1230" y="1043"/>
                    </a:lnTo>
                    <a:lnTo>
                      <a:pt x="1232" y="1041"/>
                    </a:lnTo>
                    <a:lnTo>
                      <a:pt x="1232" y="1039"/>
                    </a:lnTo>
                    <a:lnTo>
                      <a:pt x="1234" y="1039"/>
                    </a:lnTo>
                    <a:lnTo>
                      <a:pt x="1234" y="1037"/>
                    </a:lnTo>
                    <a:lnTo>
                      <a:pt x="1232" y="1039"/>
                    </a:lnTo>
                    <a:lnTo>
                      <a:pt x="1232" y="1037"/>
                    </a:lnTo>
                    <a:lnTo>
                      <a:pt x="1232" y="1039"/>
                    </a:lnTo>
                    <a:lnTo>
                      <a:pt x="1230" y="1037"/>
                    </a:lnTo>
                    <a:lnTo>
                      <a:pt x="1229" y="1037"/>
                    </a:lnTo>
                    <a:lnTo>
                      <a:pt x="1229" y="1036"/>
                    </a:lnTo>
                    <a:lnTo>
                      <a:pt x="1229" y="1034"/>
                    </a:lnTo>
                    <a:lnTo>
                      <a:pt x="1227" y="1032"/>
                    </a:lnTo>
                    <a:lnTo>
                      <a:pt x="1227" y="1031"/>
                    </a:lnTo>
                    <a:lnTo>
                      <a:pt x="1229" y="1029"/>
                    </a:lnTo>
                    <a:lnTo>
                      <a:pt x="1229" y="1027"/>
                    </a:lnTo>
                    <a:lnTo>
                      <a:pt x="1227" y="1027"/>
                    </a:lnTo>
                    <a:lnTo>
                      <a:pt x="1227" y="1026"/>
                    </a:lnTo>
                    <a:lnTo>
                      <a:pt x="1229" y="1026"/>
                    </a:lnTo>
                    <a:lnTo>
                      <a:pt x="1229" y="1024"/>
                    </a:lnTo>
                    <a:lnTo>
                      <a:pt x="1230" y="1024"/>
                    </a:lnTo>
                    <a:lnTo>
                      <a:pt x="1230" y="1022"/>
                    </a:lnTo>
                    <a:lnTo>
                      <a:pt x="1232" y="1022"/>
                    </a:lnTo>
                    <a:lnTo>
                      <a:pt x="1234" y="1022"/>
                    </a:lnTo>
                    <a:lnTo>
                      <a:pt x="1234" y="1020"/>
                    </a:lnTo>
                    <a:lnTo>
                      <a:pt x="1234" y="1019"/>
                    </a:lnTo>
                    <a:lnTo>
                      <a:pt x="1234" y="1017"/>
                    </a:lnTo>
                    <a:lnTo>
                      <a:pt x="1232" y="1017"/>
                    </a:lnTo>
                    <a:lnTo>
                      <a:pt x="1232" y="1015"/>
                    </a:lnTo>
                    <a:lnTo>
                      <a:pt x="1234" y="1015"/>
                    </a:lnTo>
                    <a:lnTo>
                      <a:pt x="1234" y="1014"/>
                    </a:lnTo>
                    <a:lnTo>
                      <a:pt x="1234" y="1012"/>
                    </a:lnTo>
                    <a:lnTo>
                      <a:pt x="1236" y="1012"/>
                    </a:lnTo>
                    <a:lnTo>
                      <a:pt x="1237" y="1012"/>
                    </a:lnTo>
                    <a:lnTo>
                      <a:pt x="1237" y="1014"/>
                    </a:lnTo>
                    <a:lnTo>
                      <a:pt x="1239" y="1014"/>
                    </a:lnTo>
                    <a:lnTo>
                      <a:pt x="1239" y="1012"/>
                    </a:lnTo>
                    <a:lnTo>
                      <a:pt x="1239" y="1010"/>
                    </a:lnTo>
                    <a:lnTo>
                      <a:pt x="1237" y="1010"/>
                    </a:lnTo>
                    <a:lnTo>
                      <a:pt x="1239" y="1010"/>
                    </a:lnTo>
                    <a:lnTo>
                      <a:pt x="1237" y="1010"/>
                    </a:lnTo>
                    <a:lnTo>
                      <a:pt x="1237" y="1009"/>
                    </a:lnTo>
                    <a:lnTo>
                      <a:pt x="1236" y="1009"/>
                    </a:lnTo>
                    <a:lnTo>
                      <a:pt x="1237" y="1007"/>
                    </a:lnTo>
                    <a:lnTo>
                      <a:pt x="1237" y="1009"/>
                    </a:lnTo>
                    <a:lnTo>
                      <a:pt x="1239" y="1009"/>
                    </a:lnTo>
                    <a:lnTo>
                      <a:pt x="1239" y="1007"/>
                    </a:lnTo>
                    <a:lnTo>
                      <a:pt x="1239" y="1005"/>
                    </a:lnTo>
                    <a:lnTo>
                      <a:pt x="1237" y="1005"/>
                    </a:lnTo>
                    <a:lnTo>
                      <a:pt x="1237" y="1003"/>
                    </a:lnTo>
                    <a:lnTo>
                      <a:pt x="1236" y="1003"/>
                    </a:lnTo>
                    <a:lnTo>
                      <a:pt x="1236" y="1002"/>
                    </a:lnTo>
                    <a:lnTo>
                      <a:pt x="1236" y="1000"/>
                    </a:lnTo>
                    <a:lnTo>
                      <a:pt x="1236" y="998"/>
                    </a:lnTo>
                    <a:lnTo>
                      <a:pt x="1236" y="997"/>
                    </a:lnTo>
                    <a:lnTo>
                      <a:pt x="1237" y="997"/>
                    </a:lnTo>
                    <a:lnTo>
                      <a:pt x="1237" y="995"/>
                    </a:lnTo>
                    <a:lnTo>
                      <a:pt x="1236" y="995"/>
                    </a:lnTo>
                    <a:lnTo>
                      <a:pt x="1236" y="993"/>
                    </a:lnTo>
                    <a:lnTo>
                      <a:pt x="1236" y="992"/>
                    </a:lnTo>
                    <a:lnTo>
                      <a:pt x="1236" y="990"/>
                    </a:lnTo>
                    <a:lnTo>
                      <a:pt x="1236" y="988"/>
                    </a:lnTo>
                    <a:lnTo>
                      <a:pt x="1237" y="988"/>
                    </a:lnTo>
                    <a:lnTo>
                      <a:pt x="1239" y="988"/>
                    </a:lnTo>
                    <a:lnTo>
                      <a:pt x="1241" y="988"/>
                    </a:lnTo>
                    <a:lnTo>
                      <a:pt x="1242" y="990"/>
                    </a:lnTo>
                    <a:lnTo>
                      <a:pt x="1244" y="990"/>
                    </a:lnTo>
                    <a:lnTo>
                      <a:pt x="1244" y="992"/>
                    </a:lnTo>
                    <a:lnTo>
                      <a:pt x="1246" y="992"/>
                    </a:lnTo>
                    <a:lnTo>
                      <a:pt x="1247" y="992"/>
                    </a:lnTo>
                    <a:lnTo>
                      <a:pt x="1247" y="990"/>
                    </a:lnTo>
                    <a:lnTo>
                      <a:pt x="1246" y="992"/>
                    </a:lnTo>
                    <a:lnTo>
                      <a:pt x="1246" y="990"/>
                    </a:lnTo>
                    <a:lnTo>
                      <a:pt x="1244" y="990"/>
                    </a:lnTo>
                    <a:lnTo>
                      <a:pt x="1244" y="988"/>
                    </a:lnTo>
                    <a:lnTo>
                      <a:pt x="1242" y="988"/>
                    </a:lnTo>
                    <a:lnTo>
                      <a:pt x="1242" y="986"/>
                    </a:lnTo>
                    <a:lnTo>
                      <a:pt x="1241" y="986"/>
                    </a:lnTo>
                    <a:lnTo>
                      <a:pt x="1241" y="985"/>
                    </a:lnTo>
                    <a:lnTo>
                      <a:pt x="1241" y="983"/>
                    </a:lnTo>
                    <a:lnTo>
                      <a:pt x="1239" y="983"/>
                    </a:lnTo>
                    <a:lnTo>
                      <a:pt x="1237" y="981"/>
                    </a:lnTo>
                    <a:lnTo>
                      <a:pt x="1237" y="980"/>
                    </a:lnTo>
                    <a:lnTo>
                      <a:pt x="1237" y="978"/>
                    </a:lnTo>
                    <a:lnTo>
                      <a:pt x="1237" y="980"/>
                    </a:lnTo>
                    <a:lnTo>
                      <a:pt x="1236" y="980"/>
                    </a:lnTo>
                    <a:lnTo>
                      <a:pt x="1236" y="978"/>
                    </a:lnTo>
                    <a:lnTo>
                      <a:pt x="1237" y="978"/>
                    </a:lnTo>
                    <a:lnTo>
                      <a:pt x="1237" y="976"/>
                    </a:lnTo>
                    <a:lnTo>
                      <a:pt x="1239" y="976"/>
                    </a:lnTo>
                    <a:lnTo>
                      <a:pt x="1239" y="975"/>
                    </a:lnTo>
                    <a:lnTo>
                      <a:pt x="1241" y="975"/>
                    </a:lnTo>
                    <a:lnTo>
                      <a:pt x="1242" y="975"/>
                    </a:lnTo>
                    <a:lnTo>
                      <a:pt x="1244" y="975"/>
                    </a:lnTo>
                    <a:lnTo>
                      <a:pt x="1244" y="973"/>
                    </a:lnTo>
                    <a:lnTo>
                      <a:pt x="1244" y="975"/>
                    </a:lnTo>
                    <a:lnTo>
                      <a:pt x="1246" y="975"/>
                    </a:lnTo>
                    <a:lnTo>
                      <a:pt x="1246" y="976"/>
                    </a:lnTo>
                    <a:lnTo>
                      <a:pt x="1246" y="978"/>
                    </a:lnTo>
                    <a:lnTo>
                      <a:pt x="1246" y="980"/>
                    </a:lnTo>
                    <a:lnTo>
                      <a:pt x="1247" y="981"/>
                    </a:lnTo>
                    <a:lnTo>
                      <a:pt x="1247" y="983"/>
                    </a:lnTo>
                    <a:lnTo>
                      <a:pt x="1249" y="983"/>
                    </a:lnTo>
                    <a:lnTo>
                      <a:pt x="1249" y="985"/>
                    </a:lnTo>
                    <a:lnTo>
                      <a:pt x="1249" y="986"/>
                    </a:lnTo>
                    <a:lnTo>
                      <a:pt x="1249" y="988"/>
                    </a:lnTo>
                    <a:lnTo>
                      <a:pt x="1249" y="986"/>
                    </a:lnTo>
                    <a:lnTo>
                      <a:pt x="1251" y="986"/>
                    </a:lnTo>
                    <a:lnTo>
                      <a:pt x="1249" y="986"/>
                    </a:lnTo>
                    <a:lnTo>
                      <a:pt x="1249" y="985"/>
                    </a:lnTo>
                    <a:lnTo>
                      <a:pt x="1249" y="983"/>
                    </a:lnTo>
                    <a:lnTo>
                      <a:pt x="1249" y="981"/>
                    </a:lnTo>
                    <a:lnTo>
                      <a:pt x="1249" y="980"/>
                    </a:lnTo>
                    <a:lnTo>
                      <a:pt x="1247" y="980"/>
                    </a:lnTo>
                    <a:lnTo>
                      <a:pt x="1247" y="978"/>
                    </a:lnTo>
                    <a:lnTo>
                      <a:pt x="1249" y="976"/>
                    </a:lnTo>
                    <a:lnTo>
                      <a:pt x="1251" y="976"/>
                    </a:lnTo>
                    <a:lnTo>
                      <a:pt x="1249" y="976"/>
                    </a:lnTo>
                    <a:lnTo>
                      <a:pt x="1249" y="975"/>
                    </a:lnTo>
                    <a:lnTo>
                      <a:pt x="1247" y="975"/>
                    </a:lnTo>
                    <a:lnTo>
                      <a:pt x="1249" y="973"/>
                    </a:lnTo>
                    <a:lnTo>
                      <a:pt x="1251" y="973"/>
                    </a:lnTo>
                    <a:lnTo>
                      <a:pt x="1253" y="973"/>
                    </a:lnTo>
                    <a:lnTo>
                      <a:pt x="1251" y="973"/>
                    </a:lnTo>
                    <a:lnTo>
                      <a:pt x="1251" y="971"/>
                    </a:lnTo>
                    <a:lnTo>
                      <a:pt x="1251" y="973"/>
                    </a:lnTo>
                    <a:lnTo>
                      <a:pt x="1249" y="973"/>
                    </a:lnTo>
                    <a:lnTo>
                      <a:pt x="1247" y="971"/>
                    </a:lnTo>
                    <a:lnTo>
                      <a:pt x="1247" y="969"/>
                    </a:lnTo>
                    <a:lnTo>
                      <a:pt x="1249" y="969"/>
                    </a:lnTo>
                    <a:lnTo>
                      <a:pt x="1247" y="968"/>
                    </a:lnTo>
                    <a:lnTo>
                      <a:pt x="1249" y="968"/>
                    </a:lnTo>
                    <a:lnTo>
                      <a:pt x="1249" y="966"/>
                    </a:lnTo>
                    <a:lnTo>
                      <a:pt x="1249" y="964"/>
                    </a:lnTo>
                    <a:lnTo>
                      <a:pt x="1247" y="963"/>
                    </a:lnTo>
                    <a:lnTo>
                      <a:pt x="1246" y="964"/>
                    </a:lnTo>
                    <a:lnTo>
                      <a:pt x="1246" y="966"/>
                    </a:lnTo>
                    <a:lnTo>
                      <a:pt x="1244" y="966"/>
                    </a:lnTo>
                    <a:lnTo>
                      <a:pt x="1244" y="964"/>
                    </a:lnTo>
                    <a:lnTo>
                      <a:pt x="1244" y="966"/>
                    </a:lnTo>
                    <a:lnTo>
                      <a:pt x="1242" y="966"/>
                    </a:lnTo>
                    <a:lnTo>
                      <a:pt x="1242" y="964"/>
                    </a:lnTo>
                    <a:lnTo>
                      <a:pt x="1241" y="964"/>
                    </a:lnTo>
                    <a:lnTo>
                      <a:pt x="1241" y="966"/>
                    </a:lnTo>
                    <a:lnTo>
                      <a:pt x="1239" y="964"/>
                    </a:lnTo>
                    <a:lnTo>
                      <a:pt x="1237" y="964"/>
                    </a:lnTo>
                    <a:lnTo>
                      <a:pt x="1236" y="963"/>
                    </a:lnTo>
                    <a:lnTo>
                      <a:pt x="1237" y="963"/>
                    </a:lnTo>
                    <a:lnTo>
                      <a:pt x="1236" y="961"/>
                    </a:lnTo>
                    <a:lnTo>
                      <a:pt x="1234" y="961"/>
                    </a:lnTo>
                    <a:lnTo>
                      <a:pt x="1236" y="961"/>
                    </a:lnTo>
                    <a:lnTo>
                      <a:pt x="1236" y="959"/>
                    </a:lnTo>
                    <a:lnTo>
                      <a:pt x="1237" y="959"/>
                    </a:lnTo>
                    <a:lnTo>
                      <a:pt x="1237" y="957"/>
                    </a:lnTo>
                    <a:lnTo>
                      <a:pt x="1237" y="956"/>
                    </a:lnTo>
                    <a:lnTo>
                      <a:pt x="1239" y="956"/>
                    </a:lnTo>
                    <a:lnTo>
                      <a:pt x="1241" y="956"/>
                    </a:lnTo>
                    <a:lnTo>
                      <a:pt x="1241" y="954"/>
                    </a:lnTo>
                    <a:lnTo>
                      <a:pt x="1242" y="952"/>
                    </a:lnTo>
                    <a:lnTo>
                      <a:pt x="1244" y="952"/>
                    </a:lnTo>
                    <a:lnTo>
                      <a:pt x="1246" y="952"/>
                    </a:lnTo>
                    <a:lnTo>
                      <a:pt x="1247" y="952"/>
                    </a:lnTo>
                    <a:lnTo>
                      <a:pt x="1249" y="952"/>
                    </a:lnTo>
                    <a:lnTo>
                      <a:pt x="1249" y="951"/>
                    </a:lnTo>
                    <a:lnTo>
                      <a:pt x="1251" y="951"/>
                    </a:lnTo>
                    <a:lnTo>
                      <a:pt x="1253" y="949"/>
                    </a:lnTo>
                    <a:lnTo>
                      <a:pt x="1253" y="947"/>
                    </a:lnTo>
                    <a:lnTo>
                      <a:pt x="1253" y="946"/>
                    </a:lnTo>
                    <a:lnTo>
                      <a:pt x="1253" y="944"/>
                    </a:lnTo>
                    <a:lnTo>
                      <a:pt x="1254" y="944"/>
                    </a:lnTo>
                    <a:lnTo>
                      <a:pt x="1254" y="942"/>
                    </a:lnTo>
                    <a:lnTo>
                      <a:pt x="1253" y="942"/>
                    </a:lnTo>
                    <a:lnTo>
                      <a:pt x="1253" y="940"/>
                    </a:lnTo>
                    <a:lnTo>
                      <a:pt x="1254" y="939"/>
                    </a:lnTo>
                    <a:lnTo>
                      <a:pt x="1254" y="937"/>
                    </a:lnTo>
                    <a:lnTo>
                      <a:pt x="1253" y="937"/>
                    </a:lnTo>
                    <a:lnTo>
                      <a:pt x="1253" y="939"/>
                    </a:lnTo>
                    <a:lnTo>
                      <a:pt x="1253" y="937"/>
                    </a:lnTo>
                    <a:lnTo>
                      <a:pt x="1254" y="939"/>
                    </a:lnTo>
                    <a:lnTo>
                      <a:pt x="1253" y="939"/>
                    </a:lnTo>
                    <a:lnTo>
                      <a:pt x="1253" y="940"/>
                    </a:lnTo>
                    <a:lnTo>
                      <a:pt x="1253" y="942"/>
                    </a:lnTo>
                    <a:lnTo>
                      <a:pt x="1253" y="944"/>
                    </a:lnTo>
                    <a:lnTo>
                      <a:pt x="1253" y="946"/>
                    </a:lnTo>
                    <a:lnTo>
                      <a:pt x="1253" y="947"/>
                    </a:lnTo>
                    <a:lnTo>
                      <a:pt x="1251" y="947"/>
                    </a:lnTo>
                    <a:lnTo>
                      <a:pt x="1251" y="949"/>
                    </a:lnTo>
                    <a:lnTo>
                      <a:pt x="1249" y="949"/>
                    </a:lnTo>
                    <a:lnTo>
                      <a:pt x="1249" y="951"/>
                    </a:lnTo>
                    <a:lnTo>
                      <a:pt x="1249" y="949"/>
                    </a:lnTo>
                    <a:lnTo>
                      <a:pt x="1247" y="951"/>
                    </a:lnTo>
                    <a:lnTo>
                      <a:pt x="1246" y="951"/>
                    </a:lnTo>
                    <a:lnTo>
                      <a:pt x="1244" y="952"/>
                    </a:lnTo>
                    <a:lnTo>
                      <a:pt x="1244" y="951"/>
                    </a:lnTo>
                    <a:lnTo>
                      <a:pt x="1242" y="951"/>
                    </a:lnTo>
                    <a:lnTo>
                      <a:pt x="1241" y="949"/>
                    </a:lnTo>
                    <a:lnTo>
                      <a:pt x="1241" y="947"/>
                    </a:lnTo>
                    <a:lnTo>
                      <a:pt x="1241" y="946"/>
                    </a:lnTo>
                    <a:lnTo>
                      <a:pt x="1239" y="946"/>
                    </a:lnTo>
                    <a:lnTo>
                      <a:pt x="1239" y="944"/>
                    </a:lnTo>
                    <a:lnTo>
                      <a:pt x="1237" y="944"/>
                    </a:lnTo>
                    <a:lnTo>
                      <a:pt x="1237" y="942"/>
                    </a:lnTo>
                    <a:lnTo>
                      <a:pt x="1236" y="942"/>
                    </a:lnTo>
                    <a:lnTo>
                      <a:pt x="1234" y="942"/>
                    </a:lnTo>
                    <a:lnTo>
                      <a:pt x="1232" y="940"/>
                    </a:lnTo>
                    <a:lnTo>
                      <a:pt x="1230" y="942"/>
                    </a:lnTo>
                    <a:lnTo>
                      <a:pt x="1229" y="942"/>
                    </a:lnTo>
                    <a:lnTo>
                      <a:pt x="1229" y="944"/>
                    </a:lnTo>
                    <a:lnTo>
                      <a:pt x="1229" y="946"/>
                    </a:lnTo>
                    <a:lnTo>
                      <a:pt x="1227" y="946"/>
                    </a:lnTo>
                    <a:lnTo>
                      <a:pt x="1227" y="947"/>
                    </a:lnTo>
                    <a:lnTo>
                      <a:pt x="1229" y="949"/>
                    </a:lnTo>
                    <a:lnTo>
                      <a:pt x="1227" y="949"/>
                    </a:lnTo>
                    <a:lnTo>
                      <a:pt x="1229" y="951"/>
                    </a:lnTo>
                    <a:lnTo>
                      <a:pt x="1229" y="952"/>
                    </a:lnTo>
                    <a:lnTo>
                      <a:pt x="1227" y="951"/>
                    </a:lnTo>
                    <a:lnTo>
                      <a:pt x="1227" y="952"/>
                    </a:lnTo>
                    <a:lnTo>
                      <a:pt x="1225" y="954"/>
                    </a:lnTo>
                    <a:lnTo>
                      <a:pt x="1225" y="952"/>
                    </a:lnTo>
                    <a:lnTo>
                      <a:pt x="1225" y="951"/>
                    </a:lnTo>
                    <a:lnTo>
                      <a:pt x="1225" y="952"/>
                    </a:lnTo>
                    <a:lnTo>
                      <a:pt x="1224" y="952"/>
                    </a:lnTo>
                    <a:lnTo>
                      <a:pt x="1225" y="954"/>
                    </a:lnTo>
                    <a:lnTo>
                      <a:pt x="1224" y="954"/>
                    </a:lnTo>
                    <a:lnTo>
                      <a:pt x="1225" y="954"/>
                    </a:lnTo>
                    <a:lnTo>
                      <a:pt x="1225" y="956"/>
                    </a:lnTo>
                    <a:lnTo>
                      <a:pt x="1224" y="954"/>
                    </a:lnTo>
                    <a:lnTo>
                      <a:pt x="1224" y="956"/>
                    </a:lnTo>
                    <a:lnTo>
                      <a:pt x="1222" y="956"/>
                    </a:lnTo>
                    <a:lnTo>
                      <a:pt x="1222" y="954"/>
                    </a:lnTo>
                    <a:lnTo>
                      <a:pt x="1222" y="952"/>
                    </a:lnTo>
                    <a:lnTo>
                      <a:pt x="1224" y="952"/>
                    </a:lnTo>
                    <a:lnTo>
                      <a:pt x="1224" y="954"/>
                    </a:lnTo>
                    <a:lnTo>
                      <a:pt x="1224" y="952"/>
                    </a:lnTo>
                    <a:lnTo>
                      <a:pt x="1222" y="952"/>
                    </a:lnTo>
                    <a:lnTo>
                      <a:pt x="1222" y="954"/>
                    </a:lnTo>
                    <a:lnTo>
                      <a:pt x="1222" y="956"/>
                    </a:lnTo>
                    <a:lnTo>
                      <a:pt x="1220" y="954"/>
                    </a:lnTo>
                    <a:lnTo>
                      <a:pt x="1219" y="954"/>
                    </a:lnTo>
                    <a:lnTo>
                      <a:pt x="1217" y="954"/>
                    </a:lnTo>
                    <a:lnTo>
                      <a:pt x="1219" y="956"/>
                    </a:lnTo>
                    <a:lnTo>
                      <a:pt x="1217" y="956"/>
                    </a:lnTo>
                    <a:lnTo>
                      <a:pt x="1215" y="954"/>
                    </a:lnTo>
                    <a:lnTo>
                      <a:pt x="1215" y="956"/>
                    </a:lnTo>
                    <a:lnTo>
                      <a:pt x="1213" y="956"/>
                    </a:lnTo>
                    <a:lnTo>
                      <a:pt x="1212" y="954"/>
                    </a:lnTo>
                    <a:lnTo>
                      <a:pt x="1210" y="954"/>
                    </a:lnTo>
                    <a:lnTo>
                      <a:pt x="1208" y="954"/>
                    </a:lnTo>
                    <a:lnTo>
                      <a:pt x="1207" y="954"/>
                    </a:lnTo>
                    <a:lnTo>
                      <a:pt x="1207" y="952"/>
                    </a:lnTo>
                    <a:lnTo>
                      <a:pt x="1207" y="954"/>
                    </a:lnTo>
                    <a:lnTo>
                      <a:pt x="1205" y="952"/>
                    </a:lnTo>
                    <a:lnTo>
                      <a:pt x="1207" y="952"/>
                    </a:lnTo>
                    <a:lnTo>
                      <a:pt x="1207" y="951"/>
                    </a:lnTo>
                    <a:lnTo>
                      <a:pt x="1207" y="949"/>
                    </a:lnTo>
                    <a:lnTo>
                      <a:pt x="1207" y="947"/>
                    </a:lnTo>
                    <a:lnTo>
                      <a:pt x="1207" y="949"/>
                    </a:lnTo>
                    <a:lnTo>
                      <a:pt x="1208" y="949"/>
                    </a:lnTo>
                    <a:lnTo>
                      <a:pt x="1207" y="949"/>
                    </a:lnTo>
                    <a:lnTo>
                      <a:pt x="1207" y="951"/>
                    </a:lnTo>
                    <a:lnTo>
                      <a:pt x="1208" y="949"/>
                    </a:lnTo>
                    <a:lnTo>
                      <a:pt x="1207" y="949"/>
                    </a:lnTo>
                    <a:lnTo>
                      <a:pt x="1208" y="947"/>
                    </a:lnTo>
                    <a:lnTo>
                      <a:pt x="1210" y="947"/>
                    </a:lnTo>
                    <a:lnTo>
                      <a:pt x="1210" y="949"/>
                    </a:lnTo>
                    <a:lnTo>
                      <a:pt x="1212" y="949"/>
                    </a:lnTo>
                    <a:lnTo>
                      <a:pt x="1210" y="947"/>
                    </a:lnTo>
                    <a:lnTo>
                      <a:pt x="1212" y="947"/>
                    </a:lnTo>
                    <a:lnTo>
                      <a:pt x="1210" y="947"/>
                    </a:lnTo>
                    <a:lnTo>
                      <a:pt x="1212" y="947"/>
                    </a:lnTo>
                    <a:lnTo>
                      <a:pt x="1213" y="947"/>
                    </a:lnTo>
                    <a:lnTo>
                      <a:pt x="1212" y="947"/>
                    </a:lnTo>
                    <a:lnTo>
                      <a:pt x="1213" y="946"/>
                    </a:lnTo>
                    <a:lnTo>
                      <a:pt x="1213" y="944"/>
                    </a:lnTo>
                    <a:lnTo>
                      <a:pt x="1215" y="942"/>
                    </a:lnTo>
                    <a:lnTo>
                      <a:pt x="1217" y="942"/>
                    </a:lnTo>
                    <a:lnTo>
                      <a:pt x="1219" y="942"/>
                    </a:lnTo>
                    <a:lnTo>
                      <a:pt x="1217" y="942"/>
                    </a:lnTo>
                    <a:lnTo>
                      <a:pt x="1215" y="942"/>
                    </a:lnTo>
                    <a:lnTo>
                      <a:pt x="1213" y="942"/>
                    </a:lnTo>
                    <a:lnTo>
                      <a:pt x="1213" y="944"/>
                    </a:lnTo>
                    <a:lnTo>
                      <a:pt x="1212" y="946"/>
                    </a:lnTo>
                    <a:lnTo>
                      <a:pt x="1210" y="946"/>
                    </a:lnTo>
                    <a:lnTo>
                      <a:pt x="1210" y="947"/>
                    </a:lnTo>
                    <a:lnTo>
                      <a:pt x="1208" y="946"/>
                    </a:lnTo>
                    <a:lnTo>
                      <a:pt x="1208" y="944"/>
                    </a:lnTo>
                    <a:lnTo>
                      <a:pt x="1210" y="944"/>
                    </a:lnTo>
                    <a:lnTo>
                      <a:pt x="1208" y="944"/>
                    </a:lnTo>
                    <a:lnTo>
                      <a:pt x="1207" y="942"/>
                    </a:lnTo>
                    <a:lnTo>
                      <a:pt x="1207" y="944"/>
                    </a:lnTo>
                    <a:lnTo>
                      <a:pt x="1207" y="946"/>
                    </a:lnTo>
                    <a:lnTo>
                      <a:pt x="1208" y="946"/>
                    </a:lnTo>
                    <a:lnTo>
                      <a:pt x="1207" y="947"/>
                    </a:lnTo>
                    <a:lnTo>
                      <a:pt x="1207" y="946"/>
                    </a:lnTo>
                    <a:lnTo>
                      <a:pt x="1205" y="946"/>
                    </a:lnTo>
                    <a:lnTo>
                      <a:pt x="1205" y="944"/>
                    </a:lnTo>
                    <a:lnTo>
                      <a:pt x="1203" y="944"/>
                    </a:lnTo>
                    <a:lnTo>
                      <a:pt x="1203" y="946"/>
                    </a:lnTo>
                    <a:lnTo>
                      <a:pt x="1203" y="944"/>
                    </a:lnTo>
                    <a:lnTo>
                      <a:pt x="1203" y="942"/>
                    </a:lnTo>
                    <a:lnTo>
                      <a:pt x="1202" y="942"/>
                    </a:lnTo>
                    <a:lnTo>
                      <a:pt x="1202" y="940"/>
                    </a:lnTo>
                    <a:lnTo>
                      <a:pt x="1202" y="939"/>
                    </a:lnTo>
                    <a:lnTo>
                      <a:pt x="1202" y="937"/>
                    </a:lnTo>
                    <a:lnTo>
                      <a:pt x="1202" y="935"/>
                    </a:lnTo>
                    <a:lnTo>
                      <a:pt x="1202" y="934"/>
                    </a:lnTo>
                    <a:lnTo>
                      <a:pt x="1202" y="932"/>
                    </a:lnTo>
                    <a:lnTo>
                      <a:pt x="1202" y="930"/>
                    </a:lnTo>
                    <a:lnTo>
                      <a:pt x="1200" y="930"/>
                    </a:lnTo>
                    <a:lnTo>
                      <a:pt x="1200" y="929"/>
                    </a:lnTo>
                    <a:lnTo>
                      <a:pt x="1200" y="927"/>
                    </a:lnTo>
                    <a:lnTo>
                      <a:pt x="1198" y="925"/>
                    </a:lnTo>
                    <a:lnTo>
                      <a:pt x="1200" y="925"/>
                    </a:lnTo>
                    <a:lnTo>
                      <a:pt x="1198" y="925"/>
                    </a:lnTo>
                    <a:lnTo>
                      <a:pt x="1198" y="923"/>
                    </a:lnTo>
                    <a:lnTo>
                      <a:pt x="1198" y="922"/>
                    </a:lnTo>
                    <a:lnTo>
                      <a:pt x="1198" y="920"/>
                    </a:lnTo>
                    <a:lnTo>
                      <a:pt x="1198" y="918"/>
                    </a:lnTo>
                    <a:lnTo>
                      <a:pt x="1200" y="917"/>
                    </a:lnTo>
                    <a:lnTo>
                      <a:pt x="1202" y="917"/>
                    </a:lnTo>
                    <a:lnTo>
                      <a:pt x="1202" y="915"/>
                    </a:lnTo>
                    <a:lnTo>
                      <a:pt x="1200" y="915"/>
                    </a:lnTo>
                    <a:lnTo>
                      <a:pt x="1200" y="913"/>
                    </a:lnTo>
                    <a:lnTo>
                      <a:pt x="1200" y="912"/>
                    </a:lnTo>
                    <a:lnTo>
                      <a:pt x="1202" y="912"/>
                    </a:lnTo>
                    <a:lnTo>
                      <a:pt x="1200" y="912"/>
                    </a:lnTo>
                    <a:lnTo>
                      <a:pt x="1202" y="910"/>
                    </a:lnTo>
                    <a:lnTo>
                      <a:pt x="1202" y="908"/>
                    </a:lnTo>
                    <a:lnTo>
                      <a:pt x="1202" y="906"/>
                    </a:lnTo>
                    <a:lnTo>
                      <a:pt x="1203" y="906"/>
                    </a:lnTo>
                    <a:lnTo>
                      <a:pt x="1202" y="905"/>
                    </a:lnTo>
                    <a:lnTo>
                      <a:pt x="1203" y="905"/>
                    </a:lnTo>
                    <a:lnTo>
                      <a:pt x="1203" y="903"/>
                    </a:lnTo>
                    <a:lnTo>
                      <a:pt x="1205" y="903"/>
                    </a:lnTo>
                    <a:lnTo>
                      <a:pt x="1205" y="901"/>
                    </a:lnTo>
                    <a:lnTo>
                      <a:pt x="1205" y="900"/>
                    </a:lnTo>
                    <a:lnTo>
                      <a:pt x="1207" y="898"/>
                    </a:lnTo>
                    <a:lnTo>
                      <a:pt x="1205" y="898"/>
                    </a:lnTo>
                    <a:lnTo>
                      <a:pt x="1205" y="896"/>
                    </a:lnTo>
                    <a:lnTo>
                      <a:pt x="1203" y="896"/>
                    </a:lnTo>
                    <a:lnTo>
                      <a:pt x="1203" y="895"/>
                    </a:lnTo>
                    <a:lnTo>
                      <a:pt x="1205" y="895"/>
                    </a:lnTo>
                    <a:lnTo>
                      <a:pt x="1205" y="893"/>
                    </a:lnTo>
                    <a:lnTo>
                      <a:pt x="1205" y="891"/>
                    </a:lnTo>
                    <a:lnTo>
                      <a:pt x="1205" y="889"/>
                    </a:lnTo>
                    <a:lnTo>
                      <a:pt x="1205" y="888"/>
                    </a:lnTo>
                    <a:lnTo>
                      <a:pt x="1205" y="886"/>
                    </a:lnTo>
                    <a:lnTo>
                      <a:pt x="1207" y="886"/>
                    </a:lnTo>
                    <a:lnTo>
                      <a:pt x="1205" y="886"/>
                    </a:lnTo>
                    <a:lnTo>
                      <a:pt x="1207" y="884"/>
                    </a:lnTo>
                    <a:lnTo>
                      <a:pt x="1205" y="884"/>
                    </a:lnTo>
                    <a:lnTo>
                      <a:pt x="1207" y="884"/>
                    </a:lnTo>
                    <a:lnTo>
                      <a:pt x="1207" y="883"/>
                    </a:lnTo>
                    <a:lnTo>
                      <a:pt x="1208" y="883"/>
                    </a:lnTo>
                    <a:lnTo>
                      <a:pt x="1208" y="881"/>
                    </a:lnTo>
                    <a:lnTo>
                      <a:pt x="1208" y="879"/>
                    </a:lnTo>
                    <a:lnTo>
                      <a:pt x="1208" y="878"/>
                    </a:lnTo>
                    <a:lnTo>
                      <a:pt x="1207" y="878"/>
                    </a:lnTo>
                    <a:lnTo>
                      <a:pt x="1207" y="876"/>
                    </a:lnTo>
                    <a:lnTo>
                      <a:pt x="1207" y="874"/>
                    </a:lnTo>
                    <a:lnTo>
                      <a:pt x="1208" y="872"/>
                    </a:lnTo>
                    <a:lnTo>
                      <a:pt x="1210" y="872"/>
                    </a:lnTo>
                    <a:lnTo>
                      <a:pt x="1212" y="872"/>
                    </a:lnTo>
                    <a:lnTo>
                      <a:pt x="1212" y="871"/>
                    </a:lnTo>
                    <a:lnTo>
                      <a:pt x="1213" y="871"/>
                    </a:lnTo>
                    <a:lnTo>
                      <a:pt x="1213" y="869"/>
                    </a:lnTo>
                    <a:lnTo>
                      <a:pt x="1215" y="869"/>
                    </a:lnTo>
                    <a:lnTo>
                      <a:pt x="1215" y="871"/>
                    </a:lnTo>
                    <a:lnTo>
                      <a:pt x="1217" y="871"/>
                    </a:lnTo>
                    <a:lnTo>
                      <a:pt x="1217" y="872"/>
                    </a:lnTo>
                    <a:lnTo>
                      <a:pt x="1217" y="871"/>
                    </a:lnTo>
                    <a:lnTo>
                      <a:pt x="1217" y="872"/>
                    </a:lnTo>
                    <a:lnTo>
                      <a:pt x="1217" y="871"/>
                    </a:lnTo>
                    <a:lnTo>
                      <a:pt x="1219" y="871"/>
                    </a:lnTo>
                    <a:lnTo>
                      <a:pt x="1217" y="871"/>
                    </a:lnTo>
                    <a:lnTo>
                      <a:pt x="1217" y="869"/>
                    </a:lnTo>
                    <a:lnTo>
                      <a:pt x="1219" y="869"/>
                    </a:lnTo>
                    <a:lnTo>
                      <a:pt x="1220" y="869"/>
                    </a:lnTo>
                    <a:lnTo>
                      <a:pt x="1222" y="869"/>
                    </a:lnTo>
                    <a:lnTo>
                      <a:pt x="1220" y="867"/>
                    </a:lnTo>
                    <a:lnTo>
                      <a:pt x="1220" y="869"/>
                    </a:lnTo>
                    <a:lnTo>
                      <a:pt x="1219" y="869"/>
                    </a:lnTo>
                    <a:lnTo>
                      <a:pt x="1217" y="869"/>
                    </a:lnTo>
                    <a:lnTo>
                      <a:pt x="1217" y="867"/>
                    </a:lnTo>
                    <a:lnTo>
                      <a:pt x="1217" y="866"/>
                    </a:lnTo>
                    <a:lnTo>
                      <a:pt x="1217" y="864"/>
                    </a:lnTo>
                    <a:lnTo>
                      <a:pt x="1217" y="862"/>
                    </a:lnTo>
                    <a:lnTo>
                      <a:pt x="1217" y="861"/>
                    </a:lnTo>
                    <a:lnTo>
                      <a:pt x="1219" y="861"/>
                    </a:lnTo>
                    <a:lnTo>
                      <a:pt x="1219" y="859"/>
                    </a:lnTo>
                    <a:lnTo>
                      <a:pt x="1220" y="859"/>
                    </a:lnTo>
                    <a:lnTo>
                      <a:pt x="1220" y="857"/>
                    </a:lnTo>
                    <a:lnTo>
                      <a:pt x="1220" y="855"/>
                    </a:lnTo>
                    <a:lnTo>
                      <a:pt x="1222" y="855"/>
                    </a:lnTo>
                    <a:lnTo>
                      <a:pt x="1222" y="854"/>
                    </a:lnTo>
                    <a:lnTo>
                      <a:pt x="1222" y="852"/>
                    </a:lnTo>
                    <a:lnTo>
                      <a:pt x="1220" y="852"/>
                    </a:lnTo>
                    <a:lnTo>
                      <a:pt x="1220" y="850"/>
                    </a:lnTo>
                    <a:lnTo>
                      <a:pt x="1222" y="850"/>
                    </a:lnTo>
                    <a:lnTo>
                      <a:pt x="1224" y="850"/>
                    </a:lnTo>
                    <a:lnTo>
                      <a:pt x="1222" y="850"/>
                    </a:lnTo>
                    <a:lnTo>
                      <a:pt x="1222" y="849"/>
                    </a:lnTo>
                    <a:lnTo>
                      <a:pt x="1224" y="849"/>
                    </a:lnTo>
                    <a:lnTo>
                      <a:pt x="1222" y="849"/>
                    </a:lnTo>
                    <a:lnTo>
                      <a:pt x="1224" y="849"/>
                    </a:lnTo>
                    <a:lnTo>
                      <a:pt x="1224" y="847"/>
                    </a:lnTo>
                    <a:lnTo>
                      <a:pt x="1222" y="845"/>
                    </a:lnTo>
                    <a:lnTo>
                      <a:pt x="1222" y="844"/>
                    </a:lnTo>
                    <a:lnTo>
                      <a:pt x="1222" y="842"/>
                    </a:lnTo>
                    <a:lnTo>
                      <a:pt x="1222" y="840"/>
                    </a:lnTo>
                    <a:lnTo>
                      <a:pt x="1222" y="838"/>
                    </a:lnTo>
                    <a:lnTo>
                      <a:pt x="1220" y="838"/>
                    </a:lnTo>
                    <a:lnTo>
                      <a:pt x="1220" y="837"/>
                    </a:lnTo>
                    <a:lnTo>
                      <a:pt x="1220" y="835"/>
                    </a:lnTo>
                    <a:lnTo>
                      <a:pt x="1220" y="833"/>
                    </a:lnTo>
                    <a:lnTo>
                      <a:pt x="1219" y="832"/>
                    </a:lnTo>
                    <a:lnTo>
                      <a:pt x="1219" y="830"/>
                    </a:lnTo>
                    <a:lnTo>
                      <a:pt x="1219" y="828"/>
                    </a:lnTo>
                    <a:lnTo>
                      <a:pt x="1219" y="827"/>
                    </a:lnTo>
                    <a:lnTo>
                      <a:pt x="1217" y="827"/>
                    </a:lnTo>
                    <a:lnTo>
                      <a:pt x="1217" y="825"/>
                    </a:lnTo>
                    <a:lnTo>
                      <a:pt x="1217" y="823"/>
                    </a:lnTo>
                    <a:lnTo>
                      <a:pt x="1217" y="821"/>
                    </a:lnTo>
                    <a:lnTo>
                      <a:pt x="1215" y="821"/>
                    </a:lnTo>
                    <a:lnTo>
                      <a:pt x="1217" y="820"/>
                    </a:lnTo>
                    <a:lnTo>
                      <a:pt x="1215" y="820"/>
                    </a:lnTo>
                    <a:lnTo>
                      <a:pt x="1215" y="821"/>
                    </a:lnTo>
                    <a:lnTo>
                      <a:pt x="1217" y="821"/>
                    </a:lnTo>
                    <a:lnTo>
                      <a:pt x="1215" y="821"/>
                    </a:lnTo>
                    <a:lnTo>
                      <a:pt x="1215" y="820"/>
                    </a:lnTo>
                    <a:lnTo>
                      <a:pt x="1213" y="818"/>
                    </a:lnTo>
                    <a:lnTo>
                      <a:pt x="1213" y="816"/>
                    </a:lnTo>
                    <a:lnTo>
                      <a:pt x="1213" y="815"/>
                    </a:lnTo>
                    <a:lnTo>
                      <a:pt x="1213" y="813"/>
                    </a:lnTo>
                    <a:lnTo>
                      <a:pt x="1213" y="811"/>
                    </a:lnTo>
                    <a:lnTo>
                      <a:pt x="1212" y="809"/>
                    </a:lnTo>
                    <a:lnTo>
                      <a:pt x="1213" y="809"/>
                    </a:lnTo>
                    <a:lnTo>
                      <a:pt x="1212" y="809"/>
                    </a:lnTo>
                    <a:lnTo>
                      <a:pt x="1212" y="808"/>
                    </a:lnTo>
                    <a:lnTo>
                      <a:pt x="1212" y="806"/>
                    </a:lnTo>
                    <a:lnTo>
                      <a:pt x="1212" y="804"/>
                    </a:lnTo>
                    <a:lnTo>
                      <a:pt x="1213" y="804"/>
                    </a:lnTo>
                    <a:lnTo>
                      <a:pt x="1213" y="803"/>
                    </a:lnTo>
                    <a:lnTo>
                      <a:pt x="1213" y="801"/>
                    </a:lnTo>
                    <a:lnTo>
                      <a:pt x="1213" y="799"/>
                    </a:lnTo>
                    <a:lnTo>
                      <a:pt x="1213" y="798"/>
                    </a:lnTo>
                    <a:lnTo>
                      <a:pt x="1215" y="798"/>
                    </a:lnTo>
                    <a:lnTo>
                      <a:pt x="1215" y="796"/>
                    </a:lnTo>
                    <a:lnTo>
                      <a:pt x="1215" y="794"/>
                    </a:lnTo>
                    <a:lnTo>
                      <a:pt x="1215" y="792"/>
                    </a:lnTo>
                    <a:lnTo>
                      <a:pt x="1215" y="791"/>
                    </a:lnTo>
                    <a:lnTo>
                      <a:pt x="1213" y="789"/>
                    </a:lnTo>
                    <a:lnTo>
                      <a:pt x="1213" y="787"/>
                    </a:lnTo>
                    <a:lnTo>
                      <a:pt x="1213" y="786"/>
                    </a:lnTo>
                    <a:lnTo>
                      <a:pt x="1212" y="784"/>
                    </a:lnTo>
                    <a:lnTo>
                      <a:pt x="1212" y="782"/>
                    </a:lnTo>
                    <a:lnTo>
                      <a:pt x="1210" y="781"/>
                    </a:lnTo>
                    <a:lnTo>
                      <a:pt x="1210" y="779"/>
                    </a:lnTo>
                    <a:lnTo>
                      <a:pt x="1208" y="779"/>
                    </a:lnTo>
                    <a:lnTo>
                      <a:pt x="1208" y="777"/>
                    </a:lnTo>
                    <a:lnTo>
                      <a:pt x="1207" y="775"/>
                    </a:lnTo>
                    <a:lnTo>
                      <a:pt x="1208" y="775"/>
                    </a:lnTo>
                    <a:lnTo>
                      <a:pt x="1208" y="774"/>
                    </a:lnTo>
                    <a:lnTo>
                      <a:pt x="1207" y="774"/>
                    </a:lnTo>
                    <a:lnTo>
                      <a:pt x="1207" y="772"/>
                    </a:lnTo>
                    <a:lnTo>
                      <a:pt x="1207" y="770"/>
                    </a:lnTo>
                    <a:lnTo>
                      <a:pt x="1208" y="772"/>
                    </a:lnTo>
                    <a:lnTo>
                      <a:pt x="1208" y="770"/>
                    </a:lnTo>
                    <a:lnTo>
                      <a:pt x="1208" y="769"/>
                    </a:lnTo>
                    <a:lnTo>
                      <a:pt x="1210" y="769"/>
                    </a:lnTo>
                    <a:lnTo>
                      <a:pt x="1210" y="767"/>
                    </a:lnTo>
                    <a:lnTo>
                      <a:pt x="1210" y="765"/>
                    </a:lnTo>
                    <a:lnTo>
                      <a:pt x="1210" y="764"/>
                    </a:lnTo>
                    <a:lnTo>
                      <a:pt x="1210" y="765"/>
                    </a:lnTo>
                    <a:lnTo>
                      <a:pt x="1210" y="764"/>
                    </a:lnTo>
                    <a:lnTo>
                      <a:pt x="1210" y="762"/>
                    </a:lnTo>
                    <a:lnTo>
                      <a:pt x="1208" y="762"/>
                    </a:lnTo>
                    <a:lnTo>
                      <a:pt x="1207" y="760"/>
                    </a:lnTo>
                    <a:lnTo>
                      <a:pt x="1207" y="762"/>
                    </a:lnTo>
                    <a:lnTo>
                      <a:pt x="1207" y="760"/>
                    </a:lnTo>
                    <a:lnTo>
                      <a:pt x="1208" y="758"/>
                    </a:lnTo>
                    <a:lnTo>
                      <a:pt x="1207" y="758"/>
                    </a:lnTo>
                    <a:lnTo>
                      <a:pt x="1208" y="757"/>
                    </a:lnTo>
                    <a:lnTo>
                      <a:pt x="1208" y="755"/>
                    </a:lnTo>
                    <a:lnTo>
                      <a:pt x="1208" y="753"/>
                    </a:lnTo>
                    <a:lnTo>
                      <a:pt x="1210" y="752"/>
                    </a:lnTo>
                    <a:lnTo>
                      <a:pt x="1212" y="753"/>
                    </a:lnTo>
                    <a:lnTo>
                      <a:pt x="1210" y="753"/>
                    </a:lnTo>
                    <a:lnTo>
                      <a:pt x="1212" y="755"/>
                    </a:lnTo>
                    <a:lnTo>
                      <a:pt x="1213" y="755"/>
                    </a:lnTo>
                    <a:lnTo>
                      <a:pt x="1213" y="753"/>
                    </a:lnTo>
                    <a:lnTo>
                      <a:pt x="1213" y="755"/>
                    </a:lnTo>
                    <a:lnTo>
                      <a:pt x="1215" y="755"/>
                    </a:lnTo>
                    <a:lnTo>
                      <a:pt x="1215" y="757"/>
                    </a:lnTo>
                    <a:lnTo>
                      <a:pt x="1215" y="755"/>
                    </a:lnTo>
                    <a:lnTo>
                      <a:pt x="1217" y="755"/>
                    </a:lnTo>
                    <a:lnTo>
                      <a:pt x="1219" y="755"/>
                    </a:lnTo>
                    <a:lnTo>
                      <a:pt x="1220" y="755"/>
                    </a:lnTo>
                    <a:lnTo>
                      <a:pt x="1222" y="755"/>
                    </a:lnTo>
                    <a:lnTo>
                      <a:pt x="1222" y="753"/>
                    </a:lnTo>
                    <a:lnTo>
                      <a:pt x="1224" y="753"/>
                    </a:lnTo>
                    <a:lnTo>
                      <a:pt x="1224" y="752"/>
                    </a:lnTo>
                    <a:lnTo>
                      <a:pt x="1225" y="750"/>
                    </a:lnTo>
                    <a:lnTo>
                      <a:pt x="1224" y="750"/>
                    </a:lnTo>
                    <a:lnTo>
                      <a:pt x="1224" y="748"/>
                    </a:lnTo>
                    <a:lnTo>
                      <a:pt x="1225" y="748"/>
                    </a:lnTo>
                    <a:lnTo>
                      <a:pt x="1225" y="747"/>
                    </a:lnTo>
                    <a:lnTo>
                      <a:pt x="1224" y="747"/>
                    </a:lnTo>
                    <a:lnTo>
                      <a:pt x="1224" y="745"/>
                    </a:lnTo>
                    <a:lnTo>
                      <a:pt x="1224" y="743"/>
                    </a:lnTo>
                    <a:lnTo>
                      <a:pt x="1225" y="743"/>
                    </a:lnTo>
                    <a:lnTo>
                      <a:pt x="1225" y="741"/>
                    </a:lnTo>
                    <a:lnTo>
                      <a:pt x="1225" y="740"/>
                    </a:lnTo>
                    <a:lnTo>
                      <a:pt x="1225" y="738"/>
                    </a:lnTo>
                    <a:lnTo>
                      <a:pt x="1227" y="738"/>
                    </a:lnTo>
                    <a:lnTo>
                      <a:pt x="1227" y="740"/>
                    </a:lnTo>
                    <a:lnTo>
                      <a:pt x="1229" y="738"/>
                    </a:lnTo>
                    <a:lnTo>
                      <a:pt x="1227" y="738"/>
                    </a:lnTo>
                    <a:lnTo>
                      <a:pt x="1225" y="738"/>
                    </a:lnTo>
                    <a:lnTo>
                      <a:pt x="1224" y="738"/>
                    </a:lnTo>
                    <a:lnTo>
                      <a:pt x="1224" y="736"/>
                    </a:lnTo>
                    <a:lnTo>
                      <a:pt x="1222" y="736"/>
                    </a:lnTo>
                    <a:lnTo>
                      <a:pt x="1224" y="736"/>
                    </a:lnTo>
                    <a:lnTo>
                      <a:pt x="1224" y="735"/>
                    </a:lnTo>
                    <a:lnTo>
                      <a:pt x="1224" y="736"/>
                    </a:lnTo>
                    <a:lnTo>
                      <a:pt x="1225" y="735"/>
                    </a:lnTo>
                    <a:lnTo>
                      <a:pt x="1225" y="733"/>
                    </a:lnTo>
                    <a:lnTo>
                      <a:pt x="1225" y="731"/>
                    </a:lnTo>
                    <a:lnTo>
                      <a:pt x="1225" y="730"/>
                    </a:lnTo>
                    <a:lnTo>
                      <a:pt x="1227" y="730"/>
                    </a:lnTo>
                    <a:lnTo>
                      <a:pt x="1227" y="731"/>
                    </a:lnTo>
                    <a:lnTo>
                      <a:pt x="1227" y="733"/>
                    </a:lnTo>
                    <a:lnTo>
                      <a:pt x="1225" y="733"/>
                    </a:lnTo>
                    <a:lnTo>
                      <a:pt x="1227" y="735"/>
                    </a:lnTo>
                    <a:lnTo>
                      <a:pt x="1229" y="735"/>
                    </a:lnTo>
                    <a:lnTo>
                      <a:pt x="1230" y="735"/>
                    </a:lnTo>
                    <a:lnTo>
                      <a:pt x="1230" y="733"/>
                    </a:lnTo>
                    <a:lnTo>
                      <a:pt x="1230" y="731"/>
                    </a:lnTo>
                    <a:lnTo>
                      <a:pt x="1232" y="730"/>
                    </a:lnTo>
                    <a:lnTo>
                      <a:pt x="1230" y="730"/>
                    </a:lnTo>
                    <a:lnTo>
                      <a:pt x="1230" y="728"/>
                    </a:lnTo>
                    <a:lnTo>
                      <a:pt x="1230" y="726"/>
                    </a:lnTo>
                    <a:lnTo>
                      <a:pt x="1232" y="726"/>
                    </a:lnTo>
                    <a:lnTo>
                      <a:pt x="1232" y="724"/>
                    </a:lnTo>
                    <a:lnTo>
                      <a:pt x="1234" y="724"/>
                    </a:lnTo>
                    <a:lnTo>
                      <a:pt x="1232" y="724"/>
                    </a:lnTo>
                    <a:lnTo>
                      <a:pt x="1232" y="723"/>
                    </a:lnTo>
                    <a:lnTo>
                      <a:pt x="1234" y="723"/>
                    </a:lnTo>
                    <a:lnTo>
                      <a:pt x="1234" y="721"/>
                    </a:lnTo>
                    <a:lnTo>
                      <a:pt x="1234" y="719"/>
                    </a:lnTo>
                    <a:lnTo>
                      <a:pt x="1236" y="718"/>
                    </a:lnTo>
                    <a:lnTo>
                      <a:pt x="1236" y="716"/>
                    </a:lnTo>
                    <a:lnTo>
                      <a:pt x="1236" y="714"/>
                    </a:lnTo>
                    <a:lnTo>
                      <a:pt x="1236" y="713"/>
                    </a:lnTo>
                    <a:lnTo>
                      <a:pt x="1236" y="711"/>
                    </a:lnTo>
                    <a:lnTo>
                      <a:pt x="1237" y="711"/>
                    </a:lnTo>
                    <a:lnTo>
                      <a:pt x="1237" y="709"/>
                    </a:lnTo>
                    <a:lnTo>
                      <a:pt x="1236" y="707"/>
                    </a:lnTo>
                    <a:lnTo>
                      <a:pt x="1237" y="707"/>
                    </a:lnTo>
                    <a:lnTo>
                      <a:pt x="1237" y="706"/>
                    </a:lnTo>
                    <a:lnTo>
                      <a:pt x="1237" y="704"/>
                    </a:lnTo>
                    <a:lnTo>
                      <a:pt x="1237" y="702"/>
                    </a:lnTo>
                    <a:lnTo>
                      <a:pt x="1239" y="702"/>
                    </a:lnTo>
                    <a:lnTo>
                      <a:pt x="1239" y="701"/>
                    </a:lnTo>
                    <a:lnTo>
                      <a:pt x="1241" y="701"/>
                    </a:lnTo>
                    <a:lnTo>
                      <a:pt x="1241" y="699"/>
                    </a:lnTo>
                    <a:lnTo>
                      <a:pt x="1242" y="697"/>
                    </a:lnTo>
                    <a:lnTo>
                      <a:pt x="1244" y="696"/>
                    </a:lnTo>
                    <a:lnTo>
                      <a:pt x="1244" y="694"/>
                    </a:lnTo>
                    <a:lnTo>
                      <a:pt x="1244" y="692"/>
                    </a:lnTo>
                    <a:lnTo>
                      <a:pt x="1244" y="690"/>
                    </a:lnTo>
                    <a:lnTo>
                      <a:pt x="1244" y="689"/>
                    </a:lnTo>
                    <a:lnTo>
                      <a:pt x="1242" y="689"/>
                    </a:lnTo>
                    <a:lnTo>
                      <a:pt x="1242" y="687"/>
                    </a:lnTo>
                    <a:lnTo>
                      <a:pt x="1242" y="685"/>
                    </a:lnTo>
                    <a:lnTo>
                      <a:pt x="1244" y="685"/>
                    </a:lnTo>
                    <a:lnTo>
                      <a:pt x="1244" y="684"/>
                    </a:lnTo>
                    <a:lnTo>
                      <a:pt x="1246" y="684"/>
                    </a:lnTo>
                    <a:lnTo>
                      <a:pt x="1246" y="682"/>
                    </a:lnTo>
                    <a:lnTo>
                      <a:pt x="1247" y="682"/>
                    </a:lnTo>
                    <a:lnTo>
                      <a:pt x="1247" y="680"/>
                    </a:lnTo>
                    <a:lnTo>
                      <a:pt x="1247" y="679"/>
                    </a:lnTo>
                    <a:lnTo>
                      <a:pt x="1247" y="677"/>
                    </a:lnTo>
                    <a:lnTo>
                      <a:pt x="1249" y="677"/>
                    </a:lnTo>
                    <a:lnTo>
                      <a:pt x="1249" y="675"/>
                    </a:lnTo>
                    <a:lnTo>
                      <a:pt x="1251" y="675"/>
                    </a:lnTo>
                    <a:lnTo>
                      <a:pt x="1251" y="673"/>
                    </a:lnTo>
                    <a:lnTo>
                      <a:pt x="1251" y="672"/>
                    </a:lnTo>
                    <a:lnTo>
                      <a:pt x="1251" y="670"/>
                    </a:lnTo>
                    <a:lnTo>
                      <a:pt x="1253" y="670"/>
                    </a:lnTo>
                    <a:lnTo>
                      <a:pt x="1254" y="668"/>
                    </a:lnTo>
                    <a:lnTo>
                      <a:pt x="1256" y="668"/>
                    </a:lnTo>
                    <a:lnTo>
                      <a:pt x="1256" y="667"/>
                    </a:lnTo>
                    <a:lnTo>
                      <a:pt x="1258" y="667"/>
                    </a:lnTo>
                    <a:lnTo>
                      <a:pt x="1258" y="665"/>
                    </a:lnTo>
                    <a:lnTo>
                      <a:pt x="1258" y="663"/>
                    </a:lnTo>
                    <a:lnTo>
                      <a:pt x="1258" y="662"/>
                    </a:lnTo>
                    <a:lnTo>
                      <a:pt x="1258" y="660"/>
                    </a:lnTo>
                    <a:lnTo>
                      <a:pt x="1258" y="658"/>
                    </a:lnTo>
                    <a:lnTo>
                      <a:pt x="1258" y="656"/>
                    </a:lnTo>
                    <a:lnTo>
                      <a:pt x="1259" y="656"/>
                    </a:lnTo>
                    <a:lnTo>
                      <a:pt x="1259" y="655"/>
                    </a:lnTo>
                    <a:lnTo>
                      <a:pt x="1259" y="653"/>
                    </a:lnTo>
                    <a:lnTo>
                      <a:pt x="1261" y="651"/>
                    </a:lnTo>
                    <a:lnTo>
                      <a:pt x="1261" y="650"/>
                    </a:lnTo>
                    <a:lnTo>
                      <a:pt x="1263" y="650"/>
                    </a:lnTo>
                    <a:lnTo>
                      <a:pt x="1263" y="648"/>
                    </a:lnTo>
                    <a:lnTo>
                      <a:pt x="1263" y="646"/>
                    </a:lnTo>
                    <a:lnTo>
                      <a:pt x="1263" y="644"/>
                    </a:lnTo>
                    <a:lnTo>
                      <a:pt x="1263" y="643"/>
                    </a:lnTo>
                    <a:lnTo>
                      <a:pt x="1263" y="641"/>
                    </a:lnTo>
                    <a:lnTo>
                      <a:pt x="1263" y="639"/>
                    </a:lnTo>
                    <a:lnTo>
                      <a:pt x="1263" y="638"/>
                    </a:lnTo>
                    <a:lnTo>
                      <a:pt x="1263" y="636"/>
                    </a:lnTo>
                    <a:lnTo>
                      <a:pt x="1264" y="636"/>
                    </a:lnTo>
                    <a:lnTo>
                      <a:pt x="1264" y="634"/>
                    </a:lnTo>
                    <a:lnTo>
                      <a:pt x="1264" y="633"/>
                    </a:lnTo>
                    <a:lnTo>
                      <a:pt x="1264" y="631"/>
                    </a:lnTo>
                    <a:lnTo>
                      <a:pt x="1264" y="629"/>
                    </a:lnTo>
                    <a:lnTo>
                      <a:pt x="1264" y="627"/>
                    </a:lnTo>
                    <a:lnTo>
                      <a:pt x="1263" y="627"/>
                    </a:lnTo>
                    <a:lnTo>
                      <a:pt x="1264" y="627"/>
                    </a:lnTo>
                    <a:lnTo>
                      <a:pt x="1263" y="626"/>
                    </a:lnTo>
                    <a:lnTo>
                      <a:pt x="1264" y="626"/>
                    </a:lnTo>
                    <a:lnTo>
                      <a:pt x="1266" y="624"/>
                    </a:lnTo>
                    <a:lnTo>
                      <a:pt x="1266" y="622"/>
                    </a:lnTo>
                    <a:lnTo>
                      <a:pt x="1268" y="621"/>
                    </a:lnTo>
                    <a:lnTo>
                      <a:pt x="1268" y="619"/>
                    </a:lnTo>
                    <a:lnTo>
                      <a:pt x="1270" y="617"/>
                    </a:lnTo>
                    <a:lnTo>
                      <a:pt x="1270" y="616"/>
                    </a:lnTo>
                    <a:lnTo>
                      <a:pt x="1270" y="614"/>
                    </a:lnTo>
                    <a:lnTo>
                      <a:pt x="1271" y="612"/>
                    </a:lnTo>
                    <a:lnTo>
                      <a:pt x="1273" y="612"/>
                    </a:lnTo>
                    <a:lnTo>
                      <a:pt x="1273" y="610"/>
                    </a:lnTo>
                    <a:lnTo>
                      <a:pt x="1275" y="610"/>
                    </a:lnTo>
                    <a:lnTo>
                      <a:pt x="1275" y="609"/>
                    </a:lnTo>
                    <a:lnTo>
                      <a:pt x="1276" y="609"/>
                    </a:lnTo>
                    <a:lnTo>
                      <a:pt x="1276" y="607"/>
                    </a:lnTo>
                    <a:lnTo>
                      <a:pt x="1276" y="605"/>
                    </a:lnTo>
                    <a:lnTo>
                      <a:pt x="1276" y="604"/>
                    </a:lnTo>
                    <a:lnTo>
                      <a:pt x="1276" y="602"/>
                    </a:lnTo>
                    <a:lnTo>
                      <a:pt x="1276" y="600"/>
                    </a:lnTo>
                    <a:lnTo>
                      <a:pt x="1275" y="599"/>
                    </a:lnTo>
                    <a:lnTo>
                      <a:pt x="1273" y="599"/>
                    </a:lnTo>
                    <a:lnTo>
                      <a:pt x="1275" y="597"/>
                    </a:lnTo>
                    <a:lnTo>
                      <a:pt x="1273" y="597"/>
                    </a:lnTo>
                    <a:lnTo>
                      <a:pt x="1275" y="597"/>
                    </a:lnTo>
                    <a:lnTo>
                      <a:pt x="1275" y="595"/>
                    </a:lnTo>
                    <a:lnTo>
                      <a:pt x="1276" y="593"/>
                    </a:lnTo>
                    <a:lnTo>
                      <a:pt x="1275" y="593"/>
                    </a:lnTo>
                    <a:lnTo>
                      <a:pt x="1275" y="592"/>
                    </a:lnTo>
                    <a:lnTo>
                      <a:pt x="1275" y="590"/>
                    </a:lnTo>
                    <a:lnTo>
                      <a:pt x="1275" y="588"/>
                    </a:lnTo>
                    <a:lnTo>
                      <a:pt x="1273" y="588"/>
                    </a:lnTo>
                    <a:lnTo>
                      <a:pt x="1275" y="588"/>
                    </a:lnTo>
                    <a:lnTo>
                      <a:pt x="1275" y="587"/>
                    </a:lnTo>
                    <a:lnTo>
                      <a:pt x="1273" y="587"/>
                    </a:lnTo>
                    <a:lnTo>
                      <a:pt x="1273" y="585"/>
                    </a:lnTo>
                    <a:lnTo>
                      <a:pt x="1275" y="585"/>
                    </a:lnTo>
                    <a:lnTo>
                      <a:pt x="1275" y="583"/>
                    </a:lnTo>
                    <a:lnTo>
                      <a:pt x="1275" y="582"/>
                    </a:lnTo>
                    <a:lnTo>
                      <a:pt x="1276" y="582"/>
                    </a:lnTo>
                    <a:lnTo>
                      <a:pt x="1278" y="582"/>
                    </a:lnTo>
                    <a:lnTo>
                      <a:pt x="1280" y="580"/>
                    </a:lnTo>
                    <a:lnTo>
                      <a:pt x="1280" y="578"/>
                    </a:lnTo>
                    <a:lnTo>
                      <a:pt x="1278" y="578"/>
                    </a:lnTo>
                    <a:lnTo>
                      <a:pt x="1280" y="578"/>
                    </a:lnTo>
                    <a:lnTo>
                      <a:pt x="1280" y="576"/>
                    </a:lnTo>
                    <a:lnTo>
                      <a:pt x="1280" y="575"/>
                    </a:lnTo>
                    <a:lnTo>
                      <a:pt x="1280" y="573"/>
                    </a:lnTo>
                    <a:lnTo>
                      <a:pt x="1280" y="571"/>
                    </a:lnTo>
                    <a:lnTo>
                      <a:pt x="1281" y="571"/>
                    </a:lnTo>
                    <a:lnTo>
                      <a:pt x="1281" y="570"/>
                    </a:lnTo>
                    <a:lnTo>
                      <a:pt x="1280" y="570"/>
                    </a:lnTo>
                    <a:lnTo>
                      <a:pt x="1281" y="570"/>
                    </a:lnTo>
                    <a:lnTo>
                      <a:pt x="1281" y="568"/>
                    </a:lnTo>
                    <a:lnTo>
                      <a:pt x="1283" y="568"/>
                    </a:lnTo>
                    <a:lnTo>
                      <a:pt x="1283" y="566"/>
                    </a:lnTo>
                    <a:lnTo>
                      <a:pt x="1283" y="565"/>
                    </a:lnTo>
                    <a:lnTo>
                      <a:pt x="1281" y="565"/>
                    </a:lnTo>
                    <a:lnTo>
                      <a:pt x="1281" y="563"/>
                    </a:lnTo>
                    <a:lnTo>
                      <a:pt x="1281" y="561"/>
                    </a:lnTo>
                    <a:lnTo>
                      <a:pt x="1283" y="561"/>
                    </a:lnTo>
                    <a:lnTo>
                      <a:pt x="1283" y="559"/>
                    </a:lnTo>
                    <a:lnTo>
                      <a:pt x="1283" y="558"/>
                    </a:lnTo>
                    <a:lnTo>
                      <a:pt x="1285" y="556"/>
                    </a:lnTo>
                    <a:lnTo>
                      <a:pt x="1283" y="556"/>
                    </a:lnTo>
                    <a:lnTo>
                      <a:pt x="1283" y="554"/>
                    </a:lnTo>
                    <a:lnTo>
                      <a:pt x="1281" y="554"/>
                    </a:lnTo>
                    <a:lnTo>
                      <a:pt x="1281" y="553"/>
                    </a:lnTo>
                    <a:lnTo>
                      <a:pt x="1281" y="551"/>
                    </a:lnTo>
                    <a:lnTo>
                      <a:pt x="1280" y="549"/>
                    </a:lnTo>
                    <a:lnTo>
                      <a:pt x="1280" y="548"/>
                    </a:lnTo>
                    <a:lnTo>
                      <a:pt x="1280" y="546"/>
                    </a:lnTo>
                    <a:lnTo>
                      <a:pt x="1280" y="544"/>
                    </a:lnTo>
                    <a:lnTo>
                      <a:pt x="1280" y="542"/>
                    </a:lnTo>
                    <a:lnTo>
                      <a:pt x="1280" y="541"/>
                    </a:lnTo>
                    <a:lnTo>
                      <a:pt x="1280" y="539"/>
                    </a:lnTo>
                    <a:lnTo>
                      <a:pt x="1281" y="539"/>
                    </a:lnTo>
                    <a:lnTo>
                      <a:pt x="1280" y="539"/>
                    </a:lnTo>
                    <a:lnTo>
                      <a:pt x="1280" y="537"/>
                    </a:lnTo>
                    <a:lnTo>
                      <a:pt x="1281" y="536"/>
                    </a:lnTo>
                    <a:lnTo>
                      <a:pt x="1280" y="536"/>
                    </a:lnTo>
                    <a:lnTo>
                      <a:pt x="1280" y="534"/>
                    </a:lnTo>
                    <a:lnTo>
                      <a:pt x="1278" y="536"/>
                    </a:lnTo>
                    <a:lnTo>
                      <a:pt x="1278" y="534"/>
                    </a:lnTo>
                    <a:lnTo>
                      <a:pt x="1280" y="534"/>
                    </a:lnTo>
                    <a:lnTo>
                      <a:pt x="1280" y="532"/>
                    </a:lnTo>
                    <a:lnTo>
                      <a:pt x="1280" y="531"/>
                    </a:lnTo>
                    <a:lnTo>
                      <a:pt x="1280" y="529"/>
                    </a:lnTo>
                    <a:lnTo>
                      <a:pt x="1278" y="527"/>
                    </a:lnTo>
                    <a:lnTo>
                      <a:pt x="1278" y="525"/>
                    </a:lnTo>
                    <a:lnTo>
                      <a:pt x="1278" y="524"/>
                    </a:lnTo>
                    <a:lnTo>
                      <a:pt x="1278" y="522"/>
                    </a:lnTo>
                    <a:lnTo>
                      <a:pt x="1278" y="520"/>
                    </a:lnTo>
                    <a:lnTo>
                      <a:pt x="1278" y="519"/>
                    </a:lnTo>
                    <a:lnTo>
                      <a:pt x="1278" y="517"/>
                    </a:lnTo>
                    <a:lnTo>
                      <a:pt x="1276" y="517"/>
                    </a:lnTo>
                    <a:lnTo>
                      <a:pt x="1276" y="515"/>
                    </a:lnTo>
                    <a:lnTo>
                      <a:pt x="1276" y="514"/>
                    </a:lnTo>
                    <a:lnTo>
                      <a:pt x="1276" y="512"/>
                    </a:lnTo>
                    <a:lnTo>
                      <a:pt x="1276" y="510"/>
                    </a:lnTo>
                    <a:lnTo>
                      <a:pt x="1275" y="508"/>
                    </a:lnTo>
                    <a:lnTo>
                      <a:pt x="1276" y="508"/>
                    </a:lnTo>
                    <a:lnTo>
                      <a:pt x="1275" y="508"/>
                    </a:lnTo>
                    <a:lnTo>
                      <a:pt x="1275" y="507"/>
                    </a:lnTo>
                    <a:lnTo>
                      <a:pt x="1275" y="505"/>
                    </a:lnTo>
                    <a:lnTo>
                      <a:pt x="1276" y="505"/>
                    </a:lnTo>
                    <a:lnTo>
                      <a:pt x="1275" y="505"/>
                    </a:lnTo>
                    <a:lnTo>
                      <a:pt x="1275" y="503"/>
                    </a:lnTo>
                    <a:lnTo>
                      <a:pt x="1275" y="502"/>
                    </a:lnTo>
                    <a:lnTo>
                      <a:pt x="1276" y="502"/>
                    </a:lnTo>
                    <a:lnTo>
                      <a:pt x="1275" y="500"/>
                    </a:lnTo>
                    <a:lnTo>
                      <a:pt x="1276" y="500"/>
                    </a:lnTo>
                    <a:lnTo>
                      <a:pt x="1275" y="500"/>
                    </a:lnTo>
                    <a:lnTo>
                      <a:pt x="1275" y="498"/>
                    </a:lnTo>
                    <a:lnTo>
                      <a:pt x="1275" y="497"/>
                    </a:lnTo>
                    <a:lnTo>
                      <a:pt x="1275" y="495"/>
                    </a:lnTo>
                    <a:lnTo>
                      <a:pt x="1275" y="493"/>
                    </a:lnTo>
                    <a:lnTo>
                      <a:pt x="1273" y="493"/>
                    </a:lnTo>
                    <a:lnTo>
                      <a:pt x="1273" y="491"/>
                    </a:lnTo>
                    <a:lnTo>
                      <a:pt x="1275" y="490"/>
                    </a:lnTo>
                    <a:lnTo>
                      <a:pt x="1273" y="490"/>
                    </a:lnTo>
                    <a:lnTo>
                      <a:pt x="1275" y="490"/>
                    </a:lnTo>
                    <a:lnTo>
                      <a:pt x="1275" y="488"/>
                    </a:lnTo>
                    <a:lnTo>
                      <a:pt x="1273" y="488"/>
                    </a:lnTo>
                    <a:lnTo>
                      <a:pt x="1273" y="486"/>
                    </a:lnTo>
                    <a:lnTo>
                      <a:pt x="1273" y="485"/>
                    </a:lnTo>
                    <a:lnTo>
                      <a:pt x="1273" y="483"/>
                    </a:lnTo>
                    <a:lnTo>
                      <a:pt x="1275" y="483"/>
                    </a:lnTo>
                    <a:lnTo>
                      <a:pt x="1275" y="481"/>
                    </a:lnTo>
                    <a:lnTo>
                      <a:pt x="1275" y="479"/>
                    </a:lnTo>
                    <a:lnTo>
                      <a:pt x="1275" y="478"/>
                    </a:lnTo>
                    <a:lnTo>
                      <a:pt x="1275" y="476"/>
                    </a:lnTo>
                    <a:lnTo>
                      <a:pt x="1275" y="474"/>
                    </a:lnTo>
                    <a:lnTo>
                      <a:pt x="1275" y="473"/>
                    </a:lnTo>
                    <a:lnTo>
                      <a:pt x="1276" y="473"/>
                    </a:lnTo>
                    <a:lnTo>
                      <a:pt x="1276" y="471"/>
                    </a:lnTo>
                    <a:lnTo>
                      <a:pt x="1276" y="473"/>
                    </a:lnTo>
                    <a:lnTo>
                      <a:pt x="1278" y="474"/>
                    </a:lnTo>
                    <a:lnTo>
                      <a:pt x="1278" y="473"/>
                    </a:lnTo>
                    <a:lnTo>
                      <a:pt x="1280" y="473"/>
                    </a:lnTo>
                    <a:lnTo>
                      <a:pt x="1281" y="473"/>
                    </a:lnTo>
                    <a:lnTo>
                      <a:pt x="1280" y="471"/>
                    </a:lnTo>
                    <a:lnTo>
                      <a:pt x="1281" y="471"/>
                    </a:lnTo>
                    <a:lnTo>
                      <a:pt x="1281" y="469"/>
                    </a:lnTo>
                    <a:lnTo>
                      <a:pt x="1283" y="468"/>
                    </a:lnTo>
                    <a:lnTo>
                      <a:pt x="1283" y="469"/>
                    </a:lnTo>
                    <a:lnTo>
                      <a:pt x="1285" y="469"/>
                    </a:lnTo>
                    <a:lnTo>
                      <a:pt x="1285" y="468"/>
                    </a:lnTo>
                    <a:lnTo>
                      <a:pt x="1285" y="466"/>
                    </a:lnTo>
                    <a:lnTo>
                      <a:pt x="1285" y="464"/>
                    </a:lnTo>
                    <a:lnTo>
                      <a:pt x="1285" y="462"/>
                    </a:lnTo>
                    <a:lnTo>
                      <a:pt x="1283" y="462"/>
                    </a:lnTo>
                    <a:lnTo>
                      <a:pt x="1285" y="461"/>
                    </a:lnTo>
                    <a:lnTo>
                      <a:pt x="1285" y="459"/>
                    </a:lnTo>
                    <a:lnTo>
                      <a:pt x="1287" y="459"/>
                    </a:lnTo>
                    <a:lnTo>
                      <a:pt x="1287" y="461"/>
                    </a:lnTo>
                    <a:lnTo>
                      <a:pt x="1287" y="459"/>
                    </a:lnTo>
                    <a:lnTo>
                      <a:pt x="1288" y="459"/>
                    </a:lnTo>
                    <a:lnTo>
                      <a:pt x="1288" y="457"/>
                    </a:lnTo>
                    <a:lnTo>
                      <a:pt x="1288" y="456"/>
                    </a:lnTo>
                    <a:lnTo>
                      <a:pt x="1287" y="454"/>
                    </a:lnTo>
                    <a:lnTo>
                      <a:pt x="1287" y="452"/>
                    </a:lnTo>
                    <a:lnTo>
                      <a:pt x="1287" y="451"/>
                    </a:lnTo>
                    <a:lnTo>
                      <a:pt x="1287" y="449"/>
                    </a:lnTo>
                    <a:lnTo>
                      <a:pt x="1287" y="447"/>
                    </a:lnTo>
                    <a:lnTo>
                      <a:pt x="1288" y="447"/>
                    </a:lnTo>
                    <a:lnTo>
                      <a:pt x="1288" y="445"/>
                    </a:lnTo>
                    <a:lnTo>
                      <a:pt x="1287" y="445"/>
                    </a:lnTo>
                    <a:lnTo>
                      <a:pt x="1287" y="444"/>
                    </a:lnTo>
                    <a:lnTo>
                      <a:pt x="1287" y="442"/>
                    </a:lnTo>
                    <a:lnTo>
                      <a:pt x="1287" y="440"/>
                    </a:lnTo>
                    <a:lnTo>
                      <a:pt x="1287" y="439"/>
                    </a:lnTo>
                    <a:lnTo>
                      <a:pt x="1287" y="437"/>
                    </a:lnTo>
                    <a:lnTo>
                      <a:pt x="1287" y="435"/>
                    </a:lnTo>
                    <a:lnTo>
                      <a:pt x="1285" y="435"/>
                    </a:lnTo>
                    <a:lnTo>
                      <a:pt x="1285" y="434"/>
                    </a:lnTo>
                    <a:lnTo>
                      <a:pt x="1283" y="434"/>
                    </a:lnTo>
                    <a:lnTo>
                      <a:pt x="1281" y="432"/>
                    </a:lnTo>
                    <a:lnTo>
                      <a:pt x="1281" y="430"/>
                    </a:lnTo>
                    <a:lnTo>
                      <a:pt x="1280" y="428"/>
                    </a:lnTo>
                    <a:lnTo>
                      <a:pt x="1281" y="428"/>
                    </a:lnTo>
                    <a:lnTo>
                      <a:pt x="1281" y="427"/>
                    </a:lnTo>
                    <a:lnTo>
                      <a:pt x="1280" y="427"/>
                    </a:lnTo>
                    <a:lnTo>
                      <a:pt x="1281" y="425"/>
                    </a:lnTo>
                    <a:lnTo>
                      <a:pt x="1280" y="423"/>
                    </a:lnTo>
                    <a:lnTo>
                      <a:pt x="1281" y="423"/>
                    </a:lnTo>
                    <a:lnTo>
                      <a:pt x="1281" y="422"/>
                    </a:lnTo>
                    <a:lnTo>
                      <a:pt x="1280" y="422"/>
                    </a:lnTo>
                    <a:lnTo>
                      <a:pt x="1280" y="420"/>
                    </a:lnTo>
                    <a:lnTo>
                      <a:pt x="1280" y="418"/>
                    </a:lnTo>
                    <a:lnTo>
                      <a:pt x="1281" y="418"/>
                    </a:lnTo>
                    <a:lnTo>
                      <a:pt x="1281" y="417"/>
                    </a:lnTo>
                    <a:lnTo>
                      <a:pt x="1283" y="417"/>
                    </a:lnTo>
                    <a:lnTo>
                      <a:pt x="1285" y="415"/>
                    </a:lnTo>
                    <a:lnTo>
                      <a:pt x="1285" y="413"/>
                    </a:lnTo>
                    <a:lnTo>
                      <a:pt x="1287" y="411"/>
                    </a:lnTo>
                    <a:lnTo>
                      <a:pt x="1288" y="411"/>
                    </a:lnTo>
                    <a:lnTo>
                      <a:pt x="1288" y="410"/>
                    </a:lnTo>
                    <a:lnTo>
                      <a:pt x="1288" y="408"/>
                    </a:lnTo>
                    <a:lnTo>
                      <a:pt x="1287" y="408"/>
                    </a:lnTo>
                    <a:lnTo>
                      <a:pt x="1287" y="406"/>
                    </a:lnTo>
                    <a:lnTo>
                      <a:pt x="1288" y="406"/>
                    </a:lnTo>
                    <a:lnTo>
                      <a:pt x="1288" y="405"/>
                    </a:lnTo>
                    <a:lnTo>
                      <a:pt x="1288" y="403"/>
                    </a:lnTo>
                    <a:lnTo>
                      <a:pt x="1290" y="403"/>
                    </a:lnTo>
                    <a:lnTo>
                      <a:pt x="1290" y="401"/>
                    </a:lnTo>
                    <a:lnTo>
                      <a:pt x="1292" y="400"/>
                    </a:lnTo>
                    <a:lnTo>
                      <a:pt x="1292" y="398"/>
                    </a:lnTo>
                    <a:lnTo>
                      <a:pt x="1292" y="396"/>
                    </a:lnTo>
                    <a:lnTo>
                      <a:pt x="1290" y="396"/>
                    </a:lnTo>
                    <a:lnTo>
                      <a:pt x="1292" y="396"/>
                    </a:lnTo>
                    <a:lnTo>
                      <a:pt x="1292" y="394"/>
                    </a:lnTo>
                    <a:lnTo>
                      <a:pt x="1292" y="393"/>
                    </a:lnTo>
                    <a:lnTo>
                      <a:pt x="1292" y="391"/>
                    </a:lnTo>
                    <a:lnTo>
                      <a:pt x="1292" y="389"/>
                    </a:lnTo>
                    <a:lnTo>
                      <a:pt x="1292" y="388"/>
                    </a:lnTo>
                    <a:lnTo>
                      <a:pt x="1293" y="388"/>
                    </a:lnTo>
                    <a:lnTo>
                      <a:pt x="1292" y="386"/>
                    </a:lnTo>
                    <a:lnTo>
                      <a:pt x="1293" y="386"/>
                    </a:lnTo>
                    <a:lnTo>
                      <a:pt x="1292" y="386"/>
                    </a:lnTo>
                    <a:lnTo>
                      <a:pt x="1293" y="386"/>
                    </a:lnTo>
                    <a:lnTo>
                      <a:pt x="1292" y="384"/>
                    </a:lnTo>
                    <a:lnTo>
                      <a:pt x="1293" y="384"/>
                    </a:lnTo>
                    <a:lnTo>
                      <a:pt x="1292" y="384"/>
                    </a:lnTo>
                    <a:lnTo>
                      <a:pt x="1293" y="383"/>
                    </a:lnTo>
                    <a:lnTo>
                      <a:pt x="1293" y="381"/>
                    </a:lnTo>
                    <a:lnTo>
                      <a:pt x="1293" y="379"/>
                    </a:lnTo>
                    <a:lnTo>
                      <a:pt x="1295" y="377"/>
                    </a:lnTo>
                    <a:lnTo>
                      <a:pt x="1295" y="376"/>
                    </a:lnTo>
                    <a:lnTo>
                      <a:pt x="1295" y="374"/>
                    </a:lnTo>
                    <a:lnTo>
                      <a:pt x="1297" y="374"/>
                    </a:lnTo>
                    <a:lnTo>
                      <a:pt x="1297" y="372"/>
                    </a:lnTo>
                    <a:lnTo>
                      <a:pt x="1298" y="372"/>
                    </a:lnTo>
                    <a:lnTo>
                      <a:pt x="1300" y="372"/>
                    </a:lnTo>
                    <a:lnTo>
                      <a:pt x="1300" y="371"/>
                    </a:lnTo>
                    <a:lnTo>
                      <a:pt x="1300" y="369"/>
                    </a:lnTo>
                    <a:lnTo>
                      <a:pt x="1300" y="367"/>
                    </a:lnTo>
                    <a:lnTo>
                      <a:pt x="1302" y="367"/>
                    </a:lnTo>
                    <a:lnTo>
                      <a:pt x="1302" y="366"/>
                    </a:lnTo>
                    <a:lnTo>
                      <a:pt x="1300" y="366"/>
                    </a:lnTo>
                    <a:lnTo>
                      <a:pt x="1302" y="366"/>
                    </a:lnTo>
                    <a:lnTo>
                      <a:pt x="1300" y="364"/>
                    </a:lnTo>
                    <a:lnTo>
                      <a:pt x="1300" y="362"/>
                    </a:lnTo>
                    <a:lnTo>
                      <a:pt x="1298" y="360"/>
                    </a:lnTo>
                    <a:lnTo>
                      <a:pt x="1300" y="359"/>
                    </a:lnTo>
                    <a:lnTo>
                      <a:pt x="1300" y="357"/>
                    </a:lnTo>
                    <a:lnTo>
                      <a:pt x="1298" y="357"/>
                    </a:lnTo>
                    <a:lnTo>
                      <a:pt x="1298" y="355"/>
                    </a:lnTo>
                    <a:lnTo>
                      <a:pt x="1298" y="354"/>
                    </a:lnTo>
                    <a:lnTo>
                      <a:pt x="1298" y="352"/>
                    </a:lnTo>
                    <a:lnTo>
                      <a:pt x="1300" y="350"/>
                    </a:lnTo>
                    <a:lnTo>
                      <a:pt x="1300" y="352"/>
                    </a:lnTo>
                    <a:lnTo>
                      <a:pt x="1302" y="352"/>
                    </a:lnTo>
                    <a:lnTo>
                      <a:pt x="1302" y="350"/>
                    </a:lnTo>
                    <a:lnTo>
                      <a:pt x="1304" y="350"/>
                    </a:lnTo>
                    <a:lnTo>
                      <a:pt x="1302" y="349"/>
                    </a:lnTo>
                    <a:lnTo>
                      <a:pt x="1304" y="349"/>
                    </a:lnTo>
                    <a:lnTo>
                      <a:pt x="1304" y="347"/>
                    </a:lnTo>
                    <a:lnTo>
                      <a:pt x="1305" y="347"/>
                    </a:lnTo>
                    <a:lnTo>
                      <a:pt x="1305" y="345"/>
                    </a:lnTo>
                    <a:lnTo>
                      <a:pt x="1304" y="345"/>
                    </a:lnTo>
                    <a:lnTo>
                      <a:pt x="1304" y="343"/>
                    </a:lnTo>
                    <a:lnTo>
                      <a:pt x="1304" y="342"/>
                    </a:lnTo>
                    <a:lnTo>
                      <a:pt x="1304" y="340"/>
                    </a:lnTo>
                    <a:lnTo>
                      <a:pt x="1305" y="338"/>
                    </a:lnTo>
                    <a:lnTo>
                      <a:pt x="1307" y="337"/>
                    </a:lnTo>
                    <a:lnTo>
                      <a:pt x="1305" y="337"/>
                    </a:lnTo>
                    <a:lnTo>
                      <a:pt x="1305" y="335"/>
                    </a:lnTo>
                    <a:lnTo>
                      <a:pt x="1307" y="335"/>
                    </a:lnTo>
                    <a:lnTo>
                      <a:pt x="1307" y="333"/>
                    </a:lnTo>
                    <a:lnTo>
                      <a:pt x="1307" y="331"/>
                    </a:lnTo>
                    <a:lnTo>
                      <a:pt x="1307" y="330"/>
                    </a:lnTo>
                    <a:lnTo>
                      <a:pt x="1309" y="330"/>
                    </a:lnTo>
                    <a:lnTo>
                      <a:pt x="1307" y="330"/>
                    </a:lnTo>
                    <a:lnTo>
                      <a:pt x="1307" y="328"/>
                    </a:lnTo>
                    <a:lnTo>
                      <a:pt x="1309" y="326"/>
                    </a:lnTo>
                    <a:lnTo>
                      <a:pt x="1309" y="325"/>
                    </a:lnTo>
                    <a:lnTo>
                      <a:pt x="1307" y="325"/>
                    </a:lnTo>
                    <a:lnTo>
                      <a:pt x="1307" y="323"/>
                    </a:lnTo>
                    <a:lnTo>
                      <a:pt x="1309" y="323"/>
                    </a:lnTo>
                    <a:lnTo>
                      <a:pt x="1310" y="323"/>
                    </a:lnTo>
                    <a:lnTo>
                      <a:pt x="1310" y="321"/>
                    </a:lnTo>
                    <a:lnTo>
                      <a:pt x="1310" y="320"/>
                    </a:lnTo>
                    <a:lnTo>
                      <a:pt x="1309" y="320"/>
                    </a:lnTo>
                    <a:lnTo>
                      <a:pt x="1309" y="318"/>
                    </a:lnTo>
                    <a:lnTo>
                      <a:pt x="1309" y="316"/>
                    </a:lnTo>
                    <a:lnTo>
                      <a:pt x="1309" y="314"/>
                    </a:lnTo>
                    <a:lnTo>
                      <a:pt x="1309" y="313"/>
                    </a:lnTo>
                    <a:lnTo>
                      <a:pt x="1309" y="311"/>
                    </a:lnTo>
                    <a:lnTo>
                      <a:pt x="1310" y="311"/>
                    </a:lnTo>
                    <a:lnTo>
                      <a:pt x="1310" y="309"/>
                    </a:lnTo>
                    <a:lnTo>
                      <a:pt x="1310" y="308"/>
                    </a:lnTo>
                    <a:lnTo>
                      <a:pt x="1309" y="306"/>
                    </a:lnTo>
                    <a:lnTo>
                      <a:pt x="1309" y="304"/>
                    </a:lnTo>
                    <a:lnTo>
                      <a:pt x="1307" y="304"/>
                    </a:lnTo>
                    <a:lnTo>
                      <a:pt x="1307" y="303"/>
                    </a:lnTo>
                    <a:lnTo>
                      <a:pt x="1307" y="301"/>
                    </a:lnTo>
                    <a:lnTo>
                      <a:pt x="1307" y="299"/>
                    </a:lnTo>
                    <a:lnTo>
                      <a:pt x="1309" y="299"/>
                    </a:lnTo>
                    <a:lnTo>
                      <a:pt x="1307" y="297"/>
                    </a:lnTo>
                    <a:lnTo>
                      <a:pt x="1309" y="297"/>
                    </a:lnTo>
                    <a:lnTo>
                      <a:pt x="1309" y="296"/>
                    </a:lnTo>
                    <a:lnTo>
                      <a:pt x="1310" y="296"/>
                    </a:lnTo>
                    <a:lnTo>
                      <a:pt x="1310" y="294"/>
                    </a:lnTo>
                    <a:lnTo>
                      <a:pt x="1309" y="294"/>
                    </a:lnTo>
                    <a:lnTo>
                      <a:pt x="1310" y="294"/>
                    </a:lnTo>
                    <a:lnTo>
                      <a:pt x="1310" y="292"/>
                    </a:lnTo>
                    <a:lnTo>
                      <a:pt x="1309" y="291"/>
                    </a:lnTo>
                    <a:lnTo>
                      <a:pt x="1310" y="291"/>
                    </a:lnTo>
                    <a:lnTo>
                      <a:pt x="1312" y="291"/>
                    </a:lnTo>
                    <a:lnTo>
                      <a:pt x="1312" y="289"/>
                    </a:lnTo>
                    <a:lnTo>
                      <a:pt x="1314" y="289"/>
                    </a:lnTo>
                    <a:lnTo>
                      <a:pt x="1314" y="287"/>
                    </a:lnTo>
                    <a:lnTo>
                      <a:pt x="1314" y="286"/>
                    </a:lnTo>
                    <a:lnTo>
                      <a:pt x="1315" y="287"/>
                    </a:lnTo>
                    <a:lnTo>
                      <a:pt x="1315" y="286"/>
                    </a:lnTo>
                    <a:lnTo>
                      <a:pt x="1315" y="284"/>
                    </a:lnTo>
                    <a:lnTo>
                      <a:pt x="1315" y="282"/>
                    </a:lnTo>
                    <a:lnTo>
                      <a:pt x="1317" y="282"/>
                    </a:lnTo>
                    <a:lnTo>
                      <a:pt x="1317" y="280"/>
                    </a:lnTo>
                    <a:lnTo>
                      <a:pt x="1317" y="279"/>
                    </a:lnTo>
                    <a:lnTo>
                      <a:pt x="1315" y="277"/>
                    </a:lnTo>
                    <a:lnTo>
                      <a:pt x="1315" y="275"/>
                    </a:lnTo>
                    <a:lnTo>
                      <a:pt x="1314" y="275"/>
                    </a:lnTo>
                    <a:lnTo>
                      <a:pt x="1315" y="274"/>
                    </a:lnTo>
                    <a:lnTo>
                      <a:pt x="1315" y="272"/>
                    </a:lnTo>
                    <a:lnTo>
                      <a:pt x="1315" y="270"/>
                    </a:lnTo>
                    <a:lnTo>
                      <a:pt x="1314" y="269"/>
                    </a:lnTo>
                    <a:lnTo>
                      <a:pt x="1314" y="267"/>
                    </a:lnTo>
                    <a:lnTo>
                      <a:pt x="1314" y="265"/>
                    </a:lnTo>
                    <a:lnTo>
                      <a:pt x="1312" y="265"/>
                    </a:lnTo>
                    <a:lnTo>
                      <a:pt x="1314" y="265"/>
                    </a:lnTo>
                    <a:lnTo>
                      <a:pt x="1312" y="265"/>
                    </a:lnTo>
                    <a:lnTo>
                      <a:pt x="1312" y="263"/>
                    </a:lnTo>
                    <a:lnTo>
                      <a:pt x="1312" y="262"/>
                    </a:lnTo>
                    <a:lnTo>
                      <a:pt x="1312" y="260"/>
                    </a:lnTo>
                    <a:lnTo>
                      <a:pt x="1312" y="258"/>
                    </a:lnTo>
                    <a:lnTo>
                      <a:pt x="1312" y="257"/>
                    </a:lnTo>
                    <a:lnTo>
                      <a:pt x="1312" y="255"/>
                    </a:lnTo>
                    <a:lnTo>
                      <a:pt x="1312" y="253"/>
                    </a:lnTo>
                    <a:lnTo>
                      <a:pt x="1312" y="252"/>
                    </a:lnTo>
                    <a:lnTo>
                      <a:pt x="1312" y="250"/>
                    </a:lnTo>
                    <a:lnTo>
                      <a:pt x="1314" y="250"/>
                    </a:lnTo>
                    <a:lnTo>
                      <a:pt x="1312" y="248"/>
                    </a:lnTo>
                    <a:lnTo>
                      <a:pt x="1314" y="248"/>
                    </a:lnTo>
                    <a:lnTo>
                      <a:pt x="1312" y="246"/>
                    </a:lnTo>
                    <a:lnTo>
                      <a:pt x="1314" y="246"/>
                    </a:lnTo>
                    <a:lnTo>
                      <a:pt x="1314" y="245"/>
                    </a:lnTo>
                    <a:lnTo>
                      <a:pt x="1314" y="243"/>
                    </a:lnTo>
                    <a:lnTo>
                      <a:pt x="1314" y="241"/>
                    </a:lnTo>
                    <a:lnTo>
                      <a:pt x="1314" y="240"/>
                    </a:lnTo>
                    <a:lnTo>
                      <a:pt x="1314" y="238"/>
                    </a:lnTo>
                    <a:lnTo>
                      <a:pt x="1314" y="236"/>
                    </a:lnTo>
                    <a:lnTo>
                      <a:pt x="1314" y="235"/>
                    </a:lnTo>
                    <a:lnTo>
                      <a:pt x="1314" y="233"/>
                    </a:lnTo>
                    <a:lnTo>
                      <a:pt x="1314" y="231"/>
                    </a:lnTo>
                    <a:lnTo>
                      <a:pt x="1314" y="229"/>
                    </a:lnTo>
                    <a:lnTo>
                      <a:pt x="1314" y="228"/>
                    </a:lnTo>
                    <a:lnTo>
                      <a:pt x="1314" y="226"/>
                    </a:lnTo>
                    <a:lnTo>
                      <a:pt x="1315" y="226"/>
                    </a:lnTo>
                    <a:lnTo>
                      <a:pt x="1315" y="224"/>
                    </a:lnTo>
                    <a:lnTo>
                      <a:pt x="1317" y="224"/>
                    </a:lnTo>
                    <a:lnTo>
                      <a:pt x="1317" y="223"/>
                    </a:lnTo>
                    <a:lnTo>
                      <a:pt x="1317" y="221"/>
                    </a:lnTo>
                    <a:lnTo>
                      <a:pt x="1317" y="219"/>
                    </a:lnTo>
                    <a:lnTo>
                      <a:pt x="1317" y="218"/>
                    </a:lnTo>
                    <a:lnTo>
                      <a:pt x="1317" y="216"/>
                    </a:lnTo>
                    <a:lnTo>
                      <a:pt x="1315" y="216"/>
                    </a:lnTo>
                    <a:lnTo>
                      <a:pt x="1315" y="214"/>
                    </a:lnTo>
                    <a:lnTo>
                      <a:pt x="1314" y="214"/>
                    </a:lnTo>
                    <a:lnTo>
                      <a:pt x="1314" y="216"/>
                    </a:lnTo>
                    <a:lnTo>
                      <a:pt x="1312" y="218"/>
                    </a:lnTo>
                    <a:lnTo>
                      <a:pt x="1312" y="216"/>
                    </a:lnTo>
                    <a:lnTo>
                      <a:pt x="1310" y="216"/>
                    </a:lnTo>
                    <a:lnTo>
                      <a:pt x="1310" y="214"/>
                    </a:lnTo>
                    <a:lnTo>
                      <a:pt x="1312" y="212"/>
                    </a:lnTo>
                    <a:lnTo>
                      <a:pt x="1310" y="212"/>
                    </a:lnTo>
                    <a:lnTo>
                      <a:pt x="1310" y="211"/>
                    </a:lnTo>
                    <a:lnTo>
                      <a:pt x="1312" y="209"/>
                    </a:lnTo>
                    <a:lnTo>
                      <a:pt x="1310" y="209"/>
                    </a:lnTo>
                    <a:lnTo>
                      <a:pt x="1310" y="207"/>
                    </a:lnTo>
                    <a:lnTo>
                      <a:pt x="1310" y="206"/>
                    </a:lnTo>
                    <a:lnTo>
                      <a:pt x="1312" y="206"/>
                    </a:lnTo>
                    <a:lnTo>
                      <a:pt x="1312" y="204"/>
                    </a:lnTo>
                    <a:lnTo>
                      <a:pt x="1312" y="202"/>
                    </a:lnTo>
                    <a:lnTo>
                      <a:pt x="1312" y="201"/>
                    </a:lnTo>
                    <a:lnTo>
                      <a:pt x="1312" y="199"/>
                    </a:lnTo>
                    <a:lnTo>
                      <a:pt x="1314" y="199"/>
                    </a:lnTo>
                    <a:lnTo>
                      <a:pt x="1314" y="201"/>
                    </a:lnTo>
                    <a:lnTo>
                      <a:pt x="1315" y="201"/>
                    </a:lnTo>
                    <a:lnTo>
                      <a:pt x="1317" y="201"/>
                    </a:lnTo>
                    <a:lnTo>
                      <a:pt x="1319" y="201"/>
                    </a:lnTo>
                    <a:lnTo>
                      <a:pt x="1319" y="199"/>
                    </a:lnTo>
                    <a:lnTo>
                      <a:pt x="1321" y="197"/>
                    </a:lnTo>
                    <a:lnTo>
                      <a:pt x="1321" y="195"/>
                    </a:lnTo>
                    <a:lnTo>
                      <a:pt x="1321" y="194"/>
                    </a:lnTo>
                    <a:lnTo>
                      <a:pt x="1322" y="194"/>
                    </a:lnTo>
                    <a:lnTo>
                      <a:pt x="1321" y="192"/>
                    </a:lnTo>
                    <a:lnTo>
                      <a:pt x="1321" y="190"/>
                    </a:lnTo>
                    <a:lnTo>
                      <a:pt x="1321" y="189"/>
                    </a:lnTo>
                    <a:lnTo>
                      <a:pt x="1322" y="187"/>
                    </a:lnTo>
                    <a:lnTo>
                      <a:pt x="1322" y="185"/>
                    </a:lnTo>
                    <a:lnTo>
                      <a:pt x="1322" y="184"/>
                    </a:lnTo>
                    <a:lnTo>
                      <a:pt x="1322" y="182"/>
                    </a:lnTo>
                    <a:lnTo>
                      <a:pt x="1322" y="180"/>
                    </a:lnTo>
                    <a:lnTo>
                      <a:pt x="1324" y="178"/>
                    </a:lnTo>
                    <a:lnTo>
                      <a:pt x="1322" y="178"/>
                    </a:lnTo>
                    <a:lnTo>
                      <a:pt x="1322" y="177"/>
                    </a:lnTo>
                    <a:lnTo>
                      <a:pt x="1322" y="175"/>
                    </a:lnTo>
                    <a:lnTo>
                      <a:pt x="1322" y="173"/>
                    </a:lnTo>
                    <a:lnTo>
                      <a:pt x="1324" y="172"/>
                    </a:lnTo>
                    <a:lnTo>
                      <a:pt x="1322" y="172"/>
                    </a:lnTo>
                    <a:lnTo>
                      <a:pt x="1324" y="170"/>
                    </a:lnTo>
                    <a:lnTo>
                      <a:pt x="1324" y="168"/>
                    </a:lnTo>
                    <a:lnTo>
                      <a:pt x="1324" y="166"/>
                    </a:lnTo>
                    <a:lnTo>
                      <a:pt x="1324" y="165"/>
                    </a:lnTo>
                    <a:lnTo>
                      <a:pt x="1324" y="163"/>
                    </a:lnTo>
                    <a:lnTo>
                      <a:pt x="1326" y="163"/>
                    </a:lnTo>
                    <a:lnTo>
                      <a:pt x="1324" y="163"/>
                    </a:lnTo>
                    <a:lnTo>
                      <a:pt x="1324" y="161"/>
                    </a:lnTo>
                    <a:lnTo>
                      <a:pt x="1326" y="161"/>
                    </a:lnTo>
                    <a:lnTo>
                      <a:pt x="1326" y="160"/>
                    </a:lnTo>
                    <a:lnTo>
                      <a:pt x="1326" y="158"/>
                    </a:lnTo>
                    <a:lnTo>
                      <a:pt x="1326" y="156"/>
                    </a:lnTo>
                    <a:lnTo>
                      <a:pt x="1326" y="155"/>
                    </a:lnTo>
                    <a:lnTo>
                      <a:pt x="1326" y="153"/>
                    </a:lnTo>
                    <a:lnTo>
                      <a:pt x="1326" y="151"/>
                    </a:lnTo>
                    <a:lnTo>
                      <a:pt x="1326" y="149"/>
                    </a:lnTo>
                    <a:lnTo>
                      <a:pt x="1326" y="148"/>
                    </a:lnTo>
                    <a:lnTo>
                      <a:pt x="1327" y="148"/>
                    </a:lnTo>
                    <a:lnTo>
                      <a:pt x="1327" y="146"/>
                    </a:lnTo>
                    <a:lnTo>
                      <a:pt x="1327" y="144"/>
                    </a:lnTo>
                    <a:lnTo>
                      <a:pt x="1329" y="144"/>
                    </a:lnTo>
                    <a:lnTo>
                      <a:pt x="1329" y="143"/>
                    </a:lnTo>
                    <a:lnTo>
                      <a:pt x="1329" y="141"/>
                    </a:lnTo>
                    <a:lnTo>
                      <a:pt x="1329" y="139"/>
                    </a:lnTo>
                    <a:lnTo>
                      <a:pt x="1329" y="138"/>
                    </a:lnTo>
                    <a:lnTo>
                      <a:pt x="1327" y="138"/>
                    </a:lnTo>
                    <a:lnTo>
                      <a:pt x="1329" y="136"/>
                    </a:lnTo>
                    <a:lnTo>
                      <a:pt x="1329" y="134"/>
                    </a:lnTo>
                    <a:lnTo>
                      <a:pt x="1329" y="132"/>
                    </a:lnTo>
                    <a:lnTo>
                      <a:pt x="1327" y="132"/>
                    </a:lnTo>
                    <a:lnTo>
                      <a:pt x="1327" y="131"/>
                    </a:lnTo>
                    <a:lnTo>
                      <a:pt x="1327" y="129"/>
                    </a:lnTo>
                    <a:lnTo>
                      <a:pt x="1327" y="127"/>
                    </a:lnTo>
                    <a:lnTo>
                      <a:pt x="1326" y="127"/>
                    </a:lnTo>
                    <a:lnTo>
                      <a:pt x="1326" y="126"/>
                    </a:lnTo>
                    <a:lnTo>
                      <a:pt x="1326" y="124"/>
                    </a:lnTo>
                    <a:lnTo>
                      <a:pt x="1327" y="122"/>
                    </a:lnTo>
                    <a:lnTo>
                      <a:pt x="1326" y="121"/>
                    </a:lnTo>
                    <a:lnTo>
                      <a:pt x="1327" y="121"/>
                    </a:lnTo>
                    <a:lnTo>
                      <a:pt x="1326" y="121"/>
                    </a:lnTo>
                    <a:lnTo>
                      <a:pt x="1326" y="119"/>
                    </a:lnTo>
                    <a:lnTo>
                      <a:pt x="1324" y="117"/>
                    </a:lnTo>
                    <a:lnTo>
                      <a:pt x="1326" y="117"/>
                    </a:lnTo>
                    <a:lnTo>
                      <a:pt x="1324" y="117"/>
                    </a:lnTo>
                    <a:lnTo>
                      <a:pt x="1324" y="115"/>
                    </a:lnTo>
                    <a:lnTo>
                      <a:pt x="1326" y="115"/>
                    </a:lnTo>
                    <a:lnTo>
                      <a:pt x="1324" y="115"/>
                    </a:lnTo>
                    <a:lnTo>
                      <a:pt x="1324" y="114"/>
                    </a:lnTo>
                    <a:lnTo>
                      <a:pt x="1326" y="114"/>
                    </a:lnTo>
                    <a:lnTo>
                      <a:pt x="1324" y="114"/>
                    </a:lnTo>
                    <a:lnTo>
                      <a:pt x="1326" y="112"/>
                    </a:lnTo>
                    <a:lnTo>
                      <a:pt x="1324" y="110"/>
                    </a:lnTo>
                    <a:lnTo>
                      <a:pt x="1324" y="109"/>
                    </a:lnTo>
                    <a:lnTo>
                      <a:pt x="1324" y="107"/>
                    </a:lnTo>
                    <a:lnTo>
                      <a:pt x="1326" y="107"/>
                    </a:lnTo>
                    <a:lnTo>
                      <a:pt x="1326" y="105"/>
                    </a:lnTo>
                    <a:lnTo>
                      <a:pt x="1326" y="104"/>
                    </a:lnTo>
                    <a:lnTo>
                      <a:pt x="1326" y="102"/>
                    </a:lnTo>
                    <a:lnTo>
                      <a:pt x="1326" y="100"/>
                    </a:lnTo>
                    <a:lnTo>
                      <a:pt x="1327" y="100"/>
                    </a:lnTo>
                    <a:lnTo>
                      <a:pt x="1327" y="98"/>
                    </a:lnTo>
                    <a:lnTo>
                      <a:pt x="1326" y="97"/>
                    </a:lnTo>
                    <a:lnTo>
                      <a:pt x="1327" y="95"/>
                    </a:lnTo>
                    <a:lnTo>
                      <a:pt x="1326" y="95"/>
                    </a:lnTo>
                    <a:lnTo>
                      <a:pt x="1326" y="93"/>
                    </a:lnTo>
                    <a:lnTo>
                      <a:pt x="1327" y="93"/>
                    </a:lnTo>
                    <a:lnTo>
                      <a:pt x="1327" y="92"/>
                    </a:lnTo>
                    <a:lnTo>
                      <a:pt x="1327" y="90"/>
                    </a:lnTo>
                    <a:lnTo>
                      <a:pt x="1327" y="88"/>
                    </a:lnTo>
                    <a:lnTo>
                      <a:pt x="1327" y="87"/>
                    </a:lnTo>
                    <a:lnTo>
                      <a:pt x="1326" y="87"/>
                    </a:lnTo>
                    <a:lnTo>
                      <a:pt x="1327" y="87"/>
                    </a:lnTo>
                    <a:lnTo>
                      <a:pt x="1326" y="85"/>
                    </a:lnTo>
                    <a:lnTo>
                      <a:pt x="1327" y="85"/>
                    </a:lnTo>
                    <a:lnTo>
                      <a:pt x="1327" y="83"/>
                    </a:lnTo>
                    <a:lnTo>
                      <a:pt x="1326" y="83"/>
                    </a:lnTo>
                    <a:lnTo>
                      <a:pt x="1326" y="81"/>
                    </a:lnTo>
                    <a:lnTo>
                      <a:pt x="1326" y="80"/>
                    </a:lnTo>
                    <a:lnTo>
                      <a:pt x="1326" y="78"/>
                    </a:lnTo>
                    <a:lnTo>
                      <a:pt x="1326" y="76"/>
                    </a:lnTo>
                    <a:lnTo>
                      <a:pt x="1324" y="75"/>
                    </a:lnTo>
                    <a:lnTo>
                      <a:pt x="1324" y="73"/>
                    </a:lnTo>
                    <a:lnTo>
                      <a:pt x="1324" y="71"/>
                    </a:lnTo>
                    <a:lnTo>
                      <a:pt x="1324" y="70"/>
                    </a:lnTo>
                    <a:lnTo>
                      <a:pt x="1324" y="68"/>
                    </a:lnTo>
                    <a:lnTo>
                      <a:pt x="1324" y="66"/>
                    </a:lnTo>
                    <a:lnTo>
                      <a:pt x="1322" y="66"/>
                    </a:lnTo>
                    <a:lnTo>
                      <a:pt x="1322" y="64"/>
                    </a:lnTo>
                    <a:lnTo>
                      <a:pt x="1322" y="63"/>
                    </a:lnTo>
                    <a:lnTo>
                      <a:pt x="1322" y="61"/>
                    </a:lnTo>
                    <a:lnTo>
                      <a:pt x="1322" y="59"/>
                    </a:lnTo>
                    <a:lnTo>
                      <a:pt x="1322" y="58"/>
                    </a:lnTo>
                    <a:lnTo>
                      <a:pt x="1322" y="56"/>
                    </a:lnTo>
                    <a:lnTo>
                      <a:pt x="1321" y="56"/>
                    </a:lnTo>
                    <a:lnTo>
                      <a:pt x="1321" y="54"/>
                    </a:lnTo>
                    <a:lnTo>
                      <a:pt x="1321" y="53"/>
                    </a:lnTo>
                    <a:lnTo>
                      <a:pt x="1321" y="51"/>
                    </a:lnTo>
                    <a:lnTo>
                      <a:pt x="1321" y="49"/>
                    </a:lnTo>
                    <a:lnTo>
                      <a:pt x="1321" y="47"/>
                    </a:lnTo>
                    <a:lnTo>
                      <a:pt x="1319" y="47"/>
                    </a:lnTo>
                    <a:lnTo>
                      <a:pt x="1319" y="46"/>
                    </a:lnTo>
                    <a:lnTo>
                      <a:pt x="1319" y="44"/>
                    </a:lnTo>
                    <a:lnTo>
                      <a:pt x="1321" y="44"/>
                    </a:lnTo>
                    <a:lnTo>
                      <a:pt x="1319" y="42"/>
                    </a:lnTo>
                    <a:lnTo>
                      <a:pt x="1321" y="42"/>
                    </a:lnTo>
                    <a:lnTo>
                      <a:pt x="1321" y="41"/>
                    </a:lnTo>
                    <a:lnTo>
                      <a:pt x="1319" y="41"/>
                    </a:lnTo>
                    <a:lnTo>
                      <a:pt x="1321" y="39"/>
                    </a:lnTo>
                    <a:lnTo>
                      <a:pt x="1321" y="37"/>
                    </a:lnTo>
                    <a:lnTo>
                      <a:pt x="1321" y="36"/>
                    </a:lnTo>
                    <a:lnTo>
                      <a:pt x="1321" y="34"/>
                    </a:lnTo>
                    <a:lnTo>
                      <a:pt x="1321" y="32"/>
                    </a:lnTo>
                    <a:lnTo>
                      <a:pt x="1321" y="30"/>
                    </a:lnTo>
                    <a:lnTo>
                      <a:pt x="1319" y="30"/>
                    </a:lnTo>
                    <a:lnTo>
                      <a:pt x="1319" y="29"/>
                    </a:lnTo>
                    <a:lnTo>
                      <a:pt x="1321" y="29"/>
                    </a:lnTo>
                    <a:lnTo>
                      <a:pt x="1322" y="29"/>
                    </a:lnTo>
                    <a:lnTo>
                      <a:pt x="1324" y="29"/>
                    </a:lnTo>
                    <a:lnTo>
                      <a:pt x="1326" y="29"/>
                    </a:lnTo>
                    <a:lnTo>
                      <a:pt x="1327" y="29"/>
                    </a:lnTo>
                    <a:lnTo>
                      <a:pt x="1329" y="27"/>
                    </a:lnTo>
                    <a:lnTo>
                      <a:pt x="1331" y="27"/>
                    </a:lnTo>
                    <a:lnTo>
                      <a:pt x="1331" y="25"/>
                    </a:lnTo>
                    <a:lnTo>
                      <a:pt x="1332" y="25"/>
                    </a:lnTo>
                    <a:lnTo>
                      <a:pt x="1334" y="25"/>
                    </a:lnTo>
                    <a:lnTo>
                      <a:pt x="1334" y="24"/>
                    </a:lnTo>
                    <a:lnTo>
                      <a:pt x="1336" y="24"/>
                    </a:lnTo>
                    <a:lnTo>
                      <a:pt x="1338" y="22"/>
                    </a:lnTo>
                    <a:lnTo>
                      <a:pt x="1339" y="22"/>
                    </a:lnTo>
                    <a:lnTo>
                      <a:pt x="1339" y="20"/>
                    </a:lnTo>
                    <a:lnTo>
                      <a:pt x="1339" y="18"/>
                    </a:lnTo>
                    <a:lnTo>
                      <a:pt x="1339" y="17"/>
                    </a:lnTo>
                    <a:lnTo>
                      <a:pt x="1339" y="15"/>
                    </a:lnTo>
                    <a:lnTo>
                      <a:pt x="1339" y="13"/>
                    </a:lnTo>
                    <a:lnTo>
                      <a:pt x="1338" y="13"/>
                    </a:lnTo>
                    <a:lnTo>
                      <a:pt x="1339" y="12"/>
                    </a:lnTo>
                    <a:lnTo>
                      <a:pt x="1338" y="12"/>
                    </a:lnTo>
                    <a:lnTo>
                      <a:pt x="1338" y="10"/>
                    </a:lnTo>
                    <a:lnTo>
                      <a:pt x="1338" y="8"/>
                    </a:lnTo>
                    <a:lnTo>
                      <a:pt x="1336" y="8"/>
                    </a:lnTo>
                    <a:lnTo>
                      <a:pt x="1338" y="7"/>
                    </a:lnTo>
                    <a:lnTo>
                      <a:pt x="1338" y="5"/>
                    </a:lnTo>
                    <a:lnTo>
                      <a:pt x="1339" y="5"/>
                    </a:lnTo>
                    <a:lnTo>
                      <a:pt x="1341" y="5"/>
                    </a:lnTo>
                    <a:lnTo>
                      <a:pt x="1343" y="5"/>
                    </a:lnTo>
                    <a:lnTo>
                      <a:pt x="1344" y="3"/>
                    </a:lnTo>
                    <a:lnTo>
                      <a:pt x="1346" y="1"/>
                    </a:lnTo>
                    <a:lnTo>
                      <a:pt x="1349" y="0"/>
                    </a:lnTo>
                    <a:lnTo>
                      <a:pt x="1349" y="3"/>
                    </a:lnTo>
                    <a:lnTo>
                      <a:pt x="1351" y="5"/>
                    </a:lnTo>
                    <a:lnTo>
                      <a:pt x="1353" y="7"/>
                    </a:lnTo>
                    <a:lnTo>
                      <a:pt x="1353" y="8"/>
                    </a:lnTo>
                    <a:lnTo>
                      <a:pt x="1355" y="8"/>
                    </a:lnTo>
                    <a:lnTo>
                      <a:pt x="1355" y="10"/>
                    </a:lnTo>
                    <a:lnTo>
                      <a:pt x="1355" y="12"/>
                    </a:lnTo>
                    <a:lnTo>
                      <a:pt x="1355" y="13"/>
                    </a:lnTo>
                    <a:lnTo>
                      <a:pt x="1355" y="15"/>
                    </a:lnTo>
                    <a:lnTo>
                      <a:pt x="1356" y="15"/>
                    </a:lnTo>
                    <a:lnTo>
                      <a:pt x="1356" y="17"/>
                    </a:lnTo>
                    <a:lnTo>
                      <a:pt x="1358" y="17"/>
                    </a:lnTo>
                    <a:lnTo>
                      <a:pt x="1360" y="17"/>
                    </a:lnTo>
                    <a:lnTo>
                      <a:pt x="1361" y="17"/>
                    </a:lnTo>
                    <a:lnTo>
                      <a:pt x="1361" y="18"/>
                    </a:lnTo>
                    <a:lnTo>
                      <a:pt x="1363" y="18"/>
                    </a:lnTo>
                    <a:lnTo>
                      <a:pt x="1363" y="20"/>
                    </a:lnTo>
                    <a:lnTo>
                      <a:pt x="1361" y="20"/>
                    </a:lnTo>
                    <a:lnTo>
                      <a:pt x="1363" y="20"/>
                    </a:lnTo>
                    <a:lnTo>
                      <a:pt x="1361" y="20"/>
                    </a:lnTo>
                    <a:lnTo>
                      <a:pt x="1361" y="22"/>
                    </a:lnTo>
                    <a:lnTo>
                      <a:pt x="1360" y="22"/>
                    </a:lnTo>
                    <a:lnTo>
                      <a:pt x="1360" y="24"/>
                    </a:lnTo>
                    <a:lnTo>
                      <a:pt x="1361" y="24"/>
                    </a:lnTo>
                    <a:lnTo>
                      <a:pt x="1361" y="25"/>
                    </a:lnTo>
                    <a:lnTo>
                      <a:pt x="1363" y="25"/>
                    </a:lnTo>
                    <a:lnTo>
                      <a:pt x="1363" y="27"/>
                    </a:lnTo>
                    <a:lnTo>
                      <a:pt x="1363" y="29"/>
                    </a:lnTo>
                    <a:lnTo>
                      <a:pt x="1363" y="30"/>
                    </a:lnTo>
                    <a:lnTo>
                      <a:pt x="1363" y="32"/>
                    </a:lnTo>
                    <a:lnTo>
                      <a:pt x="1365" y="32"/>
                    </a:lnTo>
                    <a:lnTo>
                      <a:pt x="1365" y="34"/>
                    </a:lnTo>
                    <a:lnTo>
                      <a:pt x="1365" y="36"/>
                    </a:lnTo>
                    <a:lnTo>
                      <a:pt x="1365" y="37"/>
                    </a:lnTo>
                    <a:lnTo>
                      <a:pt x="1365" y="39"/>
                    </a:lnTo>
                    <a:lnTo>
                      <a:pt x="1363" y="39"/>
                    </a:lnTo>
                    <a:lnTo>
                      <a:pt x="1365" y="39"/>
                    </a:lnTo>
                    <a:lnTo>
                      <a:pt x="1365" y="41"/>
                    </a:lnTo>
                    <a:lnTo>
                      <a:pt x="1365" y="42"/>
                    </a:lnTo>
                    <a:lnTo>
                      <a:pt x="1366" y="42"/>
                    </a:lnTo>
                    <a:lnTo>
                      <a:pt x="1366" y="44"/>
                    </a:lnTo>
                    <a:lnTo>
                      <a:pt x="1366" y="46"/>
                    </a:lnTo>
                    <a:lnTo>
                      <a:pt x="1368" y="47"/>
                    </a:lnTo>
                    <a:lnTo>
                      <a:pt x="1368" y="49"/>
                    </a:lnTo>
                    <a:lnTo>
                      <a:pt x="1366" y="49"/>
                    </a:lnTo>
                    <a:lnTo>
                      <a:pt x="1366" y="51"/>
                    </a:lnTo>
                    <a:lnTo>
                      <a:pt x="1368" y="51"/>
                    </a:lnTo>
                    <a:lnTo>
                      <a:pt x="1368" y="53"/>
                    </a:lnTo>
                    <a:lnTo>
                      <a:pt x="1368" y="54"/>
                    </a:lnTo>
                    <a:lnTo>
                      <a:pt x="1370" y="54"/>
                    </a:lnTo>
                    <a:lnTo>
                      <a:pt x="1372" y="56"/>
                    </a:lnTo>
                    <a:lnTo>
                      <a:pt x="1373" y="56"/>
                    </a:lnTo>
                    <a:lnTo>
                      <a:pt x="1373" y="58"/>
                    </a:lnTo>
                    <a:lnTo>
                      <a:pt x="1375" y="58"/>
                    </a:lnTo>
                    <a:lnTo>
                      <a:pt x="1375" y="59"/>
                    </a:lnTo>
                    <a:lnTo>
                      <a:pt x="1377" y="59"/>
                    </a:lnTo>
                    <a:lnTo>
                      <a:pt x="1377" y="61"/>
                    </a:lnTo>
                    <a:lnTo>
                      <a:pt x="1378" y="61"/>
                    </a:lnTo>
                    <a:lnTo>
                      <a:pt x="1378" y="63"/>
                    </a:lnTo>
                    <a:lnTo>
                      <a:pt x="1380" y="63"/>
                    </a:lnTo>
                    <a:lnTo>
                      <a:pt x="1382" y="64"/>
                    </a:lnTo>
                    <a:lnTo>
                      <a:pt x="1382" y="66"/>
                    </a:lnTo>
                    <a:lnTo>
                      <a:pt x="1383" y="66"/>
                    </a:lnTo>
                    <a:lnTo>
                      <a:pt x="1383" y="68"/>
                    </a:lnTo>
                    <a:lnTo>
                      <a:pt x="1383" y="70"/>
                    </a:lnTo>
                    <a:lnTo>
                      <a:pt x="1382" y="71"/>
                    </a:lnTo>
                    <a:lnTo>
                      <a:pt x="1382" y="73"/>
                    </a:lnTo>
                    <a:lnTo>
                      <a:pt x="1380" y="73"/>
                    </a:lnTo>
                    <a:lnTo>
                      <a:pt x="1380" y="75"/>
                    </a:lnTo>
                    <a:lnTo>
                      <a:pt x="1378" y="75"/>
                    </a:lnTo>
                    <a:lnTo>
                      <a:pt x="1378" y="76"/>
                    </a:lnTo>
                    <a:lnTo>
                      <a:pt x="1378" y="78"/>
                    </a:lnTo>
                    <a:lnTo>
                      <a:pt x="1377" y="78"/>
                    </a:lnTo>
                    <a:lnTo>
                      <a:pt x="1375" y="78"/>
                    </a:lnTo>
                    <a:lnTo>
                      <a:pt x="1375" y="80"/>
                    </a:lnTo>
                    <a:lnTo>
                      <a:pt x="1377" y="80"/>
                    </a:lnTo>
                    <a:lnTo>
                      <a:pt x="1378" y="81"/>
                    </a:lnTo>
                    <a:lnTo>
                      <a:pt x="1378" y="83"/>
                    </a:lnTo>
                    <a:lnTo>
                      <a:pt x="1380" y="83"/>
                    </a:lnTo>
                    <a:lnTo>
                      <a:pt x="1382" y="83"/>
                    </a:lnTo>
                    <a:lnTo>
                      <a:pt x="1380" y="83"/>
                    </a:lnTo>
                    <a:lnTo>
                      <a:pt x="1380" y="85"/>
                    </a:lnTo>
                    <a:lnTo>
                      <a:pt x="1382" y="85"/>
                    </a:lnTo>
                    <a:lnTo>
                      <a:pt x="1382" y="87"/>
                    </a:lnTo>
                    <a:lnTo>
                      <a:pt x="1380" y="87"/>
                    </a:lnTo>
                    <a:lnTo>
                      <a:pt x="1380" y="88"/>
                    </a:lnTo>
                    <a:lnTo>
                      <a:pt x="1380" y="90"/>
                    </a:lnTo>
                    <a:lnTo>
                      <a:pt x="1378" y="90"/>
                    </a:lnTo>
                    <a:lnTo>
                      <a:pt x="1377" y="90"/>
                    </a:lnTo>
                    <a:lnTo>
                      <a:pt x="1375" y="92"/>
                    </a:lnTo>
                    <a:lnTo>
                      <a:pt x="1373" y="92"/>
                    </a:lnTo>
                    <a:lnTo>
                      <a:pt x="1373" y="93"/>
                    </a:lnTo>
                    <a:lnTo>
                      <a:pt x="1375" y="93"/>
                    </a:lnTo>
                    <a:lnTo>
                      <a:pt x="1375" y="95"/>
                    </a:lnTo>
                    <a:lnTo>
                      <a:pt x="1375" y="97"/>
                    </a:lnTo>
                    <a:lnTo>
                      <a:pt x="1375" y="98"/>
                    </a:lnTo>
                    <a:lnTo>
                      <a:pt x="1377" y="98"/>
                    </a:lnTo>
                    <a:lnTo>
                      <a:pt x="1377" y="100"/>
                    </a:lnTo>
                    <a:lnTo>
                      <a:pt x="1377" y="102"/>
                    </a:lnTo>
                    <a:lnTo>
                      <a:pt x="1375" y="102"/>
                    </a:lnTo>
                    <a:lnTo>
                      <a:pt x="1373" y="102"/>
                    </a:lnTo>
                    <a:lnTo>
                      <a:pt x="1373" y="104"/>
                    </a:lnTo>
                    <a:lnTo>
                      <a:pt x="1373" y="105"/>
                    </a:lnTo>
                    <a:lnTo>
                      <a:pt x="1375" y="105"/>
                    </a:lnTo>
                    <a:lnTo>
                      <a:pt x="1375" y="107"/>
                    </a:lnTo>
                    <a:lnTo>
                      <a:pt x="1377" y="107"/>
                    </a:lnTo>
                    <a:lnTo>
                      <a:pt x="1378" y="107"/>
                    </a:lnTo>
                    <a:lnTo>
                      <a:pt x="1378" y="109"/>
                    </a:lnTo>
                    <a:lnTo>
                      <a:pt x="1380" y="109"/>
                    </a:lnTo>
                    <a:lnTo>
                      <a:pt x="1382" y="109"/>
                    </a:lnTo>
                    <a:lnTo>
                      <a:pt x="1382" y="110"/>
                    </a:lnTo>
                    <a:lnTo>
                      <a:pt x="1383" y="110"/>
                    </a:lnTo>
                    <a:lnTo>
                      <a:pt x="1383" y="112"/>
                    </a:lnTo>
                    <a:lnTo>
                      <a:pt x="1382" y="112"/>
                    </a:lnTo>
                    <a:lnTo>
                      <a:pt x="1382" y="114"/>
                    </a:lnTo>
                    <a:lnTo>
                      <a:pt x="1380" y="114"/>
                    </a:lnTo>
                    <a:lnTo>
                      <a:pt x="1380" y="115"/>
                    </a:lnTo>
                    <a:lnTo>
                      <a:pt x="1380" y="117"/>
                    </a:lnTo>
                    <a:lnTo>
                      <a:pt x="1380" y="119"/>
                    </a:lnTo>
                    <a:lnTo>
                      <a:pt x="1380" y="121"/>
                    </a:lnTo>
                    <a:lnTo>
                      <a:pt x="1382" y="122"/>
                    </a:lnTo>
                    <a:lnTo>
                      <a:pt x="1383" y="122"/>
                    </a:lnTo>
                    <a:lnTo>
                      <a:pt x="1385" y="122"/>
                    </a:lnTo>
                    <a:lnTo>
                      <a:pt x="1385" y="124"/>
                    </a:lnTo>
                    <a:lnTo>
                      <a:pt x="1387" y="124"/>
                    </a:lnTo>
                    <a:lnTo>
                      <a:pt x="1387" y="126"/>
                    </a:lnTo>
                    <a:lnTo>
                      <a:pt x="1389" y="126"/>
                    </a:lnTo>
                    <a:lnTo>
                      <a:pt x="1389" y="127"/>
                    </a:lnTo>
                    <a:lnTo>
                      <a:pt x="1389" y="129"/>
                    </a:lnTo>
                    <a:lnTo>
                      <a:pt x="1392" y="134"/>
                    </a:lnTo>
                    <a:lnTo>
                      <a:pt x="1392" y="136"/>
                    </a:lnTo>
                    <a:lnTo>
                      <a:pt x="1392" y="138"/>
                    </a:lnTo>
                    <a:lnTo>
                      <a:pt x="1392" y="141"/>
                    </a:lnTo>
                    <a:lnTo>
                      <a:pt x="1392" y="143"/>
                    </a:lnTo>
                    <a:lnTo>
                      <a:pt x="1392" y="144"/>
                    </a:lnTo>
                    <a:lnTo>
                      <a:pt x="1392" y="146"/>
                    </a:lnTo>
                    <a:lnTo>
                      <a:pt x="1394" y="148"/>
                    </a:lnTo>
                    <a:lnTo>
                      <a:pt x="1395" y="149"/>
                    </a:lnTo>
                    <a:lnTo>
                      <a:pt x="1395" y="151"/>
                    </a:lnTo>
                    <a:lnTo>
                      <a:pt x="1397" y="153"/>
                    </a:lnTo>
                    <a:lnTo>
                      <a:pt x="1397" y="155"/>
                    </a:lnTo>
                    <a:lnTo>
                      <a:pt x="1397" y="160"/>
                    </a:lnTo>
                    <a:lnTo>
                      <a:pt x="1397" y="161"/>
                    </a:lnTo>
                    <a:lnTo>
                      <a:pt x="1399" y="161"/>
                    </a:lnTo>
                    <a:lnTo>
                      <a:pt x="1399" y="163"/>
                    </a:lnTo>
                    <a:lnTo>
                      <a:pt x="1400" y="163"/>
                    </a:lnTo>
                    <a:lnTo>
                      <a:pt x="1400" y="165"/>
                    </a:lnTo>
                    <a:lnTo>
                      <a:pt x="1400" y="166"/>
                    </a:lnTo>
                    <a:lnTo>
                      <a:pt x="1400" y="168"/>
                    </a:lnTo>
                    <a:lnTo>
                      <a:pt x="1402" y="168"/>
                    </a:lnTo>
                    <a:lnTo>
                      <a:pt x="1400" y="170"/>
                    </a:lnTo>
                    <a:lnTo>
                      <a:pt x="1402" y="170"/>
                    </a:lnTo>
                    <a:lnTo>
                      <a:pt x="1400" y="172"/>
                    </a:lnTo>
                    <a:lnTo>
                      <a:pt x="1400" y="173"/>
                    </a:lnTo>
                    <a:lnTo>
                      <a:pt x="1400" y="175"/>
                    </a:lnTo>
                    <a:lnTo>
                      <a:pt x="1402" y="175"/>
                    </a:lnTo>
                    <a:lnTo>
                      <a:pt x="1402" y="177"/>
                    </a:lnTo>
                    <a:lnTo>
                      <a:pt x="1402" y="178"/>
                    </a:lnTo>
                    <a:lnTo>
                      <a:pt x="1402" y="180"/>
                    </a:lnTo>
                    <a:lnTo>
                      <a:pt x="1404" y="180"/>
                    </a:lnTo>
                    <a:lnTo>
                      <a:pt x="1404" y="182"/>
                    </a:lnTo>
                    <a:lnTo>
                      <a:pt x="1404" y="184"/>
                    </a:lnTo>
                    <a:lnTo>
                      <a:pt x="1402" y="184"/>
                    </a:lnTo>
                    <a:lnTo>
                      <a:pt x="1402" y="185"/>
                    </a:lnTo>
                    <a:lnTo>
                      <a:pt x="1404" y="185"/>
                    </a:lnTo>
                    <a:lnTo>
                      <a:pt x="1402" y="187"/>
                    </a:lnTo>
                    <a:lnTo>
                      <a:pt x="1404" y="189"/>
                    </a:lnTo>
                    <a:lnTo>
                      <a:pt x="1402" y="189"/>
                    </a:lnTo>
                    <a:lnTo>
                      <a:pt x="1404" y="189"/>
                    </a:lnTo>
                    <a:lnTo>
                      <a:pt x="1402" y="190"/>
                    </a:lnTo>
                    <a:lnTo>
                      <a:pt x="1402" y="192"/>
                    </a:lnTo>
                    <a:lnTo>
                      <a:pt x="1404" y="192"/>
                    </a:lnTo>
                    <a:lnTo>
                      <a:pt x="1406" y="192"/>
                    </a:lnTo>
                    <a:lnTo>
                      <a:pt x="1414" y="194"/>
                    </a:lnTo>
                    <a:lnTo>
                      <a:pt x="1416" y="194"/>
                    </a:lnTo>
                    <a:lnTo>
                      <a:pt x="1426" y="190"/>
                    </a:lnTo>
                    <a:close/>
                    <a:moveTo>
                      <a:pt x="1378" y="1498"/>
                    </a:moveTo>
                    <a:lnTo>
                      <a:pt x="1378" y="1500"/>
                    </a:lnTo>
                    <a:lnTo>
                      <a:pt x="1378" y="1517"/>
                    </a:lnTo>
                    <a:lnTo>
                      <a:pt x="1378" y="1531"/>
                    </a:lnTo>
                    <a:lnTo>
                      <a:pt x="1378" y="1536"/>
                    </a:lnTo>
                    <a:lnTo>
                      <a:pt x="1378" y="1539"/>
                    </a:lnTo>
                    <a:lnTo>
                      <a:pt x="1378" y="1551"/>
                    </a:lnTo>
                    <a:lnTo>
                      <a:pt x="1377" y="1563"/>
                    </a:lnTo>
                    <a:lnTo>
                      <a:pt x="1377" y="1570"/>
                    </a:lnTo>
                    <a:lnTo>
                      <a:pt x="1377" y="1582"/>
                    </a:lnTo>
                    <a:lnTo>
                      <a:pt x="1377" y="1595"/>
                    </a:lnTo>
                    <a:lnTo>
                      <a:pt x="1377" y="1597"/>
                    </a:lnTo>
                    <a:lnTo>
                      <a:pt x="1377" y="1604"/>
                    </a:lnTo>
                    <a:lnTo>
                      <a:pt x="1377" y="1606"/>
                    </a:lnTo>
                    <a:lnTo>
                      <a:pt x="1377" y="1607"/>
                    </a:lnTo>
                    <a:lnTo>
                      <a:pt x="1377" y="1609"/>
                    </a:lnTo>
                    <a:lnTo>
                      <a:pt x="1377" y="1621"/>
                    </a:lnTo>
                    <a:lnTo>
                      <a:pt x="1377" y="1626"/>
                    </a:lnTo>
                    <a:lnTo>
                      <a:pt x="1375" y="1624"/>
                    </a:lnTo>
                    <a:lnTo>
                      <a:pt x="1373" y="1623"/>
                    </a:lnTo>
                    <a:lnTo>
                      <a:pt x="1372" y="1623"/>
                    </a:lnTo>
                    <a:lnTo>
                      <a:pt x="1372" y="1624"/>
                    </a:lnTo>
                    <a:lnTo>
                      <a:pt x="1373" y="1624"/>
                    </a:lnTo>
                    <a:lnTo>
                      <a:pt x="1373" y="1626"/>
                    </a:lnTo>
                    <a:lnTo>
                      <a:pt x="1375" y="1626"/>
                    </a:lnTo>
                    <a:lnTo>
                      <a:pt x="1375" y="1628"/>
                    </a:lnTo>
                    <a:lnTo>
                      <a:pt x="1373" y="1628"/>
                    </a:lnTo>
                    <a:lnTo>
                      <a:pt x="1372" y="1629"/>
                    </a:lnTo>
                    <a:lnTo>
                      <a:pt x="1370" y="1629"/>
                    </a:lnTo>
                    <a:lnTo>
                      <a:pt x="1368" y="1629"/>
                    </a:lnTo>
                    <a:lnTo>
                      <a:pt x="1366" y="1629"/>
                    </a:lnTo>
                    <a:lnTo>
                      <a:pt x="1365" y="1629"/>
                    </a:lnTo>
                    <a:lnTo>
                      <a:pt x="1365" y="1631"/>
                    </a:lnTo>
                    <a:lnTo>
                      <a:pt x="1363" y="1629"/>
                    </a:lnTo>
                    <a:lnTo>
                      <a:pt x="1361" y="1629"/>
                    </a:lnTo>
                    <a:lnTo>
                      <a:pt x="1360" y="1629"/>
                    </a:lnTo>
                    <a:lnTo>
                      <a:pt x="1358" y="1628"/>
                    </a:lnTo>
                    <a:lnTo>
                      <a:pt x="1356" y="1628"/>
                    </a:lnTo>
                    <a:lnTo>
                      <a:pt x="1355" y="1628"/>
                    </a:lnTo>
                    <a:lnTo>
                      <a:pt x="1353" y="1628"/>
                    </a:lnTo>
                    <a:lnTo>
                      <a:pt x="1351" y="1626"/>
                    </a:lnTo>
                    <a:lnTo>
                      <a:pt x="1349" y="1626"/>
                    </a:lnTo>
                    <a:lnTo>
                      <a:pt x="1348" y="1626"/>
                    </a:lnTo>
                    <a:lnTo>
                      <a:pt x="1348" y="1624"/>
                    </a:lnTo>
                    <a:lnTo>
                      <a:pt x="1346" y="1624"/>
                    </a:lnTo>
                    <a:lnTo>
                      <a:pt x="1344" y="1624"/>
                    </a:lnTo>
                    <a:lnTo>
                      <a:pt x="1343" y="1623"/>
                    </a:lnTo>
                    <a:lnTo>
                      <a:pt x="1343" y="1621"/>
                    </a:lnTo>
                    <a:lnTo>
                      <a:pt x="1344" y="1619"/>
                    </a:lnTo>
                    <a:lnTo>
                      <a:pt x="1344" y="1621"/>
                    </a:lnTo>
                    <a:lnTo>
                      <a:pt x="1344" y="1619"/>
                    </a:lnTo>
                    <a:lnTo>
                      <a:pt x="1344" y="1618"/>
                    </a:lnTo>
                    <a:lnTo>
                      <a:pt x="1344" y="1616"/>
                    </a:lnTo>
                    <a:lnTo>
                      <a:pt x="1344" y="1618"/>
                    </a:lnTo>
                    <a:lnTo>
                      <a:pt x="1344" y="1619"/>
                    </a:lnTo>
                    <a:lnTo>
                      <a:pt x="1343" y="1621"/>
                    </a:lnTo>
                    <a:lnTo>
                      <a:pt x="1343" y="1619"/>
                    </a:lnTo>
                    <a:lnTo>
                      <a:pt x="1343" y="1618"/>
                    </a:lnTo>
                    <a:lnTo>
                      <a:pt x="1341" y="1616"/>
                    </a:lnTo>
                    <a:lnTo>
                      <a:pt x="1341" y="1614"/>
                    </a:lnTo>
                    <a:lnTo>
                      <a:pt x="1341" y="1616"/>
                    </a:lnTo>
                    <a:lnTo>
                      <a:pt x="1341" y="1618"/>
                    </a:lnTo>
                    <a:lnTo>
                      <a:pt x="1343" y="1619"/>
                    </a:lnTo>
                    <a:lnTo>
                      <a:pt x="1341" y="1619"/>
                    </a:lnTo>
                    <a:lnTo>
                      <a:pt x="1341" y="1621"/>
                    </a:lnTo>
                    <a:lnTo>
                      <a:pt x="1343" y="1621"/>
                    </a:lnTo>
                    <a:lnTo>
                      <a:pt x="1343" y="1619"/>
                    </a:lnTo>
                    <a:lnTo>
                      <a:pt x="1343" y="1621"/>
                    </a:lnTo>
                    <a:lnTo>
                      <a:pt x="1343" y="1623"/>
                    </a:lnTo>
                    <a:lnTo>
                      <a:pt x="1341" y="1623"/>
                    </a:lnTo>
                    <a:lnTo>
                      <a:pt x="1339" y="1623"/>
                    </a:lnTo>
                    <a:lnTo>
                      <a:pt x="1339" y="1621"/>
                    </a:lnTo>
                    <a:lnTo>
                      <a:pt x="1339" y="1619"/>
                    </a:lnTo>
                    <a:lnTo>
                      <a:pt x="1341" y="1619"/>
                    </a:lnTo>
                    <a:lnTo>
                      <a:pt x="1341" y="1618"/>
                    </a:lnTo>
                    <a:lnTo>
                      <a:pt x="1339" y="1618"/>
                    </a:lnTo>
                    <a:lnTo>
                      <a:pt x="1339" y="1616"/>
                    </a:lnTo>
                    <a:lnTo>
                      <a:pt x="1339" y="1618"/>
                    </a:lnTo>
                    <a:lnTo>
                      <a:pt x="1341" y="1619"/>
                    </a:lnTo>
                    <a:lnTo>
                      <a:pt x="1339" y="1619"/>
                    </a:lnTo>
                    <a:lnTo>
                      <a:pt x="1339" y="1621"/>
                    </a:lnTo>
                    <a:lnTo>
                      <a:pt x="1339" y="1623"/>
                    </a:lnTo>
                    <a:lnTo>
                      <a:pt x="1338" y="1623"/>
                    </a:lnTo>
                    <a:lnTo>
                      <a:pt x="1336" y="1623"/>
                    </a:lnTo>
                    <a:lnTo>
                      <a:pt x="1334" y="1623"/>
                    </a:lnTo>
                    <a:lnTo>
                      <a:pt x="1332" y="1623"/>
                    </a:lnTo>
                    <a:lnTo>
                      <a:pt x="1332" y="1621"/>
                    </a:lnTo>
                    <a:lnTo>
                      <a:pt x="1332" y="1619"/>
                    </a:lnTo>
                    <a:lnTo>
                      <a:pt x="1332" y="1618"/>
                    </a:lnTo>
                    <a:lnTo>
                      <a:pt x="1332" y="1616"/>
                    </a:lnTo>
                    <a:lnTo>
                      <a:pt x="1332" y="1618"/>
                    </a:lnTo>
                    <a:lnTo>
                      <a:pt x="1332" y="1619"/>
                    </a:lnTo>
                    <a:lnTo>
                      <a:pt x="1332" y="1621"/>
                    </a:lnTo>
                    <a:lnTo>
                      <a:pt x="1332" y="1623"/>
                    </a:lnTo>
                    <a:lnTo>
                      <a:pt x="1332" y="1624"/>
                    </a:lnTo>
                    <a:lnTo>
                      <a:pt x="1331" y="1624"/>
                    </a:lnTo>
                    <a:lnTo>
                      <a:pt x="1329" y="1624"/>
                    </a:lnTo>
                    <a:lnTo>
                      <a:pt x="1327" y="1624"/>
                    </a:lnTo>
                    <a:lnTo>
                      <a:pt x="1329" y="1623"/>
                    </a:lnTo>
                    <a:lnTo>
                      <a:pt x="1329" y="1621"/>
                    </a:lnTo>
                    <a:lnTo>
                      <a:pt x="1327" y="1623"/>
                    </a:lnTo>
                    <a:lnTo>
                      <a:pt x="1327" y="1621"/>
                    </a:lnTo>
                    <a:lnTo>
                      <a:pt x="1327" y="1623"/>
                    </a:lnTo>
                    <a:lnTo>
                      <a:pt x="1326" y="1624"/>
                    </a:lnTo>
                    <a:lnTo>
                      <a:pt x="1324" y="1624"/>
                    </a:lnTo>
                    <a:lnTo>
                      <a:pt x="1324" y="1623"/>
                    </a:lnTo>
                    <a:lnTo>
                      <a:pt x="1324" y="1624"/>
                    </a:lnTo>
                    <a:lnTo>
                      <a:pt x="1326" y="1624"/>
                    </a:lnTo>
                    <a:lnTo>
                      <a:pt x="1324" y="1624"/>
                    </a:lnTo>
                    <a:lnTo>
                      <a:pt x="1322" y="1624"/>
                    </a:lnTo>
                    <a:lnTo>
                      <a:pt x="1321" y="1624"/>
                    </a:lnTo>
                    <a:lnTo>
                      <a:pt x="1321" y="1623"/>
                    </a:lnTo>
                    <a:lnTo>
                      <a:pt x="1321" y="1621"/>
                    </a:lnTo>
                    <a:lnTo>
                      <a:pt x="1321" y="1619"/>
                    </a:lnTo>
                    <a:lnTo>
                      <a:pt x="1322" y="1618"/>
                    </a:lnTo>
                    <a:lnTo>
                      <a:pt x="1324" y="1616"/>
                    </a:lnTo>
                    <a:lnTo>
                      <a:pt x="1326" y="1614"/>
                    </a:lnTo>
                    <a:lnTo>
                      <a:pt x="1324" y="1614"/>
                    </a:lnTo>
                    <a:lnTo>
                      <a:pt x="1322" y="1614"/>
                    </a:lnTo>
                    <a:lnTo>
                      <a:pt x="1322" y="1616"/>
                    </a:lnTo>
                    <a:lnTo>
                      <a:pt x="1322" y="1618"/>
                    </a:lnTo>
                    <a:lnTo>
                      <a:pt x="1321" y="1618"/>
                    </a:lnTo>
                    <a:lnTo>
                      <a:pt x="1321" y="1619"/>
                    </a:lnTo>
                    <a:lnTo>
                      <a:pt x="1321" y="1621"/>
                    </a:lnTo>
                    <a:lnTo>
                      <a:pt x="1319" y="1623"/>
                    </a:lnTo>
                    <a:lnTo>
                      <a:pt x="1319" y="1624"/>
                    </a:lnTo>
                    <a:lnTo>
                      <a:pt x="1319" y="1623"/>
                    </a:lnTo>
                    <a:lnTo>
                      <a:pt x="1317" y="1623"/>
                    </a:lnTo>
                    <a:lnTo>
                      <a:pt x="1315" y="1621"/>
                    </a:lnTo>
                    <a:lnTo>
                      <a:pt x="1314" y="1621"/>
                    </a:lnTo>
                    <a:lnTo>
                      <a:pt x="1312" y="1621"/>
                    </a:lnTo>
                    <a:lnTo>
                      <a:pt x="1312" y="1619"/>
                    </a:lnTo>
                    <a:lnTo>
                      <a:pt x="1310" y="1619"/>
                    </a:lnTo>
                    <a:lnTo>
                      <a:pt x="1312" y="1619"/>
                    </a:lnTo>
                    <a:lnTo>
                      <a:pt x="1310" y="1619"/>
                    </a:lnTo>
                    <a:lnTo>
                      <a:pt x="1310" y="1621"/>
                    </a:lnTo>
                    <a:lnTo>
                      <a:pt x="1309" y="1621"/>
                    </a:lnTo>
                    <a:lnTo>
                      <a:pt x="1309" y="1623"/>
                    </a:lnTo>
                    <a:lnTo>
                      <a:pt x="1307" y="1621"/>
                    </a:lnTo>
                    <a:lnTo>
                      <a:pt x="1307" y="1623"/>
                    </a:lnTo>
                    <a:lnTo>
                      <a:pt x="1307" y="1624"/>
                    </a:lnTo>
                    <a:lnTo>
                      <a:pt x="1307" y="1623"/>
                    </a:lnTo>
                    <a:lnTo>
                      <a:pt x="1305" y="1623"/>
                    </a:lnTo>
                    <a:lnTo>
                      <a:pt x="1304" y="1623"/>
                    </a:lnTo>
                    <a:lnTo>
                      <a:pt x="1302" y="1623"/>
                    </a:lnTo>
                    <a:lnTo>
                      <a:pt x="1304" y="1621"/>
                    </a:lnTo>
                    <a:lnTo>
                      <a:pt x="1304" y="1619"/>
                    </a:lnTo>
                    <a:lnTo>
                      <a:pt x="1304" y="1621"/>
                    </a:lnTo>
                    <a:lnTo>
                      <a:pt x="1304" y="1619"/>
                    </a:lnTo>
                    <a:lnTo>
                      <a:pt x="1305" y="1619"/>
                    </a:lnTo>
                    <a:lnTo>
                      <a:pt x="1307" y="1619"/>
                    </a:lnTo>
                    <a:lnTo>
                      <a:pt x="1309" y="1618"/>
                    </a:lnTo>
                    <a:lnTo>
                      <a:pt x="1310" y="1618"/>
                    </a:lnTo>
                    <a:lnTo>
                      <a:pt x="1310" y="1616"/>
                    </a:lnTo>
                    <a:lnTo>
                      <a:pt x="1312" y="1616"/>
                    </a:lnTo>
                    <a:lnTo>
                      <a:pt x="1314" y="1616"/>
                    </a:lnTo>
                    <a:lnTo>
                      <a:pt x="1314" y="1614"/>
                    </a:lnTo>
                    <a:lnTo>
                      <a:pt x="1315" y="1614"/>
                    </a:lnTo>
                    <a:lnTo>
                      <a:pt x="1315" y="1612"/>
                    </a:lnTo>
                    <a:lnTo>
                      <a:pt x="1317" y="1612"/>
                    </a:lnTo>
                    <a:lnTo>
                      <a:pt x="1317" y="1611"/>
                    </a:lnTo>
                    <a:lnTo>
                      <a:pt x="1315" y="1611"/>
                    </a:lnTo>
                    <a:lnTo>
                      <a:pt x="1314" y="1611"/>
                    </a:lnTo>
                    <a:lnTo>
                      <a:pt x="1312" y="1611"/>
                    </a:lnTo>
                    <a:lnTo>
                      <a:pt x="1312" y="1612"/>
                    </a:lnTo>
                    <a:lnTo>
                      <a:pt x="1310" y="1614"/>
                    </a:lnTo>
                    <a:lnTo>
                      <a:pt x="1312" y="1614"/>
                    </a:lnTo>
                    <a:lnTo>
                      <a:pt x="1312" y="1616"/>
                    </a:lnTo>
                    <a:lnTo>
                      <a:pt x="1310" y="1616"/>
                    </a:lnTo>
                    <a:lnTo>
                      <a:pt x="1309" y="1616"/>
                    </a:lnTo>
                    <a:lnTo>
                      <a:pt x="1309" y="1618"/>
                    </a:lnTo>
                    <a:lnTo>
                      <a:pt x="1307" y="1618"/>
                    </a:lnTo>
                    <a:lnTo>
                      <a:pt x="1307" y="1616"/>
                    </a:lnTo>
                    <a:lnTo>
                      <a:pt x="1305" y="1616"/>
                    </a:lnTo>
                    <a:lnTo>
                      <a:pt x="1305" y="1618"/>
                    </a:lnTo>
                    <a:lnTo>
                      <a:pt x="1304" y="1618"/>
                    </a:lnTo>
                    <a:lnTo>
                      <a:pt x="1305" y="1618"/>
                    </a:lnTo>
                    <a:lnTo>
                      <a:pt x="1304" y="1619"/>
                    </a:lnTo>
                    <a:lnTo>
                      <a:pt x="1304" y="1618"/>
                    </a:lnTo>
                    <a:lnTo>
                      <a:pt x="1302" y="1619"/>
                    </a:lnTo>
                    <a:lnTo>
                      <a:pt x="1302" y="1618"/>
                    </a:lnTo>
                    <a:lnTo>
                      <a:pt x="1300" y="1618"/>
                    </a:lnTo>
                    <a:lnTo>
                      <a:pt x="1298" y="1618"/>
                    </a:lnTo>
                    <a:lnTo>
                      <a:pt x="1300" y="1618"/>
                    </a:lnTo>
                    <a:lnTo>
                      <a:pt x="1300" y="1616"/>
                    </a:lnTo>
                    <a:lnTo>
                      <a:pt x="1302" y="1616"/>
                    </a:lnTo>
                    <a:lnTo>
                      <a:pt x="1304" y="1614"/>
                    </a:lnTo>
                    <a:lnTo>
                      <a:pt x="1305" y="1614"/>
                    </a:lnTo>
                    <a:lnTo>
                      <a:pt x="1304" y="1614"/>
                    </a:lnTo>
                    <a:lnTo>
                      <a:pt x="1302" y="1614"/>
                    </a:lnTo>
                    <a:lnTo>
                      <a:pt x="1302" y="1612"/>
                    </a:lnTo>
                    <a:lnTo>
                      <a:pt x="1300" y="1612"/>
                    </a:lnTo>
                    <a:lnTo>
                      <a:pt x="1300" y="1614"/>
                    </a:lnTo>
                    <a:lnTo>
                      <a:pt x="1298" y="1614"/>
                    </a:lnTo>
                    <a:lnTo>
                      <a:pt x="1300" y="1614"/>
                    </a:lnTo>
                    <a:lnTo>
                      <a:pt x="1300" y="1616"/>
                    </a:lnTo>
                    <a:lnTo>
                      <a:pt x="1298" y="1618"/>
                    </a:lnTo>
                    <a:lnTo>
                      <a:pt x="1298" y="1619"/>
                    </a:lnTo>
                    <a:lnTo>
                      <a:pt x="1297" y="1619"/>
                    </a:lnTo>
                    <a:lnTo>
                      <a:pt x="1295" y="1618"/>
                    </a:lnTo>
                    <a:lnTo>
                      <a:pt x="1297" y="1618"/>
                    </a:lnTo>
                    <a:lnTo>
                      <a:pt x="1297" y="1616"/>
                    </a:lnTo>
                    <a:lnTo>
                      <a:pt x="1298" y="1616"/>
                    </a:lnTo>
                    <a:lnTo>
                      <a:pt x="1298" y="1614"/>
                    </a:lnTo>
                    <a:lnTo>
                      <a:pt x="1300" y="1614"/>
                    </a:lnTo>
                    <a:lnTo>
                      <a:pt x="1298" y="1614"/>
                    </a:lnTo>
                    <a:lnTo>
                      <a:pt x="1297" y="1614"/>
                    </a:lnTo>
                    <a:lnTo>
                      <a:pt x="1297" y="1616"/>
                    </a:lnTo>
                    <a:lnTo>
                      <a:pt x="1297" y="1614"/>
                    </a:lnTo>
                    <a:lnTo>
                      <a:pt x="1298" y="1614"/>
                    </a:lnTo>
                    <a:lnTo>
                      <a:pt x="1298" y="1612"/>
                    </a:lnTo>
                    <a:lnTo>
                      <a:pt x="1297" y="1612"/>
                    </a:lnTo>
                    <a:lnTo>
                      <a:pt x="1298" y="1612"/>
                    </a:lnTo>
                    <a:lnTo>
                      <a:pt x="1298" y="1611"/>
                    </a:lnTo>
                    <a:lnTo>
                      <a:pt x="1300" y="1611"/>
                    </a:lnTo>
                    <a:lnTo>
                      <a:pt x="1298" y="1611"/>
                    </a:lnTo>
                    <a:lnTo>
                      <a:pt x="1297" y="1611"/>
                    </a:lnTo>
                    <a:lnTo>
                      <a:pt x="1297" y="1609"/>
                    </a:lnTo>
                    <a:lnTo>
                      <a:pt x="1295" y="1609"/>
                    </a:lnTo>
                    <a:lnTo>
                      <a:pt x="1297" y="1611"/>
                    </a:lnTo>
                    <a:lnTo>
                      <a:pt x="1295" y="1612"/>
                    </a:lnTo>
                    <a:lnTo>
                      <a:pt x="1295" y="1611"/>
                    </a:lnTo>
                    <a:lnTo>
                      <a:pt x="1293" y="1612"/>
                    </a:lnTo>
                    <a:lnTo>
                      <a:pt x="1293" y="1614"/>
                    </a:lnTo>
                    <a:lnTo>
                      <a:pt x="1292" y="1614"/>
                    </a:lnTo>
                    <a:lnTo>
                      <a:pt x="1290" y="1614"/>
                    </a:lnTo>
                    <a:lnTo>
                      <a:pt x="1292" y="1614"/>
                    </a:lnTo>
                    <a:lnTo>
                      <a:pt x="1290" y="1612"/>
                    </a:lnTo>
                    <a:lnTo>
                      <a:pt x="1288" y="1614"/>
                    </a:lnTo>
                    <a:lnTo>
                      <a:pt x="1288" y="1612"/>
                    </a:lnTo>
                    <a:lnTo>
                      <a:pt x="1287" y="1612"/>
                    </a:lnTo>
                    <a:lnTo>
                      <a:pt x="1287" y="1611"/>
                    </a:lnTo>
                    <a:lnTo>
                      <a:pt x="1288" y="1611"/>
                    </a:lnTo>
                    <a:lnTo>
                      <a:pt x="1290" y="1612"/>
                    </a:lnTo>
                    <a:lnTo>
                      <a:pt x="1290" y="1611"/>
                    </a:lnTo>
                    <a:lnTo>
                      <a:pt x="1292" y="1611"/>
                    </a:lnTo>
                    <a:lnTo>
                      <a:pt x="1293" y="1611"/>
                    </a:lnTo>
                    <a:lnTo>
                      <a:pt x="1292" y="1611"/>
                    </a:lnTo>
                    <a:lnTo>
                      <a:pt x="1290" y="1611"/>
                    </a:lnTo>
                    <a:lnTo>
                      <a:pt x="1288" y="1609"/>
                    </a:lnTo>
                    <a:lnTo>
                      <a:pt x="1288" y="1607"/>
                    </a:lnTo>
                    <a:lnTo>
                      <a:pt x="1290" y="1607"/>
                    </a:lnTo>
                    <a:lnTo>
                      <a:pt x="1292" y="1607"/>
                    </a:lnTo>
                    <a:lnTo>
                      <a:pt x="1290" y="1607"/>
                    </a:lnTo>
                    <a:lnTo>
                      <a:pt x="1288" y="1607"/>
                    </a:lnTo>
                    <a:lnTo>
                      <a:pt x="1290" y="1606"/>
                    </a:lnTo>
                    <a:lnTo>
                      <a:pt x="1288" y="1606"/>
                    </a:lnTo>
                    <a:lnTo>
                      <a:pt x="1290" y="1604"/>
                    </a:lnTo>
                    <a:lnTo>
                      <a:pt x="1288" y="1606"/>
                    </a:lnTo>
                    <a:lnTo>
                      <a:pt x="1288" y="1607"/>
                    </a:lnTo>
                    <a:lnTo>
                      <a:pt x="1287" y="1607"/>
                    </a:lnTo>
                    <a:lnTo>
                      <a:pt x="1287" y="1606"/>
                    </a:lnTo>
                    <a:lnTo>
                      <a:pt x="1287" y="1604"/>
                    </a:lnTo>
                    <a:lnTo>
                      <a:pt x="1287" y="1606"/>
                    </a:lnTo>
                    <a:lnTo>
                      <a:pt x="1287" y="1607"/>
                    </a:lnTo>
                    <a:lnTo>
                      <a:pt x="1285" y="1606"/>
                    </a:lnTo>
                    <a:lnTo>
                      <a:pt x="1283" y="1604"/>
                    </a:lnTo>
                    <a:lnTo>
                      <a:pt x="1285" y="1606"/>
                    </a:lnTo>
                    <a:lnTo>
                      <a:pt x="1285" y="1607"/>
                    </a:lnTo>
                    <a:lnTo>
                      <a:pt x="1283" y="1606"/>
                    </a:lnTo>
                    <a:lnTo>
                      <a:pt x="1283" y="1607"/>
                    </a:lnTo>
                    <a:lnTo>
                      <a:pt x="1285" y="1607"/>
                    </a:lnTo>
                    <a:lnTo>
                      <a:pt x="1287" y="1607"/>
                    </a:lnTo>
                    <a:lnTo>
                      <a:pt x="1287" y="1609"/>
                    </a:lnTo>
                    <a:lnTo>
                      <a:pt x="1287" y="1611"/>
                    </a:lnTo>
                    <a:lnTo>
                      <a:pt x="1285" y="1609"/>
                    </a:lnTo>
                    <a:lnTo>
                      <a:pt x="1287" y="1609"/>
                    </a:lnTo>
                    <a:lnTo>
                      <a:pt x="1285" y="1609"/>
                    </a:lnTo>
                    <a:lnTo>
                      <a:pt x="1283" y="1609"/>
                    </a:lnTo>
                    <a:lnTo>
                      <a:pt x="1285" y="1609"/>
                    </a:lnTo>
                    <a:lnTo>
                      <a:pt x="1285" y="1611"/>
                    </a:lnTo>
                    <a:lnTo>
                      <a:pt x="1285" y="1612"/>
                    </a:lnTo>
                    <a:lnTo>
                      <a:pt x="1283" y="1612"/>
                    </a:lnTo>
                    <a:lnTo>
                      <a:pt x="1283" y="1611"/>
                    </a:lnTo>
                    <a:lnTo>
                      <a:pt x="1281" y="1611"/>
                    </a:lnTo>
                    <a:lnTo>
                      <a:pt x="1283" y="1612"/>
                    </a:lnTo>
                    <a:lnTo>
                      <a:pt x="1281" y="1612"/>
                    </a:lnTo>
                    <a:lnTo>
                      <a:pt x="1281" y="1614"/>
                    </a:lnTo>
                    <a:lnTo>
                      <a:pt x="1280" y="1614"/>
                    </a:lnTo>
                    <a:lnTo>
                      <a:pt x="1280" y="1612"/>
                    </a:lnTo>
                    <a:lnTo>
                      <a:pt x="1280" y="1611"/>
                    </a:lnTo>
                    <a:lnTo>
                      <a:pt x="1280" y="1609"/>
                    </a:lnTo>
                    <a:lnTo>
                      <a:pt x="1281" y="1609"/>
                    </a:lnTo>
                    <a:lnTo>
                      <a:pt x="1281" y="1607"/>
                    </a:lnTo>
                    <a:lnTo>
                      <a:pt x="1280" y="1609"/>
                    </a:lnTo>
                    <a:lnTo>
                      <a:pt x="1280" y="1611"/>
                    </a:lnTo>
                    <a:lnTo>
                      <a:pt x="1280" y="1612"/>
                    </a:lnTo>
                    <a:lnTo>
                      <a:pt x="1280" y="1611"/>
                    </a:lnTo>
                    <a:lnTo>
                      <a:pt x="1278" y="1612"/>
                    </a:lnTo>
                    <a:lnTo>
                      <a:pt x="1278" y="1611"/>
                    </a:lnTo>
                    <a:lnTo>
                      <a:pt x="1278" y="1609"/>
                    </a:lnTo>
                    <a:lnTo>
                      <a:pt x="1278" y="1611"/>
                    </a:lnTo>
                    <a:lnTo>
                      <a:pt x="1276" y="1611"/>
                    </a:lnTo>
                    <a:lnTo>
                      <a:pt x="1276" y="1609"/>
                    </a:lnTo>
                    <a:lnTo>
                      <a:pt x="1278" y="1609"/>
                    </a:lnTo>
                    <a:lnTo>
                      <a:pt x="1278" y="1607"/>
                    </a:lnTo>
                    <a:lnTo>
                      <a:pt x="1278" y="1609"/>
                    </a:lnTo>
                    <a:lnTo>
                      <a:pt x="1276" y="1607"/>
                    </a:lnTo>
                    <a:lnTo>
                      <a:pt x="1276" y="1609"/>
                    </a:lnTo>
                    <a:lnTo>
                      <a:pt x="1275" y="1611"/>
                    </a:lnTo>
                    <a:lnTo>
                      <a:pt x="1276" y="1611"/>
                    </a:lnTo>
                    <a:lnTo>
                      <a:pt x="1275" y="1612"/>
                    </a:lnTo>
                    <a:lnTo>
                      <a:pt x="1275" y="1611"/>
                    </a:lnTo>
                    <a:lnTo>
                      <a:pt x="1275" y="1609"/>
                    </a:lnTo>
                    <a:lnTo>
                      <a:pt x="1276" y="1609"/>
                    </a:lnTo>
                    <a:lnTo>
                      <a:pt x="1276" y="1607"/>
                    </a:lnTo>
                    <a:lnTo>
                      <a:pt x="1275" y="1609"/>
                    </a:lnTo>
                    <a:lnTo>
                      <a:pt x="1273" y="1609"/>
                    </a:lnTo>
                    <a:lnTo>
                      <a:pt x="1271" y="1607"/>
                    </a:lnTo>
                    <a:lnTo>
                      <a:pt x="1273" y="1609"/>
                    </a:lnTo>
                    <a:lnTo>
                      <a:pt x="1271" y="1611"/>
                    </a:lnTo>
                    <a:lnTo>
                      <a:pt x="1271" y="1609"/>
                    </a:lnTo>
                    <a:lnTo>
                      <a:pt x="1270" y="1607"/>
                    </a:lnTo>
                    <a:lnTo>
                      <a:pt x="1270" y="1609"/>
                    </a:lnTo>
                    <a:lnTo>
                      <a:pt x="1271" y="1611"/>
                    </a:lnTo>
                    <a:lnTo>
                      <a:pt x="1270" y="1611"/>
                    </a:lnTo>
                    <a:lnTo>
                      <a:pt x="1268" y="1611"/>
                    </a:lnTo>
                    <a:lnTo>
                      <a:pt x="1266" y="1611"/>
                    </a:lnTo>
                    <a:lnTo>
                      <a:pt x="1264" y="1609"/>
                    </a:lnTo>
                    <a:lnTo>
                      <a:pt x="1266" y="1609"/>
                    </a:lnTo>
                    <a:lnTo>
                      <a:pt x="1268" y="1609"/>
                    </a:lnTo>
                    <a:lnTo>
                      <a:pt x="1268" y="1607"/>
                    </a:lnTo>
                    <a:lnTo>
                      <a:pt x="1266" y="1607"/>
                    </a:lnTo>
                    <a:lnTo>
                      <a:pt x="1266" y="1606"/>
                    </a:lnTo>
                    <a:lnTo>
                      <a:pt x="1264" y="1607"/>
                    </a:lnTo>
                    <a:lnTo>
                      <a:pt x="1264" y="1606"/>
                    </a:lnTo>
                    <a:lnTo>
                      <a:pt x="1264" y="1604"/>
                    </a:lnTo>
                    <a:lnTo>
                      <a:pt x="1263" y="1604"/>
                    </a:lnTo>
                    <a:lnTo>
                      <a:pt x="1264" y="1602"/>
                    </a:lnTo>
                    <a:lnTo>
                      <a:pt x="1264" y="1604"/>
                    </a:lnTo>
                    <a:lnTo>
                      <a:pt x="1266" y="1606"/>
                    </a:lnTo>
                    <a:lnTo>
                      <a:pt x="1264" y="1604"/>
                    </a:lnTo>
                    <a:lnTo>
                      <a:pt x="1264" y="1602"/>
                    </a:lnTo>
                    <a:lnTo>
                      <a:pt x="1266" y="1604"/>
                    </a:lnTo>
                    <a:lnTo>
                      <a:pt x="1264" y="1602"/>
                    </a:lnTo>
                    <a:lnTo>
                      <a:pt x="1264" y="1600"/>
                    </a:lnTo>
                    <a:lnTo>
                      <a:pt x="1266" y="1600"/>
                    </a:lnTo>
                    <a:lnTo>
                      <a:pt x="1268" y="1600"/>
                    </a:lnTo>
                    <a:lnTo>
                      <a:pt x="1268" y="1602"/>
                    </a:lnTo>
                    <a:lnTo>
                      <a:pt x="1268" y="1604"/>
                    </a:lnTo>
                    <a:lnTo>
                      <a:pt x="1268" y="1602"/>
                    </a:lnTo>
                    <a:lnTo>
                      <a:pt x="1268" y="1600"/>
                    </a:lnTo>
                    <a:lnTo>
                      <a:pt x="1270" y="1602"/>
                    </a:lnTo>
                    <a:lnTo>
                      <a:pt x="1270" y="1604"/>
                    </a:lnTo>
                    <a:lnTo>
                      <a:pt x="1270" y="1606"/>
                    </a:lnTo>
                    <a:lnTo>
                      <a:pt x="1271" y="1606"/>
                    </a:lnTo>
                    <a:lnTo>
                      <a:pt x="1273" y="1606"/>
                    </a:lnTo>
                    <a:lnTo>
                      <a:pt x="1275" y="1607"/>
                    </a:lnTo>
                    <a:lnTo>
                      <a:pt x="1275" y="1606"/>
                    </a:lnTo>
                    <a:lnTo>
                      <a:pt x="1273" y="1606"/>
                    </a:lnTo>
                    <a:lnTo>
                      <a:pt x="1275" y="1606"/>
                    </a:lnTo>
                    <a:lnTo>
                      <a:pt x="1273" y="1604"/>
                    </a:lnTo>
                    <a:lnTo>
                      <a:pt x="1271" y="1602"/>
                    </a:lnTo>
                    <a:lnTo>
                      <a:pt x="1273" y="1602"/>
                    </a:lnTo>
                    <a:lnTo>
                      <a:pt x="1275" y="1604"/>
                    </a:lnTo>
                    <a:lnTo>
                      <a:pt x="1276" y="1604"/>
                    </a:lnTo>
                    <a:lnTo>
                      <a:pt x="1276" y="1606"/>
                    </a:lnTo>
                    <a:lnTo>
                      <a:pt x="1276" y="1604"/>
                    </a:lnTo>
                    <a:lnTo>
                      <a:pt x="1278" y="1606"/>
                    </a:lnTo>
                    <a:lnTo>
                      <a:pt x="1280" y="1606"/>
                    </a:lnTo>
                    <a:lnTo>
                      <a:pt x="1278" y="1604"/>
                    </a:lnTo>
                    <a:lnTo>
                      <a:pt x="1276" y="1604"/>
                    </a:lnTo>
                    <a:lnTo>
                      <a:pt x="1275" y="1604"/>
                    </a:lnTo>
                    <a:lnTo>
                      <a:pt x="1276" y="1602"/>
                    </a:lnTo>
                    <a:lnTo>
                      <a:pt x="1275" y="1602"/>
                    </a:lnTo>
                    <a:lnTo>
                      <a:pt x="1273" y="1602"/>
                    </a:lnTo>
                    <a:lnTo>
                      <a:pt x="1275" y="1600"/>
                    </a:lnTo>
                    <a:lnTo>
                      <a:pt x="1273" y="1600"/>
                    </a:lnTo>
                    <a:lnTo>
                      <a:pt x="1271" y="1600"/>
                    </a:lnTo>
                    <a:lnTo>
                      <a:pt x="1270" y="1600"/>
                    </a:lnTo>
                    <a:lnTo>
                      <a:pt x="1268" y="1600"/>
                    </a:lnTo>
                    <a:lnTo>
                      <a:pt x="1268" y="1599"/>
                    </a:lnTo>
                    <a:lnTo>
                      <a:pt x="1270" y="1599"/>
                    </a:lnTo>
                    <a:lnTo>
                      <a:pt x="1271" y="1600"/>
                    </a:lnTo>
                    <a:lnTo>
                      <a:pt x="1270" y="1599"/>
                    </a:lnTo>
                    <a:lnTo>
                      <a:pt x="1271" y="1599"/>
                    </a:lnTo>
                    <a:lnTo>
                      <a:pt x="1270" y="1599"/>
                    </a:lnTo>
                    <a:lnTo>
                      <a:pt x="1270" y="1597"/>
                    </a:lnTo>
                    <a:lnTo>
                      <a:pt x="1271" y="1599"/>
                    </a:lnTo>
                    <a:lnTo>
                      <a:pt x="1270" y="1597"/>
                    </a:lnTo>
                    <a:lnTo>
                      <a:pt x="1271" y="1597"/>
                    </a:lnTo>
                    <a:lnTo>
                      <a:pt x="1273" y="1597"/>
                    </a:lnTo>
                    <a:lnTo>
                      <a:pt x="1273" y="1599"/>
                    </a:lnTo>
                    <a:lnTo>
                      <a:pt x="1275" y="1599"/>
                    </a:lnTo>
                    <a:lnTo>
                      <a:pt x="1275" y="1600"/>
                    </a:lnTo>
                    <a:lnTo>
                      <a:pt x="1276" y="1600"/>
                    </a:lnTo>
                    <a:lnTo>
                      <a:pt x="1276" y="1602"/>
                    </a:lnTo>
                    <a:lnTo>
                      <a:pt x="1278" y="1602"/>
                    </a:lnTo>
                    <a:lnTo>
                      <a:pt x="1278" y="1604"/>
                    </a:lnTo>
                    <a:lnTo>
                      <a:pt x="1280" y="1604"/>
                    </a:lnTo>
                    <a:lnTo>
                      <a:pt x="1280" y="1602"/>
                    </a:lnTo>
                    <a:lnTo>
                      <a:pt x="1278" y="1602"/>
                    </a:lnTo>
                    <a:lnTo>
                      <a:pt x="1280" y="1602"/>
                    </a:lnTo>
                    <a:lnTo>
                      <a:pt x="1281" y="1602"/>
                    </a:lnTo>
                    <a:lnTo>
                      <a:pt x="1280" y="1602"/>
                    </a:lnTo>
                    <a:lnTo>
                      <a:pt x="1278" y="1600"/>
                    </a:lnTo>
                    <a:lnTo>
                      <a:pt x="1276" y="1600"/>
                    </a:lnTo>
                    <a:lnTo>
                      <a:pt x="1278" y="1600"/>
                    </a:lnTo>
                    <a:lnTo>
                      <a:pt x="1278" y="1599"/>
                    </a:lnTo>
                    <a:lnTo>
                      <a:pt x="1276" y="1597"/>
                    </a:lnTo>
                    <a:lnTo>
                      <a:pt x="1278" y="1597"/>
                    </a:lnTo>
                    <a:lnTo>
                      <a:pt x="1278" y="1599"/>
                    </a:lnTo>
                    <a:lnTo>
                      <a:pt x="1280" y="1599"/>
                    </a:lnTo>
                    <a:lnTo>
                      <a:pt x="1280" y="1597"/>
                    </a:lnTo>
                    <a:lnTo>
                      <a:pt x="1280" y="1599"/>
                    </a:lnTo>
                    <a:lnTo>
                      <a:pt x="1278" y="1597"/>
                    </a:lnTo>
                    <a:lnTo>
                      <a:pt x="1280" y="1597"/>
                    </a:lnTo>
                    <a:lnTo>
                      <a:pt x="1280" y="1599"/>
                    </a:lnTo>
                    <a:lnTo>
                      <a:pt x="1281" y="1599"/>
                    </a:lnTo>
                    <a:lnTo>
                      <a:pt x="1283" y="1599"/>
                    </a:lnTo>
                    <a:lnTo>
                      <a:pt x="1281" y="1599"/>
                    </a:lnTo>
                    <a:lnTo>
                      <a:pt x="1283" y="1599"/>
                    </a:lnTo>
                    <a:lnTo>
                      <a:pt x="1285" y="1599"/>
                    </a:lnTo>
                    <a:lnTo>
                      <a:pt x="1285" y="1600"/>
                    </a:lnTo>
                    <a:lnTo>
                      <a:pt x="1285" y="1599"/>
                    </a:lnTo>
                    <a:lnTo>
                      <a:pt x="1287" y="1599"/>
                    </a:lnTo>
                    <a:lnTo>
                      <a:pt x="1285" y="1599"/>
                    </a:lnTo>
                    <a:lnTo>
                      <a:pt x="1283" y="1599"/>
                    </a:lnTo>
                    <a:lnTo>
                      <a:pt x="1283" y="1597"/>
                    </a:lnTo>
                    <a:lnTo>
                      <a:pt x="1285" y="1597"/>
                    </a:lnTo>
                    <a:lnTo>
                      <a:pt x="1283" y="1595"/>
                    </a:lnTo>
                    <a:lnTo>
                      <a:pt x="1285" y="1597"/>
                    </a:lnTo>
                    <a:lnTo>
                      <a:pt x="1285" y="1595"/>
                    </a:lnTo>
                    <a:lnTo>
                      <a:pt x="1287" y="1595"/>
                    </a:lnTo>
                    <a:lnTo>
                      <a:pt x="1287" y="1597"/>
                    </a:lnTo>
                    <a:lnTo>
                      <a:pt x="1288" y="1597"/>
                    </a:lnTo>
                    <a:lnTo>
                      <a:pt x="1290" y="1599"/>
                    </a:lnTo>
                    <a:lnTo>
                      <a:pt x="1292" y="1599"/>
                    </a:lnTo>
                    <a:lnTo>
                      <a:pt x="1290" y="1599"/>
                    </a:lnTo>
                    <a:lnTo>
                      <a:pt x="1290" y="1600"/>
                    </a:lnTo>
                    <a:lnTo>
                      <a:pt x="1292" y="1600"/>
                    </a:lnTo>
                    <a:lnTo>
                      <a:pt x="1292" y="1599"/>
                    </a:lnTo>
                    <a:lnTo>
                      <a:pt x="1293" y="1599"/>
                    </a:lnTo>
                    <a:lnTo>
                      <a:pt x="1292" y="1600"/>
                    </a:lnTo>
                    <a:lnTo>
                      <a:pt x="1293" y="1600"/>
                    </a:lnTo>
                    <a:lnTo>
                      <a:pt x="1293" y="1602"/>
                    </a:lnTo>
                    <a:lnTo>
                      <a:pt x="1293" y="1600"/>
                    </a:lnTo>
                    <a:lnTo>
                      <a:pt x="1293" y="1599"/>
                    </a:lnTo>
                    <a:lnTo>
                      <a:pt x="1295" y="1600"/>
                    </a:lnTo>
                    <a:lnTo>
                      <a:pt x="1297" y="1600"/>
                    </a:lnTo>
                    <a:lnTo>
                      <a:pt x="1298" y="1600"/>
                    </a:lnTo>
                    <a:lnTo>
                      <a:pt x="1298" y="1602"/>
                    </a:lnTo>
                    <a:lnTo>
                      <a:pt x="1298" y="1604"/>
                    </a:lnTo>
                    <a:lnTo>
                      <a:pt x="1300" y="1604"/>
                    </a:lnTo>
                    <a:lnTo>
                      <a:pt x="1300" y="1602"/>
                    </a:lnTo>
                    <a:lnTo>
                      <a:pt x="1300" y="1600"/>
                    </a:lnTo>
                    <a:lnTo>
                      <a:pt x="1298" y="1600"/>
                    </a:lnTo>
                    <a:lnTo>
                      <a:pt x="1300" y="1599"/>
                    </a:lnTo>
                    <a:lnTo>
                      <a:pt x="1300" y="1597"/>
                    </a:lnTo>
                    <a:lnTo>
                      <a:pt x="1300" y="1595"/>
                    </a:lnTo>
                    <a:lnTo>
                      <a:pt x="1300" y="1594"/>
                    </a:lnTo>
                    <a:lnTo>
                      <a:pt x="1302" y="1595"/>
                    </a:lnTo>
                    <a:lnTo>
                      <a:pt x="1302" y="1594"/>
                    </a:lnTo>
                    <a:lnTo>
                      <a:pt x="1304" y="1594"/>
                    </a:lnTo>
                    <a:lnTo>
                      <a:pt x="1305" y="1594"/>
                    </a:lnTo>
                    <a:lnTo>
                      <a:pt x="1307" y="1594"/>
                    </a:lnTo>
                    <a:lnTo>
                      <a:pt x="1307" y="1595"/>
                    </a:lnTo>
                    <a:lnTo>
                      <a:pt x="1307" y="1594"/>
                    </a:lnTo>
                    <a:lnTo>
                      <a:pt x="1309" y="1595"/>
                    </a:lnTo>
                    <a:lnTo>
                      <a:pt x="1309" y="1594"/>
                    </a:lnTo>
                    <a:lnTo>
                      <a:pt x="1310" y="1594"/>
                    </a:lnTo>
                    <a:lnTo>
                      <a:pt x="1312" y="1594"/>
                    </a:lnTo>
                    <a:lnTo>
                      <a:pt x="1312" y="1595"/>
                    </a:lnTo>
                    <a:lnTo>
                      <a:pt x="1310" y="1595"/>
                    </a:lnTo>
                    <a:lnTo>
                      <a:pt x="1310" y="1597"/>
                    </a:lnTo>
                    <a:lnTo>
                      <a:pt x="1309" y="1597"/>
                    </a:lnTo>
                    <a:lnTo>
                      <a:pt x="1309" y="1599"/>
                    </a:lnTo>
                    <a:lnTo>
                      <a:pt x="1307" y="1599"/>
                    </a:lnTo>
                    <a:lnTo>
                      <a:pt x="1307" y="1600"/>
                    </a:lnTo>
                    <a:lnTo>
                      <a:pt x="1309" y="1600"/>
                    </a:lnTo>
                    <a:lnTo>
                      <a:pt x="1307" y="1602"/>
                    </a:lnTo>
                    <a:lnTo>
                      <a:pt x="1307" y="1604"/>
                    </a:lnTo>
                    <a:lnTo>
                      <a:pt x="1305" y="1606"/>
                    </a:lnTo>
                    <a:lnTo>
                      <a:pt x="1305" y="1607"/>
                    </a:lnTo>
                    <a:lnTo>
                      <a:pt x="1305" y="1609"/>
                    </a:lnTo>
                    <a:lnTo>
                      <a:pt x="1305" y="1611"/>
                    </a:lnTo>
                    <a:lnTo>
                      <a:pt x="1305" y="1609"/>
                    </a:lnTo>
                    <a:lnTo>
                      <a:pt x="1307" y="1609"/>
                    </a:lnTo>
                    <a:lnTo>
                      <a:pt x="1307" y="1607"/>
                    </a:lnTo>
                    <a:lnTo>
                      <a:pt x="1307" y="1606"/>
                    </a:lnTo>
                    <a:lnTo>
                      <a:pt x="1309" y="1607"/>
                    </a:lnTo>
                    <a:lnTo>
                      <a:pt x="1309" y="1609"/>
                    </a:lnTo>
                    <a:lnTo>
                      <a:pt x="1310" y="1609"/>
                    </a:lnTo>
                    <a:lnTo>
                      <a:pt x="1309" y="1607"/>
                    </a:lnTo>
                    <a:lnTo>
                      <a:pt x="1307" y="1606"/>
                    </a:lnTo>
                    <a:lnTo>
                      <a:pt x="1309" y="1604"/>
                    </a:lnTo>
                    <a:lnTo>
                      <a:pt x="1309" y="1602"/>
                    </a:lnTo>
                    <a:lnTo>
                      <a:pt x="1309" y="1600"/>
                    </a:lnTo>
                    <a:lnTo>
                      <a:pt x="1310" y="1600"/>
                    </a:lnTo>
                    <a:lnTo>
                      <a:pt x="1310" y="1599"/>
                    </a:lnTo>
                    <a:lnTo>
                      <a:pt x="1312" y="1599"/>
                    </a:lnTo>
                    <a:lnTo>
                      <a:pt x="1312" y="1597"/>
                    </a:lnTo>
                    <a:lnTo>
                      <a:pt x="1314" y="1599"/>
                    </a:lnTo>
                    <a:lnTo>
                      <a:pt x="1315" y="1600"/>
                    </a:lnTo>
                    <a:lnTo>
                      <a:pt x="1317" y="1602"/>
                    </a:lnTo>
                    <a:lnTo>
                      <a:pt x="1315" y="1602"/>
                    </a:lnTo>
                    <a:lnTo>
                      <a:pt x="1317" y="1602"/>
                    </a:lnTo>
                    <a:lnTo>
                      <a:pt x="1319" y="1602"/>
                    </a:lnTo>
                    <a:lnTo>
                      <a:pt x="1319" y="1604"/>
                    </a:lnTo>
                    <a:lnTo>
                      <a:pt x="1321" y="1604"/>
                    </a:lnTo>
                    <a:lnTo>
                      <a:pt x="1319" y="1604"/>
                    </a:lnTo>
                    <a:lnTo>
                      <a:pt x="1321" y="1604"/>
                    </a:lnTo>
                    <a:lnTo>
                      <a:pt x="1321" y="1606"/>
                    </a:lnTo>
                    <a:lnTo>
                      <a:pt x="1322" y="1607"/>
                    </a:lnTo>
                    <a:lnTo>
                      <a:pt x="1324" y="1607"/>
                    </a:lnTo>
                    <a:lnTo>
                      <a:pt x="1324" y="1609"/>
                    </a:lnTo>
                    <a:lnTo>
                      <a:pt x="1324" y="1607"/>
                    </a:lnTo>
                    <a:lnTo>
                      <a:pt x="1326" y="1609"/>
                    </a:lnTo>
                    <a:lnTo>
                      <a:pt x="1324" y="1607"/>
                    </a:lnTo>
                    <a:lnTo>
                      <a:pt x="1322" y="1607"/>
                    </a:lnTo>
                    <a:lnTo>
                      <a:pt x="1322" y="1606"/>
                    </a:lnTo>
                    <a:lnTo>
                      <a:pt x="1321" y="1606"/>
                    </a:lnTo>
                    <a:lnTo>
                      <a:pt x="1321" y="1604"/>
                    </a:lnTo>
                    <a:lnTo>
                      <a:pt x="1322" y="1604"/>
                    </a:lnTo>
                    <a:lnTo>
                      <a:pt x="1324" y="1604"/>
                    </a:lnTo>
                    <a:lnTo>
                      <a:pt x="1326" y="1606"/>
                    </a:lnTo>
                    <a:lnTo>
                      <a:pt x="1327" y="1607"/>
                    </a:lnTo>
                    <a:lnTo>
                      <a:pt x="1327" y="1606"/>
                    </a:lnTo>
                    <a:lnTo>
                      <a:pt x="1326" y="1606"/>
                    </a:lnTo>
                    <a:lnTo>
                      <a:pt x="1324" y="1604"/>
                    </a:lnTo>
                    <a:lnTo>
                      <a:pt x="1326" y="1604"/>
                    </a:lnTo>
                    <a:lnTo>
                      <a:pt x="1324" y="1604"/>
                    </a:lnTo>
                    <a:lnTo>
                      <a:pt x="1322" y="1602"/>
                    </a:lnTo>
                    <a:lnTo>
                      <a:pt x="1321" y="1602"/>
                    </a:lnTo>
                    <a:lnTo>
                      <a:pt x="1319" y="1600"/>
                    </a:lnTo>
                    <a:lnTo>
                      <a:pt x="1317" y="1600"/>
                    </a:lnTo>
                    <a:lnTo>
                      <a:pt x="1317" y="1599"/>
                    </a:lnTo>
                    <a:lnTo>
                      <a:pt x="1315" y="1599"/>
                    </a:lnTo>
                    <a:lnTo>
                      <a:pt x="1317" y="1597"/>
                    </a:lnTo>
                    <a:lnTo>
                      <a:pt x="1315" y="1597"/>
                    </a:lnTo>
                    <a:lnTo>
                      <a:pt x="1314" y="1597"/>
                    </a:lnTo>
                    <a:lnTo>
                      <a:pt x="1314" y="1595"/>
                    </a:lnTo>
                    <a:lnTo>
                      <a:pt x="1315" y="1594"/>
                    </a:lnTo>
                    <a:lnTo>
                      <a:pt x="1314" y="1594"/>
                    </a:lnTo>
                    <a:lnTo>
                      <a:pt x="1314" y="1592"/>
                    </a:lnTo>
                    <a:lnTo>
                      <a:pt x="1312" y="1590"/>
                    </a:lnTo>
                    <a:lnTo>
                      <a:pt x="1310" y="1590"/>
                    </a:lnTo>
                    <a:lnTo>
                      <a:pt x="1309" y="1590"/>
                    </a:lnTo>
                    <a:lnTo>
                      <a:pt x="1307" y="1590"/>
                    </a:lnTo>
                    <a:lnTo>
                      <a:pt x="1305" y="1590"/>
                    </a:lnTo>
                    <a:lnTo>
                      <a:pt x="1304" y="1590"/>
                    </a:lnTo>
                    <a:lnTo>
                      <a:pt x="1304" y="1589"/>
                    </a:lnTo>
                    <a:lnTo>
                      <a:pt x="1302" y="1589"/>
                    </a:lnTo>
                    <a:lnTo>
                      <a:pt x="1302" y="1587"/>
                    </a:lnTo>
                    <a:lnTo>
                      <a:pt x="1300" y="1585"/>
                    </a:lnTo>
                    <a:lnTo>
                      <a:pt x="1302" y="1585"/>
                    </a:lnTo>
                    <a:lnTo>
                      <a:pt x="1300" y="1583"/>
                    </a:lnTo>
                    <a:lnTo>
                      <a:pt x="1302" y="1583"/>
                    </a:lnTo>
                    <a:lnTo>
                      <a:pt x="1302" y="1585"/>
                    </a:lnTo>
                    <a:lnTo>
                      <a:pt x="1304" y="1585"/>
                    </a:lnTo>
                    <a:lnTo>
                      <a:pt x="1302" y="1585"/>
                    </a:lnTo>
                    <a:lnTo>
                      <a:pt x="1302" y="1583"/>
                    </a:lnTo>
                    <a:lnTo>
                      <a:pt x="1300" y="1582"/>
                    </a:lnTo>
                    <a:lnTo>
                      <a:pt x="1300" y="1580"/>
                    </a:lnTo>
                    <a:lnTo>
                      <a:pt x="1300" y="1582"/>
                    </a:lnTo>
                    <a:lnTo>
                      <a:pt x="1302" y="1582"/>
                    </a:lnTo>
                    <a:lnTo>
                      <a:pt x="1304" y="1582"/>
                    </a:lnTo>
                    <a:lnTo>
                      <a:pt x="1304" y="1583"/>
                    </a:lnTo>
                    <a:lnTo>
                      <a:pt x="1305" y="1583"/>
                    </a:lnTo>
                    <a:lnTo>
                      <a:pt x="1305" y="1585"/>
                    </a:lnTo>
                    <a:lnTo>
                      <a:pt x="1307" y="1585"/>
                    </a:lnTo>
                    <a:lnTo>
                      <a:pt x="1309" y="1585"/>
                    </a:lnTo>
                    <a:lnTo>
                      <a:pt x="1309" y="1587"/>
                    </a:lnTo>
                    <a:lnTo>
                      <a:pt x="1310" y="1589"/>
                    </a:lnTo>
                    <a:lnTo>
                      <a:pt x="1312" y="1589"/>
                    </a:lnTo>
                    <a:lnTo>
                      <a:pt x="1314" y="1589"/>
                    </a:lnTo>
                    <a:lnTo>
                      <a:pt x="1314" y="1590"/>
                    </a:lnTo>
                    <a:lnTo>
                      <a:pt x="1315" y="1590"/>
                    </a:lnTo>
                    <a:lnTo>
                      <a:pt x="1317" y="1590"/>
                    </a:lnTo>
                    <a:lnTo>
                      <a:pt x="1317" y="1592"/>
                    </a:lnTo>
                    <a:lnTo>
                      <a:pt x="1319" y="1592"/>
                    </a:lnTo>
                    <a:lnTo>
                      <a:pt x="1321" y="1592"/>
                    </a:lnTo>
                    <a:lnTo>
                      <a:pt x="1321" y="1594"/>
                    </a:lnTo>
                    <a:lnTo>
                      <a:pt x="1322" y="1594"/>
                    </a:lnTo>
                    <a:lnTo>
                      <a:pt x="1322" y="1595"/>
                    </a:lnTo>
                    <a:lnTo>
                      <a:pt x="1321" y="1595"/>
                    </a:lnTo>
                    <a:lnTo>
                      <a:pt x="1322" y="1595"/>
                    </a:lnTo>
                    <a:lnTo>
                      <a:pt x="1324" y="1595"/>
                    </a:lnTo>
                    <a:lnTo>
                      <a:pt x="1324" y="1597"/>
                    </a:lnTo>
                    <a:lnTo>
                      <a:pt x="1326" y="1599"/>
                    </a:lnTo>
                    <a:lnTo>
                      <a:pt x="1327" y="1599"/>
                    </a:lnTo>
                    <a:lnTo>
                      <a:pt x="1327" y="1597"/>
                    </a:lnTo>
                    <a:lnTo>
                      <a:pt x="1326" y="1597"/>
                    </a:lnTo>
                    <a:lnTo>
                      <a:pt x="1327" y="1597"/>
                    </a:lnTo>
                    <a:lnTo>
                      <a:pt x="1326" y="1597"/>
                    </a:lnTo>
                    <a:lnTo>
                      <a:pt x="1327" y="1595"/>
                    </a:lnTo>
                    <a:lnTo>
                      <a:pt x="1329" y="1595"/>
                    </a:lnTo>
                    <a:lnTo>
                      <a:pt x="1329" y="1597"/>
                    </a:lnTo>
                    <a:lnTo>
                      <a:pt x="1331" y="1597"/>
                    </a:lnTo>
                    <a:lnTo>
                      <a:pt x="1329" y="1595"/>
                    </a:lnTo>
                    <a:lnTo>
                      <a:pt x="1327" y="1595"/>
                    </a:lnTo>
                    <a:lnTo>
                      <a:pt x="1326" y="1595"/>
                    </a:lnTo>
                    <a:lnTo>
                      <a:pt x="1326" y="1594"/>
                    </a:lnTo>
                    <a:lnTo>
                      <a:pt x="1324" y="1594"/>
                    </a:lnTo>
                    <a:lnTo>
                      <a:pt x="1324" y="1592"/>
                    </a:lnTo>
                    <a:lnTo>
                      <a:pt x="1326" y="1592"/>
                    </a:lnTo>
                    <a:lnTo>
                      <a:pt x="1327" y="1592"/>
                    </a:lnTo>
                    <a:lnTo>
                      <a:pt x="1327" y="1590"/>
                    </a:lnTo>
                    <a:lnTo>
                      <a:pt x="1327" y="1589"/>
                    </a:lnTo>
                    <a:lnTo>
                      <a:pt x="1329" y="1589"/>
                    </a:lnTo>
                    <a:lnTo>
                      <a:pt x="1331" y="1589"/>
                    </a:lnTo>
                    <a:lnTo>
                      <a:pt x="1332" y="1590"/>
                    </a:lnTo>
                    <a:lnTo>
                      <a:pt x="1332" y="1592"/>
                    </a:lnTo>
                    <a:lnTo>
                      <a:pt x="1334" y="1592"/>
                    </a:lnTo>
                    <a:lnTo>
                      <a:pt x="1332" y="1592"/>
                    </a:lnTo>
                    <a:lnTo>
                      <a:pt x="1332" y="1594"/>
                    </a:lnTo>
                    <a:lnTo>
                      <a:pt x="1334" y="1595"/>
                    </a:lnTo>
                    <a:lnTo>
                      <a:pt x="1332" y="1595"/>
                    </a:lnTo>
                    <a:lnTo>
                      <a:pt x="1332" y="1597"/>
                    </a:lnTo>
                    <a:lnTo>
                      <a:pt x="1334" y="1595"/>
                    </a:lnTo>
                    <a:lnTo>
                      <a:pt x="1334" y="1597"/>
                    </a:lnTo>
                    <a:lnTo>
                      <a:pt x="1336" y="1597"/>
                    </a:lnTo>
                    <a:lnTo>
                      <a:pt x="1336" y="1599"/>
                    </a:lnTo>
                    <a:lnTo>
                      <a:pt x="1334" y="1599"/>
                    </a:lnTo>
                    <a:lnTo>
                      <a:pt x="1336" y="1599"/>
                    </a:lnTo>
                    <a:lnTo>
                      <a:pt x="1338" y="1600"/>
                    </a:lnTo>
                    <a:lnTo>
                      <a:pt x="1336" y="1600"/>
                    </a:lnTo>
                    <a:lnTo>
                      <a:pt x="1336" y="1602"/>
                    </a:lnTo>
                    <a:lnTo>
                      <a:pt x="1334" y="1604"/>
                    </a:lnTo>
                    <a:lnTo>
                      <a:pt x="1336" y="1604"/>
                    </a:lnTo>
                    <a:lnTo>
                      <a:pt x="1336" y="1602"/>
                    </a:lnTo>
                    <a:lnTo>
                      <a:pt x="1338" y="1602"/>
                    </a:lnTo>
                    <a:lnTo>
                      <a:pt x="1338" y="1600"/>
                    </a:lnTo>
                    <a:lnTo>
                      <a:pt x="1338" y="1602"/>
                    </a:lnTo>
                    <a:lnTo>
                      <a:pt x="1339" y="1602"/>
                    </a:lnTo>
                    <a:lnTo>
                      <a:pt x="1339" y="1604"/>
                    </a:lnTo>
                    <a:lnTo>
                      <a:pt x="1339" y="1606"/>
                    </a:lnTo>
                    <a:lnTo>
                      <a:pt x="1338" y="1606"/>
                    </a:lnTo>
                    <a:lnTo>
                      <a:pt x="1338" y="1607"/>
                    </a:lnTo>
                    <a:lnTo>
                      <a:pt x="1338" y="1606"/>
                    </a:lnTo>
                    <a:lnTo>
                      <a:pt x="1339" y="1606"/>
                    </a:lnTo>
                    <a:lnTo>
                      <a:pt x="1339" y="1607"/>
                    </a:lnTo>
                    <a:lnTo>
                      <a:pt x="1341" y="1607"/>
                    </a:lnTo>
                    <a:lnTo>
                      <a:pt x="1339" y="1607"/>
                    </a:lnTo>
                    <a:lnTo>
                      <a:pt x="1339" y="1609"/>
                    </a:lnTo>
                    <a:lnTo>
                      <a:pt x="1341" y="1607"/>
                    </a:lnTo>
                    <a:lnTo>
                      <a:pt x="1339" y="1606"/>
                    </a:lnTo>
                    <a:lnTo>
                      <a:pt x="1341" y="1604"/>
                    </a:lnTo>
                    <a:lnTo>
                      <a:pt x="1341" y="1602"/>
                    </a:lnTo>
                    <a:lnTo>
                      <a:pt x="1339" y="1600"/>
                    </a:lnTo>
                    <a:lnTo>
                      <a:pt x="1339" y="1599"/>
                    </a:lnTo>
                    <a:lnTo>
                      <a:pt x="1338" y="1599"/>
                    </a:lnTo>
                    <a:lnTo>
                      <a:pt x="1338" y="1597"/>
                    </a:lnTo>
                    <a:lnTo>
                      <a:pt x="1338" y="1595"/>
                    </a:lnTo>
                    <a:lnTo>
                      <a:pt x="1338" y="1594"/>
                    </a:lnTo>
                    <a:lnTo>
                      <a:pt x="1336" y="1594"/>
                    </a:lnTo>
                    <a:lnTo>
                      <a:pt x="1336" y="1592"/>
                    </a:lnTo>
                    <a:lnTo>
                      <a:pt x="1336" y="1590"/>
                    </a:lnTo>
                    <a:lnTo>
                      <a:pt x="1338" y="1590"/>
                    </a:lnTo>
                    <a:lnTo>
                      <a:pt x="1339" y="1592"/>
                    </a:lnTo>
                    <a:lnTo>
                      <a:pt x="1341" y="1592"/>
                    </a:lnTo>
                    <a:lnTo>
                      <a:pt x="1341" y="1594"/>
                    </a:lnTo>
                    <a:lnTo>
                      <a:pt x="1343" y="1594"/>
                    </a:lnTo>
                    <a:lnTo>
                      <a:pt x="1344" y="1594"/>
                    </a:lnTo>
                    <a:lnTo>
                      <a:pt x="1344" y="1595"/>
                    </a:lnTo>
                    <a:lnTo>
                      <a:pt x="1343" y="1597"/>
                    </a:lnTo>
                    <a:lnTo>
                      <a:pt x="1344" y="1597"/>
                    </a:lnTo>
                    <a:lnTo>
                      <a:pt x="1344" y="1599"/>
                    </a:lnTo>
                    <a:lnTo>
                      <a:pt x="1343" y="1600"/>
                    </a:lnTo>
                    <a:lnTo>
                      <a:pt x="1344" y="1602"/>
                    </a:lnTo>
                    <a:lnTo>
                      <a:pt x="1346" y="1602"/>
                    </a:lnTo>
                    <a:lnTo>
                      <a:pt x="1344" y="1600"/>
                    </a:lnTo>
                    <a:lnTo>
                      <a:pt x="1344" y="1599"/>
                    </a:lnTo>
                    <a:lnTo>
                      <a:pt x="1346" y="1599"/>
                    </a:lnTo>
                    <a:lnTo>
                      <a:pt x="1344" y="1597"/>
                    </a:lnTo>
                    <a:lnTo>
                      <a:pt x="1346" y="1599"/>
                    </a:lnTo>
                    <a:lnTo>
                      <a:pt x="1348" y="1600"/>
                    </a:lnTo>
                    <a:lnTo>
                      <a:pt x="1348" y="1599"/>
                    </a:lnTo>
                    <a:lnTo>
                      <a:pt x="1346" y="1599"/>
                    </a:lnTo>
                    <a:lnTo>
                      <a:pt x="1348" y="1599"/>
                    </a:lnTo>
                    <a:lnTo>
                      <a:pt x="1346" y="1597"/>
                    </a:lnTo>
                    <a:lnTo>
                      <a:pt x="1346" y="1595"/>
                    </a:lnTo>
                    <a:lnTo>
                      <a:pt x="1346" y="1594"/>
                    </a:lnTo>
                    <a:lnTo>
                      <a:pt x="1348" y="1594"/>
                    </a:lnTo>
                    <a:lnTo>
                      <a:pt x="1349" y="1594"/>
                    </a:lnTo>
                    <a:lnTo>
                      <a:pt x="1349" y="1595"/>
                    </a:lnTo>
                    <a:lnTo>
                      <a:pt x="1351" y="1595"/>
                    </a:lnTo>
                    <a:lnTo>
                      <a:pt x="1351" y="1597"/>
                    </a:lnTo>
                    <a:lnTo>
                      <a:pt x="1353" y="1597"/>
                    </a:lnTo>
                    <a:lnTo>
                      <a:pt x="1355" y="1599"/>
                    </a:lnTo>
                    <a:lnTo>
                      <a:pt x="1356" y="1599"/>
                    </a:lnTo>
                    <a:lnTo>
                      <a:pt x="1356" y="1600"/>
                    </a:lnTo>
                    <a:lnTo>
                      <a:pt x="1358" y="1600"/>
                    </a:lnTo>
                    <a:lnTo>
                      <a:pt x="1358" y="1602"/>
                    </a:lnTo>
                    <a:lnTo>
                      <a:pt x="1356" y="1602"/>
                    </a:lnTo>
                    <a:lnTo>
                      <a:pt x="1356" y="1604"/>
                    </a:lnTo>
                    <a:lnTo>
                      <a:pt x="1355" y="1606"/>
                    </a:lnTo>
                    <a:lnTo>
                      <a:pt x="1355" y="1607"/>
                    </a:lnTo>
                    <a:lnTo>
                      <a:pt x="1353" y="1607"/>
                    </a:lnTo>
                    <a:lnTo>
                      <a:pt x="1353" y="1609"/>
                    </a:lnTo>
                    <a:lnTo>
                      <a:pt x="1351" y="1609"/>
                    </a:lnTo>
                    <a:lnTo>
                      <a:pt x="1353" y="1611"/>
                    </a:lnTo>
                    <a:lnTo>
                      <a:pt x="1351" y="1611"/>
                    </a:lnTo>
                    <a:lnTo>
                      <a:pt x="1351" y="1612"/>
                    </a:lnTo>
                    <a:lnTo>
                      <a:pt x="1349" y="1612"/>
                    </a:lnTo>
                    <a:lnTo>
                      <a:pt x="1348" y="1612"/>
                    </a:lnTo>
                    <a:lnTo>
                      <a:pt x="1349" y="1614"/>
                    </a:lnTo>
                    <a:lnTo>
                      <a:pt x="1351" y="1612"/>
                    </a:lnTo>
                    <a:lnTo>
                      <a:pt x="1353" y="1612"/>
                    </a:lnTo>
                    <a:lnTo>
                      <a:pt x="1353" y="1614"/>
                    </a:lnTo>
                    <a:lnTo>
                      <a:pt x="1353" y="1616"/>
                    </a:lnTo>
                    <a:lnTo>
                      <a:pt x="1353" y="1614"/>
                    </a:lnTo>
                    <a:lnTo>
                      <a:pt x="1353" y="1612"/>
                    </a:lnTo>
                    <a:lnTo>
                      <a:pt x="1353" y="1611"/>
                    </a:lnTo>
                    <a:lnTo>
                      <a:pt x="1355" y="1611"/>
                    </a:lnTo>
                    <a:lnTo>
                      <a:pt x="1355" y="1609"/>
                    </a:lnTo>
                    <a:lnTo>
                      <a:pt x="1355" y="1607"/>
                    </a:lnTo>
                    <a:lnTo>
                      <a:pt x="1356" y="1606"/>
                    </a:lnTo>
                    <a:lnTo>
                      <a:pt x="1358" y="1606"/>
                    </a:lnTo>
                    <a:lnTo>
                      <a:pt x="1358" y="1604"/>
                    </a:lnTo>
                    <a:lnTo>
                      <a:pt x="1358" y="1606"/>
                    </a:lnTo>
                    <a:lnTo>
                      <a:pt x="1360" y="1607"/>
                    </a:lnTo>
                    <a:lnTo>
                      <a:pt x="1361" y="1607"/>
                    </a:lnTo>
                    <a:lnTo>
                      <a:pt x="1360" y="1606"/>
                    </a:lnTo>
                    <a:lnTo>
                      <a:pt x="1360" y="1604"/>
                    </a:lnTo>
                    <a:lnTo>
                      <a:pt x="1360" y="1602"/>
                    </a:lnTo>
                    <a:lnTo>
                      <a:pt x="1361" y="1600"/>
                    </a:lnTo>
                    <a:lnTo>
                      <a:pt x="1363" y="1600"/>
                    </a:lnTo>
                    <a:lnTo>
                      <a:pt x="1365" y="1600"/>
                    </a:lnTo>
                    <a:lnTo>
                      <a:pt x="1365" y="1602"/>
                    </a:lnTo>
                    <a:lnTo>
                      <a:pt x="1366" y="1602"/>
                    </a:lnTo>
                    <a:lnTo>
                      <a:pt x="1365" y="1600"/>
                    </a:lnTo>
                    <a:lnTo>
                      <a:pt x="1366" y="1600"/>
                    </a:lnTo>
                    <a:lnTo>
                      <a:pt x="1365" y="1599"/>
                    </a:lnTo>
                    <a:lnTo>
                      <a:pt x="1363" y="1599"/>
                    </a:lnTo>
                    <a:lnTo>
                      <a:pt x="1363" y="1597"/>
                    </a:lnTo>
                    <a:lnTo>
                      <a:pt x="1361" y="1597"/>
                    </a:lnTo>
                    <a:lnTo>
                      <a:pt x="1360" y="1597"/>
                    </a:lnTo>
                    <a:lnTo>
                      <a:pt x="1360" y="1595"/>
                    </a:lnTo>
                    <a:lnTo>
                      <a:pt x="1358" y="1595"/>
                    </a:lnTo>
                    <a:lnTo>
                      <a:pt x="1358" y="1594"/>
                    </a:lnTo>
                    <a:lnTo>
                      <a:pt x="1356" y="1594"/>
                    </a:lnTo>
                    <a:lnTo>
                      <a:pt x="1355" y="1592"/>
                    </a:lnTo>
                    <a:lnTo>
                      <a:pt x="1353" y="1592"/>
                    </a:lnTo>
                    <a:lnTo>
                      <a:pt x="1351" y="1592"/>
                    </a:lnTo>
                    <a:lnTo>
                      <a:pt x="1351" y="1590"/>
                    </a:lnTo>
                    <a:lnTo>
                      <a:pt x="1349" y="1590"/>
                    </a:lnTo>
                    <a:lnTo>
                      <a:pt x="1348" y="1590"/>
                    </a:lnTo>
                    <a:lnTo>
                      <a:pt x="1348" y="1589"/>
                    </a:lnTo>
                    <a:lnTo>
                      <a:pt x="1346" y="1589"/>
                    </a:lnTo>
                    <a:lnTo>
                      <a:pt x="1344" y="1587"/>
                    </a:lnTo>
                    <a:lnTo>
                      <a:pt x="1343" y="1587"/>
                    </a:lnTo>
                    <a:lnTo>
                      <a:pt x="1341" y="1587"/>
                    </a:lnTo>
                    <a:lnTo>
                      <a:pt x="1341" y="1585"/>
                    </a:lnTo>
                    <a:lnTo>
                      <a:pt x="1339" y="1585"/>
                    </a:lnTo>
                    <a:lnTo>
                      <a:pt x="1338" y="1585"/>
                    </a:lnTo>
                    <a:lnTo>
                      <a:pt x="1336" y="1583"/>
                    </a:lnTo>
                    <a:lnTo>
                      <a:pt x="1334" y="1583"/>
                    </a:lnTo>
                    <a:lnTo>
                      <a:pt x="1334" y="1582"/>
                    </a:lnTo>
                    <a:lnTo>
                      <a:pt x="1332" y="1582"/>
                    </a:lnTo>
                    <a:lnTo>
                      <a:pt x="1331" y="1580"/>
                    </a:lnTo>
                    <a:lnTo>
                      <a:pt x="1329" y="1580"/>
                    </a:lnTo>
                    <a:lnTo>
                      <a:pt x="1331" y="1580"/>
                    </a:lnTo>
                    <a:lnTo>
                      <a:pt x="1331" y="1578"/>
                    </a:lnTo>
                    <a:lnTo>
                      <a:pt x="1329" y="1578"/>
                    </a:lnTo>
                    <a:lnTo>
                      <a:pt x="1329" y="1577"/>
                    </a:lnTo>
                    <a:lnTo>
                      <a:pt x="1329" y="1575"/>
                    </a:lnTo>
                    <a:lnTo>
                      <a:pt x="1329" y="1573"/>
                    </a:lnTo>
                    <a:lnTo>
                      <a:pt x="1327" y="1573"/>
                    </a:lnTo>
                    <a:lnTo>
                      <a:pt x="1327" y="1572"/>
                    </a:lnTo>
                    <a:lnTo>
                      <a:pt x="1327" y="1570"/>
                    </a:lnTo>
                    <a:lnTo>
                      <a:pt x="1327" y="1568"/>
                    </a:lnTo>
                    <a:lnTo>
                      <a:pt x="1326" y="1568"/>
                    </a:lnTo>
                    <a:lnTo>
                      <a:pt x="1326" y="1566"/>
                    </a:lnTo>
                    <a:lnTo>
                      <a:pt x="1326" y="1565"/>
                    </a:lnTo>
                    <a:lnTo>
                      <a:pt x="1326" y="1563"/>
                    </a:lnTo>
                    <a:lnTo>
                      <a:pt x="1326" y="1561"/>
                    </a:lnTo>
                    <a:lnTo>
                      <a:pt x="1326" y="1560"/>
                    </a:lnTo>
                    <a:lnTo>
                      <a:pt x="1327" y="1560"/>
                    </a:lnTo>
                    <a:lnTo>
                      <a:pt x="1329" y="1558"/>
                    </a:lnTo>
                    <a:lnTo>
                      <a:pt x="1331" y="1558"/>
                    </a:lnTo>
                    <a:lnTo>
                      <a:pt x="1332" y="1558"/>
                    </a:lnTo>
                    <a:lnTo>
                      <a:pt x="1334" y="1556"/>
                    </a:lnTo>
                    <a:lnTo>
                      <a:pt x="1334" y="1555"/>
                    </a:lnTo>
                    <a:lnTo>
                      <a:pt x="1336" y="1555"/>
                    </a:lnTo>
                    <a:lnTo>
                      <a:pt x="1338" y="1555"/>
                    </a:lnTo>
                    <a:lnTo>
                      <a:pt x="1339" y="1555"/>
                    </a:lnTo>
                    <a:lnTo>
                      <a:pt x="1341" y="1555"/>
                    </a:lnTo>
                    <a:lnTo>
                      <a:pt x="1343" y="1555"/>
                    </a:lnTo>
                    <a:lnTo>
                      <a:pt x="1343" y="1553"/>
                    </a:lnTo>
                    <a:lnTo>
                      <a:pt x="1344" y="1553"/>
                    </a:lnTo>
                    <a:lnTo>
                      <a:pt x="1344" y="1551"/>
                    </a:lnTo>
                    <a:lnTo>
                      <a:pt x="1346" y="1551"/>
                    </a:lnTo>
                    <a:lnTo>
                      <a:pt x="1348" y="1549"/>
                    </a:lnTo>
                    <a:lnTo>
                      <a:pt x="1349" y="1549"/>
                    </a:lnTo>
                    <a:lnTo>
                      <a:pt x="1349" y="1548"/>
                    </a:lnTo>
                    <a:lnTo>
                      <a:pt x="1351" y="1548"/>
                    </a:lnTo>
                    <a:lnTo>
                      <a:pt x="1353" y="1548"/>
                    </a:lnTo>
                    <a:lnTo>
                      <a:pt x="1353" y="1546"/>
                    </a:lnTo>
                    <a:lnTo>
                      <a:pt x="1355" y="1546"/>
                    </a:lnTo>
                    <a:lnTo>
                      <a:pt x="1355" y="1544"/>
                    </a:lnTo>
                    <a:lnTo>
                      <a:pt x="1355" y="1543"/>
                    </a:lnTo>
                    <a:lnTo>
                      <a:pt x="1355" y="1541"/>
                    </a:lnTo>
                    <a:lnTo>
                      <a:pt x="1355" y="1539"/>
                    </a:lnTo>
                    <a:lnTo>
                      <a:pt x="1353" y="1539"/>
                    </a:lnTo>
                    <a:lnTo>
                      <a:pt x="1353" y="1538"/>
                    </a:lnTo>
                    <a:lnTo>
                      <a:pt x="1351" y="1538"/>
                    </a:lnTo>
                    <a:lnTo>
                      <a:pt x="1349" y="1538"/>
                    </a:lnTo>
                    <a:lnTo>
                      <a:pt x="1348" y="1538"/>
                    </a:lnTo>
                    <a:lnTo>
                      <a:pt x="1346" y="1538"/>
                    </a:lnTo>
                    <a:lnTo>
                      <a:pt x="1344" y="1538"/>
                    </a:lnTo>
                    <a:lnTo>
                      <a:pt x="1343" y="1538"/>
                    </a:lnTo>
                    <a:lnTo>
                      <a:pt x="1341" y="1538"/>
                    </a:lnTo>
                    <a:lnTo>
                      <a:pt x="1339" y="1538"/>
                    </a:lnTo>
                    <a:lnTo>
                      <a:pt x="1338" y="1539"/>
                    </a:lnTo>
                    <a:lnTo>
                      <a:pt x="1336" y="1539"/>
                    </a:lnTo>
                    <a:lnTo>
                      <a:pt x="1334" y="1539"/>
                    </a:lnTo>
                    <a:lnTo>
                      <a:pt x="1332" y="1539"/>
                    </a:lnTo>
                    <a:lnTo>
                      <a:pt x="1331" y="1541"/>
                    </a:lnTo>
                    <a:lnTo>
                      <a:pt x="1329" y="1541"/>
                    </a:lnTo>
                    <a:lnTo>
                      <a:pt x="1329" y="1543"/>
                    </a:lnTo>
                    <a:lnTo>
                      <a:pt x="1327" y="1543"/>
                    </a:lnTo>
                    <a:lnTo>
                      <a:pt x="1326" y="1543"/>
                    </a:lnTo>
                    <a:lnTo>
                      <a:pt x="1326" y="1544"/>
                    </a:lnTo>
                    <a:lnTo>
                      <a:pt x="1324" y="1544"/>
                    </a:lnTo>
                    <a:lnTo>
                      <a:pt x="1322" y="1544"/>
                    </a:lnTo>
                    <a:lnTo>
                      <a:pt x="1322" y="1543"/>
                    </a:lnTo>
                    <a:lnTo>
                      <a:pt x="1321" y="1543"/>
                    </a:lnTo>
                    <a:lnTo>
                      <a:pt x="1321" y="1541"/>
                    </a:lnTo>
                    <a:lnTo>
                      <a:pt x="1321" y="1539"/>
                    </a:lnTo>
                    <a:lnTo>
                      <a:pt x="1319" y="1539"/>
                    </a:lnTo>
                    <a:lnTo>
                      <a:pt x="1317" y="1539"/>
                    </a:lnTo>
                    <a:lnTo>
                      <a:pt x="1315" y="1539"/>
                    </a:lnTo>
                    <a:lnTo>
                      <a:pt x="1315" y="1538"/>
                    </a:lnTo>
                    <a:lnTo>
                      <a:pt x="1315" y="1536"/>
                    </a:lnTo>
                    <a:lnTo>
                      <a:pt x="1317" y="1534"/>
                    </a:lnTo>
                    <a:lnTo>
                      <a:pt x="1319" y="1534"/>
                    </a:lnTo>
                    <a:lnTo>
                      <a:pt x="1317" y="1534"/>
                    </a:lnTo>
                    <a:lnTo>
                      <a:pt x="1315" y="1536"/>
                    </a:lnTo>
                    <a:lnTo>
                      <a:pt x="1315" y="1534"/>
                    </a:lnTo>
                    <a:lnTo>
                      <a:pt x="1315" y="1532"/>
                    </a:lnTo>
                    <a:lnTo>
                      <a:pt x="1315" y="1531"/>
                    </a:lnTo>
                    <a:lnTo>
                      <a:pt x="1315" y="1529"/>
                    </a:lnTo>
                    <a:lnTo>
                      <a:pt x="1317" y="1527"/>
                    </a:lnTo>
                    <a:lnTo>
                      <a:pt x="1317" y="1526"/>
                    </a:lnTo>
                    <a:lnTo>
                      <a:pt x="1317" y="1524"/>
                    </a:lnTo>
                    <a:lnTo>
                      <a:pt x="1315" y="1524"/>
                    </a:lnTo>
                    <a:lnTo>
                      <a:pt x="1317" y="1522"/>
                    </a:lnTo>
                    <a:lnTo>
                      <a:pt x="1317" y="1521"/>
                    </a:lnTo>
                    <a:lnTo>
                      <a:pt x="1317" y="1519"/>
                    </a:lnTo>
                    <a:lnTo>
                      <a:pt x="1317" y="1517"/>
                    </a:lnTo>
                    <a:lnTo>
                      <a:pt x="1319" y="1517"/>
                    </a:lnTo>
                    <a:lnTo>
                      <a:pt x="1319" y="1515"/>
                    </a:lnTo>
                    <a:lnTo>
                      <a:pt x="1321" y="1515"/>
                    </a:lnTo>
                    <a:lnTo>
                      <a:pt x="1321" y="1517"/>
                    </a:lnTo>
                    <a:lnTo>
                      <a:pt x="1319" y="1517"/>
                    </a:lnTo>
                    <a:lnTo>
                      <a:pt x="1321" y="1519"/>
                    </a:lnTo>
                    <a:lnTo>
                      <a:pt x="1321" y="1521"/>
                    </a:lnTo>
                    <a:lnTo>
                      <a:pt x="1319" y="1521"/>
                    </a:lnTo>
                    <a:lnTo>
                      <a:pt x="1321" y="1521"/>
                    </a:lnTo>
                    <a:lnTo>
                      <a:pt x="1322" y="1521"/>
                    </a:lnTo>
                    <a:lnTo>
                      <a:pt x="1324" y="1521"/>
                    </a:lnTo>
                    <a:lnTo>
                      <a:pt x="1324" y="1519"/>
                    </a:lnTo>
                    <a:lnTo>
                      <a:pt x="1326" y="1519"/>
                    </a:lnTo>
                    <a:lnTo>
                      <a:pt x="1327" y="1519"/>
                    </a:lnTo>
                    <a:lnTo>
                      <a:pt x="1327" y="1517"/>
                    </a:lnTo>
                    <a:lnTo>
                      <a:pt x="1327" y="1515"/>
                    </a:lnTo>
                    <a:lnTo>
                      <a:pt x="1329" y="1514"/>
                    </a:lnTo>
                    <a:lnTo>
                      <a:pt x="1327" y="1512"/>
                    </a:lnTo>
                    <a:lnTo>
                      <a:pt x="1327" y="1510"/>
                    </a:lnTo>
                    <a:lnTo>
                      <a:pt x="1326" y="1512"/>
                    </a:lnTo>
                    <a:lnTo>
                      <a:pt x="1326" y="1510"/>
                    </a:lnTo>
                    <a:lnTo>
                      <a:pt x="1324" y="1510"/>
                    </a:lnTo>
                    <a:lnTo>
                      <a:pt x="1322" y="1510"/>
                    </a:lnTo>
                    <a:lnTo>
                      <a:pt x="1322" y="1512"/>
                    </a:lnTo>
                    <a:lnTo>
                      <a:pt x="1321" y="1512"/>
                    </a:lnTo>
                    <a:lnTo>
                      <a:pt x="1322" y="1510"/>
                    </a:lnTo>
                    <a:lnTo>
                      <a:pt x="1322" y="1509"/>
                    </a:lnTo>
                    <a:lnTo>
                      <a:pt x="1322" y="1507"/>
                    </a:lnTo>
                    <a:lnTo>
                      <a:pt x="1321" y="1505"/>
                    </a:lnTo>
                    <a:lnTo>
                      <a:pt x="1319" y="1505"/>
                    </a:lnTo>
                    <a:lnTo>
                      <a:pt x="1317" y="1505"/>
                    </a:lnTo>
                    <a:lnTo>
                      <a:pt x="1317" y="1504"/>
                    </a:lnTo>
                    <a:lnTo>
                      <a:pt x="1319" y="1504"/>
                    </a:lnTo>
                    <a:lnTo>
                      <a:pt x="1321" y="1504"/>
                    </a:lnTo>
                    <a:lnTo>
                      <a:pt x="1322" y="1504"/>
                    </a:lnTo>
                    <a:lnTo>
                      <a:pt x="1324" y="1504"/>
                    </a:lnTo>
                    <a:lnTo>
                      <a:pt x="1326" y="1502"/>
                    </a:lnTo>
                    <a:lnTo>
                      <a:pt x="1327" y="1502"/>
                    </a:lnTo>
                    <a:lnTo>
                      <a:pt x="1327" y="1504"/>
                    </a:lnTo>
                    <a:lnTo>
                      <a:pt x="1329" y="1505"/>
                    </a:lnTo>
                    <a:lnTo>
                      <a:pt x="1329" y="1507"/>
                    </a:lnTo>
                    <a:lnTo>
                      <a:pt x="1331" y="1509"/>
                    </a:lnTo>
                    <a:lnTo>
                      <a:pt x="1332" y="1509"/>
                    </a:lnTo>
                    <a:lnTo>
                      <a:pt x="1334" y="1509"/>
                    </a:lnTo>
                    <a:lnTo>
                      <a:pt x="1336" y="1507"/>
                    </a:lnTo>
                    <a:lnTo>
                      <a:pt x="1336" y="1505"/>
                    </a:lnTo>
                    <a:lnTo>
                      <a:pt x="1338" y="1505"/>
                    </a:lnTo>
                    <a:lnTo>
                      <a:pt x="1339" y="1505"/>
                    </a:lnTo>
                    <a:lnTo>
                      <a:pt x="1341" y="1504"/>
                    </a:lnTo>
                    <a:lnTo>
                      <a:pt x="1343" y="1502"/>
                    </a:lnTo>
                    <a:lnTo>
                      <a:pt x="1343" y="1500"/>
                    </a:lnTo>
                    <a:lnTo>
                      <a:pt x="1344" y="1498"/>
                    </a:lnTo>
                    <a:lnTo>
                      <a:pt x="1344" y="1497"/>
                    </a:lnTo>
                    <a:lnTo>
                      <a:pt x="1344" y="1495"/>
                    </a:lnTo>
                    <a:lnTo>
                      <a:pt x="1344" y="1493"/>
                    </a:lnTo>
                    <a:lnTo>
                      <a:pt x="1344" y="1492"/>
                    </a:lnTo>
                    <a:lnTo>
                      <a:pt x="1346" y="1492"/>
                    </a:lnTo>
                    <a:lnTo>
                      <a:pt x="1346" y="1490"/>
                    </a:lnTo>
                    <a:lnTo>
                      <a:pt x="1348" y="1490"/>
                    </a:lnTo>
                    <a:lnTo>
                      <a:pt x="1349" y="1488"/>
                    </a:lnTo>
                    <a:lnTo>
                      <a:pt x="1348" y="1488"/>
                    </a:lnTo>
                    <a:lnTo>
                      <a:pt x="1349" y="1488"/>
                    </a:lnTo>
                    <a:lnTo>
                      <a:pt x="1348" y="1488"/>
                    </a:lnTo>
                    <a:lnTo>
                      <a:pt x="1349" y="1488"/>
                    </a:lnTo>
                    <a:lnTo>
                      <a:pt x="1351" y="1487"/>
                    </a:lnTo>
                    <a:lnTo>
                      <a:pt x="1353" y="1488"/>
                    </a:lnTo>
                    <a:lnTo>
                      <a:pt x="1353" y="1490"/>
                    </a:lnTo>
                    <a:lnTo>
                      <a:pt x="1355" y="1492"/>
                    </a:lnTo>
                    <a:lnTo>
                      <a:pt x="1355" y="1493"/>
                    </a:lnTo>
                    <a:lnTo>
                      <a:pt x="1355" y="1495"/>
                    </a:lnTo>
                    <a:lnTo>
                      <a:pt x="1356" y="1497"/>
                    </a:lnTo>
                    <a:lnTo>
                      <a:pt x="1356" y="1498"/>
                    </a:lnTo>
                    <a:lnTo>
                      <a:pt x="1358" y="1498"/>
                    </a:lnTo>
                    <a:lnTo>
                      <a:pt x="1360" y="1500"/>
                    </a:lnTo>
                    <a:lnTo>
                      <a:pt x="1361" y="1500"/>
                    </a:lnTo>
                    <a:lnTo>
                      <a:pt x="1363" y="1500"/>
                    </a:lnTo>
                    <a:lnTo>
                      <a:pt x="1363" y="1498"/>
                    </a:lnTo>
                    <a:lnTo>
                      <a:pt x="1365" y="1498"/>
                    </a:lnTo>
                    <a:lnTo>
                      <a:pt x="1366" y="1498"/>
                    </a:lnTo>
                    <a:lnTo>
                      <a:pt x="1368" y="1497"/>
                    </a:lnTo>
                    <a:lnTo>
                      <a:pt x="1370" y="1497"/>
                    </a:lnTo>
                    <a:lnTo>
                      <a:pt x="1372" y="1497"/>
                    </a:lnTo>
                    <a:lnTo>
                      <a:pt x="1372" y="1495"/>
                    </a:lnTo>
                    <a:lnTo>
                      <a:pt x="1373" y="1495"/>
                    </a:lnTo>
                    <a:lnTo>
                      <a:pt x="1373" y="1493"/>
                    </a:lnTo>
                    <a:lnTo>
                      <a:pt x="1373" y="1492"/>
                    </a:lnTo>
                    <a:lnTo>
                      <a:pt x="1373" y="1493"/>
                    </a:lnTo>
                    <a:lnTo>
                      <a:pt x="1375" y="1493"/>
                    </a:lnTo>
                    <a:lnTo>
                      <a:pt x="1375" y="1495"/>
                    </a:lnTo>
                    <a:lnTo>
                      <a:pt x="1377" y="1497"/>
                    </a:lnTo>
                    <a:lnTo>
                      <a:pt x="1378" y="1497"/>
                    </a:lnTo>
                    <a:lnTo>
                      <a:pt x="1378" y="1498"/>
                    </a:lnTo>
                    <a:close/>
                    <a:moveTo>
                      <a:pt x="1200" y="954"/>
                    </a:moveTo>
                    <a:lnTo>
                      <a:pt x="1200" y="956"/>
                    </a:lnTo>
                    <a:lnTo>
                      <a:pt x="1202" y="957"/>
                    </a:lnTo>
                    <a:lnTo>
                      <a:pt x="1200" y="957"/>
                    </a:lnTo>
                    <a:lnTo>
                      <a:pt x="1198" y="957"/>
                    </a:lnTo>
                    <a:lnTo>
                      <a:pt x="1198" y="956"/>
                    </a:lnTo>
                    <a:lnTo>
                      <a:pt x="1196" y="957"/>
                    </a:lnTo>
                    <a:lnTo>
                      <a:pt x="1196" y="956"/>
                    </a:lnTo>
                    <a:lnTo>
                      <a:pt x="1196" y="957"/>
                    </a:lnTo>
                    <a:lnTo>
                      <a:pt x="1198" y="957"/>
                    </a:lnTo>
                    <a:lnTo>
                      <a:pt x="1198" y="959"/>
                    </a:lnTo>
                    <a:lnTo>
                      <a:pt x="1200" y="959"/>
                    </a:lnTo>
                    <a:lnTo>
                      <a:pt x="1202" y="959"/>
                    </a:lnTo>
                    <a:lnTo>
                      <a:pt x="1202" y="957"/>
                    </a:lnTo>
                    <a:lnTo>
                      <a:pt x="1203" y="957"/>
                    </a:lnTo>
                    <a:lnTo>
                      <a:pt x="1203" y="959"/>
                    </a:lnTo>
                    <a:lnTo>
                      <a:pt x="1205" y="961"/>
                    </a:lnTo>
                    <a:lnTo>
                      <a:pt x="1203" y="963"/>
                    </a:lnTo>
                    <a:lnTo>
                      <a:pt x="1205" y="963"/>
                    </a:lnTo>
                    <a:lnTo>
                      <a:pt x="1205" y="961"/>
                    </a:lnTo>
                    <a:lnTo>
                      <a:pt x="1205" y="963"/>
                    </a:lnTo>
                    <a:lnTo>
                      <a:pt x="1205" y="961"/>
                    </a:lnTo>
                    <a:lnTo>
                      <a:pt x="1207" y="961"/>
                    </a:lnTo>
                    <a:lnTo>
                      <a:pt x="1205" y="961"/>
                    </a:lnTo>
                    <a:lnTo>
                      <a:pt x="1205" y="959"/>
                    </a:lnTo>
                    <a:lnTo>
                      <a:pt x="1203" y="959"/>
                    </a:lnTo>
                    <a:lnTo>
                      <a:pt x="1205" y="959"/>
                    </a:lnTo>
                    <a:lnTo>
                      <a:pt x="1205" y="957"/>
                    </a:lnTo>
                    <a:lnTo>
                      <a:pt x="1207" y="957"/>
                    </a:lnTo>
                    <a:lnTo>
                      <a:pt x="1207" y="956"/>
                    </a:lnTo>
                    <a:lnTo>
                      <a:pt x="1208" y="956"/>
                    </a:lnTo>
                    <a:lnTo>
                      <a:pt x="1208" y="957"/>
                    </a:lnTo>
                    <a:lnTo>
                      <a:pt x="1210" y="956"/>
                    </a:lnTo>
                    <a:lnTo>
                      <a:pt x="1212" y="956"/>
                    </a:lnTo>
                    <a:lnTo>
                      <a:pt x="1212" y="957"/>
                    </a:lnTo>
                    <a:lnTo>
                      <a:pt x="1213" y="957"/>
                    </a:lnTo>
                    <a:lnTo>
                      <a:pt x="1213" y="959"/>
                    </a:lnTo>
                    <a:lnTo>
                      <a:pt x="1212" y="959"/>
                    </a:lnTo>
                    <a:lnTo>
                      <a:pt x="1213" y="959"/>
                    </a:lnTo>
                    <a:lnTo>
                      <a:pt x="1213" y="961"/>
                    </a:lnTo>
                    <a:lnTo>
                      <a:pt x="1213" y="959"/>
                    </a:lnTo>
                    <a:lnTo>
                      <a:pt x="1212" y="959"/>
                    </a:lnTo>
                    <a:lnTo>
                      <a:pt x="1212" y="961"/>
                    </a:lnTo>
                    <a:lnTo>
                      <a:pt x="1213" y="961"/>
                    </a:lnTo>
                    <a:lnTo>
                      <a:pt x="1212" y="961"/>
                    </a:lnTo>
                    <a:lnTo>
                      <a:pt x="1212" y="963"/>
                    </a:lnTo>
                    <a:lnTo>
                      <a:pt x="1213" y="963"/>
                    </a:lnTo>
                    <a:lnTo>
                      <a:pt x="1213" y="964"/>
                    </a:lnTo>
                    <a:lnTo>
                      <a:pt x="1213" y="966"/>
                    </a:lnTo>
                    <a:lnTo>
                      <a:pt x="1215" y="966"/>
                    </a:lnTo>
                    <a:lnTo>
                      <a:pt x="1215" y="968"/>
                    </a:lnTo>
                    <a:lnTo>
                      <a:pt x="1215" y="969"/>
                    </a:lnTo>
                    <a:lnTo>
                      <a:pt x="1215" y="971"/>
                    </a:lnTo>
                    <a:lnTo>
                      <a:pt x="1213" y="969"/>
                    </a:lnTo>
                    <a:lnTo>
                      <a:pt x="1213" y="971"/>
                    </a:lnTo>
                    <a:lnTo>
                      <a:pt x="1215" y="973"/>
                    </a:lnTo>
                    <a:lnTo>
                      <a:pt x="1217" y="975"/>
                    </a:lnTo>
                    <a:lnTo>
                      <a:pt x="1219" y="975"/>
                    </a:lnTo>
                    <a:lnTo>
                      <a:pt x="1219" y="976"/>
                    </a:lnTo>
                    <a:lnTo>
                      <a:pt x="1217" y="976"/>
                    </a:lnTo>
                    <a:lnTo>
                      <a:pt x="1219" y="976"/>
                    </a:lnTo>
                    <a:lnTo>
                      <a:pt x="1219" y="978"/>
                    </a:lnTo>
                    <a:lnTo>
                      <a:pt x="1219" y="980"/>
                    </a:lnTo>
                    <a:lnTo>
                      <a:pt x="1217" y="980"/>
                    </a:lnTo>
                    <a:lnTo>
                      <a:pt x="1215" y="980"/>
                    </a:lnTo>
                    <a:lnTo>
                      <a:pt x="1215" y="978"/>
                    </a:lnTo>
                    <a:lnTo>
                      <a:pt x="1215" y="980"/>
                    </a:lnTo>
                    <a:lnTo>
                      <a:pt x="1213" y="980"/>
                    </a:lnTo>
                    <a:lnTo>
                      <a:pt x="1212" y="980"/>
                    </a:lnTo>
                    <a:lnTo>
                      <a:pt x="1210" y="981"/>
                    </a:lnTo>
                    <a:lnTo>
                      <a:pt x="1208" y="981"/>
                    </a:lnTo>
                    <a:lnTo>
                      <a:pt x="1207" y="983"/>
                    </a:lnTo>
                    <a:lnTo>
                      <a:pt x="1208" y="983"/>
                    </a:lnTo>
                    <a:lnTo>
                      <a:pt x="1208" y="985"/>
                    </a:lnTo>
                    <a:lnTo>
                      <a:pt x="1208" y="986"/>
                    </a:lnTo>
                    <a:lnTo>
                      <a:pt x="1207" y="986"/>
                    </a:lnTo>
                    <a:lnTo>
                      <a:pt x="1208" y="988"/>
                    </a:lnTo>
                    <a:lnTo>
                      <a:pt x="1210" y="988"/>
                    </a:lnTo>
                    <a:lnTo>
                      <a:pt x="1210" y="990"/>
                    </a:lnTo>
                    <a:lnTo>
                      <a:pt x="1208" y="988"/>
                    </a:lnTo>
                    <a:lnTo>
                      <a:pt x="1208" y="990"/>
                    </a:lnTo>
                    <a:lnTo>
                      <a:pt x="1207" y="990"/>
                    </a:lnTo>
                    <a:lnTo>
                      <a:pt x="1205" y="990"/>
                    </a:lnTo>
                    <a:lnTo>
                      <a:pt x="1205" y="988"/>
                    </a:lnTo>
                    <a:lnTo>
                      <a:pt x="1203" y="988"/>
                    </a:lnTo>
                    <a:lnTo>
                      <a:pt x="1205" y="988"/>
                    </a:lnTo>
                    <a:lnTo>
                      <a:pt x="1205" y="986"/>
                    </a:lnTo>
                    <a:lnTo>
                      <a:pt x="1205" y="985"/>
                    </a:lnTo>
                    <a:lnTo>
                      <a:pt x="1205" y="986"/>
                    </a:lnTo>
                    <a:lnTo>
                      <a:pt x="1203" y="986"/>
                    </a:lnTo>
                    <a:lnTo>
                      <a:pt x="1203" y="988"/>
                    </a:lnTo>
                    <a:lnTo>
                      <a:pt x="1203" y="990"/>
                    </a:lnTo>
                    <a:lnTo>
                      <a:pt x="1205" y="990"/>
                    </a:lnTo>
                    <a:lnTo>
                      <a:pt x="1205" y="992"/>
                    </a:lnTo>
                    <a:lnTo>
                      <a:pt x="1203" y="992"/>
                    </a:lnTo>
                    <a:lnTo>
                      <a:pt x="1203" y="993"/>
                    </a:lnTo>
                    <a:lnTo>
                      <a:pt x="1205" y="993"/>
                    </a:lnTo>
                    <a:lnTo>
                      <a:pt x="1205" y="995"/>
                    </a:lnTo>
                    <a:lnTo>
                      <a:pt x="1207" y="995"/>
                    </a:lnTo>
                    <a:lnTo>
                      <a:pt x="1208" y="995"/>
                    </a:lnTo>
                    <a:lnTo>
                      <a:pt x="1207" y="995"/>
                    </a:lnTo>
                    <a:lnTo>
                      <a:pt x="1207" y="997"/>
                    </a:lnTo>
                    <a:lnTo>
                      <a:pt x="1208" y="997"/>
                    </a:lnTo>
                    <a:lnTo>
                      <a:pt x="1208" y="998"/>
                    </a:lnTo>
                    <a:lnTo>
                      <a:pt x="1210" y="998"/>
                    </a:lnTo>
                    <a:lnTo>
                      <a:pt x="1210" y="1000"/>
                    </a:lnTo>
                    <a:lnTo>
                      <a:pt x="1212" y="998"/>
                    </a:lnTo>
                    <a:lnTo>
                      <a:pt x="1212" y="1000"/>
                    </a:lnTo>
                    <a:lnTo>
                      <a:pt x="1213" y="1000"/>
                    </a:lnTo>
                    <a:lnTo>
                      <a:pt x="1213" y="1002"/>
                    </a:lnTo>
                    <a:lnTo>
                      <a:pt x="1213" y="1003"/>
                    </a:lnTo>
                    <a:lnTo>
                      <a:pt x="1215" y="1005"/>
                    </a:lnTo>
                    <a:lnTo>
                      <a:pt x="1213" y="1005"/>
                    </a:lnTo>
                    <a:lnTo>
                      <a:pt x="1213" y="1007"/>
                    </a:lnTo>
                    <a:lnTo>
                      <a:pt x="1213" y="1005"/>
                    </a:lnTo>
                    <a:lnTo>
                      <a:pt x="1213" y="1003"/>
                    </a:lnTo>
                    <a:lnTo>
                      <a:pt x="1213" y="1005"/>
                    </a:lnTo>
                    <a:lnTo>
                      <a:pt x="1212" y="1005"/>
                    </a:lnTo>
                    <a:lnTo>
                      <a:pt x="1210" y="1005"/>
                    </a:lnTo>
                    <a:lnTo>
                      <a:pt x="1210" y="1003"/>
                    </a:lnTo>
                    <a:lnTo>
                      <a:pt x="1210" y="1002"/>
                    </a:lnTo>
                    <a:lnTo>
                      <a:pt x="1208" y="1002"/>
                    </a:lnTo>
                    <a:lnTo>
                      <a:pt x="1210" y="1003"/>
                    </a:lnTo>
                    <a:lnTo>
                      <a:pt x="1208" y="1003"/>
                    </a:lnTo>
                    <a:lnTo>
                      <a:pt x="1210" y="1003"/>
                    </a:lnTo>
                    <a:lnTo>
                      <a:pt x="1210" y="1005"/>
                    </a:lnTo>
                    <a:lnTo>
                      <a:pt x="1208" y="1005"/>
                    </a:lnTo>
                    <a:lnTo>
                      <a:pt x="1208" y="1003"/>
                    </a:lnTo>
                    <a:lnTo>
                      <a:pt x="1207" y="1003"/>
                    </a:lnTo>
                    <a:lnTo>
                      <a:pt x="1205" y="1003"/>
                    </a:lnTo>
                    <a:lnTo>
                      <a:pt x="1205" y="1005"/>
                    </a:lnTo>
                    <a:lnTo>
                      <a:pt x="1207" y="1005"/>
                    </a:lnTo>
                    <a:lnTo>
                      <a:pt x="1208" y="1005"/>
                    </a:lnTo>
                    <a:lnTo>
                      <a:pt x="1208" y="1007"/>
                    </a:lnTo>
                    <a:lnTo>
                      <a:pt x="1208" y="1009"/>
                    </a:lnTo>
                    <a:lnTo>
                      <a:pt x="1210" y="1009"/>
                    </a:lnTo>
                    <a:lnTo>
                      <a:pt x="1212" y="1009"/>
                    </a:lnTo>
                    <a:lnTo>
                      <a:pt x="1212" y="1010"/>
                    </a:lnTo>
                    <a:lnTo>
                      <a:pt x="1212" y="1012"/>
                    </a:lnTo>
                    <a:lnTo>
                      <a:pt x="1213" y="1014"/>
                    </a:lnTo>
                    <a:lnTo>
                      <a:pt x="1212" y="1014"/>
                    </a:lnTo>
                    <a:lnTo>
                      <a:pt x="1212" y="1012"/>
                    </a:lnTo>
                    <a:lnTo>
                      <a:pt x="1210" y="1012"/>
                    </a:lnTo>
                    <a:lnTo>
                      <a:pt x="1208" y="1012"/>
                    </a:lnTo>
                    <a:lnTo>
                      <a:pt x="1208" y="1014"/>
                    </a:lnTo>
                    <a:lnTo>
                      <a:pt x="1210" y="1014"/>
                    </a:lnTo>
                    <a:lnTo>
                      <a:pt x="1212" y="1014"/>
                    </a:lnTo>
                    <a:lnTo>
                      <a:pt x="1213" y="1014"/>
                    </a:lnTo>
                    <a:lnTo>
                      <a:pt x="1213" y="1015"/>
                    </a:lnTo>
                    <a:lnTo>
                      <a:pt x="1213" y="1017"/>
                    </a:lnTo>
                    <a:lnTo>
                      <a:pt x="1212" y="1015"/>
                    </a:lnTo>
                    <a:lnTo>
                      <a:pt x="1210" y="1015"/>
                    </a:lnTo>
                    <a:lnTo>
                      <a:pt x="1208" y="1015"/>
                    </a:lnTo>
                    <a:lnTo>
                      <a:pt x="1208" y="1017"/>
                    </a:lnTo>
                    <a:lnTo>
                      <a:pt x="1207" y="1017"/>
                    </a:lnTo>
                    <a:lnTo>
                      <a:pt x="1207" y="1015"/>
                    </a:lnTo>
                    <a:lnTo>
                      <a:pt x="1205" y="1015"/>
                    </a:lnTo>
                    <a:lnTo>
                      <a:pt x="1205" y="1017"/>
                    </a:lnTo>
                    <a:lnTo>
                      <a:pt x="1205" y="1019"/>
                    </a:lnTo>
                    <a:lnTo>
                      <a:pt x="1205" y="1020"/>
                    </a:lnTo>
                    <a:lnTo>
                      <a:pt x="1205" y="1022"/>
                    </a:lnTo>
                    <a:lnTo>
                      <a:pt x="1207" y="1022"/>
                    </a:lnTo>
                    <a:lnTo>
                      <a:pt x="1207" y="1024"/>
                    </a:lnTo>
                    <a:lnTo>
                      <a:pt x="1208" y="1024"/>
                    </a:lnTo>
                    <a:lnTo>
                      <a:pt x="1208" y="1026"/>
                    </a:lnTo>
                    <a:lnTo>
                      <a:pt x="1207" y="1026"/>
                    </a:lnTo>
                    <a:lnTo>
                      <a:pt x="1205" y="1026"/>
                    </a:lnTo>
                    <a:lnTo>
                      <a:pt x="1203" y="1026"/>
                    </a:lnTo>
                    <a:lnTo>
                      <a:pt x="1203" y="1024"/>
                    </a:lnTo>
                    <a:lnTo>
                      <a:pt x="1202" y="1024"/>
                    </a:lnTo>
                    <a:lnTo>
                      <a:pt x="1200" y="1024"/>
                    </a:lnTo>
                    <a:lnTo>
                      <a:pt x="1202" y="1024"/>
                    </a:lnTo>
                    <a:lnTo>
                      <a:pt x="1203" y="1026"/>
                    </a:lnTo>
                    <a:lnTo>
                      <a:pt x="1203" y="1027"/>
                    </a:lnTo>
                    <a:lnTo>
                      <a:pt x="1203" y="1029"/>
                    </a:lnTo>
                    <a:lnTo>
                      <a:pt x="1202" y="1029"/>
                    </a:lnTo>
                    <a:lnTo>
                      <a:pt x="1202" y="1027"/>
                    </a:lnTo>
                    <a:lnTo>
                      <a:pt x="1203" y="1029"/>
                    </a:lnTo>
                    <a:lnTo>
                      <a:pt x="1202" y="1031"/>
                    </a:lnTo>
                    <a:lnTo>
                      <a:pt x="1200" y="1031"/>
                    </a:lnTo>
                    <a:lnTo>
                      <a:pt x="1200" y="1029"/>
                    </a:lnTo>
                    <a:lnTo>
                      <a:pt x="1198" y="1027"/>
                    </a:lnTo>
                    <a:lnTo>
                      <a:pt x="1196" y="1027"/>
                    </a:lnTo>
                    <a:lnTo>
                      <a:pt x="1196" y="1029"/>
                    </a:lnTo>
                    <a:lnTo>
                      <a:pt x="1196" y="1027"/>
                    </a:lnTo>
                    <a:lnTo>
                      <a:pt x="1195" y="1027"/>
                    </a:lnTo>
                    <a:lnTo>
                      <a:pt x="1195" y="1026"/>
                    </a:lnTo>
                    <a:lnTo>
                      <a:pt x="1193" y="1026"/>
                    </a:lnTo>
                    <a:lnTo>
                      <a:pt x="1193" y="1027"/>
                    </a:lnTo>
                    <a:lnTo>
                      <a:pt x="1195" y="1027"/>
                    </a:lnTo>
                    <a:lnTo>
                      <a:pt x="1193" y="1027"/>
                    </a:lnTo>
                    <a:lnTo>
                      <a:pt x="1193" y="1029"/>
                    </a:lnTo>
                    <a:lnTo>
                      <a:pt x="1191" y="1027"/>
                    </a:lnTo>
                    <a:lnTo>
                      <a:pt x="1193" y="1027"/>
                    </a:lnTo>
                    <a:lnTo>
                      <a:pt x="1191" y="1026"/>
                    </a:lnTo>
                    <a:lnTo>
                      <a:pt x="1191" y="1024"/>
                    </a:lnTo>
                    <a:lnTo>
                      <a:pt x="1191" y="1026"/>
                    </a:lnTo>
                    <a:lnTo>
                      <a:pt x="1191" y="1027"/>
                    </a:lnTo>
                    <a:lnTo>
                      <a:pt x="1190" y="1026"/>
                    </a:lnTo>
                    <a:lnTo>
                      <a:pt x="1190" y="1027"/>
                    </a:lnTo>
                    <a:lnTo>
                      <a:pt x="1188" y="1026"/>
                    </a:lnTo>
                    <a:lnTo>
                      <a:pt x="1186" y="1026"/>
                    </a:lnTo>
                    <a:lnTo>
                      <a:pt x="1186" y="1024"/>
                    </a:lnTo>
                    <a:lnTo>
                      <a:pt x="1185" y="1024"/>
                    </a:lnTo>
                    <a:lnTo>
                      <a:pt x="1183" y="1024"/>
                    </a:lnTo>
                    <a:lnTo>
                      <a:pt x="1183" y="1022"/>
                    </a:lnTo>
                    <a:lnTo>
                      <a:pt x="1183" y="1020"/>
                    </a:lnTo>
                    <a:lnTo>
                      <a:pt x="1185" y="1019"/>
                    </a:lnTo>
                    <a:lnTo>
                      <a:pt x="1185" y="1017"/>
                    </a:lnTo>
                    <a:lnTo>
                      <a:pt x="1186" y="1017"/>
                    </a:lnTo>
                    <a:lnTo>
                      <a:pt x="1186" y="1015"/>
                    </a:lnTo>
                    <a:lnTo>
                      <a:pt x="1185" y="1015"/>
                    </a:lnTo>
                    <a:lnTo>
                      <a:pt x="1186" y="1015"/>
                    </a:lnTo>
                    <a:lnTo>
                      <a:pt x="1185" y="1015"/>
                    </a:lnTo>
                    <a:lnTo>
                      <a:pt x="1185" y="1014"/>
                    </a:lnTo>
                    <a:lnTo>
                      <a:pt x="1186" y="1014"/>
                    </a:lnTo>
                    <a:lnTo>
                      <a:pt x="1188" y="1012"/>
                    </a:lnTo>
                    <a:lnTo>
                      <a:pt x="1188" y="1010"/>
                    </a:lnTo>
                    <a:lnTo>
                      <a:pt x="1190" y="1009"/>
                    </a:lnTo>
                    <a:lnTo>
                      <a:pt x="1190" y="1007"/>
                    </a:lnTo>
                    <a:lnTo>
                      <a:pt x="1188" y="1007"/>
                    </a:lnTo>
                    <a:lnTo>
                      <a:pt x="1190" y="1007"/>
                    </a:lnTo>
                    <a:lnTo>
                      <a:pt x="1190" y="1005"/>
                    </a:lnTo>
                    <a:lnTo>
                      <a:pt x="1191" y="1005"/>
                    </a:lnTo>
                    <a:lnTo>
                      <a:pt x="1191" y="1003"/>
                    </a:lnTo>
                    <a:lnTo>
                      <a:pt x="1191" y="1002"/>
                    </a:lnTo>
                    <a:lnTo>
                      <a:pt x="1191" y="1000"/>
                    </a:lnTo>
                    <a:lnTo>
                      <a:pt x="1191" y="998"/>
                    </a:lnTo>
                    <a:lnTo>
                      <a:pt x="1191" y="997"/>
                    </a:lnTo>
                    <a:lnTo>
                      <a:pt x="1191" y="995"/>
                    </a:lnTo>
                    <a:lnTo>
                      <a:pt x="1191" y="993"/>
                    </a:lnTo>
                    <a:lnTo>
                      <a:pt x="1193" y="993"/>
                    </a:lnTo>
                    <a:lnTo>
                      <a:pt x="1191" y="993"/>
                    </a:lnTo>
                    <a:lnTo>
                      <a:pt x="1191" y="992"/>
                    </a:lnTo>
                    <a:lnTo>
                      <a:pt x="1191" y="990"/>
                    </a:lnTo>
                    <a:lnTo>
                      <a:pt x="1190" y="988"/>
                    </a:lnTo>
                    <a:lnTo>
                      <a:pt x="1190" y="986"/>
                    </a:lnTo>
                    <a:lnTo>
                      <a:pt x="1190" y="985"/>
                    </a:lnTo>
                    <a:lnTo>
                      <a:pt x="1190" y="983"/>
                    </a:lnTo>
                    <a:lnTo>
                      <a:pt x="1191" y="983"/>
                    </a:lnTo>
                    <a:lnTo>
                      <a:pt x="1191" y="981"/>
                    </a:lnTo>
                    <a:lnTo>
                      <a:pt x="1191" y="980"/>
                    </a:lnTo>
                    <a:lnTo>
                      <a:pt x="1191" y="978"/>
                    </a:lnTo>
                    <a:lnTo>
                      <a:pt x="1190" y="976"/>
                    </a:lnTo>
                    <a:lnTo>
                      <a:pt x="1191" y="976"/>
                    </a:lnTo>
                    <a:lnTo>
                      <a:pt x="1191" y="975"/>
                    </a:lnTo>
                    <a:lnTo>
                      <a:pt x="1191" y="973"/>
                    </a:lnTo>
                    <a:lnTo>
                      <a:pt x="1193" y="973"/>
                    </a:lnTo>
                    <a:lnTo>
                      <a:pt x="1193" y="971"/>
                    </a:lnTo>
                    <a:lnTo>
                      <a:pt x="1195" y="971"/>
                    </a:lnTo>
                    <a:lnTo>
                      <a:pt x="1195" y="969"/>
                    </a:lnTo>
                    <a:lnTo>
                      <a:pt x="1195" y="968"/>
                    </a:lnTo>
                    <a:lnTo>
                      <a:pt x="1195" y="966"/>
                    </a:lnTo>
                    <a:lnTo>
                      <a:pt x="1195" y="964"/>
                    </a:lnTo>
                    <a:lnTo>
                      <a:pt x="1195" y="963"/>
                    </a:lnTo>
                    <a:lnTo>
                      <a:pt x="1195" y="961"/>
                    </a:lnTo>
                    <a:lnTo>
                      <a:pt x="1196" y="961"/>
                    </a:lnTo>
                    <a:lnTo>
                      <a:pt x="1196" y="959"/>
                    </a:lnTo>
                    <a:lnTo>
                      <a:pt x="1195" y="959"/>
                    </a:lnTo>
                    <a:lnTo>
                      <a:pt x="1195" y="957"/>
                    </a:lnTo>
                    <a:lnTo>
                      <a:pt x="1195" y="956"/>
                    </a:lnTo>
                    <a:lnTo>
                      <a:pt x="1195" y="954"/>
                    </a:lnTo>
                    <a:lnTo>
                      <a:pt x="1196" y="954"/>
                    </a:lnTo>
                    <a:lnTo>
                      <a:pt x="1196" y="956"/>
                    </a:lnTo>
                    <a:lnTo>
                      <a:pt x="1198" y="956"/>
                    </a:lnTo>
                    <a:lnTo>
                      <a:pt x="1200" y="954"/>
                    </a:lnTo>
                    <a:close/>
                    <a:moveTo>
                      <a:pt x="1174" y="1286"/>
                    </a:moveTo>
                    <a:lnTo>
                      <a:pt x="1176" y="1286"/>
                    </a:lnTo>
                    <a:lnTo>
                      <a:pt x="1176" y="1288"/>
                    </a:lnTo>
                    <a:lnTo>
                      <a:pt x="1174" y="1289"/>
                    </a:lnTo>
                    <a:lnTo>
                      <a:pt x="1176" y="1289"/>
                    </a:lnTo>
                    <a:lnTo>
                      <a:pt x="1176" y="1288"/>
                    </a:lnTo>
                    <a:lnTo>
                      <a:pt x="1178" y="1289"/>
                    </a:lnTo>
                    <a:lnTo>
                      <a:pt x="1176" y="1289"/>
                    </a:lnTo>
                    <a:lnTo>
                      <a:pt x="1176" y="1291"/>
                    </a:lnTo>
                    <a:lnTo>
                      <a:pt x="1176" y="1293"/>
                    </a:lnTo>
                    <a:lnTo>
                      <a:pt x="1178" y="1293"/>
                    </a:lnTo>
                    <a:lnTo>
                      <a:pt x="1176" y="1294"/>
                    </a:lnTo>
                    <a:lnTo>
                      <a:pt x="1174" y="1296"/>
                    </a:lnTo>
                    <a:lnTo>
                      <a:pt x="1176" y="1296"/>
                    </a:lnTo>
                    <a:lnTo>
                      <a:pt x="1176" y="1294"/>
                    </a:lnTo>
                    <a:lnTo>
                      <a:pt x="1178" y="1294"/>
                    </a:lnTo>
                    <a:lnTo>
                      <a:pt x="1178" y="1293"/>
                    </a:lnTo>
                    <a:lnTo>
                      <a:pt x="1178" y="1291"/>
                    </a:lnTo>
                    <a:lnTo>
                      <a:pt x="1178" y="1289"/>
                    </a:lnTo>
                    <a:lnTo>
                      <a:pt x="1178" y="1288"/>
                    </a:lnTo>
                    <a:lnTo>
                      <a:pt x="1179" y="1288"/>
                    </a:lnTo>
                    <a:lnTo>
                      <a:pt x="1181" y="1288"/>
                    </a:lnTo>
                    <a:lnTo>
                      <a:pt x="1181" y="1289"/>
                    </a:lnTo>
                    <a:lnTo>
                      <a:pt x="1181" y="1291"/>
                    </a:lnTo>
                    <a:lnTo>
                      <a:pt x="1181" y="1293"/>
                    </a:lnTo>
                    <a:lnTo>
                      <a:pt x="1181" y="1294"/>
                    </a:lnTo>
                    <a:lnTo>
                      <a:pt x="1181" y="1296"/>
                    </a:lnTo>
                    <a:lnTo>
                      <a:pt x="1179" y="1296"/>
                    </a:lnTo>
                    <a:lnTo>
                      <a:pt x="1179" y="1298"/>
                    </a:lnTo>
                    <a:lnTo>
                      <a:pt x="1178" y="1298"/>
                    </a:lnTo>
                    <a:lnTo>
                      <a:pt x="1178" y="1299"/>
                    </a:lnTo>
                    <a:lnTo>
                      <a:pt x="1176" y="1299"/>
                    </a:lnTo>
                    <a:lnTo>
                      <a:pt x="1178" y="1299"/>
                    </a:lnTo>
                    <a:lnTo>
                      <a:pt x="1178" y="1298"/>
                    </a:lnTo>
                    <a:lnTo>
                      <a:pt x="1179" y="1298"/>
                    </a:lnTo>
                    <a:lnTo>
                      <a:pt x="1179" y="1296"/>
                    </a:lnTo>
                    <a:lnTo>
                      <a:pt x="1181" y="1296"/>
                    </a:lnTo>
                    <a:lnTo>
                      <a:pt x="1181" y="1298"/>
                    </a:lnTo>
                    <a:lnTo>
                      <a:pt x="1181" y="1299"/>
                    </a:lnTo>
                    <a:lnTo>
                      <a:pt x="1183" y="1299"/>
                    </a:lnTo>
                    <a:lnTo>
                      <a:pt x="1183" y="1301"/>
                    </a:lnTo>
                    <a:lnTo>
                      <a:pt x="1181" y="1301"/>
                    </a:lnTo>
                    <a:lnTo>
                      <a:pt x="1181" y="1303"/>
                    </a:lnTo>
                    <a:lnTo>
                      <a:pt x="1179" y="1303"/>
                    </a:lnTo>
                    <a:lnTo>
                      <a:pt x="1181" y="1303"/>
                    </a:lnTo>
                    <a:lnTo>
                      <a:pt x="1181" y="1305"/>
                    </a:lnTo>
                    <a:lnTo>
                      <a:pt x="1181" y="1306"/>
                    </a:lnTo>
                    <a:lnTo>
                      <a:pt x="1183" y="1308"/>
                    </a:lnTo>
                    <a:lnTo>
                      <a:pt x="1183" y="1310"/>
                    </a:lnTo>
                    <a:lnTo>
                      <a:pt x="1183" y="1308"/>
                    </a:lnTo>
                    <a:lnTo>
                      <a:pt x="1181" y="1310"/>
                    </a:lnTo>
                    <a:lnTo>
                      <a:pt x="1183" y="1311"/>
                    </a:lnTo>
                    <a:lnTo>
                      <a:pt x="1183" y="1313"/>
                    </a:lnTo>
                    <a:lnTo>
                      <a:pt x="1183" y="1315"/>
                    </a:lnTo>
                    <a:lnTo>
                      <a:pt x="1183" y="1316"/>
                    </a:lnTo>
                    <a:lnTo>
                      <a:pt x="1183" y="1318"/>
                    </a:lnTo>
                    <a:lnTo>
                      <a:pt x="1183" y="1320"/>
                    </a:lnTo>
                    <a:lnTo>
                      <a:pt x="1181" y="1320"/>
                    </a:lnTo>
                    <a:lnTo>
                      <a:pt x="1181" y="1322"/>
                    </a:lnTo>
                    <a:lnTo>
                      <a:pt x="1183" y="1322"/>
                    </a:lnTo>
                    <a:lnTo>
                      <a:pt x="1183" y="1323"/>
                    </a:lnTo>
                    <a:lnTo>
                      <a:pt x="1181" y="1323"/>
                    </a:lnTo>
                    <a:lnTo>
                      <a:pt x="1181" y="1325"/>
                    </a:lnTo>
                    <a:lnTo>
                      <a:pt x="1181" y="1327"/>
                    </a:lnTo>
                    <a:lnTo>
                      <a:pt x="1181" y="1328"/>
                    </a:lnTo>
                    <a:lnTo>
                      <a:pt x="1179" y="1328"/>
                    </a:lnTo>
                    <a:lnTo>
                      <a:pt x="1178" y="1328"/>
                    </a:lnTo>
                    <a:lnTo>
                      <a:pt x="1179" y="1328"/>
                    </a:lnTo>
                    <a:lnTo>
                      <a:pt x="1179" y="1330"/>
                    </a:lnTo>
                    <a:lnTo>
                      <a:pt x="1179" y="1328"/>
                    </a:lnTo>
                    <a:lnTo>
                      <a:pt x="1179" y="1330"/>
                    </a:lnTo>
                    <a:lnTo>
                      <a:pt x="1181" y="1332"/>
                    </a:lnTo>
                    <a:lnTo>
                      <a:pt x="1181" y="1333"/>
                    </a:lnTo>
                    <a:lnTo>
                      <a:pt x="1179" y="1335"/>
                    </a:lnTo>
                    <a:lnTo>
                      <a:pt x="1179" y="1333"/>
                    </a:lnTo>
                    <a:lnTo>
                      <a:pt x="1178" y="1335"/>
                    </a:lnTo>
                    <a:lnTo>
                      <a:pt x="1178" y="1337"/>
                    </a:lnTo>
                    <a:lnTo>
                      <a:pt x="1179" y="1337"/>
                    </a:lnTo>
                    <a:lnTo>
                      <a:pt x="1178" y="1339"/>
                    </a:lnTo>
                    <a:lnTo>
                      <a:pt x="1176" y="1337"/>
                    </a:lnTo>
                    <a:lnTo>
                      <a:pt x="1178" y="1339"/>
                    </a:lnTo>
                    <a:lnTo>
                      <a:pt x="1179" y="1339"/>
                    </a:lnTo>
                    <a:lnTo>
                      <a:pt x="1179" y="1337"/>
                    </a:lnTo>
                    <a:lnTo>
                      <a:pt x="1179" y="1335"/>
                    </a:lnTo>
                    <a:lnTo>
                      <a:pt x="1181" y="1335"/>
                    </a:lnTo>
                    <a:lnTo>
                      <a:pt x="1183" y="1337"/>
                    </a:lnTo>
                    <a:lnTo>
                      <a:pt x="1183" y="1339"/>
                    </a:lnTo>
                    <a:lnTo>
                      <a:pt x="1183" y="1340"/>
                    </a:lnTo>
                    <a:lnTo>
                      <a:pt x="1183" y="1342"/>
                    </a:lnTo>
                    <a:lnTo>
                      <a:pt x="1181" y="1342"/>
                    </a:lnTo>
                    <a:lnTo>
                      <a:pt x="1181" y="1340"/>
                    </a:lnTo>
                    <a:lnTo>
                      <a:pt x="1179" y="1340"/>
                    </a:lnTo>
                    <a:lnTo>
                      <a:pt x="1179" y="1342"/>
                    </a:lnTo>
                    <a:lnTo>
                      <a:pt x="1181" y="1342"/>
                    </a:lnTo>
                    <a:lnTo>
                      <a:pt x="1181" y="1344"/>
                    </a:lnTo>
                    <a:lnTo>
                      <a:pt x="1183" y="1344"/>
                    </a:lnTo>
                    <a:lnTo>
                      <a:pt x="1183" y="1345"/>
                    </a:lnTo>
                    <a:lnTo>
                      <a:pt x="1183" y="1347"/>
                    </a:lnTo>
                    <a:lnTo>
                      <a:pt x="1183" y="1349"/>
                    </a:lnTo>
                    <a:lnTo>
                      <a:pt x="1181" y="1350"/>
                    </a:lnTo>
                    <a:lnTo>
                      <a:pt x="1181" y="1349"/>
                    </a:lnTo>
                    <a:lnTo>
                      <a:pt x="1181" y="1347"/>
                    </a:lnTo>
                    <a:lnTo>
                      <a:pt x="1179" y="1347"/>
                    </a:lnTo>
                    <a:lnTo>
                      <a:pt x="1181" y="1347"/>
                    </a:lnTo>
                    <a:lnTo>
                      <a:pt x="1181" y="1349"/>
                    </a:lnTo>
                    <a:lnTo>
                      <a:pt x="1181" y="1350"/>
                    </a:lnTo>
                    <a:lnTo>
                      <a:pt x="1181" y="1352"/>
                    </a:lnTo>
                    <a:lnTo>
                      <a:pt x="1179" y="1352"/>
                    </a:lnTo>
                    <a:lnTo>
                      <a:pt x="1181" y="1352"/>
                    </a:lnTo>
                    <a:lnTo>
                      <a:pt x="1179" y="1354"/>
                    </a:lnTo>
                    <a:lnTo>
                      <a:pt x="1178" y="1352"/>
                    </a:lnTo>
                    <a:lnTo>
                      <a:pt x="1178" y="1350"/>
                    </a:lnTo>
                    <a:lnTo>
                      <a:pt x="1176" y="1350"/>
                    </a:lnTo>
                    <a:lnTo>
                      <a:pt x="1176" y="1349"/>
                    </a:lnTo>
                    <a:lnTo>
                      <a:pt x="1176" y="1347"/>
                    </a:lnTo>
                    <a:lnTo>
                      <a:pt x="1174" y="1349"/>
                    </a:lnTo>
                    <a:lnTo>
                      <a:pt x="1176" y="1349"/>
                    </a:lnTo>
                    <a:lnTo>
                      <a:pt x="1176" y="1350"/>
                    </a:lnTo>
                    <a:lnTo>
                      <a:pt x="1178" y="1352"/>
                    </a:lnTo>
                    <a:lnTo>
                      <a:pt x="1179" y="1354"/>
                    </a:lnTo>
                    <a:lnTo>
                      <a:pt x="1178" y="1354"/>
                    </a:lnTo>
                    <a:lnTo>
                      <a:pt x="1178" y="1356"/>
                    </a:lnTo>
                    <a:lnTo>
                      <a:pt x="1176" y="1356"/>
                    </a:lnTo>
                    <a:lnTo>
                      <a:pt x="1176" y="1357"/>
                    </a:lnTo>
                    <a:lnTo>
                      <a:pt x="1174" y="1357"/>
                    </a:lnTo>
                    <a:lnTo>
                      <a:pt x="1174" y="1356"/>
                    </a:lnTo>
                    <a:lnTo>
                      <a:pt x="1174" y="1357"/>
                    </a:lnTo>
                    <a:lnTo>
                      <a:pt x="1173" y="1357"/>
                    </a:lnTo>
                    <a:lnTo>
                      <a:pt x="1173" y="1356"/>
                    </a:lnTo>
                    <a:lnTo>
                      <a:pt x="1174" y="1356"/>
                    </a:lnTo>
                    <a:lnTo>
                      <a:pt x="1174" y="1354"/>
                    </a:lnTo>
                    <a:lnTo>
                      <a:pt x="1174" y="1356"/>
                    </a:lnTo>
                    <a:lnTo>
                      <a:pt x="1173" y="1356"/>
                    </a:lnTo>
                    <a:lnTo>
                      <a:pt x="1173" y="1357"/>
                    </a:lnTo>
                    <a:lnTo>
                      <a:pt x="1173" y="1356"/>
                    </a:lnTo>
                    <a:lnTo>
                      <a:pt x="1173" y="1357"/>
                    </a:lnTo>
                    <a:lnTo>
                      <a:pt x="1171" y="1357"/>
                    </a:lnTo>
                    <a:lnTo>
                      <a:pt x="1169" y="1357"/>
                    </a:lnTo>
                    <a:lnTo>
                      <a:pt x="1168" y="1357"/>
                    </a:lnTo>
                    <a:lnTo>
                      <a:pt x="1169" y="1356"/>
                    </a:lnTo>
                    <a:lnTo>
                      <a:pt x="1168" y="1357"/>
                    </a:lnTo>
                    <a:lnTo>
                      <a:pt x="1168" y="1356"/>
                    </a:lnTo>
                    <a:lnTo>
                      <a:pt x="1166" y="1354"/>
                    </a:lnTo>
                    <a:lnTo>
                      <a:pt x="1168" y="1354"/>
                    </a:lnTo>
                    <a:lnTo>
                      <a:pt x="1168" y="1352"/>
                    </a:lnTo>
                    <a:lnTo>
                      <a:pt x="1169" y="1352"/>
                    </a:lnTo>
                    <a:lnTo>
                      <a:pt x="1171" y="1350"/>
                    </a:lnTo>
                    <a:lnTo>
                      <a:pt x="1173" y="1350"/>
                    </a:lnTo>
                    <a:lnTo>
                      <a:pt x="1174" y="1350"/>
                    </a:lnTo>
                    <a:lnTo>
                      <a:pt x="1174" y="1352"/>
                    </a:lnTo>
                    <a:lnTo>
                      <a:pt x="1176" y="1352"/>
                    </a:lnTo>
                    <a:lnTo>
                      <a:pt x="1174" y="1350"/>
                    </a:lnTo>
                    <a:lnTo>
                      <a:pt x="1173" y="1350"/>
                    </a:lnTo>
                    <a:lnTo>
                      <a:pt x="1173" y="1349"/>
                    </a:lnTo>
                    <a:lnTo>
                      <a:pt x="1171" y="1350"/>
                    </a:lnTo>
                    <a:lnTo>
                      <a:pt x="1169" y="1350"/>
                    </a:lnTo>
                    <a:lnTo>
                      <a:pt x="1168" y="1352"/>
                    </a:lnTo>
                    <a:lnTo>
                      <a:pt x="1166" y="1354"/>
                    </a:lnTo>
                    <a:lnTo>
                      <a:pt x="1168" y="1352"/>
                    </a:lnTo>
                    <a:lnTo>
                      <a:pt x="1166" y="1352"/>
                    </a:lnTo>
                    <a:lnTo>
                      <a:pt x="1166" y="1350"/>
                    </a:lnTo>
                    <a:lnTo>
                      <a:pt x="1166" y="1349"/>
                    </a:lnTo>
                    <a:lnTo>
                      <a:pt x="1168" y="1349"/>
                    </a:lnTo>
                    <a:lnTo>
                      <a:pt x="1166" y="1347"/>
                    </a:lnTo>
                    <a:lnTo>
                      <a:pt x="1168" y="1347"/>
                    </a:lnTo>
                    <a:lnTo>
                      <a:pt x="1166" y="1345"/>
                    </a:lnTo>
                    <a:lnTo>
                      <a:pt x="1168" y="1345"/>
                    </a:lnTo>
                    <a:lnTo>
                      <a:pt x="1168" y="1347"/>
                    </a:lnTo>
                    <a:lnTo>
                      <a:pt x="1169" y="1347"/>
                    </a:lnTo>
                    <a:lnTo>
                      <a:pt x="1169" y="1349"/>
                    </a:lnTo>
                    <a:lnTo>
                      <a:pt x="1171" y="1347"/>
                    </a:lnTo>
                    <a:lnTo>
                      <a:pt x="1173" y="1347"/>
                    </a:lnTo>
                    <a:lnTo>
                      <a:pt x="1173" y="1345"/>
                    </a:lnTo>
                    <a:lnTo>
                      <a:pt x="1174" y="1345"/>
                    </a:lnTo>
                    <a:lnTo>
                      <a:pt x="1176" y="1344"/>
                    </a:lnTo>
                    <a:lnTo>
                      <a:pt x="1174" y="1345"/>
                    </a:lnTo>
                    <a:lnTo>
                      <a:pt x="1173" y="1345"/>
                    </a:lnTo>
                    <a:lnTo>
                      <a:pt x="1171" y="1347"/>
                    </a:lnTo>
                    <a:lnTo>
                      <a:pt x="1169" y="1347"/>
                    </a:lnTo>
                    <a:lnTo>
                      <a:pt x="1168" y="1345"/>
                    </a:lnTo>
                    <a:lnTo>
                      <a:pt x="1169" y="1345"/>
                    </a:lnTo>
                    <a:lnTo>
                      <a:pt x="1169" y="1344"/>
                    </a:lnTo>
                    <a:lnTo>
                      <a:pt x="1169" y="1342"/>
                    </a:lnTo>
                    <a:lnTo>
                      <a:pt x="1171" y="1342"/>
                    </a:lnTo>
                    <a:lnTo>
                      <a:pt x="1173" y="1342"/>
                    </a:lnTo>
                    <a:lnTo>
                      <a:pt x="1171" y="1342"/>
                    </a:lnTo>
                    <a:lnTo>
                      <a:pt x="1171" y="1340"/>
                    </a:lnTo>
                    <a:lnTo>
                      <a:pt x="1173" y="1340"/>
                    </a:lnTo>
                    <a:lnTo>
                      <a:pt x="1171" y="1340"/>
                    </a:lnTo>
                    <a:lnTo>
                      <a:pt x="1171" y="1342"/>
                    </a:lnTo>
                    <a:lnTo>
                      <a:pt x="1169" y="1342"/>
                    </a:lnTo>
                    <a:lnTo>
                      <a:pt x="1169" y="1344"/>
                    </a:lnTo>
                    <a:lnTo>
                      <a:pt x="1168" y="1345"/>
                    </a:lnTo>
                    <a:lnTo>
                      <a:pt x="1168" y="1344"/>
                    </a:lnTo>
                    <a:lnTo>
                      <a:pt x="1166" y="1344"/>
                    </a:lnTo>
                    <a:lnTo>
                      <a:pt x="1166" y="1342"/>
                    </a:lnTo>
                    <a:lnTo>
                      <a:pt x="1166" y="1340"/>
                    </a:lnTo>
                    <a:lnTo>
                      <a:pt x="1168" y="1340"/>
                    </a:lnTo>
                    <a:lnTo>
                      <a:pt x="1166" y="1339"/>
                    </a:lnTo>
                    <a:lnTo>
                      <a:pt x="1166" y="1337"/>
                    </a:lnTo>
                    <a:lnTo>
                      <a:pt x="1168" y="1337"/>
                    </a:lnTo>
                    <a:lnTo>
                      <a:pt x="1166" y="1335"/>
                    </a:lnTo>
                    <a:lnTo>
                      <a:pt x="1166" y="1333"/>
                    </a:lnTo>
                    <a:lnTo>
                      <a:pt x="1168" y="1333"/>
                    </a:lnTo>
                    <a:lnTo>
                      <a:pt x="1169" y="1333"/>
                    </a:lnTo>
                    <a:lnTo>
                      <a:pt x="1169" y="1335"/>
                    </a:lnTo>
                    <a:lnTo>
                      <a:pt x="1171" y="1335"/>
                    </a:lnTo>
                    <a:lnTo>
                      <a:pt x="1173" y="1335"/>
                    </a:lnTo>
                    <a:lnTo>
                      <a:pt x="1171" y="1335"/>
                    </a:lnTo>
                    <a:lnTo>
                      <a:pt x="1171" y="1333"/>
                    </a:lnTo>
                    <a:lnTo>
                      <a:pt x="1171" y="1332"/>
                    </a:lnTo>
                    <a:lnTo>
                      <a:pt x="1173" y="1332"/>
                    </a:lnTo>
                    <a:lnTo>
                      <a:pt x="1171" y="1330"/>
                    </a:lnTo>
                    <a:lnTo>
                      <a:pt x="1171" y="1332"/>
                    </a:lnTo>
                    <a:lnTo>
                      <a:pt x="1171" y="1333"/>
                    </a:lnTo>
                    <a:lnTo>
                      <a:pt x="1169" y="1333"/>
                    </a:lnTo>
                    <a:lnTo>
                      <a:pt x="1168" y="1333"/>
                    </a:lnTo>
                    <a:lnTo>
                      <a:pt x="1168" y="1332"/>
                    </a:lnTo>
                    <a:lnTo>
                      <a:pt x="1166" y="1332"/>
                    </a:lnTo>
                    <a:lnTo>
                      <a:pt x="1168" y="1332"/>
                    </a:lnTo>
                    <a:lnTo>
                      <a:pt x="1168" y="1330"/>
                    </a:lnTo>
                    <a:lnTo>
                      <a:pt x="1168" y="1328"/>
                    </a:lnTo>
                    <a:lnTo>
                      <a:pt x="1169" y="1328"/>
                    </a:lnTo>
                    <a:lnTo>
                      <a:pt x="1171" y="1327"/>
                    </a:lnTo>
                    <a:lnTo>
                      <a:pt x="1173" y="1325"/>
                    </a:lnTo>
                    <a:lnTo>
                      <a:pt x="1174" y="1325"/>
                    </a:lnTo>
                    <a:lnTo>
                      <a:pt x="1176" y="1325"/>
                    </a:lnTo>
                    <a:lnTo>
                      <a:pt x="1174" y="1323"/>
                    </a:lnTo>
                    <a:lnTo>
                      <a:pt x="1173" y="1325"/>
                    </a:lnTo>
                    <a:lnTo>
                      <a:pt x="1173" y="1323"/>
                    </a:lnTo>
                    <a:lnTo>
                      <a:pt x="1173" y="1322"/>
                    </a:lnTo>
                    <a:lnTo>
                      <a:pt x="1174" y="1322"/>
                    </a:lnTo>
                    <a:lnTo>
                      <a:pt x="1176" y="1320"/>
                    </a:lnTo>
                    <a:lnTo>
                      <a:pt x="1176" y="1318"/>
                    </a:lnTo>
                    <a:lnTo>
                      <a:pt x="1176" y="1320"/>
                    </a:lnTo>
                    <a:lnTo>
                      <a:pt x="1174" y="1320"/>
                    </a:lnTo>
                    <a:lnTo>
                      <a:pt x="1174" y="1322"/>
                    </a:lnTo>
                    <a:lnTo>
                      <a:pt x="1173" y="1322"/>
                    </a:lnTo>
                    <a:lnTo>
                      <a:pt x="1173" y="1323"/>
                    </a:lnTo>
                    <a:lnTo>
                      <a:pt x="1173" y="1322"/>
                    </a:lnTo>
                    <a:lnTo>
                      <a:pt x="1171" y="1322"/>
                    </a:lnTo>
                    <a:lnTo>
                      <a:pt x="1169" y="1320"/>
                    </a:lnTo>
                    <a:lnTo>
                      <a:pt x="1171" y="1322"/>
                    </a:lnTo>
                    <a:lnTo>
                      <a:pt x="1171" y="1323"/>
                    </a:lnTo>
                    <a:lnTo>
                      <a:pt x="1173" y="1323"/>
                    </a:lnTo>
                    <a:lnTo>
                      <a:pt x="1171" y="1325"/>
                    </a:lnTo>
                    <a:lnTo>
                      <a:pt x="1169" y="1327"/>
                    </a:lnTo>
                    <a:lnTo>
                      <a:pt x="1168" y="1327"/>
                    </a:lnTo>
                    <a:lnTo>
                      <a:pt x="1168" y="1328"/>
                    </a:lnTo>
                    <a:lnTo>
                      <a:pt x="1168" y="1327"/>
                    </a:lnTo>
                    <a:lnTo>
                      <a:pt x="1168" y="1325"/>
                    </a:lnTo>
                    <a:lnTo>
                      <a:pt x="1168" y="1323"/>
                    </a:lnTo>
                    <a:lnTo>
                      <a:pt x="1168" y="1325"/>
                    </a:lnTo>
                    <a:lnTo>
                      <a:pt x="1168" y="1327"/>
                    </a:lnTo>
                    <a:lnTo>
                      <a:pt x="1168" y="1328"/>
                    </a:lnTo>
                    <a:lnTo>
                      <a:pt x="1166" y="1330"/>
                    </a:lnTo>
                    <a:lnTo>
                      <a:pt x="1164" y="1330"/>
                    </a:lnTo>
                    <a:lnTo>
                      <a:pt x="1164" y="1328"/>
                    </a:lnTo>
                    <a:lnTo>
                      <a:pt x="1166" y="1327"/>
                    </a:lnTo>
                    <a:lnTo>
                      <a:pt x="1164" y="1327"/>
                    </a:lnTo>
                    <a:lnTo>
                      <a:pt x="1164" y="1325"/>
                    </a:lnTo>
                    <a:lnTo>
                      <a:pt x="1164" y="1327"/>
                    </a:lnTo>
                    <a:lnTo>
                      <a:pt x="1164" y="1328"/>
                    </a:lnTo>
                    <a:lnTo>
                      <a:pt x="1162" y="1327"/>
                    </a:lnTo>
                    <a:lnTo>
                      <a:pt x="1162" y="1328"/>
                    </a:lnTo>
                    <a:lnTo>
                      <a:pt x="1164" y="1328"/>
                    </a:lnTo>
                    <a:lnTo>
                      <a:pt x="1164" y="1330"/>
                    </a:lnTo>
                    <a:lnTo>
                      <a:pt x="1162" y="1330"/>
                    </a:lnTo>
                    <a:lnTo>
                      <a:pt x="1162" y="1328"/>
                    </a:lnTo>
                    <a:lnTo>
                      <a:pt x="1162" y="1330"/>
                    </a:lnTo>
                    <a:lnTo>
                      <a:pt x="1164" y="1332"/>
                    </a:lnTo>
                    <a:lnTo>
                      <a:pt x="1162" y="1332"/>
                    </a:lnTo>
                    <a:lnTo>
                      <a:pt x="1164" y="1332"/>
                    </a:lnTo>
                    <a:lnTo>
                      <a:pt x="1164" y="1333"/>
                    </a:lnTo>
                    <a:lnTo>
                      <a:pt x="1162" y="1333"/>
                    </a:lnTo>
                    <a:lnTo>
                      <a:pt x="1162" y="1332"/>
                    </a:lnTo>
                    <a:lnTo>
                      <a:pt x="1161" y="1332"/>
                    </a:lnTo>
                    <a:lnTo>
                      <a:pt x="1161" y="1330"/>
                    </a:lnTo>
                    <a:lnTo>
                      <a:pt x="1159" y="1330"/>
                    </a:lnTo>
                    <a:lnTo>
                      <a:pt x="1161" y="1332"/>
                    </a:lnTo>
                    <a:lnTo>
                      <a:pt x="1162" y="1333"/>
                    </a:lnTo>
                    <a:lnTo>
                      <a:pt x="1164" y="1333"/>
                    </a:lnTo>
                    <a:lnTo>
                      <a:pt x="1162" y="1335"/>
                    </a:lnTo>
                    <a:lnTo>
                      <a:pt x="1162" y="1337"/>
                    </a:lnTo>
                    <a:lnTo>
                      <a:pt x="1162" y="1339"/>
                    </a:lnTo>
                    <a:lnTo>
                      <a:pt x="1162" y="1337"/>
                    </a:lnTo>
                    <a:lnTo>
                      <a:pt x="1164" y="1337"/>
                    </a:lnTo>
                    <a:lnTo>
                      <a:pt x="1164" y="1335"/>
                    </a:lnTo>
                    <a:lnTo>
                      <a:pt x="1164" y="1333"/>
                    </a:lnTo>
                    <a:lnTo>
                      <a:pt x="1164" y="1335"/>
                    </a:lnTo>
                    <a:lnTo>
                      <a:pt x="1166" y="1335"/>
                    </a:lnTo>
                    <a:lnTo>
                      <a:pt x="1164" y="1335"/>
                    </a:lnTo>
                    <a:lnTo>
                      <a:pt x="1164" y="1337"/>
                    </a:lnTo>
                    <a:lnTo>
                      <a:pt x="1164" y="1339"/>
                    </a:lnTo>
                    <a:lnTo>
                      <a:pt x="1162" y="1340"/>
                    </a:lnTo>
                    <a:lnTo>
                      <a:pt x="1162" y="1339"/>
                    </a:lnTo>
                    <a:lnTo>
                      <a:pt x="1162" y="1340"/>
                    </a:lnTo>
                    <a:lnTo>
                      <a:pt x="1162" y="1342"/>
                    </a:lnTo>
                    <a:lnTo>
                      <a:pt x="1162" y="1344"/>
                    </a:lnTo>
                    <a:lnTo>
                      <a:pt x="1162" y="1342"/>
                    </a:lnTo>
                    <a:lnTo>
                      <a:pt x="1162" y="1340"/>
                    </a:lnTo>
                    <a:lnTo>
                      <a:pt x="1164" y="1340"/>
                    </a:lnTo>
                    <a:lnTo>
                      <a:pt x="1164" y="1339"/>
                    </a:lnTo>
                    <a:lnTo>
                      <a:pt x="1164" y="1340"/>
                    </a:lnTo>
                    <a:lnTo>
                      <a:pt x="1164" y="1342"/>
                    </a:lnTo>
                    <a:lnTo>
                      <a:pt x="1164" y="1340"/>
                    </a:lnTo>
                    <a:lnTo>
                      <a:pt x="1166" y="1342"/>
                    </a:lnTo>
                    <a:lnTo>
                      <a:pt x="1166" y="1344"/>
                    </a:lnTo>
                    <a:lnTo>
                      <a:pt x="1164" y="1344"/>
                    </a:lnTo>
                    <a:lnTo>
                      <a:pt x="1166" y="1344"/>
                    </a:lnTo>
                    <a:lnTo>
                      <a:pt x="1164" y="1344"/>
                    </a:lnTo>
                    <a:lnTo>
                      <a:pt x="1164" y="1345"/>
                    </a:lnTo>
                    <a:lnTo>
                      <a:pt x="1164" y="1344"/>
                    </a:lnTo>
                    <a:lnTo>
                      <a:pt x="1164" y="1345"/>
                    </a:lnTo>
                    <a:lnTo>
                      <a:pt x="1164" y="1347"/>
                    </a:lnTo>
                    <a:lnTo>
                      <a:pt x="1162" y="1347"/>
                    </a:lnTo>
                    <a:lnTo>
                      <a:pt x="1164" y="1347"/>
                    </a:lnTo>
                    <a:lnTo>
                      <a:pt x="1162" y="1349"/>
                    </a:lnTo>
                    <a:lnTo>
                      <a:pt x="1161" y="1349"/>
                    </a:lnTo>
                    <a:lnTo>
                      <a:pt x="1161" y="1347"/>
                    </a:lnTo>
                    <a:lnTo>
                      <a:pt x="1161" y="1345"/>
                    </a:lnTo>
                    <a:lnTo>
                      <a:pt x="1161" y="1347"/>
                    </a:lnTo>
                    <a:lnTo>
                      <a:pt x="1159" y="1347"/>
                    </a:lnTo>
                    <a:lnTo>
                      <a:pt x="1157" y="1345"/>
                    </a:lnTo>
                    <a:lnTo>
                      <a:pt x="1157" y="1344"/>
                    </a:lnTo>
                    <a:lnTo>
                      <a:pt x="1157" y="1342"/>
                    </a:lnTo>
                    <a:lnTo>
                      <a:pt x="1159" y="1342"/>
                    </a:lnTo>
                    <a:lnTo>
                      <a:pt x="1157" y="1342"/>
                    </a:lnTo>
                    <a:lnTo>
                      <a:pt x="1156" y="1342"/>
                    </a:lnTo>
                    <a:lnTo>
                      <a:pt x="1156" y="1340"/>
                    </a:lnTo>
                    <a:lnTo>
                      <a:pt x="1156" y="1339"/>
                    </a:lnTo>
                    <a:lnTo>
                      <a:pt x="1154" y="1339"/>
                    </a:lnTo>
                    <a:lnTo>
                      <a:pt x="1156" y="1339"/>
                    </a:lnTo>
                    <a:lnTo>
                      <a:pt x="1157" y="1337"/>
                    </a:lnTo>
                    <a:lnTo>
                      <a:pt x="1156" y="1337"/>
                    </a:lnTo>
                    <a:lnTo>
                      <a:pt x="1154" y="1337"/>
                    </a:lnTo>
                    <a:lnTo>
                      <a:pt x="1156" y="1337"/>
                    </a:lnTo>
                    <a:lnTo>
                      <a:pt x="1154" y="1337"/>
                    </a:lnTo>
                    <a:lnTo>
                      <a:pt x="1154" y="1335"/>
                    </a:lnTo>
                    <a:lnTo>
                      <a:pt x="1156" y="1337"/>
                    </a:lnTo>
                    <a:lnTo>
                      <a:pt x="1157" y="1337"/>
                    </a:lnTo>
                    <a:lnTo>
                      <a:pt x="1157" y="1335"/>
                    </a:lnTo>
                    <a:lnTo>
                      <a:pt x="1157" y="1337"/>
                    </a:lnTo>
                    <a:lnTo>
                      <a:pt x="1156" y="1337"/>
                    </a:lnTo>
                    <a:lnTo>
                      <a:pt x="1156" y="1335"/>
                    </a:lnTo>
                    <a:lnTo>
                      <a:pt x="1154" y="1335"/>
                    </a:lnTo>
                    <a:lnTo>
                      <a:pt x="1156" y="1335"/>
                    </a:lnTo>
                    <a:lnTo>
                      <a:pt x="1156" y="1333"/>
                    </a:lnTo>
                    <a:lnTo>
                      <a:pt x="1157" y="1333"/>
                    </a:lnTo>
                    <a:lnTo>
                      <a:pt x="1157" y="1332"/>
                    </a:lnTo>
                    <a:lnTo>
                      <a:pt x="1157" y="1333"/>
                    </a:lnTo>
                    <a:lnTo>
                      <a:pt x="1156" y="1333"/>
                    </a:lnTo>
                    <a:lnTo>
                      <a:pt x="1156" y="1335"/>
                    </a:lnTo>
                    <a:lnTo>
                      <a:pt x="1154" y="1335"/>
                    </a:lnTo>
                    <a:lnTo>
                      <a:pt x="1152" y="1335"/>
                    </a:lnTo>
                    <a:lnTo>
                      <a:pt x="1152" y="1333"/>
                    </a:lnTo>
                    <a:lnTo>
                      <a:pt x="1154" y="1333"/>
                    </a:lnTo>
                    <a:lnTo>
                      <a:pt x="1154" y="1332"/>
                    </a:lnTo>
                    <a:lnTo>
                      <a:pt x="1156" y="1332"/>
                    </a:lnTo>
                    <a:lnTo>
                      <a:pt x="1157" y="1332"/>
                    </a:lnTo>
                    <a:lnTo>
                      <a:pt x="1156" y="1332"/>
                    </a:lnTo>
                    <a:lnTo>
                      <a:pt x="1156" y="1330"/>
                    </a:lnTo>
                    <a:lnTo>
                      <a:pt x="1157" y="1330"/>
                    </a:lnTo>
                    <a:lnTo>
                      <a:pt x="1157" y="1328"/>
                    </a:lnTo>
                    <a:lnTo>
                      <a:pt x="1157" y="1330"/>
                    </a:lnTo>
                    <a:lnTo>
                      <a:pt x="1157" y="1328"/>
                    </a:lnTo>
                    <a:lnTo>
                      <a:pt x="1156" y="1330"/>
                    </a:lnTo>
                    <a:lnTo>
                      <a:pt x="1154" y="1330"/>
                    </a:lnTo>
                    <a:lnTo>
                      <a:pt x="1154" y="1332"/>
                    </a:lnTo>
                    <a:lnTo>
                      <a:pt x="1154" y="1330"/>
                    </a:lnTo>
                    <a:lnTo>
                      <a:pt x="1152" y="1330"/>
                    </a:lnTo>
                    <a:lnTo>
                      <a:pt x="1152" y="1328"/>
                    </a:lnTo>
                    <a:lnTo>
                      <a:pt x="1154" y="1328"/>
                    </a:lnTo>
                    <a:lnTo>
                      <a:pt x="1156" y="1327"/>
                    </a:lnTo>
                    <a:lnTo>
                      <a:pt x="1154" y="1327"/>
                    </a:lnTo>
                    <a:lnTo>
                      <a:pt x="1156" y="1327"/>
                    </a:lnTo>
                    <a:lnTo>
                      <a:pt x="1156" y="1325"/>
                    </a:lnTo>
                    <a:lnTo>
                      <a:pt x="1156" y="1327"/>
                    </a:lnTo>
                    <a:lnTo>
                      <a:pt x="1154" y="1327"/>
                    </a:lnTo>
                    <a:lnTo>
                      <a:pt x="1154" y="1328"/>
                    </a:lnTo>
                    <a:lnTo>
                      <a:pt x="1152" y="1328"/>
                    </a:lnTo>
                    <a:lnTo>
                      <a:pt x="1152" y="1330"/>
                    </a:lnTo>
                    <a:lnTo>
                      <a:pt x="1152" y="1328"/>
                    </a:lnTo>
                    <a:lnTo>
                      <a:pt x="1151" y="1327"/>
                    </a:lnTo>
                    <a:lnTo>
                      <a:pt x="1152" y="1325"/>
                    </a:lnTo>
                    <a:lnTo>
                      <a:pt x="1151" y="1325"/>
                    </a:lnTo>
                    <a:lnTo>
                      <a:pt x="1151" y="1327"/>
                    </a:lnTo>
                    <a:lnTo>
                      <a:pt x="1152" y="1325"/>
                    </a:lnTo>
                    <a:lnTo>
                      <a:pt x="1151" y="1327"/>
                    </a:lnTo>
                    <a:lnTo>
                      <a:pt x="1149" y="1328"/>
                    </a:lnTo>
                    <a:lnTo>
                      <a:pt x="1149" y="1327"/>
                    </a:lnTo>
                    <a:lnTo>
                      <a:pt x="1151" y="1325"/>
                    </a:lnTo>
                    <a:lnTo>
                      <a:pt x="1152" y="1323"/>
                    </a:lnTo>
                    <a:lnTo>
                      <a:pt x="1151" y="1323"/>
                    </a:lnTo>
                    <a:lnTo>
                      <a:pt x="1151" y="1325"/>
                    </a:lnTo>
                    <a:lnTo>
                      <a:pt x="1149" y="1325"/>
                    </a:lnTo>
                    <a:lnTo>
                      <a:pt x="1149" y="1323"/>
                    </a:lnTo>
                    <a:lnTo>
                      <a:pt x="1147" y="1323"/>
                    </a:lnTo>
                    <a:lnTo>
                      <a:pt x="1147" y="1322"/>
                    </a:lnTo>
                    <a:lnTo>
                      <a:pt x="1149" y="1320"/>
                    </a:lnTo>
                    <a:lnTo>
                      <a:pt x="1147" y="1320"/>
                    </a:lnTo>
                    <a:lnTo>
                      <a:pt x="1147" y="1318"/>
                    </a:lnTo>
                    <a:lnTo>
                      <a:pt x="1147" y="1316"/>
                    </a:lnTo>
                    <a:lnTo>
                      <a:pt x="1149" y="1316"/>
                    </a:lnTo>
                    <a:lnTo>
                      <a:pt x="1151" y="1315"/>
                    </a:lnTo>
                    <a:lnTo>
                      <a:pt x="1151" y="1316"/>
                    </a:lnTo>
                    <a:lnTo>
                      <a:pt x="1152" y="1315"/>
                    </a:lnTo>
                    <a:lnTo>
                      <a:pt x="1152" y="1316"/>
                    </a:lnTo>
                    <a:lnTo>
                      <a:pt x="1151" y="1316"/>
                    </a:lnTo>
                    <a:lnTo>
                      <a:pt x="1151" y="1318"/>
                    </a:lnTo>
                    <a:lnTo>
                      <a:pt x="1149" y="1318"/>
                    </a:lnTo>
                    <a:lnTo>
                      <a:pt x="1149" y="1320"/>
                    </a:lnTo>
                    <a:lnTo>
                      <a:pt x="1149" y="1318"/>
                    </a:lnTo>
                    <a:lnTo>
                      <a:pt x="1151" y="1318"/>
                    </a:lnTo>
                    <a:lnTo>
                      <a:pt x="1152" y="1316"/>
                    </a:lnTo>
                    <a:lnTo>
                      <a:pt x="1152" y="1318"/>
                    </a:lnTo>
                    <a:lnTo>
                      <a:pt x="1151" y="1318"/>
                    </a:lnTo>
                    <a:lnTo>
                      <a:pt x="1152" y="1318"/>
                    </a:lnTo>
                    <a:lnTo>
                      <a:pt x="1152" y="1320"/>
                    </a:lnTo>
                    <a:lnTo>
                      <a:pt x="1152" y="1322"/>
                    </a:lnTo>
                    <a:lnTo>
                      <a:pt x="1154" y="1322"/>
                    </a:lnTo>
                    <a:lnTo>
                      <a:pt x="1154" y="1323"/>
                    </a:lnTo>
                    <a:lnTo>
                      <a:pt x="1156" y="1325"/>
                    </a:lnTo>
                    <a:lnTo>
                      <a:pt x="1157" y="1325"/>
                    </a:lnTo>
                    <a:lnTo>
                      <a:pt x="1157" y="1327"/>
                    </a:lnTo>
                    <a:lnTo>
                      <a:pt x="1159" y="1327"/>
                    </a:lnTo>
                    <a:lnTo>
                      <a:pt x="1157" y="1327"/>
                    </a:lnTo>
                    <a:lnTo>
                      <a:pt x="1157" y="1325"/>
                    </a:lnTo>
                    <a:lnTo>
                      <a:pt x="1156" y="1325"/>
                    </a:lnTo>
                    <a:lnTo>
                      <a:pt x="1156" y="1323"/>
                    </a:lnTo>
                    <a:lnTo>
                      <a:pt x="1156" y="1325"/>
                    </a:lnTo>
                    <a:lnTo>
                      <a:pt x="1157" y="1323"/>
                    </a:lnTo>
                    <a:lnTo>
                      <a:pt x="1159" y="1323"/>
                    </a:lnTo>
                    <a:lnTo>
                      <a:pt x="1159" y="1325"/>
                    </a:lnTo>
                    <a:lnTo>
                      <a:pt x="1161" y="1323"/>
                    </a:lnTo>
                    <a:lnTo>
                      <a:pt x="1162" y="1323"/>
                    </a:lnTo>
                    <a:lnTo>
                      <a:pt x="1164" y="1323"/>
                    </a:lnTo>
                    <a:lnTo>
                      <a:pt x="1162" y="1323"/>
                    </a:lnTo>
                    <a:lnTo>
                      <a:pt x="1161" y="1323"/>
                    </a:lnTo>
                    <a:lnTo>
                      <a:pt x="1159" y="1323"/>
                    </a:lnTo>
                    <a:lnTo>
                      <a:pt x="1157" y="1323"/>
                    </a:lnTo>
                    <a:lnTo>
                      <a:pt x="1156" y="1323"/>
                    </a:lnTo>
                    <a:lnTo>
                      <a:pt x="1157" y="1323"/>
                    </a:lnTo>
                    <a:lnTo>
                      <a:pt x="1156" y="1323"/>
                    </a:lnTo>
                    <a:lnTo>
                      <a:pt x="1156" y="1322"/>
                    </a:lnTo>
                    <a:lnTo>
                      <a:pt x="1154" y="1322"/>
                    </a:lnTo>
                    <a:lnTo>
                      <a:pt x="1156" y="1322"/>
                    </a:lnTo>
                    <a:lnTo>
                      <a:pt x="1154" y="1322"/>
                    </a:lnTo>
                    <a:lnTo>
                      <a:pt x="1154" y="1320"/>
                    </a:lnTo>
                    <a:lnTo>
                      <a:pt x="1154" y="1318"/>
                    </a:lnTo>
                    <a:lnTo>
                      <a:pt x="1156" y="1320"/>
                    </a:lnTo>
                    <a:lnTo>
                      <a:pt x="1154" y="1318"/>
                    </a:lnTo>
                    <a:lnTo>
                      <a:pt x="1152" y="1318"/>
                    </a:lnTo>
                    <a:lnTo>
                      <a:pt x="1152" y="1316"/>
                    </a:lnTo>
                    <a:lnTo>
                      <a:pt x="1154" y="1316"/>
                    </a:lnTo>
                    <a:lnTo>
                      <a:pt x="1154" y="1315"/>
                    </a:lnTo>
                    <a:lnTo>
                      <a:pt x="1152" y="1315"/>
                    </a:lnTo>
                    <a:lnTo>
                      <a:pt x="1154" y="1315"/>
                    </a:lnTo>
                    <a:lnTo>
                      <a:pt x="1156" y="1315"/>
                    </a:lnTo>
                    <a:lnTo>
                      <a:pt x="1156" y="1316"/>
                    </a:lnTo>
                    <a:lnTo>
                      <a:pt x="1156" y="1315"/>
                    </a:lnTo>
                    <a:lnTo>
                      <a:pt x="1156" y="1316"/>
                    </a:lnTo>
                    <a:lnTo>
                      <a:pt x="1157" y="1316"/>
                    </a:lnTo>
                    <a:lnTo>
                      <a:pt x="1156" y="1316"/>
                    </a:lnTo>
                    <a:lnTo>
                      <a:pt x="1157" y="1316"/>
                    </a:lnTo>
                    <a:lnTo>
                      <a:pt x="1157" y="1318"/>
                    </a:lnTo>
                    <a:lnTo>
                      <a:pt x="1157" y="1320"/>
                    </a:lnTo>
                    <a:lnTo>
                      <a:pt x="1159" y="1320"/>
                    </a:lnTo>
                    <a:lnTo>
                      <a:pt x="1157" y="1320"/>
                    </a:lnTo>
                    <a:lnTo>
                      <a:pt x="1159" y="1320"/>
                    </a:lnTo>
                    <a:lnTo>
                      <a:pt x="1159" y="1322"/>
                    </a:lnTo>
                    <a:lnTo>
                      <a:pt x="1159" y="1320"/>
                    </a:lnTo>
                    <a:lnTo>
                      <a:pt x="1161" y="1320"/>
                    </a:lnTo>
                    <a:lnTo>
                      <a:pt x="1162" y="1320"/>
                    </a:lnTo>
                    <a:lnTo>
                      <a:pt x="1161" y="1320"/>
                    </a:lnTo>
                    <a:lnTo>
                      <a:pt x="1159" y="1320"/>
                    </a:lnTo>
                    <a:lnTo>
                      <a:pt x="1157" y="1318"/>
                    </a:lnTo>
                    <a:lnTo>
                      <a:pt x="1159" y="1318"/>
                    </a:lnTo>
                    <a:lnTo>
                      <a:pt x="1159" y="1316"/>
                    </a:lnTo>
                    <a:lnTo>
                      <a:pt x="1157" y="1318"/>
                    </a:lnTo>
                    <a:lnTo>
                      <a:pt x="1157" y="1316"/>
                    </a:lnTo>
                    <a:lnTo>
                      <a:pt x="1157" y="1315"/>
                    </a:lnTo>
                    <a:lnTo>
                      <a:pt x="1157" y="1316"/>
                    </a:lnTo>
                    <a:lnTo>
                      <a:pt x="1159" y="1316"/>
                    </a:lnTo>
                    <a:lnTo>
                      <a:pt x="1161" y="1318"/>
                    </a:lnTo>
                    <a:lnTo>
                      <a:pt x="1161" y="1320"/>
                    </a:lnTo>
                    <a:lnTo>
                      <a:pt x="1162" y="1320"/>
                    </a:lnTo>
                    <a:lnTo>
                      <a:pt x="1161" y="1318"/>
                    </a:lnTo>
                    <a:lnTo>
                      <a:pt x="1159" y="1316"/>
                    </a:lnTo>
                    <a:lnTo>
                      <a:pt x="1161" y="1316"/>
                    </a:lnTo>
                    <a:lnTo>
                      <a:pt x="1159" y="1316"/>
                    </a:lnTo>
                    <a:lnTo>
                      <a:pt x="1159" y="1315"/>
                    </a:lnTo>
                    <a:lnTo>
                      <a:pt x="1161" y="1315"/>
                    </a:lnTo>
                    <a:lnTo>
                      <a:pt x="1161" y="1316"/>
                    </a:lnTo>
                    <a:lnTo>
                      <a:pt x="1161" y="1315"/>
                    </a:lnTo>
                    <a:lnTo>
                      <a:pt x="1162" y="1316"/>
                    </a:lnTo>
                    <a:lnTo>
                      <a:pt x="1164" y="1316"/>
                    </a:lnTo>
                    <a:lnTo>
                      <a:pt x="1164" y="1318"/>
                    </a:lnTo>
                    <a:lnTo>
                      <a:pt x="1164" y="1316"/>
                    </a:lnTo>
                    <a:lnTo>
                      <a:pt x="1162" y="1316"/>
                    </a:lnTo>
                    <a:lnTo>
                      <a:pt x="1162" y="1315"/>
                    </a:lnTo>
                    <a:lnTo>
                      <a:pt x="1164" y="1315"/>
                    </a:lnTo>
                    <a:lnTo>
                      <a:pt x="1162" y="1315"/>
                    </a:lnTo>
                    <a:lnTo>
                      <a:pt x="1161" y="1315"/>
                    </a:lnTo>
                    <a:lnTo>
                      <a:pt x="1161" y="1313"/>
                    </a:lnTo>
                    <a:lnTo>
                      <a:pt x="1162" y="1313"/>
                    </a:lnTo>
                    <a:lnTo>
                      <a:pt x="1162" y="1315"/>
                    </a:lnTo>
                    <a:lnTo>
                      <a:pt x="1162" y="1313"/>
                    </a:lnTo>
                    <a:lnTo>
                      <a:pt x="1161" y="1313"/>
                    </a:lnTo>
                    <a:lnTo>
                      <a:pt x="1161" y="1311"/>
                    </a:lnTo>
                    <a:lnTo>
                      <a:pt x="1162" y="1313"/>
                    </a:lnTo>
                    <a:lnTo>
                      <a:pt x="1162" y="1315"/>
                    </a:lnTo>
                    <a:lnTo>
                      <a:pt x="1164" y="1315"/>
                    </a:lnTo>
                    <a:lnTo>
                      <a:pt x="1164" y="1316"/>
                    </a:lnTo>
                    <a:lnTo>
                      <a:pt x="1166" y="1318"/>
                    </a:lnTo>
                    <a:lnTo>
                      <a:pt x="1168" y="1318"/>
                    </a:lnTo>
                    <a:lnTo>
                      <a:pt x="1168" y="1320"/>
                    </a:lnTo>
                    <a:lnTo>
                      <a:pt x="1166" y="1322"/>
                    </a:lnTo>
                    <a:lnTo>
                      <a:pt x="1168" y="1322"/>
                    </a:lnTo>
                    <a:lnTo>
                      <a:pt x="1168" y="1320"/>
                    </a:lnTo>
                    <a:lnTo>
                      <a:pt x="1168" y="1318"/>
                    </a:lnTo>
                    <a:lnTo>
                      <a:pt x="1168" y="1316"/>
                    </a:lnTo>
                    <a:lnTo>
                      <a:pt x="1168" y="1315"/>
                    </a:lnTo>
                    <a:lnTo>
                      <a:pt x="1168" y="1313"/>
                    </a:lnTo>
                    <a:lnTo>
                      <a:pt x="1169" y="1313"/>
                    </a:lnTo>
                    <a:lnTo>
                      <a:pt x="1169" y="1315"/>
                    </a:lnTo>
                    <a:lnTo>
                      <a:pt x="1169" y="1313"/>
                    </a:lnTo>
                    <a:lnTo>
                      <a:pt x="1168" y="1313"/>
                    </a:lnTo>
                    <a:lnTo>
                      <a:pt x="1168" y="1311"/>
                    </a:lnTo>
                    <a:lnTo>
                      <a:pt x="1169" y="1311"/>
                    </a:lnTo>
                    <a:lnTo>
                      <a:pt x="1171" y="1311"/>
                    </a:lnTo>
                    <a:lnTo>
                      <a:pt x="1171" y="1313"/>
                    </a:lnTo>
                    <a:lnTo>
                      <a:pt x="1171" y="1311"/>
                    </a:lnTo>
                    <a:lnTo>
                      <a:pt x="1169" y="1311"/>
                    </a:lnTo>
                    <a:lnTo>
                      <a:pt x="1169" y="1310"/>
                    </a:lnTo>
                    <a:lnTo>
                      <a:pt x="1169" y="1308"/>
                    </a:lnTo>
                    <a:lnTo>
                      <a:pt x="1169" y="1306"/>
                    </a:lnTo>
                    <a:lnTo>
                      <a:pt x="1171" y="1306"/>
                    </a:lnTo>
                    <a:lnTo>
                      <a:pt x="1169" y="1306"/>
                    </a:lnTo>
                    <a:lnTo>
                      <a:pt x="1169" y="1305"/>
                    </a:lnTo>
                    <a:lnTo>
                      <a:pt x="1168" y="1305"/>
                    </a:lnTo>
                    <a:lnTo>
                      <a:pt x="1168" y="1303"/>
                    </a:lnTo>
                    <a:lnTo>
                      <a:pt x="1166" y="1303"/>
                    </a:lnTo>
                    <a:lnTo>
                      <a:pt x="1166" y="1301"/>
                    </a:lnTo>
                    <a:lnTo>
                      <a:pt x="1168" y="1301"/>
                    </a:lnTo>
                    <a:lnTo>
                      <a:pt x="1169" y="1301"/>
                    </a:lnTo>
                    <a:lnTo>
                      <a:pt x="1169" y="1299"/>
                    </a:lnTo>
                    <a:lnTo>
                      <a:pt x="1169" y="1301"/>
                    </a:lnTo>
                    <a:lnTo>
                      <a:pt x="1171" y="1301"/>
                    </a:lnTo>
                    <a:lnTo>
                      <a:pt x="1171" y="1303"/>
                    </a:lnTo>
                    <a:lnTo>
                      <a:pt x="1173" y="1303"/>
                    </a:lnTo>
                    <a:lnTo>
                      <a:pt x="1173" y="1305"/>
                    </a:lnTo>
                    <a:lnTo>
                      <a:pt x="1171" y="1303"/>
                    </a:lnTo>
                    <a:lnTo>
                      <a:pt x="1171" y="1301"/>
                    </a:lnTo>
                    <a:lnTo>
                      <a:pt x="1169" y="1299"/>
                    </a:lnTo>
                    <a:lnTo>
                      <a:pt x="1171" y="1299"/>
                    </a:lnTo>
                    <a:lnTo>
                      <a:pt x="1171" y="1298"/>
                    </a:lnTo>
                    <a:lnTo>
                      <a:pt x="1171" y="1299"/>
                    </a:lnTo>
                    <a:lnTo>
                      <a:pt x="1169" y="1299"/>
                    </a:lnTo>
                    <a:lnTo>
                      <a:pt x="1168" y="1299"/>
                    </a:lnTo>
                    <a:lnTo>
                      <a:pt x="1168" y="1301"/>
                    </a:lnTo>
                    <a:lnTo>
                      <a:pt x="1166" y="1301"/>
                    </a:lnTo>
                    <a:lnTo>
                      <a:pt x="1164" y="1301"/>
                    </a:lnTo>
                    <a:lnTo>
                      <a:pt x="1164" y="1299"/>
                    </a:lnTo>
                    <a:lnTo>
                      <a:pt x="1166" y="1299"/>
                    </a:lnTo>
                    <a:lnTo>
                      <a:pt x="1168" y="1299"/>
                    </a:lnTo>
                    <a:lnTo>
                      <a:pt x="1166" y="1299"/>
                    </a:lnTo>
                    <a:lnTo>
                      <a:pt x="1164" y="1299"/>
                    </a:lnTo>
                    <a:lnTo>
                      <a:pt x="1164" y="1298"/>
                    </a:lnTo>
                    <a:lnTo>
                      <a:pt x="1166" y="1298"/>
                    </a:lnTo>
                    <a:lnTo>
                      <a:pt x="1168" y="1298"/>
                    </a:lnTo>
                    <a:lnTo>
                      <a:pt x="1169" y="1296"/>
                    </a:lnTo>
                    <a:lnTo>
                      <a:pt x="1168" y="1296"/>
                    </a:lnTo>
                    <a:lnTo>
                      <a:pt x="1168" y="1298"/>
                    </a:lnTo>
                    <a:lnTo>
                      <a:pt x="1168" y="1296"/>
                    </a:lnTo>
                    <a:lnTo>
                      <a:pt x="1168" y="1298"/>
                    </a:lnTo>
                    <a:lnTo>
                      <a:pt x="1166" y="1298"/>
                    </a:lnTo>
                    <a:lnTo>
                      <a:pt x="1164" y="1298"/>
                    </a:lnTo>
                    <a:lnTo>
                      <a:pt x="1162" y="1296"/>
                    </a:lnTo>
                    <a:lnTo>
                      <a:pt x="1164" y="1296"/>
                    </a:lnTo>
                    <a:lnTo>
                      <a:pt x="1166" y="1294"/>
                    </a:lnTo>
                    <a:lnTo>
                      <a:pt x="1168" y="1294"/>
                    </a:lnTo>
                    <a:lnTo>
                      <a:pt x="1169" y="1294"/>
                    </a:lnTo>
                    <a:lnTo>
                      <a:pt x="1168" y="1294"/>
                    </a:lnTo>
                    <a:lnTo>
                      <a:pt x="1169" y="1293"/>
                    </a:lnTo>
                    <a:lnTo>
                      <a:pt x="1168" y="1293"/>
                    </a:lnTo>
                    <a:lnTo>
                      <a:pt x="1168" y="1294"/>
                    </a:lnTo>
                    <a:lnTo>
                      <a:pt x="1166" y="1294"/>
                    </a:lnTo>
                    <a:lnTo>
                      <a:pt x="1164" y="1296"/>
                    </a:lnTo>
                    <a:lnTo>
                      <a:pt x="1162" y="1296"/>
                    </a:lnTo>
                    <a:lnTo>
                      <a:pt x="1162" y="1294"/>
                    </a:lnTo>
                    <a:lnTo>
                      <a:pt x="1162" y="1293"/>
                    </a:lnTo>
                    <a:lnTo>
                      <a:pt x="1162" y="1291"/>
                    </a:lnTo>
                    <a:lnTo>
                      <a:pt x="1164" y="1291"/>
                    </a:lnTo>
                    <a:lnTo>
                      <a:pt x="1164" y="1293"/>
                    </a:lnTo>
                    <a:lnTo>
                      <a:pt x="1166" y="1293"/>
                    </a:lnTo>
                    <a:lnTo>
                      <a:pt x="1168" y="1294"/>
                    </a:lnTo>
                    <a:lnTo>
                      <a:pt x="1168" y="1293"/>
                    </a:lnTo>
                    <a:lnTo>
                      <a:pt x="1166" y="1293"/>
                    </a:lnTo>
                    <a:lnTo>
                      <a:pt x="1164" y="1291"/>
                    </a:lnTo>
                    <a:lnTo>
                      <a:pt x="1166" y="1291"/>
                    </a:lnTo>
                    <a:lnTo>
                      <a:pt x="1166" y="1289"/>
                    </a:lnTo>
                    <a:lnTo>
                      <a:pt x="1164" y="1291"/>
                    </a:lnTo>
                    <a:lnTo>
                      <a:pt x="1162" y="1289"/>
                    </a:lnTo>
                    <a:lnTo>
                      <a:pt x="1164" y="1289"/>
                    </a:lnTo>
                    <a:lnTo>
                      <a:pt x="1166" y="1289"/>
                    </a:lnTo>
                    <a:lnTo>
                      <a:pt x="1168" y="1288"/>
                    </a:lnTo>
                    <a:lnTo>
                      <a:pt x="1168" y="1289"/>
                    </a:lnTo>
                    <a:lnTo>
                      <a:pt x="1168" y="1288"/>
                    </a:lnTo>
                    <a:lnTo>
                      <a:pt x="1169" y="1288"/>
                    </a:lnTo>
                    <a:lnTo>
                      <a:pt x="1168" y="1288"/>
                    </a:lnTo>
                    <a:lnTo>
                      <a:pt x="1169" y="1286"/>
                    </a:lnTo>
                    <a:lnTo>
                      <a:pt x="1169" y="1288"/>
                    </a:lnTo>
                    <a:lnTo>
                      <a:pt x="1169" y="1286"/>
                    </a:lnTo>
                    <a:lnTo>
                      <a:pt x="1171" y="1286"/>
                    </a:lnTo>
                    <a:lnTo>
                      <a:pt x="1171" y="1288"/>
                    </a:lnTo>
                    <a:lnTo>
                      <a:pt x="1171" y="1289"/>
                    </a:lnTo>
                    <a:lnTo>
                      <a:pt x="1169" y="1288"/>
                    </a:lnTo>
                    <a:lnTo>
                      <a:pt x="1169" y="1289"/>
                    </a:lnTo>
                    <a:lnTo>
                      <a:pt x="1171" y="1291"/>
                    </a:lnTo>
                    <a:lnTo>
                      <a:pt x="1171" y="1289"/>
                    </a:lnTo>
                    <a:lnTo>
                      <a:pt x="1171" y="1288"/>
                    </a:lnTo>
                    <a:lnTo>
                      <a:pt x="1171" y="1286"/>
                    </a:lnTo>
                    <a:lnTo>
                      <a:pt x="1173" y="1286"/>
                    </a:lnTo>
                    <a:lnTo>
                      <a:pt x="1173" y="1284"/>
                    </a:lnTo>
                    <a:lnTo>
                      <a:pt x="1174" y="1286"/>
                    </a:lnTo>
                    <a:close/>
                    <a:moveTo>
                      <a:pt x="1264" y="1498"/>
                    </a:moveTo>
                    <a:lnTo>
                      <a:pt x="1266" y="1498"/>
                    </a:lnTo>
                    <a:lnTo>
                      <a:pt x="1266" y="1500"/>
                    </a:lnTo>
                    <a:lnTo>
                      <a:pt x="1268" y="1500"/>
                    </a:lnTo>
                    <a:lnTo>
                      <a:pt x="1270" y="1500"/>
                    </a:lnTo>
                    <a:lnTo>
                      <a:pt x="1271" y="1500"/>
                    </a:lnTo>
                    <a:lnTo>
                      <a:pt x="1273" y="1500"/>
                    </a:lnTo>
                    <a:lnTo>
                      <a:pt x="1275" y="1500"/>
                    </a:lnTo>
                    <a:lnTo>
                      <a:pt x="1276" y="1500"/>
                    </a:lnTo>
                    <a:lnTo>
                      <a:pt x="1278" y="1498"/>
                    </a:lnTo>
                    <a:lnTo>
                      <a:pt x="1280" y="1498"/>
                    </a:lnTo>
                    <a:lnTo>
                      <a:pt x="1281" y="1497"/>
                    </a:lnTo>
                    <a:lnTo>
                      <a:pt x="1281" y="1498"/>
                    </a:lnTo>
                    <a:lnTo>
                      <a:pt x="1281" y="1500"/>
                    </a:lnTo>
                    <a:lnTo>
                      <a:pt x="1283" y="1500"/>
                    </a:lnTo>
                    <a:lnTo>
                      <a:pt x="1283" y="1502"/>
                    </a:lnTo>
                    <a:lnTo>
                      <a:pt x="1285" y="1502"/>
                    </a:lnTo>
                    <a:lnTo>
                      <a:pt x="1283" y="1504"/>
                    </a:lnTo>
                    <a:lnTo>
                      <a:pt x="1285" y="1505"/>
                    </a:lnTo>
                    <a:lnTo>
                      <a:pt x="1283" y="1507"/>
                    </a:lnTo>
                    <a:lnTo>
                      <a:pt x="1285" y="1505"/>
                    </a:lnTo>
                    <a:lnTo>
                      <a:pt x="1285" y="1507"/>
                    </a:lnTo>
                    <a:lnTo>
                      <a:pt x="1283" y="1507"/>
                    </a:lnTo>
                    <a:lnTo>
                      <a:pt x="1283" y="1509"/>
                    </a:lnTo>
                    <a:lnTo>
                      <a:pt x="1281" y="1509"/>
                    </a:lnTo>
                    <a:lnTo>
                      <a:pt x="1280" y="1509"/>
                    </a:lnTo>
                    <a:lnTo>
                      <a:pt x="1278" y="1510"/>
                    </a:lnTo>
                    <a:lnTo>
                      <a:pt x="1276" y="1510"/>
                    </a:lnTo>
                    <a:lnTo>
                      <a:pt x="1276" y="1512"/>
                    </a:lnTo>
                    <a:lnTo>
                      <a:pt x="1275" y="1512"/>
                    </a:lnTo>
                    <a:lnTo>
                      <a:pt x="1275" y="1514"/>
                    </a:lnTo>
                    <a:lnTo>
                      <a:pt x="1273" y="1514"/>
                    </a:lnTo>
                    <a:lnTo>
                      <a:pt x="1271" y="1515"/>
                    </a:lnTo>
                    <a:lnTo>
                      <a:pt x="1270" y="1515"/>
                    </a:lnTo>
                    <a:lnTo>
                      <a:pt x="1270" y="1517"/>
                    </a:lnTo>
                    <a:lnTo>
                      <a:pt x="1268" y="1517"/>
                    </a:lnTo>
                    <a:lnTo>
                      <a:pt x="1266" y="1517"/>
                    </a:lnTo>
                    <a:lnTo>
                      <a:pt x="1266" y="1519"/>
                    </a:lnTo>
                    <a:lnTo>
                      <a:pt x="1266" y="1521"/>
                    </a:lnTo>
                    <a:lnTo>
                      <a:pt x="1264" y="1521"/>
                    </a:lnTo>
                    <a:lnTo>
                      <a:pt x="1264" y="1522"/>
                    </a:lnTo>
                    <a:lnTo>
                      <a:pt x="1263" y="1524"/>
                    </a:lnTo>
                    <a:lnTo>
                      <a:pt x="1263" y="1526"/>
                    </a:lnTo>
                    <a:lnTo>
                      <a:pt x="1261" y="1524"/>
                    </a:lnTo>
                    <a:lnTo>
                      <a:pt x="1261" y="1526"/>
                    </a:lnTo>
                    <a:lnTo>
                      <a:pt x="1259" y="1526"/>
                    </a:lnTo>
                    <a:lnTo>
                      <a:pt x="1259" y="1524"/>
                    </a:lnTo>
                    <a:lnTo>
                      <a:pt x="1258" y="1524"/>
                    </a:lnTo>
                    <a:lnTo>
                      <a:pt x="1258" y="1522"/>
                    </a:lnTo>
                    <a:lnTo>
                      <a:pt x="1256" y="1521"/>
                    </a:lnTo>
                    <a:lnTo>
                      <a:pt x="1254" y="1521"/>
                    </a:lnTo>
                    <a:lnTo>
                      <a:pt x="1253" y="1519"/>
                    </a:lnTo>
                    <a:lnTo>
                      <a:pt x="1251" y="1519"/>
                    </a:lnTo>
                    <a:lnTo>
                      <a:pt x="1253" y="1521"/>
                    </a:lnTo>
                    <a:lnTo>
                      <a:pt x="1254" y="1521"/>
                    </a:lnTo>
                    <a:lnTo>
                      <a:pt x="1254" y="1522"/>
                    </a:lnTo>
                    <a:lnTo>
                      <a:pt x="1256" y="1522"/>
                    </a:lnTo>
                    <a:lnTo>
                      <a:pt x="1254" y="1522"/>
                    </a:lnTo>
                    <a:lnTo>
                      <a:pt x="1256" y="1524"/>
                    </a:lnTo>
                    <a:lnTo>
                      <a:pt x="1254" y="1524"/>
                    </a:lnTo>
                    <a:lnTo>
                      <a:pt x="1254" y="1522"/>
                    </a:lnTo>
                    <a:lnTo>
                      <a:pt x="1253" y="1522"/>
                    </a:lnTo>
                    <a:lnTo>
                      <a:pt x="1253" y="1521"/>
                    </a:lnTo>
                    <a:lnTo>
                      <a:pt x="1251" y="1521"/>
                    </a:lnTo>
                    <a:lnTo>
                      <a:pt x="1251" y="1522"/>
                    </a:lnTo>
                    <a:lnTo>
                      <a:pt x="1251" y="1521"/>
                    </a:lnTo>
                    <a:lnTo>
                      <a:pt x="1249" y="1521"/>
                    </a:lnTo>
                    <a:lnTo>
                      <a:pt x="1247" y="1521"/>
                    </a:lnTo>
                    <a:lnTo>
                      <a:pt x="1247" y="1522"/>
                    </a:lnTo>
                    <a:lnTo>
                      <a:pt x="1247" y="1521"/>
                    </a:lnTo>
                    <a:lnTo>
                      <a:pt x="1246" y="1522"/>
                    </a:lnTo>
                    <a:lnTo>
                      <a:pt x="1244" y="1522"/>
                    </a:lnTo>
                    <a:lnTo>
                      <a:pt x="1246" y="1522"/>
                    </a:lnTo>
                    <a:lnTo>
                      <a:pt x="1247" y="1522"/>
                    </a:lnTo>
                    <a:lnTo>
                      <a:pt x="1249" y="1522"/>
                    </a:lnTo>
                    <a:lnTo>
                      <a:pt x="1251" y="1522"/>
                    </a:lnTo>
                    <a:lnTo>
                      <a:pt x="1253" y="1524"/>
                    </a:lnTo>
                    <a:lnTo>
                      <a:pt x="1253" y="1526"/>
                    </a:lnTo>
                    <a:lnTo>
                      <a:pt x="1254" y="1526"/>
                    </a:lnTo>
                    <a:lnTo>
                      <a:pt x="1256" y="1526"/>
                    </a:lnTo>
                    <a:lnTo>
                      <a:pt x="1256" y="1527"/>
                    </a:lnTo>
                    <a:lnTo>
                      <a:pt x="1258" y="1529"/>
                    </a:lnTo>
                    <a:lnTo>
                      <a:pt x="1256" y="1529"/>
                    </a:lnTo>
                    <a:lnTo>
                      <a:pt x="1254" y="1529"/>
                    </a:lnTo>
                    <a:lnTo>
                      <a:pt x="1253" y="1529"/>
                    </a:lnTo>
                    <a:lnTo>
                      <a:pt x="1251" y="1529"/>
                    </a:lnTo>
                    <a:lnTo>
                      <a:pt x="1251" y="1527"/>
                    </a:lnTo>
                    <a:lnTo>
                      <a:pt x="1251" y="1529"/>
                    </a:lnTo>
                    <a:lnTo>
                      <a:pt x="1253" y="1529"/>
                    </a:lnTo>
                    <a:lnTo>
                      <a:pt x="1253" y="1531"/>
                    </a:lnTo>
                    <a:lnTo>
                      <a:pt x="1251" y="1531"/>
                    </a:lnTo>
                    <a:lnTo>
                      <a:pt x="1249" y="1531"/>
                    </a:lnTo>
                    <a:lnTo>
                      <a:pt x="1249" y="1529"/>
                    </a:lnTo>
                    <a:lnTo>
                      <a:pt x="1249" y="1527"/>
                    </a:lnTo>
                    <a:lnTo>
                      <a:pt x="1249" y="1529"/>
                    </a:lnTo>
                    <a:lnTo>
                      <a:pt x="1247" y="1529"/>
                    </a:lnTo>
                    <a:lnTo>
                      <a:pt x="1246" y="1527"/>
                    </a:lnTo>
                    <a:lnTo>
                      <a:pt x="1246" y="1529"/>
                    </a:lnTo>
                    <a:lnTo>
                      <a:pt x="1247" y="1529"/>
                    </a:lnTo>
                    <a:lnTo>
                      <a:pt x="1249" y="1531"/>
                    </a:lnTo>
                    <a:lnTo>
                      <a:pt x="1247" y="1531"/>
                    </a:lnTo>
                    <a:lnTo>
                      <a:pt x="1246" y="1529"/>
                    </a:lnTo>
                    <a:lnTo>
                      <a:pt x="1244" y="1529"/>
                    </a:lnTo>
                    <a:lnTo>
                      <a:pt x="1242" y="1529"/>
                    </a:lnTo>
                    <a:lnTo>
                      <a:pt x="1244" y="1529"/>
                    </a:lnTo>
                    <a:lnTo>
                      <a:pt x="1246" y="1531"/>
                    </a:lnTo>
                    <a:lnTo>
                      <a:pt x="1247" y="1531"/>
                    </a:lnTo>
                    <a:lnTo>
                      <a:pt x="1247" y="1532"/>
                    </a:lnTo>
                    <a:lnTo>
                      <a:pt x="1249" y="1531"/>
                    </a:lnTo>
                    <a:lnTo>
                      <a:pt x="1249" y="1532"/>
                    </a:lnTo>
                    <a:lnTo>
                      <a:pt x="1247" y="1532"/>
                    </a:lnTo>
                    <a:lnTo>
                      <a:pt x="1249" y="1534"/>
                    </a:lnTo>
                    <a:lnTo>
                      <a:pt x="1247" y="1534"/>
                    </a:lnTo>
                    <a:lnTo>
                      <a:pt x="1246" y="1534"/>
                    </a:lnTo>
                    <a:lnTo>
                      <a:pt x="1246" y="1532"/>
                    </a:lnTo>
                    <a:lnTo>
                      <a:pt x="1246" y="1534"/>
                    </a:lnTo>
                    <a:lnTo>
                      <a:pt x="1246" y="1536"/>
                    </a:lnTo>
                    <a:lnTo>
                      <a:pt x="1246" y="1538"/>
                    </a:lnTo>
                    <a:lnTo>
                      <a:pt x="1246" y="1539"/>
                    </a:lnTo>
                    <a:lnTo>
                      <a:pt x="1244" y="1539"/>
                    </a:lnTo>
                    <a:lnTo>
                      <a:pt x="1242" y="1539"/>
                    </a:lnTo>
                    <a:lnTo>
                      <a:pt x="1242" y="1538"/>
                    </a:lnTo>
                    <a:lnTo>
                      <a:pt x="1241" y="1538"/>
                    </a:lnTo>
                    <a:lnTo>
                      <a:pt x="1242" y="1538"/>
                    </a:lnTo>
                    <a:lnTo>
                      <a:pt x="1242" y="1539"/>
                    </a:lnTo>
                    <a:lnTo>
                      <a:pt x="1244" y="1539"/>
                    </a:lnTo>
                    <a:lnTo>
                      <a:pt x="1244" y="1541"/>
                    </a:lnTo>
                    <a:lnTo>
                      <a:pt x="1242" y="1543"/>
                    </a:lnTo>
                    <a:lnTo>
                      <a:pt x="1244" y="1541"/>
                    </a:lnTo>
                    <a:lnTo>
                      <a:pt x="1246" y="1539"/>
                    </a:lnTo>
                    <a:lnTo>
                      <a:pt x="1246" y="1541"/>
                    </a:lnTo>
                    <a:lnTo>
                      <a:pt x="1247" y="1541"/>
                    </a:lnTo>
                    <a:lnTo>
                      <a:pt x="1247" y="1543"/>
                    </a:lnTo>
                    <a:lnTo>
                      <a:pt x="1249" y="1544"/>
                    </a:lnTo>
                    <a:lnTo>
                      <a:pt x="1249" y="1546"/>
                    </a:lnTo>
                    <a:lnTo>
                      <a:pt x="1251" y="1546"/>
                    </a:lnTo>
                    <a:lnTo>
                      <a:pt x="1251" y="1548"/>
                    </a:lnTo>
                    <a:lnTo>
                      <a:pt x="1249" y="1548"/>
                    </a:lnTo>
                    <a:lnTo>
                      <a:pt x="1247" y="1548"/>
                    </a:lnTo>
                    <a:lnTo>
                      <a:pt x="1246" y="1548"/>
                    </a:lnTo>
                    <a:lnTo>
                      <a:pt x="1244" y="1548"/>
                    </a:lnTo>
                    <a:lnTo>
                      <a:pt x="1246" y="1548"/>
                    </a:lnTo>
                    <a:lnTo>
                      <a:pt x="1246" y="1546"/>
                    </a:lnTo>
                    <a:lnTo>
                      <a:pt x="1244" y="1546"/>
                    </a:lnTo>
                    <a:lnTo>
                      <a:pt x="1242" y="1546"/>
                    </a:lnTo>
                    <a:lnTo>
                      <a:pt x="1242" y="1544"/>
                    </a:lnTo>
                    <a:lnTo>
                      <a:pt x="1244" y="1544"/>
                    </a:lnTo>
                    <a:lnTo>
                      <a:pt x="1242" y="1543"/>
                    </a:lnTo>
                    <a:lnTo>
                      <a:pt x="1242" y="1544"/>
                    </a:lnTo>
                    <a:lnTo>
                      <a:pt x="1241" y="1544"/>
                    </a:lnTo>
                    <a:lnTo>
                      <a:pt x="1239" y="1543"/>
                    </a:lnTo>
                    <a:lnTo>
                      <a:pt x="1237" y="1541"/>
                    </a:lnTo>
                    <a:lnTo>
                      <a:pt x="1237" y="1539"/>
                    </a:lnTo>
                    <a:lnTo>
                      <a:pt x="1237" y="1541"/>
                    </a:lnTo>
                    <a:lnTo>
                      <a:pt x="1237" y="1543"/>
                    </a:lnTo>
                    <a:lnTo>
                      <a:pt x="1236" y="1541"/>
                    </a:lnTo>
                    <a:lnTo>
                      <a:pt x="1237" y="1539"/>
                    </a:lnTo>
                    <a:lnTo>
                      <a:pt x="1236" y="1539"/>
                    </a:lnTo>
                    <a:lnTo>
                      <a:pt x="1234" y="1539"/>
                    </a:lnTo>
                    <a:lnTo>
                      <a:pt x="1232" y="1539"/>
                    </a:lnTo>
                    <a:lnTo>
                      <a:pt x="1234" y="1538"/>
                    </a:lnTo>
                    <a:lnTo>
                      <a:pt x="1232" y="1538"/>
                    </a:lnTo>
                    <a:lnTo>
                      <a:pt x="1230" y="1538"/>
                    </a:lnTo>
                    <a:lnTo>
                      <a:pt x="1230" y="1536"/>
                    </a:lnTo>
                    <a:lnTo>
                      <a:pt x="1230" y="1534"/>
                    </a:lnTo>
                    <a:lnTo>
                      <a:pt x="1229" y="1534"/>
                    </a:lnTo>
                    <a:lnTo>
                      <a:pt x="1229" y="1532"/>
                    </a:lnTo>
                    <a:lnTo>
                      <a:pt x="1229" y="1534"/>
                    </a:lnTo>
                    <a:lnTo>
                      <a:pt x="1227" y="1534"/>
                    </a:lnTo>
                    <a:lnTo>
                      <a:pt x="1227" y="1532"/>
                    </a:lnTo>
                    <a:lnTo>
                      <a:pt x="1225" y="1534"/>
                    </a:lnTo>
                    <a:lnTo>
                      <a:pt x="1225" y="1532"/>
                    </a:lnTo>
                    <a:lnTo>
                      <a:pt x="1224" y="1532"/>
                    </a:lnTo>
                    <a:lnTo>
                      <a:pt x="1225" y="1531"/>
                    </a:lnTo>
                    <a:lnTo>
                      <a:pt x="1224" y="1532"/>
                    </a:lnTo>
                    <a:lnTo>
                      <a:pt x="1222" y="1531"/>
                    </a:lnTo>
                    <a:lnTo>
                      <a:pt x="1222" y="1529"/>
                    </a:lnTo>
                    <a:lnTo>
                      <a:pt x="1222" y="1531"/>
                    </a:lnTo>
                    <a:lnTo>
                      <a:pt x="1224" y="1529"/>
                    </a:lnTo>
                    <a:lnTo>
                      <a:pt x="1222" y="1529"/>
                    </a:lnTo>
                    <a:lnTo>
                      <a:pt x="1222" y="1527"/>
                    </a:lnTo>
                    <a:lnTo>
                      <a:pt x="1220" y="1527"/>
                    </a:lnTo>
                    <a:lnTo>
                      <a:pt x="1220" y="1526"/>
                    </a:lnTo>
                    <a:lnTo>
                      <a:pt x="1222" y="1527"/>
                    </a:lnTo>
                    <a:lnTo>
                      <a:pt x="1224" y="1527"/>
                    </a:lnTo>
                    <a:lnTo>
                      <a:pt x="1225" y="1527"/>
                    </a:lnTo>
                    <a:lnTo>
                      <a:pt x="1225" y="1529"/>
                    </a:lnTo>
                    <a:lnTo>
                      <a:pt x="1225" y="1527"/>
                    </a:lnTo>
                    <a:lnTo>
                      <a:pt x="1227" y="1527"/>
                    </a:lnTo>
                    <a:lnTo>
                      <a:pt x="1229" y="1527"/>
                    </a:lnTo>
                    <a:lnTo>
                      <a:pt x="1229" y="1529"/>
                    </a:lnTo>
                    <a:lnTo>
                      <a:pt x="1229" y="1527"/>
                    </a:lnTo>
                    <a:lnTo>
                      <a:pt x="1230" y="1527"/>
                    </a:lnTo>
                    <a:lnTo>
                      <a:pt x="1230" y="1529"/>
                    </a:lnTo>
                    <a:lnTo>
                      <a:pt x="1232" y="1527"/>
                    </a:lnTo>
                    <a:lnTo>
                      <a:pt x="1230" y="1527"/>
                    </a:lnTo>
                    <a:lnTo>
                      <a:pt x="1232" y="1527"/>
                    </a:lnTo>
                    <a:lnTo>
                      <a:pt x="1230" y="1527"/>
                    </a:lnTo>
                    <a:lnTo>
                      <a:pt x="1232" y="1527"/>
                    </a:lnTo>
                    <a:lnTo>
                      <a:pt x="1234" y="1527"/>
                    </a:lnTo>
                    <a:lnTo>
                      <a:pt x="1232" y="1529"/>
                    </a:lnTo>
                    <a:lnTo>
                      <a:pt x="1234" y="1529"/>
                    </a:lnTo>
                    <a:lnTo>
                      <a:pt x="1236" y="1529"/>
                    </a:lnTo>
                    <a:lnTo>
                      <a:pt x="1236" y="1531"/>
                    </a:lnTo>
                    <a:lnTo>
                      <a:pt x="1236" y="1529"/>
                    </a:lnTo>
                    <a:lnTo>
                      <a:pt x="1237" y="1531"/>
                    </a:lnTo>
                    <a:lnTo>
                      <a:pt x="1239" y="1531"/>
                    </a:lnTo>
                    <a:lnTo>
                      <a:pt x="1239" y="1532"/>
                    </a:lnTo>
                    <a:lnTo>
                      <a:pt x="1237" y="1532"/>
                    </a:lnTo>
                    <a:lnTo>
                      <a:pt x="1239" y="1532"/>
                    </a:lnTo>
                    <a:lnTo>
                      <a:pt x="1237" y="1534"/>
                    </a:lnTo>
                    <a:lnTo>
                      <a:pt x="1239" y="1534"/>
                    </a:lnTo>
                    <a:lnTo>
                      <a:pt x="1237" y="1534"/>
                    </a:lnTo>
                    <a:lnTo>
                      <a:pt x="1239" y="1534"/>
                    </a:lnTo>
                    <a:lnTo>
                      <a:pt x="1239" y="1532"/>
                    </a:lnTo>
                    <a:lnTo>
                      <a:pt x="1241" y="1532"/>
                    </a:lnTo>
                    <a:lnTo>
                      <a:pt x="1239" y="1531"/>
                    </a:lnTo>
                    <a:lnTo>
                      <a:pt x="1237" y="1531"/>
                    </a:lnTo>
                    <a:lnTo>
                      <a:pt x="1237" y="1529"/>
                    </a:lnTo>
                    <a:lnTo>
                      <a:pt x="1236" y="1529"/>
                    </a:lnTo>
                    <a:lnTo>
                      <a:pt x="1236" y="1527"/>
                    </a:lnTo>
                    <a:lnTo>
                      <a:pt x="1236" y="1529"/>
                    </a:lnTo>
                    <a:lnTo>
                      <a:pt x="1236" y="1527"/>
                    </a:lnTo>
                    <a:lnTo>
                      <a:pt x="1237" y="1527"/>
                    </a:lnTo>
                    <a:lnTo>
                      <a:pt x="1239" y="1529"/>
                    </a:lnTo>
                    <a:lnTo>
                      <a:pt x="1239" y="1527"/>
                    </a:lnTo>
                    <a:lnTo>
                      <a:pt x="1237" y="1527"/>
                    </a:lnTo>
                    <a:lnTo>
                      <a:pt x="1237" y="1526"/>
                    </a:lnTo>
                    <a:lnTo>
                      <a:pt x="1239" y="1526"/>
                    </a:lnTo>
                    <a:lnTo>
                      <a:pt x="1241" y="1527"/>
                    </a:lnTo>
                    <a:lnTo>
                      <a:pt x="1239" y="1526"/>
                    </a:lnTo>
                    <a:lnTo>
                      <a:pt x="1241" y="1526"/>
                    </a:lnTo>
                    <a:lnTo>
                      <a:pt x="1241" y="1527"/>
                    </a:lnTo>
                    <a:lnTo>
                      <a:pt x="1241" y="1526"/>
                    </a:lnTo>
                    <a:lnTo>
                      <a:pt x="1239" y="1526"/>
                    </a:lnTo>
                    <a:lnTo>
                      <a:pt x="1241" y="1526"/>
                    </a:lnTo>
                    <a:lnTo>
                      <a:pt x="1239" y="1526"/>
                    </a:lnTo>
                    <a:lnTo>
                      <a:pt x="1239" y="1524"/>
                    </a:lnTo>
                    <a:lnTo>
                      <a:pt x="1239" y="1526"/>
                    </a:lnTo>
                    <a:lnTo>
                      <a:pt x="1237" y="1526"/>
                    </a:lnTo>
                    <a:lnTo>
                      <a:pt x="1237" y="1524"/>
                    </a:lnTo>
                    <a:lnTo>
                      <a:pt x="1236" y="1526"/>
                    </a:lnTo>
                    <a:lnTo>
                      <a:pt x="1234" y="1526"/>
                    </a:lnTo>
                    <a:lnTo>
                      <a:pt x="1232" y="1524"/>
                    </a:lnTo>
                    <a:lnTo>
                      <a:pt x="1230" y="1524"/>
                    </a:lnTo>
                    <a:lnTo>
                      <a:pt x="1232" y="1522"/>
                    </a:lnTo>
                    <a:lnTo>
                      <a:pt x="1232" y="1524"/>
                    </a:lnTo>
                    <a:lnTo>
                      <a:pt x="1232" y="1522"/>
                    </a:lnTo>
                    <a:lnTo>
                      <a:pt x="1234" y="1522"/>
                    </a:lnTo>
                    <a:lnTo>
                      <a:pt x="1234" y="1521"/>
                    </a:lnTo>
                    <a:lnTo>
                      <a:pt x="1236" y="1521"/>
                    </a:lnTo>
                    <a:lnTo>
                      <a:pt x="1236" y="1519"/>
                    </a:lnTo>
                    <a:lnTo>
                      <a:pt x="1234" y="1519"/>
                    </a:lnTo>
                    <a:lnTo>
                      <a:pt x="1234" y="1521"/>
                    </a:lnTo>
                    <a:lnTo>
                      <a:pt x="1232" y="1521"/>
                    </a:lnTo>
                    <a:lnTo>
                      <a:pt x="1232" y="1519"/>
                    </a:lnTo>
                    <a:lnTo>
                      <a:pt x="1232" y="1517"/>
                    </a:lnTo>
                    <a:lnTo>
                      <a:pt x="1232" y="1515"/>
                    </a:lnTo>
                    <a:lnTo>
                      <a:pt x="1230" y="1514"/>
                    </a:lnTo>
                    <a:lnTo>
                      <a:pt x="1232" y="1514"/>
                    </a:lnTo>
                    <a:lnTo>
                      <a:pt x="1232" y="1512"/>
                    </a:lnTo>
                    <a:lnTo>
                      <a:pt x="1234" y="1512"/>
                    </a:lnTo>
                    <a:lnTo>
                      <a:pt x="1232" y="1512"/>
                    </a:lnTo>
                    <a:lnTo>
                      <a:pt x="1232" y="1510"/>
                    </a:lnTo>
                    <a:lnTo>
                      <a:pt x="1230" y="1510"/>
                    </a:lnTo>
                    <a:lnTo>
                      <a:pt x="1230" y="1509"/>
                    </a:lnTo>
                    <a:lnTo>
                      <a:pt x="1232" y="1509"/>
                    </a:lnTo>
                    <a:lnTo>
                      <a:pt x="1234" y="1509"/>
                    </a:lnTo>
                    <a:lnTo>
                      <a:pt x="1236" y="1507"/>
                    </a:lnTo>
                    <a:lnTo>
                      <a:pt x="1236" y="1505"/>
                    </a:lnTo>
                    <a:lnTo>
                      <a:pt x="1237" y="1505"/>
                    </a:lnTo>
                    <a:lnTo>
                      <a:pt x="1237" y="1507"/>
                    </a:lnTo>
                    <a:lnTo>
                      <a:pt x="1236" y="1507"/>
                    </a:lnTo>
                    <a:lnTo>
                      <a:pt x="1237" y="1507"/>
                    </a:lnTo>
                    <a:lnTo>
                      <a:pt x="1239" y="1505"/>
                    </a:lnTo>
                    <a:lnTo>
                      <a:pt x="1239" y="1504"/>
                    </a:lnTo>
                    <a:lnTo>
                      <a:pt x="1241" y="1502"/>
                    </a:lnTo>
                    <a:lnTo>
                      <a:pt x="1242" y="1502"/>
                    </a:lnTo>
                    <a:lnTo>
                      <a:pt x="1242" y="1504"/>
                    </a:lnTo>
                    <a:lnTo>
                      <a:pt x="1244" y="1505"/>
                    </a:lnTo>
                    <a:lnTo>
                      <a:pt x="1242" y="1505"/>
                    </a:lnTo>
                    <a:lnTo>
                      <a:pt x="1242" y="1507"/>
                    </a:lnTo>
                    <a:lnTo>
                      <a:pt x="1241" y="1509"/>
                    </a:lnTo>
                    <a:lnTo>
                      <a:pt x="1239" y="1510"/>
                    </a:lnTo>
                    <a:lnTo>
                      <a:pt x="1239" y="1512"/>
                    </a:lnTo>
                    <a:lnTo>
                      <a:pt x="1241" y="1512"/>
                    </a:lnTo>
                    <a:lnTo>
                      <a:pt x="1241" y="1510"/>
                    </a:lnTo>
                    <a:lnTo>
                      <a:pt x="1241" y="1509"/>
                    </a:lnTo>
                    <a:lnTo>
                      <a:pt x="1242" y="1509"/>
                    </a:lnTo>
                    <a:lnTo>
                      <a:pt x="1242" y="1507"/>
                    </a:lnTo>
                    <a:lnTo>
                      <a:pt x="1244" y="1507"/>
                    </a:lnTo>
                    <a:lnTo>
                      <a:pt x="1246" y="1507"/>
                    </a:lnTo>
                    <a:lnTo>
                      <a:pt x="1244" y="1509"/>
                    </a:lnTo>
                    <a:lnTo>
                      <a:pt x="1242" y="1509"/>
                    </a:lnTo>
                    <a:lnTo>
                      <a:pt x="1242" y="1510"/>
                    </a:lnTo>
                    <a:lnTo>
                      <a:pt x="1244" y="1509"/>
                    </a:lnTo>
                    <a:lnTo>
                      <a:pt x="1246" y="1507"/>
                    </a:lnTo>
                    <a:lnTo>
                      <a:pt x="1246" y="1509"/>
                    </a:lnTo>
                    <a:lnTo>
                      <a:pt x="1244" y="1509"/>
                    </a:lnTo>
                    <a:lnTo>
                      <a:pt x="1244" y="1510"/>
                    </a:lnTo>
                    <a:lnTo>
                      <a:pt x="1244" y="1509"/>
                    </a:lnTo>
                    <a:lnTo>
                      <a:pt x="1246" y="1509"/>
                    </a:lnTo>
                    <a:lnTo>
                      <a:pt x="1247" y="1507"/>
                    </a:lnTo>
                    <a:lnTo>
                      <a:pt x="1247" y="1509"/>
                    </a:lnTo>
                    <a:lnTo>
                      <a:pt x="1247" y="1507"/>
                    </a:lnTo>
                    <a:lnTo>
                      <a:pt x="1247" y="1509"/>
                    </a:lnTo>
                    <a:lnTo>
                      <a:pt x="1249" y="1510"/>
                    </a:lnTo>
                    <a:lnTo>
                      <a:pt x="1249" y="1509"/>
                    </a:lnTo>
                    <a:lnTo>
                      <a:pt x="1249" y="1507"/>
                    </a:lnTo>
                    <a:lnTo>
                      <a:pt x="1251" y="1507"/>
                    </a:lnTo>
                    <a:lnTo>
                      <a:pt x="1251" y="1505"/>
                    </a:lnTo>
                    <a:lnTo>
                      <a:pt x="1253" y="1505"/>
                    </a:lnTo>
                    <a:lnTo>
                      <a:pt x="1254" y="1504"/>
                    </a:lnTo>
                    <a:lnTo>
                      <a:pt x="1254" y="1502"/>
                    </a:lnTo>
                    <a:lnTo>
                      <a:pt x="1256" y="1502"/>
                    </a:lnTo>
                    <a:lnTo>
                      <a:pt x="1258" y="1500"/>
                    </a:lnTo>
                    <a:lnTo>
                      <a:pt x="1258" y="1498"/>
                    </a:lnTo>
                    <a:lnTo>
                      <a:pt x="1259" y="1498"/>
                    </a:lnTo>
                    <a:lnTo>
                      <a:pt x="1261" y="1498"/>
                    </a:lnTo>
                    <a:lnTo>
                      <a:pt x="1263" y="1500"/>
                    </a:lnTo>
                    <a:lnTo>
                      <a:pt x="1263" y="1498"/>
                    </a:lnTo>
                    <a:lnTo>
                      <a:pt x="1264" y="1497"/>
                    </a:lnTo>
                    <a:lnTo>
                      <a:pt x="1264" y="1498"/>
                    </a:lnTo>
                    <a:close/>
                    <a:moveTo>
                      <a:pt x="1382" y="1628"/>
                    </a:moveTo>
                    <a:lnTo>
                      <a:pt x="1383" y="1629"/>
                    </a:lnTo>
                    <a:lnTo>
                      <a:pt x="1385" y="1629"/>
                    </a:lnTo>
                    <a:lnTo>
                      <a:pt x="1385" y="1631"/>
                    </a:lnTo>
                    <a:lnTo>
                      <a:pt x="1387" y="1631"/>
                    </a:lnTo>
                    <a:lnTo>
                      <a:pt x="1387" y="1633"/>
                    </a:lnTo>
                    <a:lnTo>
                      <a:pt x="1389" y="1635"/>
                    </a:lnTo>
                    <a:lnTo>
                      <a:pt x="1389" y="1636"/>
                    </a:lnTo>
                    <a:lnTo>
                      <a:pt x="1387" y="1636"/>
                    </a:lnTo>
                    <a:lnTo>
                      <a:pt x="1385" y="1636"/>
                    </a:lnTo>
                    <a:lnTo>
                      <a:pt x="1385" y="1635"/>
                    </a:lnTo>
                    <a:lnTo>
                      <a:pt x="1383" y="1635"/>
                    </a:lnTo>
                    <a:lnTo>
                      <a:pt x="1385" y="1636"/>
                    </a:lnTo>
                    <a:lnTo>
                      <a:pt x="1385" y="1638"/>
                    </a:lnTo>
                    <a:lnTo>
                      <a:pt x="1383" y="1640"/>
                    </a:lnTo>
                    <a:lnTo>
                      <a:pt x="1382" y="1640"/>
                    </a:lnTo>
                    <a:lnTo>
                      <a:pt x="1380" y="1638"/>
                    </a:lnTo>
                    <a:lnTo>
                      <a:pt x="1378" y="1638"/>
                    </a:lnTo>
                    <a:lnTo>
                      <a:pt x="1380" y="1638"/>
                    </a:lnTo>
                    <a:lnTo>
                      <a:pt x="1380" y="1640"/>
                    </a:lnTo>
                    <a:lnTo>
                      <a:pt x="1380" y="1641"/>
                    </a:lnTo>
                    <a:lnTo>
                      <a:pt x="1378" y="1641"/>
                    </a:lnTo>
                    <a:lnTo>
                      <a:pt x="1377" y="1641"/>
                    </a:lnTo>
                    <a:lnTo>
                      <a:pt x="1375" y="1641"/>
                    </a:lnTo>
                    <a:lnTo>
                      <a:pt x="1373" y="1641"/>
                    </a:lnTo>
                    <a:lnTo>
                      <a:pt x="1373" y="1640"/>
                    </a:lnTo>
                    <a:lnTo>
                      <a:pt x="1372" y="1640"/>
                    </a:lnTo>
                    <a:lnTo>
                      <a:pt x="1370" y="1640"/>
                    </a:lnTo>
                    <a:lnTo>
                      <a:pt x="1370" y="1638"/>
                    </a:lnTo>
                    <a:lnTo>
                      <a:pt x="1368" y="1638"/>
                    </a:lnTo>
                    <a:lnTo>
                      <a:pt x="1368" y="1636"/>
                    </a:lnTo>
                    <a:lnTo>
                      <a:pt x="1366" y="1636"/>
                    </a:lnTo>
                    <a:lnTo>
                      <a:pt x="1365" y="1635"/>
                    </a:lnTo>
                    <a:lnTo>
                      <a:pt x="1363" y="1636"/>
                    </a:lnTo>
                    <a:lnTo>
                      <a:pt x="1365" y="1636"/>
                    </a:lnTo>
                    <a:lnTo>
                      <a:pt x="1366" y="1636"/>
                    </a:lnTo>
                    <a:lnTo>
                      <a:pt x="1366" y="1638"/>
                    </a:lnTo>
                    <a:lnTo>
                      <a:pt x="1366" y="1640"/>
                    </a:lnTo>
                    <a:lnTo>
                      <a:pt x="1368" y="1640"/>
                    </a:lnTo>
                    <a:lnTo>
                      <a:pt x="1370" y="1640"/>
                    </a:lnTo>
                    <a:lnTo>
                      <a:pt x="1370" y="1641"/>
                    </a:lnTo>
                    <a:lnTo>
                      <a:pt x="1372" y="1641"/>
                    </a:lnTo>
                    <a:lnTo>
                      <a:pt x="1372" y="1643"/>
                    </a:lnTo>
                    <a:lnTo>
                      <a:pt x="1372" y="1641"/>
                    </a:lnTo>
                    <a:lnTo>
                      <a:pt x="1372" y="1643"/>
                    </a:lnTo>
                    <a:lnTo>
                      <a:pt x="1373" y="1643"/>
                    </a:lnTo>
                    <a:lnTo>
                      <a:pt x="1375" y="1643"/>
                    </a:lnTo>
                    <a:lnTo>
                      <a:pt x="1375" y="1641"/>
                    </a:lnTo>
                    <a:lnTo>
                      <a:pt x="1377" y="1643"/>
                    </a:lnTo>
                    <a:lnTo>
                      <a:pt x="1378" y="1643"/>
                    </a:lnTo>
                    <a:lnTo>
                      <a:pt x="1380" y="1643"/>
                    </a:lnTo>
                    <a:lnTo>
                      <a:pt x="1382" y="1643"/>
                    </a:lnTo>
                    <a:lnTo>
                      <a:pt x="1383" y="1643"/>
                    </a:lnTo>
                    <a:lnTo>
                      <a:pt x="1385" y="1643"/>
                    </a:lnTo>
                    <a:lnTo>
                      <a:pt x="1387" y="1643"/>
                    </a:lnTo>
                    <a:lnTo>
                      <a:pt x="1387" y="1645"/>
                    </a:lnTo>
                    <a:lnTo>
                      <a:pt x="1389" y="1645"/>
                    </a:lnTo>
                    <a:lnTo>
                      <a:pt x="1390" y="1645"/>
                    </a:lnTo>
                    <a:lnTo>
                      <a:pt x="1390" y="1646"/>
                    </a:lnTo>
                    <a:lnTo>
                      <a:pt x="1389" y="1646"/>
                    </a:lnTo>
                    <a:lnTo>
                      <a:pt x="1387" y="1646"/>
                    </a:lnTo>
                    <a:lnTo>
                      <a:pt x="1389" y="1646"/>
                    </a:lnTo>
                    <a:lnTo>
                      <a:pt x="1390" y="1646"/>
                    </a:lnTo>
                    <a:lnTo>
                      <a:pt x="1392" y="1648"/>
                    </a:lnTo>
                    <a:lnTo>
                      <a:pt x="1394" y="1648"/>
                    </a:lnTo>
                    <a:lnTo>
                      <a:pt x="1394" y="1650"/>
                    </a:lnTo>
                    <a:lnTo>
                      <a:pt x="1392" y="1650"/>
                    </a:lnTo>
                    <a:lnTo>
                      <a:pt x="1390" y="1650"/>
                    </a:lnTo>
                    <a:lnTo>
                      <a:pt x="1389" y="1650"/>
                    </a:lnTo>
                    <a:lnTo>
                      <a:pt x="1387" y="1650"/>
                    </a:lnTo>
                    <a:lnTo>
                      <a:pt x="1385" y="1650"/>
                    </a:lnTo>
                    <a:lnTo>
                      <a:pt x="1383" y="1650"/>
                    </a:lnTo>
                    <a:lnTo>
                      <a:pt x="1382" y="1650"/>
                    </a:lnTo>
                    <a:lnTo>
                      <a:pt x="1383" y="1650"/>
                    </a:lnTo>
                    <a:lnTo>
                      <a:pt x="1383" y="1652"/>
                    </a:lnTo>
                    <a:lnTo>
                      <a:pt x="1382" y="1652"/>
                    </a:lnTo>
                    <a:lnTo>
                      <a:pt x="1380" y="1652"/>
                    </a:lnTo>
                    <a:lnTo>
                      <a:pt x="1378" y="1650"/>
                    </a:lnTo>
                    <a:lnTo>
                      <a:pt x="1378" y="1648"/>
                    </a:lnTo>
                    <a:lnTo>
                      <a:pt x="1377" y="1648"/>
                    </a:lnTo>
                    <a:lnTo>
                      <a:pt x="1375" y="1648"/>
                    </a:lnTo>
                    <a:lnTo>
                      <a:pt x="1377" y="1648"/>
                    </a:lnTo>
                    <a:lnTo>
                      <a:pt x="1378" y="1650"/>
                    </a:lnTo>
                    <a:lnTo>
                      <a:pt x="1377" y="1650"/>
                    </a:lnTo>
                    <a:lnTo>
                      <a:pt x="1378" y="1650"/>
                    </a:lnTo>
                    <a:lnTo>
                      <a:pt x="1378" y="1652"/>
                    </a:lnTo>
                    <a:lnTo>
                      <a:pt x="1378" y="1653"/>
                    </a:lnTo>
                    <a:lnTo>
                      <a:pt x="1380" y="1652"/>
                    </a:lnTo>
                    <a:lnTo>
                      <a:pt x="1382" y="1652"/>
                    </a:lnTo>
                    <a:lnTo>
                      <a:pt x="1380" y="1653"/>
                    </a:lnTo>
                    <a:lnTo>
                      <a:pt x="1380" y="1655"/>
                    </a:lnTo>
                    <a:lnTo>
                      <a:pt x="1382" y="1653"/>
                    </a:lnTo>
                    <a:lnTo>
                      <a:pt x="1383" y="1653"/>
                    </a:lnTo>
                    <a:lnTo>
                      <a:pt x="1385" y="1653"/>
                    </a:lnTo>
                    <a:lnTo>
                      <a:pt x="1387" y="1653"/>
                    </a:lnTo>
                    <a:lnTo>
                      <a:pt x="1389" y="1653"/>
                    </a:lnTo>
                    <a:lnTo>
                      <a:pt x="1389" y="1655"/>
                    </a:lnTo>
                    <a:lnTo>
                      <a:pt x="1390" y="1655"/>
                    </a:lnTo>
                    <a:lnTo>
                      <a:pt x="1389" y="1655"/>
                    </a:lnTo>
                    <a:lnTo>
                      <a:pt x="1389" y="1657"/>
                    </a:lnTo>
                    <a:lnTo>
                      <a:pt x="1390" y="1655"/>
                    </a:lnTo>
                    <a:lnTo>
                      <a:pt x="1392" y="1657"/>
                    </a:lnTo>
                    <a:lnTo>
                      <a:pt x="1392" y="1655"/>
                    </a:lnTo>
                    <a:lnTo>
                      <a:pt x="1394" y="1655"/>
                    </a:lnTo>
                    <a:lnTo>
                      <a:pt x="1395" y="1657"/>
                    </a:lnTo>
                    <a:lnTo>
                      <a:pt x="1394" y="1658"/>
                    </a:lnTo>
                    <a:lnTo>
                      <a:pt x="1394" y="1660"/>
                    </a:lnTo>
                    <a:lnTo>
                      <a:pt x="1395" y="1660"/>
                    </a:lnTo>
                    <a:lnTo>
                      <a:pt x="1397" y="1660"/>
                    </a:lnTo>
                    <a:lnTo>
                      <a:pt x="1399" y="1660"/>
                    </a:lnTo>
                    <a:lnTo>
                      <a:pt x="1397" y="1662"/>
                    </a:lnTo>
                    <a:lnTo>
                      <a:pt x="1395" y="1663"/>
                    </a:lnTo>
                    <a:lnTo>
                      <a:pt x="1397" y="1663"/>
                    </a:lnTo>
                    <a:lnTo>
                      <a:pt x="1397" y="1665"/>
                    </a:lnTo>
                    <a:lnTo>
                      <a:pt x="1397" y="1667"/>
                    </a:lnTo>
                    <a:lnTo>
                      <a:pt x="1399" y="1667"/>
                    </a:lnTo>
                    <a:lnTo>
                      <a:pt x="1399" y="1669"/>
                    </a:lnTo>
                    <a:lnTo>
                      <a:pt x="1399" y="1670"/>
                    </a:lnTo>
                    <a:lnTo>
                      <a:pt x="1397" y="1670"/>
                    </a:lnTo>
                    <a:lnTo>
                      <a:pt x="1399" y="1672"/>
                    </a:lnTo>
                    <a:lnTo>
                      <a:pt x="1397" y="1674"/>
                    </a:lnTo>
                    <a:lnTo>
                      <a:pt x="1397" y="1675"/>
                    </a:lnTo>
                    <a:lnTo>
                      <a:pt x="1395" y="1674"/>
                    </a:lnTo>
                    <a:lnTo>
                      <a:pt x="1395" y="1672"/>
                    </a:lnTo>
                    <a:lnTo>
                      <a:pt x="1394" y="1672"/>
                    </a:lnTo>
                    <a:lnTo>
                      <a:pt x="1395" y="1670"/>
                    </a:lnTo>
                    <a:lnTo>
                      <a:pt x="1394" y="1670"/>
                    </a:lnTo>
                    <a:lnTo>
                      <a:pt x="1394" y="1669"/>
                    </a:lnTo>
                    <a:lnTo>
                      <a:pt x="1394" y="1667"/>
                    </a:lnTo>
                    <a:lnTo>
                      <a:pt x="1394" y="1669"/>
                    </a:lnTo>
                    <a:lnTo>
                      <a:pt x="1392" y="1669"/>
                    </a:lnTo>
                    <a:lnTo>
                      <a:pt x="1392" y="1670"/>
                    </a:lnTo>
                    <a:lnTo>
                      <a:pt x="1392" y="1669"/>
                    </a:lnTo>
                    <a:lnTo>
                      <a:pt x="1390" y="1670"/>
                    </a:lnTo>
                    <a:lnTo>
                      <a:pt x="1389" y="1669"/>
                    </a:lnTo>
                    <a:lnTo>
                      <a:pt x="1390" y="1667"/>
                    </a:lnTo>
                    <a:lnTo>
                      <a:pt x="1390" y="1665"/>
                    </a:lnTo>
                    <a:lnTo>
                      <a:pt x="1392" y="1665"/>
                    </a:lnTo>
                    <a:lnTo>
                      <a:pt x="1392" y="1663"/>
                    </a:lnTo>
                    <a:lnTo>
                      <a:pt x="1390" y="1663"/>
                    </a:lnTo>
                    <a:lnTo>
                      <a:pt x="1389" y="1663"/>
                    </a:lnTo>
                    <a:lnTo>
                      <a:pt x="1389" y="1662"/>
                    </a:lnTo>
                    <a:lnTo>
                      <a:pt x="1389" y="1660"/>
                    </a:lnTo>
                    <a:lnTo>
                      <a:pt x="1387" y="1662"/>
                    </a:lnTo>
                    <a:lnTo>
                      <a:pt x="1389" y="1660"/>
                    </a:lnTo>
                    <a:lnTo>
                      <a:pt x="1387" y="1660"/>
                    </a:lnTo>
                    <a:lnTo>
                      <a:pt x="1387" y="1662"/>
                    </a:lnTo>
                    <a:lnTo>
                      <a:pt x="1385" y="1662"/>
                    </a:lnTo>
                    <a:lnTo>
                      <a:pt x="1383" y="1660"/>
                    </a:lnTo>
                    <a:lnTo>
                      <a:pt x="1383" y="1662"/>
                    </a:lnTo>
                    <a:lnTo>
                      <a:pt x="1382" y="1660"/>
                    </a:lnTo>
                    <a:lnTo>
                      <a:pt x="1380" y="1660"/>
                    </a:lnTo>
                    <a:lnTo>
                      <a:pt x="1382" y="1658"/>
                    </a:lnTo>
                    <a:lnTo>
                      <a:pt x="1382" y="1657"/>
                    </a:lnTo>
                    <a:lnTo>
                      <a:pt x="1380" y="1657"/>
                    </a:lnTo>
                    <a:lnTo>
                      <a:pt x="1380" y="1658"/>
                    </a:lnTo>
                    <a:lnTo>
                      <a:pt x="1380" y="1657"/>
                    </a:lnTo>
                    <a:lnTo>
                      <a:pt x="1378" y="1657"/>
                    </a:lnTo>
                    <a:lnTo>
                      <a:pt x="1380" y="1658"/>
                    </a:lnTo>
                    <a:lnTo>
                      <a:pt x="1378" y="1658"/>
                    </a:lnTo>
                    <a:lnTo>
                      <a:pt x="1380" y="1660"/>
                    </a:lnTo>
                    <a:lnTo>
                      <a:pt x="1378" y="1658"/>
                    </a:lnTo>
                    <a:lnTo>
                      <a:pt x="1378" y="1660"/>
                    </a:lnTo>
                    <a:lnTo>
                      <a:pt x="1377" y="1660"/>
                    </a:lnTo>
                    <a:lnTo>
                      <a:pt x="1375" y="1660"/>
                    </a:lnTo>
                    <a:lnTo>
                      <a:pt x="1375" y="1658"/>
                    </a:lnTo>
                    <a:lnTo>
                      <a:pt x="1373" y="1658"/>
                    </a:lnTo>
                    <a:lnTo>
                      <a:pt x="1373" y="1660"/>
                    </a:lnTo>
                    <a:lnTo>
                      <a:pt x="1372" y="1660"/>
                    </a:lnTo>
                    <a:lnTo>
                      <a:pt x="1373" y="1660"/>
                    </a:lnTo>
                    <a:lnTo>
                      <a:pt x="1375" y="1662"/>
                    </a:lnTo>
                    <a:lnTo>
                      <a:pt x="1373" y="1662"/>
                    </a:lnTo>
                    <a:lnTo>
                      <a:pt x="1373" y="1663"/>
                    </a:lnTo>
                    <a:lnTo>
                      <a:pt x="1372" y="1662"/>
                    </a:lnTo>
                    <a:lnTo>
                      <a:pt x="1370" y="1662"/>
                    </a:lnTo>
                    <a:lnTo>
                      <a:pt x="1370" y="1660"/>
                    </a:lnTo>
                    <a:lnTo>
                      <a:pt x="1368" y="1660"/>
                    </a:lnTo>
                    <a:lnTo>
                      <a:pt x="1368" y="1658"/>
                    </a:lnTo>
                    <a:lnTo>
                      <a:pt x="1366" y="1658"/>
                    </a:lnTo>
                    <a:lnTo>
                      <a:pt x="1368" y="1658"/>
                    </a:lnTo>
                    <a:lnTo>
                      <a:pt x="1368" y="1657"/>
                    </a:lnTo>
                    <a:lnTo>
                      <a:pt x="1370" y="1655"/>
                    </a:lnTo>
                    <a:lnTo>
                      <a:pt x="1372" y="1655"/>
                    </a:lnTo>
                    <a:lnTo>
                      <a:pt x="1373" y="1655"/>
                    </a:lnTo>
                    <a:lnTo>
                      <a:pt x="1373" y="1657"/>
                    </a:lnTo>
                    <a:lnTo>
                      <a:pt x="1373" y="1655"/>
                    </a:lnTo>
                    <a:lnTo>
                      <a:pt x="1372" y="1655"/>
                    </a:lnTo>
                    <a:lnTo>
                      <a:pt x="1370" y="1655"/>
                    </a:lnTo>
                    <a:lnTo>
                      <a:pt x="1368" y="1657"/>
                    </a:lnTo>
                    <a:lnTo>
                      <a:pt x="1366" y="1657"/>
                    </a:lnTo>
                    <a:lnTo>
                      <a:pt x="1368" y="1655"/>
                    </a:lnTo>
                    <a:lnTo>
                      <a:pt x="1368" y="1653"/>
                    </a:lnTo>
                    <a:lnTo>
                      <a:pt x="1370" y="1653"/>
                    </a:lnTo>
                    <a:lnTo>
                      <a:pt x="1368" y="1653"/>
                    </a:lnTo>
                    <a:lnTo>
                      <a:pt x="1370" y="1653"/>
                    </a:lnTo>
                    <a:lnTo>
                      <a:pt x="1370" y="1652"/>
                    </a:lnTo>
                    <a:lnTo>
                      <a:pt x="1370" y="1650"/>
                    </a:lnTo>
                    <a:lnTo>
                      <a:pt x="1370" y="1648"/>
                    </a:lnTo>
                    <a:lnTo>
                      <a:pt x="1372" y="1648"/>
                    </a:lnTo>
                    <a:lnTo>
                      <a:pt x="1372" y="1646"/>
                    </a:lnTo>
                    <a:lnTo>
                      <a:pt x="1370" y="1646"/>
                    </a:lnTo>
                    <a:lnTo>
                      <a:pt x="1372" y="1645"/>
                    </a:lnTo>
                    <a:lnTo>
                      <a:pt x="1373" y="1643"/>
                    </a:lnTo>
                    <a:lnTo>
                      <a:pt x="1372" y="1643"/>
                    </a:lnTo>
                    <a:lnTo>
                      <a:pt x="1372" y="1645"/>
                    </a:lnTo>
                    <a:lnTo>
                      <a:pt x="1370" y="1645"/>
                    </a:lnTo>
                    <a:lnTo>
                      <a:pt x="1370" y="1646"/>
                    </a:lnTo>
                    <a:lnTo>
                      <a:pt x="1370" y="1645"/>
                    </a:lnTo>
                    <a:lnTo>
                      <a:pt x="1368" y="1646"/>
                    </a:lnTo>
                    <a:lnTo>
                      <a:pt x="1368" y="1645"/>
                    </a:lnTo>
                    <a:lnTo>
                      <a:pt x="1368" y="1646"/>
                    </a:lnTo>
                    <a:lnTo>
                      <a:pt x="1366" y="1646"/>
                    </a:lnTo>
                    <a:lnTo>
                      <a:pt x="1368" y="1646"/>
                    </a:lnTo>
                    <a:lnTo>
                      <a:pt x="1366" y="1648"/>
                    </a:lnTo>
                    <a:lnTo>
                      <a:pt x="1366" y="1650"/>
                    </a:lnTo>
                    <a:lnTo>
                      <a:pt x="1366" y="1648"/>
                    </a:lnTo>
                    <a:lnTo>
                      <a:pt x="1365" y="1650"/>
                    </a:lnTo>
                    <a:lnTo>
                      <a:pt x="1365" y="1648"/>
                    </a:lnTo>
                    <a:lnTo>
                      <a:pt x="1363" y="1648"/>
                    </a:lnTo>
                    <a:lnTo>
                      <a:pt x="1363" y="1646"/>
                    </a:lnTo>
                    <a:lnTo>
                      <a:pt x="1361" y="1645"/>
                    </a:lnTo>
                    <a:lnTo>
                      <a:pt x="1361" y="1643"/>
                    </a:lnTo>
                    <a:lnTo>
                      <a:pt x="1361" y="1645"/>
                    </a:lnTo>
                    <a:lnTo>
                      <a:pt x="1361" y="1646"/>
                    </a:lnTo>
                    <a:lnTo>
                      <a:pt x="1363" y="1648"/>
                    </a:lnTo>
                    <a:lnTo>
                      <a:pt x="1361" y="1648"/>
                    </a:lnTo>
                    <a:lnTo>
                      <a:pt x="1360" y="1646"/>
                    </a:lnTo>
                    <a:lnTo>
                      <a:pt x="1360" y="1648"/>
                    </a:lnTo>
                    <a:lnTo>
                      <a:pt x="1360" y="1646"/>
                    </a:lnTo>
                    <a:lnTo>
                      <a:pt x="1358" y="1646"/>
                    </a:lnTo>
                    <a:lnTo>
                      <a:pt x="1360" y="1646"/>
                    </a:lnTo>
                    <a:lnTo>
                      <a:pt x="1358" y="1646"/>
                    </a:lnTo>
                    <a:lnTo>
                      <a:pt x="1358" y="1645"/>
                    </a:lnTo>
                    <a:lnTo>
                      <a:pt x="1358" y="1643"/>
                    </a:lnTo>
                    <a:lnTo>
                      <a:pt x="1356" y="1645"/>
                    </a:lnTo>
                    <a:lnTo>
                      <a:pt x="1356" y="1646"/>
                    </a:lnTo>
                    <a:lnTo>
                      <a:pt x="1358" y="1646"/>
                    </a:lnTo>
                    <a:lnTo>
                      <a:pt x="1358" y="1648"/>
                    </a:lnTo>
                    <a:lnTo>
                      <a:pt x="1356" y="1648"/>
                    </a:lnTo>
                    <a:lnTo>
                      <a:pt x="1356" y="1646"/>
                    </a:lnTo>
                    <a:lnTo>
                      <a:pt x="1356" y="1648"/>
                    </a:lnTo>
                    <a:lnTo>
                      <a:pt x="1355" y="1646"/>
                    </a:lnTo>
                    <a:lnTo>
                      <a:pt x="1355" y="1648"/>
                    </a:lnTo>
                    <a:lnTo>
                      <a:pt x="1356" y="1648"/>
                    </a:lnTo>
                    <a:lnTo>
                      <a:pt x="1358" y="1648"/>
                    </a:lnTo>
                    <a:lnTo>
                      <a:pt x="1358" y="1650"/>
                    </a:lnTo>
                    <a:lnTo>
                      <a:pt x="1356" y="1650"/>
                    </a:lnTo>
                    <a:lnTo>
                      <a:pt x="1356" y="1652"/>
                    </a:lnTo>
                    <a:lnTo>
                      <a:pt x="1355" y="1650"/>
                    </a:lnTo>
                    <a:lnTo>
                      <a:pt x="1353" y="1650"/>
                    </a:lnTo>
                    <a:lnTo>
                      <a:pt x="1355" y="1650"/>
                    </a:lnTo>
                    <a:lnTo>
                      <a:pt x="1353" y="1650"/>
                    </a:lnTo>
                    <a:lnTo>
                      <a:pt x="1351" y="1650"/>
                    </a:lnTo>
                    <a:lnTo>
                      <a:pt x="1353" y="1650"/>
                    </a:lnTo>
                    <a:lnTo>
                      <a:pt x="1351" y="1648"/>
                    </a:lnTo>
                    <a:lnTo>
                      <a:pt x="1351" y="1650"/>
                    </a:lnTo>
                    <a:lnTo>
                      <a:pt x="1351" y="1652"/>
                    </a:lnTo>
                    <a:lnTo>
                      <a:pt x="1351" y="1650"/>
                    </a:lnTo>
                    <a:lnTo>
                      <a:pt x="1353" y="1650"/>
                    </a:lnTo>
                    <a:lnTo>
                      <a:pt x="1355" y="1652"/>
                    </a:lnTo>
                    <a:lnTo>
                      <a:pt x="1356" y="1652"/>
                    </a:lnTo>
                    <a:lnTo>
                      <a:pt x="1355" y="1652"/>
                    </a:lnTo>
                    <a:lnTo>
                      <a:pt x="1355" y="1653"/>
                    </a:lnTo>
                    <a:lnTo>
                      <a:pt x="1356" y="1653"/>
                    </a:lnTo>
                    <a:lnTo>
                      <a:pt x="1356" y="1655"/>
                    </a:lnTo>
                    <a:lnTo>
                      <a:pt x="1356" y="1657"/>
                    </a:lnTo>
                    <a:lnTo>
                      <a:pt x="1358" y="1655"/>
                    </a:lnTo>
                    <a:lnTo>
                      <a:pt x="1358" y="1657"/>
                    </a:lnTo>
                    <a:lnTo>
                      <a:pt x="1360" y="1658"/>
                    </a:lnTo>
                    <a:lnTo>
                      <a:pt x="1358" y="1658"/>
                    </a:lnTo>
                    <a:lnTo>
                      <a:pt x="1356" y="1658"/>
                    </a:lnTo>
                    <a:lnTo>
                      <a:pt x="1356" y="1660"/>
                    </a:lnTo>
                    <a:lnTo>
                      <a:pt x="1358" y="1658"/>
                    </a:lnTo>
                    <a:lnTo>
                      <a:pt x="1358" y="1660"/>
                    </a:lnTo>
                    <a:lnTo>
                      <a:pt x="1356" y="1660"/>
                    </a:lnTo>
                    <a:lnTo>
                      <a:pt x="1358" y="1660"/>
                    </a:lnTo>
                    <a:lnTo>
                      <a:pt x="1360" y="1660"/>
                    </a:lnTo>
                    <a:lnTo>
                      <a:pt x="1358" y="1662"/>
                    </a:lnTo>
                    <a:lnTo>
                      <a:pt x="1360" y="1660"/>
                    </a:lnTo>
                    <a:lnTo>
                      <a:pt x="1360" y="1662"/>
                    </a:lnTo>
                    <a:lnTo>
                      <a:pt x="1360" y="1660"/>
                    </a:lnTo>
                    <a:lnTo>
                      <a:pt x="1361" y="1660"/>
                    </a:lnTo>
                    <a:lnTo>
                      <a:pt x="1363" y="1660"/>
                    </a:lnTo>
                    <a:lnTo>
                      <a:pt x="1363" y="1662"/>
                    </a:lnTo>
                    <a:lnTo>
                      <a:pt x="1361" y="1660"/>
                    </a:lnTo>
                    <a:lnTo>
                      <a:pt x="1360" y="1660"/>
                    </a:lnTo>
                    <a:lnTo>
                      <a:pt x="1361" y="1662"/>
                    </a:lnTo>
                    <a:lnTo>
                      <a:pt x="1360" y="1662"/>
                    </a:lnTo>
                    <a:lnTo>
                      <a:pt x="1361" y="1662"/>
                    </a:lnTo>
                    <a:lnTo>
                      <a:pt x="1363" y="1662"/>
                    </a:lnTo>
                    <a:lnTo>
                      <a:pt x="1361" y="1663"/>
                    </a:lnTo>
                    <a:lnTo>
                      <a:pt x="1360" y="1663"/>
                    </a:lnTo>
                    <a:lnTo>
                      <a:pt x="1360" y="1662"/>
                    </a:lnTo>
                    <a:lnTo>
                      <a:pt x="1360" y="1663"/>
                    </a:lnTo>
                    <a:lnTo>
                      <a:pt x="1360" y="1662"/>
                    </a:lnTo>
                    <a:lnTo>
                      <a:pt x="1358" y="1662"/>
                    </a:lnTo>
                    <a:lnTo>
                      <a:pt x="1358" y="1663"/>
                    </a:lnTo>
                    <a:lnTo>
                      <a:pt x="1356" y="1663"/>
                    </a:lnTo>
                    <a:lnTo>
                      <a:pt x="1355" y="1663"/>
                    </a:lnTo>
                    <a:lnTo>
                      <a:pt x="1355" y="1662"/>
                    </a:lnTo>
                    <a:lnTo>
                      <a:pt x="1355" y="1660"/>
                    </a:lnTo>
                    <a:lnTo>
                      <a:pt x="1355" y="1658"/>
                    </a:lnTo>
                    <a:lnTo>
                      <a:pt x="1355" y="1660"/>
                    </a:lnTo>
                    <a:lnTo>
                      <a:pt x="1353" y="1660"/>
                    </a:lnTo>
                    <a:lnTo>
                      <a:pt x="1355" y="1660"/>
                    </a:lnTo>
                    <a:lnTo>
                      <a:pt x="1355" y="1662"/>
                    </a:lnTo>
                    <a:lnTo>
                      <a:pt x="1353" y="1662"/>
                    </a:lnTo>
                    <a:lnTo>
                      <a:pt x="1355" y="1662"/>
                    </a:lnTo>
                    <a:lnTo>
                      <a:pt x="1353" y="1662"/>
                    </a:lnTo>
                    <a:lnTo>
                      <a:pt x="1353" y="1663"/>
                    </a:lnTo>
                    <a:lnTo>
                      <a:pt x="1353" y="1665"/>
                    </a:lnTo>
                    <a:lnTo>
                      <a:pt x="1351" y="1663"/>
                    </a:lnTo>
                    <a:lnTo>
                      <a:pt x="1353" y="1662"/>
                    </a:lnTo>
                    <a:lnTo>
                      <a:pt x="1351" y="1660"/>
                    </a:lnTo>
                    <a:lnTo>
                      <a:pt x="1351" y="1658"/>
                    </a:lnTo>
                    <a:lnTo>
                      <a:pt x="1349" y="1658"/>
                    </a:lnTo>
                    <a:lnTo>
                      <a:pt x="1349" y="1657"/>
                    </a:lnTo>
                    <a:lnTo>
                      <a:pt x="1351" y="1657"/>
                    </a:lnTo>
                    <a:lnTo>
                      <a:pt x="1353" y="1657"/>
                    </a:lnTo>
                    <a:lnTo>
                      <a:pt x="1351" y="1657"/>
                    </a:lnTo>
                    <a:lnTo>
                      <a:pt x="1349" y="1657"/>
                    </a:lnTo>
                    <a:lnTo>
                      <a:pt x="1349" y="1655"/>
                    </a:lnTo>
                    <a:lnTo>
                      <a:pt x="1351" y="1655"/>
                    </a:lnTo>
                    <a:lnTo>
                      <a:pt x="1349" y="1655"/>
                    </a:lnTo>
                    <a:lnTo>
                      <a:pt x="1348" y="1657"/>
                    </a:lnTo>
                    <a:lnTo>
                      <a:pt x="1346" y="1657"/>
                    </a:lnTo>
                    <a:lnTo>
                      <a:pt x="1344" y="1657"/>
                    </a:lnTo>
                    <a:lnTo>
                      <a:pt x="1344" y="1655"/>
                    </a:lnTo>
                    <a:lnTo>
                      <a:pt x="1346" y="1655"/>
                    </a:lnTo>
                    <a:lnTo>
                      <a:pt x="1348" y="1653"/>
                    </a:lnTo>
                    <a:lnTo>
                      <a:pt x="1346" y="1655"/>
                    </a:lnTo>
                    <a:lnTo>
                      <a:pt x="1346" y="1653"/>
                    </a:lnTo>
                    <a:lnTo>
                      <a:pt x="1344" y="1653"/>
                    </a:lnTo>
                    <a:lnTo>
                      <a:pt x="1344" y="1655"/>
                    </a:lnTo>
                    <a:lnTo>
                      <a:pt x="1343" y="1655"/>
                    </a:lnTo>
                    <a:lnTo>
                      <a:pt x="1343" y="1653"/>
                    </a:lnTo>
                    <a:lnTo>
                      <a:pt x="1344" y="1653"/>
                    </a:lnTo>
                    <a:lnTo>
                      <a:pt x="1344" y="1652"/>
                    </a:lnTo>
                    <a:lnTo>
                      <a:pt x="1343" y="1653"/>
                    </a:lnTo>
                    <a:lnTo>
                      <a:pt x="1341" y="1653"/>
                    </a:lnTo>
                    <a:lnTo>
                      <a:pt x="1339" y="1653"/>
                    </a:lnTo>
                    <a:lnTo>
                      <a:pt x="1338" y="1653"/>
                    </a:lnTo>
                    <a:lnTo>
                      <a:pt x="1339" y="1653"/>
                    </a:lnTo>
                    <a:lnTo>
                      <a:pt x="1339" y="1652"/>
                    </a:lnTo>
                    <a:lnTo>
                      <a:pt x="1341" y="1652"/>
                    </a:lnTo>
                    <a:lnTo>
                      <a:pt x="1339" y="1650"/>
                    </a:lnTo>
                    <a:lnTo>
                      <a:pt x="1341" y="1650"/>
                    </a:lnTo>
                    <a:lnTo>
                      <a:pt x="1343" y="1650"/>
                    </a:lnTo>
                    <a:lnTo>
                      <a:pt x="1344" y="1650"/>
                    </a:lnTo>
                    <a:lnTo>
                      <a:pt x="1346" y="1650"/>
                    </a:lnTo>
                    <a:lnTo>
                      <a:pt x="1348" y="1650"/>
                    </a:lnTo>
                    <a:lnTo>
                      <a:pt x="1346" y="1650"/>
                    </a:lnTo>
                    <a:lnTo>
                      <a:pt x="1344" y="1650"/>
                    </a:lnTo>
                    <a:lnTo>
                      <a:pt x="1343" y="1650"/>
                    </a:lnTo>
                    <a:lnTo>
                      <a:pt x="1344" y="1650"/>
                    </a:lnTo>
                    <a:lnTo>
                      <a:pt x="1344" y="1648"/>
                    </a:lnTo>
                    <a:lnTo>
                      <a:pt x="1343" y="1650"/>
                    </a:lnTo>
                    <a:lnTo>
                      <a:pt x="1343" y="1648"/>
                    </a:lnTo>
                    <a:lnTo>
                      <a:pt x="1344" y="1646"/>
                    </a:lnTo>
                    <a:lnTo>
                      <a:pt x="1346" y="1646"/>
                    </a:lnTo>
                    <a:lnTo>
                      <a:pt x="1348" y="1646"/>
                    </a:lnTo>
                    <a:lnTo>
                      <a:pt x="1348" y="1645"/>
                    </a:lnTo>
                    <a:lnTo>
                      <a:pt x="1349" y="1645"/>
                    </a:lnTo>
                    <a:lnTo>
                      <a:pt x="1349" y="1643"/>
                    </a:lnTo>
                    <a:lnTo>
                      <a:pt x="1348" y="1645"/>
                    </a:lnTo>
                    <a:lnTo>
                      <a:pt x="1346" y="1645"/>
                    </a:lnTo>
                    <a:lnTo>
                      <a:pt x="1344" y="1646"/>
                    </a:lnTo>
                    <a:lnTo>
                      <a:pt x="1343" y="1646"/>
                    </a:lnTo>
                    <a:lnTo>
                      <a:pt x="1343" y="1648"/>
                    </a:lnTo>
                    <a:lnTo>
                      <a:pt x="1341" y="1648"/>
                    </a:lnTo>
                    <a:lnTo>
                      <a:pt x="1339" y="1648"/>
                    </a:lnTo>
                    <a:lnTo>
                      <a:pt x="1339" y="1650"/>
                    </a:lnTo>
                    <a:lnTo>
                      <a:pt x="1338" y="1650"/>
                    </a:lnTo>
                    <a:lnTo>
                      <a:pt x="1336" y="1650"/>
                    </a:lnTo>
                    <a:lnTo>
                      <a:pt x="1334" y="1650"/>
                    </a:lnTo>
                    <a:lnTo>
                      <a:pt x="1336" y="1648"/>
                    </a:lnTo>
                    <a:lnTo>
                      <a:pt x="1334" y="1648"/>
                    </a:lnTo>
                    <a:lnTo>
                      <a:pt x="1332" y="1648"/>
                    </a:lnTo>
                    <a:lnTo>
                      <a:pt x="1332" y="1646"/>
                    </a:lnTo>
                    <a:lnTo>
                      <a:pt x="1334" y="1648"/>
                    </a:lnTo>
                    <a:lnTo>
                      <a:pt x="1336" y="1646"/>
                    </a:lnTo>
                    <a:lnTo>
                      <a:pt x="1334" y="1645"/>
                    </a:lnTo>
                    <a:lnTo>
                      <a:pt x="1332" y="1645"/>
                    </a:lnTo>
                    <a:lnTo>
                      <a:pt x="1331" y="1645"/>
                    </a:lnTo>
                    <a:lnTo>
                      <a:pt x="1332" y="1645"/>
                    </a:lnTo>
                    <a:lnTo>
                      <a:pt x="1334" y="1645"/>
                    </a:lnTo>
                    <a:lnTo>
                      <a:pt x="1336" y="1645"/>
                    </a:lnTo>
                    <a:lnTo>
                      <a:pt x="1338" y="1645"/>
                    </a:lnTo>
                    <a:lnTo>
                      <a:pt x="1336" y="1643"/>
                    </a:lnTo>
                    <a:lnTo>
                      <a:pt x="1336" y="1645"/>
                    </a:lnTo>
                    <a:lnTo>
                      <a:pt x="1334" y="1645"/>
                    </a:lnTo>
                    <a:lnTo>
                      <a:pt x="1332" y="1643"/>
                    </a:lnTo>
                    <a:lnTo>
                      <a:pt x="1334" y="1643"/>
                    </a:lnTo>
                    <a:lnTo>
                      <a:pt x="1332" y="1643"/>
                    </a:lnTo>
                    <a:lnTo>
                      <a:pt x="1331" y="1643"/>
                    </a:lnTo>
                    <a:lnTo>
                      <a:pt x="1331" y="1641"/>
                    </a:lnTo>
                    <a:lnTo>
                      <a:pt x="1331" y="1640"/>
                    </a:lnTo>
                    <a:lnTo>
                      <a:pt x="1332" y="1640"/>
                    </a:lnTo>
                    <a:lnTo>
                      <a:pt x="1332" y="1641"/>
                    </a:lnTo>
                    <a:lnTo>
                      <a:pt x="1334" y="1641"/>
                    </a:lnTo>
                    <a:lnTo>
                      <a:pt x="1332" y="1641"/>
                    </a:lnTo>
                    <a:lnTo>
                      <a:pt x="1332" y="1640"/>
                    </a:lnTo>
                    <a:lnTo>
                      <a:pt x="1334" y="1640"/>
                    </a:lnTo>
                    <a:lnTo>
                      <a:pt x="1334" y="1638"/>
                    </a:lnTo>
                    <a:lnTo>
                      <a:pt x="1336" y="1638"/>
                    </a:lnTo>
                    <a:lnTo>
                      <a:pt x="1338" y="1638"/>
                    </a:lnTo>
                    <a:lnTo>
                      <a:pt x="1339" y="1638"/>
                    </a:lnTo>
                    <a:lnTo>
                      <a:pt x="1339" y="1636"/>
                    </a:lnTo>
                    <a:lnTo>
                      <a:pt x="1341" y="1636"/>
                    </a:lnTo>
                    <a:lnTo>
                      <a:pt x="1343" y="1636"/>
                    </a:lnTo>
                    <a:lnTo>
                      <a:pt x="1343" y="1638"/>
                    </a:lnTo>
                    <a:lnTo>
                      <a:pt x="1343" y="1636"/>
                    </a:lnTo>
                    <a:lnTo>
                      <a:pt x="1344" y="1636"/>
                    </a:lnTo>
                    <a:lnTo>
                      <a:pt x="1346" y="1636"/>
                    </a:lnTo>
                    <a:lnTo>
                      <a:pt x="1346" y="1638"/>
                    </a:lnTo>
                    <a:lnTo>
                      <a:pt x="1346" y="1640"/>
                    </a:lnTo>
                    <a:lnTo>
                      <a:pt x="1348" y="1640"/>
                    </a:lnTo>
                    <a:lnTo>
                      <a:pt x="1346" y="1640"/>
                    </a:lnTo>
                    <a:lnTo>
                      <a:pt x="1348" y="1641"/>
                    </a:lnTo>
                    <a:lnTo>
                      <a:pt x="1348" y="1643"/>
                    </a:lnTo>
                    <a:lnTo>
                      <a:pt x="1346" y="1643"/>
                    </a:lnTo>
                    <a:lnTo>
                      <a:pt x="1348" y="1641"/>
                    </a:lnTo>
                    <a:lnTo>
                      <a:pt x="1348" y="1640"/>
                    </a:lnTo>
                    <a:lnTo>
                      <a:pt x="1348" y="1638"/>
                    </a:lnTo>
                    <a:lnTo>
                      <a:pt x="1346" y="1638"/>
                    </a:lnTo>
                    <a:lnTo>
                      <a:pt x="1348" y="1638"/>
                    </a:lnTo>
                    <a:lnTo>
                      <a:pt x="1346" y="1636"/>
                    </a:lnTo>
                    <a:lnTo>
                      <a:pt x="1346" y="1635"/>
                    </a:lnTo>
                    <a:lnTo>
                      <a:pt x="1348" y="1635"/>
                    </a:lnTo>
                    <a:lnTo>
                      <a:pt x="1349" y="1635"/>
                    </a:lnTo>
                    <a:lnTo>
                      <a:pt x="1351" y="1635"/>
                    </a:lnTo>
                    <a:lnTo>
                      <a:pt x="1351" y="1636"/>
                    </a:lnTo>
                    <a:lnTo>
                      <a:pt x="1349" y="1636"/>
                    </a:lnTo>
                    <a:lnTo>
                      <a:pt x="1351" y="1636"/>
                    </a:lnTo>
                    <a:lnTo>
                      <a:pt x="1353" y="1636"/>
                    </a:lnTo>
                    <a:lnTo>
                      <a:pt x="1355" y="1636"/>
                    </a:lnTo>
                    <a:lnTo>
                      <a:pt x="1353" y="1636"/>
                    </a:lnTo>
                    <a:lnTo>
                      <a:pt x="1353" y="1635"/>
                    </a:lnTo>
                    <a:lnTo>
                      <a:pt x="1353" y="1633"/>
                    </a:lnTo>
                    <a:lnTo>
                      <a:pt x="1355" y="1633"/>
                    </a:lnTo>
                    <a:lnTo>
                      <a:pt x="1356" y="1633"/>
                    </a:lnTo>
                    <a:lnTo>
                      <a:pt x="1358" y="1633"/>
                    </a:lnTo>
                    <a:lnTo>
                      <a:pt x="1358" y="1635"/>
                    </a:lnTo>
                    <a:lnTo>
                      <a:pt x="1360" y="1635"/>
                    </a:lnTo>
                    <a:lnTo>
                      <a:pt x="1358" y="1635"/>
                    </a:lnTo>
                    <a:lnTo>
                      <a:pt x="1358" y="1633"/>
                    </a:lnTo>
                    <a:lnTo>
                      <a:pt x="1360" y="1633"/>
                    </a:lnTo>
                    <a:lnTo>
                      <a:pt x="1361" y="1631"/>
                    </a:lnTo>
                    <a:lnTo>
                      <a:pt x="1361" y="1633"/>
                    </a:lnTo>
                    <a:lnTo>
                      <a:pt x="1363" y="1631"/>
                    </a:lnTo>
                    <a:lnTo>
                      <a:pt x="1363" y="1633"/>
                    </a:lnTo>
                    <a:lnTo>
                      <a:pt x="1365" y="1633"/>
                    </a:lnTo>
                    <a:lnTo>
                      <a:pt x="1365" y="1631"/>
                    </a:lnTo>
                    <a:lnTo>
                      <a:pt x="1366" y="1631"/>
                    </a:lnTo>
                    <a:lnTo>
                      <a:pt x="1368" y="1631"/>
                    </a:lnTo>
                    <a:lnTo>
                      <a:pt x="1370" y="1631"/>
                    </a:lnTo>
                    <a:lnTo>
                      <a:pt x="1372" y="1631"/>
                    </a:lnTo>
                    <a:lnTo>
                      <a:pt x="1373" y="1631"/>
                    </a:lnTo>
                    <a:lnTo>
                      <a:pt x="1373" y="1629"/>
                    </a:lnTo>
                    <a:lnTo>
                      <a:pt x="1375" y="1629"/>
                    </a:lnTo>
                    <a:lnTo>
                      <a:pt x="1377" y="1629"/>
                    </a:lnTo>
                    <a:lnTo>
                      <a:pt x="1378" y="1629"/>
                    </a:lnTo>
                    <a:lnTo>
                      <a:pt x="1380" y="1628"/>
                    </a:lnTo>
                    <a:lnTo>
                      <a:pt x="1382" y="1628"/>
                    </a:lnTo>
                    <a:close/>
                    <a:moveTo>
                      <a:pt x="1229" y="1539"/>
                    </a:moveTo>
                    <a:lnTo>
                      <a:pt x="1230" y="1539"/>
                    </a:lnTo>
                    <a:lnTo>
                      <a:pt x="1229" y="1541"/>
                    </a:lnTo>
                    <a:lnTo>
                      <a:pt x="1229" y="1543"/>
                    </a:lnTo>
                    <a:lnTo>
                      <a:pt x="1229" y="1541"/>
                    </a:lnTo>
                    <a:lnTo>
                      <a:pt x="1230" y="1541"/>
                    </a:lnTo>
                    <a:lnTo>
                      <a:pt x="1230" y="1543"/>
                    </a:lnTo>
                    <a:lnTo>
                      <a:pt x="1229" y="1544"/>
                    </a:lnTo>
                    <a:lnTo>
                      <a:pt x="1230" y="1544"/>
                    </a:lnTo>
                    <a:lnTo>
                      <a:pt x="1230" y="1546"/>
                    </a:lnTo>
                    <a:lnTo>
                      <a:pt x="1230" y="1544"/>
                    </a:lnTo>
                    <a:lnTo>
                      <a:pt x="1230" y="1543"/>
                    </a:lnTo>
                    <a:lnTo>
                      <a:pt x="1230" y="1541"/>
                    </a:lnTo>
                    <a:lnTo>
                      <a:pt x="1230" y="1539"/>
                    </a:lnTo>
                    <a:lnTo>
                      <a:pt x="1230" y="1541"/>
                    </a:lnTo>
                    <a:lnTo>
                      <a:pt x="1232" y="1541"/>
                    </a:lnTo>
                    <a:lnTo>
                      <a:pt x="1232" y="1543"/>
                    </a:lnTo>
                    <a:lnTo>
                      <a:pt x="1232" y="1541"/>
                    </a:lnTo>
                    <a:lnTo>
                      <a:pt x="1234" y="1543"/>
                    </a:lnTo>
                    <a:lnTo>
                      <a:pt x="1232" y="1543"/>
                    </a:lnTo>
                    <a:lnTo>
                      <a:pt x="1234" y="1543"/>
                    </a:lnTo>
                    <a:lnTo>
                      <a:pt x="1234" y="1544"/>
                    </a:lnTo>
                    <a:lnTo>
                      <a:pt x="1232" y="1544"/>
                    </a:lnTo>
                    <a:lnTo>
                      <a:pt x="1232" y="1546"/>
                    </a:lnTo>
                    <a:lnTo>
                      <a:pt x="1232" y="1548"/>
                    </a:lnTo>
                    <a:lnTo>
                      <a:pt x="1234" y="1546"/>
                    </a:lnTo>
                    <a:lnTo>
                      <a:pt x="1232" y="1546"/>
                    </a:lnTo>
                    <a:lnTo>
                      <a:pt x="1234" y="1544"/>
                    </a:lnTo>
                    <a:lnTo>
                      <a:pt x="1234" y="1546"/>
                    </a:lnTo>
                    <a:lnTo>
                      <a:pt x="1236" y="1546"/>
                    </a:lnTo>
                    <a:lnTo>
                      <a:pt x="1234" y="1548"/>
                    </a:lnTo>
                    <a:lnTo>
                      <a:pt x="1232" y="1548"/>
                    </a:lnTo>
                    <a:lnTo>
                      <a:pt x="1234" y="1548"/>
                    </a:lnTo>
                    <a:lnTo>
                      <a:pt x="1236" y="1548"/>
                    </a:lnTo>
                    <a:lnTo>
                      <a:pt x="1234" y="1548"/>
                    </a:lnTo>
                    <a:lnTo>
                      <a:pt x="1234" y="1549"/>
                    </a:lnTo>
                    <a:lnTo>
                      <a:pt x="1236" y="1549"/>
                    </a:lnTo>
                    <a:lnTo>
                      <a:pt x="1234" y="1551"/>
                    </a:lnTo>
                    <a:lnTo>
                      <a:pt x="1234" y="1553"/>
                    </a:lnTo>
                    <a:lnTo>
                      <a:pt x="1234" y="1555"/>
                    </a:lnTo>
                    <a:lnTo>
                      <a:pt x="1236" y="1555"/>
                    </a:lnTo>
                    <a:lnTo>
                      <a:pt x="1236" y="1553"/>
                    </a:lnTo>
                    <a:lnTo>
                      <a:pt x="1234" y="1553"/>
                    </a:lnTo>
                    <a:lnTo>
                      <a:pt x="1236" y="1551"/>
                    </a:lnTo>
                    <a:lnTo>
                      <a:pt x="1236" y="1549"/>
                    </a:lnTo>
                    <a:lnTo>
                      <a:pt x="1237" y="1549"/>
                    </a:lnTo>
                    <a:lnTo>
                      <a:pt x="1236" y="1548"/>
                    </a:lnTo>
                    <a:lnTo>
                      <a:pt x="1236" y="1546"/>
                    </a:lnTo>
                    <a:lnTo>
                      <a:pt x="1236" y="1544"/>
                    </a:lnTo>
                    <a:lnTo>
                      <a:pt x="1234" y="1543"/>
                    </a:lnTo>
                    <a:lnTo>
                      <a:pt x="1236" y="1543"/>
                    </a:lnTo>
                    <a:lnTo>
                      <a:pt x="1237" y="1544"/>
                    </a:lnTo>
                    <a:lnTo>
                      <a:pt x="1237" y="1546"/>
                    </a:lnTo>
                    <a:lnTo>
                      <a:pt x="1239" y="1546"/>
                    </a:lnTo>
                    <a:lnTo>
                      <a:pt x="1239" y="1548"/>
                    </a:lnTo>
                    <a:lnTo>
                      <a:pt x="1239" y="1549"/>
                    </a:lnTo>
                    <a:lnTo>
                      <a:pt x="1241" y="1551"/>
                    </a:lnTo>
                    <a:lnTo>
                      <a:pt x="1239" y="1551"/>
                    </a:lnTo>
                    <a:lnTo>
                      <a:pt x="1239" y="1553"/>
                    </a:lnTo>
                    <a:lnTo>
                      <a:pt x="1241" y="1551"/>
                    </a:lnTo>
                    <a:lnTo>
                      <a:pt x="1241" y="1553"/>
                    </a:lnTo>
                    <a:lnTo>
                      <a:pt x="1241" y="1555"/>
                    </a:lnTo>
                    <a:lnTo>
                      <a:pt x="1242" y="1553"/>
                    </a:lnTo>
                    <a:lnTo>
                      <a:pt x="1242" y="1551"/>
                    </a:lnTo>
                    <a:lnTo>
                      <a:pt x="1242" y="1549"/>
                    </a:lnTo>
                    <a:lnTo>
                      <a:pt x="1241" y="1549"/>
                    </a:lnTo>
                    <a:lnTo>
                      <a:pt x="1241" y="1548"/>
                    </a:lnTo>
                    <a:lnTo>
                      <a:pt x="1242" y="1548"/>
                    </a:lnTo>
                    <a:lnTo>
                      <a:pt x="1242" y="1549"/>
                    </a:lnTo>
                    <a:lnTo>
                      <a:pt x="1242" y="1548"/>
                    </a:lnTo>
                    <a:lnTo>
                      <a:pt x="1244" y="1549"/>
                    </a:lnTo>
                    <a:lnTo>
                      <a:pt x="1246" y="1549"/>
                    </a:lnTo>
                    <a:lnTo>
                      <a:pt x="1247" y="1549"/>
                    </a:lnTo>
                    <a:lnTo>
                      <a:pt x="1247" y="1551"/>
                    </a:lnTo>
                    <a:lnTo>
                      <a:pt x="1249" y="1551"/>
                    </a:lnTo>
                    <a:lnTo>
                      <a:pt x="1247" y="1553"/>
                    </a:lnTo>
                    <a:lnTo>
                      <a:pt x="1249" y="1553"/>
                    </a:lnTo>
                    <a:lnTo>
                      <a:pt x="1249" y="1551"/>
                    </a:lnTo>
                    <a:lnTo>
                      <a:pt x="1249" y="1553"/>
                    </a:lnTo>
                    <a:lnTo>
                      <a:pt x="1251" y="1553"/>
                    </a:lnTo>
                    <a:lnTo>
                      <a:pt x="1249" y="1555"/>
                    </a:lnTo>
                    <a:lnTo>
                      <a:pt x="1247" y="1555"/>
                    </a:lnTo>
                    <a:lnTo>
                      <a:pt x="1246" y="1555"/>
                    </a:lnTo>
                    <a:lnTo>
                      <a:pt x="1244" y="1555"/>
                    </a:lnTo>
                    <a:lnTo>
                      <a:pt x="1242" y="1555"/>
                    </a:lnTo>
                    <a:lnTo>
                      <a:pt x="1242" y="1556"/>
                    </a:lnTo>
                    <a:lnTo>
                      <a:pt x="1242" y="1558"/>
                    </a:lnTo>
                    <a:lnTo>
                      <a:pt x="1244" y="1558"/>
                    </a:lnTo>
                    <a:lnTo>
                      <a:pt x="1242" y="1558"/>
                    </a:lnTo>
                    <a:lnTo>
                      <a:pt x="1244" y="1558"/>
                    </a:lnTo>
                    <a:lnTo>
                      <a:pt x="1246" y="1558"/>
                    </a:lnTo>
                    <a:lnTo>
                      <a:pt x="1244" y="1558"/>
                    </a:lnTo>
                    <a:lnTo>
                      <a:pt x="1242" y="1558"/>
                    </a:lnTo>
                    <a:lnTo>
                      <a:pt x="1244" y="1556"/>
                    </a:lnTo>
                    <a:lnTo>
                      <a:pt x="1246" y="1556"/>
                    </a:lnTo>
                    <a:lnTo>
                      <a:pt x="1247" y="1555"/>
                    </a:lnTo>
                    <a:lnTo>
                      <a:pt x="1247" y="1556"/>
                    </a:lnTo>
                    <a:lnTo>
                      <a:pt x="1249" y="1556"/>
                    </a:lnTo>
                    <a:lnTo>
                      <a:pt x="1247" y="1556"/>
                    </a:lnTo>
                    <a:lnTo>
                      <a:pt x="1249" y="1556"/>
                    </a:lnTo>
                    <a:lnTo>
                      <a:pt x="1249" y="1558"/>
                    </a:lnTo>
                    <a:lnTo>
                      <a:pt x="1247" y="1558"/>
                    </a:lnTo>
                    <a:lnTo>
                      <a:pt x="1249" y="1558"/>
                    </a:lnTo>
                    <a:lnTo>
                      <a:pt x="1247" y="1558"/>
                    </a:lnTo>
                    <a:lnTo>
                      <a:pt x="1247" y="1560"/>
                    </a:lnTo>
                    <a:lnTo>
                      <a:pt x="1249" y="1560"/>
                    </a:lnTo>
                    <a:lnTo>
                      <a:pt x="1249" y="1558"/>
                    </a:lnTo>
                    <a:lnTo>
                      <a:pt x="1249" y="1556"/>
                    </a:lnTo>
                    <a:lnTo>
                      <a:pt x="1251" y="1556"/>
                    </a:lnTo>
                    <a:lnTo>
                      <a:pt x="1253" y="1556"/>
                    </a:lnTo>
                    <a:lnTo>
                      <a:pt x="1251" y="1558"/>
                    </a:lnTo>
                    <a:lnTo>
                      <a:pt x="1253" y="1558"/>
                    </a:lnTo>
                    <a:lnTo>
                      <a:pt x="1253" y="1556"/>
                    </a:lnTo>
                    <a:lnTo>
                      <a:pt x="1254" y="1558"/>
                    </a:lnTo>
                    <a:lnTo>
                      <a:pt x="1256" y="1558"/>
                    </a:lnTo>
                    <a:lnTo>
                      <a:pt x="1254" y="1560"/>
                    </a:lnTo>
                    <a:lnTo>
                      <a:pt x="1253" y="1560"/>
                    </a:lnTo>
                    <a:lnTo>
                      <a:pt x="1254" y="1560"/>
                    </a:lnTo>
                    <a:lnTo>
                      <a:pt x="1256" y="1560"/>
                    </a:lnTo>
                    <a:lnTo>
                      <a:pt x="1258" y="1560"/>
                    </a:lnTo>
                    <a:lnTo>
                      <a:pt x="1258" y="1561"/>
                    </a:lnTo>
                    <a:lnTo>
                      <a:pt x="1259" y="1563"/>
                    </a:lnTo>
                    <a:lnTo>
                      <a:pt x="1258" y="1563"/>
                    </a:lnTo>
                    <a:lnTo>
                      <a:pt x="1256" y="1563"/>
                    </a:lnTo>
                    <a:lnTo>
                      <a:pt x="1254" y="1563"/>
                    </a:lnTo>
                    <a:lnTo>
                      <a:pt x="1256" y="1563"/>
                    </a:lnTo>
                    <a:lnTo>
                      <a:pt x="1258" y="1565"/>
                    </a:lnTo>
                    <a:lnTo>
                      <a:pt x="1256" y="1565"/>
                    </a:lnTo>
                    <a:lnTo>
                      <a:pt x="1256" y="1566"/>
                    </a:lnTo>
                    <a:lnTo>
                      <a:pt x="1254" y="1566"/>
                    </a:lnTo>
                    <a:lnTo>
                      <a:pt x="1253" y="1565"/>
                    </a:lnTo>
                    <a:lnTo>
                      <a:pt x="1251" y="1563"/>
                    </a:lnTo>
                    <a:lnTo>
                      <a:pt x="1251" y="1565"/>
                    </a:lnTo>
                    <a:lnTo>
                      <a:pt x="1249" y="1565"/>
                    </a:lnTo>
                    <a:lnTo>
                      <a:pt x="1247" y="1565"/>
                    </a:lnTo>
                    <a:lnTo>
                      <a:pt x="1249" y="1565"/>
                    </a:lnTo>
                    <a:lnTo>
                      <a:pt x="1251" y="1565"/>
                    </a:lnTo>
                    <a:lnTo>
                      <a:pt x="1253" y="1565"/>
                    </a:lnTo>
                    <a:lnTo>
                      <a:pt x="1251" y="1566"/>
                    </a:lnTo>
                    <a:lnTo>
                      <a:pt x="1253" y="1566"/>
                    </a:lnTo>
                    <a:lnTo>
                      <a:pt x="1253" y="1568"/>
                    </a:lnTo>
                    <a:lnTo>
                      <a:pt x="1253" y="1570"/>
                    </a:lnTo>
                    <a:lnTo>
                      <a:pt x="1251" y="1570"/>
                    </a:lnTo>
                    <a:lnTo>
                      <a:pt x="1251" y="1568"/>
                    </a:lnTo>
                    <a:lnTo>
                      <a:pt x="1251" y="1570"/>
                    </a:lnTo>
                    <a:lnTo>
                      <a:pt x="1251" y="1568"/>
                    </a:lnTo>
                    <a:lnTo>
                      <a:pt x="1249" y="1568"/>
                    </a:lnTo>
                    <a:lnTo>
                      <a:pt x="1247" y="1568"/>
                    </a:lnTo>
                    <a:lnTo>
                      <a:pt x="1249" y="1568"/>
                    </a:lnTo>
                    <a:lnTo>
                      <a:pt x="1249" y="1570"/>
                    </a:lnTo>
                    <a:lnTo>
                      <a:pt x="1251" y="1570"/>
                    </a:lnTo>
                    <a:lnTo>
                      <a:pt x="1251" y="1572"/>
                    </a:lnTo>
                    <a:lnTo>
                      <a:pt x="1249" y="1572"/>
                    </a:lnTo>
                    <a:lnTo>
                      <a:pt x="1247" y="1572"/>
                    </a:lnTo>
                    <a:lnTo>
                      <a:pt x="1249" y="1572"/>
                    </a:lnTo>
                    <a:lnTo>
                      <a:pt x="1251" y="1573"/>
                    </a:lnTo>
                    <a:lnTo>
                      <a:pt x="1251" y="1575"/>
                    </a:lnTo>
                    <a:lnTo>
                      <a:pt x="1251" y="1573"/>
                    </a:lnTo>
                    <a:lnTo>
                      <a:pt x="1253" y="1575"/>
                    </a:lnTo>
                    <a:lnTo>
                      <a:pt x="1253" y="1577"/>
                    </a:lnTo>
                    <a:lnTo>
                      <a:pt x="1251" y="1577"/>
                    </a:lnTo>
                    <a:lnTo>
                      <a:pt x="1249" y="1577"/>
                    </a:lnTo>
                    <a:lnTo>
                      <a:pt x="1249" y="1578"/>
                    </a:lnTo>
                    <a:lnTo>
                      <a:pt x="1247" y="1578"/>
                    </a:lnTo>
                    <a:lnTo>
                      <a:pt x="1247" y="1577"/>
                    </a:lnTo>
                    <a:lnTo>
                      <a:pt x="1247" y="1575"/>
                    </a:lnTo>
                    <a:lnTo>
                      <a:pt x="1246" y="1575"/>
                    </a:lnTo>
                    <a:lnTo>
                      <a:pt x="1247" y="1575"/>
                    </a:lnTo>
                    <a:lnTo>
                      <a:pt x="1247" y="1573"/>
                    </a:lnTo>
                    <a:lnTo>
                      <a:pt x="1247" y="1572"/>
                    </a:lnTo>
                    <a:lnTo>
                      <a:pt x="1247" y="1573"/>
                    </a:lnTo>
                    <a:lnTo>
                      <a:pt x="1247" y="1575"/>
                    </a:lnTo>
                    <a:lnTo>
                      <a:pt x="1246" y="1575"/>
                    </a:lnTo>
                    <a:lnTo>
                      <a:pt x="1246" y="1573"/>
                    </a:lnTo>
                    <a:lnTo>
                      <a:pt x="1244" y="1575"/>
                    </a:lnTo>
                    <a:lnTo>
                      <a:pt x="1246" y="1575"/>
                    </a:lnTo>
                    <a:lnTo>
                      <a:pt x="1244" y="1575"/>
                    </a:lnTo>
                    <a:lnTo>
                      <a:pt x="1244" y="1577"/>
                    </a:lnTo>
                    <a:lnTo>
                      <a:pt x="1246" y="1577"/>
                    </a:lnTo>
                    <a:lnTo>
                      <a:pt x="1246" y="1578"/>
                    </a:lnTo>
                    <a:lnTo>
                      <a:pt x="1246" y="1580"/>
                    </a:lnTo>
                    <a:lnTo>
                      <a:pt x="1246" y="1578"/>
                    </a:lnTo>
                    <a:lnTo>
                      <a:pt x="1246" y="1580"/>
                    </a:lnTo>
                    <a:lnTo>
                      <a:pt x="1244" y="1580"/>
                    </a:lnTo>
                    <a:lnTo>
                      <a:pt x="1244" y="1578"/>
                    </a:lnTo>
                    <a:lnTo>
                      <a:pt x="1242" y="1580"/>
                    </a:lnTo>
                    <a:lnTo>
                      <a:pt x="1242" y="1578"/>
                    </a:lnTo>
                    <a:lnTo>
                      <a:pt x="1242" y="1580"/>
                    </a:lnTo>
                    <a:lnTo>
                      <a:pt x="1242" y="1578"/>
                    </a:lnTo>
                    <a:lnTo>
                      <a:pt x="1244" y="1577"/>
                    </a:lnTo>
                    <a:lnTo>
                      <a:pt x="1242" y="1577"/>
                    </a:lnTo>
                    <a:lnTo>
                      <a:pt x="1242" y="1578"/>
                    </a:lnTo>
                    <a:lnTo>
                      <a:pt x="1241" y="1580"/>
                    </a:lnTo>
                    <a:lnTo>
                      <a:pt x="1241" y="1578"/>
                    </a:lnTo>
                    <a:lnTo>
                      <a:pt x="1242" y="1577"/>
                    </a:lnTo>
                    <a:lnTo>
                      <a:pt x="1242" y="1575"/>
                    </a:lnTo>
                    <a:lnTo>
                      <a:pt x="1242" y="1577"/>
                    </a:lnTo>
                    <a:lnTo>
                      <a:pt x="1241" y="1578"/>
                    </a:lnTo>
                    <a:lnTo>
                      <a:pt x="1241" y="1580"/>
                    </a:lnTo>
                    <a:lnTo>
                      <a:pt x="1239" y="1578"/>
                    </a:lnTo>
                    <a:lnTo>
                      <a:pt x="1239" y="1580"/>
                    </a:lnTo>
                    <a:lnTo>
                      <a:pt x="1241" y="1580"/>
                    </a:lnTo>
                    <a:lnTo>
                      <a:pt x="1239" y="1582"/>
                    </a:lnTo>
                    <a:lnTo>
                      <a:pt x="1237" y="1580"/>
                    </a:lnTo>
                    <a:lnTo>
                      <a:pt x="1237" y="1582"/>
                    </a:lnTo>
                    <a:lnTo>
                      <a:pt x="1237" y="1580"/>
                    </a:lnTo>
                    <a:lnTo>
                      <a:pt x="1236" y="1580"/>
                    </a:lnTo>
                    <a:lnTo>
                      <a:pt x="1237" y="1580"/>
                    </a:lnTo>
                    <a:lnTo>
                      <a:pt x="1236" y="1580"/>
                    </a:lnTo>
                    <a:lnTo>
                      <a:pt x="1236" y="1582"/>
                    </a:lnTo>
                    <a:lnTo>
                      <a:pt x="1234" y="1582"/>
                    </a:lnTo>
                    <a:lnTo>
                      <a:pt x="1232" y="1582"/>
                    </a:lnTo>
                    <a:lnTo>
                      <a:pt x="1230" y="1582"/>
                    </a:lnTo>
                    <a:lnTo>
                      <a:pt x="1232" y="1580"/>
                    </a:lnTo>
                    <a:lnTo>
                      <a:pt x="1232" y="1582"/>
                    </a:lnTo>
                    <a:lnTo>
                      <a:pt x="1232" y="1580"/>
                    </a:lnTo>
                    <a:lnTo>
                      <a:pt x="1234" y="1580"/>
                    </a:lnTo>
                    <a:lnTo>
                      <a:pt x="1232" y="1580"/>
                    </a:lnTo>
                    <a:lnTo>
                      <a:pt x="1234" y="1580"/>
                    </a:lnTo>
                    <a:lnTo>
                      <a:pt x="1234" y="1578"/>
                    </a:lnTo>
                    <a:lnTo>
                      <a:pt x="1232" y="1580"/>
                    </a:lnTo>
                    <a:lnTo>
                      <a:pt x="1232" y="1578"/>
                    </a:lnTo>
                    <a:lnTo>
                      <a:pt x="1232" y="1580"/>
                    </a:lnTo>
                    <a:lnTo>
                      <a:pt x="1230" y="1580"/>
                    </a:lnTo>
                    <a:lnTo>
                      <a:pt x="1229" y="1580"/>
                    </a:lnTo>
                    <a:lnTo>
                      <a:pt x="1227" y="1578"/>
                    </a:lnTo>
                    <a:lnTo>
                      <a:pt x="1229" y="1578"/>
                    </a:lnTo>
                    <a:lnTo>
                      <a:pt x="1230" y="1578"/>
                    </a:lnTo>
                    <a:lnTo>
                      <a:pt x="1232" y="1578"/>
                    </a:lnTo>
                    <a:lnTo>
                      <a:pt x="1234" y="1578"/>
                    </a:lnTo>
                    <a:lnTo>
                      <a:pt x="1236" y="1578"/>
                    </a:lnTo>
                    <a:lnTo>
                      <a:pt x="1237" y="1580"/>
                    </a:lnTo>
                    <a:lnTo>
                      <a:pt x="1237" y="1578"/>
                    </a:lnTo>
                    <a:lnTo>
                      <a:pt x="1236" y="1578"/>
                    </a:lnTo>
                    <a:lnTo>
                      <a:pt x="1234" y="1578"/>
                    </a:lnTo>
                    <a:lnTo>
                      <a:pt x="1234" y="1577"/>
                    </a:lnTo>
                    <a:lnTo>
                      <a:pt x="1232" y="1578"/>
                    </a:lnTo>
                    <a:lnTo>
                      <a:pt x="1232" y="1577"/>
                    </a:lnTo>
                    <a:lnTo>
                      <a:pt x="1230" y="1578"/>
                    </a:lnTo>
                    <a:lnTo>
                      <a:pt x="1232" y="1577"/>
                    </a:lnTo>
                    <a:lnTo>
                      <a:pt x="1230" y="1575"/>
                    </a:lnTo>
                    <a:lnTo>
                      <a:pt x="1232" y="1577"/>
                    </a:lnTo>
                    <a:lnTo>
                      <a:pt x="1234" y="1577"/>
                    </a:lnTo>
                    <a:lnTo>
                      <a:pt x="1236" y="1577"/>
                    </a:lnTo>
                    <a:lnTo>
                      <a:pt x="1234" y="1577"/>
                    </a:lnTo>
                    <a:lnTo>
                      <a:pt x="1236" y="1577"/>
                    </a:lnTo>
                    <a:lnTo>
                      <a:pt x="1237" y="1577"/>
                    </a:lnTo>
                    <a:lnTo>
                      <a:pt x="1237" y="1578"/>
                    </a:lnTo>
                    <a:lnTo>
                      <a:pt x="1239" y="1578"/>
                    </a:lnTo>
                    <a:lnTo>
                      <a:pt x="1237" y="1577"/>
                    </a:lnTo>
                    <a:lnTo>
                      <a:pt x="1239" y="1577"/>
                    </a:lnTo>
                    <a:lnTo>
                      <a:pt x="1237" y="1577"/>
                    </a:lnTo>
                    <a:lnTo>
                      <a:pt x="1236" y="1577"/>
                    </a:lnTo>
                    <a:lnTo>
                      <a:pt x="1237" y="1575"/>
                    </a:lnTo>
                    <a:lnTo>
                      <a:pt x="1236" y="1575"/>
                    </a:lnTo>
                    <a:lnTo>
                      <a:pt x="1234" y="1575"/>
                    </a:lnTo>
                    <a:lnTo>
                      <a:pt x="1236" y="1575"/>
                    </a:lnTo>
                    <a:lnTo>
                      <a:pt x="1237" y="1575"/>
                    </a:lnTo>
                    <a:lnTo>
                      <a:pt x="1237" y="1573"/>
                    </a:lnTo>
                    <a:lnTo>
                      <a:pt x="1236" y="1575"/>
                    </a:lnTo>
                    <a:lnTo>
                      <a:pt x="1237" y="1573"/>
                    </a:lnTo>
                    <a:lnTo>
                      <a:pt x="1236" y="1573"/>
                    </a:lnTo>
                    <a:lnTo>
                      <a:pt x="1234" y="1573"/>
                    </a:lnTo>
                    <a:lnTo>
                      <a:pt x="1236" y="1572"/>
                    </a:lnTo>
                    <a:lnTo>
                      <a:pt x="1237" y="1572"/>
                    </a:lnTo>
                    <a:lnTo>
                      <a:pt x="1239" y="1572"/>
                    </a:lnTo>
                    <a:lnTo>
                      <a:pt x="1239" y="1573"/>
                    </a:lnTo>
                    <a:lnTo>
                      <a:pt x="1241" y="1573"/>
                    </a:lnTo>
                    <a:lnTo>
                      <a:pt x="1239" y="1573"/>
                    </a:lnTo>
                    <a:lnTo>
                      <a:pt x="1239" y="1572"/>
                    </a:lnTo>
                    <a:lnTo>
                      <a:pt x="1237" y="1572"/>
                    </a:lnTo>
                    <a:lnTo>
                      <a:pt x="1237" y="1570"/>
                    </a:lnTo>
                    <a:lnTo>
                      <a:pt x="1237" y="1572"/>
                    </a:lnTo>
                    <a:lnTo>
                      <a:pt x="1237" y="1570"/>
                    </a:lnTo>
                    <a:lnTo>
                      <a:pt x="1239" y="1568"/>
                    </a:lnTo>
                    <a:lnTo>
                      <a:pt x="1241" y="1568"/>
                    </a:lnTo>
                    <a:lnTo>
                      <a:pt x="1242" y="1568"/>
                    </a:lnTo>
                    <a:lnTo>
                      <a:pt x="1242" y="1566"/>
                    </a:lnTo>
                    <a:lnTo>
                      <a:pt x="1241" y="1566"/>
                    </a:lnTo>
                    <a:lnTo>
                      <a:pt x="1241" y="1568"/>
                    </a:lnTo>
                    <a:lnTo>
                      <a:pt x="1241" y="1566"/>
                    </a:lnTo>
                    <a:lnTo>
                      <a:pt x="1239" y="1566"/>
                    </a:lnTo>
                    <a:lnTo>
                      <a:pt x="1241" y="1566"/>
                    </a:lnTo>
                    <a:lnTo>
                      <a:pt x="1239" y="1566"/>
                    </a:lnTo>
                    <a:lnTo>
                      <a:pt x="1239" y="1568"/>
                    </a:lnTo>
                    <a:lnTo>
                      <a:pt x="1237" y="1568"/>
                    </a:lnTo>
                    <a:lnTo>
                      <a:pt x="1237" y="1570"/>
                    </a:lnTo>
                    <a:lnTo>
                      <a:pt x="1237" y="1568"/>
                    </a:lnTo>
                    <a:lnTo>
                      <a:pt x="1237" y="1566"/>
                    </a:lnTo>
                    <a:lnTo>
                      <a:pt x="1239" y="1566"/>
                    </a:lnTo>
                    <a:lnTo>
                      <a:pt x="1239" y="1565"/>
                    </a:lnTo>
                    <a:lnTo>
                      <a:pt x="1237" y="1566"/>
                    </a:lnTo>
                    <a:lnTo>
                      <a:pt x="1236" y="1568"/>
                    </a:lnTo>
                    <a:lnTo>
                      <a:pt x="1237" y="1568"/>
                    </a:lnTo>
                    <a:lnTo>
                      <a:pt x="1236" y="1568"/>
                    </a:lnTo>
                    <a:lnTo>
                      <a:pt x="1237" y="1570"/>
                    </a:lnTo>
                    <a:lnTo>
                      <a:pt x="1236" y="1570"/>
                    </a:lnTo>
                    <a:lnTo>
                      <a:pt x="1236" y="1572"/>
                    </a:lnTo>
                    <a:lnTo>
                      <a:pt x="1234" y="1572"/>
                    </a:lnTo>
                    <a:lnTo>
                      <a:pt x="1232" y="1572"/>
                    </a:lnTo>
                    <a:lnTo>
                      <a:pt x="1234" y="1572"/>
                    </a:lnTo>
                    <a:lnTo>
                      <a:pt x="1232" y="1572"/>
                    </a:lnTo>
                    <a:lnTo>
                      <a:pt x="1232" y="1570"/>
                    </a:lnTo>
                    <a:lnTo>
                      <a:pt x="1234" y="1570"/>
                    </a:lnTo>
                    <a:lnTo>
                      <a:pt x="1236" y="1570"/>
                    </a:lnTo>
                    <a:lnTo>
                      <a:pt x="1234" y="1570"/>
                    </a:lnTo>
                    <a:lnTo>
                      <a:pt x="1234" y="1568"/>
                    </a:lnTo>
                    <a:lnTo>
                      <a:pt x="1236" y="1568"/>
                    </a:lnTo>
                    <a:lnTo>
                      <a:pt x="1236" y="1566"/>
                    </a:lnTo>
                    <a:lnTo>
                      <a:pt x="1236" y="1565"/>
                    </a:lnTo>
                    <a:lnTo>
                      <a:pt x="1236" y="1563"/>
                    </a:lnTo>
                    <a:lnTo>
                      <a:pt x="1237" y="1563"/>
                    </a:lnTo>
                    <a:lnTo>
                      <a:pt x="1237" y="1561"/>
                    </a:lnTo>
                    <a:lnTo>
                      <a:pt x="1239" y="1561"/>
                    </a:lnTo>
                    <a:lnTo>
                      <a:pt x="1239" y="1560"/>
                    </a:lnTo>
                    <a:lnTo>
                      <a:pt x="1237" y="1561"/>
                    </a:lnTo>
                    <a:lnTo>
                      <a:pt x="1237" y="1563"/>
                    </a:lnTo>
                    <a:lnTo>
                      <a:pt x="1236" y="1561"/>
                    </a:lnTo>
                    <a:lnTo>
                      <a:pt x="1236" y="1563"/>
                    </a:lnTo>
                    <a:lnTo>
                      <a:pt x="1234" y="1563"/>
                    </a:lnTo>
                    <a:lnTo>
                      <a:pt x="1236" y="1563"/>
                    </a:lnTo>
                    <a:lnTo>
                      <a:pt x="1236" y="1565"/>
                    </a:lnTo>
                    <a:lnTo>
                      <a:pt x="1236" y="1566"/>
                    </a:lnTo>
                    <a:lnTo>
                      <a:pt x="1234" y="1566"/>
                    </a:lnTo>
                    <a:lnTo>
                      <a:pt x="1234" y="1568"/>
                    </a:lnTo>
                    <a:lnTo>
                      <a:pt x="1232" y="1568"/>
                    </a:lnTo>
                    <a:lnTo>
                      <a:pt x="1230" y="1568"/>
                    </a:lnTo>
                    <a:lnTo>
                      <a:pt x="1232" y="1568"/>
                    </a:lnTo>
                    <a:lnTo>
                      <a:pt x="1232" y="1566"/>
                    </a:lnTo>
                    <a:lnTo>
                      <a:pt x="1230" y="1568"/>
                    </a:lnTo>
                    <a:lnTo>
                      <a:pt x="1229" y="1568"/>
                    </a:lnTo>
                    <a:lnTo>
                      <a:pt x="1229" y="1566"/>
                    </a:lnTo>
                    <a:lnTo>
                      <a:pt x="1230" y="1566"/>
                    </a:lnTo>
                    <a:lnTo>
                      <a:pt x="1229" y="1565"/>
                    </a:lnTo>
                    <a:lnTo>
                      <a:pt x="1230" y="1565"/>
                    </a:lnTo>
                    <a:lnTo>
                      <a:pt x="1232" y="1565"/>
                    </a:lnTo>
                    <a:lnTo>
                      <a:pt x="1234" y="1565"/>
                    </a:lnTo>
                    <a:lnTo>
                      <a:pt x="1232" y="1565"/>
                    </a:lnTo>
                    <a:lnTo>
                      <a:pt x="1230" y="1565"/>
                    </a:lnTo>
                    <a:lnTo>
                      <a:pt x="1229" y="1565"/>
                    </a:lnTo>
                    <a:lnTo>
                      <a:pt x="1230" y="1563"/>
                    </a:lnTo>
                    <a:lnTo>
                      <a:pt x="1229" y="1563"/>
                    </a:lnTo>
                    <a:lnTo>
                      <a:pt x="1229" y="1565"/>
                    </a:lnTo>
                    <a:lnTo>
                      <a:pt x="1229" y="1563"/>
                    </a:lnTo>
                    <a:lnTo>
                      <a:pt x="1230" y="1563"/>
                    </a:lnTo>
                    <a:lnTo>
                      <a:pt x="1232" y="1563"/>
                    </a:lnTo>
                    <a:lnTo>
                      <a:pt x="1230" y="1563"/>
                    </a:lnTo>
                    <a:lnTo>
                      <a:pt x="1230" y="1561"/>
                    </a:lnTo>
                    <a:lnTo>
                      <a:pt x="1232" y="1561"/>
                    </a:lnTo>
                    <a:lnTo>
                      <a:pt x="1234" y="1561"/>
                    </a:lnTo>
                    <a:lnTo>
                      <a:pt x="1234" y="1560"/>
                    </a:lnTo>
                    <a:lnTo>
                      <a:pt x="1236" y="1560"/>
                    </a:lnTo>
                    <a:lnTo>
                      <a:pt x="1237" y="1560"/>
                    </a:lnTo>
                    <a:lnTo>
                      <a:pt x="1236" y="1560"/>
                    </a:lnTo>
                    <a:lnTo>
                      <a:pt x="1236" y="1558"/>
                    </a:lnTo>
                    <a:lnTo>
                      <a:pt x="1236" y="1556"/>
                    </a:lnTo>
                    <a:lnTo>
                      <a:pt x="1236" y="1558"/>
                    </a:lnTo>
                    <a:lnTo>
                      <a:pt x="1234" y="1558"/>
                    </a:lnTo>
                    <a:lnTo>
                      <a:pt x="1236" y="1558"/>
                    </a:lnTo>
                    <a:lnTo>
                      <a:pt x="1234" y="1560"/>
                    </a:lnTo>
                    <a:lnTo>
                      <a:pt x="1234" y="1558"/>
                    </a:lnTo>
                    <a:lnTo>
                      <a:pt x="1232" y="1558"/>
                    </a:lnTo>
                    <a:lnTo>
                      <a:pt x="1230" y="1558"/>
                    </a:lnTo>
                    <a:lnTo>
                      <a:pt x="1230" y="1556"/>
                    </a:lnTo>
                    <a:lnTo>
                      <a:pt x="1229" y="1558"/>
                    </a:lnTo>
                    <a:lnTo>
                      <a:pt x="1229" y="1556"/>
                    </a:lnTo>
                    <a:lnTo>
                      <a:pt x="1227" y="1556"/>
                    </a:lnTo>
                    <a:lnTo>
                      <a:pt x="1225" y="1556"/>
                    </a:lnTo>
                    <a:lnTo>
                      <a:pt x="1224" y="1556"/>
                    </a:lnTo>
                    <a:lnTo>
                      <a:pt x="1225" y="1556"/>
                    </a:lnTo>
                    <a:lnTo>
                      <a:pt x="1225" y="1555"/>
                    </a:lnTo>
                    <a:lnTo>
                      <a:pt x="1227" y="1555"/>
                    </a:lnTo>
                    <a:lnTo>
                      <a:pt x="1229" y="1556"/>
                    </a:lnTo>
                    <a:lnTo>
                      <a:pt x="1229" y="1555"/>
                    </a:lnTo>
                    <a:lnTo>
                      <a:pt x="1230" y="1555"/>
                    </a:lnTo>
                    <a:lnTo>
                      <a:pt x="1232" y="1555"/>
                    </a:lnTo>
                    <a:lnTo>
                      <a:pt x="1232" y="1553"/>
                    </a:lnTo>
                    <a:lnTo>
                      <a:pt x="1230" y="1551"/>
                    </a:lnTo>
                    <a:lnTo>
                      <a:pt x="1230" y="1553"/>
                    </a:lnTo>
                    <a:lnTo>
                      <a:pt x="1230" y="1555"/>
                    </a:lnTo>
                    <a:lnTo>
                      <a:pt x="1230" y="1553"/>
                    </a:lnTo>
                    <a:lnTo>
                      <a:pt x="1229" y="1555"/>
                    </a:lnTo>
                    <a:lnTo>
                      <a:pt x="1227" y="1553"/>
                    </a:lnTo>
                    <a:lnTo>
                      <a:pt x="1227" y="1555"/>
                    </a:lnTo>
                    <a:lnTo>
                      <a:pt x="1227" y="1553"/>
                    </a:lnTo>
                    <a:lnTo>
                      <a:pt x="1229" y="1553"/>
                    </a:lnTo>
                    <a:lnTo>
                      <a:pt x="1229" y="1551"/>
                    </a:lnTo>
                    <a:lnTo>
                      <a:pt x="1230" y="1551"/>
                    </a:lnTo>
                    <a:lnTo>
                      <a:pt x="1230" y="1549"/>
                    </a:lnTo>
                    <a:lnTo>
                      <a:pt x="1229" y="1549"/>
                    </a:lnTo>
                    <a:lnTo>
                      <a:pt x="1229" y="1551"/>
                    </a:lnTo>
                    <a:lnTo>
                      <a:pt x="1227" y="1549"/>
                    </a:lnTo>
                    <a:lnTo>
                      <a:pt x="1227" y="1551"/>
                    </a:lnTo>
                    <a:lnTo>
                      <a:pt x="1229" y="1551"/>
                    </a:lnTo>
                    <a:lnTo>
                      <a:pt x="1227" y="1551"/>
                    </a:lnTo>
                    <a:lnTo>
                      <a:pt x="1227" y="1553"/>
                    </a:lnTo>
                    <a:lnTo>
                      <a:pt x="1227" y="1555"/>
                    </a:lnTo>
                    <a:lnTo>
                      <a:pt x="1225" y="1553"/>
                    </a:lnTo>
                    <a:lnTo>
                      <a:pt x="1224" y="1555"/>
                    </a:lnTo>
                    <a:lnTo>
                      <a:pt x="1224" y="1553"/>
                    </a:lnTo>
                    <a:lnTo>
                      <a:pt x="1225" y="1551"/>
                    </a:lnTo>
                    <a:lnTo>
                      <a:pt x="1225" y="1553"/>
                    </a:lnTo>
                    <a:lnTo>
                      <a:pt x="1224" y="1553"/>
                    </a:lnTo>
                    <a:lnTo>
                      <a:pt x="1222" y="1553"/>
                    </a:lnTo>
                    <a:lnTo>
                      <a:pt x="1220" y="1553"/>
                    </a:lnTo>
                    <a:lnTo>
                      <a:pt x="1222" y="1551"/>
                    </a:lnTo>
                    <a:lnTo>
                      <a:pt x="1220" y="1551"/>
                    </a:lnTo>
                    <a:lnTo>
                      <a:pt x="1222" y="1551"/>
                    </a:lnTo>
                    <a:lnTo>
                      <a:pt x="1220" y="1551"/>
                    </a:lnTo>
                    <a:lnTo>
                      <a:pt x="1222" y="1551"/>
                    </a:lnTo>
                    <a:lnTo>
                      <a:pt x="1222" y="1549"/>
                    </a:lnTo>
                    <a:lnTo>
                      <a:pt x="1224" y="1549"/>
                    </a:lnTo>
                    <a:lnTo>
                      <a:pt x="1222" y="1549"/>
                    </a:lnTo>
                    <a:lnTo>
                      <a:pt x="1220" y="1549"/>
                    </a:lnTo>
                    <a:lnTo>
                      <a:pt x="1222" y="1549"/>
                    </a:lnTo>
                    <a:lnTo>
                      <a:pt x="1220" y="1549"/>
                    </a:lnTo>
                    <a:lnTo>
                      <a:pt x="1219" y="1549"/>
                    </a:lnTo>
                    <a:lnTo>
                      <a:pt x="1219" y="1548"/>
                    </a:lnTo>
                    <a:lnTo>
                      <a:pt x="1217" y="1548"/>
                    </a:lnTo>
                    <a:lnTo>
                      <a:pt x="1217" y="1546"/>
                    </a:lnTo>
                    <a:lnTo>
                      <a:pt x="1217" y="1544"/>
                    </a:lnTo>
                    <a:lnTo>
                      <a:pt x="1215" y="1544"/>
                    </a:lnTo>
                    <a:lnTo>
                      <a:pt x="1215" y="1543"/>
                    </a:lnTo>
                    <a:lnTo>
                      <a:pt x="1217" y="1544"/>
                    </a:lnTo>
                    <a:lnTo>
                      <a:pt x="1219" y="1544"/>
                    </a:lnTo>
                    <a:lnTo>
                      <a:pt x="1220" y="1544"/>
                    </a:lnTo>
                    <a:lnTo>
                      <a:pt x="1220" y="1546"/>
                    </a:lnTo>
                    <a:lnTo>
                      <a:pt x="1222" y="1544"/>
                    </a:lnTo>
                    <a:lnTo>
                      <a:pt x="1222" y="1546"/>
                    </a:lnTo>
                    <a:lnTo>
                      <a:pt x="1222" y="1548"/>
                    </a:lnTo>
                    <a:lnTo>
                      <a:pt x="1222" y="1546"/>
                    </a:lnTo>
                    <a:lnTo>
                      <a:pt x="1224" y="1546"/>
                    </a:lnTo>
                    <a:lnTo>
                      <a:pt x="1222" y="1546"/>
                    </a:lnTo>
                    <a:lnTo>
                      <a:pt x="1224" y="1544"/>
                    </a:lnTo>
                    <a:lnTo>
                      <a:pt x="1224" y="1546"/>
                    </a:lnTo>
                    <a:lnTo>
                      <a:pt x="1225" y="1544"/>
                    </a:lnTo>
                    <a:lnTo>
                      <a:pt x="1225" y="1546"/>
                    </a:lnTo>
                    <a:lnTo>
                      <a:pt x="1227" y="1546"/>
                    </a:lnTo>
                    <a:lnTo>
                      <a:pt x="1227" y="1548"/>
                    </a:lnTo>
                    <a:lnTo>
                      <a:pt x="1227" y="1546"/>
                    </a:lnTo>
                    <a:lnTo>
                      <a:pt x="1229" y="1548"/>
                    </a:lnTo>
                    <a:lnTo>
                      <a:pt x="1229" y="1546"/>
                    </a:lnTo>
                    <a:lnTo>
                      <a:pt x="1227" y="1546"/>
                    </a:lnTo>
                    <a:lnTo>
                      <a:pt x="1225" y="1546"/>
                    </a:lnTo>
                    <a:lnTo>
                      <a:pt x="1225" y="1544"/>
                    </a:lnTo>
                    <a:lnTo>
                      <a:pt x="1225" y="1543"/>
                    </a:lnTo>
                    <a:lnTo>
                      <a:pt x="1227" y="1543"/>
                    </a:lnTo>
                    <a:lnTo>
                      <a:pt x="1225" y="1543"/>
                    </a:lnTo>
                    <a:lnTo>
                      <a:pt x="1227" y="1543"/>
                    </a:lnTo>
                    <a:lnTo>
                      <a:pt x="1225" y="1543"/>
                    </a:lnTo>
                    <a:lnTo>
                      <a:pt x="1225" y="1541"/>
                    </a:lnTo>
                    <a:lnTo>
                      <a:pt x="1224" y="1541"/>
                    </a:lnTo>
                    <a:lnTo>
                      <a:pt x="1225" y="1541"/>
                    </a:lnTo>
                    <a:lnTo>
                      <a:pt x="1224" y="1539"/>
                    </a:lnTo>
                    <a:lnTo>
                      <a:pt x="1225" y="1539"/>
                    </a:lnTo>
                    <a:lnTo>
                      <a:pt x="1227" y="1539"/>
                    </a:lnTo>
                    <a:lnTo>
                      <a:pt x="1229" y="1539"/>
                    </a:lnTo>
                    <a:close/>
                    <a:moveTo>
                      <a:pt x="1400" y="1626"/>
                    </a:moveTo>
                    <a:lnTo>
                      <a:pt x="1402" y="1626"/>
                    </a:lnTo>
                    <a:lnTo>
                      <a:pt x="1402" y="1628"/>
                    </a:lnTo>
                    <a:lnTo>
                      <a:pt x="1404" y="1626"/>
                    </a:lnTo>
                    <a:lnTo>
                      <a:pt x="1404" y="1628"/>
                    </a:lnTo>
                    <a:lnTo>
                      <a:pt x="1406" y="1628"/>
                    </a:lnTo>
                    <a:lnTo>
                      <a:pt x="1407" y="1628"/>
                    </a:lnTo>
                    <a:lnTo>
                      <a:pt x="1409" y="1628"/>
                    </a:lnTo>
                    <a:lnTo>
                      <a:pt x="1407" y="1628"/>
                    </a:lnTo>
                    <a:lnTo>
                      <a:pt x="1409" y="1629"/>
                    </a:lnTo>
                    <a:lnTo>
                      <a:pt x="1409" y="1628"/>
                    </a:lnTo>
                    <a:lnTo>
                      <a:pt x="1411" y="1629"/>
                    </a:lnTo>
                    <a:lnTo>
                      <a:pt x="1411" y="1628"/>
                    </a:lnTo>
                    <a:lnTo>
                      <a:pt x="1412" y="1628"/>
                    </a:lnTo>
                    <a:lnTo>
                      <a:pt x="1414" y="1628"/>
                    </a:lnTo>
                    <a:lnTo>
                      <a:pt x="1416" y="1628"/>
                    </a:lnTo>
                    <a:lnTo>
                      <a:pt x="1416" y="1629"/>
                    </a:lnTo>
                    <a:lnTo>
                      <a:pt x="1417" y="1628"/>
                    </a:lnTo>
                    <a:lnTo>
                      <a:pt x="1419" y="1628"/>
                    </a:lnTo>
                    <a:lnTo>
                      <a:pt x="1421" y="1628"/>
                    </a:lnTo>
                    <a:lnTo>
                      <a:pt x="1423" y="1628"/>
                    </a:lnTo>
                    <a:lnTo>
                      <a:pt x="1423" y="1629"/>
                    </a:lnTo>
                    <a:lnTo>
                      <a:pt x="1424" y="1629"/>
                    </a:lnTo>
                    <a:lnTo>
                      <a:pt x="1426" y="1629"/>
                    </a:lnTo>
                    <a:lnTo>
                      <a:pt x="1428" y="1631"/>
                    </a:lnTo>
                    <a:lnTo>
                      <a:pt x="1428" y="1633"/>
                    </a:lnTo>
                    <a:lnTo>
                      <a:pt x="1429" y="1635"/>
                    </a:lnTo>
                    <a:lnTo>
                      <a:pt x="1429" y="1636"/>
                    </a:lnTo>
                    <a:lnTo>
                      <a:pt x="1429" y="1638"/>
                    </a:lnTo>
                    <a:lnTo>
                      <a:pt x="1431" y="1638"/>
                    </a:lnTo>
                    <a:lnTo>
                      <a:pt x="1431" y="1640"/>
                    </a:lnTo>
                    <a:lnTo>
                      <a:pt x="1431" y="1641"/>
                    </a:lnTo>
                    <a:lnTo>
                      <a:pt x="1429" y="1643"/>
                    </a:lnTo>
                    <a:lnTo>
                      <a:pt x="1429" y="1645"/>
                    </a:lnTo>
                    <a:lnTo>
                      <a:pt x="1428" y="1646"/>
                    </a:lnTo>
                    <a:lnTo>
                      <a:pt x="1426" y="1648"/>
                    </a:lnTo>
                    <a:lnTo>
                      <a:pt x="1426" y="1650"/>
                    </a:lnTo>
                    <a:lnTo>
                      <a:pt x="1424" y="1650"/>
                    </a:lnTo>
                    <a:lnTo>
                      <a:pt x="1424" y="1652"/>
                    </a:lnTo>
                    <a:lnTo>
                      <a:pt x="1423" y="1652"/>
                    </a:lnTo>
                    <a:lnTo>
                      <a:pt x="1421" y="1652"/>
                    </a:lnTo>
                    <a:lnTo>
                      <a:pt x="1419" y="1652"/>
                    </a:lnTo>
                    <a:lnTo>
                      <a:pt x="1417" y="1652"/>
                    </a:lnTo>
                    <a:lnTo>
                      <a:pt x="1417" y="1650"/>
                    </a:lnTo>
                    <a:lnTo>
                      <a:pt x="1417" y="1648"/>
                    </a:lnTo>
                    <a:lnTo>
                      <a:pt x="1417" y="1646"/>
                    </a:lnTo>
                    <a:lnTo>
                      <a:pt x="1419" y="1645"/>
                    </a:lnTo>
                    <a:lnTo>
                      <a:pt x="1417" y="1643"/>
                    </a:lnTo>
                    <a:lnTo>
                      <a:pt x="1416" y="1643"/>
                    </a:lnTo>
                    <a:lnTo>
                      <a:pt x="1414" y="1643"/>
                    </a:lnTo>
                    <a:lnTo>
                      <a:pt x="1412" y="1645"/>
                    </a:lnTo>
                    <a:lnTo>
                      <a:pt x="1411" y="1646"/>
                    </a:lnTo>
                    <a:lnTo>
                      <a:pt x="1412" y="1648"/>
                    </a:lnTo>
                    <a:lnTo>
                      <a:pt x="1411" y="1648"/>
                    </a:lnTo>
                    <a:lnTo>
                      <a:pt x="1409" y="1648"/>
                    </a:lnTo>
                    <a:lnTo>
                      <a:pt x="1407" y="1646"/>
                    </a:lnTo>
                    <a:lnTo>
                      <a:pt x="1407" y="1648"/>
                    </a:lnTo>
                    <a:lnTo>
                      <a:pt x="1406" y="1648"/>
                    </a:lnTo>
                    <a:lnTo>
                      <a:pt x="1404" y="1648"/>
                    </a:lnTo>
                    <a:lnTo>
                      <a:pt x="1402" y="1646"/>
                    </a:lnTo>
                    <a:lnTo>
                      <a:pt x="1404" y="1646"/>
                    </a:lnTo>
                    <a:lnTo>
                      <a:pt x="1402" y="1645"/>
                    </a:lnTo>
                    <a:lnTo>
                      <a:pt x="1404" y="1645"/>
                    </a:lnTo>
                    <a:lnTo>
                      <a:pt x="1404" y="1646"/>
                    </a:lnTo>
                    <a:lnTo>
                      <a:pt x="1406" y="1646"/>
                    </a:lnTo>
                    <a:lnTo>
                      <a:pt x="1407" y="1646"/>
                    </a:lnTo>
                    <a:lnTo>
                      <a:pt x="1406" y="1645"/>
                    </a:lnTo>
                    <a:lnTo>
                      <a:pt x="1404" y="1645"/>
                    </a:lnTo>
                    <a:lnTo>
                      <a:pt x="1404" y="1643"/>
                    </a:lnTo>
                    <a:lnTo>
                      <a:pt x="1402" y="1645"/>
                    </a:lnTo>
                    <a:lnTo>
                      <a:pt x="1402" y="1643"/>
                    </a:lnTo>
                    <a:lnTo>
                      <a:pt x="1400" y="1643"/>
                    </a:lnTo>
                    <a:lnTo>
                      <a:pt x="1400" y="1645"/>
                    </a:lnTo>
                    <a:lnTo>
                      <a:pt x="1399" y="1646"/>
                    </a:lnTo>
                    <a:lnTo>
                      <a:pt x="1399" y="1645"/>
                    </a:lnTo>
                    <a:lnTo>
                      <a:pt x="1399" y="1646"/>
                    </a:lnTo>
                    <a:lnTo>
                      <a:pt x="1397" y="1646"/>
                    </a:lnTo>
                    <a:lnTo>
                      <a:pt x="1395" y="1645"/>
                    </a:lnTo>
                    <a:lnTo>
                      <a:pt x="1394" y="1645"/>
                    </a:lnTo>
                    <a:lnTo>
                      <a:pt x="1394" y="1643"/>
                    </a:lnTo>
                    <a:lnTo>
                      <a:pt x="1395" y="1643"/>
                    </a:lnTo>
                    <a:lnTo>
                      <a:pt x="1397" y="1643"/>
                    </a:lnTo>
                    <a:lnTo>
                      <a:pt x="1395" y="1643"/>
                    </a:lnTo>
                    <a:lnTo>
                      <a:pt x="1394" y="1641"/>
                    </a:lnTo>
                    <a:lnTo>
                      <a:pt x="1394" y="1640"/>
                    </a:lnTo>
                    <a:lnTo>
                      <a:pt x="1394" y="1638"/>
                    </a:lnTo>
                    <a:lnTo>
                      <a:pt x="1394" y="1636"/>
                    </a:lnTo>
                    <a:lnTo>
                      <a:pt x="1394" y="1635"/>
                    </a:lnTo>
                    <a:lnTo>
                      <a:pt x="1394" y="1633"/>
                    </a:lnTo>
                    <a:lnTo>
                      <a:pt x="1392" y="1633"/>
                    </a:lnTo>
                    <a:lnTo>
                      <a:pt x="1394" y="1631"/>
                    </a:lnTo>
                    <a:lnTo>
                      <a:pt x="1392" y="1633"/>
                    </a:lnTo>
                    <a:lnTo>
                      <a:pt x="1392" y="1631"/>
                    </a:lnTo>
                    <a:lnTo>
                      <a:pt x="1392" y="1633"/>
                    </a:lnTo>
                    <a:lnTo>
                      <a:pt x="1390" y="1633"/>
                    </a:lnTo>
                    <a:lnTo>
                      <a:pt x="1389" y="1633"/>
                    </a:lnTo>
                    <a:lnTo>
                      <a:pt x="1387" y="1631"/>
                    </a:lnTo>
                    <a:lnTo>
                      <a:pt x="1387" y="1629"/>
                    </a:lnTo>
                    <a:lnTo>
                      <a:pt x="1385" y="1629"/>
                    </a:lnTo>
                    <a:lnTo>
                      <a:pt x="1387" y="1628"/>
                    </a:lnTo>
                    <a:lnTo>
                      <a:pt x="1389" y="1628"/>
                    </a:lnTo>
                    <a:lnTo>
                      <a:pt x="1390" y="1628"/>
                    </a:lnTo>
                    <a:lnTo>
                      <a:pt x="1392" y="1628"/>
                    </a:lnTo>
                    <a:lnTo>
                      <a:pt x="1390" y="1626"/>
                    </a:lnTo>
                    <a:lnTo>
                      <a:pt x="1392" y="1626"/>
                    </a:lnTo>
                    <a:lnTo>
                      <a:pt x="1394" y="1626"/>
                    </a:lnTo>
                    <a:lnTo>
                      <a:pt x="1395" y="1626"/>
                    </a:lnTo>
                    <a:lnTo>
                      <a:pt x="1397" y="1626"/>
                    </a:lnTo>
                    <a:lnTo>
                      <a:pt x="1399" y="1626"/>
                    </a:lnTo>
                    <a:lnTo>
                      <a:pt x="1400" y="1626"/>
                    </a:lnTo>
                    <a:close/>
                    <a:moveTo>
                      <a:pt x="1232" y="1075"/>
                    </a:moveTo>
                    <a:lnTo>
                      <a:pt x="1232" y="1077"/>
                    </a:lnTo>
                    <a:lnTo>
                      <a:pt x="1234" y="1077"/>
                    </a:lnTo>
                    <a:lnTo>
                      <a:pt x="1234" y="1078"/>
                    </a:lnTo>
                    <a:lnTo>
                      <a:pt x="1232" y="1080"/>
                    </a:lnTo>
                    <a:lnTo>
                      <a:pt x="1230" y="1082"/>
                    </a:lnTo>
                    <a:lnTo>
                      <a:pt x="1232" y="1082"/>
                    </a:lnTo>
                    <a:lnTo>
                      <a:pt x="1230" y="1082"/>
                    </a:lnTo>
                    <a:lnTo>
                      <a:pt x="1230" y="1083"/>
                    </a:lnTo>
                    <a:lnTo>
                      <a:pt x="1232" y="1082"/>
                    </a:lnTo>
                    <a:lnTo>
                      <a:pt x="1232" y="1080"/>
                    </a:lnTo>
                    <a:lnTo>
                      <a:pt x="1234" y="1080"/>
                    </a:lnTo>
                    <a:lnTo>
                      <a:pt x="1234" y="1078"/>
                    </a:lnTo>
                    <a:lnTo>
                      <a:pt x="1234" y="1077"/>
                    </a:lnTo>
                    <a:lnTo>
                      <a:pt x="1236" y="1078"/>
                    </a:lnTo>
                    <a:lnTo>
                      <a:pt x="1237" y="1078"/>
                    </a:lnTo>
                    <a:lnTo>
                      <a:pt x="1237" y="1080"/>
                    </a:lnTo>
                    <a:lnTo>
                      <a:pt x="1239" y="1080"/>
                    </a:lnTo>
                    <a:lnTo>
                      <a:pt x="1239" y="1082"/>
                    </a:lnTo>
                    <a:lnTo>
                      <a:pt x="1241" y="1082"/>
                    </a:lnTo>
                    <a:lnTo>
                      <a:pt x="1241" y="1083"/>
                    </a:lnTo>
                    <a:lnTo>
                      <a:pt x="1239" y="1083"/>
                    </a:lnTo>
                    <a:lnTo>
                      <a:pt x="1239" y="1085"/>
                    </a:lnTo>
                    <a:lnTo>
                      <a:pt x="1237" y="1087"/>
                    </a:lnTo>
                    <a:lnTo>
                      <a:pt x="1236" y="1087"/>
                    </a:lnTo>
                    <a:lnTo>
                      <a:pt x="1234" y="1087"/>
                    </a:lnTo>
                    <a:lnTo>
                      <a:pt x="1232" y="1085"/>
                    </a:lnTo>
                    <a:lnTo>
                      <a:pt x="1230" y="1085"/>
                    </a:lnTo>
                    <a:lnTo>
                      <a:pt x="1232" y="1085"/>
                    </a:lnTo>
                    <a:lnTo>
                      <a:pt x="1230" y="1085"/>
                    </a:lnTo>
                    <a:lnTo>
                      <a:pt x="1232" y="1085"/>
                    </a:lnTo>
                    <a:lnTo>
                      <a:pt x="1230" y="1087"/>
                    </a:lnTo>
                    <a:lnTo>
                      <a:pt x="1232" y="1087"/>
                    </a:lnTo>
                    <a:lnTo>
                      <a:pt x="1234" y="1087"/>
                    </a:lnTo>
                    <a:lnTo>
                      <a:pt x="1234" y="1088"/>
                    </a:lnTo>
                    <a:lnTo>
                      <a:pt x="1236" y="1088"/>
                    </a:lnTo>
                    <a:lnTo>
                      <a:pt x="1237" y="1088"/>
                    </a:lnTo>
                    <a:lnTo>
                      <a:pt x="1237" y="1090"/>
                    </a:lnTo>
                    <a:lnTo>
                      <a:pt x="1236" y="1090"/>
                    </a:lnTo>
                    <a:lnTo>
                      <a:pt x="1236" y="1092"/>
                    </a:lnTo>
                    <a:lnTo>
                      <a:pt x="1234" y="1094"/>
                    </a:lnTo>
                    <a:lnTo>
                      <a:pt x="1234" y="1092"/>
                    </a:lnTo>
                    <a:lnTo>
                      <a:pt x="1234" y="1094"/>
                    </a:lnTo>
                    <a:lnTo>
                      <a:pt x="1232" y="1094"/>
                    </a:lnTo>
                    <a:lnTo>
                      <a:pt x="1230" y="1095"/>
                    </a:lnTo>
                    <a:lnTo>
                      <a:pt x="1230" y="1097"/>
                    </a:lnTo>
                    <a:lnTo>
                      <a:pt x="1229" y="1097"/>
                    </a:lnTo>
                    <a:lnTo>
                      <a:pt x="1229" y="1099"/>
                    </a:lnTo>
                    <a:lnTo>
                      <a:pt x="1227" y="1099"/>
                    </a:lnTo>
                    <a:lnTo>
                      <a:pt x="1227" y="1100"/>
                    </a:lnTo>
                    <a:lnTo>
                      <a:pt x="1225" y="1100"/>
                    </a:lnTo>
                    <a:lnTo>
                      <a:pt x="1224" y="1100"/>
                    </a:lnTo>
                    <a:lnTo>
                      <a:pt x="1224" y="1102"/>
                    </a:lnTo>
                    <a:lnTo>
                      <a:pt x="1222" y="1100"/>
                    </a:lnTo>
                    <a:lnTo>
                      <a:pt x="1220" y="1100"/>
                    </a:lnTo>
                    <a:lnTo>
                      <a:pt x="1220" y="1099"/>
                    </a:lnTo>
                    <a:lnTo>
                      <a:pt x="1220" y="1100"/>
                    </a:lnTo>
                    <a:lnTo>
                      <a:pt x="1220" y="1099"/>
                    </a:lnTo>
                    <a:lnTo>
                      <a:pt x="1219" y="1099"/>
                    </a:lnTo>
                    <a:lnTo>
                      <a:pt x="1219" y="1097"/>
                    </a:lnTo>
                    <a:lnTo>
                      <a:pt x="1217" y="1097"/>
                    </a:lnTo>
                    <a:lnTo>
                      <a:pt x="1217" y="1095"/>
                    </a:lnTo>
                    <a:lnTo>
                      <a:pt x="1219" y="1095"/>
                    </a:lnTo>
                    <a:lnTo>
                      <a:pt x="1220" y="1095"/>
                    </a:lnTo>
                    <a:lnTo>
                      <a:pt x="1220" y="1094"/>
                    </a:lnTo>
                    <a:lnTo>
                      <a:pt x="1222" y="1095"/>
                    </a:lnTo>
                    <a:lnTo>
                      <a:pt x="1224" y="1095"/>
                    </a:lnTo>
                    <a:lnTo>
                      <a:pt x="1222" y="1094"/>
                    </a:lnTo>
                    <a:lnTo>
                      <a:pt x="1220" y="1092"/>
                    </a:lnTo>
                    <a:lnTo>
                      <a:pt x="1222" y="1092"/>
                    </a:lnTo>
                    <a:lnTo>
                      <a:pt x="1220" y="1092"/>
                    </a:lnTo>
                    <a:lnTo>
                      <a:pt x="1220" y="1094"/>
                    </a:lnTo>
                    <a:lnTo>
                      <a:pt x="1219" y="1094"/>
                    </a:lnTo>
                    <a:lnTo>
                      <a:pt x="1219" y="1095"/>
                    </a:lnTo>
                    <a:lnTo>
                      <a:pt x="1217" y="1094"/>
                    </a:lnTo>
                    <a:lnTo>
                      <a:pt x="1217" y="1092"/>
                    </a:lnTo>
                    <a:lnTo>
                      <a:pt x="1219" y="1092"/>
                    </a:lnTo>
                    <a:lnTo>
                      <a:pt x="1217" y="1092"/>
                    </a:lnTo>
                    <a:lnTo>
                      <a:pt x="1215" y="1092"/>
                    </a:lnTo>
                    <a:lnTo>
                      <a:pt x="1215" y="1090"/>
                    </a:lnTo>
                    <a:lnTo>
                      <a:pt x="1215" y="1088"/>
                    </a:lnTo>
                    <a:lnTo>
                      <a:pt x="1215" y="1087"/>
                    </a:lnTo>
                    <a:lnTo>
                      <a:pt x="1215" y="1088"/>
                    </a:lnTo>
                    <a:lnTo>
                      <a:pt x="1215" y="1087"/>
                    </a:lnTo>
                    <a:lnTo>
                      <a:pt x="1215" y="1085"/>
                    </a:lnTo>
                    <a:lnTo>
                      <a:pt x="1217" y="1085"/>
                    </a:lnTo>
                    <a:lnTo>
                      <a:pt x="1217" y="1083"/>
                    </a:lnTo>
                    <a:lnTo>
                      <a:pt x="1217" y="1085"/>
                    </a:lnTo>
                    <a:lnTo>
                      <a:pt x="1219" y="1085"/>
                    </a:lnTo>
                    <a:lnTo>
                      <a:pt x="1217" y="1085"/>
                    </a:lnTo>
                    <a:lnTo>
                      <a:pt x="1219" y="1085"/>
                    </a:lnTo>
                    <a:lnTo>
                      <a:pt x="1219" y="1087"/>
                    </a:lnTo>
                    <a:lnTo>
                      <a:pt x="1219" y="1085"/>
                    </a:lnTo>
                    <a:lnTo>
                      <a:pt x="1220" y="1085"/>
                    </a:lnTo>
                    <a:lnTo>
                      <a:pt x="1220" y="1087"/>
                    </a:lnTo>
                    <a:lnTo>
                      <a:pt x="1222" y="1087"/>
                    </a:lnTo>
                    <a:lnTo>
                      <a:pt x="1224" y="1087"/>
                    </a:lnTo>
                    <a:lnTo>
                      <a:pt x="1222" y="1085"/>
                    </a:lnTo>
                    <a:lnTo>
                      <a:pt x="1220" y="1085"/>
                    </a:lnTo>
                    <a:lnTo>
                      <a:pt x="1222" y="1085"/>
                    </a:lnTo>
                    <a:lnTo>
                      <a:pt x="1220" y="1083"/>
                    </a:lnTo>
                    <a:lnTo>
                      <a:pt x="1222" y="1083"/>
                    </a:lnTo>
                    <a:lnTo>
                      <a:pt x="1222" y="1082"/>
                    </a:lnTo>
                    <a:lnTo>
                      <a:pt x="1222" y="1083"/>
                    </a:lnTo>
                    <a:lnTo>
                      <a:pt x="1224" y="1083"/>
                    </a:lnTo>
                    <a:lnTo>
                      <a:pt x="1225" y="1083"/>
                    </a:lnTo>
                    <a:lnTo>
                      <a:pt x="1225" y="1085"/>
                    </a:lnTo>
                    <a:lnTo>
                      <a:pt x="1225" y="1083"/>
                    </a:lnTo>
                    <a:lnTo>
                      <a:pt x="1225" y="1082"/>
                    </a:lnTo>
                    <a:lnTo>
                      <a:pt x="1224" y="1082"/>
                    </a:lnTo>
                    <a:lnTo>
                      <a:pt x="1222" y="1082"/>
                    </a:lnTo>
                    <a:lnTo>
                      <a:pt x="1222" y="1080"/>
                    </a:lnTo>
                    <a:lnTo>
                      <a:pt x="1222" y="1078"/>
                    </a:lnTo>
                    <a:lnTo>
                      <a:pt x="1222" y="1077"/>
                    </a:lnTo>
                    <a:lnTo>
                      <a:pt x="1224" y="1077"/>
                    </a:lnTo>
                    <a:lnTo>
                      <a:pt x="1225" y="1077"/>
                    </a:lnTo>
                    <a:lnTo>
                      <a:pt x="1225" y="1078"/>
                    </a:lnTo>
                    <a:lnTo>
                      <a:pt x="1225" y="1077"/>
                    </a:lnTo>
                    <a:lnTo>
                      <a:pt x="1227" y="1077"/>
                    </a:lnTo>
                    <a:lnTo>
                      <a:pt x="1227" y="1075"/>
                    </a:lnTo>
                    <a:lnTo>
                      <a:pt x="1229" y="1075"/>
                    </a:lnTo>
                    <a:lnTo>
                      <a:pt x="1230" y="1075"/>
                    </a:lnTo>
                    <a:lnTo>
                      <a:pt x="1232" y="1075"/>
                    </a:lnTo>
                    <a:close/>
                    <a:moveTo>
                      <a:pt x="1315" y="1549"/>
                    </a:moveTo>
                    <a:lnTo>
                      <a:pt x="1315" y="1551"/>
                    </a:lnTo>
                    <a:lnTo>
                      <a:pt x="1315" y="1553"/>
                    </a:lnTo>
                    <a:lnTo>
                      <a:pt x="1315" y="1555"/>
                    </a:lnTo>
                    <a:lnTo>
                      <a:pt x="1315" y="1556"/>
                    </a:lnTo>
                    <a:lnTo>
                      <a:pt x="1315" y="1558"/>
                    </a:lnTo>
                    <a:lnTo>
                      <a:pt x="1315" y="1560"/>
                    </a:lnTo>
                    <a:lnTo>
                      <a:pt x="1315" y="1561"/>
                    </a:lnTo>
                    <a:lnTo>
                      <a:pt x="1317" y="1563"/>
                    </a:lnTo>
                    <a:lnTo>
                      <a:pt x="1315" y="1563"/>
                    </a:lnTo>
                    <a:lnTo>
                      <a:pt x="1317" y="1565"/>
                    </a:lnTo>
                    <a:lnTo>
                      <a:pt x="1315" y="1565"/>
                    </a:lnTo>
                    <a:lnTo>
                      <a:pt x="1317" y="1566"/>
                    </a:lnTo>
                    <a:lnTo>
                      <a:pt x="1315" y="1566"/>
                    </a:lnTo>
                    <a:lnTo>
                      <a:pt x="1315" y="1568"/>
                    </a:lnTo>
                    <a:lnTo>
                      <a:pt x="1317" y="1570"/>
                    </a:lnTo>
                    <a:lnTo>
                      <a:pt x="1319" y="1572"/>
                    </a:lnTo>
                    <a:lnTo>
                      <a:pt x="1319" y="1573"/>
                    </a:lnTo>
                    <a:lnTo>
                      <a:pt x="1321" y="1575"/>
                    </a:lnTo>
                    <a:lnTo>
                      <a:pt x="1319" y="1577"/>
                    </a:lnTo>
                    <a:lnTo>
                      <a:pt x="1317" y="1577"/>
                    </a:lnTo>
                    <a:lnTo>
                      <a:pt x="1317" y="1578"/>
                    </a:lnTo>
                    <a:lnTo>
                      <a:pt x="1315" y="1577"/>
                    </a:lnTo>
                    <a:lnTo>
                      <a:pt x="1314" y="1575"/>
                    </a:lnTo>
                    <a:lnTo>
                      <a:pt x="1312" y="1573"/>
                    </a:lnTo>
                    <a:lnTo>
                      <a:pt x="1310" y="1572"/>
                    </a:lnTo>
                    <a:lnTo>
                      <a:pt x="1309" y="1570"/>
                    </a:lnTo>
                    <a:lnTo>
                      <a:pt x="1309" y="1572"/>
                    </a:lnTo>
                    <a:lnTo>
                      <a:pt x="1309" y="1573"/>
                    </a:lnTo>
                    <a:lnTo>
                      <a:pt x="1310" y="1573"/>
                    </a:lnTo>
                    <a:lnTo>
                      <a:pt x="1310" y="1575"/>
                    </a:lnTo>
                    <a:lnTo>
                      <a:pt x="1312" y="1575"/>
                    </a:lnTo>
                    <a:lnTo>
                      <a:pt x="1312" y="1577"/>
                    </a:lnTo>
                    <a:lnTo>
                      <a:pt x="1312" y="1578"/>
                    </a:lnTo>
                    <a:lnTo>
                      <a:pt x="1312" y="1580"/>
                    </a:lnTo>
                    <a:lnTo>
                      <a:pt x="1312" y="1582"/>
                    </a:lnTo>
                    <a:lnTo>
                      <a:pt x="1314" y="1582"/>
                    </a:lnTo>
                    <a:lnTo>
                      <a:pt x="1314" y="1583"/>
                    </a:lnTo>
                    <a:lnTo>
                      <a:pt x="1314" y="1582"/>
                    </a:lnTo>
                    <a:lnTo>
                      <a:pt x="1315" y="1582"/>
                    </a:lnTo>
                    <a:lnTo>
                      <a:pt x="1315" y="1583"/>
                    </a:lnTo>
                    <a:lnTo>
                      <a:pt x="1317" y="1583"/>
                    </a:lnTo>
                    <a:lnTo>
                      <a:pt x="1317" y="1585"/>
                    </a:lnTo>
                    <a:lnTo>
                      <a:pt x="1319" y="1585"/>
                    </a:lnTo>
                    <a:lnTo>
                      <a:pt x="1321" y="1585"/>
                    </a:lnTo>
                    <a:lnTo>
                      <a:pt x="1322" y="1585"/>
                    </a:lnTo>
                    <a:lnTo>
                      <a:pt x="1321" y="1585"/>
                    </a:lnTo>
                    <a:lnTo>
                      <a:pt x="1322" y="1587"/>
                    </a:lnTo>
                    <a:lnTo>
                      <a:pt x="1321" y="1589"/>
                    </a:lnTo>
                    <a:lnTo>
                      <a:pt x="1322" y="1587"/>
                    </a:lnTo>
                    <a:lnTo>
                      <a:pt x="1324" y="1587"/>
                    </a:lnTo>
                    <a:lnTo>
                      <a:pt x="1324" y="1589"/>
                    </a:lnTo>
                    <a:lnTo>
                      <a:pt x="1322" y="1590"/>
                    </a:lnTo>
                    <a:lnTo>
                      <a:pt x="1321" y="1590"/>
                    </a:lnTo>
                    <a:lnTo>
                      <a:pt x="1319" y="1590"/>
                    </a:lnTo>
                    <a:lnTo>
                      <a:pt x="1317" y="1589"/>
                    </a:lnTo>
                    <a:lnTo>
                      <a:pt x="1315" y="1589"/>
                    </a:lnTo>
                    <a:lnTo>
                      <a:pt x="1314" y="1587"/>
                    </a:lnTo>
                    <a:lnTo>
                      <a:pt x="1315" y="1589"/>
                    </a:lnTo>
                    <a:lnTo>
                      <a:pt x="1314" y="1589"/>
                    </a:lnTo>
                    <a:lnTo>
                      <a:pt x="1312" y="1587"/>
                    </a:lnTo>
                    <a:lnTo>
                      <a:pt x="1310" y="1587"/>
                    </a:lnTo>
                    <a:lnTo>
                      <a:pt x="1309" y="1585"/>
                    </a:lnTo>
                    <a:lnTo>
                      <a:pt x="1307" y="1585"/>
                    </a:lnTo>
                    <a:lnTo>
                      <a:pt x="1305" y="1583"/>
                    </a:lnTo>
                    <a:lnTo>
                      <a:pt x="1305" y="1582"/>
                    </a:lnTo>
                    <a:lnTo>
                      <a:pt x="1304" y="1582"/>
                    </a:lnTo>
                    <a:lnTo>
                      <a:pt x="1304" y="1580"/>
                    </a:lnTo>
                    <a:lnTo>
                      <a:pt x="1305" y="1580"/>
                    </a:lnTo>
                    <a:lnTo>
                      <a:pt x="1304" y="1580"/>
                    </a:lnTo>
                    <a:lnTo>
                      <a:pt x="1302" y="1578"/>
                    </a:lnTo>
                    <a:lnTo>
                      <a:pt x="1302" y="1577"/>
                    </a:lnTo>
                    <a:lnTo>
                      <a:pt x="1302" y="1575"/>
                    </a:lnTo>
                    <a:lnTo>
                      <a:pt x="1302" y="1573"/>
                    </a:lnTo>
                    <a:lnTo>
                      <a:pt x="1302" y="1572"/>
                    </a:lnTo>
                    <a:lnTo>
                      <a:pt x="1300" y="1570"/>
                    </a:lnTo>
                    <a:lnTo>
                      <a:pt x="1302" y="1570"/>
                    </a:lnTo>
                    <a:lnTo>
                      <a:pt x="1304" y="1570"/>
                    </a:lnTo>
                    <a:lnTo>
                      <a:pt x="1302" y="1570"/>
                    </a:lnTo>
                    <a:lnTo>
                      <a:pt x="1302" y="1568"/>
                    </a:lnTo>
                    <a:lnTo>
                      <a:pt x="1300" y="1568"/>
                    </a:lnTo>
                    <a:lnTo>
                      <a:pt x="1300" y="1566"/>
                    </a:lnTo>
                    <a:lnTo>
                      <a:pt x="1302" y="1566"/>
                    </a:lnTo>
                    <a:lnTo>
                      <a:pt x="1302" y="1565"/>
                    </a:lnTo>
                    <a:lnTo>
                      <a:pt x="1304" y="1565"/>
                    </a:lnTo>
                    <a:lnTo>
                      <a:pt x="1305" y="1565"/>
                    </a:lnTo>
                    <a:lnTo>
                      <a:pt x="1307" y="1565"/>
                    </a:lnTo>
                    <a:lnTo>
                      <a:pt x="1309" y="1565"/>
                    </a:lnTo>
                    <a:lnTo>
                      <a:pt x="1309" y="1566"/>
                    </a:lnTo>
                    <a:lnTo>
                      <a:pt x="1310" y="1566"/>
                    </a:lnTo>
                    <a:lnTo>
                      <a:pt x="1310" y="1565"/>
                    </a:lnTo>
                    <a:lnTo>
                      <a:pt x="1310" y="1563"/>
                    </a:lnTo>
                    <a:lnTo>
                      <a:pt x="1309" y="1563"/>
                    </a:lnTo>
                    <a:lnTo>
                      <a:pt x="1307" y="1561"/>
                    </a:lnTo>
                    <a:lnTo>
                      <a:pt x="1307" y="1560"/>
                    </a:lnTo>
                    <a:lnTo>
                      <a:pt x="1307" y="1558"/>
                    </a:lnTo>
                    <a:lnTo>
                      <a:pt x="1307" y="1556"/>
                    </a:lnTo>
                    <a:lnTo>
                      <a:pt x="1309" y="1556"/>
                    </a:lnTo>
                    <a:lnTo>
                      <a:pt x="1310" y="1555"/>
                    </a:lnTo>
                    <a:lnTo>
                      <a:pt x="1312" y="1553"/>
                    </a:lnTo>
                    <a:lnTo>
                      <a:pt x="1312" y="1551"/>
                    </a:lnTo>
                    <a:lnTo>
                      <a:pt x="1312" y="1549"/>
                    </a:lnTo>
                    <a:lnTo>
                      <a:pt x="1314" y="1549"/>
                    </a:lnTo>
                    <a:lnTo>
                      <a:pt x="1315" y="1549"/>
                    </a:lnTo>
                    <a:close/>
                    <a:moveTo>
                      <a:pt x="1174" y="1502"/>
                    </a:moveTo>
                    <a:lnTo>
                      <a:pt x="1174" y="1504"/>
                    </a:lnTo>
                    <a:lnTo>
                      <a:pt x="1176" y="1504"/>
                    </a:lnTo>
                    <a:lnTo>
                      <a:pt x="1174" y="1504"/>
                    </a:lnTo>
                    <a:lnTo>
                      <a:pt x="1176" y="1505"/>
                    </a:lnTo>
                    <a:lnTo>
                      <a:pt x="1178" y="1505"/>
                    </a:lnTo>
                    <a:lnTo>
                      <a:pt x="1178" y="1507"/>
                    </a:lnTo>
                    <a:lnTo>
                      <a:pt x="1179" y="1507"/>
                    </a:lnTo>
                    <a:lnTo>
                      <a:pt x="1179" y="1505"/>
                    </a:lnTo>
                    <a:lnTo>
                      <a:pt x="1179" y="1507"/>
                    </a:lnTo>
                    <a:lnTo>
                      <a:pt x="1181" y="1507"/>
                    </a:lnTo>
                    <a:lnTo>
                      <a:pt x="1181" y="1509"/>
                    </a:lnTo>
                    <a:lnTo>
                      <a:pt x="1179" y="1509"/>
                    </a:lnTo>
                    <a:lnTo>
                      <a:pt x="1181" y="1509"/>
                    </a:lnTo>
                    <a:lnTo>
                      <a:pt x="1181" y="1510"/>
                    </a:lnTo>
                    <a:lnTo>
                      <a:pt x="1179" y="1510"/>
                    </a:lnTo>
                    <a:lnTo>
                      <a:pt x="1181" y="1510"/>
                    </a:lnTo>
                    <a:lnTo>
                      <a:pt x="1183" y="1510"/>
                    </a:lnTo>
                    <a:lnTo>
                      <a:pt x="1183" y="1512"/>
                    </a:lnTo>
                    <a:lnTo>
                      <a:pt x="1183" y="1510"/>
                    </a:lnTo>
                    <a:lnTo>
                      <a:pt x="1185" y="1510"/>
                    </a:lnTo>
                    <a:lnTo>
                      <a:pt x="1183" y="1512"/>
                    </a:lnTo>
                    <a:lnTo>
                      <a:pt x="1183" y="1514"/>
                    </a:lnTo>
                    <a:lnTo>
                      <a:pt x="1185" y="1514"/>
                    </a:lnTo>
                    <a:lnTo>
                      <a:pt x="1185" y="1515"/>
                    </a:lnTo>
                    <a:lnTo>
                      <a:pt x="1186" y="1515"/>
                    </a:lnTo>
                    <a:lnTo>
                      <a:pt x="1185" y="1515"/>
                    </a:lnTo>
                    <a:lnTo>
                      <a:pt x="1185" y="1514"/>
                    </a:lnTo>
                    <a:lnTo>
                      <a:pt x="1186" y="1514"/>
                    </a:lnTo>
                    <a:lnTo>
                      <a:pt x="1186" y="1512"/>
                    </a:lnTo>
                    <a:lnTo>
                      <a:pt x="1186" y="1514"/>
                    </a:lnTo>
                    <a:lnTo>
                      <a:pt x="1186" y="1515"/>
                    </a:lnTo>
                    <a:lnTo>
                      <a:pt x="1188" y="1515"/>
                    </a:lnTo>
                    <a:lnTo>
                      <a:pt x="1186" y="1517"/>
                    </a:lnTo>
                    <a:lnTo>
                      <a:pt x="1188" y="1515"/>
                    </a:lnTo>
                    <a:lnTo>
                      <a:pt x="1188" y="1514"/>
                    </a:lnTo>
                    <a:lnTo>
                      <a:pt x="1188" y="1515"/>
                    </a:lnTo>
                    <a:lnTo>
                      <a:pt x="1190" y="1515"/>
                    </a:lnTo>
                    <a:lnTo>
                      <a:pt x="1190" y="1517"/>
                    </a:lnTo>
                    <a:lnTo>
                      <a:pt x="1190" y="1515"/>
                    </a:lnTo>
                    <a:lnTo>
                      <a:pt x="1191" y="1517"/>
                    </a:lnTo>
                    <a:lnTo>
                      <a:pt x="1190" y="1517"/>
                    </a:lnTo>
                    <a:lnTo>
                      <a:pt x="1191" y="1517"/>
                    </a:lnTo>
                    <a:lnTo>
                      <a:pt x="1193" y="1519"/>
                    </a:lnTo>
                    <a:lnTo>
                      <a:pt x="1193" y="1517"/>
                    </a:lnTo>
                    <a:lnTo>
                      <a:pt x="1193" y="1515"/>
                    </a:lnTo>
                    <a:lnTo>
                      <a:pt x="1191" y="1515"/>
                    </a:lnTo>
                    <a:lnTo>
                      <a:pt x="1191" y="1514"/>
                    </a:lnTo>
                    <a:lnTo>
                      <a:pt x="1193" y="1514"/>
                    </a:lnTo>
                    <a:lnTo>
                      <a:pt x="1193" y="1515"/>
                    </a:lnTo>
                    <a:lnTo>
                      <a:pt x="1195" y="1515"/>
                    </a:lnTo>
                    <a:lnTo>
                      <a:pt x="1193" y="1515"/>
                    </a:lnTo>
                    <a:lnTo>
                      <a:pt x="1195" y="1517"/>
                    </a:lnTo>
                    <a:lnTo>
                      <a:pt x="1196" y="1517"/>
                    </a:lnTo>
                    <a:lnTo>
                      <a:pt x="1195" y="1517"/>
                    </a:lnTo>
                    <a:lnTo>
                      <a:pt x="1196" y="1517"/>
                    </a:lnTo>
                    <a:lnTo>
                      <a:pt x="1198" y="1517"/>
                    </a:lnTo>
                    <a:lnTo>
                      <a:pt x="1198" y="1519"/>
                    </a:lnTo>
                    <a:lnTo>
                      <a:pt x="1196" y="1517"/>
                    </a:lnTo>
                    <a:lnTo>
                      <a:pt x="1198" y="1519"/>
                    </a:lnTo>
                    <a:lnTo>
                      <a:pt x="1196" y="1519"/>
                    </a:lnTo>
                    <a:lnTo>
                      <a:pt x="1198" y="1519"/>
                    </a:lnTo>
                    <a:lnTo>
                      <a:pt x="1198" y="1521"/>
                    </a:lnTo>
                    <a:lnTo>
                      <a:pt x="1200" y="1521"/>
                    </a:lnTo>
                    <a:lnTo>
                      <a:pt x="1198" y="1521"/>
                    </a:lnTo>
                    <a:lnTo>
                      <a:pt x="1200" y="1521"/>
                    </a:lnTo>
                    <a:lnTo>
                      <a:pt x="1198" y="1519"/>
                    </a:lnTo>
                    <a:lnTo>
                      <a:pt x="1200" y="1519"/>
                    </a:lnTo>
                    <a:lnTo>
                      <a:pt x="1202" y="1519"/>
                    </a:lnTo>
                    <a:lnTo>
                      <a:pt x="1202" y="1521"/>
                    </a:lnTo>
                    <a:lnTo>
                      <a:pt x="1203" y="1522"/>
                    </a:lnTo>
                    <a:lnTo>
                      <a:pt x="1202" y="1521"/>
                    </a:lnTo>
                    <a:lnTo>
                      <a:pt x="1202" y="1519"/>
                    </a:lnTo>
                    <a:lnTo>
                      <a:pt x="1203" y="1521"/>
                    </a:lnTo>
                    <a:lnTo>
                      <a:pt x="1205" y="1522"/>
                    </a:lnTo>
                    <a:lnTo>
                      <a:pt x="1205" y="1521"/>
                    </a:lnTo>
                    <a:lnTo>
                      <a:pt x="1205" y="1522"/>
                    </a:lnTo>
                    <a:lnTo>
                      <a:pt x="1207" y="1522"/>
                    </a:lnTo>
                    <a:lnTo>
                      <a:pt x="1205" y="1522"/>
                    </a:lnTo>
                    <a:lnTo>
                      <a:pt x="1207" y="1522"/>
                    </a:lnTo>
                    <a:lnTo>
                      <a:pt x="1207" y="1524"/>
                    </a:lnTo>
                    <a:lnTo>
                      <a:pt x="1208" y="1524"/>
                    </a:lnTo>
                    <a:lnTo>
                      <a:pt x="1207" y="1524"/>
                    </a:lnTo>
                    <a:lnTo>
                      <a:pt x="1208" y="1524"/>
                    </a:lnTo>
                    <a:lnTo>
                      <a:pt x="1208" y="1526"/>
                    </a:lnTo>
                    <a:lnTo>
                      <a:pt x="1208" y="1527"/>
                    </a:lnTo>
                    <a:lnTo>
                      <a:pt x="1208" y="1526"/>
                    </a:lnTo>
                    <a:lnTo>
                      <a:pt x="1210" y="1526"/>
                    </a:lnTo>
                    <a:lnTo>
                      <a:pt x="1208" y="1526"/>
                    </a:lnTo>
                    <a:lnTo>
                      <a:pt x="1208" y="1524"/>
                    </a:lnTo>
                    <a:lnTo>
                      <a:pt x="1208" y="1522"/>
                    </a:lnTo>
                    <a:lnTo>
                      <a:pt x="1210" y="1522"/>
                    </a:lnTo>
                    <a:lnTo>
                      <a:pt x="1208" y="1522"/>
                    </a:lnTo>
                    <a:lnTo>
                      <a:pt x="1210" y="1524"/>
                    </a:lnTo>
                    <a:lnTo>
                      <a:pt x="1212" y="1524"/>
                    </a:lnTo>
                    <a:lnTo>
                      <a:pt x="1212" y="1526"/>
                    </a:lnTo>
                    <a:lnTo>
                      <a:pt x="1212" y="1527"/>
                    </a:lnTo>
                    <a:lnTo>
                      <a:pt x="1210" y="1527"/>
                    </a:lnTo>
                    <a:lnTo>
                      <a:pt x="1212" y="1529"/>
                    </a:lnTo>
                    <a:lnTo>
                      <a:pt x="1212" y="1531"/>
                    </a:lnTo>
                    <a:lnTo>
                      <a:pt x="1212" y="1532"/>
                    </a:lnTo>
                    <a:lnTo>
                      <a:pt x="1213" y="1532"/>
                    </a:lnTo>
                    <a:lnTo>
                      <a:pt x="1213" y="1534"/>
                    </a:lnTo>
                    <a:lnTo>
                      <a:pt x="1213" y="1532"/>
                    </a:lnTo>
                    <a:lnTo>
                      <a:pt x="1213" y="1531"/>
                    </a:lnTo>
                    <a:lnTo>
                      <a:pt x="1215" y="1531"/>
                    </a:lnTo>
                    <a:lnTo>
                      <a:pt x="1213" y="1531"/>
                    </a:lnTo>
                    <a:lnTo>
                      <a:pt x="1215" y="1529"/>
                    </a:lnTo>
                    <a:lnTo>
                      <a:pt x="1213" y="1531"/>
                    </a:lnTo>
                    <a:lnTo>
                      <a:pt x="1213" y="1529"/>
                    </a:lnTo>
                    <a:lnTo>
                      <a:pt x="1213" y="1527"/>
                    </a:lnTo>
                    <a:lnTo>
                      <a:pt x="1212" y="1527"/>
                    </a:lnTo>
                    <a:lnTo>
                      <a:pt x="1213" y="1527"/>
                    </a:lnTo>
                    <a:lnTo>
                      <a:pt x="1213" y="1526"/>
                    </a:lnTo>
                    <a:lnTo>
                      <a:pt x="1215" y="1526"/>
                    </a:lnTo>
                    <a:lnTo>
                      <a:pt x="1215" y="1527"/>
                    </a:lnTo>
                    <a:lnTo>
                      <a:pt x="1217" y="1527"/>
                    </a:lnTo>
                    <a:lnTo>
                      <a:pt x="1215" y="1527"/>
                    </a:lnTo>
                    <a:lnTo>
                      <a:pt x="1217" y="1527"/>
                    </a:lnTo>
                    <a:lnTo>
                      <a:pt x="1217" y="1529"/>
                    </a:lnTo>
                    <a:lnTo>
                      <a:pt x="1217" y="1527"/>
                    </a:lnTo>
                    <a:lnTo>
                      <a:pt x="1217" y="1529"/>
                    </a:lnTo>
                    <a:lnTo>
                      <a:pt x="1215" y="1529"/>
                    </a:lnTo>
                    <a:lnTo>
                      <a:pt x="1217" y="1529"/>
                    </a:lnTo>
                    <a:lnTo>
                      <a:pt x="1215" y="1529"/>
                    </a:lnTo>
                    <a:lnTo>
                      <a:pt x="1217" y="1529"/>
                    </a:lnTo>
                    <a:lnTo>
                      <a:pt x="1219" y="1529"/>
                    </a:lnTo>
                    <a:lnTo>
                      <a:pt x="1217" y="1529"/>
                    </a:lnTo>
                    <a:lnTo>
                      <a:pt x="1219" y="1529"/>
                    </a:lnTo>
                    <a:lnTo>
                      <a:pt x="1219" y="1531"/>
                    </a:lnTo>
                    <a:lnTo>
                      <a:pt x="1220" y="1531"/>
                    </a:lnTo>
                    <a:lnTo>
                      <a:pt x="1219" y="1531"/>
                    </a:lnTo>
                    <a:lnTo>
                      <a:pt x="1219" y="1532"/>
                    </a:lnTo>
                    <a:lnTo>
                      <a:pt x="1217" y="1532"/>
                    </a:lnTo>
                    <a:lnTo>
                      <a:pt x="1219" y="1532"/>
                    </a:lnTo>
                    <a:lnTo>
                      <a:pt x="1217" y="1532"/>
                    </a:lnTo>
                    <a:lnTo>
                      <a:pt x="1219" y="1532"/>
                    </a:lnTo>
                    <a:lnTo>
                      <a:pt x="1220" y="1532"/>
                    </a:lnTo>
                    <a:lnTo>
                      <a:pt x="1220" y="1534"/>
                    </a:lnTo>
                    <a:lnTo>
                      <a:pt x="1222" y="1534"/>
                    </a:lnTo>
                    <a:lnTo>
                      <a:pt x="1224" y="1534"/>
                    </a:lnTo>
                    <a:lnTo>
                      <a:pt x="1224" y="1536"/>
                    </a:lnTo>
                    <a:lnTo>
                      <a:pt x="1222" y="1536"/>
                    </a:lnTo>
                    <a:lnTo>
                      <a:pt x="1224" y="1536"/>
                    </a:lnTo>
                    <a:lnTo>
                      <a:pt x="1225" y="1536"/>
                    </a:lnTo>
                    <a:lnTo>
                      <a:pt x="1225" y="1538"/>
                    </a:lnTo>
                    <a:lnTo>
                      <a:pt x="1227" y="1538"/>
                    </a:lnTo>
                    <a:lnTo>
                      <a:pt x="1225" y="1539"/>
                    </a:lnTo>
                    <a:lnTo>
                      <a:pt x="1225" y="1538"/>
                    </a:lnTo>
                    <a:lnTo>
                      <a:pt x="1224" y="1539"/>
                    </a:lnTo>
                    <a:lnTo>
                      <a:pt x="1222" y="1539"/>
                    </a:lnTo>
                    <a:lnTo>
                      <a:pt x="1222" y="1538"/>
                    </a:lnTo>
                    <a:lnTo>
                      <a:pt x="1222" y="1539"/>
                    </a:lnTo>
                    <a:lnTo>
                      <a:pt x="1220" y="1539"/>
                    </a:lnTo>
                    <a:lnTo>
                      <a:pt x="1220" y="1538"/>
                    </a:lnTo>
                    <a:lnTo>
                      <a:pt x="1219" y="1538"/>
                    </a:lnTo>
                    <a:lnTo>
                      <a:pt x="1217" y="1536"/>
                    </a:lnTo>
                    <a:lnTo>
                      <a:pt x="1219" y="1536"/>
                    </a:lnTo>
                    <a:lnTo>
                      <a:pt x="1217" y="1536"/>
                    </a:lnTo>
                    <a:lnTo>
                      <a:pt x="1215" y="1536"/>
                    </a:lnTo>
                    <a:lnTo>
                      <a:pt x="1215" y="1538"/>
                    </a:lnTo>
                    <a:lnTo>
                      <a:pt x="1215" y="1536"/>
                    </a:lnTo>
                    <a:lnTo>
                      <a:pt x="1213" y="1538"/>
                    </a:lnTo>
                    <a:lnTo>
                      <a:pt x="1212" y="1538"/>
                    </a:lnTo>
                    <a:lnTo>
                      <a:pt x="1210" y="1538"/>
                    </a:lnTo>
                    <a:lnTo>
                      <a:pt x="1210" y="1536"/>
                    </a:lnTo>
                    <a:lnTo>
                      <a:pt x="1208" y="1534"/>
                    </a:lnTo>
                    <a:lnTo>
                      <a:pt x="1210" y="1534"/>
                    </a:lnTo>
                    <a:lnTo>
                      <a:pt x="1212" y="1534"/>
                    </a:lnTo>
                    <a:lnTo>
                      <a:pt x="1212" y="1536"/>
                    </a:lnTo>
                    <a:lnTo>
                      <a:pt x="1212" y="1534"/>
                    </a:lnTo>
                    <a:lnTo>
                      <a:pt x="1213" y="1536"/>
                    </a:lnTo>
                    <a:lnTo>
                      <a:pt x="1213" y="1534"/>
                    </a:lnTo>
                    <a:lnTo>
                      <a:pt x="1212" y="1534"/>
                    </a:lnTo>
                    <a:lnTo>
                      <a:pt x="1210" y="1534"/>
                    </a:lnTo>
                    <a:lnTo>
                      <a:pt x="1210" y="1532"/>
                    </a:lnTo>
                    <a:lnTo>
                      <a:pt x="1210" y="1531"/>
                    </a:lnTo>
                    <a:lnTo>
                      <a:pt x="1212" y="1531"/>
                    </a:lnTo>
                    <a:lnTo>
                      <a:pt x="1210" y="1531"/>
                    </a:lnTo>
                    <a:lnTo>
                      <a:pt x="1210" y="1529"/>
                    </a:lnTo>
                    <a:lnTo>
                      <a:pt x="1210" y="1531"/>
                    </a:lnTo>
                    <a:lnTo>
                      <a:pt x="1210" y="1529"/>
                    </a:lnTo>
                    <a:lnTo>
                      <a:pt x="1208" y="1527"/>
                    </a:lnTo>
                    <a:lnTo>
                      <a:pt x="1208" y="1529"/>
                    </a:lnTo>
                    <a:lnTo>
                      <a:pt x="1208" y="1531"/>
                    </a:lnTo>
                    <a:lnTo>
                      <a:pt x="1208" y="1529"/>
                    </a:lnTo>
                    <a:lnTo>
                      <a:pt x="1207" y="1529"/>
                    </a:lnTo>
                    <a:lnTo>
                      <a:pt x="1207" y="1527"/>
                    </a:lnTo>
                    <a:lnTo>
                      <a:pt x="1207" y="1526"/>
                    </a:lnTo>
                    <a:lnTo>
                      <a:pt x="1205" y="1526"/>
                    </a:lnTo>
                    <a:lnTo>
                      <a:pt x="1207" y="1527"/>
                    </a:lnTo>
                    <a:lnTo>
                      <a:pt x="1205" y="1527"/>
                    </a:lnTo>
                    <a:lnTo>
                      <a:pt x="1205" y="1529"/>
                    </a:lnTo>
                    <a:lnTo>
                      <a:pt x="1205" y="1527"/>
                    </a:lnTo>
                    <a:lnTo>
                      <a:pt x="1207" y="1527"/>
                    </a:lnTo>
                    <a:lnTo>
                      <a:pt x="1205" y="1527"/>
                    </a:lnTo>
                    <a:lnTo>
                      <a:pt x="1203" y="1527"/>
                    </a:lnTo>
                    <a:lnTo>
                      <a:pt x="1203" y="1526"/>
                    </a:lnTo>
                    <a:lnTo>
                      <a:pt x="1203" y="1524"/>
                    </a:lnTo>
                    <a:lnTo>
                      <a:pt x="1202" y="1524"/>
                    </a:lnTo>
                    <a:lnTo>
                      <a:pt x="1203" y="1526"/>
                    </a:lnTo>
                    <a:lnTo>
                      <a:pt x="1203" y="1527"/>
                    </a:lnTo>
                    <a:lnTo>
                      <a:pt x="1203" y="1526"/>
                    </a:lnTo>
                    <a:lnTo>
                      <a:pt x="1202" y="1526"/>
                    </a:lnTo>
                    <a:lnTo>
                      <a:pt x="1202" y="1524"/>
                    </a:lnTo>
                    <a:lnTo>
                      <a:pt x="1202" y="1522"/>
                    </a:lnTo>
                    <a:lnTo>
                      <a:pt x="1200" y="1522"/>
                    </a:lnTo>
                    <a:lnTo>
                      <a:pt x="1200" y="1521"/>
                    </a:lnTo>
                    <a:lnTo>
                      <a:pt x="1200" y="1522"/>
                    </a:lnTo>
                    <a:lnTo>
                      <a:pt x="1200" y="1524"/>
                    </a:lnTo>
                    <a:lnTo>
                      <a:pt x="1198" y="1522"/>
                    </a:lnTo>
                    <a:lnTo>
                      <a:pt x="1196" y="1524"/>
                    </a:lnTo>
                    <a:lnTo>
                      <a:pt x="1196" y="1522"/>
                    </a:lnTo>
                    <a:lnTo>
                      <a:pt x="1195" y="1522"/>
                    </a:lnTo>
                    <a:lnTo>
                      <a:pt x="1195" y="1521"/>
                    </a:lnTo>
                    <a:lnTo>
                      <a:pt x="1195" y="1522"/>
                    </a:lnTo>
                    <a:lnTo>
                      <a:pt x="1193" y="1521"/>
                    </a:lnTo>
                    <a:lnTo>
                      <a:pt x="1195" y="1522"/>
                    </a:lnTo>
                    <a:lnTo>
                      <a:pt x="1196" y="1524"/>
                    </a:lnTo>
                    <a:lnTo>
                      <a:pt x="1195" y="1524"/>
                    </a:lnTo>
                    <a:lnTo>
                      <a:pt x="1193" y="1526"/>
                    </a:lnTo>
                    <a:lnTo>
                      <a:pt x="1195" y="1524"/>
                    </a:lnTo>
                    <a:lnTo>
                      <a:pt x="1193" y="1524"/>
                    </a:lnTo>
                    <a:lnTo>
                      <a:pt x="1193" y="1522"/>
                    </a:lnTo>
                    <a:lnTo>
                      <a:pt x="1193" y="1524"/>
                    </a:lnTo>
                    <a:lnTo>
                      <a:pt x="1191" y="1522"/>
                    </a:lnTo>
                    <a:lnTo>
                      <a:pt x="1191" y="1524"/>
                    </a:lnTo>
                    <a:lnTo>
                      <a:pt x="1191" y="1522"/>
                    </a:lnTo>
                    <a:lnTo>
                      <a:pt x="1190" y="1522"/>
                    </a:lnTo>
                    <a:lnTo>
                      <a:pt x="1191" y="1524"/>
                    </a:lnTo>
                    <a:lnTo>
                      <a:pt x="1190" y="1524"/>
                    </a:lnTo>
                    <a:lnTo>
                      <a:pt x="1190" y="1522"/>
                    </a:lnTo>
                    <a:lnTo>
                      <a:pt x="1188" y="1521"/>
                    </a:lnTo>
                    <a:lnTo>
                      <a:pt x="1190" y="1521"/>
                    </a:lnTo>
                    <a:lnTo>
                      <a:pt x="1188" y="1519"/>
                    </a:lnTo>
                    <a:lnTo>
                      <a:pt x="1188" y="1521"/>
                    </a:lnTo>
                    <a:lnTo>
                      <a:pt x="1190" y="1522"/>
                    </a:lnTo>
                    <a:lnTo>
                      <a:pt x="1188" y="1524"/>
                    </a:lnTo>
                    <a:lnTo>
                      <a:pt x="1188" y="1526"/>
                    </a:lnTo>
                    <a:lnTo>
                      <a:pt x="1188" y="1524"/>
                    </a:lnTo>
                    <a:lnTo>
                      <a:pt x="1188" y="1522"/>
                    </a:lnTo>
                    <a:lnTo>
                      <a:pt x="1188" y="1524"/>
                    </a:lnTo>
                    <a:lnTo>
                      <a:pt x="1186" y="1524"/>
                    </a:lnTo>
                    <a:lnTo>
                      <a:pt x="1185" y="1524"/>
                    </a:lnTo>
                    <a:lnTo>
                      <a:pt x="1185" y="1522"/>
                    </a:lnTo>
                    <a:lnTo>
                      <a:pt x="1186" y="1522"/>
                    </a:lnTo>
                    <a:lnTo>
                      <a:pt x="1186" y="1521"/>
                    </a:lnTo>
                    <a:lnTo>
                      <a:pt x="1185" y="1521"/>
                    </a:lnTo>
                    <a:lnTo>
                      <a:pt x="1185" y="1519"/>
                    </a:lnTo>
                    <a:lnTo>
                      <a:pt x="1185" y="1521"/>
                    </a:lnTo>
                    <a:lnTo>
                      <a:pt x="1185" y="1522"/>
                    </a:lnTo>
                    <a:lnTo>
                      <a:pt x="1185" y="1521"/>
                    </a:lnTo>
                    <a:lnTo>
                      <a:pt x="1183" y="1521"/>
                    </a:lnTo>
                    <a:lnTo>
                      <a:pt x="1183" y="1519"/>
                    </a:lnTo>
                    <a:lnTo>
                      <a:pt x="1183" y="1517"/>
                    </a:lnTo>
                    <a:lnTo>
                      <a:pt x="1181" y="1517"/>
                    </a:lnTo>
                    <a:lnTo>
                      <a:pt x="1181" y="1515"/>
                    </a:lnTo>
                    <a:lnTo>
                      <a:pt x="1181" y="1517"/>
                    </a:lnTo>
                    <a:lnTo>
                      <a:pt x="1179" y="1517"/>
                    </a:lnTo>
                    <a:lnTo>
                      <a:pt x="1181" y="1515"/>
                    </a:lnTo>
                    <a:lnTo>
                      <a:pt x="1179" y="1517"/>
                    </a:lnTo>
                    <a:lnTo>
                      <a:pt x="1179" y="1515"/>
                    </a:lnTo>
                    <a:lnTo>
                      <a:pt x="1179" y="1514"/>
                    </a:lnTo>
                    <a:lnTo>
                      <a:pt x="1179" y="1512"/>
                    </a:lnTo>
                    <a:lnTo>
                      <a:pt x="1179" y="1514"/>
                    </a:lnTo>
                    <a:lnTo>
                      <a:pt x="1179" y="1515"/>
                    </a:lnTo>
                    <a:lnTo>
                      <a:pt x="1179" y="1514"/>
                    </a:lnTo>
                    <a:lnTo>
                      <a:pt x="1178" y="1515"/>
                    </a:lnTo>
                    <a:lnTo>
                      <a:pt x="1176" y="1515"/>
                    </a:lnTo>
                    <a:lnTo>
                      <a:pt x="1176" y="1514"/>
                    </a:lnTo>
                    <a:lnTo>
                      <a:pt x="1176" y="1512"/>
                    </a:lnTo>
                    <a:lnTo>
                      <a:pt x="1176" y="1510"/>
                    </a:lnTo>
                    <a:lnTo>
                      <a:pt x="1174" y="1510"/>
                    </a:lnTo>
                    <a:lnTo>
                      <a:pt x="1174" y="1509"/>
                    </a:lnTo>
                    <a:lnTo>
                      <a:pt x="1176" y="1509"/>
                    </a:lnTo>
                    <a:lnTo>
                      <a:pt x="1176" y="1510"/>
                    </a:lnTo>
                    <a:lnTo>
                      <a:pt x="1178" y="1510"/>
                    </a:lnTo>
                    <a:lnTo>
                      <a:pt x="1176" y="1510"/>
                    </a:lnTo>
                    <a:lnTo>
                      <a:pt x="1176" y="1509"/>
                    </a:lnTo>
                    <a:lnTo>
                      <a:pt x="1174" y="1509"/>
                    </a:lnTo>
                    <a:lnTo>
                      <a:pt x="1173" y="1507"/>
                    </a:lnTo>
                    <a:lnTo>
                      <a:pt x="1174" y="1507"/>
                    </a:lnTo>
                    <a:lnTo>
                      <a:pt x="1176" y="1507"/>
                    </a:lnTo>
                    <a:lnTo>
                      <a:pt x="1174" y="1507"/>
                    </a:lnTo>
                    <a:lnTo>
                      <a:pt x="1173" y="1505"/>
                    </a:lnTo>
                    <a:lnTo>
                      <a:pt x="1173" y="1504"/>
                    </a:lnTo>
                    <a:lnTo>
                      <a:pt x="1171" y="1502"/>
                    </a:lnTo>
                    <a:lnTo>
                      <a:pt x="1173" y="1504"/>
                    </a:lnTo>
                    <a:lnTo>
                      <a:pt x="1173" y="1502"/>
                    </a:lnTo>
                    <a:lnTo>
                      <a:pt x="1174" y="1502"/>
                    </a:lnTo>
                    <a:close/>
                    <a:moveTo>
                      <a:pt x="1278" y="1572"/>
                    </a:moveTo>
                    <a:lnTo>
                      <a:pt x="1276" y="1572"/>
                    </a:lnTo>
                    <a:lnTo>
                      <a:pt x="1278" y="1572"/>
                    </a:lnTo>
                    <a:lnTo>
                      <a:pt x="1280" y="1572"/>
                    </a:lnTo>
                    <a:lnTo>
                      <a:pt x="1280" y="1573"/>
                    </a:lnTo>
                    <a:lnTo>
                      <a:pt x="1280" y="1572"/>
                    </a:lnTo>
                    <a:lnTo>
                      <a:pt x="1281" y="1573"/>
                    </a:lnTo>
                    <a:lnTo>
                      <a:pt x="1280" y="1575"/>
                    </a:lnTo>
                    <a:lnTo>
                      <a:pt x="1281" y="1573"/>
                    </a:lnTo>
                    <a:lnTo>
                      <a:pt x="1280" y="1572"/>
                    </a:lnTo>
                    <a:lnTo>
                      <a:pt x="1281" y="1572"/>
                    </a:lnTo>
                    <a:lnTo>
                      <a:pt x="1283" y="1572"/>
                    </a:lnTo>
                    <a:lnTo>
                      <a:pt x="1283" y="1573"/>
                    </a:lnTo>
                    <a:lnTo>
                      <a:pt x="1281" y="1573"/>
                    </a:lnTo>
                    <a:lnTo>
                      <a:pt x="1283" y="1575"/>
                    </a:lnTo>
                    <a:lnTo>
                      <a:pt x="1283" y="1573"/>
                    </a:lnTo>
                    <a:lnTo>
                      <a:pt x="1283" y="1575"/>
                    </a:lnTo>
                    <a:lnTo>
                      <a:pt x="1285" y="1577"/>
                    </a:lnTo>
                    <a:lnTo>
                      <a:pt x="1283" y="1577"/>
                    </a:lnTo>
                    <a:lnTo>
                      <a:pt x="1285" y="1577"/>
                    </a:lnTo>
                    <a:lnTo>
                      <a:pt x="1285" y="1578"/>
                    </a:lnTo>
                    <a:lnTo>
                      <a:pt x="1283" y="1578"/>
                    </a:lnTo>
                    <a:lnTo>
                      <a:pt x="1283" y="1580"/>
                    </a:lnTo>
                    <a:lnTo>
                      <a:pt x="1285" y="1578"/>
                    </a:lnTo>
                    <a:lnTo>
                      <a:pt x="1285" y="1577"/>
                    </a:lnTo>
                    <a:lnTo>
                      <a:pt x="1285" y="1575"/>
                    </a:lnTo>
                    <a:lnTo>
                      <a:pt x="1285" y="1573"/>
                    </a:lnTo>
                    <a:lnTo>
                      <a:pt x="1285" y="1572"/>
                    </a:lnTo>
                    <a:lnTo>
                      <a:pt x="1287" y="1573"/>
                    </a:lnTo>
                    <a:lnTo>
                      <a:pt x="1288" y="1573"/>
                    </a:lnTo>
                    <a:lnTo>
                      <a:pt x="1288" y="1575"/>
                    </a:lnTo>
                    <a:lnTo>
                      <a:pt x="1288" y="1577"/>
                    </a:lnTo>
                    <a:lnTo>
                      <a:pt x="1288" y="1578"/>
                    </a:lnTo>
                    <a:lnTo>
                      <a:pt x="1290" y="1580"/>
                    </a:lnTo>
                    <a:lnTo>
                      <a:pt x="1288" y="1580"/>
                    </a:lnTo>
                    <a:lnTo>
                      <a:pt x="1287" y="1580"/>
                    </a:lnTo>
                    <a:lnTo>
                      <a:pt x="1288" y="1580"/>
                    </a:lnTo>
                    <a:lnTo>
                      <a:pt x="1290" y="1580"/>
                    </a:lnTo>
                    <a:lnTo>
                      <a:pt x="1290" y="1582"/>
                    </a:lnTo>
                    <a:lnTo>
                      <a:pt x="1290" y="1580"/>
                    </a:lnTo>
                    <a:lnTo>
                      <a:pt x="1290" y="1582"/>
                    </a:lnTo>
                    <a:lnTo>
                      <a:pt x="1290" y="1583"/>
                    </a:lnTo>
                    <a:lnTo>
                      <a:pt x="1290" y="1585"/>
                    </a:lnTo>
                    <a:lnTo>
                      <a:pt x="1292" y="1585"/>
                    </a:lnTo>
                    <a:lnTo>
                      <a:pt x="1292" y="1583"/>
                    </a:lnTo>
                    <a:lnTo>
                      <a:pt x="1292" y="1582"/>
                    </a:lnTo>
                    <a:lnTo>
                      <a:pt x="1292" y="1580"/>
                    </a:lnTo>
                    <a:lnTo>
                      <a:pt x="1293" y="1578"/>
                    </a:lnTo>
                    <a:lnTo>
                      <a:pt x="1293" y="1580"/>
                    </a:lnTo>
                    <a:lnTo>
                      <a:pt x="1293" y="1582"/>
                    </a:lnTo>
                    <a:lnTo>
                      <a:pt x="1292" y="1582"/>
                    </a:lnTo>
                    <a:lnTo>
                      <a:pt x="1293" y="1583"/>
                    </a:lnTo>
                    <a:lnTo>
                      <a:pt x="1293" y="1582"/>
                    </a:lnTo>
                    <a:lnTo>
                      <a:pt x="1293" y="1580"/>
                    </a:lnTo>
                    <a:lnTo>
                      <a:pt x="1293" y="1578"/>
                    </a:lnTo>
                    <a:lnTo>
                      <a:pt x="1295" y="1578"/>
                    </a:lnTo>
                    <a:lnTo>
                      <a:pt x="1295" y="1577"/>
                    </a:lnTo>
                    <a:lnTo>
                      <a:pt x="1295" y="1578"/>
                    </a:lnTo>
                    <a:lnTo>
                      <a:pt x="1297" y="1578"/>
                    </a:lnTo>
                    <a:lnTo>
                      <a:pt x="1297" y="1580"/>
                    </a:lnTo>
                    <a:lnTo>
                      <a:pt x="1298" y="1580"/>
                    </a:lnTo>
                    <a:lnTo>
                      <a:pt x="1298" y="1582"/>
                    </a:lnTo>
                    <a:lnTo>
                      <a:pt x="1297" y="1582"/>
                    </a:lnTo>
                    <a:lnTo>
                      <a:pt x="1298" y="1582"/>
                    </a:lnTo>
                    <a:lnTo>
                      <a:pt x="1297" y="1583"/>
                    </a:lnTo>
                    <a:lnTo>
                      <a:pt x="1297" y="1585"/>
                    </a:lnTo>
                    <a:lnTo>
                      <a:pt x="1295" y="1585"/>
                    </a:lnTo>
                    <a:lnTo>
                      <a:pt x="1295" y="1587"/>
                    </a:lnTo>
                    <a:lnTo>
                      <a:pt x="1297" y="1587"/>
                    </a:lnTo>
                    <a:lnTo>
                      <a:pt x="1297" y="1585"/>
                    </a:lnTo>
                    <a:lnTo>
                      <a:pt x="1297" y="1583"/>
                    </a:lnTo>
                    <a:lnTo>
                      <a:pt x="1298" y="1583"/>
                    </a:lnTo>
                    <a:lnTo>
                      <a:pt x="1298" y="1585"/>
                    </a:lnTo>
                    <a:lnTo>
                      <a:pt x="1298" y="1587"/>
                    </a:lnTo>
                    <a:lnTo>
                      <a:pt x="1298" y="1589"/>
                    </a:lnTo>
                    <a:lnTo>
                      <a:pt x="1297" y="1589"/>
                    </a:lnTo>
                    <a:lnTo>
                      <a:pt x="1298" y="1590"/>
                    </a:lnTo>
                    <a:lnTo>
                      <a:pt x="1298" y="1592"/>
                    </a:lnTo>
                    <a:lnTo>
                      <a:pt x="1297" y="1592"/>
                    </a:lnTo>
                    <a:lnTo>
                      <a:pt x="1295" y="1592"/>
                    </a:lnTo>
                    <a:lnTo>
                      <a:pt x="1297" y="1592"/>
                    </a:lnTo>
                    <a:lnTo>
                      <a:pt x="1297" y="1594"/>
                    </a:lnTo>
                    <a:lnTo>
                      <a:pt x="1295" y="1594"/>
                    </a:lnTo>
                    <a:lnTo>
                      <a:pt x="1293" y="1594"/>
                    </a:lnTo>
                    <a:lnTo>
                      <a:pt x="1293" y="1592"/>
                    </a:lnTo>
                    <a:lnTo>
                      <a:pt x="1292" y="1592"/>
                    </a:lnTo>
                    <a:lnTo>
                      <a:pt x="1293" y="1594"/>
                    </a:lnTo>
                    <a:lnTo>
                      <a:pt x="1295" y="1594"/>
                    </a:lnTo>
                    <a:lnTo>
                      <a:pt x="1295" y="1595"/>
                    </a:lnTo>
                    <a:lnTo>
                      <a:pt x="1293" y="1595"/>
                    </a:lnTo>
                    <a:lnTo>
                      <a:pt x="1295" y="1597"/>
                    </a:lnTo>
                    <a:lnTo>
                      <a:pt x="1293" y="1597"/>
                    </a:lnTo>
                    <a:lnTo>
                      <a:pt x="1292" y="1597"/>
                    </a:lnTo>
                    <a:lnTo>
                      <a:pt x="1292" y="1595"/>
                    </a:lnTo>
                    <a:lnTo>
                      <a:pt x="1292" y="1594"/>
                    </a:lnTo>
                    <a:lnTo>
                      <a:pt x="1292" y="1595"/>
                    </a:lnTo>
                    <a:lnTo>
                      <a:pt x="1290" y="1595"/>
                    </a:lnTo>
                    <a:lnTo>
                      <a:pt x="1290" y="1594"/>
                    </a:lnTo>
                    <a:lnTo>
                      <a:pt x="1288" y="1594"/>
                    </a:lnTo>
                    <a:lnTo>
                      <a:pt x="1287" y="1594"/>
                    </a:lnTo>
                    <a:lnTo>
                      <a:pt x="1287" y="1592"/>
                    </a:lnTo>
                    <a:lnTo>
                      <a:pt x="1285" y="1592"/>
                    </a:lnTo>
                    <a:lnTo>
                      <a:pt x="1285" y="1590"/>
                    </a:lnTo>
                    <a:lnTo>
                      <a:pt x="1287" y="1590"/>
                    </a:lnTo>
                    <a:lnTo>
                      <a:pt x="1288" y="1590"/>
                    </a:lnTo>
                    <a:lnTo>
                      <a:pt x="1290" y="1590"/>
                    </a:lnTo>
                    <a:lnTo>
                      <a:pt x="1290" y="1589"/>
                    </a:lnTo>
                    <a:lnTo>
                      <a:pt x="1292" y="1589"/>
                    </a:lnTo>
                    <a:lnTo>
                      <a:pt x="1290" y="1589"/>
                    </a:lnTo>
                    <a:lnTo>
                      <a:pt x="1290" y="1587"/>
                    </a:lnTo>
                    <a:lnTo>
                      <a:pt x="1290" y="1589"/>
                    </a:lnTo>
                    <a:lnTo>
                      <a:pt x="1288" y="1589"/>
                    </a:lnTo>
                    <a:lnTo>
                      <a:pt x="1287" y="1589"/>
                    </a:lnTo>
                    <a:lnTo>
                      <a:pt x="1287" y="1590"/>
                    </a:lnTo>
                    <a:lnTo>
                      <a:pt x="1287" y="1589"/>
                    </a:lnTo>
                    <a:lnTo>
                      <a:pt x="1287" y="1587"/>
                    </a:lnTo>
                    <a:lnTo>
                      <a:pt x="1287" y="1589"/>
                    </a:lnTo>
                    <a:lnTo>
                      <a:pt x="1285" y="1589"/>
                    </a:lnTo>
                    <a:lnTo>
                      <a:pt x="1283" y="1589"/>
                    </a:lnTo>
                    <a:lnTo>
                      <a:pt x="1283" y="1587"/>
                    </a:lnTo>
                    <a:lnTo>
                      <a:pt x="1281" y="1585"/>
                    </a:lnTo>
                    <a:lnTo>
                      <a:pt x="1283" y="1585"/>
                    </a:lnTo>
                    <a:lnTo>
                      <a:pt x="1283" y="1583"/>
                    </a:lnTo>
                    <a:lnTo>
                      <a:pt x="1283" y="1585"/>
                    </a:lnTo>
                    <a:lnTo>
                      <a:pt x="1283" y="1583"/>
                    </a:lnTo>
                    <a:lnTo>
                      <a:pt x="1285" y="1583"/>
                    </a:lnTo>
                    <a:lnTo>
                      <a:pt x="1285" y="1582"/>
                    </a:lnTo>
                    <a:lnTo>
                      <a:pt x="1285" y="1583"/>
                    </a:lnTo>
                    <a:lnTo>
                      <a:pt x="1283" y="1583"/>
                    </a:lnTo>
                    <a:lnTo>
                      <a:pt x="1283" y="1582"/>
                    </a:lnTo>
                    <a:lnTo>
                      <a:pt x="1285" y="1582"/>
                    </a:lnTo>
                    <a:lnTo>
                      <a:pt x="1285" y="1580"/>
                    </a:lnTo>
                    <a:lnTo>
                      <a:pt x="1283" y="1580"/>
                    </a:lnTo>
                    <a:lnTo>
                      <a:pt x="1283" y="1582"/>
                    </a:lnTo>
                    <a:lnTo>
                      <a:pt x="1283" y="1583"/>
                    </a:lnTo>
                    <a:lnTo>
                      <a:pt x="1281" y="1582"/>
                    </a:lnTo>
                    <a:lnTo>
                      <a:pt x="1280" y="1582"/>
                    </a:lnTo>
                    <a:lnTo>
                      <a:pt x="1281" y="1582"/>
                    </a:lnTo>
                    <a:lnTo>
                      <a:pt x="1281" y="1583"/>
                    </a:lnTo>
                    <a:lnTo>
                      <a:pt x="1281" y="1585"/>
                    </a:lnTo>
                    <a:lnTo>
                      <a:pt x="1280" y="1585"/>
                    </a:lnTo>
                    <a:lnTo>
                      <a:pt x="1281" y="1585"/>
                    </a:lnTo>
                    <a:lnTo>
                      <a:pt x="1280" y="1585"/>
                    </a:lnTo>
                    <a:lnTo>
                      <a:pt x="1281" y="1587"/>
                    </a:lnTo>
                    <a:lnTo>
                      <a:pt x="1281" y="1589"/>
                    </a:lnTo>
                    <a:lnTo>
                      <a:pt x="1281" y="1587"/>
                    </a:lnTo>
                    <a:lnTo>
                      <a:pt x="1283" y="1589"/>
                    </a:lnTo>
                    <a:lnTo>
                      <a:pt x="1285" y="1589"/>
                    </a:lnTo>
                    <a:lnTo>
                      <a:pt x="1285" y="1590"/>
                    </a:lnTo>
                    <a:lnTo>
                      <a:pt x="1283" y="1590"/>
                    </a:lnTo>
                    <a:lnTo>
                      <a:pt x="1283" y="1592"/>
                    </a:lnTo>
                    <a:lnTo>
                      <a:pt x="1285" y="1594"/>
                    </a:lnTo>
                    <a:lnTo>
                      <a:pt x="1283" y="1594"/>
                    </a:lnTo>
                    <a:lnTo>
                      <a:pt x="1281" y="1594"/>
                    </a:lnTo>
                    <a:lnTo>
                      <a:pt x="1280" y="1592"/>
                    </a:lnTo>
                    <a:lnTo>
                      <a:pt x="1281" y="1592"/>
                    </a:lnTo>
                    <a:lnTo>
                      <a:pt x="1280" y="1590"/>
                    </a:lnTo>
                    <a:lnTo>
                      <a:pt x="1280" y="1589"/>
                    </a:lnTo>
                    <a:lnTo>
                      <a:pt x="1281" y="1589"/>
                    </a:lnTo>
                    <a:lnTo>
                      <a:pt x="1280" y="1587"/>
                    </a:lnTo>
                    <a:lnTo>
                      <a:pt x="1281" y="1587"/>
                    </a:lnTo>
                    <a:lnTo>
                      <a:pt x="1280" y="1587"/>
                    </a:lnTo>
                    <a:lnTo>
                      <a:pt x="1280" y="1589"/>
                    </a:lnTo>
                    <a:lnTo>
                      <a:pt x="1280" y="1590"/>
                    </a:lnTo>
                    <a:lnTo>
                      <a:pt x="1278" y="1590"/>
                    </a:lnTo>
                    <a:lnTo>
                      <a:pt x="1278" y="1589"/>
                    </a:lnTo>
                    <a:lnTo>
                      <a:pt x="1278" y="1587"/>
                    </a:lnTo>
                    <a:lnTo>
                      <a:pt x="1278" y="1585"/>
                    </a:lnTo>
                    <a:lnTo>
                      <a:pt x="1280" y="1585"/>
                    </a:lnTo>
                    <a:lnTo>
                      <a:pt x="1278" y="1585"/>
                    </a:lnTo>
                    <a:lnTo>
                      <a:pt x="1278" y="1587"/>
                    </a:lnTo>
                    <a:lnTo>
                      <a:pt x="1276" y="1587"/>
                    </a:lnTo>
                    <a:lnTo>
                      <a:pt x="1278" y="1589"/>
                    </a:lnTo>
                    <a:lnTo>
                      <a:pt x="1276" y="1589"/>
                    </a:lnTo>
                    <a:lnTo>
                      <a:pt x="1275" y="1587"/>
                    </a:lnTo>
                    <a:lnTo>
                      <a:pt x="1275" y="1585"/>
                    </a:lnTo>
                    <a:lnTo>
                      <a:pt x="1275" y="1583"/>
                    </a:lnTo>
                    <a:lnTo>
                      <a:pt x="1273" y="1583"/>
                    </a:lnTo>
                    <a:lnTo>
                      <a:pt x="1275" y="1582"/>
                    </a:lnTo>
                    <a:lnTo>
                      <a:pt x="1276" y="1582"/>
                    </a:lnTo>
                    <a:lnTo>
                      <a:pt x="1276" y="1580"/>
                    </a:lnTo>
                    <a:lnTo>
                      <a:pt x="1278" y="1580"/>
                    </a:lnTo>
                    <a:lnTo>
                      <a:pt x="1278" y="1578"/>
                    </a:lnTo>
                    <a:lnTo>
                      <a:pt x="1278" y="1580"/>
                    </a:lnTo>
                    <a:lnTo>
                      <a:pt x="1276" y="1578"/>
                    </a:lnTo>
                    <a:lnTo>
                      <a:pt x="1276" y="1577"/>
                    </a:lnTo>
                    <a:lnTo>
                      <a:pt x="1275" y="1575"/>
                    </a:lnTo>
                    <a:lnTo>
                      <a:pt x="1276" y="1575"/>
                    </a:lnTo>
                    <a:lnTo>
                      <a:pt x="1275" y="1573"/>
                    </a:lnTo>
                    <a:lnTo>
                      <a:pt x="1276" y="1573"/>
                    </a:lnTo>
                    <a:lnTo>
                      <a:pt x="1276" y="1572"/>
                    </a:lnTo>
                    <a:lnTo>
                      <a:pt x="1278" y="1570"/>
                    </a:lnTo>
                    <a:lnTo>
                      <a:pt x="1278" y="1572"/>
                    </a:lnTo>
                    <a:close/>
                    <a:moveTo>
                      <a:pt x="1152" y="1354"/>
                    </a:moveTo>
                    <a:lnTo>
                      <a:pt x="1154" y="1354"/>
                    </a:lnTo>
                    <a:lnTo>
                      <a:pt x="1152" y="1356"/>
                    </a:lnTo>
                    <a:lnTo>
                      <a:pt x="1152" y="1357"/>
                    </a:lnTo>
                    <a:lnTo>
                      <a:pt x="1152" y="1356"/>
                    </a:lnTo>
                    <a:lnTo>
                      <a:pt x="1154" y="1356"/>
                    </a:lnTo>
                    <a:lnTo>
                      <a:pt x="1154" y="1357"/>
                    </a:lnTo>
                    <a:lnTo>
                      <a:pt x="1152" y="1357"/>
                    </a:lnTo>
                    <a:lnTo>
                      <a:pt x="1154" y="1359"/>
                    </a:lnTo>
                    <a:lnTo>
                      <a:pt x="1154" y="1357"/>
                    </a:lnTo>
                    <a:lnTo>
                      <a:pt x="1154" y="1356"/>
                    </a:lnTo>
                    <a:lnTo>
                      <a:pt x="1156" y="1356"/>
                    </a:lnTo>
                    <a:lnTo>
                      <a:pt x="1157" y="1356"/>
                    </a:lnTo>
                    <a:lnTo>
                      <a:pt x="1159" y="1356"/>
                    </a:lnTo>
                    <a:lnTo>
                      <a:pt x="1159" y="1357"/>
                    </a:lnTo>
                    <a:lnTo>
                      <a:pt x="1159" y="1359"/>
                    </a:lnTo>
                    <a:lnTo>
                      <a:pt x="1157" y="1359"/>
                    </a:lnTo>
                    <a:lnTo>
                      <a:pt x="1157" y="1361"/>
                    </a:lnTo>
                    <a:lnTo>
                      <a:pt x="1159" y="1359"/>
                    </a:lnTo>
                    <a:lnTo>
                      <a:pt x="1161" y="1359"/>
                    </a:lnTo>
                    <a:lnTo>
                      <a:pt x="1159" y="1359"/>
                    </a:lnTo>
                    <a:lnTo>
                      <a:pt x="1161" y="1359"/>
                    </a:lnTo>
                    <a:lnTo>
                      <a:pt x="1161" y="1361"/>
                    </a:lnTo>
                    <a:lnTo>
                      <a:pt x="1161" y="1362"/>
                    </a:lnTo>
                    <a:lnTo>
                      <a:pt x="1162" y="1362"/>
                    </a:lnTo>
                    <a:lnTo>
                      <a:pt x="1161" y="1361"/>
                    </a:lnTo>
                    <a:lnTo>
                      <a:pt x="1162" y="1359"/>
                    </a:lnTo>
                    <a:lnTo>
                      <a:pt x="1162" y="1357"/>
                    </a:lnTo>
                    <a:lnTo>
                      <a:pt x="1164" y="1357"/>
                    </a:lnTo>
                    <a:lnTo>
                      <a:pt x="1164" y="1359"/>
                    </a:lnTo>
                    <a:lnTo>
                      <a:pt x="1164" y="1361"/>
                    </a:lnTo>
                    <a:lnTo>
                      <a:pt x="1162" y="1362"/>
                    </a:lnTo>
                    <a:lnTo>
                      <a:pt x="1164" y="1361"/>
                    </a:lnTo>
                    <a:lnTo>
                      <a:pt x="1164" y="1362"/>
                    </a:lnTo>
                    <a:lnTo>
                      <a:pt x="1164" y="1361"/>
                    </a:lnTo>
                    <a:lnTo>
                      <a:pt x="1166" y="1361"/>
                    </a:lnTo>
                    <a:lnTo>
                      <a:pt x="1166" y="1362"/>
                    </a:lnTo>
                    <a:lnTo>
                      <a:pt x="1168" y="1362"/>
                    </a:lnTo>
                    <a:lnTo>
                      <a:pt x="1168" y="1364"/>
                    </a:lnTo>
                    <a:lnTo>
                      <a:pt x="1168" y="1362"/>
                    </a:lnTo>
                    <a:lnTo>
                      <a:pt x="1166" y="1361"/>
                    </a:lnTo>
                    <a:lnTo>
                      <a:pt x="1168" y="1362"/>
                    </a:lnTo>
                    <a:lnTo>
                      <a:pt x="1169" y="1362"/>
                    </a:lnTo>
                    <a:lnTo>
                      <a:pt x="1168" y="1362"/>
                    </a:lnTo>
                    <a:lnTo>
                      <a:pt x="1166" y="1361"/>
                    </a:lnTo>
                    <a:lnTo>
                      <a:pt x="1168" y="1361"/>
                    </a:lnTo>
                    <a:lnTo>
                      <a:pt x="1166" y="1359"/>
                    </a:lnTo>
                    <a:lnTo>
                      <a:pt x="1168" y="1361"/>
                    </a:lnTo>
                    <a:lnTo>
                      <a:pt x="1169" y="1361"/>
                    </a:lnTo>
                    <a:lnTo>
                      <a:pt x="1171" y="1362"/>
                    </a:lnTo>
                    <a:lnTo>
                      <a:pt x="1169" y="1362"/>
                    </a:lnTo>
                    <a:lnTo>
                      <a:pt x="1171" y="1364"/>
                    </a:lnTo>
                    <a:lnTo>
                      <a:pt x="1169" y="1364"/>
                    </a:lnTo>
                    <a:lnTo>
                      <a:pt x="1168" y="1364"/>
                    </a:lnTo>
                    <a:lnTo>
                      <a:pt x="1169" y="1364"/>
                    </a:lnTo>
                    <a:lnTo>
                      <a:pt x="1168" y="1364"/>
                    </a:lnTo>
                    <a:lnTo>
                      <a:pt x="1169" y="1364"/>
                    </a:lnTo>
                    <a:lnTo>
                      <a:pt x="1168" y="1364"/>
                    </a:lnTo>
                    <a:lnTo>
                      <a:pt x="1166" y="1364"/>
                    </a:lnTo>
                    <a:lnTo>
                      <a:pt x="1168" y="1364"/>
                    </a:lnTo>
                    <a:lnTo>
                      <a:pt x="1169" y="1366"/>
                    </a:lnTo>
                    <a:lnTo>
                      <a:pt x="1168" y="1367"/>
                    </a:lnTo>
                    <a:lnTo>
                      <a:pt x="1168" y="1366"/>
                    </a:lnTo>
                    <a:lnTo>
                      <a:pt x="1166" y="1366"/>
                    </a:lnTo>
                    <a:lnTo>
                      <a:pt x="1166" y="1367"/>
                    </a:lnTo>
                    <a:lnTo>
                      <a:pt x="1168" y="1367"/>
                    </a:lnTo>
                    <a:lnTo>
                      <a:pt x="1166" y="1367"/>
                    </a:lnTo>
                    <a:lnTo>
                      <a:pt x="1166" y="1366"/>
                    </a:lnTo>
                    <a:lnTo>
                      <a:pt x="1164" y="1366"/>
                    </a:lnTo>
                    <a:lnTo>
                      <a:pt x="1162" y="1367"/>
                    </a:lnTo>
                    <a:lnTo>
                      <a:pt x="1164" y="1366"/>
                    </a:lnTo>
                    <a:lnTo>
                      <a:pt x="1164" y="1367"/>
                    </a:lnTo>
                    <a:lnTo>
                      <a:pt x="1164" y="1369"/>
                    </a:lnTo>
                    <a:lnTo>
                      <a:pt x="1162" y="1369"/>
                    </a:lnTo>
                    <a:lnTo>
                      <a:pt x="1162" y="1371"/>
                    </a:lnTo>
                    <a:lnTo>
                      <a:pt x="1161" y="1371"/>
                    </a:lnTo>
                    <a:lnTo>
                      <a:pt x="1161" y="1373"/>
                    </a:lnTo>
                    <a:lnTo>
                      <a:pt x="1159" y="1371"/>
                    </a:lnTo>
                    <a:lnTo>
                      <a:pt x="1161" y="1373"/>
                    </a:lnTo>
                    <a:lnTo>
                      <a:pt x="1159" y="1373"/>
                    </a:lnTo>
                    <a:lnTo>
                      <a:pt x="1159" y="1374"/>
                    </a:lnTo>
                    <a:lnTo>
                      <a:pt x="1157" y="1373"/>
                    </a:lnTo>
                    <a:lnTo>
                      <a:pt x="1157" y="1374"/>
                    </a:lnTo>
                    <a:lnTo>
                      <a:pt x="1157" y="1376"/>
                    </a:lnTo>
                    <a:lnTo>
                      <a:pt x="1156" y="1378"/>
                    </a:lnTo>
                    <a:lnTo>
                      <a:pt x="1157" y="1376"/>
                    </a:lnTo>
                    <a:lnTo>
                      <a:pt x="1159" y="1376"/>
                    </a:lnTo>
                    <a:lnTo>
                      <a:pt x="1161" y="1376"/>
                    </a:lnTo>
                    <a:lnTo>
                      <a:pt x="1159" y="1376"/>
                    </a:lnTo>
                    <a:lnTo>
                      <a:pt x="1159" y="1374"/>
                    </a:lnTo>
                    <a:lnTo>
                      <a:pt x="1157" y="1374"/>
                    </a:lnTo>
                    <a:lnTo>
                      <a:pt x="1159" y="1374"/>
                    </a:lnTo>
                    <a:lnTo>
                      <a:pt x="1159" y="1373"/>
                    </a:lnTo>
                    <a:lnTo>
                      <a:pt x="1161" y="1373"/>
                    </a:lnTo>
                    <a:lnTo>
                      <a:pt x="1161" y="1371"/>
                    </a:lnTo>
                    <a:lnTo>
                      <a:pt x="1162" y="1371"/>
                    </a:lnTo>
                    <a:lnTo>
                      <a:pt x="1162" y="1369"/>
                    </a:lnTo>
                    <a:lnTo>
                      <a:pt x="1164" y="1369"/>
                    </a:lnTo>
                    <a:lnTo>
                      <a:pt x="1166" y="1369"/>
                    </a:lnTo>
                    <a:lnTo>
                      <a:pt x="1166" y="1371"/>
                    </a:lnTo>
                    <a:lnTo>
                      <a:pt x="1166" y="1373"/>
                    </a:lnTo>
                    <a:lnTo>
                      <a:pt x="1166" y="1374"/>
                    </a:lnTo>
                    <a:lnTo>
                      <a:pt x="1164" y="1373"/>
                    </a:lnTo>
                    <a:lnTo>
                      <a:pt x="1164" y="1374"/>
                    </a:lnTo>
                    <a:lnTo>
                      <a:pt x="1162" y="1373"/>
                    </a:lnTo>
                    <a:lnTo>
                      <a:pt x="1162" y="1374"/>
                    </a:lnTo>
                    <a:lnTo>
                      <a:pt x="1161" y="1374"/>
                    </a:lnTo>
                    <a:lnTo>
                      <a:pt x="1162" y="1374"/>
                    </a:lnTo>
                    <a:lnTo>
                      <a:pt x="1164" y="1374"/>
                    </a:lnTo>
                    <a:lnTo>
                      <a:pt x="1164" y="1376"/>
                    </a:lnTo>
                    <a:lnTo>
                      <a:pt x="1162" y="1374"/>
                    </a:lnTo>
                    <a:lnTo>
                      <a:pt x="1164" y="1376"/>
                    </a:lnTo>
                    <a:lnTo>
                      <a:pt x="1162" y="1376"/>
                    </a:lnTo>
                    <a:lnTo>
                      <a:pt x="1161" y="1376"/>
                    </a:lnTo>
                    <a:lnTo>
                      <a:pt x="1159" y="1376"/>
                    </a:lnTo>
                    <a:lnTo>
                      <a:pt x="1159" y="1378"/>
                    </a:lnTo>
                    <a:lnTo>
                      <a:pt x="1157" y="1378"/>
                    </a:lnTo>
                    <a:lnTo>
                      <a:pt x="1157" y="1379"/>
                    </a:lnTo>
                    <a:lnTo>
                      <a:pt x="1156" y="1379"/>
                    </a:lnTo>
                    <a:lnTo>
                      <a:pt x="1156" y="1378"/>
                    </a:lnTo>
                    <a:lnTo>
                      <a:pt x="1154" y="1379"/>
                    </a:lnTo>
                    <a:lnTo>
                      <a:pt x="1154" y="1378"/>
                    </a:lnTo>
                    <a:lnTo>
                      <a:pt x="1154" y="1379"/>
                    </a:lnTo>
                    <a:lnTo>
                      <a:pt x="1154" y="1378"/>
                    </a:lnTo>
                    <a:lnTo>
                      <a:pt x="1152" y="1378"/>
                    </a:lnTo>
                    <a:lnTo>
                      <a:pt x="1151" y="1378"/>
                    </a:lnTo>
                    <a:lnTo>
                      <a:pt x="1152" y="1378"/>
                    </a:lnTo>
                    <a:lnTo>
                      <a:pt x="1152" y="1376"/>
                    </a:lnTo>
                    <a:lnTo>
                      <a:pt x="1152" y="1374"/>
                    </a:lnTo>
                    <a:lnTo>
                      <a:pt x="1154" y="1374"/>
                    </a:lnTo>
                    <a:lnTo>
                      <a:pt x="1152" y="1374"/>
                    </a:lnTo>
                    <a:lnTo>
                      <a:pt x="1154" y="1374"/>
                    </a:lnTo>
                    <a:lnTo>
                      <a:pt x="1154" y="1373"/>
                    </a:lnTo>
                    <a:lnTo>
                      <a:pt x="1156" y="1373"/>
                    </a:lnTo>
                    <a:lnTo>
                      <a:pt x="1156" y="1371"/>
                    </a:lnTo>
                    <a:lnTo>
                      <a:pt x="1156" y="1369"/>
                    </a:lnTo>
                    <a:lnTo>
                      <a:pt x="1156" y="1371"/>
                    </a:lnTo>
                    <a:lnTo>
                      <a:pt x="1156" y="1373"/>
                    </a:lnTo>
                    <a:lnTo>
                      <a:pt x="1154" y="1373"/>
                    </a:lnTo>
                    <a:lnTo>
                      <a:pt x="1152" y="1373"/>
                    </a:lnTo>
                    <a:lnTo>
                      <a:pt x="1152" y="1374"/>
                    </a:lnTo>
                    <a:lnTo>
                      <a:pt x="1152" y="1373"/>
                    </a:lnTo>
                    <a:lnTo>
                      <a:pt x="1154" y="1373"/>
                    </a:lnTo>
                    <a:lnTo>
                      <a:pt x="1154" y="1371"/>
                    </a:lnTo>
                    <a:lnTo>
                      <a:pt x="1152" y="1371"/>
                    </a:lnTo>
                    <a:lnTo>
                      <a:pt x="1151" y="1373"/>
                    </a:lnTo>
                    <a:lnTo>
                      <a:pt x="1151" y="1374"/>
                    </a:lnTo>
                    <a:lnTo>
                      <a:pt x="1149" y="1374"/>
                    </a:lnTo>
                    <a:lnTo>
                      <a:pt x="1149" y="1376"/>
                    </a:lnTo>
                    <a:lnTo>
                      <a:pt x="1149" y="1378"/>
                    </a:lnTo>
                    <a:lnTo>
                      <a:pt x="1147" y="1378"/>
                    </a:lnTo>
                    <a:lnTo>
                      <a:pt x="1145" y="1376"/>
                    </a:lnTo>
                    <a:lnTo>
                      <a:pt x="1147" y="1376"/>
                    </a:lnTo>
                    <a:lnTo>
                      <a:pt x="1149" y="1374"/>
                    </a:lnTo>
                    <a:lnTo>
                      <a:pt x="1149" y="1373"/>
                    </a:lnTo>
                    <a:lnTo>
                      <a:pt x="1149" y="1374"/>
                    </a:lnTo>
                    <a:lnTo>
                      <a:pt x="1147" y="1374"/>
                    </a:lnTo>
                    <a:lnTo>
                      <a:pt x="1147" y="1373"/>
                    </a:lnTo>
                    <a:lnTo>
                      <a:pt x="1147" y="1371"/>
                    </a:lnTo>
                    <a:lnTo>
                      <a:pt x="1147" y="1369"/>
                    </a:lnTo>
                    <a:lnTo>
                      <a:pt x="1149" y="1369"/>
                    </a:lnTo>
                    <a:lnTo>
                      <a:pt x="1149" y="1367"/>
                    </a:lnTo>
                    <a:lnTo>
                      <a:pt x="1147" y="1367"/>
                    </a:lnTo>
                    <a:lnTo>
                      <a:pt x="1149" y="1366"/>
                    </a:lnTo>
                    <a:lnTo>
                      <a:pt x="1147" y="1366"/>
                    </a:lnTo>
                    <a:lnTo>
                      <a:pt x="1149" y="1366"/>
                    </a:lnTo>
                    <a:lnTo>
                      <a:pt x="1149" y="1364"/>
                    </a:lnTo>
                    <a:lnTo>
                      <a:pt x="1149" y="1362"/>
                    </a:lnTo>
                    <a:lnTo>
                      <a:pt x="1151" y="1362"/>
                    </a:lnTo>
                    <a:lnTo>
                      <a:pt x="1152" y="1362"/>
                    </a:lnTo>
                    <a:lnTo>
                      <a:pt x="1152" y="1364"/>
                    </a:lnTo>
                    <a:lnTo>
                      <a:pt x="1154" y="1364"/>
                    </a:lnTo>
                    <a:lnTo>
                      <a:pt x="1154" y="1366"/>
                    </a:lnTo>
                    <a:lnTo>
                      <a:pt x="1152" y="1366"/>
                    </a:lnTo>
                    <a:lnTo>
                      <a:pt x="1151" y="1364"/>
                    </a:lnTo>
                    <a:lnTo>
                      <a:pt x="1151" y="1366"/>
                    </a:lnTo>
                    <a:lnTo>
                      <a:pt x="1152" y="1366"/>
                    </a:lnTo>
                    <a:lnTo>
                      <a:pt x="1154" y="1366"/>
                    </a:lnTo>
                    <a:lnTo>
                      <a:pt x="1154" y="1367"/>
                    </a:lnTo>
                    <a:lnTo>
                      <a:pt x="1156" y="1367"/>
                    </a:lnTo>
                    <a:lnTo>
                      <a:pt x="1156" y="1369"/>
                    </a:lnTo>
                    <a:lnTo>
                      <a:pt x="1157" y="1367"/>
                    </a:lnTo>
                    <a:lnTo>
                      <a:pt x="1157" y="1366"/>
                    </a:lnTo>
                    <a:lnTo>
                      <a:pt x="1157" y="1364"/>
                    </a:lnTo>
                    <a:lnTo>
                      <a:pt x="1159" y="1362"/>
                    </a:lnTo>
                    <a:lnTo>
                      <a:pt x="1159" y="1361"/>
                    </a:lnTo>
                    <a:lnTo>
                      <a:pt x="1159" y="1362"/>
                    </a:lnTo>
                    <a:lnTo>
                      <a:pt x="1157" y="1362"/>
                    </a:lnTo>
                    <a:lnTo>
                      <a:pt x="1159" y="1362"/>
                    </a:lnTo>
                    <a:lnTo>
                      <a:pt x="1157" y="1364"/>
                    </a:lnTo>
                    <a:lnTo>
                      <a:pt x="1156" y="1362"/>
                    </a:lnTo>
                    <a:lnTo>
                      <a:pt x="1154" y="1362"/>
                    </a:lnTo>
                    <a:lnTo>
                      <a:pt x="1154" y="1361"/>
                    </a:lnTo>
                    <a:lnTo>
                      <a:pt x="1152" y="1362"/>
                    </a:lnTo>
                    <a:lnTo>
                      <a:pt x="1152" y="1361"/>
                    </a:lnTo>
                    <a:lnTo>
                      <a:pt x="1152" y="1362"/>
                    </a:lnTo>
                    <a:lnTo>
                      <a:pt x="1151" y="1361"/>
                    </a:lnTo>
                    <a:lnTo>
                      <a:pt x="1151" y="1359"/>
                    </a:lnTo>
                    <a:lnTo>
                      <a:pt x="1149" y="1359"/>
                    </a:lnTo>
                    <a:lnTo>
                      <a:pt x="1149" y="1357"/>
                    </a:lnTo>
                    <a:lnTo>
                      <a:pt x="1149" y="1356"/>
                    </a:lnTo>
                    <a:lnTo>
                      <a:pt x="1151" y="1356"/>
                    </a:lnTo>
                    <a:lnTo>
                      <a:pt x="1151" y="1354"/>
                    </a:lnTo>
                    <a:lnTo>
                      <a:pt x="1151" y="1356"/>
                    </a:lnTo>
                    <a:lnTo>
                      <a:pt x="1151" y="1357"/>
                    </a:lnTo>
                    <a:lnTo>
                      <a:pt x="1151" y="1356"/>
                    </a:lnTo>
                    <a:lnTo>
                      <a:pt x="1151" y="1354"/>
                    </a:lnTo>
                    <a:lnTo>
                      <a:pt x="1152" y="1354"/>
                    </a:lnTo>
                    <a:close/>
                    <a:moveTo>
                      <a:pt x="1266" y="1565"/>
                    </a:moveTo>
                    <a:lnTo>
                      <a:pt x="1268" y="1566"/>
                    </a:lnTo>
                    <a:lnTo>
                      <a:pt x="1270" y="1568"/>
                    </a:lnTo>
                    <a:lnTo>
                      <a:pt x="1270" y="1570"/>
                    </a:lnTo>
                    <a:lnTo>
                      <a:pt x="1270" y="1572"/>
                    </a:lnTo>
                    <a:lnTo>
                      <a:pt x="1270" y="1573"/>
                    </a:lnTo>
                    <a:lnTo>
                      <a:pt x="1270" y="1572"/>
                    </a:lnTo>
                    <a:lnTo>
                      <a:pt x="1270" y="1570"/>
                    </a:lnTo>
                    <a:lnTo>
                      <a:pt x="1271" y="1570"/>
                    </a:lnTo>
                    <a:lnTo>
                      <a:pt x="1271" y="1568"/>
                    </a:lnTo>
                    <a:lnTo>
                      <a:pt x="1273" y="1568"/>
                    </a:lnTo>
                    <a:lnTo>
                      <a:pt x="1271" y="1570"/>
                    </a:lnTo>
                    <a:lnTo>
                      <a:pt x="1273" y="1568"/>
                    </a:lnTo>
                    <a:lnTo>
                      <a:pt x="1275" y="1570"/>
                    </a:lnTo>
                    <a:lnTo>
                      <a:pt x="1276" y="1570"/>
                    </a:lnTo>
                    <a:lnTo>
                      <a:pt x="1275" y="1572"/>
                    </a:lnTo>
                    <a:lnTo>
                      <a:pt x="1275" y="1573"/>
                    </a:lnTo>
                    <a:lnTo>
                      <a:pt x="1273" y="1573"/>
                    </a:lnTo>
                    <a:lnTo>
                      <a:pt x="1275" y="1575"/>
                    </a:lnTo>
                    <a:lnTo>
                      <a:pt x="1275" y="1577"/>
                    </a:lnTo>
                    <a:lnTo>
                      <a:pt x="1273" y="1577"/>
                    </a:lnTo>
                    <a:lnTo>
                      <a:pt x="1271" y="1577"/>
                    </a:lnTo>
                    <a:lnTo>
                      <a:pt x="1273" y="1577"/>
                    </a:lnTo>
                    <a:lnTo>
                      <a:pt x="1273" y="1578"/>
                    </a:lnTo>
                    <a:lnTo>
                      <a:pt x="1273" y="1580"/>
                    </a:lnTo>
                    <a:lnTo>
                      <a:pt x="1273" y="1578"/>
                    </a:lnTo>
                    <a:lnTo>
                      <a:pt x="1275" y="1578"/>
                    </a:lnTo>
                    <a:lnTo>
                      <a:pt x="1275" y="1577"/>
                    </a:lnTo>
                    <a:lnTo>
                      <a:pt x="1276" y="1578"/>
                    </a:lnTo>
                    <a:lnTo>
                      <a:pt x="1276" y="1580"/>
                    </a:lnTo>
                    <a:lnTo>
                      <a:pt x="1275" y="1582"/>
                    </a:lnTo>
                    <a:lnTo>
                      <a:pt x="1275" y="1580"/>
                    </a:lnTo>
                    <a:lnTo>
                      <a:pt x="1275" y="1582"/>
                    </a:lnTo>
                    <a:lnTo>
                      <a:pt x="1273" y="1582"/>
                    </a:lnTo>
                    <a:lnTo>
                      <a:pt x="1273" y="1583"/>
                    </a:lnTo>
                    <a:lnTo>
                      <a:pt x="1273" y="1582"/>
                    </a:lnTo>
                    <a:lnTo>
                      <a:pt x="1273" y="1583"/>
                    </a:lnTo>
                    <a:lnTo>
                      <a:pt x="1271" y="1583"/>
                    </a:lnTo>
                    <a:lnTo>
                      <a:pt x="1271" y="1582"/>
                    </a:lnTo>
                    <a:lnTo>
                      <a:pt x="1271" y="1583"/>
                    </a:lnTo>
                    <a:lnTo>
                      <a:pt x="1270" y="1582"/>
                    </a:lnTo>
                    <a:lnTo>
                      <a:pt x="1270" y="1580"/>
                    </a:lnTo>
                    <a:lnTo>
                      <a:pt x="1268" y="1580"/>
                    </a:lnTo>
                    <a:lnTo>
                      <a:pt x="1270" y="1578"/>
                    </a:lnTo>
                    <a:lnTo>
                      <a:pt x="1268" y="1580"/>
                    </a:lnTo>
                    <a:lnTo>
                      <a:pt x="1268" y="1578"/>
                    </a:lnTo>
                    <a:lnTo>
                      <a:pt x="1266" y="1577"/>
                    </a:lnTo>
                    <a:lnTo>
                      <a:pt x="1266" y="1575"/>
                    </a:lnTo>
                    <a:lnTo>
                      <a:pt x="1266" y="1577"/>
                    </a:lnTo>
                    <a:lnTo>
                      <a:pt x="1266" y="1578"/>
                    </a:lnTo>
                    <a:lnTo>
                      <a:pt x="1266" y="1580"/>
                    </a:lnTo>
                    <a:lnTo>
                      <a:pt x="1268" y="1580"/>
                    </a:lnTo>
                    <a:lnTo>
                      <a:pt x="1266" y="1582"/>
                    </a:lnTo>
                    <a:lnTo>
                      <a:pt x="1268" y="1582"/>
                    </a:lnTo>
                    <a:lnTo>
                      <a:pt x="1268" y="1583"/>
                    </a:lnTo>
                    <a:lnTo>
                      <a:pt x="1270" y="1582"/>
                    </a:lnTo>
                    <a:lnTo>
                      <a:pt x="1270" y="1583"/>
                    </a:lnTo>
                    <a:lnTo>
                      <a:pt x="1271" y="1583"/>
                    </a:lnTo>
                    <a:lnTo>
                      <a:pt x="1271" y="1585"/>
                    </a:lnTo>
                    <a:lnTo>
                      <a:pt x="1271" y="1587"/>
                    </a:lnTo>
                    <a:lnTo>
                      <a:pt x="1271" y="1585"/>
                    </a:lnTo>
                    <a:lnTo>
                      <a:pt x="1271" y="1587"/>
                    </a:lnTo>
                    <a:lnTo>
                      <a:pt x="1273" y="1587"/>
                    </a:lnTo>
                    <a:lnTo>
                      <a:pt x="1273" y="1589"/>
                    </a:lnTo>
                    <a:lnTo>
                      <a:pt x="1273" y="1590"/>
                    </a:lnTo>
                    <a:lnTo>
                      <a:pt x="1271" y="1590"/>
                    </a:lnTo>
                    <a:lnTo>
                      <a:pt x="1271" y="1589"/>
                    </a:lnTo>
                    <a:lnTo>
                      <a:pt x="1270" y="1589"/>
                    </a:lnTo>
                    <a:lnTo>
                      <a:pt x="1268" y="1589"/>
                    </a:lnTo>
                    <a:lnTo>
                      <a:pt x="1270" y="1589"/>
                    </a:lnTo>
                    <a:lnTo>
                      <a:pt x="1270" y="1590"/>
                    </a:lnTo>
                    <a:lnTo>
                      <a:pt x="1268" y="1590"/>
                    </a:lnTo>
                    <a:lnTo>
                      <a:pt x="1270" y="1590"/>
                    </a:lnTo>
                    <a:lnTo>
                      <a:pt x="1270" y="1592"/>
                    </a:lnTo>
                    <a:lnTo>
                      <a:pt x="1268" y="1592"/>
                    </a:lnTo>
                    <a:lnTo>
                      <a:pt x="1270" y="1592"/>
                    </a:lnTo>
                    <a:lnTo>
                      <a:pt x="1270" y="1594"/>
                    </a:lnTo>
                    <a:lnTo>
                      <a:pt x="1271" y="1594"/>
                    </a:lnTo>
                    <a:lnTo>
                      <a:pt x="1270" y="1594"/>
                    </a:lnTo>
                    <a:lnTo>
                      <a:pt x="1268" y="1594"/>
                    </a:lnTo>
                    <a:lnTo>
                      <a:pt x="1266" y="1594"/>
                    </a:lnTo>
                    <a:lnTo>
                      <a:pt x="1266" y="1592"/>
                    </a:lnTo>
                    <a:lnTo>
                      <a:pt x="1266" y="1594"/>
                    </a:lnTo>
                    <a:lnTo>
                      <a:pt x="1264" y="1594"/>
                    </a:lnTo>
                    <a:lnTo>
                      <a:pt x="1264" y="1592"/>
                    </a:lnTo>
                    <a:lnTo>
                      <a:pt x="1266" y="1592"/>
                    </a:lnTo>
                    <a:lnTo>
                      <a:pt x="1266" y="1590"/>
                    </a:lnTo>
                    <a:lnTo>
                      <a:pt x="1266" y="1589"/>
                    </a:lnTo>
                    <a:lnTo>
                      <a:pt x="1268" y="1589"/>
                    </a:lnTo>
                    <a:lnTo>
                      <a:pt x="1268" y="1587"/>
                    </a:lnTo>
                    <a:lnTo>
                      <a:pt x="1268" y="1589"/>
                    </a:lnTo>
                    <a:lnTo>
                      <a:pt x="1266" y="1587"/>
                    </a:lnTo>
                    <a:lnTo>
                      <a:pt x="1266" y="1589"/>
                    </a:lnTo>
                    <a:lnTo>
                      <a:pt x="1264" y="1587"/>
                    </a:lnTo>
                    <a:lnTo>
                      <a:pt x="1263" y="1587"/>
                    </a:lnTo>
                    <a:lnTo>
                      <a:pt x="1264" y="1587"/>
                    </a:lnTo>
                    <a:lnTo>
                      <a:pt x="1263" y="1587"/>
                    </a:lnTo>
                    <a:lnTo>
                      <a:pt x="1264" y="1587"/>
                    </a:lnTo>
                    <a:lnTo>
                      <a:pt x="1263" y="1585"/>
                    </a:lnTo>
                    <a:lnTo>
                      <a:pt x="1263" y="1587"/>
                    </a:lnTo>
                    <a:lnTo>
                      <a:pt x="1263" y="1585"/>
                    </a:lnTo>
                    <a:lnTo>
                      <a:pt x="1261" y="1585"/>
                    </a:lnTo>
                    <a:lnTo>
                      <a:pt x="1261" y="1583"/>
                    </a:lnTo>
                    <a:lnTo>
                      <a:pt x="1259" y="1583"/>
                    </a:lnTo>
                    <a:lnTo>
                      <a:pt x="1259" y="1582"/>
                    </a:lnTo>
                    <a:lnTo>
                      <a:pt x="1261" y="1583"/>
                    </a:lnTo>
                    <a:lnTo>
                      <a:pt x="1261" y="1582"/>
                    </a:lnTo>
                    <a:lnTo>
                      <a:pt x="1263" y="1583"/>
                    </a:lnTo>
                    <a:lnTo>
                      <a:pt x="1263" y="1582"/>
                    </a:lnTo>
                    <a:lnTo>
                      <a:pt x="1261" y="1582"/>
                    </a:lnTo>
                    <a:lnTo>
                      <a:pt x="1259" y="1582"/>
                    </a:lnTo>
                    <a:lnTo>
                      <a:pt x="1258" y="1580"/>
                    </a:lnTo>
                    <a:lnTo>
                      <a:pt x="1259" y="1580"/>
                    </a:lnTo>
                    <a:lnTo>
                      <a:pt x="1261" y="1580"/>
                    </a:lnTo>
                    <a:lnTo>
                      <a:pt x="1263" y="1580"/>
                    </a:lnTo>
                    <a:lnTo>
                      <a:pt x="1261" y="1580"/>
                    </a:lnTo>
                    <a:lnTo>
                      <a:pt x="1259" y="1578"/>
                    </a:lnTo>
                    <a:lnTo>
                      <a:pt x="1259" y="1577"/>
                    </a:lnTo>
                    <a:lnTo>
                      <a:pt x="1259" y="1578"/>
                    </a:lnTo>
                    <a:lnTo>
                      <a:pt x="1258" y="1578"/>
                    </a:lnTo>
                    <a:lnTo>
                      <a:pt x="1258" y="1580"/>
                    </a:lnTo>
                    <a:lnTo>
                      <a:pt x="1256" y="1580"/>
                    </a:lnTo>
                    <a:lnTo>
                      <a:pt x="1256" y="1578"/>
                    </a:lnTo>
                    <a:lnTo>
                      <a:pt x="1254" y="1577"/>
                    </a:lnTo>
                    <a:lnTo>
                      <a:pt x="1256" y="1577"/>
                    </a:lnTo>
                    <a:lnTo>
                      <a:pt x="1256" y="1575"/>
                    </a:lnTo>
                    <a:lnTo>
                      <a:pt x="1258" y="1573"/>
                    </a:lnTo>
                    <a:lnTo>
                      <a:pt x="1258" y="1572"/>
                    </a:lnTo>
                    <a:lnTo>
                      <a:pt x="1258" y="1573"/>
                    </a:lnTo>
                    <a:lnTo>
                      <a:pt x="1256" y="1573"/>
                    </a:lnTo>
                    <a:lnTo>
                      <a:pt x="1254" y="1575"/>
                    </a:lnTo>
                    <a:lnTo>
                      <a:pt x="1254" y="1573"/>
                    </a:lnTo>
                    <a:lnTo>
                      <a:pt x="1254" y="1572"/>
                    </a:lnTo>
                    <a:lnTo>
                      <a:pt x="1254" y="1570"/>
                    </a:lnTo>
                    <a:lnTo>
                      <a:pt x="1256" y="1568"/>
                    </a:lnTo>
                    <a:lnTo>
                      <a:pt x="1256" y="1570"/>
                    </a:lnTo>
                    <a:lnTo>
                      <a:pt x="1258" y="1570"/>
                    </a:lnTo>
                    <a:lnTo>
                      <a:pt x="1259" y="1570"/>
                    </a:lnTo>
                    <a:lnTo>
                      <a:pt x="1259" y="1572"/>
                    </a:lnTo>
                    <a:lnTo>
                      <a:pt x="1259" y="1573"/>
                    </a:lnTo>
                    <a:lnTo>
                      <a:pt x="1261" y="1573"/>
                    </a:lnTo>
                    <a:lnTo>
                      <a:pt x="1263" y="1573"/>
                    </a:lnTo>
                    <a:lnTo>
                      <a:pt x="1261" y="1573"/>
                    </a:lnTo>
                    <a:lnTo>
                      <a:pt x="1261" y="1572"/>
                    </a:lnTo>
                    <a:lnTo>
                      <a:pt x="1259" y="1570"/>
                    </a:lnTo>
                    <a:lnTo>
                      <a:pt x="1261" y="1570"/>
                    </a:lnTo>
                    <a:lnTo>
                      <a:pt x="1261" y="1572"/>
                    </a:lnTo>
                    <a:lnTo>
                      <a:pt x="1263" y="1572"/>
                    </a:lnTo>
                    <a:lnTo>
                      <a:pt x="1261" y="1572"/>
                    </a:lnTo>
                    <a:lnTo>
                      <a:pt x="1261" y="1570"/>
                    </a:lnTo>
                    <a:lnTo>
                      <a:pt x="1263" y="1570"/>
                    </a:lnTo>
                    <a:lnTo>
                      <a:pt x="1263" y="1568"/>
                    </a:lnTo>
                    <a:lnTo>
                      <a:pt x="1263" y="1570"/>
                    </a:lnTo>
                    <a:lnTo>
                      <a:pt x="1264" y="1568"/>
                    </a:lnTo>
                    <a:lnTo>
                      <a:pt x="1266" y="1568"/>
                    </a:lnTo>
                    <a:lnTo>
                      <a:pt x="1264" y="1566"/>
                    </a:lnTo>
                    <a:lnTo>
                      <a:pt x="1266" y="1565"/>
                    </a:lnTo>
                    <a:close/>
                    <a:moveTo>
                      <a:pt x="1152" y="1252"/>
                    </a:moveTo>
                    <a:lnTo>
                      <a:pt x="1154" y="1253"/>
                    </a:lnTo>
                    <a:lnTo>
                      <a:pt x="1152" y="1255"/>
                    </a:lnTo>
                    <a:lnTo>
                      <a:pt x="1154" y="1255"/>
                    </a:lnTo>
                    <a:lnTo>
                      <a:pt x="1152" y="1255"/>
                    </a:lnTo>
                    <a:lnTo>
                      <a:pt x="1151" y="1255"/>
                    </a:lnTo>
                    <a:lnTo>
                      <a:pt x="1152" y="1255"/>
                    </a:lnTo>
                    <a:lnTo>
                      <a:pt x="1152" y="1257"/>
                    </a:lnTo>
                    <a:lnTo>
                      <a:pt x="1152" y="1259"/>
                    </a:lnTo>
                    <a:lnTo>
                      <a:pt x="1152" y="1257"/>
                    </a:lnTo>
                    <a:lnTo>
                      <a:pt x="1152" y="1255"/>
                    </a:lnTo>
                    <a:lnTo>
                      <a:pt x="1154" y="1255"/>
                    </a:lnTo>
                    <a:lnTo>
                      <a:pt x="1154" y="1257"/>
                    </a:lnTo>
                    <a:lnTo>
                      <a:pt x="1152" y="1259"/>
                    </a:lnTo>
                    <a:lnTo>
                      <a:pt x="1152" y="1260"/>
                    </a:lnTo>
                    <a:lnTo>
                      <a:pt x="1152" y="1259"/>
                    </a:lnTo>
                    <a:lnTo>
                      <a:pt x="1154" y="1259"/>
                    </a:lnTo>
                    <a:lnTo>
                      <a:pt x="1156" y="1259"/>
                    </a:lnTo>
                    <a:lnTo>
                      <a:pt x="1154" y="1259"/>
                    </a:lnTo>
                    <a:lnTo>
                      <a:pt x="1154" y="1260"/>
                    </a:lnTo>
                    <a:lnTo>
                      <a:pt x="1156" y="1260"/>
                    </a:lnTo>
                    <a:lnTo>
                      <a:pt x="1156" y="1262"/>
                    </a:lnTo>
                    <a:lnTo>
                      <a:pt x="1154" y="1262"/>
                    </a:lnTo>
                    <a:lnTo>
                      <a:pt x="1154" y="1264"/>
                    </a:lnTo>
                    <a:lnTo>
                      <a:pt x="1156" y="1262"/>
                    </a:lnTo>
                    <a:lnTo>
                      <a:pt x="1156" y="1264"/>
                    </a:lnTo>
                    <a:lnTo>
                      <a:pt x="1157" y="1264"/>
                    </a:lnTo>
                    <a:lnTo>
                      <a:pt x="1157" y="1265"/>
                    </a:lnTo>
                    <a:lnTo>
                      <a:pt x="1156" y="1265"/>
                    </a:lnTo>
                    <a:lnTo>
                      <a:pt x="1156" y="1267"/>
                    </a:lnTo>
                    <a:lnTo>
                      <a:pt x="1157" y="1265"/>
                    </a:lnTo>
                    <a:lnTo>
                      <a:pt x="1157" y="1267"/>
                    </a:lnTo>
                    <a:lnTo>
                      <a:pt x="1157" y="1269"/>
                    </a:lnTo>
                    <a:lnTo>
                      <a:pt x="1159" y="1269"/>
                    </a:lnTo>
                    <a:lnTo>
                      <a:pt x="1159" y="1270"/>
                    </a:lnTo>
                    <a:lnTo>
                      <a:pt x="1159" y="1272"/>
                    </a:lnTo>
                    <a:lnTo>
                      <a:pt x="1157" y="1272"/>
                    </a:lnTo>
                    <a:lnTo>
                      <a:pt x="1159" y="1272"/>
                    </a:lnTo>
                    <a:lnTo>
                      <a:pt x="1157" y="1272"/>
                    </a:lnTo>
                    <a:lnTo>
                      <a:pt x="1157" y="1274"/>
                    </a:lnTo>
                    <a:lnTo>
                      <a:pt x="1159" y="1272"/>
                    </a:lnTo>
                    <a:lnTo>
                      <a:pt x="1159" y="1270"/>
                    </a:lnTo>
                    <a:lnTo>
                      <a:pt x="1161" y="1272"/>
                    </a:lnTo>
                    <a:lnTo>
                      <a:pt x="1161" y="1274"/>
                    </a:lnTo>
                    <a:lnTo>
                      <a:pt x="1162" y="1274"/>
                    </a:lnTo>
                    <a:lnTo>
                      <a:pt x="1161" y="1276"/>
                    </a:lnTo>
                    <a:lnTo>
                      <a:pt x="1161" y="1274"/>
                    </a:lnTo>
                    <a:lnTo>
                      <a:pt x="1161" y="1276"/>
                    </a:lnTo>
                    <a:lnTo>
                      <a:pt x="1159" y="1276"/>
                    </a:lnTo>
                    <a:lnTo>
                      <a:pt x="1161" y="1276"/>
                    </a:lnTo>
                    <a:lnTo>
                      <a:pt x="1159" y="1277"/>
                    </a:lnTo>
                    <a:lnTo>
                      <a:pt x="1161" y="1276"/>
                    </a:lnTo>
                    <a:lnTo>
                      <a:pt x="1162" y="1276"/>
                    </a:lnTo>
                    <a:lnTo>
                      <a:pt x="1162" y="1277"/>
                    </a:lnTo>
                    <a:lnTo>
                      <a:pt x="1161" y="1277"/>
                    </a:lnTo>
                    <a:lnTo>
                      <a:pt x="1162" y="1279"/>
                    </a:lnTo>
                    <a:lnTo>
                      <a:pt x="1162" y="1281"/>
                    </a:lnTo>
                    <a:lnTo>
                      <a:pt x="1162" y="1282"/>
                    </a:lnTo>
                    <a:lnTo>
                      <a:pt x="1161" y="1282"/>
                    </a:lnTo>
                    <a:lnTo>
                      <a:pt x="1159" y="1284"/>
                    </a:lnTo>
                    <a:lnTo>
                      <a:pt x="1161" y="1284"/>
                    </a:lnTo>
                    <a:lnTo>
                      <a:pt x="1159" y="1284"/>
                    </a:lnTo>
                    <a:lnTo>
                      <a:pt x="1159" y="1286"/>
                    </a:lnTo>
                    <a:lnTo>
                      <a:pt x="1157" y="1286"/>
                    </a:lnTo>
                    <a:lnTo>
                      <a:pt x="1156" y="1286"/>
                    </a:lnTo>
                    <a:lnTo>
                      <a:pt x="1156" y="1284"/>
                    </a:lnTo>
                    <a:lnTo>
                      <a:pt x="1157" y="1284"/>
                    </a:lnTo>
                    <a:lnTo>
                      <a:pt x="1156" y="1284"/>
                    </a:lnTo>
                    <a:lnTo>
                      <a:pt x="1157" y="1282"/>
                    </a:lnTo>
                    <a:lnTo>
                      <a:pt x="1159" y="1282"/>
                    </a:lnTo>
                    <a:lnTo>
                      <a:pt x="1157" y="1282"/>
                    </a:lnTo>
                    <a:lnTo>
                      <a:pt x="1156" y="1284"/>
                    </a:lnTo>
                    <a:lnTo>
                      <a:pt x="1156" y="1282"/>
                    </a:lnTo>
                    <a:lnTo>
                      <a:pt x="1156" y="1281"/>
                    </a:lnTo>
                    <a:lnTo>
                      <a:pt x="1157" y="1281"/>
                    </a:lnTo>
                    <a:lnTo>
                      <a:pt x="1156" y="1281"/>
                    </a:lnTo>
                    <a:lnTo>
                      <a:pt x="1154" y="1281"/>
                    </a:lnTo>
                    <a:lnTo>
                      <a:pt x="1156" y="1279"/>
                    </a:lnTo>
                    <a:lnTo>
                      <a:pt x="1154" y="1279"/>
                    </a:lnTo>
                    <a:lnTo>
                      <a:pt x="1154" y="1277"/>
                    </a:lnTo>
                    <a:lnTo>
                      <a:pt x="1156" y="1277"/>
                    </a:lnTo>
                    <a:lnTo>
                      <a:pt x="1154" y="1277"/>
                    </a:lnTo>
                    <a:lnTo>
                      <a:pt x="1154" y="1276"/>
                    </a:lnTo>
                    <a:lnTo>
                      <a:pt x="1154" y="1274"/>
                    </a:lnTo>
                    <a:lnTo>
                      <a:pt x="1156" y="1274"/>
                    </a:lnTo>
                    <a:lnTo>
                      <a:pt x="1156" y="1272"/>
                    </a:lnTo>
                    <a:lnTo>
                      <a:pt x="1157" y="1272"/>
                    </a:lnTo>
                    <a:lnTo>
                      <a:pt x="1156" y="1270"/>
                    </a:lnTo>
                    <a:lnTo>
                      <a:pt x="1156" y="1272"/>
                    </a:lnTo>
                    <a:lnTo>
                      <a:pt x="1154" y="1272"/>
                    </a:lnTo>
                    <a:lnTo>
                      <a:pt x="1154" y="1270"/>
                    </a:lnTo>
                    <a:lnTo>
                      <a:pt x="1154" y="1272"/>
                    </a:lnTo>
                    <a:lnTo>
                      <a:pt x="1154" y="1270"/>
                    </a:lnTo>
                    <a:lnTo>
                      <a:pt x="1154" y="1269"/>
                    </a:lnTo>
                    <a:lnTo>
                      <a:pt x="1156" y="1269"/>
                    </a:lnTo>
                    <a:lnTo>
                      <a:pt x="1156" y="1267"/>
                    </a:lnTo>
                    <a:lnTo>
                      <a:pt x="1156" y="1269"/>
                    </a:lnTo>
                    <a:lnTo>
                      <a:pt x="1154" y="1269"/>
                    </a:lnTo>
                    <a:lnTo>
                      <a:pt x="1152" y="1270"/>
                    </a:lnTo>
                    <a:lnTo>
                      <a:pt x="1151" y="1272"/>
                    </a:lnTo>
                    <a:lnTo>
                      <a:pt x="1151" y="1270"/>
                    </a:lnTo>
                    <a:lnTo>
                      <a:pt x="1151" y="1272"/>
                    </a:lnTo>
                    <a:lnTo>
                      <a:pt x="1149" y="1272"/>
                    </a:lnTo>
                    <a:lnTo>
                      <a:pt x="1147" y="1272"/>
                    </a:lnTo>
                    <a:lnTo>
                      <a:pt x="1149" y="1272"/>
                    </a:lnTo>
                    <a:lnTo>
                      <a:pt x="1147" y="1272"/>
                    </a:lnTo>
                    <a:lnTo>
                      <a:pt x="1145" y="1270"/>
                    </a:lnTo>
                    <a:lnTo>
                      <a:pt x="1145" y="1269"/>
                    </a:lnTo>
                    <a:lnTo>
                      <a:pt x="1147" y="1269"/>
                    </a:lnTo>
                    <a:lnTo>
                      <a:pt x="1149" y="1269"/>
                    </a:lnTo>
                    <a:lnTo>
                      <a:pt x="1151" y="1269"/>
                    </a:lnTo>
                    <a:lnTo>
                      <a:pt x="1152" y="1269"/>
                    </a:lnTo>
                    <a:lnTo>
                      <a:pt x="1152" y="1267"/>
                    </a:lnTo>
                    <a:lnTo>
                      <a:pt x="1151" y="1269"/>
                    </a:lnTo>
                    <a:lnTo>
                      <a:pt x="1151" y="1267"/>
                    </a:lnTo>
                    <a:lnTo>
                      <a:pt x="1152" y="1267"/>
                    </a:lnTo>
                    <a:lnTo>
                      <a:pt x="1152" y="1265"/>
                    </a:lnTo>
                    <a:lnTo>
                      <a:pt x="1151" y="1267"/>
                    </a:lnTo>
                    <a:lnTo>
                      <a:pt x="1151" y="1265"/>
                    </a:lnTo>
                    <a:lnTo>
                      <a:pt x="1152" y="1264"/>
                    </a:lnTo>
                    <a:lnTo>
                      <a:pt x="1152" y="1262"/>
                    </a:lnTo>
                    <a:lnTo>
                      <a:pt x="1151" y="1264"/>
                    </a:lnTo>
                    <a:lnTo>
                      <a:pt x="1151" y="1265"/>
                    </a:lnTo>
                    <a:lnTo>
                      <a:pt x="1151" y="1267"/>
                    </a:lnTo>
                    <a:lnTo>
                      <a:pt x="1149" y="1267"/>
                    </a:lnTo>
                    <a:lnTo>
                      <a:pt x="1151" y="1269"/>
                    </a:lnTo>
                    <a:lnTo>
                      <a:pt x="1149" y="1269"/>
                    </a:lnTo>
                    <a:lnTo>
                      <a:pt x="1149" y="1267"/>
                    </a:lnTo>
                    <a:lnTo>
                      <a:pt x="1149" y="1269"/>
                    </a:lnTo>
                    <a:lnTo>
                      <a:pt x="1147" y="1269"/>
                    </a:lnTo>
                    <a:lnTo>
                      <a:pt x="1147" y="1267"/>
                    </a:lnTo>
                    <a:lnTo>
                      <a:pt x="1149" y="1267"/>
                    </a:lnTo>
                    <a:lnTo>
                      <a:pt x="1149" y="1265"/>
                    </a:lnTo>
                    <a:lnTo>
                      <a:pt x="1149" y="1264"/>
                    </a:lnTo>
                    <a:lnTo>
                      <a:pt x="1151" y="1262"/>
                    </a:lnTo>
                    <a:lnTo>
                      <a:pt x="1149" y="1264"/>
                    </a:lnTo>
                    <a:lnTo>
                      <a:pt x="1149" y="1262"/>
                    </a:lnTo>
                    <a:lnTo>
                      <a:pt x="1151" y="1262"/>
                    </a:lnTo>
                    <a:lnTo>
                      <a:pt x="1151" y="1260"/>
                    </a:lnTo>
                    <a:lnTo>
                      <a:pt x="1149" y="1262"/>
                    </a:lnTo>
                    <a:lnTo>
                      <a:pt x="1149" y="1264"/>
                    </a:lnTo>
                    <a:lnTo>
                      <a:pt x="1147" y="1264"/>
                    </a:lnTo>
                    <a:lnTo>
                      <a:pt x="1145" y="1262"/>
                    </a:lnTo>
                    <a:lnTo>
                      <a:pt x="1147" y="1262"/>
                    </a:lnTo>
                    <a:lnTo>
                      <a:pt x="1147" y="1260"/>
                    </a:lnTo>
                    <a:lnTo>
                      <a:pt x="1145" y="1260"/>
                    </a:lnTo>
                    <a:lnTo>
                      <a:pt x="1145" y="1259"/>
                    </a:lnTo>
                    <a:lnTo>
                      <a:pt x="1144" y="1257"/>
                    </a:lnTo>
                    <a:lnTo>
                      <a:pt x="1145" y="1255"/>
                    </a:lnTo>
                    <a:lnTo>
                      <a:pt x="1147" y="1255"/>
                    </a:lnTo>
                    <a:lnTo>
                      <a:pt x="1147" y="1253"/>
                    </a:lnTo>
                    <a:lnTo>
                      <a:pt x="1147" y="1255"/>
                    </a:lnTo>
                    <a:lnTo>
                      <a:pt x="1147" y="1253"/>
                    </a:lnTo>
                    <a:lnTo>
                      <a:pt x="1149" y="1255"/>
                    </a:lnTo>
                    <a:lnTo>
                      <a:pt x="1149" y="1253"/>
                    </a:lnTo>
                    <a:lnTo>
                      <a:pt x="1149" y="1255"/>
                    </a:lnTo>
                    <a:lnTo>
                      <a:pt x="1149" y="1253"/>
                    </a:lnTo>
                    <a:lnTo>
                      <a:pt x="1149" y="1255"/>
                    </a:lnTo>
                    <a:lnTo>
                      <a:pt x="1149" y="1253"/>
                    </a:lnTo>
                    <a:lnTo>
                      <a:pt x="1151" y="1253"/>
                    </a:lnTo>
                    <a:lnTo>
                      <a:pt x="1149" y="1255"/>
                    </a:lnTo>
                    <a:lnTo>
                      <a:pt x="1149" y="1257"/>
                    </a:lnTo>
                    <a:lnTo>
                      <a:pt x="1149" y="1255"/>
                    </a:lnTo>
                    <a:lnTo>
                      <a:pt x="1151" y="1255"/>
                    </a:lnTo>
                    <a:lnTo>
                      <a:pt x="1151" y="1253"/>
                    </a:lnTo>
                    <a:lnTo>
                      <a:pt x="1151" y="1252"/>
                    </a:lnTo>
                    <a:lnTo>
                      <a:pt x="1152" y="1252"/>
                    </a:lnTo>
                    <a:close/>
                    <a:moveTo>
                      <a:pt x="1176" y="1393"/>
                    </a:moveTo>
                    <a:lnTo>
                      <a:pt x="1176" y="1395"/>
                    </a:lnTo>
                    <a:lnTo>
                      <a:pt x="1176" y="1393"/>
                    </a:lnTo>
                    <a:lnTo>
                      <a:pt x="1178" y="1393"/>
                    </a:lnTo>
                    <a:lnTo>
                      <a:pt x="1178" y="1395"/>
                    </a:lnTo>
                    <a:lnTo>
                      <a:pt x="1179" y="1393"/>
                    </a:lnTo>
                    <a:lnTo>
                      <a:pt x="1179" y="1395"/>
                    </a:lnTo>
                    <a:lnTo>
                      <a:pt x="1181" y="1395"/>
                    </a:lnTo>
                    <a:lnTo>
                      <a:pt x="1181" y="1396"/>
                    </a:lnTo>
                    <a:lnTo>
                      <a:pt x="1181" y="1395"/>
                    </a:lnTo>
                    <a:lnTo>
                      <a:pt x="1183" y="1396"/>
                    </a:lnTo>
                    <a:lnTo>
                      <a:pt x="1181" y="1398"/>
                    </a:lnTo>
                    <a:lnTo>
                      <a:pt x="1181" y="1396"/>
                    </a:lnTo>
                    <a:lnTo>
                      <a:pt x="1181" y="1398"/>
                    </a:lnTo>
                    <a:lnTo>
                      <a:pt x="1181" y="1400"/>
                    </a:lnTo>
                    <a:lnTo>
                      <a:pt x="1179" y="1400"/>
                    </a:lnTo>
                    <a:lnTo>
                      <a:pt x="1181" y="1400"/>
                    </a:lnTo>
                    <a:lnTo>
                      <a:pt x="1181" y="1398"/>
                    </a:lnTo>
                    <a:lnTo>
                      <a:pt x="1183" y="1398"/>
                    </a:lnTo>
                    <a:lnTo>
                      <a:pt x="1183" y="1400"/>
                    </a:lnTo>
                    <a:lnTo>
                      <a:pt x="1183" y="1401"/>
                    </a:lnTo>
                    <a:lnTo>
                      <a:pt x="1183" y="1403"/>
                    </a:lnTo>
                    <a:lnTo>
                      <a:pt x="1181" y="1403"/>
                    </a:lnTo>
                    <a:lnTo>
                      <a:pt x="1183" y="1403"/>
                    </a:lnTo>
                    <a:lnTo>
                      <a:pt x="1183" y="1405"/>
                    </a:lnTo>
                    <a:lnTo>
                      <a:pt x="1183" y="1403"/>
                    </a:lnTo>
                    <a:lnTo>
                      <a:pt x="1183" y="1405"/>
                    </a:lnTo>
                    <a:lnTo>
                      <a:pt x="1183" y="1403"/>
                    </a:lnTo>
                    <a:lnTo>
                      <a:pt x="1183" y="1405"/>
                    </a:lnTo>
                    <a:lnTo>
                      <a:pt x="1183" y="1407"/>
                    </a:lnTo>
                    <a:lnTo>
                      <a:pt x="1183" y="1405"/>
                    </a:lnTo>
                    <a:lnTo>
                      <a:pt x="1185" y="1407"/>
                    </a:lnTo>
                    <a:lnTo>
                      <a:pt x="1185" y="1408"/>
                    </a:lnTo>
                    <a:lnTo>
                      <a:pt x="1185" y="1410"/>
                    </a:lnTo>
                    <a:lnTo>
                      <a:pt x="1185" y="1412"/>
                    </a:lnTo>
                    <a:lnTo>
                      <a:pt x="1183" y="1410"/>
                    </a:lnTo>
                    <a:lnTo>
                      <a:pt x="1185" y="1412"/>
                    </a:lnTo>
                    <a:lnTo>
                      <a:pt x="1183" y="1412"/>
                    </a:lnTo>
                    <a:lnTo>
                      <a:pt x="1183" y="1410"/>
                    </a:lnTo>
                    <a:lnTo>
                      <a:pt x="1181" y="1408"/>
                    </a:lnTo>
                    <a:lnTo>
                      <a:pt x="1181" y="1407"/>
                    </a:lnTo>
                    <a:lnTo>
                      <a:pt x="1179" y="1407"/>
                    </a:lnTo>
                    <a:lnTo>
                      <a:pt x="1179" y="1408"/>
                    </a:lnTo>
                    <a:lnTo>
                      <a:pt x="1181" y="1408"/>
                    </a:lnTo>
                    <a:lnTo>
                      <a:pt x="1181" y="1410"/>
                    </a:lnTo>
                    <a:lnTo>
                      <a:pt x="1181" y="1412"/>
                    </a:lnTo>
                    <a:lnTo>
                      <a:pt x="1179" y="1412"/>
                    </a:lnTo>
                    <a:lnTo>
                      <a:pt x="1179" y="1410"/>
                    </a:lnTo>
                    <a:lnTo>
                      <a:pt x="1179" y="1412"/>
                    </a:lnTo>
                    <a:lnTo>
                      <a:pt x="1181" y="1412"/>
                    </a:lnTo>
                    <a:lnTo>
                      <a:pt x="1181" y="1413"/>
                    </a:lnTo>
                    <a:lnTo>
                      <a:pt x="1183" y="1413"/>
                    </a:lnTo>
                    <a:lnTo>
                      <a:pt x="1185" y="1415"/>
                    </a:lnTo>
                    <a:lnTo>
                      <a:pt x="1185" y="1417"/>
                    </a:lnTo>
                    <a:lnTo>
                      <a:pt x="1185" y="1418"/>
                    </a:lnTo>
                    <a:lnTo>
                      <a:pt x="1183" y="1418"/>
                    </a:lnTo>
                    <a:lnTo>
                      <a:pt x="1183" y="1417"/>
                    </a:lnTo>
                    <a:lnTo>
                      <a:pt x="1181" y="1417"/>
                    </a:lnTo>
                    <a:lnTo>
                      <a:pt x="1183" y="1418"/>
                    </a:lnTo>
                    <a:lnTo>
                      <a:pt x="1183" y="1420"/>
                    </a:lnTo>
                    <a:lnTo>
                      <a:pt x="1183" y="1418"/>
                    </a:lnTo>
                    <a:lnTo>
                      <a:pt x="1181" y="1418"/>
                    </a:lnTo>
                    <a:lnTo>
                      <a:pt x="1181" y="1417"/>
                    </a:lnTo>
                    <a:lnTo>
                      <a:pt x="1179" y="1418"/>
                    </a:lnTo>
                    <a:lnTo>
                      <a:pt x="1181" y="1418"/>
                    </a:lnTo>
                    <a:lnTo>
                      <a:pt x="1183" y="1420"/>
                    </a:lnTo>
                    <a:lnTo>
                      <a:pt x="1183" y="1422"/>
                    </a:lnTo>
                    <a:lnTo>
                      <a:pt x="1181" y="1422"/>
                    </a:lnTo>
                    <a:lnTo>
                      <a:pt x="1181" y="1420"/>
                    </a:lnTo>
                    <a:lnTo>
                      <a:pt x="1181" y="1418"/>
                    </a:lnTo>
                    <a:lnTo>
                      <a:pt x="1179" y="1420"/>
                    </a:lnTo>
                    <a:lnTo>
                      <a:pt x="1179" y="1418"/>
                    </a:lnTo>
                    <a:lnTo>
                      <a:pt x="1178" y="1420"/>
                    </a:lnTo>
                    <a:lnTo>
                      <a:pt x="1178" y="1418"/>
                    </a:lnTo>
                    <a:lnTo>
                      <a:pt x="1179" y="1418"/>
                    </a:lnTo>
                    <a:lnTo>
                      <a:pt x="1179" y="1417"/>
                    </a:lnTo>
                    <a:lnTo>
                      <a:pt x="1178" y="1417"/>
                    </a:lnTo>
                    <a:lnTo>
                      <a:pt x="1178" y="1415"/>
                    </a:lnTo>
                    <a:lnTo>
                      <a:pt x="1176" y="1413"/>
                    </a:lnTo>
                    <a:lnTo>
                      <a:pt x="1178" y="1412"/>
                    </a:lnTo>
                    <a:lnTo>
                      <a:pt x="1176" y="1412"/>
                    </a:lnTo>
                    <a:lnTo>
                      <a:pt x="1176" y="1410"/>
                    </a:lnTo>
                    <a:lnTo>
                      <a:pt x="1178" y="1410"/>
                    </a:lnTo>
                    <a:lnTo>
                      <a:pt x="1179" y="1410"/>
                    </a:lnTo>
                    <a:lnTo>
                      <a:pt x="1179" y="1408"/>
                    </a:lnTo>
                    <a:lnTo>
                      <a:pt x="1179" y="1410"/>
                    </a:lnTo>
                    <a:lnTo>
                      <a:pt x="1178" y="1410"/>
                    </a:lnTo>
                    <a:lnTo>
                      <a:pt x="1176" y="1410"/>
                    </a:lnTo>
                    <a:lnTo>
                      <a:pt x="1176" y="1408"/>
                    </a:lnTo>
                    <a:lnTo>
                      <a:pt x="1176" y="1410"/>
                    </a:lnTo>
                    <a:lnTo>
                      <a:pt x="1176" y="1412"/>
                    </a:lnTo>
                    <a:lnTo>
                      <a:pt x="1174" y="1413"/>
                    </a:lnTo>
                    <a:lnTo>
                      <a:pt x="1174" y="1412"/>
                    </a:lnTo>
                    <a:lnTo>
                      <a:pt x="1174" y="1413"/>
                    </a:lnTo>
                    <a:lnTo>
                      <a:pt x="1173" y="1413"/>
                    </a:lnTo>
                    <a:lnTo>
                      <a:pt x="1171" y="1413"/>
                    </a:lnTo>
                    <a:lnTo>
                      <a:pt x="1173" y="1412"/>
                    </a:lnTo>
                    <a:lnTo>
                      <a:pt x="1171" y="1412"/>
                    </a:lnTo>
                    <a:lnTo>
                      <a:pt x="1173" y="1412"/>
                    </a:lnTo>
                    <a:lnTo>
                      <a:pt x="1173" y="1410"/>
                    </a:lnTo>
                    <a:lnTo>
                      <a:pt x="1171" y="1410"/>
                    </a:lnTo>
                    <a:lnTo>
                      <a:pt x="1173" y="1410"/>
                    </a:lnTo>
                    <a:lnTo>
                      <a:pt x="1174" y="1410"/>
                    </a:lnTo>
                    <a:lnTo>
                      <a:pt x="1174" y="1408"/>
                    </a:lnTo>
                    <a:lnTo>
                      <a:pt x="1176" y="1408"/>
                    </a:lnTo>
                    <a:lnTo>
                      <a:pt x="1176" y="1407"/>
                    </a:lnTo>
                    <a:lnTo>
                      <a:pt x="1176" y="1405"/>
                    </a:lnTo>
                    <a:lnTo>
                      <a:pt x="1176" y="1407"/>
                    </a:lnTo>
                    <a:lnTo>
                      <a:pt x="1174" y="1407"/>
                    </a:lnTo>
                    <a:lnTo>
                      <a:pt x="1174" y="1408"/>
                    </a:lnTo>
                    <a:lnTo>
                      <a:pt x="1173" y="1408"/>
                    </a:lnTo>
                    <a:lnTo>
                      <a:pt x="1171" y="1408"/>
                    </a:lnTo>
                    <a:lnTo>
                      <a:pt x="1171" y="1407"/>
                    </a:lnTo>
                    <a:lnTo>
                      <a:pt x="1171" y="1408"/>
                    </a:lnTo>
                    <a:lnTo>
                      <a:pt x="1169" y="1408"/>
                    </a:lnTo>
                    <a:lnTo>
                      <a:pt x="1171" y="1408"/>
                    </a:lnTo>
                    <a:lnTo>
                      <a:pt x="1171" y="1410"/>
                    </a:lnTo>
                    <a:lnTo>
                      <a:pt x="1169" y="1412"/>
                    </a:lnTo>
                    <a:lnTo>
                      <a:pt x="1168" y="1412"/>
                    </a:lnTo>
                    <a:lnTo>
                      <a:pt x="1169" y="1410"/>
                    </a:lnTo>
                    <a:lnTo>
                      <a:pt x="1168" y="1410"/>
                    </a:lnTo>
                    <a:lnTo>
                      <a:pt x="1168" y="1412"/>
                    </a:lnTo>
                    <a:lnTo>
                      <a:pt x="1166" y="1410"/>
                    </a:lnTo>
                    <a:lnTo>
                      <a:pt x="1168" y="1410"/>
                    </a:lnTo>
                    <a:lnTo>
                      <a:pt x="1168" y="1408"/>
                    </a:lnTo>
                    <a:lnTo>
                      <a:pt x="1169" y="1407"/>
                    </a:lnTo>
                    <a:lnTo>
                      <a:pt x="1168" y="1407"/>
                    </a:lnTo>
                    <a:lnTo>
                      <a:pt x="1169" y="1407"/>
                    </a:lnTo>
                    <a:lnTo>
                      <a:pt x="1171" y="1407"/>
                    </a:lnTo>
                    <a:lnTo>
                      <a:pt x="1169" y="1407"/>
                    </a:lnTo>
                    <a:lnTo>
                      <a:pt x="1168" y="1407"/>
                    </a:lnTo>
                    <a:lnTo>
                      <a:pt x="1166" y="1407"/>
                    </a:lnTo>
                    <a:lnTo>
                      <a:pt x="1168" y="1405"/>
                    </a:lnTo>
                    <a:lnTo>
                      <a:pt x="1169" y="1405"/>
                    </a:lnTo>
                    <a:lnTo>
                      <a:pt x="1168" y="1405"/>
                    </a:lnTo>
                    <a:lnTo>
                      <a:pt x="1166" y="1405"/>
                    </a:lnTo>
                    <a:lnTo>
                      <a:pt x="1166" y="1407"/>
                    </a:lnTo>
                    <a:lnTo>
                      <a:pt x="1164" y="1407"/>
                    </a:lnTo>
                    <a:lnTo>
                      <a:pt x="1164" y="1405"/>
                    </a:lnTo>
                    <a:lnTo>
                      <a:pt x="1164" y="1403"/>
                    </a:lnTo>
                    <a:lnTo>
                      <a:pt x="1166" y="1403"/>
                    </a:lnTo>
                    <a:lnTo>
                      <a:pt x="1168" y="1403"/>
                    </a:lnTo>
                    <a:lnTo>
                      <a:pt x="1166" y="1403"/>
                    </a:lnTo>
                    <a:lnTo>
                      <a:pt x="1164" y="1401"/>
                    </a:lnTo>
                    <a:lnTo>
                      <a:pt x="1166" y="1401"/>
                    </a:lnTo>
                    <a:lnTo>
                      <a:pt x="1168" y="1401"/>
                    </a:lnTo>
                    <a:lnTo>
                      <a:pt x="1166" y="1401"/>
                    </a:lnTo>
                    <a:lnTo>
                      <a:pt x="1168" y="1401"/>
                    </a:lnTo>
                    <a:lnTo>
                      <a:pt x="1169" y="1401"/>
                    </a:lnTo>
                    <a:lnTo>
                      <a:pt x="1169" y="1403"/>
                    </a:lnTo>
                    <a:lnTo>
                      <a:pt x="1171" y="1403"/>
                    </a:lnTo>
                    <a:lnTo>
                      <a:pt x="1173" y="1403"/>
                    </a:lnTo>
                    <a:lnTo>
                      <a:pt x="1174" y="1403"/>
                    </a:lnTo>
                    <a:lnTo>
                      <a:pt x="1173" y="1405"/>
                    </a:lnTo>
                    <a:lnTo>
                      <a:pt x="1174" y="1405"/>
                    </a:lnTo>
                    <a:lnTo>
                      <a:pt x="1174" y="1403"/>
                    </a:lnTo>
                    <a:lnTo>
                      <a:pt x="1176" y="1403"/>
                    </a:lnTo>
                    <a:lnTo>
                      <a:pt x="1176" y="1405"/>
                    </a:lnTo>
                    <a:lnTo>
                      <a:pt x="1176" y="1403"/>
                    </a:lnTo>
                    <a:lnTo>
                      <a:pt x="1178" y="1403"/>
                    </a:lnTo>
                    <a:lnTo>
                      <a:pt x="1176" y="1401"/>
                    </a:lnTo>
                    <a:lnTo>
                      <a:pt x="1178" y="1401"/>
                    </a:lnTo>
                    <a:lnTo>
                      <a:pt x="1176" y="1401"/>
                    </a:lnTo>
                    <a:lnTo>
                      <a:pt x="1176" y="1403"/>
                    </a:lnTo>
                    <a:lnTo>
                      <a:pt x="1174" y="1401"/>
                    </a:lnTo>
                    <a:lnTo>
                      <a:pt x="1174" y="1400"/>
                    </a:lnTo>
                    <a:lnTo>
                      <a:pt x="1176" y="1400"/>
                    </a:lnTo>
                    <a:lnTo>
                      <a:pt x="1176" y="1398"/>
                    </a:lnTo>
                    <a:lnTo>
                      <a:pt x="1178" y="1400"/>
                    </a:lnTo>
                    <a:lnTo>
                      <a:pt x="1176" y="1400"/>
                    </a:lnTo>
                    <a:lnTo>
                      <a:pt x="1178" y="1400"/>
                    </a:lnTo>
                    <a:lnTo>
                      <a:pt x="1178" y="1398"/>
                    </a:lnTo>
                    <a:lnTo>
                      <a:pt x="1179" y="1398"/>
                    </a:lnTo>
                    <a:lnTo>
                      <a:pt x="1178" y="1398"/>
                    </a:lnTo>
                    <a:lnTo>
                      <a:pt x="1176" y="1398"/>
                    </a:lnTo>
                    <a:lnTo>
                      <a:pt x="1176" y="1396"/>
                    </a:lnTo>
                    <a:lnTo>
                      <a:pt x="1174" y="1396"/>
                    </a:lnTo>
                    <a:lnTo>
                      <a:pt x="1174" y="1395"/>
                    </a:lnTo>
                    <a:lnTo>
                      <a:pt x="1173" y="1395"/>
                    </a:lnTo>
                    <a:lnTo>
                      <a:pt x="1174" y="1393"/>
                    </a:lnTo>
                    <a:lnTo>
                      <a:pt x="1174" y="1391"/>
                    </a:lnTo>
                    <a:lnTo>
                      <a:pt x="1176" y="1393"/>
                    </a:lnTo>
                    <a:close/>
                    <a:moveTo>
                      <a:pt x="1173" y="1259"/>
                    </a:moveTo>
                    <a:lnTo>
                      <a:pt x="1174" y="1259"/>
                    </a:lnTo>
                    <a:lnTo>
                      <a:pt x="1174" y="1260"/>
                    </a:lnTo>
                    <a:lnTo>
                      <a:pt x="1174" y="1262"/>
                    </a:lnTo>
                    <a:lnTo>
                      <a:pt x="1173" y="1262"/>
                    </a:lnTo>
                    <a:lnTo>
                      <a:pt x="1174" y="1262"/>
                    </a:lnTo>
                    <a:lnTo>
                      <a:pt x="1174" y="1264"/>
                    </a:lnTo>
                    <a:lnTo>
                      <a:pt x="1174" y="1262"/>
                    </a:lnTo>
                    <a:lnTo>
                      <a:pt x="1176" y="1264"/>
                    </a:lnTo>
                    <a:lnTo>
                      <a:pt x="1174" y="1265"/>
                    </a:lnTo>
                    <a:lnTo>
                      <a:pt x="1176" y="1265"/>
                    </a:lnTo>
                    <a:lnTo>
                      <a:pt x="1174" y="1265"/>
                    </a:lnTo>
                    <a:lnTo>
                      <a:pt x="1176" y="1267"/>
                    </a:lnTo>
                    <a:lnTo>
                      <a:pt x="1178" y="1267"/>
                    </a:lnTo>
                    <a:lnTo>
                      <a:pt x="1178" y="1269"/>
                    </a:lnTo>
                    <a:lnTo>
                      <a:pt x="1178" y="1270"/>
                    </a:lnTo>
                    <a:lnTo>
                      <a:pt x="1178" y="1272"/>
                    </a:lnTo>
                    <a:lnTo>
                      <a:pt x="1176" y="1272"/>
                    </a:lnTo>
                    <a:lnTo>
                      <a:pt x="1174" y="1272"/>
                    </a:lnTo>
                    <a:lnTo>
                      <a:pt x="1176" y="1272"/>
                    </a:lnTo>
                    <a:lnTo>
                      <a:pt x="1176" y="1274"/>
                    </a:lnTo>
                    <a:lnTo>
                      <a:pt x="1178" y="1276"/>
                    </a:lnTo>
                    <a:lnTo>
                      <a:pt x="1178" y="1277"/>
                    </a:lnTo>
                    <a:lnTo>
                      <a:pt x="1178" y="1279"/>
                    </a:lnTo>
                    <a:lnTo>
                      <a:pt x="1178" y="1281"/>
                    </a:lnTo>
                    <a:lnTo>
                      <a:pt x="1179" y="1282"/>
                    </a:lnTo>
                    <a:lnTo>
                      <a:pt x="1179" y="1284"/>
                    </a:lnTo>
                    <a:lnTo>
                      <a:pt x="1181" y="1282"/>
                    </a:lnTo>
                    <a:lnTo>
                      <a:pt x="1179" y="1282"/>
                    </a:lnTo>
                    <a:lnTo>
                      <a:pt x="1179" y="1281"/>
                    </a:lnTo>
                    <a:lnTo>
                      <a:pt x="1181" y="1281"/>
                    </a:lnTo>
                    <a:lnTo>
                      <a:pt x="1181" y="1282"/>
                    </a:lnTo>
                    <a:lnTo>
                      <a:pt x="1181" y="1284"/>
                    </a:lnTo>
                    <a:lnTo>
                      <a:pt x="1181" y="1286"/>
                    </a:lnTo>
                    <a:lnTo>
                      <a:pt x="1179" y="1286"/>
                    </a:lnTo>
                    <a:lnTo>
                      <a:pt x="1178" y="1288"/>
                    </a:lnTo>
                    <a:lnTo>
                      <a:pt x="1178" y="1286"/>
                    </a:lnTo>
                    <a:lnTo>
                      <a:pt x="1176" y="1286"/>
                    </a:lnTo>
                    <a:lnTo>
                      <a:pt x="1176" y="1284"/>
                    </a:lnTo>
                    <a:lnTo>
                      <a:pt x="1174" y="1284"/>
                    </a:lnTo>
                    <a:lnTo>
                      <a:pt x="1173" y="1284"/>
                    </a:lnTo>
                    <a:lnTo>
                      <a:pt x="1174" y="1282"/>
                    </a:lnTo>
                    <a:lnTo>
                      <a:pt x="1173" y="1284"/>
                    </a:lnTo>
                    <a:lnTo>
                      <a:pt x="1171" y="1284"/>
                    </a:lnTo>
                    <a:lnTo>
                      <a:pt x="1169" y="1282"/>
                    </a:lnTo>
                    <a:lnTo>
                      <a:pt x="1168" y="1282"/>
                    </a:lnTo>
                    <a:lnTo>
                      <a:pt x="1166" y="1282"/>
                    </a:lnTo>
                    <a:lnTo>
                      <a:pt x="1166" y="1281"/>
                    </a:lnTo>
                    <a:lnTo>
                      <a:pt x="1166" y="1279"/>
                    </a:lnTo>
                    <a:lnTo>
                      <a:pt x="1166" y="1281"/>
                    </a:lnTo>
                    <a:lnTo>
                      <a:pt x="1166" y="1282"/>
                    </a:lnTo>
                    <a:lnTo>
                      <a:pt x="1164" y="1282"/>
                    </a:lnTo>
                    <a:lnTo>
                      <a:pt x="1164" y="1281"/>
                    </a:lnTo>
                    <a:lnTo>
                      <a:pt x="1164" y="1279"/>
                    </a:lnTo>
                    <a:lnTo>
                      <a:pt x="1164" y="1277"/>
                    </a:lnTo>
                    <a:lnTo>
                      <a:pt x="1164" y="1276"/>
                    </a:lnTo>
                    <a:lnTo>
                      <a:pt x="1164" y="1274"/>
                    </a:lnTo>
                    <a:lnTo>
                      <a:pt x="1166" y="1274"/>
                    </a:lnTo>
                    <a:lnTo>
                      <a:pt x="1166" y="1272"/>
                    </a:lnTo>
                    <a:lnTo>
                      <a:pt x="1168" y="1272"/>
                    </a:lnTo>
                    <a:lnTo>
                      <a:pt x="1168" y="1270"/>
                    </a:lnTo>
                    <a:lnTo>
                      <a:pt x="1169" y="1272"/>
                    </a:lnTo>
                    <a:lnTo>
                      <a:pt x="1169" y="1270"/>
                    </a:lnTo>
                    <a:lnTo>
                      <a:pt x="1171" y="1270"/>
                    </a:lnTo>
                    <a:lnTo>
                      <a:pt x="1171" y="1272"/>
                    </a:lnTo>
                    <a:lnTo>
                      <a:pt x="1171" y="1274"/>
                    </a:lnTo>
                    <a:lnTo>
                      <a:pt x="1171" y="1276"/>
                    </a:lnTo>
                    <a:lnTo>
                      <a:pt x="1171" y="1277"/>
                    </a:lnTo>
                    <a:lnTo>
                      <a:pt x="1171" y="1279"/>
                    </a:lnTo>
                    <a:lnTo>
                      <a:pt x="1171" y="1277"/>
                    </a:lnTo>
                    <a:lnTo>
                      <a:pt x="1171" y="1276"/>
                    </a:lnTo>
                    <a:lnTo>
                      <a:pt x="1173" y="1276"/>
                    </a:lnTo>
                    <a:lnTo>
                      <a:pt x="1173" y="1277"/>
                    </a:lnTo>
                    <a:lnTo>
                      <a:pt x="1173" y="1279"/>
                    </a:lnTo>
                    <a:lnTo>
                      <a:pt x="1173" y="1277"/>
                    </a:lnTo>
                    <a:lnTo>
                      <a:pt x="1173" y="1276"/>
                    </a:lnTo>
                    <a:lnTo>
                      <a:pt x="1174" y="1276"/>
                    </a:lnTo>
                    <a:lnTo>
                      <a:pt x="1174" y="1274"/>
                    </a:lnTo>
                    <a:lnTo>
                      <a:pt x="1174" y="1272"/>
                    </a:lnTo>
                    <a:lnTo>
                      <a:pt x="1173" y="1274"/>
                    </a:lnTo>
                    <a:lnTo>
                      <a:pt x="1173" y="1272"/>
                    </a:lnTo>
                    <a:lnTo>
                      <a:pt x="1171" y="1272"/>
                    </a:lnTo>
                    <a:lnTo>
                      <a:pt x="1171" y="1270"/>
                    </a:lnTo>
                    <a:lnTo>
                      <a:pt x="1171" y="1272"/>
                    </a:lnTo>
                    <a:lnTo>
                      <a:pt x="1173" y="1272"/>
                    </a:lnTo>
                    <a:lnTo>
                      <a:pt x="1171" y="1270"/>
                    </a:lnTo>
                    <a:lnTo>
                      <a:pt x="1171" y="1269"/>
                    </a:lnTo>
                    <a:lnTo>
                      <a:pt x="1171" y="1267"/>
                    </a:lnTo>
                    <a:lnTo>
                      <a:pt x="1171" y="1265"/>
                    </a:lnTo>
                    <a:lnTo>
                      <a:pt x="1171" y="1264"/>
                    </a:lnTo>
                    <a:lnTo>
                      <a:pt x="1173" y="1264"/>
                    </a:lnTo>
                    <a:lnTo>
                      <a:pt x="1171" y="1264"/>
                    </a:lnTo>
                    <a:lnTo>
                      <a:pt x="1173" y="1262"/>
                    </a:lnTo>
                    <a:lnTo>
                      <a:pt x="1173" y="1260"/>
                    </a:lnTo>
                    <a:lnTo>
                      <a:pt x="1173" y="1259"/>
                    </a:lnTo>
                    <a:lnTo>
                      <a:pt x="1173" y="1257"/>
                    </a:lnTo>
                    <a:lnTo>
                      <a:pt x="1173" y="1259"/>
                    </a:lnTo>
                    <a:close/>
                    <a:moveTo>
                      <a:pt x="1188" y="1466"/>
                    </a:moveTo>
                    <a:lnTo>
                      <a:pt x="1190" y="1466"/>
                    </a:lnTo>
                    <a:lnTo>
                      <a:pt x="1190" y="1468"/>
                    </a:lnTo>
                    <a:lnTo>
                      <a:pt x="1191" y="1466"/>
                    </a:lnTo>
                    <a:lnTo>
                      <a:pt x="1193" y="1466"/>
                    </a:lnTo>
                    <a:lnTo>
                      <a:pt x="1193" y="1468"/>
                    </a:lnTo>
                    <a:lnTo>
                      <a:pt x="1195" y="1468"/>
                    </a:lnTo>
                    <a:lnTo>
                      <a:pt x="1195" y="1470"/>
                    </a:lnTo>
                    <a:lnTo>
                      <a:pt x="1193" y="1471"/>
                    </a:lnTo>
                    <a:lnTo>
                      <a:pt x="1195" y="1471"/>
                    </a:lnTo>
                    <a:lnTo>
                      <a:pt x="1195" y="1470"/>
                    </a:lnTo>
                    <a:lnTo>
                      <a:pt x="1196" y="1470"/>
                    </a:lnTo>
                    <a:lnTo>
                      <a:pt x="1196" y="1471"/>
                    </a:lnTo>
                    <a:lnTo>
                      <a:pt x="1198" y="1471"/>
                    </a:lnTo>
                    <a:lnTo>
                      <a:pt x="1198" y="1473"/>
                    </a:lnTo>
                    <a:lnTo>
                      <a:pt x="1200" y="1473"/>
                    </a:lnTo>
                    <a:lnTo>
                      <a:pt x="1202" y="1475"/>
                    </a:lnTo>
                    <a:lnTo>
                      <a:pt x="1203" y="1475"/>
                    </a:lnTo>
                    <a:lnTo>
                      <a:pt x="1203" y="1476"/>
                    </a:lnTo>
                    <a:lnTo>
                      <a:pt x="1205" y="1478"/>
                    </a:lnTo>
                    <a:lnTo>
                      <a:pt x="1205" y="1480"/>
                    </a:lnTo>
                    <a:lnTo>
                      <a:pt x="1203" y="1481"/>
                    </a:lnTo>
                    <a:lnTo>
                      <a:pt x="1205" y="1481"/>
                    </a:lnTo>
                    <a:lnTo>
                      <a:pt x="1205" y="1480"/>
                    </a:lnTo>
                    <a:lnTo>
                      <a:pt x="1205" y="1481"/>
                    </a:lnTo>
                    <a:lnTo>
                      <a:pt x="1205" y="1483"/>
                    </a:lnTo>
                    <a:lnTo>
                      <a:pt x="1205" y="1485"/>
                    </a:lnTo>
                    <a:lnTo>
                      <a:pt x="1207" y="1487"/>
                    </a:lnTo>
                    <a:lnTo>
                      <a:pt x="1207" y="1488"/>
                    </a:lnTo>
                    <a:lnTo>
                      <a:pt x="1208" y="1488"/>
                    </a:lnTo>
                    <a:lnTo>
                      <a:pt x="1208" y="1490"/>
                    </a:lnTo>
                    <a:lnTo>
                      <a:pt x="1207" y="1488"/>
                    </a:lnTo>
                    <a:lnTo>
                      <a:pt x="1208" y="1490"/>
                    </a:lnTo>
                    <a:lnTo>
                      <a:pt x="1207" y="1490"/>
                    </a:lnTo>
                    <a:lnTo>
                      <a:pt x="1205" y="1490"/>
                    </a:lnTo>
                    <a:lnTo>
                      <a:pt x="1207" y="1490"/>
                    </a:lnTo>
                    <a:lnTo>
                      <a:pt x="1207" y="1492"/>
                    </a:lnTo>
                    <a:lnTo>
                      <a:pt x="1205" y="1492"/>
                    </a:lnTo>
                    <a:lnTo>
                      <a:pt x="1205" y="1493"/>
                    </a:lnTo>
                    <a:lnTo>
                      <a:pt x="1207" y="1493"/>
                    </a:lnTo>
                    <a:lnTo>
                      <a:pt x="1205" y="1493"/>
                    </a:lnTo>
                    <a:lnTo>
                      <a:pt x="1203" y="1493"/>
                    </a:lnTo>
                    <a:lnTo>
                      <a:pt x="1203" y="1492"/>
                    </a:lnTo>
                    <a:lnTo>
                      <a:pt x="1203" y="1493"/>
                    </a:lnTo>
                    <a:lnTo>
                      <a:pt x="1205" y="1493"/>
                    </a:lnTo>
                    <a:lnTo>
                      <a:pt x="1203" y="1495"/>
                    </a:lnTo>
                    <a:lnTo>
                      <a:pt x="1205" y="1495"/>
                    </a:lnTo>
                    <a:lnTo>
                      <a:pt x="1205" y="1493"/>
                    </a:lnTo>
                    <a:lnTo>
                      <a:pt x="1207" y="1495"/>
                    </a:lnTo>
                    <a:lnTo>
                      <a:pt x="1207" y="1497"/>
                    </a:lnTo>
                    <a:lnTo>
                      <a:pt x="1205" y="1497"/>
                    </a:lnTo>
                    <a:lnTo>
                      <a:pt x="1205" y="1498"/>
                    </a:lnTo>
                    <a:lnTo>
                      <a:pt x="1205" y="1500"/>
                    </a:lnTo>
                    <a:lnTo>
                      <a:pt x="1205" y="1498"/>
                    </a:lnTo>
                    <a:lnTo>
                      <a:pt x="1203" y="1500"/>
                    </a:lnTo>
                    <a:lnTo>
                      <a:pt x="1205" y="1500"/>
                    </a:lnTo>
                    <a:lnTo>
                      <a:pt x="1203" y="1500"/>
                    </a:lnTo>
                    <a:lnTo>
                      <a:pt x="1203" y="1502"/>
                    </a:lnTo>
                    <a:lnTo>
                      <a:pt x="1202" y="1502"/>
                    </a:lnTo>
                    <a:lnTo>
                      <a:pt x="1202" y="1500"/>
                    </a:lnTo>
                    <a:lnTo>
                      <a:pt x="1202" y="1502"/>
                    </a:lnTo>
                    <a:lnTo>
                      <a:pt x="1200" y="1502"/>
                    </a:lnTo>
                    <a:lnTo>
                      <a:pt x="1200" y="1504"/>
                    </a:lnTo>
                    <a:lnTo>
                      <a:pt x="1198" y="1504"/>
                    </a:lnTo>
                    <a:lnTo>
                      <a:pt x="1198" y="1502"/>
                    </a:lnTo>
                    <a:lnTo>
                      <a:pt x="1198" y="1500"/>
                    </a:lnTo>
                    <a:lnTo>
                      <a:pt x="1200" y="1500"/>
                    </a:lnTo>
                    <a:lnTo>
                      <a:pt x="1200" y="1498"/>
                    </a:lnTo>
                    <a:lnTo>
                      <a:pt x="1202" y="1497"/>
                    </a:lnTo>
                    <a:lnTo>
                      <a:pt x="1202" y="1495"/>
                    </a:lnTo>
                    <a:lnTo>
                      <a:pt x="1200" y="1497"/>
                    </a:lnTo>
                    <a:lnTo>
                      <a:pt x="1200" y="1498"/>
                    </a:lnTo>
                    <a:lnTo>
                      <a:pt x="1198" y="1498"/>
                    </a:lnTo>
                    <a:lnTo>
                      <a:pt x="1198" y="1500"/>
                    </a:lnTo>
                    <a:lnTo>
                      <a:pt x="1198" y="1498"/>
                    </a:lnTo>
                    <a:lnTo>
                      <a:pt x="1198" y="1497"/>
                    </a:lnTo>
                    <a:lnTo>
                      <a:pt x="1200" y="1495"/>
                    </a:lnTo>
                    <a:lnTo>
                      <a:pt x="1202" y="1495"/>
                    </a:lnTo>
                    <a:lnTo>
                      <a:pt x="1202" y="1493"/>
                    </a:lnTo>
                    <a:lnTo>
                      <a:pt x="1200" y="1495"/>
                    </a:lnTo>
                    <a:lnTo>
                      <a:pt x="1200" y="1493"/>
                    </a:lnTo>
                    <a:lnTo>
                      <a:pt x="1200" y="1495"/>
                    </a:lnTo>
                    <a:lnTo>
                      <a:pt x="1198" y="1495"/>
                    </a:lnTo>
                    <a:lnTo>
                      <a:pt x="1196" y="1497"/>
                    </a:lnTo>
                    <a:lnTo>
                      <a:pt x="1196" y="1495"/>
                    </a:lnTo>
                    <a:lnTo>
                      <a:pt x="1196" y="1497"/>
                    </a:lnTo>
                    <a:lnTo>
                      <a:pt x="1196" y="1498"/>
                    </a:lnTo>
                    <a:lnTo>
                      <a:pt x="1195" y="1497"/>
                    </a:lnTo>
                    <a:lnTo>
                      <a:pt x="1193" y="1497"/>
                    </a:lnTo>
                    <a:lnTo>
                      <a:pt x="1195" y="1497"/>
                    </a:lnTo>
                    <a:lnTo>
                      <a:pt x="1195" y="1495"/>
                    </a:lnTo>
                    <a:lnTo>
                      <a:pt x="1195" y="1493"/>
                    </a:lnTo>
                    <a:lnTo>
                      <a:pt x="1196" y="1493"/>
                    </a:lnTo>
                    <a:lnTo>
                      <a:pt x="1198" y="1493"/>
                    </a:lnTo>
                    <a:lnTo>
                      <a:pt x="1198" y="1492"/>
                    </a:lnTo>
                    <a:lnTo>
                      <a:pt x="1196" y="1493"/>
                    </a:lnTo>
                    <a:lnTo>
                      <a:pt x="1196" y="1492"/>
                    </a:lnTo>
                    <a:lnTo>
                      <a:pt x="1198" y="1492"/>
                    </a:lnTo>
                    <a:lnTo>
                      <a:pt x="1198" y="1490"/>
                    </a:lnTo>
                    <a:lnTo>
                      <a:pt x="1200" y="1490"/>
                    </a:lnTo>
                    <a:lnTo>
                      <a:pt x="1200" y="1488"/>
                    </a:lnTo>
                    <a:lnTo>
                      <a:pt x="1200" y="1490"/>
                    </a:lnTo>
                    <a:lnTo>
                      <a:pt x="1200" y="1492"/>
                    </a:lnTo>
                    <a:lnTo>
                      <a:pt x="1198" y="1492"/>
                    </a:lnTo>
                    <a:lnTo>
                      <a:pt x="1200" y="1490"/>
                    </a:lnTo>
                    <a:lnTo>
                      <a:pt x="1202" y="1490"/>
                    </a:lnTo>
                    <a:lnTo>
                      <a:pt x="1200" y="1490"/>
                    </a:lnTo>
                    <a:lnTo>
                      <a:pt x="1202" y="1488"/>
                    </a:lnTo>
                    <a:lnTo>
                      <a:pt x="1203" y="1487"/>
                    </a:lnTo>
                    <a:lnTo>
                      <a:pt x="1202" y="1487"/>
                    </a:lnTo>
                    <a:lnTo>
                      <a:pt x="1202" y="1488"/>
                    </a:lnTo>
                    <a:lnTo>
                      <a:pt x="1200" y="1488"/>
                    </a:lnTo>
                    <a:lnTo>
                      <a:pt x="1202" y="1487"/>
                    </a:lnTo>
                    <a:lnTo>
                      <a:pt x="1203" y="1487"/>
                    </a:lnTo>
                    <a:lnTo>
                      <a:pt x="1205" y="1487"/>
                    </a:lnTo>
                    <a:lnTo>
                      <a:pt x="1203" y="1487"/>
                    </a:lnTo>
                    <a:lnTo>
                      <a:pt x="1205" y="1487"/>
                    </a:lnTo>
                    <a:lnTo>
                      <a:pt x="1203" y="1487"/>
                    </a:lnTo>
                    <a:lnTo>
                      <a:pt x="1205" y="1485"/>
                    </a:lnTo>
                    <a:lnTo>
                      <a:pt x="1203" y="1485"/>
                    </a:lnTo>
                    <a:lnTo>
                      <a:pt x="1202" y="1485"/>
                    </a:lnTo>
                    <a:lnTo>
                      <a:pt x="1200" y="1483"/>
                    </a:lnTo>
                    <a:lnTo>
                      <a:pt x="1202" y="1483"/>
                    </a:lnTo>
                    <a:lnTo>
                      <a:pt x="1200" y="1483"/>
                    </a:lnTo>
                    <a:lnTo>
                      <a:pt x="1202" y="1483"/>
                    </a:lnTo>
                    <a:lnTo>
                      <a:pt x="1202" y="1481"/>
                    </a:lnTo>
                    <a:lnTo>
                      <a:pt x="1203" y="1481"/>
                    </a:lnTo>
                    <a:lnTo>
                      <a:pt x="1205" y="1481"/>
                    </a:lnTo>
                    <a:lnTo>
                      <a:pt x="1203" y="1481"/>
                    </a:lnTo>
                    <a:lnTo>
                      <a:pt x="1202" y="1481"/>
                    </a:lnTo>
                    <a:lnTo>
                      <a:pt x="1203" y="1480"/>
                    </a:lnTo>
                    <a:lnTo>
                      <a:pt x="1202" y="1480"/>
                    </a:lnTo>
                    <a:lnTo>
                      <a:pt x="1200" y="1480"/>
                    </a:lnTo>
                    <a:lnTo>
                      <a:pt x="1198" y="1478"/>
                    </a:lnTo>
                    <a:lnTo>
                      <a:pt x="1196" y="1476"/>
                    </a:lnTo>
                    <a:lnTo>
                      <a:pt x="1196" y="1475"/>
                    </a:lnTo>
                    <a:lnTo>
                      <a:pt x="1195" y="1475"/>
                    </a:lnTo>
                    <a:lnTo>
                      <a:pt x="1195" y="1473"/>
                    </a:lnTo>
                    <a:lnTo>
                      <a:pt x="1193" y="1473"/>
                    </a:lnTo>
                    <a:lnTo>
                      <a:pt x="1195" y="1471"/>
                    </a:lnTo>
                    <a:lnTo>
                      <a:pt x="1193" y="1471"/>
                    </a:lnTo>
                    <a:lnTo>
                      <a:pt x="1191" y="1470"/>
                    </a:lnTo>
                    <a:lnTo>
                      <a:pt x="1190" y="1468"/>
                    </a:lnTo>
                    <a:lnTo>
                      <a:pt x="1188" y="1468"/>
                    </a:lnTo>
                    <a:lnTo>
                      <a:pt x="1188" y="1466"/>
                    </a:lnTo>
                    <a:close/>
                    <a:moveTo>
                      <a:pt x="1319" y="1626"/>
                    </a:moveTo>
                    <a:lnTo>
                      <a:pt x="1321" y="1626"/>
                    </a:lnTo>
                    <a:lnTo>
                      <a:pt x="1321" y="1628"/>
                    </a:lnTo>
                    <a:lnTo>
                      <a:pt x="1319" y="1628"/>
                    </a:lnTo>
                    <a:lnTo>
                      <a:pt x="1317" y="1629"/>
                    </a:lnTo>
                    <a:lnTo>
                      <a:pt x="1319" y="1629"/>
                    </a:lnTo>
                    <a:lnTo>
                      <a:pt x="1321" y="1629"/>
                    </a:lnTo>
                    <a:lnTo>
                      <a:pt x="1321" y="1628"/>
                    </a:lnTo>
                    <a:lnTo>
                      <a:pt x="1322" y="1629"/>
                    </a:lnTo>
                    <a:lnTo>
                      <a:pt x="1322" y="1631"/>
                    </a:lnTo>
                    <a:lnTo>
                      <a:pt x="1322" y="1629"/>
                    </a:lnTo>
                    <a:lnTo>
                      <a:pt x="1324" y="1629"/>
                    </a:lnTo>
                    <a:lnTo>
                      <a:pt x="1322" y="1629"/>
                    </a:lnTo>
                    <a:lnTo>
                      <a:pt x="1324" y="1629"/>
                    </a:lnTo>
                    <a:lnTo>
                      <a:pt x="1322" y="1631"/>
                    </a:lnTo>
                    <a:lnTo>
                      <a:pt x="1321" y="1631"/>
                    </a:lnTo>
                    <a:lnTo>
                      <a:pt x="1321" y="1629"/>
                    </a:lnTo>
                    <a:lnTo>
                      <a:pt x="1319" y="1629"/>
                    </a:lnTo>
                    <a:lnTo>
                      <a:pt x="1321" y="1631"/>
                    </a:lnTo>
                    <a:lnTo>
                      <a:pt x="1321" y="1633"/>
                    </a:lnTo>
                    <a:lnTo>
                      <a:pt x="1319" y="1633"/>
                    </a:lnTo>
                    <a:lnTo>
                      <a:pt x="1317" y="1633"/>
                    </a:lnTo>
                    <a:lnTo>
                      <a:pt x="1319" y="1633"/>
                    </a:lnTo>
                    <a:lnTo>
                      <a:pt x="1317" y="1633"/>
                    </a:lnTo>
                    <a:lnTo>
                      <a:pt x="1315" y="1633"/>
                    </a:lnTo>
                    <a:lnTo>
                      <a:pt x="1315" y="1631"/>
                    </a:lnTo>
                    <a:lnTo>
                      <a:pt x="1315" y="1629"/>
                    </a:lnTo>
                    <a:lnTo>
                      <a:pt x="1314" y="1629"/>
                    </a:lnTo>
                    <a:lnTo>
                      <a:pt x="1315" y="1631"/>
                    </a:lnTo>
                    <a:lnTo>
                      <a:pt x="1314" y="1631"/>
                    </a:lnTo>
                    <a:lnTo>
                      <a:pt x="1314" y="1633"/>
                    </a:lnTo>
                    <a:lnTo>
                      <a:pt x="1312" y="1633"/>
                    </a:lnTo>
                    <a:lnTo>
                      <a:pt x="1310" y="1633"/>
                    </a:lnTo>
                    <a:lnTo>
                      <a:pt x="1312" y="1633"/>
                    </a:lnTo>
                    <a:lnTo>
                      <a:pt x="1310" y="1635"/>
                    </a:lnTo>
                    <a:lnTo>
                      <a:pt x="1309" y="1635"/>
                    </a:lnTo>
                    <a:lnTo>
                      <a:pt x="1310" y="1635"/>
                    </a:lnTo>
                    <a:lnTo>
                      <a:pt x="1309" y="1635"/>
                    </a:lnTo>
                    <a:lnTo>
                      <a:pt x="1309" y="1633"/>
                    </a:lnTo>
                    <a:lnTo>
                      <a:pt x="1307" y="1633"/>
                    </a:lnTo>
                    <a:lnTo>
                      <a:pt x="1307" y="1631"/>
                    </a:lnTo>
                    <a:lnTo>
                      <a:pt x="1307" y="1633"/>
                    </a:lnTo>
                    <a:lnTo>
                      <a:pt x="1305" y="1633"/>
                    </a:lnTo>
                    <a:lnTo>
                      <a:pt x="1307" y="1635"/>
                    </a:lnTo>
                    <a:lnTo>
                      <a:pt x="1307" y="1633"/>
                    </a:lnTo>
                    <a:lnTo>
                      <a:pt x="1309" y="1635"/>
                    </a:lnTo>
                    <a:lnTo>
                      <a:pt x="1310" y="1635"/>
                    </a:lnTo>
                    <a:lnTo>
                      <a:pt x="1310" y="1636"/>
                    </a:lnTo>
                    <a:lnTo>
                      <a:pt x="1312" y="1635"/>
                    </a:lnTo>
                    <a:lnTo>
                      <a:pt x="1314" y="1635"/>
                    </a:lnTo>
                    <a:lnTo>
                      <a:pt x="1315" y="1636"/>
                    </a:lnTo>
                    <a:lnTo>
                      <a:pt x="1314" y="1636"/>
                    </a:lnTo>
                    <a:lnTo>
                      <a:pt x="1315" y="1636"/>
                    </a:lnTo>
                    <a:lnTo>
                      <a:pt x="1314" y="1638"/>
                    </a:lnTo>
                    <a:lnTo>
                      <a:pt x="1315" y="1636"/>
                    </a:lnTo>
                    <a:lnTo>
                      <a:pt x="1317" y="1636"/>
                    </a:lnTo>
                    <a:lnTo>
                      <a:pt x="1319" y="1636"/>
                    </a:lnTo>
                    <a:lnTo>
                      <a:pt x="1321" y="1635"/>
                    </a:lnTo>
                    <a:lnTo>
                      <a:pt x="1319" y="1636"/>
                    </a:lnTo>
                    <a:lnTo>
                      <a:pt x="1321" y="1636"/>
                    </a:lnTo>
                    <a:lnTo>
                      <a:pt x="1322" y="1638"/>
                    </a:lnTo>
                    <a:lnTo>
                      <a:pt x="1321" y="1638"/>
                    </a:lnTo>
                    <a:lnTo>
                      <a:pt x="1319" y="1638"/>
                    </a:lnTo>
                    <a:lnTo>
                      <a:pt x="1321" y="1638"/>
                    </a:lnTo>
                    <a:lnTo>
                      <a:pt x="1321" y="1640"/>
                    </a:lnTo>
                    <a:lnTo>
                      <a:pt x="1322" y="1640"/>
                    </a:lnTo>
                    <a:lnTo>
                      <a:pt x="1321" y="1640"/>
                    </a:lnTo>
                    <a:lnTo>
                      <a:pt x="1322" y="1641"/>
                    </a:lnTo>
                    <a:lnTo>
                      <a:pt x="1321" y="1641"/>
                    </a:lnTo>
                    <a:lnTo>
                      <a:pt x="1321" y="1640"/>
                    </a:lnTo>
                    <a:lnTo>
                      <a:pt x="1321" y="1641"/>
                    </a:lnTo>
                    <a:lnTo>
                      <a:pt x="1319" y="1641"/>
                    </a:lnTo>
                    <a:lnTo>
                      <a:pt x="1319" y="1640"/>
                    </a:lnTo>
                    <a:lnTo>
                      <a:pt x="1317" y="1640"/>
                    </a:lnTo>
                    <a:lnTo>
                      <a:pt x="1317" y="1638"/>
                    </a:lnTo>
                    <a:lnTo>
                      <a:pt x="1317" y="1640"/>
                    </a:lnTo>
                    <a:lnTo>
                      <a:pt x="1315" y="1640"/>
                    </a:lnTo>
                    <a:lnTo>
                      <a:pt x="1317" y="1640"/>
                    </a:lnTo>
                    <a:lnTo>
                      <a:pt x="1315" y="1640"/>
                    </a:lnTo>
                    <a:lnTo>
                      <a:pt x="1315" y="1641"/>
                    </a:lnTo>
                    <a:lnTo>
                      <a:pt x="1317" y="1641"/>
                    </a:lnTo>
                    <a:lnTo>
                      <a:pt x="1319" y="1641"/>
                    </a:lnTo>
                    <a:lnTo>
                      <a:pt x="1319" y="1643"/>
                    </a:lnTo>
                    <a:lnTo>
                      <a:pt x="1317" y="1643"/>
                    </a:lnTo>
                    <a:lnTo>
                      <a:pt x="1319" y="1643"/>
                    </a:lnTo>
                    <a:lnTo>
                      <a:pt x="1317" y="1645"/>
                    </a:lnTo>
                    <a:lnTo>
                      <a:pt x="1317" y="1643"/>
                    </a:lnTo>
                    <a:lnTo>
                      <a:pt x="1315" y="1643"/>
                    </a:lnTo>
                    <a:lnTo>
                      <a:pt x="1314" y="1645"/>
                    </a:lnTo>
                    <a:lnTo>
                      <a:pt x="1315" y="1646"/>
                    </a:lnTo>
                    <a:lnTo>
                      <a:pt x="1314" y="1645"/>
                    </a:lnTo>
                    <a:lnTo>
                      <a:pt x="1314" y="1643"/>
                    </a:lnTo>
                    <a:lnTo>
                      <a:pt x="1312" y="1641"/>
                    </a:lnTo>
                    <a:lnTo>
                      <a:pt x="1312" y="1643"/>
                    </a:lnTo>
                    <a:lnTo>
                      <a:pt x="1312" y="1645"/>
                    </a:lnTo>
                    <a:lnTo>
                      <a:pt x="1314" y="1645"/>
                    </a:lnTo>
                    <a:lnTo>
                      <a:pt x="1312" y="1645"/>
                    </a:lnTo>
                    <a:lnTo>
                      <a:pt x="1310" y="1643"/>
                    </a:lnTo>
                    <a:lnTo>
                      <a:pt x="1312" y="1643"/>
                    </a:lnTo>
                    <a:lnTo>
                      <a:pt x="1312" y="1641"/>
                    </a:lnTo>
                    <a:lnTo>
                      <a:pt x="1312" y="1640"/>
                    </a:lnTo>
                    <a:lnTo>
                      <a:pt x="1314" y="1641"/>
                    </a:lnTo>
                    <a:lnTo>
                      <a:pt x="1312" y="1640"/>
                    </a:lnTo>
                    <a:lnTo>
                      <a:pt x="1314" y="1640"/>
                    </a:lnTo>
                    <a:lnTo>
                      <a:pt x="1312" y="1638"/>
                    </a:lnTo>
                    <a:lnTo>
                      <a:pt x="1312" y="1640"/>
                    </a:lnTo>
                    <a:lnTo>
                      <a:pt x="1310" y="1640"/>
                    </a:lnTo>
                    <a:lnTo>
                      <a:pt x="1310" y="1638"/>
                    </a:lnTo>
                    <a:lnTo>
                      <a:pt x="1310" y="1636"/>
                    </a:lnTo>
                    <a:lnTo>
                      <a:pt x="1312" y="1636"/>
                    </a:lnTo>
                    <a:lnTo>
                      <a:pt x="1310" y="1636"/>
                    </a:lnTo>
                    <a:lnTo>
                      <a:pt x="1309" y="1636"/>
                    </a:lnTo>
                    <a:lnTo>
                      <a:pt x="1310" y="1636"/>
                    </a:lnTo>
                    <a:lnTo>
                      <a:pt x="1310" y="1638"/>
                    </a:lnTo>
                    <a:lnTo>
                      <a:pt x="1310" y="1640"/>
                    </a:lnTo>
                    <a:lnTo>
                      <a:pt x="1310" y="1638"/>
                    </a:lnTo>
                    <a:lnTo>
                      <a:pt x="1309" y="1638"/>
                    </a:lnTo>
                    <a:lnTo>
                      <a:pt x="1309" y="1640"/>
                    </a:lnTo>
                    <a:lnTo>
                      <a:pt x="1307" y="1640"/>
                    </a:lnTo>
                    <a:lnTo>
                      <a:pt x="1307" y="1638"/>
                    </a:lnTo>
                    <a:lnTo>
                      <a:pt x="1307" y="1640"/>
                    </a:lnTo>
                    <a:lnTo>
                      <a:pt x="1307" y="1641"/>
                    </a:lnTo>
                    <a:lnTo>
                      <a:pt x="1307" y="1640"/>
                    </a:lnTo>
                    <a:lnTo>
                      <a:pt x="1305" y="1640"/>
                    </a:lnTo>
                    <a:lnTo>
                      <a:pt x="1305" y="1638"/>
                    </a:lnTo>
                    <a:lnTo>
                      <a:pt x="1305" y="1636"/>
                    </a:lnTo>
                    <a:lnTo>
                      <a:pt x="1307" y="1636"/>
                    </a:lnTo>
                    <a:lnTo>
                      <a:pt x="1305" y="1636"/>
                    </a:lnTo>
                    <a:lnTo>
                      <a:pt x="1304" y="1636"/>
                    </a:lnTo>
                    <a:lnTo>
                      <a:pt x="1304" y="1638"/>
                    </a:lnTo>
                    <a:lnTo>
                      <a:pt x="1302" y="1638"/>
                    </a:lnTo>
                    <a:lnTo>
                      <a:pt x="1302" y="1636"/>
                    </a:lnTo>
                    <a:lnTo>
                      <a:pt x="1300" y="1636"/>
                    </a:lnTo>
                    <a:lnTo>
                      <a:pt x="1300" y="1638"/>
                    </a:lnTo>
                    <a:lnTo>
                      <a:pt x="1300" y="1636"/>
                    </a:lnTo>
                    <a:lnTo>
                      <a:pt x="1298" y="1638"/>
                    </a:lnTo>
                    <a:lnTo>
                      <a:pt x="1298" y="1636"/>
                    </a:lnTo>
                    <a:lnTo>
                      <a:pt x="1297" y="1636"/>
                    </a:lnTo>
                    <a:lnTo>
                      <a:pt x="1297" y="1635"/>
                    </a:lnTo>
                    <a:lnTo>
                      <a:pt x="1298" y="1635"/>
                    </a:lnTo>
                    <a:lnTo>
                      <a:pt x="1297" y="1635"/>
                    </a:lnTo>
                    <a:lnTo>
                      <a:pt x="1297" y="1633"/>
                    </a:lnTo>
                    <a:lnTo>
                      <a:pt x="1298" y="1633"/>
                    </a:lnTo>
                    <a:lnTo>
                      <a:pt x="1298" y="1631"/>
                    </a:lnTo>
                    <a:lnTo>
                      <a:pt x="1297" y="1631"/>
                    </a:lnTo>
                    <a:lnTo>
                      <a:pt x="1297" y="1629"/>
                    </a:lnTo>
                    <a:lnTo>
                      <a:pt x="1298" y="1629"/>
                    </a:lnTo>
                    <a:lnTo>
                      <a:pt x="1300" y="1629"/>
                    </a:lnTo>
                    <a:lnTo>
                      <a:pt x="1300" y="1631"/>
                    </a:lnTo>
                    <a:lnTo>
                      <a:pt x="1300" y="1629"/>
                    </a:lnTo>
                    <a:lnTo>
                      <a:pt x="1302" y="1629"/>
                    </a:lnTo>
                    <a:lnTo>
                      <a:pt x="1302" y="1628"/>
                    </a:lnTo>
                    <a:lnTo>
                      <a:pt x="1302" y="1629"/>
                    </a:lnTo>
                    <a:lnTo>
                      <a:pt x="1302" y="1631"/>
                    </a:lnTo>
                    <a:lnTo>
                      <a:pt x="1304" y="1631"/>
                    </a:lnTo>
                    <a:lnTo>
                      <a:pt x="1304" y="1629"/>
                    </a:lnTo>
                    <a:lnTo>
                      <a:pt x="1305" y="1628"/>
                    </a:lnTo>
                    <a:lnTo>
                      <a:pt x="1305" y="1629"/>
                    </a:lnTo>
                    <a:lnTo>
                      <a:pt x="1307" y="1629"/>
                    </a:lnTo>
                    <a:lnTo>
                      <a:pt x="1307" y="1631"/>
                    </a:lnTo>
                    <a:lnTo>
                      <a:pt x="1305" y="1631"/>
                    </a:lnTo>
                    <a:lnTo>
                      <a:pt x="1307" y="1631"/>
                    </a:lnTo>
                    <a:lnTo>
                      <a:pt x="1309" y="1631"/>
                    </a:lnTo>
                    <a:lnTo>
                      <a:pt x="1309" y="1629"/>
                    </a:lnTo>
                    <a:lnTo>
                      <a:pt x="1309" y="1631"/>
                    </a:lnTo>
                    <a:lnTo>
                      <a:pt x="1310" y="1631"/>
                    </a:lnTo>
                    <a:lnTo>
                      <a:pt x="1312" y="1631"/>
                    </a:lnTo>
                    <a:lnTo>
                      <a:pt x="1310" y="1631"/>
                    </a:lnTo>
                    <a:lnTo>
                      <a:pt x="1310" y="1629"/>
                    </a:lnTo>
                    <a:lnTo>
                      <a:pt x="1312" y="1629"/>
                    </a:lnTo>
                    <a:lnTo>
                      <a:pt x="1312" y="1628"/>
                    </a:lnTo>
                    <a:lnTo>
                      <a:pt x="1314" y="1628"/>
                    </a:lnTo>
                    <a:lnTo>
                      <a:pt x="1315" y="1628"/>
                    </a:lnTo>
                    <a:lnTo>
                      <a:pt x="1315" y="1626"/>
                    </a:lnTo>
                    <a:lnTo>
                      <a:pt x="1317" y="1628"/>
                    </a:lnTo>
                    <a:lnTo>
                      <a:pt x="1317" y="1626"/>
                    </a:lnTo>
                    <a:lnTo>
                      <a:pt x="1319" y="1626"/>
                    </a:lnTo>
                    <a:close/>
                    <a:moveTo>
                      <a:pt x="1203" y="1104"/>
                    </a:moveTo>
                    <a:lnTo>
                      <a:pt x="1203" y="1105"/>
                    </a:lnTo>
                    <a:lnTo>
                      <a:pt x="1203" y="1104"/>
                    </a:lnTo>
                    <a:lnTo>
                      <a:pt x="1203" y="1105"/>
                    </a:lnTo>
                    <a:lnTo>
                      <a:pt x="1205" y="1105"/>
                    </a:lnTo>
                    <a:lnTo>
                      <a:pt x="1203" y="1105"/>
                    </a:lnTo>
                    <a:lnTo>
                      <a:pt x="1205" y="1107"/>
                    </a:lnTo>
                    <a:lnTo>
                      <a:pt x="1207" y="1107"/>
                    </a:lnTo>
                    <a:lnTo>
                      <a:pt x="1207" y="1109"/>
                    </a:lnTo>
                    <a:lnTo>
                      <a:pt x="1207" y="1111"/>
                    </a:lnTo>
                    <a:lnTo>
                      <a:pt x="1207" y="1112"/>
                    </a:lnTo>
                    <a:lnTo>
                      <a:pt x="1207" y="1114"/>
                    </a:lnTo>
                    <a:lnTo>
                      <a:pt x="1205" y="1114"/>
                    </a:lnTo>
                    <a:lnTo>
                      <a:pt x="1207" y="1114"/>
                    </a:lnTo>
                    <a:lnTo>
                      <a:pt x="1207" y="1116"/>
                    </a:lnTo>
                    <a:lnTo>
                      <a:pt x="1205" y="1116"/>
                    </a:lnTo>
                    <a:lnTo>
                      <a:pt x="1207" y="1116"/>
                    </a:lnTo>
                    <a:lnTo>
                      <a:pt x="1207" y="1117"/>
                    </a:lnTo>
                    <a:lnTo>
                      <a:pt x="1205" y="1117"/>
                    </a:lnTo>
                    <a:lnTo>
                      <a:pt x="1205" y="1119"/>
                    </a:lnTo>
                    <a:lnTo>
                      <a:pt x="1205" y="1117"/>
                    </a:lnTo>
                    <a:lnTo>
                      <a:pt x="1203" y="1117"/>
                    </a:lnTo>
                    <a:lnTo>
                      <a:pt x="1203" y="1116"/>
                    </a:lnTo>
                    <a:lnTo>
                      <a:pt x="1202" y="1116"/>
                    </a:lnTo>
                    <a:lnTo>
                      <a:pt x="1200" y="1116"/>
                    </a:lnTo>
                    <a:lnTo>
                      <a:pt x="1198" y="1116"/>
                    </a:lnTo>
                    <a:lnTo>
                      <a:pt x="1198" y="1117"/>
                    </a:lnTo>
                    <a:lnTo>
                      <a:pt x="1196" y="1116"/>
                    </a:lnTo>
                    <a:lnTo>
                      <a:pt x="1196" y="1114"/>
                    </a:lnTo>
                    <a:lnTo>
                      <a:pt x="1198" y="1114"/>
                    </a:lnTo>
                    <a:lnTo>
                      <a:pt x="1200" y="1114"/>
                    </a:lnTo>
                    <a:lnTo>
                      <a:pt x="1202" y="1114"/>
                    </a:lnTo>
                    <a:lnTo>
                      <a:pt x="1200" y="1114"/>
                    </a:lnTo>
                    <a:lnTo>
                      <a:pt x="1198" y="1114"/>
                    </a:lnTo>
                    <a:lnTo>
                      <a:pt x="1196" y="1114"/>
                    </a:lnTo>
                    <a:lnTo>
                      <a:pt x="1195" y="1114"/>
                    </a:lnTo>
                    <a:lnTo>
                      <a:pt x="1195" y="1112"/>
                    </a:lnTo>
                    <a:lnTo>
                      <a:pt x="1195" y="1114"/>
                    </a:lnTo>
                    <a:lnTo>
                      <a:pt x="1195" y="1112"/>
                    </a:lnTo>
                    <a:lnTo>
                      <a:pt x="1193" y="1112"/>
                    </a:lnTo>
                    <a:lnTo>
                      <a:pt x="1195" y="1112"/>
                    </a:lnTo>
                    <a:lnTo>
                      <a:pt x="1195" y="1111"/>
                    </a:lnTo>
                    <a:lnTo>
                      <a:pt x="1193" y="1112"/>
                    </a:lnTo>
                    <a:lnTo>
                      <a:pt x="1191" y="1112"/>
                    </a:lnTo>
                    <a:lnTo>
                      <a:pt x="1191" y="1111"/>
                    </a:lnTo>
                    <a:lnTo>
                      <a:pt x="1191" y="1109"/>
                    </a:lnTo>
                    <a:lnTo>
                      <a:pt x="1191" y="1107"/>
                    </a:lnTo>
                    <a:lnTo>
                      <a:pt x="1191" y="1109"/>
                    </a:lnTo>
                    <a:lnTo>
                      <a:pt x="1191" y="1111"/>
                    </a:lnTo>
                    <a:lnTo>
                      <a:pt x="1191" y="1112"/>
                    </a:lnTo>
                    <a:lnTo>
                      <a:pt x="1190" y="1112"/>
                    </a:lnTo>
                    <a:lnTo>
                      <a:pt x="1188" y="1111"/>
                    </a:lnTo>
                    <a:lnTo>
                      <a:pt x="1188" y="1109"/>
                    </a:lnTo>
                    <a:lnTo>
                      <a:pt x="1188" y="1107"/>
                    </a:lnTo>
                    <a:lnTo>
                      <a:pt x="1190" y="1107"/>
                    </a:lnTo>
                    <a:lnTo>
                      <a:pt x="1191" y="1105"/>
                    </a:lnTo>
                    <a:lnTo>
                      <a:pt x="1193" y="1105"/>
                    </a:lnTo>
                    <a:lnTo>
                      <a:pt x="1193" y="1107"/>
                    </a:lnTo>
                    <a:lnTo>
                      <a:pt x="1193" y="1105"/>
                    </a:lnTo>
                    <a:lnTo>
                      <a:pt x="1195" y="1105"/>
                    </a:lnTo>
                    <a:lnTo>
                      <a:pt x="1195" y="1107"/>
                    </a:lnTo>
                    <a:lnTo>
                      <a:pt x="1195" y="1105"/>
                    </a:lnTo>
                    <a:lnTo>
                      <a:pt x="1196" y="1105"/>
                    </a:lnTo>
                    <a:lnTo>
                      <a:pt x="1198" y="1105"/>
                    </a:lnTo>
                    <a:lnTo>
                      <a:pt x="1200" y="1104"/>
                    </a:lnTo>
                    <a:lnTo>
                      <a:pt x="1202" y="1104"/>
                    </a:lnTo>
                    <a:lnTo>
                      <a:pt x="1203" y="1104"/>
                    </a:lnTo>
                    <a:close/>
                    <a:moveTo>
                      <a:pt x="1179" y="1376"/>
                    </a:moveTo>
                    <a:lnTo>
                      <a:pt x="1179" y="1378"/>
                    </a:lnTo>
                    <a:lnTo>
                      <a:pt x="1179" y="1379"/>
                    </a:lnTo>
                    <a:lnTo>
                      <a:pt x="1181" y="1379"/>
                    </a:lnTo>
                    <a:lnTo>
                      <a:pt x="1183" y="1379"/>
                    </a:lnTo>
                    <a:lnTo>
                      <a:pt x="1183" y="1378"/>
                    </a:lnTo>
                    <a:lnTo>
                      <a:pt x="1185" y="1379"/>
                    </a:lnTo>
                    <a:lnTo>
                      <a:pt x="1185" y="1381"/>
                    </a:lnTo>
                    <a:lnTo>
                      <a:pt x="1185" y="1383"/>
                    </a:lnTo>
                    <a:lnTo>
                      <a:pt x="1186" y="1384"/>
                    </a:lnTo>
                    <a:lnTo>
                      <a:pt x="1185" y="1384"/>
                    </a:lnTo>
                    <a:lnTo>
                      <a:pt x="1186" y="1384"/>
                    </a:lnTo>
                    <a:lnTo>
                      <a:pt x="1186" y="1386"/>
                    </a:lnTo>
                    <a:lnTo>
                      <a:pt x="1186" y="1388"/>
                    </a:lnTo>
                    <a:lnTo>
                      <a:pt x="1186" y="1386"/>
                    </a:lnTo>
                    <a:lnTo>
                      <a:pt x="1188" y="1388"/>
                    </a:lnTo>
                    <a:lnTo>
                      <a:pt x="1186" y="1388"/>
                    </a:lnTo>
                    <a:lnTo>
                      <a:pt x="1188" y="1388"/>
                    </a:lnTo>
                    <a:lnTo>
                      <a:pt x="1188" y="1390"/>
                    </a:lnTo>
                    <a:lnTo>
                      <a:pt x="1190" y="1390"/>
                    </a:lnTo>
                    <a:lnTo>
                      <a:pt x="1190" y="1391"/>
                    </a:lnTo>
                    <a:lnTo>
                      <a:pt x="1188" y="1391"/>
                    </a:lnTo>
                    <a:lnTo>
                      <a:pt x="1186" y="1390"/>
                    </a:lnTo>
                    <a:lnTo>
                      <a:pt x="1186" y="1391"/>
                    </a:lnTo>
                    <a:lnTo>
                      <a:pt x="1186" y="1390"/>
                    </a:lnTo>
                    <a:lnTo>
                      <a:pt x="1185" y="1390"/>
                    </a:lnTo>
                    <a:lnTo>
                      <a:pt x="1186" y="1391"/>
                    </a:lnTo>
                    <a:lnTo>
                      <a:pt x="1188" y="1391"/>
                    </a:lnTo>
                    <a:lnTo>
                      <a:pt x="1188" y="1393"/>
                    </a:lnTo>
                    <a:lnTo>
                      <a:pt x="1186" y="1391"/>
                    </a:lnTo>
                    <a:lnTo>
                      <a:pt x="1188" y="1393"/>
                    </a:lnTo>
                    <a:lnTo>
                      <a:pt x="1188" y="1391"/>
                    </a:lnTo>
                    <a:lnTo>
                      <a:pt x="1190" y="1391"/>
                    </a:lnTo>
                    <a:lnTo>
                      <a:pt x="1190" y="1393"/>
                    </a:lnTo>
                    <a:lnTo>
                      <a:pt x="1190" y="1395"/>
                    </a:lnTo>
                    <a:lnTo>
                      <a:pt x="1191" y="1395"/>
                    </a:lnTo>
                    <a:lnTo>
                      <a:pt x="1191" y="1396"/>
                    </a:lnTo>
                    <a:lnTo>
                      <a:pt x="1191" y="1398"/>
                    </a:lnTo>
                    <a:lnTo>
                      <a:pt x="1191" y="1400"/>
                    </a:lnTo>
                    <a:lnTo>
                      <a:pt x="1190" y="1400"/>
                    </a:lnTo>
                    <a:lnTo>
                      <a:pt x="1190" y="1398"/>
                    </a:lnTo>
                    <a:lnTo>
                      <a:pt x="1190" y="1400"/>
                    </a:lnTo>
                    <a:lnTo>
                      <a:pt x="1188" y="1400"/>
                    </a:lnTo>
                    <a:lnTo>
                      <a:pt x="1188" y="1398"/>
                    </a:lnTo>
                    <a:lnTo>
                      <a:pt x="1188" y="1400"/>
                    </a:lnTo>
                    <a:lnTo>
                      <a:pt x="1188" y="1398"/>
                    </a:lnTo>
                    <a:lnTo>
                      <a:pt x="1190" y="1398"/>
                    </a:lnTo>
                    <a:lnTo>
                      <a:pt x="1188" y="1396"/>
                    </a:lnTo>
                    <a:lnTo>
                      <a:pt x="1188" y="1398"/>
                    </a:lnTo>
                    <a:lnTo>
                      <a:pt x="1188" y="1396"/>
                    </a:lnTo>
                    <a:lnTo>
                      <a:pt x="1188" y="1395"/>
                    </a:lnTo>
                    <a:lnTo>
                      <a:pt x="1188" y="1396"/>
                    </a:lnTo>
                    <a:lnTo>
                      <a:pt x="1186" y="1396"/>
                    </a:lnTo>
                    <a:lnTo>
                      <a:pt x="1186" y="1398"/>
                    </a:lnTo>
                    <a:lnTo>
                      <a:pt x="1186" y="1396"/>
                    </a:lnTo>
                    <a:lnTo>
                      <a:pt x="1185" y="1395"/>
                    </a:lnTo>
                    <a:lnTo>
                      <a:pt x="1185" y="1396"/>
                    </a:lnTo>
                    <a:lnTo>
                      <a:pt x="1186" y="1396"/>
                    </a:lnTo>
                    <a:lnTo>
                      <a:pt x="1186" y="1398"/>
                    </a:lnTo>
                    <a:lnTo>
                      <a:pt x="1186" y="1400"/>
                    </a:lnTo>
                    <a:lnTo>
                      <a:pt x="1186" y="1401"/>
                    </a:lnTo>
                    <a:lnTo>
                      <a:pt x="1186" y="1400"/>
                    </a:lnTo>
                    <a:lnTo>
                      <a:pt x="1185" y="1400"/>
                    </a:lnTo>
                    <a:lnTo>
                      <a:pt x="1186" y="1400"/>
                    </a:lnTo>
                    <a:lnTo>
                      <a:pt x="1185" y="1400"/>
                    </a:lnTo>
                    <a:lnTo>
                      <a:pt x="1185" y="1398"/>
                    </a:lnTo>
                    <a:lnTo>
                      <a:pt x="1183" y="1396"/>
                    </a:lnTo>
                    <a:lnTo>
                      <a:pt x="1183" y="1395"/>
                    </a:lnTo>
                    <a:lnTo>
                      <a:pt x="1181" y="1395"/>
                    </a:lnTo>
                    <a:lnTo>
                      <a:pt x="1183" y="1395"/>
                    </a:lnTo>
                    <a:lnTo>
                      <a:pt x="1181" y="1395"/>
                    </a:lnTo>
                    <a:lnTo>
                      <a:pt x="1181" y="1393"/>
                    </a:lnTo>
                    <a:lnTo>
                      <a:pt x="1179" y="1395"/>
                    </a:lnTo>
                    <a:lnTo>
                      <a:pt x="1179" y="1393"/>
                    </a:lnTo>
                    <a:lnTo>
                      <a:pt x="1179" y="1391"/>
                    </a:lnTo>
                    <a:lnTo>
                      <a:pt x="1181" y="1393"/>
                    </a:lnTo>
                    <a:lnTo>
                      <a:pt x="1181" y="1391"/>
                    </a:lnTo>
                    <a:lnTo>
                      <a:pt x="1179" y="1391"/>
                    </a:lnTo>
                    <a:lnTo>
                      <a:pt x="1179" y="1393"/>
                    </a:lnTo>
                    <a:lnTo>
                      <a:pt x="1178" y="1391"/>
                    </a:lnTo>
                    <a:lnTo>
                      <a:pt x="1179" y="1391"/>
                    </a:lnTo>
                    <a:lnTo>
                      <a:pt x="1179" y="1390"/>
                    </a:lnTo>
                    <a:lnTo>
                      <a:pt x="1181" y="1390"/>
                    </a:lnTo>
                    <a:lnTo>
                      <a:pt x="1179" y="1390"/>
                    </a:lnTo>
                    <a:lnTo>
                      <a:pt x="1178" y="1390"/>
                    </a:lnTo>
                    <a:lnTo>
                      <a:pt x="1178" y="1391"/>
                    </a:lnTo>
                    <a:lnTo>
                      <a:pt x="1178" y="1390"/>
                    </a:lnTo>
                    <a:lnTo>
                      <a:pt x="1176" y="1390"/>
                    </a:lnTo>
                    <a:lnTo>
                      <a:pt x="1176" y="1388"/>
                    </a:lnTo>
                    <a:lnTo>
                      <a:pt x="1176" y="1390"/>
                    </a:lnTo>
                    <a:lnTo>
                      <a:pt x="1174" y="1390"/>
                    </a:lnTo>
                    <a:lnTo>
                      <a:pt x="1176" y="1390"/>
                    </a:lnTo>
                    <a:lnTo>
                      <a:pt x="1176" y="1388"/>
                    </a:lnTo>
                    <a:lnTo>
                      <a:pt x="1178" y="1388"/>
                    </a:lnTo>
                    <a:lnTo>
                      <a:pt x="1176" y="1388"/>
                    </a:lnTo>
                    <a:lnTo>
                      <a:pt x="1178" y="1388"/>
                    </a:lnTo>
                    <a:lnTo>
                      <a:pt x="1178" y="1386"/>
                    </a:lnTo>
                    <a:lnTo>
                      <a:pt x="1179" y="1386"/>
                    </a:lnTo>
                    <a:lnTo>
                      <a:pt x="1179" y="1384"/>
                    </a:lnTo>
                    <a:lnTo>
                      <a:pt x="1181" y="1384"/>
                    </a:lnTo>
                    <a:lnTo>
                      <a:pt x="1181" y="1383"/>
                    </a:lnTo>
                    <a:lnTo>
                      <a:pt x="1183" y="1383"/>
                    </a:lnTo>
                    <a:lnTo>
                      <a:pt x="1183" y="1384"/>
                    </a:lnTo>
                    <a:lnTo>
                      <a:pt x="1183" y="1383"/>
                    </a:lnTo>
                    <a:lnTo>
                      <a:pt x="1185" y="1383"/>
                    </a:lnTo>
                    <a:lnTo>
                      <a:pt x="1183" y="1381"/>
                    </a:lnTo>
                    <a:lnTo>
                      <a:pt x="1183" y="1383"/>
                    </a:lnTo>
                    <a:lnTo>
                      <a:pt x="1181" y="1381"/>
                    </a:lnTo>
                    <a:lnTo>
                      <a:pt x="1179" y="1381"/>
                    </a:lnTo>
                    <a:lnTo>
                      <a:pt x="1181" y="1379"/>
                    </a:lnTo>
                    <a:lnTo>
                      <a:pt x="1179" y="1381"/>
                    </a:lnTo>
                    <a:lnTo>
                      <a:pt x="1179" y="1383"/>
                    </a:lnTo>
                    <a:lnTo>
                      <a:pt x="1179" y="1381"/>
                    </a:lnTo>
                    <a:lnTo>
                      <a:pt x="1178" y="1381"/>
                    </a:lnTo>
                    <a:lnTo>
                      <a:pt x="1176" y="1381"/>
                    </a:lnTo>
                    <a:lnTo>
                      <a:pt x="1176" y="1379"/>
                    </a:lnTo>
                    <a:lnTo>
                      <a:pt x="1176" y="1381"/>
                    </a:lnTo>
                    <a:lnTo>
                      <a:pt x="1174" y="1381"/>
                    </a:lnTo>
                    <a:lnTo>
                      <a:pt x="1174" y="1379"/>
                    </a:lnTo>
                    <a:lnTo>
                      <a:pt x="1173" y="1381"/>
                    </a:lnTo>
                    <a:lnTo>
                      <a:pt x="1174" y="1379"/>
                    </a:lnTo>
                    <a:lnTo>
                      <a:pt x="1176" y="1378"/>
                    </a:lnTo>
                    <a:lnTo>
                      <a:pt x="1178" y="1376"/>
                    </a:lnTo>
                    <a:lnTo>
                      <a:pt x="1179" y="1376"/>
                    </a:lnTo>
                    <a:close/>
                    <a:moveTo>
                      <a:pt x="1157" y="1255"/>
                    </a:moveTo>
                    <a:lnTo>
                      <a:pt x="1159" y="1255"/>
                    </a:lnTo>
                    <a:lnTo>
                      <a:pt x="1161" y="1255"/>
                    </a:lnTo>
                    <a:lnTo>
                      <a:pt x="1159" y="1257"/>
                    </a:lnTo>
                    <a:lnTo>
                      <a:pt x="1161" y="1257"/>
                    </a:lnTo>
                    <a:lnTo>
                      <a:pt x="1162" y="1257"/>
                    </a:lnTo>
                    <a:lnTo>
                      <a:pt x="1161" y="1255"/>
                    </a:lnTo>
                    <a:lnTo>
                      <a:pt x="1162" y="1255"/>
                    </a:lnTo>
                    <a:lnTo>
                      <a:pt x="1164" y="1257"/>
                    </a:lnTo>
                    <a:lnTo>
                      <a:pt x="1166" y="1259"/>
                    </a:lnTo>
                    <a:lnTo>
                      <a:pt x="1164" y="1260"/>
                    </a:lnTo>
                    <a:lnTo>
                      <a:pt x="1166" y="1259"/>
                    </a:lnTo>
                    <a:lnTo>
                      <a:pt x="1166" y="1260"/>
                    </a:lnTo>
                    <a:lnTo>
                      <a:pt x="1168" y="1259"/>
                    </a:lnTo>
                    <a:lnTo>
                      <a:pt x="1168" y="1260"/>
                    </a:lnTo>
                    <a:lnTo>
                      <a:pt x="1168" y="1262"/>
                    </a:lnTo>
                    <a:lnTo>
                      <a:pt x="1166" y="1262"/>
                    </a:lnTo>
                    <a:lnTo>
                      <a:pt x="1166" y="1264"/>
                    </a:lnTo>
                    <a:lnTo>
                      <a:pt x="1168" y="1262"/>
                    </a:lnTo>
                    <a:lnTo>
                      <a:pt x="1168" y="1264"/>
                    </a:lnTo>
                    <a:lnTo>
                      <a:pt x="1166" y="1264"/>
                    </a:lnTo>
                    <a:lnTo>
                      <a:pt x="1166" y="1265"/>
                    </a:lnTo>
                    <a:lnTo>
                      <a:pt x="1166" y="1264"/>
                    </a:lnTo>
                    <a:lnTo>
                      <a:pt x="1168" y="1264"/>
                    </a:lnTo>
                    <a:lnTo>
                      <a:pt x="1169" y="1262"/>
                    </a:lnTo>
                    <a:lnTo>
                      <a:pt x="1169" y="1260"/>
                    </a:lnTo>
                    <a:lnTo>
                      <a:pt x="1171" y="1260"/>
                    </a:lnTo>
                    <a:lnTo>
                      <a:pt x="1171" y="1262"/>
                    </a:lnTo>
                    <a:lnTo>
                      <a:pt x="1169" y="1262"/>
                    </a:lnTo>
                    <a:lnTo>
                      <a:pt x="1171" y="1262"/>
                    </a:lnTo>
                    <a:lnTo>
                      <a:pt x="1171" y="1264"/>
                    </a:lnTo>
                    <a:lnTo>
                      <a:pt x="1169" y="1264"/>
                    </a:lnTo>
                    <a:lnTo>
                      <a:pt x="1169" y="1265"/>
                    </a:lnTo>
                    <a:lnTo>
                      <a:pt x="1168" y="1265"/>
                    </a:lnTo>
                    <a:lnTo>
                      <a:pt x="1168" y="1267"/>
                    </a:lnTo>
                    <a:lnTo>
                      <a:pt x="1168" y="1265"/>
                    </a:lnTo>
                    <a:lnTo>
                      <a:pt x="1169" y="1265"/>
                    </a:lnTo>
                    <a:lnTo>
                      <a:pt x="1169" y="1264"/>
                    </a:lnTo>
                    <a:lnTo>
                      <a:pt x="1171" y="1264"/>
                    </a:lnTo>
                    <a:lnTo>
                      <a:pt x="1169" y="1264"/>
                    </a:lnTo>
                    <a:lnTo>
                      <a:pt x="1169" y="1265"/>
                    </a:lnTo>
                    <a:lnTo>
                      <a:pt x="1169" y="1267"/>
                    </a:lnTo>
                    <a:lnTo>
                      <a:pt x="1169" y="1265"/>
                    </a:lnTo>
                    <a:lnTo>
                      <a:pt x="1169" y="1267"/>
                    </a:lnTo>
                    <a:lnTo>
                      <a:pt x="1171" y="1267"/>
                    </a:lnTo>
                    <a:lnTo>
                      <a:pt x="1169" y="1269"/>
                    </a:lnTo>
                    <a:lnTo>
                      <a:pt x="1171" y="1269"/>
                    </a:lnTo>
                    <a:lnTo>
                      <a:pt x="1169" y="1270"/>
                    </a:lnTo>
                    <a:lnTo>
                      <a:pt x="1168" y="1270"/>
                    </a:lnTo>
                    <a:lnTo>
                      <a:pt x="1169" y="1269"/>
                    </a:lnTo>
                    <a:lnTo>
                      <a:pt x="1168" y="1270"/>
                    </a:lnTo>
                    <a:lnTo>
                      <a:pt x="1166" y="1272"/>
                    </a:lnTo>
                    <a:lnTo>
                      <a:pt x="1164" y="1274"/>
                    </a:lnTo>
                    <a:lnTo>
                      <a:pt x="1162" y="1274"/>
                    </a:lnTo>
                    <a:lnTo>
                      <a:pt x="1162" y="1272"/>
                    </a:lnTo>
                    <a:lnTo>
                      <a:pt x="1162" y="1270"/>
                    </a:lnTo>
                    <a:lnTo>
                      <a:pt x="1161" y="1270"/>
                    </a:lnTo>
                    <a:lnTo>
                      <a:pt x="1161" y="1269"/>
                    </a:lnTo>
                    <a:lnTo>
                      <a:pt x="1161" y="1267"/>
                    </a:lnTo>
                    <a:lnTo>
                      <a:pt x="1162" y="1267"/>
                    </a:lnTo>
                    <a:lnTo>
                      <a:pt x="1161" y="1267"/>
                    </a:lnTo>
                    <a:lnTo>
                      <a:pt x="1161" y="1269"/>
                    </a:lnTo>
                    <a:lnTo>
                      <a:pt x="1159" y="1267"/>
                    </a:lnTo>
                    <a:lnTo>
                      <a:pt x="1159" y="1265"/>
                    </a:lnTo>
                    <a:lnTo>
                      <a:pt x="1159" y="1264"/>
                    </a:lnTo>
                    <a:lnTo>
                      <a:pt x="1161" y="1264"/>
                    </a:lnTo>
                    <a:lnTo>
                      <a:pt x="1162" y="1264"/>
                    </a:lnTo>
                    <a:lnTo>
                      <a:pt x="1161" y="1264"/>
                    </a:lnTo>
                    <a:lnTo>
                      <a:pt x="1159" y="1264"/>
                    </a:lnTo>
                    <a:lnTo>
                      <a:pt x="1161" y="1264"/>
                    </a:lnTo>
                    <a:lnTo>
                      <a:pt x="1161" y="1262"/>
                    </a:lnTo>
                    <a:lnTo>
                      <a:pt x="1161" y="1264"/>
                    </a:lnTo>
                    <a:lnTo>
                      <a:pt x="1159" y="1264"/>
                    </a:lnTo>
                    <a:lnTo>
                      <a:pt x="1157" y="1264"/>
                    </a:lnTo>
                    <a:lnTo>
                      <a:pt x="1159" y="1262"/>
                    </a:lnTo>
                    <a:lnTo>
                      <a:pt x="1157" y="1264"/>
                    </a:lnTo>
                    <a:lnTo>
                      <a:pt x="1157" y="1262"/>
                    </a:lnTo>
                    <a:lnTo>
                      <a:pt x="1159" y="1260"/>
                    </a:lnTo>
                    <a:lnTo>
                      <a:pt x="1157" y="1260"/>
                    </a:lnTo>
                    <a:lnTo>
                      <a:pt x="1157" y="1262"/>
                    </a:lnTo>
                    <a:lnTo>
                      <a:pt x="1157" y="1260"/>
                    </a:lnTo>
                    <a:lnTo>
                      <a:pt x="1159" y="1260"/>
                    </a:lnTo>
                    <a:lnTo>
                      <a:pt x="1161" y="1259"/>
                    </a:lnTo>
                    <a:lnTo>
                      <a:pt x="1159" y="1259"/>
                    </a:lnTo>
                    <a:lnTo>
                      <a:pt x="1159" y="1260"/>
                    </a:lnTo>
                    <a:lnTo>
                      <a:pt x="1157" y="1260"/>
                    </a:lnTo>
                    <a:lnTo>
                      <a:pt x="1157" y="1259"/>
                    </a:lnTo>
                    <a:lnTo>
                      <a:pt x="1159" y="1259"/>
                    </a:lnTo>
                    <a:lnTo>
                      <a:pt x="1157" y="1259"/>
                    </a:lnTo>
                    <a:lnTo>
                      <a:pt x="1157" y="1257"/>
                    </a:lnTo>
                    <a:lnTo>
                      <a:pt x="1157" y="1259"/>
                    </a:lnTo>
                    <a:lnTo>
                      <a:pt x="1156" y="1257"/>
                    </a:lnTo>
                    <a:lnTo>
                      <a:pt x="1156" y="1255"/>
                    </a:lnTo>
                    <a:lnTo>
                      <a:pt x="1157" y="1255"/>
                    </a:lnTo>
                    <a:close/>
                    <a:moveTo>
                      <a:pt x="1183" y="1447"/>
                    </a:moveTo>
                    <a:lnTo>
                      <a:pt x="1185" y="1447"/>
                    </a:lnTo>
                    <a:lnTo>
                      <a:pt x="1185" y="1449"/>
                    </a:lnTo>
                    <a:lnTo>
                      <a:pt x="1183" y="1449"/>
                    </a:lnTo>
                    <a:lnTo>
                      <a:pt x="1185" y="1451"/>
                    </a:lnTo>
                    <a:lnTo>
                      <a:pt x="1185" y="1449"/>
                    </a:lnTo>
                    <a:lnTo>
                      <a:pt x="1186" y="1449"/>
                    </a:lnTo>
                    <a:lnTo>
                      <a:pt x="1186" y="1451"/>
                    </a:lnTo>
                    <a:lnTo>
                      <a:pt x="1185" y="1451"/>
                    </a:lnTo>
                    <a:lnTo>
                      <a:pt x="1186" y="1451"/>
                    </a:lnTo>
                    <a:lnTo>
                      <a:pt x="1186" y="1449"/>
                    </a:lnTo>
                    <a:lnTo>
                      <a:pt x="1186" y="1451"/>
                    </a:lnTo>
                    <a:lnTo>
                      <a:pt x="1186" y="1453"/>
                    </a:lnTo>
                    <a:lnTo>
                      <a:pt x="1186" y="1451"/>
                    </a:lnTo>
                    <a:lnTo>
                      <a:pt x="1186" y="1453"/>
                    </a:lnTo>
                    <a:lnTo>
                      <a:pt x="1188" y="1453"/>
                    </a:lnTo>
                    <a:lnTo>
                      <a:pt x="1190" y="1453"/>
                    </a:lnTo>
                    <a:lnTo>
                      <a:pt x="1190" y="1454"/>
                    </a:lnTo>
                    <a:lnTo>
                      <a:pt x="1190" y="1453"/>
                    </a:lnTo>
                    <a:lnTo>
                      <a:pt x="1191" y="1454"/>
                    </a:lnTo>
                    <a:lnTo>
                      <a:pt x="1191" y="1456"/>
                    </a:lnTo>
                    <a:lnTo>
                      <a:pt x="1190" y="1456"/>
                    </a:lnTo>
                    <a:lnTo>
                      <a:pt x="1191" y="1456"/>
                    </a:lnTo>
                    <a:lnTo>
                      <a:pt x="1193" y="1456"/>
                    </a:lnTo>
                    <a:lnTo>
                      <a:pt x="1193" y="1454"/>
                    </a:lnTo>
                    <a:lnTo>
                      <a:pt x="1193" y="1456"/>
                    </a:lnTo>
                    <a:lnTo>
                      <a:pt x="1193" y="1454"/>
                    </a:lnTo>
                    <a:lnTo>
                      <a:pt x="1195" y="1456"/>
                    </a:lnTo>
                    <a:lnTo>
                      <a:pt x="1193" y="1456"/>
                    </a:lnTo>
                    <a:lnTo>
                      <a:pt x="1195" y="1458"/>
                    </a:lnTo>
                    <a:lnTo>
                      <a:pt x="1195" y="1456"/>
                    </a:lnTo>
                    <a:lnTo>
                      <a:pt x="1195" y="1458"/>
                    </a:lnTo>
                    <a:lnTo>
                      <a:pt x="1196" y="1458"/>
                    </a:lnTo>
                    <a:lnTo>
                      <a:pt x="1196" y="1459"/>
                    </a:lnTo>
                    <a:lnTo>
                      <a:pt x="1196" y="1461"/>
                    </a:lnTo>
                    <a:lnTo>
                      <a:pt x="1198" y="1459"/>
                    </a:lnTo>
                    <a:lnTo>
                      <a:pt x="1198" y="1461"/>
                    </a:lnTo>
                    <a:lnTo>
                      <a:pt x="1198" y="1459"/>
                    </a:lnTo>
                    <a:lnTo>
                      <a:pt x="1198" y="1461"/>
                    </a:lnTo>
                    <a:lnTo>
                      <a:pt x="1200" y="1461"/>
                    </a:lnTo>
                    <a:lnTo>
                      <a:pt x="1202" y="1461"/>
                    </a:lnTo>
                    <a:lnTo>
                      <a:pt x="1202" y="1463"/>
                    </a:lnTo>
                    <a:lnTo>
                      <a:pt x="1203" y="1463"/>
                    </a:lnTo>
                    <a:lnTo>
                      <a:pt x="1203" y="1464"/>
                    </a:lnTo>
                    <a:lnTo>
                      <a:pt x="1205" y="1466"/>
                    </a:lnTo>
                    <a:lnTo>
                      <a:pt x="1205" y="1468"/>
                    </a:lnTo>
                    <a:lnTo>
                      <a:pt x="1207" y="1468"/>
                    </a:lnTo>
                    <a:lnTo>
                      <a:pt x="1207" y="1470"/>
                    </a:lnTo>
                    <a:lnTo>
                      <a:pt x="1207" y="1471"/>
                    </a:lnTo>
                    <a:lnTo>
                      <a:pt x="1208" y="1473"/>
                    </a:lnTo>
                    <a:lnTo>
                      <a:pt x="1208" y="1475"/>
                    </a:lnTo>
                    <a:lnTo>
                      <a:pt x="1207" y="1475"/>
                    </a:lnTo>
                    <a:lnTo>
                      <a:pt x="1207" y="1473"/>
                    </a:lnTo>
                    <a:lnTo>
                      <a:pt x="1205" y="1473"/>
                    </a:lnTo>
                    <a:lnTo>
                      <a:pt x="1205" y="1471"/>
                    </a:lnTo>
                    <a:lnTo>
                      <a:pt x="1203" y="1471"/>
                    </a:lnTo>
                    <a:lnTo>
                      <a:pt x="1203" y="1470"/>
                    </a:lnTo>
                    <a:lnTo>
                      <a:pt x="1202" y="1470"/>
                    </a:lnTo>
                    <a:lnTo>
                      <a:pt x="1202" y="1468"/>
                    </a:lnTo>
                    <a:lnTo>
                      <a:pt x="1200" y="1468"/>
                    </a:lnTo>
                    <a:lnTo>
                      <a:pt x="1198" y="1468"/>
                    </a:lnTo>
                    <a:lnTo>
                      <a:pt x="1198" y="1466"/>
                    </a:lnTo>
                    <a:lnTo>
                      <a:pt x="1196" y="1466"/>
                    </a:lnTo>
                    <a:lnTo>
                      <a:pt x="1196" y="1464"/>
                    </a:lnTo>
                    <a:lnTo>
                      <a:pt x="1195" y="1464"/>
                    </a:lnTo>
                    <a:lnTo>
                      <a:pt x="1193" y="1463"/>
                    </a:lnTo>
                    <a:lnTo>
                      <a:pt x="1193" y="1464"/>
                    </a:lnTo>
                    <a:lnTo>
                      <a:pt x="1193" y="1463"/>
                    </a:lnTo>
                    <a:lnTo>
                      <a:pt x="1195" y="1463"/>
                    </a:lnTo>
                    <a:lnTo>
                      <a:pt x="1196" y="1463"/>
                    </a:lnTo>
                    <a:lnTo>
                      <a:pt x="1196" y="1464"/>
                    </a:lnTo>
                    <a:lnTo>
                      <a:pt x="1198" y="1464"/>
                    </a:lnTo>
                    <a:lnTo>
                      <a:pt x="1196" y="1464"/>
                    </a:lnTo>
                    <a:lnTo>
                      <a:pt x="1195" y="1463"/>
                    </a:lnTo>
                    <a:lnTo>
                      <a:pt x="1193" y="1461"/>
                    </a:lnTo>
                    <a:lnTo>
                      <a:pt x="1193" y="1459"/>
                    </a:lnTo>
                    <a:lnTo>
                      <a:pt x="1193" y="1461"/>
                    </a:lnTo>
                    <a:lnTo>
                      <a:pt x="1191" y="1461"/>
                    </a:lnTo>
                    <a:lnTo>
                      <a:pt x="1191" y="1459"/>
                    </a:lnTo>
                    <a:lnTo>
                      <a:pt x="1190" y="1459"/>
                    </a:lnTo>
                    <a:lnTo>
                      <a:pt x="1188" y="1459"/>
                    </a:lnTo>
                    <a:lnTo>
                      <a:pt x="1188" y="1458"/>
                    </a:lnTo>
                    <a:lnTo>
                      <a:pt x="1186" y="1458"/>
                    </a:lnTo>
                    <a:lnTo>
                      <a:pt x="1188" y="1456"/>
                    </a:lnTo>
                    <a:lnTo>
                      <a:pt x="1186" y="1456"/>
                    </a:lnTo>
                    <a:lnTo>
                      <a:pt x="1186" y="1458"/>
                    </a:lnTo>
                    <a:lnTo>
                      <a:pt x="1185" y="1456"/>
                    </a:lnTo>
                    <a:lnTo>
                      <a:pt x="1183" y="1454"/>
                    </a:lnTo>
                    <a:lnTo>
                      <a:pt x="1185" y="1454"/>
                    </a:lnTo>
                    <a:lnTo>
                      <a:pt x="1183" y="1454"/>
                    </a:lnTo>
                    <a:lnTo>
                      <a:pt x="1183" y="1453"/>
                    </a:lnTo>
                    <a:lnTo>
                      <a:pt x="1183" y="1451"/>
                    </a:lnTo>
                    <a:lnTo>
                      <a:pt x="1183" y="1453"/>
                    </a:lnTo>
                    <a:lnTo>
                      <a:pt x="1181" y="1451"/>
                    </a:lnTo>
                    <a:lnTo>
                      <a:pt x="1181" y="1449"/>
                    </a:lnTo>
                    <a:lnTo>
                      <a:pt x="1183" y="1449"/>
                    </a:lnTo>
                    <a:lnTo>
                      <a:pt x="1181" y="1449"/>
                    </a:lnTo>
                    <a:lnTo>
                      <a:pt x="1179" y="1447"/>
                    </a:lnTo>
                    <a:lnTo>
                      <a:pt x="1179" y="1446"/>
                    </a:lnTo>
                    <a:lnTo>
                      <a:pt x="1181" y="1447"/>
                    </a:lnTo>
                    <a:lnTo>
                      <a:pt x="1183" y="1447"/>
                    </a:lnTo>
                    <a:close/>
                    <a:moveTo>
                      <a:pt x="1343" y="1626"/>
                    </a:moveTo>
                    <a:lnTo>
                      <a:pt x="1344" y="1626"/>
                    </a:lnTo>
                    <a:lnTo>
                      <a:pt x="1346" y="1626"/>
                    </a:lnTo>
                    <a:lnTo>
                      <a:pt x="1348" y="1626"/>
                    </a:lnTo>
                    <a:lnTo>
                      <a:pt x="1349" y="1628"/>
                    </a:lnTo>
                    <a:lnTo>
                      <a:pt x="1348" y="1628"/>
                    </a:lnTo>
                    <a:lnTo>
                      <a:pt x="1349" y="1628"/>
                    </a:lnTo>
                    <a:lnTo>
                      <a:pt x="1348" y="1629"/>
                    </a:lnTo>
                    <a:lnTo>
                      <a:pt x="1348" y="1631"/>
                    </a:lnTo>
                    <a:lnTo>
                      <a:pt x="1349" y="1629"/>
                    </a:lnTo>
                    <a:lnTo>
                      <a:pt x="1349" y="1628"/>
                    </a:lnTo>
                    <a:lnTo>
                      <a:pt x="1351" y="1628"/>
                    </a:lnTo>
                    <a:lnTo>
                      <a:pt x="1353" y="1628"/>
                    </a:lnTo>
                    <a:lnTo>
                      <a:pt x="1355" y="1628"/>
                    </a:lnTo>
                    <a:lnTo>
                      <a:pt x="1355" y="1629"/>
                    </a:lnTo>
                    <a:lnTo>
                      <a:pt x="1356" y="1629"/>
                    </a:lnTo>
                    <a:lnTo>
                      <a:pt x="1358" y="1629"/>
                    </a:lnTo>
                    <a:lnTo>
                      <a:pt x="1360" y="1629"/>
                    </a:lnTo>
                    <a:lnTo>
                      <a:pt x="1360" y="1631"/>
                    </a:lnTo>
                    <a:lnTo>
                      <a:pt x="1361" y="1631"/>
                    </a:lnTo>
                    <a:lnTo>
                      <a:pt x="1360" y="1631"/>
                    </a:lnTo>
                    <a:lnTo>
                      <a:pt x="1358" y="1631"/>
                    </a:lnTo>
                    <a:lnTo>
                      <a:pt x="1356" y="1631"/>
                    </a:lnTo>
                    <a:lnTo>
                      <a:pt x="1355" y="1631"/>
                    </a:lnTo>
                    <a:lnTo>
                      <a:pt x="1353" y="1631"/>
                    </a:lnTo>
                    <a:lnTo>
                      <a:pt x="1355" y="1631"/>
                    </a:lnTo>
                    <a:lnTo>
                      <a:pt x="1355" y="1633"/>
                    </a:lnTo>
                    <a:lnTo>
                      <a:pt x="1353" y="1633"/>
                    </a:lnTo>
                    <a:lnTo>
                      <a:pt x="1351" y="1633"/>
                    </a:lnTo>
                    <a:lnTo>
                      <a:pt x="1351" y="1635"/>
                    </a:lnTo>
                    <a:lnTo>
                      <a:pt x="1349" y="1635"/>
                    </a:lnTo>
                    <a:lnTo>
                      <a:pt x="1349" y="1633"/>
                    </a:lnTo>
                    <a:lnTo>
                      <a:pt x="1349" y="1631"/>
                    </a:lnTo>
                    <a:lnTo>
                      <a:pt x="1349" y="1633"/>
                    </a:lnTo>
                    <a:lnTo>
                      <a:pt x="1348" y="1633"/>
                    </a:lnTo>
                    <a:lnTo>
                      <a:pt x="1348" y="1635"/>
                    </a:lnTo>
                    <a:lnTo>
                      <a:pt x="1346" y="1635"/>
                    </a:lnTo>
                    <a:lnTo>
                      <a:pt x="1344" y="1635"/>
                    </a:lnTo>
                    <a:lnTo>
                      <a:pt x="1343" y="1635"/>
                    </a:lnTo>
                    <a:lnTo>
                      <a:pt x="1343" y="1636"/>
                    </a:lnTo>
                    <a:lnTo>
                      <a:pt x="1341" y="1635"/>
                    </a:lnTo>
                    <a:lnTo>
                      <a:pt x="1341" y="1636"/>
                    </a:lnTo>
                    <a:lnTo>
                      <a:pt x="1339" y="1636"/>
                    </a:lnTo>
                    <a:lnTo>
                      <a:pt x="1338" y="1636"/>
                    </a:lnTo>
                    <a:lnTo>
                      <a:pt x="1338" y="1635"/>
                    </a:lnTo>
                    <a:lnTo>
                      <a:pt x="1338" y="1636"/>
                    </a:lnTo>
                    <a:lnTo>
                      <a:pt x="1338" y="1635"/>
                    </a:lnTo>
                    <a:lnTo>
                      <a:pt x="1338" y="1636"/>
                    </a:lnTo>
                    <a:lnTo>
                      <a:pt x="1336" y="1636"/>
                    </a:lnTo>
                    <a:lnTo>
                      <a:pt x="1334" y="1636"/>
                    </a:lnTo>
                    <a:lnTo>
                      <a:pt x="1334" y="1635"/>
                    </a:lnTo>
                    <a:lnTo>
                      <a:pt x="1332" y="1633"/>
                    </a:lnTo>
                    <a:lnTo>
                      <a:pt x="1334" y="1633"/>
                    </a:lnTo>
                    <a:lnTo>
                      <a:pt x="1334" y="1631"/>
                    </a:lnTo>
                    <a:lnTo>
                      <a:pt x="1334" y="1633"/>
                    </a:lnTo>
                    <a:lnTo>
                      <a:pt x="1332" y="1631"/>
                    </a:lnTo>
                    <a:lnTo>
                      <a:pt x="1334" y="1629"/>
                    </a:lnTo>
                    <a:lnTo>
                      <a:pt x="1336" y="1629"/>
                    </a:lnTo>
                    <a:lnTo>
                      <a:pt x="1338" y="1631"/>
                    </a:lnTo>
                    <a:lnTo>
                      <a:pt x="1338" y="1629"/>
                    </a:lnTo>
                    <a:lnTo>
                      <a:pt x="1336" y="1629"/>
                    </a:lnTo>
                    <a:lnTo>
                      <a:pt x="1334" y="1628"/>
                    </a:lnTo>
                    <a:lnTo>
                      <a:pt x="1334" y="1629"/>
                    </a:lnTo>
                    <a:lnTo>
                      <a:pt x="1332" y="1628"/>
                    </a:lnTo>
                    <a:lnTo>
                      <a:pt x="1334" y="1628"/>
                    </a:lnTo>
                    <a:lnTo>
                      <a:pt x="1334" y="1626"/>
                    </a:lnTo>
                    <a:lnTo>
                      <a:pt x="1336" y="1628"/>
                    </a:lnTo>
                    <a:lnTo>
                      <a:pt x="1336" y="1626"/>
                    </a:lnTo>
                    <a:lnTo>
                      <a:pt x="1338" y="1626"/>
                    </a:lnTo>
                    <a:lnTo>
                      <a:pt x="1339" y="1628"/>
                    </a:lnTo>
                    <a:lnTo>
                      <a:pt x="1339" y="1629"/>
                    </a:lnTo>
                    <a:lnTo>
                      <a:pt x="1339" y="1631"/>
                    </a:lnTo>
                    <a:lnTo>
                      <a:pt x="1341" y="1629"/>
                    </a:lnTo>
                    <a:lnTo>
                      <a:pt x="1343" y="1629"/>
                    </a:lnTo>
                    <a:lnTo>
                      <a:pt x="1341" y="1631"/>
                    </a:lnTo>
                    <a:lnTo>
                      <a:pt x="1343" y="1631"/>
                    </a:lnTo>
                    <a:lnTo>
                      <a:pt x="1343" y="1629"/>
                    </a:lnTo>
                    <a:lnTo>
                      <a:pt x="1341" y="1629"/>
                    </a:lnTo>
                    <a:lnTo>
                      <a:pt x="1341" y="1628"/>
                    </a:lnTo>
                    <a:lnTo>
                      <a:pt x="1343" y="1629"/>
                    </a:lnTo>
                    <a:lnTo>
                      <a:pt x="1341" y="1629"/>
                    </a:lnTo>
                    <a:lnTo>
                      <a:pt x="1341" y="1628"/>
                    </a:lnTo>
                    <a:lnTo>
                      <a:pt x="1339" y="1628"/>
                    </a:lnTo>
                    <a:lnTo>
                      <a:pt x="1339" y="1626"/>
                    </a:lnTo>
                    <a:lnTo>
                      <a:pt x="1341" y="1626"/>
                    </a:lnTo>
                    <a:lnTo>
                      <a:pt x="1343" y="1626"/>
                    </a:lnTo>
                    <a:close/>
                    <a:moveTo>
                      <a:pt x="1152" y="1272"/>
                    </a:moveTo>
                    <a:lnTo>
                      <a:pt x="1152" y="1274"/>
                    </a:lnTo>
                    <a:lnTo>
                      <a:pt x="1152" y="1276"/>
                    </a:lnTo>
                    <a:lnTo>
                      <a:pt x="1151" y="1276"/>
                    </a:lnTo>
                    <a:lnTo>
                      <a:pt x="1152" y="1276"/>
                    </a:lnTo>
                    <a:lnTo>
                      <a:pt x="1152" y="1277"/>
                    </a:lnTo>
                    <a:lnTo>
                      <a:pt x="1152" y="1276"/>
                    </a:lnTo>
                    <a:lnTo>
                      <a:pt x="1152" y="1274"/>
                    </a:lnTo>
                    <a:lnTo>
                      <a:pt x="1152" y="1272"/>
                    </a:lnTo>
                    <a:lnTo>
                      <a:pt x="1154" y="1272"/>
                    </a:lnTo>
                    <a:lnTo>
                      <a:pt x="1154" y="1274"/>
                    </a:lnTo>
                    <a:lnTo>
                      <a:pt x="1154" y="1276"/>
                    </a:lnTo>
                    <a:lnTo>
                      <a:pt x="1154" y="1277"/>
                    </a:lnTo>
                    <a:lnTo>
                      <a:pt x="1152" y="1277"/>
                    </a:lnTo>
                    <a:lnTo>
                      <a:pt x="1154" y="1277"/>
                    </a:lnTo>
                    <a:lnTo>
                      <a:pt x="1154" y="1279"/>
                    </a:lnTo>
                    <a:lnTo>
                      <a:pt x="1156" y="1279"/>
                    </a:lnTo>
                    <a:lnTo>
                      <a:pt x="1154" y="1281"/>
                    </a:lnTo>
                    <a:lnTo>
                      <a:pt x="1154" y="1282"/>
                    </a:lnTo>
                    <a:lnTo>
                      <a:pt x="1154" y="1284"/>
                    </a:lnTo>
                    <a:lnTo>
                      <a:pt x="1152" y="1284"/>
                    </a:lnTo>
                    <a:lnTo>
                      <a:pt x="1152" y="1286"/>
                    </a:lnTo>
                    <a:lnTo>
                      <a:pt x="1151" y="1286"/>
                    </a:lnTo>
                    <a:lnTo>
                      <a:pt x="1151" y="1288"/>
                    </a:lnTo>
                    <a:lnTo>
                      <a:pt x="1149" y="1289"/>
                    </a:lnTo>
                    <a:lnTo>
                      <a:pt x="1149" y="1288"/>
                    </a:lnTo>
                    <a:lnTo>
                      <a:pt x="1149" y="1289"/>
                    </a:lnTo>
                    <a:lnTo>
                      <a:pt x="1147" y="1289"/>
                    </a:lnTo>
                    <a:lnTo>
                      <a:pt x="1145" y="1291"/>
                    </a:lnTo>
                    <a:lnTo>
                      <a:pt x="1144" y="1291"/>
                    </a:lnTo>
                    <a:lnTo>
                      <a:pt x="1144" y="1289"/>
                    </a:lnTo>
                    <a:lnTo>
                      <a:pt x="1142" y="1289"/>
                    </a:lnTo>
                    <a:lnTo>
                      <a:pt x="1142" y="1288"/>
                    </a:lnTo>
                    <a:lnTo>
                      <a:pt x="1142" y="1286"/>
                    </a:lnTo>
                    <a:lnTo>
                      <a:pt x="1142" y="1284"/>
                    </a:lnTo>
                    <a:lnTo>
                      <a:pt x="1144" y="1284"/>
                    </a:lnTo>
                    <a:lnTo>
                      <a:pt x="1144" y="1286"/>
                    </a:lnTo>
                    <a:lnTo>
                      <a:pt x="1145" y="1286"/>
                    </a:lnTo>
                    <a:lnTo>
                      <a:pt x="1147" y="1286"/>
                    </a:lnTo>
                    <a:lnTo>
                      <a:pt x="1147" y="1288"/>
                    </a:lnTo>
                    <a:lnTo>
                      <a:pt x="1147" y="1286"/>
                    </a:lnTo>
                    <a:lnTo>
                      <a:pt x="1149" y="1286"/>
                    </a:lnTo>
                    <a:lnTo>
                      <a:pt x="1151" y="1286"/>
                    </a:lnTo>
                    <a:lnTo>
                      <a:pt x="1151" y="1284"/>
                    </a:lnTo>
                    <a:lnTo>
                      <a:pt x="1152" y="1282"/>
                    </a:lnTo>
                    <a:lnTo>
                      <a:pt x="1154" y="1282"/>
                    </a:lnTo>
                    <a:lnTo>
                      <a:pt x="1154" y="1281"/>
                    </a:lnTo>
                    <a:lnTo>
                      <a:pt x="1152" y="1282"/>
                    </a:lnTo>
                    <a:lnTo>
                      <a:pt x="1152" y="1284"/>
                    </a:lnTo>
                    <a:lnTo>
                      <a:pt x="1151" y="1284"/>
                    </a:lnTo>
                    <a:lnTo>
                      <a:pt x="1149" y="1286"/>
                    </a:lnTo>
                    <a:lnTo>
                      <a:pt x="1147" y="1286"/>
                    </a:lnTo>
                    <a:lnTo>
                      <a:pt x="1145" y="1286"/>
                    </a:lnTo>
                    <a:lnTo>
                      <a:pt x="1144" y="1286"/>
                    </a:lnTo>
                    <a:lnTo>
                      <a:pt x="1144" y="1284"/>
                    </a:lnTo>
                    <a:lnTo>
                      <a:pt x="1144" y="1282"/>
                    </a:lnTo>
                    <a:lnTo>
                      <a:pt x="1145" y="1282"/>
                    </a:lnTo>
                    <a:lnTo>
                      <a:pt x="1145" y="1284"/>
                    </a:lnTo>
                    <a:lnTo>
                      <a:pt x="1147" y="1284"/>
                    </a:lnTo>
                    <a:lnTo>
                      <a:pt x="1149" y="1284"/>
                    </a:lnTo>
                    <a:lnTo>
                      <a:pt x="1147" y="1282"/>
                    </a:lnTo>
                    <a:lnTo>
                      <a:pt x="1149" y="1282"/>
                    </a:lnTo>
                    <a:lnTo>
                      <a:pt x="1151" y="1282"/>
                    </a:lnTo>
                    <a:lnTo>
                      <a:pt x="1151" y="1281"/>
                    </a:lnTo>
                    <a:lnTo>
                      <a:pt x="1152" y="1281"/>
                    </a:lnTo>
                    <a:lnTo>
                      <a:pt x="1151" y="1281"/>
                    </a:lnTo>
                    <a:lnTo>
                      <a:pt x="1149" y="1282"/>
                    </a:lnTo>
                    <a:lnTo>
                      <a:pt x="1147" y="1282"/>
                    </a:lnTo>
                    <a:lnTo>
                      <a:pt x="1145" y="1282"/>
                    </a:lnTo>
                    <a:lnTo>
                      <a:pt x="1147" y="1282"/>
                    </a:lnTo>
                    <a:lnTo>
                      <a:pt x="1147" y="1281"/>
                    </a:lnTo>
                    <a:lnTo>
                      <a:pt x="1149" y="1281"/>
                    </a:lnTo>
                    <a:lnTo>
                      <a:pt x="1151" y="1279"/>
                    </a:lnTo>
                    <a:lnTo>
                      <a:pt x="1152" y="1277"/>
                    </a:lnTo>
                    <a:lnTo>
                      <a:pt x="1151" y="1279"/>
                    </a:lnTo>
                    <a:lnTo>
                      <a:pt x="1149" y="1279"/>
                    </a:lnTo>
                    <a:lnTo>
                      <a:pt x="1149" y="1281"/>
                    </a:lnTo>
                    <a:lnTo>
                      <a:pt x="1147" y="1281"/>
                    </a:lnTo>
                    <a:lnTo>
                      <a:pt x="1147" y="1282"/>
                    </a:lnTo>
                    <a:lnTo>
                      <a:pt x="1145" y="1282"/>
                    </a:lnTo>
                    <a:lnTo>
                      <a:pt x="1144" y="1282"/>
                    </a:lnTo>
                    <a:lnTo>
                      <a:pt x="1145" y="1281"/>
                    </a:lnTo>
                    <a:lnTo>
                      <a:pt x="1144" y="1281"/>
                    </a:lnTo>
                    <a:lnTo>
                      <a:pt x="1144" y="1282"/>
                    </a:lnTo>
                    <a:lnTo>
                      <a:pt x="1142" y="1282"/>
                    </a:lnTo>
                    <a:lnTo>
                      <a:pt x="1144" y="1281"/>
                    </a:lnTo>
                    <a:lnTo>
                      <a:pt x="1142" y="1281"/>
                    </a:lnTo>
                    <a:lnTo>
                      <a:pt x="1142" y="1279"/>
                    </a:lnTo>
                    <a:lnTo>
                      <a:pt x="1144" y="1279"/>
                    </a:lnTo>
                    <a:lnTo>
                      <a:pt x="1142" y="1277"/>
                    </a:lnTo>
                    <a:lnTo>
                      <a:pt x="1144" y="1276"/>
                    </a:lnTo>
                    <a:lnTo>
                      <a:pt x="1142" y="1276"/>
                    </a:lnTo>
                    <a:lnTo>
                      <a:pt x="1142" y="1274"/>
                    </a:lnTo>
                    <a:lnTo>
                      <a:pt x="1144" y="1274"/>
                    </a:lnTo>
                    <a:lnTo>
                      <a:pt x="1144" y="1272"/>
                    </a:lnTo>
                    <a:lnTo>
                      <a:pt x="1145" y="1272"/>
                    </a:lnTo>
                    <a:lnTo>
                      <a:pt x="1145" y="1274"/>
                    </a:lnTo>
                    <a:lnTo>
                      <a:pt x="1147" y="1274"/>
                    </a:lnTo>
                    <a:lnTo>
                      <a:pt x="1147" y="1276"/>
                    </a:lnTo>
                    <a:lnTo>
                      <a:pt x="1147" y="1274"/>
                    </a:lnTo>
                    <a:lnTo>
                      <a:pt x="1149" y="1274"/>
                    </a:lnTo>
                    <a:lnTo>
                      <a:pt x="1147" y="1274"/>
                    </a:lnTo>
                    <a:lnTo>
                      <a:pt x="1149" y="1274"/>
                    </a:lnTo>
                    <a:lnTo>
                      <a:pt x="1151" y="1272"/>
                    </a:lnTo>
                    <a:lnTo>
                      <a:pt x="1151" y="1274"/>
                    </a:lnTo>
                    <a:lnTo>
                      <a:pt x="1151" y="1276"/>
                    </a:lnTo>
                    <a:lnTo>
                      <a:pt x="1151" y="1274"/>
                    </a:lnTo>
                    <a:lnTo>
                      <a:pt x="1151" y="1272"/>
                    </a:lnTo>
                    <a:lnTo>
                      <a:pt x="1152" y="1272"/>
                    </a:lnTo>
                    <a:close/>
                    <a:moveTo>
                      <a:pt x="1195" y="1240"/>
                    </a:moveTo>
                    <a:lnTo>
                      <a:pt x="1195" y="1242"/>
                    </a:lnTo>
                    <a:lnTo>
                      <a:pt x="1196" y="1242"/>
                    </a:lnTo>
                    <a:lnTo>
                      <a:pt x="1196" y="1243"/>
                    </a:lnTo>
                    <a:lnTo>
                      <a:pt x="1198" y="1243"/>
                    </a:lnTo>
                    <a:lnTo>
                      <a:pt x="1200" y="1243"/>
                    </a:lnTo>
                    <a:lnTo>
                      <a:pt x="1202" y="1245"/>
                    </a:lnTo>
                    <a:lnTo>
                      <a:pt x="1202" y="1243"/>
                    </a:lnTo>
                    <a:lnTo>
                      <a:pt x="1203" y="1243"/>
                    </a:lnTo>
                    <a:lnTo>
                      <a:pt x="1205" y="1245"/>
                    </a:lnTo>
                    <a:lnTo>
                      <a:pt x="1203" y="1247"/>
                    </a:lnTo>
                    <a:lnTo>
                      <a:pt x="1203" y="1248"/>
                    </a:lnTo>
                    <a:lnTo>
                      <a:pt x="1202" y="1248"/>
                    </a:lnTo>
                    <a:lnTo>
                      <a:pt x="1200" y="1248"/>
                    </a:lnTo>
                    <a:lnTo>
                      <a:pt x="1202" y="1247"/>
                    </a:lnTo>
                    <a:lnTo>
                      <a:pt x="1200" y="1247"/>
                    </a:lnTo>
                    <a:lnTo>
                      <a:pt x="1198" y="1248"/>
                    </a:lnTo>
                    <a:lnTo>
                      <a:pt x="1196" y="1248"/>
                    </a:lnTo>
                    <a:lnTo>
                      <a:pt x="1195" y="1248"/>
                    </a:lnTo>
                    <a:lnTo>
                      <a:pt x="1193" y="1248"/>
                    </a:lnTo>
                    <a:lnTo>
                      <a:pt x="1191" y="1248"/>
                    </a:lnTo>
                    <a:lnTo>
                      <a:pt x="1190" y="1250"/>
                    </a:lnTo>
                    <a:lnTo>
                      <a:pt x="1190" y="1248"/>
                    </a:lnTo>
                    <a:lnTo>
                      <a:pt x="1188" y="1250"/>
                    </a:lnTo>
                    <a:lnTo>
                      <a:pt x="1186" y="1250"/>
                    </a:lnTo>
                    <a:lnTo>
                      <a:pt x="1186" y="1248"/>
                    </a:lnTo>
                    <a:lnTo>
                      <a:pt x="1186" y="1247"/>
                    </a:lnTo>
                    <a:lnTo>
                      <a:pt x="1185" y="1247"/>
                    </a:lnTo>
                    <a:lnTo>
                      <a:pt x="1185" y="1248"/>
                    </a:lnTo>
                    <a:lnTo>
                      <a:pt x="1185" y="1247"/>
                    </a:lnTo>
                    <a:lnTo>
                      <a:pt x="1183" y="1247"/>
                    </a:lnTo>
                    <a:lnTo>
                      <a:pt x="1181" y="1247"/>
                    </a:lnTo>
                    <a:lnTo>
                      <a:pt x="1181" y="1245"/>
                    </a:lnTo>
                    <a:lnTo>
                      <a:pt x="1183" y="1245"/>
                    </a:lnTo>
                    <a:lnTo>
                      <a:pt x="1185" y="1247"/>
                    </a:lnTo>
                    <a:lnTo>
                      <a:pt x="1185" y="1245"/>
                    </a:lnTo>
                    <a:lnTo>
                      <a:pt x="1183" y="1245"/>
                    </a:lnTo>
                    <a:lnTo>
                      <a:pt x="1183" y="1243"/>
                    </a:lnTo>
                    <a:lnTo>
                      <a:pt x="1185" y="1243"/>
                    </a:lnTo>
                    <a:lnTo>
                      <a:pt x="1185" y="1242"/>
                    </a:lnTo>
                    <a:lnTo>
                      <a:pt x="1186" y="1242"/>
                    </a:lnTo>
                    <a:lnTo>
                      <a:pt x="1186" y="1243"/>
                    </a:lnTo>
                    <a:lnTo>
                      <a:pt x="1188" y="1243"/>
                    </a:lnTo>
                    <a:lnTo>
                      <a:pt x="1188" y="1245"/>
                    </a:lnTo>
                    <a:lnTo>
                      <a:pt x="1190" y="1245"/>
                    </a:lnTo>
                    <a:lnTo>
                      <a:pt x="1191" y="1245"/>
                    </a:lnTo>
                    <a:lnTo>
                      <a:pt x="1190" y="1245"/>
                    </a:lnTo>
                    <a:lnTo>
                      <a:pt x="1190" y="1243"/>
                    </a:lnTo>
                    <a:lnTo>
                      <a:pt x="1188" y="1243"/>
                    </a:lnTo>
                    <a:lnTo>
                      <a:pt x="1188" y="1242"/>
                    </a:lnTo>
                    <a:lnTo>
                      <a:pt x="1186" y="1242"/>
                    </a:lnTo>
                    <a:lnTo>
                      <a:pt x="1188" y="1240"/>
                    </a:lnTo>
                    <a:lnTo>
                      <a:pt x="1190" y="1242"/>
                    </a:lnTo>
                    <a:lnTo>
                      <a:pt x="1190" y="1240"/>
                    </a:lnTo>
                    <a:lnTo>
                      <a:pt x="1191" y="1242"/>
                    </a:lnTo>
                    <a:lnTo>
                      <a:pt x="1193" y="1242"/>
                    </a:lnTo>
                    <a:lnTo>
                      <a:pt x="1195" y="1242"/>
                    </a:lnTo>
                    <a:lnTo>
                      <a:pt x="1195" y="1243"/>
                    </a:lnTo>
                    <a:lnTo>
                      <a:pt x="1196" y="1243"/>
                    </a:lnTo>
                    <a:lnTo>
                      <a:pt x="1195" y="1242"/>
                    </a:lnTo>
                    <a:lnTo>
                      <a:pt x="1193" y="1242"/>
                    </a:lnTo>
                    <a:lnTo>
                      <a:pt x="1191" y="1242"/>
                    </a:lnTo>
                    <a:lnTo>
                      <a:pt x="1191" y="1240"/>
                    </a:lnTo>
                    <a:lnTo>
                      <a:pt x="1193" y="1240"/>
                    </a:lnTo>
                    <a:lnTo>
                      <a:pt x="1195" y="1240"/>
                    </a:lnTo>
                    <a:close/>
                    <a:moveTo>
                      <a:pt x="1147" y="1333"/>
                    </a:moveTo>
                    <a:lnTo>
                      <a:pt x="1149" y="1333"/>
                    </a:lnTo>
                    <a:lnTo>
                      <a:pt x="1151" y="1333"/>
                    </a:lnTo>
                    <a:lnTo>
                      <a:pt x="1151" y="1335"/>
                    </a:lnTo>
                    <a:lnTo>
                      <a:pt x="1151" y="1333"/>
                    </a:lnTo>
                    <a:lnTo>
                      <a:pt x="1151" y="1332"/>
                    </a:lnTo>
                    <a:lnTo>
                      <a:pt x="1152" y="1333"/>
                    </a:lnTo>
                    <a:lnTo>
                      <a:pt x="1152" y="1335"/>
                    </a:lnTo>
                    <a:lnTo>
                      <a:pt x="1154" y="1337"/>
                    </a:lnTo>
                    <a:lnTo>
                      <a:pt x="1152" y="1337"/>
                    </a:lnTo>
                    <a:lnTo>
                      <a:pt x="1152" y="1339"/>
                    </a:lnTo>
                    <a:lnTo>
                      <a:pt x="1152" y="1337"/>
                    </a:lnTo>
                    <a:lnTo>
                      <a:pt x="1154" y="1339"/>
                    </a:lnTo>
                    <a:lnTo>
                      <a:pt x="1154" y="1340"/>
                    </a:lnTo>
                    <a:lnTo>
                      <a:pt x="1156" y="1342"/>
                    </a:lnTo>
                    <a:lnTo>
                      <a:pt x="1156" y="1344"/>
                    </a:lnTo>
                    <a:lnTo>
                      <a:pt x="1156" y="1345"/>
                    </a:lnTo>
                    <a:lnTo>
                      <a:pt x="1157" y="1345"/>
                    </a:lnTo>
                    <a:lnTo>
                      <a:pt x="1157" y="1347"/>
                    </a:lnTo>
                    <a:lnTo>
                      <a:pt x="1157" y="1349"/>
                    </a:lnTo>
                    <a:lnTo>
                      <a:pt x="1156" y="1349"/>
                    </a:lnTo>
                    <a:lnTo>
                      <a:pt x="1157" y="1349"/>
                    </a:lnTo>
                    <a:lnTo>
                      <a:pt x="1156" y="1349"/>
                    </a:lnTo>
                    <a:lnTo>
                      <a:pt x="1156" y="1347"/>
                    </a:lnTo>
                    <a:lnTo>
                      <a:pt x="1154" y="1347"/>
                    </a:lnTo>
                    <a:lnTo>
                      <a:pt x="1154" y="1345"/>
                    </a:lnTo>
                    <a:lnTo>
                      <a:pt x="1152" y="1345"/>
                    </a:lnTo>
                    <a:lnTo>
                      <a:pt x="1154" y="1345"/>
                    </a:lnTo>
                    <a:lnTo>
                      <a:pt x="1154" y="1347"/>
                    </a:lnTo>
                    <a:lnTo>
                      <a:pt x="1154" y="1349"/>
                    </a:lnTo>
                    <a:lnTo>
                      <a:pt x="1152" y="1349"/>
                    </a:lnTo>
                    <a:lnTo>
                      <a:pt x="1151" y="1347"/>
                    </a:lnTo>
                    <a:lnTo>
                      <a:pt x="1151" y="1345"/>
                    </a:lnTo>
                    <a:lnTo>
                      <a:pt x="1149" y="1345"/>
                    </a:lnTo>
                    <a:lnTo>
                      <a:pt x="1149" y="1344"/>
                    </a:lnTo>
                    <a:lnTo>
                      <a:pt x="1151" y="1344"/>
                    </a:lnTo>
                    <a:lnTo>
                      <a:pt x="1151" y="1342"/>
                    </a:lnTo>
                    <a:lnTo>
                      <a:pt x="1152" y="1342"/>
                    </a:lnTo>
                    <a:lnTo>
                      <a:pt x="1151" y="1342"/>
                    </a:lnTo>
                    <a:lnTo>
                      <a:pt x="1151" y="1340"/>
                    </a:lnTo>
                    <a:lnTo>
                      <a:pt x="1151" y="1339"/>
                    </a:lnTo>
                    <a:lnTo>
                      <a:pt x="1151" y="1340"/>
                    </a:lnTo>
                    <a:lnTo>
                      <a:pt x="1149" y="1342"/>
                    </a:lnTo>
                    <a:lnTo>
                      <a:pt x="1147" y="1342"/>
                    </a:lnTo>
                    <a:lnTo>
                      <a:pt x="1147" y="1344"/>
                    </a:lnTo>
                    <a:lnTo>
                      <a:pt x="1145" y="1344"/>
                    </a:lnTo>
                    <a:lnTo>
                      <a:pt x="1144" y="1344"/>
                    </a:lnTo>
                    <a:lnTo>
                      <a:pt x="1144" y="1345"/>
                    </a:lnTo>
                    <a:lnTo>
                      <a:pt x="1144" y="1347"/>
                    </a:lnTo>
                    <a:lnTo>
                      <a:pt x="1142" y="1347"/>
                    </a:lnTo>
                    <a:lnTo>
                      <a:pt x="1142" y="1345"/>
                    </a:lnTo>
                    <a:lnTo>
                      <a:pt x="1142" y="1344"/>
                    </a:lnTo>
                    <a:lnTo>
                      <a:pt x="1140" y="1344"/>
                    </a:lnTo>
                    <a:lnTo>
                      <a:pt x="1140" y="1342"/>
                    </a:lnTo>
                    <a:lnTo>
                      <a:pt x="1142" y="1342"/>
                    </a:lnTo>
                    <a:lnTo>
                      <a:pt x="1144" y="1340"/>
                    </a:lnTo>
                    <a:lnTo>
                      <a:pt x="1145" y="1340"/>
                    </a:lnTo>
                    <a:lnTo>
                      <a:pt x="1145" y="1339"/>
                    </a:lnTo>
                    <a:lnTo>
                      <a:pt x="1145" y="1340"/>
                    </a:lnTo>
                    <a:lnTo>
                      <a:pt x="1145" y="1339"/>
                    </a:lnTo>
                    <a:lnTo>
                      <a:pt x="1144" y="1339"/>
                    </a:lnTo>
                    <a:lnTo>
                      <a:pt x="1144" y="1337"/>
                    </a:lnTo>
                    <a:lnTo>
                      <a:pt x="1142" y="1337"/>
                    </a:lnTo>
                    <a:lnTo>
                      <a:pt x="1144" y="1337"/>
                    </a:lnTo>
                    <a:lnTo>
                      <a:pt x="1142" y="1335"/>
                    </a:lnTo>
                    <a:lnTo>
                      <a:pt x="1144" y="1335"/>
                    </a:lnTo>
                    <a:lnTo>
                      <a:pt x="1144" y="1333"/>
                    </a:lnTo>
                    <a:lnTo>
                      <a:pt x="1145" y="1333"/>
                    </a:lnTo>
                    <a:lnTo>
                      <a:pt x="1147" y="1333"/>
                    </a:lnTo>
                    <a:lnTo>
                      <a:pt x="1147" y="1335"/>
                    </a:lnTo>
                    <a:lnTo>
                      <a:pt x="1147" y="1333"/>
                    </a:lnTo>
                    <a:lnTo>
                      <a:pt x="1147" y="1332"/>
                    </a:lnTo>
                    <a:lnTo>
                      <a:pt x="1147" y="1333"/>
                    </a:lnTo>
                    <a:close/>
                    <a:moveTo>
                      <a:pt x="1193" y="1085"/>
                    </a:moveTo>
                    <a:lnTo>
                      <a:pt x="1195" y="1085"/>
                    </a:lnTo>
                    <a:lnTo>
                      <a:pt x="1196" y="1085"/>
                    </a:lnTo>
                    <a:lnTo>
                      <a:pt x="1195" y="1085"/>
                    </a:lnTo>
                    <a:lnTo>
                      <a:pt x="1196" y="1085"/>
                    </a:lnTo>
                    <a:lnTo>
                      <a:pt x="1198" y="1085"/>
                    </a:lnTo>
                    <a:lnTo>
                      <a:pt x="1200" y="1087"/>
                    </a:lnTo>
                    <a:lnTo>
                      <a:pt x="1202" y="1088"/>
                    </a:lnTo>
                    <a:lnTo>
                      <a:pt x="1200" y="1088"/>
                    </a:lnTo>
                    <a:lnTo>
                      <a:pt x="1202" y="1088"/>
                    </a:lnTo>
                    <a:lnTo>
                      <a:pt x="1202" y="1090"/>
                    </a:lnTo>
                    <a:lnTo>
                      <a:pt x="1200" y="1090"/>
                    </a:lnTo>
                    <a:lnTo>
                      <a:pt x="1198" y="1090"/>
                    </a:lnTo>
                    <a:lnTo>
                      <a:pt x="1196" y="1090"/>
                    </a:lnTo>
                    <a:lnTo>
                      <a:pt x="1196" y="1088"/>
                    </a:lnTo>
                    <a:lnTo>
                      <a:pt x="1198" y="1088"/>
                    </a:lnTo>
                    <a:lnTo>
                      <a:pt x="1196" y="1088"/>
                    </a:lnTo>
                    <a:lnTo>
                      <a:pt x="1196" y="1090"/>
                    </a:lnTo>
                    <a:lnTo>
                      <a:pt x="1196" y="1092"/>
                    </a:lnTo>
                    <a:lnTo>
                      <a:pt x="1195" y="1092"/>
                    </a:lnTo>
                    <a:lnTo>
                      <a:pt x="1195" y="1094"/>
                    </a:lnTo>
                    <a:lnTo>
                      <a:pt x="1193" y="1094"/>
                    </a:lnTo>
                    <a:lnTo>
                      <a:pt x="1191" y="1094"/>
                    </a:lnTo>
                    <a:lnTo>
                      <a:pt x="1190" y="1094"/>
                    </a:lnTo>
                    <a:lnTo>
                      <a:pt x="1190" y="1095"/>
                    </a:lnTo>
                    <a:lnTo>
                      <a:pt x="1188" y="1095"/>
                    </a:lnTo>
                    <a:lnTo>
                      <a:pt x="1186" y="1095"/>
                    </a:lnTo>
                    <a:lnTo>
                      <a:pt x="1185" y="1094"/>
                    </a:lnTo>
                    <a:lnTo>
                      <a:pt x="1185" y="1092"/>
                    </a:lnTo>
                    <a:lnTo>
                      <a:pt x="1185" y="1090"/>
                    </a:lnTo>
                    <a:lnTo>
                      <a:pt x="1186" y="1090"/>
                    </a:lnTo>
                    <a:lnTo>
                      <a:pt x="1188" y="1090"/>
                    </a:lnTo>
                    <a:lnTo>
                      <a:pt x="1188" y="1092"/>
                    </a:lnTo>
                    <a:lnTo>
                      <a:pt x="1190" y="1090"/>
                    </a:lnTo>
                    <a:lnTo>
                      <a:pt x="1188" y="1092"/>
                    </a:lnTo>
                    <a:lnTo>
                      <a:pt x="1190" y="1092"/>
                    </a:lnTo>
                    <a:lnTo>
                      <a:pt x="1191" y="1092"/>
                    </a:lnTo>
                    <a:lnTo>
                      <a:pt x="1193" y="1092"/>
                    </a:lnTo>
                    <a:lnTo>
                      <a:pt x="1191" y="1092"/>
                    </a:lnTo>
                    <a:lnTo>
                      <a:pt x="1190" y="1092"/>
                    </a:lnTo>
                    <a:lnTo>
                      <a:pt x="1190" y="1090"/>
                    </a:lnTo>
                    <a:lnTo>
                      <a:pt x="1188" y="1090"/>
                    </a:lnTo>
                    <a:lnTo>
                      <a:pt x="1186" y="1090"/>
                    </a:lnTo>
                    <a:lnTo>
                      <a:pt x="1185" y="1090"/>
                    </a:lnTo>
                    <a:lnTo>
                      <a:pt x="1183" y="1090"/>
                    </a:lnTo>
                    <a:lnTo>
                      <a:pt x="1183" y="1088"/>
                    </a:lnTo>
                    <a:lnTo>
                      <a:pt x="1183" y="1087"/>
                    </a:lnTo>
                    <a:lnTo>
                      <a:pt x="1185" y="1087"/>
                    </a:lnTo>
                    <a:lnTo>
                      <a:pt x="1186" y="1087"/>
                    </a:lnTo>
                    <a:lnTo>
                      <a:pt x="1186" y="1085"/>
                    </a:lnTo>
                    <a:lnTo>
                      <a:pt x="1188" y="1085"/>
                    </a:lnTo>
                    <a:lnTo>
                      <a:pt x="1190" y="1085"/>
                    </a:lnTo>
                    <a:lnTo>
                      <a:pt x="1191" y="1085"/>
                    </a:lnTo>
                    <a:lnTo>
                      <a:pt x="1193" y="1085"/>
                    </a:lnTo>
                    <a:close/>
                    <a:moveTo>
                      <a:pt x="1176" y="1418"/>
                    </a:moveTo>
                    <a:lnTo>
                      <a:pt x="1178" y="1418"/>
                    </a:lnTo>
                    <a:lnTo>
                      <a:pt x="1178" y="1420"/>
                    </a:lnTo>
                    <a:lnTo>
                      <a:pt x="1179" y="1422"/>
                    </a:lnTo>
                    <a:lnTo>
                      <a:pt x="1179" y="1424"/>
                    </a:lnTo>
                    <a:lnTo>
                      <a:pt x="1178" y="1424"/>
                    </a:lnTo>
                    <a:lnTo>
                      <a:pt x="1178" y="1422"/>
                    </a:lnTo>
                    <a:lnTo>
                      <a:pt x="1179" y="1422"/>
                    </a:lnTo>
                    <a:lnTo>
                      <a:pt x="1178" y="1420"/>
                    </a:lnTo>
                    <a:lnTo>
                      <a:pt x="1178" y="1422"/>
                    </a:lnTo>
                    <a:lnTo>
                      <a:pt x="1178" y="1424"/>
                    </a:lnTo>
                    <a:lnTo>
                      <a:pt x="1178" y="1425"/>
                    </a:lnTo>
                    <a:lnTo>
                      <a:pt x="1178" y="1424"/>
                    </a:lnTo>
                    <a:lnTo>
                      <a:pt x="1176" y="1422"/>
                    </a:lnTo>
                    <a:lnTo>
                      <a:pt x="1174" y="1422"/>
                    </a:lnTo>
                    <a:lnTo>
                      <a:pt x="1174" y="1420"/>
                    </a:lnTo>
                    <a:lnTo>
                      <a:pt x="1174" y="1422"/>
                    </a:lnTo>
                    <a:lnTo>
                      <a:pt x="1176" y="1422"/>
                    </a:lnTo>
                    <a:lnTo>
                      <a:pt x="1176" y="1424"/>
                    </a:lnTo>
                    <a:lnTo>
                      <a:pt x="1178" y="1424"/>
                    </a:lnTo>
                    <a:lnTo>
                      <a:pt x="1176" y="1425"/>
                    </a:lnTo>
                    <a:lnTo>
                      <a:pt x="1178" y="1425"/>
                    </a:lnTo>
                    <a:lnTo>
                      <a:pt x="1178" y="1427"/>
                    </a:lnTo>
                    <a:lnTo>
                      <a:pt x="1178" y="1425"/>
                    </a:lnTo>
                    <a:lnTo>
                      <a:pt x="1178" y="1427"/>
                    </a:lnTo>
                    <a:lnTo>
                      <a:pt x="1178" y="1429"/>
                    </a:lnTo>
                    <a:lnTo>
                      <a:pt x="1176" y="1429"/>
                    </a:lnTo>
                    <a:lnTo>
                      <a:pt x="1176" y="1430"/>
                    </a:lnTo>
                    <a:lnTo>
                      <a:pt x="1176" y="1429"/>
                    </a:lnTo>
                    <a:lnTo>
                      <a:pt x="1174" y="1429"/>
                    </a:lnTo>
                    <a:lnTo>
                      <a:pt x="1176" y="1427"/>
                    </a:lnTo>
                    <a:lnTo>
                      <a:pt x="1174" y="1427"/>
                    </a:lnTo>
                    <a:lnTo>
                      <a:pt x="1174" y="1425"/>
                    </a:lnTo>
                    <a:lnTo>
                      <a:pt x="1174" y="1424"/>
                    </a:lnTo>
                    <a:lnTo>
                      <a:pt x="1173" y="1425"/>
                    </a:lnTo>
                    <a:lnTo>
                      <a:pt x="1173" y="1424"/>
                    </a:lnTo>
                    <a:lnTo>
                      <a:pt x="1171" y="1424"/>
                    </a:lnTo>
                    <a:lnTo>
                      <a:pt x="1173" y="1425"/>
                    </a:lnTo>
                    <a:lnTo>
                      <a:pt x="1173" y="1427"/>
                    </a:lnTo>
                    <a:lnTo>
                      <a:pt x="1171" y="1429"/>
                    </a:lnTo>
                    <a:lnTo>
                      <a:pt x="1171" y="1427"/>
                    </a:lnTo>
                    <a:lnTo>
                      <a:pt x="1171" y="1429"/>
                    </a:lnTo>
                    <a:lnTo>
                      <a:pt x="1171" y="1430"/>
                    </a:lnTo>
                    <a:lnTo>
                      <a:pt x="1171" y="1429"/>
                    </a:lnTo>
                    <a:lnTo>
                      <a:pt x="1169" y="1429"/>
                    </a:lnTo>
                    <a:lnTo>
                      <a:pt x="1169" y="1430"/>
                    </a:lnTo>
                    <a:lnTo>
                      <a:pt x="1171" y="1430"/>
                    </a:lnTo>
                    <a:lnTo>
                      <a:pt x="1169" y="1432"/>
                    </a:lnTo>
                    <a:lnTo>
                      <a:pt x="1168" y="1432"/>
                    </a:lnTo>
                    <a:lnTo>
                      <a:pt x="1168" y="1430"/>
                    </a:lnTo>
                    <a:lnTo>
                      <a:pt x="1168" y="1432"/>
                    </a:lnTo>
                    <a:lnTo>
                      <a:pt x="1166" y="1432"/>
                    </a:lnTo>
                    <a:lnTo>
                      <a:pt x="1168" y="1432"/>
                    </a:lnTo>
                    <a:lnTo>
                      <a:pt x="1166" y="1432"/>
                    </a:lnTo>
                    <a:lnTo>
                      <a:pt x="1166" y="1430"/>
                    </a:lnTo>
                    <a:lnTo>
                      <a:pt x="1166" y="1432"/>
                    </a:lnTo>
                    <a:lnTo>
                      <a:pt x="1164" y="1432"/>
                    </a:lnTo>
                    <a:lnTo>
                      <a:pt x="1164" y="1430"/>
                    </a:lnTo>
                    <a:lnTo>
                      <a:pt x="1164" y="1432"/>
                    </a:lnTo>
                    <a:lnTo>
                      <a:pt x="1164" y="1434"/>
                    </a:lnTo>
                    <a:lnTo>
                      <a:pt x="1162" y="1434"/>
                    </a:lnTo>
                    <a:lnTo>
                      <a:pt x="1161" y="1434"/>
                    </a:lnTo>
                    <a:lnTo>
                      <a:pt x="1162" y="1432"/>
                    </a:lnTo>
                    <a:lnTo>
                      <a:pt x="1161" y="1432"/>
                    </a:lnTo>
                    <a:lnTo>
                      <a:pt x="1162" y="1432"/>
                    </a:lnTo>
                    <a:lnTo>
                      <a:pt x="1161" y="1430"/>
                    </a:lnTo>
                    <a:lnTo>
                      <a:pt x="1162" y="1430"/>
                    </a:lnTo>
                    <a:lnTo>
                      <a:pt x="1164" y="1430"/>
                    </a:lnTo>
                    <a:lnTo>
                      <a:pt x="1164" y="1429"/>
                    </a:lnTo>
                    <a:lnTo>
                      <a:pt x="1166" y="1429"/>
                    </a:lnTo>
                    <a:lnTo>
                      <a:pt x="1168" y="1427"/>
                    </a:lnTo>
                    <a:lnTo>
                      <a:pt x="1169" y="1425"/>
                    </a:lnTo>
                    <a:lnTo>
                      <a:pt x="1168" y="1425"/>
                    </a:lnTo>
                    <a:lnTo>
                      <a:pt x="1168" y="1427"/>
                    </a:lnTo>
                    <a:lnTo>
                      <a:pt x="1168" y="1425"/>
                    </a:lnTo>
                    <a:lnTo>
                      <a:pt x="1168" y="1427"/>
                    </a:lnTo>
                    <a:lnTo>
                      <a:pt x="1166" y="1427"/>
                    </a:lnTo>
                    <a:lnTo>
                      <a:pt x="1164" y="1429"/>
                    </a:lnTo>
                    <a:lnTo>
                      <a:pt x="1164" y="1427"/>
                    </a:lnTo>
                    <a:lnTo>
                      <a:pt x="1162" y="1425"/>
                    </a:lnTo>
                    <a:lnTo>
                      <a:pt x="1164" y="1425"/>
                    </a:lnTo>
                    <a:lnTo>
                      <a:pt x="1164" y="1424"/>
                    </a:lnTo>
                    <a:lnTo>
                      <a:pt x="1166" y="1424"/>
                    </a:lnTo>
                    <a:lnTo>
                      <a:pt x="1166" y="1422"/>
                    </a:lnTo>
                    <a:lnTo>
                      <a:pt x="1168" y="1422"/>
                    </a:lnTo>
                    <a:lnTo>
                      <a:pt x="1168" y="1424"/>
                    </a:lnTo>
                    <a:lnTo>
                      <a:pt x="1168" y="1422"/>
                    </a:lnTo>
                    <a:lnTo>
                      <a:pt x="1168" y="1424"/>
                    </a:lnTo>
                    <a:lnTo>
                      <a:pt x="1168" y="1422"/>
                    </a:lnTo>
                    <a:lnTo>
                      <a:pt x="1169" y="1424"/>
                    </a:lnTo>
                    <a:lnTo>
                      <a:pt x="1169" y="1422"/>
                    </a:lnTo>
                    <a:lnTo>
                      <a:pt x="1168" y="1422"/>
                    </a:lnTo>
                    <a:lnTo>
                      <a:pt x="1168" y="1420"/>
                    </a:lnTo>
                    <a:lnTo>
                      <a:pt x="1169" y="1420"/>
                    </a:lnTo>
                    <a:lnTo>
                      <a:pt x="1171" y="1420"/>
                    </a:lnTo>
                    <a:lnTo>
                      <a:pt x="1169" y="1420"/>
                    </a:lnTo>
                    <a:lnTo>
                      <a:pt x="1169" y="1418"/>
                    </a:lnTo>
                    <a:lnTo>
                      <a:pt x="1171" y="1418"/>
                    </a:lnTo>
                    <a:lnTo>
                      <a:pt x="1171" y="1420"/>
                    </a:lnTo>
                    <a:lnTo>
                      <a:pt x="1171" y="1418"/>
                    </a:lnTo>
                    <a:lnTo>
                      <a:pt x="1173" y="1418"/>
                    </a:lnTo>
                    <a:lnTo>
                      <a:pt x="1174" y="1418"/>
                    </a:lnTo>
                    <a:lnTo>
                      <a:pt x="1176" y="1418"/>
                    </a:lnTo>
                    <a:close/>
                    <a:moveTo>
                      <a:pt x="1151" y="1379"/>
                    </a:moveTo>
                    <a:lnTo>
                      <a:pt x="1151" y="1381"/>
                    </a:lnTo>
                    <a:lnTo>
                      <a:pt x="1151" y="1379"/>
                    </a:lnTo>
                    <a:lnTo>
                      <a:pt x="1152" y="1379"/>
                    </a:lnTo>
                    <a:lnTo>
                      <a:pt x="1154" y="1379"/>
                    </a:lnTo>
                    <a:lnTo>
                      <a:pt x="1152" y="1381"/>
                    </a:lnTo>
                    <a:lnTo>
                      <a:pt x="1152" y="1383"/>
                    </a:lnTo>
                    <a:lnTo>
                      <a:pt x="1152" y="1381"/>
                    </a:lnTo>
                    <a:lnTo>
                      <a:pt x="1154" y="1381"/>
                    </a:lnTo>
                    <a:lnTo>
                      <a:pt x="1156" y="1381"/>
                    </a:lnTo>
                    <a:lnTo>
                      <a:pt x="1157" y="1381"/>
                    </a:lnTo>
                    <a:lnTo>
                      <a:pt x="1159" y="1381"/>
                    </a:lnTo>
                    <a:lnTo>
                      <a:pt x="1161" y="1381"/>
                    </a:lnTo>
                    <a:lnTo>
                      <a:pt x="1161" y="1383"/>
                    </a:lnTo>
                    <a:lnTo>
                      <a:pt x="1159" y="1383"/>
                    </a:lnTo>
                    <a:lnTo>
                      <a:pt x="1157" y="1384"/>
                    </a:lnTo>
                    <a:lnTo>
                      <a:pt x="1157" y="1383"/>
                    </a:lnTo>
                    <a:lnTo>
                      <a:pt x="1157" y="1384"/>
                    </a:lnTo>
                    <a:lnTo>
                      <a:pt x="1156" y="1384"/>
                    </a:lnTo>
                    <a:lnTo>
                      <a:pt x="1157" y="1386"/>
                    </a:lnTo>
                    <a:lnTo>
                      <a:pt x="1156" y="1386"/>
                    </a:lnTo>
                    <a:lnTo>
                      <a:pt x="1156" y="1388"/>
                    </a:lnTo>
                    <a:lnTo>
                      <a:pt x="1156" y="1386"/>
                    </a:lnTo>
                    <a:lnTo>
                      <a:pt x="1154" y="1386"/>
                    </a:lnTo>
                    <a:lnTo>
                      <a:pt x="1152" y="1384"/>
                    </a:lnTo>
                    <a:lnTo>
                      <a:pt x="1154" y="1383"/>
                    </a:lnTo>
                    <a:lnTo>
                      <a:pt x="1152" y="1384"/>
                    </a:lnTo>
                    <a:lnTo>
                      <a:pt x="1152" y="1386"/>
                    </a:lnTo>
                    <a:lnTo>
                      <a:pt x="1154" y="1388"/>
                    </a:lnTo>
                    <a:lnTo>
                      <a:pt x="1156" y="1388"/>
                    </a:lnTo>
                    <a:lnTo>
                      <a:pt x="1154" y="1390"/>
                    </a:lnTo>
                    <a:lnTo>
                      <a:pt x="1152" y="1390"/>
                    </a:lnTo>
                    <a:lnTo>
                      <a:pt x="1152" y="1388"/>
                    </a:lnTo>
                    <a:lnTo>
                      <a:pt x="1152" y="1390"/>
                    </a:lnTo>
                    <a:lnTo>
                      <a:pt x="1154" y="1390"/>
                    </a:lnTo>
                    <a:lnTo>
                      <a:pt x="1156" y="1390"/>
                    </a:lnTo>
                    <a:lnTo>
                      <a:pt x="1154" y="1391"/>
                    </a:lnTo>
                    <a:lnTo>
                      <a:pt x="1152" y="1391"/>
                    </a:lnTo>
                    <a:lnTo>
                      <a:pt x="1154" y="1391"/>
                    </a:lnTo>
                    <a:lnTo>
                      <a:pt x="1154" y="1393"/>
                    </a:lnTo>
                    <a:lnTo>
                      <a:pt x="1152" y="1393"/>
                    </a:lnTo>
                    <a:lnTo>
                      <a:pt x="1154" y="1393"/>
                    </a:lnTo>
                    <a:lnTo>
                      <a:pt x="1154" y="1395"/>
                    </a:lnTo>
                    <a:lnTo>
                      <a:pt x="1154" y="1396"/>
                    </a:lnTo>
                    <a:lnTo>
                      <a:pt x="1152" y="1398"/>
                    </a:lnTo>
                    <a:lnTo>
                      <a:pt x="1152" y="1396"/>
                    </a:lnTo>
                    <a:lnTo>
                      <a:pt x="1152" y="1398"/>
                    </a:lnTo>
                    <a:lnTo>
                      <a:pt x="1152" y="1396"/>
                    </a:lnTo>
                    <a:lnTo>
                      <a:pt x="1152" y="1395"/>
                    </a:lnTo>
                    <a:lnTo>
                      <a:pt x="1152" y="1396"/>
                    </a:lnTo>
                    <a:lnTo>
                      <a:pt x="1151" y="1396"/>
                    </a:lnTo>
                    <a:lnTo>
                      <a:pt x="1149" y="1396"/>
                    </a:lnTo>
                    <a:lnTo>
                      <a:pt x="1149" y="1395"/>
                    </a:lnTo>
                    <a:lnTo>
                      <a:pt x="1147" y="1395"/>
                    </a:lnTo>
                    <a:lnTo>
                      <a:pt x="1149" y="1395"/>
                    </a:lnTo>
                    <a:lnTo>
                      <a:pt x="1147" y="1395"/>
                    </a:lnTo>
                    <a:lnTo>
                      <a:pt x="1149" y="1393"/>
                    </a:lnTo>
                    <a:lnTo>
                      <a:pt x="1147" y="1393"/>
                    </a:lnTo>
                    <a:lnTo>
                      <a:pt x="1147" y="1391"/>
                    </a:lnTo>
                    <a:lnTo>
                      <a:pt x="1149" y="1391"/>
                    </a:lnTo>
                    <a:lnTo>
                      <a:pt x="1151" y="1391"/>
                    </a:lnTo>
                    <a:lnTo>
                      <a:pt x="1149" y="1391"/>
                    </a:lnTo>
                    <a:lnTo>
                      <a:pt x="1149" y="1390"/>
                    </a:lnTo>
                    <a:lnTo>
                      <a:pt x="1147" y="1391"/>
                    </a:lnTo>
                    <a:lnTo>
                      <a:pt x="1147" y="1390"/>
                    </a:lnTo>
                    <a:lnTo>
                      <a:pt x="1145" y="1390"/>
                    </a:lnTo>
                    <a:lnTo>
                      <a:pt x="1147" y="1388"/>
                    </a:lnTo>
                    <a:lnTo>
                      <a:pt x="1147" y="1390"/>
                    </a:lnTo>
                    <a:lnTo>
                      <a:pt x="1149" y="1390"/>
                    </a:lnTo>
                    <a:lnTo>
                      <a:pt x="1147" y="1388"/>
                    </a:lnTo>
                    <a:lnTo>
                      <a:pt x="1147" y="1386"/>
                    </a:lnTo>
                    <a:lnTo>
                      <a:pt x="1149" y="1386"/>
                    </a:lnTo>
                    <a:lnTo>
                      <a:pt x="1147" y="1386"/>
                    </a:lnTo>
                    <a:lnTo>
                      <a:pt x="1149" y="1386"/>
                    </a:lnTo>
                    <a:lnTo>
                      <a:pt x="1151" y="1388"/>
                    </a:lnTo>
                    <a:lnTo>
                      <a:pt x="1151" y="1386"/>
                    </a:lnTo>
                    <a:lnTo>
                      <a:pt x="1149" y="1386"/>
                    </a:lnTo>
                    <a:lnTo>
                      <a:pt x="1151" y="1386"/>
                    </a:lnTo>
                    <a:lnTo>
                      <a:pt x="1151" y="1384"/>
                    </a:lnTo>
                    <a:lnTo>
                      <a:pt x="1149" y="1386"/>
                    </a:lnTo>
                    <a:lnTo>
                      <a:pt x="1149" y="1384"/>
                    </a:lnTo>
                    <a:lnTo>
                      <a:pt x="1147" y="1383"/>
                    </a:lnTo>
                    <a:lnTo>
                      <a:pt x="1147" y="1381"/>
                    </a:lnTo>
                    <a:lnTo>
                      <a:pt x="1147" y="1379"/>
                    </a:lnTo>
                    <a:lnTo>
                      <a:pt x="1149" y="1381"/>
                    </a:lnTo>
                    <a:lnTo>
                      <a:pt x="1149" y="1379"/>
                    </a:lnTo>
                    <a:lnTo>
                      <a:pt x="1147" y="1379"/>
                    </a:lnTo>
                    <a:lnTo>
                      <a:pt x="1149" y="1379"/>
                    </a:lnTo>
                    <a:lnTo>
                      <a:pt x="1151" y="1379"/>
                    </a:lnTo>
                    <a:close/>
                    <a:moveTo>
                      <a:pt x="1147" y="1293"/>
                    </a:moveTo>
                    <a:lnTo>
                      <a:pt x="1149" y="1293"/>
                    </a:lnTo>
                    <a:lnTo>
                      <a:pt x="1147" y="1294"/>
                    </a:lnTo>
                    <a:lnTo>
                      <a:pt x="1147" y="1296"/>
                    </a:lnTo>
                    <a:lnTo>
                      <a:pt x="1145" y="1296"/>
                    </a:lnTo>
                    <a:lnTo>
                      <a:pt x="1147" y="1296"/>
                    </a:lnTo>
                    <a:lnTo>
                      <a:pt x="1147" y="1294"/>
                    </a:lnTo>
                    <a:lnTo>
                      <a:pt x="1149" y="1294"/>
                    </a:lnTo>
                    <a:lnTo>
                      <a:pt x="1149" y="1293"/>
                    </a:lnTo>
                    <a:lnTo>
                      <a:pt x="1151" y="1293"/>
                    </a:lnTo>
                    <a:lnTo>
                      <a:pt x="1151" y="1294"/>
                    </a:lnTo>
                    <a:lnTo>
                      <a:pt x="1149" y="1294"/>
                    </a:lnTo>
                    <a:lnTo>
                      <a:pt x="1149" y="1296"/>
                    </a:lnTo>
                    <a:lnTo>
                      <a:pt x="1151" y="1294"/>
                    </a:lnTo>
                    <a:lnTo>
                      <a:pt x="1151" y="1296"/>
                    </a:lnTo>
                    <a:lnTo>
                      <a:pt x="1152" y="1296"/>
                    </a:lnTo>
                    <a:lnTo>
                      <a:pt x="1152" y="1298"/>
                    </a:lnTo>
                    <a:lnTo>
                      <a:pt x="1152" y="1296"/>
                    </a:lnTo>
                    <a:lnTo>
                      <a:pt x="1152" y="1294"/>
                    </a:lnTo>
                    <a:lnTo>
                      <a:pt x="1151" y="1294"/>
                    </a:lnTo>
                    <a:lnTo>
                      <a:pt x="1152" y="1293"/>
                    </a:lnTo>
                    <a:lnTo>
                      <a:pt x="1151" y="1294"/>
                    </a:lnTo>
                    <a:lnTo>
                      <a:pt x="1152" y="1293"/>
                    </a:lnTo>
                    <a:lnTo>
                      <a:pt x="1154" y="1294"/>
                    </a:lnTo>
                    <a:lnTo>
                      <a:pt x="1156" y="1294"/>
                    </a:lnTo>
                    <a:lnTo>
                      <a:pt x="1156" y="1296"/>
                    </a:lnTo>
                    <a:lnTo>
                      <a:pt x="1156" y="1298"/>
                    </a:lnTo>
                    <a:lnTo>
                      <a:pt x="1156" y="1299"/>
                    </a:lnTo>
                    <a:lnTo>
                      <a:pt x="1156" y="1301"/>
                    </a:lnTo>
                    <a:lnTo>
                      <a:pt x="1157" y="1301"/>
                    </a:lnTo>
                    <a:lnTo>
                      <a:pt x="1157" y="1303"/>
                    </a:lnTo>
                    <a:lnTo>
                      <a:pt x="1157" y="1305"/>
                    </a:lnTo>
                    <a:lnTo>
                      <a:pt x="1156" y="1305"/>
                    </a:lnTo>
                    <a:lnTo>
                      <a:pt x="1156" y="1306"/>
                    </a:lnTo>
                    <a:lnTo>
                      <a:pt x="1156" y="1305"/>
                    </a:lnTo>
                    <a:lnTo>
                      <a:pt x="1154" y="1306"/>
                    </a:lnTo>
                    <a:lnTo>
                      <a:pt x="1154" y="1305"/>
                    </a:lnTo>
                    <a:lnTo>
                      <a:pt x="1154" y="1303"/>
                    </a:lnTo>
                    <a:lnTo>
                      <a:pt x="1154" y="1301"/>
                    </a:lnTo>
                    <a:lnTo>
                      <a:pt x="1154" y="1299"/>
                    </a:lnTo>
                    <a:lnTo>
                      <a:pt x="1154" y="1298"/>
                    </a:lnTo>
                    <a:lnTo>
                      <a:pt x="1152" y="1299"/>
                    </a:lnTo>
                    <a:lnTo>
                      <a:pt x="1151" y="1299"/>
                    </a:lnTo>
                    <a:lnTo>
                      <a:pt x="1152" y="1298"/>
                    </a:lnTo>
                    <a:lnTo>
                      <a:pt x="1151" y="1299"/>
                    </a:lnTo>
                    <a:lnTo>
                      <a:pt x="1151" y="1301"/>
                    </a:lnTo>
                    <a:lnTo>
                      <a:pt x="1149" y="1301"/>
                    </a:lnTo>
                    <a:lnTo>
                      <a:pt x="1149" y="1303"/>
                    </a:lnTo>
                    <a:lnTo>
                      <a:pt x="1147" y="1305"/>
                    </a:lnTo>
                    <a:lnTo>
                      <a:pt x="1145" y="1303"/>
                    </a:lnTo>
                    <a:lnTo>
                      <a:pt x="1144" y="1301"/>
                    </a:lnTo>
                    <a:lnTo>
                      <a:pt x="1145" y="1301"/>
                    </a:lnTo>
                    <a:lnTo>
                      <a:pt x="1147" y="1299"/>
                    </a:lnTo>
                    <a:lnTo>
                      <a:pt x="1147" y="1301"/>
                    </a:lnTo>
                    <a:lnTo>
                      <a:pt x="1147" y="1299"/>
                    </a:lnTo>
                    <a:lnTo>
                      <a:pt x="1149" y="1299"/>
                    </a:lnTo>
                    <a:lnTo>
                      <a:pt x="1147" y="1299"/>
                    </a:lnTo>
                    <a:lnTo>
                      <a:pt x="1147" y="1298"/>
                    </a:lnTo>
                    <a:lnTo>
                      <a:pt x="1147" y="1299"/>
                    </a:lnTo>
                    <a:lnTo>
                      <a:pt x="1145" y="1299"/>
                    </a:lnTo>
                    <a:lnTo>
                      <a:pt x="1145" y="1301"/>
                    </a:lnTo>
                    <a:lnTo>
                      <a:pt x="1144" y="1299"/>
                    </a:lnTo>
                    <a:lnTo>
                      <a:pt x="1142" y="1299"/>
                    </a:lnTo>
                    <a:lnTo>
                      <a:pt x="1142" y="1298"/>
                    </a:lnTo>
                    <a:lnTo>
                      <a:pt x="1142" y="1299"/>
                    </a:lnTo>
                    <a:lnTo>
                      <a:pt x="1142" y="1298"/>
                    </a:lnTo>
                    <a:lnTo>
                      <a:pt x="1142" y="1296"/>
                    </a:lnTo>
                    <a:lnTo>
                      <a:pt x="1142" y="1294"/>
                    </a:lnTo>
                    <a:lnTo>
                      <a:pt x="1144" y="1293"/>
                    </a:lnTo>
                    <a:lnTo>
                      <a:pt x="1145" y="1294"/>
                    </a:lnTo>
                    <a:lnTo>
                      <a:pt x="1144" y="1293"/>
                    </a:lnTo>
                    <a:lnTo>
                      <a:pt x="1145" y="1293"/>
                    </a:lnTo>
                    <a:lnTo>
                      <a:pt x="1144" y="1293"/>
                    </a:lnTo>
                    <a:lnTo>
                      <a:pt x="1145" y="1293"/>
                    </a:lnTo>
                    <a:lnTo>
                      <a:pt x="1145" y="1291"/>
                    </a:lnTo>
                    <a:lnTo>
                      <a:pt x="1147" y="1293"/>
                    </a:lnTo>
                    <a:close/>
                    <a:moveTo>
                      <a:pt x="1168" y="1442"/>
                    </a:moveTo>
                    <a:lnTo>
                      <a:pt x="1169" y="1442"/>
                    </a:lnTo>
                    <a:lnTo>
                      <a:pt x="1171" y="1442"/>
                    </a:lnTo>
                    <a:lnTo>
                      <a:pt x="1171" y="1444"/>
                    </a:lnTo>
                    <a:lnTo>
                      <a:pt x="1169" y="1444"/>
                    </a:lnTo>
                    <a:lnTo>
                      <a:pt x="1171" y="1444"/>
                    </a:lnTo>
                    <a:lnTo>
                      <a:pt x="1169" y="1446"/>
                    </a:lnTo>
                    <a:lnTo>
                      <a:pt x="1171" y="1446"/>
                    </a:lnTo>
                    <a:lnTo>
                      <a:pt x="1171" y="1447"/>
                    </a:lnTo>
                    <a:lnTo>
                      <a:pt x="1169" y="1447"/>
                    </a:lnTo>
                    <a:lnTo>
                      <a:pt x="1169" y="1449"/>
                    </a:lnTo>
                    <a:lnTo>
                      <a:pt x="1169" y="1447"/>
                    </a:lnTo>
                    <a:lnTo>
                      <a:pt x="1171" y="1447"/>
                    </a:lnTo>
                    <a:lnTo>
                      <a:pt x="1171" y="1449"/>
                    </a:lnTo>
                    <a:lnTo>
                      <a:pt x="1171" y="1451"/>
                    </a:lnTo>
                    <a:lnTo>
                      <a:pt x="1169" y="1451"/>
                    </a:lnTo>
                    <a:lnTo>
                      <a:pt x="1171" y="1451"/>
                    </a:lnTo>
                    <a:lnTo>
                      <a:pt x="1171" y="1453"/>
                    </a:lnTo>
                    <a:lnTo>
                      <a:pt x="1171" y="1454"/>
                    </a:lnTo>
                    <a:lnTo>
                      <a:pt x="1169" y="1454"/>
                    </a:lnTo>
                    <a:lnTo>
                      <a:pt x="1169" y="1456"/>
                    </a:lnTo>
                    <a:lnTo>
                      <a:pt x="1169" y="1458"/>
                    </a:lnTo>
                    <a:lnTo>
                      <a:pt x="1169" y="1459"/>
                    </a:lnTo>
                    <a:lnTo>
                      <a:pt x="1168" y="1459"/>
                    </a:lnTo>
                    <a:lnTo>
                      <a:pt x="1169" y="1459"/>
                    </a:lnTo>
                    <a:lnTo>
                      <a:pt x="1169" y="1461"/>
                    </a:lnTo>
                    <a:lnTo>
                      <a:pt x="1168" y="1461"/>
                    </a:lnTo>
                    <a:lnTo>
                      <a:pt x="1169" y="1461"/>
                    </a:lnTo>
                    <a:lnTo>
                      <a:pt x="1168" y="1461"/>
                    </a:lnTo>
                    <a:lnTo>
                      <a:pt x="1168" y="1463"/>
                    </a:lnTo>
                    <a:lnTo>
                      <a:pt x="1166" y="1463"/>
                    </a:lnTo>
                    <a:lnTo>
                      <a:pt x="1168" y="1463"/>
                    </a:lnTo>
                    <a:lnTo>
                      <a:pt x="1168" y="1464"/>
                    </a:lnTo>
                    <a:lnTo>
                      <a:pt x="1166" y="1464"/>
                    </a:lnTo>
                    <a:lnTo>
                      <a:pt x="1168" y="1466"/>
                    </a:lnTo>
                    <a:lnTo>
                      <a:pt x="1166" y="1468"/>
                    </a:lnTo>
                    <a:lnTo>
                      <a:pt x="1164" y="1468"/>
                    </a:lnTo>
                    <a:lnTo>
                      <a:pt x="1166" y="1470"/>
                    </a:lnTo>
                    <a:lnTo>
                      <a:pt x="1166" y="1468"/>
                    </a:lnTo>
                    <a:lnTo>
                      <a:pt x="1166" y="1470"/>
                    </a:lnTo>
                    <a:lnTo>
                      <a:pt x="1164" y="1470"/>
                    </a:lnTo>
                    <a:lnTo>
                      <a:pt x="1164" y="1468"/>
                    </a:lnTo>
                    <a:lnTo>
                      <a:pt x="1166" y="1466"/>
                    </a:lnTo>
                    <a:lnTo>
                      <a:pt x="1164" y="1468"/>
                    </a:lnTo>
                    <a:lnTo>
                      <a:pt x="1164" y="1470"/>
                    </a:lnTo>
                    <a:lnTo>
                      <a:pt x="1162" y="1470"/>
                    </a:lnTo>
                    <a:lnTo>
                      <a:pt x="1162" y="1468"/>
                    </a:lnTo>
                    <a:lnTo>
                      <a:pt x="1164" y="1468"/>
                    </a:lnTo>
                    <a:lnTo>
                      <a:pt x="1164" y="1466"/>
                    </a:lnTo>
                    <a:lnTo>
                      <a:pt x="1164" y="1464"/>
                    </a:lnTo>
                    <a:lnTo>
                      <a:pt x="1164" y="1466"/>
                    </a:lnTo>
                    <a:lnTo>
                      <a:pt x="1162" y="1466"/>
                    </a:lnTo>
                    <a:lnTo>
                      <a:pt x="1164" y="1464"/>
                    </a:lnTo>
                    <a:lnTo>
                      <a:pt x="1162" y="1464"/>
                    </a:lnTo>
                    <a:lnTo>
                      <a:pt x="1162" y="1466"/>
                    </a:lnTo>
                    <a:lnTo>
                      <a:pt x="1162" y="1464"/>
                    </a:lnTo>
                    <a:lnTo>
                      <a:pt x="1161" y="1464"/>
                    </a:lnTo>
                    <a:lnTo>
                      <a:pt x="1161" y="1463"/>
                    </a:lnTo>
                    <a:lnTo>
                      <a:pt x="1161" y="1461"/>
                    </a:lnTo>
                    <a:lnTo>
                      <a:pt x="1162" y="1461"/>
                    </a:lnTo>
                    <a:lnTo>
                      <a:pt x="1164" y="1459"/>
                    </a:lnTo>
                    <a:lnTo>
                      <a:pt x="1162" y="1459"/>
                    </a:lnTo>
                    <a:lnTo>
                      <a:pt x="1162" y="1458"/>
                    </a:lnTo>
                    <a:lnTo>
                      <a:pt x="1162" y="1456"/>
                    </a:lnTo>
                    <a:lnTo>
                      <a:pt x="1164" y="1456"/>
                    </a:lnTo>
                    <a:lnTo>
                      <a:pt x="1164" y="1454"/>
                    </a:lnTo>
                    <a:lnTo>
                      <a:pt x="1164" y="1453"/>
                    </a:lnTo>
                    <a:lnTo>
                      <a:pt x="1164" y="1451"/>
                    </a:lnTo>
                    <a:lnTo>
                      <a:pt x="1166" y="1453"/>
                    </a:lnTo>
                    <a:lnTo>
                      <a:pt x="1164" y="1453"/>
                    </a:lnTo>
                    <a:lnTo>
                      <a:pt x="1166" y="1454"/>
                    </a:lnTo>
                    <a:lnTo>
                      <a:pt x="1166" y="1456"/>
                    </a:lnTo>
                    <a:lnTo>
                      <a:pt x="1166" y="1454"/>
                    </a:lnTo>
                    <a:lnTo>
                      <a:pt x="1166" y="1456"/>
                    </a:lnTo>
                    <a:lnTo>
                      <a:pt x="1164" y="1458"/>
                    </a:lnTo>
                    <a:lnTo>
                      <a:pt x="1166" y="1458"/>
                    </a:lnTo>
                    <a:lnTo>
                      <a:pt x="1166" y="1456"/>
                    </a:lnTo>
                    <a:lnTo>
                      <a:pt x="1166" y="1458"/>
                    </a:lnTo>
                    <a:lnTo>
                      <a:pt x="1166" y="1456"/>
                    </a:lnTo>
                    <a:lnTo>
                      <a:pt x="1168" y="1454"/>
                    </a:lnTo>
                    <a:lnTo>
                      <a:pt x="1168" y="1456"/>
                    </a:lnTo>
                    <a:lnTo>
                      <a:pt x="1168" y="1458"/>
                    </a:lnTo>
                    <a:lnTo>
                      <a:pt x="1168" y="1459"/>
                    </a:lnTo>
                    <a:lnTo>
                      <a:pt x="1168" y="1458"/>
                    </a:lnTo>
                    <a:lnTo>
                      <a:pt x="1168" y="1456"/>
                    </a:lnTo>
                    <a:lnTo>
                      <a:pt x="1168" y="1454"/>
                    </a:lnTo>
                    <a:lnTo>
                      <a:pt x="1169" y="1454"/>
                    </a:lnTo>
                    <a:lnTo>
                      <a:pt x="1169" y="1453"/>
                    </a:lnTo>
                    <a:lnTo>
                      <a:pt x="1168" y="1454"/>
                    </a:lnTo>
                    <a:lnTo>
                      <a:pt x="1168" y="1453"/>
                    </a:lnTo>
                    <a:lnTo>
                      <a:pt x="1168" y="1451"/>
                    </a:lnTo>
                    <a:lnTo>
                      <a:pt x="1168" y="1453"/>
                    </a:lnTo>
                    <a:lnTo>
                      <a:pt x="1168" y="1451"/>
                    </a:lnTo>
                    <a:lnTo>
                      <a:pt x="1166" y="1451"/>
                    </a:lnTo>
                    <a:lnTo>
                      <a:pt x="1168" y="1449"/>
                    </a:lnTo>
                    <a:lnTo>
                      <a:pt x="1169" y="1449"/>
                    </a:lnTo>
                    <a:lnTo>
                      <a:pt x="1168" y="1447"/>
                    </a:lnTo>
                    <a:lnTo>
                      <a:pt x="1166" y="1446"/>
                    </a:lnTo>
                    <a:lnTo>
                      <a:pt x="1166" y="1444"/>
                    </a:lnTo>
                    <a:lnTo>
                      <a:pt x="1168" y="1444"/>
                    </a:lnTo>
                    <a:lnTo>
                      <a:pt x="1166" y="1444"/>
                    </a:lnTo>
                    <a:lnTo>
                      <a:pt x="1164" y="1444"/>
                    </a:lnTo>
                    <a:lnTo>
                      <a:pt x="1166" y="1442"/>
                    </a:lnTo>
                    <a:lnTo>
                      <a:pt x="1168" y="1441"/>
                    </a:lnTo>
                    <a:lnTo>
                      <a:pt x="1168" y="1442"/>
                    </a:lnTo>
                    <a:close/>
                    <a:moveTo>
                      <a:pt x="1188" y="1468"/>
                    </a:moveTo>
                    <a:lnTo>
                      <a:pt x="1190" y="1468"/>
                    </a:lnTo>
                    <a:lnTo>
                      <a:pt x="1190" y="1470"/>
                    </a:lnTo>
                    <a:lnTo>
                      <a:pt x="1191" y="1470"/>
                    </a:lnTo>
                    <a:lnTo>
                      <a:pt x="1191" y="1471"/>
                    </a:lnTo>
                    <a:lnTo>
                      <a:pt x="1193" y="1471"/>
                    </a:lnTo>
                    <a:lnTo>
                      <a:pt x="1193" y="1473"/>
                    </a:lnTo>
                    <a:lnTo>
                      <a:pt x="1195" y="1473"/>
                    </a:lnTo>
                    <a:lnTo>
                      <a:pt x="1195" y="1475"/>
                    </a:lnTo>
                    <a:lnTo>
                      <a:pt x="1196" y="1476"/>
                    </a:lnTo>
                    <a:lnTo>
                      <a:pt x="1196" y="1478"/>
                    </a:lnTo>
                    <a:lnTo>
                      <a:pt x="1198" y="1480"/>
                    </a:lnTo>
                    <a:lnTo>
                      <a:pt x="1196" y="1478"/>
                    </a:lnTo>
                    <a:lnTo>
                      <a:pt x="1198" y="1478"/>
                    </a:lnTo>
                    <a:lnTo>
                      <a:pt x="1198" y="1480"/>
                    </a:lnTo>
                    <a:lnTo>
                      <a:pt x="1200" y="1480"/>
                    </a:lnTo>
                    <a:lnTo>
                      <a:pt x="1200" y="1481"/>
                    </a:lnTo>
                    <a:lnTo>
                      <a:pt x="1198" y="1481"/>
                    </a:lnTo>
                    <a:lnTo>
                      <a:pt x="1198" y="1480"/>
                    </a:lnTo>
                    <a:lnTo>
                      <a:pt x="1196" y="1480"/>
                    </a:lnTo>
                    <a:lnTo>
                      <a:pt x="1198" y="1481"/>
                    </a:lnTo>
                    <a:lnTo>
                      <a:pt x="1198" y="1483"/>
                    </a:lnTo>
                    <a:lnTo>
                      <a:pt x="1196" y="1483"/>
                    </a:lnTo>
                    <a:lnTo>
                      <a:pt x="1196" y="1481"/>
                    </a:lnTo>
                    <a:lnTo>
                      <a:pt x="1195" y="1481"/>
                    </a:lnTo>
                    <a:lnTo>
                      <a:pt x="1195" y="1480"/>
                    </a:lnTo>
                    <a:lnTo>
                      <a:pt x="1196" y="1481"/>
                    </a:lnTo>
                    <a:lnTo>
                      <a:pt x="1196" y="1483"/>
                    </a:lnTo>
                    <a:lnTo>
                      <a:pt x="1195" y="1481"/>
                    </a:lnTo>
                    <a:lnTo>
                      <a:pt x="1196" y="1483"/>
                    </a:lnTo>
                    <a:lnTo>
                      <a:pt x="1195" y="1485"/>
                    </a:lnTo>
                    <a:lnTo>
                      <a:pt x="1195" y="1483"/>
                    </a:lnTo>
                    <a:lnTo>
                      <a:pt x="1193" y="1485"/>
                    </a:lnTo>
                    <a:lnTo>
                      <a:pt x="1191" y="1485"/>
                    </a:lnTo>
                    <a:lnTo>
                      <a:pt x="1191" y="1483"/>
                    </a:lnTo>
                    <a:lnTo>
                      <a:pt x="1191" y="1485"/>
                    </a:lnTo>
                    <a:lnTo>
                      <a:pt x="1190" y="1485"/>
                    </a:lnTo>
                    <a:lnTo>
                      <a:pt x="1191" y="1483"/>
                    </a:lnTo>
                    <a:lnTo>
                      <a:pt x="1190" y="1481"/>
                    </a:lnTo>
                    <a:lnTo>
                      <a:pt x="1191" y="1481"/>
                    </a:lnTo>
                    <a:lnTo>
                      <a:pt x="1191" y="1480"/>
                    </a:lnTo>
                    <a:lnTo>
                      <a:pt x="1193" y="1480"/>
                    </a:lnTo>
                    <a:lnTo>
                      <a:pt x="1191" y="1480"/>
                    </a:lnTo>
                    <a:lnTo>
                      <a:pt x="1191" y="1481"/>
                    </a:lnTo>
                    <a:lnTo>
                      <a:pt x="1190" y="1481"/>
                    </a:lnTo>
                    <a:lnTo>
                      <a:pt x="1188" y="1481"/>
                    </a:lnTo>
                    <a:lnTo>
                      <a:pt x="1188" y="1483"/>
                    </a:lnTo>
                    <a:lnTo>
                      <a:pt x="1188" y="1481"/>
                    </a:lnTo>
                    <a:lnTo>
                      <a:pt x="1188" y="1480"/>
                    </a:lnTo>
                    <a:lnTo>
                      <a:pt x="1190" y="1480"/>
                    </a:lnTo>
                    <a:lnTo>
                      <a:pt x="1191" y="1480"/>
                    </a:lnTo>
                    <a:lnTo>
                      <a:pt x="1191" y="1478"/>
                    </a:lnTo>
                    <a:lnTo>
                      <a:pt x="1191" y="1480"/>
                    </a:lnTo>
                    <a:lnTo>
                      <a:pt x="1190" y="1478"/>
                    </a:lnTo>
                    <a:lnTo>
                      <a:pt x="1190" y="1476"/>
                    </a:lnTo>
                    <a:lnTo>
                      <a:pt x="1190" y="1475"/>
                    </a:lnTo>
                    <a:lnTo>
                      <a:pt x="1191" y="1475"/>
                    </a:lnTo>
                    <a:lnTo>
                      <a:pt x="1191" y="1476"/>
                    </a:lnTo>
                    <a:lnTo>
                      <a:pt x="1191" y="1475"/>
                    </a:lnTo>
                    <a:lnTo>
                      <a:pt x="1191" y="1473"/>
                    </a:lnTo>
                    <a:lnTo>
                      <a:pt x="1190" y="1475"/>
                    </a:lnTo>
                    <a:lnTo>
                      <a:pt x="1190" y="1473"/>
                    </a:lnTo>
                    <a:lnTo>
                      <a:pt x="1188" y="1473"/>
                    </a:lnTo>
                    <a:lnTo>
                      <a:pt x="1190" y="1473"/>
                    </a:lnTo>
                    <a:lnTo>
                      <a:pt x="1188" y="1473"/>
                    </a:lnTo>
                    <a:lnTo>
                      <a:pt x="1186" y="1473"/>
                    </a:lnTo>
                    <a:lnTo>
                      <a:pt x="1186" y="1475"/>
                    </a:lnTo>
                    <a:lnTo>
                      <a:pt x="1185" y="1473"/>
                    </a:lnTo>
                    <a:lnTo>
                      <a:pt x="1185" y="1471"/>
                    </a:lnTo>
                    <a:lnTo>
                      <a:pt x="1183" y="1473"/>
                    </a:lnTo>
                    <a:lnTo>
                      <a:pt x="1181" y="1473"/>
                    </a:lnTo>
                    <a:lnTo>
                      <a:pt x="1181" y="1471"/>
                    </a:lnTo>
                    <a:lnTo>
                      <a:pt x="1183" y="1470"/>
                    </a:lnTo>
                    <a:lnTo>
                      <a:pt x="1183" y="1471"/>
                    </a:lnTo>
                    <a:lnTo>
                      <a:pt x="1185" y="1471"/>
                    </a:lnTo>
                    <a:lnTo>
                      <a:pt x="1185" y="1473"/>
                    </a:lnTo>
                    <a:lnTo>
                      <a:pt x="1186" y="1473"/>
                    </a:lnTo>
                    <a:lnTo>
                      <a:pt x="1185" y="1473"/>
                    </a:lnTo>
                    <a:lnTo>
                      <a:pt x="1186" y="1473"/>
                    </a:lnTo>
                    <a:lnTo>
                      <a:pt x="1186" y="1471"/>
                    </a:lnTo>
                    <a:lnTo>
                      <a:pt x="1185" y="1471"/>
                    </a:lnTo>
                    <a:lnTo>
                      <a:pt x="1183" y="1471"/>
                    </a:lnTo>
                    <a:lnTo>
                      <a:pt x="1183" y="1470"/>
                    </a:lnTo>
                    <a:lnTo>
                      <a:pt x="1185" y="1470"/>
                    </a:lnTo>
                    <a:lnTo>
                      <a:pt x="1185" y="1468"/>
                    </a:lnTo>
                    <a:lnTo>
                      <a:pt x="1186" y="1468"/>
                    </a:lnTo>
                    <a:lnTo>
                      <a:pt x="1188" y="1468"/>
                    </a:lnTo>
                    <a:close/>
                    <a:moveTo>
                      <a:pt x="1195" y="1437"/>
                    </a:moveTo>
                    <a:lnTo>
                      <a:pt x="1195" y="1439"/>
                    </a:lnTo>
                    <a:lnTo>
                      <a:pt x="1193" y="1437"/>
                    </a:lnTo>
                    <a:lnTo>
                      <a:pt x="1195" y="1439"/>
                    </a:lnTo>
                    <a:lnTo>
                      <a:pt x="1195" y="1441"/>
                    </a:lnTo>
                    <a:lnTo>
                      <a:pt x="1196" y="1441"/>
                    </a:lnTo>
                    <a:lnTo>
                      <a:pt x="1195" y="1442"/>
                    </a:lnTo>
                    <a:lnTo>
                      <a:pt x="1196" y="1442"/>
                    </a:lnTo>
                    <a:lnTo>
                      <a:pt x="1196" y="1444"/>
                    </a:lnTo>
                    <a:lnTo>
                      <a:pt x="1196" y="1446"/>
                    </a:lnTo>
                    <a:lnTo>
                      <a:pt x="1195" y="1446"/>
                    </a:lnTo>
                    <a:lnTo>
                      <a:pt x="1196" y="1447"/>
                    </a:lnTo>
                    <a:lnTo>
                      <a:pt x="1198" y="1447"/>
                    </a:lnTo>
                    <a:lnTo>
                      <a:pt x="1198" y="1446"/>
                    </a:lnTo>
                    <a:lnTo>
                      <a:pt x="1198" y="1447"/>
                    </a:lnTo>
                    <a:lnTo>
                      <a:pt x="1198" y="1449"/>
                    </a:lnTo>
                    <a:lnTo>
                      <a:pt x="1200" y="1449"/>
                    </a:lnTo>
                    <a:lnTo>
                      <a:pt x="1198" y="1451"/>
                    </a:lnTo>
                    <a:lnTo>
                      <a:pt x="1200" y="1451"/>
                    </a:lnTo>
                    <a:lnTo>
                      <a:pt x="1202" y="1453"/>
                    </a:lnTo>
                    <a:lnTo>
                      <a:pt x="1203" y="1454"/>
                    </a:lnTo>
                    <a:lnTo>
                      <a:pt x="1203" y="1456"/>
                    </a:lnTo>
                    <a:lnTo>
                      <a:pt x="1203" y="1458"/>
                    </a:lnTo>
                    <a:lnTo>
                      <a:pt x="1205" y="1458"/>
                    </a:lnTo>
                    <a:lnTo>
                      <a:pt x="1205" y="1459"/>
                    </a:lnTo>
                    <a:lnTo>
                      <a:pt x="1207" y="1461"/>
                    </a:lnTo>
                    <a:lnTo>
                      <a:pt x="1207" y="1463"/>
                    </a:lnTo>
                    <a:lnTo>
                      <a:pt x="1205" y="1463"/>
                    </a:lnTo>
                    <a:lnTo>
                      <a:pt x="1203" y="1463"/>
                    </a:lnTo>
                    <a:lnTo>
                      <a:pt x="1203" y="1461"/>
                    </a:lnTo>
                    <a:lnTo>
                      <a:pt x="1202" y="1459"/>
                    </a:lnTo>
                    <a:lnTo>
                      <a:pt x="1202" y="1458"/>
                    </a:lnTo>
                    <a:lnTo>
                      <a:pt x="1203" y="1458"/>
                    </a:lnTo>
                    <a:lnTo>
                      <a:pt x="1202" y="1458"/>
                    </a:lnTo>
                    <a:lnTo>
                      <a:pt x="1200" y="1458"/>
                    </a:lnTo>
                    <a:lnTo>
                      <a:pt x="1202" y="1458"/>
                    </a:lnTo>
                    <a:lnTo>
                      <a:pt x="1200" y="1456"/>
                    </a:lnTo>
                    <a:lnTo>
                      <a:pt x="1202" y="1456"/>
                    </a:lnTo>
                    <a:lnTo>
                      <a:pt x="1200" y="1456"/>
                    </a:lnTo>
                    <a:lnTo>
                      <a:pt x="1198" y="1456"/>
                    </a:lnTo>
                    <a:lnTo>
                      <a:pt x="1198" y="1454"/>
                    </a:lnTo>
                    <a:lnTo>
                      <a:pt x="1198" y="1453"/>
                    </a:lnTo>
                    <a:lnTo>
                      <a:pt x="1196" y="1453"/>
                    </a:lnTo>
                    <a:lnTo>
                      <a:pt x="1198" y="1453"/>
                    </a:lnTo>
                    <a:lnTo>
                      <a:pt x="1198" y="1451"/>
                    </a:lnTo>
                    <a:lnTo>
                      <a:pt x="1198" y="1453"/>
                    </a:lnTo>
                    <a:lnTo>
                      <a:pt x="1196" y="1451"/>
                    </a:lnTo>
                    <a:lnTo>
                      <a:pt x="1195" y="1451"/>
                    </a:lnTo>
                    <a:lnTo>
                      <a:pt x="1195" y="1453"/>
                    </a:lnTo>
                    <a:lnTo>
                      <a:pt x="1195" y="1451"/>
                    </a:lnTo>
                    <a:lnTo>
                      <a:pt x="1196" y="1451"/>
                    </a:lnTo>
                    <a:lnTo>
                      <a:pt x="1195" y="1451"/>
                    </a:lnTo>
                    <a:lnTo>
                      <a:pt x="1193" y="1451"/>
                    </a:lnTo>
                    <a:lnTo>
                      <a:pt x="1193" y="1449"/>
                    </a:lnTo>
                    <a:lnTo>
                      <a:pt x="1191" y="1449"/>
                    </a:lnTo>
                    <a:lnTo>
                      <a:pt x="1191" y="1447"/>
                    </a:lnTo>
                    <a:lnTo>
                      <a:pt x="1190" y="1447"/>
                    </a:lnTo>
                    <a:lnTo>
                      <a:pt x="1188" y="1447"/>
                    </a:lnTo>
                    <a:lnTo>
                      <a:pt x="1190" y="1447"/>
                    </a:lnTo>
                    <a:lnTo>
                      <a:pt x="1190" y="1446"/>
                    </a:lnTo>
                    <a:lnTo>
                      <a:pt x="1188" y="1446"/>
                    </a:lnTo>
                    <a:lnTo>
                      <a:pt x="1188" y="1444"/>
                    </a:lnTo>
                    <a:lnTo>
                      <a:pt x="1190" y="1444"/>
                    </a:lnTo>
                    <a:lnTo>
                      <a:pt x="1191" y="1446"/>
                    </a:lnTo>
                    <a:lnTo>
                      <a:pt x="1191" y="1444"/>
                    </a:lnTo>
                    <a:lnTo>
                      <a:pt x="1190" y="1444"/>
                    </a:lnTo>
                    <a:lnTo>
                      <a:pt x="1191" y="1444"/>
                    </a:lnTo>
                    <a:lnTo>
                      <a:pt x="1190" y="1442"/>
                    </a:lnTo>
                    <a:lnTo>
                      <a:pt x="1191" y="1444"/>
                    </a:lnTo>
                    <a:lnTo>
                      <a:pt x="1193" y="1444"/>
                    </a:lnTo>
                    <a:lnTo>
                      <a:pt x="1191" y="1444"/>
                    </a:lnTo>
                    <a:lnTo>
                      <a:pt x="1191" y="1442"/>
                    </a:lnTo>
                    <a:lnTo>
                      <a:pt x="1193" y="1442"/>
                    </a:lnTo>
                    <a:lnTo>
                      <a:pt x="1191" y="1442"/>
                    </a:lnTo>
                    <a:lnTo>
                      <a:pt x="1191" y="1441"/>
                    </a:lnTo>
                    <a:lnTo>
                      <a:pt x="1191" y="1439"/>
                    </a:lnTo>
                    <a:lnTo>
                      <a:pt x="1193" y="1441"/>
                    </a:lnTo>
                    <a:lnTo>
                      <a:pt x="1191" y="1439"/>
                    </a:lnTo>
                    <a:lnTo>
                      <a:pt x="1193" y="1439"/>
                    </a:lnTo>
                    <a:lnTo>
                      <a:pt x="1193" y="1441"/>
                    </a:lnTo>
                    <a:lnTo>
                      <a:pt x="1195" y="1441"/>
                    </a:lnTo>
                    <a:lnTo>
                      <a:pt x="1193" y="1441"/>
                    </a:lnTo>
                    <a:lnTo>
                      <a:pt x="1195" y="1441"/>
                    </a:lnTo>
                    <a:lnTo>
                      <a:pt x="1193" y="1439"/>
                    </a:lnTo>
                    <a:lnTo>
                      <a:pt x="1193" y="1437"/>
                    </a:lnTo>
                    <a:lnTo>
                      <a:pt x="1195" y="1437"/>
                    </a:lnTo>
                    <a:lnTo>
                      <a:pt x="1195" y="1435"/>
                    </a:lnTo>
                    <a:lnTo>
                      <a:pt x="1195" y="1437"/>
                    </a:lnTo>
                    <a:close/>
                    <a:moveTo>
                      <a:pt x="1183" y="1126"/>
                    </a:moveTo>
                    <a:lnTo>
                      <a:pt x="1185" y="1126"/>
                    </a:lnTo>
                    <a:lnTo>
                      <a:pt x="1183" y="1126"/>
                    </a:lnTo>
                    <a:lnTo>
                      <a:pt x="1185" y="1126"/>
                    </a:lnTo>
                    <a:lnTo>
                      <a:pt x="1186" y="1126"/>
                    </a:lnTo>
                    <a:lnTo>
                      <a:pt x="1186" y="1128"/>
                    </a:lnTo>
                    <a:lnTo>
                      <a:pt x="1188" y="1128"/>
                    </a:lnTo>
                    <a:lnTo>
                      <a:pt x="1186" y="1129"/>
                    </a:lnTo>
                    <a:lnTo>
                      <a:pt x="1185" y="1129"/>
                    </a:lnTo>
                    <a:lnTo>
                      <a:pt x="1186" y="1129"/>
                    </a:lnTo>
                    <a:lnTo>
                      <a:pt x="1188" y="1128"/>
                    </a:lnTo>
                    <a:lnTo>
                      <a:pt x="1188" y="1129"/>
                    </a:lnTo>
                    <a:lnTo>
                      <a:pt x="1190" y="1131"/>
                    </a:lnTo>
                    <a:lnTo>
                      <a:pt x="1188" y="1131"/>
                    </a:lnTo>
                    <a:lnTo>
                      <a:pt x="1186" y="1131"/>
                    </a:lnTo>
                    <a:lnTo>
                      <a:pt x="1188" y="1131"/>
                    </a:lnTo>
                    <a:lnTo>
                      <a:pt x="1186" y="1131"/>
                    </a:lnTo>
                    <a:lnTo>
                      <a:pt x="1185" y="1131"/>
                    </a:lnTo>
                    <a:lnTo>
                      <a:pt x="1186" y="1131"/>
                    </a:lnTo>
                    <a:lnTo>
                      <a:pt x="1186" y="1133"/>
                    </a:lnTo>
                    <a:lnTo>
                      <a:pt x="1188" y="1131"/>
                    </a:lnTo>
                    <a:lnTo>
                      <a:pt x="1190" y="1131"/>
                    </a:lnTo>
                    <a:lnTo>
                      <a:pt x="1190" y="1133"/>
                    </a:lnTo>
                    <a:lnTo>
                      <a:pt x="1190" y="1134"/>
                    </a:lnTo>
                    <a:lnTo>
                      <a:pt x="1190" y="1136"/>
                    </a:lnTo>
                    <a:lnTo>
                      <a:pt x="1190" y="1138"/>
                    </a:lnTo>
                    <a:lnTo>
                      <a:pt x="1188" y="1138"/>
                    </a:lnTo>
                    <a:lnTo>
                      <a:pt x="1186" y="1138"/>
                    </a:lnTo>
                    <a:lnTo>
                      <a:pt x="1185" y="1138"/>
                    </a:lnTo>
                    <a:lnTo>
                      <a:pt x="1185" y="1136"/>
                    </a:lnTo>
                    <a:lnTo>
                      <a:pt x="1185" y="1138"/>
                    </a:lnTo>
                    <a:lnTo>
                      <a:pt x="1186" y="1138"/>
                    </a:lnTo>
                    <a:lnTo>
                      <a:pt x="1185" y="1138"/>
                    </a:lnTo>
                    <a:lnTo>
                      <a:pt x="1183" y="1138"/>
                    </a:lnTo>
                    <a:lnTo>
                      <a:pt x="1181" y="1138"/>
                    </a:lnTo>
                    <a:lnTo>
                      <a:pt x="1183" y="1138"/>
                    </a:lnTo>
                    <a:lnTo>
                      <a:pt x="1185" y="1138"/>
                    </a:lnTo>
                    <a:lnTo>
                      <a:pt x="1186" y="1138"/>
                    </a:lnTo>
                    <a:lnTo>
                      <a:pt x="1186" y="1140"/>
                    </a:lnTo>
                    <a:lnTo>
                      <a:pt x="1185" y="1140"/>
                    </a:lnTo>
                    <a:lnTo>
                      <a:pt x="1183" y="1140"/>
                    </a:lnTo>
                    <a:lnTo>
                      <a:pt x="1185" y="1140"/>
                    </a:lnTo>
                    <a:lnTo>
                      <a:pt x="1185" y="1141"/>
                    </a:lnTo>
                    <a:lnTo>
                      <a:pt x="1183" y="1141"/>
                    </a:lnTo>
                    <a:lnTo>
                      <a:pt x="1181" y="1141"/>
                    </a:lnTo>
                    <a:lnTo>
                      <a:pt x="1179" y="1140"/>
                    </a:lnTo>
                    <a:lnTo>
                      <a:pt x="1181" y="1140"/>
                    </a:lnTo>
                    <a:lnTo>
                      <a:pt x="1181" y="1138"/>
                    </a:lnTo>
                    <a:lnTo>
                      <a:pt x="1181" y="1136"/>
                    </a:lnTo>
                    <a:lnTo>
                      <a:pt x="1181" y="1134"/>
                    </a:lnTo>
                    <a:lnTo>
                      <a:pt x="1179" y="1134"/>
                    </a:lnTo>
                    <a:lnTo>
                      <a:pt x="1179" y="1133"/>
                    </a:lnTo>
                    <a:lnTo>
                      <a:pt x="1181" y="1133"/>
                    </a:lnTo>
                    <a:lnTo>
                      <a:pt x="1179" y="1134"/>
                    </a:lnTo>
                    <a:lnTo>
                      <a:pt x="1181" y="1133"/>
                    </a:lnTo>
                    <a:lnTo>
                      <a:pt x="1181" y="1134"/>
                    </a:lnTo>
                    <a:lnTo>
                      <a:pt x="1183" y="1133"/>
                    </a:lnTo>
                    <a:lnTo>
                      <a:pt x="1181" y="1133"/>
                    </a:lnTo>
                    <a:lnTo>
                      <a:pt x="1181" y="1131"/>
                    </a:lnTo>
                    <a:lnTo>
                      <a:pt x="1181" y="1129"/>
                    </a:lnTo>
                    <a:lnTo>
                      <a:pt x="1181" y="1128"/>
                    </a:lnTo>
                    <a:lnTo>
                      <a:pt x="1183" y="1128"/>
                    </a:lnTo>
                    <a:lnTo>
                      <a:pt x="1183" y="1126"/>
                    </a:lnTo>
                    <a:close/>
                    <a:moveTo>
                      <a:pt x="1162" y="1305"/>
                    </a:moveTo>
                    <a:lnTo>
                      <a:pt x="1162" y="1303"/>
                    </a:lnTo>
                    <a:lnTo>
                      <a:pt x="1162" y="1305"/>
                    </a:lnTo>
                    <a:lnTo>
                      <a:pt x="1164" y="1305"/>
                    </a:lnTo>
                    <a:lnTo>
                      <a:pt x="1164" y="1306"/>
                    </a:lnTo>
                    <a:lnTo>
                      <a:pt x="1164" y="1305"/>
                    </a:lnTo>
                    <a:lnTo>
                      <a:pt x="1164" y="1303"/>
                    </a:lnTo>
                    <a:lnTo>
                      <a:pt x="1166" y="1303"/>
                    </a:lnTo>
                    <a:lnTo>
                      <a:pt x="1168" y="1305"/>
                    </a:lnTo>
                    <a:lnTo>
                      <a:pt x="1168" y="1306"/>
                    </a:lnTo>
                    <a:lnTo>
                      <a:pt x="1169" y="1308"/>
                    </a:lnTo>
                    <a:lnTo>
                      <a:pt x="1168" y="1308"/>
                    </a:lnTo>
                    <a:lnTo>
                      <a:pt x="1168" y="1310"/>
                    </a:lnTo>
                    <a:lnTo>
                      <a:pt x="1168" y="1308"/>
                    </a:lnTo>
                    <a:lnTo>
                      <a:pt x="1168" y="1310"/>
                    </a:lnTo>
                    <a:lnTo>
                      <a:pt x="1168" y="1311"/>
                    </a:lnTo>
                    <a:lnTo>
                      <a:pt x="1168" y="1313"/>
                    </a:lnTo>
                    <a:lnTo>
                      <a:pt x="1168" y="1315"/>
                    </a:lnTo>
                    <a:lnTo>
                      <a:pt x="1168" y="1316"/>
                    </a:lnTo>
                    <a:lnTo>
                      <a:pt x="1166" y="1316"/>
                    </a:lnTo>
                    <a:lnTo>
                      <a:pt x="1164" y="1315"/>
                    </a:lnTo>
                    <a:lnTo>
                      <a:pt x="1166" y="1315"/>
                    </a:lnTo>
                    <a:lnTo>
                      <a:pt x="1164" y="1315"/>
                    </a:lnTo>
                    <a:lnTo>
                      <a:pt x="1164" y="1313"/>
                    </a:lnTo>
                    <a:lnTo>
                      <a:pt x="1162" y="1313"/>
                    </a:lnTo>
                    <a:lnTo>
                      <a:pt x="1162" y="1311"/>
                    </a:lnTo>
                    <a:lnTo>
                      <a:pt x="1161" y="1311"/>
                    </a:lnTo>
                    <a:lnTo>
                      <a:pt x="1161" y="1310"/>
                    </a:lnTo>
                    <a:lnTo>
                      <a:pt x="1159" y="1310"/>
                    </a:lnTo>
                    <a:lnTo>
                      <a:pt x="1157" y="1310"/>
                    </a:lnTo>
                    <a:lnTo>
                      <a:pt x="1156" y="1310"/>
                    </a:lnTo>
                    <a:lnTo>
                      <a:pt x="1157" y="1310"/>
                    </a:lnTo>
                    <a:lnTo>
                      <a:pt x="1157" y="1308"/>
                    </a:lnTo>
                    <a:lnTo>
                      <a:pt x="1159" y="1308"/>
                    </a:lnTo>
                    <a:lnTo>
                      <a:pt x="1161" y="1308"/>
                    </a:lnTo>
                    <a:lnTo>
                      <a:pt x="1159" y="1308"/>
                    </a:lnTo>
                    <a:lnTo>
                      <a:pt x="1159" y="1306"/>
                    </a:lnTo>
                    <a:lnTo>
                      <a:pt x="1157" y="1308"/>
                    </a:lnTo>
                    <a:lnTo>
                      <a:pt x="1156" y="1310"/>
                    </a:lnTo>
                    <a:lnTo>
                      <a:pt x="1156" y="1308"/>
                    </a:lnTo>
                    <a:lnTo>
                      <a:pt x="1156" y="1306"/>
                    </a:lnTo>
                    <a:lnTo>
                      <a:pt x="1157" y="1306"/>
                    </a:lnTo>
                    <a:lnTo>
                      <a:pt x="1157" y="1305"/>
                    </a:lnTo>
                    <a:lnTo>
                      <a:pt x="1159" y="1305"/>
                    </a:lnTo>
                    <a:lnTo>
                      <a:pt x="1159" y="1303"/>
                    </a:lnTo>
                    <a:lnTo>
                      <a:pt x="1159" y="1305"/>
                    </a:lnTo>
                    <a:lnTo>
                      <a:pt x="1159" y="1303"/>
                    </a:lnTo>
                    <a:lnTo>
                      <a:pt x="1161" y="1303"/>
                    </a:lnTo>
                    <a:lnTo>
                      <a:pt x="1161" y="1305"/>
                    </a:lnTo>
                    <a:lnTo>
                      <a:pt x="1161" y="1303"/>
                    </a:lnTo>
                    <a:lnTo>
                      <a:pt x="1159" y="1303"/>
                    </a:lnTo>
                    <a:lnTo>
                      <a:pt x="1159" y="1301"/>
                    </a:lnTo>
                    <a:lnTo>
                      <a:pt x="1161" y="1301"/>
                    </a:lnTo>
                    <a:lnTo>
                      <a:pt x="1161" y="1303"/>
                    </a:lnTo>
                    <a:lnTo>
                      <a:pt x="1162" y="1303"/>
                    </a:lnTo>
                    <a:lnTo>
                      <a:pt x="1162" y="1305"/>
                    </a:lnTo>
                    <a:close/>
                    <a:moveTo>
                      <a:pt x="1208" y="1126"/>
                    </a:moveTo>
                    <a:lnTo>
                      <a:pt x="1210" y="1126"/>
                    </a:lnTo>
                    <a:lnTo>
                      <a:pt x="1212" y="1126"/>
                    </a:lnTo>
                    <a:lnTo>
                      <a:pt x="1212" y="1128"/>
                    </a:lnTo>
                    <a:lnTo>
                      <a:pt x="1212" y="1129"/>
                    </a:lnTo>
                    <a:lnTo>
                      <a:pt x="1210" y="1129"/>
                    </a:lnTo>
                    <a:lnTo>
                      <a:pt x="1210" y="1128"/>
                    </a:lnTo>
                    <a:lnTo>
                      <a:pt x="1208" y="1128"/>
                    </a:lnTo>
                    <a:lnTo>
                      <a:pt x="1210" y="1129"/>
                    </a:lnTo>
                    <a:lnTo>
                      <a:pt x="1208" y="1129"/>
                    </a:lnTo>
                    <a:lnTo>
                      <a:pt x="1210" y="1129"/>
                    </a:lnTo>
                    <a:lnTo>
                      <a:pt x="1212" y="1129"/>
                    </a:lnTo>
                    <a:lnTo>
                      <a:pt x="1210" y="1131"/>
                    </a:lnTo>
                    <a:lnTo>
                      <a:pt x="1210" y="1133"/>
                    </a:lnTo>
                    <a:lnTo>
                      <a:pt x="1210" y="1134"/>
                    </a:lnTo>
                    <a:lnTo>
                      <a:pt x="1212" y="1134"/>
                    </a:lnTo>
                    <a:lnTo>
                      <a:pt x="1212" y="1136"/>
                    </a:lnTo>
                    <a:lnTo>
                      <a:pt x="1210" y="1134"/>
                    </a:lnTo>
                    <a:lnTo>
                      <a:pt x="1208" y="1134"/>
                    </a:lnTo>
                    <a:lnTo>
                      <a:pt x="1207" y="1133"/>
                    </a:lnTo>
                    <a:lnTo>
                      <a:pt x="1208" y="1134"/>
                    </a:lnTo>
                    <a:lnTo>
                      <a:pt x="1208" y="1136"/>
                    </a:lnTo>
                    <a:lnTo>
                      <a:pt x="1210" y="1136"/>
                    </a:lnTo>
                    <a:lnTo>
                      <a:pt x="1210" y="1138"/>
                    </a:lnTo>
                    <a:lnTo>
                      <a:pt x="1210" y="1140"/>
                    </a:lnTo>
                    <a:lnTo>
                      <a:pt x="1208" y="1141"/>
                    </a:lnTo>
                    <a:lnTo>
                      <a:pt x="1208" y="1140"/>
                    </a:lnTo>
                    <a:lnTo>
                      <a:pt x="1207" y="1140"/>
                    </a:lnTo>
                    <a:lnTo>
                      <a:pt x="1207" y="1138"/>
                    </a:lnTo>
                    <a:lnTo>
                      <a:pt x="1205" y="1138"/>
                    </a:lnTo>
                    <a:lnTo>
                      <a:pt x="1205" y="1136"/>
                    </a:lnTo>
                    <a:lnTo>
                      <a:pt x="1203" y="1138"/>
                    </a:lnTo>
                    <a:lnTo>
                      <a:pt x="1203" y="1136"/>
                    </a:lnTo>
                    <a:lnTo>
                      <a:pt x="1203" y="1134"/>
                    </a:lnTo>
                    <a:lnTo>
                      <a:pt x="1203" y="1133"/>
                    </a:lnTo>
                    <a:lnTo>
                      <a:pt x="1205" y="1131"/>
                    </a:lnTo>
                    <a:lnTo>
                      <a:pt x="1205" y="1129"/>
                    </a:lnTo>
                    <a:lnTo>
                      <a:pt x="1205" y="1128"/>
                    </a:lnTo>
                    <a:lnTo>
                      <a:pt x="1207" y="1126"/>
                    </a:lnTo>
                    <a:lnTo>
                      <a:pt x="1207" y="1124"/>
                    </a:lnTo>
                    <a:lnTo>
                      <a:pt x="1207" y="1126"/>
                    </a:lnTo>
                    <a:lnTo>
                      <a:pt x="1208" y="1126"/>
                    </a:lnTo>
                    <a:close/>
                    <a:moveTo>
                      <a:pt x="1162" y="1245"/>
                    </a:moveTo>
                    <a:lnTo>
                      <a:pt x="1164" y="1245"/>
                    </a:lnTo>
                    <a:lnTo>
                      <a:pt x="1164" y="1247"/>
                    </a:lnTo>
                    <a:lnTo>
                      <a:pt x="1164" y="1248"/>
                    </a:lnTo>
                    <a:lnTo>
                      <a:pt x="1162" y="1248"/>
                    </a:lnTo>
                    <a:lnTo>
                      <a:pt x="1164" y="1248"/>
                    </a:lnTo>
                    <a:lnTo>
                      <a:pt x="1164" y="1250"/>
                    </a:lnTo>
                    <a:lnTo>
                      <a:pt x="1166" y="1250"/>
                    </a:lnTo>
                    <a:lnTo>
                      <a:pt x="1164" y="1250"/>
                    </a:lnTo>
                    <a:lnTo>
                      <a:pt x="1166" y="1250"/>
                    </a:lnTo>
                    <a:lnTo>
                      <a:pt x="1168" y="1252"/>
                    </a:lnTo>
                    <a:lnTo>
                      <a:pt x="1169" y="1252"/>
                    </a:lnTo>
                    <a:lnTo>
                      <a:pt x="1171" y="1253"/>
                    </a:lnTo>
                    <a:lnTo>
                      <a:pt x="1169" y="1255"/>
                    </a:lnTo>
                    <a:lnTo>
                      <a:pt x="1171" y="1253"/>
                    </a:lnTo>
                    <a:lnTo>
                      <a:pt x="1171" y="1255"/>
                    </a:lnTo>
                    <a:lnTo>
                      <a:pt x="1171" y="1257"/>
                    </a:lnTo>
                    <a:lnTo>
                      <a:pt x="1171" y="1255"/>
                    </a:lnTo>
                    <a:lnTo>
                      <a:pt x="1169" y="1255"/>
                    </a:lnTo>
                    <a:lnTo>
                      <a:pt x="1168" y="1255"/>
                    </a:lnTo>
                    <a:lnTo>
                      <a:pt x="1166" y="1255"/>
                    </a:lnTo>
                    <a:lnTo>
                      <a:pt x="1164" y="1253"/>
                    </a:lnTo>
                    <a:lnTo>
                      <a:pt x="1162" y="1253"/>
                    </a:lnTo>
                    <a:lnTo>
                      <a:pt x="1161" y="1253"/>
                    </a:lnTo>
                    <a:lnTo>
                      <a:pt x="1162" y="1253"/>
                    </a:lnTo>
                    <a:lnTo>
                      <a:pt x="1164" y="1253"/>
                    </a:lnTo>
                    <a:lnTo>
                      <a:pt x="1164" y="1255"/>
                    </a:lnTo>
                    <a:lnTo>
                      <a:pt x="1166" y="1255"/>
                    </a:lnTo>
                    <a:lnTo>
                      <a:pt x="1166" y="1257"/>
                    </a:lnTo>
                    <a:lnTo>
                      <a:pt x="1166" y="1255"/>
                    </a:lnTo>
                    <a:lnTo>
                      <a:pt x="1168" y="1257"/>
                    </a:lnTo>
                    <a:lnTo>
                      <a:pt x="1169" y="1257"/>
                    </a:lnTo>
                    <a:lnTo>
                      <a:pt x="1169" y="1259"/>
                    </a:lnTo>
                    <a:lnTo>
                      <a:pt x="1168" y="1260"/>
                    </a:lnTo>
                    <a:lnTo>
                      <a:pt x="1168" y="1259"/>
                    </a:lnTo>
                    <a:lnTo>
                      <a:pt x="1168" y="1257"/>
                    </a:lnTo>
                    <a:lnTo>
                      <a:pt x="1166" y="1257"/>
                    </a:lnTo>
                    <a:lnTo>
                      <a:pt x="1164" y="1257"/>
                    </a:lnTo>
                    <a:lnTo>
                      <a:pt x="1164" y="1255"/>
                    </a:lnTo>
                    <a:lnTo>
                      <a:pt x="1162" y="1255"/>
                    </a:lnTo>
                    <a:lnTo>
                      <a:pt x="1161" y="1255"/>
                    </a:lnTo>
                    <a:lnTo>
                      <a:pt x="1159" y="1255"/>
                    </a:lnTo>
                    <a:lnTo>
                      <a:pt x="1159" y="1253"/>
                    </a:lnTo>
                    <a:lnTo>
                      <a:pt x="1159" y="1255"/>
                    </a:lnTo>
                    <a:lnTo>
                      <a:pt x="1159" y="1253"/>
                    </a:lnTo>
                    <a:lnTo>
                      <a:pt x="1161" y="1253"/>
                    </a:lnTo>
                    <a:lnTo>
                      <a:pt x="1159" y="1253"/>
                    </a:lnTo>
                    <a:lnTo>
                      <a:pt x="1161" y="1253"/>
                    </a:lnTo>
                    <a:lnTo>
                      <a:pt x="1161" y="1252"/>
                    </a:lnTo>
                    <a:lnTo>
                      <a:pt x="1159" y="1252"/>
                    </a:lnTo>
                    <a:lnTo>
                      <a:pt x="1161" y="1252"/>
                    </a:lnTo>
                    <a:lnTo>
                      <a:pt x="1162" y="1252"/>
                    </a:lnTo>
                    <a:lnTo>
                      <a:pt x="1161" y="1252"/>
                    </a:lnTo>
                    <a:lnTo>
                      <a:pt x="1162" y="1250"/>
                    </a:lnTo>
                    <a:lnTo>
                      <a:pt x="1162" y="1252"/>
                    </a:lnTo>
                    <a:lnTo>
                      <a:pt x="1164" y="1252"/>
                    </a:lnTo>
                    <a:lnTo>
                      <a:pt x="1164" y="1250"/>
                    </a:lnTo>
                    <a:lnTo>
                      <a:pt x="1162" y="1250"/>
                    </a:lnTo>
                    <a:lnTo>
                      <a:pt x="1161" y="1250"/>
                    </a:lnTo>
                    <a:lnTo>
                      <a:pt x="1159" y="1250"/>
                    </a:lnTo>
                    <a:lnTo>
                      <a:pt x="1161" y="1252"/>
                    </a:lnTo>
                    <a:lnTo>
                      <a:pt x="1159" y="1252"/>
                    </a:lnTo>
                    <a:lnTo>
                      <a:pt x="1157" y="1252"/>
                    </a:lnTo>
                    <a:lnTo>
                      <a:pt x="1156" y="1252"/>
                    </a:lnTo>
                    <a:lnTo>
                      <a:pt x="1156" y="1253"/>
                    </a:lnTo>
                    <a:lnTo>
                      <a:pt x="1156" y="1252"/>
                    </a:lnTo>
                    <a:lnTo>
                      <a:pt x="1157" y="1250"/>
                    </a:lnTo>
                    <a:lnTo>
                      <a:pt x="1159" y="1250"/>
                    </a:lnTo>
                    <a:lnTo>
                      <a:pt x="1159" y="1248"/>
                    </a:lnTo>
                    <a:lnTo>
                      <a:pt x="1157" y="1250"/>
                    </a:lnTo>
                    <a:lnTo>
                      <a:pt x="1159" y="1250"/>
                    </a:lnTo>
                    <a:lnTo>
                      <a:pt x="1157" y="1250"/>
                    </a:lnTo>
                    <a:lnTo>
                      <a:pt x="1156" y="1250"/>
                    </a:lnTo>
                    <a:lnTo>
                      <a:pt x="1157" y="1250"/>
                    </a:lnTo>
                    <a:lnTo>
                      <a:pt x="1157" y="1248"/>
                    </a:lnTo>
                    <a:lnTo>
                      <a:pt x="1159" y="1248"/>
                    </a:lnTo>
                    <a:lnTo>
                      <a:pt x="1157" y="1248"/>
                    </a:lnTo>
                    <a:lnTo>
                      <a:pt x="1159" y="1248"/>
                    </a:lnTo>
                    <a:lnTo>
                      <a:pt x="1161" y="1248"/>
                    </a:lnTo>
                    <a:lnTo>
                      <a:pt x="1161" y="1247"/>
                    </a:lnTo>
                    <a:lnTo>
                      <a:pt x="1162" y="1247"/>
                    </a:lnTo>
                    <a:lnTo>
                      <a:pt x="1162" y="1245"/>
                    </a:lnTo>
                    <a:close/>
                    <a:moveTo>
                      <a:pt x="1159" y="1420"/>
                    </a:moveTo>
                    <a:lnTo>
                      <a:pt x="1159" y="1422"/>
                    </a:lnTo>
                    <a:lnTo>
                      <a:pt x="1159" y="1424"/>
                    </a:lnTo>
                    <a:lnTo>
                      <a:pt x="1159" y="1425"/>
                    </a:lnTo>
                    <a:lnTo>
                      <a:pt x="1157" y="1425"/>
                    </a:lnTo>
                    <a:lnTo>
                      <a:pt x="1159" y="1427"/>
                    </a:lnTo>
                    <a:lnTo>
                      <a:pt x="1157" y="1427"/>
                    </a:lnTo>
                    <a:lnTo>
                      <a:pt x="1157" y="1429"/>
                    </a:lnTo>
                    <a:lnTo>
                      <a:pt x="1159" y="1429"/>
                    </a:lnTo>
                    <a:lnTo>
                      <a:pt x="1157" y="1427"/>
                    </a:lnTo>
                    <a:lnTo>
                      <a:pt x="1159" y="1425"/>
                    </a:lnTo>
                    <a:lnTo>
                      <a:pt x="1159" y="1424"/>
                    </a:lnTo>
                    <a:lnTo>
                      <a:pt x="1161" y="1424"/>
                    </a:lnTo>
                    <a:lnTo>
                      <a:pt x="1161" y="1425"/>
                    </a:lnTo>
                    <a:lnTo>
                      <a:pt x="1162" y="1425"/>
                    </a:lnTo>
                    <a:lnTo>
                      <a:pt x="1162" y="1427"/>
                    </a:lnTo>
                    <a:lnTo>
                      <a:pt x="1162" y="1429"/>
                    </a:lnTo>
                    <a:lnTo>
                      <a:pt x="1162" y="1427"/>
                    </a:lnTo>
                    <a:lnTo>
                      <a:pt x="1161" y="1427"/>
                    </a:lnTo>
                    <a:lnTo>
                      <a:pt x="1162" y="1429"/>
                    </a:lnTo>
                    <a:lnTo>
                      <a:pt x="1162" y="1430"/>
                    </a:lnTo>
                    <a:lnTo>
                      <a:pt x="1161" y="1429"/>
                    </a:lnTo>
                    <a:lnTo>
                      <a:pt x="1161" y="1427"/>
                    </a:lnTo>
                    <a:lnTo>
                      <a:pt x="1161" y="1429"/>
                    </a:lnTo>
                    <a:lnTo>
                      <a:pt x="1161" y="1430"/>
                    </a:lnTo>
                    <a:lnTo>
                      <a:pt x="1161" y="1429"/>
                    </a:lnTo>
                    <a:lnTo>
                      <a:pt x="1161" y="1430"/>
                    </a:lnTo>
                    <a:lnTo>
                      <a:pt x="1159" y="1432"/>
                    </a:lnTo>
                    <a:lnTo>
                      <a:pt x="1159" y="1430"/>
                    </a:lnTo>
                    <a:lnTo>
                      <a:pt x="1159" y="1432"/>
                    </a:lnTo>
                    <a:lnTo>
                      <a:pt x="1159" y="1434"/>
                    </a:lnTo>
                    <a:lnTo>
                      <a:pt x="1159" y="1432"/>
                    </a:lnTo>
                    <a:lnTo>
                      <a:pt x="1157" y="1432"/>
                    </a:lnTo>
                    <a:lnTo>
                      <a:pt x="1159" y="1430"/>
                    </a:lnTo>
                    <a:lnTo>
                      <a:pt x="1157" y="1430"/>
                    </a:lnTo>
                    <a:lnTo>
                      <a:pt x="1157" y="1432"/>
                    </a:lnTo>
                    <a:lnTo>
                      <a:pt x="1157" y="1434"/>
                    </a:lnTo>
                    <a:lnTo>
                      <a:pt x="1157" y="1435"/>
                    </a:lnTo>
                    <a:lnTo>
                      <a:pt x="1157" y="1437"/>
                    </a:lnTo>
                    <a:lnTo>
                      <a:pt x="1157" y="1439"/>
                    </a:lnTo>
                    <a:lnTo>
                      <a:pt x="1157" y="1441"/>
                    </a:lnTo>
                    <a:lnTo>
                      <a:pt x="1156" y="1439"/>
                    </a:lnTo>
                    <a:lnTo>
                      <a:pt x="1156" y="1437"/>
                    </a:lnTo>
                    <a:lnTo>
                      <a:pt x="1156" y="1439"/>
                    </a:lnTo>
                    <a:lnTo>
                      <a:pt x="1156" y="1441"/>
                    </a:lnTo>
                    <a:lnTo>
                      <a:pt x="1156" y="1442"/>
                    </a:lnTo>
                    <a:lnTo>
                      <a:pt x="1154" y="1441"/>
                    </a:lnTo>
                    <a:lnTo>
                      <a:pt x="1152" y="1442"/>
                    </a:lnTo>
                    <a:lnTo>
                      <a:pt x="1152" y="1441"/>
                    </a:lnTo>
                    <a:lnTo>
                      <a:pt x="1151" y="1441"/>
                    </a:lnTo>
                    <a:lnTo>
                      <a:pt x="1151" y="1439"/>
                    </a:lnTo>
                    <a:lnTo>
                      <a:pt x="1152" y="1439"/>
                    </a:lnTo>
                    <a:lnTo>
                      <a:pt x="1152" y="1437"/>
                    </a:lnTo>
                    <a:lnTo>
                      <a:pt x="1151" y="1437"/>
                    </a:lnTo>
                    <a:lnTo>
                      <a:pt x="1152" y="1435"/>
                    </a:lnTo>
                    <a:lnTo>
                      <a:pt x="1152" y="1437"/>
                    </a:lnTo>
                    <a:lnTo>
                      <a:pt x="1152" y="1435"/>
                    </a:lnTo>
                    <a:lnTo>
                      <a:pt x="1154" y="1435"/>
                    </a:lnTo>
                    <a:lnTo>
                      <a:pt x="1154" y="1434"/>
                    </a:lnTo>
                    <a:lnTo>
                      <a:pt x="1154" y="1435"/>
                    </a:lnTo>
                    <a:lnTo>
                      <a:pt x="1156" y="1434"/>
                    </a:lnTo>
                    <a:lnTo>
                      <a:pt x="1156" y="1432"/>
                    </a:lnTo>
                    <a:lnTo>
                      <a:pt x="1154" y="1432"/>
                    </a:lnTo>
                    <a:lnTo>
                      <a:pt x="1156" y="1430"/>
                    </a:lnTo>
                    <a:lnTo>
                      <a:pt x="1156" y="1429"/>
                    </a:lnTo>
                    <a:lnTo>
                      <a:pt x="1157" y="1429"/>
                    </a:lnTo>
                    <a:lnTo>
                      <a:pt x="1157" y="1427"/>
                    </a:lnTo>
                    <a:lnTo>
                      <a:pt x="1156" y="1427"/>
                    </a:lnTo>
                    <a:lnTo>
                      <a:pt x="1156" y="1425"/>
                    </a:lnTo>
                    <a:lnTo>
                      <a:pt x="1156" y="1424"/>
                    </a:lnTo>
                    <a:lnTo>
                      <a:pt x="1157" y="1424"/>
                    </a:lnTo>
                    <a:lnTo>
                      <a:pt x="1157" y="1422"/>
                    </a:lnTo>
                    <a:lnTo>
                      <a:pt x="1159" y="1420"/>
                    </a:lnTo>
                    <a:close/>
                    <a:moveTo>
                      <a:pt x="1154" y="1303"/>
                    </a:moveTo>
                    <a:lnTo>
                      <a:pt x="1152" y="1303"/>
                    </a:lnTo>
                    <a:lnTo>
                      <a:pt x="1151" y="1303"/>
                    </a:lnTo>
                    <a:lnTo>
                      <a:pt x="1152" y="1305"/>
                    </a:lnTo>
                    <a:lnTo>
                      <a:pt x="1152" y="1303"/>
                    </a:lnTo>
                    <a:lnTo>
                      <a:pt x="1154" y="1303"/>
                    </a:lnTo>
                    <a:lnTo>
                      <a:pt x="1154" y="1305"/>
                    </a:lnTo>
                    <a:lnTo>
                      <a:pt x="1154" y="1306"/>
                    </a:lnTo>
                    <a:lnTo>
                      <a:pt x="1154" y="1308"/>
                    </a:lnTo>
                    <a:lnTo>
                      <a:pt x="1152" y="1308"/>
                    </a:lnTo>
                    <a:lnTo>
                      <a:pt x="1152" y="1310"/>
                    </a:lnTo>
                    <a:lnTo>
                      <a:pt x="1152" y="1308"/>
                    </a:lnTo>
                    <a:lnTo>
                      <a:pt x="1151" y="1308"/>
                    </a:lnTo>
                    <a:lnTo>
                      <a:pt x="1151" y="1310"/>
                    </a:lnTo>
                    <a:lnTo>
                      <a:pt x="1151" y="1311"/>
                    </a:lnTo>
                    <a:lnTo>
                      <a:pt x="1149" y="1311"/>
                    </a:lnTo>
                    <a:lnTo>
                      <a:pt x="1151" y="1310"/>
                    </a:lnTo>
                    <a:lnTo>
                      <a:pt x="1149" y="1310"/>
                    </a:lnTo>
                    <a:lnTo>
                      <a:pt x="1151" y="1308"/>
                    </a:lnTo>
                    <a:lnTo>
                      <a:pt x="1149" y="1310"/>
                    </a:lnTo>
                    <a:lnTo>
                      <a:pt x="1149" y="1311"/>
                    </a:lnTo>
                    <a:lnTo>
                      <a:pt x="1149" y="1310"/>
                    </a:lnTo>
                    <a:lnTo>
                      <a:pt x="1149" y="1311"/>
                    </a:lnTo>
                    <a:lnTo>
                      <a:pt x="1147" y="1310"/>
                    </a:lnTo>
                    <a:lnTo>
                      <a:pt x="1149" y="1311"/>
                    </a:lnTo>
                    <a:lnTo>
                      <a:pt x="1147" y="1311"/>
                    </a:lnTo>
                    <a:lnTo>
                      <a:pt x="1147" y="1313"/>
                    </a:lnTo>
                    <a:lnTo>
                      <a:pt x="1149" y="1313"/>
                    </a:lnTo>
                    <a:lnTo>
                      <a:pt x="1147" y="1315"/>
                    </a:lnTo>
                    <a:lnTo>
                      <a:pt x="1145" y="1315"/>
                    </a:lnTo>
                    <a:lnTo>
                      <a:pt x="1144" y="1315"/>
                    </a:lnTo>
                    <a:lnTo>
                      <a:pt x="1144" y="1313"/>
                    </a:lnTo>
                    <a:lnTo>
                      <a:pt x="1142" y="1315"/>
                    </a:lnTo>
                    <a:lnTo>
                      <a:pt x="1142" y="1313"/>
                    </a:lnTo>
                    <a:lnTo>
                      <a:pt x="1142" y="1311"/>
                    </a:lnTo>
                    <a:lnTo>
                      <a:pt x="1142" y="1313"/>
                    </a:lnTo>
                    <a:lnTo>
                      <a:pt x="1144" y="1313"/>
                    </a:lnTo>
                    <a:lnTo>
                      <a:pt x="1142" y="1311"/>
                    </a:lnTo>
                    <a:lnTo>
                      <a:pt x="1144" y="1311"/>
                    </a:lnTo>
                    <a:lnTo>
                      <a:pt x="1142" y="1311"/>
                    </a:lnTo>
                    <a:lnTo>
                      <a:pt x="1142" y="1310"/>
                    </a:lnTo>
                    <a:lnTo>
                      <a:pt x="1144" y="1308"/>
                    </a:lnTo>
                    <a:lnTo>
                      <a:pt x="1145" y="1306"/>
                    </a:lnTo>
                    <a:lnTo>
                      <a:pt x="1145" y="1308"/>
                    </a:lnTo>
                    <a:lnTo>
                      <a:pt x="1144" y="1310"/>
                    </a:lnTo>
                    <a:lnTo>
                      <a:pt x="1144" y="1311"/>
                    </a:lnTo>
                    <a:lnTo>
                      <a:pt x="1144" y="1310"/>
                    </a:lnTo>
                    <a:lnTo>
                      <a:pt x="1145" y="1310"/>
                    </a:lnTo>
                    <a:lnTo>
                      <a:pt x="1145" y="1308"/>
                    </a:lnTo>
                    <a:lnTo>
                      <a:pt x="1147" y="1308"/>
                    </a:lnTo>
                    <a:lnTo>
                      <a:pt x="1145" y="1308"/>
                    </a:lnTo>
                    <a:lnTo>
                      <a:pt x="1145" y="1306"/>
                    </a:lnTo>
                    <a:lnTo>
                      <a:pt x="1147" y="1306"/>
                    </a:lnTo>
                    <a:lnTo>
                      <a:pt x="1149" y="1305"/>
                    </a:lnTo>
                    <a:lnTo>
                      <a:pt x="1149" y="1306"/>
                    </a:lnTo>
                    <a:lnTo>
                      <a:pt x="1149" y="1305"/>
                    </a:lnTo>
                    <a:lnTo>
                      <a:pt x="1151" y="1305"/>
                    </a:lnTo>
                    <a:lnTo>
                      <a:pt x="1149" y="1305"/>
                    </a:lnTo>
                    <a:lnTo>
                      <a:pt x="1149" y="1303"/>
                    </a:lnTo>
                    <a:lnTo>
                      <a:pt x="1151" y="1301"/>
                    </a:lnTo>
                    <a:lnTo>
                      <a:pt x="1151" y="1299"/>
                    </a:lnTo>
                    <a:lnTo>
                      <a:pt x="1152" y="1299"/>
                    </a:lnTo>
                    <a:lnTo>
                      <a:pt x="1152" y="1301"/>
                    </a:lnTo>
                    <a:lnTo>
                      <a:pt x="1154" y="1301"/>
                    </a:lnTo>
                    <a:lnTo>
                      <a:pt x="1154" y="1303"/>
                    </a:lnTo>
                    <a:close/>
                    <a:moveTo>
                      <a:pt x="1212" y="1539"/>
                    </a:moveTo>
                    <a:lnTo>
                      <a:pt x="1212" y="1541"/>
                    </a:lnTo>
                    <a:lnTo>
                      <a:pt x="1213" y="1541"/>
                    </a:lnTo>
                    <a:lnTo>
                      <a:pt x="1213" y="1539"/>
                    </a:lnTo>
                    <a:lnTo>
                      <a:pt x="1215" y="1539"/>
                    </a:lnTo>
                    <a:lnTo>
                      <a:pt x="1217" y="1539"/>
                    </a:lnTo>
                    <a:lnTo>
                      <a:pt x="1217" y="1541"/>
                    </a:lnTo>
                    <a:lnTo>
                      <a:pt x="1219" y="1543"/>
                    </a:lnTo>
                    <a:lnTo>
                      <a:pt x="1217" y="1543"/>
                    </a:lnTo>
                    <a:lnTo>
                      <a:pt x="1217" y="1541"/>
                    </a:lnTo>
                    <a:lnTo>
                      <a:pt x="1217" y="1543"/>
                    </a:lnTo>
                    <a:lnTo>
                      <a:pt x="1215" y="1543"/>
                    </a:lnTo>
                    <a:lnTo>
                      <a:pt x="1215" y="1544"/>
                    </a:lnTo>
                    <a:lnTo>
                      <a:pt x="1213" y="1544"/>
                    </a:lnTo>
                    <a:lnTo>
                      <a:pt x="1213" y="1546"/>
                    </a:lnTo>
                    <a:lnTo>
                      <a:pt x="1215" y="1546"/>
                    </a:lnTo>
                    <a:lnTo>
                      <a:pt x="1213" y="1544"/>
                    </a:lnTo>
                    <a:lnTo>
                      <a:pt x="1215" y="1544"/>
                    </a:lnTo>
                    <a:lnTo>
                      <a:pt x="1217" y="1546"/>
                    </a:lnTo>
                    <a:lnTo>
                      <a:pt x="1217" y="1548"/>
                    </a:lnTo>
                    <a:lnTo>
                      <a:pt x="1219" y="1548"/>
                    </a:lnTo>
                    <a:lnTo>
                      <a:pt x="1217" y="1548"/>
                    </a:lnTo>
                    <a:lnTo>
                      <a:pt x="1219" y="1549"/>
                    </a:lnTo>
                    <a:lnTo>
                      <a:pt x="1217" y="1548"/>
                    </a:lnTo>
                    <a:lnTo>
                      <a:pt x="1217" y="1549"/>
                    </a:lnTo>
                    <a:lnTo>
                      <a:pt x="1219" y="1549"/>
                    </a:lnTo>
                    <a:lnTo>
                      <a:pt x="1219" y="1551"/>
                    </a:lnTo>
                    <a:lnTo>
                      <a:pt x="1217" y="1551"/>
                    </a:lnTo>
                    <a:lnTo>
                      <a:pt x="1215" y="1549"/>
                    </a:lnTo>
                    <a:lnTo>
                      <a:pt x="1215" y="1551"/>
                    </a:lnTo>
                    <a:lnTo>
                      <a:pt x="1213" y="1551"/>
                    </a:lnTo>
                    <a:lnTo>
                      <a:pt x="1213" y="1549"/>
                    </a:lnTo>
                    <a:lnTo>
                      <a:pt x="1212" y="1548"/>
                    </a:lnTo>
                    <a:lnTo>
                      <a:pt x="1213" y="1549"/>
                    </a:lnTo>
                    <a:lnTo>
                      <a:pt x="1212" y="1549"/>
                    </a:lnTo>
                    <a:lnTo>
                      <a:pt x="1213" y="1551"/>
                    </a:lnTo>
                    <a:lnTo>
                      <a:pt x="1212" y="1551"/>
                    </a:lnTo>
                    <a:lnTo>
                      <a:pt x="1210" y="1551"/>
                    </a:lnTo>
                    <a:lnTo>
                      <a:pt x="1212" y="1549"/>
                    </a:lnTo>
                    <a:lnTo>
                      <a:pt x="1210" y="1549"/>
                    </a:lnTo>
                    <a:lnTo>
                      <a:pt x="1212" y="1549"/>
                    </a:lnTo>
                    <a:lnTo>
                      <a:pt x="1210" y="1549"/>
                    </a:lnTo>
                    <a:lnTo>
                      <a:pt x="1208" y="1548"/>
                    </a:lnTo>
                    <a:lnTo>
                      <a:pt x="1208" y="1549"/>
                    </a:lnTo>
                    <a:lnTo>
                      <a:pt x="1210" y="1549"/>
                    </a:lnTo>
                    <a:lnTo>
                      <a:pt x="1208" y="1549"/>
                    </a:lnTo>
                    <a:lnTo>
                      <a:pt x="1207" y="1548"/>
                    </a:lnTo>
                    <a:lnTo>
                      <a:pt x="1208" y="1546"/>
                    </a:lnTo>
                    <a:lnTo>
                      <a:pt x="1207" y="1546"/>
                    </a:lnTo>
                    <a:lnTo>
                      <a:pt x="1205" y="1548"/>
                    </a:lnTo>
                    <a:lnTo>
                      <a:pt x="1205" y="1546"/>
                    </a:lnTo>
                    <a:lnTo>
                      <a:pt x="1205" y="1544"/>
                    </a:lnTo>
                    <a:lnTo>
                      <a:pt x="1203" y="1544"/>
                    </a:lnTo>
                    <a:lnTo>
                      <a:pt x="1205" y="1544"/>
                    </a:lnTo>
                    <a:lnTo>
                      <a:pt x="1203" y="1544"/>
                    </a:lnTo>
                    <a:lnTo>
                      <a:pt x="1203" y="1543"/>
                    </a:lnTo>
                    <a:lnTo>
                      <a:pt x="1203" y="1541"/>
                    </a:lnTo>
                    <a:lnTo>
                      <a:pt x="1205" y="1543"/>
                    </a:lnTo>
                    <a:lnTo>
                      <a:pt x="1207" y="1544"/>
                    </a:lnTo>
                    <a:lnTo>
                      <a:pt x="1207" y="1546"/>
                    </a:lnTo>
                    <a:lnTo>
                      <a:pt x="1207" y="1544"/>
                    </a:lnTo>
                    <a:lnTo>
                      <a:pt x="1207" y="1546"/>
                    </a:lnTo>
                    <a:lnTo>
                      <a:pt x="1208" y="1546"/>
                    </a:lnTo>
                    <a:lnTo>
                      <a:pt x="1208" y="1544"/>
                    </a:lnTo>
                    <a:lnTo>
                      <a:pt x="1208" y="1546"/>
                    </a:lnTo>
                    <a:lnTo>
                      <a:pt x="1210" y="1546"/>
                    </a:lnTo>
                    <a:lnTo>
                      <a:pt x="1212" y="1546"/>
                    </a:lnTo>
                    <a:lnTo>
                      <a:pt x="1210" y="1548"/>
                    </a:lnTo>
                    <a:lnTo>
                      <a:pt x="1212" y="1548"/>
                    </a:lnTo>
                    <a:lnTo>
                      <a:pt x="1213" y="1548"/>
                    </a:lnTo>
                    <a:lnTo>
                      <a:pt x="1213" y="1549"/>
                    </a:lnTo>
                    <a:lnTo>
                      <a:pt x="1215" y="1549"/>
                    </a:lnTo>
                    <a:lnTo>
                      <a:pt x="1213" y="1548"/>
                    </a:lnTo>
                    <a:lnTo>
                      <a:pt x="1212" y="1548"/>
                    </a:lnTo>
                    <a:lnTo>
                      <a:pt x="1212" y="1546"/>
                    </a:lnTo>
                    <a:lnTo>
                      <a:pt x="1210" y="1546"/>
                    </a:lnTo>
                    <a:lnTo>
                      <a:pt x="1210" y="1544"/>
                    </a:lnTo>
                    <a:lnTo>
                      <a:pt x="1208" y="1544"/>
                    </a:lnTo>
                    <a:lnTo>
                      <a:pt x="1208" y="1543"/>
                    </a:lnTo>
                    <a:lnTo>
                      <a:pt x="1210" y="1544"/>
                    </a:lnTo>
                    <a:lnTo>
                      <a:pt x="1210" y="1543"/>
                    </a:lnTo>
                    <a:lnTo>
                      <a:pt x="1212" y="1544"/>
                    </a:lnTo>
                    <a:lnTo>
                      <a:pt x="1213" y="1544"/>
                    </a:lnTo>
                    <a:lnTo>
                      <a:pt x="1212" y="1543"/>
                    </a:lnTo>
                    <a:lnTo>
                      <a:pt x="1213" y="1543"/>
                    </a:lnTo>
                    <a:lnTo>
                      <a:pt x="1212" y="1543"/>
                    </a:lnTo>
                    <a:lnTo>
                      <a:pt x="1210" y="1543"/>
                    </a:lnTo>
                    <a:lnTo>
                      <a:pt x="1210" y="1541"/>
                    </a:lnTo>
                    <a:lnTo>
                      <a:pt x="1210" y="1539"/>
                    </a:lnTo>
                    <a:lnTo>
                      <a:pt x="1212" y="1539"/>
                    </a:lnTo>
                    <a:close/>
                    <a:moveTo>
                      <a:pt x="1191" y="1097"/>
                    </a:moveTo>
                    <a:lnTo>
                      <a:pt x="1193" y="1099"/>
                    </a:lnTo>
                    <a:lnTo>
                      <a:pt x="1195" y="1099"/>
                    </a:lnTo>
                    <a:lnTo>
                      <a:pt x="1196" y="1099"/>
                    </a:lnTo>
                    <a:lnTo>
                      <a:pt x="1198" y="1099"/>
                    </a:lnTo>
                    <a:lnTo>
                      <a:pt x="1198" y="1100"/>
                    </a:lnTo>
                    <a:lnTo>
                      <a:pt x="1200" y="1102"/>
                    </a:lnTo>
                    <a:lnTo>
                      <a:pt x="1200" y="1104"/>
                    </a:lnTo>
                    <a:lnTo>
                      <a:pt x="1198" y="1104"/>
                    </a:lnTo>
                    <a:lnTo>
                      <a:pt x="1196" y="1104"/>
                    </a:lnTo>
                    <a:lnTo>
                      <a:pt x="1195" y="1104"/>
                    </a:lnTo>
                    <a:lnTo>
                      <a:pt x="1195" y="1102"/>
                    </a:lnTo>
                    <a:lnTo>
                      <a:pt x="1195" y="1104"/>
                    </a:lnTo>
                    <a:lnTo>
                      <a:pt x="1193" y="1102"/>
                    </a:lnTo>
                    <a:lnTo>
                      <a:pt x="1195" y="1102"/>
                    </a:lnTo>
                    <a:lnTo>
                      <a:pt x="1195" y="1104"/>
                    </a:lnTo>
                    <a:lnTo>
                      <a:pt x="1195" y="1105"/>
                    </a:lnTo>
                    <a:lnTo>
                      <a:pt x="1193" y="1104"/>
                    </a:lnTo>
                    <a:lnTo>
                      <a:pt x="1193" y="1105"/>
                    </a:lnTo>
                    <a:lnTo>
                      <a:pt x="1191" y="1105"/>
                    </a:lnTo>
                    <a:lnTo>
                      <a:pt x="1191" y="1104"/>
                    </a:lnTo>
                    <a:lnTo>
                      <a:pt x="1190" y="1104"/>
                    </a:lnTo>
                    <a:lnTo>
                      <a:pt x="1190" y="1105"/>
                    </a:lnTo>
                    <a:lnTo>
                      <a:pt x="1188" y="1105"/>
                    </a:lnTo>
                    <a:lnTo>
                      <a:pt x="1186" y="1105"/>
                    </a:lnTo>
                    <a:lnTo>
                      <a:pt x="1185" y="1105"/>
                    </a:lnTo>
                    <a:lnTo>
                      <a:pt x="1185" y="1104"/>
                    </a:lnTo>
                    <a:lnTo>
                      <a:pt x="1183" y="1104"/>
                    </a:lnTo>
                    <a:lnTo>
                      <a:pt x="1185" y="1104"/>
                    </a:lnTo>
                    <a:lnTo>
                      <a:pt x="1186" y="1102"/>
                    </a:lnTo>
                    <a:lnTo>
                      <a:pt x="1188" y="1100"/>
                    </a:lnTo>
                    <a:lnTo>
                      <a:pt x="1188" y="1099"/>
                    </a:lnTo>
                    <a:lnTo>
                      <a:pt x="1190" y="1099"/>
                    </a:lnTo>
                    <a:lnTo>
                      <a:pt x="1191" y="1097"/>
                    </a:lnTo>
                    <a:close/>
                    <a:moveTo>
                      <a:pt x="1174" y="1449"/>
                    </a:moveTo>
                    <a:lnTo>
                      <a:pt x="1174" y="1451"/>
                    </a:lnTo>
                    <a:lnTo>
                      <a:pt x="1174" y="1453"/>
                    </a:lnTo>
                    <a:lnTo>
                      <a:pt x="1176" y="1453"/>
                    </a:lnTo>
                    <a:lnTo>
                      <a:pt x="1174" y="1453"/>
                    </a:lnTo>
                    <a:lnTo>
                      <a:pt x="1174" y="1454"/>
                    </a:lnTo>
                    <a:lnTo>
                      <a:pt x="1173" y="1454"/>
                    </a:lnTo>
                    <a:lnTo>
                      <a:pt x="1173" y="1456"/>
                    </a:lnTo>
                    <a:lnTo>
                      <a:pt x="1174" y="1456"/>
                    </a:lnTo>
                    <a:lnTo>
                      <a:pt x="1174" y="1454"/>
                    </a:lnTo>
                    <a:lnTo>
                      <a:pt x="1176" y="1454"/>
                    </a:lnTo>
                    <a:lnTo>
                      <a:pt x="1176" y="1453"/>
                    </a:lnTo>
                    <a:lnTo>
                      <a:pt x="1176" y="1454"/>
                    </a:lnTo>
                    <a:lnTo>
                      <a:pt x="1176" y="1456"/>
                    </a:lnTo>
                    <a:lnTo>
                      <a:pt x="1176" y="1454"/>
                    </a:lnTo>
                    <a:lnTo>
                      <a:pt x="1176" y="1453"/>
                    </a:lnTo>
                    <a:lnTo>
                      <a:pt x="1176" y="1454"/>
                    </a:lnTo>
                    <a:lnTo>
                      <a:pt x="1176" y="1456"/>
                    </a:lnTo>
                    <a:lnTo>
                      <a:pt x="1176" y="1458"/>
                    </a:lnTo>
                    <a:lnTo>
                      <a:pt x="1174" y="1458"/>
                    </a:lnTo>
                    <a:lnTo>
                      <a:pt x="1173" y="1458"/>
                    </a:lnTo>
                    <a:lnTo>
                      <a:pt x="1174" y="1459"/>
                    </a:lnTo>
                    <a:lnTo>
                      <a:pt x="1173" y="1461"/>
                    </a:lnTo>
                    <a:lnTo>
                      <a:pt x="1173" y="1463"/>
                    </a:lnTo>
                    <a:lnTo>
                      <a:pt x="1173" y="1461"/>
                    </a:lnTo>
                    <a:lnTo>
                      <a:pt x="1173" y="1463"/>
                    </a:lnTo>
                    <a:lnTo>
                      <a:pt x="1173" y="1461"/>
                    </a:lnTo>
                    <a:lnTo>
                      <a:pt x="1174" y="1461"/>
                    </a:lnTo>
                    <a:lnTo>
                      <a:pt x="1174" y="1463"/>
                    </a:lnTo>
                    <a:lnTo>
                      <a:pt x="1173" y="1463"/>
                    </a:lnTo>
                    <a:lnTo>
                      <a:pt x="1173" y="1464"/>
                    </a:lnTo>
                    <a:lnTo>
                      <a:pt x="1173" y="1466"/>
                    </a:lnTo>
                    <a:lnTo>
                      <a:pt x="1173" y="1464"/>
                    </a:lnTo>
                    <a:lnTo>
                      <a:pt x="1171" y="1466"/>
                    </a:lnTo>
                    <a:lnTo>
                      <a:pt x="1173" y="1466"/>
                    </a:lnTo>
                    <a:lnTo>
                      <a:pt x="1171" y="1466"/>
                    </a:lnTo>
                    <a:lnTo>
                      <a:pt x="1171" y="1468"/>
                    </a:lnTo>
                    <a:lnTo>
                      <a:pt x="1169" y="1468"/>
                    </a:lnTo>
                    <a:lnTo>
                      <a:pt x="1169" y="1470"/>
                    </a:lnTo>
                    <a:lnTo>
                      <a:pt x="1169" y="1471"/>
                    </a:lnTo>
                    <a:lnTo>
                      <a:pt x="1168" y="1471"/>
                    </a:lnTo>
                    <a:lnTo>
                      <a:pt x="1168" y="1470"/>
                    </a:lnTo>
                    <a:lnTo>
                      <a:pt x="1166" y="1470"/>
                    </a:lnTo>
                    <a:lnTo>
                      <a:pt x="1168" y="1468"/>
                    </a:lnTo>
                    <a:lnTo>
                      <a:pt x="1168" y="1466"/>
                    </a:lnTo>
                    <a:lnTo>
                      <a:pt x="1169" y="1466"/>
                    </a:lnTo>
                    <a:lnTo>
                      <a:pt x="1169" y="1464"/>
                    </a:lnTo>
                    <a:lnTo>
                      <a:pt x="1171" y="1464"/>
                    </a:lnTo>
                    <a:lnTo>
                      <a:pt x="1169" y="1464"/>
                    </a:lnTo>
                    <a:lnTo>
                      <a:pt x="1169" y="1463"/>
                    </a:lnTo>
                    <a:lnTo>
                      <a:pt x="1169" y="1464"/>
                    </a:lnTo>
                    <a:lnTo>
                      <a:pt x="1168" y="1464"/>
                    </a:lnTo>
                    <a:lnTo>
                      <a:pt x="1169" y="1464"/>
                    </a:lnTo>
                    <a:lnTo>
                      <a:pt x="1168" y="1464"/>
                    </a:lnTo>
                    <a:lnTo>
                      <a:pt x="1169" y="1463"/>
                    </a:lnTo>
                    <a:lnTo>
                      <a:pt x="1169" y="1461"/>
                    </a:lnTo>
                    <a:lnTo>
                      <a:pt x="1171" y="1459"/>
                    </a:lnTo>
                    <a:lnTo>
                      <a:pt x="1169" y="1461"/>
                    </a:lnTo>
                    <a:lnTo>
                      <a:pt x="1169" y="1459"/>
                    </a:lnTo>
                    <a:lnTo>
                      <a:pt x="1169" y="1458"/>
                    </a:lnTo>
                    <a:lnTo>
                      <a:pt x="1171" y="1458"/>
                    </a:lnTo>
                    <a:lnTo>
                      <a:pt x="1171" y="1456"/>
                    </a:lnTo>
                    <a:lnTo>
                      <a:pt x="1171" y="1454"/>
                    </a:lnTo>
                    <a:lnTo>
                      <a:pt x="1171" y="1453"/>
                    </a:lnTo>
                    <a:lnTo>
                      <a:pt x="1173" y="1454"/>
                    </a:lnTo>
                    <a:lnTo>
                      <a:pt x="1173" y="1453"/>
                    </a:lnTo>
                    <a:lnTo>
                      <a:pt x="1173" y="1454"/>
                    </a:lnTo>
                    <a:lnTo>
                      <a:pt x="1173" y="1453"/>
                    </a:lnTo>
                    <a:lnTo>
                      <a:pt x="1173" y="1454"/>
                    </a:lnTo>
                    <a:lnTo>
                      <a:pt x="1173" y="1453"/>
                    </a:lnTo>
                    <a:lnTo>
                      <a:pt x="1171" y="1453"/>
                    </a:lnTo>
                    <a:lnTo>
                      <a:pt x="1173" y="1451"/>
                    </a:lnTo>
                    <a:lnTo>
                      <a:pt x="1174" y="1449"/>
                    </a:lnTo>
                    <a:close/>
                    <a:moveTo>
                      <a:pt x="1186" y="1075"/>
                    </a:moveTo>
                    <a:lnTo>
                      <a:pt x="1188" y="1075"/>
                    </a:lnTo>
                    <a:lnTo>
                      <a:pt x="1188" y="1077"/>
                    </a:lnTo>
                    <a:lnTo>
                      <a:pt x="1190" y="1078"/>
                    </a:lnTo>
                    <a:lnTo>
                      <a:pt x="1190" y="1080"/>
                    </a:lnTo>
                    <a:lnTo>
                      <a:pt x="1188" y="1080"/>
                    </a:lnTo>
                    <a:lnTo>
                      <a:pt x="1186" y="1080"/>
                    </a:lnTo>
                    <a:lnTo>
                      <a:pt x="1185" y="1080"/>
                    </a:lnTo>
                    <a:lnTo>
                      <a:pt x="1186" y="1080"/>
                    </a:lnTo>
                    <a:lnTo>
                      <a:pt x="1188" y="1080"/>
                    </a:lnTo>
                    <a:lnTo>
                      <a:pt x="1190" y="1080"/>
                    </a:lnTo>
                    <a:lnTo>
                      <a:pt x="1190" y="1078"/>
                    </a:lnTo>
                    <a:lnTo>
                      <a:pt x="1191" y="1080"/>
                    </a:lnTo>
                    <a:lnTo>
                      <a:pt x="1191" y="1082"/>
                    </a:lnTo>
                    <a:lnTo>
                      <a:pt x="1191" y="1080"/>
                    </a:lnTo>
                    <a:lnTo>
                      <a:pt x="1191" y="1082"/>
                    </a:lnTo>
                    <a:lnTo>
                      <a:pt x="1193" y="1083"/>
                    </a:lnTo>
                    <a:lnTo>
                      <a:pt x="1191" y="1083"/>
                    </a:lnTo>
                    <a:lnTo>
                      <a:pt x="1190" y="1083"/>
                    </a:lnTo>
                    <a:lnTo>
                      <a:pt x="1188" y="1083"/>
                    </a:lnTo>
                    <a:lnTo>
                      <a:pt x="1186" y="1083"/>
                    </a:lnTo>
                    <a:lnTo>
                      <a:pt x="1185" y="1083"/>
                    </a:lnTo>
                    <a:lnTo>
                      <a:pt x="1185" y="1082"/>
                    </a:lnTo>
                    <a:lnTo>
                      <a:pt x="1185" y="1080"/>
                    </a:lnTo>
                    <a:lnTo>
                      <a:pt x="1183" y="1080"/>
                    </a:lnTo>
                    <a:lnTo>
                      <a:pt x="1181" y="1080"/>
                    </a:lnTo>
                    <a:lnTo>
                      <a:pt x="1183" y="1080"/>
                    </a:lnTo>
                    <a:lnTo>
                      <a:pt x="1183" y="1082"/>
                    </a:lnTo>
                    <a:lnTo>
                      <a:pt x="1185" y="1083"/>
                    </a:lnTo>
                    <a:lnTo>
                      <a:pt x="1183" y="1083"/>
                    </a:lnTo>
                    <a:lnTo>
                      <a:pt x="1183" y="1082"/>
                    </a:lnTo>
                    <a:lnTo>
                      <a:pt x="1183" y="1083"/>
                    </a:lnTo>
                    <a:lnTo>
                      <a:pt x="1183" y="1082"/>
                    </a:lnTo>
                    <a:lnTo>
                      <a:pt x="1183" y="1083"/>
                    </a:lnTo>
                    <a:lnTo>
                      <a:pt x="1183" y="1082"/>
                    </a:lnTo>
                    <a:lnTo>
                      <a:pt x="1181" y="1082"/>
                    </a:lnTo>
                    <a:lnTo>
                      <a:pt x="1179" y="1082"/>
                    </a:lnTo>
                    <a:lnTo>
                      <a:pt x="1178" y="1080"/>
                    </a:lnTo>
                    <a:lnTo>
                      <a:pt x="1178" y="1078"/>
                    </a:lnTo>
                    <a:lnTo>
                      <a:pt x="1179" y="1077"/>
                    </a:lnTo>
                    <a:lnTo>
                      <a:pt x="1181" y="1077"/>
                    </a:lnTo>
                    <a:lnTo>
                      <a:pt x="1183" y="1077"/>
                    </a:lnTo>
                    <a:lnTo>
                      <a:pt x="1183" y="1078"/>
                    </a:lnTo>
                    <a:lnTo>
                      <a:pt x="1185" y="1077"/>
                    </a:lnTo>
                    <a:lnTo>
                      <a:pt x="1186" y="1075"/>
                    </a:lnTo>
                    <a:close/>
                    <a:moveTo>
                      <a:pt x="1169" y="1390"/>
                    </a:moveTo>
                    <a:lnTo>
                      <a:pt x="1169" y="1391"/>
                    </a:lnTo>
                    <a:lnTo>
                      <a:pt x="1171" y="1390"/>
                    </a:lnTo>
                    <a:lnTo>
                      <a:pt x="1171" y="1391"/>
                    </a:lnTo>
                    <a:lnTo>
                      <a:pt x="1173" y="1391"/>
                    </a:lnTo>
                    <a:lnTo>
                      <a:pt x="1171" y="1393"/>
                    </a:lnTo>
                    <a:lnTo>
                      <a:pt x="1171" y="1391"/>
                    </a:lnTo>
                    <a:lnTo>
                      <a:pt x="1171" y="1393"/>
                    </a:lnTo>
                    <a:lnTo>
                      <a:pt x="1171" y="1395"/>
                    </a:lnTo>
                    <a:lnTo>
                      <a:pt x="1169" y="1393"/>
                    </a:lnTo>
                    <a:lnTo>
                      <a:pt x="1169" y="1395"/>
                    </a:lnTo>
                    <a:lnTo>
                      <a:pt x="1171" y="1395"/>
                    </a:lnTo>
                    <a:lnTo>
                      <a:pt x="1169" y="1395"/>
                    </a:lnTo>
                    <a:lnTo>
                      <a:pt x="1171" y="1396"/>
                    </a:lnTo>
                    <a:lnTo>
                      <a:pt x="1171" y="1395"/>
                    </a:lnTo>
                    <a:lnTo>
                      <a:pt x="1173" y="1396"/>
                    </a:lnTo>
                    <a:lnTo>
                      <a:pt x="1173" y="1398"/>
                    </a:lnTo>
                    <a:lnTo>
                      <a:pt x="1171" y="1398"/>
                    </a:lnTo>
                    <a:lnTo>
                      <a:pt x="1169" y="1398"/>
                    </a:lnTo>
                    <a:lnTo>
                      <a:pt x="1171" y="1398"/>
                    </a:lnTo>
                    <a:lnTo>
                      <a:pt x="1173" y="1398"/>
                    </a:lnTo>
                    <a:lnTo>
                      <a:pt x="1171" y="1400"/>
                    </a:lnTo>
                    <a:lnTo>
                      <a:pt x="1173" y="1400"/>
                    </a:lnTo>
                    <a:lnTo>
                      <a:pt x="1173" y="1401"/>
                    </a:lnTo>
                    <a:lnTo>
                      <a:pt x="1173" y="1400"/>
                    </a:lnTo>
                    <a:lnTo>
                      <a:pt x="1173" y="1398"/>
                    </a:lnTo>
                    <a:lnTo>
                      <a:pt x="1173" y="1396"/>
                    </a:lnTo>
                    <a:lnTo>
                      <a:pt x="1174" y="1398"/>
                    </a:lnTo>
                    <a:lnTo>
                      <a:pt x="1174" y="1400"/>
                    </a:lnTo>
                    <a:lnTo>
                      <a:pt x="1174" y="1401"/>
                    </a:lnTo>
                    <a:lnTo>
                      <a:pt x="1173" y="1401"/>
                    </a:lnTo>
                    <a:lnTo>
                      <a:pt x="1173" y="1403"/>
                    </a:lnTo>
                    <a:lnTo>
                      <a:pt x="1171" y="1403"/>
                    </a:lnTo>
                    <a:lnTo>
                      <a:pt x="1171" y="1401"/>
                    </a:lnTo>
                    <a:lnTo>
                      <a:pt x="1169" y="1401"/>
                    </a:lnTo>
                    <a:lnTo>
                      <a:pt x="1168" y="1401"/>
                    </a:lnTo>
                    <a:lnTo>
                      <a:pt x="1166" y="1400"/>
                    </a:lnTo>
                    <a:lnTo>
                      <a:pt x="1168" y="1400"/>
                    </a:lnTo>
                    <a:lnTo>
                      <a:pt x="1166" y="1400"/>
                    </a:lnTo>
                    <a:lnTo>
                      <a:pt x="1164" y="1400"/>
                    </a:lnTo>
                    <a:lnTo>
                      <a:pt x="1164" y="1398"/>
                    </a:lnTo>
                    <a:lnTo>
                      <a:pt x="1166" y="1398"/>
                    </a:lnTo>
                    <a:lnTo>
                      <a:pt x="1168" y="1400"/>
                    </a:lnTo>
                    <a:lnTo>
                      <a:pt x="1166" y="1398"/>
                    </a:lnTo>
                    <a:lnTo>
                      <a:pt x="1168" y="1398"/>
                    </a:lnTo>
                    <a:lnTo>
                      <a:pt x="1166" y="1398"/>
                    </a:lnTo>
                    <a:lnTo>
                      <a:pt x="1168" y="1398"/>
                    </a:lnTo>
                    <a:lnTo>
                      <a:pt x="1166" y="1398"/>
                    </a:lnTo>
                    <a:lnTo>
                      <a:pt x="1164" y="1396"/>
                    </a:lnTo>
                    <a:lnTo>
                      <a:pt x="1166" y="1396"/>
                    </a:lnTo>
                    <a:lnTo>
                      <a:pt x="1166" y="1398"/>
                    </a:lnTo>
                    <a:lnTo>
                      <a:pt x="1168" y="1398"/>
                    </a:lnTo>
                    <a:lnTo>
                      <a:pt x="1168" y="1396"/>
                    </a:lnTo>
                    <a:lnTo>
                      <a:pt x="1166" y="1396"/>
                    </a:lnTo>
                    <a:lnTo>
                      <a:pt x="1164" y="1396"/>
                    </a:lnTo>
                    <a:lnTo>
                      <a:pt x="1164" y="1395"/>
                    </a:lnTo>
                    <a:lnTo>
                      <a:pt x="1166" y="1396"/>
                    </a:lnTo>
                    <a:lnTo>
                      <a:pt x="1168" y="1396"/>
                    </a:lnTo>
                    <a:lnTo>
                      <a:pt x="1166" y="1396"/>
                    </a:lnTo>
                    <a:lnTo>
                      <a:pt x="1166" y="1395"/>
                    </a:lnTo>
                    <a:lnTo>
                      <a:pt x="1164" y="1395"/>
                    </a:lnTo>
                    <a:lnTo>
                      <a:pt x="1166" y="1395"/>
                    </a:lnTo>
                    <a:lnTo>
                      <a:pt x="1164" y="1395"/>
                    </a:lnTo>
                    <a:lnTo>
                      <a:pt x="1164" y="1393"/>
                    </a:lnTo>
                    <a:lnTo>
                      <a:pt x="1166" y="1393"/>
                    </a:lnTo>
                    <a:lnTo>
                      <a:pt x="1168" y="1393"/>
                    </a:lnTo>
                    <a:lnTo>
                      <a:pt x="1168" y="1395"/>
                    </a:lnTo>
                    <a:lnTo>
                      <a:pt x="1166" y="1393"/>
                    </a:lnTo>
                    <a:lnTo>
                      <a:pt x="1168" y="1395"/>
                    </a:lnTo>
                    <a:lnTo>
                      <a:pt x="1169" y="1393"/>
                    </a:lnTo>
                    <a:lnTo>
                      <a:pt x="1168" y="1393"/>
                    </a:lnTo>
                    <a:lnTo>
                      <a:pt x="1168" y="1391"/>
                    </a:lnTo>
                    <a:lnTo>
                      <a:pt x="1166" y="1391"/>
                    </a:lnTo>
                    <a:lnTo>
                      <a:pt x="1164" y="1391"/>
                    </a:lnTo>
                    <a:lnTo>
                      <a:pt x="1164" y="1390"/>
                    </a:lnTo>
                    <a:lnTo>
                      <a:pt x="1166" y="1391"/>
                    </a:lnTo>
                    <a:lnTo>
                      <a:pt x="1166" y="1390"/>
                    </a:lnTo>
                    <a:lnTo>
                      <a:pt x="1168" y="1390"/>
                    </a:lnTo>
                    <a:lnTo>
                      <a:pt x="1168" y="1391"/>
                    </a:lnTo>
                    <a:lnTo>
                      <a:pt x="1169" y="1391"/>
                    </a:lnTo>
                    <a:lnTo>
                      <a:pt x="1169" y="1393"/>
                    </a:lnTo>
                    <a:lnTo>
                      <a:pt x="1169" y="1391"/>
                    </a:lnTo>
                    <a:lnTo>
                      <a:pt x="1168" y="1390"/>
                    </a:lnTo>
                    <a:lnTo>
                      <a:pt x="1169" y="1390"/>
                    </a:lnTo>
                    <a:close/>
                    <a:moveTo>
                      <a:pt x="1195" y="1114"/>
                    </a:moveTo>
                    <a:lnTo>
                      <a:pt x="1196" y="1114"/>
                    </a:lnTo>
                    <a:lnTo>
                      <a:pt x="1195" y="1114"/>
                    </a:lnTo>
                    <a:lnTo>
                      <a:pt x="1196" y="1116"/>
                    </a:lnTo>
                    <a:lnTo>
                      <a:pt x="1196" y="1117"/>
                    </a:lnTo>
                    <a:lnTo>
                      <a:pt x="1198" y="1117"/>
                    </a:lnTo>
                    <a:lnTo>
                      <a:pt x="1200" y="1117"/>
                    </a:lnTo>
                    <a:lnTo>
                      <a:pt x="1202" y="1116"/>
                    </a:lnTo>
                    <a:lnTo>
                      <a:pt x="1203" y="1116"/>
                    </a:lnTo>
                    <a:lnTo>
                      <a:pt x="1203" y="1117"/>
                    </a:lnTo>
                    <a:lnTo>
                      <a:pt x="1203" y="1119"/>
                    </a:lnTo>
                    <a:lnTo>
                      <a:pt x="1205" y="1119"/>
                    </a:lnTo>
                    <a:lnTo>
                      <a:pt x="1205" y="1121"/>
                    </a:lnTo>
                    <a:lnTo>
                      <a:pt x="1205" y="1122"/>
                    </a:lnTo>
                    <a:lnTo>
                      <a:pt x="1203" y="1121"/>
                    </a:lnTo>
                    <a:lnTo>
                      <a:pt x="1203" y="1122"/>
                    </a:lnTo>
                    <a:lnTo>
                      <a:pt x="1203" y="1121"/>
                    </a:lnTo>
                    <a:lnTo>
                      <a:pt x="1202" y="1122"/>
                    </a:lnTo>
                    <a:lnTo>
                      <a:pt x="1202" y="1121"/>
                    </a:lnTo>
                    <a:lnTo>
                      <a:pt x="1200" y="1121"/>
                    </a:lnTo>
                    <a:lnTo>
                      <a:pt x="1200" y="1122"/>
                    </a:lnTo>
                    <a:lnTo>
                      <a:pt x="1198" y="1122"/>
                    </a:lnTo>
                    <a:lnTo>
                      <a:pt x="1200" y="1121"/>
                    </a:lnTo>
                    <a:lnTo>
                      <a:pt x="1198" y="1122"/>
                    </a:lnTo>
                    <a:lnTo>
                      <a:pt x="1196" y="1122"/>
                    </a:lnTo>
                    <a:lnTo>
                      <a:pt x="1196" y="1121"/>
                    </a:lnTo>
                    <a:lnTo>
                      <a:pt x="1195" y="1121"/>
                    </a:lnTo>
                    <a:lnTo>
                      <a:pt x="1193" y="1121"/>
                    </a:lnTo>
                    <a:lnTo>
                      <a:pt x="1193" y="1119"/>
                    </a:lnTo>
                    <a:lnTo>
                      <a:pt x="1193" y="1121"/>
                    </a:lnTo>
                    <a:lnTo>
                      <a:pt x="1193" y="1122"/>
                    </a:lnTo>
                    <a:lnTo>
                      <a:pt x="1193" y="1121"/>
                    </a:lnTo>
                    <a:lnTo>
                      <a:pt x="1193" y="1119"/>
                    </a:lnTo>
                    <a:lnTo>
                      <a:pt x="1191" y="1121"/>
                    </a:lnTo>
                    <a:lnTo>
                      <a:pt x="1193" y="1119"/>
                    </a:lnTo>
                    <a:lnTo>
                      <a:pt x="1191" y="1119"/>
                    </a:lnTo>
                    <a:lnTo>
                      <a:pt x="1191" y="1117"/>
                    </a:lnTo>
                    <a:lnTo>
                      <a:pt x="1191" y="1116"/>
                    </a:lnTo>
                    <a:lnTo>
                      <a:pt x="1191" y="1114"/>
                    </a:lnTo>
                    <a:lnTo>
                      <a:pt x="1193" y="1116"/>
                    </a:lnTo>
                    <a:lnTo>
                      <a:pt x="1195" y="1114"/>
                    </a:lnTo>
                    <a:close/>
                    <a:moveTo>
                      <a:pt x="1288" y="1623"/>
                    </a:moveTo>
                    <a:lnTo>
                      <a:pt x="1290" y="1623"/>
                    </a:lnTo>
                    <a:lnTo>
                      <a:pt x="1292" y="1623"/>
                    </a:lnTo>
                    <a:lnTo>
                      <a:pt x="1290" y="1623"/>
                    </a:lnTo>
                    <a:lnTo>
                      <a:pt x="1292" y="1621"/>
                    </a:lnTo>
                    <a:lnTo>
                      <a:pt x="1292" y="1623"/>
                    </a:lnTo>
                    <a:lnTo>
                      <a:pt x="1293" y="1623"/>
                    </a:lnTo>
                    <a:lnTo>
                      <a:pt x="1293" y="1624"/>
                    </a:lnTo>
                    <a:lnTo>
                      <a:pt x="1293" y="1623"/>
                    </a:lnTo>
                    <a:lnTo>
                      <a:pt x="1293" y="1624"/>
                    </a:lnTo>
                    <a:lnTo>
                      <a:pt x="1295" y="1624"/>
                    </a:lnTo>
                    <a:lnTo>
                      <a:pt x="1295" y="1626"/>
                    </a:lnTo>
                    <a:lnTo>
                      <a:pt x="1297" y="1624"/>
                    </a:lnTo>
                    <a:lnTo>
                      <a:pt x="1298" y="1624"/>
                    </a:lnTo>
                    <a:lnTo>
                      <a:pt x="1297" y="1624"/>
                    </a:lnTo>
                    <a:lnTo>
                      <a:pt x="1297" y="1626"/>
                    </a:lnTo>
                    <a:lnTo>
                      <a:pt x="1298" y="1626"/>
                    </a:lnTo>
                    <a:lnTo>
                      <a:pt x="1300" y="1626"/>
                    </a:lnTo>
                    <a:lnTo>
                      <a:pt x="1298" y="1628"/>
                    </a:lnTo>
                    <a:lnTo>
                      <a:pt x="1297" y="1628"/>
                    </a:lnTo>
                    <a:lnTo>
                      <a:pt x="1298" y="1628"/>
                    </a:lnTo>
                    <a:lnTo>
                      <a:pt x="1300" y="1628"/>
                    </a:lnTo>
                    <a:lnTo>
                      <a:pt x="1298" y="1629"/>
                    </a:lnTo>
                    <a:lnTo>
                      <a:pt x="1298" y="1628"/>
                    </a:lnTo>
                    <a:lnTo>
                      <a:pt x="1297" y="1628"/>
                    </a:lnTo>
                    <a:lnTo>
                      <a:pt x="1297" y="1629"/>
                    </a:lnTo>
                    <a:lnTo>
                      <a:pt x="1295" y="1629"/>
                    </a:lnTo>
                    <a:lnTo>
                      <a:pt x="1293" y="1629"/>
                    </a:lnTo>
                    <a:lnTo>
                      <a:pt x="1293" y="1628"/>
                    </a:lnTo>
                    <a:lnTo>
                      <a:pt x="1292" y="1629"/>
                    </a:lnTo>
                    <a:lnTo>
                      <a:pt x="1292" y="1628"/>
                    </a:lnTo>
                    <a:lnTo>
                      <a:pt x="1293" y="1628"/>
                    </a:lnTo>
                    <a:lnTo>
                      <a:pt x="1295" y="1626"/>
                    </a:lnTo>
                    <a:lnTo>
                      <a:pt x="1293" y="1626"/>
                    </a:lnTo>
                    <a:lnTo>
                      <a:pt x="1292" y="1626"/>
                    </a:lnTo>
                    <a:lnTo>
                      <a:pt x="1292" y="1628"/>
                    </a:lnTo>
                    <a:lnTo>
                      <a:pt x="1292" y="1626"/>
                    </a:lnTo>
                    <a:lnTo>
                      <a:pt x="1292" y="1628"/>
                    </a:lnTo>
                    <a:lnTo>
                      <a:pt x="1290" y="1628"/>
                    </a:lnTo>
                    <a:lnTo>
                      <a:pt x="1290" y="1626"/>
                    </a:lnTo>
                    <a:lnTo>
                      <a:pt x="1290" y="1624"/>
                    </a:lnTo>
                    <a:lnTo>
                      <a:pt x="1292" y="1624"/>
                    </a:lnTo>
                    <a:lnTo>
                      <a:pt x="1290" y="1624"/>
                    </a:lnTo>
                    <a:lnTo>
                      <a:pt x="1288" y="1626"/>
                    </a:lnTo>
                    <a:lnTo>
                      <a:pt x="1288" y="1624"/>
                    </a:lnTo>
                    <a:lnTo>
                      <a:pt x="1287" y="1624"/>
                    </a:lnTo>
                    <a:lnTo>
                      <a:pt x="1288" y="1624"/>
                    </a:lnTo>
                    <a:lnTo>
                      <a:pt x="1288" y="1626"/>
                    </a:lnTo>
                    <a:lnTo>
                      <a:pt x="1287" y="1626"/>
                    </a:lnTo>
                    <a:lnTo>
                      <a:pt x="1287" y="1628"/>
                    </a:lnTo>
                    <a:lnTo>
                      <a:pt x="1285" y="1628"/>
                    </a:lnTo>
                    <a:lnTo>
                      <a:pt x="1287" y="1629"/>
                    </a:lnTo>
                    <a:lnTo>
                      <a:pt x="1285" y="1629"/>
                    </a:lnTo>
                    <a:lnTo>
                      <a:pt x="1285" y="1628"/>
                    </a:lnTo>
                    <a:lnTo>
                      <a:pt x="1285" y="1626"/>
                    </a:lnTo>
                    <a:lnTo>
                      <a:pt x="1285" y="1628"/>
                    </a:lnTo>
                    <a:lnTo>
                      <a:pt x="1283" y="1628"/>
                    </a:lnTo>
                    <a:lnTo>
                      <a:pt x="1283" y="1629"/>
                    </a:lnTo>
                    <a:lnTo>
                      <a:pt x="1281" y="1629"/>
                    </a:lnTo>
                    <a:lnTo>
                      <a:pt x="1281" y="1628"/>
                    </a:lnTo>
                    <a:lnTo>
                      <a:pt x="1283" y="1626"/>
                    </a:lnTo>
                    <a:lnTo>
                      <a:pt x="1281" y="1626"/>
                    </a:lnTo>
                    <a:lnTo>
                      <a:pt x="1281" y="1624"/>
                    </a:lnTo>
                    <a:lnTo>
                      <a:pt x="1283" y="1624"/>
                    </a:lnTo>
                    <a:lnTo>
                      <a:pt x="1283" y="1623"/>
                    </a:lnTo>
                    <a:lnTo>
                      <a:pt x="1283" y="1621"/>
                    </a:lnTo>
                    <a:lnTo>
                      <a:pt x="1285" y="1623"/>
                    </a:lnTo>
                    <a:lnTo>
                      <a:pt x="1285" y="1621"/>
                    </a:lnTo>
                    <a:lnTo>
                      <a:pt x="1287" y="1623"/>
                    </a:lnTo>
                    <a:lnTo>
                      <a:pt x="1288" y="1623"/>
                    </a:lnTo>
                    <a:lnTo>
                      <a:pt x="1287" y="1621"/>
                    </a:lnTo>
                    <a:lnTo>
                      <a:pt x="1288" y="1623"/>
                    </a:lnTo>
                    <a:close/>
                    <a:moveTo>
                      <a:pt x="1207" y="1082"/>
                    </a:moveTo>
                    <a:lnTo>
                      <a:pt x="1208" y="1083"/>
                    </a:lnTo>
                    <a:lnTo>
                      <a:pt x="1210" y="1083"/>
                    </a:lnTo>
                    <a:lnTo>
                      <a:pt x="1208" y="1085"/>
                    </a:lnTo>
                    <a:lnTo>
                      <a:pt x="1208" y="1083"/>
                    </a:lnTo>
                    <a:lnTo>
                      <a:pt x="1207" y="1083"/>
                    </a:lnTo>
                    <a:lnTo>
                      <a:pt x="1208" y="1083"/>
                    </a:lnTo>
                    <a:lnTo>
                      <a:pt x="1208" y="1085"/>
                    </a:lnTo>
                    <a:lnTo>
                      <a:pt x="1210" y="1085"/>
                    </a:lnTo>
                    <a:lnTo>
                      <a:pt x="1210" y="1087"/>
                    </a:lnTo>
                    <a:lnTo>
                      <a:pt x="1208" y="1087"/>
                    </a:lnTo>
                    <a:lnTo>
                      <a:pt x="1210" y="1088"/>
                    </a:lnTo>
                    <a:lnTo>
                      <a:pt x="1208" y="1088"/>
                    </a:lnTo>
                    <a:lnTo>
                      <a:pt x="1208" y="1090"/>
                    </a:lnTo>
                    <a:lnTo>
                      <a:pt x="1207" y="1090"/>
                    </a:lnTo>
                    <a:lnTo>
                      <a:pt x="1207" y="1092"/>
                    </a:lnTo>
                    <a:lnTo>
                      <a:pt x="1207" y="1090"/>
                    </a:lnTo>
                    <a:lnTo>
                      <a:pt x="1208" y="1090"/>
                    </a:lnTo>
                    <a:lnTo>
                      <a:pt x="1208" y="1088"/>
                    </a:lnTo>
                    <a:lnTo>
                      <a:pt x="1210" y="1088"/>
                    </a:lnTo>
                    <a:lnTo>
                      <a:pt x="1210" y="1090"/>
                    </a:lnTo>
                    <a:lnTo>
                      <a:pt x="1212" y="1090"/>
                    </a:lnTo>
                    <a:lnTo>
                      <a:pt x="1210" y="1090"/>
                    </a:lnTo>
                    <a:lnTo>
                      <a:pt x="1210" y="1092"/>
                    </a:lnTo>
                    <a:lnTo>
                      <a:pt x="1210" y="1090"/>
                    </a:lnTo>
                    <a:lnTo>
                      <a:pt x="1210" y="1092"/>
                    </a:lnTo>
                    <a:lnTo>
                      <a:pt x="1210" y="1090"/>
                    </a:lnTo>
                    <a:lnTo>
                      <a:pt x="1208" y="1092"/>
                    </a:lnTo>
                    <a:lnTo>
                      <a:pt x="1207" y="1092"/>
                    </a:lnTo>
                    <a:lnTo>
                      <a:pt x="1205" y="1092"/>
                    </a:lnTo>
                    <a:lnTo>
                      <a:pt x="1205" y="1090"/>
                    </a:lnTo>
                    <a:lnTo>
                      <a:pt x="1203" y="1090"/>
                    </a:lnTo>
                    <a:lnTo>
                      <a:pt x="1203" y="1088"/>
                    </a:lnTo>
                    <a:lnTo>
                      <a:pt x="1202" y="1088"/>
                    </a:lnTo>
                    <a:lnTo>
                      <a:pt x="1202" y="1087"/>
                    </a:lnTo>
                    <a:lnTo>
                      <a:pt x="1200" y="1085"/>
                    </a:lnTo>
                    <a:lnTo>
                      <a:pt x="1202" y="1085"/>
                    </a:lnTo>
                    <a:lnTo>
                      <a:pt x="1203" y="1087"/>
                    </a:lnTo>
                    <a:lnTo>
                      <a:pt x="1203" y="1088"/>
                    </a:lnTo>
                    <a:lnTo>
                      <a:pt x="1203" y="1087"/>
                    </a:lnTo>
                    <a:lnTo>
                      <a:pt x="1203" y="1085"/>
                    </a:lnTo>
                    <a:lnTo>
                      <a:pt x="1203" y="1083"/>
                    </a:lnTo>
                    <a:lnTo>
                      <a:pt x="1205" y="1083"/>
                    </a:lnTo>
                    <a:lnTo>
                      <a:pt x="1205" y="1082"/>
                    </a:lnTo>
                    <a:lnTo>
                      <a:pt x="1205" y="1083"/>
                    </a:lnTo>
                    <a:lnTo>
                      <a:pt x="1207" y="1082"/>
                    </a:lnTo>
                    <a:close/>
                    <a:moveTo>
                      <a:pt x="1207" y="1145"/>
                    </a:moveTo>
                    <a:lnTo>
                      <a:pt x="1207" y="1146"/>
                    </a:lnTo>
                    <a:lnTo>
                      <a:pt x="1208" y="1146"/>
                    </a:lnTo>
                    <a:lnTo>
                      <a:pt x="1208" y="1148"/>
                    </a:lnTo>
                    <a:lnTo>
                      <a:pt x="1207" y="1148"/>
                    </a:lnTo>
                    <a:lnTo>
                      <a:pt x="1208" y="1148"/>
                    </a:lnTo>
                    <a:lnTo>
                      <a:pt x="1208" y="1150"/>
                    </a:lnTo>
                    <a:lnTo>
                      <a:pt x="1207" y="1150"/>
                    </a:lnTo>
                    <a:lnTo>
                      <a:pt x="1208" y="1150"/>
                    </a:lnTo>
                    <a:lnTo>
                      <a:pt x="1208" y="1151"/>
                    </a:lnTo>
                    <a:lnTo>
                      <a:pt x="1207" y="1151"/>
                    </a:lnTo>
                    <a:lnTo>
                      <a:pt x="1208" y="1153"/>
                    </a:lnTo>
                    <a:lnTo>
                      <a:pt x="1207" y="1155"/>
                    </a:lnTo>
                    <a:lnTo>
                      <a:pt x="1205" y="1153"/>
                    </a:lnTo>
                    <a:lnTo>
                      <a:pt x="1203" y="1153"/>
                    </a:lnTo>
                    <a:lnTo>
                      <a:pt x="1203" y="1151"/>
                    </a:lnTo>
                    <a:lnTo>
                      <a:pt x="1203" y="1150"/>
                    </a:lnTo>
                    <a:lnTo>
                      <a:pt x="1205" y="1148"/>
                    </a:lnTo>
                    <a:lnTo>
                      <a:pt x="1207" y="1148"/>
                    </a:lnTo>
                    <a:lnTo>
                      <a:pt x="1205" y="1150"/>
                    </a:lnTo>
                    <a:lnTo>
                      <a:pt x="1207" y="1150"/>
                    </a:lnTo>
                    <a:lnTo>
                      <a:pt x="1205" y="1148"/>
                    </a:lnTo>
                    <a:lnTo>
                      <a:pt x="1207" y="1148"/>
                    </a:lnTo>
                    <a:lnTo>
                      <a:pt x="1207" y="1146"/>
                    </a:lnTo>
                    <a:lnTo>
                      <a:pt x="1205" y="1146"/>
                    </a:lnTo>
                    <a:lnTo>
                      <a:pt x="1203" y="1146"/>
                    </a:lnTo>
                    <a:lnTo>
                      <a:pt x="1203" y="1148"/>
                    </a:lnTo>
                    <a:lnTo>
                      <a:pt x="1205" y="1148"/>
                    </a:lnTo>
                    <a:lnTo>
                      <a:pt x="1203" y="1148"/>
                    </a:lnTo>
                    <a:lnTo>
                      <a:pt x="1203" y="1150"/>
                    </a:lnTo>
                    <a:lnTo>
                      <a:pt x="1202" y="1148"/>
                    </a:lnTo>
                    <a:lnTo>
                      <a:pt x="1202" y="1150"/>
                    </a:lnTo>
                    <a:lnTo>
                      <a:pt x="1203" y="1150"/>
                    </a:lnTo>
                    <a:lnTo>
                      <a:pt x="1203" y="1151"/>
                    </a:lnTo>
                    <a:lnTo>
                      <a:pt x="1202" y="1151"/>
                    </a:lnTo>
                    <a:lnTo>
                      <a:pt x="1200" y="1151"/>
                    </a:lnTo>
                    <a:lnTo>
                      <a:pt x="1200" y="1150"/>
                    </a:lnTo>
                    <a:lnTo>
                      <a:pt x="1198" y="1150"/>
                    </a:lnTo>
                    <a:lnTo>
                      <a:pt x="1200" y="1150"/>
                    </a:lnTo>
                    <a:lnTo>
                      <a:pt x="1200" y="1148"/>
                    </a:lnTo>
                    <a:lnTo>
                      <a:pt x="1200" y="1146"/>
                    </a:lnTo>
                    <a:lnTo>
                      <a:pt x="1202" y="1146"/>
                    </a:lnTo>
                    <a:lnTo>
                      <a:pt x="1203" y="1146"/>
                    </a:lnTo>
                    <a:lnTo>
                      <a:pt x="1205" y="1145"/>
                    </a:lnTo>
                    <a:lnTo>
                      <a:pt x="1203" y="1145"/>
                    </a:lnTo>
                    <a:lnTo>
                      <a:pt x="1205" y="1145"/>
                    </a:lnTo>
                    <a:lnTo>
                      <a:pt x="1205" y="1143"/>
                    </a:lnTo>
                    <a:lnTo>
                      <a:pt x="1207" y="1143"/>
                    </a:lnTo>
                    <a:lnTo>
                      <a:pt x="1207" y="1145"/>
                    </a:lnTo>
                    <a:close/>
                    <a:moveTo>
                      <a:pt x="1196" y="1065"/>
                    </a:moveTo>
                    <a:lnTo>
                      <a:pt x="1196" y="1066"/>
                    </a:lnTo>
                    <a:lnTo>
                      <a:pt x="1198" y="1066"/>
                    </a:lnTo>
                    <a:lnTo>
                      <a:pt x="1200" y="1066"/>
                    </a:lnTo>
                    <a:lnTo>
                      <a:pt x="1200" y="1068"/>
                    </a:lnTo>
                    <a:lnTo>
                      <a:pt x="1202" y="1068"/>
                    </a:lnTo>
                    <a:lnTo>
                      <a:pt x="1200" y="1068"/>
                    </a:lnTo>
                    <a:lnTo>
                      <a:pt x="1198" y="1068"/>
                    </a:lnTo>
                    <a:lnTo>
                      <a:pt x="1198" y="1070"/>
                    </a:lnTo>
                    <a:lnTo>
                      <a:pt x="1196" y="1068"/>
                    </a:lnTo>
                    <a:lnTo>
                      <a:pt x="1195" y="1068"/>
                    </a:lnTo>
                    <a:lnTo>
                      <a:pt x="1196" y="1070"/>
                    </a:lnTo>
                    <a:lnTo>
                      <a:pt x="1198" y="1071"/>
                    </a:lnTo>
                    <a:lnTo>
                      <a:pt x="1196" y="1070"/>
                    </a:lnTo>
                    <a:lnTo>
                      <a:pt x="1198" y="1070"/>
                    </a:lnTo>
                    <a:lnTo>
                      <a:pt x="1200" y="1071"/>
                    </a:lnTo>
                    <a:lnTo>
                      <a:pt x="1202" y="1071"/>
                    </a:lnTo>
                    <a:lnTo>
                      <a:pt x="1202" y="1070"/>
                    </a:lnTo>
                    <a:lnTo>
                      <a:pt x="1203" y="1070"/>
                    </a:lnTo>
                    <a:lnTo>
                      <a:pt x="1203" y="1071"/>
                    </a:lnTo>
                    <a:lnTo>
                      <a:pt x="1205" y="1071"/>
                    </a:lnTo>
                    <a:lnTo>
                      <a:pt x="1205" y="1073"/>
                    </a:lnTo>
                    <a:lnTo>
                      <a:pt x="1203" y="1073"/>
                    </a:lnTo>
                    <a:lnTo>
                      <a:pt x="1202" y="1073"/>
                    </a:lnTo>
                    <a:lnTo>
                      <a:pt x="1200" y="1073"/>
                    </a:lnTo>
                    <a:lnTo>
                      <a:pt x="1200" y="1071"/>
                    </a:lnTo>
                    <a:lnTo>
                      <a:pt x="1200" y="1073"/>
                    </a:lnTo>
                    <a:lnTo>
                      <a:pt x="1198" y="1073"/>
                    </a:lnTo>
                    <a:lnTo>
                      <a:pt x="1198" y="1071"/>
                    </a:lnTo>
                    <a:lnTo>
                      <a:pt x="1198" y="1073"/>
                    </a:lnTo>
                    <a:lnTo>
                      <a:pt x="1196" y="1073"/>
                    </a:lnTo>
                    <a:lnTo>
                      <a:pt x="1196" y="1071"/>
                    </a:lnTo>
                    <a:lnTo>
                      <a:pt x="1196" y="1073"/>
                    </a:lnTo>
                    <a:lnTo>
                      <a:pt x="1196" y="1071"/>
                    </a:lnTo>
                    <a:lnTo>
                      <a:pt x="1195" y="1071"/>
                    </a:lnTo>
                    <a:lnTo>
                      <a:pt x="1193" y="1070"/>
                    </a:lnTo>
                    <a:lnTo>
                      <a:pt x="1195" y="1068"/>
                    </a:lnTo>
                    <a:lnTo>
                      <a:pt x="1193" y="1068"/>
                    </a:lnTo>
                    <a:lnTo>
                      <a:pt x="1193" y="1066"/>
                    </a:lnTo>
                    <a:lnTo>
                      <a:pt x="1193" y="1065"/>
                    </a:lnTo>
                    <a:lnTo>
                      <a:pt x="1195" y="1065"/>
                    </a:lnTo>
                    <a:lnTo>
                      <a:pt x="1195" y="1063"/>
                    </a:lnTo>
                    <a:lnTo>
                      <a:pt x="1196" y="1063"/>
                    </a:lnTo>
                    <a:lnTo>
                      <a:pt x="1196" y="1065"/>
                    </a:lnTo>
                    <a:close/>
                    <a:moveTo>
                      <a:pt x="1254" y="1578"/>
                    </a:moveTo>
                    <a:lnTo>
                      <a:pt x="1254" y="1580"/>
                    </a:lnTo>
                    <a:lnTo>
                      <a:pt x="1254" y="1578"/>
                    </a:lnTo>
                    <a:lnTo>
                      <a:pt x="1256" y="1580"/>
                    </a:lnTo>
                    <a:lnTo>
                      <a:pt x="1254" y="1582"/>
                    </a:lnTo>
                    <a:lnTo>
                      <a:pt x="1256" y="1580"/>
                    </a:lnTo>
                    <a:lnTo>
                      <a:pt x="1256" y="1582"/>
                    </a:lnTo>
                    <a:lnTo>
                      <a:pt x="1258" y="1582"/>
                    </a:lnTo>
                    <a:lnTo>
                      <a:pt x="1256" y="1582"/>
                    </a:lnTo>
                    <a:lnTo>
                      <a:pt x="1256" y="1583"/>
                    </a:lnTo>
                    <a:lnTo>
                      <a:pt x="1254" y="1582"/>
                    </a:lnTo>
                    <a:lnTo>
                      <a:pt x="1254" y="1583"/>
                    </a:lnTo>
                    <a:lnTo>
                      <a:pt x="1254" y="1585"/>
                    </a:lnTo>
                    <a:lnTo>
                      <a:pt x="1254" y="1587"/>
                    </a:lnTo>
                    <a:lnTo>
                      <a:pt x="1253" y="1585"/>
                    </a:lnTo>
                    <a:lnTo>
                      <a:pt x="1253" y="1587"/>
                    </a:lnTo>
                    <a:lnTo>
                      <a:pt x="1254" y="1587"/>
                    </a:lnTo>
                    <a:lnTo>
                      <a:pt x="1253" y="1589"/>
                    </a:lnTo>
                    <a:lnTo>
                      <a:pt x="1251" y="1589"/>
                    </a:lnTo>
                    <a:lnTo>
                      <a:pt x="1251" y="1587"/>
                    </a:lnTo>
                    <a:lnTo>
                      <a:pt x="1249" y="1587"/>
                    </a:lnTo>
                    <a:lnTo>
                      <a:pt x="1251" y="1587"/>
                    </a:lnTo>
                    <a:lnTo>
                      <a:pt x="1249" y="1589"/>
                    </a:lnTo>
                    <a:lnTo>
                      <a:pt x="1251" y="1589"/>
                    </a:lnTo>
                    <a:lnTo>
                      <a:pt x="1253" y="1590"/>
                    </a:lnTo>
                    <a:lnTo>
                      <a:pt x="1251" y="1590"/>
                    </a:lnTo>
                    <a:lnTo>
                      <a:pt x="1249" y="1589"/>
                    </a:lnTo>
                    <a:lnTo>
                      <a:pt x="1249" y="1590"/>
                    </a:lnTo>
                    <a:lnTo>
                      <a:pt x="1247" y="1590"/>
                    </a:lnTo>
                    <a:lnTo>
                      <a:pt x="1247" y="1589"/>
                    </a:lnTo>
                    <a:lnTo>
                      <a:pt x="1246" y="1589"/>
                    </a:lnTo>
                    <a:lnTo>
                      <a:pt x="1247" y="1587"/>
                    </a:lnTo>
                    <a:lnTo>
                      <a:pt x="1247" y="1589"/>
                    </a:lnTo>
                    <a:lnTo>
                      <a:pt x="1247" y="1587"/>
                    </a:lnTo>
                    <a:lnTo>
                      <a:pt x="1246" y="1587"/>
                    </a:lnTo>
                    <a:lnTo>
                      <a:pt x="1247" y="1585"/>
                    </a:lnTo>
                    <a:lnTo>
                      <a:pt x="1249" y="1585"/>
                    </a:lnTo>
                    <a:lnTo>
                      <a:pt x="1251" y="1585"/>
                    </a:lnTo>
                    <a:lnTo>
                      <a:pt x="1249" y="1585"/>
                    </a:lnTo>
                    <a:lnTo>
                      <a:pt x="1249" y="1583"/>
                    </a:lnTo>
                    <a:lnTo>
                      <a:pt x="1251" y="1585"/>
                    </a:lnTo>
                    <a:lnTo>
                      <a:pt x="1251" y="1583"/>
                    </a:lnTo>
                    <a:lnTo>
                      <a:pt x="1253" y="1583"/>
                    </a:lnTo>
                    <a:lnTo>
                      <a:pt x="1253" y="1582"/>
                    </a:lnTo>
                    <a:lnTo>
                      <a:pt x="1251" y="1583"/>
                    </a:lnTo>
                    <a:lnTo>
                      <a:pt x="1249" y="1583"/>
                    </a:lnTo>
                    <a:lnTo>
                      <a:pt x="1249" y="1582"/>
                    </a:lnTo>
                    <a:lnTo>
                      <a:pt x="1251" y="1582"/>
                    </a:lnTo>
                    <a:lnTo>
                      <a:pt x="1251" y="1580"/>
                    </a:lnTo>
                    <a:lnTo>
                      <a:pt x="1249" y="1580"/>
                    </a:lnTo>
                    <a:lnTo>
                      <a:pt x="1249" y="1578"/>
                    </a:lnTo>
                    <a:lnTo>
                      <a:pt x="1251" y="1578"/>
                    </a:lnTo>
                    <a:lnTo>
                      <a:pt x="1253" y="1578"/>
                    </a:lnTo>
                    <a:lnTo>
                      <a:pt x="1253" y="1577"/>
                    </a:lnTo>
                    <a:lnTo>
                      <a:pt x="1254" y="1578"/>
                    </a:lnTo>
                    <a:close/>
                    <a:moveTo>
                      <a:pt x="1421" y="1667"/>
                    </a:moveTo>
                    <a:lnTo>
                      <a:pt x="1419" y="1669"/>
                    </a:lnTo>
                    <a:lnTo>
                      <a:pt x="1421" y="1669"/>
                    </a:lnTo>
                    <a:lnTo>
                      <a:pt x="1419" y="1670"/>
                    </a:lnTo>
                    <a:lnTo>
                      <a:pt x="1421" y="1670"/>
                    </a:lnTo>
                    <a:lnTo>
                      <a:pt x="1419" y="1672"/>
                    </a:lnTo>
                    <a:lnTo>
                      <a:pt x="1421" y="1672"/>
                    </a:lnTo>
                    <a:lnTo>
                      <a:pt x="1419" y="1674"/>
                    </a:lnTo>
                    <a:lnTo>
                      <a:pt x="1421" y="1675"/>
                    </a:lnTo>
                    <a:lnTo>
                      <a:pt x="1421" y="1674"/>
                    </a:lnTo>
                    <a:lnTo>
                      <a:pt x="1423" y="1674"/>
                    </a:lnTo>
                    <a:lnTo>
                      <a:pt x="1424" y="1675"/>
                    </a:lnTo>
                    <a:lnTo>
                      <a:pt x="1423" y="1675"/>
                    </a:lnTo>
                    <a:lnTo>
                      <a:pt x="1423" y="1677"/>
                    </a:lnTo>
                    <a:lnTo>
                      <a:pt x="1424" y="1677"/>
                    </a:lnTo>
                    <a:lnTo>
                      <a:pt x="1424" y="1679"/>
                    </a:lnTo>
                    <a:lnTo>
                      <a:pt x="1423" y="1679"/>
                    </a:lnTo>
                    <a:lnTo>
                      <a:pt x="1421" y="1680"/>
                    </a:lnTo>
                    <a:lnTo>
                      <a:pt x="1421" y="1679"/>
                    </a:lnTo>
                    <a:lnTo>
                      <a:pt x="1421" y="1677"/>
                    </a:lnTo>
                    <a:lnTo>
                      <a:pt x="1419" y="1679"/>
                    </a:lnTo>
                    <a:lnTo>
                      <a:pt x="1419" y="1677"/>
                    </a:lnTo>
                    <a:lnTo>
                      <a:pt x="1417" y="1679"/>
                    </a:lnTo>
                    <a:lnTo>
                      <a:pt x="1417" y="1677"/>
                    </a:lnTo>
                    <a:lnTo>
                      <a:pt x="1416" y="1677"/>
                    </a:lnTo>
                    <a:lnTo>
                      <a:pt x="1414" y="1677"/>
                    </a:lnTo>
                    <a:lnTo>
                      <a:pt x="1414" y="1675"/>
                    </a:lnTo>
                    <a:lnTo>
                      <a:pt x="1412" y="1675"/>
                    </a:lnTo>
                    <a:lnTo>
                      <a:pt x="1414" y="1675"/>
                    </a:lnTo>
                    <a:lnTo>
                      <a:pt x="1416" y="1675"/>
                    </a:lnTo>
                    <a:lnTo>
                      <a:pt x="1414" y="1675"/>
                    </a:lnTo>
                    <a:lnTo>
                      <a:pt x="1414" y="1674"/>
                    </a:lnTo>
                    <a:lnTo>
                      <a:pt x="1412" y="1672"/>
                    </a:lnTo>
                    <a:lnTo>
                      <a:pt x="1414" y="1672"/>
                    </a:lnTo>
                    <a:lnTo>
                      <a:pt x="1414" y="1670"/>
                    </a:lnTo>
                    <a:lnTo>
                      <a:pt x="1416" y="1670"/>
                    </a:lnTo>
                    <a:lnTo>
                      <a:pt x="1416" y="1672"/>
                    </a:lnTo>
                    <a:lnTo>
                      <a:pt x="1417" y="1672"/>
                    </a:lnTo>
                    <a:lnTo>
                      <a:pt x="1417" y="1674"/>
                    </a:lnTo>
                    <a:lnTo>
                      <a:pt x="1417" y="1675"/>
                    </a:lnTo>
                    <a:lnTo>
                      <a:pt x="1419" y="1675"/>
                    </a:lnTo>
                    <a:lnTo>
                      <a:pt x="1419" y="1674"/>
                    </a:lnTo>
                    <a:lnTo>
                      <a:pt x="1419" y="1672"/>
                    </a:lnTo>
                    <a:lnTo>
                      <a:pt x="1417" y="1672"/>
                    </a:lnTo>
                    <a:lnTo>
                      <a:pt x="1417" y="1670"/>
                    </a:lnTo>
                    <a:lnTo>
                      <a:pt x="1417" y="1669"/>
                    </a:lnTo>
                    <a:lnTo>
                      <a:pt x="1416" y="1669"/>
                    </a:lnTo>
                    <a:lnTo>
                      <a:pt x="1417" y="1667"/>
                    </a:lnTo>
                    <a:lnTo>
                      <a:pt x="1419" y="1667"/>
                    </a:lnTo>
                    <a:lnTo>
                      <a:pt x="1419" y="1665"/>
                    </a:lnTo>
                    <a:lnTo>
                      <a:pt x="1421" y="1665"/>
                    </a:lnTo>
                    <a:lnTo>
                      <a:pt x="1421" y="1667"/>
                    </a:lnTo>
                    <a:close/>
                    <a:moveTo>
                      <a:pt x="1198" y="1131"/>
                    </a:moveTo>
                    <a:lnTo>
                      <a:pt x="1196" y="1131"/>
                    </a:lnTo>
                    <a:lnTo>
                      <a:pt x="1198" y="1131"/>
                    </a:lnTo>
                    <a:lnTo>
                      <a:pt x="1200" y="1131"/>
                    </a:lnTo>
                    <a:lnTo>
                      <a:pt x="1200" y="1133"/>
                    </a:lnTo>
                    <a:lnTo>
                      <a:pt x="1202" y="1133"/>
                    </a:lnTo>
                    <a:lnTo>
                      <a:pt x="1202" y="1134"/>
                    </a:lnTo>
                    <a:lnTo>
                      <a:pt x="1200" y="1134"/>
                    </a:lnTo>
                    <a:lnTo>
                      <a:pt x="1202" y="1136"/>
                    </a:lnTo>
                    <a:lnTo>
                      <a:pt x="1200" y="1136"/>
                    </a:lnTo>
                    <a:lnTo>
                      <a:pt x="1200" y="1138"/>
                    </a:lnTo>
                    <a:lnTo>
                      <a:pt x="1198" y="1140"/>
                    </a:lnTo>
                    <a:lnTo>
                      <a:pt x="1196" y="1140"/>
                    </a:lnTo>
                    <a:lnTo>
                      <a:pt x="1195" y="1140"/>
                    </a:lnTo>
                    <a:lnTo>
                      <a:pt x="1195" y="1138"/>
                    </a:lnTo>
                    <a:lnTo>
                      <a:pt x="1195" y="1136"/>
                    </a:lnTo>
                    <a:lnTo>
                      <a:pt x="1195" y="1134"/>
                    </a:lnTo>
                    <a:lnTo>
                      <a:pt x="1193" y="1134"/>
                    </a:lnTo>
                    <a:lnTo>
                      <a:pt x="1193" y="1133"/>
                    </a:lnTo>
                    <a:lnTo>
                      <a:pt x="1195" y="1133"/>
                    </a:lnTo>
                    <a:lnTo>
                      <a:pt x="1195" y="1131"/>
                    </a:lnTo>
                    <a:lnTo>
                      <a:pt x="1196" y="1131"/>
                    </a:lnTo>
                    <a:lnTo>
                      <a:pt x="1196" y="1129"/>
                    </a:lnTo>
                    <a:lnTo>
                      <a:pt x="1198" y="1131"/>
                    </a:lnTo>
                    <a:close/>
                    <a:moveTo>
                      <a:pt x="1202" y="1153"/>
                    </a:moveTo>
                    <a:lnTo>
                      <a:pt x="1203" y="1153"/>
                    </a:lnTo>
                    <a:lnTo>
                      <a:pt x="1205" y="1155"/>
                    </a:lnTo>
                    <a:lnTo>
                      <a:pt x="1203" y="1155"/>
                    </a:lnTo>
                    <a:lnTo>
                      <a:pt x="1203" y="1157"/>
                    </a:lnTo>
                    <a:lnTo>
                      <a:pt x="1205" y="1155"/>
                    </a:lnTo>
                    <a:lnTo>
                      <a:pt x="1207" y="1155"/>
                    </a:lnTo>
                    <a:lnTo>
                      <a:pt x="1208" y="1157"/>
                    </a:lnTo>
                    <a:lnTo>
                      <a:pt x="1208" y="1158"/>
                    </a:lnTo>
                    <a:lnTo>
                      <a:pt x="1207" y="1158"/>
                    </a:lnTo>
                    <a:lnTo>
                      <a:pt x="1207" y="1160"/>
                    </a:lnTo>
                    <a:lnTo>
                      <a:pt x="1207" y="1162"/>
                    </a:lnTo>
                    <a:lnTo>
                      <a:pt x="1205" y="1163"/>
                    </a:lnTo>
                    <a:lnTo>
                      <a:pt x="1205" y="1162"/>
                    </a:lnTo>
                    <a:lnTo>
                      <a:pt x="1203" y="1162"/>
                    </a:lnTo>
                    <a:lnTo>
                      <a:pt x="1202" y="1160"/>
                    </a:lnTo>
                    <a:lnTo>
                      <a:pt x="1203" y="1160"/>
                    </a:lnTo>
                    <a:lnTo>
                      <a:pt x="1205" y="1160"/>
                    </a:lnTo>
                    <a:lnTo>
                      <a:pt x="1203" y="1160"/>
                    </a:lnTo>
                    <a:lnTo>
                      <a:pt x="1202" y="1160"/>
                    </a:lnTo>
                    <a:lnTo>
                      <a:pt x="1202" y="1158"/>
                    </a:lnTo>
                    <a:lnTo>
                      <a:pt x="1202" y="1157"/>
                    </a:lnTo>
                    <a:lnTo>
                      <a:pt x="1200" y="1157"/>
                    </a:lnTo>
                    <a:lnTo>
                      <a:pt x="1198" y="1157"/>
                    </a:lnTo>
                    <a:lnTo>
                      <a:pt x="1200" y="1157"/>
                    </a:lnTo>
                    <a:lnTo>
                      <a:pt x="1200" y="1155"/>
                    </a:lnTo>
                    <a:lnTo>
                      <a:pt x="1200" y="1153"/>
                    </a:lnTo>
                    <a:lnTo>
                      <a:pt x="1202" y="1153"/>
                    </a:lnTo>
                    <a:close/>
                    <a:moveTo>
                      <a:pt x="1179" y="1257"/>
                    </a:moveTo>
                    <a:lnTo>
                      <a:pt x="1179" y="1259"/>
                    </a:lnTo>
                    <a:lnTo>
                      <a:pt x="1181" y="1259"/>
                    </a:lnTo>
                    <a:lnTo>
                      <a:pt x="1183" y="1260"/>
                    </a:lnTo>
                    <a:lnTo>
                      <a:pt x="1183" y="1262"/>
                    </a:lnTo>
                    <a:lnTo>
                      <a:pt x="1185" y="1262"/>
                    </a:lnTo>
                    <a:lnTo>
                      <a:pt x="1185" y="1264"/>
                    </a:lnTo>
                    <a:lnTo>
                      <a:pt x="1186" y="1265"/>
                    </a:lnTo>
                    <a:lnTo>
                      <a:pt x="1185" y="1265"/>
                    </a:lnTo>
                    <a:lnTo>
                      <a:pt x="1185" y="1267"/>
                    </a:lnTo>
                    <a:lnTo>
                      <a:pt x="1183" y="1267"/>
                    </a:lnTo>
                    <a:lnTo>
                      <a:pt x="1183" y="1269"/>
                    </a:lnTo>
                    <a:lnTo>
                      <a:pt x="1181" y="1269"/>
                    </a:lnTo>
                    <a:lnTo>
                      <a:pt x="1179" y="1269"/>
                    </a:lnTo>
                    <a:lnTo>
                      <a:pt x="1179" y="1267"/>
                    </a:lnTo>
                    <a:lnTo>
                      <a:pt x="1179" y="1265"/>
                    </a:lnTo>
                    <a:lnTo>
                      <a:pt x="1181" y="1265"/>
                    </a:lnTo>
                    <a:lnTo>
                      <a:pt x="1179" y="1265"/>
                    </a:lnTo>
                    <a:lnTo>
                      <a:pt x="1179" y="1264"/>
                    </a:lnTo>
                    <a:lnTo>
                      <a:pt x="1181" y="1262"/>
                    </a:lnTo>
                    <a:lnTo>
                      <a:pt x="1183" y="1260"/>
                    </a:lnTo>
                    <a:lnTo>
                      <a:pt x="1181" y="1260"/>
                    </a:lnTo>
                    <a:lnTo>
                      <a:pt x="1181" y="1262"/>
                    </a:lnTo>
                    <a:lnTo>
                      <a:pt x="1179" y="1262"/>
                    </a:lnTo>
                    <a:lnTo>
                      <a:pt x="1179" y="1264"/>
                    </a:lnTo>
                    <a:lnTo>
                      <a:pt x="1179" y="1265"/>
                    </a:lnTo>
                    <a:lnTo>
                      <a:pt x="1178" y="1265"/>
                    </a:lnTo>
                    <a:lnTo>
                      <a:pt x="1178" y="1264"/>
                    </a:lnTo>
                    <a:lnTo>
                      <a:pt x="1178" y="1262"/>
                    </a:lnTo>
                    <a:lnTo>
                      <a:pt x="1178" y="1260"/>
                    </a:lnTo>
                    <a:lnTo>
                      <a:pt x="1179" y="1260"/>
                    </a:lnTo>
                    <a:lnTo>
                      <a:pt x="1178" y="1260"/>
                    </a:lnTo>
                    <a:lnTo>
                      <a:pt x="1178" y="1259"/>
                    </a:lnTo>
                    <a:lnTo>
                      <a:pt x="1178" y="1260"/>
                    </a:lnTo>
                    <a:lnTo>
                      <a:pt x="1178" y="1259"/>
                    </a:lnTo>
                    <a:lnTo>
                      <a:pt x="1179" y="1259"/>
                    </a:lnTo>
                    <a:lnTo>
                      <a:pt x="1181" y="1259"/>
                    </a:lnTo>
                    <a:lnTo>
                      <a:pt x="1179" y="1259"/>
                    </a:lnTo>
                    <a:lnTo>
                      <a:pt x="1179" y="1257"/>
                    </a:lnTo>
                    <a:lnTo>
                      <a:pt x="1178" y="1257"/>
                    </a:lnTo>
                    <a:lnTo>
                      <a:pt x="1179" y="1257"/>
                    </a:lnTo>
                    <a:close/>
                    <a:moveTo>
                      <a:pt x="1196" y="1126"/>
                    </a:moveTo>
                    <a:lnTo>
                      <a:pt x="1198" y="1126"/>
                    </a:lnTo>
                    <a:lnTo>
                      <a:pt x="1200" y="1126"/>
                    </a:lnTo>
                    <a:lnTo>
                      <a:pt x="1200" y="1128"/>
                    </a:lnTo>
                    <a:lnTo>
                      <a:pt x="1202" y="1126"/>
                    </a:lnTo>
                    <a:lnTo>
                      <a:pt x="1202" y="1128"/>
                    </a:lnTo>
                    <a:lnTo>
                      <a:pt x="1202" y="1126"/>
                    </a:lnTo>
                    <a:lnTo>
                      <a:pt x="1203" y="1126"/>
                    </a:lnTo>
                    <a:lnTo>
                      <a:pt x="1203" y="1128"/>
                    </a:lnTo>
                    <a:lnTo>
                      <a:pt x="1203" y="1129"/>
                    </a:lnTo>
                    <a:lnTo>
                      <a:pt x="1202" y="1131"/>
                    </a:lnTo>
                    <a:lnTo>
                      <a:pt x="1202" y="1133"/>
                    </a:lnTo>
                    <a:lnTo>
                      <a:pt x="1200" y="1131"/>
                    </a:lnTo>
                    <a:lnTo>
                      <a:pt x="1200" y="1129"/>
                    </a:lnTo>
                    <a:lnTo>
                      <a:pt x="1200" y="1131"/>
                    </a:lnTo>
                    <a:lnTo>
                      <a:pt x="1198" y="1131"/>
                    </a:lnTo>
                    <a:lnTo>
                      <a:pt x="1198" y="1129"/>
                    </a:lnTo>
                    <a:lnTo>
                      <a:pt x="1196" y="1129"/>
                    </a:lnTo>
                    <a:lnTo>
                      <a:pt x="1195" y="1129"/>
                    </a:lnTo>
                    <a:lnTo>
                      <a:pt x="1195" y="1131"/>
                    </a:lnTo>
                    <a:lnTo>
                      <a:pt x="1193" y="1131"/>
                    </a:lnTo>
                    <a:lnTo>
                      <a:pt x="1193" y="1133"/>
                    </a:lnTo>
                    <a:lnTo>
                      <a:pt x="1191" y="1131"/>
                    </a:lnTo>
                    <a:lnTo>
                      <a:pt x="1193" y="1131"/>
                    </a:lnTo>
                    <a:lnTo>
                      <a:pt x="1193" y="1129"/>
                    </a:lnTo>
                    <a:lnTo>
                      <a:pt x="1195" y="1129"/>
                    </a:lnTo>
                    <a:lnTo>
                      <a:pt x="1193" y="1129"/>
                    </a:lnTo>
                    <a:lnTo>
                      <a:pt x="1193" y="1128"/>
                    </a:lnTo>
                    <a:lnTo>
                      <a:pt x="1195" y="1126"/>
                    </a:lnTo>
                    <a:lnTo>
                      <a:pt x="1196" y="1126"/>
                    </a:lnTo>
                    <a:lnTo>
                      <a:pt x="1198" y="1126"/>
                    </a:lnTo>
                    <a:lnTo>
                      <a:pt x="1196" y="1126"/>
                    </a:lnTo>
                    <a:lnTo>
                      <a:pt x="1195" y="1126"/>
                    </a:lnTo>
                    <a:lnTo>
                      <a:pt x="1195" y="1124"/>
                    </a:lnTo>
                    <a:lnTo>
                      <a:pt x="1196" y="1126"/>
                    </a:lnTo>
                    <a:close/>
                    <a:moveTo>
                      <a:pt x="1156" y="1291"/>
                    </a:moveTo>
                    <a:lnTo>
                      <a:pt x="1157" y="1291"/>
                    </a:lnTo>
                    <a:lnTo>
                      <a:pt x="1157" y="1293"/>
                    </a:lnTo>
                    <a:lnTo>
                      <a:pt x="1159" y="1293"/>
                    </a:lnTo>
                    <a:lnTo>
                      <a:pt x="1161" y="1293"/>
                    </a:lnTo>
                    <a:lnTo>
                      <a:pt x="1161" y="1294"/>
                    </a:lnTo>
                    <a:lnTo>
                      <a:pt x="1161" y="1296"/>
                    </a:lnTo>
                    <a:lnTo>
                      <a:pt x="1162" y="1296"/>
                    </a:lnTo>
                    <a:lnTo>
                      <a:pt x="1162" y="1298"/>
                    </a:lnTo>
                    <a:lnTo>
                      <a:pt x="1161" y="1296"/>
                    </a:lnTo>
                    <a:lnTo>
                      <a:pt x="1161" y="1298"/>
                    </a:lnTo>
                    <a:lnTo>
                      <a:pt x="1159" y="1296"/>
                    </a:lnTo>
                    <a:lnTo>
                      <a:pt x="1159" y="1298"/>
                    </a:lnTo>
                    <a:lnTo>
                      <a:pt x="1161" y="1298"/>
                    </a:lnTo>
                    <a:lnTo>
                      <a:pt x="1162" y="1299"/>
                    </a:lnTo>
                    <a:lnTo>
                      <a:pt x="1161" y="1299"/>
                    </a:lnTo>
                    <a:lnTo>
                      <a:pt x="1159" y="1301"/>
                    </a:lnTo>
                    <a:lnTo>
                      <a:pt x="1157" y="1301"/>
                    </a:lnTo>
                    <a:lnTo>
                      <a:pt x="1157" y="1303"/>
                    </a:lnTo>
                    <a:lnTo>
                      <a:pt x="1157" y="1301"/>
                    </a:lnTo>
                    <a:lnTo>
                      <a:pt x="1157" y="1299"/>
                    </a:lnTo>
                    <a:lnTo>
                      <a:pt x="1156" y="1299"/>
                    </a:lnTo>
                    <a:lnTo>
                      <a:pt x="1156" y="1298"/>
                    </a:lnTo>
                    <a:lnTo>
                      <a:pt x="1156" y="1296"/>
                    </a:lnTo>
                    <a:lnTo>
                      <a:pt x="1156" y="1294"/>
                    </a:lnTo>
                    <a:lnTo>
                      <a:pt x="1157" y="1296"/>
                    </a:lnTo>
                    <a:lnTo>
                      <a:pt x="1156" y="1294"/>
                    </a:lnTo>
                    <a:lnTo>
                      <a:pt x="1154" y="1294"/>
                    </a:lnTo>
                    <a:lnTo>
                      <a:pt x="1154" y="1293"/>
                    </a:lnTo>
                    <a:lnTo>
                      <a:pt x="1154" y="1291"/>
                    </a:lnTo>
                    <a:lnTo>
                      <a:pt x="1156" y="1291"/>
                    </a:lnTo>
                    <a:close/>
                    <a:moveTo>
                      <a:pt x="1202" y="1046"/>
                    </a:moveTo>
                    <a:lnTo>
                      <a:pt x="1202" y="1048"/>
                    </a:lnTo>
                    <a:lnTo>
                      <a:pt x="1203" y="1048"/>
                    </a:lnTo>
                    <a:lnTo>
                      <a:pt x="1203" y="1049"/>
                    </a:lnTo>
                    <a:lnTo>
                      <a:pt x="1202" y="1049"/>
                    </a:lnTo>
                    <a:lnTo>
                      <a:pt x="1200" y="1049"/>
                    </a:lnTo>
                    <a:lnTo>
                      <a:pt x="1200" y="1051"/>
                    </a:lnTo>
                    <a:lnTo>
                      <a:pt x="1198" y="1049"/>
                    </a:lnTo>
                    <a:lnTo>
                      <a:pt x="1198" y="1051"/>
                    </a:lnTo>
                    <a:lnTo>
                      <a:pt x="1200" y="1051"/>
                    </a:lnTo>
                    <a:lnTo>
                      <a:pt x="1200" y="1053"/>
                    </a:lnTo>
                    <a:lnTo>
                      <a:pt x="1202" y="1053"/>
                    </a:lnTo>
                    <a:lnTo>
                      <a:pt x="1200" y="1053"/>
                    </a:lnTo>
                    <a:lnTo>
                      <a:pt x="1200" y="1054"/>
                    </a:lnTo>
                    <a:lnTo>
                      <a:pt x="1198" y="1054"/>
                    </a:lnTo>
                    <a:lnTo>
                      <a:pt x="1196" y="1054"/>
                    </a:lnTo>
                    <a:lnTo>
                      <a:pt x="1196" y="1053"/>
                    </a:lnTo>
                    <a:lnTo>
                      <a:pt x="1196" y="1051"/>
                    </a:lnTo>
                    <a:lnTo>
                      <a:pt x="1196" y="1053"/>
                    </a:lnTo>
                    <a:lnTo>
                      <a:pt x="1195" y="1053"/>
                    </a:lnTo>
                    <a:lnTo>
                      <a:pt x="1193" y="1053"/>
                    </a:lnTo>
                    <a:lnTo>
                      <a:pt x="1193" y="1051"/>
                    </a:lnTo>
                    <a:lnTo>
                      <a:pt x="1191" y="1051"/>
                    </a:lnTo>
                    <a:lnTo>
                      <a:pt x="1191" y="1049"/>
                    </a:lnTo>
                    <a:lnTo>
                      <a:pt x="1191" y="1048"/>
                    </a:lnTo>
                    <a:lnTo>
                      <a:pt x="1193" y="1048"/>
                    </a:lnTo>
                    <a:lnTo>
                      <a:pt x="1195" y="1048"/>
                    </a:lnTo>
                    <a:lnTo>
                      <a:pt x="1196" y="1049"/>
                    </a:lnTo>
                    <a:lnTo>
                      <a:pt x="1198" y="1049"/>
                    </a:lnTo>
                    <a:lnTo>
                      <a:pt x="1200" y="1049"/>
                    </a:lnTo>
                    <a:lnTo>
                      <a:pt x="1200" y="1048"/>
                    </a:lnTo>
                    <a:lnTo>
                      <a:pt x="1202" y="1048"/>
                    </a:lnTo>
                    <a:lnTo>
                      <a:pt x="1202" y="1046"/>
                    </a:lnTo>
                    <a:close/>
                    <a:moveTo>
                      <a:pt x="1185" y="1325"/>
                    </a:moveTo>
                    <a:lnTo>
                      <a:pt x="1186" y="1327"/>
                    </a:lnTo>
                    <a:lnTo>
                      <a:pt x="1186" y="1328"/>
                    </a:lnTo>
                    <a:lnTo>
                      <a:pt x="1188" y="1328"/>
                    </a:lnTo>
                    <a:lnTo>
                      <a:pt x="1188" y="1330"/>
                    </a:lnTo>
                    <a:lnTo>
                      <a:pt x="1188" y="1332"/>
                    </a:lnTo>
                    <a:lnTo>
                      <a:pt x="1188" y="1333"/>
                    </a:lnTo>
                    <a:lnTo>
                      <a:pt x="1186" y="1333"/>
                    </a:lnTo>
                    <a:lnTo>
                      <a:pt x="1185" y="1333"/>
                    </a:lnTo>
                    <a:lnTo>
                      <a:pt x="1185" y="1335"/>
                    </a:lnTo>
                    <a:lnTo>
                      <a:pt x="1183" y="1335"/>
                    </a:lnTo>
                    <a:lnTo>
                      <a:pt x="1183" y="1333"/>
                    </a:lnTo>
                    <a:lnTo>
                      <a:pt x="1181" y="1333"/>
                    </a:lnTo>
                    <a:lnTo>
                      <a:pt x="1183" y="1333"/>
                    </a:lnTo>
                    <a:lnTo>
                      <a:pt x="1183" y="1332"/>
                    </a:lnTo>
                    <a:lnTo>
                      <a:pt x="1183" y="1330"/>
                    </a:lnTo>
                    <a:lnTo>
                      <a:pt x="1181" y="1328"/>
                    </a:lnTo>
                    <a:lnTo>
                      <a:pt x="1181" y="1327"/>
                    </a:lnTo>
                    <a:lnTo>
                      <a:pt x="1183" y="1327"/>
                    </a:lnTo>
                    <a:lnTo>
                      <a:pt x="1183" y="1325"/>
                    </a:lnTo>
                    <a:lnTo>
                      <a:pt x="1183" y="1323"/>
                    </a:lnTo>
                    <a:lnTo>
                      <a:pt x="1185" y="1325"/>
                    </a:lnTo>
                    <a:close/>
                    <a:moveTo>
                      <a:pt x="1169" y="1242"/>
                    </a:moveTo>
                    <a:lnTo>
                      <a:pt x="1171" y="1242"/>
                    </a:lnTo>
                    <a:lnTo>
                      <a:pt x="1171" y="1243"/>
                    </a:lnTo>
                    <a:lnTo>
                      <a:pt x="1171" y="1245"/>
                    </a:lnTo>
                    <a:lnTo>
                      <a:pt x="1171" y="1247"/>
                    </a:lnTo>
                    <a:lnTo>
                      <a:pt x="1169" y="1247"/>
                    </a:lnTo>
                    <a:lnTo>
                      <a:pt x="1169" y="1245"/>
                    </a:lnTo>
                    <a:lnTo>
                      <a:pt x="1169" y="1247"/>
                    </a:lnTo>
                    <a:lnTo>
                      <a:pt x="1169" y="1248"/>
                    </a:lnTo>
                    <a:lnTo>
                      <a:pt x="1168" y="1248"/>
                    </a:lnTo>
                    <a:lnTo>
                      <a:pt x="1169" y="1248"/>
                    </a:lnTo>
                    <a:lnTo>
                      <a:pt x="1171" y="1248"/>
                    </a:lnTo>
                    <a:lnTo>
                      <a:pt x="1171" y="1250"/>
                    </a:lnTo>
                    <a:lnTo>
                      <a:pt x="1171" y="1252"/>
                    </a:lnTo>
                    <a:lnTo>
                      <a:pt x="1169" y="1252"/>
                    </a:lnTo>
                    <a:lnTo>
                      <a:pt x="1168" y="1252"/>
                    </a:lnTo>
                    <a:lnTo>
                      <a:pt x="1168" y="1250"/>
                    </a:lnTo>
                    <a:lnTo>
                      <a:pt x="1166" y="1250"/>
                    </a:lnTo>
                    <a:lnTo>
                      <a:pt x="1164" y="1250"/>
                    </a:lnTo>
                    <a:lnTo>
                      <a:pt x="1164" y="1248"/>
                    </a:lnTo>
                    <a:lnTo>
                      <a:pt x="1164" y="1247"/>
                    </a:lnTo>
                    <a:lnTo>
                      <a:pt x="1166" y="1248"/>
                    </a:lnTo>
                    <a:lnTo>
                      <a:pt x="1168" y="1248"/>
                    </a:lnTo>
                    <a:lnTo>
                      <a:pt x="1166" y="1248"/>
                    </a:lnTo>
                    <a:lnTo>
                      <a:pt x="1164" y="1247"/>
                    </a:lnTo>
                    <a:lnTo>
                      <a:pt x="1166" y="1247"/>
                    </a:lnTo>
                    <a:lnTo>
                      <a:pt x="1164" y="1245"/>
                    </a:lnTo>
                    <a:lnTo>
                      <a:pt x="1166" y="1245"/>
                    </a:lnTo>
                    <a:lnTo>
                      <a:pt x="1166" y="1243"/>
                    </a:lnTo>
                    <a:lnTo>
                      <a:pt x="1168" y="1245"/>
                    </a:lnTo>
                    <a:lnTo>
                      <a:pt x="1168" y="1243"/>
                    </a:lnTo>
                    <a:lnTo>
                      <a:pt x="1168" y="1245"/>
                    </a:lnTo>
                    <a:lnTo>
                      <a:pt x="1168" y="1243"/>
                    </a:lnTo>
                    <a:lnTo>
                      <a:pt x="1169" y="1243"/>
                    </a:lnTo>
                    <a:lnTo>
                      <a:pt x="1168" y="1243"/>
                    </a:lnTo>
                    <a:lnTo>
                      <a:pt x="1166" y="1242"/>
                    </a:lnTo>
                    <a:lnTo>
                      <a:pt x="1168" y="1242"/>
                    </a:lnTo>
                    <a:lnTo>
                      <a:pt x="1169" y="1242"/>
                    </a:lnTo>
                    <a:close/>
                    <a:moveTo>
                      <a:pt x="1162" y="1286"/>
                    </a:moveTo>
                    <a:lnTo>
                      <a:pt x="1162" y="1288"/>
                    </a:lnTo>
                    <a:lnTo>
                      <a:pt x="1162" y="1289"/>
                    </a:lnTo>
                    <a:lnTo>
                      <a:pt x="1162" y="1291"/>
                    </a:lnTo>
                    <a:lnTo>
                      <a:pt x="1161" y="1291"/>
                    </a:lnTo>
                    <a:lnTo>
                      <a:pt x="1161" y="1293"/>
                    </a:lnTo>
                    <a:lnTo>
                      <a:pt x="1161" y="1294"/>
                    </a:lnTo>
                    <a:lnTo>
                      <a:pt x="1159" y="1293"/>
                    </a:lnTo>
                    <a:lnTo>
                      <a:pt x="1157" y="1291"/>
                    </a:lnTo>
                    <a:lnTo>
                      <a:pt x="1156" y="1291"/>
                    </a:lnTo>
                    <a:lnTo>
                      <a:pt x="1156" y="1289"/>
                    </a:lnTo>
                    <a:lnTo>
                      <a:pt x="1156" y="1291"/>
                    </a:lnTo>
                    <a:lnTo>
                      <a:pt x="1156" y="1289"/>
                    </a:lnTo>
                    <a:lnTo>
                      <a:pt x="1157" y="1288"/>
                    </a:lnTo>
                    <a:lnTo>
                      <a:pt x="1159" y="1288"/>
                    </a:lnTo>
                    <a:lnTo>
                      <a:pt x="1159" y="1289"/>
                    </a:lnTo>
                    <a:lnTo>
                      <a:pt x="1159" y="1288"/>
                    </a:lnTo>
                    <a:lnTo>
                      <a:pt x="1157" y="1288"/>
                    </a:lnTo>
                    <a:lnTo>
                      <a:pt x="1159" y="1286"/>
                    </a:lnTo>
                    <a:lnTo>
                      <a:pt x="1161" y="1284"/>
                    </a:lnTo>
                    <a:lnTo>
                      <a:pt x="1161" y="1282"/>
                    </a:lnTo>
                    <a:lnTo>
                      <a:pt x="1162" y="1282"/>
                    </a:lnTo>
                    <a:lnTo>
                      <a:pt x="1162" y="1284"/>
                    </a:lnTo>
                    <a:lnTo>
                      <a:pt x="1162" y="1286"/>
                    </a:lnTo>
                    <a:close/>
                    <a:moveTo>
                      <a:pt x="1188" y="1265"/>
                    </a:moveTo>
                    <a:lnTo>
                      <a:pt x="1188" y="1267"/>
                    </a:lnTo>
                    <a:lnTo>
                      <a:pt x="1188" y="1269"/>
                    </a:lnTo>
                    <a:lnTo>
                      <a:pt x="1190" y="1270"/>
                    </a:lnTo>
                    <a:lnTo>
                      <a:pt x="1188" y="1270"/>
                    </a:lnTo>
                    <a:lnTo>
                      <a:pt x="1190" y="1270"/>
                    </a:lnTo>
                    <a:lnTo>
                      <a:pt x="1190" y="1272"/>
                    </a:lnTo>
                    <a:lnTo>
                      <a:pt x="1191" y="1274"/>
                    </a:lnTo>
                    <a:lnTo>
                      <a:pt x="1190" y="1276"/>
                    </a:lnTo>
                    <a:lnTo>
                      <a:pt x="1188" y="1276"/>
                    </a:lnTo>
                    <a:lnTo>
                      <a:pt x="1188" y="1274"/>
                    </a:lnTo>
                    <a:lnTo>
                      <a:pt x="1186" y="1274"/>
                    </a:lnTo>
                    <a:lnTo>
                      <a:pt x="1188" y="1274"/>
                    </a:lnTo>
                    <a:lnTo>
                      <a:pt x="1188" y="1272"/>
                    </a:lnTo>
                    <a:lnTo>
                      <a:pt x="1186" y="1272"/>
                    </a:lnTo>
                    <a:lnTo>
                      <a:pt x="1185" y="1272"/>
                    </a:lnTo>
                    <a:lnTo>
                      <a:pt x="1183" y="1270"/>
                    </a:lnTo>
                    <a:lnTo>
                      <a:pt x="1181" y="1270"/>
                    </a:lnTo>
                    <a:lnTo>
                      <a:pt x="1181" y="1269"/>
                    </a:lnTo>
                    <a:lnTo>
                      <a:pt x="1183" y="1269"/>
                    </a:lnTo>
                    <a:lnTo>
                      <a:pt x="1185" y="1269"/>
                    </a:lnTo>
                    <a:lnTo>
                      <a:pt x="1185" y="1270"/>
                    </a:lnTo>
                    <a:lnTo>
                      <a:pt x="1186" y="1270"/>
                    </a:lnTo>
                    <a:lnTo>
                      <a:pt x="1188" y="1272"/>
                    </a:lnTo>
                    <a:lnTo>
                      <a:pt x="1186" y="1270"/>
                    </a:lnTo>
                    <a:lnTo>
                      <a:pt x="1185" y="1269"/>
                    </a:lnTo>
                    <a:lnTo>
                      <a:pt x="1185" y="1267"/>
                    </a:lnTo>
                    <a:lnTo>
                      <a:pt x="1186" y="1265"/>
                    </a:lnTo>
                    <a:lnTo>
                      <a:pt x="1188" y="1265"/>
                    </a:lnTo>
                    <a:close/>
                    <a:moveTo>
                      <a:pt x="1186" y="1403"/>
                    </a:moveTo>
                    <a:lnTo>
                      <a:pt x="1186" y="1405"/>
                    </a:lnTo>
                    <a:lnTo>
                      <a:pt x="1188" y="1407"/>
                    </a:lnTo>
                    <a:lnTo>
                      <a:pt x="1188" y="1408"/>
                    </a:lnTo>
                    <a:lnTo>
                      <a:pt x="1188" y="1410"/>
                    </a:lnTo>
                    <a:lnTo>
                      <a:pt x="1188" y="1412"/>
                    </a:lnTo>
                    <a:lnTo>
                      <a:pt x="1190" y="1412"/>
                    </a:lnTo>
                    <a:lnTo>
                      <a:pt x="1190" y="1413"/>
                    </a:lnTo>
                    <a:lnTo>
                      <a:pt x="1190" y="1415"/>
                    </a:lnTo>
                    <a:lnTo>
                      <a:pt x="1190" y="1417"/>
                    </a:lnTo>
                    <a:lnTo>
                      <a:pt x="1191" y="1418"/>
                    </a:lnTo>
                    <a:lnTo>
                      <a:pt x="1190" y="1418"/>
                    </a:lnTo>
                    <a:lnTo>
                      <a:pt x="1190" y="1420"/>
                    </a:lnTo>
                    <a:lnTo>
                      <a:pt x="1188" y="1420"/>
                    </a:lnTo>
                    <a:lnTo>
                      <a:pt x="1188" y="1422"/>
                    </a:lnTo>
                    <a:lnTo>
                      <a:pt x="1188" y="1420"/>
                    </a:lnTo>
                    <a:lnTo>
                      <a:pt x="1188" y="1418"/>
                    </a:lnTo>
                    <a:lnTo>
                      <a:pt x="1188" y="1417"/>
                    </a:lnTo>
                    <a:lnTo>
                      <a:pt x="1186" y="1415"/>
                    </a:lnTo>
                    <a:lnTo>
                      <a:pt x="1188" y="1415"/>
                    </a:lnTo>
                    <a:lnTo>
                      <a:pt x="1186" y="1413"/>
                    </a:lnTo>
                    <a:lnTo>
                      <a:pt x="1186" y="1412"/>
                    </a:lnTo>
                    <a:lnTo>
                      <a:pt x="1186" y="1410"/>
                    </a:lnTo>
                    <a:lnTo>
                      <a:pt x="1186" y="1408"/>
                    </a:lnTo>
                    <a:lnTo>
                      <a:pt x="1185" y="1407"/>
                    </a:lnTo>
                    <a:lnTo>
                      <a:pt x="1186" y="1407"/>
                    </a:lnTo>
                    <a:lnTo>
                      <a:pt x="1185" y="1407"/>
                    </a:lnTo>
                    <a:lnTo>
                      <a:pt x="1186" y="1407"/>
                    </a:lnTo>
                    <a:lnTo>
                      <a:pt x="1186" y="1405"/>
                    </a:lnTo>
                    <a:lnTo>
                      <a:pt x="1185" y="1405"/>
                    </a:lnTo>
                    <a:lnTo>
                      <a:pt x="1185" y="1403"/>
                    </a:lnTo>
                    <a:lnTo>
                      <a:pt x="1186" y="1403"/>
                    </a:lnTo>
                    <a:close/>
                    <a:moveTo>
                      <a:pt x="1185" y="1112"/>
                    </a:moveTo>
                    <a:lnTo>
                      <a:pt x="1186" y="1114"/>
                    </a:lnTo>
                    <a:lnTo>
                      <a:pt x="1188" y="1114"/>
                    </a:lnTo>
                    <a:lnTo>
                      <a:pt x="1188" y="1116"/>
                    </a:lnTo>
                    <a:lnTo>
                      <a:pt x="1188" y="1114"/>
                    </a:lnTo>
                    <a:lnTo>
                      <a:pt x="1190" y="1114"/>
                    </a:lnTo>
                    <a:lnTo>
                      <a:pt x="1190" y="1116"/>
                    </a:lnTo>
                    <a:lnTo>
                      <a:pt x="1190" y="1117"/>
                    </a:lnTo>
                    <a:lnTo>
                      <a:pt x="1188" y="1117"/>
                    </a:lnTo>
                    <a:lnTo>
                      <a:pt x="1190" y="1117"/>
                    </a:lnTo>
                    <a:lnTo>
                      <a:pt x="1190" y="1119"/>
                    </a:lnTo>
                    <a:lnTo>
                      <a:pt x="1190" y="1121"/>
                    </a:lnTo>
                    <a:lnTo>
                      <a:pt x="1188" y="1121"/>
                    </a:lnTo>
                    <a:lnTo>
                      <a:pt x="1188" y="1119"/>
                    </a:lnTo>
                    <a:lnTo>
                      <a:pt x="1188" y="1117"/>
                    </a:lnTo>
                    <a:lnTo>
                      <a:pt x="1188" y="1116"/>
                    </a:lnTo>
                    <a:lnTo>
                      <a:pt x="1188" y="1114"/>
                    </a:lnTo>
                    <a:lnTo>
                      <a:pt x="1186" y="1116"/>
                    </a:lnTo>
                    <a:lnTo>
                      <a:pt x="1188" y="1117"/>
                    </a:lnTo>
                    <a:lnTo>
                      <a:pt x="1186" y="1117"/>
                    </a:lnTo>
                    <a:lnTo>
                      <a:pt x="1186" y="1116"/>
                    </a:lnTo>
                    <a:lnTo>
                      <a:pt x="1186" y="1117"/>
                    </a:lnTo>
                    <a:lnTo>
                      <a:pt x="1186" y="1119"/>
                    </a:lnTo>
                    <a:lnTo>
                      <a:pt x="1186" y="1121"/>
                    </a:lnTo>
                    <a:lnTo>
                      <a:pt x="1186" y="1119"/>
                    </a:lnTo>
                    <a:lnTo>
                      <a:pt x="1185" y="1119"/>
                    </a:lnTo>
                    <a:lnTo>
                      <a:pt x="1185" y="1117"/>
                    </a:lnTo>
                    <a:lnTo>
                      <a:pt x="1183" y="1117"/>
                    </a:lnTo>
                    <a:lnTo>
                      <a:pt x="1183" y="1116"/>
                    </a:lnTo>
                    <a:lnTo>
                      <a:pt x="1183" y="1114"/>
                    </a:lnTo>
                    <a:lnTo>
                      <a:pt x="1183" y="1112"/>
                    </a:lnTo>
                    <a:lnTo>
                      <a:pt x="1185" y="1112"/>
                    </a:lnTo>
                    <a:close/>
                    <a:moveTo>
                      <a:pt x="1161" y="1235"/>
                    </a:moveTo>
                    <a:lnTo>
                      <a:pt x="1159" y="1236"/>
                    </a:lnTo>
                    <a:lnTo>
                      <a:pt x="1161" y="1236"/>
                    </a:lnTo>
                    <a:lnTo>
                      <a:pt x="1161" y="1238"/>
                    </a:lnTo>
                    <a:lnTo>
                      <a:pt x="1159" y="1240"/>
                    </a:lnTo>
                    <a:lnTo>
                      <a:pt x="1157" y="1240"/>
                    </a:lnTo>
                    <a:lnTo>
                      <a:pt x="1159" y="1240"/>
                    </a:lnTo>
                    <a:lnTo>
                      <a:pt x="1161" y="1240"/>
                    </a:lnTo>
                    <a:lnTo>
                      <a:pt x="1162" y="1240"/>
                    </a:lnTo>
                    <a:lnTo>
                      <a:pt x="1162" y="1242"/>
                    </a:lnTo>
                    <a:lnTo>
                      <a:pt x="1161" y="1242"/>
                    </a:lnTo>
                    <a:lnTo>
                      <a:pt x="1161" y="1243"/>
                    </a:lnTo>
                    <a:lnTo>
                      <a:pt x="1159" y="1243"/>
                    </a:lnTo>
                    <a:lnTo>
                      <a:pt x="1157" y="1243"/>
                    </a:lnTo>
                    <a:lnTo>
                      <a:pt x="1157" y="1242"/>
                    </a:lnTo>
                    <a:lnTo>
                      <a:pt x="1156" y="1240"/>
                    </a:lnTo>
                    <a:lnTo>
                      <a:pt x="1156" y="1242"/>
                    </a:lnTo>
                    <a:lnTo>
                      <a:pt x="1157" y="1243"/>
                    </a:lnTo>
                    <a:lnTo>
                      <a:pt x="1156" y="1243"/>
                    </a:lnTo>
                    <a:lnTo>
                      <a:pt x="1156" y="1242"/>
                    </a:lnTo>
                    <a:lnTo>
                      <a:pt x="1156" y="1240"/>
                    </a:lnTo>
                    <a:lnTo>
                      <a:pt x="1154" y="1240"/>
                    </a:lnTo>
                    <a:lnTo>
                      <a:pt x="1152" y="1240"/>
                    </a:lnTo>
                    <a:lnTo>
                      <a:pt x="1151" y="1240"/>
                    </a:lnTo>
                    <a:lnTo>
                      <a:pt x="1151" y="1242"/>
                    </a:lnTo>
                    <a:lnTo>
                      <a:pt x="1151" y="1240"/>
                    </a:lnTo>
                    <a:lnTo>
                      <a:pt x="1151" y="1238"/>
                    </a:lnTo>
                    <a:lnTo>
                      <a:pt x="1152" y="1238"/>
                    </a:lnTo>
                    <a:lnTo>
                      <a:pt x="1152" y="1236"/>
                    </a:lnTo>
                    <a:lnTo>
                      <a:pt x="1152" y="1238"/>
                    </a:lnTo>
                    <a:lnTo>
                      <a:pt x="1154" y="1236"/>
                    </a:lnTo>
                    <a:lnTo>
                      <a:pt x="1154" y="1238"/>
                    </a:lnTo>
                    <a:lnTo>
                      <a:pt x="1154" y="1240"/>
                    </a:lnTo>
                    <a:lnTo>
                      <a:pt x="1154" y="1238"/>
                    </a:lnTo>
                    <a:lnTo>
                      <a:pt x="1156" y="1238"/>
                    </a:lnTo>
                    <a:lnTo>
                      <a:pt x="1157" y="1238"/>
                    </a:lnTo>
                    <a:lnTo>
                      <a:pt x="1157" y="1236"/>
                    </a:lnTo>
                    <a:lnTo>
                      <a:pt x="1159" y="1236"/>
                    </a:lnTo>
                    <a:lnTo>
                      <a:pt x="1157" y="1236"/>
                    </a:lnTo>
                    <a:lnTo>
                      <a:pt x="1159" y="1235"/>
                    </a:lnTo>
                    <a:lnTo>
                      <a:pt x="1161" y="1235"/>
                    </a:lnTo>
                    <a:close/>
                    <a:moveTo>
                      <a:pt x="1234" y="1456"/>
                    </a:moveTo>
                    <a:lnTo>
                      <a:pt x="1234" y="1458"/>
                    </a:lnTo>
                    <a:lnTo>
                      <a:pt x="1232" y="1458"/>
                    </a:lnTo>
                    <a:lnTo>
                      <a:pt x="1232" y="1459"/>
                    </a:lnTo>
                    <a:lnTo>
                      <a:pt x="1232" y="1461"/>
                    </a:lnTo>
                    <a:lnTo>
                      <a:pt x="1230" y="1461"/>
                    </a:lnTo>
                    <a:lnTo>
                      <a:pt x="1230" y="1463"/>
                    </a:lnTo>
                    <a:lnTo>
                      <a:pt x="1230" y="1464"/>
                    </a:lnTo>
                    <a:lnTo>
                      <a:pt x="1229" y="1464"/>
                    </a:lnTo>
                    <a:lnTo>
                      <a:pt x="1229" y="1466"/>
                    </a:lnTo>
                    <a:lnTo>
                      <a:pt x="1227" y="1466"/>
                    </a:lnTo>
                    <a:lnTo>
                      <a:pt x="1225" y="1466"/>
                    </a:lnTo>
                    <a:lnTo>
                      <a:pt x="1225" y="1464"/>
                    </a:lnTo>
                    <a:lnTo>
                      <a:pt x="1225" y="1463"/>
                    </a:lnTo>
                    <a:lnTo>
                      <a:pt x="1225" y="1461"/>
                    </a:lnTo>
                    <a:lnTo>
                      <a:pt x="1227" y="1461"/>
                    </a:lnTo>
                    <a:lnTo>
                      <a:pt x="1227" y="1459"/>
                    </a:lnTo>
                    <a:lnTo>
                      <a:pt x="1229" y="1458"/>
                    </a:lnTo>
                    <a:lnTo>
                      <a:pt x="1230" y="1458"/>
                    </a:lnTo>
                    <a:lnTo>
                      <a:pt x="1230" y="1456"/>
                    </a:lnTo>
                    <a:lnTo>
                      <a:pt x="1232" y="1456"/>
                    </a:lnTo>
                    <a:lnTo>
                      <a:pt x="1234" y="1456"/>
                    </a:lnTo>
                    <a:lnTo>
                      <a:pt x="1234" y="1454"/>
                    </a:lnTo>
                    <a:lnTo>
                      <a:pt x="1234" y="1456"/>
                    </a:lnTo>
                    <a:close/>
                    <a:moveTo>
                      <a:pt x="1183" y="1117"/>
                    </a:moveTo>
                    <a:lnTo>
                      <a:pt x="1185" y="1117"/>
                    </a:lnTo>
                    <a:lnTo>
                      <a:pt x="1185" y="1119"/>
                    </a:lnTo>
                    <a:lnTo>
                      <a:pt x="1186" y="1119"/>
                    </a:lnTo>
                    <a:lnTo>
                      <a:pt x="1186" y="1121"/>
                    </a:lnTo>
                    <a:lnTo>
                      <a:pt x="1186" y="1122"/>
                    </a:lnTo>
                    <a:lnTo>
                      <a:pt x="1188" y="1124"/>
                    </a:lnTo>
                    <a:lnTo>
                      <a:pt x="1186" y="1124"/>
                    </a:lnTo>
                    <a:lnTo>
                      <a:pt x="1185" y="1124"/>
                    </a:lnTo>
                    <a:lnTo>
                      <a:pt x="1183" y="1124"/>
                    </a:lnTo>
                    <a:lnTo>
                      <a:pt x="1183" y="1122"/>
                    </a:lnTo>
                    <a:lnTo>
                      <a:pt x="1181" y="1122"/>
                    </a:lnTo>
                    <a:lnTo>
                      <a:pt x="1179" y="1122"/>
                    </a:lnTo>
                    <a:lnTo>
                      <a:pt x="1179" y="1121"/>
                    </a:lnTo>
                    <a:lnTo>
                      <a:pt x="1179" y="1119"/>
                    </a:lnTo>
                    <a:lnTo>
                      <a:pt x="1181" y="1117"/>
                    </a:lnTo>
                    <a:lnTo>
                      <a:pt x="1183" y="1117"/>
                    </a:lnTo>
                    <a:close/>
                    <a:moveTo>
                      <a:pt x="1173" y="1373"/>
                    </a:moveTo>
                    <a:lnTo>
                      <a:pt x="1174" y="1373"/>
                    </a:lnTo>
                    <a:lnTo>
                      <a:pt x="1174" y="1374"/>
                    </a:lnTo>
                    <a:lnTo>
                      <a:pt x="1176" y="1374"/>
                    </a:lnTo>
                    <a:lnTo>
                      <a:pt x="1178" y="1374"/>
                    </a:lnTo>
                    <a:lnTo>
                      <a:pt x="1176" y="1374"/>
                    </a:lnTo>
                    <a:lnTo>
                      <a:pt x="1178" y="1374"/>
                    </a:lnTo>
                    <a:lnTo>
                      <a:pt x="1178" y="1376"/>
                    </a:lnTo>
                    <a:lnTo>
                      <a:pt x="1176" y="1376"/>
                    </a:lnTo>
                    <a:lnTo>
                      <a:pt x="1176" y="1378"/>
                    </a:lnTo>
                    <a:lnTo>
                      <a:pt x="1176" y="1376"/>
                    </a:lnTo>
                    <a:lnTo>
                      <a:pt x="1176" y="1378"/>
                    </a:lnTo>
                    <a:lnTo>
                      <a:pt x="1174" y="1378"/>
                    </a:lnTo>
                    <a:lnTo>
                      <a:pt x="1174" y="1379"/>
                    </a:lnTo>
                    <a:lnTo>
                      <a:pt x="1173" y="1379"/>
                    </a:lnTo>
                    <a:lnTo>
                      <a:pt x="1173" y="1381"/>
                    </a:lnTo>
                    <a:lnTo>
                      <a:pt x="1171" y="1381"/>
                    </a:lnTo>
                    <a:lnTo>
                      <a:pt x="1169" y="1379"/>
                    </a:lnTo>
                    <a:lnTo>
                      <a:pt x="1171" y="1379"/>
                    </a:lnTo>
                    <a:lnTo>
                      <a:pt x="1171" y="1378"/>
                    </a:lnTo>
                    <a:lnTo>
                      <a:pt x="1171" y="1379"/>
                    </a:lnTo>
                    <a:lnTo>
                      <a:pt x="1171" y="1378"/>
                    </a:lnTo>
                    <a:lnTo>
                      <a:pt x="1171" y="1376"/>
                    </a:lnTo>
                    <a:lnTo>
                      <a:pt x="1171" y="1378"/>
                    </a:lnTo>
                    <a:lnTo>
                      <a:pt x="1169" y="1378"/>
                    </a:lnTo>
                    <a:lnTo>
                      <a:pt x="1169" y="1376"/>
                    </a:lnTo>
                    <a:lnTo>
                      <a:pt x="1171" y="1376"/>
                    </a:lnTo>
                    <a:lnTo>
                      <a:pt x="1171" y="1374"/>
                    </a:lnTo>
                    <a:lnTo>
                      <a:pt x="1173" y="1374"/>
                    </a:lnTo>
                    <a:lnTo>
                      <a:pt x="1173" y="1373"/>
                    </a:lnTo>
                    <a:close/>
                    <a:moveTo>
                      <a:pt x="1436" y="1645"/>
                    </a:moveTo>
                    <a:lnTo>
                      <a:pt x="1438" y="1645"/>
                    </a:lnTo>
                    <a:lnTo>
                      <a:pt x="1438" y="1646"/>
                    </a:lnTo>
                    <a:lnTo>
                      <a:pt x="1438" y="1648"/>
                    </a:lnTo>
                    <a:lnTo>
                      <a:pt x="1438" y="1650"/>
                    </a:lnTo>
                    <a:lnTo>
                      <a:pt x="1438" y="1652"/>
                    </a:lnTo>
                    <a:lnTo>
                      <a:pt x="1436" y="1652"/>
                    </a:lnTo>
                    <a:lnTo>
                      <a:pt x="1438" y="1653"/>
                    </a:lnTo>
                    <a:lnTo>
                      <a:pt x="1436" y="1652"/>
                    </a:lnTo>
                    <a:lnTo>
                      <a:pt x="1436" y="1653"/>
                    </a:lnTo>
                    <a:lnTo>
                      <a:pt x="1434" y="1653"/>
                    </a:lnTo>
                    <a:lnTo>
                      <a:pt x="1433" y="1653"/>
                    </a:lnTo>
                    <a:lnTo>
                      <a:pt x="1431" y="1653"/>
                    </a:lnTo>
                    <a:lnTo>
                      <a:pt x="1431" y="1652"/>
                    </a:lnTo>
                    <a:lnTo>
                      <a:pt x="1431" y="1650"/>
                    </a:lnTo>
                    <a:lnTo>
                      <a:pt x="1431" y="1648"/>
                    </a:lnTo>
                    <a:lnTo>
                      <a:pt x="1433" y="1646"/>
                    </a:lnTo>
                    <a:lnTo>
                      <a:pt x="1434" y="1645"/>
                    </a:lnTo>
                    <a:lnTo>
                      <a:pt x="1436" y="1645"/>
                    </a:lnTo>
                    <a:close/>
                    <a:moveTo>
                      <a:pt x="1171" y="1036"/>
                    </a:moveTo>
                    <a:lnTo>
                      <a:pt x="1173" y="1036"/>
                    </a:lnTo>
                    <a:lnTo>
                      <a:pt x="1174" y="1036"/>
                    </a:lnTo>
                    <a:lnTo>
                      <a:pt x="1176" y="1037"/>
                    </a:lnTo>
                    <a:lnTo>
                      <a:pt x="1176" y="1039"/>
                    </a:lnTo>
                    <a:lnTo>
                      <a:pt x="1178" y="1039"/>
                    </a:lnTo>
                    <a:lnTo>
                      <a:pt x="1176" y="1039"/>
                    </a:lnTo>
                    <a:lnTo>
                      <a:pt x="1176" y="1041"/>
                    </a:lnTo>
                    <a:lnTo>
                      <a:pt x="1174" y="1041"/>
                    </a:lnTo>
                    <a:lnTo>
                      <a:pt x="1173" y="1041"/>
                    </a:lnTo>
                    <a:lnTo>
                      <a:pt x="1171" y="1041"/>
                    </a:lnTo>
                    <a:lnTo>
                      <a:pt x="1171" y="1043"/>
                    </a:lnTo>
                    <a:lnTo>
                      <a:pt x="1169" y="1041"/>
                    </a:lnTo>
                    <a:lnTo>
                      <a:pt x="1169" y="1039"/>
                    </a:lnTo>
                    <a:lnTo>
                      <a:pt x="1169" y="1037"/>
                    </a:lnTo>
                    <a:lnTo>
                      <a:pt x="1168" y="1037"/>
                    </a:lnTo>
                    <a:lnTo>
                      <a:pt x="1169" y="1037"/>
                    </a:lnTo>
                    <a:lnTo>
                      <a:pt x="1168" y="1036"/>
                    </a:lnTo>
                    <a:lnTo>
                      <a:pt x="1169" y="1037"/>
                    </a:lnTo>
                    <a:lnTo>
                      <a:pt x="1171" y="1037"/>
                    </a:lnTo>
                    <a:lnTo>
                      <a:pt x="1171" y="1036"/>
                    </a:lnTo>
                    <a:lnTo>
                      <a:pt x="1171" y="1034"/>
                    </a:lnTo>
                    <a:lnTo>
                      <a:pt x="1171" y="1036"/>
                    </a:lnTo>
                    <a:close/>
                    <a:moveTo>
                      <a:pt x="1195" y="1420"/>
                    </a:moveTo>
                    <a:lnTo>
                      <a:pt x="1196" y="1420"/>
                    </a:lnTo>
                    <a:lnTo>
                      <a:pt x="1198" y="1420"/>
                    </a:lnTo>
                    <a:lnTo>
                      <a:pt x="1198" y="1422"/>
                    </a:lnTo>
                    <a:lnTo>
                      <a:pt x="1198" y="1424"/>
                    </a:lnTo>
                    <a:lnTo>
                      <a:pt x="1198" y="1425"/>
                    </a:lnTo>
                    <a:lnTo>
                      <a:pt x="1196" y="1424"/>
                    </a:lnTo>
                    <a:lnTo>
                      <a:pt x="1196" y="1425"/>
                    </a:lnTo>
                    <a:lnTo>
                      <a:pt x="1198" y="1427"/>
                    </a:lnTo>
                    <a:lnTo>
                      <a:pt x="1196" y="1427"/>
                    </a:lnTo>
                    <a:lnTo>
                      <a:pt x="1195" y="1429"/>
                    </a:lnTo>
                    <a:lnTo>
                      <a:pt x="1195" y="1427"/>
                    </a:lnTo>
                    <a:lnTo>
                      <a:pt x="1193" y="1425"/>
                    </a:lnTo>
                    <a:lnTo>
                      <a:pt x="1193" y="1424"/>
                    </a:lnTo>
                    <a:lnTo>
                      <a:pt x="1193" y="1425"/>
                    </a:lnTo>
                    <a:lnTo>
                      <a:pt x="1193" y="1424"/>
                    </a:lnTo>
                    <a:lnTo>
                      <a:pt x="1193" y="1422"/>
                    </a:lnTo>
                    <a:lnTo>
                      <a:pt x="1193" y="1420"/>
                    </a:lnTo>
                    <a:lnTo>
                      <a:pt x="1195" y="1420"/>
                    </a:lnTo>
                    <a:close/>
                    <a:moveTo>
                      <a:pt x="1412" y="1680"/>
                    </a:moveTo>
                    <a:lnTo>
                      <a:pt x="1414" y="1680"/>
                    </a:lnTo>
                    <a:lnTo>
                      <a:pt x="1416" y="1682"/>
                    </a:lnTo>
                    <a:lnTo>
                      <a:pt x="1414" y="1682"/>
                    </a:lnTo>
                    <a:lnTo>
                      <a:pt x="1414" y="1684"/>
                    </a:lnTo>
                    <a:lnTo>
                      <a:pt x="1412" y="1684"/>
                    </a:lnTo>
                    <a:lnTo>
                      <a:pt x="1414" y="1684"/>
                    </a:lnTo>
                    <a:lnTo>
                      <a:pt x="1414" y="1686"/>
                    </a:lnTo>
                    <a:lnTo>
                      <a:pt x="1412" y="1686"/>
                    </a:lnTo>
                    <a:lnTo>
                      <a:pt x="1412" y="1684"/>
                    </a:lnTo>
                    <a:lnTo>
                      <a:pt x="1412" y="1686"/>
                    </a:lnTo>
                    <a:lnTo>
                      <a:pt x="1411" y="1687"/>
                    </a:lnTo>
                    <a:lnTo>
                      <a:pt x="1411" y="1686"/>
                    </a:lnTo>
                    <a:lnTo>
                      <a:pt x="1411" y="1684"/>
                    </a:lnTo>
                    <a:lnTo>
                      <a:pt x="1412" y="1684"/>
                    </a:lnTo>
                    <a:lnTo>
                      <a:pt x="1411" y="1682"/>
                    </a:lnTo>
                    <a:lnTo>
                      <a:pt x="1411" y="1684"/>
                    </a:lnTo>
                    <a:lnTo>
                      <a:pt x="1409" y="1684"/>
                    </a:lnTo>
                    <a:lnTo>
                      <a:pt x="1409" y="1686"/>
                    </a:lnTo>
                    <a:lnTo>
                      <a:pt x="1407" y="1686"/>
                    </a:lnTo>
                    <a:lnTo>
                      <a:pt x="1407" y="1684"/>
                    </a:lnTo>
                    <a:lnTo>
                      <a:pt x="1407" y="1682"/>
                    </a:lnTo>
                    <a:lnTo>
                      <a:pt x="1407" y="1684"/>
                    </a:lnTo>
                    <a:lnTo>
                      <a:pt x="1406" y="1684"/>
                    </a:lnTo>
                    <a:lnTo>
                      <a:pt x="1406" y="1686"/>
                    </a:lnTo>
                    <a:lnTo>
                      <a:pt x="1404" y="1686"/>
                    </a:lnTo>
                    <a:lnTo>
                      <a:pt x="1404" y="1684"/>
                    </a:lnTo>
                    <a:lnTo>
                      <a:pt x="1404" y="1686"/>
                    </a:lnTo>
                    <a:lnTo>
                      <a:pt x="1402" y="1686"/>
                    </a:lnTo>
                    <a:lnTo>
                      <a:pt x="1402" y="1684"/>
                    </a:lnTo>
                    <a:lnTo>
                      <a:pt x="1402" y="1682"/>
                    </a:lnTo>
                    <a:lnTo>
                      <a:pt x="1402" y="1680"/>
                    </a:lnTo>
                    <a:lnTo>
                      <a:pt x="1404" y="1682"/>
                    </a:lnTo>
                    <a:lnTo>
                      <a:pt x="1404" y="1680"/>
                    </a:lnTo>
                    <a:lnTo>
                      <a:pt x="1406" y="1680"/>
                    </a:lnTo>
                    <a:lnTo>
                      <a:pt x="1406" y="1682"/>
                    </a:lnTo>
                    <a:lnTo>
                      <a:pt x="1406" y="1680"/>
                    </a:lnTo>
                    <a:lnTo>
                      <a:pt x="1407" y="1682"/>
                    </a:lnTo>
                    <a:lnTo>
                      <a:pt x="1409" y="1680"/>
                    </a:lnTo>
                    <a:lnTo>
                      <a:pt x="1409" y="1682"/>
                    </a:lnTo>
                    <a:lnTo>
                      <a:pt x="1411" y="1680"/>
                    </a:lnTo>
                    <a:lnTo>
                      <a:pt x="1411" y="1682"/>
                    </a:lnTo>
                    <a:lnTo>
                      <a:pt x="1411" y="1680"/>
                    </a:lnTo>
                    <a:lnTo>
                      <a:pt x="1412" y="1682"/>
                    </a:lnTo>
                    <a:lnTo>
                      <a:pt x="1414" y="1680"/>
                    </a:lnTo>
                    <a:lnTo>
                      <a:pt x="1412" y="1680"/>
                    </a:lnTo>
                    <a:lnTo>
                      <a:pt x="1412" y="1679"/>
                    </a:lnTo>
                    <a:lnTo>
                      <a:pt x="1412" y="1680"/>
                    </a:lnTo>
                    <a:close/>
                    <a:moveTo>
                      <a:pt x="1162" y="1446"/>
                    </a:moveTo>
                    <a:lnTo>
                      <a:pt x="1164" y="1447"/>
                    </a:lnTo>
                    <a:lnTo>
                      <a:pt x="1162" y="1449"/>
                    </a:lnTo>
                    <a:lnTo>
                      <a:pt x="1164" y="1449"/>
                    </a:lnTo>
                    <a:lnTo>
                      <a:pt x="1162" y="1451"/>
                    </a:lnTo>
                    <a:lnTo>
                      <a:pt x="1164" y="1451"/>
                    </a:lnTo>
                    <a:lnTo>
                      <a:pt x="1164" y="1453"/>
                    </a:lnTo>
                    <a:lnTo>
                      <a:pt x="1162" y="1453"/>
                    </a:lnTo>
                    <a:lnTo>
                      <a:pt x="1162" y="1454"/>
                    </a:lnTo>
                    <a:lnTo>
                      <a:pt x="1162" y="1456"/>
                    </a:lnTo>
                    <a:lnTo>
                      <a:pt x="1161" y="1456"/>
                    </a:lnTo>
                    <a:lnTo>
                      <a:pt x="1161" y="1458"/>
                    </a:lnTo>
                    <a:lnTo>
                      <a:pt x="1159" y="1458"/>
                    </a:lnTo>
                    <a:lnTo>
                      <a:pt x="1159" y="1456"/>
                    </a:lnTo>
                    <a:lnTo>
                      <a:pt x="1161" y="1454"/>
                    </a:lnTo>
                    <a:lnTo>
                      <a:pt x="1161" y="1453"/>
                    </a:lnTo>
                    <a:lnTo>
                      <a:pt x="1159" y="1453"/>
                    </a:lnTo>
                    <a:lnTo>
                      <a:pt x="1159" y="1451"/>
                    </a:lnTo>
                    <a:lnTo>
                      <a:pt x="1161" y="1451"/>
                    </a:lnTo>
                    <a:lnTo>
                      <a:pt x="1159" y="1449"/>
                    </a:lnTo>
                    <a:lnTo>
                      <a:pt x="1161" y="1447"/>
                    </a:lnTo>
                    <a:lnTo>
                      <a:pt x="1161" y="1449"/>
                    </a:lnTo>
                    <a:lnTo>
                      <a:pt x="1161" y="1447"/>
                    </a:lnTo>
                    <a:lnTo>
                      <a:pt x="1162" y="1447"/>
                    </a:lnTo>
                    <a:lnTo>
                      <a:pt x="1162" y="1446"/>
                    </a:lnTo>
                    <a:close/>
                    <a:moveTo>
                      <a:pt x="1312" y="1623"/>
                    </a:moveTo>
                    <a:lnTo>
                      <a:pt x="1314" y="1623"/>
                    </a:lnTo>
                    <a:lnTo>
                      <a:pt x="1315" y="1623"/>
                    </a:lnTo>
                    <a:lnTo>
                      <a:pt x="1317" y="1623"/>
                    </a:lnTo>
                    <a:lnTo>
                      <a:pt x="1315" y="1624"/>
                    </a:lnTo>
                    <a:lnTo>
                      <a:pt x="1317" y="1624"/>
                    </a:lnTo>
                    <a:lnTo>
                      <a:pt x="1319" y="1624"/>
                    </a:lnTo>
                    <a:lnTo>
                      <a:pt x="1317" y="1626"/>
                    </a:lnTo>
                    <a:lnTo>
                      <a:pt x="1315" y="1626"/>
                    </a:lnTo>
                    <a:lnTo>
                      <a:pt x="1314" y="1626"/>
                    </a:lnTo>
                    <a:lnTo>
                      <a:pt x="1314" y="1628"/>
                    </a:lnTo>
                    <a:lnTo>
                      <a:pt x="1312" y="1626"/>
                    </a:lnTo>
                    <a:lnTo>
                      <a:pt x="1312" y="1628"/>
                    </a:lnTo>
                    <a:lnTo>
                      <a:pt x="1310" y="1628"/>
                    </a:lnTo>
                    <a:lnTo>
                      <a:pt x="1310" y="1626"/>
                    </a:lnTo>
                    <a:lnTo>
                      <a:pt x="1309" y="1628"/>
                    </a:lnTo>
                    <a:lnTo>
                      <a:pt x="1309" y="1626"/>
                    </a:lnTo>
                    <a:lnTo>
                      <a:pt x="1307" y="1624"/>
                    </a:lnTo>
                    <a:lnTo>
                      <a:pt x="1307" y="1626"/>
                    </a:lnTo>
                    <a:lnTo>
                      <a:pt x="1305" y="1626"/>
                    </a:lnTo>
                    <a:lnTo>
                      <a:pt x="1305" y="1624"/>
                    </a:lnTo>
                    <a:lnTo>
                      <a:pt x="1307" y="1624"/>
                    </a:lnTo>
                    <a:lnTo>
                      <a:pt x="1307" y="1623"/>
                    </a:lnTo>
                    <a:lnTo>
                      <a:pt x="1309" y="1623"/>
                    </a:lnTo>
                    <a:lnTo>
                      <a:pt x="1309" y="1624"/>
                    </a:lnTo>
                    <a:lnTo>
                      <a:pt x="1310" y="1623"/>
                    </a:lnTo>
                    <a:lnTo>
                      <a:pt x="1312" y="1623"/>
                    </a:lnTo>
                    <a:close/>
                    <a:moveTo>
                      <a:pt x="1179" y="1133"/>
                    </a:moveTo>
                    <a:lnTo>
                      <a:pt x="1179" y="1134"/>
                    </a:lnTo>
                    <a:lnTo>
                      <a:pt x="1178" y="1134"/>
                    </a:lnTo>
                    <a:lnTo>
                      <a:pt x="1178" y="1136"/>
                    </a:lnTo>
                    <a:lnTo>
                      <a:pt x="1178" y="1138"/>
                    </a:lnTo>
                    <a:lnTo>
                      <a:pt x="1178" y="1140"/>
                    </a:lnTo>
                    <a:lnTo>
                      <a:pt x="1176" y="1141"/>
                    </a:lnTo>
                    <a:lnTo>
                      <a:pt x="1176" y="1140"/>
                    </a:lnTo>
                    <a:lnTo>
                      <a:pt x="1174" y="1141"/>
                    </a:lnTo>
                    <a:lnTo>
                      <a:pt x="1173" y="1140"/>
                    </a:lnTo>
                    <a:lnTo>
                      <a:pt x="1174" y="1140"/>
                    </a:lnTo>
                    <a:lnTo>
                      <a:pt x="1173" y="1140"/>
                    </a:lnTo>
                    <a:lnTo>
                      <a:pt x="1173" y="1138"/>
                    </a:lnTo>
                    <a:lnTo>
                      <a:pt x="1174" y="1136"/>
                    </a:lnTo>
                    <a:lnTo>
                      <a:pt x="1174" y="1134"/>
                    </a:lnTo>
                    <a:lnTo>
                      <a:pt x="1176" y="1133"/>
                    </a:lnTo>
                    <a:lnTo>
                      <a:pt x="1178" y="1133"/>
                    </a:lnTo>
                    <a:lnTo>
                      <a:pt x="1179" y="1133"/>
                    </a:lnTo>
                    <a:close/>
                    <a:moveTo>
                      <a:pt x="1166" y="1473"/>
                    </a:moveTo>
                    <a:lnTo>
                      <a:pt x="1168" y="1473"/>
                    </a:lnTo>
                    <a:lnTo>
                      <a:pt x="1169" y="1473"/>
                    </a:lnTo>
                    <a:lnTo>
                      <a:pt x="1169" y="1475"/>
                    </a:lnTo>
                    <a:lnTo>
                      <a:pt x="1171" y="1475"/>
                    </a:lnTo>
                    <a:lnTo>
                      <a:pt x="1171" y="1476"/>
                    </a:lnTo>
                    <a:lnTo>
                      <a:pt x="1173" y="1476"/>
                    </a:lnTo>
                    <a:lnTo>
                      <a:pt x="1174" y="1475"/>
                    </a:lnTo>
                    <a:lnTo>
                      <a:pt x="1176" y="1473"/>
                    </a:lnTo>
                    <a:lnTo>
                      <a:pt x="1176" y="1475"/>
                    </a:lnTo>
                    <a:lnTo>
                      <a:pt x="1176" y="1476"/>
                    </a:lnTo>
                    <a:lnTo>
                      <a:pt x="1174" y="1476"/>
                    </a:lnTo>
                    <a:lnTo>
                      <a:pt x="1176" y="1478"/>
                    </a:lnTo>
                    <a:lnTo>
                      <a:pt x="1174" y="1478"/>
                    </a:lnTo>
                    <a:lnTo>
                      <a:pt x="1176" y="1480"/>
                    </a:lnTo>
                    <a:lnTo>
                      <a:pt x="1174" y="1480"/>
                    </a:lnTo>
                    <a:lnTo>
                      <a:pt x="1173" y="1478"/>
                    </a:lnTo>
                    <a:lnTo>
                      <a:pt x="1173" y="1480"/>
                    </a:lnTo>
                    <a:lnTo>
                      <a:pt x="1174" y="1480"/>
                    </a:lnTo>
                    <a:lnTo>
                      <a:pt x="1173" y="1480"/>
                    </a:lnTo>
                    <a:lnTo>
                      <a:pt x="1171" y="1480"/>
                    </a:lnTo>
                    <a:lnTo>
                      <a:pt x="1169" y="1480"/>
                    </a:lnTo>
                    <a:lnTo>
                      <a:pt x="1171" y="1478"/>
                    </a:lnTo>
                    <a:lnTo>
                      <a:pt x="1169" y="1478"/>
                    </a:lnTo>
                    <a:lnTo>
                      <a:pt x="1171" y="1476"/>
                    </a:lnTo>
                    <a:lnTo>
                      <a:pt x="1169" y="1476"/>
                    </a:lnTo>
                    <a:lnTo>
                      <a:pt x="1168" y="1476"/>
                    </a:lnTo>
                    <a:lnTo>
                      <a:pt x="1166" y="1475"/>
                    </a:lnTo>
                    <a:lnTo>
                      <a:pt x="1166" y="1473"/>
                    </a:lnTo>
                    <a:close/>
                    <a:moveTo>
                      <a:pt x="1178" y="1459"/>
                    </a:moveTo>
                    <a:lnTo>
                      <a:pt x="1179" y="1459"/>
                    </a:lnTo>
                    <a:lnTo>
                      <a:pt x="1181" y="1459"/>
                    </a:lnTo>
                    <a:lnTo>
                      <a:pt x="1181" y="1461"/>
                    </a:lnTo>
                    <a:lnTo>
                      <a:pt x="1179" y="1461"/>
                    </a:lnTo>
                    <a:lnTo>
                      <a:pt x="1181" y="1461"/>
                    </a:lnTo>
                    <a:lnTo>
                      <a:pt x="1179" y="1463"/>
                    </a:lnTo>
                    <a:lnTo>
                      <a:pt x="1179" y="1464"/>
                    </a:lnTo>
                    <a:lnTo>
                      <a:pt x="1178" y="1464"/>
                    </a:lnTo>
                    <a:lnTo>
                      <a:pt x="1178" y="1466"/>
                    </a:lnTo>
                    <a:lnTo>
                      <a:pt x="1176" y="1464"/>
                    </a:lnTo>
                    <a:lnTo>
                      <a:pt x="1176" y="1466"/>
                    </a:lnTo>
                    <a:lnTo>
                      <a:pt x="1176" y="1464"/>
                    </a:lnTo>
                    <a:lnTo>
                      <a:pt x="1176" y="1463"/>
                    </a:lnTo>
                    <a:lnTo>
                      <a:pt x="1176" y="1464"/>
                    </a:lnTo>
                    <a:lnTo>
                      <a:pt x="1174" y="1464"/>
                    </a:lnTo>
                    <a:lnTo>
                      <a:pt x="1176" y="1464"/>
                    </a:lnTo>
                    <a:lnTo>
                      <a:pt x="1176" y="1466"/>
                    </a:lnTo>
                    <a:lnTo>
                      <a:pt x="1174" y="1466"/>
                    </a:lnTo>
                    <a:lnTo>
                      <a:pt x="1174" y="1468"/>
                    </a:lnTo>
                    <a:lnTo>
                      <a:pt x="1174" y="1466"/>
                    </a:lnTo>
                    <a:lnTo>
                      <a:pt x="1173" y="1468"/>
                    </a:lnTo>
                    <a:lnTo>
                      <a:pt x="1173" y="1466"/>
                    </a:lnTo>
                    <a:lnTo>
                      <a:pt x="1173" y="1464"/>
                    </a:lnTo>
                    <a:lnTo>
                      <a:pt x="1174" y="1463"/>
                    </a:lnTo>
                    <a:lnTo>
                      <a:pt x="1176" y="1461"/>
                    </a:lnTo>
                    <a:lnTo>
                      <a:pt x="1176" y="1463"/>
                    </a:lnTo>
                    <a:lnTo>
                      <a:pt x="1178" y="1463"/>
                    </a:lnTo>
                    <a:lnTo>
                      <a:pt x="1176" y="1461"/>
                    </a:lnTo>
                    <a:lnTo>
                      <a:pt x="1178" y="1459"/>
                    </a:lnTo>
                    <a:lnTo>
                      <a:pt x="1178" y="1458"/>
                    </a:lnTo>
                    <a:lnTo>
                      <a:pt x="1178" y="1459"/>
                    </a:lnTo>
                    <a:close/>
                    <a:moveTo>
                      <a:pt x="1202" y="1094"/>
                    </a:moveTo>
                    <a:lnTo>
                      <a:pt x="1203" y="1094"/>
                    </a:lnTo>
                    <a:lnTo>
                      <a:pt x="1203" y="1095"/>
                    </a:lnTo>
                    <a:lnTo>
                      <a:pt x="1203" y="1097"/>
                    </a:lnTo>
                    <a:lnTo>
                      <a:pt x="1205" y="1099"/>
                    </a:lnTo>
                    <a:lnTo>
                      <a:pt x="1205" y="1100"/>
                    </a:lnTo>
                    <a:lnTo>
                      <a:pt x="1203" y="1100"/>
                    </a:lnTo>
                    <a:lnTo>
                      <a:pt x="1205" y="1100"/>
                    </a:lnTo>
                    <a:lnTo>
                      <a:pt x="1205" y="1102"/>
                    </a:lnTo>
                    <a:lnTo>
                      <a:pt x="1203" y="1102"/>
                    </a:lnTo>
                    <a:lnTo>
                      <a:pt x="1202" y="1102"/>
                    </a:lnTo>
                    <a:lnTo>
                      <a:pt x="1202" y="1100"/>
                    </a:lnTo>
                    <a:lnTo>
                      <a:pt x="1200" y="1100"/>
                    </a:lnTo>
                    <a:lnTo>
                      <a:pt x="1200" y="1099"/>
                    </a:lnTo>
                    <a:lnTo>
                      <a:pt x="1200" y="1097"/>
                    </a:lnTo>
                    <a:lnTo>
                      <a:pt x="1200" y="1099"/>
                    </a:lnTo>
                    <a:lnTo>
                      <a:pt x="1202" y="1099"/>
                    </a:lnTo>
                    <a:lnTo>
                      <a:pt x="1203" y="1099"/>
                    </a:lnTo>
                    <a:lnTo>
                      <a:pt x="1202" y="1099"/>
                    </a:lnTo>
                    <a:lnTo>
                      <a:pt x="1202" y="1097"/>
                    </a:lnTo>
                    <a:lnTo>
                      <a:pt x="1200" y="1097"/>
                    </a:lnTo>
                    <a:lnTo>
                      <a:pt x="1200" y="1095"/>
                    </a:lnTo>
                    <a:lnTo>
                      <a:pt x="1200" y="1094"/>
                    </a:lnTo>
                    <a:lnTo>
                      <a:pt x="1202" y="1094"/>
                    </a:lnTo>
                    <a:close/>
                    <a:moveTo>
                      <a:pt x="1195" y="1140"/>
                    </a:moveTo>
                    <a:lnTo>
                      <a:pt x="1196" y="1140"/>
                    </a:lnTo>
                    <a:lnTo>
                      <a:pt x="1198" y="1141"/>
                    </a:lnTo>
                    <a:lnTo>
                      <a:pt x="1200" y="1140"/>
                    </a:lnTo>
                    <a:lnTo>
                      <a:pt x="1200" y="1141"/>
                    </a:lnTo>
                    <a:lnTo>
                      <a:pt x="1198" y="1141"/>
                    </a:lnTo>
                    <a:lnTo>
                      <a:pt x="1198" y="1143"/>
                    </a:lnTo>
                    <a:lnTo>
                      <a:pt x="1198" y="1145"/>
                    </a:lnTo>
                    <a:lnTo>
                      <a:pt x="1198" y="1146"/>
                    </a:lnTo>
                    <a:lnTo>
                      <a:pt x="1198" y="1148"/>
                    </a:lnTo>
                    <a:lnTo>
                      <a:pt x="1196" y="1150"/>
                    </a:lnTo>
                    <a:lnTo>
                      <a:pt x="1196" y="1148"/>
                    </a:lnTo>
                    <a:lnTo>
                      <a:pt x="1196" y="1146"/>
                    </a:lnTo>
                    <a:lnTo>
                      <a:pt x="1196" y="1145"/>
                    </a:lnTo>
                    <a:lnTo>
                      <a:pt x="1195" y="1146"/>
                    </a:lnTo>
                    <a:lnTo>
                      <a:pt x="1195" y="1145"/>
                    </a:lnTo>
                    <a:lnTo>
                      <a:pt x="1195" y="1143"/>
                    </a:lnTo>
                    <a:lnTo>
                      <a:pt x="1195" y="1145"/>
                    </a:lnTo>
                    <a:lnTo>
                      <a:pt x="1193" y="1143"/>
                    </a:lnTo>
                    <a:lnTo>
                      <a:pt x="1193" y="1141"/>
                    </a:lnTo>
                    <a:lnTo>
                      <a:pt x="1195" y="1141"/>
                    </a:lnTo>
                    <a:lnTo>
                      <a:pt x="1195" y="1140"/>
                    </a:lnTo>
                    <a:close/>
                    <a:moveTo>
                      <a:pt x="1219" y="1575"/>
                    </a:moveTo>
                    <a:lnTo>
                      <a:pt x="1217" y="1575"/>
                    </a:lnTo>
                    <a:lnTo>
                      <a:pt x="1217" y="1577"/>
                    </a:lnTo>
                    <a:lnTo>
                      <a:pt x="1219" y="1575"/>
                    </a:lnTo>
                    <a:lnTo>
                      <a:pt x="1220" y="1575"/>
                    </a:lnTo>
                    <a:lnTo>
                      <a:pt x="1219" y="1577"/>
                    </a:lnTo>
                    <a:lnTo>
                      <a:pt x="1220" y="1577"/>
                    </a:lnTo>
                    <a:lnTo>
                      <a:pt x="1220" y="1578"/>
                    </a:lnTo>
                    <a:lnTo>
                      <a:pt x="1219" y="1578"/>
                    </a:lnTo>
                    <a:lnTo>
                      <a:pt x="1220" y="1578"/>
                    </a:lnTo>
                    <a:lnTo>
                      <a:pt x="1220" y="1577"/>
                    </a:lnTo>
                    <a:lnTo>
                      <a:pt x="1222" y="1577"/>
                    </a:lnTo>
                    <a:lnTo>
                      <a:pt x="1222" y="1578"/>
                    </a:lnTo>
                    <a:lnTo>
                      <a:pt x="1222" y="1580"/>
                    </a:lnTo>
                    <a:lnTo>
                      <a:pt x="1222" y="1578"/>
                    </a:lnTo>
                    <a:lnTo>
                      <a:pt x="1224" y="1578"/>
                    </a:lnTo>
                    <a:lnTo>
                      <a:pt x="1224" y="1580"/>
                    </a:lnTo>
                    <a:lnTo>
                      <a:pt x="1222" y="1580"/>
                    </a:lnTo>
                    <a:lnTo>
                      <a:pt x="1224" y="1580"/>
                    </a:lnTo>
                    <a:lnTo>
                      <a:pt x="1222" y="1582"/>
                    </a:lnTo>
                    <a:lnTo>
                      <a:pt x="1222" y="1580"/>
                    </a:lnTo>
                    <a:lnTo>
                      <a:pt x="1222" y="1582"/>
                    </a:lnTo>
                    <a:lnTo>
                      <a:pt x="1220" y="1580"/>
                    </a:lnTo>
                    <a:lnTo>
                      <a:pt x="1220" y="1578"/>
                    </a:lnTo>
                    <a:lnTo>
                      <a:pt x="1220" y="1580"/>
                    </a:lnTo>
                    <a:lnTo>
                      <a:pt x="1220" y="1582"/>
                    </a:lnTo>
                    <a:lnTo>
                      <a:pt x="1220" y="1583"/>
                    </a:lnTo>
                    <a:lnTo>
                      <a:pt x="1220" y="1582"/>
                    </a:lnTo>
                    <a:lnTo>
                      <a:pt x="1219" y="1582"/>
                    </a:lnTo>
                    <a:lnTo>
                      <a:pt x="1217" y="1582"/>
                    </a:lnTo>
                    <a:lnTo>
                      <a:pt x="1219" y="1582"/>
                    </a:lnTo>
                    <a:lnTo>
                      <a:pt x="1219" y="1580"/>
                    </a:lnTo>
                    <a:lnTo>
                      <a:pt x="1219" y="1578"/>
                    </a:lnTo>
                    <a:lnTo>
                      <a:pt x="1217" y="1578"/>
                    </a:lnTo>
                    <a:lnTo>
                      <a:pt x="1217" y="1580"/>
                    </a:lnTo>
                    <a:lnTo>
                      <a:pt x="1215" y="1578"/>
                    </a:lnTo>
                    <a:lnTo>
                      <a:pt x="1213" y="1578"/>
                    </a:lnTo>
                    <a:lnTo>
                      <a:pt x="1215" y="1578"/>
                    </a:lnTo>
                    <a:lnTo>
                      <a:pt x="1215" y="1577"/>
                    </a:lnTo>
                    <a:lnTo>
                      <a:pt x="1215" y="1575"/>
                    </a:lnTo>
                    <a:lnTo>
                      <a:pt x="1217" y="1577"/>
                    </a:lnTo>
                    <a:lnTo>
                      <a:pt x="1217" y="1575"/>
                    </a:lnTo>
                    <a:lnTo>
                      <a:pt x="1217" y="1573"/>
                    </a:lnTo>
                    <a:lnTo>
                      <a:pt x="1219" y="1575"/>
                    </a:lnTo>
                    <a:close/>
                    <a:moveTo>
                      <a:pt x="1191" y="1422"/>
                    </a:moveTo>
                    <a:lnTo>
                      <a:pt x="1191" y="1424"/>
                    </a:lnTo>
                    <a:lnTo>
                      <a:pt x="1191" y="1425"/>
                    </a:lnTo>
                    <a:lnTo>
                      <a:pt x="1191" y="1427"/>
                    </a:lnTo>
                    <a:lnTo>
                      <a:pt x="1193" y="1427"/>
                    </a:lnTo>
                    <a:lnTo>
                      <a:pt x="1191" y="1427"/>
                    </a:lnTo>
                    <a:lnTo>
                      <a:pt x="1191" y="1429"/>
                    </a:lnTo>
                    <a:lnTo>
                      <a:pt x="1191" y="1427"/>
                    </a:lnTo>
                    <a:lnTo>
                      <a:pt x="1193" y="1429"/>
                    </a:lnTo>
                    <a:lnTo>
                      <a:pt x="1193" y="1430"/>
                    </a:lnTo>
                    <a:lnTo>
                      <a:pt x="1193" y="1432"/>
                    </a:lnTo>
                    <a:lnTo>
                      <a:pt x="1191" y="1430"/>
                    </a:lnTo>
                    <a:lnTo>
                      <a:pt x="1191" y="1432"/>
                    </a:lnTo>
                    <a:lnTo>
                      <a:pt x="1191" y="1430"/>
                    </a:lnTo>
                    <a:lnTo>
                      <a:pt x="1190" y="1432"/>
                    </a:lnTo>
                    <a:lnTo>
                      <a:pt x="1190" y="1430"/>
                    </a:lnTo>
                    <a:lnTo>
                      <a:pt x="1188" y="1430"/>
                    </a:lnTo>
                    <a:lnTo>
                      <a:pt x="1188" y="1429"/>
                    </a:lnTo>
                    <a:lnTo>
                      <a:pt x="1190" y="1429"/>
                    </a:lnTo>
                    <a:lnTo>
                      <a:pt x="1188" y="1427"/>
                    </a:lnTo>
                    <a:lnTo>
                      <a:pt x="1188" y="1425"/>
                    </a:lnTo>
                    <a:lnTo>
                      <a:pt x="1188" y="1424"/>
                    </a:lnTo>
                    <a:lnTo>
                      <a:pt x="1190" y="1424"/>
                    </a:lnTo>
                    <a:lnTo>
                      <a:pt x="1191" y="1422"/>
                    </a:lnTo>
                    <a:close/>
                    <a:moveTo>
                      <a:pt x="1159" y="1094"/>
                    </a:moveTo>
                    <a:lnTo>
                      <a:pt x="1159" y="1095"/>
                    </a:lnTo>
                    <a:lnTo>
                      <a:pt x="1161" y="1095"/>
                    </a:lnTo>
                    <a:lnTo>
                      <a:pt x="1161" y="1097"/>
                    </a:lnTo>
                    <a:lnTo>
                      <a:pt x="1162" y="1097"/>
                    </a:lnTo>
                    <a:lnTo>
                      <a:pt x="1161" y="1099"/>
                    </a:lnTo>
                    <a:lnTo>
                      <a:pt x="1161" y="1100"/>
                    </a:lnTo>
                    <a:lnTo>
                      <a:pt x="1159" y="1100"/>
                    </a:lnTo>
                    <a:lnTo>
                      <a:pt x="1157" y="1100"/>
                    </a:lnTo>
                    <a:lnTo>
                      <a:pt x="1157" y="1099"/>
                    </a:lnTo>
                    <a:lnTo>
                      <a:pt x="1157" y="1097"/>
                    </a:lnTo>
                    <a:lnTo>
                      <a:pt x="1156" y="1097"/>
                    </a:lnTo>
                    <a:lnTo>
                      <a:pt x="1156" y="1095"/>
                    </a:lnTo>
                    <a:lnTo>
                      <a:pt x="1157" y="1095"/>
                    </a:lnTo>
                    <a:lnTo>
                      <a:pt x="1157" y="1094"/>
                    </a:lnTo>
                    <a:lnTo>
                      <a:pt x="1159" y="1094"/>
                    </a:lnTo>
                    <a:close/>
                    <a:moveTo>
                      <a:pt x="1448" y="1643"/>
                    </a:moveTo>
                    <a:lnTo>
                      <a:pt x="1450" y="1643"/>
                    </a:lnTo>
                    <a:lnTo>
                      <a:pt x="1451" y="1643"/>
                    </a:lnTo>
                    <a:lnTo>
                      <a:pt x="1451" y="1645"/>
                    </a:lnTo>
                    <a:lnTo>
                      <a:pt x="1450" y="1645"/>
                    </a:lnTo>
                    <a:lnTo>
                      <a:pt x="1450" y="1646"/>
                    </a:lnTo>
                    <a:lnTo>
                      <a:pt x="1448" y="1648"/>
                    </a:lnTo>
                    <a:lnTo>
                      <a:pt x="1450" y="1648"/>
                    </a:lnTo>
                    <a:lnTo>
                      <a:pt x="1448" y="1648"/>
                    </a:lnTo>
                    <a:lnTo>
                      <a:pt x="1446" y="1648"/>
                    </a:lnTo>
                    <a:lnTo>
                      <a:pt x="1446" y="1650"/>
                    </a:lnTo>
                    <a:lnTo>
                      <a:pt x="1445" y="1648"/>
                    </a:lnTo>
                    <a:lnTo>
                      <a:pt x="1445" y="1650"/>
                    </a:lnTo>
                    <a:lnTo>
                      <a:pt x="1445" y="1648"/>
                    </a:lnTo>
                    <a:lnTo>
                      <a:pt x="1445" y="1646"/>
                    </a:lnTo>
                    <a:lnTo>
                      <a:pt x="1445" y="1645"/>
                    </a:lnTo>
                    <a:lnTo>
                      <a:pt x="1446" y="1643"/>
                    </a:lnTo>
                    <a:lnTo>
                      <a:pt x="1448" y="1643"/>
                    </a:lnTo>
                    <a:close/>
                    <a:moveTo>
                      <a:pt x="1181" y="1272"/>
                    </a:moveTo>
                    <a:lnTo>
                      <a:pt x="1183" y="1272"/>
                    </a:lnTo>
                    <a:lnTo>
                      <a:pt x="1185" y="1272"/>
                    </a:lnTo>
                    <a:lnTo>
                      <a:pt x="1185" y="1274"/>
                    </a:lnTo>
                    <a:lnTo>
                      <a:pt x="1186" y="1274"/>
                    </a:lnTo>
                    <a:lnTo>
                      <a:pt x="1188" y="1274"/>
                    </a:lnTo>
                    <a:lnTo>
                      <a:pt x="1188" y="1276"/>
                    </a:lnTo>
                    <a:lnTo>
                      <a:pt x="1188" y="1277"/>
                    </a:lnTo>
                    <a:lnTo>
                      <a:pt x="1186" y="1277"/>
                    </a:lnTo>
                    <a:lnTo>
                      <a:pt x="1185" y="1277"/>
                    </a:lnTo>
                    <a:lnTo>
                      <a:pt x="1185" y="1279"/>
                    </a:lnTo>
                    <a:lnTo>
                      <a:pt x="1183" y="1277"/>
                    </a:lnTo>
                    <a:lnTo>
                      <a:pt x="1183" y="1276"/>
                    </a:lnTo>
                    <a:lnTo>
                      <a:pt x="1181" y="1274"/>
                    </a:lnTo>
                    <a:lnTo>
                      <a:pt x="1181" y="1272"/>
                    </a:lnTo>
                    <a:lnTo>
                      <a:pt x="1181" y="1270"/>
                    </a:lnTo>
                    <a:lnTo>
                      <a:pt x="1181" y="1272"/>
                    </a:lnTo>
                    <a:close/>
                    <a:moveTo>
                      <a:pt x="1181" y="1090"/>
                    </a:moveTo>
                    <a:lnTo>
                      <a:pt x="1183" y="1092"/>
                    </a:lnTo>
                    <a:lnTo>
                      <a:pt x="1183" y="1094"/>
                    </a:lnTo>
                    <a:lnTo>
                      <a:pt x="1185" y="1094"/>
                    </a:lnTo>
                    <a:lnTo>
                      <a:pt x="1185" y="1095"/>
                    </a:lnTo>
                    <a:lnTo>
                      <a:pt x="1186" y="1095"/>
                    </a:lnTo>
                    <a:lnTo>
                      <a:pt x="1186" y="1097"/>
                    </a:lnTo>
                    <a:lnTo>
                      <a:pt x="1185" y="1097"/>
                    </a:lnTo>
                    <a:lnTo>
                      <a:pt x="1183" y="1097"/>
                    </a:lnTo>
                    <a:lnTo>
                      <a:pt x="1181" y="1097"/>
                    </a:lnTo>
                    <a:lnTo>
                      <a:pt x="1181" y="1095"/>
                    </a:lnTo>
                    <a:lnTo>
                      <a:pt x="1179" y="1095"/>
                    </a:lnTo>
                    <a:lnTo>
                      <a:pt x="1179" y="1094"/>
                    </a:lnTo>
                    <a:lnTo>
                      <a:pt x="1178" y="1092"/>
                    </a:lnTo>
                    <a:lnTo>
                      <a:pt x="1179" y="1092"/>
                    </a:lnTo>
                    <a:lnTo>
                      <a:pt x="1179" y="1090"/>
                    </a:lnTo>
                    <a:lnTo>
                      <a:pt x="1179" y="1092"/>
                    </a:lnTo>
                    <a:lnTo>
                      <a:pt x="1181" y="1092"/>
                    </a:lnTo>
                    <a:lnTo>
                      <a:pt x="1181" y="1090"/>
                    </a:lnTo>
                    <a:close/>
                    <a:moveTo>
                      <a:pt x="1191" y="1077"/>
                    </a:moveTo>
                    <a:lnTo>
                      <a:pt x="1193" y="1078"/>
                    </a:lnTo>
                    <a:lnTo>
                      <a:pt x="1195" y="1078"/>
                    </a:lnTo>
                    <a:lnTo>
                      <a:pt x="1196" y="1078"/>
                    </a:lnTo>
                    <a:lnTo>
                      <a:pt x="1198" y="1078"/>
                    </a:lnTo>
                    <a:lnTo>
                      <a:pt x="1198" y="1080"/>
                    </a:lnTo>
                    <a:lnTo>
                      <a:pt x="1200" y="1082"/>
                    </a:lnTo>
                    <a:lnTo>
                      <a:pt x="1198" y="1082"/>
                    </a:lnTo>
                    <a:lnTo>
                      <a:pt x="1198" y="1083"/>
                    </a:lnTo>
                    <a:lnTo>
                      <a:pt x="1196" y="1083"/>
                    </a:lnTo>
                    <a:lnTo>
                      <a:pt x="1195" y="1083"/>
                    </a:lnTo>
                    <a:lnTo>
                      <a:pt x="1193" y="1083"/>
                    </a:lnTo>
                    <a:lnTo>
                      <a:pt x="1193" y="1082"/>
                    </a:lnTo>
                    <a:lnTo>
                      <a:pt x="1191" y="1082"/>
                    </a:lnTo>
                    <a:lnTo>
                      <a:pt x="1191" y="1080"/>
                    </a:lnTo>
                    <a:lnTo>
                      <a:pt x="1193" y="1080"/>
                    </a:lnTo>
                    <a:lnTo>
                      <a:pt x="1195" y="1080"/>
                    </a:lnTo>
                    <a:lnTo>
                      <a:pt x="1196" y="1080"/>
                    </a:lnTo>
                    <a:lnTo>
                      <a:pt x="1196" y="1082"/>
                    </a:lnTo>
                    <a:lnTo>
                      <a:pt x="1195" y="1082"/>
                    </a:lnTo>
                    <a:lnTo>
                      <a:pt x="1193" y="1082"/>
                    </a:lnTo>
                    <a:lnTo>
                      <a:pt x="1195" y="1082"/>
                    </a:lnTo>
                    <a:lnTo>
                      <a:pt x="1196" y="1082"/>
                    </a:lnTo>
                    <a:lnTo>
                      <a:pt x="1198" y="1082"/>
                    </a:lnTo>
                    <a:lnTo>
                      <a:pt x="1196" y="1082"/>
                    </a:lnTo>
                    <a:lnTo>
                      <a:pt x="1198" y="1080"/>
                    </a:lnTo>
                    <a:lnTo>
                      <a:pt x="1196" y="1080"/>
                    </a:lnTo>
                    <a:lnTo>
                      <a:pt x="1195" y="1080"/>
                    </a:lnTo>
                    <a:lnTo>
                      <a:pt x="1193" y="1080"/>
                    </a:lnTo>
                    <a:lnTo>
                      <a:pt x="1191" y="1080"/>
                    </a:lnTo>
                    <a:lnTo>
                      <a:pt x="1191" y="1078"/>
                    </a:lnTo>
                    <a:lnTo>
                      <a:pt x="1193" y="1078"/>
                    </a:lnTo>
                    <a:lnTo>
                      <a:pt x="1191" y="1078"/>
                    </a:lnTo>
                    <a:lnTo>
                      <a:pt x="1190" y="1077"/>
                    </a:lnTo>
                    <a:lnTo>
                      <a:pt x="1191" y="1077"/>
                    </a:lnTo>
                    <a:close/>
                    <a:moveTo>
                      <a:pt x="1327" y="1628"/>
                    </a:moveTo>
                    <a:lnTo>
                      <a:pt x="1329" y="1628"/>
                    </a:lnTo>
                    <a:lnTo>
                      <a:pt x="1329" y="1629"/>
                    </a:lnTo>
                    <a:lnTo>
                      <a:pt x="1327" y="1629"/>
                    </a:lnTo>
                    <a:lnTo>
                      <a:pt x="1329" y="1629"/>
                    </a:lnTo>
                    <a:lnTo>
                      <a:pt x="1331" y="1628"/>
                    </a:lnTo>
                    <a:lnTo>
                      <a:pt x="1332" y="1629"/>
                    </a:lnTo>
                    <a:lnTo>
                      <a:pt x="1332" y="1631"/>
                    </a:lnTo>
                    <a:lnTo>
                      <a:pt x="1331" y="1633"/>
                    </a:lnTo>
                    <a:lnTo>
                      <a:pt x="1329" y="1633"/>
                    </a:lnTo>
                    <a:lnTo>
                      <a:pt x="1331" y="1631"/>
                    </a:lnTo>
                    <a:lnTo>
                      <a:pt x="1331" y="1629"/>
                    </a:lnTo>
                    <a:lnTo>
                      <a:pt x="1329" y="1631"/>
                    </a:lnTo>
                    <a:lnTo>
                      <a:pt x="1329" y="1633"/>
                    </a:lnTo>
                    <a:lnTo>
                      <a:pt x="1327" y="1635"/>
                    </a:lnTo>
                    <a:lnTo>
                      <a:pt x="1327" y="1633"/>
                    </a:lnTo>
                    <a:lnTo>
                      <a:pt x="1326" y="1635"/>
                    </a:lnTo>
                    <a:lnTo>
                      <a:pt x="1326" y="1633"/>
                    </a:lnTo>
                    <a:lnTo>
                      <a:pt x="1326" y="1635"/>
                    </a:lnTo>
                    <a:lnTo>
                      <a:pt x="1324" y="1635"/>
                    </a:lnTo>
                    <a:lnTo>
                      <a:pt x="1324" y="1633"/>
                    </a:lnTo>
                    <a:lnTo>
                      <a:pt x="1326" y="1631"/>
                    </a:lnTo>
                    <a:lnTo>
                      <a:pt x="1324" y="1631"/>
                    </a:lnTo>
                    <a:lnTo>
                      <a:pt x="1326" y="1631"/>
                    </a:lnTo>
                    <a:lnTo>
                      <a:pt x="1327" y="1631"/>
                    </a:lnTo>
                    <a:lnTo>
                      <a:pt x="1327" y="1629"/>
                    </a:lnTo>
                    <a:lnTo>
                      <a:pt x="1326" y="1629"/>
                    </a:lnTo>
                    <a:lnTo>
                      <a:pt x="1327" y="1629"/>
                    </a:lnTo>
                    <a:lnTo>
                      <a:pt x="1326" y="1629"/>
                    </a:lnTo>
                    <a:lnTo>
                      <a:pt x="1324" y="1629"/>
                    </a:lnTo>
                    <a:lnTo>
                      <a:pt x="1326" y="1628"/>
                    </a:lnTo>
                    <a:lnTo>
                      <a:pt x="1327" y="1628"/>
                    </a:lnTo>
                    <a:close/>
                    <a:moveTo>
                      <a:pt x="1191" y="1269"/>
                    </a:moveTo>
                    <a:lnTo>
                      <a:pt x="1193" y="1270"/>
                    </a:lnTo>
                    <a:lnTo>
                      <a:pt x="1195" y="1272"/>
                    </a:lnTo>
                    <a:lnTo>
                      <a:pt x="1196" y="1272"/>
                    </a:lnTo>
                    <a:lnTo>
                      <a:pt x="1196" y="1274"/>
                    </a:lnTo>
                    <a:lnTo>
                      <a:pt x="1196" y="1276"/>
                    </a:lnTo>
                    <a:lnTo>
                      <a:pt x="1196" y="1277"/>
                    </a:lnTo>
                    <a:lnTo>
                      <a:pt x="1195" y="1276"/>
                    </a:lnTo>
                    <a:lnTo>
                      <a:pt x="1193" y="1276"/>
                    </a:lnTo>
                    <a:lnTo>
                      <a:pt x="1193" y="1274"/>
                    </a:lnTo>
                    <a:lnTo>
                      <a:pt x="1191" y="1274"/>
                    </a:lnTo>
                    <a:lnTo>
                      <a:pt x="1191" y="1272"/>
                    </a:lnTo>
                    <a:lnTo>
                      <a:pt x="1190" y="1272"/>
                    </a:lnTo>
                    <a:lnTo>
                      <a:pt x="1190" y="1270"/>
                    </a:lnTo>
                    <a:lnTo>
                      <a:pt x="1190" y="1269"/>
                    </a:lnTo>
                    <a:lnTo>
                      <a:pt x="1191" y="1269"/>
                    </a:lnTo>
                    <a:close/>
                    <a:moveTo>
                      <a:pt x="1195" y="1121"/>
                    </a:moveTo>
                    <a:lnTo>
                      <a:pt x="1196" y="1121"/>
                    </a:lnTo>
                    <a:lnTo>
                      <a:pt x="1196" y="1122"/>
                    </a:lnTo>
                    <a:lnTo>
                      <a:pt x="1196" y="1124"/>
                    </a:lnTo>
                    <a:lnTo>
                      <a:pt x="1195" y="1124"/>
                    </a:lnTo>
                    <a:lnTo>
                      <a:pt x="1196" y="1124"/>
                    </a:lnTo>
                    <a:lnTo>
                      <a:pt x="1196" y="1122"/>
                    </a:lnTo>
                    <a:lnTo>
                      <a:pt x="1198" y="1122"/>
                    </a:lnTo>
                    <a:lnTo>
                      <a:pt x="1200" y="1122"/>
                    </a:lnTo>
                    <a:lnTo>
                      <a:pt x="1202" y="1122"/>
                    </a:lnTo>
                    <a:lnTo>
                      <a:pt x="1203" y="1122"/>
                    </a:lnTo>
                    <a:lnTo>
                      <a:pt x="1203" y="1124"/>
                    </a:lnTo>
                    <a:lnTo>
                      <a:pt x="1202" y="1124"/>
                    </a:lnTo>
                    <a:lnTo>
                      <a:pt x="1202" y="1126"/>
                    </a:lnTo>
                    <a:lnTo>
                      <a:pt x="1200" y="1126"/>
                    </a:lnTo>
                    <a:lnTo>
                      <a:pt x="1198" y="1126"/>
                    </a:lnTo>
                    <a:lnTo>
                      <a:pt x="1198" y="1124"/>
                    </a:lnTo>
                    <a:lnTo>
                      <a:pt x="1198" y="1126"/>
                    </a:lnTo>
                    <a:lnTo>
                      <a:pt x="1198" y="1124"/>
                    </a:lnTo>
                    <a:lnTo>
                      <a:pt x="1196" y="1124"/>
                    </a:lnTo>
                    <a:lnTo>
                      <a:pt x="1195" y="1124"/>
                    </a:lnTo>
                    <a:lnTo>
                      <a:pt x="1195" y="1122"/>
                    </a:lnTo>
                    <a:lnTo>
                      <a:pt x="1193" y="1122"/>
                    </a:lnTo>
                    <a:lnTo>
                      <a:pt x="1193" y="1121"/>
                    </a:lnTo>
                    <a:lnTo>
                      <a:pt x="1195" y="1121"/>
                    </a:lnTo>
                    <a:close/>
                    <a:moveTo>
                      <a:pt x="1225" y="1051"/>
                    </a:moveTo>
                    <a:lnTo>
                      <a:pt x="1225" y="1053"/>
                    </a:lnTo>
                    <a:lnTo>
                      <a:pt x="1225" y="1054"/>
                    </a:lnTo>
                    <a:lnTo>
                      <a:pt x="1225" y="1056"/>
                    </a:lnTo>
                    <a:lnTo>
                      <a:pt x="1225" y="1058"/>
                    </a:lnTo>
                    <a:lnTo>
                      <a:pt x="1224" y="1058"/>
                    </a:lnTo>
                    <a:lnTo>
                      <a:pt x="1222" y="1058"/>
                    </a:lnTo>
                    <a:lnTo>
                      <a:pt x="1222" y="1056"/>
                    </a:lnTo>
                    <a:lnTo>
                      <a:pt x="1220" y="1056"/>
                    </a:lnTo>
                    <a:lnTo>
                      <a:pt x="1222" y="1054"/>
                    </a:lnTo>
                    <a:lnTo>
                      <a:pt x="1222" y="1053"/>
                    </a:lnTo>
                    <a:lnTo>
                      <a:pt x="1224" y="1053"/>
                    </a:lnTo>
                    <a:lnTo>
                      <a:pt x="1225" y="1051"/>
                    </a:lnTo>
                    <a:close/>
                    <a:moveTo>
                      <a:pt x="1203" y="1422"/>
                    </a:moveTo>
                    <a:lnTo>
                      <a:pt x="1205" y="1422"/>
                    </a:lnTo>
                    <a:lnTo>
                      <a:pt x="1205" y="1424"/>
                    </a:lnTo>
                    <a:lnTo>
                      <a:pt x="1205" y="1425"/>
                    </a:lnTo>
                    <a:lnTo>
                      <a:pt x="1205" y="1427"/>
                    </a:lnTo>
                    <a:lnTo>
                      <a:pt x="1205" y="1429"/>
                    </a:lnTo>
                    <a:lnTo>
                      <a:pt x="1205" y="1427"/>
                    </a:lnTo>
                    <a:lnTo>
                      <a:pt x="1203" y="1427"/>
                    </a:lnTo>
                    <a:lnTo>
                      <a:pt x="1202" y="1427"/>
                    </a:lnTo>
                    <a:lnTo>
                      <a:pt x="1200" y="1427"/>
                    </a:lnTo>
                    <a:lnTo>
                      <a:pt x="1200" y="1425"/>
                    </a:lnTo>
                    <a:lnTo>
                      <a:pt x="1202" y="1425"/>
                    </a:lnTo>
                    <a:lnTo>
                      <a:pt x="1203" y="1425"/>
                    </a:lnTo>
                    <a:lnTo>
                      <a:pt x="1203" y="1424"/>
                    </a:lnTo>
                    <a:lnTo>
                      <a:pt x="1202" y="1425"/>
                    </a:lnTo>
                    <a:lnTo>
                      <a:pt x="1200" y="1425"/>
                    </a:lnTo>
                    <a:lnTo>
                      <a:pt x="1200" y="1424"/>
                    </a:lnTo>
                    <a:lnTo>
                      <a:pt x="1200" y="1422"/>
                    </a:lnTo>
                    <a:lnTo>
                      <a:pt x="1202" y="1422"/>
                    </a:lnTo>
                    <a:lnTo>
                      <a:pt x="1202" y="1420"/>
                    </a:lnTo>
                    <a:lnTo>
                      <a:pt x="1203" y="1420"/>
                    </a:lnTo>
                    <a:lnTo>
                      <a:pt x="1203" y="1422"/>
                    </a:lnTo>
                    <a:close/>
                    <a:moveTo>
                      <a:pt x="3" y="349"/>
                    </a:moveTo>
                    <a:lnTo>
                      <a:pt x="5" y="349"/>
                    </a:lnTo>
                    <a:lnTo>
                      <a:pt x="5" y="350"/>
                    </a:lnTo>
                    <a:lnTo>
                      <a:pt x="7" y="350"/>
                    </a:lnTo>
                    <a:lnTo>
                      <a:pt x="7" y="352"/>
                    </a:lnTo>
                    <a:lnTo>
                      <a:pt x="5" y="352"/>
                    </a:lnTo>
                    <a:lnTo>
                      <a:pt x="3" y="352"/>
                    </a:lnTo>
                    <a:lnTo>
                      <a:pt x="3" y="354"/>
                    </a:lnTo>
                    <a:lnTo>
                      <a:pt x="1" y="354"/>
                    </a:lnTo>
                    <a:lnTo>
                      <a:pt x="0" y="354"/>
                    </a:lnTo>
                    <a:lnTo>
                      <a:pt x="0" y="352"/>
                    </a:lnTo>
                    <a:lnTo>
                      <a:pt x="1" y="352"/>
                    </a:lnTo>
                    <a:lnTo>
                      <a:pt x="1" y="350"/>
                    </a:lnTo>
                    <a:lnTo>
                      <a:pt x="1" y="349"/>
                    </a:lnTo>
                    <a:lnTo>
                      <a:pt x="3" y="349"/>
                    </a:lnTo>
                    <a:close/>
                    <a:moveTo>
                      <a:pt x="1208" y="1054"/>
                    </a:moveTo>
                    <a:lnTo>
                      <a:pt x="1208" y="1056"/>
                    </a:lnTo>
                    <a:lnTo>
                      <a:pt x="1210" y="1056"/>
                    </a:lnTo>
                    <a:lnTo>
                      <a:pt x="1210" y="1058"/>
                    </a:lnTo>
                    <a:lnTo>
                      <a:pt x="1208" y="1058"/>
                    </a:lnTo>
                    <a:lnTo>
                      <a:pt x="1208" y="1060"/>
                    </a:lnTo>
                    <a:lnTo>
                      <a:pt x="1210" y="1060"/>
                    </a:lnTo>
                    <a:lnTo>
                      <a:pt x="1210" y="1061"/>
                    </a:lnTo>
                    <a:lnTo>
                      <a:pt x="1210" y="1063"/>
                    </a:lnTo>
                    <a:lnTo>
                      <a:pt x="1208" y="1063"/>
                    </a:lnTo>
                    <a:lnTo>
                      <a:pt x="1208" y="1061"/>
                    </a:lnTo>
                    <a:lnTo>
                      <a:pt x="1208" y="1060"/>
                    </a:lnTo>
                    <a:lnTo>
                      <a:pt x="1208" y="1061"/>
                    </a:lnTo>
                    <a:lnTo>
                      <a:pt x="1208" y="1060"/>
                    </a:lnTo>
                    <a:lnTo>
                      <a:pt x="1207" y="1060"/>
                    </a:lnTo>
                    <a:lnTo>
                      <a:pt x="1207" y="1058"/>
                    </a:lnTo>
                    <a:lnTo>
                      <a:pt x="1205" y="1058"/>
                    </a:lnTo>
                    <a:lnTo>
                      <a:pt x="1205" y="1056"/>
                    </a:lnTo>
                    <a:lnTo>
                      <a:pt x="1207" y="1054"/>
                    </a:lnTo>
                    <a:lnTo>
                      <a:pt x="1208" y="1054"/>
                    </a:lnTo>
                    <a:close/>
                    <a:moveTo>
                      <a:pt x="1321" y="1577"/>
                    </a:moveTo>
                    <a:lnTo>
                      <a:pt x="1322" y="1578"/>
                    </a:lnTo>
                    <a:lnTo>
                      <a:pt x="1321" y="1580"/>
                    </a:lnTo>
                    <a:lnTo>
                      <a:pt x="1321" y="1582"/>
                    </a:lnTo>
                    <a:lnTo>
                      <a:pt x="1321" y="1583"/>
                    </a:lnTo>
                    <a:lnTo>
                      <a:pt x="1319" y="1583"/>
                    </a:lnTo>
                    <a:lnTo>
                      <a:pt x="1317" y="1582"/>
                    </a:lnTo>
                    <a:lnTo>
                      <a:pt x="1315" y="1582"/>
                    </a:lnTo>
                    <a:lnTo>
                      <a:pt x="1315" y="1580"/>
                    </a:lnTo>
                    <a:lnTo>
                      <a:pt x="1314" y="1578"/>
                    </a:lnTo>
                    <a:lnTo>
                      <a:pt x="1315" y="1578"/>
                    </a:lnTo>
                    <a:lnTo>
                      <a:pt x="1317" y="1578"/>
                    </a:lnTo>
                    <a:lnTo>
                      <a:pt x="1319" y="1578"/>
                    </a:lnTo>
                    <a:lnTo>
                      <a:pt x="1321" y="1577"/>
                    </a:lnTo>
                    <a:close/>
                    <a:moveTo>
                      <a:pt x="1164" y="1282"/>
                    </a:moveTo>
                    <a:lnTo>
                      <a:pt x="1164" y="1284"/>
                    </a:lnTo>
                    <a:lnTo>
                      <a:pt x="1166" y="1284"/>
                    </a:lnTo>
                    <a:lnTo>
                      <a:pt x="1168" y="1284"/>
                    </a:lnTo>
                    <a:lnTo>
                      <a:pt x="1169" y="1284"/>
                    </a:lnTo>
                    <a:lnTo>
                      <a:pt x="1171" y="1284"/>
                    </a:lnTo>
                    <a:lnTo>
                      <a:pt x="1171" y="1286"/>
                    </a:lnTo>
                    <a:lnTo>
                      <a:pt x="1169" y="1286"/>
                    </a:lnTo>
                    <a:lnTo>
                      <a:pt x="1168" y="1286"/>
                    </a:lnTo>
                    <a:lnTo>
                      <a:pt x="1168" y="1288"/>
                    </a:lnTo>
                    <a:lnTo>
                      <a:pt x="1166" y="1288"/>
                    </a:lnTo>
                    <a:lnTo>
                      <a:pt x="1166" y="1289"/>
                    </a:lnTo>
                    <a:lnTo>
                      <a:pt x="1164" y="1289"/>
                    </a:lnTo>
                    <a:lnTo>
                      <a:pt x="1162" y="1289"/>
                    </a:lnTo>
                    <a:lnTo>
                      <a:pt x="1162" y="1288"/>
                    </a:lnTo>
                    <a:lnTo>
                      <a:pt x="1164" y="1288"/>
                    </a:lnTo>
                    <a:lnTo>
                      <a:pt x="1164" y="1286"/>
                    </a:lnTo>
                    <a:lnTo>
                      <a:pt x="1166" y="1286"/>
                    </a:lnTo>
                    <a:lnTo>
                      <a:pt x="1166" y="1288"/>
                    </a:lnTo>
                    <a:lnTo>
                      <a:pt x="1166" y="1286"/>
                    </a:lnTo>
                    <a:lnTo>
                      <a:pt x="1168" y="1288"/>
                    </a:lnTo>
                    <a:lnTo>
                      <a:pt x="1168" y="1286"/>
                    </a:lnTo>
                    <a:lnTo>
                      <a:pt x="1166" y="1286"/>
                    </a:lnTo>
                    <a:lnTo>
                      <a:pt x="1164" y="1286"/>
                    </a:lnTo>
                    <a:lnTo>
                      <a:pt x="1164" y="1284"/>
                    </a:lnTo>
                    <a:lnTo>
                      <a:pt x="1164" y="1282"/>
                    </a:lnTo>
                    <a:close/>
                    <a:moveTo>
                      <a:pt x="1222" y="1563"/>
                    </a:moveTo>
                    <a:lnTo>
                      <a:pt x="1224" y="1563"/>
                    </a:lnTo>
                    <a:lnTo>
                      <a:pt x="1225" y="1563"/>
                    </a:lnTo>
                    <a:lnTo>
                      <a:pt x="1227" y="1563"/>
                    </a:lnTo>
                    <a:lnTo>
                      <a:pt x="1227" y="1565"/>
                    </a:lnTo>
                    <a:lnTo>
                      <a:pt x="1227" y="1566"/>
                    </a:lnTo>
                    <a:lnTo>
                      <a:pt x="1227" y="1568"/>
                    </a:lnTo>
                    <a:lnTo>
                      <a:pt x="1227" y="1566"/>
                    </a:lnTo>
                    <a:lnTo>
                      <a:pt x="1225" y="1568"/>
                    </a:lnTo>
                    <a:lnTo>
                      <a:pt x="1224" y="1568"/>
                    </a:lnTo>
                    <a:lnTo>
                      <a:pt x="1224" y="1570"/>
                    </a:lnTo>
                    <a:lnTo>
                      <a:pt x="1225" y="1568"/>
                    </a:lnTo>
                    <a:lnTo>
                      <a:pt x="1225" y="1570"/>
                    </a:lnTo>
                    <a:lnTo>
                      <a:pt x="1224" y="1570"/>
                    </a:lnTo>
                    <a:lnTo>
                      <a:pt x="1222" y="1568"/>
                    </a:lnTo>
                    <a:lnTo>
                      <a:pt x="1224" y="1568"/>
                    </a:lnTo>
                    <a:lnTo>
                      <a:pt x="1222" y="1568"/>
                    </a:lnTo>
                    <a:lnTo>
                      <a:pt x="1222" y="1566"/>
                    </a:lnTo>
                    <a:lnTo>
                      <a:pt x="1224" y="1568"/>
                    </a:lnTo>
                    <a:lnTo>
                      <a:pt x="1224" y="1566"/>
                    </a:lnTo>
                    <a:lnTo>
                      <a:pt x="1224" y="1565"/>
                    </a:lnTo>
                    <a:lnTo>
                      <a:pt x="1224" y="1566"/>
                    </a:lnTo>
                    <a:lnTo>
                      <a:pt x="1222" y="1566"/>
                    </a:lnTo>
                    <a:lnTo>
                      <a:pt x="1224" y="1565"/>
                    </a:lnTo>
                    <a:lnTo>
                      <a:pt x="1222" y="1566"/>
                    </a:lnTo>
                    <a:lnTo>
                      <a:pt x="1220" y="1566"/>
                    </a:lnTo>
                    <a:lnTo>
                      <a:pt x="1220" y="1565"/>
                    </a:lnTo>
                    <a:lnTo>
                      <a:pt x="1220" y="1566"/>
                    </a:lnTo>
                    <a:lnTo>
                      <a:pt x="1220" y="1565"/>
                    </a:lnTo>
                    <a:lnTo>
                      <a:pt x="1222" y="1565"/>
                    </a:lnTo>
                    <a:lnTo>
                      <a:pt x="1224" y="1565"/>
                    </a:lnTo>
                    <a:lnTo>
                      <a:pt x="1222" y="1565"/>
                    </a:lnTo>
                    <a:lnTo>
                      <a:pt x="1220" y="1565"/>
                    </a:lnTo>
                    <a:lnTo>
                      <a:pt x="1222" y="1563"/>
                    </a:lnTo>
                    <a:lnTo>
                      <a:pt x="1220" y="1565"/>
                    </a:lnTo>
                    <a:lnTo>
                      <a:pt x="1220" y="1563"/>
                    </a:lnTo>
                    <a:lnTo>
                      <a:pt x="1222" y="1563"/>
                    </a:lnTo>
                    <a:close/>
                    <a:moveTo>
                      <a:pt x="1186" y="1202"/>
                    </a:moveTo>
                    <a:lnTo>
                      <a:pt x="1188" y="1204"/>
                    </a:lnTo>
                    <a:lnTo>
                      <a:pt x="1186" y="1206"/>
                    </a:lnTo>
                    <a:lnTo>
                      <a:pt x="1185" y="1208"/>
                    </a:lnTo>
                    <a:lnTo>
                      <a:pt x="1183" y="1208"/>
                    </a:lnTo>
                    <a:lnTo>
                      <a:pt x="1183" y="1209"/>
                    </a:lnTo>
                    <a:lnTo>
                      <a:pt x="1181" y="1209"/>
                    </a:lnTo>
                    <a:lnTo>
                      <a:pt x="1181" y="1208"/>
                    </a:lnTo>
                    <a:lnTo>
                      <a:pt x="1181" y="1206"/>
                    </a:lnTo>
                    <a:lnTo>
                      <a:pt x="1181" y="1204"/>
                    </a:lnTo>
                    <a:lnTo>
                      <a:pt x="1183" y="1204"/>
                    </a:lnTo>
                    <a:lnTo>
                      <a:pt x="1185" y="1204"/>
                    </a:lnTo>
                    <a:lnTo>
                      <a:pt x="1185" y="1202"/>
                    </a:lnTo>
                    <a:lnTo>
                      <a:pt x="1186" y="1202"/>
                    </a:lnTo>
                    <a:close/>
                    <a:moveTo>
                      <a:pt x="1210" y="983"/>
                    </a:moveTo>
                    <a:lnTo>
                      <a:pt x="1212" y="983"/>
                    </a:lnTo>
                    <a:lnTo>
                      <a:pt x="1213" y="983"/>
                    </a:lnTo>
                    <a:lnTo>
                      <a:pt x="1212" y="983"/>
                    </a:lnTo>
                    <a:lnTo>
                      <a:pt x="1212" y="985"/>
                    </a:lnTo>
                    <a:lnTo>
                      <a:pt x="1213" y="985"/>
                    </a:lnTo>
                    <a:lnTo>
                      <a:pt x="1213" y="986"/>
                    </a:lnTo>
                    <a:lnTo>
                      <a:pt x="1215" y="986"/>
                    </a:lnTo>
                    <a:lnTo>
                      <a:pt x="1215" y="988"/>
                    </a:lnTo>
                    <a:lnTo>
                      <a:pt x="1217" y="988"/>
                    </a:lnTo>
                    <a:lnTo>
                      <a:pt x="1217" y="990"/>
                    </a:lnTo>
                    <a:lnTo>
                      <a:pt x="1217" y="992"/>
                    </a:lnTo>
                    <a:lnTo>
                      <a:pt x="1215" y="992"/>
                    </a:lnTo>
                    <a:lnTo>
                      <a:pt x="1215" y="990"/>
                    </a:lnTo>
                    <a:lnTo>
                      <a:pt x="1217" y="990"/>
                    </a:lnTo>
                    <a:lnTo>
                      <a:pt x="1215" y="990"/>
                    </a:lnTo>
                    <a:lnTo>
                      <a:pt x="1215" y="988"/>
                    </a:lnTo>
                    <a:lnTo>
                      <a:pt x="1213" y="988"/>
                    </a:lnTo>
                    <a:lnTo>
                      <a:pt x="1212" y="986"/>
                    </a:lnTo>
                    <a:lnTo>
                      <a:pt x="1210" y="986"/>
                    </a:lnTo>
                    <a:lnTo>
                      <a:pt x="1208" y="986"/>
                    </a:lnTo>
                    <a:lnTo>
                      <a:pt x="1208" y="985"/>
                    </a:lnTo>
                    <a:lnTo>
                      <a:pt x="1210" y="985"/>
                    </a:lnTo>
                    <a:lnTo>
                      <a:pt x="1208" y="985"/>
                    </a:lnTo>
                    <a:lnTo>
                      <a:pt x="1208" y="983"/>
                    </a:lnTo>
                    <a:lnTo>
                      <a:pt x="1210" y="981"/>
                    </a:lnTo>
                    <a:lnTo>
                      <a:pt x="1210" y="983"/>
                    </a:lnTo>
                    <a:close/>
                    <a:moveTo>
                      <a:pt x="1176" y="1087"/>
                    </a:moveTo>
                    <a:lnTo>
                      <a:pt x="1178" y="1087"/>
                    </a:lnTo>
                    <a:lnTo>
                      <a:pt x="1178" y="1085"/>
                    </a:lnTo>
                    <a:lnTo>
                      <a:pt x="1178" y="1087"/>
                    </a:lnTo>
                    <a:lnTo>
                      <a:pt x="1179" y="1087"/>
                    </a:lnTo>
                    <a:lnTo>
                      <a:pt x="1181" y="1087"/>
                    </a:lnTo>
                    <a:lnTo>
                      <a:pt x="1181" y="1088"/>
                    </a:lnTo>
                    <a:lnTo>
                      <a:pt x="1181" y="1090"/>
                    </a:lnTo>
                    <a:lnTo>
                      <a:pt x="1179" y="1090"/>
                    </a:lnTo>
                    <a:lnTo>
                      <a:pt x="1178" y="1090"/>
                    </a:lnTo>
                    <a:lnTo>
                      <a:pt x="1176" y="1088"/>
                    </a:lnTo>
                    <a:lnTo>
                      <a:pt x="1176" y="1090"/>
                    </a:lnTo>
                    <a:lnTo>
                      <a:pt x="1174" y="1088"/>
                    </a:lnTo>
                    <a:lnTo>
                      <a:pt x="1173" y="1088"/>
                    </a:lnTo>
                    <a:lnTo>
                      <a:pt x="1174" y="1088"/>
                    </a:lnTo>
                    <a:lnTo>
                      <a:pt x="1174" y="1087"/>
                    </a:lnTo>
                    <a:lnTo>
                      <a:pt x="1176" y="1087"/>
                    </a:lnTo>
                    <a:lnTo>
                      <a:pt x="1176" y="1085"/>
                    </a:lnTo>
                    <a:lnTo>
                      <a:pt x="1176" y="1087"/>
                    </a:lnTo>
                    <a:close/>
                    <a:moveTo>
                      <a:pt x="1195" y="1071"/>
                    </a:moveTo>
                    <a:lnTo>
                      <a:pt x="1196" y="1073"/>
                    </a:lnTo>
                    <a:lnTo>
                      <a:pt x="1198" y="1073"/>
                    </a:lnTo>
                    <a:lnTo>
                      <a:pt x="1200" y="1073"/>
                    </a:lnTo>
                    <a:lnTo>
                      <a:pt x="1200" y="1075"/>
                    </a:lnTo>
                    <a:lnTo>
                      <a:pt x="1200" y="1077"/>
                    </a:lnTo>
                    <a:lnTo>
                      <a:pt x="1200" y="1078"/>
                    </a:lnTo>
                    <a:lnTo>
                      <a:pt x="1198" y="1078"/>
                    </a:lnTo>
                    <a:lnTo>
                      <a:pt x="1198" y="1077"/>
                    </a:lnTo>
                    <a:lnTo>
                      <a:pt x="1196" y="1077"/>
                    </a:lnTo>
                    <a:lnTo>
                      <a:pt x="1195" y="1077"/>
                    </a:lnTo>
                    <a:lnTo>
                      <a:pt x="1195" y="1075"/>
                    </a:lnTo>
                    <a:lnTo>
                      <a:pt x="1193" y="1073"/>
                    </a:lnTo>
                    <a:lnTo>
                      <a:pt x="1193" y="1071"/>
                    </a:lnTo>
                    <a:lnTo>
                      <a:pt x="1195" y="1071"/>
                    </a:lnTo>
                    <a:close/>
                    <a:moveTo>
                      <a:pt x="1185" y="1107"/>
                    </a:moveTo>
                    <a:lnTo>
                      <a:pt x="1186" y="1107"/>
                    </a:lnTo>
                    <a:lnTo>
                      <a:pt x="1186" y="1109"/>
                    </a:lnTo>
                    <a:lnTo>
                      <a:pt x="1188" y="1109"/>
                    </a:lnTo>
                    <a:lnTo>
                      <a:pt x="1188" y="1111"/>
                    </a:lnTo>
                    <a:lnTo>
                      <a:pt x="1188" y="1112"/>
                    </a:lnTo>
                    <a:lnTo>
                      <a:pt x="1186" y="1112"/>
                    </a:lnTo>
                    <a:lnTo>
                      <a:pt x="1186" y="1111"/>
                    </a:lnTo>
                    <a:lnTo>
                      <a:pt x="1186" y="1112"/>
                    </a:lnTo>
                    <a:lnTo>
                      <a:pt x="1185" y="1111"/>
                    </a:lnTo>
                    <a:lnTo>
                      <a:pt x="1185" y="1112"/>
                    </a:lnTo>
                    <a:lnTo>
                      <a:pt x="1185" y="1111"/>
                    </a:lnTo>
                    <a:lnTo>
                      <a:pt x="1183" y="1111"/>
                    </a:lnTo>
                    <a:lnTo>
                      <a:pt x="1183" y="1109"/>
                    </a:lnTo>
                    <a:lnTo>
                      <a:pt x="1183" y="1107"/>
                    </a:lnTo>
                    <a:lnTo>
                      <a:pt x="1183" y="1105"/>
                    </a:lnTo>
                    <a:lnTo>
                      <a:pt x="1185" y="1107"/>
                    </a:lnTo>
                    <a:close/>
                    <a:moveTo>
                      <a:pt x="1188" y="1138"/>
                    </a:moveTo>
                    <a:lnTo>
                      <a:pt x="1190" y="1140"/>
                    </a:lnTo>
                    <a:lnTo>
                      <a:pt x="1188" y="1140"/>
                    </a:lnTo>
                    <a:lnTo>
                      <a:pt x="1188" y="1141"/>
                    </a:lnTo>
                    <a:lnTo>
                      <a:pt x="1186" y="1141"/>
                    </a:lnTo>
                    <a:lnTo>
                      <a:pt x="1188" y="1141"/>
                    </a:lnTo>
                    <a:lnTo>
                      <a:pt x="1190" y="1141"/>
                    </a:lnTo>
                    <a:lnTo>
                      <a:pt x="1190" y="1140"/>
                    </a:lnTo>
                    <a:lnTo>
                      <a:pt x="1191" y="1140"/>
                    </a:lnTo>
                    <a:lnTo>
                      <a:pt x="1191" y="1141"/>
                    </a:lnTo>
                    <a:lnTo>
                      <a:pt x="1191" y="1140"/>
                    </a:lnTo>
                    <a:lnTo>
                      <a:pt x="1191" y="1141"/>
                    </a:lnTo>
                    <a:lnTo>
                      <a:pt x="1193" y="1141"/>
                    </a:lnTo>
                    <a:lnTo>
                      <a:pt x="1191" y="1141"/>
                    </a:lnTo>
                    <a:lnTo>
                      <a:pt x="1193" y="1143"/>
                    </a:lnTo>
                    <a:lnTo>
                      <a:pt x="1191" y="1143"/>
                    </a:lnTo>
                    <a:lnTo>
                      <a:pt x="1190" y="1143"/>
                    </a:lnTo>
                    <a:lnTo>
                      <a:pt x="1188" y="1143"/>
                    </a:lnTo>
                    <a:lnTo>
                      <a:pt x="1188" y="1145"/>
                    </a:lnTo>
                    <a:lnTo>
                      <a:pt x="1186" y="1143"/>
                    </a:lnTo>
                    <a:lnTo>
                      <a:pt x="1186" y="1141"/>
                    </a:lnTo>
                    <a:lnTo>
                      <a:pt x="1185" y="1141"/>
                    </a:lnTo>
                    <a:lnTo>
                      <a:pt x="1186" y="1140"/>
                    </a:lnTo>
                    <a:lnTo>
                      <a:pt x="1186" y="1138"/>
                    </a:lnTo>
                    <a:lnTo>
                      <a:pt x="1188" y="1138"/>
                    </a:lnTo>
                    <a:close/>
                    <a:moveTo>
                      <a:pt x="1162" y="1390"/>
                    </a:moveTo>
                    <a:lnTo>
                      <a:pt x="1164" y="1391"/>
                    </a:lnTo>
                    <a:lnTo>
                      <a:pt x="1162" y="1391"/>
                    </a:lnTo>
                    <a:lnTo>
                      <a:pt x="1164" y="1393"/>
                    </a:lnTo>
                    <a:lnTo>
                      <a:pt x="1162" y="1393"/>
                    </a:lnTo>
                    <a:lnTo>
                      <a:pt x="1164" y="1395"/>
                    </a:lnTo>
                    <a:lnTo>
                      <a:pt x="1162" y="1395"/>
                    </a:lnTo>
                    <a:lnTo>
                      <a:pt x="1164" y="1395"/>
                    </a:lnTo>
                    <a:lnTo>
                      <a:pt x="1162" y="1395"/>
                    </a:lnTo>
                    <a:lnTo>
                      <a:pt x="1164" y="1396"/>
                    </a:lnTo>
                    <a:lnTo>
                      <a:pt x="1162" y="1396"/>
                    </a:lnTo>
                    <a:lnTo>
                      <a:pt x="1164" y="1396"/>
                    </a:lnTo>
                    <a:lnTo>
                      <a:pt x="1162" y="1398"/>
                    </a:lnTo>
                    <a:lnTo>
                      <a:pt x="1162" y="1396"/>
                    </a:lnTo>
                    <a:lnTo>
                      <a:pt x="1161" y="1396"/>
                    </a:lnTo>
                    <a:lnTo>
                      <a:pt x="1161" y="1395"/>
                    </a:lnTo>
                    <a:lnTo>
                      <a:pt x="1159" y="1393"/>
                    </a:lnTo>
                    <a:lnTo>
                      <a:pt x="1161" y="1391"/>
                    </a:lnTo>
                    <a:lnTo>
                      <a:pt x="1161" y="1393"/>
                    </a:lnTo>
                    <a:lnTo>
                      <a:pt x="1161" y="1391"/>
                    </a:lnTo>
                    <a:lnTo>
                      <a:pt x="1161" y="1390"/>
                    </a:lnTo>
                    <a:lnTo>
                      <a:pt x="1162" y="1390"/>
                    </a:lnTo>
                    <a:lnTo>
                      <a:pt x="1162" y="1388"/>
                    </a:lnTo>
                    <a:lnTo>
                      <a:pt x="1162" y="1390"/>
                    </a:lnTo>
                    <a:lnTo>
                      <a:pt x="1162" y="1391"/>
                    </a:lnTo>
                    <a:lnTo>
                      <a:pt x="1162" y="1390"/>
                    </a:lnTo>
                    <a:lnTo>
                      <a:pt x="1164" y="1388"/>
                    </a:lnTo>
                    <a:lnTo>
                      <a:pt x="1164" y="1390"/>
                    </a:lnTo>
                    <a:lnTo>
                      <a:pt x="1162" y="1390"/>
                    </a:lnTo>
                    <a:close/>
                    <a:moveTo>
                      <a:pt x="1431" y="1631"/>
                    </a:moveTo>
                    <a:lnTo>
                      <a:pt x="1433" y="1633"/>
                    </a:lnTo>
                    <a:lnTo>
                      <a:pt x="1434" y="1633"/>
                    </a:lnTo>
                    <a:lnTo>
                      <a:pt x="1436" y="1633"/>
                    </a:lnTo>
                    <a:lnTo>
                      <a:pt x="1436" y="1635"/>
                    </a:lnTo>
                    <a:lnTo>
                      <a:pt x="1438" y="1635"/>
                    </a:lnTo>
                    <a:lnTo>
                      <a:pt x="1438" y="1636"/>
                    </a:lnTo>
                    <a:lnTo>
                      <a:pt x="1438" y="1638"/>
                    </a:lnTo>
                    <a:lnTo>
                      <a:pt x="1440" y="1640"/>
                    </a:lnTo>
                    <a:lnTo>
                      <a:pt x="1438" y="1640"/>
                    </a:lnTo>
                    <a:lnTo>
                      <a:pt x="1436" y="1638"/>
                    </a:lnTo>
                    <a:lnTo>
                      <a:pt x="1434" y="1636"/>
                    </a:lnTo>
                    <a:lnTo>
                      <a:pt x="1433" y="1635"/>
                    </a:lnTo>
                    <a:lnTo>
                      <a:pt x="1431" y="1635"/>
                    </a:lnTo>
                    <a:lnTo>
                      <a:pt x="1431" y="1633"/>
                    </a:lnTo>
                    <a:lnTo>
                      <a:pt x="1431" y="1631"/>
                    </a:lnTo>
                    <a:close/>
                    <a:moveTo>
                      <a:pt x="1196" y="1094"/>
                    </a:moveTo>
                    <a:lnTo>
                      <a:pt x="1198" y="1094"/>
                    </a:lnTo>
                    <a:lnTo>
                      <a:pt x="1198" y="1095"/>
                    </a:lnTo>
                    <a:lnTo>
                      <a:pt x="1198" y="1097"/>
                    </a:lnTo>
                    <a:lnTo>
                      <a:pt x="1196" y="1097"/>
                    </a:lnTo>
                    <a:lnTo>
                      <a:pt x="1198" y="1097"/>
                    </a:lnTo>
                    <a:lnTo>
                      <a:pt x="1196" y="1097"/>
                    </a:lnTo>
                    <a:lnTo>
                      <a:pt x="1195" y="1097"/>
                    </a:lnTo>
                    <a:lnTo>
                      <a:pt x="1193" y="1097"/>
                    </a:lnTo>
                    <a:lnTo>
                      <a:pt x="1191" y="1097"/>
                    </a:lnTo>
                    <a:lnTo>
                      <a:pt x="1191" y="1095"/>
                    </a:lnTo>
                    <a:lnTo>
                      <a:pt x="1190" y="1095"/>
                    </a:lnTo>
                    <a:lnTo>
                      <a:pt x="1191" y="1095"/>
                    </a:lnTo>
                    <a:lnTo>
                      <a:pt x="1193" y="1095"/>
                    </a:lnTo>
                    <a:lnTo>
                      <a:pt x="1195" y="1094"/>
                    </a:lnTo>
                    <a:lnTo>
                      <a:pt x="1196" y="1094"/>
                    </a:lnTo>
                    <a:close/>
                    <a:moveTo>
                      <a:pt x="1178" y="1468"/>
                    </a:moveTo>
                    <a:lnTo>
                      <a:pt x="1176" y="1468"/>
                    </a:lnTo>
                    <a:lnTo>
                      <a:pt x="1176" y="1470"/>
                    </a:lnTo>
                    <a:lnTo>
                      <a:pt x="1174" y="1470"/>
                    </a:lnTo>
                    <a:lnTo>
                      <a:pt x="1176" y="1470"/>
                    </a:lnTo>
                    <a:lnTo>
                      <a:pt x="1174" y="1471"/>
                    </a:lnTo>
                    <a:lnTo>
                      <a:pt x="1176" y="1471"/>
                    </a:lnTo>
                    <a:lnTo>
                      <a:pt x="1174" y="1473"/>
                    </a:lnTo>
                    <a:lnTo>
                      <a:pt x="1174" y="1471"/>
                    </a:lnTo>
                    <a:lnTo>
                      <a:pt x="1173" y="1473"/>
                    </a:lnTo>
                    <a:lnTo>
                      <a:pt x="1173" y="1471"/>
                    </a:lnTo>
                    <a:lnTo>
                      <a:pt x="1173" y="1473"/>
                    </a:lnTo>
                    <a:lnTo>
                      <a:pt x="1174" y="1473"/>
                    </a:lnTo>
                    <a:lnTo>
                      <a:pt x="1173" y="1473"/>
                    </a:lnTo>
                    <a:lnTo>
                      <a:pt x="1171" y="1475"/>
                    </a:lnTo>
                    <a:lnTo>
                      <a:pt x="1171" y="1473"/>
                    </a:lnTo>
                    <a:lnTo>
                      <a:pt x="1171" y="1471"/>
                    </a:lnTo>
                    <a:lnTo>
                      <a:pt x="1169" y="1471"/>
                    </a:lnTo>
                    <a:lnTo>
                      <a:pt x="1171" y="1471"/>
                    </a:lnTo>
                    <a:lnTo>
                      <a:pt x="1171" y="1470"/>
                    </a:lnTo>
                    <a:lnTo>
                      <a:pt x="1173" y="1470"/>
                    </a:lnTo>
                    <a:lnTo>
                      <a:pt x="1174" y="1468"/>
                    </a:lnTo>
                    <a:lnTo>
                      <a:pt x="1176" y="1468"/>
                    </a:lnTo>
                    <a:lnTo>
                      <a:pt x="1176" y="1466"/>
                    </a:lnTo>
                    <a:lnTo>
                      <a:pt x="1178" y="1468"/>
                    </a:lnTo>
                    <a:close/>
                    <a:moveTo>
                      <a:pt x="1210" y="1092"/>
                    </a:moveTo>
                    <a:lnTo>
                      <a:pt x="1210" y="1094"/>
                    </a:lnTo>
                    <a:lnTo>
                      <a:pt x="1210" y="1095"/>
                    </a:lnTo>
                    <a:lnTo>
                      <a:pt x="1210" y="1097"/>
                    </a:lnTo>
                    <a:lnTo>
                      <a:pt x="1208" y="1097"/>
                    </a:lnTo>
                    <a:lnTo>
                      <a:pt x="1207" y="1097"/>
                    </a:lnTo>
                    <a:lnTo>
                      <a:pt x="1207" y="1095"/>
                    </a:lnTo>
                    <a:lnTo>
                      <a:pt x="1205" y="1095"/>
                    </a:lnTo>
                    <a:lnTo>
                      <a:pt x="1205" y="1094"/>
                    </a:lnTo>
                    <a:lnTo>
                      <a:pt x="1205" y="1092"/>
                    </a:lnTo>
                    <a:lnTo>
                      <a:pt x="1207" y="1094"/>
                    </a:lnTo>
                    <a:lnTo>
                      <a:pt x="1207" y="1092"/>
                    </a:lnTo>
                    <a:lnTo>
                      <a:pt x="1208" y="1092"/>
                    </a:lnTo>
                    <a:lnTo>
                      <a:pt x="1210" y="1092"/>
                    </a:lnTo>
                    <a:close/>
                    <a:moveTo>
                      <a:pt x="1161" y="1235"/>
                    </a:moveTo>
                    <a:lnTo>
                      <a:pt x="1162" y="1235"/>
                    </a:lnTo>
                    <a:lnTo>
                      <a:pt x="1164" y="1235"/>
                    </a:lnTo>
                    <a:lnTo>
                      <a:pt x="1164" y="1236"/>
                    </a:lnTo>
                    <a:lnTo>
                      <a:pt x="1164" y="1238"/>
                    </a:lnTo>
                    <a:lnTo>
                      <a:pt x="1164" y="1236"/>
                    </a:lnTo>
                    <a:lnTo>
                      <a:pt x="1164" y="1235"/>
                    </a:lnTo>
                    <a:lnTo>
                      <a:pt x="1164" y="1236"/>
                    </a:lnTo>
                    <a:lnTo>
                      <a:pt x="1166" y="1236"/>
                    </a:lnTo>
                    <a:lnTo>
                      <a:pt x="1166" y="1238"/>
                    </a:lnTo>
                    <a:lnTo>
                      <a:pt x="1168" y="1238"/>
                    </a:lnTo>
                    <a:lnTo>
                      <a:pt x="1168" y="1240"/>
                    </a:lnTo>
                    <a:lnTo>
                      <a:pt x="1166" y="1240"/>
                    </a:lnTo>
                    <a:lnTo>
                      <a:pt x="1166" y="1238"/>
                    </a:lnTo>
                    <a:lnTo>
                      <a:pt x="1166" y="1240"/>
                    </a:lnTo>
                    <a:lnTo>
                      <a:pt x="1164" y="1240"/>
                    </a:lnTo>
                    <a:lnTo>
                      <a:pt x="1162" y="1240"/>
                    </a:lnTo>
                    <a:lnTo>
                      <a:pt x="1162" y="1238"/>
                    </a:lnTo>
                    <a:lnTo>
                      <a:pt x="1161" y="1238"/>
                    </a:lnTo>
                    <a:lnTo>
                      <a:pt x="1161" y="1236"/>
                    </a:lnTo>
                    <a:lnTo>
                      <a:pt x="1161" y="1235"/>
                    </a:lnTo>
                    <a:close/>
                    <a:moveTo>
                      <a:pt x="1249" y="1592"/>
                    </a:moveTo>
                    <a:lnTo>
                      <a:pt x="1251" y="1592"/>
                    </a:lnTo>
                    <a:lnTo>
                      <a:pt x="1251" y="1594"/>
                    </a:lnTo>
                    <a:lnTo>
                      <a:pt x="1253" y="1594"/>
                    </a:lnTo>
                    <a:lnTo>
                      <a:pt x="1254" y="1594"/>
                    </a:lnTo>
                    <a:lnTo>
                      <a:pt x="1253" y="1594"/>
                    </a:lnTo>
                    <a:lnTo>
                      <a:pt x="1253" y="1595"/>
                    </a:lnTo>
                    <a:lnTo>
                      <a:pt x="1251" y="1594"/>
                    </a:lnTo>
                    <a:lnTo>
                      <a:pt x="1251" y="1595"/>
                    </a:lnTo>
                    <a:lnTo>
                      <a:pt x="1253" y="1595"/>
                    </a:lnTo>
                    <a:lnTo>
                      <a:pt x="1253" y="1597"/>
                    </a:lnTo>
                    <a:lnTo>
                      <a:pt x="1251" y="1597"/>
                    </a:lnTo>
                    <a:lnTo>
                      <a:pt x="1251" y="1595"/>
                    </a:lnTo>
                    <a:lnTo>
                      <a:pt x="1249" y="1595"/>
                    </a:lnTo>
                    <a:lnTo>
                      <a:pt x="1249" y="1597"/>
                    </a:lnTo>
                    <a:lnTo>
                      <a:pt x="1249" y="1599"/>
                    </a:lnTo>
                    <a:lnTo>
                      <a:pt x="1247" y="1600"/>
                    </a:lnTo>
                    <a:lnTo>
                      <a:pt x="1247" y="1599"/>
                    </a:lnTo>
                    <a:lnTo>
                      <a:pt x="1247" y="1597"/>
                    </a:lnTo>
                    <a:lnTo>
                      <a:pt x="1246" y="1597"/>
                    </a:lnTo>
                    <a:lnTo>
                      <a:pt x="1246" y="1595"/>
                    </a:lnTo>
                    <a:lnTo>
                      <a:pt x="1246" y="1594"/>
                    </a:lnTo>
                    <a:lnTo>
                      <a:pt x="1247" y="1595"/>
                    </a:lnTo>
                    <a:lnTo>
                      <a:pt x="1246" y="1594"/>
                    </a:lnTo>
                    <a:lnTo>
                      <a:pt x="1247" y="1594"/>
                    </a:lnTo>
                    <a:lnTo>
                      <a:pt x="1249" y="1594"/>
                    </a:lnTo>
                    <a:lnTo>
                      <a:pt x="1249" y="1592"/>
                    </a:lnTo>
                    <a:close/>
                    <a:moveTo>
                      <a:pt x="1198" y="1061"/>
                    </a:moveTo>
                    <a:lnTo>
                      <a:pt x="1200" y="1061"/>
                    </a:lnTo>
                    <a:lnTo>
                      <a:pt x="1200" y="1063"/>
                    </a:lnTo>
                    <a:lnTo>
                      <a:pt x="1202" y="1063"/>
                    </a:lnTo>
                    <a:lnTo>
                      <a:pt x="1200" y="1065"/>
                    </a:lnTo>
                    <a:lnTo>
                      <a:pt x="1202" y="1065"/>
                    </a:lnTo>
                    <a:lnTo>
                      <a:pt x="1203" y="1066"/>
                    </a:lnTo>
                    <a:lnTo>
                      <a:pt x="1202" y="1065"/>
                    </a:lnTo>
                    <a:lnTo>
                      <a:pt x="1203" y="1065"/>
                    </a:lnTo>
                    <a:lnTo>
                      <a:pt x="1203" y="1066"/>
                    </a:lnTo>
                    <a:lnTo>
                      <a:pt x="1202" y="1066"/>
                    </a:lnTo>
                    <a:lnTo>
                      <a:pt x="1200" y="1066"/>
                    </a:lnTo>
                    <a:lnTo>
                      <a:pt x="1198" y="1066"/>
                    </a:lnTo>
                    <a:lnTo>
                      <a:pt x="1196" y="1065"/>
                    </a:lnTo>
                    <a:lnTo>
                      <a:pt x="1196" y="1063"/>
                    </a:lnTo>
                    <a:lnTo>
                      <a:pt x="1198" y="1063"/>
                    </a:lnTo>
                    <a:lnTo>
                      <a:pt x="1198" y="1061"/>
                    </a:lnTo>
                    <a:close/>
                    <a:moveTo>
                      <a:pt x="1198" y="1442"/>
                    </a:moveTo>
                    <a:lnTo>
                      <a:pt x="1200" y="1442"/>
                    </a:lnTo>
                    <a:lnTo>
                      <a:pt x="1200" y="1444"/>
                    </a:lnTo>
                    <a:lnTo>
                      <a:pt x="1200" y="1446"/>
                    </a:lnTo>
                    <a:lnTo>
                      <a:pt x="1202" y="1444"/>
                    </a:lnTo>
                    <a:lnTo>
                      <a:pt x="1202" y="1446"/>
                    </a:lnTo>
                    <a:lnTo>
                      <a:pt x="1202" y="1447"/>
                    </a:lnTo>
                    <a:lnTo>
                      <a:pt x="1202" y="1449"/>
                    </a:lnTo>
                    <a:lnTo>
                      <a:pt x="1202" y="1447"/>
                    </a:lnTo>
                    <a:lnTo>
                      <a:pt x="1203" y="1447"/>
                    </a:lnTo>
                    <a:lnTo>
                      <a:pt x="1202" y="1447"/>
                    </a:lnTo>
                    <a:lnTo>
                      <a:pt x="1203" y="1446"/>
                    </a:lnTo>
                    <a:lnTo>
                      <a:pt x="1203" y="1447"/>
                    </a:lnTo>
                    <a:lnTo>
                      <a:pt x="1205" y="1449"/>
                    </a:lnTo>
                    <a:lnTo>
                      <a:pt x="1205" y="1451"/>
                    </a:lnTo>
                    <a:lnTo>
                      <a:pt x="1203" y="1449"/>
                    </a:lnTo>
                    <a:lnTo>
                      <a:pt x="1203" y="1451"/>
                    </a:lnTo>
                    <a:lnTo>
                      <a:pt x="1203" y="1453"/>
                    </a:lnTo>
                    <a:lnTo>
                      <a:pt x="1202" y="1451"/>
                    </a:lnTo>
                    <a:lnTo>
                      <a:pt x="1202" y="1449"/>
                    </a:lnTo>
                    <a:lnTo>
                      <a:pt x="1200" y="1449"/>
                    </a:lnTo>
                    <a:lnTo>
                      <a:pt x="1202" y="1447"/>
                    </a:lnTo>
                    <a:lnTo>
                      <a:pt x="1200" y="1449"/>
                    </a:lnTo>
                    <a:lnTo>
                      <a:pt x="1200" y="1447"/>
                    </a:lnTo>
                    <a:lnTo>
                      <a:pt x="1200" y="1446"/>
                    </a:lnTo>
                    <a:lnTo>
                      <a:pt x="1200" y="1447"/>
                    </a:lnTo>
                    <a:lnTo>
                      <a:pt x="1200" y="1446"/>
                    </a:lnTo>
                    <a:lnTo>
                      <a:pt x="1198" y="1446"/>
                    </a:lnTo>
                    <a:lnTo>
                      <a:pt x="1198" y="1444"/>
                    </a:lnTo>
                    <a:lnTo>
                      <a:pt x="1198" y="1442"/>
                    </a:lnTo>
                    <a:close/>
                    <a:moveTo>
                      <a:pt x="1263" y="1565"/>
                    </a:moveTo>
                    <a:lnTo>
                      <a:pt x="1261" y="1566"/>
                    </a:lnTo>
                    <a:lnTo>
                      <a:pt x="1261" y="1568"/>
                    </a:lnTo>
                    <a:lnTo>
                      <a:pt x="1261" y="1566"/>
                    </a:lnTo>
                    <a:lnTo>
                      <a:pt x="1261" y="1568"/>
                    </a:lnTo>
                    <a:lnTo>
                      <a:pt x="1261" y="1570"/>
                    </a:lnTo>
                    <a:lnTo>
                      <a:pt x="1259" y="1570"/>
                    </a:lnTo>
                    <a:lnTo>
                      <a:pt x="1261" y="1570"/>
                    </a:lnTo>
                    <a:lnTo>
                      <a:pt x="1261" y="1568"/>
                    </a:lnTo>
                    <a:lnTo>
                      <a:pt x="1263" y="1570"/>
                    </a:lnTo>
                    <a:lnTo>
                      <a:pt x="1261" y="1570"/>
                    </a:lnTo>
                    <a:lnTo>
                      <a:pt x="1261" y="1572"/>
                    </a:lnTo>
                    <a:lnTo>
                      <a:pt x="1261" y="1570"/>
                    </a:lnTo>
                    <a:lnTo>
                      <a:pt x="1259" y="1570"/>
                    </a:lnTo>
                    <a:lnTo>
                      <a:pt x="1259" y="1568"/>
                    </a:lnTo>
                    <a:lnTo>
                      <a:pt x="1258" y="1568"/>
                    </a:lnTo>
                    <a:lnTo>
                      <a:pt x="1256" y="1568"/>
                    </a:lnTo>
                    <a:lnTo>
                      <a:pt x="1256" y="1566"/>
                    </a:lnTo>
                    <a:lnTo>
                      <a:pt x="1258" y="1566"/>
                    </a:lnTo>
                    <a:lnTo>
                      <a:pt x="1258" y="1565"/>
                    </a:lnTo>
                    <a:lnTo>
                      <a:pt x="1259" y="1565"/>
                    </a:lnTo>
                    <a:lnTo>
                      <a:pt x="1261" y="1563"/>
                    </a:lnTo>
                    <a:lnTo>
                      <a:pt x="1263" y="1565"/>
                    </a:lnTo>
                    <a:close/>
                    <a:moveTo>
                      <a:pt x="1166" y="1413"/>
                    </a:moveTo>
                    <a:lnTo>
                      <a:pt x="1168" y="1413"/>
                    </a:lnTo>
                    <a:lnTo>
                      <a:pt x="1168" y="1415"/>
                    </a:lnTo>
                    <a:lnTo>
                      <a:pt x="1169" y="1413"/>
                    </a:lnTo>
                    <a:lnTo>
                      <a:pt x="1169" y="1415"/>
                    </a:lnTo>
                    <a:lnTo>
                      <a:pt x="1168" y="1417"/>
                    </a:lnTo>
                    <a:lnTo>
                      <a:pt x="1166" y="1417"/>
                    </a:lnTo>
                    <a:lnTo>
                      <a:pt x="1164" y="1415"/>
                    </a:lnTo>
                    <a:lnTo>
                      <a:pt x="1164" y="1417"/>
                    </a:lnTo>
                    <a:lnTo>
                      <a:pt x="1162" y="1417"/>
                    </a:lnTo>
                    <a:lnTo>
                      <a:pt x="1162" y="1415"/>
                    </a:lnTo>
                    <a:lnTo>
                      <a:pt x="1162" y="1413"/>
                    </a:lnTo>
                    <a:lnTo>
                      <a:pt x="1164" y="1413"/>
                    </a:lnTo>
                    <a:lnTo>
                      <a:pt x="1166" y="1413"/>
                    </a:lnTo>
                    <a:lnTo>
                      <a:pt x="1166" y="1415"/>
                    </a:lnTo>
                    <a:lnTo>
                      <a:pt x="1166" y="1413"/>
                    </a:lnTo>
                    <a:lnTo>
                      <a:pt x="1164" y="1413"/>
                    </a:lnTo>
                    <a:lnTo>
                      <a:pt x="1164" y="1412"/>
                    </a:lnTo>
                    <a:lnTo>
                      <a:pt x="1166" y="1413"/>
                    </a:lnTo>
                    <a:close/>
                    <a:moveTo>
                      <a:pt x="1183" y="1126"/>
                    </a:moveTo>
                    <a:lnTo>
                      <a:pt x="1181" y="1126"/>
                    </a:lnTo>
                    <a:lnTo>
                      <a:pt x="1181" y="1128"/>
                    </a:lnTo>
                    <a:lnTo>
                      <a:pt x="1181" y="1129"/>
                    </a:lnTo>
                    <a:lnTo>
                      <a:pt x="1181" y="1131"/>
                    </a:lnTo>
                    <a:lnTo>
                      <a:pt x="1181" y="1133"/>
                    </a:lnTo>
                    <a:lnTo>
                      <a:pt x="1179" y="1133"/>
                    </a:lnTo>
                    <a:lnTo>
                      <a:pt x="1179" y="1131"/>
                    </a:lnTo>
                    <a:lnTo>
                      <a:pt x="1178" y="1131"/>
                    </a:lnTo>
                    <a:lnTo>
                      <a:pt x="1178" y="1129"/>
                    </a:lnTo>
                    <a:lnTo>
                      <a:pt x="1178" y="1128"/>
                    </a:lnTo>
                    <a:lnTo>
                      <a:pt x="1179" y="1128"/>
                    </a:lnTo>
                    <a:lnTo>
                      <a:pt x="1179" y="1126"/>
                    </a:lnTo>
                    <a:lnTo>
                      <a:pt x="1181" y="1126"/>
                    </a:lnTo>
                    <a:lnTo>
                      <a:pt x="1183" y="1126"/>
                    </a:lnTo>
                    <a:close/>
                    <a:moveTo>
                      <a:pt x="1142" y="1301"/>
                    </a:moveTo>
                    <a:lnTo>
                      <a:pt x="1144" y="1303"/>
                    </a:lnTo>
                    <a:lnTo>
                      <a:pt x="1145" y="1303"/>
                    </a:lnTo>
                    <a:lnTo>
                      <a:pt x="1145" y="1305"/>
                    </a:lnTo>
                    <a:lnTo>
                      <a:pt x="1147" y="1305"/>
                    </a:lnTo>
                    <a:lnTo>
                      <a:pt x="1147" y="1306"/>
                    </a:lnTo>
                    <a:lnTo>
                      <a:pt x="1145" y="1306"/>
                    </a:lnTo>
                    <a:lnTo>
                      <a:pt x="1145" y="1305"/>
                    </a:lnTo>
                    <a:lnTo>
                      <a:pt x="1145" y="1306"/>
                    </a:lnTo>
                    <a:lnTo>
                      <a:pt x="1144" y="1305"/>
                    </a:lnTo>
                    <a:lnTo>
                      <a:pt x="1144" y="1306"/>
                    </a:lnTo>
                    <a:lnTo>
                      <a:pt x="1142" y="1305"/>
                    </a:lnTo>
                    <a:lnTo>
                      <a:pt x="1142" y="1303"/>
                    </a:lnTo>
                    <a:lnTo>
                      <a:pt x="1140" y="1303"/>
                    </a:lnTo>
                    <a:lnTo>
                      <a:pt x="1139" y="1303"/>
                    </a:lnTo>
                    <a:lnTo>
                      <a:pt x="1140" y="1301"/>
                    </a:lnTo>
                    <a:lnTo>
                      <a:pt x="1142" y="1301"/>
                    </a:lnTo>
                    <a:close/>
                    <a:moveTo>
                      <a:pt x="1210" y="990"/>
                    </a:moveTo>
                    <a:lnTo>
                      <a:pt x="1210" y="992"/>
                    </a:lnTo>
                    <a:lnTo>
                      <a:pt x="1210" y="993"/>
                    </a:lnTo>
                    <a:lnTo>
                      <a:pt x="1210" y="995"/>
                    </a:lnTo>
                    <a:lnTo>
                      <a:pt x="1212" y="997"/>
                    </a:lnTo>
                    <a:lnTo>
                      <a:pt x="1212" y="995"/>
                    </a:lnTo>
                    <a:lnTo>
                      <a:pt x="1212" y="997"/>
                    </a:lnTo>
                    <a:lnTo>
                      <a:pt x="1210" y="997"/>
                    </a:lnTo>
                    <a:lnTo>
                      <a:pt x="1210" y="995"/>
                    </a:lnTo>
                    <a:lnTo>
                      <a:pt x="1208" y="995"/>
                    </a:lnTo>
                    <a:lnTo>
                      <a:pt x="1208" y="993"/>
                    </a:lnTo>
                    <a:lnTo>
                      <a:pt x="1207" y="993"/>
                    </a:lnTo>
                    <a:lnTo>
                      <a:pt x="1207" y="995"/>
                    </a:lnTo>
                    <a:lnTo>
                      <a:pt x="1205" y="993"/>
                    </a:lnTo>
                    <a:lnTo>
                      <a:pt x="1205" y="992"/>
                    </a:lnTo>
                    <a:lnTo>
                      <a:pt x="1207" y="992"/>
                    </a:lnTo>
                    <a:lnTo>
                      <a:pt x="1208" y="992"/>
                    </a:lnTo>
                    <a:lnTo>
                      <a:pt x="1210" y="992"/>
                    </a:lnTo>
                    <a:lnTo>
                      <a:pt x="1210" y="990"/>
                    </a:lnTo>
                    <a:close/>
                    <a:moveTo>
                      <a:pt x="1202" y="1524"/>
                    </a:moveTo>
                    <a:lnTo>
                      <a:pt x="1202" y="1526"/>
                    </a:lnTo>
                    <a:lnTo>
                      <a:pt x="1202" y="1527"/>
                    </a:lnTo>
                    <a:lnTo>
                      <a:pt x="1203" y="1527"/>
                    </a:lnTo>
                    <a:lnTo>
                      <a:pt x="1203" y="1529"/>
                    </a:lnTo>
                    <a:lnTo>
                      <a:pt x="1205" y="1529"/>
                    </a:lnTo>
                    <a:lnTo>
                      <a:pt x="1203" y="1529"/>
                    </a:lnTo>
                    <a:lnTo>
                      <a:pt x="1203" y="1531"/>
                    </a:lnTo>
                    <a:lnTo>
                      <a:pt x="1202" y="1529"/>
                    </a:lnTo>
                    <a:lnTo>
                      <a:pt x="1202" y="1527"/>
                    </a:lnTo>
                    <a:lnTo>
                      <a:pt x="1200" y="1527"/>
                    </a:lnTo>
                    <a:lnTo>
                      <a:pt x="1200" y="1526"/>
                    </a:lnTo>
                    <a:lnTo>
                      <a:pt x="1200" y="1527"/>
                    </a:lnTo>
                    <a:lnTo>
                      <a:pt x="1198" y="1527"/>
                    </a:lnTo>
                    <a:lnTo>
                      <a:pt x="1198" y="1526"/>
                    </a:lnTo>
                    <a:lnTo>
                      <a:pt x="1198" y="1524"/>
                    </a:lnTo>
                    <a:lnTo>
                      <a:pt x="1200" y="1524"/>
                    </a:lnTo>
                    <a:lnTo>
                      <a:pt x="1202" y="1524"/>
                    </a:lnTo>
                    <a:close/>
                    <a:moveTo>
                      <a:pt x="1176" y="1413"/>
                    </a:moveTo>
                    <a:lnTo>
                      <a:pt x="1176" y="1415"/>
                    </a:lnTo>
                    <a:lnTo>
                      <a:pt x="1178" y="1417"/>
                    </a:lnTo>
                    <a:lnTo>
                      <a:pt x="1176" y="1417"/>
                    </a:lnTo>
                    <a:lnTo>
                      <a:pt x="1174" y="1417"/>
                    </a:lnTo>
                    <a:lnTo>
                      <a:pt x="1174" y="1418"/>
                    </a:lnTo>
                    <a:lnTo>
                      <a:pt x="1173" y="1418"/>
                    </a:lnTo>
                    <a:lnTo>
                      <a:pt x="1173" y="1417"/>
                    </a:lnTo>
                    <a:lnTo>
                      <a:pt x="1171" y="1417"/>
                    </a:lnTo>
                    <a:lnTo>
                      <a:pt x="1171" y="1415"/>
                    </a:lnTo>
                    <a:lnTo>
                      <a:pt x="1173" y="1415"/>
                    </a:lnTo>
                    <a:lnTo>
                      <a:pt x="1171" y="1415"/>
                    </a:lnTo>
                    <a:lnTo>
                      <a:pt x="1173" y="1415"/>
                    </a:lnTo>
                    <a:lnTo>
                      <a:pt x="1174" y="1415"/>
                    </a:lnTo>
                    <a:lnTo>
                      <a:pt x="1174" y="1413"/>
                    </a:lnTo>
                    <a:lnTo>
                      <a:pt x="1176" y="1413"/>
                    </a:lnTo>
                    <a:lnTo>
                      <a:pt x="1176" y="1412"/>
                    </a:lnTo>
                    <a:lnTo>
                      <a:pt x="1176" y="1413"/>
                    </a:lnTo>
                    <a:close/>
                    <a:moveTo>
                      <a:pt x="1186" y="1068"/>
                    </a:moveTo>
                    <a:lnTo>
                      <a:pt x="1188" y="1070"/>
                    </a:lnTo>
                    <a:lnTo>
                      <a:pt x="1188" y="1071"/>
                    </a:lnTo>
                    <a:lnTo>
                      <a:pt x="1186" y="1071"/>
                    </a:lnTo>
                    <a:lnTo>
                      <a:pt x="1185" y="1071"/>
                    </a:lnTo>
                    <a:lnTo>
                      <a:pt x="1183" y="1070"/>
                    </a:lnTo>
                    <a:lnTo>
                      <a:pt x="1183" y="1068"/>
                    </a:lnTo>
                    <a:lnTo>
                      <a:pt x="1185" y="1068"/>
                    </a:lnTo>
                    <a:lnTo>
                      <a:pt x="1186" y="1068"/>
                    </a:lnTo>
                    <a:close/>
                    <a:moveTo>
                      <a:pt x="1205" y="1548"/>
                    </a:moveTo>
                    <a:lnTo>
                      <a:pt x="1207" y="1548"/>
                    </a:lnTo>
                    <a:lnTo>
                      <a:pt x="1207" y="1549"/>
                    </a:lnTo>
                    <a:lnTo>
                      <a:pt x="1208" y="1549"/>
                    </a:lnTo>
                    <a:lnTo>
                      <a:pt x="1207" y="1549"/>
                    </a:lnTo>
                    <a:lnTo>
                      <a:pt x="1208" y="1549"/>
                    </a:lnTo>
                    <a:lnTo>
                      <a:pt x="1208" y="1551"/>
                    </a:lnTo>
                    <a:lnTo>
                      <a:pt x="1207" y="1551"/>
                    </a:lnTo>
                    <a:lnTo>
                      <a:pt x="1205" y="1551"/>
                    </a:lnTo>
                    <a:lnTo>
                      <a:pt x="1205" y="1549"/>
                    </a:lnTo>
                    <a:lnTo>
                      <a:pt x="1203" y="1548"/>
                    </a:lnTo>
                    <a:lnTo>
                      <a:pt x="1203" y="1549"/>
                    </a:lnTo>
                    <a:lnTo>
                      <a:pt x="1203" y="1551"/>
                    </a:lnTo>
                    <a:lnTo>
                      <a:pt x="1202" y="1551"/>
                    </a:lnTo>
                    <a:lnTo>
                      <a:pt x="1203" y="1549"/>
                    </a:lnTo>
                    <a:lnTo>
                      <a:pt x="1202" y="1549"/>
                    </a:lnTo>
                    <a:lnTo>
                      <a:pt x="1200" y="1549"/>
                    </a:lnTo>
                    <a:lnTo>
                      <a:pt x="1200" y="1548"/>
                    </a:lnTo>
                    <a:lnTo>
                      <a:pt x="1202" y="1548"/>
                    </a:lnTo>
                    <a:lnTo>
                      <a:pt x="1203" y="1549"/>
                    </a:lnTo>
                    <a:lnTo>
                      <a:pt x="1202" y="1548"/>
                    </a:lnTo>
                    <a:lnTo>
                      <a:pt x="1203" y="1548"/>
                    </a:lnTo>
                    <a:lnTo>
                      <a:pt x="1203" y="1546"/>
                    </a:lnTo>
                    <a:lnTo>
                      <a:pt x="1205" y="1546"/>
                    </a:lnTo>
                    <a:lnTo>
                      <a:pt x="1205" y="1548"/>
                    </a:lnTo>
                    <a:close/>
                    <a:moveTo>
                      <a:pt x="1229" y="1558"/>
                    </a:moveTo>
                    <a:lnTo>
                      <a:pt x="1230" y="1558"/>
                    </a:lnTo>
                    <a:lnTo>
                      <a:pt x="1232" y="1560"/>
                    </a:lnTo>
                    <a:lnTo>
                      <a:pt x="1234" y="1560"/>
                    </a:lnTo>
                    <a:lnTo>
                      <a:pt x="1234" y="1561"/>
                    </a:lnTo>
                    <a:lnTo>
                      <a:pt x="1232" y="1560"/>
                    </a:lnTo>
                    <a:lnTo>
                      <a:pt x="1232" y="1561"/>
                    </a:lnTo>
                    <a:lnTo>
                      <a:pt x="1232" y="1560"/>
                    </a:lnTo>
                    <a:lnTo>
                      <a:pt x="1230" y="1561"/>
                    </a:lnTo>
                    <a:lnTo>
                      <a:pt x="1229" y="1561"/>
                    </a:lnTo>
                    <a:lnTo>
                      <a:pt x="1227" y="1561"/>
                    </a:lnTo>
                    <a:lnTo>
                      <a:pt x="1225" y="1561"/>
                    </a:lnTo>
                    <a:lnTo>
                      <a:pt x="1227" y="1560"/>
                    </a:lnTo>
                    <a:lnTo>
                      <a:pt x="1229" y="1560"/>
                    </a:lnTo>
                    <a:lnTo>
                      <a:pt x="1229" y="1561"/>
                    </a:lnTo>
                    <a:lnTo>
                      <a:pt x="1229" y="1560"/>
                    </a:lnTo>
                    <a:lnTo>
                      <a:pt x="1227" y="1560"/>
                    </a:lnTo>
                    <a:lnTo>
                      <a:pt x="1229" y="1558"/>
                    </a:lnTo>
                    <a:lnTo>
                      <a:pt x="1227" y="1558"/>
                    </a:lnTo>
                    <a:lnTo>
                      <a:pt x="1229" y="1558"/>
                    </a:lnTo>
                    <a:close/>
                    <a:moveTo>
                      <a:pt x="1411" y="1662"/>
                    </a:moveTo>
                    <a:lnTo>
                      <a:pt x="1412" y="1663"/>
                    </a:lnTo>
                    <a:lnTo>
                      <a:pt x="1412" y="1665"/>
                    </a:lnTo>
                    <a:lnTo>
                      <a:pt x="1412" y="1667"/>
                    </a:lnTo>
                    <a:lnTo>
                      <a:pt x="1414" y="1667"/>
                    </a:lnTo>
                    <a:lnTo>
                      <a:pt x="1414" y="1669"/>
                    </a:lnTo>
                    <a:lnTo>
                      <a:pt x="1412" y="1669"/>
                    </a:lnTo>
                    <a:lnTo>
                      <a:pt x="1412" y="1667"/>
                    </a:lnTo>
                    <a:lnTo>
                      <a:pt x="1411" y="1667"/>
                    </a:lnTo>
                    <a:lnTo>
                      <a:pt x="1411" y="1669"/>
                    </a:lnTo>
                    <a:lnTo>
                      <a:pt x="1409" y="1669"/>
                    </a:lnTo>
                    <a:lnTo>
                      <a:pt x="1407" y="1669"/>
                    </a:lnTo>
                    <a:lnTo>
                      <a:pt x="1409" y="1667"/>
                    </a:lnTo>
                    <a:lnTo>
                      <a:pt x="1409" y="1665"/>
                    </a:lnTo>
                    <a:lnTo>
                      <a:pt x="1411" y="1667"/>
                    </a:lnTo>
                    <a:lnTo>
                      <a:pt x="1409" y="1665"/>
                    </a:lnTo>
                    <a:lnTo>
                      <a:pt x="1409" y="1663"/>
                    </a:lnTo>
                    <a:lnTo>
                      <a:pt x="1409" y="1662"/>
                    </a:lnTo>
                    <a:lnTo>
                      <a:pt x="1411" y="1662"/>
                    </a:lnTo>
                    <a:close/>
                    <a:moveTo>
                      <a:pt x="1207" y="1245"/>
                    </a:moveTo>
                    <a:lnTo>
                      <a:pt x="1208" y="1245"/>
                    </a:lnTo>
                    <a:lnTo>
                      <a:pt x="1208" y="1247"/>
                    </a:lnTo>
                    <a:lnTo>
                      <a:pt x="1208" y="1248"/>
                    </a:lnTo>
                    <a:lnTo>
                      <a:pt x="1208" y="1250"/>
                    </a:lnTo>
                    <a:lnTo>
                      <a:pt x="1208" y="1252"/>
                    </a:lnTo>
                    <a:lnTo>
                      <a:pt x="1207" y="1252"/>
                    </a:lnTo>
                    <a:lnTo>
                      <a:pt x="1208" y="1250"/>
                    </a:lnTo>
                    <a:lnTo>
                      <a:pt x="1207" y="1250"/>
                    </a:lnTo>
                    <a:lnTo>
                      <a:pt x="1205" y="1250"/>
                    </a:lnTo>
                    <a:lnTo>
                      <a:pt x="1205" y="1248"/>
                    </a:lnTo>
                    <a:lnTo>
                      <a:pt x="1207" y="1248"/>
                    </a:lnTo>
                    <a:lnTo>
                      <a:pt x="1205" y="1248"/>
                    </a:lnTo>
                    <a:lnTo>
                      <a:pt x="1205" y="1247"/>
                    </a:lnTo>
                    <a:lnTo>
                      <a:pt x="1205" y="1245"/>
                    </a:lnTo>
                    <a:lnTo>
                      <a:pt x="1207" y="1245"/>
                    </a:lnTo>
                    <a:close/>
                    <a:moveTo>
                      <a:pt x="1156" y="1311"/>
                    </a:moveTo>
                    <a:lnTo>
                      <a:pt x="1157" y="1311"/>
                    </a:lnTo>
                    <a:lnTo>
                      <a:pt x="1157" y="1313"/>
                    </a:lnTo>
                    <a:lnTo>
                      <a:pt x="1159" y="1313"/>
                    </a:lnTo>
                    <a:lnTo>
                      <a:pt x="1159" y="1311"/>
                    </a:lnTo>
                    <a:lnTo>
                      <a:pt x="1161" y="1313"/>
                    </a:lnTo>
                    <a:lnTo>
                      <a:pt x="1159" y="1313"/>
                    </a:lnTo>
                    <a:lnTo>
                      <a:pt x="1161" y="1315"/>
                    </a:lnTo>
                    <a:lnTo>
                      <a:pt x="1159" y="1315"/>
                    </a:lnTo>
                    <a:lnTo>
                      <a:pt x="1157" y="1315"/>
                    </a:lnTo>
                    <a:lnTo>
                      <a:pt x="1156" y="1315"/>
                    </a:lnTo>
                    <a:lnTo>
                      <a:pt x="1156" y="1313"/>
                    </a:lnTo>
                    <a:lnTo>
                      <a:pt x="1156" y="1311"/>
                    </a:lnTo>
                    <a:close/>
                    <a:moveTo>
                      <a:pt x="1193" y="1531"/>
                    </a:moveTo>
                    <a:lnTo>
                      <a:pt x="1193" y="1532"/>
                    </a:lnTo>
                    <a:lnTo>
                      <a:pt x="1195" y="1532"/>
                    </a:lnTo>
                    <a:lnTo>
                      <a:pt x="1193" y="1534"/>
                    </a:lnTo>
                    <a:lnTo>
                      <a:pt x="1193" y="1536"/>
                    </a:lnTo>
                    <a:lnTo>
                      <a:pt x="1191" y="1536"/>
                    </a:lnTo>
                    <a:lnTo>
                      <a:pt x="1190" y="1536"/>
                    </a:lnTo>
                    <a:lnTo>
                      <a:pt x="1190" y="1538"/>
                    </a:lnTo>
                    <a:lnTo>
                      <a:pt x="1188" y="1538"/>
                    </a:lnTo>
                    <a:lnTo>
                      <a:pt x="1188" y="1536"/>
                    </a:lnTo>
                    <a:lnTo>
                      <a:pt x="1186" y="1536"/>
                    </a:lnTo>
                    <a:lnTo>
                      <a:pt x="1188" y="1534"/>
                    </a:lnTo>
                    <a:lnTo>
                      <a:pt x="1190" y="1534"/>
                    </a:lnTo>
                    <a:lnTo>
                      <a:pt x="1190" y="1532"/>
                    </a:lnTo>
                    <a:lnTo>
                      <a:pt x="1191" y="1532"/>
                    </a:lnTo>
                    <a:lnTo>
                      <a:pt x="1193" y="1531"/>
                    </a:lnTo>
                    <a:close/>
                    <a:moveTo>
                      <a:pt x="1169" y="1083"/>
                    </a:moveTo>
                    <a:lnTo>
                      <a:pt x="1171" y="1083"/>
                    </a:lnTo>
                    <a:lnTo>
                      <a:pt x="1173" y="1085"/>
                    </a:lnTo>
                    <a:lnTo>
                      <a:pt x="1171" y="1085"/>
                    </a:lnTo>
                    <a:lnTo>
                      <a:pt x="1173" y="1087"/>
                    </a:lnTo>
                    <a:lnTo>
                      <a:pt x="1171" y="1087"/>
                    </a:lnTo>
                    <a:lnTo>
                      <a:pt x="1173" y="1088"/>
                    </a:lnTo>
                    <a:lnTo>
                      <a:pt x="1171" y="1088"/>
                    </a:lnTo>
                    <a:lnTo>
                      <a:pt x="1169" y="1088"/>
                    </a:lnTo>
                    <a:lnTo>
                      <a:pt x="1169" y="1087"/>
                    </a:lnTo>
                    <a:lnTo>
                      <a:pt x="1169" y="1085"/>
                    </a:lnTo>
                    <a:lnTo>
                      <a:pt x="1169" y="1083"/>
                    </a:lnTo>
                    <a:close/>
                    <a:moveTo>
                      <a:pt x="1423" y="1680"/>
                    </a:moveTo>
                    <a:lnTo>
                      <a:pt x="1424" y="1682"/>
                    </a:lnTo>
                    <a:lnTo>
                      <a:pt x="1426" y="1684"/>
                    </a:lnTo>
                    <a:lnTo>
                      <a:pt x="1426" y="1686"/>
                    </a:lnTo>
                    <a:lnTo>
                      <a:pt x="1424" y="1686"/>
                    </a:lnTo>
                    <a:lnTo>
                      <a:pt x="1423" y="1684"/>
                    </a:lnTo>
                    <a:lnTo>
                      <a:pt x="1421" y="1684"/>
                    </a:lnTo>
                    <a:lnTo>
                      <a:pt x="1421" y="1682"/>
                    </a:lnTo>
                    <a:lnTo>
                      <a:pt x="1421" y="1680"/>
                    </a:lnTo>
                    <a:lnTo>
                      <a:pt x="1419" y="1682"/>
                    </a:lnTo>
                    <a:lnTo>
                      <a:pt x="1417" y="1680"/>
                    </a:lnTo>
                    <a:lnTo>
                      <a:pt x="1419" y="1680"/>
                    </a:lnTo>
                    <a:lnTo>
                      <a:pt x="1421" y="1680"/>
                    </a:lnTo>
                    <a:lnTo>
                      <a:pt x="1423" y="1680"/>
                    </a:lnTo>
                    <a:close/>
                    <a:moveTo>
                      <a:pt x="1251" y="1549"/>
                    </a:moveTo>
                    <a:lnTo>
                      <a:pt x="1249" y="1549"/>
                    </a:lnTo>
                    <a:lnTo>
                      <a:pt x="1251" y="1549"/>
                    </a:lnTo>
                    <a:lnTo>
                      <a:pt x="1251" y="1551"/>
                    </a:lnTo>
                    <a:lnTo>
                      <a:pt x="1253" y="1551"/>
                    </a:lnTo>
                    <a:lnTo>
                      <a:pt x="1254" y="1551"/>
                    </a:lnTo>
                    <a:lnTo>
                      <a:pt x="1253" y="1553"/>
                    </a:lnTo>
                    <a:lnTo>
                      <a:pt x="1254" y="1553"/>
                    </a:lnTo>
                    <a:lnTo>
                      <a:pt x="1256" y="1555"/>
                    </a:lnTo>
                    <a:lnTo>
                      <a:pt x="1254" y="1555"/>
                    </a:lnTo>
                    <a:lnTo>
                      <a:pt x="1254" y="1556"/>
                    </a:lnTo>
                    <a:lnTo>
                      <a:pt x="1253" y="1555"/>
                    </a:lnTo>
                    <a:lnTo>
                      <a:pt x="1251" y="1555"/>
                    </a:lnTo>
                    <a:lnTo>
                      <a:pt x="1251" y="1553"/>
                    </a:lnTo>
                    <a:lnTo>
                      <a:pt x="1249" y="1553"/>
                    </a:lnTo>
                    <a:lnTo>
                      <a:pt x="1249" y="1551"/>
                    </a:lnTo>
                    <a:lnTo>
                      <a:pt x="1249" y="1549"/>
                    </a:lnTo>
                    <a:lnTo>
                      <a:pt x="1251" y="1549"/>
                    </a:lnTo>
                    <a:close/>
                    <a:moveTo>
                      <a:pt x="1332" y="1652"/>
                    </a:moveTo>
                    <a:lnTo>
                      <a:pt x="1334" y="1652"/>
                    </a:lnTo>
                    <a:lnTo>
                      <a:pt x="1332" y="1653"/>
                    </a:lnTo>
                    <a:lnTo>
                      <a:pt x="1331" y="1653"/>
                    </a:lnTo>
                    <a:lnTo>
                      <a:pt x="1332" y="1653"/>
                    </a:lnTo>
                    <a:lnTo>
                      <a:pt x="1332" y="1655"/>
                    </a:lnTo>
                    <a:lnTo>
                      <a:pt x="1331" y="1655"/>
                    </a:lnTo>
                    <a:lnTo>
                      <a:pt x="1331" y="1657"/>
                    </a:lnTo>
                    <a:lnTo>
                      <a:pt x="1329" y="1657"/>
                    </a:lnTo>
                    <a:lnTo>
                      <a:pt x="1331" y="1655"/>
                    </a:lnTo>
                    <a:lnTo>
                      <a:pt x="1329" y="1655"/>
                    </a:lnTo>
                    <a:lnTo>
                      <a:pt x="1329" y="1653"/>
                    </a:lnTo>
                    <a:lnTo>
                      <a:pt x="1327" y="1653"/>
                    </a:lnTo>
                    <a:lnTo>
                      <a:pt x="1326" y="1653"/>
                    </a:lnTo>
                    <a:lnTo>
                      <a:pt x="1327" y="1652"/>
                    </a:lnTo>
                    <a:lnTo>
                      <a:pt x="1326" y="1652"/>
                    </a:lnTo>
                    <a:lnTo>
                      <a:pt x="1327" y="1652"/>
                    </a:lnTo>
                    <a:lnTo>
                      <a:pt x="1329" y="1652"/>
                    </a:lnTo>
                    <a:lnTo>
                      <a:pt x="1329" y="1653"/>
                    </a:lnTo>
                    <a:lnTo>
                      <a:pt x="1331" y="1653"/>
                    </a:lnTo>
                    <a:lnTo>
                      <a:pt x="1331" y="1652"/>
                    </a:lnTo>
                    <a:lnTo>
                      <a:pt x="1332" y="1652"/>
                    </a:lnTo>
                    <a:close/>
                    <a:moveTo>
                      <a:pt x="1339" y="1655"/>
                    </a:moveTo>
                    <a:lnTo>
                      <a:pt x="1341" y="1655"/>
                    </a:lnTo>
                    <a:lnTo>
                      <a:pt x="1343" y="1655"/>
                    </a:lnTo>
                    <a:lnTo>
                      <a:pt x="1343" y="1657"/>
                    </a:lnTo>
                    <a:lnTo>
                      <a:pt x="1344" y="1657"/>
                    </a:lnTo>
                    <a:lnTo>
                      <a:pt x="1343" y="1658"/>
                    </a:lnTo>
                    <a:lnTo>
                      <a:pt x="1343" y="1657"/>
                    </a:lnTo>
                    <a:lnTo>
                      <a:pt x="1341" y="1657"/>
                    </a:lnTo>
                    <a:lnTo>
                      <a:pt x="1343" y="1658"/>
                    </a:lnTo>
                    <a:lnTo>
                      <a:pt x="1341" y="1658"/>
                    </a:lnTo>
                    <a:lnTo>
                      <a:pt x="1343" y="1658"/>
                    </a:lnTo>
                    <a:lnTo>
                      <a:pt x="1343" y="1660"/>
                    </a:lnTo>
                    <a:lnTo>
                      <a:pt x="1341" y="1658"/>
                    </a:lnTo>
                    <a:lnTo>
                      <a:pt x="1341" y="1660"/>
                    </a:lnTo>
                    <a:lnTo>
                      <a:pt x="1341" y="1658"/>
                    </a:lnTo>
                    <a:lnTo>
                      <a:pt x="1341" y="1660"/>
                    </a:lnTo>
                    <a:lnTo>
                      <a:pt x="1339" y="1658"/>
                    </a:lnTo>
                    <a:lnTo>
                      <a:pt x="1339" y="1660"/>
                    </a:lnTo>
                    <a:lnTo>
                      <a:pt x="1338" y="1660"/>
                    </a:lnTo>
                    <a:lnTo>
                      <a:pt x="1338" y="1658"/>
                    </a:lnTo>
                    <a:lnTo>
                      <a:pt x="1339" y="1658"/>
                    </a:lnTo>
                    <a:lnTo>
                      <a:pt x="1339" y="1657"/>
                    </a:lnTo>
                    <a:lnTo>
                      <a:pt x="1339" y="1655"/>
                    </a:lnTo>
                    <a:close/>
                    <a:moveTo>
                      <a:pt x="1212" y="1007"/>
                    </a:moveTo>
                    <a:lnTo>
                      <a:pt x="1213" y="1007"/>
                    </a:lnTo>
                    <a:lnTo>
                      <a:pt x="1215" y="1009"/>
                    </a:lnTo>
                    <a:lnTo>
                      <a:pt x="1217" y="1009"/>
                    </a:lnTo>
                    <a:lnTo>
                      <a:pt x="1217" y="1010"/>
                    </a:lnTo>
                    <a:lnTo>
                      <a:pt x="1219" y="1010"/>
                    </a:lnTo>
                    <a:lnTo>
                      <a:pt x="1219" y="1012"/>
                    </a:lnTo>
                    <a:lnTo>
                      <a:pt x="1219" y="1010"/>
                    </a:lnTo>
                    <a:lnTo>
                      <a:pt x="1217" y="1010"/>
                    </a:lnTo>
                    <a:lnTo>
                      <a:pt x="1215" y="1010"/>
                    </a:lnTo>
                    <a:lnTo>
                      <a:pt x="1213" y="1010"/>
                    </a:lnTo>
                    <a:lnTo>
                      <a:pt x="1213" y="1009"/>
                    </a:lnTo>
                    <a:lnTo>
                      <a:pt x="1212" y="1009"/>
                    </a:lnTo>
                    <a:lnTo>
                      <a:pt x="1210" y="1009"/>
                    </a:lnTo>
                    <a:lnTo>
                      <a:pt x="1210" y="1007"/>
                    </a:lnTo>
                    <a:lnTo>
                      <a:pt x="1212" y="1007"/>
                    </a:lnTo>
                    <a:close/>
                    <a:moveTo>
                      <a:pt x="1263" y="1609"/>
                    </a:moveTo>
                    <a:lnTo>
                      <a:pt x="1264" y="1611"/>
                    </a:lnTo>
                    <a:lnTo>
                      <a:pt x="1264" y="1612"/>
                    </a:lnTo>
                    <a:lnTo>
                      <a:pt x="1266" y="1612"/>
                    </a:lnTo>
                    <a:lnTo>
                      <a:pt x="1266" y="1614"/>
                    </a:lnTo>
                    <a:lnTo>
                      <a:pt x="1266" y="1612"/>
                    </a:lnTo>
                    <a:lnTo>
                      <a:pt x="1266" y="1614"/>
                    </a:lnTo>
                    <a:lnTo>
                      <a:pt x="1268" y="1614"/>
                    </a:lnTo>
                    <a:lnTo>
                      <a:pt x="1266" y="1614"/>
                    </a:lnTo>
                    <a:lnTo>
                      <a:pt x="1266" y="1616"/>
                    </a:lnTo>
                    <a:lnTo>
                      <a:pt x="1266" y="1618"/>
                    </a:lnTo>
                    <a:lnTo>
                      <a:pt x="1266" y="1616"/>
                    </a:lnTo>
                    <a:lnTo>
                      <a:pt x="1264" y="1616"/>
                    </a:lnTo>
                    <a:lnTo>
                      <a:pt x="1264" y="1614"/>
                    </a:lnTo>
                    <a:lnTo>
                      <a:pt x="1264" y="1612"/>
                    </a:lnTo>
                    <a:lnTo>
                      <a:pt x="1263" y="1614"/>
                    </a:lnTo>
                    <a:lnTo>
                      <a:pt x="1263" y="1612"/>
                    </a:lnTo>
                    <a:lnTo>
                      <a:pt x="1263" y="1611"/>
                    </a:lnTo>
                    <a:lnTo>
                      <a:pt x="1263" y="1612"/>
                    </a:lnTo>
                    <a:lnTo>
                      <a:pt x="1261" y="1612"/>
                    </a:lnTo>
                    <a:lnTo>
                      <a:pt x="1261" y="1611"/>
                    </a:lnTo>
                    <a:lnTo>
                      <a:pt x="1263" y="1609"/>
                    </a:lnTo>
                    <a:close/>
                    <a:moveTo>
                      <a:pt x="1168" y="1417"/>
                    </a:moveTo>
                    <a:lnTo>
                      <a:pt x="1169" y="1417"/>
                    </a:lnTo>
                    <a:lnTo>
                      <a:pt x="1169" y="1418"/>
                    </a:lnTo>
                    <a:lnTo>
                      <a:pt x="1168" y="1420"/>
                    </a:lnTo>
                    <a:lnTo>
                      <a:pt x="1166" y="1420"/>
                    </a:lnTo>
                    <a:lnTo>
                      <a:pt x="1168" y="1418"/>
                    </a:lnTo>
                    <a:lnTo>
                      <a:pt x="1166" y="1418"/>
                    </a:lnTo>
                    <a:lnTo>
                      <a:pt x="1164" y="1418"/>
                    </a:lnTo>
                    <a:lnTo>
                      <a:pt x="1164" y="1420"/>
                    </a:lnTo>
                    <a:lnTo>
                      <a:pt x="1162" y="1420"/>
                    </a:lnTo>
                    <a:lnTo>
                      <a:pt x="1162" y="1418"/>
                    </a:lnTo>
                    <a:lnTo>
                      <a:pt x="1164" y="1417"/>
                    </a:lnTo>
                    <a:lnTo>
                      <a:pt x="1166" y="1417"/>
                    </a:lnTo>
                    <a:lnTo>
                      <a:pt x="1168" y="1417"/>
                    </a:lnTo>
                    <a:close/>
                    <a:moveTo>
                      <a:pt x="1203" y="1075"/>
                    </a:moveTo>
                    <a:lnTo>
                      <a:pt x="1203" y="1077"/>
                    </a:lnTo>
                    <a:lnTo>
                      <a:pt x="1202" y="1077"/>
                    </a:lnTo>
                    <a:lnTo>
                      <a:pt x="1200" y="1078"/>
                    </a:lnTo>
                    <a:lnTo>
                      <a:pt x="1202" y="1077"/>
                    </a:lnTo>
                    <a:lnTo>
                      <a:pt x="1203" y="1077"/>
                    </a:lnTo>
                    <a:lnTo>
                      <a:pt x="1202" y="1078"/>
                    </a:lnTo>
                    <a:lnTo>
                      <a:pt x="1203" y="1077"/>
                    </a:lnTo>
                    <a:lnTo>
                      <a:pt x="1205" y="1077"/>
                    </a:lnTo>
                    <a:lnTo>
                      <a:pt x="1205" y="1078"/>
                    </a:lnTo>
                    <a:lnTo>
                      <a:pt x="1203" y="1078"/>
                    </a:lnTo>
                    <a:lnTo>
                      <a:pt x="1202" y="1078"/>
                    </a:lnTo>
                    <a:lnTo>
                      <a:pt x="1200" y="1078"/>
                    </a:lnTo>
                    <a:lnTo>
                      <a:pt x="1200" y="1077"/>
                    </a:lnTo>
                    <a:lnTo>
                      <a:pt x="1202" y="1075"/>
                    </a:lnTo>
                    <a:lnTo>
                      <a:pt x="1203" y="1075"/>
                    </a:lnTo>
                    <a:close/>
                    <a:moveTo>
                      <a:pt x="1222" y="1071"/>
                    </a:moveTo>
                    <a:lnTo>
                      <a:pt x="1222" y="1073"/>
                    </a:lnTo>
                    <a:lnTo>
                      <a:pt x="1224" y="1071"/>
                    </a:lnTo>
                    <a:lnTo>
                      <a:pt x="1224" y="1073"/>
                    </a:lnTo>
                    <a:lnTo>
                      <a:pt x="1225" y="1075"/>
                    </a:lnTo>
                    <a:lnTo>
                      <a:pt x="1224" y="1075"/>
                    </a:lnTo>
                    <a:lnTo>
                      <a:pt x="1222" y="1075"/>
                    </a:lnTo>
                    <a:lnTo>
                      <a:pt x="1220" y="1075"/>
                    </a:lnTo>
                    <a:lnTo>
                      <a:pt x="1220" y="1073"/>
                    </a:lnTo>
                    <a:lnTo>
                      <a:pt x="1222" y="1071"/>
                    </a:lnTo>
                    <a:close/>
                    <a:moveTo>
                      <a:pt x="1229" y="954"/>
                    </a:moveTo>
                    <a:lnTo>
                      <a:pt x="1229" y="956"/>
                    </a:lnTo>
                    <a:lnTo>
                      <a:pt x="1230" y="956"/>
                    </a:lnTo>
                    <a:lnTo>
                      <a:pt x="1230" y="957"/>
                    </a:lnTo>
                    <a:lnTo>
                      <a:pt x="1230" y="959"/>
                    </a:lnTo>
                    <a:lnTo>
                      <a:pt x="1229" y="957"/>
                    </a:lnTo>
                    <a:lnTo>
                      <a:pt x="1227" y="957"/>
                    </a:lnTo>
                    <a:lnTo>
                      <a:pt x="1227" y="956"/>
                    </a:lnTo>
                    <a:lnTo>
                      <a:pt x="1225" y="956"/>
                    </a:lnTo>
                    <a:lnTo>
                      <a:pt x="1227" y="956"/>
                    </a:lnTo>
                    <a:lnTo>
                      <a:pt x="1229" y="956"/>
                    </a:lnTo>
                    <a:lnTo>
                      <a:pt x="1227" y="956"/>
                    </a:lnTo>
                    <a:lnTo>
                      <a:pt x="1227" y="954"/>
                    </a:lnTo>
                    <a:lnTo>
                      <a:pt x="1227" y="952"/>
                    </a:lnTo>
                    <a:lnTo>
                      <a:pt x="1227" y="954"/>
                    </a:lnTo>
                    <a:lnTo>
                      <a:pt x="1227" y="952"/>
                    </a:lnTo>
                    <a:lnTo>
                      <a:pt x="1229" y="952"/>
                    </a:lnTo>
                    <a:lnTo>
                      <a:pt x="1229" y="954"/>
                    </a:lnTo>
                    <a:close/>
                    <a:moveTo>
                      <a:pt x="1208" y="1073"/>
                    </a:moveTo>
                    <a:lnTo>
                      <a:pt x="1208" y="1075"/>
                    </a:lnTo>
                    <a:lnTo>
                      <a:pt x="1207" y="1075"/>
                    </a:lnTo>
                    <a:lnTo>
                      <a:pt x="1207" y="1077"/>
                    </a:lnTo>
                    <a:lnTo>
                      <a:pt x="1208" y="1077"/>
                    </a:lnTo>
                    <a:lnTo>
                      <a:pt x="1208" y="1078"/>
                    </a:lnTo>
                    <a:lnTo>
                      <a:pt x="1207" y="1078"/>
                    </a:lnTo>
                    <a:lnTo>
                      <a:pt x="1205" y="1077"/>
                    </a:lnTo>
                    <a:lnTo>
                      <a:pt x="1205" y="1075"/>
                    </a:lnTo>
                    <a:lnTo>
                      <a:pt x="1203" y="1075"/>
                    </a:lnTo>
                    <a:lnTo>
                      <a:pt x="1205" y="1075"/>
                    </a:lnTo>
                    <a:lnTo>
                      <a:pt x="1207" y="1073"/>
                    </a:lnTo>
                    <a:lnTo>
                      <a:pt x="1207" y="1075"/>
                    </a:lnTo>
                    <a:lnTo>
                      <a:pt x="1208" y="1075"/>
                    </a:lnTo>
                    <a:lnTo>
                      <a:pt x="1207" y="1073"/>
                    </a:lnTo>
                    <a:lnTo>
                      <a:pt x="1208" y="1073"/>
                    </a:lnTo>
                    <a:close/>
                    <a:moveTo>
                      <a:pt x="1166" y="1420"/>
                    </a:moveTo>
                    <a:lnTo>
                      <a:pt x="1168" y="1422"/>
                    </a:lnTo>
                    <a:lnTo>
                      <a:pt x="1166" y="1422"/>
                    </a:lnTo>
                    <a:lnTo>
                      <a:pt x="1166" y="1424"/>
                    </a:lnTo>
                    <a:lnTo>
                      <a:pt x="1164" y="1424"/>
                    </a:lnTo>
                    <a:lnTo>
                      <a:pt x="1162" y="1424"/>
                    </a:lnTo>
                    <a:lnTo>
                      <a:pt x="1162" y="1425"/>
                    </a:lnTo>
                    <a:lnTo>
                      <a:pt x="1162" y="1424"/>
                    </a:lnTo>
                    <a:lnTo>
                      <a:pt x="1161" y="1424"/>
                    </a:lnTo>
                    <a:lnTo>
                      <a:pt x="1161" y="1422"/>
                    </a:lnTo>
                    <a:lnTo>
                      <a:pt x="1162" y="1422"/>
                    </a:lnTo>
                    <a:lnTo>
                      <a:pt x="1164" y="1422"/>
                    </a:lnTo>
                    <a:lnTo>
                      <a:pt x="1162" y="1422"/>
                    </a:lnTo>
                    <a:lnTo>
                      <a:pt x="1164" y="1420"/>
                    </a:lnTo>
                    <a:lnTo>
                      <a:pt x="1164" y="1422"/>
                    </a:lnTo>
                    <a:lnTo>
                      <a:pt x="1164" y="1420"/>
                    </a:lnTo>
                    <a:lnTo>
                      <a:pt x="1166" y="1420"/>
                    </a:lnTo>
                    <a:close/>
                    <a:moveTo>
                      <a:pt x="1247" y="968"/>
                    </a:moveTo>
                    <a:lnTo>
                      <a:pt x="1247" y="969"/>
                    </a:lnTo>
                    <a:lnTo>
                      <a:pt x="1247" y="971"/>
                    </a:lnTo>
                    <a:lnTo>
                      <a:pt x="1247" y="973"/>
                    </a:lnTo>
                    <a:lnTo>
                      <a:pt x="1246" y="973"/>
                    </a:lnTo>
                    <a:lnTo>
                      <a:pt x="1246" y="971"/>
                    </a:lnTo>
                    <a:lnTo>
                      <a:pt x="1244" y="971"/>
                    </a:lnTo>
                    <a:lnTo>
                      <a:pt x="1242" y="971"/>
                    </a:lnTo>
                    <a:lnTo>
                      <a:pt x="1244" y="969"/>
                    </a:lnTo>
                    <a:lnTo>
                      <a:pt x="1244" y="968"/>
                    </a:lnTo>
                    <a:lnTo>
                      <a:pt x="1246" y="968"/>
                    </a:lnTo>
                    <a:lnTo>
                      <a:pt x="1244" y="969"/>
                    </a:lnTo>
                    <a:lnTo>
                      <a:pt x="1246" y="968"/>
                    </a:lnTo>
                    <a:lnTo>
                      <a:pt x="1247" y="968"/>
                    </a:lnTo>
                    <a:close/>
                    <a:moveTo>
                      <a:pt x="1188" y="1099"/>
                    </a:moveTo>
                    <a:lnTo>
                      <a:pt x="1186" y="1100"/>
                    </a:lnTo>
                    <a:lnTo>
                      <a:pt x="1186" y="1102"/>
                    </a:lnTo>
                    <a:lnTo>
                      <a:pt x="1185" y="1102"/>
                    </a:lnTo>
                    <a:lnTo>
                      <a:pt x="1183" y="1102"/>
                    </a:lnTo>
                    <a:lnTo>
                      <a:pt x="1181" y="1100"/>
                    </a:lnTo>
                    <a:lnTo>
                      <a:pt x="1181" y="1099"/>
                    </a:lnTo>
                    <a:lnTo>
                      <a:pt x="1183" y="1100"/>
                    </a:lnTo>
                    <a:lnTo>
                      <a:pt x="1185" y="1100"/>
                    </a:lnTo>
                    <a:lnTo>
                      <a:pt x="1186" y="1099"/>
                    </a:lnTo>
                    <a:lnTo>
                      <a:pt x="1186" y="1100"/>
                    </a:lnTo>
                    <a:lnTo>
                      <a:pt x="1186" y="1099"/>
                    </a:lnTo>
                    <a:lnTo>
                      <a:pt x="1188" y="1099"/>
                    </a:lnTo>
                    <a:close/>
                    <a:moveTo>
                      <a:pt x="1169" y="1133"/>
                    </a:moveTo>
                    <a:lnTo>
                      <a:pt x="1169" y="1134"/>
                    </a:lnTo>
                    <a:lnTo>
                      <a:pt x="1171" y="1134"/>
                    </a:lnTo>
                    <a:lnTo>
                      <a:pt x="1169" y="1134"/>
                    </a:lnTo>
                    <a:lnTo>
                      <a:pt x="1168" y="1134"/>
                    </a:lnTo>
                    <a:lnTo>
                      <a:pt x="1169" y="1134"/>
                    </a:lnTo>
                    <a:lnTo>
                      <a:pt x="1171" y="1134"/>
                    </a:lnTo>
                    <a:lnTo>
                      <a:pt x="1171" y="1136"/>
                    </a:lnTo>
                    <a:lnTo>
                      <a:pt x="1171" y="1138"/>
                    </a:lnTo>
                    <a:lnTo>
                      <a:pt x="1171" y="1140"/>
                    </a:lnTo>
                    <a:lnTo>
                      <a:pt x="1171" y="1138"/>
                    </a:lnTo>
                    <a:lnTo>
                      <a:pt x="1169" y="1138"/>
                    </a:lnTo>
                    <a:lnTo>
                      <a:pt x="1169" y="1136"/>
                    </a:lnTo>
                    <a:lnTo>
                      <a:pt x="1168" y="1136"/>
                    </a:lnTo>
                    <a:lnTo>
                      <a:pt x="1168" y="1134"/>
                    </a:lnTo>
                    <a:lnTo>
                      <a:pt x="1168" y="1133"/>
                    </a:lnTo>
                    <a:lnTo>
                      <a:pt x="1169" y="1133"/>
                    </a:lnTo>
                    <a:close/>
                    <a:moveTo>
                      <a:pt x="1185" y="1240"/>
                    </a:moveTo>
                    <a:lnTo>
                      <a:pt x="1185" y="1242"/>
                    </a:lnTo>
                    <a:lnTo>
                      <a:pt x="1183" y="1242"/>
                    </a:lnTo>
                    <a:lnTo>
                      <a:pt x="1183" y="1243"/>
                    </a:lnTo>
                    <a:lnTo>
                      <a:pt x="1181" y="1243"/>
                    </a:lnTo>
                    <a:lnTo>
                      <a:pt x="1181" y="1245"/>
                    </a:lnTo>
                    <a:lnTo>
                      <a:pt x="1179" y="1245"/>
                    </a:lnTo>
                    <a:lnTo>
                      <a:pt x="1179" y="1243"/>
                    </a:lnTo>
                    <a:lnTo>
                      <a:pt x="1181" y="1243"/>
                    </a:lnTo>
                    <a:lnTo>
                      <a:pt x="1181" y="1242"/>
                    </a:lnTo>
                    <a:lnTo>
                      <a:pt x="1181" y="1240"/>
                    </a:lnTo>
                    <a:lnTo>
                      <a:pt x="1183" y="1240"/>
                    </a:lnTo>
                    <a:lnTo>
                      <a:pt x="1185" y="1240"/>
                    </a:lnTo>
                    <a:close/>
                    <a:moveTo>
                      <a:pt x="1205" y="1026"/>
                    </a:moveTo>
                    <a:lnTo>
                      <a:pt x="1207" y="1026"/>
                    </a:lnTo>
                    <a:lnTo>
                      <a:pt x="1207" y="1027"/>
                    </a:lnTo>
                    <a:lnTo>
                      <a:pt x="1208" y="1027"/>
                    </a:lnTo>
                    <a:lnTo>
                      <a:pt x="1207" y="1027"/>
                    </a:lnTo>
                    <a:lnTo>
                      <a:pt x="1207" y="1029"/>
                    </a:lnTo>
                    <a:lnTo>
                      <a:pt x="1205" y="1029"/>
                    </a:lnTo>
                    <a:lnTo>
                      <a:pt x="1205" y="1027"/>
                    </a:lnTo>
                    <a:lnTo>
                      <a:pt x="1203" y="1029"/>
                    </a:lnTo>
                    <a:lnTo>
                      <a:pt x="1203" y="1027"/>
                    </a:lnTo>
                    <a:lnTo>
                      <a:pt x="1203" y="1026"/>
                    </a:lnTo>
                    <a:lnTo>
                      <a:pt x="1205" y="1026"/>
                    </a:lnTo>
                    <a:close/>
                    <a:moveTo>
                      <a:pt x="1154" y="1282"/>
                    </a:moveTo>
                    <a:lnTo>
                      <a:pt x="1156" y="1284"/>
                    </a:lnTo>
                    <a:lnTo>
                      <a:pt x="1156" y="1286"/>
                    </a:lnTo>
                    <a:lnTo>
                      <a:pt x="1156" y="1288"/>
                    </a:lnTo>
                    <a:lnTo>
                      <a:pt x="1154" y="1288"/>
                    </a:lnTo>
                    <a:lnTo>
                      <a:pt x="1154" y="1286"/>
                    </a:lnTo>
                    <a:lnTo>
                      <a:pt x="1154" y="1288"/>
                    </a:lnTo>
                    <a:lnTo>
                      <a:pt x="1152" y="1288"/>
                    </a:lnTo>
                    <a:lnTo>
                      <a:pt x="1154" y="1286"/>
                    </a:lnTo>
                    <a:lnTo>
                      <a:pt x="1152" y="1286"/>
                    </a:lnTo>
                    <a:lnTo>
                      <a:pt x="1152" y="1288"/>
                    </a:lnTo>
                    <a:lnTo>
                      <a:pt x="1151" y="1288"/>
                    </a:lnTo>
                    <a:lnTo>
                      <a:pt x="1152" y="1286"/>
                    </a:lnTo>
                    <a:lnTo>
                      <a:pt x="1152" y="1284"/>
                    </a:lnTo>
                    <a:lnTo>
                      <a:pt x="1154" y="1284"/>
                    </a:lnTo>
                    <a:lnTo>
                      <a:pt x="1154" y="1282"/>
                    </a:lnTo>
                    <a:close/>
                    <a:moveTo>
                      <a:pt x="1193" y="1071"/>
                    </a:moveTo>
                    <a:lnTo>
                      <a:pt x="1193" y="1073"/>
                    </a:lnTo>
                    <a:lnTo>
                      <a:pt x="1193" y="1075"/>
                    </a:lnTo>
                    <a:lnTo>
                      <a:pt x="1193" y="1077"/>
                    </a:lnTo>
                    <a:lnTo>
                      <a:pt x="1191" y="1077"/>
                    </a:lnTo>
                    <a:lnTo>
                      <a:pt x="1191" y="1075"/>
                    </a:lnTo>
                    <a:lnTo>
                      <a:pt x="1190" y="1075"/>
                    </a:lnTo>
                    <a:lnTo>
                      <a:pt x="1191" y="1073"/>
                    </a:lnTo>
                    <a:lnTo>
                      <a:pt x="1191" y="1071"/>
                    </a:lnTo>
                    <a:lnTo>
                      <a:pt x="1193" y="1071"/>
                    </a:lnTo>
                    <a:close/>
                    <a:moveTo>
                      <a:pt x="1176" y="1381"/>
                    </a:moveTo>
                    <a:lnTo>
                      <a:pt x="1176" y="1383"/>
                    </a:lnTo>
                    <a:lnTo>
                      <a:pt x="1176" y="1384"/>
                    </a:lnTo>
                    <a:lnTo>
                      <a:pt x="1176" y="1386"/>
                    </a:lnTo>
                    <a:lnTo>
                      <a:pt x="1174" y="1386"/>
                    </a:lnTo>
                    <a:lnTo>
                      <a:pt x="1173" y="1386"/>
                    </a:lnTo>
                    <a:lnTo>
                      <a:pt x="1174" y="1386"/>
                    </a:lnTo>
                    <a:lnTo>
                      <a:pt x="1174" y="1384"/>
                    </a:lnTo>
                    <a:lnTo>
                      <a:pt x="1174" y="1383"/>
                    </a:lnTo>
                    <a:lnTo>
                      <a:pt x="1173" y="1384"/>
                    </a:lnTo>
                    <a:lnTo>
                      <a:pt x="1174" y="1383"/>
                    </a:lnTo>
                    <a:lnTo>
                      <a:pt x="1173" y="1383"/>
                    </a:lnTo>
                    <a:lnTo>
                      <a:pt x="1174" y="1381"/>
                    </a:lnTo>
                    <a:lnTo>
                      <a:pt x="1176" y="1381"/>
                    </a:lnTo>
                    <a:close/>
                    <a:moveTo>
                      <a:pt x="1253" y="1597"/>
                    </a:moveTo>
                    <a:lnTo>
                      <a:pt x="1254" y="1597"/>
                    </a:lnTo>
                    <a:lnTo>
                      <a:pt x="1254" y="1599"/>
                    </a:lnTo>
                    <a:lnTo>
                      <a:pt x="1256" y="1597"/>
                    </a:lnTo>
                    <a:lnTo>
                      <a:pt x="1254" y="1599"/>
                    </a:lnTo>
                    <a:lnTo>
                      <a:pt x="1256" y="1599"/>
                    </a:lnTo>
                    <a:lnTo>
                      <a:pt x="1256" y="1600"/>
                    </a:lnTo>
                    <a:lnTo>
                      <a:pt x="1254" y="1602"/>
                    </a:lnTo>
                    <a:lnTo>
                      <a:pt x="1254" y="1600"/>
                    </a:lnTo>
                    <a:lnTo>
                      <a:pt x="1254" y="1599"/>
                    </a:lnTo>
                    <a:lnTo>
                      <a:pt x="1254" y="1600"/>
                    </a:lnTo>
                    <a:lnTo>
                      <a:pt x="1253" y="1602"/>
                    </a:lnTo>
                    <a:lnTo>
                      <a:pt x="1253" y="1600"/>
                    </a:lnTo>
                    <a:lnTo>
                      <a:pt x="1251" y="1599"/>
                    </a:lnTo>
                    <a:lnTo>
                      <a:pt x="1251" y="1597"/>
                    </a:lnTo>
                    <a:lnTo>
                      <a:pt x="1253" y="1597"/>
                    </a:lnTo>
                    <a:close/>
                    <a:moveTo>
                      <a:pt x="1414" y="1669"/>
                    </a:moveTo>
                    <a:lnTo>
                      <a:pt x="1414" y="1670"/>
                    </a:lnTo>
                    <a:lnTo>
                      <a:pt x="1412" y="1670"/>
                    </a:lnTo>
                    <a:lnTo>
                      <a:pt x="1412" y="1672"/>
                    </a:lnTo>
                    <a:lnTo>
                      <a:pt x="1412" y="1674"/>
                    </a:lnTo>
                    <a:lnTo>
                      <a:pt x="1412" y="1672"/>
                    </a:lnTo>
                    <a:lnTo>
                      <a:pt x="1411" y="1674"/>
                    </a:lnTo>
                    <a:lnTo>
                      <a:pt x="1409" y="1674"/>
                    </a:lnTo>
                    <a:lnTo>
                      <a:pt x="1411" y="1674"/>
                    </a:lnTo>
                    <a:lnTo>
                      <a:pt x="1409" y="1672"/>
                    </a:lnTo>
                    <a:lnTo>
                      <a:pt x="1411" y="1672"/>
                    </a:lnTo>
                    <a:lnTo>
                      <a:pt x="1411" y="1670"/>
                    </a:lnTo>
                    <a:lnTo>
                      <a:pt x="1412" y="1670"/>
                    </a:lnTo>
                    <a:lnTo>
                      <a:pt x="1411" y="1670"/>
                    </a:lnTo>
                    <a:lnTo>
                      <a:pt x="1411" y="1669"/>
                    </a:lnTo>
                    <a:lnTo>
                      <a:pt x="1412" y="1667"/>
                    </a:lnTo>
                    <a:lnTo>
                      <a:pt x="1412" y="1669"/>
                    </a:lnTo>
                    <a:lnTo>
                      <a:pt x="1414" y="1669"/>
                    </a:lnTo>
                    <a:close/>
                    <a:moveTo>
                      <a:pt x="1205" y="1049"/>
                    </a:moveTo>
                    <a:lnTo>
                      <a:pt x="1205" y="1051"/>
                    </a:lnTo>
                    <a:lnTo>
                      <a:pt x="1205" y="1053"/>
                    </a:lnTo>
                    <a:lnTo>
                      <a:pt x="1205" y="1051"/>
                    </a:lnTo>
                    <a:lnTo>
                      <a:pt x="1205" y="1053"/>
                    </a:lnTo>
                    <a:lnTo>
                      <a:pt x="1203" y="1053"/>
                    </a:lnTo>
                    <a:lnTo>
                      <a:pt x="1202" y="1053"/>
                    </a:lnTo>
                    <a:lnTo>
                      <a:pt x="1202" y="1051"/>
                    </a:lnTo>
                    <a:lnTo>
                      <a:pt x="1200" y="1051"/>
                    </a:lnTo>
                    <a:lnTo>
                      <a:pt x="1202" y="1049"/>
                    </a:lnTo>
                    <a:lnTo>
                      <a:pt x="1202" y="1051"/>
                    </a:lnTo>
                    <a:lnTo>
                      <a:pt x="1203" y="1049"/>
                    </a:lnTo>
                    <a:lnTo>
                      <a:pt x="1203" y="1051"/>
                    </a:lnTo>
                    <a:lnTo>
                      <a:pt x="1203" y="1049"/>
                    </a:lnTo>
                    <a:lnTo>
                      <a:pt x="1205" y="1049"/>
                    </a:lnTo>
                    <a:close/>
                    <a:moveTo>
                      <a:pt x="1217" y="1551"/>
                    </a:moveTo>
                    <a:lnTo>
                      <a:pt x="1219" y="1551"/>
                    </a:lnTo>
                    <a:lnTo>
                      <a:pt x="1220" y="1553"/>
                    </a:lnTo>
                    <a:lnTo>
                      <a:pt x="1222" y="1555"/>
                    </a:lnTo>
                    <a:lnTo>
                      <a:pt x="1220" y="1555"/>
                    </a:lnTo>
                    <a:lnTo>
                      <a:pt x="1222" y="1555"/>
                    </a:lnTo>
                    <a:lnTo>
                      <a:pt x="1220" y="1555"/>
                    </a:lnTo>
                    <a:lnTo>
                      <a:pt x="1219" y="1553"/>
                    </a:lnTo>
                    <a:lnTo>
                      <a:pt x="1217" y="1551"/>
                    </a:lnTo>
                    <a:lnTo>
                      <a:pt x="1219" y="1553"/>
                    </a:lnTo>
                    <a:lnTo>
                      <a:pt x="1217" y="1553"/>
                    </a:lnTo>
                    <a:lnTo>
                      <a:pt x="1215" y="1553"/>
                    </a:lnTo>
                    <a:lnTo>
                      <a:pt x="1215" y="1555"/>
                    </a:lnTo>
                    <a:lnTo>
                      <a:pt x="1213" y="1553"/>
                    </a:lnTo>
                    <a:lnTo>
                      <a:pt x="1215" y="1553"/>
                    </a:lnTo>
                    <a:lnTo>
                      <a:pt x="1215" y="1551"/>
                    </a:lnTo>
                    <a:lnTo>
                      <a:pt x="1217" y="1551"/>
                    </a:lnTo>
                    <a:close/>
                    <a:moveTo>
                      <a:pt x="1361" y="1653"/>
                    </a:moveTo>
                    <a:lnTo>
                      <a:pt x="1361" y="1655"/>
                    </a:lnTo>
                    <a:lnTo>
                      <a:pt x="1363" y="1655"/>
                    </a:lnTo>
                    <a:lnTo>
                      <a:pt x="1363" y="1657"/>
                    </a:lnTo>
                    <a:lnTo>
                      <a:pt x="1361" y="1657"/>
                    </a:lnTo>
                    <a:lnTo>
                      <a:pt x="1363" y="1657"/>
                    </a:lnTo>
                    <a:lnTo>
                      <a:pt x="1365" y="1657"/>
                    </a:lnTo>
                    <a:lnTo>
                      <a:pt x="1365" y="1658"/>
                    </a:lnTo>
                    <a:lnTo>
                      <a:pt x="1366" y="1658"/>
                    </a:lnTo>
                    <a:lnTo>
                      <a:pt x="1366" y="1660"/>
                    </a:lnTo>
                    <a:lnTo>
                      <a:pt x="1365" y="1660"/>
                    </a:lnTo>
                    <a:lnTo>
                      <a:pt x="1365" y="1658"/>
                    </a:lnTo>
                    <a:lnTo>
                      <a:pt x="1363" y="1658"/>
                    </a:lnTo>
                    <a:lnTo>
                      <a:pt x="1363" y="1657"/>
                    </a:lnTo>
                    <a:lnTo>
                      <a:pt x="1361" y="1657"/>
                    </a:lnTo>
                    <a:lnTo>
                      <a:pt x="1361" y="1655"/>
                    </a:lnTo>
                    <a:lnTo>
                      <a:pt x="1360" y="1653"/>
                    </a:lnTo>
                    <a:lnTo>
                      <a:pt x="1358" y="1653"/>
                    </a:lnTo>
                    <a:lnTo>
                      <a:pt x="1360" y="1652"/>
                    </a:lnTo>
                    <a:lnTo>
                      <a:pt x="1361" y="1653"/>
                    </a:lnTo>
                    <a:close/>
                    <a:moveTo>
                      <a:pt x="1171" y="1247"/>
                    </a:moveTo>
                    <a:lnTo>
                      <a:pt x="1173" y="1248"/>
                    </a:lnTo>
                    <a:lnTo>
                      <a:pt x="1173" y="1250"/>
                    </a:lnTo>
                    <a:lnTo>
                      <a:pt x="1173" y="1252"/>
                    </a:lnTo>
                    <a:lnTo>
                      <a:pt x="1173" y="1253"/>
                    </a:lnTo>
                    <a:lnTo>
                      <a:pt x="1171" y="1252"/>
                    </a:lnTo>
                    <a:lnTo>
                      <a:pt x="1173" y="1253"/>
                    </a:lnTo>
                    <a:lnTo>
                      <a:pt x="1173" y="1252"/>
                    </a:lnTo>
                    <a:lnTo>
                      <a:pt x="1171" y="1252"/>
                    </a:lnTo>
                    <a:lnTo>
                      <a:pt x="1171" y="1250"/>
                    </a:lnTo>
                    <a:lnTo>
                      <a:pt x="1171" y="1248"/>
                    </a:lnTo>
                    <a:lnTo>
                      <a:pt x="1171" y="1247"/>
                    </a:lnTo>
                    <a:close/>
                    <a:moveTo>
                      <a:pt x="1370" y="1646"/>
                    </a:moveTo>
                    <a:lnTo>
                      <a:pt x="1370" y="1648"/>
                    </a:lnTo>
                    <a:lnTo>
                      <a:pt x="1368" y="1650"/>
                    </a:lnTo>
                    <a:lnTo>
                      <a:pt x="1370" y="1650"/>
                    </a:lnTo>
                    <a:lnTo>
                      <a:pt x="1368" y="1652"/>
                    </a:lnTo>
                    <a:lnTo>
                      <a:pt x="1368" y="1653"/>
                    </a:lnTo>
                    <a:lnTo>
                      <a:pt x="1366" y="1653"/>
                    </a:lnTo>
                    <a:lnTo>
                      <a:pt x="1368" y="1653"/>
                    </a:lnTo>
                    <a:lnTo>
                      <a:pt x="1366" y="1653"/>
                    </a:lnTo>
                    <a:lnTo>
                      <a:pt x="1366" y="1652"/>
                    </a:lnTo>
                    <a:lnTo>
                      <a:pt x="1366" y="1650"/>
                    </a:lnTo>
                    <a:lnTo>
                      <a:pt x="1368" y="1648"/>
                    </a:lnTo>
                    <a:lnTo>
                      <a:pt x="1368" y="1646"/>
                    </a:lnTo>
                    <a:lnTo>
                      <a:pt x="1370" y="1646"/>
                    </a:lnTo>
                    <a:close/>
                    <a:moveTo>
                      <a:pt x="1346" y="1658"/>
                    </a:moveTo>
                    <a:lnTo>
                      <a:pt x="1348" y="1658"/>
                    </a:lnTo>
                    <a:lnTo>
                      <a:pt x="1348" y="1660"/>
                    </a:lnTo>
                    <a:lnTo>
                      <a:pt x="1349" y="1660"/>
                    </a:lnTo>
                    <a:lnTo>
                      <a:pt x="1349" y="1662"/>
                    </a:lnTo>
                    <a:lnTo>
                      <a:pt x="1348" y="1663"/>
                    </a:lnTo>
                    <a:lnTo>
                      <a:pt x="1348" y="1662"/>
                    </a:lnTo>
                    <a:lnTo>
                      <a:pt x="1348" y="1660"/>
                    </a:lnTo>
                    <a:lnTo>
                      <a:pt x="1346" y="1660"/>
                    </a:lnTo>
                    <a:lnTo>
                      <a:pt x="1344" y="1660"/>
                    </a:lnTo>
                    <a:lnTo>
                      <a:pt x="1346" y="1658"/>
                    </a:lnTo>
                    <a:lnTo>
                      <a:pt x="1344" y="1658"/>
                    </a:lnTo>
                    <a:lnTo>
                      <a:pt x="1344" y="1657"/>
                    </a:lnTo>
                    <a:lnTo>
                      <a:pt x="1346" y="1658"/>
                    </a:lnTo>
                    <a:close/>
                    <a:moveTo>
                      <a:pt x="1179" y="1140"/>
                    </a:moveTo>
                    <a:lnTo>
                      <a:pt x="1179" y="1141"/>
                    </a:lnTo>
                    <a:lnTo>
                      <a:pt x="1181" y="1141"/>
                    </a:lnTo>
                    <a:lnTo>
                      <a:pt x="1181" y="1143"/>
                    </a:lnTo>
                    <a:lnTo>
                      <a:pt x="1179" y="1145"/>
                    </a:lnTo>
                    <a:lnTo>
                      <a:pt x="1179" y="1143"/>
                    </a:lnTo>
                    <a:lnTo>
                      <a:pt x="1178" y="1143"/>
                    </a:lnTo>
                    <a:lnTo>
                      <a:pt x="1176" y="1143"/>
                    </a:lnTo>
                    <a:lnTo>
                      <a:pt x="1178" y="1143"/>
                    </a:lnTo>
                    <a:lnTo>
                      <a:pt x="1178" y="1141"/>
                    </a:lnTo>
                    <a:lnTo>
                      <a:pt x="1178" y="1140"/>
                    </a:lnTo>
                    <a:lnTo>
                      <a:pt x="1179" y="1140"/>
                    </a:lnTo>
                    <a:close/>
                    <a:moveTo>
                      <a:pt x="1205" y="1453"/>
                    </a:moveTo>
                    <a:lnTo>
                      <a:pt x="1205" y="1454"/>
                    </a:lnTo>
                    <a:lnTo>
                      <a:pt x="1207" y="1454"/>
                    </a:lnTo>
                    <a:lnTo>
                      <a:pt x="1207" y="1456"/>
                    </a:lnTo>
                    <a:lnTo>
                      <a:pt x="1207" y="1458"/>
                    </a:lnTo>
                    <a:lnTo>
                      <a:pt x="1207" y="1459"/>
                    </a:lnTo>
                    <a:lnTo>
                      <a:pt x="1205" y="1458"/>
                    </a:lnTo>
                    <a:lnTo>
                      <a:pt x="1205" y="1456"/>
                    </a:lnTo>
                    <a:lnTo>
                      <a:pt x="1203" y="1456"/>
                    </a:lnTo>
                    <a:lnTo>
                      <a:pt x="1203" y="1454"/>
                    </a:lnTo>
                    <a:lnTo>
                      <a:pt x="1203" y="1453"/>
                    </a:lnTo>
                    <a:lnTo>
                      <a:pt x="1205" y="1453"/>
                    </a:lnTo>
                    <a:close/>
                    <a:moveTo>
                      <a:pt x="1429" y="1680"/>
                    </a:moveTo>
                    <a:lnTo>
                      <a:pt x="1429" y="1682"/>
                    </a:lnTo>
                    <a:lnTo>
                      <a:pt x="1428" y="1682"/>
                    </a:lnTo>
                    <a:lnTo>
                      <a:pt x="1429" y="1684"/>
                    </a:lnTo>
                    <a:lnTo>
                      <a:pt x="1429" y="1686"/>
                    </a:lnTo>
                    <a:lnTo>
                      <a:pt x="1431" y="1686"/>
                    </a:lnTo>
                    <a:lnTo>
                      <a:pt x="1429" y="1687"/>
                    </a:lnTo>
                    <a:lnTo>
                      <a:pt x="1429" y="1686"/>
                    </a:lnTo>
                    <a:lnTo>
                      <a:pt x="1428" y="1686"/>
                    </a:lnTo>
                    <a:lnTo>
                      <a:pt x="1426" y="1686"/>
                    </a:lnTo>
                    <a:lnTo>
                      <a:pt x="1426" y="1684"/>
                    </a:lnTo>
                    <a:lnTo>
                      <a:pt x="1428" y="1682"/>
                    </a:lnTo>
                    <a:lnTo>
                      <a:pt x="1429" y="1680"/>
                    </a:lnTo>
                    <a:close/>
                    <a:moveTo>
                      <a:pt x="1186" y="1073"/>
                    </a:moveTo>
                    <a:lnTo>
                      <a:pt x="1188" y="1073"/>
                    </a:lnTo>
                    <a:lnTo>
                      <a:pt x="1188" y="1075"/>
                    </a:lnTo>
                    <a:lnTo>
                      <a:pt x="1186" y="1075"/>
                    </a:lnTo>
                    <a:lnTo>
                      <a:pt x="1185" y="1075"/>
                    </a:lnTo>
                    <a:lnTo>
                      <a:pt x="1183" y="1075"/>
                    </a:lnTo>
                    <a:lnTo>
                      <a:pt x="1183" y="1077"/>
                    </a:lnTo>
                    <a:lnTo>
                      <a:pt x="1181" y="1075"/>
                    </a:lnTo>
                    <a:lnTo>
                      <a:pt x="1183" y="1075"/>
                    </a:lnTo>
                    <a:lnTo>
                      <a:pt x="1183" y="1073"/>
                    </a:lnTo>
                    <a:lnTo>
                      <a:pt x="1183" y="1075"/>
                    </a:lnTo>
                    <a:lnTo>
                      <a:pt x="1185" y="1075"/>
                    </a:lnTo>
                    <a:lnTo>
                      <a:pt x="1183" y="1073"/>
                    </a:lnTo>
                    <a:lnTo>
                      <a:pt x="1185" y="1073"/>
                    </a:lnTo>
                    <a:lnTo>
                      <a:pt x="1185" y="1071"/>
                    </a:lnTo>
                    <a:lnTo>
                      <a:pt x="1186" y="1073"/>
                    </a:lnTo>
                    <a:close/>
                    <a:moveTo>
                      <a:pt x="1202" y="1485"/>
                    </a:moveTo>
                    <a:lnTo>
                      <a:pt x="1202" y="1487"/>
                    </a:lnTo>
                    <a:lnTo>
                      <a:pt x="1200" y="1487"/>
                    </a:lnTo>
                    <a:lnTo>
                      <a:pt x="1200" y="1488"/>
                    </a:lnTo>
                    <a:lnTo>
                      <a:pt x="1198" y="1488"/>
                    </a:lnTo>
                    <a:lnTo>
                      <a:pt x="1196" y="1488"/>
                    </a:lnTo>
                    <a:lnTo>
                      <a:pt x="1198" y="1487"/>
                    </a:lnTo>
                    <a:lnTo>
                      <a:pt x="1198" y="1485"/>
                    </a:lnTo>
                    <a:lnTo>
                      <a:pt x="1200" y="1485"/>
                    </a:lnTo>
                    <a:lnTo>
                      <a:pt x="1202" y="1485"/>
                    </a:lnTo>
                    <a:close/>
                    <a:moveTo>
                      <a:pt x="1179" y="1242"/>
                    </a:moveTo>
                    <a:lnTo>
                      <a:pt x="1179" y="1243"/>
                    </a:lnTo>
                    <a:lnTo>
                      <a:pt x="1178" y="1243"/>
                    </a:lnTo>
                    <a:lnTo>
                      <a:pt x="1178" y="1245"/>
                    </a:lnTo>
                    <a:lnTo>
                      <a:pt x="1176" y="1245"/>
                    </a:lnTo>
                    <a:lnTo>
                      <a:pt x="1176" y="1243"/>
                    </a:lnTo>
                    <a:lnTo>
                      <a:pt x="1176" y="1242"/>
                    </a:lnTo>
                    <a:lnTo>
                      <a:pt x="1178" y="1242"/>
                    </a:lnTo>
                    <a:lnTo>
                      <a:pt x="1179" y="1242"/>
                    </a:lnTo>
                    <a:close/>
                    <a:moveTo>
                      <a:pt x="1196" y="1526"/>
                    </a:moveTo>
                    <a:lnTo>
                      <a:pt x="1198" y="1526"/>
                    </a:lnTo>
                    <a:lnTo>
                      <a:pt x="1196" y="1527"/>
                    </a:lnTo>
                    <a:lnTo>
                      <a:pt x="1198" y="1527"/>
                    </a:lnTo>
                    <a:lnTo>
                      <a:pt x="1200" y="1529"/>
                    </a:lnTo>
                    <a:lnTo>
                      <a:pt x="1200" y="1531"/>
                    </a:lnTo>
                    <a:lnTo>
                      <a:pt x="1200" y="1529"/>
                    </a:lnTo>
                    <a:lnTo>
                      <a:pt x="1198" y="1529"/>
                    </a:lnTo>
                    <a:lnTo>
                      <a:pt x="1198" y="1527"/>
                    </a:lnTo>
                    <a:lnTo>
                      <a:pt x="1198" y="1529"/>
                    </a:lnTo>
                    <a:lnTo>
                      <a:pt x="1196" y="1529"/>
                    </a:lnTo>
                    <a:lnTo>
                      <a:pt x="1196" y="1527"/>
                    </a:lnTo>
                    <a:lnTo>
                      <a:pt x="1195" y="1527"/>
                    </a:lnTo>
                    <a:lnTo>
                      <a:pt x="1195" y="1529"/>
                    </a:lnTo>
                    <a:lnTo>
                      <a:pt x="1195" y="1527"/>
                    </a:lnTo>
                    <a:lnTo>
                      <a:pt x="1193" y="1526"/>
                    </a:lnTo>
                    <a:lnTo>
                      <a:pt x="1195" y="1526"/>
                    </a:lnTo>
                    <a:lnTo>
                      <a:pt x="1196" y="1526"/>
                    </a:lnTo>
                    <a:close/>
                    <a:moveTo>
                      <a:pt x="1166" y="1435"/>
                    </a:moveTo>
                    <a:lnTo>
                      <a:pt x="1166" y="1437"/>
                    </a:lnTo>
                    <a:lnTo>
                      <a:pt x="1164" y="1437"/>
                    </a:lnTo>
                    <a:lnTo>
                      <a:pt x="1166" y="1437"/>
                    </a:lnTo>
                    <a:lnTo>
                      <a:pt x="1164" y="1437"/>
                    </a:lnTo>
                    <a:lnTo>
                      <a:pt x="1164" y="1435"/>
                    </a:lnTo>
                    <a:lnTo>
                      <a:pt x="1164" y="1437"/>
                    </a:lnTo>
                    <a:lnTo>
                      <a:pt x="1162" y="1437"/>
                    </a:lnTo>
                    <a:lnTo>
                      <a:pt x="1162" y="1435"/>
                    </a:lnTo>
                    <a:lnTo>
                      <a:pt x="1162" y="1434"/>
                    </a:lnTo>
                    <a:lnTo>
                      <a:pt x="1164" y="1434"/>
                    </a:lnTo>
                    <a:lnTo>
                      <a:pt x="1166" y="1432"/>
                    </a:lnTo>
                    <a:lnTo>
                      <a:pt x="1166" y="1434"/>
                    </a:lnTo>
                    <a:lnTo>
                      <a:pt x="1166" y="1435"/>
                    </a:lnTo>
                    <a:close/>
                    <a:moveTo>
                      <a:pt x="1217" y="1107"/>
                    </a:moveTo>
                    <a:lnTo>
                      <a:pt x="1217" y="1109"/>
                    </a:lnTo>
                    <a:lnTo>
                      <a:pt x="1219" y="1111"/>
                    </a:lnTo>
                    <a:lnTo>
                      <a:pt x="1219" y="1112"/>
                    </a:lnTo>
                    <a:lnTo>
                      <a:pt x="1217" y="1112"/>
                    </a:lnTo>
                    <a:lnTo>
                      <a:pt x="1215" y="1111"/>
                    </a:lnTo>
                    <a:lnTo>
                      <a:pt x="1215" y="1109"/>
                    </a:lnTo>
                    <a:lnTo>
                      <a:pt x="1215" y="1111"/>
                    </a:lnTo>
                    <a:lnTo>
                      <a:pt x="1215" y="1109"/>
                    </a:lnTo>
                    <a:lnTo>
                      <a:pt x="1215" y="1107"/>
                    </a:lnTo>
                    <a:lnTo>
                      <a:pt x="1217" y="1107"/>
                    </a:lnTo>
                    <a:close/>
                    <a:moveTo>
                      <a:pt x="1202" y="1141"/>
                    </a:moveTo>
                    <a:lnTo>
                      <a:pt x="1203" y="1141"/>
                    </a:lnTo>
                    <a:lnTo>
                      <a:pt x="1203" y="1143"/>
                    </a:lnTo>
                    <a:lnTo>
                      <a:pt x="1205" y="1143"/>
                    </a:lnTo>
                    <a:lnTo>
                      <a:pt x="1203" y="1143"/>
                    </a:lnTo>
                    <a:lnTo>
                      <a:pt x="1203" y="1145"/>
                    </a:lnTo>
                    <a:lnTo>
                      <a:pt x="1202" y="1145"/>
                    </a:lnTo>
                    <a:lnTo>
                      <a:pt x="1200" y="1145"/>
                    </a:lnTo>
                    <a:lnTo>
                      <a:pt x="1202" y="1143"/>
                    </a:lnTo>
                    <a:lnTo>
                      <a:pt x="1200" y="1145"/>
                    </a:lnTo>
                    <a:lnTo>
                      <a:pt x="1200" y="1143"/>
                    </a:lnTo>
                    <a:lnTo>
                      <a:pt x="1202" y="1141"/>
                    </a:lnTo>
                    <a:close/>
                    <a:moveTo>
                      <a:pt x="1168" y="1407"/>
                    </a:moveTo>
                    <a:lnTo>
                      <a:pt x="1169" y="1407"/>
                    </a:lnTo>
                    <a:lnTo>
                      <a:pt x="1168" y="1408"/>
                    </a:lnTo>
                    <a:lnTo>
                      <a:pt x="1166" y="1408"/>
                    </a:lnTo>
                    <a:lnTo>
                      <a:pt x="1166" y="1410"/>
                    </a:lnTo>
                    <a:lnTo>
                      <a:pt x="1164" y="1412"/>
                    </a:lnTo>
                    <a:lnTo>
                      <a:pt x="1164" y="1410"/>
                    </a:lnTo>
                    <a:lnTo>
                      <a:pt x="1166" y="1410"/>
                    </a:lnTo>
                    <a:lnTo>
                      <a:pt x="1166" y="1408"/>
                    </a:lnTo>
                    <a:lnTo>
                      <a:pt x="1164" y="1408"/>
                    </a:lnTo>
                    <a:lnTo>
                      <a:pt x="1166" y="1408"/>
                    </a:lnTo>
                    <a:lnTo>
                      <a:pt x="1166" y="1407"/>
                    </a:lnTo>
                    <a:lnTo>
                      <a:pt x="1168" y="1407"/>
                    </a:lnTo>
                    <a:close/>
                    <a:moveTo>
                      <a:pt x="965" y="610"/>
                    </a:moveTo>
                    <a:lnTo>
                      <a:pt x="969" y="610"/>
                    </a:lnTo>
                    <a:lnTo>
                      <a:pt x="969" y="614"/>
                    </a:lnTo>
                    <a:lnTo>
                      <a:pt x="965" y="614"/>
                    </a:lnTo>
                    <a:lnTo>
                      <a:pt x="965" y="610"/>
                    </a:lnTo>
                    <a:close/>
                    <a:moveTo>
                      <a:pt x="1229" y="1071"/>
                    </a:moveTo>
                    <a:lnTo>
                      <a:pt x="1230" y="1071"/>
                    </a:lnTo>
                    <a:lnTo>
                      <a:pt x="1230" y="1073"/>
                    </a:lnTo>
                    <a:lnTo>
                      <a:pt x="1229" y="1073"/>
                    </a:lnTo>
                    <a:lnTo>
                      <a:pt x="1229" y="1075"/>
                    </a:lnTo>
                    <a:lnTo>
                      <a:pt x="1227" y="1075"/>
                    </a:lnTo>
                    <a:lnTo>
                      <a:pt x="1227" y="1073"/>
                    </a:lnTo>
                    <a:lnTo>
                      <a:pt x="1227" y="1075"/>
                    </a:lnTo>
                    <a:lnTo>
                      <a:pt x="1225" y="1075"/>
                    </a:lnTo>
                    <a:lnTo>
                      <a:pt x="1225" y="1073"/>
                    </a:lnTo>
                    <a:lnTo>
                      <a:pt x="1227" y="1073"/>
                    </a:lnTo>
                    <a:lnTo>
                      <a:pt x="1227" y="1071"/>
                    </a:lnTo>
                    <a:lnTo>
                      <a:pt x="1229" y="1071"/>
                    </a:lnTo>
                    <a:close/>
                    <a:moveTo>
                      <a:pt x="1174" y="1242"/>
                    </a:moveTo>
                    <a:lnTo>
                      <a:pt x="1174" y="1243"/>
                    </a:lnTo>
                    <a:lnTo>
                      <a:pt x="1176" y="1245"/>
                    </a:lnTo>
                    <a:lnTo>
                      <a:pt x="1174" y="1245"/>
                    </a:lnTo>
                    <a:lnTo>
                      <a:pt x="1173" y="1245"/>
                    </a:lnTo>
                    <a:lnTo>
                      <a:pt x="1174" y="1245"/>
                    </a:lnTo>
                    <a:lnTo>
                      <a:pt x="1173" y="1245"/>
                    </a:lnTo>
                    <a:lnTo>
                      <a:pt x="1173" y="1243"/>
                    </a:lnTo>
                    <a:lnTo>
                      <a:pt x="1173" y="1242"/>
                    </a:lnTo>
                    <a:lnTo>
                      <a:pt x="1174" y="1242"/>
                    </a:lnTo>
                    <a:close/>
                    <a:moveTo>
                      <a:pt x="1198" y="803"/>
                    </a:moveTo>
                    <a:lnTo>
                      <a:pt x="1200" y="803"/>
                    </a:lnTo>
                    <a:lnTo>
                      <a:pt x="1200" y="804"/>
                    </a:lnTo>
                    <a:lnTo>
                      <a:pt x="1202" y="804"/>
                    </a:lnTo>
                    <a:lnTo>
                      <a:pt x="1200" y="804"/>
                    </a:lnTo>
                    <a:lnTo>
                      <a:pt x="1202" y="804"/>
                    </a:lnTo>
                    <a:lnTo>
                      <a:pt x="1200" y="804"/>
                    </a:lnTo>
                    <a:lnTo>
                      <a:pt x="1200" y="806"/>
                    </a:lnTo>
                    <a:lnTo>
                      <a:pt x="1198" y="806"/>
                    </a:lnTo>
                    <a:lnTo>
                      <a:pt x="1198" y="804"/>
                    </a:lnTo>
                    <a:lnTo>
                      <a:pt x="1198" y="803"/>
                    </a:lnTo>
                    <a:lnTo>
                      <a:pt x="1198" y="801"/>
                    </a:lnTo>
                    <a:lnTo>
                      <a:pt x="1198" y="803"/>
                    </a:lnTo>
                    <a:close/>
                    <a:moveTo>
                      <a:pt x="1178" y="1453"/>
                    </a:moveTo>
                    <a:lnTo>
                      <a:pt x="1178" y="1454"/>
                    </a:lnTo>
                    <a:lnTo>
                      <a:pt x="1178" y="1456"/>
                    </a:lnTo>
                    <a:lnTo>
                      <a:pt x="1178" y="1454"/>
                    </a:lnTo>
                    <a:lnTo>
                      <a:pt x="1178" y="1456"/>
                    </a:lnTo>
                    <a:lnTo>
                      <a:pt x="1176" y="1458"/>
                    </a:lnTo>
                    <a:lnTo>
                      <a:pt x="1178" y="1458"/>
                    </a:lnTo>
                    <a:lnTo>
                      <a:pt x="1178" y="1456"/>
                    </a:lnTo>
                    <a:lnTo>
                      <a:pt x="1178" y="1458"/>
                    </a:lnTo>
                    <a:lnTo>
                      <a:pt x="1176" y="1458"/>
                    </a:lnTo>
                    <a:lnTo>
                      <a:pt x="1176" y="1459"/>
                    </a:lnTo>
                    <a:lnTo>
                      <a:pt x="1174" y="1459"/>
                    </a:lnTo>
                    <a:lnTo>
                      <a:pt x="1174" y="1458"/>
                    </a:lnTo>
                    <a:lnTo>
                      <a:pt x="1176" y="1458"/>
                    </a:lnTo>
                    <a:lnTo>
                      <a:pt x="1176" y="1456"/>
                    </a:lnTo>
                    <a:lnTo>
                      <a:pt x="1176" y="1454"/>
                    </a:lnTo>
                    <a:lnTo>
                      <a:pt x="1178" y="1454"/>
                    </a:lnTo>
                    <a:lnTo>
                      <a:pt x="1178" y="1453"/>
                    </a:lnTo>
                    <a:close/>
                    <a:moveTo>
                      <a:pt x="1208" y="1068"/>
                    </a:moveTo>
                    <a:lnTo>
                      <a:pt x="1208" y="1070"/>
                    </a:lnTo>
                    <a:lnTo>
                      <a:pt x="1207" y="1071"/>
                    </a:lnTo>
                    <a:lnTo>
                      <a:pt x="1205" y="1071"/>
                    </a:lnTo>
                    <a:lnTo>
                      <a:pt x="1205" y="1070"/>
                    </a:lnTo>
                    <a:lnTo>
                      <a:pt x="1205" y="1068"/>
                    </a:lnTo>
                    <a:lnTo>
                      <a:pt x="1207" y="1070"/>
                    </a:lnTo>
                    <a:lnTo>
                      <a:pt x="1207" y="1068"/>
                    </a:lnTo>
                    <a:lnTo>
                      <a:pt x="1208" y="1068"/>
                    </a:lnTo>
                    <a:close/>
                    <a:moveTo>
                      <a:pt x="1278" y="1614"/>
                    </a:moveTo>
                    <a:lnTo>
                      <a:pt x="1278" y="1616"/>
                    </a:lnTo>
                    <a:lnTo>
                      <a:pt x="1280" y="1616"/>
                    </a:lnTo>
                    <a:lnTo>
                      <a:pt x="1278" y="1618"/>
                    </a:lnTo>
                    <a:lnTo>
                      <a:pt x="1276" y="1619"/>
                    </a:lnTo>
                    <a:lnTo>
                      <a:pt x="1276" y="1618"/>
                    </a:lnTo>
                    <a:lnTo>
                      <a:pt x="1276" y="1616"/>
                    </a:lnTo>
                    <a:lnTo>
                      <a:pt x="1275" y="1616"/>
                    </a:lnTo>
                    <a:lnTo>
                      <a:pt x="1276" y="1616"/>
                    </a:lnTo>
                    <a:lnTo>
                      <a:pt x="1276" y="1614"/>
                    </a:lnTo>
                    <a:lnTo>
                      <a:pt x="1278" y="1614"/>
                    </a:lnTo>
                    <a:close/>
                    <a:moveTo>
                      <a:pt x="1174" y="1369"/>
                    </a:moveTo>
                    <a:lnTo>
                      <a:pt x="1176" y="1369"/>
                    </a:lnTo>
                    <a:lnTo>
                      <a:pt x="1178" y="1369"/>
                    </a:lnTo>
                    <a:lnTo>
                      <a:pt x="1176" y="1371"/>
                    </a:lnTo>
                    <a:lnTo>
                      <a:pt x="1176" y="1369"/>
                    </a:lnTo>
                    <a:lnTo>
                      <a:pt x="1176" y="1371"/>
                    </a:lnTo>
                    <a:lnTo>
                      <a:pt x="1174" y="1371"/>
                    </a:lnTo>
                    <a:lnTo>
                      <a:pt x="1173" y="1371"/>
                    </a:lnTo>
                    <a:lnTo>
                      <a:pt x="1171" y="1371"/>
                    </a:lnTo>
                    <a:lnTo>
                      <a:pt x="1171" y="1369"/>
                    </a:lnTo>
                    <a:lnTo>
                      <a:pt x="1173" y="1369"/>
                    </a:lnTo>
                    <a:lnTo>
                      <a:pt x="1174" y="1369"/>
                    </a:lnTo>
                    <a:lnTo>
                      <a:pt x="1174" y="1371"/>
                    </a:lnTo>
                    <a:lnTo>
                      <a:pt x="1174" y="1369"/>
                    </a:lnTo>
                    <a:close/>
                    <a:moveTo>
                      <a:pt x="1200" y="1054"/>
                    </a:moveTo>
                    <a:lnTo>
                      <a:pt x="1202" y="1054"/>
                    </a:lnTo>
                    <a:lnTo>
                      <a:pt x="1203" y="1054"/>
                    </a:lnTo>
                    <a:lnTo>
                      <a:pt x="1203" y="1056"/>
                    </a:lnTo>
                    <a:lnTo>
                      <a:pt x="1202" y="1056"/>
                    </a:lnTo>
                    <a:lnTo>
                      <a:pt x="1200" y="1056"/>
                    </a:lnTo>
                    <a:lnTo>
                      <a:pt x="1198" y="1054"/>
                    </a:lnTo>
                    <a:lnTo>
                      <a:pt x="1200" y="1054"/>
                    </a:lnTo>
                    <a:close/>
                    <a:moveTo>
                      <a:pt x="1292" y="1629"/>
                    </a:moveTo>
                    <a:lnTo>
                      <a:pt x="1292" y="1631"/>
                    </a:lnTo>
                    <a:lnTo>
                      <a:pt x="1290" y="1631"/>
                    </a:lnTo>
                    <a:lnTo>
                      <a:pt x="1290" y="1633"/>
                    </a:lnTo>
                    <a:lnTo>
                      <a:pt x="1290" y="1635"/>
                    </a:lnTo>
                    <a:lnTo>
                      <a:pt x="1290" y="1633"/>
                    </a:lnTo>
                    <a:lnTo>
                      <a:pt x="1288" y="1633"/>
                    </a:lnTo>
                    <a:lnTo>
                      <a:pt x="1288" y="1631"/>
                    </a:lnTo>
                    <a:lnTo>
                      <a:pt x="1288" y="1629"/>
                    </a:lnTo>
                    <a:lnTo>
                      <a:pt x="1290" y="1629"/>
                    </a:lnTo>
                    <a:lnTo>
                      <a:pt x="1292" y="1629"/>
                    </a:lnTo>
                    <a:close/>
                    <a:moveTo>
                      <a:pt x="1251" y="1502"/>
                    </a:moveTo>
                    <a:lnTo>
                      <a:pt x="1251" y="1504"/>
                    </a:lnTo>
                    <a:lnTo>
                      <a:pt x="1249" y="1505"/>
                    </a:lnTo>
                    <a:lnTo>
                      <a:pt x="1247" y="1505"/>
                    </a:lnTo>
                    <a:lnTo>
                      <a:pt x="1247" y="1504"/>
                    </a:lnTo>
                    <a:lnTo>
                      <a:pt x="1247" y="1505"/>
                    </a:lnTo>
                    <a:lnTo>
                      <a:pt x="1247" y="1504"/>
                    </a:lnTo>
                    <a:lnTo>
                      <a:pt x="1247" y="1502"/>
                    </a:lnTo>
                    <a:lnTo>
                      <a:pt x="1249" y="1502"/>
                    </a:lnTo>
                    <a:lnTo>
                      <a:pt x="1251" y="1502"/>
                    </a:lnTo>
                    <a:close/>
                    <a:moveTo>
                      <a:pt x="1258" y="1595"/>
                    </a:moveTo>
                    <a:lnTo>
                      <a:pt x="1259" y="1595"/>
                    </a:lnTo>
                    <a:lnTo>
                      <a:pt x="1259" y="1597"/>
                    </a:lnTo>
                    <a:lnTo>
                      <a:pt x="1259" y="1595"/>
                    </a:lnTo>
                    <a:lnTo>
                      <a:pt x="1259" y="1597"/>
                    </a:lnTo>
                    <a:lnTo>
                      <a:pt x="1261" y="1597"/>
                    </a:lnTo>
                    <a:lnTo>
                      <a:pt x="1259" y="1599"/>
                    </a:lnTo>
                    <a:lnTo>
                      <a:pt x="1259" y="1597"/>
                    </a:lnTo>
                    <a:lnTo>
                      <a:pt x="1259" y="1599"/>
                    </a:lnTo>
                    <a:lnTo>
                      <a:pt x="1258" y="1599"/>
                    </a:lnTo>
                    <a:lnTo>
                      <a:pt x="1258" y="1597"/>
                    </a:lnTo>
                    <a:lnTo>
                      <a:pt x="1258" y="1599"/>
                    </a:lnTo>
                    <a:lnTo>
                      <a:pt x="1258" y="1597"/>
                    </a:lnTo>
                    <a:lnTo>
                      <a:pt x="1259" y="1597"/>
                    </a:lnTo>
                    <a:lnTo>
                      <a:pt x="1258" y="1597"/>
                    </a:lnTo>
                    <a:lnTo>
                      <a:pt x="1256" y="1597"/>
                    </a:lnTo>
                    <a:lnTo>
                      <a:pt x="1256" y="1595"/>
                    </a:lnTo>
                    <a:lnTo>
                      <a:pt x="1258" y="1595"/>
                    </a:lnTo>
                    <a:close/>
                    <a:moveTo>
                      <a:pt x="1145" y="1325"/>
                    </a:moveTo>
                    <a:lnTo>
                      <a:pt x="1147" y="1327"/>
                    </a:lnTo>
                    <a:lnTo>
                      <a:pt x="1147" y="1328"/>
                    </a:lnTo>
                    <a:lnTo>
                      <a:pt x="1147" y="1330"/>
                    </a:lnTo>
                    <a:lnTo>
                      <a:pt x="1147" y="1328"/>
                    </a:lnTo>
                    <a:lnTo>
                      <a:pt x="1145" y="1328"/>
                    </a:lnTo>
                    <a:lnTo>
                      <a:pt x="1145" y="1327"/>
                    </a:lnTo>
                    <a:lnTo>
                      <a:pt x="1144" y="1327"/>
                    </a:lnTo>
                    <a:lnTo>
                      <a:pt x="1144" y="1325"/>
                    </a:lnTo>
                    <a:lnTo>
                      <a:pt x="1145" y="1325"/>
                    </a:lnTo>
                    <a:lnTo>
                      <a:pt x="1145" y="1327"/>
                    </a:lnTo>
                    <a:lnTo>
                      <a:pt x="1145" y="1325"/>
                    </a:lnTo>
                    <a:close/>
                    <a:moveTo>
                      <a:pt x="1310" y="1509"/>
                    </a:moveTo>
                    <a:lnTo>
                      <a:pt x="1309" y="1509"/>
                    </a:lnTo>
                    <a:lnTo>
                      <a:pt x="1309" y="1510"/>
                    </a:lnTo>
                    <a:lnTo>
                      <a:pt x="1307" y="1512"/>
                    </a:lnTo>
                    <a:lnTo>
                      <a:pt x="1305" y="1512"/>
                    </a:lnTo>
                    <a:lnTo>
                      <a:pt x="1305" y="1510"/>
                    </a:lnTo>
                    <a:lnTo>
                      <a:pt x="1307" y="1510"/>
                    </a:lnTo>
                    <a:lnTo>
                      <a:pt x="1309" y="1509"/>
                    </a:lnTo>
                    <a:lnTo>
                      <a:pt x="1310" y="1509"/>
                    </a:lnTo>
                    <a:close/>
                    <a:moveTo>
                      <a:pt x="1275" y="1590"/>
                    </a:moveTo>
                    <a:lnTo>
                      <a:pt x="1276" y="1592"/>
                    </a:lnTo>
                    <a:lnTo>
                      <a:pt x="1276" y="1594"/>
                    </a:lnTo>
                    <a:lnTo>
                      <a:pt x="1276" y="1592"/>
                    </a:lnTo>
                    <a:lnTo>
                      <a:pt x="1275" y="1594"/>
                    </a:lnTo>
                    <a:lnTo>
                      <a:pt x="1273" y="1592"/>
                    </a:lnTo>
                    <a:lnTo>
                      <a:pt x="1271" y="1592"/>
                    </a:lnTo>
                    <a:lnTo>
                      <a:pt x="1271" y="1590"/>
                    </a:lnTo>
                    <a:lnTo>
                      <a:pt x="1273" y="1590"/>
                    </a:lnTo>
                    <a:lnTo>
                      <a:pt x="1275" y="1590"/>
                    </a:lnTo>
                    <a:close/>
                    <a:moveTo>
                      <a:pt x="1390" y="1641"/>
                    </a:moveTo>
                    <a:lnTo>
                      <a:pt x="1390" y="1643"/>
                    </a:lnTo>
                    <a:lnTo>
                      <a:pt x="1392" y="1643"/>
                    </a:lnTo>
                    <a:lnTo>
                      <a:pt x="1392" y="1645"/>
                    </a:lnTo>
                    <a:lnTo>
                      <a:pt x="1390" y="1645"/>
                    </a:lnTo>
                    <a:lnTo>
                      <a:pt x="1389" y="1645"/>
                    </a:lnTo>
                    <a:lnTo>
                      <a:pt x="1389" y="1643"/>
                    </a:lnTo>
                    <a:lnTo>
                      <a:pt x="1387" y="1643"/>
                    </a:lnTo>
                    <a:lnTo>
                      <a:pt x="1389" y="1641"/>
                    </a:lnTo>
                    <a:lnTo>
                      <a:pt x="1390" y="1641"/>
                    </a:lnTo>
                    <a:close/>
                    <a:moveTo>
                      <a:pt x="1230" y="998"/>
                    </a:moveTo>
                    <a:lnTo>
                      <a:pt x="1232" y="998"/>
                    </a:lnTo>
                    <a:lnTo>
                      <a:pt x="1232" y="997"/>
                    </a:lnTo>
                    <a:lnTo>
                      <a:pt x="1232" y="998"/>
                    </a:lnTo>
                    <a:lnTo>
                      <a:pt x="1232" y="1000"/>
                    </a:lnTo>
                    <a:lnTo>
                      <a:pt x="1232" y="998"/>
                    </a:lnTo>
                    <a:lnTo>
                      <a:pt x="1230" y="998"/>
                    </a:lnTo>
                    <a:lnTo>
                      <a:pt x="1230" y="1000"/>
                    </a:lnTo>
                    <a:lnTo>
                      <a:pt x="1232" y="1000"/>
                    </a:lnTo>
                    <a:lnTo>
                      <a:pt x="1232" y="1002"/>
                    </a:lnTo>
                    <a:lnTo>
                      <a:pt x="1232" y="1000"/>
                    </a:lnTo>
                    <a:lnTo>
                      <a:pt x="1232" y="1002"/>
                    </a:lnTo>
                    <a:lnTo>
                      <a:pt x="1230" y="1002"/>
                    </a:lnTo>
                    <a:lnTo>
                      <a:pt x="1230" y="1000"/>
                    </a:lnTo>
                    <a:lnTo>
                      <a:pt x="1230" y="998"/>
                    </a:lnTo>
                    <a:lnTo>
                      <a:pt x="1229" y="998"/>
                    </a:lnTo>
                    <a:lnTo>
                      <a:pt x="1229" y="997"/>
                    </a:lnTo>
                    <a:lnTo>
                      <a:pt x="1230" y="997"/>
                    </a:lnTo>
                    <a:lnTo>
                      <a:pt x="1230" y="998"/>
                    </a:lnTo>
                    <a:close/>
                    <a:moveTo>
                      <a:pt x="1229" y="976"/>
                    </a:moveTo>
                    <a:lnTo>
                      <a:pt x="1229" y="978"/>
                    </a:lnTo>
                    <a:lnTo>
                      <a:pt x="1227" y="978"/>
                    </a:lnTo>
                    <a:lnTo>
                      <a:pt x="1227" y="980"/>
                    </a:lnTo>
                    <a:lnTo>
                      <a:pt x="1225" y="980"/>
                    </a:lnTo>
                    <a:lnTo>
                      <a:pt x="1225" y="978"/>
                    </a:lnTo>
                    <a:lnTo>
                      <a:pt x="1224" y="978"/>
                    </a:lnTo>
                    <a:lnTo>
                      <a:pt x="1225" y="976"/>
                    </a:lnTo>
                    <a:lnTo>
                      <a:pt x="1225" y="978"/>
                    </a:lnTo>
                    <a:lnTo>
                      <a:pt x="1227" y="978"/>
                    </a:lnTo>
                    <a:lnTo>
                      <a:pt x="1225" y="976"/>
                    </a:lnTo>
                    <a:lnTo>
                      <a:pt x="1225" y="978"/>
                    </a:lnTo>
                    <a:lnTo>
                      <a:pt x="1225" y="976"/>
                    </a:lnTo>
                    <a:lnTo>
                      <a:pt x="1227" y="976"/>
                    </a:lnTo>
                    <a:lnTo>
                      <a:pt x="1229" y="976"/>
                    </a:lnTo>
                    <a:close/>
                    <a:moveTo>
                      <a:pt x="1203" y="1138"/>
                    </a:moveTo>
                    <a:lnTo>
                      <a:pt x="1205" y="1138"/>
                    </a:lnTo>
                    <a:lnTo>
                      <a:pt x="1205" y="1140"/>
                    </a:lnTo>
                    <a:lnTo>
                      <a:pt x="1207" y="1140"/>
                    </a:lnTo>
                    <a:lnTo>
                      <a:pt x="1207" y="1141"/>
                    </a:lnTo>
                    <a:lnTo>
                      <a:pt x="1205" y="1141"/>
                    </a:lnTo>
                    <a:lnTo>
                      <a:pt x="1203" y="1140"/>
                    </a:lnTo>
                    <a:lnTo>
                      <a:pt x="1203" y="1138"/>
                    </a:lnTo>
                    <a:lnTo>
                      <a:pt x="1203" y="1136"/>
                    </a:lnTo>
                    <a:lnTo>
                      <a:pt x="1203" y="1138"/>
                    </a:lnTo>
                    <a:close/>
                    <a:moveTo>
                      <a:pt x="1200" y="1470"/>
                    </a:moveTo>
                    <a:lnTo>
                      <a:pt x="1200" y="1471"/>
                    </a:lnTo>
                    <a:lnTo>
                      <a:pt x="1202" y="1471"/>
                    </a:lnTo>
                    <a:lnTo>
                      <a:pt x="1203" y="1471"/>
                    </a:lnTo>
                    <a:lnTo>
                      <a:pt x="1203" y="1473"/>
                    </a:lnTo>
                    <a:lnTo>
                      <a:pt x="1203" y="1475"/>
                    </a:lnTo>
                    <a:lnTo>
                      <a:pt x="1202" y="1475"/>
                    </a:lnTo>
                    <a:lnTo>
                      <a:pt x="1202" y="1473"/>
                    </a:lnTo>
                    <a:lnTo>
                      <a:pt x="1200" y="1473"/>
                    </a:lnTo>
                    <a:lnTo>
                      <a:pt x="1200" y="1471"/>
                    </a:lnTo>
                    <a:lnTo>
                      <a:pt x="1198" y="1471"/>
                    </a:lnTo>
                    <a:lnTo>
                      <a:pt x="1198" y="1470"/>
                    </a:lnTo>
                    <a:lnTo>
                      <a:pt x="1200" y="1470"/>
                    </a:lnTo>
                    <a:close/>
                    <a:moveTo>
                      <a:pt x="1033" y="605"/>
                    </a:moveTo>
                    <a:lnTo>
                      <a:pt x="1033" y="607"/>
                    </a:lnTo>
                    <a:lnTo>
                      <a:pt x="1035" y="607"/>
                    </a:lnTo>
                    <a:lnTo>
                      <a:pt x="1035" y="609"/>
                    </a:lnTo>
                    <a:lnTo>
                      <a:pt x="1035" y="607"/>
                    </a:lnTo>
                    <a:lnTo>
                      <a:pt x="1033" y="607"/>
                    </a:lnTo>
                    <a:lnTo>
                      <a:pt x="1032" y="607"/>
                    </a:lnTo>
                    <a:lnTo>
                      <a:pt x="1030" y="607"/>
                    </a:lnTo>
                    <a:lnTo>
                      <a:pt x="1030" y="609"/>
                    </a:lnTo>
                    <a:lnTo>
                      <a:pt x="1030" y="607"/>
                    </a:lnTo>
                    <a:lnTo>
                      <a:pt x="1032" y="607"/>
                    </a:lnTo>
                    <a:lnTo>
                      <a:pt x="1032" y="605"/>
                    </a:lnTo>
                    <a:lnTo>
                      <a:pt x="1033" y="605"/>
                    </a:lnTo>
                    <a:close/>
                    <a:moveTo>
                      <a:pt x="1174" y="1427"/>
                    </a:moveTo>
                    <a:lnTo>
                      <a:pt x="1173" y="1427"/>
                    </a:lnTo>
                    <a:lnTo>
                      <a:pt x="1174" y="1429"/>
                    </a:lnTo>
                    <a:lnTo>
                      <a:pt x="1173" y="1430"/>
                    </a:lnTo>
                    <a:lnTo>
                      <a:pt x="1173" y="1432"/>
                    </a:lnTo>
                    <a:lnTo>
                      <a:pt x="1171" y="1432"/>
                    </a:lnTo>
                    <a:lnTo>
                      <a:pt x="1171" y="1430"/>
                    </a:lnTo>
                    <a:lnTo>
                      <a:pt x="1173" y="1429"/>
                    </a:lnTo>
                    <a:lnTo>
                      <a:pt x="1173" y="1427"/>
                    </a:lnTo>
                    <a:lnTo>
                      <a:pt x="1173" y="1425"/>
                    </a:lnTo>
                    <a:lnTo>
                      <a:pt x="1174" y="1427"/>
                    </a:lnTo>
                    <a:close/>
                    <a:moveTo>
                      <a:pt x="1193" y="1068"/>
                    </a:moveTo>
                    <a:lnTo>
                      <a:pt x="1193" y="1070"/>
                    </a:lnTo>
                    <a:lnTo>
                      <a:pt x="1193" y="1071"/>
                    </a:lnTo>
                    <a:lnTo>
                      <a:pt x="1191" y="1071"/>
                    </a:lnTo>
                    <a:lnTo>
                      <a:pt x="1190" y="1070"/>
                    </a:lnTo>
                    <a:lnTo>
                      <a:pt x="1190" y="1068"/>
                    </a:lnTo>
                    <a:lnTo>
                      <a:pt x="1191" y="1070"/>
                    </a:lnTo>
                    <a:lnTo>
                      <a:pt x="1191" y="1068"/>
                    </a:lnTo>
                    <a:lnTo>
                      <a:pt x="1193" y="1068"/>
                    </a:lnTo>
                    <a:close/>
                    <a:moveTo>
                      <a:pt x="1273" y="1611"/>
                    </a:moveTo>
                    <a:lnTo>
                      <a:pt x="1273" y="1612"/>
                    </a:lnTo>
                    <a:lnTo>
                      <a:pt x="1275" y="1612"/>
                    </a:lnTo>
                    <a:lnTo>
                      <a:pt x="1275" y="1614"/>
                    </a:lnTo>
                    <a:lnTo>
                      <a:pt x="1273" y="1614"/>
                    </a:lnTo>
                    <a:lnTo>
                      <a:pt x="1273" y="1616"/>
                    </a:lnTo>
                    <a:lnTo>
                      <a:pt x="1271" y="1614"/>
                    </a:lnTo>
                    <a:lnTo>
                      <a:pt x="1271" y="1616"/>
                    </a:lnTo>
                    <a:lnTo>
                      <a:pt x="1271" y="1614"/>
                    </a:lnTo>
                    <a:lnTo>
                      <a:pt x="1270" y="1614"/>
                    </a:lnTo>
                    <a:lnTo>
                      <a:pt x="1271" y="1614"/>
                    </a:lnTo>
                    <a:lnTo>
                      <a:pt x="1273" y="1614"/>
                    </a:lnTo>
                    <a:lnTo>
                      <a:pt x="1271" y="1614"/>
                    </a:lnTo>
                    <a:lnTo>
                      <a:pt x="1271" y="1612"/>
                    </a:lnTo>
                    <a:lnTo>
                      <a:pt x="1271" y="1611"/>
                    </a:lnTo>
                    <a:lnTo>
                      <a:pt x="1273" y="1611"/>
                    </a:lnTo>
                    <a:close/>
                    <a:moveTo>
                      <a:pt x="1162" y="1376"/>
                    </a:moveTo>
                    <a:lnTo>
                      <a:pt x="1161" y="1376"/>
                    </a:lnTo>
                    <a:lnTo>
                      <a:pt x="1162" y="1376"/>
                    </a:lnTo>
                    <a:lnTo>
                      <a:pt x="1162" y="1378"/>
                    </a:lnTo>
                    <a:lnTo>
                      <a:pt x="1162" y="1379"/>
                    </a:lnTo>
                    <a:lnTo>
                      <a:pt x="1161" y="1379"/>
                    </a:lnTo>
                    <a:lnTo>
                      <a:pt x="1159" y="1379"/>
                    </a:lnTo>
                    <a:lnTo>
                      <a:pt x="1159" y="1378"/>
                    </a:lnTo>
                    <a:lnTo>
                      <a:pt x="1161" y="1376"/>
                    </a:lnTo>
                    <a:lnTo>
                      <a:pt x="1161" y="1378"/>
                    </a:lnTo>
                    <a:lnTo>
                      <a:pt x="1161" y="1376"/>
                    </a:lnTo>
                    <a:lnTo>
                      <a:pt x="1162" y="1376"/>
                    </a:lnTo>
                    <a:close/>
                    <a:moveTo>
                      <a:pt x="1213" y="1119"/>
                    </a:moveTo>
                    <a:lnTo>
                      <a:pt x="1215" y="1121"/>
                    </a:lnTo>
                    <a:lnTo>
                      <a:pt x="1213" y="1122"/>
                    </a:lnTo>
                    <a:lnTo>
                      <a:pt x="1212" y="1121"/>
                    </a:lnTo>
                    <a:lnTo>
                      <a:pt x="1210" y="1121"/>
                    </a:lnTo>
                    <a:lnTo>
                      <a:pt x="1210" y="1122"/>
                    </a:lnTo>
                    <a:lnTo>
                      <a:pt x="1210" y="1121"/>
                    </a:lnTo>
                    <a:lnTo>
                      <a:pt x="1212" y="1119"/>
                    </a:lnTo>
                    <a:lnTo>
                      <a:pt x="1213" y="1119"/>
                    </a:lnTo>
                    <a:close/>
                    <a:moveTo>
                      <a:pt x="1178" y="1112"/>
                    </a:moveTo>
                    <a:lnTo>
                      <a:pt x="1179" y="1112"/>
                    </a:lnTo>
                    <a:lnTo>
                      <a:pt x="1179" y="1116"/>
                    </a:lnTo>
                    <a:lnTo>
                      <a:pt x="1178" y="1116"/>
                    </a:lnTo>
                    <a:lnTo>
                      <a:pt x="1178" y="1112"/>
                    </a:lnTo>
                    <a:close/>
                    <a:moveTo>
                      <a:pt x="1232" y="949"/>
                    </a:moveTo>
                    <a:lnTo>
                      <a:pt x="1234" y="951"/>
                    </a:lnTo>
                    <a:lnTo>
                      <a:pt x="1232" y="951"/>
                    </a:lnTo>
                    <a:lnTo>
                      <a:pt x="1234" y="951"/>
                    </a:lnTo>
                    <a:lnTo>
                      <a:pt x="1232" y="951"/>
                    </a:lnTo>
                    <a:lnTo>
                      <a:pt x="1230" y="951"/>
                    </a:lnTo>
                    <a:lnTo>
                      <a:pt x="1232" y="952"/>
                    </a:lnTo>
                    <a:lnTo>
                      <a:pt x="1230" y="952"/>
                    </a:lnTo>
                    <a:lnTo>
                      <a:pt x="1230" y="951"/>
                    </a:lnTo>
                    <a:lnTo>
                      <a:pt x="1230" y="949"/>
                    </a:lnTo>
                    <a:lnTo>
                      <a:pt x="1232" y="949"/>
                    </a:lnTo>
                    <a:close/>
                    <a:moveTo>
                      <a:pt x="1176" y="1481"/>
                    </a:moveTo>
                    <a:lnTo>
                      <a:pt x="1176" y="1483"/>
                    </a:lnTo>
                    <a:lnTo>
                      <a:pt x="1174" y="1483"/>
                    </a:lnTo>
                    <a:lnTo>
                      <a:pt x="1173" y="1483"/>
                    </a:lnTo>
                    <a:lnTo>
                      <a:pt x="1173" y="1481"/>
                    </a:lnTo>
                    <a:lnTo>
                      <a:pt x="1173" y="1483"/>
                    </a:lnTo>
                    <a:lnTo>
                      <a:pt x="1174" y="1481"/>
                    </a:lnTo>
                    <a:lnTo>
                      <a:pt x="1176" y="1481"/>
                    </a:lnTo>
                    <a:close/>
                    <a:moveTo>
                      <a:pt x="1185" y="1063"/>
                    </a:moveTo>
                    <a:lnTo>
                      <a:pt x="1186" y="1063"/>
                    </a:lnTo>
                    <a:lnTo>
                      <a:pt x="1188" y="1063"/>
                    </a:lnTo>
                    <a:lnTo>
                      <a:pt x="1188" y="1065"/>
                    </a:lnTo>
                    <a:lnTo>
                      <a:pt x="1186" y="1065"/>
                    </a:lnTo>
                    <a:lnTo>
                      <a:pt x="1185" y="1066"/>
                    </a:lnTo>
                    <a:lnTo>
                      <a:pt x="1185" y="1065"/>
                    </a:lnTo>
                    <a:lnTo>
                      <a:pt x="1186" y="1065"/>
                    </a:lnTo>
                    <a:lnTo>
                      <a:pt x="1185" y="1065"/>
                    </a:lnTo>
                    <a:lnTo>
                      <a:pt x="1185" y="1063"/>
                    </a:lnTo>
                    <a:close/>
                    <a:moveTo>
                      <a:pt x="1244" y="1582"/>
                    </a:moveTo>
                    <a:lnTo>
                      <a:pt x="1246" y="1582"/>
                    </a:lnTo>
                    <a:lnTo>
                      <a:pt x="1244" y="1583"/>
                    </a:lnTo>
                    <a:lnTo>
                      <a:pt x="1242" y="1583"/>
                    </a:lnTo>
                    <a:lnTo>
                      <a:pt x="1242" y="1582"/>
                    </a:lnTo>
                    <a:lnTo>
                      <a:pt x="1241" y="1582"/>
                    </a:lnTo>
                    <a:lnTo>
                      <a:pt x="1241" y="1580"/>
                    </a:lnTo>
                    <a:lnTo>
                      <a:pt x="1242" y="1582"/>
                    </a:lnTo>
                    <a:lnTo>
                      <a:pt x="1242" y="1580"/>
                    </a:lnTo>
                    <a:lnTo>
                      <a:pt x="1244" y="1582"/>
                    </a:lnTo>
                    <a:close/>
                    <a:moveTo>
                      <a:pt x="1212" y="1116"/>
                    </a:moveTo>
                    <a:lnTo>
                      <a:pt x="1213" y="1116"/>
                    </a:lnTo>
                    <a:lnTo>
                      <a:pt x="1213" y="1117"/>
                    </a:lnTo>
                    <a:lnTo>
                      <a:pt x="1213" y="1119"/>
                    </a:lnTo>
                    <a:lnTo>
                      <a:pt x="1212" y="1119"/>
                    </a:lnTo>
                    <a:lnTo>
                      <a:pt x="1210" y="1119"/>
                    </a:lnTo>
                    <a:lnTo>
                      <a:pt x="1210" y="1117"/>
                    </a:lnTo>
                    <a:lnTo>
                      <a:pt x="1212" y="1117"/>
                    </a:lnTo>
                    <a:lnTo>
                      <a:pt x="1212" y="1116"/>
                    </a:lnTo>
                    <a:close/>
                    <a:moveTo>
                      <a:pt x="1145" y="1264"/>
                    </a:moveTo>
                    <a:lnTo>
                      <a:pt x="1149" y="1264"/>
                    </a:lnTo>
                    <a:lnTo>
                      <a:pt x="1149" y="1269"/>
                    </a:lnTo>
                    <a:lnTo>
                      <a:pt x="1145" y="1269"/>
                    </a:lnTo>
                    <a:lnTo>
                      <a:pt x="1145" y="1264"/>
                    </a:lnTo>
                    <a:close/>
                    <a:moveTo>
                      <a:pt x="1176" y="1475"/>
                    </a:moveTo>
                    <a:lnTo>
                      <a:pt x="1178" y="1475"/>
                    </a:lnTo>
                    <a:lnTo>
                      <a:pt x="1178" y="1480"/>
                    </a:lnTo>
                    <a:lnTo>
                      <a:pt x="1176" y="1480"/>
                    </a:lnTo>
                    <a:lnTo>
                      <a:pt x="1176" y="1475"/>
                    </a:lnTo>
                    <a:close/>
                    <a:moveTo>
                      <a:pt x="1151" y="1289"/>
                    </a:moveTo>
                    <a:lnTo>
                      <a:pt x="1152" y="1289"/>
                    </a:lnTo>
                    <a:lnTo>
                      <a:pt x="1151" y="1291"/>
                    </a:lnTo>
                    <a:lnTo>
                      <a:pt x="1149" y="1291"/>
                    </a:lnTo>
                    <a:lnTo>
                      <a:pt x="1147" y="1293"/>
                    </a:lnTo>
                    <a:lnTo>
                      <a:pt x="1147" y="1291"/>
                    </a:lnTo>
                    <a:lnTo>
                      <a:pt x="1149" y="1291"/>
                    </a:lnTo>
                    <a:lnTo>
                      <a:pt x="1149" y="1289"/>
                    </a:lnTo>
                    <a:lnTo>
                      <a:pt x="1151" y="1289"/>
                    </a:lnTo>
                    <a:close/>
                    <a:moveTo>
                      <a:pt x="1178" y="1247"/>
                    </a:moveTo>
                    <a:lnTo>
                      <a:pt x="1179" y="1247"/>
                    </a:lnTo>
                    <a:lnTo>
                      <a:pt x="1178" y="1248"/>
                    </a:lnTo>
                    <a:lnTo>
                      <a:pt x="1176" y="1250"/>
                    </a:lnTo>
                    <a:lnTo>
                      <a:pt x="1176" y="1248"/>
                    </a:lnTo>
                    <a:lnTo>
                      <a:pt x="1176" y="1247"/>
                    </a:lnTo>
                    <a:lnTo>
                      <a:pt x="1178" y="1247"/>
                    </a:lnTo>
                    <a:close/>
                    <a:moveTo>
                      <a:pt x="1162" y="1301"/>
                    </a:moveTo>
                    <a:lnTo>
                      <a:pt x="1164" y="1301"/>
                    </a:lnTo>
                    <a:lnTo>
                      <a:pt x="1164" y="1303"/>
                    </a:lnTo>
                    <a:lnTo>
                      <a:pt x="1162" y="1303"/>
                    </a:lnTo>
                    <a:lnTo>
                      <a:pt x="1164" y="1303"/>
                    </a:lnTo>
                    <a:lnTo>
                      <a:pt x="1164" y="1305"/>
                    </a:lnTo>
                    <a:lnTo>
                      <a:pt x="1162" y="1303"/>
                    </a:lnTo>
                    <a:lnTo>
                      <a:pt x="1161" y="1303"/>
                    </a:lnTo>
                    <a:lnTo>
                      <a:pt x="1161" y="1301"/>
                    </a:lnTo>
                    <a:lnTo>
                      <a:pt x="1162" y="1301"/>
                    </a:lnTo>
                    <a:close/>
                    <a:moveTo>
                      <a:pt x="1423" y="1687"/>
                    </a:moveTo>
                    <a:lnTo>
                      <a:pt x="1424" y="1687"/>
                    </a:lnTo>
                    <a:lnTo>
                      <a:pt x="1424" y="1689"/>
                    </a:lnTo>
                    <a:lnTo>
                      <a:pt x="1426" y="1691"/>
                    </a:lnTo>
                    <a:lnTo>
                      <a:pt x="1424" y="1689"/>
                    </a:lnTo>
                    <a:lnTo>
                      <a:pt x="1424" y="1691"/>
                    </a:lnTo>
                    <a:lnTo>
                      <a:pt x="1423" y="1691"/>
                    </a:lnTo>
                    <a:lnTo>
                      <a:pt x="1423" y="1689"/>
                    </a:lnTo>
                    <a:lnTo>
                      <a:pt x="1421" y="1687"/>
                    </a:lnTo>
                    <a:lnTo>
                      <a:pt x="1421" y="1689"/>
                    </a:lnTo>
                    <a:lnTo>
                      <a:pt x="1421" y="1687"/>
                    </a:lnTo>
                    <a:lnTo>
                      <a:pt x="1423" y="1687"/>
                    </a:lnTo>
                    <a:close/>
                    <a:moveTo>
                      <a:pt x="1212" y="1061"/>
                    </a:moveTo>
                    <a:lnTo>
                      <a:pt x="1215" y="1061"/>
                    </a:lnTo>
                    <a:lnTo>
                      <a:pt x="1215" y="1065"/>
                    </a:lnTo>
                    <a:lnTo>
                      <a:pt x="1212" y="1065"/>
                    </a:lnTo>
                    <a:lnTo>
                      <a:pt x="1212" y="1061"/>
                    </a:lnTo>
                    <a:close/>
                    <a:moveTo>
                      <a:pt x="1331" y="1635"/>
                    </a:moveTo>
                    <a:lnTo>
                      <a:pt x="1331" y="1636"/>
                    </a:lnTo>
                    <a:lnTo>
                      <a:pt x="1329" y="1636"/>
                    </a:lnTo>
                    <a:lnTo>
                      <a:pt x="1329" y="1638"/>
                    </a:lnTo>
                    <a:lnTo>
                      <a:pt x="1327" y="1636"/>
                    </a:lnTo>
                    <a:lnTo>
                      <a:pt x="1329" y="1635"/>
                    </a:lnTo>
                    <a:lnTo>
                      <a:pt x="1331" y="1635"/>
                    </a:lnTo>
                    <a:lnTo>
                      <a:pt x="1332" y="1633"/>
                    </a:lnTo>
                    <a:lnTo>
                      <a:pt x="1331" y="1635"/>
                    </a:lnTo>
                    <a:close/>
                    <a:moveTo>
                      <a:pt x="1256" y="1587"/>
                    </a:moveTo>
                    <a:lnTo>
                      <a:pt x="1259" y="1587"/>
                    </a:lnTo>
                    <a:lnTo>
                      <a:pt x="1259" y="1592"/>
                    </a:lnTo>
                    <a:lnTo>
                      <a:pt x="1256" y="1592"/>
                    </a:lnTo>
                    <a:lnTo>
                      <a:pt x="1256" y="1587"/>
                    </a:lnTo>
                    <a:close/>
                    <a:moveTo>
                      <a:pt x="1208" y="1077"/>
                    </a:moveTo>
                    <a:lnTo>
                      <a:pt x="1212" y="1077"/>
                    </a:lnTo>
                    <a:lnTo>
                      <a:pt x="1212" y="1080"/>
                    </a:lnTo>
                    <a:lnTo>
                      <a:pt x="1208" y="1080"/>
                    </a:lnTo>
                    <a:lnTo>
                      <a:pt x="1208" y="1077"/>
                    </a:lnTo>
                    <a:close/>
                    <a:moveTo>
                      <a:pt x="1375" y="1663"/>
                    </a:moveTo>
                    <a:lnTo>
                      <a:pt x="1377" y="1663"/>
                    </a:lnTo>
                    <a:lnTo>
                      <a:pt x="1377" y="1665"/>
                    </a:lnTo>
                    <a:lnTo>
                      <a:pt x="1378" y="1665"/>
                    </a:lnTo>
                    <a:lnTo>
                      <a:pt x="1378" y="1667"/>
                    </a:lnTo>
                    <a:lnTo>
                      <a:pt x="1377" y="1667"/>
                    </a:lnTo>
                    <a:lnTo>
                      <a:pt x="1377" y="1665"/>
                    </a:lnTo>
                    <a:lnTo>
                      <a:pt x="1375" y="1665"/>
                    </a:lnTo>
                    <a:lnTo>
                      <a:pt x="1375" y="1663"/>
                    </a:lnTo>
                    <a:lnTo>
                      <a:pt x="1373" y="1663"/>
                    </a:lnTo>
                    <a:lnTo>
                      <a:pt x="1375" y="1663"/>
                    </a:lnTo>
                    <a:close/>
                    <a:moveTo>
                      <a:pt x="1185" y="1061"/>
                    </a:moveTo>
                    <a:lnTo>
                      <a:pt x="1186" y="1061"/>
                    </a:lnTo>
                    <a:lnTo>
                      <a:pt x="1188" y="1061"/>
                    </a:lnTo>
                    <a:lnTo>
                      <a:pt x="1190" y="1063"/>
                    </a:lnTo>
                    <a:lnTo>
                      <a:pt x="1188" y="1063"/>
                    </a:lnTo>
                    <a:lnTo>
                      <a:pt x="1186" y="1063"/>
                    </a:lnTo>
                    <a:lnTo>
                      <a:pt x="1185" y="1063"/>
                    </a:lnTo>
                    <a:lnTo>
                      <a:pt x="1185" y="1061"/>
                    </a:lnTo>
                    <a:close/>
                    <a:moveTo>
                      <a:pt x="1208" y="1080"/>
                    </a:moveTo>
                    <a:lnTo>
                      <a:pt x="1210" y="1082"/>
                    </a:lnTo>
                    <a:lnTo>
                      <a:pt x="1208" y="1082"/>
                    </a:lnTo>
                    <a:lnTo>
                      <a:pt x="1207" y="1082"/>
                    </a:lnTo>
                    <a:lnTo>
                      <a:pt x="1207" y="1080"/>
                    </a:lnTo>
                    <a:lnTo>
                      <a:pt x="1208" y="1082"/>
                    </a:lnTo>
                    <a:lnTo>
                      <a:pt x="1208" y="1080"/>
                    </a:lnTo>
                    <a:lnTo>
                      <a:pt x="1207" y="1080"/>
                    </a:lnTo>
                    <a:lnTo>
                      <a:pt x="1208" y="1080"/>
                    </a:lnTo>
                    <a:close/>
                    <a:moveTo>
                      <a:pt x="1193" y="1493"/>
                    </a:moveTo>
                    <a:lnTo>
                      <a:pt x="1193" y="1495"/>
                    </a:lnTo>
                    <a:lnTo>
                      <a:pt x="1195" y="1493"/>
                    </a:lnTo>
                    <a:lnTo>
                      <a:pt x="1195" y="1495"/>
                    </a:lnTo>
                    <a:lnTo>
                      <a:pt x="1193" y="1495"/>
                    </a:lnTo>
                    <a:lnTo>
                      <a:pt x="1193" y="1497"/>
                    </a:lnTo>
                    <a:lnTo>
                      <a:pt x="1191" y="1495"/>
                    </a:lnTo>
                    <a:lnTo>
                      <a:pt x="1191" y="1497"/>
                    </a:lnTo>
                    <a:lnTo>
                      <a:pt x="1191" y="1495"/>
                    </a:lnTo>
                    <a:lnTo>
                      <a:pt x="1190" y="1495"/>
                    </a:lnTo>
                    <a:lnTo>
                      <a:pt x="1191" y="1495"/>
                    </a:lnTo>
                    <a:lnTo>
                      <a:pt x="1191" y="1493"/>
                    </a:lnTo>
                    <a:lnTo>
                      <a:pt x="1191" y="1495"/>
                    </a:lnTo>
                    <a:lnTo>
                      <a:pt x="1191" y="1493"/>
                    </a:lnTo>
                    <a:lnTo>
                      <a:pt x="1191" y="1495"/>
                    </a:lnTo>
                    <a:lnTo>
                      <a:pt x="1193" y="1493"/>
                    </a:lnTo>
                    <a:close/>
                    <a:moveTo>
                      <a:pt x="1161" y="1247"/>
                    </a:moveTo>
                    <a:lnTo>
                      <a:pt x="1159" y="1247"/>
                    </a:lnTo>
                    <a:lnTo>
                      <a:pt x="1159" y="1248"/>
                    </a:lnTo>
                    <a:lnTo>
                      <a:pt x="1157" y="1248"/>
                    </a:lnTo>
                    <a:lnTo>
                      <a:pt x="1156" y="1250"/>
                    </a:lnTo>
                    <a:lnTo>
                      <a:pt x="1156" y="1248"/>
                    </a:lnTo>
                    <a:lnTo>
                      <a:pt x="1156" y="1250"/>
                    </a:lnTo>
                    <a:lnTo>
                      <a:pt x="1154" y="1250"/>
                    </a:lnTo>
                    <a:lnTo>
                      <a:pt x="1156" y="1250"/>
                    </a:lnTo>
                    <a:lnTo>
                      <a:pt x="1154" y="1250"/>
                    </a:lnTo>
                    <a:lnTo>
                      <a:pt x="1156" y="1250"/>
                    </a:lnTo>
                    <a:lnTo>
                      <a:pt x="1156" y="1248"/>
                    </a:lnTo>
                    <a:lnTo>
                      <a:pt x="1157" y="1247"/>
                    </a:lnTo>
                    <a:lnTo>
                      <a:pt x="1157" y="1248"/>
                    </a:lnTo>
                    <a:lnTo>
                      <a:pt x="1157" y="1247"/>
                    </a:lnTo>
                    <a:lnTo>
                      <a:pt x="1159" y="1247"/>
                    </a:lnTo>
                    <a:lnTo>
                      <a:pt x="1161" y="1245"/>
                    </a:lnTo>
                    <a:lnTo>
                      <a:pt x="1161" y="1247"/>
                    </a:lnTo>
                    <a:close/>
                    <a:moveTo>
                      <a:pt x="1195" y="1063"/>
                    </a:moveTo>
                    <a:lnTo>
                      <a:pt x="1193" y="1065"/>
                    </a:lnTo>
                    <a:lnTo>
                      <a:pt x="1191" y="1065"/>
                    </a:lnTo>
                    <a:lnTo>
                      <a:pt x="1191" y="1063"/>
                    </a:lnTo>
                    <a:lnTo>
                      <a:pt x="1193" y="1063"/>
                    </a:lnTo>
                    <a:lnTo>
                      <a:pt x="1195" y="1063"/>
                    </a:lnTo>
                    <a:close/>
                    <a:moveTo>
                      <a:pt x="1196" y="1466"/>
                    </a:moveTo>
                    <a:lnTo>
                      <a:pt x="1198" y="1466"/>
                    </a:lnTo>
                    <a:lnTo>
                      <a:pt x="1198" y="1468"/>
                    </a:lnTo>
                    <a:lnTo>
                      <a:pt x="1200" y="1468"/>
                    </a:lnTo>
                    <a:lnTo>
                      <a:pt x="1198" y="1468"/>
                    </a:lnTo>
                    <a:lnTo>
                      <a:pt x="1198" y="1470"/>
                    </a:lnTo>
                    <a:lnTo>
                      <a:pt x="1198" y="1468"/>
                    </a:lnTo>
                    <a:lnTo>
                      <a:pt x="1196" y="1470"/>
                    </a:lnTo>
                    <a:lnTo>
                      <a:pt x="1196" y="1468"/>
                    </a:lnTo>
                    <a:lnTo>
                      <a:pt x="1195" y="1466"/>
                    </a:lnTo>
                    <a:lnTo>
                      <a:pt x="1196" y="1466"/>
                    </a:lnTo>
                    <a:close/>
                    <a:moveTo>
                      <a:pt x="1213" y="1515"/>
                    </a:moveTo>
                    <a:lnTo>
                      <a:pt x="1212" y="1515"/>
                    </a:lnTo>
                    <a:lnTo>
                      <a:pt x="1212" y="1517"/>
                    </a:lnTo>
                    <a:lnTo>
                      <a:pt x="1210" y="1517"/>
                    </a:lnTo>
                    <a:lnTo>
                      <a:pt x="1212" y="1515"/>
                    </a:lnTo>
                    <a:lnTo>
                      <a:pt x="1210" y="1515"/>
                    </a:lnTo>
                    <a:lnTo>
                      <a:pt x="1210" y="1514"/>
                    </a:lnTo>
                    <a:lnTo>
                      <a:pt x="1212" y="1514"/>
                    </a:lnTo>
                    <a:lnTo>
                      <a:pt x="1210" y="1514"/>
                    </a:lnTo>
                    <a:lnTo>
                      <a:pt x="1212" y="1514"/>
                    </a:lnTo>
                    <a:lnTo>
                      <a:pt x="1213" y="1514"/>
                    </a:lnTo>
                    <a:lnTo>
                      <a:pt x="1213" y="1515"/>
                    </a:lnTo>
                    <a:close/>
                    <a:moveTo>
                      <a:pt x="1378" y="1660"/>
                    </a:moveTo>
                    <a:lnTo>
                      <a:pt x="1378" y="1662"/>
                    </a:lnTo>
                    <a:lnTo>
                      <a:pt x="1378" y="1660"/>
                    </a:lnTo>
                    <a:lnTo>
                      <a:pt x="1380" y="1662"/>
                    </a:lnTo>
                    <a:lnTo>
                      <a:pt x="1378" y="1662"/>
                    </a:lnTo>
                    <a:lnTo>
                      <a:pt x="1378" y="1663"/>
                    </a:lnTo>
                    <a:lnTo>
                      <a:pt x="1377" y="1663"/>
                    </a:lnTo>
                    <a:lnTo>
                      <a:pt x="1377" y="1662"/>
                    </a:lnTo>
                    <a:lnTo>
                      <a:pt x="1378" y="1662"/>
                    </a:lnTo>
                    <a:lnTo>
                      <a:pt x="1377" y="1662"/>
                    </a:lnTo>
                    <a:lnTo>
                      <a:pt x="1375" y="1662"/>
                    </a:lnTo>
                    <a:lnTo>
                      <a:pt x="1375" y="1660"/>
                    </a:lnTo>
                    <a:lnTo>
                      <a:pt x="1377" y="1660"/>
                    </a:lnTo>
                    <a:lnTo>
                      <a:pt x="1378" y="1660"/>
                    </a:lnTo>
                    <a:close/>
                    <a:moveTo>
                      <a:pt x="1263" y="1604"/>
                    </a:moveTo>
                    <a:lnTo>
                      <a:pt x="1263" y="1606"/>
                    </a:lnTo>
                    <a:lnTo>
                      <a:pt x="1264" y="1606"/>
                    </a:lnTo>
                    <a:lnTo>
                      <a:pt x="1264" y="1607"/>
                    </a:lnTo>
                    <a:lnTo>
                      <a:pt x="1266" y="1607"/>
                    </a:lnTo>
                    <a:lnTo>
                      <a:pt x="1264" y="1607"/>
                    </a:lnTo>
                    <a:lnTo>
                      <a:pt x="1263" y="1607"/>
                    </a:lnTo>
                    <a:lnTo>
                      <a:pt x="1261" y="1606"/>
                    </a:lnTo>
                    <a:lnTo>
                      <a:pt x="1263" y="1604"/>
                    </a:lnTo>
                    <a:close/>
                    <a:moveTo>
                      <a:pt x="1173" y="1359"/>
                    </a:moveTo>
                    <a:lnTo>
                      <a:pt x="1174" y="1359"/>
                    </a:lnTo>
                    <a:lnTo>
                      <a:pt x="1173" y="1361"/>
                    </a:lnTo>
                    <a:lnTo>
                      <a:pt x="1171" y="1361"/>
                    </a:lnTo>
                    <a:lnTo>
                      <a:pt x="1171" y="1359"/>
                    </a:lnTo>
                    <a:lnTo>
                      <a:pt x="1173" y="1359"/>
                    </a:lnTo>
                    <a:close/>
                    <a:moveTo>
                      <a:pt x="1363" y="1665"/>
                    </a:moveTo>
                    <a:lnTo>
                      <a:pt x="1366" y="1665"/>
                    </a:lnTo>
                    <a:lnTo>
                      <a:pt x="1366" y="1672"/>
                    </a:lnTo>
                    <a:lnTo>
                      <a:pt x="1363" y="1672"/>
                    </a:lnTo>
                    <a:lnTo>
                      <a:pt x="1363" y="1665"/>
                    </a:lnTo>
                    <a:close/>
                    <a:moveTo>
                      <a:pt x="1253" y="1590"/>
                    </a:moveTo>
                    <a:lnTo>
                      <a:pt x="1256" y="1590"/>
                    </a:lnTo>
                    <a:lnTo>
                      <a:pt x="1256" y="1594"/>
                    </a:lnTo>
                    <a:lnTo>
                      <a:pt x="1253" y="1594"/>
                    </a:lnTo>
                    <a:lnTo>
                      <a:pt x="1253" y="1590"/>
                    </a:lnTo>
                    <a:close/>
                    <a:moveTo>
                      <a:pt x="1217" y="971"/>
                    </a:moveTo>
                    <a:lnTo>
                      <a:pt x="1219" y="971"/>
                    </a:lnTo>
                    <a:lnTo>
                      <a:pt x="1219" y="973"/>
                    </a:lnTo>
                    <a:lnTo>
                      <a:pt x="1217" y="973"/>
                    </a:lnTo>
                    <a:lnTo>
                      <a:pt x="1217" y="971"/>
                    </a:lnTo>
                    <a:lnTo>
                      <a:pt x="1215" y="971"/>
                    </a:lnTo>
                    <a:lnTo>
                      <a:pt x="1217" y="969"/>
                    </a:lnTo>
                    <a:lnTo>
                      <a:pt x="1217" y="971"/>
                    </a:lnTo>
                    <a:close/>
                    <a:moveTo>
                      <a:pt x="1203" y="1473"/>
                    </a:moveTo>
                    <a:lnTo>
                      <a:pt x="1207" y="1473"/>
                    </a:lnTo>
                    <a:lnTo>
                      <a:pt x="1207" y="1478"/>
                    </a:lnTo>
                    <a:lnTo>
                      <a:pt x="1203" y="1478"/>
                    </a:lnTo>
                    <a:lnTo>
                      <a:pt x="1203" y="1473"/>
                    </a:lnTo>
                    <a:close/>
                    <a:moveTo>
                      <a:pt x="1232" y="1600"/>
                    </a:moveTo>
                    <a:lnTo>
                      <a:pt x="1230" y="1602"/>
                    </a:lnTo>
                    <a:lnTo>
                      <a:pt x="1229" y="1602"/>
                    </a:lnTo>
                    <a:lnTo>
                      <a:pt x="1227" y="1602"/>
                    </a:lnTo>
                    <a:lnTo>
                      <a:pt x="1227" y="1600"/>
                    </a:lnTo>
                    <a:lnTo>
                      <a:pt x="1229" y="1600"/>
                    </a:lnTo>
                    <a:lnTo>
                      <a:pt x="1230" y="1600"/>
                    </a:lnTo>
                    <a:lnTo>
                      <a:pt x="1232" y="1600"/>
                    </a:lnTo>
                    <a:close/>
                    <a:moveTo>
                      <a:pt x="1331" y="1633"/>
                    </a:moveTo>
                    <a:lnTo>
                      <a:pt x="1334" y="1633"/>
                    </a:lnTo>
                    <a:lnTo>
                      <a:pt x="1334" y="1636"/>
                    </a:lnTo>
                    <a:lnTo>
                      <a:pt x="1331" y="1636"/>
                    </a:lnTo>
                    <a:lnTo>
                      <a:pt x="1331" y="1633"/>
                    </a:lnTo>
                    <a:close/>
                    <a:moveTo>
                      <a:pt x="1263" y="1589"/>
                    </a:moveTo>
                    <a:lnTo>
                      <a:pt x="1264" y="1589"/>
                    </a:lnTo>
                    <a:lnTo>
                      <a:pt x="1264" y="1590"/>
                    </a:lnTo>
                    <a:lnTo>
                      <a:pt x="1263" y="1590"/>
                    </a:lnTo>
                    <a:lnTo>
                      <a:pt x="1264" y="1590"/>
                    </a:lnTo>
                    <a:lnTo>
                      <a:pt x="1263" y="1590"/>
                    </a:lnTo>
                    <a:lnTo>
                      <a:pt x="1261" y="1590"/>
                    </a:lnTo>
                    <a:lnTo>
                      <a:pt x="1261" y="1589"/>
                    </a:lnTo>
                    <a:lnTo>
                      <a:pt x="1263" y="1589"/>
                    </a:lnTo>
                    <a:close/>
                    <a:moveTo>
                      <a:pt x="1181" y="1464"/>
                    </a:moveTo>
                    <a:lnTo>
                      <a:pt x="1179" y="1466"/>
                    </a:lnTo>
                    <a:lnTo>
                      <a:pt x="1178" y="1466"/>
                    </a:lnTo>
                    <a:lnTo>
                      <a:pt x="1178" y="1468"/>
                    </a:lnTo>
                    <a:lnTo>
                      <a:pt x="1178" y="1466"/>
                    </a:lnTo>
                    <a:lnTo>
                      <a:pt x="1178" y="1464"/>
                    </a:lnTo>
                    <a:lnTo>
                      <a:pt x="1179" y="1464"/>
                    </a:lnTo>
                    <a:lnTo>
                      <a:pt x="1181" y="1463"/>
                    </a:lnTo>
                    <a:lnTo>
                      <a:pt x="1181" y="1464"/>
                    </a:lnTo>
                    <a:close/>
                    <a:moveTo>
                      <a:pt x="1327" y="1645"/>
                    </a:moveTo>
                    <a:lnTo>
                      <a:pt x="1329" y="1645"/>
                    </a:lnTo>
                    <a:lnTo>
                      <a:pt x="1329" y="1646"/>
                    </a:lnTo>
                    <a:lnTo>
                      <a:pt x="1331" y="1646"/>
                    </a:lnTo>
                    <a:lnTo>
                      <a:pt x="1329" y="1646"/>
                    </a:lnTo>
                    <a:lnTo>
                      <a:pt x="1329" y="1648"/>
                    </a:lnTo>
                    <a:lnTo>
                      <a:pt x="1331" y="1648"/>
                    </a:lnTo>
                    <a:lnTo>
                      <a:pt x="1332" y="1648"/>
                    </a:lnTo>
                    <a:lnTo>
                      <a:pt x="1331" y="1648"/>
                    </a:lnTo>
                    <a:lnTo>
                      <a:pt x="1329" y="1648"/>
                    </a:lnTo>
                    <a:lnTo>
                      <a:pt x="1327" y="1648"/>
                    </a:lnTo>
                    <a:lnTo>
                      <a:pt x="1329" y="1646"/>
                    </a:lnTo>
                    <a:lnTo>
                      <a:pt x="1327" y="1646"/>
                    </a:lnTo>
                    <a:lnTo>
                      <a:pt x="1327" y="1645"/>
                    </a:lnTo>
                    <a:close/>
                    <a:moveTo>
                      <a:pt x="1217" y="1500"/>
                    </a:moveTo>
                    <a:lnTo>
                      <a:pt x="1219" y="1500"/>
                    </a:lnTo>
                    <a:lnTo>
                      <a:pt x="1219" y="1502"/>
                    </a:lnTo>
                    <a:lnTo>
                      <a:pt x="1217" y="1502"/>
                    </a:lnTo>
                    <a:lnTo>
                      <a:pt x="1215" y="1502"/>
                    </a:lnTo>
                    <a:lnTo>
                      <a:pt x="1217" y="1502"/>
                    </a:lnTo>
                    <a:lnTo>
                      <a:pt x="1215" y="1502"/>
                    </a:lnTo>
                    <a:lnTo>
                      <a:pt x="1217" y="1500"/>
                    </a:lnTo>
                    <a:lnTo>
                      <a:pt x="1219" y="1498"/>
                    </a:lnTo>
                    <a:lnTo>
                      <a:pt x="1219" y="1500"/>
                    </a:lnTo>
                    <a:lnTo>
                      <a:pt x="1217" y="1500"/>
                    </a:lnTo>
                    <a:close/>
                    <a:moveTo>
                      <a:pt x="1171" y="1446"/>
                    </a:moveTo>
                    <a:lnTo>
                      <a:pt x="1174" y="1446"/>
                    </a:lnTo>
                    <a:lnTo>
                      <a:pt x="1174" y="1451"/>
                    </a:lnTo>
                    <a:lnTo>
                      <a:pt x="1171" y="1451"/>
                    </a:lnTo>
                    <a:lnTo>
                      <a:pt x="1171" y="1446"/>
                    </a:lnTo>
                    <a:close/>
                    <a:moveTo>
                      <a:pt x="1190" y="1119"/>
                    </a:moveTo>
                    <a:lnTo>
                      <a:pt x="1191" y="1119"/>
                    </a:lnTo>
                    <a:lnTo>
                      <a:pt x="1191" y="1122"/>
                    </a:lnTo>
                    <a:lnTo>
                      <a:pt x="1190" y="1122"/>
                    </a:lnTo>
                    <a:lnTo>
                      <a:pt x="1190" y="1119"/>
                    </a:lnTo>
                    <a:close/>
                    <a:moveTo>
                      <a:pt x="1222" y="1570"/>
                    </a:moveTo>
                    <a:lnTo>
                      <a:pt x="1224" y="1570"/>
                    </a:lnTo>
                    <a:lnTo>
                      <a:pt x="1224" y="1572"/>
                    </a:lnTo>
                    <a:lnTo>
                      <a:pt x="1222" y="1572"/>
                    </a:lnTo>
                    <a:lnTo>
                      <a:pt x="1222" y="1570"/>
                    </a:lnTo>
                    <a:lnTo>
                      <a:pt x="1220" y="1572"/>
                    </a:lnTo>
                    <a:lnTo>
                      <a:pt x="1220" y="1570"/>
                    </a:lnTo>
                    <a:lnTo>
                      <a:pt x="1222" y="1570"/>
                    </a:lnTo>
                    <a:close/>
                    <a:moveTo>
                      <a:pt x="1205" y="1019"/>
                    </a:moveTo>
                    <a:lnTo>
                      <a:pt x="1208" y="1019"/>
                    </a:lnTo>
                    <a:lnTo>
                      <a:pt x="1208" y="1022"/>
                    </a:lnTo>
                    <a:lnTo>
                      <a:pt x="1205" y="1022"/>
                    </a:lnTo>
                    <a:lnTo>
                      <a:pt x="1205" y="1019"/>
                    </a:lnTo>
                    <a:close/>
                    <a:moveTo>
                      <a:pt x="1164" y="1366"/>
                    </a:moveTo>
                    <a:lnTo>
                      <a:pt x="1168" y="1366"/>
                    </a:lnTo>
                    <a:lnTo>
                      <a:pt x="1168" y="1371"/>
                    </a:lnTo>
                    <a:lnTo>
                      <a:pt x="1164" y="1371"/>
                    </a:lnTo>
                    <a:lnTo>
                      <a:pt x="1164" y="1366"/>
                    </a:lnTo>
                    <a:close/>
                    <a:moveTo>
                      <a:pt x="1191" y="1498"/>
                    </a:moveTo>
                    <a:lnTo>
                      <a:pt x="1193" y="1498"/>
                    </a:lnTo>
                    <a:lnTo>
                      <a:pt x="1193" y="1500"/>
                    </a:lnTo>
                    <a:lnTo>
                      <a:pt x="1191" y="1502"/>
                    </a:lnTo>
                    <a:lnTo>
                      <a:pt x="1191" y="1500"/>
                    </a:lnTo>
                    <a:lnTo>
                      <a:pt x="1193" y="1500"/>
                    </a:lnTo>
                    <a:lnTo>
                      <a:pt x="1191" y="1500"/>
                    </a:lnTo>
                    <a:lnTo>
                      <a:pt x="1191" y="1498"/>
                    </a:lnTo>
                    <a:lnTo>
                      <a:pt x="1190" y="1498"/>
                    </a:lnTo>
                    <a:lnTo>
                      <a:pt x="1190" y="1497"/>
                    </a:lnTo>
                    <a:lnTo>
                      <a:pt x="1191" y="1497"/>
                    </a:lnTo>
                    <a:lnTo>
                      <a:pt x="1191" y="1498"/>
                    </a:lnTo>
                    <a:close/>
                    <a:moveTo>
                      <a:pt x="1186" y="1060"/>
                    </a:moveTo>
                    <a:lnTo>
                      <a:pt x="1188" y="1061"/>
                    </a:lnTo>
                    <a:lnTo>
                      <a:pt x="1188" y="1060"/>
                    </a:lnTo>
                    <a:lnTo>
                      <a:pt x="1190" y="1061"/>
                    </a:lnTo>
                    <a:lnTo>
                      <a:pt x="1191" y="1061"/>
                    </a:lnTo>
                    <a:lnTo>
                      <a:pt x="1190" y="1061"/>
                    </a:lnTo>
                    <a:lnTo>
                      <a:pt x="1188" y="1061"/>
                    </a:lnTo>
                    <a:lnTo>
                      <a:pt x="1186" y="1061"/>
                    </a:lnTo>
                    <a:lnTo>
                      <a:pt x="1185" y="1061"/>
                    </a:lnTo>
                    <a:lnTo>
                      <a:pt x="1185" y="1060"/>
                    </a:lnTo>
                    <a:lnTo>
                      <a:pt x="1186" y="1060"/>
                    </a:lnTo>
                    <a:close/>
                    <a:moveTo>
                      <a:pt x="1191" y="1449"/>
                    </a:moveTo>
                    <a:lnTo>
                      <a:pt x="1193" y="1451"/>
                    </a:lnTo>
                    <a:lnTo>
                      <a:pt x="1195" y="1451"/>
                    </a:lnTo>
                    <a:lnTo>
                      <a:pt x="1196" y="1453"/>
                    </a:lnTo>
                    <a:lnTo>
                      <a:pt x="1195" y="1453"/>
                    </a:lnTo>
                    <a:lnTo>
                      <a:pt x="1195" y="1454"/>
                    </a:lnTo>
                    <a:lnTo>
                      <a:pt x="1193" y="1453"/>
                    </a:lnTo>
                    <a:lnTo>
                      <a:pt x="1195" y="1453"/>
                    </a:lnTo>
                    <a:lnTo>
                      <a:pt x="1193" y="1453"/>
                    </a:lnTo>
                    <a:lnTo>
                      <a:pt x="1193" y="1451"/>
                    </a:lnTo>
                    <a:lnTo>
                      <a:pt x="1191" y="1451"/>
                    </a:lnTo>
                    <a:lnTo>
                      <a:pt x="1191" y="1449"/>
                    </a:lnTo>
                    <a:lnTo>
                      <a:pt x="1191" y="1451"/>
                    </a:lnTo>
                    <a:lnTo>
                      <a:pt x="1191" y="1449"/>
                    </a:lnTo>
                    <a:close/>
                    <a:moveTo>
                      <a:pt x="1215" y="993"/>
                    </a:moveTo>
                    <a:lnTo>
                      <a:pt x="1213" y="995"/>
                    </a:lnTo>
                    <a:lnTo>
                      <a:pt x="1213" y="993"/>
                    </a:lnTo>
                    <a:lnTo>
                      <a:pt x="1212" y="995"/>
                    </a:lnTo>
                    <a:lnTo>
                      <a:pt x="1212" y="993"/>
                    </a:lnTo>
                    <a:lnTo>
                      <a:pt x="1213" y="993"/>
                    </a:lnTo>
                    <a:lnTo>
                      <a:pt x="1213" y="992"/>
                    </a:lnTo>
                    <a:lnTo>
                      <a:pt x="1215" y="993"/>
                    </a:lnTo>
                    <a:close/>
                    <a:moveTo>
                      <a:pt x="1426" y="1677"/>
                    </a:moveTo>
                    <a:lnTo>
                      <a:pt x="1428" y="1677"/>
                    </a:lnTo>
                    <a:lnTo>
                      <a:pt x="1428" y="1679"/>
                    </a:lnTo>
                    <a:lnTo>
                      <a:pt x="1426" y="1679"/>
                    </a:lnTo>
                    <a:lnTo>
                      <a:pt x="1426" y="1680"/>
                    </a:lnTo>
                    <a:lnTo>
                      <a:pt x="1424" y="1680"/>
                    </a:lnTo>
                    <a:lnTo>
                      <a:pt x="1424" y="1679"/>
                    </a:lnTo>
                    <a:lnTo>
                      <a:pt x="1426" y="1677"/>
                    </a:lnTo>
                    <a:close/>
                    <a:moveTo>
                      <a:pt x="1213" y="747"/>
                    </a:moveTo>
                    <a:lnTo>
                      <a:pt x="1213" y="748"/>
                    </a:lnTo>
                    <a:lnTo>
                      <a:pt x="1213" y="747"/>
                    </a:lnTo>
                    <a:lnTo>
                      <a:pt x="1212" y="748"/>
                    </a:lnTo>
                    <a:lnTo>
                      <a:pt x="1212" y="747"/>
                    </a:lnTo>
                    <a:lnTo>
                      <a:pt x="1212" y="745"/>
                    </a:lnTo>
                    <a:lnTo>
                      <a:pt x="1212" y="747"/>
                    </a:lnTo>
                    <a:lnTo>
                      <a:pt x="1213" y="747"/>
                    </a:lnTo>
                    <a:close/>
                    <a:moveTo>
                      <a:pt x="1220" y="993"/>
                    </a:moveTo>
                    <a:lnTo>
                      <a:pt x="1222" y="993"/>
                    </a:lnTo>
                    <a:lnTo>
                      <a:pt x="1222" y="995"/>
                    </a:lnTo>
                    <a:lnTo>
                      <a:pt x="1220" y="995"/>
                    </a:lnTo>
                    <a:lnTo>
                      <a:pt x="1219" y="993"/>
                    </a:lnTo>
                    <a:lnTo>
                      <a:pt x="1220" y="993"/>
                    </a:lnTo>
                    <a:close/>
                    <a:moveTo>
                      <a:pt x="1168" y="1259"/>
                    </a:moveTo>
                    <a:lnTo>
                      <a:pt x="1171" y="1259"/>
                    </a:lnTo>
                    <a:lnTo>
                      <a:pt x="1171" y="1262"/>
                    </a:lnTo>
                    <a:lnTo>
                      <a:pt x="1168" y="1262"/>
                    </a:lnTo>
                    <a:lnTo>
                      <a:pt x="1168" y="1259"/>
                    </a:lnTo>
                    <a:close/>
                    <a:moveTo>
                      <a:pt x="1159" y="1252"/>
                    </a:moveTo>
                    <a:lnTo>
                      <a:pt x="1161" y="1253"/>
                    </a:lnTo>
                    <a:lnTo>
                      <a:pt x="1159" y="1253"/>
                    </a:lnTo>
                    <a:lnTo>
                      <a:pt x="1157" y="1255"/>
                    </a:lnTo>
                    <a:lnTo>
                      <a:pt x="1157" y="1253"/>
                    </a:lnTo>
                    <a:lnTo>
                      <a:pt x="1159" y="1253"/>
                    </a:lnTo>
                    <a:lnTo>
                      <a:pt x="1157" y="1253"/>
                    </a:lnTo>
                    <a:lnTo>
                      <a:pt x="1156" y="1253"/>
                    </a:lnTo>
                    <a:lnTo>
                      <a:pt x="1157" y="1253"/>
                    </a:lnTo>
                    <a:lnTo>
                      <a:pt x="1159" y="1252"/>
                    </a:lnTo>
                    <a:close/>
                    <a:moveTo>
                      <a:pt x="1290" y="1575"/>
                    </a:moveTo>
                    <a:lnTo>
                      <a:pt x="1292" y="1575"/>
                    </a:lnTo>
                    <a:lnTo>
                      <a:pt x="1292" y="1580"/>
                    </a:lnTo>
                    <a:lnTo>
                      <a:pt x="1290" y="1580"/>
                    </a:lnTo>
                    <a:lnTo>
                      <a:pt x="1290" y="1575"/>
                    </a:lnTo>
                    <a:close/>
                    <a:moveTo>
                      <a:pt x="1290" y="1629"/>
                    </a:moveTo>
                    <a:lnTo>
                      <a:pt x="1293" y="1629"/>
                    </a:lnTo>
                    <a:lnTo>
                      <a:pt x="1293" y="1635"/>
                    </a:lnTo>
                    <a:lnTo>
                      <a:pt x="1290" y="1635"/>
                    </a:lnTo>
                    <a:lnTo>
                      <a:pt x="1290" y="1629"/>
                    </a:lnTo>
                    <a:close/>
                    <a:moveTo>
                      <a:pt x="1161" y="1245"/>
                    </a:moveTo>
                    <a:lnTo>
                      <a:pt x="1159" y="1247"/>
                    </a:lnTo>
                    <a:lnTo>
                      <a:pt x="1157" y="1247"/>
                    </a:lnTo>
                    <a:lnTo>
                      <a:pt x="1157" y="1245"/>
                    </a:lnTo>
                    <a:lnTo>
                      <a:pt x="1159" y="1245"/>
                    </a:lnTo>
                    <a:lnTo>
                      <a:pt x="1157" y="1245"/>
                    </a:lnTo>
                    <a:lnTo>
                      <a:pt x="1159" y="1245"/>
                    </a:lnTo>
                    <a:lnTo>
                      <a:pt x="1161" y="1245"/>
                    </a:lnTo>
                    <a:lnTo>
                      <a:pt x="1161" y="1243"/>
                    </a:lnTo>
                    <a:lnTo>
                      <a:pt x="1161" y="1245"/>
                    </a:lnTo>
                    <a:close/>
                    <a:moveTo>
                      <a:pt x="1210" y="1017"/>
                    </a:moveTo>
                    <a:lnTo>
                      <a:pt x="1213" y="1017"/>
                    </a:lnTo>
                    <a:lnTo>
                      <a:pt x="1213" y="1020"/>
                    </a:lnTo>
                    <a:lnTo>
                      <a:pt x="1210" y="1020"/>
                    </a:lnTo>
                    <a:lnTo>
                      <a:pt x="1210" y="1017"/>
                    </a:lnTo>
                    <a:close/>
                    <a:moveTo>
                      <a:pt x="1200" y="1085"/>
                    </a:moveTo>
                    <a:lnTo>
                      <a:pt x="1200" y="1087"/>
                    </a:lnTo>
                    <a:lnTo>
                      <a:pt x="1198" y="1085"/>
                    </a:lnTo>
                    <a:lnTo>
                      <a:pt x="1196" y="1085"/>
                    </a:lnTo>
                    <a:lnTo>
                      <a:pt x="1198" y="1085"/>
                    </a:lnTo>
                    <a:lnTo>
                      <a:pt x="1200" y="1083"/>
                    </a:lnTo>
                    <a:lnTo>
                      <a:pt x="1200" y="1085"/>
                    </a:lnTo>
                    <a:close/>
                    <a:moveTo>
                      <a:pt x="1210" y="1253"/>
                    </a:moveTo>
                    <a:lnTo>
                      <a:pt x="1210" y="1255"/>
                    </a:lnTo>
                    <a:lnTo>
                      <a:pt x="1212" y="1255"/>
                    </a:lnTo>
                    <a:lnTo>
                      <a:pt x="1212" y="1257"/>
                    </a:lnTo>
                    <a:lnTo>
                      <a:pt x="1210" y="1255"/>
                    </a:lnTo>
                    <a:lnTo>
                      <a:pt x="1208" y="1255"/>
                    </a:lnTo>
                    <a:lnTo>
                      <a:pt x="1208" y="1253"/>
                    </a:lnTo>
                    <a:lnTo>
                      <a:pt x="1210" y="1253"/>
                    </a:lnTo>
                    <a:close/>
                    <a:moveTo>
                      <a:pt x="1156" y="1187"/>
                    </a:moveTo>
                    <a:lnTo>
                      <a:pt x="1157" y="1189"/>
                    </a:lnTo>
                    <a:lnTo>
                      <a:pt x="1159" y="1191"/>
                    </a:lnTo>
                    <a:lnTo>
                      <a:pt x="1157" y="1191"/>
                    </a:lnTo>
                    <a:lnTo>
                      <a:pt x="1156" y="1189"/>
                    </a:lnTo>
                    <a:lnTo>
                      <a:pt x="1154" y="1189"/>
                    </a:lnTo>
                    <a:lnTo>
                      <a:pt x="1156" y="1187"/>
                    </a:lnTo>
                    <a:close/>
                    <a:moveTo>
                      <a:pt x="1219" y="1119"/>
                    </a:moveTo>
                    <a:lnTo>
                      <a:pt x="1217" y="1121"/>
                    </a:lnTo>
                    <a:lnTo>
                      <a:pt x="1215" y="1121"/>
                    </a:lnTo>
                    <a:lnTo>
                      <a:pt x="1217" y="1119"/>
                    </a:lnTo>
                    <a:lnTo>
                      <a:pt x="1215" y="1119"/>
                    </a:lnTo>
                    <a:lnTo>
                      <a:pt x="1217" y="1119"/>
                    </a:lnTo>
                    <a:lnTo>
                      <a:pt x="1219" y="1119"/>
                    </a:lnTo>
                    <a:close/>
                    <a:moveTo>
                      <a:pt x="1210" y="1242"/>
                    </a:moveTo>
                    <a:lnTo>
                      <a:pt x="1210" y="1243"/>
                    </a:lnTo>
                    <a:lnTo>
                      <a:pt x="1208" y="1243"/>
                    </a:lnTo>
                    <a:lnTo>
                      <a:pt x="1207" y="1243"/>
                    </a:lnTo>
                    <a:lnTo>
                      <a:pt x="1207" y="1242"/>
                    </a:lnTo>
                    <a:lnTo>
                      <a:pt x="1208" y="1242"/>
                    </a:lnTo>
                    <a:lnTo>
                      <a:pt x="1210" y="1242"/>
                    </a:lnTo>
                    <a:close/>
                    <a:moveTo>
                      <a:pt x="1151" y="1291"/>
                    </a:moveTo>
                    <a:lnTo>
                      <a:pt x="1154" y="1291"/>
                    </a:lnTo>
                    <a:lnTo>
                      <a:pt x="1154" y="1294"/>
                    </a:lnTo>
                    <a:lnTo>
                      <a:pt x="1151" y="1294"/>
                    </a:lnTo>
                    <a:lnTo>
                      <a:pt x="1151" y="1291"/>
                    </a:lnTo>
                    <a:close/>
                    <a:moveTo>
                      <a:pt x="1164" y="1476"/>
                    </a:moveTo>
                    <a:lnTo>
                      <a:pt x="1168" y="1476"/>
                    </a:lnTo>
                    <a:lnTo>
                      <a:pt x="1168" y="1480"/>
                    </a:lnTo>
                    <a:lnTo>
                      <a:pt x="1164" y="1480"/>
                    </a:lnTo>
                    <a:lnTo>
                      <a:pt x="1164" y="1476"/>
                    </a:lnTo>
                    <a:close/>
                    <a:moveTo>
                      <a:pt x="1188" y="1475"/>
                    </a:moveTo>
                    <a:lnTo>
                      <a:pt x="1188" y="1476"/>
                    </a:lnTo>
                    <a:lnTo>
                      <a:pt x="1186" y="1476"/>
                    </a:lnTo>
                    <a:lnTo>
                      <a:pt x="1186" y="1475"/>
                    </a:lnTo>
                    <a:lnTo>
                      <a:pt x="1188" y="1475"/>
                    </a:lnTo>
                    <a:lnTo>
                      <a:pt x="1186" y="1475"/>
                    </a:lnTo>
                    <a:lnTo>
                      <a:pt x="1185" y="1475"/>
                    </a:lnTo>
                    <a:lnTo>
                      <a:pt x="1186" y="1475"/>
                    </a:lnTo>
                    <a:lnTo>
                      <a:pt x="1188" y="1473"/>
                    </a:lnTo>
                    <a:lnTo>
                      <a:pt x="1190" y="1475"/>
                    </a:lnTo>
                    <a:lnTo>
                      <a:pt x="1188" y="1475"/>
                    </a:lnTo>
                    <a:close/>
                    <a:moveTo>
                      <a:pt x="1186" y="1119"/>
                    </a:moveTo>
                    <a:lnTo>
                      <a:pt x="1188" y="1119"/>
                    </a:lnTo>
                    <a:lnTo>
                      <a:pt x="1188" y="1124"/>
                    </a:lnTo>
                    <a:lnTo>
                      <a:pt x="1186" y="1124"/>
                    </a:lnTo>
                    <a:lnTo>
                      <a:pt x="1186" y="1119"/>
                    </a:lnTo>
                    <a:close/>
                    <a:moveTo>
                      <a:pt x="1326" y="1648"/>
                    </a:moveTo>
                    <a:lnTo>
                      <a:pt x="1327" y="1650"/>
                    </a:lnTo>
                    <a:lnTo>
                      <a:pt x="1329" y="1650"/>
                    </a:lnTo>
                    <a:lnTo>
                      <a:pt x="1327" y="1650"/>
                    </a:lnTo>
                    <a:lnTo>
                      <a:pt x="1326" y="1650"/>
                    </a:lnTo>
                    <a:lnTo>
                      <a:pt x="1324" y="1650"/>
                    </a:lnTo>
                    <a:lnTo>
                      <a:pt x="1324" y="1648"/>
                    </a:lnTo>
                    <a:lnTo>
                      <a:pt x="1326" y="1648"/>
                    </a:lnTo>
                    <a:close/>
                    <a:moveTo>
                      <a:pt x="1205" y="1065"/>
                    </a:moveTo>
                    <a:lnTo>
                      <a:pt x="1208" y="1065"/>
                    </a:lnTo>
                    <a:lnTo>
                      <a:pt x="1208" y="1066"/>
                    </a:lnTo>
                    <a:lnTo>
                      <a:pt x="1205" y="1066"/>
                    </a:lnTo>
                    <a:lnTo>
                      <a:pt x="1205" y="1065"/>
                    </a:lnTo>
                    <a:close/>
                    <a:moveTo>
                      <a:pt x="1198" y="1068"/>
                    </a:moveTo>
                    <a:lnTo>
                      <a:pt x="1202" y="1068"/>
                    </a:lnTo>
                    <a:lnTo>
                      <a:pt x="1202" y="1071"/>
                    </a:lnTo>
                    <a:lnTo>
                      <a:pt x="1198" y="1071"/>
                    </a:lnTo>
                    <a:lnTo>
                      <a:pt x="1198" y="1068"/>
                    </a:lnTo>
                    <a:close/>
                    <a:moveTo>
                      <a:pt x="1210" y="1022"/>
                    </a:moveTo>
                    <a:lnTo>
                      <a:pt x="1210" y="1024"/>
                    </a:lnTo>
                    <a:lnTo>
                      <a:pt x="1210" y="1022"/>
                    </a:lnTo>
                    <a:lnTo>
                      <a:pt x="1208" y="1022"/>
                    </a:lnTo>
                    <a:lnTo>
                      <a:pt x="1208" y="1020"/>
                    </a:lnTo>
                    <a:lnTo>
                      <a:pt x="1208" y="1019"/>
                    </a:lnTo>
                    <a:lnTo>
                      <a:pt x="1210" y="1019"/>
                    </a:lnTo>
                    <a:lnTo>
                      <a:pt x="1210" y="1020"/>
                    </a:lnTo>
                    <a:lnTo>
                      <a:pt x="1210" y="1022"/>
                    </a:lnTo>
                    <a:close/>
                    <a:moveTo>
                      <a:pt x="1178" y="1383"/>
                    </a:moveTo>
                    <a:lnTo>
                      <a:pt x="1181" y="1383"/>
                    </a:lnTo>
                    <a:lnTo>
                      <a:pt x="1181" y="1386"/>
                    </a:lnTo>
                    <a:lnTo>
                      <a:pt x="1178" y="1386"/>
                    </a:lnTo>
                    <a:lnTo>
                      <a:pt x="1178" y="1383"/>
                    </a:lnTo>
                    <a:close/>
                    <a:moveTo>
                      <a:pt x="1205" y="1104"/>
                    </a:moveTo>
                    <a:lnTo>
                      <a:pt x="1208" y="1104"/>
                    </a:lnTo>
                    <a:lnTo>
                      <a:pt x="1208" y="1107"/>
                    </a:lnTo>
                    <a:lnTo>
                      <a:pt x="1205" y="1107"/>
                    </a:lnTo>
                    <a:lnTo>
                      <a:pt x="1205" y="1104"/>
                    </a:lnTo>
                    <a:close/>
                    <a:moveTo>
                      <a:pt x="1205" y="1053"/>
                    </a:moveTo>
                    <a:lnTo>
                      <a:pt x="1203" y="1054"/>
                    </a:lnTo>
                    <a:lnTo>
                      <a:pt x="1202" y="1054"/>
                    </a:lnTo>
                    <a:lnTo>
                      <a:pt x="1202" y="1053"/>
                    </a:lnTo>
                    <a:lnTo>
                      <a:pt x="1203" y="1053"/>
                    </a:lnTo>
                    <a:lnTo>
                      <a:pt x="1205" y="1053"/>
                    </a:lnTo>
                    <a:close/>
                    <a:moveTo>
                      <a:pt x="1191" y="1396"/>
                    </a:moveTo>
                    <a:lnTo>
                      <a:pt x="1193" y="1396"/>
                    </a:lnTo>
                    <a:lnTo>
                      <a:pt x="1193" y="1400"/>
                    </a:lnTo>
                    <a:lnTo>
                      <a:pt x="1191" y="1400"/>
                    </a:lnTo>
                    <a:lnTo>
                      <a:pt x="1191" y="1396"/>
                    </a:lnTo>
                    <a:close/>
                    <a:moveTo>
                      <a:pt x="1224" y="1556"/>
                    </a:moveTo>
                    <a:lnTo>
                      <a:pt x="1224" y="1558"/>
                    </a:lnTo>
                    <a:lnTo>
                      <a:pt x="1224" y="1556"/>
                    </a:lnTo>
                    <a:lnTo>
                      <a:pt x="1224" y="1558"/>
                    </a:lnTo>
                    <a:lnTo>
                      <a:pt x="1222" y="1558"/>
                    </a:lnTo>
                    <a:lnTo>
                      <a:pt x="1220" y="1558"/>
                    </a:lnTo>
                    <a:lnTo>
                      <a:pt x="1222" y="1558"/>
                    </a:lnTo>
                    <a:lnTo>
                      <a:pt x="1224" y="1556"/>
                    </a:lnTo>
                    <a:lnTo>
                      <a:pt x="1222" y="1558"/>
                    </a:lnTo>
                    <a:lnTo>
                      <a:pt x="1220" y="1558"/>
                    </a:lnTo>
                    <a:lnTo>
                      <a:pt x="1222" y="1556"/>
                    </a:lnTo>
                    <a:lnTo>
                      <a:pt x="1224" y="1556"/>
                    </a:lnTo>
                    <a:close/>
                    <a:moveTo>
                      <a:pt x="1356" y="1663"/>
                    </a:moveTo>
                    <a:lnTo>
                      <a:pt x="1358" y="1663"/>
                    </a:lnTo>
                    <a:lnTo>
                      <a:pt x="1356" y="1665"/>
                    </a:lnTo>
                    <a:lnTo>
                      <a:pt x="1355" y="1665"/>
                    </a:lnTo>
                    <a:lnTo>
                      <a:pt x="1356" y="1667"/>
                    </a:lnTo>
                    <a:lnTo>
                      <a:pt x="1355" y="1665"/>
                    </a:lnTo>
                    <a:lnTo>
                      <a:pt x="1355" y="1663"/>
                    </a:lnTo>
                    <a:lnTo>
                      <a:pt x="1356" y="1663"/>
                    </a:lnTo>
                    <a:close/>
                    <a:moveTo>
                      <a:pt x="1183" y="1464"/>
                    </a:moveTo>
                    <a:lnTo>
                      <a:pt x="1186" y="1464"/>
                    </a:lnTo>
                    <a:lnTo>
                      <a:pt x="1186" y="1468"/>
                    </a:lnTo>
                    <a:lnTo>
                      <a:pt x="1183" y="1468"/>
                    </a:lnTo>
                    <a:lnTo>
                      <a:pt x="1183" y="1464"/>
                    </a:lnTo>
                    <a:close/>
                    <a:moveTo>
                      <a:pt x="1268" y="1614"/>
                    </a:moveTo>
                    <a:lnTo>
                      <a:pt x="1271" y="1614"/>
                    </a:lnTo>
                    <a:lnTo>
                      <a:pt x="1271" y="1619"/>
                    </a:lnTo>
                    <a:lnTo>
                      <a:pt x="1268" y="1619"/>
                    </a:lnTo>
                    <a:lnTo>
                      <a:pt x="1268" y="1614"/>
                    </a:lnTo>
                    <a:close/>
                    <a:moveTo>
                      <a:pt x="1202" y="1544"/>
                    </a:moveTo>
                    <a:lnTo>
                      <a:pt x="1203" y="1544"/>
                    </a:lnTo>
                    <a:lnTo>
                      <a:pt x="1203" y="1546"/>
                    </a:lnTo>
                    <a:lnTo>
                      <a:pt x="1202" y="1546"/>
                    </a:lnTo>
                    <a:lnTo>
                      <a:pt x="1202" y="1544"/>
                    </a:lnTo>
                    <a:close/>
                    <a:moveTo>
                      <a:pt x="1176" y="1487"/>
                    </a:moveTo>
                    <a:lnTo>
                      <a:pt x="1179" y="1487"/>
                    </a:lnTo>
                    <a:lnTo>
                      <a:pt x="1179" y="1488"/>
                    </a:lnTo>
                    <a:lnTo>
                      <a:pt x="1176" y="1488"/>
                    </a:lnTo>
                    <a:lnTo>
                      <a:pt x="1176" y="1487"/>
                    </a:lnTo>
                    <a:close/>
                    <a:moveTo>
                      <a:pt x="1181" y="1328"/>
                    </a:moveTo>
                    <a:lnTo>
                      <a:pt x="1183" y="1328"/>
                    </a:lnTo>
                    <a:lnTo>
                      <a:pt x="1183" y="1333"/>
                    </a:lnTo>
                    <a:lnTo>
                      <a:pt x="1181" y="1333"/>
                    </a:lnTo>
                    <a:lnTo>
                      <a:pt x="1181" y="1328"/>
                    </a:lnTo>
                    <a:close/>
                    <a:moveTo>
                      <a:pt x="1200" y="1080"/>
                    </a:moveTo>
                    <a:lnTo>
                      <a:pt x="1202" y="1080"/>
                    </a:lnTo>
                    <a:lnTo>
                      <a:pt x="1202" y="1082"/>
                    </a:lnTo>
                    <a:lnTo>
                      <a:pt x="1200" y="1082"/>
                    </a:lnTo>
                    <a:lnTo>
                      <a:pt x="1200" y="1080"/>
                    </a:lnTo>
                    <a:close/>
                    <a:moveTo>
                      <a:pt x="1171" y="1252"/>
                    </a:moveTo>
                    <a:lnTo>
                      <a:pt x="1173" y="1252"/>
                    </a:lnTo>
                    <a:lnTo>
                      <a:pt x="1173" y="1257"/>
                    </a:lnTo>
                    <a:lnTo>
                      <a:pt x="1171" y="1257"/>
                    </a:lnTo>
                    <a:lnTo>
                      <a:pt x="1171" y="1252"/>
                    </a:lnTo>
                    <a:close/>
                    <a:moveTo>
                      <a:pt x="1217" y="1082"/>
                    </a:moveTo>
                    <a:lnTo>
                      <a:pt x="1220" y="1082"/>
                    </a:lnTo>
                    <a:lnTo>
                      <a:pt x="1220" y="1085"/>
                    </a:lnTo>
                    <a:lnTo>
                      <a:pt x="1217" y="1085"/>
                    </a:lnTo>
                    <a:lnTo>
                      <a:pt x="1217" y="1082"/>
                    </a:lnTo>
                    <a:close/>
                    <a:moveTo>
                      <a:pt x="1162" y="1407"/>
                    </a:moveTo>
                    <a:lnTo>
                      <a:pt x="1164" y="1407"/>
                    </a:lnTo>
                    <a:lnTo>
                      <a:pt x="1162" y="1408"/>
                    </a:lnTo>
                    <a:lnTo>
                      <a:pt x="1161" y="1408"/>
                    </a:lnTo>
                    <a:lnTo>
                      <a:pt x="1161" y="1407"/>
                    </a:lnTo>
                    <a:lnTo>
                      <a:pt x="1162" y="1407"/>
                    </a:lnTo>
                    <a:close/>
                    <a:moveTo>
                      <a:pt x="1149" y="1373"/>
                    </a:moveTo>
                    <a:lnTo>
                      <a:pt x="1152" y="1373"/>
                    </a:lnTo>
                    <a:lnTo>
                      <a:pt x="1152" y="1376"/>
                    </a:lnTo>
                    <a:lnTo>
                      <a:pt x="1149" y="1376"/>
                    </a:lnTo>
                    <a:lnTo>
                      <a:pt x="1149" y="1373"/>
                    </a:lnTo>
                    <a:close/>
                    <a:moveTo>
                      <a:pt x="1217" y="985"/>
                    </a:moveTo>
                    <a:lnTo>
                      <a:pt x="1220" y="985"/>
                    </a:lnTo>
                    <a:lnTo>
                      <a:pt x="1220" y="986"/>
                    </a:lnTo>
                    <a:lnTo>
                      <a:pt x="1217" y="986"/>
                    </a:lnTo>
                    <a:lnTo>
                      <a:pt x="1217" y="985"/>
                    </a:lnTo>
                    <a:close/>
                    <a:moveTo>
                      <a:pt x="1161" y="1356"/>
                    </a:moveTo>
                    <a:lnTo>
                      <a:pt x="1162" y="1356"/>
                    </a:lnTo>
                    <a:lnTo>
                      <a:pt x="1162" y="1361"/>
                    </a:lnTo>
                    <a:lnTo>
                      <a:pt x="1161" y="1361"/>
                    </a:lnTo>
                    <a:lnTo>
                      <a:pt x="1161" y="1356"/>
                    </a:lnTo>
                    <a:close/>
                    <a:moveTo>
                      <a:pt x="1154" y="1364"/>
                    </a:moveTo>
                    <a:lnTo>
                      <a:pt x="1157" y="1364"/>
                    </a:lnTo>
                    <a:lnTo>
                      <a:pt x="1157" y="1367"/>
                    </a:lnTo>
                    <a:lnTo>
                      <a:pt x="1154" y="1367"/>
                    </a:lnTo>
                    <a:lnTo>
                      <a:pt x="1154" y="1364"/>
                    </a:lnTo>
                    <a:close/>
                    <a:moveTo>
                      <a:pt x="1365" y="1650"/>
                    </a:moveTo>
                    <a:lnTo>
                      <a:pt x="1366" y="1650"/>
                    </a:lnTo>
                    <a:lnTo>
                      <a:pt x="1366" y="1653"/>
                    </a:lnTo>
                    <a:lnTo>
                      <a:pt x="1365" y="1653"/>
                    </a:lnTo>
                    <a:lnTo>
                      <a:pt x="1365" y="1650"/>
                    </a:lnTo>
                    <a:close/>
                    <a:moveTo>
                      <a:pt x="1246" y="1590"/>
                    </a:moveTo>
                    <a:lnTo>
                      <a:pt x="1246" y="1589"/>
                    </a:lnTo>
                    <a:lnTo>
                      <a:pt x="1247" y="1590"/>
                    </a:lnTo>
                    <a:lnTo>
                      <a:pt x="1249" y="1592"/>
                    </a:lnTo>
                    <a:lnTo>
                      <a:pt x="1247" y="1592"/>
                    </a:lnTo>
                    <a:lnTo>
                      <a:pt x="1247" y="1590"/>
                    </a:lnTo>
                    <a:lnTo>
                      <a:pt x="1246" y="1590"/>
                    </a:lnTo>
                    <a:lnTo>
                      <a:pt x="1244" y="1590"/>
                    </a:lnTo>
                    <a:lnTo>
                      <a:pt x="1246" y="1590"/>
                    </a:lnTo>
                    <a:lnTo>
                      <a:pt x="1246" y="1589"/>
                    </a:lnTo>
                    <a:lnTo>
                      <a:pt x="1246" y="1590"/>
                    </a:lnTo>
                    <a:close/>
                    <a:moveTo>
                      <a:pt x="1202" y="1090"/>
                    </a:moveTo>
                    <a:lnTo>
                      <a:pt x="1203" y="1092"/>
                    </a:lnTo>
                    <a:lnTo>
                      <a:pt x="1202" y="1092"/>
                    </a:lnTo>
                    <a:lnTo>
                      <a:pt x="1200" y="1092"/>
                    </a:lnTo>
                    <a:lnTo>
                      <a:pt x="1198" y="1092"/>
                    </a:lnTo>
                    <a:lnTo>
                      <a:pt x="1200" y="1092"/>
                    </a:lnTo>
                    <a:lnTo>
                      <a:pt x="1200" y="1090"/>
                    </a:lnTo>
                    <a:lnTo>
                      <a:pt x="1202" y="1090"/>
                    </a:lnTo>
                    <a:close/>
                    <a:moveTo>
                      <a:pt x="1185" y="1524"/>
                    </a:moveTo>
                    <a:lnTo>
                      <a:pt x="1186" y="1524"/>
                    </a:lnTo>
                    <a:lnTo>
                      <a:pt x="1186" y="1527"/>
                    </a:lnTo>
                    <a:lnTo>
                      <a:pt x="1185" y="1527"/>
                    </a:lnTo>
                    <a:lnTo>
                      <a:pt x="1185" y="1524"/>
                    </a:lnTo>
                    <a:close/>
                    <a:moveTo>
                      <a:pt x="1210" y="1058"/>
                    </a:moveTo>
                    <a:lnTo>
                      <a:pt x="1212" y="1058"/>
                    </a:lnTo>
                    <a:lnTo>
                      <a:pt x="1212" y="1061"/>
                    </a:lnTo>
                    <a:lnTo>
                      <a:pt x="1210" y="1061"/>
                    </a:lnTo>
                    <a:lnTo>
                      <a:pt x="1210" y="1058"/>
                    </a:lnTo>
                    <a:close/>
                    <a:moveTo>
                      <a:pt x="1246" y="964"/>
                    </a:moveTo>
                    <a:lnTo>
                      <a:pt x="1247" y="964"/>
                    </a:lnTo>
                    <a:lnTo>
                      <a:pt x="1247" y="968"/>
                    </a:lnTo>
                    <a:lnTo>
                      <a:pt x="1246" y="968"/>
                    </a:lnTo>
                    <a:lnTo>
                      <a:pt x="1246" y="964"/>
                    </a:lnTo>
                    <a:close/>
                    <a:moveTo>
                      <a:pt x="1186" y="1027"/>
                    </a:moveTo>
                    <a:lnTo>
                      <a:pt x="1188" y="1027"/>
                    </a:lnTo>
                    <a:lnTo>
                      <a:pt x="1188" y="1031"/>
                    </a:lnTo>
                    <a:lnTo>
                      <a:pt x="1186" y="1031"/>
                    </a:lnTo>
                    <a:lnTo>
                      <a:pt x="1186" y="1027"/>
                    </a:lnTo>
                    <a:close/>
                    <a:moveTo>
                      <a:pt x="1144" y="1322"/>
                    </a:moveTo>
                    <a:lnTo>
                      <a:pt x="1147" y="1322"/>
                    </a:lnTo>
                    <a:lnTo>
                      <a:pt x="1147" y="1325"/>
                    </a:lnTo>
                    <a:lnTo>
                      <a:pt x="1144" y="1325"/>
                    </a:lnTo>
                    <a:lnTo>
                      <a:pt x="1144" y="1322"/>
                    </a:lnTo>
                    <a:close/>
                    <a:moveTo>
                      <a:pt x="1202" y="1536"/>
                    </a:moveTo>
                    <a:lnTo>
                      <a:pt x="1202" y="1538"/>
                    </a:lnTo>
                    <a:lnTo>
                      <a:pt x="1202" y="1536"/>
                    </a:lnTo>
                    <a:lnTo>
                      <a:pt x="1203" y="1538"/>
                    </a:lnTo>
                    <a:lnTo>
                      <a:pt x="1202" y="1538"/>
                    </a:lnTo>
                    <a:lnTo>
                      <a:pt x="1200" y="1536"/>
                    </a:lnTo>
                    <a:lnTo>
                      <a:pt x="1202" y="1536"/>
                    </a:lnTo>
                    <a:close/>
                    <a:moveTo>
                      <a:pt x="1368" y="1663"/>
                    </a:moveTo>
                    <a:lnTo>
                      <a:pt x="1372" y="1663"/>
                    </a:lnTo>
                    <a:lnTo>
                      <a:pt x="1372" y="1665"/>
                    </a:lnTo>
                    <a:lnTo>
                      <a:pt x="1368" y="1665"/>
                    </a:lnTo>
                    <a:lnTo>
                      <a:pt x="1368" y="1663"/>
                    </a:lnTo>
                    <a:close/>
                    <a:moveTo>
                      <a:pt x="1307" y="1640"/>
                    </a:moveTo>
                    <a:lnTo>
                      <a:pt x="1310" y="1640"/>
                    </a:lnTo>
                    <a:lnTo>
                      <a:pt x="1310" y="1643"/>
                    </a:lnTo>
                    <a:lnTo>
                      <a:pt x="1307" y="1643"/>
                    </a:lnTo>
                    <a:lnTo>
                      <a:pt x="1307" y="1640"/>
                    </a:lnTo>
                    <a:close/>
                    <a:moveTo>
                      <a:pt x="1188" y="1058"/>
                    </a:moveTo>
                    <a:lnTo>
                      <a:pt x="1190" y="1058"/>
                    </a:lnTo>
                    <a:lnTo>
                      <a:pt x="1191" y="1058"/>
                    </a:lnTo>
                    <a:lnTo>
                      <a:pt x="1190" y="1060"/>
                    </a:lnTo>
                    <a:lnTo>
                      <a:pt x="1188" y="1060"/>
                    </a:lnTo>
                    <a:lnTo>
                      <a:pt x="1186" y="1058"/>
                    </a:lnTo>
                    <a:lnTo>
                      <a:pt x="1188" y="1058"/>
                    </a:lnTo>
                    <a:close/>
                    <a:moveTo>
                      <a:pt x="1178" y="1485"/>
                    </a:moveTo>
                    <a:lnTo>
                      <a:pt x="1181" y="1485"/>
                    </a:lnTo>
                    <a:lnTo>
                      <a:pt x="1181" y="1487"/>
                    </a:lnTo>
                    <a:lnTo>
                      <a:pt x="1178" y="1487"/>
                    </a:lnTo>
                    <a:lnTo>
                      <a:pt x="1178" y="1485"/>
                    </a:lnTo>
                    <a:close/>
                    <a:moveTo>
                      <a:pt x="1210" y="1551"/>
                    </a:moveTo>
                    <a:lnTo>
                      <a:pt x="1213" y="1551"/>
                    </a:lnTo>
                    <a:lnTo>
                      <a:pt x="1213" y="1555"/>
                    </a:lnTo>
                    <a:lnTo>
                      <a:pt x="1210" y="1555"/>
                    </a:lnTo>
                    <a:lnTo>
                      <a:pt x="1210" y="1551"/>
                    </a:lnTo>
                    <a:close/>
                    <a:moveTo>
                      <a:pt x="1360" y="1667"/>
                    </a:moveTo>
                    <a:lnTo>
                      <a:pt x="1361" y="1667"/>
                    </a:lnTo>
                    <a:lnTo>
                      <a:pt x="1361" y="1670"/>
                    </a:lnTo>
                    <a:lnTo>
                      <a:pt x="1360" y="1670"/>
                    </a:lnTo>
                    <a:lnTo>
                      <a:pt x="1360" y="1667"/>
                    </a:lnTo>
                    <a:close/>
                    <a:moveTo>
                      <a:pt x="1210" y="1242"/>
                    </a:moveTo>
                    <a:lnTo>
                      <a:pt x="1213" y="1242"/>
                    </a:lnTo>
                    <a:lnTo>
                      <a:pt x="1213" y="1245"/>
                    </a:lnTo>
                    <a:lnTo>
                      <a:pt x="1210" y="1245"/>
                    </a:lnTo>
                    <a:lnTo>
                      <a:pt x="1210" y="1242"/>
                    </a:lnTo>
                    <a:close/>
                    <a:moveTo>
                      <a:pt x="1200" y="1541"/>
                    </a:moveTo>
                    <a:lnTo>
                      <a:pt x="1203" y="1541"/>
                    </a:lnTo>
                    <a:lnTo>
                      <a:pt x="1203" y="1543"/>
                    </a:lnTo>
                    <a:lnTo>
                      <a:pt x="1200" y="1543"/>
                    </a:lnTo>
                    <a:lnTo>
                      <a:pt x="1200" y="1541"/>
                    </a:lnTo>
                    <a:close/>
                    <a:moveTo>
                      <a:pt x="1151" y="1330"/>
                    </a:moveTo>
                    <a:lnTo>
                      <a:pt x="1154" y="1330"/>
                    </a:lnTo>
                    <a:lnTo>
                      <a:pt x="1154" y="1333"/>
                    </a:lnTo>
                    <a:lnTo>
                      <a:pt x="1151" y="1333"/>
                    </a:lnTo>
                    <a:lnTo>
                      <a:pt x="1151" y="1330"/>
                    </a:lnTo>
                    <a:close/>
                    <a:moveTo>
                      <a:pt x="1205" y="1080"/>
                    </a:moveTo>
                    <a:lnTo>
                      <a:pt x="1207" y="1080"/>
                    </a:lnTo>
                    <a:lnTo>
                      <a:pt x="1207" y="1082"/>
                    </a:lnTo>
                    <a:lnTo>
                      <a:pt x="1205" y="1082"/>
                    </a:lnTo>
                    <a:lnTo>
                      <a:pt x="1205" y="1080"/>
                    </a:lnTo>
                    <a:close/>
                    <a:moveTo>
                      <a:pt x="1225" y="1580"/>
                    </a:moveTo>
                    <a:lnTo>
                      <a:pt x="1227" y="1580"/>
                    </a:lnTo>
                    <a:lnTo>
                      <a:pt x="1227" y="1583"/>
                    </a:lnTo>
                    <a:lnTo>
                      <a:pt x="1225" y="1583"/>
                    </a:lnTo>
                    <a:lnTo>
                      <a:pt x="1225" y="1580"/>
                    </a:lnTo>
                    <a:close/>
                    <a:moveTo>
                      <a:pt x="1195" y="1146"/>
                    </a:moveTo>
                    <a:lnTo>
                      <a:pt x="1195" y="1148"/>
                    </a:lnTo>
                    <a:lnTo>
                      <a:pt x="1193" y="1148"/>
                    </a:lnTo>
                    <a:lnTo>
                      <a:pt x="1191" y="1146"/>
                    </a:lnTo>
                    <a:lnTo>
                      <a:pt x="1193" y="1146"/>
                    </a:lnTo>
                    <a:lnTo>
                      <a:pt x="1195" y="1146"/>
                    </a:lnTo>
                    <a:close/>
                    <a:moveTo>
                      <a:pt x="1290" y="1616"/>
                    </a:moveTo>
                    <a:lnTo>
                      <a:pt x="1288" y="1618"/>
                    </a:lnTo>
                    <a:lnTo>
                      <a:pt x="1287" y="1616"/>
                    </a:lnTo>
                    <a:lnTo>
                      <a:pt x="1288" y="1616"/>
                    </a:lnTo>
                    <a:lnTo>
                      <a:pt x="1290" y="1616"/>
                    </a:lnTo>
                    <a:lnTo>
                      <a:pt x="1288" y="1616"/>
                    </a:lnTo>
                    <a:lnTo>
                      <a:pt x="1290" y="1616"/>
                    </a:lnTo>
                    <a:close/>
                    <a:moveTo>
                      <a:pt x="1171" y="1366"/>
                    </a:moveTo>
                    <a:lnTo>
                      <a:pt x="1174" y="1366"/>
                    </a:lnTo>
                    <a:lnTo>
                      <a:pt x="1174" y="1369"/>
                    </a:lnTo>
                    <a:lnTo>
                      <a:pt x="1171" y="1369"/>
                    </a:lnTo>
                    <a:lnTo>
                      <a:pt x="1171" y="1366"/>
                    </a:lnTo>
                    <a:close/>
                    <a:moveTo>
                      <a:pt x="1176" y="1447"/>
                    </a:moveTo>
                    <a:lnTo>
                      <a:pt x="1178" y="1447"/>
                    </a:lnTo>
                    <a:lnTo>
                      <a:pt x="1178" y="1451"/>
                    </a:lnTo>
                    <a:lnTo>
                      <a:pt x="1176" y="1451"/>
                    </a:lnTo>
                    <a:lnTo>
                      <a:pt x="1176" y="1447"/>
                    </a:lnTo>
                    <a:close/>
                    <a:moveTo>
                      <a:pt x="1198" y="1157"/>
                    </a:moveTo>
                    <a:lnTo>
                      <a:pt x="1200" y="1157"/>
                    </a:lnTo>
                    <a:lnTo>
                      <a:pt x="1200" y="1158"/>
                    </a:lnTo>
                    <a:lnTo>
                      <a:pt x="1198" y="1158"/>
                    </a:lnTo>
                    <a:lnTo>
                      <a:pt x="1198" y="1157"/>
                    </a:lnTo>
                    <a:close/>
                    <a:moveTo>
                      <a:pt x="1312" y="1633"/>
                    </a:moveTo>
                    <a:lnTo>
                      <a:pt x="1314" y="1633"/>
                    </a:lnTo>
                    <a:lnTo>
                      <a:pt x="1314" y="1635"/>
                    </a:lnTo>
                    <a:lnTo>
                      <a:pt x="1314" y="1633"/>
                    </a:lnTo>
                    <a:lnTo>
                      <a:pt x="1312" y="1633"/>
                    </a:lnTo>
                    <a:lnTo>
                      <a:pt x="1314" y="1635"/>
                    </a:lnTo>
                    <a:lnTo>
                      <a:pt x="1312" y="1635"/>
                    </a:lnTo>
                    <a:lnTo>
                      <a:pt x="1310" y="1635"/>
                    </a:lnTo>
                    <a:lnTo>
                      <a:pt x="1310" y="1633"/>
                    </a:lnTo>
                    <a:lnTo>
                      <a:pt x="1312" y="1633"/>
                    </a:lnTo>
                    <a:close/>
                    <a:moveTo>
                      <a:pt x="1186" y="1279"/>
                    </a:moveTo>
                    <a:lnTo>
                      <a:pt x="1185" y="1279"/>
                    </a:lnTo>
                    <a:lnTo>
                      <a:pt x="1185" y="1281"/>
                    </a:lnTo>
                    <a:lnTo>
                      <a:pt x="1183" y="1281"/>
                    </a:lnTo>
                    <a:lnTo>
                      <a:pt x="1183" y="1279"/>
                    </a:lnTo>
                    <a:lnTo>
                      <a:pt x="1185" y="1279"/>
                    </a:lnTo>
                    <a:lnTo>
                      <a:pt x="1183" y="1279"/>
                    </a:lnTo>
                    <a:lnTo>
                      <a:pt x="1185" y="1279"/>
                    </a:lnTo>
                    <a:lnTo>
                      <a:pt x="1186" y="1277"/>
                    </a:lnTo>
                    <a:lnTo>
                      <a:pt x="1188" y="1277"/>
                    </a:lnTo>
                    <a:lnTo>
                      <a:pt x="1186" y="1279"/>
                    </a:lnTo>
                    <a:close/>
                    <a:moveTo>
                      <a:pt x="1156" y="1185"/>
                    </a:moveTo>
                    <a:lnTo>
                      <a:pt x="1157" y="1185"/>
                    </a:lnTo>
                    <a:lnTo>
                      <a:pt x="1157" y="1189"/>
                    </a:lnTo>
                    <a:lnTo>
                      <a:pt x="1156" y="1189"/>
                    </a:lnTo>
                    <a:lnTo>
                      <a:pt x="1156" y="1185"/>
                    </a:lnTo>
                    <a:close/>
                    <a:moveTo>
                      <a:pt x="1183" y="1476"/>
                    </a:moveTo>
                    <a:lnTo>
                      <a:pt x="1186" y="1476"/>
                    </a:lnTo>
                    <a:lnTo>
                      <a:pt x="1186" y="1478"/>
                    </a:lnTo>
                    <a:lnTo>
                      <a:pt x="1183" y="1478"/>
                    </a:lnTo>
                    <a:lnTo>
                      <a:pt x="1183" y="1476"/>
                    </a:lnTo>
                    <a:close/>
                    <a:moveTo>
                      <a:pt x="1217" y="1500"/>
                    </a:moveTo>
                    <a:lnTo>
                      <a:pt x="1219" y="1500"/>
                    </a:lnTo>
                    <a:lnTo>
                      <a:pt x="1219" y="1504"/>
                    </a:lnTo>
                    <a:lnTo>
                      <a:pt x="1217" y="1504"/>
                    </a:lnTo>
                    <a:lnTo>
                      <a:pt x="1217" y="1500"/>
                    </a:lnTo>
                    <a:close/>
                    <a:moveTo>
                      <a:pt x="1213" y="1556"/>
                    </a:moveTo>
                    <a:lnTo>
                      <a:pt x="1215" y="1556"/>
                    </a:lnTo>
                    <a:lnTo>
                      <a:pt x="1215" y="1558"/>
                    </a:lnTo>
                    <a:lnTo>
                      <a:pt x="1213" y="1558"/>
                    </a:lnTo>
                    <a:lnTo>
                      <a:pt x="1213" y="1556"/>
                    </a:lnTo>
                    <a:close/>
                    <a:moveTo>
                      <a:pt x="1315" y="1633"/>
                    </a:moveTo>
                    <a:lnTo>
                      <a:pt x="1319" y="1633"/>
                    </a:lnTo>
                    <a:lnTo>
                      <a:pt x="1319" y="1636"/>
                    </a:lnTo>
                    <a:lnTo>
                      <a:pt x="1315" y="1636"/>
                    </a:lnTo>
                    <a:lnTo>
                      <a:pt x="1315" y="1633"/>
                    </a:lnTo>
                    <a:close/>
                    <a:moveTo>
                      <a:pt x="1229" y="1585"/>
                    </a:moveTo>
                    <a:lnTo>
                      <a:pt x="1232" y="1585"/>
                    </a:lnTo>
                    <a:lnTo>
                      <a:pt x="1232" y="1587"/>
                    </a:lnTo>
                    <a:lnTo>
                      <a:pt x="1229" y="1587"/>
                    </a:lnTo>
                    <a:lnTo>
                      <a:pt x="1229" y="1585"/>
                    </a:lnTo>
                    <a:close/>
                    <a:moveTo>
                      <a:pt x="1378" y="1662"/>
                    </a:moveTo>
                    <a:lnTo>
                      <a:pt x="1382" y="1662"/>
                    </a:lnTo>
                    <a:lnTo>
                      <a:pt x="1382" y="1667"/>
                    </a:lnTo>
                    <a:lnTo>
                      <a:pt x="1378" y="1667"/>
                    </a:lnTo>
                    <a:lnTo>
                      <a:pt x="1378" y="1662"/>
                    </a:lnTo>
                    <a:close/>
                    <a:moveTo>
                      <a:pt x="1227" y="992"/>
                    </a:moveTo>
                    <a:lnTo>
                      <a:pt x="1230" y="992"/>
                    </a:lnTo>
                    <a:lnTo>
                      <a:pt x="1230" y="995"/>
                    </a:lnTo>
                    <a:lnTo>
                      <a:pt x="1227" y="995"/>
                    </a:lnTo>
                    <a:lnTo>
                      <a:pt x="1227" y="992"/>
                    </a:lnTo>
                    <a:close/>
                    <a:moveTo>
                      <a:pt x="1166" y="1432"/>
                    </a:moveTo>
                    <a:lnTo>
                      <a:pt x="1168" y="1432"/>
                    </a:lnTo>
                    <a:lnTo>
                      <a:pt x="1168" y="1435"/>
                    </a:lnTo>
                    <a:lnTo>
                      <a:pt x="1166" y="1435"/>
                    </a:lnTo>
                    <a:lnTo>
                      <a:pt x="1166" y="1432"/>
                    </a:lnTo>
                    <a:close/>
                    <a:moveTo>
                      <a:pt x="1241" y="1587"/>
                    </a:moveTo>
                    <a:lnTo>
                      <a:pt x="1242" y="1587"/>
                    </a:lnTo>
                    <a:lnTo>
                      <a:pt x="1242" y="1590"/>
                    </a:lnTo>
                    <a:lnTo>
                      <a:pt x="1241" y="1590"/>
                    </a:lnTo>
                    <a:lnTo>
                      <a:pt x="1241" y="1587"/>
                    </a:lnTo>
                    <a:close/>
                    <a:moveTo>
                      <a:pt x="1179" y="1136"/>
                    </a:moveTo>
                    <a:lnTo>
                      <a:pt x="1181" y="1136"/>
                    </a:lnTo>
                    <a:lnTo>
                      <a:pt x="1181" y="1140"/>
                    </a:lnTo>
                    <a:lnTo>
                      <a:pt x="1179" y="1140"/>
                    </a:lnTo>
                    <a:lnTo>
                      <a:pt x="1179" y="1136"/>
                    </a:lnTo>
                    <a:close/>
                    <a:moveTo>
                      <a:pt x="1220" y="978"/>
                    </a:moveTo>
                    <a:lnTo>
                      <a:pt x="1222" y="978"/>
                    </a:lnTo>
                    <a:lnTo>
                      <a:pt x="1222" y="980"/>
                    </a:lnTo>
                    <a:lnTo>
                      <a:pt x="1220" y="980"/>
                    </a:lnTo>
                    <a:lnTo>
                      <a:pt x="1220" y="978"/>
                    </a:lnTo>
                    <a:close/>
                    <a:moveTo>
                      <a:pt x="1215" y="1505"/>
                    </a:moveTo>
                    <a:lnTo>
                      <a:pt x="1217" y="1505"/>
                    </a:lnTo>
                    <a:lnTo>
                      <a:pt x="1215" y="1507"/>
                    </a:lnTo>
                    <a:lnTo>
                      <a:pt x="1215" y="1505"/>
                    </a:lnTo>
                    <a:lnTo>
                      <a:pt x="1215" y="1507"/>
                    </a:lnTo>
                    <a:lnTo>
                      <a:pt x="1213" y="1505"/>
                    </a:lnTo>
                    <a:lnTo>
                      <a:pt x="1212" y="1505"/>
                    </a:lnTo>
                    <a:lnTo>
                      <a:pt x="1213" y="1505"/>
                    </a:lnTo>
                    <a:lnTo>
                      <a:pt x="1215" y="1505"/>
                    </a:lnTo>
                    <a:lnTo>
                      <a:pt x="1215" y="1507"/>
                    </a:lnTo>
                    <a:lnTo>
                      <a:pt x="1215" y="1505"/>
                    </a:lnTo>
                    <a:close/>
                    <a:moveTo>
                      <a:pt x="1389" y="1633"/>
                    </a:moveTo>
                    <a:lnTo>
                      <a:pt x="1392" y="1633"/>
                    </a:lnTo>
                    <a:lnTo>
                      <a:pt x="1392" y="1635"/>
                    </a:lnTo>
                    <a:lnTo>
                      <a:pt x="1389" y="1635"/>
                    </a:lnTo>
                    <a:lnTo>
                      <a:pt x="1389" y="1633"/>
                    </a:lnTo>
                    <a:close/>
                    <a:moveTo>
                      <a:pt x="1275" y="1597"/>
                    </a:moveTo>
                    <a:lnTo>
                      <a:pt x="1276" y="1597"/>
                    </a:lnTo>
                    <a:lnTo>
                      <a:pt x="1276" y="1600"/>
                    </a:lnTo>
                    <a:lnTo>
                      <a:pt x="1275" y="1600"/>
                    </a:lnTo>
                    <a:lnTo>
                      <a:pt x="1275" y="1597"/>
                    </a:lnTo>
                    <a:close/>
                    <a:moveTo>
                      <a:pt x="1399" y="1645"/>
                    </a:moveTo>
                    <a:lnTo>
                      <a:pt x="1402" y="1645"/>
                    </a:lnTo>
                    <a:lnTo>
                      <a:pt x="1402" y="1648"/>
                    </a:lnTo>
                    <a:lnTo>
                      <a:pt x="1399" y="1648"/>
                    </a:lnTo>
                    <a:lnTo>
                      <a:pt x="1399" y="1645"/>
                    </a:lnTo>
                    <a:close/>
                    <a:moveTo>
                      <a:pt x="1178" y="1138"/>
                    </a:moveTo>
                    <a:lnTo>
                      <a:pt x="1179" y="1138"/>
                    </a:lnTo>
                    <a:lnTo>
                      <a:pt x="1179" y="1141"/>
                    </a:lnTo>
                    <a:lnTo>
                      <a:pt x="1178" y="1141"/>
                    </a:lnTo>
                    <a:lnTo>
                      <a:pt x="1178" y="1138"/>
                    </a:lnTo>
                    <a:close/>
                    <a:moveTo>
                      <a:pt x="1229" y="944"/>
                    </a:moveTo>
                    <a:lnTo>
                      <a:pt x="1232" y="944"/>
                    </a:lnTo>
                    <a:lnTo>
                      <a:pt x="1232" y="946"/>
                    </a:lnTo>
                    <a:lnTo>
                      <a:pt x="1229" y="946"/>
                    </a:lnTo>
                    <a:lnTo>
                      <a:pt x="1229" y="944"/>
                    </a:lnTo>
                    <a:close/>
                    <a:moveTo>
                      <a:pt x="1183" y="1427"/>
                    </a:moveTo>
                    <a:lnTo>
                      <a:pt x="1186" y="1427"/>
                    </a:lnTo>
                    <a:lnTo>
                      <a:pt x="1186" y="1429"/>
                    </a:lnTo>
                    <a:lnTo>
                      <a:pt x="1183" y="1429"/>
                    </a:lnTo>
                    <a:lnTo>
                      <a:pt x="1183" y="1427"/>
                    </a:lnTo>
                    <a:close/>
                    <a:moveTo>
                      <a:pt x="1196" y="1150"/>
                    </a:moveTo>
                    <a:lnTo>
                      <a:pt x="1198" y="1150"/>
                    </a:lnTo>
                    <a:lnTo>
                      <a:pt x="1198" y="1153"/>
                    </a:lnTo>
                    <a:lnTo>
                      <a:pt x="1196" y="1153"/>
                    </a:lnTo>
                    <a:lnTo>
                      <a:pt x="1196" y="1150"/>
                    </a:lnTo>
                    <a:close/>
                    <a:moveTo>
                      <a:pt x="1169" y="1417"/>
                    </a:moveTo>
                    <a:lnTo>
                      <a:pt x="1171" y="1417"/>
                    </a:lnTo>
                    <a:lnTo>
                      <a:pt x="1171" y="1418"/>
                    </a:lnTo>
                    <a:lnTo>
                      <a:pt x="1169" y="1418"/>
                    </a:lnTo>
                    <a:lnTo>
                      <a:pt x="1169" y="1417"/>
                    </a:lnTo>
                    <a:close/>
                    <a:moveTo>
                      <a:pt x="1188" y="1066"/>
                    </a:moveTo>
                    <a:lnTo>
                      <a:pt x="1188" y="1068"/>
                    </a:lnTo>
                    <a:lnTo>
                      <a:pt x="1190" y="1068"/>
                    </a:lnTo>
                    <a:lnTo>
                      <a:pt x="1188" y="1068"/>
                    </a:lnTo>
                    <a:lnTo>
                      <a:pt x="1186" y="1066"/>
                    </a:lnTo>
                    <a:lnTo>
                      <a:pt x="1188" y="1066"/>
                    </a:lnTo>
                    <a:close/>
                    <a:moveTo>
                      <a:pt x="1171" y="1475"/>
                    </a:moveTo>
                    <a:lnTo>
                      <a:pt x="1173" y="1475"/>
                    </a:lnTo>
                    <a:lnTo>
                      <a:pt x="1173" y="1476"/>
                    </a:lnTo>
                    <a:lnTo>
                      <a:pt x="1171" y="1476"/>
                    </a:lnTo>
                    <a:lnTo>
                      <a:pt x="1171" y="1475"/>
                    </a:lnTo>
                    <a:close/>
                    <a:moveTo>
                      <a:pt x="1224" y="1071"/>
                    </a:moveTo>
                    <a:lnTo>
                      <a:pt x="1227" y="1071"/>
                    </a:lnTo>
                    <a:lnTo>
                      <a:pt x="1227" y="1073"/>
                    </a:lnTo>
                    <a:lnTo>
                      <a:pt x="1224" y="1073"/>
                    </a:lnTo>
                    <a:lnTo>
                      <a:pt x="1224" y="1071"/>
                    </a:lnTo>
                    <a:close/>
                    <a:moveTo>
                      <a:pt x="1185" y="1262"/>
                    </a:moveTo>
                    <a:lnTo>
                      <a:pt x="1188" y="1262"/>
                    </a:lnTo>
                    <a:lnTo>
                      <a:pt x="1188" y="1265"/>
                    </a:lnTo>
                    <a:lnTo>
                      <a:pt x="1185" y="1265"/>
                    </a:lnTo>
                    <a:lnTo>
                      <a:pt x="1185" y="1262"/>
                    </a:lnTo>
                    <a:close/>
                    <a:moveTo>
                      <a:pt x="1188" y="1128"/>
                    </a:moveTo>
                    <a:lnTo>
                      <a:pt x="1191" y="1128"/>
                    </a:lnTo>
                    <a:lnTo>
                      <a:pt x="1191" y="1131"/>
                    </a:lnTo>
                    <a:lnTo>
                      <a:pt x="1188" y="1131"/>
                    </a:lnTo>
                    <a:lnTo>
                      <a:pt x="1188" y="1128"/>
                    </a:lnTo>
                    <a:close/>
                    <a:moveTo>
                      <a:pt x="1202" y="1080"/>
                    </a:moveTo>
                    <a:lnTo>
                      <a:pt x="1205" y="1080"/>
                    </a:lnTo>
                    <a:lnTo>
                      <a:pt x="1205" y="1082"/>
                    </a:lnTo>
                    <a:lnTo>
                      <a:pt x="1202" y="1082"/>
                    </a:lnTo>
                    <a:lnTo>
                      <a:pt x="1202" y="1080"/>
                    </a:lnTo>
                    <a:close/>
                    <a:moveTo>
                      <a:pt x="1185" y="1141"/>
                    </a:moveTo>
                    <a:lnTo>
                      <a:pt x="1185" y="1143"/>
                    </a:lnTo>
                    <a:lnTo>
                      <a:pt x="1183" y="1143"/>
                    </a:lnTo>
                    <a:lnTo>
                      <a:pt x="1181" y="1143"/>
                    </a:lnTo>
                    <a:lnTo>
                      <a:pt x="1183" y="1143"/>
                    </a:lnTo>
                    <a:lnTo>
                      <a:pt x="1185" y="1141"/>
                    </a:lnTo>
                    <a:close/>
                    <a:moveTo>
                      <a:pt x="1276" y="1612"/>
                    </a:moveTo>
                    <a:lnTo>
                      <a:pt x="1280" y="1612"/>
                    </a:lnTo>
                    <a:lnTo>
                      <a:pt x="1280" y="1614"/>
                    </a:lnTo>
                    <a:lnTo>
                      <a:pt x="1276" y="1614"/>
                    </a:lnTo>
                    <a:lnTo>
                      <a:pt x="1276" y="1612"/>
                    </a:lnTo>
                    <a:close/>
                    <a:moveTo>
                      <a:pt x="1208" y="1502"/>
                    </a:moveTo>
                    <a:lnTo>
                      <a:pt x="1210" y="1502"/>
                    </a:lnTo>
                    <a:lnTo>
                      <a:pt x="1210" y="1505"/>
                    </a:lnTo>
                    <a:lnTo>
                      <a:pt x="1208" y="1505"/>
                    </a:lnTo>
                    <a:lnTo>
                      <a:pt x="1208" y="1502"/>
                    </a:lnTo>
                    <a:close/>
                    <a:moveTo>
                      <a:pt x="1219" y="1538"/>
                    </a:moveTo>
                    <a:lnTo>
                      <a:pt x="1222" y="1538"/>
                    </a:lnTo>
                    <a:lnTo>
                      <a:pt x="1222" y="1541"/>
                    </a:lnTo>
                    <a:lnTo>
                      <a:pt x="1219" y="1541"/>
                    </a:lnTo>
                    <a:lnTo>
                      <a:pt x="1219" y="1538"/>
                    </a:lnTo>
                    <a:close/>
                    <a:moveTo>
                      <a:pt x="1373" y="1641"/>
                    </a:moveTo>
                    <a:lnTo>
                      <a:pt x="1375" y="1641"/>
                    </a:lnTo>
                    <a:lnTo>
                      <a:pt x="1375" y="1643"/>
                    </a:lnTo>
                    <a:lnTo>
                      <a:pt x="1373" y="1643"/>
                    </a:lnTo>
                    <a:lnTo>
                      <a:pt x="1373" y="1641"/>
                    </a:lnTo>
                    <a:lnTo>
                      <a:pt x="1372" y="1641"/>
                    </a:lnTo>
                    <a:lnTo>
                      <a:pt x="1373" y="1641"/>
                    </a:lnTo>
                    <a:close/>
                    <a:moveTo>
                      <a:pt x="1198" y="1485"/>
                    </a:moveTo>
                    <a:lnTo>
                      <a:pt x="1196" y="1485"/>
                    </a:lnTo>
                    <a:lnTo>
                      <a:pt x="1195" y="1487"/>
                    </a:lnTo>
                    <a:lnTo>
                      <a:pt x="1193" y="1487"/>
                    </a:lnTo>
                    <a:lnTo>
                      <a:pt x="1195" y="1485"/>
                    </a:lnTo>
                    <a:lnTo>
                      <a:pt x="1196" y="1485"/>
                    </a:lnTo>
                    <a:lnTo>
                      <a:pt x="1198" y="1485"/>
                    </a:lnTo>
                    <a:close/>
                    <a:moveTo>
                      <a:pt x="1161" y="1243"/>
                    </a:moveTo>
                    <a:lnTo>
                      <a:pt x="1162" y="1243"/>
                    </a:lnTo>
                    <a:lnTo>
                      <a:pt x="1162" y="1247"/>
                    </a:lnTo>
                    <a:lnTo>
                      <a:pt x="1161" y="1247"/>
                    </a:lnTo>
                    <a:lnTo>
                      <a:pt x="1161" y="1243"/>
                    </a:lnTo>
                    <a:close/>
                    <a:moveTo>
                      <a:pt x="1178" y="1478"/>
                    </a:moveTo>
                    <a:lnTo>
                      <a:pt x="1179" y="1478"/>
                    </a:lnTo>
                    <a:lnTo>
                      <a:pt x="1179" y="1481"/>
                    </a:lnTo>
                    <a:lnTo>
                      <a:pt x="1178" y="1481"/>
                    </a:lnTo>
                    <a:lnTo>
                      <a:pt x="1178" y="1478"/>
                    </a:lnTo>
                    <a:close/>
                    <a:moveTo>
                      <a:pt x="1181" y="1437"/>
                    </a:moveTo>
                    <a:lnTo>
                      <a:pt x="1185" y="1437"/>
                    </a:lnTo>
                    <a:lnTo>
                      <a:pt x="1185" y="1439"/>
                    </a:lnTo>
                    <a:lnTo>
                      <a:pt x="1181" y="1439"/>
                    </a:lnTo>
                    <a:lnTo>
                      <a:pt x="1181" y="1437"/>
                    </a:lnTo>
                    <a:close/>
                    <a:moveTo>
                      <a:pt x="1168" y="1432"/>
                    </a:moveTo>
                    <a:lnTo>
                      <a:pt x="1171" y="1432"/>
                    </a:lnTo>
                    <a:lnTo>
                      <a:pt x="1171" y="1434"/>
                    </a:lnTo>
                    <a:lnTo>
                      <a:pt x="1168" y="1434"/>
                    </a:lnTo>
                    <a:lnTo>
                      <a:pt x="1168" y="1432"/>
                    </a:lnTo>
                    <a:close/>
                    <a:moveTo>
                      <a:pt x="1219" y="983"/>
                    </a:moveTo>
                    <a:lnTo>
                      <a:pt x="1220" y="983"/>
                    </a:lnTo>
                    <a:lnTo>
                      <a:pt x="1220" y="985"/>
                    </a:lnTo>
                    <a:lnTo>
                      <a:pt x="1219" y="985"/>
                    </a:lnTo>
                    <a:lnTo>
                      <a:pt x="1219" y="983"/>
                    </a:lnTo>
                    <a:close/>
                    <a:moveTo>
                      <a:pt x="1249" y="1599"/>
                    </a:moveTo>
                    <a:lnTo>
                      <a:pt x="1251" y="1599"/>
                    </a:lnTo>
                    <a:lnTo>
                      <a:pt x="1251" y="1600"/>
                    </a:lnTo>
                    <a:lnTo>
                      <a:pt x="1249" y="1600"/>
                    </a:lnTo>
                    <a:lnTo>
                      <a:pt x="1249" y="1599"/>
                    </a:lnTo>
                    <a:close/>
                    <a:moveTo>
                      <a:pt x="1179" y="1134"/>
                    </a:moveTo>
                    <a:lnTo>
                      <a:pt x="1179" y="1138"/>
                    </a:lnTo>
                    <a:lnTo>
                      <a:pt x="1179" y="1134"/>
                    </a:lnTo>
                    <a:close/>
                    <a:moveTo>
                      <a:pt x="1174" y="1367"/>
                    </a:moveTo>
                    <a:lnTo>
                      <a:pt x="1178" y="1367"/>
                    </a:lnTo>
                    <a:lnTo>
                      <a:pt x="1178" y="1369"/>
                    </a:lnTo>
                    <a:lnTo>
                      <a:pt x="1174" y="1369"/>
                    </a:lnTo>
                    <a:lnTo>
                      <a:pt x="1174" y="1367"/>
                    </a:lnTo>
                    <a:close/>
                    <a:moveTo>
                      <a:pt x="1188" y="1056"/>
                    </a:moveTo>
                    <a:lnTo>
                      <a:pt x="1191" y="1056"/>
                    </a:lnTo>
                    <a:lnTo>
                      <a:pt x="1191" y="1058"/>
                    </a:lnTo>
                    <a:lnTo>
                      <a:pt x="1188" y="1058"/>
                    </a:lnTo>
                    <a:lnTo>
                      <a:pt x="1188" y="1056"/>
                    </a:lnTo>
                    <a:close/>
                    <a:moveTo>
                      <a:pt x="1241" y="1495"/>
                    </a:moveTo>
                    <a:lnTo>
                      <a:pt x="1244" y="1495"/>
                    </a:lnTo>
                    <a:lnTo>
                      <a:pt x="1244" y="1497"/>
                    </a:lnTo>
                    <a:lnTo>
                      <a:pt x="1241" y="1497"/>
                    </a:lnTo>
                    <a:lnTo>
                      <a:pt x="1241" y="1495"/>
                    </a:lnTo>
                    <a:close/>
                    <a:moveTo>
                      <a:pt x="1208" y="1539"/>
                    </a:moveTo>
                    <a:lnTo>
                      <a:pt x="1208" y="1538"/>
                    </a:lnTo>
                    <a:lnTo>
                      <a:pt x="1210" y="1539"/>
                    </a:lnTo>
                    <a:lnTo>
                      <a:pt x="1208" y="1539"/>
                    </a:lnTo>
                    <a:lnTo>
                      <a:pt x="1207" y="1539"/>
                    </a:lnTo>
                    <a:lnTo>
                      <a:pt x="1207" y="1538"/>
                    </a:lnTo>
                    <a:lnTo>
                      <a:pt x="1208" y="1539"/>
                    </a:lnTo>
                    <a:close/>
                    <a:moveTo>
                      <a:pt x="1222" y="1556"/>
                    </a:moveTo>
                    <a:lnTo>
                      <a:pt x="1225" y="1556"/>
                    </a:lnTo>
                    <a:lnTo>
                      <a:pt x="1225" y="1560"/>
                    </a:lnTo>
                    <a:lnTo>
                      <a:pt x="1222" y="1560"/>
                    </a:lnTo>
                    <a:lnTo>
                      <a:pt x="1222" y="1556"/>
                    </a:lnTo>
                    <a:close/>
                    <a:moveTo>
                      <a:pt x="1186" y="1526"/>
                    </a:moveTo>
                    <a:lnTo>
                      <a:pt x="1188" y="1526"/>
                    </a:lnTo>
                    <a:lnTo>
                      <a:pt x="1188" y="1529"/>
                    </a:lnTo>
                    <a:lnTo>
                      <a:pt x="1186" y="1529"/>
                    </a:lnTo>
                    <a:lnTo>
                      <a:pt x="1186" y="1526"/>
                    </a:lnTo>
                    <a:close/>
                    <a:moveTo>
                      <a:pt x="1259" y="1597"/>
                    </a:moveTo>
                    <a:lnTo>
                      <a:pt x="1261" y="1597"/>
                    </a:lnTo>
                    <a:lnTo>
                      <a:pt x="1261" y="1600"/>
                    </a:lnTo>
                    <a:lnTo>
                      <a:pt x="1259" y="1600"/>
                    </a:lnTo>
                    <a:lnTo>
                      <a:pt x="1259" y="1597"/>
                    </a:lnTo>
                    <a:close/>
                    <a:moveTo>
                      <a:pt x="1321" y="1631"/>
                    </a:moveTo>
                    <a:lnTo>
                      <a:pt x="1322" y="1631"/>
                    </a:lnTo>
                    <a:lnTo>
                      <a:pt x="1322" y="1633"/>
                    </a:lnTo>
                    <a:lnTo>
                      <a:pt x="1321" y="1633"/>
                    </a:lnTo>
                    <a:lnTo>
                      <a:pt x="1321" y="1631"/>
                    </a:lnTo>
                    <a:close/>
                    <a:moveTo>
                      <a:pt x="1207" y="1539"/>
                    </a:moveTo>
                    <a:lnTo>
                      <a:pt x="1208" y="1539"/>
                    </a:lnTo>
                    <a:lnTo>
                      <a:pt x="1208" y="1541"/>
                    </a:lnTo>
                    <a:lnTo>
                      <a:pt x="1207" y="1541"/>
                    </a:lnTo>
                    <a:lnTo>
                      <a:pt x="1207" y="1539"/>
                    </a:lnTo>
                    <a:close/>
                    <a:moveTo>
                      <a:pt x="1188" y="1208"/>
                    </a:moveTo>
                    <a:lnTo>
                      <a:pt x="1191" y="1208"/>
                    </a:lnTo>
                    <a:lnTo>
                      <a:pt x="1191" y="1211"/>
                    </a:lnTo>
                    <a:lnTo>
                      <a:pt x="1188" y="1211"/>
                    </a:lnTo>
                    <a:lnTo>
                      <a:pt x="1188" y="1208"/>
                    </a:lnTo>
                    <a:close/>
                    <a:moveTo>
                      <a:pt x="1151" y="1327"/>
                    </a:moveTo>
                    <a:lnTo>
                      <a:pt x="1152" y="1327"/>
                    </a:lnTo>
                    <a:lnTo>
                      <a:pt x="1152" y="1330"/>
                    </a:lnTo>
                    <a:lnTo>
                      <a:pt x="1151" y="1330"/>
                    </a:lnTo>
                    <a:lnTo>
                      <a:pt x="1151" y="1327"/>
                    </a:lnTo>
                    <a:close/>
                    <a:moveTo>
                      <a:pt x="1179" y="1444"/>
                    </a:moveTo>
                    <a:lnTo>
                      <a:pt x="1181" y="1444"/>
                    </a:lnTo>
                    <a:lnTo>
                      <a:pt x="1181" y="1446"/>
                    </a:lnTo>
                    <a:lnTo>
                      <a:pt x="1179" y="1446"/>
                    </a:lnTo>
                    <a:lnTo>
                      <a:pt x="1178" y="1444"/>
                    </a:lnTo>
                    <a:lnTo>
                      <a:pt x="1179" y="1444"/>
                    </a:lnTo>
                    <a:close/>
                    <a:moveTo>
                      <a:pt x="1178" y="1480"/>
                    </a:moveTo>
                    <a:lnTo>
                      <a:pt x="1181" y="1480"/>
                    </a:lnTo>
                    <a:lnTo>
                      <a:pt x="1181" y="1483"/>
                    </a:lnTo>
                    <a:lnTo>
                      <a:pt x="1178" y="1483"/>
                    </a:lnTo>
                    <a:lnTo>
                      <a:pt x="1178" y="1480"/>
                    </a:lnTo>
                    <a:close/>
                    <a:moveTo>
                      <a:pt x="1213" y="1104"/>
                    </a:moveTo>
                    <a:lnTo>
                      <a:pt x="1215" y="1104"/>
                    </a:lnTo>
                    <a:lnTo>
                      <a:pt x="1215" y="1107"/>
                    </a:lnTo>
                    <a:lnTo>
                      <a:pt x="1213" y="1107"/>
                    </a:lnTo>
                    <a:lnTo>
                      <a:pt x="1213" y="1104"/>
                    </a:lnTo>
                    <a:close/>
                    <a:moveTo>
                      <a:pt x="1202" y="1510"/>
                    </a:moveTo>
                    <a:lnTo>
                      <a:pt x="1203" y="1510"/>
                    </a:lnTo>
                    <a:lnTo>
                      <a:pt x="1203" y="1512"/>
                    </a:lnTo>
                    <a:lnTo>
                      <a:pt x="1202" y="1512"/>
                    </a:lnTo>
                    <a:lnTo>
                      <a:pt x="1202" y="1510"/>
                    </a:lnTo>
                    <a:close/>
                    <a:moveTo>
                      <a:pt x="1212" y="990"/>
                    </a:moveTo>
                    <a:lnTo>
                      <a:pt x="1213" y="990"/>
                    </a:lnTo>
                    <a:lnTo>
                      <a:pt x="1213" y="992"/>
                    </a:lnTo>
                    <a:lnTo>
                      <a:pt x="1212" y="992"/>
                    </a:lnTo>
                    <a:lnTo>
                      <a:pt x="1212" y="990"/>
                    </a:lnTo>
                    <a:close/>
                    <a:moveTo>
                      <a:pt x="1254" y="1493"/>
                    </a:moveTo>
                    <a:lnTo>
                      <a:pt x="1256" y="1493"/>
                    </a:lnTo>
                    <a:lnTo>
                      <a:pt x="1256" y="1497"/>
                    </a:lnTo>
                    <a:lnTo>
                      <a:pt x="1254" y="1497"/>
                    </a:lnTo>
                    <a:lnTo>
                      <a:pt x="1254" y="1493"/>
                    </a:lnTo>
                    <a:close/>
                    <a:moveTo>
                      <a:pt x="1222" y="990"/>
                    </a:moveTo>
                    <a:lnTo>
                      <a:pt x="1224" y="990"/>
                    </a:lnTo>
                    <a:lnTo>
                      <a:pt x="1224" y="993"/>
                    </a:lnTo>
                    <a:lnTo>
                      <a:pt x="1222" y="993"/>
                    </a:lnTo>
                    <a:lnTo>
                      <a:pt x="1222" y="990"/>
                    </a:lnTo>
                    <a:close/>
                    <a:moveTo>
                      <a:pt x="1382" y="1640"/>
                    </a:moveTo>
                    <a:lnTo>
                      <a:pt x="1385" y="1640"/>
                    </a:lnTo>
                    <a:lnTo>
                      <a:pt x="1385" y="1641"/>
                    </a:lnTo>
                    <a:lnTo>
                      <a:pt x="1382" y="1641"/>
                    </a:lnTo>
                    <a:lnTo>
                      <a:pt x="1382" y="1640"/>
                    </a:lnTo>
                    <a:close/>
                    <a:moveTo>
                      <a:pt x="1181" y="1492"/>
                    </a:moveTo>
                    <a:lnTo>
                      <a:pt x="1185" y="1492"/>
                    </a:lnTo>
                    <a:lnTo>
                      <a:pt x="1185" y="1493"/>
                    </a:lnTo>
                    <a:lnTo>
                      <a:pt x="1181" y="1493"/>
                    </a:lnTo>
                    <a:lnTo>
                      <a:pt x="1181" y="1492"/>
                    </a:lnTo>
                    <a:close/>
                    <a:moveTo>
                      <a:pt x="1217" y="1538"/>
                    </a:moveTo>
                    <a:lnTo>
                      <a:pt x="1220" y="1538"/>
                    </a:lnTo>
                    <a:lnTo>
                      <a:pt x="1220" y="1539"/>
                    </a:lnTo>
                    <a:lnTo>
                      <a:pt x="1217" y="1539"/>
                    </a:lnTo>
                    <a:lnTo>
                      <a:pt x="1217" y="1538"/>
                    </a:lnTo>
                    <a:close/>
                    <a:moveTo>
                      <a:pt x="1219" y="1566"/>
                    </a:moveTo>
                    <a:lnTo>
                      <a:pt x="1220" y="1566"/>
                    </a:lnTo>
                    <a:lnTo>
                      <a:pt x="1220" y="1568"/>
                    </a:lnTo>
                    <a:lnTo>
                      <a:pt x="1219" y="1568"/>
                    </a:lnTo>
                    <a:lnTo>
                      <a:pt x="1219" y="1566"/>
                    </a:lnTo>
                    <a:close/>
                    <a:moveTo>
                      <a:pt x="1200" y="1073"/>
                    </a:moveTo>
                    <a:lnTo>
                      <a:pt x="1202" y="1073"/>
                    </a:lnTo>
                    <a:lnTo>
                      <a:pt x="1202" y="1077"/>
                    </a:lnTo>
                    <a:lnTo>
                      <a:pt x="1200" y="1077"/>
                    </a:lnTo>
                    <a:lnTo>
                      <a:pt x="1200" y="1073"/>
                    </a:lnTo>
                    <a:close/>
                    <a:moveTo>
                      <a:pt x="1176" y="1439"/>
                    </a:moveTo>
                    <a:lnTo>
                      <a:pt x="1178" y="1439"/>
                    </a:lnTo>
                    <a:lnTo>
                      <a:pt x="1178" y="1441"/>
                    </a:lnTo>
                    <a:lnTo>
                      <a:pt x="1176" y="1441"/>
                    </a:lnTo>
                    <a:lnTo>
                      <a:pt x="1176" y="1439"/>
                    </a:lnTo>
                    <a:close/>
                    <a:moveTo>
                      <a:pt x="1336" y="1653"/>
                    </a:moveTo>
                    <a:lnTo>
                      <a:pt x="1339" y="1653"/>
                    </a:lnTo>
                    <a:lnTo>
                      <a:pt x="1339" y="1655"/>
                    </a:lnTo>
                    <a:lnTo>
                      <a:pt x="1336" y="1655"/>
                    </a:lnTo>
                    <a:lnTo>
                      <a:pt x="1336" y="1653"/>
                    </a:lnTo>
                    <a:close/>
                    <a:moveTo>
                      <a:pt x="1147" y="1330"/>
                    </a:moveTo>
                    <a:lnTo>
                      <a:pt x="1149" y="1330"/>
                    </a:lnTo>
                    <a:lnTo>
                      <a:pt x="1149" y="1332"/>
                    </a:lnTo>
                    <a:lnTo>
                      <a:pt x="1147" y="1332"/>
                    </a:lnTo>
                    <a:lnTo>
                      <a:pt x="1147" y="1330"/>
                    </a:lnTo>
                    <a:close/>
                    <a:moveTo>
                      <a:pt x="1205" y="1551"/>
                    </a:moveTo>
                    <a:lnTo>
                      <a:pt x="1207" y="1551"/>
                    </a:lnTo>
                    <a:lnTo>
                      <a:pt x="1207" y="1553"/>
                    </a:lnTo>
                    <a:lnTo>
                      <a:pt x="1205" y="1553"/>
                    </a:lnTo>
                    <a:lnTo>
                      <a:pt x="1205" y="1551"/>
                    </a:lnTo>
                    <a:close/>
                    <a:moveTo>
                      <a:pt x="1186" y="1534"/>
                    </a:moveTo>
                    <a:lnTo>
                      <a:pt x="1188" y="1534"/>
                    </a:lnTo>
                    <a:lnTo>
                      <a:pt x="1188" y="1536"/>
                    </a:lnTo>
                    <a:lnTo>
                      <a:pt x="1186" y="1536"/>
                    </a:lnTo>
                    <a:lnTo>
                      <a:pt x="1186" y="1534"/>
                    </a:lnTo>
                    <a:close/>
                    <a:moveTo>
                      <a:pt x="1169" y="1437"/>
                    </a:moveTo>
                    <a:lnTo>
                      <a:pt x="1173" y="1437"/>
                    </a:lnTo>
                    <a:lnTo>
                      <a:pt x="1173" y="1439"/>
                    </a:lnTo>
                    <a:lnTo>
                      <a:pt x="1169" y="1439"/>
                    </a:lnTo>
                    <a:lnTo>
                      <a:pt x="1169" y="1437"/>
                    </a:lnTo>
                    <a:close/>
                    <a:moveTo>
                      <a:pt x="1202" y="1066"/>
                    </a:moveTo>
                    <a:lnTo>
                      <a:pt x="1203" y="1066"/>
                    </a:lnTo>
                    <a:lnTo>
                      <a:pt x="1203" y="1068"/>
                    </a:lnTo>
                    <a:lnTo>
                      <a:pt x="1202" y="1068"/>
                    </a:lnTo>
                    <a:lnTo>
                      <a:pt x="1202" y="1066"/>
                    </a:lnTo>
                    <a:close/>
                    <a:moveTo>
                      <a:pt x="1264" y="1595"/>
                    </a:moveTo>
                    <a:lnTo>
                      <a:pt x="1268" y="1595"/>
                    </a:lnTo>
                    <a:lnTo>
                      <a:pt x="1268" y="1597"/>
                    </a:lnTo>
                    <a:lnTo>
                      <a:pt x="1264" y="1597"/>
                    </a:lnTo>
                    <a:lnTo>
                      <a:pt x="1264" y="1595"/>
                    </a:lnTo>
                    <a:close/>
                    <a:moveTo>
                      <a:pt x="1220" y="1543"/>
                    </a:moveTo>
                    <a:lnTo>
                      <a:pt x="1222" y="1543"/>
                    </a:lnTo>
                    <a:lnTo>
                      <a:pt x="1222" y="1544"/>
                    </a:lnTo>
                    <a:lnTo>
                      <a:pt x="1220" y="1544"/>
                    </a:lnTo>
                    <a:lnTo>
                      <a:pt x="1220" y="1543"/>
                    </a:lnTo>
                    <a:close/>
                    <a:moveTo>
                      <a:pt x="1191" y="1060"/>
                    </a:moveTo>
                    <a:lnTo>
                      <a:pt x="1195" y="1060"/>
                    </a:lnTo>
                    <a:lnTo>
                      <a:pt x="1195" y="1061"/>
                    </a:lnTo>
                    <a:lnTo>
                      <a:pt x="1191" y="1061"/>
                    </a:lnTo>
                    <a:lnTo>
                      <a:pt x="1191" y="1060"/>
                    </a:lnTo>
                    <a:close/>
                    <a:moveTo>
                      <a:pt x="1179" y="1422"/>
                    </a:moveTo>
                    <a:lnTo>
                      <a:pt x="1181" y="1422"/>
                    </a:lnTo>
                    <a:lnTo>
                      <a:pt x="1181" y="1424"/>
                    </a:lnTo>
                    <a:lnTo>
                      <a:pt x="1179" y="1424"/>
                    </a:lnTo>
                    <a:lnTo>
                      <a:pt x="1179" y="1422"/>
                    </a:lnTo>
                    <a:close/>
                    <a:moveTo>
                      <a:pt x="1183" y="1463"/>
                    </a:moveTo>
                    <a:lnTo>
                      <a:pt x="1185" y="1463"/>
                    </a:lnTo>
                    <a:lnTo>
                      <a:pt x="1185" y="1464"/>
                    </a:lnTo>
                    <a:lnTo>
                      <a:pt x="1183" y="1464"/>
                    </a:lnTo>
                    <a:lnTo>
                      <a:pt x="1183" y="1463"/>
                    </a:lnTo>
                    <a:close/>
                    <a:moveTo>
                      <a:pt x="1397" y="1663"/>
                    </a:moveTo>
                    <a:lnTo>
                      <a:pt x="1400" y="1663"/>
                    </a:lnTo>
                    <a:lnTo>
                      <a:pt x="1400" y="1665"/>
                    </a:lnTo>
                    <a:lnTo>
                      <a:pt x="1397" y="1665"/>
                    </a:lnTo>
                    <a:lnTo>
                      <a:pt x="1397" y="1663"/>
                    </a:lnTo>
                    <a:close/>
                    <a:moveTo>
                      <a:pt x="1190" y="1413"/>
                    </a:moveTo>
                    <a:lnTo>
                      <a:pt x="1191" y="1413"/>
                    </a:lnTo>
                    <a:lnTo>
                      <a:pt x="1191" y="1417"/>
                    </a:lnTo>
                    <a:lnTo>
                      <a:pt x="1190" y="1417"/>
                    </a:lnTo>
                    <a:lnTo>
                      <a:pt x="1190" y="1413"/>
                    </a:lnTo>
                    <a:close/>
                    <a:moveTo>
                      <a:pt x="1208" y="1449"/>
                    </a:moveTo>
                    <a:lnTo>
                      <a:pt x="1210" y="1449"/>
                    </a:lnTo>
                    <a:lnTo>
                      <a:pt x="1210" y="1451"/>
                    </a:lnTo>
                    <a:lnTo>
                      <a:pt x="1208" y="1451"/>
                    </a:lnTo>
                    <a:lnTo>
                      <a:pt x="1208" y="1449"/>
                    </a:lnTo>
                    <a:close/>
                    <a:moveTo>
                      <a:pt x="1222" y="976"/>
                    </a:moveTo>
                    <a:lnTo>
                      <a:pt x="1224" y="976"/>
                    </a:lnTo>
                    <a:lnTo>
                      <a:pt x="1224" y="980"/>
                    </a:lnTo>
                    <a:lnTo>
                      <a:pt x="1222" y="980"/>
                    </a:lnTo>
                    <a:lnTo>
                      <a:pt x="1222" y="976"/>
                    </a:lnTo>
                    <a:close/>
                    <a:moveTo>
                      <a:pt x="1346" y="1662"/>
                    </a:moveTo>
                    <a:lnTo>
                      <a:pt x="1348" y="1662"/>
                    </a:lnTo>
                    <a:lnTo>
                      <a:pt x="1348" y="1663"/>
                    </a:lnTo>
                    <a:lnTo>
                      <a:pt x="1346" y="1663"/>
                    </a:lnTo>
                    <a:lnTo>
                      <a:pt x="1346" y="1662"/>
                    </a:lnTo>
                    <a:close/>
                    <a:moveTo>
                      <a:pt x="1210" y="1063"/>
                    </a:moveTo>
                    <a:lnTo>
                      <a:pt x="1212" y="1063"/>
                    </a:lnTo>
                    <a:lnTo>
                      <a:pt x="1212" y="1065"/>
                    </a:lnTo>
                    <a:lnTo>
                      <a:pt x="1210" y="1065"/>
                    </a:lnTo>
                    <a:lnTo>
                      <a:pt x="1210" y="1063"/>
                    </a:lnTo>
                    <a:close/>
                    <a:moveTo>
                      <a:pt x="1161" y="1349"/>
                    </a:moveTo>
                    <a:lnTo>
                      <a:pt x="1162" y="1349"/>
                    </a:lnTo>
                    <a:lnTo>
                      <a:pt x="1162" y="1350"/>
                    </a:lnTo>
                    <a:lnTo>
                      <a:pt x="1161" y="1350"/>
                    </a:lnTo>
                    <a:lnTo>
                      <a:pt x="1161" y="1349"/>
                    </a:lnTo>
                    <a:close/>
                    <a:moveTo>
                      <a:pt x="1207" y="1529"/>
                    </a:moveTo>
                    <a:lnTo>
                      <a:pt x="1210" y="1529"/>
                    </a:lnTo>
                    <a:lnTo>
                      <a:pt x="1210" y="1532"/>
                    </a:lnTo>
                    <a:lnTo>
                      <a:pt x="1207" y="1532"/>
                    </a:lnTo>
                    <a:lnTo>
                      <a:pt x="1207" y="1529"/>
                    </a:lnTo>
                    <a:close/>
                    <a:moveTo>
                      <a:pt x="1205" y="1541"/>
                    </a:moveTo>
                    <a:lnTo>
                      <a:pt x="1207" y="1541"/>
                    </a:lnTo>
                    <a:lnTo>
                      <a:pt x="1207" y="1543"/>
                    </a:lnTo>
                    <a:lnTo>
                      <a:pt x="1205" y="1543"/>
                    </a:lnTo>
                    <a:lnTo>
                      <a:pt x="1205" y="1541"/>
                    </a:lnTo>
                    <a:close/>
                    <a:moveTo>
                      <a:pt x="1152" y="1257"/>
                    </a:moveTo>
                    <a:lnTo>
                      <a:pt x="1156" y="1257"/>
                    </a:lnTo>
                    <a:lnTo>
                      <a:pt x="1156" y="1259"/>
                    </a:lnTo>
                    <a:lnTo>
                      <a:pt x="1152" y="1259"/>
                    </a:lnTo>
                    <a:lnTo>
                      <a:pt x="1152" y="1257"/>
                    </a:lnTo>
                    <a:close/>
                    <a:moveTo>
                      <a:pt x="1152" y="1310"/>
                    </a:moveTo>
                    <a:lnTo>
                      <a:pt x="1154" y="1310"/>
                    </a:lnTo>
                    <a:lnTo>
                      <a:pt x="1154" y="1311"/>
                    </a:lnTo>
                    <a:lnTo>
                      <a:pt x="1152" y="1311"/>
                    </a:lnTo>
                    <a:lnTo>
                      <a:pt x="1152" y="1310"/>
                    </a:lnTo>
                    <a:close/>
                    <a:moveTo>
                      <a:pt x="1174" y="1478"/>
                    </a:moveTo>
                    <a:lnTo>
                      <a:pt x="1178" y="1478"/>
                    </a:lnTo>
                    <a:lnTo>
                      <a:pt x="1178" y="1481"/>
                    </a:lnTo>
                    <a:lnTo>
                      <a:pt x="1174" y="1481"/>
                    </a:lnTo>
                    <a:lnTo>
                      <a:pt x="1174" y="1478"/>
                    </a:lnTo>
                    <a:close/>
                    <a:moveTo>
                      <a:pt x="1164" y="1332"/>
                    </a:moveTo>
                    <a:lnTo>
                      <a:pt x="1166" y="1332"/>
                    </a:lnTo>
                    <a:lnTo>
                      <a:pt x="1166" y="1335"/>
                    </a:lnTo>
                    <a:lnTo>
                      <a:pt x="1164" y="1335"/>
                    </a:lnTo>
                    <a:lnTo>
                      <a:pt x="1164" y="1332"/>
                    </a:lnTo>
                    <a:close/>
                    <a:moveTo>
                      <a:pt x="1220" y="986"/>
                    </a:moveTo>
                    <a:lnTo>
                      <a:pt x="1222" y="986"/>
                    </a:lnTo>
                    <a:lnTo>
                      <a:pt x="1222" y="988"/>
                    </a:lnTo>
                    <a:lnTo>
                      <a:pt x="1220" y="988"/>
                    </a:lnTo>
                    <a:lnTo>
                      <a:pt x="1220" y="986"/>
                    </a:lnTo>
                    <a:close/>
                    <a:moveTo>
                      <a:pt x="1166" y="1383"/>
                    </a:moveTo>
                    <a:lnTo>
                      <a:pt x="1168" y="1383"/>
                    </a:lnTo>
                    <a:lnTo>
                      <a:pt x="1168" y="1384"/>
                    </a:lnTo>
                    <a:lnTo>
                      <a:pt x="1166" y="1384"/>
                    </a:lnTo>
                    <a:lnTo>
                      <a:pt x="1166" y="1383"/>
                    </a:lnTo>
                    <a:close/>
                    <a:moveTo>
                      <a:pt x="1173" y="1245"/>
                    </a:moveTo>
                    <a:lnTo>
                      <a:pt x="1174" y="1245"/>
                    </a:lnTo>
                    <a:lnTo>
                      <a:pt x="1174" y="1248"/>
                    </a:lnTo>
                    <a:lnTo>
                      <a:pt x="1173" y="1248"/>
                    </a:lnTo>
                    <a:lnTo>
                      <a:pt x="1173" y="1245"/>
                    </a:lnTo>
                    <a:close/>
                    <a:moveTo>
                      <a:pt x="1185" y="1099"/>
                    </a:moveTo>
                    <a:lnTo>
                      <a:pt x="1186" y="1099"/>
                    </a:lnTo>
                    <a:lnTo>
                      <a:pt x="1186" y="1100"/>
                    </a:lnTo>
                    <a:lnTo>
                      <a:pt x="1185" y="1100"/>
                    </a:lnTo>
                    <a:lnTo>
                      <a:pt x="1185" y="1099"/>
                    </a:lnTo>
                    <a:close/>
                    <a:moveTo>
                      <a:pt x="1215" y="981"/>
                    </a:moveTo>
                    <a:lnTo>
                      <a:pt x="1217" y="981"/>
                    </a:lnTo>
                    <a:lnTo>
                      <a:pt x="1217" y="983"/>
                    </a:lnTo>
                    <a:lnTo>
                      <a:pt x="1215" y="983"/>
                    </a:lnTo>
                    <a:lnTo>
                      <a:pt x="1215" y="981"/>
                    </a:lnTo>
                    <a:close/>
                    <a:moveTo>
                      <a:pt x="1154" y="1354"/>
                    </a:moveTo>
                    <a:lnTo>
                      <a:pt x="1154" y="1357"/>
                    </a:lnTo>
                    <a:lnTo>
                      <a:pt x="1154" y="1354"/>
                    </a:lnTo>
                    <a:close/>
                    <a:moveTo>
                      <a:pt x="1276" y="1595"/>
                    </a:moveTo>
                    <a:lnTo>
                      <a:pt x="1280" y="1595"/>
                    </a:lnTo>
                    <a:lnTo>
                      <a:pt x="1280" y="1597"/>
                    </a:lnTo>
                    <a:lnTo>
                      <a:pt x="1276" y="1597"/>
                    </a:lnTo>
                    <a:lnTo>
                      <a:pt x="1276" y="1595"/>
                    </a:lnTo>
                    <a:close/>
                    <a:moveTo>
                      <a:pt x="1190" y="1066"/>
                    </a:moveTo>
                    <a:lnTo>
                      <a:pt x="1191" y="1066"/>
                    </a:lnTo>
                    <a:lnTo>
                      <a:pt x="1190" y="1066"/>
                    </a:lnTo>
                    <a:close/>
                    <a:moveTo>
                      <a:pt x="1292" y="1616"/>
                    </a:moveTo>
                    <a:lnTo>
                      <a:pt x="1293" y="1616"/>
                    </a:lnTo>
                    <a:lnTo>
                      <a:pt x="1293" y="1618"/>
                    </a:lnTo>
                    <a:lnTo>
                      <a:pt x="1292" y="1618"/>
                    </a:lnTo>
                    <a:lnTo>
                      <a:pt x="1292" y="1616"/>
                    </a:lnTo>
                    <a:close/>
                    <a:moveTo>
                      <a:pt x="1149" y="1311"/>
                    </a:moveTo>
                    <a:lnTo>
                      <a:pt x="1151" y="1311"/>
                    </a:lnTo>
                    <a:lnTo>
                      <a:pt x="1151" y="1313"/>
                    </a:lnTo>
                    <a:lnTo>
                      <a:pt x="1149" y="1313"/>
                    </a:lnTo>
                    <a:lnTo>
                      <a:pt x="1149" y="1311"/>
                    </a:lnTo>
                    <a:close/>
                    <a:moveTo>
                      <a:pt x="1203" y="1429"/>
                    </a:moveTo>
                    <a:lnTo>
                      <a:pt x="1205" y="1429"/>
                    </a:lnTo>
                    <a:lnTo>
                      <a:pt x="1205" y="1430"/>
                    </a:lnTo>
                    <a:lnTo>
                      <a:pt x="1203" y="1430"/>
                    </a:lnTo>
                    <a:lnTo>
                      <a:pt x="1203" y="1429"/>
                    </a:lnTo>
                    <a:close/>
                    <a:moveTo>
                      <a:pt x="1246" y="1582"/>
                    </a:moveTo>
                    <a:lnTo>
                      <a:pt x="1247" y="1582"/>
                    </a:lnTo>
                    <a:lnTo>
                      <a:pt x="1247" y="1583"/>
                    </a:lnTo>
                    <a:lnTo>
                      <a:pt x="1246" y="1583"/>
                    </a:lnTo>
                    <a:lnTo>
                      <a:pt x="1246" y="1582"/>
                    </a:lnTo>
                    <a:close/>
                    <a:moveTo>
                      <a:pt x="1149" y="1342"/>
                    </a:moveTo>
                    <a:lnTo>
                      <a:pt x="1151" y="1342"/>
                    </a:lnTo>
                    <a:lnTo>
                      <a:pt x="1151" y="1345"/>
                    </a:lnTo>
                    <a:lnTo>
                      <a:pt x="1149" y="1345"/>
                    </a:lnTo>
                    <a:lnTo>
                      <a:pt x="1149" y="1342"/>
                    </a:lnTo>
                    <a:close/>
                    <a:moveTo>
                      <a:pt x="1203" y="1104"/>
                    </a:moveTo>
                    <a:lnTo>
                      <a:pt x="1205" y="1104"/>
                    </a:lnTo>
                    <a:lnTo>
                      <a:pt x="1205" y="1105"/>
                    </a:lnTo>
                    <a:lnTo>
                      <a:pt x="1203" y="1105"/>
                    </a:lnTo>
                    <a:lnTo>
                      <a:pt x="1203" y="1104"/>
                    </a:lnTo>
                    <a:close/>
                    <a:moveTo>
                      <a:pt x="1213" y="1107"/>
                    </a:moveTo>
                    <a:lnTo>
                      <a:pt x="1215" y="1107"/>
                    </a:lnTo>
                    <a:lnTo>
                      <a:pt x="1215" y="1109"/>
                    </a:lnTo>
                    <a:lnTo>
                      <a:pt x="1213" y="1109"/>
                    </a:lnTo>
                    <a:lnTo>
                      <a:pt x="1213" y="1107"/>
                    </a:lnTo>
                    <a:close/>
                    <a:moveTo>
                      <a:pt x="1183" y="1194"/>
                    </a:moveTo>
                    <a:lnTo>
                      <a:pt x="1185" y="1194"/>
                    </a:lnTo>
                    <a:lnTo>
                      <a:pt x="1185" y="1196"/>
                    </a:lnTo>
                    <a:lnTo>
                      <a:pt x="1183" y="1196"/>
                    </a:lnTo>
                    <a:lnTo>
                      <a:pt x="1183" y="1194"/>
                    </a:lnTo>
                    <a:close/>
                    <a:moveTo>
                      <a:pt x="1368" y="1662"/>
                    </a:moveTo>
                    <a:lnTo>
                      <a:pt x="1370" y="1662"/>
                    </a:lnTo>
                    <a:lnTo>
                      <a:pt x="1370" y="1663"/>
                    </a:lnTo>
                    <a:lnTo>
                      <a:pt x="1368" y="1663"/>
                    </a:lnTo>
                    <a:lnTo>
                      <a:pt x="1368" y="1662"/>
                    </a:lnTo>
                    <a:close/>
                    <a:moveTo>
                      <a:pt x="1329" y="1626"/>
                    </a:moveTo>
                    <a:lnTo>
                      <a:pt x="1331" y="1626"/>
                    </a:lnTo>
                    <a:lnTo>
                      <a:pt x="1329" y="1626"/>
                    </a:lnTo>
                    <a:lnTo>
                      <a:pt x="1331" y="1626"/>
                    </a:lnTo>
                    <a:lnTo>
                      <a:pt x="1329" y="1626"/>
                    </a:lnTo>
                    <a:lnTo>
                      <a:pt x="1327" y="1626"/>
                    </a:lnTo>
                    <a:lnTo>
                      <a:pt x="1329" y="1626"/>
                    </a:lnTo>
                    <a:close/>
                    <a:moveTo>
                      <a:pt x="1219" y="992"/>
                    </a:moveTo>
                    <a:lnTo>
                      <a:pt x="1222" y="992"/>
                    </a:lnTo>
                    <a:lnTo>
                      <a:pt x="1222" y="993"/>
                    </a:lnTo>
                    <a:lnTo>
                      <a:pt x="1219" y="993"/>
                    </a:lnTo>
                    <a:lnTo>
                      <a:pt x="1219" y="992"/>
                    </a:lnTo>
                    <a:close/>
                    <a:moveTo>
                      <a:pt x="1169" y="1388"/>
                    </a:moveTo>
                    <a:lnTo>
                      <a:pt x="1171" y="1388"/>
                    </a:lnTo>
                    <a:lnTo>
                      <a:pt x="1171" y="1390"/>
                    </a:lnTo>
                    <a:lnTo>
                      <a:pt x="1169" y="1390"/>
                    </a:lnTo>
                    <a:lnTo>
                      <a:pt x="1169" y="1388"/>
                    </a:lnTo>
                    <a:close/>
                    <a:moveTo>
                      <a:pt x="1185" y="1476"/>
                    </a:moveTo>
                    <a:lnTo>
                      <a:pt x="1186" y="1476"/>
                    </a:lnTo>
                    <a:lnTo>
                      <a:pt x="1186" y="1478"/>
                    </a:lnTo>
                    <a:lnTo>
                      <a:pt x="1185" y="1478"/>
                    </a:lnTo>
                    <a:lnTo>
                      <a:pt x="1185" y="1476"/>
                    </a:lnTo>
                    <a:close/>
                    <a:moveTo>
                      <a:pt x="1220" y="1058"/>
                    </a:moveTo>
                    <a:lnTo>
                      <a:pt x="1222" y="1058"/>
                    </a:lnTo>
                    <a:lnTo>
                      <a:pt x="1222" y="1060"/>
                    </a:lnTo>
                    <a:lnTo>
                      <a:pt x="1220" y="1060"/>
                    </a:lnTo>
                    <a:lnTo>
                      <a:pt x="1220" y="1058"/>
                    </a:lnTo>
                    <a:close/>
                    <a:moveTo>
                      <a:pt x="1186" y="1476"/>
                    </a:moveTo>
                    <a:lnTo>
                      <a:pt x="1190" y="1476"/>
                    </a:lnTo>
                    <a:lnTo>
                      <a:pt x="1190" y="1478"/>
                    </a:lnTo>
                    <a:lnTo>
                      <a:pt x="1186" y="1478"/>
                    </a:lnTo>
                    <a:lnTo>
                      <a:pt x="1186" y="1476"/>
                    </a:lnTo>
                    <a:close/>
                    <a:moveTo>
                      <a:pt x="1334" y="1653"/>
                    </a:moveTo>
                    <a:lnTo>
                      <a:pt x="1334" y="1657"/>
                    </a:lnTo>
                    <a:lnTo>
                      <a:pt x="1334" y="1653"/>
                    </a:lnTo>
                    <a:close/>
                    <a:moveTo>
                      <a:pt x="1200" y="1141"/>
                    </a:moveTo>
                    <a:lnTo>
                      <a:pt x="1202" y="1141"/>
                    </a:lnTo>
                    <a:lnTo>
                      <a:pt x="1202" y="1143"/>
                    </a:lnTo>
                    <a:lnTo>
                      <a:pt x="1200" y="1143"/>
                    </a:lnTo>
                    <a:lnTo>
                      <a:pt x="1200" y="1141"/>
                    </a:lnTo>
                    <a:close/>
                    <a:moveTo>
                      <a:pt x="1140" y="1306"/>
                    </a:moveTo>
                    <a:lnTo>
                      <a:pt x="1142" y="1306"/>
                    </a:lnTo>
                    <a:lnTo>
                      <a:pt x="1142" y="1310"/>
                    </a:lnTo>
                    <a:lnTo>
                      <a:pt x="1140" y="1310"/>
                    </a:lnTo>
                    <a:lnTo>
                      <a:pt x="1140" y="1306"/>
                    </a:lnTo>
                    <a:close/>
                    <a:moveTo>
                      <a:pt x="1190" y="1524"/>
                    </a:moveTo>
                    <a:lnTo>
                      <a:pt x="1191" y="1524"/>
                    </a:lnTo>
                    <a:lnTo>
                      <a:pt x="1191" y="1526"/>
                    </a:lnTo>
                    <a:lnTo>
                      <a:pt x="1190" y="1526"/>
                    </a:lnTo>
                    <a:lnTo>
                      <a:pt x="1190" y="1524"/>
                    </a:lnTo>
                    <a:close/>
                    <a:moveTo>
                      <a:pt x="1200" y="1060"/>
                    </a:moveTo>
                    <a:lnTo>
                      <a:pt x="1202" y="1060"/>
                    </a:lnTo>
                    <a:lnTo>
                      <a:pt x="1202" y="1061"/>
                    </a:lnTo>
                    <a:lnTo>
                      <a:pt x="1200" y="1061"/>
                    </a:lnTo>
                    <a:lnTo>
                      <a:pt x="1200" y="1060"/>
                    </a:lnTo>
                    <a:close/>
                    <a:moveTo>
                      <a:pt x="1161" y="1298"/>
                    </a:moveTo>
                    <a:lnTo>
                      <a:pt x="1162" y="1298"/>
                    </a:lnTo>
                    <a:lnTo>
                      <a:pt x="1162" y="1299"/>
                    </a:lnTo>
                    <a:lnTo>
                      <a:pt x="1161" y="1299"/>
                    </a:lnTo>
                    <a:lnTo>
                      <a:pt x="1161" y="1298"/>
                    </a:lnTo>
                    <a:close/>
                    <a:moveTo>
                      <a:pt x="1207" y="1492"/>
                    </a:moveTo>
                    <a:lnTo>
                      <a:pt x="1208" y="1492"/>
                    </a:lnTo>
                    <a:lnTo>
                      <a:pt x="1208" y="1493"/>
                    </a:lnTo>
                    <a:lnTo>
                      <a:pt x="1207" y="1493"/>
                    </a:lnTo>
                    <a:lnTo>
                      <a:pt x="1207" y="1492"/>
                    </a:lnTo>
                    <a:close/>
                    <a:moveTo>
                      <a:pt x="1416" y="1680"/>
                    </a:moveTo>
                    <a:lnTo>
                      <a:pt x="1417" y="1680"/>
                    </a:lnTo>
                    <a:lnTo>
                      <a:pt x="1417" y="1682"/>
                    </a:lnTo>
                    <a:lnTo>
                      <a:pt x="1416" y="1682"/>
                    </a:lnTo>
                    <a:lnTo>
                      <a:pt x="1416" y="1680"/>
                    </a:lnTo>
                    <a:close/>
                    <a:moveTo>
                      <a:pt x="1244" y="1502"/>
                    </a:moveTo>
                    <a:lnTo>
                      <a:pt x="1246" y="1502"/>
                    </a:lnTo>
                    <a:lnTo>
                      <a:pt x="1246" y="1504"/>
                    </a:lnTo>
                    <a:lnTo>
                      <a:pt x="1244" y="1504"/>
                    </a:lnTo>
                    <a:lnTo>
                      <a:pt x="1244" y="1502"/>
                    </a:lnTo>
                    <a:close/>
                    <a:moveTo>
                      <a:pt x="1193" y="1124"/>
                    </a:moveTo>
                    <a:lnTo>
                      <a:pt x="1193" y="1126"/>
                    </a:lnTo>
                    <a:lnTo>
                      <a:pt x="1193" y="1124"/>
                    </a:lnTo>
                    <a:close/>
                    <a:moveTo>
                      <a:pt x="1176" y="1117"/>
                    </a:moveTo>
                    <a:lnTo>
                      <a:pt x="1178" y="1117"/>
                    </a:lnTo>
                    <a:lnTo>
                      <a:pt x="1178" y="1119"/>
                    </a:lnTo>
                    <a:lnTo>
                      <a:pt x="1176" y="1119"/>
                    </a:lnTo>
                    <a:lnTo>
                      <a:pt x="1176" y="1117"/>
                    </a:lnTo>
                    <a:close/>
                    <a:moveTo>
                      <a:pt x="1161" y="1160"/>
                    </a:moveTo>
                    <a:lnTo>
                      <a:pt x="1162" y="1160"/>
                    </a:lnTo>
                    <a:lnTo>
                      <a:pt x="1162" y="1162"/>
                    </a:lnTo>
                    <a:lnTo>
                      <a:pt x="1161" y="1162"/>
                    </a:lnTo>
                    <a:lnTo>
                      <a:pt x="1161" y="1160"/>
                    </a:lnTo>
                    <a:close/>
                    <a:moveTo>
                      <a:pt x="1190" y="1060"/>
                    </a:moveTo>
                    <a:lnTo>
                      <a:pt x="1193" y="1060"/>
                    </a:lnTo>
                    <a:lnTo>
                      <a:pt x="1190" y="1060"/>
                    </a:lnTo>
                    <a:close/>
                    <a:moveTo>
                      <a:pt x="1162" y="1405"/>
                    </a:moveTo>
                    <a:lnTo>
                      <a:pt x="1164" y="1405"/>
                    </a:lnTo>
                    <a:lnTo>
                      <a:pt x="1164" y="1407"/>
                    </a:lnTo>
                    <a:lnTo>
                      <a:pt x="1162" y="1407"/>
                    </a:lnTo>
                    <a:lnTo>
                      <a:pt x="1162" y="1405"/>
                    </a:lnTo>
                    <a:close/>
                    <a:moveTo>
                      <a:pt x="1176" y="1470"/>
                    </a:moveTo>
                    <a:lnTo>
                      <a:pt x="1178" y="1470"/>
                    </a:lnTo>
                    <a:lnTo>
                      <a:pt x="1178" y="1471"/>
                    </a:lnTo>
                    <a:lnTo>
                      <a:pt x="1176" y="1471"/>
                    </a:lnTo>
                    <a:lnTo>
                      <a:pt x="1176" y="1470"/>
                    </a:lnTo>
                    <a:close/>
                    <a:moveTo>
                      <a:pt x="1212" y="1105"/>
                    </a:moveTo>
                    <a:lnTo>
                      <a:pt x="1213" y="1105"/>
                    </a:lnTo>
                    <a:lnTo>
                      <a:pt x="1212" y="1105"/>
                    </a:lnTo>
                    <a:close/>
                    <a:moveTo>
                      <a:pt x="1205" y="1097"/>
                    </a:moveTo>
                    <a:lnTo>
                      <a:pt x="1207" y="1097"/>
                    </a:lnTo>
                    <a:lnTo>
                      <a:pt x="1207" y="1099"/>
                    </a:lnTo>
                    <a:lnTo>
                      <a:pt x="1205" y="1099"/>
                    </a:lnTo>
                    <a:lnTo>
                      <a:pt x="1205" y="1097"/>
                    </a:lnTo>
                    <a:close/>
                    <a:moveTo>
                      <a:pt x="1241" y="1592"/>
                    </a:moveTo>
                    <a:lnTo>
                      <a:pt x="1242" y="1592"/>
                    </a:lnTo>
                    <a:lnTo>
                      <a:pt x="1242" y="1594"/>
                    </a:lnTo>
                    <a:lnTo>
                      <a:pt x="1241" y="1594"/>
                    </a:lnTo>
                    <a:lnTo>
                      <a:pt x="1241" y="1592"/>
                    </a:lnTo>
                    <a:close/>
                    <a:moveTo>
                      <a:pt x="1185" y="1461"/>
                    </a:moveTo>
                    <a:lnTo>
                      <a:pt x="1185" y="1463"/>
                    </a:lnTo>
                    <a:lnTo>
                      <a:pt x="1185" y="1461"/>
                    </a:lnTo>
                    <a:close/>
                    <a:moveTo>
                      <a:pt x="1191" y="1122"/>
                    </a:moveTo>
                    <a:lnTo>
                      <a:pt x="1193" y="1122"/>
                    </a:lnTo>
                    <a:lnTo>
                      <a:pt x="1193" y="1124"/>
                    </a:lnTo>
                    <a:lnTo>
                      <a:pt x="1191" y="1124"/>
                    </a:lnTo>
                    <a:lnTo>
                      <a:pt x="1191" y="1122"/>
                    </a:lnTo>
                    <a:close/>
                    <a:moveTo>
                      <a:pt x="1232" y="959"/>
                    </a:moveTo>
                    <a:lnTo>
                      <a:pt x="1234" y="959"/>
                    </a:lnTo>
                    <a:lnTo>
                      <a:pt x="1232" y="959"/>
                    </a:lnTo>
                    <a:close/>
                    <a:moveTo>
                      <a:pt x="1332" y="1590"/>
                    </a:moveTo>
                    <a:lnTo>
                      <a:pt x="1334" y="1590"/>
                    </a:lnTo>
                    <a:lnTo>
                      <a:pt x="1332" y="1590"/>
                    </a:lnTo>
                    <a:close/>
                    <a:moveTo>
                      <a:pt x="1179" y="1488"/>
                    </a:moveTo>
                    <a:lnTo>
                      <a:pt x="1179" y="1490"/>
                    </a:lnTo>
                    <a:lnTo>
                      <a:pt x="1179" y="1488"/>
                    </a:lnTo>
                    <a:close/>
                    <a:moveTo>
                      <a:pt x="1298" y="1621"/>
                    </a:moveTo>
                    <a:lnTo>
                      <a:pt x="1300" y="1621"/>
                    </a:lnTo>
                    <a:lnTo>
                      <a:pt x="1300" y="1624"/>
                    </a:lnTo>
                    <a:lnTo>
                      <a:pt x="1298" y="1624"/>
                    </a:lnTo>
                    <a:lnTo>
                      <a:pt x="1298" y="1621"/>
                    </a:lnTo>
                    <a:close/>
                    <a:moveTo>
                      <a:pt x="1258" y="1558"/>
                    </a:moveTo>
                    <a:lnTo>
                      <a:pt x="1259" y="1558"/>
                    </a:lnTo>
                    <a:lnTo>
                      <a:pt x="1259" y="1560"/>
                    </a:lnTo>
                    <a:lnTo>
                      <a:pt x="1258" y="1560"/>
                    </a:lnTo>
                    <a:lnTo>
                      <a:pt x="1258" y="1558"/>
                    </a:lnTo>
                    <a:close/>
                    <a:moveTo>
                      <a:pt x="1162" y="1376"/>
                    </a:moveTo>
                    <a:lnTo>
                      <a:pt x="1164" y="1376"/>
                    </a:lnTo>
                    <a:lnTo>
                      <a:pt x="1164" y="1378"/>
                    </a:lnTo>
                    <a:lnTo>
                      <a:pt x="1162" y="1378"/>
                    </a:lnTo>
                    <a:lnTo>
                      <a:pt x="1162" y="1376"/>
                    </a:lnTo>
                    <a:close/>
                    <a:moveTo>
                      <a:pt x="1210" y="1490"/>
                    </a:moveTo>
                    <a:lnTo>
                      <a:pt x="1210" y="1492"/>
                    </a:lnTo>
                    <a:lnTo>
                      <a:pt x="1210" y="1490"/>
                    </a:lnTo>
                    <a:close/>
                    <a:moveTo>
                      <a:pt x="1208" y="1553"/>
                    </a:moveTo>
                    <a:lnTo>
                      <a:pt x="1208" y="1556"/>
                    </a:lnTo>
                    <a:lnTo>
                      <a:pt x="1208" y="1553"/>
                    </a:lnTo>
                    <a:close/>
                    <a:moveTo>
                      <a:pt x="1264" y="1595"/>
                    </a:moveTo>
                    <a:lnTo>
                      <a:pt x="1266" y="1595"/>
                    </a:lnTo>
                    <a:lnTo>
                      <a:pt x="1266" y="1597"/>
                    </a:lnTo>
                    <a:lnTo>
                      <a:pt x="1264" y="1597"/>
                    </a:lnTo>
                    <a:lnTo>
                      <a:pt x="1264" y="1595"/>
                    </a:lnTo>
                    <a:close/>
                    <a:moveTo>
                      <a:pt x="1208" y="1478"/>
                    </a:moveTo>
                    <a:lnTo>
                      <a:pt x="1210" y="1478"/>
                    </a:lnTo>
                    <a:lnTo>
                      <a:pt x="1210" y="1480"/>
                    </a:lnTo>
                    <a:lnTo>
                      <a:pt x="1208" y="1480"/>
                    </a:lnTo>
                    <a:lnTo>
                      <a:pt x="1208" y="1478"/>
                    </a:lnTo>
                    <a:close/>
                    <a:moveTo>
                      <a:pt x="1173" y="1408"/>
                    </a:moveTo>
                    <a:lnTo>
                      <a:pt x="1174" y="1408"/>
                    </a:lnTo>
                    <a:lnTo>
                      <a:pt x="1174" y="1410"/>
                    </a:lnTo>
                    <a:lnTo>
                      <a:pt x="1173" y="1410"/>
                    </a:lnTo>
                    <a:lnTo>
                      <a:pt x="1173" y="1408"/>
                    </a:lnTo>
                    <a:close/>
                    <a:moveTo>
                      <a:pt x="1358" y="1650"/>
                    </a:moveTo>
                    <a:lnTo>
                      <a:pt x="1360" y="1650"/>
                    </a:lnTo>
                    <a:lnTo>
                      <a:pt x="1360" y="1652"/>
                    </a:lnTo>
                    <a:lnTo>
                      <a:pt x="1358" y="1652"/>
                    </a:lnTo>
                    <a:lnTo>
                      <a:pt x="1358" y="1650"/>
                    </a:lnTo>
                    <a:close/>
                    <a:moveTo>
                      <a:pt x="1179" y="1276"/>
                    </a:moveTo>
                    <a:lnTo>
                      <a:pt x="1181" y="1276"/>
                    </a:lnTo>
                    <a:lnTo>
                      <a:pt x="1181" y="1277"/>
                    </a:lnTo>
                    <a:lnTo>
                      <a:pt x="1179" y="1277"/>
                    </a:lnTo>
                    <a:lnTo>
                      <a:pt x="1179" y="1276"/>
                    </a:lnTo>
                    <a:close/>
                    <a:moveTo>
                      <a:pt x="1253" y="1572"/>
                    </a:moveTo>
                    <a:lnTo>
                      <a:pt x="1254" y="1572"/>
                    </a:lnTo>
                    <a:lnTo>
                      <a:pt x="1254" y="1575"/>
                    </a:lnTo>
                    <a:lnTo>
                      <a:pt x="1253" y="1575"/>
                    </a:lnTo>
                    <a:lnTo>
                      <a:pt x="1253" y="1572"/>
                    </a:lnTo>
                    <a:close/>
                    <a:moveTo>
                      <a:pt x="1156" y="1245"/>
                    </a:moveTo>
                    <a:lnTo>
                      <a:pt x="1157" y="1245"/>
                    </a:lnTo>
                    <a:lnTo>
                      <a:pt x="1157" y="1247"/>
                    </a:lnTo>
                    <a:lnTo>
                      <a:pt x="1156" y="1247"/>
                    </a:lnTo>
                    <a:lnTo>
                      <a:pt x="1156" y="1245"/>
                    </a:lnTo>
                    <a:close/>
                    <a:moveTo>
                      <a:pt x="1202" y="1243"/>
                    </a:moveTo>
                    <a:lnTo>
                      <a:pt x="1203" y="1243"/>
                    </a:lnTo>
                    <a:lnTo>
                      <a:pt x="1203" y="1245"/>
                    </a:lnTo>
                    <a:lnTo>
                      <a:pt x="1202" y="1245"/>
                    </a:lnTo>
                    <a:lnTo>
                      <a:pt x="1202" y="1243"/>
                    </a:lnTo>
                    <a:close/>
                    <a:moveTo>
                      <a:pt x="1254" y="1573"/>
                    </a:moveTo>
                    <a:lnTo>
                      <a:pt x="1254" y="1577"/>
                    </a:lnTo>
                    <a:lnTo>
                      <a:pt x="1254" y="1573"/>
                    </a:lnTo>
                    <a:close/>
                    <a:moveTo>
                      <a:pt x="1176" y="1119"/>
                    </a:moveTo>
                    <a:lnTo>
                      <a:pt x="1178" y="1119"/>
                    </a:lnTo>
                    <a:lnTo>
                      <a:pt x="1178" y="1121"/>
                    </a:lnTo>
                    <a:lnTo>
                      <a:pt x="1176" y="1121"/>
                    </a:lnTo>
                    <a:lnTo>
                      <a:pt x="1176" y="1119"/>
                    </a:lnTo>
                    <a:close/>
                    <a:moveTo>
                      <a:pt x="1227" y="1582"/>
                    </a:moveTo>
                    <a:lnTo>
                      <a:pt x="1227" y="1585"/>
                    </a:lnTo>
                    <a:lnTo>
                      <a:pt x="1227" y="1582"/>
                    </a:lnTo>
                    <a:close/>
                    <a:moveTo>
                      <a:pt x="1190" y="1483"/>
                    </a:moveTo>
                    <a:lnTo>
                      <a:pt x="1190" y="1485"/>
                    </a:lnTo>
                    <a:lnTo>
                      <a:pt x="1190" y="1483"/>
                    </a:lnTo>
                    <a:close/>
                    <a:moveTo>
                      <a:pt x="1176" y="1197"/>
                    </a:moveTo>
                    <a:lnTo>
                      <a:pt x="1178" y="1197"/>
                    </a:lnTo>
                    <a:lnTo>
                      <a:pt x="1178" y="1199"/>
                    </a:lnTo>
                    <a:lnTo>
                      <a:pt x="1176" y="1199"/>
                    </a:lnTo>
                    <a:lnTo>
                      <a:pt x="1176" y="1197"/>
                    </a:lnTo>
                    <a:close/>
                    <a:moveTo>
                      <a:pt x="1253" y="1498"/>
                    </a:moveTo>
                    <a:lnTo>
                      <a:pt x="1253" y="1500"/>
                    </a:lnTo>
                    <a:lnTo>
                      <a:pt x="1253" y="1498"/>
                    </a:lnTo>
                    <a:close/>
                    <a:moveTo>
                      <a:pt x="1186" y="1384"/>
                    </a:moveTo>
                    <a:lnTo>
                      <a:pt x="1188" y="1384"/>
                    </a:lnTo>
                    <a:lnTo>
                      <a:pt x="1188" y="1386"/>
                    </a:lnTo>
                    <a:lnTo>
                      <a:pt x="1186" y="1386"/>
                    </a:lnTo>
                    <a:lnTo>
                      <a:pt x="1186" y="1384"/>
                    </a:lnTo>
                    <a:close/>
                    <a:moveTo>
                      <a:pt x="1207" y="1071"/>
                    </a:moveTo>
                    <a:lnTo>
                      <a:pt x="1208" y="1071"/>
                    </a:lnTo>
                    <a:lnTo>
                      <a:pt x="1208" y="1073"/>
                    </a:lnTo>
                    <a:lnTo>
                      <a:pt x="1207" y="1073"/>
                    </a:lnTo>
                    <a:lnTo>
                      <a:pt x="1207" y="1071"/>
                    </a:lnTo>
                    <a:close/>
                    <a:moveTo>
                      <a:pt x="1225" y="1575"/>
                    </a:moveTo>
                    <a:lnTo>
                      <a:pt x="1229" y="1575"/>
                    </a:lnTo>
                    <a:lnTo>
                      <a:pt x="1229" y="1577"/>
                    </a:lnTo>
                    <a:lnTo>
                      <a:pt x="1225" y="1577"/>
                    </a:lnTo>
                    <a:lnTo>
                      <a:pt x="1225" y="1575"/>
                    </a:lnTo>
                    <a:close/>
                    <a:moveTo>
                      <a:pt x="1220" y="980"/>
                    </a:moveTo>
                    <a:lnTo>
                      <a:pt x="1222" y="980"/>
                    </a:lnTo>
                    <a:lnTo>
                      <a:pt x="1220" y="980"/>
                    </a:lnTo>
                    <a:close/>
                    <a:moveTo>
                      <a:pt x="1186" y="1191"/>
                    </a:moveTo>
                    <a:lnTo>
                      <a:pt x="1188" y="1191"/>
                    </a:lnTo>
                    <a:lnTo>
                      <a:pt x="1188" y="1192"/>
                    </a:lnTo>
                    <a:lnTo>
                      <a:pt x="1186" y="1192"/>
                    </a:lnTo>
                    <a:lnTo>
                      <a:pt x="1186" y="1191"/>
                    </a:lnTo>
                    <a:close/>
                    <a:moveTo>
                      <a:pt x="1224" y="1580"/>
                    </a:moveTo>
                    <a:lnTo>
                      <a:pt x="1224" y="1582"/>
                    </a:lnTo>
                    <a:lnTo>
                      <a:pt x="1224" y="1580"/>
                    </a:lnTo>
                    <a:close/>
                    <a:moveTo>
                      <a:pt x="1208" y="1553"/>
                    </a:moveTo>
                    <a:lnTo>
                      <a:pt x="1210" y="1553"/>
                    </a:lnTo>
                    <a:lnTo>
                      <a:pt x="1210" y="1555"/>
                    </a:lnTo>
                    <a:lnTo>
                      <a:pt x="1208" y="1555"/>
                    </a:lnTo>
                    <a:lnTo>
                      <a:pt x="1208" y="1553"/>
                    </a:lnTo>
                    <a:close/>
                    <a:moveTo>
                      <a:pt x="1219" y="1524"/>
                    </a:moveTo>
                    <a:lnTo>
                      <a:pt x="1222" y="1524"/>
                    </a:lnTo>
                    <a:lnTo>
                      <a:pt x="1222" y="1526"/>
                    </a:lnTo>
                    <a:lnTo>
                      <a:pt x="1219" y="1526"/>
                    </a:lnTo>
                    <a:lnTo>
                      <a:pt x="1219" y="1524"/>
                    </a:lnTo>
                    <a:close/>
                    <a:moveTo>
                      <a:pt x="1139" y="1310"/>
                    </a:moveTo>
                    <a:lnTo>
                      <a:pt x="1142" y="1310"/>
                    </a:lnTo>
                    <a:lnTo>
                      <a:pt x="1142" y="1311"/>
                    </a:lnTo>
                    <a:lnTo>
                      <a:pt x="1139" y="1311"/>
                    </a:lnTo>
                    <a:lnTo>
                      <a:pt x="1139" y="1310"/>
                    </a:lnTo>
                    <a:close/>
                    <a:moveTo>
                      <a:pt x="1225" y="981"/>
                    </a:moveTo>
                    <a:lnTo>
                      <a:pt x="1227" y="981"/>
                    </a:lnTo>
                    <a:lnTo>
                      <a:pt x="1227" y="983"/>
                    </a:lnTo>
                    <a:lnTo>
                      <a:pt x="1225" y="983"/>
                    </a:lnTo>
                    <a:lnTo>
                      <a:pt x="1225" y="981"/>
                    </a:lnTo>
                    <a:close/>
                    <a:moveTo>
                      <a:pt x="1140" y="1303"/>
                    </a:moveTo>
                    <a:lnTo>
                      <a:pt x="1142" y="1303"/>
                    </a:lnTo>
                    <a:lnTo>
                      <a:pt x="1142" y="1306"/>
                    </a:lnTo>
                    <a:lnTo>
                      <a:pt x="1140" y="1306"/>
                    </a:lnTo>
                    <a:lnTo>
                      <a:pt x="1140" y="1303"/>
                    </a:lnTo>
                    <a:close/>
                    <a:moveTo>
                      <a:pt x="1326" y="1653"/>
                    </a:moveTo>
                    <a:lnTo>
                      <a:pt x="1327" y="1653"/>
                    </a:lnTo>
                    <a:lnTo>
                      <a:pt x="1326" y="1653"/>
                    </a:lnTo>
                    <a:close/>
                    <a:moveTo>
                      <a:pt x="1246" y="1534"/>
                    </a:moveTo>
                    <a:lnTo>
                      <a:pt x="1247" y="1534"/>
                    </a:lnTo>
                    <a:lnTo>
                      <a:pt x="1247" y="1536"/>
                    </a:lnTo>
                    <a:lnTo>
                      <a:pt x="1246" y="1536"/>
                    </a:lnTo>
                    <a:lnTo>
                      <a:pt x="1246" y="1534"/>
                    </a:lnTo>
                    <a:close/>
                    <a:moveTo>
                      <a:pt x="1276" y="1590"/>
                    </a:moveTo>
                    <a:lnTo>
                      <a:pt x="1278" y="1590"/>
                    </a:lnTo>
                    <a:lnTo>
                      <a:pt x="1278" y="1592"/>
                    </a:lnTo>
                    <a:lnTo>
                      <a:pt x="1276" y="1592"/>
                    </a:lnTo>
                    <a:lnTo>
                      <a:pt x="1276" y="1590"/>
                    </a:lnTo>
                    <a:close/>
                    <a:moveTo>
                      <a:pt x="1270" y="1602"/>
                    </a:moveTo>
                    <a:lnTo>
                      <a:pt x="1271" y="1602"/>
                    </a:lnTo>
                    <a:lnTo>
                      <a:pt x="1271" y="1604"/>
                    </a:lnTo>
                    <a:lnTo>
                      <a:pt x="1270" y="1604"/>
                    </a:lnTo>
                    <a:lnTo>
                      <a:pt x="1270" y="1602"/>
                    </a:lnTo>
                    <a:close/>
                    <a:moveTo>
                      <a:pt x="1217" y="1555"/>
                    </a:moveTo>
                    <a:lnTo>
                      <a:pt x="1219" y="1555"/>
                    </a:lnTo>
                    <a:lnTo>
                      <a:pt x="1217" y="1555"/>
                    </a:lnTo>
                    <a:close/>
                    <a:moveTo>
                      <a:pt x="1183" y="1099"/>
                    </a:moveTo>
                    <a:lnTo>
                      <a:pt x="1185" y="1099"/>
                    </a:lnTo>
                    <a:lnTo>
                      <a:pt x="1185" y="1100"/>
                    </a:lnTo>
                    <a:lnTo>
                      <a:pt x="1183" y="1100"/>
                    </a:lnTo>
                    <a:lnTo>
                      <a:pt x="1183" y="1099"/>
                    </a:lnTo>
                    <a:close/>
                    <a:moveTo>
                      <a:pt x="1230" y="1449"/>
                    </a:moveTo>
                    <a:lnTo>
                      <a:pt x="1232" y="1449"/>
                    </a:lnTo>
                    <a:lnTo>
                      <a:pt x="1232" y="1451"/>
                    </a:lnTo>
                    <a:lnTo>
                      <a:pt x="1230" y="1451"/>
                    </a:lnTo>
                    <a:lnTo>
                      <a:pt x="1230" y="1449"/>
                    </a:lnTo>
                    <a:close/>
                    <a:moveTo>
                      <a:pt x="1181" y="1374"/>
                    </a:moveTo>
                    <a:lnTo>
                      <a:pt x="1181" y="1376"/>
                    </a:lnTo>
                    <a:lnTo>
                      <a:pt x="1181" y="1374"/>
                    </a:lnTo>
                    <a:close/>
                    <a:moveTo>
                      <a:pt x="1208" y="1116"/>
                    </a:moveTo>
                    <a:lnTo>
                      <a:pt x="1210" y="1116"/>
                    </a:lnTo>
                    <a:lnTo>
                      <a:pt x="1210" y="1117"/>
                    </a:lnTo>
                    <a:lnTo>
                      <a:pt x="1208" y="1117"/>
                    </a:lnTo>
                    <a:lnTo>
                      <a:pt x="1208" y="1116"/>
                    </a:lnTo>
                    <a:close/>
                    <a:moveTo>
                      <a:pt x="1268" y="1521"/>
                    </a:moveTo>
                    <a:lnTo>
                      <a:pt x="1270" y="1521"/>
                    </a:lnTo>
                    <a:lnTo>
                      <a:pt x="1270" y="1524"/>
                    </a:lnTo>
                    <a:lnTo>
                      <a:pt x="1268" y="1524"/>
                    </a:lnTo>
                    <a:lnTo>
                      <a:pt x="1268" y="1521"/>
                    </a:lnTo>
                    <a:close/>
                    <a:moveTo>
                      <a:pt x="1162" y="1243"/>
                    </a:moveTo>
                    <a:lnTo>
                      <a:pt x="1164" y="1243"/>
                    </a:lnTo>
                    <a:lnTo>
                      <a:pt x="1164" y="1245"/>
                    </a:lnTo>
                    <a:lnTo>
                      <a:pt x="1162" y="1245"/>
                    </a:lnTo>
                    <a:lnTo>
                      <a:pt x="1162" y="1243"/>
                    </a:lnTo>
                    <a:close/>
                    <a:moveTo>
                      <a:pt x="1225" y="959"/>
                    </a:moveTo>
                    <a:lnTo>
                      <a:pt x="1227" y="959"/>
                    </a:lnTo>
                    <a:lnTo>
                      <a:pt x="1227" y="961"/>
                    </a:lnTo>
                    <a:lnTo>
                      <a:pt x="1225" y="961"/>
                    </a:lnTo>
                    <a:lnTo>
                      <a:pt x="1225" y="959"/>
                    </a:lnTo>
                    <a:close/>
                    <a:moveTo>
                      <a:pt x="1179" y="1424"/>
                    </a:moveTo>
                    <a:lnTo>
                      <a:pt x="1181" y="1424"/>
                    </a:lnTo>
                    <a:lnTo>
                      <a:pt x="1181" y="1425"/>
                    </a:lnTo>
                    <a:lnTo>
                      <a:pt x="1179" y="1425"/>
                    </a:lnTo>
                    <a:lnTo>
                      <a:pt x="1179" y="1424"/>
                    </a:lnTo>
                    <a:close/>
                    <a:moveTo>
                      <a:pt x="1154" y="1187"/>
                    </a:moveTo>
                    <a:lnTo>
                      <a:pt x="1156" y="1187"/>
                    </a:lnTo>
                    <a:lnTo>
                      <a:pt x="1154" y="1187"/>
                    </a:lnTo>
                    <a:close/>
                    <a:moveTo>
                      <a:pt x="1217" y="1553"/>
                    </a:moveTo>
                    <a:lnTo>
                      <a:pt x="1220" y="1553"/>
                    </a:lnTo>
                    <a:lnTo>
                      <a:pt x="1220" y="1555"/>
                    </a:lnTo>
                    <a:lnTo>
                      <a:pt x="1217" y="1555"/>
                    </a:lnTo>
                    <a:lnTo>
                      <a:pt x="1217" y="1553"/>
                    </a:lnTo>
                    <a:close/>
                    <a:moveTo>
                      <a:pt x="1164" y="1134"/>
                    </a:moveTo>
                    <a:lnTo>
                      <a:pt x="1166" y="1134"/>
                    </a:lnTo>
                    <a:lnTo>
                      <a:pt x="1166" y="1136"/>
                    </a:lnTo>
                    <a:lnTo>
                      <a:pt x="1164" y="1136"/>
                    </a:lnTo>
                    <a:lnTo>
                      <a:pt x="1164" y="1134"/>
                    </a:lnTo>
                    <a:close/>
                    <a:moveTo>
                      <a:pt x="1224" y="954"/>
                    </a:moveTo>
                    <a:lnTo>
                      <a:pt x="1225" y="954"/>
                    </a:lnTo>
                    <a:lnTo>
                      <a:pt x="1225" y="956"/>
                    </a:lnTo>
                    <a:lnTo>
                      <a:pt x="1224" y="956"/>
                    </a:lnTo>
                    <a:lnTo>
                      <a:pt x="1224" y="954"/>
                    </a:lnTo>
                    <a:close/>
                    <a:moveTo>
                      <a:pt x="1145" y="1252"/>
                    </a:moveTo>
                    <a:lnTo>
                      <a:pt x="1149" y="1252"/>
                    </a:lnTo>
                    <a:lnTo>
                      <a:pt x="1149" y="1253"/>
                    </a:lnTo>
                    <a:lnTo>
                      <a:pt x="1145" y="1253"/>
                    </a:lnTo>
                    <a:lnTo>
                      <a:pt x="1145" y="1252"/>
                    </a:lnTo>
                    <a:close/>
                    <a:moveTo>
                      <a:pt x="1169" y="1415"/>
                    </a:moveTo>
                    <a:lnTo>
                      <a:pt x="1171" y="1415"/>
                    </a:lnTo>
                    <a:lnTo>
                      <a:pt x="1171" y="1417"/>
                    </a:lnTo>
                    <a:lnTo>
                      <a:pt x="1169" y="1417"/>
                    </a:lnTo>
                    <a:lnTo>
                      <a:pt x="1169" y="1415"/>
                    </a:lnTo>
                    <a:close/>
                    <a:moveTo>
                      <a:pt x="1198" y="1427"/>
                    </a:moveTo>
                    <a:lnTo>
                      <a:pt x="1200" y="1427"/>
                    </a:lnTo>
                    <a:lnTo>
                      <a:pt x="1200" y="1429"/>
                    </a:lnTo>
                    <a:lnTo>
                      <a:pt x="1198" y="1429"/>
                    </a:lnTo>
                    <a:lnTo>
                      <a:pt x="1198" y="1427"/>
                    </a:lnTo>
                    <a:close/>
                    <a:moveTo>
                      <a:pt x="1186" y="1485"/>
                    </a:moveTo>
                    <a:lnTo>
                      <a:pt x="1188" y="1485"/>
                    </a:lnTo>
                    <a:lnTo>
                      <a:pt x="1188" y="1487"/>
                    </a:lnTo>
                    <a:lnTo>
                      <a:pt x="1186" y="1487"/>
                    </a:lnTo>
                    <a:lnTo>
                      <a:pt x="1186" y="1485"/>
                    </a:lnTo>
                    <a:close/>
                    <a:moveTo>
                      <a:pt x="1186" y="1459"/>
                    </a:moveTo>
                    <a:lnTo>
                      <a:pt x="1186" y="1461"/>
                    </a:lnTo>
                    <a:lnTo>
                      <a:pt x="1186" y="1459"/>
                    </a:lnTo>
                    <a:close/>
                    <a:moveTo>
                      <a:pt x="1185" y="1461"/>
                    </a:moveTo>
                    <a:lnTo>
                      <a:pt x="1186" y="1461"/>
                    </a:lnTo>
                    <a:lnTo>
                      <a:pt x="1186" y="1463"/>
                    </a:lnTo>
                    <a:lnTo>
                      <a:pt x="1185" y="1463"/>
                    </a:lnTo>
                    <a:lnTo>
                      <a:pt x="1185" y="1461"/>
                    </a:lnTo>
                    <a:close/>
                    <a:moveTo>
                      <a:pt x="1164" y="1242"/>
                    </a:moveTo>
                    <a:lnTo>
                      <a:pt x="1166" y="1242"/>
                    </a:lnTo>
                    <a:lnTo>
                      <a:pt x="1166" y="1243"/>
                    </a:lnTo>
                    <a:lnTo>
                      <a:pt x="1164" y="1243"/>
                    </a:lnTo>
                    <a:lnTo>
                      <a:pt x="1164" y="1242"/>
                    </a:lnTo>
                    <a:close/>
                    <a:moveTo>
                      <a:pt x="1241" y="1493"/>
                    </a:moveTo>
                    <a:lnTo>
                      <a:pt x="1242" y="1493"/>
                    </a:lnTo>
                    <a:lnTo>
                      <a:pt x="1242" y="1495"/>
                    </a:lnTo>
                    <a:lnTo>
                      <a:pt x="1241" y="1495"/>
                    </a:lnTo>
                    <a:lnTo>
                      <a:pt x="1241" y="1493"/>
                    </a:lnTo>
                    <a:close/>
                    <a:moveTo>
                      <a:pt x="1200" y="1250"/>
                    </a:moveTo>
                    <a:lnTo>
                      <a:pt x="1203" y="1250"/>
                    </a:lnTo>
                    <a:lnTo>
                      <a:pt x="1200" y="1250"/>
                    </a:lnTo>
                    <a:close/>
                    <a:moveTo>
                      <a:pt x="1208" y="1065"/>
                    </a:moveTo>
                    <a:lnTo>
                      <a:pt x="1210" y="1065"/>
                    </a:lnTo>
                    <a:lnTo>
                      <a:pt x="1210" y="1066"/>
                    </a:lnTo>
                    <a:lnTo>
                      <a:pt x="1208" y="1066"/>
                    </a:lnTo>
                    <a:lnTo>
                      <a:pt x="1208" y="1065"/>
                    </a:lnTo>
                    <a:close/>
                    <a:moveTo>
                      <a:pt x="1220" y="1555"/>
                    </a:moveTo>
                    <a:lnTo>
                      <a:pt x="1222" y="1555"/>
                    </a:lnTo>
                    <a:lnTo>
                      <a:pt x="1222" y="1556"/>
                    </a:lnTo>
                    <a:lnTo>
                      <a:pt x="1220" y="1556"/>
                    </a:lnTo>
                    <a:lnTo>
                      <a:pt x="1220" y="1555"/>
                    </a:lnTo>
                    <a:close/>
                    <a:moveTo>
                      <a:pt x="1203" y="1532"/>
                    </a:moveTo>
                    <a:lnTo>
                      <a:pt x="1207" y="1532"/>
                    </a:lnTo>
                    <a:lnTo>
                      <a:pt x="1207" y="1534"/>
                    </a:lnTo>
                    <a:lnTo>
                      <a:pt x="1203" y="1534"/>
                    </a:lnTo>
                    <a:lnTo>
                      <a:pt x="1203" y="1532"/>
                    </a:lnTo>
                    <a:close/>
                    <a:moveTo>
                      <a:pt x="1173" y="1391"/>
                    </a:moveTo>
                    <a:lnTo>
                      <a:pt x="1174" y="1391"/>
                    </a:lnTo>
                    <a:lnTo>
                      <a:pt x="1174" y="1393"/>
                    </a:lnTo>
                    <a:lnTo>
                      <a:pt x="1173" y="1393"/>
                    </a:lnTo>
                    <a:lnTo>
                      <a:pt x="1173" y="1391"/>
                    </a:lnTo>
                    <a:close/>
                    <a:moveTo>
                      <a:pt x="1200" y="1442"/>
                    </a:moveTo>
                    <a:lnTo>
                      <a:pt x="1202" y="1442"/>
                    </a:lnTo>
                    <a:lnTo>
                      <a:pt x="1202" y="1444"/>
                    </a:lnTo>
                    <a:lnTo>
                      <a:pt x="1200" y="1444"/>
                    </a:lnTo>
                    <a:lnTo>
                      <a:pt x="1200" y="1442"/>
                    </a:lnTo>
                    <a:close/>
                    <a:moveTo>
                      <a:pt x="1383" y="1663"/>
                    </a:moveTo>
                    <a:lnTo>
                      <a:pt x="1385" y="1663"/>
                    </a:lnTo>
                    <a:lnTo>
                      <a:pt x="1385" y="1665"/>
                    </a:lnTo>
                    <a:lnTo>
                      <a:pt x="1383" y="1665"/>
                    </a:lnTo>
                    <a:lnTo>
                      <a:pt x="1383" y="1663"/>
                    </a:lnTo>
                    <a:close/>
                    <a:moveTo>
                      <a:pt x="1343" y="1657"/>
                    </a:moveTo>
                    <a:lnTo>
                      <a:pt x="1344" y="1657"/>
                    </a:lnTo>
                    <a:lnTo>
                      <a:pt x="1344" y="1660"/>
                    </a:lnTo>
                    <a:lnTo>
                      <a:pt x="1343" y="1660"/>
                    </a:lnTo>
                    <a:lnTo>
                      <a:pt x="1343" y="1657"/>
                    </a:lnTo>
                    <a:close/>
                    <a:moveTo>
                      <a:pt x="1215" y="1105"/>
                    </a:moveTo>
                    <a:lnTo>
                      <a:pt x="1217" y="1105"/>
                    </a:lnTo>
                    <a:lnTo>
                      <a:pt x="1217" y="1109"/>
                    </a:lnTo>
                    <a:lnTo>
                      <a:pt x="1215" y="1109"/>
                    </a:lnTo>
                    <a:lnTo>
                      <a:pt x="1215" y="1105"/>
                    </a:lnTo>
                    <a:close/>
                    <a:moveTo>
                      <a:pt x="1210" y="1071"/>
                    </a:moveTo>
                    <a:lnTo>
                      <a:pt x="1210" y="1073"/>
                    </a:lnTo>
                    <a:lnTo>
                      <a:pt x="1210" y="1071"/>
                    </a:lnTo>
                    <a:close/>
                    <a:moveTo>
                      <a:pt x="1169" y="1481"/>
                    </a:moveTo>
                    <a:lnTo>
                      <a:pt x="1171" y="1481"/>
                    </a:lnTo>
                    <a:lnTo>
                      <a:pt x="1169" y="1481"/>
                    </a:lnTo>
                    <a:close/>
                    <a:moveTo>
                      <a:pt x="1154" y="1306"/>
                    </a:moveTo>
                    <a:lnTo>
                      <a:pt x="1156" y="1306"/>
                    </a:lnTo>
                    <a:lnTo>
                      <a:pt x="1156" y="1310"/>
                    </a:lnTo>
                    <a:lnTo>
                      <a:pt x="1154" y="1310"/>
                    </a:lnTo>
                    <a:lnTo>
                      <a:pt x="1154" y="1306"/>
                    </a:lnTo>
                    <a:close/>
                    <a:moveTo>
                      <a:pt x="1292" y="1577"/>
                    </a:moveTo>
                    <a:lnTo>
                      <a:pt x="1293" y="1577"/>
                    </a:lnTo>
                    <a:lnTo>
                      <a:pt x="1293" y="1578"/>
                    </a:lnTo>
                    <a:lnTo>
                      <a:pt x="1292" y="1578"/>
                    </a:lnTo>
                    <a:lnTo>
                      <a:pt x="1292" y="1577"/>
                    </a:lnTo>
                    <a:close/>
                    <a:moveTo>
                      <a:pt x="1227" y="997"/>
                    </a:moveTo>
                    <a:lnTo>
                      <a:pt x="1229" y="997"/>
                    </a:lnTo>
                    <a:lnTo>
                      <a:pt x="1229" y="998"/>
                    </a:lnTo>
                    <a:lnTo>
                      <a:pt x="1227" y="998"/>
                    </a:lnTo>
                    <a:lnTo>
                      <a:pt x="1227" y="997"/>
                    </a:lnTo>
                    <a:close/>
                    <a:moveTo>
                      <a:pt x="1151" y="1185"/>
                    </a:moveTo>
                    <a:lnTo>
                      <a:pt x="1152" y="1185"/>
                    </a:lnTo>
                    <a:lnTo>
                      <a:pt x="1152" y="1187"/>
                    </a:lnTo>
                    <a:lnTo>
                      <a:pt x="1151" y="1187"/>
                    </a:lnTo>
                    <a:lnTo>
                      <a:pt x="1151" y="1185"/>
                    </a:lnTo>
                    <a:close/>
                    <a:moveTo>
                      <a:pt x="1205" y="1478"/>
                    </a:moveTo>
                    <a:lnTo>
                      <a:pt x="1207" y="1478"/>
                    </a:lnTo>
                    <a:lnTo>
                      <a:pt x="1207" y="1480"/>
                    </a:lnTo>
                    <a:lnTo>
                      <a:pt x="1205" y="1480"/>
                    </a:lnTo>
                    <a:lnTo>
                      <a:pt x="1205" y="1478"/>
                    </a:lnTo>
                    <a:close/>
                    <a:moveTo>
                      <a:pt x="1169" y="1357"/>
                    </a:moveTo>
                    <a:lnTo>
                      <a:pt x="1171" y="1357"/>
                    </a:lnTo>
                    <a:lnTo>
                      <a:pt x="1169" y="1357"/>
                    </a:lnTo>
                    <a:close/>
                    <a:moveTo>
                      <a:pt x="1186" y="1071"/>
                    </a:moveTo>
                    <a:lnTo>
                      <a:pt x="1188" y="1071"/>
                    </a:lnTo>
                    <a:lnTo>
                      <a:pt x="1188" y="1073"/>
                    </a:lnTo>
                    <a:lnTo>
                      <a:pt x="1186" y="1073"/>
                    </a:lnTo>
                    <a:lnTo>
                      <a:pt x="1186" y="1071"/>
                    </a:lnTo>
                    <a:close/>
                    <a:moveTo>
                      <a:pt x="1198" y="1439"/>
                    </a:moveTo>
                    <a:lnTo>
                      <a:pt x="1198" y="1441"/>
                    </a:lnTo>
                    <a:lnTo>
                      <a:pt x="1198" y="1439"/>
                    </a:lnTo>
                    <a:close/>
                    <a:moveTo>
                      <a:pt x="1196" y="1485"/>
                    </a:moveTo>
                    <a:lnTo>
                      <a:pt x="1198" y="1485"/>
                    </a:lnTo>
                    <a:lnTo>
                      <a:pt x="1198" y="1488"/>
                    </a:lnTo>
                    <a:lnTo>
                      <a:pt x="1196" y="1488"/>
                    </a:lnTo>
                    <a:lnTo>
                      <a:pt x="1196" y="1485"/>
                    </a:lnTo>
                    <a:close/>
                    <a:moveTo>
                      <a:pt x="1300" y="1638"/>
                    </a:moveTo>
                    <a:lnTo>
                      <a:pt x="1302" y="1638"/>
                    </a:lnTo>
                    <a:lnTo>
                      <a:pt x="1302" y="1640"/>
                    </a:lnTo>
                    <a:lnTo>
                      <a:pt x="1300" y="1640"/>
                    </a:lnTo>
                    <a:lnTo>
                      <a:pt x="1300" y="1638"/>
                    </a:lnTo>
                    <a:close/>
                    <a:moveTo>
                      <a:pt x="1259" y="1595"/>
                    </a:moveTo>
                    <a:lnTo>
                      <a:pt x="1261" y="1595"/>
                    </a:lnTo>
                    <a:lnTo>
                      <a:pt x="1259" y="1595"/>
                    </a:lnTo>
                    <a:close/>
                    <a:moveTo>
                      <a:pt x="1168" y="1480"/>
                    </a:moveTo>
                    <a:lnTo>
                      <a:pt x="1169" y="1480"/>
                    </a:lnTo>
                    <a:lnTo>
                      <a:pt x="1169" y="1481"/>
                    </a:lnTo>
                    <a:lnTo>
                      <a:pt x="1168" y="1481"/>
                    </a:lnTo>
                    <a:lnTo>
                      <a:pt x="1168" y="1480"/>
                    </a:lnTo>
                    <a:close/>
                    <a:moveTo>
                      <a:pt x="1179" y="1458"/>
                    </a:moveTo>
                    <a:lnTo>
                      <a:pt x="1179" y="1459"/>
                    </a:lnTo>
                    <a:lnTo>
                      <a:pt x="1179" y="1458"/>
                    </a:lnTo>
                    <a:close/>
                    <a:moveTo>
                      <a:pt x="1331" y="1655"/>
                    </a:moveTo>
                    <a:lnTo>
                      <a:pt x="1332" y="1655"/>
                    </a:lnTo>
                    <a:lnTo>
                      <a:pt x="1332" y="1657"/>
                    </a:lnTo>
                    <a:lnTo>
                      <a:pt x="1331" y="1657"/>
                    </a:lnTo>
                    <a:lnTo>
                      <a:pt x="1331" y="1655"/>
                    </a:lnTo>
                    <a:close/>
                    <a:moveTo>
                      <a:pt x="1259" y="1558"/>
                    </a:moveTo>
                    <a:lnTo>
                      <a:pt x="1261" y="1558"/>
                    </a:lnTo>
                    <a:lnTo>
                      <a:pt x="1261" y="1560"/>
                    </a:lnTo>
                    <a:lnTo>
                      <a:pt x="1259" y="1560"/>
                    </a:lnTo>
                    <a:lnTo>
                      <a:pt x="1259" y="1558"/>
                    </a:lnTo>
                    <a:close/>
                    <a:moveTo>
                      <a:pt x="1164" y="1388"/>
                    </a:moveTo>
                    <a:lnTo>
                      <a:pt x="1166" y="1388"/>
                    </a:lnTo>
                    <a:lnTo>
                      <a:pt x="1166" y="1390"/>
                    </a:lnTo>
                    <a:lnTo>
                      <a:pt x="1164" y="1390"/>
                    </a:lnTo>
                    <a:lnTo>
                      <a:pt x="1164" y="1388"/>
                    </a:lnTo>
                    <a:close/>
                    <a:moveTo>
                      <a:pt x="1261" y="1607"/>
                    </a:moveTo>
                    <a:lnTo>
                      <a:pt x="1263" y="1607"/>
                    </a:lnTo>
                    <a:lnTo>
                      <a:pt x="1263" y="1609"/>
                    </a:lnTo>
                    <a:lnTo>
                      <a:pt x="1261" y="1609"/>
                    </a:lnTo>
                    <a:lnTo>
                      <a:pt x="1261" y="1607"/>
                    </a:lnTo>
                    <a:close/>
                    <a:moveTo>
                      <a:pt x="1246" y="1505"/>
                    </a:moveTo>
                    <a:lnTo>
                      <a:pt x="1247" y="1505"/>
                    </a:lnTo>
                    <a:lnTo>
                      <a:pt x="1247" y="1507"/>
                    </a:lnTo>
                    <a:lnTo>
                      <a:pt x="1246" y="1507"/>
                    </a:lnTo>
                    <a:lnTo>
                      <a:pt x="1246" y="1505"/>
                    </a:lnTo>
                    <a:close/>
                    <a:moveTo>
                      <a:pt x="1185" y="1427"/>
                    </a:moveTo>
                    <a:lnTo>
                      <a:pt x="1186" y="1427"/>
                    </a:lnTo>
                    <a:lnTo>
                      <a:pt x="1185" y="1427"/>
                    </a:lnTo>
                    <a:close/>
                    <a:moveTo>
                      <a:pt x="1186" y="1461"/>
                    </a:moveTo>
                    <a:lnTo>
                      <a:pt x="1188" y="1461"/>
                    </a:lnTo>
                    <a:lnTo>
                      <a:pt x="1188" y="1463"/>
                    </a:lnTo>
                    <a:lnTo>
                      <a:pt x="1186" y="1463"/>
                    </a:lnTo>
                    <a:lnTo>
                      <a:pt x="1186" y="1461"/>
                    </a:lnTo>
                    <a:close/>
                    <a:moveTo>
                      <a:pt x="1236" y="995"/>
                    </a:moveTo>
                    <a:lnTo>
                      <a:pt x="1236" y="997"/>
                    </a:lnTo>
                    <a:lnTo>
                      <a:pt x="1236" y="995"/>
                    </a:lnTo>
                    <a:close/>
                    <a:moveTo>
                      <a:pt x="1196" y="1437"/>
                    </a:moveTo>
                    <a:lnTo>
                      <a:pt x="1198" y="1437"/>
                    </a:lnTo>
                    <a:lnTo>
                      <a:pt x="1198" y="1439"/>
                    </a:lnTo>
                    <a:lnTo>
                      <a:pt x="1196" y="1439"/>
                    </a:lnTo>
                    <a:lnTo>
                      <a:pt x="1196" y="1437"/>
                    </a:lnTo>
                    <a:close/>
                    <a:moveTo>
                      <a:pt x="1171" y="1390"/>
                    </a:moveTo>
                    <a:lnTo>
                      <a:pt x="1173" y="1390"/>
                    </a:lnTo>
                    <a:lnTo>
                      <a:pt x="1173" y="1391"/>
                    </a:lnTo>
                    <a:lnTo>
                      <a:pt x="1171" y="1391"/>
                    </a:lnTo>
                    <a:lnTo>
                      <a:pt x="1171" y="1390"/>
                    </a:lnTo>
                    <a:close/>
                    <a:moveTo>
                      <a:pt x="1191" y="1119"/>
                    </a:moveTo>
                    <a:lnTo>
                      <a:pt x="1191" y="1121"/>
                    </a:lnTo>
                    <a:lnTo>
                      <a:pt x="1191" y="1119"/>
                    </a:lnTo>
                    <a:close/>
                    <a:moveTo>
                      <a:pt x="1191" y="1061"/>
                    </a:moveTo>
                    <a:lnTo>
                      <a:pt x="1191" y="1063"/>
                    </a:lnTo>
                    <a:lnTo>
                      <a:pt x="1191" y="1061"/>
                    </a:lnTo>
                    <a:close/>
                    <a:moveTo>
                      <a:pt x="1212" y="1107"/>
                    </a:moveTo>
                    <a:lnTo>
                      <a:pt x="1213" y="1107"/>
                    </a:lnTo>
                    <a:lnTo>
                      <a:pt x="1213" y="1109"/>
                    </a:lnTo>
                    <a:lnTo>
                      <a:pt x="1212" y="1109"/>
                    </a:lnTo>
                    <a:lnTo>
                      <a:pt x="1212" y="1107"/>
                    </a:lnTo>
                    <a:close/>
                    <a:moveTo>
                      <a:pt x="1212" y="1524"/>
                    </a:moveTo>
                    <a:lnTo>
                      <a:pt x="1213" y="1524"/>
                    </a:lnTo>
                    <a:lnTo>
                      <a:pt x="1213" y="1526"/>
                    </a:lnTo>
                    <a:lnTo>
                      <a:pt x="1212" y="1526"/>
                    </a:lnTo>
                    <a:lnTo>
                      <a:pt x="1212" y="1524"/>
                    </a:lnTo>
                    <a:close/>
                    <a:moveTo>
                      <a:pt x="1212" y="1558"/>
                    </a:moveTo>
                    <a:lnTo>
                      <a:pt x="1213" y="1558"/>
                    </a:lnTo>
                    <a:lnTo>
                      <a:pt x="1213" y="1560"/>
                    </a:lnTo>
                    <a:lnTo>
                      <a:pt x="1212" y="1560"/>
                    </a:lnTo>
                    <a:lnTo>
                      <a:pt x="1212" y="1558"/>
                    </a:lnTo>
                    <a:close/>
                    <a:moveTo>
                      <a:pt x="1179" y="1420"/>
                    </a:moveTo>
                    <a:lnTo>
                      <a:pt x="1179" y="1422"/>
                    </a:lnTo>
                    <a:lnTo>
                      <a:pt x="1179" y="1420"/>
                    </a:lnTo>
                    <a:close/>
                    <a:moveTo>
                      <a:pt x="1440" y="1650"/>
                    </a:moveTo>
                    <a:lnTo>
                      <a:pt x="1440" y="1652"/>
                    </a:lnTo>
                    <a:lnTo>
                      <a:pt x="1440" y="1650"/>
                    </a:lnTo>
                    <a:close/>
                    <a:moveTo>
                      <a:pt x="1208" y="1243"/>
                    </a:moveTo>
                    <a:lnTo>
                      <a:pt x="1210" y="1243"/>
                    </a:lnTo>
                    <a:lnTo>
                      <a:pt x="1208" y="1243"/>
                    </a:lnTo>
                    <a:close/>
                    <a:moveTo>
                      <a:pt x="1293" y="1616"/>
                    </a:moveTo>
                    <a:lnTo>
                      <a:pt x="1295" y="1616"/>
                    </a:lnTo>
                    <a:lnTo>
                      <a:pt x="1293" y="1616"/>
                    </a:lnTo>
                    <a:close/>
                    <a:moveTo>
                      <a:pt x="1341" y="1648"/>
                    </a:moveTo>
                    <a:lnTo>
                      <a:pt x="1343" y="1648"/>
                    </a:lnTo>
                    <a:lnTo>
                      <a:pt x="1343" y="1650"/>
                    </a:lnTo>
                    <a:lnTo>
                      <a:pt x="1341" y="1650"/>
                    </a:lnTo>
                    <a:lnTo>
                      <a:pt x="1341" y="1648"/>
                    </a:lnTo>
                    <a:close/>
                    <a:moveTo>
                      <a:pt x="1185" y="1463"/>
                    </a:moveTo>
                    <a:lnTo>
                      <a:pt x="1186" y="1463"/>
                    </a:lnTo>
                    <a:lnTo>
                      <a:pt x="1186" y="1464"/>
                    </a:lnTo>
                    <a:lnTo>
                      <a:pt x="1185" y="1464"/>
                    </a:lnTo>
                    <a:lnTo>
                      <a:pt x="1185" y="1463"/>
                    </a:lnTo>
                    <a:close/>
                    <a:moveTo>
                      <a:pt x="1212" y="1100"/>
                    </a:moveTo>
                    <a:lnTo>
                      <a:pt x="1213" y="1100"/>
                    </a:lnTo>
                    <a:lnTo>
                      <a:pt x="1213" y="1102"/>
                    </a:lnTo>
                    <a:lnTo>
                      <a:pt x="1212" y="1102"/>
                    </a:lnTo>
                    <a:lnTo>
                      <a:pt x="1212" y="1100"/>
                    </a:lnTo>
                    <a:close/>
                    <a:moveTo>
                      <a:pt x="1166" y="1337"/>
                    </a:moveTo>
                    <a:lnTo>
                      <a:pt x="1166" y="1339"/>
                    </a:lnTo>
                    <a:lnTo>
                      <a:pt x="1166" y="1337"/>
                    </a:lnTo>
                    <a:close/>
                    <a:moveTo>
                      <a:pt x="1185" y="1441"/>
                    </a:moveTo>
                    <a:lnTo>
                      <a:pt x="1186" y="1441"/>
                    </a:lnTo>
                    <a:lnTo>
                      <a:pt x="1186" y="1442"/>
                    </a:lnTo>
                    <a:lnTo>
                      <a:pt x="1185" y="1442"/>
                    </a:lnTo>
                    <a:lnTo>
                      <a:pt x="1185" y="1441"/>
                    </a:lnTo>
                    <a:close/>
                    <a:moveTo>
                      <a:pt x="1212" y="1260"/>
                    </a:moveTo>
                    <a:lnTo>
                      <a:pt x="1213" y="1260"/>
                    </a:lnTo>
                    <a:lnTo>
                      <a:pt x="1212" y="1260"/>
                    </a:lnTo>
                    <a:close/>
                    <a:moveTo>
                      <a:pt x="1225" y="956"/>
                    </a:moveTo>
                    <a:lnTo>
                      <a:pt x="1227" y="956"/>
                    </a:lnTo>
                    <a:lnTo>
                      <a:pt x="1227" y="957"/>
                    </a:lnTo>
                    <a:lnTo>
                      <a:pt x="1225" y="957"/>
                    </a:lnTo>
                    <a:lnTo>
                      <a:pt x="1225" y="956"/>
                    </a:lnTo>
                    <a:close/>
                    <a:moveTo>
                      <a:pt x="1270" y="1614"/>
                    </a:moveTo>
                    <a:lnTo>
                      <a:pt x="1271" y="1614"/>
                    </a:lnTo>
                    <a:lnTo>
                      <a:pt x="1270" y="1614"/>
                    </a:lnTo>
                    <a:close/>
                    <a:moveTo>
                      <a:pt x="1326" y="1635"/>
                    </a:moveTo>
                    <a:lnTo>
                      <a:pt x="1327" y="1635"/>
                    </a:lnTo>
                    <a:lnTo>
                      <a:pt x="1326" y="1635"/>
                    </a:lnTo>
                    <a:close/>
                    <a:moveTo>
                      <a:pt x="1159" y="1415"/>
                    </a:moveTo>
                    <a:lnTo>
                      <a:pt x="1159" y="1417"/>
                    </a:lnTo>
                    <a:lnTo>
                      <a:pt x="1159" y="1415"/>
                    </a:lnTo>
                    <a:close/>
                    <a:moveTo>
                      <a:pt x="1196" y="1430"/>
                    </a:moveTo>
                    <a:lnTo>
                      <a:pt x="1198" y="1430"/>
                    </a:lnTo>
                    <a:lnTo>
                      <a:pt x="1198" y="1432"/>
                    </a:lnTo>
                    <a:lnTo>
                      <a:pt x="1196" y="1432"/>
                    </a:lnTo>
                    <a:lnTo>
                      <a:pt x="1196" y="1430"/>
                    </a:lnTo>
                    <a:close/>
                    <a:moveTo>
                      <a:pt x="1208" y="1141"/>
                    </a:moveTo>
                    <a:lnTo>
                      <a:pt x="1208" y="1143"/>
                    </a:lnTo>
                    <a:lnTo>
                      <a:pt x="1208" y="1141"/>
                    </a:lnTo>
                    <a:close/>
                    <a:moveTo>
                      <a:pt x="1263" y="1597"/>
                    </a:moveTo>
                    <a:lnTo>
                      <a:pt x="1264" y="1597"/>
                    </a:lnTo>
                    <a:lnTo>
                      <a:pt x="1264" y="1599"/>
                    </a:lnTo>
                    <a:lnTo>
                      <a:pt x="1263" y="1599"/>
                    </a:lnTo>
                    <a:lnTo>
                      <a:pt x="1263" y="1597"/>
                    </a:lnTo>
                    <a:close/>
                    <a:moveTo>
                      <a:pt x="1225" y="1563"/>
                    </a:moveTo>
                    <a:lnTo>
                      <a:pt x="1227" y="1563"/>
                    </a:lnTo>
                    <a:lnTo>
                      <a:pt x="1225" y="1563"/>
                    </a:lnTo>
                    <a:lnTo>
                      <a:pt x="1224" y="1563"/>
                    </a:lnTo>
                    <a:lnTo>
                      <a:pt x="1225" y="1563"/>
                    </a:lnTo>
                    <a:close/>
                    <a:moveTo>
                      <a:pt x="1256" y="1592"/>
                    </a:moveTo>
                    <a:lnTo>
                      <a:pt x="1258" y="1592"/>
                    </a:lnTo>
                    <a:lnTo>
                      <a:pt x="1258" y="1594"/>
                    </a:lnTo>
                    <a:lnTo>
                      <a:pt x="1256" y="1594"/>
                    </a:lnTo>
                    <a:lnTo>
                      <a:pt x="1256" y="1592"/>
                    </a:lnTo>
                    <a:close/>
                    <a:moveTo>
                      <a:pt x="1203" y="1134"/>
                    </a:moveTo>
                    <a:lnTo>
                      <a:pt x="1203" y="1136"/>
                    </a:lnTo>
                    <a:lnTo>
                      <a:pt x="1203" y="1134"/>
                    </a:lnTo>
                    <a:close/>
                    <a:moveTo>
                      <a:pt x="1205" y="1073"/>
                    </a:moveTo>
                    <a:lnTo>
                      <a:pt x="1207" y="1073"/>
                    </a:lnTo>
                    <a:lnTo>
                      <a:pt x="1205" y="1073"/>
                    </a:lnTo>
                    <a:close/>
                    <a:moveTo>
                      <a:pt x="1229" y="1583"/>
                    </a:moveTo>
                    <a:lnTo>
                      <a:pt x="1230" y="1583"/>
                    </a:lnTo>
                    <a:lnTo>
                      <a:pt x="1230" y="1585"/>
                    </a:lnTo>
                    <a:lnTo>
                      <a:pt x="1229" y="1585"/>
                    </a:lnTo>
                    <a:lnTo>
                      <a:pt x="1229" y="1583"/>
                    </a:lnTo>
                    <a:close/>
                    <a:moveTo>
                      <a:pt x="1287" y="1595"/>
                    </a:moveTo>
                    <a:lnTo>
                      <a:pt x="1288" y="1595"/>
                    </a:lnTo>
                    <a:lnTo>
                      <a:pt x="1288" y="1597"/>
                    </a:lnTo>
                    <a:lnTo>
                      <a:pt x="1287" y="1597"/>
                    </a:lnTo>
                    <a:lnTo>
                      <a:pt x="1287" y="1595"/>
                    </a:lnTo>
                    <a:close/>
                    <a:moveTo>
                      <a:pt x="1230" y="1572"/>
                    </a:moveTo>
                    <a:lnTo>
                      <a:pt x="1232" y="1572"/>
                    </a:lnTo>
                    <a:lnTo>
                      <a:pt x="1232" y="1573"/>
                    </a:lnTo>
                    <a:lnTo>
                      <a:pt x="1230" y="1573"/>
                    </a:lnTo>
                    <a:lnTo>
                      <a:pt x="1230" y="1572"/>
                    </a:lnTo>
                    <a:close/>
                    <a:moveTo>
                      <a:pt x="1297" y="1611"/>
                    </a:moveTo>
                    <a:lnTo>
                      <a:pt x="1297" y="1612"/>
                    </a:lnTo>
                    <a:lnTo>
                      <a:pt x="1297" y="1611"/>
                    </a:lnTo>
                    <a:close/>
                    <a:moveTo>
                      <a:pt x="1230" y="940"/>
                    </a:moveTo>
                    <a:lnTo>
                      <a:pt x="1232" y="940"/>
                    </a:lnTo>
                    <a:lnTo>
                      <a:pt x="1232" y="942"/>
                    </a:lnTo>
                    <a:lnTo>
                      <a:pt x="1230" y="942"/>
                    </a:lnTo>
                    <a:lnTo>
                      <a:pt x="1230" y="940"/>
                    </a:lnTo>
                    <a:close/>
                    <a:moveTo>
                      <a:pt x="1191" y="1461"/>
                    </a:moveTo>
                    <a:lnTo>
                      <a:pt x="1193" y="1461"/>
                    </a:lnTo>
                    <a:lnTo>
                      <a:pt x="1193" y="1463"/>
                    </a:lnTo>
                    <a:lnTo>
                      <a:pt x="1191" y="1463"/>
                    </a:lnTo>
                    <a:lnTo>
                      <a:pt x="1191" y="1461"/>
                    </a:lnTo>
                    <a:close/>
                    <a:moveTo>
                      <a:pt x="1186" y="1424"/>
                    </a:moveTo>
                    <a:lnTo>
                      <a:pt x="1186" y="1425"/>
                    </a:lnTo>
                    <a:lnTo>
                      <a:pt x="1186" y="1424"/>
                    </a:lnTo>
                    <a:close/>
                    <a:moveTo>
                      <a:pt x="1263" y="1614"/>
                    </a:moveTo>
                    <a:lnTo>
                      <a:pt x="1263" y="1616"/>
                    </a:lnTo>
                    <a:lnTo>
                      <a:pt x="1263" y="1614"/>
                    </a:lnTo>
                    <a:close/>
                    <a:moveTo>
                      <a:pt x="1176" y="1468"/>
                    </a:moveTo>
                    <a:lnTo>
                      <a:pt x="1178" y="1468"/>
                    </a:lnTo>
                    <a:lnTo>
                      <a:pt x="1178" y="1470"/>
                    </a:lnTo>
                    <a:lnTo>
                      <a:pt x="1176" y="1470"/>
                    </a:lnTo>
                    <a:lnTo>
                      <a:pt x="1176" y="1468"/>
                    </a:lnTo>
                    <a:close/>
                    <a:moveTo>
                      <a:pt x="1358" y="1646"/>
                    </a:moveTo>
                    <a:lnTo>
                      <a:pt x="1360" y="1646"/>
                    </a:lnTo>
                    <a:lnTo>
                      <a:pt x="1358" y="1646"/>
                    </a:lnTo>
                    <a:close/>
                    <a:moveTo>
                      <a:pt x="1162" y="1143"/>
                    </a:moveTo>
                    <a:lnTo>
                      <a:pt x="1164" y="1143"/>
                    </a:lnTo>
                    <a:lnTo>
                      <a:pt x="1162" y="1143"/>
                    </a:lnTo>
                    <a:close/>
                    <a:moveTo>
                      <a:pt x="1385" y="1662"/>
                    </a:moveTo>
                    <a:lnTo>
                      <a:pt x="1387" y="1662"/>
                    </a:lnTo>
                    <a:lnTo>
                      <a:pt x="1387" y="1663"/>
                    </a:lnTo>
                    <a:lnTo>
                      <a:pt x="1385" y="1663"/>
                    </a:lnTo>
                    <a:lnTo>
                      <a:pt x="1385" y="1662"/>
                    </a:lnTo>
                    <a:close/>
                    <a:moveTo>
                      <a:pt x="1173" y="1240"/>
                    </a:moveTo>
                    <a:lnTo>
                      <a:pt x="1174" y="1240"/>
                    </a:lnTo>
                    <a:lnTo>
                      <a:pt x="1174" y="1242"/>
                    </a:lnTo>
                    <a:lnTo>
                      <a:pt x="1173" y="1242"/>
                    </a:lnTo>
                    <a:lnTo>
                      <a:pt x="1173" y="1240"/>
                    </a:lnTo>
                    <a:close/>
                    <a:moveTo>
                      <a:pt x="1212" y="1111"/>
                    </a:moveTo>
                    <a:lnTo>
                      <a:pt x="1213" y="1111"/>
                    </a:lnTo>
                    <a:lnTo>
                      <a:pt x="1213" y="1112"/>
                    </a:lnTo>
                    <a:lnTo>
                      <a:pt x="1212" y="1112"/>
                    </a:lnTo>
                    <a:lnTo>
                      <a:pt x="1212" y="1111"/>
                    </a:lnTo>
                    <a:close/>
                    <a:moveTo>
                      <a:pt x="1375" y="1663"/>
                    </a:moveTo>
                    <a:lnTo>
                      <a:pt x="1377" y="1663"/>
                    </a:lnTo>
                    <a:lnTo>
                      <a:pt x="1377" y="1665"/>
                    </a:lnTo>
                    <a:lnTo>
                      <a:pt x="1375" y="1665"/>
                    </a:lnTo>
                    <a:lnTo>
                      <a:pt x="1375" y="1663"/>
                    </a:lnTo>
                    <a:close/>
                    <a:moveTo>
                      <a:pt x="1227" y="1572"/>
                    </a:moveTo>
                    <a:lnTo>
                      <a:pt x="1229" y="1572"/>
                    </a:lnTo>
                    <a:lnTo>
                      <a:pt x="1227" y="1572"/>
                    </a:lnTo>
                    <a:close/>
                    <a:moveTo>
                      <a:pt x="1225" y="1577"/>
                    </a:moveTo>
                    <a:lnTo>
                      <a:pt x="1227" y="1577"/>
                    </a:lnTo>
                    <a:lnTo>
                      <a:pt x="1225" y="1577"/>
                    </a:lnTo>
                    <a:close/>
                    <a:moveTo>
                      <a:pt x="1174" y="1100"/>
                    </a:moveTo>
                    <a:lnTo>
                      <a:pt x="1176" y="1100"/>
                    </a:lnTo>
                    <a:lnTo>
                      <a:pt x="1176" y="1102"/>
                    </a:lnTo>
                    <a:lnTo>
                      <a:pt x="1174" y="1102"/>
                    </a:lnTo>
                    <a:lnTo>
                      <a:pt x="1174" y="1100"/>
                    </a:lnTo>
                    <a:close/>
                    <a:moveTo>
                      <a:pt x="1278" y="423"/>
                    </a:moveTo>
                    <a:lnTo>
                      <a:pt x="1278" y="425"/>
                    </a:lnTo>
                    <a:lnTo>
                      <a:pt x="1278" y="423"/>
                    </a:lnTo>
                    <a:close/>
                    <a:moveTo>
                      <a:pt x="1208" y="1124"/>
                    </a:moveTo>
                    <a:lnTo>
                      <a:pt x="1210" y="1124"/>
                    </a:lnTo>
                    <a:lnTo>
                      <a:pt x="1210" y="1126"/>
                    </a:lnTo>
                    <a:lnTo>
                      <a:pt x="1208" y="1126"/>
                    </a:lnTo>
                    <a:lnTo>
                      <a:pt x="1208" y="1124"/>
                    </a:lnTo>
                    <a:close/>
                    <a:moveTo>
                      <a:pt x="1304" y="1638"/>
                    </a:moveTo>
                    <a:lnTo>
                      <a:pt x="1304" y="1640"/>
                    </a:lnTo>
                    <a:lnTo>
                      <a:pt x="1304" y="1638"/>
                    </a:lnTo>
                    <a:close/>
                    <a:moveTo>
                      <a:pt x="1222" y="1066"/>
                    </a:moveTo>
                    <a:lnTo>
                      <a:pt x="1224" y="1066"/>
                    </a:lnTo>
                    <a:lnTo>
                      <a:pt x="1224" y="1068"/>
                    </a:lnTo>
                    <a:lnTo>
                      <a:pt x="1222" y="1068"/>
                    </a:lnTo>
                    <a:lnTo>
                      <a:pt x="1222" y="1066"/>
                    </a:lnTo>
                    <a:close/>
                    <a:moveTo>
                      <a:pt x="1258" y="1568"/>
                    </a:moveTo>
                    <a:lnTo>
                      <a:pt x="1258" y="1570"/>
                    </a:lnTo>
                    <a:lnTo>
                      <a:pt x="1258" y="1568"/>
                    </a:lnTo>
                    <a:close/>
                    <a:moveTo>
                      <a:pt x="1174" y="1117"/>
                    </a:moveTo>
                    <a:lnTo>
                      <a:pt x="1176" y="1117"/>
                    </a:lnTo>
                    <a:lnTo>
                      <a:pt x="1176" y="1119"/>
                    </a:lnTo>
                    <a:lnTo>
                      <a:pt x="1174" y="1119"/>
                    </a:lnTo>
                    <a:lnTo>
                      <a:pt x="1174" y="1117"/>
                    </a:lnTo>
                    <a:close/>
                    <a:moveTo>
                      <a:pt x="1185" y="1400"/>
                    </a:moveTo>
                    <a:lnTo>
                      <a:pt x="1185" y="1401"/>
                    </a:lnTo>
                    <a:lnTo>
                      <a:pt x="1185" y="1400"/>
                    </a:lnTo>
                    <a:close/>
                    <a:moveTo>
                      <a:pt x="1213" y="1519"/>
                    </a:moveTo>
                    <a:lnTo>
                      <a:pt x="1215" y="1519"/>
                    </a:lnTo>
                    <a:lnTo>
                      <a:pt x="1215" y="1521"/>
                    </a:lnTo>
                    <a:lnTo>
                      <a:pt x="1213" y="1521"/>
                    </a:lnTo>
                    <a:lnTo>
                      <a:pt x="1213" y="1519"/>
                    </a:lnTo>
                    <a:close/>
                    <a:moveTo>
                      <a:pt x="1219" y="1543"/>
                    </a:moveTo>
                    <a:lnTo>
                      <a:pt x="1220" y="1543"/>
                    </a:lnTo>
                    <a:lnTo>
                      <a:pt x="1220" y="1544"/>
                    </a:lnTo>
                    <a:lnTo>
                      <a:pt x="1219" y="1544"/>
                    </a:lnTo>
                    <a:lnTo>
                      <a:pt x="1219" y="1543"/>
                    </a:lnTo>
                    <a:close/>
                    <a:moveTo>
                      <a:pt x="1205" y="1066"/>
                    </a:moveTo>
                    <a:lnTo>
                      <a:pt x="1205" y="1068"/>
                    </a:lnTo>
                    <a:lnTo>
                      <a:pt x="1205" y="1066"/>
                    </a:lnTo>
                    <a:close/>
                    <a:moveTo>
                      <a:pt x="1191" y="1126"/>
                    </a:moveTo>
                    <a:lnTo>
                      <a:pt x="1193" y="1126"/>
                    </a:lnTo>
                    <a:lnTo>
                      <a:pt x="1193" y="1128"/>
                    </a:lnTo>
                    <a:lnTo>
                      <a:pt x="1191" y="1128"/>
                    </a:lnTo>
                    <a:lnTo>
                      <a:pt x="1191" y="1126"/>
                    </a:lnTo>
                    <a:close/>
                    <a:moveTo>
                      <a:pt x="1176" y="1441"/>
                    </a:moveTo>
                    <a:lnTo>
                      <a:pt x="1179" y="1441"/>
                    </a:lnTo>
                    <a:lnTo>
                      <a:pt x="1179" y="1442"/>
                    </a:lnTo>
                    <a:lnTo>
                      <a:pt x="1176" y="1442"/>
                    </a:lnTo>
                    <a:lnTo>
                      <a:pt x="1176" y="1441"/>
                    </a:lnTo>
                    <a:close/>
                    <a:moveTo>
                      <a:pt x="1227" y="730"/>
                    </a:moveTo>
                    <a:lnTo>
                      <a:pt x="1229" y="730"/>
                    </a:lnTo>
                    <a:lnTo>
                      <a:pt x="1229" y="731"/>
                    </a:lnTo>
                    <a:lnTo>
                      <a:pt x="1227" y="731"/>
                    </a:lnTo>
                    <a:lnTo>
                      <a:pt x="1227" y="730"/>
                    </a:lnTo>
                    <a:close/>
                    <a:moveTo>
                      <a:pt x="1195" y="1048"/>
                    </a:moveTo>
                    <a:lnTo>
                      <a:pt x="1196" y="1048"/>
                    </a:lnTo>
                    <a:lnTo>
                      <a:pt x="1195" y="1048"/>
                    </a:lnTo>
                    <a:close/>
                    <a:moveTo>
                      <a:pt x="1207" y="1060"/>
                    </a:moveTo>
                    <a:lnTo>
                      <a:pt x="1208" y="1060"/>
                    </a:lnTo>
                    <a:lnTo>
                      <a:pt x="1208" y="1061"/>
                    </a:lnTo>
                    <a:lnTo>
                      <a:pt x="1207" y="1061"/>
                    </a:lnTo>
                    <a:lnTo>
                      <a:pt x="1207" y="1060"/>
                    </a:lnTo>
                    <a:close/>
                    <a:moveTo>
                      <a:pt x="1207" y="1102"/>
                    </a:moveTo>
                    <a:lnTo>
                      <a:pt x="1208" y="1102"/>
                    </a:lnTo>
                    <a:lnTo>
                      <a:pt x="1208" y="1104"/>
                    </a:lnTo>
                    <a:lnTo>
                      <a:pt x="1207" y="1104"/>
                    </a:lnTo>
                    <a:lnTo>
                      <a:pt x="1207" y="1102"/>
                    </a:lnTo>
                    <a:close/>
                    <a:moveTo>
                      <a:pt x="1166" y="1136"/>
                    </a:moveTo>
                    <a:lnTo>
                      <a:pt x="1168" y="1136"/>
                    </a:lnTo>
                    <a:lnTo>
                      <a:pt x="1168" y="1138"/>
                    </a:lnTo>
                    <a:lnTo>
                      <a:pt x="1166" y="1138"/>
                    </a:lnTo>
                    <a:lnTo>
                      <a:pt x="1166" y="1136"/>
                    </a:lnTo>
                    <a:close/>
                    <a:moveTo>
                      <a:pt x="1178" y="1277"/>
                    </a:moveTo>
                    <a:lnTo>
                      <a:pt x="1178" y="1281"/>
                    </a:lnTo>
                    <a:lnTo>
                      <a:pt x="1178" y="1277"/>
                    </a:lnTo>
                    <a:close/>
                    <a:moveTo>
                      <a:pt x="1188" y="1483"/>
                    </a:moveTo>
                    <a:lnTo>
                      <a:pt x="1190" y="1483"/>
                    </a:lnTo>
                    <a:lnTo>
                      <a:pt x="1188" y="1483"/>
                    </a:lnTo>
                    <a:close/>
                    <a:moveTo>
                      <a:pt x="1178" y="1373"/>
                    </a:moveTo>
                    <a:lnTo>
                      <a:pt x="1178" y="1374"/>
                    </a:lnTo>
                    <a:lnTo>
                      <a:pt x="1178" y="1373"/>
                    </a:lnTo>
                    <a:close/>
                    <a:moveTo>
                      <a:pt x="1389" y="1663"/>
                    </a:moveTo>
                    <a:lnTo>
                      <a:pt x="1389" y="1665"/>
                    </a:lnTo>
                    <a:lnTo>
                      <a:pt x="1389" y="1663"/>
                    </a:lnTo>
                    <a:close/>
                    <a:moveTo>
                      <a:pt x="1417" y="1684"/>
                    </a:moveTo>
                    <a:lnTo>
                      <a:pt x="1419" y="1684"/>
                    </a:lnTo>
                    <a:lnTo>
                      <a:pt x="1419" y="1686"/>
                    </a:lnTo>
                    <a:lnTo>
                      <a:pt x="1417" y="1686"/>
                    </a:lnTo>
                    <a:lnTo>
                      <a:pt x="1417" y="1684"/>
                    </a:lnTo>
                    <a:close/>
                    <a:moveTo>
                      <a:pt x="1181" y="1481"/>
                    </a:moveTo>
                    <a:lnTo>
                      <a:pt x="1183" y="1481"/>
                    </a:lnTo>
                    <a:lnTo>
                      <a:pt x="1181" y="1481"/>
                    </a:lnTo>
                    <a:close/>
                    <a:moveTo>
                      <a:pt x="1213" y="1070"/>
                    </a:moveTo>
                    <a:lnTo>
                      <a:pt x="1213" y="1071"/>
                    </a:lnTo>
                    <a:lnTo>
                      <a:pt x="1213" y="1070"/>
                    </a:lnTo>
                    <a:close/>
                    <a:moveTo>
                      <a:pt x="1225" y="1570"/>
                    </a:moveTo>
                    <a:lnTo>
                      <a:pt x="1227" y="1570"/>
                    </a:lnTo>
                    <a:lnTo>
                      <a:pt x="1225" y="1570"/>
                    </a:lnTo>
                    <a:close/>
                    <a:moveTo>
                      <a:pt x="1145" y="1332"/>
                    </a:moveTo>
                    <a:lnTo>
                      <a:pt x="1145" y="1333"/>
                    </a:lnTo>
                    <a:lnTo>
                      <a:pt x="1145" y="1332"/>
                    </a:lnTo>
                    <a:close/>
                    <a:moveTo>
                      <a:pt x="1236" y="1075"/>
                    </a:moveTo>
                    <a:lnTo>
                      <a:pt x="1237" y="1075"/>
                    </a:lnTo>
                    <a:lnTo>
                      <a:pt x="1237" y="1077"/>
                    </a:lnTo>
                    <a:lnTo>
                      <a:pt x="1236" y="1077"/>
                    </a:lnTo>
                    <a:lnTo>
                      <a:pt x="1236" y="1075"/>
                    </a:lnTo>
                    <a:close/>
                    <a:moveTo>
                      <a:pt x="1164" y="1332"/>
                    </a:moveTo>
                    <a:lnTo>
                      <a:pt x="1166" y="1332"/>
                    </a:lnTo>
                    <a:lnTo>
                      <a:pt x="1166" y="1333"/>
                    </a:lnTo>
                    <a:lnTo>
                      <a:pt x="1164" y="1333"/>
                    </a:lnTo>
                    <a:lnTo>
                      <a:pt x="1164" y="1332"/>
                    </a:lnTo>
                    <a:close/>
                    <a:moveTo>
                      <a:pt x="1162" y="1357"/>
                    </a:moveTo>
                    <a:lnTo>
                      <a:pt x="1162" y="1359"/>
                    </a:lnTo>
                    <a:lnTo>
                      <a:pt x="1162" y="1357"/>
                    </a:lnTo>
                    <a:close/>
                    <a:moveTo>
                      <a:pt x="1280" y="1614"/>
                    </a:moveTo>
                    <a:lnTo>
                      <a:pt x="1281" y="1614"/>
                    </a:lnTo>
                    <a:lnTo>
                      <a:pt x="1281" y="1616"/>
                    </a:lnTo>
                    <a:lnTo>
                      <a:pt x="1280" y="1616"/>
                    </a:lnTo>
                    <a:lnTo>
                      <a:pt x="1280" y="1614"/>
                    </a:lnTo>
                    <a:close/>
                    <a:moveTo>
                      <a:pt x="1185" y="1458"/>
                    </a:moveTo>
                    <a:lnTo>
                      <a:pt x="1186" y="1458"/>
                    </a:lnTo>
                    <a:lnTo>
                      <a:pt x="1186" y="1459"/>
                    </a:lnTo>
                    <a:lnTo>
                      <a:pt x="1185" y="1459"/>
                    </a:lnTo>
                    <a:lnTo>
                      <a:pt x="1185" y="1458"/>
                    </a:lnTo>
                    <a:close/>
                    <a:moveTo>
                      <a:pt x="1321" y="1583"/>
                    </a:moveTo>
                    <a:lnTo>
                      <a:pt x="1322" y="1583"/>
                    </a:lnTo>
                    <a:lnTo>
                      <a:pt x="1322" y="1585"/>
                    </a:lnTo>
                    <a:lnTo>
                      <a:pt x="1321" y="1585"/>
                    </a:lnTo>
                    <a:lnTo>
                      <a:pt x="1321" y="1583"/>
                    </a:lnTo>
                    <a:close/>
                    <a:moveTo>
                      <a:pt x="1219" y="1471"/>
                    </a:moveTo>
                    <a:lnTo>
                      <a:pt x="1220" y="1471"/>
                    </a:lnTo>
                    <a:lnTo>
                      <a:pt x="1220" y="1473"/>
                    </a:lnTo>
                    <a:lnTo>
                      <a:pt x="1219" y="1473"/>
                    </a:lnTo>
                    <a:lnTo>
                      <a:pt x="1219" y="1471"/>
                    </a:lnTo>
                    <a:close/>
                    <a:moveTo>
                      <a:pt x="1188" y="1463"/>
                    </a:moveTo>
                    <a:lnTo>
                      <a:pt x="1190" y="1463"/>
                    </a:lnTo>
                    <a:lnTo>
                      <a:pt x="1188" y="1463"/>
                    </a:lnTo>
                    <a:close/>
                    <a:moveTo>
                      <a:pt x="1249" y="1597"/>
                    </a:moveTo>
                    <a:lnTo>
                      <a:pt x="1251" y="1597"/>
                    </a:lnTo>
                    <a:lnTo>
                      <a:pt x="1251" y="1599"/>
                    </a:lnTo>
                    <a:lnTo>
                      <a:pt x="1249" y="1599"/>
                    </a:lnTo>
                    <a:lnTo>
                      <a:pt x="1249" y="1597"/>
                    </a:lnTo>
                    <a:close/>
                    <a:moveTo>
                      <a:pt x="1332" y="1645"/>
                    </a:moveTo>
                    <a:lnTo>
                      <a:pt x="1334" y="1645"/>
                    </a:lnTo>
                    <a:lnTo>
                      <a:pt x="1334" y="1646"/>
                    </a:lnTo>
                    <a:lnTo>
                      <a:pt x="1332" y="1646"/>
                    </a:lnTo>
                    <a:lnTo>
                      <a:pt x="1332" y="1645"/>
                    </a:lnTo>
                    <a:close/>
                    <a:moveTo>
                      <a:pt x="1142" y="1306"/>
                    </a:moveTo>
                    <a:lnTo>
                      <a:pt x="1142" y="1310"/>
                    </a:lnTo>
                    <a:lnTo>
                      <a:pt x="1142" y="1306"/>
                    </a:lnTo>
                    <a:close/>
                    <a:moveTo>
                      <a:pt x="1181" y="1492"/>
                    </a:moveTo>
                    <a:lnTo>
                      <a:pt x="1181" y="1493"/>
                    </a:lnTo>
                    <a:lnTo>
                      <a:pt x="1181" y="1492"/>
                    </a:lnTo>
                    <a:close/>
                    <a:moveTo>
                      <a:pt x="1159" y="1434"/>
                    </a:moveTo>
                    <a:lnTo>
                      <a:pt x="1159" y="1435"/>
                    </a:lnTo>
                    <a:lnTo>
                      <a:pt x="1159" y="1434"/>
                    </a:lnTo>
                    <a:close/>
                    <a:moveTo>
                      <a:pt x="1232" y="1582"/>
                    </a:moveTo>
                    <a:lnTo>
                      <a:pt x="1234" y="1582"/>
                    </a:lnTo>
                    <a:lnTo>
                      <a:pt x="1234" y="1583"/>
                    </a:lnTo>
                    <a:lnTo>
                      <a:pt x="1232" y="1583"/>
                    </a:lnTo>
                    <a:lnTo>
                      <a:pt x="1232" y="1582"/>
                    </a:lnTo>
                    <a:close/>
                    <a:moveTo>
                      <a:pt x="1212" y="1112"/>
                    </a:moveTo>
                    <a:lnTo>
                      <a:pt x="1213" y="1112"/>
                    </a:lnTo>
                    <a:lnTo>
                      <a:pt x="1213" y="1114"/>
                    </a:lnTo>
                    <a:lnTo>
                      <a:pt x="1212" y="1114"/>
                    </a:lnTo>
                    <a:lnTo>
                      <a:pt x="1212" y="1112"/>
                    </a:lnTo>
                    <a:close/>
                    <a:moveTo>
                      <a:pt x="1210" y="1504"/>
                    </a:moveTo>
                    <a:lnTo>
                      <a:pt x="1213" y="1504"/>
                    </a:lnTo>
                    <a:lnTo>
                      <a:pt x="1210" y="1504"/>
                    </a:lnTo>
                    <a:close/>
                    <a:moveTo>
                      <a:pt x="1181" y="1490"/>
                    </a:moveTo>
                    <a:lnTo>
                      <a:pt x="1183" y="1490"/>
                    </a:lnTo>
                    <a:lnTo>
                      <a:pt x="1183" y="1492"/>
                    </a:lnTo>
                    <a:lnTo>
                      <a:pt x="1181" y="1492"/>
                    </a:lnTo>
                    <a:lnTo>
                      <a:pt x="1181" y="1490"/>
                    </a:lnTo>
                    <a:close/>
                    <a:moveTo>
                      <a:pt x="1234" y="1124"/>
                    </a:moveTo>
                    <a:lnTo>
                      <a:pt x="1236" y="1124"/>
                    </a:lnTo>
                    <a:lnTo>
                      <a:pt x="1236" y="1126"/>
                    </a:lnTo>
                    <a:lnTo>
                      <a:pt x="1234" y="1126"/>
                    </a:lnTo>
                    <a:lnTo>
                      <a:pt x="1234" y="1124"/>
                    </a:lnTo>
                    <a:close/>
                    <a:moveTo>
                      <a:pt x="1261" y="1590"/>
                    </a:moveTo>
                    <a:lnTo>
                      <a:pt x="1261" y="1592"/>
                    </a:lnTo>
                    <a:lnTo>
                      <a:pt x="1261" y="1590"/>
                    </a:lnTo>
                    <a:close/>
                    <a:moveTo>
                      <a:pt x="1149" y="1376"/>
                    </a:moveTo>
                    <a:lnTo>
                      <a:pt x="1151" y="1376"/>
                    </a:lnTo>
                    <a:lnTo>
                      <a:pt x="1151" y="1378"/>
                    </a:lnTo>
                    <a:lnTo>
                      <a:pt x="1149" y="1378"/>
                    </a:lnTo>
                    <a:lnTo>
                      <a:pt x="1149" y="1376"/>
                    </a:lnTo>
                    <a:close/>
                    <a:moveTo>
                      <a:pt x="1183" y="1459"/>
                    </a:moveTo>
                    <a:lnTo>
                      <a:pt x="1185" y="1459"/>
                    </a:lnTo>
                    <a:lnTo>
                      <a:pt x="1185" y="1461"/>
                    </a:lnTo>
                    <a:lnTo>
                      <a:pt x="1183" y="1461"/>
                    </a:lnTo>
                    <a:lnTo>
                      <a:pt x="1183" y="1459"/>
                    </a:lnTo>
                    <a:close/>
                    <a:moveTo>
                      <a:pt x="1198" y="1424"/>
                    </a:moveTo>
                    <a:lnTo>
                      <a:pt x="1200" y="1424"/>
                    </a:lnTo>
                    <a:lnTo>
                      <a:pt x="1200" y="1425"/>
                    </a:lnTo>
                    <a:lnTo>
                      <a:pt x="1198" y="1425"/>
                    </a:lnTo>
                    <a:lnTo>
                      <a:pt x="1198" y="1424"/>
                    </a:lnTo>
                    <a:close/>
                    <a:moveTo>
                      <a:pt x="1208" y="1490"/>
                    </a:moveTo>
                    <a:lnTo>
                      <a:pt x="1208" y="1492"/>
                    </a:lnTo>
                    <a:lnTo>
                      <a:pt x="1208" y="1490"/>
                    </a:lnTo>
                    <a:close/>
                    <a:moveTo>
                      <a:pt x="1205" y="1058"/>
                    </a:moveTo>
                    <a:lnTo>
                      <a:pt x="1205" y="1060"/>
                    </a:lnTo>
                    <a:lnTo>
                      <a:pt x="1205" y="1058"/>
                    </a:lnTo>
                    <a:close/>
                    <a:moveTo>
                      <a:pt x="1281" y="1595"/>
                    </a:moveTo>
                    <a:lnTo>
                      <a:pt x="1283" y="1595"/>
                    </a:lnTo>
                    <a:lnTo>
                      <a:pt x="1281" y="1595"/>
                    </a:lnTo>
                    <a:close/>
                    <a:moveTo>
                      <a:pt x="1229" y="1570"/>
                    </a:moveTo>
                    <a:lnTo>
                      <a:pt x="1232" y="1570"/>
                    </a:lnTo>
                    <a:lnTo>
                      <a:pt x="1232" y="1572"/>
                    </a:lnTo>
                    <a:lnTo>
                      <a:pt x="1229" y="1572"/>
                    </a:lnTo>
                    <a:lnTo>
                      <a:pt x="1229" y="1570"/>
                    </a:lnTo>
                    <a:close/>
                    <a:moveTo>
                      <a:pt x="1181" y="1376"/>
                    </a:moveTo>
                    <a:lnTo>
                      <a:pt x="1183" y="1376"/>
                    </a:lnTo>
                    <a:lnTo>
                      <a:pt x="1181" y="1376"/>
                    </a:lnTo>
                    <a:close/>
                    <a:moveTo>
                      <a:pt x="1191" y="1233"/>
                    </a:moveTo>
                    <a:lnTo>
                      <a:pt x="1193" y="1233"/>
                    </a:lnTo>
                    <a:lnTo>
                      <a:pt x="1191" y="1233"/>
                    </a:lnTo>
                    <a:close/>
                    <a:moveTo>
                      <a:pt x="1215" y="983"/>
                    </a:moveTo>
                    <a:lnTo>
                      <a:pt x="1215" y="985"/>
                    </a:lnTo>
                    <a:lnTo>
                      <a:pt x="1215" y="983"/>
                    </a:lnTo>
                    <a:close/>
                    <a:moveTo>
                      <a:pt x="1208" y="1097"/>
                    </a:moveTo>
                    <a:lnTo>
                      <a:pt x="1208" y="1099"/>
                    </a:lnTo>
                    <a:lnTo>
                      <a:pt x="1208" y="1097"/>
                    </a:lnTo>
                    <a:close/>
                    <a:moveTo>
                      <a:pt x="1183" y="1495"/>
                    </a:moveTo>
                    <a:lnTo>
                      <a:pt x="1185" y="1495"/>
                    </a:lnTo>
                    <a:lnTo>
                      <a:pt x="1185" y="1497"/>
                    </a:lnTo>
                    <a:lnTo>
                      <a:pt x="1183" y="1497"/>
                    </a:lnTo>
                    <a:lnTo>
                      <a:pt x="1183" y="1495"/>
                    </a:lnTo>
                    <a:close/>
                    <a:moveTo>
                      <a:pt x="1183" y="1475"/>
                    </a:moveTo>
                    <a:lnTo>
                      <a:pt x="1185" y="1475"/>
                    </a:lnTo>
                    <a:lnTo>
                      <a:pt x="1183" y="1475"/>
                    </a:lnTo>
                    <a:close/>
                    <a:moveTo>
                      <a:pt x="1225" y="1570"/>
                    </a:moveTo>
                    <a:lnTo>
                      <a:pt x="1227" y="1570"/>
                    </a:lnTo>
                    <a:lnTo>
                      <a:pt x="1227" y="1572"/>
                    </a:lnTo>
                    <a:lnTo>
                      <a:pt x="1225" y="1572"/>
                    </a:lnTo>
                    <a:lnTo>
                      <a:pt x="1225" y="1570"/>
                    </a:lnTo>
                    <a:close/>
                    <a:moveTo>
                      <a:pt x="1259" y="1600"/>
                    </a:moveTo>
                    <a:lnTo>
                      <a:pt x="1259" y="1602"/>
                    </a:lnTo>
                    <a:lnTo>
                      <a:pt x="1259" y="1600"/>
                    </a:lnTo>
                    <a:close/>
                    <a:moveTo>
                      <a:pt x="1210" y="1124"/>
                    </a:moveTo>
                    <a:lnTo>
                      <a:pt x="1212" y="1124"/>
                    </a:lnTo>
                    <a:lnTo>
                      <a:pt x="1210" y="1124"/>
                    </a:lnTo>
                    <a:close/>
                    <a:moveTo>
                      <a:pt x="1183" y="1427"/>
                    </a:moveTo>
                    <a:lnTo>
                      <a:pt x="1185" y="1427"/>
                    </a:lnTo>
                    <a:lnTo>
                      <a:pt x="1183" y="1427"/>
                    </a:lnTo>
                    <a:close/>
                    <a:moveTo>
                      <a:pt x="1188" y="1097"/>
                    </a:moveTo>
                    <a:lnTo>
                      <a:pt x="1190" y="1097"/>
                    </a:lnTo>
                    <a:lnTo>
                      <a:pt x="1188" y="1097"/>
                    </a:lnTo>
                    <a:close/>
                    <a:moveTo>
                      <a:pt x="1188" y="1463"/>
                    </a:moveTo>
                    <a:lnTo>
                      <a:pt x="1190" y="1463"/>
                    </a:lnTo>
                    <a:lnTo>
                      <a:pt x="1190" y="1464"/>
                    </a:lnTo>
                    <a:lnTo>
                      <a:pt x="1188" y="1464"/>
                    </a:lnTo>
                    <a:lnTo>
                      <a:pt x="1188" y="1463"/>
                    </a:lnTo>
                    <a:close/>
                    <a:moveTo>
                      <a:pt x="1179" y="1257"/>
                    </a:moveTo>
                    <a:lnTo>
                      <a:pt x="1181" y="1257"/>
                    </a:lnTo>
                    <a:lnTo>
                      <a:pt x="1179" y="1257"/>
                    </a:lnTo>
                    <a:close/>
                    <a:moveTo>
                      <a:pt x="1181" y="1116"/>
                    </a:moveTo>
                    <a:lnTo>
                      <a:pt x="1181" y="1117"/>
                    </a:lnTo>
                    <a:lnTo>
                      <a:pt x="1181" y="1116"/>
                    </a:lnTo>
                    <a:close/>
                    <a:moveTo>
                      <a:pt x="1162" y="1160"/>
                    </a:moveTo>
                    <a:lnTo>
                      <a:pt x="1164" y="1160"/>
                    </a:lnTo>
                    <a:lnTo>
                      <a:pt x="1164" y="1162"/>
                    </a:lnTo>
                    <a:lnTo>
                      <a:pt x="1162" y="1162"/>
                    </a:lnTo>
                    <a:lnTo>
                      <a:pt x="1162" y="1160"/>
                    </a:lnTo>
                    <a:close/>
                    <a:moveTo>
                      <a:pt x="1181" y="1099"/>
                    </a:moveTo>
                    <a:lnTo>
                      <a:pt x="1183" y="1099"/>
                    </a:lnTo>
                    <a:lnTo>
                      <a:pt x="1181" y="1099"/>
                    </a:lnTo>
                    <a:close/>
                    <a:moveTo>
                      <a:pt x="1144" y="1306"/>
                    </a:moveTo>
                    <a:lnTo>
                      <a:pt x="1144" y="1308"/>
                    </a:lnTo>
                    <a:lnTo>
                      <a:pt x="1144" y="1306"/>
                    </a:lnTo>
                    <a:close/>
                    <a:moveTo>
                      <a:pt x="1185" y="1066"/>
                    </a:moveTo>
                    <a:lnTo>
                      <a:pt x="1186" y="1066"/>
                    </a:lnTo>
                    <a:lnTo>
                      <a:pt x="1185" y="1066"/>
                    </a:lnTo>
                    <a:close/>
                    <a:moveTo>
                      <a:pt x="1208" y="1075"/>
                    </a:moveTo>
                    <a:lnTo>
                      <a:pt x="1208" y="1077"/>
                    </a:lnTo>
                    <a:lnTo>
                      <a:pt x="1208" y="1075"/>
                    </a:lnTo>
                    <a:close/>
                    <a:moveTo>
                      <a:pt x="1239" y="1456"/>
                    </a:moveTo>
                    <a:lnTo>
                      <a:pt x="1241" y="1456"/>
                    </a:lnTo>
                    <a:lnTo>
                      <a:pt x="1241" y="1458"/>
                    </a:lnTo>
                    <a:lnTo>
                      <a:pt x="1239" y="1458"/>
                    </a:lnTo>
                    <a:lnTo>
                      <a:pt x="1239" y="1456"/>
                    </a:lnTo>
                    <a:close/>
                    <a:moveTo>
                      <a:pt x="1193" y="1464"/>
                    </a:moveTo>
                    <a:lnTo>
                      <a:pt x="1193" y="1466"/>
                    </a:lnTo>
                    <a:lnTo>
                      <a:pt x="1193" y="1464"/>
                    </a:lnTo>
                    <a:close/>
                    <a:moveTo>
                      <a:pt x="1166" y="1344"/>
                    </a:moveTo>
                    <a:lnTo>
                      <a:pt x="1168" y="1344"/>
                    </a:lnTo>
                    <a:lnTo>
                      <a:pt x="1168" y="1345"/>
                    </a:lnTo>
                    <a:lnTo>
                      <a:pt x="1166" y="1345"/>
                    </a:lnTo>
                    <a:lnTo>
                      <a:pt x="1166" y="1344"/>
                    </a:lnTo>
                    <a:close/>
                    <a:moveTo>
                      <a:pt x="1237" y="1582"/>
                    </a:moveTo>
                    <a:lnTo>
                      <a:pt x="1239" y="1582"/>
                    </a:lnTo>
                    <a:lnTo>
                      <a:pt x="1239" y="1583"/>
                    </a:lnTo>
                    <a:lnTo>
                      <a:pt x="1237" y="1583"/>
                    </a:lnTo>
                    <a:lnTo>
                      <a:pt x="1237" y="1582"/>
                    </a:lnTo>
                    <a:close/>
                    <a:moveTo>
                      <a:pt x="1200" y="1522"/>
                    </a:moveTo>
                    <a:lnTo>
                      <a:pt x="1202" y="1522"/>
                    </a:lnTo>
                    <a:lnTo>
                      <a:pt x="1202" y="1524"/>
                    </a:lnTo>
                    <a:lnTo>
                      <a:pt x="1200" y="1524"/>
                    </a:lnTo>
                    <a:lnTo>
                      <a:pt x="1200" y="1522"/>
                    </a:lnTo>
                    <a:close/>
                    <a:moveTo>
                      <a:pt x="1247" y="951"/>
                    </a:moveTo>
                    <a:lnTo>
                      <a:pt x="1249" y="951"/>
                    </a:lnTo>
                    <a:lnTo>
                      <a:pt x="1247" y="951"/>
                    </a:lnTo>
                    <a:close/>
                    <a:moveTo>
                      <a:pt x="1281" y="1597"/>
                    </a:moveTo>
                    <a:lnTo>
                      <a:pt x="1283" y="1597"/>
                    </a:lnTo>
                    <a:lnTo>
                      <a:pt x="1283" y="1599"/>
                    </a:lnTo>
                    <a:lnTo>
                      <a:pt x="1281" y="1599"/>
                    </a:lnTo>
                    <a:lnTo>
                      <a:pt x="1281" y="1597"/>
                    </a:lnTo>
                    <a:close/>
                    <a:moveTo>
                      <a:pt x="1288" y="1621"/>
                    </a:moveTo>
                    <a:lnTo>
                      <a:pt x="1290" y="1621"/>
                    </a:lnTo>
                    <a:lnTo>
                      <a:pt x="1288" y="1621"/>
                    </a:lnTo>
                    <a:close/>
                    <a:moveTo>
                      <a:pt x="1329" y="1648"/>
                    </a:moveTo>
                    <a:lnTo>
                      <a:pt x="1331" y="1648"/>
                    </a:lnTo>
                    <a:lnTo>
                      <a:pt x="1329" y="1648"/>
                    </a:lnTo>
                    <a:close/>
                    <a:moveTo>
                      <a:pt x="1261" y="1587"/>
                    </a:moveTo>
                    <a:lnTo>
                      <a:pt x="1263" y="1587"/>
                    </a:lnTo>
                    <a:lnTo>
                      <a:pt x="1261" y="1587"/>
                    </a:lnTo>
                    <a:close/>
                    <a:moveTo>
                      <a:pt x="1152" y="1185"/>
                    </a:moveTo>
                    <a:lnTo>
                      <a:pt x="1154" y="1185"/>
                    </a:lnTo>
                    <a:lnTo>
                      <a:pt x="1154" y="1187"/>
                    </a:lnTo>
                    <a:lnTo>
                      <a:pt x="1152" y="1187"/>
                    </a:lnTo>
                    <a:lnTo>
                      <a:pt x="1152" y="1185"/>
                    </a:lnTo>
                    <a:close/>
                    <a:moveTo>
                      <a:pt x="1193" y="1492"/>
                    </a:moveTo>
                    <a:lnTo>
                      <a:pt x="1195" y="1492"/>
                    </a:lnTo>
                    <a:lnTo>
                      <a:pt x="1193" y="1492"/>
                    </a:lnTo>
                    <a:close/>
                    <a:moveTo>
                      <a:pt x="1183" y="1425"/>
                    </a:moveTo>
                    <a:lnTo>
                      <a:pt x="1185" y="1425"/>
                    </a:lnTo>
                    <a:lnTo>
                      <a:pt x="1185" y="1427"/>
                    </a:lnTo>
                    <a:lnTo>
                      <a:pt x="1183" y="1427"/>
                    </a:lnTo>
                    <a:lnTo>
                      <a:pt x="1183" y="1425"/>
                    </a:lnTo>
                    <a:close/>
                    <a:moveTo>
                      <a:pt x="1164" y="1396"/>
                    </a:moveTo>
                    <a:lnTo>
                      <a:pt x="1164" y="1398"/>
                    </a:lnTo>
                    <a:lnTo>
                      <a:pt x="1164" y="1396"/>
                    </a:lnTo>
                    <a:close/>
                    <a:moveTo>
                      <a:pt x="1220" y="1526"/>
                    </a:moveTo>
                    <a:lnTo>
                      <a:pt x="1222" y="1526"/>
                    </a:lnTo>
                    <a:lnTo>
                      <a:pt x="1222" y="1527"/>
                    </a:lnTo>
                    <a:lnTo>
                      <a:pt x="1220" y="1527"/>
                    </a:lnTo>
                    <a:lnTo>
                      <a:pt x="1220" y="1526"/>
                    </a:lnTo>
                    <a:close/>
                    <a:moveTo>
                      <a:pt x="1178" y="1517"/>
                    </a:moveTo>
                    <a:lnTo>
                      <a:pt x="1179" y="1517"/>
                    </a:lnTo>
                    <a:lnTo>
                      <a:pt x="1178" y="1517"/>
                    </a:lnTo>
                    <a:close/>
                    <a:moveTo>
                      <a:pt x="1159" y="1356"/>
                    </a:moveTo>
                    <a:lnTo>
                      <a:pt x="1161" y="1356"/>
                    </a:lnTo>
                    <a:lnTo>
                      <a:pt x="1159" y="1356"/>
                    </a:lnTo>
                    <a:close/>
                    <a:moveTo>
                      <a:pt x="1159" y="1390"/>
                    </a:moveTo>
                    <a:lnTo>
                      <a:pt x="1161" y="1390"/>
                    </a:lnTo>
                    <a:lnTo>
                      <a:pt x="1159" y="1390"/>
                    </a:lnTo>
                    <a:close/>
                    <a:moveTo>
                      <a:pt x="1176" y="1386"/>
                    </a:moveTo>
                    <a:lnTo>
                      <a:pt x="1178" y="1386"/>
                    </a:lnTo>
                    <a:lnTo>
                      <a:pt x="1176" y="1386"/>
                    </a:lnTo>
                    <a:close/>
                    <a:moveTo>
                      <a:pt x="1438" y="1680"/>
                    </a:moveTo>
                    <a:lnTo>
                      <a:pt x="1440" y="1680"/>
                    </a:lnTo>
                    <a:lnTo>
                      <a:pt x="1440" y="1682"/>
                    </a:lnTo>
                    <a:lnTo>
                      <a:pt x="1438" y="1682"/>
                    </a:lnTo>
                    <a:lnTo>
                      <a:pt x="1438" y="1680"/>
                    </a:lnTo>
                    <a:close/>
                    <a:moveTo>
                      <a:pt x="1193" y="1140"/>
                    </a:moveTo>
                    <a:lnTo>
                      <a:pt x="1195" y="1140"/>
                    </a:lnTo>
                    <a:lnTo>
                      <a:pt x="1195" y="1141"/>
                    </a:lnTo>
                    <a:lnTo>
                      <a:pt x="1193" y="1141"/>
                    </a:lnTo>
                    <a:lnTo>
                      <a:pt x="1193" y="1140"/>
                    </a:lnTo>
                    <a:close/>
                    <a:moveTo>
                      <a:pt x="1159" y="1420"/>
                    </a:moveTo>
                    <a:lnTo>
                      <a:pt x="1159" y="1422"/>
                    </a:lnTo>
                    <a:lnTo>
                      <a:pt x="1159" y="1420"/>
                    </a:lnTo>
                    <a:close/>
                    <a:moveTo>
                      <a:pt x="1365" y="1660"/>
                    </a:moveTo>
                    <a:lnTo>
                      <a:pt x="1366" y="1660"/>
                    </a:lnTo>
                    <a:lnTo>
                      <a:pt x="1365" y="1660"/>
                    </a:lnTo>
                    <a:close/>
                    <a:moveTo>
                      <a:pt x="1205" y="1500"/>
                    </a:moveTo>
                    <a:lnTo>
                      <a:pt x="1207" y="1500"/>
                    </a:lnTo>
                    <a:lnTo>
                      <a:pt x="1207" y="1502"/>
                    </a:lnTo>
                    <a:lnTo>
                      <a:pt x="1205" y="1502"/>
                    </a:lnTo>
                    <a:lnTo>
                      <a:pt x="1205" y="1500"/>
                    </a:lnTo>
                    <a:close/>
                    <a:moveTo>
                      <a:pt x="1208" y="1053"/>
                    </a:moveTo>
                    <a:lnTo>
                      <a:pt x="1208" y="1054"/>
                    </a:lnTo>
                    <a:lnTo>
                      <a:pt x="1208" y="1053"/>
                    </a:lnTo>
                    <a:close/>
                    <a:moveTo>
                      <a:pt x="1179" y="1425"/>
                    </a:moveTo>
                    <a:lnTo>
                      <a:pt x="1179" y="1427"/>
                    </a:lnTo>
                    <a:lnTo>
                      <a:pt x="1179" y="1425"/>
                    </a:lnTo>
                    <a:close/>
                    <a:moveTo>
                      <a:pt x="1268" y="1597"/>
                    </a:moveTo>
                    <a:lnTo>
                      <a:pt x="1270" y="1597"/>
                    </a:lnTo>
                    <a:lnTo>
                      <a:pt x="1270" y="1599"/>
                    </a:lnTo>
                    <a:lnTo>
                      <a:pt x="1268" y="1599"/>
                    </a:lnTo>
                    <a:lnTo>
                      <a:pt x="1268" y="1597"/>
                    </a:lnTo>
                    <a:close/>
                    <a:moveTo>
                      <a:pt x="1220" y="1560"/>
                    </a:moveTo>
                    <a:lnTo>
                      <a:pt x="1222" y="1560"/>
                    </a:lnTo>
                    <a:lnTo>
                      <a:pt x="1220" y="1560"/>
                    </a:lnTo>
                    <a:close/>
                    <a:moveTo>
                      <a:pt x="1229" y="1570"/>
                    </a:moveTo>
                    <a:lnTo>
                      <a:pt x="1230" y="1570"/>
                    </a:lnTo>
                    <a:lnTo>
                      <a:pt x="1230" y="1572"/>
                    </a:lnTo>
                    <a:lnTo>
                      <a:pt x="1229" y="1572"/>
                    </a:lnTo>
                    <a:lnTo>
                      <a:pt x="1229" y="1570"/>
                    </a:lnTo>
                    <a:close/>
                    <a:moveTo>
                      <a:pt x="1176" y="1245"/>
                    </a:moveTo>
                    <a:lnTo>
                      <a:pt x="1178" y="1245"/>
                    </a:lnTo>
                    <a:lnTo>
                      <a:pt x="1178" y="1247"/>
                    </a:lnTo>
                    <a:lnTo>
                      <a:pt x="1176" y="1247"/>
                    </a:lnTo>
                    <a:lnTo>
                      <a:pt x="1176" y="1245"/>
                    </a:lnTo>
                    <a:close/>
                    <a:moveTo>
                      <a:pt x="1203" y="1549"/>
                    </a:moveTo>
                    <a:lnTo>
                      <a:pt x="1205" y="1549"/>
                    </a:lnTo>
                    <a:lnTo>
                      <a:pt x="1205" y="1551"/>
                    </a:lnTo>
                    <a:lnTo>
                      <a:pt x="1203" y="1551"/>
                    </a:lnTo>
                    <a:lnTo>
                      <a:pt x="1203" y="1549"/>
                    </a:lnTo>
                    <a:close/>
                    <a:moveTo>
                      <a:pt x="1205" y="1095"/>
                    </a:moveTo>
                    <a:lnTo>
                      <a:pt x="1205" y="1097"/>
                    </a:lnTo>
                    <a:lnTo>
                      <a:pt x="1205" y="1095"/>
                    </a:lnTo>
                    <a:close/>
                    <a:moveTo>
                      <a:pt x="1224" y="976"/>
                    </a:moveTo>
                    <a:lnTo>
                      <a:pt x="1225" y="976"/>
                    </a:lnTo>
                    <a:lnTo>
                      <a:pt x="1225" y="978"/>
                    </a:lnTo>
                    <a:lnTo>
                      <a:pt x="1224" y="978"/>
                    </a:lnTo>
                    <a:lnTo>
                      <a:pt x="1224" y="976"/>
                    </a:lnTo>
                    <a:close/>
                    <a:moveTo>
                      <a:pt x="1390" y="1645"/>
                    </a:moveTo>
                    <a:lnTo>
                      <a:pt x="1392" y="1645"/>
                    </a:lnTo>
                    <a:lnTo>
                      <a:pt x="1392" y="1646"/>
                    </a:lnTo>
                    <a:lnTo>
                      <a:pt x="1390" y="1646"/>
                    </a:lnTo>
                    <a:lnTo>
                      <a:pt x="1390" y="1645"/>
                    </a:lnTo>
                    <a:close/>
                    <a:moveTo>
                      <a:pt x="1205" y="1119"/>
                    </a:moveTo>
                    <a:lnTo>
                      <a:pt x="1207" y="1119"/>
                    </a:lnTo>
                    <a:lnTo>
                      <a:pt x="1205" y="1119"/>
                    </a:lnTo>
                    <a:close/>
                    <a:moveTo>
                      <a:pt x="1200" y="1248"/>
                    </a:moveTo>
                    <a:lnTo>
                      <a:pt x="1202" y="1248"/>
                    </a:lnTo>
                    <a:lnTo>
                      <a:pt x="1202" y="1250"/>
                    </a:lnTo>
                    <a:lnTo>
                      <a:pt x="1200" y="1250"/>
                    </a:lnTo>
                    <a:lnTo>
                      <a:pt x="1200" y="1248"/>
                    </a:lnTo>
                    <a:close/>
                    <a:moveTo>
                      <a:pt x="1395" y="1655"/>
                    </a:moveTo>
                    <a:lnTo>
                      <a:pt x="1397" y="1655"/>
                    </a:lnTo>
                    <a:lnTo>
                      <a:pt x="1397" y="1657"/>
                    </a:lnTo>
                    <a:lnTo>
                      <a:pt x="1395" y="1657"/>
                    </a:lnTo>
                    <a:lnTo>
                      <a:pt x="1395" y="1655"/>
                    </a:lnTo>
                    <a:close/>
                    <a:moveTo>
                      <a:pt x="1159" y="1349"/>
                    </a:moveTo>
                    <a:lnTo>
                      <a:pt x="1161" y="1349"/>
                    </a:lnTo>
                    <a:lnTo>
                      <a:pt x="1159" y="1349"/>
                    </a:lnTo>
                    <a:close/>
                    <a:moveTo>
                      <a:pt x="1198" y="1437"/>
                    </a:moveTo>
                    <a:lnTo>
                      <a:pt x="1198" y="1439"/>
                    </a:lnTo>
                    <a:lnTo>
                      <a:pt x="1198" y="1437"/>
                    </a:lnTo>
                    <a:close/>
                    <a:moveTo>
                      <a:pt x="1217" y="1561"/>
                    </a:moveTo>
                    <a:lnTo>
                      <a:pt x="1219" y="1561"/>
                    </a:lnTo>
                    <a:lnTo>
                      <a:pt x="1217" y="1561"/>
                    </a:lnTo>
                    <a:close/>
                    <a:moveTo>
                      <a:pt x="1174" y="1446"/>
                    </a:moveTo>
                    <a:lnTo>
                      <a:pt x="1174" y="1447"/>
                    </a:lnTo>
                    <a:lnTo>
                      <a:pt x="1174" y="1446"/>
                    </a:lnTo>
                    <a:close/>
                    <a:moveTo>
                      <a:pt x="1185" y="1063"/>
                    </a:moveTo>
                    <a:lnTo>
                      <a:pt x="1185" y="1065"/>
                    </a:lnTo>
                    <a:lnTo>
                      <a:pt x="1185" y="1063"/>
                    </a:lnTo>
                    <a:close/>
                    <a:moveTo>
                      <a:pt x="1368" y="1669"/>
                    </a:moveTo>
                    <a:lnTo>
                      <a:pt x="1368" y="1670"/>
                    </a:lnTo>
                    <a:lnTo>
                      <a:pt x="1368" y="1669"/>
                    </a:lnTo>
                    <a:close/>
                    <a:moveTo>
                      <a:pt x="1196" y="1488"/>
                    </a:moveTo>
                    <a:lnTo>
                      <a:pt x="1198" y="1488"/>
                    </a:lnTo>
                    <a:lnTo>
                      <a:pt x="1198" y="1490"/>
                    </a:lnTo>
                    <a:lnTo>
                      <a:pt x="1196" y="1490"/>
                    </a:lnTo>
                    <a:lnTo>
                      <a:pt x="1196" y="1488"/>
                    </a:lnTo>
                    <a:close/>
                    <a:moveTo>
                      <a:pt x="1156" y="1362"/>
                    </a:moveTo>
                    <a:lnTo>
                      <a:pt x="1156" y="1364"/>
                    </a:lnTo>
                    <a:lnTo>
                      <a:pt x="1156" y="1362"/>
                    </a:lnTo>
                    <a:close/>
                    <a:moveTo>
                      <a:pt x="1207" y="1155"/>
                    </a:moveTo>
                    <a:lnTo>
                      <a:pt x="1208" y="1155"/>
                    </a:lnTo>
                    <a:lnTo>
                      <a:pt x="1207" y="1155"/>
                    </a:lnTo>
                    <a:close/>
                    <a:moveTo>
                      <a:pt x="1224" y="956"/>
                    </a:moveTo>
                    <a:lnTo>
                      <a:pt x="1225" y="956"/>
                    </a:lnTo>
                    <a:lnTo>
                      <a:pt x="1225" y="957"/>
                    </a:lnTo>
                    <a:lnTo>
                      <a:pt x="1224" y="957"/>
                    </a:lnTo>
                    <a:lnTo>
                      <a:pt x="1224" y="956"/>
                    </a:lnTo>
                    <a:close/>
                    <a:moveTo>
                      <a:pt x="1196" y="1453"/>
                    </a:moveTo>
                    <a:lnTo>
                      <a:pt x="1198" y="1453"/>
                    </a:lnTo>
                    <a:lnTo>
                      <a:pt x="1198" y="1454"/>
                    </a:lnTo>
                    <a:lnTo>
                      <a:pt x="1196" y="1454"/>
                    </a:lnTo>
                    <a:lnTo>
                      <a:pt x="1196" y="1453"/>
                    </a:lnTo>
                    <a:close/>
                    <a:moveTo>
                      <a:pt x="1193" y="1487"/>
                    </a:moveTo>
                    <a:lnTo>
                      <a:pt x="1193" y="1488"/>
                    </a:lnTo>
                    <a:lnTo>
                      <a:pt x="1193" y="1487"/>
                    </a:lnTo>
                    <a:close/>
                    <a:moveTo>
                      <a:pt x="1191" y="1140"/>
                    </a:moveTo>
                    <a:lnTo>
                      <a:pt x="1193" y="1140"/>
                    </a:lnTo>
                    <a:lnTo>
                      <a:pt x="1191" y="1140"/>
                    </a:lnTo>
                    <a:close/>
                    <a:moveTo>
                      <a:pt x="1222" y="1568"/>
                    </a:moveTo>
                    <a:lnTo>
                      <a:pt x="1224" y="1568"/>
                    </a:lnTo>
                    <a:lnTo>
                      <a:pt x="1222" y="1568"/>
                    </a:lnTo>
                    <a:close/>
                    <a:moveTo>
                      <a:pt x="1220" y="1071"/>
                    </a:moveTo>
                    <a:lnTo>
                      <a:pt x="1220" y="1073"/>
                    </a:lnTo>
                    <a:lnTo>
                      <a:pt x="1220" y="1071"/>
                    </a:lnTo>
                    <a:close/>
                    <a:moveTo>
                      <a:pt x="1440" y="1665"/>
                    </a:moveTo>
                    <a:lnTo>
                      <a:pt x="1440" y="1667"/>
                    </a:lnTo>
                    <a:lnTo>
                      <a:pt x="1440" y="1665"/>
                    </a:lnTo>
                    <a:close/>
                    <a:moveTo>
                      <a:pt x="1149" y="1328"/>
                    </a:moveTo>
                    <a:lnTo>
                      <a:pt x="1149" y="1330"/>
                    </a:lnTo>
                    <a:lnTo>
                      <a:pt x="1149" y="1328"/>
                    </a:lnTo>
                    <a:close/>
                    <a:moveTo>
                      <a:pt x="1188" y="1485"/>
                    </a:moveTo>
                    <a:lnTo>
                      <a:pt x="1188" y="1487"/>
                    </a:lnTo>
                    <a:lnTo>
                      <a:pt x="1188" y="1485"/>
                    </a:lnTo>
                    <a:close/>
                    <a:moveTo>
                      <a:pt x="1174" y="1102"/>
                    </a:moveTo>
                    <a:lnTo>
                      <a:pt x="1176" y="1102"/>
                    </a:lnTo>
                    <a:lnTo>
                      <a:pt x="1176" y="1104"/>
                    </a:lnTo>
                    <a:lnTo>
                      <a:pt x="1174" y="1104"/>
                    </a:lnTo>
                    <a:lnTo>
                      <a:pt x="1174" y="1102"/>
                    </a:lnTo>
                    <a:close/>
                    <a:moveTo>
                      <a:pt x="1389" y="1628"/>
                    </a:moveTo>
                    <a:lnTo>
                      <a:pt x="1390" y="1628"/>
                    </a:lnTo>
                    <a:lnTo>
                      <a:pt x="1389" y="1628"/>
                    </a:lnTo>
                    <a:close/>
                    <a:moveTo>
                      <a:pt x="1220" y="1060"/>
                    </a:moveTo>
                    <a:lnTo>
                      <a:pt x="1222" y="1060"/>
                    </a:lnTo>
                    <a:lnTo>
                      <a:pt x="1222" y="1061"/>
                    </a:lnTo>
                    <a:lnTo>
                      <a:pt x="1220" y="1061"/>
                    </a:lnTo>
                    <a:lnTo>
                      <a:pt x="1220" y="1060"/>
                    </a:lnTo>
                    <a:close/>
                    <a:moveTo>
                      <a:pt x="1225" y="1556"/>
                    </a:moveTo>
                    <a:lnTo>
                      <a:pt x="1225" y="1558"/>
                    </a:lnTo>
                    <a:lnTo>
                      <a:pt x="1225" y="1556"/>
                    </a:lnTo>
                    <a:close/>
                    <a:moveTo>
                      <a:pt x="1190" y="1097"/>
                    </a:moveTo>
                    <a:lnTo>
                      <a:pt x="1190" y="1099"/>
                    </a:lnTo>
                    <a:lnTo>
                      <a:pt x="1190" y="1097"/>
                    </a:lnTo>
                    <a:close/>
                    <a:moveTo>
                      <a:pt x="1188" y="1487"/>
                    </a:moveTo>
                    <a:lnTo>
                      <a:pt x="1190" y="1487"/>
                    </a:lnTo>
                    <a:lnTo>
                      <a:pt x="1190" y="1488"/>
                    </a:lnTo>
                    <a:lnTo>
                      <a:pt x="1188" y="1488"/>
                    </a:lnTo>
                    <a:lnTo>
                      <a:pt x="1188" y="1487"/>
                    </a:lnTo>
                    <a:close/>
                    <a:moveTo>
                      <a:pt x="1196" y="1092"/>
                    </a:moveTo>
                    <a:lnTo>
                      <a:pt x="1198" y="1092"/>
                    </a:lnTo>
                    <a:lnTo>
                      <a:pt x="1196" y="1092"/>
                    </a:lnTo>
                    <a:close/>
                    <a:moveTo>
                      <a:pt x="1166" y="1236"/>
                    </a:moveTo>
                    <a:lnTo>
                      <a:pt x="1168" y="1236"/>
                    </a:lnTo>
                    <a:lnTo>
                      <a:pt x="1166" y="1236"/>
                    </a:lnTo>
                    <a:close/>
                    <a:moveTo>
                      <a:pt x="1181" y="1473"/>
                    </a:moveTo>
                    <a:lnTo>
                      <a:pt x="1183" y="1473"/>
                    </a:lnTo>
                    <a:lnTo>
                      <a:pt x="1183" y="1475"/>
                    </a:lnTo>
                    <a:lnTo>
                      <a:pt x="1181" y="1475"/>
                    </a:lnTo>
                    <a:lnTo>
                      <a:pt x="1181" y="1473"/>
                    </a:lnTo>
                    <a:close/>
                    <a:moveTo>
                      <a:pt x="1152" y="1187"/>
                    </a:moveTo>
                    <a:lnTo>
                      <a:pt x="1154" y="1187"/>
                    </a:lnTo>
                    <a:lnTo>
                      <a:pt x="1152" y="1187"/>
                    </a:lnTo>
                    <a:close/>
                    <a:moveTo>
                      <a:pt x="1219" y="1583"/>
                    </a:moveTo>
                    <a:lnTo>
                      <a:pt x="1220" y="1583"/>
                    </a:lnTo>
                    <a:lnTo>
                      <a:pt x="1220" y="1585"/>
                    </a:lnTo>
                    <a:lnTo>
                      <a:pt x="1219" y="1585"/>
                    </a:lnTo>
                    <a:lnTo>
                      <a:pt x="1219" y="1583"/>
                    </a:lnTo>
                    <a:close/>
                    <a:moveTo>
                      <a:pt x="1162" y="1240"/>
                    </a:moveTo>
                    <a:lnTo>
                      <a:pt x="1164" y="1240"/>
                    </a:lnTo>
                    <a:lnTo>
                      <a:pt x="1164" y="1242"/>
                    </a:lnTo>
                    <a:lnTo>
                      <a:pt x="1162" y="1242"/>
                    </a:lnTo>
                    <a:lnTo>
                      <a:pt x="1162" y="1240"/>
                    </a:lnTo>
                    <a:close/>
                    <a:moveTo>
                      <a:pt x="1237" y="1590"/>
                    </a:moveTo>
                    <a:lnTo>
                      <a:pt x="1237" y="1592"/>
                    </a:lnTo>
                    <a:lnTo>
                      <a:pt x="1237" y="1590"/>
                    </a:lnTo>
                    <a:close/>
                    <a:moveTo>
                      <a:pt x="1239" y="1582"/>
                    </a:moveTo>
                    <a:lnTo>
                      <a:pt x="1241" y="1582"/>
                    </a:lnTo>
                    <a:lnTo>
                      <a:pt x="1241" y="1583"/>
                    </a:lnTo>
                    <a:lnTo>
                      <a:pt x="1239" y="1583"/>
                    </a:lnTo>
                    <a:lnTo>
                      <a:pt x="1239" y="1582"/>
                    </a:lnTo>
                    <a:close/>
                    <a:moveTo>
                      <a:pt x="1190" y="1485"/>
                    </a:moveTo>
                    <a:lnTo>
                      <a:pt x="1191" y="1485"/>
                    </a:lnTo>
                    <a:lnTo>
                      <a:pt x="1191" y="1487"/>
                    </a:lnTo>
                    <a:lnTo>
                      <a:pt x="1190" y="1487"/>
                    </a:lnTo>
                    <a:lnTo>
                      <a:pt x="1190" y="1485"/>
                    </a:lnTo>
                    <a:close/>
                    <a:moveTo>
                      <a:pt x="1220" y="1541"/>
                    </a:moveTo>
                    <a:lnTo>
                      <a:pt x="1224" y="1541"/>
                    </a:lnTo>
                    <a:lnTo>
                      <a:pt x="1224" y="1543"/>
                    </a:lnTo>
                    <a:lnTo>
                      <a:pt x="1220" y="1543"/>
                    </a:lnTo>
                    <a:lnTo>
                      <a:pt x="1220" y="1541"/>
                    </a:lnTo>
                    <a:close/>
                    <a:moveTo>
                      <a:pt x="1183" y="1483"/>
                    </a:moveTo>
                    <a:lnTo>
                      <a:pt x="1185" y="1483"/>
                    </a:lnTo>
                    <a:lnTo>
                      <a:pt x="1183" y="1483"/>
                    </a:lnTo>
                    <a:close/>
                    <a:moveTo>
                      <a:pt x="1210" y="1560"/>
                    </a:moveTo>
                    <a:lnTo>
                      <a:pt x="1212" y="1560"/>
                    </a:lnTo>
                    <a:lnTo>
                      <a:pt x="1210" y="1560"/>
                    </a:lnTo>
                    <a:close/>
                    <a:moveTo>
                      <a:pt x="1205" y="1119"/>
                    </a:moveTo>
                    <a:lnTo>
                      <a:pt x="1205" y="1121"/>
                    </a:lnTo>
                    <a:lnTo>
                      <a:pt x="1205" y="1119"/>
                    </a:lnTo>
                    <a:close/>
                    <a:moveTo>
                      <a:pt x="1280" y="432"/>
                    </a:moveTo>
                    <a:lnTo>
                      <a:pt x="1280" y="434"/>
                    </a:lnTo>
                    <a:lnTo>
                      <a:pt x="1280" y="432"/>
                    </a:lnTo>
                    <a:close/>
                    <a:moveTo>
                      <a:pt x="1171" y="1381"/>
                    </a:moveTo>
                    <a:lnTo>
                      <a:pt x="1173" y="1381"/>
                    </a:lnTo>
                    <a:lnTo>
                      <a:pt x="1171" y="1381"/>
                    </a:lnTo>
                    <a:close/>
                    <a:moveTo>
                      <a:pt x="1219" y="956"/>
                    </a:moveTo>
                    <a:lnTo>
                      <a:pt x="1219" y="957"/>
                    </a:lnTo>
                    <a:lnTo>
                      <a:pt x="1219" y="956"/>
                    </a:lnTo>
                    <a:close/>
                    <a:moveTo>
                      <a:pt x="1229" y="1566"/>
                    </a:moveTo>
                    <a:lnTo>
                      <a:pt x="1230" y="1566"/>
                    </a:lnTo>
                    <a:lnTo>
                      <a:pt x="1229" y="1566"/>
                    </a:lnTo>
                    <a:close/>
                    <a:moveTo>
                      <a:pt x="1280" y="1595"/>
                    </a:moveTo>
                    <a:lnTo>
                      <a:pt x="1281" y="1595"/>
                    </a:lnTo>
                    <a:lnTo>
                      <a:pt x="1281" y="1597"/>
                    </a:lnTo>
                    <a:lnTo>
                      <a:pt x="1280" y="1597"/>
                    </a:lnTo>
                    <a:lnTo>
                      <a:pt x="1280" y="1595"/>
                    </a:lnTo>
                    <a:close/>
                    <a:moveTo>
                      <a:pt x="1219" y="1556"/>
                    </a:moveTo>
                    <a:lnTo>
                      <a:pt x="1222" y="1556"/>
                    </a:lnTo>
                    <a:lnTo>
                      <a:pt x="1219" y="1556"/>
                    </a:lnTo>
                    <a:close/>
                    <a:moveTo>
                      <a:pt x="1360" y="1648"/>
                    </a:moveTo>
                    <a:lnTo>
                      <a:pt x="1361" y="1648"/>
                    </a:lnTo>
                    <a:lnTo>
                      <a:pt x="1361" y="1650"/>
                    </a:lnTo>
                    <a:lnTo>
                      <a:pt x="1360" y="1650"/>
                    </a:lnTo>
                    <a:lnTo>
                      <a:pt x="1360" y="1648"/>
                    </a:lnTo>
                    <a:close/>
                    <a:moveTo>
                      <a:pt x="1254" y="1595"/>
                    </a:moveTo>
                    <a:lnTo>
                      <a:pt x="1254" y="1597"/>
                    </a:lnTo>
                    <a:lnTo>
                      <a:pt x="1254" y="1595"/>
                    </a:lnTo>
                    <a:close/>
                    <a:moveTo>
                      <a:pt x="1154" y="1243"/>
                    </a:moveTo>
                    <a:lnTo>
                      <a:pt x="1156" y="1243"/>
                    </a:lnTo>
                    <a:lnTo>
                      <a:pt x="1156" y="1245"/>
                    </a:lnTo>
                    <a:lnTo>
                      <a:pt x="1154" y="1245"/>
                    </a:lnTo>
                    <a:lnTo>
                      <a:pt x="1154" y="1243"/>
                    </a:lnTo>
                    <a:close/>
                    <a:moveTo>
                      <a:pt x="1205" y="1094"/>
                    </a:moveTo>
                    <a:lnTo>
                      <a:pt x="1205" y="1095"/>
                    </a:lnTo>
                    <a:lnTo>
                      <a:pt x="1205" y="1094"/>
                    </a:lnTo>
                    <a:close/>
                    <a:moveTo>
                      <a:pt x="1188" y="1276"/>
                    </a:moveTo>
                    <a:lnTo>
                      <a:pt x="1190" y="1276"/>
                    </a:lnTo>
                    <a:lnTo>
                      <a:pt x="1190" y="1277"/>
                    </a:lnTo>
                    <a:lnTo>
                      <a:pt x="1188" y="1277"/>
                    </a:lnTo>
                    <a:lnTo>
                      <a:pt x="1188" y="1276"/>
                    </a:lnTo>
                    <a:close/>
                    <a:moveTo>
                      <a:pt x="1159" y="1388"/>
                    </a:moveTo>
                    <a:lnTo>
                      <a:pt x="1161" y="1388"/>
                    </a:lnTo>
                    <a:lnTo>
                      <a:pt x="1161" y="1390"/>
                    </a:lnTo>
                    <a:lnTo>
                      <a:pt x="1159" y="1390"/>
                    </a:lnTo>
                    <a:lnTo>
                      <a:pt x="1159" y="1388"/>
                    </a:lnTo>
                    <a:close/>
                    <a:moveTo>
                      <a:pt x="1205" y="1250"/>
                    </a:moveTo>
                    <a:lnTo>
                      <a:pt x="1207" y="1250"/>
                    </a:lnTo>
                    <a:lnTo>
                      <a:pt x="1207" y="1252"/>
                    </a:lnTo>
                    <a:lnTo>
                      <a:pt x="1205" y="1252"/>
                    </a:lnTo>
                    <a:lnTo>
                      <a:pt x="1205" y="1250"/>
                    </a:lnTo>
                    <a:close/>
                    <a:moveTo>
                      <a:pt x="1166" y="1242"/>
                    </a:moveTo>
                    <a:lnTo>
                      <a:pt x="1166" y="1243"/>
                    </a:lnTo>
                    <a:lnTo>
                      <a:pt x="1166" y="1242"/>
                    </a:lnTo>
                    <a:close/>
                    <a:moveTo>
                      <a:pt x="1263" y="1590"/>
                    </a:moveTo>
                    <a:lnTo>
                      <a:pt x="1264" y="1590"/>
                    </a:lnTo>
                    <a:lnTo>
                      <a:pt x="1264" y="1592"/>
                    </a:lnTo>
                    <a:lnTo>
                      <a:pt x="1263" y="1592"/>
                    </a:lnTo>
                    <a:lnTo>
                      <a:pt x="1263" y="1590"/>
                    </a:lnTo>
                    <a:close/>
                    <a:moveTo>
                      <a:pt x="1321" y="1626"/>
                    </a:moveTo>
                    <a:lnTo>
                      <a:pt x="1322" y="1626"/>
                    </a:lnTo>
                    <a:lnTo>
                      <a:pt x="1321" y="1626"/>
                    </a:lnTo>
                    <a:close/>
                    <a:moveTo>
                      <a:pt x="1176" y="1432"/>
                    </a:moveTo>
                    <a:lnTo>
                      <a:pt x="1178" y="1432"/>
                    </a:lnTo>
                    <a:lnTo>
                      <a:pt x="1176" y="1432"/>
                    </a:lnTo>
                    <a:close/>
                    <a:moveTo>
                      <a:pt x="1220" y="1556"/>
                    </a:moveTo>
                    <a:lnTo>
                      <a:pt x="1220" y="1558"/>
                    </a:lnTo>
                    <a:lnTo>
                      <a:pt x="1220" y="1556"/>
                    </a:lnTo>
                    <a:close/>
                    <a:moveTo>
                      <a:pt x="1202" y="1058"/>
                    </a:moveTo>
                    <a:lnTo>
                      <a:pt x="1203" y="1058"/>
                    </a:lnTo>
                    <a:lnTo>
                      <a:pt x="1203" y="1060"/>
                    </a:lnTo>
                    <a:lnTo>
                      <a:pt x="1202" y="1060"/>
                    </a:lnTo>
                    <a:lnTo>
                      <a:pt x="1202" y="1058"/>
                    </a:lnTo>
                    <a:close/>
                    <a:moveTo>
                      <a:pt x="1339" y="1660"/>
                    </a:moveTo>
                    <a:lnTo>
                      <a:pt x="1339" y="1662"/>
                    </a:lnTo>
                    <a:lnTo>
                      <a:pt x="1339" y="1660"/>
                    </a:lnTo>
                    <a:close/>
                    <a:moveTo>
                      <a:pt x="1205" y="1122"/>
                    </a:moveTo>
                    <a:lnTo>
                      <a:pt x="1205" y="1124"/>
                    </a:lnTo>
                    <a:lnTo>
                      <a:pt x="1205" y="1122"/>
                    </a:lnTo>
                    <a:close/>
                    <a:moveTo>
                      <a:pt x="1295" y="1616"/>
                    </a:moveTo>
                    <a:lnTo>
                      <a:pt x="1297" y="1616"/>
                    </a:lnTo>
                    <a:lnTo>
                      <a:pt x="1297" y="1618"/>
                    </a:lnTo>
                    <a:lnTo>
                      <a:pt x="1295" y="1618"/>
                    </a:lnTo>
                    <a:lnTo>
                      <a:pt x="1295" y="1616"/>
                    </a:lnTo>
                    <a:close/>
                    <a:moveTo>
                      <a:pt x="1326" y="1650"/>
                    </a:moveTo>
                    <a:lnTo>
                      <a:pt x="1327" y="1650"/>
                    </a:lnTo>
                    <a:lnTo>
                      <a:pt x="1327" y="1652"/>
                    </a:lnTo>
                    <a:lnTo>
                      <a:pt x="1326" y="1652"/>
                    </a:lnTo>
                    <a:lnTo>
                      <a:pt x="1326" y="1650"/>
                    </a:lnTo>
                    <a:close/>
                    <a:moveTo>
                      <a:pt x="1169" y="1434"/>
                    </a:moveTo>
                    <a:lnTo>
                      <a:pt x="1171" y="1434"/>
                    </a:lnTo>
                    <a:lnTo>
                      <a:pt x="1169" y="1434"/>
                    </a:lnTo>
                    <a:close/>
                    <a:moveTo>
                      <a:pt x="1251" y="1597"/>
                    </a:moveTo>
                    <a:lnTo>
                      <a:pt x="1251" y="1599"/>
                    </a:lnTo>
                    <a:lnTo>
                      <a:pt x="1251" y="1597"/>
                    </a:lnTo>
                    <a:close/>
                    <a:moveTo>
                      <a:pt x="1159" y="1349"/>
                    </a:moveTo>
                    <a:lnTo>
                      <a:pt x="1161" y="1349"/>
                    </a:lnTo>
                    <a:lnTo>
                      <a:pt x="1159" y="1349"/>
                    </a:lnTo>
                    <a:close/>
                    <a:moveTo>
                      <a:pt x="1227" y="1583"/>
                    </a:moveTo>
                    <a:lnTo>
                      <a:pt x="1229" y="1583"/>
                    </a:lnTo>
                    <a:lnTo>
                      <a:pt x="1227" y="1583"/>
                    </a:lnTo>
                    <a:close/>
                    <a:moveTo>
                      <a:pt x="1219" y="1524"/>
                    </a:moveTo>
                    <a:lnTo>
                      <a:pt x="1220" y="1524"/>
                    </a:lnTo>
                    <a:lnTo>
                      <a:pt x="1220" y="1526"/>
                    </a:lnTo>
                    <a:lnTo>
                      <a:pt x="1219" y="1526"/>
                    </a:lnTo>
                    <a:lnTo>
                      <a:pt x="1219" y="1524"/>
                    </a:lnTo>
                    <a:close/>
                    <a:moveTo>
                      <a:pt x="1188" y="1447"/>
                    </a:moveTo>
                    <a:lnTo>
                      <a:pt x="1190" y="1447"/>
                    </a:lnTo>
                    <a:lnTo>
                      <a:pt x="1190" y="1449"/>
                    </a:lnTo>
                    <a:lnTo>
                      <a:pt x="1188" y="1449"/>
                    </a:lnTo>
                    <a:lnTo>
                      <a:pt x="1188" y="1447"/>
                    </a:lnTo>
                    <a:close/>
                    <a:moveTo>
                      <a:pt x="1154" y="1185"/>
                    </a:moveTo>
                    <a:lnTo>
                      <a:pt x="1156" y="1185"/>
                    </a:lnTo>
                    <a:lnTo>
                      <a:pt x="1156" y="1187"/>
                    </a:lnTo>
                    <a:lnTo>
                      <a:pt x="1154" y="1187"/>
                    </a:lnTo>
                    <a:lnTo>
                      <a:pt x="1154" y="1185"/>
                    </a:lnTo>
                    <a:close/>
                    <a:moveTo>
                      <a:pt x="1149" y="1332"/>
                    </a:moveTo>
                    <a:lnTo>
                      <a:pt x="1151" y="1332"/>
                    </a:lnTo>
                    <a:lnTo>
                      <a:pt x="1149" y="1332"/>
                    </a:lnTo>
                    <a:close/>
                    <a:moveTo>
                      <a:pt x="1385" y="1662"/>
                    </a:moveTo>
                    <a:lnTo>
                      <a:pt x="1385" y="1663"/>
                    </a:lnTo>
                    <a:lnTo>
                      <a:pt x="1385" y="1662"/>
                    </a:lnTo>
                    <a:close/>
                    <a:moveTo>
                      <a:pt x="1186" y="1485"/>
                    </a:moveTo>
                    <a:lnTo>
                      <a:pt x="1188" y="1485"/>
                    </a:lnTo>
                    <a:lnTo>
                      <a:pt x="1186" y="1485"/>
                    </a:lnTo>
                    <a:close/>
                    <a:moveTo>
                      <a:pt x="1181" y="1459"/>
                    </a:moveTo>
                    <a:lnTo>
                      <a:pt x="1181" y="1461"/>
                    </a:lnTo>
                    <a:lnTo>
                      <a:pt x="1181" y="1459"/>
                    </a:lnTo>
                    <a:close/>
                    <a:moveTo>
                      <a:pt x="1361" y="1670"/>
                    </a:moveTo>
                    <a:lnTo>
                      <a:pt x="1363" y="1670"/>
                    </a:lnTo>
                    <a:lnTo>
                      <a:pt x="1361" y="1670"/>
                    </a:lnTo>
                    <a:close/>
                    <a:moveTo>
                      <a:pt x="1210" y="1090"/>
                    </a:moveTo>
                    <a:lnTo>
                      <a:pt x="1212" y="1090"/>
                    </a:lnTo>
                    <a:lnTo>
                      <a:pt x="1212" y="1092"/>
                    </a:lnTo>
                    <a:lnTo>
                      <a:pt x="1210" y="1092"/>
                    </a:lnTo>
                    <a:lnTo>
                      <a:pt x="1210" y="1090"/>
                    </a:lnTo>
                    <a:close/>
                    <a:moveTo>
                      <a:pt x="1183" y="1071"/>
                    </a:moveTo>
                    <a:lnTo>
                      <a:pt x="1183" y="1073"/>
                    </a:lnTo>
                    <a:lnTo>
                      <a:pt x="1183" y="1071"/>
                    </a:lnTo>
                    <a:close/>
                    <a:moveTo>
                      <a:pt x="1205" y="1105"/>
                    </a:moveTo>
                    <a:lnTo>
                      <a:pt x="1207" y="1105"/>
                    </a:lnTo>
                    <a:lnTo>
                      <a:pt x="1205" y="1105"/>
                    </a:lnTo>
                    <a:close/>
                    <a:moveTo>
                      <a:pt x="1258" y="1602"/>
                    </a:moveTo>
                    <a:lnTo>
                      <a:pt x="1259" y="1602"/>
                    </a:lnTo>
                    <a:lnTo>
                      <a:pt x="1258" y="1602"/>
                    </a:lnTo>
                    <a:close/>
                    <a:moveTo>
                      <a:pt x="1220" y="1505"/>
                    </a:moveTo>
                    <a:lnTo>
                      <a:pt x="1222" y="1505"/>
                    </a:lnTo>
                    <a:lnTo>
                      <a:pt x="1222" y="1507"/>
                    </a:lnTo>
                    <a:lnTo>
                      <a:pt x="1220" y="1507"/>
                    </a:lnTo>
                    <a:lnTo>
                      <a:pt x="1220" y="1505"/>
                    </a:lnTo>
                    <a:close/>
                    <a:moveTo>
                      <a:pt x="1186" y="1444"/>
                    </a:moveTo>
                    <a:lnTo>
                      <a:pt x="1188" y="1444"/>
                    </a:lnTo>
                    <a:lnTo>
                      <a:pt x="1186" y="1444"/>
                    </a:lnTo>
                    <a:close/>
                    <a:moveTo>
                      <a:pt x="1404" y="1648"/>
                    </a:moveTo>
                    <a:lnTo>
                      <a:pt x="1406" y="1648"/>
                    </a:lnTo>
                    <a:lnTo>
                      <a:pt x="1404" y="1648"/>
                    </a:lnTo>
                    <a:close/>
                    <a:moveTo>
                      <a:pt x="1378" y="1665"/>
                    </a:moveTo>
                    <a:lnTo>
                      <a:pt x="1380" y="1665"/>
                    </a:lnTo>
                    <a:lnTo>
                      <a:pt x="1378" y="1665"/>
                    </a:lnTo>
                    <a:close/>
                    <a:moveTo>
                      <a:pt x="1343" y="1663"/>
                    </a:moveTo>
                    <a:lnTo>
                      <a:pt x="1344" y="1663"/>
                    </a:lnTo>
                    <a:lnTo>
                      <a:pt x="1344" y="1665"/>
                    </a:lnTo>
                    <a:lnTo>
                      <a:pt x="1343" y="1665"/>
                    </a:lnTo>
                    <a:lnTo>
                      <a:pt x="1343" y="1663"/>
                    </a:lnTo>
                    <a:close/>
                    <a:moveTo>
                      <a:pt x="1414" y="1679"/>
                    </a:moveTo>
                    <a:lnTo>
                      <a:pt x="1416" y="1679"/>
                    </a:lnTo>
                    <a:lnTo>
                      <a:pt x="1416" y="1680"/>
                    </a:lnTo>
                    <a:lnTo>
                      <a:pt x="1414" y="1680"/>
                    </a:lnTo>
                    <a:lnTo>
                      <a:pt x="1414" y="1679"/>
                    </a:lnTo>
                    <a:close/>
                    <a:moveTo>
                      <a:pt x="1220" y="1075"/>
                    </a:moveTo>
                    <a:lnTo>
                      <a:pt x="1220" y="1077"/>
                    </a:lnTo>
                    <a:lnTo>
                      <a:pt x="1220" y="1075"/>
                    </a:lnTo>
                    <a:close/>
                    <a:moveTo>
                      <a:pt x="1222" y="1561"/>
                    </a:moveTo>
                    <a:lnTo>
                      <a:pt x="1224" y="1561"/>
                    </a:lnTo>
                    <a:lnTo>
                      <a:pt x="1222" y="1561"/>
                    </a:lnTo>
                    <a:close/>
                    <a:moveTo>
                      <a:pt x="1176" y="1141"/>
                    </a:moveTo>
                    <a:lnTo>
                      <a:pt x="1178" y="1141"/>
                    </a:lnTo>
                    <a:lnTo>
                      <a:pt x="1178" y="1143"/>
                    </a:lnTo>
                    <a:lnTo>
                      <a:pt x="1176" y="1143"/>
                    </a:lnTo>
                    <a:lnTo>
                      <a:pt x="1176" y="1141"/>
                    </a:lnTo>
                    <a:close/>
                    <a:moveTo>
                      <a:pt x="1356" y="1653"/>
                    </a:moveTo>
                    <a:lnTo>
                      <a:pt x="1358" y="1653"/>
                    </a:lnTo>
                    <a:lnTo>
                      <a:pt x="1358" y="1655"/>
                    </a:lnTo>
                    <a:lnTo>
                      <a:pt x="1356" y="1655"/>
                    </a:lnTo>
                    <a:lnTo>
                      <a:pt x="1356" y="1653"/>
                    </a:lnTo>
                    <a:close/>
                    <a:moveTo>
                      <a:pt x="1213" y="1012"/>
                    </a:moveTo>
                    <a:lnTo>
                      <a:pt x="1215" y="1012"/>
                    </a:lnTo>
                    <a:lnTo>
                      <a:pt x="1215" y="1014"/>
                    </a:lnTo>
                    <a:lnTo>
                      <a:pt x="1213" y="1014"/>
                    </a:lnTo>
                    <a:lnTo>
                      <a:pt x="1213" y="1012"/>
                    </a:lnTo>
                    <a:close/>
                    <a:moveTo>
                      <a:pt x="1139" y="1311"/>
                    </a:moveTo>
                    <a:lnTo>
                      <a:pt x="1140" y="1311"/>
                    </a:lnTo>
                    <a:lnTo>
                      <a:pt x="1140" y="1313"/>
                    </a:lnTo>
                    <a:lnTo>
                      <a:pt x="1139" y="1313"/>
                    </a:lnTo>
                    <a:lnTo>
                      <a:pt x="1139" y="1311"/>
                    </a:lnTo>
                    <a:close/>
                    <a:moveTo>
                      <a:pt x="1215" y="1517"/>
                    </a:moveTo>
                    <a:lnTo>
                      <a:pt x="1217" y="1517"/>
                    </a:lnTo>
                    <a:lnTo>
                      <a:pt x="1215" y="1517"/>
                    </a:lnTo>
                    <a:close/>
                    <a:moveTo>
                      <a:pt x="1178" y="1444"/>
                    </a:moveTo>
                    <a:lnTo>
                      <a:pt x="1179" y="1444"/>
                    </a:lnTo>
                    <a:lnTo>
                      <a:pt x="1178" y="1444"/>
                    </a:lnTo>
                    <a:close/>
                    <a:moveTo>
                      <a:pt x="1188" y="1430"/>
                    </a:moveTo>
                    <a:lnTo>
                      <a:pt x="1190" y="1430"/>
                    </a:lnTo>
                    <a:lnTo>
                      <a:pt x="1188" y="1430"/>
                    </a:lnTo>
                    <a:close/>
                    <a:moveTo>
                      <a:pt x="1203" y="1082"/>
                    </a:moveTo>
                    <a:lnTo>
                      <a:pt x="1205" y="1082"/>
                    </a:lnTo>
                    <a:lnTo>
                      <a:pt x="1203" y="1082"/>
                    </a:lnTo>
                    <a:close/>
                    <a:moveTo>
                      <a:pt x="1225" y="1575"/>
                    </a:moveTo>
                    <a:lnTo>
                      <a:pt x="1227" y="1575"/>
                    </a:lnTo>
                    <a:lnTo>
                      <a:pt x="1225" y="1575"/>
                    </a:lnTo>
                    <a:close/>
                    <a:moveTo>
                      <a:pt x="1258" y="1587"/>
                    </a:moveTo>
                    <a:lnTo>
                      <a:pt x="1258" y="1589"/>
                    </a:lnTo>
                    <a:lnTo>
                      <a:pt x="1258" y="1587"/>
                    </a:lnTo>
                    <a:close/>
                    <a:moveTo>
                      <a:pt x="1183" y="1446"/>
                    </a:moveTo>
                    <a:lnTo>
                      <a:pt x="1185" y="1446"/>
                    </a:lnTo>
                    <a:lnTo>
                      <a:pt x="1185" y="1447"/>
                    </a:lnTo>
                    <a:lnTo>
                      <a:pt x="1183" y="1447"/>
                    </a:lnTo>
                    <a:lnTo>
                      <a:pt x="1183" y="1446"/>
                    </a:lnTo>
                    <a:close/>
                    <a:moveTo>
                      <a:pt x="1142" y="1301"/>
                    </a:moveTo>
                    <a:lnTo>
                      <a:pt x="1144" y="1301"/>
                    </a:lnTo>
                    <a:lnTo>
                      <a:pt x="1142" y="1301"/>
                    </a:lnTo>
                    <a:close/>
                    <a:moveTo>
                      <a:pt x="1185" y="1425"/>
                    </a:moveTo>
                    <a:lnTo>
                      <a:pt x="1186" y="1425"/>
                    </a:lnTo>
                    <a:lnTo>
                      <a:pt x="1185" y="1425"/>
                    </a:lnTo>
                    <a:close/>
                    <a:moveTo>
                      <a:pt x="1283" y="1612"/>
                    </a:moveTo>
                    <a:lnTo>
                      <a:pt x="1283" y="1614"/>
                    </a:lnTo>
                    <a:lnTo>
                      <a:pt x="1283" y="1612"/>
                    </a:lnTo>
                    <a:close/>
                    <a:moveTo>
                      <a:pt x="1191" y="1126"/>
                    </a:moveTo>
                    <a:lnTo>
                      <a:pt x="1191" y="1128"/>
                    </a:lnTo>
                    <a:lnTo>
                      <a:pt x="1191" y="1126"/>
                    </a:lnTo>
                    <a:close/>
                    <a:moveTo>
                      <a:pt x="1261" y="1590"/>
                    </a:moveTo>
                    <a:lnTo>
                      <a:pt x="1261" y="1592"/>
                    </a:lnTo>
                    <a:lnTo>
                      <a:pt x="1261" y="1590"/>
                    </a:lnTo>
                    <a:close/>
                    <a:moveTo>
                      <a:pt x="1190" y="1071"/>
                    </a:moveTo>
                    <a:lnTo>
                      <a:pt x="1190" y="1073"/>
                    </a:lnTo>
                    <a:lnTo>
                      <a:pt x="1190" y="1071"/>
                    </a:lnTo>
                    <a:close/>
                    <a:moveTo>
                      <a:pt x="1193" y="1140"/>
                    </a:moveTo>
                    <a:lnTo>
                      <a:pt x="1195" y="1140"/>
                    </a:lnTo>
                    <a:lnTo>
                      <a:pt x="1195" y="1141"/>
                    </a:lnTo>
                    <a:lnTo>
                      <a:pt x="1193" y="1141"/>
                    </a:lnTo>
                    <a:lnTo>
                      <a:pt x="1193" y="1140"/>
                    </a:lnTo>
                    <a:close/>
                    <a:moveTo>
                      <a:pt x="1360" y="1665"/>
                    </a:moveTo>
                    <a:lnTo>
                      <a:pt x="1361" y="1665"/>
                    </a:lnTo>
                    <a:lnTo>
                      <a:pt x="1360" y="1665"/>
                    </a:lnTo>
                    <a:close/>
                    <a:moveTo>
                      <a:pt x="1213" y="1517"/>
                    </a:moveTo>
                    <a:lnTo>
                      <a:pt x="1213" y="1519"/>
                    </a:lnTo>
                    <a:lnTo>
                      <a:pt x="1213" y="1517"/>
                    </a:lnTo>
                    <a:close/>
                    <a:moveTo>
                      <a:pt x="1229" y="1577"/>
                    </a:moveTo>
                    <a:lnTo>
                      <a:pt x="1230" y="1577"/>
                    </a:lnTo>
                    <a:lnTo>
                      <a:pt x="1229" y="1577"/>
                    </a:lnTo>
                    <a:close/>
                    <a:moveTo>
                      <a:pt x="1169" y="1415"/>
                    </a:moveTo>
                    <a:lnTo>
                      <a:pt x="1171" y="1415"/>
                    </a:lnTo>
                    <a:lnTo>
                      <a:pt x="1169" y="1415"/>
                    </a:lnTo>
                    <a:close/>
                    <a:moveTo>
                      <a:pt x="1219" y="1565"/>
                    </a:moveTo>
                    <a:lnTo>
                      <a:pt x="1220" y="1565"/>
                    </a:lnTo>
                    <a:lnTo>
                      <a:pt x="1219" y="1565"/>
                    </a:lnTo>
                    <a:close/>
                    <a:moveTo>
                      <a:pt x="1142" y="1299"/>
                    </a:moveTo>
                    <a:lnTo>
                      <a:pt x="1144" y="1299"/>
                    </a:lnTo>
                    <a:lnTo>
                      <a:pt x="1142" y="1299"/>
                    </a:lnTo>
                    <a:close/>
                    <a:moveTo>
                      <a:pt x="1273" y="1609"/>
                    </a:moveTo>
                    <a:lnTo>
                      <a:pt x="1275" y="1609"/>
                    </a:lnTo>
                    <a:lnTo>
                      <a:pt x="1275" y="1611"/>
                    </a:lnTo>
                    <a:lnTo>
                      <a:pt x="1273" y="1611"/>
                    </a:lnTo>
                    <a:lnTo>
                      <a:pt x="1273" y="1609"/>
                    </a:lnTo>
                    <a:close/>
                    <a:moveTo>
                      <a:pt x="1217" y="1565"/>
                    </a:moveTo>
                    <a:lnTo>
                      <a:pt x="1219" y="1565"/>
                    </a:lnTo>
                    <a:lnTo>
                      <a:pt x="1217" y="1565"/>
                    </a:lnTo>
                    <a:close/>
                    <a:moveTo>
                      <a:pt x="1183" y="1439"/>
                    </a:moveTo>
                    <a:lnTo>
                      <a:pt x="1185" y="1439"/>
                    </a:lnTo>
                    <a:lnTo>
                      <a:pt x="1185" y="1441"/>
                    </a:lnTo>
                    <a:lnTo>
                      <a:pt x="1183" y="1441"/>
                    </a:lnTo>
                    <a:lnTo>
                      <a:pt x="1183" y="1439"/>
                    </a:lnTo>
                    <a:close/>
                    <a:moveTo>
                      <a:pt x="1361" y="1599"/>
                    </a:moveTo>
                    <a:lnTo>
                      <a:pt x="1363" y="1599"/>
                    </a:lnTo>
                    <a:lnTo>
                      <a:pt x="1363" y="1600"/>
                    </a:lnTo>
                    <a:lnTo>
                      <a:pt x="1361" y="1600"/>
                    </a:lnTo>
                    <a:lnTo>
                      <a:pt x="1361" y="1599"/>
                    </a:lnTo>
                    <a:close/>
                    <a:moveTo>
                      <a:pt x="1219" y="1136"/>
                    </a:moveTo>
                    <a:lnTo>
                      <a:pt x="1220" y="1136"/>
                    </a:lnTo>
                    <a:lnTo>
                      <a:pt x="1219" y="1136"/>
                    </a:lnTo>
                    <a:close/>
                    <a:moveTo>
                      <a:pt x="1232" y="1507"/>
                    </a:moveTo>
                    <a:lnTo>
                      <a:pt x="1234" y="1507"/>
                    </a:lnTo>
                    <a:lnTo>
                      <a:pt x="1232" y="1507"/>
                    </a:lnTo>
                    <a:close/>
                    <a:moveTo>
                      <a:pt x="1358" y="1655"/>
                    </a:moveTo>
                    <a:lnTo>
                      <a:pt x="1360" y="1655"/>
                    </a:lnTo>
                    <a:lnTo>
                      <a:pt x="1360" y="1657"/>
                    </a:lnTo>
                    <a:lnTo>
                      <a:pt x="1358" y="1657"/>
                    </a:lnTo>
                    <a:lnTo>
                      <a:pt x="1358" y="1655"/>
                    </a:lnTo>
                    <a:close/>
                    <a:moveTo>
                      <a:pt x="1151" y="1330"/>
                    </a:moveTo>
                    <a:lnTo>
                      <a:pt x="1152" y="1330"/>
                    </a:lnTo>
                    <a:lnTo>
                      <a:pt x="1152" y="1332"/>
                    </a:lnTo>
                    <a:lnTo>
                      <a:pt x="1151" y="1332"/>
                    </a:lnTo>
                    <a:lnTo>
                      <a:pt x="1151" y="1330"/>
                    </a:lnTo>
                    <a:close/>
                    <a:moveTo>
                      <a:pt x="1200" y="1527"/>
                    </a:moveTo>
                    <a:lnTo>
                      <a:pt x="1202" y="1527"/>
                    </a:lnTo>
                    <a:lnTo>
                      <a:pt x="1202" y="1529"/>
                    </a:lnTo>
                    <a:lnTo>
                      <a:pt x="1200" y="1529"/>
                    </a:lnTo>
                    <a:lnTo>
                      <a:pt x="1200" y="1527"/>
                    </a:lnTo>
                    <a:close/>
                    <a:moveTo>
                      <a:pt x="1215" y="1555"/>
                    </a:moveTo>
                    <a:lnTo>
                      <a:pt x="1217" y="1555"/>
                    </a:lnTo>
                    <a:lnTo>
                      <a:pt x="1215" y="1555"/>
                    </a:lnTo>
                    <a:close/>
                    <a:moveTo>
                      <a:pt x="1295" y="1612"/>
                    </a:moveTo>
                    <a:lnTo>
                      <a:pt x="1295" y="1614"/>
                    </a:lnTo>
                    <a:lnTo>
                      <a:pt x="1295" y="1612"/>
                    </a:lnTo>
                    <a:close/>
                    <a:moveTo>
                      <a:pt x="1222" y="1068"/>
                    </a:moveTo>
                    <a:lnTo>
                      <a:pt x="1224" y="1068"/>
                    </a:lnTo>
                    <a:lnTo>
                      <a:pt x="1224" y="1070"/>
                    </a:lnTo>
                    <a:lnTo>
                      <a:pt x="1222" y="1070"/>
                    </a:lnTo>
                    <a:lnTo>
                      <a:pt x="1222" y="1068"/>
                    </a:lnTo>
                    <a:close/>
                    <a:moveTo>
                      <a:pt x="1344" y="1660"/>
                    </a:moveTo>
                    <a:lnTo>
                      <a:pt x="1346" y="1660"/>
                    </a:lnTo>
                    <a:lnTo>
                      <a:pt x="1346" y="1662"/>
                    </a:lnTo>
                    <a:lnTo>
                      <a:pt x="1344" y="1662"/>
                    </a:lnTo>
                    <a:lnTo>
                      <a:pt x="1344" y="1660"/>
                    </a:lnTo>
                    <a:close/>
                    <a:moveTo>
                      <a:pt x="1207" y="1498"/>
                    </a:moveTo>
                    <a:lnTo>
                      <a:pt x="1208" y="1498"/>
                    </a:lnTo>
                    <a:lnTo>
                      <a:pt x="1208" y="1500"/>
                    </a:lnTo>
                    <a:lnTo>
                      <a:pt x="1207" y="1500"/>
                    </a:lnTo>
                    <a:lnTo>
                      <a:pt x="1207" y="1498"/>
                    </a:lnTo>
                    <a:close/>
                    <a:moveTo>
                      <a:pt x="1171" y="1230"/>
                    </a:moveTo>
                    <a:lnTo>
                      <a:pt x="1173" y="1230"/>
                    </a:lnTo>
                    <a:lnTo>
                      <a:pt x="1173" y="1231"/>
                    </a:lnTo>
                    <a:lnTo>
                      <a:pt x="1171" y="1231"/>
                    </a:lnTo>
                    <a:lnTo>
                      <a:pt x="1171" y="1230"/>
                    </a:lnTo>
                    <a:close/>
                    <a:moveTo>
                      <a:pt x="1151" y="1310"/>
                    </a:moveTo>
                    <a:lnTo>
                      <a:pt x="1152" y="1310"/>
                    </a:lnTo>
                    <a:lnTo>
                      <a:pt x="1151" y="1310"/>
                    </a:lnTo>
                    <a:close/>
                    <a:moveTo>
                      <a:pt x="1246" y="1504"/>
                    </a:moveTo>
                    <a:lnTo>
                      <a:pt x="1246" y="1505"/>
                    </a:lnTo>
                    <a:lnTo>
                      <a:pt x="1246" y="1504"/>
                    </a:lnTo>
                    <a:close/>
                    <a:moveTo>
                      <a:pt x="1254" y="1575"/>
                    </a:moveTo>
                    <a:lnTo>
                      <a:pt x="1256" y="1575"/>
                    </a:lnTo>
                    <a:lnTo>
                      <a:pt x="1254" y="1575"/>
                    </a:lnTo>
                    <a:close/>
                    <a:moveTo>
                      <a:pt x="1198" y="1092"/>
                    </a:moveTo>
                    <a:lnTo>
                      <a:pt x="1200" y="1092"/>
                    </a:lnTo>
                    <a:lnTo>
                      <a:pt x="1198" y="1092"/>
                    </a:lnTo>
                    <a:close/>
                    <a:moveTo>
                      <a:pt x="1191" y="1379"/>
                    </a:moveTo>
                    <a:lnTo>
                      <a:pt x="1193" y="1379"/>
                    </a:lnTo>
                    <a:lnTo>
                      <a:pt x="1191" y="1379"/>
                    </a:lnTo>
                    <a:close/>
                    <a:moveTo>
                      <a:pt x="1154" y="1288"/>
                    </a:moveTo>
                    <a:lnTo>
                      <a:pt x="1154" y="1289"/>
                    </a:lnTo>
                    <a:lnTo>
                      <a:pt x="1154" y="1288"/>
                    </a:lnTo>
                    <a:close/>
                    <a:moveTo>
                      <a:pt x="1173" y="1395"/>
                    </a:moveTo>
                    <a:lnTo>
                      <a:pt x="1174" y="1395"/>
                    </a:lnTo>
                    <a:lnTo>
                      <a:pt x="1173" y="1395"/>
                    </a:lnTo>
                    <a:close/>
                    <a:moveTo>
                      <a:pt x="1219" y="1568"/>
                    </a:moveTo>
                    <a:lnTo>
                      <a:pt x="1219" y="1570"/>
                    </a:lnTo>
                    <a:lnTo>
                      <a:pt x="1219" y="1568"/>
                    </a:lnTo>
                    <a:close/>
                    <a:moveTo>
                      <a:pt x="1200" y="1094"/>
                    </a:moveTo>
                    <a:lnTo>
                      <a:pt x="1202" y="1094"/>
                    </a:lnTo>
                    <a:lnTo>
                      <a:pt x="1200" y="1094"/>
                    </a:lnTo>
                    <a:close/>
                    <a:moveTo>
                      <a:pt x="1205" y="1060"/>
                    </a:moveTo>
                    <a:lnTo>
                      <a:pt x="1207" y="1060"/>
                    </a:lnTo>
                    <a:lnTo>
                      <a:pt x="1207" y="1061"/>
                    </a:lnTo>
                    <a:lnTo>
                      <a:pt x="1205" y="1061"/>
                    </a:lnTo>
                    <a:lnTo>
                      <a:pt x="1205" y="1060"/>
                    </a:lnTo>
                    <a:close/>
                    <a:moveTo>
                      <a:pt x="1215" y="1502"/>
                    </a:moveTo>
                    <a:lnTo>
                      <a:pt x="1217" y="1502"/>
                    </a:lnTo>
                    <a:lnTo>
                      <a:pt x="1217" y="1504"/>
                    </a:lnTo>
                    <a:lnTo>
                      <a:pt x="1215" y="1504"/>
                    </a:lnTo>
                    <a:lnTo>
                      <a:pt x="1215" y="1502"/>
                    </a:lnTo>
                    <a:close/>
                    <a:moveTo>
                      <a:pt x="1254" y="1492"/>
                    </a:moveTo>
                    <a:lnTo>
                      <a:pt x="1254" y="1493"/>
                    </a:lnTo>
                    <a:lnTo>
                      <a:pt x="1254" y="1492"/>
                    </a:lnTo>
                    <a:close/>
                    <a:moveTo>
                      <a:pt x="1174" y="1473"/>
                    </a:moveTo>
                    <a:lnTo>
                      <a:pt x="1174" y="1475"/>
                    </a:lnTo>
                    <a:lnTo>
                      <a:pt x="1174" y="1473"/>
                    </a:lnTo>
                    <a:close/>
                    <a:moveTo>
                      <a:pt x="1298" y="1641"/>
                    </a:moveTo>
                    <a:lnTo>
                      <a:pt x="1300" y="1641"/>
                    </a:lnTo>
                    <a:lnTo>
                      <a:pt x="1298" y="1641"/>
                    </a:lnTo>
                    <a:close/>
                    <a:moveTo>
                      <a:pt x="1207" y="1527"/>
                    </a:moveTo>
                    <a:lnTo>
                      <a:pt x="1207" y="1529"/>
                    </a:lnTo>
                    <a:lnTo>
                      <a:pt x="1207" y="1527"/>
                    </a:lnTo>
                    <a:close/>
                    <a:moveTo>
                      <a:pt x="1421" y="1669"/>
                    </a:moveTo>
                    <a:lnTo>
                      <a:pt x="1423" y="1669"/>
                    </a:lnTo>
                    <a:lnTo>
                      <a:pt x="1421" y="1669"/>
                    </a:lnTo>
                    <a:close/>
                    <a:moveTo>
                      <a:pt x="1263" y="1600"/>
                    </a:moveTo>
                    <a:lnTo>
                      <a:pt x="1264" y="1600"/>
                    </a:lnTo>
                    <a:lnTo>
                      <a:pt x="1264" y="1602"/>
                    </a:lnTo>
                    <a:lnTo>
                      <a:pt x="1263" y="1602"/>
                    </a:lnTo>
                    <a:lnTo>
                      <a:pt x="1263" y="1600"/>
                    </a:lnTo>
                    <a:close/>
                    <a:moveTo>
                      <a:pt x="1222" y="1068"/>
                    </a:moveTo>
                    <a:lnTo>
                      <a:pt x="1224" y="1068"/>
                    </a:lnTo>
                    <a:lnTo>
                      <a:pt x="1224" y="1070"/>
                    </a:lnTo>
                    <a:lnTo>
                      <a:pt x="1222" y="1070"/>
                    </a:lnTo>
                    <a:lnTo>
                      <a:pt x="1222" y="1068"/>
                    </a:lnTo>
                    <a:close/>
                    <a:moveTo>
                      <a:pt x="1181" y="1298"/>
                    </a:moveTo>
                    <a:lnTo>
                      <a:pt x="1183" y="1298"/>
                    </a:lnTo>
                    <a:lnTo>
                      <a:pt x="1181" y="1298"/>
                    </a:lnTo>
                    <a:close/>
                    <a:moveTo>
                      <a:pt x="1195" y="1454"/>
                    </a:moveTo>
                    <a:lnTo>
                      <a:pt x="1196" y="1454"/>
                    </a:lnTo>
                    <a:lnTo>
                      <a:pt x="1195" y="1454"/>
                    </a:lnTo>
                    <a:close/>
                    <a:moveTo>
                      <a:pt x="1181" y="1211"/>
                    </a:moveTo>
                    <a:lnTo>
                      <a:pt x="1183" y="1211"/>
                    </a:lnTo>
                    <a:lnTo>
                      <a:pt x="1181" y="1211"/>
                    </a:lnTo>
                    <a:close/>
                    <a:moveTo>
                      <a:pt x="1147" y="1289"/>
                    </a:moveTo>
                    <a:lnTo>
                      <a:pt x="1149" y="1289"/>
                    </a:lnTo>
                    <a:lnTo>
                      <a:pt x="1147" y="1289"/>
                    </a:lnTo>
                    <a:close/>
                    <a:moveTo>
                      <a:pt x="1183" y="1316"/>
                    </a:moveTo>
                    <a:lnTo>
                      <a:pt x="1183" y="1318"/>
                    </a:lnTo>
                    <a:lnTo>
                      <a:pt x="1183" y="1316"/>
                    </a:lnTo>
                    <a:close/>
                    <a:moveTo>
                      <a:pt x="1232" y="1544"/>
                    </a:moveTo>
                    <a:lnTo>
                      <a:pt x="1234" y="1544"/>
                    </a:lnTo>
                    <a:lnTo>
                      <a:pt x="1234" y="1546"/>
                    </a:lnTo>
                    <a:lnTo>
                      <a:pt x="1232" y="1546"/>
                    </a:lnTo>
                    <a:lnTo>
                      <a:pt x="1232" y="1544"/>
                    </a:lnTo>
                    <a:close/>
                    <a:moveTo>
                      <a:pt x="1185" y="1463"/>
                    </a:moveTo>
                    <a:lnTo>
                      <a:pt x="1186" y="1463"/>
                    </a:lnTo>
                    <a:lnTo>
                      <a:pt x="1186" y="1464"/>
                    </a:lnTo>
                    <a:lnTo>
                      <a:pt x="1185" y="1464"/>
                    </a:lnTo>
                    <a:lnTo>
                      <a:pt x="1185" y="1463"/>
                    </a:lnTo>
                    <a:close/>
                    <a:moveTo>
                      <a:pt x="1178" y="1434"/>
                    </a:moveTo>
                    <a:lnTo>
                      <a:pt x="1179" y="1434"/>
                    </a:lnTo>
                    <a:lnTo>
                      <a:pt x="1178" y="1434"/>
                    </a:lnTo>
                    <a:close/>
                    <a:moveTo>
                      <a:pt x="1162" y="1245"/>
                    </a:moveTo>
                    <a:lnTo>
                      <a:pt x="1162" y="1247"/>
                    </a:lnTo>
                    <a:lnTo>
                      <a:pt x="1162" y="1245"/>
                    </a:lnTo>
                    <a:close/>
                    <a:moveTo>
                      <a:pt x="1229" y="1039"/>
                    </a:moveTo>
                    <a:lnTo>
                      <a:pt x="1229" y="1041"/>
                    </a:lnTo>
                    <a:lnTo>
                      <a:pt x="1229" y="1039"/>
                    </a:lnTo>
                    <a:close/>
                    <a:moveTo>
                      <a:pt x="1183" y="1289"/>
                    </a:moveTo>
                    <a:lnTo>
                      <a:pt x="1185" y="1289"/>
                    </a:lnTo>
                    <a:lnTo>
                      <a:pt x="1183" y="1289"/>
                    </a:lnTo>
                    <a:close/>
                    <a:moveTo>
                      <a:pt x="1402" y="1645"/>
                    </a:moveTo>
                    <a:lnTo>
                      <a:pt x="1402" y="1646"/>
                    </a:lnTo>
                    <a:lnTo>
                      <a:pt x="1402" y="1645"/>
                    </a:lnTo>
                    <a:close/>
                    <a:moveTo>
                      <a:pt x="1213" y="1556"/>
                    </a:moveTo>
                    <a:lnTo>
                      <a:pt x="1215" y="1556"/>
                    </a:lnTo>
                    <a:lnTo>
                      <a:pt x="1213" y="1556"/>
                    </a:lnTo>
                    <a:close/>
                    <a:moveTo>
                      <a:pt x="1191" y="1412"/>
                    </a:moveTo>
                    <a:lnTo>
                      <a:pt x="1191" y="1413"/>
                    </a:lnTo>
                    <a:lnTo>
                      <a:pt x="1191" y="1412"/>
                    </a:lnTo>
                    <a:close/>
                    <a:moveTo>
                      <a:pt x="1179" y="1430"/>
                    </a:moveTo>
                    <a:lnTo>
                      <a:pt x="1181" y="1430"/>
                    </a:lnTo>
                    <a:lnTo>
                      <a:pt x="1179" y="1430"/>
                    </a:lnTo>
                    <a:close/>
                    <a:moveTo>
                      <a:pt x="1183" y="1463"/>
                    </a:moveTo>
                    <a:lnTo>
                      <a:pt x="1185" y="1463"/>
                    </a:lnTo>
                    <a:lnTo>
                      <a:pt x="1183" y="1463"/>
                    </a:lnTo>
                    <a:close/>
                    <a:moveTo>
                      <a:pt x="1152" y="1187"/>
                    </a:moveTo>
                    <a:lnTo>
                      <a:pt x="1154" y="1187"/>
                    </a:lnTo>
                    <a:lnTo>
                      <a:pt x="1152" y="1187"/>
                    </a:lnTo>
                    <a:close/>
                    <a:moveTo>
                      <a:pt x="1358" y="1657"/>
                    </a:moveTo>
                    <a:lnTo>
                      <a:pt x="1360" y="1657"/>
                    </a:lnTo>
                    <a:lnTo>
                      <a:pt x="1358" y="1657"/>
                    </a:lnTo>
                    <a:close/>
                    <a:moveTo>
                      <a:pt x="1178" y="1425"/>
                    </a:moveTo>
                    <a:lnTo>
                      <a:pt x="1179" y="1425"/>
                    </a:lnTo>
                    <a:lnTo>
                      <a:pt x="1179" y="1427"/>
                    </a:lnTo>
                    <a:lnTo>
                      <a:pt x="1178" y="1427"/>
                    </a:lnTo>
                    <a:lnTo>
                      <a:pt x="1178" y="1425"/>
                    </a:lnTo>
                    <a:close/>
                    <a:moveTo>
                      <a:pt x="1154" y="1313"/>
                    </a:moveTo>
                    <a:lnTo>
                      <a:pt x="1156" y="1313"/>
                    </a:lnTo>
                    <a:lnTo>
                      <a:pt x="1154" y="1313"/>
                    </a:lnTo>
                    <a:close/>
                    <a:moveTo>
                      <a:pt x="1185" y="1527"/>
                    </a:moveTo>
                    <a:lnTo>
                      <a:pt x="1185" y="1529"/>
                    </a:lnTo>
                    <a:lnTo>
                      <a:pt x="1185" y="1527"/>
                    </a:lnTo>
                    <a:close/>
                    <a:moveTo>
                      <a:pt x="1380" y="1667"/>
                    </a:moveTo>
                    <a:lnTo>
                      <a:pt x="1382" y="1667"/>
                    </a:lnTo>
                    <a:lnTo>
                      <a:pt x="1380" y="1667"/>
                    </a:lnTo>
                    <a:close/>
                    <a:moveTo>
                      <a:pt x="1205" y="1527"/>
                    </a:moveTo>
                    <a:lnTo>
                      <a:pt x="1207" y="1527"/>
                    </a:lnTo>
                    <a:lnTo>
                      <a:pt x="1207" y="1529"/>
                    </a:lnTo>
                    <a:lnTo>
                      <a:pt x="1205" y="1529"/>
                    </a:lnTo>
                    <a:lnTo>
                      <a:pt x="1205" y="1527"/>
                    </a:lnTo>
                    <a:close/>
                    <a:moveTo>
                      <a:pt x="1397" y="1663"/>
                    </a:moveTo>
                    <a:lnTo>
                      <a:pt x="1397" y="1665"/>
                    </a:lnTo>
                    <a:lnTo>
                      <a:pt x="1397" y="1663"/>
                    </a:lnTo>
                    <a:close/>
                    <a:moveTo>
                      <a:pt x="1358" y="1667"/>
                    </a:moveTo>
                    <a:lnTo>
                      <a:pt x="1360" y="1667"/>
                    </a:lnTo>
                    <a:lnTo>
                      <a:pt x="1358" y="1667"/>
                    </a:lnTo>
                    <a:close/>
                    <a:moveTo>
                      <a:pt x="1190" y="1231"/>
                    </a:moveTo>
                    <a:lnTo>
                      <a:pt x="1191" y="1231"/>
                    </a:lnTo>
                    <a:lnTo>
                      <a:pt x="1190" y="1231"/>
                    </a:lnTo>
                    <a:close/>
                    <a:moveTo>
                      <a:pt x="1168" y="1136"/>
                    </a:moveTo>
                    <a:lnTo>
                      <a:pt x="1169" y="1136"/>
                    </a:lnTo>
                    <a:lnTo>
                      <a:pt x="1169" y="1138"/>
                    </a:lnTo>
                    <a:lnTo>
                      <a:pt x="1168" y="1138"/>
                    </a:lnTo>
                    <a:lnTo>
                      <a:pt x="1168" y="1136"/>
                    </a:lnTo>
                    <a:close/>
                    <a:moveTo>
                      <a:pt x="1183" y="1430"/>
                    </a:moveTo>
                    <a:lnTo>
                      <a:pt x="1185" y="1430"/>
                    </a:lnTo>
                    <a:lnTo>
                      <a:pt x="1183" y="1430"/>
                    </a:lnTo>
                    <a:close/>
                    <a:moveTo>
                      <a:pt x="1220" y="1083"/>
                    </a:moveTo>
                    <a:lnTo>
                      <a:pt x="1220" y="1085"/>
                    </a:lnTo>
                    <a:lnTo>
                      <a:pt x="1220" y="1083"/>
                    </a:lnTo>
                    <a:close/>
                    <a:moveTo>
                      <a:pt x="1183" y="1299"/>
                    </a:moveTo>
                    <a:lnTo>
                      <a:pt x="1183" y="1301"/>
                    </a:lnTo>
                    <a:lnTo>
                      <a:pt x="1183" y="1299"/>
                    </a:lnTo>
                    <a:close/>
                    <a:moveTo>
                      <a:pt x="1254" y="1590"/>
                    </a:moveTo>
                    <a:lnTo>
                      <a:pt x="1256" y="1590"/>
                    </a:lnTo>
                    <a:lnTo>
                      <a:pt x="1254" y="1590"/>
                    </a:lnTo>
                    <a:close/>
                    <a:moveTo>
                      <a:pt x="1222" y="1070"/>
                    </a:moveTo>
                    <a:lnTo>
                      <a:pt x="1224" y="1070"/>
                    </a:lnTo>
                    <a:lnTo>
                      <a:pt x="1222" y="1070"/>
                    </a:lnTo>
                    <a:close/>
                    <a:moveTo>
                      <a:pt x="1161" y="1470"/>
                    </a:moveTo>
                    <a:lnTo>
                      <a:pt x="1162" y="1470"/>
                    </a:lnTo>
                    <a:lnTo>
                      <a:pt x="1161" y="1470"/>
                    </a:lnTo>
                    <a:close/>
                    <a:moveTo>
                      <a:pt x="1343" y="1655"/>
                    </a:moveTo>
                    <a:lnTo>
                      <a:pt x="1344" y="1655"/>
                    </a:lnTo>
                    <a:lnTo>
                      <a:pt x="1343" y="1655"/>
                    </a:lnTo>
                    <a:close/>
                    <a:moveTo>
                      <a:pt x="1171" y="1413"/>
                    </a:moveTo>
                    <a:lnTo>
                      <a:pt x="1173" y="1413"/>
                    </a:lnTo>
                    <a:lnTo>
                      <a:pt x="1173" y="1415"/>
                    </a:lnTo>
                    <a:lnTo>
                      <a:pt x="1171" y="1415"/>
                    </a:lnTo>
                    <a:lnTo>
                      <a:pt x="1171" y="1413"/>
                    </a:lnTo>
                    <a:close/>
                    <a:moveTo>
                      <a:pt x="1169" y="1473"/>
                    </a:moveTo>
                    <a:lnTo>
                      <a:pt x="1169" y="1475"/>
                    </a:lnTo>
                    <a:lnTo>
                      <a:pt x="1169" y="1473"/>
                    </a:lnTo>
                    <a:close/>
                    <a:moveTo>
                      <a:pt x="1159" y="1247"/>
                    </a:moveTo>
                    <a:lnTo>
                      <a:pt x="1161" y="1247"/>
                    </a:lnTo>
                    <a:lnTo>
                      <a:pt x="1161" y="1248"/>
                    </a:lnTo>
                    <a:lnTo>
                      <a:pt x="1159" y="1248"/>
                    </a:lnTo>
                    <a:lnTo>
                      <a:pt x="1159" y="1247"/>
                    </a:lnTo>
                    <a:close/>
                    <a:moveTo>
                      <a:pt x="1154" y="1191"/>
                    </a:moveTo>
                    <a:lnTo>
                      <a:pt x="1156" y="1191"/>
                    </a:lnTo>
                    <a:lnTo>
                      <a:pt x="1154" y="1191"/>
                    </a:lnTo>
                    <a:close/>
                    <a:moveTo>
                      <a:pt x="1186" y="1441"/>
                    </a:moveTo>
                    <a:lnTo>
                      <a:pt x="1186" y="1442"/>
                    </a:lnTo>
                    <a:lnTo>
                      <a:pt x="1186" y="1441"/>
                    </a:lnTo>
                    <a:close/>
                    <a:moveTo>
                      <a:pt x="1152" y="1330"/>
                    </a:moveTo>
                    <a:lnTo>
                      <a:pt x="1154" y="1330"/>
                    </a:lnTo>
                    <a:lnTo>
                      <a:pt x="1152" y="1330"/>
                    </a:lnTo>
                    <a:close/>
                    <a:moveTo>
                      <a:pt x="1173" y="1430"/>
                    </a:moveTo>
                    <a:lnTo>
                      <a:pt x="1174" y="1430"/>
                    </a:lnTo>
                    <a:lnTo>
                      <a:pt x="1174" y="1432"/>
                    </a:lnTo>
                    <a:lnTo>
                      <a:pt x="1173" y="1432"/>
                    </a:lnTo>
                    <a:lnTo>
                      <a:pt x="1173" y="1430"/>
                    </a:lnTo>
                    <a:close/>
                    <a:moveTo>
                      <a:pt x="1242" y="1589"/>
                    </a:moveTo>
                    <a:lnTo>
                      <a:pt x="1242" y="1590"/>
                    </a:lnTo>
                    <a:lnTo>
                      <a:pt x="1242" y="1589"/>
                    </a:lnTo>
                    <a:close/>
                    <a:moveTo>
                      <a:pt x="1144" y="1269"/>
                    </a:moveTo>
                    <a:lnTo>
                      <a:pt x="1144" y="1270"/>
                    </a:lnTo>
                    <a:lnTo>
                      <a:pt x="1144" y="1269"/>
                    </a:lnTo>
                    <a:close/>
                    <a:moveTo>
                      <a:pt x="1193" y="1126"/>
                    </a:moveTo>
                    <a:lnTo>
                      <a:pt x="1193" y="1128"/>
                    </a:lnTo>
                    <a:lnTo>
                      <a:pt x="1193" y="1126"/>
                    </a:lnTo>
                    <a:close/>
                    <a:moveTo>
                      <a:pt x="1270" y="1592"/>
                    </a:moveTo>
                    <a:lnTo>
                      <a:pt x="1271" y="1592"/>
                    </a:lnTo>
                    <a:lnTo>
                      <a:pt x="1270" y="1592"/>
                    </a:lnTo>
                    <a:close/>
                    <a:moveTo>
                      <a:pt x="1210" y="1242"/>
                    </a:moveTo>
                    <a:lnTo>
                      <a:pt x="1212" y="1242"/>
                    </a:lnTo>
                    <a:lnTo>
                      <a:pt x="1210" y="1242"/>
                    </a:lnTo>
                    <a:close/>
                    <a:moveTo>
                      <a:pt x="1203" y="1061"/>
                    </a:moveTo>
                    <a:lnTo>
                      <a:pt x="1205" y="1061"/>
                    </a:lnTo>
                    <a:lnTo>
                      <a:pt x="1203" y="1061"/>
                    </a:lnTo>
                    <a:close/>
                    <a:moveTo>
                      <a:pt x="1185" y="1493"/>
                    </a:moveTo>
                    <a:lnTo>
                      <a:pt x="1185" y="1495"/>
                    </a:lnTo>
                    <a:lnTo>
                      <a:pt x="1185" y="1493"/>
                    </a:lnTo>
                    <a:close/>
                    <a:moveTo>
                      <a:pt x="1208" y="1070"/>
                    </a:moveTo>
                    <a:lnTo>
                      <a:pt x="1210" y="1070"/>
                    </a:lnTo>
                    <a:lnTo>
                      <a:pt x="1210" y="1071"/>
                    </a:lnTo>
                    <a:lnTo>
                      <a:pt x="1208" y="1071"/>
                    </a:lnTo>
                    <a:lnTo>
                      <a:pt x="1208" y="1070"/>
                    </a:lnTo>
                    <a:close/>
                    <a:moveTo>
                      <a:pt x="1157" y="1236"/>
                    </a:moveTo>
                    <a:lnTo>
                      <a:pt x="1157" y="1238"/>
                    </a:lnTo>
                    <a:lnTo>
                      <a:pt x="1157" y="1236"/>
                    </a:lnTo>
                    <a:close/>
                    <a:moveTo>
                      <a:pt x="1207" y="1063"/>
                    </a:moveTo>
                    <a:lnTo>
                      <a:pt x="1207" y="1065"/>
                    </a:lnTo>
                    <a:lnTo>
                      <a:pt x="1207" y="1063"/>
                    </a:lnTo>
                    <a:close/>
                    <a:moveTo>
                      <a:pt x="1205" y="1556"/>
                    </a:moveTo>
                    <a:lnTo>
                      <a:pt x="1207" y="1556"/>
                    </a:lnTo>
                    <a:lnTo>
                      <a:pt x="1205" y="1556"/>
                    </a:lnTo>
                    <a:close/>
                    <a:moveTo>
                      <a:pt x="1419" y="1674"/>
                    </a:moveTo>
                    <a:lnTo>
                      <a:pt x="1421" y="1674"/>
                    </a:lnTo>
                    <a:lnTo>
                      <a:pt x="1419" y="1674"/>
                    </a:lnTo>
                    <a:close/>
                    <a:moveTo>
                      <a:pt x="1300" y="1568"/>
                    </a:moveTo>
                    <a:lnTo>
                      <a:pt x="1302" y="1568"/>
                    </a:lnTo>
                    <a:lnTo>
                      <a:pt x="1300" y="1568"/>
                    </a:lnTo>
                    <a:close/>
                    <a:moveTo>
                      <a:pt x="1207" y="1053"/>
                    </a:moveTo>
                    <a:lnTo>
                      <a:pt x="1207" y="1054"/>
                    </a:lnTo>
                    <a:lnTo>
                      <a:pt x="1207" y="1053"/>
                    </a:lnTo>
                    <a:close/>
                    <a:moveTo>
                      <a:pt x="1297" y="1594"/>
                    </a:moveTo>
                    <a:lnTo>
                      <a:pt x="1298" y="1594"/>
                    </a:lnTo>
                    <a:lnTo>
                      <a:pt x="1297" y="1594"/>
                    </a:lnTo>
                    <a:close/>
                    <a:moveTo>
                      <a:pt x="1319" y="1514"/>
                    </a:moveTo>
                    <a:lnTo>
                      <a:pt x="1321" y="1514"/>
                    </a:lnTo>
                    <a:lnTo>
                      <a:pt x="1321" y="1515"/>
                    </a:lnTo>
                    <a:lnTo>
                      <a:pt x="1319" y="1515"/>
                    </a:lnTo>
                    <a:lnTo>
                      <a:pt x="1319" y="1514"/>
                    </a:lnTo>
                    <a:close/>
                    <a:moveTo>
                      <a:pt x="1191" y="1464"/>
                    </a:moveTo>
                    <a:lnTo>
                      <a:pt x="1193" y="1464"/>
                    </a:lnTo>
                    <a:lnTo>
                      <a:pt x="1191" y="1464"/>
                    </a:lnTo>
                    <a:close/>
                    <a:moveTo>
                      <a:pt x="1219" y="1568"/>
                    </a:moveTo>
                    <a:lnTo>
                      <a:pt x="1220" y="1568"/>
                    </a:lnTo>
                    <a:lnTo>
                      <a:pt x="1220" y="1570"/>
                    </a:lnTo>
                    <a:lnTo>
                      <a:pt x="1219" y="1570"/>
                    </a:lnTo>
                    <a:lnTo>
                      <a:pt x="1219" y="1568"/>
                    </a:lnTo>
                    <a:close/>
                    <a:moveTo>
                      <a:pt x="1203" y="1054"/>
                    </a:moveTo>
                    <a:lnTo>
                      <a:pt x="1205" y="1054"/>
                    </a:lnTo>
                    <a:lnTo>
                      <a:pt x="1203" y="1054"/>
                    </a:lnTo>
                    <a:close/>
                    <a:moveTo>
                      <a:pt x="1360" y="1657"/>
                    </a:moveTo>
                    <a:lnTo>
                      <a:pt x="1360" y="1658"/>
                    </a:lnTo>
                    <a:lnTo>
                      <a:pt x="1360" y="1657"/>
                    </a:lnTo>
                    <a:close/>
                    <a:moveTo>
                      <a:pt x="1234" y="1124"/>
                    </a:moveTo>
                    <a:lnTo>
                      <a:pt x="1236" y="1124"/>
                    </a:lnTo>
                    <a:lnTo>
                      <a:pt x="1236" y="1126"/>
                    </a:lnTo>
                    <a:lnTo>
                      <a:pt x="1234" y="1126"/>
                    </a:lnTo>
                    <a:lnTo>
                      <a:pt x="1234" y="1124"/>
                    </a:lnTo>
                    <a:close/>
                    <a:moveTo>
                      <a:pt x="1322" y="1628"/>
                    </a:moveTo>
                    <a:lnTo>
                      <a:pt x="1322" y="1629"/>
                    </a:lnTo>
                    <a:lnTo>
                      <a:pt x="1322" y="1628"/>
                    </a:lnTo>
                    <a:close/>
                    <a:moveTo>
                      <a:pt x="1215" y="1538"/>
                    </a:moveTo>
                    <a:lnTo>
                      <a:pt x="1217" y="1538"/>
                    </a:lnTo>
                    <a:lnTo>
                      <a:pt x="1215" y="1538"/>
                    </a:lnTo>
                    <a:close/>
                    <a:moveTo>
                      <a:pt x="1200" y="1082"/>
                    </a:moveTo>
                    <a:lnTo>
                      <a:pt x="1200" y="1083"/>
                    </a:lnTo>
                    <a:lnTo>
                      <a:pt x="1200" y="1082"/>
                    </a:lnTo>
                    <a:close/>
                    <a:moveTo>
                      <a:pt x="1188" y="1497"/>
                    </a:moveTo>
                    <a:lnTo>
                      <a:pt x="1190" y="1497"/>
                    </a:lnTo>
                    <a:lnTo>
                      <a:pt x="1188" y="1497"/>
                    </a:lnTo>
                    <a:close/>
                    <a:moveTo>
                      <a:pt x="1213" y="1500"/>
                    </a:moveTo>
                    <a:lnTo>
                      <a:pt x="1215" y="1500"/>
                    </a:lnTo>
                    <a:lnTo>
                      <a:pt x="1213" y="1500"/>
                    </a:lnTo>
                    <a:close/>
                    <a:moveTo>
                      <a:pt x="1310" y="1641"/>
                    </a:moveTo>
                    <a:lnTo>
                      <a:pt x="1310" y="1643"/>
                    </a:lnTo>
                    <a:lnTo>
                      <a:pt x="1310" y="1641"/>
                    </a:lnTo>
                    <a:close/>
                    <a:moveTo>
                      <a:pt x="1171" y="1432"/>
                    </a:moveTo>
                    <a:lnTo>
                      <a:pt x="1173" y="1432"/>
                    </a:lnTo>
                    <a:lnTo>
                      <a:pt x="1171" y="1432"/>
                    </a:lnTo>
                    <a:close/>
                    <a:moveTo>
                      <a:pt x="1208" y="1461"/>
                    </a:moveTo>
                    <a:lnTo>
                      <a:pt x="1208" y="1463"/>
                    </a:lnTo>
                    <a:lnTo>
                      <a:pt x="1208" y="1461"/>
                    </a:lnTo>
                    <a:close/>
                    <a:moveTo>
                      <a:pt x="1232" y="1475"/>
                    </a:moveTo>
                    <a:lnTo>
                      <a:pt x="1232" y="1476"/>
                    </a:lnTo>
                    <a:lnTo>
                      <a:pt x="1232" y="1475"/>
                    </a:lnTo>
                    <a:close/>
                    <a:moveTo>
                      <a:pt x="1229" y="1575"/>
                    </a:moveTo>
                    <a:lnTo>
                      <a:pt x="1229" y="1577"/>
                    </a:lnTo>
                    <a:lnTo>
                      <a:pt x="1229" y="1575"/>
                    </a:lnTo>
                    <a:close/>
                    <a:moveTo>
                      <a:pt x="1183" y="1422"/>
                    </a:moveTo>
                    <a:lnTo>
                      <a:pt x="1185" y="1422"/>
                    </a:lnTo>
                    <a:lnTo>
                      <a:pt x="1185" y="1424"/>
                    </a:lnTo>
                    <a:lnTo>
                      <a:pt x="1183" y="1424"/>
                    </a:lnTo>
                    <a:lnTo>
                      <a:pt x="1183" y="1422"/>
                    </a:lnTo>
                    <a:close/>
                    <a:moveTo>
                      <a:pt x="1169" y="1242"/>
                    </a:moveTo>
                    <a:lnTo>
                      <a:pt x="1171" y="1242"/>
                    </a:lnTo>
                    <a:lnTo>
                      <a:pt x="1169" y="1242"/>
                    </a:lnTo>
                    <a:close/>
                    <a:moveTo>
                      <a:pt x="1162" y="1459"/>
                    </a:moveTo>
                    <a:lnTo>
                      <a:pt x="1162" y="1461"/>
                    </a:lnTo>
                    <a:lnTo>
                      <a:pt x="1162" y="1459"/>
                    </a:lnTo>
                    <a:close/>
                    <a:moveTo>
                      <a:pt x="1329" y="1645"/>
                    </a:moveTo>
                    <a:lnTo>
                      <a:pt x="1331" y="1645"/>
                    </a:lnTo>
                    <a:lnTo>
                      <a:pt x="1329" y="1645"/>
                    </a:lnTo>
                    <a:close/>
                    <a:moveTo>
                      <a:pt x="1178" y="1384"/>
                    </a:moveTo>
                    <a:lnTo>
                      <a:pt x="1178" y="1386"/>
                    </a:lnTo>
                    <a:lnTo>
                      <a:pt x="1178" y="1384"/>
                    </a:lnTo>
                    <a:close/>
                    <a:moveTo>
                      <a:pt x="1298" y="1621"/>
                    </a:moveTo>
                    <a:lnTo>
                      <a:pt x="1300" y="1621"/>
                    </a:lnTo>
                    <a:lnTo>
                      <a:pt x="1298" y="1621"/>
                    </a:lnTo>
                    <a:close/>
                    <a:moveTo>
                      <a:pt x="1188" y="1492"/>
                    </a:moveTo>
                    <a:lnTo>
                      <a:pt x="1190" y="1492"/>
                    </a:lnTo>
                    <a:lnTo>
                      <a:pt x="1188" y="1492"/>
                    </a:lnTo>
                    <a:close/>
                    <a:moveTo>
                      <a:pt x="1140" y="1298"/>
                    </a:moveTo>
                    <a:lnTo>
                      <a:pt x="1140" y="1299"/>
                    </a:lnTo>
                    <a:lnTo>
                      <a:pt x="1140" y="1298"/>
                    </a:lnTo>
                    <a:close/>
                    <a:moveTo>
                      <a:pt x="1208" y="1534"/>
                    </a:moveTo>
                    <a:lnTo>
                      <a:pt x="1210" y="1534"/>
                    </a:lnTo>
                    <a:lnTo>
                      <a:pt x="1210" y="1536"/>
                    </a:lnTo>
                    <a:lnTo>
                      <a:pt x="1208" y="1536"/>
                    </a:lnTo>
                    <a:lnTo>
                      <a:pt x="1208" y="1534"/>
                    </a:lnTo>
                    <a:close/>
                    <a:moveTo>
                      <a:pt x="1196" y="1454"/>
                    </a:moveTo>
                    <a:lnTo>
                      <a:pt x="1198" y="1454"/>
                    </a:lnTo>
                    <a:lnTo>
                      <a:pt x="1196" y="1454"/>
                    </a:lnTo>
                    <a:close/>
                    <a:moveTo>
                      <a:pt x="1154" y="1250"/>
                    </a:moveTo>
                    <a:lnTo>
                      <a:pt x="1154" y="1252"/>
                    </a:lnTo>
                    <a:lnTo>
                      <a:pt x="1154" y="1250"/>
                    </a:lnTo>
                    <a:close/>
                    <a:moveTo>
                      <a:pt x="1193" y="1054"/>
                    </a:moveTo>
                    <a:lnTo>
                      <a:pt x="1195" y="1054"/>
                    </a:lnTo>
                    <a:lnTo>
                      <a:pt x="1193" y="1054"/>
                    </a:lnTo>
                    <a:close/>
                    <a:moveTo>
                      <a:pt x="1414" y="1669"/>
                    </a:moveTo>
                    <a:lnTo>
                      <a:pt x="1416" y="1669"/>
                    </a:lnTo>
                    <a:lnTo>
                      <a:pt x="1414" y="1669"/>
                    </a:lnTo>
                    <a:close/>
                    <a:moveTo>
                      <a:pt x="1287" y="1626"/>
                    </a:moveTo>
                    <a:lnTo>
                      <a:pt x="1287" y="1628"/>
                    </a:lnTo>
                    <a:lnTo>
                      <a:pt x="1287" y="1626"/>
                    </a:lnTo>
                    <a:close/>
                    <a:moveTo>
                      <a:pt x="1196" y="1417"/>
                    </a:moveTo>
                    <a:lnTo>
                      <a:pt x="1198" y="1417"/>
                    </a:lnTo>
                    <a:lnTo>
                      <a:pt x="1198" y="1418"/>
                    </a:lnTo>
                    <a:lnTo>
                      <a:pt x="1196" y="1418"/>
                    </a:lnTo>
                    <a:lnTo>
                      <a:pt x="1196" y="1417"/>
                    </a:lnTo>
                    <a:close/>
                    <a:moveTo>
                      <a:pt x="1191" y="1141"/>
                    </a:moveTo>
                    <a:lnTo>
                      <a:pt x="1193" y="1141"/>
                    </a:lnTo>
                    <a:lnTo>
                      <a:pt x="1191" y="1141"/>
                    </a:lnTo>
                    <a:close/>
                    <a:moveTo>
                      <a:pt x="1207" y="1051"/>
                    </a:moveTo>
                    <a:lnTo>
                      <a:pt x="1208" y="1051"/>
                    </a:lnTo>
                    <a:lnTo>
                      <a:pt x="1207" y="1051"/>
                    </a:lnTo>
                    <a:close/>
                    <a:moveTo>
                      <a:pt x="1202" y="952"/>
                    </a:moveTo>
                    <a:lnTo>
                      <a:pt x="1203" y="952"/>
                    </a:lnTo>
                    <a:lnTo>
                      <a:pt x="1202" y="952"/>
                    </a:lnTo>
                    <a:close/>
                    <a:moveTo>
                      <a:pt x="1212" y="1560"/>
                    </a:moveTo>
                    <a:lnTo>
                      <a:pt x="1213" y="1560"/>
                    </a:lnTo>
                    <a:lnTo>
                      <a:pt x="1212" y="1560"/>
                    </a:lnTo>
                    <a:close/>
                    <a:moveTo>
                      <a:pt x="1168" y="1390"/>
                    </a:moveTo>
                    <a:lnTo>
                      <a:pt x="1168" y="1391"/>
                    </a:lnTo>
                    <a:lnTo>
                      <a:pt x="1168" y="1390"/>
                    </a:lnTo>
                    <a:close/>
                    <a:moveTo>
                      <a:pt x="1186" y="1060"/>
                    </a:moveTo>
                    <a:lnTo>
                      <a:pt x="1188" y="1060"/>
                    </a:lnTo>
                    <a:lnTo>
                      <a:pt x="1186" y="1060"/>
                    </a:lnTo>
                    <a:close/>
                    <a:moveTo>
                      <a:pt x="1169" y="1478"/>
                    </a:moveTo>
                    <a:lnTo>
                      <a:pt x="1169" y="1480"/>
                    </a:lnTo>
                    <a:lnTo>
                      <a:pt x="1169" y="1478"/>
                    </a:lnTo>
                    <a:close/>
                    <a:moveTo>
                      <a:pt x="1297" y="1592"/>
                    </a:moveTo>
                    <a:lnTo>
                      <a:pt x="1298" y="1592"/>
                    </a:lnTo>
                    <a:lnTo>
                      <a:pt x="1297" y="1592"/>
                    </a:lnTo>
                    <a:close/>
                    <a:moveTo>
                      <a:pt x="1324" y="1635"/>
                    </a:moveTo>
                    <a:lnTo>
                      <a:pt x="1326" y="1635"/>
                    </a:lnTo>
                    <a:lnTo>
                      <a:pt x="1324" y="1635"/>
                    </a:lnTo>
                    <a:close/>
                    <a:moveTo>
                      <a:pt x="1176" y="1449"/>
                    </a:moveTo>
                    <a:lnTo>
                      <a:pt x="1176" y="1451"/>
                    </a:lnTo>
                    <a:lnTo>
                      <a:pt x="1176" y="1449"/>
                    </a:lnTo>
                    <a:close/>
                    <a:moveTo>
                      <a:pt x="1181" y="1420"/>
                    </a:moveTo>
                    <a:lnTo>
                      <a:pt x="1181" y="1422"/>
                    </a:lnTo>
                    <a:lnTo>
                      <a:pt x="1181" y="1420"/>
                    </a:lnTo>
                    <a:close/>
                    <a:moveTo>
                      <a:pt x="1176" y="1459"/>
                    </a:moveTo>
                    <a:lnTo>
                      <a:pt x="1176" y="1461"/>
                    </a:lnTo>
                    <a:lnTo>
                      <a:pt x="1176" y="1459"/>
                    </a:lnTo>
                    <a:close/>
                    <a:moveTo>
                      <a:pt x="1225" y="1556"/>
                    </a:moveTo>
                    <a:lnTo>
                      <a:pt x="1225" y="1558"/>
                    </a:lnTo>
                    <a:lnTo>
                      <a:pt x="1225" y="1556"/>
                    </a:lnTo>
                    <a:close/>
                    <a:moveTo>
                      <a:pt x="1281" y="1614"/>
                    </a:moveTo>
                    <a:lnTo>
                      <a:pt x="1281" y="1616"/>
                    </a:lnTo>
                    <a:lnTo>
                      <a:pt x="1281" y="1614"/>
                    </a:lnTo>
                    <a:close/>
                    <a:moveTo>
                      <a:pt x="1370" y="1646"/>
                    </a:moveTo>
                    <a:lnTo>
                      <a:pt x="1372" y="1646"/>
                    </a:lnTo>
                    <a:lnTo>
                      <a:pt x="1372" y="1648"/>
                    </a:lnTo>
                    <a:lnTo>
                      <a:pt x="1370" y="1648"/>
                    </a:lnTo>
                    <a:lnTo>
                      <a:pt x="1370" y="1646"/>
                    </a:lnTo>
                    <a:close/>
                    <a:moveTo>
                      <a:pt x="1416" y="1679"/>
                    </a:moveTo>
                    <a:lnTo>
                      <a:pt x="1416" y="1680"/>
                    </a:lnTo>
                    <a:lnTo>
                      <a:pt x="1416" y="1679"/>
                    </a:lnTo>
                    <a:close/>
                    <a:moveTo>
                      <a:pt x="1169" y="1444"/>
                    </a:moveTo>
                    <a:lnTo>
                      <a:pt x="1171" y="1444"/>
                    </a:lnTo>
                    <a:lnTo>
                      <a:pt x="1169" y="1444"/>
                    </a:lnTo>
                    <a:close/>
                    <a:moveTo>
                      <a:pt x="1370" y="1640"/>
                    </a:moveTo>
                    <a:lnTo>
                      <a:pt x="1372" y="1640"/>
                    </a:lnTo>
                    <a:lnTo>
                      <a:pt x="1372" y="1641"/>
                    </a:lnTo>
                    <a:lnTo>
                      <a:pt x="1370" y="1641"/>
                    </a:lnTo>
                    <a:lnTo>
                      <a:pt x="1370" y="1640"/>
                    </a:lnTo>
                    <a:close/>
                    <a:moveTo>
                      <a:pt x="1181" y="1432"/>
                    </a:moveTo>
                    <a:lnTo>
                      <a:pt x="1183" y="1432"/>
                    </a:lnTo>
                    <a:lnTo>
                      <a:pt x="1181" y="1432"/>
                    </a:lnTo>
                    <a:close/>
                    <a:moveTo>
                      <a:pt x="1222" y="1566"/>
                    </a:moveTo>
                    <a:lnTo>
                      <a:pt x="1222" y="1568"/>
                    </a:lnTo>
                    <a:lnTo>
                      <a:pt x="1222" y="1566"/>
                    </a:lnTo>
                    <a:close/>
                    <a:moveTo>
                      <a:pt x="1154" y="1379"/>
                    </a:moveTo>
                    <a:lnTo>
                      <a:pt x="1156" y="1379"/>
                    </a:lnTo>
                    <a:lnTo>
                      <a:pt x="1154" y="1379"/>
                    </a:lnTo>
                    <a:close/>
                    <a:moveTo>
                      <a:pt x="1237" y="1544"/>
                    </a:moveTo>
                    <a:lnTo>
                      <a:pt x="1239" y="1544"/>
                    </a:lnTo>
                    <a:lnTo>
                      <a:pt x="1239" y="1546"/>
                    </a:lnTo>
                    <a:lnTo>
                      <a:pt x="1237" y="1546"/>
                    </a:lnTo>
                    <a:lnTo>
                      <a:pt x="1237" y="1544"/>
                    </a:lnTo>
                    <a:close/>
                    <a:moveTo>
                      <a:pt x="1321" y="1633"/>
                    </a:moveTo>
                    <a:lnTo>
                      <a:pt x="1322" y="1633"/>
                    </a:lnTo>
                    <a:lnTo>
                      <a:pt x="1322" y="1635"/>
                    </a:lnTo>
                    <a:lnTo>
                      <a:pt x="1321" y="1635"/>
                    </a:lnTo>
                    <a:lnTo>
                      <a:pt x="1321" y="1633"/>
                    </a:lnTo>
                    <a:close/>
                    <a:moveTo>
                      <a:pt x="1157" y="1233"/>
                    </a:moveTo>
                    <a:lnTo>
                      <a:pt x="1157" y="1235"/>
                    </a:lnTo>
                    <a:lnTo>
                      <a:pt x="1157" y="1233"/>
                    </a:lnTo>
                    <a:close/>
                    <a:moveTo>
                      <a:pt x="1193" y="1435"/>
                    </a:moveTo>
                    <a:lnTo>
                      <a:pt x="1195" y="1435"/>
                    </a:lnTo>
                    <a:lnTo>
                      <a:pt x="1193" y="1435"/>
                    </a:lnTo>
                    <a:close/>
                    <a:moveTo>
                      <a:pt x="1247" y="1505"/>
                    </a:moveTo>
                    <a:lnTo>
                      <a:pt x="1247" y="1507"/>
                    </a:lnTo>
                    <a:lnTo>
                      <a:pt x="1247" y="1505"/>
                    </a:lnTo>
                    <a:close/>
                    <a:moveTo>
                      <a:pt x="1210" y="1240"/>
                    </a:moveTo>
                    <a:lnTo>
                      <a:pt x="1212" y="1240"/>
                    </a:lnTo>
                    <a:lnTo>
                      <a:pt x="1212" y="1242"/>
                    </a:lnTo>
                    <a:lnTo>
                      <a:pt x="1210" y="1242"/>
                    </a:lnTo>
                    <a:lnTo>
                      <a:pt x="1210" y="1240"/>
                    </a:lnTo>
                    <a:close/>
                    <a:moveTo>
                      <a:pt x="1285" y="1619"/>
                    </a:moveTo>
                    <a:lnTo>
                      <a:pt x="1285" y="1621"/>
                    </a:lnTo>
                    <a:lnTo>
                      <a:pt x="1285" y="1619"/>
                    </a:lnTo>
                    <a:close/>
                    <a:moveTo>
                      <a:pt x="1207" y="1451"/>
                    </a:moveTo>
                    <a:lnTo>
                      <a:pt x="1207" y="1453"/>
                    </a:lnTo>
                    <a:lnTo>
                      <a:pt x="1207" y="1451"/>
                    </a:lnTo>
                    <a:close/>
                    <a:moveTo>
                      <a:pt x="1178" y="1481"/>
                    </a:moveTo>
                    <a:lnTo>
                      <a:pt x="1178" y="1483"/>
                    </a:lnTo>
                    <a:lnTo>
                      <a:pt x="1178" y="1481"/>
                    </a:lnTo>
                    <a:close/>
                    <a:moveTo>
                      <a:pt x="1213" y="1104"/>
                    </a:moveTo>
                    <a:lnTo>
                      <a:pt x="1213" y="1105"/>
                    </a:lnTo>
                    <a:lnTo>
                      <a:pt x="1213" y="1104"/>
                    </a:lnTo>
                    <a:close/>
                    <a:moveTo>
                      <a:pt x="1190" y="1420"/>
                    </a:moveTo>
                    <a:lnTo>
                      <a:pt x="1190" y="1422"/>
                    </a:lnTo>
                    <a:lnTo>
                      <a:pt x="1190" y="1420"/>
                    </a:lnTo>
                    <a:close/>
                    <a:moveTo>
                      <a:pt x="1195" y="1145"/>
                    </a:moveTo>
                    <a:lnTo>
                      <a:pt x="1195" y="1146"/>
                    </a:lnTo>
                    <a:lnTo>
                      <a:pt x="1195" y="1145"/>
                    </a:lnTo>
                    <a:close/>
                    <a:moveTo>
                      <a:pt x="1195" y="1077"/>
                    </a:moveTo>
                    <a:lnTo>
                      <a:pt x="1196" y="1077"/>
                    </a:lnTo>
                    <a:lnTo>
                      <a:pt x="1195" y="1077"/>
                    </a:lnTo>
                    <a:close/>
                    <a:moveTo>
                      <a:pt x="1200" y="1527"/>
                    </a:moveTo>
                    <a:lnTo>
                      <a:pt x="1200" y="1529"/>
                    </a:lnTo>
                    <a:lnTo>
                      <a:pt x="1200" y="1527"/>
                    </a:lnTo>
                    <a:close/>
                    <a:moveTo>
                      <a:pt x="1219" y="1100"/>
                    </a:moveTo>
                    <a:lnTo>
                      <a:pt x="1219" y="1102"/>
                    </a:lnTo>
                    <a:lnTo>
                      <a:pt x="1219" y="1100"/>
                    </a:lnTo>
                    <a:close/>
                    <a:moveTo>
                      <a:pt x="1198" y="1092"/>
                    </a:moveTo>
                    <a:lnTo>
                      <a:pt x="1198" y="1094"/>
                    </a:lnTo>
                    <a:lnTo>
                      <a:pt x="1198" y="1092"/>
                    </a:lnTo>
                    <a:close/>
                    <a:moveTo>
                      <a:pt x="1229" y="1570"/>
                    </a:moveTo>
                    <a:lnTo>
                      <a:pt x="1230" y="1570"/>
                    </a:lnTo>
                    <a:lnTo>
                      <a:pt x="1229" y="1570"/>
                    </a:lnTo>
                    <a:close/>
                    <a:moveTo>
                      <a:pt x="1229" y="1580"/>
                    </a:moveTo>
                    <a:lnTo>
                      <a:pt x="1230" y="1580"/>
                    </a:lnTo>
                    <a:lnTo>
                      <a:pt x="1230" y="1582"/>
                    </a:lnTo>
                    <a:lnTo>
                      <a:pt x="1229" y="1582"/>
                    </a:lnTo>
                    <a:lnTo>
                      <a:pt x="1229" y="1580"/>
                    </a:lnTo>
                    <a:close/>
                    <a:moveTo>
                      <a:pt x="1169" y="1413"/>
                    </a:moveTo>
                    <a:lnTo>
                      <a:pt x="1171" y="1413"/>
                    </a:lnTo>
                    <a:lnTo>
                      <a:pt x="1169" y="1413"/>
                    </a:lnTo>
                    <a:close/>
                    <a:moveTo>
                      <a:pt x="1178" y="1441"/>
                    </a:moveTo>
                    <a:lnTo>
                      <a:pt x="1179" y="1441"/>
                    </a:lnTo>
                    <a:lnTo>
                      <a:pt x="1178" y="1441"/>
                    </a:lnTo>
                    <a:close/>
                    <a:moveTo>
                      <a:pt x="1161" y="1398"/>
                    </a:moveTo>
                    <a:lnTo>
                      <a:pt x="1162" y="1398"/>
                    </a:lnTo>
                    <a:lnTo>
                      <a:pt x="1161" y="1398"/>
                    </a:lnTo>
                    <a:close/>
                    <a:moveTo>
                      <a:pt x="1217" y="1504"/>
                    </a:moveTo>
                    <a:lnTo>
                      <a:pt x="1219" y="1504"/>
                    </a:lnTo>
                    <a:lnTo>
                      <a:pt x="1219" y="1505"/>
                    </a:lnTo>
                    <a:lnTo>
                      <a:pt x="1217" y="1505"/>
                    </a:lnTo>
                    <a:lnTo>
                      <a:pt x="1217" y="1504"/>
                    </a:lnTo>
                    <a:close/>
                    <a:moveTo>
                      <a:pt x="1183" y="1308"/>
                    </a:moveTo>
                    <a:lnTo>
                      <a:pt x="1183" y="1310"/>
                    </a:lnTo>
                    <a:lnTo>
                      <a:pt x="1183" y="1308"/>
                    </a:lnTo>
                    <a:close/>
                    <a:moveTo>
                      <a:pt x="1161" y="1357"/>
                    </a:moveTo>
                    <a:lnTo>
                      <a:pt x="1162" y="1357"/>
                    </a:lnTo>
                    <a:lnTo>
                      <a:pt x="1161" y="1357"/>
                    </a:lnTo>
                    <a:close/>
                    <a:moveTo>
                      <a:pt x="1176" y="1367"/>
                    </a:moveTo>
                    <a:lnTo>
                      <a:pt x="1178" y="1367"/>
                    </a:lnTo>
                    <a:lnTo>
                      <a:pt x="1176" y="1367"/>
                    </a:lnTo>
                    <a:close/>
                    <a:moveTo>
                      <a:pt x="1305" y="1623"/>
                    </a:moveTo>
                    <a:lnTo>
                      <a:pt x="1307" y="1623"/>
                    </a:lnTo>
                    <a:lnTo>
                      <a:pt x="1307" y="1624"/>
                    </a:lnTo>
                    <a:lnTo>
                      <a:pt x="1305" y="1624"/>
                    </a:lnTo>
                    <a:lnTo>
                      <a:pt x="1305" y="1623"/>
                    </a:lnTo>
                    <a:close/>
                    <a:moveTo>
                      <a:pt x="1149" y="1333"/>
                    </a:moveTo>
                    <a:lnTo>
                      <a:pt x="1151" y="1333"/>
                    </a:lnTo>
                    <a:lnTo>
                      <a:pt x="1149" y="1333"/>
                    </a:lnTo>
                    <a:close/>
                    <a:moveTo>
                      <a:pt x="1213" y="1102"/>
                    </a:moveTo>
                    <a:lnTo>
                      <a:pt x="1213" y="1104"/>
                    </a:lnTo>
                    <a:lnTo>
                      <a:pt x="1213" y="1102"/>
                    </a:lnTo>
                    <a:close/>
                    <a:moveTo>
                      <a:pt x="1154" y="1248"/>
                    </a:moveTo>
                    <a:lnTo>
                      <a:pt x="1156" y="1248"/>
                    </a:lnTo>
                    <a:lnTo>
                      <a:pt x="1154" y="1248"/>
                    </a:lnTo>
                    <a:close/>
                    <a:moveTo>
                      <a:pt x="1358" y="1652"/>
                    </a:moveTo>
                    <a:lnTo>
                      <a:pt x="1358" y="1653"/>
                    </a:lnTo>
                    <a:lnTo>
                      <a:pt x="1358" y="1652"/>
                    </a:lnTo>
                    <a:close/>
                    <a:moveTo>
                      <a:pt x="1259" y="1590"/>
                    </a:moveTo>
                    <a:lnTo>
                      <a:pt x="1259" y="1592"/>
                    </a:lnTo>
                    <a:lnTo>
                      <a:pt x="1259" y="1590"/>
                    </a:lnTo>
                    <a:close/>
                    <a:moveTo>
                      <a:pt x="1266" y="1599"/>
                    </a:moveTo>
                    <a:lnTo>
                      <a:pt x="1266" y="1600"/>
                    </a:lnTo>
                    <a:lnTo>
                      <a:pt x="1266" y="1599"/>
                    </a:lnTo>
                    <a:close/>
                    <a:moveTo>
                      <a:pt x="1188" y="1066"/>
                    </a:moveTo>
                    <a:lnTo>
                      <a:pt x="1188" y="1068"/>
                    </a:lnTo>
                    <a:lnTo>
                      <a:pt x="1188" y="1066"/>
                    </a:lnTo>
                    <a:close/>
                    <a:moveTo>
                      <a:pt x="1154" y="1272"/>
                    </a:moveTo>
                    <a:lnTo>
                      <a:pt x="1156" y="1272"/>
                    </a:lnTo>
                    <a:lnTo>
                      <a:pt x="1156" y="1274"/>
                    </a:lnTo>
                    <a:lnTo>
                      <a:pt x="1154" y="1274"/>
                    </a:lnTo>
                    <a:lnTo>
                      <a:pt x="1154" y="1272"/>
                    </a:lnTo>
                    <a:close/>
                    <a:moveTo>
                      <a:pt x="1309" y="1635"/>
                    </a:moveTo>
                    <a:lnTo>
                      <a:pt x="1310" y="1635"/>
                    </a:lnTo>
                    <a:lnTo>
                      <a:pt x="1309" y="1635"/>
                    </a:lnTo>
                    <a:close/>
                    <a:moveTo>
                      <a:pt x="1220" y="1077"/>
                    </a:moveTo>
                    <a:lnTo>
                      <a:pt x="1222" y="1077"/>
                    </a:lnTo>
                    <a:lnTo>
                      <a:pt x="1220" y="1077"/>
                    </a:lnTo>
                    <a:close/>
                    <a:moveTo>
                      <a:pt x="1205" y="1507"/>
                    </a:moveTo>
                    <a:lnTo>
                      <a:pt x="1207" y="1507"/>
                    </a:lnTo>
                    <a:lnTo>
                      <a:pt x="1205" y="1507"/>
                    </a:lnTo>
                    <a:close/>
                    <a:moveTo>
                      <a:pt x="1229" y="1558"/>
                    </a:moveTo>
                    <a:lnTo>
                      <a:pt x="1230" y="1558"/>
                    </a:lnTo>
                    <a:lnTo>
                      <a:pt x="1229" y="1558"/>
                    </a:lnTo>
                    <a:close/>
                    <a:moveTo>
                      <a:pt x="1198" y="1435"/>
                    </a:moveTo>
                    <a:lnTo>
                      <a:pt x="1198" y="1437"/>
                    </a:lnTo>
                    <a:lnTo>
                      <a:pt x="1198" y="1435"/>
                    </a:lnTo>
                    <a:close/>
                    <a:moveTo>
                      <a:pt x="1271" y="1595"/>
                    </a:moveTo>
                    <a:lnTo>
                      <a:pt x="1273" y="1595"/>
                    </a:lnTo>
                    <a:lnTo>
                      <a:pt x="1271" y="1595"/>
                    </a:lnTo>
                    <a:close/>
                    <a:moveTo>
                      <a:pt x="1186" y="1490"/>
                    </a:moveTo>
                    <a:lnTo>
                      <a:pt x="1188" y="1490"/>
                    </a:lnTo>
                    <a:lnTo>
                      <a:pt x="1186" y="1490"/>
                    </a:lnTo>
                    <a:close/>
                    <a:moveTo>
                      <a:pt x="1246" y="1507"/>
                    </a:moveTo>
                    <a:lnTo>
                      <a:pt x="1247" y="1507"/>
                    </a:lnTo>
                    <a:lnTo>
                      <a:pt x="1247" y="1509"/>
                    </a:lnTo>
                    <a:lnTo>
                      <a:pt x="1246" y="1509"/>
                    </a:lnTo>
                    <a:lnTo>
                      <a:pt x="1246" y="1507"/>
                    </a:lnTo>
                    <a:close/>
                    <a:moveTo>
                      <a:pt x="1368" y="1662"/>
                    </a:moveTo>
                    <a:lnTo>
                      <a:pt x="1370" y="1662"/>
                    </a:lnTo>
                    <a:lnTo>
                      <a:pt x="1368" y="1662"/>
                    </a:lnTo>
                    <a:close/>
                    <a:moveTo>
                      <a:pt x="1220" y="1544"/>
                    </a:moveTo>
                    <a:lnTo>
                      <a:pt x="1222" y="1544"/>
                    </a:lnTo>
                    <a:lnTo>
                      <a:pt x="1220" y="1544"/>
                    </a:lnTo>
                    <a:close/>
                    <a:moveTo>
                      <a:pt x="1162" y="1388"/>
                    </a:moveTo>
                    <a:lnTo>
                      <a:pt x="1164" y="1388"/>
                    </a:lnTo>
                    <a:lnTo>
                      <a:pt x="1162" y="1388"/>
                    </a:lnTo>
                    <a:close/>
                    <a:moveTo>
                      <a:pt x="1210" y="1242"/>
                    </a:moveTo>
                    <a:lnTo>
                      <a:pt x="1210" y="1243"/>
                    </a:lnTo>
                    <a:lnTo>
                      <a:pt x="1210" y="1242"/>
                    </a:lnTo>
                    <a:close/>
                    <a:moveTo>
                      <a:pt x="1196" y="1439"/>
                    </a:moveTo>
                    <a:lnTo>
                      <a:pt x="1198" y="1439"/>
                    </a:lnTo>
                    <a:lnTo>
                      <a:pt x="1198" y="1441"/>
                    </a:lnTo>
                    <a:lnTo>
                      <a:pt x="1196" y="1441"/>
                    </a:lnTo>
                    <a:lnTo>
                      <a:pt x="1196" y="1439"/>
                    </a:lnTo>
                    <a:close/>
                    <a:moveTo>
                      <a:pt x="1205" y="1481"/>
                    </a:moveTo>
                    <a:lnTo>
                      <a:pt x="1207" y="1481"/>
                    </a:lnTo>
                    <a:lnTo>
                      <a:pt x="1205" y="1481"/>
                    </a:lnTo>
                    <a:close/>
                    <a:moveTo>
                      <a:pt x="1190" y="1112"/>
                    </a:moveTo>
                    <a:lnTo>
                      <a:pt x="1191" y="1112"/>
                    </a:lnTo>
                    <a:lnTo>
                      <a:pt x="1191" y="1114"/>
                    </a:lnTo>
                    <a:lnTo>
                      <a:pt x="1190" y="1114"/>
                    </a:lnTo>
                    <a:lnTo>
                      <a:pt x="1190" y="1112"/>
                    </a:lnTo>
                    <a:close/>
                    <a:moveTo>
                      <a:pt x="1210" y="1481"/>
                    </a:moveTo>
                    <a:lnTo>
                      <a:pt x="1210" y="1483"/>
                    </a:lnTo>
                    <a:lnTo>
                      <a:pt x="1210" y="1481"/>
                    </a:lnTo>
                    <a:close/>
                    <a:moveTo>
                      <a:pt x="1312" y="1512"/>
                    </a:moveTo>
                    <a:lnTo>
                      <a:pt x="1312" y="1514"/>
                    </a:lnTo>
                    <a:lnTo>
                      <a:pt x="1312" y="1512"/>
                    </a:lnTo>
                    <a:close/>
                    <a:moveTo>
                      <a:pt x="1380" y="1662"/>
                    </a:moveTo>
                    <a:lnTo>
                      <a:pt x="1382" y="1662"/>
                    </a:lnTo>
                    <a:lnTo>
                      <a:pt x="1380" y="1662"/>
                    </a:lnTo>
                    <a:close/>
                    <a:moveTo>
                      <a:pt x="1210" y="1493"/>
                    </a:moveTo>
                    <a:lnTo>
                      <a:pt x="1212" y="1493"/>
                    </a:lnTo>
                    <a:lnTo>
                      <a:pt x="1210" y="1493"/>
                    </a:lnTo>
                    <a:close/>
                    <a:moveTo>
                      <a:pt x="1207" y="1099"/>
                    </a:moveTo>
                    <a:lnTo>
                      <a:pt x="1207" y="1100"/>
                    </a:lnTo>
                    <a:lnTo>
                      <a:pt x="1207" y="1099"/>
                    </a:lnTo>
                    <a:close/>
                    <a:moveTo>
                      <a:pt x="1154" y="1250"/>
                    </a:moveTo>
                    <a:lnTo>
                      <a:pt x="1156" y="1250"/>
                    </a:lnTo>
                    <a:lnTo>
                      <a:pt x="1154" y="1250"/>
                    </a:lnTo>
                    <a:close/>
                    <a:moveTo>
                      <a:pt x="1219" y="1549"/>
                    </a:moveTo>
                    <a:lnTo>
                      <a:pt x="1220" y="1549"/>
                    </a:lnTo>
                    <a:lnTo>
                      <a:pt x="1220" y="1551"/>
                    </a:lnTo>
                    <a:lnTo>
                      <a:pt x="1219" y="1551"/>
                    </a:lnTo>
                    <a:lnTo>
                      <a:pt x="1219" y="1549"/>
                    </a:lnTo>
                    <a:close/>
                    <a:moveTo>
                      <a:pt x="1210" y="1085"/>
                    </a:moveTo>
                    <a:lnTo>
                      <a:pt x="1210" y="1087"/>
                    </a:lnTo>
                    <a:lnTo>
                      <a:pt x="1210" y="1085"/>
                    </a:lnTo>
                    <a:close/>
                    <a:moveTo>
                      <a:pt x="1159" y="1347"/>
                    </a:moveTo>
                    <a:lnTo>
                      <a:pt x="1159" y="1349"/>
                    </a:lnTo>
                    <a:lnTo>
                      <a:pt x="1159" y="1347"/>
                    </a:lnTo>
                    <a:close/>
                    <a:moveTo>
                      <a:pt x="1219" y="1555"/>
                    </a:moveTo>
                    <a:lnTo>
                      <a:pt x="1220" y="1555"/>
                    </a:lnTo>
                    <a:lnTo>
                      <a:pt x="1219" y="1555"/>
                    </a:lnTo>
                    <a:close/>
                    <a:moveTo>
                      <a:pt x="1230" y="1570"/>
                    </a:moveTo>
                    <a:lnTo>
                      <a:pt x="1232" y="1570"/>
                    </a:lnTo>
                    <a:lnTo>
                      <a:pt x="1230" y="1570"/>
                    </a:lnTo>
                    <a:close/>
                    <a:moveTo>
                      <a:pt x="1144" y="1299"/>
                    </a:moveTo>
                    <a:lnTo>
                      <a:pt x="1144" y="1301"/>
                    </a:lnTo>
                    <a:lnTo>
                      <a:pt x="1144" y="1299"/>
                    </a:lnTo>
                    <a:close/>
                    <a:moveTo>
                      <a:pt x="1394" y="1635"/>
                    </a:moveTo>
                    <a:lnTo>
                      <a:pt x="1394" y="1636"/>
                    </a:lnTo>
                    <a:lnTo>
                      <a:pt x="1394" y="1635"/>
                    </a:lnTo>
                    <a:close/>
                    <a:moveTo>
                      <a:pt x="1236" y="1582"/>
                    </a:moveTo>
                    <a:lnTo>
                      <a:pt x="1236" y="1583"/>
                    </a:lnTo>
                    <a:lnTo>
                      <a:pt x="1236" y="1582"/>
                    </a:lnTo>
                    <a:close/>
                    <a:moveTo>
                      <a:pt x="1207" y="1514"/>
                    </a:moveTo>
                    <a:lnTo>
                      <a:pt x="1208" y="1514"/>
                    </a:lnTo>
                    <a:lnTo>
                      <a:pt x="1207" y="1514"/>
                    </a:lnTo>
                    <a:close/>
                    <a:moveTo>
                      <a:pt x="1220" y="1117"/>
                    </a:moveTo>
                    <a:lnTo>
                      <a:pt x="1222" y="1117"/>
                    </a:lnTo>
                    <a:lnTo>
                      <a:pt x="1220" y="1117"/>
                    </a:lnTo>
                    <a:close/>
                    <a:moveTo>
                      <a:pt x="1229" y="1039"/>
                    </a:moveTo>
                    <a:lnTo>
                      <a:pt x="1230" y="1039"/>
                    </a:lnTo>
                    <a:lnTo>
                      <a:pt x="1230" y="1041"/>
                    </a:lnTo>
                    <a:lnTo>
                      <a:pt x="1229" y="1041"/>
                    </a:lnTo>
                    <a:lnTo>
                      <a:pt x="1229" y="1039"/>
                    </a:lnTo>
                    <a:close/>
                    <a:moveTo>
                      <a:pt x="1178" y="1488"/>
                    </a:moveTo>
                    <a:lnTo>
                      <a:pt x="1179" y="1488"/>
                    </a:lnTo>
                    <a:lnTo>
                      <a:pt x="1179" y="1490"/>
                    </a:lnTo>
                    <a:lnTo>
                      <a:pt x="1178" y="1490"/>
                    </a:lnTo>
                    <a:lnTo>
                      <a:pt x="1178" y="1488"/>
                    </a:lnTo>
                    <a:close/>
                    <a:moveTo>
                      <a:pt x="1173" y="1435"/>
                    </a:moveTo>
                    <a:lnTo>
                      <a:pt x="1174" y="1435"/>
                    </a:lnTo>
                    <a:lnTo>
                      <a:pt x="1174" y="1437"/>
                    </a:lnTo>
                    <a:lnTo>
                      <a:pt x="1173" y="1437"/>
                    </a:lnTo>
                    <a:lnTo>
                      <a:pt x="1173" y="1435"/>
                    </a:lnTo>
                    <a:close/>
                    <a:moveTo>
                      <a:pt x="1202" y="1063"/>
                    </a:moveTo>
                    <a:lnTo>
                      <a:pt x="1203" y="1063"/>
                    </a:lnTo>
                    <a:lnTo>
                      <a:pt x="1202" y="1063"/>
                    </a:lnTo>
                    <a:close/>
                    <a:moveTo>
                      <a:pt x="1154" y="1250"/>
                    </a:moveTo>
                    <a:lnTo>
                      <a:pt x="1154" y="1252"/>
                    </a:lnTo>
                    <a:lnTo>
                      <a:pt x="1154" y="1250"/>
                    </a:lnTo>
                    <a:close/>
                    <a:moveTo>
                      <a:pt x="1178" y="1432"/>
                    </a:moveTo>
                    <a:lnTo>
                      <a:pt x="1179" y="1432"/>
                    </a:lnTo>
                    <a:lnTo>
                      <a:pt x="1178" y="1432"/>
                    </a:lnTo>
                    <a:close/>
                    <a:moveTo>
                      <a:pt x="1188" y="1480"/>
                    </a:moveTo>
                    <a:lnTo>
                      <a:pt x="1190" y="1480"/>
                    </a:lnTo>
                    <a:lnTo>
                      <a:pt x="1188" y="1480"/>
                    </a:lnTo>
                    <a:close/>
                    <a:moveTo>
                      <a:pt x="1360" y="1629"/>
                    </a:moveTo>
                    <a:lnTo>
                      <a:pt x="1361" y="1629"/>
                    </a:lnTo>
                    <a:lnTo>
                      <a:pt x="1361" y="1631"/>
                    </a:lnTo>
                    <a:lnTo>
                      <a:pt x="1360" y="1631"/>
                    </a:lnTo>
                    <a:lnTo>
                      <a:pt x="1360" y="1629"/>
                    </a:lnTo>
                    <a:close/>
                    <a:moveTo>
                      <a:pt x="1181" y="1117"/>
                    </a:moveTo>
                    <a:lnTo>
                      <a:pt x="1183" y="1117"/>
                    </a:lnTo>
                    <a:lnTo>
                      <a:pt x="1181" y="1117"/>
                    </a:lnTo>
                    <a:close/>
                    <a:moveTo>
                      <a:pt x="1346" y="1657"/>
                    </a:moveTo>
                    <a:lnTo>
                      <a:pt x="1348" y="1657"/>
                    </a:lnTo>
                    <a:lnTo>
                      <a:pt x="1348" y="1658"/>
                    </a:lnTo>
                    <a:lnTo>
                      <a:pt x="1346" y="1658"/>
                    </a:lnTo>
                    <a:lnTo>
                      <a:pt x="1346" y="1657"/>
                    </a:lnTo>
                    <a:close/>
                    <a:moveTo>
                      <a:pt x="1145" y="1332"/>
                    </a:moveTo>
                    <a:lnTo>
                      <a:pt x="1147" y="1332"/>
                    </a:lnTo>
                    <a:lnTo>
                      <a:pt x="1147" y="1333"/>
                    </a:lnTo>
                    <a:lnTo>
                      <a:pt x="1145" y="1333"/>
                    </a:lnTo>
                    <a:lnTo>
                      <a:pt x="1145" y="1332"/>
                    </a:lnTo>
                    <a:close/>
                    <a:moveTo>
                      <a:pt x="1215" y="1504"/>
                    </a:moveTo>
                    <a:lnTo>
                      <a:pt x="1217" y="1504"/>
                    </a:lnTo>
                    <a:lnTo>
                      <a:pt x="1215" y="1504"/>
                    </a:lnTo>
                    <a:close/>
                    <a:moveTo>
                      <a:pt x="1149" y="1253"/>
                    </a:moveTo>
                    <a:lnTo>
                      <a:pt x="1151" y="1253"/>
                    </a:lnTo>
                    <a:lnTo>
                      <a:pt x="1149" y="1253"/>
                    </a:lnTo>
                    <a:close/>
                    <a:moveTo>
                      <a:pt x="1329" y="1643"/>
                    </a:moveTo>
                    <a:lnTo>
                      <a:pt x="1331" y="1643"/>
                    </a:lnTo>
                    <a:lnTo>
                      <a:pt x="1329" y="1643"/>
                    </a:lnTo>
                    <a:close/>
                    <a:moveTo>
                      <a:pt x="1193" y="1453"/>
                    </a:moveTo>
                    <a:lnTo>
                      <a:pt x="1193" y="1454"/>
                    </a:lnTo>
                    <a:lnTo>
                      <a:pt x="1193" y="1453"/>
                    </a:lnTo>
                    <a:close/>
                    <a:moveTo>
                      <a:pt x="1203" y="1063"/>
                    </a:moveTo>
                    <a:lnTo>
                      <a:pt x="1203" y="1065"/>
                    </a:lnTo>
                    <a:lnTo>
                      <a:pt x="1203" y="1063"/>
                    </a:lnTo>
                    <a:close/>
                    <a:moveTo>
                      <a:pt x="1310" y="212"/>
                    </a:moveTo>
                    <a:lnTo>
                      <a:pt x="1310" y="214"/>
                    </a:lnTo>
                    <a:lnTo>
                      <a:pt x="1310" y="212"/>
                    </a:lnTo>
                    <a:close/>
                    <a:moveTo>
                      <a:pt x="1361" y="1667"/>
                    </a:moveTo>
                    <a:lnTo>
                      <a:pt x="1363" y="1667"/>
                    </a:lnTo>
                    <a:lnTo>
                      <a:pt x="1361" y="1667"/>
                    </a:lnTo>
                    <a:close/>
                    <a:moveTo>
                      <a:pt x="1166" y="1405"/>
                    </a:moveTo>
                    <a:lnTo>
                      <a:pt x="1168" y="1405"/>
                    </a:lnTo>
                    <a:lnTo>
                      <a:pt x="1168" y="1407"/>
                    </a:lnTo>
                    <a:lnTo>
                      <a:pt x="1166" y="1407"/>
                    </a:lnTo>
                    <a:lnTo>
                      <a:pt x="1166" y="1405"/>
                    </a:lnTo>
                    <a:close/>
                    <a:moveTo>
                      <a:pt x="1215" y="1555"/>
                    </a:moveTo>
                    <a:lnTo>
                      <a:pt x="1217" y="1555"/>
                    </a:lnTo>
                    <a:lnTo>
                      <a:pt x="1215" y="1555"/>
                    </a:lnTo>
                    <a:close/>
                    <a:moveTo>
                      <a:pt x="1191" y="1437"/>
                    </a:moveTo>
                    <a:lnTo>
                      <a:pt x="1193" y="1437"/>
                    </a:lnTo>
                    <a:lnTo>
                      <a:pt x="1191" y="1437"/>
                    </a:lnTo>
                    <a:close/>
                    <a:moveTo>
                      <a:pt x="1251" y="1522"/>
                    </a:moveTo>
                    <a:lnTo>
                      <a:pt x="1253" y="1522"/>
                    </a:lnTo>
                    <a:lnTo>
                      <a:pt x="1251" y="1522"/>
                    </a:lnTo>
                    <a:close/>
                    <a:moveTo>
                      <a:pt x="1207" y="1498"/>
                    </a:moveTo>
                    <a:lnTo>
                      <a:pt x="1208" y="1498"/>
                    </a:lnTo>
                    <a:lnTo>
                      <a:pt x="1208" y="1500"/>
                    </a:lnTo>
                    <a:lnTo>
                      <a:pt x="1207" y="1500"/>
                    </a:lnTo>
                    <a:lnTo>
                      <a:pt x="1207" y="1498"/>
                    </a:lnTo>
                    <a:close/>
                    <a:moveTo>
                      <a:pt x="1186" y="1439"/>
                    </a:moveTo>
                    <a:lnTo>
                      <a:pt x="1186" y="1441"/>
                    </a:lnTo>
                    <a:lnTo>
                      <a:pt x="1186" y="1439"/>
                    </a:lnTo>
                    <a:close/>
                    <a:moveTo>
                      <a:pt x="1176" y="1116"/>
                    </a:moveTo>
                    <a:lnTo>
                      <a:pt x="1178" y="1116"/>
                    </a:lnTo>
                    <a:lnTo>
                      <a:pt x="1176" y="1116"/>
                    </a:lnTo>
                    <a:close/>
                    <a:moveTo>
                      <a:pt x="1188" y="1209"/>
                    </a:moveTo>
                    <a:lnTo>
                      <a:pt x="1190" y="1209"/>
                    </a:lnTo>
                    <a:lnTo>
                      <a:pt x="1188" y="1209"/>
                    </a:lnTo>
                    <a:close/>
                    <a:moveTo>
                      <a:pt x="1159" y="1347"/>
                    </a:moveTo>
                    <a:lnTo>
                      <a:pt x="1161" y="1347"/>
                    </a:lnTo>
                    <a:lnTo>
                      <a:pt x="1159" y="1347"/>
                    </a:lnTo>
                    <a:close/>
                    <a:moveTo>
                      <a:pt x="1215" y="1105"/>
                    </a:moveTo>
                    <a:lnTo>
                      <a:pt x="1215" y="1107"/>
                    </a:lnTo>
                    <a:lnTo>
                      <a:pt x="1215" y="1105"/>
                    </a:lnTo>
                    <a:close/>
                    <a:moveTo>
                      <a:pt x="1162" y="1347"/>
                    </a:moveTo>
                    <a:lnTo>
                      <a:pt x="1164" y="1347"/>
                    </a:lnTo>
                    <a:lnTo>
                      <a:pt x="1162" y="1347"/>
                    </a:lnTo>
                    <a:close/>
                    <a:moveTo>
                      <a:pt x="1210" y="1116"/>
                    </a:moveTo>
                    <a:lnTo>
                      <a:pt x="1212" y="1116"/>
                    </a:lnTo>
                    <a:lnTo>
                      <a:pt x="1210" y="1116"/>
                    </a:lnTo>
                    <a:close/>
                    <a:moveTo>
                      <a:pt x="1259" y="1493"/>
                    </a:moveTo>
                    <a:lnTo>
                      <a:pt x="1261" y="1493"/>
                    </a:lnTo>
                    <a:lnTo>
                      <a:pt x="1259" y="1493"/>
                    </a:lnTo>
                    <a:close/>
                    <a:moveTo>
                      <a:pt x="1207" y="1521"/>
                    </a:moveTo>
                    <a:lnTo>
                      <a:pt x="1208" y="1521"/>
                    </a:lnTo>
                    <a:lnTo>
                      <a:pt x="1208" y="1522"/>
                    </a:lnTo>
                    <a:lnTo>
                      <a:pt x="1207" y="1522"/>
                    </a:lnTo>
                    <a:lnTo>
                      <a:pt x="1207" y="1521"/>
                    </a:lnTo>
                    <a:close/>
                    <a:moveTo>
                      <a:pt x="1212" y="1070"/>
                    </a:moveTo>
                    <a:lnTo>
                      <a:pt x="1212" y="1071"/>
                    </a:lnTo>
                    <a:lnTo>
                      <a:pt x="1212" y="1070"/>
                    </a:lnTo>
                    <a:close/>
                    <a:moveTo>
                      <a:pt x="1190" y="1068"/>
                    </a:moveTo>
                    <a:lnTo>
                      <a:pt x="1191" y="1068"/>
                    </a:lnTo>
                    <a:lnTo>
                      <a:pt x="1190" y="1068"/>
                    </a:lnTo>
                    <a:close/>
                    <a:moveTo>
                      <a:pt x="1213" y="1555"/>
                    </a:moveTo>
                    <a:lnTo>
                      <a:pt x="1215" y="1555"/>
                    </a:lnTo>
                    <a:lnTo>
                      <a:pt x="1215" y="1556"/>
                    </a:lnTo>
                    <a:lnTo>
                      <a:pt x="1213" y="1556"/>
                    </a:lnTo>
                    <a:lnTo>
                      <a:pt x="1213" y="1555"/>
                    </a:lnTo>
                    <a:close/>
                    <a:moveTo>
                      <a:pt x="1212" y="1555"/>
                    </a:moveTo>
                    <a:lnTo>
                      <a:pt x="1213" y="1555"/>
                    </a:lnTo>
                    <a:lnTo>
                      <a:pt x="1212" y="1555"/>
                    </a:lnTo>
                    <a:close/>
                    <a:moveTo>
                      <a:pt x="1212" y="1500"/>
                    </a:moveTo>
                    <a:lnTo>
                      <a:pt x="1212" y="1502"/>
                    </a:lnTo>
                    <a:lnTo>
                      <a:pt x="1212" y="1500"/>
                    </a:lnTo>
                    <a:close/>
                    <a:moveTo>
                      <a:pt x="1156" y="1250"/>
                    </a:moveTo>
                    <a:lnTo>
                      <a:pt x="1156" y="1252"/>
                    </a:lnTo>
                    <a:lnTo>
                      <a:pt x="1156" y="1250"/>
                    </a:lnTo>
                    <a:close/>
                    <a:moveTo>
                      <a:pt x="1205" y="1073"/>
                    </a:moveTo>
                    <a:lnTo>
                      <a:pt x="1207" y="1073"/>
                    </a:lnTo>
                    <a:lnTo>
                      <a:pt x="1207" y="1075"/>
                    </a:lnTo>
                    <a:lnTo>
                      <a:pt x="1205" y="1075"/>
                    </a:lnTo>
                    <a:lnTo>
                      <a:pt x="1205" y="1073"/>
                    </a:lnTo>
                    <a:close/>
                    <a:moveTo>
                      <a:pt x="1208" y="1082"/>
                    </a:moveTo>
                    <a:lnTo>
                      <a:pt x="1210" y="1082"/>
                    </a:lnTo>
                    <a:lnTo>
                      <a:pt x="1208" y="1082"/>
                    </a:lnTo>
                    <a:close/>
                    <a:moveTo>
                      <a:pt x="1169" y="1434"/>
                    </a:moveTo>
                    <a:lnTo>
                      <a:pt x="1171" y="1434"/>
                    </a:lnTo>
                    <a:lnTo>
                      <a:pt x="1171" y="1435"/>
                    </a:lnTo>
                    <a:lnTo>
                      <a:pt x="1169" y="1435"/>
                    </a:lnTo>
                    <a:lnTo>
                      <a:pt x="1169" y="1434"/>
                    </a:lnTo>
                    <a:close/>
                    <a:moveTo>
                      <a:pt x="1191" y="1114"/>
                    </a:moveTo>
                    <a:lnTo>
                      <a:pt x="1191" y="1116"/>
                    </a:lnTo>
                    <a:lnTo>
                      <a:pt x="1191" y="1114"/>
                    </a:lnTo>
                    <a:close/>
                    <a:moveTo>
                      <a:pt x="1178" y="1374"/>
                    </a:moveTo>
                    <a:lnTo>
                      <a:pt x="1178" y="1376"/>
                    </a:lnTo>
                    <a:lnTo>
                      <a:pt x="1178" y="1374"/>
                    </a:lnTo>
                    <a:close/>
                    <a:moveTo>
                      <a:pt x="1208" y="1075"/>
                    </a:moveTo>
                    <a:lnTo>
                      <a:pt x="1210" y="1075"/>
                    </a:lnTo>
                    <a:lnTo>
                      <a:pt x="1208" y="1075"/>
                    </a:lnTo>
                    <a:close/>
                    <a:moveTo>
                      <a:pt x="1205" y="1053"/>
                    </a:moveTo>
                    <a:lnTo>
                      <a:pt x="1205" y="1054"/>
                    </a:lnTo>
                    <a:lnTo>
                      <a:pt x="1205" y="1053"/>
                    </a:lnTo>
                    <a:close/>
                    <a:moveTo>
                      <a:pt x="1186" y="1383"/>
                    </a:moveTo>
                    <a:lnTo>
                      <a:pt x="1186" y="1384"/>
                    </a:lnTo>
                    <a:lnTo>
                      <a:pt x="1186" y="1383"/>
                    </a:lnTo>
                    <a:close/>
                    <a:moveTo>
                      <a:pt x="1169" y="1133"/>
                    </a:moveTo>
                    <a:lnTo>
                      <a:pt x="1171" y="1133"/>
                    </a:lnTo>
                    <a:lnTo>
                      <a:pt x="1171" y="1134"/>
                    </a:lnTo>
                    <a:lnTo>
                      <a:pt x="1169" y="1134"/>
                    </a:lnTo>
                    <a:lnTo>
                      <a:pt x="1169" y="1133"/>
                    </a:lnTo>
                    <a:close/>
                    <a:moveTo>
                      <a:pt x="1383" y="1628"/>
                    </a:moveTo>
                    <a:lnTo>
                      <a:pt x="1383" y="1629"/>
                    </a:lnTo>
                    <a:lnTo>
                      <a:pt x="1383" y="1628"/>
                    </a:lnTo>
                    <a:close/>
                    <a:moveTo>
                      <a:pt x="1232" y="1583"/>
                    </a:moveTo>
                    <a:lnTo>
                      <a:pt x="1234" y="1583"/>
                    </a:lnTo>
                    <a:lnTo>
                      <a:pt x="1232" y="1583"/>
                    </a:lnTo>
                    <a:close/>
                    <a:moveTo>
                      <a:pt x="1353" y="1682"/>
                    </a:moveTo>
                    <a:lnTo>
                      <a:pt x="1355" y="1682"/>
                    </a:lnTo>
                    <a:lnTo>
                      <a:pt x="1353" y="1682"/>
                    </a:lnTo>
                    <a:close/>
                    <a:moveTo>
                      <a:pt x="1185" y="1429"/>
                    </a:moveTo>
                    <a:lnTo>
                      <a:pt x="1185" y="1430"/>
                    </a:lnTo>
                    <a:lnTo>
                      <a:pt x="1185" y="1429"/>
                    </a:lnTo>
                    <a:close/>
                    <a:moveTo>
                      <a:pt x="1205" y="1054"/>
                    </a:moveTo>
                    <a:lnTo>
                      <a:pt x="1207" y="1054"/>
                    </a:lnTo>
                    <a:lnTo>
                      <a:pt x="1205" y="1054"/>
                    </a:lnTo>
                    <a:close/>
                    <a:moveTo>
                      <a:pt x="1283" y="1595"/>
                    </a:moveTo>
                    <a:lnTo>
                      <a:pt x="1283" y="1597"/>
                    </a:lnTo>
                    <a:lnTo>
                      <a:pt x="1283" y="1595"/>
                    </a:lnTo>
                    <a:close/>
                    <a:moveTo>
                      <a:pt x="1185" y="1429"/>
                    </a:moveTo>
                    <a:lnTo>
                      <a:pt x="1186" y="1429"/>
                    </a:lnTo>
                    <a:lnTo>
                      <a:pt x="1186" y="1430"/>
                    </a:lnTo>
                    <a:lnTo>
                      <a:pt x="1185" y="1430"/>
                    </a:lnTo>
                    <a:lnTo>
                      <a:pt x="1185" y="1429"/>
                    </a:lnTo>
                    <a:close/>
                    <a:moveTo>
                      <a:pt x="1220" y="1549"/>
                    </a:moveTo>
                    <a:lnTo>
                      <a:pt x="1220" y="1551"/>
                    </a:lnTo>
                    <a:lnTo>
                      <a:pt x="1220" y="1549"/>
                    </a:lnTo>
                    <a:close/>
                    <a:moveTo>
                      <a:pt x="1174" y="1116"/>
                    </a:moveTo>
                    <a:lnTo>
                      <a:pt x="1174" y="1117"/>
                    </a:lnTo>
                    <a:lnTo>
                      <a:pt x="1174" y="1116"/>
                    </a:lnTo>
                    <a:close/>
                    <a:moveTo>
                      <a:pt x="1314" y="1577"/>
                    </a:moveTo>
                    <a:lnTo>
                      <a:pt x="1315" y="1577"/>
                    </a:lnTo>
                    <a:lnTo>
                      <a:pt x="1314" y="1577"/>
                    </a:lnTo>
                    <a:close/>
                    <a:moveTo>
                      <a:pt x="1207" y="1507"/>
                    </a:moveTo>
                    <a:lnTo>
                      <a:pt x="1208" y="1507"/>
                    </a:lnTo>
                    <a:lnTo>
                      <a:pt x="1207" y="1507"/>
                    </a:lnTo>
                    <a:close/>
                    <a:moveTo>
                      <a:pt x="1380" y="1660"/>
                    </a:moveTo>
                    <a:lnTo>
                      <a:pt x="1380" y="1662"/>
                    </a:lnTo>
                    <a:lnTo>
                      <a:pt x="1380" y="1660"/>
                    </a:lnTo>
                    <a:close/>
                    <a:moveTo>
                      <a:pt x="1224" y="1572"/>
                    </a:moveTo>
                    <a:lnTo>
                      <a:pt x="1225" y="1572"/>
                    </a:lnTo>
                    <a:lnTo>
                      <a:pt x="1224" y="1572"/>
                    </a:lnTo>
                    <a:close/>
                    <a:moveTo>
                      <a:pt x="1331" y="1648"/>
                    </a:moveTo>
                    <a:lnTo>
                      <a:pt x="1332" y="1648"/>
                    </a:lnTo>
                    <a:lnTo>
                      <a:pt x="1331" y="1648"/>
                    </a:lnTo>
                    <a:close/>
                    <a:moveTo>
                      <a:pt x="1198" y="1549"/>
                    </a:moveTo>
                    <a:lnTo>
                      <a:pt x="1200" y="1549"/>
                    </a:lnTo>
                    <a:lnTo>
                      <a:pt x="1198" y="1549"/>
                    </a:lnTo>
                    <a:close/>
                    <a:moveTo>
                      <a:pt x="1174" y="1435"/>
                    </a:moveTo>
                    <a:lnTo>
                      <a:pt x="1174" y="1437"/>
                    </a:lnTo>
                    <a:lnTo>
                      <a:pt x="1174" y="1435"/>
                    </a:lnTo>
                    <a:close/>
                    <a:moveTo>
                      <a:pt x="1176" y="1255"/>
                    </a:moveTo>
                    <a:lnTo>
                      <a:pt x="1178" y="1255"/>
                    </a:lnTo>
                    <a:lnTo>
                      <a:pt x="1176" y="1255"/>
                    </a:lnTo>
                    <a:close/>
                    <a:moveTo>
                      <a:pt x="1156" y="1191"/>
                    </a:moveTo>
                    <a:lnTo>
                      <a:pt x="1157" y="1191"/>
                    </a:lnTo>
                    <a:lnTo>
                      <a:pt x="1156" y="1191"/>
                    </a:lnTo>
                    <a:close/>
                    <a:moveTo>
                      <a:pt x="1208" y="956"/>
                    </a:moveTo>
                    <a:lnTo>
                      <a:pt x="1210" y="956"/>
                    </a:lnTo>
                    <a:lnTo>
                      <a:pt x="1208" y="956"/>
                    </a:lnTo>
                    <a:close/>
                    <a:moveTo>
                      <a:pt x="1220" y="1563"/>
                    </a:moveTo>
                    <a:lnTo>
                      <a:pt x="1222" y="1563"/>
                    </a:lnTo>
                    <a:lnTo>
                      <a:pt x="1220" y="1563"/>
                    </a:lnTo>
                    <a:close/>
                    <a:moveTo>
                      <a:pt x="1207" y="949"/>
                    </a:moveTo>
                    <a:lnTo>
                      <a:pt x="1207" y="951"/>
                    </a:lnTo>
                    <a:lnTo>
                      <a:pt x="1207" y="949"/>
                    </a:lnTo>
                    <a:close/>
                    <a:moveTo>
                      <a:pt x="1220" y="1056"/>
                    </a:moveTo>
                    <a:lnTo>
                      <a:pt x="1222" y="1056"/>
                    </a:lnTo>
                    <a:lnTo>
                      <a:pt x="1222" y="1058"/>
                    </a:lnTo>
                    <a:lnTo>
                      <a:pt x="1220" y="1058"/>
                    </a:lnTo>
                    <a:lnTo>
                      <a:pt x="1220" y="1056"/>
                    </a:lnTo>
                    <a:close/>
                    <a:moveTo>
                      <a:pt x="1232" y="1575"/>
                    </a:moveTo>
                    <a:lnTo>
                      <a:pt x="1234" y="1575"/>
                    </a:lnTo>
                    <a:lnTo>
                      <a:pt x="1232" y="1575"/>
                    </a:lnTo>
                    <a:close/>
                    <a:moveTo>
                      <a:pt x="1378" y="1665"/>
                    </a:moveTo>
                    <a:lnTo>
                      <a:pt x="1378" y="1667"/>
                    </a:lnTo>
                    <a:lnTo>
                      <a:pt x="1378" y="1665"/>
                    </a:lnTo>
                    <a:close/>
                    <a:moveTo>
                      <a:pt x="1227" y="1556"/>
                    </a:moveTo>
                    <a:lnTo>
                      <a:pt x="1229" y="1556"/>
                    </a:lnTo>
                    <a:lnTo>
                      <a:pt x="1229" y="1558"/>
                    </a:lnTo>
                    <a:lnTo>
                      <a:pt x="1227" y="1558"/>
                    </a:lnTo>
                    <a:lnTo>
                      <a:pt x="1227" y="1556"/>
                    </a:lnTo>
                    <a:close/>
                    <a:moveTo>
                      <a:pt x="1229" y="1534"/>
                    </a:moveTo>
                    <a:lnTo>
                      <a:pt x="1229" y="1536"/>
                    </a:lnTo>
                    <a:lnTo>
                      <a:pt x="1229" y="1534"/>
                    </a:lnTo>
                    <a:close/>
                    <a:moveTo>
                      <a:pt x="1183" y="1461"/>
                    </a:moveTo>
                    <a:lnTo>
                      <a:pt x="1185" y="1461"/>
                    </a:lnTo>
                    <a:lnTo>
                      <a:pt x="1185" y="1463"/>
                    </a:lnTo>
                    <a:lnTo>
                      <a:pt x="1183" y="1463"/>
                    </a:lnTo>
                    <a:lnTo>
                      <a:pt x="1183" y="1461"/>
                    </a:lnTo>
                    <a:close/>
                    <a:moveTo>
                      <a:pt x="1183" y="1298"/>
                    </a:moveTo>
                    <a:lnTo>
                      <a:pt x="1183" y="1299"/>
                    </a:lnTo>
                    <a:lnTo>
                      <a:pt x="1183" y="1298"/>
                    </a:lnTo>
                    <a:close/>
                    <a:moveTo>
                      <a:pt x="1227" y="1522"/>
                    </a:moveTo>
                    <a:lnTo>
                      <a:pt x="1229" y="1522"/>
                    </a:lnTo>
                    <a:lnTo>
                      <a:pt x="1229" y="1524"/>
                    </a:lnTo>
                    <a:lnTo>
                      <a:pt x="1227" y="1524"/>
                    </a:lnTo>
                    <a:lnTo>
                      <a:pt x="1227" y="1522"/>
                    </a:lnTo>
                    <a:close/>
                    <a:moveTo>
                      <a:pt x="1203" y="1541"/>
                    </a:moveTo>
                    <a:lnTo>
                      <a:pt x="1205" y="1541"/>
                    </a:lnTo>
                    <a:lnTo>
                      <a:pt x="1203" y="1541"/>
                    </a:lnTo>
                    <a:close/>
                    <a:moveTo>
                      <a:pt x="1256" y="1524"/>
                    </a:moveTo>
                    <a:lnTo>
                      <a:pt x="1256" y="1526"/>
                    </a:lnTo>
                    <a:lnTo>
                      <a:pt x="1256" y="1524"/>
                    </a:lnTo>
                    <a:close/>
                    <a:moveTo>
                      <a:pt x="1307" y="1643"/>
                    </a:moveTo>
                    <a:lnTo>
                      <a:pt x="1307" y="1645"/>
                    </a:lnTo>
                    <a:lnTo>
                      <a:pt x="1307" y="1643"/>
                    </a:lnTo>
                    <a:close/>
                    <a:moveTo>
                      <a:pt x="1210" y="1502"/>
                    </a:moveTo>
                    <a:lnTo>
                      <a:pt x="1212" y="1502"/>
                    </a:lnTo>
                    <a:lnTo>
                      <a:pt x="1210" y="1502"/>
                    </a:lnTo>
                    <a:close/>
                    <a:moveTo>
                      <a:pt x="1179" y="1432"/>
                    </a:moveTo>
                    <a:lnTo>
                      <a:pt x="1179" y="1434"/>
                    </a:lnTo>
                    <a:lnTo>
                      <a:pt x="1179" y="1432"/>
                    </a:lnTo>
                    <a:close/>
                    <a:moveTo>
                      <a:pt x="1365" y="1665"/>
                    </a:moveTo>
                    <a:lnTo>
                      <a:pt x="1365" y="1667"/>
                    </a:lnTo>
                    <a:lnTo>
                      <a:pt x="1365" y="1665"/>
                    </a:lnTo>
                    <a:close/>
                    <a:moveTo>
                      <a:pt x="1234" y="1077"/>
                    </a:moveTo>
                    <a:lnTo>
                      <a:pt x="1234" y="1078"/>
                    </a:lnTo>
                    <a:lnTo>
                      <a:pt x="1234" y="1077"/>
                    </a:lnTo>
                    <a:close/>
                    <a:moveTo>
                      <a:pt x="1173" y="1466"/>
                    </a:moveTo>
                    <a:lnTo>
                      <a:pt x="1173" y="1468"/>
                    </a:lnTo>
                    <a:lnTo>
                      <a:pt x="1173" y="1466"/>
                    </a:lnTo>
                    <a:close/>
                    <a:moveTo>
                      <a:pt x="1220" y="1558"/>
                    </a:moveTo>
                    <a:lnTo>
                      <a:pt x="1220" y="1560"/>
                    </a:lnTo>
                    <a:lnTo>
                      <a:pt x="1220" y="1558"/>
                    </a:lnTo>
                    <a:close/>
                    <a:moveTo>
                      <a:pt x="1300" y="1618"/>
                    </a:moveTo>
                    <a:lnTo>
                      <a:pt x="1300" y="1619"/>
                    </a:lnTo>
                    <a:lnTo>
                      <a:pt x="1300" y="1618"/>
                    </a:lnTo>
                    <a:close/>
                    <a:moveTo>
                      <a:pt x="1230" y="1558"/>
                    </a:moveTo>
                    <a:lnTo>
                      <a:pt x="1232" y="1558"/>
                    </a:lnTo>
                    <a:lnTo>
                      <a:pt x="1230" y="1558"/>
                    </a:lnTo>
                    <a:close/>
                    <a:moveTo>
                      <a:pt x="1212" y="1257"/>
                    </a:moveTo>
                    <a:lnTo>
                      <a:pt x="1212" y="1259"/>
                    </a:lnTo>
                    <a:lnTo>
                      <a:pt x="1212" y="1257"/>
                    </a:lnTo>
                    <a:close/>
                    <a:moveTo>
                      <a:pt x="1210" y="1509"/>
                    </a:moveTo>
                    <a:lnTo>
                      <a:pt x="1212" y="1509"/>
                    </a:lnTo>
                    <a:lnTo>
                      <a:pt x="1210" y="1509"/>
                    </a:lnTo>
                    <a:close/>
                    <a:moveTo>
                      <a:pt x="1219" y="1568"/>
                    </a:moveTo>
                    <a:lnTo>
                      <a:pt x="1220" y="1568"/>
                    </a:lnTo>
                    <a:lnTo>
                      <a:pt x="1219" y="1568"/>
                    </a:lnTo>
                    <a:close/>
                    <a:moveTo>
                      <a:pt x="1186" y="1383"/>
                    </a:moveTo>
                    <a:lnTo>
                      <a:pt x="1188" y="1383"/>
                    </a:lnTo>
                    <a:lnTo>
                      <a:pt x="1186" y="1383"/>
                    </a:lnTo>
                    <a:close/>
                    <a:moveTo>
                      <a:pt x="1183" y="1420"/>
                    </a:moveTo>
                    <a:lnTo>
                      <a:pt x="1185" y="1420"/>
                    </a:lnTo>
                    <a:lnTo>
                      <a:pt x="1183" y="1420"/>
                    </a:lnTo>
                    <a:close/>
                    <a:moveTo>
                      <a:pt x="1200" y="1145"/>
                    </a:moveTo>
                    <a:lnTo>
                      <a:pt x="1200" y="1146"/>
                    </a:lnTo>
                    <a:lnTo>
                      <a:pt x="1200" y="1145"/>
                    </a:lnTo>
                    <a:close/>
                    <a:moveTo>
                      <a:pt x="1205" y="1505"/>
                    </a:moveTo>
                    <a:lnTo>
                      <a:pt x="1205" y="1507"/>
                    </a:lnTo>
                    <a:lnTo>
                      <a:pt x="1205" y="1505"/>
                    </a:lnTo>
                    <a:close/>
                    <a:moveTo>
                      <a:pt x="1232" y="1575"/>
                    </a:moveTo>
                    <a:lnTo>
                      <a:pt x="1234" y="1575"/>
                    </a:lnTo>
                    <a:lnTo>
                      <a:pt x="1232" y="1575"/>
                    </a:lnTo>
                    <a:close/>
                    <a:moveTo>
                      <a:pt x="1234" y="1453"/>
                    </a:moveTo>
                    <a:lnTo>
                      <a:pt x="1234" y="1454"/>
                    </a:lnTo>
                    <a:lnTo>
                      <a:pt x="1234" y="1453"/>
                    </a:lnTo>
                    <a:close/>
                    <a:moveTo>
                      <a:pt x="1242" y="1497"/>
                    </a:moveTo>
                    <a:lnTo>
                      <a:pt x="1244" y="1497"/>
                    </a:lnTo>
                    <a:lnTo>
                      <a:pt x="1244" y="1498"/>
                    </a:lnTo>
                    <a:lnTo>
                      <a:pt x="1242" y="1498"/>
                    </a:lnTo>
                    <a:lnTo>
                      <a:pt x="1242" y="1497"/>
                    </a:lnTo>
                    <a:close/>
                    <a:moveTo>
                      <a:pt x="1219" y="1505"/>
                    </a:moveTo>
                    <a:lnTo>
                      <a:pt x="1220" y="1505"/>
                    </a:lnTo>
                    <a:lnTo>
                      <a:pt x="1219" y="1505"/>
                    </a:lnTo>
                    <a:close/>
                    <a:moveTo>
                      <a:pt x="1191" y="1117"/>
                    </a:moveTo>
                    <a:lnTo>
                      <a:pt x="1191" y="1119"/>
                    </a:lnTo>
                    <a:lnTo>
                      <a:pt x="1191" y="1117"/>
                    </a:lnTo>
                    <a:close/>
                    <a:moveTo>
                      <a:pt x="1166" y="1361"/>
                    </a:moveTo>
                    <a:lnTo>
                      <a:pt x="1166" y="1362"/>
                    </a:lnTo>
                    <a:lnTo>
                      <a:pt x="1166" y="1361"/>
                    </a:lnTo>
                    <a:close/>
                    <a:moveTo>
                      <a:pt x="1147" y="1286"/>
                    </a:moveTo>
                    <a:lnTo>
                      <a:pt x="1149" y="1286"/>
                    </a:lnTo>
                    <a:lnTo>
                      <a:pt x="1147" y="1286"/>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9" name="Freeform 22">
                <a:extLst>
                  <a:ext uri="{FF2B5EF4-FFF2-40B4-BE49-F238E27FC236}">
                    <a16:creationId xmlns:a16="http://schemas.microsoft.com/office/drawing/2014/main" id="{ABB17541-DEE1-3AAC-CA02-947BFF781BB9}"/>
                  </a:ext>
                </a:extLst>
              </p:cNvPr>
              <p:cNvSpPr>
                <a:spLocks noEditPoints="1"/>
              </p:cNvSpPr>
              <p:nvPr/>
            </p:nvSpPr>
            <p:spPr bwMode="auto">
              <a:xfrm>
                <a:off x="5567851" y="2812604"/>
                <a:ext cx="147740" cy="176230"/>
              </a:xfrm>
              <a:custGeom>
                <a:avLst/>
                <a:gdLst>
                  <a:gd name="T0" fmla="*/ 304 w 503"/>
                  <a:gd name="T1" fmla="*/ 93 h 600"/>
                  <a:gd name="T2" fmla="*/ 290 w 503"/>
                  <a:gd name="T3" fmla="*/ 132 h 600"/>
                  <a:gd name="T4" fmla="*/ 301 w 503"/>
                  <a:gd name="T5" fmla="*/ 146 h 600"/>
                  <a:gd name="T6" fmla="*/ 312 w 503"/>
                  <a:gd name="T7" fmla="*/ 187 h 600"/>
                  <a:gd name="T8" fmla="*/ 326 w 503"/>
                  <a:gd name="T9" fmla="*/ 217 h 600"/>
                  <a:gd name="T10" fmla="*/ 365 w 503"/>
                  <a:gd name="T11" fmla="*/ 219 h 600"/>
                  <a:gd name="T12" fmla="*/ 420 w 503"/>
                  <a:gd name="T13" fmla="*/ 251 h 600"/>
                  <a:gd name="T14" fmla="*/ 464 w 503"/>
                  <a:gd name="T15" fmla="*/ 246 h 600"/>
                  <a:gd name="T16" fmla="*/ 476 w 503"/>
                  <a:gd name="T17" fmla="*/ 267 h 600"/>
                  <a:gd name="T18" fmla="*/ 469 w 503"/>
                  <a:gd name="T19" fmla="*/ 301 h 600"/>
                  <a:gd name="T20" fmla="*/ 482 w 503"/>
                  <a:gd name="T21" fmla="*/ 335 h 600"/>
                  <a:gd name="T22" fmla="*/ 482 w 503"/>
                  <a:gd name="T23" fmla="*/ 369 h 600"/>
                  <a:gd name="T24" fmla="*/ 499 w 503"/>
                  <a:gd name="T25" fmla="*/ 401 h 600"/>
                  <a:gd name="T26" fmla="*/ 493 w 503"/>
                  <a:gd name="T27" fmla="*/ 398 h 600"/>
                  <a:gd name="T28" fmla="*/ 469 w 503"/>
                  <a:gd name="T29" fmla="*/ 393 h 600"/>
                  <a:gd name="T30" fmla="*/ 457 w 503"/>
                  <a:gd name="T31" fmla="*/ 398 h 600"/>
                  <a:gd name="T32" fmla="*/ 401 w 503"/>
                  <a:gd name="T33" fmla="*/ 415 h 600"/>
                  <a:gd name="T34" fmla="*/ 426 w 503"/>
                  <a:gd name="T35" fmla="*/ 435 h 600"/>
                  <a:gd name="T36" fmla="*/ 397 w 503"/>
                  <a:gd name="T37" fmla="*/ 437 h 600"/>
                  <a:gd name="T38" fmla="*/ 411 w 503"/>
                  <a:gd name="T39" fmla="*/ 478 h 600"/>
                  <a:gd name="T40" fmla="*/ 411 w 503"/>
                  <a:gd name="T41" fmla="*/ 529 h 600"/>
                  <a:gd name="T42" fmla="*/ 375 w 503"/>
                  <a:gd name="T43" fmla="*/ 587 h 600"/>
                  <a:gd name="T44" fmla="*/ 386 w 503"/>
                  <a:gd name="T45" fmla="*/ 542 h 600"/>
                  <a:gd name="T46" fmla="*/ 358 w 503"/>
                  <a:gd name="T47" fmla="*/ 534 h 600"/>
                  <a:gd name="T48" fmla="*/ 336 w 503"/>
                  <a:gd name="T49" fmla="*/ 530 h 600"/>
                  <a:gd name="T50" fmla="*/ 309 w 503"/>
                  <a:gd name="T51" fmla="*/ 537 h 600"/>
                  <a:gd name="T52" fmla="*/ 292 w 503"/>
                  <a:gd name="T53" fmla="*/ 520 h 600"/>
                  <a:gd name="T54" fmla="*/ 275 w 503"/>
                  <a:gd name="T55" fmla="*/ 502 h 600"/>
                  <a:gd name="T56" fmla="*/ 253 w 503"/>
                  <a:gd name="T57" fmla="*/ 488 h 600"/>
                  <a:gd name="T58" fmla="*/ 238 w 503"/>
                  <a:gd name="T59" fmla="*/ 469 h 600"/>
                  <a:gd name="T60" fmla="*/ 207 w 503"/>
                  <a:gd name="T61" fmla="*/ 457 h 600"/>
                  <a:gd name="T62" fmla="*/ 175 w 503"/>
                  <a:gd name="T63" fmla="*/ 449 h 600"/>
                  <a:gd name="T64" fmla="*/ 144 w 503"/>
                  <a:gd name="T65" fmla="*/ 442 h 600"/>
                  <a:gd name="T66" fmla="*/ 120 w 503"/>
                  <a:gd name="T67" fmla="*/ 425 h 600"/>
                  <a:gd name="T68" fmla="*/ 91 w 503"/>
                  <a:gd name="T69" fmla="*/ 401 h 600"/>
                  <a:gd name="T70" fmla="*/ 107 w 503"/>
                  <a:gd name="T71" fmla="*/ 391 h 600"/>
                  <a:gd name="T72" fmla="*/ 110 w 503"/>
                  <a:gd name="T73" fmla="*/ 369 h 600"/>
                  <a:gd name="T74" fmla="*/ 120 w 503"/>
                  <a:gd name="T75" fmla="*/ 367 h 600"/>
                  <a:gd name="T76" fmla="*/ 136 w 503"/>
                  <a:gd name="T77" fmla="*/ 364 h 600"/>
                  <a:gd name="T78" fmla="*/ 141 w 503"/>
                  <a:gd name="T79" fmla="*/ 347 h 600"/>
                  <a:gd name="T80" fmla="*/ 154 w 503"/>
                  <a:gd name="T81" fmla="*/ 328 h 600"/>
                  <a:gd name="T82" fmla="*/ 149 w 503"/>
                  <a:gd name="T83" fmla="*/ 323 h 600"/>
                  <a:gd name="T84" fmla="*/ 149 w 503"/>
                  <a:gd name="T85" fmla="*/ 303 h 600"/>
                  <a:gd name="T86" fmla="*/ 142 w 503"/>
                  <a:gd name="T87" fmla="*/ 270 h 600"/>
                  <a:gd name="T88" fmla="*/ 146 w 503"/>
                  <a:gd name="T89" fmla="*/ 245 h 600"/>
                  <a:gd name="T90" fmla="*/ 136 w 503"/>
                  <a:gd name="T91" fmla="*/ 223 h 600"/>
                  <a:gd name="T92" fmla="*/ 141 w 503"/>
                  <a:gd name="T93" fmla="*/ 202 h 600"/>
                  <a:gd name="T94" fmla="*/ 148 w 503"/>
                  <a:gd name="T95" fmla="*/ 173 h 600"/>
                  <a:gd name="T96" fmla="*/ 161 w 503"/>
                  <a:gd name="T97" fmla="*/ 178 h 600"/>
                  <a:gd name="T98" fmla="*/ 168 w 503"/>
                  <a:gd name="T99" fmla="*/ 187 h 600"/>
                  <a:gd name="T100" fmla="*/ 180 w 503"/>
                  <a:gd name="T101" fmla="*/ 156 h 600"/>
                  <a:gd name="T102" fmla="*/ 207 w 503"/>
                  <a:gd name="T103" fmla="*/ 136 h 600"/>
                  <a:gd name="T104" fmla="*/ 209 w 503"/>
                  <a:gd name="T105" fmla="*/ 110 h 600"/>
                  <a:gd name="T106" fmla="*/ 212 w 503"/>
                  <a:gd name="T107" fmla="*/ 97 h 600"/>
                  <a:gd name="T108" fmla="*/ 243 w 503"/>
                  <a:gd name="T109" fmla="*/ 83 h 600"/>
                  <a:gd name="T110" fmla="*/ 267 w 503"/>
                  <a:gd name="T111" fmla="*/ 73 h 600"/>
                  <a:gd name="T112" fmla="*/ 304 w 503"/>
                  <a:gd name="T113" fmla="*/ 59 h 600"/>
                  <a:gd name="T114" fmla="*/ 333 w 503"/>
                  <a:gd name="T115" fmla="*/ 41 h 600"/>
                  <a:gd name="T116" fmla="*/ 340 w 503"/>
                  <a:gd name="T117" fmla="*/ 34 h 600"/>
                  <a:gd name="T118" fmla="*/ 350 w 503"/>
                  <a:gd name="T119" fmla="*/ 54 h 600"/>
                  <a:gd name="T120" fmla="*/ 158 w 503"/>
                  <a:gd name="T121" fmla="*/ 325 h 600"/>
                  <a:gd name="T122" fmla="*/ 100 w 503"/>
                  <a:gd name="T123" fmla="*/ 396 h 600"/>
                  <a:gd name="T124" fmla="*/ 142 w 503"/>
                  <a:gd name="T125" fmla="*/ 318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3" h="600">
                    <a:moveTo>
                      <a:pt x="350" y="54"/>
                    </a:moveTo>
                    <a:lnTo>
                      <a:pt x="346" y="56"/>
                    </a:lnTo>
                    <a:lnTo>
                      <a:pt x="341" y="58"/>
                    </a:lnTo>
                    <a:lnTo>
                      <a:pt x="336" y="59"/>
                    </a:lnTo>
                    <a:lnTo>
                      <a:pt x="329" y="61"/>
                    </a:lnTo>
                    <a:lnTo>
                      <a:pt x="329" y="63"/>
                    </a:lnTo>
                    <a:lnTo>
                      <a:pt x="328" y="64"/>
                    </a:lnTo>
                    <a:lnTo>
                      <a:pt x="328" y="66"/>
                    </a:lnTo>
                    <a:lnTo>
                      <a:pt x="326" y="68"/>
                    </a:lnTo>
                    <a:lnTo>
                      <a:pt x="326" y="69"/>
                    </a:lnTo>
                    <a:lnTo>
                      <a:pt x="324" y="69"/>
                    </a:lnTo>
                    <a:lnTo>
                      <a:pt x="324" y="71"/>
                    </a:lnTo>
                    <a:lnTo>
                      <a:pt x="323" y="75"/>
                    </a:lnTo>
                    <a:lnTo>
                      <a:pt x="321" y="78"/>
                    </a:lnTo>
                    <a:lnTo>
                      <a:pt x="319" y="78"/>
                    </a:lnTo>
                    <a:lnTo>
                      <a:pt x="318" y="78"/>
                    </a:lnTo>
                    <a:lnTo>
                      <a:pt x="316" y="78"/>
                    </a:lnTo>
                    <a:lnTo>
                      <a:pt x="314" y="78"/>
                    </a:lnTo>
                    <a:lnTo>
                      <a:pt x="314" y="80"/>
                    </a:lnTo>
                    <a:lnTo>
                      <a:pt x="314" y="78"/>
                    </a:lnTo>
                    <a:lnTo>
                      <a:pt x="312" y="80"/>
                    </a:lnTo>
                    <a:lnTo>
                      <a:pt x="312" y="81"/>
                    </a:lnTo>
                    <a:lnTo>
                      <a:pt x="311" y="83"/>
                    </a:lnTo>
                    <a:lnTo>
                      <a:pt x="311" y="85"/>
                    </a:lnTo>
                    <a:lnTo>
                      <a:pt x="309" y="86"/>
                    </a:lnTo>
                    <a:lnTo>
                      <a:pt x="307" y="86"/>
                    </a:lnTo>
                    <a:lnTo>
                      <a:pt x="306" y="88"/>
                    </a:lnTo>
                    <a:lnTo>
                      <a:pt x="306" y="90"/>
                    </a:lnTo>
                    <a:lnTo>
                      <a:pt x="306" y="92"/>
                    </a:lnTo>
                    <a:lnTo>
                      <a:pt x="304" y="92"/>
                    </a:lnTo>
                    <a:lnTo>
                      <a:pt x="304" y="93"/>
                    </a:lnTo>
                    <a:lnTo>
                      <a:pt x="304" y="95"/>
                    </a:lnTo>
                    <a:lnTo>
                      <a:pt x="304" y="97"/>
                    </a:lnTo>
                    <a:lnTo>
                      <a:pt x="302" y="97"/>
                    </a:lnTo>
                    <a:lnTo>
                      <a:pt x="301" y="98"/>
                    </a:lnTo>
                    <a:lnTo>
                      <a:pt x="301" y="100"/>
                    </a:lnTo>
                    <a:lnTo>
                      <a:pt x="301" y="102"/>
                    </a:lnTo>
                    <a:lnTo>
                      <a:pt x="299" y="102"/>
                    </a:lnTo>
                    <a:lnTo>
                      <a:pt x="299" y="103"/>
                    </a:lnTo>
                    <a:lnTo>
                      <a:pt x="299" y="105"/>
                    </a:lnTo>
                    <a:lnTo>
                      <a:pt x="299" y="107"/>
                    </a:lnTo>
                    <a:lnTo>
                      <a:pt x="299" y="109"/>
                    </a:lnTo>
                    <a:lnTo>
                      <a:pt x="299" y="110"/>
                    </a:lnTo>
                    <a:lnTo>
                      <a:pt x="299" y="112"/>
                    </a:lnTo>
                    <a:lnTo>
                      <a:pt x="297" y="112"/>
                    </a:lnTo>
                    <a:lnTo>
                      <a:pt x="299" y="114"/>
                    </a:lnTo>
                    <a:lnTo>
                      <a:pt x="297" y="114"/>
                    </a:lnTo>
                    <a:lnTo>
                      <a:pt x="297" y="115"/>
                    </a:lnTo>
                    <a:lnTo>
                      <a:pt x="297" y="117"/>
                    </a:lnTo>
                    <a:lnTo>
                      <a:pt x="295" y="117"/>
                    </a:lnTo>
                    <a:lnTo>
                      <a:pt x="295" y="119"/>
                    </a:lnTo>
                    <a:lnTo>
                      <a:pt x="295" y="120"/>
                    </a:lnTo>
                    <a:lnTo>
                      <a:pt x="295" y="122"/>
                    </a:lnTo>
                    <a:lnTo>
                      <a:pt x="297" y="122"/>
                    </a:lnTo>
                    <a:lnTo>
                      <a:pt x="297" y="124"/>
                    </a:lnTo>
                    <a:lnTo>
                      <a:pt x="295" y="124"/>
                    </a:lnTo>
                    <a:lnTo>
                      <a:pt x="295" y="126"/>
                    </a:lnTo>
                    <a:lnTo>
                      <a:pt x="294" y="127"/>
                    </a:lnTo>
                    <a:lnTo>
                      <a:pt x="294" y="129"/>
                    </a:lnTo>
                    <a:lnTo>
                      <a:pt x="292" y="129"/>
                    </a:lnTo>
                    <a:lnTo>
                      <a:pt x="292" y="131"/>
                    </a:lnTo>
                    <a:lnTo>
                      <a:pt x="290" y="132"/>
                    </a:lnTo>
                    <a:lnTo>
                      <a:pt x="290" y="134"/>
                    </a:lnTo>
                    <a:lnTo>
                      <a:pt x="289" y="134"/>
                    </a:lnTo>
                    <a:lnTo>
                      <a:pt x="289" y="136"/>
                    </a:lnTo>
                    <a:lnTo>
                      <a:pt x="289" y="138"/>
                    </a:lnTo>
                    <a:lnTo>
                      <a:pt x="287" y="138"/>
                    </a:lnTo>
                    <a:lnTo>
                      <a:pt x="287" y="139"/>
                    </a:lnTo>
                    <a:lnTo>
                      <a:pt x="285" y="141"/>
                    </a:lnTo>
                    <a:lnTo>
                      <a:pt x="285" y="143"/>
                    </a:lnTo>
                    <a:lnTo>
                      <a:pt x="284" y="143"/>
                    </a:lnTo>
                    <a:lnTo>
                      <a:pt x="284" y="144"/>
                    </a:lnTo>
                    <a:lnTo>
                      <a:pt x="284" y="146"/>
                    </a:lnTo>
                    <a:lnTo>
                      <a:pt x="285" y="146"/>
                    </a:lnTo>
                    <a:lnTo>
                      <a:pt x="287" y="146"/>
                    </a:lnTo>
                    <a:lnTo>
                      <a:pt x="289" y="146"/>
                    </a:lnTo>
                    <a:lnTo>
                      <a:pt x="290" y="144"/>
                    </a:lnTo>
                    <a:lnTo>
                      <a:pt x="292" y="144"/>
                    </a:lnTo>
                    <a:lnTo>
                      <a:pt x="292" y="143"/>
                    </a:lnTo>
                    <a:lnTo>
                      <a:pt x="294" y="143"/>
                    </a:lnTo>
                    <a:lnTo>
                      <a:pt x="295" y="141"/>
                    </a:lnTo>
                    <a:lnTo>
                      <a:pt x="295" y="143"/>
                    </a:lnTo>
                    <a:lnTo>
                      <a:pt x="295" y="144"/>
                    </a:lnTo>
                    <a:lnTo>
                      <a:pt x="295" y="146"/>
                    </a:lnTo>
                    <a:lnTo>
                      <a:pt x="297" y="146"/>
                    </a:lnTo>
                    <a:lnTo>
                      <a:pt x="295" y="146"/>
                    </a:lnTo>
                    <a:lnTo>
                      <a:pt x="295" y="148"/>
                    </a:lnTo>
                    <a:lnTo>
                      <a:pt x="297" y="148"/>
                    </a:lnTo>
                    <a:lnTo>
                      <a:pt x="297" y="149"/>
                    </a:lnTo>
                    <a:lnTo>
                      <a:pt x="297" y="148"/>
                    </a:lnTo>
                    <a:lnTo>
                      <a:pt x="299" y="148"/>
                    </a:lnTo>
                    <a:lnTo>
                      <a:pt x="301" y="148"/>
                    </a:lnTo>
                    <a:lnTo>
                      <a:pt x="301" y="146"/>
                    </a:lnTo>
                    <a:lnTo>
                      <a:pt x="301" y="148"/>
                    </a:lnTo>
                    <a:lnTo>
                      <a:pt x="302" y="148"/>
                    </a:lnTo>
                    <a:lnTo>
                      <a:pt x="302" y="149"/>
                    </a:lnTo>
                    <a:lnTo>
                      <a:pt x="304" y="151"/>
                    </a:lnTo>
                    <a:lnTo>
                      <a:pt x="304" y="153"/>
                    </a:lnTo>
                    <a:lnTo>
                      <a:pt x="304" y="155"/>
                    </a:lnTo>
                    <a:lnTo>
                      <a:pt x="306" y="160"/>
                    </a:lnTo>
                    <a:lnTo>
                      <a:pt x="306" y="163"/>
                    </a:lnTo>
                    <a:lnTo>
                      <a:pt x="307" y="165"/>
                    </a:lnTo>
                    <a:lnTo>
                      <a:pt x="307" y="166"/>
                    </a:lnTo>
                    <a:lnTo>
                      <a:pt x="309" y="166"/>
                    </a:lnTo>
                    <a:lnTo>
                      <a:pt x="309" y="168"/>
                    </a:lnTo>
                    <a:lnTo>
                      <a:pt x="311" y="168"/>
                    </a:lnTo>
                    <a:lnTo>
                      <a:pt x="312" y="170"/>
                    </a:lnTo>
                    <a:lnTo>
                      <a:pt x="312" y="172"/>
                    </a:lnTo>
                    <a:lnTo>
                      <a:pt x="314" y="173"/>
                    </a:lnTo>
                    <a:lnTo>
                      <a:pt x="316" y="173"/>
                    </a:lnTo>
                    <a:lnTo>
                      <a:pt x="316" y="175"/>
                    </a:lnTo>
                    <a:lnTo>
                      <a:pt x="316" y="177"/>
                    </a:lnTo>
                    <a:lnTo>
                      <a:pt x="316" y="178"/>
                    </a:lnTo>
                    <a:lnTo>
                      <a:pt x="316" y="180"/>
                    </a:lnTo>
                    <a:lnTo>
                      <a:pt x="318" y="180"/>
                    </a:lnTo>
                    <a:lnTo>
                      <a:pt x="316" y="180"/>
                    </a:lnTo>
                    <a:lnTo>
                      <a:pt x="316" y="182"/>
                    </a:lnTo>
                    <a:lnTo>
                      <a:pt x="316" y="183"/>
                    </a:lnTo>
                    <a:lnTo>
                      <a:pt x="318" y="183"/>
                    </a:lnTo>
                    <a:lnTo>
                      <a:pt x="318" y="185"/>
                    </a:lnTo>
                    <a:lnTo>
                      <a:pt x="316" y="185"/>
                    </a:lnTo>
                    <a:lnTo>
                      <a:pt x="314" y="185"/>
                    </a:lnTo>
                    <a:lnTo>
                      <a:pt x="314" y="187"/>
                    </a:lnTo>
                    <a:lnTo>
                      <a:pt x="312" y="187"/>
                    </a:lnTo>
                    <a:lnTo>
                      <a:pt x="312" y="189"/>
                    </a:lnTo>
                    <a:lnTo>
                      <a:pt x="312" y="190"/>
                    </a:lnTo>
                    <a:lnTo>
                      <a:pt x="314" y="190"/>
                    </a:lnTo>
                    <a:lnTo>
                      <a:pt x="314" y="192"/>
                    </a:lnTo>
                    <a:lnTo>
                      <a:pt x="312" y="194"/>
                    </a:lnTo>
                    <a:lnTo>
                      <a:pt x="312" y="195"/>
                    </a:lnTo>
                    <a:lnTo>
                      <a:pt x="312" y="197"/>
                    </a:lnTo>
                    <a:lnTo>
                      <a:pt x="312" y="199"/>
                    </a:lnTo>
                    <a:lnTo>
                      <a:pt x="312" y="200"/>
                    </a:lnTo>
                    <a:lnTo>
                      <a:pt x="314" y="200"/>
                    </a:lnTo>
                    <a:lnTo>
                      <a:pt x="314" y="202"/>
                    </a:lnTo>
                    <a:lnTo>
                      <a:pt x="312" y="202"/>
                    </a:lnTo>
                    <a:lnTo>
                      <a:pt x="312" y="204"/>
                    </a:lnTo>
                    <a:lnTo>
                      <a:pt x="314" y="204"/>
                    </a:lnTo>
                    <a:lnTo>
                      <a:pt x="314" y="206"/>
                    </a:lnTo>
                    <a:lnTo>
                      <a:pt x="316" y="206"/>
                    </a:lnTo>
                    <a:lnTo>
                      <a:pt x="316" y="207"/>
                    </a:lnTo>
                    <a:lnTo>
                      <a:pt x="318" y="206"/>
                    </a:lnTo>
                    <a:lnTo>
                      <a:pt x="318" y="207"/>
                    </a:lnTo>
                    <a:lnTo>
                      <a:pt x="319" y="207"/>
                    </a:lnTo>
                    <a:lnTo>
                      <a:pt x="321" y="207"/>
                    </a:lnTo>
                    <a:lnTo>
                      <a:pt x="321" y="206"/>
                    </a:lnTo>
                    <a:lnTo>
                      <a:pt x="323" y="207"/>
                    </a:lnTo>
                    <a:lnTo>
                      <a:pt x="323" y="209"/>
                    </a:lnTo>
                    <a:lnTo>
                      <a:pt x="324" y="209"/>
                    </a:lnTo>
                    <a:lnTo>
                      <a:pt x="323" y="209"/>
                    </a:lnTo>
                    <a:lnTo>
                      <a:pt x="323" y="211"/>
                    </a:lnTo>
                    <a:lnTo>
                      <a:pt x="323" y="212"/>
                    </a:lnTo>
                    <a:lnTo>
                      <a:pt x="324" y="212"/>
                    </a:lnTo>
                    <a:lnTo>
                      <a:pt x="324" y="214"/>
                    </a:lnTo>
                    <a:lnTo>
                      <a:pt x="326" y="217"/>
                    </a:lnTo>
                    <a:lnTo>
                      <a:pt x="328" y="219"/>
                    </a:lnTo>
                    <a:lnTo>
                      <a:pt x="329" y="219"/>
                    </a:lnTo>
                    <a:lnTo>
                      <a:pt x="331" y="219"/>
                    </a:lnTo>
                    <a:lnTo>
                      <a:pt x="333" y="219"/>
                    </a:lnTo>
                    <a:lnTo>
                      <a:pt x="335" y="219"/>
                    </a:lnTo>
                    <a:lnTo>
                      <a:pt x="335" y="217"/>
                    </a:lnTo>
                    <a:lnTo>
                      <a:pt x="336" y="217"/>
                    </a:lnTo>
                    <a:lnTo>
                      <a:pt x="338" y="217"/>
                    </a:lnTo>
                    <a:lnTo>
                      <a:pt x="338" y="219"/>
                    </a:lnTo>
                    <a:lnTo>
                      <a:pt x="340" y="219"/>
                    </a:lnTo>
                    <a:lnTo>
                      <a:pt x="341" y="217"/>
                    </a:lnTo>
                    <a:lnTo>
                      <a:pt x="341" y="219"/>
                    </a:lnTo>
                    <a:lnTo>
                      <a:pt x="343" y="217"/>
                    </a:lnTo>
                    <a:lnTo>
                      <a:pt x="343" y="219"/>
                    </a:lnTo>
                    <a:lnTo>
                      <a:pt x="345" y="219"/>
                    </a:lnTo>
                    <a:lnTo>
                      <a:pt x="346" y="219"/>
                    </a:lnTo>
                    <a:lnTo>
                      <a:pt x="348" y="219"/>
                    </a:lnTo>
                    <a:lnTo>
                      <a:pt x="350" y="219"/>
                    </a:lnTo>
                    <a:lnTo>
                      <a:pt x="352" y="219"/>
                    </a:lnTo>
                    <a:lnTo>
                      <a:pt x="353" y="219"/>
                    </a:lnTo>
                    <a:lnTo>
                      <a:pt x="355" y="219"/>
                    </a:lnTo>
                    <a:lnTo>
                      <a:pt x="357" y="219"/>
                    </a:lnTo>
                    <a:lnTo>
                      <a:pt x="358" y="219"/>
                    </a:lnTo>
                    <a:lnTo>
                      <a:pt x="358" y="221"/>
                    </a:lnTo>
                    <a:lnTo>
                      <a:pt x="360" y="221"/>
                    </a:lnTo>
                    <a:lnTo>
                      <a:pt x="362" y="221"/>
                    </a:lnTo>
                    <a:lnTo>
                      <a:pt x="363" y="221"/>
                    </a:lnTo>
                    <a:lnTo>
                      <a:pt x="363" y="219"/>
                    </a:lnTo>
                    <a:lnTo>
                      <a:pt x="365" y="219"/>
                    </a:lnTo>
                    <a:lnTo>
                      <a:pt x="365" y="217"/>
                    </a:lnTo>
                    <a:lnTo>
                      <a:pt x="365" y="219"/>
                    </a:lnTo>
                    <a:lnTo>
                      <a:pt x="367" y="217"/>
                    </a:lnTo>
                    <a:lnTo>
                      <a:pt x="369" y="217"/>
                    </a:lnTo>
                    <a:lnTo>
                      <a:pt x="370" y="217"/>
                    </a:lnTo>
                    <a:lnTo>
                      <a:pt x="370" y="216"/>
                    </a:lnTo>
                    <a:lnTo>
                      <a:pt x="372" y="217"/>
                    </a:lnTo>
                    <a:lnTo>
                      <a:pt x="374" y="216"/>
                    </a:lnTo>
                    <a:lnTo>
                      <a:pt x="374" y="217"/>
                    </a:lnTo>
                    <a:lnTo>
                      <a:pt x="375" y="217"/>
                    </a:lnTo>
                    <a:lnTo>
                      <a:pt x="377" y="217"/>
                    </a:lnTo>
                    <a:lnTo>
                      <a:pt x="379" y="217"/>
                    </a:lnTo>
                    <a:lnTo>
                      <a:pt x="379" y="219"/>
                    </a:lnTo>
                    <a:lnTo>
                      <a:pt x="380" y="219"/>
                    </a:lnTo>
                    <a:lnTo>
                      <a:pt x="382" y="219"/>
                    </a:lnTo>
                    <a:lnTo>
                      <a:pt x="382" y="221"/>
                    </a:lnTo>
                    <a:lnTo>
                      <a:pt x="384" y="221"/>
                    </a:lnTo>
                    <a:lnTo>
                      <a:pt x="384" y="223"/>
                    </a:lnTo>
                    <a:lnTo>
                      <a:pt x="386" y="223"/>
                    </a:lnTo>
                    <a:lnTo>
                      <a:pt x="387" y="223"/>
                    </a:lnTo>
                    <a:lnTo>
                      <a:pt x="387" y="221"/>
                    </a:lnTo>
                    <a:lnTo>
                      <a:pt x="389" y="221"/>
                    </a:lnTo>
                    <a:lnTo>
                      <a:pt x="391" y="221"/>
                    </a:lnTo>
                    <a:lnTo>
                      <a:pt x="392" y="221"/>
                    </a:lnTo>
                    <a:lnTo>
                      <a:pt x="394" y="223"/>
                    </a:lnTo>
                    <a:lnTo>
                      <a:pt x="397" y="228"/>
                    </a:lnTo>
                    <a:lnTo>
                      <a:pt x="404" y="236"/>
                    </a:lnTo>
                    <a:lnTo>
                      <a:pt x="411" y="243"/>
                    </a:lnTo>
                    <a:lnTo>
                      <a:pt x="411" y="245"/>
                    </a:lnTo>
                    <a:lnTo>
                      <a:pt x="416" y="250"/>
                    </a:lnTo>
                    <a:lnTo>
                      <a:pt x="418" y="250"/>
                    </a:lnTo>
                    <a:lnTo>
                      <a:pt x="420" y="250"/>
                    </a:lnTo>
                    <a:lnTo>
                      <a:pt x="420" y="251"/>
                    </a:lnTo>
                    <a:lnTo>
                      <a:pt x="421" y="251"/>
                    </a:lnTo>
                    <a:lnTo>
                      <a:pt x="423" y="250"/>
                    </a:lnTo>
                    <a:lnTo>
                      <a:pt x="425" y="248"/>
                    </a:lnTo>
                    <a:lnTo>
                      <a:pt x="426" y="248"/>
                    </a:lnTo>
                    <a:lnTo>
                      <a:pt x="426" y="246"/>
                    </a:lnTo>
                    <a:lnTo>
                      <a:pt x="428" y="246"/>
                    </a:lnTo>
                    <a:lnTo>
                      <a:pt x="430" y="246"/>
                    </a:lnTo>
                    <a:lnTo>
                      <a:pt x="430" y="248"/>
                    </a:lnTo>
                    <a:lnTo>
                      <a:pt x="431" y="246"/>
                    </a:lnTo>
                    <a:lnTo>
                      <a:pt x="431" y="248"/>
                    </a:lnTo>
                    <a:lnTo>
                      <a:pt x="433" y="248"/>
                    </a:lnTo>
                    <a:lnTo>
                      <a:pt x="435" y="248"/>
                    </a:lnTo>
                    <a:lnTo>
                      <a:pt x="437" y="248"/>
                    </a:lnTo>
                    <a:lnTo>
                      <a:pt x="438" y="248"/>
                    </a:lnTo>
                    <a:lnTo>
                      <a:pt x="440" y="248"/>
                    </a:lnTo>
                    <a:lnTo>
                      <a:pt x="440" y="250"/>
                    </a:lnTo>
                    <a:lnTo>
                      <a:pt x="442" y="250"/>
                    </a:lnTo>
                    <a:lnTo>
                      <a:pt x="443" y="248"/>
                    </a:lnTo>
                    <a:lnTo>
                      <a:pt x="445" y="248"/>
                    </a:lnTo>
                    <a:lnTo>
                      <a:pt x="447" y="248"/>
                    </a:lnTo>
                    <a:lnTo>
                      <a:pt x="448" y="248"/>
                    </a:lnTo>
                    <a:lnTo>
                      <a:pt x="450" y="248"/>
                    </a:lnTo>
                    <a:lnTo>
                      <a:pt x="452" y="248"/>
                    </a:lnTo>
                    <a:lnTo>
                      <a:pt x="454" y="248"/>
                    </a:lnTo>
                    <a:lnTo>
                      <a:pt x="455" y="248"/>
                    </a:lnTo>
                    <a:lnTo>
                      <a:pt x="455" y="246"/>
                    </a:lnTo>
                    <a:lnTo>
                      <a:pt x="457" y="246"/>
                    </a:lnTo>
                    <a:lnTo>
                      <a:pt x="459" y="246"/>
                    </a:lnTo>
                    <a:lnTo>
                      <a:pt x="460" y="246"/>
                    </a:lnTo>
                    <a:lnTo>
                      <a:pt x="462" y="246"/>
                    </a:lnTo>
                    <a:lnTo>
                      <a:pt x="464" y="246"/>
                    </a:lnTo>
                    <a:lnTo>
                      <a:pt x="465" y="246"/>
                    </a:lnTo>
                    <a:lnTo>
                      <a:pt x="467" y="245"/>
                    </a:lnTo>
                    <a:lnTo>
                      <a:pt x="469" y="243"/>
                    </a:lnTo>
                    <a:lnTo>
                      <a:pt x="471" y="243"/>
                    </a:lnTo>
                    <a:lnTo>
                      <a:pt x="472" y="243"/>
                    </a:lnTo>
                    <a:lnTo>
                      <a:pt x="472" y="245"/>
                    </a:lnTo>
                    <a:lnTo>
                      <a:pt x="472" y="243"/>
                    </a:lnTo>
                    <a:lnTo>
                      <a:pt x="474" y="243"/>
                    </a:lnTo>
                    <a:lnTo>
                      <a:pt x="474" y="245"/>
                    </a:lnTo>
                    <a:lnTo>
                      <a:pt x="476" y="245"/>
                    </a:lnTo>
                    <a:lnTo>
                      <a:pt x="477" y="245"/>
                    </a:lnTo>
                    <a:lnTo>
                      <a:pt x="479" y="245"/>
                    </a:lnTo>
                    <a:lnTo>
                      <a:pt x="481" y="246"/>
                    </a:lnTo>
                    <a:lnTo>
                      <a:pt x="482" y="246"/>
                    </a:lnTo>
                    <a:lnTo>
                      <a:pt x="482" y="248"/>
                    </a:lnTo>
                    <a:lnTo>
                      <a:pt x="481" y="248"/>
                    </a:lnTo>
                    <a:lnTo>
                      <a:pt x="481" y="250"/>
                    </a:lnTo>
                    <a:lnTo>
                      <a:pt x="482" y="251"/>
                    </a:lnTo>
                    <a:lnTo>
                      <a:pt x="482" y="253"/>
                    </a:lnTo>
                    <a:lnTo>
                      <a:pt x="484" y="253"/>
                    </a:lnTo>
                    <a:lnTo>
                      <a:pt x="484" y="255"/>
                    </a:lnTo>
                    <a:lnTo>
                      <a:pt x="482" y="255"/>
                    </a:lnTo>
                    <a:lnTo>
                      <a:pt x="481" y="257"/>
                    </a:lnTo>
                    <a:lnTo>
                      <a:pt x="479" y="257"/>
                    </a:lnTo>
                    <a:lnTo>
                      <a:pt x="479" y="258"/>
                    </a:lnTo>
                    <a:lnTo>
                      <a:pt x="477" y="258"/>
                    </a:lnTo>
                    <a:lnTo>
                      <a:pt x="477" y="260"/>
                    </a:lnTo>
                    <a:lnTo>
                      <a:pt x="477" y="262"/>
                    </a:lnTo>
                    <a:lnTo>
                      <a:pt x="476" y="263"/>
                    </a:lnTo>
                    <a:lnTo>
                      <a:pt x="476" y="265"/>
                    </a:lnTo>
                    <a:lnTo>
                      <a:pt x="476" y="267"/>
                    </a:lnTo>
                    <a:lnTo>
                      <a:pt x="477" y="267"/>
                    </a:lnTo>
                    <a:lnTo>
                      <a:pt x="477" y="268"/>
                    </a:lnTo>
                    <a:lnTo>
                      <a:pt x="477" y="270"/>
                    </a:lnTo>
                    <a:lnTo>
                      <a:pt x="476" y="270"/>
                    </a:lnTo>
                    <a:lnTo>
                      <a:pt x="476" y="272"/>
                    </a:lnTo>
                    <a:lnTo>
                      <a:pt x="474" y="274"/>
                    </a:lnTo>
                    <a:lnTo>
                      <a:pt x="472" y="274"/>
                    </a:lnTo>
                    <a:lnTo>
                      <a:pt x="472" y="275"/>
                    </a:lnTo>
                    <a:lnTo>
                      <a:pt x="471" y="275"/>
                    </a:lnTo>
                    <a:lnTo>
                      <a:pt x="471" y="277"/>
                    </a:lnTo>
                    <a:lnTo>
                      <a:pt x="469" y="277"/>
                    </a:lnTo>
                    <a:lnTo>
                      <a:pt x="469" y="279"/>
                    </a:lnTo>
                    <a:lnTo>
                      <a:pt x="471" y="279"/>
                    </a:lnTo>
                    <a:lnTo>
                      <a:pt x="469" y="280"/>
                    </a:lnTo>
                    <a:lnTo>
                      <a:pt x="469" y="282"/>
                    </a:lnTo>
                    <a:lnTo>
                      <a:pt x="469" y="284"/>
                    </a:lnTo>
                    <a:lnTo>
                      <a:pt x="471" y="285"/>
                    </a:lnTo>
                    <a:lnTo>
                      <a:pt x="469" y="285"/>
                    </a:lnTo>
                    <a:lnTo>
                      <a:pt x="471" y="285"/>
                    </a:lnTo>
                    <a:lnTo>
                      <a:pt x="471" y="287"/>
                    </a:lnTo>
                    <a:lnTo>
                      <a:pt x="471" y="289"/>
                    </a:lnTo>
                    <a:lnTo>
                      <a:pt x="469" y="289"/>
                    </a:lnTo>
                    <a:lnTo>
                      <a:pt x="469" y="291"/>
                    </a:lnTo>
                    <a:lnTo>
                      <a:pt x="469" y="292"/>
                    </a:lnTo>
                    <a:lnTo>
                      <a:pt x="469" y="294"/>
                    </a:lnTo>
                    <a:lnTo>
                      <a:pt x="469" y="296"/>
                    </a:lnTo>
                    <a:lnTo>
                      <a:pt x="471" y="296"/>
                    </a:lnTo>
                    <a:lnTo>
                      <a:pt x="471" y="297"/>
                    </a:lnTo>
                    <a:lnTo>
                      <a:pt x="469" y="297"/>
                    </a:lnTo>
                    <a:lnTo>
                      <a:pt x="469" y="299"/>
                    </a:lnTo>
                    <a:lnTo>
                      <a:pt x="469" y="301"/>
                    </a:lnTo>
                    <a:lnTo>
                      <a:pt x="469" y="303"/>
                    </a:lnTo>
                    <a:lnTo>
                      <a:pt x="469" y="304"/>
                    </a:lnTo>
                    <a:lnTo>
                      <a:pt x="471" y="304"/>
                    </a:lnTo>
                    <a:lnTo>
                      <a:pt x="471" y="306"/>
                    </a:lnTo>
                    <a:lnTo>
                      <a:pt x="471" y="308"/>
                    </a:lnTo>
                    <a:lnTo>
                      <a:pt x="472" y="308"/>
                    </a:lnTo>
                    <a:lnTo>
                      <a:pt x="471" y="308"/>
                    </a:lnTo>
                    <a:lnTo>
                      <a:pt x="471" y="309"/>
                    </a:lnTo>
                    <a:lnTo>
                      <a:pt x="472" y="309"/>
                    </a:lnTo>
                    <a:lnTo>
                      <a:pt x="472" y="311"/>
                    </a:lnTo>
                    <a:lnTo>
                      <a:pt x="471" y="309"/>
                    </a:lnTo>
                    <a:lnTo>
                      <a:pt x="471" y="311"/>
                    </a:lnTo>
                    <a:lnTo>
                      <a:pt x="471" y="313"/>
                    </a:lnTo>
                    <a:lnTo>
                      <a:pt x="471" y="314"/>
                    </a:lnTo>
                    <a:lnTo>
                      <a:pt x="471" y="316"/>
                    </a:lnTo>
                    <a:lnTo>
                      <a:pt x="472" y="316"/>
                    </a:lnTo>
                    <a:lnTo>
                      <a:pt x="472" y="318"/>
                    </a:lnTo>
                    <a:lnTo>
                      <a:pt x="474" y="320"/>
                    </a:lnTo>
                    <a:lnTo>
                      <a:pt x="474" y="321"/>
                    </a:lnTo>
                    <a:lnTo>
                      <a:pt x="474" y="323"/>
                    </a:lnTo>
                    <a:lnTo>
                      <a:pt x="474" y="325"/>
                    </a:lnTo>
                    <a:lnTo>
                      <a:pt x="476" y="325"/>
                    </a:lnTo>
                    <a:lnTo>
                      <a:pt x="476" y="326"/>
                    </a:lnTo>
                    <a:lnTo>
                      <a:pt x="476" y="328"/>
                    </a:lnTo>
                    <a:lnTo>
                      <a:pt x="476" y="330"/>
                    </a:lnTo>
                    <a:lnTo>
                      <a:pt x="477" y="330"/>
                    </a:lnTo>
                    <a:lnTo>
                      <a:pt x="479" y="330"/>
                    </a:lnTo>
                    <a:lnTo>
                      <a:pt x="481" y="330"/>
                    </a:lnTo>
                    <a:lnTo>
                      <a:pt x="481" y="331"/>
                    </a:lnTo>
                    <a:lnTo>
                      <a:pt x="482" y="333"/>
                    </a:lnTo>
                    <a:lnTo>
                      <a:pt x="482" y="335"/>
                    </a:lnTo>
                    <a:lnTo>
                      <a:pt x="482" y="337"/>
                    </a:lnTo>
                    <a:lnTo>
                      <a:pt x="484" y="337"/>
                    </a:lnTo>
                    <a:lnTo>
                      <a:pt x="484" y="338"/>
                    </a:lnTo>
                    <a:lnTo>
                      <a:pt x="484" y="340"/>
                    </a:lnTo>
                    <a:lnTo>
                      <a:pt x="486" y="340"/>
                    </a:lnTo>
                    <a:lnTo>
                      <a:pt x="486" y="342"/>
                    </a:lnTo>
                    <a:lnTo>
                      <a:pt x="488" y="342"/>
                    </a:lnTo>
                    <a:lnTo>
                      <a:pt x="488" y="343"/>
                    </a:lnTo>
                    <a:lnTo>
                      <a:pt x="486" y="343"/>
                    </a:lnTo>
                    <a:lnTo>
                      <a:pt x="486" y="345"/>
                    </a:lnTo>
                    <a:lnTo>
                      <a:pt x="484" y="345"/>
                    </a:lnTo>
                    <a:lnTo>
                      <a:pt x="484" y="347"/>
                    </a:lnTo>
                    <a:lnTo>
                      <a:pt x="482" y="347"/>
                    </a:lnTo>
                    <a:lnTo>
                      <a:pt x="481" y="350"/>
                    </a:lnTo>
                    <a:lnTo>
                      <a:pt x="477" y="352"/>
                    </a:lnTo>
                    <a:lnTo>
                      <a:pt x="474" y="355"/>
                    </a:lnTo>
                    <a:lnTo>
                      <a:pt x="471" y="359"/>
                    </a:lnTo>
                    <a:lnTo>
                      <a:pt x="469" y="360"/>
                    </a:lnTo>
                    <a:lnTo>
                      <a:pt x="469" y="362"/>
                    </a:lnTo>
                    <a:lnTo>
                      <a:pt x="471" y="360"/>
                    </a:lnTo>
                    <a:lnTo>
                      <a:pt x="471" y="362"/>
                    </a:lnTo>
                    <a:lnTo>
                      <a:pt x="472" y="360"/>
                    </a:lnTo>
                    <a:lnTo>
                      <a:pt x="472" y="362"/>
                    </a:lnTo>
                    <a:lnTo>
                      <a:pt x="474" y="362"/>
                    </a:lnTo>
                    <a:lnTo>
                      <a:pt x="476" y="362"/>
                    </a:lnTo>
                    <a:lnTo>
                      <a:pt x="477" y="362"/>
                    </a:lnTo>
                    <a:lnTo>
                      <a:pt x="477" y="364"/>
                    </a:lnTo>
                    <a:lnTo>
                      <a:pt x="479" y="365"/>
                    </a:lnTo>
                    <a:lnTo>
                      <a:pt x="479" y="367"/>
                    </a:lnTo>
                    <a:lnTo>
                      <a:pt x="481" y="367"/>
                    </a:lnTo>
                    <a:lnTo>
                      <a:pt x="482" y="369"/>
                    </a:lnTo>
                    <a:lnTo>
                      <a:pt x="484" y="369"/>
                    </a:lnTo>
                    <a:lnTo>
                      <a:pt x="484" y="371"/>
                    </a:lnTo>
                    <a:lnTo>
                      <a:pt x="486" y="371"/>
                    </a:lnTo>
                    <a:lnTo>
                      <a:pt x="486" y="372"/>
                    </a:lnTo>
                    <a:lnTo>
                      <a:pt x="488" y="374"/>
                    </a:lnTo>
                    <a:lnTo>
                      <a:pt x="489" y="374"/>
                    </a:lnTo>
                    <a:lnTo>
                      <a:pt x="489" y="376"/>
                    </a:lnTo>
                    <a:lnTo>
                      <a:pt x="491" y="376"/>
                    </a:lnTo>
                    <a:lnTo>
                      <a:pt x="491" y="377"/>
                    </a:lnTo>
                    <a:lnTo>
                      <a:pt x="491" y="379"/>
                    </a:lnTo>
                    <a:lnTo>
                      <a:pt x="491" y="381"/>
                    </a:lnTo>
                    <a:lnTo>
                      <a:pt x="489" y="381"/>
                    </a:lnTo>
                    <a:lnTo>
                      <a:pt x="491" y="381"/>
                    </a:lnTo>
                    <a:lnTo>
                      <a:pt x="491" y="382"/>
                    </a:lnTo>
                    <a:lnTo>
                      <a:pt x="491" y="384"/>
                    </a:lnTo>
                    <a:lnTo>
                      <a:pt x="493" y="384"/>
                    </a:lnTo>
                    <a:lnTo>
                      <a:pt x="493" y="386"/>
                    </a:lnTo>
                    <a:lnTo>
                      <a:pt x="493" y="384"/>
                    </a:lnTo>
                    <a:lnTo>
                      <a:pt x="494" y="386"/>
                    </a:lnTo>
                    <a:lnTo>
                      <a:pt x="494" y="388"/>
                    </a:lnTo>
                    <a:lnTo>
                      <a:pt x="494" y="389"/>
                    </a:lnTo>
                    <a:lnTo>
                      <a:pt x="493" y="389"/>
                    </a:lnTo>
                    <a:lnTo>
                      <a:pt x="494" y="391"/>
                    </a:lnTo>
                    <a:lnTo>
                      <a:pt x="496" y="393"/>
                    </a:lnTo>
                    <a:lnTo>
                      <a:pt x="496" y="394"/>
                    </a:lnTo>
                    <a:lnTo>
                      <a:pt x="496" y="396"/>
                    </a:lnTo>
                    <a:lnTo>
                      <a:pt x="496" y="398"/>
                    </a:lnTo>
                    <a:lnTo>
                      <a:pt x="498" y="398"/>
                    </a:lnTo>
                    <a:lnTo>
                      <a:pt x="498" y="399"/>
                    </a:lnTo>
                    <a:lnTo>
                      <a:pt x="498" y="401"/>
                    </a:lnTo>
                    <a:lnTo>
                      <a:pt x="499" y="401"/>
                    </a:lnTo>
                    <a:lnTo>
                      <a:pt x="499" y="403"/>
                    </a:lnTo>
                    <a:lnTo>
                      <a:pt x="499" y="405"/>
                    </a:lnTo>
                    <a:lnTo>
                      <a:pt x="499" y="406"/>
                    </a:lnTo>
                    <a:lnTo>
                      <a:pt x="501" y="406"/>
                    </a:lnTo>
                    <a:lnTo>
                      <a:pt x="501" y="408"/>
                    </a:lnTo>
                    <a:lnTo>
                      <a:pt x="501" y="410"/>
                    </a:lnTo>
                    <a:lnTo>
                      <a:pt x="503" y="410"/>
                    </a:lnTo>
                    <a:lnTo>
                      <a:pt x="503" y="411"/>
                    </a:lnTo>
                    <a:lnTo>
                      <a:pt x="503" y="413"/>
                    </a:lnTo>
                    <a:lnTo>
                      <a:pt x="501" y="413"/>
                    </a:lnTo>
                    <a:lnTo>
                      <a:pt x="501" y="415"/>
                    </a:lnTo>
                    <a:lnTo>
                      <a:pt x="503" y="415"/>
                    </a:lnTo>
                    <a:lnTo>
                      <a:pt x="501" y="416"/>
                    </a:lnTo>
                    <a:lnTo>
                      <a:pt x="496" y="416"/>
                    </a:lnTo>
                    <a:lnTo>
                      <a:pt x="494" y="418"/>
                    </a:lnTo>
                    <a:lnTo>
                      <a:pt x="494" y="416"/>
                    </a:lnTo>
                    <a:lnTo>
                      <a:pt x="494" y="415"/>
                    </a:lnTo>
                    <a:lnTo>
                      <a:pt x="494" y="413"/>
                    </a:lnTo>
                    <a:lnTo>
                      <a:pt x="493" y="413"/>
                    </a:lnTo>
                    <a:lnTo>
                      <a:pt x="493" y="411"/>
                    </a:lnTo>
                    <a:lnTo>
                      <a:pt x="494" y="411"/>
                    </a:lnTo>
                    <a:lnTo>
                      <a:pt x="494" y="410"/>
                    </a:lnTo>
                    <a:lnTo>
                      <a:pt x="494" y="408"/>
                    </a:lnTo>
                    <a:lnTo>
                      <a:pt x="494" y="406"/>
                    </a:lnTo>
                    <a:lnTo>
                      <a:pt x="493" y="406"/>
                    </a:lnTo>
                    <a:lnTo>
                      <a:pt x="493" y="405"/>
                    </a:lnTo>
                    <a:lnTo>
                      <a:pt x="494" y="403"/>
                    </a:lnTo>
                    <a:lnTo>
                      <a:pt x="493" y="403"/>
                    </a:lnTo>
                    <a:lnTo>
                      <a:pt x="493" y="401"/>
                    </a:lnTo>
                    <a:lnTo>
                      <a:pt x="493" y="399"/>
                    </a:lnTo>
                    <a:lnTo>
                      <a:pt x="493" y="398"/>
                    </a:lnTo>
                    <a:lnTo>
                      <a:pt x="493" y="396"/>
                    </a:lnTo>
                    <a:lnTo>
                      <a:pt x="493" y="394"/>
                    </a:lnTo>
                    <a:lnTo>
                      <a:pt x="491" y="394"/>
                    </a:lnTo>
                    <a:lnTo>
                      <a:pt x="489" y="394"/>
                    </a:lnTo>
                    <a:lnTo>
                      <a:pt x="488" y="393"/>
                    </a:lnTo>
                    <a:lnTo>
                      <a:pt x="488" y="391"/>
                    </a:lnTo>
                    <a:lnTo>
                      <a:pt x="486" y="391"/>
                    </a:lnTo>
                    <a:lnTo>
                      <a:pt x="486" y="389"/>
                    </a:lnTo>
                    <a:lnTo>
                      <a:pt x="486" y="388"/>
                    </a:lnTo>
                    <a:lnTo>
                      <a:pt x="486" y="386"/>
                    </a:lnTo>
                    <a:lnTo>
                      <a:pt x="486" y="384"/>
                    </a:lnTo>
                    <a:lnTo>
                      <a:pt x="484" y="384"/>
                    </a:lnTo>
                    <a:lnTo>
                      <a:pt x="484" y="382"/>
                    </a:lnTo>
                    <a:lnTo>
                      <a:pt x="486" y="382"/>
                    </a:lnTo>
                    <a:lnTo>
                      <a:pt x="484" y="382"/>
                    </a:lnTo>
                    <a:lnTo>
                      <a:pt x="484" y="381"/>
                    </a:lnTo>
                    <a:lnTo>
                      <a:pt x="482" y="382"/>
                    </a:lnTo>
                    <a:lnTo>
                      <a:pt x="482" y="384"/>
                    </a:lnTo>
                    <a:lnTo>
                      <a:pt x="481" y="384"/>
                    </a:lnTo>
                    <a:lnTo>
                      <a:pt x="481" y="386"/>
                    </a:lnTo>
                    <a:lnTo>
                      <a:pt x="479" y="386"/>
                    </a:lnTo>
                    <a:lnTo>
                      <a:pt x="479" y="388"/>
                    </a:lnTo>
                    <a:lnTo>
                      <a:pt x="477" y="388"/>
                    </a:lnTo>
                    <a:lnTo>
                      <a:pt x="476" y="388"/>
                    </a:lnTo>
                    <a:lnTo>
                      <a:pt x="474" y="388"/>
                    </a:lnTo>
                    <a:lnTo>
                      <a:pt x="472" y="388"/>
                    </a:lnTo>
                    <a:lnTo>
                      <a:pt x="472" y="389"/>
                    </a:lnTo>
                    <a:lnTo>
                      <a:pt x="471" y="389"/>
                    </a:lnTo>
                    <a:lnTo>
                      <a:pt x="471" y="391"/>
                    </a:lnTo>
                    <a:lnTo>
                      <a:pt x="469" y="391"/>
                    </a:lnTo>
                    <a:lnTo>
                      <a:pt x="469" y="393"/>
                    </a:lnTo>
                    <a:lnTo>
                      <a:pt x="467" y="394"/>
                    </a:lnTo>
                    <a:lnTo>
                      <a:pt x="467" y="396"/>
                    </a:lnTo>
                    <a:lnTo>
                      <a:pt x="465" y="396"/>
                    </a:lnTo>
                    <a:lnTo>
                      <a:pt x="465" y="394"/>
                    </a:lnTo>
                    <a:lnTo>
                      <a:pt x="464" y="394"/>
                    </a:lnTo>
                    <a:lnTo>
                      <a:pt x="464" y="393"/>
                    </a:lnTo>
                    <a:lnTo>
                      <a:pt x="462" y="393"/>
                    </a:lnTo>
                    <a:lnTo>
                      <a:pt x="460" y="393"/>
                    </a:lnTo>
                    <a:lnTo>
                      <a:pt x="460" y="391"/>
                    </a:lnTo>
                    <a:lnTo>
                      <a:pt x="459" y="391"/>
                    </a:lnTo>
                    <a:lnTo>
                      <a:pt x="459" y="389"/>
                    </a:lnTo>
                    <a:lnTo>
                      <a:pt x="459" y="391"/>
                    </a:lnTo>
                    <a:lnTo>
                      <a:pt x="457" y="391"/>
                    </a:lnTo>
                    <a:lnTo>
                      <a:pt x="457" y="389"/>
                    </a:lnTo>
                    <a:lnTo>
                      <a:pt x="457" y="388"/>
                    </a:lnTo>
                    <a:lnTo>
                      <a:pt x="457" y="389"/>
                    </a:lnTo>
                    <a:lnTo>
                      <a:pt x="457" y="391"/>
                    </a:lnTo>
                    <a:lnTo>
                      <a:pt x="455" y="391"/>
                    </a:lnTo>
                    <a:lnTo>
                      <a:pt x="455" y="393"/>
                    </a:lnTo>
                    <a:lnTo>
                      <a:pt x="455" y="394"/>
                    </a:lnTo>
                    <a:lnTo>
                      <a:pt x="454" y="394"/>
                    </a:lnTo>
                    <a:lnTo>
                      <a:pt x="455" y="394"/>
                    </a:lnTo>
                    <a:lnTo>
                      <a:pt x="454" y="394"/>
                    </a:lnTo>
                    <a:lnTo>
                      <a:pt x="455" y="396"/>
                    </a:lnTo>
                    <a:lnTo>
                      <a:pt x="455" y="394"/>
                    </a:lnTo>
                    <a:lnTo>
                      <a:pt x="455" y="396"/>
                    </a:lnTo>
                    <a:lnTo>
                      <a:pt x="455" y="394"/>
                    </a:lnTo>
                    <a:lnTo>
                      <a:pt x="455" y="396"/>
                    </a:lnTo>
                    <a:lnTo>
                      <a:pt x="455" y="398"/>
                    </a:lnTo>
                    <a:lnTo>
                      <a:pt x="455" y="396"/>
                    </a:lnTo>
                    <a:lnTo>
                      <a:pt x="457" y="398"/>
                    </a:lnTo>
                    <a:lnTo>
                      <a:pt x="457" y="396"/>
                    </a:lnTo>
                    <a:lnTo>
                      <a:pt x="457" y="398"/>
                    </a:lnTo>
                    <a:lnTo>
                      <a:pt x="459" y="398"/>
                    </a:lnTo>
                    <a:lnTo>
                      <a:pt x="445" y="398"/>
                    </a:lnTo>
                    <a:lnTo>
                      <a:pt x="435" y="398"/>
                    </a:lnTo>
                    <a:lnTo>
                      <a:pt x="430" y="398"/>
                    </a:lnTo>
                    <a:lnTo>
                      <a:pt x="425" y="398"/>
                    </a:lnTo>
                    <a:lnTo>
                      <a:pt x="420" y="398"/>
                    </a:lnTo>
                    <a:lnTo>
                      <a:pt x="416" y="398"/>
                    </a:lnTo>
                    <a:lnTo>
                      <a:pt x="414" y="398"/>
                    </a:lnTo>
                    <a:lnTo>
                      <a:pt x="413" y="398"/>
                    </a:lnTo>
                    <a:lnTo>
                      <a:pt x="413" y="396"/>
                    </a:lnTo>
                    <a:lnTo>
                      <a:pt x="411" y="398"/>
                    </a:lnTo>
                    <a:lnTo>
                      <a:pt x="409" y="398"/>
                    </a:lnTo>
                    <a:lnTo>
                      <a:pt x="409" y="399"/>
                    </a:lnTo>
                    <a:lnTo>
                      <a:pt x="408" y="398"/>
                    </a:lnTo>
                    <a:lnTo>
                      <a:pt x="408" y="399"/>
                    </a:lnTo>
                    <a:lnTo>
                      <a:pt x="408" y="398"/>
                    </a:lnTo>
                    <a:lnTo>
                      <a:pt x="408" y="399"/>
                    </a:lnTo>
                    <a:lnTo>
                      <a:pt x="408" y="398"/>
                    </a:lnTo>
                    <a:lnTo>
                      <a:pt x="406" y="398"/>
                    </a:lnTo>
                    <a:lnTo>
                      <a:pt x="404" y="398"/>
                    </a:lnTo>
                    <a:lnTo>
                      <a:pt x="404" y="399"/>
                    </a:lnTo>
                    <a:lnTo>
                      <a:pt x="403" y="399"/>
                    </a:lnTo>
                    <a:lnTo>
                      <a:pt x="401" y="399"/>
                    </a:lnTo>
                    <a:lnTo>
                      <a:pt x="401" y="401"/>
                    </a:lnTo>
                    <a:lnTo>
                      <a:pt x="401" y="405"/>
                    </a:lnTo>
                    <a:lnTo>
                      <a:pt x="401" y="408"/>
                    </a:lnTo>
                    <a:lnTo>
                      <a:pt x="401" y="411"/>
                    </a:lnTo>
                    <a:lnTo>
                      <a:pt x="401" y="413"/>
                    </a:lnTo>
                    <a:lnTo>
                      <a:pt x="401" y="415"/>
                    </a:lnTo>
                    <a:lnTo>
                      <a:pt x="401" y="418"/>
                    </a:lnTo>
                    <a:lnTo>
                      <a:pt x="401" y="420"/>
                    </a:lnTo>
                    <a:lnTo>
                      <a:pt x="403" y="420"/>
                    </a:lnTo>
                    <a:lnTo>
                      <a:pt x="403" y="422"/>
                    </a:lnTo>
                    <a:lnTo>
                      <a:pt x="403" y="420"/>
                    </a:lnTo>
                    <a:lnTo>
                      <a:pt x="404" y="420"/>
                    </a:lnTo>
                    <a:lnTo>
                      <a:pt x="406" y="420"/>
                    </a:lnTo>
                    <a:lnTo>
                      <a:pt x="408" y="420"/>
                    </a:lnTo>
                    <a:lnTo>
                      <a:pt x="409" y="420"/>
                    </a:lnTo>
                    <a:lnTo>
                      <a:pt x="411" y="420"/>
                    </a:lnTo>
                    <a:lnTo>
                      <a:pt x="413" y="420"/>
                    </a:lnTo>
                    <a:lnTo>
                      <a:pt x="414" y="420"/>
                    </a:lnTo>
                    <a:lnTo>
                      <a:pt x="416" y="422"/>
                    </a:lnTo>
                    <a:lnTo>
                      <a:pt x="418" y="420"/>
                    </a:lnTo>
                    <a:lnTo>
                      <a:pt x="420" y="420"/>
                    </a:lnTo>
                    <a:lnTo>
                      <a:pt x="420" y="422"/>
                    </a:lnTo>
                    <a:lnTo>
                      <a:pt x="421" y="422"/>
                    </a:lnTo>
                    <a:lnTo>
                      <a:pt x="423" y="422"/>
                    </a:lnTo>
                    <a:lnTo>
                      <a:pt x="423" y="423"/>
                    </a:lnTo>
                    <a:lnTo>
                      <a:pt x="423" y="425"/>
                    </a:lnTo>
                    <a:lnTo>
                      <a:pt x="425" y="425"/>
                    </a:lnTo>
                    <a:lnTo>
                      <a:pt x="423" y="425"/>
                    </a:lnTo>
                    <a:lnTo>
                      <a:pt x="423" y="427"/>
                    </a:lnTo>
                    <a:lnTo>
                      <a:pt x="425" y="427"/>
                    </a:lnTo>
                    <a:lnTo>
                      <a:pt x="425" y="428"/>
                    </a:lnTo>
                    <a:lnTo>
                      <a:pt x="425" y="430"/>
                    </a:lnTo>
                    <a:lnTo>
                      <a:pt x="425" y="432"/>
                    </a:lnTo>
                    <a:lnTo>
                      <a:pt x="423" y="432"/>
                    </a:lnTo>
                    <a:lnTo>
                      <a:pt x="425" y="433"/>
                    </a:lnTo>
                    <a:lnTo>
                      <a:pt x="426" y="433"/>
                    </a:lnTo>
                    <a:lnTo>
                      <a:pt x="426" y="435"/>
                    </a:lnTo>
                    <a:lnTo>
                      <a:pt x="425" y="435"/>
                    </a:lnTo>
                    <a:lnTo>
                      <a:pt x="423" y="435"/>
                    </a:lnTo>
                    <a:lnTo>
                      <a:pt x="423" y="437"/>
                    </a:lnTo>
                    <a:lnTo>
                      <a:pt x="421" y="437"/>
                    </a:lnTo>
                    <a:lnTo>
                      <a:pt x="420" y="437"/>
                    </a:lnTo>
                    <a:lnTo>
                      <a:pt x="420" y="435"/>
                    </a:lnTo>
                    <a:lnTo>
                      <a:pt x="418" y="435"/>
                    </a:lnTo>
                    <a:lnTo>
                      <a:pt x="418" y="437"/>
                    </a:lnTo>
                    <a:lnTo>
                      <a:pt x="418" y="435"/>
                    </a:lnTo>
                    <a:lnTo>
                      <a:pt x="416" y="435"/>
                    </a:lnTo>
                    <a:lnTo>
                      <a:pt x="416" y="433"/>
                    </a:lnTo>
                    <a:lnTo>
                      <a:pt x="414" y="432"/>
                    </a:lnTo>
                    <a:lnTo>
                      <a:pt x="413" y="432"/>
                    </a:lnTo>
                    <a:lnTo>
                      <a:pt x="413" y="433"/>
                    </a:lnTo>
                    <a:lnTo>
                      <a:pt x="411" y="433"/>
                    </a:lnTo>
                    <a:lnTo>
                      <a:pt x="411" y="435"/>
                    </a:lnTo>
                    <a:lnTo>
                      <a:pt x="409" y="435"/>
                    </a:lnTo>
                    <a:lnTo>
                      <a:pt x="409" y="437"/>
                    </a:lnTo>
                    <a:lnTo>
                      <a:pt x="409" y="435"/>
                    </a:lnTo>
                    <a:lnTo>
                      <a:pt x="408" y="435"/>
                    </a:lnTo>
                    <a:lnTo>
                      <a:pt x="408" y="433"/>
                    </a:lnTo>
                    <a:lnTo>
                      <a:pt x="406" y="435"/>
                    </a:lnTo>
                    <a:lnTo>
                      <a:pt x="406" y="437"/>
                    </a:lnTo>
                    <a:lnTo>
                      <a:pt x="404" y="435"/>
                    </a:lnTo>
                    <a:lnTo>
                      <a:pt x="404" y="437"/>
                    </a:lnTo>
                    <a:lnTo>
                      <a:pt x="403" y="437"/>
                    </a:lnTo>
                    <a:lnTo>
                      <a:pt x="401" y="437"/>
                    </a:lnTo>
                    <a:lnTo>
                      <a:pt x="399" y="437"/>
                    </a:lnTo>
                    <a:lnTo>
                      <a:pt x="399" y="439"/>
                    </a:lnTo>
                    <a:lnTo>
                      <a:pt x="397" y="439"/>
                    </a:lnTo>
                    <a:lnTo>
                      <a:pt x="397" y="437"/>
                    </a:lnTo>
                    <a:lnTo>
                      <a:pt x="396" y="437"/>
                    </a:lnTo>
                    <a:lnTo>
                      <a:pt x="396" y="439"/>
                    </a:lnTo>
                    <a:lnTo>
                      <a:pt x="394" y="439"/>
                    </a:lnTo>
                    <a:lnTo>
                      <a:pt x="394" y="440"/>
                    </a:lnTo>
                    <a:lnTo>
                      <a:pt x="394" y="444"/>
                    </a:lnTo>
                    <a:lnTo>
                      <a:pt x="394" y="445"/>
                    </a:lnTo>
                    <a:lnTo>
                      <a:pt x="394" y="447"/>
                    </a:lnTo>
                    <a:lnTo>
                      <a:pt x="394" y="449"/>
                    </a:lnTo>
                    <a:lnTo>
                      <a:pt x="394" y="451"/>
                    </a:lnTo>
                    <a:lnTo>
                      <a:pt x="394" y="454"/>
                    </a:lnTo>
                    <a:lnTo>
                      <a:pt x="394" y="457"/>
                    </a:lnTo>
                    <a:lnTo>
                      <a:pt x="394" y="461"/>
                    </a:lnTo>
                    <a:lnTo>
                      <a:pt x="396" y="461"/>
                    </a:lnTo>
                    <a:lnTo>
                      <a:pt x="396" y="462"/>
                    </a:lnTo>
                    <a:lnTo>
                      <a:pt x="396" y="464"/>
                    </a:lnTo>
                    <a:lnTo>
                      <a:pt x="397" y="466"/>
                    </a:lnTo>
                    <a:lnTo>
                      <a:pt x="397" y="468"/>
                    </a:lnTo>
                    <a:lnTo>
                      <a:pt x="399" y="468"/>
                    </a:lnTo>
                    <a:lnTo>
                      <a:pt x="399" y="469"/>
                    </a:lnTo>
                    <a:lnTo>
                      <a:pt x="401" y="468"/>
                    </a:lnTo>
                    <a:lnTo>
                      <a:pt x="403" y="469"/>
                    </a:lnTo>
                    <a:lnTo>
                      <a:pt x="403" y="471"/>
                    </a:lnTo>
                    <a:lnTo>
                      <a:pt x="404" y="471"/>
                    </a:lnTo>
                    <a:lnTo>
                      <a:pt x="406" y="473"/>
                    </a:lnTo>
                    <a:lnTo>
                      <a:pt x="408" y="473"/>
                    </a:lnTo>
                    <a:lnTo>
                      <a:pt x="408" y="474"/>
                    </a:lnTo>
                    <a:lnTo>
                      <a:pt x="409" y="473"/>
                    </a:lnTo>
                    <a:lnTo>
                      <a:pt x="409" y="474"/>
                    </a:lnTo>
                    <a:lnTo>
                      <a:pt x="409" y="476"/>
                    </a:lnTo>
                    <a:lnTo>
                      <a:pt x="409" y="478"/>
                    </a:lnTo>
                    <a:lnTo>
                      <a:pt x="411" y="478"/>
                    </a:lnTo>
                    <a:lnTo>
                      <a:pt x="411" y="479"/>
                    </a:lnTo>
                    <a:lnTo>
                      <a:pt x="409" y="479"/>
                    </a:lnTo>
                    <a:lnTo>
                      <a:pt x="409" y="481"/>
                    </a:lnTo>
                    <a:lnTo>
                      <a:pt x="409" y="483"/>
                    </a:lnTo>
                    <a:lnTo>
                      <a:pt x="411" y="483"/>
                    </a:lnTo>
                    <a:lnTo>
                      <a:pt x="409" y="483"/>
                    </a:lnTo>
                    <a:lnTo>
                      <a:pt x="411" y="485"/>
                    </a:lnTo>
                    <a:lnTo>
                      <a:pt x="411" y="486"/>
                    </a:lnTo>
                    <a:lnTo>
                      <a:pt x="413" y="486"/>
                    </a:lnTo>
                    <a:lnTo>
                      <a:pt x="413" y="488"/>
                    </a:lnTo>
                    <a:lnTo>
                      <a:pt x="413" y="490"/>
                    </a:lnTo>
                    <a:lnTo>
                      <a:pt x="413" y="488"/>
                    </a:lnTo>
                    <a:lnTo>
                      <a:pt x="414" y="490"/>
                    </a:lnTo>
                    <a:lnTo>
                      <a:pt x="416" y="491"/>
                    </a:lnTo>
                    <a:lnTo>
                      <a:pt x="414" y="491"/>
                    </a:lnTo>
                    <a:lnTo>
                      <a:pt x="416" y="491"/>
                    </a:lnTo>
                    <a:lnTo>
                      <a:pt x="416" y="493"/>
                    </a:lnTo>
                    <a:lnTo>
                      <a:pt x="416" y="495"/>
                    </a:lnTo>
                    <a:lnTo>
                      <a:pt x="416" y="496"/>
                    </a:lnTo>
                    <a:lnTo>
                      <a:pt x="416" y="498"/>
                    </a:lnTo>
                    <a:lnTo>
                      <a:pt x="416" y="500"/>
                    </a:lnTo>
                    <a:lnTo>
                      <a:pt x="416" y="502"/>
                    </a:lnTo>
                    <a:lnTo>
                      <a:pt x="416" y="503"/>
                    </a:lnTo>
                    <a:lnTo>
                      <a:pt x="414" y="505"/>
                    </a:lnTo>
                    <a:lnTo>
                      <a:pt x="416" y="505"/>
                    </a:lnTo>
                    <a:lnTo>
                      <a:pt x="416" y="507"/>
                    </a:lnTo>
                    <a:lnTo>
                      <a:pt x="414" y="507"/>
                    </a:lnTo>
                    <a:lnTo>
                      <a:pt x="414" y="508"/>
                    </a:lnTo>
                    <a:lnTo>
                      <a:pt x="413" y="517"/>
                    </a:lnTo>
                    <a:lnTo>
                      <a:pt x="413" y="524"/>
                    </a:lnTo>
                    <a:lnTo>
                      <a:pt x="411" y="529"/>
                    </a:lnTo>
                    <a:lnTo>
                      <a:pt x="409" y="534"/>
                    </a:lnTo>
                    <a:lnTo>
                      <a:pt x="409" y="539"/>
                    </a:lnTo>
                    <a:lnTo>
                      <a:pt x="406" y="554"/>
                    </a:lnTo>
                    <a:lnTo>
                      <a:pt x="406" y="558"/>
                    </a:lnTo>
                    <a:lnTo>
                      <a:pt x="403" y="581"/>
                    </a:lnTo>
                    <a:lnTo>
                      <a:pt x="401" y="590"/>
                    </a:lnTo>
                    <a:lnTo>
                      <a:pt x="399" y="600"/>
                    </a:lnTo>
                    <a:lnTo>
                      <a:pt x="397" y="600"/>
                    </a:lnTo>
                    <a:lnTo>
                      <a:pt x="397" y="598"/>
                    </a:lnTo>
                    <a:lnTo>
                      <a:pt x="396" y="598"/>
                    </a:lnTo>
                    <a:lnTo>
                      <a:pt x="396" y="597"/>
                    </a:lnTo>
                    <a:lnTo>
                      <a:pt x="394" y="597"/>
                    </a:lnTo>
                    <a:lnTo>
                      <a:pt x="394" y="595"/>
                    </a:lnTo>
                    <a:lnTo>
                      <a:pt x="392" y="593"/>
                    </a:lnTo>
                    <a:lnTo>
                      <a:pt x="391" y="593"/>
                    </a:lnTo>
                    <a:lnTo>
                      <a:pt x="391" y="592"/>
                    </a:lnTo>
                    <a:lnTo>
                      <a:pt x="391" y="590"/>
                    </a:lnTo>
                    <a:lnTo>
                      <a:pt x="389" y="590"/>
                    </a:lnTo>
                    <a:lnTo>
                      <a:pt x="389" y="588"/>
                    </a:lnTo>
                    <a:lnTo>
                      <a:pt x="387" y="588"/>
                    </a:lnTo>
                    <a:lnTo>
                      <a:pt x="387" y="587"/>
                    </a:lnTo>
                    <a:lnTo>
                      <a:pt x="386" y="587"/>
                    </a:lnTo>
                    <a:lnTo>
                      <a:pt x="386" y="585"/>
                    </a:lnTo>
                    <a:lnTo>
                      <a:pt x="384" y="585"/>
                    </a:lnTo>
                    <a:lnTo>
                      <a:pt x="384" y="587"/>
                    </a:lnTo>
                    <a:lnTo>
                      <a:pt x="382" y="587"/>
                    </a:lnTo>
                    <a:lnTo>
                      <a:pt x="380" y="587"/>
                    </a:lnTo>
                    <a:lnTo>
                      <a:pt x="380" y="588"/>
                    </a:lnTo>
                    <a:lnTo>
                      <a:pt x="379" y="588"/>
                    </a:lnTo>
                    <a:lnTo>
                      <a:pt x="377" y="587"/>
                    </a:lnTo>
                    <a:lnTo>
                      <a:pt x="375" y="587"/>
                    </a:lnTo>
                    <a:lnTo>
                      <a:pt x="374" y="587"/>
                    </a:lnTo>
                    <a:lnTo>
                      <a:pt x="374" y="585"/>
                    </a:lnTo>
                    <a:lnTo>
                      <a:pt x="372" y="585"/>
                    </a:lnTo>
                    <a:lnTo>
                      <a:pt x="374" y="581"/>
                    </a:lnTo>
                    <a:lnTo>
                      <a:pt x="375" y="581"/>
                    </a:lnTo>
                    <a:lnTo>
                      <a:pt x="377" y="576"/>
                    </a:lnTo>
                    <a:lnTo>
                      <a:pt x="379" y="573"/>
                    </a:lnTo>
                    <a:lnTo>
                      <a:pt x="380" y="573"/>
                    </a:lnTo>
                    <a:lnTo>
                      <a:pt x="382" y="570"/>
                    </a:lnTo>
                    <a:lnTo>
                      <a:pt x="384" y="566"/>
                    </a:lnTo>
                    <a:lnTo>
                      <a:pt x="386" y="564"/>
                    </a:lnTo>
                    <a:lnTo>
                      <a:pt x="386" y="563"/>
                    </a:lnTo>
                    <a:lnTo>
                      <a:pt x="387" y="561"/>
                    </a:lnTo>
                    <a:lnTo>
                      <a:pt x="391" y="556"/>
                    </a:lnTo>
                    <a:lnTo>
                      <a:pt x="392" y="554"/>
                    </a:lnTo>
                    <a:lnTo>
                      <a:pt x="394" y="551"/>
                    </a:lnTo>
                    <a:lnTo>
                      <a:pt x="394" y="549"/>
                    </a:lnTo>
                    <a:lnTo>
                      <a:pt x="394" y="547"/>
                    </a:lnTo>
                    <a:lnTo>
                      <a:pt x="394" y="546"/>
                    </a:lnTo>
                    <a:lnTo>
                      <a:pt x="392" y="547"/>
                    </a:lnTo>
                    <a:lnTo>
                      <a:pt x="391" y="547"/>
                    </a:lnTo>
                    <a:lnTo>
                      <a:pt x="391" y="546"/>
                    </a:lnTo>
                    <a:lnTo>
                      <a:pt x="389" y="546"/>
                    </a:lnTo>
                    <a:lnTo>
                      <a:pt x="389" y="547"/>
                    </a:lnTo>
                    <a:lnTo>
                      <a:pt x="389" y="546"/>
                    </a:lnTo>
                    <a:lnTo>
                      <a:pt x="389" y="544"/>
                    </a:lnTo>
                    <a:lnTo>
                      <a:pt x="387" y="542"/>
                    </a:lnTo>
                    <a:lnTo>
                      <a:pt x="386" y="544"/>
                    </a:lnTo>
                    <a:lnTo>
                      <a:pt x="384" y="544"/>
                    </a:lnTo>
                    <a:lnTo>
                      <a:pt x="384" y="542"/>
                    </a:lnTo>
                    <a:lnTo>
                      <a:pt x="386" y="542"/>
                    </a:lnTo>
                    <a:lnTo>
                      <a:pt x="386" y="541"/>
                    </a:lnTo>
                    <a:lnTo>
                      <a:pt x="384" y="541"/>
                    </a:lnTo>
                    <a:lnTo>
                      <a:pt x="382" y="542"/>
                    </a:lnTo>
                    <a:lnTo>
                      <a:pt x="380" y="542"/>
                    </a:lnTo>
                    <a:lnTo>
                      <a:pt x="380" y="541"/>
                    </a:lnTo>
                    <a:lnTo>
                      <a:pt x="380" y="539"/>
                    </a:lnTo>
                    <a:lnTo>
                      <a:pt x="380" y="541"/>
                    </a:lnTo>
                    <a:lnTo>
                      <a:pt x="379" y="541"/>
                    </a:lnTo>
                    <a:lnTo>
                      <a:pt x="379" y="539"/>
                    </a:lnTo>
                    <a:lnTo>
                      <a:pt x="377" y="539"/>
                    </a:lnTo>
                    <a:lnTo>
                      <a:pt x="377" y="541"/>
                    </a:lnTo>
                    <a:lnTo>
                      <a:pt x="375" y="541"/>
                    </a:lnTo>
                    <a:lnTo>
                      <a:pt x="375" y="539"/>
                    </a:lnTo>
                    <a:lnTo>
                      <a:pt x="375" y="537"/>
                    </a:lnTo>
                    <a:lnTo>
                      <a:pt x="374" y="539"/>
                    </a:lnTo>
                    <a:lnTo>
                      <a:pt x="374" y="537"/>
                    </a:lnTo>
                    <a:lnTo>
                      <a:pt x="374" y="536"/>
                    </a:lnTo>
                    <a:lnTo>
                      <a:pt x="372" y="536"/>
                    </a:lnTo>
                    <a:lnTo>
                      <a:pt x="370" y="536"/>
                    </a:lnTo>
                    <a:lnTo>
                      <a:pt x="370" y="534"/>
                    </a:lnTo>
                    <a:lnTo>
                      <a:pt x="369" y="534"/>
                    </a:lnTo>
                    <a:lnTo>
                      <a:pt x="367" y="534"/>
                    </a:lnTo>
                    <a:lnTo>
                      <a:pt x="367" y="532"/>
                    </a:lnTo>
                    <a:lnTo>
                      <a:pt x="365" y="532"/>
                    </a:lnTo>
                    <a:lnTo>
                      <a:pt x="363" y="532"/>
                    </a:lnTo>
                    <a:lnTo>
                      <a:pt x="362" y="532"/>
                    </a:lnTo>
                    <a:lnTo>
                      <a:pt x="362" y="534"/>
                    </a:lnTo>
                    <a:lnTo>
                      <a:pt x="363" y="534"/>
                    </a:lnTo>
                    <a:lnTo>
                      <a:pt x="362" y="534"/>
                    </a:lnTo>
                    <a:lnTo>
                      <a:pt x="360" y="534"/>
                    </a:lnTo>
                    <a:lnTo>
                      <a:pt x="358" y="534"/>
                    </a:lnTo>
                    <a:lnTo>
                      <a:pt x="358" y="536"/>
                    </a:lnTo>
                    <a:lnTo>
                      <a:pt x="357" y="536"/>
                    </a:lnTo>
                    <a:lnTo>
                      <a:pt x="357" y="537"/>
                    </a:lnTo>
                    <a:lnTo>
                      <a:pt x="355" y="537"/>
                    </a:lnTo>
                    <a:lnTo>
                      <a:pt x="355" y="536"/>
                    </a:lnTo>
                    <a:lnTo>
                      <a:pt x="353" y="536"/>
                    </a:lnTo>
                    <a:lnTo>
                      <a:pt x="353" y="537"/>
                    </a:lnTo>
                    <a:lnTo>
                      <a:pt x="353" y="536"/>
                    </a:lnTo>
                    <a:lnTo>
                      <a:pt x="352" y="536"/>
                    </a:lnTo>
                    <a:lnTo>
                      <a:pt x="352" y="537"/>
                    </a:lnTo>
                    <a:lnTo>
                      <a:pt x="350" y="537"/>
                    </a:lnTo>
                    <a:lnTo>
                      <a:pt x="350" y="539"/>
                    </a:lnTo>
                    <a:lnTo>
                      <a:pt x="348" y="537"/>
                    </a:lnTo>
                    <a:lnTo>
                      <a:pt x="350" y="537"/>
                    </a:lnTo>
                    <a:lnTo>
                      <a:pt x="350" y="536"/>
                    </a:lnTo>
                    <a:lnTo>
                      <a:pt x="348" y="536"/>
                    </a:lnTo>
                    <a:lnTo>
                      <a:pt x="348" y="534"/>
                    </a:lnTo>
                    <a:lnTo>
                      <a:pt x="346" y="534"/>
                    </a:lnTo>
                    <a:lnTo>
                      <a:pt x="346" y="536"/>
                    </a:lnTo>
                    <a:lnTo>
                      <a:pt x="345" y="536"/>
                    </a:lnTo>
                    <a:lnTo>
                      <a:pt x="345" y="534"/>
                    </a:lnTo>
                    <a:lnTo>
                      <a:pt x="345" y="532"/>
                    </a:lnTo>
                    <a:lnTo>
                      <a:pt x="343" y="532"/>
                    </a:lnTo>
                    <a:lnTo>
                      <a:pt x="341" y="532"/>
                    </a:lnTo>
                    <a:lnTo>
                      <a:pt x="341" y="530"/>
                    </a:lnTo>
                    <a:lnTo>
                      <a:pt x="340" y="530"/>
                    </a:lnTo>
                    <a:lnTo>
                      <a:pt x="340" y="532"/>
                    </a:lnTo>
                    <a:lnTo>
                      <a:pt x="338" y="532"/>
                    </a:lnTo>
                    <a:lnTo>
                      <a:pt x="338" y="530"/>
                    </a:lnTo>
                    <a:lnTo>
                      <a:pt x="338" y="529"/>
                    </a:lnTo>
                    <a:lnTo>
                      <a:pt x="336" y="530"/>
                    </a:lnTo>
                    <a:lnTo>
                      <a:pt x="335" y="532"/>
                    </a:lnTo>
                    <a:lnTo>
                      <a:pt x="335" y="530"/>
                    </a:lnTo>
                    <a:lnTo>
                      <a:pt x="335" y="532"/>
                    </a:lnTo>
                    <a:lnTo>
                      <a:pt x="333" y="532"/>
                    </a:lnTo>
                    <a:lnTo>
                      <a:pt x="333" y="534"/>
                    </a:lnTo>
                    <a:lnTo>
                      <a:pt x="333" y="536"/>
                    </a:lnTo>
                    <a:lnTo>
                      <a:pt x="331" y="536"/>
                    </a:lnTo>
                    <a:lnTo>
                      <a:pt x="331" y="537"/>
                    </a:lnTo>
                    <a:lnTo>
                      <a:pt x="329" y="537"/>
                    </a:lnTo>
                    <a:lnTo>
                      <a:pt x="328" y="537"/>
                    </a:lnTo>
                    <a:lnTo>
                      <a:pt x="328" y="536"/>
                    </a:lnTo>
                    <a:lnTo>
                      <a:pt x="326" y="536"/>
                    </a:lnTo>
                    <a:lnTo>
                      <a:pt x="326" y="537"/>
                    </a:lnTo>
                    <a:lnTo>
                      <a:pt x="324" y="537"/>
                    </a:lnTo>
                    <a:lnTo>
                      <a:pt x="324" y="539"/>
                    </a:lnTo>
                    <a:lnTo>
                      <a:pt x="324" y="541"/>
                    </a:lnTo>
                    <a:lnTo>
                      <a:pt x="323" y="541"/>
                    </a:lnTo>
                    <a:lnTo>
                      <a:pt x="323" y="539"/>
                    </a:lnTo>
                    <a:lnTo>
                      <a:pt x="321" y="539"/>
                    </a:lnTo>
                    <a:lnTo>
                      <a:pt x="319" y="539"/>
                    </a:lnTo>
                    <a:lnTo>
                      <a:pt x="319" y="541"/>
                    </a:lnTo>
                    <a:lnTo>
                      <a:pt x="319" y="539"/>
                    </a:lnTo>
                    <a:lnTo>
                      <a:pt x="319" y="541"/>
                    </a:lnTo>
                    <a:lnTo>
                      <a:pt x="318" y="541"/>
                    </a:lnTo>
                    <a:lnTo>
                      <a:pt x="316" y="541"/>
                    </a:lnTo>
                    <a:lnTo>
                      <a:pt x="316" y="539"/>
                    </a:lnTo>
                    <a:lnTo>
                      <a:pt x="314" y="539"/>
                    </a:lnTo>
                    <a:lnTo>
                      <a:pt x="312" y="539"/>
                    </a:lnTo>
                    <a:lnTo>
                      <a:pt x="311" y="539"/>
                    </a:lnTo>
                    <a:lnTo>
                      <a:pt x="311" y="537"/>
                    </a:lnTo>
                    <a:lnTo>
                      <a:pt x="309" y="537"/>
                    </a:lnTo>
                    <a:lnTo>
                      <a:pt x="307" y="537"/>
                    </a:lnTo>
                    <a:lnTo>
                      <a:pt x="307" y="539"/>
                    </a:lnTo>
                    <a:lnTo>
                      <a:pt x="306" y="539"/>
                    </a:lnTo>
                    <a:lnTo>
                      <a:pt x="304" y="537"/>
                    </a:lnTo>
                    <a:lnTo>
                      <a:pt x="304" y="539"/>
                    </a:lnTo>
                    <a:lnTo>
                      <a:pt x="304" y="537"/>
                    </a:lnTo>
                    <a:lnTo>
                      <a:pt x="302" y="537"/>
                    </a:lnTo>
                    <a:lnTo>
                      <a:pt x="302" y="539"/>
                    </a:lnTo>
                    <a:lnTo>
                      <a:pt x="301" y="539"/>
                    </a:lnTo>
                    <a:lnTo>
                      <a:pt x="299" y="539"/>
                    </a:lnTo>
                    <a:lnTo>
                      <a:pt x="297" y="539"/>
                    </a:lnTo>
                    <a:lnTo>
                      <a:pt x="297" y="537"/>
                    </a:lnTo>
                    <a:lnTo>
                      <a:pt x="295" y="537"/>
                    </a:lnTo>
                    <a:lnTo>
                      <a:pt x="295" y="536"/>
                    </a:lnTo>
                    <a:lnTo>
                      <a:pt x="295" y="537"/>
                    </a:lnTo>
                    <a:lnTo>
                      <a:pt x="294" y="536"/>
                    </a:lnTo>
                    <a:lnTo>
                      <a:pt x="292" y="537"/>
                    </a:lnTo>
                    <a:lnTo>
                      <a:pt x="292" y="536"/>
                    </a:lnTo>
                    <a:lnTo>
                      <a:pt x="290" y="536"/>
                    </a:lnTo>
                    <a:lnTo>
                      <a:pt x="290" y="534"/>
                    </a:lnTo>
                    <a:lnTo>
                      <a:pt x="289" y="532"/>
                    </a:lnTo>
                    <a:lnTo>
                      <a:pt x="289" y="530"/>
                    </a:lnTo>
                    <a:lnTo>
                      <a:pt x="290" y="530"/>
                    </a:lnTo>
                    <a:lnTo>
                      <a:pt x="290" y="529"/>
                    </a:lnTo>
                    <a:lnTo>
                      <a:pt x="292" y="529"/>
                    </a:lnTo>
                    <a:lnTo>
                      <a:pt x="292" y="527"/>
                    </a:lnTo>
                    <a:lnTo>
                      <a:pt x="292" y="525"/>
                    </a:lnTo>
                    <a:lnTo>
                      <a:pt x="290" y="525"/>
                    </a:lnTo>
                    <a:lnTo>
                      <a:pt x="290" y="524"/>
                    </a:lnTo>
                    <a:lnTo>
                      <a:pt x="290" y="522"/>
                    </a:lnTo>
                    <a:lnTo>
                      <a:pt x="292" y="520"/>
                    </a:lnTo>
                    <a:lnTo>
                      <a:pt x="290" y="520"/>
                    </a:lnTo>
                    <a:lnTo>
                      <a:pt x="290" y="519"/>
                    </a:lnTo>
                    <a:lnTo>
                      <a:pt x="289" y="517"/>
                    </a:lnTo>
                    <a:lnTo>
                      <a:pt x="287" y="515"/>
                    </a:lnTo>
                    <a:lnTo>
                      <a:pt x="287" y="517"/>
                    </a:lnTo>
                    <a:lnTo>
                      <a:pt x="287" y="519"/>
                    </a:lnTo>
                    <a:lnTo>
                      <a:pt x="287" y="517"/>
                    </a:lnTo>
                    <a:lnTo>
                      <a:pt x="285" y="517"/>
                    </a:lnTo>
                    <a:lnTo>
                      <a:pt x="285" y="519"/>
                    </a:lnTo>
                    <a:lnTo>
                      <a:pt x="284" y="519"/>
                    </a:lnTo>
                    <a:lnTo>
                      <a:pt x="284" y="517"/>
                    </a:lnTo>
                    <a:lnTo>
                      <a:pt x="282" y="517"/>
                    </a:lnTo>
                    <a:lnTo>
                      <a:pt x="280" y="517"/>
                    </a:lnTo>
                    <a:lnTo>
                      <a:pt x="280" y="515"/>
                    </a:lnTo>
                    <a:lnTo>
                      <a:pt x="278" y="515"/>
                    </a:lnTo>
                    <a:lnTo>
                      <a:pt x="277" y="515"/>
                    </a:lnTo>
                    <a:lnTo>
                      <a:pt x="277" y="513"/>
                    </a:lnTo>
                    <a:lnTo>
                      <a:pt x="278" y="513"/>
                    </a:lnTo>
                    <a:lnTo>
                      <a:pt x="278" y="512"/>
                    </a:lnTo>
                    <a:lnTo>
                      <a:pt x="278" y="510"/>
                    </a:lnTo>
                    <a:lnTo>
                      <a:pt x="280" y="510"/>
                    </a:lnTo>
                    <a:lnTo>
                      <a:pt x="278" y="510"/>
                    </a:lnTo>
                    <a:lnTo>
                      <a:pt x="278" y="508"/>
                    </a:lnTo>
                    <a:lnTo>
                      <a:pt x="278" y="507"/>
                    </a:lnTo>
                    <a:lnTo>
                      <a:pt x="277" y="507"/>
                    </a:lnTo>
                    <a:lnTo>
                      <a:pt x="277" y="505"/>
                    </a:lnTo>
                    <a:lnTo>
                      <a:pt x="275" y="505"/>
                    </a:lnTo>
                    <a:lnTo>
                      <a:pt x="277" y="505"/>
                    </a:lnTo>
                    <a:lnTo>
                      <a:pt x="277" y="503"/>
                    </a:lnTo>
                    <a:lnTo>
                      <a:pt x="275" y="503"/>
                    </a:lnTo>
                    <a:lnTo>
                      <a:pt x="275" y="502"/>
                    </a:lnTo>
                    <a:lnTo>
                      <a:pt x="273" y="500"/>
                    </a:lnTo>
                    <a:lnTo>
                      <a:pt x="272" y="498"/>
                    </a:lnTo>
                    <a:lnTo>
                      <a:pt x="272" y="500"/>
                    </a:lnTo>
                    <a:lnTo>
                      <a:pt x="270" y="498"/>
                    </a:lnTo>
                    <a:lnTo>
                      <a:pt x="270" y="500"/>
                    </a:lnTo>
                    <a:lnTo>
                      <a:pt x="268" y="500"/>
                    </a:lnTo>
                    <a:lnTo>
                      <a:pt x="268" y="498"/>
                    </a:lnTo>
                    <a:lnTo>
                      <a:pt x="268" y="500"/>
                    </a:lnTo>
                    <a:lnTo>
                      <a:pt x="267" y="498"/>
                    </a:lnTo>
                    <a:lnTo>
                      <a:pt x="265" y="498"/>
                    </a:lnTo>
                    <a:lnTo>
                      <a:pt x="265" y="496"/>
                    </a:lnTo>
                    <a:lnTo>
                      <a:pt x="265" y="495"/>
                    </a:lnTo>
                    <a:lnTo>
                      <a:pt x="263" y="495"/>
                    </a:lnTo>
                    <a:lnTo>
                      <a:pt x="263" y="493"/>
                    </a:lnTo>
                    <a:lnTo>
                      <a:pt x="261" y="493"/>
                    </a:lnTo>
                    <a:lnTo>
                      <a:pt x="261" y="495"/>
                    </a:lnTo>
                    <a:lnTo>
                      <a:pt x="261" y="493"/>
                    </a:lnTo>
                    <a:lnTo>
                      <a:pt x="260" y="493"/>
                    </a:lnTo>
                    <a:lnTo>
                      <a:pt x="260" y="491"/>
                    </a:lnTo>
                    <a:lnTo>
                      <a:pt x="261" y="491"/>
                    </a:lnTo>
                    <a:lnTo>
                      <a:pt x="260" y="491"/>
                    </a:lnTo>
                    <a:lnTo>
                      <a:pt x="260" y="493"/>
                    </a:lnTo>
                    <a:lnTo>
                      <a:pt x="258" y="493"/>
                    </a:lnTo>
                    <a:lnTo>
                      <a:pt x="258" y="491"/>
                    </a:lnTo>
                    <a:lnTo>
                      <a:pt x="256" y="491"/>
                    </a:lnTo>
                    <a:lnTo>
                      <a:pt x="255" y="491"/>
                    </a:lnTo>
                    <a:lnTo>
                      <a:pt x="253" y="491"/>
                    </a:lnTo>
                    <a:lnTo>
                      <a:pt x="253" y="490"/>
                    </a:lnTo>
                    <a:lnTo>
                      <a:pt x="251" y="490"/>
                    </a:lnTo>
                    <a:lnTo>
                      <a:pt x="253" y="490"/>
                    </a:lnTo>
                    <a:lnTo>
                      <a:pt x="253" y="488"/>
                    </a:lnTo>
                    <a:lnTo>
                      <a:pt x="251" y="488"/>
                    </a:lnTo>
                    <a:lnTo>
                      <a:pt x="251" y="486"/>
                    </a:lnTo>
                    <a:lnTo>
                      <a:pt x="251" y="488"/>
                    </a:lnTo>
                    <a:lnTo>
                      <a:pt x="251" y="486"/>
                    </a:lnTo>
                    <a:lnTo>
                      <a:pt x="253" y="486"/>
                    </a:lnTo>
                    <a:lnTo>
                      <a:pt x="251" y="486"/>
                    </a:lnTo>
                    <a:lnTo>
                      <a:pt x="253" y="485"/>
                    </a:lnTo>
                    <a:lnTo>
                      <a:pt x="251" y="485"/>
                    </a:lnTo>
                    <a:lnTo>
                      <a:pt x="251" y="483"/>
                    </a:lnTo>
                    <a:lnTo>
                      <a:pt x="250" y="483"/>
                    </a:lnTo>
                    <a:lnTo>
                      <a:pt x="250" y="481"/>
                    </a:lnTo>
                    <a:lnTo>
                      <a:pt x="248" y="481"/>
                    </a:lnTo>
                    <a:lnTo>
                      <a:pt x="250" y="481"/>
                    </a:lnTo>
                    <a:lnTo>
                      <a:pt x="250" y="479"/>
                    </a:lnTo>
                    <a:lnTo>
                      <a:pt x="248" y="479"/>
                    </a:lnTo>
                    <a:lnTo>
                      <a:pt x="250" y="478"/>
                    </a:lnTo>
                    <a:lnTo>
                      <a:pt x="248" y="478"/>
                    </a:lnTo>
                    <a:lnTo>
                      <a:pt x="248" y="476"/>
                    </a:lnTo>
                    <a:lnTo>
                      <a:pt x="248" y="474"/>
                    </a:lnTo>
                    <a:lnTo>
                      <a:pt x="248" y="476"/>
                    </a:lnTo>
                    <a:lnTo>
                      <a:pt x="246" y="476"/>
                    </a:lnTo>
                    <a:lnTo>
                      <a:pt x="246" y="474"/>
                    </a:lnTo>
                    <a:lnTo>
                      <a:pt x="248" y="474"/>
                    </a:lnTo>
                    <a:lnTo>
                      <a:pt x="246" y="474"/>
                    </a:lnTo>
                    <a:lnTo>
                      <a:pt x="246" y="473"/>
                    </a:lnTo>
                    <a:lnTo>
                      <a:pt x="244" y="473"/>
                    </a:lnTo>
                    <a:lnTo>
                      <a:pt x="243" y="473"/>
                    </a:lnTo>
                    <a:lnTo>
                      <a:pt x="243" y="471"/>
                    </a:lnTo>
                    <a:lnTo>
                      <a:pt x="241" y="469"/>
                    </a:lnTo>
                    <a:lnTo>
                      <a:pt x="239" y="469"/>
                    </a:lnTo>
                    <a:lnTo>
                      <a:pt x="238" y="469"/>
                    </a:lnTo>
                    <a:lnTo>
                      <a:pt x="238" y="468"/>
                    </a:lnTo>
                    <a:lnTo>
                      <a:pt x="238" y="469"/>
                    </a:lnTo>
                    <a:lnTo>
                      <a:pt x="236" y="469"/>
                    </a:lnTo>
                    <a:lnTo>
                      <a:pt x="236" y="468"/>
                    </a:lnTo>
                    <a:lnTo>
                      <a:pt x="236" y="466"/>
                    </a:lnTo>
                    <a:lnTo>
                      <a:pt x="236" y="464"/>
                    </a:lnTo>
                    <a:lnTo>
                      <a:pt x="234" y="464"/>
                    </a:lnTo>
                    <a:lnTo>
                      <a:pt x="234" y="462"/>
                    </a:lnTo>
                    <a:lnTo>
                      <a:pt x="234" y="464"/>
                    </a:lnTo>
                    <a:lnTo>
                      <a:pt x="233" y="464"/>
                    </a:lnTo>
                    <a:lnTo>
                      <a:pt x="231" y="466"/>
                    </a:lnTo>
                    <a:lnTo>
                      <a:pt x="231" y="464"/>
                    </a:lnTo>
                    <a:lnTo>
                      <a:pt x="229" y="464"/>
                    </a:lnTo>
                    <a:lnTo>
                      <a:pt x="229" y="462"/>
                    </a:lnTo>
                    <a:lnTo>
                      <a:pt x="227" y="462"/>
                    </a:lnTo>
                    <a:lnTo>
                      <a:pt x="226" y="461"/>
                    </a:lnTo>
                    <a:lnTo>
                      <a:pt x="224" y="459"/>
                    </a:lnTo>
                    <a:lnTo>
                      <a:pt x="222" y="459"/>
                    </a:lnTo>
                    <a:lnTo>
                      <a:pt x="221" y="459"/>
                    </a:lnTo>
                    <a:lnTo>
                      <a:pt x="221" y="457"/>
                    </a:lnTo>
                    <a:lnTo>
                      <a:pt x="221" y="459"/>
                    </a:lnTo>
                    <a:lnTo>
                      <a:pt x="219" y="461"/>
                    </a:lnTo>
                    <a:lnTo>
                      <a:pt x="217" y="461"/>
                    </a:lnTo>
                    <a:lnTo>
                      <a:pt x="216" y="461"/>
                    </a:lnTo>
                    <a:lnTo>
                      <a:pt x="214" y="461"/>
                    </a:lnTo>
                    <a:lnTo>
                      <a:pt x="214" y="459"/>
                    </a:lnTo>
                    <a:lnTo>
                      <a:pt x="212" y="459"/>
                    </a:lnTo>
                    <a:lnTo>
                      <a:pt x="210" y="459"/>
                    </a:lnTo>
                    <a:lnTo>
                      <a:pt x="210" y="457"/>
                    </a:lnTo>
                    <a:lnTo>
                      <a:pt x="209" y="457"/>
                    </a:lnTo>
                    <a:lnTo>
                      <a:pt x="207" y="457"/>
                    </a:lnTo>
                    <a:lnTo>
                      <a:pt x="207" y="456"/>
                    </a:lnTo>
                    <a:lnTo>
                      <a:pt x="205" y="456"/>
                    </a:lnTo>
                    <a:lnTo>
                      <a:pt x="204" y="456"/>
                    </a:lnTo>
                    <a:lnTo>
                      <a:pt x="202" y="456"/>
                    </a:lnTo>
                    <a:lnTo>
                      <a:pt x="200" y="456"/>
                    </a:lnTo>
                    <a:lnTo>
                      <a:pt x="200" y="454"/>
                    </a:lnTo>
                    <a:lnTo>
                      <a:pt x="199" y="454"/>
                    </a:lnTo>
                    <a:lnTo>
                      <a:pt x="199" y="452"/>
                    </a:lnTo>
                    <a:lnTo>
                      <a:pt x="197" y="452"/>
                    </a:lnTo>
                    <a:lnTo>
                      <a:pt x="197" y="451"/>
                    </a:lnTo>
                    <a:lnTo>
                      <a:pt x="195" y="451"/>
                    </a:lnTo>
                    <a:lnTo>
                      <a:pt x="195" y="449"/>
                    </a:lnTo>
                    <a:lnTo>
                      <a:pt x="193" y="449"/>
                    </a:lnTo>
                    <a:lnTo>
                      <a:pt x="193" y="447"/>
                    </a:lnTo>
                    <a:lnTo>
                      <a:pt x="192" y="447"/>
                    </a:lnTo>
                    <a:lnTo>
                      <a:pt x="192" y="445"/>
                    </a:lnTo>
                    <a:lnTo>
                      <a:pt x="190" y="445"/>
                    </a:lnTo>
                    <a:lnTo>
                      <a:pt x="190" y="444"/>
                    </a:lnTo>
                    <a:lnTo>
                      <a:pt x="188" y="444"/>
                    </a:lnTo>
                    <a:lnTo>
                      <a:pt x="187" y="444"/>
                    </a:lnTo>
                    <a:lnTo>
                      <a:pt x="185" y="444"/>
                    </a:lnTo>
                    <a:lnTo>
                      <a:pt x="185" y="442"/>
                    </a:lnTo>
                    <a:lnTo>
                      <a:pt x="183" y="442"/>
                    </a:lnTo>
                    <a:lnTo>
                      <a:pt x="183" y="444"/>
                    </a:lnTo>
                    <a:lnTo>
                      <a:pt x="182" y="444"/>
                    </a:lnTo>
                    <a:lnTo>
                      <a:pt x="180" y="444"/>
                    </a:lnTo>
                    <a:lnTo>
                      <a:pt x="180" y="445"/>
                    </a:lnTo>
                    <a:lnTo>
                      <a:pt x="180" y="449"/>
                    </a:lnTo>
                    <a:lnTo>
                      <a:pt x="178" y="449"/>
                    </a:lnTo>
                    <a:lnTo>
                      <a:pt x="176" y="449"/>
                    </a:lnTo>
                    <a:lnTo>
                      <a:pt x="175" y="449"/>
                    </a:lnTo>
                    <a:lnTo>
                      <a:pt x="173" y="449"/>
                    </a:lnTo>
                    <a:lnTo>
                      <a:pt x="171" y="449"/>
                    </a:lnTo>
                    <a:lnTo>
                      <a:pt x="171" y="447"/>
                    </a:lnTo>
                    <a:lnTo>
                      <a:pt x="170" y="447"/>
                    </a:lnTo>
                    <a:lnTo>
                      <a:pt x="168" y="447"/>
                    </a:lnTo>
                    <a:lnTo>
                      <a:pt x="168" y="449"/>
                    </a:lnTo>
                    <a:lnTo>
                      <a:pt x="166" y="447"/>
                    </a:lnTo>
                    <a:lnTo>
                      <a:pt x="166" y="449"/>
                    </a:lnTo>
                    <a:lnTo>
                      <a:pt x="166" y="447"/>
                    </a:lnTo>
                    <a:lnTo>
                      <a:pt x="166" y="449"/>
                    </a:lnTo>
                    <a:lnTo>
                      <a:pt x="165" y="449"/>
                    </a:lnTo>
                    <a:lnTo>
                      <a:pt x="163" y="449"/>
                    </a:lnTo>
                    <a:lnTo>
                      <a:pt x="163" y="447"/>
                    </a:lnTo>
                    <a:lnTo>
                      <a:pt x="161" y="447"/>
                    </a:lnTo>
                    <a:lnTo>
                      <a:pt x="159" y="447"/>
                    </a:lnTo>
                    <a:lnTo>
                      <a:pt x="158" y="447"/>
                    </a:lnTo>
                    <a:lnTo>
                      <a:pt x="158" y="445"/>
                    </a:lnTo>
                    <a:lnTo>
                      <a:pt x="156" y="445"/>
                    </a:lnTo>
                    <a:lnTo>
                      <a:pt x="156" y="444"/>
                    </a:lnTo>
                    <a:lnTo>
                      <a:pt x="154" y="444"/>
                    </a:lnTo>
                    <a:lnTo>
                      <a:pt x="153" y="444"/>
                    </a:lnTo>
                    <a:lnTo>
                      <a:pt x="153" y="445"/>
                    </a:lnTo>
                    <a:lnTo>
                      <a:pt x="153" y="444"/>
                    </a:lnTo>
                    <a:lnTo>
                      <a:pt x="151" y="445"/>
                    </a:lnTo>
                    <a:lnTo>
                      <a:pt x="151" y="444"/>
                    </a:lnTo>
                    <a:lnTo>
                      <a:pt x="151" y="445"/>
                    </a:lnTo>
                    <a:lnTo>
                      <a:pt x="149" y="444"/>
                    </a:lnTo>
                    <a:lnTo>
                      <a:pt x="148" y="444"/>
                    </a:lnTo>
                    <a:lnTo>
                      <a:pt x="146" y="444"/>
                    </a:lnTo>
                    <a:lnTo>
                      <a:pt x="146" y="442"/>
                    </a:lnTo>
                    <a:lnTo>
                      <a:pt x="144" y="442"/>
                    </a:lnTo>
                    <a:lnTo>
                      <a:pt x="142" y="444"/>
                    </a:lnTo>
                    <a:lnTo>
                      <a:pt x="142" y="442"/>
                    </a:lnTo>
                    <a:lnTo>
                      <a:pt x="142" y="440"/>
                    </a:lnTo>
                    <a:lnTo>
                      <a:pt x="142" y="439"/>
                    </a:lnTo>
                    <a:lnTo>
                      <a:pt x="142" y="437"/>
                    </a:lnTo>
                    <a:lnTo>
                      <a:pt x="144" y="437"/>
                    </a:lnTo>
                    <a:lnTo>
                      <a:pt x="144" y="435"/>
                    </a:lnTo>
                    <a:lnTo>
                      <a:pt x="142" y="435"/>
                    </a:lnTo>
                    <a:lnTo>
                      <a:pt x="141" y="435"/>
                    </a:lnTo>
                    <a:lnTo>
                      <a:pt x="141" y="433"/>
                    </a:lnTo>
                    <a:lnTo>
                      <a:pt x="139" y="433"/>
                    </a:lnTo>
                    <a:lnTo>
                      <a:pt x="137" y="433"/>
                    </a:lnTo>
                    <a:lnTo>
                      <a:pt x="137" y="432"/>
                    </a:lnTo>
                    <a:lnTo>
                      <a:pt x="136" y="432"/>
                    </a:lnTo>
                    <a:lnTo>
                      <a:pt x="137" y="432"/>
                    </a:lnTo>
                    <a:lnTo>
                      <a:pt x="137" y="430"/>
                    </a:lnTo>
                    <a:lnTo>
                      <a:pt x="137" y="428"/>
                    </a:lnTo>
                    <a:lnTo>
                      <a:pt x="136" y="428"/>
                    </a:lnTo>
                    <a:lnTo>
                      <a:pt x="134" y="428"/>
                    </a:lnTo>
                    <a:lnTo>
                      <a:pt x="132" y="428"/>
                    </a:lnTo>
                    <a:lnTo>
                      <a:pt x="132" y="430"/>
                    </a:lnTo>
                    <a:lnTo>
                      <a:pt x="131" y="430"/>
                    </a:lnTo>
                    <a:lnTo>
                      <a:pt x="129" y="430"/>
                    </a:lnTo>
                    <a:lnTo>
                      <a:pt x="129" y="428"/>
                    </a:lnTo>
                    <a:lnTo>
                      <a:pt x="127" y="428"/>
                    </a:lnTo>
                    <a:lnTo>
                      <a:pt x="125" y="428"/>
                    </a:lnTo>
                    <a:lnTo>
                      <a:pt x="125" y="427"/>
                    </a:lnTo>
                    <a:lnTo>
                      <a:pt x="124" y="427"/>
                    </a:lnTo>
                    <a:lnTo>
                      <a:pt x="122" y="427"/>
                    </a:lnTo>
                    <a:lnTo>
                      <a:pt x="122" y="425"/>
                    </a:lnTo>
                    <a:lnTo>
                      <a:pt x="120" y="425"/>
                    </a:lnTo>
                    <a:lnTo>
                      <a:pt x="119" y="425"/>
                    </a:lnTo>
                    <a:lnTo>
                      <a:pt x="120" y="423"/>
                    </a:lnTo>
                    <a:lnTo>
                      <a:pt x="119" y="423"/>
                    </a:lnTo>
                    <a:lnTo>
                      <a:pt x="119" y="422"/>
                    </a:lnTo>
                    <a:lnTo>
                      <a:pt x="117" y="422"/>
                    </a:lnTo>
                    <a:lnTo>
                      <a:pt x="117" y="420"/>
                    </a:lnTo>
                    <a:lnTo>
                      <a:pt x="117" y="418"/>
                    </a:lnTo>
                    <a:lnTo>
                      <a:pt x="115" y="416"/>
                    </a:lnTo>
                    <a:lnTo>
                      <a:pt x="114" y="416"/>
                    </a:lnTo>
                    <a:lnTo>
                      <a:pt x="114" y="418"/>
                    </a:lnTo>
                    <a:lnTo>
                      <a:pt x="112" y="418"/>
                    </a:lnTo>
                    <a:lnTo>
                      <a:pt x="112" y="416"/>
                    </a:lnTo>
                    <a:lnTo>
                      <a:pt x="110" y="416"/>
                    </a:lnTo>
                    <a:lnTo>
                      <a:pt x="108" y="416"/>
                    </a:lnTo>
                    <a:lnTo>
                      <a:pt x="108" y="415"/>
                    </a:lnTo>
                    <a:lnTo>
                      <a:pt x="107" y="415"/>
                    </a:lnTo>
                    <a:lnTo>
                      <a:pt x="105" y="415"/>
                    </a:lnTo>
                    <a:lnTo>
                      <a:pt x="105" y="413"/>
                    </a:lnTo>
                    <a:lnTo>
                      <a:pt x="103" y="413"/>
                    </a:lnTo>
                    <a:lnTo>
                      <a:pt x="103" y="411"/>
                    </a:lnTo>
                    <a:lnTo>
                      <a:pt x="102" y="411"/>
                    </a:lnTo>
                    <a:lnTo>
                      <a:pt x="102" y="410"/>
                    </a:lnTo>
                    <a:lnTo>
                      <a:pt x="100" y="410"/>
                    </a:lnTo>
                    <a:lnTo>
                      <a:pt x="98" y="408"/>
                    </a:lnTo>
                    <a:lnTo>
                      <a:pt x="98" y="406"/>
                    </a:lnTo>
                    <a:lnTo>
                      <a:pt x="97" y="406"/>
                    </a:lnTo>
                    <a:lnTo>
                      <a:pt x="97" y="405"/>
                    </a:lnTo>
                    <a:lnTo>
                      <a:pt x="95" y="405"/>
                    </a:lnTo>
                    <a:lnTo>
                      <a:pt x="95" y="403"/>
                    </a:lnTo>
                    <a:lnTo>
                      <a:pt x="93" y="403"/>
                    </a:lnTo>
                    <a:lnTo>
                      <a:pt x="91" y="401"/>
                    </a:lnTo>
                    <a:lnTo>
                      <a:pt x="93" y="401"/>
                    </a:lnTo>
                    <a:lnTo>
                      <a:pt x="91" y="401"/>
                    </a:lnTo>
                    <a:lnTo>
                      <a:pt x="93" y="401"/>
                    </a:lnTo>
                    <a:lnTo>
                      <a:pt x="93" y="399"/>
                    </a:lnTo>
                    <a:lnTo>
                      <a:pt x="95" y="399"/>
                    </a:lnTo>
                    <a:lnTo>
                      <a:pt x="95" y="398"/>
                    </a:lnTo>
                    <a:lnTo>
                      <a:pt x="97" y="398"/>
                    </a:lnTo>
                    <a:lnTo>
                      <a:pt x="97" y="396"/>
                    </a:lnTo>
                    <a:lnTo>
                      <a:pt x="98" y="396"/>
                    </a:lnTo>
                    <a:lnTo>
                      <a:pt x="98" y="394"/>
                    </a:lnTo>
                    <a:lnTo>
                      <a:pt x="98" y="396"/>
                    </a:lnTo>
                    <a:lnTo>
                      <a:pt x="100" y="396"/>
                    </a:lnTo>
                    <a:lnTo>
                      <a:pt x="102" y="396"/>
                    </a:lnTo>
                    <a:lnTo>
                      <a:pt x="102" y="398"/>
                    </a:lnTo>
                    <a:lnTo>
                      <a:pt x="102" y="396"/>
                    </a:lnTo>
                    <a:lnTo>
                      <a:pt x="103" y="398"/>
                    </a:lnTo>
                    <a:lnTo>
                      <a:pt x="103" y="396"/>
                    </a:lnTo>
                    <a:lnTo>
                      <a:pt x="103" y="398"/>
                    </a:lnTo>
                    <a:lnTo>
                      <a:pt x="103" y="396"/>
                    </a:lnTo>
                    <a:lnTo>
                      <a:pt x="105" y="396"/>
                    </a:lnTo>
                    <a:lnTo>
                      <a:pt x="107" y="396"/>
                    </a:lnTo>
                    <a:lnTo>
                      <a:pt x="105" y="396"/>
                    </a:lnTo>
                    <a:lnTo>
                      <a:pt x="107" y="398"/>
                    </a:lnTo>
                    <a:lnTo>
                      <a:pt x="107" y="396"/>
                    </a:lnTo>
                    <a:lnTo>
                      <a:pt x="108" y="396"/>
                    </a:lnTo>
                    <a:lnTo>
                      <a:pt x="108" y="394"/>
                    </a:lnTo>
                    <a:lnTo>
                      <a:pt x="108" y="393"/>
                    </a:lnTo>
                    <a:lnTo>
                      <a:pt x="107" y="393"/>
                    </a:lnTo>
                    <a:lnTo>
                      <a:pt x="107" y="391"/>
                    </a:lnTo>
                    <a:lnTo>
                      <a:pt x="105" y="391"/>
                    </a:lnTo>
                    <a:lnTo>
                      <a:pt x="107" y="391"/>
                    </a:lnTo>
                    <a:lnTo>
                      <a:pt x="105" y="389"/>
                    </a:lnTo>
                    <a:lnTo>
                      <a:pt x="103" y="391"/>
                    </a:lnTo>
                    <a:lnTo>
                      <a:pt x="103" y="389"/>
                    </a:lnTo>
                    <a:lnTo>
                      <a:pt x="103" y="388"/>
                    </a:lnTo>
                    <a:lnTo>
                      <a:pt x="103" y="386"/>
                    </a:lnTo>
                    <a:lnTo>
                      <a:pt x="102" y="386"/>
                    </a:lnTo>
                    <a:lnTo>
                      <a:pt x="102" y="384"/>
                    </a:lnTo>
                    <a:lnTo>
                      <a:pt x="102" y="382"/>
                    </a:lnTo>
                    <a:lnTo>
                      <a:pt x="103" y="382"/>
                    </a:lnTo>
                    <a:lnTo>
                      <a:pt x="103" y="381"/>
                    </a:lnTo>
                    <a:lnTo>
                      <a:pt x="105" y="381"/>
                    </a:lnTo>
                    <a:lnTo>
                      <a:pt x="103" y="381"/>
                    </a:lnTo>
                    <a:lnTo>
                      <a:pt x="103" y="379"/>
                    </a:lnTo>
                    <a:lnTo>
                      <a:pt x="105" y="379"/>
                    </a:lnTo>
                    <a:lnTo>
                      <a:pt x="105" y="377"/>
                    </a:lnTo>
                    <a:lnTo>
                      <a:pt x="105" y="376"/>
                    </a:lnTo>
                    <a:lnTo>
                      <a:pt x="107" y="376"/>
                    </a:lnTo>
                    <a:lnTo>
                      <a:pt x="107" y="374"/>
                    </a:lnTo>
                    <a:lnTo>
                      <a:pt x="108" y="374"/>
                    </a:lnTo>
                    <a:lnTo>
                      <a:pt x="107" y="374"/>
                    </a:lnTo>
                    <a:lnTo>
                      <a:pt x="108" y="374"/>
                    </a:lnTo>
                    <a:lnTo>
                      <a:pt x="107" y="374"/>
                    </a:lnTo>
                    <a:lnTo>
                      <a:pt x="108" y="372"/>
                    </a:lnTo>
                    <a:lnTo>
                      <a:pt x="110" y="374"/>
                    </a:lnTo>
                    <a:lnTo>
                      <a:pt x="110" y="372"/>
                    </a:lnTo>
                    <a:lnTo>
                      <a:pt x="108" y="372"/>
                    </a:lnTo>
                    <a:lnTo>
                      <a:pt x="110" y="371"/>
                    </a:lnTo>
                    <a:lnTo>
                      <a:pt x="112" y="372"/>
                    </a:lnTo>
                    <a:lnTo>
                      <a:pt x="112" y="371"/>
                    </a:lnTo>
                    <a:lnTo>
                      <a:pt x="110" y="371"/>
                    </a:lnTo>
                    <a:lnTo>
                      <a:pt x="110" y="369"/>
                    </a:lnTo>
                    <a:lnTo>
                      <a:pt x="112" y="369"/>
                    </a:lnTo>
                    <a:lnTo>
                      <a:pt x="112" y="371"/>
                    </a:lnTo>
                    <a:lnTo>
                      <a:pt x="114" y="371"/>
                    </a:lnTo>
                    <a:lnTo>
                      <a:pt x="114" y="372"/>
                    </a:lnTo>
                    <a:lnTo>
                      <a:pt x="114" y="371"/>
                    </a:lnTo>
                    <a:lnTo>
                      <a:pt x="115" y="371"/>
                    </a:lnTo>
                    <a:lnTo>
                      <a:pt x="114" y="371"/>
                    </a:lnTo>
                    <a:lnTo>
                      <a:pt x="114" y="369"/>
                    </a:lnTo>
                    <a:lnTo>
                      <a:pt x="114" y="367"/>
                    </a:lnTo>
                    <a:lnTo>
                      <a:pt x="115" y="367"/>
                    </a:lnTo>
                    <a:lnTo>
                      <a:pt x="115" y="369"/>
                    </a:lnTo>
                    <a:lnTo>
                      <a:pt x="115" y="371"/>
                    </a:lnTo>
                    <a:lnTo>
                      <a:pt x="117" y="371"/>
                    </a:lnTo>
                    <a:lnTo>
                      <a:pt x="115" y="369"/>
                    </a:lnTo>
                    <a:lnTo>
                      <a:pt x="117" y="371"/>
                    </a:lnTo>
                    <a:lnTo>
                      <a:pt x="119" y="372"/>
                    </a:lnTo>
                    <a:lnTo>
                      <a:pt x="119" y="371"/>
                    </a:lnTo>
                    <a:lnTo>
                      <a:pt x="117" y="371"/>
                    </a:lnTo>
                    <a:lnTo>
                      <a:pt x="117" y="369"/>
                    </a:lnTo>
                    <a:lnTo>
                      <a:pt x="115" y="367"/>
                    </a:lnTo>
                    <a:lnTo>
                      <a:pt x="117" y="367"/>
                    </a:lnTo>
                    <a:lnTo>
                      <a:pt x="119" y="367"/>
                    </a:lnTo>
                    <a:lnTo>
                      <a:pt x="119" y="369"/>
                    </a:lnTo>
                    <a:lnTo>
                      <a:pt x="120" y="369"/>
                    </a:lnTo>
                    <a:lnTo>
                      <a:pt x="120" y="367"/>
                    </a:lnTo>
                    <a:lnTo>
                      <a:pt x="119" y="367"/>
                    </a:lnTo>
                    <a:lnTo>
                      <a:pt x="120" y="367"/>
                    </a:lnTo>
                    <a:lnTo>
                      <a:pt x="120" y="365"/>
                    </a:lnTo>
                    <a:lnTo>
                      <a:pt x="122" y="365"/>
                    </a:lnTo>
                    <a:lnTo>
                      <a:pt x="122" y="367"/>
                    </a:lnTo>
                    <a:lnTo>
                      <a:pt x="120" y="367"/>
                    </a:lnTo>
                    <a:lnTo>
                      <a:pt x="120" y="369"/>
                    </a:lnTo>
                    <a:lnTo>
                      <a:pt x="120" y="371"/>
                    </a:lnTo>
                    <a:lnTo>
                      <a:pt x="122" y="371"/>
                    </a:lnTo>
                    <a:lnTo>
                      <a:pt x="122" y="369"/>
                    </a:lnTo>
                    <a:lnTo>
                      <a:pt x="122" y="367"/>
                    </a:lnTo>
                    <a:lnTo>
                      <a:pt x="122" y="369"/>
                    </a:lnTo>
                    <a:lnTo>
                      <a:pt x="124" y="369"/>
                    </a:lnTo>
                    <a:lnTo>
                      <a:pt x="122" y="369"/>
                    </a:lnTo>
                    <a:lnTo>
                      <a:pt x="122" y="367"/>
                    </a:lnTo>
                    <a:lnTo>
                      <a:pt x="124" y="367"/>
                    </a:lnTo>
                    <a:lnTo>
                      <a:pt x="124" y="369"/>
                    </a:lnTo>
                    <a:lnTo>
                      <a:pt x="125" y="367"/>
                    </a:lnTo>
                    <a:lnTo>
                      <a:pt x="127" y="367"/>
                    </a:lnTo>
                    <a:lnTo>
                      <a:pt x="129" y="369"/>
                    </a:lnTo>
                    <a:lnTo>
                      <a:pt x="129" y="367"/>
                    </a:lnTo>
                    <a:lnTo>
                      <a:pt x="129" y="369"/>
                    </a:lnTo>
                    <a:lnTo>
                      <a:pt x="129" y="367"/>
                    </a:lnTo>
                    <a:lnTo>
                      <a:pt x="129" y="365"/>
                    </a:lnTo>
                    <a:lnTo>
                      <a:pt x="131" y="365"/>
                    </a:lnTo>
                    <a:lnTo>
                      <a:pt x="131" y="367"/>
                    </a:lnTo>
                    <a:lnTo>
                      <a:pt x="131" y="365"/>
                    </a:lnTo>
                    <a:lnTo>
                      <a:pt x="132" y="365"/>
                    </a:lnTo>
                    <a:lnTo>
                      <a:pt x="132" y="367"/>
                    </a:lnTo>
                    <a:lnTo>
                      <a:pt x="134" y="367"/>
                    </a:lnTo>
                    <a:lnTo>
                      <a:pt x="134" y="365"/>
                    </a:lnTo>
                    <a:lnTo>
                      <a:pt x="132" y="365"/>
                    </a:lnTo>
                    <a:lnTo>
                      <a:pt x="132" y="364"/>
                    </a:lnTo>
                    <a:lnTo>
                      <a:pt x="134" y="364"/>
                    </a:lnTo>
                    <a:lnTo>
                      <a:pt x="136" y="364"/>
                    </a:lnTo>
                    <a:lnTo>
                      <a:pt x="136" y="362"/>
                    </a:lnTo>
                    <a:lnTo>
                      <a:pt x="136" y="364"/>
                    </a:lnTo>
                    <a:lnTo>
                      <a:pt x="136" y="362"/>
                    </a:lnTo>
                    <a:lnTo>
                      <a:pt x="134" y="362"/>
                    </a:lnTo>
                    <a:lnTo>
                      <a:pt x="136" y="362"/>
                    </a:lnTo>
                    <a:lnTo>
                      <a:pt x="136" y="360"/>
                    </a:lnTo>
                    <a:lnTo>
                      <a:pt x="137" y="360"/>
                    </a:lnTo>
                    <a:lnTo>
                      <a:pt x="137" y="359"/>
                    </a:lnTo>
                    <a:lnTo>
                      <a:pt x="136" y="359"/>
                    </a:lnTo>
                    <a:lnTo>
                      <a:pt x="137" y="359"/>
                    </a:lnTo>
                    <a:lnTo>
                      <a:pt x="137" y="357"/>
                    </a:lnTo>
                    <a:lnTo>
                      <a:pt x="137" y="359"/>
                    </a:lnTo>
                    <a:lnTo>
                      <a:pt x="137" y="357"/>
                    </a:lnTo>
                    <a:lnTo>
                      <a:pt x="137" y="355"/>
                    </a:lnTo>
                    <a:lnTo>
                      <a:pt x="136" y="357"/>
                    </a:lnTo>
                    <a:lnTo>
                      <a:pt x="137" y="355"/>
                    </a:lnTo>
                    <a:lnTo>
                      <a:pt x="137" y="354"/>
                    </a:lnTo>
                    <a:lnTo>
                      <a:pt x="137" y="355"/>
                    </a:lnTo>
                    <a:lnTo>
                      <a:pt x="137" y="354"/>
                    </a:lnTo>
                    <a:lnTo>
                      <a:pt x="139" y="354"/>
                    </a:lnTo>
                    <a:lnTo>
                      <a:pt x="139" y="352"/>
                    </a:lnTo>
                    <a:lnTo>
                      <a:pt x="141" y="350"/>
                    </a:lnTo>
                    <a:lnTo>
                      <a:pt x="141" y="352"/>
                    </a:lnTo>
                    <a:lnTo>
                      <a:pt x="141" y="350"/>
                    </a:lnTo>
                    <a:lnTo>
                      <a:pt x="141" y="348"/>
                    </a:lnTo>
                    <a:lnTo>
                      <a:pt x="142" y="348"/>
                    </a:lnTo>
                    <a:lnTo>
                      <a:pt x="144" y="348"/>
                    </a:lnTo>
                    <a:lnTo>
                      <a:pt x="142" y="348"/>
                    </a:lnTo>
                    <a:lnTo>
                      <a:pt x="144" y="348"/>
                    </a:lnTo>
                    <a:lnTo>
                      <a:pt x="142" y="348"/>
                    </a:lnTo>
                    <a:lnTo>
                      <a:pt x="142" y="347"/>
                    </a:lnTo>
                    <a:lnTo>
                      <a:pt x="142" y="348"/>
                    </a:lnTo>
                    <a:lnTo>
                      <a:pt x="141" y="347"/>
                    </a:lnTo>
                    <a:lnTo>
                      <a:pt x="142" y="347"/>
                    </a:lnTo>
                    <a:lnTo>
                      <a:pt x="142" y="345"/>
                    </a:lnTo>
                    <a:lnTo>
                      <a:pt x="144" y="345"/>
                    </a:lnTo>
                    <a:lnTo>
                      <a:pt x="144" y="343"/>
                    </a:lnTo>
                    <a:lnTo>
                      <a:pt x="146" y="343"/>
                    </a:lnTo>
                    <a:lnTo>
                      <a:pt x="146" y="342"/>
                    </a:lnTo>
                    <a:lnTo>
                      <a:pt x="148" y="342"/>
                    </a:lnTo>
                    <a:lnTo>
                      <a:pt x="148" y="340"/>
                    </a:lnTo>
                    <a:lnTo>
                      <a:pt x="148" y="342"/>
                    </a:lnTo>
                    <a:lnTo>
                      <a:pt x="149" y="342"/>
                    </a:lnTo>
                    <a:lnTo>
                      <a:pt x="149" y="340"/>
                    </a:lnTo>
                    <a:lnTo>
                      <a:pt x="148" y="340"/>
                    </a:lnTo>
                    <a:lnTo>
                      <a:pt x="148" y="338"/>
                    </a:lnTo>
                    <a:lnTo>
                      <a:pt x="149" y="338"/>
                    </a:lnTo>
                    <a:lnTo>
                      <a:pt x="151" y="338"/>
                    </a:lnTo>
                    <a:lnTo>
                      <a:pt x="149" y="338"/>
                    </a:lnTo>
                    <a:lnTo>
                      <a:pt x="151" y="338"/>
                    </a:lnTo>
                    <a:lnTo>
                      <a:pt x="149" y="338"/>
                    </a:lnTo>
                    <a:lnTo>
                      <a:pt x="149" y="337"/>
                    </a:lnTo>
                    <a:lnTo>
                      <a:pt x="151" y="337"/>
                    </a:lnTo>
                    <a:lnTo>
                      <a:pt x="153" y="337"/>
                    </a:lnTo>
                    <a:lnTo>
                      <a:pt x="153" y="335"/>
                    </a:lnTo>
                    <a:lnTo>
                      <a:pt x="154" y="333"/>
                    </a:lnTo>
                    <a:lnTo>
                      <a:pt x="154" y="331"/>
                    </a:lnTo>
                    <a:lnTo>
                      <a:pt x="153" y="331"/>
                    </a:lnTo>
                    <a:lnTo>
                      <a:pt x="153" y="330"/>
                    </a:lnTo>
                    <a:lnTo>
                      <a:pt x="154" y="330"/>
                    </a:lnTo>
                    <a:lnTo>
                      <a:pt x="156" y="330"/>
                    </a:lnTo>
                    <a:lnTo>
                      <a:pt x="154" y="330"/>
                    </a:lnTo>
                    <a:lnTo>
                      <a:pt x="156" y="328"/>
                    </a:lnTo>
                    <a:lnTo>
                      <a:pt x="154" y="328"/>
                    </a:lnTo>
                    <a:lnTo>
                      <a:pt x="156" y="328"/>
                    </a:lnTo>
                    <a:lnTo>
                      <a:pt x="156" y="326"/>
                    </a:lnTo>
                    <a:lnTo>
                      <a:pt x="158" y="326"/>
                    </a:lnTo>
                    <a:lnTo>
                      <a:pt x="158" y="325"/>
                    </a:lnTo>
                    <a:lnTo>
                      <a:pt x="159" y="326"/>
                    </a:lnTo>
                    <a:lnTo>
                      <a:pt x="158" y="325"/>
                    </a:lnTo>
                    <a:lnTo>
                      <a:pt x="156" y="325"/>
                    </a:lnTo>
                    <a:lnTo>
                      <a:pt x="156" y="326"/>
                    </a:lnTo>
                    <a:lnTo>
                      <a:pt x="154" y="326"/>
                    </a:lnTo>
                    <a:lnTo>
                      <a:pt x="154" y="328"/>
                    </a:lnTo>
                    <a:lnTo>
                      <a:pt x="153" y="326"/>
                    </a:lnTo>
                    <a:lnTo>
                      <a:pt x="153" y="328"/>
                    </a:lnTo>
                    <a:lnTo>
                      <a:pt x="151" y="328"/>
                    </a:lnTo>
                    <a:lnTo>
                      <a:pt x="151" y="326"/>
                    </a:lnTo>
                    <a:lnTo>
                      <a:pt x="149" y="326"/>
                    </a:lnTo>
                    <a:lnTo>
                      <a:pt x="151" y="326"/>
                    </a:lnTo>
                    <a:lnTo>
                      <a:pt x="151" y="325"/>
                    </a:lnTo>
                    <a:lnTo>
                      <a:pt x="149" y="325"/>
                    </a:lnTo>
                    <a:lnTo>
                      <a:pt x="149" y="323"/>
                    </a:lnTo>
                    <a:lnTo>
                      <a:pt x="151" y="323"/>
                    </a:lnTo>
                    <a:lnTo>
                      <a:pt x="153" y="323"/>
                    </a:lnTo>
                    <a:lnTo>
                      <a:pt x="151" y="321"/>
                    </a:lnTo>
                    <a:lnTo>
                      <a:pt x="153" y="323"/>
                    </a:lnTo>
                    <a:lnTo>
                      <a:pt x="153" y="321"/>
                    </a:lnTo>
                    <a:lnTo>
                      <a:pt x="153" y="320"/>
                    </a:lnTo>
                    <a:lnTo>
                      <a:pt x="154" y="320"/>
                    </a:lnTo>
                    <a:lnTo>
                      <a:pt x="153" y="320"/>
                    </a:lnTo>
                    <a:lnTo>
                      <a:pt x="151" y="320"/>
                    </a:lnTo>
                    <a:lnTo>
                      <a:pt x="149" y="320"/>
                    </a:lnTo>
                    <a:lnTo>
                      <a:pt x="149" y="321"/>
                    </a:lnTo>
                    <a:lnTo>
                      <a:pt x="149" y="323"/>
                    </a:lnTo>
                    <a:lnTo>
                      <a:pt x="148" y="325"/>
                    </a:lnTo>
                    <a:lnTo>
                      <a:pt x="148" y="323"/>
                    </a:lnTo>
                    <a:lnTo>
                      <a:pt x="148" y="321"/>
                    </a:lnTo>
                    <a:lnTo>
                      <a:pt x="146" y="323"/>
                    </a:lnTo>
                    <a:lnTo>
                      <a:pt x="146" y="321"/>
                    </a:lnTo>
                    <a:lnTo>
                      <a:pt x="146" y="320"/>
                    </a:lnTo>
                    <a:lnTo>
                      <a:pt x="144" y="320"/>
                    </a:lnTo>
                    <a:lnTo>
                      <a:pt x="142" y="318"/>
                    </a:lnTo>
                    <a:lnTo>
                      <a:pt x="144" y="318"/>
                    </a:lnTo>
                    <a:lnTo>
                      <a:pt x="144" y="316"/>
                    </a:lnTo>
                    <a:lnTo>
                      <a:pt x="146" y="316"/>
                    </a:lnTo>
                    <a:lnTo>
                      <a:pt x="144" y="316"/>
                    </a:lnTo>
                    <a:lnTo>
                      <a:pt x="142" y="316"/>
                    </a:lnTo>
                    <a:lnTo>
                      <a:pt x="142" y="318"/>
                    </a:lnTo>
                    <a:lnTo>
                      <a:pt x="142" y="316"/>
                    </a:lnTo>
                    <a:lnTo>
                      <a:pt x="142" y="314"/>
                    </a:lnTo>
                    <a:lnTo>
                      <a:pt x="142" y="313"/>
                    </a:lnTo>
                    <a:lnTo>
                      <a:pt x="142" y="311"/>
                    </a:lnTo>
                    <a:lnTo>
                      <a:pt x="144" y="311"/>
                    </a:lnTo>
                    <a:lnTo>
                      <a:pt x="142" y="311"/>
                    </a:lnTo>
                    <a:lnTo>
                      <a:pt x="144" y="313"/>
                    </a:lnTo>
                    <a:lnTo>
                      <a:pt x="142" y="313"/>
                    </a:lnTo>
                    <a:lnTo>
                      <a:pt x="144" y="313"/>
                    </a:lnTo>
                    <a:lnTo>
                      <a:pt x="146" y="313"/>
                    </a:lnTo>
                    <a:lnTo>
                      <a:pt x="146" y="311"/>
                    </a:lnTo>
                    <a:lnTo>
                      <a:pt x="146" y="309"/>
                    </a:lnTo>
                    <a:lnTo>
                      <a:pt x="148" y="309"/>
                    </a:lnTo>
                    <a:lnTo>
                      <a:pt x="148" y="308"/>
                    </a:lnTo>
                    <a:lnTo>
                      <a:pt x="148" y="306"/>
                    </a:lnTo>
                    <a:lnTo>
                      <a:pt x="149" y="304"/>
                    </a:lnTo>
                    <a:lnTo>
                      <a:pt x="149" y="303"/>
                    </a:lnTo>
                    <a:lnTo>
                      <a:pt x="149" y="301"/>
                    </a:lnTo>
                    <a:lnTo>
                      <a:pt x="149" y="299"/>
                    </a:lnTo>
                    <a:lnTo>
                      <a:pt x="149" y="297"/>
                    </a:lnTo>
                    <a:lnTo>
                      <a:pt x="149" y="296"/>
                    </a:lnTo>
                    <a:lnTo>
                      <a:pt x="149" y="297"/>
                    </a:lnTo>
                    <a:lnTo>
                      <a:pt x="151" y="297"/>
                    </a:lnTo>
                    <a:lnTo>
                      <a:pt x="149" y="296"/>
                    </a:lnTo>
                    <a:lnTo>
                      <a:pt x="148" y="296"/>
                    </a:lnTo>
                    <a:lnTo>
                      <a:pt x="149" y="294"/>
                    </a:lnTo>
                    <a:lnTo>
                      <a:pt x="148" y="294"/>
                    </a:lnTo>
                    <a:lnTo>
                      <a:pt x="148" y="292"/>
                    </a:lnTo>
                    <a:lnTo>
                      <a:pt x="148" y="291"/>
                    </a:lnTo>
                    <a:lnTo>
                      <a:pt x="148" y="289"/>
                    </a:lnTo>
                    <a:lnTo>
                      <a:pt x="148" y="287"/>
                    </a:lnTo>
                    <a:lnTo>
                      <a:pt x="148" y="285"/>
                    </a:lnTo>
                    <a:lnTo>
                      <a:pt x="148" y="284"/>
                    </a:lnTo>
                    <a:lnTo>
                      <a:pt x="148" y="282"/>
                    </a:lnTo>
                    <a:lnTo>
                      <a:pt x="148" y="284"/>
                    </a:lnTo>
                    <a:lnTo>
                      <a:pt x="148" y="282"/>
                    </a:lnTo>
                    <a:lnTo>
                      <a:pt x="146" y="282"/>
                    </a:lnTo>
                    <a:lnTo>
                      <a:pt x="148" y="280"/>
                    </a:lnTo>
                    <a:lnTo>
                      <a:pt x="148" y="279"/>
                    </a:lnTo>
                    <a:lnTo>
                      <a:pt x="148" y="277"/>
                    </a:lnTo>
                    <a:lnTo>
                      <a:pt x="146" y="277"/>
                    </a:lnTo>
                    <a:lnTo>
                      <a:pt x="148" y="275"/>
                    </a:lnTo>
                    <a:lnTo>
                      <a:pt x="146" y="275"/>
                    </a:lnTo>
                    <a:lnTo>
                      <a:pt x="146" y="274"/>
                    </a:lnTo>
                    <a:lnTo>
                      <a:pt x="146" y="272"/>
                    </a:lnTo>
                    <a:lnTo>
                      <a:pt x="144" y="272"/>
                    </a:lnTo>
                    <a:lnTo>
                      <a:pt x="142" y="272"/>
                    </a:lnTo>
                    <a:lnTo>
                      <a:pt x="142" y="270"/>
                    </a:lnTo>
                    <a:lnTo>
                      <a:pt x="142" y="268"/>
                    </a:lnTo>
                    <a:lnTo>
                      <a:pt x="144" y="267"/>
                    </a:lnTo>
                    <a:lnTo>
                      <a:pt x="146" y="267"/>
                    </a:lnTo>
                    <a:lnTo>
                      <a:pt x="148" y="267"/>
                    </a:lnTo>
                    <a:lnTo>
                      <a:pt x="149" y="267"/>
                    </a:lnTo>
                    <a:lnTo>
                      <a:pt x="149" y="265"/>
                    </a:lnTo>
                    <a:lnTo>
                      <a:pt x="151" y="265"/>
                    </a:lnTo>
                    <a:lnTo>
                      <a:pt x="151" y="263"/>
                    </a:lnTo>
                    <a:lnTo>
                      <a:pt x="151" y="262"/>
                    </a:lnTo>
                    <a:lnTo>
                      <a:pt x="153" y="262"/>
                    </a:lnTo>
                    <a:lnTo>
                      <a:pt x="151" y="262"/>
                    </a:lnTo>
                    <a:lnTo>
                      <a:pt x="151" y="260"/>
                    </a:lnTo>
                    <a:lnTo>
                      <a:pt x="151" y="258"/>
                    </a:lnTo>
                    <a:lnTo>
                      <a:pt x="151" y="260"/>
                    </a:lnTo>
                    <a:lnTo>
                      <a:pt x="149" y="258"/>
                    </a:lnTo>
                    <a:lnTo>
                      <a:pt x="149" y="257"/>
                    </a:lnTo>
                    <a:lnTo>
                      <a:pt x="149" y="255"/>
                    </a:lnTo>
                    <a:lnTo>
                      <a:pt x="149" y="253"/>
                    </a:lnTo>
                    <a:lnTo>
                      <a:pt x="148" y="253"/>
                    </a:lnTo>
                    <a:lnTo>
                      <a:pt x="148" y="251"/>
                    </a:lnTo>
                    <a:lnTo>
                      <a:pt x="148" y="253"/>
                    </a:lnTo>
                    <a:lnTo>
                      <a:pt x="148" y="251"/>
                    </a:lnTo>
                    <a:lnTo>
                      <a:pt x="146" y="251"/>
                    </a:lnTo>
                    <a:lnTo>
                      <a:pt x="146" y="250"/>
                    </a:lnTo>
                    <a:lnTo>
                      <a:pt x="144" y="250"/>
                    </a:lnTo>
                    <a:lnTo>
                      <a:pt x="144" y="248"/>
                    </a:lnTo>
                    <a:lnTo>
                      <a:pt x="144" y="246"/>
                    </a:lnTo>
                    <a:lnTo>
                      <a:pt x="144" y="245"/>
                    </a:lnTo>
                    <a:lnTo>
                      <a:pt x="144" y="243"/>
                    </a:lnTo>
                    <a:lnTo>
                      <a:pt x="144" y="245"/>
                    </a:lnTo>
                    <a:lnTo>
                      <a:pt x="146" y="245"/>
                    </a:lnTo>
                    <a:lnTo>
                      <a:pt x="146" y="246"/>
                    </a:lnTo>
                    <a:lnTo>
                      <a:pt x="146" y="245"/>
                    </a:lnTo>
                    <a:lnTo>
                      <a:pt x="148" y="245"/>
                    </a:lnTo>
                    <a:lnTo>
                      <a:pt x="148" y="243"/>
                    </a:lnTo>
                    <a:lnTo>
                      <a:pt x="148" y="241"/>
                    </a:lnTo>
                    <a:lnTo>
                      <a:pt x="146" y="241"/>
                    </a:lnTo>
                    <a:lnTo>
                      <a:pt x="148" y="240"/>
                    </a:lnTo>
                    <a:lnTo>
                      <a:pt x="148" y="241"/>
                    </a:lnTo>
                    <a:lnTo>
                      <a:pt x="148" y="240"/>
                    </a:lnTo>
                    <a:lnTo>
                      <a:pt x="148" y="238"/>
                    </a:lnTo>
                    <a:lnTo>
                      <a:pt x="148" y="236"/>
                    </a:lnTo>
                    <a:lnTo>
                      <a:pt x="149" y="236"/>
                    </a:lnTo>
                    <a:lnTo>
                      <a:pt x="149" y="234"/>
                    </a:lnTo>
                    <a:lnTo>
                      <a:pt x="148" y="234"/>
                    </a:lnTo>
                    <a:lnTo>
                      <a:pt x="148" y="233"/>
                    </a:lnTo>
                    <a:lnTo>
                      <a:pt x="146" y="233"/>
                    </a:lnTo>
                    <a:lnTo>
                      <a:pt x="146" y="231"/>
                    </a:lnTo>
                    <a:lnTo>
                      <a:pt x="146" y="229"/>
                    </a:lnTo>
                    <a:lnTo>
                      <a:pt x="144" y="229"/>
                    </a:lnTo>
                    <a:lnTo>
                      <a:pt x="142" y="231"/>
                    </a:lnTo>
                    <a:lnTo>
                      <a:pt x="142" y="229"/>
                    </a:lnTo>
                    <a:lnTo>
                      <a:pt x="141" y="229"/>
                    </a:lnTo>
                    <a:lnTo>
                      <a:pt x="141" y="228"/>
                    </a:lnTo>
                    <a:lnTo>
                      <a:pt x="141" y="226"/>
                    </a:lnTo>
                    <a:lnTo>
                      <a:pt x="139" y="226"/>
                    </a:lnTo>
                    <a:lnTo>
                      <a:pt x="139" y="224"/>
                    </a:lnTo>
                    <a:lnTo>
                      <a:pt x="137" y="224"/>
                    </a:lnTo>
                    <a:lnTo>
                      <a:pt x="137" y="226"/>
                    </a:lnTo>
                    <a:lnTo>
                      <a:pt x="136" y="226"/>
                    </a:lnTo>
                    <a:lnTo>
                      <a:pt x="136" y="224"/>
                    </a:lnTo>
                    <a:lnTo>
                      <a:pt x="136" y="223"/>
                    </a:lnTo>
                    <a:lnTo>
                      <a:pt x="137" y="223"/>
                    </a:lnTo>
                    <a:lnTo>
                      <a:pt x="136" y="223"/>
                    </a:lnTo>
                    <a:lnTo>
                      <a:pt x="137" y="221"/>
                    </a:lnTo>
                    <a:lnTo>
                      <a:pt x="137" y="219"/>
                    </a:lnTo>
                    <a:lnTo>
                      <a:pt x="136" y="217"/>
                    </a:lnTo>
                    <a:lnTo>
                      <a:pt x="134" y="217"/>
                    </a:lnTo>
                    <a:lnTo>
                      <a:pt x="134" y="216"/>
                    </a:lnTo>
                    <a:lnTo>
                      <a:pt x="134" y="214"/>
                    </a:lnTo>
                    <a:lnTo>
                      <a:pt x="132" y="216"/>
                    </a:lnTo>
                    <a:lnTo>
                      <a:pt x="132" y="214"/>
                    </a:lnTo>
                    <a:lnTo>
                      <a:pt x="131" y="214"/>
                    </a:lnTo>
                    <a:lnTo>
                      <a:pt x="131" y="212"/>
                    </a:lnTo>
                    <a:lnTo>
                      <a:pt x="131" y="209"/>
                    </a:lnTo>
                    <a:lnTo>
                      <a:pt x="131" y="207"/>
                    </a:lnTo>
                    <a:lnTo>
                      <a:pt x="132" y="204"/>
                    </a:lnTo>
                    <a:lnTo>
                      <a:pt x="134" y="204"/>
                    </a:lnTo>
                    <a:lnTo>
                      <a:pt x="136" y="204"/>
                    </a:lnTo>
                    <a:lnTo>
                      <a:pt x="136" y="202"/>
                    </a:lnTo>
                    <a:lnTo>
                      <a:pt x="136" y="200"/>
                    </a:lnTo>
                    <a:lnTo>
                      <a:pt x="136" y="199"/>
                    </a:lnTo>
                    <a:lnTo>
                      <a:pt x="134" y="199"/>
                    </a:lnTo>
                    <a:lnTo>
                      <a:pt x="136" y="199"/>
                    </a:lnTo>
                    <a:lnTo>
                      <a:pt x="134" y="197"/>
                    </a:lnTo>
                    <a:lnTo>
                      <a:pt x="136" y="197"/>
                    </a:lnTo>
                    <a:lnTo>
                      <a:pt x="136" y="195"/>
                    </a:lnTo>
                    <a:lnTo>
                      <a:pt x="136" y="197"/>
                    </a:lnTo>
                    <a:lnTo>
                      <a:pt x="137" y="197"/>
                    </a:lnTo>
                    <a:lnTo>
                      <a:pt x="139" y="199"/>
                    </a:lnTo>
                    <a:lnTo>
                      <a:pt x="139" y="200"/>
                    </a:lnTo>
                    <a:lnTo>
                      <a:pt x="139" y="202"/>
                    </a:lnTo>
                    <a:lnTo>
                      <a:pt x="141" y="202"/>
                    </a:lnTo>
                    <a:lnTo>
                      <a:pt x="142" y="202"/>
                    </a:lnTo>
                    <a:lnTo>
                      <a:pt x="142" y="200"/>
                    </a:lnTo>
                    <a:lnTo>
                      <a:pt x="144" y="200"/>
                    </a:lnTo>
                    <a:lnTo>
                      <a:pt x="144" y="199"/>
                    </a:lnTo>
                    <a:lnTo>
                      <a:pt x="144" y="197"/>
                    </a:lnTo>
                    <a:lnTo>
                      <a:pt x="146" y="197"/>
                    </a:lnTo>
                    <a:lnTo>
                      <a:pt x="146" y="195"/>
                    </a:lnTo>
                    <a:lnTo>
                      <a:pt x="146" y="194"/>
                    </a:lnTo>
                    <a:lnTo>
                      <a:pt x="148" y="194"/>
                    </a:lnTo>
                    <a:lnTo>
                      <a:pt x="146" y="194"/>
                    </a:lnTo>
                    <a:lnTo>
                      <a:pt x="148" y="194"/>
                    </a:lnTo>
                    <a:lnTo>
                      <a:pt x="149" y="194"/>
                    </a:lnTo>
                    <a:lnTo>
                      <a:pt x="148" y="192"/>
                    </a:lnTo>
                    <a:lnTo>
                      <a:pt x="148" y="190"/>
                    </a:lnTo>
                    <a:lnTo>
                      <a:pt x="149" y="190"/>
                    </a:lnTo>
                    <a:lnTo>
                      <a:pt x="149" y="189"/>
                    </a:lnTo>
                    <a:lnTo>
                      <a:pt x="151" y="189"/>
                    </a:lnTo>
                    <a:lnTo>
                      <a:pt x="153" y="189"/>
                    </a:lnTo>
                    <a:lnTo>
                      <a:pt x="154" y="189"/>
                    </a:lnTo>
                    <a:lnTo>
                      <a:pt x="154" y="187"/>
                    </a:lnTo>
                    <a:lnTo>
                      <a:pt x="156" y="187"/>
                    </a:lnTo>
                    <a:lnTo>
                      <a:pt x="154" y="187"/>
                    </a:lnTo>
                    <a:lnTo>
                      <a:pt x="153" y="185"/>
                    </a:lnTo>
                    <a:lnTo>
                      <a:pt x="153" y="183"/>
                    </a:lnTo>
                    <a:lnTo>
                      <a:pt x="153" y="182"/>
                    </a:lnTo>
                    <a:lnTo>
                      <a:pt x="151" y="180"/>
                    </a:lnTo>
                    <a:lnTo>
                      <a:pt x="151" y="178"/>
                    </a:lnTo>
                    <a:lnTo>
                      <a:pt x="151" y="177"/>
                    </a:lnTo>
                    <a:lnTo>
                      <a:pt x="149" y="177"/>
                    </a:lnTo>
                    <a:lnTo>
                      <a:pt x="148" y="175"/>
                    </a:lnTo>
                    <a:lnTo>
                      <a:pt x="148" y="173"/>
                    </a:lnTo>
                    <a:lnTo>
                      <a:pt x="148" y="172"/>
                    </a:lnTo>
                    <a:lnTo>
                      <a:pt x="146" y="170"/>
                    </a:lnTo>
                    <a:lnTo>
                      <a:pt x="144" y="170"/>
                    </a:lnTo>
                    <a:lnTo>
                      <a:pt x="144" y="168"/>
                    </a:lnTo>
                    <a:lnTo>
                      <a:pt x="146" y="168"/>
                    </a:lnTo>
                    <a:lnTo>
                      <a:pt x="146" y="166"/>
                    </a:lnTo>
                    <a:lnTo>
                      <a:pt x="144" y="166"/>
                    </a:lnTo>
                    <a:lnTo>
                      <a:pt x="146" y="166"/>
                    </a:lnTo>
                    <a:lnTo>
                      <a:pt x="146" y="165"/>
                    </a:lnTo>
                    <a:lnTo>
                      <a:pt x="146" y="163"/>
                    </a:lnTo>
                    <a:lnTo>
                      <a:pt x="148" y="163"/>
                    </a:lnTo>
                    <a:lnTo>
                      <a:pt x="148" y="165"/>
                    </a:lnTo>
                    <a:lnTo>
                      <a:pt x="148" y="163"/>
                    </a:lnTo>
                    <a:lnTo>
                      <a:pt x="149" y="165"/>
                    </a:lnTo>
                    <a:lnTo>
                      <a:pt x="149" y="166"/>
                    </a:lnTo>
                    <a:lnTo>
                      <a:pt x="151" y="166"/>
                    </a:lnTo>
                    <a:lnTo>
                      <a:pt x="151" y="168"/>
                    </a:lnTo>
                    <a:lnTo>
                      <a:pt x="151" y="170"/>
                    </a:lnTo>
                    <a:lnTo>
                      <a:pt x="153" y="170"/>
                    </a:lnTo>
                    <a:lnTo>
                      <a:pt x="154" y="172"/>
                    </a:lnTo>
                    <a:lnTo>
                      <a:pt x="156" y="172"/>
                    </a:lnTo>
                    <a:lnTo>
                      <a:pt x="156" y="173"/>
                    </a:lnTo>
                    <a:lnTo>
                      <a:pt x="158" y="175"/>
                    </a:lnTo>
                    <a:lnTo>
                      <a:pt x="158" y="177"/>
                    </a:lnTo>
                    <a:lnTo>
                      <a:pt x="159" y="177"/>
                    </a:lnTo>
                    <a:lnTo>
                      <a:pt x="161" y="177"/>
                    </a:lnTo>
                    <a:lnTo>
                      <a:pt x="161" y="178"/>
                    </a:lnTo>
                    <a:lnTo>
                      <a:pt x="161" y="180"/>
                    </a:lnTo>
                    <a:lnTo>
                      <a:pt x="163" y="180"/>
                    </a:lnTo>
                    <a:lnTo>
                      <a:pt x="163" y="178"/>
                    </a:lnTo>
                    <a:lnTo>
                      <a:pt x="161" y="178"/>
                    </a:lnTo>
                    <a:lnTo>
                      <a:pt x="163" y="178"/>
                    </a:lnTo>
                    <a:lnTo>
                      <a:pt x="163" y="180"/>
                    </a:lnTo>
                    <a:lnTo>
                      <a:pt x="163" y="178"/>
                    </a:lnTo>
                    <a:lnTo>
                      <a:pt x="163" y="180"/>
                    </a:lnTo>
                    <a:lnTo>
                      <a:pt x="161" y="180"/>
                    </a:lnTo>
                    <a:lnTo>
                      <a:pt x="161" y="182"/>
                    </a:lnTo>
                    <a:lnTo>
                      <a:pt x="163" y="182"/>
                    </a:lnTo>
                    <a:lnTo>
                      <a:pt x="163" y="183"/>
                    </a:lnTo>
                    <a:lnTo>
                      <a:pt x="163" y="182"/>
                    </a:lnTo>
                    <a:lnTo>
                      <a:pt x="165" y="182"/>
                    </a:lnTo>
                    <a:lnTo>
                      <a:pt x="163" y="182"/>
                    </a:lnTo>
                    <a:lnTo>
                      <a:pt x="165" y="182"/>
                    </a:lnTo>
                    <a:lnTo>
                      <a:pt x="166" y="182"/>
                    </a:lnTo>
                    <a:lnTo>
                      <a:pt x="165" y="182"/>
                    </a:lnTo>
                    <a:lnTo>
                      <a:pt x="165" y="183"/>
                    </a:lnTo>
                    <a:lnTo>
                      <a:pt x="166" y="183"/>
                    </a:lnTo>
                    <a:lnTo>
                      <a:pt x="165" y="183"/>
                    </a:lnTo>
                    <a:lnTo>
                      <a:pt x="166" y="183"/>
                    </a:lnTo>
                    <a:lnTo>
                      <a:pt x="166" y="185"/>
                    </a:lnTo>
                    <a:lnTo>
                      <a:pt x="165" y="183"/>
                    </a:lnTo>
                    <a:lnTo>
                      <a:pt x="165" y="185"/>
                    </a:lnTo>
                    <a:lnTo>
                      <a:pt x="166" y="185"/>
                    </a:lnTo>
                    <a:lnTo>
                      <a:pt x="165" y="185"/>
                    </a:lnTo>
                    <a:lnTo>
                      <a:pt x="165" y="183"/>
                    </a:lnTo>
                    <a:lnTo>
                      <a:pt x="163" y="185"/>
                    </a:lnTo>
                    <a:lnTo>
                      <a:pt x="163" y="187"/>
                    </a:lnTo>
                    <a:lnTo>
                      <a:pt x="163" y="189"/>
                    </a:lnTo>
                    <a:lnTo>
                      <a:pt x="165" y="189"/>
                    </a:lnTo>
                    <a:lnTo>
                      <a:pt x="166" y="189"/>
                    </a:lnTo>
                    <a:lnTo>
                      <a:pt x="168" y="189"/>
                    </a:lnTo>
                    <a:lnTo>
                      <a:pt x="168" y="187"/>
                    </a:lnTo>
                    <a:lnTo>
                      <a:pt x="170" y="187"/>
                    </a:lnTo>
                    <a:lnTo>
                      <a:pt x="168" y="185"/>
                    </a:lnTo>
                    <a:lnTo>
                      <a:pt x="170" y="185"/>
                    </a:lnTo>
                    <a:lnTo>
                      <a:pt x="170" y="183"/>
                    </a:lnTo>
                    <a:lnTo>
                      <a:pt x="168" y="183"/>
                    </a:lnTo>
                    <a:lnTo>
                      <a:pt x="168" y="182"/>
                    </a:lnTo>
                    <a:lnTo>
                      <a:pt x="168" y="180"/>
                    </a:lnTo>
                    <a:lnTo>
                      <a:pt x="168" y="178"/>
                    </a:lnTo>
                    <a:lnTo>
                      <a:pt x="168" y="177"/>
                    </a:lnTo>
                    <a:lnTo>
                      <a:pt x="168" y="175"/>
                    </a:lnTo>
                    <a:lnTo>
                      <a:pt x="168" y="173"/>
                    </a:lnTo>
                    <a:lnTo>
                      <a:pt x="168" y="172"/>
                    </a:lnTo>
                    <a:lnTo>
                      <a:pt x="166" y="172"/>
                    </a:lnTo>
                    <a:lnTo>
                      <a:pt x="166" y="170"/>
                    </a:lnTo>
                    <a:lnTo>
                      <a:pt x="166" y="168"/>
                    </a:lnTo>
                    <a:lnTo>
                      <a:pt x="165" y="168"/>
                    </a:lnTo>
                    <a:lnTo>
                      <a:pt x="163" y="168"/>
                    </a:lnTo>
                    <a:lnTo>
                      <a:pt x="163" y="166"/>
                    </a:lnTo>
                    <a:lnTo>
                      <a:pt x="165" y="165"/>
                    </a:lnTo>
                    <a:lnTo>
                      <a:pt x="166" y="165"/>
                    </a:lnTo>
                    <a:lnTo>
                      <a:pt x="168" y="165"/>
                    </a:lnTo>
                    <a:lnTo>
                      <a:pt x="170" y="163"/>
                    </a:lnTo>
                    <a:lnTo>
                      <a:pt x="171" y="163"/>
                    </a:lnTo>
                    <a:lnTo>
                      <a:pt x="173" y="163"/>
                    </a:lnTo>
                    <a:lnTo>
                      <a:pt x="171" y="161"/>
                    </a:lnTo>
                    <a:lnTo>
                      <a:pt x="173" y="161"/>
                    </a:lnTo>
                    <a:lnTo>
                      <a:pt x="175" y="160"/>
                    </a:lnTo>
                    <a:lnTo>
                      <a:pt x="176" y="160"/>
                    </a:lnTo>
                    <a:lnTo>
                      <a:pt x="176" y="158"/>
                    </a:lnTo>
                    <a:lnTo>
                      <a:pt x="178" y="158"/>
                    </a:lnTo>
                    <a:lnTo>
                      <a:pt x="180" y="156"/>
                    </a:lnTo>
                    <a:lnTo>
                      <a:pt x="180" y="155"/>
                    </a:lnTo>
                    <a:lnTo>
                      <a:pt x="182" y="155"/>
                    </a:lnTo>
                    <a:lnTo>
                      <a:pt x="183" y="155"/>
                    </a:lnTo>
                    <a:lnTo>
                      <a:pt x="183" y="153"/>
                    </a:lnTo>
                    <a:lnTo>
                      <a:pt x="185" y="153"/>
                    </a:lnTo>
                    <a:lnTo>
                      <a:pt x="185" y="151"/>
                    </a:lnTo>
                    <a:lnTo>
                      <a:pt x="185" y="149"/>
                    </a:lnTo>
                    <a:lnTo>
                      <a:pt x="187" y="149"/>
                    </a:lnTo>
                    <a:lnTo>
                      <a:pt x="187" y="148"/>
                    </a:lnTo>
                    <a:lnTo>
                      <a:pt x="188" y="146"/>
                    </a:lnTo>
                    <a:lnTo>
                      <a:pt x="188" y="144"/>
                    </a:lnTo>
                    <a:lnTo>
                      <a:pt x="188" y="143"/>
                    </a:lnTo>
                    <a:lnTo>
                      <a:pt x="190" y="143"/>
                    </a:lnTo>
                    <a:lnTo>
                      <a:pt x="190" y="141"/>
                    </a:lnTo>
                    <a:lnTo>
                      <a:pt x="192" y="139"/>
                    </a:lnTo>
                    <a:lnTo>
                      <a:pt x="193" y="139"/>
                    </a:lnTo>
                    <a:lnTo>
                      <a:pt x="195" y="139"/>
                    </a:lnTo>
                    <a:lnTo>
                      <a:pt x="195" y="138"/>
                    </a:lnTo>
                    <a:lnTo>
                      <a:pt x="195" y="136"/>
                    </a:lnTo>
                    <a:lnTo>
                      <a:pt x="195" y="138"/>
                    </a:lnTo>
                    <a:lnTo>
                      <a:pt x="195" y="136"/>
                    </a:lnTo>
                    <a:lnTo>
                      <a:pt x="197" y="136"/>
                    </a:lnTo>
                    <a:lnTo>
                      <a:pt x="197" y="138"/>
                    </a:lnTo>
                    <a:lnTo>
                      <a:pt x="199" y="138"/>
                    </a:lnTo>
                    <a:lnTo>
                      <a:pt x="200" y="138"/>
                    </a:lnTo>
                    <a:lnTo>
                      <a:pt x="199" y="138"/>
                    </a:lnTo>
                    <a:lnTo>
                      <a:pt x="200" y="138"/>
                    </a:lnTo>
                    <a:lnTo>
                      <a:pt x="202" y="138"/>
                    </a:lnTo>
                    <a:lnTo>
                      <a:pt x="204" y="138"/>
                    </a:lnTo>
                    <a:lnTo>
                      <a:pt x="205" y="138"/>
                    </a:lnTo>
                    <a:lnTo>
                      <a:pt x="207" y="136"/>
                    </a:lnTo>
                    <a:lnTo>
                      <a:pt x="207" y="134"/>
                    </a:lnTo>
                    <a:lnTo>
                      <a:pt x="209" y="132"/>
                    </a:lnTo>
                    <a:lnTo>
                      <a:pt x="209" y="131"/>
                    </a:lnTo>
                    <a:lnTo>
                      <a:pt x="207" y="129"/>
                    </a:lnTo>
                    <a:lnTo>
                      <a:pt x="207" y="127"/>
                    </a:lnTo>
                    <a:lnTo>
                      <a:pt x="205" y="127"/>
                    </a:lnTo>
                    <a:lnTo>
                      <a:pt x="204" y="127"/>
                    </a:lnTo>
                    <a:lnTo>
                      <a:pt x="205" y="127"/>
                    </a:lnTo>
                    <a:lnTo>
                      <a:pt x="205" y="126"/>
                    </a:lnTo>
                    <a:lnTo>
                      <a:pt x="207" y="124"/>
                    </a:lnTo>
                    <a:lnTo>
                      <a:pt x="207" y="122"/>
                    </a:lnTo>
                    <a:lnTo>
                      <a:pt x="207" y="120"/>
                    </a:lnTo>
                    <a:lnTo>
                      <a:pt x="207" y="119"/>
                    </a:lnTo>
                    <a:lnTo>
                      <a:pt x="209" y="119"/>
                    </a:lnTo>
                    <a:lnTo>
                      <a:pt x="207" y="117"/>
                    </a:lnTo>
                    <a:lnTo>
                      <a:pt x="209" y="117"/>
                    </a:lnTo>
                    <a:lnTo>
                      <a:pt x="209" y="115"/>
                    </a:lnTo>
                    <a:lnTo>
                      <a:pt x="209" y="114"/>
                    </a:lnTo>
                    <a:lnTo>
                      <a:pt x="207" y="114"/>
                    </a:lnTo>
                    <a:lnTo>
                      <a:pt x="209" y="114"/>
                    </a:lnTo>
                    <a:lnTo>
                      <a:pt x="209" y="112"/>
                    </a:lnTo>
                    <a:lnTo>
                      <a:pt x="210" y="112"/>
                    </a:lnTo>
                    <a:lnTo>
                      <a:pt x="209" y="112"/>
                    </a:lnTo>
                    <a:lnTo>
                      <a:pt x="209" y="110"/>
                    </a:lnTo>
                    <a:lnTo>
                      <a:pt x="209" y="112"/>
                    </a:lnTo>
                    <a:lnTo>
                      <a:pt x="210" y="112"/>
                    </a:lnTo>
                    <a:lnTo>
                      <a:pt x="210" y="110"/>
                    </a:lnTo>
                    <a:lnTo>
                      <a:pt x="209" y="110"/>
                    </a:lnTo>
                    <a:lnTo>
                      <a:pt x="210" y="109"/>
                    </a:lnTo>
                    <a:lnTo>
                      <a:pt x="209" y="109"/>
                    </a:lnTo>
                    <a:lnTo>
                      <a:pt x="209" y="110"/>
                    </a:lnTo>
                    <a:lnTo>
                      <a:pt x="207" y="110"/>
                    </a:lnTo>
                    <a:lnTo>
                      <a:pt x="205" y="112"/>
                    </a:lnTo>
                    <a:lnTo>
                      <a:pt x="205" y="110"/>
                    </a:lnTo>
                    <a:lnTo>
                      <a:pt x="205" y="112"/>
                    </a:lnTo>
                    <a:lnTo>
                      <a:pt x="204" y="114"/>
                    </a:lnTo>
                    <a:lnTo>
                      <a:pt x="204" y="112"/>
                    </a:lnTo>
                    <a:lnTo>
                      <a:pt x="205" y="112"/>
                    </a:lnTo>
                    <a:lnTo>
                      <a:pt x="205" y="110"/>
                    </a:lnTo>
                    <a:lnTo>
                      <a:pt x="207" y="110"/>
                    </a:lnTo>
                    <a:lnTo>
                      <a:pt x="207" y="109"/>
                    </a:lnTo>
                    <a:lnTo>
                      <a:pt x="207" y="110"/>
                    </a:lnTo>
                    <a:lnTo>
                      <a:pt x="207" y="109"/>
                    </a:lnTo>
                    <a:lnTo>
                      <a:pt x="207" y="107"/>
                    </a:lnTo>
                    <a:lnTo>
                      <a:pt x="209" y="107"/>
                    </a:lnTo>
                    <a:lnTo>
                      <a:pt x="207" y="109"/>
                    </a:lnTo>
                    <a:lnTo>
                      <a:pt x="209" y="109"/>
                    </a:lnTo>
                    <a:lnTo>
                      <a:pt x="210" y="107"/>
                    </a:lnTo>
                    <a:lnTo>
                      <a:pt x="210" y="105"/>
                    </a:lnTo>
                    <a:lnTo>
                      <a:pt x="210" y="103"/>
                    </a:lnTo>
                    <a:lnTo>
                      <a:pt x="209" y="103"/>
                    </a:lnTo>
                    <a:lnTo>
                      <a:pt x="210" y="103"/>
                    </a:lnTo>
                    <a:lnTo>
                      <a:pt x="209" y="103"/>
                    </a:lnTo>
                    <a:lnTo>
                      <a:pt x="209" y="102"/>
                    </a:lnTo>
                    <a:lnTo>
                      <a:pt x="210" y="102"/>
                    </a:lnTo>
                    <a:lnTo>
                      <a:pt x="210" y="103"/>
                    </a:lnTo>
                    <a:lnTo>
                      <a:pt x="212" y="103"/>
                    </a:lnTo>
                    <a:lnTo>
                      <a:pt x="210" y="102"/>
                    </a:lnTo>
                    <a:lnTo>
                      <a:pt x="212" y="100"/>
                    </a:lnTo>
                    <a:lnTo>
                      <a:pt x="210" y="100"/>
                    </a:lnTo>
                    <a:lnTo>
                      <a:pt x="210" y="98"/>
                    </a:lnTo>
                    <a:lnTo>
                      <a:pt x="212" y="97"/>
                    </a:lnTo>
                    <a:lnTo>
                      <a:pt x="212" y="95"/>
                    </a:lnTo>
                    <a:lnTo>
                      <a:pt x="214" y="95"/>
                    </a:lnTo>
                    <a:lnTo>
                      <a:pt x="214" y="93"/>
                    </a:lnTo>
                    <a:lnTo>
                      <a:pt x="216" y="93"/>
                    </a:lnTo>
                    <a:lnTo>
                      <a:pt x="217" y="93"/>
                    </a:lnTo>
                    <a:lnTo>
                      <a:pt x="219" y="93"/>
                    </a:lnTo>
                    <a:lnTo>
                      <a:pt x="219" y="92"/>
                    </a:lnTo>
                    <a:lnTo>
                      <a:pt x="219" y="90"/>
                    </a:lnTo>
                    <a:lnTo>
                      <a:pt x="221" y="90"/>
                    </a:lnTo>
                    <a:lnTo>
                      <a:pt x="221" y="88"/>
                    </a:lnTo>
                    <a:lnTo>
                      <a:pt x="222" y="88"/>
                    </a:lnTo>
                    <a:lnTo>
                      <a:pt x="224" y="88"/>
                    </a:lnTo>
                    <a:lnTo>
                      <a:pt x="224" y="86"/>
                    </a:lnTo>
                    <a:lnTo>
                      <a:pt x="226" y="86"/>
                    </a:lnTo>
                    <a:lnTo>
                      <a:pt x="226" y="85"/>
                    </a:lnTo>
                    <a:lnTo>
                      <a:pt x="227" y="85"/>
                    </a:lnTo>
                    <a:lnTo>
                      <a:pt x="227" y="83"/>
                    </a:lnTo>
                    <a:lnTo>
                      <a:pt x="229" y="83"/>
                    </a:lnTo>
                    <a:lnTo>
                      <a:pt x="227" y="83"/>
                    </a:lnTo>
                    <a:lnTo>
                      <a:pt x="229" y="83"/>
                    </a:lnTo>
                    <a:lnTo>
                      <a:pt x="231" y="81"/>
                    </a:lnTo>
                    <a:lnTo>
                      <a:pt x="233" y="81"/>
                    </a:lnTo>
                    <a:lnTo>
                      <a:pt x="233" y="80"/>
                    </a:lnTo>
                    <a:lnTo>
                      <a:pt x="234" y="80"/>
                    </a:lnTo>
                    <a:lnTo>
                      <a:pt x="236" y="80"/>
                    </a:lnTo>
                    <a:lnTo>
                      <a:pt x="236" y="81"/>
                    </a:lnTo>
                    <a:lnTo>
                      <a:pt x="238" y="81"/>
                    </a:lnTo>
                    <a:lnTo>
                      <a:pt x="239" y="81"/>
                    </a:lnTo>
                    <a:lnTo>
                      <a:pt x="239" y="83"/>
                    </a:lnTo>
                    <a:lnTo>
                      <a:pt x="241" y="83"/>
                    </a:lnTo>
                    <a:lnTo>
                      <a:pt x="243" y="83"/>
                    </a:lnTo>
                    <a:lnTo>
                      <a:pt x="244" y="83"/>
                    </a:lnTo>
                    <a:lnTo>
                      <a:pt x="246" y="83"/>
                    </a:lnTo>
                    <a:lnTo>
                      <a:pt x="248" y="83"/>
                    </a:lnTo>
                    <a:lnTo>
                      <a:pt x="250" y="83"/>
                    </a:lnTo>
                    <a:lnTo>
                      <a:pt x="251" y="83"/>
                    </a:lnTo>
                    <a:lnTo>
                      <a:pt x="253" y="83"/>
                    </a:lnTo>
                    <a:lnTo>
                      <a:pt x="253" y="81"/>
                    </a:lnTo>
                    <a:lnTo>
                      <a:pt x="255" y="81"/>
                    </a:lnTo>
                    <a:lnTo>
                      <a:pt x="255" y="80"/>
                    </a:lnTo>
                    <a:lnTo>
                      <a:pt x="253" y="80"/>
                    </a:lnTo>
                    <a:lnTo>
                      <a:pt x="253" y="78"/>
                    </a:lnTo>
                    <a:lnTo>
                      <a:pt x="253" y="76"/>
                    </a:lnTo>
                    <a:lnTo>
                      <a:pt x="253" y="75"/>
                    </a:lnTo>
                    <a:lnTo>
                      <a:pt x="255" y="75"/>
                    </a:lnTo>
                    <a:lnTo>
                      <a:pt x="253" y="75"/>
                    </a:lnTo>
                    <a:lnTo>
                      <a:pt x="255" y="75"/>
                    </a:lnTo>
                    <a:lnTo>
                      <a:pt x="255" y="73"/>
                    </a:lnTo>
                    <a:lnTo>
                      <a:pt x="256" y="73"/>
                    </a:lnTo>
                    <a:lnTo>
                      <a:pt x="256" y="71"/>
                    </a:lnTo>
                    <a:lnTo>
                      <a:pt x="256" y="73"/>
                    </a:lnTo>
                    <a:lnTo>
                      <a:pt x="256" y="71"/>
                    </a:lnTo>
                    <a:lnTo>
                      <a:pt x="258" y="73"/>
                    </a:lnTo>
                    <a:lnTo>
                      <a:pt x="258" y="71"/>
                    </a:lnTo>
                    <a:lnTo>
                      <a:pt x="258" y="73"/>
                    </a:lnTo>
                    <a:lnTo>
                      <a:pt x="258" y="71"/>
                    </a:lnTo>
                    <a:lnTo>
                      <a:pt x="260" y="71"/>
                    </a:lnTo>
                    <a:lnTo>
                      <a:pt x="261" y="71"/>
                    </a:lnTo>
                    <a:lnTo>
                      <a:pt x="263" y="71"/>
                    </a:lnTo>
                    <a:lnTo>
                      <a:pt x="263" y="73"/>
                    </a:lnTo>
                    <a:lnTo>
                      <a:pt x="265" y="73"/>
                    </a:lnTo>
                    <a:lnTo>
                      <a:pt x="267" y="73"/>
                    </a:lnTo>
                    <a:lnTo>
                      <a:pt x="267" y="75"/>
                    </a:lnTo>
                    <a:lnTo>
                      <a:pt x="268" y="75"/>
                    </a:lnTo>
                    <a:lnTo>
                      <a:pt x="270" y="75"/>
                    </a:lnTo>
                    <a:lnTo>
                      <a:pt x="272" y="75"/>
                    </a:lnTo>
                    <a:lnTo>
                      <a:pt x="273" y="75"/>
                    </a:lnTo>
                    <a:lnTo>
                      <a:pt x="275" y="75"/>
                    </a:lnTo>
                    <a:lnTo>
                      <a:pt x="277" y="75"/>
                    </a:lnTo>
                    <a:lnTo>
                      <a:pt x="278" y="75"/>
                    </a:lnTo>
                    <a:lnTo>
                      <a:pt x="280" y="75"/>
                    </a:lnTo>
                    <a:lnTo>
                      <a:pt x="282" y="75"/>
                    </a:lnTo>
                    <a:lnTo>
                      <a:pt x="284" y="75"/>
                    </a:lnTo>
                    <a:lnTo>
                      <a:pt x="284" y="73"/>
                    </a:lnTo>
                    <a:lnTo>
                      <a:pt x="285" y="73"/>
                    </a:lnTo>
                    <a:lnTo>
                      <a:pt x="287" y="73"/>
                    </a:lnTo>
                    <a:lnTo>
                      <a:pt x="287" y="71"/>
                    </a:lnTo>
                    <a:lnTo>
                      <a:pt x="289" y="71"/>
                    </a:lnTo>
                    <a:lnTo>
                      <a:pt x="289" y="69"/>
                    </a:lnTo>
                    <a:lnTo>
                      <a:pt x="290" y="69"/>
                    </a:lnTo>
                    <a:lnTo>
                      <a:pt x="292" y="69"/>
                    </a:lnTo>
                    <a:lnTo>
                      <a:pt x="292" y="68"/>
                    </a:lnTo>
                    <a:lnTo>
                      <a:pt x="294" y="66"/>
                    </a:lnTo>
                    <a:lnTo>
                      <a:pt x="295" y="66"/>
                    </a:lnTo>
                    <a:lnTo>
                      <a:pt x="295" y="64"/>
                    </a:lnTo>
                    <a:lnTo>
                      <a:pt x="297" y="64"/>
                    </a:lnTo>
                    <a:lnTo>
                      <a:pt x="299" y="64"/>
                    </a:lnTo>
                    <a:lnTo>
                      <a:pt x="299" y="63"/>
                    </a:lnTo>
                    <a:lnTo>
                      <a:pt x="301" y="63"/>
                    </a:lnTo>
                    <a:lnTo>
                      <a:pt x="301" y="61"/>
                    </a:lnTo>
                    <a:lnTo>
                      <a:pt x="302" y="61"/>
                    </a:lnTo>
                    <a:lnTo>
                      <a:pt x="302" y="59"/>
                    </a:lnTo>
                    <a:lnTo>
                      <a:pt x="304" y="59"/>
                    </a:lnTo>
                    <a:lnTo>
                      <a:pt x="306" y="59"/>
                    </a:lnTo>
                    <a:lnTo>
                      <a:pt x="307" y="58"/>
                    </a:lnTo>
                    <a:lnTo>
                      <a:pt x="309" y="58"/>
                    </a:lnTo>
                    <a:lnTo>
                      <a:pt x="311" y="58"/>
                    </a:lnTo>
                    <a:lnTo>
                      <a:pt x="311" y="56"/>
                    </a:lnTo>
                    <a:lnTo>
                      <a:pt x="312" y="56"/>
                    </a:lnTo>
                    <a:lnTo>
                      <a:pt x="314" y="56"/>
                    </a:lnTo>
                    <a:lnTo>
                      <a:pt x="316" y="56"/>
                    </a:lnTo>
                    <a:lnTo>
                      <a:pt x="316" y="54"/>
                    </a:lnTo>
                    <a:lnTo>
                      <a:pt x="318" y="54"/>
                    </a:lnTo>
                    <a:lnTo>
                      <a:pt x="319" y="54"/>
                    </a:lnTo>
                    <a:lnTo>
                      <a:pt x="319" y="52"/>
                    </a:lnTo>
                    <a:lnTo>
                      <a:pt x="321" y="52"/>
                    </a:lnTo>
                    <a:lnTo>
                      <a:pt x="321" y="51"/>
                    </a:lnTo>
                    <a:lnTo>
                      <a:pt x="323" y="49"/>
                    </a:lnTo>
                    <a:lnTo>
                      <a:pt x="323" y="47"/>
                    </a:lnTo>
                    <a:lnTo>
                      <a:pt x="324" y="46"/>
                    </a:lnTo>
                    <a:lnTo>
                      <a:pt x="324" y="44"/>
                    </a:lnTo>
                    <a:lnTo>
                      <a:pt x="324" y="42"/>
                    </a:lnTo>
                    <a:lnTo>
                      <a:pt x="323" y="42"/>
                    </a:lnTo>
                    <a:lnTo>
                      <a:pt x="323" y="41"/>
                    </a:lnTo>
                    <a:lnTo>
                      <a:pt x="324" y="41"/>
                    </a:lnTo>
                    <a:lnTo>
                      <a:pt x="326" y="41"/>
                    </a:lnTo>
                    <a:lnTo>
                      <a:pt x="328" y="41"/>
                    </a:lnTo>
                    <a:lnTo>
                      <a:pt x="329" y="41"/>
                    </a:lnTo>
                    <a:lnTo>
                      <a:pt x="329" y="42"/>
                    </a:lnTo>
                    <a:lnTo>
                      <a:pt x="329" y="44"/>
                    </a:lnTo>
                    <a:lnTo>
                      <a:pt x="331" y="44"/>
                    </a:lnTo>
                    <a:lnTo>
                      <a:pt x="331" y="42"/>
                    </a:lnTo>
                    <a:lnTo>
                      <a:pt x="333" y="42"/>
                    </a:lnTo>
                    <a:lnTo>
                      <a:pt x="333" y="41"/>
                    </a:lnTo>
                    <a:lnTo>
                      <a:pt x="333" y="39"/>
                    </a:lnTo>
                    <a:lnTo>
                      <a:pt x="333" y="41"/>
                    </a:lnTo>
                    <a:lnTo>
                      <a:pt x="333" y="39"/>
                    </a:lnTo>
                    <a:lnTo>
                      <a:pt x="331" y="39"/>
                    </a:lnTo>
                    <a:lnTo>
                      <a:pt x="333" y="39"/>
                    </a:lnTo>
                    <a:lnTo>
                      <a:pt x="331" y="39"/>
                    </a:lnTo>
                    <a:lnTo>
                      <a:pt x="329" y="39"/>
                    </a:lnTo>
                    <a:lnTo>
                      <a:pt x="331" y="39"/>
                    </a:lnTo>
                    <a:lnTo>
                      <a:pt x="333" y="37"/>
                    </a:lnTo>
                    <a:lnTo>
                      <a:pt x="333" y="35"/>
                    </a:lnTo>
                    <a:lnTo>
                      <a:pt x="335" y="37"/>
                    </a:lnTo>
                    <a:lnTo>
                      <a:pt x="335" y="35"/>
                    </a:lnTo>
                    <a:lnTo>
                      <a:pt x="335" y="37"/>
                    </a:lnTo>
                    <a:lnTo>
                      <a:pt x="336" y="39"/>
                    </a:lnTo>
                    <a:lnTo>
                      <a:pt x="336" y="37"/>
                    </a:lnTo>
                    <a:lnTo>
                      <a:pt x="338" y="37"/>
                    </a:lnTo>
                    <a:lnTo>
                      <a:pt x="338" y="35"/>
                    </a:lnTo>
                    <a:lnTo>
                      <a:pt x="336" y="35"/>
                    </a:lnTo>
                    <a:lnTo>
                      <a:pt x="338" y="35"/>
                    </a:lnTo>
                    <a:lnTo>
                      <a:pt x="338" y="34"/>
                    </a:lnTo>
                    <a:lnTo>
                      <a:pt x="338" y="35"/>
                    </a:lnTo>
                    <a:lnTo>
                      <a:pt x="340" y="35"/>
                    </a:lnTo>
                    <a:lnTo>
                      <a:pt x="338" y="35"/>
                    </a:lnTo>
                    <a:lnTo>
                      <a:pt x="340" y="35"/>
                    </a:lnTo>
                    <a:lnTo>
                      <a:pt x="341" y="35"/>
                    </a:lnTo>
                    <a:lnTo>
                      <a:pt x="341" y="34"/>
                    </a:lnTo>
                    <a:lnTo>
                      <a:pt x="340" y="34"/>
                    </a:lnTo>
                    <a:lnTo>
                      <a:pt x="341" y="34"/>
                    </a:lnTo>
                    <a:lnTo>
                      <a:pt x="340" y="34"/>
                    </a:lnTo>
                    <a:lnTo>
                      <a:pt x="338" y="34"/>
                    </a:lnTo>
                    <a:lnTo>
                      <a:pt x="340" y="34"/>
                    </a:lnTo>
                    <a:lnTo>
                      <a:pt x="340" y="32"/>
                    </a:lnTo>
                    <a:lnTo>
                      <a:pt x="341" y="34"/>
                    </a:lnTo>
                    <a:lnTo>
                      <a:pt x="343" y="34"/>
                    </a:lnTo>
                    <a:lnTo>
                      <a:pt x="345" y="34"/>
                    </a:lnTo>
                    <a:lnTo>
                      <a:pt x="346" y="34"/>
                    </a:lnTo>
                    <a:lnTo>
                      <a:pt x="346" y="35"/>
                    </a:lnTo>
                    <a:lnTo>
                      <a:pt x="348" y="35"/>
                    </a:lnTo>
                    <a:lnTo>
                      <a:pt x="350" y="35"/>
                    </a:lnTo>
                    <a:lnTo>
                      <a:pt x="352" y="35"/>
                    </a:lnTo>
                    <a:lnTo>
                      <a:pt x="352" y="37"/>
                    </a:lnTo>
                    <a:lnTo>
                      <a:pt x="352" y="35"/>
                    </a:lnTo>
                    <a:lnTo>
                      <a:pt x="352" y="37"/>
                    </a:lnTo>
                    <a:lnTo>
                      <a:pt x="353" y="37"/>
                    </a:lnTo>
                    <a:lnTo>
                      <a:pt x="355" y="37"/>
                    </a:lnTo>
                    <a:lnTo>
                      <a:pt x="355" y="39"/>
                    </a:lnTo>
                    <a:lnTo>
                      <a:pt x="355" y="41"/>
                    </a:lnTo>
                    <a:lnTo>
                      <a:pt x="357" y="41"/>
                    </a:lnTo>
                    <a:lnTo>
                      <a:pt x="357" y="42"/>
                    </a:lnTo>
                    <a:lnTo>
                      <a:pt x="357" y="44"/>
                    </a:lnTo>
                    <a:lnTo>
                      <a:pt x="358" y="44"/>
                    </a:lnTo>
                    <a:lnTo>
                      <a:pt x="358" y="46"/>
                    </a:lnTo>
                    <a:lnTo>
                      <a:pt x="358" y="47"/>
                    </a:lnTo>
                    <a:lnTo>
                      <a:pt x="358" y="49"/>
                    </a:lnTo>
                    <a:lnTo>
                      <a:pt x="357" y="49"/>
                    </a:lnTo>
                    <a:lnTo>
                      <a:pt x="355" y="49"/>
                    </a:lnTo>
                    <a:lnTo>
                      <a:pt x="355" y="51"/>
                    </a:lnTo>
                    <a:lnTo>
                      <a:pt x="353" y="51"/>
                    </a:lnTo>
                    <a:lnTo>
                      <a:pt x="353" y="52"/>
                    </a:lnTo>
                    <a:lnTo>
                      <a:pt x="352" y="52"/>
                    </a:lnTo>
                    <a:lnTo>
                      <a:pt x="352" y="54"/>
                    </a:lnTo>
                    <a:lnTo>
                      <a:pt x="350" y="54"/>
                    </a:lnTo>
                    <a:close/>
                    <a:moveTo>
                      <a:pt x="1" y="29"/>
                    </a:moveTo>
                    <a:lnTo>
                      <a:pt x="1" y="30"/>
                    </a:lnTo>
                    <a:lnTo>
                      <a:pt x="1" y="32"/>
                    </a:lnTo>
                    <a:lnTo>
                      <a:pt x="0" y="32"/>
                    </a:lnTo>
                    <a:lnTo>
                      <a:pt x="0" y="30"/>
                    </a:lnTo>
                    <a:lnTo>
                      <a:pt x="0" y="29"/>
                    </a:lnTo>
                    <a:lnTo>
                      <a:pt x="1" y="29"/>
                    </a:lnTo>
                    <a:close/>
                    <a:moveTo>
                      <a:pt x="12" y="1"/>
                    </a:moveTo>
                    <a:lnTo>
                      <a:pt x="13" y="1"/>
                    </a:lnTo>
                    <a:lnTo>
                      <a:pt x="13" y="3"/>
                    </a:lnTo>
                    <a:lnTo>
                      <a:pt x="12" y="3"/>
                    </a:lnTo>
                    <a:lnTo>
                      <a:pt x="12" y="1"/>
                    </a:lnTo>
                    <a:close/>
                    <a:moveTo>
                      <a:pt x="207" y="105"/>
                    </a:moveTo>
                    <a:lnTo>
                      <a:pt x="209" y="105"/>
                    </a:lnTo>
                    <a:lnTo>
                      <a:pt x="209" y="107"/>
                    </a:lnTo>
                    <a:lnTo>
                      <a:pt x="207" y="107"/>
                    </a:lnTo>
                    <a:lnTo>
                      <a:pt x="207" y="105"/>
                    </a:lnTo>
                    <a:close/>
                    <a:moveTo>
                      <a:pt x="119" y="355"/>
                    </a:moveTo>
                    <a:lnTo>
                      <a:pt x="120" y="355"/>
                    </a:lnTo>
                    <a:lnTo>
                      <a:pt x="120" y="357"/>
                    </a:lnTo>
                    <a:lnTo>
                      <a:pt x="119" y="357"/>
                    </a:lnTo>
                    <a:lnTo>
                      <a:pt x="119" y="355"/>
                    </a:lnTo>
                    <a:close/>
                    <a:moveTo>
                      <a:pt x="154" y="328"/>
                    </a:moveTo>
                    <a:lnTo>
                      <a:pt x="154" y="330"/>
                    </a:lnTo>
                    <a:lnTo>
                      <a:pt x="154" y="328"/>
                    </a:lnTo>
                    <a:close/>
                    <a:moveTo>
                      <a:pt x="100" y="394"/>
                    </a:moveTo>
                    <a:lnTo>
                      <a:pt x="102" y="394"/>
                    </a:lnTo>
                    <a:lnTo>
                      <a:pt x="102" y="396"/>
                    </a:lnTo>
                    <a:lnTo>
                      <a:pt x="100" y="396"/>
                    </a:lnTo>
                    <a:lnTo>
                      <a:pt x="100" y="394"/>
                    </a:lnTo>
                    <a:close/>
                    <a:moveTo>
                      <a:pt x="158" y="325"/>
                    </a:moveTo>
                    <a:lnTo>
                      <a:pt x="158" y="326"/>
                    </a:lnTo>
                    <a:lnTo>
                      <a:pt x="158" y="325"/>
                    </a:lnTo>
                    <a:close/>
                    <a:moveTo>
                      <a:pt x="93" y="403"/>
                    </a:moveTo>
                    <a:lnTo>
                      <a:pt x="95" y="403"/>
                    </a:lnTo>
                    <a:lnTo>
                      <a:pt x="95" y="405"/>
                    </a:lnTo>
                    <a:lnTo>
                      <a:pt x="93" y="405"/>
                    </a:lnTo>
                    <a:lnTo>
                      <a:pt x="93" y="403"/>
                    </a:lnTo>
                    <a:close/>
                    <a:moveTo>
                      <a:pt x="199" y="124"/>
                    </a:moveTo>
                    <a:lnTo>
                      <a:pt x="200" y="124"/>
                    </a:lnTo>
                    <a:lnTo>
                      <a:pt x="199" y="124"/>
                    </a:lnTo>
                    <a:close/>
                    <a:moveTo>
                      <a:pt x="187" y="138"/>
                    </a:moveTo>
                    <a:lnTo>
                      <a:pt x="188" y="138"/>
                    </a:lnTo>
                    <a:lnTo>
                      <a:pt x="188" y="139"/>
                    </a:lnTo>
                    <a:lnTo>
                      <a:pt x="187" y="139"/>
                    </a:lnTo>
                    <a:lnTo>
                      <a:pt x="187" y="138"/>
                    </a:lnTo>
                    <a:close/>
                    <a:moveTo>
                      <a:pt x="156" y="325"/>
                    </a:moveTo>
                    <a:lnTo>
                      <a:pt x="156" y="326"/>
                    </a:lnTo>
                    <a:lnTo>
                      <a:pt x="156" y="325"/>
                    </a:lnTo>
                    <a:close/>
                    <a:moveTo>
                      <a:pt x="202" y="110"/>
                    </a:moveTo>
                    <a:lnTo>
                      <a:pt x="204" y="110"/>
                    </a:lnTo>
                    <a:lnTo>
                      <a:pt x="204" y="112"/>
                    </a:lnTo>
                    <a:lnTo>
                      <a:pt x="202" y="112"/>
                    </a:lnTo>
                    <a:lnTo>
                      <a:pt x="202" y="110"/>
                    </a:lnTo>
                    <a:close/>
                    <a:moveTo>
                      <a:pt x="144" y="311"/>
                    </a:moveTo>
                    <a:lnTo>
                      <a:pt x="146" y="311"/>
                    </a:lnTo>
                    <a:lnTo>
                      <a:pt x="144" y="311"/>
                    </a:lnTo>
                    <a:close/>
                    <a:moveTo>
                      <a:pt x="210" y="100"/>
                    </a:moveTo>
                    <a:lnTo>
                      <a:pt x="210" y="102"/>
                    </a:lnTo>
                    <a:lnTo>
                      <a:pt x="210" y="100"/>
                    </a:lnTo>
                    <a:close/>
                    <a:moveTo>
                      <a:pt x="98" y="396"/>
                    </a:moveTo>
                    <a:lnTo>
                      <a:pt x="100" y="396"/>
                    </a:lnTo>
                    <a:lnTo>
                      <a:pt x="98" y="396"/>
                    </a:lnTo>
                    <a:close/>
                    <a:moveTo>
                      <a:pt x="209" y="103"/>
                    </a:moveTo>
                    <a:lnTo>
                      <a:pt x="210" y="103"/>
                    </a:lnTo>
                    <a:lnTo>
                      <a:pt x="209" y="103"/>
                    </a:lnTo>
                    <a:close/>
                    <a:moveTo>
                      <a:pt x="108" y="372"/>
                    </a:moveTo>
                    <a:lnTo>
                      <a:pt x="110" y="372"/>
                    </a:lnTo>
                    <a:lnTo>
                      <a:pt x="108" y="372"/>
                    </a:lnTo>
                    <a:close/>
                    <a:moveTo>
                      <a:pt x="105" y="377"/>
                    </a:moveTo>
                    <a:lnTo>
                      <a:pt x="105" y="379"/>
                    </a:lnTo>
                    <a:lnTo>
                      <a:pt x="105" y="377"/>
                    </a:lnTo>
                    <a:close/>
                    <a:moveTo>
                      <a:pt x="12" y="0"/>
                    </a:moveTo>
                    <a:lnTo>
                      <a:pt x="13" y="0"/>
                    </a:lnTo>
                    <a:lnTo>
                      <a:pt x="13" y="1"/>
                    </a:lnTo>
                    <a:lnTo>
                      <a:pt x="12" y="1"/>
                    </a:lnTo>
                    <a:lnTo>
                      <a:pt x="12" y="0"/>
                    </a:lnTo>
                    <a:close/>
                    <a:moveTo>
                      <a:pt x="146" y="311"/>
                    </a:moveTo>
                    <a:lnTo>
                      <a:pt x="146" y="313"/>
                    </a:lnTo>
                    <a:lnTo>
                      <a:pt x="146" y="311"/>
                    </a:lnTo>
                    <a:close/>
                    <a:moveTo>
                      <a:pt x="255" y="71"/>
                    </a:moveTo>
                    <a:lnTo>
                      <a:pt x="255" y="73"/>
                    </a:lnTo>
                    <a:lnTo>
                      <a:pt x="255" y="71"/>
                    </a:lnTo>
                    <a:close/>
                    <a:moveTo>
                      <a:pt x="148" y="308"/>
                    </a:moveTo>
                    <a:lnTo>
                      <a:pt x="148" y="309"/>
                    </a:lnTo>
                    <a:lnTo>
                      <a:pt x="148" y="308"/>
                    </a:lnTo>
                    <a:close/>
                    <a:moveTo>
                      <a:pt x="142" y="316"/>
                    </a:moveTo>
                    <a:lnTo>
                      <a:pt x="144" y="316"/>
                    </a:lnTo>
                    <a:lnTo>
                      <a:pt x="142" y="316"/>
                    </a:lnTo>
                    <a:close/>
                    <a:moveTo>
                      <a:pt x="142" y="316"/>
                    </a:moveTo>
                    <a:lnTo>
                      <a:pt x="144" y="316"/>
                    </a:lnTo>
                    <a:lnTo>
                      <a:pt x="144" y="318"/>
                    </a:lnTo>
                    <a:lnTo>
                      <a:pt x="142" y="318"/>
                    </a:lnTo>
                    <a:lnTo>
                      <a:pt x="142" y="316"/>
                    </a:lnTo>
                    <a:close/>
                    <a:moveTo>
                      <a:pt x="122" y="369"/>
                    </a:moveTo>
                    <a:lnTo>
                      <a:pt x="122" y="371"/>
                    </a:lnTo>
                    <a:lnTo>
                      <a:pt x="122" y="36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9" name="Freeform 25">
                <a:extLst>
                  <a:ext uri="{FF2B5EF4-FFF2-40B4-BE49-F238E27FC236}">
                    <a16:creationId xmlns:a16="http://schemas.microsoft.com/office/drawing/2014/main" id="{DB597224-442D-052D-EE50-E81C4E47BA4F}"/>
                  </a:ext>
                </a:extLst>
              </p:cNvPr>
              <p:cNvSpPr>
                <a:spLocks/>
              </p:cNvSpPr>
              <p:nvPr/>
            </p:nvSpPr>
            <p:spPr bwMode="auto">
              <a:xfrm>
                <a:off x="5692680" y="2822884"/>
                <a:ext cx="3819" cy="3526"/>
              </a:xfrm>
              <a:custGeom>
                <a:avLst/>
                <a:gdLst>
                  <a:gd name="T0" fmla="*/ 1 w 13"/>
                  <a:gd name="T1" fmla="*/ 0 h 12"/>
                  <a:gd name="T2" fmla="*/ 3 w 13"/>
                  <a:gd name="T3" fmla="*/ 2 h 12"/>
                  <a:gd name="T4" fmla="*/ 3 w 13"/>
                  <a:gd name="T5" fmla="*/ 4 h 12"/>
                  <a:gd name="T6" fmla="*/ 5 w 13"/>
                  <a:gd name="T7" fmla="*/ 6 h 12"/>
                  <a:gd name="T8" fmla="*/ 5 w 13"/>
                  <a:gd name="T9" fmla="*/ 7 h 12"/>
                  <a:gd name="T10" fmla="*/ 6 w 13"/>
                  <a:gd name="T11" fmla="*/ 7 h 12"/>
                  <a:gd name="T12" fmla="*/ 8 w 13"/>
                  <a:gd name="T13" fmla="*/ 7 h 12"/>
                  <a:gd name="T14" fmla="*/ 10 w 13"/>
                  <a:gd name="T15" fmla="*/ 7 h 12"/>
                  <a:gd name="T16" fmla="*/ 12 w 13"/>
                  <a:gd name="T17" fmla="*/ 9 h 12"/>
                  <a:gd name="T18" fmla="*/ 12 w 13"/>
                  <a:gd name="T19" fmla="*/ 11 h 12"/>
                  <a:gd name="T20" fmla="*/ 13 w 13"/>
                  <a:gd name="T21" fmla="*/ 11 h 12"/>
                  <a:gd name="T22" fmla="*/ 13 w 13"/>
                  <a:gd name="T23" fmla="*/ 12 h 12"/>
                  <a:gd name="T24" fmla="*/ 12 w 13"/>
                  <a:gd name="T25" fmla="*/ 12 h 12"/>
                  <a:gd name="T26" fmla="*/ 10 w 13"/>
                  <a:gd name="T27" fmla="*/ 12 h 12"/>
                  <a:gd name="T28" fmla="*/ 10 w 13"/>
                  <a:gd name="T29" fmla="*/ 11 h 12"/>
                  <a:gd name="T30" fmla="*/ 8 w 13"/>
                  <a:gd name="T31" fmla="*/ 11 h 12"/>
                  <a:gd name="T32" fmla="*/ 6 w 13"/>
                  <a:gd name="T33" fmla="*/ 11 h 12"/>
                  <a:gd name="T34" fmla="*/ 6 w 13"/>
                  <a:gd name="T35" fmla="*/ 9 h 12"/>
                  <a:gd name="T36" fmla="*/ 5 w 13"/>
                  <a:gd name="T37" fmla="*/ 9 h 12"/>
                  <a:gd name="T38" fmla="*/ 5 w 13"/>
                  <a:gd name="T39" fmla="*/ 7 h 12"/>
                  <a:gd name="T40" fmla="*/ 3 w 13"/>
                  <a:gd name="T41" fmla="*/ 7 h 12"/>
                  <a:gd name="T42" fmla="*/ 1 w 13"/>
                  <a:gd name="T43" fmla="*/ 7 h 12"/>
                  <a:gd name="T44" fmla="*/ 1 w 13"/>
                  <a:gd name="T45" fmla="*/ 6 h 12"/>
                  <a:gd name="T46" fmla="*/ 1 w 13"/>
                  <a:gd name="T47" fmla="*/ 4 h 12"/>
                  <a:gd name="T48" fmla="*/ 0 w 13"/>
                  <a:gd name="T49" fmla="*/ 4 h 12"/>
                  <a:gd name="T50" fmla="*/ 0 w 13"/>
                  <a:gd name="T51" fmla="*/ 2 h 12"/>
                  <a:gd name="T52" fmla="*/ 0 w 13"/>
                  <a:gd name="T53" fmla="*/ 0 h 12"/>
                  <a:gd name="T54" fmla="*/ 1 w 13"/>
                  <a:gd name="T5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 h="12">
                    <a:moveTo>
                      <a:pt x="1" y="0"/>
                    </a:moveTo>
                    <a:lnTo>
                      <a:pt x="3" y="2"/>
                    </a:lnTo>
                    <a:lnTo>
                      <a:pt x="3" y="4"/>
                    </a:lnTo>
                    <a:lnTo>
                      <a:pt x="5" y="6"/>
                    </a:lnTo>
                    <a:lnTo>
                      <a:pt x="5" y="7"/>
                    </a:lnTo>
                    <a:lnTo>
                      <a:pt x="6" y="7"/>
                    </a:lnTo>
                    <a:lnTo>
                      <a:pt x="8" y="7"/>
                    </a:lnTo>
                    <a:lnTo>
                      <a:pt x="10" y="7"/>
                    </a:lnTo>
                    <a:lnTo>
                      <a:pt x="12" y="9"/>
                    </a:lnTo>
                    <a:lnTo>
                      <a:pt x="12" y="11"/>
                    </a:lnTo>
                    <a:lnTo>
                      <a:pt x="13" y="11"/>
                    </a:lnTo>
                    <a:lnTo>
                      <a:pt x="13" y="12"/>
                    </a:lnTo>
                    <a:lnTo>
                      <a:pt x="12" y="12"/>
                    </a:lnTo>
                    <a:lnTo>
                      <a:pt x="10" y="12"/>
                    </a:lnTo>
                    <a:lnTo>
                      <a:pt x="10" y="11"/>
                    </a:lnTo>
                    <a:lnTo>
                      <a:pt x="8" y="11"/>
                    </a:lnTo>
                    <a:lnTo>
                      <a:pt x="6" y="11"/>
                    </a:lnTo>
                    <a:lnTo>
                      <a:pt x="6" y="9"/>
                    </a:lnTo>
                    <a:lnTo>
                      <a:pt x="5" y="9"/>
                    </a:lnTo>
                    <a:lnTo>
                      <a:pt x="5" y="7"/>
                    </a:lnTo>
                    <a:lnTo>
                      <a:pt x="3" y="7"/>
                    </a:lnTo>
                    <a:lnTo>
                      <a:pt x="1" y="7"/>
                    </a:lnTo>
                    <a:lnTo>
                      <a:pt x="1" y="6"/>
                    </a:lnTo>
                    <a:lnTo>
                      <a:pt x="1" y="4"/>
                    </a:lnTo>
                    <a:lnTo>
                      <a:pt x="0" y="4"/>
                    </a:lnTo>
                    <a:lnTo>
                      <a:pt x="0" y="2"/>
                    </a:lnTo>
                    <a:lnTo>
                      <a:pt x="0" y="0"/>
                    </a:lnTo>
                    <a:lnTo>
                      <a:pt x="1"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0" name="Freeform 28">
                <a:extLst>
                  <a:ext uri="{FF2B5EF4-FFF2-40B4-BE49-F238E27FC236}">
                    <a16:creationId xmlns:a16="http://schemas.microsoft.com/office/drawing/2014/main" id="{F5A9AA68-C170-F391-7866-4F1BE1AA6604}"/>
                  </a:ext>
                </a:extLst>
              </p:cNvPr>
              <p:cNvSpPr>
                <a:spLocks noEditPoints="1"/>
              </p:cNvSpPr>
              <p:nvPr/>
            </p:nvSpPr>
            <p:spPr bwMode="auto">
              <a:xfrm>
                <a:off x="5469451" y="2932442"/>
                <a:ext cx="163308" cy="64030"/>
              </a:xfrm>
              <a:custGeom>
                <a:avLst/>
                <a:gdLst>
                  <a:gd name="T0" fmla="*/ 549 w 556"/>
                  <a:gd name="T1" fmla="*/ 61 h 218"/>
                  <a:gd name="T2" fmla="*/ 554 w 556"/>
                  <a:gd name="T3" fmla="*/ 78 h 218"/>
                  <a:gd name="T4" fmla="*/ 540 w 556"/>
                  <a:gd name="T5" fmla="*/ 104 h 218"/>
                  <a:gd name="T6" fmla="*/ 489 w 556"/>
                  <a:gd name="T7" fmla="*/ 143 h 218"/>
                  <a:gd name="T8" fmla="*/ 454 w 556"/>
                  <a:gd name="T9" fmla="*/ 167 h 218"/>
                  <a:gd name="T10" fmla="*/ 447 w 556"/>
                  <a:gd name="T11" fmla="*/ 177 h 218"/>
                  <a:gd name="T12" fmla="*/ 440 w 556"/>
                  <a:gd name="T13" fmla="*/ 197 h 218"/>
                  <a:gd name="T14" fmla="*/ 428 w 556"/>
                  <a:gd name="T15" fmla="*/ 216 h 218"/>
                  <a:gd name="T16" fmla="*/ 409 w 556"/>
                  <a:gd name="T17" fmla="*/ 202 h 218"/>
                  <a:gd name="T18" fmla="*/ 387 w 556"/>
                  <a:gd name="T19" fmla="*/ 196 h 218"/>
                  <a:gd name="T20" fmla="*/ 382 w 556"/>
                  <a:gd name="T21" fmla="*/ 192 h 218"/>
                  <a:gd name="T22" fmla="*/ 389 w 556"/>
                  <a:gd name="T23" fmla="*/ 179 h 218"/>
                  <a:gd name="T24" fmla="*/ 392 w 556"/>
                  <a:gd name="T25" fmla="*/ 160 h 218"/>
                  <a:gd name="T26" fmla="*/ 401 w 556"/>
                  <a:gd name="T27" fmla="*/ 138 h 218"/>
                  <a:gd name="T28" fmla="*/ 399 w 556"/>
                  <a:gd name="T29" fmla="*/ 126 h 218"/>
                  <a:gd name="T30" fmla="*/ 398 w 556"/>
                  <a:gd name="T31" fmla="*/ 128 h 218"/>
                  <a:gd name="T32" fmla="*/ 389 w 556"/>
                  <a:gd name="T33" fmla="*/ 136 h 218"/>
                  <a:gd name="T34" fmla="*/ 370 w 556"/>
                  <a:gd name="T35" fmla="*/ 129 h 218"/>
                  <a:gd name="T36" fmla="*/ 369 w 556"/>
                  <a:gd name="T37" fmla="*/ 119 h 218"/>
                  <a:gd name="T38" fmla="*/ 369 w 556"/>
                  <a:gd name="T39" fmla="*/ 94 h 218"/>
                  <a:gd name="T40" fmla="*/ 374 w 556"/>
                  <a:gd name="T41" fmla="*/ 80 h 218"/>
                  <a:gd name="T42" fmla="*/ 379 w 556"/>
                  <a:gd name="T43" fmla="*/ 66 h 218"/>
                  <a:gd name="T44" fmla="*/ 391 w 556"/>
                  <a:gd name="T45" fmla="*/ 49 h 218"/>
                  <a:gd name="T46" fmla="*/ 394 w 556"/>
                  <a:gd name="T47" fmla="*/ 36 h 218"/>
                  <a:gd name="T48" fmla="*/ 398 w 556"/>
                  <a:gd name="T49" fmla="*/ 20 h 218"/>
                  <a:gd name="T50" fmla="*/ 425 w 556"/>
                  <a:gd name="T51" fmla="*/ 10 h 218"/>
                  <a:gd name="T52" fmla="*/ 435 w 556"/>
                  <a:gd name="T53" fmla="*/ 5 h 218"/>
                  <a:gd name="T54" fmla="*/ 447 w 556"/>
                  <a:gd name="T55" fmla="*/ 8 h 218"/>
                  <a:gd name="T56" fmla="*/ 464 w 556"/>
                  <a:gd name="T57" fmla="*/ 20 h 218"/>
                  <a:gd name="T58" fmla="*/ 477 w 556"/>
                  <a:gd name="T59" fmla="*/ 29 h 218"/>
                  <a:gd name="T60" fmla="*/ 493 w 556"/>
                  <a:gd name="T61" fmla="*/ 37 h 218"/>
                  <a:gd name="T62" fmla="*/ 513 w 556"/>
                  <a:gd name="T63" fmla="*/ 41 h 218"/>
                  <a:gd name="T64" fmla="*/ 532 w 556"/>
                  <a:gd name="T65" fmla="*/ 43 h 218"/>
                  <a:gd name="T66" fmla="*/ 554 w 556"/>
                  <a:gd name="T67" fmla="*/ 53 h 218"/>
                  <a:gd name="T68" fmla="*/ 24 w 556"/>
                  <a:gd name="T69" fmla="*/ 65 h 218"/>
                  <a:gd name="T70" fmla="*/ 25 w 556"/>
                  <a:gd name="T71" fmla="*/ 82 h 218"/>
                  <a:gd name="T72" fmla="*/ 5 w 556"/>
                  <a:gd name="T73" fmla="*/ 78 h 218"/>
                  <a:gd name="T74" fmla="*/ 15 w 556"/>
                  <a:gd name="T75" fmla="*/ 63 h 218"/>
                  <a:gd name="T76" fmla="*/ 5 w 556"/>
                  <a:gd name="T77" fmla="*/ 48 h 218"/>
                  <a:gd name="T78" fmla="*/ 44 w 556"/>
                  <a:gd name="T79" fmla="*/ 75 h 218"/>
                  <a:gd name="T80" fmla="*/ 46 w 556"/>
                  <a:gd name="T81" fmla="*/ 65 h 218"/>
                  <a:gd name="T82" fmla="*/ 389 w 556"/>
                  <a:gd name="T83" fmla="*/ 148 h 218"/>
                  <a:gd name="T84" fmla="*/ 8 w 556"/>
                  <a:gd name="T85" fmla="*/ 58 h 218"/>
                  <a:gd name="T86" fmla="*/ 7 w 556"/>
                  <a:gd name="T87" fmla="*/ 58 h 218"/>
                  <a:gd name="T88" fmla="*/ 30 w 556"/>
                  <a:gd name="T89" fmla="*/ 54 h 218"/>
                  <a:gd name="T90" fmla="*/ 71 w 556"/>
                  <a:gd name="T91" fmla="*/ 78 h 218"/>
                  <a:gd name="T92" fmla="*/ 41 w 556"/>
                  <a:gd name="T93" fmla="*/ 90 h 218"/>
                  <a:gd name="T94" fmla="*/ 399 w 556"/>
                  <a:gd name="T95" fmla="*/ 136 h 218"/>
                  <a:gd name="T96" fmla="*/ 391 w 556"/>
                  <a:gd name="T97" fmla="*/ 136 h 218"/>
                  <a:gd name="T98" fmla="*/ 403 w 556"/>
                  <a:gd name="T99" fmla="*/ 138 h 218"/>
                  <a:gd name="T100" fmla="*/ 428 w 556"/>
                  <a:gd name="T101" fmla="*/ 5 h 218"/>
                  <a:gd name="T102" fmla="*/ 66 w 556"/>
                  <a:gd name="T103" fmla="*/ 95 h 218"/>
                  <a:gd name="T104" fmla="*/ 391 w 556"/>
                  <a:gd name="T105" fmla="*/ 145 h 218"/>
                  <a:gd name="T106" fmla="*/ 394 w 556"/>
                  <a:gd name="T107" fmla="*/ 124 h 218"/>
                  <a:gd name="T108" fmla="*/ 394 w 556"/>
                  <a:gd name="T109" fmla="*/ 138 h 218"/>
                  <a:gd name="T110" fmla="*/ 392 w 556"/>
                  <a:gd name="T111" fmla="*/ 129 h 218"/>
                  <a:gd name="T112" fmla="*/ 387 w 556"/>
                  <a:gd name="T113" fmla="*/ 162 h 218"/>
                  <a:gd name="T114" fmla="*/ 392 w 556"/>
                  <a:gd name="T115" fmla="*/ 36 h 218"/>
                  <a:gd name="T116" fmla="*/ 394 w 556"/>
                  <a:gd name="T117" fmla="*/ 129 h 218"/>
                  <a:gd name="T118" fmla="*/ 396 w 556"/>
                  <a:gd name="T119" fmla="*/ 131 h 218"/>
                  <a:gd name="T120" fmla="*/ 399 w 556"/>
                  <a:gd name="T121" fmla="*/ 134 h 218"/>
                  <a:gd name="T122" fmla="*/ 387 w 556"/>
                  <a:gd name="T123" fmla="*/ 139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56" h="218">
                    <a:moveTo>
                      <a:pt x="554" y="53"/>
                    </a:moveTo>
                    <a:lnTo>
                      <a:pt x="552" y="54"/>
                    </a:lnTo>
                    <a:lnTo>
                      <a:pt x="551" y="54"/>
                    </a:lnTo>
                    <a:lnTo>
                      <a:pt x="549" y="54"/>
                    </a:lnTo>
                    <a:lnTo>
                      <a:pt x="547" y="54"/>
                    </a:lnTo>
                    <a:lnTo>
                      <a:pt x="547" y="53"/>
                    </a:lnTo>
                    <a:lnTo>
                      <a:pt x="545" y="53"/>
                    </a:lnTo>
                    <a:lnTo>
                      <a:pt x="544" y="53"/>
                    </a:lnTo>
                    <a:lnTo>
                      <a:pt x="542" y="53"/>
                    </a:lnTo>
                    <a:lnTo>
                      <a:pt x="542" y="54"/>
                    </a:lnTo>
                    <a:lnTo>
                      <a:pt x="544" y="54"/>
                    </a:lnTo>
                    <a:lnTo>
                      <a:pt x="544" y="56"/>
                    </a:lnTo>
                    <a:lnTo>
                      <a:pt x="545" y="56"/>
                    </a:lnTo>
                    <a:lnTo>
                      <a:pt x="547" y="58"/>
                    </a:lnTo>
                    <a:lnTo>
                      <a:pt x="545" y="58"/>
                    </a:lnTo>
                    <a:lnTo>
                      <a:pt x="547" y="58"/>
                    </a:lnTo>
                    <a:lnTo>
                      <a:pt x="547" y="60"/>
                    </a:lnTo>
                    <a:lnTo>
                      <a:pt x="547" y="61"/>
                    </a:lnTo>
                    <a:lnTo>
                      <a:pt x="549" y="61"/>
                    </a:lnTo>
                    <a:lnTo>
                      <a:pt x="549" y="63"/>
                    </a:lnTo>
                    <a:lnTo>
                      <a:pt x="551" y="65"/>
                    </a:lnTo>
                    <a:lnTo>
                      <a:pt x="552" y="65"/>
                    </a:lnTo>
                    <a:lnTo>
                      <a:pt x="552" y="66"/>
                    </a:lnTo>
                    <a:lnTo>
                      <a:pt x="554" y="66"/>
                    </a:lnTo>
                    <a:lnTo>
                      <a:pt x="554" y="68"/>
                    </a:lnTo>
                    <a:lnTo>
                      <a:pt x="556" y="68"/>
                    </a:lnTo>
                    <a:lnTo>
                      <a:pt x="554" y="68"/>
                    </a:lnTo>
                    <a:lnTo>
                      <a:pt x="554" y="70"/>
                    </a:lnTo>
                    <a:lnTo>
                      <a:pt x="556" y="70"/>
                    </a:lnTo>
                    <a:lnTo>
                      <a:pt x="554" y="71"/>
                    </a:lnTo>
                    <a:lnTo>
                      <a:pt x="554" y="70"/>
                    </a:lnTo>
                    <a:lnTo>
                      <a:pt x="554" y="71"/>
                    </a:lnTo>
                    <a:lnTo>
                      <a:pt x="554" y="70"/>
                    </a:lnTo>
                    <a:lnTo>
                      <a:pt x="554" y="71"/>
                    </a:lnTo>
                    <a:lnTo>
                      <a:pt x="554" y="73"/>
                    </a:lnTo>
                    <a:lnTo>
                      <a:pt x="554" y="75"/>
                    </a:lnTo>
                    <a:lnTo>
                      <a:pt x="554" y="77"/>
                    </a:lnTo>
                    <a:lnTo>
                      <a:pt x="554" y="78"/>
                    </a:lnTo>
                    <a:lnTo>
                      <a:pt x="556" y="78"/>
                    </a:lnTo>
                    <a:lnTo>
                      <a:pt x="556" y="80"/>
                    </a:lnTo>
                    <a:lnTo>
                      <a:pt x="554" y="80"/>
                    </a:lnTo>
                    <a:lnTo>
                      <a:pt x="556" y="82"/>
                    </a:lnTo>
                    <a:lnTo>
                      <a:pt x="554" y="82"/>
                    </a:lnTo>
                    <a:lnTo>
                      <a:pt x="552" y="82"/>
                    </a:lnTo>
                    <a:lnTo>
                      <a:pt x="551" y="82"/>
                    </a:lnTo>
                    <a:lnTo>
                      <a:pt x="551" y="80"/>
                    </a:lnTo>
                    <a:lnTo>
                      <a:pt x="549" y="80"/>
                    </a:lnTo>
                    <a:lnTo>
                      <a:pt x="549" y="82"/>
                    </a:lnTo>
                    <a:lnTo>
                      <a:pt x="547" y="88"/>
                    </a:lnTo>
                    <a:lnTo>
                      <a:pt x="547" y="90"/>
                    </a:lnTo>
                    <a:lnTo>
                      <a:pt x="545" y="97"/>
                    </a:lnTo>
                    <a:lnTo>
                      <a:pt x="544" y="99"/>
                    </a:lnTo>
                    <a:lnTo>
                      <a:pt x="544" y="100"/>
                    </a:lnTo>
                    <a:lnTo>
                      <a:pt x="544" y="102"/>
                    </a:lnTo>
                    <a:lnTo>
                      <a:pt x="542" y="100"/>
                    </a:lnTo>
                    <a:lnTo>
                      <a:pt x="542" y="102"/>
                    </a:lnTo>
                    <a:lnTo>
                      <a:pt x="540" y="104"/>
                    </a:lnTo>
                    <a:lnTo>
                      <a:pt x="539" y="107"/>
                    </a:lnTo>
                    <a:lnTo>
                      <a:pt x="535" y="109"/>
                    </a:lnTo>
                    <a:lnTo>
                      <a:pt x="535" y="111"/>
                    </a:lnTo>
                    <a:lnTo>
                      <a:pt x="532" y="114"/>
                    </a:lnTo>
                    <a:lnTo>
                      <a:pt x="528" y="119"/>
                    </a:lnTo>
                    <a:lnTo>
                      <a:pt x="527" y="121"/>
                    </a:lnTo>
                    <a:lnTo>
                      <a:pt x="527" y="122"/>
                    </a:lnTo>
                    <a:lnTo>
                      <a:pt x="523" y="124"/>
                    </a:lnTo>
                    <a:lnTo>
                      <a:pt x="518" y="128"/>
                    </a:lnTo>
                    <a:lnTo>
                      <a:pt x="515" y="129"/>
                    </a:lnTo>
                    <a:lnTo>
                      <a:pt x="513" y="131"/>
                    </a:lnTo>
                    <a:lnTo>
                      <a:pt x="511" y="134"/>
                    </a:lnTo>
                    <a:lnTo>
                      <a:pt x="510" y="134"/>
                    </a:lnTo>
                    <a:lnTo>
                      <a:pt x="508" y="136"/>
                    </a:lnTo>
                    <a:lnTo>
                      <a:pt x="506" y="136"/>
                    </a:lnTo>
                    <a:lnTo>
                      <a:pt x="505" y="138"/>
                    </a:lnTo>
                    <a:lnTo>
                      <a:pt x="503" y="138"/>
                    </a:lnTo>
                    <a:lnTo>
                      <a:pt x="501" y="138"/>
                    </a:lnTo>
                    <a:lnTo>
                      <a:pt x="489" y="143"/>
                    </a:lnTo>
                    <a:lnTo>
                      <a:pt x="476" y="148"/>
                    </a:lnTo>
                    <a:lnTo>
                      <a:pt x="471" y="148"/>
                    </a:lnTo>
                    <a:lnTo>
                      <a:pt x="467" y="150"/>
                    </a:lnTo>
                    <a:lnTo>
                      <a:pt x="464" y="153"/>
                    </a:lnTo>
                    <a:lnTo>
                      <a:pt x="462" y="153"/>
                    </a:lnTo>
                    <a:lnTo>
                      <a:pt x="462" y="155"/>
                    </a:lnTo>
                    <a:lnTo>
                      <a:pt x="460" y="155"/>
                    </a:lnTo>
                    <a:lnTo>
                      <a:pt x="460" y="156"/>
                    </a:lnTo>
                    <a:lnTo>
                      <a:pt x="459" y="156"/>
                    </a:lnTo>
                    <a:lnTo>
                      <a:pt x="459" y="158"/>
                    </a:lnTo>
                    <a:lnTo>
                      <a:pt x="457" y="160"/>
                    </a:lnTo>
                    <a:lnTo>
                      <a:pt x="457" y="162"/>
                    </a:lnTo>
                    <a:lnTo>
                      <a:pt x="455" y="162"/>
                    </a:lnTo>
                    <a:lnTo>
                      <a:pt x="455" y="163"/>
                    </a:lnTo>
                    <a:lnTo>
                      <a:pt x="455" y="165"/>
                    </a:lnTo>
                    <a:lnTo>
                      <a:pt x="457" y="165"/>
                    </a:lnTo>
                    <a:lnTo>
                      <a:pt x="457" y="167"/>
                    </a:lnTo>
                    <a:lnTo>
                      <a:pt x="455" y="167"/>
                    </a:lnTo>
                    <a:lnTo>
                      <a:pt x="454" y="167"/>
                    </a:lnTo>
                    <a:lnTo>
                      <a:pt x="454" y="165"/>
                    </a:lnTo>
                    <a:lnTo>
                      <a:pt x="454" y="163"/>
                    </a:lnTo>
                    <a:lnTo>
                      <a:pt x="452" y="163"/>
                    </a:lnTo>
                    <a:lnTo>
                      <a:pt x="450" y="163"/>
                    </a:lnTo>
                    <a:lnTo>
                      <a:pt x="449" y="163"/>
                    </a:lnTo>
                    <a:lnTo>
                      <a:pt x="450" y="163"/>
                    </a:lnTo>
                    <a:lnTo>
                      <a:pt x="449" y="163"/>
                    </a:lnTo>
                    <a:lnTo>
                      <a:pt x="450" y="165"/>
                    </a:lnTo>
                    <a:lnTo>
                      <a:pt x="449" y="165"/>
                    </a:lnTo>
                    <a:lnTo>
                      <a:pt x="449" y="167"/>
                    </a:lnTo>
                    <a:lnTo>
                      <a:pt x="449" y="168"/>
                    </a:lnTo>
                    <a:lnTo>
                      <a:pt x="449" y="170"/>
                    </a:lnTo>
                    <a:lnTo>
                      <a:pt x="449" y="172"/>
                    </a:lnTo>
                    <a:lnTo>
                      <a:pt x="447" y="172"/>
                    </a:lnTo>
                    <a:lnTo>
                      <a:pt x="449" y="172"/>
                    </a:lnTo>
                    <a:lnTo>
                      <a:pt x="449" y="173"/>
                    </a:lnTo>
                    <a:lnTo>
                      <a:pt x="447" y="173"/>
                    </a:lnTo>
                    <a:lnTo>
                      <a:pt x="447" y="175"/>
                    </a:lnTo>
                    <a:lnTo>
                      <a:pt x="447" y="177"/>
                    </a:lnTo>
                    <a:lnTo>
                      <a:pt x="447" y="179"/>
                    </a:lnTo>
                    <a:lnTo>
                      <a:pt x="445" y="179"/>
                    </a:lnTo>
                    <a:lnTo>
                      <a:pt x="445" y="180"/>
                    </a:lnTo>
                    <a:lnTo>
                      <a:pt x="445" y="182"/>
                    </a:lnTo>
                    <a:lnTo>
                      <a:pt x="443" y="182"/>
                    </a:lnTo>
                    <a:lnTo>
                      <a:pt x="443" y="184"/>
                    </a:lnTo>
                    <a:lnTo>
                      <a:pt x="442" y="184"/>
                    </a:lnTo>
                    <a:lnTo>
                      <a:pt x="442" y="185"/>
                    </a:lnTo>
                    <a:lnTo>
                      <a:pt x="443" y="185"/>
                    </a:lnTo>
                    <a:lnTo>
                      <a:pt x="443" y="187"/>
                    </a:lnTo>
                    <a:lnTo>
                      <a:pt x="442" y="187"/>
                    </a:lnTo>
                    <a:lnTo>
                      <a:pt x="442" y="189"/>
                    </a:lnTo>
                    <a:lnTo>
                      <a:pt x="442" y="190"/>
                    </a:lnTo>
                    <a:lnTo>
                      <a:pt x="440" y="190"/>
                    </a:lnTo>
                    <a:lnTo>
                      <a:pt x="440" y="192"/>
                    </a:lnTo>
                    <a:lnTo>
                      <a:pt x="442" y="192"/>
                    </a:lnTo>
                    <a:lnTo>
                      <a:pt x="440" y="194"/>
                    </a:lnTo>
                    <a:lnTo>
                      <a:pt x="440" y="196"/>
                    </a:lnTo>
                    <a:lnTo>
                      <a:pt x="440" y="197"/>
                    </a:lnTo>
                    <a:lnTo>
                      <a:pt x="442" y="199"/>
                    </a:lnTo>
                    <a:lnTo>
                      <a:pt x="440" y="199"/>
                    </a:lnTo>
                    <a:lnTo>
                      <a:pt x="440" y="201"/>
                    </a:lnTo>
                    <a:lnTo>
                      <a:pt x="438" y="202"/>
                    </a:lnTo>
                    <a:lnTo>
                      <a:pt x="438" y="204"/>
                    </a:lnTo>
                    <a:lnTo>
                      <a:pt x="437" y="206"/>
                    </a:lnTo>
                    <a:lnTo>
                      <a:pt x="435" y="206"/>
                    </a:lnTo>
                    <a:lnTo>
                      <a:pt x="433" y="206"/>
                    </a:lnTo>
                    <a:lnTo>
                      <a:pt x="432" y="208"/>
                    </a:lnTo>
                    <a:lnTo>
                      <a:pt x="432" y="209"/>
                    </a:lnTo>
                    <a:lnTo>
                      <a:pt x="432" y="211"/>
                    </a:lnTo>
                    <a:lnTo>
                      <a:pt x="430" y="211"/>
                    </a:lnTo>
                    <a:lnTo>
                      <a:pt x="432" y="211"/>
                    </a:lnTo>
                    <a:lnTo>
                      <a:pt x="432" y="213"/>
                    </a:lnTo>
                    <a:lnTo>
                      <a:pt x="430" y="213"/>
                    </a:lnTo>
                    <a:lnTo>
                      <a:pt x="432" y="214"/>
                    </a:lnTo>
                    <a:lnTo>
                      <a:pt x="430" y="214"/>
                    </a:lnTo>
                    <a:lnTo>
                      <a:pt x="428" y="214"/>
                    </a:lnTo>
                    <a:lnTo>
                      <a:pt x="428" y="216"/>
                    </a:lnTo>
                    <a:lnTo>
                      <a:pt x="428" y="218"/>
                    </a:lnTo>
                    <a:lnTo>
                      <a:pt x="426" y="218"/>
                    </a:lnTo>
                    <a:lnTo>
                      <a:pt x="425" y="218"/>
                    </a:lnTo>
                    <a:lnTo>
                      <a:pt x="423" y="218"/>
                    </a:lnTo>
                    <a:lnTo>
                      <a:pt x="423" y="216"/>
                    </a:lnTo>
                    <a:lnTo>
                      <a:pt x="421" y="216"/>
                    </a:lnTo>
                    <a:lnTo>
                      <a:pt x="420" y="216"/>
                    </a:lnTo>
                    <a:lnTo>
                      <a:pt x="418" y="216"/>
                    </a:lnTo>
                    <a:lnTo>
                      <a:pt x="418" y="214"/>
                    </a:lnTo>
                    <a:lnTo>
                      <a:pt x="416" y="214"/>
                    </a:lnTo>
                    <a:lnTo>
                      <a:pt x="415" y="213"/>
                    </a:lnTo>
                    <a:lnTo>
                      <a:pt x="413" y="211"/>
                    </a:lnTo>
                    <a:lnTo>
                      <a:pt x="413" y="209"/>
                    </a:lnTo>
                    <a:lnTo>
                      <a:pt x="413" y="208"/>
                    </a:lnTo>
                    <a:lnTo>
                      <a:pt x="411" y="206"/>
                    </a:lnTo>
                    <a:lnTo>
                      <a:pt x="411" y="204"/>
                    </a:lnTo>
                    <a:lnTo>
                      <a:pt x="411" y="202"/>
                    </a:lnTo>
                    <a:lnTo>
                      <a:pt x="409" y="201"/>
                    </a:lnTo>
                    <a:lnTo>
                      <a:pt x="409" y="202"/>
                    </a:lnTo>
                    <a:lnTo>
                      <a:pt x="409" y="201"/>
                    </a:lnTo>
                    <a:lnTo>
                      <a:pt x="408" y="201"/>
                    </a:lnTo>
                    <a:lnTo>
                      <a:pt x="408" y="199"/>
                    </a:lnTo>
                    <a:lnTo>
                      <a:pt x="406" y="199"/>
                    </a:lnTo>
                    <a:lnTo>
                      <a:pt x="404" y="199"/>
                    </a:lnTo>
                    <a:lnTo>
                      <a:pt x="404" y="201"/>
                    </a:lnTo>
                    <a:lnTo>
                      <a:pt x="403" y="201"/>
                    </a:lnTo>
                    <a:lnTo>
                      <a:pt x="401" y="201"/>
                    </a:lnTo>
                    <a:lnTo>
                      <a:pt x="399" y="201"/>
                    </a:lnTo>
                    <a:lnTo>
                      <a:pt x="399" y="199"/>
                    </a:lnTo>
                    <a:lnTo>
                      <a:pt x="398" y="197"/>
                    </a:lnTo>
                    <a:lnTo>
                      <a:pt x="396" y="197"/>
                    </a:lnTo>
                    <a:lnTo>
                      <a:pt x="394" y="197"/>
                    </a:lnTo>
                    <a:lnTo>
                      <a:pt x="392" y="196"/>
                    </a:lnTo>
                    <a:lnTo>
                      <a:pt x="392" y="194"/>
                    </a:lnTo>
                    <a:lnTo>
                      <a:pt x="391" y="194"/>
                    </a:lnTo>
                    <a:lnTo>
                      <a:pt x="389" y="194"/>
                    </a:lnTo>
                    <a:lnTo>
                      <a:pt x="387" y="194"/>
                    </a:lnTo>
                    <a:lnTo>
                      <a:pt x="387" y="196"/>
                    </a:lnTo>
                    <a:lnTo>
                      <a:pt x="386" y="196"/>
                    </a:lnTo>
                    <a:lnTo>
                      <a:pt x="386" y="197"/>
                    </a:lnTo>
                    <a:lnTo>
                      <a:pt x="384" y="197"/>
                    </a:lnTo>
                    <a:lnTo>
                      <a:pt x="384" y="199"/>
                    </a:lnTo>
                    <a:lnTo>
                      <a:pt x="382" y="199"/>
                    </a:lnTo>
                    <a:lnTo>
                      <a:pt x="382" y="201"/>
                    </a:lnTo>
                    <a:lnTo>
                      <a:pt x="381" y="201"/>
                    </a:lnTo>
                    <a:lnTo>
                      <a:pt x="379" y="199"/>
                    </a:lnTo>
                    <a:lnTo>
                      <a:pt x="379" y="201"/>
                    </a:lnTo>
                    <a:lnTo>
                      <a:pt x="379" y="199"/>
                    </a:lnTo>
                    <a:lnTo>
                      <a:pt x="379" y="197"/>
                    </a:lnTo>
                    <a:lnTo>
                      <a:pt x="379" y="196"/>
                    </a:lnTo>
                    <a:lnTo>
                      <a:pt x="381" y="196"/>
                    </a:lnTo>
                    <a:lnTo>
                      <a:pt x="381" y="194"/>
                    </a:lnTo>
                    <a:lnTo>
                      <a:pt x="382" y="192"/>
                    </a:lnTo>
                    <a:lnTo>
                      <a:pt x="382" y="190"/>
                    </a:lnTo>
                    <a:lnTo>
                      <a:pt x="384" y="190"/>
                    </a:lnTo>
                    <a:lnTo>
                      <a:pt x="382" y="190"/>
                    </a:lnTo>
                    <a:lnTo>
                      <a:pt x="382" y="192"/>
                    </a:lnTo>
                    <a:lnTo>
                      <a:pt x="381" y="190"/>
                    </a:lnTo>
                    <a:lnTo>
                      <a:pt x="381" y="192"/>
                    </a:lnTo>
                    <a:lnTo>
                      <a:pt x="379" y="190"/>
                    </a:lnTo>
                    <a:lnTo>
                      <a:pt x="379" y="189"/>
                    </a:lnTo>
                    <a:lnTo>
                      <a:pt x="377" y="189"/>
                    </a:lnTo>
                    <a:lnTo>
                      <a:pt x="379" y="187"/>
                    </a:lnTo>
                    <a:lnTo>
                      <a:pt x="377" y="187"/>
                    </a:lnTo>
                    <a:lnTo>
                      <a:pt x="377" y="185"/>
                    </a:lnTo>
                    <a:lnTo>
                      <a:pt x="379" y="185"/>
                    </a:lnTo>
                    <a:lnTo>
                      <a:pt x="379" y="184"/>
                    </a:lnTo>
                    <a:lnTo>
                      <a:pt x="381" y="184"/>
                    </a:lnTo>
                    <a:lnTo>
                      <a:pt x="382" y="184"/>
                    </a:lnTo>
                    <a:lnTo>
                      <a:pt x="384" y="185"/>
                    </a:lnTo>
                    <a:lnTo>
                      <a:pt x="384" y="184"/>
                    </a:lnTo>
                    <a:lnTo>
                      <a:pt x="386" y="184"/>
                    </a:lnTo>
                    <a:lnTo>
                      <a:pt x="386" y="182"/>
                    </a:lnTo>
                    <a:lnTo>
                      <a:pt x="387" y="182"/>
                    </a:lnTo>
                    <a:lnTo>
                      <a:pt x="389" y="180"/>
                    </a:lnTo>
                    <a:lnTo>
                      <a:pt x="389" y="179"/>
                    </a:lnTo>
                    <a:lnTo>
                      <a:pt x="389" y="177"/>
                    </a:lnTo>
                    <a:lnTo>
                      <a:pt x="387" y="177"/>
                    </a:lnTo>
                    <a:lnTo>
                      <a:pt x="387" y="175"/>
                    </a:lnTo>
                    <a:lnTo>
                      <a:pt x="387" y="173"/>
                    </a:lnTo>
                    <a:lnTo>
                      <a:pt x="387" y="172"/>
                    </a:lnTo>
                    <a:lnTo>
                      <a:pt x="387" y="170"/>
                    </a:lnTo>
                    <a:lnTo>
                      <a:pt x="386" y="170"/>
                    </a:lnTo>
                    <a:lnTo>
                      <a:pt x="387" y="168"/>
                    </a:lnTo>
                    <a:lnTo>
                      <a:pt x="386" y="168"/>
                    </a:lnTo>
                    <a:lnTo>
                      <a:pt x="386" y="167"/>
                    </a:lnTo>
                    <a:lnTo>
                      <a:pt x="386" y="165"/>
                    </a:lnTo>
                    <a:lnTo>
                      <a:pt x="387" y="165"/>
                    </a:lnTo>
                    <a:lnTo>
                      <a:pt x="389" y="165"/>
                    </a:lnTo>
                    <a:lnTo>
                      <a:pt x="391" y="165"/>
                    </a:lnTo>
                    <a:lnTo>
                      <a:pt x="392" y="163"/>
                    </a:lnTo>
                    <a:lnTo>
                      <a:pt x="392" y="162"/>
                    </a:lnTo>
                    <a:lnTo>
                      <a:pt x="392" y="163"/>
                    </a:lnTo>
                    <a:lnTo>
                      <a:pt x="392" y="162"/>
                    </a:lnTo>
                    <a:lnTo>
                      <a:pt x="392" y="160"/>
                    </a:lnTo>
                    <a:lnTo>
                      <a:pt x="394" y="160"/>
                    </a:lnTo>
                    <a:lnTo>
                      <a:pt x="394" y="158"/>
                    </a:lnTo>
                    <a:lnTo>
                      <a:pt x="394" y="156"/>
                    </a:lnTo>
                    <a:lnTo>
                      <a:pt x="396" y="156"/>
                    </a:lnTo>
                    <a:lnTo>
                      <a:pt x="398" y="155"/>
                    </a:lnTo>
                    <a:lnTo>
                      <a:pt x="398" y="153"/>
                    </a:lnTo>
                    <a:lnTo>
                      <a:pt x="398" y="151"/>
                    </a:lnTo>
                    <a:lnTo>
                      <a:pt x="398" y="153"/>
                    </a:lnTo>
                    <a:lnTo>
                      <a:pt x="398" y="151"/>
                    </a:lnTo>
                    <a:lnTo>
                      <a:pt x="399" y="151"/>
                    </a:lnTo>
                    <a:lnTo>
                      <a:pt x="399" y="150"/>
                    </a:lnTo>
                    <a:lnTo>
                      <a:pt x="399" y="148"/>
                    </a:lnTo>
                    <a:lnTo>
                      <a:pt x="399" y="146"/>
                    </a:lnTo>
                    <a:lnTo>
                      <a:pt x="399" y="145"/>
                    </a:lnTo>
                    <a:lnTo>
                      <a:pt x="399" y="143"/>
                    </a:lnTo>
                    <a:lnTo>
                      <a:pt x="401" y="143"/>
                    </a:lnTo>
                    <a:lnTo>
                      <a:pt x="401" y="141"/>
                    </a:lnTo>
                    <a:lnTo>
                      <a:pt x="401" y="139"/>
                    </a:lnTo>
                    <a:lnTo>
                      <a:pt x="401" y="138"/>
                    </a:lnTo>
                    <a:lnTo>
                      <a:pt x="403" y="138"/>
                    </a:lnTo>
                    <a:lnTo>
                      <a:pt x="403" y="136"/>
                    </a:lnTo>
                    <a:lnTo>
                      <a:pt x="403" y="134"/>
                    </a:lnTo>
                    <a:lnTo>
                      <a:pt x="403" y="133"/>
                    </a:lnTo>
                    <a:lnTo>
                      <a:pt x="403" y="134"/>
                    </a:lnTo>
                    <a:lnTo>
                      <a:pt x="403" y="133"/>
                    </a:lnTo>
                    <a:lnTo>
                      <a:pt x="401" y="134"/>
                    </a:lnTo>
                    <a:lnTo>
                      <a:pt x="401" y="133"/>
                    </a:lnTo>
                    <a:lnTo>
                      <a:pt x="401" y="131"/>
                    </a:lnTo>
                    <a:lnTo>
                      <a:pt x="399" y="131"/>
                    </a:lnTo>
                    <a:lnTo>
                      <a:pt x="399" y="129"/>
                    </a:lnTo>
                    <a:lnTo>
                      <a:pt x="399" y="128"/>
                    </a:lnTo>
                    <a:lnTo>
                      <a:pt x="399" y="126"/>
                    </a:lnTo>
                    <a:lnTo>
                      <a:pt x="399" y="124"/>
                    </a:lnTo>
                    <a:lnTo>
                      <a:pt x="399" y="122"/>
                    </a:lnTo>
                    <a:lnTo>
                      <a:pt x="398" y="122"/>
                    </a:lnTo>
                    <a:lnTo>
                      <a:pt x="398" y="124"/>
                    </a:lnTo>
                    <a:lnTo>
                      <a:pt x="398" y="126"/>
                    </a:lnTo>
                    <a:lnTo>
                      <a:pt x="399" y="126"/>
                    </a:lnTo>
                    <a:lnTo>
                      <a:pt x="399" y="128"/>
                    </a:lnTo>
                    <a:lnTo>
                      <a:pt x="399" y="129"/>
                    </a:lnTo>
                    <a:lnTo>
                      <a:pt x="399" y="131"/>
                    </a:lnTo>
                    <a:lnTo>
                      <a:pt x="398" y="131"/>
                    </a:lnTo>
                    <a:lnTo>
                      <a:pt x="398" y="133"/>
                    </a:lnTo>
                    <a:lnTo>
                      <a:pt x="398" y="134"/>
                    </a:lnTo>
                    <a:lnTo>
                      <a:pt x="398" y="136"/>
                    </a:lnTo>
                    <a:lnTo>
                      <a:pt x="396" y="136"/>
                    </a:lnTo>
                    <a:lnTo>
                      <a:pt x="396" y="134"/>
                    </a:lnTo>
                    <a:lnTo>
                      <a:pt x="394" y="134"/>
                    </a:lnTo>
                    <a:lnTo>
                      <a:pt x="396" y="134"/>
                    </a:lnTo>
                    <a:lnTo>
                      <a:pt x="396" y="133"/>
                    </a:lnTo>
                    <a:lnTo>
                      <a:pt x="398" y="133"/>
                    </a:lnTo>
                    <a:lnTo>
                      <a:pt x="398" y="131"/>
                    </a:lnTo>
                    <a:lnTo>
                      <a:pt x="398" y="129"/>
                    </a:lnTo>
                    <a:lnTo>
                      <a:pt x="396" y="129"/>
                    </a:lnTo>
                    <a:lnTo>
                      <a:pt x="398" y="128"/>
                    </a:lnTo>
                    <a:lnTo>
                      <a:pt x="396" y="128"/>
                    </a:lnTo>
                    <a:lnTo>
                      <a:pt x="398" y="128"/>
                    </a:lnTo>
                    <a:lnTo>
                      <a:pt x="396" y="126"/>
                    </a:lnTo>
                    <a:lnTo>
                      <a:pt x="398" y="126"/>
                    </a:lnTo>
                    <a:lnTo>
                      <a:pt x="396" y="126"/>
                    </a:lnTo>
                    <a:lnTo>
                      <a:pt x="396" y="124"/>
                    </a:lnTo>
                    <a:lnTo>
                      <a:pt x="394" y="124"/>
                    </a:lnTo>
                    <a:lnTo>
                      <a:pt x="394" y="126"/>
                    </a:lnTo>
                    <a:lnTo>
                      <a:pt x="394" y="128"/>
                    </a:lnTo>
                    <a:lnTo>
                      <a:pt x="396" y="128"/>
                    </a:lnTo>
                    <a:lnTo>
                      <a:pt x="394" y="128"/>
                    </a:lnTo>
                    <a:lnTo>
                      <a:pt x="392" y="128"/>
                    </a:lnTo>
                    <a:lnTo>
                      <a:pt x="392" y="129"/>
                    </a:lnTo>
                    <a:lnTo>
                      <a:pt x="391" y="129"/>
                    </a:lnTo>
                    <a:lnTo>
                      <a:pt x="391" y="131"/>
                    </a:lnTo>
                    <a:lnTo>
                      <a:pt x="391" y="133"/>
                    </a:lnTo>
                    <a:lnTo>
                      <a:pt x="391" y="134"/>
                    </a:lnTo>
                    <a:lnTo>
                      <a:pt x="389" y="134"/>
                    </a:lnTo>
                    <a:lnTo>
                      <a:pt x="389" y="136"/>
                    </a:lnTo>
                    <a:lnTo>
                      <a:pt x="387" y="134"/>
                    </a:lnTo>
                    <a:lnTo>
                      <a:pt x="389" y="136"/>
                    </a:lnTo>
                    <a:lnTo>
                      <a:pt x="387" y="136"/>
                    </a:lnTo>
                    <a:lnTo>
                      <a:pt x="386" y="138"/>
                    </a:lnTo>
                    <a:lnTo>
                      <a:pt x="384" y="138"/>
                    </a:lnTo>
                    <a:lnTo>
                      <a:pt x="386" y="138"/>
                    </a:lnTo>
                    <a:lnTo>
                      <a:pt x="386" y="139"/>
                    </a:lnTo>
                    <a:lnTo>
                      <a:pt x="386" y="141"/>
                    </a:lnTo>
                    <a:lnTo>
                      <a:pt x="384" y="141"/>
                    </a:lnTo>
                    <a:lnTo>
                      <a:pt x="382" y="139"/>
                    </a:lnTo>
                    <a:lnTo>
                      <a:pt x="381" y="139"/>
                    </a:lnTo>
                    <a:lnTo>
                      <a:pt x="381" y="138"/>
                    </a:lnTo>
                    <a:lnTo>
                      <a:pt x="379" y="138"/>
                    </a:lnTo>
                    <a:lnTo>
                      <a:pt x="377" y="138"/>
                    </a:lnTo>
                    <a:lnTo>
                      <a:pt x="377" y="136"/>
                    </a:lnTo>
                    <a:lnTo>
                      <a:pt x="376" y="134"/>
                    </a:lnTo>
                    <a:lnTo>
                      <a:pt x="376" y="133"/>
                    </a:lnTo>
                    <a:lnTo>
                      <a:pt x="374" y="133"/>
                    </a:lnTo>
                    <a:lnTo>
                      <a:pt x="372" y="131"/>
                    </a:lnTo>
                    <a:lnTo>
                      <a:pt x="370" y="131"/>
                    </a:lnTo>
                    <a:lnTo>
                      <a:pt x="370" y="129"/>
                    </a:lnTo>
                    <a:lnTo>
                      <a:pt x="369" y="129"/>
                    </a:lnTo>
                    <a:lnTo>
                      <a:pt x="367" y="129"/>
                    </a:lnTo>
                    <a:lnTo>
                      <a:pt x="365" y="128"/>
                    </a:lnTo>
                    <a:lnTo>
                      <a:pt x="364" y="128"/>
                    </a:lnTo>
                    <a:lnTo>
                      <a:pt x="364" y="126"/>
                    </a:lnTo>
                    <a:lnTo>
                      <a:pt x="362" y="126"/>
                    </a:lnTo>
                    <a:lnTo>
                      <a:pt x="362" y="124"/>
                    </a:lnTo>
                    <a:lnTo>
                      <a:pt x="360" y="124"/>
                    </a:lnTo>
                    <a:lnTo>
                      <a:pt x="360" y="122"/>
                    </a:lnTo>
                    <a:lnTo>
                      <a:pt x="360" y="124"/>
                    </a:lnTo>
                    <a:lnTo>
                      <a:pt x="362" y="122"/>
                    </a:lnTo>
                    <a:lnTo>
                      <a:pt x="362" y="124"/>
                    </a:lnTo>
                    <a:lnTo>
                      <a:pt x="364" y="124"/>
                    </a:lnTo>
                    <a:lnTo>
                      <a:pt x="364" y="122"/>
                    </a:lnTo>
                    <a:lnTo>
                      <a:pt x="365" y="122"/>
                    </a:lnTo>
                    <a:lnTo>
                      <a:pt x="367" y="122"/>
                    </a:lnTo>
                    <a:lnTo>
                      <a:pt x="367" y="121"/>
                    </a:lnTo>
                    <a:lnTo>
                      <a:pt x="369" y="121"/>
                    </a:lnTo>
                    <a:lnTo>
                      <a:pt x="369" y="119"/>
                    </a:lnTo>
                    <a:lnTo>
                      <a:pt x="369" y="117"/>
                    </a:lnTo>
                    <a:lnTo>
                      <a:pt x="369" y="116"/>
                    </a:lnTo>
                    <a:lnTo>
                      <a:pt x="369" y="114"/>
                    </a:lnTo>
                    <a:lnTo>
                      <a:pt x="369" y="112"/>
                    </a:lnTo>
                    <a:lnTo>
                      <a:pt x="369" y="111"/>
                    </a:lnTo>
                    <a:lnTo>
                      <a:pt x="369" y="109"/>
                    </a:lnTo>
                    <a:lnTo>
                      <a:pt x="367" y="109"/>
                    </a:lnTo>
                    <a:lnTo>
                      <a:pt x="367" y="107"/>
                    </a:lnTo>
                    <a:lnTo>
                      <a:pt x="367" y="105"/>
                    </a:lnTo>
                    <a:lnTo>
                      <a:pt x="365" y="105"/>
                    </a:lnTo>
                    <a:lnTo>
                      <a:pt x="365" y="104"/>
                    </a:lnTo>
                    <a:lnTo>
                      <a:pt x="365" y="102"/>
                    </a:lnTo>
                    <a:lnTo>
                      <a:pt x="367" y="102"/>
                    </a:lnTo>
                    <a:lnTo>
                      <a:pt x="367" y="100"/>
                    </a:lnTo>
                    <a:lnTo>
                      <a:pt x="367" y="99"/>
                    </a:lnTo>
                    <a:lnTo>
                      <a:pt x="369" y="99"/>
                    </a:lnTo>
                    <a:lnTo>
                      <a:pt x="369" y="97"/>
                    </a:lnTo>
                    <a:lnTo>
                      <a:pt x="369" y="95"/>
                    </a:lnTo>
                    <a:lnTo>
                      <a:pt x="369" y="94"/>
                    </a:lnTo>
                    <a:lnTo>
                      <a:pt x="367" y="92"/>
                    </a:lnTo>
                    <a:lnTo>
                      <a:pt x="367" y="90"/>
                    </a:lnTo>
                    <a:lnTo>
                      <a:pt x="365" y="90"/>
                    </a:lnTo>
                    <a:lnTo>
                      <a:pt x="365" y="88"/>
                    </a:lnTo>
                    <a:lnTo>
                      <a:pt x="364" y="88"/>
                    </a:lnTo>
                    <a:lnTo>
                      <a:pt x="364" y="87"/>
                    </a:lnTo>
                    <a:lnTo>
                      <a:pt x="364" y="85"/>
                    </a:lnTo>
                    <a:lnTo>
                      <a:pt x="364" y="83"/>
                    </a:lnTo>
                    <a:lnTo>
                      <a:pt x="365" y="83"/>
                    </a:lnTo>
                    <a:lnTo>
                      <a:pt x="365" y="82"/>
                    </a:lnTo>
                    <a:lnTo>
                      <a:pt x="367" y="82"/>
                    </a:lnTo>
                    <a:lnTo>
                      <a:pt x="369" y="80"/>
                    </a:lnTo>
                    <a:lnTo>
                      <a:pt x="369" y="82"/>
                    </a:lnTo>
                    <a:lnTo>
                      <a:pt x="370" y="82"/>
                    </a:lnTo>
                    <a:lnTo>
                      <a:pt x="370" y="80"/>
                    </a:lnTo>
                    <a:lnTo>
                      <a:pt x="372" y="80"/>
                    </a:lnTo>
                    <a:lnTo>
                      <a:pt x="372" y="82"/>
                    </a:lnTo>
                    <a:lnTo>
                      <a:pt x="372" y="80"/>
                    </a:lnTo>
                    <a:lnTo>
                      <a:pt x="374" y="80"/>
                    </a:lnTo>
                    <a:lnTo>
                      <a:pt x="376" y="80"/>
                    </a:lnTo>
                    <a:lnTo>
                      <a:pt x="376" y="78"/>
                    </a:lnTo>
                    <a:lnTo>
                      <a:pt x="376" y="77"/>
                    </a:lnTo>
                    <a:lnTo>
                      <a:pt x="376" y="75"/>
                    </a:lnTo>
                    <a:lnTo>
                      <a:pt x="377" y="75"/>
                    </a:lnTo>
                    <a:lnTo>
                      <a:pt x="377" y="73"/>
                    </a:lnTo>
                    <a:lnTo>
                      <a:pt x="377" y="71"/>
                    </a:lnTo>
                    <a:lnTo>
                      <a:pt x="377" y="70"/>
                    </a:lnTo>
                    <a:lnTo>
                      <a:pt x="379" y="70"/>
                    </a:lnTo>
                    <a:lnTo>
                      <a:pt x="381" y="71"/>
                    </a:lnTo>
                    <a:lnTo>
                      <a:pt x="382" y="71"/>
                    </a:lnTo>
                    <a:lnTo>
                      <a:pt x="384" y="71"/>
                    </a:lnTo>
                    <a:lnTo>
                      <a:pt x="382" y="71"/>
                    </a:lnTo>
                    <a:lnTo>
                      <a:pt x="382" y="70"/>
                    </a:lnTo>
                    <a:lnTo>
                      <a:pt x="381" y="71"/>
                    </a:lnTo>
                    <a:lnTo>
                      <a:pt x="381" y="70"/>
                    </a:lnTo>
                    <a:lnTo>
                      <a:pt x="381" y="68"/>
                    </a:lnTo>
                    <a:lnTo>
                      <a:pt x="379" y="68"/>
                    </a:lnTo>
                    <a:lnTo>
                      <a:pt x="379" y="66"/>
                    </a:lnTo>
                    <a:lnTo>
                      <a:pt x="379" y="65"/>
                    </a:lnTo>
                    <a:lnTo>
                      <a:pt x="377" y="65"/>
                    </a:lnTo>
                    <a:lnTo>
                      <a:pt x="377" y="63"/>
                    </a:lnTo>
                    <a:lnTo>
                      <a:pt x="377" y="61"/>
                    </a:lnTo>
                    <a:lnTo>
                      <a:pt x="379" y="61"/>
                    </a:lnTo>
                    <a:lnTo>
                      <a:pt x="379" y="60"/>
                    </a:lnTo>
                    <a:lnTo>
                      <a:pt x="381" y="60"/>
                    </a:lnTo>
                    <a:lnTo>
                      <a:pt x="381" y="58"/>
                    </a:lnTo>
                    <a:lnTo>
                      <a:pt x="381" y="56"/>
                    </a:lnTo>
                    <a:lnTo>
                      <a:pt x="382" y="56"/>
                    </a:lnTo>
                    <a:lnTo>
                      <a:pt x="382" y="54"/>
                    </a:lnTo>
                    <a:lnTo>
                      <a:pt x="384" y="54"/>
                    </a:lnTo>
                    <a:lnTo>
                      <a:pt x="386" y="54"/>
                    </a:lnTo>
                    <a:lnTo>
                      <a:pt x="386" y="53"/>
                    </a:lnTo>
                    <a:lnTo>
                      <a:pt x="387" y="53"/>
                    </a:lnTo>
                    <a:lnTo>
                      <a:pt x="387" y="51"/>
                    </a:lnTo>
                    <a:lnTo>
                      <a:pt x="389" y="51"/>
                    </a:lnTo>
                    <a:lnTo>
                      <a:pt x="389" y="49"/>
                    </a:lnTo>
                    <a:lnTo>
                      <a:pt x="391" y="49"/>
                    </a:lnTo>
                    <a:lnTo>
                      <a:pt x="391" y="48"/>
                    </a:lnTo>
                    <a:lnTo>
                      <a:pt x="392" y="46"/>
                    </a:lnTo>
                    <a:lnTo>
                      <a:pt x="392" y="44"/>
                    </a:lnTo>
                    <a:lnTo>
                      <a:pt x="392" y="43"/>
                    </a:lnTo>
                    <a:lnTo>
                      <a:pt x="392" y="41"/>
                    </a:lnTo>
                    <a:lnTo>
                      <a:pt x="392" y="39"/>
                    </a:lnTo>
                    <a:lnTo>
                      <a:pt x="392" y="37"/>
                    </a:lnTo>
                    <a:lnTo>
                      <a:pt x="392" y="36"/>
                    </a:lnTo>
                    <a:lnTo>
                      <a:pt x="392" y="37"/>
                    </a:lnTo>
                    <a:lnTo>
                      <a:pt x="394" y="37"/>
                    </a:lnTo>
                    <a:lnTo>
                      <a:pt x="394" y="39"/>
                    </a:lnTo>
                    <a:lnTo>
                      <a:pt x="394" y="41"/>
                    </a:lnTo>
                    <a:lnTo>
                      <a:pt x="394" y="43"/>
                    </a:lnTo>
                    <a:lnTo>
                      <a:pt x="396" y="43"/>
                    </a:lnTo>
                    <a:lnTo>
                      <a:pt x="396" y="41"/>
                    </a:lnTo>
                    <a:lnTo>
                      <a:pt x="396" y="39"/>
                    </a:lnTo>
                    <a:lnTo>
                      <a:pt x="394" y="39"/>
                    </a:lnTo>
                    <a:lnTo>
                      <a:pt x="394" y="37"/>
                    </a:lnTo>
                    <a:lnTo>
                      <a:pt x="394" y="36"/>
                    </a:lnTo>
                    <a:lnTo>
                      <a:pt x="392" y="36"/>
                    </a:lnTo>
                    <a:lnTo>
                      <a:pt x="392" y="34"/>
                    </a:lnTo>
                    <a:lnTo>
                      <a:pt x="392" y="32"/>
                    </a:lnTo>
                    <a:lnTo>
                      <a:pt x="394" y="31"/>
                    </a:lnTo>
                    <a:lnTo>
                      <a:pt x="394" y="29"/>
                    </a:lnTo>
                    <a:lnTo>
                      <a:pt x="392" y="29"/>
                    </a:lnTo>
                    <a:lnTo>
                      <a:pt x="392" y="27"/>
                    </a:lnTo>
                    <a:lnTo>
                      <a:pt x="391" y="27"/>
                    </a:lnTo>
                    <a:lnTo>
                      <a:pt x="391" y="25"/>
                    </a:lnTo>
                    <a:lnTo>
                      <a:pt x="391" y="24"/>
                    </a:lnTo>
                    <a:lnTo>
                      <a:pt x="391" y="22"/>
                    </a:lnTo>
                    <a:lnTo>
                      <a:pt x="392" y="22"/>
                    </a:lnTo>
                    <a:lnTo>
                      <a:pt x="392" y="20"/>
                    </a:lnTo>
                    <a:lnTo>
                      <a:pt x="394" y="22"/>
                    </a:lnTo>
                    <a:lnTo>
                      <a:pt x="394" y="20"/>
                    </a:lnTo>
                    <a:lnTo>
                      <a:pt x="396" y="20"/>
                    </a:lnTo>
                    <a:lnTo>
                      <a:pt x="398" y="20"/>
                    </a:lnTo>
                    <a:lnTo>
                      <a:pt x="398" y="19"/>
                    </a:lnTo>
                    <a:lnTo>
                      <a:pt x="398" y="20"/>
                    </a:lnTo>
                    <a:lnTo>
                      <a:pt x="399" y="19"/>
                    </a:lnTo>
                    <a:lnTo>
                      <a:pt x="401" y="19"/>
                    </a:lnTo>
                    <a:lnTo>
                      <a:pt x="401" y="17"/>
                    </a:lnTo>
                    <a:lnTo>
                      <a:pt x="403" y="17"/>
                    </a:lnTo>
                    <a:lnTo>
                      <a:pt x="404" y="15"/>
                    </a:lnTo>
                    <a:lnTo>
                      <a:pt x="406" y="15"/>
                    </a:lnTo>
                    <a:lnTo>
                      <a:pt x="408" y="15"/>
                    </a:lnTo>
                    <a:lnTo>
                      <a:pt x="409" y="15"/>
                    </a:lnTo>
                    <a:lnTo>
                      <a:pt x="411" y="14"/>
                    </a:lnTo>
                    <a:lnTo>
                      <a:pt x="413" y="14"/>
                    </a:lnTo>
                    <a:lnTo>
                      <a:pt x="413" y="12"/>
                    </a:lnTo>
                    <a:lnTo>
                      <a:pt x="415" y="12"/>
                    </a:lnTo>
                    <a:lnTo>
                      <a:pt x="416" y="12"/>
                    </a:lnTo>
                    <a:lnTo>
                      <a:pt x="418" y="12"/>
                    </a:lnTo>
                    <a:lnTo>
                      <a:pt x="420" y="12"/>
                    </a:lnTo>
                    <a:lnTo>
                      <a:pt x="421" y="12"/>
                    </a:lnTo>
                    <a:lnTo>
                      <a:pt x="423" y="12"/>
                    </a:lnTo>
                    <a:lnTo>
                      <a:pt x="423" y="10"/>
                    </a:lnTo>
                    <a:lnTo>
                      <a:pt x="425" y="10"/>
                    </a:lnTo>
                    <a:lnTo>
                      <a:pt x="425" y="8"/>
                    </a:lnTo>
                    <a:lnTo>
                      <a:pt x="426" y="7"/>
                    </a:lnTo>
                    <a:lnTo>
                      <a:pt x="426" y="8"/>
                    </a:lnTo>
                    <a:lnTo>
                      <a:pt x="428" y="10"/>
                    </a:lnTo>
                    <a:lnTo>
                      <a:pt x="428" y="12"/>
                    </a:lnTo>
                    <a:lnTo>
                      <a:pt x="428" y="10"/>
                    </a:lnTo>
                    <a:lnTo>
                      <a:pt x="430" y="10"/>
                    </a:lnTo>
                    <a:lnTo>
                      <a:pt x="428" y="10"/>
                    </a:lnTo>
                    <a:lnTo>
                      <a:pt x="430" y="10"/>
                    </a:lnTo>
                    <a:lnTo>
                      <a:pt x="430" y="8"/>
                    </a:lnTo>
                    <a:lnTo>
                      <a:pt x="428" y="8"/>
                    </a:lnTo>
                    <a:lnTo>
                      <a:pt x="430" y="8"/>
                    </a:lnTo>
                    <a:lnTo>
                      <a:pt x="428" y="8"/>
                    </a:lnTo>
                    <a:lnTo>
                      <a:pt x="428" y="7"/>
                    </a:lnTo>
                    <a:lnTo>
                      <a:pt x="430" y="7"/>
                    </a:lnTo>
                    <a:lnTo>
                      <a:pt x="432" y="7"/>
                    </a:lnTo>
                    <a:lnTo>
                      <a:pt x="432" y="5"/>
                    </a:lnTo>
                    <a:lnTo>
                      <a:pt x="433" y="5"/>
                    </a:lnTo>
                    <a:lnTo>
                      <a:pt x="435" y="5"/>
                    </a:lnTo>
                    <a:lnTo>
                      <a:pt x="433" y="5"/>
                    </a:lnTo>
                    <a:lnTo>
                      <a:pt x="432" y="5"/>
                    </a:lnTo>
                    <a:lnTo>
                      <a:pt x="432" y="3"/>
                    </a:lnTo>
                    <a:lnTo>
                      <a:pt x="433" y="2"/>
                    </a:lnTo>
                    <a:lnTo>
                      <a:pt x="433" y="3"/>
                    </a:lnTo>
                    <a:lnTo>
                      <a:pt x="433" y="2"/>
                    </a:lnTo>
                    <a:lnTo>
                      <a:pt x="433" y="0"/>
                    </a:lnTo>
                    <a:lnTo>
                      <a:pt x="435" y="2"/>
                    </a:lnTo>
                    <a:lnTo>
                      <a:pt x="437" y="2"/>
                    </a:lnTo>
                    <a:lnTo>
                      <a:pt x="437" y="3"/>
                    </a:lnTo>
                    <a:lnTo>
                      <a:pt x="438" y="3"/>
                    </a:lnTo>
                    <a:lnTo>
                      <a:pt x="438" y="5"/>
                    </a:lnTo>
                    <a:lnTo>
                      <a:pt x="440" y="5"/>
                    </a:lnTo>
                    <a:lnTo>
                      <a:pt x="440" y="7"/>
                    </a:lnTo>
                    <a:lnTo>
                      <a:pt x="442" y="7"/>
                    </a:lnTo>
                    <a:lnTo>
                      <a:pt x="443" y="7"/>
                    </a:lnTo>
                    <a:lnTo>
                      <a:pt x="443" y="8"/>
                    </a:lnTo>
                    <a:lnTo>
                      <a:pt x="445" y="8"/>
                    </a:lnTo>
                    <a:lnTo>
                      <a:pt x="447" y="8"/>
                    </a:lnTo>
                    <a:lnTo>
                      <a:pt x="447" y="10"/>
                    </a:lnTo>
                    <a:lnTo>
                      <a:pt x="449" y="10"/>
                    </a:lnTo>
                    <a:lnTo>
                      <a:pt x="449" y="8"/>
                    </a:lnTo>
                    <a:lnTo>
                      <a:pt x="450" y="8"/>
                    </a:lnTo>
                    <a:lnTo>
                      <a:pt x="452" y="10"/>
                    </a:lnTo>
                    <a:lnTo>
                      <a:pt x="452" y="12"/>
                    </a:lnTo>
                    <a:lnTo>
                      <a:pt x="452" y="14"/>
                    </a:lnTo>
                    <a:lnTo>
                      <a:pt x="454" y="14"/>
                    </a:lnTo>
                    <a:lnTo>
                      <a:pt x="454" y="15"/>
                    </a:lnTo>
                    <a:lnTo>
                      <a:pt x="455" y="15"/>
                    </a:lnTo>
                    <a:lnTo>
                      <a:pt x="454" y="17"/>
                    </a:lnTo>
                    <a:lnTo>
                      <a:pt x="455" y="17"/>
                    </a:lnTo>
                    <a:lnTo>
                      <a:pt x="457" y="17"/>
                    </a:lnTo>
                    <a:lnTo>
                      <a:pt x="457" y="19"/>
                    </a:lnTo>
                    <a:lnTo>
                      <a:pt x="459" y="19"/>
                    </a:lnTo>
                    <a:lnTo>
                      <a:pt x="460" y="19"/>
                    </a:lnTo>
                    <a:lnTo>
                      <a:pt x="460" y="20"/>
                    </a:lnTo>
                    <a:lnTo>
                      <a:pt x="462" y="20"/>
                    </a:lnTo>
                    <a:lnTo>
                      <a:pt x="464" y="20"/>
                    </a:lnTo>
                    <a:lnTo>
                      <a:pt x="464" y="22"/>
                    </a:lnTo>
                    <a:lnTo>
                      <a:pt x="466" y="22"/>
                    </a:lnTo>
                    <a:lnTo>
                      <a:pt x="467" y="22"/>
                    </a:lnTo>
                    <a:lnTo>
                      <a:pt x="467" y="20"/>
                    </a:lnTo>
                    <a:lnTo>
                      <a:pt x="469" y="20"/>
                    </a:lnTo>
                    <a:lnTo>
                      <a:pt x="471" y="20"/>
                    </a:lnTo>
                    <a:lnTo>
                      <a:pt x="472" y="20"/>
                    </a:lnTo>
                    <a:lnTo>
                      <a:pt x="472" y="22"/>
                    </a:lnTo>
                    <a:lnTo>
                      <a:pt x="472" y="24"/>
                    </a:lnTo>
                    <a:lnTo>
                      <a:pt x="471" y="24"/>
                    </a:lnTo>
                    <a:lnTo>
                      <a:pt x="472" y="24"/>
                    </a:lnTo>
                    <a:lnTo>
                      <a:pt x="472" y="25"/>
                    </a:lnTo>
                    <a:lnTo>
                      <a:pt x="474" y="25"/>
                    </a:lnTo>
                    <a:lnTo>
                      <a:pt x="476" y="25"/>
                    </a:lnTo>
                    <a:lnTo>
                      <a:pt x="476" y="27"/>
                    </a:lnTo>
                    <a:lnTo>
                      <a:pt x="477" y="27"/>
                    </a:lnTo>
                    <a:lnTo>
                      <a:pt x="479" y="27"/>
                    </a:lnTo>
                    <a:lnTo>
                      <a:pt x="479" y="29"/>
                    </a:lnTo>
                    <a:lnTo>
                      <a:pt x="477" y="29"/>
                    </a:lnTo>
                    <a:lnTo>
                      <a:pt x="477" y="31"/>
                    </a:lnTo>
                    <a:lnTo>
                      <a:pt x="477" y="32"/>
                    </a:lnTo>
                    <a:lnTo>
                      <a:pt x="477" y="34"/>
                    </a:lnTo>
                    <a:lnTo>
                      <a:pt x="477" y="36"/>
                    </a:lnTo>
                    <a:lnTo>
                      <a:pt x="479" y="34"/>
                    </a:lnTo>
                    <a:lnTo>
                      <a:pt x="481" y="34"/>
                    </a:lnTo>
                    <a:lnTo>
                      <a:pt x="481" y="36"/>
                    </a:lnTo>
                    <a:lnTo>
                      <a:pt x="483" y="36"/>
                    </a:lnTo>
                    <a:lnTo>
                      <a:pt x="484" y="36"/>
                    </a:lnTo>
                    <a:lnTo>
                      <a:pt x="486" y="37"/>
                    </a:lnTo>
                    <a:lnTo>
                      <a:pt x="486" y="36"/>
                    </a:lnTo>
                    <a:lnTo>
                      <a:pt x="486" y="37"/>
                    </a:lnTo>
                    <a:lnTo>
                      <a:pt x="488" y="36"/>
                    </a:lnTo>
                    <a:lnTo>
                      <a:pt x="488" y="37"/>
                    </a:lnTo>
                    <a:lnTo>
                      <a:pt x="488" y="36"/>
                    </a:lnTo>
                    <a:lnTo>
                      <a:pt x="489" y="36"/>
                    </a:lnTo>
                    <a:lnTo>
                      <a:pt x="491" y="36"/>
                    </a:lnTo>
                    <a:lnTo>
                      <a:pt x="491" y="37"/>
                    </a:lnTo>
                    <a:lnTo>
                      <a:pt x="493" y="37"/>
                    </a:lnTo>
                    <a:lnTo>
                      <a:pt x="493" y="39"/>
                    </a:lnTo>
                    <a:lnTo>
                      <a:pt x="494" y="39"/>
                    </a:lnTo>
                    <a:lnTo>
                      <a:pt x="496" y="39"/>
                    </a:lnTo>
                    <a:lnTo>
                      <a:pt x="498" y="39"/>
                    </a:lnTo>
                    <a:lnTo>
                      <a:pt x="498" y="41"/>
                    </a:lnTo>
                    <a:lnTo>
                      <a:pt x="500" y="41"/>
                    </a:lnTo>
                    <a:lnTo>
                      <a:pt x="501" y="41"/>
                    </a:lnTo>
                    <a:lnTo>
                      <a:pt x="501" y="39"/>
                    </a:lnTo>
                    <a:lnTo>
                      <a:pt x="501" y="41"/>
                    </a:lnTo>
                    <a:lnTo>
                      <a:pt x="501" y="39"/>
                    </a:lnTo>
                    <a:lnTo>
                      <a:pt x="503" y="41"/>
                    </a:lnTo>
                    <a:lnTo>
                      <a:pt x="503" y="39"/>
                    </a:lnTo>
                    <a:lnTo>
                      <a:pt x="505" y="39"/>
                    </a:lnTo>
                    <a:lnTo>
                      <a:pt x="506" y="39"/>
                    </a:lnTo>
                    <a:lnTo>
                      <a:pt x="506" y="41"/>
                    </a:lnTo>
                    <a:lnTo>
                      <a:pt x="508" y="41"/>
                    </a:lnTo>
                    <a:lnTo>
                      <a:pt x="510" y="41"/>
                    </a:lnTo>
                    <a:lnTo>
                      <a:pt x="511" y="41"/>
                    </a:lnTo>
                    <a:lnTo>
                      <a:pt x="513" y="41"/>
                    </a:lnTo>
                    <a:lnTo>
                      <a:pt x="515" y="41"/>
                    </a:lnTo>
                    <a:lnTo>
                      <a:pt x="515" y="37"/>
                    </a:lnTo>
                    <a:lnTo>
                      <a:pt x="515" y="36"/>
                    </a:lnTo>
                    <a:lnTo>
                      <a:pt x="517" y="36"/>
                    </a:lnTo>
                    <a:lnTo>
                      <a:pt x="518" y="36"/>
                    </a:lnTo>
                    <a:lnTo>
                      <a:pt x="518" y="34"/>
                    </a:lnTo>
                    <a:lnTo>
                      <a:pt x="520" y="34"/>
                    </a:lnTo>
                    <a:lnTo>
                      <a:pt x="520" y="36"/>
                    </a:lnTo>
                    <a:lnTo>
                      <a:pt x="522" y="36"/>
                    </a:lnTo>
                    <a:lnTo>
                      <a:pt x="523" y="36"/>
                    </a:lnTo>
                    <a:lnTo>
                      <a:pt x="525" y="36"/>
                    </a:lnTo>
                    <a:lnTo>
                      <a:pt x="525" y="37"/>
                    </a:lnTo>
                    <a:lnTo>
                      <a:pt x="527" y="37"/>
                    </a:lnTo>
                    <a:lnTo>
                      <a:pt x="527" y="39"/>
                    </a:lnTo>
                    <a:lnTo>
                      <a:pt x="528" y="39"/>
                    </a:lnTo>
                    <a:lnTo>
                      <a:pt x="528" y="41"/>
                    </a:lnTo>
                    <a:lnTo>
                      <a:pt x="530" y="41"/>
                    </a:lnTo>
                    <a:lnTo>
                      <a:pt x="530" y="43"/>
                    </a:lnTo>
                    <a:lnTo>
                      <a:pt x="532" y="43"/>
                    </a:lnTo>
                    <a:lnTo>
                      <a:pt x="532" y="44"/>
                    </a:lnTo>
                    <a:lnTo>
                      <a:pt x="534" y="44"/>
                    </a:lnTo>
                    <a:lnTo>
                      <a:pt x="534" y="46"/>
                    </a:lnTo>
                    <a:lnTo>
                      <a:pt x="535" y="46"/>
                    </a:lnTo>
                    <a:lnTo>
                      <a:pt x="535" y="48"/>
                    </a:lnTo>
                    <a:lnTo>
                      <a:pt x="537" y="48"/>
                    </a:lnTo>
                    <a:lnTo>
                      <a:pt x="539" y="48"/>
                    </a:lnTo>
                    <a:lnTo>
                      <a:pt x="540" y="48"/>
                    </a:lnTo>
                    <a:lnTo>
                      <a:pt x="542" y="48"/>
                    </a:lnTo>
                    <a:lnTo>
                      <a:pt x="542" y="49"/>
                    </a:lnTo>
                    <a:lnTo>
                      <a:pt x="544" y="49"/>
                    </a:lnTo>
                    <a:lnTo>
                      <a:pt x="545" y="49"/>
                    </a:lnTo>
                    <a:lnTo>
                      <a:pt x="545" y="51"/>
                    </a:lnTo>
                    <a:lnTo>
                      <a:pt x="547" y="51"/>
                    </a:lnTo>
                    <a:lnTo>
                      <a:pt x="549" y="51"/>
                    </a:lnTo>
                    <a:lnTo>
                      <a:pt x="549" y="53"/>
                    </a:lnTo>
                    <a:lnTo>
                      <a:pt x="551" y="53"/>
                    </a:lnTo>
                    <a:lnTo>
                      <a:pt x="552" y="53"/>
                    </a:lnTo>
                    <a:lnTo>
                      <a:pt x="554" y="53"/>
                    </a:lnTo>
                    <a:close/>
                    <a:moveTo>
                      <a:pt x="12" y="44"/>
                    </a:moveTo>
                    <a:lnTo>
                      <a:pt x="12" y="46"/>
                    </a:lnTo>
                    <a:lnTo>
                      <a:pt x="13" y="46"/>
                    </a:lnTo>
                    <a:lnTo>
                      <a:pt x="13" y="48"/>
                    </a:lnTo>
                    <a:lnTo>
                      <a:pt x="15" y="49"/>
                    </a:lnTo>
                    <a:lnTo>
                      <a:pt x="17" y="51"/>
                    </a:lnTo>
                    <a:lnTo>
                      <a:pt x="15" y="51"/>
                    </a:lnTo>
                    <a:lnTo>
                      <a:pt x="17" y="51"/>
                    </a:lnTo>
                    <a:lnTo>
                      <a:pt x="17" y="53"/>
                    </a:lnTo>
                    <a:lnTo>
                      <a:pt x="17" y="54"/>
                    </a:lnTo>
                    <a:lnTo>
                      <a:pt x="17" y="56"/>
                    </a:lnTo>
                    <a:lnTo>
                      <a:pt x="17" y="58"/>
                    </a:lnTo>
                    <a:lnTo>
                      <a:pt x="19" y="58"/>
                    </a:lnTo>
                    <a:lnTo>
                      <a:pt x="19" y="60"/>
                    </a:lnTo>
                    <a:lnTo>
                      <a:pt x="20" y="60"/>
                    </a:lnTo>
                    <a:lnTo>
                      <a:pt x="20" y="61"/>
                    </a:lnTo>
                    <a:lnTo>
                      <a:pt x="22" y="61"/>
                    </a:lnTo>
                    <a:lnTo>
                      <a:pt x="24" y="63"/>
                    </a:lnTo>
                    <a:lnTo>
                      <a:pt x="24" y="65"/>
                    </a:lnTo>
                    <a:lnTo>
                      <a:pt x="25" y="65"/>
                    </a:lnTo>
                    <a:lnTo>
                      <a:pt x="24" y="66"/>
                    </a:lnTo>
                    <a:lnTo>
                      <a:pt x="24" y="68"/>
                    </a:lnTo>
                    <a:lnTo>
                      <a:pt x="24" y="70"/>
                    </a:lnTo>
                    <a:lnTo>
                      <a:pt x="25" y="70"/>
                    </a:lnTo>
                    <a:lnTo>
                      <a:pt x="27" y="70"/>
                    </a:lnTo>
                    <a:lnTo>
                      <a:pt x="27" y="71"/>
                    </a:lnTo>
                    <a:lnTo>
                      <a:pt x="29" y="71"/>
                    </a:lnTo>
                    <a:lnTo>
                      <a:pt x="27" y="73"/>
                    </a:lnTo>
                    <a:lnTo>
                      <a:pt x="29" y="73"/>
                    </a:lnTo>
                    <a:lnTo>
                      <a:pt x="30" y="73"/>
                    </a:lnTo>
                    <a:lnTo>
                      <a:pt x="30" y="75"/>
                    </a:lnTo>
                    <a:lnTo>
                      <a:pt x="29" y="75"/>
                    </a:lnTo>
                    <a:lnTo>
                      <a:pt x="29" y="77"/>
                    </a:lnTo>
                    <a:lnTo>
                      <a:pt x="29" y="78"/>
                    </a:lnTo>
                    <a:lnTo>
                      <a:pt x="27" y="78"/>
                    </a:lnTo>
                    <a:lnTo>
                      <a:pt x="27" y="80"/>
                    </a:lnTo>
                    <a:lnTo>
                      <a:pt x="25" y="80"/>
                    </a:lnTo>
                    <a:lnTo>
                      <a:pt x="25" y="82"/>
                    </a:lnTo>
                    <a:lnTo>
                      <a:pt x="24" y="82"/>
                    </a:lnTo>
                    <a:lnTo>
                      <a:pt x="22" y="82"/>
                    </a:lnTo>
                    <a:lnTo>
                      <a:pt x="20" y="83"/>
                    </a:lnTo>
                    <a:lnTo>
                      <a:pt x="19" y="83"/>
                    </a:lnTo>
                    <a:lnTo>
                      <a:pt x="17" y="83"/>
                    </a:lnTo>
                    <a:lnTo>
                      <a:pt x="17" y="85"/>
                    </a:lnTo>
                    <a:lnTo>
                      <a:pt x="17" y="83"/>
                    </a:lnTo>
                    <a:lnTo>
                      <a:pt x="17" y="85"/>
                    </a:lnTo>
                    <a:lnTo>
                      <a:pt x="15" y="85"/>
                    </a:lnTo>
                    <a:lnTo>
                      <a:pt x="15" y="83"/>
                    </a:lnTo>
                    <a:lnTo>
                      <a:pt x="13" y="83"/>
                    </a:lnTo>
                    <a:lnTo>
                      <a:pt x="12" y="83"/>
                    </a:lnTo>
                    <a:lnTo>
                      <a:pt x="10" y="83"/>
                    </a:lnTo>
                    <a:lnTo>
                      <a:pt x="8" y="83"/>
                    </a:lnTo>
                    <a:lnTo>
                      <a:pt x="8" y="82"/>
                    </a:lnTo>
                    <a:lnTo>
                      <a:pt x="7" y="82"/>
                    </a:lnTo>
                    <a:lnTo>
                      <a:pt x="7" y="80"/>
                    </a:lnTo>
                    <a:lnTo>
                      <a:pt x="5" y="80"/>
                    </a:lnTo>
                    <a:lnTo>
                      <a:pt x="5" y="78"/>
                    </a:lnTo>
                    <a:lnTo>
                      <a:pt x="7" y="77"/>
                    </a:lnTo>
                    <a:lnTo>
                      <a:pt x="8" y="77"/>
                    </a:lnTo>
                    <a:lnTo>
                      <a:pt x="8" y="75"/>
                    </a:lnTo>
                    <a:lnTo>
                      <a:pt x="10" y="75"/>
                    </a:lnTo>
                    <a:lnTo>
                      <a:pt x="10" y="73"/>
                    </a:lnTo>
                    <a:lnTo>
                      <a:pt x="12" y="73"/>
                    </a:lnTo>
                    <a:lnTo>
                      <a:pt x="12" y="71"/>
                    </a:lnTo>
                    <a:lnTo>
                      <a:pt x="12" y="73"/>
                    </a:lnTo>
                    <a:lnTo>
                      <a:pt x="13" y="71"/>
                    </a:lnTo>
                    <a:lnTo>
                      <a:pt x="15" y="71"/>
                    </a:lnTo>
                    <a:lnTo>
                      <a:pt x="17" y="71"/>
                    </a:lnTo>
                    <a:lnTo>
                      <a:pt x="19" y="71"/>
                    </a:lnTo>
                    <a:lnTo>
                      <a:pt x="19" y="70"/>
                    </a:lnTo>
                    <a:lnTo>
                      <a:pt x="20" y="70"/>
                    </a:lnTo>
                    <a:lnTo>
                      <a:pt x="19" y="68"/>
                    </a:lnTo>
                    <a:lnTo>
                      <a:pt x="17" y="66"/>
                    </a:lnTo>
                    <a:lnTo>
                      <a:pt x="15" y="66"/>
                    </a:lnTo>
                    <a:lnTo>
                      <a:pt x="15" y="65"/>
                    </a:lnTo>
                    <a:lnTo>
                      <a:pt x="15" y="63"/>
                    </a:lnTo>
                    <a:lnTo>
                      <a:pt x="13" y="61"/>
                    </a:lnTo>
                    <a:lnTo>
                      <a:pt x="12" y="61"/>
                    </a:lnTo>
                    <a:lnTo>
                      <a:pt x="12" y="60"/>
                    </a:lnTo>
                    <a:lnTo>
                      <a:pt x="10" y="60"/>
                    </a:lnTo>
                    <a:lnTo>
                      <a:pt x="10" y="58"/>
                    </a:lnTo>
                    <a:lnTo>
                      <a:pt x="8" y="56"/>
                    </a:lnTo>
                    <a:lnTo>
                      <a:pt x="10" y="56"/>
                    </a:lnTo>
                    <a:lnTo>
                      <a:pt x="10" y="54"/>
                    </a:lnTo>
                    <a:lnTo>
                      <a:pt x="8" y="54"/>
                    </a:lnTo>
                    <a:lnTo>
                      <a:pt x="8" y="53"/>
                    </a:lnTo>
                    <a:lnTo>
                      <a:pt x="8" y="51"/>
                    </a:lnTo>
                    <a:lnTo>
                      <a:pt x="8" y="49"/>
                    </a:lnTo>
                    <a:lnTo>
                      <a:pt x="7" y="49"/>
                    </a:lnTo>
                    <a:lnTo>
                      <a:pt x="5" y="49"/>
                    </a:lnTo>
                    <a:lnTo>
                      <a:pt x="5" y="51"/>
                    </a:lnTo>
                    <a:lnTo>
                      <a:pt x="3" y="51"/>
                    </a:lnTo>
                    <a:lnTo>
                      <a:pt x="3" y="49"/>
                    </a:lnTo>
                    <a:lnTo>
                      <a:pt x="3" y="48"/>
                    </a:lnTo>
                    <a:lnTo>
                      <a:pt x="5" y="48"/>
                    </a:lnTo>
                    <a:lnTo>
                      <a:pt x="5" y="46"/>
                    </a:lnTo>
                    <a:lnTo>
                      <a:pt x="7" y="46"/>
                    </a:lnTo>
                    <a:lnTo>
                      <a:pt x="8" y="46"/>
                    </a:lnTo>
                    <a:lnTo>
                      <a:pt x="8" y="44"/>
                    </a:lnTo>
                    <a:lnTo>
                      <a:pt x="10" y="44"/>
                    </a:lnTo>
                    <a:lnTo>
                      <a:pt x="12" y="44"/>
                    </a:lnTo>
                    <a:close/>
                    <a:moveTo>
                      <a:pt x="47" y="66"/>
                    </a:moveTo>
                    <a:lnTo>
                      <a:pt x="49" y="66"/>
                    </a:lnTo>
                    <a:lnTo>
                      <a:pt x="49" y="68"/>
                    </a:lnTo>
                    <a:lnTo>
                      <a:pt x="51" y="68"/>
                    </a:lnTo>
                    <a:lnTo>
                      <a:pt x="51" y="70"/>
                    </a:lnTo>
                    <a:lnTo>
                      <a:pt x="49" y="71"/>
                    </a:lnTo>
                    <a:lnTo>
                      <a:pt x="51" y="71"/>
                    </a:lnTo>
                    <a:lnTo>
                      <a:pt x="49" y="71"/>
                    </a:lnTo>
                    <a:lnTo>
                      <a:pt x="49" y="73"/>
                    </a:lnTo>
                    <a:lnTo>
                      <a:pt x="47" y="75"/>
                    </a:lnTo>
                    <a:lnTo>
                      <a:pt x="46" y="73"/>
                    </a:lnTo>
                    <a:lnTo>
                      <a:pt x="46" y="75"/>
                    </a:lnTo>
                    <a:lnTo>
                      <a:pt x="44" y="75"/>
                    </a:lnTo>
                    <a:lnTo>
                      <a:pt x="42" y="75"/>
                    </a:lnTo>
                    <a:lnTo>
                      <a:pt x="41" y="75"/>
                    </a:lnTo>
                    <a:lnTo>
                      <a:pt x="41" y="73"/>
                    </a:lnTo>
                    <a:lnTo>
                      <a:pt x="39" y="73"/>
                    </a:lnTo>
                    <a:lnTo>
                      <a:pt x="39" y="71"/>
                    </a:lnTo>
                    <a:lnTo>
                      <a:pt x="37" y="71"/>
                    </a:lnTo>
                    <a:lnTo>
                      <a:pt x="39" y="71"/>
                    </a:lnTo>
                    <a:lnTo>
                      <a:pt x="37" y="71"/>
                    </a:lnTo>
                    <a:lnTo>
                      <a:pt x="37" y="70"/>
                    </a:lnTo>
                    <a:lnTo>
                      <a:pt x="39" y="70"/>
                    </a:lnTo>
                    <a:lnTo>
                      <a:pt x="37" y="70"/>
                    </a:lnTo>
                    <a:lnTo>
                      <a:pt x="39" y="68"/>
                    </a:lnTo>
                    <a:lnTo>
                      <a:pt x="39" y="66"/>
                    </a:lnTo>
                    <a:lnTo>
                      <a:pt x="41" y="66"/>
                    </a:lnTo>
                    <a:lnTo>
                      <a:pt x="42" y="66"/>
                    </a:lnTo>
                    <a:lnTo>
                      <a:pt x="44" y="66"/>
                    </a:lnTo>
                    <a:lnTo>
                      <a:pt x="46" y="65"/>
                    </a:lnTo>
                    <a:lnTo>
                      <a:pt x="46" y="66"/>
                    </a:lnTo>
                    <a:lnTo>
                      <a:pt x="46" y="65"/>
                    </a:lnTo>
                    <a:lnTo>
                      <a:pt x="46" y="66"/>
                    </a:lnTo>
                    <a:lnTo>
                      <a:pt x="47" y="65"/>
                    </a:lnTo>
                    <a:lnTo>
                      <a:pt x="47" y="66"/>
                    </a:lnTo>
                    <a:close/>
                    <a:moveTo>
                      <a:pt x="392" y="139"/>
                    </a:moveTo>
                    <a:lnTo>
                      <a:pt x="394" y="139"/>
                    </a:lnTo>
                    <a:lnTo>
                      <a:pt x="394" y="141"/>
                    </a:lnTo>
                    <a:lnTo>
                      <a:pt x="396" y="141"/>
                    </a:lnTo>
                    <a:lnTo>
                      <a:pt x="398" y="141"/>
                    </a:lnTo>
                    <a:lnTo>
                      <a:pt x="398" y="143"/>
                    </a:lnTo>
                    <a:lnTo>
                      <a:pt x="396" y="143"/>
                    </a:lnTo>
                    <a:lnTo>
                      <a:pt x="394" y="143"/>
                    </a:lnTo>
                    <a:lnTo>
                      <a:pt x="394" y="145"/>
                    </a:lnTo>
                    <a:lnTo>
                      <a:pt x="392" y="145"/>
                    </a:lnTo>
                    <a:lnTo>
                      <a:pt x="392" y="146"/>
                    </a:lnTo>
                    <a:lnTo>
                      <a:pt x="392" y="145"/>
                    </a:lnTo>
                    <a:lnTo>
                      <a:pt x="391" y="145"/>
                    </a:lnTo>
                    <a:lnTo>
                      <a:pt x="389" y="145"/>
                    </a:lnTo>
                    <a:lnTo>
                      <a:pt x="389" y="146"/>
                    </a:lnTo>
                    <a:lnTo>
                      <a:pt x="389" y="148"/>
                    </a:lnTo>
                    <a:lnTo>
                      <a:pt x="391" y="148"/>
                    </a:lnTo>
                    <a:lnTo>
                      <a:pt x="391" y="150"/>
                    </a:lnTo>
                    <a:lnTo>
                      <a:pt x="389" y="150"/>
                    </a:lnTo>
                    <a:lnTo>
                      <a:pt x="389" y="151"/>
                    </a:lnTo>
                    <a:lnTo>
                      <a:pt x="387" y="151"/>
                    </a:lnTo>
                    <a:lnTo>
                      <a:pt x="386" y="151"/>
                    </a:lnTo>
                    <a:lnTo>
                      <a:pt x="384" y="150"/>
                    </a:lnTo>
                    <a:lnTo>
                      <a:pt x="386" y="148"/>
                    </a:lnTo>
                    <a:lnTo>
                      <a:pt x="386" y="146"/>
                    </a:lnTo>
                    <a:lnTo>
                      <a:pt x="386" y="145"/>
                    </a:lnTo>
                    <a:lnTo>
                      <a:pt x="386" y="143"/>
                    </a:lnTo>
                    <a:lnTo>
                      <a:pt x="386" y="141"/>
                    </a:lnTo>
                    <a:lnTo>
                      <a:pt x="387" y="141"/>
                    </a:lnTo>
                    <a:lnTo>
                      <a:pt x="389" y="141"/>
                    </a:lnTo>
                    <a:lnTo>
                      <a:pt x="389" y="139"/>
                    </a:lnTo>
                    <a:lnTo>
                      <a:pt x="391" y="139"/>
                    </a:lnTo>
                    <a:lnTo>
                      <a:pt x="392" y="139"/>
                    </a:lnTo>
                    <a:close/>
                    <a:moveTo>
                      <a:pt x="7" y="58"/>
                    </a:moveTo>
                    <a:lnTo>
                      <a:pt x="8" y="58"/>
                    </a:lnTo>
                    <a:lnTo>
                      <a:pt x="8" y="60"/>
                    </a:lnTo>
                    <a:lnTo>
                      <a:pt x="10" y="60"/>
                    </a:lnTo>
                    <a:lnTo>
                      <a:pt x="10" y="61"/>
                    </a:lnTo>
                    <a:lnTo>
                      <a:pt x="10" y="63"/>
                    </a:lnTo>
                    <a:lnTo>
                      <a:pt x="10" y="65"/>
                    </a:lnTo>
                    <a:lnTo>
                      <a:pt x="8" y="65"/>
                    </a:lnTo>
                    <a:lnTo>
                      <a:pt x="8" y="66"/>
                    </a:lnTo>
                    <a:lnTo>
                      <a:pt x="7" y="66"/>
                    </a:lnTo>
                    <a:lnTo>
                      <a:pt x="5" y="66"/>
                    </a:lnTo>
                    <a:lnTo>
                      <a:pt x="3" y="65"/>
                    </a:lnTo>
                    <a:lnTo>
                      <a:pt x="2" y="65"/>
                    </a:lnTo>
                    <a:lnTo>
                      <a:pt x="2" y="63"/>
                    </a:lnTo>
                    <a:lnTo>
                      <a:pt x="0" y="63"/>
                    </a:lnTo>
                    <a:lnTo>
                      <a:pt x="0" y="61"/>
                    </a:lnTo>
                    <a:lnTo>
                      <a:pt x="0" y="60"/>
                    </a:lnTo>
                    <a:lnTo>
                      <a:pt x="2" y="60"/>
                    </a:lnTo>
                    <a:lnTo>
                      <a:pt x="3" y="60"/>
                    </a:lnTo>
                    <a:lnTo>
                      <a:pt x="5" y="58"/>
                    </a:lnTo>
                    <a:lnTo>
                      <a:pt x="7" y="58"/>
                    </a:lnTo>
                    <a:close/>
                    <a:moveTo>
                      <a:pt x="30" y="54"/>
                    </a:moveTo>
                    <a:lnTo>
                      <a:pt x="32" y="54"/>
                    </a:lnTo>
                    <a:lnTo>
                      <a:pt x="34" y="56"/>
                    </a:lnTo>
                    <a:lnTo>
                      <a:pt x="36" y="56"/>
                    </a:lnTo>
                    <a:lnTo>
                      <a:pt x="37" y="56"/>
                    </a:lnTo>
                    <a:lnTo>
                      <a:pt x="37" y="58"/>
                    </a:lnTo>
                    <a:lnTo>
                      <a:pt x="37" y="60"/>
                    </a:lnTo>
                    <a:lnTo>
                      <a:pt x="37" y="61"/>
                    </a:lnTo>
                    <a:lnTo>
                      <a:pt x="36" y="61"/>
                    </a:lnTo>
                    <a:lnTo>
                      <a:pt x="34" y="61"/>
                    </a:lnTo>
                    <a:lnTo>
                      <a:pt x="32" y="61"/>
                    </a:lnTo>
                    <a:lnTo>
                      <a:pt x="30" y="61"/>
                    </a:lnTo>
                    <a:lnTo>
                      <a:pt x="30" y="60"/>
                    </a:lnTo>
                    <a:lnTo>
                      <a:pt x="29" y="60"/>
                    </a:lnTo>
                    <a:lnTo>
                      <a:pt x="27" y="58"/>
                    </a:lnTo>
                    <a:lnTo>
                      <a:pt x="27" y="56"/>
                    </a:lnTo>
                    <a:lnTo>
                      <a:pt x="29" y="56"/>
                    </a:lnTo>
                    <a:lnTo>
                      <a:pt x="29" y="54"/>
                    </a:lnTo>
                    <a:lnTo>
                      <a:pt x="30" y="54"/>
                    </a:lnTo>
                    <a:close/>
                    <a:moveTo>
                      <a:pt x="78" y="71"/>
                    </a:moveTo>
                    <a:lnTo>
                      <a:pt x="80" y="71"/>
                    </a:lnTo>
                    <a:lnTo>
                      <a:pt x="80" y="73"/>
                    </a:lnTo>
                    <a:lnTo>
                      <a:pt x="81" y="73"/>
                    </a:lnTo>
                    <a:lnTo>
                      <a:pt x="81" y="71"/>
                    </a:lnTo>
                    <a:lnTo>
                      <a:pt x="81" y="73"/>
                    </a:lnTo>
                    <a:lnTo>
                      <a:pt x="81" y="75"/>
                    </a:lnTo>
                    <a:lnTo>
                      <a:pt x="80" y="75"/>
                    </a:lnTo>
                    <a:lnTo>
                      <a:pt x="80" y="77"/>
                    </a:lnTo>
                    <a:lnTo>
                      <a:pt x="78" y="77"/>
                    </a:lnTo>
                    <a:lnTo>
                      <a:pt x="78" y="78"/>
                    </a:lnTo>
                    <a:lnTo>
                      <a:pt x="76" y="80"/>
                    </a:lnTo>
                    <a:lnTo>
                      <a:pt x="75" y="80"/>
                    </a:lnTo>
                    <a:lnTo>
                      <a:pt x="73" y="80"/>
                    </a:lnTo>
                    <a:lnTo>
                      <a:pt x="73" y="82"/>
                    </a:lnTo>
                    <a:lnTo>
                      <a:pt x="71" y="82"/>
                    </a:lnTo>
                    <a:lnTo>
                      <a:pt x="70" y="80"/>
                    </a:lnTo>
                    <a:lnTo>
                      <a:pt x="70" y="78"/>
                    </a:lnTo>
                    <a:lnTo>
                      <a:pt x="71" y="78"/>
                    </a:lnTo>
                    <a:lnTo>
                      <a:pt x="71" y="77"/>
                    </a:lnTo>
                    <a:lnTo>
                      <a:pt x="73" y="77"/>
                    </a:lnTo>
                    <a:lnTo>
                      <a:pt x="75" y="77"/>
                    </a:lnTo>
                    <a:lnTo>
                      <a:pt x="75" y="75"/>
                    </a:lnTo>
                    <a:lnTo>
                      <a:pt x="75" y="73"/>
                    </a:lnTo>
                    <a:lnTo>
                      <a:pt x="76" y="73"/>
                    </a:lnTo>
                    <a:lnTo>
                      <a:pt x="78" y="73"/>
                    </a:lnTo>
                    <a:lnTo>
                      <a:pt x="78" y="71"/>
                    </a:lnTo>
                    <a:close/>
                    <a:moveTo>
                      <a:pt x="42" y="90"/>
                    </a:moveTo>
                    <a:lnTo>
                      <a:pt x="44" y="92"/>
                    </a:lnTo>
                    <a:lnTo>
                      <a:pt x="44" y="94"/>
                    </a:lnTo>
                    <a:lnTo>
                      <a:pt x="42" y="94"/>
                    </a:lnTo>
                    <a:lnTo>
                      <a:pt x="42" y="95"/>
                    </a:lnTo>
                    <a:lnTo>
                      <a:pt x="41" y="95"/>
                    </a:lnTo>
                    <a:lnTo>
                      <a:pt x="41" y="94"/>
                    </a:lnTo>
                    <a:lnTo>
                      <a:pt x="39" y="94"/>
                    </a:lnTo>
                    <a:lnTo>
                      <a:pt x="39" y="92"/>
                    </a:lnTo>
                    <a:lnTo>
                      <a:pt x="41" y="92"/>
                    </a:lnTo>
                    <a:lnTo>
                      <a:pt x="41" y="90"/>
                    </a:lnTo>
                    <a:lnTo>
                      <a:pt x="42" y="90"/>
                    </a:lnTo>
                    <a:close/>
                    <a:moveTo>
                      <a:pt x="41" y="36"/>
                    </a:moveTo>
                    <a:lnTo>
                      <a:pt x="42" y="37"/>
                    </a:lnTo>
                    <a:lnTo>
                      <a:pt x="42" y="39"/>
                    </a:lnTo>
                    <a:lnTo>
                      <a:pt x="41" y="39"/>
                    </a:lnTo>
                    <a:lnTo>
                      <a:pt x="39" y="39"/>
                    </a:lnTo>
                    <a:lnTo>
                      <a:pt x="39" y="37"/>
                    </a:lnTo>
                    <a:lnTo>
                      <a:pt x="37" y="37"/>
                    </a:lnTo>
                    <a:lnTo>
                      <a:pt x="39" y="36"/>
                    </a:lnTo>
                    <a:lnTo>
                      <a:pt x="41" y="36"/>
                    </a:lnTo>
                    <a:close/>
                    <a:moveTo>
                      <a:pt x="399" y="138"/>
                    </a:moveTo>
                    <a:lnTo>
                      <a:pt x="399" y="139"/>
                    </a:lnTo>
                    <a:lnTo>
                      <a:pt x="398" y="139"/>
                    </a:lnTo>
                    <a:lnTo>
                      <a:pt x="398" y="138"/>
                    </a:lnTo>
                    <a:lnTo>
                      <a:pt x="398" y="136"/>
                    </a:lnTo>
                    <a:lnTo>
                      <a:pt x="398" y="134"/>
                    </a:lnTo>
                    <a:lnTo>
                      <a:pt x="399" y="133"/>
                    </a:lnTo>
                    <a:lnTo>
                      <a:pt x="399" y="134"/>
                    </a:lnTo>
                    <a:lnTo>
                      <a:pt x="399" y="136"/>
                    </a:lnTo>
                    <a:lnTo>
                      <a:pt x="399" y="138"/>
                    </a:lnTo>
                    <a:close/>
                    <a:moveTo>
                      <a:pt x="432" y="3"/>
                    </a:moveTo>
                    <a:lnTo>
                      <a:pt x="432" y="5"/>
                    </a:lnTo>
                    <a:lnTo>
                      <a:pt x="432" y="7"/>
                    </a:lnTo>
                    <a:lnTo>
                      <a:pt x="430" y="7"/>
                    </a:lnTo>
                    <a:lnTo>
                      <a:pt x="428" y="7"/>
                    </a:lnTo>
                    <a:lnTo>
                      <a:pt x="430" y="5"/>
                    </a:lnTo>
                    <a:lnTo>
                      <a:pt x="428" y="5"/>
                    </a:lnTo>
                    <a:lnTo>
                      <a:pt x="428" y="3"/>
                    </a:lnTo>
                    <a:lnTo>
                      <a:pt x="430" y="3"/>
                    </a:lnTo>
                    <a:lnTo>
                      <a:pt x="430" y="2"/>
                    </a:lnTo>
                    <a:lnTo>
                      <a:pt x="432" y="2"/>
                    </a:lnTo>
                    <a:lnTo>
                      <a:pt x="432" y="3"/>
                    </a:lnTo>
                    <a:close/>
                    <a:moveTo>
                      <a:pt x="394" y="134"/>
                    </a:moveTo>
                    <a:lnTo>
                      <a:pt x="396" y="134"/>
                    </a:lnTo>
                    <a:lnTo>
                      <a:pt x="396" y="136"/>
                    </a:lnTo>
                    <a:lnTo>
                      <a:pt x="394" y="136"/>
                    </a:lnTo>
                    <a:lnTo>
                      <a:pt x="392" y="136"/>
                    </a:lnTo>
                    <a:lnTo>
                      <a:pt x="391" y="136"/>
                    </a:lnTo>
                    <a:lnTo>
                      <a:pt x="392" y="136"/>
                    </a:lnTo>
                    <a:lnTo>
                      <a:pt x="392" y="134"/>
                    </a:lnTo>
                    <a:lnTo>
                      <a:pt x="392" y="133"/>
                    </a:lnTo>
                    <a:lnTo>
                      <a:pt x="394" y="133"/>
                    </a:lnTo>
                    <a:lnTo>
                      <a:pt x="394" y="134"/>
                    </a:lnTo>
                    <a:close/>
                    <a:moveTo>
                      <a:pt x="391" y="162"/>
                    </a:moveTo>
                    <a:lnTo>
                      <a:pt x="391" y="163"/>
                    </a:lnTo>
                    <a:lnTo>
                      <a:pt x="391" y="165"/>
                    </a:lnTo>
                    <a:lnTo>
                      <a:pt x="391" y="163"/>
                    </a:lnTo>
                    <a:lnTo>
                      <a:pt x="389" y="163"/>
                    </a:lnTo>
                    <a:lnTo>
                      <a:pt x="389" y="165"/>
                    </a:lnTo>
                    <a:lnTo>
                      <a:pt x="387" y="163"/>
                    </a:lnTo>
                    <a:lnTo>
                      <a:pt x="386" y="162"/>
                    </a:lnTo>
                    <a:lnTo>
                      <a:pt x="387" y="162"/>
                    </a:lnTo>
                    <a:lnTo>
                      <a:pt x="387" y="163"/>
                    </a:lnTo>
                    <a:lnTo>
                      <a:pt x="389" y="163"/>
                    </a:lnTo>
                    <a:lnTo>
                      <a:pt x="389" y="162"/>
                    </a:lnTo>
                    <a:lnTo>
                      <a:pt x="391" y="162"/>
                    </a:lnTo>
                    <a:close/>
                    <a:moveTo>
                      <a:pt x="403" y="138"/>
                    </a:moveTo>
                    <a:lnTo>
                      <a:pt x="401" y="138"/>
                    </a:lnTo>
                    <a:lnTo>
                      <a:pt x="401" y="136"/>
                    </a:lnTo>
                    <a:lnTo>
                      <a:pt x="401" y="134"/>
                    </a:lnTo>
                    <a:lnTo>
                      <a:pt x="403" y="134"/>
                    </a:lnTo>
                    <a:lnTo>
                      <a:pt x="403" y="136"/>
                    </a:lnTo>
                    <a:lnTo>
                      <a:pt x="403" y="138"/>
                    </a:lnTo>
                    <a:close/>
                    <a:moveTo>
                      <a:pt x="428" y="7"/>
                    </a:moveTo>
                    <a:lnTo>
                      <a:pt x="428" y="8"/>
                    </a:lnTo>
                    <a:lnTo>
                      <a:pt x="430" y="8"/>
                    </a:lnTo>
                    <a:lnTo>
                      <a:pt x="428" y="8"/>
                    </a:lnTo>
                    <a:lnTo>
                      <a:pt x="430" y="8"/>
                    </a:lnTo>
                    <a:lnTo>
                      <a:pt x="430" y="10"/>
                    </a:lnTo>
                    <a:lnTo>
                      <a:pt x="428" y="10"/>
                    </a:lnTo>
                    <a:lnTo>
                      <a:pt x="430" y="10"/>
                    </a:lnTo>
                    <a:lnTo>
                      <a:pt x="428" y="10"/>
                    </a:lnTo>
                    <a:lnTo>
                      <a:pt x="428" y="8"/>
                    </a:lnTo>
                    <a:lnTo>
                      <a:pt x="426" y="8"/>
                    </a:lnTo>
                    <a:lnTo>
                      <a:pt x="426" y="7"/>
                    </a:lnTo>
                    <a:lnTo>
                      <a:pt x="428" y="5"/>
                    </a:lnTo>
                    <a:lnTo>
                      <a:pt x="428" y="7"/>
                    </a:lnTo>
                    <a:close/>
                    <a:moveTo>
                      <a:pt x="392" y="160"/>
                    </a:moveTo>
                    <a:lnTo>
                      <a:pt x="392" y="162"/>
                    </a:lnTo>
                    <a:lnTo>
                      <a:pt x="392" y="163"/>
                    </a:lnTo>
                    <a:lnTo>
                      <a:pt x="391" y="163"/>
                    </a:lnTo>
                    <a:lnTo>
                      <a:pt x="391" y="162"/>
                    </a:lnTo>
                    <a:lnTo>
                      <a:pt x="391" y="160"/>
                    </a:lnTo>
                    <a:lnTo>
                      <a:pt x="392" y="160"/>
                    </a:lnTo>
                    <a:close/>
                    <a:moveTo>
                      <a:pt x="66" y="95"/>
                    </a:moveTo>
                    <a:lnTo>
                      <a:pt x="68" y="94"/>
                    </a:lnTo>
                    <a:lnTo>
                      <a:pt x="68" y="95"/>
                    </a:lnTo>
                    <a:lnTo>
                      <a:pt x="70" y="95"/>
                    </a:lnTo>
                    <a:lnTo>
                      <a:pt x="70" y="97"/>
                    </a:lnTo>
                    <a:lnTo>
                      <a:pt x="68" y="97"/>
                    </a:lnTo>
                    <a:lnTo>
                      <a:pt x="66" y="95"/>
                    </a:lnTo>
                    <a:lnTo>
                      <a:pt x="64" y="95"/>
                    </a:lnTo>
                    <a:lnTo>
                      <a:pt x="66" y="95"/>
                    </a:lnTo>
                    <a:lnTo>
                      <a:pt x="66" y="94"/>
                    </a:lnTo>
                    <a:lnTo>
                      <a:pt x="66" y="95"/>
                    </a:lnTo>
                    <a:close/>
                    <a:moveTo>
                      <a:pt x="30" y="27"/>
                    </a:moveTo>
                    <a:lnTo>
                      <a:pt x="32" y="29"/>
                    </a:lnTo>
                    <a:lnTo>
                      <a:pt x="32" y="31"/>
                    </a:lnTo>
                    <a:lnTo>
                      <a:pt x="30" y="31"/>
                    </a:lnTo>
                    <a:lnTo>
                      <a:pt x="30" y="29"/>
                    </a:lnTo>
                    <a:lnTo>
                      <a:pt x="30" y="27"/>
                    </a:lnTo>
                    <a:close/>
                    <a:moveTo>
                      <a:pt x="394" y="131"/>
                    </a:moveTo>
                    <a:lnTo>
                      <a:pt x="396" y="131"/>
                    </a:lnTo>
                    <a:lnTo>
                      <a:pt x="396" y="133"/>
                    </a:lnTo>
                    <a:lnTo>
                      <a:pt x="396" y="134"/>
                    </a:lnTo>
                    <a:lnTo>
                      <a:pt x="394" y="133"/>
                    </a:lnTo>
                    <a:lnTo>
                      <a:pt x="392" y="133"/>
                    </a:lnTo>
                    <a:lnTo>
                      <a:pt x="392" y="131"/>
                    </a:lnTo>
                    <a:lnTo>
                      <a:pt x="394" y="131"/>
                    </a:lnTo>
                    <a:close/>
                    <a:moveTo>
                      <a:pt x="391" y="145"/>
                    </a:moveTo>
                    <a:lnTo>
                      <a:pt x="392" y="145"/>
                    </a:lnTo>
                    <a:lnTo>
                      <a:pt x="392" y="148"/>
                    </a:lnTo>
                    <a:lnTo>
                      <a:pt x="391" y="148"/>
                    </a:lnTo>
                    <a:lnTo>
                      <a:pt x="391" y="145"/>
                    </a:lnTo>
                    <a:close/>
                    <a:moveTo>
                      <a:pt x="401" y="134"/>
                    </a:moveTo>
                    <a:lnTo>
                      <a:pt x="399" y="134"/>
                    </a:lnTo>
                    <a:lnTo>
                      <a:pt x="399" y="133"/>
                    </a:lnTo>
                    <a:lnTo>
                      <a:pt x="399" y="131"/>
                    </a:lnTo>
                    <a:lnTo>
                      <a:pt x="401" y="131"/>
                    </a:lnTo>
                    <a:lnTo>
                      <a:pt x="401" y="133"/>
                    </a:lnTo>
                    <a:lnTo>
                      <a:pt x="401" y="134"/>
                    </a:lnTo>
                    <a:close/>
                    <a:moveTo>
                      <a:pt x="386" y="162"/>
                    </a:moveTo>
                    <a:lnTo>
                      <a:pt x="386" y="163"/>
                    </a:lnTo>
                    <a:lnTo>
                      <a:pt x="387" y="163"/>
                    </a:lnTo>
                    <a:lnTo>
                      <a:pt x="387" y="165"/>
                    </a:lnTo>
                    <a:lnTo>
                      <a:pt x="386" y="165"/>
                    </a:lnTo>
                    <a:lnTo>
                      <a:pt x="386" y="163"/>
                    </a:lnTo>
                    <a:lnTo>
                      <a:pt x="386" y="162"/>
                    </a:lnTo>
                    <a:close/>
                    <a:moveTo>
                      <a:pt x="394" y="124"/>
                    </a:moveTo>
                    <a:lnTo>
                      <a:pt x="396" y="124"/>
                    </a:lnTo>
                    <a:lnTo>
                      <a:pt x="396" y="128"/>
                    </a:lnTo>
                    <a:lnTo>
                      <a:pt x="394" y="128"/>
                    </a:lnTo>
                    <a:lnTo>
                      <a:pt x="394" y="124"/>
                    </a:lnTo>
                    <a:close/>
                    <a:moveTo>
                      <a:pt x="432" y="0"/>
                    </a:moveTo>
                    <a:lnTo>
                      <a:pt x="433" y="0"/>
                    </a:lnTo>
                    <a:lnTo>
                      <a:pt x="433" y="2"/>
                    </a:lnTo>
                    <a:lnTo>
                      <a:pt x="432" y="2"/>
                    </a:lnTo>
                    <a:lnTo>
                      <a:pt x="432" y="0"/>
                    </a:lnTo>
                    <a:close/>
                    <a:moveTo>
                      <a:pt x="391" y="156"/>
                    </a:moveTo>
                    <a:lnTo>
                      <a:pt x="394" y="156"/>
                    </a:lnTo>
                    <a:lnTo>
                      <a:pt x="394" y="160"/>
                    </a:lnTo>
                    <a:lnTo>
                      <a:pt x="391" y="160"/>
                    </a:lnTo>
                    <a:lnTo>
                      <a:pt x="391" y="156"/>
                    </a:lnTo>
                    <a:close/>
                    <a:moveTo>
                      <a:pt x="46" y="63"/>
                    </a:moveTo>
                    <a:lnTo>
                      <a:pt x="47" y="63"/>
                    </a:lnTo>
                    <a:lnTo>
                      <a:pt x="47" y="65"/>
                    </a:lnTo>
                    <a:lnTo>
                      <a:pt x="46" y="65"/>
                    </a:lnTo>
                    <a:lnTo>
                      <a:pt x="46" y="63"/>
                    </a:lnTo>
                    <a:close/>
                    <a:moveTo>
                      <a:pt x="53" y="77"/>
                    </a:moveTo>
                    <a:lnTo>
                      <a:pt x="56" y="77"/>
                    </a:lnTo>
                    <a:lnTo>
                      <a:pt x="53" y="77"/>
                    </a:lnTo>
                    <a:close/>
                    <a:moveTo>
                      <a:pt x="394" y="138"/>
                    </a:moveTo>
                    <a:lnTo>
                      <a:pt x="396" y="138"/>
                    </a:lnTo>
                    <a:lnTo>
                      <a:pt x="396" y="139"/>
                    </a:lnTo>
                    <a:lnTo>
                      <a:pt x="394" y="139"/>
                    </a:lnTo>
                    <a:lnTo>
                      <a:pt x="394" y="138"/>
                    </a:lnTo>
                    <a:close/>
                    <a:moveTo>
                      <a:pt x="398" y="122"/>
                    </a:moveTo>
                    <a:lnTo>
                      <a:pt x="399" y="122"/>
                    </a:lnTo>
                    <a:lnTo>
                      <a:pt x="399" y="124"/>
                    </a:lnTo>
                    <a:lnTo>
                      <a:pt x="398" y="124"/>
                    </a:lnTo>
                    <a:lnTo>
                      <a:pt x="398" y="122"/>
                    </a:lnTo>
                    <a:close/>
                    <a:moveTo>
                      <a:pt x="384" y="162"/>
                    </a:moveTo>
                    <a:lnTo>
                      <a:pt x="386" y="162"/>
                    </a:lnTo>
                    <a:lnTo>
                      <a:pt x="386" y="165"/>
                    </a:lnTo>
                    <a:lnTo>
                      <a:pt x="384" y="165"/>
                    </a:lnTo>
                    <a:lnTo>
                      <a:pt x="384" y="162"/>
                    </a:lnTo>
                    <a:close/>
                    <a:moveTo>
                      <a:pt x="394" y="131"/>
                    </a:moveTo>
                    <a:lnTo>
                      <a:pt x="396" y="131"/>
                    </a:lnTo>
                    <a:lnTo>
                      <a:pt x="394" y="131"/>
                    </a:lnTo>
                    <a:close/>
                    <a:moveTo>
                      <a:pt x="391" y="129"/>
                    </a:moveTo>
                    <a:lnTo>
                      <a:pt x="392" y="129"/>
                    </a:lnTo>
                    <a:lnTo>
                      <a:pt x="392" y="133"/>
                    </a:lnTo>
                    <a:lnTo>
                      <a:pt x="391" y="133"/>
                    </a:lnTo>
                    <a:lnTo>
                      <a:pt x="391" y="129"/>
                    </a:lnTo>
                    <a:close/>
                    <a:moveTo>
                      <a:pt x="34" y="68"/>
                    </a:moveTo>
                    <a:lnTo>
                      <a:pt x="34" y="70"/>
                    </a:lnTo>
                    <a:lnTo>
                      <a:pt x="34" y="68"/>
                    </a:lnTo>
                    <a:close/>
                    <a:moveTo>
                      <a:pt x="392" y="129"/>
                    </a:moveTo>
                    <a:lnTo>
                      <a:pt x="394" y="129"/>
                    </a:lnTo>
                    <a:lnTo>
                      <a:pt x="394" y="131"/>
                    </a:lnTo>
                    <a:lnTo>
                      <a:pt x="392" y="131"/>
                    </a:lnTo>
                    <a:lnTo>
                      <a:pt x="392" y="129"/>
                    </a:lnTo>
                    <a:close/>
                    <a:moveTo>
                      <a:pt x="396" y="128"/>
                    </a:moveTo>
                    <a:lnTo>
                      <a:pt x="396" y="129"/>
                    </a:lnTo>
                    <a:lnTo>
                      <a:pt x="396" y="128"/>
                    </a:lnTo>
                    <a:close/>
                    <a:moveTo>
                      <a:pt x="387" y="162"/>
                    </a:moveTo>
                    <a:lnTo>
                      <a:pt x="389" y="162"/>
                    </a:lnTo>
                    <a:lnTo>
                      <a:pt x="389" y="163"/>
                    </a:lnTo>
                    <a:lnTo>
                      <a:pt x="387" y="163"/>
                    </a:lnTo>
                    <a:lnTo>
                      <a:pt x="387" y="162"/>
                    </a:lnTo>
                    <a:close/>
                    <a:moveTo>
                      <a:pt x="396" y="131"/>
                    </a:moveTo>
                    <a:lnTo>
                      <a:pt x="398" y="131"/>
                    </a:lnTo>
                    <a:lnTo>
                      <a:pt x="398" y="133"/>
                    </a:lnTo>
                    <a:lnTo>
                      <a:pt x="396" y="133"/>
                    </a:lnTo>
                    <a:lnTo>
                      <a:pt x="396" y="131"/>
                    </a:lnTo>
                    <a:close/>
                    <a:moveTo>
                      <a:pt x="392" y="136"/>
                    </a:moveTo>
                    <a:lnTo>
                      <a:pt x="396" y="136"/>
                    </a:lnTo>
                    <a:lnTo>
                      <a:pt x="396" y="138"/>
                    </a:lnTo>
                    <a:lnTo>
                      <a:pt x="392" y="138"/>
                    </a:lnTo>
                    <a:lnTo>
                      <a:pt x="392" y="136"/>
                    </a:lnTo>
                    <a:close/>
                    <a:moveTo>
                      <a:pt x="58" y="37"/>
                    </a:moveTo>
                    <a:lnTo>
                      <a:pt x="58" y="39"/>
                    </a:lnTo>
                    <a:lnTo>
                      <a:pt x="58" y="37"/>
                    </a:lnTo>
                    <a:close/>
                    <a:moveTo>
                      <a:pt x="394" y="128"/>
                    </a:moveTo>
                    <a:lnTo>
                      <a:pt x="396" y="128"/>
                    </a:lnTo>
                    <a:lnTo>
                      <a:pt x="396" y="129"/>
                    </a:lnTo>
                    <a:lnTo>
                      <a:pt x="394" y="129"/>
                    </a:lnTo>
                    <a:lnTo>
                      <a:pt x="394" y="128"/>
                    </a:lnTo>
                    <a:close/>
                    <a:moveTo>
                      <a:pt x="392" y="36"/>
                    </a:moveTo>
                    <a:lnTo>
                      <a:pt x="394" y="36"/>
                    </a:lnTo>
                    <a:lnTo>
                      <a:pt x="392" y="36"/>
                    </a:lnTo>
                    <a:close/>
                    <a:moveTo>
                      <a:pt x="394" y="41"/>
                    </a:moveTo>
                    <a:lnTo>
                      <a:pt x="396" y="41"/>
                    </a:lnTo>
                    <a:lnTo>
                      <a:pt x="396" y="43"/>
                    </a:lnTo>
                    <a:lnTo>
                      <a:pt x="394" y="43"/>
                    </a:lnTo>
                    <a:lnTo>
                      <a:pt x="394" y="41"/>
                    </a:lnTo>
                    <a:close/>
                    <a:moveTo>
                      <a:pt x="392" y="136"/>
                    </a:moveTo>
                    <a:lnTo>
                      <a:pt x="392" y="138"/>
                    </a:lnTo>
                    <a:lnTo>
                      <a:pt x="392" y="136"/>
                    </a:lnTo>
                    <a:close/>
                    <a:moveTo>
                      <a:pt x="391" y="146"/>
                    </a:moveTo>
                    <a:lnTo>
                      <a:pt x="391" y="148"/>
                    </a:lnTo>
                    <a:lnTo>
                      <a:pt x="391" y="146"/>
                    </a:lnTo>
                    <a:close/>
                    <a:moveTo>
                      <a:pt x="396" y="129"/>
                    </a:moveTo>
                    <a:lnTo>
                      <a:pt x="398" y="129"/>
                    </a:lnTo>
                    <a:lnTo>
                      <a:pt x="398" y="131"/>
                    </a:lnTo>
                    <a:lnTo>
                      <a:pt x="396" y="131"/>
                    </a:lnTo>
                    <a:lnTo>
                      <a:pt x="396" y="129"/>
                    </a:lnTo>
                    <a:close/>
                    <a:moveTo>
                      <a:pt x="394" y="129"/>
                    </a:moveTo>
                    <a:lnTo>
                      <a:pt x="396" y="129"/>
                    </a:lnTo>
                    <a:lnTo>
                      <a:pt x="396" y="131"/>
                    </a:lnTo>
                    <a:lnTo>
                      <a:pt x="394" y="131"/>
                    </a:lnTo>
                    <a:lnTo>
                      <a:pt x="394" y="129"/>
                    </a:lnTo>
                    <a:close/>
                    <a:moveTo>
                      <a:pt x="391" y="146"/>
                    </a:moveTo>
                    <a:lnTo>
                      <a:pt x="391" y="148"/>
                    </a:lnTo>
                    <a:lnTo>
                      <a:pt x="391" y="146"/>
                    </a:lnTo>
                    <a:close/>
                    <a:moveTo>
                      <a:pt x="389" y="145"/>
                    </a:moveTo>
                    <a:lnTo>
                      <a:pt x="391" y="145"/>
                    </a:lnTo>
                    <a:lnTo>
                      <a:pt x="391" y="146"/>
                    </a:lnTo>
                    <a:lnTo>
                      <a:pt x="389" y="146"/>
                    </a:lnTo>
                    <a:lnTo>
                      <a:pt x="389" y="145"/>
                    </a:lnTo>
                    <a:close/>
                    <a:moveTo>
                      <a:pt x="357" y="92"/>
                    </a:moveTo>
                    <a:lnTo>
                      <a:pt x="359" y="92"/>
                    </a:lnTo>
                    <a:lnTo>
                      <a:pt x="357" y="92"/>
                    </a:lnTo>
                    <a:close/>
                    <a:moveTo>
                      <a:pt x="389" y="145"/>
                    </a:moveTo>
                    <a:lnTo>
                      <a:pt x="389" y="146"/>
                    </a:lnTo>
                    <a:lnTo>
                      <a:pt x="389" y="145"/>
                    </a:lnTo>
                    <a:close/>
                    <a:moveTo>
                      <a:pt x="396" y="131"/>
                    </a:moveTo>
                    <a:lnTo>
                      <a:pt x="398" y="131"/>
                    </a:lnTo>
                    <a:lnTo>
                      <a:pt x="396" y="131"/>
                    </a:lnTo>
                    <a:close/>
                    <a:moveTo>
                      <a:pt x="433" y="0"/>
                    </a:moveTo>
                    <a:lnTo>
                      <a:pt x="433" y="2"/>
                    </a:lnTo>
                    <a:lnTo>
                      <a:pt x="433" y="0"/>
                    </a:lnTo>
                    <a:close/>
                    <a:moveTo>
                      <a:pt x="391" y="34"/>
                    </a:moveTo>
                    <a:lnTo>
                      <a:pt x="392" y="34"/>
                    </a:lnTo>
                    <a:lnTo>
                      <a:pt x="391" y="34"/>
                    </a:lnTo>
                    <a:close/>
                    <a:moveTo>
                      <a:pt x="396" y="129"/>
                    </a:moveTo>
                    <a:lnTo>
                      <a:pt x="398" y="129"/>
                    </a:lnTo>
                    <a:lnTo>
                      <a:pt x="396" y="129"/>
                    </a:lnTo>
                    <a:close/>
                    <a:moveTo>
                      <a:pt x="391" y="134"/>
                    </a:moveTo>
                    <a:lnTo>
                      <a:pt x="392" y="134"/>
                    </a:lnTo>
                    <a:lnTo>
                      <a:pt x="392" y="136"/>
                    </a:lnTo>
                    <a:lnTo>
                      <a:pt x="391" y="136"/>
                    </a:lnTo>
                    <a:lnTo>
                      <a:pt x="391" y="134"/>
                    </a:lnTo>
                    <a:close/>
                    <a:moveTo>
                      <a:pt x="399" y="134"/>
                    </a:moveTo>
                    <a:lnTo>
                      <a:pt x="401" y="134"/>
                    </a:lnTo>
                    <a:lnTo>
                      <a:pt x="399" y="134"/>
                    </a:lnTo>
                    <a:close/>
                    <a:moveTo>
                      <a:pt x="428" y="8"/>
                    </a:moveTo>
                    <a:lnTo>
                      <a:pt x="428" y="10"/>
                    </a:lnTo>
                    <a:lnTo>
                      <a:pt x="428" y="8"/>
                    </a:lnTo>
                    <a:close/>
                    <a:moveTo>
                      <a:pt x="386" y="163"/>
                    </a:moveTo>
                    <a:lnTo>
                      <a:pt x="386" y="165"/>
                    </a:lnTo>
                    <a:lnTo>
                      <a:pt x="386" y="163"/>
                    </a:lnTo>
                    <a:close/>
                    <a:moveTo>
                      <a:pt x="46" y="61"/>
                    </a:moveTo>
                    <a:lnTo>
                      <a:pt x="47" y="61"/>
                    </a:lnTo>
                    <a:lnTo>
                      <a:pt x="47" y="63"/>
                    </a:lnTo>
                    <a:lnTo>
                      <a:pt x="46" y="63"/>
                    </a:lnTo>
                    <a:lnTo>
                      <a:pt x="46" y="61"/>
                    </a:lnTo>
                    <a:close/>
                    <a:moveTo>
                      <a:pt x="396" y="129"/>
                    </a:moveTo>
                    <a:lnTo>
                      <a:pt x="396" y="131"/>
                    </a:lnTo>
                    <a:lnTo>
                      <a:pt x="396" y="129"/>
                    </a:lnTo>
                    <a:close/>
                    <a:moveTo>
                      <a:pt x="433" y="0"/>
                    </a:moveTo>
                    <a:lnTo>
                      <a:pt x="433" y="2"/>
                    </a:lnTo>
                    <a:lnTo>
                      <a:pt x="433" y="0"/>
                    </a:lnTo>
                    <a:close/>
                    <a:moveTo>
                      <a:pt x="387" y="138"/>
                    </a:moveTo>
                    <a:lnTo>
                      <a:pt x="387" y="139"/>
                    </a:lnTo>
                    <a:lnTo>
                      <a:pt x="387" y="138"/>
                    </a:lnTo>
                    <a:close/>
                    <a:moveTo>
                      <a:pt x="396" y="128"/>
                    </a:moveTo>
                    <a:lnTo>
                      <a:pt x="396" y="129"/>
                    </a:lnTo>
                    <a:lnTo>
                      <a:pt x="396" y="128"/>
                    </a:lnTo>
                    <a:close/>
                    <a:moveTo>
                      <a:pt x="386" y="165"/>
                    </a:moveTo>
                    <a:lnTo>
                      <a:pt x="387" y="165"/>
                    </a:lnTo>
                    <a:lnTo>
                      <a:pt x="386" y="165"/>
                    </a:lnTo>
                    <a:close/>
                    <a:moveTo>
                      <a:pt x="384" y="163"/>
                    </a:moveTo>
                    <a:lnTo>
                      <a:pt x="386" y="163"/>
                    </a:lnTo>
                    <a:lnTo>
                      <a:pt x="384" y="163"/>
                    </a:lnTo>
                    <a:close/>
                  </a:path>
                </a:pathLst>
              </a:custGeom>
              <a:solidFill>
                <a:schemeClr val="accent1"/>
              </a:solidFill>
              <a:ln w="6350">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5" name="Freeform 30">
                <a:extLst>
                  <a:ext uri="{FF2B5EF4-FFF2-40B4-BE49-F238E27FC236}">
                    <a16:creationId xmlns:a16="http://schemas.microsoft.com/office/drawing/2014/main" id="{41ACF91B-6F42-C8E4-FBF3-A3FE18193B8B}"/>
                  </a:ext>
                </a:extLst>
              </p:cNvPr>
              <p:cNvSpPr>
                <a:spLocks noEditPoints="1"/>
              </p:cNvSpPr>
              <p:nvPr/>
            </p:nvSpPr>
            <p:spPr bwMode="auto">
              <a:xfrm>
                <a:off x="5769926" y="3536912"/>
                <a:ext cx="36127" cy="23204"/>
              </a:xfrm>
              <a:custGeom>
                <a:avLst/>
                <a:gdLst>
                  <a:gd name="T0" fmla="*/ 102 w 123"/>
                  <a:gd name="T1" fmla="*/ 21 h 79"/>
                  <a:gd name="T2" fmla="*/ 92 w 123"/>
                  <a:gd name="T3" fmla="*/ 24 h 79"/>
                  <a:gd name="T4" fmla="*/ 102 w 123"/>
                  <a:gd name="T5" fmla="*/ 33 h 79"/>
                  <a:gd name="T6" fmla="*/ 107 w 123"/>
                  <a:gd name="T7" fmla="*/ 27 h 79"/>
                  <a:gd name="T8" fmla="*/ 117 w 123"/>
                  <a:gd name="T9" fmla="*/ 21 h 79"/>
                  <a:gd name="T10" fmla="*/ 112 w 123"/>
                  <a:gd name="T11" fmla="*/ 29 h 79"/>
                  <a:gd name="T12" fmla="*/ 116 w 123"/>
                  <a:gd name="T13" fmla="*/ 36 h 79"/>
                  <a:gd name="T14" fmla="*/ 114 w 123"/>
                  <a:gd name="T15" fmla="*/ 39 h 79"/>
                  <a:gd name="T16" fmla="*/ 106 w 123"/>
                  <a:gd name="T17" fmla="*/ 43 h 79"/>
                  <a:gd name="T18" fmla="*/ 97 w 123"/>
                  <a:gd name="T19" fmla="*/ 50 h 79"/>
                  <a:gd name="T20" fmla="*/ 80 w 123"/>
                  <a:gd name="T21" fmla="*/ 43 h 79"/>
                  <a:gd name="T22" fmla="*/ 87 w 123"/>
                  <a:gd name="T23" fmla="*/ 51 h 79"/>
                  <a:gd name="T24" fmla="*/ 87 w 123"/>
                  <a:gd name="T25" fmla="*/ 56 h 79"/>
                  <a:gd name="T26" fmla="*/ 68 w 123"/>
                  <a:gd name="T27" fmla="*/ 55 h 79"/>
                  <a:gd name="T28" fmla="*/ 77 w 123"/>
                  <a:gd name="T29" fmla="*/ 62 h 79"/>
                  <a:gd name="T30" fmla="*/ 66 w 123"/>
                  <a:gd name="T31" fmla="*/ 60 h 79"/>
                  <a:gd name="T32" fmla="*/ 66 w 123"/>
                  <a:gd name="T33" fmla="*/ 70 h 79"/>
                  <a:gd name="T34" fmla="*/ 58 w 123"/>
                  <a:gd name="T35" fmla="*/ 65 h 79"/>
                  <a:gd name="T36" fmla="*/ 61 w 123"/>
                  <a:gd name="T37" fmla="*/ 53 h 79"/>
                  <a:gd name="T38" fmla="*/ 65 w 123"/>
                  <a:gd name="T39" fmla="*/ 46 h 79"/>
                  <a:gd name="T40" fmla="*/ 78 w 123"/>
                  <a:gd name="T41" fmla="*/ 43 h 79"/>
                  <a:gd name="T42" fmla="*/ 75 w 123"/>
                  <a:gd name="T43" fmla="*/ 27 h 79"/>
                  <a:gd name="T44" fmla="*/ 77 w 123"/>
                  <a:gd name="T45" fmla="*/ 22 h 79"/>
                  <a:gd name="T46" fmla="*/ 70 w 123"/>
                  <a:gd name="T47" fmla="*/ 24 h 79"/>
                  <a:gd name="T48" fmla="*/ 66 w 123"/>
                  <a:gd name="T49" fmla="*/ 33 h 79"/>
                  <a:gd name="T50" fmla="*/ 55 w 123"/>
                  <a:gd name="T51" fmla="*/ 43 h 79"/>
                  <a:gd name="T52" fmla="*/ 41 w 123"/>
                  <a:gd name="T53" fmla="*/ 55 h 79"/>
                  <a:gd name="T54" fmla="*/ 38 w 123"/>
                  <a:gd name="T55" fmla="*/ 58 h 79"/>
                  <a:gd name="T56" fmla="*/ 31 w 123"/>
                  <a:gd name="T57" fmla="*/ 62 h 79"/>
                  <a:gd name="T58" fmla="*/ 22 w 123"/>
                  <a:gd name="T59" fmla="*/ 65 h 79"/>
                  <a:gd name="T60" fmla="*/ 21 w 123"/>
                  <a:gd name="T61" fmla="*/ 63 h 79"/>
                  <a:gd name="T62" fmla="*/ 19 w 123"/>
                  <a:gd name="T63" fmla="*/ 56 h 79"/>
                  <a:gd name="T64" fmla="*/ 22 w 123"/>
                  <a:gd name="T65" fmla="*/ 56 h 79"/>
                  <a:gd name="T66" fmla="*/ 29 w 123"/>
                  <a:gd name="T67" fmla="*/ 51 h 79"/>
                  <a:gd name="T68" fmla="*/ 32 w 123"/>
                  <a:gd name="T69" fmla="*/ 45 h 79"/>
                  <a:gd name="T70" fmla="*/ 36 w 123"/>
                  <a:gd name="T71" fmla="*/ 39 h 79"/>
                  <a:gd name="T72" fmla="*/ 34 w 123"/>
                  <a:gd name="T73" fmla="*/ 36 h 79"/>
                  <a:gd name="T74" fmla="*/ 34 w 123"/>
                  <a:gd name="T75" fmla="*/ 29 h 79"/>
                  <a:gd name="T76" fmla="*/ 24 w 123"/>
                  <a:gd name="T77" fmla="*/ 19 h 79"/>
                  <a:gd name="T78" fmla="*/ 43 w 123"/>
                  <a:gd name="T79" fmla="*/ 22 h 79"/>
                  <a:gd name="T80" fmla="*/ 51 w 123"/>
                  <a:gd name="T81" fmla="*/ 22 h 79"/>
                  <a:gd name="T82" fmla="*/ 63 w 123"/>
                  <a:gd name="T83" fmla="*/ 24 h 79"/>
                  <a:gd name="T84" fmla="*/ 15 w 123"/>
                  <a:gd name="T85" fmla="*/ 50 h 79"/>
                  <a:gd name="T86" fmla="*/ 14 w 123"/>
                  <a:gd name="T87" fmla="*/ 43 h 79"/>
                  <a:gd name="T88" fmla="*/ 43 w 123"/>
                  <a:gd name="T89" fmla="*/ 17 h 79"/>
                  <a:gd name="T90" fmla="*/ 34 w 123"/>
                  <a:gd name="T91" fmla="*/ 14 h 79"/>
                  <a:gd name="T92" fmla="*/ 55 w 123"/>
                  <a:gd name="T93" fmla="*/ 16 h 79"/>
                  <a:gd name="T94" fmla="*/ 99 w 123"/>
                  <a:gd name="T95" fmla="*/ 53 h 79"/>
                  <a:gd name="T96" fmla="*/ 48 w 123"/>
                  <a:gd name="T97" fmla="*/ 19 h 79"/>
                  <a:gd name="T98" fmla="*/ 55 w 123"/>
                  <a:gd name="T99" fmla="*/ 73 h 79"/>
                  <a:gd name="T100" fmla="*/ 4 w 123"/>
                  <a:gd name="T101" fmla="*/ 38 h 79"/>
                  <a:gd name="T102" fmla="*/ 53 w 123"/>
                  <a:gd name="T103" fmla="*/ 17 h 79"/>
                  <a:gd name="T104" fmla="*/ 58 w 123"/>
                  <a:gd name="T105" fmla="*/ 41 h 79"/>
                  <a:gd name="T106" fmla="*/ 56 w 123"/>
                  <a:gd name="T107" fmla="*/ 22 h 79"/>
                  <a:gd name="T108" fmla="*/ 60 w 123"/>
                  <a:gd name="T109" fmla="*/ 19 h 79"/>
                  <a:gd name="T110" fmla="*/ 17 w 123"/>
                  <a:gd name="T111" fmla="*/ 10 h 79"/>
                  <a:gd name="T112" fmla="*/ 17 w 123"/>
                  <a:gd name="T113" fmla="*/ 5 h 79"/>
                  <a:gd name="T114" fmla="*/ 17 w 123"/>
                  <a:gd name="T115" fmla="*/ 7 h 79"/>
                  <a:gd name="T116" fmla="*/ 21 w 123"/>
                  <a:gd name="T117" fmla="*/ 26 h 79"/>
                  <a:gd name="T118" fmla="*/ 17 w 123"/>
                  <a:gd name="T119" fmla="*/ 31 h 79"/>
                  <a:gd name="T120" fmla="*/ 41 w 123"/>
                  <a:gd name="T121" fmla="*/ 22 h 79"/>
                  <a:gd name="T122" fmla="*/ 29 w 123"/>
                  <a:gd name="T123" fmla="*/ 17 h 79"/>
                  <a:gd name="T124" fmla="*/ 55 w 123"/>
                  <a:gd name="T125" fmla="*/ 4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3" h="79">
                    <a:moveTo>
                      <a:pt x="80" y="12"/>
                    </a:moveTo>
                    <a:lnTo>
                      <a:pt x="82" y="12"/>
                    </a:lnTo>
                    <a:lnTo>
                      <a:pt x="82" y="14"/>
                    </a:lnTo>
                    <a:lnTo>
                      <a:pt x="83" y="14"/>
                    </a:lnTo>
                    <a:lnTo>
                      <a:pt x="83" y="16"/>
                    </a:lnTo>
                    <a:lnTo>
                      <a:pt x="85" y="16"/>
                    </a:lnTo>
                    <a:lnTo>
                      <a:pt x="87" y="16"/>
                    </a:lnTo>
                    <a:lnTo>
                      <a:pt x="87" y="17"/>
                    </a:lnTo>
                    <a:lnTo>
                      <a:pt x="89" y="17"/>
                    </a:lnTo>
                    <a:lnTo>
                      <a:pt x="90" y="17"/>
                    </a:lnTo>
                    <a:lnTo>
                      <a:pt x="92" y="17"/>
                    </a:lnTo>
                    <a:lnTo>
                      <a:pt x="92" y="19"/>
                    </a:lnTo>
                    <a:lnTo>
                      <a:pt x="94" y="19"/>
                    </a:lnTo>
                    <a:lnTo>
                      <a:pt x="94" y="17"/>
                    </a:lnTo>
                    <a:lnTo>
                      <a:pt x="92" y="19"/>
                    </a:lnTo>
                    <a:lnTo>
                      <a:pt x="92" y="17"/>
                    </a:lnTo>
                    <a:lnTo>
                      <a:pt x="94" y="16"/>
                    </a:lnTo>
                    <a:lnTo>
                      <a:pt x="95" y="16"/>
                    </a:lnTo>
                    <a:lnTo>
                      <a:pt x="97" y="16"/>
                    </a:lnTo>
                    <a:lnTo>
                      <a:pt x="97" y="17"/>
                    </a:lnTo>
                    <a:lnTo>
                      <a:pt x="99" y="17"/>
                    </a:lnTo>
                    <a:lnTo>
                      <a:pt x="100" y="17"/>
                    </a:lnTo>
                    <a:lnTo>
                      <a:pt x="100" y="19"/>
                    </a:lnTo>
                    <a:lnTo>
                      <a:pt x="102" y="19"/>
                    </a:lnTo>
                    <a:lnTo>
                      <a:pt x="102" y="21"/>
                    </a:lnTo>
                    <a:lnTo>
                      <a:pt x="100" y="21"/>
                    </a:lnTo>
                    <a:lnTo>
                      <a:pt x="102" y="21"/>
                    </a:lnTo>
                    <a:lnTo>
                      <a:pt x="102" y="22"/>
                    </a:lnTo>
                    <a:lnTo>
                      <a:pt x="100" y="22"/>
                    </a:lnTo>
                    <a:lnTo>
                      <a:pt x="102" y="22"/>
                    </a:lnTo>
                    <a:lnTo>
                      <a:pt x="102" y="24"/>
                    </a:lnTo>
                    <a:lnTo>
                      <a:pt x="100" y="24"/>
                    </a:lnTo>
                    <a:lnTo>
                      <a:pt x="100" y="22"/>
                    </a:lnTo>
                    <a:lnTo>
                      <a:pt x="100" y="24"/>
                    </a:lnTo>
                    <a:lnTo>
                      <a:pt x="99" y="24"/>
                    </a:lnTo>
                    <a:lnTo>
                      <a:pt x="97" y="24"/>
                    </a:lnTo>
                    <a:lnTo>
                      <a:pt x="97" y="22"/>
                    </a:lnTo>
                    <a:lnTo>
                      <a:pt x="97" y="21"/>
                    </a:lnTo>
                    <a:lnTo>
                      <a:pt x="97" y="22"/>
                    </a:lnTo>
                    <a:lnTo>
                      <a:pt x="95" y="22"/>
                    </a:lnTo>
                    <a:lnTo>
                      <a:pt x="95" y="21"/>
                    </a:lnTo>
                    <a:lnTo>
                      <a:pt x="97" y="21"/>
                    </a:lnTo>
                    <a:lnTo>
                      <a:pt x="95" y="21"/>
                    </a:lnTo>
                    <a:lnTo>
                      <a:pt x="95" y="22"/>
                    </a:lnTo>
                    <a:lnTo>
                      <a:pt x="94" y="22"/>
                    </a:lnTo>
                    <a:lnTo>
                      <a:pt x="94" y="24"/>
                    </a:lnTo>
                    <a:lnTo>
                      <a:pt x="94" y="22"/>
                    </a:lnTo>
                    <a:lnTo>
                      <a:pt x="95" y="22"/>
                    </a:lnTo>
                    <a:lnTo>
                      <a:pt x="94" y="24"/>
                    </a:lnTo>
                    <a:lnTo>
                      <a:pt x="92" y="24"/>
                    </a:lnTo>
                    <a:lnTo>
                      <a:pt x="94" y="24"/>
                    </a:lnTo>
                    <a:lnTo>
                      <a:pt x="95" y="22"/>
                    </a:lnTo>
                    <a:lnTo>
                      <a:pt x="95" y="24"/>
                    </a:lnTo>
                    <a:lnTo>
                      <a:pt x="95" y="22"/>
                    </a:lnTo>
                    <a:lnTo>
                      <a:pt x="97" y="24"/>
                    </a:lnTo>
                    <a:lnTo>
                      <a:pt x="95" y="24"/>
                    </a:lnTo>
                    <a:lnTo>
                      <a:pt x="95" y="26"/>
                    </a:lnTo>
                    <a:lnTo>
                      <a:pt x="95" y="27"/>
                    </a:lnTo>
                    <a:lnTo>
                      <a:pt x="95" y="26"/>
                    </a:lnTo>
                    <a:lnTo>
                      <a:pt x="97" y="24"/>
                    </a:lnTo>
                    <a:lnTo>
                      <a:pt x="97" y="26"/>
                    </a:lnTo>
                    <a:lnTo>
                      <a:pt x="99" y="26"/>
                    </a:lnTo>
                    <a:lnTo>
                      <a:pt x="99" y="24"/>
                    </a:lnTo>
                    <a:lnTo>
                      <a:pt x="99" y="26"/>
                    </a:lnTo>
                    <a:lnTo>
                      <a:pt x="99" y="27"/>
                    </a:lnTo>
                    <a:lnTo>
                      <a:pt x="99" y="29"/>
                    </a:lnTo>
                    <a:lnTo>
                      <a:pt x="100" y="27"/>
                    </a:lnTo>
                    <a:lnTo>
                      <a:pt x="100" y="29"/>
                    </a:lnTo>
                    <a:lnTo>
                      <a:pt x="100" y="31"/>
                    </a:lnTo>
                    <a:lnTo>
                      <a:pt x="100" y="29"/>
                    </a:lnTo>
                    <a:lnTo>
                      <a:pt x="102" y="31"/>
                    </a:lnTo>
                    <a:lnTo>
                      <a:pt x="102" y="29"/>
                    </a:lnTo>
                    <a:lnTo>
                      <a:pt x="104" y="29"/>
                    </a:lnTo>
                    <a:lnTo>
                      <a:pt x="104" y="31"/>
                    </a:lnTo>
                    <a:lnTo>
                      <a:pt x="102" y="33"/>
                    </a:lnTo>
                    <a:lnTo>
                      <a:pt x="104" y="33"/>
                    </a:lnTo>
                    <a:lnTo>
                      <a:pt x="106" y="33"/>
                    </a:lnTo>
                    <a:lnTo>
                      <a:pt x="104" y="33"/>
                    </a:lnTo>
                    <a:lnTo>
                      <a:pt x="104" y="34"/>
                    </a:lnTo>
                    <a:lnTo>
                      <a:pt x="106" y="34"/>
                    </a:lnTo>
                    <a:lnTo>
                      <a:pt x="104" y="34"/>
                    </a:lnTo>
                    <a:lnTo>
                      <a:pt x="106" y="34"/>
                    </a:lnTo>
                    <a:lnTo>
                      <a:pt x="106" y="33"/>
                    </a:lnTo>
                    <a:lnTo>
                      <a:pt x="106" y="34"/>
                    </a:lnTo>
                    <a:lnTo>
                      <a:pt x="106" y="36"/>
                    </a:lnTo>
                    <a:lnTo>
                      <a:pt x="106" y="34"/>
                    </a:lnTo>
                    <a:lnTo>
                      <a:pt x="107" y="34"/>
                    </a:lnTo>
                    <a:lnTo>
                      <a:pt x="106" y="34"/>
                    </a:lnTo>
                    <a:lnTo>
                      <a:pt x="106" y="33"/>
                    </a:lnTo>
                    <a:lnTo>
                      <a:pt x="104" y="33"/>
                    </a:lnTo>
                    <a:lnTo>
                      <a:pt x="106" y="31"/>
                    </a:lnTo>
                    <a:lnTo>
                      <a:pt x="107" y="33"/>
                    </a:lnTo>
                    <a:lnTo>
                      <a:pt x="109" y="33"/>
                    </a:lnTo>
                    <a:lnTo>
                      <a:pt x="107" y="33"/>
                    </a:lnTo>
                    <a:lnTo>
                      <a:pt x="106" y="31"/>
                    </a:lnTo>
                    <a:lnTo>
                      <a:pt x="107" y="31"/>
                    </a:lnTo>
                    <a:lnTo>
                      <a:pt x="106" y="31"/>
                    </a:lnTo>
                    <a:lnTo>
                      <a:pt x="104" y="29"/>
                    </a:lnTo>
                    <a:lnTo>
                      <a:pt x="106" y="29"/>
                    </a:lnTo>
                    <a:lnTo>
                      <a:pt x="107" y="27"/>
                    </a:lnTo>
                    <a:lnTo>
                      <a:pt x="106" y="27"/>
                    </a:lnTo>
                    <a:lnTo>
                      <a:pt x="106" y="29"/>
                    </a:lnTo>
                    <a:lnTo>
                      <a:pt x="104" y="29"/>
                    </a:lnTo>
                    <a:lnTo>
                      <a:pt x="104" y="27"/>
                    </a:lnTo>
                    <a:lnTo>
                      <a:pt x="104" y="26"/>
                    </a:lnTo>
                    <a:lnTo>
                      <a:pt x="102" y="27"/>
                    </a:lnTo>
                    <a:lnTo>
                      <a:pt x="100" y="27"/>
                    </a:lnTo>
                    <a:lnTo>
                      <a:pt x="100" y="26"/>
                    </a:lnTo>
                    <a:lnTo>
                      <a:pt x="102" y="26"/>
                    </a:lnTo>
                    <a:lnTo>
                      <a:pt x="100" y="26"/>
                    </a:lnTo>
                    <a:lnTo>
                      <a:pt x="102" y="26"/>
                    </a:lnTo>
                    <a:lnTo>
                      <a:pt x="102" y="24"/>
                    </a:lnTo>
                    <a:lnTo>
                      <a:pt x="104" y="22"/>
                    </a:lnTo>
                    <a:lnTo>
                      <a:pt x="104" y="21"/>
                    </a:lnTo>
                    <a:lnTo>
                      <a:pt x="106" y="21"/>
                    </a:lnTo>
                    <a:lnTo>
                      <a:pt x="107" y="21"/>
                    </a:lnTo>
                    <a:lnTo>
                      <a:pt x="109" y="21"/>
                    </a:lnTo>
                    <a:lnTo>
                      <a:pt x="111" y="21"/>
                    </a:lnTo>
                    <a:lnTo>
                      <a:pt x="111" y="19"/>
                    </a:lnTo>
                    <a:lnTo>
                      <a:pt x="111" y="21"/>
                    </a:lnTo>
                    <a:lnTo>
                      <a:pt x="112" y="21"/>
                    </a:lnTo>
                    <a:lnTo>
                      <a:pt x="114" y="19"/>
                    </a:lnTo>
                    <a:lnTo>
                      <a:pt x="116" y="19"/>
                    </a:lnTo>
                    <a:lnTo>
                      <a:pt x="116" y="21"/>
                    </a:lnTo>
                    <a:lnTo>
                      <a:pt x="117" y="21"/>
                    </a:lnTo>
                    <a:lnTo>
                      <a:pt x="117" y="22"/>
                    </a:lnTo>
                    <a:lnTo>
                      <a:pt x="119" y="24"/>
                    </a:lnTo>
                    <a:lnTo>
                      <a:pt x="119" y="26"/>
                    </a:lnTo>
                    <a:lnTo>
                      <a:pt x="121" y="26"/>
                    </a:lnTo>
                    <a:lnTo>
                      <a:pt x="121" y="27"/>
                    </a:lnTo>
                    <a:lnTo>
                      <a:pt x="123" y="27"/>
                    </a:lnTo>
                    <a:lnTo>
                      <a:pt x="121" y="27"/>
                    </a:lnTo>
                    <a:lnTo>
                      <a:pt x="119" y="27"/>
                    </a:lnTo>
                    <a:lnTo>
                      <a:pt x="117" y="26"/>
                    </a:lnTo>
                    <a:lnTo>
                      <a:pt x="119" y="26"/>
                    </a:lnTo>
                    <a:lnTo>
                      <a:pt x="117" y="26"/>
                    </a:lnTo>
                    <a:lnTo>
                      <a:pt x="117" y="27"/>
                    </a:lnTo>
                    <a:lnTo>
                      <a:pt x="119" y="27"/>
                    </a:lnTo>
                    <a:lnTo>
                      <a:pt x="121" y="27"/>
                    </a:lnTo>
                    <a:lnTo>
                      <a:pt x="121" y="29"/>
                    </a:lnTo>
                    <a:lnTo>
                      <a:pt x="119" y="29"/>
                    </a:lnTo>
                    <a:lnTo>
                      <a:pt x="117" y="29"/>
                    </a:lnTo>
                    <a:lnTo>
                      <a:pt x="116" y="29"/>
                    </a:lnTo>
                    <a:lnTo>
                      <a:pt x="114" y="29"/>
                    </a:lnTo>
                    <a:lnTo>
                      <a:pt x="114" y="27"/>
                    </a:lnTo>
                    <a:lnTo>
                      <a:pt x="112" y="27"/>
                    </a:lnTo>
                    <a:lnTo>
                      <a:pt x="112" y="26"/>
                    </a:lnTo>
                    <a:lnTo>
                      <a:pt x="111" y="26"/>
                    </a:lnTo>
                    <a:lnTo>
                      <a:pt x="112" y="27"/>
                    </a:lnTo>
                    <a:lnTo>
                      <a:pt x="112" y="29"/>
                    </a:lnTo>
                    <a:lnTo>
                      <a:pt x="111" y="27"/>
                    </a:lnTo>
                    <a:lnTo>
                      <a:pt x="109" y="27"/>
                    </a:lnTo>
                    <a:lnTo>
                      <a:pt x="111" y="29"/>
                    </a:lnTo>
                    <a:lnTo>
                      <a:pt x="109" y="27"/>
                    </a:lnTo>
                    <a:lnTo>
                      <a:pt x="109" y="29"/>
                    </a:lnTo>
                    <a:lnTo>
                      <a:pt x="107" y="29"/>
                    </a:lnTo>
                    <a:lnTo>
                      <a:pt x="109" y="29"/>
                    </a:lnTo>
                    <a:lnTo>
                      <a:pt x="109" y="31"/>
                    </a:lnTo>
                    <a:lnTo>
                      <a:pt x="111" y="31"/>
                    </a:lnTo>
                    <a:lnTo>
                      <a:pt x="109" y="31"/>
                    </a:lnTo>
                    <a:lnTo>
                      <a:pt x="111" y="31"/>
                    </a:lnTo>
                    <a:lnTo>
                      <a:pt x="112" y="31"/>
                    </a:lnTo>
                    <a:lnTo>
                      <a:pt x="114" y="31"/>
                    </a:lnTo>
                    <a:lnTo>
                      <a:pt x="116" y="33"/>
                    </a:lnTo>
                    <a:lnTo>
                      <a:pt x="117" y="33"/>
                    </a:lnTo>
                    <a:lnTo>
                      <a:pt x="119" y="33"/>
                    </a:lnTo>
                    <a:lnTo>
                      <a:pt x="121" y="33"/>
                    </a:lnTo>
                    <a:lnTo>
                      <a:pt x="121" y="34"/>
                    </a:lnTo>
                    <a:lnTo>
                      <a:pt x="123" y="34"/>
                    </a:lnTo>
                    <a:lnTo>
                      <a:pt x="121" y="34"/>
                    </a:lnTo>
                    <a:lnTo>
                      <a:pt x="121" y="36"/>
                    </a:lnTo>
                    <a:lnTo>
                      <a:pt x="119" y="34"/>
                    </a:lnTo>
                    <a:lnTo>
                      <a:pt x="119" y="36"/>
                    </a:lnTo>
                    <a:lnTo>
                      <a:pt x="117" y="36"/>
                    </a:lnTo>
                    <a:lnTo>
                      <a:pt x="116" y="36"/>
                    </a:lnTo>
                    <a:lnTo>
                      <a:pt x="116" y="34"/>
                    </a:lnTo>
                    <a:lnTo>
                      <a:pt x="114" y="34"/>
                    </a:lnTo>
                    <a:lnTo>
                      <a:pt x="116" y="34"/>
                    </a:lnTo>
                    <a:lnTo>
                      <a:pt x="116" y="36"/>
                    </a:lnTo>
                    <a:lnTo>
                      <a:pt x="117" y="36"/>
                    </a:lnTo>
                    <a:lnTo>
                      <a:pt x="116" y="36"/>
                    </a:lnTo>
                    <a:lnTo>
                      <a:pt x="117" y="36"/>
                    </a:lnTo>
                    <a:lnTo>
                      <a:pt x="119" y="36"/>
                    </a:lnTo>
                    <a:lnTo>
                      <a:pt x="117" y="36"/>
                    </a:lnTo>
                    <a:lnTo>
                      <a:pt x="116" y="36"/>
                    </a:lnTo>
                    <a:lnTo>
                      <a:pt x="117" y="38"/>
                    </a:lnTo>
                    <a:lnTo>
                      <a:pt x="119" y="38"/>
                    </a:lnTo>
                    <a:lnTo>
                      <a:pt x="119" y="36"/>
                    </a:lnTo>
                    <a:lnTo>
                      <a:pt x="121" y="36"/>
                    </a:lnTo>
                    <a:lnTo>
                      <a:pt x="123" y="36"/>
                    </a:lnTo>
                    <a:lnTo>
                      <a:pt x="123" y="38"/>
                    </a:lnTo>
                    <a:lnTo>
                      <a:pt x="121" y="38"/>
                    </a:lnTo>
                    <a:lnTo>
                      <a:pt x="119" y="38"/>
                    </a:lnTo>
                    <a:lnTo>
                      <a:pt x="119" y="39"/>
                    </a:lnTo>
                    <a:lnTo>
                      <a:pt x="119" y="38"/>
                    </a:lnTo>
                    <a:lnTo>
                      <a:pt x="117" y="39"/>
                    </a:lnTo>
                    <a:lnTo>
                      <a:pt x="116" y="39"/>
                    </a:lnTo>
                    <a:lnTo>
                      <a:pt x="114" y="39"/>
                    </a:lnTo>
                    <a:lnTo>
                      <a:pt x="112" y="39"/>
                    </a:lnTo>
                    <a:lnTo>
                      <a:pt x="114" y="39"/>
                    </a:lnTo>
                    <a:lnTo>
                      <a:pt x="116" y="39"/>
                    </a:lnTo>
                    <a:lnTo>
                      <a:pt x="117" y="39"/>
                    </a:lnTo>
                    <a:lnTo>
                      <a:pt x="119" y="39"/>
                    </a:lnTo>
                    <a:lnTo>
                      <a:pt x="117" y="39"/>
                    </a:lnTo>
                    <a:lnTo>
                      <a:pt x="116" y="39"/>
                    </a:lnTo>
                    <a:lnTo>
                      <a:pt x="114" y="41"/>
                    </a:lnTo>
                    <a:lnTo>
                      <a:pt x="112" y="41"/>
                    </a:lnTo>
                    <a:lnTo>
                      <a:pt x="111" y="41"/>
                    </a:lnTo>
                    <a:lnTo>
                      <a:pt x="109" y="41"/>
                    </a:lnTo>
                    <a:lnTo>
                      <a:pt x="107" y="41"/>
                    </a:lnTo>
                    <a:lnTo>
                      <a:pt x="109" y="39"/>
                    </a:lnTo>
                    <a:lnTo>
                      <a:pt x="107" y="39"/>
                    </a:lnTo>
                    <a:lnTo>
                      <a:pt x="107" y="41"/>
                    </a:lnTo>
                    <a:lnTo>
                      <a:pt x="106" y="41"/>
                    </a:lnTo>
                    <a:lnTo>
                      <a:pt x="104" y="39"/>
                    </a:lnTo>
                    <a:lnTo>
                      <a:pt x="104" y="41"/>
                    </a:lnTo>
                    <a:lnTo>
                      <a:pt x="104" y="39"/>
                    </a:lnTo>
                    <a:lnTo>
                      <a:pt x="104" y="41"/>
                    </a:lnTo>
                    <a:lnTo>
                      <a:pt x="106" y="41"/>
                    </a:lnTo>
                    <a:lnTo>
                      <a:pt x="107" y="41"/>
                    </a:lnTo>
                    <a:lnTo>
                      <a:pt x="106" y="43"/>
                    </a:lnTo>
                    <a:lnTo>
                      <a:pt x="107" y="41"/>
                    </a:lnTo>
                    <a:lnTo>
                      <a:pt x="109" y="43"/>
                    </a:lnTo>
                    <a:lnTo>
                      <a:pt x="107" y="43"/>
                    </a:lnTo>
                    <a:lnTo>
                      <a:pt x="106" y="43"/>
                    </a:lnTo>
                    <a:lnTo>
                      <a:pt x="104" y="43"/>
                    </a:lnTo>
                    <a:lnTo>
                      <a:pt x="104" y="45"/>
                    </a:lnTo>
                    <a:lnTo>
                      <a:pt x="102" y="45"/>
                    </a:lnTo>
                    <a:lnTo>
                      <a:pt x="100" y="45"/>
                    </a:lnTo>
                    <a:lnTo>
                      <a:pt x="102" y="45"/>
                    </a:lnTo>
                    <a:lnTo>
                      <a:pt x="104" y="45"/>
                    </a:lnTo>
                    <a:lnTo>
                      <a:pt x="104" y="43"/>
                    </a:lnTo>
                    <a:lnTo>
                      <a:pt x="106" y="43"/>
                    </a:lnTo>
                    <a:lnTo>
                      <a:pt x="106" y="45"/>
                    </a:lnTo>
                    <a:lnTo>
                      <a:pt x="107" y="45"/>
                    </a:lnTo>
                    <a:lnTo>
                      <a:pt x="106" y="45"/>
                    </a:lnTo>
                    <a:lnTo>
                      <a:pt x="106" y="46"/>
                    </a:lnTo>
                    <a:lnTo>
                      <a:pt x="104" y="46"/>
                    </a:lnTo>
                    <a:lnTo>
                      <a:pt x="106" y="46"/>
                    </a:lnTo>
                    <a:lnTo>
                      <a:pt x="104" y="46"/>
                    </a:lnTo>
                    <a:lnTo>
                      <a:pt x="102" y="46"/>
                    </a:lnTo>
                    <a:lnTo>
                      <a:pt x="102" y="48"/>
                    </a:lnTo>
                    <a:lnTo>
                      <a:pt x="104" y="48"/>
                    </a:lnTo>
                    <a:lnTo>
                      <a:pt x="102" y="48"/>
                    </a:lnTo>
                    <a:lnTo>
                      <a:pt x="100" y="48"/>
                    </a:lnTo>
                    <a:lnTo>
                      <a:pt x="100" y="50"/>
                    </a:lnTo>
                    <a:lnTo>
                      <a:pt x="99" y="50"/>
                    </a:lnTo>
                    <a:lnTo>
                      <a:pt x="100" y="50"/>
                    </a:lnTo>
                    <a:lnTo>
                      <a:pt x="99" y="50"/>
                    </a:lnTo>
                    <a:lnTo>
                      <a:pt x="97" y="50"/>
                    </a:lnTo>
                    <a:lnTo>
                      <a:pt x="97" y="48"/>
                    </a:lnTo>
                    <a:lnTo>
                      <a:pt x="99" y="50"/>
                    </a:lnTo>
                    <a:lnTo>
                      <a:pt x="100" y="50"/>
                    </a:lnTo>
                    <a:lnTo>
                      <a:pt x="99" y="48"/>
                    </a:lnTo>
                    <a:lnTo>
                      <a:pt x="100" y="48"/>
                    </a:lnTo>
                    <a:lnTo>
                      <a:pt x="99" y="48"/>
                    </a:lnTo>
                    <a:lnTo>
                      <a:pt x="97" y="48"/>
                    </a:lnTo>
                    <a:lnTo>
                      <a:pt x="95" y="48"/>
                    </a:lnTo>
                    <a:lnTo>
                      <a:pt x="94" y="48"/>
                    </a:lnTo>
                    <a:lnTo>
                      <a:pt x="94" y="50"/>
                    </a:lnTo>
                    <a:lnTo>
                      <a:pt x="94" y="48"/>
                    </a:lnTo>
                    <a:lnTo>
                      <a:pt x="92" y="48"/>
                    </a:lnTo>
                    <a:lnTo>
                      <a:pt x="90" y="48"/>
                    </a:lnTo>
                    <a:lnTo>
                      <a:pt x="92" y="48"/>
                    </a:lnTo>
                    <a:lnTo>
                      <a:pt x="90" y="48"/>
                    </a:lnTo>
                    <a:lnTo>
                      <a:pt x="89" y="48"/>
                    </a:lnTo>
                    <a:lnTo>
                      <a:pt x="87" y="48"/>
                    </a:lnTo>
                    <a:lnTo>
                      <a:pt x="85" y="46"/>
                    </a:lnTo>
                    <a:lnTo>
                      <a:pt x="83" y="45"/>
                    </a:lnTo>
                    <a:lnTo>
                      <a:pt x="83" y="46"/>
                    </a:lnTo>
                    <a:lnTo>
                      <a:pt x="85" y="46"/>
                    </a:lnTo>
                    <a:lnTo>
                      <a:pt x="83" y="46"/>
                    </a:lnTo>
                    <a:lnTo>
                      <a:pt x="82" y="45"/>
                    </a:lnTo>
                    <a:lnTo>
                      <a:pt x="82" y="43"/>
                    </a:lnTo>
                    <a:lnTo>
                      <a:pt x="80" y="43"/>
                    </a:lnTo>
                    <a:lnTo>
                      <a:pt x="82" y="43"/>
                    </a:lnTo>
                    <a:lnTo>
                      <a:pt x="80" y="45"/>
                    </a:lnTo>
                    <a:lnTo>
                      <a:pt x="80" y="46"/>
                    </a:lnTo>
                    <a:lnTo>
                      <a:pt x="78" y="46"/>
                    </a:lnTo>
                    <a:lnTo>
                      <a:pt x="77" y="46"/>
                    </a:lnTo>
                    <a:lnTo>
                      <a:pt x="77" y="45"/>
                    </a:lnTo>
                    <a:lnTo>
                      <a:pt x="75" y="45"/>
                    </a:lnTo>
                    <a:lnTo>
                      <a:pt x="77" y="46"/>
                    </a:lnTo>
                    <a:lnTo>
                      <a:pt x="75" y="48"/>
                    </a:lnTo>
                    <a:lnTo>
                      <a:pt x="77" y="46"/>
                    </a:lnTo>
                    <a:lnTo>
                      <a:pt x="78" y="46"/>
                    </a:lnTo>
                    <a:lnTo>
                      <a:pt x="78" y="48"/>
                    </a:lnTo>
                    <a:lnTo>
                      <a:pt x="80" y="46"/>
                    </a:lnTo>
                    <a:lnTo>
                      <a:pt x="82" y="46"/>
                    </a:lnTo>
                    <a:lnTo>
                      <a:pt x="82" y="48"/>
                    </a:lnTo>
                    <a:lnTo>
                      <a:pt x="83" y="48"/>
                    </a:lnTo>
                    <a:lnTo>
                      <a:pt x="85" y="50"/>
                    </a:lnTo>
                    <a:lnTo>
                      <a:pt x="87" y="50"/>
                    </a:lnTo>
                    <a:lnTo>
                      <a:pt x="87" y="51"/>
                    </a:lnTo>
                    <a:lnTo>
                      <a:pt x="85" y="50"/>
                    </a:lnTo>
                    <a:lnTo>
                      <a:pt x="83" y="50"/>
                    </a:lnTo>
                    <a:lnTo>
                      <a:pt x="85" y="50"/>
                    </a:lnTo>
                    <a:lnTo>
                      <a:pt x="85" y="51"/>
                    </a:lnTo>
                    <a:lnTo>
                      <a:pt x="85" y="50"/>
                    </a:lnTo>
                    <a:lnTo>
                      <a:pt x="87" y="51"/>
                    </a:lnTo>
                    <a:lnTo>
                      <a:pt x="87" y="53"/>
                    </a:lnTo>
                    <a:lnTo>
                      <a:pt x="87" y="51"/>
                    </a:lnTo>
                    <a:lnTo>
                      <a:pt x="89" y="51"/>
                    </a:lnTo>
                    <a:lnTo>
                      <a:pt x="90" y="51"/>
                    </a:lnTo>
                    <a:lnTo>
                      <a:pt x="90" y="53"/>
                    </a:lnTo>
                    <a:lnTo>
                      <a:pt x="90" y="51"/>
                    </a:lnTo>
                    <a:lnTo>
                      <a:pt x="92" y="53"/>
                    </a:lnTo>
                    <a:lnTo>
                      <a:pt x="92" y="51"/>
                    </a:lnTo>
                    <a:lnTo>
                      <a:pt x="92" y="53"/>
                    </a:lnTo>
                    <a:lnTo>
                      <a:pt x="94" y="53"/>
                    </a:lnTo>
                    <a:lnTo>
                      <a:pt x="92" y="55"/>
                    </a:lnTo>
                    <a:lnTo>
                      <a:pt x="94" y="55"/>
                    </a:lnTo>
                    <a:lnTo>
                      <a:pt x="92" y="55"/>
                    </a:lnTo>
                    <a:lnTo>
                      <a:pt x="90" y="55"/>
                    </a:lnTo>
                    <a:lnTo>
                      <a:pt x="92" y="56"/>
                    </a:lnTo>
                    <a:lnTo>
                      <a:pt x="90" y="56"/>
                    </a:lnTo>
                    <a:lnTo>
                      <a:pt x="90" y="58"/>
                    </a:lnTo>
                    <a:lnTo>
                      <a:pt x="92" y="58"/>
                    </a:lnTo>
                    <a:lnTo>
                      <a:pt x="92" y="60"/>
                    </a:lnTo>
                    <a:lnTo>
                      <a:pt x="90" y="62"/>
                    </a:lnTo>
                    <a:lnTo>
                      <a:pt x="90" y="60"/>
                    </a:lnTo>
                    <a:lnTo>
                      <a:pt x="90" y="58"/>
                    </a:lnTo>
                    <a:lnTo>
                      <a:pt x="89" y="58"/>
                    </a:lnTo>
                    <a:lnTo>
                      <a:pt x="89" y="56"/>
                    </a:lnTo>
                    <a:lnTo>
                      <a:pt x="87" y="56"/>
                    </a:lnTo>
                    <a:lnTo>
                      <a:pt x="85" y="56"/>
                    </a:lnTo>
                    <a:lnTo>
                      <a:pt x="83" y="56"/>
                    </a:lnTo>
                    <a:lnTo>
                      <a:pt x="83" y="58"/>
                    </a:lnTo>
                    <a:lnTo>
                      <a:pt x="82" y="58"/>
                    </a:lnTo>
                    <a:lnTo>
                      <a:pt x="82" y="60"/>
                    </a:lnTo>
                    <a:lnTo>
                      <a:pt x="82" y="58"/>
                    </a:lnTo>
                    <a:lnTo>
                      <a:pt x="82" y="56"/>
                    </a:lnTo>
                    <a:lnTo>
                      <a:pt x="80" y="58"/>
                    </a:lnTo>
                    <a:lnTo>
                      <a:pt x="80" y="60"/>
                    </a:lnTo>
                    <a:lnTo>
                      <a:pt x="80" y="58"/>
                    </a:lnTo>
                    <a:lnTo>
                      <a:pt x="80" y="56"/>
                    </a:lnTo>
                    <a:lnTo>
                      <a:pt x="78" y="56"/>
                    </a:lnTo>
                    <a:lnTo>
                      <a:pt x="78" y="55"/>
                    </a:lnTo>
                    <a:lnTo>
                      <a:pt x="78" y="56"/>
                    </a:lnTo>
                    <a:lnTo>
                      <a:pt x="77" y="56"/>
                    </a:lnTo>
                    <a:lnTo>
                      <a:pt x="77" y="55"/>
                    </a:lnTo>
                    <a:lnTo>
                      <a:pt x="75" y="55"/>
                    </a:lnTo>
                    <a:lnTo>
                      <a:pt x="75" y="53"/>
                    </a:lnTo>
                    <a:lnTo>
                      <a:pt x="73" y="53"/>
                    </a:lnTo>
                    <a:lnTo>
                      <a:pt x="75" y="53"/>
                    </a:lnTo>
                    <a:lnTo>
                      <a:pt x="73" y="55"/>
                    </a:lnTo>
                    <a:lnTo>
                      <a:pt x="72" y="55"/>
                    </a:lnTo>
                    <a:lnTo>
                      <a:pt x="72" y="53"/>
                    </a:lnTo>
                    <a:lnTo>
                      <a:pt x="70" y="55"/>
                    </a:lnTo>
                    <a:lnTo>
                      <a:pt x="68" y="55"/>
                    </a:lnTo>
                    <a:lnTo>
                      <a:pt x="70" y="55"/>
                    </a:lnTo>
                    <a:lnTo>
                      <a:pt x="72" y="55"/>
                    </a:lnTo>
                    <a:lnTo>
                      <a:pt x="73" y="55"/>
                    </a:lnTo>
                    <a:lnTo>
                      <a:pt x="73" y="56"/>
                    </a:lnTo>
                    <a:lnTo>
                      <a:pt x="72" y="56"/>
                    </a:lnTo>
                    <a:lnTo>
                      <a:pt x="73" y="56"/>
                    </a:lnTo>
                    <a:lnTo>
                      <a:pt x="73" y="58"/>
                    </a:lnTo>
                    <a:lnTo>
                      <a:pt x="75" y="56"/>
                    </a:lnTo>
                    <a:lnTo>
                      <a:pt x="75" y="58"/>
                    </a:lnTo>
                    <a:lnTo>
                      <a:pt x="77" y="58"/>
                    </a:lnTo>
                    <a:lnTo>
                      <a:pt x="75" y="58"/>
                    </a:lnTo>
                    <a:lnTo>
                      <a:pt x="73" y="60"/>
                    </a:lnTo>
                    <a:lnTo>
                      <a:pt x="75" y="60"/>
                    </a:lnTo>
                    <a:lnTo>
                      <a:pt x="77" y="60"/>
                    </a:lnTo>
                    <a:lnTo>
                      <a:pt x="77" y="62"/>
                    </a:lnTo>
                    <a:lnTo>
                      <a:pt x="75" y="60"/>
                    </a:lnTo>
                    <a:lnTo>
                      <a:pt x="75" y="62"/>
                    </a:lnTo>
                    <a:lnTo>
                      <a:pt x="73" y="62"/>
                    </a:lnTo>
                    <a:lnTo>
                      <a:pt x="75" y="62"/>
                    </a:lnTo>
                    <a:lnTo>
                      <a:pt x="75" y="63"/>
                    </a:lnTo>
                    <a:lnTo>
                      <a:pt x="75" y="62"/>
                    </a:lnTo>
                    <a:lnTo>
                      <a:pt x="77" y="62"/>
                    </a:lnTo>
                    <a:lnTo>
                      <a:pt x="75" y="63"/>
                    </a:lnTo>
                    <a:lnTo>
                      <a:pt x="77" y="63"/>
                    </a:lnTo>
                    <a:lnTo>
                      <a:pt x="77" y="62"/>
                    </a:lnTo>
                    <a:lnTo>
                      <a:pt x="78" y="62"/>
                    </a:lnTo>
                    <a:lnTo>
                      <a:pt x="78" y="63"/>
                    </a:lnTo>
                    <a:lnTo>
                      <a:pt x="77" y="63"/>
                    </a:lnTo>
                    <a:lnTo>
                      <a:pt x="78" y="63"/>
                    </a:lnTo>
                    <a:lnTo>
                      <a:pt x="77" y="63"/>
                    </a:lnTo>
                    <a:lnTo>
                      <a:pt x="77" y="65"/>
                    </a:lnTo>
                    <a:lnTo>
                      <a:pt x="78" y="65"/>
                    </a:lnTo>
                    <a:lnTo>
                      <a:pt x="78" y="67"/>
                    </a:lnTo>
                    <a:lnTo>
                      <a:pt x="78" y="68"/>
                    </a:lnTo>
                    <a:lnTo>
                      <a:pt x="77" y="67"/>
                    </a:lnTo>
                    <a:lnTo>
                      <a:pt x="75" y="67"/>
                    </a:lnTo>
                    <a:lnTo>
                      <a:pt x="75" y="65"/>
                    </a:lnTo>
                    <a:lnTo>
                      <a:pt x="73" y="65"/>
                    </a:lnTo>
                    <a:lnTo>
                      <a:pt x="72" y="67"/>
                    </a:lnTo>
                    <a:lnTo>
                      <a:pt x="72" y="65"/>
                    </a:lnTo>
                    <a:lnTo>
                      <a:pt x="72" y="63"/>
                    </a:lnTo>
                    <a:lnTo>
                      <a:pt x="70" y="63"/>
                    </a:lnTo>
                    <a:lnTo>
                      <a:pt x="68" y="63"/>
                    </a:lnTo>
                    <a:lnTo>
                      <a:pt x="70" y="63"/>
                    </a:lnTo>
                    <a:lnTo>
                      <a:pt x="70" y="62"/>
                    </a:lnTo>
                    <a:lnTo>
                      <a:pt x="68" y="63"/>
                    </a:lnTo>
                    <a:lnTo>
                      <a:pt x="68" y="62"/>
                    </a:lnTo>
                    <a:lnTo>
                      <a:pt x="68" y="63"/>
                    </a:lnTo>
                    <a:lnTo>
                      <a:pt x="68" y="62"/>
                    </a:lnTo>
                    <a:lnTo>
                      <a:pt x="66" y="60"/>
                    </a:lnTo>
                    <a:lnTo>
                      <a:pt x="66" y="62"/>
                    </a:lnTo>
                    <a:lnTo>
                      <a:pt x="66" y="60"/>
                    </a:lnTo>
                    <a:lnTo>
                      <a:pt x="66" y="62"/>
                    </a:lnTo>
                    <a:lnTo>
                      <a:pt x="66" y="63"/>
                    </a:lnTo>
                    <a:lnTo>
                      <a:pt x="65" y="63"/>
                    </a:lnTo>
                    <a:lnTo>
                      <a:pt x="65" y="62"/>
                    </a:lnTo>
                    <a:lnTo>
                      <a:pt x="63" y="63"/>
                    </a:lnTo>
                    <a:lnTo>
                      <a:pt x="65" y="63"/>
                    </a:lnTo>
                    <a:lnTo>
                      <a:pt x="66" y="63"/>
                    </a:lnTo>
                    <a:lnTo>
                      <a:pt x="66" y="65"/>
                    </a:lnTo>
                    <a:lnTo>
                      <a:pt x="65" y="63"/>
                    </a:lnTo>
                    <a:lnTo>
                      <a:pt x="65" y="65"/>
                    </a:lnTo>
                    <a:lnTo>
                      <a:pt x="65" y="67"/>
                    </a:lnTo>
                    <a:lnTo>
                      <a:pt x="65" y="65"/>
                    </a:lnTo>
                    <a:lnTo>
                      <a:pt x="66" y="65"/>
                    </a:lnTo>
                    <a:lnTo>
                      <a:pt x="65" y="67"/>
                    </a:lnTo>
                    <a:lnTo>
                      <a:pt x="66" y="65"/>
                    </a:lnTo>
                    <a:lnTo>
                      <a:pt x="68" y="65"/>
                    </a:lnTo>
                    <a:lnTo>
                      <a:pt x="68" y="67"/>
                    </a:lnTo>
                    <a:lnTo>
                      <a:pt x="66" y="67"/>
                    </a:lnTo>
                    <a:lnTo>
                      <a:pt x="68" y="67"/>
                    </a:lnTo>
                    <a:lnTo>
                      <a:pt x="68" y="68"/>
                    </a:lnTo>
                    <a:lnTo>
                      <a:pt x="66" y="68"/>
                    </a:lnTo>
                    <a:lnTo>
                      <a:pt x="65" y="70"/>
                    </a:lnTo>
                    <a:lnTo>
                      <a:pt x="66" y="70"/>
                    </a:lnTo>
                    <a:lnTo>
                      <a:pt x="66" y="68"/>
                    </a:lnTo>
                    <a:lnTo>
                      <a:pt x="68" y="68"/>
                    </a:lnTo>
                    <a:lnTo>
                      <a:pt x="68" y="70"/>
                    </a:lnTo>
                    <a:lnTo>
                      <a:pt x="66" y="70"/>
                    </a:lnTo>
                    <a:lnTo>
                      <a:pt x="66" y="72"/>
                    </a:lnTo>
                    <a:lnTo>
                      <a:pt x="68" y="72"/>
                    </a:lnTo>
                    <a:lnTo>
                      <a:pt x="68" y="73"/>
                    </a:lnTo>
                    <a:lnTo>
                      <a:pt x="70" y="72"/>
                    </a:lnTo>
                    <a:lnTo>
                      <a:pt x="70" y="73"/>
                    </a:lnTo>
                    <a:lnTo>
                      <a:pt x="68" y="73"/>
                    </a:lnTo>
                    <a:lnTo>
                      <a:pt x="66" y="73"/>
                    </a:lnTo>
                    <a:lnTo>
                      <a:pt x="66" y="72"/>
                    </a:lnTo>
                    <a:lnTo>
                      <a:pt x="65" y="72"/>
                    </a:lnTo>
                    <a:lnTo>
                      <a:pt x="65" y="70"/>
                    </a:lnTo>
                    <a:lnTo>
                      <a:pt x="63" y="70"/>
                    </a:lnTo>
                    <a:lnTo>
                      <a:pt x="63" y="72"/>
                    </a:lnTo>
                    <a:lnTo>
                      <a:pt x="63" y="70"/>
                    </a:lnTo>
                    <a:lnTo>
                      <a:pt x="63" y="68"/>
                    </a:lnTo>
                    <a:lnTo>
                      <a:pt x="63" y="67"/>
                    </a:lnTo>
                    <a:lnTo>
                      <a:pt x="61" y="68"/>
                    </a:lnTo>
                    <a:lnTo>
                      <a:pt x="60" y="68"/>
                    </a:lnTo>
                    <a:lnTo>
                      <a:pt x="60" y="67"/>
                    </a:lnTo>
                    <a:lnTo>
                      <a:pt x="61" y="65"/>
                    </a:lnTo>
                    <a:lnTo>
                      <a:pt x="60" y="65"/>
                    </a:lnTo>
                    <a:lnTo>
                      <a:pt x="58" y="65"/>
                    </a:lnTo>
                    <a:lnTo>
                      <a:pt x="58" y="63"/>
                    </a:lnTo>
                    <a:lnTo>
                      <a:pt x="56" y="62"/>
                    </a:lnTo>
                    <a:lnTo>
                      <a:pt x="55" y="62"/>
                    </a:lnTo>
                    <a:lnTo>
                      <a:pt x="56" y="60"/>
                    </a:lnTo>
                    <a:lnTo>
                      <a:pt x="55" y="60"/>
                    </a:lnTo>
                    <a:lnTo>
                      <a:pt x="56" y="60"/>
                    </a:lnTo>
                    <a:lnTo>
                      <a:pt x="58" y="60"/>
                    </a:lnTo>
                    <a:lnTo>
                      <a:pt x="58" y="62"/>
                    </a:lnTo>
                    <a:lnTo>
                      <a:pt x="60" y="60"/>
                    </a:lnTo>
                    <a:lnTo>
                      <a:pt x="58" y="60"/>
                    </a:lnTo>
                    <a:lnTo>
                      <a:pt x="58" y="58"/>
                    </a:lnTo>
                    <a:lnTo>
                      <a:pt x="60" y="60"/>
                    </a:lnTo>
                    <a:lnTo>
                      <a:pt x="60" y="58"/>
                    </a:lnTo>
                    <a:lnTo>
                      <a:pt x="61" y="58"/>
                    </a:lnTo>
                    <a:lnTo>
                      <a:pt x="60" y="56"/>
                    </a:lnTo>
                    <a:lnTo>
                      <a:pt x="58" y="56"/>
                    </a:lnTo>
                    <a:lnTo>
                      <a:pt x="60" y="55"/>
                    </a:lnTo>
                    <a:lnTo>
                      <a:pt x="58" y="55"/>
                    </a:lnTo>
                    <a:lnTo>
                      <a:pt x="60" y="53"/>
                    </a:lnTo>
                    <a:lnTo>
                      <a:pt x="60" y="55"/>
                    </a:lnTo>
                    <a:lnTo>
                      <a:pt x="61" y="55"/>
                    </a:lnTo>
                    <a:lnTo>
                      <a:pt x="60" y="53"/>
                    </a:lnTo>
                    <a:lnTo>
                      <a:pt x="58" y="53"/>
                    </a:lnTo>
                    <a:lnTo>
                      <a:pt x="60" y="53"/>
                    </a:lnTo>
                    <a:lnTo>
                      <a:pt x="61" y="53"/>
                    </a:lnTo>
                    <a:lnTo>
                      <a:pt x="61" y="51"/>
                    </a:lnTo>
                    <a:lnTo>
                      <a:pt x="61" y="53"/>
                    </a:lnTo>
                    <a:lnTo>
                      <a:pt x="61" y="51"/>
                    </a:lnTo>
                    <a:lnTo>
                      <a:pt x="60" y="51"/>
                    </a:lnTo>
                    <a:lnTo>
                      <a:pt x="58" y="51"/>
                    </a:lnTo>
                    <a:lnTo>
                      <a:pt x="60" y="51"/>
                    </a:lnTo>
                    <a:lnTo>
                      <a:pt x="60" y="50"/>
                    </a:lnTo>
                    <a:lnTo>
                      <a:pt x="60" y="48"/>
                    </a:lnTo>
                    <a:lnTo>
                      <a:pt x="60" y="50"/>
                    </a:lnTo>
                    <a:lnTo>
                      <a:pt x="61" y="50"/>
                    </a:lnTo>
                    <a:lnTo>
                      <a:pt x="61" y="51"/>
                    </a:lnTo>
                    <a:lnTo>
                      <a:pt x="63" y="50"/>
                    </a:lnTo>
                    <a:lnTo>
                      <a:pt x="61" y="50"/>
                    </a:lnTo>
                    <a:lnTo>
                      <a:pt x="61" y="48"/>
                    </a:lnTo>
                    <a:lnTo>
                      <a:pt x="61" y="46"/>
                    </a:lnTo>
                    <a:lnTo>
                      <a:pt x="61" y="48"/>
                    </a:lnTo>
                    <a:lnTo>
                      <a:pt x="63" y="48"/>
                    </a:lnTo>
                    <a:lnTo>
                      <a:pt x="65" y="48"/>
                    </a:lnTo>
                    <a:lnTo>
                      <a:pt x="63" y="48"/>
                    </a:lnTo>
                    <a:lnTo>
                      <a:pt x="65" y="46"/>
                    </a:lnTo>
                    <a:lnTo>
                      <a:pt x="63" y="46"/>
                    </a:lnTo>
                    <a:lnTo>
                      <a:pt x="61" y="46"/>
                    </a:lnTo>
                    <a:lnTo>
                      <a:pt x="63" y="45"/>
                    </a:lnTo>
                    <a:lnTo>
                      <a:pt x="65" y="45"/>
                    </a:lnTo>
                    <a:lnTo>
                      <a:pt x="65" y="46"/>
                    </a:lnTo>
                    <a:lnTo>
                      <a:pt x="65" y="45"/>
                    </a:lnTo>
                    <a:lnTo>
                      <a:pt x="66" y="43"/>
                    </a:lnTo>
                    <a:lnTo>
                      <a:pt x="65" y="45"/>
                    </a:lnTo>
                    <a:lnTo>
                      <a:pt x="66" y="45"/>
                    </a:lnTo>
                    <a:lnTo>
                      <a:pt x="66" y="46"/>
                    </a:lnTo>
                    <a:lnTo>
                      <a:pt x="66" y="45"/>
                    </a:lnTo>
                    <a:lnTo>
                      <a:pt x="68" y="45"/>
                    </a:lnTo>
                    <a:lnTo>
                      <a:pt x="68" y="43"/>
                    </a:lnTo>
                    <a:lnTo>
                      <a:pt x="70" y="43"/>
                    </a:lnTo>
                    <a:lnTo>
                      <a:pt x="70" y="41"/>
                    </a:lnTo>
                    <a:lnTo>
                      <a:pt x="70" y="39"/>
                    </a:lnTo>
                    <a:lnTo>
                      <a:pt x="72" y="41"/>
                    </a:lnTo>
                    <a:lnTo>
                      <a:pt x="72" y="39"/>
                    </a:lnTo>
                    <a:lnTo>
                      <a:pt x="72" y="38"/>
                    </a:lnTo>
                    <a:lnTo>
                      <a:pt x="72" y="39"/>
                    </a:lnTo>
                    <a:lnTo>
                      <a:pt x="72" y="41"/>
                    </a:lnTo>
                    <a:lnTo>
                      <a:pt x="72" y="39"/>
                    </a:lnTo>
                    <a:lnTo>
                      <a:pt x="73" y="39"/>
                    </a:lnTo>
                    <a:lnTo>
                      <a:pt x="75" y="38"/>
                    </a:lnTo>
                    <a:lnTo>
                      <a:pt x="77" y="38"/>
                    </a:lnTo>
                    <a:lnTo>
                      <a:pt x="78" y="38"/>
                    </a:lnTo>
                    <a:lnTo>
                      <a:pt x="78" y="39"/>
                    </a:lnTo>
                    <a:lnTo>
                      <a:pt x="78" y="41"/>
                    </a:lnTo>
                    <a:lnTo>
                      <a:pt x="77" y="43"/>
                    </a:lnTo>
                    <a:lnTo>
                      <a:pt x="78" y="43"/>
                    </a:lnTo>
                    <a:lnTo>
                      <a:pt x="78" y="45"/>
                    </a:lnTo>
                    <a:lnTo>
                      <a:pt x="80" y="43"/>
                    </a:lnTo>
                    <a:lnTo>
                      <a:pt x="82" y="41"/>
                    </a:lnTo>
                    <a:lnTo>
                      <a:pt x="80" y="41"/>
                    </a:lnTo>
                    <a:lnTo>
                      <a:pt x="80" y="43"/>
                    </a:lnTo>
                    <a:lnTo>
                      <a:pt x="80" y="41"/>
                    </a:lnTo>
                    <a:lnTo>
                      <a:pt x="80" y="39"/>
                    </a:lnTo>
                    <a:lnTo>
                      <a:pt x="80" y="38"/>
                    </a:lnTo>
                    <a:lnTo>
                      <a:pt x="78" y="38"/>
                    </a:lnTo>
                    <a:lnTo>
                      <a:pt x="78" y="36"/>
                    </a:lnTo>
                    <a:lnTo>
                      <a:pt x="80" y="36"/>
                    </a:lnTo>
                    <a:lnTo>
                      <a:pt x="78" y="36"/>
                    </a:lnTo>
                    <a:lnTo>
                      <a:pt x="78" y="34"/>
                    </a:lnTo>
                    <a:lnTo>
                      <a:pt x="80" y="36"/>
                    </a:lnTo>
                    <a:lnTo>
                      <a:pt x="78" y="34"/>
                    </a:lnTo>
                    <a:lnTo>
                      <a:pt x="77" y="34"/>
                    </a:lnTo>
                    <a:lnTo>
                      <a:pt x="77" y="33"/>
                    </a:lnTo>
                    <a:lnTo>
                      <a:pt x="75" y="33"/>
                    </a:lnTo>
                    <a:lnTo>
                      <a:pt x="73" y="33"/>
                    </a:lnTo>
                    <a:lnTo>
                      <a:pt x="73" y="31"/>
                    </a:lnTo>
                    <a:lnTo>
                      <a:pt x="75" y="31"/>
                    </a:lnTo>
                    <a:lnTo>
                      <a:pt x="75" y="29"/>
                    </a:lnTo>
                    <a:lnTo>
                      <a:pt x="75" y="27"/>
                    </a:lnTo>
                    <a:lnTo>
                      <a:pt x="75" y="26"/>
                    </a:lnTo>
                    <a:lnTo>
                      <a:pt x="75" y="27"/>
                    </a:lnTo>
                    <a:lnTo>
                      <a:pt x="77" y="27"/>
                    </a:lnTo>
                    <a:lnTo>
                      <a:pt x="77" y="29"/>
                    </a:lnTo>
                    <a:lnTo>
                      <a:pt x="77" y="31"/>
                    </a:lnTo>
                    <a:lnTo>
                      <a:pt x="78" y="31"/>
                    </a:lnTo>
                    <a:lnTo>
                      <a:pt x="78" y="33"/>
                    </a:lnTo>
                    <a:lnTo>
                      <a:pt x="78" y="31"/>
                    </a:lnTo>
                    <a:lnTo>
                      <a:pt x="78" y="29"/>
                    </a:lnTo>
                    <a:lnTo>
                      <a:pt x="77" y="27"/>
                    </a:lnTo>
                    <a:lnTo>
                      <a:pt x="78" y="27"/>
                    </a:lnTo>
                    <a:lnTo>
                      <a:pt x="80" y="27"/>
                    </a:lnTo>
                    <a:lnTo>
                      <a:pt x="82" y="27"/>
                    </a:lnTo>
                    <a:lnTo>
                      <a:pt x="82" y="29"/>
                    </a:lnTo>
                    <a:lnTo>
                      <a:pt x="82" y="27"/>
                    </a:lnTo>
                    <a:lnTo>
                      <a:pt x="83" y="27"/>
                    </a:lnTo>
                    <a:lnTo>
                      <a:pt x="85" y="27"/>
                    </a:lnTo>
                    <a:lnTo>
                      <a:pt x="83" y="27"/>
                    </a:lnTo>
                    <a:lnTo>
                      <a:pt x="82" y="27"/>
                    </a:lnTo>
                    <a:lnTo>
                      <a:pt x="80" y="27"/>
                    </a:lnTo>
                    <a:lnTo>
                      <a:pt x="78" y="26"/>
                    </a:lnTo>
                    <a:lnTo>
                      <a:pt x="77" y="26"/>
                    </a:lnTo>
                    <a:lnTo>
                      <a:pt x="77" y="24"/>
                    </a:lnTo>
                    <a:lnTo>
                      <a:pt x="75" y="26"/>
                    </a:lnTo>
                    <a:lnTo>
                      <a:pt x="75" y="24"/>
                    </a:lnTo>
                    <a:lnTo>
                      <a:pt x="75" y="22"/>
                    </a:lnTo>
                    <a:lnTo>
                      <a:pt x="77" y="22"/>
                    </a:lnTo>
                    <a:lnTo>
                      <a:pt x="78" y="22"/>
                    </a:lnTo>
                    <a:lnTo>
                      <a:pt x="80" y="22"/>
                    </a:lnTo>
                    <a:lnTo>
                      <a:pt x="80" y="24"/>
                    </a:lnTo>
                    <a:lnTo>
                      <a:pt x="80" y="22"/>
                    </a:lnTo>
                    <a:lnTo>
                      <a:pt x="78" y="22"/>
                    </a:lnTo>
                    <a:lnTo>
                      <a:pt x="80" y="22"/>
                    </a:lnTo>
                    <a:lnTo>
                      <a:pt x="80" y="21"/>
                    </a:lnTo>
                    <a:lnTo>
                      <a:pt x="82" y="21"/>
                    </a:lnTo>
                    <a:lnTo>
                      <a:pt x="83" y="21"/>
                    </a:lnTo>
                    <a:lnTo>
                      <a:pt x="83" y="19"/>
                    </a:lnTo>
                    <a:lnTo>
                      <a:pt x="83" y="17"/>
                    </a:lnTo>
                    <a:lnTo>
                      <a:pt x="82" y="17"/>
                    </a:lnTo>
                    <a:lnTo>
                      <a:pt x="82" y="16"/>
                    </a:lnTo>
                    <a:lnTo>
                      <a:pt x="82" y="14"/>
                    </a:lnTo>
                    <a:lnTo>
                      <a:pt x="80" y="14"/>
                    </a:lnTo>
                    <a:lnTo>
                      <a:pt x="82" y="14"/>
                    </a:lnTo>
                    <a:lnTo>
                      <a:pt x="80" y="12"/>
                    </a:lnTo>
                    <a:close/>
                    <a:moveTo>
                      <a:pt x="66" y="19"/>
                    </a:moveTo>
                    <a:lnTo>
                      <a:pt x="68" y="19"/>
                    </a:lnTo>
                    <a:lnTo>
                      <a:pt x="70" y="21"/>
                    </a:lnTo>
                    <a:lnTo>
                      <a:pt x="72" y="21"/>
                    </a:lnTo>
                    <a:lnTo>
                      <a:pt x="73" y="21"/>
                    </a:lnTo>
                    <a:lnTo>
                      <a:pt x="72" y="22"/>
                    </a:lnTo>
                    <a:lnTo>
                      <a:pt x="70" y="22"/>
                    </a:lnTo>
                    <a:lnTo>
                      <a:pt x="70" y="24"/>
                    </a:lnTo>
                    <a:lnTo>
                      <a:pt x="72" y="24"/>
                    </a:lnTo>
                    <a:lnTo>
                      <a:pt x="73" y="22"/>
                    </a:lnTo>
                    <a:lnTo>
                      <a:pt x="72" y="24"/>
                    </a:lnTo>
                    <a:lnTo>
                      <a:pt x="70" y="26"/>
                    </a:lnTo>
                    <a:lnTo>
                      <a:pt x="70" y="27"/>
                    </a:lnTo>
                    <a:lnTo>
                      <a:pt x="68" y="27"/>
                    </a:lnTo>
                    <a:lnTo>
                      <a:pt x="68" y="26"/>
                    </a:lnTo>
                    <a:lnTo>
                      <a:pt x="66" y="26"/>
                    </a:lnTo>
                    <a:lnTo>
                      <a:pt x="68" y="27"/>
                    </a:lnTo>
                    <a:lnTo>
                      <a:pt x="66" y="26"/>
                    </a:lnTo>
                    <a:lnTo>
                      <a:pt x="66" y="27"/>
                    </a:lnTo>
                    <a:lnTo>
                      <a:pt x="65" y="27"/>
                    </a:lnTo>
                    <a:lnTo>
                      <a:pt x="63" y="27"/>
                    </a:lnTo>
                    <a:lnTo>
                      <a:pt x="65" y="27"/>
                    </a:lnTo>
                    <a:lnTo>
                      <a:pt x="66" y="27"/>
                    </a:lnTo>
                    <a:lnTo>
                      <a:pt x="68" y="27"/>
                    </a:lnTo>
                    <a:lnTo>
                      <a:pt x="66" y="27"/>
                    </a:lnTo>
                    <a:lnTo>
                      <a:pt x="66" y="29"/>
                    </a:lnTo>
                    <a:lnTo>
                      <a:pt x="66" y="27"/>
                    </a:lnTo>
                    <a:lnTo>
                      <a:pt x="66" y="29"/>
                    </a:lnTo>
                    <a:lnTo>
                      <a:pt x="68" y="27"/>
                    </a:lnTo>
                    <a:lnTo>
                      <a:pt x="68" y="29"/>
                    </a:lnTo>
                    <a:lnTo>
                      <a:pt x="66" y="29"/>
                    </a:lnTo>
                    <a:lnTo>
                      <a:pt x="66" y="31"/>
                    </a:lnTo>
                    <a:lnTo>
                      <a:pt x="66" y="33"/>
                    </a:lnTo>
                    <a:lnTo>
                      <a:pt x="65" y="33"/>
                    </a:lnTo>
                    <a:lnTo>
                      <a:pt x="65" y="34"/>
                    </a:lnTo>
                    <a:lnTo>
                      <a:pt x="63" y="34"/>
                    </a:lnTo>
                    <a:lnTo>
                      <a:pt x="63" y="33"/>
                    </a:lnTo>
                    <a:lnTo>
                      <a:pt x="65" y="31"/>
                    </a:lnTo>
                    <a:lnTo>
                      <a:pt x="63" y="33"/>
                    </a:lnTo>
                    <a:lnTo>
                      <a:pt x="63" y="34"/>
                    </a:lnTo>
                    <a:lnTo>
                      <a:pt x="61" y="34"/>
                    </a:lnTo>
                    <a:lnTo>
                      <a:pt x="63" y="33"/>
                    </a:lnTo>
                    <a:lnTo>
                      <a:pt x="61" y="33"/>
                    </a:lnTo>
                    <a:lnTo>
                      <a:pt x="61" y="34"/>
                    </a:lnTo>
                    <a:lnTo>
                      <a:pt x="60" y="34"/>
                    </a:lnTo>
                    <a:lnTo>
                      <a:pt x="60" y="36"/>
                    </a:lnTo>
                    <a:lnTo>
                      <a:pt x="61" y="34"/>
                    </a:lnTo>
                    <a:lnTo>
                      <a:pt x="61" y="36"/>
                    </a:lnTo>
                    <a:lnTo>
                      <a:pt x="60" y="36"/>
                    </a:lnTo>
                    <a:lnTo>
                      <a:pt x="60" y="38"/>
                    </a:lnTo>
                    <a:lnTo>
                      <a:pt x="60" y="39"/>
                    </a:lnTo>
                    <a:lnTo>
                      <a:pt x="58" y="39"/>
                    </a:lnTo>
                    <a:lnTo>
                      <a:pt x="56" y="39"/>
                    </a:lnTo>
                    <a:lnTo>
                      <a:pt x="58" y="39"/>
                    </a:lnTo>
                    <a:lnTo>
                      <a:pt x="58" y="41"/>
                    </a:lnTo>
                    <a:lnTo>
                      <a:pt x="56" y="41"/>
                    </a:lnTo>
                    <a:lnTo>
                      <a:pt x="56" y="43"/>
                    </a:lnTo>
                    <a:lnTo>
                      <a:pt x="55" y="43"/>
                    </a:lnTo>
                    <a:lnTo>
                      <a:pt x="53" y="45"/>
                    </a:lnTo>
                    <a:lnTo>
                      <a:pt x="55" y="45"/>
                    </a:lnTo>
                    <a:lnTo>
                      <a:pt x="53" y="45"/>
                    </a:lnTo>
                    <a:lnTo>
                      <a:pt x="53" y="46"/>
                    </a:lnTo>
                    <a:lnTo>
                      <a:pt x="51" y="48"/>
                    </a:lnTo>
                    <a:lnTo>
                      <a:pt x="51" y="50"/>
                    </a:lnTo>
                    <a:lnTo>
                      <a:pt x="51" y="51"/>
                    </a:lnTo>
                    <a:lnTo>
                      <a:pt x="49" y="51"/>
                    </a:lnTo>
                    <a:lnTo>
                      <a:pt x="49" y="53"/>
                    </a:lnTo>
                    <a:lnTo>
                      <a:pt x="48" y="51"/>
                    </a:lnTo>
                    <a:lnTo>
                      <a:pt x="48" y="53"/>
                    </a:lnTo>
                    <a:lnTo>
                      <a:pt x="46" y="53"/>
                    </a:lnTo>
                    <a:lnTo>
                      <a:pt x="46" y="55"/>
                    </a:lnTo>
                    <a:lnTo>
                      <a:pt x="44" y="53"/>
                    </a:lnTo>
                    <a:lnTo>
                      <a:pt x="46" y="53"/>
                    </a:lnTo>
                    <a:lnTo>
                      <a:pt x="44" y="51"/>
                    </a:lnTo>
                    <a:lnTo>
                      <a:pt x="46" y="51"/>
                    </a:lnTo>
                    <a:lnTo>
                      <a:pt x="44" y="53"/>
                    </a:lnTo>
                    <a:lnTo>
                      <a:pt x="43" y="51"/>
                    </a:lnTo>
                    <a:lnTo>
                      <a:pt x="44" y="51"/>
                    </a:lnTo>
                    <a:lnTo>
                      <a:pt x="43" y="50"/>
                    </a:lnTo>
                    <a:lnTo>
                      <a:pt x="43" y="51"/>
                    </a:lnTo>
                    <a:lnTo>
                      <a:pt x="43" y="53"/>
                    </a:lnTo>
                    <a:lnTo>
                      <a:pt x="43" y="55"/>
                    </a:lnTo>
                    <a:lnTo>
                      <a:pt x="41" y="55"/>
                    </a:lnTo>
                    <a:lnTo>
                      <a:pt x="39" y="55"/>
                    </a:lnTo>
                    <a:lnTo>
                      <a:pt x="38" y="55"/>
                    </a:lnTo>
                    <a:lnTo>
                      <a:pt x="39" y="53"/>
                    </a:lnTo>
                    <a:lnTo>
                      <a:pt x="38" y="53"/>
                    </a:lnTo>
                    <a:lnTo>
                      <a:pt x="39" y="53"/>
                    </a:lnTo>
                    <a:lnTo>
                      <a:pt x="38" y="53"/>
                    </a:lnTo>
                    <a:lnTo>
                      <a:pt x="39" y="51"/>
                    </a:lnTo>
                    <a:lnTo>
                      <a:pt x="38" y="53"/>
                    </a:lnTo>
                    <a:lnTo>
                      <a:pt x="36" y="53"/>
                    </a:lnTo>
                    <a:lnTo>
                      <a:pt x="36" y="55"/>
                    </a:lnTo>
                    <a:lnTo>
                      <a:pt x="34" y="53"/>
                    </a:lnTo>
                    <a:lnTo>
                      <a:pt x="34" y="51"/>
                    </a:lnTo>
                    <a:lnTo>
                      <a:pt x="36" y="51"/>
                    </a:lnTo>
                    <a:lnTo>
                      <a:pt x="36" y="50"/>
                    </a:lnTo>
                    <a:lnTo>
                      <a:pt x="34" y="50"/>
                    </a:lnTo>
                    <a:lnTo>
                      <a:pt x="34" y="51"/>
                    </a:lnTo>
                    <a:lnTo>
                      <a:pt x="32" y="50"/>
                    </a:lnTo>
                    <a:lnTo>
                      <a:pt x="34" y="51"/>
                    </a:lnTo>
                    <a:lnTo>
                      <a:pt x="34" y="53"/>
                    </a:lnTo>
                    <a:lnTo>
                      <a:pt x="34" y="55"/>
                    </a:lnTo>
                    <a:lnTo>
                      <a:pt x="34" y="53"/>
                    </a:lnTo>
                    <a:lnTo>
                      <a:pt x="36" y="55"/>
                    </a:lnTo>
                    <a:lnTo>
                      <a:pt x="36" y="56"/>
                    </a:lnTo>
                    <a:lnTo>
                      <a:pt x="36" y="58"/>
                    </a:lnTo>
                    <a:lnTo>
                      <a:pt x="38" y="58"/>
                    </a:lnTo>
                    <a:lnTo>
                      <a:pt x="38" y="56"/>
                    </a:lnTo>
                    <a:lnTo>
                      <a:pt x="38" y="55"/>
                    </a:lnTo>
                    <a:lnTo>
                      <a:pt x="38" y="56"/>
                    </a:lnTo>
                    <a:lnTo>
                      <a:pt x="38" y="58"/>
                    </a:lnTo>
                    <a:lnTo>
                      <a:pt x="36" y="60"/>
                    </a:lnTo>
                    <a:lnTo>
                      <a:pt x="36" y="62"/>
                    </a:lnTo>
                    <a:lnTo>
                      <a:pt x="34" y="62"/>
                    </a:lnTo>
                    <a:lnTo>
                      <a:pt x="34" y="63"/>
                    </a:lnTo>
                    <a:lnTo>
                      <a:pt x="32" y="62"/>
                    </a:lnTo>
                    <a:lnTo>
                      <a:pt x="32" y="60"/>
                    </a:lnTo>
                    <a:lnTo>
                      <a:pt x="34" y="60"/>
                    </a:lnTo>
                    <a:lnTo>
                      <a:pt x="32" y="60"/>
                    </a:lnTo>
                    <a:lnTo>
                      <a:pt x="32" y="58"/>
                    </a:lnTo>
                    <a:lnTo>
                      <a:pt x="32" y="60"/>
                    </a:lnTo>
                    <a:lnTo>
                      <a:pt x="32" y="62"/>
                    </a:lnTo>
                    <a:lnTo>
                      <a:pt x="32" y="60"/>
                    </a:lnTo>
                    <a:lnTo>
                      <a:pt x="31" y="60"/>
                    </a:lnTo>
                    <a:lnTo>
                      <a:pt x="29" y="60"/>
                    </a:lnTo>
                    <a:lnTo>
                      <a:pt x="31" y="60"/>
                    </a:lnTo>
                    <a:lnTo>
                      <a:pt x="32" y="62"/>
                    </a:lnTo>
                    <a:lnTo>
                      <a:pt x="32" y="63"/>
                    </a:lnTo>
                    <a:lnTo>
                      <a:pt x="34" y="63"/>
                    </a:lnTo>
                    <a:lnTo>
                      <a:pt x="32" y="63"/>
                    </a:lnTo>
                    <a:lnTo>
                      <a:pt x="32" y="62"/>
                    </a:lnTo>
                    <a:lnTo>
                      <a:pt x="31" y="62"/>
                    </a:lnTo>
                    <a:lnTo>
                      <a:pt x="31" y="63"/>
                    </a:lnTo>
                    <a:lnTo>
                      <a:pt x="29" y="63"/>
                    </a:lnTo>
                    <a:lnTo>
                      <a:pt x="29" y="62"/>
                    </a:lnTo>
                    <a:lnTo>
                      <a:pt x="29" y="63"/>
                    </a:lnTo>
                    <a:lnTo>
                      <a:pt x="27" y="62"/>
                    </a:lnTo>
                    <a:lnTo>
                      <a:pt x="27" y="60"/>
                    </a:lnTo>
                    <a:lnTo>
                      <a:pt x="26" y="62"/>
                    </a:lnTo>
                    <a:lnTo>
                      <a:pt x="27" y="62"/>
                    </a:lnTo>
                    <a:lnTo>
                      <a:pt x="26" y="62"/>
                    </a:lnTo>
                    <a:lnTo>
                      <a:pt x="26" y="63"/>
                    </a:lnTo>
                    <a:lnTo>
                      <a:pt x="27" y="62"/>
                    </a:lnTo>
                    <a:lnTo>
                      <a:pt x="27" y="63"/>
                    </a:lnTo>
                    <a:lnTo>
                      <a:pt x="29" y="63"/>
                    </a:lnTo>
                    <a:lnTo>
                      <a:pt x="29" y="65"/>
                    </a:lnTo>
                    <a:lnTo>
                      <a:pt x="27" y="65"/>
                    </a:lnTo>
                    <a:lnTo>
                      <a:pt x="29" y="65"/>
                    </a:lnTo>
                    <a:lnTo>
                      <a:pt x="27" y="67"/>
                    </a:lnTo>
                    <a:lnTo>
                      <a:pt x="26" y="67"/>
                    </a:lnTo>
                    <a:lnTo>
                      <a:pt x="26" y="68"/>
                    </a:lnTo>
                    <a:lnTo>
                      <a:pt x="24" y="67"/>
                    </a:lnTo>
                    <a:lnTo>
                      <a:pt x="26" y="68"/>
                    </a:lnTo>
                    <a:lnTo>
                      <a:pt x="24" y="68"/>
                    </a:lnTo>
                    <a:lnTo>
                      <a:pt x="22" y="67"/>
                    </a:lnTo>
                    <a:lnTo>
                      <a:pt x="24" y="67"/>
                    </a:lnTo>
                    <a:lnTo>
                      <a:pt x="22" y="65"/>
                    </a:lnTo>
                    <a:lnTo>
                      <a:pt x="24" y="65"/>
                    </a:lnTo>
                    <a:lnTo>
                      <a:pt x="24" y="63"/>
                    </a:lnTo>
                    <a:lnTo>
                      <a:pt x="22" y="65"/>
                    </a:lnTo>
                    <a:lnTo>
                      <a:pt x="22" y="63"/>
                    </a:lnTo>
                    <a:lnTo>
                      <a:pt x="24" y="63"/>
                    </a:lnTo>
                    <a:lnTo>
                      <a:pt x="22" y="63"/>
                    </a:lnTo>
                    <a:lnTo>
                      <a:pt x="22" y="62"/>
                    </a:lnTo>
                    <a:lnTo>
                      <a:pt x="21" y="63"/>
                    </a:lnTo>
                    <a:lnTo>
                      <a:pt x="21" y="62"/>
                    </a:lnTo>
                    <a:lnTo>
                      <a:pt x="22" y="62"/>
                    </a:lnTo>
                    <a:lnTo>
                      <a:pt x="24" y="62"/>
                    </a:lnTo>
                    <a:lnTo>
                      <a:pt x="22" y="62"/>
                    </a:lnTo>
                    <a:lnTo>
                      <a:pt x="22" y="60"/>
                    </a:lnTo>
                    <a:lnTo>
                      <a:pt x="21" y="60"/>
                    </a:lnTo>
                    <a:lnTo>
                      <a:pt x="21" y="62"/>
                    </a:lnTo>
                    <a:lnTo>
                      <a:pt x="21" y="60"/>
                    </a:lnTo>
                    <a:lnTo>
                      <a:pt x="19" y="60"/>
                    </a:lnTo>
                    <a:lnTo>
                      <a:pt x="17" y="60"/>
                    </a:lnTo>
                    <a:lnTo>
                      <a:pt x="17" y="62"/>
                    </a:lnTo>
                    <a:lnTo>
                      <a:pt x="19" y="62"/>
                    </a:lnTo>
                    <a:lnTo>
                      <a:pt x="19" y="63"/>
                    </a:lnTo>
                    <a:lnTo>
                      <a:pt x="21" y="63"/>
                    </a:lnTo>
                    <a:lnTo>
                      <a:pt x="22" y="63"/>
                    </a:lnTo>
                    <a:lnTo>
                      <a:pt x="22" y="65"/>
                    </a:lnTo>
                    <a:lnTo>
                      <a:pt x="21" y="63"/>
                    </a:lnTo>
                    <a:lnTo>
                      <a:pt x="21" y="65"/>
                    </a:lnTo>
                    <a:lnTo>
                      <a:pt x="21" y="63"/>
                    </a:lnTo>
                    <a:lnTo>
                      <a:pt x="19" y="65"/>
                    </a:lnTo>
                    <a:lnTo>
                      <a:pt x="17" y="63"/>
                    </a:lnTo>
                    <a:lnTo>
                      <a:pt x="19" y="62"/>
                    </a:lnTo>
                    <a:lnTo>
                      <a:pt x="17" y="62"/>
                    </a:lnTo>
                    <a:lnTo>
                      <a:pt x="15" y="60"/>
                    </a:lnTo>
                    <a:lnTo>
                      <a:pt x="14" y="60"/>
                    </a:lnTo>
                    <a:lnTo>
                      <a:pt x="14" y="58"/>
                    </a:lnTo>
                    <a:lnTo>
                      <a:pt x="12" y="58"/>
                    </a:lnTo>
                    <a:lnTo>
                      <a:pt x="12" y="56"/>
                    </a:lnTo>
                    <a:lnTo>
                      <a:pt x="10" y="56"/>
                    </a:lnTo>
                    <a:lnTo>
                      <a:pt x="12" y="58"/>
                    </a:lnTo>
                    <a:lnTo>
                      <a:pt x="10" y="58"/>
                    </a:lnTo>
                    <a:lnTo>
                      <a:pt x="10" y="56"/>
                    </a:lnTo>
                    <a:lnTo>
                      <a:pt x="10" y="55"/>
                    </a:lnTo>
                    <a:lnTo>
                      <a:pt x="9" y="55"/>
                    </a:lnTo>
                    <a:lnTo>
                      <a:pt x="10" y="55"/>
                    </a:lnTo>
                    <a:lnTo>
                      <a:pt x="12" y="55"/>
                    </a:lnTo>
                    <a:lnTo>
                      <a:pt x="12" y="56"/>
                    </a:lnTo>
                    <a:lnTo>
                      <a:pt x="14" y="56"/>
                    </a:lnTo>
                    <a:lnTo>
                      <a:pt x="15" y="56"/>
                    </a:lnTo>
                    <a:lnTo>
                      <a:pt x="15" y="58"/>
                    </a:lnTo>
                    <a:lnTo>
                      <a:pt x="17" y="58"/>
                    </a:lnTo>
                    <a:lnTo>
                      <a:pt x="19" y="56"/>
                    </a:lnTo>
                    <a:lnTo>
                      <a:pt x="17" y="58"/>
                    </a:lnTo>
                    <a:lnTo>
                      <a:pt x="15" y="58"/>
                    </a:lnTo>
                    <a:lnTo>
                      <a:pt x="15" y="56"/>
                    </a:lnTo>
                    <a:lnTo>
                      <a:pt x="15" y="55"/>
                    </a:lnTo>
                    <a:lnTo>
                      <a:pt x="17" y="56"/>
                    </a:lnTo>
                    <a:lnTo>
                      <a:pt x="19" y="56"/>
                    </a:lnTo>
                    <a:lnTo>
                      <a:pt x="19" y="55"/>
                    </a:lnTo>
                    <a:lnTo>
                      <a:pt x="21" y="55"/>
                    </a:lnTo>
                    <a:lnTo>
                      <a:pt x="21" y="53"/>
                    </a:lnTo>
                    <a:lnTo>
                      <a:pt x="19" y="53"/>
                    </a:lnTo>
                    <a:lnTo>
                      <a:pt x="17" y="55"/>
                    </a:lnTo>
                    <a:lnTo>
                      <a:pt x="17" y="53"/>
                    </a:lnTo>
                    <a:lnTo>
                      <a:pt x="17" y="51"/>
                    </a:lnTo>
                    <a:lnTo>
                      <a:pt x="19" y="51"/>
                    </a:lnTo>
                    <a:lnTo>
                      <a:pt x="21" y="51"/>
                    </a:lnTo>
                    <a:lnTo>
                      <a:pt x="21" y="53"/>
                    </a:lnTo>
                    <a:lnTo>
                      <a:pt x="21" y="51"/>
                    </a:lnTo>
                    <a:lnTo>
                      <a:pt x="22" y="51"/>
                    </a:lnTo>
                    <a:lnTo>
                      <a:pt x="21" y="53"/>
                    </a:lnTo>
                    <a:lnTo>
                      <a:pt x="22" y="53"/>
                    </a:lnTo>
                    <a:lnTo>
                      <a:pt x="21" y="55"/>
                    </a:lnTo>
                    <a:lnTo>
                      <a:pt x="22" y="55"/>
                    </a:lnTo>
                    <a:lnTo>
                      <a:pt x="22" y="53"/>
                    </a:lnTo>
                    <a:lnTo>
                      <a:pt x="22" y="55"/>
                    </a:lnTo>
                    <a:lnTo>
                      <a:pt x="22" y="56"/>
                    </a:lnTo>
                    <a:lnTo>
                      <a:pt x="24" y="56"/>
                    </a:lnTo>
                    <a:lnTo>
                      <a:pt x="22" y="56"/>
                    </a:lnTo>
                    <a:lnTo>
                      <a:pt x="24" y="55"/>
                    </a:lnTo>
                    <a:lnTo>
                      <a:pt x="22" y="55"/>
                    </a:lnTo>
                    <a:lnTo>
                      <a:pt x="24" y="55"/>
                    </a:lnTo>
                    <a:lnTo>
                      <a:pt x="24" y="53"/>
                    </a:lnTo>
                    <a:lnTo>
                      <a:pt x="22" y="53"/>
                    </a:lnTo>
                    <a:lnTo>
                      <a:pt x="24" y="53"/>
                    </a:lnTo>
                    <a:lnTo>
                      <a:pt x="26" y="53"/>
                    </a:lnTo>
                    <a:lnTo>
                      <a:pt x="26" y="55"/>
                    </a:lnTo>
                    <a:lnTo>
                      <a:pt x="27" y="55"/>
                    </a:lnTo>
                    <a:lnTo>
                      <a:pt x="26" y="55"/>
                    </a:lnTo>
                    <a:lnTo>
                      <a:pt x="26" y="53"/>
                    </a:lnTo>
                    <a:lnTo>
                      <a:pt x="27" y="55"/>
                    </a:lnTo>
                    <a:lnTo>
                      <a:pt x="29" y="55"/>
                    </a:lnTo>
                    <a:lnTo>
                      <a:pt x="27" y="55"/>
                    </a:lnTo>
                    <a:lnTo>
                      <a:pt x="27" y="53"/>
                    </a:lnTo>
                    <a:lnTo>
                      <a:pt x="29" y="53"/>
                    </a:lnTo>
                    <a:lnTo>
                      <a:pt x="31" y="53"/>
                    </a:lnTo>
                    <a:lnTo>
                      <a:pt x="31" y="51"/>
                    </a:lnTo>
                    <a:lnTo>
                      <a:pt x="32" y="51"/>
                    </a:lnTo>
                    <a:lnTo>
                      <a:pt x="32" y="50"/>
                    </a:lnTo>
                    <a:lnTo>
                      <a:pt x="31" y="50"/>
                    </a:lnTo>
                    <a:lnTo>
                      <a:pt x="31" y="51"/>
                    </a:lnTo>
                    <a:lnTo>
                      <a:pt x="29" y="51"/>
                    </a:lnTo>
                    <a:lnTo>
                      <a:pt x="27" y="51"/>
                    </a:lnTo>
                    <a:lnTo>
                      <a:pt x="27" y="50"/>
                    </a:lnTo>
                    <a:lnTo>
                      <a:pt x="26" y="50"/>
                    </a:lnTo>
                    <a:lnTo>
                      <a:pt x="24" y="50"/>
                    </a:lnTo>
                    <a:lnTo>
                      <a:pt x="26" y="50"/>
                    </a:lnTo>
                    <a:lnTo>
                      <a:pt x="27" y="50"/>
                    </a:lnTo>
                    <a:lnTo>
                      <a:pt x="27" y="51"/>
                    </a:lnTo>
                    <a:lnTo>
                      <a:pt x="27" y="50"/>
                    </a:lnTo>
                    <a:lnTo>
                      <a:pt x="29" y="50"/>
                    </a:lnTo>
                    <a:lnTo>
                      <a:pt x="29" y="48"/>
                    </a:lnTo>
                    <a:lnTo>
                      <a:pt x="31" y="48"/>
                    </a:lnTo>
                    <a:lnTo>
                      <a:pt x="31" y="46"/>
                    </a:lnTo>
                    <a:lnTo>
                      <a:pt x="29" y="46"/>
                    </a:lnTo>
                    <a:lnTo>
                      <a:pt x="31" y="46"/>
                    </a:lnTo>
                    <a:lnTo>
                      <a:pt x="31" y="45"/>
                    </a:lnTo>
                    <a:lnTo>
                      <a:pt x="29" y="45"/>
                    </a:lnTo>
                    <a:lnTo>
                      <a:pt x="31" y="45"/>
                    </a:lnTo>
                    <a:lnTo>
                      <a:pt x="29" y="43"/>
                    </a:lnTo>
                    <a:lnTo>
                      <a:pt x="31" y="43"/>
                    </a:lnTo>
                    <a:lnTo>
                      <a:pt x="31" y="41"/>
                    </a:lnTo>
                    <a:lnTo>
                      <a:pt x="32" y="41"/>
                    </a:lnTo>
                    <a:lnTo>
                      <a:pt x="31" y="43"/>
                    </a:lnTo>
                    <a:lnTo>
                      <a:pt x="32" y="41"/>
                    </a:lnTo>
                    <a:lnTo>
                      <a:pt x="32" y="43"/>
                    </a:lnTo>
                    <a:lnTo>
                      <a:pt x="32" y="45"/>
                    </a:lnTo>
                    <a:lnTo>
                      <a:pt x="32" y="43"/>
                    </a:lnTo>
                    <a:lnTo>
                      <a:pt x="34" y="45"/>
                    </a:lnTo>
                    <a:lnTo>
                      <a:pt x="32" y="45"/>
                    </a:lnTo>
                    <a:lnTo>
                      <a:pt x="32" y="46"/>
                    </a:lnTo>
                    <a:lnTo>
                      <a:pt x="34" y="46"/>
                    </a:lnTo>
                    <a:lnTo>
                      <a:pt x="34" y="48"/>
                    </a:lnTo>
                    <a:lnTo>
                      <a:pt x="34" y="46"/>
                    </a:lnTo>
                    <a:lnTo>
                      <a:pt x="34" y="45"/>
                    </a:lnTo>
                    <a:lnTo>
                      <a:pt x="36" y="45"/>
                    </a:lnTo>
                    <a:lnTo>
                      <a:pt x="34" y="43"/>
                    </a:lnTo>
                    <a:lnTo>
                      <a:pt x="36" y="43"/>
                    </a:lnTo>
                    <a:lnTo>
                      <a:pt x="36" y="41"/>
                    </a:lnTo>
                    <a:lnTo>
                      <a:pt x="34" y="41"/>
                    </a:lnTo>
                    <a:lnTo>
                      <a:pt x="36" y="41"/>
                    </a:lnTo>
                    <a:lnTo>
                      <a:pt x="38" y="39"/>
                    </a:lnTo>
                    <a:lnTo>
                      <a:pt x="36" y="41"/>
                    </a:lnTo>
                    <a:lnTo>
                      <a:pt x="38" y="41"/>
                    </a:lnTo>
                    <a:lnTo>
                      <a:pt x="38" y="43"/>
                    </a:lnTo>
                    <a:lnTo>
                      <a:pt x="38" y="41"/>
                    </a:lnTo>
                    <a:lnTo>
                      <a:pt x="39" y="43"/>
                    </a:lnTo>
                    <a:lnTo>
                      <a:pt x="39" y="41"/>
                    </a:lnTo>
                    <a:lnTo>
                      <a:pt x="39" y="39"/>
                    </a:lnTo>
                    <a:lnTo>
                      <a:pt x="39" y="38"/>
                    </a:lnTo>
                    <a:lnTo>
                      <a:pt x="38" y="38"/>
                    </a:lnTo>
                    <a:lnTo>
                      <a:pt x="36" y="39"/>
                    </a:lnTo>
                    <a:lnTo>
                      <a:pt x="36" y="38"/>
                    </a:lnTo>
                    <a:lnTo>
                      <a:pt x="34" y="38"/>
                    </a:lnTo>
                    <a:lnTo>
                      <a:pt x="32" y="38"/>
                    </a:lnTo>
                    <a:lnTo>
                      <a:pt x="32" y="39"/>
                    </a:lnTo>
                    <a:lnTo>
                      <a:pt x="34" y="41"/>
                    </a:lnTo>
                    <a:lnTo>
                      <a:pt x="32" y="39"/>
                    </a:lnTo>
                    <a:lnTo>
                      <a:pt x="31" y="41"/>
                    </a:lnTo>
                    <a:lnTo>
                      <a:pt x="29" y="41"/>
                    </a:lnTo>
                    <a:lnTo>
                      <a:pt x="27" y="41"/>
                    </a:lnTo>
                    <a:lnTo>
                      <a:pt x="27" y="43"/>
                    </a:lnTo>
                    <a:lnTo>
                      <a:pt x="26" y="41"/>
                    </a:lnTo>
                    <a:lnTo>
                      <a:pt x="27" y="41"/>
                    </a:lnTo>
                    <a:lnTo>
                      <a:pt x="26" y="41"/>
                    </a:lnTo>
                    <a:lnTo>
                      <a:pt x="24" y="39"/>
                    </a:lnTo>
                    <a:lnTo>
                      <a:pt x="24" y="38"/>
                    </a:lnTo>
                    <a:lnTo>
                      <a:pt x="24" y="36"/>
                    </a:lnTo>
                    <a:lnTo>
                      <a:pt x="26" y="36"/>
                    </a:lnTo>
                    <a:lnTo>
                      <a:pt x="26" y="38"/>
                    </a:lnTo>
                    <a:lnTo>
                      <a:pt x="26" y="36"/>
                    </a:lnTo>
                    <a:lnTo>
                      <a:pt x="26" y="38"/>
                    </a:lnTo>
                    <a:lnTo>
                      <a:pt x="27" y="38"/>
                    </a:lnTo>
                    <a:lnTo>
                      <a:pt x="29" y="38"/>
                    </a:lnTo>
                    <a:lnTo>
                      <a:pt x="31" y="38"/>
                    </a:lnTo>
                    <a:lnTo>
                      <a:pt x="32" y="36"/>
                    </a:lnTo>
                    <a:lnTo>
                      <a:pt x="34" y="36"/>
                    </a:lnTo>
                    <a:lnTo>
                      <a:pt x="36" y="36"/>
                    </a:lnTo>
                    <a:lnTo>
                      <a:pt x="38" y="36"/>
                    </a:lnTo>
                    <a:lnTo>
                      <a:pt x="38" y="34"/>
                    </a:lnTo>
                    <a:lnTo>
                      <a:pt x="39" y="36"/>
                    </a:lnTo>
                    <a:lnTo>
                      <a:pt x="39" y="38"/>
                    </a:lnTo>
                    <a:lnTo>
                      <a:pt x="41" y="38"/>
                    </a:lnTo>
                    <a:lnTo>
                      <a:pt x="43" y="38"/>
                    </a:lnTo>
                    <a:lnTo>
                      <a:pt x="43" y="39"/>
                    </a:lnTo>
                    <a:lnTo>
                      <a:pt x="43" y="38"/>
                    </a:lnTo>
                    <a:lnTo>
                      <a:pt x="44" y="39"/>
                    </a:lnTo>
                    <a:lnTo>
                      <a:pt x="46" y="39"/>
                    </a:lnTo>
                    <a:lnTo>
                      <a:pt x="44" y="39"/>
                    </a:lnTo>
                    <a:lnTo>
                      <a:pt x="43" y="38"/>
                    </a:lnTo>
                    <a:lnTo>
                      <a:pt x="43" y="36"/>
                    </a:lnTo>
                    <a:lnTo>
                      <a:pt x="41" y="36"/>
                    </a:lnTo>
                    <a:lnTo>
                      <a:pt x="39" y="36"/>
                    </a:lnTo>
                    <a:lnTo>
                      <a:pt x="39" y="34"/>
                    </a:lnTo>
                    <a:lnTo>
                      <a:pt x="38" y="34"/>
                    </a:lnTo>
                    <a:lnTo>
                      <a:pt x="38" y="33"/>
                    </a:lnTo>
                    <a:lnTo>
                      <a:pt x="36" y="33"/>
                    </a:lnTo>
                    <a:lnTo>
                      <a:pt x="36" y="31"/>
                    </a:lnTo>
                    <a:lnTo>
                      <a:pt x="38" y="31"/>
                    </a:lnTo>
                    <a:lnTo>
                      <a:pt x="36" y="31"/>
                    </a:lnTo>
                    <a:lnTo>
                      <a:pt x="36" y="29"/>
                    </a:lnTo>
                    <a:lnTo>
                      <a:pt x="34" y="29"/>
                    </a:lnTo>
                    <a:lnTo>
                      <a:pt x="36" y="29"/>
                    </a:lnTo>
                    <a:lnTo>
                      <a:pt x="36" y="31"/>
                    </a:lnTo>
                    <a:lnTo>
                      <a:pt x="34" y="31"/>
                    </a:lnTo>
                    <a:lnTo>
                      <a:pt x="32" y="31"/>
                    </a:lnTo>
                    <a:lnTo>
                      <a:pt x="32" y="29"/>
                    </a:lnTo>
                    <a:lnTo>
                      <a:pt x="31" y="29"/>
                    </a:lnTo>
                    <a:lnTo>
                      <a:pt x="29" y="29"/>
                    </a:lnTo>
                    <a:lnTo>
                      <a:pt x="29" y="27"/>
                    </a:lnTo>
                    <a:lnTo>
                      <a:pt x="29" y="29"/>
                    </a:lnTo>
                    <a:lnTo>
                      <a:pt x="29" y="27"/>
                    </a:lnTo>
                    <a:lnTo>
                      <a:pt x="29" y="26"/>
                    </a:lnTo>
                    <a:lnTo>
                      <a:pt x="31" y="26"/>
                    </a:lnTo>
                    <a:lnTo>
                      <a:pt x="32" y="27"/>
                    </a:lnTo>
                    <a:lnTo>
                      <a:pt x="32" y="26"/>
                    </a:lnTo>
                    <a:lnTo>
                      <a:pt x="31" y="24"/>
                    </a:lnTo>
                    <a:lnTo>
                      <a:pt x="31" y="22"/>
                    </a:lnTo>
                    <a:lnTo>
                      <a:pt x="29" y="24"/>
                    </a:lnTo>
                    <a:lnTo>
                      <a:pt x="27" y="24"/>
                    </a:lnTo>
                    <a:lnTo>
                      <a:pt x="26" y="24"/>
                    </a:lnTo>
                    <a:lnTo>
                      <a:pt x="26" y="22"/>
                    </a:lnTo>
                    <a:lnTo>
                      <a:pt x="24" y="22"/>
                    </a:lnTo>
                    <a:lnTo>
                      <a:pt x="24" y="21"/>
                    </a:lnTo>
                    <a:lnTo>
                      <a:pt x="24" y="19"/>
                    </a:lnTo>
                    <a:lnTo>
                      <a:pt x="26" y="19"/>
                    </a:lnTo>
                    <a:lnTo>
                      <a:pt x="24" y="19"/>
                    </a:lnTo>
                    <a:lnTo>
                      <a:pt x="24" y="17"/>
                    </a:lnTo>
                    <a:lnTo>
                      <a:pt x="26" y="19"/>
                    </a:lnTo>
                    <a:lnTo>
                      <a:pt x="27" y="19"/>
                    </a:lnTo>
                    <a:lnTo>
                      <a:pt x="29" y="21"/>
                    </a:lnTo>
                    <a:lnTo>
                      <a:pt x="31" y="21"/>
                    </a:lnTo>
                    <a:lnTo>
                      <a:pt x="31" y="22"/>
                    </a:lnTo>
                    <a:lnTo>
                      <a:pt x="31" y="21"/>
                    </a:lnTo>
                    <a:lnTo>
                      <a:pt x="31" y="22"/>
                    </a:lnTo>
                    <a:lnTo>
                      <a:pt x="32" y="22"/>
                    </a:lnTo>
                    <a:lnTo>
                      <a:pt x="32" y="24"/>
                    </a:lnTo>
                    <a:lnTo>
                      <a:pt x="34" y="24"/>
                    </a:lnTo>
                    <a:lnTo>
                      <a:pt x="36" y="26"/>
                    </a:lnTo>
                    <a:lnTo>
                      <a:pt x="38" y="26"/>
                    </a:lnTo>
                    <a:lnTo>
                      <a:pt x="39" y="26"/>
                    </a:lnTo>
                    <a:lnTo>
                      <a:pt x="41" y="26"/>
                    </a:lnTo>
                    <a:lnTo>
                      <a:pt x="41" y="27"/>
                    </a:lnTo>
                    <a:lnTo>
                      <a:pt x="41" y="26"/>
                    </a:lnTo>
                    <a:lnTo>
                      <a:pt x="43" y="27"/>
                    </a:lnTo>
                    <a:lnTo>
                      <a:pt x="43" y="26"/>
                    </a:lnTo>
                    <a:lnTo>
                      <a:pt x="44" y="26"/>
                    </a:lnTo>
                    <a:lnTo>
                      <a:pt x="46" y="26"/>
                    </a:lnTo>
                    <a:lnTo>
                      <a:pt x="46" y="24"/>
                    </a:lnTo>
                    <a:lnTo>
                      <a:pt x="44" y="24"/>
                    </a:lnTo>
                    <a:lnTo>
                      <a:pt x="43" y="24"/>
                    </a:lnTo>
                    <a:lnTo>
                      <a:pt x="43" y="22"/>
                    </a:lnTo>
                    <a:lnTo>
                      <a:pt x="44" y="22"/>
                    </a:lnTo>
                    <a:lnTo>
                      <a:pt x="44" y="21"/>
                    </a:lnTo>
                    <a:lnTo>
                      <a:pt x="46" y="21"/>
                    </a:lnTo>
                    <a:lnTo>
                      <a:pt x="44" y="21"/>
                    </a:lnTo>
                    <a:lnTo>
                      <a:pt x="44" y="22"/>
                    </a:lnTo>
                    <a:lnTo>
                      <a:pt x="46" y="22"/>
                    </a:lnTo>
                    <a:lnTo>
                      <a:pt x="48" y="21"/>
                    </a:lnTo>
                    <a:lnTo>
                      <a:pt x="49" y="21"/>
                    </a:lnTo>
                    <a:lnTo>
                      <a:pt x="51" y="21"/>
                    </a:lnTo>
                    <a:lnTo>
                      <a:pt x="49" y="21"/>
                    </a:lnTo>
                    <a:lnTo>
                      <a:pt x="49" y="22"/>
                    </a:lnTo>
                    <a:lnTo>
                      <a:pt x="49" y="21"/>
                    </a:lnTo>
                    <a:lnTo>
                      <a:pt x="51" y="21"/>
                    </a:lnTo>
                    <a:lnTo>
                      <a:pt x="53" y="21"/>
                    </a:lnTo>
                    <a:lnTo>
                      <a:pt x="51" y="21"/>
                    </a:lnTo>
                    <a:lnTo>
                      <a:pt x="51" y="22"/>
                    </a:lnTo>
                    <a:lnTo>
                      <a:pt x="49" y="22"/>
                    </a:lnTo>
                    <a:lnTo>
                      <a:pt x="51" y="22"/>
                    </a:lnTo>
                    <a:lnTo>
                      <a:pt x="53" y="22"/>
                    </a:lnTo>
                    <a:lnTo>
                      <a:pt x="55" y="21"/>
                    </a:lnTo>
                    <a:lnTo>
                      <a:pt x="55" y="22"/>
                    </a:lnTo>
                    <a:lnTo>
                      <a:pt x="53" y="22"/>
                    </a:lnTo>
                    <a:lnTo>
                      <a:pt x="53" y="24"/>
                    </a:lnTo>
                    <a:lnTo>
                      <a:pt x="53" y="22"/>
                    </a:lnTo>
                    <a:lnTo>
                      <a:pt x="51" y="22"/>
                    </a:lnTo>
                    <a:lnTo>
                      <a:pt x="53" y="24"/>
                    </a:lnTo>
                    <a:lnTo>
                      <a:pt x="51" y="24"/>
                    </a:lnTo>
                    <a:lnTo>
                      <a:pt x="53" y="24"/>
                    </a:lnTo>
                    <a:lnTo>
                      <a:pt x="55" y="24"/>
                    </a:lnTo>
                    <a:lnTo>
                      <a:pt x="56" y="24"/>
                    </a:lnTo>
                    <a:lnTo>
                      <a:pt x="58" y="22"/>
                    </a:lnTo>
                    <a:lnTo>
                      <a:pt x="58" y="24"/>
                    </a:lnTo>
                    <a:lnTo>
                      <a:pt x="58" y="26"/>
                    </a:lnTo>
                    <a:lnTo>
                      <a:pt x="58" y="24"/>
                    </a:lnTo>
                    <a:lnTo>
                      <a:pt x="58" y="22"/>
                    </a:lnTo>
                    <a:lnTo>
                      <a:pt x="60" y="24"/>
                    </a:lnTo>
                    <a:lnTo>
                      <a:pt x="60" y="22"/>
                    </a:lnTo>
                    <a:lnTo>
                      <a:pt x="61" y="22"/>
                    </a:lnTo>
                    <a:lnTo>
                      <a:pt x="61" y="21"/>
                    </a:lnTo>
                    <a:lnTo>
                      <a:pt x="63" y="21"/>
                    </a:lnTo>
                    <a:lnTo>
                      <a:pt x="63" y="22"/>
                    </a:lnTo>
                    <a:lnTo>
                      <a:pt x="61" y="22"/>
                    </a:lnTo>
                    <a:lnTo>
                      <a:pt x="61" y="24"/>
                    </a:lnTo>
                    <a:lnTo>
                      <a:pt x="61" y="22"/>
                    </a:lnTo>
                    <a:lnTo>
                      <a:pt x="61" y="24"/>
                    </a:lnTo>
                    <a:lnTo>
                      <a:pt x="60" y="24"/>
                    </a:lnTo>
                    <a:lnTo>
                      <a:pt x="61" y="24"/>
                    </a:lnTo>
                    <a:lnTo>
                      <a:pt x="61" y="26"/>
                    </a:lnTo>
                    <a:lnTo>
                      <a:pt x="61" y="24"/>
                    </a:lnTo>
                    <a:lnTo>
                      <a:pt x="63" y="24"/>
                    </a:lnTo>
                    <a:lnTo>
                      <a:pt x="65" y="24"/>
                    </a:lnTo>
                    <a:lnTo>
                      <a:pt x="66" y="22"/>
                    </a:lnTo>
                    <a:lnTo>
                      <a:pt x="66" y="24"/>
                    </a:lnTo>
                    <a:lnTo>
                      <a:pt x="66" y="22"/>
                    </a:lnTo>
                    <a:lnTo>
                      <a:pt x="65" y="22"/>
                    </a:lnTo>
                    <a:lnTo>
                      <a:pt x="65" y="21"/>
                    </a:lnTo>
                    <a:lnTo>
                      <a:pt x="63" y="21"/>
                    </a:lnTo>
                    <a:lnTo>
                      <a:pt x="65" y="21"/>
                    </a:lnTo>
                    <a:lnTo>
                      <a:pt x="65" y="19"/>
                    </a:lnTo>
                    <a:lnTo>
                      <a:pt x="66" y="19"/>
                    </a:lnTo>
                    <a:lnTo>
                      <a:pt x="65" y="17"/>
                    </a:lnTo>
                    <a:lnTo>
                      <a:pt x="66" y="17"/>
                    </a:lnTo>
                    <a:lnTo>
                      <a:pt x="66" y="19"/>
                    </a:lnTo>
                    <a:close/>
                    <a:moveTo>
                      <a:pt x="17" y="41"/>
                    </a:moveTo>
                    <a:lnTo>
                      <a:pt x="17" y="43"/>
                    </a:lnTo>
                    <a:lnTo>
                      <a:pt x="17" y="45"/>
                    </a:lnTo>
                    <a:lnTo>
                      <a:pt x="15" y="45"/>
                    </a:lnTo>
                    <a:lnTo>
                      <a:pt x="15" y="46"/>
                    </a:lnTo>
                    <a:lnTo>
                      <a:pt x="15" y="48"/>
                    </a:lnTo>
                    <a:lnTo>
                      <a:pt x="17" y="48"/>
                    </a:lnTo>
                    <a:lnTo>
                      <a:pt x="15" y="48"/>
                    </a:lnTo>
                    <a:lnTo>
                      <a:pt x="15" y="50"/>
                    </a:lnTo>
                    <a:lnTo>
                      <a:pt x="17" y="48"/>
                    </a:lnTo>
                    <a:lnTo>
                      <a:pt x="17" y="50"/>
                    </a:lnTo>
                    <a:lnTo>
                      <a:pt x="15" y="50"/>
                    </a:lnTo>
                    <a:lnTo>
                      <a:pt x="14" y="50"/>
                    </a:lnTo>
                    <a:lnTo>
                      <a:pt x="15" y="51"/>
                    </a:lnTo>
                    <a:lnTo>
                      <a:pt x="14" y="51"/>
                    </a:lnTo>
                    <a:lnTo>
                      <a:pt x="12" y="53"/>
                    </a:lnTo>
                    <a:lnTo>
                      <a:pt x="10" y="51"/>
                    </a:lnTo>
                    <a:lnTo>
                      <a:pt x="10" y="50"/>
                    </a:lnTo>
                    <a:lnTo>
                      <a:pt x="9" y="50"/>
                    </a:lnTo>
                    <a:lnTo>
                      <a:pt x="9" y="48"/>
                    </a:lnTo>
                    <a:lnTo>
                      <a:pt x="7" y="48"/>
                    </a:lnTo>
                    <a:lnTo>
                      <a:pt x="9" y="48"/>
                    </a:lnTo>
                    <a:lnTo>
                      <a:pt x="7" y="48"/>
                    </a:lnTo>
                    <a:lnTo>
                      <a:pt x="7" y="46"/>
                    </a:lnTo>
                    <a:lnTo>
                      <a:pt x="9" y="46"/>
                    </a:lnTo>
                    <a:lnTo>
                      <a:pt x="7" y="46"/>
                    </a:lnTo>
                    <a:lnTo>
                      <a:pt x="7" y="45"/>
                    </a:lnTo>
                    <a:lnTo>
                      <a:pt x="7" y="46"/>
                    </a:lnTo>
                    <a:lnTo>
                      <a:pt x="7" y="45"/>
                    </a:lnTo>
                    <a:lnTo>
                      <a:pt x="9" y="43"/>
                    </a:lnTo>
                    <a:lnTo>
                      <a:pt x="9" y="45"/>
                    </a:lnTo>
                    <a:lnTo>
                      <a:pt x="10" y="45"/>
                    </a:lnTo>
                    <a:lnTo>
                      <a:pt x="10" y="43"/>
                    </a:lnTo>
                    <a:lnTo>
                      <a:pt x="12" y="43"/>
                    </a:lnTo>
                    <a:lnTo>
                      <a:pt x="12" y="41"/>
                    </a:lnTo>
                    <a:lnTo>
                      <a:pt x="12" y="43"/>
                    </a:lnTo>
                    <a:lnTo>
                      <a:pt x="14" y="43"/>
                    </a:lnTo>
                    <a:lnTo>
                      <a:pt x="14" y="45"/>
                    </a:lnTo>
                    <a:lnTo>
                      <a:pt x="12" y="45"/>
                    </a:lnTo>
                    <a:lnTo>
                      <a:pt x="12" y="46"/>
                    </a:lnTo>
                    <a:lnTo>
                      <a:pt x="10" y="46"/>
                    </a:lnTo>
                    <a:lnTo>
                      <a:pt x="10" y="48"/>
                    </a:lnTo>
                    <a:lnTo>
                      <a:pt x="12" y="46"/>
                    </a:lnTo>
                    <a:lnTo>
                      <a:pt x="14" y="46"/>
                    </a:lnTo>
                    <a:lnTo>
                      <a:pt x="14" y="45"/>
                    </a:lnTo>
                    <a:lnTo>
                      <a:pt x="14" y="46"/>
                    </a:lnTo>
                    <a:lnTo>
                      <a:pt x="15" y="45"/>
                    </a:lnTo>
                    <a:lnTo>
                      <a:pt x="15" y="46"/>
                    </a:lnTo>
                    <a:lnTo>
                      <a:pt x="15" y="45"/>
                    </a:lnTo>
                    <a:lnTo>
                      <a:pt x="15" y="43"/>
                    </a:lnTo>
                    <a:lnTo>
                      <a:pt x="15" y="41"/>
                    </a:lnTo>
                    <a:lnTo>
                      <a:pt x="17" y="41"/>
                    </a:lnTo>
                    <a:close/>
                    <a:moveTo>
                      <a:pt x="36" y="14"/>
                    </a:moveTo>
                    <a:lnTo>
                      <a:pt x="38" y="14"/>
                    </a:lnTo>
                    <a:lnTo>
                      <a:pt x="38" y="16"/>
                    </a:lnTo>
                    <a:lnTo>
                      <a:pt x="39" y="16"/>
                    </a:lnTo>
                    <a:lnTo>
                      <a:pt x="39" y="17"/>
                    </a:lnTo>
                    <a:lnTo>
                      <a:pt x="41" y="17"/>
                    </a:lnTo>
                    <a:lnTo>
                      <a:pt x="41" y="16"/>
                    </a:lnTo>
                    <a:lnTo>
                      <a:pt x="43" y="16"/>
                    </a:lnTo>
                    <a:lnTo>
                      <a:pt x="44" y="17"/>
                    </a:lnTo>
                    <a:lnTo>
                      <a:pt x="43" y="17"/>
                    </a:lnTo>
                    <a:lnTo>
                      <a:pt x="44" y="17"/>
                    </a:lnTo>
                    <a:lnTo>
                      <a:pt x="44" y="19"/>
                    </a:lnTo>
                    <a:lnTo>
                      <a:pt x="43" y="19"/>
                    </a:lnTo>
                    <a:lnTo>
                      <a:pt x="43" y="21"/>
                    </a:lnTo>
                    <a:lnTo>
                      <a:pt x="41" y="21"/>
                    </a:lnTo>
                    <a:lnTo>
                      <a:pt x="43" y="21"/>
                    </a:lnTo>
                    <a:lnTo>
                      <a:pt x="41" y="21"/>
                    </a:lnTo>
                    <a:lnTo>
                      <a:pt x="39" y="21"/>
                    </a:lnTo>
                    <a:lnTo>
                      <a:pt x="38" y="21"/>
                    </a:lnTo>
                    <a:lnTo>
                      <a:pt x="38" y="22"/>
                    </a:lnTo>
                    <a:lnTo>
                      <a:pt x="36" y="22"/>
                    </a:lnTo>
                    <a:lnTo>
                      <a:pt x="36" y="21"/>
                    </a:lnTo>
                    <a:lnTo>
                      <a:pt x="36" y="19"/>
                    </a:lnTo>
                    <a:lnTo>
                      <a:pt x="38" y="19"/>
                    </a:lnTo>
                    <a:lnTo>
                      <a:pt x="38" y="17"/>
                    </a:lnTo>
                    <a:lnTo>
                      <a:pt x="39" y="19"/>
                    </a:lnTo>
                    <a:lnTo>
                      <a:pt x="39" y="21"/>
                    </a:lnTo>
                    <a:lnTo>
                      <a:pt x="41" y="21"/>
                    </a:lnTo>
                    <a:lnTo>
                      <a:pt x="41" y="19"/>
                    </a:lnTo>
                    <a:lnTo>
                      <a:pt x="39" y="19"/>
                    </a:lnTo>
                    <a:lnTo>
                      <a:pt x="39" y="17"/>
                    </a:lnTo>
                    <a:lnTo>
                      <a:pt x="38" y="17"/>
                    </a:lnTo>
                    <a:lnTo>
                      <a:pt x="38" y="16"/>
                    </a:lnTo>
                    <a:lnTo>
                      <a:pt x="36" y="16"/>
                    </a:lnTo>
                    <a:lnTo>
                      <a:pt x="34" y="14"/>
                    </a:lnTo>
                    <a:lnTo>
                      <a:pt x="36" y="14"/>
                    </a:lnTo>
                    <a:close/>
                    <a:moveTo>
                      <a:pt x="55" y="14"/>
                    </a:moveTo>
                    <a:lnTo>
                      <a:pt x="56" y="14"/>
                    </a:lnTo>
                    <a:lnTo>
                      <a:pt x="58" y="14"/>
                    </a:lnTo>
                    <a:lnTo>
                      <a:pt x="60" y="14"/>
                    </a:lnTo>
                    <a:lnTo>
                      <a:pt x="60" y="16"/>
                    </a:lnTo>
                    <a:lnTo>
                      <a:pt x="61" y="16"/>
                    </a:lnTo>
                    <a:lnTo>
                      <a:pt x="61" y="14"/>
                    </a:lnTo>
                    <a:lnTo>
                      <a:pt x="61" y="16"/>
                    </a:lnTo>
                    <a:lnTo>
                      <a:pt x="63" y="14"/>
                    </a:lnTo>
                    <a:lnTo>
                      <a:pt x="63" y="16"/>
                    </a:lnTo>
                    <a:lnTo>
                      <a:pt x="65" y="16"/>
                    </a:lnTo>
                    <a:lnTo>
                      <a:pt x="65" y="17"/>
                    </a:lnTo>
                    <a:lnTo>
                      <a:pt x="63" y="17"/>
                    </a:lnTo>
                    <a:lnTo>
                      <a:pt x="63" y="16"/>
                    </a:lnTo>
                    <a:lnTo>
                      <a:pt x="63" y="17"/>
                    </a:lnTo>
                    <a:lnTo>
                      <a:pt x="65" y="19"/>
                    </a:lnTo>
                    <a:lnTo>
                      <a:pt x="63" y="17"/>
                    </a:lnTo>
                    <a:lnTo>
                      <a:pt x="61" y="19"/>
                    </a:lnTo>
                    <a:lnTo>
                      <a:pt x="61" y="17"/>
                    </a:lnTo>
                    <a:lnTo>
                      <a:pt x="61" y="19"/>
                    </a:lnTo>
                    <a:lnTo>
                      <a:pt x="60" y="17"/>
                    </a:lnTo>
                    <a:lnTo>
                      <a:pt x="58" y="16"/>
                    </a:lnTo>
                    <a:lnTo>
                      <a:pt x="56" y="16"/>
                    </a:lnTo>
                    <a:lnTo>
                      <a:pt x="55" y="16"/>
                    </a:lnTo>
                    <a:lnTo>
                      <a:pt x="53" y="16"/>
                    </a:lnTo>
                    <a:lnTo>
                      <a:pt x="53" y="14"/>
                    </a:lnTo>
                    <a:lnTo>
                      <a:pt x="51" y="14"/>
                    </a:lnTo>
                    <a:lnTo>
                      <a:pt x="53" y="14"/>
                    </a:lnTo>
                    <a:lnTo>
                      <a:pt x="55" y="12"/>
                    </a:lnTo>
                    <a:lnTo>
                      <a:pt x="55" y="14"/>
                    </a:lnTo>
                    <a:close/>
                    <a:moveTo>
                      <a:pt x="100" y="53"/>
                    </a:moveTo>
                    <a:lnTo>
                      <a:pt x="99" y="53"/>
                    </a:lnTo>
                    <a:lnTo>
                      <a:pt x="99" y="55"/>
                    </a:lnTo>
                    <a:lnTo>
                      <a:pt x="97" y="55"/>
                    </a:lnTo>
                    <a:lnTo>
                      <a:pt x="99" y="56"/>
                    </a:lnTo>
                    <a:lnTo>
                      <a:pt x="99" y="55"/>
                    </a:lnTo>
                    <a:lnTo>
                      <a:pt x="99" y="56"/>
                    </a:lnTo>
                    <a:lnTo>
                      <a:pt x="99" y="58"/>
                    </a:lnTo>
                    <a:lnTo>
                      <a:pt x="99" y="60"/>
                    </a:lnTo>
                    <a:lnTo>
                      <a:pt x="97" y="60"/>
                    </a:lnTo>
                    <a:lnTo>
                      <a:pt x="99" y="58"/>
                    </a:lnTo>
                    <a:lnTo>
                      <a:pt x="97" y="58"/>
                    </a:lnTo>
                    <a:lnTo>
                      <a:pt x="95" y="56"/>
                    </a:lnTo>
                    <a:lnTo>
                      <a:pt x="95" y="55"/>
                    </a:lnTo>
                    <a:lnTo>
                      <a:pt x="97" y="55"/>
                    </a:lnTo>
                    <a:lnTo>
                      <a:pt x="97" y="53"/>
                    </a:lnTo>
                    <a:lnTo>
                      <a:pt x="97" y="55"/>
                    </a:lnTo>
                    <a:lnTo>
                      <a:pt x="97" y="53"/>
                    </a:lnTo>
                    <a:lnTo>
                      <a:pt x="99" y="53"/>
                    </a:lnTo>
                    <a:lnTo>
                      <a:pt x="99" y="55"/>
                    </a:lnTo>
                    <a:lnTo>
                      <a:pt x="99" y="53"/>
                    </a:lnTo>
                    <a:lnTo>
                      <a:pt x="100" y="53"/>
                    </a:lnTo>
                    <a:close/>
                    <a:moveTo>
                      <a:pt x="53" y="63"/>
                    </a:moveTo>
                    <a:lnTo>
                      <a:pt x="55" y="63"/>
                    </a:lnTo>
                    <a:lnTo>
                      <a:pt x="56" y="63"/>
                    </a:lnTo>
                    <a:lnTo>
                      <a:pt x="56" y="65"/>
                    </a:lnTo>
                    <a:lnTo>
                      <a:pt x="56" y="67"/>
                    </a:lnTo>
                    <a:lnTo>
                      <a:pt x="56" y="68"/>
                    </a:lnTo>
                    <a:lnTo>
                      <a:pt x="55" y="68"/>
                    </a:lnTo>
                    <a:lnTo>
                      <a:pt x="55" y="70"/>
                    </a:lnTo>
                    <a:lnTo>
                      <a:pt x="55" y="68"/>
                    </a:lnTo>
                    <a:lnTo>
                      <a:pt x="55" y="67"/>
                    </a:lnTo>
                    <a:lnTo>
                      <a:pt x="55" y="65"/>
                    </a:lnTo>
                    <a:lnTo>
                      <a:pt x="55" y="67"/>
                    </a:lnTo>
                    <a:lnTo>
                      <a:pt x="55" y="65"/>
                    </a:lnTo>
                    <a:lnTo>
                      <a:pt x="55" y="63"/>
                    </a:lnTo>
                    <a:lnTo>
                      <a:pt x="53" y="63"/>
                    </a:lnTo>
                    <a:lnTo>
                      <a:pt x="53" y="62"/>
                    </a:lnTo>
                    <a:lnTo>
                      <a:pt x="53" y="63"/>
                    </a:lnTo>
                    <a:close/>
                    <a:moveTo>
                      <a:pt x="48" y="16"/>
                    </a:moveTo>
                    <a:lnTo>
                      <a:pt x="48" y="17"/>
                    </a:lnTo>
                    <a:lnTo>
                      <a:pt x="49" y="17"/>
                    </a:lnTo>
                    <a:lnTo>
                      <a:pt x="48" y="17"/>
                    </a:lnTo>
                    <a:lnTo>
                      <a:pt x="48" y="19"/>
                    </a:lnTo>
                    <a:lnTo>
                      <a:pt x="46" y="19"/>
                    </a:lnTo>
                    <a:lnTo>
                      <a:pt x="46" y="17"/>
                    </a:lnTo>
                    <a:lnTo>
                      <a:pt x="44" y="17"/>
                    </a:lnTo>
                    <a:lnTo>
                      <a:pt x="44" y="16"/>
                    </a:lnTo>
                    <a:lnTo>
                      <a:pt x="46" y="16"/>
                    </a:lnTo>
                    <a:lnTo>
                      <a:pt x="48" y="16"/>
                    </a:lnTo>
                    <a:close/>
                    <a:moveTo>
                      <a:pt x="5" y="45"/>
                    </a:moveTo>
                    <a:lnTo>
                      <a:pt x="4" y="45"/>
                    </a:lnTo>
                    <a:lnTo>
                      <a:pt x="4" y="46"/>
                    </a:lnTo>
                    <a:lnTo>
                      <a:pt x="5" y="46"/>
                    </a:lnTo>
                    <a:lnTo>
                      <a:pt x="4" y="48"/>
                    </a:lnTo>
                    <a:lnTo>
                      <a:pt x="4" y="46"/>
                    </a:lnTo>
                    <a:lnTo>
                      <a:pt x="2" y="46"/>
                    </a:lnTo>
                    <a:lnTo>
                      <a:pt x="2" y="45"/>
                    </a:lnTo>
                    <a:lnTo>
                      <a:pt x="0" y="45"/>
                    </a:lnTo>
                    <a:lnTo>
                      <a:pt x="2" y="45"/>
                    </a:lnTo>
                    <a:lnTo>
                      <a:pt x="2" y="43"/>
                    </a:lnTo>
                    <a:lnTo>
                      <a:pt x="2" y="45"/>
                    </a:lnTo>
                    <a:lnTo>
                      <a:pt x="4" y="45"/>
                    </a:lnTo>
                    <a:lnTo>
                      <a:pt x="4" y="43"/>
                    </a:lnTo>
                    <a:lnTo>
                      <a:pt x="5" y="43"/>
                    </a:lnTo>
                    <a:lnTo>
                      <a:pt x="5" y="45"/>
                    </a:lnTo>
                    <a:close/>
                    <a:moveTo>
                      <a:pt x="56" y="72"/>
                    </a:moveTo>
                    <a:lnTo>
                      <a:pt x="55" y="72"/>
                    </a:lnTo>
                    <a:lnTo>
                      <a:pt x="55" y="73"/>
                    </a:lnTo>
                    <a:lnTo>
                      <a:pt x="55" y="75"/>
                    </a:lnTo>
                    <a:lnTo>
                      <a:pt x="53" y="75"/>
                    </a:lnTo>
                    <a:lnTo>
                      <a:pt x="53" y="73"/>
                    </a:lnTo>
                    <a:lnTo>
                      <a:pt x="51" y="73"/>
                    </a:lnTo>
                    <a:lnTo>
                      <a:pt x="53" y="73"/>
                    </a:lnTo>
                    <a:lnTo>
                      <a:pt x="55" y="72"/>
                    </a:lnTo>
                    <a:lnTo>
                      <a:pt x="56" y="70"/>
                    </a:lnTo>
                    <a:lnTo>
                      <a:pt x="56" y="72"/>
                    </a:lnTo>
                    <a:close/>
                    <a:moveTo>
                      <a:pt x="85" y="63"/>
                    </a:moveTo>
                    <a:lnTo>
                      <a:pt x="85" y="65"/>
                    </a:lnTo>
                    <a:lnTo>
                      <a:pt x="83" y="67"/>
                    </a:lnTo>
                    <a:lnTo>
                      <a:pt x="82" y="67"/>
                    </a:lnTo>
                    <a:lnTo>
                      <a:pt x="80" y="67"/>
                    </a:lnTo>
                    <a:lnTo>
                      <a:pt x="82" y="67"/>
                    </a:lnTo>
                    <a:lnTo>
                      <a:pt x="82" y="65"/>
                    </a:lnTo>
                    <a:lnTo>
                      <a:pt x="83" y="67"/>
                    </a:lnTo>
                    <a:lnTo>
                      <a:pt x="85" y="65"/>
                    </a:lnTo>
                    <a:lnTo>
                      <a:pt x="83" y="65"/>
                    </a:lnTo>
                    <a:lnTo>
                      <a:pt x="85" y="65"/>
                    </a:lnTo>
                    <a:lnTo>
                      <a:pt x="83" y="63"/>
                    </a:lnTo>
                    <a:lnTo>
                      <a:pt x="85" y="63"/>
                    </a:lnTo>
                    <a:lnTo>
                      <a:pt x="85" y="62"/>
                    </a:lnTo>
                    <a:lnTo>
                      <a:pt x="85" y="63"/>
                    </a:lnTo>
                    <a:close/>
                    <a:moveTo>
                      <a:pt x="5" y="38"/>
                    </a:moveTo>
                    <a:lnTo>
                      <a:pt x="4" y="38"/>
                    </a:lnTo>
                    <a:lnTo>
                      <a:pt x="2" y="38"/>
                    </a:lnTo>
                    <a:lnTo>
                      <a:pt x="2" y="39"/>
                    </a:lnTo>
                    <a:lnTo>
                      <a:pt x="4" y="39"/>
                    </a:lnTo>
                    <a:lnTo>
                      <a:pt x="2" y="41"/>
                    </a:lnTo>
                    <a:lnTo>
                      <a:pt x="2" y="39"/>
                    </a:lnTo>
                    <a:lnTo>
                      <a:pt x="2" y="38"/>
                    </a:lnTo>
                    <a:lnTo>
                      <a:pt x="0" y="38"/>
                    </a:lnTo>
                    <a:lnTo>
                      <a:pt x="2" y="38"/>
                    </a:lnTo>
                    <a:lnTo>
                      <a:pt x="4" y="38"/>
                    </a:lnTo>
                    <a:lnTo>
                      <a:pt x="4" y="36"/>
                    </a:lnTo>
                    <a:lnTo>
                      <a:pt x="4" y="38"/>
                    </a:lnTo>
                    <a:lnTo>
                      <a:pt x="5" y="38"/>
                    </a:lnTo>
                    <a:close/>
                    <a:moveTo>
                      <a:pt x="55" y="17"/>
                    </a:moveTo>
                    <a:lnTo>
                      <a:pt x="55" y="19"/>
                    </a:lnTo>
                    <a:lnTo>
                      <a:pt x="56" y="19"/>
                    </a:lnTo>
                    <a:lnTo>
                      <a:pt x="58" y="19"/>
                    </a:lnTo>
                    <a:lnTo>
                      <a:pt x="56" y="19"/>
                    </a:lnTo>
                    <a:lnTo>
                      <a:pt x="55" y="19"/>
                    </a:lnTo>
                    <a:lnTo>
                      <a:pt x="55" y="21"/>
                    </a:lnTo>
                    <a:lnTo>
                      <a:pt x="53" y="19"/>
                    </a:lnTo>
                    <a:lnTo>
                      <a:pt x="55" y="19"/>
                    </a:lnTo>
                    <a:lnTo>
                      <a:pt x="53" y="19"/>
                    </a:lnTo>
                    <a:lnTo>
                      <a:pt x="51" y="19"/>
                    </a:lnTo>
                    <a:lnTo>
                      <a:pt x="53" y="19"/>
                    </a:lnTo>
                    <a:lnTo>
                      <a:pt x="53" y="17"/>
                    </a:lnTo>
                    <a:lnTo>
                      <a:pt x="55" y="19"/>
                    </a:lnTo>
                    <a:lnTo>
                      <a:pt x="53" y="17"/>
                    </a:lnTo>
                    <a:lnTo>
                      <a:pt x="55" y="17"/>
                    </a:lnTo>
                    <a:close/>
                    <a:moveTo>
                      <a:pt x="26" y="12"/>
                    </a:moveTo>
                    <a:lnTo>
                      <a:pt x="29" y="12"/>
                    </a:lnTo>
                    <a:lnTo>
                      <a:pt x="29" y="17"/>
                    </a:lnTo>
                    <a:lnTo>
                      <a:pt x="26" y="17"/>
                    </a:lnTo>
                    <a:lnTo>
                      <a:pt x="26" y="12"/>
                    </a:lnTo>
                    <a:close/>
                    <a:moveTo>
                      <a:pt x="17" y="53"/>
                    </a:moveTo>
                    <a:lnTo>
                      <a:pt x="17" y="55"/>
                    </a:lnTo>
                    <a:lnTo>
                      <a:pt x="15" y="55"/>
                    </a:lnTo>
                    <a:lnTo>
                      <a:pt x="14" y="53"/>
                    </a:lnTo>
                    <a:lnTo>
                      <a:pt x="15" y="53"/>
                    </a:lnTo>
                    <a:lnTo>
                      <a:pt x="15" y="51"/>
                    </a:lnTo>
                    <a:lnTo>
                      <a:pt x="17" y="53"/>
                    </a:lnTo>
                    <a:close/>
                    <a:moveTo>
                      <a:pt x="7" y="0"/>
                    </a:moveTo>
                    <a:lnTo>
                      <a:pt x="10" y="0"/>
                    </a:lnTo>
                    <a:lnTo>
                      <a:pt x="10" y="4"/>
                    </a:lnTo>
                    <a:lnTo>
                      <a:pt x="7" y="4"/>
                    </a:lnTo>
                    <a:lnTo>
                      <a:pt x="7" y="0"/>
                    </a:lnTo>
                    <a:close/>
                    <a:moveTo>
                      <a:pt x="58" y="41"/>
                    </a:moveTo>
                    <a:lnTo>
                      <a:pt x="61" y="41"/>
                    </a:lnTo>
                    <a:lnTo>
                      <a:pt x="61" y="43"/>
                    </a:lnTo>
                    <a:lnTo>
                      <a:pt x="58" y="43"/>
                    </a:lnTo>
                    <a:lnTo>
                      <a:pt x="58" y="41"/>
                    </a:lnTo>
                    <a:close/>
                    <a:moveTo>
                      <a:pt x="55" y="50"/>
                    </a:moveTo>
                    <a:lnTo>
                      <a:pt x="56" y="50"/>
                    </a:lnTo>
                    <a:lnTo>
                      <a:pt x="56" y="53"/>
                    </a:lnTo>
                    <a:lnTo>
                      <a:pt x="55" y="53"/>
                    </a:lnTo>
                    <a:lnTo>
                      <a:pt x="55" y="50"/>
                    </a:lnTo>
                    <a:close/>
                    <a:moveTo>
                      <a:pt x="21" y="17"/>
                    </a:moveTo>
                    <a:lnTo>
                      <a:pt x="24" y="17"/>
                    </a:lnTo>
                    <a:lnTo>
                      <a:pt x="24" y="21"/>
                    </a:lnTo>
                    <a:lnTo>
                      <a:pt x="21" y="21"/>
                    </a:lnTo>
                    <a:lnTo>
                      <a:pt x="21" y="17"/>
                    </a:lnTo>
                    <a:close/>
                    <a:moveTo>
                      <a:pt x="55" y="73"/>
                    </a:moveTo>
                    <a:lnTo>
                      <a:pt x="58" y="73"/>
                    </a:lnTo>
                    <a:lnTo>
                      <a:pt x="58" y="75"/>
                    </a:lnTo>
                    <a:lnTo>
                      <a:pt x="55" y="75"/>
                    </a:lnTo>
                    <a:lnTo>
                      <a:pt x="55" y="73"/>
                    </a:lnTo>
                    <a:close/>
                    <a:moveTo>
                      <a:pt x="78" y="79"/>
                    </a:moveTo>
                    <a:lnTo>
                      <a:pt x="77" y="77"/>
                    </a:lnTo>
                    <a:lnTo>
                      <a:pt x="77" y="79"/>
                    </a:lnTo>
                    <a:lnTo>
                      <a:pt x="75" y="79"/>
                    </a:lnTo>
                    <a:lnTo>
                      <a:pt x="75" y="77"/>
                    </a:lnTo>
                    <a:lnTo>
                      <a:pt x="77" y="77"/>
                    </a:lnTo>
                    <a:lnTo>
                      <a:pt x="78" y="79"/>
                    </a:lnTo>
                    <a:close/>
                    <a:moveTo>
                      <a:pt x="55" y="21"/>
                    </a:moveTo>
                    <a:lnTo>
                      <a:pt x="56" y="21"/>
                    </a:lnTo>
                    <a:lnTo>
                      <a:pt x="56" y="22"/>
                    </a:lnTo>
                    <a:lnTo>
                      <a:pt x="55" y="22"/>
                    </a:lnTo>
                    <a:lnTo>
                      <a:pt x="55" y="21"/>
                    </a:lnTo>
                    <a:close/>
                    <a:moveTo>
                      <a:pt x="4" y="0"/>
                    </a:moveTo>
                    <a:lnTo>
                      <a:pt x="7" y="0"/>
                    </a:lnTo>
                    <a:lnTo>
                      <a:pt x="7" y="2"/>
                    </a:lnTo>
                    <a:lnTo>
                      <a:pt x="4" y="2"/>
                    </a:lnTo>
                    <a:lnTo>
                      <a:pt x="4" y="0"/>
                    </a:lnTo>
                    <a:close/>
                    <a:moveTo>
                      <a:pt x="22" y="33"/>
                    </a:moveTo>
                    <a:lnTo>
                      <a:pt x="24" y="33"/>
                    </a:lnTo>
                    <a:lnTo>
                      <a:pt x="24" y="36"/>
                    </a:lnTo>
                    <a:lnTo>
                      <a:pt x="22" y="36"/>
                    </a:lnTo>
                    <a:lnTo>
                      <a:pt x="22" y="33"/>
                    </a:lnTo>
                    <a:close/>
                    <a:moveTo>
                      <a:pt x="19" y="31"/>
                    </a:moveTo>
                    <a:lnTo>
                      <a:pt x="21" y="31"/>
                    </a:lnTo>
                    <a:lnTo>
                      <a:pt x="19" y="31"/>
                    </a:lnTo>
                    <a:close/>
                    <a:moveTo>
                      <a:pt x="55" y="56"/>
                    </a:moveTo>
                    <a:lnTo>
                      <a:pt x="55" y="60"/>
                    </a:lnTo>
                    <a:lnTo>
                      <a:pt x="55" y="56"/>
                    </a:lnTo>
                    <a:close/>
                    <a:moveTo>
                      <a:pt x="55" y="17"/>
                    </a:moveTo>
                    <a:lnTo>
                      <a:pt x="58" y="17"/>
                    </a:lnTo>
                    <a:lnTo>
                      <a:pt x="58" y="19"/>
                    </a:lnTo>
                    <a:lnTo>
                      <a:pt x="55" y="19"/>
                    </a:lnTo>
                    <a:lnTo>
                      <a:pt x="55" y="17"/>
                    </a:lnTo>
                    <a:close/>
                    <a:moveTo>
                      <a:pt x="56" y="19"/>
                    </a:moveTo>
                    <a:lnTo>
                      <a:pt x="60" y="19"/>
                    </a:lnTo>
                    <a:lnTo>
                      <a:pt x="60" y="21"/>
                    </a:lnTo>
                    <a:lnTo>
                      <a:pt x="56" y="21"/>
                    </a:lnTo>
                    <a:lnTo>
                      <a:pt x="56" y="19"/>
                    </a:lnTo>
                    <a:close/>
                    <a:moveTo>
                      <a:pt x="49" y="12"/>
                    </a:moveTo>
                    <a:lnTo>
                      <a:pt x="51" y="12"/>
                    </a:lnTo>
                    <a:lnTo>
                      <a:pt x="51" y="14"/>
                    </a:lnTo>
                    <a:lnTo>
                      <a:pt x="49" y="14"/>
                    </a:lnTo>
                    <a:lnTo>
                      <a:pt x="49" y="12"/>
                    </a:lnTo>
                    <a:close/>
                    <a:moveTo>
                      <a:pt x="29" y="45"/>
                    </a:moveTo>
                    <a:lnTo>
                      <a:pt x="31" y="45"/>
                    </a:lnTo>
                    <a:lnTo>
                      <a:pt x="31" y="46"/>
                    </a:lnTo>
                    <a:lnTo>
                      <a:pt x="29" y="46"/>
                    </a:lnTo>
                    <a:lnTo>
                      <a:pt x="29" y="45"/>
                    </a:lnTo>
                    <a:close/>
                    <a:moveTo>
                      <a:pt x="58" y="21"/>
                    </a:moveTo>
                    <a:lnTo>
                      <a:pt x="60" y="21"/>
                    </a:lnTo>
                    <a:lnTo>
                      <a:pt x="60" y="22"/>
                    </a:lnTo>
                    <a:lnTo>
                      <a:pt x="58" y="22"/>
                    </a:lnTo>
                    <a:lnTo>
                      <a:pt x="58" y="21"/>
                    </a:lnTo>
                    <a:close/>
                    <a:moveTo>
                      <a:pt x="5" y="46"/>
                    </a:moveTo>
                    <a:lnTo>
                      <a:pt x="7" y="46"/>
                    </a:lnTo>
                    <a:lnTo>
                      <a:pt x="7" y="50"/>
                    </a:lnTo>
                    <a:lnTo>
                      <a:pt x="5" y="50"/>
                    </a:lnTo>
                    <a:lnTo>
                      <a:pt x="5" y="46"/>
                    </a:lnTo>
                    <a:close/>
                    <a:moveTo>
                      <a:pt x="14" y="10"/>
                    </a:moveTo>
                    <a:lnTo>
                      <a:pt x="17" y="10"/>
                    </a:lnTo>
                    <a:lnTo>
                      <a:pt x="14" y="10"/>
                    </a:lnTo>
                    <a:close/>
                    <a:moveTo>
                      <a:pt x="92" y="60"/>
                    </a:moveTo>
                    <a:lnTo>
                      <a:pt x="94" y="60"/>
                    </a:lnTo>
                    <a:lnTo>
                      <a:pt x="94" y="62"/>
                    </a:lnTo>
                    <a:lnTo>
                      <a:pt x="92" y="62"/>
                    </a:lnTo>
                    <a:lnTo>
                      <a:pt x="92" y="60"/>
                    </a:lnTo>
                    <a:close/>
                    <a:moveTo>
                      <a:pt x="95" y="53"/>
                    </a:moveTo>
                    <a:lnTo>
                      <a:pt x="99" y="53"/>
                    </a:lnTo>
                    <a:lnTo>
                      <a:pt x="95" y="53"/>
                    </a:lnTo>
                    <a:close/>
                    <a:moveTo>
                      <a:pt x="100" y="53"/>
                    </a:moveTo>
                    <a:lnTo>
                      <a:pt x="102" y="53"/>
                    </a:lnTo>
                    <a:lnTo>
                      <a:pt x="102" y="55"/>
                    </a:lnTo>
                    <a:lnTo>
                      <a:pt x="100" y="55"/>
                    </a:lnTo>
                    <a:lnTo>
                      <a:pt x="100" y="53"/>
                    </a:lnTo>
                    <a:close/>
                    <a:moveTo>
                      <a:pt x="111" y="29"/>
                    </a:moveTo>
                    <a:lnTo>
                      <a:pt x="112" y="29"/>
                    </a:lnTo>
                    <a:lnTo>
                      <a:pt x="112" y="31"/>
                    </a:lnTo>
                    <a:lnTo>
                      <a:pt x="111" y="31"/>
                    </a:lnTo>
                    <a:lnTo>
                      <a:pt x="111" y="29"/>
                    </a:lnTo>
                    <a:close/>
                    <a:moveTo>
                      <a:pt x="31" y="7"/>
                    </a:moveTo>
                    <a:lnTo>
                      <a:pt x="32" y="7"/>
                    </a:lnTo>
                    <a:lnTo>
                      <a:pt x="31" y="7"/>
                    </a:lnTo>
                    <a:close/>
                    <a:moveTo>
                      <a:pt x="15" y="4"/>
                    </a:moveTo>
                    <a:lnTo>
                      <a:pt x="17" y="4"/>
                    </a:lnTo>
                    <a:lnTo>
                      <a:pt x="17" y="5"/>
                    </a:lnTo>
                    <a:lnTo>
                      <a:pt x="15" y="5"/>
                    </a:lnTo>
                    <a:lnTo>
                      <a:pt x="15" y="4"/>
                    </a:lnTo>
                    <a:close/>
                    <a:moveTo>
                      <a:pt x="5" y="48"/>
                    </a:moveTo>
                    <a:lnTo>
                      <a:pt x="7" y="48"/>
                    </a:lnTo>
                    <a:lnTo>
                      <a:pt x="7" y="50"/>
                    </a:lnTo>
                    <a:lnTo>
                      <a:pt x="5" y="50"/>
                    </a:lnTo>
                    <a:lnTo>
                      <a:pt x="5" y="48"/>
                    </a:lnTo>
                    <a:close/>
                    <a:moveTo>
                      <a:pt x="31" y="33"/>
                    </a:moveTo>
                    <a:lnTo>
                      <a:pt x="32" y="33"/>
                    </a:lnTo>
                    <a:lnTo>
                      <a:pt x="32" y="34"/>
                    </a:lnTo>
                    <a:lnTo>
                      <a:pt x="31" y="34"/>
                    </a:lnTo>
                    <a:lnTo>
                      <a:pt x="31" y="33"/>
                    </a:lnTo>
                    <a:close/>
                    <a:moveTo>
                      <a:pt x="56" y="41"/>
                    </a:moveTo>
                    <a:lnTo>
                      <a:pt x="58" y="41"/>
                    </a:lnTo>
                    <a:lnTo>
                      <a:pt x="58" y="43"/>
                    </a:lnTo>
                    <a:lnTo>
                      <a:pt x="56" y="43"/>
                    </a:lnTo>
                    <a:lnTo>
                      <a:pt x="56" y="41"/>
                    </a:lnTo>
                    <a:close/>
                    <a:moveTo>
                      <a:pt x="49" y="19"/>
                    </a:moveTo>
                    <a:lnTo>
                      <a:pt x="51" y="19"/>
                    </a:lnTo>
                    <a:lnTo>
                      <a:pt x="51" y="21"/>
                    </a:lnTo>
                    <a:lnTo>
                      <a:pt x="49" y="21"/>
                    </a:lnTo>
                    <a:lnTo>
                      <a:pt x="49" y="19"/>
                    </a:lnTo>
                    <a:close/>
                    <a:moveTo>
                      <a:pt x="17" y="7"/>
                    </a:moveTo>
                    <a:lnTo>
                      <a:pt x="17" y="9"/>
                    </a:lnTo>
                    <a:lnTo>
                      <a:pt x="17" y="7"/>
                    </a:lnTo>
                    <a:close/>
                    <a:moveTo>
                      <a:pt x="58" y="46"/>
                    </a:moveTo>
                    <a:lnTo>
                      <a:pt x="60" y="46"/>
                    </a:lnTo>
                    <a:lnTo>
                      <a:pt x="60" y="48"/>
                    </a:lnTo>
                    <a:lnTo>
                      <a:pt x="58" y="48"/>
                    </a:lnTo>
                    <a:lnTo>
                      <a:pt x="58" y="46"/>
                    </a:lnTo>
                    <a:close/>
                    <a:moveTo>
                      <a:pt x="5" y="45"/>
                    </a:moveTo>
                    <a:lnTo>
                      <a:pt x="7" y="45"/>
                    </a:lnTo>
                    <a:lnTo>
                      <a:pt x="7" y="46"/>
                    </a:lnTo>
                    <a:lnTo>
                      <a:pt x="5" y="46"/>
                    </a:lnTo>
                    <a:lnTo>
                      <a:pt x="5" y="45"/>
                    </a:lnTo>
                    <a:close/>
                    <a:moveTo>
                      <a:pt x="95" y="48"/>
                    </a:moveTo>
                    <a:lnTo>
                      <a:pt x="95" y="50"/>
                    </a:lnTo>
                    <a:lnTo>
                      <a:pt x="95" y="48"/>
                    </a:lnTo>
                    <a:close/>
                    <a:moveTo>
                      <a:pt x="55" y="21"/>
                    </a:moveTo>
                    <a:lnTo>
                      <a:pt x="56" y="21"/>
                    </a:lnTo>
                    <a:lnTo>
                      <a:pt x="55" y="21"/>
                    </a:lnTo>
                    <a:close/>
                    <a:moveTo>
                      <a:pt x="31" y="65"/>
                    </a:moveTo>
                    <a:lnTo>
                      <a:pt x="32" y="65"/>
                    </a:lnTo>
                    <a:lnTo>
                      <a:pt x="32" y="67"/>
                    </a:lnTo>
                    <a:lnTo>
                      <a:pt x="31" y="67"/>
                    </a:lnTo>
                    <a:lnTo>
                      <a:pt x="31" y="65"/>
                    </a:lnTo>
                    <a:close/>
                    <a:moveTo>
                      <a:pt x="21" y="24"/>
                    </a:moveTo>
                    <a:lnTo>
                      <a:pt x="22" y="24"/>
                    </a:lnTo>
                    <a:lnTo>
                      <a:pt x="22" y="26"/>
                    </a:lnTo>
                    <a:lnTo>
                      <a:pt x="21" y="26"/>
                    </a:lnTo>
                    <a:lnTo>
                      <a:pt x="21" y="24"/>
                    </a:lnTo>
                    <a:close/>
                    <a:moveTo>
                      <a:pt x="10" y="41"/>
                    </a:moveTo>
                    <a:lnTo>
                      <a:pt x="10" y="43"/>
                    </a:lnTo>
                    <a:lnTo>
                      <a:pt x="10" y="41"/>
                    </a:lnTo>
                    <a:close/>
                    <a:moveTo>
                      <a:pt x="89" y="62"/>
                    </a:moveTo>
                    <a:lnTo>
                      <a:pt x="90" y="62"/>
                    </a:lnTo>
                    <a:lnTo>
                      <a:pt x="89" y="62"/>
                    </a:lnTo>
                    <a:close/>
                    <a:moveTo>
                      <a:pt x="106" y="43"/>
                    </a:moveTo>
                    <a:lnTo>
                      <a:pt x="107" y="43"/>
                    </a:lnTo>
                    <a:lnTo>
                      <a:pt x="106" y="43"/>
                    </a:lnTo>
                    <a:close/>
                    <a:moveTo>
                      <a:pt x="29" y="29"/>
                    </a:moveTo>
                    <a:lnTo>
                      <a:pt x="29" y="31"/>
                    </a:lnTo>
                    <a:lnTo>
                      <a:pt x="29" y="29"/>
                    </a:lnTo>
                    <a:close/>
                    <a:moveTo>
                      <a:pt x="78" y="62"/>
                    </a:moveTo>
                    <a:lnTo>
                      <a:pt x="80" y="62"/>
                    </a:lnTo>
                    <a:lnTo>
                      <a:pt x="78" y="62"/>
                    </a:lnTo>
                    <a:close/>
                    <a:moveTo>
                      <a:pt x="61" y="68"/>
                    </a:moveTo>
                    <a:lnTo>
                      <a:pt x="61" y="70"/>
                    </a:lnTo>
                    <a:lnTo>
                      <a:pt x="61" y="68"/>
                    </a:lnTo>
                    <a:close/>
                    <a:moveTo>
                      <a:pt x="97" y="51"/>
                    </a:moveTo>
                    <a:lnTo>
                      <a:pt x="99" y="51"/>
                    </a:lnTo>
                    <a:lnTo>
                      <a:pt x="97" y="51"/>
                    </a:lnTo>
                    <a:close/>
                    <a:moveTo>
                      <a:pt x="15" y="29"/>
                    </a:moveTo>
                    <a:lnTo>
                      <a:pt x="17" y="29"/>
                    </a:lnTo>
                    <a:lnTo>
                      <a:pt x="17" y="31"/>
                    </a:lnTo>
                    <a:lnTo>
                      <a:pt x="15" y="31"/>
                    </a:lnTo>
                    <a:lnTo>
                      <a:pt x="15" y="29"/>
                    </a:lnTo>
                    <a:close/>
                    <a:moveTo>
                      <a:pt x="111" y="43"/>
                    </a:moveTo>
                    <a:lnTo>
                      <a:pt x="112" y="43"/>
                    </a:lnTo>
                    <a:lnTo>
                      <a:pt x="111" y="43"/>
                    </a:lnTo>
                    <a:close/>
                    <a:moveTo>
                      <a:pt x="61" y="39"/>
                    </a:moveTo>
                    <a:lnTo>
                      <a:pt x="63" y="39"/>
                    </a:lnTo>
                    <a:lnTo>
                      <a:pt x="61" y="39"/>
                    </a:lnTo>
                    <a:close/>
                    <a:moveTo>
                      <a:pt x="48" y="10"/>
                    </a:moveTo>
                    <a:lnTo>
                      <a:pt x="49" y="10"/>
                    </a:lnTo>
                    <a:lnTo>
                      <a:pt x="49" y="12"/>
                    </a:lnTo>
                    <a:lnTo>
                      <a:pt x="48" y="12"/>
                    </a:lnTo>
                    <a:lnTo>
                      <a:pt x="48" y="10"/>
                    </a:lnTo>
                    <a:close/>
                    <a:moveTo>
                      <a:pt x="38" y="41"/>
                    </a:moveTo>
                    <a:lnTo>
                      <a:pt x="39" y="41"/>
                    </a:lnTo>
                    <a:lnTo>
                      <a:pt x="38" y="41"/>
                    </a:lnTo>
                    <a:close/>
                    <a:moveTo>
                      <a:pt x="56" y="48"/>
                    </a:moveTo>
                    <a:lnTo>
                      <a:pt x="58" y="48"/>
                    </a:lnTo>
                    <a:lnTo>
                      <a:pt x="56" y="48"/>
                    </a:lnTo>
                    <a:close/>
                    <a:moveTo>
                      <a:pt x="51" y="17"/>
                    </a:moveTo>
                    <a:lnTo>
                      <a:pt x="51" y="19"/>
                    </a:lnTo>
                    <a:lnTo>
                      <a:pt x="51" y="17"/>
                    </a:lnTo>
                    <a:close/>
                    <a:moveTo>
                      <a:pt x="41" y="22"/>
                    </a:moveTo>
                    <a:lnTo>
                      <a:pt x="43" y="22"/>
                    </a:lnTo>
                    <a:lnTo>
                      <a:pt x="41" y="22"/>
                    </a:lnTo>
                    <a:close/>
                    <a:moveTo>
                      <a:pt x="56" y="21"/>
                    </a:moveTo>
                    <a:lnTo>
                      <a:pt x="58" y="21"/>
                    </a:lnTo>
                    <a:lnTo>
                      <a:pt x="56" y="21"/>
                    </a:lnTo>
                    <a:close/>
                    <a:moveTo>
                      <a:pt x="49" y="19"/>
                    </a:moveTo>
                    <a:lnTo>
                      <a:pt x="49" y="21"/>
                    </a:lnTo>
                    <a:lnTo>
                      <a:pt x="49" y="19"/>
                    </a:lnTo>
                    <a:close/>
                    <a:moveTo>
                      <a:pt x="9" y="41"/>
                    </a:moveTo>
                    <a:lnTo>
                      <a:pt x="9" y="43"/>
                    </a:lnTo>
                    <a:lnTo>
                      <a:pt x="9" y="41"/>
                    </a:lnTo>
                    <a:close/>
                    <a:moveTo>
                      <a:pt x="14" y="63"/>
                    </a:moveTo>
                    <a:lnTo>
                      <a:pt x="15" y="63"/>
                    </a:lnTo>
                    <a:lnTo>
                      <a:pt x="14" y="63"/>
                    </a:lnTo>
                    <a:close/>
                    <a:moveTo>
                      <a:pt x="12" y="55"/>
                    </a:moveTo>
                    <a:lnTo>
                      <a:pt x="14" y="55"/>
                    </a:lnTo>
                    <a:lnTo>
                      <a:pt x="12" y="55"/>
                    </a:lnTo>
                    <a:close/>
                    <a:moveTo>
                      <a:pt x="58" y="51"/>
                    </a:moveTo>
                    <a:lnTo>
                      <a:pt x="58" y="53"/>
                    </a:lnTo>
                    <a:lnTo>
                      <a:pt x="58" y="51"/>
                    </a:lnTo>
                    <a:close/>
                    <a:moveTo>
                      <a:pt x="82" y="79"/>
                    </a:moveTo>
                    <a:lnTo>
                      <a:pt x="83" y="79"/>
                    </a:lnTo>
                    <a:lnTo>
                      <a:pt x="82" y="79"/>
                    </a:lnTo>
                    <a:close/>
                    <a:moveTo>
                      <a:pt x="29" y="67"/>
                    </a:moveTo>
                    <a:lnTo>
                      <a:pt x="31" y="67"/>
                    </a:lnTo>
                    <a:lnTo>
                      <a:pt x="29" y="67"/>
                    </a:lnTo>
                    <a:close/>
                    <a:moveTo>
                      <a:pt x="29" y="17"/>
                    </a:moveTo>
                    <a:lnTo>
                      <a:pt x="31" y="17"/>
                    </a:lnTo>
                    <a:lnTo>
                      <a:pt x="29" y="17"/>
                    </a:lnTo>
                    <a:close/>
                    <a:moveTo>
                      <a:pt x="4" y="34"/>
                    </a:moveTo>
                    <a:lnTo>
                      <a:pt x="4" y="36"/>
                    </a:lnTo>
                    <a:lnTo>
                      <a:pt x="4" y="34"/>
                    </a:lnTo>
                    <a:close/>
                    <a:moveTo>
                      <a:pt x="7" y="43"/>
                    </a:moveTo>
                    <a:lnTo>
                      <a:pt x="9" y="43"/>
                    </a:lnTo>
                    <a:lnTo>
                      <a:pt x="7" y="43"/>
                    </a:lnTo>
                    <a:close/>
                    <a:moveTo>
                      <a:pt x="90" y="51"/>
                    </a:moveTo>
                    <a:lnTo>
                      <a:pt x="92" y="51"/>
                    </a:lnTo>
                    <a:lnTo>
                      <a:pt x="90" y="51"/>
                    </a:lnTo>
                    <a:close/>
                    <a:moveTo>
                      <a:pt x="51" y="55"/>
                    </a:moveTo>
                    <a:lnTo>
                      <a:pt x="51" y="56"/>
                    </a:lnTo>
                    <a:lnTo>
                      <a:pt x="51" y="55"/>
                    </a:lnTo>
                    <a:close/>
                    <a:moveTo>
                      <a:pt x="22" y="63"/>
                    </a:moveTo>
                    <a:lnTo>
                      <a:pt x="22" y="65"/>
                    </a:lnTo>
                    <a:lnTo>
                      <a:pt x="22" y="63"/>
                    </a:lnTo>
                    <a:close/>
                    <a:moveTo>
                      <a:pt x="53" y="21"/>
                    </a:moveTo>
                    <a:lnTo>
                      <a:pt x="55" y="21"/>
                    </a:lnTo>
                    <a:lnTo>
                      <a:pt x="53" y="21"/>
                    </a:lnTo>
                    <a:close/>
                    <a:moveTo>
                      <a:pt x="87" y="51"/>
                    </a:moveTo>
                    <a:lnTo>
                      <a:pt x="89" y="51"/>
                    </a:lnTo>
                    <a:lnTo>
                      <a:pt x="87" y="51"/>
                    </a:lnTo>
                    <a:close/>
                    <a:moveTo>
                      <a:pt x="53" y="45"/>
                    </a:moveTo>
                    <a:lnTo>
                      <a:pt x="55" y="45"/>
                    </a:lnTo>
                    <a:lnTo>
                      <a:pt x="55" y="46"/>
                    </a:lnTo>
                    <a:lnTo>
                      <a:pt x="53" y="46"/>
                    </a:lnTo>
                    <a:lnTo>
                      <a:pt x="53" y="45"/>
                    </a:lnTo>
                    <a:close/>
                    <a:moveTo>
                      <a:pt x="87" y="48"/>
                    </a:moveTo>
                    <a:lnTo>
                      <a:pt x="87" y="50"/>
                    </a:lnTo>
                    <a:lnTo>
                      <a:pt x="87" y="4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6" name="Freeform 31">
                <a:extLst>
                  <a:ext uri="{FF2B5EF4-FFF2-40B4-BE49-F238E27FC236}">
                    <a16:creationId xmlns:a16="http://schemas.microsoft.com/office/drawing/2014/main" id="{24F8747F-DACF-ADF6-8DC0-67FCE93DA038}"/>
                  </a:ext>
                </a:extLst>
              </p:cNvPr>
              <p:cNvSpPr>
                <a:spLocks noEditPoints="1"/>
              </p:cNvSpPr>
              <p:nvPr/>
            </p:nvSpPr>
            <p:spPr bwMode="auto">
              <a:xfrm>
                <a:off x="5837483" y="2889558"/>
                <a:ext cx="28784" cy="36422"/>
              </a:xfrm>
              <a:custGeom>
                <a:avLst/>
                <a:gdLst>
                  <a:gd name="T0" fmla="*/ 95 w 98"/>
                  <a:gd name="T1" fmla="*/ 59 h 124"/>
                  <a:gd name="T2" fmla="*/ 90 w 98"/>
                  <a:gd name="T3" fmla="*/ 66 h 124"/>
                  <a:gd name="T4" fmla="*/ 86 w 98"/>
                  <a:gd name="T5" fmla="*/ 73 h 124"/>
                  <a:gd name="T6" fmla="*/ 83 w 98"/>
                  <a:gd name="T7" fmla="*/ 78 h 124"/>
                  <a:gd name="T8" fmla="*/ 80 w 98"/>
                  <a:gd name="T9" fmla="*/ 83 h 124"/>
                  <a:gd name="T10" fmla="*/ 76 w 98"/>
                  <a:gd name="T11" fmla="*/ 88 h 124"/>
                  <a:gd name="T12" fmla="*/ 73 w 98"/>
                  <a:gd name="T13" fmla="*/ 93 h 124"/>
                  <a:gd name="T14" fmla="*/ 71 w 98"/>
                  <a:gd name="T15" fmla="*/ 100 h 124"/>
                  <a:gd name="T16" fmla="*/ 68 w 98"/>
                  <a:gd name="T17" fmla="*/ 105 h 124"/>
                  <a:gd name="T18" fmla="*/ 66 w 98"/>
                  <a:gd name="T19" fmla="*/ 112 h 124"/>
                  <a:gd name="T20" fmla="*/ 64 w 98"/>
                  <a:gd name="T21" fmla="*/ 115 h 124"/>
                  <a:gd name="T22" fmla="*/ 57 w 98"/>
                  <a:gd name="T23" fmla="*/ 119 h 124"/>
                  <a:gd name="T24" fmla="*/ 52 w 98"/>
                  <a:gd name="T25" fmla="*/ 122 h 124"/>
                  <a:gd name="T26" fmla="*/ 47 w 98"/>
                  <a:gd name="T27" fmla="*/ 120 h 124"/>
                  <a:gd name="T28" fmla="*/ 42 w 98"/>
                  <a:gd name="T29" fmla="*/ 117 h 124"/>
                  <a:gd name="T30" fmla="*/ 34 w 98"/>
                  <a:gd name="T31" fmla="*/ 119 h 124"/>
                  <a:gd name="T32" fmla="*/ 27 w 98"/>
                  <a:gd name="T33" fmla="*/ 117 h 124"/>
                  <a:gd name="T34" fmla="*/ 25 w 98"/>
                  <a:gd name="T35" fmla="*/ 117 h 124"/>
                  <a:gd name="T36" fmla="*/ 20 w 98"/>
                  <a:gd name="T37" fmla="*/ 117 h 124"/>
                  <a:gd name="T38" fmla="*/ 15 w 98"/>
                  <a:gd name="T39" fmla="*/ 120 h 124"/>
                  <a:gd name="T40" fmla="*/ 12 w 98"/>
                  <a:gd name="T41" fmla="*/ 122 h 124"/>
                  <a:gd name="T42" fmla="*/ 5 w 98"/>
                  <a:gd name="T43" fmla="*/ 120 h 124"/>
                  <a:gd name="T44" fmla="*/ 0 w 98"/>
                  <a:gd name="T45" fmla="*/ 117 h 124"/>
                  <a:gd name="T46" fmla="*/ 3 w 98"/>
                  <a:gd name="T47" fmla="*/ 114 h 124"/>
                  <a:gd name="T48" fmla="*/ 6 w 98"/>
                  <a:gd name="T49" fmla="*/ 109 h 124"/>
                  <a:gd name="T50" fmla="*/ 10 w 98"/>
                  <a:gd name="T51" fmla="*/ 103 h 124"/>
                  <a:gd name="T52" fmla="*/ 12 w 98"/>
                  <a:gd name="T53" fmla="*/ 97 h 124"/>
                  <a:gd name="T54" fmla="*/ 12 w 98"/>
                  <a:gd name="T55" fmla="*/ 93 h 124"/>
                  <a:gd name="T56" fmla="*/ 12 w 98"/>
                  <a:gd name="T57" fmla="*/ 88 h 124"/>
                  <a:gd name="T58" fmla="*/ 15 w 98"/>
                  <a:gd name="T59" fmla="*/ 83 h 124"/>
                  <a:gd name="T60" fmla="*/ 18 w 98"/>
                  <a:gd name="T61" fmla="*/ 78 h 124"/>
                  <a:gd name="T62" fmla="*/ 17 w 98"/>
                  <a:gd name="T63" fmla="*/ 71 h 124"/>
                  <a:gd name="T64" fmla="*/ 15 w 98"/>
                  <a:gd name="T65" fmla="*/ 68 h 124"/>
                  <a:gd name="T66" fmla="*/ 10 w 98"/>
                  <a:gd name="T67" fmla="*/ 64 h 124"/>
                  <a:gd name="T68" fmla="*/ 6 w 98"/>
                  <a:gd name="T69" fmla="*/ 59 h 124"/>
                  <a:gd name="T70" fmla="*/ 6 w 98"/>
                  <a:gd name="T71" fmla="*/ 54 h 124"/>
                  <a:gd name="T72" fmla="*/ 5 w 98"/>
                  <a:gd name="T73" fmla="*/ 47 h 124"/>
                  <a:gd name="T74" fmla="*/ 3 w 98"/>
                  <a:gd name="T75" fmla="*/ 41 h 124"/>
                  <a:gd name="T76" fmla="*/ 3 w 98"/>
                  <a:gd name="T77" fmla="*/ 35 h 124"/>
                  <a:gd name="T78" fmla="*/ 3 w 98"/>
                  <a:gd name="T79" fmla="*/ 29 h 124"/>
                  <a:gd name="T80" fmla="*/ 6 w 98"/>
                  <a:gd name="T81" fmla="*/ 22 h 124"/>
                  <a:gd name="T82" fmla="*/ 10 w 98"/>
                  <a:gd name="T83" fmla="*/ 15 h 124"/>
                  <a:gd name="T84" fmla="*/ 15 w 98"/>
                  <a:gd name="T85" fmla="*/ 10 h 124"/>
                  <a:gd name="T86" fmla="*/ 18 w 98"/>
                  <a:gd name="T87" fmla="*/ 5 h 124"/>
                  <a:gd name="T88" fmla="*/ 22 w 98"/>
                  <a:gd name="T89" fmla="*/ 1 h 124"/>
                  <a:gd name="T90" fmla="*/ 29 w 98"/>
                  <a:gd name="T91" fmla="*/ 3 h 124"/>
                  <a:gd name="T92" fmla="*/ 34 w 98"/>
                  <a:gd name="T93" fmla="*/ 6 h 124"/>
                  <a:gd name="T94" fmla="*/ 40 w 98"/>
                  <a:gd name="T95" fmla="*/ 8 h 124"/>
                  <a:gd name="T96" fmla="*/ 44 w 98"/>
                  <a:gd name="T97" fmla="*/ 6 h 124"/>
                  <a:gd name="T98" fmla="*/ 51 w 98"/>
                  <a:gd name="T99" fmla="*/ 10 h 124"/>
                  <a:gd name="T100" fmla="*/ 56 w 98"/>
                  <a:gd name="T101" fmla="*/ 12 h 124"/>
                  <a:gd name="T102" fmla="*/ 59 w 98"/>
                  <a:gd name="T103" fmla="*/ 17 h 124"/>
                  <a:gd name="T104" fmla="*/ 66 w 98"/>
                  <a:gd name="T105" fmla="*/ 22 h 124"/>
                  <a:gd name="T106" fmla="*/ 71 w 98"/>
                  <a:gd name="T107" fmla="*/ 27 h 124"/>
                  <a:gd name="T108" fmla="*/ 74 w 98"/>
                  <a:gd name="T109" fmla="*/ 29 h 124"/>
                  <a:gd name="T110" fmla="*/ 76 w 98"/>
                  <a:gd name="T111" fmla="*/ 29 h 124"/>
                  <a:gd name="T112" fmla="*/ 80 w 98"/>
                  <a:gd name="T113" fmla="*/ 30 h 124"/>
                  <a:gd name="T114" fmla="*/ 85 w 98"/>
                  <a:gd name="T115" fmla="*/ 35 h 124"/>
                  <a:gd name="T116" fmla="*/ 88 w 98"/>
                  <a:gd name="T117" fmla="*/ 37 h 124"/>
                  <a:gd name="T118" fmla="*/ 93 w 98"/>
                  <a:gd name="T119" fmla="*/ 41 h 124"/>
                  <a:gd name="T120" fmla="*/ 95 w 98"/>
                  <a:gd name="T121" fmla="*/ 47 h 124"/>
                  <a:gd name="T122" fmla="*/ 97 w 98"/>
                  <a:gd name="T123" fmla="*/ 51 h 124"/>
                  <a:gd name="T124" fmla="*/ 22 w 98"/>
                  <a:gd name="T125"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8" h="124">
                    <a:moveTo>
                      <a:pt x="98" y="56"/>
                    </a:moveTo>
                    <a:lnTo>
                      <a:pt x="98" y="58"/>
                    </a:lnTo>
                    <a:lnTo>
                      <a:pt x="97" y="58"/>
                    </a:lnTo>
                    <a:lnTo>
                      <a:pt x="97" y="59"/>
                    </a:lnTo>
                    <a:lnTo>
                      <a:pt x="95" y="59"/>
                    </a:lnTo>
                    <a:lnTo>
                      <a:pt x="93" y="61"/>
                    </a:lnTo>
                    <a:lnTo>
                      <a:pt x="93" y="63"/>
                    </a:lnTo>
                    <a:lnTo>
                      <a:pt x="93" y="64"/>
                    </a:lnTo>
                    <a:lnTo>
                      <a:pt x="91" y="64"/>
                    </a:lnTo>
                    <a:lnTo>
                      <a:pt x="90" y="66"/>
                    </a:lnTo>
                    <a:lnTo>
                      <a:pt x="88" y="68"/>
                    </a:lnTo>
                    <a:lnTo>
                      <a:pt x="88" y="69"/>
                    </a:lnTo>
                    <a:lnTo>
                      <a:pt x="86" y="69"/>
                    </a:lnTo>
                    <a:lnTo>
                      <a:pt x="86" y="71"/>
                    </a:lnTo>
                    <a:lnTo>
                      <a:pt x="86" y="73"/>
                    </a:lnTo>
                    <a:lnTo>
                      <a:pt x="85" y="73"/>
                    </a:lnTo>
                    <a:lnTo>
                      <a:pt x="85" y="75"/>
                    </a:lnTo>
                    <a:lnTo>
                      <a:pt x="85" y="76"/>
                    </a:lnTo>
                    <a:lnTo>
                      <a:pt x="83" y="76"/>
                    </a:lnTo>
                    <a:lnTo>
                      <a:pt x="83" y="78"/>
                    </a:lnTo>
                    <a:lnTo>
                      <a:pt x="81" y="78"/>
                    </a:lnTo>
                    <a:lnTo>
                      <a:pt x="81" y="80"/>
                    </a:lnTo>
                    <a:lnTo>
                      <a:pt x="81" y="81"/>
                    </a:lnTo>
                    <a:lnTo>
                      <a:pt x="80" y="81"/>
                    </a:lnTo>
                    <a:lnTo>
                      <a:pt x="80" y="83"/>
                    </a:lnTo>
                    <a:lnTo>
                      <a:pt x="80" y="85"/>
                    </a:lnTo>
                    <a:lnTo>
                      <a:pt x="78" y="85"/>
                    </a:lnTo>
                    <a:lnTo>
                      <a:pt x="76" y="85"/>
                    </a:lnTo>
                    <a:lnTo>
                      <a:pt x="76" y="86"/>
                    </a:lnTo>
                    <a:lnTo>
                      <a:pt x="76" y="88"/>
                    </a:lnTo>
                    <a:lnTo>
                      <a:pt x="74" y="88"/>
                    </a:lnTo>
                    <a:lnTo>
                      <a:pt x="74" y="90"/>
                    </a:lnTo>
                    <a:lnTo>
                      <a:pt x="74" y="92"/>
                    </a:lnTo>
                    <a:lnTo>
                      <a:pt x="74" y="93"/>
                    </a:lnTo>
                    <a:lnTo>
                      <a:pt x="73" y="93"/>
                    </a:lnTo>
                    <a:lnTo>
                      <a:pt x="73" y="95"/>
                    </a:lnTo>
                    <a:lnTo>
                      <a:pt x="73" y="97"/>
                    </a:lnTo>
                    <a:lnTo>
                      <a:pt x="71" y="97"/>
                    </a:lnTo>
                    <a:lnTo>
                      <a:pt x="71" y="98"/>
                    </a:lnTo>
                    <a:lnTo>
                      <a:pt x="71" y="100"/>
                    </a:lnTo>
                    <a:lnTo>
                      <a:pt x="69" y="100"/>
                    </a:lnTo>
                    <a:lnTo>
                      <a:pt x="69" y="102"/>
                    </a:lnTo>
                    <a:lnTo>
                      <a:pt x="69" y="103"/>
                    </a:lnTo>
                    <a:lnTo>
                      <a:pt x="68" y="103"/>
                    </a:lnTo>
                    <a:lnTo>
                      <a:pt x="68" y="105"/>
                    </a:lnTo>
                    <a:lnTo>
                      <a:pt x="68" y="107"/>
                    </a:lnTo>
                    <a:lnTo>
                      <a:pt x="68" y="109"/>
                    </a:lnTo>
                    <a:lnTo>
                      <a:pt x="68" y="110"/>
                    </a:lnTo>
                    <a:lnTo>
                      <a:pt x="66" y="110"/>
                    </a:lnTo>
                    <a:lnTo>
                      <a:pt x="66" y="112"/>
                    </a:lnTo>
                    <a:lnTo>
                      <a:pt x="64" y="112"/>
                    </a:lnTo>
                    <a:lnTo>
                      <a:pt x="66" y="112"/>
                    </a:lnTo>
                    <a:lnTo>
                      <a:pt x="64" y="112"/>
                    </a:lnTo>
                    <a:lnTo>
                      <a:pt x="64" y="114"/>
                    </a:lnTo>
                    <a:lnTo>
                      <a:pt x="64" y="115"/>
                    </a:lnTo>
                    <a:lnTo>
                      <a:pt x="63" y="115"/>
                    </a:lnTo>
                    <a:lnTo>
                      <a:pt x="61" y="115"/>
                    </a:lnTo>
                    <a:lnTo>
                      <a:pt x="59" y="117"/>
                    </a:lnTo>
                    <a:lnTo>
                      <a:pt x="57" y="117"/>
                    </a:lnTo>
                    <a:lnTo>
                      <a:pt x="57" y="119"/>
                    </a:lnTo>
                    <a:lnTo>
                      <a:pt x="56" y="119"/>
                    </a:lnTo>
                    <a:lnTo>
                      <a:pt x="56" y="120"/>
                    </a:lnTo>
                    <a:lnTo>
                      <a:pt x="54" y="120"/>
                    </a:lnTo>
                    <a:lnTo>
                      <a:pt x="54" y="122"/>
                    </a:lnTo>
                    <a:lnTo>
                      <a:pt x="52" y="122"/>
                    </a:lnTo>
                    <a:lnTo>
                      <a:pt x="52" y="120"/>
                    </a:lnTo>
                    <a:lnTo>
                      <a:pt x="51" y="120"/>
                    </a:lnTo>
                    <a:lnTo>
                      <a:pt x="49" y="120"/>
                    </a:lnTo>
                    <a:lnTo>
                      <a:pt x="49" y="119"/>
                    </a:lnTo>
                    <a:lnTo>
                      <a:pt x="47" y="120"/>
                    </a:lnTo>
                    <a:lnTo>
                      <a:pt x="46" y="120"/>
                    </a:lnTo>
                    <a:lnTo>
                      <a:pt x="44" y="120"/>
                    </a:lnTo>
                    <a:lnTo>
                      <a:pt x="44" y="119"/>
                    </a:lnTo>
                    <a:lnTo>
                      <a:pt x="44" y="117"/>
                    </a:lnTo>
                    <a:lnTo>
                      <a:pt x="42" y="117"/>
                    </a:lnTo>
                    <a:lnTo>
                      <a:pt x="40" y="117"/>
                    </a:lnTo>
                    <a:lnTo>
                      <a:pt x="39" y="117"/>
                    </a:lnTo>
                    <a:lnTo>
                      <a:pt x="37" y="117"/>
                    </a:lnTo>
                    <a:lnTo>
                      <a:pt x="35" y="119"/>
                    </a:lnTo>
                    <a:lnTo>
                      <a:pt x="34" y="119"/>
                    </a:lnTo>
                    <a:lnTo>
                      <a:pt x="32" y="119"/>
                    </a:lnTo>
                    <a:lnTo>
                      <a:pt x="32" y="117"/>
                    </a:lnTo>
                    <a:lnTo>
                      <a:pt x="30" y="117"/>
                    </a:lnTo>
                    <a:lnTo>
                      <a:pt x="29" y="117"/>
                    </a:lnTo>
                    <a:lnTo>
                      <a:pt x="27" y="117"/>
                    </a:lnTo>
                    <a:lnTo>
                      <a:pt x="27" y="115"/>
                    </a:lnTo>
                    <a:lnTo>
                      <a:pt x="25" y="115"/>
                    </a:lnTo>
                    <a:lnTo>
                      <a:pt x="23" y="115"/>
                    </a:lnTo>
                    <a:lnTo>
                      <a:pt x="23" y="117"/>
                    </a:lnTo>
                    <a:lnTo>
                      <a:pt x="25" y="117"/>
                    </a:lnTo>
                    <a:lnTo>
                      <a:pt x="23" y="117"/>
                    </a:lnTo>
                    <a:lnTo>
                      <a:pt x="22" y="117"/>
                    </a:lnTo>
                    <a:lnTo>
                      <a:pt x="22" y="119"/>
                    </a:lnTo>
                    <a:lnTo>
                      <a:pt x="20" y="119"/>
                    </a:lnTo>
                    <a:lnTo>
                      <a:pt x="20" y="117"/>
                    </a:lnTo>
                    <a:lnTo>
                      <a:pt x="20" y="119"/>
                    </a:lnTo>
                    <a:lnTo>
                      <a:pt x="20" y="120"/>
                    </a:lnTo>
                    <a:lnTo>
                      <a:pt x="18" y="120"/>
                    </a:lnTo>
                    <a:lnTo>
                      <a:pt x="17" y="120"/>
                    </a:lnTo>
                    <a:lnTo>
                      <a:pt x="15" y="120"/>
                    </a:lnTo>
                    <a:lnTo>
                      <a:pt x="15" y="122"/>
                    </a:lnTo>
                    <a:lnTo>
                      <a:pt x="15" y="124"/>
                    </a:lnTo>
                    <a:lnTo>
                      <a:pt x="13" y="124"/>
                    </a:lnTo>
                    <a:lnTo>
                      <a:pt x="13" y="122"/>
                    </a:lnTo>
                    <a:lnTo>
                      <a:pt x="12" y="122"/>
                    </a:lnTo>
                    <a:lnTo>
                      <a:pt x="10" y="122"/>
                    </a:lnTo>
                    <a:lnTo>
                      <a:pt x="8" y="122"/>
                    </a:lnTo>
                    <a:lnTo>
                      <a:pt x="6" y="122"/>
                    </a:lnTo>
                    <a:lnTo>
                      <a:pt x="6" y="120"/>
                    </a:lnTo>
                    <a:lnTo>
                      <a:pt x="5" y="120"/>
                    </a:lnTo>
                    <a:lnTo>
                      <a:pt x="3" y="120"/>
                    </a:lnTo>
                    <a:lnTo>
                      <a:pt x="1" y="119"/>
                    </a:lnTo>
                    <a:lnTo>
                      <a:pt x="0" y="119"/>
                    </a:lnTo>
                    <a:lnTo>
                      <a:pt x="1" y="117"/>
                    </a:lnTo>
                    <a:lnTo>
                      <a:pt x="0" y="117"/>
                    </a:lnTo>
                    <a:lnTo>
                      <a:pt x="1" y="115"/>
                    </a:lnTo>
                    <a:lnTo>
                      <a:pt x="1" y="117"/>
                    </a:lnTo>
                    <a:lnTo>
                      <a:pt x="1" y="115"/>
                    </a:lnTo>
                    <a:lnTo>
                      <a:pt x="1" y="114"/>
                    </a:lnTo>
                    <a:lnTo>
                      <a:pt x="3" y="114"/>
                    </a:lnTo>
                    <a:lnTo>
                      <a:pt x="3" y="112"/>
                    </a:lnTo>
                    <a:lnTo>
                      <a:pt x="5" y="112"/>
                    </a:lnTo>
                    <a:lnTo>
                      <a:pt x="5" y="110"/>
                    </a:lnTo>
                    <a:lnTo>
                      <a:pt x="6" y="110"/>
                    </a:lnTo>
                    <a:lnTo>
                      <a:pt x="6" y="109"/>
                    </a:lnTo>
                    <a:lnTo>
                      <a:pt x="6" y="107"/>
                    </a:lnTo>
                    <a:lnTo>
                      <a:pt x="8" y="107"/>
                    </a:lnTo>
                    <a:lnTo>
                      <a:pt x="8" y="105"/>
                    </a:lnTo>
                    <a:lnTo>
                      <a:pt x="8" y="103"/>
                    </a:lnTo>
                    <a:lnTo>
                      <a:pt x="10" y="103"/>
                    </a:lnTo>
                    <a:lnTo>
                      <a:pt x="10" y="102"/>
                    </a:lnTo>
                    <a:lnTo>
                      <a:pt x="12" y="102"/>
                    </a:lnTo>
                    <a:lnTo>
                      <a:pt x="12" y="100"/>
                    </a:lnTo>
                    <a:lnTo>
                      <a:pt x="12" y="98"/>
                    </a:lnTo>
                    <a:lnTo>
                      <a:pt x="12" y="97"/>
                    </a:lnTo>
                    <a:lnTo>
                      <a:pt x="12" y="95"/>
                    </a:lnTo>
                    <a:lnTo>
                      <a:pt x="13" y="95"/>
                    </a:lnTo>
                    <a:lnTo>
                      <a:pt x="12" y="93"/>
                    </a:lnTo>
                    <a:lnTo>
                      <a:pt x="13" y="93"/>
                    </a:lnTo>
                    <a:lnTo>
                      <a:pt x="12" y="93"/>
                    </a:lnTo>
                    <a:lnTo>
                      <a:pt x="12" y="92"/>
                    </a:lnTo>
                    <a:lnTo>
                      <a:pt x="12" y="90"/>
                    </a:lnTo>
                    <a:lnTo>
                      <a:pt x="12" y="88"/>
                    </a:lnTo>
                    <a:lnTo>
                      <a:pt x="12" y="90"/>
                    </a:lnTo>
                    <a:lnTo>
                      <a:pt x="12" y="88"/>
                    </a:lnTo>
                    <a:lnTo>
                      <a:pt x="12" y="86"/>
                    </a:lnTo>
                    <a:lnTo>
                      <a:pt x="13" y="86"/>
                    </a:lnTo>
                    <a:lnTo>
                      <a:pt x="13" y="85"/>
                    </a:lnTo>
                    <a:lnTo>
                      <a:pt x="13" y="83"/>
                    </a:lnTo>
                    <a:lnTo>
                      <a:pt x="15" y="83"/>
                    </a:lnTo>
                    <a:lnTo>
                      <a:pt x="17" y="83"/>
                    </a:lnTo>
                    <a:lnTo>
                      <a:pt x="17" y="81"/>
                    </a:lnTo>
                    <a:lnTo>
                      <a:pt x="17" y="80"/>
                    </a:lnTo>
                    <a:lnTo>
                      <a:pt x="18" y="80"/>
                    </a:lnTo>
                    <a:lnTo>
                      <a:pt x="18" y="78"/>
                    </a:lnTo>
                    <a:lnTo>
                      <a:pt x="18" y="76"/>
                    </a:lnTo>
                    <a:lnTo>
                      <a:pt x="18" y="75"/>
                    </a:lnTo>
                    <a:lnTo>
                      <a:pt x="18" y="73"/>
                    </a:lnTo>
                    <a:lnTo>
                      <a:pt x="18" y="71"/>
                    </a:lnTo>
                    <a:lnTo>
                      <a:pt x="17" y="71"/>
                    </a:lnTo>
                    <a:lnTo>
                      <a:pt x="17" y="73"/>
                    </a:lnTo>
                    <a:lnTo>
                      <a:pt x="17" y="71"/>
                    </a:lnTo>
                    <a:lnTo>
                      <a:pt x="15" y="71"/>
                    </a:lnTo>
                    <a:lnTo>
                      <a:pt x="15" y="69"/>
                    </a:lnTo>
                    <a:lnTo>
                      <a:pt x="15" y="68"/>
                    </a:lnTo>
                    <a:lnTo>
                      <a:pt x="15" y="66"/>
                    </a:lnTo>
                    <a:lnTo>
                      <a:pt x="13" y="66"/>
                    </a:lnTo>
                    <a:lnTo>
                      <a:pt x="12" y="66"/>
                    </a:lnTo>
                    <a:lnTo>
                      <a:pt x="12" y="64"/>
                    </a:lnTo>
                    <a:lnTo>
                      <a:pt x="10" y="64"/>
                    </a:lnTo>
                    <a:lnTo>
                      <a:pt x="10" y="63"/>
                    </a:lnTo>
                    <a:lnTo>
                      <a:pt x="8" y="63"/>
                    </a:lnTo>
                    <a:lnTo>
                      <a:pt x="8" y="61"/>
                    </a:lnTo>
                    <a:lnTo>
                      <a:pt x="8" y="59"/>
                    </a:lnTo>
                    <a:lnTo>
                      <a:pt x="6" y="59"/>
                    </a:lnTo>
                    <a:lnTo>
                      <a:pt x="6" y="58"/>
                    </a:lnTo>
                    <a:lnTo>
                      <a:pt x="6" y="56"/>
                    </a:lnTo>
                    <a:lnTo>
                      <a:pt x="8" y="56"/>
                    </a:lnTo>
                    <a:lnTo>
                      <a:pt x="8" y="54"/>
                    </a:lnTo>
                    <a:lnTo>
                      <a:pt x="6" y="54"/>
                    </a:lnTo>
                    <a:lnTo>
                      <a:pt x="5" y="54"/>
                    </a:lnTo>
                    <a:lnTo>
                      <a:pt x="5" y="52"/>
                    </a:lnTo>
                    <a:lnTo>
                      <a:pt x="5" y="51"/>
                    </a:lnTo>
                    <a:lnTo>
                      <a:pt x="5" y="49"/>
                    </a:lnTo>
                    <a:lnTo>
                      <a:pt x="5" y="47"/>
                    </a:lnTo>
                    <a:lnTo>
                      <a:pt x="3" y="47"/>
                    </a:lnTo>
                    <a:lnTo>
                      <a:pt x="3" y="46"/>
                    </a:lnTo>
                    <a:lnTo>
                      <a:pt x="3" y="44"/>
                    </a:lnTo>
                    <a:lnTo>
                      <a:pt x="3" y="42"/>
                    </a:lnTo>
                    <a:lnTo>
                      <a:pt x="3" y="41"/>
                    </a:lnTo>
                    <a:lnTo>
                      <a:pt x="5" y="41"/>
                    </a:lnTo>
                    <a:lnTo>
                      <a:pt x="5" y="39"/>
                    </a:lnTo>
                    <a:lnTo>
                      <a:pt x="3" y="39"/>
                    </a:lnTo>
                    <a:lnTo>
                      <a:pt x="3" y="37"/>
                    </a:lnTo>
                    <a:lnTo>
                      <a:pt x="3" y="35"/>
                    </a:lnTo>
                    <a:lnTo>
                      <a:pt x="3" y="34"/>
                    </a:lnTo>
                    <a:lnTo>
                      <a:pt x="3" y="32"/>
                    </a:lnTo>
                    <a:lnTo>
                      <a:pt x="3" y="30"/>
                    </a:lnTo>
                    <a:lnTo>
                      <a:pt x="1" y="29"/>
                    </a:lnTo>
                    <a:lnTo>
                      <a:pt x="3" y="29"/>
                    </a:lnTo>
                    <a:lnTo>
                      <a:pt x="3" y="27"/>
                    </a:lnTo>
                    <a:lnTo>
                      <a:pt x="3" y="25"/>
                    </a:lnTo>
                    <a:lnTo>
                      <a:pt x="5" y="23"/>
                    </a:lnTo>
                    <a:lnTo>
                      <a:pt x="5" y="22"/>
                    </a:lnTo>
                    <a:lnTo>
                      <a:pt x="6" y="22"/>
                    </a:lnTo>
                    <a:lnTo>
                      <a:pt x="6" y="20"/>
                    </a:lnTo>
                    <a:lnTo>
                      <a:pt x="8" y="18"/>
                    </a:lnTo>
                    <a:lnTo>
                      <a:pt x="8" y="17"/>
                    </a:lnTo>
                    <a:lnTo>
                      <a:pt x="10" y="17"/>
                    </a:lnTo>
                    <a:lnTo>
                      <a:pt x="10" y="15"/>
                    </a:lnTo>
                    <a:lnTo>
                      <a:pt x="12" y="15"/>
                    </a:lnTo>
                    <a:lnTo>
                      <a:pt x="13" y="13"/>
                    </a:lnTo>
                    <a:lnTo>
                      <a:pt x="13" y="12"/>
                    </a:lnTo>
                    <a:lnTo>
                      <a:pt x="15" y="12"/>
                    </a:lnTo>
                    <a:lnTo>
                      <a:pt x="15" y="10"/>
                    </a:lnTo>
                    <a:lnTo>
                      <a:pt x="17" y="10"/>
                    </a:lnTo>
                    <a:lnTo>
                      <a:pt x="17" y="8"/>
                    </a:lnTo>
                    <a:lnTo>
                      <a:pt x="18" y="8"/>
                    </a:lnTo>
                    <a:lnTo>
                      <a:pt x="18" y="6"/>
                    </a:lnTo>
                    <a:lnTo>
                      <a:pt x="18" y="5"/>
                    </a:lnTo>
                    <a:lnTo>
                      <a:pt x="18" y="3"/>
                    </a:lnTo>
                    <a:lnTo>
                      <a:pt x="18" y="1"/>
                    </a:lnTo>
                    <a:lnTo>
                      <a:pt x="20" y="1"/>
                    </a:lnTo>
                    <a:lnTo>
                      <a:pt x="20" y="0"/>
                    </a:lnTo>
                    <a:lnTo>
                      <a:pt x="22" y="1"/>
                    </a:lnTo>
                    <a:lnTo>
                      <a:pt x="23" y="1"/>
                    </a:lnTo>
                    <a:lnTo>
                      <a:pt x="25" y="1"/>
                    </a:lnTo>
                    <a:lnTo>
                      <a:pt x="27" y="1"/>
                    </a:lnTo>
                    <a:lnTo>
                      <a:pt x="27" y="3"/>
                    </a:lnTo>
                    <a:lnTo>
                      <a:pt x="29" y="3"/>
                    </a:lnTo>
                    <a:lnTo>
                      <a:pt x="30" y="3"/>
                    </a:lnTo>
                    <a:lnTo>
                      <a:pt x="30" y="5"/>
                    </a:lnTo>
                    <a:lnTo>
                      <a:pt x="32" y="5"/>
                    </a:lnTo>
                    <a:lnTo>
                      <a:pt x="34" y="5"/>
                    </a:lnTo>
                    <a:lnTo>
                      <a:pt x="34" y="6"/>
                    </a:lnTo>
                    <a:lnTo>
                      <a:pt x="35" y="6"/>
                    </a:lnTo>
                    <a:lnTo>
                      <a:pt x="37" y="6"/>
                    </a:lnTo>
                    <a:lnTo>
                      <a:pt x="39" y="6"/>
                    </a:lnTo>
                    <a:lnTo>
                      <a:pt x="40" y="6"/>
                    </a:lnTo>
                    <a:lnTo>
                      <a:pt x="40" y="8"/>
                    </a:lnTo>
                    <a:lnTo>
                      <a:pt x="42" y="8"/>
                    </a:lnTo>
                    <a:lnTo>
                      <a:pt x="44" y="8"/>
                    </a:lnTo>
                    <a:lnTo>
                      <a:pt x="42" y="8"/>
                    </a:lnTo>
                    <a:lnTo>
                      <a:pt x="42" y="6"/>
                    </a:lnTo>
                    <a:lnTo>
                      <a:pt x="44" y="6"/>
                    </a:lnTo>
                    <a:lnTo>
                      <a:pt x="44" y="8"/>
                    </a:lnTo>
                    <a:lnTo>
                      <a:pt x="46" y="8"/>
                    </a:lnTo>
                    <a:lnTo>
                      <a:pt x="47" y="8"/>
                    </a:lnTo>
                    <a:lnTo>
                      <a:pt x="49" y="10"/>
                    </a:lnTo>
                    <a:lnTo>
                      <a:pt x="51" y="10"/>
                    </a:lnTo>
                    <a:lnTo>
                      <a:pt x="52" y="12"/>
                    </a:lnTo>
                    <a:lnTo>
                      <a:pt x="52" y="10"/>
                    </a:lnTo>
                    <a:lnTo>
                      <a:pt x="54" y="10"/>
                    </a:lnTo>
                    <a:lnTo>
                      <a:pt x="54" y="12"/>
                    </a:lnTo>
                    <a:lnTo>
                      <a:pt x="56" y="12"/>
                    </a:lnTo>
                    <a:lnTo>
                      <a:pt x="56" y="13"/>
                    </a:lnTo>
                    <a:lnTo>
                      <a:pt x="57" y="13"/>
                    </a:lnTo>
                    <a:lnTo>
                      <a:pt x="57" y="15"/>
                    </a:lnTo>
                    <a:lnTo>
                      <a:pt x="59" y="15"/>
                    </a:lnTo>
                    <a:lnTo>
                      <a:pt x="59" y="17"/>
                    </a:lnTo>
                    <a:lnTo>
                      <a:pt x="61" y="17"/>
                    </a:lnTo>
                    <a:lnTo>
                      <a:pt x="61" y="18"/>
                    </a:lnTo>
                    <a:lnTo>
                      <a:pt x="63" y="18"/>
                    </a:lnTo>
                    <a:lnTo>
                      <a:pt x="64" y="20"/>
                    </a:lnTo>
                    <a:lnTo>
                      <a:pt x="66" y="22"/>
                    </a:lnTo>
                    <a:lnTo>
                      <a:pt x="68" y="23"/>
                    </a:lnTo>
                    <a:lnTo>
                      <a:pt x="69" y="23"/>
                    </a:lnTo>
                    <a:lnTo>
                      <a:pt x="69" y="25"/>
                    </a:lnTo>
                    <a:lnTo>
                      <a:pt x="71" y="25"/>
                    </a:lnTo>
                    <a:lnTo>
                      <a:pt x="71" y="27"/>
                    </a:lnTo>
                    <a:lnTo>
                      <a:pt x="73" y="27"/>
                    </a:lnTo>
                    <a:lnTo>
                      <a:pt x="73" y="29"/>
                    </a:lnTo>
                    <a:lnTo>
                      <a:pt x="74" y="29"/>
                    </a:lnTo>
                    <a:lnTo>
                      <a:pt x="73" y="29"/>
                    </a:lnTo>
                    <a:lnTo>
                      <a:pt x="74" y="29"/>
                    </a:lnTo>
                    <a:lnTo>
                      <a:pt x="74" y="27"/>
                    </a:lnTo>
                    <a:lnTo>
                      <a:pt x="76" y="27"/>
                    </a:lnTo>
                    <a:lnTo>
                      <a:pt x="76" y="29"/>
                    </a:lnTo>
                    <a:lnTo>
                      <a:pt x="78" y="29"/>
                    </a:lnTo>
                    <a:lnTo>
                      <a:pt x="76" y="29"/>
                    </a:lnTo>
                    <a:lnTo>
                      <a:pt x="78" y="30"/>
                    </a:lnTo>
                    <a:lnTo>
                      <a:pt x="76" y="30"/>
                    </a:lnTo>
                    <a:lnTo>
                      <a:pt x="78" y="32"/>
                    </a:lnTo>
                    <a:lnTo>
                      <a:pt x="78" y="30"/>
                    </a:lnTo>
                    <a:lnTo>
                      <a:pt x="80" y="30"/>
                    </a:lnTo>
                    <a:lnTo>
                      <a:pt x="80" y="32"/>
                    </a:lnTo>
                    <a:lnTo>
                      <a:pt x="81" y="32"/>
                    </a:lnTo>
                    <a:lnTo>
                      <a:pt x="81" y="34"/>
                    </a:lnTo>
                    <a:lnTo>
                      <a:pt x="83" y="34"/>
                    </a:lnTo>
                    <a:lnTo>
                      <a:pt x="85" y="35"/>
                    </a:lnTo>
                    <a:lnTo>
                      <a:pt x="86" y="35"/>
                    </a:lnTo>
                    <a:lnTo>
                      <a:pt x="86" y="37"/>
                    </a:lnTo>
                    <a:lnTo>
                      <a:pt x="86" y="39"/>
                    </a:lnTo>
                    <a:lnTo>
                      <a:pt x="88" y="39"/>
                    </a:lnTo>
                    <a:lnTo>
                      <a:pt x="88" y="37"/>
                    </a:lnTo>
                    <a:lnTo>
                      <a:pt x="90" y="37"/>
                    </a:lnTo>
                    <a:lnTo>
                      <a:pt x="91" y="37"/>
                    </a:lnTo>
                    <a:lnTo>
                      <a:pt x="91" y="39"/>
                    </a:lnTo>
                    <a:lnTo>
                      <a:pt x="93" y="39"/>
                    </a:lnTo>
                    <a:lnTo>
                      <a:pt x="93" y="41"/>
                    </a:lnTo>
                    <a:lnTo>
                      <a:pt x="93" y="42"/>
                    </a:lnTo>
                    <a:lnTo>
                      <a:pt x="93" y="44"/>
                    </a:lnTo>
                    <a:lnTo>
                      <a:pt x="95" y="44"/>
                    </a:lnTo>
                    <a:lnTo>
                      <a:pt x="95" y="46"/>
                    </a:lnTo>
                    <a:lnTo>
                      <a:pt x="95" y="47"/>
                    </a:lnTo>
                    <a:lnTo>
                      <a:pt x="97" y="46"/>
                    </a:lnTo>
                    <a:lnTo>
                      <a:pt x="95" y="47"/>
                    </a:lnTo>
                    <a:lnTo>
                      <a:pt x="95" y="49"/>
                    </a:lnTo>
                    <a:lnTo>
                      <a:pt x="97" y="49"/>
                    </a:lnTo>
                    <a:lnTo>
                      <a:pt x="97" y="51"/>
                    </a:lnTo>
                    <a:lnTo>
                      <a:pt x="97" y="52"/>
                    </a:lnTo>
                    <a:lnTo>
                      <a:pt x="98" y="52"/>
                    </a:lnTo>
                    <a:lnTo>
                      <a:pt x="98" y="54"/>
                    </a:lnTo>
                    <a:lnTo>
                      <a:pt x="98" y="56"/>
                    </a:lnTo>
                    <a:close/>
                    <a:moveTo>
                      <a:pt x="22" y="0"/>
                    </a:moveTo>
                    <a:lnTo>
                      <a:pt x="23" y="0"/>
                    </a:lnTo>
                    <a:lnTo>
                      <a:pt x="23" y="1"/>
                    </a:lnTo>
                    <a:lnTo>
                      <a:pt x="22" y="1"/>
                    </a:lnTo>
                    <a:lnTo>
                      <a:pt x="22"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2" name="Freeform 32">
                <a:extLst>
                  <a:ext uri="{FF2B5EF4-FFF2-40B4-BE49-F238E27FC236}">
                    <a16:creationId xmlns:a16="http://schemas.microsoft.com/office/drawing/2014/main" id="{06672731-41A3-3FF1-75F2-190314A020FB}"/>
                  </a:ext>
                </a:extLst>
              </p:cNvPr>
              <p:cNvSpPr>
                <a:spLocks noEditPoints="1"/>
              </p:cNvSpPr>
              <p:nvPr/>
            </p:nvSpPr>
            <p:spPr bwMode="auto">
              <a:xfrm>
                <a:off x="5765520" y="2821415"/>
                <a:ext cx="3819" cy="5581"/>
              </a:xfrm>
              <a:custGeom>
                <a:avLst/>
                <a:gdLst>
                  <a:gd name="T0" fmla="*/ 5 w 13"/>
                  <a:gd name="T1" fmla="*/ 11 h 19"/>
                  <a:gd name="T2" fmla="*/ 7 w 13"/>
                  <a:gd name="T3" fmla="*/ 11 h 19"/>
                  <a:gd name="T4" fmla="*/ 7 w 13"/>
                  <a:gd name="T5" fmla="*/ 12 h 19"/>
                  <a:gd name="T6" fmla="*/ 7 w 13"/>
                  <a:gd name="T7" fmla="*/ 14 h 19"/>
                  <a:gd name="T8" fmla="*/ 7 w 13"/>
                  <a:gd name="T9" fmla="*/ 16 h 19"/>
                  <a:gd name="T10" fmla="*/ 5 w 13"/>
                  <a:gd name="T11" fmla="*/ 17 h 19"/>
                  <a:gd name="T12" fmla="*/ 3 w 13"/>
                  <a:gd name="T13" fmla="*/ 17 h 19"/>
                  <a:gd name="T14" fmla="*/ 3 w 13"/>
                  <a:gd name="T15" fmla="*/ 19 h 19"/>
                  <a:gd name="T16" fmla="*/ 3 w 13"/>
                  <a:gd name="T17" fmla="*/ 17 h 19"/>
                  <a:gd name="T18" fmla="*/ 3 w 13"/>
                  <a:gd name="T19" fmla="*/ 19 h 19"/>
                  <a:gd name="T20" fmla="*/ 3 w 13"/>
                  <a:gd name="T21" fmla="*/ 17 h 19"/>
                  <a:gd name="T22" fmla="*/ 3 w 13"/>
                  <a:gd name="T23" fmla="*/ 19 h 19"/>
                  <a:gd name="T24" fmla="*/ 2 w 13"/>
                  <a:gd name="T25" fmla="*/ 17 h 19"/>
                  <a:gd name="T26" fmla="*/ 2 w 13"/>
                  <a:gd name="T27" fmla="*/ 19 h 19"/>
                  <a:gd name="T28" fmla="*/ 0 w 13"/>
                  <a:gd name="T29" fmla="*/ 19 h 19"/>
                  <a:gd name="T30" fmla="*/ 2 w 13"/>
                  <a:gd name="T31" fmla="*/ 17 h 19"/>
                  <a:gd name="T32" fmla="*/ 2 w 13"/>
                  <a:gd name="T33" fmla="*/ 16 h 19"/>
                  <a:gd name="T34" fmla="*/ 2 w 13"/>
                  <a:gd name="T35" fmla="*/ 14 h 19"/>
                  <a:gd name="T36" fmla="*/ 3 w 13"/>
                  <a:gd name="T37" fmla="*/ 12 h 19"/>
                  <a:gd name="T38" fmla="*/ 3 w 13"/>
                  <a:gd name="T39" fmla="*/ 11 h 19"/>
                  <a:gd name="T40" fmla="*/ 5 w 13"/>
                  <a:gd name="T41" fmla="*/ 11 h 19"/>
                  <a:gd name="T42" fmla="*/ 10 w 13"/>
                  <a:gd name="T43" fmla="*/ 0 h 19"/>
                  <a:gd name="T44" fmla="*/ 13 w 13"/>
                  <a:gd name="T45" fmla="*/ 0 h 19"/>
                  <a:gd name="T46" fmla="*/ 13 w 13"/>
                  <a:gd name="T47" fmla="*/ 4 h 19"/>
                  <a:gd name="T48" fmla="*/ 10 w 13"/>
                  <a:gd name="T49" fmla="*/ 4 h 19"/>
                  <a:gd name="T50" fmla="*/ 10 w 13"/>
                  <a:gd name="T51" fmla="*/ 0 h 19"/>
                  <a:gd name="T52" fmla="*/ 7 w 13"/>
                  <a:gd name="T53" fmla="*/ 7 h 19"/>
                  <a:gd name="T54" fmla="*/ 7 w 13"/>
                  <a:gd name="T55" fmla="*/ 9 h 19"/>
                  <a:gd name="T56" fmla="*/ 7 w 13"/>
                  <a:gd name="T57" fmla="*/ 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 h="19">
                    <a:moveTo>
                      <a:pt x="5" y="11"/>
                    </a:moveTo>
                    <a:lnTo>
                      <a:pt x="7" y="11"/>
                    </a:lnTo>
                    <a:lnTo>
                      <a:pt x="7" y="12"/>
                    </a:lnTo>
                    <a:lnTo>
                      <a:pt x="7" y="14"/>
                    </a:lnTo>
                    <a:lnTo>
                      <a:pt x="7" y="16"/>
                    </a:lnTo>
                    <a:lnTo>
                      <a:pt x="5" y="17"/>
                    </a:lnTo>
                    <a:lnTo>
                      <a:pt x="3" y="17"/>
                    </a:lnTo>
                    <a:lnTo>
                      <a:pt x="3" y="19"/>
                    </a:lnTo>
                    <a:lnTo>
                      <a:pt x="3" y="17"/>
                    </a:lnTo>
                    <a:lnTo>
                      <a:pt x="3" y="19"/>
                    </a:lnTo>
                    <a:lnTo>
                      <a:pt x="3" y="17"/>
                    </a:lnTo>
                    <a:lnTo>
                      <a:pt x="3" y="19"/>
                    </a:lnTo>
                    <a:lnTo>
                      <a:pt x="2" y="17"/>
                    </a:lnTo>
                    <a:lnTo>
                      <a:pt x="2" y="19"/>
                    </a:lnTo>
                    <a:lnTo>
                      <a:pt x="0" y="19"/>
                    </a:lnTo>
                    <a:lnTo>
                      <a:pt x="2" y="17"/>
                    </a:lnTo>
                    <a:lnTo>
                      <a:pt x="2" y="16"/>
                    </a:lnTo>
                    <a:lnTo>
                      <a:pt x="2" y="14"/>
                    </a:lnTo>
                    <a:lnTo>
                      <a:pt x="3" y="12"/>
                    </a:lnTo>
                    <a:lnTo>
                      <a:pt x="3" y="11"/>
                    </a:lnTo>
                    <a:lnTo>
                      <a:pt x="5" y="11"/>
                    </a:lnTo>
                    <a:close/>
                    <a:moveTo>
                      <a:pt x="10" y="0"/>
                    </a:moveTo>
                    <a:lnTo>
                      <a:pt x="13" y="0"/>
                    </a:lnTo>
                    <a:lnTo>
                      <a:pt x="13" y="4"/>
                    </a:lnTo>
                    <a:lnTo>
                      <a:pt x="10" y="4"/>
                    </a:lnTo>
                    <a:lnTo>
                      <a:pt x="10" y="0"/>
                    </a:lnTo>
                    <a:close/>
                    <a:moveTo>
                      <a:pt x="7" y="7"/>
                    </a:moveTo>
                    <a:lnTo>
                      <a:pt x="7" y="9"/>
                    </a:lnTo>
                    <a:lnTo>
                      <a:pt x="7" y="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8" name="Freeform 35">
                <a:extLst>
                  <a:ext uri="{FF2B5EF4-FFF2-40B4-BE49-F238E27FC236}">
                    <a16:creationId xmlns:a16="http://schemas.microsoft.com/office/drawing/2014/main" id="{2C2C04CE-0F63-47A7-AC2F-3E7C6D314921}"/>
                  </a:ext>
                </a:extLst>
              </p:cNvPr>
              <p:cNvSpPr>
                <a:spLocks noEditPoints="1"/>
              </p:cNvSpPr>
              <p:nvPr/>
            </p:nvSpPr>
            <p:spPr bwMode="auto">
              <a:xfrm>
                <a:off x="5769340" y="2861949"/>
                <a:ext cx="42589" cy="72842"/>
              </a:xfrm>
              <a:custGeom>
                <a:avLst/>
                <a:gdLst>
                  <a:gd name="T0" fmla="*/ 140 w 145"/>
                  <a:gd name="T1" fmla="*/ 112 h 248"/>
                  <a:gd name="T2" fmla="*/ 138 w 145"/>
                  <a:gd name="T3" fmla="*/ 117 h 248"/>
                  <a:gd name="T4" fmla="*/ 128 w 145"/>
                  <a:gd name="T5" fmla="*/ 119 h 248"/>
                  <a:gd name="T6" fmla="*/ 118 w 145"/>
                  <a:gd name="T7" fmla="*/ 128 h 248"/>
                  <a:gd name="T8" fmla="*/ 116 w 145"/>
                  <a:gd name="T9" fmla="*/ 140 h 248"/>
                  <a:gd name="T10" fmla="*/ 114 w 145"/>
                  <a:gd name="T11" fmla="*/ 153 h 248"/>
                  <a:gd name="T12" fmla="*/ 123 w 145"/>
                  <a:gd name="T13" fmla="*/ 165 h 248"/>
                  <a:gd name="T14" fmla="*/ 128 w 145"/>
                  <a:gd name="T15" fmla="*/ 177 h 248"/>
                  <a:gd name="T16" fmla="*/ 133 w 145"/>
                  <a:gd name="T17" fmla="*/ 192 h 248"/>
                  <a:gd name="T18" fmla="*/ 128 w 145"/>
                  <a:gd name="T19" fmla="*/ 199 h 248"/>
                  <a:gd name="T20" fmla="*/ 119 w 145"/>
                  <a:gd name="T21" fmla="*/ 206 h 248"/>
                  <a:gd name="T22" fmla="*/ 118 w 145"/>
                  <a:gd name="T23" fmla="*/ 214 h 248"/>
                  <a:gd name="T24" fmla="*/ 118 w 145"/>
                  <a:gd name="T25" fmla="*/ 226 h 248"/>
                  <a:gd name="T26" fmla="*/ 106 w 145"/>
                  <a:gd name="T27" fmla="*/ 231 h 248"/>
                  <a:gd name="T28" fmla="*/ 99 w 145"/>
                  <a:gd name="T29" fmla="*/ 240 h 248"/>
                  <a:gd name="T30" fmla="*/ 94 w 145"/>
                  <a:gd name="T31" fmla="*/ 245 h 248"/>
                  <a:gd name="T32" fmla="*/ 84 w 145"/>
                  <a:gd name="T33" fmla="*/ 245 h 248"/>
                  <a:gd name="T34" fmla="*/ 70 w 145"/>
                  <a:gd name="T35" fmla="*/ 238 h 248"/>
                  <a:gd name="T36" fmla="*/ 62 w 145"/>
                  <a:gd name="T37" fmla="*/ 231 h 248"/>
                  <a:gd name="T38" fmla="*/ 57 w 145"/>
                  <a:gd name="T39" fmla="*/ 220 h 248"/>
                  <a:gd name="T40" fmla="*/ 51 w 145"/>
                  <a:gd name="T41" fmla="*/ 208 h 248"/>
                  <a:gd name="T42" fmla="*/ 48 w 145"/>
                  <a:gd name="T43" fmla="*/ 192 h 248"/>
                  <a:gd name="T44" fmla="*/ 51 w 145"/>
                  <a:gd name="T45" fmla="*/ 180 h 248"/>
                  <a:gd name="T46" fmla="*/ 53 w 145"/>
                  <a:gd name="T47" fmla="*/ 172 h 248"/>
                  <a:gd name="T48" fmla="*/ 58 w 145"/>
                  <a:gd name="T49" fmla="*/ 162 h 248"/>
                  <a:gd name="T50" fmla="*/ 60 w 145"/>
                  <a:gd name="T51" fmla="*/ 152 h 248"/>
                  <a:gd name="T52" fmla="*/ 57 w 145"/>
                  <a:gd name="T53" fmla="*/ 141 h 248"/>
                  <a:gd name="T54" fmla="*/ 46 w 145"/>
                  <a:gd name="T55" fmla="*/ 138 h 248"/>
                  <a:gd name="T56" fmla="*/ 46 w 145"/>
                  <a:gd name="T57" fmla="*/ 128 h 248"/>
                  <a:gd name="T58" fmla="*/ 43 w 145"/>
                  <a:gd name="T59" fmla="*/ 112 h 248"/>
                  <a:gd name="T60" fmla="*/ 31 w 145"/>
                  <a:gd name="T61" fmla="*/ 112 h 248"/>
                  <a:gd name="T62" fmla="*/ 0 w 145"/>
                  <a:gd name="T63" fmla="*/ 89 h 248"/>
                  <a:gd name="T64" fmla="*/ 9 w 145"/>
                  <a:gd name="T65" fmla="*/ 77 h 248"/>
                  <a:gd name="T66" fmla="*/ 7 w 145"/>
                  <a:gd name="T67" fmla="*/ 66 h 248"/>
                  <a:gd name="T68" fmla="*/ 16 w 145"/>
                  <a:gd name="T69" fmla="*/ 61 h 248"/>
                  <a:gd name="T70" fmla="*/ 24 w 145"/>
                  <a:gd name="T71" fmla="*/ 58 h 248"/>
                  <a:gd name="T72" fmla="*/ 36 w 145"/>
                  <a:gd name="T73" fmla="*/ 51 h 248"/>
                  <a:gd name="T74" fmla="*/ 29 w 145"/>
                  <a:gd name="T75" fmla="*/ 46 h 248"/>
                  <a:gd name="T76" fmla="*/ 26 w 145"/>
                  <a:gd name="T77" fmla="*/ 32 h 248"/>
                  <a:gd name="T78" fmla="*/ 38 w 145"/>
                  <a:gd name="T79" fmla="*/ 22 h 248"/>
                  <a:gd name="T80" fmla="*/ 50 w 145"/>
                  <a:gd name="T81" fmla="*/ 10 h 248"/>
                  <a:gd name="T82" fmla="*/ 53 w 145"/>
                  <a:gd name="T83" fmla="*/ 5 h 248"/>
                  <a:gd name="T84" fmla="*/ 63 w 145"/>
                  <a:gd name="T85" fmla="*/ 9 h 248"/>
                  <a:gd name="T86" fmla="*/ 79 w 145"/>
                  <a:gd name="T87" fmla="*/ 17 h 248"/>
                  <a:gd name="T88" fmla="*/ 91 w 145"/>
                  <a:gd name="T89" fmla="*/ 32 h 248"/>
                  <a:gd name="T90" fmla="*/ 99 w 145"/>
                  <a:gd name="T91" fmla="*/ 44 h 248"/>
                  <a:gd name="T92" fmla="*/ 96 w 145"/>
                  <a:gd name="T93" fmla="*/ 61 h 248"/>
                  <a:gd name="T94" fmla="*/ 94 w 145"/>
                  <a:gd name="T95" fmla="*/ 73 h 248"/>
                  <a:gd name="T96" fmla="*/ 97 w 145"/>
                  <a:gd name="T97" fmla="*/ 61 h 248"/>
                  <a:gd name="T98" fmla="*/ 111 w 145"/>
                  <a:gd name="T99" fmla="*/ 58 h 248"/>
                  <a:gd name="T100" fmla="*/ 125 w 145"/>
                  <a:gd name="T101" fmla="*/ 66 h 248"/>
                  <a:gd name="T102" fmla="*/ 135 w 145"/>
                  <a:gd name="T103" fmla="*/ 75 h 248"/>
                  <a:gd name="T104" fmla="*/ 145 w 145"/>
                  <a:gd name="T105" fmla="*/ 87 h 248"/>
                  <a:gd name="T106" fmla="*/ 99 w 145"/>
                  <a:gd name="T107" fmla="*/ 56 h 248"/>
                  <a:gd name="T108" fmla="*/ 102 w 145"/>
                  <a:gd name="T109" fmla="*/ 53 h 248"/>
                  <a:gd name="T110" fmla="*/ 101 w 145"/>
                  <a:gd name="T111" fmla="*/ 53 h 248"/>
                  <a:gd name="T112" fmla="*/ 99 w 145"/>
                  <a:gd name="T113" fmla="*/ 49 h 248"/>
                  <a:gd name="T114" fmla="*/ 97 w 145"/>
                  <a:gd name="T115" fmla="*/ 53 h 248"/>
                  <a:gd name="T116" fmla="*/ 97 w 145"/>
                  <a:gd name="T117" fmla="*/ 60 h 248"/>
                  <a:gd name="T118" fmla="*/ 94 w 145"/>
                  <a:gd name="T119" fmla="*/ 6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5" h="248">
                    <a:moveTo>
                      <a:pt x="143" y="97"/>
                    </a:moveTo>
                    <a:lnTo>
                      <a:pt x="143" y="99"/>
                    </a:lnTo>
                    <a:lnTo>
                      <a:pt x="142" y="100"/>
                    </a:lnTo>
                    <a:lnTo>
                      <a:pt x="142" y="102"/>
                    </a:lnTo>
                    <a:lnTo>
                      <a:pt x="140" y="104"/>
                    </a:lnTo>
                    <a:lnTo>
                      <a:pt x="140" y="106"/>
                    </a:lnTo>
                    <a:lnTo>
                      <a:pt x="140" y="107"/>
                    </a:lnTo>
                    <a:lnTo>
                      <a:pt x="138" y="107"/>
                    </a:lnTo>
                    <a:lnTo>
                      <a:pt x="138" y="109"/>
                    </a:lnTo>
                    <a:lnTo>
                      <a:pt x="140" y="109"/>
                    </a:lnTo>
                    <a:lnTo>
                      <a:pt x="140" y="111"/>
                    </a:lnTo>
                    <a:lnTo>
                      <a:pt x="140" y="112"/>
                    </a:lnTo>
                    <a:lnTo>
                      <a:pt x="140" y="111"/>
                    </a:lnTo>
                    <a:lnTo>
                      <a:pt x="142" y="111"/>
                    </a:lnTo>
                    <a:lnTo>
                      <a:pt x="142" y="112"/>
                    </a:lnTo>
                    <a:lnTo>
                      <a:pt x="143" y="112"/>
                    </a:lnTo>
                    <a:lnTo>
                      <a:pt x="143" y="114"/>
                    </a:lnTo>
                    <a:lnTo>
                      <a:pt x="142" y="114"/>
                    </a:lnTo>
                    <a:lnTo>
                      <a:pt x="142" y="116"/>
                    </a:lnTo>
                    <a:lnTo>
                      <a:pt x="142" y="114"/>
                    </a:lnTo>
                    <a:lnTo>
                      <a:pt x="140" y="114"/>
                    </a:lnTo>
                    <a:lnTo>
                      <a:pt x="138" y="114"/>
                    </a:lnTo>
                    <a:lnTo>
                      <a:pt x="138" y="116"/>
                    </a:lnTo>
                    <a:lnTo>
                      <a:pt x="138" y="117"/>
                    </a:lnTo>
                    <a:lnTo>
                      <a:pt x="140" y="117"/>
                    </a:lnTo>
                    <a:lnTo>
                      <a:pt x="140" y="119"/>
                    </a:lnTo>
                    <a:lnTo>
                      <a:pt x="138" y="119"/>
                    </a:lnTo>
                    <a:lnTo>
                      <a:pt x="136" y="119"/>
                    </a:lnTo>
                    <a:lnTo>
                      <a:pt x="135" y="119"/>
                    </a:lnTo>
                    <a:lnTo>
                      <a:pt x="135" y="121"/>
                    </a:lnTo>
                    <a:lnTo>
                      <a:pt x="135" y="119"/>
                    </a:lnTo>
                    <a:lnTo>
                      <a:pt x="133" y="119"/>
                    </a:lnTo>
                    <a:lnTo>
                      <a:pt x="133" y="121"/>
                    </a:lnTo>
                    <a:lnTo>
                      <a:pt x="131" y="119"/>
                    </a:lnTo>
                    <a:lnTo>
                      <a:pt x="130" y="119"/>
                    </a:lnTo>
                    <a:lnTo>
                      <a:pt x="128" y="119"/>
                    </a:lnTo>
                    <a:lnTo>
                      <a:pt x="128" y="121"/>
                    </a:lnTo>
                    <a:lnTo>
                      <a:pt x="126" y="119"/>
                    </a:lnTo>
                    <a:lnTo>
                      <a:pt x="125" y="119"/>
                    </a:lnTo>
                    <a:lnTo>
                      <a:pt x="125" y="121"/>
                    </a:lnTo>
                    <a:lnTo>
                      <a:pt x="123" y="121"/>
                    </a:lnTo>
                    <a:lnTo>
                      <a:pt x="123" y="123"/>
                    </a:lnTo>
                    <a:lnTo>
                      <a:pt x="121" y="123"/>
                    </a:lnTo>
                    <a:lnTo>
                      <a:pt x="119" y="123"/>
                    </a:lnTo>
                    <a:lnTo>
                      <a:pt x="119" y="124"/>
                    </a:lnTo>
                    <a:lnTo>
                      <a:pt x="118" y="124"/>
                    </a:lnTo>
                    <a:lnTo>
                      <a:pt x="118" y="126"/>
                    </a:lnTo>
                    <a:lnTo>
                      <a:pt x="118" y="128"/>
                    </a:lnTo>
                    <a:lnTo>
                      <a:pt x="119" y="128"/>
                    </a:lnTo>
                    <a:lnTo>
                      <a:pt x="119" y="129"/>
                    </a:lnTo>
                    <a:lnTo>
                      <a:pt x="121" y="129"/>
                    </a:lnTo>
                    <a:lnTo>
                      <a:pt x="121" y="131"/>
                    </a:lnTo>
                    <a:lnTo>
                      <a:pt x="121" y="133"/>
                    </a:lnTo>
                    <a:lnTo>
                      <a:pt x="119" y="133"/>
                    </a:lnTo>
                    <a:lnTo>
                      <a:pt x="119" y="135"/>
                    </a:lnTo>
                    <a:lnTo>
                      <a:pt x="119" y="136"/>
                    </a:lnTo>
                    <a:lnTo>
                      <a:pt x="118" y="136"/>
                    </a:lnTo>
                    <a:lnTo>
                      <a:pt x="118" y="138"/>
                    </a:lnTo>
                    <a:lnTo>
                      <a:pt x="118" y="140"/>
                    </a:lnTo>
                    <a:lnTo>
                      <a:pt x="116" y="140"/>
                    </a:lnTo>
                    <a:lnTo>
                      <a:pt x="116" y="141"/>
                    </a:lnTo>
                    <a:lnTo>
                      <a:pt x="118" y="141"/>
                    </a:lnTo>
                    <a:lnTo>
                      <a:pt x="118" y="143"/>
                    </a:lnTo>
                    <a:lnTo>
                      <a:pt x="116" y="143"/>
                    </a:lnTo>
                    <a:lnTo>
                      <a:pt x="116" y="145"/>
                    </a:lnTo>
                    <a:lnTo>
                      <a:pt x="114" y="145"/>
                    </a:lnTo>
                    <a:lnTo>
                      <a:pt x="114" y="146"/>
                    </a:lnTo>
                    <a:lnTo>
                      <a:pt x="114" y="148"/>
                    </a:lnTo>
                    <a:lnTo>
                      <a:pt x="113" y="148"/>
                    </a:lnTo>
                    <a:lnTo>
                      <a:pt x="114" y="150"/>
                    </a:lnTo>
                    <a:lnTo>
                      <a:pt x="114" y="152"/>
                    </a:lnTo>
                    <a:lnTo>
                      <a:pt x="114" y="153"/>
                    </a:lnTo>
                    <a:lnTo>
                      <a:pt x="114" y="155"/>
                    </a:lnTo>
                    <a:lnTo>
                      <a:pt x="116" y="155"/>
                    </a:lnTo>
                    <a:lnTo>
                      <a:pt x="116" y="157"/>
                    </a:lnTo>
                    <a:lnTo>
                      <a:pt x="118" y="157"/>
                    </a:lnTo>
                    <a:lnTo>
                      <a:pt x="118" y="158"/>
                    </a:lnTo>
                    <a:lnTo>
                      <a:pt x="119" y="158"/>
                    </a:lnTo>
                    <a:lnTo>
                      <a:pt x="119" y="160"/>
                    </a:lnTo>
                    <a:lnTo>
                      <a:pt x="119" y="162"/>
                    </a:lnTo>
                    <a:lnTo>
                      <a:pt x="121" y="162"/>
                    </a:lnTo>
                    <a:lnTo>
                      <a:pt x="121" y="163"/>
                    </a:lnTo>
                    <a:lnTo>
                      <a:pt x="121" y="165"/>
                    </a:lnTo>
                    <a:lnTo>
                      <a:pt x="123" y="165"/>
                    </a:lnTo>
                    <a:lnTo>
                      <a:pt x="123" y="167"/>
                    </a:lnTo>
                    <a:lnTo>
                      <a:pt x="125" y="167"/>
                    </a:lnTo>
                    <a:lnTo>
                      <a:pt x="125" y="169"/>
                    </a:lnTo>
                    <a:lnTo>
                      <a:pt x="126" y="169"/>
                    </a:lnTo>
                    <a:lnTo>
                      <a:pt x="128" y="169"/>
                    </a:lnTo>
                    <a:lnTo>
                      <a:pt x="128" y="170"/>
                    </a:lnTo>
                    <a:lnTo>
                      <a:pt x="126" y="170"/>
                    </a:lnTo>
                    <a:lnTo>
                      <a:pt x="126" y="172"/>
                    </a:lnTo>
                    <a:lnTo>
                      <a:pt x="126" y="174"/>
                    </a:lnTo>
                    <a:lnTo>
                      <a:pt x="126" y="175"/>
                    </a:lnTo>
                    <a:lnTo>
                      <a:pt x="128" y="175"/>
                    </a:lnTo>
                    <a:lnTo>
                      <a:pt x="128" y="177"/>
                    </a:lnTo>
                    <a:lnTo>
                      <a:pt x="130" y="177"/>
                    </a:lnTo>
                    <a:lnTo>
                      <a:pt x="128" y="179"/>
                    </a:lnTo>
                    <a:lnTo>
                      <a:pt x="128" y="180"/>
                    </a:lnTo>
                    <a:lnTo>
                      <a:pt x="128" y="182"/>
                    </a:lnTo>
                    <a:lnTo>
                      <a:pt x="128" y="184"/>
                    </a:lnTo>
                    <a:lnTo>
                      <a:pt x="130" y="184"/>
                    </a:lnTo>
                    <a:lnTo>
                      <a:pt x="130" y="186"/>
                    </a:lnTo>
                    <a:lnTo>
                      <a:pt x="131" y="187"/>
                    </a:lnTo>
                    <a:lnTo>
                      <a:pt x="133" y="187"/>
                    </a:lnTo>
                    <a:lnTo>
                      <a:pt x="133" y="189"/>
                    </a:lnTo>
                    <a:lnTo>
                      <a:pt x="133" y="191"/>
                    </a:lnTo>
                    <a:lnTo>
                      <a:pt x="133" y="192"/>
                    </a:lnTo>
                    <a:lnTo>
                      <a:pt x="133" y="191"/>
                    </a:lnTo>
                    <a:lnTo>
                      <a:pt x="133" y="192"/>
                    </a:lnTo>
                    <a:lnTo>
                      <a:pt x="135" y="191"/>
                    </a:lnTo>
                    <a:lnTo>
                      <a:pt x="135" y="192"/>
                    </a:lnTo>
                    <a:lnTo>
                      <a:pt x="135" y="194"/>
                    </a:lnTo>
                    <a:lnTo>
                      <a:pt x="135" y="196"/>
                    </a:lnTo>
                    <a:lnTo>
                      <a:pt x="133" y="196"/>
                    </a:lnTo>
                    <a:lnTo>
                      <a:pt x="133" y="197"/>
                    </a:lnTo>
                    <a:lnTo>
                      <a:pt x="131" y="197"/>
                    </a:lnTo>
                    <a:lnTo>
                      <a:pt x="130" y="197"/>
                    </a:lnTo>
                    <a:lnTo>
                      <a:pt x="130" y="199"/>
                    </a:lnTo>
                    <a:lnTo>
                      <a:pt x="128" y="199"/>
                    </a:lnTo>
                    <a:lnTo>
                      <a:pt x="128" y="197"/>
                    </a:lnTo>
                    <a:lnTo>
                      <a:pt x="128" y="199"/>
                    </a:lnTo>
                    <a:lnTo>
                      <a:pt x="128" y="201"/>
                    </a:lnTo>
                    <a:lnTo>
                      <a:pt x="126" y="199"/>
                    </a:lnTo>
                    <a:lnTo>
                      <a:pt x="126" y="201"/>
                    </a:lnTo>
                    <a:lnTo>
                      <a:pt x="125" y="201"/>
                    </a:lnTo>
                    <a:lnTo>
                      <a:pt x="123" y="201"/>
                    </a:lnTo>
                    <a:lnTo>
                      <a:pt x="123" y="203"/>
                    </a:lnTo>
                    <a:lnTo>
                      <a:pt x="123" y="204"/>
                    </a:lnTo>
                    <a:lnTo>
                      <a:pt x="123" y="206"/>
                    </a:lnTo>
                    <a:lnTo>
                      <a:pt x="121" y="206"/>
                    </a:lnTo>
                    <a:lnTo>
                      <a:pt x="119" y="206"/>
                    </a:lnTo>
                    <a:lnTo>
                      <a:pt x="119" y="208"/>
                    </a:lnTo>
                    <a:lnTo>
                      <a:pt x="118" y="208"/>
                    </a:lnTo>
                    <a:lnTo>
                      <a:pt x="118" y="209"/>
                    </a:lnTo>
                    <a:lnTo>
                      <a:pt x="119" y="209"/>
                    </a:lnTo>
                    <a:lnTo>
                      <a:pt x="119" y="208"/>
                    </a:lnTo>
                    <a:lnTo>
                      <a:pt x="121" y="209"/>
                    </a:lnTo>
                    <a:lnTo>
                      <a:pt x="119" y="209"/>
                    </a:lnTo>
                    <a:lnTo>
                      <a:pt x="119" y="211"/>
                    </a:lnTo>
                    <a:lnTo>
                      <a:pt x="118" y="211"/>
                    </a:lnTo>
                    <a:lnTo>
                      <a:pt x="119" y="213"/>
                    </a:lnTo>
                    <a:lnTo>
                      <a:pt x="118" y="213"/>
                    </a:lnTo>
                    <a:lnTo>
                      <a:pt x="118" y="214"/>
                    </a:lnTo>
                    <a:lnTo>
                      <a:pt x="118" y="216"/>
                    </a:lnTo>
                    <a:lnTo>
                      <a:pt x="119" y="216"/>
                    </a:lnTo>
                    <a:lnTo>
                      <a:pt x="118" y="218"/>
                    </a:lnTo>
                    <a:lnTo>
                      <a:pt x="119" y="218"/>
                    </a:lnTo>
                    <a:lnTo>
                      <a:pt x="118" y="218"/>
                    </a:lnTo>
                    <a:lnTo>
                      <a:pt x="118" y="220"/>
                    </a:lnTo>
                    <a:lnTo>
                      <a:pt x="119" y="220"/>
                    </a:lnTo>
                    <a:lnTo>
                      <a:pt x="118" y="220"/>
                    </a:lnTo>
                    <a:lnTo>
                      <a:pt x="118" y="221"/>
                    </a:lnTo>
                    <a:lnTo>
                      <a:pt x="118" y="223"/>
                    </a:lnTo>
                    <a:lnTo>
                      <a:pt x="118" y="225"/>
                    </a:lnTo>
                    <a:lnTo>
                      <a:pt x="118" y="226"/>
                    </a:lnTo>
                    <a:lnTo>
                      <a:pt x="118" y="228"/>
                    </a:lnTo>
                    <a:lnTo>
                      <a:pt x="116" y="228"/>
                    </a:lnTo>
                    <a:lnTo>
                      <a:pt x="114" y="228"/>
                    </a:lnTo>
                    <a:lnTo>
                      <a:pt x="113" y="228"/>
                    </a:lnTo>
                    <a:lnTo>
                      <a:pt x="111" y="228"/>
                    </a:lnTo>
                    <a:lnTo>
                      <a:pt x="109" y="228"/>
                    </a:lnTo>
                    <a:lnTo>
                      <a:pt x="108" y="228"/>
                    </a:lnTo>
                    <a:lnTo>
                      <a:pt x="108" y="230"/>
                    </a:lnTo>
                    <a:lnTo>
                      <a:pt x="108" y="228"/>
                    </a:lnTo>
                    <a:lnTo>
                      <a:pt x="108" y="230"/>
                    </a:lnTo>
                    <a:lnTo>
                      <a:pt x="108" y="231"/>
                    </a:lnTo>
                    <a:lnTo>
                      <a:pt x="106" y="231"/>
                    </a:lnTo>
                    <a:lnTo>
                      <a:pt x="106" y="233"/>
                    </a:lnTo>
                    <a:lnTo>
                      <a:pt x="104" y="233"/>
                    </a:lnTo>
                    <a:lnTo>
                      <a:pt x="104" y="235"/>
                    </a:lnTo>
                    <a:lnTo>
                      <a:pt x="104" y="237"/>
                    </a:lnTo>
                    <a:lnTo>
                      <a:pt x="102" y="237"/>
                    </a:lnTo>
                    <a:lnTo>
                      <a:pt x="102" y="238"/>
                    </a:lnTo>
                    <a:lnTo>
                      <a:pt x="102" y="240"/>
                    </a:lnTo>
                    <a:lnTo>
                      <a:pt x="101" y="238"/>
                    </a:lnTo>
                    <a:lnTo>
                      <a:pt x="101" y="240"/>
                    </a:lnTo>
                    <a:lnTo>
                      <a:pt x="99" y="240"/>
                    </a:lnTo>
                    <a:lnTo>
                      <a:pt x="97" y="240"/>
                    </a:lnTo>
                    <a:lnTo>
                      <a:pt x="99" y="240"/>
                    </a:lnTo>
                    <a:lnTo>
                      <a:pt x="97" y="242"/>
                    </a:lnTo>
                    <a:lnTo>
                      <a:pt x="99" y="242"/>
                    </a:lnTo>
                    <a:lnTo>
                      <a:pt x="99" y="243"/>
                    </a:lnTo>
                    <a:lnTo>
                      <a:pt x="99" y="245"/>
                    </a:lnTo>
                    <a:lnTo>
                      <a:pt x="99" y="247"/>
                    </a:lnTo>
                    <a:lnTo>
                      <a:pt x="97" y="245"/>
                    </a:lnTo>
                    <a:lnTo>
                      <a:pt x="97" y="247"/>
                    </a:lnTo>
                    <a:lnTo>
                      <a:pt x="97" y="245"/>
                    </a:lnTo>
                    <a:lnTo>
                      <a:pt x="96" y="245"/>
                    </a:lnTo>
                    <a:lnTo>
                      <a:pt x="96" y="247"/>
                    </a:lnTo>
                    <a:lnTo>
                      <a:pt x="96" y="245"/>
                    </a:lnTo>
                    <a:lnTo>
                      <a:pt x="94" y="245"/>
                    </a:lnTo>
                    <a:lnTo>
                      <a:pt x="92" y="245"/>
                    </a:lnTo>
                    <a:lnTo>
                      <a:pt x="91" y="245"/>
                    </a:lnTo>
                    <a:lnTo>
                      <a:pt x="91" y="247"/>
                    </a:lnTo>
                    <a:lnTo>
                      <a:pt x="91" y="248"/>
                    </a:lnTo>
                    <a:lnTo>
                      <a:pt x="89" y="248"/>
                    </a:lnTo>
                    <a:lnTo>
                      <a:pt x="87" y="248"/>
                    </a:lnTo>
                    <a:lnTo>
                      <a:pt x="85" y="248"/>
                    </a:lnTo>
                    <a:lnTo>
                      <a:pt x="85" y="247"/>
                    </a:lnTo>
                    <a:lnTo>
                      <a:pt x="84" y="247"/>
                    </a:lnTo>
                    <a:lnTo>
                      <a:pt x="85" y="247"/>
                    </a:lnTo>
                    <a:lnTo>
                      <a:pt x="85" y="245"/>
                    </a:lnTo>
                    <a:lnTo>
                      <a:pt x="84" y="245"/>
                    </a:lnTo>
                    <a:lnTo>
                      <a:pt x="82" y="245"/>
                    </a:lnTo>
                    <a:lnTo>
                      <a:pt x="82" y="243"/>
                    </a:lnTo>
                    <a:lnTo>
                      <a:pt x="80" y="243"/>
                    </a:lnTo>
                    <a:lnTo>
                      <a:pt x="79" y="243"/>
                    </a:lnTo>
                    <a:lnTo>
                      <a:pt x="77" y="243"/>
                    </a:lnTo>
                    <a:lnTo>
                      <a:pt x="75" y="243"/>
                    </a:lnTo>
                    <a:lnTo>
                      <a:pt x="75" y="242"/>
                    </a:lnTo>
                    <a:lnTo>
                      <a:pt x="74" y="242"/>
                    </a:lnTo>
                    <a:lnTo>
                      <a:pt x="72" y="242"/>
                    </a:lnTo>
                    <a:lnTo>
                      <a:pt x="72" y="240"/>
                    </a:lnTo>
                    <a:lnTo>
                      <a:pt x="70" y="240"/>
                    </a:lnTo>
                    <a:lnTo>
                      <a:pt x="70" y="238"/>
                    </a:lnTo>
                    <a:lnTo>
                      <a:pt x="68" y="238"/>
                    </a:lnTo>
                    <a:lnTo>
                      <a:pt x="68" y="237"/>
                    </a:lnTo>
                    <a:lnTo>
                      <a:pt x="67" y="237"/>
                    </a:lnTo>
                    <a:lnTo>
                      <a:pt x="67" y="235"/>
                    </a:lnTo>
                    <a:lnTo>
                      <a:pt x="65" y="235"/>
                    </a:lnTo>
                    <a:lnTo>
                      <a:pt x="65" y="233"/>
                    </a:lnTo>
                    <a:lnTo>
                      <a:pt x="65" y="231"/>
                    </a:lnTo>
                    <a:lnTo>
                      <a:pt x="65" y="233"/>
                    </a:lnTo>
                    <a:lnTo>
                      <a:pt x="63" y="231"/>
                    </a:lnTo>
                    <a:lnTo>
                      <a:pt x="63" y="230"/>
                    </a:lnTo>
                    <a:lnTo>
                      <a:pt x="62" y="230"/>
                    </a:lnTo>
                    <a:lnTo>
                      <a:pt x="62" y="231"/>
                    </a:lnTo>
                    <a:lnTo>
                      <a:pt x="60" y="231"/>
                    </a:lnTo>
                    <a:lnTo>
                      <a:pt x="60" y="230"/>
                    </a:lnTo>
                    <a:lnTo>
                      <a:pt x="58" y="230"/>
                    </a:lnTo>
                    <a:lnTo>
                      <a:pt x="58" y="228"/>
                    </a:lnTo>
                    <a:lnTo>
                      <a:pt x="60" y="228"/>
                    </a:lnTo>
                    <a:lnTo>
                      <a:pt x="60" y="226"/>
                    </a:lnTo>
                    <a:lnTo>
                      <a:pt x="58" y="226"/>
                    </a:lnTo>
                    <a:lnTo>
                      <a:pt x="57" y="226"/>
                    </a:lnTo>
                    <a:lnTo>
                      <a:pt x="57" y="225"/>
                    </a:lnTo>
                    <a:lnTo>
                      <a:pt x="57" y="223"/>
                    </a:lnTo>
                    <a:lnTo>
                      <a:pt x="57" y="221"/>
                    </a:lnTo>
                    <a:lnTo>
                      <a:pt x="57" y="220"/>
                    </a:lnTo>
                    <a:lnTo>
                      <a:pt x="57" y="218"/>
                    </a:lnTo>
                    <a:lnTo>
                      <a:pt x="57" y="216"/>
                    </a:lnTo>
                    <a:lnTo>
                      <a:pt x="57" y="214"/>
                    </a:lnTo>
                    <a:lnTo>
                      <a:pt x="57" y="213"/>
                    </a:lnTo>
                    <a:lnTo>
                      <a:pt x="57" y="211"/>
                    </a:lnTo>
                    <a:lnTo>
                      <a:pt x="55" y="211"/>
                    </a:lnTo>
                    <a:lnTo>
                      <a:pt x="53" y="211"/>
                    </a:lnTo>
                    <a:lnTo>
                      <a:pt x="53" y="209"/>
                    </a:lnTo>
                    <a:lnTo>
                      <a:pt x="53" y="211"/>
                    </a:lnTo>
                    <a:lnTo>
                      <a:pt x="53" y="209"/>
                    </a:lnTo>
                    <a:lnTo>
                      <a:pt x="51" y="209"/>
                    </a:lnTo>
                    <a:lnTo>
                      <a:pt x="51" y="208"/>
                    </a:lnTo>
                    <a:lnTo>
                      <a:pt x="51" y="206"/>
                    </a:lnTo>
                    <a:lnTo>
                      <a:pt x="51" y="204"/>
                    </a:lnTo>
                    <a:lnTo>
                      <a:pt x="50" y="204"/>
                    </a:lnTo>
                    <a:lnTo>
                      <a:pt x="50" y="203"/>
                    </a:lnTo>
                    <a:lnTo>
                      <a:pt x="50" y="201"/>
                    </a:lnTo>
                    <a:lnTo>
                      <a:pt x="48" y="201"/>
                    </a:lnTo>
                    <a:lnTo>
                      <a:pt x="50" y="201"/>
                    </a:lnTo>
                    <a:lnTo>
                      <a:pt x="48" y="199"/>
                    </a:lnTo>
                    <a:lnTo>
                      <a:pt x="48" y="197"/>
                    </a:lnTo>
                    <a:lnTo>
                      <a:pt x="48" y="196"/>
                    </a:lnTo>
                    <a:lnTo>
                      <a:pt x="48" y="194"/>
                    </a:lnTo>
                    <a:lnTo>
                      <a:pt x="48" y="192"/>
                    </a:lnTo>
                    <a:lnTo>
                      <a:pt x="48" y="191"/>
                    </a:lnTo>
                    <a:lnTo>
                      <a:pt x="48" y="189"/>
                    </a:lnTo>
                    <a:lnTo>
                      <a:pt x="50" y="189"/>
                    </a:lnTo>
                    <a:lnTo>
                      <a:pt x="50" y="187"/>
                    </a:lnTo>
                    <a:lnTo>
                      <a:pt x="50" y="186"/>
                    </a:lnTo>
                    <a:lnTo>
                      <a:pt x="50" y="184"/>
                    </a:lnTo>
                    <a:lnTo>
                      <a:pt x="51" y="184"/>
                    </a:lnTo>
                    <a:lnTo>
                      <a:pt x="50" y="184"/>
                    </a:lnTo>
                    <a:lnTo>
                      <a:pt x="51" y="182"/>
                    </a:lnTo>
                    <a:lnTo>
                      <a:pt x="50" y="182"/>
                    </a:lnTo>
                    <a:lnTo>
                      <a:pt x="51" y="182"/>
                    </a:lnTo>
                    <a:lnTo>
                      <a:pt x="51" y="180"/>
                    </a:lnTo>
                    <a:lnTo>
                      <a:pt x="51" y="179"/>
                    </a:lnTo>
                    <a:lnTo>
                      <a:pt x="53" y="179"/>
                    </a:lnTo>
                    <a:lnTo>
                      <a:pt x="53" y="177"/>
                    </a:lnTo>
                    <a:lnTo>
                      <a:pt x="53" y="175"/>
                    </a:lnTo>
                    <a:lnTo>
                      <a:pt x="55" y="175"/>
                    </a:lnTo>
                    <a:lnTo>
                      <a:pt x="55" y="174"/>
                    </a:lnTo>
                    <a:lnTo>
                      <a:pt x="53" y="174"/>
                    </a:lnTo>
                    <a:lnTo>
                      <a:pt x="55" y="174"/>
                    </a:lnTo>
                    <a:lnTo>
                      <a:pt x="53" y="174"/>
                    </a:lnTo>
                    <a:lnTo>
                      <a:pt x="53" y="172"/>
                    </a:lnTo>
                    <a:lnTo>
                      <a:pt x="55" y="172"/>
                    </a:lnTo>
                    <a:lnTo>
                      <a:pt x="53" y="172"/>
                    </a:lnTo>
                    <a:lnTo>
                      <a:pt x="55" y="170"/>
                    </a:lnTo>
                    <a:lnTo>
                      <a:pt x="53" y="170"/>
                    </a:lnTo>
                    <a:lnTo>
                      <a:pt x="53" y="169"/>
                    </a:lnTo>
                    <a:lnTo>
                      <a:pt x="51" y="169"/>
                    </a:lnTo>
                    <a:lnTo>
                      <a:pt x="53" y="169"/>
                    </a:lnTo>
                    <a:lnTo>
                      <a:pt x="51" y="169"/>
                    </a:lnTo>
                    <a:lnTo>
                      <a:pt x="53" y="169"/>
                    </a:lnTo>
                    <a:lnTo>
                      <a:pt x="53" y="167"/>
                    </a:lnTo>
                    <a:lnTo>
                      <a:pt x="55" y="167"/>
                    </a:lnTo>
                    <a:lnTo>
                      <a:pt x="57" y="165"/>
                    </a:lnTo>
                    <a:lnTo>
                      <a:pt x="58" y="163"/>
                    </a:lnTo>
                    <a:lnTo>
                      <a:pt x="58" y="162"/>
                    </a:lnTo>
                    <a:lnTo>
                      <a:pt x="60" y="162"/>
                    </a:lnTo>
                    <a:lnTo>
                      <a:pt x="60" y="160"/>
                    </a:lnTo>
                    <a:lnTo>
                      <a:pt x="60" y="162"/>
                    </a:lnTo>
                    <a:lnTo>
                      <a:pt x="60" y="160"/>
                    </a:lnTo>
                    <a:lnTo>
                      <a:pt x="62" y="160"/>
                    </a:lnTo>
                    <a:lnTo>
                      <a:pt x="62" y="158"/>
                    </a:lnTo>
                    <a:lnTo>
                      <a:pt x="62" y="157"/>
                    </a:lnTo>
                    <a:lnTo>
                      <a:pt x="63" y="157"/>
                    </a:lnTo>
                    <a:lnTo>
                      <a:pt x="63" y="155"/>
                    </a:lnTo>
                    <a:lnTo>
                      <a:pt x="62" y="155"/>
                    </a:lnTo>
                    <a:lnTo>
                      <a:pt x="62" y="153"/>
                    </a:lnTo>
                    <a:lnTo>
                      <a:pt x="60" y="152"/>
                    </a:lnTo>
                    <a:lnTo>
                      <a:pt x="60" y="150"/>
                    </a:lnTo>
                    <a:lnTo>
                      <a:pt x="60" y="148"/>
                    </a:lnTo>
                    <a:lnTo>
                      <a:pt x="58" y="148"/>
                    </a:lnTo>
                    <a:lnTo>
                      <a:pt x="57" y="148"/>
                    </a:lnTo>
                    <a:lnTo>
                      <a:pt x="57" y="146"/>
                    </a:lnTo>
                    <a:lnTo>
                      <a:pt x="57" y="145"/>
                    </a:lnTo>
                    <a:lnTo>
                      <a:pt x="58" y="145"/>
                    </a:lnTo>
                    <a:lnTo>
                      <a:pt x="57" y="145"/>
                    </a:lnTo>
                    <a:lnTo>
                      <a:pt x="57" y="143"/>
                    </a:lnTo>
                    <a:lnTo>
                      <a:pt x="58" y="143"/>
                    </a:lnTo>
                    <a:lnTo>
                      <a:pt x="58" y="141"/>
                    </a:lnTo>
                    <a:lnTo>
                      <a:pt x="57" y="141"/>
                    </a:lnTo>
                    <a:lnTo>
                      <a:pt x="57" y="140"/>
                    </a:lnTo>
                    <a:lnTo>
                      <a:pt x="55" y="138"/>
                    </a:lnTo>
                    <a:lnTo>
                      <a:pt x="53" y="138"/>
                    </a:lnTo>
                    <a:lnTo>
                      <a:pt x="51" y="138"/>
                    </a:lnTo>
                    <a:lnTo>
                      <a:pt x="53" y="138"/>
                    </a:lnTo>
                    <a:lnTo>
                      <a:pt x="51" y="138"/>
                    </a:lnTo>
                    <a:lnTo>
                      <a:pt x="50" y="138"/>
                    </a:lnTo>
                    <a:lnTo>
                      <a:pt x="50" y="136"/>
                    </a:lnTo>
                    <a:lnTo>
                      <a:pt x="48" y="136"/>
                    </a:lnTo>
                    <a:lnTo>
                      <a:pt x="48" y="138"/>
                    </a:lnTo>
                    <a:lnTo>
                      <a:pt x="48" y="136"/>
                    </a:lnTo>
                    <a:lnTo>
                      <a:pt x="46" y="138"/>
                    </a:lnTo>
                    <a:lnTo>
                      <a:pt x="46" y="136"/>
                    </a:lnTo>
                    <a:lnTo>
                      <a:pt x="45" y="136"/>
                    </a:lnTo>
                    <a:lnTo>
                      <a:pt x="46" y="136"/>
                    </a:lnTo>
                    <a:lnTo>
                      <a:pt x="45" y="136"/>
                    </a:lnTo>
                    <a:lnTo>
                      <a:pt x="43" y="136"/>
                    </a:lnTo>
                    <a:lnTo>
                      <a:pt x="43" y="135"/>
                    </a:lnTo>
                    <a:lnTo>
                      <a:pt x="43" y="133"/>
                    </a:lnTo>
                    <a:lnTo>
                      <a:pt x="45" y="133"/>
                    </a:lnTo>
                    <a:lnTo>
                      <a:pt x="45" y="131"/>
                    </a:lnTo>
                    <a:lnTo>
                      <a:pt x="46" y="131"/>
                    </a:lnTo>
                    <a:lnTo>
                      <a:pt x="46" y="129"/>
                    </a:lnTo>
                    <a:lnTo>
                      <a:pt x="46" y="128"/>
                    </a:lnTo>
                    <a:lnTo>
                      <a:pt x="46" y="126"/>
                    </a:lnTo>
                    <a:lnTo>
                      <a:pt x="48" y="124"/>
                    </a:lnTo>
                    <a:lnTo>
                      <a:pt x="48" y="123"/>
                    </a:lnTo>
                    <a:lnTo>
                      <a:pt x="48" y="121"/>
                    </a:lnTo>
                    <a:lnTo>
                      <a:pt x="48" y="119"/>
                    </a:lnTo>
                    <a:lnTo>
                      <a:pt x="48" y="117"/>
                    </a:lnTo>
                    <a:lnTo>
                      <a:pt x="46" y="117"/>
                    </a:lnTo>
                    <a:lnTo>
                      <a:pt x="46" y="116"/>
                    </a:lnTo>
                    <a:lnTo>
                      <a:pt x="45" y="116"/>
                    </a:lnTo>
                    <a:lnTo>
                      <a:pt x="45" y="114"/>
                    </a:lnTo>
                    <a:lnTo>
                      <a:pt x="45" y="112"/>
                    </a:lnTo>
                    <a:lnTo>
                      <a:pt x="43" y="112"/>
                    </a:lnTo>
                    <a:lnTo>
                      <a:pt x="43" y="111"/>
                    </a:lnTo>
                    <a:lnTo>
                      <a:pt x="43" y="112"/>
                    </a:lnTo>
                    <a:lnTo>
                      <a:pt x="41" y="112"/>
                    </a:lnTo>
                    <a:lnTo>
                      <a:pt x="41" y="111"/>
                    </a:lnTo>
                    <a:lnTo>
                      <a:pt x="40" y="111"/>
                    </a:lnTo>
                    <a:lnTo>
                      <a:pt x="38" y="112"/>
                    </a:lnTo>
                    <a:lnTo>
                      <a:pt x="36" y="112"/>
                    </a:lnTo>
                    <a:lnTo>
                      <a:pt x="34" y="112"/>
                    </a:lnTo>
                    <a:lnTo>
                      <a:pt x="33" y="112"/>
                    </a:lnTo>
                    <a:lnTo>
                      <a:pt x="33" y="114"/>
                    </a:lnTo>
                    <a:lnTo>
                      <a:pt x="33" y="112"/>
                    </a:lnTo>
                    <a:lnTo>
                      <a:pt x="31" y="112"/>
                    </a:lnTo>
                    <a:lnTo>
                      <a:pt x="29" y="112"/>
                    </a:lnTo>
                    <a:lnTo>
                      <a:pt x="28" y="112"/>
                    </a:lnTo>
                    <a:lnTo>
                      <a:pt x="26" y="112"/>
                    </a:lnTo>
                    <a:lnTo>
                      <a:pt x="24" y="112"/>
                    </a:lnTo>
                    <a:lnTo>
                      <a:pt x="23" y="112"/>
                    </a:lnTo>
                    <a:lnTo>
                      <a:pt x="21" y="111"/>
                    </a:lnTo>
                    <a:lnTo>
                      <a:pt x="19" y="109"/>
                    </a:lnTo>
                    <a:lnTo>
                      <a:pt x="12" y="102"/>
                    </a:lnTo>
                    <a:lnTo>
                      <a:pt x="11" y="97"/>
                    </a:lnTo>
                    <a:lnTo>
                      <a:pt x="7" y="95"/>
                    </a:lnTo>
                    <a:lnTo>
                      <a:pt x="2" y="90"/>
                    </a:lnTo>
                    <a:lnTo>
                      <a:pt x="0" y="89"/>
                    </a:lnTo>
                    <a:lnTo>
                      <a:pt x="0" y="87"/>
                    </a:lnTo>
                    <a:lnTo>
                      <a:pt x="2" y="87"/>
                    </a:lnTo>
                    <a:lnTo>
                      <a:pt x="2" y="85"/>
                    </a:lnTo>
                    <a:lnTo>
                      <a:pt x="4" y="85"/>
                    </a:lnTo>
                    <a:lnTo>
                      <a:pt x="4" y="83"/>
                    </a:lnTo>
                    <a:lnTo>
                      <a:pt x="6" y="82"/>
                    </a:lnTo>
                    <a:lnTo>
                      <a:pt x="7" y="82"/>
                    </a:lnTo>
                    <a:lnTo>
                      <a:pt x="7" y="80"/>
                    </a:lnTo>
                    <a:lnTo>
                      <a:pt x="9" y="80"/>
                    </a:lnTo>
                    <a:lnTo>
                      <a:pt x="11" y="78"/>
                    </a:lnTo>
                    <a:lnTo>
                      <a:pt x="9" y="78"/>
                    </a:lnTo>
                    <a:lnTo>
                      <a:pt x="9" y="77"/>
                    </a:lnTo>
                    <a:lnTo>
                      <a:pt x="11" y="77"/>
                    </a:lnTo>
                    <a:lnTo>
                      <a:pt x="9" y="77"/>
                    </a:lnTo>
                    <a:lnTo>
                      <a:pt x="9" y="75"/>
                    </a:lnTo>
                    <a:lnTo>
                      <a:pt x="7" y="75"/>
                    </a:lnTo>
                    <a:lnTo>
                      <a:pt x="9" y="75"/>
                    </a:lnTo>
                    <a:lnTo>
                      <a:pt x="9" y="73"/>
                    </a:lnTo>
                    <a:lnTo>
                      <a:pt x="9" y="72"/>
                    </a:lnTo>
                    <a:lnTo>
                      <a:pt x="9" y="70"/>
                    </a:lnTo>
                    <a:lnTo>
                      <a:pt x="7" y="70"/>
                    </a:lnTo>
                    <a:lnTo>
                      <a:pt x="9" y="68"/>
                    </a:lnTo>
                    <a:lnTo>
                      <a:pt x="7" y="68"/>
                    </a:lnTo>
                    <a:lnTo>
                      <a:pt x="7" y="66"/>
                    </a:lnTo>
                    <a:lnTo>
                      <a:pt x="6" y="66"/>
                    </a:lnTo>
                    <a:lnTo>
                      <a:pt x="7" y="66"/>
                    </a:lnTo>
                    <a:lnTo>
                      <a:pt x="6" y="66"/>
                    </a:lnTo>
                    <a:lnTo>
                      <a:pt x="7" y="66"/>
                    </a:lnTo>
                    <a:lnTo>
                      <a:pt x="7" y="65"/>
                    </a:lnTo>
                    <a:lnTo>
                      <a:pt x="7" y="63"/>
                    </a:lnTo>
                    <a:lnTo>
                      <a:pt x="9" y="63"/>
                    </a:lnTo>
                    <a:lnTo>
                      <a:pt x="9" y="61"/>
                    </a:lnTo>
                    <a:lnTo>
                      <a:pt x="11" y="61"/>
                    </a:lnTo>
                    <a:lnTo>
                      <a:pt x="12" y="61"/>
                    </a:lnTo>
                    <a:lnTo>
                      <a:pt x="14" y="61"/>
                    </a:lnTo>
                    <a:lnTo>
                      <a:pt x="16" y="61"/>
                    </a:lnTo>
                    <a:lnTo>
                      <a:pt x="17" y="60"/>
                    </a:lnTo>
                    <a:lnTo>
                      <a:pt x="16" y="60"/>
                    </a:lnTo>
                    <a:lnTo>
                      <a:pt x="16" y="58"/>
                    </a:lnTo>
                    <a:lnTo>
                      <a:pt x="17" y="58"/>
                    </a:lnTo>
                    <a:lnTo>
                      <a:pt x="17" y="60"/>
                    </a:lnTo>
                    <a:lnTo>
                      <a:pt x="19" y="60"/>
                    </a:lnTo>
                    <a:lnTo>
                      <a:pt x="21" y="60"/>
                    </a:lnTo>
                    <a:lnTo>
                      <a:pt x="21" y="58"/>
                    </a:lnTo>
                    <a:lnTo>
                      <a:pt x="21" y="60"/>
                    </a:lnTo>
                    <a:lnTo>
                      <a:pt x="23" y="60"/>
                    </a:lnTo>
                    <a:lnTo>
                      <a:pt x="24" y="60"/>
                    </a:lnTo>
                    <a:lnTo>
                      <a:pt x="24" y="58"/>
                    </a:lnTo>
                    <a:lnTo>
                      <a:pt x="26" y="58"/>
                    </a:lnTo>
                    <a:lnTo>
                      <a:pt x="28" y="58"/>
                    </a:lnTo>
                    <a:lnTo>
                      <a:pt x="28" y="56"/>
                    </a:lnTo>
                    <a:lnTo>
                      <a:pt x="29" y="56"/>
                    </a:lnTo>
                    <a:lnTo>
                      <a:pt x="31" y="56"/>
                    </a:lnTo>
                    <a:lnTo>
                      <a:pt x="31" y="55"/>
                    </a:lnTo>
                    <a:lnTo>
                      <a:pt x="33" y="55"/>
                    </a:lnTo>
                    <a:lnTo>
                      <a:pt x="34" y="53"/>
                    </a:lnTo>
                    <a:lnTo>
                      <a:pt x="34" y="55"/>
                    </a:lnTo>
                    <a:lnTo>
                      <a:pt x="34" y="53"/>
                    </a:lnTo>
                    <a:lnTo>
                      <a:pt x="36" y="53"/>
                    </a:lnTo>
                    <a:lnTo>
                      <a:pt x="36" y="51"/>
                    </a:lnTo>
                    <a:lnTo>
                      <a:pt x="36" y="49"/>
                    </a:lnTo>
                    <a:lnTo>
                      <a:pt x="36" y="48"/>
                    </a:lnTo>
                    <a:lnTo>
                      <a:pt x="36" y="46"/>
                    </a:lnTo>
                    <a:lnTo>
                      <a:pt x="34" y="46"/>
                    </a:lnTo>
                    <a:lnTo>
                      <a:pt x="33" y="46"/>
                    </a:lnTo>
                    <a:lnTo>
                      <a:pt x="33" y="44"/>
                    </a:lnTo>
                    <a:lnTo>
                      <a:pt x="33" y="46"/>
                    </a:lnTo>
                    <a:lnTo>
                      <a:pt x="31" y="44"/>
                    </a:lnTo>
                    <a:lnTo>
                      <a:pt x="31" y="46"/>
                    </a:lnTo>
                    <a:lnTo>
                      <a:pt x="29" y="46"/>
                    </a:lnTo>
                    <a:lnTo>
                      <a:pt x="29" y="48"/>
                    </a:lnTo>
                    <a:lnTo>
                      <a:pt x="29" y="46"/>
                    </a:lnTo>
                    <a:lnTo>
                      <a:pt x="28" y="46"/>
                    </a:lnTo>
                    <a:lnTo>
                      <a:pt x="28" y="44"/>
                    </a:lnTo>
                    <a:lnTo>
                      <a:pt x="26" y="44"/>
                    </a:lnTo>
                    <a:lnTo>
                      <a:pt x="26" y="43"/>
                    </a:lnTo>
                    <a:lnTo>
                      <a:pt x="28" y="43"/>
                    </a:lnTo>
                    <a:lnTo>
                      <a:pt x="28" y="41"/>
                    </a:lnTo>
                    <a:lnTo>
                      <a:pt x="28" y="39"/>
                    </a:lnTo>
                    <a:lnTo>
                      <a:pt x="26" y="39"/>
                    </a:lnTo>
                    <a:lnTo>
                      <a:pt x="26" y="38"/>
                    </a:lnTo>
                    <a:lnTo>
                      <a:pt x="26" y="36"/>
                    </a:lnTo>
                    <a:lnTo>
                      <a:pt x="26" y="34"/>
                    </a:lnTo>
                    <a:lnTo>
                      <a:pt x="26" y="32"/>
                    </a:lnTo>
                    <a:lnTo>
                      <a:pt x="26" y="31"/>
                    </a:lnTo>
                    <a:lnTo>
                      <a:pt x="28" y="31"/>
                    </a:lnTo>
                    <a:lnTo>
                      <a:pt x="28" y="29"/>
                    </a:lnTo>
                    <a:lnTo>
                      <a:pt x="28" y="27"/>
                    </a:lnTo>
                    <a:lnTo>
                      <a:pt x="29" y="26"/>
                    </a:lnTo>
                    <a:lnTo>
                      <a:pt x="29" y="24"/>
                    </a:lnTo>
                    <a:lnTo>
                      <a:pt x="31" y="24"/>
                    </a:lnTo>
                    <a:lnTo>
                      <a:pt x="33" y="24"/>
                    </a:lnTo>
                    <a:lnTo>
                      <a:pt x="34" y="24"/>
                    </a:lnTo>
                    <a:lnTo>
                      <a:pt x="36" y="24"/>
                    </a:lnTo>
                    <a:lnTo>
                      <a:pt x="36" y="22"/>
                    </a:lnTo>
                    <a:lnTo>
                      <a:pt x="38" y="22"/>
                    </a:lnTo>
                    <a:lnTo>
                      <a:pt x="40" y="21"/>
                    </a:lnTo>
                    <a:lnTo>
                      <a:pt x="40" y="19"/>
                    </a:lnTo>
                    <a:lnTo>
                      <a:pt x="41" y="19"/>
                    </a:lnTo>
                    <a:lnTo>
                      <a:pt x="43" y="19"/>
                    </a:lnTo>
                    <a:lnTo>
                      <a:pt x="43" y="17"/>
                    </a:lnTo>
                    <a:lnTo>
                      <a:pt x="45" y="17"/>
                    </a:lnTo>
                    <a:lnTo>
                      <a:pt x="46" y="17"/>
                    </a:lnTo>
                    <a:lnTo>
                      <a:pt x="46" y="15"/>
                    </a:lnTo>
                    <a:lnTo>
                      <a:pt x="48" y="15"/>
                    </a:lnTo>
                    <a:lnTo>
                      <a:pt x="48" y="14"/>
                    </a:lnTo>
                    <a:lnTo>
                      <a:pt x="48" y="12"/>
                    </a:lnTo>
                    <a:lnTo>
                      <a:pt x="50" y="10"/>
                    </a:lnTo>
                    <a:lnTo>
                      <a:pt x="53" y="10"/>
                    </a:lnTo>
                    <a:lnTo>
                      <a:pt x="53" y="9"/>
                    </a:lnTo>
                    <a:lnTo>
                      <a:pt x="55" y="9"/>
                    </a:lnTo>
                    <a:lnTo>
                      <a:pt x="53" y="7"/>
                    </a:lnTo>
                    <a:lnTo>
                      <a:pt x="51" y="4"/>
                    </a:lnTo>
                    <a:lnTo>
                      <a:pt x="50" y="2"/>
                    </a:lnTo>
                    <a:lnTo>
                      <a:pt x="48" y="0"/>
                    </a:lnTo>
                    <a:lnTo>
                      <a:pt x="50" y="0"/>
                    </a:lnTo>
                    <a:lnTo>
                      <a:pt x="50" y="2"/>
                    </a:lnTo>
                    <a:lnTo>
                      <a:pt x="51" y="2"/>
                    </a:lnTo>
                    <a:lnTo>
                      <a:pt x="51" y="4"/>
                    </a:lnTo>
                    <a:lnTo>
                      <a:pt x="53" y="5"/>
                    </a:lnTo>
                    <a:lnTo>
                      <a:pt x="55" y="5"/>
                    </a:lnTo>
                    <a:lnTo>
                      <a:pt x="57" y="5"/>
                    </a:lnTo>
                    <a:lnTo>
                      <a:pt x="55" y="5"/>
                    </a:lnTo>
                    <a:lnTo>
                      <a:pt x="55" y="4"/>
                    </a:lnTo>
                    <a:lnTo>
                      <a:pt x="57" y="4"/>
                    </a:lnTo>
                    <a:lnTo>
                      <a:pt x="57" y="5"/>
                    </a:lnTo>
                    <a:lnTo>
                      <a:pt x="58" y="5"/>
                    </a:lnTo>
                    <a:lnTo>
                      <a:pt x="60" y="5"/>
                    </a:lnTo>
                    <a:lnTo>
                      <a:pt x="60" y="7"/>
                    </a:lnTo>
                    <a:lnTo>
                      <a:pt x="62" y="7"/>
                    </a:lnTo>
                    <a:lnTo>
                      <a:pt x="62" y="9"/>
                    </a:lnTo>
                    <a:lnTo>
                      <a:pt x="63" y="9"/>
                    </a:lnTo>
                    <a:lnTo>
                      <a:pt x="65" y="9"/>
                    </a:lnTo>
                    <a:lnTo>
                      <a:pt x="65" y="10"/>
                    </a:lnTo>
                    <a:lnTo>
                      <a:pt x="67" y="10"/>
                    </a:lnTo>
                    <a:lnTo>
                      <a:pt x="68" y="10"/>
                    </a:lnTo>
                    <a:lnTo>
                      <a:pt x="68" y="12"/>
                    </a:lnTo>
                    <a:lnTo>
                      <a:pt x="70" y="12"/>
                    </a:lnTo>
                    <a:lnTo>
                      <a:pt x="72" y="14"/>
                    </a:lnTo>
                    <a:lnTo>
                      <a:pt x="74" y="14"/>
                    </a:lnTo>
                    <a:lnTo>
                      <a:pt x="75" y="15"/>
                    </a:lnTo>
                    <a:lnTo>
                      <a:pt x="77" y="15"/>
                    </a:lnTo>
                    <a:lnTo>
                      <a:pt x="77" y="17"/>
                    </a:lnTo>
                    <a:lnTo>
                      <a:pt x="79" y="17"/>
                    </a:lnTo>
                    <a:lnTo>
                      <a:pt x="79" y="19"/>
                    </a:lnTo>
                    <a:lnTo>
                      <a:pt x="80" y="21"/>
                    </a:lnTo>
                    <a:lnTo>
                      <a:pt x="82" y="21"/>
                    </a:lnTo>
                    <a:lnTo>
                      <a:pt x="82" y="22"/>
                    </a:lnTo>
                    <a:lnTo>
                      <a:pt x="84" y="24"/>
                    </a:lnTo>
                    <a:lnTo>
                      <a:pt x="85" y="26"/>
                    </a:lnTo>
                    <a:lnTo>
                      <a:pt x="87" y="27"/>
                    </a:lnTo>
                    <a:lnTo>
                      <a:pt x="89" y="27"/>
                    </a:lnTo>
                    <a:lnTo>
                      <a:pt x="89" y="29"/>
                    </a:lnTo>
                    <a:lnTo>
                      <a:pt x="89" y="31"/>
                    </a:lnTo>
                    <a:lnTo>
                      <a:pt x="91" y="31"/>
                    </a:lnTo>
                    <a:lnTo>
                      <a:pt x="91" y="32"/>
                    </a:lnTo>
                    <a:lnTo>
                      <a:pt x="91" y="31"/>
                    </a:lnTo>
                    <a:lnTo>
                      <a:pt x="92" y="31"/>
                    </a:lnTo>
                    <a:lnTo>
                      <a:pt x="92" y="32"/>
                    </a:lnTo>
                    <a:lnTo>
                      <a:pt x="94" y="32"/>
                    </a:lnTo>
                    <a:lnTo>
                      <a:pt x="94" y="34"/>
                    </a:lnTo>
                    <a:lnTo>
                      <a:pt x="96" y="36"/>
                    </a:lnTo>
                    <a:lnTo>
                      <a:pt x="97" y="38"/>
                    </a:lnTo>
                    <a:lnTo>
                      <a:pt x="97" y="39"/>
                    </a:lnTo>
                    <a:lnTo>
                      <a:pt x="99" y="39"/>
                    </a:lnTo>
                    <a:lnTo>
                      <a:pt x="99" y="41"/>
                    </a:lnTo>
                    <a:lnTo>
                      <a:pt x="99" y="43"/>
                    </a:lnTo>
                    <a:lnTo>
                      <a:pt x="99" y="44"/>
                    </a:lnTo>
                    <a:lnTo>
                      <a:pt x="99" y="46"/>
                    </a:lnTo>
                    <a:lnTo>
                      <a:pt x="99" y="48"/>
                    </a:lnTo>
                    <a:lnTo>
                      <a:pt x="99" y="49"/>
                    </a:lnTo>
                    <a:lnTo>
                      <a:pt x="99" y="51"/>
                    </a:lnTo>
                    <a:lnTo>
                      <a:pt x="99" y="53"/>
                    </a:lnTo>
                    <a:lnTo>
                      <a:pt x="97" y="53"/>
                    </a:lnTo>
                    <a:lnTo>
                      <a:pt x="97" y="55"/>
                    </a:lnTo>
                    <a:lnTo>
                      <a:pt x="96" y="55"/>
                    </a:lnTo>
                    <a:lnTo>
                      <a:pt x="96" y="56"/>
                    </a:lnTo>
                    <a:lnTo>
                      <a:pt x="96" y="58"/>
                    </a:lnTo>
                    <a:lnTo>
                      <a:pt x="96" y="60"/>
                    </a:lnTo>
                    <a:lnTo>
                      <a:pt x="96" y="61"/>
                    </a:lnTo>
                    <a:lnTo>
                      <a:pt x="94" y="61"/>
                    </a:lnTo>
                    <a:lnTo>
                      <a:pt x="94" y="63"/>
                    </a:lnTo>
                    <a:lnTo>
                      <a:pt x="94" y="65"/>
                    </a:lnTo>
                    <a:lnTo>
                      <a:pt x="94" y="66"/>
                    </a:lnTo>
                    <a:lnTo>
                      <a:pt x="94" y="68"/>
                    </a:lnTo>
                    <a:lnTo>
                      <a:pt x="94" y="70"/>
                    </a:lnTo>
                    <a:lnTo>
                      <a:pt x="94" y="72"/>
                    </a:lnTo>
                    <a:lnTo>
                      <a:pt x="92" y="72"/>
                    </a:lnTo>
                    <a:lnTo>
                      <a:pt x="92" y="73"/>
                    </a:lnTo>
                    <a:lnTo>
                      <a:pt x="91" y="73"/>
                    </a:lnTo>
                    <a:lnTo>
                      <a:pt x="92" y="73"/>
                    </a:lnTo>
                    <a:lnTo>
                      <a:pt x="94" y="73"/>
                    </a:lnTo>
                    <a:lnTo>
                      <a:pt x="94" y="72"/>
                    </a:lnTo>
                    <a:lnTo>
                      <a:pt x="94" y="73"/>
                    </a:lnTo>
                    <a:lnTo>
                      <a:pt x="96" y="75"/>
                    </a:lnTo>
                    <a:lnTo>
                      <a:pt x="96" y="73"/>
                    </a:lnTo>
                    <a:lnTo>
                      <a:pt x="96" y="72"/>
                    </a:lnTo>
                    <a:lnTo>
                      <a:pt x="96" y="70"/>
                    </a:lnTo>
                    <a:lnTo>
                      <a:pt x="96" y="68"/>
                    </a:lnTo>
                    <a:lnTo>
                      <a:pt x="96" y="66"/>
                    </a:lnTo>
                    <a:lnTo>
                      <a:pt x="96" y="65"/>
                    </a:lnTo>
                    <a:lnTo>
                      <a:pt x="96" y="63"/>
                    </a:lnTo>
                    <a:lnTo>
                      <a:pt x="97" y="63"/>
                    </a:lnTo>
                    <a:lnTo>
                      <a:pt x="97" y="61"/>
                    </a:lnTo>
                    <a:lnTo>
                      <a:pt x="97" y="60"/>
                    </a:lnTo>
                    <a:lnTo>
                      <a:pt x="99" y="60"/>
                    </a:lnTo>
                    <a:lnTo>
                      <a:pt x="99" y="58"/>
                    </a:lnTo>
                    <a:lnTo>
                      <a:pt x="101" y="58"/>
                    </a:lnTo>
                    <a:lnTo>
                      <a:pt x="101" y="56"/>
                    </a:lnTo>
                    <a:lnTo>
                      <a:pt x="102" y="56"/>
                    </a:lnTo>
                    <a:lnTo>
                      <a:pt x="104" y="56"/>
                    </a:lnTo>
                    <a:lnTo>
                      <a:pt x="106" y="56"/>
                    </a:lnTo>
                    <a:lnTo>
                      <a:pt x="108" y="56"/>
                    </a:lnTo>
                    <a:lnTo>
                      <a:pt x="108" y="58"/>
                    </a:lnTo>
                    <a:lnTo>
                      <a:pt x="109" y="58"/>
                    </a:lnTo>
                    <a:lnTo>
                      <a:pt x="111" y="58"/>
                    </a:lnTo>
                    <a:lnTo>
                      <a:pt x="113" y="58"/>
                    </a:lnTo>
                    <a:lnTo>
                      <a:pt x="114" y="58"/>
                    </a:lnTo>
                    <a:lnTo>
                      <a:pt x="114" y="60"/>
                    </a:lnTo>
                    <a:lnTo>
                      <a:pt x="116" y="60"/>
                    </a:lnTo>
                    <a:lnTo>
                      <a:pt x="116" y="61"/>
                    </a:lnTo>
                    <a:lnTo>
                      <a:pt x="118" y="61"/>
                    </a:lnTo>
                    <a:lnTo>
                      <a:pt x="119" y="61"/>
                    </a:lnTo>
                    <a:lnTo>
                      <a:pt x="119" y="63"/>
                    </a:lnTo>
                    <a:lnTo>
                      <a:pt x="121" y="63"/>
                    </a:lnTo>
                    <a:lnTo>
                      <a:pt x="121" y="65"/>
                    </a:lnTo>
                    <a:lnTo>
                      <a:pt x="123" y="66"/>
                    </a:lnTo>
                    <a:lnTo>
                      <a:pt x="125" y="66"/>
                    </a:lnTo>
                    <a:lnTo>
                      <a:pt x="125" y="68"/>
                    </a:lnTo>
                    <a:lnTo>
                      <a:pt x="126" y="68"/>
                    </a:lnTo>
                    <a:lnTo>
                      <a:pt x="126" y="70"/>
                    </a:lnTo>
                    <a:lnTo>
                      <a:pt x="128" y="70"/>
                    </a:lnTo>
                    <a:lnTo>
                      <a:pt x="128" y="72"/>
                    </a:lnTo>
                    <a:lnTo>
                      <a:pt x="130" y="72"/>
                    </a:lnTo>
                    <a:lnTo>
                      <a:pt x="130" y="73"/>
                    </a:lnTo>
                    <a:lnTo>
                      <a:pt x="130" y="75"/>
                    </a:lnTo>
                    <a:lnTo>
                      <a:pt x="131" y="77"/>
                    </a:lnTo>
                    <a:lnTo>
                      <a:pt x="131" y="75"/>
                    </a:lnTo>
                    <a:lnTo>
                      <a:pt x="133" y="75"/>
                    </a:lnTo>
                    <a:lnTo>
                      <a:pt x="135" y="75"/>
                    </a:lnTo>
                    <a:lnTo>
                      <a:pt x="136" y="75"/>
                    </a:lnTo>
                    <a:lnTo>
                      <a:pt x="136" y="77"/>
                    </a:lnTo>
                    <a:lnTo>
                      <a:pt x="138" y="77"/>
                    </a:lnTo>
                    <a:lnTo>
                      <a:pt x="140" y="78"/>
                    </a:lnTo>
                    <a:lnTo>
                      <a:pt x="142" y="80"/>
                    </a:lnTo>
                    <a:lnTo>
                      <a:pt x="142" y="82"/>
                    </a:lnTo>
                    <a:lnTo>
                      <a:pt x="143" y="82"/>
                    </a:lnTo>
                    <a:lnTo>
                      <a:pt x="143" y="83"/>
                    </a:lnTo>
                    <a:lnTo>
                      <a:pt x="143" y="85"/>
                    </a:lnTo>
                    <a:lnTo>
                      <a:pt x="145" y="87"/>
                    </a:lnTo>
                    <a:lnTo>
                      <a:pt x="143" y="87"/>
                    </a:lnTo>
                    <a:lnTo>
                      <a:pt x="145" y="87"/>
                    </a:lnTo>
                    <a:lnTo>
                      <a:pt x="145" y="89"/>
                    </a:lnTo>
                    <a:lnTo>
                      <a:pt x="145" y="90"/>
                    </a:lnTo>
                    <a:lnTo>
                      <a:pt x="143" y="90"/>
                    </a:lnTo>
                    <a:lnTo>
                      <a:pt x="143" y="92"/>
                    </a:lnTo>
                    <a:lnTo>
                      <a:pt x="143" y="94"/>
                    </a:lnTo>
                    <a:lnTo>
                      <a:pt x="143" y="95"/>
                    </a:lnTo>
                    <a:lnTo>
                      <a:pt x="143" y="97"/>
                    </a:lnTo>
                    <a:close/>
                    <a:moveTo>
                      <a:pt x="96" y="61"/>
                    </a:moveTo>
                    <a:lnTo>
                      <a:pt x="96" y="60"/>
                    </a:lnTo>
                    <a:lnTo>
                      <a:pt x="97" y="58"/>
                    </a:lnTo>
                    <a:lnTo>
                      <a:pt x="97" y="56"/>
                    </a:lnTo>
                    <a:lnTo>
                      <a:pt x="99" y="56"/>
                    </a:lnTo>
                    <a:lnTo>
                      <a:pt x="97" y="58"/>
                    </a:lnTo>
                    <a:lnTo>
                      <a:pt x="97" y="60"/>
                    </a:lnTo>
                    <a:lnTo>
                      <a:pt x="96" y="60"/>
                    </a:lnTo>
                    <a:lnTo>
                      <a:pt x="96" y="61"/>
                    </a:lnTo>
                    <a:close/>
                    <a:moveTo>
                      <a:pt x="97" y="56"/>
                    </a:moveTo>
                    <a:lnTo>
                      <a:pt x="97" y="55"/>
                    </a:lnTo>
                    <a:lnTo>
                      <a:pt x="99" y="55"/>
                    </a:lnTo>
                    <a:lnTo>
                      <a:pt x="99" y="53"/>
                    </a:lnTo>
                    <a:lnTo>
                      <a:pt x="101" y="53"/>
                    </a:lnTo>
                    <a:lnTo>
                      <a:pt x="101" y="51"/>
                    </a:lnTo>
                    <a:lnTo>
                      <a:pt x="101" y="53"/>
                    </a:lnTo>
                    <a:lnTo>
                      <a:pt x="102" y="53"/>
                    </a:lnTo>
                    <a:lnTo>
                      <a:pt x="101" y="53"/>
                    </a:lnTo>
                    <a:lnTo>
                      <a:pt x="99" y="55"/>
                    </a:lnTo>
                    <a:lnTo>
                      <a:pt x="97" y="56"/>
                    </a:lnTo>
                    <a:close/>
                    <a:moveTo>
                      <a:pt x="102" y="53"/>
                    </a:moveTo>
                    <a:lnTo>
                      <a:pt x="104" y="53"/>
                    </a:lnTo>
                    <a:lnTo>
                      <a:pt x="102" y="55"/>
                    </a:lnTo>
                    <a:lnTo>
                      <a:pt x="101" y="55"/>
                    </a:lnTo>
                    <a:lnTo>
                      <a:pt x="101" y="56"/>
                    </a:lnTo>
                    <a:lnTo>
                      <a:pt x="99" y="56"/>
                    </a:lnTo>
                    <a:lnTo>
                      <a:pt x="99" y="55"/>
                    </a:lnTo>
                    <a:lnTo>
                      <a:pt x="101" y="55"/>
                    </a:lnTo>
                    <a:lnTo>
                      <a:pt x="101" y="53"/>
                    </a:lnTo>
                    <a:lnTo>
                      <a:pt x="102" y="53"/>
                    </a:lnTo>
                    <a:close/>
                    <a:moveTo>
                      <a:pt x="96" y="58"/>
                    </a:moveTo>
                    <a:lnTo>
                      <a:pt x="96" y="56"/>
                    </a:lnTo>
                    <a:lnTo>
                      <a:pt x="97" y="55"/>
                    </a:lnTo>
                    <a:lnTo>
                      <a:pt x="99" y="55"/>
                    </a:lnTo>
                    <a:lnTo>
                      <a:pt x="97" y="55"/>
                    </a:lnTo>
                    <a:lnTo>
                      <a:pt x="97" y="56"/>
                    </a:lnTo>
                    <a:lnTo>
                      <a:pt x="96" y="56"/>
                    </a:lnTo>
                    <a:lnTo>
                      <a:pt x="96" y="58"/>
                    </a:lnTo>
                    <a:close/>
                    <a:moveTo>
                      <a:pt x="99" y="49"/>
                    </a:moveTo>
                    <a:lnTo>
                      <a:pt x="99" y="51"/>
                    </a:lnTo>
                    <a:lnTo>
                      <a:pt x="99" y="49"/>
                    </a:lnTo>
                    <a:close/>
                    <a:moveTo>
                      <a:pt x="97" y="60"/>
                    </a:moveTo>
                    <a:lnTo>
                      <a:pt x="97" y="61"/>
                    </a:lnTo>
                    <a:lnTo>
                      <a:pt x="97" y="60"/>
                    </a:lnTo>
                    <a:close/>
                    <a:moveTo>
                      <a:pt x="96" y="56"/>
                    </a:moveTo>
                    <a:lnTo>
                      <a:pt x="97" y="56"/>
                    </a:lnTo>
                    <a:lnTo>
                      <a:pt x="97" y="58"/>
                    </a:lnTo>
                    <a:lnTo>
                      <a:pt x="96" y="58"/>
                    </a:lnTo>
                    <a:lnTo>
                      <a:pt x="96" y="56"/>
                    </a:lnTo>
                    <a:close/>
                    <a:moveTo>
                      <a:pt x="96" y="58"/>
                    </a:moveTo>
                    <a:lnTo>
                      <a:pt x="96" y="60"/>
                    </a:lnTo>
                    <a:lnTo>
                      <a:pt x="96" y="58"/>
                    </a:lnTo>
                    <a:close/>
                    <a:moveTo>
                      <a:pt x="97" y="53"/>
                    </a:moveTo>
                    <a:lnTo>
                      <a:pt x="97" y="55"/>
                    </a:lnTo>
                    <a:lnTo>
                      <a:pt x="97" y="53"/>
                    </a:lnTo>
                    <a:close/>
                    <a:moveTo>
                      <a:pt x="96" y="61"/>
                    </a:moveTo>
                    <a:lnTo>
                      <a:pt x="97" y="61"/>
                    </a:lnTo>
                    <a:lnTo>
                      <a:pt x="96" y="61"/>
                    </a:lnTo>
                    <a:close/>
                    <a:moveTo>
                      <a:pt x="96" y="56"/>
                    </a:moveTo>
                    <a:lnTo>
                      <a:pt x="96" y="58"/>
                    </a:lnTo>
                    <a:lnTo>
                      <a:pt x="96" y="56"/>
                    </a:lnTo>
                    <a:close/>
                    <a:moveTo>
                      <a:pt x="96" y="63"/>
                    </a:moveTo>
                    <a:lnTo>
                      <a:pt x="96" y="65"/>
                    </a:lnTo>
                    <a:lnTo>
                      <a:pt x="96" y="63"/>
                    </a:lnTo>
                    <a:close/>
                    <a:moveTo>
                      <a:pt x="97" y="60"/>
                    </a:moveTo>
                    <a:lnTo>
                      <a:pt x="97" y="61"/>
                    </a:lnTo>
                    <a:lnTo>
                      <a:pt x="97" y="60"/>
                    </a:lnTo>
                    <a:close/>
                    <a:moveTo>
                      <a:pt x="96" y="73"/>
                    </a:moveTo>
                    <a:lnTo>
                      <a:pt x="96" y="75"/>
                    </a:lnTo>
                    <a:lnTo>
                      <a:pt x="96" y="73"/>
                    </a:lnTo>
                    <a:close/>
                    <a:moveTo>
                      <a:pt x="96" y="63"/>
                    </a:moveTo>
                    <a:lnTo>
                      <a:pt x="96" y="65"/>
                    </a:lnTo>
                    <a:lnTo>
                      <a:pt x="96" y="63"/>
                    </a:lnTo>
                    <a:close/>
                    <a:moveTo>
                      <a:pt x="94" y="61"/>
                    </a:moveTo>
                    <a:lnTo>
                      <a:pt x="96" y="61"/>
                    </a:lnTo>
                    <a:lnTo>
                      <a:pt x="96" y="63"/>
                    </a:lnTo>
                    <a:lnTo>
                      <a:pt x="94" y="63"/>
                    </a:lnTo>
                    <a:lnTo>
                      <a:pt x="94" y="61"/>
                    </a:lnTo>
                    <a:close/>
                    <a:moveTo>
                      <a:pt x="96" y="60"/>
                    </a:moveTo>
                    <a:lnTo>
                      <a:pt x="96" y="61"/>
                    </a:lnTo>
                    <a:lnTo>
                      <a:pt x="96" y="60"/>
                    </a:lnTo>
                    <a:close/>
                    <a:moveTo>
                      <a:pt x="96" y="58"/>
                    </a:moveTo>
                    <a:lnTo>
                      <a:pt x="96" y="60"/>
                    </a:lnTo>
                    <a:lnTo>
                      <a:pt x="96" y="58"/>
                    </a:lnTo>
                    <a:close/>
                    <a:moveTo>
                      <a:pt x="94" y="66"/>
                    </a:moveTo>
                    <a:lnTo>
                      <a:pt x="94" y="68"/>
                    </a:lnTo>
                    <a:lnTo>
                      <a:pt x="94" y="66"/>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9" name="Freeform 36">
                <a:extLst>
                  <a:ext uri="{FF2B5EF4-FFF2-40B4-BE49-F238E27FC236}">
                    <a16:creationId xmlns:a16="http://schemas.microsoft.com/office/drawing/2014/main" id="{EFEAD6DC-6A40-04FA-D7ED-5689BFD4B298}"/>
                  </a:ext>
                </a:extLst>
              </p:cNvPr>
              <p:cNvSpPr>
                <a:spLocks/>
              </p:cNvSpPr>
              <p:nvPr/>
            </p:nvSpPr>
            <p:spPr bwMode="auto">
              <a:xfrm>
                <a:off x="5799886" y="2913056"/>
                <a:ext cx="17917" cy="18798"/>
              </a:xfrm>
              <a:custGeom>
                <a:avLst/>
                <a:gdLst>
                  <a:gd name="T0" fmla="*/ 56 w 61"/>
                  <a:gd name="T1" fmla="*/ 49 h 64"/>
                  <a:gd name="T2" fmla="*/ 53 w 61"/>
                  <a:gd name="T3" fmla="*/ 51 h 64"/>
                  <a:gd name="T4" fmla="*/ 49 w 61"/>
                  <a:gd name="T5" fmla="*/ 51 h 64"/>
                  <a:gd name="T6" fmla="*/ 44 w 61"/>
                  <a:gd name="T7" fmla="*/ 51 h 64"/>
                  <a:gd name="T8" fmla="*/ 41 w 61"/>
                  <a:gd name="T9" fmla="*/ 47 h 64"/>
                  <a:gd name="T10" fmla="*/ 38 w 61"/>
                  <a:gd name="T11" fmla="*/ 47 h 64"/>
                  <a:gd name="T12" fmla="*/ 34 w 61"/>
                  <a:gd name="T13" fmla="*/ 47 h 64"/>
                  <a:gd name="T14" fmla="*/ 32 w 61"/>
                  <a:gd name="T15" fmla="*/ 49 h 64"/>
                  <a:gd name="T16" fmla="*/ 31 w 61"/>
                  <a:gd name="T17" fmla="*/ 52 h 64"/>
                  <a:gd name="T18" fmla="*/ 27 w 61"/>
                  <a:gd name="T19" fmla="*/ 57 h 64"/>
                  <a:gd name="T20" fmla="*/ 21 w 61"/>
                  <a:gd name="T21" fmla="*/ 57 h 64"/>
                  <a:gd name="T22" fmla="*/ 19 w 61"/>
                  <a:gd name="T23" fmla="*/ 57 h 64"/>
                  <a:gd name="T24" fmla="*/ 15 w 61"/>
                  <a:gd name="T25" fmla="*/ 59 h 64"/>
                  <a:gd name="T26" fmla="*/ 12 w 61"/>
                  <a:gd name="T27" fmla="*/ 59 h 64"/>
                  <a:gd name="T28" fmla="*/ 12 w 61"/>
                  <a:gd name="T29" fmla="*/ 63 h 64"/>
                  <a:gd name="T30" fmla="*/ 9 w 61"/>
                  <a:gd name="T31" fmla="*/ 64 h 64"/>
                  <a:gd name="T32" fmla="*/ 5 w 61"/>
                  <a:gd name="T33" fmla="*/ 63 h 64"/>
                  <a:gd name="T34" fmla="*/ 2 w 61"/>
                  <a:gd name="T35" fmla="*/ 63 h 64"/>
                  <a:gd name="T36" fmla="*/ 2 w 61"/>
                  <a:gd name="T37" fmla="*/ 59 h 64"/>
                  <a:gd name="T38" fmla="*/ 4 w 61"/>
                  <a:gd name="T39" fmla="*/ 54 h 64"/>
                  <a:gd name="T40" fmla="*/ 7 w 61"/>
                  <a:gd name="T41" fmla="*/ 54 h 64"/>
                  <a:gd name="T42" fmla="*/ 14 w 61"/>
                  <a:gd name="T43" fmla="*/ 54 h 64"/>
                  <a:gd name="T44" fmla="*/ 14 w 61"/>
                  <a:gd name="T45" fmla="*/ 47 h 64"/>
                  <a:gd name="T46" fmla="*/ 14 w 61"/>
                  <a:gd name="T47" fmla="*/ 44 h 64"/>
                  <a:gd name="T48" fmla="*/ 14 w 61"/>
                  <a:gd name="T49" fmla="*/ 42 h 64"/>
                  <a:gd name="T50" fmla="*/ 14 w 61"/>
                  <a:gd name="T51" fmla="*/ 37 h 64"/>
                  <a:gd name="T52" fmla="*/ 15 w 61"/>
                  <a:gd name="T53" fmla="*/ 34 h 64"/>
                  <a:gd name="T54" fmla="*/ 15 w 61"/>
                  <a:gd name="T55" fmla="*/ 34 h 64"/>
                  <a:gd name="T56" fmla="*/ 19 w 61"/>
                  <a:gd name="T57" fmla="*/ 30 h 64"/>
                  <a:gd name="T58" fmla="*/ 22 w 61"/>
                  <a:gd name="T59" fmla="*/ 27 h 64"/>
                  <a:gd name="T60" fmla="*/ 24 w 61"/>
                  <a:gd name="T61" fmla="*/ 23 h 64"/>
                  <a:gd name="T62" fmla="*/ 27 w 61"/>
                  <a:gd name="T63" fmla="*/ 23 h 64"/>
                  <a:gd name="T64" fmla="*/ 31 w 61"/>
                  <a:gd name="T65" fmla="*/ 20 h 64"/>
                  <a:gd name="T66" fmla="*/ 29 w 61"/>
                  <a:gd name="T67" fmla="*/ 17 h 64"/>
                  <a:gd name="T68" fmla="*/ 29 w 61"/>
                  <a:gd name="T69" fmla="*/ 13 h 64"/>
                  <a:gd name="T70" fmla="*/ 24 w 61"/>
                  <a:gd name="T71" fmla="*/ 10 h 64"/>
                  <a:gd name="T72" fmla="*/ 26 w 61"/>
                  <a:gd name="T73" fmla="*/ 3 h 64"/>
                  <a:gd name="T74" fmla="*/ 27 w 61"/>
                  <a:gd name="T75" fmla="*/ 1 h 64"/>
                  <a:gd name="T76" fmla="*/ 31 w 61"/>
                  <a:gd name="T77" fmla="*/ 1 h 64"/>
                  <a:gd name="T78" fmla="*/ 36 w 61"/>
                  <a:gd name="T79" fmla="*/ 1 h 64"/>
                  <a:gd name="T80" fmla="*/ 34 w 61"/>
                  <a:gd name="T81" fmla="*/ 3 h 64"/>
                  <a:gd name="T82" fmla="*/ 34 w 61"/>
                  <a:gd name="T83" fmla="*/ 8 h 64"/>
                  <a:gd name="T84" fmla="*/ 38 w 61"/>
                  <a:gd name="T85" fmla="*/ 8 h 64"/>
                  <a:gd name="T86" fmla="*/ 38 w 61"/>
                  <a:gd name="T87" fmla="*/ 12 h 64"/>
                  <a:gd name="T88" fmla="*/ 38 w 61"/>
                  <a:gd name="T89" fmla="*/ 15 h 64"/>
                  <a:gd name="T90" fmla="*/ 38 w 61"/>
                  <a:gd name="T91" fmla="*/ 18 h 64"/>
                  <a:gd name="T92" fmla="*/ 39 w 61"/>
                  <a:gd name="T93" fmla="*/ 20 h 64"/>
                  <a:gd name="T94" fmla="*/ 41 w 61"/>
                  <a:gd name="T95" fmla="*/ 22 h 64"/>
                  <a:gd name="T96" fmla="*/ 44 w 61"/>
                  <a:gd name="T97" fmla="*/ 27 h 64"/>
                  <a:gd name="T98" fmla="*/ 48 w 61"/>
                  <a:gd name="T99" fmla="*/ 30 h 64"/>
                  <a:gd name="T100" fmla="*/ 48 w 61"/>
                  <a:gd name="T101" fmla="*/ 34 h 64"/>
                  <a:gd name="T102" fmla="*/ 51 w 61"/>
                  <a:gd name="T103" fmla="*/ 39 h 64"/>
                  <a:gd name="T104" fmla="*/ 53 w 61"/>
                  <a:gd name="T105" fmla="*/ 44 h 64"/>
                  <a:gd name="T106" fmla="*/ 56 w 61"/>
                  <a:gd name="T107" fmla="*/ 47 h 64"/>
                  <a:gd name="T108" fmla="*/ 61 w 61"/>
                  <a:gd name="T109" fmla="*/ 4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 h="64">
                    <a:moveTo>
                      <a:pt x="61" y="49"/>
                    </a:moveTo>
                    <a:lnTo>
                      <a:pt x="60" y="51"/>
                    </a:lnTo>
                    <a:lnTo>
                      <a:pt x="58" y="49"/>
                    </a:lnTo>
                    <a:lnTo>
                      <a:pt x="56" y="49"/>
                    </a:lnTo>
                    <a:lnTo>
                      <a:pt x="56" y="51"/>
                    </a:lnTo>
                    <a:lnTo>
                      <a:pt x="55" y="51"/>
                    </a:lnTo>
                    <a:lnTo>
                      <a:pt x="55" y="49"/>
                    </a:lnTo>
                    <a:lnTo>
                      <a:pt x="53" y="51"/>
                    </a:lnTo>
                    <a:lnTo>
                      <a:pt x="53" y="52"/>
                    </a:lnTo>
                    <a:lnTo>
                      <a:pt x="51" y="52"/>
                    </a:lnTo>
                    <a:lnTo>
                      <a:pt x="51" y="51"/>
                    </a:lnTo>
                    <a:lnTo>
                      <a:pt x="49" y="51"/>
                    </a:lnTo>
                    <a:lnTo>
                      <a:pt x="48" y="51"/>
                    </a:lnTo>
                    <a:lnTo>
                      <a:pt x="48" y="49"/>
                    </a:lnTo>
                    <a:lnTo>
                      <a:pt x="46" y="51"/>
                    </a:lnTo>
                    <a:lnTo>
                      <a:pt x="44" y="51"/>
                    </a:lnTo>
                    <a:lnTo>
                      <a:pt x="44" y="49"/>
                    </a:lnTo>
                    <a:lnTo>
                      <a:pt x="43" y="49"/>
                    </a:lnTo>
                    <a:lnTo>
                      <a:pt x="43" y="47"/>
                    </a:lnTo>
                    <a:lnTo>
                      <a:pt x="41" y="47"/>
                    </a:lnTo>
                    <a:lnTo>
                      <a:pt x="41" y="46"/>
                    </a:lnTo>
                    <a:lnTo>
                      <a:pt x="41" y="47"/>
                    </a:lnTo>
                    <a:lnTo>
                      <a:pt x="39" y="47"/>
                    </a:lnTo>
                    <a:lnTo>
                      <a:pt x="38" y="47"/>
                    </a:lnTo>
                    <a:lnTo>
                      <a:pt x="38" y="49"/>
                    </a:lnTo>
                    <a:lnTo>
                      <a:pt x="36" y="49"/>
                    </a:lnTo>
                    <a:lnTo>
                      <a:pt x="36" y="47"/>
                    </a:lnTo>
                    <a:lnTo>
                      <a:pt x="34" y="47"/>
                    </a:lnTo>
                    <a:lnTo>
                      <a:pt x="32" y="47"/>
                    </a:lnTo>
                    <a:lnTo>
                      <a:pt x="32" y="49"/>
                    </a:lnTo>
                    <a:lnTo>
                      <a:pt x="32" y="51"/>
                    </a:lnTo>
                    <a:lnTo>
                      <a:pt x="32" y="49"/>
                    </a:lnTo>
                    <a:lnTo>
                      <a:pt x="31" y="51"/>
                    </a:lnTo>
                    <a:lnTo>
                      <a:pt x="31" y="52"/>
                    </a:lnTo>
                    <a:lnTo>
                      <a:pt x="29" y="52"/>
                    </a:lnTo>
                    <a:lnTo>
                      <a:pt x="31" y="52"/>
                    </a:lnTo>
                    <a:lnTo>
                      <a:pt x="29" y="54"/>
                    </a:lnTo>
                    <a:lnTo>
                      <a:pt x="27" y="54"/>
                    </a:lnTo>
                    <a:lnTo>
                      <a:pt x="27" y="56"/>
                    </a:lnTo>
                    <a:lnTo>
                      <a:pt x="27" y="57"/>
                    </a:lnTo>
                    <a:lnTo>
                      <a:pt x="26" y="57"/>
                    </a:lnTo>
                    <a:lnTo>
                      <a:pt x="24" y="57"/>
                    </a:lnTo>
                    <a:lnTo>
                      <a:pt x="22" y="57"/>
                    </a:lnTo>
                    <a:lnTo>
                      <a:pt x="21" y="57"/>
                    </a:lnTo>
                    <a:lnTo>
                      <a:pt x="21" y="56"/>
                    </a:lnTo>
                    <a:lnTo>
                      <a:pt x="21" y="57"/>
                    </a:lnTo>
                    <a:lnTo>
                      <a:pt x="21" y="56"/>
                    </a:lnTo>
                    <a:lnTo>
                      <a:pt x="19" y="57"/>
                    </a:lnTo>
                    <a:lnTo>
                      <a:pt x="19" y="56"/>
                    </a:lnTo>
                    <a:lnTo>
                      <a:pt x="19" y="57"/>
                    </a:lnTo>
                    <a:lnTo>
                      <a:pt x="17" y="57"/>
                    </a:lnTo>
                    <a:lnTo>
                      <a:pt x="15" y="59"/>
                    </a:lnTo>
                    <a:lnTo>
                      <a:pt x="15" y="57"/>
                    </a:lnTo>
                    <a:lnTo>
                      <a:pt x="15" y="59"/>
                    </a:lnTo>
                    <a:lnTo>
                      <a:pt x="14" y="59"/>
                    </a:lnTo>
                    <a:lnTo>
                      <a:pt x="12" y="59"/>
                    </a:lnTo>
                    <a:lnTo>
                      <a:pt x="10" y="59"/>
                    </a:lnTo>
                    <a:lnTo>
                      <a:pt x="12" y="59"/>
                    </a:lnTo>
                    <a:lnTo>
                      <a:pt x="12" y="61"/>
                    </a:lnTo>
                    <a:lnTo>
                      <a:pt x="12" y="63"/>
                    </a:lnTo>
                    <a:lnTo>
                      <a:pt x="10" y="63"/>
                    </a:lnTo>
                    <a:lnTo>
                      <a:pt x="10" y="64"/>
                    </a:lnTo>
                    <a:lnTo>
                      <a:pt x="9" y="63"/>
                    </a:lnTo>
                    <a:lnTo>
                      <a:pt x="9" y="64"/>
                    </a:lnTo>
                    <a:lnTo>
                      <a:pt x="7" y="64"/>
                    </a:lnTo>
                    <a:lnTo>
                      <a:pt x="5" y="64"/>
                    </a:lnTo>
                    <a:lnTo>
                      <a:pt x="7" y="64"/>
                    </a:lnTo>
                    <a:lnTo>
                      <a:pt x="5" y="63"/>
                    </a:lnTo>
                    <a:lnTo>
                      <a:pt x="4" y="63"/>
                    </a:lnTo>
                    <a:lnTo>
                      <a:pt x="2" y="63"/>
                    </a:lnTo>
                    <a:lnTo>
                      <a:pt x="2" y="61"/>
                    </a:lnTo>
                    <a:lnTo>
                      <a:pt x="2" y="63"/>
                    </a:lnTo>
                    <a:lnTo>
                      <a:pt x="0" y="63"/>
                    </a:lnTo>
                    <a:lnTo>
                      <a:pt x="0" y="61"/>
                    </a:lnTo>
                    <a:lnTo>
                      <a:pt x="0" y="59"/>
                    </a:lnTo>
                    <a:lnTo>
                      <a:pt x="2" y="59"/>
                    </a:lnTo>
                    <a:lnTo>
                      <a:pt x="2" y="57"/>
                    </a:lnTo>
                    <a:lnTo>
                      <a:pt x="4" y="57"/>
                    </a:lnTo>
                    <a:lnTo>
                      <a:pt x="4" y="56"/>
                    </a:lnTo>
                    <a:lnTo>
                      <a:pt x="4" y="54"/>
                    </a:lnTo>
                    <a:lnTo>
                      <a:pt x="4" y="56"/>
                    </a:lnTo>
                    <a:lnTo>
                      <a:pt x="4" y="54"/>
                    </a:lnTo>
                    <a:lnTo>
                      <a:pt x="5" y="54"/>
                    </a:lnTo>
                    <a:lnTo>
                      <a:pt x="7" y="54"/>
                    </a:lnTo>
                    <a:lnTo>
                      <a:pt x="9" y="54"/>
                    </a:lnTo>
                    <a:lnTo>
                      <a:pt x="10" y="54"/>
                    </a:lnTo>
                    <a:lnTo>
                      <a:pt x="12" y="54"/>
                    </a:lnTo>
                    <a:lnTo>
                      <a:pt x="14" y="54"/>
                    </a:lnTo>
                    <a:lnTo>
                      <a:pt x="14" y="52"/>
                    </a:lnTo>
                    <a:lnTo>
                      <a:pt x="14" y="51"/>
                    </a:lnTo>
                    <a:lnTo>
                      <a:pt x="14" y="49"/>
                    </a:lnTo>
                    <a:lnTo>
                      <a:pt x="14" y="47"/>
                    </a:lnTo>
                    <a:lnTo>
                      <a:pt x="14" y="46"/>
                    </a:lnTo>
                    <a:lnTo>
                      <a:pt x="15" y="46"/>
                    </a:lnTo>
                    <a:lnTo>
                      <a:pt x="14" y="46"/>
                    </a:lnTo>
                    <a:lnTo>
                      <a:pt x="14" y="44"/>
                    </a:lnTo>
                    <a:lnTo>
                      <a:pt x="15" y="44"/>
                    </a:lnTo>
                    <a:lnTo>
                      <a:pt x="14" y="44"/>
                    </a:lnTo>
                    <a:lnTo>
                      <a:pt x="15" y="42"/>
                    </a:lnTo>
                    <a:lnTo>
                      <a:pt x="14" y="42"/>
                    </a:lnTo>
                    <a:lnTo>
                      <a:pt x="14" y="40"/>
                    </a:lnTo>
                    <a:lnTo>
                      <a:pt x="14" y="39"/>
                    </a:lnTo>
                    <a:lnTo>
                      <a:pt x="15" y="39"/>
                    </a:lnTo>
                    <a:lnTo>
                      <a:pt x="14" y="37"/>
                    </a:lnTo>
                    <a:lnTo>
                      <a:pt x="15" y="37"/>
                    </a:lnTo>
                    <a:lnTo>
                      <a:pt x="15" y="35"/>
                    </a:lnTo>
                    <a:lnTo>
                      <a:pt x="17" y="35"/>
                    </a:lnTo>
                    <a:lnTo>
                      <a:pt x="15" y="34"/>
                    </a:lnTo>
                    <a:lnTo>
                      <a:pt x="15" y="35"/>
                    </a:lnTo>
                    <a:lnTo>
                      <a:pt x="14" y="35"/>
                    </a:lnTo>
                    <a:lnTo>
                      <a:pt x="14" y="34"/>
                    </a:lnTo>
                    <a:lnTo>
                      <a:pt x="15" y="34"/>
                    </a:lnTo>
                    <a:lnTo>
                      <a:pt x="15" y="32"/>
                    </a:lnTo>
                    <a:lnTo>
                      <a:pt x="17" y="32"/>
                    </a:lnTo>
                    <a:lnTo>
                      <a:pt x="19" y="32"/>
                    </a:lnTo>
                    <a:lnTo>
                      <a:pt x="19" y="30"/>
                    </a:lnTo>
                    <a:lnTo>
                      <a:pt x="19" y="29"/>
                    </a:lnTo>
                    <a:lnTo>
                      <a:pt x="19" y="27"/>
                    </a:lnTo>
                    <a:lnTo>
                      <a:pt x="21" y="27"/>
                    </a:lnTo>
                    <a:lnTo>
                      <a:pt x="22" y="27"/>
                    </a:lnTo>
                    <a:lnTo>
                      <a:pt x="22" y="25"/>
                    </a:lnTo>
                    <a:lnTo>
                      <a:pt x="24" y="27"/>
                    </a:lnTo>
                    <a:lnTo>
                      <a:pt x="24" y="25"/>
                    </a:lnTo>
                    <a:lnTo>
                      <a:pt x="24" y="23"/>
                    </a:lnTo>
                    <a:lnTo>
                      <a:pt x="24" y="25"/>
                    </a:lnTo>
                    <a:lnTo>
                      <a:pt x="26" y="25"/>
                    </a:lnTo>
                    <a:lnTo>
                      <a:pt x="26" y="23"/>
                    </a:lnTo>
                    <a:lnTo>
                      <a:pt x="27" y="23"/>
                    </a:lnTo>
                    <a:lnTo>
                      <a:pt x="29" y="23"/>
                    </a:lnTo>
                    <a:lnTo>
                      <a:pt x="29" y="22"/>
                    </a:lnTo>
                    <a:lnTo>
                      <a:pt x="31" y="22"/>
                    </a:lnTo>
                    <a:lnTo>
                      <a:pt x="31" y="20"/>
                    </a:lnTo>
                    <a:lnTo>
                      <a:pt x="31" y="18"/>
                    </a:lnTo>
                    <a:lnTo>
                      <a:pt x="31" y="17"/>
                    </a:lnTo>
                    <a:lnTo>
                      <a:pt x="29" y="18"/>
                    </a:lnTo>
                    <a:lnTo>
                      <a:pt x="29" y="17"/>
                    </a:lnTo>
                    <a:lnTo>
                      <a:pt x="29" y="18"/>
                    </a:lnTo>
                    <a:lnTo>
                      <a:pt x="29" y="17"/>
                    </a:lnTo>
                    <a:lnTo>
                      <a:pt x="29" y="15"/>
                    </a:lnTo>
                    <a:lnTo>
                      <a:pt x="29" y="13"/>
                    </a:lnTo>
                    <a:lnTo>
                      <a:pt x="27" y="13"/>
                    </a:lnTo>
                    <a:lnTo>
                      <a:pt x="26" y="12"/>
                    </a:lnTo>
                    <a:lnTo>
                      <a:pt x="26" y="10"/>
                    </a:lnTo>
                    <a:lnTo>
                      <a:pt x="24" y="10"/>
                    </a:lnTo>
                    <a:lnTo>
                      <a:pt x="24" y="8"/>
                    </a:lnTo>
                    <a:lnTo>
                      <a:pt x="24" y="6"/>
                    </a:lnTo>
                    <a:lnTo>
                      <a:pt x="24" y="5"/>
                    </a:lnTo>
                    <a:lnTo>
                      <a:pt x="26" y="3"/>
                    </a:lnTo>
                    <a:lnTo>
                      <a:pt x="24" y="3"/>
                    </a:lnTo>
                    <a:lnTo>
                      <a:pt x="24" y="1"/>
                    </a:lnTo>
                    <a:lnTo>
                      <a:pt x="26" y="1"/>
                    </a:lnTo>
                    <a:lnTo>
                      <a:pt x="27" y="1"/>
                    </a:lnTo>
                    <a:lnTo>
                      <a:pt x="29" y="1"/>
                    </a:lnTo>
                    <a:lnTo>
                      <a:pt x="31" y="1"/>
                    </a:lnTo>
                    <a:lnTo>
                      <a:pt x="31" y="0"/>
                    </a:lnTo>
                    <a:lnTo>
                      <a:pt x="31" y="1"/>
                    </a:lnTo>
                    <a:lnTo>
                      <a:pt x="32" y="1"/>
                    </a:lnTo>
                    <a:lnTo>
                      <a:pt x="34" y="1"/>
                    </a:lnTo>
                    <a:lnTo>
                      <a:pt x="34" y="0"/>
                    </a:lnTo>
                    <a:lnTo>
                      <a:pt x="36" y="1"/>
                    </a:lnTo>
                    <a:lnTo>
                      <a:pt x="34" y="1"/>
                    </a:lnTo>
                    <a:lnTo>
                      <a:pt x="36" y="1"/>
                    </a:lnTo>
                    <a:lnTo>
                      <a:pt x="36" y="3"/>
                    </a:lnTo>
                    <a:lnTo>
                      <a:pt x="34" y="3"/>
                    </a:lnTo>
                    <a:lnTo>
                      <a:pt x="36" y="5"/>
                    </a:lnTo>
                    <a:lnTo>
                      <a:pt x="36" y="6"/>
                    </a:lnTo>
                    <a:lnTo>
                      <a:pt x="34" y="6"/>
                    </a:lnTo>
                    <a:lnTo>
                      <a:pt x="34" y="8"/>
                    </a:lnTo>
                    <a:lnTo>
                      <a:pt x="36" y="8"/>
                    </a:lnTo>
                    <a:lnTo>
                      <a:pt x="36" y="10"/>
                    </a:lnTo>
                    <a:lnTo>
                      <a:pt x="36" y="8"/>
                    </a:lnTo>
                    <a:lnTo>
                      <a:pt x="38" y="8"/>
                    </a:lnTo>
                    <a:lnTo>
                      <a:pt x="38" y="10"/>
                    </a:lnTo>
                    <a:lnTo>
                      <a:pt x="36" y="10"/>
                    </a:lnTo>
                    <a:lnTo>
                      <a:pt x="38" y="10"/>
                    </a:lnTo>
                    <a:lnTo>
                      <a:pt x="38" y="12"/>
                    </a:lnTo>
                    <a:lnTo>
                      <a:pt x="39" y="12"/>
                    </a:lnTo>
                    <a:lnTo>
                      <a:pt x="39" y="13"/>
                    </a:lnTo>
                    <a:lnTo>
                      <a:pt x="38" y="13"/>
                    </a:lnTo>
                    <a:lnTo>
                      <a:pt x="38" y="15"/>
                    </a:lnTo>
                    <a:lnTo>
                      <a:pt x="39" y="15"/>
                    </a:lnTo>
                    <a:lnTo>
                      <a:pt x="39" y="17"/>
                    </a:lnTo>
                    <a:lnTo>
                      <a:pt x="38" y="17"/>
                    </a:lnTo>
                    <a:lnTo>
                      <a:pt x="38" y="18"/>
                    </a:lnTo>
                    <a:lnTo>
                      <a:pt x="39" y="18"/>
                    </a:lnTo>
                    <a:lnTo>
                      <a:pt x="38" y="18"/>
                    </a:lnTo>
                    <a:lnTo>
                      <a:pt x="38" y="20"/>
                    </a:lnTo>
                    <a:lnTo>
                      <a:pt x="39" y="20"/>
                    </a:lnTo>
                    <a:lnTo>
                      <a:pt x="41" y="20"/>
                    </a:lnTo>
                    <a:lnTo>
                      <a:pt x="41" y="22"/>
                    </a:lnTo>
                    <a:lnTo>
                      <a:pt x="43" y="22"/>
                    </a:lnTo>
                    <a:lnTo>
                      <a:pt x="41" y="22"/>
                    </a:lnTo>
                    <a:lnTo>
                      <a:pt x="43" y="23"/>
                    </a:lnTo>
                    <a:lnTo>
                      <a:pt x="43" y="25"/>
                    </a:lnTo>
                    <a:lnTo>
                      <a:pt x="44" y="25"/>
                    </a:lnTo>
                    <a:lnTo>
                      <a:pt x="44" y="27"/>
                    </a:lnTo>
                    <a:lnTo>
                      <a:pt x="44" y="29"/>
                    </a:lnTo>
                    <a:lnTo>
                      <a:pt x="46" y="29"/>
                    </a:lnTo>
                    <a:lnTo>
                      <a:pt x="46" y="30"/>
                    </a:lnTo>
                    <a:lnTo>
                      <a:pt x="48" y="30"/>
                    </a:lnTo>
                    <a:lnTo>
                      <a:pt x="48" y="32"/>
                    </a:lnTo>
                    <a:lnTo>
                      <a:pt x="46" y="32"/>
                    </a:lnTo>
                    <a:lnTo>
                      <a:pt x="48" y="32"/>
                    </a:lnTo>
                    <a:lnTo>
                      <a:pt x="48" y="34"/>
                    </a:lnTo>
                    <a:lnTo>
                      <a:pt x="48" y="35"/>
                    </a:lnTo>
                    <a:lnTo>
                      <a:pt x="49" y="35"/>
                    </a:lnTo>
                    <a:lnTo>
                      <a:pt x="49" y="37"/>
                    </a:lnTo>
                    <a:lnTo>
                      <a:pt x="51" y="39"/>
                    </a:lnTo>
                    <a:lnTo>
                      <a:pt x="51" y="40"/>
                    </a:lnTo>
                    <a:lnTo>
                      <a:pt x="53" y="40"/>
                    </a:lnTo>
                    <a:lnTo>
                      <a:pt x="53" y="42"/>
                    </a:lnTo>
                    <a:lnTo>
                      <a:pt x="53" y="44"/>
                    </a:lnTo>
                    <a:lnTo>
                      <a:pt x="55" y="44"/>
                    </a:lnTo>
                    <a:lnTo>
                      <a:pt x="55" y="46"/>
                    </a:lnTo>
                    <a:lnTo>
                      <a:pt x="56" y="46"/>
                    </a:lnTo>
                    <a:lnTo>
                      <a:pt x="56" y="47"/>
                    </a:lnTo>
                    <a:lnTo>
                      <a:pt x="58" y="47"/>
                    </a:lnTo>
                    <a:lnTo>
                      <a:pt x="60" y="47"/>
                    </a:lnTo>
                    <a:lnTo>
                      <a:pt x="61" y="47"/>
                    </a:lnTo>
                    <a:lnTo>
                      <a:pt x="61" y="4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38" name="Freeform 45">
                <a:extLst>
                  <a:ext uri="{FF2B5EF4-FFF2-40B4-BE49-F238E27FC236}">
                    <a16:creationId xmlns:a16="http://schemas.microsoft.com/office/drawing/2014/main" id="{FEA9E46C-7852-9660-BEAC-C0AF94303B46}"/>
                  </a:ext>
                </a:extLst>
              </p:cNvPr>
              <p:cNvSpPr>
                <a:spLocks/>
              </p:cNvSpPr>
              <p:nvPr/>
            </p:nvSpPr>
            <p:spPr bwMode="auto">
              <a:xfrm>
                <a:off x="5757004" y="3141861"/>
                <a:ext cx="83416" cy="89878"/>
              </a:xfrm>
              <a:custGeom>
                <a:avLst/>
                <a:gdLst>
                  <a:gd name="T0" fmla="*/ 155 w 284"/>
                  <a:gd name="T1" fmla="*/ 39 h 306"/>
                  <a:gd name="T2" fmla="*/ 158 w 284"/>
                  <a:gd name="T3" fmla="*/ 51 h 306"/>
                  <a:gd name="T4" fmla="*/ 161 w 284"/>
                  <a:gd name="T5" fmla="*/ 58 h 306"/>
                  <a:gd name="T6" fmla="*/ 161 w 284"/>
                  <a:gd name="T7" fmla="*/ 68 h 306"/>
                  <a:gd name="T8" fmla="*/ 160 w 284"/>
                  <a:gd name="T9" fmla="*/ 80 h 306"/>
                  <a:gd name="T10" fmla="*/ 158 w 284"/>
                  <a:gd name="T11" fmla="*/ 92 h 306"/>
                  <a:gd name="T12" fmla="*/ 158 w 284"/>
                  <a:gd name="T13" fmla="*/ 100 h 306"/>
                  <a:gd name="T14" fmla="*/ 167 w 284"/>
                  <a:gd name="T15" fmla="*/ 102 h 306"/>
                  <a:gd name="T16" fmla="*/ 178 w 284"/>
                  <a:gd name="T17" fmla="*/ 107 h 306"/>
                  <a:gd name="T18" fmla="*/ 189 w 284"/>
                  <a:gd name="T19" fmla="*/ 107 h 306"/>
                  <a:gd name="T20" fmla="*/ 201 w 284"/>
                  <a:gd name="T21" fmla="*/ 105 h 306"/>
                  <a:gd name="T22" fmla="*/ 207 w 284"/>
                  <a:gd name="T23" fmla="*/ 103 h 306"/>
                  <a:gd name="T24" fmla="*/ 216 w 284"/>
                  <a:gd name="T25" fmla="*/ 105 h 306"/>
                  <a:gd name="T26" fmla="*/ 226 w 284"/>
                  <a:gd name="T27" fmla="*/ 109 h 306"/>
                  <a:gd name="T28" fmla="*/ 235 w 284"/>
                  <a:gd name="T29" fmla="*/ 117 h 306"/>
                  <a:gd name="T30" fmla="*/ 236 w 284"/>
                  <a:gd name="T31" fmla="*/ 131 h 306"/>
                  <a:gd name="T32" fmla="*/ 240 w 284"/>
                  <a:gd name="T33" fmla="*/ 143 h 306"/>
                  <a:gd name="T34" fmla="*/ 241 w 284"/>
                  <a:gd name="T35" fmla="*/ 156 h 306"/>
                  <a:gd name="T36" fmla="*/ 243 w 284"/>
                  <a:gd name="T37" fmla="*/ 166 h 306"/>
                  <a:gd name="T38" fmla="*/ 253 w 284"/>
                  <a:gd name="T39" fmla="*/ 170 h 306"/>
                  <a:gd name="T40" fmla="*/ 263 w 284"/>
                  <a:gd name="T41" fmla="*/ 166 h 306"/>
                  <a:gd name="T42" fmla="*/ 277 w 284"/>
                  <a:gd name="T43" fmla="*/ 166 h 306"/>
                  <a:gd name="T44" fmla="*/ 282 w 284"/>
                  <a:gd name="T45" fmla="*/ 180 h 306"/>
                  <a:gd name="T46" fmla="*/ 282 w 284"/>
                  <a:gd name="T47" fmla="*/ 195 h 306"/>
                  <a:gd name="T48" fmla="*/ 277 w 284"/>
                  <a:gd name="T49" fmla="*/ 212 h 306"/>
                  <a:gd name="T50" fmla="*/ 272 w 284"/>
                  <a:gd name="T51" fmla="*/ 229 h 306"/>
                  <a:gd name="T52" fmla="*/ 272 w 284"/>
                  <a:gd name="T53" fmla="*/ 245 h 306"/>
                  <a:gd name="T54" fmla="*/ 270 w 284"/>
                  <a:gd name="T55" fmla="*/ 257 h 306"/>
                  <a:gd name="T56" fmla="*/ 265 w 284"/>
                  <a:gd name="T57" fmla="*/ 270 h 306"/>
                  <a:gd name="T58" fmla="*/ 253 w 284"/>
                  <a:gd name="T59" fmla="*/ 280 h 306"/>
                  <a:gd name="T60" fmla="*/ 240 w 284"/>
                  <a:gd name="T61" fmla="*/ 287 h 306"/>
                  <a:gd name="T62" fmla="*/ 236 w 284"/>
                  <a:gd name="T63" fmla="*/ 297 h 306"/>
                  <a:gd name="T64" fmla="*/ 223 w 284"/>
                  <a:gd name="T65" fmla="*/ 296 h 306"/>
                  <a:gd name="T66" fmla="*/ 212 w 284"/>
                  <a:gd name="T67" fmla="*/ 304 h 306"/>
                  <a:gd name="T68" fmla="*/ 199 w 284"/>
                  <a:gd name="T69" fmla="*/ 303 h 306"/>
                  <a:gd name="T70" fmla="*/ 185 w 284"/>
                  <a:gd name="T71" fmla="*/ 301 h 306"/>
                  <a:gd name="T72" fmla="*/ 170 w 284"/>
                  <a:gd name="T73" fmla="*/ 297 h 306"/>
                  <a:gd name="T74" fmla="*/ 153 w 284"/>
                  <a:gd name="T75" fmla="*/ 294 h 306"/>
                  <a:gd name="T76" fmla="*/ 136 w 284"/>
                  <a:gd name="T77" fmla="*/ 296 h 306"/>
                  <a:gd name="T78" fmla="*/ 139 w 284"/>
                  <a:gd name="T79" fmla="*/ 287 h 306"/>
                  <a:gd name="T80" fmla="*/ 144 w 284"/>
                  <a:gd name="T81" fmla="*/ 280 h 306"/>
                  <a:gd name="T82" fmla="*/ 151 w 284"/>
                  <a:gd name="T83" fmla="*/ 270 h 306"/>
                  <a:gd name="T84" fmla="*/ 151 w 284"/>
                  <a:gd name="T85" fmla="*/ 260 h 306"/>
                  <a:gd name="T86" fmla="*/ 156 w 284"/>
                  <a:gd name="T87" fmla="*/ 250 h 306"/>
                  <a:gd name="T88" fmla="*/ 163 w 284"/>
                  <a:gd name="T89" fmla="*/ 240 h 306"/>
                  <a:gd name="T90" fmla="*/ 168 w 284"/>
                  <a:gd name="T91" fmla="*/ 231 h 306"/>
                  <a:gd name="T92" fmla="*/ 167 w 284"/>
                  <a:gd name="T93" fmla="*/ 221 h 306"/>
                  <a:gd name="T94" fmla="*/ 161 w 284"/>
                  <a:gd name="T95" fmla="*/ 211 h 306"/>
                  <a:gd name="T96" fmla="*/ 153 w 284"/>
                  <a:gd name="T97" fmla="*/ 207 h 306"/>
                  <a:gd name="T98" fmla="*/ 143 w 284"/>
                  <a:gd name="T99" fmla="*/ 204 h 306"/>
                  <a:gd name="T100" fmla="*/ 129 w 284"/>
                  <a:gd name="T101" fmla="*/ 199 h 306"/>
                  <a:gd name="T102" fmla="*/ 114 w 284"/>
                  <a:gd name="T103" fmla="*/ 190 h 306"/>
                  <a:gd name="T104" fmla="*/ 83 w 284"/>
                  <a:gd name="T105" fmla="*/ 173 h 306"/>
                  <a:gd name="T106" fmla="*/ 68 w 284"/>
                  <a:gd name="T107" fmla="*/ 168 h 306"/>
                  <a:gd name="T108" fmla="*/ 54 w 284"/>
                  <a:gd name="T109" fmla="*/ 161 h 306"/>
                  <a:gd name="T110" fmla="*/ 46 w 284"/>
                  <a:gd name="T111" fmla="*/ 151 h 306"/>
                  <a:gd name="T112" fmla="*/ 34 w 284"/>
                  <a:gd name="T113" fmla="*/ 144 h 306"/>
                  <a:gd name="T114" fmla="*/ 22 w 284"/>
                  <a:gd name="T115" fmla="*/ 136 h 306"/>
                  <a:gd name="T116" fmla="*/ 14 w 284"/>
                  <a:gd name="T117" fmla="*/ 122 h 306"/>
                  <a:gd name="T118" fmla="*/ 10 w 284"/>
                  <a:gd name="T119" fmla="*/ 115 h 306"/>
                  <a:gd name="T120" fmla="*/ 0 w 284"/>
                  <a:gd name="T121" fmla="*/ 109 h 306"/>
                  <a:gd name="T122" fmla="*/ 25 w 284"/>
                  <a:gd name="T123" fmla="*/ 27 h 306"/>
                  <a:gd name="T124" fmla="*/ 151 w 284"/>
                  <a:gd name="T125" fmla="*/ 2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4" h="306">
                    <a:moveTo>
                      <a:pt x="151" y="32"/>
                    </a:moveTo>
                    <a:lnTo>
                      <a:pt x="153" y="32"/>
                    </a:lnTo>
                    <a:lnTo>
                      <a:pt x="153" y="34"/>
                    </a:lnTo>
                    <a:lnTo>
                      <a:pt x="151" y="34"/>
                    </a:lnTo>
                    <a:lnTo>
                      <a:pt x="151" y="35"/>
                    </a:lnTo>
                    <a:lnTo>
                      <a:pt x="153" y="35"/>
                    </a:lnTo>
                    <a:lnTo>
                      <a:pt x="153" y="34"/>
                    </a:lnTo>
                    <a:lnTo>
                      <a:pt x="155" y="35"/>
                    </a:lnTo>
                    <a:lnTo>
                      <a:pt x="153" y="37"/>
                    </a:lnTo>
                    <a:lnTo>
                      <a:pt x="155" y="37"/>
                    </a:lnTo>
                    <a:lnTo>
                      <a:pt x="155" y="39"/>
                    </a:lnTo>
                    <a:lnTo>
                      <a:pt x="156" y="41"/>
                    </a:lnTo>
                    <a:lnTo>
                      <a:pt x="158" y="41"/>
                    </a:lnTo>
                    <a:lnTo>
                      <a:pt x="158" y="42"/>
                    </a:lnTo>
                    <a:lnTo>
                      <a:pt x="156" y="42"/>
                    </a:lnTo>
                    <a:lnTo>
                      <a:pt x="156" y="44"/>
                    </a:lnTo>
                    <a:lnTo>
                      <a:pt x="156" y="46"/>
                    </a:lnTo>
                    <a:lnTo>
                      <a:pt x="158" y="46"/>
                    </a:lnTo>
                    <a:lnTo>
                      <a:pt x="156" y="47"/>
                    </a:lnTo>
                    <a:lnTo>
                      <a:pt x="158" y="47"/>
                    </a:lnTo>
                    <a:lnTo>
                      <a:pt x="158" y="49"/>
                    </a:lnTo>
                    <a:lnTo>
                      <a:pt x="158" y="51"/>
                    </a:lnTo>
                    <a:lnTo>
                      <a:pt x="160" y="51"/>
                    </a:lnTo>
                    <a:lnTo>
                      <a:pt x="160" y="49"/>
                    </a:lnTo>
                    <a:lnTo>
                      <a:pt x="160" y="51"/>
                    </a:lnTo>
                    <a:lnTo>
                      <a:pt x="161" y="51"/>
                    </a:lnTo>
                    <a:lnTo>
                      <a:pt x="161" y="52"/>
                    </a:lnTo>
                    <a:lnTo>
                      <a:pt x="160" y="52"/>
                    </a:lnTo>
                    <a:lnTo>
                      <a:pt x="158" y="54"/>
                    </a:lnTo>
                    <a:lnTo>
                      <a:pt x="160" y="54"/>
                    </a:lnTo>
                    <a:lnTo>
                      <a:pt x="161" y="54"/>
                    </a:lnTo>
                    <a:lnTo>
                      <a:pt x="161" y="56"/>
                    </a:lnTo>
                    <a:lnTo>
                      <a:pt x="161" y="58"/>
                    </a:lnTo>
                    <a:lnTo>
                      <a:pt x="160" y="58"/>
                    </a:lnTo>
                    <a:lnTo>
                      <a:pt x="161" y="58"/>
                    </a:lnTo>
                    <a:lnTo>
                      <a:pt x="161" y="59"/>
                    </a:lnTo>
                    <a:lnTo>
                      <a:pt x="163" y="59"/>
                    </a:lnTo>
                    <a:lnTo>
                      <a:pt x="163" y="61"/>
                    </a:lnTo>
                    <a:lnTo>
                      <a:pt x="163" y="63"/>
                    </a:lnTo>
                    <a:lnTo>
                      <a:pt x="161" y="63"/>
                    </a:lnTo>
                    <a:lnTo>
                      <a:pt x="161" y="64"/>
                    </a:lnTo>
                    <a:lnTo>
                      <a:pt x="163" y="64"/>
                    </a:lnTo>
                    <a:lnTo>
                      <a:pt x="161" y="66"/>
                    </a:lnTo>
                    <a:lnTo>
                      <a:pt x="161" y="68"/>
                    </a:lnTo>
                    <a:lnTo>
                      <a:pt x="163" y="68"/>
                    </a:lnTo>
                    <a:lnTo>
                      <a:pt x="163" y="69"/>
                    </a:lnTo>
                    <a:lnTo>
                      <a:pt x="161" y="69"/>
                    </a:lnTo>
                    <a:lnTo>
                      <a:pt x="161" y="71"/>
                    </a:lnTo>
                    <a:lnTo>
                      <a:pt x="160" y="71"/>
                    </a:lnTo>
                    <a:lnTo>
                      <a:pt x="161" y="73"/>
                    </a:lnTo>
                    <a:lnTo>
                      <a:pt x="161" y="75"/>
                    </a:lnTo>
                    <a:lnTo>
                      <a:pt x="161" y="76"/>
                    </a:lnTo>
                    <a:lnTo>
                      <a:pt x="160" y="76"/>
                    </a:lnTo>
                    <a:lnTo>
                      <a:pt x="160" y="78"/>
                    </a:lnTo>
                    <a:lnTo>
                      <a:pt x="160" y="80"/>
                    </a:lnTo>
                    <a:lnTo>
                      <a:pt x="158" y="80"/>
                    </a:lnTo>
                    <a:lnTo>
                      <a:pt x="158" y="81"/>
                    </a:lnTo>
                    <a:lnTo>
                      <a:pt x="160" y="81"/>
                    </a:lnTo>
                    <a:lnTo>
                      <a:pt x="160" y="83"/>
                    </a:lnTo>
                    <a:lnTo>
                      <a:pt x="160" y="85"/>
                    </a:lnTo>
                    <a:lnTo>
                      <a:pt x="160" y="86"/>
                    </a:lnTo>
                    <a:lnTo>
                      <a:pt x="161" y="86"/>
                    </a:lnTo>
                    <a:lnTo>
                      <a:pt x="160" y="88"/>
                    </a:lnTo>
                    <a:lnTo>
                      <a:pt x="160" y="90"/>
                    </a:lnTo>
                    <a:lnTo>
                      <a:pt x="160" y="92"/>
                    </a:lnTo>
                    <a:lnTo>
                      <a:pt x="158" y="92"/>
                    </a:lnTo>
                    <a:lnTo>
                      <a:pt x="158" y="93"/>
                    </a:lnTo>
                    <a:lnTo>
                      <a:pt x="160" y="93"/>
                    </a:lnTo>
                    <a:lnTo>
                      <a:pt x="160" y="95"/>
                    </a:lnTo>
                    <a:lnTo>
                      <a:pt x="160" y="97"/>
                    </a:lnTo>
                    <a:lnTo>
                      <a:pt x="158" y="97"/>
                    </a:lnTo>
                    <a:lnTo>
                      <a:pt x="158" y="98"/>
                    </a:lnTo>
                    <a:lnTo>
                      <a:pt x="156" y="98"/>
                    </a:lnTo>
                    <a:lnTo>
                      <a:pt x="156" y="100"/>
                    </a:lnTo>
                    <a:lnTo>
                      <a:pt x="158" y="100"/>
                    </a:lnTo>
                    <a:lnTo>
                      <a:pt x="158" y="102"/>
                    </a:lnTo>
                    <a:lnTo>
                      <a:pt x="158" y="100"/>
                    </a:lnTo>
                    <a:lnTo>
                      <a:pt x="160" y="100"/>
                    </a:lnTo>
                    <a:lnTo>
                      <a:pt x="160" y="102"/>
                    </a:lnTo>
                    <a:lnTo>
                      <a:pt x="161" y="102"/>
                    </a:lnTo>
                    <a:lnTo>
                      <a:pt x="161" y="103"/>
                    </a:lnTo>
                    <a:lnTo>
                      <a:pt x="161" y="102"/>
                    </a:lnTo>
                    <a:lnTo>
                      <a:pt x="163" y="102"/>
                    </a:lnTo>
                    <a:lnTo>
                      <a:pt x="163" y="103"/>
                    </a:lnTo>
                    <a:lnTo>
                      <a:pt x="165" y="102"/>
                    </a:lnTo>
                    <a:lnTo>
                      <a:pt x="165" y="103"/>
                    </a:lnTo>
                    <a:lnTo>
                      <a:pt x="167" y="103"/>
                    </a:lnTo>
                    <a:lnTo>
                      <a:pt x="167" y="102"/>
                    </a:lnTo>
                    <a:lnTo>
                      <a:pt x="168" y="102"/>
                    </a:lnTo>
                    <a:lnTo>
                      <a:pt x="170" y="102"/>
                    </a:lnTo>
                    <a:lnTo>
                      <a:pt x="170" y="103"/>
                    </a:lnTo>
                    <a:lnTo>
                      <a:pt x="172" y="103"/>
                    </a:lnTo>
                    <a:lnTo>
                      <a:pt x="173" y="105"/>
                    </a:lnTo>
                    <a:lnTo>
                      <a:pt x="173" y="103"/>
                    </a:lnTo>
                    <a:lnTo>
                      <a:pt x="173" y="105"/>
                    </a:lnTo>
                    <a:lnTo>
                      <a:pt x="175" y="105"/>
                    </a:lnTo>
                    <a:lnTo>
                      <a:pt x="177" y="105"/>
                    </a:lnTo>
                    <a:lnTo>
                      <a:pt x="178" y="105"/>
                    </a:lnTo>
                    <a:lnTo>
                      <a:pt x="178" y="107"/>
                    </a:lnTo>
                    <a:lnTo>
                      <a:pt x="178" y="105"/>
                    </a:lnTo>
                    <a:lnTo>
                      <a:pt x="180" y="107"/>
                    </a:lnTo>
                    <a:lnTo>
                      <a:pt x="182" y="105"/>
                    </a:lnTo>
                    <a:lnTo>
                      <a:pt x="182" y="107"/>
                    </a:lnTo>
                    <a:lnTo>
                      <a:pt x="184" y="107"/>
                    </a:lnTo>
                    <a:lnTo>
                      <a:pt x="184" y="105"/>
                    </a:lnTo>
                    <a:lnTo>
                      <a:pt x="185" y="105"/>
                    </a:lnTo>
                    <a:lnTo>
                      <a:pt x="185" y="107"/>
                    </a:lnTo>
                    <a:lnTo>
                      <a:pt x="187" y="105"/>
                    </a:lnTo>
                    <a:lnTo>
                      <a:pt x="187" y="107"/>
                    </a:lnTo>
                    <a:lnTo>
                      <a:pt x="189" y="107"/>
                    </a:lnTo>
                    <a:lnTo>
                      <a:pt x="190" y="107"/>
                    </a:lnTo>
                    <a:lnTo>
                      <a:pt x="190" y="105"/>
                    </a:lnTo>
                    <a:lnTo>
                      <a:pt x="192" y="107"/>
                    </a:lnTo>
                    <a:lnTo>
                      <a:pt x="194" y="107"/>
                    </a:lnTo>
                    <a:lnTo>
                      <a:pt x="195" y="107"/>
                    </a:lnTo>
                    <a:lnTo>
                      <a:pt x="195" y="109"/>
                    </a:lnTo>
                    <a:lnTo>
                      <a:pt x="197" y="109"/>
                    </a:lnTo>
                    <a:lnTo>
                      <a:pt x="197" y="107"/>
                    </a:lnTo>
                    <a:lnTo>
                      <a:pt x="199" y="107"/>
                    </a:lnTo>
                    <a:lnTo>
                      <a:pt x="201" y="107"/>
                    </a:lnTo>
                    <a:lnTo>
                      <a:pt x="201" y="105"/>
                    </a:lnTo>
                    <a:lnTo>
                      <a:pt x="202" y="105"/>
                    </a:lnTo>
                    <a:lnTo>
                      <a:pt x="202" y="107"/>
                    </a:lnTo>
                    <a:lnTo>
                      <a:pt x="204" y="107"/>
                    </a:lnTo>
                    <a:lnTo>
                      <a:pt x="202" y="107"/>
                    </a:lnTo>
                    <a:lnTo>
                      <a:pt x="204" y="107"/>
                    </a:lnTo>
                    <a:lnTo>
                      <a:pt x="204" y="105"/>
                    </a:lnTo>
                    <a:lnTo>
                      <a:pt x="206" y="105"/>
                    </a:lnTo>
                    <a:lnTo>
                      <a:pt x="206" y="103"/>
                    </a:lnTo>
                    <a:lnTo>
                      <a:pt x="207" y="103"/>
                    </a:lnTo>
                    <a:lnTo>
                      <a:pt x="206" y="103"/>
                    </a:lnTo>
                    <a:lnTo>
                      <a:pt x="207" y="103"/>
                    </a:lnTo>
                    <a:lnTo>
                      <a:pt x="207" y="102"/>
                    </a:lnTo>
                    <a:lnTo>
                      <a:pt x="209" y="102"/>
                    </a:lnTo>
                    <a:lnTo>
                      <a:pt x="209" y="100"/>
                    </a:lnTo>
                    <a:lnTo>
                      <a:pt x="211" y="102"/>
                    </a:lnTo>
                    <a:lnTo>
                      <a:pt x="211" y="100"/>
                    </a:lnTo>
                    <a:lnTo>
                      <a:pt x="211" y="102"/>
                    </a:lnTo>
                    <a:lnTo>
                      <a:pt x="212" y="102"/>
                    </a:lnTo>
                    <a:lnTo>
                      <a:pt x="212" y="103"/>
                    </a:lnTo>
                    <a:lnTo>
                      <a:pt x="212" y="105"/>
                    </a:lnTo>
                    <a:lnTo>
                      <a:pt x="214" y="105"/>
                    </a:lnTo>
                    <a:lnTo>
                      <a:pt x="216" y="105"/>
                    </a:lnTo>
                    <a:lnTo>
                      <a:pt x="216" y="107"/>
                    </a:lnTo>
                    <a:lnTo>
                      <a:pt x="218" y="107"/>
                    </a:lnTo>
                    <a:lnTo>
                      <a:pt x="218" y="109"/>
                    </a:lnTo>
                    <a:lnTo>
                      <a:pt x="218" y="107"/>
                    </a:lnTo>
                    <a:lnTo>
                      <a:pt x="219" y="109"/>
                    </a:lnTo>
                    <a:lnTo>
                      <a:pt x="221" y="109"/>
                    </a:lnTo>
                    <a:lnTo>
                      <a:pt x="221" y="107"/>
                    </a:lnTo>
                    <a:lnTo>
                      <a:pt x="221" y="109"/>
                    </a:lnTo>
                    <a:lnTo>
                      <a:pt x="223" y="109"/>
                    </a:lnTo>
                    <a:lnTo>
                      <a:pt x="224" y="109"/>
                    </a:lnTo>
                    <a:lnTo>
                      <a:pt x="226" y="109"/>
                    </a:lnTo>
                    <a:lnTo>
                      <a:pt x="228" y="109"/>
                    </a:lnTo>
                    <a:lnTo>
                      <a:pt x="229" y="109"/>
                    </a:lnTo>
                    <a:lnTo>
                      <a:pt x="231" y="110"/>
                    </a:lnTo>
                    <a:lnTo>
                      <a:pt x="231" y="112"/>
                    </a:lnTo>
                    <a:lnTo>
                      <a:pt x="233" y="112"/>
                    </a:lnTo>
                    <a:lnTo>
                      <a:pt x="233" y="114"/>
                    </a:lnTo>
                    <a:lnTo>
                      <a:pt x="235" y="114"/>
                    </a:lnTo>
                    <a:lnTo>
                      <a:pt x="233" y="114"/>
                    </a:lnTo>
                    <a:lnTo>
                      <a:pt x="233" y="115"/>
                    </a:lnTo>
                    <a:lnTo>
                      <a:pt x="233" y="117"/>
                    </a:lnTo>
                    <a:lnTo>
                      <a:pt x="235" y="117"/>
                    </a:lnTo>
                    <a:lnTo>
                      <a:pt x="235" y="119"/>
                    </a:lnTo>
                    <a:lnTo>
                      <a:pt x="236" y="119"/>
                    </a:lnTo>
                    <a:lnTo>
                      <a:pt x="236" y="121"/>
                    </a:lnTo>
                    <a:lnTo>
                      <a:pt x="238" y="121"/>
                    </a:lnTo>
                    <a:lnTo>
                      <a:pt x="238" y="122"/>
                    </a:lnTo>
                    <a:lnTo>
                      <a:pt x="238" y="124"/>
                    </a:lnTo>
                    <a:lnTo>
                      <a:pt x="238" y="126"/>
                    </a:lnTo>
                    <a:lnTo>
                      <a:pt x="236" y="126"/>
                    </a:lnTo>
                    <a:lnTo>
                      <a:pt x="236" y="127"/>
                    </a:lnTo>
                    <a:lnTo>
                      <a:pt x="236" y="129"/>
                    </a:lnTo>
                    <a:lnTo>
                      <a:pt x="236" y="131"/>
                    </a:lnTo>
                    <a:lnTo>
                      <a:pt x="236" y="132"/>
                    </a:lnTo>
                    <a:lnTo>
                      <a:pt x="238" y="134"/>
                    </a:lnTo>
                    <a:lnTo>
                      <a:pt x="236" y="136"/>
                    </a:lnTo>
                    <a:lnTo>
                      <a:pt x="238" y="136"/>
                    </a:lnTo>
                    <a:lnTo>
                      <a:pt x="238" y="138"/>
                    </a:lnTo>
                    <a:lnTo>
                      <a:pt x="238" y="139"/>
                    </a:lnTo>
                    <a:lnTo>
                      <a:pt x="240" y="139"/>
                    </a:lnTo>
                    <a:lnTo>
                      <a:pt x="240" y="141"/>
                    </a:lnTo>
                    <a:lnTo>
                      <a:pt x="241" y="141"/>
                    </a:lnTo>
                    <a:lnTo>
                      <a:pt x="241" y="143"/>
                    </a:lnTo>
                    <a:lnTo>
                      <a:pt x="240" y="143"/>
                    </a:lnTo>
                    <a:lnTo>
                      <a:pt x="240" y="144"/>
                    </a:lnTo>
                    <a:lnTo>
                      <a:pt x="241" y="144"/>
                    </a:lnTo>
                    <a:lnTo>
                      <a:pt x="240" y="144"/>
                    </a:lnTo>
                    <a:lnTo>
                      <a:pt x="240" y="146"/>
                    </a:lnTo>
                    <a:lnTo>
                      <a:pt x="241" y="148"/>
                    </a:lnTo>
                    <a:lnTo>
                      <a:pt x="241" y="149"/>
                    </a:lnTo>
                    <a:lnTo>
                      <a:pt x="240" y="151"/>
                    </a:lnTo>
                    <a:lnTo>
                      <a:pt x="240" y="153"/>
                    </a:lnTo>
                    <a:lnTo>
                      <a:pt x="240" y="155"/>
                    </a:lnTo>
                    <a:lnTo>
                      <a:pt x="241" y="155"/>
                    </a:lnTo>
                    <a:lnTo>
                      <a:pt x="241" y="156"/>
                    </a:lnTo>
                    <a:lnTo>
                      <a:pt x="240" y="156"/>
                    </a:lnTo>
                    <a:lnTo>
                      <a:pt x="240" y="158"/>
                    </a:lnTo>
                    <a:lnTo>
                      <a:pt x="241" y="158"/>
                    </a:lnTo>
                    <a:lnTo>
                      <a:pt x="243" y="158"/>
                    </a:lnTo>
                    <a:lnTo>
                      <a:pt x="243" y="160"/>
                    </a:lnTo>
                    <a:lnTo>
                      <a:pt x="243" y="161"/>
                    </a:lnTo>
                    <a:lnTo>
                      <a:pt x="243" y="163"/>
                    </a:lnTo>
                    <a:lnTo>
                      <a:pt x="245" y="163"/>
                    </a:lnTo>
                    <a:lnTo>
                      <a:pt x="243" y="163"/>
                    </a:lnTo>
                    <a:lnTo>
                      <a:pt x="243" y="165"/>
                    </a:lnTo>
                    <a:lnTo>
                      <a:pt x="243" y="166"/>
                    </a:lnTo>
                    <a:lnTo>
                      <a:pt x="243" y="168"/>
                    </a:lnTo>
                    <a:lnTo>
                      <a:pt x="245" y="168"/>
                    </a:lnTo>
                    <a:lnTo>
                      <a:pt x="245" y="170"/>
                    </a:lnTo>
                    <a:lnTo>
                      <a:pt x="246" y="170"/>
                    </a:lnTo>
                    <a:lnTo>
                      <a:pt x="246" y="172"/>
                    </a:lnTo>
                    <a:lnTo>
                      <a:pt x="248" y="170"/>
                    </a:lnTo>
                    <a:lnTo>
                      <a:pt x="250" y="170"/>
                    </a:lnTo>
                    <a:lnTo>
                      <a:pt x="250" y="172"/>
                    </a:lnTo>
                    <a:lnTo>
                      <a:pt x="252" y="172"/>
                    </a:lnTo>
                    <a:lnTo>
                      <a:pt x="253" y="172"/>
                    </a:lnTo>
                    <a:lnTo>
                      <a:pt x="253" y="170"/>
                    </a:lnTo>
                    <a:lnTo>
                      <a:pt x="253" y="172"/>
                    </a:lnTo>
                    <a:lnTo>
                      <a:pt x="255" y="170"/>
                    </a:lnTo>
                    <a:lnTo>
                      <a:pt x="257" y="170"/>
                    </a:lnTo>
                    <a:lnTo>
                      <a:pt x="257" y="172"/>
                    </a:lnTo>
                    <a:lnTo>
                      <a:pt x="257" y="170"/>
                    </a:lnTo>
                    <a:lnTo>
                      <a:pt x="258" y="170"/>
                    </a:lnTo>
                    <a:lnTo>
                      <a:pt x="260" y="170"/>
                    </a:lnTo>
                    <a:lnTo>
                      <a:pt x="262" y="170"/>
                    </a:lnTo>
                    <a:lnTo>
                      <a:pt x="262" y="168"/>
                    </a:lnTo>
                    <a:lnTo>
                      <a:pt x="263" y="168"/>
                    </a:lnTo>
                    <a:lnTo>
                      <a:pt x="263" y="166"/>
                    </a:lnTo>
                    <a:lnTo>
                      <a:pt x="265" y="166"/>
                    </a:lnTo>
                    <a:lnTo>
                      <a:pt x="267" y="166"/>
                    </a:lnTo>
                    <a:lnTo>
                      <a:pt x="269" y="166"/>
                    </a:lnTo>
                    <a:lnTo>
                      <a:pt x="269" y="165"/>
                    </a:lnTo>
                    <a:lnTo>
                      <a:pt x="270" y="165"/>
                    </a:lnTo>
                    <a:lnTo>
                      <a:pt x="272" y="165"/>
                    </a:lnTo>
                    <a:lnTo>
                      <a:pt x="272" y="166"/>
                    </a:lnTo>
                    <a:lnTo>
                      <a:pt x="272" y="165"/>
                    </a:lnTo>
                    <a:lnTo>
                      <a:pt x="274" y="166"/>
                    </a:lnTo>
                    <a:lnTo>
                      <a:pt x="275" y="166"/>
                    </a:lnTo>
                    <a:lnTo>
                      <a:pt x="277" y="166"/>
                    </a:lnTo>
                    <a:lnTo>
                      <a:pt x="277" y="168"/>
                    </a:lnTo>
                    <a:lnTo>
                      <a:pt x="279" y="170"/>
                    </a:lnTo>
                    <a:lnTo>
                      <a:pt x="280" y="172"/>
                    </a:lnTo>
                    <a:lnTo>
                      <a:pt x="282" y="172"/>
                    </a:lnTo>
                    <a:lnTo>
                      <a:pt x="282" y="173"/>
                    </a:lnTo>
                    <a:lnTo>
                      <a:pt x="282" y="175"/>
                    </a:lnTo>
                    <a:lnTo>
                      <a:pt x="280" y="175"/>
                    </a:lnTo>
                    <a:lnTo>
                      <a:pt x="280" y="177"/>
                    </a:lnTo>
                    <a:lnTo>
                      <a:pt x="280" y="178"/>
                    </a:lnTo>
                    <a:lnTo>
                      <a:pt x="280" y="180"/>
                    </a:lnTo>
                    <a:lnTo>
                      <a:pt x="282" y="180"/>
                    </a:lnTo>
                    <a:lnTo>
                      <a:pt x="282" y="182"/>
                    </a:lnTo>
                    <a:lnTo>
                      <a:pt x="284" y="183"/>
                    </a:lnTo>
                    <a:lnTo>
                      <a:pt x="284" y="185"/>
                    </a:lnTo>
                    <a:lnTo>
                      <a:pt x="282" y="187"/>
                    </a:lnTo>
                    <a:lnTo>
                      <a:pt x="282" y="189"/>
                    </a:lnTo>
                    <a:lnTo>
                      <a:pt x="280" y="189"/>
                    </a:lnTo>
                    <a:lnTo>
                      <a:pt x="280" y="190"/>
                    </a:lnTo>
                    <a:lnTo>
                      <a:pt x="280" y="192"/>
                    </a:lnTo>
                    <a:lnTo>
                      <a:pt x="282" y="192"/>
                    </a:lnTo>
                    <a:lnTo>
                      <a:pt x="282" y="194"/>
                    </a:lnTo>
                    <a:lnTo>
                      <a:pt x="282" y="195"/>
                    </a:lnTo>
                    <a:lnTo>
                      <a:pt x="280" y="195"/>
                    </a:lnTo>
                    <a:lnTo>
                      <a:pt x="280" y="197"/>
                    </a:lnTo>
                    <a:lnTo>
                      <a:pt x="280" y="199"/>
                    </a:lnTo>
                    <a:lnTo>
                      <a:pt x="279" y="200"/>
                    </a:lnTo>
                    <a:lnTo>
                      <a:pt x="279" y="202"/>
                    </a:lnTo>
                    <a:lnTo>
                      <a:pt x="279" y="204"/>
                    </a:lnTo>
                    <a:lnTo>
                      <a:pt x="277" y="206"/>
                    </a:lnTo>
                    <a:lnTo>
                      <a:pt x="277" y="207"/>
                    </a:lnTo>
                    <a:lnTo>
                      <a:pt x="277" y="209"/>
                    </a:lnTo>
                    <a:lnTo>
                      <a:pt x="277" y="211"/>
                    </a:lnTo>
                    <a:lnTo>
                      <a:pt x="277" y="212"/>
                    </a:lnTo>
                    <a:lnTo>
                      <a:pt x="277" y="214"/>
                    </a:lnTo>
                    <a:lnTo>
                      <a:pt x="277" y="216"/>
                    </a:lnTo>
                    <a:lnTo>
                      <a:pt x="275" y="217"/>
                    </a:lnTo>
                    <a:lnTo>
                      <a:pt x="275" y="219"/>
                    </a:lnTo>
                    <a:lnTo>
                      <a:pt x="274" y="221"/>
                    </a:lnTo>
                    <a:lnTo>
                      <a:pt x="274" y="223"/>
                    </a:lnTo>
                    <a:lnTo>
                      <a:pt x="272" y="223"/>
                    </a:lnTo>
                    <a:lnTo>
                      <a:pt x="272" y="224"/>
                    </a:lnTo>
                    <a:lnTo>
                      <a:pt x="272" y="226"/>
                    </a:lnTo>
                    <a:lnTo>
                      <a:pt x="272" y="228"/>
                    </a:lnTo>
                    <a:lnTo>
                      <a:pt x="272" y="229"/>
                    </a:lnTo>
                    <a:lnTo>
                      <a:pt x="272" y="231"/>
                    </a:lnTo>
                    <a:lnTo>
                      <a:pt x="272" y="233"/>
                    </a:lnTo>
                    <a:lnTo>
                      <a:pt x="270" y="233"/>
                    </a:lnTo>
                    <a:lnTo>
                      <a:pt x="270" y="234"/>
                    </a:lnTo>
                    <a:lnTo>
                      <a:pt x="270" y="236"/>
                    </a:lnTo>
                    <a:lnTo>
                      <a:pt x="270" y="238"/>
                    </a:lnTo>
                    <a:lnTo>
                      <a:pt x="272" y="238"/>
                    </a:lnTo>
                    <a:lnTo>
                      <a:pt x="272" y="240"/>
                    </a:lnTo>
                    <a:lnTo>
                      <a:pt x="272" y="241"/>
                    </a:lnTo>
                    <a:lnTo>
                      <a:pt x="272" y="243"/>
                    </a:lnTo>
                    <a:lnTo>
                      <a:pt x="272" y="245"/>
                    </a:lnTo>
                    <a:lnTo>
                      <a:pt x="270" y="245"/>
                    </a:lnTo>
                    <a:lnTo>
                      <a:pt x="269" y="246"/>
                    </a:lnTo>
                    <a:lnTo>
                      <a:pt x="270" y="248"/>
                    </a:lnTo>
                    <a:lnTo>
                      <a:pt x="270" y="250"/>
                    </a:lnTo>
                    <a:lnTo>
                      <a:pt x="270" y="251"/>
                    </a:lnTo>
                    <a:lnTo>
                      <a:pt x="270" y="253"/>
                    </a:lnTo>
                    <a:lnTo>
                      <a:pt x="272" y="253"/>
                    </a:lnTo>
                    <a:lnTo>
                      <a:pt x="272" y="255"/>
                    </a:lnTo>
                    <a:lnTo>
                      <a:pt x="270" y="255"/>
                    </a:lnTo>
                    <a:lnTo>
                      <a:pt x="269" y="255"/>
                    </a:lnTo>
                    <a:lnTo>
                      <a:pt x="270" y="257"/>
                    </a:lnTo>
                    <a:lnTo>
                      <a:pt x="270" y="258"/>
                    </a:lnTo>
                    <a:lnTo>
                      <a:pt x="269" y="258"/>
                    </a:lnTo>
                    <a:lnTo>
                      <a:pt x="269" y="260"/>
                    </a:lnTo>
                    <a:lnTo>
                      <a:pt x="269" y="262"/>
                    </a:lnTo>
                    <a:lnTo>
                      <a:pt x="269" y="263"/>
                    </a:lnTo>
                    <a:lnTo>
                      <a:pt x="267" y="263"/>
                    </a:lnTo>
                    <a:lnTo>
                      <a:pt x="267" y="265"/>
                    </a:lnTo>
                    <a:lnTo>
                      <a:pt x="265" y="265"/>
                    </a:lnTo>
                    <a:lnTo>
                      <a:pt x="265" y="267"/>
                    </a:lnTo>
                    <a:lnTo>
                      <a:pt x="265" y="268"/>
                    </a:lnTo>
                    <a:lnTo>
                      <a:pt x="265" y="270"/>
                    </a:lnTo>
                    <a:lnTo>
                      <a:pt x="263" y="272"/>
                    </a:lnTo>
                    <a:lnTo>
                      <a:pt x="263" y="270"/>
                    </a:lnTo>
                    <a:lnTo>
                      <a:pt x="262" y="270"/>
                    </a:lnTo>
                    <a:lnTo>
                      <a:pt x="260" y="272"/>
                    </a:lnTo>
                    <a:lnTo>
                      <a:pt x="260" y="274"/>
                    </a:lnTo>
                    <a:lnTo>
                      <a:pt x="260" y="275"/>
                    </a:lnTo>
                    <a:lnTo>
                      <a:pt x="258" y="275"/>
                    </a:lnTo>
                    <a:lnTo>
                      <a:pt x="257" y="275"/>
                    </a:lnTo>
                    <a:lnTo>
                      <a:pt x="255" y="277"/>
                    </a:lnTo>
                    <a:lnTo>
                      <a:pt x="253" y="279"/>
                    </a:lnTo>
                    <a:lnTo>
                      <a:pt x="253" y="280"/>
                    </a:lnTo>
                    <a:lnTo>
                      <a:pt x="253" y="282"/>
                    </a:lnTo>
                    <a:lnTo>
                      <a:pt x="252" y="282"/>
                    </a:lnTo>
                    <a:lnTo>
                      <a:pt x="250" y="280"/>
                    </a:lnTo>
                    <a:lnTo>
                      <a:pt x="248" y="282"/>
                    </a:lnTo>
                    <a:lnTo>
                      <a:pt x="246" y="282"/>
                    </a:lnTo>
                    <a:lnTo>
                      <a:pt x="245" y="284"/>
                    </a:lnTo>
                    <a:lnTo>
                      <a:pt x="243" y="284"/>
                    </a:lnTo>
                    <a:lnTo>
                      <a:pt x="243" y="286"/>
                    </a:lnTo>
                    <a:lnTo>
                      <a:pt x="243" y="287"/>
                    </a:lnTo>
                    <a:lnTo>
                      <a:pt x="241" y="287"/>
                    </a:lnTo>
                    <a:lnTo>
                      <a:pt x="240" y="287"/>
                    </a:lnTo>
                    <a:lnTo>
                      <a:pt x="240" y="289"/>
                    </a:lnTo>
                    <a:lnTo>
                      <a:pt x="240" y="291"/>
                    </a:lnTo>
                    <a:lnTo>
                      <a:pt x="238" y="289"/>
                    </a:lnTo>
                    <a:lnTo>
                      <a:pt x="238" y="291"/>
                    </a:lnTo>
                    <a:lnTo>
                      <a:pt x="238" y="292"/>
                    </a:lnTo>
                    <a:lnTo>
                      <a:pt x="240" y="292"/>
                    </a:lnTo>
                    <a:lnTo>
                      <a:pt x="240" y="294"/>
                    </a:lnTo>
                    <a:lnTo>
                      <a:pt x="238" y="294"/>
                    </a:lnTo>
                    <a:lnTo>
                      <a:pt x="238" y="296"/>
                    </a:lnTo>
                    <a:lnTo>
                      <a:pt x="238" y="297"/>
                    </a:lnTo>
                    <a:lnTo>
                      <a:pt x="236" y="297"/>
                    </a:lnTo>
                    <a:lnTo>
                      <a:pt x="235" y="297"/>
                    </a:lnTo>
                    <a:lnTo>
                      <a:pt x="235" y="299"/>
                    </a:lnTo>
                    <a:lnTo>
                      <a:pt x="233" y="301"/>
                    </a:lnTo>
                    <a:lnTo>
                      <a:pt x="231" y="301"/>
                    </a:lnTo>
                    <a:lnTo>
                      <a:pt x="231" y="299"/>
                    </a:lnTo>
                    <a:lnTo>
                      <a:pt x="229" y="299"/>
                    </a:lnTo>
                    <a:lnTo>
                      <a:pt x="229" y="297"/>
                    </a:lnTo>
                    <a:lnTo>
                      <a:pt x="228" y="296"/>
                    </a:lnTo>
                    <a:lnTo>
                      <a:pt x="226" y="297"/>
                    </a:lnTo>
                    <a:lnTo>
                      <a:pt x="224" y="296"/>
                    </a:lnTo>
                    <a:lnTo>
                      <a:pt x="223" y="296"/>
                    </a:lnTo>
                    <a:lnTo>
                      <a:pt x="221" y="296"/>
                    </a:lnTo>
                    <a:lnTo>
                      <a:pt x="219" y="296"/>
                    </a:lnTo>
                    <a:lnTo>
                      <a:pt x="218" y="297"/>
                    </a:lnTo>
                    <a:lnTo>
                      <a:pt x="218" y="299"/>
                    </a:lnTo>
                    <a:lnTo>
                      <a:pt x="216" y="299"/>
                    </a:lnTo>
                    <a:lnTo>
                      <a:pt x="214" y="299"/>
                    </a:lnTo>
                    <a:lnTo>
                      <a:pt x="214" y="301"/>
                    </a:lnTo>
                    <a:lnTo>
                      <a:pt x="216" y="301"/>
                    </a:lnTo>
                    <a:lnTo>
                      <a:pt x="214" y="303"/>
                    </a:lnTo>
                    <a:lnTo>
                      <a:pt x="214" y="304"/>
                    </a:lnTo>
                    <a:lnTo>
                      <a:pt x="212" y="304"/>
                    </a:lnTo>
                    <a:lnTo>
                      <a:pt x="212" y="306"/>
                    </a:lnTo>
                    <a:lnTo>
                      <a:pt x="209" y="304"/>
                    </a:lnTo>
                    <a:lnTo>
                      <a:pt x="209" y="303"/>
                    </a:lnTo>
                    <a:lnTo>
                      <a:pt x="207" y="303"/>
                    </a:lnTo>
                    <a:lnTo>
                      <a:pt x="207" y="301"/>
                    </a:lnTo>
                    <a:lnTo>
                      <a:pt x="206" y="301"/>
                    </a:lnTo>
                    <a:lnTo>
                      <a:pt x="204" y="301"/>
                    </a:lnTo>
                    <a:lnTo>
                      <a:pt x="202" y="301"/>
                    </a:lnTo>
                    <a:lnTo>
                      <a:pt x="201" y="301"/>
                    </a:lnTo>
                    <a:lnTo>
                      <a:pt x="201" y="303"/>
                    </a:lnTo>
                    <a:lnTo>
                      <a:pt x="199" y="303"/>
                    </a:lnTo>
                    <a:lnTo>
                      <a:pt x="197" y="301"/>
                    </a:lnTo>
                    <a:lnTo>
                      <a:pt x="195" y="301"/>
                    </a:lnTo>
                    <a:lnTo>
                      <a:pt x="195" y="299"/>
                    </a:lnTo>
                    <a:lnTo>
                      <a:pt x="194" y="299"/>
                    </a:lnTo>
                    <a:lnTo>
                      <a:pt x="192" y="299"/>
                    </a:lnTo>
                    <a:lnTo>
                      <a:pt x="192" y="301"/>
                    </a:lnTo>
                    <a:lnTo>
                      <a:pt x="190" y="301"/>
                    </a:lnTo>
                    <a:lnTo>
                      <a:pt x="190" y="303"/>
                    </a:lnTo>
                    <a:lnTo>
                      <a:pt x="189" y="303"/>
                    </a:lnTo>
                    <a:lnTo>
                      <a:pt x="187" y="303"/>
                    </a:lnTo>
                    <a:lnTo>
                      <a:pt x="185" y="301"/>
                    </a:lnTo>
                    <a:lnTo>
                      <a:pt x="184" y="301"/>
                    </a:lnTo>
                    <a:lnTo>
                      <a:pt x="182" y="301"/>
                    </a:lnTo>
                    <a:lnTo>
                      <a:pt x="180" y="299"/>
                    </a:lnTo>
                    <a:lnTo>
                      <a:pt x="178" y="299"/>
                    </a:lnTo>
                    <a:lnTo>
                      <a:pt x="177" y="299"/>
                    </a:lnTo>
                    <a:lnTo>
                      <a:pt x="177" y="301"/>
                    </a:lnTo>
                    <a:lnTo>
                      <a:pt x="175" y="301"/>
                    </a:lnTo>
                    <a:lnTo>
                      <a:pt x="173" y="301"/>
                    </a:lnTo>
                    <a:lnTo>
                      <a:pt x="173" y="299"/>
                    </a:lnTo>
                    <a:lnTo>
                      <a:pt x="172" y="299"/>
                    </a:lnTo>
                    <a:lnTo>
                      <a:pt x="170" y="297"/>
                    </a:lnTo>
                    <a:lnTo>
                      <a:pt x="168" y="297"/>
                    </a:lnTo>
                    <a:lnTo>
                      <a:pt x="168" y="296"/>
                    </a:lnTo>
                    <a:lnTo>
                      <a:pt x="167" y="296"/>
                    </a:lnTo>
                    <a:lnTo>
                      <a:pt x="165" y="296"/>
                    </a:lnTo>
                    <a:lnTo>
                      <a:pt x="163" y="296"/>
                    </a:lnTo>
                    <a:lnTo>
                      <a:pt x="161" y="294"/>
                    </a:lnTo>
                    <a:lnTo>
                      <a:pt x="160" y="294"/>
                    </a:lnTo>
                    <a:lnTo>
                      <a:pt x="158" y="294"/>
                    </a:lnTo>
                    <a:lnTo>
                      <a:pt x="156" y="294"/>
                    </a:lnTo>
                    <a:lnTo>
                      <a:pt x="155" y="294"/>
                    </a:lnTo>
                    <a:lnTo>
                      <a:pt x="153" y="294"/>
                    </a:lnTo>
                    <a:lnTo>
                      <a:pt x="151" y="294"/>
                    </a:lnTo>
                    <a:lnTo>
                      <a:pt x="150" y="294"/>
                    </a:lnTo>
                    <a:lnTo>
                      <a:pt x="148" y="294"/>
                    </a:lnTo>
                    <a:lnTo>
                      <a:pt x="146" y="294"/>
                    </a:lnTo>
                    <a:lnTo>
                      <a:pt x="144" y="294"/>
                    </a:lnTo>
                    <a:lnTo>
                      <a:pt x="143" y="294"/>
                    </a:lnTo>
                    <a:lnTo>
                      <a:pt x="141" y="294"/>
                    </a:lnTo>
                    <a:lnTo>
                      <a:pt x="139" y="294"/>
                    </a:lnTo>
                    <a:lnTo>
                      <a:pt x="138" y="294"/>
                    </a:lnTo>
                    <a:lnTo>
                      <a:pt x="138" y="296"/>
                    </a:lnTo>
                    <a:lnTo>
                      <a:pt x="136" y="296"/>
                    </a:lnTo>
                    <a:lnTo>
                      <a:pt x="136" y="294"/>
                    </a:lnTo>
                    <a:lnTo>
                      <a:pt x="138" y="294"/>
                    </a:lnTo>
                    <a:lnTo>
                      <a:pt x="138" y="292"/>
                    </a:lnTo>
                    <a:lnTo>
                      <a:pt x="136" y="292"/>
                    </a:lnTo>
                    <a:lnTo>
                      <a:pt x="136" y="291"/>
                    </a:lnTo>
                    <a:lnTo>
                      <a:pt x="134" y="291"/>
                    </a:lnTo>
                    <a:lnTo>
                      <a:pt x="134" y="289"/>
                    </a:lnTo>
                    <a:lnTo>
                      <a:pt x="136" y="289"/>
                    </a:lnTo>
                    <a:lnTo>
                      <a:pt x="136" y="287"/>
                    </a:lnTo>
                    <a:lnTo>
                      <a:pt x="138" y="287"/>
                    </a:lnTo>
                    <a:lnTo>
                      <a:pt x="139" y="287"/>
                    </a:lnTo>
                    <a:lnTo>
                      <a:pt x="138" y="287"/>
                    </a:lnTo>
                    <a:lnTo>
                      <a:pt x="139" y="286"/>
                    </a:lnTo>
                    <a:lnTo>
                      <a:pt x="138" y="286"/>
                    </a:lnTo>
                    <a:lnTo>
                      <a:pt x="139" y="286"/>
                    </a:lnTo>
                    <a:lnTo>
                      <a:pt x="141" y="286"/>
                    </a:lnTo>
                    <a:lnTo>
                      <a:pt x="139" y="284"/>
                    </a:lnTo>
                    <a:lnTo>
                      <a:pt x="141" y="284"/>
                    </a:lnTo>
                    <a:lnTo>
                      <a:pt x="141" y="282"/>
                    </a:lnTo>
                    <a:lnTo>
                      <a:pt x="141" y="280"/>
                    </a:lnTo>
                    <a:lnTo>
                      <a:pt x="143" y="280"/>
                    </a:lnTo>
                    <a:lnTo>
                      <a:pt x="144" y="280"/>
                    </a:lnTo>
                    <a:lnTo>
                      <a:pt x="144" y="279"/>
                    </a:lnTo>
                    <a:lnTo>
                      <a:pt x="146" y="279"/>
                    </a:lnTo>
                    <a:lnTo>
                      <a:pt x="146" y="277"/>
                    </a:lnTo>
                    <a:lnTo>
                      <a:pt x="146" y="275"/>
                    </a:lnTo>
                    <a:lnTo>
                      <a:pt x="148" y="275"/>
                    </a:lnTo>
                    <a:lnTo>
                      <a:pt x="148" y="274"/>
                    </a:lnTo>
                    <a:lnTo>
                      <a:pt x="150" y="274"/>
                    </a:lnTo>
                    <a:lnTo>
                      <a:pt x="148" y="272"/>
                    </a:lnTo>
                    <a:lnTo>
                      <a:pt x="148" y="270"/>
                    </a:lnTo>
                    <a:lnTo>
                      <a:pt x="150" y="270"/>
                    </a:lnTo>
                    <a:lnTo>
                      <a:pt x="151" y="270"/>
                    </a:lnTo>
                    <a:lnTo>
                      <a:pt x="150" y="268"/>
                    </a:lnTo>
                    <a:lnTo>
                      <a:pt x="151" y="268"/>
                    </a:lnTo>
                    <a:lnTo>
                      <a:pt x="151" y="267"/>
                    </a:lnTo>
                    <a:lnTo>
                      <a:pt x="150" y="267"/>
                    </a:lnTo>
                    <a:lnTo>
                      <a:pt x="150" y="265"/>
                    </a:lnTo>
                    <a:lnTo>
                      <a:pt x="150" y="263"/>
                    </a:lnTo>
                    <a:lnTo>
                      <a:pt x="151" y="263"/>
                    </a:lnTo>
                    <a:lnTo>
                      <a:pt x="151" y="262"/>
                    </a:lnTo>
                    <a:lnTo>
                      <a:pt x="150" y="262"/>
                    </a:lnTo>
                    <a:lnTo>
                      <a:pt x="150" y="260"/>
                    </a:lnTo>
                    <a:lnTo>
                      <a:pt x="151" y="260"/>
                    </a:lnTo>
                    <a:lnTo>
                      <a:pt x="151" y="258"/>
                    </a:lnTo>
                    <a:lnTo>
                      <a:pt x="151" y="257"/>
                    </a:lnTo>
                    <a:lnTo>
                      <a:pt x="151" y="255"/>
                    </a:lnTo>
                    <a:lnTo>
                      <a:pt x="153" y="255"/>
                    </a:lnTo>
                    <a:lnTo>
                      <a:pt x="153" y="253"/>
                    </a:lnTo>
                    <a:lnTo>
                      <a:pt x="151" y="253"/>
                    </a:lnTo>
                    <a:lnTo>
                      <a:pt x="153" y="253"/>
                    </a:lnTo>
                    <a:lnTo>
                      <a:pt x="153" y="251"/>
                    </a:lnTo>
                    <a:lnTo>
                      <a:pt x="155" y="251"/>
                    </a:lnTo>
                    <a:lnTo>
                      <a:pt x="155" y="250"/>
                    </a:lnTo>
                    <a:lnTo>
                      <a:pt x="156" y="250"/>
                    </a:lnTo>
                    <a:lnTo>
                      <a:pt x="158" y="250"/>
                    </a:lnTo>
                    <a:lnTo>
                      <a:pt x="158" y="248"/>
                    </a:lnTo>
                    <a:lnTo>
                      <a:pt x="160" y="248"/>
                    </a:lnTo>
                    <a:lnTo>
                      <a:pt x="160" y="246"/>
                    </a:lnTo>
                    <a:lnTo>
                      <a:pt x="161" y="246"/>
                    </a:lnTo>
                    <a:lnTo>
                      <a:pt x="161" y="245"/>
                    </a:lnTo>
                    <a:lnTo>
                      <a:pt x="161" y="243"/>
                    </a:lnTo>
                    <a:lnTo>
                      <a:pt x="163" y="243"/>
                    </a:lnTo>
                    <a:lnTo>
                      <a:pt x="161" y="241"/>
                    </a:lnTo>
                    <a:lnTo>
                      <a:pt x="161" y="240"/>
                    </a:lnTo>
                    <a:lnTo>
                      <a:pt x="163" y="240"/>
                    </a:lnTo>
                    <a:lnTo>
                      <a:pt x="165" y="240"/>
                    </a:lnTo>
                    <a:lnTo>
                      <a:pt x="165" y="238"/>
                    </a:lnTo>
                    <a:lnTo>
                      <a:pt x="163" y="238"/>
                    </a:lnTo>
                    <a:lnTo>
                      <a:pt x="163" y="236"/>
                    </a:lnTo>
                    <a:lnTo>
                      <a:pt x="165" y="236"/>
                    </a:lnTo>
                    <a:lnTo>
                      <a:pt x="167" y="236"/>
                    </a:lnTo>
                    <a:lnTo>
                      <a:pt x="167" y="234"/>
                    </a:lnTo>
                    <a:lnTo>
                      <a:pt x="165" y="234"/>
                    </a:lnTo>
                    <a:lnTo>
                      <a:pt x="167" y="233"/>
                    </a:lnTo>
                    <a:lnTo>
                      <a:pt x="168" y="233"/>
                    </a:lnTo>
                    <a:lnTo>
                      <a:pt x="168" y="231"/>
                    </a:lnTo>
                    <a:lnTo>
                      <a:pt x="170" y="231"/>
                    </a:lnTo>
                    <a:lnTo>
                      <a:pt x="170" y="229"/>
                    </a:lnTo>
                    <a:lnTo>
                      <a:pt x="172" y="229"/>
                    </a:lnTo>
                    <a:lnTo>
                      <a:pt x="172" y="228"/>
                    </a:lnTo>
                    <a:lnTo>
                      <a:pt x="172" y="226"/>
                    </a:lnTo>
                    <a:lnTo>
                      <a:pt x="172" y="224"/>
                    </a:lnTo>
                    <a:lnTo>
                      <a:pt x="172" y="223"/>
                    </a:lnTo>
                    <a:lnTo>
                      <a:pt x="170" y="223"/>
                    </a:lnTo>
                    <a:lnTo>
                      <a:pt x="168" y="223"/>
                    </a:lnTo>
                    <a:lnTo>
                      <a:pt x="168" y="221"/>
                    </a:lnTo>
                    <a:lnTo>
                      <a:pt x="167" y="221"/>
                    </a:lnTo>
                    <a:lnTo>
                      <a:pt x="167" y="219"/>
                    </a:lnTo>
                    <a:lnTo>
                      <a:pt x="168" y="219"/>
                    </a:lnTo>
                    <a:lnTo>
                      <a:pt x="167" y="219"/>
                    </a:lnTo>
                    <a:lnTo>
                      <a:pt x="167" y="217"/>
                    </a:lnTo>
                    <a:lnTo>
                      <a:pt x="165" y="216"/>
                    </a:lnTo>
                    <a:lnTo>
                      <a:pt x="167" y="216"/>
                    </a:lnTo>
                    <a:lnTo>
                      <a:pt x="165" y="216"/>
                    </a:lnTo>
                    <a:lnTo>
                      <a:pt x="165" y="214"/>
                    </a:lnTo>
                    <a:lnTo>
                      <a:pt x="163" y="214"/>
                    </a:lnTo>
                    <a:lnTo>
                      <a:pt x="163" y="212"/>
                    </a:lnTo>
                    <a:lnTo>
                      <a:pt x="161" y="211"/>
                    </a:lnTo>
                    <a:lnTo>
                      <a:pt x="160" y="211"/>
                    </a:lnTo>
                    <a:lnTo>
                      <a:pt x="158" y="211"/>
                    </a:lnTo>
                    <a:lnTo>
                      <a:pt x="156" y="209"/>
                    </a:lnTo>
                    <a:lnTo>
                      <a:pt x="156" y="211"/>
                    </a:lnTo>
                    <a:lnTo>
                      <a:pt x="156" y="209"/>
                    </a:lnTo>
                    <a:lnTo>
                      <a:pt x="156" y="211"/>
                    </a:lnTo>
                    <a:lnTo>
                      <a:pt x="156" y="209"/>
                    </a:lnTo>
                    <a:lnTo>
                      <a:pt x="155" y="211"/>
                    </a:lnTo>
                    <a:lnTo>
                      <a:pt x="155" y="209"/>
                    </a:lnTo>
                    <a:lnTo>
                      <a:pt x="153" y="209"/>
                    </a:lnTo>
                    <a:lnTo>
                      <a:pt x="153" y="207"/>
                    </a:lnTo>
                    <a:lnTo>
                      <a:pt x="151" y="207"/>
                    </a:lnTo>
                    <a:lnTo>
                      <a:pt x="150" y="206"/>
                    </a:lnTo>
                    <a:lnTo>
                      <a:pt x="148" y="206"/>
                    </a:lnTo>
                    <a:lnTo>
                      <a:pt x="148" y="207"/>
                    </a:lnTo>
                    <a:lnTo>
                      <a:pt x="146" y="207"/>
                    </a:lnTo>
                    <a:lnTo>
                      <a:pt x="146" y="209"/>
                    </a:lnTo>
                    <a:lnTo>
                      <a:pt x="146" y="207"/>
                    </a:lnTo>
                    <a:lnTo>
                      <a:pt x="144" y="207"/>
                    </a:lnTo>
                    <a:lnTo>
                      <a:pt x="144" y="206"/>
                    </a:lnTo>
                    <a:lnTo>
                      <a:pt x="143" y="206"/>
                    </a:lnTo>
                    <a:lnTo>
                      <a:pt x="143" y="204"/>
                    </a:lnTo>
                    <a:lnTo>
                      <a:pt x="141" y="204"/>
                    </a:lnTo>
                    <a:lnTo>
                      <a:pt x="141" y="202"/>
                    </a:lnTo>
                    <a:lnTo>
                      <a:pt x="139" y="202"/>
                    </a:lnTo>
                    <a:lnTo>
                      <a:pt x="138" y="202"/>
                    </a:lnTo>
                    <a:lnTo>
                      <a:pt x="136" y="202"/>
                    </a:lnTo>
                    <a:lnTo>
                      <a:pt x="134" y="202"/>
                    </a:lnTo>
                    <a:lnTo>
                      <a:pt x="134" y="200"/>
                    </a:lnTo>
                    <a:lnTo>
                      <a:pt x="133" y="200"/>
                    </a:lnTo>
                    <a:lnTo>
                      <a:pt x="131" y="200"/>
                    </a:lnTo>
                    <a:lnTo>
                      <a:pt x="129" y="200"/>
                    </a:lnTo>
                    <a:lnTo>
                      <a:pt x="129" y="199"/>
                    </a:lnTo>
                    <a:lnTo>
                      <a:pt x="127" y="199"/>
                    </a:lnTo>
                    <a:lnTo>
                      <a:pt x="127" y="197"/>
                    </a:lnTo>
                    <a:lnTo>
                      <a:pt x="126" y="197"/>
                    </a:lnTo>
                    <a:lnTo>
                      <a:pt x="124" y="195"/>
                    </a:lnTo>
                    <a:lnTo>
                      <a:pt x="122" y="195"/>
                    </a:lnTo>
                    <a:lnTo>
                      <a:pt x="121" y="194"/>
                    </a:lnTo>
                    <a:lnTo>
                      <a:pt x="119" y="194"/>
                    </a:lnTo>
                    <a:lnTo>
                      <a:pt x="117" y="192"/>
                    </a:lnTo>
                    <a:lnTo>
                      <a:pt x="116" y="192"/>
                    </a:lnTo>
                    <a:lnTo>
                      <a:pt x="116" y="190"/>
                    </a:lnTo>
                    <a:lnTo>
                      <a:pt x="114" y="190"/>
                    </a:lnTo>
                    <a:lnTo>
                      <a:pt x="112" y="189"/>
                    </a:lnTo>
                    <a:lnTo>
                      <a:pt x="110" y="187"/>
                    </a:lnTo>
                    <a:lnTo>
                      <a:pt x="109" y="187"/>
                    </a:lnTo>
                    <a:lnTo>
                      <a:pt x="109" y="185"/>
                    </a:lnTo>
                    <a:lnTo>
                      <a:pt x="107" y="183"/>
                    </a:lnTo>
                    <a:lnTo>
                      <a:pt x="104" y="182"/>
                    </a:lnTo>
                    <a:lnTo>
                      <a:pt x="97" y="177"/>
                    </a:lnTo>
                    <a:lnTo>
                      <a:pt x="88" y="172"/>
                    </a:lnTo>
                    <a:lnTo>
                      <a:pt x="87" y="172"/>
                    </a:lnTo>
                    <a:lnTo>
                      <a:pt x="85" y="173"/>
                    </a:lnTo>
                    <a:lnTo>
                      <a:pt x="83" y="173"/>
                    </a:lnTo>
                    <a:lnTo>
                      <a:pt x="82" y="173"/>
                    </a:lnTo>
                    <a:lnTo>
                      <a:pt x="80" y="173"/>
                    </a:lnTo>
                    <a:lnTo>
                      <a:pt x="78" y="172"/>
                    </a:lnTo>
                    <a:lnTo>
                      <a:pt x="76" y="172"/>
                    </a:lnTo>
                    <a:lnTo>
                      <a:pt x="76" y="170"/>
                    </a:lnTo>
                    <a:lnTo>
                      <a:pt x="75" y="170"/>
                    </a:lnTo>
                    <a:lnTo>
                      <a:pt x="73" y="170"/>
                    </a:lnTo>
                    <a:lnTo>
                      <a:pt x="71" y="170"/>
                    </a:lnTo>
                    <a:lnTo>
                      <a:pt x="70" y="170"/>
                    </a:lnTo>
                    <a:lnTo>
                      <a:pt x="70" y="168"/>
                    </a:lnTo>
                    <a:lnTo>
                      <a:pt x="68" y="168"/>
                    </a:lnTo>
                    <a:lnTo>
                      <a:pt x="66" y="168"/>
                    </a:lnTo>
                    <a:lnTo>
                      <a:pt x="66" y="166"/>
                    </a:lnTo>
                    <a:lnTo>
                      <a:pt x="65" y="166"/>
                    </a:lnTo>
                    <a:lnTo>
                      <a:pt x="63" y="166"/>
                    </a:lnTo>
                    <a:lnTo>
                      <a:pt x="61" y="166"/>
                    </a:lnTo>
                    <a:lnTo>
                      <a:pt x="59" y="165"/>
                    </a:lnTo>
                    <a:lnTo>
                      <a:pt x="58" y="163"/>
                    </a:lnTo>
                    <a:lnTo>
                      <a:pt x="58" y="165"/>
                    </a:lnTo>
                    <a:lnTo>
                      <a:pt x="56" y="165"/>
                    </a:lnTo>
                    <a:lnTo>
                      <a:pt x="56" y="163"/>
                    </a:lnTo>
                    <a:lnTo>
                      <a:pt x="54" y="161"/>
                    </a:lnTo>
                    <a:lnTo>
                      <a:pt x="54" y="160"/>
                    </a:lnTo>
                    <a:lnTo>
                      <a:pt x="53" y="160"/>
                    </a:lnTo>
                    <a:lnTo>
                      <a:pt x="53" y="158"/>
                    </a:lnTo>
                    <a:lnTo>
                      <a:pt x="53" y="156"/>
                    </a:lnTo>
                    <a:lnTo>
                      <a:pt x="51" y="156"/>
                    </a:lnTo>
                    <a:lnTo>
                      <a:pt x="51" y="155"/>
                    </a:lnTo>
                    <a:lnTo>
                      <a:pt x="49" y="155"/>
                    </a:lnTo>
                    <a:lnTo>
                      <a:pt x="48" y="155"/>
                    </a:lnTo>
                    <a:lnTo>
                      <a:pt x="48" y="153"/>
                    </a:lnTo>
                    <a:lnTo>
                      <a:pt x="46" y="153"/>
                    </a:lnTo>
                    <a:lnTo>
                      <a:pt x="46" y="151"/>
                    </a:lnTo>
                    <a:lnTo>
                      <a:pt x="44" y="151"/>
                    </a:lnTo>
                    <a:lnTo>
                      <a:pt x="42" y="151"/>
                    </a:lnTo>
                    <a:lnTo>
                      <a:pt x="41" y="151"/>
                    </a:lnTo>
                    <a:lnTo>
                      <a:pt x="41" y="149"/>
                    </a:lnTo>
                    <a:lnTo>
                      <a:pt x="39" y="149"/>
                    </a:lnTo>
                    <a:lnTo>
                      <a:pt x="39" y="148"/>
                    </a:lnTo>
                    <a:lnTo>
                      <a:pt x="37" y="148"/>
                    </a:lnTo>
                    <a:lnTo>
                      <a:pt x="37" y="146"/>
                    </a:lnTo>
                    <a:lnTo>
                      <a:pt x="36" y="146"/>
                    </a:lnTo>
                    <a:lnTo>
                      <a:pt x="36" y="144"/>
                    </a:lnTo>
                    <a:lnTo>
                      <a:pt x="34" y="144"/>
                    </a:lnTo>
                    <a:lnTo>
                      <a:pt x="32" y="144"/>
                    </a:lnTo>
                    <a:lnTo>
                      <a:pt x="32" y="143"/>
                    </a:lnTo>
                    <a:lnTo>
                      <a:pt x="31" y="143"/>
                    </a:lnTo>
                    <a:lnTo>
                      <a:pt x="31" y="141"/>
                    </a:lnTo>
                    <a:lnTo>
                      <a:pt x="29" y="141"/>
                    </a:lnTo>
                    <a:lnTo>
                      <a:pt x="29" y="139"/>
                    </a:lnTo>
                    <a:lnTo>
                      <a:pt x="27" y="139"/>
                    </a:lnTo>
                    <a:lnTo>
                      <a:pt x="27" y="138"/>
                    </a:lnTo>
                    <a:lnTo>
                      <a:pt x="25" y="138"/>
                    </a:lnTo>
                    <a:lnTo>
                      <a:pt x="24" y="136"/>
                    </a:lnTo>
                    <a:lnTo>
                      <a:pt x="22" y="136"/>
                    </a:lnTo>
                    <a:lnTo>
                      <a:pt x="22" y="134"/>
                    </a:lnTo>
                    <a:lnTo>
                      <a:pt x="20" y="134"/>
                    </a:lnTo>
                    <a:lnTo>
                      <a:pt x="20" y="132"/>
                    </a:lnTo>
                    <a:lnTo>
                      <a:pt x="19" y="131"/>
                    </a:lnTo>
                    <a:lnTo>
                      <a:pt x="19" y="129"/>
                    </a:lnTo>
                    <a:lnTo>
                      <a:pt x="17" y="127"/>
                    </a:lnTo>
                    <a:lnTo>
                      <a:pt x="15" y="126"/>
                    </a:lnTo>
                    <a:lnTo>
                      <a:pt x="15" y="124"/>
                    </a:lnTo>
                    <a:lnTo>
                      <a:pt x="15" y="122"/>
                    </a:lnTo>
                    <a:lnTo>
                      <a:pt x="15" y="121"/>
                    </a:lnTo>
                    <a:lnTo>
                      <a:pt x="14" y="122"/>
                    </a:lnTo>
                    <a:lnTo>
                      <a:pt x="14" y="121"/>
                    </a:lnTo>
                    <a:lnTo>
                      <a:pt x="14" y="119"/>
                    </a:lnTo>
                    <a:lnTo>
                      <a:pt x="15" y="119"/>
                    </a:lnTo>
                    <a:lnTo>
                      <a:pt x="14" y="119"/>
                    </a:lnTo>
                    <a:lnTo>
                      <a:pt x="15" y="117"/>
                    </a:lnTo>
                    <a:lnTo>
                      <a:pt x="14" y="117"/>
                    </a:lnTo>
                    <a:lnTo>
                      <a:pt x="12" y="117"/>
                    </a:lnTo>
                    <a:lnTo>
                      <a:pt x="12" y="115"/>
                    </a:lnTo>
                    <a:lnTo>
                      <a:pt x="10" y="115"/>
                    </a:lnTo>
                    <a:lnTo>
                      <a:pt x="12" y="115"/>
                    </a:lnTo>
                    <a:lnTo>
                      <a:pt x="10" y="115"/>
                    </a:lnTo>
                    <a:lnTo>
                      <a:pt x="10" y="114"/>
                    </a:lnTo>
                    <a:lnTo>
                      <a:pt x="10" y="115"/>
                    </a:lnTo>
                    <a:lnTo>
                      <a:pt x="10" y="114"/>
                    </a:lnTo>
                    <a:lnTo>
                      <a:pt x="8" y="114"/>
                    </a:lnTo>
                    <a:lnTo>
                      <a:pt x="7" y="114"/>
                    </a:lnTo>
                    <a:lnTo>
                      <a:pt x="7" y="112"/>
                    </a:lnTo>
                    <a:lnTo>
                      <a:pt x="5" y="112"/>
                    </a:lnTo>
                    <a:lnTo>
                      <a:pt x="3" y="112"/>
                    </a:lnTo>
                    <a:lnTo>
                      <a:pt x="3" y="110"/>
                    </a:lnTo>
                    <a:lnTo>
                      <a:pt x="2" y="109"/>
                    </a:lnTo>
                    <a:lnTo>
                      <a:pt x="0" y="109"/>
                    </a:lnTo>
                    <a:lnTo>
                      <a:pt x="2" y="109"/>
                    </a:lnTo>
                    <a:lnTo>
                      <a:pt x="2" y="107"/>
                    </a:lnTo>
                    <a:lnTo>
                      <a:pt x="0" y="107"/>
                    </a:lnTo>
                    <a:lnTo>
                      <a:pt x="3" y="95"/>
                    </a:lnTo>
                    <a:lnTo>
                      <a:pt x="7" y="86"/>
                    </a:lnTo>
                    <a:lnTo>
                      <a:pt x="14" y="64"/>
                    </a:lnTo>
                    <a:lnTo>
                      <a:pt x="14" y="61"/>
                    </a:lnTo>
                    <a:lnTo>
                      <a:pt x="14" y="46"/>
                    </a:lnTo>
                    <a:lnTo>
                      <a:pt x="15" y="42"/>
                    </a:lnTo>
                    <a:lnTo>
                      <a:pt x="25" y="29"/>
                    </a:lnTo>
                    <a:lnTo>
                      <a:pt x="25" y="27"/>
                    </a:lnTo>
                    <a:lnTo>
                      <a:pt x="31" y="13"/>
                    </a:lnTo>
                    <a:lnTo>
                      <a:pt x="32" y="13"/>
                    </a:lnTo>
                    <a:lnTo>
                      <a:pt x="70" y="7"/>
                    </a:lnTo>
                    <a:lnTo>
                      <a:pt x="90" y="0"/>
                    </a:lnTo>
                    <a:lnTo>
                      <a:pt x="122" y="0"/>
                    </a:lnTo>
                    <a:lnTo>
                      <a:pt x="139" y="12"/>
                    </a:lnTo>
                    <a:lnTo>
                      <a:pt x="143" y="13"/>
                    </a:lnTo>
                    <a:lnTo>
                      <a:pt x="151" y="20"/>
                    </a:lnTo>
                    <a:lnTo>
                      <a:pt x="150" y="22"/>
                    </a:lnTo>
                    <a:lnTo>
                      <a:pt x="151" y="22"/>
                    </a:lnTo>
                    <a:lnTo>
                      <a:pt x="151" y="24"/>
                    </a:lnTo>
                    <a:lnTo>
                      <a:pt x="150" y="24"/>
                    </a:lnTo>
                    <a:lnTo>
                      <a:pt x="151" y="24"/>
                    </a:lnTo>
                    <a:lnTo>
                      <a:pt x="151" y="25"/>
                    </a:lnTo>
                    <a:lnTo>
                      <a:pt x="151" y="27"/>
                    </a:lnTo>
                    <a:lnTo>
                      <a:pt x="151" y="29"/>
                    </a:lnTo>
                    <a:lnTo>
                      <a:pt x="153" y="29"/>
                    </a:lnTo>
                    <a:lnTo>
                      <a:pt x="153" y="30"/>
                    </a:lnTo>
                    <a:lnTo>
                      <a:pt x="151" y="30"/>
                    </a:lnTo>
                    <a:lnTo>
                      <a:pt x="151" y="3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41" name="Freeform 46">
                <a:extLst>
                  <a:ext uri="{FF2B5EF4-FFF2-40B4-BE49-F238E27FC236}">
                    <a16:creationId xmlns:a16="http://schemas.microsoft.com/office/drawing/2014/main" id="{12792B0A-5B7A-C755-177A-E86EA3952555}"/>
                  </a:ext>
                </a:extLst>
              </p:cNvPr>
              <p:cNvSpPr>
                <a:spLocks noEditPoints="1"/>
              </p:cNvSpPr>
              <p:nvPr/>
            </p:nvSpPr>
            <p:spPr bwMode="auto">
              <a:xfrm>
                <a:off x="5571662" y="2946832"/>
                <a:ext cx="126005" cy="185043"/>
              </a:xfrm>
              <a:custGeom>
                <a:avLst/>
                <a:gdLst>
                  <a:gd name="T0" fmla="*/ 367 w 429"/>
                  <a:gd name="T1" fmla="*/ 141 h 630"/>
                  <a:gd name="T2" fmla="*/ 347 w 429"/>
                  <a:gd name="T3" fmla="*/ 148 h 630"/>
                  <a:gd name="T4" fmla="*/ 323 w 429"/>
                  <a:gd name="T5" fmla="*/ 152 h 630"/>
                  <a:gd name="T6" fmla="*/ 299 w 429"/>
                  <a:gd name="T7" fmla="*/ 165 h 630"/>
                  <a:gd name="T8" fmla="*/ 284 w 429"/>
                  <a:gd name="T9" fmla="*/ 189 h 630"/>
                  <a:gd name="T10" fmla="*/ 276 w 429"/>
                  <a:gd name="T11" fmla="*/ 213 h 630"/>
                  <a:gd name="T12" fmla="*/ 259 w 429"/>
                  <a:gd name="T13" fmla="*/ 230 h 630"/>
                  <a:gd name="T14" fmla="*/ 259 w 429"/>
                  <a:gd name="T15" fmla="*/ 262 h 630"/>
                  <a:gd name="T16" fmla="*/ 272 w 429"/>
                  <a:gd name="T17" fmla="*/ 293 h 630"/>
                  <a:gd name="T18" fmla="*/ 294 w 429"/>
                  <a:gd name="T19" fmla="*/ 320 h 630"/>
                  <a:gd name="T20" fmla="*/ 310 w 429"/>
                  <a:gd name="T21" fmla="*/ 337 h 630"/>
                  <a:gd name="T22" fmla="*/ 357 w 429"/>
                  <a:gd name="T23" fmla="*/ 327 h 630"/>
                  <a:gd name="T24" fmla="*/ 364 w 429"/>
                  <a:gd name="T25" fmla="*/ 332 h 630"/>
                  <a:gd name="T26" fmla="*/ 376 w 429"/>
                  <a:gd name="T27" fmla="*/ 376 h 630"/>
                  <a:gd name="T28" fmla="*/ 408 w 429"/>
                  <a:gd name="T29" fmla="*/ 388 h 630"/>
                  <a:gd name="T30" fmla="*/ 427 w 429"/>
                  <a:gd name="T31" fmla="*/ 432 h 630"/>
                  <a:gd name="T32" fmla="*/ 420 w 429"/>
                  <a:gd name="T33" fmla="*/ 461 h 630"/>
                  <a:gd name="T34" fmla="*/ 417 w 429"/>
                  <a:gd name="T35" fmla="*/ 487 h 630"/>
                  <a:gd name="T36" fmla="*/ 408 w 429"/>
                  <a:gd name="T37" fmla="*/ 516 h 630"/>
                  <a:gd name="T38" fmla="*/ 413 w 429"/>
                  <a:gd name="T39" fmla="*/ 555 h 630"/>
                  <a:gd name="T40" fmla="*/ 403 w 429"/>
                  <a:gd name="T41" fmla="*/ 584 h 630"/>
                  <a:gd name="T42" fmla="*/ 388 w 429"/>
                  <a:gd name="T43" fmla="*/ 609 h 630"/>
                  <a:gd name="T44" fmla="*/ 366 w 429"/>
                  <a:gd name="T45" fmla="*/ 628 h 630"/>
                  <a:gd name="T46" fmla="*/ 339 w 429"/>
                  <a:gd name="T47" fmla="*/ 606 h 630"/>
                  <a:gd name="T48" fmla="*/ 313 w 429"/>
                  <a:gd name="T49" fmla="*/ 582 h 630"/>
                  <a:gd name="T50" fmla="*/ 281 w 429"/>
                  <a:gd name="T51" fmla="*/ 565 h 630"/>
                  <a:gd name="T52" fmla="*/ 248 w 429"/>
                  <a:gd name="T53" fmla="*/ 550 h 630"/>
                  <a:gd name="T54" fmla="*/ 216 w 429"/>
                  <a:gd name="T55" fmla="*/ 529 h 630"/>
                  <a:gd name="T56" fmla="*/ 194 w 429"/>
                  <a:gd name="T57" fmla="*/ 507 h 630"/>
                  <a:gd name="T58" fmla="*/ 172 w 429"/>
                  <a:gd name="T59" fmla="*/ 482 h 630"/>
                  <a:gd name="T60" fmla="*/ 172 w 429"/>
                  <a:gd name="T61" fmla="*/ 470 h 630"/>
                  <a:gd name="T62" fmla="*/ 160 w 429"/>
                  <a:gd name="T63" fmla="*/ 436 h 630"/>
                  <a:gd name="T64" fmla="*/ 141 w 429"/>
                  <a:gd name="T65" fmla="*/ 410 h 630"/>
                  <a:gd name="T66" fmla="*/ 126 w 429"/>
                  <a:gd name="T67" fmla="*/ 381 h 630"/>
                  <a:gd name="T68" fmla="*/ 112 w 429"/>
                  <a:gd name="T69" fmla="*/ 352 h 630"/>
                  <a:gd name="T70" fmla="*/ 99 w 429"/>
                  <a:gd name="T71" fmla="*/ 317 h 630"/>
                  <a:gd name="T72" fmla="*/ 87 w 429"/>
                  <a:gd name="T73" fmla="*/ 298 h 630"/>
                  <a:gd name="T74" fmla="*/ 67 w 429"/>
                  <a:gd name="T75" fmla="*/ 266 h 630"/>
                  <a:gd name="T76" fmla="*/ 46 w 429"/>
                  <a:gd name="T77" fmla="*/ 230 h 630"/>
                  <a:gd name="T78" fmla="*/ 9 w 429"/>
                  <a:gd name="T79" fmla="*/ 204 h 630"/>
                  <a:gd name="T80" fmla="*/ 5 w 429"/>
                  <a:gd name="T81" fmla="*/ 177 h 630"/>
                  <a:gd name="T82" fmla="*/ 4 w 429"/>
                  <a:gd name="T83" fmla="*/ 145 h 630"/>
                  <a:gd name="T84" fmla="*/ 31 w 429"/>
                  <a:gd name="T85" fmla="*/ 119 h 630"/>
                  <a:gd name="T86" fmla="*/ 29 w 429"/>
                  <a:gd name="T87" fmla="*/ 136 h 630"/>
                  <a:gd name="T88" fmla="*/ 39 w 429"/>
                  <a:gd name="T89" fmla="*/ 145 h 630"/>
                  <a:gd name="T90" fmla="*/ 70 w 429"/>
                  <a:gd name="T91" fmla="*/ 165 h 630"/>
                  <a:gd name="T92" fmla="*/ 92 w 429"/>
                  <a:gd name="T93" fmla="*/ 148 h 630"/>
                  <a:gd name="T94" fmla="*/ 101 w 429"/>
                  <a:gd name="T95" fmla="*/ 118 h 630"/>
                  <a:gd name="T96" fmla="*/ 128 w 429"/>
                  <a:gd name="T97" fmla="*/ 99 h 630"/>
                  <a:gd name="T98" fmla="*/ 199 w 429"/>
                  <a:gd name="T99" fmla="*/ 39 h 630"/>
                  <a:gd name="T100" fmla="*/ 203 w 429"/>
                  <a:gd name="T101" fmla="*/ 16 h 630"/>
                  <a:gd name="T102" fmla="*/ 216 w 429"/>
                  <a:gd name="T103" fmla="*/ 5 h 630"/>
                  <a:gd name="T104" fmla="*/ 235 w 429"/>
                  <a:gd name="T105" fmla="*/ 21 h 630"/>
                  <a:gd name="T106" fmla="*/ 248 w 429"/>
                  <a:gd name="T107" fmla="*/ 34 h 630"/>
                  <a:gd name="T108" fmla="*/ 265 w 429"/>
                  <a:gd name="T109" fmla="*/ 51 h 630"/>
                  <a:gd name="T110" fmla="*/ 279 w 429"/>
                  <a:gd name="T111" fmla="*/ 70 h 630"/>
                  <a:gd name="T112" fmla="*/ 298 w 429"/>
                  <a:gd name="T113" fmla="*/ 82 h 630"/>
                  <a:gd name="T114" fmla="*/ 322 w 429"/>
                  <a:gd name="T115" fmla="*/ 75 h 630"/>
                  <a:gd name="T116" fmla="*/ 342 w 429"/>
                  <a:gd name="T117" fmla="*/ 80 h 630"/>
                  <a:gd name="T118" fmla="*/ 367 w 429"/>
                  <a:gd name="T119" fmla="*/ 84 h 630"/>
                  <a:gd name="T120" fmla="*/ 371 w 429"/>
                  <a:gd name="T121" fmla="*/ 109 h 630"/>
                  <a:gd name="T122" fmla="*/ 381 w 429"/>
                  <a:gd name="T123" fmla="*/ 138 h 630"/>
                  <a:gd name="T124" fmla="*/ 36 w 429"/>
                  <a:gd name="T125" fmla="*/ 116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9" h="630">
                    <a:moveTo>
                      <a:pt x="384" y="143"/>
                    </a:moveTo>
                    <a:lnTo>
                      <a:pt x="384" y="145"/>
                    </a:lnTo>
                    <a:lnTo>
                      <a:pt x="384" y="147"/>
                    </a:lnTo>
                    <a:lnTo>
                      <a:pt x="384" y="148"/>
                    </a:lnTo>
                    <a:lnTo>
                      <a:pt x="383" y="148"/>
                    </a:lnTo>
                    <a:lnTo>
                      <a:pt x="381" y="147"/>
                    </a:lnTo>
                    <a:lnTo>
                      <a:pt x="381" y="145"/>
                    </a:lnTo>
                    <a:lnTo>
                      <a:pt x="379" y="145"/>
                    </a:lnTo>
                    <a:lnTo>
                      <a:pt x="379" y="143"/>
                    </a:lnTo>
                    <a:lnTo>
                      <a:pt x="379" y="145"/>
                    </a:lnTo>
                    <a:lnTo>
                      <a:pt x="378" y="145"/>
                    </a:lnTo>
                    <a:lnTo>
                      <a:pt x="378" y="147"/>
                    </a:lnTo>
                    <a:lnTo>
                      <a:pt x="376" y="147"/>
                    </a:lnTo>
                    <a:lnTo>
                      <a:pt x="376" y="145"/>
                    </a:lnTo>
                    <a:lnTo>
                      <a:pt x="376" y="147"/>
                    </a:lnTo>
                    <a:lnTo>
                      <a:pt x="374" y="145"/>
                    </a:lnTo>
                    <a:lnTo>
                      <a:pt x="373" y="143"/>
                    </a:lnTo>
                    <a:lnTo>
                      <a:pt x="374" y="143"/>
                    </a:lnTo>
                    <a:lnTo>
                      <a:pt x="374" y="141"/>
                    </a:lnTo>
                    <a:lnTo>
                      <a:pt x="373" y="140"/>
                    </a:lnTo>
                    <a:lnTo>
                      <a:pt x="373" y="141"/>
                    </a:lnTo>
                    <a:lnTo>
                      <a:pt x="371" y="141"/>
                    </a:lnTo>
                    <a:lnTo>
                      <a:pt x="371" y="140"/>
                    </a:lnTo>
                    <a:lnTo>
                      <a:pt x="369" y="140"/>
                    </a:lnTo>
                    <a:lnTo>
                      <a:pt x="367" y="140"/>
                    </a:lnTo>
                    <a:lnTo>
                      <a:pt x="369" y="140"/>
                    </a:lnTo>
                    <a:lnTo>
                      <a:pt x="367" y="140"/>
                    </a:lnTo>
                    <a:lnTo>
                      <a:pt x="367" y="141"/>
                    </a:lnTo>
                    <a:lnTo>
                      <a:pt x="367" y="140"/>
                    </a:lnTo>
                    <a:lnTo>
                      <a:pt x="367" y="141"/>
                    </a:lnTo>
                    <a:lnTo>
                      <a:pt x="366" y="141"/>
                    </a:lnTo>
                    <a:lnTo>
                      <a:pt x="366" y="140"/>
                    </a:lnTo>
                    <a:lnTo>
                      <a:pt x="364" y="140"/>
                    </a:lnTo>
                    <a:lnTo>
                      <a:pt x="366" y="140"/>
                    </a:lnTo>
                    <a:lnTo>
                      <a:pt x="364" y="141"/>
                    </a:lnTo>
                    <a:lnTo>
                      <a:pt x="362" y="141"/>
                    </a:lnTo>
                    <a:lnTo>
                      <a:pt x="362" y="140"/>
                    </a:lnTo>
                    <a:lnTo>
                      <a:pt x="361" y="140"/>
                    </a:lnTo>
                    <a:lnTo>
                      <a:pt x="361" y="141"/>
                    </a:lnTo>
                    <a:lnTo>
                      <a:pt x="359" y="141"/>
                    </a:lnTo>
                    <a:lnTo>
                      <a:pt x="357" y="140"/>
                    </a:lnTo>
                    <a:lnTo>
                      <a:pt x="357" y="141"/>
                    </a:lnTo>
                    <a:lnTo>
                      <a:pt x="356" y="141"/>
                    </a:lnTo>
                    <a:lnTo>
                      <a:pt x="356" y="143"/>
                    </a:lnTo>
                    <a:lnTo>
                      <a:pt x="354" y="143"/>
                    </a:lnTo>
                    <a:lnTo>
                      <a:pt x="354" y="145"/>
                    </a:lnTo>
                    <a:lnTo>
                      <a:pt x="354" y="147"/>
                    </a:lnTo>
                    <a:lnTo>
                      <a:pt x="352" y="147"/>
                    </a:lnTo>
                    <a:lnTo>
                      <a:pt x="352" y="148"/>
                    </a:lnTo>
                    <a:lnTo>
                      <a:pt x="350" y="148"/>
                    </a:lnTo>
                    <a:lnTo>
                      <a:pt x="350" y="147"/>
                    </a:lnTo>
                    <a:lnTo>
                      <a:pt x="349" y="147"/>
                    </a:lnTo>
                    <a:lnTo>
                      <a:pt x="350" y="147"/>
                    </a:lnTo>
                    <a:lnTo>
                      <a:pt x="350" y="148"/>
                    </a:lnTo>
                    <a:lnTo>
                      <a:pt x="349" y="148"/>
                    </a:lnTo>
                    <a:lnTo>
                      <a:pt x="347" y="148"/>
                    </a:lnTo>
                    <a:lnTo>
                      <a:pt x="345" y="148"/>
                    </a:lnTo>
                    <a:lnTo>
                      <a:pt x="344" y="148"/>
                    </a:lnTo>
                    <a:lnTo>
                      <a:pt x="344" y="150"/>
                    </a:lnTo>
                    <a:lnTo>
                      <a:pt x="342" y="148"/>
                    </a:lnTo>
                    <a:lnTo>
                      <a:pt x="340" y="148"/>
                    </a:lnTo>
                    <a:lnTo>
                      <a:pt x="340" y="150"/>
                    </a:lnTo>
                    <a:lnTo>
                      <a:pt x="339" y="150"/>
                    </a:lnTo>
                    <a:lnTo>
                      <a:pt x="339" y="148"/>
                    </a:lnTo>
                    <a:lnTo>
                      <a:pt x="339" y="150"/>
                    </a:lnTo>
                    <a:lnTo>
                      <a:pt x="337" y="150"/>
                    </a:lnTo>
                    <a:lnTo>
                      <a:pt x="335" y="150"/>
                    </a:lnTo>
                    <a:lnTo>
                      <a:pt x="335" y="152"/>
                    </a:lnTo>
                    <a:lnTo>
                      <a:pt x="335" y="150"/>
                    </a:lnTo>
                    <a:lnTo>
                      <a:pt x="333" y="150"/>
                    </a:lnTo>
                    <a:lnTo>
                      <a:pt x="332" y="150"/>
                    </a:lnTo>
                    <a:lnTo>
                      <a:pt x="333" y="152"/>
                    </a:lnTo>
                    <a:lnTo>
                      <a:pt x="332" y="152"/>
                    </a:lnTo>
                    <a:lnTo>
                      <a:pt x="332" y="150"/>
                    </a:lnTo>
                    <a:lnTo>
                      <a:pt x="332" y="152"/>
                    </a:lnTo>
                    <a:lnTo>
                      <a:pt x="330" y="152"/>
                    </a:lnTo>
                    <a:lnTo>
                      <a:pt x="330" y="153"/>
                    </a:lnTo>
                    <a:lnTo>
                      <a:pt x="328" y="153"/>
                    </a:lnTo>
                    <a:lnTo>
                      <a:pt x="328" y="152"/>
                    </a:lnTo>
                    <a:lnTo>
                      <a:pt x="327" y="152"/>
                    </a:lnTo>
                    <a:lnTo>
                      <a:pt x="325" y="152"/>
                    </a:lnTo>
                    <a:lnTo>
                      <a:pt x="323" y="152"/>
                    </a:lnTo>
                    <a:lnTo>
                      <a:pt x="325" y="152"/>
                    </a:lnTo>
                    <a:lnTo>
                      <a:pt x="323" y="152"/>
                    </a:lnTo>
                    <a:lnTo>
                      <a:pt x="322" y="152"/>
                    </a:lnTo>
                    <a:lnTo>
                      <a:pt x="320" y="152"/>
                    </a:lnTo>
                    <a:lnTo>
                      <a:pt x="320" y="153"/>
                    </a:lnTo>
                    <a:lnTo>
                      <a:pt x="320" y="152"/>
                    </a:lnTo>
                    <a:lnTo>
                      <a:pt x="318" y="152"/>
                    </a:lnTo>
                    <a:lnTo>
                      <a:pt x="320" y="153"/>
                    </a:lnTo>
                    <a:lnTo>
                      <a:pt x="318" y="153"/>
                    </a:lnTo>
                    <a:lnTo>
                      <a:pt x="318" y="155"/>
                    </a:lnTo>
                    <a:lnTo>
                      <a:pt x="316" y="155"/>
                    </a:lnTo>
                    <a:lnTo>
                      <a:pt x="316" y="157"/>
                    </a:lnTo>
                    <a:lnTo>
                      <a:pt x="315" y="157"/>
                    </a:lnTo>
                    <a:lnTo>
                      <a:pt x="313" y="157"/>
                    </a:lnTo>
                    <a:lnTo>
                      <a:pt x="313" y="159"/>
                    </a:lnTo>
                    <a:lnTo>
                      <a:pt x="311" y="159"/>
                    </a:lnTo>
                    <a:lnTo>
                      <a:pt x="311" y="160"/>
                    </a:lnTo>
                    <a:lnTo>
                      <a:pt x="311" y="159"/>
                    </a:lnTo>
                    <a:lnTo>
                      <a:pt x="310" y="160"/>
                    </a:lnTo>
                    <a:lnTo>
                      <a:pt x="308" y="160"/>
                    </a:lnTo>
                    <a:lnTo>
                      <a:pt x="308" y="162"/>
                    </a:lnTo>
                    <a:lnTo>
                      <a:pt x="306" y="160"/>
                    </a:lnTo>
                    <a:lnTo>
                      <a:pt x="308" y="162"/>
                    </a:lnTo>
                    <a:lnTo>
                      <a:pt x="306" y="162"/>
                    </a:lnTo>
                    <a:lnTo>
                      <a:pt x="305" y="162"/>
                    </a:lnTo>
                    <a:lnTo>
                      <a:pt x="303" y="162"/>
                    </a:lnTo>
                    <a:lnTo>
                      <a:pt x="303" y="164"/>
                    </a:lnTo>
                    <a:lnTo>
                      <a:pt x="303" y="165"/>
                    </a:lnTo>
                    <a:lnTo>
                      <a:pt x="301" y="165"/>
                    </a:lnTo>
                    <a:lnTo>
                      <a:pt x="299" y="165"/>
                    </a:lnTo>
                    <a:lnTo>
                      <a:pt x="301" y="165"/>
                    </a:lnTo>
                    <a:lnTo>
                      <a:pt x="299" y="167"/>
                    </a:lnTo>
                    <a:lnTo>
                      <a:pt x="298" y="167"/>
                    </a:lnTo>
                    <a:lnTo>
                      <a:pt x="296" y="169"/>
                    </a:lnTo>
                    <a:lnTo>
                      <a:pt x="294" y="169"/>
                    </a:lnTo>
                    <a:lnTo>
                      <a:pt x="296" y="169"/>
                    </a:lnTo>
                    <a:lnTo>
                      <a:pt x="294" y="169"/>
                    </a:lnTo>
                    <a:lnTo>
                      <a:pt x="296" y="170"/>
                    </a:lnTo>
                    <a:lnTo>
                      <a:pt x="294" y="170"/>
                    </a:lnTo>
                    <a:lnTo>
                      <a:pt x="293" y="170"/>
                    </a:lnTo>
                    <a:lnTo>
                      <a:pt x="291" y="170"/>
                    </a:lnTo>
                    <a:lnTo>
                      <a:pt x="291" y="172"/>
                    </a:lnTo>
                    <a:lnTo>
                      <a:pt x="289" y="172"/>
                    </a:lnTo>
                    <a:lnTo>
                      <a:pt x="288" y="172"/>
                    </a:lnTo>
                    <a:lnTo>
                      <a:pt x="288" y="174"/>
                    </a:lnTo>
                    <a:lnTo>
                      <a:pt x="286" y="174"/>
                    </a:lnTo>
                    <a:lnTo>
                      <a:pt x="286" y="176"/>
                    </a:lnTo>
                    <a:lnTo>
                      <a:pt x="286" y="177"/>
                    </a:lnTo>
                    <a:lnTo>
                      <a:pt x="286" y="179"/>
                    </a:lnTo>
                    <a:lnTo>
                      <a:pt x="286" y="181"/>
                    </a:lnTo>
                    <a:lnTo>
                      <a:pt x="286" y="182"/>
                    </a:lnTo>
                    <a:lnTo>
                      <a:pt x="284" y="182"/>
                    </a:lnTo>
                    <a:lnTo>
                      <a:pt x="284" y="184"/>
                    </a:lnTo>
                    <a:lnTo>
                      <a:pt x="284" y="186"/>
                    </a:lnTo>
                    <a:lnTo>
                      <a:pt x="282" y="186"/>
                    </a:lnTo>
                    <a:lnTo>
                      <a:pt x="284" y="186"/>
                    </a:lnTo>
                    <a:lnTo>
                      <a:pt x="284" y="187"/>
                    </a:lnTo>
                    <a:lnTo>
                      <a:pt x="284" y="189"/>
                    </a:lnTo>
                    <a:lnTo>
                      <a:pt x="282" y="189"/>
                    </a:lnTo>
                    <a:lnTo>
                      <a:pt x="282" y="191"/>
                    </a:lnTo>
                    <a:lnTo>
                      <a:pt x="284" y="191"/>
                    </a:lnTo>
                    <a:lnTo>
                      <a:pt x="282" y="191"/>
                    </a:lnTo>
                    <a:lnTo>
                      <a:pt x="282" y="193"/>
                    </a:lnTo>
                    <a:lnTo>
                      <a:pt x="282" y="194"/>
                    </a:lnTo>
                    <a:lnTo>
                      <a:pt x="281" y="194"/>
                    </a:lnTo>
                    <a:lnTo>
                      <a:pt x="281" y="196"/>
                    </a:lnTo>
                    <a:lnTo>
                      <a:pt x="279" y="196"/>
                    </a:lnTo>
                    <a:lnTo>
                      <a:pt x="279" y="198"/>
                    </a:lnTo>
                    <a:lnTo>
                      <a:pt x="277" y="198"/>
                    </a:lnTo>
                    <a:lnTo>
                      <a:pt x="277" y="199"/>
                    </a:lnTo>
                    <a:lnTo>
                      <a:pt x="276" y="199"/>
                    </a:lnTo>
                    <a:lnTo>
                      <a:pt x="276" y="201"/>
                    </a:lnTo>
                    <a:lnTo>
                      <a:pt x="276" y="203"/>
                    </a:lnTo>
                    <a:lnTo>
                      <a:pt x="274" y="203"/>
                    </a:lnTo>
                    <a:lnTo>
                      <a:pt x="276" y="204"/>
                    </a:lnTo>
                    <a:lnTo>
                      <a:pt x="274" y="203"/>
                    </a:lnTo>
                    <a:lnTo>
                      <a:pt x="274" y="204"/>
                    </a:lnTo>
                    <a:lnTo>
                      <a:pt x="274" y="206"/>
                    </a:lnTo>
                    <a:lnTo>
                      <a:pt x="274" y="208"/>
                    </a:lnTo>
                    <a:lnTo>
                      <a:pt x="274" y="210"/>
                    </a:lnTo>
                    <a:lnTo>
                      <a:pt x="276" y="210"/>
                    </a:lnTo>
                    <a:lnTo>
                      <a:pt x="274" y="210"/>
                    </a:lnTo>
                    <a:lnTo>
                      <a:pt x="276" y="210"/>
                    </a:lnTo>
                    <a:lnTo>
                      <a:pt x="276" y="211"/>
                    </a:lnTo>
                    <a:lnTo>
                      <a:pt x="277" y="213"/>
                    </a:lnTo>
                    <a:lnTo>
                      <a:pt x="276" y="213"/>
                    </a:lnTo>
                    <a:lnTo>
                      <a:pt x="277" y="213"/>
                    </a:lnTo>
                    <a:lnTo>
                      <a:pt x="277" y="215"/>
                    </a:lnTo>
                    <a:lnTo>
                      <a:pt x="277" y="216"/>
                    </a:lnTo>
                    <a:lnTo>
                      <a:pt x="279" y="216"/>
                    </a:lnTo>
                    <a:lnTo>
                      <a:pt x="277" y="218"/>
                    </a:lnTo>
                    <a:lnTo>
                      <a:pt x="279" y="218"/>
                    </a:lnTo>
                    <a:lnTo>
                      <a:pt x="277" y="218"/>
                    </a:lnTo>
                    <a:lnTo>
                      <a:pt x="277" y="220"/>
                    </a:lnTo>
                    <a:lnTo>
                      <a:pt x="277" y="221"/>
                    </a:lnTo>
                    <a:lnTo>
                      <a:pt x="276" y="220"/>
                    </a:lnTo>
                    <a:lnTo>
                      <a:pt x="276" y="221"/>
                    </a:lnTo>
                    <a:lnTo>
                      <a:pt x="276" y="223"/>
                    </a:lnTo>
                    <a:lnTo>
                      <a:pt x="274" y="221"/>
                    </a:lnTo>
                    <a:lnTo>
                      <a:pt x="274" y="223"/>
                    </a:lnTo>
                    <a:lnTo>
                      <a:pt x="272" y="223"/>
                    </a:lnTo>
                    <a:lnTo>
                      <a:pt x="271" y="223"/>
                    </a:lnTo>
                    <a:lnTo>
                      <a:pt x="269" y="223"/>
                    </a:lnTo>
                    <a:lnTo>
                      <a:pt x="269" y="225"/>
                    </a:lnTo>
                    <a:lnTo>
                      <a:pt x="267" y="225"/>
                    </a:lnTo>
                    <a:lnTo>
                      <a:pt x="265" y="225"/>
                    </a:lnTo>
                    <a:lnTo>
                      <a:pt x="265" y="227"/>
                    </a:lnTo>
                    <a:lnTo>
                      <a:pt x="265" y="225"/>
                    </a:lnTo>
                    <a:lnTo>
                      <a:pt x="264" y="227"/>
                    </a:lnTo>
                    <a:lnTo>
                      <a:pt x="264" y="228"/>
                    </a:lnTo>
                    <a:lnTo>
                      <a:pt x="262" y="228"/>
                    </a:lnTo>
                    <a:lnTo>
                      <a:pt x="260" y="228"/>
                    </a:lnTo>
                    <a:lnTo>
                      <a:pt x="260" y="230"/>
                    </a:lnTo>
                    <a:lnTo>
                      <a:pt x="259" y="230"/>
                    </a:lnTo>
                    <a:lnTo>
                      <a:pt x="259" y="232"/>
                    </a:lnTo>
                    <a:lnTo>
                      <a:pt x="257" y="232"/>
                    </a:lnTo>
                    <a:lnTo>
                      <a:pt x="257" y="233"/>
                    </a:lnTo>
                    <a:lnTo>
                      <a:pt x="257" y="235"/>
                    </a:lnTo>
                    <a:lnTo>
                      <a:pt x="257" y="237"/>
                    </a:lnTo>
                    <a:lnTo>
                      <a:pt x="257" y="238"/>
                    </a:lnTo>
                    <a:lnTo>
                      <a:pt x="255" y="240"/>
                    </a:lnTo>
                    <a:lnTo>
                      <a:pt x="257" y="244"/>
                    </a:lnTo>
                    <a:lnTo>
                      <a:pt x="259" y="245"/>
                    </a:lnTo>
                    <a:lnTo>
                      <a:pt x="259" y="247"/>
                    </a:lnTo>
                    <a:lnTo>
                      <a:pt x="257" y="247"/>
                    </a:lnTo>
                    <a:lnTo>
                      <a:pt x="257" y="249"/>
                    </a:lnTo>
                    <a:lnTo>
                      <a:pt x="255" y="249"/>
                    </a:lnTo>
                    <a:lnTo>
                      <a:pt x="254" y="249"/>
                    </a:lnTo>
                    <a:lnTo>
                      <a:pt x="252" y="250"/>
                    </a:lnTo>
                    <a:lnTo>
                      <a:pt x="250" y="249"/>
                    </a:lnTo>
                    <a:lnTo>
                      <a:pt x="250" y="252"/>
                    </a:lnTo>
                    <a:lnTo>
                      <a:pt x="250" y="254"/>
                    </a:lnTo>
                    <a:lnTo>
                      <a:pt x="250" y="255"/>
                    </a:lnTo>
                    <a:lnTo>
                      <a:pt x="248" y="255"/>
                    </a:lnTo>
                    <a:lnTo>
                      <a:pt x="250" y="257"/>
                    </a:lnTo>
                    <a:lnTo>
                      <a:pt x="252" y="259"/>
                    </a:lnTo>
                    <a:lnTo>
                      <a:pt x="254" y="259"/>
                    </a:lnTo>
                    <a:lnTo>
                      <a:pt x="254" y="261"/>
                    </a:lnTo>
                    <a:lnTo>
                      <a:pt x="255" y="261"/>
                    </a:lnTo>
                    <a:lnTo>
                      <a:pt x="255" y="262"/>
                    </a:lnTo>
                    <a:lnTo>
                      <a:pt x="257" y="262"/>
                    </a:lnTo>
                    <a:lnTo>
                      <a:pt x="259" y="262"/>
                    </a:lnTo>
                    <a:lnTo>
                      <a:pt x="259" y="264"/>
                    </a:lnTo>
                    <a:lnTo>
                      <a:pt x="259" y="266"/>
                    </a:lnTo>
                    <a:lnTo>
                      <a:pt x="257" y="267"/>
                    </a:lnTo>
                    <a:lnTo>
                      <a:pt x="257" y="266"/>
                    </a:lnTo>
                    <a:lnTo>
                      <a:pt x="257" y="267"/>
                    </a:lnTo>
                    <a:lnTo>
                      <a:pt x="255" y="267"/>
                    </a:lnTo>
                    <a:lnTo>
                      <a:pt x="257" y="267"/>
                    </a:lnTo>
                    <a:lnTo>
                      <a:pt x="257" y="269"/>
                    </a:lnTo>
                    <a:lnTo>
                      <a:pt x="259" y="269"/>
                    </a:lnTo>
                    <a:lnTo>
                      <a:pt x="259" y="271"/>
                    </a:lnTo>
                    <a:lnTo>
                      <a:pt x="260" y="271"/>
                    </a:lnTo>
                    <a:lnTo>
                      <a:pt x="260" y="272"/>
                    </a:lnTo>
                    <a:lnTo>
                      <a:pt x="262" y="274"/>
                    </a:lnTo>
                    <a:lnTo>
                      <a:pt x="262" y="276"/>
                    </a:lnTo>
                    <a:lnTo>
                      <a:pt x="262" y="278"/>
                    </a:lnTo>
                    <a:lnTo>
                      <a:pt x="264" y="279"/>
                    </a:lnTo>
                    <a:lnTo>
                      <a:pt x="264" y="281"/>
                    </a:lnTo>
                    <a:lnTo>
                      <a:pt x="264" y="283"/>
                    </a:lnTo>
                    <a:lnTo>
                      <a:pt x="265" y="284"/>
                    </a:lnTo>
                    <a:lnTo>
                      <a:pt x="267" y="284"/>
                    </a:lnTo>
                    <a:lnTo>
                      <a:pt x="269" y="284"/>
                    </a:lnTo>
                    <a:lnTo>
                      <a:pt x="269" y="286"/>
                    </a:lnTo>
                    <a:lnTo>
                      <a:pt x="269" y="288"/>
                    </a:lnTo>
                    <a:lnTo>
                      <a:pt x="271" y="288"/>
                    </a:lnTo>
                    <a:lnTo>
                      <a:pt x="271" y="289"/>
                    </a:lnTo>
                    <a:lnTo>
                      <a:pt x="271" y="291"/>
                    </a:lnTo>
                    <a:lnTo>
                      <a:pt x="271" y="293"/>
                    </a:lnTo>
                    <a:lnTo>
                      <a:pt x="272" y="293"/>
                    </a:lnTo>
                    <a:lnTo>
                      <a:pt x="272" y="295"/>
                    </a:lnTo>
                    <a:lnTo>
                      <a:pt x="274" y="295"/>
                    </a:lnTo>
                    <a:lnTo>
                      <a:pt x="276" y="295"/>
                    </a:lnTo>
                    <a:lnTo>
                      <a:pt x="277" y="295"/>
                    </a:lnTo>
                    <a:lnTo>
                      <a:pt x="277" y="296"/>
                    </a:lnTo>
                    <a:lnTo>
                      <a:pt x="277" y="298"/>
                    </a:lnTo>
                    <a:lnTo>
                      <a:pt x="279" y="300"/>
                    </a:lnTo>
                    <a:lnTo>
                      <a:pt x="281" y="301"/>
                    </a:lnTo>
                    <a:lnTo>
                      <a:pt x="282" y="303"/>
                    </a:lnTo>
                    <a:lnTo>
                      <a:pt x="282" y="305"/>
                    </a:lnTo>
                    <a:lnTo>
                      <a:pt x="284" y="305"/>
                    </a:lnTo>
                    <a:lnTo>
                      <a:pt x="284" y="307"/>
                    </a:lnTo>
                    <a:lnTo>
                      <a:pt x="284" y="308"/>
                    </a:lnTo>
                    <a:lnTo>
                      <a:pt x="284" y="310"/>
                    </a:lnTo>
                    <a:lnTo>
                      <a:pt x="282" y="310"/>
                    </a:lnTo>
                    <a:lnTo>
                      <a:pt x="281" y="312"/>
                    </a:lnTo>
                    <a:lnTo>
                      <a:pt x="282" y="312"/>
                    </a:lnTo>
                    <a:lnTo>
                      <a:pt x="281" y="313"/>
                    </a:lnTo>
                    <a:lnTo>
                      <a:pt x="279" y="313"/>
                    </a:lnTo>
                    <a:lnTo>
                      <a:pt x="279" y="315"/>
                    </a:lnTo>
                    <a:lnTo>
                      <a:pt x="277" y="317"/>
                    </a:lnTo>
                    <a:lnTo>
                      <a:pt x="276" y="317"/>
                    </a:lnTo>
                    <a:lnTo>
                      <a:pt x="276" y="318"/>
                    </a:lnTo>
                    <a:lnTo>
                      <a:pt x="284" y="318"/>
                    </a:lnTo>
                    <a:lnTo>
                      <a:pt x="291" y="318"/>
                    </a:lnTo>
                    <a:lnTo>
                      <a:pt x="291" y="320"/>
                    </a:lnTo>
                    <a:lnTo>
                      <a:pt x="293" y="320"/>
                    </a:lnTo>
                    <a:lnTo>
                      <a:pt x="294" y="320"/>
                    </a:lnTo>
                    <a:lnTo>
                      <a:pt x="296" y="320"/>
                    </a:lnTo>
                    <a:lnTo>
                      <a:pt x="296" y="322"/>
                    </a:lnTo>
                    <a:lnTo>
                      <a:pt x="298" y="322"/>
                    </a:lnTo>
                    <a:lnTo>
                      <a:pt x="299" y="322"/>
                    </a:lnTo>
                    <a:lnTo>
                      <a:pt x="301" y="322"/>
                    </a:lnTo>
                    <a:lnTo>
                      <a:pt x="303" y="322"/>
                    </a:lnTo>
                    <a:lnTo>
                      <a:pt x="305" y="322"/>
                    </a:lnTo>
                    <a:lnTo>
                      <a:pt x="305" y="324"/>
                    </a:lnTo>
                    <a:lnTo>
                      <a:pt x="306" y="324"/>
                    </a:lnTo>
                    <a:lnTo>
                      <a:pt x="306" y="325"/>
                    </a:lnTo>
                    <a:lnTo>
                      <a:pt x="306" y="327"/>
                    </a:lnTo>
                    <a:lnTo>
                      <a:pt x="308" y="327"/>
                    </a:lnTo>
                    <a:lnTo>
                      <a:pt x="306" y="327"/>
                    </a:lnTo>
                    <a:lnTo>
                      <a:pt x="308" y="327"/>
                    </a:lnTo>
                    <a:lnTo>
                      <a:pt x="308" y="329"/>
                    </a:lnTo>
                    <a:lnTo>
                      <a:pt x="306" y="329"/>
                    </a:lnTo>
                    <a:lnTo>
                      <a:pt x="308" y="330"/>
                    </a:lnTo>
                    <a:lnTo>
                      <a:pt x="306" y="330"/>
                    </a:lnTo>
                    <a:lnTo>
                      <a:pt x="308" y="330"/>
                    </a:lnTo>
                    <a:lnTo>
                      <a:pt x="308" y="332"/>
                    </a:lnTo>
                    <a:lnTo>
                      <a:pt x="310" y="332"/>
                    </a:lnTo>
                    <a:lnTo>
                      <a:pt x="311" y="332"/>
                    </a:lnTo>
                    <a:lnTo>
                      <a:pt x="310" y="334"/>
                    </a:lnTo>
                    <a:lnTo>
                      <a:pt x="311" y="334"/>
                    </a:lnTo>
                    <a:lnTo>
                      <a:pt x="310" y="334"/>
                    </a:lnTo>
                    <a:lnTo>
                      <a:pt x="311" y="335"/>
                    </a:lnTo>
                    <a:lnTo>
                      <a:pt x="310" y="335"/>
                    </a:lnTo>
                    <a:lnTo>
                      <a:pt x="310" y="337"/>
                    </a:lnTo>
                    <a:lnTo>
                      <a:pt x="311" y="339"/>
                    </a:lnTo>
                    <a:lnTo>
                      <a:pt x="310" y="339"/>
                    </a:lnTo>
                    <a:lnTo>
                      <a:pt x="315" y="339"/>
                    </a:lnTo>
                    <a:lnTo>
                      <a:pt x="318" y="339"/>
                    </a:lnTo>
                    <a:lnTo>
                      <a:pt x="322" y="339"/>
                    </a:lnTo>
                    <a:lnTo>
                      <a:pt x="325" y="339"/>
                    </a:lnTo>
                    <a:lnTo>
                      <a:pt x="328" y="339"/>
                    </a:lnTo>
                    <a:lnTo>
                      <a:pt x="332" y="339"/>
                    </a:lnTo>
                    <a:lnTo>
                      <a:pt x="333" y="339"/>
                    </a:lnTo>
                    <a:lnTo>
                      <a:pt x="337" y="339"/>
                    </a:lnTo>
                    <a:lnTo>
                      <a:pt x="339" y="339"/>
                    </a:lnTo>
                    <a:lnTo>
                      <a:pt x="340" y="339"/>
                    </a:lnTo>
                    <a:lnTo>
                      <a:pt x="342" y="339"/>
                    </a:lnTo>
                    <a:lnTo>
                      <a:pt x="342" y="337"/>
                    </a:lnTo>
                    <a:lnTo>
                      <a:pt x="344" y="337"/>
                    </a:lnTo>
                    <a:lnTo>
                      <a:pt x="344" y="335"/>
                    </a:lnTo>
                    <a:lnTo>
                      <a:pt x="345" y="335"/>
                    </a:lnTo>
                    <a:lnTo>
                      <a:pt x="345" y="334"/>
                    </a:lnTo>
                    <a:lnTo>
                      <a:pt x="347" y="334"/>
                    </a:lnTo>
                    <a:lnTo>
                      <a:pt x="349" y="334"/>
                    </a:lnTo>
                    <a:lnTo>
                      <a:pt x="350" y="334"/>
                    </a:lnTo>
                    <a:lnTo>
                      <a:pt x="350" y="332"/>
                    </a:lnTo>
                    <a:lnTo>
                      <a:pt x="350" y="330"/>
                    </a:lnTo>
                    <a:lnTo>
                      <a:pt x="352" y="330"/>
                    </a:lnTo>
                    <a:lnTo>
                      <a:pt x="354" y="329"/>
                    </a:lnTo>
                    <a:lnTo>
                      <a:pt x="354" y="327"/>
                    </a:lnTo>
                    <a:lnTo>
                      <a:pt x="356" y="327"/>
                    </a:lnTo>
                    <a:lnTo>
                      <a:pt x="357" y="327"/>
                    </a:lnTo>
                    <a:lnTo>
                      <a:pt x="357" y="325"/>
                    </a:lnTo>
                    <a:lnTo>
                      <a:pt x="357" y="324"/>
                    </a:lnTo>
                    <a:lnTo>
                      <a:pt x="359" y="325"/>
                    </a:lnTo>
                    <a:lnTo>
                      <a:pt x="359" y="324"/>
                    </a:lnTo>
                    <a:lnTo>
                      <a:pt x="361" y="324"/>
                    </a:lnTo>
                    <a:lnTo>
                      <a:pt x="361" y="322"/>
                    </a:lnTo>
                    <a:lnTo>
                      <a:pt x="362" y="322"/>
                    </a:lnTo>
                    <a:lnTo>
                      <a:pt x="362" y="320"/>
                    </a:lnTo>
                    <a:lnTo>
                      <a:pt x="364" y="320"/>
                    </a:lnTo>
                    <a:lnTo>
                      <a:pt x="366" y="320"/>
                    </a:lnTo>
                    <a:lnTo>
                      <a:pt x="366" y="322"/>
                    </a:lnTo>
                    <a:lnTo>
                      <a:pt x="366" y="324"/>
                    </a:lnTo>
                    <a:lnTo>
                      <a:pt x="364" y="324"/>
                    </a:lnTo>
                    <a:lnTo>
                      <a:pt x="366" y="324"/>
                    </a:lnTo>
                    <a:lnTo>
                      <a:pt x="364" y="324"/>
                    </a:lnTo>
                    <a:lnTo>
                      <a:pt x="364" y="325"/>
                    </a:lnTo>
                    <a:lnTo>
                      <a:pt x="364" y="324"/>
                    </a:lnTo>
                    <a:lnTo>
                      <a:pt x="364" y="325"/>
                    </a:lnTo>
                    <a:lnTo>
                      <a:pt x="364" y="324"/>
                    </a:lnTo>
                    <a:lnTo>
                      <a:pt x="362" y="324"/>
                    </a:lnTo>
                    <a:lnTo>
                      <a:pt x="364" y="325"/>
                    </a:lnTo>
                    <a:lnTo>
                      <a:pt x="362" y="325"/>
                    </a:lnTo>
                    <a:lnTo>
                      <a:pt x="364" y="327"/>
                    </a:lnTo>
                    <a:lnTo>
                      <a:pt x="364" y="329"/>
                    </a:lnTo>
                    <a:lnTo>
                      <a:pt x="366" y="329"/>
                    </a:lnTo>
                    <a:lnTo>
                      <a:pt x="366" y="330"/>
                    </a:lnTo>
                    <a:lnTo>
                      <a:pt x="366" y="332"/>
                    </a:lnTo>
                    <a:lnTo>
                      <a:pt x="364" y="332"/>
                    </a:lnTo>
                    <a:lnTo>
                      <a:pt x="362" y="332"/>
                    </a:lnTo>
                    <a:lnTo>
                      <a:pt x="362" y="334"/>
                    </a:lnTo>
                    <a:lnTo>
                      <a:pt x="362" y="335"/>
                    </a:lnTo>
                    <a:lnTo>
                      <a:pt x="362" y="339"/>
                    </a:lnTo>
                    <a:lnTo>
                      <a:pt x="362" y="341"/>
                    </a:lnTo>
                    <a:lnTo>
                      <a:pt x="362" y="342"/>
                    </a:lnTo>
                    <a:lnTo>
                      <a:pt x="362" y="344"/>
                    </a:lnTo>
                    <a:lnTo>
                      <a:pt x="362" y="346"/>
                    </a:lnTo>
                    <a:lnTo>
                      <a:pt x="362" y="347"/>
                    </a:lnTo>
                    <a:lnTo>
                      <a:pt x="362" y="351"/>
                    </a:lnTo>
                    <a:lnTo>
                      <a:pt x="362" y="352"/>
                    </a:lnTo>
                    <a:lnTo>
                      <a:pt x="362" y="354"/>
                    </a:lnTo>
                    <a:lnTo>
                      <a:pt x="362" y="356"/>
                    </a:lnTo>
                    <a:lnTo>
                      <a:pt x="362" y="359"/>
                    </a:lnTo>
                    <a:lnTo>
                      <a:pt x="362" y="361"/>
                    </a:lnTo>
                    <a:lnTo>
                      <a:pt x="362" y="364"/>
                    </a:lnTo>
                    <a:lnTo>
                      <a:pt x="362" y="373"/>
                    </a:lnTo>
                    <a:lnTo>
                      <a:pt x="366" y="371"/>
                    </a:lnTo>
                    <a:lnTo>
                      <a:pt x="367" y="373"/>
                    </a:lnTo>
                    <a:lnTo>
                      <a:pt x="369" y="375"/>
                    </a:lnTo>
                    <a:lnTo>
                      <a:pt x="371" y="375"/>
                    </a:lnTo>
                    <a:lnTo>
                      <a:pt x="371" y="376"/>
                    </a:lnTo>
                    <a:lnTo>
                      <a:pt x="373" y="376"/>
                    </a:lnTo>
                    <a:lnTo>
                      <a:pt x="374" y="376"/>
                    </a:lnTo>
                    <a:lnTo>
                      <a:pt x="374" y="375"/>
                    </a:lnTo>
                    <a:lnTo>
                      <a:pt x="376" y="376"/>
                    </a:lnTo>
                    <a:lnTo>
                      <a:pt x="376" y="375"/>
                    </a:lnTo>
                    <a:lnTo>
                      <a:pt x="376" y="376"/>
                    </a:lnTo>
                    <a:lnTo>
                      <a:pt x="378" y="375"/>
                    </a:lnTo>
                    <a:lnTo>
                      <a:pt x="379" y="375"/>
                    </a:lnTo>
                    <a:lnTo>
                      <a:pt x="379" y="373"/>
                    </a:lnTo>
                    <a:lnTo>
                      <a:pt x="381" y="373"/>
                    </a:lnTo>
                    <a:lnTo>
                      <a:pt x="383" y="373"/>
                    </a:lnTo>
                    <a:lnTo>
                      <a:pt x="383" y="371"/>
                    </a:lnTo>
                    <a:lnTo>
                      <a:pt x="384" y="373"/>
                    </a:lnTo>
                    <a:lnTo>
                      <a:pt x="384" y="371"/>
                    </a:lnTo>
                    <a:lnTo>
                      <a:pt x="386" y="371"/>
                    </a:lnTo>
                    <a:lnTo>
                      <a:pt x="388" y="371"/>
                    </a:lnTo>
                    <a:lnTo>
                      <a:pt x="390" y="371"/>
                    </a:lnTo>
                    <a:lnTo>
                      <a:pt x="391" y="371"/>
                    </a:lnTo>
                    <a:lnTo>
                      <a:pt x="391" y="373"/>
                    </a:lnTo>
                    <a:lnTo>
                      <a:pt x="393" y="373"/>
                    </a:lnTo>
                    <a:lnTo>
                      <a:pt x="395" y="373"/>
                    </a:lnTo>
                    <a:lnTo>
                      <a:pt x="396" y="373"/>
                    </a:lnTo>
                    <a:lnTo>
                      <a:pt x="396" y="371"/>
                    </a:lnTo>
                    <a:lnTo>
                      <a:pt x="396" y="373"/>
                    </a:lnTo>
                    <a:lnTo>
                      <a:pt x="396" y="371"/>
                    </a:lnTo>
                    <a:lnTo>
                      <a:pt x="398" y="371"/>
                    </a:lnTo>
                    <a:lnTo>
                      <a:pt x="398" y="373"/>
                    </a:lnTo>
                    <a:lnTo>
                      <a:pt x="400" y="375"/>
                    </a:lnTo>
                    <a:lnTo>
                      <a:pt x="401" y="378"/>
                    </a:lnTo>
                    <a:lnTo>
                      <a:pt x="401" y="380"/>
                    </a:lnTo>
                    <a:lnTo>
                      <a:pt x="403" y="381"/>
                    </a:lnTo>
                    <a:lnTo>
                      <a:pt x="405" y="383"/>
                    </a:lnTo>
                    <a:lnTo>
                      <a:pt x="407" y="385"/>
                    </a:lnTo>
                    <a:lnTo>
                      <a:pt x="408" y="388"/>
                    </a:lnTo>
                    <a:lnTo>
                      <a:pt x="408" y="390"/>
                    </a:lnTo>
                    <a:lnTo>
                      <a:pt x="410" y="390"/>
                    </a:lnTo>
                    <a:lnTo>
                      <a:pt x="410" y="393"/>
                    </a:lnTo>
                    <a:lnTo>
                      <a:pt x="413" y="395"/>
                    </a:lnTo>
                    <a:lnTo>
                      <a:pt x="413" y="397"/>
                    </a:lnTo>
                    <a:lnTo>
                      <a:pt x="415" y="398"/>
                    </a:lnTo>
                    <a:lnTo>
                      <a:pt x="415" y="402"/>
                    </a:lnTo>
                    <a:lnTo>
                      <a:pt x="417" y="403"/>
                    </a:lnTo>
                    <a:lnTo>
                      <a:pt x="418" y="405"/>
                    </a:lnTo>
                    <a:lnTo>
                      <a:pt x="418" y="407"/>
                    </a:lnTo>
                    <a:lnTo>
                      <a:pt x="420" y="409"/>
                    </a:lnTo>
                    <a:lnTo>
                      <a:pt x="420" y="410"/>
                    </a:lnTo>
                    <a:lnTo>
                      <a:pt x="422" y="414"/>
                    </a:lnTo>
                    <a:lnTo>
                      <a:pt x="424" y="415"/>
                    </a:lnTo>
                    <a:lnTo>
                      <a:pt x="427" y="422"/>
                    </a:lnTo>
                    <a:lnTo>
                      <a:pt x="429" y="426"/>
                    </a:lnTo>
                    <a:lnTo>
                      <a:pt x="429" y="427"/>
                    </a:lnTo>
                    <a:lnTo>
                      <a:pt x="429" y="426"/>
                    </a:lnTo>
                    <a:lnTo>
                      <a:pt x="427" y="426"/>
                    </a:lnTo>
                    <a:lnTo>
                      <a:pt x="429" y="426"/>
                    </a:lnTo>
                    <a:lnTo>
                      <a:pt x="429" y="427"/>
                    </a:lnTo>
                    <a:lnTo>
                      <a:pt x="427" y="427"/>
                    </a:lnTo>
                    <a:lnTo>
                      <a:pt x="427" y="429"/>
                    </a:lnTo>
                    <a:lnTo>
                      <a:pt x="425" y="429"/>
                    </a:lnTo>
                    <a:lnTo>
                      <a:pt x="425" y="431"/>
                    </a:lnTo>
                    <a:lnTo>
                      <a:pt x="427" y="432"/>
                    </a:lnTo>
                    <a:lnTo>
                      <a:pt x="425" y="432"/>
                    </a:lnTo>
                    <a:lnTo>
                      <a:pt x="427" y="432"/>
                    </a:lnTo>
                    <a:lnTo>
                      <a:pt x="425" y="432"/>
                    </a:lnTo>
                    <a:lnTo>
                      <a:pt x="427" y="432"/>
                    </a:lnTo>
                    <a:lnTo>
                      <a:pt x="425" y="432"/>
                    </a:lnTo>
                    <a:lnTo>
                      <a:pt x="425" y="434"/>
                    </a:lnTo>
                    <a:lnTo>
                      <a:pt x="424" y="434"/>
                    </a:lnTo>
                    <a:lnTo>
                      <a:pt x="424" y="436"/>
                    </a:lnTo>
                    <a:lnTo>
                      <a:pt x="422" y="436"/>
                    </a:lnTo>
                    <a:lnTo>
                      <a:pt x="424" y="437"/>
                    </a:lnTo>
                    <a:lnTo>
                      <a:pt x="422" y="437"/>
                    </a:lnTo>
                    <a:lnTo>
                      <a:pt x="422" y="439"/>
                    </a:lnTo>
                    <a:lnTo>
                      <a:pt x="422" y="441"/>
                    </a:lnTo>
                    <a:lnTo>
                      <a:pt x="420" y="441"/>
                    </a:lnTo>
                    <a:lnTo>
                      <a:pt x="422" y="443"/>
                    </a:lnTo>
                    <a:lnTo>
                      <a:pt x="422" y="441"/>
                    </a:lnTo>
                    <a:lnTo>
                      <a:pt x="422" y="443"/>
                    </a:lnTo>
                    <a:lnTo>
                      <a:pt x="422" y="444"/>
                    </a:lnTo>
                    <a:lnTo>
                      <a:pt x="422" y="446"/>
                    </a:lnTo>
                    <a:lnTo>
                      <a:pt x="422" y="448"/>
                    </a:lnTo>
                    <a:lnTo>
                      <a:pt x="422" y="449"/>
                    </a:lnTo>
                    <a:lnTo>
                      <a:pt x="422" y="451"/>
                    </a:lnTo>
                    <a:lnTo>
                      <a:pt x="422" y="453"/>
                    </a:lnTo>
                    <a:lnTo>
                      <a:pt x="422" y="454"/>
                    </a:lnTo>
                    <a:lnTo>
                      <a:pt x="420" y="454"/>
                    </a:lnTo>
                    <a:lnTo>
                      <a:pt x="422" y="454"/>
                    </a:lnTo>
                    <a:lnTo>
                      <a:pt x="420" y="456"/>
                    </a:lnTo>
                    <a:lnTo>
                      <a:pt x="420" y="458"/>
                    </a:lnTo>
                    <a:lnTo>
                      <a:pt x="420" y="460"/>
                    </a:lnTo>
                    <a:lnTo>
                      <a:pt x="420" y="461"/>
                    </a:lnTo>
                    <a:lnTo>
                      <a:pt x="418" y="461"/>
                    </a:lnTo>
                    <a:lnTo>
                      <a:pt x="418" y="463"/>
                    </a:lnTo>
                    <a:lnTo>
                      <a:pt x="418" y="465"/>
                    </a:lnTo>
                    <a:lnTo>
                      <a:pt x="417" y="465"/>
                    </a:lnTo>
                    <a:lnTo>
                      <a:pt x="415" y="465"/>
                    </a:lnTo>
                    <a:lnTo>
                      <a:pt x="415" y="466"/>
                    </a:lnTo>
                    <a:lnTo>
                      <a:pt x="415" y="468"/>
                    </a:lnTo>
                    <a:lnTo>
                      <a:pt x="417" y="468"/>
                    </a:lnTo>
                    <a:lnTo>
                      <a:pt x="417" y="470"/>
                    </a:lnTo>
                    <a:lnTo>
                      <a:pt x="417" y="472"/>
                    </a:lnTo>
                    <a:lnTo>
                      <a:pt x="417" y="473"/>
                    </a:lnTo>
                    <a:lnTo>
                      <a:pt x="418" y="473"/>
                    </a:lnTo>
                    <a:lnTo>
                      <a:pt x="417" y="475"/>
                    </a:lnTo>
                    <a:lnTo>
                      <a:pt x="418" y="475"/>
                    </a:lnTo>
                    <a:lnTo>
                      <a:pt x="418" y="477"/>
                    </a:lnTo>
                    <a:lnTo>
                      <a:pt x="418" y="478"/>
                    </a:lnTo>
                    <a:lnTo>
                      <a:pt x="420" y="478"/>
                    </a:lnTo>
                    <a:lnTo>
                      <a:pt x="420" y="480"/>
                    </a:lnTo>
                    <a:lnTo>
                      <a:pt x="422" y="480"/>
                    </a:lnTo>
                    <a:lnTo>
                      <a:pt x="422" y="482"/>
                    </a:lnTo>
                    <a:lnTo>
                      <a:pt x="422" y="483"/>
                    </a:lnTo>
                    <a:lnTo>
                      <a:pt x="422" y="485"/>
                    </a:lnTo>
                    <a:lnTo>
                      <a:pt x="424" y="485"/>
                    </a:lnTo>
                    <a:lnTo>
                      <a:pt x="422" y="485"/>
                    </a:lnTo>
                    <a:lnTo>
                      <a:pt x="420" y="485"/>
                    </a:lnTo>
                    <a:lnTo>
                      <a:pt x="418" y="485"/>
                    </a:lnTo>
                    <a:lnTo>
                      <a:pt x="417" y="485"/>
                    </a:lnTo>
                    <a:lnTo>
                      <a:pt x="417" y="487"/>
                    </a:lnTo>
                    <a:lnTo>
                      <a:pt x="417" y="489"/>
                    </a:lnTo>
                    <a:lnTo>
                      <a:pt x="417" y="490"/>
                    </a:lnTo>
                    <a:lnTo>
                      <a:pt x="417" y="492"/>
                    </a:lnTo>
                    <a:lnTo>
                      <a:pt x="415" y="492"/>
                    </a:lnTo>
                    <a:lnTo>
                      <a:pt x="415" y="494"/>
                    </a:lnTo>
                    <a:lnTo>
                      <a:pt x="413" y="494"/>
                    </a:lnTo>
                    <a:lnTo>
                      <a:pt x="413" y="495"/>
                    </a:lnTo>
                    <a:lnTo>
                      <a:pt x="412" y="495"/>
                    </a:lnTo>
                    <a:lnTo>
                      <a:pt x="412" y="497"/>
                    </a:lnTo>
                    <a:lnTo>
                      <a:pt x="412" y="499"/>
                    </a:lnTo>
                    <a:lnTo>
                      <a:pt x="410" y="497"/>
                    </a:lnTo>
                    <a:lnTo>
                      <a:pt x="410" y="499"/>
                    </a:lnTo>
                    <a:lnTo>
                      <a:pt x="410" y="500"/>
                    </a:lnTo>
                    <a:lnTo>
                      <a:pt x="408" y="500"/>
                    </a:lnTo>
                    <a:lnTo>
                      <a:pt x="408" y="502"/>
                    </a:lnTo>
                    <a:lnTo>
                      <a:pt x="410" y="504"/>
                    </a:lnTo>
                    <a:lnTo>
                      <a:pt x="408" y="504"/>
                    </a:lnTo>
                    <a:lnTo>
                      <a:pt x="407" y="504"/>
                    </a:lnTo>
                    <a:lnTo>
                      <a:pt x="407" y="506"/>
                    </a:lnTo>
                    <a:lnTo>
                      <a:pt x="405" y="506"/>
                    </a:lnTo>
                    <a:lnTo>
                      <a:pt x="405" y="507"/>
                    </a:lnTo>
                    <a:lnTo>
                      <a:pt x="405" y="509"/>
                    </a:lnTo>
                    <a:lnTo>
                      <a:pt x="405" y="511"/>
                    </a:lnTo>
                    <a:lnTo>
                      <a:pt x="405" y="512"/>
                    </a:lnTo>
                    <a:lnTo>
                      <a:pt x="407" y="512"/>
                    </a:lnTo>
                    <a:lnTo>
                      <a:pt x="407" y="514"/>
                    </a:lnTo>
                    <a:lnTo>
                      <a:pt x="407" y="516"/>
                    </a:lnTo>
                    <a:lnTo>
                      <a:pt x="408" y="516"/>
                    </a:lnTo>
                    <a:lnTo>
                      <a:pt x="408" y="517"/>
                    </a:lnTo>
                    <a:lnTo>
                      <a:pt x="408" y="516"/>
                    </a:lnTo>
                    <a:lnTo>
                      <a:pt x="410" y="517"/>
                    </a:lnTo>
                    <a:lnTo>
                      <a:pt x="412" y="519"/>
                    </a:lnTo>
                    <a:lnTo>
                      <a:pt x="412" y="521"/>
                    </a:lnTo>
                    <a:lnTo>
                      <a:pt x="413" y="521"/>
                    </a:lnTo>
                    <a:lnTo>
                      <a:pt x="412" y="521"/>
                    </a:lnTo>
                    <a:lnTo>
                      <a:pt x="412" y="523"/>
                    </a:lnTo>
                    <a:lnTo>
                      <a:pt x="412" y="521"/>
                    </a:lnTo>
                    <a:lnTo>
                      <a:pt x="412" y="523"/>
                    </a:lnTo>
                    <a:lnTo>
                      <a:pt x="410" y="523"/>
                    </a:lnTo>
                    <a:lnTo>
                      <a:pt x="410" y="524"/>
                    </a:lnTo>
                    <a:lnTo>
                      <a:pt x="408" y="526"/>
                    </a:lnTo>
                    <a:lnTo>
                      <a:pt x="408" y="528"/>
                    </a:lnTo>
                    <a:lnTo>
                      <a:pt x="410" y="528"/>
                    </a:lnTo>
                    <a:lnTo>
                      <a:pt x="408" y="528"/>
                    </a:lnTo>
                    <a:lnTo>
                      <a:pt x="408" y="529"/>
                    </a:lnTo>
                    <a:lnTo>
                      <a:pt x="407" y="528"/>
                    </a:lnTo>
                    <a:lnTo>
                      <a:pt x="407" y="529"/>
                    </a:lnTo>
                    <a:lnTo>
                      <a:pt x="407" y="531"/>
                    </a:lnTo>
                    <a:lnTo>
                      <a:pt x="403" y="534"/>
                    </a:lnTo>
                    <a:lnTo>
                      <a:pt x="405" y="538"/>
                    </a:lnTo>
                    <a:lnTo>
                      <a:pt x="405" y="540"/>
                    </a:lnTo>
                    <a:lnTo>
                      <a:pt x="407" y="543"/>
                    </a:lnTo>
                    <a:lnTo>
                      <a:pt x="407" y="548"/>
                    </a:lnTo>
                    <a:lnTo>
                      <a:pt x="408" y="553"/>
                    </a:lnTo>
                    <a:lnTo>
                      <a:pt x="410" y="553"/>
                    </a:lnTo>
                    <a:lnTo>
                      <a:pt x="413" y="555"/>
                    </a:lnTo>
                    <a:lnTo>
                      <a:pt x="415" y="555"/>
                    </a:lnTo>
                    <a:lnTo>
                      <a:pt x="417" y="555"/>
                    </a:lnTo>
                    <a:lnTo>
                      <a:pt x="418" y="555"/>
                    </a:lnTo>
                    <a:lnTo>
                      <a:pt x="420" y="557"/>
                    </a:lnTo>
                    <a:lnTo>
                      <a:pt x="422" y="557"/>
                    </a:lnTo>
                    <a:lnTo>
                      <a:pt x="424" y="558"/>
                    </a:lnTo>
                    <a:lnTo>
                      <a:pt x="424" y="560"/>
                    </a:lnTo>
                    <a:lnTo>
                      <a:pt x="418" y="563"/>
                    </a:lnTo>
                    <a:lnTo>
                      <a:pt x="417" y="563"/>
                    </a:lnTo>
                    <a:lnTo>
                      <a:pt x="417" y="565"/>
                    </a:lnTo>
                    <a:lnTo>
                      <a:pt x="415" y="567"/>
                    </a:lnTo>
                    <a:lnTo>
                      <a:pt x="415" y="568"/>
                    </a:lnTo>
                    <a:lnTo>
                      <a:pt x="417" y="568"/>
                    </a:lnTo>
                    <a:lnTo>
                      <a:pt x="417" y="570"/>
                    </a:lnTo>
                    <a:lnTo>
                      <a:pt x="417" y="572"/>
                    </a:lnTo>
                    <a:lnTo>
                      <a:pt x="415" y="572"/>
                    </a:lnTo>
                    <a:lnTo>
                      <a:pt x="413" y="572"/>
                    </a:lnTo>
                    <a:lnTo>
                      <a:pt x="412" y="574"/>
                    </a:lnTo>
                    <a:lnTo>
                      <a:pt x="412" y="575"/>
                    </a:lnTo>
                    <a:lnTo>
                      <a:pt x="410" y="575"/>
                    </a:lnTo>
                    <a:lnTo>
                      <a:pt x="410" y="577"/>
                    </a:lnTo>
                    <a:lnTo>
                      <a:pt x="408" y="577"/>
                    </a:lnTo>
                    <a:lnTo>
                      <a:pt x="408" y="579"/>
                    </a:lnTo>
                    <a:lnTo>
                      <a:pt x="407" y="579"/>
                    </a:lnTo>
                    <a:lnTo>
                      <a:pt x="407" y="580"/>
                    </a:lnTo>
                    <a:lnTo>
                      <a:pt x="407" y="582"/>
                    </a:lnTo>
                    <a:lnTo>
                      <a:pt x="405" y="582"/>
                    </a:lnTo>
                    <a:lnTo>
                      <a:pt x="403" y="584"/>
                    </a:lnTo>
                    <a:lnTo>
                      <a:pt x="405" y="584"/>
                    </a:lnTo>
                    <a:lnTo>
                      <a:pt x="405" y="585"/>
                    </a:lnTo>
                    <a:lnTo>
                      <a:pt x="403" y="585"/>
                    </a:lnTo>
                    <a:lnTo>
                      <a:pt x="403" y="587"/>
                    </a:lnTo>
                    <a:lnTo>
                      <a:pt x="401" y="587"/>
                    </a:lnTo>
                    <a:lnTo>
                      <a:pt x="401" y="585"/>
                    </a:lnTo>
                    <a:lnTo>
                      <a:pt x="400" y="587"/>
                    </a:lnTo>
                    <a:lnTo>
                      <a:pt x="400" y="589"/>
                    </a:lnTo>
                    <a:lnTo>
                      <a:pt x="398" y="589"/>
                    </a:lnTo>
                    <a:lnTo>
                      <a:pt x="398" y="591"/>
                    </a:lnTo>
                    <a:lnTo>
                      <a:pt x="396" y="591"/>
                    </a:lnTo>
                    <a:lnTo>
                      <a:pt x="396" y="592"/>
                    </a:lnTo>
                    <a:lnTo>
                      <a:pt x="395" y="592"/>
                    </a:lnTo>
                    <a:lnTo>
                      <a:pt x="396" y="592"/>
                    </a:lnTo>
                    <a:lnTo>
                      <a:pt x="398" y="592"/>
                    </a:lnTo>
                    <a:lnTo>
                      <a:pt x="400" y="596"/>
                    </a:lnTo>
                    <a:lnTo>
                      <a:pt x="401" y="596"/>
                    </a:lnTo>
                    <a:lnTo>
                      <a:pt x="401" y="597"/>
                    </a:lnTo>
                    <a:lnTo>
                      <a:pt x="401" y="599"/>
                    </a:lnTo>
                    <a:lnTo>
                      <a:pt x="401" y="601"/>
                    </a:lnTo>
                    <a:lnTo>
                      <a:pt x="398" y="602"/>
                    </a:lnTo>
                    <a:lnTo>
                      <a:pt x="396" y="604"/>
                    </a:lnTo>
                    <a:lnTo>
                      <a:pt x="395" y="606"/>
                    </a:lnTo>
                    <a:lnTo>
                      <a:pt x="393" y="606"/>
                    </a:lnTo>
                    <a:lnTo>
                      <a:pt x="391" y="606"/>
                    </a:lnTo>
                    <a:lnTo>
                      <a:pt x="390" y="606"/>
                    </a:lnTo>
                    <a:lnTo>
                      <a:pt x="390" y="608"/>
                    </a:lnTo>
                    <a:lnTo>
                      <a:pt x="388" y="609"/>
                    </a:lnTo>
                    <a:lnTo>
                      <a:pt x="390" y="609"/>
                    </a:lnTo>
                    <a:lnTo>
                      <a:pt x="390" y="611"/>
                    </a:lnTo>
                    <a:lnTo>
                      <a:pt x="390" y="613"/>
                    </a:lnTo>
                    <a:lnTo>
                      <a:pt x="391" y="613"/>
                    </a:lnTo>
                    <a:lnTo>
                      <a:pt x="390" y="614"/>
                    </a:lnTo>
                    <a:lnTo>
                      <a:pt x="391" y="614"/>
                    </a:lnTo>
                    <a:lnTo>
                      <a:pt x="391" y="616"/>
                    </a:lnTo>
                    <a:lnTo>
                      <a:pt x="391" y="618"/>
                    </a:lnTo>
                    <a:lnTo>
                      <a:pt x="391" y="619"/>
                    </a:lnTo>
                    <a:lnTo>
                      <a:pt x="391" y="621"/>
                    </a:lnTo>
                    <a:lnTo>
                      <a:pt x="391" y="623"/>
                    </a:lnTo>
                    <a:lnTo>
                      <a:pt x="390" y="623"/>
                    </a:lnTo>
                    <a:lnTo>
                      <a:pt x="388" y="625"/>
                    </a:lnTo>
                    <a:lnTo>
                      <a:pt x="386" y="625"/>
                    </a:lnTo>
                    <a:lnTo>
                      <a:pt x="386" y="626"/>
                    </a:lnTo>
                    <a:lnTo>
                      <a:pt x="384" y="626"/>
                    </a:lnTo>
                    <a:lnTo>
                      <a:pt x="383" y="626"/>
                    </a:lnTo>
                    <a:lnTo>
                      <a:pt x="383" y="628"/>
                    </a:lnTo>
                    <a:lnTo>
                      <a:pt x="381" y="628"/>
                    </a:lnTo>
                    <a:lnTo>
                      <a:pt x="379" y="630"/>
                    </a:lnTo>
                    <a:lnTo>
                      <a:pt x="378" y="630"/>
                    </a:lnTo>
                    <a:lnTo>
                      <a:pt x="376" y="630"/>
                    </a:lnTo>
                    <a:lnTo>
                      <a:pt x="374" y="630"/>
                    </a:lnTo>
                    <a:lnTo>
                      <a:pt x="373" y="630"/>
                    </a:lnTo>
                    <a:lnTo>
                      <a:pt x="371" y="630"/>
                    </a:lnTo>
                    <a:lnTo>
                      <a:pt x="369" y="630"/>
                    </a:lnTo>
                    <a:lnTo>
                      <a:pt x="367" y="628"/>
                    </a:lnTo>
                    <a:lnTo>
                      <a:pt x="366" y="628"/>
                    </a:lnTo>
                    <a:lnTo>
                      <a:pt x="366" y="626"/>
                    </a:lnTo>
                    <a:lnTo>
                      <a:pt x="364" y="626"/>
                    </a:lnTo>
                    <a:lnTo>
                      <a:pt x="362" y="625"/>
                    </a:lnTo>
                    <a:lnTo>
                      <a:pt x="361" y="625"/>
                    </a:lnTo>
                    <a:lnTo>
                      <a:pt x="361" y="623"/>
                    </a:lnTo>
                    <a:lnTo>
                      <a:pt x="359" y="623"/>
                    </a:lnTo>
                    <a:lnTo>
                      <a:pt x="359" y="621"/>
                    </a:lnTo>
                    <a:lnTo>
                      <a:pt x="357" y="621"/>
                    </a:lnTo>
                    <a:lnTo>
                      <a:pt x="357" y="619"/>
                    </a:lnTo>
                    <a:lnTo>
                      <a:pt x="356" y="619"/>
                    </a:lnTo>
                    <a:lnTo>
                      <a:pt x="354" y="619"/>
                    </a:lnTo>
                    <a:lnTo>
                      <a:pt x="354" y="618"/>
                    </a:lnTo>
                    <a:lnTo>
                      <a:pt x="354" y="616"/>
                    </a:lnTo>
                    <a:lnTo>
                      <a:pt x="352" y="616"/>
                    </a:lnTo>
                    <a:lnTo>
                      <a:pt x="350" y="614"/>
                    </a:lnTo>
                    <a:lnTo>
                      <a:pt x="349" y="614"/>
                    </a:lnTo>
                    <a:lnTo>
                      <a:pt x="347" y="614"/>
                    </a:lnTo>
                    <a:lnTo>
                      <a:pt x="347" y="613"/>
                    </a:lnTo>
                    <a:lnTo>
                      <a:pt x="347" y="614"/>
                    </a:lnTo>
                    <a:lnTo>
                      <a:pt x="347" y="613"/>
                    </a:lnTo>
                    <a:lnTo>
                      <a:pt x="345" y="613"/>
                    </a:lnTo>
                    <a:lnTo>
                      <a:pt x="345" y="611"/>
                    </a:lnTo>
                    <a:lnTo>
                      <a:pt x="344" y="611"/>
                    </a:lnTo>
                    <a:lnTo>
                      <a:pt x="342" y="609"/>
                    </a:lnTo>
                    <a:lnTo>
                      <a:pt x="339" y="608"/>
                    </a:lnTo>
                    <a:lnTo>
                      <a:pt x="337" y="608"/>
                    </a:lnTo>
                    <a:lnTo>
                      <a:pt x="337" y="606"/>
                    </a:lnTo>
                    <a:lnTo>
                      <a:pt x="339" y="606"/>
                    </a:lnTo>
                    <a:lnTo>
                      <a:pt x="339" y="604"/>
                    </a:lnTo>
                    <a:lnTo>
                      <a:pt x="337" y="604"/>
                    </a:lnTo>
                    <a:lnTo>
                      <a:pt x="337" y="602"/>
                    </a:lnTo>
                    <a:lnTo>
                      <a:pt x="337" y="601"/>
                    </a:lnTo>
                    <a:lnTo>
                      <a:pt x="337" y="599"/>
                    </a:lnTo>
                    <a:lnTo>
                      <a:pt x="337" y="597"/>
                    </a:lnTo>
                    <a:lnTo>
                      <a:pt x="337" y="596"/>
                    </a:lnTo>
                    <a:lnTo>
                      <a:pt x="335" y="596"/>
                    </a:lnTo>
                    <a:lnTo>
                      <a:pt x="335" y="594"/>
                    </a:lnTo>
                    <a:lnTo>
                      <a:pt x="333" y="594"/>
                    </a:lnTo>
                    <a:lnTo>
                      <a:pt x="333" y="592"/>
                    </a:lnTo>
                    <a:lnTo>
                      <a:pt x="332" y="592"/>
                    </a:lnTo>
                    <a:lnTo>
                      <a:pt x="330" y="592"/>
                    </a:lnTo>
                    <a:lnTo>
                      <a:pt x="330" y="591"/>
                    </a:lnTo>
                    <a:lnTo>
                      <a:pt x="328" y="591"/>
                    </a:lnTo>
                    <a:lnTo>
                      <a:pt x="327" y="591"/>
                    </a:lnTo>
                    <a:lnTo>
                      <a:pt x="325" y="591"/>
                    </a:lnTo>
                    <a:lnTo>
                      <a:pt x="325" y="589"/>
                    </a:lnTo>
                    <a:lnTo>
                      <a:pt x="323" y="589"/>
                    </a:lnTo>
                    <a:lnTo>
                      <a:pt x="322" y="589"/>
                    </a:lnTo>
                    <a:lnTo>
                      <a:pt x="320" y="587"/>
                    </a:lnTo>
                    <a:lnTo>
                      <a:pt x="318" y="587"/>
                    </a:lnTo>
                    <a:lnTo>
                      <a:pt x="318" y="585"/>
                    </a:lnTo>
                    <a:lnTo>
                      <a:pt x="316" y="584"/>
                    </a:lnTo>
                    <a:lnTo>
                      <a:pt x="315" y="584"/>
                    </a:lnTo>
                    <a:lnTo>
                      <a:pt x="313" y="584"/>
                    </a:lnTo>
                    <a:lnTo>
                      <a:pt x="311" y="584"/>
                    </a:lnTo>
                    <a:lnTo>
                      <a:pt x="313" y="582"/>
                    </a:lnTo>
                    <a:lnTo>
                      <a:pt x="311" y="582"/>
                    </a:lnTo>
                    <a:lnTo>
                      <a:pt x="311" y="580"/>
                    </a:lnTo>
                    <a:lnTo>
                      <a:pt x="310" y="580"/>
                    </a:lnTo>
                    <a:lnTo>
                      <a:pt x="310" y="579"/>
                    </a:lnTo>
                    <a:lnTo>
                      <a:pt x="308" y="579"/>
                    </a:lnTo>
                    <a:lnTo>
                      <a:pt x="306" y="579"/>
                    </a:lnTo>
                    <a:lnTo>
                      <a:pt x="306" y="577"/>
                    </a:lnTo>
                    <a:lnTo>
                      <a:pt x="305" y="575"/>
                    </a:lnTo>
                    <a:lnTo>
                      <a:pt x="305" y="574"/>
                    </a:lnTo>
                    <a:lnTo>
                      <a:pt x="303" y="574"/>
                    </a:lnTo>
                    <a:lnTo>
                      <a:pt x="301" y="574"/>
                    </a:lnTo>
                    <a:lnTo>
                      <a:pt x="301" y="572"/>
                    </a:lnTo>
                    <a:lnTo>
                      <a:pt x="299" y="572"/>
                    </a:lnTo>
                    <a:lnTo>
                      <a:pt x="298" y="572"/>
                    </a:lnTo>
                    <a:lnTo>
                      <a:pt x="296" y="572"/>
                    </a:lnTo>
                    <a:lnTo>
                      <a:pt x="296" y="570"/>
                    </a:lnTo>
                    <a:lnTo>
                      <a:pt x="294" y="570"/>
                    </a:lnTo>
                    <a:lnTo>
                      <a:pt x="293" y="570"/>
                    </a:lnTo>
                    <a:lnTo>
                      <a:pt x="291" y="570"/>
                    </a:lnTo>
                    <a:lnTo>
                      <a:pt x="289" y="570"/>
                    </a:lnTo>
                    <a:lnTo>
                      <a:pt x="289" y="568"/>
                    </a:lnTo>
                    <a:lnTo>
                      <a:pt x="288" y="568"/>
                    </a:lnTo>
                    <a:lnTo>
                      <a:pt x="288" y="567"/>
                    </a:lnTo>
                    <a:lnTo>
                      <a:pt x="286" y="567"/>
                    </a:lnTo>
                    <a:lnTo>
                      <a:pt x="286" y="565"/>
                    </a:lnTo>
                    <a:lnTo>
                      <a:pt x="284" y="565"/>
                    </a:lnTo>
                    <a:lnTo>
                      <a:pt x="282" y="565"/>
                    </a:lnTo>
                    <a:lnTo>
                      <a:pt x="281" y="565"/>
                    </a:lnTo>
                    <a:lnTo>
                      <a:pt x="279" y="565"/>
                    </a:lnTo>
                    <a:lnTo>
                      <a:pt x="279" y="563"/>
                    </a:lnTo>
                    <a:lnTo>
                      <a:pt x="277" y="563"/>
                    </a:lnTo>
                    <a:lnTo>
                      <a:pt x="277" y="562"/>
                    </a:lnTo>
                    <a:lnTo>
                      <a:pt x="276" y="562"/>
                    </a:lnTo>
                    <a:lnTo>
                      <a:pt x="274" y="562"/>
                    </a:lnTo>
                    <a:lnTo>
                      <a:pt x="272" y="562"/>
                    </a:lnTo>
                    <a:lnTo>
                      <a:pt x="272" y="560"/>
                    </a:lnTo>
                    <a:lnTo>
                      <a:pt x="271" y="560"/>
                    </a:lnTo>
                    <a:lnTo>
                      <a:pt x="271" y="558"/>
                    </a:lnTo>
                    <a:lnTo>
                      <a:pt x="269" y="558"/>
                    </a:lnTo>
                    <a:lnTo>
                      <a:pt x="267" y="558"/>
                    </a:lnTo>
                    <a:lnTo>
                      <a:pt x="267" y="557"/>
                    </a:lnTo>
                    <a:lnTo>
                      <a:pt x="265" y="557"/>
                    </a:lnTo>
                    <a:lnTo>
                      <a:pt x="264" y="557"/>
                    </a:lnTo>
                    <a:lnTo>
                      <a:pt x="262" y="557"/>
                    </a:lnTo>
                    <a:lnTo>
                      <a:pt x="260" y="555"/>
                    </a:lnTo>
                    <a:lnTo>
                      <a:pt x="259" y="555"/>
                    </a:lnTo>
                    <a:lnTo>
                      <a:pt x="259" y="557"/>
                    </a:lnTo>
                    <a:lnTo>
                      <a:pt x="259" y="555"/>
                    </a:lnTo>
                    <a:lnTo>
                      <a:pt x="257" y="555"/>
                    </a:lnTo>
                    <a:lnTo>
                      <a:pt x="257" y="553"/>
                    </a:lnTo>
                    <a:lnTo>
                      <a:pt x="255" y="553"/>
                    </a:lnTo>
                    <a:lnTo>
                      <a:pt x="254" y="553"/>
                    </a:lnTo>
                    <a:lnTo>
                      <a:pt x="254" y="551"/>
                    </a:lnTo>
                    <a:lnTo>
                      <a:pt x="252" y="551"/>
                    </a:lnTo>
                    <a:lnTo>
                      <a:pt x="250" y="550"/>
                    </a:lnTo>
                    <a:lnTo>
                      <a:pt x="248" y="550"/>
                    </a:lnTo>
                    <a:lnTo>
                      <a:pt x="248" y="548"/>
                    </a:lnTo>
                    <a:lnTo>
                      <a:pt x="247" y="548"/>
                    </a:lnTo>
                    <a:lnTo>
                      <a:pt x="247" y="546"/>
                    </a:lnTo>
                    <a:lnTo>
                      <a:pt x="245" y="545"/>
                    </a:lnTo>
                    <a:lnTo>
                      <a:pt x="243" y="545"/>
                    </a:lnTo>
                    <a:lnTo>
                      <a:pt x="242" y="543"/>
                    </a:lnTo>
                    <a:lnTo>
                      <a:pt x="240" y="543"/>
                    </a:lnTo>
                    <a:lnTo>
                      <a:pt x="240" y="541"/>
                    </a:lnTo>
                    <a:lnTo>
                      <a:pt x="238" y="541"/>
                    </a:lnTo>
                    <a:lnTo>
                      <a:pt x="237" y="541"/>
                    </a:lnTo>
                    <a:lnTo>
                      <a:pt x="235" y="541"/>
                    </a:lnTo>
                    <a:lnTo>
                      <a:pt x="233" y="541"/>
                    </a:lnTo>
                    <a:lnTo>
                      <a:pt x="233" y="540"/>
                    </a:lnTo>
                    <a:lnTo>
                      <a:pt x="233" y="538"/>
                    </a:lnTo>
                    <a:lnTo>
                      <a:pt x="231" y="538"/>
                    </a:lnTo>
                    <a:lnTo>
                      <a:pt x="230" y="536"/>
                    </a:lnTo>
                    <a:lnTo>
                      <a:pt x="228" y="536"/>
                    </a:lnTo>
                    <a:lnTo>
                      <a:pt x="226" y="536"/>
                    </a:lnTo>
                    <a:lnTo>
                      <a:pt x="226" y="534"/>
                    </a:lnTo>
                    <a:lnTo>
                      <a:pt x="225" y="534"/>
                    </a:lnTo>
                    <a:lnTo>
                      <a:pt x="223" y="534"/>
                    </a:lnTo>
                    <a:lnTo>
                      <a:pt x="223" y="533"/>
                    </a:lnTo>
                    <a:lnTo>
                      <a:pt x="221" y="533"/>
                    </a:lnTo>
                    <a:lnTo>
                      <a:pt x="220" y="533"/>
                    </a:lnTo>
                    <a:lnTo>
                      <a:pt x="220" y="531"/>
                    </a:lnTo>
                    <a:lnTo>
                      <a:pt x="218" y="531"/>
                    </a:lnTo>
                    <a:lnTo>
                      <a:pt x="218" y="529"/>
                    </a:lnTo>
                    <a:lnTo>
                      <a:pt x="216" y="529"/>
                    </a:lnTo>
                    <a:lnTo>
                      <a:pt x="214" y="529"/>
                    </a:lnTo>
                    <a:lnTo>
                      <a:pt x="213" y="528"/>
                    </a:lnTo>
                    <a:lnTo>
                      <a:pt x="211" y="528"/>
                    </a:lnTo>
                    <a:lnTo>
                      <a:pt x="211" y="526"/>
                    </a:lnTo>
                    <a:lnTo>
                      <a:pt x="209" y="526"/>
                    </a:lnTo>
                    <a:lnTo>
                      <a:pt x="208" y="526"/>
                    </a:lnTo>
                    <a:lnTo>
                      <a:pt x="208" y="524"/>
                    </a:lnTo>
                    <a:lnTo>
                      <a:pt x="209" y="524"/>
                    </a:lnTo>
                    <a:lnTo>
                      <a:pt x="209" y="523"/>
                    </a:lnTo>
                    <a:lnTo>
                      <a:pt x="208" y="523"/>
                    </a:lnTo>
                    <a:lnTo>
                      <a:pt x="206" y="523"/>
                    </a:lnTo>
                    <a:lnTo>
                      <a:pt x="206" y="521"/>
                    </a:lnTo>
                    <a:lnTo>
                      <a:pt x="208" y="521"/>
                    </a:lnTo>
                    <a:lnTo>
                      <a:pt x="208" y="519"/>
                    </a:lnTo>
                    <a:lnTo>
                      <a:pt x="206" y="519"/>
                    </a:lnTo>
                    <a:lnTo>
                      <a:pt x="206" y="517"/>
                    </a:lnTo>
                    <a:lnTo>
                      <a:pt x="204" y="517"/>
                    </a:lnTo>
                    <a:lnTo>
                      <a:pt x="203" y="517"/>
                    </a:lnTo>
                    <a:lnTo>
                      <a:pt x="201" y="516"/>
                    </a:lnTo>
                    <a:lnTo>
                      <a:pt x="201" y="514"/>
                    </a:lnTo>
                    <a:lnTo>
                      <a:pt x="199" y="514"/>
                    </a:lnTo>
                    <a:lnTo>
                      <a:pt x="199" y="512"/>
                    </a:lnTo>
                    <a:lnTo>
                      <a:pt x="197" y="512"/>
                    </a:lnTo>
                    <a:lnTo>
                      <a:pt x="197" y="511"/>
                    </a:lnTo>
                    <a:lnTo>
                      <a:pt x="197" y="509"/>
                    </a:lnTo>
                    <a:lnTo>
                      <a:pt x="196" y="509"/>
                    </a:lnTo>
                    <a:lnTo>
                      <a:pt x="196" y="507"/>
                    </a:lnTo>
                    <a:lnTo>
                      <a:pt x="194" y="507"/>
                    </a:lnTo>
                    <a:lnTo>
                      <a:pt x="192" y="506"/>
                    </a:lnTo>
                    <a:lnTo>
                      <a:pt x="191" y="506"/>
                    </a:lnTo>
                    <a:lnTo>
                      <a:pt x="189" y="506"/>
                    </a:lnTo>
                    <a:lnTo>
                      <a:pt x="189" y="504"/>
                    </a:lnTo>
                    <a:lnTo>
                      <a:pt x="187" y="504"/>
                    </a:lnTo>
                    <a:lnTo>
                      <a:pt x="187" y="502"/>
                    </a:lnTo>
                    <a:lnTo>
                      <a:pt x="186" y="502"/>
                    </a:lnTo>
                    <a:lnTo>
                      <a:pt x="186" y="500"/>
                    </a:lnTo>
                    <a:lnTo>
                      <a:pt x="184" y="500"/>
                    </a:lnTo>
                    <a:lnTo>
                      <a:pt x="184" y="499"/>
                    </a:lnTo>
                    <a:lnTo>
                      <a:pt x="184" y="497"/>
                    </a:lnTo>
                    <a:lnTo>
                      <a:pt x="182" y="497"/>
                    </a:lnTo>
                    <a:lnTo>
                      <a:pt x="182" y="495"/>
                    </a:lnTo>
                    <a:lnTo>
                      <a:pt x="182" y="494"/>
                    </a:lnTo>
                    <a:lnTo>
                      <a:pt x="180" y="494"/>
                    </a:lnTo>
                    <a:lnTo>
                      <a:pt x="180" y="492"/>
                    </a:lnTo>
                    <a:lnTo>
                      <a:pt x="179" y="492"/>
                    </a:lnTo>
                    <a:lnTo>
                      <a:pt x="179" y="490"/>
                    </a:lnTo>
                    <a:lnTo>
                      <a:pt x="177" y="490"/>
                    </a:lnTo>
                    <a:lnTo>
                      <a:pt x="175" y="490"/>
                    </a:lnTo>
                    <a:lnTo>
                      <a:pt x="175" y="489"/>
                    </a:lnTo>
                    <a:lnTo>
                      <a:pt x="177" y="489"/>
                    </a:lnTo>
                    <a:lnTo>
                      <a:pt x="177" y="487"/>
                    </a:lnTo>
                    <a:lnTo>
                      <a:pt x="175" y="485"/>
                    </a:lnTo>
                    <a:lnTo>
                      <a:pt x="174" y="485"/>
                    </a:lnTo>
                    <a:lnTo>
                      <a:pt x="174" y="483"/>
                    </a:lnTo>
                    <a:lnTo>
                      <a:pt x="172" y="483"/>
                    </a:lnTo>
                    <a:lnTo>
                      <a:pt x="172" y="482"/>
                    </a:lnTo>
                    <a:lnTo>
                      <a:pt x="172" y="483"/>
                    </a:lnTo>
                    <a:lnTo>
                      <a:pt x="172" y="485"/>
                    </a:lnTo>
                    <a:lnTo>
                      <a:pt x="172" y="483"/>
                    </a:lnTo>
                    <a:lnTo>
                      <a:pt x="170" y="483"/>
                    </a:lnTo>
                    <a:lnTo>
                      <a:pt x="172" y="483"/>
                    </a:lnTo>
                    <a:lnTo>
                      <a:pt x="170" y="482"/>
                    </a:lnTo>
                    <a:lnTo>
                      <a:pt x="172" y="482"/>
                    </a:lnTo>
                    <a:lnTo>
                      <a:pt x="170" y="480"/>
                    </a:lnTo>
                    <a:lnTo>
                      <a:pt x="172" y="480"/>
                    </a:lnTo>
                    <a:lnTo>
                      <a:pt x="172" y="478"/>
                    </a:lnTo>
                    <a:lnTo>
                      <a:pt x="170" y="477"/>
                    </a:lnTo>
                    <a:lnTo>
                      <a:pt x="172" y="477"/>
                    </a:lnTo>
                    <a:lnTo>
                      <a:pt x="172" y="475"/>
                    </a:lnTo>
                    <a:lnTo>
                      <a:pt x="170" y="475"/>
                    </a:lnTo>
                    <a:lnTo>
                      <a:pt x="172" y="475"/>
                    </a:lnTo>
                    <a:lnTo>
                      <a:pt x="170" y="473"/>
                    </a:lnTo>
                    <a:lnTo>
                      <a:pt x="170" y="475"/>
                    </a:lnTo>
                    <a:lnTo>
                      <a:pt x="169" y="475"/>
                    </a:lnTo>
                    <a:lnTo>
                      <a:pt x="167" y="475"/>
                    </a:lnTo>
                    <a:lnTo>
                      <a:pt x="167" y="473"/>
                    </a:lnTo>
                    <a:lnTo>
                      <a:pt x="169" y="472"/>
                    </a:lnTo>
                    <a:lnTo>
                      <a:pt x="169" y="470"/>
                    </a:lnTo>
                    <a:lnTo>
                      <a:pt x="170" y="470"/>
                    </a:lnTo>
                    <a:lnTo>
                      <a:pt x="170" y="472"/>
                    </a:lnTo>
                    <a:lnTo>
                      <a:pt x="172" y="472"/>
                    </a:lnTo>
                    <a:lnTo>
                      <a:pt x="172" y="473"/>
                    </a:lnTo>
                    <a:lnTo>
                      <a:pt x="172" y="472"/>
                    </a:lnTo>
                    <a:lnTo>
                      <a:pt x="172" y="470"/>
                    </a:lnTo>
                    <a:lnTo>
                      <a:pt x="174" y="468"/>
                    </a:lnTo>
                    <a:lnTo>
                      <a:pt x="174" y="466"/>
                    </a:lnTo>
                    <a:lnTo>
                      <a:pt x="174" y="465"/>
                    </a:lnTo>
                    <a:lnTo>
                      <a:pt x="174" y="463"/>
                    </a:lnTo>
                    <a:lnTo>
                      <a:pt x="174" y="461"/>
                    </a:lnTo>
                    <a:lnTo>
                      <a:pt x="174" y="460"/>
                    </a:lnTo>
                    <a:lnTo>
                      <a:pt x="174" y="458"/>
                    </a:lnTo>
                    <a:lnTo>
                      <a:pt x="174" y="456"/>
                    </a:lnTo>
                    <a:lnTo>
                      <a:pt x="174" y="454"/>
                    </a:lnTo>
                    <a:lnTo>
                      <a:pt x="172" y="454"/>
                    </a:lnTo>
                    <a:lnTo>
                      <a:pt x="172" y="453"/>
                    </a:lnTo>
                    <a:lnTo>
                      <a:pt x="170" y="453"/>
                    </a:lnTo>
                    <a:lnTo>
                      <a:pt x="170" y="451"/>
                    </a:lnTo>
                    <a:lnTo>
                      <a:pt x="169" y="449"/>
                    </a:lnTo>
                    <a:lnTo>
                      <a:pt x="169" y="448"/>
                    </a:lnTo>
                    <a:lnTo>
                      <a:pt x="167" y="448"/>
                    </a:lnTo>
                    <a:lnTo>
                      <a:pt x="167" y="446"/>
                    </a:lnTo>
                    <a:lnTo>
                      <a:pt x="165" y="446"/>
                    </a:lnTo>
                    <a:lnTo>
                      <a:pt x="165" y="444"/>
                    </a:lnTo>
                    <a:lnTo>
                      <a:pt x="163" y="444"/>
                    </a:lnTo>
                    <a:lnTo>
                      <a:pt x="165" y="443"/>
                    </a:lnTo>
                    <a:lnTo>
                      <a:pt x="163" y="443"/>
                    </a:lnTo>
                    <a:lnTo>
                      <a:pt x="163" y="441"/>
                    </a:lnTo>
                    <a:lnTo>
                      <a:pt x="163" y="439"/>
                    </a:lnTo>
                    <a:lnTo>
                      <a:pt x="163" y="437"/>
                    </a:lnTo>
                    <a:lnTo>
                      <a:pt x="162" y="437"/>
                    </a:lnTo>
                    <a:lnTo>
                      <a:pt x="162" y="436"/>
                    </a:lnTo>
                    <a:lnTo>
                      <a:pt x="160" y="436"/>
                    </a:lnTo>
                    <a:lnTo>
                      <a:pt x="160" y="434"/>
                    </a:lnTo>
                    <a:lnTo>
                      <a:pt x="160" y="432"/>
                    </a:lnTo>
                    <a:lnTo>
                      <a:pt x="158" y="432"/>
                    </a:lnTo>
                    <a:lnTo>
                      <a:pt x="158" y="431"/>
                    </a:lnTo>
                    <a:lnTo>
                      <a:pt x="158" y="429"/>
                    </a:lnTo>
                    <a:lnTo>
                      <a:pt x="157" y="429"/>
                    </a:lnTo>
                    <a:lnTo>
                      <a:pt x="157" y="427"/>
                    </a:lnTo>
                    <a:lnTo>
                      <a:pt x="155" y="427"/>
                    </a:lnTo>
                    <a:lnTo>
                      <a:pt x="155" y="426"/>
                    </a:lnTo>
                    <a:lnTo>
                      <a:pt x="153" y="426"/>
                    </a:lnTo>
                    <a:lnTo>
                      <a:pt x="153" y="424"/>
                    </a:lnTo>
                    <a:lnTo>
                      <a:pt x="155" y="424"/>
                    </a:lnTo>
                    <a:lnTo>
                      <a:pt x="155" y="422"/>
                    </a:lnTo>
                    <a:lnTo>
                      <a:pt x="153" y="422"/>
                    </a:lnTo>
                    <a:lnTo>
                      <a:pt x="153" y="420"/>
                    </a:lnTo>
                    <a:lnTo>
                      <a:pt x="153" y="419"/>
                    </a:lnTo>
                    <a:lnTo>
                      <a:pt x="152" y="419"/>
                    </a:lnTo>
                    <a:lnTo>
                      <a:pt x="150" y="417"/>
                    </a:lnTo>
                    <a:lnTo>
                      <a:pt x="148" y="417"/>
                    </a:lnTo>
                    <a:lnTo>
                      <a:pt x="148" y="415"/>
                    </a:lnTo>
                    <a:lnTo>
                      <a:pt x="146" y="415"/>
                    </a:lnTo>
                    <a:lnTo>
                      <a:pt x="146" y="414"/>
                    </a:lnTo>
                    <a:lnTo>
                      <a:pt x="146" y="412"/>
                    </a:lnTo>
                    <a:lnTo>
                      <a:pt x="145" y="412"/>
                    </a:lnTo>
                    <a:lnTo>
                      <a:pt x="143" y="410"/>
                    </a:lnTo>
                    <a:lnTo>
                      <a:pt x="141" y="410"/>
                    </a:lnTo>
                    <a:lnTo>
                      <a:pt x="141" y="409"/>
                    </a:lnTo>
                    <a:lnTo>
                      <a:pt x="141" y="410"/>
                    </a:lnTo>
                    <a:lnTo>
                      <a:pt x="141" y="409"/>
                    </a:lnTo>
                    <a:lnTo>
                      <a:pt x="143" y="409"/>
                    </a:lnTo>
                    <a:lnTo>
                      <a:pt x="143" y="407"/>
                    </a:lnTo>
                    <a:lnTo>
                      <a:pt x="143" y="405"/>
                    </a:lnTo>
                    <a:lnTo>
                      <a:pt x="141" y="405"/>
                    </a:lnTo>
                    <a:lnTo>
                      <a:pt x="141" y="403"/>
                    </a:lnTo>
                    <a:lnTo>
                      <a:pt x="141" y="402"/>
                    </a:lnTo>
                    <a:lnTo>
                      <a:pt x="141" y="400"/>
                    </a:lnTo>
                    <a:lnTo>
                      <a:pt x="140" y="400"/>
                    </a:lnTo>
                    <a:lnTo>
                      <a:pt x="141" y="400"/>
                    </a:lnTo>
                    <a:lnTo>
                      <a:pt x="141" y="398"/>
                    </a:lnTo>
                    <a:lnTo>
                      <a:pt x="140" y="398"/>
                    </a:lnTo>
                    <a:lnTo>
                      <a:pt x="140" y="397"/>
                    </a:lnTo>
                    <a:lnTo>
                      <a:pt x="140" y="395"/>
                    </a:lnTo>
                    <a:lnTo>
                      <a:pt x="138" y="395"/>
                    </a:lnTo>
                    <a:lnTo>
                      <a:pt x="138" y="393"/>
                    </a:lnTo>
                    <a:lnTo>
                      <a:pt x="136" y="392"/>
                    </a:lnTo>
                    <a:lnTo>
                      <a:pt x="136" y="390"/>
                    </a:lnTo>
                    <a:lnTo>
                      <a:pt x="135" y="390"/>
                    </a:lnTo>
                    <a:lnTo>
                      <a:pt x="133" y="388"/>
                    </a:lnTo>
                    <a:lnTo>
                      <a:pt x="129" y="386"/>
                    </a:lnTo>
                    <a:lnTo>
                      <a:pt x="128" y="385"/>
                    </a:lnTo>
                    <a:lnTo>
                      <a:pt x="126" y="385"/>
                    </a:lnTo>
                    <a:lnTo>
                      <a:pt x="124" y="385"/>
                    </a:lnTo>
                    <a:lnTo>
                      <a:pt x="124" y="383"/>
                    </a:lnTo>
                    <a:lnTo>
                      <a:pt x="126" y="383"/>
                    </a:lnTo>
                    <a:lnTo>
                      <a:pt x="124" y="383"/>
                    </a:lnTo>
                    <a:lnTo>
                      <a:pt x="126" y="381"/>
                    </a:lnTo>
                    <a:lnTo>
                      <a:pt x="124" y="381"/>
                    </a:lnTo>
                    <a:lnTo>
                      <a:pt x="126" y="381"/>
                    </a:lnTo>
                    <a:lnTo>
                      <a:pt x="128" y="380"/>
                    </a:lnTo>
                    <a:lnTo>
                      <a:pt x="126" y="380"/>
                    </a:lnTo>
                    <a:lnTo>
                      <a:pt x="126" y="378"/>
                    </a:lnTo>
                    <a:lnTo>
                      <a:pt x="126" y="376"/>
                    </a:lnTo>
                    <a:lnTo>
                      <a:pt x="126" y="375"/>
                    </a:lnTo>
                    <a:lnTo>
                      <a:pt x="124" y="375"/>
                    </a:lnTo>
                    <a:lnTo>
                      <a:pt x="124" y="373"/>
                    </a:lnTo>
                    <a:lnTo>
                      <a:pt x="124" y="371"/>
                    </a:lnTo>
                    <a:lnTo>
                      <a:pt x="124" y="369"/>
                    </a:lnTo>
                    <a:lnTo>
                      <a:pt x="123" y="369"/>
                    </a:lnTo>
                    <a:lnTo>
                      <a:pt x="123" y="368"/>
                    </a:lnTo>
                    <a:lnTo>
                      <a:pt x="121" y="368"/>
                    </a:lnTo>
                    <a:lnTo>
                      <a:pt x="123" y="366"/>
                    </a:lnTo>
                    <a:lnTo>
                      <a:pt x="121" y="366"/>
                    </a:lnTo>
                    <a:lnTo>
                      <a:pt x="121" y="364"/>
                    </a:lnTo>
                    <a:lnTo>
                      <a:pt x="119" y="364"/>
                    </a:lnTo>
                    <a:lnTo>
                      <a:pt x="119" y="363"/>
                    </a:lnTo>
                    <a:lnTo>
                      <a:pt x="118" y="363"/>
                    </a:lnTo>
                    <a:lnTo>
                      <a:pt x="118" y="361"/>
                    </a:lnTo>
                    <a:lnTo>
                      <a:pt x="118" y="359"/>
                    </a:lnTo>
                    <a:lnTo>
                      <a:pt x="116" y="359"/>
                    </a:lnTo>
                    <a:lnTo>
                      <a:pt x="116" y="358"/>
                    </a:lnTo>
                    <a:lnTo>
                      <a:pt x="114" y="356"/>
                    </a:lnTo>
                    <a:lnTo>
                      <a:pt x="114" y="354"/>
                    </a:lnTo>
                    <a:lnTo>
                      <a:pt x="112" y="354"/>
                    </a:lnTo>
                    <a:lnTo>
                      <a:pt x="112" y="352"/>
                    </a:lnTo>
                    <a:lnTo>
                      <a:pt x="112" y="351"/>
                    </a:lnTo>
                    <a:lnTo>
                      <a:pt x="111" y="351"/>
                    </a:lnTo>
                    <a:lnTo>
                      <a:pt x="111" y="349"/>
                    </a:lnTo>
                    <a:lnTo>
                      <a:pt x="111" y="347"/>
                    </a:lnTo>
                    <a:lnTo>
                      <a:pt x="109" y="346"/>
                    </a:lnTo>
                    <a:lnTo>
                      <a:pt x="107" y="344"/>
                    </a:lnTo>
                    <a:lnTo>
                      <a:pt x="107" y="342"/>
                    </a:lnTo>
                    <a:lnTo>
                      <a:pt x="107" y="341"/>
                    </a:lnTo>
                    <a:lnTo>
                      <a:pt x="107" y="339"/>
                    </a:lnTo>
                    <a:lnTo>
                      <a:pt x="106" y="339"/>
                    </a:lnTo>
                    <a:lnTo>
                      <a:pt x="106" y="337"/>
                    </a:lnTo>
                    <a:lnTo>
                      <a:pt x="106" y="335"/>
                    </a:lnTo>
                    <a:lnTo>
                      <a:pt x="106" y="334"/>
                    </a:lnTo>
                    <a:lnTo>
                      <a:pt x="106" y="332"/>
                    </a:lnTo>
                    <a:lnTo>
                      <a:pt x="104" y="330"/>
                    </a:lnTo>
                    <a:lnTo>
                      <a:pt x="104" y="329"/>
                    </a:lnTo>
                    <a:lnTo>
                      <a:pt x="102" y="329"/>
                    </a:lnTo>
                    <a:lnTo>
                      <a:pt x="102" y="327"/>
                    </a:lnTo>
                    <a:lnTo>
                      <a:pt x="101" y="327"/>
                    </a:lnTo>
                    <a:lnTo>
                      <a:pt x="101" y="325"/>
                    </a:lnTo>
                    <a:lnTo>
                      <a:pt x="101" y="324"/>
                    </a:lnTo>
                    <a:lnTo>
                      <a:pt x="101" y="322"/>
                    </a:lnTo>
                    <a:lnTo>
                      <a:pt x="99" y="322"/>
                    </a:lnTo>
                    <a:lnTo>
                      <a:pt x="101" y="322"/>
                    </a:lnTo>
                    <a:lnTo>
                      <a:pt x="101" y="320"/>
                    </a:lnTo>
                    <a:lnTo>
                      <a:pt x="99" y="320"/>
                    </a:lnTo>
                    <a:lnTo>
                      <a:pt x="99" y="318"/>
                    </a:lnTo>
                    <a:lnTo>
                      <a:pt x="99" y="317"/>
                    </a:lnTo>
                    <a:lnTo>
                      <a:pt x="97" y="317"/>
                    </a:lnTo>
                    <a:lnTo>
                      <a:pt x="97" y="315"/>
                    </a:lnTo>
                    <a:lnTo>
                      <a:pt x="95" y="315"/>
                    </a:lnTo>
                    <a:lnTo>
                      <a:pt x="95" y="313"/>
                    </a:lnTo>
                    <a:lnTo>
                      <a:pt x="97" y="313"/>
                    </a:lnTo>
                    <a:lnTo>
                      <a:pt x="97" y="312"/>
                    </a:lnTo>
                    <a:lnTo>
                      <a:pt x="95" y="312"/>
                    </a:lnTo>
                    <a:lnTo>
                      <a:pt x="94" y="312"/>
                    </a:lnTo>
                    <a:lnTo>
                      <a:pt x="94" y="313"/>
                    </a:lnTo>
                    <a:lnTo>
                      <a:pt x="94" y="312"/>
                    </a:lnTo>
                    <a:lnTo>
                      <a:pt x="92" y="312"/>
                    </a:lnTo>
                    <a:lnTo>
                      <a:pt x="92" y="310"/>
                    </a:lnTo>
                    <a:lnTo>
                      <a:pt x="94" y="312"/>
                    </a:lnTo>
                    <a:lnTo>
                      <a:pt x="94" y="310"/>
                    </a:lnTo>
                    <a:lnTo>
                      <a:pt x="94" y="312"/>
                    </a:lnTo>
                    <a:lnTo>
                      <a:pt x="94" y="310"/>
                    </a:lnTo>
                    <a:lnTo>
                      <a:pt x="94" y="308"/>
                    </a:lnTo>
                    <a:lnTo>
                      <a:pt x="92" y="308"/>
                    </a:lnTo>
                    <a:lnTo>
                      <a:pt x="92" y="307"/>
                    </a:lnTo>
                    <a:lnTo>
                      <a:pt x="92" y="305"/>
                    </a:lnTo>
                    <a:lnTo>
                      <a:pt x="90" y="305"/>
                    </a:lnTo>
                    <a:lnTo>
                      <a:pt x="92" y="305"/>
                    </a:lnTo>
                    <a:lnTo>
                      <a:pt x="92" y="303"/>
                    </a:lnTo>
                    <a:lnTo>
                      <a:pt x="90" y="301"/>
                    </a:lnTo>
                    <a:lnTo>
                      <a:pt x="90" y="300"/>
                    </a:lnTo>
                    <a:lnTo>
                      <a:pt x="89" y="300"/>
                    </a:lnTo>
                    <a:lnTo>
                      <a:pt x="89" y="298"/>
                    </a:lnTo>
                    <a:lnTo>
                      <a:pt x="87" y="298"/>
                    </a:lnTo>
                    <a:lnTo>
                      <a:pt x="87" y="296"/>
                    </a:lnTo>
                    <a:lnTo>
                      <a:pt x="89" y="296"/>
                    </a:lnTo>
                    <a:lnTo>
                      <a:pt x="89" y="295"/>
                    </a:lnTo>
                    <a:lnTo>
                      <a:pt x="89" y="293"/>
                    </a:lnTo>
                    <a:lnTo>
                      <a:pt x="87" y="291"/>
                    </a:lnTo>
                    <a:lnTo>
                      <a:pt x="87" y="289"/>
                    </a:lnTo>
                    <a:lnTo>
                      <a:pt x="85" y="289"/>
                    </a:lnTo>
                    <a:lnTo>
                      <a:pt x="85" y="288"/>
                    </a:lnTo>
                    <a:lnTo>
                      <a:pt x="84" y="288"/>
                    </a:lnTo>
                    <a:lnTo>
                      <a:pt x="82" y="286"/>
                    </a:lnTo>
                    <a:lnTo>
                      <a:pt x="84" y="284"/>
                    </a:lnTo>
                    <a:lnTo>
                      <a:pt x="84" y="283"/>
                    </a:lnTo>
                    <a:lnTo>
                      <a:pt x="82" y="283"/>
                    </a:lnTo>
                    <a:lnTo>
                      <a:pt x="82" y="281"/>
                    </a:lnTo>
                    <a:lnTo>
                      <a:pt x="80" y="281"/>
                    </a:lnTo>
                    <a:lnTo>
                      <a:pt x="80" y="279"/>
                    </a:lnTo>
                    <a:lnTo>
                      <a:pt x="80" y="278"/>
                    </a:lnTo>
                    <a:lnTo>
                      <a:pt x="78" y="278"/>
                    </a:lnTo>
                    <a:lnTo>
                      <a:pt x="78" y="276"/>
                    </a:lnTo>
                    <a:lnTo>
                      <a:pt x="77" y="276"/>
                    </a:lnTo>
                    <a:lnTo>
                      <a:pt x="77" y="274"/>
                    </a:lnTo>
                    <a:lnTo>
                      <a:pt x="75" y="274"/>
                    </a:lnTo>
                    <a:lnTo>
                      <a:pt x="75" y="272"/>
                    </a:lnTo>
                    <a:lnTo>
                      <a:pt x="73" y="271"/>
                    </a:lnTo>
                    <a:lnTo>
                      <a:pt x="72" y="271"/>
                    </a:lnTo>
                    <a:lnTo>
                      <a:pt x="70" y="269"/>
                    </a:lnTo>
                    <a:lnTo>
                      <a:pt x="68" y="267"/>
                    </a:lnTo>
                    <a:lnTo>
                      <a:pt x="67" y="266"/>
                    </a:lnTo>
                    <a:lnTo>
                      <a:pt x="67" y="264"/>
                    </a:lnTo>
                    <a:lnTo>
                      <a:pt x="65" y="262"/>
                    </a:lnTo>
                    <a:lnTo>
                      <a:pt x="63" y="261"/>
                    </a:lnTo>
                    <a:lnTo>
                      <a:pt x="65" y="261"/>
                    </a:lnTo>
                    <a:lnTo>
                      <a:pt x="65" y="259"/>
                    </a:lnTo>
                    <a:lnTo>
                      <a:pt x="63" y="257"/>
                    </a:lnTo>
                    <a:lnTo>
                      <a:pt x="63" y="255"/>
                    </a:lnTo>
                    <a:lnTo>
                      <a:pt x="61" y="255"/>
                    </a:lnTo>
                    <a:lnTo>
                      <a:pt x="61" y="254"/>
                    </a:lnTo>
                    <a:lnTo>
                      <a:pt x="60" y="254"/>
                    </a:lnTo>
                    <a:lnTo>
                      <a:pt x="60" y="252"/>
                    </a:lnTo>
                    <a:lnTo>
                      <a:pt x="60" y="250"/>
                    </a:lnTo>
                    <a:lnTo>
                      <a:pt x="60" y="249"/>
                    </a:lnTo>
                    <a:lnTo>
                      <a:pt x="60" y="247"/>
                    </a:lnTo>
                    <a:lnTo>
                      <a:pt x="58" y="245"/>
                    </a:lnTo>
                    <a:lnTo>
                      <a:pt x="56" y="244"/>
                    </a:lnTo>
                    <a:lnTo>
                      <a:pt x="56" y="242"/>
                    </a:lnTo>
                    <a:lnTo>
                      <a:pt x="56" y="240"/>
                    </a:lnTo>
                    <a:lnTo>
                      <a:pt x="55" y="240"/>
                    </a:lnTo>
                    <a:lnTo>
                      <a:pt x="55" y="238"/>
                    </a:lnTo>
                    <a:lnTo>
                      <a:pt x="53" y="237"/>
                    </a:lnTo>
                    <a:lnTo>
                      <a:pt x="51" y="235"/>
                    </a:lnTo>
                    <a:lnTo>
                      <a:pt x="50" y="235"/>
                    </a:lnTo>
                    <a:lnTo>
                      <a:pt x="50" y="233"/>
                    </a:lnTo>
                    <a:lnTo>
                      <a:pt x="48" y="233"/>
                    </a:lnTo>
                    <a:lnTo>
                      <a:pt x="48" y="232"/>
                    </a:lnTo>
                    <a:lnTo>
                      <a:pt x="48" y="230"/>
                    </a:lnTo>
                    <a:lnTo>
                      <a:pt x="46" y="230"/>
                    </a:lnTo>
                    <a:lnTo>
                      <a:pt x="46" y="228"/>
                    </a:lnTo>
                    <a:lnTo>
                      <a:pt x="44" y="227"/>
                    </a:lnTo>
                    <a:lnTo>
                      <a:pt x="43" y="227"/>
                    </a:lnTo>
                    <a:lnTo>
                      <a:pt x="41" y="225"/>
                    </a:lnTo>
                    <a:lnTo>
                      <a:pt x="41" y="223"/>
                    </a:lnTo>
                    <a:lnTo>
                      <a:pt x="39" y="223"/>
                    </a:lnTo>
                    <a:lnTo>
                      <a:pt x="38" y="223"/>
                    </a:lnTo>
                    <a:lnTo>
                      <a:pt x="38" y="221"/>
                    </a:lnTo>
                    <a:lnTo>
                      <a:pt x="36" y="221"/>
                    </a:lnTo>
                    <a:lnTo>
                      <a:pt x="34" y="220"/>
                    </a:lnTo>
                    <a:lnTo>
                      <a:pt x="33" y="220"/>
                    </a:lnTo>
                    <a:lnTo>
                      <a:pt x="31" y="218"/>
                    </a:lnTo>
                    <a:lnTo>
                      <a:pt x="29" y="218"/>
                    </a:lnTo>
                    <a:lnTo>
                      <a:pt x="28" y="216"/>
                    </a:lnTo>
                    <a:lnTo>
                      <a:pt x="26" y="216"/>
                    </a:lnTo>
                    <a:lnTo>
                      <a:pt x="24" y="216"/>
                    </a:lnTo>
                    <a:lnTo>
                      <a:pt x="24" y="215"/>
                    </a:lnTo>
                    <a:lnTo>
                      <a:pt x="22" y="215"/>
                    </a:lnTo>
                    <a:lnTo>
                      <a:pt x="21" y="213"/>
                    </a:lnTo>
                    <a:lnTo>
                      <a:pt x="19" y="213"/>
                    </a:lnTo>
                    <a:lnTo>
                      <a:pt x="17" y="211"/>
                    </a:lnTo>
                    <a:lnTo>
                      <a:pt x="16" y="210"/>
                    </a:lnTo>
                    <a:lnTo>
                      <a:pt x="14" y="210"/>
                    </a:lnTo>
                    <a:lnTo>
                      <a:pt x="14" y="208"/>
                    </a:lnTo>
                    <a:lnTo>
                      <a:pt x="12" y="208"/>
                    </a:lnTo>
                    <a:lnTo>
                      <a:pt x="11" y="206"/>
                    </a:lnTo>
                    <a:lnTo>
                      <a:pt x="9" y="206"/>
                    </a:lnTo>
                    <a:lnTo>
                      <a:pt x="9" y="204"/>
                    </a:lnTo>
                    <a:lnTo>
                      <a:pt x="7" y="204"/>
                    </a:lnTo>
                    <a:lnTo>
                      <a:pt x="7" y="203"/>
                    </a:lnTo>
                    <a:lnTo>
                      <a:pt x="7" y="201"/>
                    </a:lnTo>
                    <a:lnTo>
                      <a:pt x="7" y="199"/>
                    </a:lnTo>
                    <a:lnTo>
                      <a:pt x="7" y="198"/>
                    </a:lnTo>
                    <a:lnTo>
                      <a:pt x="9" y="198"/>
                    </a:lnTo>
                    <a:lnTo>
                      <a:pt x="9" y="196"/>
                    </a:lnTo>
                    <a:lnTo>
                      <a:pt x="11" y="196"/>
                    </a:lnTo>
                    <a:lnTo>
                      <a:pt x="11" y="198"/>
                    </a:lnTo>
                    <a:lnTo>
                      <a:pt x="12" y="198"/>
                    </a:lnTo>
                    <a:lnTo>
                      <a:pt x="14" y="198"/>
                    </a:lnTo>
                    <a:lnTo>
                      <a:pt x="16" y="198"/>
                    </a:lnTo>
                    <a:lnTo>
                      <a:pt x="16" y="196"/>
                    </a:lnTo>
                    <a:lnTo>
                      <a:pt x="17" y="194"/>
                    </a:lnTo>
                    <a:lnTo>
                      <a:pt x="17" y="193"/>
                    </a:lnTo>
                    <a:lnTo>
                      <a:pt x="17" y="191"/>
                    </a:lnTo>
                    <a:lnTo>
                      <a:pt x="17" y="189"/>
                    </a:lnTo>
                    <a:lnTo>
                      <a:pt x="16" y="189"/>
                    </a:lnTo>
                    <a:lnTo>
                      <a:pt x="16" y="187"/>
                    </a:lnTo>
                    <a:lnTo>
                      <a:pt x="16" y="186"/>
                    </a:lnTo>
                    <a:lnTo>
                      <a:pt x="14" y="184"/>
                    </a:lnTo>
                    <a:lnTo>
                      <a:pt x="12" y="182"/>
                    </a:lnTo>
                    <a:lnTo>
                      <a:pt x="11" y="181"/>
                    </a:lnTo>
                    <a:lnTo>
                      <a:pt x="11" y="179"/>
                    </a:lnTo>
                    <a:lnTo>
                      <a:pt x="9" y="179"/>
                    </a:lnTo>
                    <a:lnTo>
                      <a:pt x="7" y="179"/>
                    </a:lnTo>
                    <a:lnTo>
                      <a:pt x="7" y="177"/>
                    </a:lnTo>
                    <a:lnTo>
                      <a:pt x="5" y="177"/>
                    </a:lnTo>
                    <a:lnTo>
                      <a:pt x="5" y="176"/>
                    </a:lnTo>
                    <a:lnTo>
                      <a:pt x="7" y="176"/>
                    </a:lnTo>
                    <a:lnTo>
                      <a:pt x="7" y="174"/>
                    </a:lnTo>
                    <a:lnTo>
                      <a:pt x="5" y="174"/>
                    </a:lnTo>
                    <a:lnTo>
                      <a:pt x="7" y="174"/>
                    </a:lnTo>
                    <a:lnTo>
                      <a:pt x="7" y="172"/>
                    </a:lnTo>
                    <a:lnTo>
                      <a:pt x="5" y="172"/>
                    </a:lnTo>
                    <a:lnTo>
                      <a:pt x="7" y="172"/>
                    </a:lnTo>
                    <a:lnTo>
                      <a:pt x="9" y="172"/>
                    </a:lnTo>
                    <a:lnTo>
                      <a:pt x="11" y="170"/>
                    </a:lnTo>
                    <a:lnTo>
                      <a:pt x="11" y="169"/>
                    </a:lnTo>
                    <a:lnTo>
                      <a:pt x="9" y="169"/>
                    </a:lnTo>
                    <a:lnTo>
                      <a:pt x="9" y="167"/>
                    </a:lnTo>
                    <a:lnTo>
                      <a:pt x="7" y="165"/>
                    </a:lnTo>
                    <a:lnTo>
                      <a:pt x="5" y="164"/>
                    </a:lnTo>
                    <a:lnTo>
                      <a:pt x="5" y="162"/>
                    </a:lnTo>
                    <a:lnTo>
                      <a:pt x="4" y="162"/>
                    </a:lnTo>
                    <a:lnTo>
                      <a:pt x="2" y="159"/>
                    </a:lnTo>
                    <a:lnTo>
                      <a:pt x="0" y="159"/>
                    </a:lnTo>
                    <a:lnTo>
                      <a:pt x="2" y="157"/>
                    </a:lnTo>
                    <a:lnTo>
                      <a:pt x="2" y="155"/>
                    </a:lnTo>
                    <a:lnTo>
                      <a:pt x="2" y="153"/>
                    </a:lnTo>
                    <a:lnTo>
                      <a:pt x="2" y="152"/>
                    </a:lnTo>
                    <a:lnTo>
                      <a:pt x="2" y="150"/>
                    </a:lnTo>
                    <a:lnTo>
                      <a:pt x="4" y="150"/>
                    </a:lnTo>
                    <a:lnTo>
                      <a:pt x="4" y="148"/>
                    </a:lnTo>
                    <a:lnTo>
                      <a:pt x="4" y="147"/>
                    </a:lnTo>
                    <a:lnTo>
                      <a:pt x="4" y="145"/>
                    </a:lnTo>
                    <a:lnTo>
                      <a:pt x="4" y="143"/>
                    </a:lnTo>
                    <a:lnTo>
                      <a:pt x="5" y="143"/>
                    </a:lnTo>
                    <a:lnTo>
                      <a:pt x="7" y="141"/>
                    </a:lnTo>
                    <a:lnTo>
                      <a:pt x="9" y="140"/>
                    </a:lnTo>
                    <a:lnTo>
                      <a:pt x="9" y="138"/>
                    </a:lnTo>
                    <a:lnTo>
                      <a:pt x="11" y="138"/>
                    </a:lnTo>
                    <a:lnTo>
                      <a:pt x="11" y="136"/>
                    </a:lnTo>
                    <a:lnTo>
                      <a:pt x="12" y="136"/>
                    </a:lnTo>
                    <a:lnTo>
                      <a:pt x="12" y="135"/>
                    </a:lnTo>
                    <a:lnTo>
                      <a:pt x="14" y="133"/>
                    </a:lnTo>
                    <a:lnTo>
                      <a:pt x="16" y="131"/>
                    </a:lnTo>
                    <a:lnTo>
                      <a:pt x="17" y="131"/>
                    </a:lnTo>
                    <a:lnTo>
                      <a:pt x="17" y="130"/>
                    </a:lnTo>
                    <a:lnTo>
                      <a:pt x="19" y="128"/>
                    </a:lnTo>
                    <a:lnTo>
                      <a:pt x="19" y="126"/>
                    </a:lnTo>
                    <a:lnTo>
                      <a:pt x="21" y="126"/>
                    </a:lnTo>
                    <a:lnTo>
                      <a:pt x="21" y="124"/>
                    </a:lnTo>
                    <a:lnTo>
                      <a:pt x="22" y="124"/>
                    </a:lnTo>
                    <a:lnTo>
                      <a:pt x="24" y="124"/>
                    </a:lnTo>
                    <a:lnTo>
                      <a:pt x="24" y="123"/>
                    </a:lnTo>
                    <a:lnTo>
                      <a:pt x="26" y="123"/>
                    </a:lnTo>
                    <a:lnTo>
                      <a:pt x="28" y="121"/>
                    </a:lnTo>
                    <a:lnTo>
                      <a:pt x="28" y="119"/>
                    </a:lnTo>
                    <a:lnTo>
                      <a:pt x="29" y="119"/>
                    </a:lnTo>
                    <a:lnTo>
                      <a:pt x="29" y="118"/>
                    </a:lnTo>
                    <a:lnTo>
                      <a:pt x="31" y="118"/>
                    </a:lnTo>
                    <a:lnTo>
                      <a:pt x="33" y="118"/>
                    </a:lnTo>
                    <a:lnTo>
                      <a:pt x="31" y="119"/>
                    </a:lnTo>
                    <a:lnTo>
                      <a:pt x="33" y="118"/>
                    </a:lnTo>
                    <a:lnTo>
                      <a:pt x="34" y="118"/>
                    </a:lnTo>
                    <a:lnTo>
                      <a:pt x="34" y="116"/>
                    </a:lnTo>
                    <a:lnTo>
                      <a:pt x="36" y="114"/>
                    </a:lnTo>
                    <a:lnTo>
                      <a:pt x="36" y="116"/>
                    </a:lnTo>
                    <a:lnTo>
                      <a:pt x="38" y="116"/>
                    </a:lnTo>
                    <a:lnTo>
                      <a:pt x="38" y="118"/>
                    </a:lnTo>
                    <a:lnTo>
                      <a:pt x="38" y="119"/>
                    </a:lnTo>
                    <a:lnTo>
                      <a:pt x="39" y="119"/>
                    </a:lnTo>
                    <a:lnTo>
                      <a:pt x="38" y="121"/>
                    </a:lnTo>
                    <a:lnTo>
                      <a:pt x="39" y="121"/>
                    </a:lnTo>
                    <a:lnTo>
                      <a:pt x="39" y="123"/>
                    </a:lnTo>
                    <a:lnTo>
                      <a:pt x="39" y="124"/>
                    </a:lnTo>
                    <a:lnTo>
                      <a:pt x="39" y="126"/>
                    </a:lnTo>
                    <a:lnTo>
                      <a:pt x="39" y="128"/>
                    </a:lnTo>
                    <a:lnTo>
                      <a:pt x="41" y="128"/>
                    </a:lnTo>
                    <a:lnTo>
                      <a:pt x="41" y="130"/>
                    </a:lnTo>
                    <a:lnTo>
                      <a:pt x="41" y="131"/>
                    </a:lnTo>
                    <a:lnTo>
                      <a:pt x="39" y="133"/>
                    </a:lnTo>
                    <a:lnTo>
                      <a:pt x="38" y="133"/>
                    </a:lnTo>
                    <a:lnTo>
                      <a:pt x="38" y="135"/>
                    </a:lnTo>
                    <a:lnTo>
                      <a:pt x="36" y="135"/>
                    </a:lnTo>
                    <a:lnTo>
                      <a:pt x="36" y="136"/>
                    </a:lnTo>
                    <a:lnTo>
                      <a:pt x="34" y="135"/>
                    </a:lnTo>
                    <a:lnTo>
                      <a:pt x="33" y="135"/>
                    </a:lnTo>
                    <a:lnTo>
                      <a:pt x="31" y="135"/>
                    </a:lnTo>
                    <a:lnTo>
                      <a:pt x="31" y="136"/>
                    </a:lnTo>
                    <a:lnTo>
                      <a:pt x="29" y="136"/>
                    </a:lnTo>
                    <a:lnTo>
                      <a:pt x="29" y="138"/>
                    </a:lnTo>
                    <a:lnTo>
                      <a:pt x="31" y="138"/>
                    </a:lnTo>
                    <a:lnTo>
                      <a:pt x="29" y="140"/>
                    </a:lnTo>
                    <a:lnTo>
                      <a:pt x="31" y="140"/>
                    </a:lnTo>
                    <a:lnTo>
                      <a:pt x="31" y="141"/>
                    </a:lnTo>
                    <a:lnTo>
                      <a:pt x="33" y="143"/>
                    </a:lnTo>
                    <a:lnTo>
                      <a:pt x="33" y="141"/>
                    </a:lnTo>
                    <a:lnTo>
                      <a:pt x="34" y="143"/>
                    </a:lnTo>
                    <a:lnTo>
                      <a:pt x="34" y="141"/>
                    </a:lnTo>
                    <a:lnTo>
                      <a:pt x="36" y="141"/>
                    </a:lnTo>
                    <a:lnTo>
                      <a:pt x="34" y="141"/>
                    </a:lnTo>
                    <a:lnTo>
                      <a:pt x="34" y="143"/>
                    </a:lnTo>
                    <a:lnTo>
                      <a:pt x="33" y="145"/>
                    </a:lnTo>
                    <a:lnTo>
                      <a:pt x="33" y="147"/>
                    </a:lnTo>
                    <a:lnTo>
                      <a:pt x="31" y="147"/>
                    </a:lnTo>
                    <a:lnTo>
                      <a:pt x="31" y="148"/>
                    </a:lnTo>
                    <a:lnTo>
                      <a:pt x="31" y="150"/>
                    </a:lnTo>
                    <a:lnTo>
                      <a:pt x="31" y="152"/>
                    </a:lnTo>
                    <a:lnTo>
                      <a:pt x="31" y="150"/>
                    </a:lnTo>
                    <a:lnTo>
                      <a:pt x="33" y="152"/>
                    </a:lnTo>
                    <a:lnTo>
                      <a:pt x="34" y="152"/>
                    </a:lnTo>
                    <a:lnTo>
                      <a:pt x="34" y="150"/>
                    </a:lnTo>
                    <a:lnTo>
                      <a:pt x="36" y="150"/>
                    </a:lnTo>
                    <a:lnTo>
                      <a:pt x="36" y="148"/>
                    </a:lnTo>
                    <a:lnTo>
                      <a:pt x="38" y="148"/>
                    </a:lnTo>
                    <a:lnTo>
                      <a:pt x="38" y="147"/>
                    </a:lnTo>
                    <a:lnTo>
                      <a:pt x="39" y="147"/>
                    </a:lnTo>
                    <a:lnTo>
                      <a:pt x="39" y="145"/>
                    </a:lnTo>
                    <a:lnTo>
                      <a:pt x="41" y="145"/>
                    </a:lnTo>
                    <a:lnTo>
                      <a:pt x="43" y="145"/>
                    </a:lnTo>
                    <a:lnTo>
                      <a:pt x="44" y="145"/>
                    </a:lnTo>
                    <a:lnTo>
                      <a:pt x="44" y="147"/>
                    </a:lnTo>
                    <a:lnTo>
                      <a:pt x="46" y="148"/>
                    </a:lnTo>
                    <a:lnTo>
                      <a:pt x="48" y="148"/>
                    </a:lnTo>
                    <a:lnTo>
                      <a:pt x="50" y="148"/>
                    </a:lnTo>
                    <a:lnTo>
                      <a:pt x="51" y="150"/>
                    </a:lnTo>
                    <a:lnTo>
                      <a:pt x="51" y="152"/>
                    </a:lnTo>
                    <a:lnTo>
                      <a:pt x="53" y="152"/>
                    </a:lnTo>
                    <a:lnTo>
                      <a:pt x="55" y="152"/>
                    </a:lnTo>
                    <a:lnTo>
                      <a:pt x="56" y="152"/>
                    </a:lnTo>
                    <a:lnTo>
                      <a:pt x="56" y="150"/>
                    </a:lnTo>
                    <a:lnTo>
                      <a:pt x="58" y="150"/>
                    </a:lnTo>
                    <a:lnTo>
                      <a:pt x="60" y="150"/>
                    </a:lnTo>
                    <a:lnTo>
                      <a:pt x="60" y="152"/>
                    </a:lnTo>
                    <a:lnTo>
                      <a:pt x="61" y="152"/>
                    </a:lnTo>
                    <a:lnTo>
                      <a:pt x="61" y="153"/>
                    </a:lnTo>
                    <a:lnTo>
                      <a:pt x="61" y="152"/>
                    </a:lnTo>
                    <a:lnTo>
                      <a:pt x="63" y="153"/>
                    </a:lnTo>
                    <a:lnTo>
                      <a:pt x="63" y="155"/>
                    </a:lnTo>
                    <a:lnTo>
                      <a:pt x="63" y="157"/>
                    </a:lnTo>
                    <a:lnTo>
                      <a:pt x="65" y="159"/>
                    </a:lnTo>
                    <a:lnTo>
                      <a:pt x="65" y="160"/>
                    </a:lnTo>
                    <a:lnTo>
                      <a:pt x="65" y="162"/>
                    </a:lnTo>
                    <a:lnTo>
                      <a:pt x="67" y="164"/>
                    </a:lnTo>
                    <a:lnTo>
                      <a:pt x="68" y="165"/>
                    </a:lnTo>
                    <a:lnTo>
                      <a:pt x="70" y="165"/>
                    </a:lnTo>
                    <a:lnTo>
                      <a:pt x="70" y="167"/>
                    </a:lnTo>
                    <a:lnTo>
                      <a:pt x="72" y="167"/>
                    </a:lnTo>
                    <a:lnTo>
                      <a:pt x="73" y="167"/>
                    </a:lnTo>
                    <a:lnTo>
                      <a:pt x="75" y="167"/>
                    </a:lnTo>
                    <a:lnTo>
                      <a:pt x="75" y="169"/>
                    </a:lnTo>
                    <a:lnTo>
                      <a:pt x="77" y="169"/>
                    </a:lnTo>
                    <a:lnTo>
                      <a:pt x="78" y="169"/>
                    </a:lnTo>
                    <a:lnTo>
                      <a:pt x="80" y="169"/>
                    </a:lnTo>
                    <a:lnTo>
                      <a:pt x="80" y="167"/>
                    </a:lnTo>
                    <a:lnTo>
                      <a:pt x="80" y="165"/>
                    </a:lnTo>
                    <a:lnTo>
                      <a:pt x="82" y="165"/>
                    </a:lnTo>
                    <a:lnTo>
                      <a:pt x="84" y="165"/>
                    </a:lnTo>
                    <a:lnTo>
                      <a:pt x="82" y="164"/>
                    </a:lnTo>
                    <a:lnTo>
                      <a:pt x="84" y="164"/>
                    </a:lnTo>
                    <a:lnTo>
                      <a:pt x="84" y="162"/>
                    </a:lnTo>
                    <a:lnTo>
                      <a:pt x="82" y="162"/>
                    </a:lnTo>
                    <a:lnTo>
                      <a:pt x="84" y="162"/>
                    </a:lnTo>
                    <a:lnTo>
                      <a:pt x="84" y="160"/>
                    </a:lnTo>
                    <a:lnTo>
                      <a:pt x="84" y="159"/>
                    </a:lnTo>
                    <a:lnTo>
                      <a:pt x="85" y="157"/>
                    </a:lnTo>
                    <a:lnTo>
                      <a:pt x="87" y="157"/>
                    </a:lnTo>
                    <a:lnTo>
                      <a:pt x="89" y="157"/>
                    </a:lnTo>
                    <a:lnTo>
                      <a:pt x="90" y="155"/>
                    </a:lnTo>
                    <a:lnTo>
                      <a:pt x="90" y="153"/>
                    </a:lnTo>
                    <a:lnTo>
                      <a:pt x="92" y="152"/>
                    </a:lnTo>
                    <a:lnTo>
                      <a:pt x="92" y="150"/>
                    </a:lnTo>
                    <a:lnTo>
                      <a:pt x="94" y="150"/>
                    </a:lnTo>
                    <a:lnTo>
                      <a:pt x="92" y="148"/>
                    </a:lnTo>
                    <a:lnTo>
                      <a:pt x="92" y="147"/>
                    </a:lnTo>
                    <a:lnTo>
                      <a:pt x="92" y="145"/>
                    </a:lnTo>
                    <a:lnTo>
                      <a:pt x="94" y="143"/>
                    </a:lnTo>
                    <a:lnTo>
                      <a:pt x="92" y="143"/>
                    </a:lnTo>
                    <a:lnTo>
                      <a:pt x="92" y="141"/>
                    </a:lnTo>
                    <a:lnTo>
                      <a:pt x="94" y="141"/>
                    </a:lnTo>
                    <a:lnTo>
                      <a:pt x="94" y="140"/>
                    </a:lnTo>
                    <a:lnTo>
                      <a:pt x="94" y="138"/>
                    </a:lnTo>
                    <a:lnTo>
                      <a:pt x="95" y="138"/>
                    </a:lnTo>
                    <a:lnTo>
                      <a:pt x="95" y="136"/>
                    </a:lnTo>
                    <a:lnTo>
                      <a:pt x="94" y="136"/>
                    </a:lnTo>
                    <a:lnTo>
                      <a:pt x="94" y="135"/>
                    </a:lnTo>
                    <a:lnTo>
                      <a:pt x="95" y="135"/>
                    </a:lnTo>
                    <a:lnTo>
                      <a:pt x="95" y="133"/>
                    </a:lnTo>
                    <a:lnTo>
                      <a:pt x="97" y="133"/>
                    </a:lnTo>
                    <a:lnTo>
                      <a:pt x="97" y="131"/>
                    </a:lnTo>
                    <a:lnTo>
                      <a:pt x="97" y="130"/>
                    </a:lnTo>
                    <a:lnTo>
                      <a:pt x="99" y="130"/>
                    </a:lnTo>
                    <a:lnTo>
                      <a:pt x="99" y="128"/>
                    </a:lnTo>
                    <a:lnTo>
                      <a:pt x="99" y="126"/>
                    </a:lnTo>
                    <a:lnTo>
                      <a:pt x="99" y="124"/>
                    </a:lnTo>
                    <a:lnTo>
                      <a:pt x="101" y="124"/>
                    </a:lnTo>
                    <a:lnTo>
                      <a:pt x="101" y="123"/>
                    </a:lnTo>
                    <a:lnTo>
                      <a:pt x="99" y="123"/>
                    </a:lnTo>
                    <a:lnTo>
                      <a:pt x="101" y="123"/>
                    </a:lnTo>
                    <a:lnTo>
                      <a:pt x="101" y="121"/>
                    </a:lnTo>
                    <a:lnTo>
                      <a:pt x="101" y="119"/>
                    </a:lnTo>
                    <a:lnTo>
                      <a:pt x="101" y="118"/>
                    </a:lnTo>
                    <a:lnTo>
                      <a:pt x="101" y="116"/>
                    </a:lnTo>
                    <a:lnTo>
                      <a:pt x="102" y="116"/>
                    </a:lnTo>
                    <a:lnTo>
                      <a:pt x="101" y="114"/>
                    </a:lnTo>
                    <a:lnTo>
                      <a:pt x="102" y="114"/>
                    </a:lnTo>
                    <a:lnTo>
                      <a:pt x="101" y="114"/>
                    </a:lnTo>
                    <a:lnTo>
                      <a:pt x="102" y="114"/>
                    </a:lnTo>
                    <a:lnTo>
                      <a:pt x="104" y="114"/>
                    </a:lnTo>
                    <a:lnTo>
                      <a:pt x="106" y="114"/>
                    </a:lnTo>
                    <a:lnTo>
                      <a:pt x="106" y="116"/>
                    </a:lnTo>
                    <a:lnTo>
                      <a:pt x="106" y="118"/>
                    </a:lnTo>
                    <a:lnTo>
                      <a:pt x="107" y="118"/>
                    </a:lnTo>
                    <a:lnTo>
                      <a:pt x="109" y="118"/>
                    </a:lnTo>
                    <a:lnTo>
                      <a:pt x="109" y="116"/>
                    </a:lnTo>
                    <a:lnTo>
                      <a:pt x="107" y="116"/>
                    </a:lnTo>
                    <a:lnTo>
                      <a:pt x="107" y="114"/>
                    </a:lnTo>
                    <a:lnTo>
                      <a:pt x="107" y="113"/>
                    </a:lnTo>
                    <a:lnTo>
                      <a:pt x="109" y="113"/>
                    </a:lnTo>
                    <a:lnTo>
                      <a:pt x="109" y="111"/>
                    </a:lnTo>
                    <a:lnTo>
                      <a:pt x="111" y="109"/>
                    </a:lnTo>
                    <a:lnTo>
                      <a:pt x="111" y="107"/>
                    </a:lnTo>
                    <a:lnTo>
                      <a:pt x="112" y="107"/>
                    </a:lnTo>
                    <a:lnTo>
                      <a:pt x="112" y="106"/>
                    </a:lnTo>
                    <a:lnTo>
                      <a:pt x="114" y="106"/>
                    </a:lnTo>
                    <a:lnTo>
                      <a:pt x="114" y="104"/>
                    </a:lnTo>
                    <a:lnTo>
                      <a:pt x="116" y="104"/>
                    </a:lnTo>
                    <a:lnTo>
                      <a:pt x="119" y="101"/>
                    </a:lnTo>
                    <a:lnTo>
                      <a:pt x="123" y="99"/>
                    </a:lnTo>
                    <a:lnTo>
                      <a:pt x="128" y="99"/>
                    </a:lnTo>
                    <a:lnTo>
                      <a:pt x="141" y="94"/>
                    </a:lnTo>
                    <a:lnTo>
                      <a:pt x="153" y="89"/>
                    </a:lnTo>
                    <a:lnTo>
                      <a:pt x="155" y="89"/>
                    </a:lnTo>
                    <a:lnTo>
                      <a:pt x="157" y="89"/>
                    </a:lnTo>
                    <a:lnTo>
                      <a:pt x="158" y="87"/>
                    </a:lnTo>
                    <a:lnTo>
                      <a:pt x="160" y="87"/>
                    </a:lnTo>
                    <a:lnTo>
                      <a:pt x="162" y="85"/>
                    </a:lnTo>
                    <a:lnTo>
                      <a:pt x="163" y="85"/>
                    </a:lnTo>
                    <a:lnTo>
                      <a:pt x="165" y="82"/>
                    </a:lnTo>
                    <a:lnTo>
                      <a:pt x="167" y="80"/>
                    </a:lnTo>
                    <a:lnTo>
                      <a:pt x="170" y="79"/>
                    </a:lnTo>
                    <a:lnTo>
                      <a:pt x="175" y="75"/>
                    </a:lnTo>
                    <a:lnTo>
                      <a:pt x="179" y="73"/>
                    </a:lnTo>
                    <a:lnTo>
                      <a:pt x="179" y="72"/>
                    </a:lnTo>
                    <a:lnTo>
                      <a:pt x="180" y="70"/>
                    </a:lnTo>
                    <a:lnTo>
                      <a:pt x="184" y="65"/>
                    </a:lnTo>
                    <a:lnTo>
                      <a:pt x="187" y="62"/>
                    </a:lnTo>
                    <a:lnTo>
                      <a:pt x="187" y="60"/>
                    </a:lnTo>
                    <a:lnTo>
                      <a:pt x="191" y="58"/>
                    </a:lnTo>
                    <a:lnTo>
                      <a:pt x="192" y="55"/>
                    </a:lnTo>
                    <a:lnTo>
                      <a:pt x="194" y="53"/>
                    </a:lnTo>
                    <a:lnTo>
                      <a:pt x="194" y="51"/>
                    </a:lnTo>
                    <a:lnTo>
                      <a:pt x="196" y="53"/>
                    </a:lnTo>
                    <a:lnTo>
                      <a:pt x="196" y="51"/>
                    </a:lnTo>
                    <a:lnTo>
                      <a:pt x="196" y="50"/>
                    </a:lnTo>
                    <a:lnTo>
                      <a:pt x="197" y="48"/>
                    </a:lnTo>
                    <a:lnTo>
                      <a:pt x="199" y="41"/>
                    </a:lnTo>
                    <a:lnTo>
                      <a:pt x="199" y="39"/>
                    </a:lnTo>
                    <a:lnTo>
                      <a:pt x="201" y="33"/>
                    </a:lnTo>
                    <a:lnTo>
                      <a:pt x="201" y="31"/>
                    </a:lnTo>
                    <a:lnTo>
                      <a:pt x="203" y="31"/>
                    </a:lnTo>
                    <a:lnTo>
                      <a:pt x="203" y="33"/>
                    </a:lnTo>
                    <a:lnTo>
                      <a:pt x="204" y="33"/>
                    </a:lnTo>
                    <a:lnTo>
                      <a:pt x="206" y="33"/>
                    </a:lnTo>
                    <a:lnTo>
                      <a:pt x="208" y="33"/>
                    </a:lnTo>
                    <a:lnTo>
                      <a:pt x="206" y="31"/>
                    </a:lnTo>
                    <a:lnTo>
                      <a:pt x="208" y="31"/>
                    </a:lnTo>
                    <a:lnTo>
                      <a:pt x="208" y="29"/>
                    </a:lnTo>
                    <a:lnTo>
                      <a:pt x="206" y="29"/>
                    </a:lnTo>
                    <a:lnTo>
                      <a:pt x="206" y="28"/>
                    </a:lnTo>
                    <a:lnTo>
                      <a:pt x="206" y="26"/>
                    </a:lnTo>
                    <a:lnTo>
                      <a:pt x="206" y="24"/>
                    </a:lnTo>
                    <a:lnTo>
                      <a:pt x="206" y="22"/>
                    </a:lnTo>
                    <a:lnTo>
                      <a:pt x="206" y="21"/>
                    </a:lnTo>
                    <a:lnTo>
                      <a:pt x="206" y="22"/>
                    </a:lnTo>
                    <a:lnTo>
                      <a:pt x="206" y="21"/>
                    </a:lnTo>
                    <a:lnTo>
                      <a:pt x="206" y="22"/>
                    </a:lnTo>
                    <a:lnTo>
                      <a:pt x="208" y="21"/>
                    </a:lnTo>
                    <a:lnTo>
                      <a:pt x="206" y="21"/>
                    </a:lnTo>
                    <a:lnTo>
                      <a:pt x="206" y="19"/>
                    </a:lnTo>
                    <a:lnTo>
                      <a:pt x="208" y="19"/>
                    </a:lnTo>
                    <a:lnTo>
                      <a:pt x="206" y="19"/>
                    </a:lnTo>
                    <a:lnTo>
                      <a:pt x="206" y="17"/>
                    </a:lnTo>
                    <a:lnTo>
                      <a:pt x="204" y="17"/>
                    </a:lnTo>
                    <a:lnTo>
                      <a:pt x="204" y="16"/>
                    </a:lnTo>
                    <a:lnTo>
                      <a:pt x="203" y="16"/>
                    </a:lnTo>
                    <a:lnTo>
                      <a:pt x="201" y="14"/>
                    </a:lnTo>
                    <a:lnTo>
                      <a:pt x="201" y="12"/>
                    </a:lnTo>
                    <a:lnTo>
                      <a:pt x="199" y="12"/>
                    </a:lnTo>
                    <a:lnTo>
                      <a:pt x="199" y="11"/>
                    </a:lnTo>
                    <a:lnTo>
                      <a:pt x="199" y="9"/>
                    </a:lnTo>
                    <a:lnTo>
                      <a:pt x="197" y="9"/>
                    </a:lnTo>
                    <a:lnTo>
                      <a:pt x="199" y="9"/>
                    </a:lnTo>
                    <a:lnTo>
                      <a:pt x="197" y="7"/>
                    </a:lnTo>
                    <a:lnTo>
                      <a:pt x="196" y="7"/>
                    </a:lnTo>
                    <a:lnTo>
                      <a:pt x="196" y="5"/>
                    </a:lnTo>
                    <a:lnTo>
                      <a:pt x="194" y="5"/>
                    </a:lnTo>
                    <a:lnTo>
                      <a:pt x="194" y="4"/>
                    </a:lnTo>
                    <a:lnTo>
                      <a:pt x="196" y="4"/>
                    </a:lnTo>
                    <a:lnTo>
                      <a:pt x="197" y="4"/>
                    </a:lnTo>
                    <a:lnTo>
                      <a:pt x="199" y="4"/>
                    </a:lnTo>
                    <a:lnTo>
                      <a:pt x="199" y="5"/>
                    </a:lnTo>
                    <a:lnTo>
                      <a:pt x="201" y="5"/>
                    </a:lnTo>
                    <a:lnTo>
                      <a:pt x="203" y="5"/>
                    </a:lnTo>
                    <a:lnTo>
                      <a:pt x="204" y="5"/>
                    </a:lnTo>
                    <a:lnTo>
                      <a:pt x="206" y="4"/>
                    </a:lnTo>
                    <a:lnTo>
                      <a:pt x="208" y="2"/>
                    </a:lnTo>
                    <a:lnTo>
                      <a:pt x="208" y="0"/>
                    </a:lnTo>
                    <a:lnTo>
                      <a:pt x="208" y="2"/>
                    </a:lnTo>
                    <a:lnTo>
                      <a:pt x="209" y="2"/>
                    </a:lnTo>
                    <a:lnTo>
                      <a:pt x="211" y="2"/>
                    </a:lnTo>
                    <a:lnTo>
                      <a:pt x="213" y="4"/>
                    </a:lnTo>
                    <a:lnTo>
                      <a:pt x="214" y="5"/>
                    </a:lnTo>
                    <a:lnTo>
                      <a:pt x="216" y="5"/>
                    </a:lnTo>
                    <a:lnTo>
                      <a:pt x="216" y="7"/>
                    </a:lnTo>
                    <a:lnTo>
                      <a:pt x="218" y="7"/>
                    </a:lnTo>
                    <a:lnTo>
                      <a:pt x="218" y="9"/>
                    </a:lnTo>
                    <a:lnTo>
                      <a:pt x="220" y="7"/>
                    </a:lnTo>
                    <a:lnTo>
                      <a:pt x="221" y="7"/>
                    </a:lnTo>
                    <a:lnTo>
                      <a:pt x="221" y="5"/>
                    </a:lnTo>
                    <a:lnTo>
                      <a:pt x="221" y="7"/>
                    </a:lnTo>
                    <a:lnTo>
                      <a:pt x="223" y="7"/>
                    </a:lnTo>
                    <a:lnTo>
                      <a:pt x="223" y="9"/>
                    </a:lnTo>
                    <a:lnTo>
                      <a:pt x="223" y="11"/>
                    </a:lnTo>
                    <a:lnTo>
                      <a:pt x="223" y="12"/>
                    </a:lnTo>
                    <a:lnTo>
                      <a:pt x="225" y="12"/>
                    </a:lnTo>
                    <a:lnTo>
                      <a:pt x="225" y="11"/>
                    </a:lnTo>
                    <a:lnTo>
                      <a:pt x="225" y="12"/>
                    </a:lnTo>
                    <a:lnTo>
                      <a:pt x="226" y="12"/>
                    </a:lnTo>
                    <a:lnTo>
                      <a:pt x="228" y="12"/>
                    </a:lnTo>
                    <a:lnTo>
                      <a:pt x="230" y="14"/>
                    </a:lnTo>
                    <a:lnTo>
                      <a:pt x="230" y="16"/>
                    </a:lnTo>
                    <a:lnTo>
                      <a:pt x="231" y="16"/>
                    </a:lnTo>
                    <a:lnTo>
                      <a:pt x="233" y="16"/>
                    </a:lnTo>
                    <a:lnTo>
                      <a:pt x="233" y="17"/>
                    </a:lnTo>
                    <a:lnTo>
                      <a:pt x="235" y="17"/>
                    </a:lnTo>
                    <a:lnTo>
                      <a:pt x="233" y="17"/>
                    </a:lnTo>
                    <a:lnTo>
                      <a:pt x="233" y="19"/>
                    </a:lnTo>
                    <a:lnTo>
                      <a:pt x="235" y="19"/>
                    </a:lnTo>
                    <a:lnTo>
                      <a:pt x="235" y="17"/>
                    </a:lnTo>
                    <a:lnTo>
                      <a:pt x="235" y="19"/>
                    </a:lnTo>
                    <a:lnTo>
                      <a:pt x="235" y="21"/>
                    </a:lnTo>
                    <a:lnTo>
                      <a:pt x="237" y="21"/>
                    </a:lnTo>
                    <a:lnTo>
                      <a:pt x="235" y="22"/>
                    </a:lnTo>
                    <a:lnTo>
                      <a:pt x="237" y="22"/>
                    </a:lnTo>
                    <a:lnTo>
                      <a:pt x="237" y="24"/>
                    </a:lnTo>
                    <a:lnTo>
                      <a:pt x="235" y="24"/>
                    </a:lnTo>
                    <a:lnTo>
                      <a:pt x="237" y="24"/>
                    </a:lnTo>
                    <a:lnTo>
                      <a:pt x="237" y="26"/>
                    </a:lnTo>
                    <a:lnTo>
                      <a:pt x="238" y="26"/>
                    </a:lnTo>
                    <a:lnTo>
                      <a:pt x="238" y="28"/>
                    </a:lnTo>
                    <a:lnTo>
                      <a:pt x="240" y="28"/>
                    </a:lnTo>
                    <a:lnTo>
                      <a:pt x="238" y="29"/>
                    </a:lnTo>
                    <a:lnTo>
                      <a:pt x="240" y="29"/>
                    </a:lnTo>
                    <a:lnTo>
                      <a:pt x="238" y="29"/>
                    </a:lnTo>
                    <a:lnTo>
                      <a:pt x="238" y="31"/>
                    </a:lnTo>
                    <a:lnTo>
                      <a:pt x="238" y="29"/>
                    </a:lnTo>
                    <a:lnTo>
                      <a:pt x="238" y="31"/>
                    </a:lnTo>
                    <a:lnTo>
                      <a:pt x="240" y="31"/>
                    </a:lnTo>
                    <a:lnTo>
                      <a:pt x="240" y="33"/>
                    </a:lnTo>
                    <a:lnTo>
                      <a:pt x="238" y="33"/>
                    </a:lnTo>
                    <a:lnTo>
                      <a:pt x="240" y="33"/>
                    </a:lnTo>
                    <a:lnTo>
                      <a:pt x="240" y="34"/>
                    </a:lnTo>
                    <a:lnTo>
                      <a:pt x="242" y="34"/>
                    </a:lnTo>
                    <a:lnTo>
                      <a:pt x="243" y="34"/>
                    </a:lnTo>
                    <a:lnTo>
                      <a:pt x="245" y="34"/>
                    </a:lnTo>
                    <a:lnTo>
                      <a:pt x="245" y="36"/>
                    </a:lnTo>
                    <a:lnTo>
                      <a:pt x="247" y="36"/>
                    </a:lnTo>
                    <a:lnTo>
                      <a:pt x="247" y="34"/>
                    </a:lnTo>
                    <a:lnTo>
                      <a:pt x="248" y="34"/>
                    </a:lnTo>
                    <a:lnTo>
                      <a:pt x="247" y="34"/>
                    </a:lnTo>
                    <a:lnTo>
                      <a:pt x="247" y="36"/>
                    </a:lnTo>
                    <a:lnTo>
                      <a:pt x="248" y="36"/>
                    </a:lnTo>
                    <a:lnTo>
                      <a:pt x="248" y="38"/>
                    </a:lnTo>
                    <a:lnTo>
                      <a:pt x="248" y="36"/>
                    </a:lnTo>
                    <a:lnTo>
                      <a:pt x="250" y="36"/>
                    </a:lnTo>
                    <a:lnTo>
                      <a:pt x="250" y="38"/>
                    </a:lnTo>
                    <a:lnTo>
                      <a:pt x="252" y="38"/>
                    </a:lnTo>
                    <a:lnTo>
                      <a:pt x="252" y="39"/>
                    </a:lnTo>
                    <a:lnTo>
                      <a:pt x="252" y="41"/>
                    </a:lnTo>
                    <a:lnTo>
                      <a:pt x="254" y="41"/>
                    </a:lnTo>
                    <a:lnTo>
                      <a:pt x="255" y="43"/>
                    </a:lnTo>
                    <a:lnTo>
                      <a:pt x="255" y="41"/>
                    </a:lnTo>
                    <a:lnTo>
                      <a:pt x="255" y="43"/>
                    </a:lnTo>
                    <a:lnTo>
                      <a:pt x="257" y="43"/>
                    </a:lnTo>
                    <a:lnTo>
                      <a:pt x="257" y="41"/>
                    </a:lnTo>
                    <a:lnTo>
                      <a:pt x="259" y="43"/>
                    </a:lnTo>
                    <a:lnTo>
                      <a:pt x="259" y="41"/>
                    </a:lnTo>
                    <a:lnTo>
                      <a:pt x="260" y="43"/>
                    </a:lnTo>
                    <a:lnTo>
                      <a:pt x="262" y="45"/>
                    </a:lnTo>
                    <a:lnTo>
                      <a:pt x="262" y="46"/>
                    </a:lnTo>
                    <a:lnTo>
                      <a:pt x="264" y="46"/>
                    </a:lnTo>
                    <a:lnTo>
                      <a:pt x="264" y="48"/>
                    </a:lnTo>
                    <a:lnTo>
                      <a:pt x="262" y="48"/>
                    </a:lnTo>
                    <a:lnTo>
                      <a:pt x="264" y="48"/>
                    </a:lnTo>
                    <a:lnTo>
                      <a:pt x="264" y="50"/>
                    </a:lnTo>
                    <a:lnTo>
                      <a:pt x="265" y="50"/>
                    </a:lnTo>
                    <a:lnTo>
                      <a:pt x="265" y="51"/>
                    </a:lnTo>
                    <a:lnTo>
                      <a:pt x="265" y="53"/>
                    </a:lnTo>
                    <a:lnTo>
                      <a:pt x="267" y="53"/>
                    </a:lnTo>
                    <a:lnTo>
                      <a:pt x="265" y="53"/>
                    </a:lnTo>
                    <a:lnTo>
                      <a:pt x="265" y="55"/>
                    </a:lnTo>
                    <a:lnTo>
                      <a:pt x="265" y="56"/>
                    </a:lnTo>
                    <a:lnTo>
                      <a:pt x="264" y="56"/>
                    </a:lnTo>
                    <a:lnTo>
                      <a:pt x="264" y="58"/>
                    </a:lnTo>
                    <a:lnTo>
                      <a:pt x="265" y="58"/>
                    </a:lnTo>
                    <a:lnTo>
                      <a:pt x="267" y="58"/>
                    </a:lnTo>
                    <a:lnTo>
                      <a:pt x="267" y="60"/>
                    </a:lnTo>
                    <a:lnTo>
                      <a:pt x="269" y="60"/>
                    </a:lnTo>
                    <a:lnTo>
                      <a:pt x="271" y="60"/>
                    </a:lnTo>
                    <a:lnTo>
                      <a:pt x="271" y="62"/>
                    </a:lnTo>
                    <a:lnTo>
                      <a:pt x="272" y="62"/>
                    </a:lnTo>
                    <a:lnTo>
                      <a:pt x="272" y="60"/>
                    </a:lnTo>
                    <a:lnTo>
                      <a:pt x="274" y="60"/>
                    </a:lnTo>
                    <a:lnTo>
                      <a:pt x="274" y="62"/>
                    </a:lnTo>
                    <a:lnTo>
                      <a:pt x="274" y="60"/>
                    </a:lnTo>
                    <a:lnTo>
                      <a:pt x="274" y="58"/>
                    </a:lnTo>
                    <a:lnTo>
                      <a:pt x="276" y="60"/>
                    </a:lnTo>
                    <a:lnTo>
                      <a:pt x="277" y="62"/>
                    </a:lnTo>
                    <a:lnTo>
                      <a:pt x="277" y="63"/>
                    </a:lnTo>
                    <a:lnTo>
                      <a:pt x="279" y="63"/>
                    </a:lnTo>
                    <a:lnTo>
                      <a:pt x="277" y="65"/>
                    </a:lnTo>
                    <a:lnTo>
                      <a:pt x="277" y="67"/>
                    </a:lnTo>
                    <a:lnTo>
                      <a:pt x="277" y="68"/>
                    </a:lnTo>
                    <a:lnTo>
                      <a:pt x="279" y="68"/>
                    </a:lnTo>
                    <a:lnTo>
                      <a:pt x="279" y="70"/>
                    </a:lnTo>
                    <a:lnTo>
                      <a:pt x="279" y="72"/>
                    </a:lnTo>
                    <a:lnTo>
                      <a:pt x="277" y="72"/>
                    </a:lnTo>
                    <a:lnTo>
                      <a:pt x="277" y="73"/>
                    </a:lnTo>
                    <a:lnTo>
                      <a:pt x="276" y="73"/>
                    </a:lnTo>
                    <a:lnTo>
                      <a:pt x="276" y="75"/>
                    </a:lnTo>
                    <a:lnTo>
                      <a:pt x="277" y="77"/>
                    </a:lnTo>
                    <a:lnTo>
                      <a:pt x="277" y="79"/>
                    </a:lnTo>
                    <a:lnTo>
                      <a:pt x="279" y="79"/>
                    </a:lnTo>
                    <a:lnTo>
                      <a:pt x="279" y="80"/>
                    </a:lnTo>
                    <a:lnTo>
                      <a:pt x="281" y="79"/>
                    </a:lnTo>
                    <a:lnTo>
                      <a:pt x="282" y="80"/>
                    </a:lnTo>
                    <a:lnTo>
                      <a:pt x="282" y="79"/>
                    </a:lnTo>
                    <a:lnTo>
                      <a:pt x="282" y="80"/>
                    </a:lnTo>
                    <a:lnTo>
                      <a:pt x="284" y="80"/>
                    </a:lnTo>
                    <a:lnTo>
                      <a:pt x="284" y="82"/>
                    </a:lnTo>
                    <a:lnTo>
                      <a:pt x="286" y="82"/>
                    </a:lnTo>
                    <a:lnTo>
                      <a:pt x="288" y="82"/>
                    </a:lnTo>
                    <a:lnTo>
                      <a:pt x="289" y="82"/>
                    </a:lnTo>
                    <a:lnTo>
                      <a:pt x="289" y="80"/>
                    </a:lnTo>
                    <a:lnTo>
                      <a:pt x="291" y="80"/>
                    </a:lnTo>
                    <a:lnTo>
                      <a:pt x="291" y="82"/>
                    </a:lnTo>
                    <a:lnTo>
                      <a:pt x="291" y="80"/>
                    </a:lnTo>
                    <a:lnTo>
                      <a:pt x="293" y="82"/>
                    </a:lnTo>
                    <a:lnTo>
                      <a:pt x="294" y="82"/>
                    </a:lnTo>
                    <a:lnTo>
                      <a:pt x="294" y="80"/>
                    </a:lnTo>
                    <a:lnTo>
                      <a:pt x="296" y="80"/>
                    </a:lnTo>
                    <a:lnTo>
                      <a:pt x="298" y="80"/>
                    </a:lnTo>
                    <a:lnTo>
                      <a:pt x="298" y="82"/>
                    </a:lnTo>
                    <a:lnTo>
                      <a:pt x="299" y="82"/>
                    </a:lnTo>
                    <a:lnTo>
                      <a:pt x="301" y="82"/>
                    </a:lnTo>
                    <a:lnTo>
                      <a:pt x="303" y="82"/>
                    </a:lnTo>
                    <a:lnTo>
                      <a:pt x="303" y="84"/>
                    </a:lnTo>
                    <a:lnTo>
                      <a:pt x="305" y="84"/>
                    </a:lnTo>
                    <a:lnTo>
                      <a:pt x="306" y="84"/>
                    </a:lnTo>
                    <a:lnTo>
                      <a:pt x="306" y="82"/>
                    </a:lnTo>
                    <a:lnTo>
                      <a:pt x="306" y="84"/>
                    </a:lnTo>
                    <a:lnTo>
                      <a:pt x="306" y="82"/>
                    </a:lnTo>
                    <a:lnTo>
                      <a:pt x="308" y="82"/>
                    </a:lnTo>
                    <a:lnTo>
                      <a:pt x="310" y="82"/>
                    </a:lnTo>
                    <a:lnTo>
                      <a:pt x="310" y="84"/>
                    </a:lnTo>
                    <a:lnTo>
                      <a:pt x="311" y="84"/>
                    </a:lnTo>
                    <a:lnTo>
                      <a:pt x="311" y="82"/>
                    </a:lnTo>
                    <a:lnTo>
                      <a:pt x="311" y="80"/>
                    </a:lnTo>
                    <a:lnTo>
                      <a:pt x="313" y="80"/>
                    </a:lnTo>
                    <a:lnTo>
                      <a:pt x="313" y="79"/>
                    </a:lnTo>
                    <a:lnTo>
                      <a:pt x="315" y="79"/>
                    </a:lnTo>
                    <a:lnTo>
                      <a:pt x="315" y="80"/>
                    </a:lnTo>
                    <a:lnTo>
                      <a:pt x="316" y="80"/>
                    </a:lnTo>
                    <a:lnTo>
                      <a:pt x="318" y="80"/>
                    </a:lnTo>
                    <a:lnTo>
                      <a:pt x="318" y="79"/>
                    </a:lnTo>
                    <a:lnTo>
                      <a:pt x="320" y="79"/>
                    </a:lnTo>
                    <a:lnTo>
                      <a:pt x="320" y="77"/>
                    </a:lnTo>
                    <a:lnTo>
                      <a:pt x="320" y="75"/>
                    </a:lnTo>
                    <a:lnTo>
                      <a:pt x="322" y="75"/>
                    </a:lnTo>
                    <a:lnTo>
                      <a:pt x="322" y="73"/>
                    </a:lnTo>
                    <a:lnTo>
                      <a:pt x="322" y="75"/>
                    </a:lnTo>
                    <a:lnTo>
                      <a:pt x="323" y="73"/>
                    </a:lnTo>
                    <a:lnTo>
                      <a:pt x="325" y="72"/>
                    </a:lnTo>
                    <a:lnTo>
                      <a:pt x="325" y="73"/>
                    </a:lnTo>
                    <a:lnTo>
                      <a:pt x="325" y="75"/>
                    </a:lnTo>
                    <a:lnTo>
                      <a:pt x="327" y="75"/>
                    </a:lnTo>
                    <a:lnTo>
                      <a:pt x="327" y="73"/>
                    </a:lnTo>
                    <a:lnTo>
                      <a:pt x="328" y="73"/>
                    </a:lnTo>
                    <a:lnTo>
                      <a:pt x="328" y="75"/>
                    </a:lnTo>
                    <a:lnTo>
                      <a:pt x="330" y="75"/>
                    </a:lnTo>
                    <a:lnTo>
                      <a:pt x="332" y="75"/>
                    </a:lnTo>
                    <a:lnTo>
                      <a:pt x="332" y="77"/>
                    </a:lnTo>
                    <a:lnTo>
                      <a:pt x="332" y="79"/>
                    </a:lnTo>
                    <a:lnTo>
                      <a:pt x="333" y="79"/>
                    </a:lnTo>
                    <a:lnTo>
                      <a:pt x="333" y="77"/>
                    </a:lnTo>
                    <a:lnTo>
                      <a:pt x="335" y="77"/>
                    </a:lnTo>
                    <a:lnTo>
                      <a:pt x="335" y="79"/>
                    </a:lnTo>
                    <a:lnTo>
                      <a:pt x="337" y="79"/>
                    </a:lnTo>
                    <a:lnTo>
                      <a:pt x="337" y="80"/>
                    </a:lnTo>
                    <a:lnTo>
                      <a:pt x="335" y="80"/>
                    </a:lnTo>
                    <a:lnTo>
                      <a:pt x="337" y="82"/>
                    </a:lnTo>
                    <a:lnTo>
                      <a:pt x="337" y="80"/>
                    </a:lnTo>
                    <a:lnTo>
                      <a:pt x="339" y="80"/>
                    </a:lnTo>
                    <a:lnTo>
                      <a:pt x="339" y="79"/>
                    </a:lnTo>
                    <a:lnTo>
                      <a:pt x="340" y="79"/>
                    </a:lnTo>
                    <a:lnTo>
                      <a:pt x="340" y="80"/>
                    </a:lnTo>
                    <a:lnTo>
                      <a:pt x="340" y="79"/>
                    </a:lnTo>
                    <a:lnTo>
                      <a:pt x="342" y="79"/>
                    </a:lnTo>
                    <a:lnTo>
                      <a:pt x="342" y="80"/>
                    </a:lnTo>
                    <a:lnTo>
                      <a:pt x="344" y="80"/>
                    </a:lnTo>
                    <a:lnTo>
                      <a:pt x="344" y="79"/>
                    </a:lnTo>
                    <a:lnTo>
                      <a:pt x="345" y="79"/>
                    </a:lnTo>
                    <a:lnTo>
                      <a:pt x="345" y="77"/>
                    </a:lnTo>
                    <a:lnTo>
                      <a:pt x="347" y="77"/>
                    </a:lnTo>
                    <a:lnTo>
                      <a:pt x="349" y="77"/>
                    </a:lnTo>
                    <a:lnTo>
                      <a:pt x="350" y="77"/>
                    </a:lnTo>
                    <a:lnTo>
                      <a:pt x="349" y="77"/>
                    </a:lnTo>
                    <a:lnTo>
                      <a:pt x="349" y="75"/>
                    </a:lnTo>
                    <a:lnTo>
                      <a:pt x="350" y="75"/>
                    </a:lnTo>
                    <a:lnTo>
                      <a:pt x="352" y="75"/>
                    </a:lnTo>
                    <a:lnTo>
                      <a:pt x="354" y="75"/>
                    </a:lnTo>
                    <a:lnTo>
                      <a:pt x="354" y="77"/>
                    </a:lnTo>
                    <a:lnTo>
                      <a:pt x="356" y="77"/>
                    </a:lnTo>
                    <a:lnTo>
                      <a:pt x="357" y="77"/>
                    </a:lnTo>
                    <a:lnTo>
                      <a:pt x="357" y="79"/>
                    </a:lnTo>
                    <a:lnTo>
                      <a:pt x="359" y="79"/>
                    </a:lnTo>
                    <a:lnTo>
                      <a:pt x="361" y="79"/>
                    </a:lnTo>
                    <a:lnTo>
                      <a:pt x="361" y="80"/>
                    </a:lnTo>
                    <a:lnTo>
                      <a:pt x="361" y="82"/>
                    </a:lnTo>
                    <a:lnTo>
                      <a:pt x="362" y="80"/>
                    </a:lnTo>
                    <a:lnTo>
                      <a:pt x="362" y="82"/>
                    </a:lnTo>
                    <a:lnTo>
                      <a:pt x="362" y="84"/>
                    </a:lnTo>
                    <a:lnTo>
                      <a:pt x="364" y="84"/>
                    </a:lnTo>
                    <a:lnTo>
                      <a:pt x="364" y="82"/>
                    </a:lnTo>
                    <a:lnTo>
                      <a:pt x="366" y="82"/>
                    </a:lnTo>
                    <a:lnTo>
                      <a:pt x="366" y="84"/>
                    </a:lnTo>
                    <a:lnTo>
                      <a:pt x="367" y="84"/>
                    </a:lnTo>
                    <a:lnTo>
                      <a:pt x="367" y="82"/>
                    </a:lnTo>
                    <a:lnTo>
                      <a:pt x="367" y="84"/>
                    </a:lnTo>
                    <a:lnTo>
                      <a:pt x="367" y="85"/>
                    </a:lnTo>
                    <a:lnTo>
                      <a:pt x="369" y="85"/>
                    </a:lnTo>
                    <a:lnTo>
                      <a:pt x="371" y="84"/>
                    </a:lnTo>
                    <a:lnTo>
                      <a:pt x="373" y="84"/>
                    </a:lnTo>
                    <a:lnTo>
                      <a:pt x="373" y="85"/>
                    </a:lnTo>
                    <a:lnTo>
                      <a:pt x="371" y="85"/>
                    </a:lnTo>
                    <a:lnTo>
                      <a:pt x="371" y="87"/>
                    </a:lnTo>
                    <a:lnTo>
                      <a:pt x="373" y="87"/>
                    </a:lnTo>
                    <a:lnTo>
                      <a:pt x="374" y="85"/>
                    </a:lnTo>
                    <a:lnTo>
                      <a:pt x="376" y="87"/>
                    </a:lnTo>
                    <a:lnTo>
                      <a:pt x="376" y="89"/>
                    </a:lnTo>
                    <a:lnTo>
                      <a:pt x="376" y="90"/>
                    </a:lnTo>
                    <a:lnTo>
                      <a:pt x="376" y="89"/>
                    </a:lnTo>
                    <a:lnTo>
                      <a:pt x="378" y="89"/>
                    </a:lnTo>
                    <a:lnTo>
                      <a:pt x="378" y="90"/>
                    </a:lnTo>
                    <a:lnTo>
                      <a:pt x="379" y="90"/>
                    </a:lnTo>
                    <a:lnTo>
                      <a:pt x="381" y="89"/>
                    </a:lnTo>
                    <a:lnTo>
                      <a:pt x="381" y="90"/>
                    </a:lnTo>
                    <a:lnTo>
                      <a:pt x="381" y="92"/>
                    </a:lnTo>
                    <a:lnTo>
                      <a:pt x="381" y="94"/>
                    </a:lnTo>
                    <a:lnTo>
                      <a:pt x="379" y="97"/>
                    </a:lnTo>
                    <a:lnTo>
                      <a:pt x="378" y="99"/>
                    </a:lnTo>
                    <a:lnTo>
                      <a:pt x="374" y="104"/>
                    </a:lnTo>
                    <a:lnTo>
                      <a:pt x="373" y="106"/>
                    </a:lnTo>
                    <a:lnTo>
                      <a:pt x="373" y="107"/>
                    </a:lnTo>
                    <a:lnTo>
                      <a:pt x="371" y="109"/>
                    </a:lnTo>
                    <a:lnTo>
                      <a:pt x="369" y="113"/>
                    </a:lnTo>
                    <a:lnTo>
                      <a:pt x="367" y="116"/>
                    </a:lnTo>
                    <a:lnTo>
                      <a:pt x="366" y="116"/>
                    </a:lnTo>
                    <a:lnTo>
                      <a:pt x="364" y="119"/>
                    </a:lnTo>
                    <a:lnTo>
                      <a:pt x="362" y="124"/>
                    </a:lnTo>
                    <a:lnTo>
                      <a:pt x="361" y="124"/>
                    </a:lnTo>
                    <a:lnTo>
                      <a:pt x="359" y="128"/>
                    </a:lnTo>
                    <a:lnTo>
                      <a:pt x="361" y="128"/>
                    </a:lnTo>
                    <a:lnTo>
                      <a:pt x="361" y="130"/>
                    </a:lnTo>
                    <a:lnTo>
                      <a:pt x="362" y="130"/>
                    </a:lnTo>
                    <a:lnTo>
                      <a:pt x="364" y="130"/>
                    </a:lnTo>
                    <a:lnTo>
                      <a:pt x="366" y="131"/>
                    </a:lnTo>
                    <a:lnTo>
                      <a:pt x="367" y="131"/>
                    </a:lnTo>
                    <a:lnTo>
                      <a:pt x="367" y="130"/>
                    </a:lnTo>
                    <a:lnTo>
                      <a:pt x="369" y="130"/>
                    </a:lnTo>
                    <a:lnTo>
                      <a:pt x="371" y="130"/>
                    </a:lnTo>
                    <a:lnTo>
                      <a:pt x="371" y="128"/>
                    </a:lnTo>
                    <a:lnTo>
                      <a:pt x="373" y="128"/>
                    </a:lnTo>
                    <a:lnTo>
                      <a:pt x="373" y="130"/>
                    </a:lnTo>
                    <a:lnTo>
                      <a:pt x="374" y="130"/>
                    </a:lnTo>
                    <a:lnTo>
                      <a:pt x="374" y="131"/>
                    </a:lnTo>
                    <a:lnTo>
                      <a:pt x="376" y="131"/>
                    </a:lnTo>
                    <a:lnTo>
                      <a:pt x="376" y="133"/>
                    </a:lnTo>
                    <a:lnTo>
                      <a:pt x="378" y="133"/>
                    </a:lnTo>
                    <a:lnTo>
                      <a:pt x="378" y="135"/>
                    </a:lnTo>
                    <a:lnTo>
                      <a:pt x="378" y="136"/>
                    </a:lnTo>
                    <a:lnTo>
                      <a:pt x="379" y="136"/>
                    </a:lnTo>
                    <a:lnTo>
                      <a:pt x="381" y="138"/>
                    </a:lnTo>
                    <a:lnTo>
                      <a:pt x="381" y="140"/>
                    </a:lnTo>
                    <a:lnTo>
                      <a:pt x="383" y="140"/>
                    </a:lnTo>
                    <a:lnTo>
                      <a:pt x="383" y="141"/>
                    </a:lnTo>
                    <a:lnTo>
                      <a:pt x="384" y="141"/>
                    </a:lnTo>
                    <a:lnTo>
                      <a:pt x="384" y="143"/>
                    </a:lnTo>
                    <a:close/>
                    <a:moveTo>
                      <a:pt x="138" y="410"/>
                    </a:moveTo>
                    <a:lnTo>
                      <a:pt x="141" y="410"/>
                    </a:lnTo>
                    <a:lnTo>
                      <a:pt x="141" y="412"/>
                    </a:lnTo>
                    <a:lnTo>
                      <a:pt x="138" y="412"/>
                    </a:lnTo>
                    <a:lnTo>
                      <a:pt x="138" y="410"/>
                    </a:lnTo>
                    <a:close/>
                    <a:moveTo>
                      <a:pt x="16" y="216"/>
                    </a:moveTo>
                    <a:lnTo>
                      <a:pt x="17" y="216"/>
                    </a:lnTo>
                    <a:lnTo>
                      <a:pt x="17" y="220"/>
                    </a:lnTo>
                    <a:lnTo>
                      <a:pt x="16" y="220"/>
                    </a:lnTo>
                    <a:lnTo>
                      <a:pt x="16" y="216"/>
                    </a:lnTo>
                    <a:close/>
                    <a:moveTo>
                      <a:pt x="174" y="487"/>
                    </a:moveTo>
                    <a:lnTo>
                      <a:pt x="175" y="487"/>
                    </a:lnTo>
                    <a:lnTo>
                      <a:pt x="175" y="489"/>
                    </a:lnTo>
                    <a:lnTo>
                      <a:pt x="174" y="489"/>
                    </a:lnTo>
                    <a:lnTo>
                      <a:pt x="174" y="487"/>
                    </a:lnTo>
                    <a:close/>
                    <a:moveTo>
                      <a:pt x="165" y="472"/>
                    </a:moveTo>
                    <a:lnTo>
                      <a:pt x="167" y="472"/>
                    </a:lnTo>
                    <a:lnTo>
                      <a:pt x="167" y="473"/>
                    </a:lnTo>
                    <a:lnTo>
                      <a:pt x="165" y="473"/>
                    </a:lnTo>
                    <a:lnTo>
                      <a:pt x="165" y="472"/>
                    </a:lnTo>
                    <a:close/>
                    <a:moveTo>
                      <a:pt x="36" y="116"/>
                    </a:moveTo>
                    <a:lnTo>
                      <a:pt x="38" y="116"/>
                    </a:lnTo>
                    <a:lnTo>
                      <a:pt x="36" y="116"/>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4" name="Freeform 52">
                <a:extLst>
                  <a:ext uri="{FF2B5EF4-FFF2-40B4-BE49-F238E27FC236}">
                    <a16:creationId xmlns:a16="http://schemas.microsoft.com/office/drawing/2014/main" id="{1B66D035-6CE8-AE7C-64FF-C9A61FD464A2}"/>
                  </a:ext>
                </a:extLst>
              </p:cNvPr>
              <p:cNvSpPr>
                <a:spLocks noEditPoints="1"/>
              </p:cNvSpPr>
              <p:nvPr/>
            </p:nvSpPr>
            <p:spPr bwMode="auto">
              <a:xfrm>
                <a:off x="5769041" y="2812899"/>
                <a:ext cx="3526" cy="8224"/>
              </a:xfrm>
              <a:custGeom>
                <a:avLst/>
                <a:gdLst>
                  <a:gd name="T0" fmla="*/ 10 w 12"/>
                  <a:gd name="T1" fmla="*/ 0 h 28"/>
                  <a:gd name="T2" fmla="*/ 12 w 12"/>
                  <a:gd name="T3" fmla="*/ 2 h 28"/>
                  <a:gd name="T4" fmla="*/ 12 w 12"/>
                  <a:gd name="T5" fmla="*/ 4 h 28"/>
                  <a:gd name="T6" fmla="*/ 12 w 12"/>
                  <a:gd name="T7" fmla="*/ 6 h 28"/>
                  <a:gd name="T8" fmla="*/ 10 w 12"/>
                  <a:gd name="T9" fmla="*/ 6 h 28"/>
                  <a:gd name="T10" fmla="*/ 10 w 12"/>
                  <a:gd name="T11" fmla="*/ 7 h 28"/>
                  <a:gd name="T12" fmla="*/ 10 w 12"/>
                  <a:gd name="T13" fmla="*/ 9 h 28"/>
                  <a:gd name="T14" fmla="*/ 8 w 12"/>
                  <a:gd name="T15" fmla="*/ 9 h 28"/>
                  <a:gd name="T16" fmla="*/ 7 w 12"/>
                  <a:gd name="T17" fmla="*/ 9 h 28"/>
                  <a:gd name="T18" fmla="*/ 7 w 12"/>
                  <a:gd name="T19" fmla="*/ 7 h 28"/>
                  <a:gd name="T20" fmla="*/ 5 w 12"/>
                  <a:gd name="T21" fmla="*/ 6 h 28"/>
                  <a:gd name="T22" fmla="*/ 5 w 12"/>
                  <a:gd name="T23" fmla="*/ 4 h 28"/>
                  <a:gd name="T24" fmla="*/ 7 w 12"/>
                  <a:gd name="T25" fmla="*/ 4 h 28"/>
                  <a:gd name="T26" fmla="*/ 7 w 12"/>
                  <a:gd name="T27" fmla="*/ 2 h 28"/>
                  <a:gd name="T28" fmla="*/ 8 w 12"/>
                  <a:gd name="T29" fmla="*/ 0 h 28"/>
                  <a:gd name="T30" fmla="*/ 10 w 12"/>
                  <a:gd name="T31" fmla="*/ 0 h 28"/>
                  <a:gd name="T32" fmla="*/ 5 w 12"/>
                  <a:gd name="T33" fmla="*/ 11 h 28"/>
                  <a:gd name="T34" fmla="*/ 8 w 12"/>
                  <a:gd name="T35" fmla="*/ 11 h 28"/>
                  <a:gd name="T36" fmla="*/ 8 w 12"/>
                  <a:gd name="T37" fmla="*/ 14 h 28"/>
                  <a:gd name="T38" fmla="*/ 5 w 12"/>
                  <a:gd name="T39" fmla="*/ 14 h 28"/>
                  <a:gd name="T40" fmla="*/ 5 w 12"/>
                  <a:gd name="T41" fmla="*/ 11 h 28"/>
                  <a:gd name="T42" fmla="*/ 0 w 12"/>
                  <a:gd name="T43" fmla="*/ 26 h 28"/>
                  <a:gd name="T44" fmla="*/ 1 w 12"/>
                  <a:gd name="T45" fmla="*/ 26 h 28"/>
                  <a:gd name="T46" fmla="*/ 1 w 12"/>
                  <a:gd name="T47" fmla="*/ 28 h 28"/>
                  <a:gd name="T48" fmla="*/ 0 w 12"/>
                  <a:gd name="T49" fmla="*/ 28 h 28"/>
                  <a:gd name="T50" fmla="*/ 0 w 12"/>
                  <a:gd name="T51" fmla="*/ 26 h 28"/>
                  <a:gd name="T52" fmla="*/ 3 w 12"/>
                  <a:gd name="T53" fmla="*/ 23 h 28"/>
                  <a:gd name="T54" fmla="*/ 5 w 12"/>
                  <a:gd name="T55" fmla="*/ 23 h 28"/>
                  <a:gd name="T56" fmla="*/ 5 w 12"/>
                  <a:gd name="T57" fmla="*/ 24 h 28"/>
                  <a:gd name="T58" fmla="*/ 3 w 12"/>
                  <a:gd name="T59" fmla="*/ 24 h 28"/>
                  <a:gd name="T60" fmla="*/ 3 w 12"/>
                  <a:gd name="T61" fmla="*/ 23 h 28"/>
                  <a:gd name="T62" fmla="*/ 8 w 12"/>
                  <a:gd name="T63" fmla="*/ 17 h 28"/>
                  <a:gd name="T64" fmla="*/ 10 w 12"/>
                  <a:gd name="T65" fmla="*/ 17 h 28"/>
                  <a:gd name="T66" fmla="*/ 8 w 12"/>
                  <a:gd name="T67" fmla="*/ 17 h 28"/>
                  <a:gd name="T68" fmla="*/ 1 w 12"/>
                  <a:gd name="T69" fmla="*/ 24 h 28"/>
                  <a:gd name="T70" fmla="*/ 1 w 12"/>
                  <a:gd name="T71" fmla="*/ 26 h 28"/>
                  <a:gd name="T72" fmla="*/ 1 w 12"/>
                  <a:gd name="T73" fmla="*/ 24 h 28"/>
                  <a:gd name="T74" fmla="*/ 10 w 12"/>
                  <a:gd name="T75" fmla="*/ 14 h 28"/>
                  <a:gd name="T76" fmla="*/ 10 w 12"/>
                  <a:gd name="T77" fmla="*/ 16 h 28"/>
                  <a:gd name="T78" fmla="*/ 10 w 12"/>
                  <a:gd name="T79"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 h="28">
                    <a:moveTo>
                      <a:pt x="10" y="0"/>
                    </a:moveTo>
                    <a:lnTo>
                      <a:pt x="12" y="2"/>
                    </a:lnTo>
                    <a:lnTo>
                      <a:pt x="12" y="4"/>
                    </a:lnTo>
                    <a:lnTo>
                      <a:pt x="12" y="6"/>
                    </a:lnTo>
                    <a:lnTo>
                      <a:pt x="10" y="6"/>
                    </a:lnTo>
                    <a:lnTo>
                      <a:pt x="10" y="7"/>
                    </a:lnTo>
                    <a:lnTo>
                      <a:pt x="10" y="9"/>
                    </a:lnTo>
                    <a:lnTo>
                      <a:pt x="8" y="9"/>
                    </a:lnTo>
                    <a:lnTo>
                      <a:pt x="7" y="9"/>
                    </a:lnTo>
                    <a:lnTo>
                      <a:pt x="7" y="7"/>
                    </a:lnTo>
                    <a:lnTo>
                      <a:pt x="5" y="6"/>
                    </a:lnTo>
                    <a:lnTo>
                      <a:pt x="5" y="4"/>
                    </a:lnTo>
                    <a:lnTo>
                      <a:pt x="7" y="4"/>
                    </a:lnTo>
                    <a:lnTo>
                      <a:pt x="7" y="2"/>
                    </a:lnTo>
                    <a:lnTo>
                      <a:pt x="8" y="0"/>
                    </a:lnTo>
                    <a:lnTo>
                      <a:pt x="10" y="0"/>
                    </a:lnTo>
                    <a:close/>
                    <a:moveTo>
                      <a:pt x="5" y="11"/>
                    </a:moveTo>
                    <a:lnTo>
                      <a:pt x="8" y="11"/>
                    </a:lnTo>
                    <a:lnTo>
                      <a:pt x="8" y="14"/>
                    </a:lnTo>
                    <a:lnTo>
                      <a:pt x="5" y="14"/>
                    </a:lnTo>
                    <a:lnTo>
                      <a:pt x="5" y="11"/>
                    </a:lnTo>
                    <a:close/>
                    <a:moveTo>
                      <a:pt x="0" y="26"/>
                    </a:moveTo>
                    <a:lnTo>
                      <a:pt x="1" y="26"/>
                    </a:lnTo>
                    <a:lnTo>
                      <a:pt x="1" y="28"/>
                    </a:lnTo>
                    <a:lnTo>
                      <a:pt x="0" y="28"/>
                    </a:lnTo>
                    <a:lnTo>
                      <a:pt x="0" y="26"/>
                    </a:lnTo>
                    <a:close/>
                    <a:moveTo>
                      <a:pt x="3" y="23"/>
                    </a:moveTo>
                    <a:lnTo>
                      <a:pt x="5" y="23"/>
                    </a:lnTo>
                    <a:lnTo>
                      <a:pt x="5" y="24"/>
                    </a:lnTo>
                    <a:lnTo>
                      <a:pt x="3" y="24"/>
                    </a:lnTo>
                    <a:lnTo>
                      <a:pt x="3" y="23"/>
                    </a:lnTo>
                    <a:close/>
                    <a:moveTo>
                      <a:pt x="8" y="17"/>
                    </a:moveTo>
                    <a:lnTo>
                      <a:pt x="10" y="17"/>
                    </a:lnTo>
                    <a:lnTo>
                      <a:pt x="8" y="17"/>
                    </a:lnTo>
                    <a:close/>
                    <a:moveTo>
                      <a:pt x="1" y="24"/>
                    </a:moveTo>
                    <a:lnTo>
                      <a:pt x="1" y="26"/>
                    </a:lnTo>
                    <a:lnTo>
                      <a:pt x="1" y="24"/>
                    </a:lnTo>
                    <a:close/>
                    <a:moveTo>
                      <a:pt x="10" y="14"/>
                    </a:moveTo>
                    <a:lnTo>
                      <a:pt x="10" y="16"/>
                    </a:lnTo>
                    <a:lnTo>
                      <a:pt x="10" y="1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6" name="Freeform 54">
                <a:extLst>
                  <a:ext uri="{FF2B5EF4-FFF2-40B4-BE49-F238E27FC236}">
                    <a16:creationId xmlns:a16="http://schemas.microsoft.com/office/drawing/2014/main" id="{8890AFAC-519C-3C24-CD06-1EC964D53C98}"/>
                  </a:ext>
                </a:extLst>
              </p:cNvPr>
              <p:cNvSpPr>
                <a:spLocks noEditPoints="1"/>
              </p:cNvSpPr>
              <p:nvPr/>
            </p:nvSpPr>
            <p:spPr bwMode="auto">
              <a:xfrm>
                <a:off x="5802525" y="2886916"/>
                <a:ext cx="40239" cy="41415"/>
              </a:xfrm>
              <a:custGeom>
                <a:avLst/>
                <a:gdLst>
                  <a:gd name="T0" fmla="*/ 134 w 137"/>
                  <a:gd name="T1" fmla="*/ 19 h 141"/>
                  <a:gd name="T2" fmla="*/ 127 w 137"/>
                  <a:gd name="T3" fmla="*/ 27 h 141"/>
                  <a:gd name="T4" fmla="*/ 120 w 137"/>
                  <a:gd name="T5" fmla="*/ 38 h 141"/>
                  <a:gd name="T6" fmla="*/ 124 w 137"/>
                  <a:gd name="T7" fmla="*/ 50 h 141"/>
                  <a:gd name="T8" fmla="*/ 124 w 137"/>
                  <a:gd name="T9" fmla="*/ 60 h 141"/>
                  <a:gd name="T10" fmla="*/ 125 w 137"/>
                  <a:gd name="T11" fmla="*/ 68 h 141"/>
                  <a:gd name="T12" fmla="*/ 132 w 137"/>
                  <a:gd name="T13" fmla="*/ 75 h 141"/>
                  <a:gd name="T14" fmla="*/ 137 w 137"/>
                  <a:gd name="T15" fmla="*/ 80 h 141"/>
                  <a:gd name="T16" fmla="*/ 136 w 137"/>
                  <a:gd name="T17" fmla="*/ 92 h 141"/>
                  <a:gd name="T18" fmla="*/ 131 w 137"/>
                  <a:gd name="T19" fmla="*/ 97 h 141"/>
                  <a:gd name="T20" fmla="*/ 131 w 137"/>
                  <a:gd name="T21" fmla="*/ 106 h 141"/>
                  <a:gd name="T22" fmla="*/ 127 w 137"/>
                  <a:gd name="T23" fmla="*/ 116 h 141"/>
                  <a:gd name="T24" fmla="*/ 120 w 137"/>
                  <a:gd name="T25" fmla="*/ 123 h 141"/>
                  <a:gd name="T26" fmla="*/ 117 w 137"/>
                  <a:gd name="T27" fmla="*/ 126 h 141"/>
                  <a:gd name="T28" fmla="*/ 108 w 137"/>
                  <a:gd name="T29" fmla="*/ 121 h 141"/>
                  <a:gd name="T30" fmla="*/ 102 w 137"/>
                  <a:gd name="T31" fmla="*/ 118 h 141"/>
                  <a:gd name="T32" fmla="*/ 93 w 137"/>
                  <a:gd name="T33" fmla="*/ 119 h 141"/>
                  <a:gd name="T34" fmla="*/ 85 w 137"/>
                  <a:gd name="T35" fmla="*/ 121 h 141"/>
                  <a:gd name="T36" fmla="*/ 78 w 137"/>
                  <a:gd name="T37" fmla="*/ 121 h 141"/>
                  <a:gd name="T38" fmla="*/ 69 w 137"/>
                  <a:gd name="T39" fmla="*/ 119 h 141"/>
                  <a:gd name="T40" fmla="*/ 66 w 137"/>
                  <a:gd name="T41" fmla="*/ 124 h 141"/>
                  <a:gd name="T42" fmla="*/ 71 w 137"/>
                  <a:gd name="T43" fmla="*/ 131 h 141"/>
                  <a:gd name="T44" fmla="*/ 71 w 137"/>
                  <a:gd name="T45" fmla="*/ 141 h 141"/>
                  <a:gd name="T46" fmla="*/ 59 w 137"/>
                  <a:gd name="T47" fmla="*/ 138 h 141"/>
                  <a:gd name="T48" fmla="*/ 51 w 137"/>
                  <a:gd name="T49" fmla="*/ 136 h 141"/>
                  <a:gd name="T50" fmla="*/ 44 w 137"/>
                  <a:gd name="T51" fmla="*/ 129 h 141"/>
                  <a:gd name="T52" fmla="*/ 37 w 137"/>
                  <a:gd name="T53" fmla="*/ 121 h 141"/>
                  <a:gd name="T54" fmla="*/ 34 w 137"/>
                  <a:gd name="T55" fmla="*/ 114 h 141"/>
                  <a:gd name="T56" fmla="*/ 29 w 137"/>
                  <a:gd name="T57" fmla="*/ 107 h 141"/>
                  <a:gd name="T58" fmla="*/ 30 w 137"/>
                  <a:gd name="T59" fmla="*/ 102 h 141"/>
                  <a:gd name="T60" fmla="*/ 27 w 137"/>
                  <a:gd name="T61" fmla="*/ 99 h 141"/>
                  <a:gd name="T62" fmla="*/ 27 w 137"/>
                  <a:gd name="T63" fmla="*/ 90 h 141"/>
                  <a:gd name="T64" fmla="*/ 22 w 137"/>
                  <a:gd name="T65" fmla="*/ 90 h 141"/>
                  <a:gd name="T66" fmla="*/ 13 w 137"/>
                  <a:gd name="T67" fmla="*/ 85 h 141"/>
                  <a:gd name="T68" fmla="*/ 8 w 137"/>
                  <a:gd name="T69" fmla="*/ 80 h 141"/>
                  <a:gd name="T70" fmla="*/ 3 w 137"/>
                  <a:gd name="T71" fmla="*/ 72 h 141"/>
                  <a:gd name="T72" fmla="*/ 1 w 137"/>
                  <a:gd name="T73" fmla="*/ 61 h 141"/>
                  <a:gd name="T74" fmla="*/ 5 w 137"/>
                  <a:gd name="T75" fmla="*/ 55 h 141"/>
                  <a:gd name="T76" fmla="*/ 8 w 137"/>
                  <a:gd name="T77" fmla="*/ 44 h 141"/>
                  <a:gd name="T78" fmla="*/ 8 w 137"/>
                  <a:gd name="T79" fmla="*/ 38 h 141"/>
                  <a:gd name="T80" fmla="*/ 17 w 137"/>
                  <a:gd name="T81" fmla="*/ 34 h 141"/>
                  <a:gd name="T82" fmla="*/ 25 w 137"/>
                  <a:gd name="T83" fmla="*/ 34 h 141"/>
                  <a:gd name="T84" fmla="*/ 29 w 137"/>
                  <a:gd name="T85" fmla="*/ 31 h 141"/>
                  <a:gd name="T86" fmla="*/ 27 w 137"/>
                  <a:gd name="T87" fmla="*/ 26 h 141"/>
                  <a:gd name="T88" fmla="*/ 29 w 137"/>
                  <a:gd name="T89" fmla="*/ 15 h 141"/>
                  <a:gd name="T90" fmla="*/ 34 w 137"/>
                  <a:gd name="T91" fmla="*/ 4 h 141"/>
                  <a:gd name="T92" fmla="*/ 42 w 137"/>
                  <a:gd name="T93" fmla="*/ 2 h 141"/>
                  <a:gd name="T94" fmla="*/ 54 w 137"/>
                  <a:gd name="T95" fmla="*/ 4 h 141"/>
                  <a:gd name="T96" fmla="*/ 66 w 137"/>
                  <a:gd name="T97" fmla="*/ 7 h 141"/>
                  <a:gd name="T98" fmla="*/ 73 w 137"/>
                  <a:gd name="T99" fmla="*/ 2 h 141"/>
                  <a:gd name="T100" fmla="*/ 86 w 137"/>
                  <a:gd name="T101" fmla="*/ 2 h 141"/>
                  <a:gd name="T102" fmla="*/ 98 w 137"/>
                  <a:gd name="T103" fmla="*/ 4 h 141"/>
                  <a:gd name="T104" fmla="*/ 100 w 137"/>
                  <a:gd name="T105" fmla="*/ 2 h 141"/>
                  <a:gd name="T106" fmla="*/ 112 w 137"/>
                  <a:gd name="T107" fmla="*/ 2 h 141"/>
                  <a:gd name="T108" fmla="*/ 124 w 137"/>
                  <a:gd name="T109" fmla="*/ 4 h 141"/>
                  <a:gd name="T110" fmla="*/ 136 w 137"/>
                  <a:gd name="T111" fmla="*/ 5 h 141"/>
                  <a:gd name="T112" fmla="*/ 34 w 137"/>
                  <a:gd name="T113" fmla="*/ 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7" h="141">
                    <a:moveTo>
                      <a:pt x="137" y="10"/>
                    </a:moveTo>
                    <a:lnTo>
                      <a:pt x="137" y="12"/>
                    </a:lnTo>
                    <a:lnTo>
                      <a:pt x="137" y="14"/>
                    </a:lnTo>
                    <a:lnTo>
                      <a:pt x="137" y="15"/>
                    </a:lnTo>
                    <a:lnTo>
                      <a:pt x="137" y="17"/>
                    </a:lnTo>
                    <a:lnTo>
                      <a:pt x="136" y="17"/>
                    </a:lnTo>
                    <a:lnTo>
                      <a:pt x="136" y="19"/>
                    </a:lnTo>
                    <a:lnTo>
                      <a:pt x="134" y="19"/>
                    </a:lnTo>
                    <a:lnTo>
                      <a:pt x="134" y="21"/>
                    </a:lnTo>
                    <a:lnTo>
                      <a:pt x="132" y="21"/>
                    </a:lnTo>
                    <a:lnTo>
                      <a:pt x="132" y="22"/>
                    </a:lnTo>
                    <a:lnTo>
                      <a:pt x="131" y="24"/>
                    </a:lnTo>
                    <a:lnTo>
                      <a:pt x="129" y="24"/>
                    </a:lnTo>
                    <a:lnTo>
                      <a:pt x="129" y="26"/>
                    </a:lnTo>
                    <a:lnTo>
                      <a:pt x="127" y="26"/>
                    </a:lnTo>
                    <a:lnTo>
                      <a:pt x="127" y="27"/>
                    </a:lnTo>
                    <a:lnTo>
                      <a:pt x="125" y="29"/>
                    </a:lnTo>
                    <a:lnTo>
                      <a:pt x="125" y="31"/>
                    </a:lnTo>
                    <a:lnTo>
                      <a:pt x="124" y="31"/>
                    </a:lnTo>
                    <a:lnTo>
                      <a:pt x="124" y="32"/>
                    </a:lnTo>
                    <a:lnTo>
                      <a:pt x="122" y="34"/>
                    </a:lnTo>
                    <a:lnTo>
                      <a:pt x="122" y="36"/>
                    </a:lnTo>
                    <a:lnTo>
                      <a:pt x="122" y="38"/>
                    </a:lnTo>
                    <a:lnTo>
                      <a:pt x="120" y="38"/>
                    </a:lnTo>
                    <a:lnTo>
                      <a:pt x="122" y="39"/>
                    </a:lnTo>
                    <a:lnTo>
                      <a:pt x="122" y="41"/>
                    </a:lnTo>
                    <a:lnTo>
                      <a:pt x="122" y="43"/>
                    </a:lnTo>
                    <a:lnTo>
                      <a:pt x="122" y="44"/>
                    </a:lnTo>
                    <a:lnTo>
                      <a:pt x="122" y="46"/>
                    </a:lnTo>
                    <a:lnTo>
                      <a:pt x="122" y="48"/>
                    </a:lnTo>
                    <a:lnTo>
                      <a:pt x="124" y="48"/>
                    </a:lnTo>
                    <a:lnTo>
                      <a:pt x="124" y="50"/>
                    </a:lnTo>
                    <a:lnTo>
                      <a:pt x="122" y="50"/>
                    </a:lnTo>
                    <a:lnTo>
                      <a:pt x="122" y="51"/>
                    </a:lnTo>
                    <a:lnTo>
                      <a:pt x="122" y="53"/>
                    </a:lnTo>
                    <a:lnTo>
                      <a:pt x="122" y="55"/>
                    </a:lnTo>
                    <a:lnTo>
                      <a:pt x="122" y="56"/>
                    </a:lnTo>
                    <a:lnTo>
                      <a:pt x="124" y="56"/>
                    </a:lnTo>
                    <a:lnTo>
                      <a:pt x="124" y="58"/>
                    </a:lnTo>
                    <a:lnTo>
                      <a:pt x="124" y="60"/>
                    </a:lnTo>
                    <a:lnTo>
                      <a:pt x="124" y="61"/>
                    </a:lnTo>
                    <a:lnTo>
                      <a:pt x="124" y="63"/>
                    </a:lnTo>
                    <a:lnTo>
                      <a:pt x="125" y="63"/>
                    </a:lnTo>
                    <a:lnTo>
                      <a:pt x="127" y="63"/>
                    </a:lnTo>
                    <a:lnTo>
                      <a:pt x="127" y="65"/>
                    </a:lnTo>
                    <a:lnTo>
                      <a:pt x="125" y="65"/>
                    </a:lnTo>
                    <a:lnTo>
                      <a:pt x="125" y="67"/>
                    </a:lnTo>
                    <a:lnTo>
                      <a:pt x="125" y="68"/>
                    </a:lnTo>
                    <a:lnTo>
                      <a:pt x="127" y="68"/>
                    </a:lnTo>
                    <a:lnTo>
                      <a:pt x="127" y="70"/>
                    </a:lnTo>
                    <a:lnTo>
                      <a:pt x="127" y="72"/>
                    </a:lnTo>
                    <a:lnTo>
                      <a:pt x="129" y="72"/>
                    </a:lnTo>
                    <a:lnTo>
                      <a:pt x="129" y="73"/>
                    </a:lnTo>
                    <a:lnTo>
                      <a:pt x="131" y="73"/>
                    </a:lnTo>
                    <a:lnTo>
                      <a:pt x="131" y="75"/>
                    </a:lnTo>
                    <a:lnTo>
                      <a:pt x="132" y="75"/>
                    </a:lnTo>
                    <a:lnTo>
                      <a:pt x="134" y="75"/>
                    </a:lnTo>
                    <a:lnTo>
                      <a:pt x="134" y="77"/>
                    </a:lnTo>
                    <a:lnTo>
                      <a:pt x="134" y="78"/>
                    </a:lnTo>
                    <a:lnTo>
                      <a:pt x="134" y="80"/>
                    </a:lnTo>
                    <a:lnTo>
                      <a:pt x="136" y="80"/>
                    </a:lnTo>
                    <a:lnTo>
                      <a:pt x="136" y="82"/>
                    </a:lnTo>
                    <a:lnTo>
                      <a:pt x="136" y="80"/>
                    </a:lnTo>
                    <a:lnTo>
                      <a:pt x="137" y="80"/>
                    </a:lnTo>
                    <a:lnTo>
                      <a:pt x="137" y="82"/>
                    </a:lnTo>
                    <a:lnTo>
                      <a:pt x="137" y="84"/>
                    </a:lnTo>
                    <a:lnTo>
                      <a:pt x="137" y="85"/>
                    </a:lnTo>
                    <a:lnTo>
                      <a:pt x="137" y="87"/>
                    </a:lnTo>
                    <a:lnTo>
                      <a:pt x="137" y="89"/>
                    </a:lnTo>
                    <a:lnTo>
                      <a:pt x="136" y="89"/>
                    </a:lnTo>
                    <a:lnTo>
                      <a:pt x="136" y="90"/>
                    </a:lnTo>
                    <a:lnTo>
                      <a:pt x="136" y="92"/>
                    </a:lnTo>
                    <a:lnTo>
                      <a:pt x="134" y="92"/>
                    </a:lnTo>
                    <a:lnTo>
                      <a:pt x="132" y="92"/>
                    </a:lnTo>
                    <a:lnTo>
                      <a:pt x="132" y="94"/>
                    </a:lnTo>
                    <a:lnTo>
                      <a:pt x="132" y="95"/>
                    </a:lnTo>
                    <a:lnTo>
                      <a:pt x="131" y="95"/>
                    </a:lnTo>
                    <a:lnTo>
                      <a:pt x="131" y="97"/>
                    </a:lnTo>
                    <a:lnTo>
                      <a:pt x="131" y="99"/>
                    </a:lnTo>
                    <a:lnTo>
                      <a:pt x="131" y="97"/>
                    </a:lnTo>
                    <a:lnTo>
                      <a:pt x="131" y="99"/>
                    </a:lnTo>
                    <a:lnTo>
                      <a:pt x="131" y="101"/>
                    </a:lnTo>
                    <a:lnTo>
                      <a:pt x="131" y="102"/>
                    </a:lnTo>
                    <a:lnTo>
                      <a:pt x="132" y="102"/>
                    </a:lnTo>
                    <a:lnTo>
                      <a:pt x="131" y="102"/>
                    </a:lnTo>
                    <a:lnTo>
                      <a:pt x="132" y="104"/>
                    </a:lnTo>
                    <a:lnTo>
                      <a:pt x="131" y="104"/>
                    </a:lnTo>
                    <a:lnTo>
                      <a:pt x="131" y="106"/>
                    </a:lnTo>
                    <a:lnTo>
                      <a:pt x="131" y="107"/>
                    </a:lnTo>
                    <a:lnTo>
                      <a:pt x="131" y="109"/>
                    </a:lnTo>
                    <a:lnTo>
                      <a:pt x="131" y="111"/>
                    </a:lnTo>
                    <a:lnTo>
                      <a:pt x="129" y="111"/>
                    </a:lnTo>
                    <a:lnTo>
                      <a:pt x="129" y="112"/>
                    </a:lnTo>
                    <a:lnTo>
                      <a:pt x="127" y="112"/>
                    </a:lnTo>
                    <a:lnTo>
                      <a:pt x="127" y="114"/>
                    </a:lnTo>
                    <a:lnTo>
                      <a:pt x="127" y="116"/>
                    </a:lnTo>
                    <a:lnTo>
                      <a:pt x="125" y="116"/>
                    </a:lnTo>
                    <a:lnTo>
                      <a:pt x="125" y="118"/>
                    </a:lnTo>
                    <a:lnTo>
                      <a:pt x="125" y="119"/>
                    </a:lnTo>
                    <a:lnTo>
                      <a:pt x="124" y="119"/>
                    </a:lnTo>
                    <a:lnTo>
                      <a:pt x="124" y="121"/>
                    </a:lnTo>
                    <a:lnTo>
                      <a:pt x="122" y="121"/>
                    </a:lnTo>
                    <a:lnTo>
                      <a:pt x="122" y="123"/>
                    </a:lnTo>
                    <a:lnTo>
                      <a:pt x="120" y="123"/>
                    </a:lnTo>
                    <a:lnTo>
                      <a:pt x="120" y="124"/>
                    </a:lnTo>
                    <a:lnTo>
                      <a:pt x="120" y="126"/>
                    </a:lnTo>
                    <a:lnTo>
                      <a:pt x="120" y="124"/>
                    </a:lnTo>
                    <a:lnTo>
                      <a:pt x="119" y="126"/>
                    </a:lnTo>
                    <a:lnTo>
                      <a:pt x="120" y="126"/>
                    </a:lnTo>
                    <a:lnTo>
                      <a:pt x="119" y="128"/>
                    </a:lnTo>
                    <a:lnTo>
                      <a:pt x="119" y="126"/>
                    </a:lnTo>
                    <a:lnTo>
                      <a:pt x="117" y="126"/>
                    </a:lnTo>
                    <a:lnTo>
                      <a:pt x="117" y="124"/>
                    </a:lnTo>
                    <a:lnTo>
                      <a:pt x="115" y="124"/>
                    </a:lnTo>
                    <a:lnTo>
                      <a:pt x="114" y="124"/>
                    </a:lnTo>
                    <a:lnTo>
                      <a:pt x="114" y="123"/>
                    </a:lnTo>
                    <a:lnTo>
                      <a:pt x="114" y="121"/>
                    </a:lnTo>
                    <a:lnTo>
                      <a:pt x="112" y="121"/>
                    </a:lnTo>
                    <a:lnTo>
                      <a:pt x="110" y="121"/>
                    </a:lnTo>
                    <a:lnTo>
                      <a:pt x="108" y="121"/>
                    </a:lnTo>
                    <a:lnTo>
                      <a:pt x="107" y="121"/>
                    </a:lnTo>
                    <a:lnTo>
                      <a:pt x="107" y="119"/>
                    </a:lnTo>
                    <a:lnTo>
                      <a:pt x="105" y="119"/>
                    </a:lnTo>
                    <a:lnTo>
                      <a:pt x="105" y="118"/>
                    </a:lnTo>
                    <a:lnTo>
                      <a:pt x="105" y="116"/>
                    </a:lnTo>
                    <a:lnTo>
                      <a:pt x="103" y="116"/>
                    </a:lnTo>
                    <a:lnTo>
                      <a:pt x="103" y="118"/>
                    </a:lnTo>
                    <a:lnTo>
                      <a:pt x="102" y="118"/>
                    </a:lnTo>
                    <a:lnTo>
                      <a:pt x="100" y="118"/>
                    </a:lnTo>
                    <a:lnTo>
                      <a:pt x="100" y="119"/>
                    </a:lnTo>
                    <a:lnTo>
                      <a:pt x="100" y="118"/>
                    </a:lnTo>
                    <a:lnTo>
                      <a:pt x="98" y="118"/>
                    </a:lnTo>
                    <a:lnTo>
                      <a:pt x="97" y="118"/>
                    </a:lnTo>
                    <a:lnTo>
                      <a:pt x="97" y="119"/>
                    </a:lnTo>
                    <a:lnTo>
                      <a:pt x="95" y="119"/>
                    </a:lnTo>
                    <a:lnTo>
                      <a:pt x="93" y="119"/>
                    </a:lnTo>
                    <a:lnTo>
                      <a:pt x="91" y="119"/>
                    </a:lnTo>
                    <a:lnTo>
                      <a:pt x="91" y="121"/>
                    </a:lnTo>
                    <a:lnTo>
                      <a:pt x="91" y="123"/>
                    </a:lnTo>
                    <a:lnTo>
                      <a:pt x="90" y="123"/>
                    </a:lnTo>
                    <a:lnTo>
                      <a:pt x="90" y="121"/>
                    </a:lnTo>
                    <a:lnTo>
                      <a:pt x="88" y="121"/>
                    </a:lnTo>
                    <a:lnTo>
                      <a:pt x="86" y="121"/>
                    </a:lnTo>
                    <a:lnTo>
                      <a:pt x="85" y="121"/>
                    </a:lnTo>
                    <a:lnTo>
                      <a:pt x="85" y="123"/>
                    </a:lnTo>
                    <a:lnTo>
                      <a:pt x="85" y="121"/>
                    </a:lnTo>
                    <a:lnTo>
                      <a:pt x="83" y="121"/>
                    </a:lnTo>
                    <a:lnTo>
                      <a:pt x="83" y="123"/>
                    </a:lnTo>
                    <a:lnTo>
                      <a:pt x="81" y="123"/>
                    </a:lnTo>
                    <a:lnTo>
                      <a:pt x="80" y="123"/>
                    </a:lnTo>
                    <a:lnTo>
                      <a:pt x="78" y="123"/>
                    </a:lnTo>
                    <a:lnTo>
                      <a:pt x="78" y="121"/>
                    </a:lnTo>
                    <a:lnTo>
                      <a:pt x="76" y="121"/>
                    </a:lnTo>
                    <a:lnTo>
                      <a:pt x="74" y="121"/>
                    </a:lnTo>
                    <a:lnTo>
                      <a:pt x="74" y="119"/>
                    </a:lnTo>
                    <a:lnTo>
                      <a:pt x="73" y="119"/>
                    </a:lnTo>
                    <a:lnTo>
                      <a:pt x="73" y="118"/>
                    </a:lnTo>
                    <a:lnTo>
                      <a:pt x="71" y="118"/>
                    </a:lnTo>
                    <a:lnTo>
                      <a:pt x="71" y="119"/>
                    </a:lnTo>
                    <a:lnTo>
                      <a:pt x="69" y="119"/>
                    </a:lnTo>
                    <a:lnTo>
                      <a:pt x="71" y="119"/>
                    </a:lnTo>
                    <a:lnTo>
                      <a:pt x="69" y="119"/>
                    </a:lnTo>
                    <a:lnTo>
                      <a:pt x="69" y="121"/>
                    </a:lnTo>
                    <a:lnTo>
                      <a:pt x="69" y="123"/>
                    </a:lnTo>
                    <a:lnTo>
                      <a:pt x="68" y="124"/>
                    </a:lnTo>
                    <a:lnTo>
                      <a:pt x="69" y="124"/>
                    </a:lnTo>
                    <a:lnTo>
                      <a:pt x="68" y="124"/>
                    </a:lnTo>
                    <a:lnTo>
                      <a:pt x="66" y="124"/>
                    </a:lnTo>
                    <a:lnTo>
                      <a:pt x="66" y="126"/>
                    </a:lnTo>
                    <a:lnTo>
                      <a:pt x="64" y="128"/>
                    </a:lnTo>
                    <a:lnTo>
                      <a:pt x="66" y="128"/>
                    </a:lnTo>
                    <a:lnTo>
                      <a:pt x="68" y="128"/>
                    </a:lnTo>
                    <a:lnTo>
                      <a:pt x="68" y="129"/>
                    </a:lnTo>
                    <a:lnTo>
                      <a:pt x="68" y="131"/>
                    </a:lnTo>
                    <a:lnTo>
                      <a:pt x="69" y="131"/>
                    </a:lnTo>
                    <a:lnTo>
                      <a:pt x="71" y="131"/>
                    </a:lnTo>
                    <a:lnTo>
                      <a:pt x="71" y="133"/>
                    </a:lnTo>
                    <a:lnTo>
                      <a:pt x="73" y="133"/>
                    </a:lnTo>
                    <a:lnTo>
                      <a:pt x="73" y="135"/>
                    </a:lnTo>
                    <a:lnTo>
                      <a:pt x="73" y="136"/>
                    </a:lnTo>
                    <a:lnTo>
                      <a:pt x="71" y="136"/>
                    </a:lnTo>
                    <a:lnTo>
                      <a:pt x="73" y="138"/>
                    </a:lnTo>
                    <a:lnTo>
                      <a:pt x="73" y="140"/>
                    </a:lnTo>
                    <a:lnTo>
                      <a:pt x="71" y="141"/>
                    </a:lnTo>
                    <a:lnTo>
                      <a:pt x="69" y="141"/>
                    </a:lnTo>
                    <a:lnTo>
                      <a:pt x="68" y="141"/>
                    </a:lnTo>
                    <a:lnTo>
                      <a:pt x="66" y="141"/>
                    </a:lnTo>
                    <a:lnTo>
                      <a:pt x="64" y="140"/>
                    </a:lnTo>
                    <a:lnTo>
                      <a:pt x="63" y="140"/>
                    </a:lnTo>
                    <a:lnTo>
                      <a:pt x="61" y="140"/>
                    </a:lnTo>
                    <a:lnTo>
                      <a:pt x="59" y="140"/>
                    </a:lnTo>
                    <a:lnTo>
                      <a:pt x="59" y="138"/>
                    </a:lnTo>
                    <a:lnTo>
                      <a:pt x="57" y="138"/>
                    </a:lnTo>
                    <a:lnTo>
                      <a:pt x="56" y="138"/>
                    </a:lnTo>
                    <a:lnTo>
                      <a:pt x="56" y="140"/>
                    </a:lnTo>
                    <a:lnTo>
                      <a:pt x="56" y="138"/>
                    </a:lnTo>
                    <a:lnTo>
                      <a:pt x="54" y="138"/>
                    </a:lnTo>
                    <a:lnTo>
                      <a:pt x="52" y="138"/>
                    </a:lnTo>
                    <a:lnTo>
                      <a:pt x="52" y="136"/>
                    </a:lnTo>
                    <a:lnTo>
                      <a:pt x="51" y="136"/>
                    </a:lnTo>
                    <a:lnTo>
                      <a:pt x="49" y="136"/>
                    </a:lnTo>
                    <a:lnTo>
                      <a:pt x="47" y="136"/>
                    </a:lnTo>
                    <a:lnTo>
                      <a:pt x="47" y="135"/>
                    </a:lnTo>
                    <a:lnTo>
                      <a:pt x="46" y="135"/>
                    </a:lnTo>
                    <a:lnTo>
                      <a:pt x="46" y="133"/>
                    </a:lnTo>
                    <a:lnTo>
                      <a:pt x="44" y="133"/>
                    </a:lnTo>
                    <a:lnTo>
                      <a:pt x="44" y="131"/>
                    </a:lnTo>
                    <a:lnTo>
                      <a:pt x="44" y="129"/>
                    </a:lnTo>
                    <a:lnTo>
                      <a:pt x="42" y="129"/>
                    </a:lnTo>
                    <a:lnTo>
                      <a:pt x="42" y="128"/>
                    </a:lnTo>
                    <a:lnTo>
                      <a:pt x="40" y="126"/>
                    </a:lnTo>
                    <a:lnTo>
                      <a:pt x="40" y="124"/>
                    </a:lnTo>
                    <a:lnTo>
                      <a:pt x="39" y="124"/>
                    </a:lnTo>
                    <a:lnTo>
                      <a:pt x="39" y="123"/>
                    </a:lnTo>
                    <a:lnTo>
                      <a:pt x="39" y="121"/>
                    </a:lnTo>
                    <a:lnTo>
                      <a:pt x="37" y="121"/>
                    </a:lnTo>
                    <a:lnTo>
                      <a:pt x="39" y="121"/>
                    </a:lnTo>
                    <a:lnTo>
                      <a:pt x="39" y="119"/>
                    </a:lnTo>
                    <a:lnTo>
                      <a:pt x="37" y="119"/>
                    </a:lnTo>
                    <a:lnTo>
                      <a:pt x="37" y="118"/>
                    </a:lnTo>
                    <a:lnTo>
                      <a:pt x="35" y="118"/>
                    </a:lnTo>
                    <a:lnTo>
                      <a:pt x="35" y="116"/>
                    </a:lnTo>
                    <a:lnTo>
                      <a:pt x="35" y="114"/>
                    </a:lnTo>
                    <a:lnTo>
                      <a:pt x="34" y="114"/>
                    </a:lnTo>
                    <a:lnTo>
                      <a:pt x="34" y="112"/>
                    </a:lnTo>
                    <a:lnTo>
                      <a:pt x="32" y="111"/>
                    </a:lnTo>
                    <a:lnTo>
                      <a:pt x="34" y="111"/>
                    </a:lnTo>
                    <a:lnTo>
                      <a:pt x="32" y="111"/>
                    </a:lnTo>
                    <a:lnTo>
                      <a:pt x="32" y="109"/>
                    </a:lnTo>
                    <a:lnTo>
                      <a:pt x="30" y="109"/>
                    </a:lnTo>
                    <a:lnTo>
                      <a:pt x="29" y="109"/>
                    </a:lnTo>
                    <a:lnTo>
                      <a:pt x="29" y="107"/>
                    </a:lnTo>
                    <a:lnTo>
                      <a:pt x="30" y="107"/>
                    </a:lnTo>
                    <a:lnTo>
                      <a:pt x="29" y="107"/>
                    </a:lnTo>
                    <a:lnTo>
                      <a:pt x="29" y="106"/>
                    </a:lnTo>
                    <a:lnTo>
                      <a:pt x="30" y="106"/>
                    </a:lnTo>
                    <a:lnTo>
                      <a:pt x="30" y="104"/>
                    </a:lnTo>
                    <a:lnTo>
                      <a:pt x="29" y="104"/>
                    </a:lnTo>
                    <a:lnTo>
                      <a:pt x="29" y="102"/>
                    </a:lnTo>
                    <a:lnTo>
                      <a:pt x="30" y="102"/>
                    </a:lnTo>
                    <a:lnTo>
                      <a:pt x="30" y="101"/>
                    </a:lnTo>
                    <a:lnTo>
                      <a:pt x="29" y="101"/>
                    </a:lnTo>
                    <a:lnTo>
                      <a:pt x="29" y="99"/>
                    </a:lnTo>
                    <a:lnTo>
                      <a:pt x="27" y="99"/>
                    </a:lnTo>
                    <a:lnTo>
                      <a:pt x="29" y="99"/>
                    </a:lnTo>
                    <a:lnTo>
                      <a:pt x="29" y="97"/>
                    </a:lnTo>
                    <a:lnTo>
                      <a:pt x="27" y="97"/>
                    </a:lnTo>
                    <a:lnTo>
                      <a:pt x="27" y="99"/>
                    </a:lnTo>
                    <a:lnTo>
                      <a:pt x="27" y="97"/>
                    </a:lnTo>
                    <a:lnTo>
                      <a:pt x="25" y="97"/>
                    </a:lnTo>
                    <a:lnTo>
                      <a:pt x="25" y="95"/>
                    </a:lnTo>
                    <a:lnTo>
                      <a:pt x="27" y="95"/>
                    </a:lnTo>
                    <a:lnTo>
                      <a:pt x="27" y="94"/>
                    </a:lnTo>
                    <a:lnTo>
                      <a:pt x="25" y="92"/>
                    </a:lnTo>
                    <a:lnTo>
                      <a:pt x="27" y="92"/>
                    </a:lnTo>
                    <a:lnTo>
                      <a:pt x="27" y="90"/>
                    </a:lnTo>
                    <a:lnTo>
                      <a:pt x="25" y="90"/>
                    </a:lnTo>
                    <a:lnTo>
                      <a:pt x="27" y="90"/>
                    </a:lnTo>
                    <a:lnTo>
                      <a:pt x="25" y="89"/>
                    </a:lnTo>
                    <a:lnTo>
                      <a:pt x="25" y="90"/>
                    </a:lnTo>
                    <a:lnTo>
                      <a:pt x="23" y="90"/>
                    </a:lnTo>
                    <a:lnTo>
                      <a:pt x="22" y="90"/>
                    </a:lnTo>
                    <a:lnTo>
                      <a:pt x="22" y="89"/>
                    </a:lnTo>
                    <a:lnTo>
                      <a:pt x="22" y="90"/>
                    </a:lnTo>
                    <a:lnTo>
                      <a:pt x="20" y="90"/>
                    </a:lnTo>
                    <a:lnTo>
                      <a:pt x="18" y="90"/>
                    </a:lnTo>
                    <a:lnTo>
                      <a:pt x="17" y="90"/>
                    </a:lnTo>
                    <a:lnTo>
                      <a:pt x="15" y="90"/>
                    </a:lnTo>
                    <a:lnTo>
                      <a:pt x="13" y="90"/>
                    </a:lnTo>
                    <a:lnTo>
                      <a:pt x="13" y="89"/>
                    </a:lnTo>
                    <a:lnTo>
                      <a:pt x="13" y="87"/>
                    </a:lnTo>
                    <a:lnTo>
                      <a:pt x="13" y="85"/>
                    </a:lnTo>
                    <a:lnTo>
                      <a:pt x="15" y="85"/>
                    </a:lnTo>
                    <a:lnTo>
                      <a:pt x="15" y="84"/>
                    </a:lnTo>
                    <a:lnTo>
                      <a:pt x="13" y="84"/>
                    </a:lnTo>
                    <a:lnTo>
                      <a:pt x="12" y="84"/>
                    </a:lnTo>
                    <a:lnTo>
                      <a:pt x="12" y="82"/>
                    </a:lnTo>
                    <a:lnTo>
                      <a:pt x="10" y="82"/>
                    </a:lnTo>
                    <a:lnTo>
                      <a:pt x="10" y="80"/>
                    </a:lnTo>
                    <a:lnTo>
                      <a:pt x="8" y="80"/>
                    </a:lnTo>
                    <a:lnTo>
                      <a:pt x="8" y="78"/>
                    </a:lnTo>
                    <a:lnTo>
                      <a:pt x="8" y="77"/>
                    </a:lnTo>
                    <a:lnTo>
                      <a:pt x="6" y="77"/>
                    </a:lnTo>
                    <a:lnTo>
                      <a:pt x="6" y="75"/>
                    </a:lnTo>
                    <a:lnTo>
                      <a:pt x="6" y="73"/>
                    </a:lnTo>
                    <a:lnTo>
                      <a:pt x="5" y="73"/>
                    </a:lnTo>
                    <a:lnTo>
                      <a:pt x="5" y="72"/>
                    </a:lnTo>
                    <a:lnTo>
                      <a:pt x="3" y="72"/>
                    </a:lnTo>
                    <a:lnTo>
                      <a:pt x="3" y="70"/>
                    </a:lnTo>
                    <a:lnTo>
                      <a:pt x="1" y="70"/>
                    </a:lnTo>
                    <a:lnTo>
                      <a:pt x="1" y="68"/>
                    </a:lnTo>
                    <a:lnTo>
                      <a:pt x="1" y="67"/>
                    </a:lnTo>
                    <a:lnTo>
                      <a:pt x="1" y="65"/>
                    </a:lnTo>
                    <a:lnTo>
                      <a:pt x="0" y="63"/>
                    </a:lnTo>
                    <a:lnTo>
                      <a:pt x="1" y="63"/>
                    </a:lnTo>
                    <a:lnTo>
                      <a:pt x="1" y="61"/>
                    </a:lnTo>
                    <a:lnTo>
                      <a:pt x="1" y="60"/>
                    </a:lnTo>
                    <a:lnTo>
                      <a:pt x="3" y="60"/>
                    </a:lnTo>
                    <a:lnTo>
                      <a:pt x="3" y="58"/>
                    </a:lnTo>
                    <a:lnTo>
                      <a:pt x="5" y="58"/>
                    </a:lnTo>
                    <a:lnTo>
                      <a:pt x="5" y="56"/>
                    </a:lnTo>
                    <a:lnTo>
                      <a:pt x="3" y="56"/>
                    </a:lnTo>
                    <a:lnTo>
                      <a:pt x="3" y="55"/>
                    </a:lnTo>
                    <a:lnTo>
                      <a:pt x="5" y="55"/>
                    </a:lnTo>
                    <a:lnTo>
                      <a:pt x="5" y="53"/>
                    </a:lnTo>
                    <a:lnTo>
                      <a:pt x="5" y="51"/>
                    </a:lnTo>
                    <a:lnTo>
                      <a:pt x="6" y="51"/>
                    </a:lnTo>
                    <a:lnTo>
                      <a:pt x="6" y="50"/>
                    </a:lnTo>
                    <a:lnTo>
                      <a:pt x="6" y="48"/>
                    </a:lnTo>
                    <a:lnTo>
                      <a:pt x="8" y="48"/>
                    </a:lnTo>
                    <a:lnTo>
                      <a:pt x="8" y="46"/>
                    </a:lnTo>
                    <a:lnTo>
                      <a:pt x="8" y="44"/>
                    </a:lnTo>
                    <a:lnTo>
                      <a:pt x="6" y="44"/>
                    </a:lnTo>
                    <a:lnTo>
                      <a:pt x="6" y="43"/>
                    </a:lnTo>
                    <a:lnTo>
                      <a:pt x="5" y="43"/>
                    </a:lnTo>
                    <a:lnTo>
                      <a:pt x="5" y="41"/>
                    </a:lnTo>
                    <a:lnTo>
                      <a:pt x="5" y="39"/>
                    </a:lnTo>
                    <a:lnTo>
                      <a:pt x="6" y="39"/>
                    </a:lnTo>
                    <a:lnTo>
                      <a:pt x="6" y="38"/>
                    </a:lnTo>
                    <a:lnTo>
                      <a:pt x="8" y="38"/>
                    </a:lnTo>
                    <a:lnTo>
                      <a:pt x="10" y="38"/>
                    </a:lnTo>
                    <a:lnTo>
                      <a:pt x="10" y="36"/>
                    </a:lnTo>
                    <a:lnTo>
                      <a:pt x="12" y="36"/>
                    </a:lnTo>
                    <a:lnTo>
                      <a:pt x="12" y="34"/>
                    </a:lnTo>
                    <a:lnTo>
                      <a:pt x="13" y="34"/>
                    </a:lnTo>
                    <a:lnTo>
                      <a:pt x="15" y="36"/>
                    </a:lnTo>
                    <a:lnTo>
                      <a:pt x="15" y="34"/>
                    </a:lnTo>
                    <a:lnTo>
                      <a:pt x="17" y="34"/>
                    </a:lnTo>
                    <a:lnTo>
                      <a:pt x="18" y="34"/>
                    </a:lnTo>
                    <a:lnTo>
                      <a:pt x="20" y="36"/>
                    </a:lnTo>
                    <a:lnTo>
                      <a:pt x="20" y="34"/>
                    </a:lnTo>
                    <a:lnTo>
                      <a:pt x="22" y="34"/>
                    </a:lnTo>
                    <a:lnTo>
                      <a:pt x="22" y="36"/>
                    </a:lnTo>
                    <a:lnTo>
                      <a:pt x="22" y="34"/>
                    </a:lnTo>
                    <a:lnTo>
                      <a:pt x="23" y="34"/>
                    </a:lnTo>
                    <a:lnTo>
                      <a:pt x="25" y="34"/>
                    </a:lnTo>
                    <a:lnTo>
                      <a:pt x="27" y="34"/>
                    </a:lnTo>
                    <a:lnTo>
                      <a:pt x="27" y="32"/>
                    </a:lnTo>
                    <a:lnTo>
                      <a:pt x="25" y="32"/>
                    </a:lnTo>
                    <a:lnTo>
                      <a:pt x="25" y="31"/>
                    </a:lnTo>
                    <a:lnTo>
                      <a:pt x="25" y="29"/>
                    </a:lnTo>
                    <a:lnTo>
                      <a:pt x="27" y="29"/>
                    </a:lnTo>
                    <a:lnTo>
                      <a:pt x="29" y="29"/>
                    </a:lnTo>
                    <a:lnTo>
                      <a:pt x="29" y="31"/>
                    </a:lnTo>
                    <a:lnTo>
                      <a:pt x="29" y="29"/>
                    </a:lnTo>
                    <a:lnTo>
                      <a:pt x="30" y="29"/>
                    </a:lnTo>
                    <a:lnTo>
                      <a:pt x="30" y="27"/>
                    </a:lnTo>
                    <a:lnTo>
                      <a:pt x="29" y="27"/>
                    </a:lnTo>
                    <a:lnTo>
                      <a:pt x="29" y="26"/>
                    </a:lnTo>
                    <a:lnTo>
                      <a:pt x="27" y="26"/>
                    </a:lnTo>
                    <a:lnTo>
                      <a:pt x="27" y="27"/>
                    </a:lnTo>
                    <a:lnTo>
                      <a:pt x="27" y="26"/>
                    </a:lnTo>
                    <a:lnTo>
                      <a:pt x="27" y="24"/>
                    </a:lnTo>
                    <a:lnTo>
                      <a:pt x="25" y="24"/>
                    </a:lnTo>
                    <a:lnTo>
                      <a:pt x="25" y="22"/>
                    </a:lnTo>
                    <a:lnTo>
                      <a:pt x="27" y="22"/>
                    </a:lnTo>
                    <a:lnTo>
                      <a:pt x="27" y="21"/>
                    </a:lnTo>
                    <a:lnTo>
                      <a:pt x="27" y="19"/>
                    </a:lnTo>
                    <a:lnTo>
                      <a:pt x="29" y="17"/>
                    </a:lnTo>
                    <a:lnTo>
                      <a:pt x="29" y="15"/>
                    </a:lnTo>
                    <a:lnTo>
                      <a:pt x="30" y="14"/>
                    </a:lnTo>
                    <a:lnTo>
                      <a:pt x="30" y="12"/>
                    </a:lnTo>
                    <a:lnTo>
                      <a:pt x="32" y="12"/>
                    </a:lnTo>
                    <a:lnTo>
                      <a:pt x="32" y="10"/>
                    </a:lnTo>
                    <a:lnTo>
                      <a:pt x="32" y="9"/>
                    </a:lnTo>
                    <a:lnTo>
                      <a:pt x="32" y="7"/>
                    </a:lnTo>
                    <a:lnTo>
                      <a:pt x="34" y="5"/>
                    </a:lnTo>
                    <a:lnTo>
                      <a:pt x="34" y="4"/>
                    </a:lnTo>
                    <a:lnTo>
                      <a:pt x="34" y="2"/>
                    </a:lnTo>
                    <a:lnTo>
                      <a:pt x="35" y="2"/>
                    </a:lnTo>
                    <a:lnTo>
                      <a:pt x="37" y="2"/>
                    </a:lnTo>
                    <a:lnTo>
                      <a:pt x="37" y="0"/>
                    </a:lnTo>
                    <a:lnTo>
                      <a:pt x="39" y="0"/>
                    </a:lnTo>
                    <a:lnTo>
                      <a:pt x="39" y="2"/>
                    </a:lnTo>
                    <a:lnTo>
                      <a:pt x="40" y="2"/>
                    </a:lnTo>
                    <a:lnTo>
                      <a:pt x="42" y="2"/>
                    </a:lnTo>
                    <a:lnTo>
                      <a:pt x="44" y="2"/>
                    </a:lnTo>
                    <a:lnTo>
                      <a:pt x="46" y="2"/>
                    </a:lnTo>
                    <a:lnTo>
                      <a:pt x="47" y="2"/>
                    </a:lnTo>
                    <a:lnTo>
                      <a:pt x="49" y="2"/>
                    </a:lnTo>
                    <a:lnTo>
                      <a:pt x="49" y="4"/>
                    </a:lnTo>
                    <a:lnTo>
                      <a:pt x="51" y="4"/>
                    </a:lnTo>
                    <a:lnTo>
                      <a:pt x="52" y="4"/>
                    </a:lnTo>
                    <a:lnTo>
                      <a:pt x="54" y="4"/>
                    </a:lnTo>
                    <a:lnTo>
                      <a:pt x="56" y="4"/>
                    </a:lnTo>
                    <a:lnTo>
                      <a:pt x="57" y="4"/>
                    </a:lnTo>
                    <a:lnTo>
                      <a:pt x="59" y="5"/>
                    </a:lnTo>
                    <a:lnTo>
                      <a:pt x="61" y="5"/>
                    </a:lnTo>
                    <a:lnTo>
                      <a:pt x="63" y="5"/>
                    </a:lnTo>
                    <a:lnTo>
                      <a:pt x="64" y="5"/>
                    </a:lnTo>
                    <a:lnTo>
                      <a:pt x="66" y="5"/>
                    </a:lnTo>
                    <a:lnTo>
                      <a:pt x="66" y="7"/>
                    </a:lnTo>
                    <a:lnTo>
                      <a:pt x="68" y="7"/>
                    </a:lnTo>
                    <a:lnTo>
                      <a:pt x="69" y="7"/>
                    </a:lnTo>
                    <a:lnTo>
                      <a:pt x="71" y="7"/>
                    </a:lnTo>
                    <a:lnTo>
                      <a:pt x="73" y="7"/>
                    </a:lnTo>
                    <a:lnTo>
                      <a:pt x="71" y="5"/>
                    </a:lnTo>
                    <a:lnTo>
                      <a:pt x="71" y="4"/>
                    </a:lnTo>
                    <a:lnTo>
                      <a:pt x="73" y="4"/>
                    </a:lnTo>
                    <a:lnTo>
                      <a:pt x="73" y="2"/>
                    </a:lnTo>
                    <a:lnTo>
                      <a:pt x="74" y="2"/>
                    </a:lnTo>
                    <a:lnTo>
                      <a:pt x="76" y="2"/>
                    </a:lnTo>
                    <a:lnTo>
                      <a:pt x="78" y="2"/>
                    </a:lnTo>
                    <a:lnTo>
                      <a:pt x="80" y="2"/>
                    </a:lnTo>
                    <a:lnTo>
                      <a:pt x="81" y="2"/>
                    </a:lnTo>
                    <a:lnTo>
                      <a:pt x="83" y="0"/>
                    </a:lnTo>
                    <a:lnTo>
                      <a:pt x="85" y="2"/>
                    </a:lnTo>
                    <a:lnTo>
                      <a:pt x="86" y="2"/>
                    </a:lnTo>
                    <a:lnTo>
                      <a:pt x="88" y="2"/>
                    </a:lnTo>
                    <a:lnTo>
                      <a:pt x="90" y="2"/>
                    </a:lnTo>
                    <a:lnTo>
                      <a:pt x="91" y="2"/>
                    </a:lnTo>
                    <a:lnTo>
                      <a:pt x="93" y="2"/>
                    </a:lnTo>
                    <a:lnTo>
                      <a:pt x="93" y="4"/>
                    </a:lnTo>
                    <a:lnTo>
                      <a:pt x="95" y="4"/>
                    </a:lnTo>
                    <a:lnTo>
                      <a:pt x="97" y="4"/>
                    </a:lnTo>
                    <a:lnTo>
                      <a:pt x="98" y="4"/>
                    </a:lnTo>
                    <a:lnTo>
                      <a:pt x="100" y="5"/>
                    </a:lnTo>
                    <a:lnTo>
                      <a:pt x="102" y="5"/>
                    </a:lnTo>
                    <a:lnTo>
                      <a:pt x="103" y="5"/>
                    </a:lnTo>
                    <a:lnTo>
                      <a:pt x="102" y="4"/>
                    </a:lnTo>
                    <a:lnTo>
                      <a:pt x="100" y="4"/>
                    </a:lnTo>
                    <a:lnTo>
                      <a:pt x="98" y="4"/>
                    </a:lnTo>
                    <a:lnTo>
                      <a:pt x="98" y="2"/>
                    </a:lnTo>
                    <a:lnTo>
                      <a:pt x="100" y="2"/>
                    </a:lnTo>
                    <a:lnTo>
                      <a:pt x="102" y="2"/>
                    </a:lnTo>
                    <a:lnTo>
                      <a:pt x="103" y="0"/>
                    </a:lnTo>
                    <a:lnTo>
                      <a:pt x="103" y="2"/>
                    </a:lnTo>
                    <a:lnTo>
                      <a:pt x="105" y="2"/>
                    </a:lnTo>
                    <a:lnTo>
                      <a:pt x="107" y="2"/>
                    </a:lnTo>
                    <a:lnTo>
                      <a:pt x="108" y="2"/>
                    </a:lnTo>
                    <a:lnTo>
                      <a:pt x="110" y="2"/>
                    </a:lnTo>
                    <a:lnTo>
                      <a:pt x="112" y="2"/>
                    </a:lnTo>
                    <a:lnTo>
                      <a:pt x="114" y="2"/>
                    </a:lnTo>
                    <a:lnTo>
                      <a:pt x="115" y="2"/>
                    </a:lnTo>
                    <a:lnTo>
                      <a:pt x="117" y="2"/>
                    </a:lnTo>
                    <a:lnTo>
                      <a:pt x="119" y="2"/>
                    </a:lnTo>
                    <a:lnTo>
                      <a:pt x="120" y="2"/>
                    </a:lnTo>
                    <a:lnTo>
                      <a:pt x="120" y="4"/>
                    </a:lnTo>
                    <a:lnTo>
                      <a:pt x="122" y="4"/>
                    </a:lnTo>
                    <a:lnTo>
                      <a:pt x="124" y="4"/>
                    </a:lnTo>
                    <a:lnTo>
                      <a:pt x="125" y="4"/>
                    </a:lnTo>
                    <a:lnTo>
                      <a:pt x="127" y="4"/>
                    </a:lnTo>
                    <a:lnTo>
                      <a:pt x="129" y="4"/>
                    </a:lnTo>
                    <a:lnTo>
                      <a:pt x="129" y="5"/>
                    </a:lnTo>
                    <a:lnTo>
                      <a:pt x="131" y="5"/>
                    </a:lnTo>
                    <a:lnTo>
                      <a:pt x="132" y="5"/>
                    </a:lnTo>
                    <a:lnTo>
                      <a:pt x="134" y="5"/>
                    </a:lnTo>
                    <a:lnTo>
                      <a:pt x="136" y="5"/>
                    </a:lnTo>
                    <a:lnTo>
                      <a:pt x="136" y="7"/>
                    </a:lnTo>
                    <a:lnTo>
                      <a:pt x="137" y="7"/>
                    </a:lnTo>
                    <a:lnTo>
                      <a:pt x="137" y="9"/>
                    </a:lnTo>
                    <a:lnTo>
                      <a:pt x="137" y="10"/>
                    </a:lnTo>
                    <a:close/>
                    <a:moveTo>
                      <a:pt x="32" y="9"/>
                    </a:moveTo>
                    <a:lnTo>
                      <a:pt x="32" y="7"/>
                    </a:lnTo>
                    <a:lnTo>
                      <a:pt x="32" y="5"/>
                    </a:lnTo>
                    <a:lnTo>
                      <a:pt x="34" y="4"/>
                    </a:lnTo>
                    <a:lnTo>
                      <a:pt x="34" y="5"/>
                    </a:lnTo>
                    <a:lnTo>
                      <a:pt x="32" y="7"/>
                    </a:lnTo>
                    <a:lnTo>
                      <a:pt x="32" y="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7" name="Freeform 55">
                <a:extLst>
                  <a:ext uri="{FF2B5EF4-FFF2-40B4-BE49-F238E27FC236}">
                    <a16:creationId xmlns:a16="http://schemas.microsoft.com/office/drawing/2014/main" id="{058881AD-BEFA-0335-69BF-A8B5B4DEA6FC}"/>
                  </a:ext>
                </a:extLst>
              </p:cNvPr>
              <p:cNvSpPr>
                <a:spLocks noEditPoints="1"/>
              </p:cNvSpPr>
              <p:nvPr/>
            </p:nvSpPr>
            <p:spPr bwMode="auto">
              <a:xfrm>
                <a:off x="5764341" y="2833458"/>
                <a:ext cx="13512" cy="12925"/>
              </a:xfrm>
              <a:custGeom>
                <a:avLst/>
                <a:gdLst>
                  <a:gd name="T0" fmla="*/ 34 w 46"/>
                  <a:gd name="T1" fmla="*/ 17 h 44"/>
                  <a:gd name="T2" fmla="*/ 33 w 46"/>
                  <a:gd name="T3" fmla="*/ 21 h 44"/>
                  <a:gd name="T4" fmla="*/ 29 w 46"/>
                  <a:gd name="T5" fmla="*/ 22 h 44"/>
                  <a:gd name="T6" fmla="*/ 31 w 46"/>
                  <a:gd name="T7" fmla="*/ 26 h 44"/>
                  <a:gd name="T8" fmla="*/ 29 w 46"/>
                  <a:gd name="T9" fmla="*/ 29 h 44"/>
                  <a:gd name="T10" fmla="*/ 31 w 46"/>
                  <a:gd name="T11" fmla="*/ 32 h 44"/>
                  <a:gd name="T12" fmla="*/ 31 w 46"/>
                  <a:gd name="T13" fmla="*/ 36 h 44"/>
                  <a:gd name="T14" fmla="*/ 31 w 46"/>
                  <a:gd name="T15" fmla="*/ 41 h 44"/>
                  <a:gd name="T16" fmla="*/ 28 w 46"/>
                  <a:gd name="T17" fmla="*/ 43 h 44"/>
                  <a:gd name="T18" fmla="*/ 24 w 46"/>
                  <a:gd name="T19" fmla="*/ 44 h 44"/>
                  <a:gd name="T20" fmla="*/ 23 w 46"/>
                  <a:gd name="T21" fmla="*/ 44 h 44"/>
                  <a:gd name="T22" fmla="*/ 19 w 46"/>
                  <a:gd name="T23" fmla="*/ 44 h 44"/>
                  <a:gd name="T24" fmla="*/ 14 w 46"/>
                  <a:gd name="T25" fmla="*/ 44 h 44"/>
                  <a:gd name="T26" fmla="*/ 9 w 46"/>
                  <a:gd name="T27" fmla="*/ 44 h 44"/>
                  <a:gd name="T28" fmla="*/ 6 w 46"/>
                  <a:gd name="T29" fmla="*/ 43 h 44"/>
                  <a:gd name="T30" fmla="*/ 4 w 46"/>
                  <a:gd name="T31" fmla="*/ 43 h 44"/>
                  <a:gd name="T32" fmla="*/ 0 w 46"/>
                  <a:gd name="T33" fmla="*/ 44 h 44"/>
                  <a:gd name="T34" fmla="*/ 4 w 46"/>
                  <a:gd name="T35" fmla="*/ 43 h 44"/>
                  <a:gd name="T36" fmla="*/ 7 w 46"/>
                  <a:gd name="T37" fmla="*/ 41 h 44"/>
                  <a:gd name="T38" fmla="*/ 9 w 46"/>
                  <a:gd name="T39" fmla="*/ 38 h 44"/>
                  <a:gd name="T40" fmla="*/ 12 w 46"/>
                  <a:gd name="T41" fmla="*/ 38 h 44"/>
                  <a:gd name="T42" fmla="*/ 16 w 46"/>
                  <a:gd name="T43" fmla="*/ 36 h 44"/>
                  <a:gd name="T44" fmla="*/ 14 w 46"/>
                  <a:gd name="T45" fmla="*/ 32 h 44"/>
                  <a:gd name="T46" fmla="*/ 16 w 46"/>
                  <a:gd name="T47" fmla="*/ 27 h 44"/>
                  <a:gd name="T48" fmla="*/ 12 w 46"/>
                  <a:gd name="T49" fmla="*/ 24 h 44"/>
                  <a:gd name="T50" fmla="*/ 9 w 46"/>
                  <a:gd name="T51" fmla="*/ 24 h 44"/>
                  <a:gd name="T52" fmla="*/ 11 w 46"/>
                  <a:gd name="T53" fmla="*/ 21 h 44"/>
                  <a:gd name="T54" fmla="*/ 16 w 46"/>
                  <a:gd name="T55" fmla="*/ 19 h 44"/>
                  <a:gd name="T56" fmla="*/ 19 w 46"/>
                  <a:gd name="T57" fmla="*/ 19 h 44"/>
                  <a:gd name="T58" fmla="*/ 24 w 46"/>
                  <a:gd name="T59" fmla="*/ 19 h 44"/>
                  <a:gd name="T60" fmla="*/ 29 w 46"/>
                  <a:gd name="T61" fmla="*/ 17 h 44"/>
                  <a:gd name="T62" fmla="*/ 46 w 46"/>
                  <a:gd name="T63" fmla="*/ 2 h 44"/>
                  <a:gd name="T64" fmla="*/ 45 w 46"/>
                  <a:gd name="T65" fmla="*/ 5 h 44"/>
                  <a:gd name="T66" fmla="*/ 41 w 46"/>
                  <a:gd name="T67" fmla="*/ 7 h 44"/>
                  <a:gd name="T68" fmla="*/ 38 w 46"/>
                  <a:gd name="T69" fmla="*/ 7 h 44"/>
                  <a:gd name="T70" fmla="*/ 38 w 46"/>
                  <a:gd name="T71" fmla="*/ 7 h 44"/>
                  <a:gd name="T72" fmla="*/ 38 w 46"/>
                  <a:gd name="T73" fmla="*/ 4 h 44"/>
                  <a:gd name="T74" fmla="*/ 41 w 46"/>
                  <a:gd name="T75" fmla="*/ 2 h 44"/>
                  <a:gd name="T76" fmla="*/ 45 w 46"/>
                  <a:gd name="T77" fmla="*/ 0 h 44"/>
                  <a:gd name="T78" fmla="*/ 7 w 46"/>
                  <a:gd name="T79" fmla="*/ 22 h 44"/>
                  <a:gd name="T80" fmla="*/ 6 w 46"/>
                  <a:gd name="T81" fmla="*/ 22 h 44"/>
                  <a:gd name="T82" fmla="*/ 6 w 46"/>
                  <a:gd name="T83"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6" h="44">
                    <a:moveTo>
                      <a:pt x="31" y="17"/>
                    </a:moveTo>
                    <a:lnTo>
                      <a:pt x="33" y="17"/>
                    </a:lnTo>
                    <a:lnTo>
                      <a:pt x="34" y="17"/>
                    </a:lnTo>
                    <a:lnTo>
                      <a:pt x="34" y="19"/>
                    </a:lnTo>
                    <a:lnTo>
                      <a:pt x="33" y="19"/>
                    </a:lnTo>
                    <a:lnTo>
                      <a:pt x="33" y="21"/>
                    </a:lnTo>
                    <a:lnTo>
                      <a:pt x="31" y="21"/>
                    </a:lnTo>
                    <a:lnTo>
                      <a:pt x="31" y="22"/>
                    </a:lnTo>
                    <a:lnTo>
                      <a:pt x="29" y="22"/>
                    </a:lnTo>
                    <a:lnTo>
                      <a:pt x="29" y="24"/>
                    </a:lnTo>
                    <a:lnTo>
                      <a:pt x="29" y="26"/>
                    </a:lnTo>
                    <a:lnTo>
                      <a:pt x="31" y="26"/>
                    </a:lnTo>
                    <a:lnTo>
                      <a:pt x="31" y="27"/>
                    </a:lnTo>
                    <a:lnTo>
                      <a:pt x="31" y="29"/>
                    </a:lnTo>
                    <a:lnTo>
                      <a:pt x="29" y="29"/>
                    </a:lnTo>
                    <a:lnTo>
                      <a:pt x="29" y="31"/>
                    </a:lnTo>
                    <a:lnTo>
                      <a:pt x="29" y="32"/>
                    </a:lnTo>
                    <a:lnTo>
                      <a:pt x="31" y="32"/>
                    </a:lnTo>
                    <a:lnTo>
                      <a:pt x="31" y="34"/>
                    </a:lnTo>
                    <a:lnTo>
                      <a:pt x="33" y="34"/>
                    </a:lnTo>
                    <a:lnTo>
                      <a:pt x="31" y="36"/>
                    </a:lnTo>
                    <a:lnTo>
                      <a:pt x="31" y="38"/>
                    </a:lnTo>
                    <a:lnTo>
                      <a:pt x="31" y="39"/>
                    </a:lnTo>
                    <a:lnTo>
                      <a:pt x="31" y="41"/>
                    </a:lnTo>
                    <a:lnTo>
                      <a:pt x="29" y="41"/>
                    </a:lnTo>
                    <a:lnTo>
                      <a:pt x="29" y="43"/>
                    </a:lnTo>
                    <a:lnTo>
                      <a:pt x="28" y="43"/>
                    </a:lnTo>
                    <a:lnTo>
                      <a:pt x="26" y="43"/>
                    </a:lnTo>
                    <a:lnTo>
                      <a:pt x="26" y="44"/>
                    </a:lnTo>
                    <a:lnTo>
                      <a:pt x="24" y="44"/>
                    </a:lnTo>
                    <a:lnTo>
                      <a:pt x="23" y="44"/>
                    </a:lnTo>
                    <a:lnTo>
                      <a:pt x="23" y="43"/>
                    </a:lnTo>
                    <a:lnTo>
                      <a:pt x="23" y="44"/>
                    </a:lnTo>
                    <a:lnTo>
                      <a:pt x="21" y="43"/>
                    </a:lnTo>
                    <a:lnTo>
                      <a:pt x="21" y="44"/>
                    </a:lnTo>
                    <a:lnTo>
                      <a:pt x="19" y="44"/>
                    </a:lnTo>
                    <a:lnTo>
                      <a:pt x="17" y="44"/>
                    </a:lnTo>
                    <a:lnTo>
                      <a:pt x="16" y="44"/>
                    </a:lnTo>
                    <a:lnTo>
                      <a:pt x="14" y="44"/>
                    </a:lnTo>
                    <a:lnTo>
                      <a:pt x="12" y="44"/>
                    </a:lnTo>
                    <a:lnTo>
                      <a:pt x="11" y="44"/>
                    </a:lnTo>
                    <a:lnTo>
                      <a:pt x="9" y="44"/>
                    </a:lnTo>
                    <a:lnTo>
                      <a:pt x="7" y="44"/>
                    </a:lnTo>
                    <a:lnTo>
                      <a:pt x="7" y="43"/>
                    </a:lnTo>
                    <a:lnTo>
                      <a:pt x="6" y="43"/>
                    </a:lnTo>
                    <a:lnTo>
                      <a:pt x="6" y="44"/>
                    </a:lnTo>
                    <a:lnTo>
                      <a:pt x="4" y="44"/>
                    </a:lnTo>
                    <a:lnTo>
                      <a:pt x="4" y="43"/>
                    </a:lnTo>
                    <a:lnTo>
                      <a:pt x="4" y="44"/>
                    </a:lnTo>
                    <a:lnTo>
                      <a:pt x="2" y="44"/>
                    </a:lnTo>
                    <a:lnTo>
                      <a:pt x="0" y="44"/>
                    </a:lnTo>
                    <a:lnTo>
                      <a:pt x="0" y="43"/>
                    </a:lnTo>
                    <a:lnTo>
                      <a:pt x="2" y="43"/>
                    </a:lnTo>
                    <a:lnTo>
                      <a:pt x="4" y="43"/>
                    </a:lnTo>
                    <a:lnTo>
                      <a:pt x="4" y="41"/>
                    </a:lnTo>
                    <a:lnTo>
                      <a:pt x="6" y="41"/>
                    </a:lnTo>
                    <a:lnTo>
                      <a:pt x="7" y="41"/>
                    </a:lnTo>
                    <a:lnTo>
                      <a:pt x="7" y="39"/>
                    </a:lnTo>
                    <a:lnTo>
                      <a:pt x="9" y="39"/>
                    </a:lnTo>
                    <a:lnTo>
                      <a:pt x="9" y="38"/>
                    </a:lnTo>
                    <a:lnTo>
                      <a:pt x="11" y="38"/>
                    </a:lnTo>
                    <a:lnTo>
                      <a:pt x="12" y="39"/>
                    </a:lnTo>
                    <a:lnTo>
                      <a:pt x="12" y="38"/>
                    </a:lnTo>
                    <a:lnTo>
                      <a:pt x="14" y="38"/>
                    </a:lnTo>
                    <a:lnTo>
                      <a:pt x="16" y="38"/>
                    </a:lnTo>
                    <a:lnTo>
                      <a:pt x="16" y="36"/>
                    </a:lnTo>
                    <a:lnTo>
                      <a:pt x="16" y="34"/>
                    </a:lnTo>
                    <a:lnTo>
                      <a:pt x="14" y="34"/>
                    </a:lnTo>
                    <a:lnTo>
                      <a:pt x="14" y="32"/>
                    </a:lnTo>
                    <a:lnTo>
                      <a:pt x="14" y="31"/>
                    </a:lnTo>
                    <a:lnTo>
                      <a:pt x="16" y="29"/>
                    </a:lnTo>
                    <a:lnTo>
                      <a:pt x="16" y="27"/>
                    </a:lnTo>
                    <a:lnTo>
                      <a:pt x="14" y="26"/>
                    </a:lnTo>
                    <a:lnTo>
                      <a:pt x="14" y="24"/>
                    </a:lnTo>
                    <a:lnTo>
                      <a:pt x="12" y="24"/>
                    </a:lnTo>
                    <a:lnTo>
                      <a:pt x="11" y="22"/>
                    </a:lnTo>
                    <a:lnTo>
                      <a:pt x="11" y="24"/>
                    </a:lnTo>
                    <a:lnTo>
                      <a:pt x="9" y="24"/>
                    </a:lnTo>
                    <a:lnTo>
                      <a:pt x="9" y="22"/>
                    </a:lnTo>
                    <a:lnTo>
                      <a:pt x="9" y="21"/>
                    </a:lnTo>
                    <a:lnTo>
                      <a:pt x="11" y="21"/>
                    </a:lnTo>
                    <a:lnTo>
                      <a:pt x="12" y="21"/>
                    </a:lnTo>
                    <a:lnTo>
                      <a:pt x="14" y="21"/>
                    </a:lnTo>
                    <a:lnTo>
                      <a:pt x="16" y="19"/>
                    </a:lnTo>
                    <a:lnTo>
                      <a:pt x="16" y="21"/>
                    </a:lnTo>
                    <a:lnTo>
                      <a:pt x="17" y="19"/>
                    </a:lnTo>
                    <a:lnTo>
                      <a:pt x="19" y="19"/>
                    </a:lnTo>
                    <a:lnTo>
                      <a:pt x="21" y="19"/>
                    </a:lnTo>
                    <a:lnTo>
                      <a:pt x="23" y="19"/>
                    </a:lnTo>
                    <a:lnTo>
                      <a:pt x="24" y="19"/>
                    </a:lnTo>
                    <a:lnTo>
                      <a:pt x="26" y="19"/>
                    </a:lnTo>
                    <a:lnTo>
                      <a:pt x="28" y="19"/>
                    </a:lnTo>
                    <a:lnTo>
                      <a:pt x="29" y="17"/>
                    </a:lnTo>
                    <a:lnTo>
                      <a:pt x="31" y="17"/>
                    </a:lnTo>
                    <a:close/>
                    <a:moveTo>
                      <a:pt x="46" y="0"/>
                    </a:moveTo>
                    <a:lnTo>
                      <a:pt x="46" y="2"/>
                    </a:lnTo>
                    <a:lnTo>
                      <a:pt x="46" y="4"/>
                    </a:lnTo>
                    <a:lnTo>
                      <a:pt x="45" y="4"/>
                    </a:lnTo>
                    <a:lnTo>
                      <a:pt x="45" y="5"/>
                    </a:lnTo>
                    <a:lnTo>
                      <a:pt x="43" y="5"/>
                    </a:lnTo>
                    <a:lnTo>
                      <a:pt x="41" y="5"/>
                    </a:lnTo>
                    <a:lnTo>
                      <a:pt x="41" y="7"/>
                    </a:lnTo>
                    <a:lnTo>
                      <a:pt x="40" y="5"/>
                    </a:lnTo>
                    <a:lnTo>
                      <a:pt x="40" y="7"/>
                    </a:lnTo>
                    <a:lnTo>
                      <a:pt x="38" y="7"/>
                    </a:lnTo>
                    <a:lnTo>
                      <a:pt x="36" y="7"/>
                    </a:lnTo>
                    <a:lnTo>
                      <a:pt x="36" y="5"/>
                    </a:lnTo>
                    <a:lnTo>
                      <a:pt x="38" y="7"/>
                    </a:lnTo>
                    <a:lnTo>
                      <a:pt x="36" y="5"/>
                    </a:lnTo>
                    <a:lnTo>
                      <a:pt x="38" y="5"/>
                    </a:lnTo>
                    <a:lnTo>
                      <a:pt x="38" y="4"/>
                    </a:lnTo>
                    <a:lnTo>
                      <a:pt x="40" y="4"/>
                    </a:lnTo>
                    <a:lnTo>
                      <a:pt x="41" y="4"/>
                    </a:lnTo>
                    <a:lnTo>
                      <a:pt x="41" y="2"/>
                    </a:lnTo>
                    <a:lnTo>
                      <a:pt x="43" y="2"/>
                    </a:lnTo>
                    <a:lnTo>
                      <a:pt x="45" y="2"/>
                    </a:lnTo>
                    <a:lnTo>
                      <a:pt x="45" y="0"/>
                    </a:lnTo>
                    <a:lnTo>
                      <a:pt x="46" y="2"/>
                    </a:lnTo>
                    <a:lnTo>
                      <a:pt x="46" y="0"/>
                    </a:lnTo>
                    <a:close/>
                    <a:moveTo>
                      <a:pt x="7" y="22"/>
                    </a:moveTo>
                    <a:lnTo>
                      <a:pt x="9" y="22"/>
                    </a:lnTo>
                    <a:lnTo>
                      <a:pt x="7" y="22"/>
                    </a:lnTo>
                    <a:close/>
                    <a:moveTo>
                      <a:pt x="6" y="22"/>
                    </a:moveTo>
                    <a:lnTo>
                      <a:pt x="6" y="24"/>
                    </a:lnTo>
                    <a:lnTo>
                      <a:pt x="6" y="22"/>
                    </a:lnTo>
                    <a:close/>
                    <a:moveTo>
                      <a:pt x="6" y="22"/>
                    </a:moveTo>
                    <a:lnTo>
                      <a:pt x="7" y="22"/>
                    </a:lnTo>
                    <a:lnTo>
                      <a:pt x="6" y="2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9" name="Freeform 57">
                <a:extLst>
                  <a:ext uri="{FF2B5EF4-FFF2-40B4-BE49-F238E27FC236}">
                    <a16:creationId xmlns:a16="http://schemas.microsoft.com/office/drawing/2014/main" id="{77F6F645-CED9-0C71-FBF4-B8875F1EEAC5}"/>
                  </a:ext>
                </a:extLst>
              </p:cNvPr>
              <p:cNvSpPr>
                <a:spLocks noEditPoints="1"/>
              </p:cNvSpPr>
              <p:nvPr/>
            </p:nvSpPr>
            <p:spPr bwMode="auto">
              <a:xfrm>
                <a:off x="5798423" y="3260229"/>
                <a:ext cx="53457" cy="57570"/>
              </a:xfrm>
              <a:custGeom>
                <a:avLst/>
                <a:gdLst>
                  <a:gd name="T0" fmla="*/ 167 w 182"/>
                  <a:gd name="T1" fmla="*/ 153 h 196"/>
                  <a:gd name="T2" fmla="*/ 162 w 182"/>
                  <a:gd name="T3" fmla="*/ 163 h 196"/>
                  <a:gd name="T4" fmla="*/ 156 w 182"/>
                  <a:gd name="T5" fmla="*/ 172 h 196"/>
                  <a:gd name="T6" fmla="*/ 146 w 182"/>
                  <a:gd name="T7" fmla="*/ 182 h 196"/>
                  <a:gd name="T8" fmla="*/ 134 w 182"/>
                  <a:gd name="T9" fmla="*/ 187 h 196"/>
                  <a:gd name="T10" fmla="*/ 128 w 182"/>
                  <a:gd name="T11" fmla="*/ 190 h 196"/>
                  <a:gd name="T12" fmla="*/ 117 w 182"/>
                  <a:gd name="T13" fmla="*/ 192 h 196"/>
                  <a:gd name="T14" fmla="*/ 107 w 182"/>
                  <a:gd name="T15" fmla="*/ 192 h 196"/>
                  <a:gd name="T16" fmla="*/ 100 w 182"/>
                  <a:gd name="T17" fmla="*/ 187 h 196"/>
                  <a:gd name="T18" fmla="*/ 87 w 182"/>
                  <a:gd name="T19" fmla="*/ 189 h 196"/>
                  <a:gd name="T20" fmla="*/ 78 w 182"/>
                  <a:gd name="T21" fmla="*/ 192 h 196"/>
                  <a:gd name="T22" fmla="*/ 70 w 182"/>
                  <a:gd name="T23" fmla="*/ 189 h 196"/>
                  <a:gd name="T24" fmla="*/ 63 w 182"/>
                  <a:gd name="T25" fmla="*/ 185 h 196"/>
                  <a:gd name="T26" fmla="*/ 53 w 182"/>
                  <a:gd name="T27" fmla="*/ 180 h 196"/>
                  <a:gd name="T28" fmla="*/ 44 w 182"/>
                  <a:gd name="T29" fmla="*/ 173 h 196"/>
                  <a:gd name="T30" fmla="*/ 32 w 182"/>
                  <a:gd name="T31" fmla="*/ 173 h 196"/>
                  <a:gd name="T32" fmla="*/ 24 w 182"/>
                  <a:gd name="T33" fmla="*/ 173 h 196"/>
                  <a:gd name="T34" fmla="*/ 19 w 182"/>
                  <a:gd name="T35" fmla="*/ 168 h 196"/>
                  <a:gd name="T36" fmla="*/ 9 w 182"/>
                  <a:gd name="T37" fmla="*/ 161 h 196"/>
                  <a:gd name="T38" fmla="*/ 2 w 182"/>
                  <a:gd name="T39" fmla="*/ 151 h 196"/>
                  <a:gd name="T40" fmla="*/ 0 w 182"/>
                  <a:gd name="T41" fmla="*/ 134 h 196"/>
                  <a:gd name="T42" fmla="*/ 5 w 182"/>
                  <a:gd name="T43" fmla="*/ 119 h 196"/>
                  <a:gd name="T44" fmla="*/ 14 w 182"/>
                  <a:gd name="T45" fmla="*/ 112 h 196"/>
                  <a:gd name="T46" fmla="*/ 10 w 182"/>
                  <a:gd name="T47" fmla="*/ 100 h 196"/>
                  <a:gd name="T48" fmla="*/ 10 w 182"/>
                  <a:gd name="T49" fmla="*/ 90 h 196"/>
                  <a:gd name="T50" fmla="*/ 10 w 182"/>
                  <a:gd name="T51" fmla="*/ 82 h 196"/>
                  <a:gd name="T52" fmla="*/ 10 w 182"/>
                  <a:gd name="T53" fmla="*/ 70 h 196"/>
                  <a:gd name="T54" fmla="*/ 17 w 182"/>
                  <a:gd name="T55" fmla="*/ 56 h 196"/>
                  <a:gd name="T56" fmla="*/ 17 w 182"/>
                  <a:gd name="T57" fmla="*/ 48 h 196"/>
                  <a:gd name="T58" fmla="*/ 20 w 182"/>
                  <a:gd name="T59" fmla="*/ 36 h 196"/>
                  <a:gd name="T60" fmla="*/ 22 w 182"/>
                  <a:gd name="T61" fmla="*/ 25 h 196"/>
                  <a:gd name="T62" fmla="*/ 22 w 182"/>
                  <a:gd name="T63" fmla="*/ 13 h 196"/>
                  <a:gd name="T64" fmla="*/ 29 w 182"/>
                  <a:gd name="T65" fmla="*/ 5 h 196"/>
                  <a:gd name="T66" fmla="*/ 34 w 182"/>
                  <a:gd name="T67" fmla="*/ 7 h 196"/>
                  <a:gd name="T68" fmla="*/ 41 w 182"/>
                  <a:gd name="T69" fmla="*/ 7 h 196"/>
                  <a:gd name="T70" fmla="*/ 51 w 182"/>
                  <a:gd name="T71" fmla="*/ 0 h 196"/>
                  <a:gd name="T72" fmla="*/ 61 w 182"/>
                  <a:gd name="T73" fmla="*/ 5 h 196"/>
                  <a:gd name="T74" fmla="*/ 66 w 182"/>
                  <a:gd name="T75" fmla="*/ 10 h 196"/>
                  <a:gd name="T76" fmla="*/ 70 w 182"/>
                  <a:gd name="T77" fmla="*/ 15 h 196"/>
                  <a:gd name="T78" fmla="*/ 77 w 182"/>
                  <a:gd name="T79" fmla="*/ 19 h 196"/>
                  <a:gd name="T80" fmla="*/ 82 w 182"/>
                  <a:gd name="T81" fmla="*/ 25 h 196"/>
                  <a:gd name="T82" fmla="*/ 88 w 182"/>
                  <a:gd name="T83" fmla="*/ 36 h 196"/>
                  <a:gd name="T84" fmla="*/ 95 w 182"/>
                  <a:gd name="T85" fmla="*/ 34 h 196"/>
                  <a:gd name="T86" fmla="*/ 100 w 182"/>
                  <a:gd name="T87" fmla="*/ 32 h 196"/>
                  <a:gd name="T88" fmla="*/ 105 w 182"/>
                  <a:gd name="T89" fmla="*/ 39 h 196"/>
                  <a:gd name="T90" fmla="*/ 109 w 182"/>
                  <a:gd name="T91" fmla="*/ 46 h 196"/>
                  <a:gd name="T92" fmla="*/ 117 w 182"/>
                  <a:gd name="T93" fmla="*/ 48 h 196"/>
                  <a:gd name="T94" fmla="*/ 124 w 182"/>
                  <a:gd name="T95" fmla="*/ 53 h 196"/>
                  <a:gd name="T96" fmla="*/ 134 w 182"/>
                  <a:gd name="T97" fmla="*/ 56 h 196"/>
                  <a:gd name="T98" fmla="*/ 143 w 182"/>
                  <a:gd name="T99" fmla="*/ 68 h 196"/>
                  <a:gd name="T100" fmla="*/ 151 w 182"/>
                  <a:gd name="T101" fmla="*/ 71 h 196"/>
                  <a:gd name="T102" fmla="*/ 158 w 182"/>
                  <a:gd name="T103" fmla="*/ 78 h 196"/>
                  <a:gd name="T104" fmla="*/ 162 w 182"/>
                  <a:gd name="T105" fmla="*/ 85 h 196"/>
                  <a:gd name="T106" fmla="*/ 168 w 182"/>
                  <a:gd name="T107" fmla="*/ 93 h 196"/>
                  <a:gd name="T108" fmla="*/ 175 w 182"/>
                  <a:gd name="T109" fmla="*/ 99 h 196"/>
                  <a:gd name="T110" fmla="*/ 179 w 182"/>
                  <a:gd name="T111" fmla="*/ 105 h 196"/>
                  <a:gd name="T112" fmla="*/ 170 w 182"/>
                  <a:gd name="T113" fmla="*/ 119 h 196"/>
                  <a:gd name="T114" fmla="*/ 168 w 182"/>
                  <a:gd name="T115" fmla="*/ 129 h 196"/>
                  <a:gd name="T116" fmla="*/ 168 w 182"/>
                  <a:gd name="T117" fmla="*/ 143 h 196"/>
                  <a:gd name="T118" fmla="*/ 71 w 182"/>
                  <a:gd name="T119" fmla="*/ 187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2" h="196">
                    <a:moveTo>
                      <a:pt x="172" y="144"/>
                    </a:moveTo>
                    <a:lnTo>
                      <a:pt x="172" y="146"/>
                    </a:lnTo>
                    <a:lnTo>
                      <a:pt x="170" y="146"/>
                    </a:lnTo>
                    <a:lnTo>
                      <a:pt x="170" y="148"/>
                    </a:lnTo>
                    <a:lnTo>
                      <a:pt x="168" y="150"/>
                    </a:lnTo>
                    <a:lnTo>
                      <a:pt x="168" y="151"/>
                    </a:lnTo>
                    <a:lnTo>
                      <a:pt x="168" y="153"/>
                    </a:lnTo>
                    <a:lnTo>
                      <a:pt x="167" y="153"/>
                    </a:lnTo>
                    <a:lnTo>
                      <a:pt x="167" y="155"/>
                    </a:lnTo>
                    <a:lnTo>
                      <a:pt x="167" y="156"/>
                    </a:lnTo>
                    <a:lnTo>
                      <a:pt x="167" y="158"/>
                    </a:lnTo>
                    <a:lnTo>
                      <a:pt x="165" y="158"/>
                    </a:lnTo>
                    <a:lnTo>
                      <a:pt x="163" y="160"/>
                    </a:lnTo>
                    <a:lnTo>
                      <a:pt x="163" y="161"/>
                    </a:lnTo>
                    <a:lnTo>
                      <a:pt x="162" y="161"/>
                    </a:lnTo>
                    <a:lnTo>
                      <a:pt x="162" y="163"/>
                    </a:lnTo>
                    <a:lnTo>
                      <a:pt x="160" y="163"/>
                    </a:lnTo>
                    <a:lnTo>
                      <a:pt x="160" y="165"/>
                    </a:lnTo>
                    <a:lnTo>
                      <a:pt x="158" y="167"/>
                    </a:lnTo>
                    <a:lnTo>
                      <a:pt x="158" y="168"/>
                    </a:lnTo>
                    <a:lnTo>
                      <a:pt x="160" y="170"/>
                    </a:lnTo>
                    <a:lnTo>
                      <a:pt x="158" y="170"/>
                    </a:lnTo>
                    <a:lnTo>
                      <a:pt x="158" y="172"/>
                    </a:lnTo>
                    <a:lnTo>
                      <a:pt x="156" y="172"/>
                    </a:lnTo>
                    <a:lnTo>
                      <a:pt x="155" y="173"/>
                    </a:lnTo>
                    <a:lnTo>
                      <a:pt x="153" y="173"/>
                    </a:lnTo>
                    <a:lnTo>
                      <a:pt x="151" y="175"/>
                    </a:lnTo>
                    <a:lnTo>
                      <a:pt x="150" y="177"/>
                    </a:lnTo>
                    <a:lnTo>
                      <a:pt x="148" y="178"/>
                    </a:lnTo>
                    <a:lnTo>
                      <a:pt x="148" y="180"/>
                    </a:lnTo>
                    <a:lnTo>
                      <a:pt x="146" y="180"/>
                    </a:lnTo>
                    <a:lnTo>
                      <a:pt x="146" y="182"/>
                    </a:lnTo>
                    <a:lnTo>
                      <a:pt x="145" y="182"/>
                    </a:lnTo>
                    <a:lnTo>
                      <a:pt x="143" y="182"/>
                    </a:lnTo>
                    <a:lnTo>
                      <a:pt x="141" y="184"/>
                    </a:lnTo>
                    <a:lnTo>
                      <a:pt x="139" y="184"/>
                    </a:lnTo>
                    <a:lnTo>
                      <a:pt x="139" y="185"/>
                    </a:lnTo>
                    <a:lnTo>
                      <a:pt x="138" y="185"/>
                    </a:lnTo>
                    <a:lnTo>
                      <a:pt x="136" y="185"/>
                    </a:lnTo>
                    <a:lnTo>
                      <a:pt x="134" y="187"/>
                    </a:lnTo>
                    <a:lnTo>
                      <a:pt x="133" y="187"/>
                    </a:lnTo>
                    <a:lnTo>
                      <a:pt x="133" y="189"/>
                    </a:lnTo>
                    <a:lnTo>
                      <a:pt x="131" y="189"/>
                    </a:lnTo>
                    <a:lnTo>
                      <a:pt x="129" y="189"/>
                    </a:lnTo>
                    <a:lnTo>
                      <a:pt x="129" y="190"/>
                    </a:lnTo>
                    <a:lnTo>
                      <a:pt x="129" y="189"/>
                    </a:lnTo>
                    <a:lnTo>
                      <a:pt x="129" y="190"/>
                    </a:lnTo>
                    <a:lnTo>
                      <a:pt x="128" y="190"/>
                    </a:lnTo>
                    <a:lnTo>
                      <a:pt x="126" y="190"/>
                    </a:lnTo>
                    <a:lnTo>
                      <a:pt x="124" y="192"/>
                    </a:lnTo>
                    <a:lnTo>
                      <a:pt x="122" y="192"/>
                    </a:lnTo>
                    <a:lnTo>
                      <a:pt x="121" y="194"/>
                    </a:lnTo>
                    <a:lnTo>
                      <a:pt x="119" y="196"/>
                    </a:lnTo>
                    <a:lnTo>
                      <a:pt x="119" y="194"/>
                    </a:lnTo>
                    <a:lnTo>
                      <a:pt x="119" y="192"/>
                    </a:lnTo>
                    <a:lnTo>
                      <a:pt x="117" y="192"/>
                    </a:lnTo>
                    <a:lnTo>
                      <a:pt x="116" y="192"/>
                    </a:lnTo>
                    <a:lnTo>
                      <a:pt x="116" y="190"/>
                    </a:lnTo>
                    <a:lnTo>
                      <a:pt x="114" y="190"/>
                    </a:lnTo>
                    <a:lnTo>
                      <a:pt x="112" y="190"/>
                    </a:lnTo>
                    <a:lnTo>
                      <a:pt x="112" y="192"/>
                    </a:lnTo>
                    <a:lnTo>
                      <a:pt x="111" y="192"/>
                    </a:lnTo>
                    <a:lnTo>
                      <a:pt x="109" y="192"/>
                    </a:lnTo>
                    <a:lnTo>
                      <a:pt x="107" y="192"/>
                    </a:lnTo>
                    <a:lnTo>
                      <a:pt x="109" y="190"/>
                    </a:lnTo>
                    <a:lnTo>
                      <a:pt x="107" y="190"/>
                    </a:lnTo>
                    <a:lnTo>
                      <a:pt x="107" y="189"/>
                    </a:lnTo>
                    <a:lnTo>
                      <a:pt x="105" y="189"/>
                    </a:lnTo>
                    <a:lnTo>
                      <a:pt x="104" y="189"/>
                    </a:lnTo>
                    <a:lnTo>
                      <a:pt x="104" y="187"/>
                    </a:lnTo>
                    <a:lnTo>
                      <a:pt x="102" y="187"/>
                    </a:lnTo>
                    <a:lnTo>
                      <a:pt x="100" y="187"/>
                    </a:lnTo>
                    <a:lnTo>
                      <a:pt x="99" y="187"/>
                    </a:lnTo>
                    <a:lnTo>
                      <a:pt x="97" y="187"/>
                    </a:lnTo>
                    <a:lnTo>
                      <a:pt x="95" y="187"/>
                    </a:lnTo>
                    <a:lnTo>
                      <a:pt x="94" y="187"/>
                    </a:lnTo>
                    <a:lnTo>
                      <a:pt x="92" y="187"/>
                    </a:lnTo>
                    <a:lnTo>
                      <a:pt x="90" y="187"/>
                    </a:lnTo>
                    <a:lnTo>
                      <a:pt x="88" y="187"/>
                    </a:lnTo>
                    <a:lnTo>
                      <a:pt x="87" y="189"/>
                    </a:lnTo>
                    <a:lnTo>
                      <a:pt x="85" y="189"/>
                    </a:lnTo>
                    <a:lnTo>
                      <a:pt x="85" y="190"/>
                    </a:lnTo>
                    <a:lnTo>
                      <a:pt x="83" y="190"/>
                    </a:lnTo>
                    <a:lnTo>
                      <a:pt x="82" y="192"/>
                    </a:lnTo>
                    <a:lnTo>
                      <a:pt x="80" y="192"/>
                    </a:lnTo>
                    <a:lnTo>
                      <a:pt x="78" y="192"/>
                    </a:lnTo>
                    <a:lnTo>
                      <a:pt x="78" y="194"/>
                    </a:lnTo>
                    <a:lnTo>
                      <a:pt x="78" y="192"/>
                    </a:lnTo>
                    <a:lnTo>
                      <a:pt x="77" y="192"/>
                    </a:lnTo>
                    <a:lnTo>
                      <a:pt x="77" y="190"/>
                    </a:lnTo>
                    <a:lnTo>
                      <a:pt x="75" y="190"/>
                    </a:lnTo>
                    <a:lnTo>
                      <a:pt x="75" y="192"/>
                    </a:lnTo>
                    <a:lnTo>
                      <a:pt x="73" y="192"/>
                    </a:lnTo>
                    <a:lnTo>
                      <a:pt x="71" y="190"/>
                    </a:lnTo>
                    <a:lnTo>
                      <a:pt x="70" y="190"/>
                    </a:lnTo>
                    <a:lnTo>
                      <a:pt x="70" y="189"/>
                    </a:lnTo>
                    <a:lnTo>
                      <a:pt x="71" y="187"/>
                    </a:lnTo>
                    <a:lnTo>
                      <a:pt x="70" y="187"/>
                    </a:lnTo>
                    <a:lnTo>
                      <a:pt x="70" y="185"/>
                    </a:lnTo>
                    <a:lnTo>
                      <a:pt x="68" y="185"/>
                    </a:lnTo>
                    <a:lnTo>
                      <a:pt x="66" y="185"/>
                    </a:lnTo>
                    <a:lnTo>
                      <a:pt x="65" y="187"/>
                    </a:lnTo>
                    <a:lnTo>
                      <a:pt x="65" y="185"/>
                    </a:lnTo>
                    <a:lnTo>
                      <a:pt x="63" y="185"/>
                    </a:lnTo>
                    <a:lnTo>
                      <a:pt x="61" y="185"/>
                    </a:lnTo>
                    <a:lnTo>
                      <a:pt x="61" y="184"/>
                    </a:lnTo>
                    <a:lnTo>
                      <a:pt x="60" y="184"/>
                    </a:lnTo>
                    <a:lnTo>
                      <a:pt x="58" y="184"/>
                    </a:lnTo>
                    <a:lnTo>
                      <a:pt x="56" y="184"/>
                    </a:lnTo>
                    <a:lnTo>
                      <a:pt x="54" y="182"/>
                    </a:lnTo>
                    <a:lnTo>
                      <a:pt x="53" y="182"/>
                    </a:lnTo>
                    <a:lnTo>
                      <a:pt x="53" y="180"/>
                    </a:lnTo>
                    <a:lnTo>
                      <a:pt x="51" y="180"/>
                    </a:lnTo>
                    <a:lnTo>
                      <a:pt x="51" y="178"/>
                    </a:lnTo>
                    <a:lnTo>
                      <a:pt x="49" y="177"/>
                    </a:lnTo>
                    <a:lnTo>
                      <a:pt x="48" y="177"/>
                    </a:lnTo>
                    <a:lnTo>
                      <a:pt x="48" y="175"/>
                    </a:lnTo>
                    <a:lnTo>
                      <a:pt x="46" y="175"/>
                    </a:lnTo>
                    <a:lnTo>
                      <a:pt x="46" y="173"/>
                    </a:lnTo>
                    <a:lnTo>
                      <a:pt x="44" y="173"/>
                    </a:lnTo>
                    <a:lnTo>
                      <a:pt x="43" y="173"/>
                    </a:lnTo>
                    <a:lnTo>
                      <a:pt x="41" y="173"/>
                    </a:lnTo>
                    <a:lnTo>
                      <a:pt x="39" y="173"/>
                    </a:lnTo>
                    <a:lnTo>
                      <a:pt x="37" y="173"/>
                    </a:lnTo>
                    <a:lnTo>
                      <a:pt x="37" y="172"/>
                    </a:lnTo>
                    <a:lnTo>
                      <a:pt x="36" y="173"/>
                    </a:lnTo>
                    <a:lnTo>
                      <a:pt x="34" y="173"/>
                    </a:lnTo>
                    <a:lnTo>
                      <a:pt x="32" y="173"/>
                    </a:lnTo>
                    <a:lnTo>
                      <a:pt x="31" y="173"/>
                    </a:lnTo>
                    <a:lnTo>
                      <a:pt x="31" y="172"/>
                    </a:lnTo>
                    <a:lnTo>
                      <a:pt x="29" y="173"/>
                    </a:lnTo>
                    <a:lnTo>
                      <a:pt x="27" y="173"/>
                    </a:lnTo>
                    <a:lnTo>
                      <a:pt x="26" y="173"/>
                    </a:lnTo>
                    <a:lnTo>
                      <a:pt x="24" y="173"/>
                    </a:lnTo>
                    <a:lnTo>
                      <a:pt x="24" y="175"/>
                    </a:lnTo>
                    <a:lnTo>
                      <a:pt x="24" y="173"/>
                    </a:lnTo>
                    <a:lnTo>
                      <a:pt x="22" y="175"/>
                    </a:lnTo>
                    <a:lnTo>
                      <a:pt x="20" y="175"/>
                    </a:lnTo>
                    <a:lnTo>
                      <a:pt x="22" y="173"/>
                    </a:lnTo>
                    <a:lnTo>
                      <a:pt x="20" y="173"/>
                    </a:lnTo>
                    <a:lnTo>
                      <a:pt x="20" y="172"/>
                    </a:lnTo>
                    <a:lnTo>
                      <a:pt x="20" y="170"/>
                    </a:lnTo>
                    <a:lnTo>
                      <a:pt x="19" y="170"/>
                    </a:lnTo>
                    <a:lnTo>
                      <a:pt x="19" y="168"/>
                    </a:lnTo>
                    <a:lnTo>
                      <a:pt x="17" y="168"/>
                    </a:lnTo>
                    <a:lnTo>
                      <a:pt x="17" y="167"/>
                    </a:lnTo>
                    <a:lnTo>
                      <a:pt x="15" y="165"/>
                    </a:lnTo>
                    <a:lnTo>
                      <a:pt x="14" y="165"/>
                    </a:lnTo>
                    <a:lnTo>
                      <a:pt x="14" y="163"/>
                    </a:lnTo>
                    <a:lnTo>
                      <a:pt x="12" y="161"/>
                    </a:lnTo>
                    <a:lnTo>
                      <a:pt x="10" y="161"/>
                    </a:lnTo>
                    <a:lnTo>
                      <a:pt x="9" y="161"/>
                    </a:lnTo>
                    <a:lnTo>
                      <a:pt x="9" y="160"/>
                    </a:lnTo>
                    <a:lnTo>
                      <a:pt x="9" y="158"/>
                    </a:lnTo>
                    <a:lnTo>
                      <a:pt x="7" y="156"/>
                    </a:lnTo>
                    <a:lnTo>
                      <a:pt x="7" y="155"/>
                    </a:lnTo>
                    <a:lnTo>
                      <a:pt x="5" y="155"/>
                    </a:lnTo>
                    <a:lnTo>
                      <a:pt x="5" y="153"/>
                    </a:lnTo>
                    <a:lnTo>
                      <a:pt x="3" y="153"/>
                    </a:lnTo>
                    <a:lnTo>
                      <a:pt x="2" y="151"/>
                    </a:lnTo>
                    <a:lnTo>
                      <a:pt x="2" y="150"/>
                    </a:lnTo>
                    <a:lnTo>
                      <a:pt x="2" y="148"/>
                    </a:lnTo>
                    <a:lnTo>
                      <a:pt x="2" y="146"/>
                    </a:lnTo>
                    <a:lnTo>
                      <a:pt x="0" y="144"/>
                    </a:lnTo>
                    <a:lnTo>
                      <a:pt x="0" y="143"/>
                    </a:lnTo>
                    <a:lnTo>
                      <a:pt x="0" y="138"/>
                    </a:lnTo>
                    <a:lnTo>
                      <a:pt x="0" y="136"/>
                    </a:lnTo>
                    <a:lnTo>
                      <a:pt x="0" y="134"/>
                    </a:lnTo>
                    <a:lnTo>
                      <a:pt x="0" y="131"/>
                    </a:lnTo>
                    <a:lnTo>
                      <a:pt x="2" y="129"/>
                    </a:lnTo>
                    <a:lnTo>
                      <a:pt x="2" y="127"/>
                    </a:lnTo>
                    <a:lnTo>
                      <a:pt x="3" y="127"/>
                    </a:lnTo>
                    <a:lnTo>
                      <a:pt x="3" y="126"/>
                    </a:lnTo>
                    <a:lnTo>
                      <a:pt x="3" y="121"/>
                    </a:lnTo>
                    <a:lnTo>
                      <a:pt x="3" y="119"/>
                    </a:lnTo>
                    <a:lnTo>
                      <a:pt x="5" y="119"/>
                    </a:lnTo>
                    <a:lnTo>
                      <a:pt x="7" y="119"/>
                    </a:lnTo>
                    <a:lnTo>
                      <a:pt x="9" y="119"/>
                    </a:lnTo>
                    <a:lnTo>
                      <a:pt x="10" y="117"/>
                    </a:lnTo>
                    <a:lnTo>
                      <a:pt x="12" y="117"/>
                    </a:lnTo>
                    <a:lnTo>
                      <a:pt x="12" y="116"/>
                    </a:lnTo>
                    <a:lnTo>
                      <a:pt x="14" y="116"/>
                    </a:lnTo>
                    <a:lnTo>
                      <a:pt x="14" y="114"/>
                    </a:lnTo>
                    <a:lnTo>
                      <a:pt x="14" y="112"/>
                    </a:lnTo>
                    <a:lnTo>
                      <a:pt x="12" y="110"/>
                    </a:lnTo>
                    <a:lnTo>
                      <a:pt x="12" y="109"/>
                    </a:lnTo>
                    <a:lnTo>
                      <a:pt x="12" y="107"/>
                    </a:lnTo>
                    <a:lnTo>
                      <a:pt x="12" y="105"/>
                    </a:lnTo>
                    <a:lnTo>
                      <a:pt x="12" y="104"/>
                    </a:lnTo>
                    <a:lnTo>
                      <a:pt x="12" y="102"/>
                    </a:lnTo>
                    <a:lnTo>
                      <a:pt x="12" y="100"/>
                    </a:lnTo>
                    <a:lnTo>
                      <a:pt x="10" y="100"/>
                    </a:lnTo>
                    <a:lnTo>
                      <a:pt x="12" y="100"/>
                    </a:lnTo>
                    <a:lnTo>
                      <a:pt x="10" y="99"/>
                    </a:lnTo>
                    <a:lnTo>
                      <a:pt x="10" y="97"/>
                    </a:lnTo>
                    <a:lnTo>
                      <a:pt x="10" y="95"/>
                    </a:lnTo>
                    <a:lnTo>
                      <a:pt x="10" y="93"/>
                    </a:lnTo>
                    <a:lnTo>
                      <a:pt x="9" y="93"/>
                    </a:lnTo>
                    <a:lnTo>
                      <a:pt x="10" y="92"/>
                    </a:lnTo>
                    <a:lnTo>
                      <a:pt x="10" y="90"/>
                    </a:lnTo>
                    <a:lnTo>
                      <a:pt x="10" y="88"/>
                    </a:lnTo>
                    <a:lnTo>
                      <a:pt x="12" y="88"/>
                    </a:lnTo>
                    <a:lnTo>
                      <a:pt x="12" y="87"/>
                    </a:lnTo>
                    <a:lnTo>
                      <a:pt x="14" y="87"/>
                    </a:lnTo>
                    <a:lnTo>
                      <a:pt x="14" y="85"/>
                    </a:lnTo>
                    <a:lnTo>
                      <a:pt x="12" y="85"/>
                    </a:lnTo>
                    <a:lnTo>
                      <a:pt x="12" y="83"/>
                    </a:lnTo>
                    <a:lnTo>
                      <a:pt x="10" y="82"/>
                    </a:lnTo>
                    <a:lnTo>
                      <a:pt x="10" y="80"/>
                    </a:lnTo>
                    <a:lnTo>
                      <a:pt x="10" y="78"/>
                    </a:lnTo>
                    <a:lnTo>
                      <a:pt x="12" y="78"/>
                    </a:lnTo>
                    <a:lnTo>
                      <a:pt x="12" y="76"/>
                    </a:lnTo>
                    <a:lnTo>
                      <a:pt x="12" y="75"/>
                    </a:lnTo>
                    <a:lnTo>
                      <a:pt x="10" y="73"/>
                    </a:lnTo>
                    <a:lnTo>
                      <a:pt x="10" y="71"/>
                    </a:lnTo>
                    <a:lnTo>
                      <a:pt x="10" y="70"/>
                    </a:lnTo>
                    <a:lnTo>
                      <a:pt x="10" y="68"/>
                    </a:lnTo>
                    <a:lnTo>
                      <a:pt x="12" y="68"/>
                    </a:lnTo>
                    <a:lnTo>
                      <a:pt x="14" y="68"/>
                    </a:lnTo>
                    <a:lnTo>
                      <a:pt x="15" y="65"/>
                    </a:lnTo>
                    <a:lnTo>
                      <a:pt x="15" y="63"/>
                    </a:lnTo>
                    <a:lnTo>
                      <a:pt x="17" y="59"/>
                    </a:lnTo>
                    <a:lnTo>
                      <a:pt x="17" y="58"/>
                    </a:lnTo>
                    <a:lnTo>
                      <a:pt x="17" y="56"/>
                    </a:lnTo>
                    <a:lnTo>
                      <a:pt x="15" y="56"/>
                    </a:lnTo>
                    <a:lnTo>
                      <a:pt x="15" y="54"/>
                    </a:lnTo>
                    <a:lnTo>
                      <a:pt x="14" y="54"/>
                    </a:lnTo>
                    <a:lnTo>
                      <a:pt x="14" y="53"/>
                    </a:lnTo>
                    <a:lnTo>
                      <a:pt x="15" y="51"/>
                    </a:lnTo>
                    <a:lnTo>
                      <a:pt x="17" y="51"/>
                    </a:lnTo>
                    <a:lnTo>
                      <a:pt x="17" y="49"/>
                    </a:lnTo>
                    <a:lnTo>
                      <a:pt x="17" y="48"/>
                    </a:lnTo>
                    <a:lnTo>
                      <a:pt x="19" y="46"/>
                    </a:lnTo>
                    <a:lnTo>
                      <a:pt x="19" y="44"/>
                    </a:lnTo>
                    <a:lnTo>
                      <a:pt x="19" y="42"/>
                    </a:lnTo>
                    <a:lnTo>
                      <a:pt x="19" y="41"/>
                    </a:lnTo>
                    <a:lnTo>
                      <a:pt x="19" y="39"/>
                    </a:lnTo>
                    <a:lnTo>
                      <a:pt x="20" y="39"/>
                    </a:lnTo>
                    <a:lnTo>
                      <a:pt x="20" y="37"/>
                    </a:lnTo>
                    <a:lnTo>
                      <a:pt x="20" y="36"/>
                    </a:lnTo>
                    <a:lnTo>
                      <a:pt x="20" y="34"/>
                    </a:lnTo>
                    <a:lnTo>
                      <a:pt x="19" y="34"/>
                    </a:lnTo>
                    <a:lnTo>
                      <a:pt x="19" y="32"/>
                    </a:lnTo>
                    <a:lnTo>
                      <a:pt x="20" y="32"/>
                    </a:lnTo>
                    <a:lnTo>
                      <a:pt x="22" y="32"/>
                    </a:lnTo>
                    <a:lnTo>
                      <a:pt x="22" y="31"/>
                    </a:lnTo>
                    <a:lnTo>
                      <a:pt x="22" y="27"/>
                    </a:lnTo>
                    <a:lnTo>
                      <a:pt x="22" y="25"/>
                    </a:lnTo>
                    <a:lnTo>
                      <a:pt x="22" y="24"/>
                    </a:lnTo>
                    <a:lnTo>
                      <a:pt x="22" y="22"/>
                    </a:lnTo>
                    <a:lnTo>
                      <a:pt x="22" y="20"/>
                    </a:lnTo>
                    <a:lnTo>
                      <a:pt x="20" y="19"/>
                    </a:lnTo>
                    <a:lnTo>
                      <a:pt x="20" y="17"/>
                    </a:lnTo>
                    <a:lnTo>
                      <a:pt x="20" y="15"/>
                    </a:lnTo>
                    <a:lnTo>
                      <a:pt x="20" y="13"/>
                    </a:lnTo>
                    <a:lnTo>
                      <a:pt x="22" y="13"/>
                    </a:lnTo>
                    <a:lnTo>
                      <a:pt x="24" y="13"/>
                    </a:lnTo>
                    <a:lnTo>
                      <a:pt x="24" y="12"/>
                    </a:lnTo>
                    <a:lnTo>
                      <a:pt x="26" y="12"/>
                    </a:lnTo>
                    <a:lnTo>
                      <a:pt x="27" y="10"/>
                    </a:lnTo>
                    <a:lnTo>
                      <a:pt x="29" y="10"/>
                    </a:lnTo>
                    <a:lnTo>
                      <a:pt x="29" y="8"/>
                    </a:lnTo>
                    <a:lnTo>
                      <a:pt x="29" y="7"/>
                    </a:lnTo>
                    <a:lnTo>
                      <a:pt x="29" y="5"/>
                    </a:lnTo>
                    <a:lnTo>
                      <a:pt x="29" y="3"/>
                    </a:lnTo>
                    <a:lnTo>
                      <a:pt x="27" y="3"/>
                    </a:lnTo>
                    <a:lnTo>
                      <a:pt x="29" y="3"/>
                    </a:lnTo>
                    <a:lnTo>
                      <a:pt x="31" y="3"/>
                    </a:lnTo>
                    <a:lnTo>
                      <a:pt x="31" y="5"/>
                    </a:lnTo>
                    <a:lnTo>
                      <a:pt x="31" y="7"/>
                    </a:lnTo>
                    <a:lnTo>
                      <a:pt x="32" y="7"/>
                    </a:lnTo>
                    <a:lnTo>
                      <a:pt x="34" y="7"/>
                    </a:lnTo>
                    <a:lnTo>
                      <a:pt x="36" y="7"/>
                    </a:lnTo>
                    <a:lnTo>
                      <a:pt x="36" y="8"/>
                    </a:lnTo>
                    <a:lnTo>
                      <a:pt x="37" y="8"/>
                    </a:lnTo>
                    <a:lnTo>
                      <a:pt x="37" y="7"/>
                    </a:lnTo>
                    <a:lnTo>
                      <a:pt x="39" y="7"/>
                    </a:lnTo>
                    <a:lnTo>
                      <a:pt x="39" y="5"/>
                    </a:lnTo>
                    <a:lnTo>
                      <a:pt x="39" y="7"/>
                    </a:lnTo>
                    <a:lnTo>
                      <a:pt x="41" y="7"/>
                    </a:lnTo>
                    <a:lnTo>
                      <a:pt x="43" y="7"/>
                    </a:lnTo>
                    <a:lnTo>
                      <a:pt x="44" y="5"/>
                    </a:lnTo>
                    <a:lnTo>
                      <a:pt x="44" y="3"/>
                    </a:lnTo>
                    <a:lnTo>
                      <a:pt x="46" y="2"/>
                    </a:lnTo>
                    <a:lnTo>
                      <a:pt x="46" y="0"/>
                    </a:lnTo>
                    <a:lnTo>
                      <a:pt x="48" y="0"/>
                    </a:lnTo>
                    <a:lnTo>
                      <a:pt x="49" y="0"/>
                    </a:lnTo>
                    <a:lnTo>
                      <a:pt x="51" y="0"/>
                    </a:lnTo>
                    <a:lnTo>
                      <a:pt x="53" y="0"/>
                    </a:lnTo>
                    <a:lnTo>
                      <a:pt x="54" y="0"/>
                    </a:lnTo>
                    <a:lnTo>
                      <a:pt x="56" y="0"/>
                    </a:lnTo>
                    <a:lnTo>
                      <a:pt x="58" y="0"/>
                    </a:lnTo>
                    <a:lnTo>
                      <a:pt x="58" y="2"/>
                    </a:lnTo>
                    <a:lnTo>
                      <a:pt x="60" y="3"/>
                    </a:lnTo>
                    <a:lnTo>
                      <a:pt x="61" y="3"/>
                    </a:lnTo>
                    <a:lnTo>
                      <a:pt x="61" y="5"/>
                    </a:lnTo>
                    <a:lnTo>
                      <a:pt x="63" y="5"/>
                    </a:lnTo>
                    <a:lnTo>
                      <a:pt x="63" y="7"/>
                    </a:lnTo>
                    <a:lnTo>
                      <a:pt x="65" y="7"/>
                    </a:lnTo>
                    <a:lnTo>
                      <a:pt x="65" y="8"/>
                    </a:lnTo>
                    <a:lnTo>
                      <a:pt x="66" y="8"/>
                    </a:lnTo>
                    <a:lnTo>
                      <a:pt x="65" y="8"/>
                    </a:lnTo>
                    <a:lnTo>
                      <a:pt x="65" y="10"/>
                    </a:lnTo>
                    <a:lnTo>
                      <a:pt x="66" y="10"/>
                    </a:lnTo>
                    <a:lnTo>
                      <a:pt x="66" y="12"/>
                    </a:lnTo>
                    <a:lnTo>
                      <a:pt x="68" y="12"/>
                    </a:lnTo>
                    <a:lnTo>
                      <a:pt x="68" y="10"/>
                    </a:lnTo>
                    <a:lnTo>
                      <a:pt x="68" y="12"/>
                    </a:lnTo>
                    <a:lnTo>
                      <a:pt x="70" y="13"/>
                    </a:lnTo>
                    <a:lnTo>
                      <a:pt x="70" y="12"/>
                    </a:lnTo>
                    <a:lnTo>
                      <a:pt x="70" y="13"/>
                    </a:lnTo>
                    <a:lnTo>
                      <a:pt x="70" y="15"/>
                    </a:lnTo>
                    <a:lnTo>
                      <a:pt x="71" y="15"/>
                    </a:lnTo>
                    <a:lnTo>
                      <a:pt x="73" y="15"/>
                    </a:lnTo>
                    <a:lnTo>
                      <a:pt x="73" y="17"/>
                    </a:lnTo>
                    <a:lnTo>
                      <a:pt x="75" y="17"/>
                    </a:lnTo>
                    <a:lnTo>
                      <a:pt x="75" y="19"/>
                    </a:lnTo>
                    <a:lnTo>
                      <a:pt x="77" y="19"/>
                    </a:lnTo>
                    <a:lnTo>
                      <a:pt x="77" y="20"/>
                    </a:lnTo>
                    <a:lnTo>
                      <a:pt x="77" y="19"/>
                    </a:lnTo>
                    <a:lnTo>
                      <a:pt x="78" y="20"/>
                    </a:lnTo>
                    <a:lnTo>
                      <a:pt x="78" y="22"/>
                    </a:lnTo>
                    <a:lnTo>
                      <a:pt x="78" y="24"/>
                    </a:lnTo>
                    <a:lnTo>
                      <a:pt x="80" y="24"/>
                    </a:lnTo>
                    <a:lnTo>
                      <a:pt x="80" y="25"/>
                    </a:lnTo>
                    <a:lnTo>
                      <a:pt x="80" y="24"/>
                    </a:lnTo>
                    <a:lnTo>
                      <a:pt x="80" y="25"/>
                    </a:lnTo>
                    <a:lnTo>
                      <a:pt x="82" y="25"/>
                    </a:lnTo>
                    <a:lnTo>
                      <a:pt x="83" y="27"/>
                    </a:lnTo>
                    <a:lnTo>
                      <a:pt x="83" y="29"/>
                    </a:lnTo>
                    <a:lnTo>
                      <a:pt x="85" y="31"/>
                    </a:lnTo>
                    <a:lnTo>
                      <a:pt x="85" y="32"/>
                    </a:lnTo>
                    <a:lnTo>
                      <a:pt x="87" y="32"/>
                    </a:lnTo>
                    <a:lnTo>
                      <a:pt x="87" y="34"/>
                    </a:lnTo>
                    <a:lnTo>
                      <a:pt x="88" y="34"/>
                    </a:lnTo>
                    <a:lnTo>
                      <a:pt x="88" y="36"/>
                    </a:lnTo>
                    <a:lnTo>
                      <a:pt x="90" y="36"/>
                    </a:lnTo>
                    <a:lnTo>
                      <a:pt x="92" y="36"/>
                    </a:lnTo>
                    <a:lnTo>
                      <a:pt x="92" y="34"/>
                    </a:lnTo>
                    <a:lnTo>
                      <a:pt x="94" y="34"/>
                    </a:lnTo>
                    <a:lnTo>
                      <a:pt x="94" y="32"/>
                    </a:lnTo>
                    <a:lnTo>
                      <a:pt x="94" y="34"/>
                    </a:lnTo>
                    <a:lnTo>
                      <a:pt x="94" y="32"/>
                    </a:lnTo>
                    <a:lnTo>
                      <a:pt x="95" y="34"/>
                    </a:lnTo>
                    <a:lnTo>
                      <a:pt x="95" y="32"/>
                    </a:lnTo>
                    <a:lnTo>
                      <a:pt x="95" y="31"/>
                    </a:lnTo>
                    <a:lnTo>
                      <a:pt x="95" y="29"/>
                    </a:lnTo>
                    <a:lnTo>
                      <a:pt x="97" y="29"/>
                    </a:lnTo>
                    <a:lnTo>
                      <a:pt x="99" y="29"/>
                    </a:lnTo>
                    <a:lnTo>
                      <a:pt x="99" y="31"/>
                    </a:lnTo>
                    <a:lnTo>
                      <a:pt x="100" y="31"/>
                    </a:lnTo>
                    <a:lnTo>
                      <a:pt x="100" y="32"/>
                    </a:lnTo>
                    <a:lnTo>
                      <a:pt x="102" y="32"/>
                    </a:lnTo>
                    <a:lnTo>
                      <a:pt x="102" y="34"/>
                    </a:lnTo>
                    <a:lnTo>
                      <a:pt x="104" y="34"/>
                    </a:lnTo>
                    <a:lnTo>
                      <a:pt x="102" y="36"/>
                    </a:lnTo>
                    <a:lnTo>
                      <a:pt x="104" y="36"/>
                    </a:lnTo>
                    <a:lnTo>
                      <a:pt x="105" y="36"/>
                    </a:lnTo>
                    <a:lnTo>
                      <a:pt x="105" y="37"/>
                    </a:lnTo>
                    <a:lnTo>
                      <a:pt x="105" y="39"/>
                    </a:lnTo>
                    <a:lnTo>
                      <a:pt x="107" y="39"/>
                    </a:lnTo>
                    <a:lnTo>
                      <a:pt x="105" y="41"/>
                    </a:lnTo>
                    <a:lnTo>
                      <a:pt x="107" y="41"/>
                    </a:lnTo>
                    <a:lnTo>
                      <a:pt x="109" y="42"/>
                    </a:lnTo>
                    <a:lnTo>
                      <a:pt x="107" y="42"/>
                    </a:lnTo>
                    <a:lnTo>
                      <a:pt x="109" y="42"/>
                    </a:lnTo>
                    <a:lnTo>
                      <a:pt x="109" y="44"/>
                    </a:lnTo>
                    <a:lnTo>
                      <a:pt x="109" y="46"/>
                    </a:lnTo>
                    <a:lnTo>
                      <a:pt x="111" y="46"/>
                    </a:lnTo>
                    <a:lnTo>
                      <a:pt x="112" y="46"/>
                    </a:lnTo>
                    <a:lnTo>
                      <a:pt x="112" y="48"/>
                    </a:lnTo>
                    <a:lnTo>
                      <a:pt x="114" y="48"/>
                    </a:lnTo>
                    <a:lnTo>
                      <a:pt x="116" y="48"/>
                    </a:lnTo>
                    <a:lnTo>
                      <a:pt x="116" y="46"/>
                    </a:lnTo>
                    <a:lnTo>
                      <a:pt x="117" y="46"/>
                    </a:lnTo>
                    <a:lnTo>
                      <a:pt x="117" y="48"/>
                    </a:lnTo>
                    <a:lnTo>
                      <a:pt x="119" y="48"/>
                    </a:lnTo>
                    <a:lnTo>
                      <a:pt x="119" y="49"/>
                    </a:lnTo>
                    <a:lnTo>
                      <a:pt x="119" y="51"/>
                    </a:lnTo>
                    <a:lnTo>
                      <a:pt x="121" y="51"/>
                    </a:lnTo>
                    <a:lnTo>
                      <a:pt x="121" y="49"/>
                    </a:lnTo>
                    <a:lnTo>
                      <a:pt x="122" y="51"/>
                    </a:lnTo>
                    <a:lnTo>
                      <a:pt x="122" y="53"/>
                    </a:lnTo>
                    <a:lnTo>
                      <a:pt x="124" y="53"/>
                    </a:lnTo>
                    <a:lnTo>
                      <a:pt x="126" y="53"/>
                    </a:lnTo>
                    <a:lnTo>
                      <a:pt x="126" y="51"/>
                    </a:lnTo>
                    <a:lnTo>
                      <a:pt x="128" y="53"/>
                    </a:lnTo>
                    <a:lnTo>
                      <a:pt x="129" y="53"/>
                    </a:lnTo>
                    <a:lnTo>
                      <a:pt x="131" y="53"/>
                    </a:lnTo>
                    <a:lnTo>
                      <a:pt x="133" y="54"/>
                    </a:lnTo>
                    <a:lnTo>
                      <a:pt x="134" y="54"/>
                    </a:lnTo>
                    <a:lnTo>
                      <a:pt x="134" y="56"/>
                    </a:lnTo>
                    <a:lnTo>
                      <a:pt x="134" y="58"/>
                    </a:lnTo>
                    <a:lnTo>
                      <a:pt x="136" y="58"/>
                    </a:lnTo>
                    <a:lnTo>
                      <a:pt x="136" y="59"/>
                    </a:lnTo>
                    <a:lnTo>
                      <a:pt x="136" y="61"/>
                    </a:lnTo>
                    <a:lnTo>
                      <a:pt x="139" y="65"/>
                    </a:lnTo>
                    <a:lnTo>
                      <a:pt x="141" y="66"/>
                    </a:lnTo>
                    <a:lnTo>
                      <a:pt x="143" y="66"/>
                    </a:lnTo>
                    <a:lnTo>
                      <a:pt x="143" y="68"/>
                    </a:lnTo>
                    <a:lnTo>
                      <a:pt x="145" y="68"/>
                    </a:lnTo>
                    <a:lnTo>
                      <a:pt x="145" y="70"/>
                    </a:lnTo>
                    <a:lnTo>
                      <a:pt x="146" y="70"/>
                    </a:lnTo>
                    <a:lnTo>
                      <a:pt x="146" y="71"/>
                    </a:lnTo>
                    <a:lnTo>
                      <a:pt x="148" y="71"/>
                    </a:lnTo>
                    <a:lnTo>
                      <a:pt x="150" y="71"/>
                    </a:lnTo>
                    <a:lnTo>
                      <a:pt x="150" y="70"/>
                    </a:lnTo>
                    <a:lnTo>
                      <a:pt x="151" y="71"/>
                    </a:lnTo>
                    <a:lnTo>
                      <a:pt x="153" y="71"/>
                    </a:lnTo>
                    <a:lnTo>
                      <a:pt x="151" y="71"/>
                    </a:lnTo>
                    <a:lnTo>
                      <a:pt x="153" y="73"/>
                    </a:lnTo>
                    <a:lnTo>
                      <a:pt x="155" y="73"/>
                    </a:lnTo>
                    <a:lnTo>
                      <a:pt x="155" y="75"/>
                    </a:lnTo>
                    <a:lnTo>
                      <a:pt x="156" y="75"/>
                    </a:lnTo>
                    <a:lnTo>
                      <a:pt x="156" y="76"/>
                    </a:lnTo>
                    <a:lnTo>
                      <a:pt x="158" y="78"/>
                    </a:lnTo>
                    <a:lnTo>
                      <a:pt x="158" y="76"/>
                    </a:lnTo>
                    <a:lnTo>
                      <a:pt x="160" y="78"/>
                    </a:lnTo>
                    <a:lnTo>
                      <a:pt x="160" y="80"/>
                    </a:lnTo>
                    <a:lnTo>
                      <a:pt x="162" y="80"/>
                    </a:lnTo>
                    <a:lnTo>
                      <a:pt x="160" y="82"/>
                    </a:lnTo>
                    <a:lnTo>
                      <a:pt x="162" y="82"/>
                    </a:lnTo>
                    <a:lnTo>
                      <a:pt x="162" y="83"/>
                    </a:lnTo>
                    <a:lnTo>
                      <a:pt x="162" y="85"/>
                    </a:lnTo>
                    <a:lnTo>
                      <a:pt x="163" y="85"/>
                    </a:lnTo>
                    <a:lnTo>
                      <a:pt x="163" y="87"/>
                    </a:lnTo>
                    <a:lnTo>
                      <a:pt x="163" y="88"/>
                    </a:lnTo>
                    <a:lnTo>
                      <a:pt x="163" y="90"/>
                    </a:lnTo>
                    <a:lnTo>
                      <a:pt x="165" y="90"/>
                    </a:lnTo>
                    <a:lnTo>
                      <a:pt x="165" y="92"/>
                    </a:lnTo>
                    <a:lnTo>
                      <a:pt x="167" y="93"/>
                    </a:lnTo>
                    <a:lnTo>
                      <a:pt x="168" y="93"/>
                    </a:lnTo>
                    <a:lnTo>
                      <a:pt x="170" y="93"/>
                    </a:lnTo>
                    <a:lnTo>
                      <a:pt x="170" y="95"/>
                    </a:lnTo>
                    <a:lnTo>
                      <a:pt x="170" y="97"/>
                    </a:lnTo>
                    <a:lnTo>
                      <a:pt x="172" y="97"/>
                    </a:lnTo>
                    <a:lnTo>
                      <a:pt x="172" y="99"/>
                    </a:lnTo>
                    <a:lnTo>
                      <a:pt x="172" y="97"/>
                    </a:lnTo>
                    <a:lnTo>
                      <a:pt x="173" y="99"/>
                    </a:lnTo>
                    <a:lnTo>
                      <a:pt x="175" y="99"/>
                    </a:lnTo>
                    <a:lnTo>
                      <a:pt x="177" y="99"/>
                    </a:lnTo>
                    <a:lnTo>
                      <a:pt x="177" y="100"/>
                    </a:lnTo>
                    <a:lnTo>
                      <a:pt x="179" y="100"/>
                    </a:lnTo>
                    <a:lnTo>
                      <a:pt x="179" y="102"/>
                    </a:lnTo>
                    <a:lnTo>
                      <a:pt x="182" y="104"/>
                    </a:lnTo>
                    <a:lnTo>
                      <a:pt x="180" y="104"/>
                    </a:lnTo>
                    <a:lnTo>
                      <a:pt x="180" y="105"/>
                    </a:lnTo>
                    <a:lnTo>
                      <a:pt x="179" y="105"/>
                    </a:lnTo>
                    <a:lnTo>
                      <a:pt x="177" y="107"/>
                    </a:lnTo>
                    <a:lnTo>
                      <a:pt x="177" y="109"/>
                    </a:lnTo>
                    <a:lnTo>
                      <a:pt x="175" y="109"/>
                    </a:lnTo>
                    <a:lnTo>
                      <a:pt x="175" y="110"/>
                    </a:lnTo>
                    <a:lnTo>
                      <a:pt x="175" y="112"/>
                    </a:lnTo>
                    <a:lnTo>
                      <a:pt x="175" y="114"/>
                    </a:lnTo>
                    <a:lnTo>
                      <a:pt x="173" y="114"/>
                    </a:lnTo>
                    <a:lnTo>
                      <a:pt x="170" y="119"/>
                    </a:lnTo>
                    <a:lnTo>
                      <a:pt x="168" y="119"/>
                    </a:lnTo>
                    <a:lnTo>
                      <a:pt x="168" y="121"/>
                    </a:lnTo>
                    <a:lnTo>
                      <a:pt x="168" y="122"/>
                    </a:lnTo>
                    <a:lnTo>
                      <a:pt x="167" y="122"/>
                    </a:lnTo>
                    <a:lnTo>
                      <a:pt x="167" y="124"/>
                    </a:lnTo>
                    <a:lnTo>
                      <a:pt x="167" y="126"/>
                    </a:lnTo>
                    <a:lnTo>
                      <a:pt x="167" y="127"/>
                    </a:lnTo>
                    <a:lnTo>
                      <a:pt x="168" y="129"/>
                    </a:lnTo>
                    <a:lnTo>
                      <a:pt x="168" y="131"/>
                    </a:lnTo>
                    <a:lnTo>
                      <a:pt x="168" y="134"/>
                    </a:lnTo>
                    <a:lnTo>
                      <a:pt x="167" y="136"/>
                    </a:lnTo>
                    <a:lnTo>
                      <a:pt x="167" y="138"/>
                    </a:lnTo>
                    <a:lnTo>
                      <a:pt x="167" y="139"/>
                    </a:lnTo>
                    <a:lnTo>
                      <a:pt x="167" y="141"/>
                    </a:lnTo>
                    <a:lnTo>
                      <a:pt x="167" y="143"/>
                    </a:lnTo>
                    <a:lnTo>
                      <a:pt x="168" y="143"/>
                    </a:lnTo>
                    <a:lnTo>
                      <a:pt x="170" y="143"/>
                    </a:lnTo>
                    <a:lnTo>
                      <a:pt x="170" y="144"/>
                    </a:lnTo>
                    <a:lnTo>
                      <a:pt x="172" y="144"/>
                    </a:lnTo>
                    <a:close/>
                    <a:moveTo>
                      <a:pt x="3" y="153"/>
                    </a:moveTo>
                    <a:lnTo>
                      <a:pt x="3" y="155"/>
                    </a:lnTo>
                    <a:lnTo>
                      <a:pt x="3" y="153"/>
                    </a:lnTo>
                    <a:close/>
                    <a:moveTo>
                      <a:pt x="70" y="187"/>
                    </a:moveTo>
                    <a:lnTo>
                      <a:pt x="71" y="187"/>
                    </a:lnTo>
                    <a:lnTo>
                      <a:pt x="70" y="187"/>
                    </a:lnTo>
                    <a:close/>
                    <a:moveTo>
                      <a:pt x="5" y="156"/>
                    </a:moveTo>
                    <a:lnTo>
                      <a:pt x="5" y="158"/>
                    </a:lnTo>
                    <a:lnTo>
                      <a:pt x="5" y="156"/>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81" name="Freeform 59">
                <a:extLst>
                  <a:ext uri="{FF2B5EF4-FFF2-40B4-BE49-F238E27FC236}">
                    <a16:creationId xmlns:a16="http://schemas.microsoft.com/office/drawing/2014/main" id="{F09156C3-02AF-7424-2C52-BFDF736C2126}"/>
                  </a:ext>
                </a:extLst>
              </p:cNvPr>
              <p:cNvSpPr>
                <a:spLocks noEditPoints="1"/>
              </p:cNvSpPr>
              <p:nvPr/>
            </p:nvSpPr>
            <p:spPr bwMode="auto">
              <a:xfrm>
                <a:off x="5651260" y="2824952"/>
                <a:ext cx="134228" cy="115431"/>
              </a:xfrm>
              <a:custGeom>
                <a:avLst/>
                <a:gdLst>
                  <a:gd name="T0" fmla="*/ 428 w 457"/>
                  <a:gd name="T1" fmla="*/ 157 h 393"/>
                  <a:gd name="T2" fmla="*/ 433 w 457"/>
                  <a:gd name="T3" fmla="*/ 181 h 393"/>
                  <a:gd name="T4" fmla="*/ 409 w 457"/>
                  <a:gd name="T5" fmla="*/ 194 h 393"/>
                  <a:gd name="T6" fmla="*/ 426 w 457"/>
                  <a:gd name="T7" fmla="*/ 238 h 393"/>
                  <a:gd name="T8" fmla="*/ 408 w 457"/>
                  <a:gd name="T9" fmla="*/ 262 h 393"/>
                  <a:gd name="T10" fmla="*/ 380 w 457"/>
                  <a:gd name="T11" fmla="*/ 276 h 393"/>
                  <a:gd name="T12" fmla="*/ 357 w 457"/>
                  <a:gd name="T13" fmla="*/ 286 h 393"/>
                  <a:gd name="T14" fmla="*/ 333 w 457"/>
                  <a:gd name="T15" fmla="*/ 281 h 393"/>
                  <a:gd name="T16" fmla="*/ 311 w 457"/>
                  <a:gd name="T17" fmla="*/ 279 h 393"/>
                  <a:gd name="T18" fmla="*/ 292 w 457"/>
                  <a:gd name="T19" fmla="*/ 279 h 393"/>
                  <a:gd name="T20" fmla="*/ 312 w 457"/>
                  <a:gd name="T21" fmla="*/ 317 h 393"/>
                  <a:gd name="T22" fmla="*/ 336 w 457"/>
                  <a:gd name="T23" fmla="*/ 334 h 393"/>
                  <a:gd name="T24" fmla="*/ 312 w 457"/>
                  <a:gd name="T25" fmla="*/ 352 h 393"/>
                  <a:gd name="T26" fmla="*/ 292 w 457"/>
                  <a:gd name="T27" fmla="*/ 371 h 393"/>
                  <a:gd name="T28" fmla="*/ 270 w 457"/>
                  <a:gd name="T29" fmla="*/ 383 h 393"/>
                  <a:gd name="T30" fmla="*/ 249 w 457"/>
                  <a:gd name="T31" fmla="*/ 385 h 393"/>
                  <a:gd name="T32" fmla="*/ 212 w 457"/>
                  <a:gd name="T33" fmla="*/ 352 h 393"/>
                  <a:gd name="T34" fmla="*/ 192 w 457"/>
                  <a:gd name="T35" fmla="*/ 320 h 393"/>
                  <a:gd name="T36" fmla="*/ 192 w 457"/>
                  <a:gd name="T37" fmla="*/ 288 h 393"/>
                  <a:gd name="T38" fmla="*/ 185 w 457"/>
                  <a:gd name="T39" fmla="*/ 252 h 393"/>
                  <a:gd name="T40" fmla="*/ 195 w 457"/>
                  <a:gd name="T41" fmla="*/ 216 h 393"/>
                  <a:gd name="T42" fmla="*/ 171 w 457"/>
                  <a:gd name="T43" fmla="*/ 206 h 393"/>
                  <a:gd name="T44" fmla="*/ 120 w 457"/>
                  <a:gd name="T45" fmla="*/ 194 h 393"/>
                  <a:gd name="T46" fmla="*/ 76 w 457"/>
                  <a:gd name="T47" fmla="*/ 179 h 393"/>
                  <a:gd name="T48" fmla="*/ 40 w 457"/>
                  <a:gd name="T49" fmla="*/ 167 h 393"/>
                  <a:gd name="T50" fmla="*/ 32 w 457"/>
                  <a:gd name="T51" fmla="*/ 141 h 393"/>
                  <a:gd name="T52" fmla="*/ 11 w 457"/>
                  <a:gd name="T53" fmla="*/ 106 h 393"/>
                  <a:gd name="T54" fmla="*/ 11 w 457"/>
                  <a:gd name="T55" fmla="*/ 82 h 393"/>
                  <a:gd name="T56" fmla="*/ 25 w 457"/>
                  <a:gd name="T57" fmla="*/ 44 h 393"/>
                  <a:gd name="T58" fmla="*/ 64 w 457"/>
                  <a:gd name="T59" fmla="*/ 16 h 393"/>
                  <a:gd name="T60" fmla="*/ 57 w 457"/>
                  <a:gd name="T61" fmla="*/ 41 h 393"/>
                  <a:gd name="T62" fmla="*/ 49 w 457"/>
                  <a:gd name="T63" fmla="*/ 72 h 393"/>
                  <a:gd name="T64" fmla="*/ 47 w 457"/>
                  <a:gd name="T65" fmla="*/ 97 h 393"/>
                  <a:gd name="T66" fmla="*/ 62 w 457"/>
                  <a:gd name="T67" fmla="*/ 107 h 393"/>
                  <a:gd name="T68" fmla="*/ 71 w 457"/>
                  <a:gd name="T69" fmla="*/ 77 h 393"/>
                  <a:gd name="T70" fmla="*/ 62 w 457"/>
                  <a:gd name="T71" fmla="*/ 44 h 393"/>
                  <a:gd name="T72" fmla="*/ 96 w 457"/>
                  <a:gd name="T73" fmla="*/ 31 h 393"/>
                  <a:gd name="T74" fmla="*/ 113 w 457"/>
                  <a:gd name="T75" fmla="*/ 24 h 393"/>
                  <a:gd name="T76" fmla="*/ 105 w 457"/>
                  <a:gd name="T77" fmla="*/ 19 h 393"/>
                  <a:gd name="T78" fmla="*/ 119 w 457"/>
                  <a:gd name="T79" fmla="*/ 9 h 393"/>
                  <a:gd name="T80" fmla="*/ 153 w 457"/>
                  <a:gd name="T81" fmla="*/ 27 h 393"/>
                  <a:gd name="T82" fmla="*/ 170 w 457"/>
                  <a:gd name="T83" fmla="*/ 48 h 393"/>
                  <a:gd name="T84" fmla="*/ 200 w 457"/>
                  <a:gd name="T85" fmla="*/ 56 h 393"/>
                  <a:gd name="T86" fmla="*/ 244 w 457"/>
                  <a:gd name="T87" fmla="*/ 56 h 393"/>
                  <a:gd name="T88" fmla="*/ 282 w 457"/>
                  <a:gd name="T89" fmla="*/ 73 h 393"/>
                  <a:gd name="T90" fmla="*/ 307 w 457"/>
                  <a:gd name="T91" fmla="*/ 61 h 393"/>
                  <a:gd name="T92" fmla="*/ 311 w 457"/>
                  <a:gd name="T93" fmla="*/ 56 h 393"/>
                  <a:gd name="T94" fmla="*/ 329 w 457"/>
                  <a:gd name="T95" fmla="*/ 53 h 393"/>
                  <a:gd name="T96" fmla="*/ 370 w 457"/>
                  <a:gd name="T97" fmla="*/ 51 h 393"/>
                  <a:gd name="T98" fmla="*/ 363 w 457"/>
                  <a:gd name="T99" fmla="*/ 56 h 393"/>
                  <a:gd name="T100" fmla="*/ 370 w 457"/>
                  <a:gd name="T101" fmla="*/ 78 h 393"/>
                  <a:gd name="T102" fmla="*/ 399 w 457"/>
                  <a:gd name="T103" fmla="*/ 82 h 393"/>
                  <a:gd name="T104" fmla="*/ 419 w 457"/>
                  <a:gd name="T105" fmla="*/ 101 h 393"/>
                  <a:gd name="T106" fmla="*/ 423 w 457"/>
                  <a:gd name="T107" fmla="*/ 116 h 393"/>
                  <a:gd name="T108" fmla="*/ 436 w 457"/>
                  <a:gd name="T109" fmla="*/ 124 h 393"/>
                  <a:gd name="T110" fmla="*/ 311 w 457"/>
                  <a:gd name="T111" fmla="*/ 44 h 393"/>
                  <a:gd name="T112" fmla="*/ 309 w 457"/>
                  <a:gd name="T113" fmla="*/ 39 h 393"/>
                  <a:gd name="T114" fmla="*/ 295 w 457"/>
                  <a:gd name="T115" fmla="*/ 10 h 393"/>
                  <a:gd name="T116" fmla="*/ 226 w 457"/>
                  <a:gd name="T117" fmla="*/ 14 h 393"/>
                  <a:gd name="T118" fmla="*/ 221 w 457"/>
                  <a:gd name="T119" fmla="*/ 10 h 393"/>
                  <a:gd name="T120" fmla="*/ 302 w 457"/>
                  <a:gd name="T121" fmla="*/ 63 h 393"/>
                  <a:gd name="T122" fmla="*/ 190 w 457"/>
                  <a:gd name="T123" fmla="*/ 7 h 393"/>
                  <a:gd name="T124" fmla="*/ 219 w 457"/>
                  <a:gd name="T125"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7" h="393">
                    <a:moveTo>
                      <a:pt x="450" y="126"/>
                    </a:moveTo>
                    <a:lnTo>
                      <a:pt x="452" y="128"/>
                    </a:lnTo>
                    <a:lnTo>
                      <a:pt x="453" y="130"/>
                    </a:lnTo>
                    <a:lnTo>
                      <a:pt x="455" y="133"/>
                    </a:lnTo>
                    <a:lnTo>
                      <a:pt x="457" y="135"/>
                    </a:lnTo>
                    <a:lnTo>
                      <a:pt x="455" y="135"/>
                    </a:lnTo>
                    <a:lnTo>
                      <a:pt x="455" y="136"/>
                    </a:lnTo>
                    <a:lnTo>
                      <a:pt x="452" y="136"/>
                    </a:lnTo>
                    <a:lnTo>
                      <a:pt x="450" y="138"/>
                    </a:lnTo>
                    <a:lnTo>
                      <a:pt x="450" y="140"/>
                    </a:lnTo>
                    <a:lnTo>
                      <a:pt x="450" y="141"/>
                    </a:lnTo>
                    <a:lnTo>
                      <a:pt x="448" y="141"/>
                    </a:lnTo>
                    <a:lnTo>
                      <a:pt x="448" y="143"/>
                    </a:lnTo>
                    <a:lnTo>
                      <a:pt x="447" y="143"/>
                    </a:lnTo>
                    <a:lnTo>
                      <a:pt x="445" y="143"/>
                    </a:lnTo>
                    <a:lnTo>
                      <a:pt x="445" y="145"/>
                    </a:lnTo>
                    <a:lnTo>
                      <a:pt x="443" y="145"/>
                    </a:lnTo>
                    <a:lnTo>
                      <a:pt x="442" y="145"/>
                    </a:lnTo>
                    <a:lnTo>
                      <a:pt x="442" y="147"/>
                    </a:lnTo>
                    <a:lnTo>
                      <a:pt x="440" y="148"/>
                    </a:lnTo>
                    <a:lnTo>
                      <a:pt x="438" y="148"/>
                    </a:lnTo>
                    <a:lnTo>
                      <a:pt x="438" y="150"/>
                    </a:lnTo>
                    <a:lnTo>
                      <a:pt x="436" y="150"/>
                    </a:lnTo>
                    <a:lnTo>
                      <a:pt x="435" y="150"/>
                    </a:lnTo>
                    <a:lnTo>
                      <a:pt x="433" y="150"/>
                    </a:lnTo>
                    <a:lnTo>
                      <a:pt x="431" y="150"/>
                    </a:lnTo>
                    <a:lnTo>
                      <a:pt x="431" y="152"/>
                    </a:lnTo>
                    <a:lnTo>
                      <a:pt x="430" y="153"/>
                    </a:lnTo>
                    <a:lnTo>
                      <a:pt x="430" y="155"/>
                    </a:lnTo>
                    <a:lnTo>
                      <a:pt x="430" y="157"/>
                    </a:lnTo>
                    <a:lnTo>
                      <a:pt x="428" y="157"/>
                    </a:lnTo>
                    <a:lnTo>
                      <a:pt x="428" y="158"/>
                    </a:lnTo>
                    <a:lnTo>
                      <a:pt x="428" y="160"/>
                    </a:lnTo>
                    <a:lnTo>
                      <a:pt x="428" y="162"/>
                    </a:lnTo>
                    <a:lnTo>
                      <a:pt x="428" y="164"/>
                    </a:lnTo>
                    <a:lnTo>
                      <a:pt x="428" y="165"/>
                    </a:lnTo>
                    <a:lnTo>
                      <a:pt x="430" y="165"/>
                    </a:lnTo>
                    <a:lnTo>
                      <a:pt x="430" y="167"/>
                    </a:lnTo>
                    <a:lnTo>
                      <a:pt x="430" y="169"/>
                    </a:lnTo>
                    <a:lnTo>
                      <a:pt x="428" y="169"/>
                    </a:lnTo>
                    <a:lnTo>
                      <a:pt x="428" y="170"/>
                    </a:lnTo>
                    <a:lnTo>
                      <a:pt x="430" y="170"/>
                    </a:lnTo>
                    <a:lnTo>
                      <a:pt x="430" y="172"/>
                    </a:lnTo>
                    <a:lnTo>
                      <a:pt x="431" y="172"/>
                    </a:lnTo>
                    <a:lnTo>
                      <a:pt x="431" y="174"/>
                    </a:lnTo>
                    <a:lnTo>
                      <a:pt x="431" y="172"/>
                    </a:lnTo>
                    <a:lnTo>
                      <a:pt x="433" y="172"/>
                    </a:lnTo>
                    <a:lnTo>
                      <a:pt x="433" y="170"/>
                    </a:lnTo>
                    <a:lnTo>
                      <a:pt x="435" y="172"/>
                    </a:lnTo>
                    <a:lnTo>
                      <a:pt x="435" y="170"/>
                    </a:lnTo>
                    <a:lnTo>
                      <a:pt x="435" y="172"/>
                    </a:lnTo>
                    <a:lnTo>
                      <a:pt x="436" y="172"/>
                    </a:lnTo>
                    <a:lnTo>
                      <a:pt x="438" y="172"/>
                    </a:lnTo>
                    <a:lnTo>
                      <a:pt x="438" y="174"/>
                    </a:lnTo>
                    <a:lnTo>
                      <a:pt x="438" y="175"/>
                    </a:lnTo>
                    <a:lnTo>
                      <a:pt x="438" y="177"/>
                    </a:lnTo>
                    <a:lnTo>
                      <a:pt x="438" y="179"/>
                    </a:lnTo>
                    <a:lnTo>
                      <a:pt x="436" y="179"/>
                    </a:lnTo>
                    <a:lnTo>
                      <a:pt x="436" y="181"/>
                    </a:lnTo>
                    <a:lnTo>
                      <a:pt x="436" y="179"/>
                    </a:lnTo>
                    <a:lnTo>
                      <a:pt x="435" y="181"/>
                    </a:lnTo>
                    <a:lnTo>
                      <a:pt x="433" y="181"/>
                    </a:lnTo>
                    <a:lnTo>
                      <a:pt x="433" y="182"/>
                    </a:lnTo>
                    <a:lnTo>
                      <a:pt x="431" y="182"/>
                    </a:lnTo>
                    <a:lnTo>
                      <a:pt x="430" y="182"/>
                    </a:lnTo>
                    <a:lnTo>
                      <a:pt x="430" y="184"/>
                    </a:lnTo>
                    <a:lnTo>
                      <a:pt x="428" y="184"/>
                    </a:lnTo>
                    <a:lnTo>
                      <a:pt x="426" y="184"/>
                    </a:lnTo>
                    <a:lnTo>
                      <a:pt x="426" y="186"/>
                    </a:lnTo>
                    <a:lnTo>
                      <a:pt x="425" y="186"/>
                    </a:lnTo>
                    <a:lnTo>
                      <a:pt x="423" y="186"/>
                    </a:lnTo>
                    <a:lnTo>
                      <a:pt x="423" y="184"/>
                    </a:lnTo>
                    <a:lnTo>
                      <a:pt x="423" y="186"/>
                    </a:lnTo>
                    <a:lnTo>
                      <a:pt x="421" y="186"/>
                    </a:lnTo>
                    <a:lnTo>
                      <a:pt x="419" y="186"/>
                    </a:lnTo>
                    <a:lnTo>
                      <a:pt x="419" y="184"/>
                    </a:lnTo>
                    <a:lnTo>
                      <a:pt x="418" y="184"/>
                    </a:lnTo>
                    <a:lnTo>
                      <a:pt x="418" y="186"/>
                    </a:lnTo>
                    <a:lnTo>
                      <a:pt x="419" y="186"/>
                    </a:lnTo>
                    <a:lnTo>
                      <a:pt x="418" y="187"/>
                    </a:lnTo>
                    <a:lnTo>
                      <a:pt x="416" y="187"/>
                    </a:lnTo>
                    <a:lnTo>
                      <a:pt x="414" y="187"/>
                    </a:lnTo>
                    <a:lnTo>
                      <a:pt x="413" y="187"/>
                    </a:lnTo>
                    <a:lnTo>
                      <a:pt x="411" y="187"/>
                    </a:lnTo>
                    <a:lnTo>
                      <a:pt x="411" y="189"/>
                    </a:lnTo>
                    <a:lnTo>
                      <a:pt x="409" y="189"/>
                    </a:lnTo>
                    <a:lnTo>
                      <a:pt x="409" y="191"/>
                    </a:lnTo>
                    <a:lnTo>
                      <a:pt x="409" y="192"/>
                    </a:lnTo>
                    <a:lnTo>
                      <a:pt x="408" y="192"/>
                    </a:lnTo>
                    <a:lnTo>
                      <a:pt x="409" y="192"/>
                    </a:lnTo>
                    <a:lnTo>
                      <a:pt x="408" y="192"/>
                    </a:lnTo>
                    <a:lnTo>
                      <a:pt x="409" y="192"/>
                    </a:lnTo>
                    <a:lnTo>
                      <a:pt x="409" y="194"/>
                    </a:lnTo>
                    <a:lnTo>
                      <a:pt x="411" y="194"/>
                    </a:lnTo>
                    <a:lnTo>
                      <a:pt x="409" y="196"/>
                    </a:lnTo>
                    <a:lnTo>
                      <a:pt x="411" y="196"/>
                    </a:lnTo>
                    <a:lnTo>
                      <a:pt x="411" y="198"/>
                    </a:lnTo>
                    <a:lnTo>
                      <a:pt x="411" y="199"/>
                    </a:lnTo>
                    <a:lnTo>
                      <a:pt x="411" y="201"/>
                    </a:lnTo>
                    <a:lnTo>
                      <a:pt x="409" y="201"/>
                    </a:lnTo>
                    <a:lnTo>
                      <a:pt x="411" y="201"/>
                    </a:lnTo>
                    <a:lnTo>
                      <a:pt x="411" y="203"/>
                    </a:lnTo>
                    <a:lnTo>
                      <a:pt x="413" y="203"/>
                    </a:lnTo>
                    <a:lnTo>
                      <a:pt x="411" y="203"/>
                    </a:lnTo>
                    <a:lnTo>
                      <a:pt x="411" y="204"/>
                    </a:lnTo>
                    <a:lnTo>
                      <a:pt x="413" y="204"/>
                    </a:lnTo>
                    <a:lnTo>
                      <a:pt x="411" y="206"/>
                    </a:lnTo>
                    <a:lnTo>
                      <a:pt x="409" y="206"/>
                    </a:lnTo>
                    <a:lnTo>
                      <a:pt x="409" y="208"/>
                    </a:lnTo>
                    <a:lnTo>
                      <a:pt x="408" y="208"/>
                    </a:lnTo>
                    <a:lnTo>
                      <a:pt x="406" y="209"/>
                    </a:lnTo>
                    <a:lnTo>
                      <a:pt x="406" y="211"/>
                    </a:lnTo>
                    <a:lnTo>
                      <a:pt x="404" y="211"/>
                    </a:lnTo>
                    <a:lnTo>
                      <a:pt x="404" y="213"/>
                    </a:lnTo>
                    <a:lnTo>
                      <a:pt x="402" y="213"/>
                    </a:lnTo>
                    <a:lnTo>
                      <a:pt x="402" y="215"/>
                    </a:lnTo>
                    <a:lnTo>
                      <a:pt x="404" y="216"/>
                    </a:lnTo>
                    <a:lnTo>
                      <a:pt x="409" y="221"/>
                    </a:lnTo>
                    <a:lnTo>
                      <a:pt x="413" y="223"/>
                    </a:lnTo>
                    <a:lnTo>
                      <a:pt x="414" y="228"/>
                    </a:lnTo>
                    <a:lnTo>
                      <a:pt x="421" y="235"/>
                    </a:lnTo>
                    <a:lnTo>
                      <a:pt x="423" y="237"/>
                    </a:lnTo>
                    <a:lnTo>
                      <a:pt x="425" y="238"/>
                    </a:lnTo>
                    <a:lnTo>
                      <a:pt x="426" y="238"/>
                    </a:lnTo>
                    <a:lnTo>
                      <a:pt x="426" y="240"/>
                    </a:lnTo>
                    <a:lnTo>
                      <a:pt x="428" y="240"/>
                    </a:lnTo>
                    <a:lnTo>
                      <a:pt x="428" y="242"/>
                    </a:lnTo>
                    <a:lnTo>
                      <a:pt x="428" y="243"/>
                    </a:lnTo>
                    <a:lnTo>
                      <a:pt x="428" y="245"/>
                    </a:lnTo>
                    <a:lnTo>
                      <a:pt x="430" y="245"/>
                    </a:lnTo>
                    <a:lnTo>
                      <a:pt x="430" y="247"/>
                    </a:lnTo>
                    <a:lnTo>
                      <a:pt x="430" y="249"/>
                    </a:lnTo>
                    <a:lnTo>
                      <a:pt x="428" y="249"/>
                    </a:lnTo>
                    <a:lnTo>
                      <a:pt x="428" y="250"/>
                    </a:lnTo>
                    <a:lnTo>
                      <a:pt x="426" y="250"/>
                    </a:lnTo>
                    <a:lnTo>
                      <a:pt x="426" y="252"/>
                    </a:lnTo>
                    <a:lnTo>
                      <a:pt x="425" y="252"/>
                    </a:lnTo>
                    <a:lnTo>
                      <a:pt x="425" y="254"/>
                    </a:lnTo>
                    <a:lnTo>
                      <a:pt x="423" y="254"/>
                    </a:lnTo>
                    <a:lnTo>
                      <a:pt x="423" y="255"/>
                    </a:lnTo>
                    <a:lnTo>
                      <a:pt x="421" y="255"/>
                    </a:lnTo>
                    <a:lnTo>
                      <a:pt x="419" y="255"/>
                    </a:lnTo>
                    <a:lnTo>
                      <a:pt x="419" y="257"/>
                    </a:lnTo>
                    <a:lnTo>
                      <a:pt x="418" y="257"/>
                    </a:lnTo>
                    <a:lnTo>
                      <a:pt x="418" y="259"/>
                    </a:lnTo>
                    <a:lnTo>
                      <a:pt x="418" y="261"/>
                    </a:lnTo>
                    <a:lnTo>
                      <a:pt x="416" y="261"/>
                    </a:lnTo>
                    <a:lnTo>
                      <a:pt x="416" y="262"/>
                    </a:lnTo>
                    <a:lnTo>
                      <a:pt x="414" y="262"/>
                    </a:lnTo>
                    <a:lnTo>
                      <a:pt x="413" y="262"/>
                    </a:lnTo>
                    <a:lnTo>
                      <a:pt x="411" y="262"/>
                    </a:lnTo>
                    <a:lnTo>
                      <a:pt x="411" y="264"/>
                    </a:lnTo>
                    <a:lnTo>
                      <a:pt x="411" y="262"/>
                    </a:lnTo>
                    <a:lnTo>
                      <a:pt x="409" y="262"/>
                    </a:lnTo>
                    <a:lnTo>
                      <a:pt x="408" y="262"/>
                    </a:lnTo>
                    <a:lnTo>
                      <a:pt x="406" y="262"/>
                    </a:lnTo>
                    <a:lnTo>
                      <a:pt x="404" y="262"/>
                    </a:lnTo>
                    <a:lnTo>
                      <a:pt x="406" y="262"/>
                    </a:lnTo>
                    <a:lnTo>
                      <a:pt x="406" y="264"/>
                    </a:lnTo>
                    <a:lnTo>
                      <a:pt x="406" y="266"/>
                    </a:lnTo>
                    <a:lnTo>
                      <a:pt x="404" y="266"/>
                    </a:lnTo>
                    <a:lnTo>
                      <a:pt x="402" y="266"/>
                    </a:lnTo>
                    <a:lnTo>
                      <a:pt x="401" y="266"/>
                    </a:lnTo>
                    <a:lnTo>
                      <a:pt x="399" y="266"/>
                    </a:lnTo>
                    <a:lnTo>
                      <a:pt x="399" y="267"/>
                    </a:lnTo>
                    <a:lnTo>
                      <a:pt x="399" y="269"/>
                    </a:lnTo>
                    <a:lnTo>
                      <a:pt x="399" y="271"/>
                    </a:lnTo>
                    <a:lnTo>
                      <a:pt x="397" y="271"/>
                    </a:lnTo>
                    <a:lnTo>
                      <a:pt x="396" y="271"/>
                    </a:lnTo>
                    <a:lnTo>
                      <a:pt x="394" y="271"/>
                    </a:lnTo>
                    <a:lnTo>
                      <a:pt x="394" y="272"/>
                    </a:lnTo>
                    <a:lnTo>
                      <a:pt x="394" y="271"/>
                    </a:lnTo>
                    <a:lnTo>
                      <a:pt x="392" y="271"/>
                    </a:lnTo>
                    <a:lnTo>
                      <a:pt x="391" y="271"/>
                    </a:lnTo>
                    <a:lnTo>
                      <a:pt x="391" y="272"/>
                    </a:lnTo>
                    <a:lnTo>
                      <a:pt x="389" y="272"/>
                    </a:lnTo>
                    <a:lnTo>
                      <a:pt x="389" y="274"/>
                    </a:lnTo>
                    <a:lnTo>
                      <a:pt x="387" y="274"/>
                    </a:lnTo>
                    <a:lnTo>
                      <a:pt x="385" y="274"/>
                    </a:lnTo>
                    <a:lnTo>
                      <a:pt x="385" y="276"/>
                    </a:lnTo>
                    <a:lnTo>
                      <a:pt x="384" y="276"/>
                    </a:lnTo>
                    <a:lnTo>
                      <a:pt x="384" y="274"/>
                    </a:lnTo>
                    <a:lnTo>
                      <a:pt x="382" y="274"/>
                    </a:lnTo>
                    <a:lnTo>
                      <a:pt x="380" y="274"/>
                    </a:lnTo>
                    <a:lnTo>
                      <a:pt x="379" y="274"/>
                    </a:lnTo>
                    <a:lnTo>
                      <a:pt x="380" y="276"/>
                    </a:lnTo>
                    <a:lnTo>
                      <a:pt x="379" y="276"/>
                    </a:lnTo>
                    <a:lnTo>
                      <a:pt x="377" y="278"/>
                    </a:lnTo>
                    <a:lnTo>
                      <a:pt x="377" y="276"/>
                    </a:lnTo>
                    <a:lnTo>
                      <a:pt x="375" y="276"/>
                    </a:lnTo>
                    <a:lnTo>
                      <a:pt x="374" y="276"/>
                    </a:lnTo>
                    <a:lnTo>
                      <a:pt x="372" y="274"/>
                    </a:lnTo>
                    <a:lnTo>
                      <a:pt x="372" y="276"/>
                    </a:lnTo>
                    <a:lnTo>
                      <a:pt x="372" y="274"/>
                    </a:lnTo>
                    <a:lnTo>
                      <a:pt x="372" y="276"/>
                    </a:lnTo>
                    <a:lnTo>
                      <a:pt x="370" y="274"/>
                    </a:lnTo>
                    <a:lnTo>
                      <a:pt x="368" y="274"/>
                    </a:lnTo>
                    <a:lnTo>
                      <a:pt x="367" y="274"/>
                    </a:lnTo>
                    <a:lnTo>
                      <a:pt x="367" y="276"/>
                    </a:lnTo>
                    <a:lnTo>
                      <a:pt x="365" y="274"/>
                    </a:lnTo>
                    <a:lnTo>
                      <a:pt x="365" y="276"/>
                    </a:lnTo>
                    <a:lnTo>
                      <a:pt x="363" y="276"/>
                    </a:lnTo>
                    <a:lnTo>
                      <a:pt x="363" y="278"/>
                    </a:lnTo>
                    <a:lnTo>
                      <a:pt x="363" y="279"/>
                    </a:lnTo>
                    <a:lnTo>
                      <a:pt x="362" y="279"/>
                    </a:lnTo>
                    <a:lnTo>
                      <a:pt x="362" y="278"/>
                    </a:lnTo>
                    <a:lnTo>
                      <a:pt x="360" y="278"/>
                    </a:lnTo>
                    <a:lnTo>
                      <a:pt x="360" y="279"/>
                    </a:lnTo>
                    <a:lnTo>
                      <a:pt x="360" y="278"/>
                    </a:lnTo>
                    <a:lnTo>
                      <a:pt x="358" y="279"/>
                    </a:lnTo>
                    <a:lnTo>
                      <a:pt x="357" y="278"/>
                    </a:lnTo>
                    <a:lnTo>
                      <a:pt x="357" y="279"/>
                    </a:lnTo>
                    <a:lnTo>
                      <a:pt x="357" y="281"/>
                    </a:lnTo>
                    <a:lnTo>
                      <a:pt x="357" y="283"/>
                    </a:lnTo>
                    <a:lnTo>
                      <a:pt x="355" y="283"/>
                    </a:lnTo>
                    <a:lnTo>
                      <a:pt x="357" y="284"/>
                    </a:lnTo>
                    <a:lnTo>
                      <a:pt x="357" y="286"/>
                    </a:lnTo>
                    <a:lnTo>
                      <a:pt x="358" y="286"/>
                    </a:lnTo>
                    <a:lnTo>
                      <a:pt x="357" y="286"/>
                    </a:lnTo>
                    <a:lnTo>
                      <a:pt x="358" y="288"/>
                    </a:lnTo>
                    <a:lnTo>
                      <a:pt x="357" y="288"/>
                    </a:lnTo>
                    <a:lnTo>
                      <a:pt x="358" y="289"/>
                    </a:lnTo>
                    <a:lnTo>
                      <a:pt x="357" y="289"/>
                    </a:lnTo>
                    <a:lnTo>
                      <a:pt x="357" y="291"/>
                    </a:lnTo>
                    <a:lnTo>
                      <a:pt x="357" y="289"/>
                    </a:lnTo>
                    <a:lnTo>
                      <a:pt x="355" y="289"/>
                    </a:lnTo>
                    <a:lnTo>
                      <a:pt x="355" y="288"/>
                    </a:lnTo>
                    <a:lnTo>
                      <a:pt x="353" y="289"/>
                    </a:lnTo>
                    <a:lnTo>
                      <a:pt x="351" y="291"/>
                    </a:lnTo>
                    <a:lnTo>
                      <a:pt x="351" y="293"/>
                    </a:lnTo>
                    <a:lnTo>
                      <a:pt x="350" y="293"/>
                    </a:lnTo>
                    <a:lnTo>
                      <a:pt x="348" y="293"/>
                    </a:lnTo>
                    <a:lnTo>
                      <a:pt x="348" y="291"/>
                    </a:lnTo>
                    <a:lnTo>
                      <a:pt x="346" y="291"/>
                    </a:lnTo>
                    <a:lnTo>
                      <a:pt x="346" y="289"/>
                    </a:lnTo>
                    <a:lnTo>
                      <a:pt x="346" y="288"/>
                    </a:lnTo>
                    <a:lnTo>
                      <a:pt x="345" y="288"/>
                    </a:lnTo>
                    <a:lnTo>
                      <a:pt x="345" y="286"/>
                    </a:lnTo>
                    <a:lnTo>
                      <a:pt x="343" y="286"/>
                    </a:lnTo>
                    <a:lnTo>
                      <a:pt x="341" y="286"/>
                    </a:lnTo>
                    <a:lnTo>
                      <a:pt x="341" y="284"/>
                    </a:lnTo>
                    <a:lnTo>
                      <a:pt x="341" y="283"/>
                    </a:lnTo>
                    <a:lnTo>
                      <a:pt x="341" y="281"/>
                    </a:lnTo>
                    <a:lnTo>
                      <a:pt x="340" y="281"/>
                    </a:lnTo>
                    <a:lnTo>
                      <a:pt x="338" y="281"/>
                    </a:lnTo>
                    <a:lnTo>
                      <a:pt x="336" y="281"/>
                    </a:lnTo>
                    <a:lnTo>
                      <a:pt x="334" y="281"/>
                    </a:lnTo>
                    <a:lnTo>
                      <a:pt x="333" y="281"/>
                    </a:lnTo>
                    <a:lnTo>
                      <a:pt x="334" y="281"/>
                    </a:lnTo>
                    <a:lnTo>
                      <a:pt x="334" y="283"/>
                    </a:lnTo>
                    <a:lnTo>
                      <a:pt x="334" y="284"/>
                    </a:lnTo>
                    <a:lnTo>
                      <a:pt x="333" y="284"/>
                    </a:lnTo>
                    <a:lnTo>
                      <a:pt x="331" y="284"/>
                    </a:lnTo>
                    <a:lnTo>
                      <a:pt x="329" y="284"/>
                    </a:lnTo>
                    <a:lnTo>
                      <a:pt x="329" y="283"/>
                    </a:lnTo>
                    <a:lnTo>
                      <a:pt x="329" y="284"/>
                    </a:lnTo>
                    <a:lnTo>
                      <a:pt x="328" y="283"/>
                    </a:lnTo>
                    <a:lnTo>
                      <a:pt x="329" y="283"/>
                    </a:lnTo>
                    <a:lnTo>
                      <a:pt x="328" y="283"/>
                    </a:lnTo>
                    <a:lnTo>
                      <a:pt x="328" y="281"/>
                    </a:lnTo>
                    <a:lnTo>
                      <a:pt x="326" y="281"/>
                    </a:lnTo>
                    <a:lnTo>
                      <a:pt x="326" y="279"/>
                    </a:lnTo>
                    <a:lnTo>
                      <a:pt x="324" y="281"/>
                    </a:lnTo>
                    <a:lnTo>
                      <a:pt x="326" y="283"/>
                    </a:lnTo>
                    <a:lnTo>
                      <a:pt x="324" y="283"/>
                    </a:lnTo>
                    <a:lnTo>
                      <a:pt x="323" y="281"/>
                    </a:lnTo>
                    <a:lnTo>
                      <a:pt x="323" y="283"/>
                    </a:lnTo>
                    <a:lnTo>
                      <a:pt x="321" y="283"/>
                    </a:lnTo>
                    <a:lnTo>
                      <a:pt x="321" y="281"/>
                    </a:lnTo>
                    <a:lnTo>
                      <a:pt x="319" y="281"/>
                    </a:lnTo>
                    <a:lnTo>
                      <a:pt x="319" y="283"/>
                    </a:lnTo>
                    <a:lnTo>
                      <a:pt x="317" y="283"/>
                    </a:lnTo>
                    <a:lnTo>
                      <a:pt x="316" y="283"/>
                    </a:lnTo>
                    <a:lnTo>
                      <a:pt x="316" y="284"/>
                    </a:lnTo>
                    <a:lnTo>
                      <a:pt x="316" y="283"/>
                    </a:lnTo>
                    <a:lnTo>
                      <a:pt x="314" y="283"/>
                    </a:lnTo>
                    <a:lnTo>
                      <a:pt x="312" y="281"/>
                    </a:lnTo>
                    <a:lnTo>
                      <a:pt x="312" y="279"/>
                    </a:lnTo>
                    <a:lnTo>
                      <a:pt x="311" y="279"/>
                    </a:lnTo>
                    <a:lnTo>
                      <a:pt x="312" y="278"/>
                    </a:lnTo>
                    <a:lnTo>
                      <a:pt x="311" y="278"/>
                    </a:lnTo>
                    <a:lnTo>
                      <a:pt x="311" y="276"/>
                    </a:lnTo>
                    <a:lnTo>
                      <a:pt x="309" y="276"/>
                    </a:lnTo>
                    <a:lnTo>
                      <a:pt x="307" y="276"/>
                    </a:lnTo>
                    <a:lnTo>
                      <a:pt x="306" y="276"/>
                    </a:lnTo>
                    <a:lnTo>
                      <a:pt x="306" y="274"/>
                    </a:lnTo>
                    <a:lnTo>
                      <a:pt x="304" y="276"/>
                    </a:lnTo>
                    <a:lnTo>
                      <a:pt x="302" y="276"/>
                    </a:lnTo>
                    <a:lnTo>
                      <a:pt x="302" y="274"/>
                    </a:lnTo>
                    <a:lnTo>
                      <a:pt x="300" y="276"/>
                    </a:lnTo>
                    <a:lnTo>
                      <a:pt x="300" y="274"/>
                    </a:lnTo>
                    <a:lnTo>
                      <a:pt x="300" y="276"/>
                    </a:lnTo>
                    <a:lnTo>
                      <a:pt x="299" y="276"/>
                    </a:lnTo>
                    <a:lnTo>
                      <a:pt x="297" y="276"/>
                    </a:lnTo>
                    <a:lnTo>
                      <a:pt x="295" y="276"/>
                    </a:lnTo>
                    <a:lnTo>
                      <a:pt x="294" y="276"/>
                    </a:lnTo>
                    <a:lnTo>
                      <a:pt x="294" y="274"/>
                    </a:lnTo>
                    <a:lnTo>
                      <a:pt x="292" y="272"/>
                    </a:lnTo>
                    <a:lnTo>
                      <a:pt x="292" y="271"/>
                    </a:lnTo>
                    <a:lnTo>
                      <a:pt x="290" y="271"/>
                    </a:lnTo>
                    <a:lnTo>
                      <a:pt x="289" y="271"/>
                    </a:lnTo>
                    <a:lnTo>
                      <a:pt x="287" y="271"/>
                    </a:lnTo>
                    <a:lnTo>
                      <a:pt x="287" y="272"/>
                    </a:lnTo>
                    <a:lnTo>
                      <a:pt x="287" y="274"/>
                    </a:lnTo>
                    <a:lnTo>
                      <a:pt x="289" y="274"/>
                    </a:lnTo>
                    <a:lnTo>
                      <a:pt x="289" y="276"/>
                    </a:lnTo>
                    <a:lnTo>
                      <a:pt x="290" y="276"/>
                    </a:lnTo>
                    <a:lnTo>
                      <a:pt x="290" y="278"/>
                    </a:lnTo>
                    <a:lnTo>
                      <a:pt x="292" y="278"/>
                    </a:lnTo>
                    <a:lnTo>
                      <a:pt x="292" y="279"/>
                    </a:lnTo>
                    <a:lnTo>
                      <a:pt x="294" y="281"/>
                    </a:lnTo>
                    <a:lnTo>
                      <a:pt x="295" y="283"/>
                    </a:lnTo>
                    <a:lnTo>
                      <a:pt x="295" y="284"/>
                    </a:lnTo>
                    <a:lnTo>
                      <a:pt x="297" y="284"/>
                    </a:lnTo>
                    <a:lnTo>
                      <a:pt x="297" y="286"/>
                    </a:lnTo>
                    <a:lnTo>
                      <a:pt x="299" y="286"/>
                    </a:lnTo>
                    <a:lnTo>
                      <a:pt x="299" y="288"/>
                    </a:lnTo>
                    <a:lnTo>
                      <a:pt x="300" y="288"/>
                    </a:lnTo>
                    <a:lnTo>
                      <a:pt x="302" y="288"/>
                    </a:lnTo>
                    <a:lnTo>
                      <a:pt x="304" y="288"/>
                    </a:lnTo>
                    <a:lnTo>
                      <a:pt x="304" y="289"/>
                    </a:lnTo>
                    <a:lnTo>
                      <a:pt x="306" y="289"/>
                    </a:lnTo>
                    <a:lnTo>
                      <a:pt x="306" y="291"/>
                    </a:lnTo>
                    <a:lnTo>
                      <a:pt x="307" y="293"/>
                    </a:lnTo>
                    <a:lnTo>
                      <a:pt x="309" y="295"/>
                    </a:lnTo>
                    <a:lnTo>
                      <a:pt x="309" y="296"/>
                    </a:lnTo>
                    <a:lnTo>
                      <a:pt x="307" y="298"/>
                    </a:lnTo>
                    <a:lnTo>
                      <a:pt x="306" y="300"/>
                    </a:lnTo>
                    <a:lnTo>
                      <a:pt x="307" y="300"/>
                    </a:lnTo>
                    <a:lnTo>
                      <a:pt x="307" y="301"/>
                    </a:lnTo>
                    <a:lnTo>
                      <a:pt x="307" y="303"/>
                    </a:lnTo>
                    <a:lnTo>
                      <a:pt x="307" y="305"/>
                    </a:lnTo>
                    <a:lnTo>
                      <a:pt x="307" y="306"/>
                    </a:lnTo>
                    <a:lnTo>
                      <a:pt x="307" y="308"/>
                    </a:lnTo>
                    <a:lnTo>
                      <a:pt x="307" y="310"/>
                    </a:lnTo>
                    <a:lnTo>
                      <a:pt x="309" y="312"/>
                    </a:lnTo>
                    <a:lnTo>
                      <a:pt x="309" y="313"/>
                    </a:lnTo>
                    <a:lnTo>
                      <a:pt x="311" y="313"/>
                    </a:lnTo>
                    <a:lnTo>
                      <a:pt x="311" y="315"/>
                    </a:lnTo>
                    <a:lnTo>
                      <a:pt x="312" y="315"/>
                    </a:lnTo>
                    <a:lnTo>
                      <a:pt x="312" y="317"/>
                    </a:lnTo>
                    <a:lnTo>
                      <a:pt x="312" y="318"/>
                    </a:lnTo>
                    <a:lnTo>
                      <a:pt x="314" y="320"/>
                    </a:lnTo>
                    <a:lnTo>
                      <a:pt x="314" y="322"/>
                    </a:lnTo>
                    <a:lnTo>
                      <a:pt x="316" y="322"/>
                    </a:lnTo>
                    <a:lnTo>
                      <a:pt x="314" y="322"/>
                    </a:lnTo>
                    <a:lnTo>
                      <a:pt x="316" y="323"/>
                    </a:lnTo>
                    <a:lnTo>
                      <a:pt x="314" y="323"/>
                    </a:lnTo>
                    <a:lnTo>
                      <a:pt x="316" y="323"/>
                    </a:lnTo>
                    <a:lnTo>
                      <a:pt x="316" y="325"/>
                    </a:lnTo>
                    <a:lnTo>
                      <a:pt x="314" y="325"/>
                    </a:lnTo>
                    <a:lnTo>
                      <a:pt x="314" y="327"/>
                    </a:lnTo>
                    <a:lnTo>
                      <a:pt x="314" y="329"/>
                    </a:lnTo>
                    <a:lnTo>
                      <a:pt x="312" y="329"/>
                    </a:lnTo>
                    <a:lnTo>
                      <a:pt x="312" y="330"/>
                    </a:lnTo>
                    <a:lnTo>
                      <a:pt x="314" y="330"/>
                    </a:lnTo>
                    <a:lnTo>
                      <a:pt x="314" y="332"/>
                    </a:lnTo>
                    <a:lnTo>
                      <a:pt x="314" y="330"/>
                    </a:lnTo>
                    <a:lnTo>
                      <a:pt x="316" y="332"/>
                    </a:lnTo>
                    <a:lnTo>
                      <a:pt x="317" y="332"/>
                    </a:lnTo>
                    <a:lnTo>
                      <a:pt x="319" y="332"/>
                    </a:lnTo>
                    <a:lnTo>
                      <a:pt x="321" y="334"/>
                    </a:lnTo>
                    <a:lnTo>
                      <a:pt x="323" y="334"/>
                    </a:lnTo>
                    <a:lnTo>
                      <a:pt x="324" y="334"/>
                    </a:lnTo>
                    <a:lnTo>
                      <a:pt x="326" y="334"/>
                    </a:lnTo>
                    <a:lnTo>
                      <a:pt x="328" y="334"/>
                    </a:lnTo>
                    <a:lnTo>
                      <a:pt x="329" y="334"/>
                    </a:lnTo>
                    <a:lnTo>
                      <a:pt x="331" y="334"/>
                    </a:lnTo>
                    <a:lnTo>
                      <a:pt x="333" y="332"/>
                    </a:lnTo>
                    <a:lnTo>
                      <a:pt x="334" y="332"/>
                    </a:lnTo>
                    <a:lnTo>
                      <a:pt x="336" y="332"/>
                    </a:lnTo>
                    <a:lnTo>
                      <a:pt x="336" y="334"/>
                    </a:lnTo>
                    <a:lnTo>
                      <a:pt x="336" y="335"/>
                    </a:lnTo>
                    <a:lnTo>
                      <a:pt x="336" y="337"/>
                    </a:lnTo>
                    <a:lnTo>
                      <a:pt x="336" y="339"/>
                    </a:lnTo>
                    <a:lnTo>
                      <a:pt x="336" y="340"/>
                    </a:lnTo>
                    <a:lnTo>
                      <a:pt x="334" y="340"/>
                    </a:lnTo>
                    <a:lnTo>
                      <a:pt x="336" y="340"/>
                    </a:lnTo>
                    <a:lnTo>
                      <a:pt x="334" y="342"/>
                    </a:lnTo>
                    <a:lnTo>
                      <a:pt x="333" y="344"/>
                    </a:lnTo>
                    <a:lnTo>
                      <a:pt x="333" y="342"/>
                    </a:lnTo>
                    <a:lnTo>
                      <a:pt x="333" y="344"/>
                    </a:lnTo>
                    <a:lnTo>
                      <a:pt x="331" y="344"/>
                    </a:lnTo>
                    <a:lnTo>
                      <a:pt x="331" y="342"/>
                    </a:lnTo>
                    <a:lnTo>
                      <a:pt x="329" y="342"/>
                    </a:lnTo>
                    <a:lnTo>
                      <a:pt x="329" y="344"/>
                    </a:lnTo>
                    <a:lnTo>
                      <a:pt x="328" y="344"/>
                    </a:lnTo>
                    <a:lnTo>
                      <a:pt x="328" y="346"/>
                    </a:lnTo>
                    <a:lnTo>
                      <a:pt x="326" y="346"/>
                    </a:lnTo>
                    <a:lnTo>
                      <a:pt x="326" y="347"/>
                    </a:lnTo>
                    <a:lnTo>
                      <a:pt x="324" y="346"/>
                    </a:lnTo>
                    <a:lnTo>
                      <a:pt x="324" y="347"/>
                    </a:lnTo>
                    <a:lnTo>
                      <a:pt x="323" y="347"/>
                    </a:lnTo>
                    <a:lnTo>
                      <a:pt x="321" y="347"/>
                    </a:lnTo>
                    <a:lnTo>
                      <a:pt x="321" y="349"/>
                    </a:lnTo>
                    <a:lnTo>
                      <a:pt x="319" y="347"/>
                    </a:lnTo>
                    <a:lnTo>
                      <a:pt x="317" y="347"/>
                    </a:lnTo>
                    <a:lnTo>
                      <a:pt x="316" y="347"/>
                    </a:lnTo>
                    <a:lnTo>
                      <a:pt x="314" y="347"/>
                    </a:lnTo>
                    <a:lnTo>
                      <a:pt x="314" y="349"/>
                    </a:lnTo>
                    <a:lnTo>
                      <a:pt x="312" y="349"/>
                    </a:lnTo>
                    <a:lnTo>
                      <a:pt x="312" y="351"/>
                    </a:lnTo>
                    <a:lnTo>
                      <a:pt x="312" y="352"/>
                    </a:lnTo>
                    <a:lnTo>
                      <a:pt x="312" y="354"/>
                    </a:lnTo>
                    <a:lnTo>
                      <a:pt x="312" y="356"/>
                    </a:lnTo>
                    <a:lnTo>
                      <a:pt x="312" y="357"/>
                    </a:lnTo>
                    <a:lnTo>
                      <a:pt x="312" y="359"/>
                    </a:lnTo>
                    <a:lnTo>
                      <a:pt x="312" y="361"/>
                    </a:lnTo>
                    <a:lnTo>
                      <a:pt x="311" y="361"/>
                    </a:lnTo>
                    <a:lnTo>
                      <a:pt x="309" y="361"/>
                    </a:lnTo>
                    <a:lnTo>
                      <a:pt x="309" y="363"/>
                    </a:lnTo>
                    <a:lnTo>
                      <a:pt x="309" y="364"/>
                    </a:lnTo>
                    <a:lnTo>
                      <a:pt x="307" y="364"/>
                    </a:lnTo>
                    <a:lnTo>
                      <a:pt x="306" y="364"/>
                    </a:lnTo>
                    <a:lnTo>
                      <a:pt x="304" y="366"/>
                    </a:lnTo>
                    <a:lnTo>
                      <a:pt x="304" y="368"/>
                    </a:lnTo>
                    <a:lnTo>
                      <a:pt x="304" y="369"/>
                    </a:lnTo>
                    <a:lnTo>
                      <a:pt x="302" y="368"/>
                    </a:lnTo>
                    <a:lnTo>
                      <a:pt x="300" y="368"/>
                    </a:lnTo>
                    <a:lnTo>
                      <a:pt x="302" y="368"/>
                    </a:lnTo>
                    <a:lnTo>
                      <a:pt x="302" y="366"/>
                    </a:lnTo>
                    <a:lnTo>
                      <a:pt x="302" y="364"/>
                    </a:lnTo>
                    <a:lnTo>
                      <a:pt x="302" y="363"/>
                    </a:lnTo>
                    <a:lnTo>
                      <a:pt x="302" y="364"/>
                    </a:lnTo>
                    <a:lnTo>
                      <a:pt x="302" y="363"/>
                    </a:lnTo>
                    <a:lnTo>
                      <a:pt x="300" y="364"/>
                    </a:lnTo>
                    <a:lnTo>
                      <a:pt x="299" y="364"/>
                    </a:lnTo>
                    <a:lnTo>
                      <a:pt x="299" y="366"/>
                    </a:lnTo>
                    <a:lnTo>
                      <a:pt x="297" y="366"/>
                    </a:lnTo>
                    <a:lnTo>
                      <a:pt x="295" y="368"/>
                    </a:lnTo>
                    <a:lnTo>
                      <a:pt x="295" y="369"/>
                    </a:lnTo>
                    <a:lnTo>
                      <a:pt x="294" y="369"/>
                    </a:lnTo>
                    <a:lnTo>
                      <a:pt x="294" y="371"/>
                    </a:lnTo>
                    <a:lnTo>
                      <a:pt x="292" y="371"/>
                    </a:lnTo>
                    <a:lnTo>
                      <a:pt x="290" y="371"/>
                    </a:lnTo>
                    <a:lnTo>
                      <a:pt x="290" y="373"/>
                    </a:lnTo>
                    <a:lnTo>
                      <a:pt x="289" y="373"/>
                    </a:lnTo>
                    <a:lnTo>
                      <a:pt x="289" y="371"/>
                    </a:lnTo>
                    <a:lnTo>
                      <a:pt x="287" y="371"/>
                    </a:lnTo>
                    <a:lnTo>
                      <a:pt x="285" y="371"/>
                    </a:lnTo>
                    <a:lnTo>
                      <a:pt x="287" y="373"/>
                    </a:lnTo>
                    <a:lnTo>
                      <a:pt x="285" y="373"/>
                    </a:lnTo>
                    <a:lnTo>
                      <a:pt x="283" y="373"/>
                    </a:lnTo>
                    <a:lnTo>
                      <a:pt x="283" y="374"/>
                    </a:lnTo>
                    <a:lnTo>
                      <a:pt x="283" y="373"/>
                    </a:lnTo>
                    <a:lnTo>
                      <a:pt x="282" y="373"/>
                    </a:lnTo>
                    <a:lnTo>
                      <a:pt x="282" y="374"/>
                    </a:lnTo>
                    <a:lnTo>
                      <a:pt x="282" y="376"/>
                    </a:lnTo>
                    <a:lnTo>
                      <a:pt x="280" y="376"/>
                    </a:lnTo>
                    <a:lnTo>
                      <a:pt x="280" y="378"/>
                    </a:lnTo>
                    <a:lnTo>
                      <a:pt x="278" y="378"/>
                    </a:lnTo>
                    <a:lnTo>
                      <a:pt x="278" y="376"/>
                    </a:lnTo>
                    <a:lnTo>
                      <a:pt x="277" y="376"/>
                    </a:lnTo>
                    <a:lnTo>
                      <a:pt x="275" y="376"/>
                    </a:lnTo>
                    <a:lnTo>
                      <a:pt x="277" y="378"/>
                    </a:lnTo>
                    <a:lnTo>
                      <a:pt x="275" y="378"/>
                    </a:lnTo>
                    <a:lnTo>
                      <a:pt x="275" y="380"/>
                    </a:lnTo>
                    <a:lnTo>
                      <a:pt x="277" y="381"/>
                    </a:lnTo>
                    <a:lnTo>
                      <a:pt x="275" y="381"/>
                    </a:lnTo>
                    <a:lnTo>
                      <a:pt x="275" y="383"/>
                    </a:lnTo>
                    <a:lnTo>
                      <a:pt x="275" y="385"/>
                    </a:lnTo>
                    <a:lnTo>
                      <a:pt x="273" y="385"/>
                    </a:lnTo>
                    <a:lnTo>
                      <a:pt x="273" y="383"/>
                    </a:lnTo>
                    <a:lnTo>
                      <a:pt x="272" y="383"/>
                    </a:lnTo>
                    <a:lnTo>
                      <a:pt x="270" y="383"/>
                    </a:lnTo>
                    <a:lnTo>
                      <a:pt x="270" y="385"/>
                    </a:lnTo>
                    <a:lnTo>
                      <a:pt x="268" y="385"/>
                    </a:lnTo>
                    <a:lnTo>
                      <a:pt x="270" y="385"/>
                    </a:lnTo>
                    <a:lnTo>
                      <a:pt x="268" y="386"/>
                    </a:lnTo>
                    <a:lnTo>
                      <a:pt x="266" y="388"/>
                    </a:lnTo>
                    <a:lnTo>
                      <a:pt x="268" y="388"/>
                    </a:lnTo>
                    <a:lnTo>
                      <a:pt x="268" y="390"/>
                    </a:lnTo>
                    <a:lnTo>
                      <a:pt x="266" y="390"/>
                    </a:lnTo>
                    <a:lnTo>
                      <a:pt x="266" y="391"/>
                    </a:lnTo>
                    <a:lnTo>
                      <a:pt x="265" y="391"/>
                    </a:lnTo>
                    <a:lnTo>
                      <a:pt x="263" y="391"/>
                    </a:lnTo>
                    <a:lnTo>
                      <a:pt x="263" y="393"/>
                    </a:lnTo>
                    <a:lnTo>
                      <a:pt x="261" y="391"/>
                    </a:lnTo>
                    <a:lnTo>
                      <a:pt x="261" y="390"/>
                    </a:lnTo>
                    <a:lnTo>
                      <a:pt x="263" y="388"/>
                    </a:lnTo>
                    <a:lnTo>
                      <a:pt x="263" y="386"/>
                    </a:lnTo>
                    <a:lnTo>
                      <a:pt x="265" y="386"/>
                    </a:lnTo>
                    <a:lnTo>
                      <a:pt x="265" y="385"/>
                    </a:lnTo>
                    <a:lnTo>
                      <a:pt x="263" y="385"/>
                    </a:lnTo>
                    <a:lnTo>
                      <a:pt x="263" y="383"/>
                    </a:lnTo>
                    <a:lnTo>
                      <a:pt x="263" y="381"/>
                    </a:lnTo>
                    <a:lnTo>
                      <a:pt x="261" y="381"/>
                    </a:lnTo>
                    <a:lnTo>
                      <a:pt x="260" y="381"/>
                    </a:lnTo>
                    <a:lnTo>
                      <a:pt x="258" y="381"/>
                    </a:lnTo>
                    <a:lnTo>
                      <a:pt x="256" y="381"/>
                    </a:lnTo>
                    <a:lnTo>
                      <a:pt x="255" y="381"/>
                    </a:lnTo>
                    <a:lnTo>
                      <a:pt x="255" y="383"/>
                    </a:lnTo>
                    <a:lnTo>
                      <a:pt x="253" y="383"/>
                    </a:lnTo>
                    <a:lnTo>
                      <a:pt x="251" y="383"/>
                    </a:lnTo>
                    <a:lnTo>
                      <a:pt x="251" y="385"/>
                    </a:lnTo>
                    <a:lnTo>
                      <a:pt x="249" y="385"/>
                    </a:lnTo>
                    <a:lnTo>
                      <a:pt x="249" y="386"/>
                    </a:lnTo>
                    <a:lnTo>
                      <a:pt x="248" y="386"/>
                    </a:lnTo>
                    <a:lnTo>
                      <a:pt x="248" y="388"/>
                    </a:lnTo>
                    <a:lnTo>
                      <a:pt x="246" y="388"/>
                    </a:lnTo>
                    <a:lnTo>
                      <a:pt x="244" y="388"/>
                    </a:lnTo>
                    <a:lnTo>
                      <a:pt x="244" y="390"/>
                    </a:lnTo>
                    <a:lnTo>
                      <a:pt x="243" y="390"/>
                    </a:lnTo>
                    <a:lnTo>
                      <a:pt x="241" y="390"/>
                    </a:lnTo>
                    <a:lnTo>
                      <a:pt x="241" y="388"/>
                    </a:lnTo>
                    <a:lnTo>
                      <a:pt x="239" y="388"/>
                    </a:lnTo>
                    <a:lnTo>
                      <a:pt x="238" y="390"/>
                    </a:lnTo>
                    <a:lnTo>
                      <a:pt x="236" y="390"/>
                    </a:lnTo>
                    <a:lnTo>
                      <a:pt x="219" y="373"/>
                    </a:lnTo>
                    <a:lnTo>
                      <a:pt x="217" y="373"/>
                    </a:lnTo>
                    <a:lnTo>
                      <a:pt x="217" y="371"/>
                    </a:lnTo>
                    <a:lnTo>
                      <a:pt x="219" y="371"/>
                    </a:lnTo>
                    <a:lnTo>
                      <a:pt x="219" y="369"/>
                    </a:lnTo>
                    <a:lnTo>
                      <a:pt x="219" y="368"/>
                    </a:lnTo>
                    <a:lnTo>
                      <a:pt x="217" y="368"/>
                    </a:lnTo>
                    <a:lnTo>
                      <a:pt x="217" y="366"/>
                    </a:lnTo>
                    <a:lnTo>
                      <a:pt x="217" y="364"/>
                    </a:lnTo>
                    <a:lnTo>
                      <a:pt x="215" y="364"/>
                    </a:lnTo>
                    <a:lnTo>
                      <a:pt x="215" y="363"/>
                    </a:lnTo>
                    <a:lnTo>
                      <a:pt x="215" y="361"/>
                    </a:lnTo>
                    <a:lnTo>
                      <a:pt x="215" y="359"/>
                    </a:lnTo>
                    <a:lnTo>
                      <a:pt x="214" y="359"/>
                    </a:lnTo>
                    <a:lnTo>
                      <a:pt x="214" y="357"/>
                    </a:lnTo>
                    <a:lnTo>
                      <a:pt x="214" y="356"/>
                    </a:lnTo>
                    <a:lnTo>
                      <a:pt x="212" y="356"/>
                    </a:lnTo>
                    <a:lnTo>
                      <a:pt x="212" y="354"/>
                    </a:lnTo>
                    <a:lnTo>
                      <a:pt x="212" y="352"/>
                    </a:lnTo>
                    <a:lnTo>
                      <a:pt x="212" y="351"/>
                    </a:lnTo>
                    <a:lnTo>
                      <a:pt x="210" y="349"/>
                    </a:lnTo>
                    <a:lnTo>
                      <a:pt x="209" y="347"/>
                    </a:lnTo>
                    <a:lnTo>
                      <a:pt x="210" y="347"/>
                    </a:lnTo>
                    <a:lnTo>
                      <a:pt x="210" y="346"/>
                    </a:lnTo>
                    <a:lnTo>
                      <a:pt x="210" y="344"/>
                    </a:lnTo>
                    <a:lnTo>
                      <a:pt x="209" y="342"/>
                    </a:lnTo>
                    <a:lnTo>
                      <a:pt x="209" y="344"/>
                    </a:lnTo>
                    <a:lnTo>
                      <a:pt x="209" y="342"/>
                    </a:lnTo>
                    <a:lnTo>
                      <a:pt x="207" y="342"/>
                    </a:lnTo>
                    <a:lnTo>
                      <a:pt x="207" y="340"/>
                    </a:lnTo>
                    <a:lnTo>
                      <a:pt x="207" y="339"/>
                    </a:lnTo>
                    <a:lnTo>
                      <a:pt x="205" y="339"/>
                    </a:lnTo>
                    <a:lnTo>
                      <a:pt x="207" y="339"/>
                    </a:lnTo>
                    <a:lnTo>
                      <a:pt x="207" y="337"/>
                    </a:lnTo>
                    <a:lnTo>
                      <a:pt x="207" y="335"/>
                    </a:lnTo>
                    <a:lnTo>
                      <a:pt x="207" y="334"/>
                    </a:lnTo>
                    <a:lnTo>
                      <a:pt x="205" y="334"/>
                    </a:lnTo>
                    <a:lnTo>
                      <a:pt x="205" y="332"/>
                    </a:lnTo>
                    <a:lnTo>
                      <a:pt x="204" y="332"/>
                    </a:lnTo>
                    <a:lnTo>
                      <a:pt x="202" y="330"/>
                    </a:lnTo>
                    <a:lnTo>
                      <a:pt x="202" y="329"/>
                    </a:lnTo>
                    <a:lnTo>
                      <a:pt x="200" y="329"/>
                    </a:lnTo>
                    <a:lnTo>
                      <a:pt x="200" y="327"/>
                    </a:lnTo>
                    <a:lnTo>
                      <a:pt x="198" y="327"/>
                    </a:lnTo>
                    <a:lnTo>
                      <a:pt x="197" y="325"/>
                    </a:lnTo>
                    <a:lnTo>
                      <a:pt x="195" y="325"/>
                    </a:lnTo>
                    <a:lnTo>
                      <a:pt x="195" y="323"/>
                    </a:lnTo>
                    <a:lnTo>
                      <a:pt x="193" y="322"/>
                    </a:lnTo>
                    <a:lnTo>
                      <a:pt x="193" y="320"/>
                    </a:lnTo>
                    <a:lnTo>
                      <a:pt x="192" y="320"/>
                    </a:lnTo>
                    <a:lnTo>
                      <a:pt x="190" y="320"/>
                    </a:lnTo>
                    <a:lnTo>
                      <a:pt x="188" y="320"/>
                    </a:lnTo>
                    <a:lnTo>
                      <a:pt x="188" y="318"/>
                    </a:lnTo>
                    <a:lnTo>
                      <a:pt x="187" y="320"/>
                    </a:lnTo>
                    <a:lnTo>
                      <a:pt x="187" y="318"/>
                    </a:lnTo>
                    <a:lnTo>
                      <a:pt x="185" y="320"/>
                    </a:lnTo>
                    <a:lnTo>
                      <a:pt x="185" y="318"/>
                    </a:lnTo>
                    <a:lnTo>
                      <a:pt x="187" y="317"/>
                    </a:lnTo>
                    <a:lnTo>
                      <a:pt x="190" y="313"/>
                    </a:lnTo>
                    <a:lnTo>
                      <a:pt x="193" y="310"/>
                    </a:lnTo>
                    <a:lnTo>
                      <a:pt x="197" y="308"/>
                    </a:lnTo>
                    <a:lnTo>
                      <a:pt x="198" y="305"/>
                    </a:lnTo>
                    <a:lnTo>
                      <a:pt x="200" y="305"/>
                    </a:lnTo>
                    <a:lnTo>
                      <a:pt x="200" y="303"/>
                    </a:lnTo>
                    <a:lnTo>
                      <a:pt x="202" y="303"/>
                    </a:lnTo>
                    <a:lnTo>
                      <a:pt x="202" y="301"/>
                    </a:lnTo>
                    <a:lnTo>
                      <a:pt x="204" y="301"/>
                    </a:lnTo>
                    <a:lnTo>
                      <a:pt x="204" y="300"/>
                    </a:lnTo>
                    <a:lnTo>
                      <a:pt x="202" y="300"/>
                    </a:lnTo>
                    <a:lnTo>
                      <a:pt x="202" y="298"/>
                    </a:lnTo>
                    <a:lnTo>
                      <a:pt x="200" y="298"/>
                    </a:lnTo>
                    <a:lnTo>
                      <a:pt x="200" y="296"/>
                    </a:lnTo>
                    <a:lnTo>
                      <a:pt x="200" y="295"/>
                    </a:lnTo>
                    <a:lnTo>
                      <a:pt x="198" y="295"/>
                    </a:lnTo>
                    <a:lnTo>
                      <a:pt x="198" y="293"/>
                    </a:lnTo>
                    <a:lnTo>
                      <a:pt x="198" y="291"/>
                    </a:lnTo>
                    <a:lnTo>
                      <a:pt x="197" y="289"/>
                    </a:lnTo>
                    <a:lnTo>
                      <a:pt x="197" y="288"/>
                    </a:lnTo>
                    <a:lnTo>
                      <a:pt x="195" y="288"/>
                    </a:lnTo>
                    <a:lnTo>
                      <a:pt x="193" y="288"/>
                    </a:lnTo>
                    <a:lnTo>
                      <a:pt x="192" y="288"/>
                    </a:lnTo>
                    <a:lnTo>
                      <a:pt x="192" y="286"/>
                    </a:lnTo>
                    <a:lnTo>
                      <a:pt x="192" y="284"/>
                    </a:lnTo>
                    <a:lnTo>
                      <a:pt x="192" y="283"/>
                    </a:lnTo>
                    <a:lnTo>
                      <a:pt x="190" y="283"/>
                    </a:lnTo>
                    <a:lnTo>
                      <a:pt x="190" y="281"/>
                    </a:lnTo>
                    <a:lnTo>
                      <a:pt x="190" y="279"/>
                    </a:lnTo>
                    <a:lnTo>
                      <a:pt x="190" y="278"/>
                    </a:lnTo>
                    <a:lnTo>
                      <a:pt x="188" y="276"/>
                    </a:lnTo>
                    <a:lnTo>
                      <a:pt x="188" y="274"/>
                    </a:lnTo>
                    <a:lnTo>
                      <a:pt x="187" y="274"/>
                    </a:lnTo>
                    <a:lnTo>
                      <a:pt x="187" y="272"/>
                    </a:lnTo>
                    <a:lnTo>
                      <a:pt x="187" y="271"/>
                    </a:lnTo>
                    <a:lnTo>
                      <a:pt x="187" y="269"/>
                    </a:lnTo>
                    <a:lnTo>
                      <a:pt x="187" y="267"/>
                    </a:lnTo>
                    <a:lnTo>
                      <a:pt x="188" y="269"/>
                    </a:lnTo>
                    <a:lnTo>
                      <a:pt x="188" y="267"/>
                    </a:lnTo>
                    <a:lnTo>
                      <a:pt x="187" y="267"/>
                    </a:lnTo>
                    <a:lnTo>
                      <a:pt x="187" y="266"/>
                    </a:lnTo>
                    <a:lnTo>
                      <a:pt x="188" y="266"/>
                    </a:lnTo>
                    <a:lnTo>
                      <a:pt x="187" y="266"/>
                    </a:lnTo>
                    <a:lnTo>
                      <a:pt x="187" y="264"/>
                    </a:lnTo>
                    <a:lnTo>
                      <a:pt x="187" y="262"/>
                    </a:lnTo>
                    <a:lnTo>
                      <a:pt x="185" y="262"/>
                    </a:lnTo>
                    <a:lnTo>
                      <a:pt x="185" y="261"/>
                    </a:lnTo>
                    <a:lnTo>
                      <a:pt x="185" y="259"/>
                    </a:lnTo>
                    <a:lnTo>
                      <a:pt x="185" y="257"/>
                    </a:lnTo>
                    <a:lnTo>
                      <a:pt x="185" y="255"/>
                    </a:lnTo>
                    <a:lnTo>
                      <a:pt x="187" y="255"/>
                    </a:lnTo>
                    <a:lnTo>
                      <a:pt x="187" y="254"/>
                    </a:lnTo>
                    <a:lnTo>
                      <a:pt x="185" y="254"/>
                    </a:lnTo>
                    <a:lnTo>
                      <a:pt x="185" y="252"/>
                    </a:lnTo>
                    <a:lnTo>
                      <a:pt x="185" y="250"/>
                    </a:lnTo>
                    <a:lnTo>
                      <a:pt x="185" y="249"/>
                    </a:lnTo>
                    <a:lnTo>
                      <a:pt x="185" y="247"/>
                    </a:lnTo>
                    <a:lnTo>
                      <a:pt x="187" y="247"/>
                    </a:lnTo>
                    <a:lnTo>
                      <a:pt x="187" y="245"/>
                    </a:lnTo>
                    <a:lnTo>
                      <a:pt x="187" y="243"/>
                    </a:lnTo>
                    <a:lnTo>
                      <a:pt x="185" y="243"/>
                    </a:lnTo>
                    <a:lnTo>
                      <a:pt x="187" y="243"/>
                    </a:lnTo>
                    <a:lnTo>
                      <a:pt x="185" y="242"/>
                    </a:lnTo>
                    <a:lnTo>
                      <a:pt x="185" y="240"/>
                    </a:lnTo>
                    <a:lnTo>
                      <a:pt x="185" y="238"/>
                    </a:lnTo>
                    <a:lnTo>
                      <a:pt x="187" y="237"/>
                    </a:lnTo>
                    <a:lnTo>
                      <a:pt x="185" y="237"/>
                    </a:lnTo>
                    <a:lnTo>
                      <a:pt x="185" y="235"/>
                    </a:lnTo>
                    <a:lnTo>
                      <a:pt x="187" y="235"/>
                    </a:lnTo>
                    <a:lnTo>
                      <a:pt x="187" y="233"/>
                    </a:lnTo>
                    <a:lnTo>
                      <a:pt x="188" y="233"/>
                    </a:lnTo>
                    <a:lnTo>
                      <a:pt x="188" y="232"/>
                    </a:lnTo>
                    <a:lnTo>
                      <a:pt x="190" y="232"/>
                    </a:lnTo>
                    <a:lnTo>
                      <a:pt x="192" y="230"/>
                    </a:lnTo>
                    <a:lnTo>
                      <a:pt x="192" y="228"/>
                    </a:lnTo>
                    <a:lnTo>
                      <a:pt x="193" y="228"/>
                    </a:lnTo>
                    <a:lnTo>
                      <a:pt x="193" y="226"/>
                    </a:lnTo>
                    <a:lnTo>
                      <a:pt x="193" y="225"/>
                    </a:lnTo>
                    <a:lnTo>
                      <a:pt x="192" y="225"/>
                    </a:lnTo>
                    <a:lnTo>
                      <a:pt x="192" y="223"/>
                    </a:lnTo>
                    <a:lnTo>
                      <a:pt x="192" y="221"/>
                    </a:lnTo>
                    <a:lnTo>
                      <a:pt x="193" y="220"/>
                    </a:lnTo>
                    <a:lnTo>
                      <a:pt x="193" y="218"/>
                    </a:lnTo>
                    <a:lnTo>
                      <a:pt x="193" y="216"/>
                    </a:lnTo>
                    <a:lnTo>
                      <a:pt x="195" y="216"/>
                    </a:lnTo>
                    <a:lnTo>
                      <a:pt x="195" y="215"/>
                    </a:lnTo>
                    <a:lnTo>
                      <a:pt x="197" y="215"/>
                    </a:lnTo>
                    <a:lnTo>
                      <a:pt x="198" y="213"/>
                    </a:lnTo>
                    <a:lnTo>
                      <a:pt x="200" y="213"/>
                    </a:lnTo>
                    <a:lnTo>
                      <a:pt x="200" y="211"/>
                    </a:lnTo>
                    <a:lnTo>
                      <a:pt x="198" y="211"/>
                    </a:lnTo>
                    <a:lnTo>
                      <a:pt x="198" y="209"/>
                    </a:lnTo>
                    <a:lnTo>
                      <a:pt x="197" y="208"/>
                    </a:lnTo>
                    <a:lnTo>
                      <a:pt x="197" y="206"/>
                    </a:lnTo>
                    <a:lnTo>
                      <a:pt x="198" y="206"/>
                    </a:lnTo>
                    <a:lnTo>
                      <a:pt x="198" y="204"/>
                    </a:lnTo>
                    <a:lnTo>
                      <a:pt x="197" y="204"/>
                    </a:lnTo>
                    <a:lnTo>
                      <a:pt x="195" y="203"/>
                    </a:lnTo>
                    <a:lnTo>
                      <a:pt x="193" y="203"/>
                    </a:lnTo>
                    <a:lnTo>
                      <a:pt x="192" y="203"/>
                    </a:lnTo>
                    <a:lnTo>
                      <a:pt x="190" y="203"/>
                    </a:lnTo>
                    <a:lnTo>
                      <a:pt x="190" y="201"/>
                    </a:lnTo>
                    <a:lnTo>
                      <a:pt x="188" y="201"/>
                    </a:lnTo>
                    <a:lnTo>
                      <a:pt x="188" y="203"/>
                    </a:lnTo>
                    <a:lnTo>
                      <a:pt x="188" y="201"/>
                    </a:lnTo>
                    <a:lnTo>
                      <a:pt x="187" y="201"/>
                    </a:lnTo>
                    <a:lnTo>
                      <a:pt x="185" y="201"/>
                    </a:lnTo>
                    <a:lnTo>
                      <a:pt x="183" y="203"/>
                    </a:lnTo>
                    <a:lnTo>
                      <a:pt x="181" y="204"/>
                    </a:lnTo>
                    <a:lnTo>
                      <a:pt x="180" y="204"/>
                    </a:lnTo>
                    <a:lnTo>
                      <a:pt x="178" y="204"/>
                    </a:lnTo>
                    <a:lnTo>
                      <a:pt x="176" y="204"/>
                    </a:lnTo>
                    <a:lnTo>
                      <a:pt x="175" y="204"/>
                    </a:lnTo>
                    <a:lnTo>
                      <a:pt x="173" y="204"/>
                    </a:lnTo>
                    <a:lnTo>
                      <a:pt x="171" y="204"/>
                    </a:lnTo>
                    <a:lnTo>
                      <a:pt x="171" y="206"/>
                    </a:lnTo>
                    <a:lnTo>
                      <a:pt x="170" y="206"/>
                    </a:lnTo>
                    <a:lnTo>
                      <a:pt x="168" y="206"/>
                    </a:lnTo>
                    <a:lnTo>
                      <a:pt x="166" y="206"/>
                    </a:lnTo>
                    <a:lnTo>
                      <a:pt x="164" y="206"/>
                    </a:lnTo>
                    <a:lnTo>
                      <a:pt x="163" y="206"/>
                    </a:lnTo>
                    <a:lnTo>
                      <a:pt x="161" y="206"/>
                    </a:lnTo>
                    <a:lnTo>
                      <a:pt x="159" y="206"/>
                    </a:lnTo>
                    <a:lnTo>
                      <a:pt x="158" y="208"/>
                    </a:lnTo>
                    <a:lnTo>
                      <a:pt x="156" y="208"/>
                    </a:lnTo>
                    <a:lnTo>
                      <a:pt x="156" y="206"/>
                    </a:lnTo>
                    <a:lnTo>
                      <a:pt x="154" y="206"/>
                    </a:lnTo>
                    <a:lnTo>
                      <a:pt x="153" y="206"/>
                    </a:lnTo>
                    <a:lnTo>
                      <a:pt x="151" y="206"/>
                    </a:lnTo>
                    <a:lnTo>
                      <a:pt x="149" y="206"/>
                    </a:lnTo>
                    <a:lnTo>
                      <a:pt x="147" y="206"/>
                    </a:lnTo>
                    <a:lnTo>
                      <a:pt x="147" y="204"/>
                    </a:lnTo>
                    <a:lnTo>
                      <a:pt x="146" y="206"/>
                    </a:lnTo>
                    <a:lnTo>
                      <a:pt x="146" y="204"/>
                    </a:lnTo>
                    <a:lnTo>
                      <a:pt x="144" y="204"/>
                    </a:lnTo>
                    <a:lnTo>
                      <a:pt x="142" y="204"/>
                    </a:lnTo>
                    <a:lnTo>
                      <a:pt x="142" y="206"/>
                    </a:lnTo>
                    <a:lnTo>
                      <a:pt x="141" y="206"/>
                    </a:lnTo>
                    <a:lnTo>
                      <a:pt x="139" y="208"/>
                    </a:lnTo>
                    <a:lnTo>
                      <a:pt x="137" y="209"/>
                    </a:lnTo>
                    <a:lnTo>
                      <a:pt x="136" y="209"/>
                    </a:lnTo>
                    <a:lnTo>
                      <a:pt x="136" y="208"/>
                    </a:lnTo>
                    <a:lnTo>
                      <a:pt x="134" y="208"/>
                    </a:lnTo>
                    <a:lnTo>
                      <a:pt x="132" y="208"/>
                    </a:lnTo>
                    <a:lnTo>
                      <a:pt x="127" y="203"/>
                    </a:lnTo>
                    <a:lnTo>
                      <a:pt x="127" y="201"/>
                    </a:lnTo>
                    <a:lnTo>
                      <a:pt x="120" y="194"/>
                    </a:lnTo>
                    <a:lnTo>
                      <a:pt x="113" y="186"/>
                    </a:lnTo>
                    <a:lnTo>
                      <a:pt x="110" y="181"/>
                    </a:lnTo>
                    <a:lnTo>
                      <a:pt x="108" y="179"/>
                    </a:lnTo>
                    <a:lnTo>
                      <a:pt x="107" y="179"/>
                    </a:lnTo>
                    <a:lnTo>
                      <a:pt x="105" y="179"/>
                    </a:lnTo>
                    <a:lnTo>
                      <a:pt x="103" y="179"/>
                    </a:lnTo>
                    <a:lnTo>
                      <a:pt x="103" y="181"/>
                    </a:lnTo>
                    <a:lnTo>
                      <a:pt x="102" y="181"/>
                    </a:lnTo>
                    <a:lnTo>
                      <a:pt x="100" y="181"/>
                    </a:lnTo>
                    <a:lnTo>
                      <a:pt x="100" y="179"/>
                    </a:lnTo>
                    <a:lnTo>
                      <a:pt x="98" y="179"/>
                    </a:lnTo>
                    <a:lnTo>
                      <a:pt x="98" y="177"/>
                    </a:lnTo>
                    <a:lnTo>
                      <a:pt x="96" y="177"/>
                    </a:lnTo>
                    <a:lnTo>
                      <a:pt x="95" y="177"/>
                    </a:lnTo>
                    <a:lnTo>
                      <a:pt x="95" y="175"/>
                    </a:lnTo>
                    <a:lnTo>
                      <a:pt x="93" y="175"/>
                    </a:lnTo>
                    <a:lnTo>
                      <a:pt x="91" y="175"/>
                    </a:lnTo>
                    <a:lnTo>
                      <a:pt x="90" y="175"/>
                    </a:lnTo>
                    <a:lnTo>
                      <a:pt x="90" y="174"/>
                    </a:lnTo>
                    <a:lnTo>
                      <a:pt x="88" y="175"/>
                    </a:lnTo>
                    <a:lnTo>
                      <a:pt x="86" y="174"/>
                    </a:lnTo>
                    <a:lnTo>
                      <a:pt x="86" y="175"/>
                    </a:lnTo>
                    <a:lnTo>
                      <a:pt x="85" y="175"/>
                    </a:lnTo>
                    <a:lnTo>
                      <a:pt x="83" y="175"/>
                    </a:lnTo>
                    <a:lnTo>
                      <a:pt x="81" y="177"/>
                    </a:lnTo>
                    <a:lnTo>
                      <a:pt x="81" y="175"/>
                    </a:lnTo>
                    <a:lnTo>
                      <a:pt x="81" y="177"/>
                    </a:lnTo>
                    <a:lnTo>
                      <a:pt x="79" y="177"/>
                    </a:lnTo>
                    <a:lnTo>
                      <a:pt x="79" y="179"/>
                    </a:lnTo>
                    <a:lnTo>
                      <a:pt x="78" y="179"/>
                    </a:lnTo>
                    <a:lnTo>
                      <a:pt x="76" y="179"/>
                    </a:lnTo>
                    <a:lnTo>
                      <a:pt x="74" y="179"/>
                    </a:lnTo>
                    <a:lnTo>
                      <a:pt x="74" y="177"/>
                    </a:lnTo>
                    <a:lnTo>
                      <a:pt x="73" y="177"/>
                    </a:lnTo>
                    <a:lnTo>
                      <a:pt x="71" y="177"/>
                    </a:lnTo>
                    <a:lnTo>
                      <a:pt x="69" y="177"/>
                    </a:lnTo>
                    <a:lnTo>
                      <a:pt x="68" y="177"/>
                    </a:lnTo>
                    <a:lnTo>
                      <a:pt x="66" y="177"/>
                    </a:lnTo>
                    <a:lnTo>
                      <a:pt x="64" y="177"/>
                    </a:lnTo>
                    <a:lnTo>
                      <a:pt x="62" y="177"/>
                    </a:lnTo>
                    <a:lnTo>
                      <a:pt x="61" y="177"/>
                    </a:lnTo>
                    <a:lnTo>
                      <a:pt x="59" y="177"/>
                    </a:lnTo>
                    <a:lnTo>
                      <a:pt x="59" y="175"/>
                    </a:lnTo>
                    <a:lnTo>
                      <a:pt x="57" y="177"/>
                    </a:lnTo>
                    <a:lnTo>
                      <a:pt x="57" y="175"/>
                    </a:lnTo>
                    <a:lnTo>
                      <a:pt x="56" y="177"/>
                    </a:lnTo>
                    <a:lnTo>
                      <a:pt x="54" y="177"/>
                    </a:lnTo>
                    <a:lnTo>
                      <a:pt x="54" y="175"/>
                    </a:lnTo>
                    <a:lnTo>
                      <a:pt x="52" y="175"/>
                    </a:lnTo>
                    <a:lnTo>
                      <a:pt x="51" y="175"/>
                    </a:lnTo>
                    <a:lnTo>
                      <a:pt x="51" y="177"/>
                    </a:lnTo>
                    <a:lnTo>
                      <a:pt x="49" y="177"/>
                    </a:lnTo>
                    <a:lnTo>
                      <a:pt x="47" y="177"/>
                    </a:lnTo>
                    <a:lnTo>
                      <a:pt x="45" y="177"/>
                    </a:lnTo>
                    <a:lnTo>
                      <a:pt x="44" y="177"/>
                    </a:lnTo>
                    <a:lnTo>
                      <a:pt x="42" y="175"/>
                    </a:lnTo>
                    <a:lnTo>
                      <a:pt x="40" y="172"/>
                    </a:lnTo>
                    <a:lnTo>
                      <a:pt x="40" y="170"/>
                    </a:lnTo>
                    <a:lnTo>
                      <a:pt x="39" y="170"/>
                    </a:lnTo>
                    <a:lnTo>
                      <a:pt x="39" y="169"/>
                    </a:lnTo>
                    <a:lnTo>
                      <a:pt x="39" y="167"/>
                    </a:lnTo>
                    <a:lnTo>
                      <a:pt x="40" y="167"/>
                    </a:lnTo>
                    <a:lnTo>
                      <a:pt x="39" y="167"/>
                    </a:lnTo>
                    <a:lnTo>
                      <a:pt x="39" y="165"/>
                    </a:lnTo>
                    <a:lnTo>
                      <a:pt x="37" y="164"/>
                    </a:lnTo>
                    <a:lnTo>
                      <a:pt x="37" y="165"/>
                    </a:lnTo>
                    <a:lnTo>
                      <a:pt x="35" y="165"/>
                    </a:lnTo>
                    <a:lnTo>
                      <a:pt x="34" y="165"/>
                    </a:lnTo>
                    <a:lnTo>
                      <a:pt x="34" y="164"/>
                    </a:lnTo>
                    <a:lnTo>
                      <a:pt x="32" y="165"/>
                    </a:lnTo>
                    <a:lnTo>
                      <a:pt x="32" y="164"/>
                    </a:lnTo>
                    <a:lnTo>
                      <a:pt x="30" y="164"/>
                    </a:lnTo>
                    <a:lnTo>
                      <a:pt x="30" y="162"/>
                    </a:lnTo>
                    <a:lnTo>
                      <a:pt x="28" y="162"/>
                    </a:lnTo>
                    <a:lnTo>
                      <a:pt x="28" y="160"/>
                    </a:lnTo>
                    <a:lnTo>
                      <a:pt x="30" y="160"/>
                    </a:lnTo>
                    <a:lnTo>
                      <a:pt x="30" y="158"/>
                    </a:lnTo>
                    <a:lnTo>
                      <a:pt x="28" y="158"/>
                    </a:lnTo>
                    <a:lnTo>
                      <a:pt x="28" y="157"/>
                    </a:lnTo>
                    <a:lnTo>
                      <a:pt x="28" y="155"/>
                    </a:lnTo>
                    <a:lnTo>
                      <a:pt x="28" y="153"/>
                    </a:lnTo>
                    <a:lnTo>
                      <a:pt x="28" y="152"/>
                    </a:lnTo>
                    <a:lnTo>
                      <a:pt x="30" y="150"/>
                    </a:lnTo>
                    <a:lnTo>
                      <a:pt x="30" y="148"/>
                    </a:lnTo>
                    <a:lnTo>
                      <a:pt x="28" y="148"/>
                    </a:lnTo>
                    <a:lnTo>
                      <a:pt x="28" y="147"/>
                    </a:lnTo>
                    <a:lnTo>
                      <a:pt x="28" y="145"/>
                    </a:lnTo>
                    <a:lnTo>
                      <a:pt x="30" y="145"/>
                    </a:lnTo>
                    <a:lnTo>
                      <a:pt x="30" y="143"/>
                    </a:lnTo>
                    <a:lnTo>
                      <a:pt x="32" y="143"/>
                    </a:lnTo>
                    <a:lnTo>
                      <a:pt x="34" y="143"/>
                    </a:lnTo>
                    <a:lnTo>
                      <a:pt x="34" y="141"/>
                    </a:lnTo>
                    <a:lnTo>
                      <a:pt x="32" y="141"/>
                    </a:lnTo>
                    <a:lnTo>
                      <a:pt x="32" y="140"/>
                    </a:lnTo>
                    <a:lnTo>
                      <a:pt x="32" y="138"/>
                    </a:lnTo>
                    <a:lnTo>
                      <a:pt x="34" y="138"/>
                    </a:lnTo>
                    <a:lnTo>
                      <a:pt x="32" y="138"/>
                    </a:lnTo>
                    <a:lnTo>
                      <a:pt x="32" y="136"/>
                    </a:lnTo>
                    <a:lnTo>
                      <a:pt x="32" y="135"/>
                    </a:lnTo>
                    <a:lnTo>
                      <a:pt x="32" y="133"/>
                    </a:lnTo>
                    <a:lnTo>
                      <a:pt x="32" y="131"/>
                    </a:lnTo>
                    <a:lnTo>
                      <a:pt x="30" y="131"/>
                    </a:lnTo>
                    <a:lnTo>
                      <a:pt x="28" y="130"/>
                    </a:lnTo>
                    <a:lnTo>
                      <a:pt x="28" y="128"/>
                    </a:lnTo>
                    <a:lnTo>
                      <a:pt x="27" y="126"/>
                    </a:lnTo>
                    <a:lnTo>
                      <a:pt x="25" y="126"/>
                    </a:lnTo>
                    <a:lnTo>
                      <a:pt x="25" y="124"/>
                    </a:lnTo>
                    <a:lnTo>
                      <a:pt x="23" y="124"/>
                    </a:lnTo>
                    <a:lnTo>
                      <a:pt x="23" y="123"/>
                    </a:lnTo>
                    <a:lnTo>
                      <a:pt x="22" y="121"/>
                    </a:lnTo>
                    <a:lnTo>
                      <a:pt x="22" y="118"/>
                    </a:lnTo>
                    <a:lnTo>
                      <a:pt x="20" y="113"/>
                    </a:lnTo>
                    <a:lnTo>
                      <a:pt x="20" y="111"/>
                    </a:lnTo>
                    <a:lnTo>
                      <a:pt x="20" y="109"/>
                    </a:lnTo>
                    <a:lnTo>
                      <a:pt x="18" y="107"/>
                    </a:lnTo>
                    <a:lnTo>
                      <a:pt x="18" y="106"/>
                    </a:lnTo>
                    <a:lnTo>
                      <a:pt x="17" y="106"/>
                    </a:lnTo>
                    <a:lnTo>
                      <a:pt x="17" y="104"/>
                    </a:lnTo>
                    <a:lnTo>
                      <a:pt x="17" y="106"/>
                    </a:lnTo>
                    <a:lnTo>
                      <a:pt x="15" y="106"/>
                    </a:lnTo>
                    <a:lnTo>
                      <a:pt x="13" y="106"/>
                    </a:lnTo>
                    <a:lnTo>
                      <a:pt x="13" y="107"/>
                    </a:lnTo>
                    <a:lnTo>
                      <a:pt x="13" y="106"/>
                    </a:lnTo>
                    <a:lnTo>
                      <a:pt x="11" y="106"/>
                    </a:lnTo>
                    <a:lnTo>
                      <a:pt x="11" y="104"/>
                    </a:lnTo>
                    <a:lnTo>
                      <a:pt x="13" y="104"/>
                    </a:lnTo>
                    <a:lnTo>
                      <a:pt x="11" y="104"/>
                    </a:lnTo>
                    <a:lnTo>
                      <a:pt x="11" y="102"/>
                    </a:lnTo>
                    <a:lnTo>
                      <a:pt x="11" y="101"/>
                    </a:lnTo>
                    <a:lnTo>
                      <a:pt x="11" y="99"/>
                    </a:lnTo>
                    <a:lnTo>
                      <a:pt x="10" y="101"/>
                    </a:lnTo>
                    <a:lnTo>
                      <a:pt x="8" y="101"/>
                    </a:lnTo>
                    <a:lnTo>
                      <a:pt x="8" y="102"/>
                    </a:lnTo>
                    <a:lnTo>
                      <a:pt x="6" y="102"/>
                    </a:lnTo>
                    <a:lnTo>
                      <a:pt x="5" y="104"/>
                    </a:lnTo>
                    <a:lnTo>
                      <a:pt x="3" y="104"/>
                    </a:lnTo>
                    <a:lnTo>
                      <a:pt x="1" y="104"/>
                    </a:lnTo>
                    <a:lnTo>
                      <a:pt x="0" y="104"/>
                    </a:lnTo>
                    <a:lnTo>
                      <a:pt x="0" y="102"/>
                    </a:lnTo>
                    <a:lnTo>
                      <a:pt x="0" y="101"/>
                    </a:lnTo>
                    <a:lnTo>
                      <a:pt x="1" y="101"/>
                    </a:lnTo>
                    <a:lnTo>
                      <a:pt x="1" y="99"/>
                    </a:lnTo>
                    <a:lnTo>
                      <a:pt x="3" y="97"/>
                    </a:lnTo>
                    <a:lnTo>
                      <a:pt x="3" y="96"/>
                    </a:lnTo>
                    <a:lnTo>
                      <a:pt x="5" y="96"/>
                    </a:lnTo>
                    <a:lnTo>
                      <a:pt x="5" y="94"/>
                    </a:lnTo>
                    <a:lnTo>
                      <a:pt x="5" y="92"/>
                    </a:lnTo>
                    <a:lnTo>
                      <a:pt x="6" y="92"/>
                    </a:lnTo>
                    <a:lnTo>
                      <a:pt x="6" y="90"/>
                    </a:lnTo>
                    <a:lnTo>
                      <a:pt x="8" y="89"/>
                    </a:lnTo>
                    <a:lnTo>
                      <a:pt x="8" y="87"/>
                    </a:lnTo>
                    <a:lnTo>
                      <a:pt x="10" y="87"/>
                    </a:lnTo>
                    <a:lnTo>
                      <a:pt x="10" y="85"/>
                    </a:lnTo>
                    <a:lnTo>
                      <a:pt x="11" y="84"/>
                    </a:lnTo>
                    <a:lnTo>
                      <a:pt x="11" y="82"/>
                    </a:lnTo>
                    <a:lnTo>
                      <a:pt x="13" y="82"/>
                    </a:lnTo>
                    <a:lnTo>
                      <a:pt x="13" y="80"/>
                    </a:lnTo>
                    <a:lnTo>
                      <a:pt x="11" y="80"/>
                    </a:lnTo>
                    <a:lnTo>
                      <a:pt x="11" y="78"/>
                    </a:lnTo>
                    <a:lnTo>
                      <a:pt x="11" y="77"/>
                    </a:lnTo>
                    <a:lnTo>
                      <a:pt x="11" y="75"/>
                    </a:lnTo>
                    <a:lnTo>
                      <a:pt x="13" y="75"/>
                    </a:lnTo>
                    <a:lnTo>
                      <a:pt x="13" y="73"/>
                    </a:lnTo>
                    <a:lnTo>
                      <a:pt x="13" y="72"/>
                    </a:lnTo>
                    <a:lnTo>
                      <a:pt x="15" y="72"/>
                    </a:lnTo>
                    <a:lnTo>
                      <a:pt x="13" y="70"/>
                    </a:lnTo>
                    <a:lnTo>
                      <a:pt x="15" y="70"/>
                    </a:lnTo>
                    <a:lnTo>
                      <a:pt x="15" y="68"/>
                    </a:lnTo>
                    <a:lnTo>
                      <a:pt x="15" y="67"/>
                    </a:lnTo>
                    <a:lnTo>
                      <a:pt x="15" y="65"/>
                    </a:lnTo>
                    <a:lnTo>
                      <a:pt x="15" y="63"/>
                    </a:lnTo>
                    <a:lnTo>
                      <a:pt x="15" y="61"/>
                    </a:lnTo>
                    <a:lnTo>
                      <a:pt x="15" y="60"/>
                    </a:lnTo>
                    <a:lnTo>
                      <a:pt x="17" y="60"/>
                    </a:lnTo>
                    <a:lnTo>
                      <a:pt x="17" y="58"/>
                    </a:lnTo>
                    <a:lnTo>
                      <a:pt x="17" y="56"/>
                    </a:lnTo>
                    <a:lnTo>
                      <a:pt x="18" y="55"/>
                    </a:lnTo>
                    <a:lnTo>
                      <a:pt x="20" y="55"/>
                    </a:lnTo>
                    <a:lnTo>
                      <a:pt x="20" y="53"/>
                    </a:lnTo>
                    <a:lnTo>
                      <a:pt x="20" y="51"/>
                    </a:lnTo>
                    <a:lnTo>
                      <a:pt x="20" y="50"/>
                    </a:lnTo>
                    <a:lnTo>
                      <a:pt x="22" y="50"/>
                    </a:lnTo>
                    <a:lnTo>
                      <a:pt x="22" y="48"/>
                    </a:lnTo>
                    <a:lnTo>
                      <a:pt x="22" y="46"/>
                    </a:lnTo>
                    <a:lnTo>
                      <a:pt x="23" y="44"/>
                    </a:lnTo>
                    <a:lnTo>
                      <a:pt x="25" y="44"/>
                    </a:lnTo>
                    <a:lnTo>
                      <a:pt x="27" y="43"/>
                    </a:lnTo>
                    <a:lnTo>
                      <a:pt x="27" y="41"/>
                    </a:lnTo>
                    <a:lnTo>
                      <a:pt x="28" y="39"/>
                    </a:lnTo>
                    <a:lnTo>
                      <a:pt x="28" y="38"/>
                    </a:lnTo>
                    <a:lnTo>
                      <a:pt x="30" y="36"/>
                    </a:lnTo>
                    <a:lnTo>
                      <a:pt x="30" y="38"/>
                    </a:lnTo>
                    <a:lnTo>
                      <a:pt x="30" y="36"/>
                    </a:lnTo>
                    <a:lnTo>
                      <a:pt x="32" y="36"/>
                    </a:lnTo>
                    <a:lnTo>
                      <a:pt x="34" y="36"/>
                    </a:lnTo>
                    <a:lnTo>
                      <a:pt x="35" y="36"/>
                    </a:lnTo>
                    <a:lnTo>
                      <a:pt x="37" y="36"/>
                    </a:lnTo>
                    <a:lnTo>
                      <a:pt x="39" y="33"/>
                    </a:lnTo>
                    <a:lnTo>
                      <a:pt x="40" y="29"/>
                    </a:lnTo>
                    <a:lnTo>
                      <a:pt x="40" y="27"/>
                    </a:lnTo>
                    <a:lnTo>
                      <a:pt x="42" y="27"/>
                    </a:lnTo>
                    <a:lnTo>
                      <a:pt x="42" y="26"/>
                    </a:lnTo>
                    <a:lnTo>
                      <a:pt x="44" y="24"/>
                    </a:lnTo>
                    <a:lnTo>
                      <a:pt x="44" y="22"/>
                    </a:lnTo>
                    <a:lnTo>
                      <a:pt x="45" y="21"/>
                    </a:lnTo>
                    <a:lnTo>
                      <a:pt x="45" y="19"/>
                    </a:lnTo>
                    <a:lnTo>
                      <a:pt x="52" y="17"/>
                    </a:lnTo>
                    <a:lnTo>
                      <a:pt x="57" y="16"/>
                    </a:lnTo>
                    <a:lnTo>
                      <a:pt x="62" y="14"/>
                    </a:lnTo>
                    <a:lnTo>
                      <a:pt x="66" y="12"/>
                    </a:lnTo>
                    <a:lnTo>
                      <a:pt x="66" y="14"/>
                    </a:lnTo>
                    <a:lnTo>
                      <a:pt x="66" y="12"/>
                    </a:lnTo>
                    <a:lnTo>
                      <a:pt x="68" y="12"/>
                    </a:lnTo>
                    <a:lnTo>
                      <a:pt x="68" y="14"/>
                    </a:lnTo>
                    <a:lnTo>
                      <a:pt x="66" y="14"/>
                    </a:lnTo>
                    <a:lnTo>
                      <a:pt x="66" y="16"/>
                    </a:lnTo>
                    <a:lnTo>
                      <a:pt x="64" y="16"/>
                    </a:lnTo>
                    <a:lnTo>
                      <a:pt x="62" y="17"/>
                    </a:lnTo>
                    <a:lnTo>
                      <a:pt x="61" y="17"/>
                    </a:lnTo>
                    <a:lnTo>
                      <a:pt x="59" y="17"/>
                    </a:lnTo>
                    <a:lnTo>
                      <a:pt x="57" y="17"/>
                    </a:lnTo>
                    <a:lnTo>
                      <a:pt x="56" y="17"/>
                    </a:lnTo>
                    <a:lnTo>
                      <a:pt x="54" y="19"/>
                    </a:lnTo>
                    <a:lnTo>
                      <a:pt x="52" y="19"/>
                    </a:lnTo>
                    <a:lnTo>
                      <a:pt x="51" y="19"/>
                    </a:lnTo>
                    <a:lnTo>
                      <a:pt x="49" y="19"/>
                    </a:lnTo>
                    <a:lnTo>
                      <a:pt x="49" y="21"/>
                    </a:lnTo>
                    <a:lnTo>
                      <a:pt x="47" y="21"/>
                    </a:lnTo>
                    <a:lnTo>
                      <a:pt x="45" y="21"/>
                    </a:lnTo>
                    <a:lnTo>
                      <a:pt x="45" y="22"/>
                    </a:lnTo>
                    <a:lnTo>
                      <a:pt x="45" y="24"/>
                    </a:lnTo>
                    <a:lnTo>
                      <a:pt x="45" y="26"/>
                    </a:lnTo>
                    <a:lnTo>
                      <a:pt x="45" y="27"/>
                    </a:lnTo>
                    <a:lnTo>
                      <a:pt x="47" y="27"/>
                    </a:lnTo>
                    <a:lnTo>
                      <a:pt x="47" y="29"/>
                    </a:lnTo>
                    <a:lnTo>
                      <a:pt x="47" y="31"/>
                    </a:lnTo>
                    <a:lnTo>
                      <a:pt x="49" y="33"/>
                    </a:lnTo>
                    <a:lnTo>
                      <a:pt x="49" y="34"/>
                    </a:lnTo>
                    <a:lnTo>
                      <a:pt x="51" y="34"/>
                    </a:lnTo>
                    <a:lnTo>
                      <a:pt x="51" y="36"/>
                    </a:lnTo>
                    <a:lnTo>
                      <a:pt x="52" y="38"/>
                    </a:lnTo>
                    <a:lnTo>
                      <a:pt x="54" y="38"/>
                    </a:lnTo>
                    <a:lnTo>
                      <a:pt x="54" y="39"/>
                    </a:lnTo>
                    <a:lnTo>
                      <a:pt x="56" y="39"/>
                    </a:lnTo>
                    <a:lnTo>
                      <a:pt x="56" y="41"/>
                    </a:lnTo>
                    <a:lnTo>
                      <a:pt x="57" y="41"/>
                    </a:lnTo>
                    <a:lnTo>
                      <a:pt x="57" y="43"/>
                    </a:lnTo>
                    <a:lnTo>
                      <a:pt x="57" y="41"/>
                    </a:lnTo>
                    <a:lnTo>
                      <a:pt x="56" y="41"/>
                    </a:lnTo>
                    <a:lnTo>
                      <a:pt x="54" y="41"/>
                    </a:lnTo>
                    <a:lnTo>
                      <a:pt x="52" y="41"/>
                    </a:lnTo>
                    <a:lnTo>
                      <a:pt x="54" y="43"/>
                    </a:lnTo>
                    <a:lnTo>
                      <a:pt x="54" y="44"/>
                    </a:lnTo>
                    <a:lnTo>
                      <a:pt x="54" y="46"/>
                    </a:lnTo>
                    <a:lnTo>
                      <a:pt x="56" y="46"/>
                    </a:lnTo>
                    <a:lnTo>
                      <a:pt x="56" y="48"/>
                    </a:lnTo>
                    <a:lnTo>
                      <a:pt x="56" y="50"/>
                    </a:lnTo>
                    <a:lnTo>
                      <a:pt x="57" y="50"/>
                    </a:lnTo>
                    <a:lnTo>
                      <a:pt x="56" y="50"/>
                    </a:lnTo>
                    <a:lnTo>
                      <a:pt x="57" y="50"/>
                    </a:lnTo>
                    <a:lnTo>
                      <a:pt x="59" y="51"/>
                    </a:lnTo>
                    <a:lnTo>
                      <a:pt x="59" y="53"/>
                    </a:lnTo>
                    <a:lnTo>
                      <a:pt x="57" y="53"/>
                    </a:lnTo>
                    <a:lnTo>
                      <a:pt x="57" y="55"/>
                    </a:lnTo>
                    <a:lnTo>
                      <a:pt x="57" y="56"/>
                    </a:lnTo>
                    <a:lnTo>
                      <a:pt x="57" y="58"/>
                    </a:lnTo>
                    <a:lnTo>
                      <a:pt x="57" y="60"/>
                    </a:lnTo>
                    <a:lnTo>
                      <a:pt x="56" y="60"/>
                    </a:lnTo>
                    <a:lnTo>
                      <a:pt x="56" y="61"/>
                    </a:lnTo>
                    <a:lnTo>
                      <a:pt x="54" y="61"/>
                    </a:lnTo>
                    <a:lnTo>
                      <a:pt x="54" y="63"/>
                    </a:lnTo>
                    <a:lnTo>
                      <a:pt x="52" y="63"/>
                    </a:lnTo>
                    <a:lnTo>
                      <a:pt x="52" y="65"/>
                    </a:lnTo>
                    <a:lnTo>
                      <a:pt x="51" y="65"/>
                    </a:lnTo>
                    <a:lnTo>
                      <a:pt x="51" y="67"/>
                    </a:lnTo>
                    <a:lnTo>
                      <a:pt x="51" y="68"/>
                    </a:lnTo>
                    <a:lnTo>
                      <a:pt x="49" y="68"/>
                    </a:lnTo>
                    <a:lnTo>
                      <a:pt x="49" y="70"/>
                    </a:lnTo>
                    <a:lnTo>
                      <a:pt x="49" y="72"/>
                    </a:lnTo>
                    <a:lnTo>
                      <a:pt x="47" y="72"/>
                    </a:lnTo>
                    <a:lnTo>
                      <a:pt x="45" y="72"/>
                    </a:lnTo>
                    <a:lnTo>
                      <a:pt x="45" y="73"/>
                    </a:lnTo>
                    <a:lnTo>
                      <a:pt x="45" y="75"/>
                    </a:lnTo>
                    <a:lnTo>
                      <a:pt x="44" y="75"/>
                    </a:lnTo>
                    <a:lnTo>
                      <a:pt x="44" y="77"/>
                    </a:lnTo>
                    <a:lnTo>
                      <a:pt x="44" y="78"/>
                    </a:lnTo>
                    <a:lnTo>
                      <a:pt x="42" y="78"/>
                    </a:lnTo>
                    <a:lnTo>
                      <a:pt x="42" y="80"/>
                    </a:lnTo>
                    <a:lnTo>
                      <a:pt x="40" y="80"/>
                    </a:lnTo>
                    <a:lnTo>
                      <a:pt x="40" y="82"/>
                    </a:lnTo>
                    <a:lnTo>
                      <a:pt x="40" y="84"/>
                    </a:lnTo>
                    <a:lnTo>
                      <a:pt x="42" y="84"/>
                    </a:lnTo>
                    <a:lnTo>
                      <a:pt x="42" y="85"/>
                    </a:lnTo>
                    <a:lnTo>
                      <a:pt x="44" y="85"/>
                    </a:lnTo>
                    <a:lnTo>
                      <a:pt x="44" y="87"/>
                    </a:lnTo>
                    <a:lnTo>
                      <a:pt x="45" y="87"/>
                    </a:lnTo>
                    <a:lnTo>
                      <a:pt x="45" y="89"/>
                    </a:lnTo>
                    <a:lnTo>
                      <a:pt x="45" y="90"/>
                    </a:lnTo>
                    <a:lnTo>
                      <a:pt x="45" y="89"/>
                    </a:lnTo>
                    <a:lnTo>
                      <a:pt x="45" y="90"/>
                    </a:lnTo>
                    <a:lnTo>
                      <a:pt x="44" y="90"/>
                    </a:lnTo>
                    <a:lnTo>
                      <a:pt x="45" y="90"/>
                    </a:lnTo>
                    <a:lnTo>
                      <a:pt x="45" y="92"/>
                    </a:lnTo>
                    <a:lnTo>
                      <a:pt x="47" y="92"/>
                    </a:lnTo>
                    <a:lnTo>
                      <a:pt x="47" y="94"/>
                    </a:lnTo>
                    <a:lnTo>
                      <a:pt x="49" y="94"/>
                    </a:lnTo>
                    <a:lnTo>
                      <a:pt x="51" y="96"/>
                    </a:lnTo>
                    <a:lnTo>
                      <a:pt x="49" y="96"/>
                    </a:lnTo>
                    <a:lnTo>
                      <a:pt x="47" y="96"/>
                    </a:lnTo>
                    <a:lnTo>
                      <a:pt x="47" y="97"/>
                    </a:lnTo>
                    <a:lnTo>
                      <a:pt x="49" y="97"/>
                    </a:lnTo>
                    <a:lnTo>
                      <a:pt x="49" y="96"/>
                    </a:lnTo>
                    <a:lnTo>
                      <a:pt x="51" y="96"/>
                    </a:lnTo>
                    <a:lnTo>
                      <a:pt x="51" y="97"/>
                    </a:lnTo>
                    <a:lnTo>
                      <a:pt x="52" y="97"/>
                    </a:lnTo>
                    <a:lnTo>
                      <a:pt x="52" y="96"/>
                    </a:lnTo>
                    <a:lnTo>
                      <a:pt x="52" y="97"/>
                    </a:lnTo>
                    <a:lnTo>
                      <a:pt x="54" y="97"/>
                    </a:lnTo>
                    <a:lnTo>
                      <a:pt x="54" y="96"/>
                    </a:lnTo>
                    <a:lnTo>
                      <a:pt x="54" y="97"/>
                    </a:lnTo>
                    <a:lnTo>
                      <a:pt x="54" y="99"/>
                    </a:lnTo>
                    <a:lnTo>
                      <a:pt x="54" y="101"/>
                    </a:lnTo>
                    <a:lnTo>
                      <a:pt x="52" y="101"/>
                    </a:lnTo>
                    <a:lnTo>
                      <a:pt x="51" y="102"/>
                    </a:lnTo>
                    <a:lnTo>
                      <a:pt x="52" y="102"/>
                    </a:lnTo>
                    <a:lnTo>
                      <a:pt x="54" y="102"/>
                    </a:lnTo>
                    <a:lnTo>
                      <a:pt x="52" y="102"/>
                    </a:lnTo>
                    <a:lnTo>
                      <a:pt x="54" y="102"/>
                    </a:lnTo>
                    <a:lnTo>
                      <a:pt x="54" y="104"/>
                    </a:lnTo>
                    <a:lnTo>
                      <a:pt x="54" y="106"/>
                    </a:lnTo>
                    <a:lnTo>
                      <a:pt x="52" y="106"/>
                    </a:lnTo>
                    <a:lnTo>
                      <a:pt x="54" y="106"/>
                    </a:lnTo>
                    <a:lnTo>
                      <a:pt x="54" y="107"/>
                    </a:lnTo>
                    <a:lnTo>
                      <a:pt x="56" y="107"/>
                    </a:lnTo>
                    <a:lnTo>
                      <a:pt x="57" y="107"/>
                    </a:lnTo>
                    <a:lnTo>
                      <a:pt x="57" y="109"/>
                    </a:lnTo>
                    <a:lnTo>
                      <a:pt x="59" y="109"/>
                    </a:lnTo>
                    <a:lnTo>
                      <a:pt x="59" y="107"/>
                    </a:lnTo>
                    <a:lnTo>
                      <a:pt x="61" y="109"/>
                    </a:lnTo>
                    <a:lnTo>
                      <a:pt x="61" y="107"/>
                    </a:lnTo>
                    <a:lnTo>
                      <a:pt x="62" y="107"/>
                    </a:lnTo>
                    <a:lnTo>
                      <a:pt x="64" y="107"/>
                    </a:lnTo>
                    <a:lnTo>
                      <a:pt x="66" y="107"/>
                    </a:lnTo>
                    <a:lnTo>
                      <a:pt x="68" y="107"/>
                    </a:lnTo>
                    <a:lnTo>
                      <a:pt x="68" y="106"/>
                    </a:lnTo>
                    <a:lnTo>
                      <a:pt x="69" y="106"/>
                    </a:lnTo>
                    <a:lnTo>
                      <a:pt x="69" y="104"/>
                    </a:lnTo>
                    <a:lnTo>
                      <a:pt x="71" y="104"/>
                    </a:lnTo>
                    <a:lnTo>
                      <a:pt x="71" y="102"/>
                    </a:lnTo>
                    <a:lnTo>
                      <a:pt x="73" y="102"/>
                    </a:lnTo>
                    <a:lnTo>
                      <a:pt x="73" y="101"/>
                    </a:lnTo>
                    <a:lnTo>
                      <a:pt x="74" y="101"/>
                    </a:lnTo>
                    <a:lnTo>
                      <a:pt x="74" y="99"/>
                    </a:lnTo>
                    <a:lnTo>
                      <a:pt x="76" y="99"/>
                    </a:lnTo>
                    <a:lnTo>
                      <a:pt x="76" y="97"/>
                    </a:lnTo>
                    <a:lnTo>
                      <a:pt x="76" y="96"/>
                    </a:lnTo>
                    <a:lnTo>
                      <a:pt x="76" y="94"/>
                    </a:lnTo>
                    <a:lnTo>
                      <a:pt x="76" y="92"/>
                    </a:lnTo>
                    <a:lnTo>
                      <a:pt x="76" y="90"/>
                    </a:lnTo>
                    <a:lnTo>
                      <a:pt x="76" y="89"/>
                    </a:lnTo>
                    <a:lnTo>
                      <a:pt x="76" y="87"/>
                    </a:lnTo>
                    <a:lnTo>
                      <a:pt x="78" y="87"/>
                    </a:lnTo>
                    <a:lnTo>
                      <a:pt x="76" y="85"/>
                    </a:lnTo>
                    <a:lnTo>
                      <a:pt x="78" y="85"/>
                    </a:lnTo>
                    <a:lnTo>
                      <a:pt x="78" y="84"/>
                    </a:lnTo>
                    <a:lnTo>
                      <a:pt x="76" y="84"/>
                    </a:lnTo>
                    <a:lnTo>
                      <a:pt x="76" y="82"/>
                    </a:lnTo>
                    <a:lnTo>
                      <a:pt x="76" y="80"/>
                    </a:lnTo>
                    <a:lnTo>
                      <a:pt x="74" y="78"/>
                    </a:lnTo>
                    <a:lnTo>
                      <a:pt x="74" y="77"/>
                    </a:lnTo>
                    <a:lnTo>
                      <a:pt x="73" y="77"/>
                    </a:lnTo>
                    <a:lnTo>
                      <a:pt x="71" y="77"/>
                    </a:lnTo>
                    <a:lnTo>
                      <a:pt x="71" y="75"/>
                    </a:lnTo>
                    <a:lnTo>
                      <a:pt x="71" y="73"/>
                    </a:lnTo>
                    <a:lnTo>
                      <a:pt x="71" y="72"/>
                    </a:lnTo>
                    <a:lnTo>
                      <a:pt x="69" y="72"/>
                    </a:lnTo>
                    <a:lnTo>
                      <a:pt x="69" y="70"/>
                    </a:lnTo>
                    <a:lnTo>
                      <a:pt x="68" y="68"/>
                    </a:lnTo>
                    <a:lnTo>
                      <a:pt x="66" y="68"/>
                    </a:lnTo>
                    <a:lnTo>
                      <a:pt x="66" y="67"/>
                    </a:lnTo>
                    <a:lnTo>
                      <a:pt x="66" y="65"/>
                    </a:lnTo>
                    <a:lnTo>
                      <a:pt x="64" y="65"/>
                    </a:lnTo>
                    <a:lnTo>
                      <a:pt x="64" y="63"/>
                    </a:lnTo>
                    <a:lnTo>
                      <a:pt x="62" y="63"/>
                    </a:lnTo>
                    <a:lnTo>
                      <a:pt x="62" y="61"/>
                    </a:lnTo>
                    <a:lnTo>
                      <a:pt x="62" y="60"/>
                    </a:lnTo>
                    <a:lnTo>
                      <a:pt x="62" y="58"/>
                    </a:lnTo>
                    <a:lnTo>
                      <a:pt x="61" y="58"/>
                    </a:lnTo>
                    <a:lnTo>
                      <a:pt x="61" y="56"/>
                    </a:lnTo>
                    <a:lnTo>
                      <a:pt x="61" y="55"/>
                    </a:lnTo>
                    <a:lnTo>
                      <a:pt x="62" y="55"/>
                    </a:lnTo>
                    <a:lnTo>
                      <a:pt x="61" y="55"/>
                    </a:lnTo>
                    <a:lnTo>
                      <a:pt x="61" y="53"/>
                    </a:lnTo>
                    <a:lnTo>
                      <a:pt x="61" y="51"/>
                    </a:lnTo>
                    <a:lnTo>
                      <a:pt x="61" y="50"/>
                    </a:lnTo>
                    <a:lnTo>
                      <a:pt x="59" y="50"/>
                    </a:lnTo>
                    <a:lnTo>
                      <a:pt x="59" y="48"/>
                    </a:lnTo>
                    <a:lnTo>
                      <a:pt x="61" y="48"/>
                    </a:lnTo>
                    <a:lnTo>
                      <a:pt x="62" y="48"/>
                    </a:lnTo>
                    <a:lnTo>
                      <a:pt x="64" y="48"/>
                    </a:lnTo>
                    <a:lnTo>
                      <a:pt x="64" y="46"/>
                    </a:lnTo>
                    <a:lnTo>
                      <a:pt x="64" y="44"/>
                    </a:lnTo>
                    <a:lnTo>
                      <a:pt x="62" y="44"/>
                    </a:lnTo>
                    <a:lnTo>
                      <a:pt x="62" y="43"/>
                    </a:lnTo>
                    <a:lnTo>
                      <a:pt x="64" y="43"/>
                    </a:lnTo>
                    <a:lnTo>
                      <a:pt x="64" y="44"/>
                    </a:lnTo>
                    <a:lnTo>
                      <a:pt x="64" y="43"/>
                    </a:lnTo>
                    <a:lnTo>
                      <a:pt x="62" y="43"/>
                    </a:lnTo>
                    <a:lnTo>
                      <a:pt x="64" y="43"/>
                    </a:lnTo>
                    <a:lnTo>
                      <a:pt x="66" y="43"/>
                    </a:lnTo>
                    <a:lnTo>
                      <a:pt x="68" y="43"/>
                    </a:lnTo>
                    <a:lnTo>
                      <a:pt x="69" y="43"/>
                    </a:lnTo>
                    <a:lnTo>
                      <a:pt x="69" y="41"/>
                    </a:lnTo>
                    <a:lnTo>
                      <a:pt x="71" y="41"/>
                    </a:lnTo>
                    <a:lnTo>
                      <a:pt x="73" y="41"/>
                    </a:lnTo>
                    <a:lnTo>
                      <a:pt x="73" y="39"/>
                    </a:lnTo>
                    <a:lnTo>
                      <a:pt x="74" y="39"/>
                    </a:lnTo>
                    <a:lnTo>
                      <a:pt x="76" y="39"/>
                    </a:lnTo>
                    <a:lnTo>
                      <a:pt x="76" y="38"/>
                    </a:lnTo>
                    <a:lnTo>
                      <a:pt x="78" y="38"/>
                    </a:lnTo>
                    <a:lnTo>
                      <a:pt x="79" y="38"/>
                    </a:lnTo>
                    <a:lnTo>
                      <a:pt x="79" y="36"/>
                    </a:lnTo>
                    <a:lnTo>
                      <a:pt x="81" y="36"/>
                    </a:lnTo>
                    <a:lnTo>
                      <a:pt x="83" y="36"/>
                    </a:lnTo>
                    <a:lnTo>
                      <a:pt x="83" y="34"/>
                    </a:lnTo>
                    <a:lnTo>
                      <a:pt x="85" y="34"/>
                    </a:lnTo>
                    <a:lnTo>
                      <a:pt x="86" y="34"/>
                    </a:lnTo>
                    <a:lnTo>
                      <a:pt x="88" y="34"/>
                    </a:lnTo>
                    <a:lnTo>
                      <a:pt x="88" y="33"/>
                    </a:lnTo>
                    <a:lnTo>
                      <a:pt x="90" y="33"/>
                    </a:lnTo>
                    <a:lnTo>
                      <a:pt x="91" y="33"/>
                    </a:lnTo>
                    <a:lnTo>
                      <a:pt x="93" y="33"/>
                    </a:lnTo>
                    <a:lnTo>
                      <a:pt x="95" y="33"/>
                    </a:lnTo>
                    <a:lnTo>
                      <a:pt x="96" y="31"/>
                    </a:lnTo>
                    <a:lnTo>
                      <a:pt x="95" y="33"/>
                    </a:lnTo>
                    <a:lnTo>
                      <a:pt x="95" y="31"/>
                    </a:lnTo>
                    <a:lnTo>
                      <a:pt x="96" y="31"/>
                    </a:lnTo>
                    <a:lnTo>
                      <a:pt x="98" y="31"/>
                    </a:lnTo>
                    <a:lnTo>
                      <a:pt x="100" y="31"/>
                    </a:lnTo>
                    <a:lnTo>
                      <a:pt x="102" y="31"/>
                    </a:lnTo>
                    <a:lnTo>
                      <a:pt x="102" y="29"/>
                    </a:lnTo>
                    <a:lnTo>
                      <a:pt x="103" y="29"/>
                    </a:lnTo>
                    <a:lnTo>
                      <a:pt x="105" y="29"/>
                    </a:lnTo>
                    <a:lnTo>
                      <a:pt x="107" y="29"/>
                    </a:lnTo>
                    <a:lnTo>
                      <a:pt x="107" y="27"/>
                    </a:lnTo>
                    <a:lnTo>
                      <a:pt x="107" y="26"/>
                    </a:lnTo>
                    <a:lnTo>
                      <a:pt x="108" y="26"/>
                    </a:lnTo>
                    <a:lnTo>
                      <a:pt x="107" y="26"/>
                    </a:lnTo>
                    <a:lnTo>
                      <a:pt x="108" y="26"/>
                    </a:lnTo>
                    <a:lnTo>
                      <a:pt x="110" y="26"/>
                    </a:lnTo>
                    <a:lnTo>
                      <a:pt x="110" y="24"/>
                    </a:lnTo>
                    <a:lnTo>
                      <a:pt x="112" y="24"/>
                    </a:lnTo>
                    <a:lnTo>
                      <a:pt x="110" y="24"/>
                    </a:lnTo>
                    <a:lnTo>
                      <a:pt x="110" y="22"/>
                    </a:lnTo>
                    <a:lnTo>
                      <a:pt x="108" y="22"/>
                    </a:lnTo>
                    <a:lnTo>
                      <a:pt x="110" y="22"/>
                    </a:lnTo>
                    <a:lnTo>
                      <a:pt x="108" y="22"/>
                    </a:lnTo>
                    <a:lnTo>
                      <a:pt x="110" y="22"/>
                    </a:lnTo>
                    <a:lnTo>
                      <a:pt x="110" y="24"/>
                    </a:lnTo>
                    <a:lnTo>
                      <a:pt x="112" y="24"/>
                    </a:lnTo>
                    <a:lnTo>
                      <a:pt x="112" y="22"/>
                    </a:lnTo>
                    <a:lnTo>
                      <a:pt x="112" y="24"/>
                    </a:lnTo>
                    <a:lnTo>
                      <a:pt x="113" y="24"/>
                    </a:lnTo>
                    <a:lnTo>
                      <a:pt x="113" y="22"/>
                    </a:lnTo>
                    <a:lnTo>
                      <a:pt x="113" y="24"/>
                    </a:lnTo>
                    <a:lnTo>
                      <a:pt x="115" y="22"/>
                    </a:lnTo>
                    <a:lnTo>
                      <a:pt x="115" y="24"/>
                    </a:lnTo>
                    <a:lnTo>
                      <a:pt x="117" y="24"/>
                    </a:lnTo>
                    <a:lnTo>
                      <a:pt x="117" y="26"/>
                    </a:lnTo>
                    <a:lnTo>
                      <a:pt x="119" y="26"/>
                    </a:lnTo>
                    <a:lnTo>
                      <a:pt x="120" y="26"/>
                    </a:lnTo>
                    <a:lnTo>
                      <a:pt x="120" y="24"/>
                    </a:lnTo>
                    <a:lnTo>
                      <a:pt x="122" y="24"/>
                    </a:lnTo>
                    <a:lnTo>
                      <a:pt x="120" y="22"/>
                    </a:lnTo>
                    <a:lnTo>
                      <a:pt x="120" y="21"/>
                    </a:lnTo>
                    <a:lnTo>
                      <a:pt x="120" y="19"/>
                    </a:lnTo>
                    <a:lnTo>
                      <a:pt x="119" y="19"/>
                    </a:lnTo>
                    <a:lnTo>
                      <a:pt x="119" y="17"/>
                    </a:lnTo>
                    <a:lnTo>
                      <a:pt x="117" y="17"/>
                    </a:lnTo>
                    <a:lnTo>
                      <a:pt x="117" y="19"/>
                    </a:lnTo>
                    <a:lnTo>
                      <a:pt x="117" y="17"/>
                    </a:lnTo>
                    <a:lnTo>
                      <a:pt x="115" y="17"/>
                    </a:lnTo>
                    <a:lnTo>
                      <a:pt x="115" y="19"/>
                    </a:lnTo>
                    <a:lnTo>
                      <a:pt x="113" y="19"/>
                    </a:lnTo>
                    <a:lnTo>
                      <a:pt x="115" y="19"/>
                    </a:lnTo>
                    <a:lnTo>
                      <a:pt x="113" y="17"/>
                    </a:lnTo>
                    <a:lnTo>
                      <a:pt x="113" y="19"/>
                    </a:lnTo>
                    <a:lnTo>
                      <a:pt x="113" y="17"/>
                    </a:lnTo>
                    <a:lnTo>
                      <a:pt x="113" y="19"/>
                    </a:lnTo>
                    <a:lnTo>
                      <a:pt x="112" y="19"/>
                    </a:lnTo>
                    <a:lnTo>
                      <a:pt x="110" y="19"/>
                    </a:lnTo>
                    <a:lnTo>
                      <a:pt x="108" y="19"/>
                    </a:lnTo>
                    <a:lnTo>
                      <a:pt x="107" y="19"/>
                    </a:lnTo>
                    <a:lnTo>
                      <a:pt x="107" y="21"/>
                    </a:lnTo>
                    <a:lnTo>
                      <a:pt x="105" y="21"/>
                    </a:lnTo>
                    <a:lnTo>
                      <a:pt x="105" y="19"/>
                    </a:lnTo>
                    <a:lnTo>
                      <a:pt x="105" y="17"/>
                    </a:lnTo>
                    <a:lnTo>
                      <a:pt x="105" y="16"/>
                    </a:lnTo>
                    <a:lnTo>
                      <a:pt x="105" y="17"/>
                    </a:lnTo>
                    <a:lnTo>
                      <a:pt x="105" y="16"/>
                    </a:lnTo>
                    <a:lnTo>
                      <a:pt x="105" y="14"/>
                    </a:lnTo>
                    <a:lnTo>
                      <a:pt x="105" y="16"/>
                    </a:lnTo>
                    <a:lnTo>
                      <a:pt x="103" y="14"/>
                    </a:lnTo>
                    <a:lnTo>
                      <a:pt x="103" y="12"/>
                    </a:lnTo>
                    <a:lnTo>
                      <a:pt x="102" y="12"/>
                    </a:lnTo>
                    <a:lnTo>
                      <a:pt x="103" y="10"/>
                    </a:lnTo>
                    <a:lnTo>
                      <a:pt x="102" y="10"/>
                    </a:lnTo>
                    <a:lnTo>
                      <a:pt x="103" y="9"/>
                    </a:lnTo>
                    <a:lnTo>
                      <a:pt x="103" y="7"/>
                    </a:lnTo>
                    <a:lnTo>
                      <a:pt x="105" y="5"/>
                    </a:lnTo>
                    <a:lnTo>
                      <a:pt x="105" y="4"/>
                    </a:lnTo>
                    <a:lnTo>
                      <a:pt x="107" y="4"/>
                    </a:lnTo>
                    <a:lnTo>
                      <a:pt x="107" y="2"/>
                    </a:lnTo>
                    <a:lnTo>
                      <a:pt x="108" y="2"/>
                    </a:lnTo>
                    <a:lnTo>
                      <a:pt x="110" y="0"/>
                    </a:lnTo>
                    <a:lnTo>
                      <a:pt x="112" y="0"/>
                    </a:lnTo>
                    <a:lnTo>
                      <a:pt x="113" y="0"/>
                    </a:lnTo>
                    <a:lnTo>
                      <a:pt x="115" y="0"/>
                    </a:lnTo>
                    <a:lnTo>
                      <a:pt x="115" y="2"/>
                    </a:lnTo>
                    <a:lnTo>
                      <a:pt x="117" y="2"/>
                    </a:lnTo>
                    <a:lnTo>
                      <a:pt x="117" y="4"/>
                    </a:lnTo>
                    <a:lnTo>
                      <a:pt x="117" y="5"/>
                    </a:lnTo>
                    <a:lnTo>
                      <a:pt x="117" y="7"/>
                    </a:lnTo>
                    <a:lnTo>
                      <a:pt x="117" y="5"/>
                    </a:lnTo>
                    <a:lnTo>
                      <a:pt x="119" y="5"/>
                    </a:lnTo>
                    <a:lnTo>
                      <a:pt x="119" y="7"/>
                    </a:lnTo>
                    <a:lnTo>
                      <a:pt x="119" y="9"/>
                    </a:lnTo>
                    <a:lnTo>
                      <a:pt x="119" y="10"/>
                    </a:lnTo>
                    <a:lnTo>
                      <a:pt x="119" y="12"/>
                    </a:lnTo>
                    <a:lnTo>
                      <a:pt x="119" y="14"/>
                    </a:lnTo>
                    <a:lnTo>
                      <a:pt x="120" y="16"/>
                    </a:lnTo>
                    <a:lnTo>
                      <a:pt x="120" y="17"/>
                    </a:lnTo>
                    <a:lnTo>
                      <a:pt x="122" y="19"/>
                    </a:lnTo>
                    <a:lnTo>
                      <a:pt x="122" y="21"/>
                    </a:lnTo>
                    <a:lnTo>
                      <a:pt x="122" y="22"/>
                    </a:lnTo>
                    <a:lnTo>
                      <a:pt x="124" y="22"/>
                    </a:lnTo>
                    <a:lnTo>
                      <a:pt x="124" y="24"/>
                    </a:lnTo>
                    <a:lnTo>
                      <a:pt x="125" y="24"/>
                    </a:lnTo>
                    <a:lnTo>
                      <a:pt x="125" y="26"/>
                    </a:lnTo>
                    <a:lnTo>
                      <a:pt x="127" y="26"/>
                    </a:lnTo>
                    <a:lnTo>
                      <a:pt x="127" y="24"/>
                    </a:lnTo>
                    <a:lnTo>
                      <a:pt x="129" y="24"/>
                    </a:lnTo>
                    <a:lnTo>
                      <a:pt x="130" y="24"/>
                    </a:lnTo>
                    <a:lnTo>
                      <a:pt x="132" y="24"/>
                    </a:lnTo>
                    <a:lnTo>
                      <a:pt x="134" y="24"/>
                    </a:lnTo>
                    <a:lnTo>
                      <a:pt x="136" y="24"/>
                    </a:lnTo>
                    <a:lnTo>
                      <a:pt x="136" y="22"/>
                    </a:lnTo>
                    <a:lnTo>
                      <a:pt x="137" y="22"/>
                    </a:lnTo>
                    <a:lnTo>
                      <a:pt x="139" y="24"/>
                    </a:lnTo>
                    <a:lnTo>
                      <a:pt x="141" y="24"/>
                    </a:lnTo>
                    <a:lnTo>
                      <a:pt x="142" y="24"/>
                    </a:lnTo>
                    <a:lnTo>
                      <a:pt x="144" y="26"/>
                    </a:lnTo>
                    <a:lnTo>
                      <a:pt x="146" y="26"/>
                    </a:lnTo>
                    <a:lnTo>
                      <a:pt x="147" y="26"/>
                    </a:lnTo>
                    <a:lnTo>
                      <a:pt x="149" y="26"/>
                    </a:lnTo>
                    <a:lnTo>
                      <a:pt x="151" y="26"/>
                    </a:lnTo>
                    <a:lnTo>
                      <a:pt x="153" y="26"/>
                    </a:lnTo>
                    <a:lnTo>
                      <a:pt x="153" y="27"/>
                    </a:lnTo>
                    <a:lnTo>
                      <a:pt x="154" y="27"/>
                    </a:lnTo>
                    <a:lnTo>
                      <a:pt x="154" y="29"/>
                    </a:lnTo>
                    <a:lnTo>
                      <a:pt x="156" y="29"/>
                    </a:lnTo>
                    <a:lnTo>
                      <a:pt x="158" y="29"/>
                    </a:lnTo>
                    <a:lnTo>
                      <a:pt x="158" y="31"/>
                    </a:lnTo>
                    <a:lnTo>
                      <a:pt x="159" y="31"/>
                    </a:lnTo>
                    <a:lnTo>
                      <a:pt x="161" y="31"/>
                    </a:lnTo>
                    <a:lnTo>
                      <a:pt x="161" y="33"/>
                    </a:lnTo>
                    <a:lnTo>
                      <a:pt x="163" y="33"/>
                    </a:lnTo>
                    <a:lnTo>
                      <a:pt x="163" y="34"/>
                    </a:lnTo>
                    <a:lnTo>
                      <a:pt x="164" y="34"/>
                    </a:lnTo>
                    <a:lnTo>
                      <a:pt x="166" y="34"/>
                    </a:lnTo>
                    <a:lnTo>
                      <a:pt x="166" y="36"/>
                    </a:lnTo>
                    <a:lnTo>
                      <a:pt x="168" y="38"/>
                    </a:lnTo>
                    <a:lnTo>
                      <a:pt x="168" y="39"/>
                    </a:lnTo>
                    <a:lnTo>
                      <a:pt x="170" y="39"/>
                    </a:lnTo>
                    <a:lnTo>
                      <a:pt x="170" y="41"/>
                    </a:lnTo>
                    <a:lnTo>
                      <a:pt x="170" y="43"/>
                    </a:lnTo>
                    <a:lnTo>
                      <a:pt x="171" y="43"/>
                    </a:lnTo>
                    <a:lnTo>
                      <a:pt x="171" y="44"/>
                    </a:lnTo>
                    <a:lnTo>
                      <a:pt x="170" y="44"/>
                    </a:lnTo>
                    <a:lnTo>
                      <a:pt x="170" y="43"/>
                    </a:lnTo>
                    <a:lnTo>
                      <a:pt x="168" y="43"/>
                    </a:lnTo>
                    <a:lnTo>
                      <a:pt x="168" y="44"/>
                    </a:lnTo>
                    <a:lnTo>
                      <a:pt x="170" y="44"/>
                    </a:lnTo>
                    <a:lnTo>
                      <a:pt x="171" y="44"/>
                    </a:lnTo>
                    <a:lnTo>
                      <a:pt x="173" y="44"/>
                    </a:lnTo>
                    <a:lnTo>
                      <a:pt x="173" y="46"/>
                    </a:lnTo>
                    <a:lnTo>
                      <a:pt x="171" y="46"/>
                    </a:lnTo>
                    <a:lnTo>
                      <a:pt x="170" y="46"/>
                    </a:lnTo>
                    <a:lnTo>
                      <a:pt x="170" y="48"/>
                    </a:lnTo>
                    <a:lnTo>
                      <a:pt x="170" y="50"/>
                    </a:lnTo>
                    <a:lnTo>
                      <a:pt x="170" y="51"/>
                    </a:lnTo>
                    <a:lnTo>
                      <a:pt x="170" y="53"/>
                    </a:lnTo>
                    <a:lnTo>
                      <a:pt x="171" y="53"/>
                    </a:lnTo>
                    <a:lnTo>
                      <a:pt x="171" y="55"/>
                    </a:lnTo>
                    <a:lnTo>
                      <a:pt x="171" y="56"/>
                    </a:lnTo>
                    <a:lnTo>
                      <a:pt x="173" y="56"/>
                    </a:lnTo>
                    <a:lnTo>
                      <a:pt x="173" y="58"/>
                    </a:lnTo>
                    <a:lnTo>
                      <a:pt x="175" y="58"/>
                    </a:lnTo>
                    <a:lnTo>
                      <a:pt x="176" y="58"/>
                    </a:lnTo>
                    <a:lnTo>
                      <a:pt x="178" y="58"/>
                    </a:lnTo>
                    <a:lnTo>
                      <a:pt x="178" y="60"/>
                    </a:lnTo>
                    <a:lnTo>
                      <a:pt x="180" y="60"/>
                    </a:lnTo>
                    <a:lnTo>
                      <a:pt x="180" y="58"/>
                    </a:lnTo>
                    <a:lnTo>
                      <a:pt x="180" y="60"/>
                    </a:lnTo>
                    <a:lnTo>
                      <a:pt x="180" y="58"/>
                    </a:lnTo>
                    <a:lnTo>
                      <a:pt x="181" y="60"/>
                    </a:lnTo>
                    <a:lnTo>
                      <a:pt x="183" y="60"/>
                    </a:lnTo>
                    <a:lnTo>
                      <a:pt x="185" y="60"/>
                    </a:lnTo>
                    <a:lnTo>
                      <a:pt x="187" y="58"/>
                    </a:lnTo>
                    <a:lnTo>
                      <a:pt x="187" y="60"/>
                    </a:lnTo>
                    <a:lnTo>
                      <a:pt x="187" y="58"/>
                    </a:lnTo>
                    <a:lnTo>
                      <a:pt x="188" y="58"/>
                    </a:lnTo>
                    <a:lnTo>
                      <a:pt x="190" y="58"/>
                    </a:lnTo>
                    <a:lnTo>
                      <a:pt x="192" y="58"/>
                    </a:lnTo>
                    <a:lnTo>
                      <a:pt x="193" y="58"/>
                    </a:lnTo>
                    <a:lnTo>
                      <a:pt x="195" y="58"/>
                    </a:lnTo>
                    <a:lnTo>
                      <a:pt x="197" y="58"/>
                    </a:lnTo>
                    <a:lnTo>
                      <a:pt x="197" y="56"/>
                    </a:lnTo>
                    <a:lnTo>
                      <a:pt x="198" y="56"/>
                    </a:lnTo>
                    <a:lnTo>
                      <a:pt x="200" y="56"/>
                    </a:lnTo>
                    <a:lnTo>
                      <a:pt x="202" y="56"/>
                    </a:lnTo>
                    <a:lnTo>
                      <a:pt x="204" y="56"/>
                    </a:lnTo>
                    <a:lnTo>
                      <a:pt x="205" y="56"/>
                    </a:lnTo>
                    <a:lnTo>
                      <a:pt x="207" y="56"/>
                    </a:lnTo>
                    <a:lnTo>
                      <a:pt x="209" y="56"/>
                    </a:lnTo>
                    <a:lnTo>
                      <a:pt x="210" y="55"/>
                    </a:lnTo>
                    <a:lnTo>
                      <a:pt x="212" y="55"/>
                    </a:lnTo>
                    <a:lnTo>
                      <a:pt x="214" y="55"/>
                    </a:lnTo>
                    <a:lnTo>
                      <a:pt x="215" y="55"/>
                    </a:lnTo>
                    <a:lnTo>
                      <a:pt x="217" y="55"/>
                    </a:lnTo>
                    <a:lnTo>
                      <a:pt x="219" y="55"/>
                    </a:lnTo>
                    <a:lnTo>
                      <a:pt x="221" y="55"/>
                    </a:lnTo>
                    <a:lnTo>
                      <a:pt x="222" y="55"/>
                    </a:lnTo>
                    <a:lnTo>
                      <a:pt x="224" y="55"/>
                    </a:lnTo>
                    <a:lnTo>
                      <a:pt x="226" y="55"/>
                    </a:lnTo>
                    <a:lnTo>
                      <a:pt x="227" y="55"/>
                    </a:lnTo>
                    <a:lnTo>
                      <a:pt x="227" y="53"/>
                    </a:lnTo>
                    <a:lnTo>
                      <a:pt x="229" y="55"/>
                    </a:lnTo>
                    <a:lnTo>
                      <a:pt x="229" y="53"/>
                    </a:lnTo>
                    <a:lnTo>
                      <a:pt x="231" y="53"/>
                    </a:lnTo>
                    <a:lnTo>
                      <a:pt x="232" y="53"/>
                    </a:lnTo>
                    <a:lnTo>
                      <a:pt x="232" y="55"/>
                    </a:lnTo>
                    <a:lnTo>
                      <a:pt x="234" y="53"/>
                    </a:lnTo>
                    <a:lnTo>
                      <a:pt x="234" y="55"/>
                    </a:lnTo>
                    <a:lnTo>
                      <a:pt x="236" y="55"/>
                    </a:lnTo>
                    <a:lnTo>
                      <a:pt x="238" y="53"/>
                    </a:lnTo>
                    <a:lnTo>
                      <a:pt x="239" y="53"/>
                    </a:lnTo>
                    <a:lnTo>
                      <a:pt x="241" y="55"/>
                    </a:lnTo>
                    <a:lnTo>
                      <a:pt x="243" y="55"/>
                    </a:lnTo>
                    <a:lnTo>
                      <a:pt x="244" y="55"/>
                    </a:lnTo>
                    <a:lnTo>
                      <a:pt x="244" y="56"/>
                    </a:lnTo>
                    <a:lnTo>
                      <a:pt x="244" y="55"/>
                    </a:lnTo>
                    <a:lnTo>
                      <a:pt x="246" y="56"/>
                    </a:lnTo>
                    <a:lnTo>
                      <a:pt x="244" y="56"/>
                    </a:lnTo>
                    <a:lnTo>
                      <a:pt x="243" y="56"/>
                    </a:lnTo>
                    <a:lnTo>
                      <a:pt x="244" y="56"/>
                    </a:lnTo>
                    <a:lnTo>
                      <a:pt x="243" y="58"/>
                    </a:lnTo>
                    <a:lnTo>
                      <a:pt x="244" y="58"/>
                    </a:lnTo>
                    <a:lnTo>
                      <a:pt x="244" y="60"/>
                    </a:lnTo>
                    <a:lnTo>
                      <a:pt x="246" y="60"/>
                    </a:lnTo>
                    <a:lnTo>
                      <a:pt x="246" y="61"/>
                    </a:lnTo>
                    <a:lnTo>
                      <a:pt x="248" y="61"/>
                    </a:lnTo>
                    <a:lnTo>
                      <a:pt x="248" y="63"/>
                    </a:lnTo>
                    <a:lnTo>
                      <a:pt x="249" y="63"/>
                    </a:lnTo>
                    <a:lnTo>
                      <a:pt x="251" y="65"/>
                    </a:lnTo>
                    <a:lnTo>
                      <a:pt x="253" y="65"/>
                    </a:lnTo>
                    <a:lnTo>
                      <a:pt x="255" y="67"/>
                    </a:lnTo>
                    <a:lnTo>
                      <a:pt x="256" y="67"/>
                    </a:lnTo>
                    <a:lnTo>
                      <a:pt x="258" y="68"/>
                    </a:lnTo>
                    <a:lnTo>
                      <a:pt x="260" y="68"/>
                    </a:lnTo>
                    <a:lnTo>
                      <a:pt x="263" y="70"/>
                    </a:lnTo>
                    <a:lnTo>
                      <a:pt x="265" y="70"/>
                    </a:lnTo>
                    <a:lnTo>
                      <a:pt x="266" y="70"/>
                    </a:lnTo>
                    <a:lnTo>
                      <a:pt x="268" y="72"/>
                    </a:lnTo>
                    <a:lnTo>
                      <a:pt x="270" y="72"/>
                    </a:lnTo>
                    <a:lnTo>
                      <a:pt x="272" y="72"/>
                    </a:lnTo>
                    <a:lnTo>
                      <a:pt x="273" y="72"/>
                    </a:lnTo>
                    <a:lnTo>
                      <a:pt x="275" y="72"/>
                    </a:lnTo>
                    <a:lnTo>
                      <a:pt x="277" y="73"/>
                    </a:lnTo>
                    <a:lnTo>
                      <a:pt x="278" y="73"/>
                    </a:lnTo>
                    <a:lnTo>
                      <a:pt x="280" y="73"/>
                    </a:lnTo>
                    <a:lnTo>
                      <a:pt x="282" y="73"/>
                    </a:lnTo>
                    <a:lnTo>
                      <a:pt x="282" y="72"/>
                    </a:lnTo>
                    <a:lnTo>
                      <a:pt x="283" y="72"/>
                    </a:lnTo>
                    <a:lnTo>
                      <a:pt x="285" y="72"/>
                    </a:lnTo>
                    <a:lnTo>
                      <a:pt x="287" y="72"/>
                    </a:lnTo>
                    <a:lnTo>
                      <a:pt x="289" y="72"/>
                    </a:lnTo>
                    <a:lnTo>
                      <a:pt x="290" y="72"/>
                    </a:lnTo>
                    <a:lnTo>
                      <a:pt x="290" y="70"/>
                    </a:lnTo>
                    <a:lnTo>
                      <a:pt x="292" y="68"/>
                    </a:lnTo>
                    <a:lnTo>
                      <a:pt x="290" y="68"/>
                    </a:lnTo>
                    <a:lnTo>
                      <a:pt x="292" y="68"/>
                    </a:lnTo>
                    <a:lnTo>
                      <a:pt x="294" y="68"/>
                    </a:lnTo>
                    <a:lnTo>
                      <a:pt x="294" y="67"/>
                    </a:lnTo>
                    <a:lnTo>
                      <a:pt x="295" y="67"/>
                    </a:lnTo>
                    <a:lnTo>
                      <a:pt x="297" y="67"/>
                    </a:lnTo>
                    <a:lnTo>
                      <a:pt x="299" y="67"/>
                    </a:lnTo>
                    <a:lnTo>
                      <a:pt x="300" y="67"/>
                    </a:lnTo>
                    <a:lnTo>
                      <a:pt x="300" y="65"/>
                    </a:lnTo>
                    <a:lnTo>
                      <a:pt x="302" y="65"/>
                    </a:lnTo>
                    <a:lnTo>
                      <a:pt x="300" y="65"/>
                    </a:lnTo>
                    <a:lnTo>
                      <a:pt x="299" y="65"/>
                    </a:lnTo>
                    <a:lnTo>
                      <a:pt x="300" y="65"/>
                    </a:lnTo>
                    <a:lnTo>
                      <a:pt x="300" y="63"/>
                    </a:lnTo>
                    <a:lnTo>
                      <a:pt x="302" y="63"/>
                    </a:lnTo>
                    <a:lnTo>
                      <a:pt x="302" y="61"/>
                    </a:lnTo>
                    <a:lnTo>
                      <a:pt x="304" y="61"/>
                    </a:lnTo>
                    <a:lnTo>
                      <a:pt x="304" y="63"/>
                    </a:lnTo>
                    <a:lnTo>
                      <a:pt x="302" y="63"/>
                    </a:lnTo>
                    <a:lnTo>
                      <a:pt x="304" y="63"/>
                    </a:lnTo>
                    <a:lnTo>
                      <a:pt x="304" y="61"/>
                    </a:lnTo>
                    <a:lnTo>
                      <a:pt x="306" y="61"/>
                    </a:lnTo>
                    <a:lnTo>
                      <a:pt x="307" y="61"/>
                    </a:lnTo>
                    <a:lnTo>
                      <a:pt x="309" y="60"/>
                    </a:lnTo>
                    <a:lnTo>
                      <a:pt x="309" y="58"/>
                    </a:lnTo>
                    <a:lnTo>
                      <a:pt x="309" y="60"/>
                    </a:lnTo>
                    <a:lnTo>
                      <a:pt x="311" y="60"/>
                    </a:lnTo>
                    <a:lnTo>
                      <a:pt x="312" y="60"/>
                    </a:lnTo>
                    <a:lnTo>
                      <a:pt x="314" y="60"/>
                    </a:lnTo>
                    <a:lnTo>
                      <a:pt x="316" y="60"/>
                    </a:lnTo>
                    <a:lnTo>
                      <a:pt x="317" y="60"/>
                    </a:lnTo>
                    <a:lnTo>
                      <a:pt x="319" y="60"/>
                    </a:lnTo>
                    <a:lnTo>
                      <a:pt x="321" y="60"/>
                    </a:lnTo>
                    <a:lnTo>
                      <a:pt x="323" y="60"/>
                    </a:lnTo>
                    <a:lnTo>
                      <a:pt x="324" y="60"/>
                    </a:lnTo>
                    <a:lnTo>
                      <a:pt x="326" y="60"/>
                    </a:lnTo>
                    <a:lnTo>
                      <a:pt x="326" y="58"/>
                    </a:lnTo>
                    <a:lnTo>
                      <a:pt x="324" y="58"/>
                    </a:lnTo>
                    <a:lnTo>
                      <a:pt x="323" y="58"/>
                    </a:lnTo>
                    <a:lnTo>
                      <a:pt x="321" y="56"/>
                    </a:lnTo>
                    <a:lnTo>
                      <a:pt x="319" y="56"/>
                    </a:lnTo>
                    <a:lnTo>
                      <a:pt x="317" y="56"/>
                    </a:lnTo>
                    <a:lnTo>
                      <a:pt x="316" y="56"/>
                    </a:lnTo>
                    <a:lnTo>
                      <a:pt x="316" y="55"/>
                    </a:lnTo>
                    <a:lnTo>
                      <a:pt x="316" y="56"/>
                    </a:lnTo>
                    <a:lnTo>
                      <a:pt x="314" y="55"/>
                    </a:lnTo>
                    <a:lnTo>
                      <a:pt x="314" y="56"/>
                    </a:lnTo>
                    <a:lnTo>
                      <a:pt x="314" y="55"/>
                    </a:lnTo>
                    <a:lnTo>
                      <a:pt x="314" y="56"/>
                    </a:lnTo>
                    <a:lnTo>
                      <a:pt x="312" y="55"/>
                    </a:lnTo>
                    <a:lnTo>
                      <a:pt x="314" y="55"/>
                    </a:lnTo>
                    <a:lnTo>
                      <a:pt x="312" y="55"/>
                    </a:lnTo>
                    <a:lnTo>
                      <a:pt x="312" y="56"/>
                    </a:lnTo>
                    <a:lnTo>
                      <a:pt x="311" y="56"/>
                    </a:lnTo>
                    <a:lnTo>
                      <a:pt x="311" y="55"/>
                    </a:lnTo>
                    <a:lnTo>
                      <a:pt x="309" y="56"/>
                    </a:lnTo>
                    <a:lnTo>
                      <a:pt x="307" y="56"/>
                    </a:lnTo>
                    <a:lnTo>
                      <a:pt x="307" y="58"/>
                    </a:lnTo>
                    <a:lnTo>
                      <a:pt x="306" y="56"/>
                    </a:lnTo>
                    <a:lnTo>
                      <a:pt x="306" y="55"/>
                    </a:lnTo>
                    <a:lnTo>
                      <a:pt x="306" y="53"/>
                    </a:lnTo>
                    <a:lnTo>
                      <a:pt x="307" y="53"/>
                    </a:lnTo>
                    <a:lnTo>
                      <a:pt x="309" y="53"/>
                    </a:lnTo>
                    <a:lnTo>
                      <a:pt x="309" y="55"/>
                    </a:lnTo>
                    <a:lnTo>
                      <a:pt x="309" y="53"/>
                    </a:lnTo>
                    <a:lnTo>
                      <a:pt x="309" y="55"/>
                    </a:lnTo>
                    <a:lnTo>
                      <a:pt x="311" y="55"/>
                    </a:lnTo>
                    <a:lnTo>
                      <a:pt x="311" y="53"/>
                    </a:lnTo>
                    <a:lnTo>
                      <a:pt x="312" y="53"/>
                    </a:lnTo>
                    <a:lnTo>
                      <a:pt x="314" y="53"/>
                    </a:lnTo>
                    <a:lnTo>
                      <a:pt x="316" y="53"/>
                    </a:lnTo>
                    <a:lnTo>
                      <a:pt x="317" y="55"/>
                    </a:lnTo>
                    <a:lnTo>
                      <a:pt x="317" y="53"/>
                    </a:lnTo>
                    <a:lnTo>
                      <a:pt x="319" y="53"/>
                    </a:lnTo>
                    <a:lnTo>
                      <a:pt x="321" y="53"/>
                    </a:lnTo>
                    <a:lnTo>
                      <a:pt x="323" y="53"/>
                    </a:lnTo>
                    <a:lnTo>
                      <a:pt x="321" y="51"/>
                    </a:lnTo>
                    <a:lnTo>
                      <a:pt x="321" y="53"/>
                    </a:lnTo>
                    <a:lnTo>
                      <a:pt x="321" y="51"/>
                    </a:lnTo>
                    <a:lnTo>
                      <a:pt x="323" y="51"/>
                    </a:lnTo>
                    <a:lnTo>
                      <a:pt x="323" y="53"/>
                    </a:lnTo>
                    <a:lnTo>
                      <a:pt x="324" y="53"/>
                    </a:lnTo>
                    <a:lnTo>
                      <a:pt x="326" y="53"/>
                    </a:lnTo>
                    <a:lnTo>
                      <a:pt x="328" y="53"/>
                    </a:lnTo>
                    <a:lnTo>
                      <a:pt x="329" y="53"/>
                    </a:lnTo>
                    <a:lnTo>
                      <a:pt x="331" y="55"/>
                    </a:lnTo>
                    <a:lnTo>
                      <a:pt x="331" y="53"/>
                    </a:lnTo>
                    <a:lnTo>
                      <a:pt x="333" y="53"/>
                    </a:lnTo>
                    <a:lnTo>
                      <a:pt x="334" y="53"/>
                    </a:lnTo>
                    <a:lnTo>
                      <a:pt x="334" y="51"/>
                    </a:lnTo>
                    <a:lnTo>
                      <a:pt x="336" y="51"/>
                    </a:lnTo>
                    <a:lnTo>
                      <a:pt x="336" y="53"/>
                    </a:lnTo>
                    <a:lnTo>
                      <a:pt x="338" y="53"/>
                    </a:lnTo>
                    <a:lnTo>
                      <a:pt x="338" y="51"/>
                    </a:lnTo>
                    <a:lnTo>
                      <a:pt x="338" y="53"/>
                    </a:lnTo>
                    <a:lnTo>
                      <a:pt x="340" y="53"/>
                    </a:lnTo>
                    <a:lnTo>
                      <a:pt x="341" y="53"/>
                    </a:lnTo>
                    <a:lnTo>
                      <a:pt x="341" y="51"/>
                    </a:lnTo>
                    <a:lnTo>
                      <a:pt x="343" y="51"/>
                    </a:lnTo>
                    <a:lnTo>
                      <a:pt x="345" y="51"/>
                    </a:lnTo>
                    <a:lnTo>
                      <a:pt x="346" y="51"/>
                    </a:lnTo>
                    <a:lnTo>
                      <a:pt x="348" y="51"/>
                    </a:lnTo>
                    <a:lnTo>
                      <a:pt x="350" y="51"/>
                    </a:lnTo>
                    <a:lnTo>
                      <a:pt x="351" y="51"/>
                    </a:lnTo>
                    <a:lnTo>
                      <a:pt x="353" y="51"/>
                    </a:lnTo>
                    <a:lnTo>
                      <a:pt x="355" y="51"/>
                    </a:lnTo>
                    <a:lnTo>
                      <a:pt x="355" y="50"/>
                    </a:lnTo>
                    <a:lnTo>
                      <a:pt x="357" y="50"/>
                    </a:lnTo>
                    <a:lnTo>
                      <a:pt x="358" y="50"/>
                    </a:lnTo>
                    <a:lnTo>
                      <a:pt x="360" y="50"/>
                    </a:lnTo>
                    <a:lnTo>
                      <a:pt x="362" y="50"/>
                    </a:lnTo>
                    <a:lnTo>
                      <a:pt x="363" y="50"/>
                    </a:lnTo>
                    <a:lnTo>
                      <a:pt x="365" y="50"/>
                    </a:lnTo>
                    <a:lnTo>
                      <a:pt x="367" y="51"/>
                    </a:lnTo>
                    <a:lnTo>
                      <a:pt x="368" y="51"/>
                    </a:lnTo>
                    <a:lnTo>
                      <a:pt x="370" y="51"/>
                    </a:lnTo>
                    <a:lnTo>
                      <a:pt x="372" y="51"/>
                    </a:lnTo>
                    <a:lnTo>
                      <a:pt x="374" y="51"/>
                    </a:lnTo>
                    <a:lnTo>
                      <a:pt x="375" y="51"/>
                    </a:lnTo>
                    <a:lnTo>
                      <a:pt x="377" y="51"/>
                    </a:lnTo>
                    <a:lnTo>
                      <a:pt x="379" y="51"/>
                    </a:lnTo>
                    <a:lnTo>
                      <a:pt x="380" y="51"/>
                    </a:lnTo>
                    <a:lnTo>
                      <a:pt x="382" y="51"/>
                    </a:lnTo>
                    <a:lnTo>
                      <a:pt x="384" y="51"/>
                    </a:lnTo>
                    <a:lnTo>
                      <a:pt x="385" y="51"/>
                    </a:lnTo>
                    <a:lnTo>
                      <a:pt x="385" y="50"/>
                    </a:lnTo>
                    <a:lnTo>
                      <a:pt x="387" y="50"/>
                    </a:lnTo>
                    <a:lnTo>
                      <a:pt x="387" y="51"/>
                    </a:lnTo>
                    <a:lnTo>
                      <a:pt x="385" y="51"/>
                    </a:lnTo>
                    <a:lnTo>
                      <a:pt x="385" y="53"/>
                    </a:lnTo>
                    <a:lnTo>
                      <a:pt x="385" y="51"/>
                    </a:lnTo>
                    <a:lnTo>
                      <a:pt x="385" y="53"/>
                    </a:lnTo>
                    <a:lnTo>
                      <a:pt x="384" y="53"/>
                    </a:lnTo>
                    <a:lnTo>
                      <a:pt x="382" y="53"/>
                    </a:lnTo>
                    <a:lnTo>
                      <a:pt x="380" y="53"/>
                    </a:lnTo>
                    <a:lnTo>
                      <a:pt x="379" y="53"/>
                    </a:lnTo>
                    <a:lnTo>
                      <a:pt x="377" y="53"/>
                    </a:lnTo>
                    <a:lnTo>
                      <a:pt x="375" y="53"/>
                    </a:lnTo>
                    <a:lnTo>
                      <a:pt x="374" y="53"/>
                    </a:lnTo>
                    <a:lnTo>
                      <a:pt x="374" y="55"/>
                    </a:lnTo>
                    <a:lnTo>
                      <a:pt x="372" y="55"/>
                    </a:lnTo>
                    <a:lnTo>
                      <a:pt x="372" y="56"/>
                    </a:lnTo>
                    <a:lnTo>
                      <a:pt x="370" y="56"/>
                    </a:lnTo>
                    <a:lnTo>
                      <a:pt x="368" y="56"/>
                    </a:lnTo>
                    <a:lnTo>
                      <a:pt x="367" y="56"/>
                    </a:lnTo>
                    <a:lnTo>
                      <a:pt x="365" y="56"/>
                    </a:lnTo>
                    <a:lnTo>
                      <a:pt x="363" y="56"/>
                    </a:lnTo>
                    <a:lnTo>
                      <a:pt x="362" y="56"/>
                    </a:lnTo>
                    <a:lnTo>
                      <a:pt x="360" y="56"/>
                    </a:lnTo>
                    <a:lnTo>
                      <a:pt x="358" y="56"/>
                    </a:lnTo>
                    <a:lnTo>
                      <a:pt x="357" y="56"/>
                    </a:lnTo>
                    <a:lnTo>
                      <a:pt x="355" y="56"/>
                    </a:lnTo>
                    <a:lnTo>
                      <a:pt x="353" y="58"/>
                    </a:lnTo>
                    <a:lnTo>
                      <a:pt x="355" y="58"/>
                    </a:lnTo>
                    <a:lnTo>
                      <a:pt x="357" y="58"/>
                    </a:lnTo>
                    <a:lnTo>
                      <a:pt x="357" y="60"/>
                    </a:lnTo>
                    <a:lnTo>
                      <a:pt x="358" y="60"/>
                    </a:lnTo>
                    <a:lnTo>
                      <a:pt x="358" y="61"/>
                    </a:lnTo>
                    <a:lnTo>
                      <a:pt x="360" y="63"/>
                    </a:lnTo>
                    <a:lnTo>
                      <a:pt x="360" y="65"/>
                    </a:lnTo>
                    <a:lnTo>
                      <a:pt x="360" y="67"/>
                    </a:lnTo>
                    <a:lnTo>
                      <a:pt x="360" y="68"/>
                    </a:lnTo>
                    <a:lnTo>
                      <a:pt x="360" y="70"/>
                    </a:lnTo>
                    <a:lnTo>
                      <a:pt x="362" y="70"/>
                    </a:lnTo>
                    <a:lnTo>
                      <a:pt x="362" y="68"/>
                    </a:lnTo>
                    <a:lnTo>
                      <a:pt x="362" y="67"/>
                    </a:lnTo>
                    <a:lnTo>
                      <a:pt x="363" y="68"/>
                    </a:lnTo>
                    <a:lnTo>
                      <a:pt x="365" y="68"/>
                    </a:lnTo>
                    <a:lnTo>
                      <a:pt x="365" y="70"/>
                    </a:lnTo>
                    <a:lnTo>
                      <a:pt x="367" y="70"/>
                    </a:lnTo>
                    <a:lnTo>
                      <a:pt x="367" y="72"/>
                    </a:lnTo>
                    <a:lnTo>
                      <a:pt x="367" y="73"/>
                    </a:lnTo>
                    <a:lnTo>
                      <a:pt x="367" y="75"/>
                    </a:lnTo>
                    <a:lnTo>
                      <a:pt x="368" y="75"/>
                    </a:lnTo>
                    <a:lnTo>
                      <a:pt x="368" y="77"/>
                    </a:lnTo>
                    <a:lnTo>
                      <a:pt x="367" y="77"/>
                    </a:lnTo>
                    <a:lnTo>
                      <a:pt x="368" y="78"/>
                    </a:lnTo>
                    <a:lnTo>
                      <a:pt x="370" y="78"/>
                    </a:lnTo>
                    <a:lnTo>
                      <a:pt x="370" y="80"/>
                    </a:lnTo>
                    <a:lnTo>
                      <a:pt x="370" y="78"/>
                    </a:lnTo>
                    <a:lnTo>
                      <a:pt x="372" y="78"/>
                    </a:lnTo>
                    <a:lnTo>
                      <a:pt x="370" y="77"/>
                    </a:lnTo>
                    <a:lnTo>
                      <a:pt x="372" y="77"/>
                    </a:lnTo>
                    <a:lnTo>
                      <a:pt x="374" y="77"/>
                    </a:lnTo>
                    <a:lnTo>
                      <a:pt x="375" y="75"/>
                    </a:lnTo>
                    <a:lnTo>
                      <a:pt x="377" y="75"/>
                    </a:lnTo>
                    <a:lnTo>
                      <a:pt x="379" y="75"/>
                    </a:lnTo>
                    <a:lnTo>
                      <a:pt x="380" y="77"/>
                    </a:lnTo>
                    <a:lnTo>
                      <a:pt x="382" y="77"/>
                    </a:lnTo>
                    <a:lnTo>
                      <a:pt x="382" y="78"/>
                    </a:lnTo>
                    <a:lnTo>
                      <a:pt x="384" y="78"/>
                    </a:lnTo>
                    <a:lnTo>
                      <a:pt x="385" y="80"/>
                    </a:lnTo>
                    <a:lnTo>
                      <a:pt x="385" y="82"/>
                    </a:lnTo>
                    <a:lnTo>
                      <a:pt x="387" y="82"/>
                    </a:lnTo>
                    <a:lnTo>
                      <a:pt x="389" y="82"/>
                    </a:lnTo>
                    <a:lnTo>
                      <a:pt x="391" y="82"/>
                    </a:lnTo>
                    <a:lnTo>
                      <a:pt x="392" y="82"/>
                    </a:lnTo>
                    <a:lnTo>
                      <a:pt x="394" y="82"/>
                    </a:lnTo>
                    <a:lnTo>
                      <a:pt x="396" y="82"/>
                    </a:lnTo>
                    <a:lnTo>
                      <a:pt x="394" y="82"/>
                    </a:lnTo>
                    <a:lnTo>
                      <a:pt x="396" y="82"/>
                    </a:lnTo>
                    <a:lnTo>
                      <a:pt x="396" y="80"/>
                    </a:lnTo>
                    <a:lnTo>
                      <a:pt x="394" y="80"/>
                    </a:lnTo>
                    <a:lnTo>
                      <a:pt x="396" y="80"/>
                    </a:lnTo>
                    <a:lnTo>
                      <a:pt x="394" y="80"/>
                    </a:lnTo>
                    <a:lnTo>
                      <a:pt x="394" y="78"/>
                    </a:lnTo>
                    <a:lnTo>
                      <a:pt x="396" y="80"/>
                    </a:lnTo>
                    <a:lnTo>
                      <a:pt x="397" y="80"/>
                    </a:lnTo>
                    <a:lnTo>
                      <a:pt x="399" y="82"/>
                    </a:lnTo>
                    <a:lnTo>
                      <a:pt x="401" y="82"/>
                    </a:lnTo>
                    <a:lnTo>
                      <a:pt x="401" y="84"/>
                    </a:lnTo>
                    <a:lnTo>
                      <a:pt x="401" y="82"/>
                    </a:lnTo>
                    <a:lnTo>
                      <a:pt x="399" y="82"/>
                    </a:lnTo>
                    <a:lnTo>
                      <a:pt x="399" y="80"/>
                    </a:lnTo>
                    <a:lnTo>
                      <a:pt x="399" y="82"/>
                    </a:lnTo>
                    <a:lnTo>
                      <a:pt x="401" y="82"/>
                    </a:lnTo>
                    <a:lnTo>
                      <a:pt x="402" y="82"/>
                    </a:lnTo>
                    <a:lnTo>
                      <a:pt x="402" y="84"/>
                    </a:lnTo>
                    <a:lnTo>
                      <a:pt x="404" y="84"/>
                    </a:lnTo>
                    <a:lnTo>
                      <a:pt x="404" y="85"/>
                    </a:lnTo>
                    <a:lnTo>
                      <a:pt x="406" y="85"/>
                    </a:lnTo>
                    <a:lnTo>
                      <a:pt x="406" y="87"/>
                    </a:lnTo>
                    <a:lnTo>
                      <a:pt x="408" y="87"/>
                    </a:lnTo>
                    <a:lnTo>
                      <a:pt x="408" y="89"/>
                    </a:lnTo>
                    <a:lnTo>
                      <a:pt x="409" y="89"/>
                    </a:lnTo>
                    <a:lnTo>
                      <a:pt x="411" y="90"/>
                    </a:lnTo>
                    <a:lnTo>
                      <a:pt x="413" y="90"/>
                    </a:lnTo>
                    <a:lnTo>
                      <a:pt x="414" y="90"/>
                    </a:lnTo>
                    <a:lnTo>
                      <a:pt x="416" y="90"/>
                    </a:lnTo>
                    <a:lnTo>
                      <a:pt x="416" y="92"/>
                    </a:lnTo>
                    <a:lnTo>
                      <a:pt x="418" y="92"/>
                    </a:lnTo>
                    <a:lnTo>
                      <a:pt x="419" y="94"/>
                    </a:lnTo>
                    <a:lnTo>
                      <a:pt x="421" y="94"/>
                    </a:lnTo>
                    <a:lnTo>
                      <a:pt x="421" y="96"/>
                    </a:lnTo>
                    <a:lnTo>
                      <a:pt x="423" y="96"/>
                    </a:lnTo>
                    <a:lnTo>
                      <a:pt x="423" y="97"/>
                    </a:lnTo>
                    <a:lnTo>
                      <a:pt x="423" y="99"/>
                    </a:lnTo>
                    <a:lnTo>
                      <a:pt x="423" y="101"/>
                    </a:lnTo>
                    <a:lnTo>
                      <a:pt x="421" y="101"/>
                    </a:lnTo>
                    <a:lnTo>
                      <a:pt x="419" y="101"/>
                    </a:lnTo>
                    <a:lnTo>
                      <a:pt x="419" y="102"/>
                    </a:lnTo>
                    <a:lnTo>
                      <a:pt x="418" y="102"/>
                    </a:lnTo>
                    <a:lnTo>
                      <a:pt x="418" y="104"/>
                    </a:lnTo>
                    <a:lnTo>
                      <a:pt x="419" y="104"/>
                    </a:lnTo>
                    <a:lnTo>
                      <a:pt x="419" y="102"/>
                    </a:lnTo>
                    <a:lnTo>
                      <a:pt x="421" y="102"/>
                    </a:lnTo>
                    <a:lnTo>
                      <a:pt x="423" y="102"/>
                    </a:lnTo>
                    <a:lnTo>
                      <a:pt x="425" y="102"/>
                    </a:lnTo>
                    <a:lnTo>
                      <a:pt x="425" y="104"/>
                    </a:lnTo>
                    <a:lnTo>
                      <a:pt x="423" y="104"/>
                    </a:lnTo>
                    <a:lnTo>
                      <a:pt x="425" y="104"/>
                    </a:lnTo>
                    <a:lnTo>
                      <a:pt x="425" y="106"/>
                    </a:lnTo>
                    <a:lnTo>
                      <a:pt x="423" y="106"/>
                    </a:lnTo>
                    <a:lnTo>
                      <a:pt x="423" y="107"/>
                    </a:lnTo>
                    <a:lnTo>
                      <a:pt x="425" y="107"/>
                    </a:lnTo>
                    <a:lnTo>
                      <a:pt x="423" y="107"/>
                    </a:lnTo>
                    <a:lnTo>
                      <a:pt x="423" y="109"/>
                    </a:lnTo>
                    <a:lnTo>
                      <a:pt x="423" y="111"/>
                    </a:lnTo>
                    <a:lnTo>
                      <a:pt x="421" y="111"/>
                    </a:lnTo>
                    <a:lnTo>
                      <a:pt x="421" y="109"/>
                    </a:lnTo>
                    <a:lnTo>
                      <a:pt x="421" y="111"/>
                    </a:lnTo>
                    <a:lnTo>
                      <a:pt x="423" y="111"/>
                    </a:lnTo>
                    <a:lnTo>
                      <a:pt x="425" y="111"/>
                    </a:lnTo>
                    <a:lnTo>
                      <a:pt x="423" y="111"/>
                    </a:lnTo>
                    <a:lnTo>
                      <a:pt x="423" y="113"/>
                    </a:lnTo>
                    <a:lnTo>
                      <a:pt x="421" y="113"/>
                    </a:lnTo>
                    <a:lnTo>
                      <a:pt x="421" y="114"/>
                    </a:lnTo>
                    <a:lnTo>
                      <a:pt x="423" y="114"/>
                    </a:lnTo>
                    <a:lnTo>
                      <a:pt x="425" y="114"/>
                    </a:lnTo>
                    <a:lnTo>
                      <a:pt x="423" y="114"/>
                    </a:lnTo>
                    <a:lnTo>
                      <a:pt x="423" y="116"/>
                    </a:lnTo>
                    <a:lnTo>
                      <a:pt x="425" y="116"/>
                    </a:lnTo>
                    <a:lnTo>
                      <a:pt x="426" y="116"/>
                    </a:lnTo>
                    <a:lnTo>
                      <a:pt x="426" y="118"/>
                    </a:lnTo>
                    <a:lnTo>
                      <a:pt x="425" y="118"/>
                    </a:lnTo>
                    <a:lnTo>
                      <a:pt x="425" y="119"/>
                    </a:lnTo>
                    <a:lnTo>
                      <a:pt x="423" y="119"/>
                    </a:lnTo>
                    <a:lnTo>
                      <a:pt x="423" y="121"/>
                    </a:lnTo>
                    <a:lnTo>
                      <a:pt x="421" y="121"/>
                    </a:lnTo>
                    <a:lnTo>
                      <a:pt x="419" y="121"/>
                    </a:lnTo>
                    <a:lnTo>
                      <a:pt x="419" y="123"/>
                    </a:lnTo>
                    <a:lnTo>
                      <a:pt x="418" y="123"/>
                    </a:lnTo>
                    <a:lnTo>
                      <a:pt x="416" y="123"/>
                    </a:lnTo>
                    <a:lnTo>
                      <a:pt x="416" y="124"/>
                    </a:lnTo>
                    <a:lnTo>
                      <a:pt x="414" y="126"/>
                    </a:lnTo>
                    <a:lnTo>
                      <a:pt x="416" y="126"/>
                    </a:lnTo>
                    <a:lnTo>
                      <a:pt x="416" y="124"/>
                    </a:lnTo>
                    <a:lnTo>
                      <a:pt x="418" y="124"/>
                    </a:lnTo>
                    <a:lnTo>
                      <a:pt x="419" y="123"/>
                    </a:lnTo>
                    <a:lnTo>
                      <a:pt x="421" y="124"/>
                    </a:lnTo>
                    <a:lnTo>
                      <a:pt x="423" y="124"/>
                    </a:lnTo>
                    <a:lnTo>
                      <a:pt x="425" y="123"/>
                    </a:lnTo>
                    <a:lnTo>
                      <a:pt x="426" y="123"/>
                    </a:lnTo>
                    <a:lnTo>
                      <a:pt x="426" y="124"/>
                    </a:lnTo>
                    <a:lnTo>
                      <a:pt x="428" y="124"/>
                    </a:lnTo>
                    <a:lnTo>
                      <a:pt x="430" y="124"/>
                    </a:lnTo>
                    <a:lnTo>
                      <a:pt x="430" y="126"/>
                    </a:lnTo>
                    <a:lnTo>
                      <a:pt x="431" y="126"/>
                    </a:lnTo>
                    <a:lnTo>
                      <a:pt x="433" y="126"/>
                    </a:lnTo>
                    <a:lnTo>
                      <a:pt x="435" y="126"/>
                    </a:lnTo>
                    <a:lnTo>
                      <a:pt x="435" y="124"/>
                    </a:lnTo>
                    <a:lnTo>
                      <a:pt x="436" y="124"/>
                    </a:lnTo>
                    <a:lnTo>
                      <a:pt x="435" y="123"/>
                    </a:lnTo>
                    <a:lnTo>
                      <a:pt x="436" y="123"/>
                    </a:lnTo>
                    <a:lnTo>
                      <a:pt x="438" y="123"/>
                    </a:lnTo>
                    <a:lnTo>
                      <a:pt x="440" y="123"/>
                    </a:lnTo>
                    <a:lnTo>
                      <a:pt x="442" y="123"/>
                    </a:lnTo>
                    <a:lnTo>
                      <a:pt x="443" y="123"/>
                    </a:lnTo>
                    <a:lnTo>
                      <a:pt x="445" y="123"/>
                    </a:lnTo>
                    <a:lnTo>
                      <a:pt x="447" y="123"/>
                    </a:lnTo>
                    <a:lnTo>
                      <a:pt x="447" y="124"/>
                    </a:lnTo>
                    <a:lnTo>
                      <a:pt x="448" y="124"/>
                    </a:lnTo>
                    <a:lnTo>
                      <a:pt x="450" y="124"/>
                    </a:lnTo>
                    <a:lnTo>
                      <a:pt x="450" y="126"/>
                    </a:lnTo>
                    <a:close/>
                    <a:moveTo>
                      <a:pt x="321" y="38"/>
                    </a:moveTo>
                    <a:lnTo>
                      <a:pt x="321" y="39"/>
                    </a:lnTo>
                    <a:lnTo>
                      <a:pt x="321" y="41"/>
                    </a:lnTo>
                    <a:lnTo>
                      <a:pt x="323" y="41"/>
                    </a:lnTo>
                    <a:lnTo>
                      <a:pt x="321" y="41"/>
                    </a:lnTo>
                    <a:lnTo>
                      <a:pt x="321" y="43"/>
                    </a:lnTo>
                    <a:lnTo>
                      <a:pt x="319" y="43"/>
                    </a:lnTo>
                    <a:lnTo>
                      <a:pt x="319" y="44"/>
                    </a:lnTo>
                    <a:lnTo>
                      <a:pt x="317" y="44"/>
                    </a:lnTo>
                    <a:lnTo>
                      <a:pt x="316" y="43"/>
                    </a:lnTo>
                    <a:lnTo>
                      <a:pt x="317" y="44"/>
                    </a:lnTo>
                    <a:lnTo>
                      <a:pt x="316" y="44"/>
                    </a:lnTo>
                    <a:lnTo>
                      <a:pt x="317" y="44"/>
                    </a:lnTo>
                    <a:lnTo>
                      <a:pt x="316" y="44"/>
                    </a:lnTo>
                    <a:lnTo>
                      <a:pt x="314" y="44"/>
                    </a:lnTo>
                    <a:lnTo>
                      <a:pt x="314" y="46"/>
                    </a:lnTo>
                    <a:lnTo>
                      <a:pt x="312" y="46"/>
                    </a:lnTo>
                    <a:lnTo>
                      <a:pt x="312" y="44"/>
                    </a:lnTo>
                    <a:lnTo>
                      <a:pt x="311" y="44"/>
                    </a:lnTo>
                    <a:lnTo>
                      <a:pt x="311" y="43"/>
                    </a:lnTo>
                    <a:lnTo>
                      <a:pt x="311" y="44"/>
                    </a:lnTo>
                    <a:lnTo>
                      <a:pt x="311" y="43"/>
                    </a:lnTo>
                    <a:lnTo>
                      <a:pt x="309" y="43"/>
                    </a:lnTo>
                    <a:lnTo>
                      <a:pt x="309" y="41"/>
                    </a:lnTo>
                    <a:lnTo>
                      <a:pt x="311" y="41"/>
                    </a:lnTo>
                    <a:lnTo>
                      <a:pt x="311" y="43"/>
                    </a:lnTo>
                    <a:lnTo>
                      <a:pt x="311" y="41"/>
                    </a:lnTo>
                    <a:lnTo>
                      <a:pt x="311" y="43"/>
                    </a:lnTo>
                    <a:lnTo>
                      <a:pt x="312" y="41"/>
                    </a:lnTo>
                    <a:lnTo>
                      <a:pt x="314" y="43"/>
                    </a:lnTo>
                    <a:lnTo>
                      <a:pt x="314" y="41"/>
                    </a:lnTo>
                    <a:lnTo>
                      <a:pt x="312" y="41"/>
                    </a:lnTo>
                    <a:lnTo>
                      <a:pt x="311" y="41"/>
                    </a:lnTo>
                    <a:lnTo>
                      <a:pt x="309" y="41"/>
                    </a:lnTo>
                    <a:lnTo>
                      <a:pt x="309" y="43"/>
                    </a:lnTo>
                    <a:lnTo>
                      <a:pt x="307" y="43"/>
                    </a:lnTo>
                    <a:lnTo>
                      <a:pt x="306" y="43"/>
                    </a:lnTo>
                    <a:lnTo>
                      <a:pt x="304" y="43"/>
                    </a:lnTo>
                    <a:lnTo>
                      <a:pt x="302" y="43"/>
                    </a:lnTo>
                    <a:lnTo>
                      <a:pt x="300" y="43"/>
                    </a:lnTo>
                    <a:lnTo>
                      <a:pt x="300" y="41"/>
                    </a:lnTo>
                    <a:lnTo>
                      <a:pt x="302" y="41"/>
                    </a:lnTo>
                    <a:lnTo>
                      <a:pt x="302" y="39"/>
                    </a:lnTo>
                    <a:lnTo>
                      <a:pt x="304" y="39"/>
                    </a:lnTo>
                    <a:lnTo>
                      <a:pt x="306" y="39"/>
                    </a:lnTo>
                    <a:lnTo>
                      <a:pt x="307" y="38"/>
                    </a:lnTo>
                    <a:lnTo>
                      <a:pt x="309" y="38"/>
                    </a:lnTo>
                    <a:lnTo>
                      <a:pt x="309" y="39"/>
                    </a:lnTo>
                    <a:lnTo>
                      <a:pt x="307" y="39"/>
                    </a:lnTo>
                    <a:lnTo>
                      <a:pt x="309" y="39"/>
                    </a:lnTo>
                    <a:lnTo>
                      <a:pt x="309" y="41"/>
                    </a:lnTo>
                    <a:lnTo>
                      <a:pt x="311" y="41"/>
                    </a:lnTo>
                    <a:lnTo>
                      <a:pt x="312" y="41"/>
                    </a:lnTo>
                    <a:lnTo>
                      <a:pt x="314" y="41"/>
                    </a:lnTo>
                    <a:lnTo>
                      <a:pt x="314" y="39"/>
                    </a:lnTo>
                    <a:lnTo>
                      <a:pt x="316" y="39"/>
                    </a:lnTo>
                    <a:lnTo>
                      <a:pt x="316" y="38"/>
                    </a:lnTo>
                    <a:lnTo>
                      <a:pt x="317" y="38"/>
                    </a:lnTo>
                    <a:lnTo>
                      <a:pt x="317" y="36"/>
                    </a:lnTo>
                    <a:lnTo>
                      <a:pt x="319" y="36"/>
                    </a:lnTo>
                    <a:lnTo>
                      <a:pt x="319" y="34"/>
                    </a:lnTo>
                    <a:lnTo>
                      <a:pt x="319" y="36"/>
                    </a:lnTo>
                    <a:lnTo>
                      <a:pt x="321" y="36"/>
                    </a:lnTo>
                    <a:lnTo>
                      <a:pt x="321" y="38"/>
                    </a:lnTo>
                    <a:close/>
                    <a:moveTo>
                      <a:pt x="272" y="43"/>
                    </a:moveTo>
                    <a:lnTo>
                      <a:pt x="273" y="43"/>
                    </a:lnTo>
                    <a:lnTo>
                      <a:pt x="275" y="43"/>
                    </a:lnTo>
                    <a:lnTo>
                      <a:pt x="275" y="44"/>
                    </a:lnTo>
                    <a:lnTo>
                      <a:pt x="273" y="44"/>
                    </a:lnTo>
                    <a:lnTo>
                      <a:pt x="272" y="44"/>
                    </a:lnTo>
                    <a:lnTo>
                      <a:pt x="270" y="44"/>
                    </a:lnTo>
                    <a:lnTo>
                      <a:pt x="268" y="44"/>
                    </a:lnTo>
                    <a:lnTo>
                      <a:pt x="266" y="44"/>
                    </a:lnTo>
                    <a:lnTo>
                      <a:pt x="266" y="43"/>
                    </a:lnTo>
                    <a:lnTo>
                      <a:pt x="268" y="43"/>
                    </a:lnTo>
                    <a:lnTo>
                      <a:pt x="268" y="41"/>
                    </a:lnTo>
                    <a:lnTo>
                      <a:pt x="270" y="41"/>
                    </a:lnTo>
                    <a:lnTo>
                      <a:pt x="272" y="41"/>
                    </a:lnTo>
                    <a:lnTo>
                      <a:pt x="272" y="43"/>
                    </a:lnTo>
                    <a:close/>
                    <a:moveTo>
                      <a:pt x="294" y="10"/>
                    </a:moveTo>
                    <a:lnTo>
                      <a:pt x="295" y="10"/>
                    </a:lnTo>
                    <a:lnTo>
                      <a:pt x="295" y="14"/>
                    </a:lnTo>
                    <a:lnTo>
                      <a:pt x="294" y="14"/>
                    </a:lnTo>
                    <a:lnTo>
                      <a:pt x="294" y="10"/>
                    </a:lnTo>
                    <a:close/>
                    <a:moveTo>
                      <a:pt x="316" y="48"/>
                    </a:moveTo>
                    <a:lnTo>
                      <a:pt x="317" y="48"/>
                    </a:lnTo>
                    <a:lnTo>
                      <a:pt x="319" y="50"/>
                    </a:lnTo>
                    <a:lnTo>
                      <a:pt x="317" y="50"/>
                    </a:lnTo>
                    <a:lnTo>
                      <a:pt x="316" y="50"/>
                    </a:lnTo>
                    <a:lnTo>
                      <a:pt x="317" y="50"/>
                    </a:lnTo>
                    <a:lnTo>
                      <a:pt x="316" y="50"/>
                    </a:lnTo>
                    <a:lnTo>
                      <a:pt x="314" y="48"/>
                    </a:lnTo>
                    <a:lnTo>
                      <a:pt x="316" y="48"/>
                    </a:lnTo>
                    <a:close/>
                    <a:moveTo>
                      <a:pt x="244" y="14"/>
                    </a:moveTo>
                    <a:lnTo>
                      <a:pt x="243" y="14"/>
                    </a:lnTo>
                    <a:lnTo>
                      <a:pt x="241" y="14"/>
                    </a:lnTo>
                    <a:lnTo>
                      <a:pt x="241" y="12"/>
                    </a:lnTo>
                    <a:lnTo>
                      <a:pt x="243" y="12"/>
                    </a:lnTo>
                    <a:lnTo>
                      <a:pt x="244" y="14"/>
                    </a:lnTo>
                    <a:close/>
                    <a:moveTo>
                      <a:pt x="307" y="46"/>
                    </a:moveTo>
                    <a:lnTo>
                      <a:pt x="311" y="46"/>
                    </a:lnTo>
                    <a:lnTo>
                      <a:pt x="311" y="48"/>
                    </a:lnTo>
                    <a:lnTo>
                      <a:pt x="307" y="48"/>
                    </a:lnTo>
                    <a:lnTo>
                      <a:pt x="307" y="46"/>
                    </a:lnTo>
                    <a:close/>
                    <a:moveTo>
                      <a:pt x="227" y="14"/>
                    </a:moveTo>
                    <a:lnTo>
                      <a:pt x="227" y="16"/>
                    </a:lnTo>
                    <a:lnTo>
                      <a:pt x="226" y="16"/>
                    </a:lnTo>
                    <a:lnTo>
                      <a:pt x="224" y="16"/>
                    </a:lnTo>
                    <a:lnTo>
                      <a:pt x="224" y="14"/>
                    </a:lnTo>
                    <a:lnTo>
                      <a:pt x="224" y="16"/>
                    </a:lnTo>
                    <a:lnTo>
                      <a:pt x="226" y="16"/>
                    </a:lnTo>
                    <a:lnTo>
                      <a:pt x="226" y="14"/>
                    </a:lnTo>
                    <a:lnTo>
                      <a:pt x="227" y="14"/>
                    </a:lnTo>
                    <a:lnTo>
                      <a:pt x="226" y="12"/>
                    </a:lnTo>
                    <a:lnTo>
                      <a:pt x="227" y="14"/>
                    </a:lnTo>
                    <a:close/>
                    <a:moveTo>
                      <a:pt x="59" y="41"/>
                    </a:moveTo>
                    <a:lnTo>
                      <a:pt x="61" y="41"/>
                    </a:lnTo>
                    <a:lnTo>
                      <a:pt x="61" y="43"/>
                    </a:lnTo>
                    <a:lnTo>
                      <a:pt x="59" y="43"/>
                    </a:lnTo>
                    <a:lnTo>
                      <a:pt x="59" y="41"/>
                    </a:lnTo>
                    <a:close/>
                    <a:moveTo>
                      <a:pt x="292" y="65"/>
                    </a:moveTo>
                    <a:lnTo>
                      <a:pt x="294" y="65"/>
                    </a:lnTo>
                    <a:lnTo>
                      <a:pt x="294" y="67"/>
                    </a:lnTo>
                    <a:lnTo>
                      <a:pt x="292" y="67"/>
                    </a:lnTo>
                    <a:lnTo>
                      <a:pt x="292" y="65"/>
                    </a:lnTo>
                    <a:close/>
                    <a:moveTo>
                      <a:pt x="289" y="65"/>
                    </a:moveTo>
                    <a:lnTo>
                      <a:pt x="290" y="65"/>
                    </a:lnTo>
                    <a:lnTo>
                      <a:pt x="290" y="67"/>
                    </a:lnTo>
                    <a:lnTo>
                      <a:pt x="289" y="67"/>
                    </a:lnTo>
                    <a:lnTo>
                      <a:pt x="289" y="65"/>
                    </a:lnTo>
                    <a:close/>
                    <a:moveTo>
                      <a:pt x="57" y="41"/>
                    </a:moveTo>
                    <a:lnTo>
                      <a:pt x="57" y="43"/>
                    </a:lnTo>
                    <a:lnTo>
                      <a:pt x="57" y="41"/>
                    </a:lnTo>
                    <a:close/>
                    <a:moveTo>
                      <a:pt x="56" y="43"/>
                    </a:moveTo>
                    <a:lnTo>
                      <a:pt x="57" y="43"/>
                    </a:lnTo>
                    <a:lnTo>
                      <a:pt x="56" y="43"/>
                    </a:lnTo>
                    <a:close/>
                    <a:moveTo>
                      <a:pt x="300" y="61"/>
                    </a:moveTo>
                    <a:lnTo>
                      <a:pt x="300" y="63"/>
                    </a:lnTo>
                    <a:lnTo>
                      <a:pt x="300" y="61"/>
                    </a:lnTo>
                    <a:close/>
                    <a:moveTo>
                      <a:pt x="345" y="27"/>
                    </a:moveTo>
                    <a:lnTo>
                      <a:pt x="345" y="29"/>
                    </a:lnTo>
                    <a:lnTo>
                      <a:pt x="345" y="27"/>
                    </a:lnTo>
                    <a:close/>
                    <a:moveTo>
                      <a:pt x="221" y="10"/>
                    </a:moveTo>
                    <a:lnTo>
                      <a:pt x="221" y="12"/>
                    </a:lnTo>
                    <a:lnTo>
                      <a:pt x="222" y="12"/>
                    </a:lnTo>
                    <a:lnTo>
                      <a:pt x="224" y="10"/>
                    </a:lnTo>
                    <a:lnTo>
                      <a:pt x="224" y="12"/>
                    </a:lnTo>
                    <a:lnTo>
                      <a:pt x="222" y="12"/>
                    </a:lnTo>
                    <a:lnTo>
                      <a:pt x="221" y="12"/>
                    </a:lnTo>
                    <a:lnTo>
                      <a:pt x="221" y="10"/>
                    </a:lnTo>
                    <a:lnTo>
                      <a:pt x="219" y="10"/>
                    </a:lnTo>
                    <a:lnTo>
                      <a:pt x="221" y="10"/>
                    </a:lnTo>
                    <a:close/>
                    <a:moveTo>
                      <a:pt x="299" y="63"/>
                    </a:moveTo>
                    <a:lnTo>
                      <a:pt x="300" y="63"/>
                    </a:lnTo>
                    <a:lnTo>
                      <a:pt x="299" y="63"/>
                    </a:lnTo>
                    <a:close/>
                    <a:moveTo>
                      <a:pt x="170" y="46"/>
                    </a:moveTo>
                    <a:lnTo>
                      <a:pt x="170" y="48"/>
                    </a:lnTo>
                    <a:lnTo>
                      <a:pt x="170" y="46"/>
                    </a:lnTo>
                    <a:close/>
                    <a:moveTo>
                      <a:pt x="243" y="10"/>
                    </a:moveTo>
                    <a:lnTo>
                      <a:pt x="244" y="10"/>
                    </a:lnTo>
                    <a:lnTo>
                      <a:pt x="244" y="12"/>
                    </a:lnTo>
                    <a:lnTo>
                      <a:pt x="243" y="12"/>
                    </a:lnTo>
                    <a:lnTo>
                      <a:pt x="243" y="10"/>
                    </a:lnTo>
                    <a:close/>
                    <a:moveTo>
                      <a:pt x="282" y="70"/>
                    </a:moveTo>
                    <a:lnTo>
                      <a:pt x="283" y="70"/>
                    </a:lnTo>
                    <a:lnTo>
                      <a:pt x="282" y="70"/>
                    </a:lnTo>
                    <a:close/>
                    <a:moveTo>
                      <a:pt x="227" y="12"/>
                    </a:moveTo>
                    <a:lnTo>
                      <a:pt x="227" y="14"/>
                    </a:lnTo>
                    <a:lnTo>
                      <a:pt x="227" y="12"/>
                    </a:lnTo>
                    <a:close/>
                    <a:moveTo>
                      <a:pt x="224" y="9"/>
                    </a:moveTo>
                    <a:lnTo>
                      <a:pt x="226" y="9"/>
                    </a:lnTo>
                    <a:lnTo>
                      <a:pt x="224" y="9"/>
                    </a:lnTo>
                    <a:close/>
                    <a:moveTo>
                      <a:pt x="300" y="63"/>
                    </a:moveTo>
                    <a:lnTo>
                      <a:pt x="302" y="63"/>
                    </a:lnTo>
                    <a:lnTo>
                      <a:pt x="300" y="63"/>
                    </a:lnTo>
                    <a:close/>
                    <a:moveTo>
                      <a:pt x="226" y="10"/>
                    </a:moveTo>
                    <a:lnTo>
                      <a:pt x="227" y="10"/>
                    </a:lnTo>
                    <a:lnTo>
                      <a:pt x="227" y="12"/>
                    </a:lnTo>
                    <a:lnTo>
                      <a:pt x="226" y="12"/>
                    </a:lnTo>
                    <a:lnTo>
                      <a:pt x="226" y="10"/>
                    </a:lnTo>
                    <a:close/>
                    <a:moveTo>
                      <a:pt x="59" y="43"/>
                    </a:moveTo>
                    <a:lnTo>
                      <a:pt x="59" y="44"/>
                    </a:lnTo>
                    <a:lnTo>
                      <a:pt x="59" y="43"/>
                    </a:lnTo>
                    <a:close/>
                    <a:moveTo>
                      <a:pt x="170" y="46"/>
                    </a:moveTo>
                    <a:lnTo>
                      <a:pt x="171" y="46"/>
                    </a:lnTo>
                    <a:lnTo>
                      <a:pt x="171" y="48"/>
                    </a:lnTo>
                    <a:lnTo>
                      <a:pt x="170" y="48"/>
                    </a:lnTo>
                    <a:lnTo>
                      <a:pt x="170" y="46"/>
                    </a:lnTo>
                    <a:close/>
                    <a:moveTo>
                      <a:pt x="222" y="14"/>
                    </a:moveTo>
                    <a:lnTo>
                      <a:pt x="222" y="16"/>
                    </a:lnTo>
                    <a:lnTo>
                      <a:pt x="221" y="16"/>
                    </a:lnTo>
                    <a:lnTo>
                      <a:pt x="219" y="16"/>
                    </a:lnTo>
                    <a:lnTo>
                      <a:pt x="221" y="16"/>
                    </a:lnTo>
                    <a:lnTo>
                      <a:pt x="222" y="16"/>
                    </a:lnTo>
                    <a:lnTo>
                      <a:pt x="222" y="14"/>
                    </a:lnTo>
                    <a:close/>
                    <a:moveTo>
                      <a:pt x="295" y="67"/>
                    </a:moveTo>
                    <a:lnTo>
                      <a:pt x="297" y="67"/>
                    </a:lnTo>
                    <a:lnTo>
                      <a:pt x="295" y="67"/>
                    </a:lnTo>
                    <a:close/>
                    <a:moveTo>
                      <a:pt x="171" y="46"/>
                    </a:moveTo>
                    <a:lnTo>
                      <a:pt x="171" y="48"/>
                    </a:lnTo>
                    <a:lnTo>
                      <a:pt x="171" y="46"/>
                    </a:lnTo>
                    <a:close/>
                    <a:moveTo>
                      <a:pt x="61" y="43"/>
                    </a:moveTo>
                    <a:lnTo>
                      <a:pt x="62" y="43"/>
                    </a:lnTo>
                    <a:lnTo>
                      <a:pt x="61" y="43"/>
                    </a:lnTo>
                    <a:close/>
                    <a:moveTo>
                      <a:pt x="190" y="7"/>
                    </a:moveTo>
                    <a:lnTo>
                      <a:pt x="192" y="7"/>
                    </a:lnTo>
                    <a:lnTo>
                      <a:pt x="190" y="7"/>
                    </a:lnTo>
                    <a:close/>
                    <a:moveTo>
                      <a:pt x="294" y="65"/>
                    </a:moveTo>
                    <a:lnTo>
                      <a:pt x="295" y="65"/>
                    </a:lnTo>
                    <a:lnTo>
                      <a:pt x="294" y="65"/>
                    </a:lnTo>
                    <a:close/>
                    <a:moveTo>
                      <a:pt x="297" y="63"/>
                    </a:moveTo>
                    <a:lnTo>
                      <a:pt x="299" y="63"/>
                    </a:lnTo>
                    <a:lnTo>
                      <a:pt x="297" y="63"/>
                    </a:lnTo>
                    <a:close/>
                    <a:moveTo>
                      <a:pt x="224" y="10"/>
                    </a:moveTo>
                    <a:lnTo>
                      <a:pt x="224" y="12"/>
                    </a:lnTo>
                    <a:lnTo>
                      <a:pt x="224" y="10"/>
                    </a:lnTo>
                    <a:close/>
                    <a:moveTo>
                      <a:pt x="345" y="27"/>
                    </a:moveTo>
                    <a:lnTo>
                      <a:pt x="346" y="27"/>
                    </a:lnTo>
                    <a:lnTo>
                      <a:pt x="345" y="27"/>
                    </a:lnTo>
                    <a:close/>
                    <a:moveTo>
                      <a:pt x="170" y="46"/>
                    </a:moveTo>
                    <a:lnTo>
                      <a:pt x="170" y="48"/>
                    </a:lnTo>
                    <a:lnTo>
                      <a:pt x="170" y="46"/>
                    </a:lnTo>
                    <a:close/>
                    <a:moveTo>
                      <a:pt x="198" y="9"/>
                    </a:moveTo>
                    <a:lnTo>
                      <a:pt x="200" y="9"/>
                    </a:lnTo>
                    <a:lnTo>
                      <a:pt x="198" y="9"/>
                    </a:lnTo>
                    <a:close/>
                    <a:moveTo>
                      <a:pt x="170" y="46"/>
                    </a:moveTo>
                    <a:lnTo>
                      <a:pt x="171" y="46"/>
                    </a:lnTo>
                    <a:lnTo>
                      <a:pt x="170" y="46"/>
                    </a:lnTo>
                    <a:close/>
                    <a:moveTo>
                      <a:pt x="171" y="46"/>
                    </a:moveTo>
                    <a:lnTo>
                      <a:pt x="173" y="46"/>
                    </a:lnTo>
                    <a:lnTo>
                      <a:pt x="171" y="46"/>
                    </a:lnTo>
                    <a:close/>
                    <a:moveTo>
                      <a:pt x="226" y="7"/>
                    </a:moveTo>
                    <a:lnTo>
                      <a:pt x="226" y="9"/>
                    </a:lnTo>
                    <a:lnTo>
                      <a:pt x="226" y="7"/>
                    </a:lnTo>
                    <a:close/>
                    <a:moveTo>
                      <a:pt x="217" y="10"/>
                    </a:moveTo>
                    <a:lnTo>
                      <a:pt x="219" y="10"/>
                    </a:lnTo>
                    <a:lnTo>
                      <a:pt x="217" y="10"/>
                    </a:lnTo>
                    <a:close/>
                    <a:moveTo>
                      <a:pt x="272" y="44"/>
                    </a:moveTo>
                    <a:lnTo>
                      <a:pt x="273" y="44"/>
                    </a:lnTo>
                    <a:lnTo>
                      <a:pt x="272" y="4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nvGrpSpPr>
              <p:cNvPr id="10" name="Group 9">
                <a:extLst>
                  <a:ext uri="{FF2B5EF4-FFF2-40B4-BE49-F238E27FC236}">
                    <a16:creationId xmlns:a16="http://schemas.microsoft.com/office/drawing/2014/main" id="{E23BE0C8-6AB7-2EDE-F1B3-9CA81340138F}"/>
                  </a:ext>
                </a:extLst>
              </p:cNvPr>
              <p:cNvGrpSpPr/>
              <p:nvPr/>
            </p:nvGrpSpPr>
            <p:grpSpPr>
              <a:xfrm>
                <a:off x="3957324" y="2842086"/>
                <a:ext cx="1229355" cy="620442"/>
                <a:chOff x="4109724" y="2732358"/>
                <a:chExt cx="1229355" cy="620442"/>
              </a:xfrm>
            </p:grpSpPr>
            <p:sp>
              <p:nvSpPr>
                <p:cNvPr id="8" name="Oval 7">
                  <a:extLst>
                    <a:ext uri="{FF2B5EF4-FFF2-40B4-BE49-F238E27FC236}">
                      <a16:creationId xmlns:a16="http://schemas.microsoft.com/office/drawing/2014/main" id="{8F930C40-5995-C619-16DF-F8884C1A0BD1}"/>
                    </a:ext>
                  </a:extLst>
                </p:cNvPr>
                <p:cNvSpPr/>
                <p:nvPr/>
              </p:nvSpPr>
              <p:spPr>
                <a:xfrm>
                  <a:off x="4109724" y="2732358"/>
                  <a:ext cx="1229355" cy="620442"/>
                </a:xfrm>
                <a:prstGeom prst="ellipse">
                  <a:avLst/>
                </a:prstGeom>
                <a:solidFill>
                  <a:srgbClr val="F7F7F7"/>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Freeform 28">
                  <a:extLst>
                    <a:ext uri="{FF2B5EF4-FFF2-40B4-BE49-F238E27FC236}">
                      <a16:creationId xmlns:a16="http://schemas.microsoft.com/office/drawing/2014/main" id="{95777F33-327F-F96D-EA11-E5D1BB1E99EA}"/>
                    </a:ext>
                  </a:extLst>
                </p:cNvPr>
                <p:cNvSpPr>
                  <a:spLocks noEditPoints="1"/>
                </p:cNvSpPr>
                <p:nvPr/>
              </p:nvSpPr>
              <p:spPr bwMode="auto">
                <a:xfrm>
                  <a:off x="4262560" y="2861500"/>
                  <a:ext cx="923682" cy="362158"/>
                </a:xfrm>
                <a:custGeom>
                  <a:avLst/>
                  <a:gdLst>
                    <a:gd name="T0" fmla="*/ 549 w 556"/>
                    <a:gd name="T1" fmla="*/ 61 h 218"/>
                    <a:gd name="T2" fmla="*/ 554 w 556"/>
                    <a:gd name="T3" fmla="*/ 78 h 218"/>
                    <a:gd name="T4" fmla="*/ 540 w 556"/>
                    <a:gd name="T5" fmla="*/ 104 h 218"/>
                    <a:gd name="T6" fmla="*/ 489 w 556"/>
                    <a:gd name="T7" fmla="*/ 143 h 218"/>
                    <a:gd name="T8" fmla="*/ 454 w 556"/>
                    <a:gd name="T9" fmla="*/ 167 h 218"/>
                    <a:gd name="T10" fmla="*/ 447 w 556"/>
                    <a:gd name="T11" fmla="*/ 177 h 218"/>
                    <a:gd name="T12" fmla="*/ 440 w 556"/>
                    <a:gd name="T13" fmla="*/ 197 h 218"/>
                    <a:gd name="T14" fmla="*/ 428 w 556"/>
                    <a:gd name="T15" fmla="*/ 216 h 218"/>
                    <a:gd name="T16" fmla="*/ 409 w 556"/>
                    <a:gd name="T17" fmla="*/ 202 h 218"/>
                    <a:gd name="T18" fmla="*/ 387 w 556"/>
                    <a:gd name="T19" fmla="*/ 196 h 218"/>
                    <a:gd name="T20" fmla="*/ 382 w 556"/>
                    <a:gd name="T21" fmla="*/ 192 h 218"/>
                    <a:gd name="T22" fmla="*/ 389 w 556"/>
                    <a:gd name="T23" fmla="*/ 179 h 218"/>
                    <a:gd name="T24" fmla="*/ 392 w 556"/>
                    <a:gd name="T25" fmla="*/ 160 h 218"/>
                    <a:gd name="T26" fmla="*/ 401 w 556"/>
                    <a:gd name="T27" fmla="*/ 138 h 218"/>
                    <a:gd name="T28" fmla="*/ 399 w 556"/>
                    <a:gd name="T29" fmla="*/ 126 h 218"/>
                    <a:gd name="T30" fmla="*/ 398 w 556"/>
                    <a:gd name="T31" fmla="*/ 128 h 218"/>
                    <a:gd name="T32" fmla="*/ 389 w 556"/>
                    <a:gd name="T33" fmla="*/ 136 h 218"/>
                    <a:gd name="T34" fmla="*/ 370 w 556"/>
                    <a:gd name="T35" fmla="*/ 129 h 218"/>
                    <a:gd name="T36" fmla="*/ 369 w 556"/>
                    <a:gd name="T37" fmla="*/ 119 h 218"/>
                    <a:gd name="T38" fmla="*/ 369 w 556"/>
                    <a:gd name="T39" fmla="*/ 94 h 218"/>
                    <a:gd name="T40" fmla="*/ 374 w 556"/>
                    <a:gd name="T41" fmla="*/ 80 h 218"/>
                    <a:gd name="T42" fmla="*/ 379 w 556"/>
                    <a:gd name="T43" fmla="*/ 66 h 218"/>
                    <a:gd name="T44" fmla="*/ 391 w 556"/>
                    <a:gd name="T45" fmla="*/ 49 h 218"/>
                    <a:gd name="T46" fmla="*/ 394 w 556"/>
                    <a:gd name="T47" fmla="*/ 36 h 218"/>
                    <a:gd name="T48" fmla="*/ 398 w 556"/>
                    <a:gd name="T49" fmla="*/ 20 h 218"/>
                    <a:gd name="T50" fmla="*/ 425 w 556"/>
                    <a:gd name="T51" fmla="*/ 10 h 218"/>
                    <a:gd name="T52" fmla="*/ 435 w 556"/>
                    <a:gd name="T53" fmla="*/ 5 h 218"/>
                    <a:gd name="T54" fmla="*/ 447 w 556"/>
                    <a:gd name="T55" fmla="*/ 8 h 218"/>
                    <a:gd name="T56" fmla="*/ 464 w 556"/>
                    <a:gd name="T57" fmla="*/ 20 h 218"/>
                    <a:gd name="T58" fmla="*/ 477 w 556"/>
                    <a:gd name="T59" fmla="*/ 29 h 218"/>
                    <a:gd name="T60" fmla="*/ 493 w 556"/>
                    <a:gd name="T61" fmla="*/ 37 h 218"/>
                    <a:gd name="T62" fmla="*/ 513 w 556"/>
                    <a:gd name="T63" fmla="*/ 41 h 218"/>
                    <a:gd name="T64" fmla="*/ 532 w 556"/>
                    <a:gd name="T65" fmla="*/ 43 h 218"/>
                    <a:gd name="T66" fmla="*/ 554 w 556"/>
                    <a:gd name="T67" fmla="*/ 53 h 218"/>
                    <a:gd name="T68" fmla="*/ 24 w 556"/>
                    <a:gd name="T69" fmla="*/ 65 h 218"/>
                    <a:gd name="T70" fmla="*/ 25 w 556"/>
                    <a:gd name="T71" fmla="*/ 82 h 218"/>
                    <a:gd name="T72" fmla="*/ 5 w 556"/>
                    <a:gd name="T73" fmla="*/ 78 h 218"/>
                    <a:gd name="T74" fmla="*/ 15 w 556"/>
                    <a:gd name="T75" fmla="*/ 63 h 218"/>
                    <a:gd name="T76" fmla="*/ 5 w 556"/>
                    <a:gd name="T77" fmla="*/ 48 h 218"/>
                    <a:gd name="T78" fmla="*/ 44 w 556"/>
                    <a:gd name="T79" fmla="*/ 75 h 218"/>
                    <a:gd name="T80" fmla="*/ 46 w 556"/>
                    <a:gd name="T81" fmla="*/ 65 h 218"/>
                    <a:gd name="T82" fmla="*/ 389 w 556"/>
                    <a:gd name="T83" fmla="*/ 148 h 218"/>
                    <a:gd name="T84" fmla="*/ 8 w 556"/>
                    <a:gd name="T85" fmla="*/ 58 h 218"/>
                    <a:gd name="T86" fmla="*/ 7 w 556"/>
                    <a:gd name="T87" fmla="*/ 58 h 218"/>
                    <a:gd name="T88" fmla="*/ 30 w 556"/>
                    <a:gd name="T89" fmla="*/ 54 h 218"/>
                    <a:gd name="T90" fmla="*/ 71 w 556"/>
                    <a:gd name="T91" fmla="*/ 78 h 218"/>
                    <a:gd name="T92" fmla="*/ 41 w 556"/>
                    <a:gd name="T93" fmla="*/ 90 h 218"/>
                    <a:gd name="T94" fmla="*/ 399 w 556"/>
                    <a:gd name="T95" fmla="*/ 136 h 218"/>
                    <a:gd name="T96" fmla="*/ 391 w 556"/>
                    <a:gd name="T97" fmla="*/ 136 h 218"/>
                    <a:gd name="T98" fmla="*/ 403 w 556"/>
                    <a:gd name="T99" fmla="*/ 138 h 218"/>
                    <a:gd name="T100" fmla="*/ 428 w 556"/>
                    <a:gd name="T101" fmla="*/ 5 h 218"/>
                    <a:gd name="T102" fmla="*/ 66 w 556"/>
                    <a:gd name="T103" fmla="*/ 95 h 218"/>
                    <a:gd name="T104" fmla="*/ 391 w 556"/>
                    <a:gd name="T105" fmla="*/ 145 h 218"/>
                    <a:gd name="T106" fmla="*/ 394 w 556"/>
                    <a:gd name="T107" fmla="*/ 124 h 218"/>
                    <a:gd name="T108" fmla="*/ 394 w 556"/>
                    <a:gd name="T109" fmla="*/ 138 h 218"/>
                    <a:gd name="T110" fmla="*/ 392 w 556"/>
                    <a:gd name="T111" fmla="*/ 129 h 218"/>
                    <a:gd name="T112" fmla="*/ 387 w 556"/>
                    <a:gd name="T113" fmla="*/ 162 h 218"/>
                    <a:gd name="T114" fmla="*/ 392 w 556"/>
                    <a:gd name="T115" fmla="*/ 36 h 218"/>
                    <a:gd name="T116" fmla="*/ 394 w 556"/>
                    <a:gd name="T117" fmla="*/ 129 h 218"/>
                    <a:gd name="T118" fmla="*/ 396 w 556"/>
                    <a:gd name="T119" fmla="*/ 131 h 218"/>
                    <a:gd name="T120" fmla="*/ 399 w 556"/>
                    <a:gd name="T121" fmla="*/ 134 h 218"/>
                    <a:gd name="T122" fmla="*/ 387 w 556"/>
                    <a:gd name="T123" fmla="*/ 139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56" h="218">
                      <a:moveTo>
                        <a:pt x="554" y="53"/>
                      </a:moveTo>
                      <a:lnTo>
                        <a:pt x="552" y="54"/>
                      </a:lnTo>
                      <a:lnTo>
                        <a:pt x="551" y="54"/>
                      </a:lnTo>
                      <a:lnTo>
                        <a:pt x="549" y="54"/>
                      </a:lnTo>
                      <a:lnTo>
                        <a:pt x="547" y="54"/>
                      </a:lnTo>
                      <a:lnTo>
                        <a:pt x="547" y="53"/>
                      </a:lnTo>
                      <a:lnTo>
                        <a:pt x="545" y="53"/>
                      </a:lnTo>
                      <a:lnTo>
                        <a:pt x="544" y="53"/>
                      </a:lnTo>
                      <a:lnTo>
                        <a:pt x="542" y="53"/>
                      </a:lnTo>
                      <a:lnTo>
                        <a:pt x="542" y="54"/>
                      </a:lnTo>
                      <a:lnTo>
                        <a:pt x="544" y="54"/>
                      </a:lnTo>
                      <a:lnTo>
                        <a:pt x="544" y="56"/>
                      </a:lnTo>
                      <a:lnTo>
                        <a:pt x="545" y="56"/>
                      </a:lnTo>
                      <a:lnTo>
                        <a:pt x="547" y="58"/>
                      </a:lnTo>
                      <a:lnTo>
                        <a:pt x="545" y="58"/>
                      </a:lnTo>
                      <a:lnTo>
                        <a:pt x="547" y="58"/>
                      </a:lnTo>
                      <a:lnTo>
                        <a:pt x="547" y="60"/>
                      </a:lnTo>
                      <a:lnTo>
                        <a:pt x="547" y="61"/>
                      </a:lnTo>
                      <a:lnTo>
                        <a:pt x="549" y="61"/>
                      </a:lnTo>
                      <a:lnTo>
                        <a:pt x="549" y="63"/>
                      </a:lnTo>
                      <a:lnTo>
                        <a:pt x="551" y="65"/>
                      </a:lnTo>
                      <a:lnTo>
                        <a:pt x="552" y="65"/>
                      </a:lnTo>
                      <a:lnTo>
                        <a:pt x="552" y="66"/>
                      </a:lnTo>
                      <a:lnTo>
                        <a:pt x="554" y="66"/>
                      </a:lnTo>
                      <a:lnTo>
                        <a:pt x="554" y="68"/>
                      </a:lnTo>
                      <a:lnTo>
                        <a:pt x="556" y="68"/>
                      </a:lnTo>
                      <a:lnTo>
                        <a:pt x="554" y="68"/>
                      </a:lnTo>
                      <a:lnTo>
                        <a:pt x="554" y="70"/>
                      </a:lnTo>
                      <a:lnTo>
                        <a:pt x="556" y="70"/>
                      </a:lnTo>
                      <a:lnTo>
                        <a:pt x="554" y="71"/>
                      </a:lnTo>
                      <a:lnTo>
                        <a:pt x="554" y="70"/>
                      </a:lnTo>
                      <a:lnTo>
                        <a:pt x="554" y="71"/>
                      </a:lnTo>
                      <a:lnTo>
                        <a:pt x="554" y="70"/>
                      </a:lnTo>
                      <a:lnTo>
                        <a:pt x="554" y="71"/>
                      </a:lnTo>
                      <a:lnTo>
                        <a:pt x="554" y="73"/>
                      </a:lnTo>
                      <a:lnTo>
                        <a:pt x="554" y="75"/>
                      </a:lnTo>
                      <a:lnTo>
                        <a:pt x="554" y="77"/>
                      </a:lnTo>
                      <a:lnTo>
                        <a:pt x="554" y="78"/>
                      </a:lnTo>
                      <a:lnTo>
                        <a:pt x="556" y="78"/>
                      </a:lnTo>
                      <a:lnTo>
                        <a:pt x="556" y="80"/>
                      </a:lnTo>
                      <a:lnTo>
                        <a:pt x="554" y="80"/>
                      </a:lnTo>
                      <a:lnTo>
                        <a:pt x="556" y="82"/>
                      </a:lnTo>
                      <a:lnTo>
                        <a:pt x="554" y="82"/>
                      </a:lnTo>
                      <a:lnTo>
                        <a:pt x="552" y="82"/>
                      </a:lnTo>
                      <a:lnTo>
                        <a:pt x="551" y="82"/>
                      </a:lnTo>
                      <a:lnTo>
                        <a:pt x="551" y="80"/>
                      </a:lnTo>
                      <a:lnTo>
                        <a:pt x="549" y="80"/>
                      </a:lnTo>
                      <a:lnTo>
                        <a:pt x="549" y="82"/>
                      </a:lnTo>
                      <a:lnTo>
                        <a:pt x="547" y="88"/>
                      </a:lnTo>
                      <a:lnTo>
                        <a:pt x="547" y="90"/>
                      </a:lnTo>
                      <a:lnTo>
                        <a:pt x="545" y="97"/>
                      </a:lnTo>
                      <a:lnTo>
                        <a:pt x="544" y="99"/>
                      </a:lnTo>
                      <a:lnTo>
                        <a:pt x="544" y="100"/>
                      </a:lnTo>
                      <a:lnTo>
                        <a:pt x="544" y="102"/>
                      </a:lnTo>
                      <a:lnTo>
                        <a:pt x="542" y="100"/>
                      </a:lnTo>
                      <a:lnTo>
                        <a:pt x="542" y="102"/>
                      </a:lnTo>
                      <a:lnTo>
                        <a:pt x="540" y="104"/>
                      </a:lnTo>
                      <a:lnTo>
                        <a:pt x="539" y="107"/>
                      </a:lnTo>
                      <a:lnTo>
                        <a:pt x="535" y="109"/>
                      </a:lnTo>
                      <a:lnTo>
                        <a:pt x="535" y="111"/>
                      </a:lnTo>
                      <a:lnTo>
                        <a:pt x="532" y="114"/>
                      </a:lnTo>
                      <a:lnTo>
                        <a:pt x="528" y="119"/>
                      </a:lnTo>
                      <a:lnTo>
                        <a:pt x="527" y="121"/>
                      </a:lnTo>
                      <a:lnTo>
                        <a:pt x="527" y="122"/>
                      </a:lnTo>
                      <a:lnTo>
                        <a:pt x="523" y="124"/>
                      </a:lnTo>
                      <a:lnTo>
                        <a:pt x="518" y="128"/>
                      </a:lnTo>
                      <a:lnTo>
                        <a:pt x="515" y="129"/>
                      </a:lnTo>
                      <a:lnTo>
                        <a:pt x="513" y="131"/>
                      </a:lnTo>
                      <a:lnTo>
                        <a:pt x="511" y="134"/>
                      </a:lnTo>
                      <a:lnTo>
                        <a:pt x="510" y="134"/>
                      </a:lnTo>
                      <a:lnTo>
                        <a:pt x="508" y="136"/>
                      </a:lnTo>
                      <a:lnTo>
                        <a:pt x="506" y="136"/>
                      </a:lnTo>
                      <a:lnTo>
                        <a:pt x="505" y="138"/>
                      </a:lnTo>
                      <a:lnTo>
                        <a:pt x="503" y="138"/>
                      </a:lnTo>
                      <a:lnTo>
                        <a:pt x="501" y="138"/>
                      </a:lnTo>
                      <a:lnTo>
                        <a:pt x="489" y="143"/>
                      </a:lnTo>
                      <a:lnTo>
                        <a:pt x="476" y="148"/>
                      </a:lnTo>
                      <a:lnTo>
                        <a:pt x="471" y="148"/>
                      </a:lnTo>
                      <a:lnTo>
                        <a:pt x="467" y="150"/>
                      </a:lnTo>
                      <a:lnTo>
                        <a:pt x="464" y="153"/>
                      </a:lnTo>
                      <a:lnTo>
                        <a:pt x="462" y="153"/>
                      </a:lnTo>
                      <a:lnTo>
                        <a:pt x="462" y="155"/>
                      </a:lnTo>
                      <a:lnTo>
                        <a:pt x="460" y="155"/>
                      </a:lnTo>
                      <a:lnTo>
                        <a:pt x="460" y="156"/>
                      </a:lnTo>
                      <a:lnTo>
                        <a:pt x="459" y="156"/>
                      </a:lnTo>
                      <a:lnTo>
                        <a:pt x="459" y="158"/>
                      </a:lnTo>
                      <a:lnTo>
                        <a:pt x="457" y="160"/>
                      </a:lnTo>
                      <a:lnTo>
                        <a:pt x="457" y="162"/>
                      </a:lnTo>
                      <a:lnTo>
                        <a:pt x="455" y="162"/>
                      </a:lnTo>
                      <a:lnTo>
                        <a:pt x="455" y="163"/>
                      </a:lnTo>
                      <a:lnTo>
                        <a:pt x="455" y="165"/>
                      </a:lnTo>
                      <a:lnTo>
                        <a:pt x="457" y="165"/>
                      </a:lnTo>
                      <a:lnTo>
                        <a:pt x="457" y="167"/>
                      </a:lnTo>
                      <a:lnTo>
                        <a:pt x="455" y="167"/>
                      </a:lnTo>
                      <a:lnTo>
                        <a:pt x="454" y="167"/>
                      </a:lnTo>
                      <a:lnTo>
                        <a:pt x="454" y="165"/>
                      </a:lnTo>
                      <a:lnTo>
                        <a:pt x="454" y="163"/>
                      </a:lnTo>
                      <a:lnTo>
                        <a:pt x="452" y="163"/>
                      </a:lnTo>
                      <a:lnTo>
                        <a:pt x="450" y="163"/>
                      </a:lnTo>
                      <a:lnTo>
                        <a:pt x="449" y="163"/>
                      </a:lnTo>
                      <a:lnTo>
                        <a:pt x="450" y="163"/>
                      </a:lnTo>
                      <a:lnTo>
                        <a:pt x="449" y="163"/>
                      </a:lnTo>
                      <a:lnTo>
                        <a:pt x="450" y="165"/>
                      </a:lnTo>
                      <a:lnTo>
                        <a:pt x="449" y="165"/>
                      </a:lnTo>
                      <a:lnTo>
                        <a:pt x="449" y="167"/>
                      </a:lnTo>
                      <a:lnTo>
                        <a:pt x="449" y="168"/>
                      </a:lnTo>
                      <a:lnTo>
                        <a:pt x="449" y="170"/>
                      </a:lnTo>
                      <a:lnTo>
                        <a:pt x="449" y="172"/>
                      </a:lnTo>
                      <a:lnTo>
                        <a:pt x="447" y="172"/>
                      </a:lnTo>
                      <a:lnTo>
                        <a:pt x="449" y="172"/>
                      </a:lnTo>
                      <a:lnTo>
                        <a:pt x="449" y="173"/>
                      </a:lnTo>
                      <a:lnTo>
                        <a:pt x="447" y="173"/>
                      </a:lnTo>
                      <a:lnTo>
                        <a:pt x="447" y="175"/>
                      </a:lnTo>
                      <a:lnTo>
                        <a:pt x="447" y="177"/>
                      </a:lnTo>
                      <a:lnTo>
                        <a:pt x="447" y="179"/>
                      </a:lnTo>
                      <a:lnTo>
                        <a:pt x="445" y="179"/>
                      </a:lnTo>
                      <a:lnTo>
                        <a:pt x="445" y="180"/>
                      </a:lnTo>
                      <a:lnTo>
                        <a:pt x="445" y="182"/>
                      </a:lnTo>
                      <a:lnTo>
                        <a:pt x="443" y="182"/>
                      </a:lnTo>
                      <a:lnTo>
                        <a:pt x="443" y="184"/>
                      </a:lnTo>
                      <a:lnTo>
                        <a:pt x="442" y="184"/>
                      </a:lnTo>
                      <a:lnTo>
                        <a:pt x="442" y="185"/>
                      </a:lnTo>
                      <a:lnTo>
                        <a:pt x="443" y="185"/>
                      </a:lnTo>
                      <a:lnTo>
                        <a:pt x="443" y="187"/>
                      </a:lnTo>
                      <a:lnTo>
                        <a:pt x="442" y="187"/>
                      </a:lnTo>
                      <a:lnTo>
                        <a:pt x="442" y="189"/>
                      </a:lnTo>
                      <a:lnTo>
                        <a:pt x="442" y="190"/>
                      </a:lnTo>
                      <a:lnTo>
                        <a:pt x="440" y="190"/>
                      </a:lnTo>
                      <a:lnTo>
                        <a:pt x="440" y="192"/>
                      </a:lnTo>
                      <a:lnTo>
                        <a:pt x="442" y="192"/>
                      </a:lnTo>
                      <a:lnTo>
                        <a:pt x="440" y="194"/>
                      </a:lnTo>
                      <a:lnTo>
                        <a:pt x="440" y="196"/>
                      </a:lnTo>
                      <a:lnTo>
                        <a:pt x="440" y="197"/>
                      </a:lnTo>
                      <a:lnTo>
                        <a:pt x="442" y="199"/>
                      </a:lnTo>
                      <a:lnTo>
                        <a:pt x="440" y="199"/>
                      </a:lnTo>
                      <a:lnTo>
                        <a:pt x="440" y="201"/>
                      </a:lnTo>
                      <a:lnTo>
                        <a:pt x="438" y="202"/>
                      </a:lnTo>
                      <a:lnTo>
                        <a:pt x="438" y="204"/>
                      </a:lnTo>
                      <a:lnTo>
                        <a:pt x="437" y="206"/>
                      </a:lnTo>
                      <a:lnTo>
                        <a:pt x="435" y="206"/>
                      </a:lnTo>
                      <a:lnTo>
                        <a:pt x="433" y="206"/>
                      </a:lnTo>
                      <a:lnTo>
                        <a:pt x="432" y="208"/>
                      </a:lnTo>
                      <a:lnTo>
                        <a:pt x="432" y="209"/>
                      </a:lnTo>
                      <a:lnTo>
                        <a:pt x="432" y="211"/>
                      </a:lnTo>
                      <a:lnTo>
                        <a:pt x="430" y="211"/>
                      </a:lnTo>
                      <a:lnTo>
                        <a:pt x="432" y="211"/>
                      </a:lnTo>
                      <a:lnTo>
                        <a:pt x="432" y="213"/>
                      </a:lnTo>
                      <a:lnTo>
                        <a:pt x="430" y="213"/>
                      </a:lnTo>
                      <a:lnTo>
                        <a:pt x="432" y="214"/>
                      </a:lnTo>
                      <a:lnTo>
                        <a:pt x="430" y="214"/>
                      </a:lnTo>
                      <a:lnTo>
                        <a:pt x="428" y="214"/>
                      </a:lnTo>
                      <a:lnTo>
                        <a:pt x="428" y="216"/>
                      </a:lnTo>
                      <a:lnTo>
                        <a:pt x="428" y="218"/>
                      </a:lnTo>
                      <a:lnTo>
                        <a:pt x="426" y="218"/>
                      </a:lnTo>
                      <a:lnTo>
                        <a:pt x="425" y="218"/>
                      </a:lnTo>
                      <a:lnTo>
                        <a:pt x="423" y="218"/>
                      </a:lnTo>
                      <a:lnTo>
                        <a:pt x="423" y="216"/>
                      </a:lnTo>
                      <a:lnTo>
                        <a:pt x="421" y="216"/>
                      </a:lnTo>
                      <a:lnTo>
                        <a:pt x="420" y="216"/>
                      </a:lnTo>
                      <a:lnTo>
                        <a:pt x="418" y="216"/>
                      </a:lnTo>
                      <a:lnTo>
                        <a:pt x="418" y="214"/>
                      </a:lnTo>
                      <a:lnTo>
                        <a:pt x="416" y="214"/>
                      </a:lnTo>
                      <a:lnTo>
                        <a:pt x="415" y="213"/>
                      </a:lnTo>
                      <a:lnTo>
                        <a:pt x="413" y="211"/>
                      </a:lnTo>
                      <a:lnTo>
                        <a:pt x="413" y="209"/>
                      </a:lnTo>
                      <a:lnTo>
                        <a:pt x="413" y="208"/>
                      </a:lnTo>
                      <a:lnTo>
                        <a:pt x="411" y="206"/>
                      </a:lnTo>
                      <a:lnTo>
                        <a:pt x="411" y="204"/>
                      </a:lnTo>
                      <a:lnTo>
                        <a:pt x="411" y="202"/>
                      </a:lnTo>
                      <a:lnTo>
                        <a:pt x="409" y="201"/>
                      </a:lnTo>
                      <a:lnTo>
                        <a:pt x="409" y="202"/>
                      </a:lnTo>
                      <a:lnTo>
                        <a:pt x="409" y="201"/>
                      </a:lnTo>
                      <a:lnTo>
                        <a:pt x="408" y="201"/>
                      </a:lnTo>
                      <a:lnTo>
                        <a:pt x="408" y="199"/>
                      </a:lnTo>
                      <a:lnTo>
                        <a:pt x="406" y="199"/>
                      </a:lnTo>
                      <a:lnTo>
                        <a:pt x="404" y="199"/>
                      </a:lnTo>
                      <a:lnTo>
                        <a:pt x="404" y="201"/>
                      </a:lnTo>
                      <a:lnTo>
                        <a:pt x="403" y="201"/>
                      </a:lnTo>
                      <a:lnTo>
                        <a:pt x="401" y="201"/>
                      </a:lnTo>
                      <a:lnTo>
                        <a:pt x="399" y="201"/>
                      </a:lnTo>
                      <a:lnTo>
                        <a:pt x="399" y="199"/>
                      </a:lnTo>
                      <a:lnTo>
                        <a:pt x="398" y="197"/>
                      </a:lnTo>
                      <a:lnTo>
                        <a:pt x="396" y="197"/>
                      </a:lnTo>
                      <a:lnTo>
                        <a:pt x="394" y="197"/>
                      </a:lnTo>
                      <a:lnTo>
                        <a:pt x="392" y="196"/>
                      </a:lnTo>
                      <a:lnTo>
                        <a:pt x="392" y="194"/>
                      </a:lnTo>
                      <a:lnTo>
                        <a:pt x="391" y="194"/>
                      </a:lnTo>
                      <a:lnTo>
                        <a:pt x="389" y="194"/>
                      </a:lnTo>
                      <a:lnTo>
                        <a:pt x="387" y="194"/>
                      </a:lnTo>
                      <a:lnTo>
                        <a:pt x="387" y="196"/>
                      </a:lnTo>
                      <a:lnTo>
                        <a:pt x="386" y="196"/>
                      </a:lnTo>
                      <a:lnTo>
                        <a:pt x="386" y="197"/>
                      </a:lnTo>
                      <a:lnTo>
                        <a:pt x="384" y="197"/>
                      </a:lnTo>
                      <a:lnTo>
                        <a:pt x="384" y="199"/>
                      </a:lnTo>
                      <a:lnTo>
                        <a:pt x="382" y="199"/>
                      </a:lnTo>
                      <a:lnTo>
                        <a:pt x="382" y="201"/>
                      </a:lnTo>
                      <a:lnTo>
                        <a:pt x="381" y="201"/>
                      </a:lnTo>
                      <a:lnTo>
                        <a:pt x="379" y="199"/>
                      </a:lnTo>
                      <a:lnTo>
                        <a:pt x="379" y="201"/>
                      </a:lnTo>
                      <a:lnTo>
                        <a:pt x="379" y="199"/>
                      </a:lnTo>
                      <a:lnTo>
                        <a:pt x="379" y="197"/>
                      </a:lnTo>
                      <a:lnTo>
                        <a:pt x="379" y="196"/>
                      </a:lnTo>
                      <a:lnTo>
                        <a:pt x="381" y="196"/>
                      </a:lnTo>
                      <a:lnTo>
                        <a:pt x="381" y="194"/>
                      </a:lnTo>
                      <a:lnTo>
                        <a:pt x="382" y="192"/>
                      </a:lnTo>
                      <a:lnTo>
                        <a:pt x="382" y="190"/>
                      </a:lnTo>
                      <a:lnTo>
                        <a:pt x="384" y="190"/>
                      </a:lnTo>
                      <a:lnTo>
                        <a:pt x="382" y="190"/>
                      </a:lnTo>
                      <a:lnTo>
                        <a:pt x="382" y="192"/>
                      </a:lnTo>
                      <a:lnTo>
                        <a:pt x="381" y="190"/>
                      </a:lnTo>
                      <a:lnTo>
                        <a:pt x="381" y="192"/>
                      </a:lnTo>
                      <a:lnTo>
                        <a:pt x="379" y="190"/>
                      </a:lnTo>
                      <a:lnTo>
                        <a:pt x="379" y="189"/>
                      </a:lnTo>
                      <a:lnTo>
                        <a:pt x="377" y="189"/>
                      </a:lnTo>
                      <a:lnTo>
                        <a:pt x="379" y="187"/>
                      </a:lnTo>
                      <a:lnTo>
                        <a:pt x="377" y="187"/>
                      </a:lnTo>
                      <a:lnTo>
                        <a:pt x="377" y="185"/>
                      </a:lnTo>
                      <a:lnTo>
                        <a:pt x="379" y="185"/>
                      </a:lnTo>
                      <a:lnTo>
                        <a:pt x="379" y="184"/>
                      </a:lnTo>
                      <a:lnTo>
                        <a:pt x="381" y="184"/>
                      </a:lnTo>
                      <a:lnTo>
                        <a:pt x="382" y="184"/>
                      </a:lnTo>
                      <a:lnTo>
                        <a:pt x="384" y="185"/>
                      </a:lnTo>
                      <a:lnTo>
                        <a:pt x="384" y="184"/>
                      </a:lnTo>
                      <a:lnTo>
                        <a:pt x="386" y="184"/>
                      </a:lnTo>
                      <a:lnTo>
                        <a:pt x="386" y="182"/>
                      </a:lnTo>
                      <a:lnTo>
                        <a:pt x="387" y="182"/>
                      </a:lnTo>
                      <a:lnTo>
                        <a:pt x="389" y="180"/>
                      </a:lnTo>
                      <a:lnTo>
                        <a:pt x="389" y="179"/>
                      </a:lnTo>
                      <a:lnTo>
                        <a:pt x="389" y="177"/>
                      </a:lnTo>
                      <a:lnTo>
                        <a:pt x="387" y="177"/>
                      </a:lnTo>
                      <a:lnTo>
                        <a:pt x="387" y="175"/>
                      </a:lnTo>
                      <a:lnTo>
                        <a:pt x="387" y="173"/>
                      </a:lnTo>
                      <a:lnTo>
                        <a:pt x="387" y="172"/>
                      </a:lnTo>
                      <a:lnTo>
                        <a:pt x="387" y="170"/>
                      </a:lnTo>
                      <a:lnTo>
                        <a:pt x="386" y="170"/>
                      </a:lnTo>
                      <a:lnTo>
                        <a:pt x="387" y="168"/>
                      </a:lnTo>
                      <a:lnTo>
                        <a:pt x="386" y="168"/>
                      </a:lnTo>
                      <a:lnTo>
                        <a:pt x="386" y="167"/>
                      </a:lnTo>
                      <a:lnTo>
                        <a:pt x="386" y="165"/>
                      </a:lnTo>
                      <a:lnTo>
                        <a:pt x="387" y="165"/>
                      </a:lnTo>
                      <a:lnTo>
                        <a:pt x="389" y="165"/>
                      </a:lnTo>
                      <a:lnTo>
                        <a:pt x="391" y="165"/>
                      </a:lnTo>
                      <a:lnTo>
                        <a:pt x="392" y="163"/>
                      </a:lnTo>
                      <a:lnTo>
                        <a:pt x="392" y="162"/>
                      </a:lnTo>
                      <a:lnTo>
                        <a:pt x="392" y="163"/>
                      </a:lnTo>
                      <a:lnTo>
                        <a:pt x="392" y="162"/>
                      </a:lnTo>
                      <a:lnTo>
                        <a:pt x="392" y="160"/>
                      </a:lnTo>
                      <a:lnTo>
                        <a:pt x="394" y="160"/>
                      </a:lnTo>
                      <a:lnTo>
                        <a:pt x="394" y="158"/>
                      </a:lnTo>
                      <a:lnTo>
                        <a:pt x="394" y="156"/>
                      </a:lnTo>
                      <a:lnTo>
                        <a:pt x="396" y="156"/>
                      </a:lnTo>
                      <a:lnTo>
                        <a:pt x="398" y="155"/>
                      </a:lnTo>
                      <a:lnTo>
                        <a:pt x="398" y="153"/>
                      </a:lnTo>
                      <a:lnTo>
                        <a:pt x="398" y="151"/>
                      </a:lnTo>
                      <a:lnTo>
                        <a:pt x="398" y="153"/>
                      </a:lnTo>
                      <a:lnTo>
                        <a:pt x="398" y="151"/>
                      </a:lnTo>
                      <a:lnTo>
                        <a:pt x="399" y="151"/>
                      </a:lnTo>
                      <a:lnTo>
                        <a:pt x="399" y="150"/>
                      </a:lnTo>
                      <a:lnTo>
                        <a:pt x="399" y="148"/>
                      </a:lnTo>
                      <a:lnTo>
                        <a:pt x="399" y="146"/>
                      </a:lnTo>
                      <a:lnTo>
                        <a:pt x="399" y="145"/>
                      </a:lnTo>
                      <a:lnTo>
                        <a:pt x="399" y="143"/>
                      </a:lnTo>
                      <a:lnTo>
                        <a:pt x="401" y="143"/>
                      </a:lnTo>
                      <a:lnTo>
                        <a:pt x="401" y="141"/>
                      </a:lnTo>
                      <a:lnTo>
                        <a:pt x="401" y="139"/>
                      </a:lnTo>
                      <a:lnTo>
                        <a:pt x="401" y="138"/>
                      </a:lnTo>
                      <a:lnTo>
                        <a:pt x="403" y="138"/>
                      </a:lnTo>
                      <a:lnTo>
                        <a:pt x="403" y="136"/>
                      </a:lnTo>
                      <a:lnTo>
                        <a:pt x="403" y="134"/>
                      </a:lnTo>
                      <a:lnTo>
                        <a:pt x="403" y="133"/>
                      </a:lnTo>
                      <a:lnTo>
                        <a:pt x="403" y="134"/>
                      </a:lnTo>
                      <a:lnTo>
                        <a:pt x="403" y="133"/>
                      </a:lnTo>
                      <a:lnTo>
                        <a:pt x="401" y="134"/>
                      </a:lnTo>
                      <a:lnTo>
                        <a:pt x="401" y="133"/>
                      </a:lnTo>
                      <a:lnTo>
                        <a:pt x="401" y="131"/>
                      </a:lnTo>
                      <a:lnTo>
                        <a:pt x="399" y="131"/>
                      </a:lnTo>
                      <a:lnTo>
                        <a:pt x="399" y="129"/>
                      </a:lnTo>
                      <a:lnTo>
                        <a:pt x="399" y="128"/>
                      </a:lnTo>
                      <a:lnTo>
                        <a:pt x="399" y="126"/>
                      </a:lnTo>
                      <a:lnTo>
                        <a:pt x="399" y="124"/>
                      </a:lnTo>
                      <a:lnTo>
                        <a:pt x="399" y="122"/>
                      </a:lnTo>
                      <a:lnTo>
                        <a:pt x="398" y="122"/>
                      </a:lnTo>
                      <a:lnTo>
                        <a:pt x="398" y="124"/>
                      </a:lnTo>
                      <a:lnTo>
                        <a:pt x="398" y="126"/>
                      </a:lnTo>
                      <a:lnTo>
                        <a:pt x="399" y="126"/>
                      </a:lnTo>
                      <a:lnTo>
                        <a:pt x="399" y="128"/>
                      </a:lnTo>
                      <a:lnTo>
                        <a:pt x="399" y="129"/>
                      </a:lnTo>
                      <a:lnTo>
                        <a:pt x="399" y="131"/>
                      </a:lnTo>
                      <a:lnTo>
                        <a:pt x="398" y="131"/>
                      </a:lnTo>
                      <a:lnTo>
                        <a:pt x="398" y="133"/>
                      </a:lnTo>
                      <a:lnTo>
                        <a:pt x="398" y="134"/>
                      </a:lnTo>
                      <a:lnTo>
                        <a:pt x="398" y="136"/>
                      </a:lnTo>
                      <a:lnTo>
                        <a:pt x="396" y="136"/>
                      </a:lnTo>
                      <a:lnTo>
                        <a:pt x="396" y="134"/>
                      </a:lnTo>
                      <a:lnTo>
                        <a:pt x="394" y="134"/>
                      </a:lnTo>
                      <a:lnTo>
                        <a:pt x="396" y="134"/>
                      </a:lnTo>
                      <a:lnTo>
                        <a:pt x="396" y="133"/>
                      </a:lnTo>
                      <a:lnTo>
                        <a:pt x="398" y="133"/>
                      </a:lnTo>
                      <a:lnTo>
                        <a:pt x="398" y="131"/>
                      </a:lnTo>
                      <a:lnTo>
                        <a:pt x="398" y="129"/>
                      </a:lnTo>
                      <a:lnTo>
                        <a:pt x="396" y="129"/>
                      </a:lnTo>
                      <a:lnTo>
                        <a:pt x="398" y="128"/>
                      </a:lnTo>
                      <a:lnTo>
                        <a:pt x="396" y="128"/>
                      </a:lnTo>
                      <a:lnTo>
                        <a:pt x="398" y="128"/>
                      </a:lnTo>
                      <a:lnTo>
                        <a:pt x="396" y="126"/>
                      </a:lnTo>
                      <a:lnTo>
                        <a:pt x="398" y="126"/>
                      </a:lnTo>
                      <a:lnTo>
                        <a:pt x="396" y="126"/>
                      </a:lnTo>
                      <a:lnTo>
                        <a:pt x="396" y="124"/>
                      </a:lnTo>
                      <a:lnTo>
                        <a:pt x="394" y="124"/>
                      </a:lnTo>
                      <a:lnTo>
                        <a:pt x="394" y="126"/>
                      </a:lnTo>
                      <a:lnTo>
                        <a:pt x="394" y="128"/>
                      </a:lnTo>
                      <a:lnTo>
                        <a:pt x="396" y="128"/>
                      </a:lnTo>
                      <a:lnTo>
                        <a:pt x="394" y="128"/>
                      </a:lnTo>
                      <a:lnTo>
                        <a:pt x="392" y="128"/>
                      </a:lnTo>
                      <a:lnTo>
                        <a:pt x="392" y="129"/>
                      </a:lnTo>
                      <a:lnTo>
                        <a:pt x="391" y="129"/>
                      </a:lnTo>
                      <a:lnTo>
                        <a:pt x="391" y="131"/>
                      </a:lnTo>
                      <a:lnTo>
                        <a:pt x="391" y="133"/>
                      </a:lnTo>
                      <a:lnTo>
                        <a:pt x="391" y="134"/>
                      </a:lnTo>
                      <a:lnTo>
                        <a:pt x="389" y="134"/>
                      </a:lnTo>
                      <a:lnTo>
                        <a:pt x="389" y="136"/>
                      </a:lnTo>
                      <a:lnTo>
                        <a:pt x="387" y="134"/>
                      </a:lnTo>
                      <a:lnTo>
                        <a:pt x="389" y="136"/>
                      </a:lnTo>
                      <a:lnTo>
                        <a:pt x="387" y="136"/>
                      </a:lnTo>
                      <a:lnTo>
                        <a:pt x="386" y="138"/>
                      </a:lnTo>
                      <a:lnTo>
                        <a:pt x="384" y="138"/>
                      </a:lnTo>
                      <a:lnTo>
                        <a:pt x="386" y="138"/>
                      </a:lnTo>
                      <a:lnTo>
                        <a:pt x="386" y="139"/>
                      </a:lnTo>
                      <a:lnTo>
                        <a:pt x="386" y="141"/>
                      </a:lnTo>
                      <a:lnTo>
                        <a:pt x="384" y="141"/>
                      </a:lnTo>
                      <a:lnTo>
                        <a:pt x="382" y="139"/>
                      </a:lnTo>
                      <a:lnTo>
                        <a:pt x="381" y="139"/>
                      </a:lnTo>
                      <a:lnTo>
                        <a:pt x="381" y="138"/>
                      </a:lnTo>
                      <a:lnTo>
                        <a:pt x="379" y="138"/>
                      </a:lnTo>
                      <a:lnTo>
                        <a:pt x="377" y="138"/>
                      </a:lnTo>
                      <a:lnTo>
                        <a:pt x="377" y="136"/>
                      </a:lnTo>
                      <a:lnTo>
                        <a:pt x="376" y="134"/>
                      </a:lnTo>
                      <a:lnTo>
                        <a:pt x="376" y="133"/>
                      </a:lnTo>
                      <a:lnTo>
                        <a:pt x="374" y="133"/>
                      </a:lnTo>
                      <a:lnTo>
                        <a:pt x="372" y="131"/>
                      </a:lnTo>
                      <a:lnTo>
                        <a:pt x="370" y="131"/>
                      </a:lnTo>
                      <a:lnTo>
                        <a:pt x="370" y="129"/>
                      </a:lnTo>
                      <a:lnTo>
                        <a:pt x="369" y="129"/>
                      </a:lnTo>
                      <a:lnTo>
                        <a:pt x="367" y="129"/>
                      </a:lnTo>
                      <a:lnTo>
                        <a:pt x="365" y="128"/>
                      </a:lnTo>
                      <a:lnTo>
                        <a:pt x="364" y="128"/>
                      </a:lnTo>
                      <a:lnTo>
                        <a:pt x="364" y="126"/>
                      </a:lnTo>
                      <a:lnTo>
                        <a:pt x="362" y="126"/>
                      </a:lnTo>
                      <a:lnTo>
                        <a:pt x="362" y="124"/>
                      </a:lnTo>
                      <a:lnTo>
                        <a:pt x="360" y="124"/>
                      </a:lnTo>
                      <a:lnTo>
                        <a:pt x="360" y="122"/>
                      </a:lnTo>
                      <a:lnTo>
                        <a:pt x="360" y="124"/>
                      </a:lnTo>
                      <a:lnTo>
                        <a:pt x="362" y="122"/>
                      </a:lnTo>
                      <a:lnTo>
                        <a:pt x="362" y="124"/>
                      </a:lnTo>
                      <a:lnTo>
                        <a:pt x="364" y="124"/>
                      </a:lnTo>
                      <a:lnTo>
                        <a:pt x="364" y="122"/>
                      </a:lnTo>
                      <a:lnTo>
                        <a:pt x="365" y="122"/>
                      </a:lnTo>
                      <a:lnTo>
                        <a:pt x="367" y="122"/>
                      </a:lnTo>
                      <a:lnTo>
                        <a:pt x="367" y="121"/>
                      </a:lnTo>
                      <a:lnTo>
                        <a:pt x="369" y="121"/>
                      </a:lnTo>
                      <a:lnTo>
                        <a:pt x="369" y="119"/>
                      </a:lnTo>
                      <a:lnTo>
                        <a:pt x="369" y="117"/>
                      </a:lnTo>
                      <a:lnTo>
                        <a:pt x="369" y="116"/>
                      </a:lnTo>
                      <a:lnTo>
                        <a:pt x="369" y="114"/>
                      </a:lnTo>
                      <a:lnTo>
                        <a:pt x="369" y="112"/>
                      </a:lnTo>
                      <a:lnTo>
                        <a:pt x="369" y="111"/>
                      </a:lnTo>
                      <a:lnTo>
                        <a:pt x="369" y="109"/>
                      </a:lnTo>
                      <a:lnTo>
                        <a:pt x="367" y="109"/>
                      </a:lnTo>
                      <a:lnTo>
                        <a:pt x="367" y="107"/>
                      </a:lnTo>
                      <a:lnTo>
                        <a:pt x="367" y="105"/>
                      </a:lnTo>
                      <a:lnTo>
                        <a:pt x="365" y="105"/>
                      </a:lnTo>
                      <a:lnTo>
                        <a:pt x="365" y="104"/>
                      </a:lnTo>
                      <a:lnTo>
                        <a:pt x="365" y="102"/>
                      </a:lnTo>
                      <a:lnTo>
                        <a:pt x="367" y="102"/>
                      </a:lnTo>
                      <a:lnTo>
                        <a:pt x="367" y="100"/>
                      </a:lnTo>
                      <a:lnTo>
                        <a:pt x="367" y="99"/>
                      </a:lnTo>
                      <a:lnTo>
                        <a:pt x="369" y="99"/>
                      </a:lnTo>
                      <a:lnTo>
                        <a:pt x="369" y="97"/>
                      </a:lnTo>
                      <a:lnTo>
                        <a:pt x="369" y="95"/>
                      </a:lnTo>
                      <a:lnTo>
                        <a:pt x="369" y="94"/>
                      </a:lnTo>
                      <a:lnTo>
                        <a:pt x="367" y="92"/>
                      </a:lnTo>
                      <a:lnTo>
                        <a:pt x="367" y="90"/>
                      </a:lnTo>
                      <a:lnTo>
                        <a:pt x="365" y="90"/>
                      </a:lnTo>
                      <a:lnTo>
                        <a:pt x="365" y="88"/>
                      </a:lnTo>
                      <a:lnTo>
                        <a:pt x="364" y="88"/>
                      </a:lnTo>
                      <a:lnTo>
                        <a:pt x="364" y="87"/>
                      </a:lnTo>
                      <a:lnTo>
                        <a:pt x="364" y="85"/>
                      </a:lnTo>
                      <a:lnTo>
                        <a:pt x="364" y="83"/>
                      </a:lnTo>
                      <a:lnTo>
                        <a:pt x="365" y="83"/>
                      </a:lnTo>
                      <a:lnTo>
                        <a:pt x="365" y="82"/>
                      </a:lnTo>
                      <a:lnTo>
                        <a:pt x="367" y="82"/>
                      </a:lnTo>
                      <a:lnTo>
                        <a:pt x="369" y="80"/>
                      </a:lnTo>
                      <a:lnTo>
                        <a:pt x="369" y="82"/>
                      </a:lnTo>
                      <a:lnTo>
                        <a:pt x="370" y="82"/>
                      </a:lnTo>
                      <a:lnTo>
                        <a:pt x="370" y="80"/>
                      </a:lnTo>
                      <a:lnTo>
                        <a:pt x="372" y="80"/>
                      </a:lnTo>
                      <a:lnTo>
                        <a:pt x="372" y="82"/>
                      </a:lnTo>
                      <a:lnTo>
                        <a:pt x="372" y="80"/>
                      </a:lnTo>
                      <a:lnTo>
                        <a:pt x="374" y="80"/>
                      </a:lnTo>
                      <a:lnTo>
                        <a:pt x="376" y="80"/>
                      </a:lnTo>
                      <a:lnTo>
                        <a:pt x="376" y="78"/>
                      </a:lnTo>
                      <a:lnTo>
                        <a:pt x="376" y="77"/>
                      </a:lnTo>
                      <a:lnTo>
                        <a:pt x="376" y="75"/>
                      </a:lnTo>
                      <a:lnTo>
                        <a:pt x="377" y="75"/>
                      </a:lnTo>
                      <a:lnTo>
                        <a:pt x="377" y="73"/>
                      </a:lnTo>
                      <a:lnTo>
                        <a:pt x="377" y="71"/>
                      </a:lnTo>
                      <a:lnTo>
                        <a:pt x="377" y="70"/>
                      </a:lnTo>
                      <a:lnTo>
                        <a:pt x="379" y="70"/>
                      </a:lnTo>
                      <a:lnTo>
                        <a:pt x="381" y="71"/>
                      </a:lnTo>
                      <a:lnTo>
                        <a:pt x="382" y="71"/>
                      </a:lnTo>
                      <a:lnTo>
                        <a:pt x="384" y="71"/>
                      </a:lnTo>
                      <a:lnTo>
                        <a:pt x="382" y="71"/>
                      </a:lnTo>
                      <a:lnTo>
                        <a:pt x="382" y="70"/>
                      </a:lnTo>
                      <a:lnTo>
                        <a:pt x="381" y="71"/>
                      </a:lnTo>
                      <a:lnTo>
                        <a:pt x="381" y="70"/>
                      </a:lnTo>
                      <a:lnTo>
                        <a:pt x="381" y="68"/>
                      </a:lnTo>
                      <a:lnTo>
                        <a:pt x="379" y="68"/>
                      </a:lnTo>
                      <a:lnTo>
                        <a:pt x="379" y="66"/>
                      </a:lnTo>
                      <a:lnTo>
                        <a:pt x="379" y="65"/>
                      </a:lnTo>
                      <a:lnTo>
                        <a:pt x="377" y="65"/>
                      </a:lnTo>
                      <a:lnTo>
                        <a:pt x="377" y="63"/>
                      </a:lnTo>
                      <a:lnTo>
                        <a:pt x="377" y="61"/>
                      </a:lnTo>
                      <a:lnTo>
                        <a:pt x="379" y="61"/>
                      </a:lnTo>
                      <a:lnTo>
                        <a:pt x="379" y="60"/>
                      </a:lnTo>
                      <a:lnTo>
                        <a:pt x="381" y="60"/>
                      </a:lnTo>
                      <a:lnTo>
                        <a:pt x="381" y="58"/>
                      </a:lnTo>
                      <a:lnTo>
                        <a:pt x="381" y="56"/>
                      </a:lnTo>
                      <a:lnTo>
                        <a:pt x="382" y="56"/>
                      </a:lnTo>
                      <a:lnTo>
                        <a:pt x="382" y="54"/>
                      </a:lnTo>
                      <a:lnTo>
                        <a:pt x="384" y="54"/>
                      </a:lnTo>
                      <a:lnTo>
                        <a:pt x="386" y="54"/>
                      </a:lnTo>
                      <a:lnTo>
                        <a:pt x="386" y="53"/>
                      </a:lnTo>
                      <a:lnTo>
                        <a:pt x="387" y="53"/>
                      </a:lnTo>
                      <a:lnTo>
                        <a:pt x="387" y="51"/>
                      </a:lnTo>
                      <a:lnTo>
                        <a:pt x="389" y="51"/>
                      </a:lnTo>
                      <a:lnTo>
                        <a:pt x="389" y="49"/>
                      </a:lnTo>
                      <a:lnTo>
                        <a:pt x="391" y="49"/>
                      </a:lnTo>
                      <a:lnTo>
                        <a:pt x="391" y="48"/>
                      </a:lnTo>
                      <a:lnTo>
                        <a:pt x="392" y="46"/>
                      </a:lnTo>
                      <a:lnTo>
                        <a:pt x="392" y="44"/>
                      </a:lnTo>
                      <a:lnTo>
                        <a:pt x="392" y="43"/>
                      </a:lnTo>
                      <a:lnTo>
                        <a:pt x="392" y="41"/>
                      </a:lnTo>
                      <a:lnTo>
                        <a:pt x="392" y="39"/>
                      </a:lnTo>
                      <a:lnTo>
                        <a:pt x="392" y="37"/>
                      </a:lnTo>
                      <a:lnTo>
                        <a:pt x="392" y="36"/>
                      </a:lnTo>
                      <a:lnTo>
                        <a:pt x="392" y="37"/>
                      </a:lnTo>
                      <a:lnTo>
                        <a:pt x="394" y="37"/>
                      </a:lnTo>
                      <a:lnTo>
                        <a:pt x="394" y="39"/>
                      </a:lnTo>
                      <a:lnTo>
                        <a:pt x="394" y="41"/>
                      </a:lnTo>
                      <a:lnTo>
                        <a:pt x="394" y="43"/>
                      </a:lnTo>
                      <a:lnTo>
                        <a:pt x="396" y="43"/>
                      </a:lnTo>
                      <a:lnTo>
                        <a:pt x="396" y="41"/>
                      </a:lnTo>
                      <a:lnTo>
                        <a:pt x="396" y="39"/>
                      </a:lnTo>
                      <a:lnTo>
                        <a:pt x="394" y="39"/>
                      </a:lnTo>
                      <a:lnTo>
                        <a:pt x="394" y="37"/>
                      </a:lnTo>
                      <a:lnTo>
                        <a:pt x="394" y="36"/>
                      </a:lnTo>
                      <a:lnTo>
                        <a:pt x="392" y="36"/>
                      </a:lnTo>
                      <a:lnTo>
                        <a:pt x="392" y="34"/>
                      </a:lnTo>
                      <a:lnTo>
                        <a:pt x="392" y="32"/>
                      </a:lnTo>
                      <a:lnTo>
                        <a:pt x="394" y="31"/>
                      </a:lnTo>
                      <a:lnTo>
                        <a:pt x="394" y="29"/>
                      </a:lnTo>
                      <a:lnTo>
                        <a:pt x="392" y="29"/>
                      </a:lnTo>
                      <a:lnTo>
                        <a:pt x="392" y="27"/>
                      </a:lnTo>
                      <a:lnTo>
                        <a:pt x="391" y="27"/>
                      </a:lnTo>
                      <a:lnTo>
                        <a:pt x="391" y="25"/>
                      </a:lnTo>
                      <a:lnTo>
                        <a:pt x="391" y="24"/>
                      </a:lnTo>
                      <a:lnTo>
                        <a:pt x="391" y="22"/>
                      </a:lnTo>
                      <a:lnTo>
                        <a:pt x="392" y="22"/>
                      </a:lnTo>
                      <a:lnTo>
                        <a:pt x="392" y="20"/>
                      </a:lnTo>
                      <a:lnTo>
                        <a:pt x="394" y="22"/>
                      </a:lnTo>
                      <a:lnTo>
                        <a:pt x="394" y="20"/>
                      </a:lnTo>
                      <a:lnTo>
                        <a:pt x="396" y="20"/>
                      </a:lnTo>
                      <a:lnTo>
                        <a:pt x="398" y="20"/>
                      </a:lnTo>
                      <a:lnTo>
                        <a:pt x="398" y="19"/>
                      </a:lnTo>
                      <a:lnTo>
                        <a:pt x="398" y="20"/>
                      </a:lnTo>
                      <a:lnTo>
                        <a:pt x="399" y="19"/>
                      </a:lnTo>
                      <a:lnTo>
                        <a:pt x="401" y="19"/>
                      </a:lnTo>
                      <a:lnTo>
                        <a:pt x="401" y="17"/>
                      </a:lnTo>
                      <a:lnTo>
                        <a:pt x="403" y="17"/>
                      </a:lnTo>
                      <a:lnTo>
                        <a:pt x="404" y="15"/>
                      </a:lnTo>
                      <a:lnTo>
                        <a:pt x="406" y="15"/>
                      </a:lnTo>
                      <a:lnTo>
                        <a:pt x="408" y="15"/>
                      </a:lnTo>
                      <a:lnTo>
                        <a:pt x="409" y="15"/>
                      </a:lnTo>
                      <a:lnTo>
                        <a:pt x="411" y="14"/>
                      </a:lnTo>
                      <a:lnTo>
                        <a:pt x="413" y="14"/>
                      </a:lnTo>
                      <a:lnTo>
                        <a:pt x="413" y="12"/>
                      </a:lnTo>
                      <a:lnTo>
                        <a:pt x="415" y="12"/>
                      </a:lnTo>
                      <a:lnTo>
                        <a:pt x="416" y="12"/>
                      </a:lnTo>
                      <a:lnTo>
                        <a:pt x="418" y="12"/>
                      </a:lnTo>
                      <a:lnTo>
                        <a:pt x="420" y="12"/>
                      </a:lnTo>
                      <a:lnTo>
                        <a:pt x="421" y="12"/>
                      </a:lnTo>
                      <a:lnTo>
                        <a:pt x="423" y="12"/>
                      </a:lnTo>
                      <a:lnTo>
                        <a:pt x="423" y="10"/>
                      </a:lnTo>
                      <a:lnTo>
                        <a:pt x="425" y="10"/>
                      </a:lnTo>
                      <a:lnTo>
                        <a:pt x="425" y="8"/>
                      </a:lnTo>
                      <a:lnTo>
                        <a:pt x="426" y="7"/>
                      </a:lnTo>
                      <a:lnTo>
                        <a:pt x="426" y="8"/>
                      </a:lnTo>
                      <a:lnTo>
                        <a:pt x="428" y="10"/>
                      </a:lnTo>
                      <a:lnTo>
                        <a:pt x="428" y="12"/>
                      </a:lnTo>
                      <a:lnTo>
                        <a:pt x="428" y="10"/>
                      </a:lnTo>
                      <a:lnTo>
                        <a:pt x="430" y="10"/>
                      </a:lnTo>
                      <a:lnTo>
                        <a:pt x="428" y="10"/>
                      </a:lnTo>
                      <a:lnTo>
                        <a:pt x="430" y="10"/>
                      </a:lnTo>
                      <a:lnTo>
                        <a:pt x="430" y="8"/>
                      </a:lnTo>
                      <a:lnTo>
                        <a:pt x="428" y="8"/>
                      </a:lnTo>
                      <a:lnTo>
                        <a:pt x="430" y="8"/>
                      </a:lnTo>
                      <a:lnTo>
                        <a:pt x="428" y="8"/>
                      </a:lnTo>
                      <a:lnTo>
                        <a:pt x="428" y="7"/>
                      </a:lnTo>
                      <a:lnTo>
                        <a:pt x="430" y="7"/>
                      </a:lnTo>
                      <a:lnTo>
                        <a:pt x="432" y="7"/>
                      </a:lnTo>
                      <a:lnTo>
                        <a:pt x="432" y="5"/>
                      </a:lnTo>
                      <a:lnTo>
                        <a:pt x="433" y="5"/>
                      </a:lnTo>
                      <a:lnTo>
                        <a:pt x="435" y="5"/>
                      </a:lnTo>
                      <a:lnTo>
                        <a:pt x="433" y="5"/>
                      </a:lnTo>
                      <a:lnTo>
                        <a:pt x="432" y="5"/>
                      </a:lnTo>
                      <a:lnTo>
                        <a:pt x="432" y="3"/>
                      </a:lnTo>
                      <a:lnTo>
                        <a:pt x="433" y="2"/>
                      </a:lnTo>
                      <a:lnTo>
                        <a:pt x="433" y="3"/>
                      </a:lnTo>
                      <a:lnTo>
                        <a:pt x="433" y="2"/>
                      </a:lnTo>
                      <a:lnTo>
                        <a:pt x="433" y="0"/>
                      </a:lnTo>
                      <a:lnTo>
                        <a:pt x="435" y="2"/>
                      </a:lnTo>
                      <a:lnTo>
                        <a:pt x="437" y="2"/>
                      </a:lnTo>
                      <a:lnTo>
                        <a:pt x="437" y="3"/>
                      </a:lnTo>
                      <a:lnTo>
                        <a:pt x="438" y="3"/>
                      </a:lnTo>
                      <a:lnTo>
                        <a:pt x="438" y="5"/>
                      </a:lnTo>
                      <a:lnTo>
                        <a:pt x="440" y="5"/>
                      </a:lnTo>
                      <a:lnTo>
                        <a:pt x="440" y="7"/>
                      </a:lnTo>
                      <a:lnTo>
                        <a:pt x="442" y="7"/>
                      </a:lnTo>
                      <a:lnTo>
                        <a:pt x="443" y="7"/>
                      </a:lnTo>
                      <a:lnTo>
                        <a:pt x="443" y="8"/>
                      </a:lnTo>
                      <a:lnTo>
                        <a:pt x="445" y="8"/>
                      </a:lnTo>
                      <a:lnTo>
                        <a:pt x="447" y="8"/>
                      </a:lnTo>
                      <a:lnTo>
                        <a:pt x="447" y="10"/>
                      </a:lnTo>
                      <a:lnTo>
                        <a:pt x="449" y="10"/>
                      </a:lnTo>
                      <a:lnTo>
                        <a:pt x="449" y="8"/>
                      </a:lnTo>
                      <a:lnTo>
                        <a:pt x="450" y="8"/>
                      </a:lnTo>
                      <a:lnTo>
                        <a:pt x="452" y="10"/>
                      </a:lnTo>
                      <a:lnTo>
                        <a:pt x="452" y="12"/>
                      </a:lnTo>
                      <a:lnTo>
                        <a:pt x="452" y="14"/>
                      </a:lnTo>
                      <a:lnTo>
                        <a:pt x="454" y="14"/>
                      </a:lnTo>
                      <a:lnTo>
                        <a:pt x="454" y="15"/>
                      </a:lnTo>
                      <a:lnTo>
                        <a:pt x="455" y="15"/>
                      </a:lnTo>
                      <a:lnTo>
                        <a:pt x="454" y="17"/>
                      </a:lnTo>
                      <a:lnTo>
                        <a:pt x="455" y="17"/>
                      </a:lnTo>
                      <a:lnTo>
                        <a:pt x="457" y="17"/>
                      </a:lnTo>
                      <a:lnTo>
                        <a:pt x="457" y="19"/>
                      </a:lnTo>
                      <a:lnTo>
                        <a:pt x="459" y="19"/>
                      </a:lnTo>
                      <a:lnTo>
                        <a:pt x="460" y="19"/>
                      </a:lnTo>
                      <a:lnTo>
                        <a:pt x="460" y="20"/>
                      </a:lnTo>
                      <a:lnTo>
                        <a:pt x="462" y="20"/>
                      </a:lnTo>
                      <a:lnTo>
                        <a:pt x="464" y="20"/>
                      </a:lnTo>
                      <a:lnTo>
                        <a:pt x="464" y="22"/>
                      </a:lnTo>
                      <a:lnTo>
                        <a:pt x="466" y="22"/>
                      </a:lnTo>
                      <a:lnTo>
                        <a:pt x="467" y="22"/>
                      </a:lnTo>
                      <a:lnTo>
                        <a:pt x="467" y="20"/>
                      </a:lnTo>
                      <a:lnTo>
                        <a:pt x="469" y="20"/>
                      </a:lnTo>
                      <a:lnTo>
                        <a:pt x="471" y="20"/>
                      </a:lnTo>
                      <a:lnTo>
                        <a:pt x="472" y="20"/>
                      </a:lnTo>
                      <a:lnTo>
                        <a:pt x="472" y="22"/>
                      </a:lnTo>
                      <a:lnTo>
                        <a:pt x="472" y="24"/>
                      </a:lnTo>
                      <a:lnTo>
                        <a:pt x="471" y="24"/>
                      </a:lnTo>
                      <a:lnTo>
                        <a:pt x="472" y="24"/>
                      </a:lnTo>
                      <a:lnTo>
                        <a:pt x="472" y="25"/>
                      </a:lnTo>
                      <a:lnTo>
                        <a:pt x="474" y="25"/>
                      </a:lnTo>
                      <a:lnTo>
                        <a:pt x="476" y="25"/>
                      </a:lnTo>
                      <a:lnTo>
                        <a:pt x="476" y="27"/>
                      </a:lnTo>
                      <a:lnTo>
                        <a:pt x="477" y="27"/>
                      </a:lnTo>
                      <a:lnTo>
                        <a:pt x="479" y="27"/>
                      </a:lnTo>
                      <a:lnTo>
                        <a:pt x="479" y="29"/>
                      </a:lnTo>
                      <a:lnTo>
                        <a:pt x="477" y="29"/>
                      </a:lnTo>
                      <a:lnTo>
                        <a:pt x="477" y="31"/>
                      </a:lnTo>
                      <a:lnTo>
                        <a:pt x="477" y="32"/>
                      </a:lnTo>
                      <a:lnTo>
                        <a:pt x="477" y="34"/>
                      </a:lnTo>
                      <a:lnTo>
                        <a:pt x="477" y="36"/>
                      </a:lnTo>
                      <a:lnTo>
                        <a:pt x="479" y="34"/>
                      </a:lnTo>
                      <a:lnTo>
                        <a:pt x="481" y="34"/>
                      </a:lnTo>
                      <a:lnTo>
                        <a:pt x="481" y="36"/>
                      </a:lnTo>
                      <a:lnTo>
                        <a:pt x="483" y="36"/>
                      </a:lnTo>
                      <a:lnTo>
                        <a:pt x="484" y="36"/>
                      </a:lnTo>
                      <a:lnTo>
                        <a:pt x="486" y="37"/>
                      </a:lnTo>
                      <a:lnTo>
                        <a:pt x="486" y="36"/>
                      </a:lnTo>
                      <a:lnTo>
                        <a:pt x="486" y="37"/>
                      </a:lnTo>
                      <a:lnTo>
                        <a:pt x="488" y="36"/>
                      </a:lnTo>
                      <a:lnTo>
                        <a:pt x="488" y="37"/>
                      </a:lnTo>
                      <a:lnTo>
                        <a:pt x="488" y="36"/>
                      </a:lnTo>
                      <a:lnTo>
                        <a:pt x="489" y="36"/>
                      </a:lnTo>
                      <a:lnTo>
                        <a:pt x="491" y="36"/>
                      </a:lnTo>
                      <a:lnTo>
                        <a:pt x="491" y="37"/>
                      </a:lnTo>
                      <a:lnTo>
                        <a:pt x="493" y="37"/>
                      </a:lnTo>
                      <a:lnTo>
                        <a:pt x="493" y="39"/>
                      </a:lnTo>
                      <a:lnTo>
                        <a:pt x="494" y="39"/>
                      </a:lnTo>
                      <a:lnTo>
                        <a:pt x="496" y="39"/>
                      </a:lnTo>
                      <a:lnTo>
                        <a:pt x="498" y="39"/>
                      </a:lnTo>
                      <a:lnTo>
                        <a:pt x="498" y="41"/>
                      </a:lnTo>
                      <a:lnTo>
                        <a:pt x="500" y="41"/>
                      </a:lnTo>
                      <a:lnTo>
                        <a:pt x="501" y="41"/>
                      </a:lnTo>
                      <a:lnTo>
                        <a:pt x="501" y="39"/>
                      </a:lnTo>
                      <a:lnTo>
                        <a:pt x="501" y="41"/>
                      </a:lnTo>
                      <a:lnTo>
                        <a:pt x="501" y="39"/>
                      </a:lnTo>
                      <a:lnTo>
                        <a:pt x="503" y="41"/>
                      </a:lnTo>
                      <a:lnTo>
                        <a:pt x="503" y="39"/>
                      </a:lnTo>
                      <a:lnTo>
                        <a:pt x="505" y="39"/>
                      </a:lnTo>
                      <a:lnTo>
                        <a:pt x="506" y="39"/>
                      </a:lnTo>
                      <a:lnTo>
                        <a:pt x="506" y="41"/>
                      </a:lnTo>
                      <a:lnTo>
                        <a:pt x="508" y="41"/>
                      </a:lnTo>
                      <a:lnTo>
                        <a:pt x="510" y="41"/>
                      </a:lnTo>
                      <a:lnTo>
                        <a:pt x="511" y="41"/>
                      </a:lnTo>
                      <a:lnTo>
                        <a:pt x="513" y="41"/>
                      </a:lnTo>
                      <a:lnTo>
                        <a:pt x="515" y="41"/>
                      </a:lnTo>
                      <a:lnTo>
                        <a:pt x="515" y="37"/>
                      </a:lnTo>
                      <a:lnTo>
                        <a:pt x="515" y="36"/>
                      </a:lnTo>
                      <a:lnTo>
                        <a:pt x="517" y="36"/>
                      </a:lnTo>
                      <a:lnTo>
                        <a:pt x="518" y="36"/>
                      </a:lnTo>
                      <a:lnTo>
                        <a:pt x="518" y="34"/>
                      </a:lnTo>
                      <a:lnTo>
                        <a:pt x="520" y="34"/>
                      </a:lnTo>
                      <a:lnTo>
                        <a:pt x="520" y="36"/>
                      </a:lnTo>
                      <a:lnTo>
                        <a:pt x="522" y="36"/>
                      </a:lnTo>
                      <a:lnTo>
                        <a:pt x="523" y="36"/>
                      </a:lnTo>
                      <a:lnTo>
                        <a:pt x="525" y="36"/>
                      </a:lnTo>
                      <a:lnTo>
                        <a:pt x="525" y="37"/>
                      </a:lnTo>
                      <a:lnTo>
                        <a:pt x="527" y="37"/>
                      </a:lnTo>
                      <a:lnTo>
                        <a:pt x="527" y="39"/>
                      </a:lnTo>
                      <a:lnTo>
                        <a:pt x="528" y="39"/>
                      </a:lnTo>
                      <a:lnTo>
                        <a:pt x="528" y="41"/>
                      </a:lnTo>
                      <a:lnTo>
                        <a:pt x="530" y="41"/>
                      </a:lnTo>
                      <a:lnTo>
                        <a:pt x="530" y="43"/>
                      </a:lnTo>
                      <a:lnTo>
                        <a:pt x="532" y="43"/>
                      </a:lnTo>
                      <a:lnTo>
                        <a:pt x="532" y="44"/>
                      </a:lnTo>
                      <a:lnTo>
                        <a:pt x="534" y="44"/>
                      </a:lnTo>
                      <a:lnTo>
                        <a:pt x="534" y="46"/>
                      </a:lnTo>
                      <a:lnTo>
                        <a:pt x="535" y="46"/>
                      </a:lnTo>
                      <a:lnTo>
                        <a:pt x="535" y="48"/>
                      </a:lnTo>
                      <a:lnTo>
                        <a:pt x="537" y="48"/>
                      </a:lnTo>
                      <a:lnTo>
                        <a:pt x="539" y="48"/>
                      </a:lnTo>
                      <a:lnTo>
                        <a:pt x="540" y="48"/>
                      </a:lnTo>
                      <a:lnTo>
                        <a:pt x="542" y="48"/>
                      </a:lnTo>
                      <a:lnTo>
                        <a:pt x="542" y="49"/>
                      </a:lnTo>
                      <a:lnTo>
                        <a:pt x="544" y="49"/>
                      </a:lnTo>
                      <a:lnTo>
                        <a:pt x="545" y="49"/>
                      </a:lnTo>
                      <a:lnTo>
                        <a:pt x="545" y="51"/>
                      </a:lnTo>
                      <a:lnTo>
                        <a:pt x="547" y="51"/>
                      </a:lnTo>
                      <a:lnTo>
                        <a:pt x="549" y="51"/>
                      </a:lnTo>
                      <a:lnTo>
                        <a:pt x="549" y="53"/>
                      </a:lnTo>
                      <a:lnTo>
                        <a:pt x="551" y="53"/>
                      </a:lnTo>
                      <a:lnTo>
                        <a:pt x="552" y="53"/>
                      </a:lnTo>
                      <a:lnTo>
                        <a:pt x="554" y="53"/>
                      </a:lnTo>
                      <a:close/>
                      <a:moveTo>
                        <a:pt x="12" y="44"/>
                      </a:moveTo>
                      <a:lnTo>
                        <a:pt x="12" y="46"/>
                      </a:lnTo>
                      <a:lnTo>
                        <a:pt x="13" y="46"/>
                      </a:lnTo>
                      <a:lnTo>
                        <a:pt x="13" y="48"/>
                      </a:lnTo>
                      <a:lnTo>
                        <a:pt x="15" y="49"/>
                      </a:lnTo>
                      <a:lnTo>
                        <a:pt x="17" y="51"/>
                      </a:lnTo>
                      <a:lnTo>
                        <a:pt x="15" y="51"/>
                      </a:lnTo>
                      <a:lnTo>
                        <a:pt x="17" y="51"/>
                      </a:lnTo>
                      <a:lnTo>
                        <a:pt x="17" y="53"/>
                      </a:lnTo>
                      <a:lnTo>
                        <a:pt x="17" y="54"/>
                      </a:lnTo>
                      <a:lnTo>
                        <a:pt x="17" y="56"/>
                      </a:lnTo>
                      <a:lnTo>
                        <a:pt x="17" y="58"/>
                      </a:lnTo>
                      <a:lnTo>
                        <a:pt x="19" y="58"/>
                      </a:lnTo>
                      <a:lnTo>
                        <a:pt x="19" y="60"/>
                      </a:lnTo>
                      <a:lnTo>
                        <a:pt x="20" y="60"/>
                      </a:lnTo>
                      <a:lnTo>
                        <a:pt x="20" y="61"/>
                      </a:lnTo>
                      <a:lnTo>
                        <a:pt x="22" y="61"/>
                      </a:lnTo>
                      <a:lnTo>
                        <a:pt x="24" y="63"/>
                      </a:lnTo>
                      <a:lnTo>
                        <a:pt x="24" y="65"/>
                      </a:lnTo>
                      <a:lnTo>
                        <a:pt x="25" y="65"/>
                      </a:lnTo>
                      <a:lnTo>
                        <a:pt x="24" y="66"/>
                      </a:lnTo>
                      <a:lnTo>
                        <a:pt x="24" y="68"/>
                      </a:lnTo>
                      <a:lnTo>
                        <a:pt x="24" y="70"/>
                      </a:lnTo>
                      <a:lnTo>
                        <a:pt x="25" y="70"/>
                      </a:lnTo>
                      <a:lnTo>
                        <a:pt x="27" y="70"/>
                      </a:lnTo>
                      <a:lnTo>
                        <a:pt x="27" y="71"/>
                      </a:lnTo>
                      <a:lnTo>
                        <a:pt x="29" y="71"/>
                      </a:lnTo>
                      <a:lnTo>
                        <a:pt x="27" y="73"/>
                      </a:lnTo>
                      <a:lnTo>
                        <a:pt x="29" y="73"/>
                      </a:lnTo>
                      <a:lnTo>
                        <a:pt x="30" y="73"/>
                      </a:lnTo>
                      <a:lnTo>
                        <a:pt x="30" y="75"/>
                      </a:lnTo>
                      <a:lnTo>
                        <a:pt x="29" y="75"/>
                      </a:lnTo>
                      <a:lnTo>
                        <a:pt x="29" y="77"/>
                      </a:lnTo>
                      <a:lnTo>
                        <a:pt x="29" y="78"/>
                      </a:lnTo>
                      <a:lnTo>
                        <a:pt x="27" y="78"/>
                      </a:lnTo>
                      <a:lnTo>
                        <a:pt x="27" y="80"/>
                      </a:lnTo>
                      <a:lnTo>
                        <a:pt x="25" y="80"/>
                      </a:lnTo>
                      <a:lnTo>
                        <a:pt x="25" y="82"/>
                      </a:lnTo>
                      <a:lnTo>
                        <a:pt x="24" y="82"/>
                      </a:lnTo>
                      <a:lnTo>
                        <a:pt x="22" y="82"/>
                      </a:lnTo>
                      <a:lnTo>
                        <a:pt x="20" y="83"/>
                      </a:lnTo>
                      <a:lnTo>
                        <a:pt x="19" y="83"/>
                      </a:lnTo>
                      <a:lnTo>
                        <a:pt x="17" y="83"/>
                      </a:lnTo>
                      <a:lnTo>
                        <a:pt x="17" y="85"/>
                      </a:lnTo>
                      <a:lnTo>
                        <a:pt x="17" y="83"/>
                      </a:lnTo>
                      <a:lnTo>
                        <a:pt x="17" y="85"/>
                      </a:lnTo>
                      <a:lnTo>
                        <a:pt x="15" y="85"/>
                      </a:lnTo>
                      <a:lnTo>
                        <a:pt x="15" y="83"/>
                      </a:lnTo>
                      <a:lnTo>
                        <a:pt x="13" y="83"/>
                      </a:lnTo>
                      <a:lnTo>
                        <a:pt x="12" y="83"/>
                      </a:lnTo>
                      <a:lnTo>
                        <a:pt x="10" y="83"/>
                      </a:lnTo>
                      <a:lnTo>
                        <a:pt x="8" y="83"/>
                      </a:lnTo>
                      <a:lnTo>
                        <a:pt x="8" y="82"/>
                      </a:lnTo>
                      <a:lnTo>
                        <a:pt x="7" y="82"/>
                      </a:lnTo>
                      <a:lnTo>
                        <a:pt x="7" y="80"/>
                      </a:lnTo>
                      <a:lnTo>
                        <a:pt x="5" y="80"/>
                      </a:lnTo>
                      <a:lnTo>
                        <a:pt x="5" y="78"/>
                      </a:lnTo>
                      <a:lnTo>
                        <a:pt x="7" y="77"/>
                      </a:lnTo>
                      <a:lnTo>
                        <a:pt x="8" y="77"/>
                      </a:lnTo>
                      <a:lnTo>
                        <a:pt x="8" y="75"/>
                      </a:lnTo>
                      <a:lnTo>
                        <a:pt x="10" y="75"/>
                      </a:lnTo>
                      <a:lnTo>
                        <a:pt x="10" y="73"/>
                      </a:lnTo>
                      <a:lnTo>
                        <a:pt x="12" y="73"/>
                      </a:lnTo>
                      <a:lnTo>
                        <a:pt x="12" y="71"/>
                      </a:lnTo>
                      <a:lnTo>
                        <a:pt x="12" y="73"/>
                      </a:lnTo>
                      <a:lnTo>
                        <a:pt x="13" y="71"/>
                      </a:lnTo>
                      <a:lnTo>
                        <a:pt x="15" y="71"/>
                      </a:lnTo>
                      <a:lnTo>
                        <a:pt x="17" y="71"/>
                      </a:lnTo>
                      <a:lnTo>
                        <a:pt x="19" y="71"/>
                      </a:lnTo>
                      <a:lnTo>
                        <a:pt x="19" y="70"/>
                      </a:lnTo>
                      <a:lnTo>
                        <a:pt x="20" y="70"/>
                      </a:lnTo>
                      <a:lnTo>
                        <a:pt x="19" y="68"/>
                      </a:lnTo>
                      <a:lnTo>
                        <a:pt x="17" y="66"/>
                      </a:lnTo>
                      <a:lnTo>
                        <a:pt x="15" y="66"/>
                      </a:lnTo>
                      <a:lnTo>
                        <a:pt x="15" y="65"/>
                      </a:lnTo>
                      <a:lnTo>
                        <a:pt x="15" y="63"/>
                      </a:lnTo>
                      <a:lnTo>
                        <a:pt x="13" y="61"/>
                      </a:lnTo>
                      <a:lnTo>
                        <a:pt x="12" y="61"/>
                      </a:lnTo>
                      <a:lnTo>
                        <a:pt x="12" y="60"/>
                      </a:lnTo>
                      <a:lnTo>
                        <a:pt x="10" y="60"/>
                      </a:lnTo>
                      <a:lnTo>
                        <a:pt x="10" y="58"/>
                      </a:lnTo>
                      <a:lnTo>
                        <a:pt x="8" y="56"/>
                      </a:lnTo>
                      <a:lnTo>
                        <a:pt x="10" y="56"/>
                      </a:lnTo>
                      <a:lnTo>
                        <a:pt x="10" y="54"/>
                      </a:lnTo>
                      <a:lnTo>
                        <a:pt x="8" y="54"/>
                      </a:lnTo>
                      <a:lnTo>
                        <a:pt x="8" y="53"/>
                      </a:lnTo>
                      <a:lnTo>
                        <a:pt x="8" y="51"/>
                      </a:lnTo>
                      <a:lnTo>
                        <a:pt x="8" y="49"/>
                      </a:lnTo>
                      <a:lnTo>
                        <a:pt x="7" y="49"/>
                      </a:lnTo>
                      <a:lnTo>
                        <a:pt x="5" y="49"/>
                      </a:lnTo>
                      <a:lnTo>
                        <a:pt x="5" y="51"/>
                      </a:lnTo>
                      <a:lnTo>
                        <a:pt x="3" y="51"/>
                      </a:lnTo>
                      <a:lnTo>
                        <a:pt x="3" y="49"/>
                      </a:lnTo>
                      <a:lnTo>
                        <a:pt x="3" y="48"/>
                      </a:lnTo>
                      <a:lnTo>
                        <a:pt x="5" y="48"/>
                      </a:lnTo>
                      <a:lnTo>
                        <a:pt x="5" y="46"/>
                      </a:lnTo>
                      <a:lnTo>
                        <a:pt x="7" y="46"/>
                      </a:lnTo>
                      <a:lnTo>
                        <a:pt x="8" y="46"/>
                      </a:lnTo>
                      <a:lnTo>
                        <a:pt x="8" y="44"/>
                      </a:lnTo>
                      <a:lnTo>
                        <a:pt x="10" y="44"/>
                      </a:lnTo>
                      <a:lnTo>
                        <a:pt x="12" y="44"/>
                      </a:lnTo>
                      <a:close/>
                      <a:moveTo>
                        <a:pt x="47" y="66"/>
                      </a:moveTo>
                      <a:lnTo>
                        <a:pt x="49" y="66"/>
                      </a:lnTo>
                      <a:lnTo>
                        <a:pt x="49" y="68"/>
                      </a:lnTo>
                      <a:lnTo>
                        <a:pt x="51" y="68"/>
                      </a:lnTo>
                      <a:lnTo>
                        <a:pt x="51" y="70"/>
                      </a:lnTo>
                      <a:lnTo>
                        <a:pt x="49" y="71"/>
                      </a:lnTo>
                      <a:lnTo>
                        <a:pt x="51" y="71"/>
                      </a:lnTo>
                      <a:lnTo>
                        <a:pt x="49" y="71"/>
                      </a:lnTo>
                      <a:lnTo>
                        <a:pt x="49" y="73"/>
                      </a:lnTo>
                      <a:lnTo>
                        <a:pt x="47" y="75"/>
                      </a:lnTo>
                      <a:lnTo>
                        <a:pt x="46" y="73"/>
                      </a:lnTo>
                      <a:lnTo>
                        <a:pt x="46" y="75"/>
                      </a:lnTo>
                      <a:lnTo>
                        <a:pt x="44" y="75"/>
                      </a:lnTo>
                      <a:lnTo>
                        <a:pt x="42" y="75"/>
                      </a:lnTo>
                      <a:lnTo>
                        <a:pt x="41" y="75"/>
                      </a:lnTo>
                      <a:lnTo>
                        <a:pt x="41" y="73"/>
                      </a:lnTo>
                      <a:lnTo>
                        <a:pt x="39" y="73"/>
                      </a:lnTo>
                      <a:lnTo>
                        <a:pt x="39" y="71"/>
                      </a:lnTo>
                      <a:lnTo>
                        <a:pt x="37" y="71"/>
                      </a:lnTo>
                      <a:lnTo>
                        <a:pt x="39" y="71"/>
                      </a:lnTo>
                      <a:lnTo>
                        <a:pt x="37" y="71"/>
                      </a:lnTo>
                      <a:lnTo>
                        <a:pt x="37" y="70"/>
                      </a:lnTo>
                      <a:lnTo>
                        <a:pt x="39" y="70"/>
                      </a:lnTo>
                      <a:lnTo>
                        <a:pt x="37" y="70"/>
                      </a:lnTo>
                      <a:lnTo>
                        <a:pt x="39" y="68"/>
                      </a:lnTo>
                      <a:lnTo>
                        <a:pt x="39" y="66"/>
                      </a:lnTo>
                      <a:lnTo>
                        <a:pt x="41" y="66"/>
                      </a:lnTo>
                      <a:lnTo>
                        <a:pt x="42" y="66"/>
                      </a:lnTo>
                      <a:lnTo>
                        <a:pt x="44" y="66"/>
                      </a:lnTo>
                      <a:lnTo>
                        <a:pt x="46" y="65"/>
                      </a:lnTo>
                      <a:lnTo>
                        <a:pt x="46" y="66"/>
                      </a:lnTo>
                      <a:lnTo>
                        <a:pt x="46" y="65"/>
                      </a:lnTo>
                      <a:lnTo>
                        <a:pt x="46" y="66"/>
                      </a:lnTo>
                      <a:lnTo>
                        <a:pt x="47" y="65"/>
                      </a:lnTo>
                      <a:lnTo>
                        <a:pt x="47" y="66"/>
                      </a:lnTo>
                      <a:close/>
                      <a:moveTo>
                        <a:pt x="392" y="139"/>
                      </a:moveTo>
                      <a:lnTo>
                        <a:pt x="394" y="139"/>
                      </a:lnTo>
                      <a:lnTo>
                        <a:pt x="394" y="141"/>
                      </a:lnTo>
                      <a:lnTo>
                        <a:pt x="396" y="141"/>
                      </a:lnTo>
                      <a:lnTo>
                        <a:pt x="398" y="141"/>
                      </a:lnTo>
                      <a:lnTo>
                        <a:pt x="398" y="143"/>
                      </a:lnTo>
                      <a:lnTo>
                        <a:pt x="396" y="143"/>
                      </a:lnTo>
                      <a:lnTo>
                        <a:pt x="394" y="143"/>
                      </a:lnTo>
                      <a:lnTo>
                        <a:pt x="394" y="145"/>
                      </a:lnTo>
                      <a:lnTo>
                        <a:pt x="392" y="145"/>
                      </a:lnTo>
                      <a:lnTo>
                        <a:pt x="392" y="146"/>
                      </a:lnTo>
                      <a:lnTo>
                        <a:pt x="392" y="145"/>
                      </a:lnTo>
                      <a:lnTo>
                        <a:pt x="391" y="145"/>
                      </a:lnTo>
                      <a:lnTo>
                        <a:pt x="389" y="145"/>
                      </a:lnTo>
                      <a:lnTo>
                        <a:pt x="389" y="146"/>
                      </a:lnTo>
                      <a:lnTo>
                        <a:pt x="389" y="148"/>
                      </a:lnTo>
                      <a:lnTo>
                        <a:pt x="391" y="148"/>
                      </a:lnTo>
                      <a:lnTo>
                        <a:pt x="391" y="150"/>
                      </a:lnTo>
                      <a:lnTo>
                        <a:pt x="389" y="150"/>
                      </a:lnTo>
                      <a:lnTo>
                        <a:pt x="389" y="151"/>
                      </a:lnTo>
                      <a:lnTo>
                        <a:pt x="387" y="151"/>
                      </a:lnTo>
                      <a:lnTo>
                        <a:pt x="386" y="151"/>
                      </a:lnTo>
                      <a:lnTo>
                        <a:pt x="384" y="150"/>
                      </a:lnTo>
                      <a:lnTo>
                        <a:pt x="386" y="148"/>
                      </a:lnTo>
                      <a:lnTo>
                        <a:pt x="386" y="146"/>
                      </a:lnTo>
                      <a:lnTo>
                        <a:pt x="386" y="145"/>
                      </a:lnTo>
                      <a:lnTo>
                        <a:pt x="386" y="143"/>
                      </a:lnTo>
                      <a:lnTo>
                        <a:pt x="386" y="141"/>
                      </a:lnTo>
                      <a:lnTo>
                        <a:pt x="387" y="141"/>
                      </a:lnTo>
                      <a:lnTo>
                        <a:pt x="389" y="141"/>
                      </a:lnTo>
                      <a:lnTo>
                        <a:pt x="389" y="139"/>
                      </a:lnTo>
                      <a:lnTo>
                        <a:pt x="391" y="139"/>
                      </a:lnTo>
                      <a:lnTo>
                        <a:pt x="392" y="139"/>
                      </a:lnTo>
                      <a:close/>
                      <a:moveTo>
                        <a:pt x="7" y="58"/>
                      </a:moveTo>
                      <a:lnTo>
                        <a:pt x="8" y="58"/>
                      </a:lnTo>
                      <a:lnTo>
                        <a:pt x="8" y="60"/>
                      </a:lnTo>
                      <a:lnTo>
                        <a:pt x="10" y="60"/>
                      </a:lnTo>
                      <a:lnTo>
                        <a:pt x="10" y="61"/>
                      </a:lnTo>
                      <a:lnTo>
                        <a:pt x="10" y="63"/>
                      </a:lnTo>
                      <a:lnTo>
                        <a:pt x="10" y="65"/>
                      </a:lnTo>
                      <a:lnTo>
                        <a:pt x="8" y="65"/>
                      </a:lnTo>
                      <a:lnTo>
                        <a:pt x="8" y="66"/>
                      </a:lnTo>
                      <a:lnTo>
                        <a:pt x="7" y="66"/>
                      </a:lnTo>
                      <a:lnTo>
                        <a:pt x="5" y="66"/>
                      </a:lnTo>
                      <a:lnTo>
                        <a:pt x="3" y="65"/>
                      </a:lnTo>
                      <a:lnTo>
                        <a:pt x="2" y="65"/>
                      </a:lnTo>
                      <a:lnTo>
                        <a:pt x="2" y="63"/>
                      </a:lnTo>
                      <a:lnTo>
                        <a:pt x="0" y="63"/>
                      </a:lnTo>
                      <a:lnTo>
                        <a:pt x="0" y="61"/>
                      </a:lnTo>
                      <a:lnTo>
                        <a:pt x="0" y="60"/>
                      </a:lnTo>
                      <a:lnTo>
                        <a:pt x="2" y="60"/>
                      </a:lnTo>
                      <a:lnTo>
                        <a:pt x="3" y="60"/>
                      </a:lnTo>
                      <a:lnTo>
                        <a:pt x="5" y="58"/>
                      </a:lnTo>
                      <a:lnTo>
                        <a:pt x="7" y="58"/>
                      </a:lnTo>
                      <a:close/>
                      <a:moveTo>
                        <a:pt x="30" y="54"/>
                      </a:moveTo>
                      <a:lnTo>
                        <a:pt x="32" y="54"/>
                      </a:lnTo>
                      <a:lnTo>
                        <a:pt x="34" y="56"/>
                      </a:lnTo>
                      <a:lnTo>
                        <a:pt x="36" y="56"/>
                      </a:lnTo>
                      <a:lnTo>
                        <a:pt x="37" y="56"/>
                      </a:lnTo>
                      <a:lnTo>
                        <a:pt x="37" y="58"/>
                      </a:lnTo>
                      <a:lnTo>
                        <a:pt x="37" y="60"/>
                      </a:lnTo>
                      <a:lnTo>
                        <a:pt x="37" y="61"/>
                      </a:lnTo>
                      <a:lnTo>
                        <a:pt x="36" y="61"/>
                      </a:lnTo>
                      <a:lnTo>
                        <a:pt x="34" y="61"/>
                      </a:lnTo>
                      <a:lnTo>
                        <a:pt x="32" y="61"/>
                      </a:lnTo>
                      <a:lnTo>
                        <a:pt x="30" y="61"/>
                      </a:lnTo>
                      <a:lnTo>
                        <a:pt x="30" y="60"/>
                      </a:lnTo>
                      <a:lnTo>
                        <a:pt x="29" y="60"/>
                      </a:lnTo>
                      <a:lnTo>
                        <a:pt x="27" y="58"/>
                      </a:lnTo>
                      <a:lnTo>
                        <a:pt x="27" y="56"/>
                      </a:lnTo>
                      <a:lnTo>
                        <a:pt x="29" y="56"/>
                      </a:lnTo>
                      <a:lnTo>
                        <a:pt x="29" y="54"/>
                      </a:lnTo>
                      <a:lnTo>
                        <a:pt x="30" y="54"/>
                      </a:lnTo>
                      <a:close/>
                      <a:moveTo>
                        <a:pt x="78" y="71"/>
                      </a:moveTo>
                      <a:lnTo>
                        <a:pt x="80" y="71"/>
                      </a:lnTo>
                      <a:lnTo>
                        <a:pt x="80" y="73"/>
                      </a:lnTo>
                      <a:lnTo>
                        <a:pt x="81" y="73"/>
                      </a:lnTo>
                      <a:lnTo>
                        <a:pt x="81" y="71"/>
                      </a:lnTo>
                      <a:lnTo>
                        <a:pt x="81" y="73"/>
                      </a:lnTo>
                      <a:lnTo>
                        <a:pt x="81" y="75"/>
                      </a:lnTo>
                      <a:lnTo>
                        <a:pt x="80" y="75"/>
                      </a:lnTo>
                      <a:lnTo>
                        <a:pt x="80" y="77"/>
                      </a:lnTo>
                      <a:lnTo>
                        <a:pt x="78" y="77"/>
                      </a:lnTo>
                      <a:lnTo>
                        <a:pt x="78" y="78"/>
                      </a:lnTo>
                      <a:lnTo>
                        <a:pt x="76" y="80"/>
                      </a:lnTo>
                      <a:lnTo>
                        <a:pt x="75" y="80"/>
                      </a:lnTo>
                      <a:lnTo>
                        <a:pt x="73" y="80"/>
                      </a:lnTo>
                      <a:lnTo>
                        <a:pt x="73" y="82"/>
                      </a:lnTo>
                      <a:lnTo>
                        <a:pt x="71" y="82"/>
                      </a:lnTo>
                      <a:lnTo>
                        <a:pt x="70" y="80"/>
                      </a:lnTo>
                      <a:lnTo>
                        <a:pt x="70" y="78"/>
                      </a:lnTo>
                      <a:lnTo>
                        <a:pt x="71" y="78"/>
                      </a:lnTo>
                      <a:lnTo>
                        <a:pt x="71" y="77"/>
                      </a:lnTo>
                      <a:lnTo>
                        <a:pt x="73" y="77"/>
                      </a:lnTo>
                      <a:lnTo>
                        <a:pt x="75" y="77"/>
                      </a:lnTo>
                      <a:lnTo>
                        <a:pt x="75" y="75"/>
                      </a:lnTo>
                      <a:lnTo>
                        <a:pt x="75" y="73"/>
                      </a:lnTo>
                      <a:lnTo>
                        <a:pt x="76" y="73"/>
                      </a:lnTo>
                      <a:lnTo>
                        <a:pt x="78" y="73"/>
                      </a:lnTo>
                      <a:lnTo>
                        <a:pt x="78" y="71"/>
                      </a:lnTo>
                      <a:close/>
                      <a:moveTo>
                        <a:pt x="42" y="90"/>
                      </a:moveTo>
                      <a:lnTo>
                        <a:pt x="44" y="92"/>
                      </a:lnTo>
                      <a:lnTo>
                        <a:pt x="44" y="94"/>
                      </a:lnTo>
                      <a:lnTo>
                        <a:pt x="42" y="94"/>
                      </a:lnTo>
                      <a:lnTo>
                        <a:pt x="42" y="95"/>
                      </a:lnTo>
                      <a:lnTo>
                        <a:pt x="41" y="95"/>
                      </a:lnTo>
                      <a:lnTo>
                        <a:pt x="41" y="94"/>
                      </a:lnTo>
                      <a:lnTo>
                        <a:pt x="39" y="94"/>
                      </a:lnTo>
                      <a:lnTo>
                        <a:pt x="39" y="92"/>
                      </a:lnTo>
                      <a:lnTo>
                        <a:pt x="41" y="92"/>
                      </a:lnTo>
                      <a:lnTo>
                        <a:pt x="41" y="90"/>
                      </a:lnTo>
                      <a:lnTo>
                        <a:pt x="42" y="90"/>
                      </a:lnTo>
                      <a:close/>
                      <a:moveTo>
                        <a:pt x="41" y="36"/>
                      </a:moveTo>
                      <a:lnTo>
                        <a:pt x="42" y="37"/>
                      </a:lnTo>
                      <a:lnTo>
                        <a:pt x="42" y="39"/>
                      </a:lnTo>
                      <a:lnTo>
                        <a:pt x="41" y="39"/>
                      </a:lnTo>
                      <a:lnTo>
                        <a:pt x="39" y="39"/>
                      </a:lnTo>
                      <a:lnTo>
                        <a:pt x="39" y="37"/>
                      </a:lnTo>
                      <a:lnTo>
                        <a:pt x="37" y="37"/>
                      </a:lnTo>
                      <a:lnTo>
                        <a:pt x="39" y="36"/>
                      </a:lnTo>
                      <a:lnTo>
                        <a:pt x="41" y="36"/>
                      </a:lnTo>
                      <a:close/>
                      <a:moveTo>
                        <a:pt x="399" y="138"/>
                      </a:moveTo>
                      <a:lnTo>
                        <a:pt x="399" y="139"/>
                      </a:lnTo>
                      <a:lnTo>
                        <a:pt x="398" y="139"/>
                      </a:lnTo>
                      <a:lnTo>
                        <a:pt x="398" y="138"/>
                      </a:lnTo>
                      <a:lnTo>
                        <a:pt x="398" y="136"/>
                      </a:lnTo>
                      <a:lnTo>
                        <a:pt x="398" y="134"/>
                      </a:lnTo>
                      <a:lnTo>
                        <a:pt x="399" y="133"/>
                      </a:lnTo>
                      <a:lnTo>
                        <a:pt x="399" y="134"/>
                      </a:lnTo>
                      <a:lnTo>
                        <a:pt x="399" y="136"/>
                      </a:lnTo>
                      <a:lnTo>
                        <a:pt x="399" y="138"/>
                      </a:lnTo>
                      <a:close/>
                      <a:moveTo>
                        <a:pt x="432" y="3"/>
                      </a:moveTo>
                      <a:lnTo>
                        <a:pt x="432" y="5"/>
                      </a:lnTo>
                      <a:lnTo>
                        <a:pt x="432" y="7"/>
                      </a:lnTo>
                      <a:lnTo>
                        <a:pt x="430" y="7"/>
                      </a:lnTo>
                      <a:lnTo>
                        <a:pt x="428" y="7"/>
                      </a:lnTo>
                      <a:lnTo>
                        <a:pt x="430" y="5"/>
                      </a:lnTo>
                      <a:lnTo>
                        <a:pt x="428" y="5"/>
                      </a:lnTo>
                      <a:lnTo>
                        <a:pt x="428" y="3"/>
                      </a:lnTo>
                      <a:lnTo>
                        <a:pt x="430" y="3"/>
                      </a:lnTo>
                      <a:lnTo>
                        <a:pt x="430" y="2"/>
                      </a:lnTo>
                      <a:lnTo>
                        <a:pt x="432" y="2"/>
                      </a:lnTo>
                      <a:lnTo>
                        <a:pt x="432" y="3"/>
                      </a:lnTo>
                      <a:close/>
                      <a:moveTo>
                        <a:pt x="394" y="134"/>
                      </a:moveTo>
                      <a:lnTo>
                        <a:pt x="396" y="134"/>
                      </a:lnTo>
                      <a:lnTo>
                        <a:pt x="396" y="136"/>
                      </a:lnTo>
                      <a:lnTo>
                        <a:pt x="394" y="136"/>
                      </a:lnTo>
                      <a:lnTo>
                        <a:pt x="392" y="136"/>
                      </a:lnTo>
                      <a:lnTo>
                        <a:pt x="391" y="136"/>
                      </a:lnTo>
                      <a:lnTo>
                        <a:pt x="392" y="136"/>
                      </a:lnTo>
                      <a:lnTo>
                        <a:pt x="392" y="134"/>
                      </a:lnTo>
                      <a:lnTo>
                        <a:pt x="392" y="133"/>
                      </a:lnTo>
                      <a:lnTo>
                        <a:pt x="394" y="133"/>
                      </a:lnTo>
                      <a:lnTo>
                        <a:pt x="394" y="134"/>
                      </a:lnTo>
                      <a:close/>
                      <a:moveTo>
                        <a:pt x="391" y="162"/>
                      </a:moveTo>
                      <a:lnTo>
                        <a:pt x="391" y="163"/>
                      </a:lnTo>
                      <a:lnTo>
                        <a:pt x="391" y="165"/>
                      </a:lnTo>
                      <a:lnTo>
                        <a:pt x="391" y="163"/>
                      </a:lnTo>
                      <a:lnTo>
                        <a:pt x="389" y="163"/>
                      </a:lnTo>
                      <a:lnTo>
                        <a:pt x="389" y="165"/>
                      </a:lnTo>
                      <a:lnTo>
                        <a:pt x="387" y="163"/>
                      </a:lnTo>
                      <a:lnTo>
                        <a:pt x="386" y="162"/>
                      </a:lnTo>
                      <a:lnTo>
                        <a:pt x="387" y="162"/>
                      </a:lnTo>
                      <a:lnTo>
                        <a:pt x="387" y="163"/>
                      </a:lnTo>
                      <a:lnTo>
                        <a:pt x="389" y="163"/>
                      </a:lnTo>
                      <a:lnTo>
                        <a:pt x="389" y="162"/>
                      </a:lnTo>
                      <a:lnTo>
                        <a:pt x="391" y="162"/>
                      </a:lnTo>
                      <a:close/>
                      <a:moveTo>
                        <a:pt x="403" y="138"/>
                      </a:moveTo>
                      <a:lnTo>
                        <a:pt x="401" y="138"/>
                      </a:lnTo>
                      <a:lnTo>
                        <a:pt x="401" y="136"/>
                      </a:lnTo>
                      <a:lnTo>
                        <a:pt x="401" y="134"/>
                      </a:lnTo>
                      <a:lnTo>
                        <a:pt x="403" y="134"/>
                      </a:lnTo>
                      <a:lnTo>
                        <a:pt x="403" y="136"/>
                      </a:lnTo>
                      <a:lnTo>
                        <a:pt x="403" y="138"/>
                      </a:lnTo>
                      <a:close/>
                      <a:moveTo>
                        <a:pt x="428" y="7"/>
                      </a:moveTo>
                      <a:lnTo>
                        <a:pt x="428" y="8"/>
                      </a:lnTo>
                      <a:lnTo>
                        <a:pt x="430" y="8"/>
                      </a:lnTo>
                      <a:lnTo>
                        <a:pt x="428" y="8"/>
                      </a:lnTo>
                      <a:lnTo>
                        <a:pt x="430" y="8"/>
                      </a:lnTo>
                      <a:lnTo>
                        <a:pt x="430" y="10"/>
                      </a:lnTo>
                      <a:lnTo>
                        <a:pt x="428" y="10"/>
                      </a:lnTo>
                      <a:lnTo>
                        <a:pt x="430" y="10"/>
                      </a:lnTo>
                      <a:lnTo>
                        <a:pt x="428" y="10"/>
                      </a:lnTo>
                      <a:lnTo>
                        <a:pt x="428" y="8"/>
                      </a:lnTo>
                      <a:lnTo>
                        <a:pt x="426" y="8"/>
                      </a:lnTo>
                      <a:lnTo>
                        <a:pt x="426" y="7"/>
                      </a:lnTo>
                      <a:lnTo>
                        <a:pt x="428" y="5"/>
                      </a:lnTo>
                      <a:lnTo>
                        <a:pt x="428" y="7"/>
                      </a:lnTo>
                      <a:close/>
                      <a:moveTo>
                        <a:pt x="392" y="160"/>
                      </a:moveTo>
                      <a:lnTo>
                        <a:pt x="392" y="162"/>
                      </a:lnTo>
                      <a:lnTo>
                        <a:pt x="392" y="163"/>
                      </a:lnTo>
                      <a:lnTo>
                        <a:pt x="391" y="163"/>
                      </a:lnTo>
                      <a:lnTo>
                        <a:pt x="391" y="162"/>
                      </a:lnTo>
                      <a:lnTo>
                        <a:pt x="391" y="160"/>
                      </a:lnTo>
                      <a:lnTo>
                        <a:pt x="392" y="160"/>
                      </a:lnTo>
                      <a:close/>
                      <a:moveTo>
                        <a:pt x="66" y="95"/>
                      </a:moveTo>
                      <a:lnTo>
                        <a:pt x="68" y="94"/>
                      </a:lnTo>
                      <a:lnTo>
                        <a:pt x="68" y="95"/>
                      </a:lnTo>
                      <a:lnTo>
                        <a:pt x="70" y="95"/>
                      </a:lnTo>
                      <a:lnTo>
                        <a:pt x="70" y="97"/>
                      </a:lnTo>
                      <a:lnTo>
                        <a:pt x="68" y="97"/>
                      </a:lnTo>
                      <a:lnTo>
                        <a:pt x="66" y="95"/>
                      </a:lnTo>
                      <a:lnTo>
                        <a:pt x="64" y="95"/>
                      </a:lnTo>
                      <a:lnTo>
                        <a:pt x="66" y="95"/>
                      </a:lnTo>
                      <a:lnTo>
                        <a:pt x="66" y="94"/>
                      </a:lnTo>
                      <a:lnTo>
                        <a:pt x="66" y="95"/>
                      </a:lnTo>
                      <a:close/>
                      <a:moveTo>
                        <a:pt x="30" y="27"/>
                      </a:moveTo>
                      <a:lnTo>
                        <a:pt x="32" y="29"/>
                      </a:lnTo>
                      <a:lnTo>
                        <a:pt x="32" y="31"/>
                      </a:lnTo>
                      <a:lnTo>
                        <a:pt x="30" y="31"/>
                      </a:lnTo>
                      <a:lnTo>
                        <a:pt x="30" y="29"/>
                      </a:lnTo>
                      <a:lnTo>
                        <a:pt x="30" y="27"/>
                      </a:lnTo>
                      <a:close/>
                      <a:moveTo>
                        <a:pt x="394" y="131"/>
                      </a:moveTo>
                      <a:lnTo>
                        <a:pt x="396" y="131"/>
                      </a:lnTo>
                      <a:lnTo>
                        <a:pt x="396" y="133"/>
                      </a:lnTo>
                      <a:lnTo>
                        <a:pt x="396" y="134"/>
                      </a:lnTo>
                      <a:lnTo>
                        <a:pt x="394" y="133"/>
                      </a:lnTo>
                      <a:lnTo>
                        <a:pt x="392" y="133"/>
                      </a:lnTo>
                      <a:lnTo>
                        <a:pt x="392" y="131"/>
                      </a:lnTo>
                      <a:lnTo>
                        <a:pt x="394" y="131"/>
                      </a:lnTo>
                      <a:close/>
                      <a:moveTo>
                        <a:pt x="391" y="145"/>
                      </a:moveTo>
                      <a:lnTo>
                        <a:pt x="392" y="145"/>
                      </a:lnTo>
                      <a:lnTo>
                        <a:pt x="392" y="148"/>
                      </a:lnTo>
                      <a:lnTo>
                        <a:pt x="391" y="148"/>
                      </a:lnTo>
                      <a:lnTo>
                        <a:pt x="391" y="145"/>
                      </a:lnTo>
                      <a:close/>
                      <a:moveTo>
                        <a:pt x="401" y="134"/>
                      </a:moveTo>
                      <a:lnTo>
                        <a:pt x="399" y="134"/>
                      </a:lnTo>
                      <a:lnTo>
                        <a:pt x="399" y="133"/>
                      </a:lnTo>
                      <a:lnTo>
                        <a:pt x="399" y="131"/>
                      </a:lnTo>
                      <a:lnTo>
                        <a:pt x="401" y="131"/>
                      </a:lnTo>
                      <a:lnTo>
                        <a:pt x="401" y="133"/>
                      </a:lnTo>
                      <a:lnTo>
                        <a:pt x="401" y="134"/>
                      </a:lnTo>
                      <a:close/>
                      <a:moveTo>
                        <a:pt x="386" y="162"/>
                      </a:moveTo>
                      <a:lnTo>
                        <a:pt x="386" y="163"/>
                      </a:lnTo>
                      <a:lnTo>
                        <a:pt x="387" y="163"/>
                      </a:lnTo>
                      <a:lnTo>
                        <a:pt x="387" y="165"/>
                      </a:lnTo>
                      <a:lnTo>
                        <a:pt x="386" y="165"/>
                      </a:lnTo>
                      <a:lnTo>
                        <a:pt x="386" y="163"/>
                      </a:lnTo>
                      <a:lnTo>
                        <a:pt x="386" y="162"/>
                      </a:lnTo>
                      <a:close/>
                      <a:moveTo>
                        <a:pt x="394" y="124"/>
                      </a:moveTo>
                      <a:lnTo>
                        <a:pt x="396" y="124"/>
                      </a:lnTo>
                      <a:lnTo>
                        <a:pt x="396" y="128"/>
                      </a:lnTo>
                      <a:lnTo>
                        <a:pt x="394" y="128"/>
                      </a:lnTo>
                      <a:lnTo>
                        <a:pt x="394" y="124"/>
                      </a:lnTo>
                      <a:close/>
                      <a:moveTo>
                        <a:pt x="432" y="0"/>
                      </a:moveTo>
                      <a:lnTo>
                        <a:pt x="433" y="0"/>
                      </a:lnTo>
                      <a:lnTo>
                        <a:pt x="433" y="2"/>
                      </a:lnTo>
                      <a:lnTo>
                        <a:pt x="432" y="2"/>
                      </a:lnTo>
                      <a:lnTo>
                        <a:pt x="432" y="0"/>
                      </a:lnTo>
                      <a:close/>
                      <a:moveTo>
                        <a:pt x="391" y="156"/>
                      </a:moveTo>
                      <a:lnTo>
                        <a:pt x="394" y="156"/>
                      </a:lnTo>
                      <a:lnTo>
                        <a:pt x="394" y="160"/>
                      </a:lnTo>
                      <a:lnTo>
                        <a:pt x="391" y="160"/>
                      </a:lnTo>
                      <a:lnTo>
                        <a:pt x="391" y="156"/>
                      </a:lnTo>
                      <a:close/>
                      <a:moveTo>
                        <a:pt x="46" y="63"/>
                      </a:moveTo>
                      <a:lnTo>
                        <a:pt x="47" y="63"/>
                      </a:lnTo>
                      <a:lnTo>
                        <a:pt x="47" y="65"/>
                      </a:lnTo>
                      <a:lnTo>
                        <a:pt x="46" y="65"/>
                      </a:lnTo>
                      <a:lnTo>
                        <a:pt x="46" y="63"/>
                      </a:lnTo>
                      <a:close/>
                      <a:moveTo>
                        <a:pt x="53" y="77"/>
                      </a:moveTo>
                      <a:lnTo>
                        <a:pt x="56" y="77"/>
                      </a:lnTo>
                      <a:lnTo>
                        <a:pt x="53" y="77"/>
                      </a:lnTo>
                      <a:close/>
                      <a:moveTo>
                        <a:pt x="394" y="138"/>
                      </a:moveTo>
                      <a:lnTo>
                        <a:pt x="396" y="138"/>
                      </a:lnTo>
                      <a:lnTo>
                        <a:pt x="396" y="139"/>
                      </a:lnTo>
                      <a:lnTo>
                        <a:pt x="394" y="139"/>
                      </a:lnTo>
                      <a:lnTo>
                        <a:pt x="394" y="138"/>
                      </a:lnTo>
                      <a:close/>
                      <a:moveTo>
                        <a:pt x="398" y="122"/>
                      </a:moveTo>
                      <a:lnTo>
                        <a:pt x="399" y="122"/>
                      </a:lnTo>
                      <a:lnTo>
                        <a:pt x="399" y="124"/>
                      </a:lnTo>
                      <a:lnTo>
                        <a:pt x="398" y="124"/>
                      </a:lnTo>
                      <a:lnTo>
                        <a:pt x="398" y="122"/>
                      </a:lnTo>
                      <a:close/>
                      <a:moveTo>
                        <a:pt x="384" y="162"/>
                      </a:moveTo>
                      <a:lnTo>
                        <a:pt x="386" y="162"/>
                      </a:lnTo>
                      <a:lnTo>
                        <a:pt x="386" y="165"/>
                      </a:lnTo>
                      <a:lnTo>
                        <a:pt x="384" y="165"/>
                      </a:lnTo>
                      <a:lnTo>
                        <a:pt x="384" y="162"/>
                      </a:lnTo>
                      <a:close/>
                      <a:moveTo>
                        <a:pt x="394" y="131"/>
                      </a:moveTo>
                      <a:lnTo>
                        <a:pt x="396" y="131"/>
                      </a:lnTo>
                      <a:lnTo>
                        <a:pt x="394" y="131"/>
                      </a:lnTo>
                      <a:close/>
                      <a:moveTo>
                        <a:pt x="391" y="129"/>
                      </a:moveTo>
                      <a:lnTo>
                        <a:pt x="392" y="129"/>
                      </a:lnTo>
                      <a:lnTo>
                        <a:pt x="392" y="133"/>
                      </a:lnTo>
                      <a:lnTo>
                        <a:pt x="391" y="133"/>
                      </a:lnTo>
                      <a:lnTo>
                        <a:pt x="391" y="129"/>
                      </a:lnTo>
                      <a:close/>
                      <a:moveTo>
                        <a:pt x="34" y="68"/>
                      </a:moveTo>
                      <a:lnTo>
                        <a:pt x="34" y="70"/>
                      </a:lnTo>
                      <a:lnTo>
                        <a:pt x="34" y="68"/>
                      </a:lnTo>
                      <a:close/>
                      <a:moveTo>
                        <a:pt x="392" y="129"/>
                      </a:moveTo>
                      <a:lnTo>
                        <a:pt x="394" y="129"/>
                      </a:lnTo>
                      <a:lnTo>
                        <a:pt x="394" y="131"/>
                      </a:lnTo>
                      <a:lnTo>
                        <a:pt x="392" y="131"/>
                      </a:lnTo>
                      <a:lnTo>
                        <a:pt x="392" y="129"/>
                      </a:lnTo>
                      <a:close/>
                      <a:moveTo>
                        <a:pt x="396" y="128"/>
                      </a:moveTo>
                      <a:lnTo>
                        <a:pt x="396" y="129"/>
                      </a:lnTo>
                      <a:lnTo>
                        <a:pt x="396" y="128"/>
                      </a:lnTo>
                      <a:close/>
                      <a:moveTo>
                        <a:pt x="387" y="162"/>
                      </a:moveTo>
                      <a:lnTo>
                        <a:pt x="389" y="162"/>
                      </a:lnTo>
                      <a:lnTo>
                        <a:pt x="389" y="163"/>
                      </a:lnTo>
                      <a:lnTo>
                        <a:pt x="387" y="163"/>
                      </a:lnTo>
                      <a:lnTo>
                        <a:pt x="387" y="162"/>
                      </a:lnTo>
                      <a:close/>
                      <a:moveTo>
                        <a:pt x="396" y="131"/>
                      </a:moveTo>
                      <a:lnTo>
                        <a:pt x="398" y="131"/>
                      </a:lnTo>
                      <a:lnTo>
                        <a:pt x="398" y="133"/>
                      </a:lnTo>
                      <a:lnTo>
                        <a:pt x="396" y="133"/>
                      </a:lnTo>
                      <a:lnTo>
                        <a:pt x="396" y="131"/>
                      </a:lnTo>
                      <a:close/>
                      <a:moveTo>
                        <a:pt x="392" y="136"/>
                      </a:moveTo>
                      <a:lnTo>
                        <a:pt x="396" y="136"/>
                      </a:lnTo>
                      <a:lnTo>
                        <a:pt x="396" y="138"/>
                      </a:lnTo>
                      <a:lnTo>
                        <a:pt x="392" y="138"/>
                      </a:lnTo>
                      <a:lnTo>
                        <a:pt x="392" y="136"/>
                      </a:lnTo>
                      <a:close/>
                      <a:moveTo>
                        <a:pt x="58" y="37"/>
                      </a:moveTo>
                      <a:lnTo>
                        <a:pt x="58" y="39"/>
                      </a:lnTo>
                      <a:lnTo>
                        <a:pt x="58" y="37"/>
                      </a:lnTo>
                      <a:close/>
                      <a:moveTo>
                        <a:pt x="394" y="128"/>
                      </a:moveTo>
                      <a:lnTo>
                        <a:pt x="396" y="128"/>
                      </a:lnTo>
                      <a:lnTo>
                        <a:pt x="396" y="129"/>
                      </a:lnTo>
                      <a:lnTo>
                        <a:pt x="394" y="129"/>
                      </a:lnTo>
                      <a:lnTo>
                        <a:pt x="394" y="128"/>
                      </a:lnTo>
                      <a:close/>
                      <a:moveTo>
                        <a:pt x="392" y="36"/>
                      </a:moveTo>
                      <a:lnTo>
                        <a:pt x="394" y="36"/>
                      </a:lnTo>
                      <a:lnTo>
                        <a:pt x="392" y="36"/>
                      </a:lnTo>
                      <a:close/>
                      <a:moveTo>
                        <a:pt x="394" y="41"/>
                      </a:moveTo>
                      <a:lnTo>
                        <a:pt x="396" y="41"/>
                      </a:lnTo>
                      <a:lnTo>
                        <a:pt x="396" y="43"/>
                      </a:lnTo>
                      <a:lnTo>
                        <a:pt x="394" y="43"/>
                      </a:lnTo>
                      <a:lnTo>
                        <a:pt x="394" y="41"/>
                      </a:lnTo>
                      <a:close/>
                      <a:moveTo>
                        <a:pt x="392" y="136"/>
                      </a:moveTo>
                      <a:lnTo>
                        <a:pt x="392" y="138"/>
                      </a:lnTo>
                      <a:lnTo>
                        <a:pt x="392" y="136"/>
                      </a:lnTo>
                      <a:close/>
                      <a:moveTo>
                        <a:pt x="391" y="146"/>
                      </a:moveTo>
                      <a:lnTo>
                        <a:pt x="391" y="148"/>
                      </a:lnTo>
                      <a:lnTo>
                        <a:pt x="391" y="146"/>
                      </a:lnTo>
                      <a:close/>
                      <a:moveTo>
                        <a:pt x="396" y="129"/>
                      </a:moveTo>
                      <a:lnTo>
                        <a:pt x="398" y="129"/>
                      </a:lnTo>
                      <a:lnTo>
                        <a:pt x="398" y="131"/>
                      </a:lnTo>
                      <a:lnTo>
                        <a:pt x="396" y="131"/>
                      </a:lnTo>
                      <a:lnTo>
                        <a:pt x="396" y="129"/>
                      </a:lnTo>
                      <a:close/>
                      <a:moveTo>
                        <a:pt x="394" y="129"/>
                      </a:moveTo>
                      <a:lnTo>
                        <a:pt x="396" y="129"/>
                      </a:lnTo>
                      <a:lnTo>
                        <a:pt x="396" y="131"/>
                      </a:lnTo>
                      <a:lnTo>
                        <a:pt x="394" y="131"/>
                      </a:lnTo>
                      <a:lnTo>
                        <a:pt x="394" y="129"/>
                      </a:lnTo>
                      <a:close/>
                      <a:moveTo>
                        <a:pt x="391" y="146"/>
                      </a:moveTo>
                      <a:lnTo>
                        <a:pt x="391" y="148"/>
                      </a:lnTo>
                      <a:lnTo>
                        <a:pt x="391" y="146"/>
                      </a:lnTo>
                      <a:close/>
                      <a:moveTo>
                        <a:pt x="389" y="145"/>
                      </a:moveTo>
                      <a:lnTo>
                        <a:pt x="391" y="145"/>
                      </a:lnTo>
                      <a:lnTo>
                        <a:pt x="391" y="146"/>
                      </a:lnTo>
                      <a:lnTo>
                        <a:pt x="389" y="146"/>
                      </a:lnTo>
                      <a:lnTo>
                        <a:pt x="389" y="145"/>
                      </a:lnTo>
                      <a:close/>
                      <a:moveTo>
                        <a:pt x="357" y="92"/>
                      </a:moveTo>
                      <a:lnTo>
                        <a:pt x="359" y="92"/>
                      </a:lnTo>
                      <a:lnTo>
                        <a:pt x="357" y="92"/>
                      </a:lnTo>
                      <a:close/>
                      <a:moveTo>
                        <a:pt x="389" y="145"/>
                      </a:moveTo>
                      <a:lnTo>
                        <a:pt x="389" y="146"/>
                      </a:lnTo>
                      <a:lnTo>
                        <a:pt x="389" y="145"/>
                      </a:lnTo>
                      <a:close/>
                      <a:moveTo>
                        <a:pt x="396" y="131"/>
                      </a:moveTo>
                      <a:lnTo>
                        <a:pt x="398" y="131"/>
                      </a:lnTo>
                      <a:lnTo>
                        <a:pt x="396" y="131"/>
                      </a:lnTo>
                      <a:close/>
                      <a:moveTo>
                        <a:pt x="433" y="0"/>
                      </a:moveTo>
                      <a:lnTo>
                        <a:pt x="433" y="2"/>
                      </a:lnTo>
                      <a:lnTo>
                        <a:pt x="433" y="0"/>
                      </a:lnTo>
                      <a:close/>
                      <a:moveTo>
                        <a:pt x="391" y="34"/>
                      </a:moveTo>
                      <a:lnTo>
                        <a:pt x="392" y="34"/>
                      </a:lnTo>
                      <a:lnTo>
                        <a:pt x="391" y="34"/>
                      </a:lnTo>
                      <a:close/>
                      <a:moveTo>
                        <a:pt x="396" y="129"/>
                      </a:moveTo>
                      <a:lnTo>
                        <a:pt x="398" y="129"/>
                      </a:lnTo>
                      <a:lnTo>
                        <a:pt x="396" y="129"/>
                      </a:lnTo>
                      <a:close/>
                      <a:moveTo>
                        <a:pt x="391" y="134"/>
                      </a:moveTo>
                      <a:lnTo>
                        <a:pt x="392" y="134"/>
                      </a:lnTo>
                      <a:lnTo>
                        <a:pt x="392" y="136"/>
                      </a:lnTo>
                      <a:lnTo>
                        <a:pt x="391" y="136"/>
                      </a:lnTo>
                      <a:lnTo>
                        <a:pt x="391" y="134"/>
                      </a:lnTo>
                      <a:close/>
                      <a:moveTo>
                        <a:pt x="399" y="134"/>
                      </a:moveTo>
                      <a:lnTo>
                        <a:pt x="401" y="134"/>
                      </a:lnTo>
                      <a:lnTo>
                        <a:pt x="399" y="134"/>
                      </a:lnTo>
                      <a:close/>
                      <a:moveTo>
                        <a:pt x="428" y="8"/>
                      </a:moveTo>
                      <a:lnTo>
                        <a:pt x="428" y="10"/>
                      </a:lnTo>
                      <a:lnTo>
                        <a:pt x="428" y="8"/>
                      </a:lnTo>
                      <a:close/>
                      <a:moveTo>
                        <a:pt x="386" y="163"/>
                      </a:moveTo>
                      <a:lnTo>
                        <a:pt x="386" y="165"/>
                      </a:lnTo>
                      <a:lnTo>
                        <a:pt x="386" y="163"/>
                      </a:lnTo>
                      <a:close/>
                      <a:moveTo>
                        <a:pt x="46" y="61"/>
                      </a:moveTo>
                      <a:lnTo>
                        <a:pt x="47" y="61"/>
                      </a:lnTo>
                      <a:lnTo>
                        <a:pt x="47" y="63"/>
                      </a:lnTo>
                      <a:lnTo>
                        <a:pt x="46" y="63"/>
                      </a:lnTo>
                      <a:lnTo>
                        <a:pt x="46" y="61"/>
                      </a:lnTo>
                      <a:close/>
                      <a:moveTo>
                        <a:pt x="396" y="129"/>
                      </a:moveTo>
                      <a:lnTo>
                        <a:pt x="396" y="131"/>
                      </a:lnTo>
                      <a:lnTo>
                        <a:pt x="396" y="129"/>
                      </a:lnTo>
                      <a:close/>
                      <a:moveTo>
                        <a:pt x="433" y="0"/>
                      </a:moveTo>
                      <a:lnTo>
                        <a:pt x="433" y="2"/>
                      </a:lnTo>
                      <a:lnTo>
                        <a:pt x="433" y="0"/>
                      </a:lnTo>
                      <a:close/>
                      <a:moveTo>
                        <a:pt x="387" y="138"/>
                      </a:moveTo>
                      <a:lnTo>
                        <a:pt x="387" y="139"/>
                      </a:lnTo>
                      <a:lnTo>
                        <a:pt x="387" y="138"/>
                      </a:lnTo>
                      <a:close/>
                      <a:moveTo>
                        <a:pt x="396" y="128"/>
                      </a:moveTo>
                      <a:lnTo>
                        <a:pt x="396" y="129"/>
                      </a:lnTo>
                      <a:lnTo>
                        <a:pt x="396" y="128"/>
                      </a:lnTo>
                      <a:close/>
                      <a:moveTo>
                        <a:pt x="386" y="165"/>
                      </a:moveTo>
                      <a:lnTo>
                        <a:pt x="387" y="165"/>
                      </a:lnTo>
                      <a:lnTo>
                        <a:pt x="386" y="165"/>
                      </a:lnTo>
                      <a:close/>
                      <a:moveTo>
                        <a:pt x="384" y="163"/>
                      </a:moveTo>
                      <a:lnTo>
                        <a:pt x="386" y="163"/>
                      </a:lnTo>
                      <a:lnTo>
                        <a:pt x="384" y="163"/>
                      </a:lnTo>
                      <a:close/>
                    </a:path>
                  </a:pathLst>
                </a:custGeom>
                <a:solidFill>
                  <a:schemeClr val="accent1"/>
                </a:solidFill>
                <a:ln w="6350">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grpSp>
      </p:grpSp>
      <p:cxnSp>
        <p:nvCxnSpPr>
          <p:cNvPr id="112" name="Straight Connector 111">
            <a:extLst>
              <a:ext uri="{FF2B5EF4-FFF2-40B4-BE49-F238E27FC236}">
                <a16:creationId xmlns:a16="http://schemas.microsoft.com/office/drawing/2014/main" id="{5F66926C-576E-AABA-7FC9-3DE28A7C9518}"/>
              </a:ext>
            </a:extLst>
          </p:cNvPr>
          <p:cNvCxnSpPr>
            <a:cxnSpLocks/>
          </p:cNvCxnSpPr>
          <p:nvPr/>
        </p:nvCxnSpPr>
        <p:spPr>
          <a:xfrm>
            <a:off x="6033969" y="1370014"/>
            <a:ext cx="0" cy="4991101"/>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59903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 hidden="1">
            <a:extLst>
              <a:ext uri="{FF2B5EF4-FFF2-40B4-BE49-F238E27FC236}">
                <a16:creationId xmlns:a16="http://schemas.microsoft.com/office/drawing/2014/main" id="{578D55DE-3BB1-3BCB-BC1B-44EF337F1908}"/>
              </a:ext>
            </a:extLst>
          </p:cNvPr>
          <p:cNvGraphicFramePr>
            <a:graphicFrameLocks noChangeAspect="1"/>
          </p:cNvGraphicFramePr>
          <p:nvPr>
            <p:custDataLst>
              <p:tags r:id="rId1"/>
            </p:custDataLst>
            <p:extLst>
              <p:ext uri="{D42A27DB-BD31-4B8C-83A1-F6EECF244321}">
                <p14:modId xmlns:p14="http://schemas.microsoft.com/office/powerpoint/2010/main" val="41407345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0" imgW="395" imgH="396" progId="TCLayout.ActiveDocument.1">
                  <p:embed/>
                </p:oleObj>
              </mc:Choice>
              <mc:Fallback>
                <p:oleObj name="think-cell Slide" r:id="rId60" imgW="395" imgH="396" progId="TCLayout.ActiveDocument.1">
                  <p:embed/>
                  <p:pic>
                    <p:nvPicPr>
                      <p:cNvPr id="15" name="Object 1" hidden="1">
                        <a:extLst>
                          <a:ext uri="{FF2B5EF4-FFF2-40B4-BE49-F238E27FC236}">
                            <a16:creationId xmlns:a16="http://schemas.microsoft.com/office/drawing/2014/main" id="{578D55DE-3BB1-3BCB-BC1B-44EF337F1908}"/>
                          </a:ext>
                        </a:extLst>
                      </p:cNvPr>
                      <p:cNvPicPr/>
                      <p:nvPr/>
                    </p:nvPicPr>
                    <p:blipFill>
                      <a:blip r:embed="rId61"/>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idx="4294967295"/>
          </p:nvPr>
        </p:nvSpPr>
        <p:spPr>
          <a:xfrm>
            <a:off x="262527" y="236449"/>
            <a:ext cx="9166496" cy="830997"/>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ctr" anchorCtr="0">
            <a:spAutoFit/>
          </a:bodyPr>
          <a:lstStyle/>
          <a:p>
            <a:r>
              <a:rPr lang="en-CA" sz="2400" dirty="0"/>
              <a:t>Argentina hosts large gold mines from top gold producers concentrated in key mining hubs – Santa Cruz, San Juan and Salta</a:t>
            </a:r>
          </a:p>
        </p:txBody>
      </p:sp>
      <p:sp>
        <p:nvSpPr>
          <p:cNvPr id="51" name="5. Source">
            <a:extLst>
              <a:ext uri="{FF2B5EF4-FFF2-40B4-BE49-F238E27FC236}">
                <a16:creationId xmlns:a16="http://schemas.microsoft.com/office/drawing/2014/main" id="{FEA89F67-585A-557F-A85D-1AAFAD031886}"/>
              </a:ext>
            </a:extLst>
          </p:cNvPr>
          <p:cNvSpPr txBox="1"/>
          <p:nvPr>
            <p:custDataLst>
              <p:tags r:id="rId2"/>
            </p:custDataLst>
          </p:nvPr>
        </p:nvSpPr>
        <p:spPr>
          <a:xfrm>
            <a:off x="346356"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ource: CIA World Factbook, World Bank WDI, IMF (WEO), Oxford Economics, </a:t>
            </a:r>
            <a:r>
              <a:rPr kumimoji="0" lang="en-US" sz="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MineSpans</a:t>
            </a: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en-US" sz="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Dentos</a:t>
            </a: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Global Mining Guide, </a:t>
            </a:r>
            <a:r>
              <a:rPr kumimoji="0" lang="en-US" sz="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Lexology</a:t>
            </a: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press search</a:t>
            </a:r>
          </a:p>
        </p:txBody>
      </p:sp>
      <p:cxnSp>
        <p:nvCxnSpPr>
          <p:cNvPr id="34" name="Straight Connector 33">
            <a:extLst>
              <a:ext uri="{FF2B5EF4-FFF2-40B4-BE49-F238E27FC236}">
                <a16:creationId xmlns:a16="http://schemas.microsoft.com/office/drawing/2014/main" id="{EB3C492B-2B23-BBB8-FD5D-B1EF650D1AA8}"/>
              </a:ext>
            </a:extLst>
          </p:cNvPr>
          <p:cNvCxnSpPr>
            <a:cxnSpLocks/>
          </p:cNvCxnSpPr>
          <p:nvPr>
            <p:custDataLst>
              <p:tags r:id="rId3"/>
            </p:custDataLst>
          </p:nvPr>
        </p:nvCxnSpPr>
        <p:spPr>
          <a:xfrm>
            <a:off x="346074" y="4268329"/>
            <a:ext cx="5524265" cy="0"/>
          </a:xfrm>
          <a:prstGeom prst="line">
            <a:avLst/>
          </a:prstGeom>
          <a:ln w="6350">
            <a:solidFill>
              <a:srgbClr val="757575"/>
            </a:solidFill>
            <a:prstDash val="soli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D80A1D05-FAF3-BED8-FD5C-2BE9D20B7596}"/>
              </a:ext>
            </a:extLst>
          </p:cNvPr>
          <p:cNvCxnSpPr>
            <a:cxnSpLocks/>
          </p:cNvCxnSpPr>
          <p:nvPr>
            <p:custDataLst>
              <p:tags r:id="rId4"/>
            </p:custDataLst>
          </p:nvPr>
        </p:nvCxnSpPr>
        <p:spPr>
          <a:xfrm>
            <a:off x="346074" y="2527291"/>
            <a:ext cx="5524265" cy="0"/>
          </a:xfrm>
          <a:prstGeom prst="line">
            <a:avLst/>
          </a:prstGeom>
          <a:ln w="6350">
            <a:solidFill>
              <a:srgbClr val="757575"/>
            </a:solidFill>
            <a:prstDash val="soli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E48FF427-B204-0939-2F10-F61E62D6A4AB}"/>
              </a:ext>
            </a:extLst>
          </p:cNvPr>
          <p:cNvCxnSpPr>
            <a:cxnSpLocks/>
          </p:cNvCxnSpPr>
          <p:nvPr>
            <p:custDataLst>
              <p:tags r:id="rId5"/>
            </p:custDataLst>
          </p:nvPr>
        </p:nvCxnSpPr>
        <p:spPr>
          <a:xfrm>
            <a:off x="346074" y="3536240"/>
            <a:ext cx="5524265" cy="0"/>
          </a:xfrm>
          <a:prstGeom prst="line">
            <a:avLst/>
          </a:prstGeom>
          <a:ln w="6350">
            <a:solidFill>
              <a:srgbClr val="757575"/>
            </a:solidFill>
            <a:prstDash val="soli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64A3520-D2D9-CE31-EF86-4AF475BF887E}"/>
              </a:ext>
            </a:extLst>
          </p:cNvPr>
          <p:cNvCxnSpPr>
            <a:cxnSpLocks/>
          </p:cNvCxnSpPr>
          <p:nvPr>
            <p:custDataLst>
              <p:tags r:id="rId6"/>
            </p:custDataLst>
          </p:nvPr>
        </p:nvCxnSpPr>
        <p:spPr>
          <a:xfrm>
            <a:off x="6197600" y="3037015"/>
            <a:ext cx="5689601" cy="0"/>
          </a:xfrm>
          <a:prstGeom prst="line">
            <a:avLst/>
          </a:prstGeom>
          <a:ln w="6350">
            <a:solidFill>
              <a:srgbClr val="757575"/>
            </a:solidFill>
            <a:prstDash val="solid"/>
          </a:ln>
        </p:spPr>
        <p:style>
          <a:lnRef idx="1">
            <a:schemeClr val="accent1"/>
          </a:lnRef>
          <a:fillRef idx="0">
            <a:schemeClr val="accent1"/>
          </a:fillRef>
          <a:effectRef idx="0">
            <a:schemeClr val="accent1"/>
          </a:effectRef>
          <a:fontRef idx="minor">
            <a:schemeClr val="tx1"/>
          </a:fontRef>
        </p:style>
      </p:cxnSp>
      <p:sp>
        <p:nvSpPr>
          <p:cNvPr id="42" name="Rectangle 8">
            <a:extLst>
              <a:ext uri="{FF2B5EF4-FFF2-40B4-BE49-F238E27FC236}">
                <a16:creationId xmlns:a16="http://schemas.microsoft.com/office/drawing/2014/main" id="{EF0C4F77-5819-4FF8-28E6-3CC6E87DC0F5}"/>
              </a:ext>
            </a:extLst>
          </p:cNvPr>
          <p:cNvSpPr txBox="1">
            <a:spLocks/>
          </p:cNvSpPr>
          <p:nvPr>
            <p:custDataLst>
              <p:tags r:id="rId7"/>
            </p:custDataLst>
          </p:nvPr>
        </p:nvSpPr>
        <p:spPr>
          <a:xfrm>
            <a:off x="6197598" y="3097327"/>
            <a:ext cx="896621" cy="1900766"/>
          </a:xfrm>
          <a:prstGeom prst="rect">
            <a:avLst/>
          </a:prstGeom>
          <a:solidFill>
            <a:schemeClr val="accent1"/>
          </a:solidFill>
          <a:ln w="9525">
            <a:noFill/>
            <a:miter lim="800000"/>
            <a:headEnd/>
            <a:tailEnd/>
          </a:ln>
          <a:effectLst/>
        </p:spPr>
        <p:txBody>
          <a:bodyPr vert="horz" wrap="square" lIns="36576" tIns="76200" rIns="36576" bIns="76200" numCol="1" anchor="ctr" anchorCtr="0" compatLnSpc="1">
            <a:prstTxWarp prst="textNoShape">
              <a:avLst/>
            </a:prstTxWarp>
            <a:noAutofit/>
          </a:bodyPr>
          <a:lstStyle>
            <a:defPPr>
              <a:defRPr lang="en-US"/>
            </a:defPPr>
            <a:lvl1pPr marL="0" lvl="0" indent="0" defTabSz="913526" eaLnBrk="1" hangingPunct="1">
              <a:buClr>
                <a:schemeClr val="tx2"/>
              </a:buClr>
              <a:defRPr sz="1000" b="1"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Fiscal and regulatory terms relevant to gold industry</a:t>
            </a:r>
            <a:endParaRPr kumimoji="0" lang="en-CA"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endParaRPr>
          </a:p>
        </p:txBody>
      </p:sp>
      <p:sp>
        <p:nvSpPr>
          <p:cNvPr id="93" name="TextBox 92">
            <a:extLst>
              <a:ext uri="{FF2B5EF4-FFF2-40B4-BE49-F238E27FC236}">
                <a16:creationId xmlns:a16="http://schemas.microsoft.com/office/drawing/2014/main" id="{973EABFE-AA29-2CE1-B02E-CAAF3B875086}"/>
              </a:ext>
            </a:extLst>
          </p:cNvPr>
          <p:cNvSpPr txBox="1">
            <a:spLocks/>
          </p:cNvSpPr>
          <p:nvPr/>
        </p:nvSpPr>
        <p:spPr>
          <a:xfrm>
            <a:off x="7174991" y="3097327"/>
            <a:ext cx="4712209" cy="180106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The main legal rules regulating the mining industry arise from the following statutes: (i) </a:t>
            </a: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The National Constitution</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ii) </a:t>
            </a: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The Mining Treaty between Argentina and Chile</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iii) </a:t>
            </a: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The National Mining Code (NMC)</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iv) </a:t>
            </a: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Law 24,585 </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specific environmental title for mining included in the NMC); (v) </a:t>
            </a: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General Environmental Law No. 25,675</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vi) </a:t>
            </a: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Law 24,196 </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promotional legal regime to which all of the provinces have adhered)</a:t>
            </a:r>
          </a:p>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Special tax regime that establishes: (i) the financing or </a:t>
            </a: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reimbursement of the value-added tax </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payments made by the mining companies; (ii) a </a:t>
            </a: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30 years tax stability period </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for the taxes applicable at the time of submitting the feasibility report; (iii) the </a:t>
            </a: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right to deduct each year </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100 percent of the amount invested in several mining activities; (iv) the right </a:t>
            </a: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to accelerated depreciation benefits</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v) the </a:t>
            </a: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exemption from paying income taxes </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derived from the revenues of mines and mining rights, used as payment for the subscription of shares of registered beneficiaries companies, (vi) </a:t>
            </a: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exemption on duties and other charges </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about the import of capital assets and other goods and (vii) </a:t>
            </a: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a 3%cap on royalties</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along with other benefits.</a:t>
            </a:r>
          </a:p>
        </p:txBody>
      </p:sp>
      <p:grpSp>
        <p:nvGrpSpPr>
          <p:cNvPr id="49" name="Group 48">
            <a:extLst>
              <a:ext uri="{FF2B5EF4-FFF2-40B4-BE49-F238E27FC236}">
                <a16:creationId xmlns:a16="http://schemas.microsoft.com/office/drawing/2014/main" id="{B12E6A13-DA74-D9E0-314B-11BF8E668C84}"/>
              </a:ext>
            </a:extLst>
          </p:cNvPr>
          <p:cNvGrpSpPr/>
          <p:nvPr/>
        </p:nvGrpSpPr>
        <p:grpSpPr>
          <a:xfrm>
            <a:off x="346075" y="3598408"/>
            <a:ext cx="5524257" cy="607753"/>
            <a:chOff x="346075" y="3587975"/>
            <a:chExt cx="5524257" cy="607753"/>
          </a:xfrm>
        </p:grpSpPr>
        <p:sp>
          <p:nvSpPr>
            <p:cNvPr id="33" name="Rectangle 8">
              <a:extLst>
                <a:ext uri="{FF2B5EF4-FFF2-40B4-BE49-F238E27FC236}">
                  <a16:creationId xmlns:a16="http://schemas.microsoft.com/office/drawing/2014/main" id="{CB027349-3B9C-8384-4834-48368D61E2E8}"/>
                </a:ext>
              </a:extLst>
            </p:cNvPr>
            <p:cNvSpPr txBox="1">
              <a:spLocks/>
            </p:cNvSpPr>
            <p:nvPr>
              <p:custDataLst>
                <p:tags r:id="rId57"/>
              </p:custDataLst>
            </p:nvPr>
          </p:nvSpPr>
          <p:spPr>
            <a:xfrm>
              <a:off x="346075" y="3587975"/>
              <a:ext cx="1194435" cy="606315"/>
            </a:xfrm>
            <a:prstGeom prst="rect">
              <a:avLst/>
            </a:prstGeom>
            <a:solidFill>
              <a:schemeClr val="accent1"/>
            </a:solidFill>
            <a:ln w="9525">
              <a:noFill/>
              <a:miter lim="800000"/>
              <a:headEnd/>
              <a:tailEnd/>
            </a:ln>
            <a:effectLst/>
          </p:spPr>
          <p:txBody>
            <a:bodyPr vert="horz" wrap="square" lIns="36576" tIns="76200" rIns="36576" bIns="76200" numCol="1" anchor="ctr" anchorCtr="0" compatLnSpc="1">
              <a:prstTxWarp prst="textNoShape">
                <a:avLst/>
              </a:prstTxWarp>
              <a:noAutofit/>
            </a:bodyPr>
            <a:lstStyle>
              <a:defPPr>
                <a:defRPr lang="en-US"/>
              </a:defPPr>
              <a:lvl1pPr marL="0" lvl="0" indent="0" defTabSz="913526" eaLnBrk="1" hangingPunct="1">
                <a:buClr>
                  <a:schemeClr val="tx2"/>
                </a:buClr>
                <a:defRPr sz="1000" b="1"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Comparable opera-</a:t>
              </a:r>
              <a:r>
                <a:rPr kumimoji="0" lang="en-US" sz="1000" b="1" i="0" u="none" strike="noStrike" kern="1200" cap="none" spc="0" normalizeH="0" baseline="0" noProof="0" dirty="0" err="1">
                  <a:ln>
                    <a:noFill/>
                  </a:ln>
                  <a:solidFill>
                    <a:srgbClr val="FFFFFF"/>
                  </a:solidFill>
                  <a:effectLst/>
                  <a:uLnTx/>
                  <a:uFillTx/>
                  <a:latin typeface="Calibri" panose="020F0502020204030204" pitchFamily="34" charset="0"/>
                  <a:ea typeface="ＭＳ Ｐゴシック"/>
                  <a:cs typeface="Calibri" panose="020F0502020204030204" pitchFamily="34" charset="0"/>
                </a:rPr>
                <a:t>tional</a:t>
              </a: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 environments</a:t>
              </a:r>
              <a:endParaRPr kumimoji="0" lang="en-CA"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endParaRPr>
            </a:p>
          </p:txBody>
        </p:sp>
        <p:sp>
          <p:nvSpPr>
            <p:cNvPr id="91" name="TextBox 90">
              <a:extLst>
                <a:ext uri="{FF2B5EF4-FFF2-40B4-BE49-F238E27FC236}">
                  <a16:creationId xmlns:a16="http://schemas.microsoft.com/office/drawing/2014/main" id="{BEE782B9-C50C-7145-E203-58E3D3C475B7}"/>
                </a:ext>
              </a:extLst>
            </p:cNvPr>
            <p:cNvSpPr txBox="1">
              <a:spLocks/>
            </p:cNvSpPr>
            <p:nvPr/>
          </p:nvSpPr>
          <p:spPr>
            <a:xfrm>
              <a:off x="1615439" y="3587976"/>
              <a:ext cx="4254893" cy="60775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Peru/Chile – porphyry copper/gold deposits</a:t>
              </a:r>
            </a:p>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Chile – local government and community broad support to the mining industry in main mining hubs</a:t>
              </a:r>
            </a:p>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Chile – water scarcity issues in some mining areas</a:t>
              </a:r>
            </a:p>
          </p:txBody>
        </p:sp>
      </p:grpSp>
      <p:grpSp>
        <p:nvGrpSpPr>
          <p:cNvPr id="52" name="Group 51">
            <a:extLst>
              <a:ext uri="{FF2B5EF4-FFF2-40B4-BE49-F238E27FC236}">
                <a16:creationId xmlns:a16="http://schemas.microsoft.com/office/drawing/2014/main" id="{D73B889E-16AD-FFF5-185F-79398DF67E2D}"/>
              </a:ext>
            </a:extLst>
          </p:cNvPr>
          <p:cNvGrpSpPr/>
          <p:nvPr/>
        </p:nvGrpSpPr>
        <p:grpSpPr>
          <a:xfrm>
            <a:off x="346075" y="4330497"/>
            <a:ext cx="5521592" cy="718145"/>
            <a:chOff x="346075" y="4300724"/>
            <a:chExt cx="5521592" cy="718145"/>
          </a:xfrm>
        </p:grpSpPr>
        <p:sp>
          <p:nvSpPr>
            <p:cNvPr id="41" name="Rectangle 8">
              <a:extLst>
                <a:ext uri="{FF2B5EF4-FFF2-40B4-BE49-F238E27FC236}">
                  <a16:creationId xmlns:a16="http://schemas.microsoft.com/office/drawing/2014/main" id="{EA08B892-A175-5A1E-4459-FB7C21FBFBD3}"/>
                </a:ext>
              </a:extLst>
            </p:cNvPr>
            <p:cNvSpPr txBox="1">
              <a:spLocks/>
            </p:cNvSpPr>
            <p:nvPr>
              <p:custDataLst>
                <p:tags r:id="rId56"/>
              </p:custDataLst>
            </p:nvPr>
          </p:nvSpPr>
          <p:spPr>
            <a:xfrm>
              <a:off x="346075" y="4300724"/>
              <a:ext cx="1194435" cy="697369"/>
            </a:xfrm>
            <a:prstGeom prst="rect">
              <a:avLst/>
            </a:prstGeom>
            <a:solidFill>
              <a:schemeClr val="accent1"/>
            </a:solidFill>
            <a:ln w="9525">
              <a:noFill/>
              <a:miter lim="800000"/>
              <a:headEnd/>
              <a:tailEnd/>
            </a:ln>
            <a:effectLst/>
          </p:spPr>
          <p:txBody>
            <a:bodyPr vert="horz" wrap="square" lIns="36576" tIns="76200" rIns="36576" bIns="76200" numCol="1" anchor="ctr"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Other relevant factors</a:t>
              </a:r>
              <a:endParaRPr kumimoji="0" lang="en-CA"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endParaRPr>
            </a:p>
          </p:txBody>
        </p:sp>
        <p:sp>
          <p:nvSpPr>
            <p:cNvPr id="92" name="TextBox 91">
              <a:extLst>
                <a:ext uri="{FF2B5EF4-FFF2-40B4-BE49-F238E27FC236}">
                  <a16:creationId xmlns:a16="http://schemas.microsoft.com/office/drawing/2014/main" id="{234F2287-030E-8A2F-7325-FADEC940D7CA}"/>
                </a:ext>
              </a:extLst>
            </p:cNvPr>
            <p:cNvSpPr txBox="1">
              <a:spLocks/>
            </p:cNvSpPr>
            <p:nvPr/>
          </p:nvSpPr>
          <p:spPr>
            <a:xfrm>
              <a:off x="1612780" y="4300724"/>
              <a:ext cx="4254887" cy="71814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Mining investment thrives in provinces like Santa Cruz, San Juan, and Salta thanks to minimal community opposition, government support, and the freedom to settle disputes internationally,</a:t>
              </a:r>
            </a:p>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However, taxation, capital flow and labor rules are volatile in Argentina, and new rules will likely come up in case the country’s economic situation worsens</a:t>
              </a:r>
            </a:p>
          </p:txBody>
        </p:sp>
      </p:grpSp>
      <p:grpSp>
        <p:nvGrpSpPr>
          <p:cNvPr id="7" name="Group 6">
            <a:extLst>
              <a:ext uri="{FF2B5EF4-FFF2-40B4-BE49-F238E27FC236}">
                <a16:creationId xmlns:a16="http://schemas.microsoft.com/office/drawing/2014/main" id="{DF22EC2E-C8C0-68CA-646F-3113BE6BA8D1}"/>
              </a:ext>
            </a:extLst>
          </p:cNvPr>
          <p:cNvGrpSpPr/>
          <p:nvPr/>
        </p:nvGrpSpPr>
        <p:grpSpPr>
          <a:xfrm>
            <a:off x="346075" y="1591611"/>
            <a:ext cx="5524265" cy="873512"/>
            <a:chOff x="346075" y="1591611"/>
            <a:chExt cx="5524265" cy="873512"/>
          </a:xfrm>
        </p:grpSpPr>
        <p:sp>
          <p:nvSpPr>
            <p:cNvPr id="46" name="Rectangle 8">
              <a:extLst>
                <a:ext uri="{FF2B5EF4-FFF2-40B4-BE49-F238E27FC236}">
                  <a16:creationId xmlns:a16="http://schemas.microsoft.com/office/drawing/2014/main" id="{DF62B165-B198-85FE-915A-1686D3ACAA0E}"/>
                </a:ext>
              </a:extLst>
            </p:cNvPr>
            <p:cNvSpPr txBox="1">
              <a:spLocks/>
            </p:cNvSpPr>
            <p:nvPr>
              <p:custDataLst>
                <p:tags r:id="rId55"/>
              </p:custDataLst>
            </p:nvPr>
          </p:nvSpPr>
          <p:spPr>
            <a:xfrm>
              <a:off x="346075" y="1591611"/>
              <a:ext cx="1194435" cy="873512"/>
            </a:xfrm>
            <a:prstGeom prst="rect">
              <a:avLst/>
            </a:prstGeom>
            <a:solidFill>
              <a:schemeClr val="accent1"/>
            </a:solidFill>
            <a:ln w="9525">
              <a:noFill/>
              <a:miter lim="800000"/>
              <a:headEnd/>
              <a:tailEnd/>
            </a:ln>
            <a:effectLst/>
          </p:spPr>
          <p:txBody>
            <a:bodyPr vert="horz" wrap="square" lIns="36576" tIns="76200" rIns="36576" bIns="76200" numCol="1" anchor="ctr"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Government overview and key stakeholders</a:t>
              </a:r>
              <a:endParaRPr kumimoji="0" lang="en-CA"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endParaRPr>
            </a:p>
          </p:txBody>
        </p:sp>
        <p:sp>
          <p:nvSpPr>
            <p:cNvPr id="132" name="TextBox 131">
              <a:extLst>
                <a:ext uri="{FF2B5EF4-FFF2-40B4-BE49-F238E27FC236}">
                  <a16:creationId xmlns:a16="http://schemas.microsoft.com/office/drawing/2014/main" id="{92FF2AEE-7746-7067-2EA0-26A153EB1600}"/>
                </a:ext>
              </a:extLst>
            </p:cNvPr>
            <p:cNvSpPr txBox="1">
              <a:spLocks/>
            </p:cNvSpPr>
            <p:nvPr/>
          </p:nvSpPr>
          <p:spPr>
            <a:xfrm>
              <a:off x="1615442" y="1737034"/>
              <a:ext cx="913446" cy="13652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Parliament type:</a:t>
              </a:r>
            </a:p>
          </p:txBody>
        </p:sp>
        <p:sp>
          <p:nvSpPr>
            <p:cNvPr id="133" name="TextBox 132">
              <a:extLst>
                <a:ext uri="{FF2B5EF4-FFF2-40B4-BE49-F238E27FC236}">
                  <a16:creationId xmlns:a16="http://schemas.microsoft.com/office/drawing/2014/main" id="{045FCAF2-5034-7D0C-CAC2-3B228E3769BA}"/>
                </a:ext>
              </a:extLst>
            </p:cNvPr>
            <p:cNvSpPr txBox="1">
              <a:spLocks/>
            </p:cNvSpPr>
            <p:nvPr/>
          </p:nvSpPr>
          <p:spPr>
            <a:xfrm>
              <a:off x="2600326" y="1737034"/>
              <a:ext cx="3270014"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bicameral National Congress</a:t>
              </a:r>
              <a:endPar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endParaRPr>
            </a:p>
          </p:txBody>
        </p:sp>
        <p:sp>
          <p:nvSpPr>
            <p:cNvPr id="128" name="TextBox 127">
              <a:extLst>
                <a:ext uri="{FF2B5EF4-FFF2-40B4-BE49-F238E27FC236}">
                  <a16:creationId xmlns:a16="http://schemas.microsoft.com/office/drawing/2014/main" id="{08BB0351-7469-B33B-7341-A6C5B691B92D}"/>
                </a:ext>
              </a:extLst>
            </p:cNvPr>
            <p:cNvSpPr txBox="1">
              <a:spLocks/>
            </p:cNvSpPr>
            <p:nvPr/>
          </p:nvSpPr>
          <p:spPr>
            <a:xfrm>
              <a:off x="1615442" y="1591611"/>
              <a:ext cx="913446" cy="13652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Government type:</a:t>
              </a:r>
            </a:p>
          </p:txBody>
        </p:sp>
        <p:sp>
          <p:nvSpPr>
            <p:cNvPr id="129" name="TextBox 128">
              <a:extLst>
                <a:ext uri="{FF2B5EF4-FFF2-40B4-BE49-F238E27FC236}">
                  <a16:creationId xmlns:a16="http://schemas.microsoft.com/office/drawing/2014/main" id="{1591AFA9-25E4-06CF-CED4-57D391FB4D61}"/>
                </a:ext>
              </a:extLst>
            </p:cNvPr>
            <p:cNvSpPr txBox="1">
              <a:spLocks/>
            </p:cNvSpPr>
            <p:nvPr/>
          </p:nvSpPr>
          <p:spPr>
            <a:xfrm>
              <a:off x="2600326" y="1591611"/>
              <a:ext cx="3270014" cy="13652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Democracy</a:t>
              </a:r>
            </a:p>
          </p:txBody>
        </p:sp>
        <p:sp>
          <p:nvSpPr>
            <p:cNvPr id="135" name="TextBox 134">
              <a:extLst>
                <a:ext uri="{FF2B5EF4-FFF2-40B4-BE49-F238E27FC236}">
                  <a16:creationId xmlns:a16="http://schemas.microsoft.com/office/drawing/2014/main" id="{8FC8F185-8320-ED7C-8C9C-C417ECD7A218}"/>
                </a:ext>
              </a:extLst>
            </p:cNvPr>
            <p:cNvSpPr txBox="1">
              <a:spLocks/>
            </p:cNvSpPr>
            <p:nvPr/>
          </p:nvSpPr>
          <p:spPr>
            <a:xfrm>
              <a:off x="1615442" y="1884431"/>
              <a:ext cx="913446" cy="13493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President:</a:t>
              </a:r>
            </a:p>
          </p:txBody>
        </p:sp>
        <p:sp>
          <p:nvSpPr>
            <p:cNvPr id="136" name="TextBox 135">
              <a:extLst>
                <a:ext uri="{FF2B5EF4-FFF2-40B4-BE49-F238E27FC236}">
                  <a16:creationId xmlns:a16="http://schemas.microsoft.com/office/drawing/2014/main" id="{286FD3F8-A9FB-E0FA-11D2-E82BA030CF9B}"/>
                </a:ext>
              </a:extLst>
            </p:cNvPr>
            <p:cNvSpPr txBox="1">
              <a:spLocks/>
            </p:cNvSpPr>
            <p:nvPr/>
          </p:nvSpPr>
          <p:spPr>
            <a:xfrm>
              <a:off x="2600326" y="1884431"/>
              <a:ext cx="3270014" cy="138499"/>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s-PE"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Alberto Ángel Fernández </a:t>
              </a:r>
              <a:r>
                <a:rPr kumimoji="0" lang="es-E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a:t>
              </a:r>
              <a:r>
                <a:rPr kumimoji="0" lang="es-ES" sz="9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since</a:t>
              </a:r>
              <a:r>
                <a:rPr kumimoji="0" lang="es-E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2019)</a:t>
              </a:r>
              <a:endPar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endParaRPr>
            </a:p>
          </p:txBody>
        </p:sp>
        <p:sp>
          <p:nvSpPr>
            <p:cNvPr id="139" name="TextBox 138">
              <a:extLst>
                <a:ext uri="{FF2B5EF4-FFF2-40B4-BE49-F238E27FC236}">
                  <a16:creationId xmlns:a16="http://schemas.microsoft.com/office/drawing/2014/main" id="{CC8673C0-B27B-4146-B381-90AA05457754}"/>
                </a:ext>
              </a:extLst>
            </p:cNvPr>
            <p:cNvSpPr txBox="1">
              <a:spLocks/>
            </p:cNvSpPr>
            <p:nvPr/>
          </p:nvSpPr>
          <p:spPr>
            <a:xfrm>
              <a:off x="1615442" y="2031828"/>
              <a:ext cx="913446"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Next election:</a:t>
              </a:r>
            </a:p>
          </p:txBody>
        </p:sp>
        <p:sp>
          <p:nvSpPr>
            <p:cNvPr id="140" name="TextBox 139">
              <a:extLst>
                <a:ext uri="{FF2B5EF4-FFF2-40B4-BE49-F238E27FC236}">
                  <a16:creationId xmlns:a16="http://schemas.microsoft.com/office/drawing/2014/main" id="{3ED62777-DDCE-5F21-D331-4AEE1668ECF3}"/>
                </a:ext>
              </a:extLst>
            </p:cNvPr>
            <p:cNvSpPr txBox="1">
              <a:spLocks/>
            </p:cNvSpPr>
            <p:nvPr/>
          </p:nvSpPr>
          <p:spPr>
            <a:xfrm>
              <a:off x="2600326" y="2031828"/>
              <a:ext cx="3270014"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2023</a:t>
              </a:r>
            </a:p>
          </p:txBody>
        </p:sp>
        <p:sp>
          <p:nvSpPr>
            <p:cNvPr id="143" name="TextBox 142">
              <a:extLst>
                <a:ext uri="{FF2B5EF4-FFF2-40B4-BE49-F238E27FC236}">
                  <a16:creationId xmlns:a16="http://schemas.microsoft.com/office/drawing/2014/main" id="{CA777830-90B0-AC47-B276-1B852CEBD625}"/>
                </a:ext>
              </a:extLst>
            </p:cNvPr>
            <p:cNvSpPr txBox="1">
              <a:spLocks/>
            </p:cNvSpPr>
            <p:nvPr/>
          </p:nvSpPr>
          <p:spPr>
            <a:xfrm>
              <a:off x="1615442" y="2179225"/>
              <a:ext cx="913446" cy="13493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Mining ministry:</a:t>
              </a:r>
            </a:p>
          </p:txBody>
        </p:sp>
        <p:sp>
          <p:nvSpPr>
            <p:cNvPr id="144" name="TextBox 143">
              <a:extLst>
                <a:ext uri="{FF2B5EF4-FFF2-40B4-BE49-F238E27FC236}">
                  <a16:creationId xmlns:a16="http://schemas.microsoft.com/office/drawing/2014/main" id="{0F6E1B82-5A40-B08E-4FCB-69D6C6C2E0A8}"/>
                </a:ext>
              </a:extLst>
            </p:cNvPr>
            <p:cNvSpPr txBox="1">
              <a:spLocks/>
            </p:cNvSpPr>
            <p:nvPr/>
          </p:nvSpPr>
          <p:spPr>
            <a:xfrm>
              <a:off x="2600326" y="2179225"/>
              <a:ext cx="3270014"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Ministry of Energy</a:t>
              </a:r>
            </a:p>
          </p:txBody>
        </p:sp>
        <p:sp>
          <p:nvSpPr>
            <p:cNvPr id="146" name="TextBox 145">
              <a:extLst>
                <a:ext uri="{FF2B5EF4-FFF2-40B4-BE49-F238E27FC236}">
                  <a16:creationId xmlns:a16="http://schemas.microsoft.com/office/drawing/2014/main" id="{C9C2C543-5312-BA95-CE37-7BA9D157C26F}"/>
                </a:ext>
              </a:extLst>
            </p:cNvPr>
            <p:cNvSpPr txBox="1">
              <a:spLocks/>
            </p:cNvSpPr>
            <p:nvPr/>
          </p:nvSpPr>
          <p:spPr>
            <a:xfrm>
              <a:off x="1615442" y="2326624"/>
              <a:ext cx="913446" cy="13493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Affiliations:</a:t>
              </a:r>
            </a:p>
          </p:txBody>
        </p:sp>
        <p:sp>
          <p:nvSpPr>
            <p:cNvPr id="147" name="TextBox 146">
              <a:extLst>
                <a:ext uri="{FF2B5EF4-FFF2-40B4-BE49-F238E27FC236}">
                  <a16:creationId xmlns:a16="http://schemas.microsoft.com/office/drawing/2014/main" id="{7343889F-A382-98A9-7730-3C431ABAD8B5}"/>
                </a:ext>
              </a:extLst>
            </p:cNvPr>
            <p:cNvSpPr txBox="1">
              <a:spLocks/>
            </p:cNvSpPr>
            <p:nvPr/>
          </p:nvSpPr>
          <p:spPr>
            <a:xfrm>
              <a:off x="2600326" y="2326624"/>
              <a:ext cx="3270014"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CAN (associate), Australia Group, WTO, IFC, OAS, UN, Mercosur</a:t>
              </a:r>
            </a:p>
          </p:txBody>
        </p:sp>
      </p:grpSp>
      <p:cxnSp>
        <p:nvCxnSpPr>
          <p:cNvPr id="112" name="Straight Connector 111">
            <a:extLst>
              <a:ext uri="{FF2B5EF4-FFF2-40B4-BE49-F238E27FC236}">
                <a16:creationId xmlns:a16="http://schemas.microsoft.com/office/drawing/2014/main" id="{5F66926C-576E-AABA-7FC9-3DE28A7C9518}"/>
              </a:ext>
            </a:extLst>
          </p:cNvPr>
          <p:cNvCxnSpPr>
            <a:cxnSpLocks/>
          </p:cNvCxnSpPr>
          <p:nvPr/>
        </p:nvCxnSpPr>
        <p:spPr>
          <a:xfrm>
            <a:off x="6033969" y="1315163"/>
            <a:ext cx="0" cy="5045952"/>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 name="Rectangle 5">
            <a:extLst>
              <a:ext uri="{FF2B5EF4-FFF2-40B4-BE49-F238E27FC236}">
                <a16:creationId xmlns:a16="http://schemas.microsoft.com/office/drawing/2014/main" id="{18C89DB0-878D-FFE4-29D4-9099729BAA00}"/>
              </a:ext>
            </a:extLst>
          </p:cNvPr>
          <p:cNvSpPr txBox="1">
            <a:spLocks/>
          </p:cNvSpPr>
          <p:nvPr>
            <p:custDataLst>
              <p:tags r:id="rId8"/>
            </p:custDataLst>
          </p:nvPr>
        </p:nvSpPr>
        <p:spPr>
          <a:xfrm>
            <a:off x="346074" y="5064759"/>
            <a:ext cx="5524265" cy="1296355"/>
          </a:xfrm>
          <a:prstGeom prst="rect">
            <a:avLst/>
          </a:prstGeom>
          <a:noFill/>
          <a:ln w="6350">
            <a:solidFill>
              <a:schemeClr val="accent1"/>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C9A319"/>
              </a:buClr>
              <a:buSzTx/>
              <a:buFontTx/>
              <a:buNone/>
              <a:tabLst/>
              <a:defRPr/>
            </a:pPr>
            <a:endParaRPr kumimoji="0" lang="en-CA" sz="1200" b="0" i="0" u="none" strike="noStrike" kern="1200" cap="none" spc="0" normalizeH="0" baseline="0" noProof="0" dirty="0">
              <a:ln>
                <a:noFill/>
              </a:ln>
              <a:solidFill>
                <a:srgbClr val="FF0000"/>
              </a:solidFill>
              <a:effectLst/>
              <a:uLnTx/>
              <a:uFillTx/>
              <a:latin typeface="Calibri" panose="020F0502020204030204" pitchFamily="34" charset="0"/>
              <a:ea typeface="ＭＳ Ｐゴシック"/>
              <a:cs typeface="Calibri" panose="020F0502020204030204" pitchFamily="34" charset="0"/>
            </a:endParaRPr>
          </a:p>
        </p:txBody>
      </p:sp>
      <p:sp>
        <p:nvSpPr>
          <p:cNvPr id="9" name="Rectangle 5">
            <a:extLst>
              <a:ext uri="{FF2B5EF4-FFF2-40B4-BE49-F238E27FC236}">
                <a16:creationId xmlns:a16="http://schemas.microsoft.com/office/drawing/2014/main" id="{9CC717D2-F54E-DE23-6B20-6378BC00F840}"/>
              </a:ext>
            </a:extLst>
          </p:cNvPr>
          <p:cNvSpPr txBox="1">
            <a:spLocks/>
          </p:cNvSpPr>
          <p:nvPr>
            <p:custDataLst>
              <p:tags r:id="rId9"/>
            </p:custDataLst>
          </p:nvPr>
        </p:nvSpPr>
        <p:spPr>
          <a:xfrm>
            <a:off x="6197600" y="5064759"/>
            <a:ext cx="5689601" cy="1296355"/>
          </a:xfrm>
          <a:prstGeom prst="rect">
            <a:avLst/>
          </a:prstGeom>
          <a:noFill/>
          <a:ln w="6350">
            <a:solidFill>
              <a:schemeClr val="accent1"/>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C9A319"/>
              </a:buClr>
              <a:buSzTx/>
              <a:buFontTx/>
              <a:buNone/>
              <a:tabLst/>
              <a:defRPr/>
            </a:pPr>
            <a:endParaRPr kumimoji="0" lang="en-CA" sz="1200" b="0" i="0" u="none" strike="noStrike" kern="1200" cap="none" spc="0" normalizeH="0" baseline="0" noProof="0" dirty="0">
              <a:ln>
                <a:noFill/>
              </a:ln>
              <a:solidFill>
                <a:srgbClr val="FF0000"/>
              </a:solidFill>
              <a:effectLst/>
              <a:uLnTx/>
              <a:uFillTx/>
              <a:latin typeface="Calibri" panose="020F0502020204030204" pitchFamily="34" charset="0"/>
              <a:ea typeface="ＭＳ Ｐゴシック"/>
              <a:cs typeface="Calibri" panose="020F0502020204030204" pitchFamily="34" charset="0"/>
            </a:endParaRPr>
          </a:p>
        </p:txBody>
      </p:sp>
      <p:sp>
        <p:nvSpPr>
          <p:cNvPr id="10" name="AutoShape 250">
            <a:extLst>
              <a:ext uri="{FF2B5EF4-FFF2-40B4-BE49-F238E27FC236}">
                <a16:creationId xmlns:a16="http://schemas.microsoft.com/office/drawing/2014/main" id="{05119A4F-7C11-9FEE-34F2-112D0C75F132}"/>
              </a:ext>
            </a:extLst>
          </p:cNvPr>
          <p:cNvSpPr>
            <a:spLocks noChangeArrowheads="1"/>
          </p:cNvSpPr>
          <p:nvPr/>
        </p:nvSpPr>
        <p:spPr bwMode="auto">
          <a:xfrm>
            <a:off x="429449" y="5337175"/>
            <a:ext cx="5195032" cy="153888"/>
          </a:xfrm>
          <a:prstGeom prst="leftRightArrow">
            <a:avLst>
              <a:gd name="adj1" fmla="val 100000"/>
              <a:gd name="adj2" fmla="val 0"/>
            </a:avLst>
          </a:prstGeom>
          <a:noFill/>
          <a:ln w="9525">
            <a:noFill/>
            <a:miter lim="800000"/>
            <a:headEnd/>
            <a:tailEnd/>
          </a:ln>
          <a:effectLst/>
        </p:spPr>
        <p:txBody>
          <a:bodyPr vert="horz" wrap="square" lIns="0" tIns="0" rIns="0" bIns="0" numCol="1" anchor="ctr" anchorCtr="0" compatLnSpc="1">
            <a:prstTxWarp prst="textNoShape">
              <a:avLst/>
            </a:prstTxWarp>
            <a:spAutoFit/>
          </a:body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Contribution of mining to national GDP, </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a:t>
            </a:r>
          </a:p>
        </p:txBody>
      </p:sp>
      <p:sp>
        <p:nvSpPr>
          <p:cNvPr id="13" name="Rectangle 8">
            <a:extLst>
              <a:ext uri="{FF2B5EF4-FFF2-40B4-BE49-F238E27FC236}">
                <a16:creationId xmlns:a16="http://schemas.microsoft.com/office/drawing/2014/main" id="{B07FC199-360C-974C-EF20-1F816E02F11A}"/>
              </a:ext>
            </a:extLst>
          </p:cNvPr>
          <p:cNvSpPr txBox="1">
            <a:spLocks/>
          </p:cNvSpPr>
          <p:nvPr>
            <p:custDataLst>
              <p:tags r:id="rId10"/>
            </p:custDataLst>
          </p:nvPr>
        </p:nvSpPr>
        <p:spPr>
          <a:xfrm>
            <a:off x="428225" y="5110807"/>
            <a:ext cx="5524264" cy="184666"/>
          </a:xfrm>
          <a:prstGeom prst="rect">
            <a:avLst/>
          </a:prstGeom>
          <a:noFill/>
          <a:ln w="9525">
            <a:noFill/>
            <a:miter lim="800000"/>
            <a:headEnd/>
            <a:tailEnd/>
          </a:ln>
          <a:effectLst/>
        </p:spPr>
        <p:txBody>
          <a:bodyPr vert="horz" wrap="square" lIns="0" tIns="0" rIns="0" bIns="0" numCol="1" anchor="ctr"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Mining corresponds to ~2% of the country’s GDP, with important share of gold</a:t>
            </a:r>
            <a:endParaRPr kumimoji="0" lang="en-CA" sz="12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25" name="Rectangle 8">
            <a:extLst>
              <a:ext uri="{FF2B5EF4-FFF2-40B4-BE49-F238E27FC236}">
                <a16:creationId xmlns:a16="http://schemas.microsoft.com/office/drawing/2014/main" id="{B6C705F5-6843-416F-990A-2DE0067927C8}"/>
              </a:ext>
            </a:extLst>
          </p:cNvPr>
          <p:cNvSpPr txBox="1">
            <a:spLocks/>
          </p:cNvSpPr>
          <p:nvPr>
            <p:custDataLst>
              <p:tags r:id="rId11"/>
            </p:custDataLst>
          </p:nvPr>
        </p:nvSpPr>
        <p:spPr>
          <a:xfrm>
            <a:off x="6312992" y="5110807"/>
            <a:ext cx="5744216" cy="184666"/>
          </a:xfrm>
          <a:prstGeom prst="rect">
            <a:avLst/>
          </a:prstGeom>
          <a:noFill/>
          <a:ln w="9525">
            <a:noFill/>
            <a:miter lim="800000"/>
            <a:headEnd/>
            <a:tailEnd/>
          </a:ln>
          <a:effectLst/>
        </p:spPr>
        <p:txBody>
          <a:bodyPr vert="horz" wrap="square" lIns="0" tIns="0" rIns="0" bIns="0" numCol="1" anchor="ctr"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CA" sz="12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Around half of Argentinian gold is produced in the province of Santa Cruz</a:t>
            </a:r>
          </a:p>
        </p:txBody>
      </p:sp>
      <p:sp>
        <p:nvSpPr>
          <p:cNvPr id="26" name="Rectangle 25">
            <a:extLst>
              <a:ext uri="{FF2B5EF4-FFF2-40B4-BE49-F238E27FC236}">
                <a16:creationId xmlns:a16="http://schemas.microsoft.com/office/drawing/2014/main" id="{8153BFA0-ED1B-D90A-7281-186BCCA8734C}"/>
              </a:ext>
            </a:extLst>
          </p:cNvPr>
          <p:cNvSpPr/>
          <p:nvPr>
            <p:custDataLst>
              <p:tags r:id="rId12"/>
            </p:custDataLst>
          </p:nvPr>
        </p:nvSpPr>
        <p:spPr bwMode="auto">
          <a:xfrm>
            <a:off x="3868739" y="5365750"/>
            <a:ext cx="123825" cy="123825"/>
          </a:xfrm>
          <a:prstGeom prst="rect">
            <a:avLst/>
          </a:prstGeom>
          <a:solidFill>
            <a:schemeClr val="accent3"/>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pt-BR" sz="1600" b="0" i="0" u="none" strike="noStrike" kern="1200" cap="none" spc="0" normalizeH="0" baseline="0" noProof="0" dirty="0" err="1">
              <a:ln>
                <a:noFill/>
              </a:ln>
              <a:solidFill>
                <a:srgbClr val="FFFFFF"/>
              </a:solidFill>
              <a:effectLst/>
              <a:uLnTx/>
              <a:uFillTx/>
              <a:latin typeface="Calibri" panose="020F0502020204030204" pitchFamily="34" charset="0"/>
              <a:ea typeface="+mn-ea"/>
              <a:cs typeface="+mn-cs"/>
            </a:endParaRPr>
          </a:p>
        </p:txBody>
      </p:sp>
      <p:sp>
        <p:nvSpPr>
          <p:cNvPr id="40" name="Rectangle 39">
            <a:extLst>
              <a:ext uri="{FF2B5EF4-FFF2-40B4-BE49-F238E27FC236}">
                <a16:creationId xmlns:a16="http://schemas.microsoft.com/office/drawing/2014/main" id="{ABFFE11A-18BF-8CDA-8C47-AFC4D074282E}"/>
              </a:ext>
            </a:extLst>
          </p:cNvPr>
          <p:cNvSpPr/>
          <p:nvPr>
            <p:custDataLst>
              <p:tags r:id="rId13"/>
            </p:custDataLst>
          </p:nvPr>
        </p:nvSpPr>
        <p:spPr bwMode="auto">
          <a:xfrm>
            <a:off x="4710114" y="5365750"/>
            <a:ext cx="123825" cy="123825"/>
          </a:xfrm>
          <a:prstGeom prst="rect">
            <a:avLst/>
          </a:prstGeom>
          <a:solidFill>
            <a:schemeClr val="accent1"/>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pt-BR" sz="1600" b="0" i="0" u="none" strike="noStrike" kern="1200" cap="none" spc="0" normalizeH="0" baseline="0" noProof="0" dirty="0" err="1">
              <a:ln>
                <a:noFill/>
              </a:ln>
              <a:solidFill>
                <a:srgbClr val="FFFFFF"/>
              </a:solidFill>
              <a:effectLst/>
              <a:uLnTx/>
              <a:uFillTx/>
              <a:latin typeface="Calibri" panose="020F0502020204030204" pitchFamily="34" charset="0"/>
              <a:ea typeface="+mn-ea"/>
              <a:cs typeface="+mn-cs"/>
            </a:endParaRPr>
          </a:p>
        </p:txBody>
      </p:sp>
      <p:sp>
        <p:nvSpPr>
          <p:cNvPr id="44" name="Text Placeholder 2">
            <a:extLst>
              <a:ext uri="{FF2B5EF4-FFF2-40B4-BE49-F238E27FC236}">
                <a16:creationId xmlns:a16="http://schemas.microsoft.com/office/drawing/2014/main" id="{9460A1D7-D3E8-0A62-CBB5-226D67100E47}"/>
              </a:ext>
            </a:extLst>
          </p:cNvPr>
          <p:cNvSpPr>
            <a:spLocks noGrp="1"/>
          </p:cNvSpPr>
          <p:nvPr>
            <p:custDataLst>
              <p:tags r:id="rId14"/>
            </p:custDataLst>
          </p:nvPr>
        </p:nvSpPr>
        <p:spPr bwMode="auto">
          <a:xfrm>
            <a:off x="4043363" y="5364163"/>
            <a:ext cx="5651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CFD9687A-E157-48A4-B000-F980DBB88AEF}" type="datetime'G''o''''''''''''''''''ld'''' m''ini''''''''''''n''g'''">
              <a:rPr kumimoji="0" lang="pt-BR" altLang="en-US" sz="900" b="0" i="0" u="none" strike="noStrike" kern="1200" cap="none" spc="0" normalizeH="0" baseline="0" noProof="0" smtClean="0">
                <a:ln>
                  <a:noFill/>
                </a:ln>
                <a:solidFill>
                  <a:srgbClr val="000000"/>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Gold mining</a:t>
            </a:fld>
            <a:endParaRPr kumimoji="0" lang="pt-BR" sz="9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endParaRPr>
          </a:p>
        </p:txBody>
      </p:sp>
      <p:sp>
        <p:nvSpPr>
          <p:cNvPr id="45" name="Text Placeholder 2">
            <a:extLst>
              <a:ext uri="{FF2B5EF4-FFF2-40B4-BE49-F238E27FC236}">
                <a16:creationId xmlns:a16="http://schemas.microsoft.com/office/drawing/2014/main" id="{8E145F4B-153E-0965-5F7E-EB23AB5430C9}"/>
              </a:ext>
            </a:extLst>
          </p:cNvPr>
          <p:cNvSpPr>
            <a:spLocks noGrp="1"/>
          </p:cNvSpPr>
          <p:nvPr>
            <p:custDataLst>
              <p:tags r:id="rId15"/>
            </p:custDataLst>
          </p:nvPr>
        </p:nvSpPr>
        <p:spPr bwMode="auto">
          <a:xfrm>
            <a:off x="4884738" y="5364163"/>
            <a:ext cx="6175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1E82F7BC-63FB-44EB-99DD-3F4C92115308}" type="datetime'''O''''''''''the''''''''''''''''r mi''''n''''i''''''''n''g'">
              <a:rPr kumimoji="0" lang="pt-BR" altLang="en-US" sz="900" b="0" i="0" u="none" strike="noStrike" kern="1200" cap="none" spc="0" normalizeH="0" baseline="0" noProof="0" smtClean="0">
                <a:ln>
                  <a:noFill/>
                </a:ln>
                <a:solidFill>
                  <a:srgbClr val="000000"/>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Other mining</a:t>
            </a:fld>
            <a:endParaRPr kumimoji="0" lang="pt-BR" sz="9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endParaRPr>
          </a:p>
        </p:txBody>
      </p:sp>
      <p:graphicFrame>
        <p:nvGraphicFramePr>
          <p:cNvPr id="27" name="Chart 26">
            <a:extLst>
              <a:ext uri="{FF2B5EF4-FFF2-40B4-BE49-F238E27FC236}">
                <a16:creationId xmlns:a16="http://schemas.microsoft.com/office/drawing/2014/main" id="{A2AD40BB-7B8F-F8CE-1ADA-AC2C97848699}"/>
              </a:ext>
            </a:extLst>
          </p:cNvPr>
          <p:cNvGraphicFramePr/>
          <p:nvPr>
            <p:custDataLst>
              <p:tags r:id="rId16"/>
            </p:custDataLst>
          </p:nvPr>
        </p:nvGraphicFramePr>
        <p:xfrm>
          <a:off x="344488" y="5683250"/>
          <a:ext cx="5359400" cy="523875"/>
        </p:xfrm>
        <a:graphic>
          <a:graphicData uri="http://schemas.openxmlformats.org/drawingml/2006/chart">
            <c:chart xmlns:c="http://schemas.openxmlformats.org/drawingml/2006/chart" xmlns:r="http://schemas.openxmlformats.org/officeDocument/2006/relationships" r:id="rId62"/>
          </a:graphicData>
        </a:graphic>
      </p:graphicFrame>
      <p:sp>
        <p:nvSpPr>
          <p:cNvPr id="56" name="Text Placeholder 2">
            <a:extLst>
              <a:ext uri="{FF2B5EF4-FFF2-40B4-BE49-F238E27FC236}">
                <a16:creationId xmlns:a16="http://schemas.microsoft.com/office/drawing/2014/main" id="{B946D9DD-DA0A-BE42-839C-B2B1D503385A}"/>
              </a:ext>
            </a:extLst>
          </p:cNvPr>
          <p:cNvSpPr>
            <a:spLocks noGrp="1"/>
          </p:cNvSpPr>
          <p:nvPr>
            <p:custDataLst>
              <p:tags r:id="rId17"/>
            </p:custDataLst>
          </p:nvPr>
        </p:nvSpPr>
        <p:spPr bwMode="gray">
          <a:xfrm>
            <a:off x="847725" y="5781675"/>
            <a:ext cx="196850" cy="152400"/>
          </a:xfrm>
          <a:prstGeom prst="rect">
            <a:avLst/>
          </a:prstGeom>
          <a:solidFill>
            <a:schemeClr val="accent3"/>
          </a:solidFill>
          <a:ln>
            <a:noFill/>
          </a:ln>
          <a:effec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86332D34-3EF6-4CD7-B26C-9B4C2D58D3A8}" type="datetime'''''''''''''''''''''''0''''''''.''''6'''''">
              <a:rPr kumimoji="0" lang="pt-BR" altLang="en-US" sz="1000" b="0" i="0" u="none" strike="noStrike" kern="1200" cap="none" spc="0" normalizeH="0" baseline="0" noProof="0" smtClean="0">
                <a:ln>
                  <a:noFill/>
                </a:ln>
                <a:solidFill>
                  <a:srgbClr val="FFFFFF"/>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0.6</a:t>
            </a:fld>
            <a:endParaRPr kumimoji="0" lang="pt-BR" sz="1000" b="0"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endParaRPr>
          </a:p>
        </p:txBody>
      </p:sp>
      <p:sp>
        <p:nvSpPr>
          <p:cNvPr id="69" name="Text Placeholder 2">
            <a:extLst>
              <a:ext uri="{FF2B5EF4-FFF2-40B4-BE49-F238E27FC236}">
                <a16:creationId xmlns:a16="http://schemas.microsoft.com/office/drawing/2014/main" id="{757A9A4F-4961-86FC-AC9D-3FC11F38A742}"/>
              </a:ext>
            </a:extLst>
          </p:cNvPr>
          <p:cNvSpPr>
            <a:spLocks noGrp="1"/>
          </p:cNvSpPr>
          <p:nvPr>
            <p:custDataLst>
              <p:tags r:id="rId18"/>
            </p:custDataLst>
          </p:nvPr>
        </p:nvSpPr>
        <p:spPr bwMode="auto">
          <a:xfrm>
            <a:off x="809625" y="6167438"/>
            <a:ext cx="2730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0E1A8222-B5A6-48E4-8A6D-84CBC8B66705}" type="datetime'''''''''''2''''''''''''''''''''''''''''''''0''''18'''''''''''">
              <a:rPr kumimoji="0" lang="pt-BR" altLang="en-US" sz="1000" b="0" i="0" u="none" strike="noStrike" kern="1200" cap="none" spc="0" normalizeH="0" baseline="0" noProof="0" smtClean="0">
                <a:ln>
                  <a:noFill/>
                </a:ln>
                <a:solidFill>
                  <a:srgbClr val="000000"/>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18</a:t>
            </a:fld>
            <a:endParaRPr kumimoji="0" lang="pt-BR" sz="10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endParaRPr>
          </a:p>
        </p:txBody>
      </p:sp>
      <p:sp>
        <p:nvSpPr>
          <p:cNvPr id="63" name="Text Placeholder 2">
            <a:extLst>
              <a:ext uri="{FF2B5EF4-FFF2-40B4-BE49-F238E27FC236}">
                <a16:creationId xmlns:a16="http://schemas.microsoft.com/office/drawing/2014/main" id="{02DBBEF8-168D-E242-2E5A-68ED86AFBF3C}"/>
              </a:ext>
            </a:extLst>
          </p:cNvPr>
          <p:cNvSpPr>
            <a:spLocks noGrp="1"/>
          </p:cNvSpPr>
          <p:nvPr>
            <p:custDataLst>
              <p:tags r:id="rId19"/>
            </p:custDataLst>
          </p:nvPr>
        </p:nvSpPr>
        <p:spPr bwMode="auto">
          <a:xfrm>
            <a:off x="1912938" y="6167438"/>
            <a:ext cx="1428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D45D1B56-59A3-4A92-A416-1532367D4132}" type="datetime'''''19'''''''''''''''''''''''''''''''''''">
              <a:rPr kumimoji="0" lang="pt-BR" altLang="en-US" sz="1000" b="0" i="0" u="none" strike="noStrike" kern="1200" cap="none" spc="0" normalizeH="0" baseline="0" noProof="0" smtClean="0">
                <a:ln>
                  <a:noFill/>
                </a:ln>
                <a:solidFill>
                  <a:srgbClr val="000000"/>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19</a:t>
            </a:fld>
            <a:endParaRPr kumimoji="0" lang="pt-BR" sz="10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endParaRPr>
          </a:p>
        </p:txBody>
      </p:sp>
      <p:sp>
        <p:nvSpPr>
          <p:cNvPr id="53" name="Text Placeholder 2">
            <a:extLst>
              <a:ext uri="{FF2B5EF4-FFF2-40B4-BE49-F238E27FC236}">
                <a16:creationId xmlns:a16="http://schemas.microsoft.com/office/drawing/2014/main" id="{76EF615D-74F3-82BB-467C-58CE260C02BC}"/>
              </a:ext>
            </a:extLst>
          </p:cNvPr>
          <p:cNvSpPr>
            <a:spLocks noGrp="1"/>
          </p:cNvSpPr>
          <p:nvPr>
            <p:custDataLst>
              <p:tags r:id="rId20"/>
            </p:custDataLst>
          </p:nvPr>
        </p:nvSpPr>
        <p:spPr bwMode="auto">
          <a:xfrm>
            <a:off x="2952750" y="6167438"/>
            <a:ext cx="1428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F17FD67C-2897-4C72-ABAC-8FD7B2ACCD16}" type="datetime'''''''''''2''''''''''''''''''''0'''''''''''''''">
              <a:rPr kumimoji="0" lang="pt-BR" altLang="en-US" sz="1000" b="0" i="0" u="none" strike="noStrike" kern="1200" cap="none" spc="0" normalizeH="0" baseline="0" noProof="0" smtClean="0">
                <a:ln>
                  <a:noFill/>
                </a:ln>
                <a:solidFill>
                  <a:srgbClr val="000000"/>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a:t>
            </a:fld>
            <a:endParaRPr kumimoji="0" lang="pt-BR" sz="10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endParaRPr>
          </a:p>
        </p:txBody>
      </p:sp>
      <p:sp>
        <p:nvSpPr>
          <p:cNvPr id="62" name="Text Placeholder 2">
            <a:extLst>
              <a:ext uri="{FF2B5EF4-FFF2-40B4-BE49-F238E27FC236}">
                <a16:creationId xmlns:a16="http://schemas.microsoft.com/office/drawing/2014/main" id="{B946D9DD-DA0A-BE42-839C-B2B1D503385A}"/>
              </a:ext>
            </a:extLst>
          </p:cNvPr>
          <p:cNvSpPr>
            <a:spLocks noGrp="1"/>
          </p:cNvSpPr>
          <p:nvPr>
            <p:custDataLst>
              <p:tags r:id="rId21"/>
            </p:custDataLst>
          </p:nvPr>
        </p:nvSpPr>
        <p:spPr bwMode="gray">
          <a:xfrm>
            <a:off x="3963988" y="5765800"/>
            <a:ext cx="196850" cy="152400"/>
          </a:xfrm>
          <a:prstGeom prst="rect">
            <a:avLst/>
          </a:prstGeom>
          <a:solidFill>
            <a:schemeClr val="accent3"/>
          </a:solidFill>
          <a:ln>
            <a:noFill/>
          </a:ln>
          <a:effec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6935271A-E722-499E-9AD5-640A7D89C27E}" type="datetime'''''''''''0''''''''.''''''''6'''''''">
              <a:rPr kumimoji="0" lang="pt-BR" altLang="en-US" sz="1000" b="0" i="0" u="none" strike="noStrike" kern="1200" cap="none" spc="0" normalizeH="0" baseline="0" noProof="0" smtClean="0">
                <a:ln>
                  <a:noFill/>
                </a:ln>
                <a:solidFill>
                  <a:srgbClr val="FFFFFF"/>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0.6</a:t>
            </a:fld>
            <a:endParaRPr kumimoji="0" lang="pt-BR" sz="1000" b="0"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endParaRPr>
          </a:p>
        </p:txBody>
      </p:sp>
      <p:sp>
        <p:nvSpPr>
          <p:cNvPr id="73" name="Text Placeholder 2">
            <a:extLst>
              <a:ext uri="{FF2B5EF4-FFF2-40B4-BE49-F238E27FC236}">
                <a16:creationId xmlns:a16="http://schemas.microsoft.com/office/drawing/2014/main" id="{605BFAE5-9BA1-A9F6-5551-448877CBADB0}"/>
              </a:ext>
            </a:extLst>
          </p:cNvPr>
          <p:cNvSpPr>
            <a:spLocks noGrp="1"/>
          </p:cNvSpPr>
          <p:nvPr>
            <p:custDataLst>
              <p:tags r:id="rId22"/>
            </p:custDataLst>
          </p:nvPr>
        </p:nvSpPr>
        <p:spPr bwMode="auto">
          <a:xfrm>
            <a:off x="3990975" y="6167438"/>
            <a:ext cx="1428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5C738A93-CA81-43BE-9B8D-28CD29A68858}" type="datetime'''''''''''2''''''''''''1'''''''''''''''''''">
              <a:rPr kumimoji="0" lang="pt-BR" altLang="en-US" sz="1000" b="0" i="0" u="none" strike="noStrike" kern="1200" cap="none" spc="0" normalizeH="0" baseline="0" noProof="0" smtClean="0">
                <a:ln>
                  <a:noFill/>
                </a:ln>
                <a:solidFill>
                  <a:srgbClr val="000000"/>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1</a:t>
            </a:fld>
            <a:endParaRPr kumimoji="0" lang="pt-BR" sz="10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endParaRPr>
          </a:p>
        </p:txBody>
      </p:sp>
      <p:sp>
        <p:nvSpPr>
          <p:cNvPr id="64" name="Text Placeholder 2">
            <a:extLst>
              <a:ext uri="{FF2B5EF4-FFF2-40B4-BE49-F238E27FC236}">
                <a16:creationId xmlns:a16="http://schemas.microsoft.com/office/drawing/2014/main" id="{B946D9DD-DA0A-BE42-839C-B2B1D503385A}"/>
              </a:ext>
            </a:extLst>
          </p:cNvPr>
          <p:cNvSpPr>
            <a:spLocks noGrp="1"/>
          </p:cNvSpPr>
          <p:nvPr>
            <p:custDataLst>
              <p:tags r:id="rId23"/>
            </p:custDataLst>
          </p:nvPr>
        </p:nvSpPr>
        <p:spPr bwMode="gray">
          <a:xfrm>
            <a:off x="5003800" y="5722938"/>
            <a:ext cx="196850" cy="152400"/>
          </a:xfrm>
          <a:prstGeom prst="rect">
            <a:avLst/>
          </a:prstGeom>
          <a:solidFill>
            <a:schemeClr val="accent3"/>
          </a:solidFill>
          <a:ln>
            <a:noFill/>
          </a:ln>
          <a:effec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76B1D282-8990-4CC2-A675-B35AE3BA4B41}" type="datetime'''''0''''''''''.''''''''''''''''''''''''4'''">
              <a:rPr kumimoji="0" lang="pt-BR" altLang="en-US" sz="1000" b="0" i="0" u="none" strike="noStrike" kern="1200" cap="none" spc="0" normalizeH="0" baseline="0" noProof="0" smtClean="0">
                <a:ln>
                  <a:noFill/>
                </a:ln>
                <a:solidFill>
                  <a:srgbClr val="FFFFFF"/>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0.4</a:t>
            </a:fld>
            <a:endParaRPr kumimoji="0" lang="pt-BR" sz="1000" b="0"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endParaRPr>
          </a:p>
        </p:txBody>
      </p:sp>
      <p:sp>
        <p:nvSpPr>
          <p:cNvPr id="74" name="Text Placeholder 2">
            <a:extLst>
              <a:ext uri="{FF2B5EF4-FFF2-40B4-BE49-F238E27FC236}">
                <a16:creationId xmlns:a16="http://schemas.microsoft.com/office/drawing/2014/main" id="{5C8AB9D4-23A4-6267-D72E-5D4D2B621013}"/>
              </a:ext>
            </a:extLst>
          </p:cNvPr>
          <p:cNvSpPr>
            <a:spLocks noGrp="1"/>
          </p:cNvSpPr>
          <p:nvPr>
            <p:custDataLst>
              <p:tags r:id="rId24"/>
            </p:custDataLst>
          </p:nvPr>
        </p:nvSpPr>
        <p:spPr bwMode="auto">
          <a:xfrm>
            <a:off x="4965700" y="6167438"/>
            <a:ext cx="2730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6D39530B-660B-42DB-924D-3270D7ADF377}" type="datetime'''''''2''''''''''''0''''''''''''''''''''2''2'">
              <a:rPr kumimoji="0" lang="pt-BR" altLang="en-US" sz="1000" b="0" i="0" u="none" strike="noStrike" kern="1200" cap="none" spc="0" normalizeH="0" baseline="0" noProof="0" smtClean="0">
                <a:ln>
                  <a:noFill/>
                </a:ln>
                <a:solidFill>
                  <a:srgbClr val="000000"/>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22</a:t>
            </a:fld>
            <a:endParaRPr kumimoji="0" lang="pt-BR" sz="10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endParaRPr>
          </a:p>
        </p:txBody>
      </p:sp>
      <p:sp>
        <p:nvSpPr>
          <p:cNvPr id="75" name="Text Placeholder 2">
            <a:extLst>
              <a:ext uri="{FF2B5EF4-FFF2-40B4-BE49-F238E27FC236}">
                <a16:creationId xmlns:a16="http://schemas.microsoft.com/office/drawing/2014/main" id="{3840D0A7-DF95-D46A-2B66-05FCC06B4C39}"/>
              </a:ext>
            </a:extLst>
          </p:cNvPr>
          <p:cNvSpPr>
            <a:spLocks noGrp="1"/>
          </p:cNvSpPr>
          <p:nvPr>
            <p:custDataLst>
              <p:tags r:id="rId25"/>
            </p:custDataLst>
          </p:nvPr>
        </p:nvSpPr>
        <p:spPr bwMode="gray">
          <a:xfrm>
            <a:off x="847725" y="5638800"/>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97245B08-7AE9-4160-91D1-E54A6012E94B}" type="datetime'''1''.''''''''''''''''''''''8'''''''''''">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8</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76" name="Text Placeholder 2">
            <a:extLst>
              <a:ext uri="{FF2B5EF4-FFF2-40B4-BE49-F238E27FC236}">
                <a16:creationId xmlns:a16="http://schemas.microsoft.com/office/drawing/2014/main" id="{F28CD8A8-D0B5-7272-A332-3D0B8FC3049F}"/>
              </a:ext>
            </a:extLst>
          </p:cNvPr>
          <p:cNvSpPr>
            <a:spLocks noGrp="1"/>
          </p:cNvSpPr>
          <p:nvPr>
            <p:custDataLst>
              <p:tags r:id="rId26"/>
            </p:custDataLst>
          </p:nvPr>
        </p:nvSpPr>
        <p:spPr bwMode="gray">
          <a:xfrm>
            <a:off x="1885950" y="5626100"/>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C3EA11BC-AC96-4A5D-B615-58D84448A226}" type="datetime'''''''''1''''''.''''''''''''''''''''''''''''8'''''''''''''">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8</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80" name="Text Placeholder 2">
            <a:extLst>
              <a:ext uri="{FF2B5EF4-FFF2-40B4-BE49-F238E27FC236}">
                <a16:creationId xmlns:a16="http://schemas.microsoft.com/office/drawing/2014/main" id="{F20754C6-CD75-473F-403A-8DC50C254EF8}"/>
              </a:ext>
            </a:extLst>
          </p:cNvPr>
          <p:cNvSpPr>
            <a:spLocks noGrp="1"/>
          </p:cNvSpPr>
          <p:nvPr>
            <p:custDataLst>
              <p:tags r:id="rId27"/>
            </p:custDataLst>
          </p:nvPr>
        </p:nvSpPr>
        <p:spPr bwMode="gray">
          <a:xfrm>
            <a:off x="2925763" y="5626100"/>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07D77D1C-E3E8-44C8-BD34-8B0B9ECD1D80}" type="datetime'''''''''1''''.''''''8'''''''''''">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8</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81" name="Text Placeholder 2">
            <a:extLst>
              <a:ext uri="{FF2B5EF4-FFF2-40B4-BE49-F238E27FC236}">
                <a16:creationId xmlns:a16="http://schemas.microsoft.com/office/drawing/2014/main" id="{042D86B2-CB3F-91E5-0C90-E7D2EA216A8A}"/>
              </a:ext>
            </a:extLst>
          </p:cNvPr>
          <p:cNvSpPr>
            <a:spLocks noGrp="1"/>
          </p:cNvSpPr>
          <p:nvPr>
            <p:custDataLst>
              <p:tags r:id="rId28"/>
            </p:custDataLst>
          </p:nvPr>
        </p:nvSpPr>
        <p:spPr bwMode="gray">
          <a:xfrm>
            <a:off x="3963988" y="5627688"/>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B225DC3C-11DF-49C0-83C1-93B9C2322E19}" type="datetime'''''''1''''''''''''''''''''''''''''''.''''''8'''''''''''''">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8</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82" name="Text Placeholder 2">
            <a:extLst>
              <a:ext uri="{FF2B5EF4-FFF2-40B4-BE49-F238E27FC236}">
                <a16:creationId xmlns:a16="http://schemas.microsoft.com/office/drawing/2014/main" id="{A714BA8C-ECE0-E1FC-A46C-D62216F2F495}"/>
              </a:ext>
            </a:extLst>
          </p:cNvPr>
          <p:cNvSpPr>
            <a:spLocks noGrp="1"/>
          </p:cNvSpPr>
          <p:nvPr>
            <p:custDataLst>
              <p:tags r:id="rId29"/>
            </p:custDataLst>
          </p:nvPr>
        </p:nvSpPr>
        <p:spPr bwMode="gray">
          <a:xfrm>
            <a:off x="5003800" y="5586413"/>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DEB9A4CF-AA87-4A15-A94B-A61F38D1F1B1}" type="datetime'''''''''''''2''''''''.''''''0'''''''''''''''''''">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0</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5" name="Text Placeholder 2">
            <a:extLst>
              <a:ext uri="{FF2B5EF4-FFF2-40B4-BE49-F238E27FC236}">
                <a16:creationId xmlns:a16="http://schemas.microsoft.com/office/drawing/2014/main" id="{B946D9DD-DA0A-BE42-839C-B2B1D503385A}"/>
              </a:ext>
            </a:extLst>
          </p:cNvPr>
          <p:cNvSpPr>
            <a:spLocks noGrp="1"/>
          </p:cNvSpPr>
          <p:nvPr>
            <p:custDataLst>
              <p:tags r:id="rId30"/>
            </p:custDataLst>
          </p:nvPr>
        </p:nvSpPr>
        <p:spPr bwMode="gray">
          <a:xfrm>
            <a:off x="847725" y="5943600"/>
            <a:ext cx="196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lnSpc>
                <a:spcPct val="100000"/>
              </a:lnSpc>
              <a:spcBef>
                <a:spcPct val="0"/>
              </a:spcBef>
              <a:spcAft>
                <a:spcPct val="0"/>
              </a:spcAft>
              <a:buNone/>
            </a:pPr>
            <a:fld id="{D7D8D6FE-BB23-4490-B049-6B5299F583A8}" type="datetime'''''''''''''''''''''''''''1''''.1'''''''''''''''''''''''''''">
              <a:rPr lang="pt-BR" altLang="en-US" sz="1000" smtClean="0">
                <a:solidFill>
                  <a:srgbClr val="FFFFFF"/>
                </a:solidFill>
                <a:effectLst/>
                <a:cs typeface="Calibri" panose="020F0502020204030204" pitchFamily="34" charset="0"/>
              </a:rPr>
              <a:pPr marL="0" lvl="0" indent="0" algn="ctr">
                <a:lnSpc>
                  <a:spcPct val="100000"/>
                </a:lnSpc>
                <a:spcBef>
                  <a:spcPct val="0"/>
                </a:spcBef>
                <a:spcAft>
                  <a:spcPct val="0"/>
                </a:spcAft>
                <a:buNone/>
              </a:pPr>
              <a:t>1.1</a:t>
            </a:fld>
            <a:endParaRPr lang="pt-BR" sz="1000" dirty="0">
              <a:solidFill>
                <a:srgbClr val="FFFFFF"/>
              </a:solidFill>
              <a:cs typeface="Calibri" panose="020F0502020204030204" pitchFamily="34" charset="0"/>
            </a:endParaRPr>
          </a:p>
        </p:txBody>
      </p:sp>
      <p:sp>
        <p:nvSpPr>
          <p:cNvPr id="6" name="Text Placeholder 2">
            <a:extLst>
              <a:ext uri="{FF2B5EF4-FFF2-40B4-BE49-F238E27FC236}">
                <a16:creationId xmlns:a16="http://schemas.microsoft.com/office/drawing/2014/main" id="{B946D9DD-DA0A-BE42-839C-B2B1D503385A}"/>
              </a:ext>
            </a:extLst>
          </p:cNvPr>
          <p:cNvSpPr>
            <a:spLocks noGrp="1"/>
          </p:cNvSpPr>
          <p:nvPr>
            <p:custDataLst>
              <p:tags r:id="rId31"/>
            </p:custDataLst>
          </p:nvPr>
        </p:nvSpPr>
        <p:spPr bwMode="gray">
          <a:xfrm>
            <a:off x="1885950" y="5781675"/>
            <a:ext cx="196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lnSpc>
                <a:spcPct val="100000"/>
              </a:lnSpc>
              <a:spcBef>
                <a:spcPct val="0"/>
              </a:spcBef>
              <a:spcAft>
                <a:spcPct val="0"/>
              </a:spcAft>
              <a:buNone/>
            </a:pPr>
            <a:fld id="{DC0F0C25-5710-49EA-9D77-6B5906F71CAE}" type="datetime'''0''''''''''.''''''''''''''''''''''''''''''''''''8'''''''''''">
              <a:rPr lang="pt-BR" altLang="en-US" sz="1000" smtClean="0">
                <a:solidFill>
                  <a:srgbClr val="FFFFFF"/>
                </a:solidFill>
                <a:effectLst/>
                <a:cs typeface="Calibri" panose="020F0502020204030204" pitchFamily="34" charset="0"/>
              </a:rPr>
              <a:pPr marL="0" lvl="0" indent="0" algn="ctr">
                <a:lnSpc>
                  <a:spcPct val="100000"/>
                </a:lnSpc>
                <a:spcBef>
                  <a:spcPct val="0"/>
                </a:spcBef>
                <a:spcAft>
                  <a:spcPct val="0"/>
                </a:spcAft>
                <a:buNone/>
              </a:pPr>
              <a:t>0.8</a:t>
            </a:fld>
            <a:endParaRPr lang="pt-BR" sz="1000" dirty="0">
              <a:solidFill>
                <a:srgbClr val="FFFFFF"/>
              </a:solidFill>
              <a:cs typeface="Calibri" panose="020F0502020204030204" pitchFamily="34" charset="0"/>
            </a:endParaRPr>
          </a:p>
        </p:txBody>
      </p:sp>
      <p:sp>
        <p:nvSpPr>
          <p:cNvPr id="20" name="Text Placeholder 2">
            <a:extLst>
              <a:ext uri="{FF2B5EF4-FFF2-40B4-BE49-F238E27FC236}">
                <a16:creationId xmlns:a16="http://schemas.microsoft.com/office/drawing/2014/main" id="{B946D9DD-DA0A-BE42-839C-B2B1D503385A}"/>
              </a:ext>
            </a:extLst>
          </p:cNvPr>
          <p:cNvSpPr>
            <a:spLocks noGrp="1"/>
          </p:cNvSpPr>
          <p:nvPr>
            <p:custDataLst>
              <p:tags r:id="rId32"/>
            </p:custDataLst>
          </p:nvPr>
        </p:nvSpPr>
        <p:spPr bwMode="gray">
          <a:xfrm>
            <a:off x="1885950" y="5949950"/>
            <a:ext cx="196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lnSpc>
                <a:spcPct val="100000"/>
              </a:lnSpc>
              <a:spcBef>
                <a:spcPct val="0"/>
              </a:spcBef>
              <a:spcAft>
                <a:spcPct val="0"/>
              </a:spcAft>
              <a:buNone/>
            </a:pPr>
            <a:fld id="{8B8E53AA-FBF3-4D09-AF80-2F039CAADCBE}" type="datetime'''''''1''''''''''''''''''''''''.''''''''''1'''''''''''">
              <a:rPr lang="pt-BR" altLang="en-US" sz="1000" smtClean="0">
                <a:solidFill>
                  <a:schemeClr val="bg1"/>
                </a:solidFill>
                <a:effectLst/>
                <a:cs typeface="Calibri" panose="020F0502020204030204" pitchFamily="34" charset="0"/>
              </a:rPr>
              <a:pPr marL="0" lvl="0" indent="0" algn="ctr">
                <a:lnSpc>
                  <a:spcPct val="100000"/>
                </a:lnSpc>
                <a:spcBef>
                  <a:spcPct val="0"/>
                </a:spcBef>
                <a:spcAft>
                  <a:spcPct val="0"/>
                </a:spcAft>
                <a:buNone/>
              </a:pPr>
              <a:t>1.1</a:t>
            </a:fld>
            <a:endParaRPr lang="pt-BR" sz="1000" dirty="0">
              <a:solidFill>
                <a:schemeClr val="bg1"/>
              </a:solidFill>
              <a:cs typeface="Calibri" panose="020F0502020204030204" pitchFamily="34" charset="0"/>
            </a:endParaRPr>
          </a:p>
        </p:txBody>
      </p:sp>
      <p:sp>
        <p:nvSpPr>
          <p:cNvPr id="21" name="Text Placeholder 2">
            <a:extLst>
              <a:ext uri="{FF2B5EF4-FFF2-40B4-BE49-F238E27FC236}">
                <a16:creationId xmlns:a16="http://schemas.microsoft.com/office/drawing/2014/main" id="{B946D9DD-DA0A-BE42-839C-B2B1D503385A}"/>
              </a:ext>
            </a:extLst>
          </p:cNvPr>
          <p:cNvSpPr>
            <a:spLocks noGrp="1"/>
          </p:cNvSpPr>
          <p:nvPr>
            <p:custDataLst>
              <p:tags r:id="rId33"/>
            </p:custDataLst>
          </p:nvPr>
        </p:nvSpPr>
        <p:spPr bwMode="gray">
          <a:xfrm>
            <a:off x="2925763" y="5789613"/>
            <a:ext cx="196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lnSpc>
                <a:spcPct val="100000"/>
              </a:lnSpc>
              <a:spcBef>
                <a:spcPct val="0"/>
              </a:spcBef>
              <a:spcAft>
                <a:spcPct val="0"/>
              </a:spcAft>
              <a:buNone/>
            </a:pPr>
            <a:fld id="{1A4C3B09-DB8C-4337-AD6D-DE12BA741287}" type="datetime'''''''''''''''''''''''''''''''''''0.''9'''''''''''''''''">
              <a:rPr lang="pt-BR" altLang="en-US" sz="1000" smtClean="0">
                <a:solidFill>
                  <a:srgbClr val="FFFFFF"/>
                </a:solidFill>
                <a:effectLst/>
                <a:cs typeface="Calibri" panose="020F0502020204030204" pitchFamily="34" charset="0"/>
              </a:rPr>
              <a:pPr marL="0" lvl="0" indent="0" algn="ctr">
                <a:lnSpc>
                  <a:spcPct val="100000"/>
                </a:lnSpc>
                <a:spcBef>
                  <a:spcPct val="0"/>
                </a:spcBef>
                <a:spcAft>
                  <a:spcPct val="0"/>
                </a:spcAft>
                <a:buNone/>
              </a:pPr>
              <a:t>0.9</a:t>
            </a:fld>
            <a:endParaRPr lang="pt-BR" sz="1000" dirty="0">
              <a:solidFill>
                <a:srgbClr val="FFFFFF"/>
              </a:solidFill>
              <a:cs typeface="Calibri" panose="020F0502020204030204" pitchFamily="34" charset="0"/>
            </a:endParaRPr>
          </a:p>
        </p:txBody>
      </p:sp>
      <p:sp>
        <p:nvSpPr>
          <p:cNvPr id="22" name="Text Placeholder 2">
            <a:extLst>
              <a:ext uri="{FF2B5EF4-FFF2-40B4-BE49-F238E27FC236}">
                <a16:creationId xmlns:a16="http://schemas.microsoft.com/office/drawing/2014/main" id="{B946D9DD-DA0A-BE42-839C-B2B1D503385A}"/>
              </a:ext>
            </a:extLst>
          </p:cNvPr>
          <p:cNvSpPr>
            <a:spLocks noGrp="1"/>
          </p:cNvSpPr>
          <p:nvPr>
            <p:custDataLst>
              <p:tags r:id="rId34"/>
            </p:custDataLst>
          </p:nvPr>
        </p:nvSpPr>
        <p:spPr bwMode="gray">
          <a:xfrm>
            <a:off x="2925763" y="5957888"/>
            <a:ext cx="196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lnSpc>
                <a:spcPct val="100000"/>
              </a:lnSpc>
              <a:spcBef>
                <a:spcPct val="0"/>
              </a:spcBef>
              <a:spcAft>
                <a:spcPct val="0"/>
              </a:spcAft>
              <a:buNone/>
            </a:pPr>
            <a:fld id="{07F28704-6A8E-4AE6-BEBA-956DC782685A}" type="datetime'1''''''''''''''.''''''''''''''''''''''''0'''''''''''''">
              <a:rPr lang="pt-BR" altLang="en-US" sz="1000" smtClean="0">
                <a:solidFill>
                  <a:srgbClr val="FFFFFF"/>
                </a:solidFill>
                <a:effectLst/>
                <a:cs typeface="Calibri" panose="020F0502020204030204" pitchFamily="34" charset="0"/>
              </a:rPr>
              <a:pPr marL="0" lvl="0" indent="0" algn="ctr">
                <a:lnSpc>
                  <a:spcPct val="100000"/>
                </a:lnSpc>
                <a:spcBef>
                  <a:spcPct val="0"/>
                </a:spcBef>
                <a:spcAft>
                  <a:spcPct val="0"/>
                </a:spcAft>
                <a:buNone/>
              </a:pPr>
              <a:t>1.0</a:t>
            </a:fld>
            <a:endParaRPr lang="pt-BR" sz="1000" dirty="0">
              <a:solidFill>
                <a:srgbClr val="FFFFFF"/>
              </a:solidFill>
              <a:cs typeface="Calibri" panose="020F0502020204030204" pitchFamily="34" charset="0"/>
            </a:endParaRPr>
          </a:p>
        </p:txBody>
      </p:sp>
      <p:sp>
        <p:nvSpPr>
          <p:cNvPr id="23" name="Text Placeholder 2">
            <a:extLst>
              <a:ext uri="{FF2B5EF4-FFF2-40B4-BE49-F238E27FC236}">
                <a16:creationId xmlns:a16="http://schemas.microsoft.com/office/drawing/2014/main" id="{B946D9DD-DA0A-BE42-839C-B2B1D503385A}"/>
              </a:ext>
            </a:extLst>
          </p:cNvPr>
          <p:cNvSpPr>
            <a:spLocks noGrp="1"/>
          </p:cNvSpPr>
          <p:nvPr>
            <p:custDataLst>
              <p:tags r:id="rId35"/>
            </p:custDataLst>
          </p:nvPr>
        </p:nvSpPr>
        <p:spPr bwMode="gray">
          <a:xfrm>
            <a:off x="3963988" y="5934075"/>
            <a:ext cx="196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lnSpc>
                <a:spcPct val="100000"/>
              </a:lnSpc>
              <a:spcBef>
                <a:spcPct val="0"/>
              </a:spcBef>
              <a:spcAft>
                <a:spcPct val="0"/>
              </a:spcAft>
              <a:buNone/>
            </a:pPr>
            <a:fld id="{C9D9B577-2A85-48B3-AFEB-52BD86967A59}" type="datetime'''''''''''''''''''''''1''''''''.''''''2'''''''">
              <a:rPr lang="pt-BR" altLang="en-US" sz="1000" smtClean="0">
                <a:solidFill>
                  <a:srgbClr val="FFFFFF"/>
                </a:solidFill>
                <a:effectLst/>
                <a:cs typeface="Calibri" panose="020F0502020204030204" pitchFamily="34" charset="0"/>
              </a:rPr>
              <a:pPr marL="0" lvl="0" indent="0" algn="ctr">
                <a:lnSpc>
                  <a:spcPct val="100000"/>
                </a:lnSpc>
                <a:spcBef>
                  <a:spcPct val="0"/>
                </a:spcBef>
                <a:spcAft>
                  <a:spcPct val="0"/>
                </a:spcAft>
                <a:buNone/>
              </a:pPr>
              <a:t>1.2</a:t>
            </a:fld>
            <a:endParaRPr lang="pt-BR" sz="1000" dirty="0">
              <a:solidFill>
                <a:srgbClr val="FFFFFF"/>
              </a:solidFill>
              <a:cs typeface="Calibri" panose="020F0502020204030204" pitchFamily="34" charset="0"/>
            </a:endParaRPr>
          </a:p>
        </p:txBody>
      </p:sp>
      <p:sp>
        <p:nvSpPr>
          <p:cNvPr id="24" name="Text Placeholder 2">
            <a:extLst>
              <a:ext uri="{FF2B5EF4-FFF2-40B4-BE49-F238E27FC236}">
                <a16:creationId xmlns:a16="http://schemas.microsoft.com/office/drawing/2014/main" id="{B946D9DD-DA0A-BE42-839C-B2B1D503385A}"/>
              </a:ext>
            </a:extLst>
          </p:cNvPr>
          <p:cNvSpPr>
            <a:spLocks noGrp="1"/>
          </p:cNvSpPr>
          <p:nvPr>
            <p:custDataLst>
              <p:tags r:id="rId36"/>
            </p:custDataLst>
          </p:nvPr>
        </p:nvSpPr>
        <p:spPr bwMode="gray">
          <a:xfrm>
            <a:off x="5003800" y="5902325"/>
            <a:ext cx="196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lnSpc>
                <a:spcPct val="100000"/>
              </a:lnSpc>
              <a:spcBef>
                <a:spcPct val="0"/>
              </a:spcBef>
              <a:spcAft>
                <a:spcPct val="0"/>
              </a:spcAft>
              <a:buNone/>
            </a:pPr>
            <a:fld id="{8CDBC7DA-D4E3-4013-AE78-09AFD81C42AA}" type="datetime'''''''''''''1''''.''''''''''''''''6'''''''''">
              <a:rPr lang="pt-BR" altLang="en-US" sz="1000" smtClean="0">
                <a:solidFill>
                  <a:srgbClr val="FFFFFF"/>
                </a:solidFill>
                <a:effectLst/>
                <a:cs typeface="Calibri" panose="020F0502020204030204" pitchFamily="34" charset="0"/>
              </a:rPr>
              <a:pPr marL="0" lvl="0" indent="0" algn="ctr">
                <a:lnSpc>
                  <a:spcPct val="100000"/>
                </a:lnSpc>
                <a:spcBef>
                  <a:spcPct val="0"/>
                </a:spcBef>
                <a:spcAft>
                  <a:spcPct val="0"/>
                </a:spcAft>
                <a:buNone/>
              </a:pPr>
              <a:t>1.6</a:t>
            </a:fld>
            <a:endParaRPr lang="pt-BR" sz="1000" dirty="0">
              <a:solidFill>
                <a:srgbClr val="FFFFFF"/>
              </a:solidFill>
              <a:cs typeface="Calibri" panose="020F0502020204030204" pitchFamily="34" charset="0"/>
            </a:endParaRPr>
          </a:p>
        </p:txBody>
      </p:sp>
      <p:sp>
        <p:nvSpPr>
          <p:cNvPr id="83" name="AutoShape 250">
            <a:extLst>
              <a:ext uri="{FF2B5EF4-FFF2-40B4-BE49-F238E27FC236}">
                <a16:creationId xmlns:a16="http://schemas.microsoft.com/office/drawing/2014/main" id="{34C397C2-5ACE-3836-3F12-BDB033F456CB}"/>
              </a:ext>
            </a:extLst>
          </p:cNvPr>
          <p:cNvSpPr>
            <a:spLocks noChangeArrowheads="1"/>
          </p:cNvSpPr>
          <p:nvPr/>
        </p:nvSpPr>
        <p:spPr bwMode="auto">
          <a:xfrm>
            <a:off x="6300402" y="5337175"/>
            <a:ext cx="5483996" cy="153888"/>
          </a:xfrm>
          <a:prstGeom prst="leftRightArrow">
            <a:avLst>
              <a:gd name="adj1" fmla="val 100000"/>
              <a:gd name="adj2" fmla="val 0"/>
            </a:avLst>
          </a:prstGeom>
          <a:noFill/>
          <a:ln w="9525">
            <a:noFill/>
            <a:miter lim="800000"/>
            <a:headEnd/>
            <a:tailEnd/>
          </a:ln>
          <a:effectLst/>
        </p:spPr>
        <p:txBody>
          <a:bodyPr vert="horz" wrap="square" lIns="0" tIns="0" rIns="0" bIns="0" numCol="1" anchor="ctr" anchorCtr="0" compatLnSpc="1">
            <a:prstTxWarp prst="textNoShape">
              <a:avLst/>
            </a:prstTxWarp>
            <a:spAutoFit/>
          </a:body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Gold production by province (2022), </a:t>
            </a: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a:cs typeface="Calibri" panose="020F0502020204030204" pitchFamily="34" charset="0"/>
              </a:rPr>
              <a:t>koz</a:t>
            </a:r>
            <a:endPar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cxnSp>
        <p:nvCxnSpPr>
          <p:cNvPr id="84" name="Straight Connector 83">
            <a:extLst>
              <a:ext uri="{FF2B5EF4-FFF2-40B4-BE49-F238E27FC236}">
                <a16:creationId xmlns:a16="http://schemas.microsoft.com/office/drawing/2014/main" id="{37DA0B7D-399E-EC7E-6E84-A1570D119940}"/>
              </a:ext>
            </a:extLst>
          </p:cNvPr>
          <p:cNvCxnSpPr/>
          <p:nvPr>
            <p:custDataLst>
              <p:tags r:id="rId37"/>
            </p:custDataLst>
          </p:nvPr>
        </p:nvCxnSpPr>
        <p:spPr bwMode="auto">
          <a:xfrm>
            <a:off x="7337425" y="5846763"/>
            <a:ext cx="5842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5" name="Straight Connector 84">
            <a:extLst>
              <a:ext uri="{FF2B5EF4-FFF2-40B4-BE49-F238E27FC236}">
                <a16:creationId xmlns:a16="http://schemas.microsoft.com/office/drawing/2014/main" id="{3BB4D743-9DBB-C39A-0953-23149ACC0F3F}"/>
              </a:ext>
            </a:extLst>
          </p:cNvPr>
          <p:cNvCxnSpPr/>
          <p:nvPr>
            <p:custDataLst>
              <p:tags r:id="rId38"/>
            </p:custDataLst>
          </p:nvPr>
        </p:nvCxnSpPr>
        <p:spPr bwMode="auto">
          <a:xfrm>
            <a:off x="8655050" y="5667375"/>
            <a:ext cx="5842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6" name="Straight Connector 85">
            <a:extLst>
              <a:ext uri="{FF2B5EF4-FFF2-40B4-BE49-F238E27FC236}">
                <a16:creationId xmlns:a16="http://schemas.microsoft.com/office/drawing/2014/main" id="{732C727C-538F-B904-0729-1544F1F47AB4}"/>
              </a:ext>
            </a:extLst>
          </p:cNvPr>
          <p:cNvCxnSpPr/>
          <p:nvPr>
            <p:custDataLst>
              <p:tags r:id="rId39"/>
            </p:custDataLst>
          </p:nvPr>
        </p:nvCxnSpPr>
        <p:spPr bwMode="auto">
          <a:xfrm>
            <a:off x="9972675" y="5629275"/>
            <a:ext cx="5842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47" name="Chart 46">
            <a:extLst>
              <a:ext uri="{FF2B5EF4-FFF2-40B4-BE49-F238E27FC236}">
                <a16:creationId xmlns:a16="http://schemas.microsoft.com/office/drawing/2014/main" id="{D0F4BFD4-0506-CB97-9C07-F2BB89695EEE}"/>
              </a:ext>
            </a:extLst>
          </p:cNvPr>
          <p:cNvGraphicFramePr/>
          <p:nvPr>
            <p:custDataLst>
              <p:tags r:id="rId40"/>
            </p:custDataLst>
          </p:nvPr>
        </p:nvGraphicFramePr>
        <p:xfrm>
          <a:off x="6229350" y="5403850"/>
          <a:ext cx="5435600" cy="946150"/>
        </p:xfrm>
        <a:graphic>
          <a:graphicData uri="http://schemas.openxmlformats.org/drawingml/2006/chart">
            <c:chart xmlns:c="http://schemas.openxmlformats.org/drawingml/2006/chart" xmlns:r="http://schemas.openxmlformats.org/officeDocument/2006/relationships" r:id="rId63"/>
          </a:graphicData>
        </a:graphic>
      </p:graphicFrame>
      <p:sp>
        <p:nvSpPr>
          <p:cNvPr id="97" name="Text Placeholder 2">
            <a:extLst>
              <a:ext uri="{FF2B5EF4-FFF2-40B4-BE49-F238E27FC236}">
                <a16:creationId xmlns:a16="http://schemas.microsoft.com/office/drawing/2014/main" id="{B74BE842-2E14-19F7-70DC-E61CC2033077}"/>
              </a:ext>
            </a:extLst>
          </p:cNvPr>
          <p:cNvSpPr>
            <a:spLocks noGrp="1"/>
          </p:cNvSpPr>
          <p:nvPr>
            <p:custDataLst>
              <p:tags r:id="rId41"/>
            </p:custDataLst>
          </p:nvPr>
        </p:nvSpPr>
        <p:spPr bwMode="auto">
          <a:xfrm>
            <a:off x="6691313" y="6167438"/>
            <a:ext cx="5603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D3E12F86-561F-4135-AF2C-37A06EEE51E5}" type="datetime'S''''a''''''nta Cr''''u''''''''''''''''''''''''''z'''''''''">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Santa Cruz</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mn-cs"/>
            </a:endParaRPr>
          </a:p>
        </p:txBody>
      </p:sp>
      <p:sp>
        <p:nvSpPr>
          <p:cNvPr id="90" name="Text Placeholder 2">
            <a:extLst>
              <a:ext uri="{FF2B5EF4-FFF2-40B4-BE49-F238E27FC236}">
                <a16:creationId xmlns:a16="http://schemas.microsoft.com/office/drawing/2014/main" id="{AD8D64EF-4EBE-51AB-EBA3-9326283638E9}"/>
              </a:ext>
            </a:extLst>
          </p:cNvPr>
          <p:cNvSpPr>
            <a:spLocks noGrp="1"/>
          </p:cNvSpPr>
          <p:nvPr>
            <p:custDataLst>
              <p:tags r:id="rId42"/>
            </p:custDataLst>
          </p:nvPr>
        </p:nvSpPr>
        <p:spPr bwMode="auto">
          <a:xfrm>
            <a:off x="8058150" y="6167438"/>
            <a:ext cx="4619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40047840-8451-42DE-B4B5-75C85FF8C884}" type="datetime'Sa''''''''''n'' ''''''''''J''''''''''''''''''u''''''a''n'''">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San Juan</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mn-cs"/>
            </a:endParaRPr>
          </a:p>
        </p:txBody>
      </p:sp>
      <p:sp>
        <p:nvSpPr>
          <p:cNvPr id="110" name="Text Placeholder 2">
            <a:extLst>
              <a:ext uri="{FF2B5EF4-FFF2-40B4-BE49-F238E27FC236}">
                <a16:creationId xmlns:a16="http://schemas.microsoft.com/office/drawing/2014/main" id="{A643BABC-3A98-C9A4-8761-6C0B14AC62A9}"/>
              </a:ext>
            </a:extLst>
          </p:cNvPr>
          <p:cNvSpPr>
            <a:spLocks noGrp="1"/>
          </p:cNvSpPr>
          <p:nvPr>
            <p:custDataLst>
              <p:tags r:id="rId43"/>
            </p:custDataLst>
          </p:nvPr>
        </p:nvSpPr>
        <p:spPr bwMode="gray">
          <a:xfrm>
            <a:off x="9523413" y="5580063"/>
            <a:ext cx="165100" cy="136525"/>
          </a:xfrm>
          <a:prstGeom prst="rect">
            <a:avLst/>
          </a:prstGeom>
          <a:solidFill>
            <a:schemeClr val="accent1"/>
          </a:solidFill>
          <a:ln>
            <a:noFill/>
          </a:ln>
          <a:effec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FD8D7CBE-FDB2-4900-938C-9ED5C3C181FD}" type="datetime'''''9''''''''''''''3'''''''''''">
              <a:rPr kumimoji="0" lang="pt-BR" altLang="en-US" sz="10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93</a:t>
            </a:fld>
            <a:endParaRPr kumimoji="0" lang="pt-BR" sz="10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7" name="Text Placeholder 2">
            <a:extLst>
              <a:ext uri="{FF2B5EF4-FFF2-40B4-BE49-F238E27FC236}">
                <a16:creationId xmlns:a16="http://schemas.microsoft.com/office/drawing/2014/main" id="{F2339228-06B1-40AD-ABDE-4A7480A79ED3}"/>
              </a:ext>
            </a:extLst>
          </p:cNvPr>
          <p:cNvSpPr>
            <a:spLocks noGrp="1"/>
          </p:cNvSpPr>
          <p:nvPr>
            <p:custDataLst>
              <p:tags r:id="rId44"/>
            </p:custDataLst>
          </p:nvPr>
        </p:nvSpPr>
        <p:spPr bwMode="auto">
          <a:xfrm>
            <a:off x="9474200" y="6167438"/>
            <a:ext cx="2635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B04F6ACE-B9F3-4B30-B062-AAC28119487F}" type="datetime'''''''''''''''''''Sa''''''''''''''''''''''l''''''t''a'">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Salta</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mn-cs"/>
            </a:endParaRPr>
          </a:p>
        </p:txBody>
      </p:sp>
      <p:sp>
        <p:nvSpPr>
          <p:cNvPr id="106" name="Text Placeholder 2">
            <a:extLst>
              <a:ext uri="{FF2B5EF4-FFF2-40B4-BE49-F238E27FC236}">
                <a16:creationId xmlns:a16="http://schemas.microsoft.com/office/drawing/2014/main" id="{CC75883C-CF41-E77D-62C0-5FE7A329ADA0}"/>
              </a:ext>
            </a:extLst>
          </p:cNvPr>
          <p:cNvSpPr>
            <a:spLocks noGrp="1"/>
          </p:cNvSpPr>
          <p:nvPr>
            <p:custDataLst>
              <p:tags r:id="rId45"/>
            </p:custDataLst>
          </p:nvPr>
        </p:nvSpPr>
        <p:spPr bwMode="auto">
          <a:xfrm>
            <a:off x="10787063" y="6167438"/>
            <a:ext cx="2730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69A7C267-E8E5-4E02-944D-B2F2DE133205}" type="datetime'T''''''''''''''''''''''''''''''''''o''''t''''''''al'">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Total</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mn-cs"/>
            </a:endParaRPr>
          </a:p>
        </p:txBody>
      </p:sp>
      <p:sp>
        <p:nvSpPr>
          <p:cNvPr id="32" name="Text Placeholder 2">
            <a:extLst>
              <a:ext uri="{FF2B5EF4-FFF2-40B4-BE49-F238E27FC236}">
                <a16:creationId xmlns:a16="http://schemas.microsoft.com/office/drawing/2014/main" id="{B946D9DD-DA0A-BE42-839C-B2B1D503385A}"/>
              </a:ext>
            </a:extLst>
          </p:cNvPr>
          <p:cNvSpPr>
            <a:spLocks noGrp="1"/>
          </p:cNvSpPr>
          <p:nvPr>
            <p:custDataLst>
              <p:tags r:id="rId46"/>
            </p:custDataLst>
          </p:nvPr>
        </p:nvSpPr>
        <p:spPr bwMode="gray">
          <a:xfrm>
            <a:off x="10760075" y="5467351"/>
            <a:ext cx="3270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84B60A5-2BA7-4055-88CB-107188520117}" type="datetime'''''''''''''1'''''''''''',''''''''2''2''1'''''''''''">
              <a:rPr lang="pt-BR" altLang="en-US" sz="1000" smtClean="0">
                <a:effectLst/>
              </a:rPr>
              <a:pPr marL="0" lvl="0" indent="0" algn="ctr">
                <a:spcBef>
                  <a:spcPct val="0"/>
                </a:spcBef>
                <a:spcAft>
                  <a:spcPct val="0"/>
                </a:spcAft>
                <a:buNone/>
              </a:pPr>
              <a:t>1,221</a:t>
            </a:fld>
            <a:endParaRPr lang="pt-BR" sz="1000" dirty="0"/>
          </a:p>
        </p:txBody>
      </p:sp>
      <p:sp>
        <p:nvSpPr>
          <p:cNvPr id="1024" name="Rectangle 8">
            <a:extLst>
              <a:ext uri="{FF2B5EF4-FFF2-40B4-BE49-F238E27FC236}">
                <a16:creationId xmlns:a16="http://schemas.microsoft.com/office/drawing/2014/main" id="{A3F78508-A964-0314-D537-B58AC27C34DF}"/>
              </a:ext>
            </a:extLst>
          </p:cNvPr>
          <p:cNvSpPr txBox="1">
            <a:spLocks/>
          </p:cNvSpPr>
          <p:nvPr>
            <p:custDataLst>
              <p:tags r:id="rId47"/>
            </p:custDataLst>
          </p:nvPr>
        </p:nvSpPr>
        <p:spPr>
          <a:xfrm>
            <a:off x="6197599" y="1223545"/>
            <a:ext cx="896621" cy="1753157"/>
          </a:xfrm>
          <a:prstGeom prst="rect">
            <a:avLst/>
          </a:prstGeom>
          <a:solidFill>
            <a:schemeClr val="accent1"/>
          </a:solidFill>
          <a:ln w="9525">
            <a:noFill/>
            <a:miter lim="800000"/>
            <a:headEnd/>
            <a:tailEnd/>
          </a:ln>
          <a:effectLst/>
        </p:spPr>
        <p:txBody>
          <a:bodyPr vert="horz" wrap="square" lIns="36576" tIns="76200" rIns="36576" bIns="76200" numCol="1" anchor="ctr"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Gold industry context</a:t>
            </a:r>
            <a:endParaRPr kumimoji="0" lang="en-CA"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endParaRPr>
          </a:p>
        </p:txBody>
      </p:sp>
      <p:sp>
        <p:nvSpPr>
          <p:cNvPr id="1025" name="TextBox 1024">
            <a:extLst>
              <a:ext uri="{FF2B5EF4-FFF2-40B4-BE49-F238E27FC236}">
                <a16:creationId xmlns:a16="http://schemas.microsoft.com/office/drawing/2014/main" id="{DAD314E2-AD5F-2097-3D88-678F0CCF4CBE}"/>
              </a:ext>
            </a:extLst>
          </p:cNvPr>
          <p:cNvSpPr txBox="1">
            <a:spLocks/>
          </p:cNvSpPr>
          <p:nvPr/>
        </p:nvSpPr>
        <p:spPr>
          <a:xfrm>
            <a:off x="7171817" y="1223545"/>
            <a:ext cx="4712209" cy="72426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5425"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Argentina is the ~24</a:t>
            </a:r>
            <a:r>
              <a:rPr kumimoji="0" lang="en-US" sz="900" b="0" i="0" u="none" strike="noStrike" kern="1200" cap="none" spc="0" normalizeH="0" baseline="3000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th</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largest gold producer globally, driven mainly by extensive operations owned by large-cap gold companies, like Newmont, Barrick, and AngloGold</a:t>
            </a:r>
          </a:p>
          <a:p>
            <a:pPr marL="228600" marR="0" lvl="1" indent="-225425"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The project pipeline is dominated by mid-caps (Pan American Silver, Lundin) and juniors (Patagonia Gold, Challenger Gold); however, its main project, Pascua-Lama (Barrick), is on hold due to litigation with the Chilean government over glacier impacts in the Chilean side of the border</a:t>
            </a:r>
          </a:p>
        </p:txBody>
      </p:sp>
      <p:grpSp>
        <p:nvGrpSpPr>
          <p:cNvPr id="48" name="Group 47">
            <a:extLst>
              <a:ext uri="{FF2B5EF4-FFF2-40B4-BE49-F238E27FC236}">
                <a16:creationId xmlns:a16="http://schemas.microsoft.com/office/drawing/2014/main" id="{B48B0267-95F2-52DF-3129-DC8C2F5E85A9}"/>
              </a:ext>
            </a:extLst>
          </p:cNvPr>
          <p:cNvGrpSpPr/>
          <p:nvPr/>
        </p:nvGrpSpPr>
        <p:grpSpPr>
          <a:xfrm>
            <a:off x="346075" y="2589459"/>
            <a:ext cx="5524265" cy="884613"/>
            <a:chOff x="346075" y="2584243"/>
            <a:chExt cx="5524265" cy="884613"/>
          </a:xfrm>
        </p:grpSpPr>
        <p:sp>
          <p:nvSpPr>
            <p:cNvPr id="43" name="Rectangle 8">
              <a:extLst>
                <a:ext uri="{FF2B5EF4-FFF2-40B4-BE49-F238E27FC236}">
                  <a16:creationId xmlns:a16="http://schemas.microsoft.com/office/drawing/2014/main" id="{F8D474FE-B311-2170-5018-2B21548A87C7}"/>
                </a:ext>
              </a:extLst>
            </p:cNvPr>
            <p:cNvSpPr txBox="1">
              <a:spLocks/>
            </p:cNvSpPr>
            <p:nvPr>
              <p:custDataLst>
                <p:tags r:id="rId54"/>
              </p:custDataLst>
            </p:nvPr>
          </p:nvSpPr>
          <p:spPr>
            <a:xfrm>
              <a:off x="346075" y="2584243"/>
              <a:ext cx="1194435" cy="884613"/>
            </a:xfrm>
            <a:prstGeom prst="rect">
              <a:avLst/>
            </a:prstGeom>
            <a:solidFill>
              <a:schemeClr val="accent1"/>
            </a:solidFill>
            <a:ln w="9525">
              <a:noFill/>
              <a:miter lim="800000"/>
              <a:headEnd/>
              <a:tailEnd/>
            </a:ln>
            <a:effectLst/>
          </p:spPr>
          <p:txBody>
            <a:bodyPr vert="horz" wrap="square" lIns="36576" tIns="76200" rIns="36576" bIns="76200" numCol="1" anchor="ctr"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Country overview</a:t>
              </a:r>
              <a:endParaRPr kumimoji="0" lang="en-CA"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endParaRPr>
            </a:p>
          </p:txBody>
        </p:sp>
        <p:grpSp>
          <p:nvGrpSpPr>
            <p:cNvPr id="117" name="Group 116">
              <a:extLst>
                <a:ext uri="{FF2B5EF4-FFF2-40B4-BE49-F238E27FC236}">
                  <a16:creationId xmlns:a16="http://schemas.microsoft.com/office/drawing/2014/main" id="{0D700741-E291-821A-8C10-BB317B1AF13D}"/>
                </a:ext>
              </a:extLst>
            </p:cNvPr>
            <p:cNvGrpSpPr/>
            <p:nvPr/>
          </p:nvGrpSpPr>
          <p:grpSpPr>
            <a:xfrm>
              <a:off x="1615442" y="2584243"/>
              <a:ext cx="4254898" cy="138499"/>
              <a:chOff x="1615442" y="2734812"/>
              <a:chExt cx="4254898" cy="138499"/>
            </a:xfrm>
          </p:grpSpPr>
          <p:sp>
            <p:nvSpPr>
              <p:cNvPr id="149" name="TextBox 148">
                <a:extLst>
                  <a:ext uri="{FF2B5EF4-FFF2-40B4-BE49-F238E27FC236}">
                    <a16:creationId xmlns:a16="http://schemas.microsoft.com/office/drawing/2014/main" id="{AE99F63B-9356-119E-2124-9025192EC592}"/>
                  </a:ext>
                </a:extLst>
              </p:cNvPr>
              <p:cNvSpPr txBox="1">
                <a:spLocks/>
              </p:cNvSpPr>
              <p:nvPr/>
            </p:nvSpPr>
            <p:spPr>
              <a:xfrm>
                <a:off x="1615442" y="2734812"/>
                <a:ext cx="913446" cy="13493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Population:</a:t>
                </a:r>
              </a:p>
            </p:txBody>
          </p:sp>
          <p:sp>
            <p:nvSpPr>
              <p:cNvPr id="150" name="TextBox 149">
                <a:extLst>
                  <a:ext uri="{FF2B5EF4-FFF2-40B4-BE49-F238E27FC236}">
                    <a16:creationId xmlns:a16="http://schemas.microsoft.com/office/drawing/2014/main" id="{AB7C5F20-D7EE-1CF5-FE7D-7AAB651A0DE7}"/>
                  </a:ext>
                </a:extLst>
              </p:cNvPr>
              <p:cNvSpPr txBox="1">
                <a:spLocks/>
              </p:cNvSpPr>
              <p:nvPr/>
            </p:nvSpPr>
            <p:spPr>
              <a:xfrm>
                <a:off x="2600326" y="2734812"/>
                <a:ext cx="3270014" cy="138499"/>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47 M</a:t>
                </a:r>
              </a:p>
            </p:txBody>
          </p:sp>
        </p:grpSp>
        <p:grpSp>
          <p:nvGrpSpPr>
            <p:cNvPr id="118" name="Group 117">
              <a:extLst>
                <a:ext uri="{FF2B5EF4-FFF2-40B4-BE49-F238E27FC236}">
                  <a16:creationId xmlns:a16="http://schemas.microsoft.com/office/drawing/2014/main" id="{75D92D83-F78D-2A33-183E-21E55BE40F5E}"/>
                </a:ext>
              </a:extLst>
            </p:cNvPr>
            <p:cNvGrpSpPr/>
            <p:nvPr/>
          </p:nvGrpSpPr>
          <p:grpSpPr>
            <a:xfrm>
              <a:off x="1615442" y="2734178"/>
              <a:ext cx="4254898" cy="134938"/>
              <a:chOff x="1615442" y="2884747"/>
              <a:chExt cx="4254898" cy="134938"/>
            </a:xfrm>
          </p:grpSpPr>
          <p:sp>
            <p:nvSpPr>
              <p:cNvPr id="152" name="TextBox 151">
                <a:extLst>
                  <a:ext uri="{FF2B5EF4-FFF2-40B4-BE49-F238E27FC236}">
                    <a16:creationId xmlns:a16="http://schemas.microsoft.com/office/drawing/2014/main" id="{313CD90E-654F-4BD9-14E0-95192A35D357}"/>
                  </a:ext>
                </a:extLst>
              </p:cNvPr>
              <p:cNvSpPr txBox="1">
                <a:spLocks/>
              </p:cNvSpPr>
              <p:nvPr/>
            </p:nvSpPr>
            <p:spPr>
              <a:xfrm>
                <a:off x="1615442" y="2884747"/>
                <a:ext cx="913446" cy="13493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Language:</a:t>
                </a:r>
              </a:p>
            </p:txBody>
          </p:sp>
          <p:sp>
            <p:nvSpPr>
              <p:cNvPr id="153" name="TextBox 152">
                <a:extLst>
                  <a:ext uri="{FF2B5EF4-FFF2-40B4-BE49-F238E27FC236}">
                    <a16:creationId xmlns:a16="http://schemas.microsoft.com/office/drawing/2014/main" id="{E254005B-DA49-EDF3-48A6-CCA356330855}"/>
                  </a:ext>
                </a:extLst>
              </p:cNvPr>
              <p:cNvSpPr txBox="1">
                <a:spLocks/>
              </p:cNvSpPr>
              <p:nvPr/>
            </p:nvSpPr>
            <p:spPr>
              <a:xfrm>
                <a:off x="2600326" y="2884747"/>
                <a:ext cx="3270014" cy="134938"/>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Spanish</a:t>
                </a:r>
              </a:p>
            </p:txBody>
          </p:sp>
        </p:grpSp>
        <p:grpSp>
          <p:nvGrpSpPr>
            <p:cNvPr id="119" name="Group 118">
              <a:extLst>
                <a:ext uri="{FF2B5EF4-FFF2-40B4-BE49-F238E27FC236}">
                  <a16:creationId xmlns:a16="http://schemas.microsoft.com/office/drawing/2014/main" id="{E3276519-0FBA-B8DD-DEB5-94D4112A275E}"/>
                </a:ext>
              </a:extLst>
            </p:cNvPr>
            <p:cNvGrpSpPr/>
            <p:nvPr/>
          </p:nvGrpSpPr>
          <p:grpSpPr>
            <a:xfrm>
              <a:off x="1615442" y="2880552"/>
              <a:ext cx="4254898" cy="138499"/>
              <a:chOff x="1615442" y="3031121"/>
              <a:chExt cx="4254898" cy="138499"/>
            </a:xfrm>
          </p:grpSpPr>
          <p:sp>
            <p:nvSpPr>
              <p:cNvPr id="155" name="TextBox 154">
                <a:extLst>
                  <a:ext uri="{FF2B5EF4-FFF2-40B4-BE49-F238E27FC236}">
                    <a16:creationId xmlns:a16="http://schemas.microsoft.com/office/drawing/2014/main" id="{E1CEF0DF-2075-199B-7D67-0C756649C778}"/>
                  </a:ext>
                </a:extLst>
              </p:cNvPr>
              <p:cNvSpPr txBox="1">
                <a:spLocks/>
              </p:cNvSpPr>
              <p:nvPr/>
            </p:nvSpPr>
            <p:spPr>
              <a:xfrm>
                <a:off x="1615442" y="3031121"/>
                <a:ext cx="913446" cy="13493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Currency:</a:t>
                </a:r>
              </a:p>
            </p:txBody>
          </p:sp>
          <p:sp>
            <p:nvSpPr>
              <p:cNvPr id="156" name="TextBox 155">
                <a:extLst>
                  <a:ext uri="{FF2B5EF4-FFF2-40B4-BE49-F238E27FC236}">
                    <a16:creationId xmlns:a16="http://schemas.microsoft.com/office/drawing/2014/main" id="{E8E68DDD-ED49-C541-1AE5-B7EEC7DC9112}"/>
                  </a:ext>
                </a:extLst>
              </p:cNvPr>
              <p:cNvSpPr txBox="1">
                <a:spLocks/>
              </p:cNvSpPr>
              <p:nvPr/>
            </p:nvSpPr>
            <p:spPr>
              <a:xfrm>
                <a:off x="2600326" y="3031121"/>
                <a:ext cx="3270014" cy="138499"/>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Argentine pesos (ARS)</a:t>
                </a:r>
              </a:p>
            </p:txBody>
          </p:sp>
        </p:grpSp>
        <p:grpSp>
          <p:nvGrpSpPr>
            <p:cNvPr id="120" name="Group 119">
              <a:extLst>
                <a:ext uri="{FF2B5EF4-FFF2-40B4-BE49-F238E27FC236}">
                  <a16:creationId xmlns:a16="http://schemas.microsoft.com/office/drawing/2014/main" id="{35AFA302-D84E-EE58-CF86-DF61DA597128}"/>
                </a:ext>
              </a:extLst>
            </p:cNvPr>
            <p:cNvGrpSpPr/>
            <p:nvPr/>
          </p:nvGrpSpPr>
          <p:grpSpPr>
            <a:xfrm>
              <a:off x="1615442" y="3030487"/>
              <a:ext cx="4254898" cy="138499"/>
              <a:chOff x="1615442" y="3181056"/>
              <a:chExt cx="4254898" cy="138499"/>
            </a:xfrm>
          </p:grpSpPr>
          <p:sp>
            <p:nvSpPr>
              <p:cNvPr id="159" name="TextBox 158">
                <a:extLst>
                  <a:ext uri="{FF2B5EF4-FFF2-40B4-BE49-F238E27FC236}">
                    <a16:creationId xmlns:a16="http://schemas.microsoft.com/office/drawing/2014/main" id="{E77F8775-5EF5-5DA0-F571-01185669986D}"/>
                  </a:ext>
                </a:extLst>
              </p:cNvPr>
              <p:cNvSpPr txBox="1">
                <a:spLocks/>
              </p:cNvSpPr>
              <p:nvPr/>
            </p:nvSpPr>
            <p:spPr>
              <a:xfrm>
                <a:off x="1615442" y="3181056"/>
                <a:ext cx="913446"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Exchange rate:</a:t>
                </a:r>
              </a:p>
            </p:txBody>
          </p:sp>
          <p:sp>
            <p:nvSpPr>
              <p:cNvPr id="160" name="TextBox 159">
                <a:extLst>
                  <a:ext uri="{FF2B5EF4-FFF2-40B4-BE49-F238E27FC236}">
                    <a16:creationId xmlns:a16="http://schemas.microsoft.com/office/drawing/2014/main" id="{8D2084E0-1F0A-EA53-2101-573D4A0B7D35}"/>
                  </a:ext>
                </a:extLst>
              </p:cNvPr>
              <p:cNvSpPr txBox="1">
                <a:spLocks/>
              </p:cNvSpPr>
              <p:nvPr/>
            </p:nvSpPr>
            <p:spPr>
              <a:xfrm>
                <a:off x="2600326" y="3181056"/>
                <a:ext cx="3270014" cy="138499"/>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1 USD = 349.93 ARS</a:t>
                </a:r>
              </a:p>
            </p:txBody>
          </p:sp>
        </p:grpSp>
        <p:grpSp>
          <p:nvGrpSpPr>
            <p:cNvPr id="122" name="Group 121">
              <a:extLst>
                <a:ext uri="{FF2B5EF4-FFF2-40B4-BE49-F238E27FC236}">
                  <a16:creationId xmlns:a16="http://schemas.microsoft.com/office/drawing/2014/main" id="{1B8844CB-0FC0-9D73-DA72-21471BD615A7}"/>
                </a:ext>
              </a:extLst>
            </p:cNvPr>
            <p:cNvGrpSpPr/>
            <p:nvPr/>
          </p:nvGrpSpPr>
          <p:grpSpPr>
            <a:xfrm>
              <a:off x="1615442" y="3180422"/>
              <a:ext cx="4254898" cy="138499"/>
              <a:chOff x="1615442" y="3330991"/>
              <a:chExt cx="4254898" cy="138499"/>
            </a:xfrm>
          </p:grpSpPr>
          <p:sp>
            <p:nvSpPr>
              <p:cNvPr id="162" name="TextBox 161">
                <a:extLst>
                  <a:ext uri="{FF2B5EF4-FFF2-40B4-BE49-F238E27FC236}">
                    <a16:creationId xmlns:a16="http://schemas.microsoft.com/office/drawing/2014/main" id="{76B76856-C654-E263-B4BA-6F7F2F92C6D5}"/>
                  </a:ext>
                </a:extLst>
              </p:cNvPr>
              <p:cNvSpPr txBox="1">
                <a:spLocks/>
              </p:cNvSpPr>
              <p:nvPr/>
            </p:nvSpPr>
            <p:spPr>
              <a:xfrm>
                <a:off x="1615442" y="3330991"/>
                <a:ext cx="913446" cy="13652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Unemployment:</a:t>
                </a:r>
              </a:p>
            </p:txBody>
          </p:sp>
          <p:sp>
            <p:nvSpPr>
              <p:cNvPr id="163" name="TextBox 162">
                <a:extLst>
                  <a:ext uri="{FF2B5EF4-FFF2-40B4-BE49-F238E27FC236}">
                    <a16:creationId xmlns:a16="http://schemas.microsoft.com/office/drawing/2014/main" id="{5056F202-CE90-6AAF-63E3-548B804AE4F1}"/>
                  </a:ext>
                </a:extLst>
              </p:cNvPr>
              <p:cNvSpPr txBox="1">
                <a:spLocks/>
              </p:cNvSpPr>
              <p:nvPr/>
            </p:nvSpPr>
            <p:spPr>
              <a:xfrm>
                <a:off x="2600326" y="3330991"/>
                <a:ext cx="3270014" cy="138499"/>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6.49% (2022)</a:t>
                </a:r>
              </a:p>
            </p:txBody>
          </p:sp>
        </p:grpSp>
        <p:grpSp>
          <p:nvGrpSpPr>
            <p:cNvPr id="121" name="Group 120">
              <a:extLst>
                <a:ext uri="{FF2B5EF4-FFF2-40B4-BE49-F238E27FC236}">
                  <a16:creationId xmlns:a16="http://schemas.microsoft.com/office/drawing/2014/main" id="{6996271A-FA53-38D8-C9B4-8E1C1D06E063}"/>
                </a:ext>
              </a:extLst>
            </p:cNvPr>
            <p:cNvGrpSpPr/>
            <p:nvPr/>
          </p:nvGrpSpPr>
          <p:grpSpPr>
            <a:xfrm>
              <a:off x="1615442" y="3330357"/>
              <a:ext cx="4254898" cy="138499"/>
              <a:chOff x="1615442" y="3480926"/>
              <a:chExt cx="4254898" cy="138499"/>
            </a:xfrm>
          </p:grpSpPr>
          <p:sp>
            <p:nvSpPr>
              <p:cNvPr id="165" name="TextBox 164">
                <a:extLst>
                  <a:ext uri="{FF2B5EF4-FFF2-40B4-BE49-F238E27FC236}">
                    <a16:creationId xmlns:a16="http://schemas.microsoft.com/office/drawing/2014/main" id="{444C5EFD-7B02-49E1-5490-7F10EC8CD8AC}"/>
                  </a:ext>
                </a:extLst>
              </p:cNvPr>
              <p:cNvSpPr txBox="1">
                <a:spLocks/>
              </p:cNvSpPr>
              <p:nvPr/>
            </p:nvSpPr>
            <p:spPr>
              <a:xfrm>
                <a:off x="1615442" y="3480926"/>
                <a:ext cx="913446"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Inflation (CPI):</a:t>
                </a:r>
              </a:p>
            </p:txBody>
          </p:sp>
          <p:sp>
            <p:nvSpPr>
              <p:cNvPr id="166" name="TextBox 165">
                <a:extLst>
                  <a:ext uri="{FF2B5EF4-FFF2-40B4-BE49-F238E27FC236}">
                    <a16:creationId xmlns:a16="http://schemas.microsoft.com/office/drawing/2014/main" id="{0740A040-C3E7-6D3E-153A-B12C72258648}"/>
                  </a:ext>
                </a:extLst>
              </p:cNvPr>
              <p:cNvSpPr txBox="1">
                <a:spLocks/>
              </p:cNvSpPr>
              <p:nvPr/>
            </p:nvSpPr>
            <p:spPr>
              <a:xfrm>
                <a:off x="2600326" y="3480926"/>
                <a:ext cx="3270014" cy="138499"/>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103.2% (2023)</a:t>
                </a:r>
              </a:p>
            </p:txBody>
          </p:sp>
        </p:grpSp>
        <p:grpSp>
          <p:nvGrpSpPr>
            <p:cNvPr id="30" name="Group 29">
              <a:extLst>
                <a:ext uri="{FF2B5EF4-FFF2-40B4-BE49-F238E27FC236}">
                  <a16:creationId xmlns:a16="http://schemas.microsoft.com/office/drawing/2014/main" id="{01DCF41D-C81B-9E91-E9BE-BB08DC5EDC92}"/>
                </a:ext>
              </a:extLst>
            </p:cNvPr>
            <p:cNvGrpSpPr/>
            <p:nvPr/>
          </p:nvGrpSpPr>
          <p:grpSpPr>
            <a:xfrm>
              <a:off x="3740224" y="2601098"/>
              <a:ext cx="2130116" cy="850903"/>
              <a:chOff x="3957324" y="2769132"/>
              <a:chExt cx="2130116" cy="850903"/>
            </a:xfrm>
          </p:grpSpPr>
          <p:sp>
            <p:nvSpPr>
              <p:cNvPr id="16" name="Freeform: Shape 15">
                <a:extLst>
                  <a:ext uri="{FF2B5EF4-FFF2-40B4-BE49-F238E27FC236}">
                    <a16:creationId xmlns:a16="http://schemas.microsoft.com/office/drawing/2014/main" id="{F9B5D8D3-C6A0-E8FB-9318-5C03935D715E}"/>
                  </a:ext>
                </a:extLst>
              </p:cNvPr>
              <p:cNvSpPr/>
              <p:nvPr/>
            </p:nvSpPr>
            <p:spPr>
              <a:xfrm rot="1345832">
                <a:off x="4535995" y="3073264"/>
                <a:ext cx="1126882" cy="449397"/>
              </a:xfrm>
              <a:custGeom>
                <a:avLst/>
                <a:gdLst>
                  <a:gd name="connsiteX0" fmla="*/ 1013460 w 1018540"/>
                  <a:gd name="connsiteY0" fmla="*/ 88900 h 624840"/>
                  <a:gd name="connsiteX1" fmla="*/ 0 w 1018540"/>
                  <a:gd name="connsiteY1" fmla="*/ 0 h 624840"/>
                  <a:gd name="connsiteX2" fmla="*/ 0 w 1018540"/>
                  <a:gd name="connsiteY2" fmla="*/ 624840 h 624840"/>
                  <a:gd name="connsiteX3" fmla="*/ 1018540 w 1018540"/>
                  <a:gd name="connsiteY3" fmla="*/ 147320 h 624840"/>
                  <a:gd name="connsiteX4" fmla="*/ 1013460 w 1018540"/>
                  <a:gd name="connsiteY4" fmla="*/ 88900 h 624840"/>
                  <a:gd name="connsiteX0" fmla="*/ 1013460 w 1018540"/>
                  <a:gd name="connsiteY0" fmla="*/ 88900 h 501015"/>
                  <a:gd name="connsiteX1" fmla="*/ 0 w 1018540"/>
                  <a:gd name="connsiteY1" fmla="*/ 0 h 501015"/>
                  <a:gd name="connsiteX2" fmla="*/ 470535 w 1018540"/>
                  <a:gd name="connsiteY2" fmla="*/ 501015 h 501015"/>
                  <a:gd name="connsiteX3" fmla="*/ 1018540 w 1018540"/>
                  <a:gd name="connsiteY3" fmla="*/ 147320 h 501015"/>
                  <a:gd name="connsiteX4" fmla="*/ 1013460 w 1018540"/>
                  <a:gd name="connsiteY4" fmla="*/ 88900 h 501015"/>
                  <a:gd name="connsiteX0" fmla="*/ 691515 w 696595"/>
                  <a:gd name="connsiteY0" fmla="*/ 41275 h 453390"/>
                  <a:gd name="connsiteX1" fmla="*/ 0 w 696595"/>
                  <a:gd name="connsiteY1" fmla="*/ 0 h 453390"/>
                  <a:gd name="connsiteX2" fmla="*/ 148590 w 696595"/>
                  <a:gd name="connsiteY2" fmla="*/ 453390 h 453390"/>
                  <a:gd name="connsiteX3" fmla="*/ 696595 w 696595"/>
                  <a:gd name="connsiteY3" fmla="*/ 99695 h 453390"/>
                  <a:gd name="connsiteX4" fmla="*/ 691515 w 696595"/>
                  <a:gd name="connsiteY4" fmla="*/ 41275 h 453390"/>
                  <a:gd name="connsiteX0" fmla="*/ 691515 w 692785"/>
                  <a:gd name="connsiteY0" fmla="*/ 41275 h 453390"/>
                  <a:gd name="connsiteX1" fmla="*/ 0 w 692785"/>
                  <a:gd name="connsiteY1" fmla="*/ 0 h 453390"/>
                  <a:gd name="connsiteX2" fmla="*/ 148590 w 692785"/>
                  <a:gd name="connsiteY2" fmla="*/ 453390 h 453390"/>
                  <a:gd name="connsiteX3" fmla="*/ 692785 w 692785"/>
                  <a:gd name="connsiteY3" fmla="*/ 76835 h 453390"/>
                  <a:gd name="connsiteX4" fmla="*/ 691515 w 692785"/>
                  <a:gd name="connsiteY4" fmla="*/ 41275 h 453390"/>
                  <a:gd name="connsiteX0" fmla="*/ 874395 w 875665"/>
                  <a:gd name="connsiteY0" fmla="*/ 79375 h 491490"/>
                  <a:gd name="connsiteX1" fmla="*/ 0 w 875665"/>
                  <a:gd name="connsiteY1" fmla="*/ 0 h 491490"/>
                  <a:gd name="connsiteX2" fmla="*/ 331470 w 875665"/>
                  <a:gd name="connsiteY2" fmla="*/ 491490 h 491490"/>
                  <a:gd name="connsiteX3" fmla="*/ 875665 w 875665"/>
                  <a:gd name="connsiteY3" fmla="*/ 114935 h 491490"/>
                  <a:gd name="connsiteX4" fmla="*/ 874395 w 875665"/>
                  <a:gd name="connsiteY4" fmla="*/ 79375 h 491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5665" h="491490">
                    <a:moveTo>
                      <a:pt x="874395" y="79375"/>
                    </a:moveTo>
                    <a:lnTo>
                      <a:pt x="0" y="0"/>
                    </a:lnTo>
                    <a:lnTo>
                      <a:pt x="331470" y="491490"/>
                    </a:lnTo>
                    <a:lnTo>
                      <a:pt x="875665" y="114935"/>
                    </a:lnTo>
                    <a:cubicBezTo>
                      <a:pt x="875242" y="103082"/>
                      <a:pt x="874818" y="91228"/>
                      <a:pt x="874395" y="79375"/>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Freeform 11">
                <a:extLst>
                  <a:ext uri="{FF2B5EF4-FFF2-40B4-BE49-F238E27FC236}">
                    <a16:creationId xmlns:a16="http://schemas.microsoft.com/office/drawing/2014/main" id="{ED43C623-77B2-0000-B9F1-AF0F22E61AA1}"/>
                  </a:ext>
                </a:extLst>
              </p:cNvPr>
              <p:cNvSpPr>
                <a:spLocks noEditPoints="1"/>
              </p:cNvSpPr>
              <p:nvPr/>
            </p:nvSpPr>
            <p:spPr bwMode="auto">
              <a:xfrm>
                <a:off x="5648622" y="3168297"/>
                <a:ext cx="197672" cy="435584"/>
              </a:xfrm>
              <a:custGeom>
                <a:avLst/>
                <a:gdLst>
                  <a:gd name="T0" fmla="*/ 418 w 673"/>
                  <a:gd name="T1" fmla="*/ 65 h 1483"/>
                  <a:gd name="T2" fmla="*/ 512 w 673"/>
                  <a:gd name="T3" fmla="*/ 116 h 1483"/>
                  <a:gd name="T4" fmla="*/ 527 w 673"/>
                  <a:gd name="T5" fmla="*/ 158 h 1483"/>
                  <a:gd name="T6" fmla="*/ 513 w 673"/>
                  <a:gd name="T7" fmla="*/ 204 h 1483"/>
                  <a:gd name="T8" fmla="*/ 597 w 673"/>
                  <a:gd name="T9" fmla="*/ 206 h 1483"/>
                  <a:gd name="T10" fmla="*/ 641 w 673"/>
                  <a:gd name="T11" fmla="*/ 155 h 1483"/>
                  <a:gd name="T12" fmla="*/ 668 w 673"/>
                  <a:gd name="T13" fmla="*/ 155 h 1483"/>
                  <a:gd name="T14" fmla="*/ 658 w 673"/>
                  <a:gd name="T15" fmla="*/ 204 h 1483"/>
                  <a:gd name="T16" fmla="*/ 614 w 673"/>
                  <a:gd name="T17" fmla="*/ 233 h 1483"/>
                  <a:gd name="T18" fmla="*/ 566 w 673"/>
                  <a:gd name="T19" fmla="*/ 287 h 1483"/>
                  <a:gd name="T20" fmla="*/ 529 w 673"/>
                  <a:gd name="T21" fmla="*/ 357 h 1483"/>
                  <a:gd name="T22" fmla="*/ 512 w 673"/>
                  <a:gd name="T23" fmla="*/ 440 h 1483"/>
                  <a:gd name="T24" fmla="*/ 530 w 673"/>
                  <a:gd name="T25" fmla="*/ 502 h 1483"/>
                  <a:gd name="T26" fmla="*/ 566 w 673"/>
                  <a:gd name="T27" fmla="*/ 565 h 1483"/>
                  <a:gd name="T28" fmla="*/ 532 w 673"/>
                  <a:gd name="T29" fmla="*/ 648 h 1483"/>
                  <a:gd name="T30" fmla="*/ 430 w 673"/>
                  <a:gd name="T31" fmla="*/ 677 h 1483"/>
                  <a:gd name="T32" fmla="*/ 384 w 673"/>
                  <a:gd name="T33" fmla="*/ 691 h 1483"/>
                  <a:gd name="T34" fmla="*/ 376 w 673"/>
                  <a:gd name="T35" fmla="*/ 738 h 1483"/>
                  <a:gd name="T36" fmla="*/ 320 w 673"/>
                  <a:gd name="T37" fmla="*/ 767 h 1483"/>
                  <a:gd name="T38" fmla="*/ 286 w 673"/>
                  <a:gd name="T39" fmla="*/ 774 h 1483"/>
                  <a:gd name="T40" fmla="*/ 309 w 673"/>
                  <a:gd name="T41" fmla="*/ 832 h 1483"/>
                  <a:gd name="T42" fmla="*/ 330 w 673"/>
                  <a:gd name="T43" fmla="*/ 849 h 1483"/>
                  <a:gd name="T44" fmla="*/ 311 w 673"/>
                  <a:gd name="T45" fmla="*/ 856 h 1483"/>
                  <a:gd name="T46" fmla="*/ 281 w 673"/>
                  <a:gd name="T47" fmla="*/ 920 h 1483"/>
                  <a:gd name="T48" fmla="*/ 248 w 673"/>
                  <a:gd name="T49" fmla="*/ 952 h 1483"/>
                  <a:gd name="T50" fmla="*/ 202 w 673"/>
                  <a:gd name="T51" fmla="*/ 1002 h 1483"/>
                  <a:gd name="T52" fmla="*/ 265 w 673"/>
                  <a:gd name="T53" fmla="*/ 1065 h 1483"/>
                  <a:gd name="T54" fmla="*/ 235 w 673"/>
                  <a:gd name="T55" fmla="*/ 1121 h 1483"/>
                  <a:gd name="T56" fmla="*/ 192 w 673"/>
                  <a:gd name="T57" fmla="*/ 1203 h 1483"/>
                  <a:gd name="T58" fmla="*/ 155 w 673"/>
                  <a:gd name="T59" fmla="*/ 1279 h 1483"/>
                  <a:gd name="T60" fmla="*/ 56 w 673"/>
                  <a:gd name="T61" fmla="*/ 1308 h 1483"/>
                  <a:gd name="T62" fmla="*/ 43 w 673"/>
                  <a:gd name="T63" fmla="*/ 1242 h 1483"/>
                  <a:gd name="T64" fmla="*/ 2 w 673"/>
                  <a:gd name="T65" fmla="*/ 1201 h 1483"/>
                  <a:gd name="T66" fmla="*/ 36 w 673"/>
                  <a:gd name="T67" fmla="*/ 1131 h 1483"/>
                  <a:gd name="T68" fmla="*/ 43 w 673"/>
                  <a:gd name="T69" fmla="*/ 1072 h 1483"/>
                  <a:gd name="T70" fmla="*/ 60 w 673"/>
                  <a:gd name="T71" fmla="*/ 1009 h 1483"/>
                  <a:gd name="T72" fmla="*/ 66 w 673"/>
                  <a:gd name="T73" fmla="*/ 951 h 1483"/>
                  <a:gd name="T74" fmla="*/ 85 w 673"/>
                  <a:gd name="T75" fmla="*/ 929 h 1483"/>
                  <a:gd name="T76" fmla="*/ 68 w 673"/>
                  <a:gd name="T77" fmla="*/ 886 h 1483"/>
                  <a:gd name="T78" fmla="*/ 53 w 673"/>
                  <a:gd name="T79" fmla="*/ 830 h 1483"/>
                  <a:gd name="T80" fmla="*/ 58 w 673"/>
                  <a:gd name="T81" fmla="*/ 774 h 1483"/>
                  <a:gd name="T82" fmla="*/ 65 w 673"/>
                  <a:gd name="T83" fmla="*/ 716 h 1483"/>
                  <a:gd name="T84" fmla="*/ 90 w 673"/>
                  <a:gd name="T85" fmla="*/ 663 h 1483"/>
                  <a:gd name="T86" fmla="*/ 83 w 673"/>
                  <a:gd name="T87" fmla="*/ 597 h 1483"/>
                  <a:gd name="T88" fmla="*/ 107 w 673"/>
                  <a:gd name="T89" fmla="*/ 554 h 1483"/>
                  <a:gd name="T90" fmla="*/ 119 w 673"/>
                  <a:gd name="T91" fmla="*/ 486 h 1483"/>
                  <a:gd name="T92" fmla="*/ 121 w 673"/>
                  <a:gd name="T93" fmla="*/ 427 h 1483"/>
                  <a:gd name="T94" fmla="*/ 104 w 673"/>
                  <a:gd name="T95" fmla="*/ 354 h 1483"/>
                  <a:gd name="T96" fmla="*/ 126 w 673"/>
                  <a:gd name="T97" fmla="*/ 304 h 1483"/>
                  <a:gd name="T98" fmla="*/ 138 w 673"/>
                  <a:gd name="T99" fmla="*/ 243 h 1483"/>
                  <a:gd name="T100" fmla="*/ 175 w 673"/>
                  <a:gd name="T101" fmla="*/ 196 h 1483"/>
                  <a:gd name="T102" fmla="*/ 170 w 673"/>
                  <a:gd name="T103" fmla="*/ 110 h 1483"/>
                  <a:gd name="T104" fmla="*/ 253 w 673"/>
                  <a:gd name="T105" fmla="*/ 2 h 1483"/>
                  <a:gd name="T106" fmla="*/ 315 w 673"/>
                  <a:gd name="T107" fmla="*/ 32 h 1483"/>
                  <a:gd name="T108" fmla="*/ 180 w 673"/>
                  <a:gd name="T109" fmla="*/ 1362 h 1483"/>
                  <a:gd name="T110" fmla="*/ 213 w 673"/>
                  <a:gd name="T111" fmla="*/ 1425 h 1483"/>
                  <a:gd name="T112" fmla="*/ 282 w 673"/>
                  <a:gd name="T113" fmla="*/ 1466 h 1483"/>
                  <a:gd name="T114" fmla="*/ 223 w 673"/>
                  <a:gd name="T115" fmla="*/ 1475 h 1483"/>
                  <a:gd name="T116" fmla="*/ 320 w 673"/>
                  <a:gd name="T117" fmla="*/ 1465 h 1483"/>
                  <a:gd name="T118" fmla="*/ 301 w 673"/>
                  <a:gd name="T119" fmla="*/ 1466 h 1483"/>
                  <a:gd name="T120" fmla="*/ 206 w 673"/>
                  <a:gd name="T121" fmla="*/ 1473 h 1483"/>
                  <a:gd name="T122" fmla="*/ 269 w 673"/>
                  <a:gd name="T123" fmla="*/ 954 h 1483"/>
                  <a:gd name="T124" fmla="*/ 383 w 673"/>
                  <a:gd name="T125" fmla="*/ 721 h 1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73" h="1483">
                    <a:moveTo>
                      <a:pt x="369" y="17"/>
                    </a:moveTo>
                    <a:lnTo>
                      <a:pt x="371" y="17"/>
                    </a:lnTo>
                    <a:lnTo>
                      <a:pt x="371" y="19"/>
                    </a:lnTo>
                    <a:lnTo>
                      <a:pt x="369" y="19"/>
                    </a:lnTo>
                    <a:lnTo>
                      <a:pt x="371" y="19"/>
                    </a:lnTo>
                    <a:lnTo>
                      <a:pt x="372" y="20"/>
                    </a:lnTo>
                    <a:lnTo>
                      <a:pt x="372" y="22"/>
                    </a:lnTo>
                    <a:lnTo>
                      <a:pt x="374" y="22"/>
                    </a:lnTo>
                    <a:lnTo>
                      <a:pt x="376" y="22"/>
                    </a:lnTo>
                    <a:lnTo>
                      <a:pt x="376" y="24"/>
                    </a:lnTo>
                    <a:lnTo>
                      <a:pt x="377" y="24"/>
                    </a:lnTo>
                    <a:lnTo>
                      <a:pt x="379" y="24"/>
                    </a:lnTo>
                    <a:lnTo>
                      <a:pt x="379" y="25"/>
                    </a:lnTo>
                    <a:lnTo>
                      <a:pt x="379" y="24"/>
                    </a:lnTo>
                    <a:lnTo>
                      <a:pt x="379" y="25"/>
                    </a:lnTo>
                    <a:lnTo>
                      <a:pt x="381" y="25"/>
                    </a:lnTo>
                    <a:lnTo>
                      <a:pt x="379" y="25"/>
                    </a:lnTo>
                    <a:lnTo>
                      <a:pt x="381" y="25"/>
                    </a:lnTo>
                    <a:lnTo>
                      <a:pt x="381" y="27"/>
                    </a:lnTo>
                    <a:lnTo>
                      <a:pt x="383" y="27"/>
                    </a:lnTo>
                    <a:lnTo>
                      <a:pt x="384" y="27"/>
                    </a:lnTo>
                    <a:lnTo>
                      <a:pt x="383" y="29"/>
                    </a:lnTo>
                    <a:lnTo>
                      <a:pt x="384" y="29"/>
                    </a:lnTo>
                    <a:lnTo>
                      <a:pt x="383" y="29"/>
                    </a:lnTo>
                    <a:lnTo>
                      <a:pt x="383" y="31"/>
                    </a:lnTo>
                    <a:lnTo>
                      <a:pt x="383" y="32"/>
                    </a:lnTo>
                    <a:lnTo>
                      <a:pt x="384" y="31"/>
                    </a:lnTo>
                    <a:lnTo>
                      <a:pt x="384" y="32"/>
                    </a:lnTo>
                    <a:lnTo>
                      <a:pt x="384" y="34"/>
                    </a:lnTo>
                    <a:lnTo>
                      <a:pt x="384" y="36"/>
                    </a:lnTo>
                    <a:lnTo>
                      <a:pt x="386" y="37"/>
                    </a:lnTo>
                    <a:lnTo>
                      <a:pt x="388" y="39"/>
                    </a:lnTo>
                    <a:lnTo>
                      <a:pt x="388" y="41"/>
                    </a:lnTo>
                    <a:lnTo>
                      <a:pt x="389" y="42"/>
                    </a:lnTo>
                    <a:lnTo>
                      <a:pt x="389" y="44"/>
                    </a:lnTo>
                    <a:lnTo>
                      <a:pt x="391" y="44"/>
                    </a:lnTo>
                    <a:lnTo>
                      <a:pt x="391" y="46"/>
                    </a:lnTo>
                    <a:lnTo>
                      <a:pt x="393" y="46"/>
                    </a:lnTo>
                    <a:lnTo>
                      <a:pt x="394" y="48"/>
                    </a:lnTo>
                    <a:lnTo>
                      <a:pt x="396" y="48"/>
                    </a:lnTo>
                    <a:lnTo>
                      <a:pt x="396" y="49"/>
                    </a:lnTo>
                    <a:lnTo>
                      <a:pt x="398" y="49"/>
                    </a:lnTo>
                    <a:lnTo>
                      <a:pt x="398" y="51"/>
                    </a:lnTo>
                    <a:lnTo>
                      <a:pt x="400" y="51"/>
                    </a:lnTo>
                    <a:lnTo>
                      <a:pt x="400" y="53"/>
                    </a:lnTo>
                    <a:lnTo>
                      <a:pt x="401" y="53"/>
                    </a:lnTo>
                    <a:lnTo>
                      <a:pt x="401" y="54"/>
                    </a:lnTo>
                    <a:lnTo>
                      <a:pt x="403" y="54"/>
                    </a:lnTo>
                    <a:lnTo>
                      <a:pt x="405" y="54"/>
                    </a:lnTo>
                    <a:lnTo>
                      <a:pt x="405" y="56"/>
                    </a:lnTo>
                    <a:lnTo>
                      <a:pt x="406" y="56"/>
                    </a:lnTo>
                    <a:lnTo>
                      <a:pt x="406" y="58"/>
                    </a:lnTo>
                    <a:lnTo>
                      <a:pt x="408" y="58"/>
                    </a:lnTo>
                    <a:lnTo>
                      <a:pt x="408" y="59"/>
                    </a:lnTo>
                    <a:lnTo>
                      <a:pt x="410" y="59"/>
                    </a:lnTo>
                    <a:lnTo>
                      <a:pt x="410" y="61"/>
                    </a:lnTo>
                    <a:lnTo>
                      <a:pt x="411" y="61"/>
                    </a:lnTo>
                    <a:lnTo>
                      <a:pt x="413" y="61"/>
                    </a:lnTo>
                    <a:lnTo>
                      <a:pt x="415" y="61"/>
                    </a:lnTo>
                    <a:lnTo>
                      <a:pt x="415" y="63"/>
                    </a:lnTo>
                    <a:lnTo>
                      <a:pt x="417" y="63"/>
                    </a:lnTo>
                    <a:lnTo>
                      <a:pt x="417" y="65"/>
                    </a:lnTo>
                    <a:lnTo>
                      <a:pt x="418" y="65"/>
                    </a:lnTo>
                    <a:lnTo>
                      <a:pt x="420" y="65"/>
                    </a:lnTo>
                    <a:lnTo>
                      <a:pt x="420" y="66"/>
                    </a:lnTo>
                    <a:lnTo>
                      <a:pt x="422" y="66"/>
                    </a:lnTo>
                    <a:lnTo>
                      <a:pt x="422" y="68"/>
                    </a:lnTo>
                    <a:lnTo>
                      <a:pt x="422" y="70"/>
                    </a:lnTo>
                    <a:lnTo>
                      <a:pt x="423" y="70"/>
                    </a:lnTo>
                    <a:lnTo>
                      <a:pt x="423" y="71"/>
                    </a:lnTo>
                    <a:lnTo>
                      <a:pt x="425" y="73"/>
                    </a:lnTo>
                    <a:lnTo>
                      <a:pt x="425" y="75"/>
                    </a:lnTo>
                    <a:lnTo>
                      <a:pt x="427" y="75"/>
                    </a:lnTo>
                    <a:lnTo>
                      <a:pt x="427" y="73"/>
                    </a:lnTo>
                    <a:lnTo>
                      <a:pt x="428" y="75"/>
                    </a:lnTo>
                    <a:lnTo>
                      <a:pt x="430" y="76"/>
                    </a:lnTo>
                    <a:lnTo>
                      <a:pt x="432" y="76"/>
                    </a:lnTo>
                    <a:lnTo>
                      <a:pt x="434" y="76"/>
                    </a:lnTo>
                    <a:lnTo>
                      <a:pt x="435" y="76"/>
                    </a:lnTo>
                    <a:lnTo>
                      <a:pt x="435" y="78"/>
                    </a:lnTo>
                    <a:lnTo>
                      <a:pt x="437" y="78"/>
                    </a:lnTo>
                    <a:lnTo>
                      <a:pt x="439" y="78"/>
                    </a:lnTo>
                    <a:lnTo>
                      <a:pt x="439" y="80"/>
                    </a:lnTo>
                    <a:lnTo>
                      <a:pt x="440" y="80"/>
                    </a:lnTo>
                    <a:lnTo>
                      <a:pt x="442" y="80"/>
                    </a:lnTo>
                    <a:lnTo>
                      <a:pt x="444" y="80"/>
                    </a:lnTo>
                    <a:lnTo>
                      <a:pt x="445" y="80"/>
                    </a:lnTo>
                    <a:lnTo>
                      <a:pt x="445" y="82"/>
                    </a:lnTo>
                    <a:lnTo>
                      <a:pt x="447" y="82"/>
                    </a:lnTo>
                    <a:lnTo>
                      <a:pt x="449" y="83"/>
                    </a:lnTo>
                    <a:lnTo>
                      <a:pt x="451" y="83"/>
                    </a:lnTo>
                    <a:lnTo>
                      <a:pt x="452" y="83"/>
                    </a:lnTo>
                    <a:lnTo>
                      <a:pt x="454" y="83"/>
                    </a:lnTo>
                    <a:lnTo>
                      <a:pt x="456" y="82"/>
                    </a:lnTo>
                    <a:lnTo>
                      <a:pt x="457" y="82"/>
                    </a:lnTo>
                    <a:lnTo>
                      <a:pt x="466" y="87"/>
                    </a:lnTo>
                    <a:lnTo>
                      <a:pt x="473" y="92"/>
                    </a:lnTo>
                    <a:lnTo>
                      <a:pt x="476" y="93"/>
                    </a:lnTo>
                    <a:lnTo>
                      <a:pt x="478" y="95"/>
                    </a:lnTo>
                    <a:lnTo>
                      <a:pt x="478" y="97"/>
                    </a:lnTo>
                    <a:lnTo>
                      <a:pt x="479" y="97"/>
                    </a:lnTo>
                    <a:lnTo>
                      <a:pt x="481" y="99"/>
                    </a:lnTo>
                    <a:lnTo>
                      <a:pt x="483" y="100"/>
                    </a:lnTo>
                    <a:lnTo>
                      <a:pt x="485" y="100"/>
                    </a:lnTo>
                    <a:lnTo>
                      <a:pt x="485" y="102"/>
                    </a:lnTo>
                    <a:lnTo>
                      <a:pt x="486" y="102"/>
                    </a:lnTo>
                    <a:lnTo>
                      <a:pt x="488" y="104"/>
                    </a:lnTo>
                    <a:lnTo>
                      <a:pt x="490" y="104"/>
                    </a:lnTo>
                    <a:lnTo>
                      <a:pt x="491" y="105"/>
                    </a:lnTo>
                    <a:lnTo>
                      <a:pt x="493" y="105"/>
                    </a:lnTo>
                    <a:lnTo>
                      <a:pt x="495" y="107"/>
                    </a:lnTo>
                    <a:lnTo>
                      <a:pt x="496" y="107"/>
                    </a:lnTo>
                    <a:lnTo>
                      <a:pt x="496" y="109"/>
                    </a:lnTo>
                    <a:lnTo>
                      <a:pt x="498" y="109"/>
                    </a:lnTo>
                    <a:lnTo>
                      <a:pt x="498" y="110"/>
                    </a:lnTo>
                    <a:lnTo>
                      <a:pt x="500" y="110"/>
                    </a:lnTo>
                    <a:lnTo>
                      <a:pt x="502" y="110"/>
                    </a:lnTo>
                    <a:lnTo>
                      <a:pt x="503" y="110"/>
                    </a:lnTo>
                    <a:lnTo>
                      <a:pt x="503" y="112"/>
                    </a:lnTo>
                    <a:lnTo>
                      <a:pt x="505" y="112"/>
                    </a:lnTo>
                    <a:lnTo>
                      <a:pt x="507" y="112"/>
                    </a:lnTo>
                    <a:lnTo>
                      <a:pt x="508" y="112"/>
                    </a:lnTo>
                    <a:lnTo>
                      <a:pt x="510" y="112"/>
                    </a:lnTo>
                    <a:lnTo>
                      <a:pt x="510" y="114"/>
                    </a:lnTo>
                    <a:lnTo>
                      <a:pt x="512" y="114"/>
                    </a:lnTo>
                    <a:lnTo>
                      <a:pt x="512" y="116"/>
                    </a:lnTo>
                    <a:lnTo>
                      <a:pt x="513" y="116"/>
                    </a:lnTo>
                    <a:lnTo>
                      <a:pt x="513" y="117"/>
                    </a:lnTo>
                    <a:lnTo>
                      <a:pt x="515" y="117"/>
                    </a:lnTo>
                    <a:lnTo>
                      <a:pt x="515" y="119"/>
                    </a:lnTo>
                    <a:lnTo>
                      <a:pt x="515" y="117"/>
                    </a:lnTo>
                    <a:lnTo>
                      <a:pt x="517" y="117"/>
                    </a:lnTo>
                    <a:lnTo>
                      <a:pt x="517" y="116"/>
                    </a:lnTo>
                    <a:lnTo>
                      <a:pt x="519" y="116"/>
                    </a:lnTo>
                    <a:lnTo>
                      <a:pt x="520" y="117"/>
                    </a:lnTo>
                    <a:lnTo>
                      <a:pt x="522" y="117"/>
                    </a:lnTo>
                    <a:lnTo>
                      <a:pt x="522" y="119"/>
                    </a:lnTo>
                    <a:lnTo>
                      <a:pt x="524" y="119"/>
                    </a:lnTo>
                    <a:lnTo>
                      <a:pt x="524" y="121"/>
                    </a:lnTo>
                    <a:lnTo>
                      <a:pt x="525" y="119"/>
                    </a:lnTo>
                    <a:lnTo>
                      <a:pt x="525" y="121"/>
                    </a:lnTo>
                    <a:lnTo>
                      <a:pt x="525" y="119"/>
                    </a:lnTo>
                    <a:lnTo>
                      <a:pt x="525" y="121"/>
                    </a:lnTo>
                    <a:lnTo>
                      <a:pt x="525" y="119"/>
                    </a:lnTo>
                    <a:lnTo>
                      <a:pt x="527" y="121"/>
                    </a:lnTo>
                    <a:lnTo>
                      <a:pt x="529" y="121"/>
                    </a:lnTo>
                    <a:lnTo>
                      <a:pt x="530" y="121"/>
                    </a:lnTo>
                    <a:lnTo>
                      <a:pt x="532" y="122"/>
                    </a:lnTo>
                    <a:lnTo>
                      <a:pt x="532" y="124"/>
                    </a:lnTo>
                    <a:lnTo>
                      <a:pt x="534" y="124"/>
                    </a:lnTo>
                    <a:lnTo>
                      <a:pt x="534" y="126"/>
                    </a:lnTo>
                    <a:lnTo>
                      <a:pt x="536" y="126"/>
                    </a:lnTo>
                    <a:lnTo>
                      <a:pt x="534" y="126"/>
                    </a:lnTo>
                    <a:lnTo>
                      <a:pt x="536" y="127"/>
                    </a:lnTo>
                    <a:lnTo>
                      <a:pt x="536" y="129"/>
                    </a:lnTo>
                    <a:lnTo>
                      <a:pt x="537" y="129"/>
                    </a:lnTo>
                    <a:lnTo>
                      <a:pt x="536" y="129"/>
                    </a:lnTo>
                    <a:lnTo>
                      <a:pt x="536" y="131"/>
                    </a:lnTo>
                    <a:lnTo>
                      <a:pt x="537" y="131"/>
                    </a:lnTo>
                    <a:lnTo>
                      <a:pt x="537" y="133"/>
                    </a:lnTo>
                    <a:lnTo>
                      <a:pt x="539" y="133"/>
                    </a:lnTo>
                    <a:lnTo>
                      <a:pt x="541" y="133"/>
                    </a:lnTo>
                    <a:lnTo>
                      <a:pt x="541" y="134"/>
                    </a:lnTo>
                    <a:lnTo>
                      <a:pt x="541" y="136"/>
                    </a:lnTo>
                    <a:lnTo>
                      <a:pt x="541" y="138"/>
                    </a:lnTo>
                    <a:lnTo>
                      <a:pt x="541" y="139"/>
                    </a:lnTo>
                    <a:lnTo>
                      <a:pt x="539" y="139"/>
                    </a:lnTo>
                    <a:lnTo>
                      <a:pt x="539" y="141"/>
                    </a:lnTo>
                    <a:lnTo>
                      <a:pt x="537" y="141"/>
                    </a:lnTo>
                    <a:lnTo>
                      <a:pt x="537" y="143"/>
                    </a:lnTo>
                    <a:lnTo>
                      <a:pt x="536" y="143"/>
                    </a:lnTo>
                    <a:lnTo>
                      <a:pt x="534" y="144"/>
                    </a:lnTo>
                    <a:lnTo>
                      <a:pt x="536" y="144"/>
                    </a:lnTo>
                    <a:lnTo>
                      <a:pt x="536" y="146"/>
                    </a:lnTo>
                    <a:lnTo>
                      <a:pt x="534" y="146"/>
                    </a:lnTo>
                    <a:lnTo>
                      <a:pt x="532" y="146"/>
                    </a:lnTo>
                    <a:lnTo>
                      <a:pt x="532" y="148"/>
                    </a:lnTo>
                    <a:lnTo>
                      <a:pt x="534" y="148"/>
                    </a:lnTo>
                    <a:lnTo>
                      <a:pt x="534" y="150"/>
                    </a:lnTo>
                    <a:lnTo>
                      <a:pt x="532" y="150"/>
                    </a:lnTo>
                    <a:lnTo>
                      <a:pt x="530" y="150"/>
                    </a:lnTo>
                    <a:lnTo>
                      <a:pt x="530" y="151"/>
                    </a:lnTo>
                    <a:lnTo>
                      <a:pt x="532" y="153"/>
                    </a:lnTo>
                    <a:lnTo>
                      <a:pt x="530" y="153"/>
                    </a:lnTo>
                    <a:lnTo>
                      <a:pt x="530" y="155"/>
                    </a:lnTo>
                    <a:lnTo>
                      <a:pt x="530" y="156"/>
                    </a:lnTo>
                    <a:lnTo>
                      <a:pt x="529" y="156"/>
                    </a:lnTo>
                    <a:lnTo>
                      <a:pt x="529" y="158"/>
                    </a:lnTo>
                    <a:lnTo>
                      <a:pt x="527" y="158"/>
                    </a:lnTo>
                    <a:lnTo>
                      <a:pt x="527" y="160"/>
                    </a:lnTo>
                    <a:lnTo>
                      <a:pt x="525" y="160"/>
                    </a:lnTo>
                    <a:lnTo>
                      <a:pt x="524" y="160"/>
                    </a:lnTo>
                    <a:lnTo>
                      <a:pt x="524" y="161"/>
                    </a:lnTo>
                    <a:lnTo>
                      <a:pt x="522" y="161"/>
                    </a:lnTo>
                    <a:lnTo>
                      <a:pt x="522" y="163"/>
                    </a:lnTo>
                    <a:lnTo>
                      <a:pt x="520" y="163"/>
                    </a:lnTo>
                    <a:lnTo>
                      <a:pt x="522" y="163"/>
                    </a:lnTo>
                    <a:lnTo>
                      <a:pt x="522" y="165"/>
                    </a:lnTo>
                    <a:lnTo>
                      <a:pt x="520" y="165"/>
                    </a:lnTo>
                    <a:lnTo>
                      <a:pt x="520" y="167"/>
                    </a:lnTo>
                    <a:lnTo>
                      <a:pt x="520" y="168"/>
                    </a:lnTo>
                    <a:lnTo>
                      <a:pt x="520" y="170"/>
                    </a:lnTo>
                    <a:lnTo>
                      <a:pt x="519" y="170"/>
                    </a:lnTo>
                    <a:lnTo>
                      <a:pt x="519" y="172"/>
                    </a:lnTo>
                    <a:lnTo>
                      <a:pt x="520" y="172"/>
                    </a:lnTo>
                    <a:lnTo>
                      <a:pt x="520" y="173"/>
                    </a:lnTo>
                    <a:lnTo>
                      <a:pt x="519" y="173"/>
                    </a:lnTo>
                    <a:lnTo>
                      <a:pt x="519" y="175"/>
                    </a:lnTo>
                    <a:lnTo>
                      <a:pt x="519" y="177"/>
                    </a:lnTo>
                    <a:lnTo>
                      <a:pt x="520" y="177"/>
                    </a:lnTo>
                    <a:lnTo>
                      <a:pt x="520" y="178"/>
                    </a:lnTo>
                    <a:lnTo>
                      <a:pt x="519" y="178"/>
                    </a:lnTo>
                    <a:lnTo>
                      <a:pt x="520" y="180"/>
                    </a:lnTo>
                    <a:lnTo>
                      <a:pt x="519" y="180"/>
                    </a:lnTo>
                    <a:lnTo>
                      <a:pt x="517" y="180"/>
                    </a:lnTo>
                    <a:lnTo>
                      <a:pt x="517" y="182"/>
                    </a:lnTo>
                    <a:lnTo>
                      <a:pt x="519" y="184"/>
                    </a:lnTo>
                    <a:lnTo>
                      <a:pt x="517" y="184"/>
                    </a:lnTo>
                    <a:lnTo>
                      <a:pt x="517" y="185"/>
                    </a:lnTo>
                    <a:lnTo>
                      <a:pt x="515" y="185"/>
                    </a:lnTo>
                    <a:lnTo>
                      <a:pt x="515" y="187"/>
                    </a:lnTo>
                    <a:lnTo>
                      <a:pt x="515" y="189"/>
                    </a:lnTo>
                    <a:lnTo>
                      <a:pt x="513" y="189"/>
                    </a:lnTo>
                    <a:lnTo>
                      <a:pt x="513" y="190"/>
                    </a:lnTo>
                    <a:lnTo>
                      <a:pt x="512" y="190"/>
                    </a:lnTo>
                    <a:lnTo>
                      <a:pt x="510" y="190"/>
                    </a:lnTo>
                    <a:lnTo>
                      <a:pt x="510" y="192"/>
                    </a:lnTo>
                    <a:lnTo>
                      <a:pt x="510" y="194"/>
                    </a:lnTo>
                    <a:lnTo>
                      <a:pt x="508" y="194"/>
                    </a:lnTo>
                    <a:lnTo>
                      <a:pt x="510" y="196"/>
                    </a:lnTo>
                    <a:lnTo>
                      <a:pt x="508" y="196"/>
                    </a:lnTo>
                    <a:lnTo>
                      <a:pt x="507" y="196"/>
                    </a:lnTo>
                    <a:lnTo>
                      <a:pt x="508" y="196"/>
                    </a:lnTo>
                    <a:lnTo>
                      <a:pt x="507" y="197"/>
                    </a:lnTo>
                    <a:lnTo>
                      <a:pt x="508" y="197"/>
                    </a:lnTo>
                    <a:lnTo>
                      <a:pt x="507" y="197"/>
                    </a:lnTo>
                    <a:lnTo>
                      <a:pt x="505" y="197"/>
                    </a:lnTo>
                    <a:lnTo>
                      <a:pt x="505" y="199"/>
                    </a:lnTo>
                    <a:lnTo>
                      <a:pt x="503" y="199"/>
                    </a:lnTo>
                    <a:lnTo>
                      <a:pt x="503" y="201"/>
                    </a:lnTo>
                    <a:lnTo>
                      <a:pt x="505" y="201"/>
                    </a:lnTo>
                    <a:lnTo>
                      <a:pt x="505" y="202"/>
                    </a:lnTo>
                    <a:lnTo>
                      <a:pt x="507" y="202"/>
                    </a:lnTo>
                    <a:lnTo>
                      <a:pt x="507" y="204"/>
                    </a:lnTo>
                    <a:lnTo>
                      <a:pt x="505" y="204"/>
                    </a:lnTo>
                    <a:lnTo>
                      <a:pt x="505" y="206"/>
                    </a:lnTo>
                    <a:lnTo>
                      <a:pt x="507" y="206"/>
                    </a:lnTo>
                    <a:lnTo>
                      <a:pt x="507" y="204"/>
                    </a:lnTo>
                    <a:lnTo>
                      <a:pt x="508" y="204"/>
                    </a:lnTo>
                    <a:lnTo>
                      <a:pt x="510" y="204"/>
                    </a:lnTo>
                    <a:lnTo>
                      <a:pt x="512" y="204"/>
                    </a:lnTo>
                    <a:lnTo>
                      <a:pt x="513" y="204"/>
                    </a:lnTo>
                    <a:lnTo>
                      <a:pt x="515" y="204"/>
                    </a:lnTo>
                    <a:lnTo>
                      <a:pt x="517" y="204"/>
                    </a:lnTo>
                    <a:lnTo>
                      <a:pt x="519" y="204"/>
                    </a:lnTo>
                    <a:lnTo>
                      <a:pt x="520" y="204"/>
                    </a:lnTo>
                    <a:lnTo>
                      <a:pt x="522" y="204"/>
                    </a:lnTo>
                    <a:lnTo>
                      <a:pt x="524" y="204"/>
                    </a:lnTo>
                    <a:lnTo>
                      <a:pt x="525" y="204"/>
                    </a:lnTo>
                    <a:lnTo>
                      <a:pt x="527" y="204"/>
                    </a:lnTo>
                    <a:lnTo>
                      <a:pt x="529" y="204"/>
                    </a:lnTo>
                    <a:lnTo>
                      <a:pt x="530" y="204"/>
                    </a:lnTo>
                    <a:lnTo>
                      <a:pt x="532" y="206"/>
                    </a:lnTo>
                    <a:lnTo>
                      <a:pt x="534" y="206"/>
                    </a:lnTo>
                    <a:lnTo>
                      <a:pt x="536" y="206"/>
                    </a:lnTo>
                    <a:lnTo>
                      <a:pt x="537" y="206"/>
                    </a:lnTo>
                    <a:lnTo>
                      <a:pt x="537" y="207"/>
                    </a:lnTo>
                    <a:lnTo>
                      <a:pt x="539" y="207"/>
                    </a:lnTo>
                    <a:lnTo>
                      <a:pt x="541" y="209"/>
                    </a:lnTo>
                    <a:lnTo>
                      <a:pt x="542" y="209"/>
                    </a:lnTo>
                    <a:lnTo>
                      <a:pt x="542" y="211"/>
                    </a:lnTo>
                    <a:lnTo>
                      <a:pt x="544" y="211"/>
                    </a:lnTo>
                    <a:lnTo>
                      <a:pt x="546" y="211"/>
                    </a:lnTo>
                    <a:lnTo>
                      <a:pt x="546" y="209"/>
                    </a:lnTo>
                    <a:lnTo>
                      <a:pt x="547" y="209"/>
                    </a:lnTo>
                    <a:lnTo>
                      <a:pt x="549" y="209"/>
                    </a:lnTo>
                    <a:lnTo>
                      <a:pt x="551" y="211"/>
                    </a:lnTo>
                    <a:lnTo>
                      <a:pt x="553" y="211"/>
                    </a:lnTo>
                    <a:lnTo>
                      <a:pt x="554" y="211"/>
                    </a:lnTo>
                    <a:lnTo>
                      <a:pt x="556" y="213"/>
                    </a:lnTo>
                    <a:lnTo>
                      <a:pt x="558" y="213"/>
                    </a:lnTo>
                    <a:lnTo>
                      <a:pt x="559" y="213"/>
                    </a:lnTo>
                    <a:lnTo>
                      <a:pt x="559" y="211"/>
                    </a:lnTo>
                    <a:lnTo>
                      <a:pt x="561" y="211"/>
                    </a:lnTo>
                    <a:lnTo>
                      <a:pt x="561" y="209"/>
                    </a:lnTo>
                    <a:lnTo>
                      <a:pt x="563" y="209"/>
                    </a:lnTo>
                    <a:lnTo>
                      <a:pt x="564" y="209"/>
                    </a:lnTo>
                    <a:lnTo>
                      <a:pt x="564" y="211"/>
                    </a:lnTo>
                    <a:lnTo>
                      <a:pt x="566" y="211"/>
                    </a:lnTo>
                    <a:lnTo>
                      <a:pt x="568" y="213"/>
                    </a:lnTo>
                    <a:lnTo>
                      <a:pt x="570" y="213"/>
                    </a:lnTo>
                    <a:lnTo>
                      <a:pt x="570" y="211"/>
                    </a:lnTo>
                    <a:lnTo>
                      <a:pt x="571" y="211"/>
                    </a:lnTo>
                    <a:lnTo>
                      <a:pt x="573" y="211"/>
                    </a:lnTo>
                    <a:lnTo>
                      <a:pt x="575" y="211"/>
                    </a:lnTo>
                    <a:lnTo>
                      <a:pt x="576" y="211"/>
                    </a:lnTo>
                    <a:lnTo>
                      <a:pt x="576" y="213"/>
                    </a:lnTo>
                    <a:lnTo>
                      <a:pt x="578" y="213"/>
                    </a:lnTo>
                    <a:lnTo>
                      <a:pt x="578" y="214"/>
                    </a:lnTo>
                    <a:lnTo>
                      <a:pt x="581" y="216"/>
                    </a:lnTo>
                    <a:lnTo>
                      <a:pt x="581" y="214"/>
                    </a:lnTo>
                    <a:lnTo>
                      <a:pt x="583" y="214"/>
                    </a:lnTo>
                    <a:lnTo>
                      <a:pt x="583" y="213"/>
                    </a:lnTo>
                    <a:lnTo>
                      <a:pt x="585" y="211"/>
                    </a:lnTo>
                    <a:lnTo>
                      <a:pt x="583" y="211"/>
                    </a:lnTo>
                    <a:lnTo>
                      <a:pt x="583" y="209"/>
                    </a:lnTo>
                    <a:lnTo>
                      <a:pt x="585" y="209"/>
                    </a:lnTo>
                    <a:lnTo>
                      <a:pt x="587" y="209"/>
                    </a:lnTo>
                    <a:lnTo>
                      <a:pt x="587" y="207"/>
                    </a:lnTo>
                    <a:lnTo>
                      <a:pt x="588" y="206"/>
                    </a:lnTo>
                    <a:lnTo>
                      <a:pt x="590" y="206"/>
                    </a:lnTo>
                    <a:lnTo>
                      <a:pt x="592" y="206"/>
                    </a:lnTo>
                    <a:lnTo>
                      <a:pt x="593" y="206"/>
                    </a:lnTo>
                    <a:lnTo>
                      <a:pt x="595" y="207"/>
                    </a:lnTo>
                    <a:lnTo>
                      <a:pt x="597" y="206"/>
                    </a:lnTo>
                    <a:lnTo>
                      <a:pt x="598" y="207"/>
                    </a:lnTo>
                    <a:lnTo>
                      <a:pt x="598" y="209"/>
                    </a:lnTo>
                    <a:lnTo>
                      <a:pt x="600" y="209"/>
                    </a:lnTo>
                    <a:lnTo>
                      <a:pt x="600" y="211"/>
                    </a:lnTo>
                    <a:lnTo>
                      <a:pt x="602" y="211"/>
                    </a:lnTo>
                    <a:lnTo>
                      <a:pt x="604" y="209"/>
                    </a:lnTo>
                    <a:lnTo>
                      <a:pt x="604" y="207"/>
                    </a:lnTo>
                    <a:lnTo>
                      <a:pt x="605" y="207"/>
                    </a:lnTo>
                    <a:lnTo>
                      <a:pt x="607" y="207"/>
                    </a:lnTo>
                    <a:lnTo>
                      <a:pt x="607" y="206"/>
                    </a:lnTo>
                    <a:lnTo>
                      <a:pt x="607" y="204"/>
                    </a:lnTo>
                    <a:lnTo>
                      <a:pt x="609" y="204"/>
                    </a:lnTo>
                    <a:lnTo>
                      <a:pt x="609" y="202"/>
                    </a:lnTo>
                    <a:lnTo>
                      <a:pt x="607" y="202"/>
                    </a:lnTo>
                    <a:lnTo>
                      <a:pt x="607" y="201"/>
                    </a:lnTo>
                    <a:lnTo>
                      <a:pt x="607" y="199"/>
                    </a:lnTo>
                    <a:lnTo>
                      <a:pt x="609" y="201"/>
                    </a:lnTo>
                    <a:lnTo>
                      <a:pt x="609" y="199"/>
                    </a:lnTo>
                    <a:lnTo>
                      <a:pt x="609" y="197"/>
                    </a:lnTo>
                    <a:lnTo>
                      <a:pt x="610" y="197"/>
                    </a:lnTo>
                    <a:lnTo>
                      <a:pt x="612" y="197"/>
                    </a:lnTo>
                    <a:lnTo>
                      <a:pt x="612" y="196"/>
                    </a:lnTo>
                    <a:lnTo>
                      <a:pt x="612" y="194"/>
                    </a:lnTo>
                    <a:lnTo>
                      <a:pt x="614" y="194"/>
                    </a:lnTo>
                    <a:lnTo>
                      <a:pt x="615" y="192"/>
                    </a:lnTo>
                    <a:lnTo>
                      <a:pt x="617" y="192"/>
                    </a:lnTo>
                    <a:lnTo>
                      <a:pt x="619" y="190"/>
                    </a:lnTo>
                    <a:lnTo>
                      <a:pt x="621" y="192"/>
                    </a:lnTo>
                    <a:lnTo>
                      <a:pt x="622" y="192"/>
                    </a:lnTo>
                    <a:lnTo>
                      <a:pt x="622" y="190"/>
                    </a:lnTo>
                    <a:lnTo>
                      <a:pt x="622" y="189"/>
                    </a:lnTo>
                    <a:lnTo>
                      <a:pt x="624" y="187"/>
                    </a:lnTo>
                    <a:lnTo>
                      <a:pt x="626" y="185"/>
                    </a:lnTo>
                    <a:lnTo>
                      <a:pt x="627" y="185"/>
                    </a:lnTo>
                    <a:lnTo>
                      <a:pt x="629" y="185"/>
                    </a:lnTo>
                    <a:lnTo>
                      <a:pt x="629" y="184"/>
                    </a:lnTo>
                    <a:lnTo>
                      <a:pt x="629" y="182"/>
                    </a:lnTo>
                    <a:lnTo>
                      <a:pt x="631" y="180"/>
                    </a:lnTo>
                    <a:lnTo>
                      <a:pt x="632" y="180"/>
                    </a:lnTo>
                    <a:lnTo>
                      <a:pt x="632" y="182"/>
                    </a:lnTo>
                    <a:lnTo>
                      <a:pt x="634" y="180"/>
                    </a:lnTo>
                    <a:lnTo>
                      <a:pt x="634" y="178"/>
                    </a:lnTo>
                    <a:lnTo>
                      <a:pt x="634" y="177"/>
                    </a:lnTo>
                    <a:lnTo>
                      <a:pt x="634" y="175"/>
                    </a:lnTo>
                    <a:lnTo>
                      <a:pt x="636" y="175"/>
                    </a:lnTo>
                    <a:lnTo>
                      <a:pt x="636" y="173"/>
                    </a:lnTo>
                    <a:lnTo>
                      <a:pt x="638" y="173"/>
                    </a:lnTo>
                    <a:lnTo>
                      <a:pt x="638" y="172"/>
                    </a:lnTo>
                    <a:lnTo>
                      <a:pt x="638" y="170"/>
                    </a:lnTo>
                    <a:lnTo>
                      <a:pt x="638" y="168"/>
                    </a:lnTo>
                    <a:lnTo>
                      <a:pt x="639" y="168"/>
                    </a:lnTo>
                    <a:lnTo>
                      <a:pt x="639" y="167"/>
                    </a:lnTo>
                    <a:lnTo>
                      <a:pt x="638" y="165"/>
                    </a:lnTo>
                    <a:lnTo>
                      <a:pt x="639" y="165"/>
                    </a:lnTo>
                    <a:lnTo>
                      <a:pt x="641" y="165"/>
                    </a:lnTo>
                    <a:lnTo>
                      <a:pt x="641" y="163"/>
                    </a:lnTo>
                    <a:lnTo>
                      <a:pt x="639" y="163"/>
                    </a:lnTo>
                    <a:lnTo>
                      <a:pt x="639" y="161"/>
                    </a:lnTo>
                    <a:lnTo>
                      <a:pt x="639" y="160"/>
                    </a:lnTo>
                    <a:lnTo>
                      <a:pt x="639" y="158"/>
                    </a:lnTo>
                    <a:lnTo>
                      <a:pt x="638" y="156"/>
                    </a:lnTo>
                    <a:lnTo>
                      <a:pt x="639" y="155"/>
                    </a:lnTo>
                    <a:lnTo>
                      <a:pt x="641" y="155"/>
                    </a:lnTo>
                    <a:lnTo>
                      <a:pt x="641" y="153"/>
                    </a:lnTo>
                    <a:lnTo>
                      <a:pt x="641" y="151"/>
                    </a:lnTo>
                    <a:lnTo>
                      <a:pt x="641" y="150"/>
                    </a:lnTo>
                    <a:lnTo>
                      <a:pt x="641" y="148"/>
                    </a:lnTo>
                    <a:lnTo>
                      <a:pt x="639" y="148"/>
                    </a:lnTo>
                    <a:lnTo>
                      <a:pt x="639" y="146"/>
                    </a:lnTo>
                    <a:lnTo>
                      <a:pt x="639" y="144"/>
                    </a:lnTo>
                    <a:lnTo>
                      <a:pt x="639" y="143"/>
                    </a:lnTo>
                    <a:lnTo>
                      <a:pt x="641" y="143"/>
                    </a:lnTo>
                    <a:lnTo>
                      <a:pt x="641" y="141"/>
                    </a:lnTo>
                    <a:lnTo>
                      <a:pt x="643" y="141"/>
                    </a:lnTo>
                    <a:lnTo>
                      <a:pt x="643" y="139"/>
                    </a:lnTo>
                    <a:lnTo>
                      <a:pt x="643" y="141"/>
                    </a:lnTo>
                    <a:lnTo>
                      <a:pt x="644" y="141"/>
                    </a:lnTo>
                    <a:lnTo>
                      <a:pt x="646" y="143"/>
                    </a:lnTo>
                    <a:lnTo>
                      <a:pt x="646" y="144"/>
                    </a:lnTo>
                    <a:lnTo>
                      <a:pt x="648" y="144"/>
                    </a:lnTo>
                    <a:lnTo>
                      <a:pt x="646" y="143"/>
                    </a:lnTo>
                    <a:lnTo>
                      <a:pt x="648" y="143"/>
                    </a:lnTo>
                    <a:lnTo>
                      <a:pt x="648" y="141"/>
                    </a:lnTo>
                    <a:lnTo>
                      <a:pt x="649" y="141"/>
                    </a:lnTo>
                    <a:lnTo>
                      <a:pt x="649" y="139"/>
                    </a:lnTo>
                    <a:lnTo>
                      <a:pt x="651" y="139"/>
                    </a:lnTo>
                    <a:lnTo>
                      <a:pt x="653" y="141"/>
                    </a:lnTo>
                    <a:lnTo>
                      <a:pt x="653" y="139"/>
                    </a:lnTo>
                    <a:lnTo>
                      <a:pt x="655" y="139"/>
                    </a:lnTo>
                    <a:lnTo>
                      <a:pt x="655" y="138"/>
                    </a:lnTo>
                    <a:lnTo>
                      <a:pt x="656" y="138"/>
                    </a:lnTo>
                    <a:lnTo>
                      <a:pt x="658" y="136"/>
                    </a:lnTo>
                    <a:lnTo>
                      <a:pt x="658" y="138"/>
                    </a:lnTo>
                    <a:lnTo>
                      <a:pt x="658" y="139"/>
                    </a:lnTo>
                    <a:lnTo>
                      <a:pt x="656" y="139"/>
                    </a:lnTo>
                    <a:lnTo>
                      <a:pt x="658" y="141"/>
                    </a:lnTo>
                    <a:lnTo>
                      <a:pt x="658" y="139"/>
                    </a:lnTo>
                    <a:lnTo>
                      <a:pt x="660" y="139"/>
                    </a:lnTo>
                    <a:lnTo>
                      <a:pt x="661" y="139"/>
                    </a:lnTo>
                    <a:lnTo>
                      <a:pt x="661" y="141"/>
                    </a:lnTo>
                    <a:lnTo>
                      <a:pt x="663" y="141"/>
                    </a:lnTo>
                    <a:lnTo>
                      <a:pt x="661" y="141"/>
                    </a:lnTo>
                    <a:lnTo>
                      <a:pt x="663" y="141"/>
                    </a:lnTo>
                    <a:lnTo>
                      <a:pt x="663" y="143"/>
                    </a:lnTo>
                    <a:lnTo>
                      <a:pt x="663" y="141"/>
                    </a:lnTo>
                    <a:lnTo>
                      <a:pt x="665" y="141"/>
                    </a:lnTo>
                    <a:lnTo>
                      <a:pt x="665" y="143"/>
                    </a:lnTo>
                    <a:lnTo>
                      <a:pt x="665" y="141"/>
                    </a:lnTo>
                    <a:lnTo>
                      <a:pt x="665" y="143"/>
                    </a:lnTo>
                    <a:lnTo>
                      <a:pt x="666" y="143"/>
                    </a:lnTo>
                    <a:lnTo>
                      <a:pt x="666" y="144"/>
                    </a:lnTo>
                    <a:lnTo>
                      <a:pt x="665" y="144"/>
                    </a:lnTo>
                    <a:lnTo>
                      <a:pt x="666" y="144"/>
                    </a:lnTo>
                    <a:lnTo>
                      <a:pt x="665" y="144"/>
                    </a:lnTo>
                    <a:lnTo>
                      <a:pt x="666" y="144"/>
                    </a:lnTo>
                    <a:lnTo>
                      <a:pt x="666" y="146"/>
                    </a:lnTo>
                    <a:lnTo>
                      <a:pt x="666" y="148"/>
                    </a:lnTo>
                    <a:lnTo>
                      <a:pt x="668" y="150"/>
                    </a:lnTo>
                    <a:lnTo>
                      <a:pt x="666" y="150"/>
                    </a:lnTo>
                    <a:lnTo>
                      <a:pt x="666" y="151"/>
                    </a:lnTo>
                    <a:lnTo>
                      <a:pt x="668" y="151"/>
                    </a:lnTo>
                    <a:lnTo>
                      <a:pt x="666" y="153"/>
                    </a:lnTo>
                    <a:lnTo>
                      <a:pt x="668" y="153"/>
                    </a:lnTo>
                    <a:lnTo>
                      <a:pt x="666" y="153"/>
                    </a:lnTo>
                    <a:lnTo>
                      <a:pt x="666" y="155"/>
                    </a:lnTo>
                    <a:lnTo>
                      <a:pt x="668" y="155"/>
                    </a:lnTo>
                    <a:lnTo>
                      <a:pt x="668" y="156"/>
                    </a:lnTo>
                    <a:lnTo>
                      <a:pt x="670" y="158"/>
                    </a:lnTo>
                    <a:lnTo>
                      <a:pt x="670" y="160"/>
                    </a:lnTo>
                    <a:lnTo>
                      <a:pt x="672" y="161"/>
                    </a:lnTo>
                    <a:lnTo>
                      <a:pt x="673" y="163"/>
                    </a:lnTo>
                    <a:lnTo>
                      <a:pt x="673" y="165"/>
                    </a:lnTo>
                    <a:lnTo>
                      <a:pt x="673" y="167"/>
                    </a:lnTo>
                    <a:lnTo>
                      <a:pt x="673" y="168"/>
                    </a:lnTo>
                    <a:lnTo>
                      <a:pt x="672" y="168"/>
                    </a:lnTo>
                    <a:lnTo>
                      <a:pt x="672" y="170"/>
                    </a:lnTo>
                    <a:lnTo>
                      <a:pt x="672" y="172"/>
                    </a:lnTo>
                    <a:lnTo>
                      <a:pt x="672" y="173"/>
                    </a:lnTo>
                    <a:lnTo>
                      <a:pt x="672" y="175"/>
                    </a:lnTo>
                    <a:lnTo>
                      <a:pt x="670" y="175"/>
                    </a:lnTo>
                    <a:lnTo>
                      <a:pt x="672" y="175"/>
                    </a:lnTo>
                    <a:lnTo>
                      <a:pt x="670" y="177"/>
                    </a:lnTo>
                    <a:lnTo>
                      <a:pt x="672" y="177"/>
                    </a:lnTo>
                    <a:lnTo>
                      <a:pt x="670" y="177"/>
                    </a:lnTo>
                    <a:lnTo>
                      <a:pt x="670" y="178"/>
                    </a:lnTo>
                    <a:lnTo>
                      <a:pt x="670" y="180"/>
                    </a:lnTo>
                    <a:lnTo>
                      <a:pt x="672" y="180"/>
                    </a:lnTo>
                    <a:lnTo>
                      <a:pt x="670" y="182"/>
                    </a:lnTo>
                    <a:lnTo>
                      <a:pt x="672" y="182"/>
                    </a:lnTo>
                    <a:lnTo>
                      <a:pt x="670" y="182"/>
                    </a:lnTo>
                    <a:lnTo>
                      <a:pt x="670" y="184"/>
                    </a:lnTo>
                    <a:lnTo>
                      <a:pt x="670" y="182"/>
                    </a:lnTo>
                    <a:lnTo>
                      <a:pt x="670" y="184"/>
                    </a:lnTo>
                    <a:lnTo>
                      <a:pt x="672" y="184"/>
                    </a:lnTo>
                    <a:lnTo>
                      <a:pt x="670" y="185"/>
                    </a:lnTo>
                    <a:lnTo>
                      <a:pt x="672" y="185"/>
                    </a:lnTo>
                    <a:lnTo>
                      <a:pt x="672" y="187"/>
                    </a:lnTo>
                    <a:lnTo>
                      <a:pt x="673" y="189"/>
                    </a:lnTo>
                    <a:lnTo>
                      <a:pt x="672" y="189"/>
                    </a:lnTo>
                    <a:lnTo>
                      <a:pt x="672" y="190"/>
                    </a:lnTo>
                    <a:lnTo>
                      <a:pt x="672" y="192"/>
                    </a:lnTo>
                    <a:lnTo>
                      <a:pt x="672" y="190"/>
                    </a:lnTo>
                    <a:lnTo>
                      <a:pt x="672" y="192"/>
                    </a:lnTo>
                    <a:lnTo>
                      <a:pt x="670" y="192"/>
                    </a:lnTo>
                    <a:lnTo>
                      <a:pt x="672" y="194"/>
                    </a:lnTo>
                    <a:lnTo>
                      <a:pt x="670" y="194"/>
                    </a:lnTo>
                    <a:lnTo>
                      <a:pt x="670" y="196"/>
                    </a:lnTo>
                    <a:lnTo>
                      <a:pt x="668" y="194"/>
                    </a:lnTo>
                    <a:lnTo>
                      <a:pt x="668" y="196"/>
                    </a:lnTo>
                    <a:lnTo>
                      <a:pt x="670" y="196"/>
                    </a:lnTo>
                    <a:lnTo>
                      <a:pt x="668" y="196"/>
                    </a:lnTo>
                    <a:lnTo>
                      <a:pt x="668" y="197"/>
                    </a:lnTo>
                    <a:lnTo>
                      <a:pt x="668" y="196"/>
                    </a:lnTo>
                    <a:lnTo>
                      <a:pt x="668" y="197"/>
                    </a:lnTo>
                    <a:lnTo>
                      <a:pt x="668" y="199"/>
                    </a:lnTo>
                    <a:lnTo>
                      <a:pt x="666" y="199"/>
                    </a:lnTo>
                    <a:lnTo>
                      <a:pt x="668" y="199"/>
                    </a:lnTo>
                    <a:lnTo>
                      <a:pt x="666" y="199"/>
                    </a:lnTo>
                    <a:lnTo>
                      <a:pt x="666" y="201"/>
                    </a:lnTo>
                    <a:lnTo>
                      <a:pt x="666" y="199"/>
                    </a:lnTo>
                    <a:lnTo>
                      <a:pt x="665" y="199"/>
                    </a:lnTo>
                    <a:lnTo>
                      <a:pt x="665" y="201"/>
                    </a:lnTo>
                    <a:lnTo>
                      <a:pt x="663" y="199"/>
                    </a:lnTo>
                    <a:lnTo>
                      <a:pt x="663" y="201"/>
                    </a:lnTo>
                    <a:lnTo>
                      <a:pt x="661" y="201"/>
                    </a:lnTo>
                    <a:lnTo>
                      <a:pt x="661" y="202"/>
                    </a:lnTo>
                    <a:lnTo>
                      <a:pt x="660" y="202"/>
                    </a:lnTo>
                    <a:lnTo>
                      <a:pt x="660" y="204"/>
                    </a:lnTo>
                    <a:lnTo>
                      <a:pt x="658" y="204"/>
                    </a:lnTo>
                    <a:lnTo>
                      <a:pt x="658" y="206"/>
                    </a:lnTo>
                    <a:lnTo>
                      <a:pt x="656" y="206"/>
                    </a:lnTo>
                    <a:lnTo>
                      <a:pt x="656" y="204"/>
                    </a:lnTo>
                    <a:lnTo>
                      <a:pt x="655" y="204"/>
                    </a:lnTo>
                    <a:lnTo>
                      <a:pt x="655" y="206"/>
                    </a:lnTo>
                    <a:lnTo>
                      <a:pt x="655" y="207"/>
                    </a:lnTo>
                    <a:lnTo>
                      <a:pt x="653" y="209"/>
                    </a:lnTo>
                    <a:lnTo>
                      <a:pt x="653" y="211"/>
                    </a:lnTo>
                    <a:lnTo>
                      <a:pt x="651" y="211"/>
                    </a:lnTo>
                    <a:lnTo>
                      <a:pt x="651" y="209"/>
                    </a:lnTo>
                    <a:lnTo>
                      <a:pt x="649" y="209"/>
                    </a:lnTo>
                    <a:lnTo>
                      <a:pt x="649" y="211"/>
                    </a:lnTo>
                    <a:lnTo>
                      <a:pt x="648" y="211"/>
                    </a:lnTo>
                    <a:lnTo>
                      <a:pt x="648" y="209"/>
                    </a:lnTo>
                    <a:lnTo>
                      <a:pt x="646" y="209"/>
                    </a:lnTo>
                    <a:lnTo>
                      <a:pt x="646" y="211"/>
                    </a:lnTo>
                    <a:lnTo>
                      <a:pt x="646" y="213"/>
                    </a:lnTo>
                    <a:lnTo>
                      <a:pt x="644" y="213"/>
                    </a:lnTo>
                    <a:lnTo>
                      <a:pt x="643" y="213"/>
                    </a:lnTo>
                    <a:lnTo>
                      <a:pt x="643" y="211"/>
                    </a:lnTo>
                    <a:lnTo>
                      <a:pt x="641" y="211"/>
                    </a:lnTo>
                    <a:lnTo>
                      <a:pt x="641" y="213"/>
                    </a:lnTo>
                    <a:lnTo>
                      <a:pt x="641" y="214"/>
                    </a:lnTo>
                    <a:lnTo>
                      <a:pt x="639" y="214"/>
                    </a:lnTo>
                    <a:lnTo>
                      <a:pt x="639" y="213"/>
                    </a:lnTo>
                    <a:lnTo>
                      <a:pt x="638" y="213"/>
                    </a:lnTo>
                    <a:lnTo>
                      <a:pt x="638" y="214"/>
                    </a:lnTo>
                    <a:lnTo>
                      <a:pt x="639" y="214"/>
                    </a:lnTo>
                    <a:lnTo>
                      <a:pt x="638" y="216"/>
                    </a:lnTo>
                    <a:lnTo>
                      <a:pt x="638" y="214"/>
                    </a:lnTo>
                    <a:lnTo>
                      <a:pt x="636" y="214"/>
                    </a:lnTo>
                    <a:lnTo>
                      <a:pt x="636" y="216"/>
                    </a:lnTo>
                    <a:lnTo>
                      <a:pt x="634" y="216"/>
                    </a:lnTo>
                    <a:lnTo>
                      <a:pt x="634" y="214"/>
                    </a:lnTo>
                    <a:lnTo>
                      <a:pt x="632" y="216"/>
                    </a:lnTo>
                    <a:lnTo>
                      <a:pt x="632" y="218"/>
                    </a:lnTo>
                    <a:lnTo>
                      <a:pt x="631" y="218"/>
                    </a:lnTo>
                    <a:lnTo>
                      <a:pt x="631" y="219"/>
                    </a:lnTo>
                    <a:lnTo>
                      <a:pt x="631" y="221"/>
                    </a:lnTo>
                    <a:lnTo>
                      <a:pt x="631" y="223"/>
                    </a:lnTo>
                    <a:lnTo>
                      <a:pt x="629" y="223"/>
                    </a:lnTo>
                    <a:lnTo>
                      <a:pt x="627" y="223"/>
                    </a:lnTo>
                    <a:lnTo>
                      <a:pt x="627" y="224"/>
                    </a:lnTo>
                    <a:lnTo>
                      <a:pt x="626" y="223"/>
                    </a:lnTo>
                    <a:lnTo>
                      <a:pt x="624" y="223"/>
                    </a:lnTo>
                    <a:lnTo>
                      <a:pt x="624" y="224"/>
                    </a:lnTo>
                    <a:lnTo>
                      <a:pt x="626" y="224"/>
                    </a:lnTo>
                    <a:lnTo>
                      <a:pt x="627" y="224"/>
                    </a:lnTo>
                    <a:lnTo>
                      <a:pt x="626" y="226"/>
                    </a:lnTo>
                    <a:lnTo>
                      <a:pt x="624" y="226"/>
                    </a:lnTo>
                    <a:lnTo>
                      <a:pt x="624" y="228"/>
                    </a:lnTo>
                    <a:lnTo>
                      <a:pt x="622" y="228"/>
                    </a:lnTo>
                    <a:lnTo>
                      <a:pt x="622" y="226"/>
                    </a:lnTo>
                    <a:lnTo>
                      <a:pt x="621" y="226"/>
                    </a:lnTo>
                    <a:lnTo>
                      <a:pt x="621" y="228"/>
                    </a:lnTo>
                    <a:lnTo>
                      <a:pt x="619" y="228"/>
                    </a:lnTo>
                    <a:lnTo>
                      <a:pt x="619" y="230"/>
                    </a:lnTo>
                    <a:lnTo>
                      <a:pt x="617" y="228"/>
                    </a:lnTo>
                    <a:lnTo>
                      <a:pt x="615" y="230"/>
                    </a:lnTo>
                    <a:lnTo>
                      <a:pt x="615" y="231"/>
                    </a:lnTo>
                    <a:lnTo>
                      <a:pt x="614" y="231"/>
                    </a:lnTo>
                    <a:lnTo>
                      <a:pt x="615" y="233"/>
                    </a:lnTo>
                    <a:lnTo>
                      <a:pt x="614" y="233"/>
                    </a:lnTo>
                    <a:lnTo>
                      <a:pt x="612" y="235"/>
                    </a:lnTo>
                    <a:lnTo>
                      <a:pt x="610" y="235"/>
                    </a:lnTo>
                    <a:lnTo>
                      <a:pt x="610" y="236"/>
                    </a:lnTo>
                    <a:lnTo>
                      <a:pt x="609" y="236"/>
                    </a:lnTo>
                    <a:lnTo>
                      <a:pt x="609" y="238"/>
                    </a:lnTo>
                    <a:lnTo>
                      <a:pt x="607" y="238"/>
                    </a:lnTo>
                    <a:lnTo>
                      <a:pt x="607" y="236"/>
                    </a:lnTo>
                    <a:lnTo>
                      <a:pt x="607" y="238"/>
                    </a:lnTo>
                    <a:lnTo>
                      <a:pt x="605" y="238"/>
                    </a:lnTo>
                    <a:lnTo>
                      <a:pt x="605" y="240"/>
                    </a:lnTo>
                    <a:lnTo>
                      <a:pt x="604" y="240"/>
                    </a:lnTo>
                    <a:lnTo>
                      <a:pt x="602" y="240"/>
                    </a:lnTo>
                    <a:lnTo>
                      <a:pt x="602" y="241"/>
                    </a:lnTo>
                    <a:lnTo>
                      <a:pt x="602" y="243"/>
                    </a:lnTo>
                    <a:lnTo>
                      <a:pt x="604" y="243"/>
                    </a:lnTo>
                    <a:lnTo>
                      <a:pt x="605" y="243"/>
                    </a:lnTo>
                    <a:lnTo>
                      <a:pt x="605" y="245"/>
                    </a:lnTo>
                    <a:lnTo>
                      <a:pt x="604" y="247"/>
                    </a:lnTo>
                    <a:lnTo>
                      <a:pt x="604" y="248"/>
                    </a:lnTo>
                    <a:lnTo>
                      <a:pt x="604" y="247"/>
                    </a:lnTo>
                    <a:lnTo>
                      <a:pt x="602" y="245"/>
                    </a:lnTo>
                    <a:lnTo>
                      <a:pt x="600" y="245"/>
                    </a:lnTo>
                    <a:lnTo>
                      <a:pt x="598" y="245"/>
                    </a:lnTo>
                    <a:lnTo>
                      <a:pt x="597" y="247"/>
                    </a:lnTo>
                    <a:lnTo>
                      <a:pt x="597" y="248"/>
                    </a:lnTo>
                    <a:lnTo>
                      <a:pt x="598" y="250"/>
                    </a:lnTo>
                    <a:lnTo>
                      <a:pt x="597" y="250"/>
                    </a:lnTo>
                    <a:lnTo>
                      <a:pt x="595" y="250"/>
                    </a:lnTo>
                    <a:lnTo>
                      <a:pt x="593" y="250"/>
                    </a:lnTo>
                    <a:lnTo>
                      <a:pt x="593" y="252"/>
                    </a:lnTo>
                    <a:lnTo>
                      <a:pt x="593" y="253"/>
                    </a:lnTo>
                    <a:lnTo>
                      <a:pt x="593" y="255"/>
                    </a:lnTo>
                    <a:lnTo>
                      <a:pt x="592" y="255"/>
                    </a:lnTo>
                    <a:lnTo>
                      <a:pt x="592" y="257"/>
                    </a:lnTo>
                    <a:lnTo>
                      <a:pt x="590" y="257"/>
                    </a:lnTo>
                    <a:lnTo>
                      <a:pt x="590" y="258"/>
                    </a:lnTo>
                    <a:lnTo>
                      <a:pt x="588" y="258"/>
                    </a:lnTo>
                    <a:lnTo>
                      <a:pt x="588" y="260"/>
                    </a:lnTo>
                    <a:lnTo>
                      <a:pt x="587" y="262"/>
                    </a:lnTo>
                    <a:lnTo>
                      <a:pt x="585" y="262"/>
                    </a:lnTo>
                    <a:lnTo>
                      <a:pt x="583" y="262"/>
                    </a:lnTo>
                    <a:lnTo>
                      <a:pt x="583" y="264"/>
                    </a:lnTo>
                    <a:lnTo>
                      <a:pt x="583" y="265"/>
                    </a:lnTo>
                    <a:lnTo>
                      <a:pt x="583" y="267"/>
                    </a:lnTo>
                    <a:lnTo>
                      <a:pt x="581" y="267"/>
                    </a:lnTo>
                    <a:lnTo>
                      <a:pt x="581" y="269"/>
                    </a:lnTo>
                    <a:lnTo>
                      <a:pt x="580" y="269"/>
                    </a:lnTo>
                    <a:lnTo>
                      <a:pt x="580" y="270"/>
                    </a:lnTo>
                    <a:lnTo>
                      <a:pt x="580" y="272"/>
                    </a:lnTo>
                    <a:lnTo>
                      <a:pt x="580" y="274"/>
                    </a:lnTo>
                    <a:lnTo>
                      <a:pt x="576" y="274"/>
                    </a:lnTo>
                    <a:lnTo>
                      <a:pt x="575" y="274"/>
                    </a:lnTo>
                    <a:lnTo>
                      <a:pt x="575" y="275"/>
                    </a:lnTo>
                    <a:lnTo>
                      <a:pt x="573" y="275"/>
                    </a:lnTo>
                    <a:lnTo>
                      <a:pt x="573" y="277"/>
                    </a:lnTo>
                    <a:lnTo>
                      <a:pt x="571" y="277"/>
                    </a:lnTo>
                    <a:lnTo>
                      <a:pt x="571" y="279"/>
                    </a:lnTo>
                    <a:lnTo>
                      <a:pt x="571" y="281"/>
                    </a:lnTo>
                    <a:lnTo>
                      <a:pt x="570" y="284"/>
                    </a:lnTo>
                    <a:lnTo>
                      <a:pt x="568" y="284"/>
                    </a:lnTo>
                    <a:lnTo>
                      <a:pt x="568" y="286"/>
                    </a:lnTo>
                    <a:lnTo>
                      <a:pt x="568" y="287"/>
                    </a:lnTo>
                    <a:lnTo>
                      <a:pt x="566" y="287"/>
                    </a:lnTo>
                    <a:lnTo>
                      <a:pt x="566" y="289"/>
                    </a:lnTo>
                    <a:lnTo>
                      <a:pt x="564" y="289"/>
                    </a:lnTo>
                    <a:lnTo>
                      <a:pt x="564" y="291"/>
                    </a:lnTo>
                    <a:lnTo>
                      <a:pt x="563" y="291"/>
                    </a:lnTo>
                    <a:lnTo>
                      <a:pt x="563" y="292"/>
                    </a:lnTo>
                    <a:lnTo>
                      <a:pt x="561" y="292"/>
                    </a:lnTo>
                    <a:lnTo>
                      <a:pt x="561" y="294"/>
                    </a:lnTo>
                    <a:lnTo>
                      <a:pt x="561" y="296"/>
                    </a:lnTo>
                    <a:lnTo>
                      <a:pt x="559" y="296"/>
                    </a:lnTo>
                    <a:lnTo>
                      <a:pt x="559" y="298"/>
                    </a:lnTo>
                    <a:lnTo>
                      <a:pt x="558" y="298"/>
                    </a:lnTo>
                    <a:lnTo>
                      <a:pt x="558" y="299"/>
                    </a:lnTo>
                    <a:lnTo>
                      <a:pt x="556" y="299"/>
                    </a:lnTo>
                    <a:lnTo>
                      <a:pt x="554" y="301"/>
                    </a:lnTo>
                    <a:lnTo>
                      <a:pt x="553" y="299"/>
                    </a:lnTo>
                    <a:lnTo>
                      <a:pt x="553" y="301"/>
                    </a:lnTo>
                    <a:lnTo>
                      <a:pt x="551" y="301"/>
                    </a:lnTo>
                    <a:lnTo>
                      <a:pt x="549" y="303"/>
                    </a:lnTo>
                    <a:lnTo>
                      <a:pt x="549" y="304"/>
                    </a:lnTo>
                    <a:lnTo>
                      <a:pt x="549" y="306"/>
                    </a:lnTo>
                    <a:lnTo>
                      <a:pt x="549" y="308"/>
                    </a:lnTo>
                    <a:lnTo>
                      <a:pt x="549" y="309"/>
                    </a:lnTo>
                    <a:lnTo>
                      <a:pt x="547" y="309"/>
                    </a:lnTo>
                    <a:lnTo>
                      <a:pt x="546" y="309"/>
                    </a:lnTo>
                    <a:lnTo>
                      <a:pt x="546" y="311"/>
                    </a:lnTo>
                    <a:lnTo>
                      <a:pt x="544" y="311"/>
                    </a:lnTo>
                    <a:lnTo>
                      <a:pt x="544" y="313"/>
                    </a:lnTo>
                    <a:lnTo>
                      <a:pt x="542" y="315"/>
                    </a:lnTo>
                    <a:lnTo>
                      <a:pt x="541" y="316"/>
                    </a:lnTo>
                    <a:lnTo>
                      <a:pt x="539" y="316"/>
                    </a:lnTo>
                    <a:lnTo>
                      <a:pt x="537" y="316"/>
                    </a:lnTo>
                    <a:lnTo>
                      <a:pt x="539" y="316"/>
                    </a:lnTo>
                    <a:lnTo>
                      <a:pt x="539" y="318"/>
                    </a:lnTo>
                    <a:lnTo>
                      <a:pt x="539" y="320"/>
                    </a:lnTo>
                    <a:lnTo>
                      <a:pt x="539" y="321"/>
                    </a:lnTo>
                    <a:lnTo>
                      <a:pt x="539" y="323"/>
                    </a:lnTo>
                    <a:lnTo>
                      <a:pt x="537" y="323"/>
                    </a:lnTo>
                    <a:lnTo>
                      <a:pt x="536" y="325"/>
                    </a:lnTo>
                    <a:lnTo>
                      <a:pt x="534" y="325"/>
                    </a:lnTo>
                    <a:lnTo>
                      <a:pt x="534" y="326"/>
                    </a:lnTo>
                    <a:lnTo>
                      <a:pt x="532" y="326"/>
                    </a:lnTo>
                    <a:lnTo>
                      <a:pt x="530" y="326"/>
                    </a:lnTo>
                    <a:lnTo>
                      <a:pt x="530" y="328"/>
                    </a:lnTo>
                    <a:lnTo>
                      <a:pt x="530" y="330"/>
                    </a:lnTo>
                    <a:lnTo>
                      <a:pt x="530" y="332"/>
                    </a:lnTo>
                    <a:lnTo>
                      <a:pt x="532" y="333"/>
                    </a:lnTo>
                    <a:lnTo>
                      <a:pt x="532" y="335"/>
                    </a:lnTo>
                    <a:lnTo>
                      <a:pt x="532" y="337"/>
                    </a:lnTo>
                    <a:lnTo>
                      <a:pt x="532" y="338"/>
                    </a:lnTo>
                    <a:lnTo>
                      <a:pt x="532" y="340"/>
                    </a:lnTo>
                    <a:lnTo>
                      <a:pt x="532" y="344"/>
                    </a:lnTo>
                    <a:lnTo>
                      <a:pt x="532" y="345"/>
                    </a:lnTo>
                    <a:lnTo>
                      <a:pt x="530" y="345"/>
                    </a:lnTo>
                    <a:lnTo>
                      <a:pt x="529" y="345"/>
                    </a:lnTo>
                    <a:lnTo>
                      <a:pt x="529" y="347"/>
                    </a:lnTo>
                    <a:lnTo>
                      <a:pt x="530" y="347"/>
                    </a:lnTo>
                    <a:lnTo>
                      <a:pt x="530" y="349"/>
                    </a:lnTo>
                    <a:lnTo>
                      <a:pt x="530" y="350"/>
                    </a:lnTo>
                    <a:lnTo>
                      <a:pt x="530" y="352"/>
                    </a:lnTo>
                    <a:lnTo>
                      <a:pt x="529" y="352"/>
                    </a:lnTo>
                    <a:lnTo>
                      <a:pt x="529" y="354"/>
                    </a:lnTo>
                    <a:lnTo>
                      <a:pt x="529" y="355"/>
                    </a:lnTo>
                    <a:lnTo>
                      <a:pt x="529" y="357"/>
                    </a:lnTo>
                    <a:lnTo>
                      <a:pt x="529" y="359"/>
                    </a:lnTo>
                    <a:lnTo>
                      <a:pt x="527" y="361"/>
                    </a:lnTo>
                    <a:lnTo>
                      <a:pt x="527" y="362"/>
                    </a:lnTo>
                    <a:lnTo>
                      <a:pt x="527" y="364"/>
                    </a:lnTo>
                    <a:lnTo>
                      <a:pt x="525" y="364"/>
                    </a:lnTo>
                    <a:lnTo>
                      <a:pt x="524" y="366"/>
                    </a:lnTo>
                    <a:lnTo>
                      <a:pt x="524" y="367"/>
                    </a:lnTo>
                    <a:lnTo>
                      <a:pt x="525" y="367"/>
                    </a:lnTo>
                    <a:lnTo>
                      <a:pt x="525" y="369"/>
                    </a:lnTo>
                    <a:lnTo>
                      <a:pt x="527" y="369"/>
                    </a:lnTo>
                    <a:lnTo>
                      <a:pt x="527" y="371"/>
                    </a:lnTo>
                    <a:lnTo>
                      <a:pt x="527" y="372"/>
                    </a:lnTo>
                    <a:lnTo>
                      <a:pt x="525" y="376"/>
                    </a:lnTo>
                    <a:lnTo>
                      <a:pt x="525" y="378"/>
                    </a:lnTo>
                    <a:lnTo>
                      <a:pt x="524" y="381"/>
                    </a:lnTo>
                    <a:lnTo>
                      <a:pt x="522" y="381"/>
                    </a:lnTo>
                    <a:lnTo>
                      <a:pt x="520" y="381"/>
                    </a:lnTo>
                    <a:lnTo>
                      <a:pt x="520" y="383"/>
                    </a:lnTo>
                    <a:lnTo>
                      <a:pt x="520" y="384"/>
                    </a:lnTo>
                    <a:lnTo>
                      <a:pt x="520" y="386"/>
                    </a:lnTo>
                    <a:lnTo>
                      <a:pt x="522" y="388"/>
                    </a:lnTo>
                    <a:lnTo>
                      <a:pt x="522" y="389"/>
                    </a:lnTo>
                    <a:lnTo>
                      <a:pt x="522" y="391"/>
                    </a:lnTo>
                    <a:lnTo>
                      <a:pt x="520" y="391"/>
                    </a:lnTo>
                    <a:lnTo>
                      <a:pt x="520" y="393"/>
                    </a:lnTo>
                    <a:lnTo>
                      <a:pt x="520" y="395"/>
                    </a:lnTo>
                    <a:lnTo>
                      <a:pt x="522" y="396"/>
                    </a:lnTo>
                    <a:lnTo>
                      <a:pt x="522" y="398"/>
                    </a:lnTo>
                    <a:lnTo>
                      <a:pt x="524" y="398"/>
                    </a:lnTo>
                    <a:lnTo>
                      <a:pt x="524" y="400"/>
                    </a:lnTo>
                    <a:lnTo>
                      <a:pt x="522" y="400"/>
                    </a:lnTo>
                    <a:lnTo>
                      <a:pt x="522" y="401"/>
                    </a:lnTo>
                    <a:lnTo>
                      <a:pt x="520" y="401"/>
                    </a:lnTo>
                    <a:lnTo>
                      <a:pt x="520" y="403"/>
                    </a:lnTo>
                    <a:lnTo>
                      <a:pt x="520" y="405"/>
                    </a:lnTo>
                    <a:lnTo>
                      <a:pt x="519" y="406"/>
                    </a:lnTo>
                    <a:lnTo>
                      <a:pt x="520" y="406"/>
                    </a:lnTo>
                    <a:lnTo>
                      <a:pt x="520" y="408"/>
                    </a:lnTo>
                    <a:lnTo>
                      <a:pt x="520" y="410"/>
                    </a:lnTo>
                    <a:lnTo>
                      <a:pt x="520" y="412"/>
                    </a:lnTo>
                    <a:lnTo>
                      <a:pt x="522" y="413"/>
                    </a:lnTo>
                    <a:lnTo>
                      <a:pt x="520" y="413"/>
                    </a:lnTo>
                    <a:lnTo>
                      <a:pt x="522" y="413"/>
                    </a:lnTo>
                    <a:lnTo>
                      <a:pt x="522" y="415"/>
                    </a:lnTo>
                    <a:lnTo>
                      <a:pt x="522" y="417"/>
                    </a:lnTo>
                    <a:lnTo>
                      <a:pt x="522" y="418"/>
                    </a:lnTo>
                    <a:lnTo>
                      <a:pt x="522" y="420"/>
                    </a:lnTo>
                    <a:lnTo>
                      <a:pt x="522" y="422"/>
                    </a:lnTo>
                    <a:lnTo>
                      <a:pt x="522" y="423"/>
                    </a:lnTo>
                    <a:lnTo>
                      <a:pt x="524" y="425"/>
                    </a:lnTo>
                    <a:lnTo>
                      <a:pt x="524" y="427"/>
                    </a:lnTo>
                    <a:lnTo>
                      <a:pt x="524" y="429"/>
                    </a:lnTo>
                    <a:lnTo>
                      <a:pt x="522" y="429"/>
                    </a:lnTo>
                    <a:lnTo>
                      <a:pt x="522" y="430"/>
                    </a:lnTo>
                    <a:lnTo>
                      <a:pt x="520" y="430"/>
                    </a:lnTo>
                    <a:lnTo>
                      <a:pt x="519" y="432"/>
                    </a:lnTo>
                    <a:lnTo>
                      <a:pt x="517" y="432"/>
                    </a:lnTo>
                    <a:lnTo>
                      <a:pt x="515" y="432"/>
                    </a:lnTo>
                    <a:lnTo>
                      <a:pt x="513" y="432"/>
                    </a:lnTo>
                    <a:lnTo>
                      <a:pt x="513" y="434"/>
                    </a:lnTo>
                    <a:lnTo>
                      <a:pt x="513" y="439"/>
                    </a:lnTo>
                    <a:lnTo>
                      <a:pt x="513" y="440"/>
                    </a:lnTo>
                    <a:lnTo>
                      <a:pt x="512" y="440"/>
                    </a:lnTo>
                    <a:lnTo>
                      <a:pt x="512" y="442"/>
                    </a:lnTo>
                    <a:lnTo>
                      <a:pt x="510" y="444"/>
                    </a:lnTo>
                    <a:lnTo>
                      <a:pt x="510" y="447"/>
                    </a:lnTo>
                    <a:lnTo>
                      <a:pt x="510" y="449"/>
                    </a:lnTo>
                    <a:lnTo>
                      <a:pt x="510" y="451"/>
                    </a:lnTo>
                    <a:lnTo>
                      <a:pt x="510" y="456"/>
                    </a:lnTo>
                    <a:lnTo>
                      <a:pt x="510" y="457"/>
                    </a:lnTo>
                    <a:lnTo>
                      <a:pt x="512" y="459"/>
                    </a:lnTo>
                    <a:lnTo>
                      <a:pt x="512" y="461"/>
                    </a:lnTo>
                    <a:lnTo>
                      <a:pt x="512" y="463"/>
                    </a:lnTo>
                    <a:lnTo>
                      <a:pt x="512" y="464"/>
                    </a:lnTo>
                    <a:lnTo>
                      <a:pt x="512" y="466"/>
                    </a:lnTo>
                    <a:lnTo>
                      <a:pt x="512" y="468"/>
                    </a:lnTo>
                    <a:lnTo>
                      <a:pt x="513" y="469"/>
                    </a:lnTo>
                    <a:lnTo>
                      <a:pt x="515" y="469"/>
                    </a:lnTo>
                    <a:lnTo>
                      <a:pt x="513" y="469"/>
                    </a:lnTo>
                    <a:lnTo>
                      <a:pt x="513" y="471"/>
                    </a:lnTo>
                    <a:lnTo>
                      <a:pt x="513" y="473"/>
                    </a:lnTo>
                    <a:lnTo>
                      <a:pt x="513" y="474"/>
                    </a:lnTo>
                    <a:lnTo>
                      <a:pt x="513" y="476"/>
                    </a:lnTo>
                    <a:lnTo>
                      <a:pt x="513" y="478"/>
                    </a:lnTo>
                    <a:lnTo>
                      <a:pt x="512" y="480"/>
                    </a:lnTo>
                    <a:lnTo>
                      <a:pt x="510" y="480"/>
                    </a:lnTo>
                    <a:lnTo>
                      <a:pt x="510" y="481"/>
                    </a:lnTo>
                    <a:lnTo>
                      <a:pt x="512" y="481"/>
                    </a:lnTo>
                    <a:lnTo>
                      <a:pt x="512" y="483"/>
                    </a:lnTo>
                    <a:lnTo>
                      <a:pt x="512" y="485"/>
                    </a:lnTo>
                    <a:lnTo>
                      <a:pt x="510" y="483"/>
                    </a:lnTo>
                    <a:lnTo>
                      <a:pt x="510" y="485"/>
                    </a:lnTo>
                    <a:lnTo>
                      <a:pt x="510" y="486"/>
                    </a:lnTo>
                    <a:lnTo>
                      <a:pt x="508" y="486"/>
                    </a:lnTo>
                    <a:lnTo>
                      <a:pt x="508" y="485"/>
                    </a:lnTo>
                    <a:lnTo>
                      <a:pt x="507" y="485"/>
                    </a:lnTo>
                    <a:lnTo>
                      <a:pt x="507" y="486"/>
                    </a:lnTo>
                    <a:lnTo>
                      <a:pt x="508" y="486"/>
                    </a:lnTo>
                    <a:lnTo>
                      <a:pt x="510" y="486"/>
                    </a:lnTo>
                    <a:lnTo>
                      <a:pt x="510" y="488"/>
                    </a:lnTo>
                    <a:lnTo>
                      <a:pt x="510" y="490"/>
                    </a:lnTo>
                    <a:lnTo>
                      <a:pt x="512" y="490"/>
                    </a:lnTo>
                    <a:lnTo>
                      <a:pt x="510" y="490"/>
                    </a:lnTo>
                    <a:lnTo>
                      <a:pt x="512" y="490"/>
                    </a:lnTo>
                    <a:lnTo>
                      <a:pt x="512" y="491"/>
                    </a:lnTo>
                    <a:lnTo>
                      <a:pt x="513" y="491"/>
                    </a:lnTo>
                    <a:lnTo>
                      <a:pt x="513" y="493"/>
                    </a:lnTo>
                    <a:lnTo>
                      <a:pt x="515" y="495"/>
                    </a:lnTo>
                    <a:lnTo>
                      <a:pt x="515" y="493"/>
                    </a:lnTo>
                    <a:lnTo>
                      <a:pt x="515" y="495"/>
                    </a:lnTo>
                    <a:lnTo>
                      <a:pt x="517" y="495"/>
                    </a:lnTo>
                    <a:lnTo>
                      <a:pt x="517" y="497"/>
                    </a:lnTo>
                    <a:lnTo>
                      <a:pt x="519" y="497"/>
                    </a:lnTo>
                    <a:lnTo>
                      <a:pt x="519" y="498"/>
                    </a:lnTo>
                    <a:lnTo>
                      <a:pt x="520" y="498"/>
                    </a:lnTo>
                    <a:lnTo>
                      <a:pt x="522" y="498"/>
                    </a:lnTo>
                    <a:lnTo>
                      <a:pt x="524" y="498"/>
                    </a:lnTo>
                    <a:lnTo>
                      <a:pt x="524" y="500"/>
                    </a:lnTo>
                    <a:lnTo>
                      <a:pt x="525" y="500"/>
                    </a:lnTo>
                    <a:lnTo>
                      <a:pt x="527" y="500"/>
                    </a:lnTo>
                    <a:lnTo>
                      <a:pt x="527" y="502"/>
                    </a:lnTo>
                    <a:lnTo>
                      <a:pt x="529" y="502"/>
                    </a:lnTo>
                    <a:lnTo>
                      <a:pt x="529" y="503"/>
                    </a:lnTo>
                    <a:lnTo>
                      <a:pt x="529" y="502"/>
                    </a:lnTo>
                    <a:lnTo>
                      <a:pt x="530" y="503"/>
                    </a:lnTo>
                    <a:lnTo>
                      <a:pt x="530" y="502"/>
                    </a:lnTo>
                    <a:lnTo>
                      <a:pt x="532" y="503"/>
                    </a:lnTo>
                    <a:lnTo>
                      <a:pt x="534" y="505"/>
                    </a:lnTo>
                    <a:lnTo>
                      <a:pt x="536" y="505"/>
                    </a:lnTo>
                    <a:lnTo>
                      <a:pt x="536" y="507"/>
                    </a:lnTo>
                    <a:lnTo>
                      <a:pt x="537" y="507"/>
                    </a:lnTo>
                    <a:lnTo>
                      <a:pt x="539" y="507"/>
                    </a:lnTo>
                    <a:lnTo>
                      <a:pt x="539" y="509"/>
                    </a:lnTo>
                    <a:lnTo>
                      <a:pt x="541" y="509"/>
                    </a:lnTo>
                    <a:lnTo>
                      <a:pt x="542" y="510"/>
                    </a:lnTo>
                    <a:lnTo>
                      <a:pt x="544" y="510"/>
                    </a:lnTo>
                    <a:lnTo>
                      <a:pt x="544" y="512"/>
                    </a:lnTo>
                    <a:lnTo>
                      <a:pt x="546" y="512"/>
                    </a:lnTo>
                    <a:lnTo>
                      <a:pt x="546" y="514"/>
                    </a:lnTo>
                    <a:lnTo>
                      <a:pt x="547" y="514"/>
                    </a:lnTo>
                    <a:lnTo>
                      <a:pt x="547" y="515"/>
                    </a:lnTo>
                    <a:lnTo>
                      <a:pt x="549" y="515"/>
                    </a:lnTo>
                    <a:lnTo>
                      <a:pt x="549" y="517"/>
                    </a:lnTo>
                    <a:lnTo>
                      <a:pt x="551" y="517"/>
                    </a:lnTo>
                    <a:lnTo>
                      <a:pt x="551" y="519"/>
                    </a:lnTo>
                    <a:lnTo>
                      <a:pt x="553" y="520"/>
                    </a:lnTo>
                    <a:lnTo>
                      <a:pt x="553" y="522"/>
                    </a:lnTo>
                    <a:lnTo>
                      <a:pt x="554" y="522"/>
                    </a:lnTo>
                    <a:lnTo>
                      <a:pt x="554" y="524"/>
                    </a:lnTo>
                    <a:lnTo>
                      <a:pt x="554" y="526"/>
                    </a:lnTo>
                    <a:lnTo>
                      <a:pt x="556" y="526"/>
                    </a:lnTo>
                    <a:lnTo>
                      <a:pt x="556" y="527"/>
                    </a:lnTo>
                    <a:lnTo>
                      <a:pt x="556" y="529"/>
                    </a:lnTo>
                    <a:lnTo>
                      <a:pt x="554" y="529"/>
                    </a:lnTo>
                    <a:lnTo>
                      <a:pt x="554" y="531"/>
                    </a:lnTo>
                    <a:lnTo>
                      <a:pt x="553" y="531"/>
                    </a:lnTo>
                    <a:lnTo>
                      <a:pt x="553" y="532"/>
                    </a:lnTo>
                    <a:lnTo>
                      <a:pt x="551" y="534"/>
                    </a:lnTo>
                    <a:lnTo>
                      <a:pt x="551" y="536"/>
                    </a:lnTo>
                    <a:lnTo>
                      <a:pt x="549" y="537"/>
                    </a:lnTo>
                    <a:lnTo>
                      <a:pt x="549" y="539"/>
                    </a:lnTo>
                    <a:lnTo>
                      <a:pt x="547" y="539"/>
                    </a:lnTo>
                    <a:lnTo>
                      <a:pt x="549" y="539"/>
                    </a:lnTo>
                    <a:lnTo>
                      <a:pt x="547" y="539"/>
                    </a:lnTo>
                    <a:lnTo>
                      <a:pt x="547" y="541"/>
                    </a:lnTo>
                    <a:lnTo>
                      <a:pt x="547" y="543"/>
                    </a:lnTo>
                    <a:lnTo>
                      <a:pt x="547" y="544"/>
                    </a:lnTo>
                    <a:lnTo>
                      <a:pt x="547" y="546"/>
                    </a:lnTo>
                    <a:lnTo>
                      <a:pt x="547" y="548"/>
                    </a:lnTo>
                    <a:lnTo>
                      <a:pt x="547" y="549"/>
                    </a:lnTo>
                    <a:lnTo>
                      <a:pt x="547" y="551"/>
                    </a:lnTo>
                    <a:lnTo>
                      <a:pt x="549" y="551"/>
                    </a:lnTo>
                    <a:lnTo>
                      <a:pt x="549" y="553"/>
                    </a:lnTo>
                    <a:lnTo>
                      <a:pt x="549" y="554"/>
                    </a:lnTo>
                    <a:lnTo>
                      <a:pt x="551" y="554"/>
                    </a:lnTo>
                    <a:lnTo>
                      <a:pt x="551" y="556"/>
                    </a:lnTo>
                    <a:lnTo>
                      <a:pt x="551" y="558"/>
                    </a:lnTo>
                    <a:lnTo>
                      <a:pt x="553" y="558"/>
                    </a:lnTo>
                    <a:lnTo>
                      <a:pt x="553" y="560"/>
                    </a:lnTo>
                    <a:lnTo>
                      <a:pt x="554" y="560"/>
                    </a:lnTo>
                    <a:lnTo>
                      <a:pt x="554" y="561"/>
                    </a:lnTo>
                    <a:lnTo>
                      <a:pt x="556" y="561"/>
                    </a:lnTo>
                    <a:lnTo>
                      <a:pt x="556" y="563"/>
                    </a:lnTo>
                    <a:lnTo>
                      <a:pt x="558" y="563"/>
                    </a:lnTo>
                    <a:lnTo>
                      <a:pt x="559" y="565"/>
                    </a:lnTo>
                    <a:lnTo>
                      <a:pt x="561" y="565"/>
                    </a:lnTo>
                    <a:lnTo>
                      <a:pt x="563" y="565"/>
                    </a:lnTo>
                    <a:lnTo>
                      <a:pt x="564" y="565"/>
                    </a:lnTo>
                    <a:lnTo>
                      <a:pt x="566" y="565"/>
                    </a:lnTo>
                    <a:lnTo>
                      <a:pt x="568" y="565"/>
                    </a:lnTo>
                    <a:lnTo>
                      <a:pt x="568" y="563"/>
                    </a:lnTo>
                    <a:lnTo>
                      <a:pt x="570" y="563"/>
                    </a:lnTo>
                    <a:lnTo>
                      <a:pt x="570" y="565"/>
                    </a:lnTo>
                    <a:lnTo>
                      <a:pt x="570" y="566"/>
                    </a:lnTo>
                    <a:lnTo>
                      <a:pt x="570" y="568"/>
                    </a:lnTo>
                    <a:lnTo>
                      <a:pt x="571" y="571"/>
                    </a:lnTo>
                    <a:lnTo>
                      <a:pt x="571" y="573"/>
                    </a:lnTo>
                    <a:lnTo>
                      <a:pt x="571" y="575"/>
                    </a:lnTo>
                    <a:lnTo>
                      <a:pt x="571" y="577"/>
                    </a:lnTo>
                    <a:lnTo>
                      <a:pt x="571" y="578"/>
                    </a:lnTo>
                    <a:lnTo>
                      <a:pt x="571" y="580"/>
                    </a:lnTo>
                    <a:lnTo>
                      <a:pt x="571" y="582"/>
                    </a:lnTo>
                    <a:lnTo>
                      <a:pt x="571" y="583"/>
                    </a:lnTo>
                    <a:lnTo>
                      <a:pt x="571" y="585"/>
                    </a:lnTo>
                    <a:lnTo>
                      <a:pt x="571" y="587"/>
                    </a:lnTo>
                    <a:lnTo>
                      <a:pt x="571" y="588"/>
                    </a:lnTo>
                    <a:lnTo>
                      <a:pt x="570" y="590"/>
                    </a:lnTo>
                    <a:lnTo>
                      <a:pt x="568" y="592"/>
                    </a:lnTo>
                    <a:lnTo>
                      <a:pt x="568" y="594"/>
                    </a:lnTo>
                    <a:lnTo>
                      <a:pt x="566" y="595"/>
                    </a:lnTo>
                    <a:lnTo>
                      <a:pt x="566" y="597"/>
                    </a:lnTo>
                    <a:lnTo>
                      <a:pt x="564" y="599"/>
                    </a:lnTo>
                    <a:lnTo>
                      <a:pt x="563" y="600"/>
                    </a:lnTo>
                    <a:lnTo>
                      <a:pt x="563" y="602"/>
                    </a:lnTo>
                    <a:lnTo>
                      <a:pt x="561" y="604"/>
                    </a:lnTo>
                    <a:lnTo>
                      <a:pt x="561" y="605"/>
                    </a:lnTo>
                    <a:lnTo>
                      <a:pt x="559" y="605"/>
                    </a:lnTo>
                    <a:lnTo>
                      <a:pt x="559" y="607"/>
                    </a:lnTo>
                    <a:lnTo>
                      <a:pt x="558" y="609"/>
                    </a:lnTo>
                    <a:lnTo>
                      <a:pt x="558" y="611"/>
                    </a:lnTo>
                    <a:lnTo>
                      <a:pt x="558" y="612"/>
                    </a:lnTo>
                    <a:lnTo>
                      <a:pt x="556" y="612"/>
                    </a:lnTo>
                    <a:lnTo>
                      <a:pt x="556" y="614"/>
                    </a:lnTo>
                    <a:lnTo>
                      <a:pt x="554" y="614"/>
                    </a:lnTo>
                    <a:lnTo>
                      <a:pt x="554" y="616"/>
                    </a:lnTo>
                    <a:lnTo>
                      <a:pt x="553" y="617"/>
                    </a:lnTo>
                    <a:lnTo>
                      <a:pt x="551" y="619"/>
                    </a:lnTo>
                    <a:lnTo>
                      <a:pt x="549" y="621"/>
                    </a:lnTo>
                    <a:lnTo>
                      <a:pt x="547" y="622"/>
                    </a:lnTo>
                    <a:lnTo>
                      <a:pt x="546" y="624"/>
                    </a:lnTo>
                    <a:lnTo>
                      <a:pt x="546" y="626"/>
                    </a:lnTo>
                    <a:lnTo>
                      <a:pt x="544" y="626"/>
                    </a:lnTo>
                    <a:lnTo>
                      <a:pt x="544" y="628"/>
                    </a:lnTo>
                    <a:lnTo>
                      <a:pt x="542" y="629"/>
                    </a:lnTo>
                    <a:lnTo>
                      <a:pt x="542" y="631"/>
                    </a:lnTo>
                    <a:lnTo>
                      <a:pt x="542" y="633"/>
                    </a:lnTo>
                    <a:lnTo>
                      <a:pt x="542" y="634"/>
                    </a:lnTo>
                    <a:lnTo>
                      <a:pt x="542" y="636"/>
                    </a:lnTo>
                    <a:lnTo>
                      <a:pt x="542" y="638"/>
                    </a:lnTo>
                    <a:lnTo>
                      <a:pt x="542" y="636"/>
                    </a:lnTo>
                    <a:lnTo>
                      <a:pt x="542" y="638"/>
                    </a:lnTo>
                    <a:lnTo>
                      <a:pt x="542" y="639"/>
                    </a:lnTo>
                    <a:lnTo>
                      <a:pt x="541" y="639"/>
                    </a:lnTo>
                    <a:lnTo>
                      <a:pt x="539" y="641"/>
                    </a:lnTo>
                    <a:lnTo>
                      <a:pt x="539" y="643"/>
                    </a:lnTo>
                    <a:lnTo>
                      <a:pt x="537" y="643"/>
                    </a:lnTo>
                    <a:lnTo>
                      <a:pt x="537" y="645"/>
                    </a:lnTo>
                    <a:lnTo>
                      <a:pt x="536" y="645"/>
                    </a:lnTo>
                    <a:lnTo>
                      <a:pt x="534" y="645"/>
                    </a:lnTo>
                    <a:lnTo>
                      <a:pt x="534" y="646"/>
                    </a:lnTo>
                    <a:lnTo>
                      <a:pt x="532" y="646"/>
                    </a:lnTo>
                    <a:lnTo>
                      <a:pt x="532" y="648"/>
                    </a:lnTo>
                    <a:lnTo>
                      <a:pt x="530" y="648"/>
                    </a:lnTo>
                    <a:lnTo>
                      <a:pt x="529" y="648"/>
                    </a:lnTo>
                    <a:lnTo>
                      <a:pt x="527" y="650"/>
                    </a:lnTo>
                    <a:lnTo>
                      <a:pt x="525" y="650"/>
                    </a:lnTo>
                    <a:lnTo>
                      <a:pt x="525" y="651"/>
                    </a:lnTo>
                    <a:lnTo>
                      <a:pt x="524" y="651"/>
                    </a:lnTo>
                    <a:lnTo>
                      <a:pt x="522" y="653"/>
                    </a:lnTo>
                    <a:lnTo>
                      <a:pt x="520" y="653"/>
                    </a:lnTo>
                    <a:lnTo>
                      <a:pt x="519" y="655"/>
                    </a:lnTo>
                    <a:lnTo>
                      <a:pt x="517" y="655"/>
                    </a:lnTo>
                    <a:lnTo>
                      <a:pt x="515" y="655"/>
                    </a:lnTo>
                    <a:lnTo>
                      <a:pt x="515" y="656"/>
                    </a:lnTo>
                    <a:lnTo>
                      <a:pt x="513" y="656"/>
                    </a:lnTo>
                    <a:lnTo>
                      <a:pt x="512" y="656"/>
                    </a:lnTo>
                    <a:lnTo>
                      <a:pt x="510" y="658"/>
                    </a:lnTo>
                    <a:lnTo>
                      <a:pt x="508" y="658"/>
                    </a:lnTo>
                    <a:lnTo>
                      <a:pt x="507" y="658"/>
                    </a:lnTo>
                    <a:lnTo>
                      <a:pt x="507" y="660"/>
                    </a:lnTo>
                    <a:lnTo>
                      <a:pt x="505" y="660"/>
                    </a:lnTo>
                    <a:lnTo>
                      <a:pt x="503" y="660"/>
                    </a:lnTo>
                    <a:lnTo>
                      <a:pt x="502" y="660"/>
                    </a:lnTo>
                    <a:lnTo>
                      <a:pt x="500" y="662"/>
                    </a:lnTo>
                    <a:lnTo>
                      <a:pt x="498" y="662"/>
                    </a:lnTo>
                    <a:lnTo>
                      <a:pt x="496" y="663"/>
                    </a:lnTo>
                    <a:lnTo>
                      <a:pt x="495" y="663"/>
                    </a:lnTo>
                    <a:lnTo>
                      <a:pt x="493" y="663"/>
                    </a:lnTo>
                    <a:lnTo>
                      <a:pt x="491" y="665"/>
                    </a:lnTo>
                    <a:lnTo>
                      <a:pt x="490" y="665"/>
                    </a:lnTo>
                    <a:lnTo>
                      <a:pt x="488" y="665"/>
                    </a:lnTo>
                    <a:lnTo>
                      <a:pt x="486" y="665"/>
                    </a:lnTo>
                    <a:lnTo>
                      <a:pt x="485" y="667"/>
                    </a:lnTo>
                    <a:lnTo>
                      <a:pt x="483" y="667"/>
                    </a:lnTo>
                    <a:lnTo>
                      <a:pt x="481" y="667"/>
                    </a:lnTo>
                    <a:lnTo>
                      <a:pt x="479" y="667"/>
                    </a:lnTo>
                    <a:lnTo>
                      <a:pt x="479" y="668"/>
                    </a:lnTo>
                    <a:lnTo>
                      <a:pt x="478" y="668"/>
                    </a:lnTo>
                    <a:lnTo>
                      <a:pt x="476" y="668"/>
                    </a:lnTo>
                    <a:lnTo>
                      <a:pt x="474" y="668"/>
                    </a:lnTo>
                    <a:lnTo>
                      <a:pt x="473" y="668"/>
                    </a:lnTo>
                    <a:lnTo>
                      <a:pt x="471" y="668"/>
                    </a:lnTo>
                    <a:lnTo>
                      <a:pt x="469" y="670"/>
                    </a:lnTo>
                    <a:lnTo>
                      <a:pt x="468" y="670"/>
                    </a:lnTo>
                    <a:lnTo>
                      <a:pt x="466" y="670"/>
                    </a:lnTo>
                    <a:lnTo>
                      <a:pt x="464" y="672"/>
                    </a:lnTo>
                    <a:lnTo>
                      <a:pt x="462" y="672"/>
                    </a:lnTo>
                    <a:lnTo>
                      <a:pt x="461" y="672"/>
                    </a:lnTo>
                    <a:lnTo>
                      <a:pt x="459" y="672"/>
                    </a:lnTo>
                    <a:lnTo>
                      <a:pt x="457" y="672"/>
                    </a:lnTo>
                    <a:lnTo>
                      <a:pt x="456" y="672"/>
                    </a:lnTo>
                    <a:lnTo>
                      <a:pt x="454" y="672"/>
                    </a:lnTo>
                    <a:lnTo>
                      <a:pt x="454" y="674"/>
                    </a:lnTo>
                    <a:lnTo>
                      <a:pt x="452" y="674"/>
                    </a:lnTo>
                    <a:lnTo>
                      <a:pt x="449" y="674"/>
                    </a:lnTo>
                    <a:lnTo>
                      <a:pt x="447" y="674"/>
                    </a:lnTo>
                    <a:lnTo>
                      <a:pt x="445" y="675"/>
                    </a:lnTo>
                    <a:lnTo>
                      <a:pt x="444" y="675"/>
                    </a:lnTo>
                    <a:lnTo>
                      <a:pt x="442" y="675"/>
                    </a:lnTo>
                    <a:lnTo>
                      <a:pt x="440" y="675"/>
                    </a:lnTo>
                    <a:lnTo>
                      <a:pt x="439" y="675"/>
                    </a:lnTo>
                    <a:lnTo>
                      <a:pt x="435" y="677"/>
                    </a:lnTo>
                    <a:lnTo>
                      <a:pt x="434" y="677"/>
                    </a:lnTo>
                    <a:lnTo>
                      <a:pt x="432" y="677"/>
                    </a:lnTo>
                    <a:lnTo>
                      <a:pt x="430" y="677"/>
                    </a:lnTo>
                    <a:lnTo>
                      <a:pt x="428" y="677"/>
                    </a:lnTo>
                    <a:lnTo>
                      <a:pt x="427" y="677"/>
                    </a:lnTo>
                    <a:lnTo>
                      <a:pt x="425" y="677"/>
                    </a:lnTo>
                    <a:lnTo>
                      <a:pt x="423" y="679"/>
                    </a:lnTo>
                    <a:lnTo>
                      <a:pt x="422" y="679"/>
                    </a:lnTo>
                    <a:lnTo>
                      <a:pt x="420" y="679"/>
                    </a:lnTo>
                    <a:lnTo>
                      <a:pt x="418" y="679"/>
                    </a:lnTo>
                    <a:lnTo>
                      <a:pt x="417" y="679"/>
                    </a:lnTo>
                    <a:lnTo>
                      <a:pt x="415" y="679"/>
                    </a:lnTo>
                    <a:lnTo>
                      <a:pt x="411" y="679"/>
                    </a:lnTo>
                    <a:lnTo>
                      <a:pt x="410" y="679"/>
                    </a:lnTo>
                    <a:lnTo>
                      <a:pt x="408" y="679"/>
                    </a:lnTo>
                    <a:lnTo>
                      <a:pt x="406" y="679"/>
                    </a:lnTo>
                    <a:lnTo>
                      <a:pt x="405" y="679"/>
                    </a:lnTo>
                    <a:lnTo>
                      <a:pt x="403" y="679"/>
                    </a:lnTo>
                    <a:lnTo>
                      <a:pt x="401" y="677"/>
                    </a:lnTo>
                    <a:lnTo>
                      <a:pt x="400" y="677"/>
                    </a:lnTo>
                    <a:lnTo>
                      <a:pt x="398" y="679"/>
                    </a:lnTo>
                    <a:lnTo>
                      <a:pt x="396" y="677"/>
                    </a:lnTo>
                    <a:lnTo>
                      <a:pt x="394" y="677"/>
                    </a:lnTo>
                    <a:lnTo>
                      <a:pt x="393" y="677"/>
                    </a:lnTo>
                    <a:lnTo>
                      <a:pt x="393" y="675"/>
                    </a:lnTo>
                    <a:lnTo>
                      <a:pt x="391" y="675"/>
                    </a:lnTo>
                    <a:lnTo>
                      <a:pt x="389" y="675"/>
                    </a:lnTo>
                    <a:lnTo>
                      <a:pt x="389" y="674"/>
                    </a:lnTo>
                    <a:lnTo>
                      <a:pt x="388" y="674"/>
                    </a:lnTo>
                    <a:lnTo>
                      <a:pt x="388" y="672"/>
                    </a:lnTo>
                    <a:lnTo>
                      <a:pt x="386" y="670"/>
                    </a:lnTo>
                    <a:lnTo>
                      <a:pt x="384" y="670"/>
                    </a:lnTo>
                    <a:lnTo>
                      <a:pt x="383" y="668"/>
                    </a:lnTo>
                    <a:lnTo>
                      <a:pt x="383" y="670"/>
                    </a:lnTo>
                    <a:lnTo>
                      <a:pt x="381" y="668"/>
                    </a:lnTo>
                    <a:lnTo>
                      <a:pt x="379" y="668"/>
                    </a:lnTo>
                    <a:lnTo>
                      <a:pt x="381" y="668"/>
                    </a:lnTo>
                    <a:lnTo>
                      <a:pt x="381" y="670"/>
                    </a:lnTo>
                    <a:lnTo>
                      <a:pt x="379" y="670"/>
                    </a:lnTo>
                    <a:lnTo>
                      <a:pt x="379" y="672"/>
                    </a:lnTo>
                    <a:lnTo>
                      <a:pt x="381" y="670"/>
                    </a:lnTo>
                    <a:lnTo>
                      <a:pt x="381" y="672"/>
                    </a:lnTo>
                    <a:lnTo>
                      <a:pt x="383" y="672"/>
                    </a:lnTo>
                    <a:lnTo>
                      <a:pt x="381" y="672"/>
                    </a:lnTo>
                    <a:lnTo>
                      <a:pt x="379" y="672"/>
                    </a:lnTo>
                    <a:lnTo>
                      <a:pt x="379" y="674"/>
                    </a:lnTo>
                    <a:lnTo>
                      <a:pt x="381" y="674"/>
                    </a:lnTo>
                    <a:lnTo>
                      <a:pt x="379" y="675"/>
                    </a:lnTo>
                    <a:lnTo>
                      <a:pt x="379" y="677"/>
                    </a:lnTo>
                    <a:lnTo>
                      <a:pt x="381" y="677"/>
                    </a:lnTo>
                    <a:lnTo>
                      <a:pt x="383" y="677"/>
                    </a:lnTo>
                    <a:lnTo>
                      <a:pt x="384" y="677"/>
                    </a:lnTo>
                    <a:lnTo>
                      <a:pt x="386" y="679"/>
                    </a:lnTo>
                    <a:lnTo>
                      <a:pt x="384" y="679"/>
                    </a:lnTo>
                    <a:lnTo>
                      <a:pt x="383" y="680"/>
                    </a:lnTo>
                    <a:lnTo>
                      <a:pt x="381" y="680"/>
                    </a:lnTo>
                    <a:lnTo>
                      <a:pt x="381" y="682"/>
                    </a:lnTo>
                    <a:lnTo>
                      <a:pt x="381" y="684"/>
                    </a:lnTo>
                    <a:lnTo>
                      <a:pt x="381" y="685"/>
                    </a:lnTo>
                    <a:lnTo>
                      <a:pt x="381" y="687"/>
                    </a:lnTo>
                    <a:lnTo>
                      <a:pt x="381" y="689"/>
                    </a:lnTo>
                    <a:lnTo>
                      <a:pt x="383" y="689"/>
                    </a:lnTo>
                    <a:lnTo>
                      <a:pt x="381" y="689"/>
                    </a:lnTo>
                    <a:lnTo>
                      <a:pt x="381" y="691"/>
                    </a:lnTo>
                    <a:lnTo>
                      <a:pt x="383" y="691"/>
                    </a:lnTo>
                    <a:lnTo>
                      <a:pt x="384" y="691"/>
                    </a:lnTo>
                    <a:lnTo>
                      <a:pt x="386" y="691"/>
                    </a:lnTo>
                    <a:lnTo>
                      <a:pt x="388" y="691"/>
                    </a:lnTo>
                    <a:lnTo>
                      <a:pt x="388" y="692"/>
                    </a:lnTo>
                    <a:lnTo>
                      <a:pt x="389" y="692"/>
                    </a:lnTo>
                    <a:lnTo>
                      <a:pt x="389" y="694"/>
                    </a:lnTo>
                    <a:lnTo>
                      <a:pt x="391" y="694"/>
                    </a:lnTo>
                    <a:lnTo>
                      <a:pt x="391" y="696"/>
                    </a:lnTo>
                    <a:lnTo>
                      <a:pt x="391" y="697"/>
                    </a:lnTo>
                    <a:lnTo>
                      <a:pt x="389" y="696"/>
                    </a:lnTo>
                    <a:lnTo>
                      <a:pt x="388" y="696"/>
                    </a:lnTo>
                    <a:lnTo>
                      <a:pt x="388" y="694"/>
                    </a:lnTo>
                    <a:lnTo>
                      <a:pt x="386" y="694"/>
                    </a:lnTo>
                    <a:lnTo>
                      <a:pt x="386" y="692"/>
                    </a:lnTo>
                    <a:lnTo>
                      <a:pt x="384" y="691"/>
                    </a:lnTo>
                    <a:lnTo>
                      <a:pt x="384" y="692"/>
                    </a:lnTo>
                    <a:lnTo>
                      <a:pt x="384" y="691"/>
                    </a:lnTo>
                    <a:lnTo>
                      <a:pt x="383" y="692"/>
                    </a:lnTo>
                    <a:lnTo>
                      <a:pt x="384" y="692"/>
                    </a:lnTo>
                    <a:lnTo>
                      <a:pt x="384" y="694"/>
                    </a:lnTo>
                    <a:lnTo>
                      <a:pt x="386" y="694"/>
                    </a:lnTo>
                    <a:lnTo>
                      <a:pt x="386" y="696"/>
                    </a:lnTo>
                    <a:lnTo>
                      <a:pt x="388" y="696"/>
                    </a:lnTo>
                    <a:lnTo>
                      <a:pt x="388" y="697"/>
                    </a:lnTo>
                    <a:lnTo>
                      <a:pt x="389" y="697"/>
                    </a:lnTo>
                    <a:lnTo>
                      <a:pt x="389" y="699"/>
                    </a:lnTo>
                    <a:lnTo>
                      <a:pt x="389" y="701"/>
                    </a:lnTo>
                    <a:lnTo>
                      <a:pt x="389" y="702"/>
                    </a:lnTo>
                    <a:lnTo>
                      <a:pt x="388" y="702"/>
                    </a:lnTo>
                    <a:lnTo>
                      <a:pt x="388" y="704"/>
                    </a:lnTo>
                    <a:lnTo>
                      <a:pt x="388" y="706"/>
                    </a:lnTo>
                    <a:lnTo>
                      <a:pt x="388" y="708"/>
                    </a:lnTo>
                    <a:lnTo>
                      <a:pt x="388" y="709"/>
                    </a:lnTo>
                    <a:lnTo>
                      <a:pt x="388" y="711"/>
                    </a:lnTo>
                    <a:lnTo>
                      <a:pt x="388" y="713"/>
                    </a:lnTo>
                    <a:lnTo>
                      <a:pt x="388" y="714"/>
                    </a:lnTo>
                    <a:lnTo>
                      <a:pt x="388" y="716"/>
                    </a:lnTo>
                    <a:lnTo>
                      <a:pt x="388" y="718"/>
                    </a:lnTo>
                    <a:lnTo>
                      <a:pt x="386" y="718"/>
                    </a:lnTo>
                    <a:lnTo>
                      <a:pt x="386" y="716"/>
                    </a:lnTo>
                    <a:lnTo>
                      <a:pt x="384" y="716"/>
                    </a:lnTo>
                    <a:lnTo>
                      <a:pt x="384" y="718"/>
                    </a:lnTo>
                    <a:lnTo>
                      <a:pt x="383" y="718"/>
                    </a:lnTo>
                    <a:lnTo>
                      <a:pt x="383" y="716"/>
                    </a:lnTo>
                    <a:lnTo>
                      <a:pt x="381" y="716"/>
                    </a:lnTo>
                    <a:lnTo>
                      <a:pt x="381" y="718"/>
                    </a:lnTo>
                    <a:lnTo>
                      <a:pt x="381" y="719"/>
                    </a:lnTo>
                    <a:lnTo>
                      <a:pt x="381" y="721"/>
                    </a:lnTo>
                    <a:lnTo>
                      <a:pt x="381" y="723"/>
                    </a:lnTo>
                    <a:lnTo>
                      <a:pt x="379" y="723"/>
                    </a:lnTo>
                    <a:lnTo>
                      <a:pt x="379" y="725"/>
                    </a:lnTo>
                    <a:lnTo>
                      <a:pt x="379" y="726"/>
                    </a:lnTo>
                    <a:lnTo>
                      <a:pt x="379" y="728"/>
                    </a:lnTo>
                    <a:lnTo>
                      <a:pt x="381" y="728"/>
                    </a:lnTo>
                    <a:lnTo>
                      <a:pt x="381" y="730"/>
                    </a:lnTo>
                    <a:lnTo>
                      <a:pt x="379" y="730"/>
                    </a:lnTo>
                    <a:lnTo>
                      <a:pt x="379" y="731"/>
                    </a:lnTo>
                    <a:lnTo>
                      <a:pt x="377" y="731"/>
                    </a:lnTo>
                    <a:lnTo>
                      <a:pt x="377" y="733"/>
                    </a:lnTo>
                    <a:lnTo>
                      <a:pt x="376" y="733"/>
                    </a:lnTo>
                    <a:lnTo>
                      <a:pt x="376" y="735"/>
                    </a:lnTo>
                    <a:lnTo>
                      <a:pt x="374" y="735"/>
                    </a:lnTo>
                    <a:lnTo>
                      <a:pt x="374" y="736"/>
                    </a:lnTo>
                    <a:lnTo>
                      <a:pt x="376" y="738"/>
                    </a:lnTo>
                    <a:lnTo>
                      <a:pt x="376" y="740"/>
                    </a:lnTo>
                    <a:lnTo>
                      <a:pt x="376" y="742"/>
                    </a:lnTo>
                    <a:lnTo>
                      <a:pt x="377" y="742"/>
                    </a:lnTo>
                    <a:lnTo>
                      <a:pt x="377" y="743"/>
                    </a:lnTo>
                    <a:lnTo>
                      <a:pt x="379" y="743"/>
                    </a:lnTo>
                    <a:lnTo>
                      <a:pt x="381" y="745"/>
                    </a:lnTo>
                    <a:lnTo>
                      <a:pt x="383" y="747"/>
                    </a:lnTo>
                    <a:lnTo>
                      <a:pt x="384" y="747"/>
                    </a:lnTo>
                    <a:lnTo>
                      <a:pt x="384" y="748"/>
                    </a:lnTo>
                    <a:lnTo>
                      <a:pt x="386" y="748"/>
                    </a:lnTo>
                    <a:lnTo>
                      <a:pt x="386" y="750"/>
                    </a:lnTo>
                    <a:lnTo>
                      <a:pt x="384" y="752"/>
                    </a:lnTo>
                    <a:lnTo>
                      <a:pt x="383" y="753"/>
                    </a:lnTo>
                    <a:lnTo>
                      <a:pt x="383" y="755"/>
                    </a:lnTo>
                    <a:lnTo>
                      <a:pt x="383" y="757"/>
                    </a:lnTo>
                    <a:lnTo>
                      <a:pt x="381" y="759"/>
                    </a:lnTo>
                    <a:lnTo>
                      <a:pt x="381" y="760"/>
                    </a:lnTo>
                    <a:lnTo>
                      <a:pt x="379" y="762"/>
                    </a:lnTo>
                    <a:lnTo>
                      <a:pt x="377" y="762"/>
                    </a:lnTo>
                    <a:lnTo>
                      <a:pt x="377" y="764"/>
                    </a:lnTo>
                    <a:lnTo>
                      <a:pt x="376" y="764"/>
                    </a:lnTo>
                    <a:lnTo>
                      <a:pt x="374" y="764"/>
                    </a:lnTo>
                    <a:lnTo>
                      <a:pt x="372" y="764"/>
                    </a:lnTo>
                    <a:lnTo>
                      <a:pt x="372" y="765"/>
                    </a:lnTo>
                    <a:lnTo>
                      <a:pt x="371" y="765"/>
                    </a:lnTo>
                    <a:lnTo>
                      <a:pt x="369" y="767"/>
                    </a:lnTo>
                    <a:lnTo>
                      <a:pt x="367" y="767"/>
                    </a:lnTo>
                    <a:lnTo>
                      <a:pt x="367" y="769"/>
                    </a:lnTo>
                    <a:lnTo>
                      <a:pt x="366" y="769"/>
                    </a:lnTo>
                    <a:lnTo>
                      <a:pt x="366" y="767"/>
                    </a:lnTo>
                    <a:lnTo>
                      <a:pt x="364" y="767"/>
                    </a:lnTo>
                    <a:lnTo>
                      <a:pt x="364" y="769"/>
                    </a:lnTo>
                    <a:lnTo>
                      <a:pt x="362" y="769"/>
                    </a:lnTo>
                    <a:lnTo>
                      <a:pt x="362" y="770"/>
                    </a:lnTo>
                    <a:lnTo>
                      <a:pt x="360" y="770"/>
                    </a:lnTo>
                    <a:lnTo>
                      <a:pt x="359" y="770"/>
                    </a:lnTo>
                    <a:lnTo>
                      <a:pt x="357" y="772"/>
                    </a:lnTo>
                    <a:lnTo>
                      <a:pt x="355" y="772"/>
                    </a:lnTo>
                    <a:lnTo>
                      <a:pt x="355" y="774"/>
                    </a:lnTo>
                    <a:lnTo>
                      <a:pt x="354" y="774"/>
                    </a:lnTo>
                    <a:lnTo>
                      <a:pt x="352" y="774"/>
                    </a:lnTo>
                    <a:lnTo>
                      <a:pt x="350" y="774"/>
                    </a:lnTo>
                    <a:lnTo>
                      <a:pt x="349" y="774"/>
                    </a:lnTo>
                    <a:lnTo>
                      <a:pt x="347" y="774"/>
                    </a:lnTo>
                    <a:lnTo>
                      <a:pt x="345" y="774"/>
                    </a:lnTo>
                    <a:lnTo>
                      <a:pt x="343" y="774"/>
                    </a:lnTo>
                    <a:lnTo>
                      <a:pt x="342" y="774"/>
                    </a:lnTo>
                    <a:lnTo>
                      <a:pt x="340" y="774"/>
                    </a:lnTo>
                    <a:lnTo>
                      <a:pt x="338" y="774"/>
                    </a:lnTo>
                    <a:lnTo>
                      <a:pt x="337" y="774"/>
                    </a:lnTo>
                    <a:lnTo>
                      <a:pt x="335" y="774"/>
                    </a:lnTo>
                    <a:lnTo>
                      <a:pt x="333" y="774"/>
                    </a:lnTo>
                    <a:lnTo>
                      <a:pt x="332" y="774"/>
                    </a:lnTo>
                    <a:lnTo>
                      <a:pt x="330" y="774"/>
                    </a:lnTo>
                    <a:lnTo>
                      <a:pt x="330" y="772"/>
                    </a:lnTo>
                    <a:lnTo>
                      <a:pt x="328" y="772"/>
                    </a:lnTo>
                    <a:lnTo>
                      <a:pt x="326" y="772"/>
                    </a:lnTo>
                    <a:lnTo>
                      <a:pt x="326" y="770"/>
                    </a:lnTo>
                    <a:lnTo>
                      <a:pt x="325" y="769"/>
                    </a:lnTo>
                    <a:lnTo>
                      <a:pt x="323" y="769"/>
                    </a:lnTo>
                    <a:lnTo>
                      <a:pt x="321" y="769"/>
                    </a:lnTo>
                    <a:lnTo>
                      <a:pt x="321" y="767"/>
                    </a:lnTo>
                    <a:lnTo>
                      <a:pt x="320" y="767"/>
                    </a:lnTo>
                    <a:lnTo>
                      <a:pt x="321" y="767"/>
                    </a:lnTo>
                    <a:lnTo>
                      <a:pt x="321" y="765"/>
                    </a:lnTo>
                    <a:lnTo>
                      <a:pt x="320" y="765"/>
                    </a:lnTo>
                    <a:lnTo>
                      <a:pt x="320" y="767"/>
                    </a:lnTo>
                    <a:lnTo>
                      <a:pt x="318" y="767"/>
                    </a:lnTo>
                    <a:lnTo>
                      <a:pt x="316" y="767"/>
                    </a:lnTo>
                    <a:lnTo>
                      <a:pt x="315" y="765"/>
                    </a:lnTo>
                    <a:lnTo>
                      <a:pt x="313" y="765"/>
                    </a:lnTo>
                    <a:lnTo>
                      <a:pt x="313" y="764"/>
                    </a:lnTo>
                    <a:lnTo>
                      <a:pt x="311" y="764"/>
                    </a:lnTo>
                    <a:lnTo>
                      <a:pt x="309" y="762"/>
                    </a:lnTo>
                    <a:lnTo>
                      <a:pt x="308" y="762"/>
                    </a:lnTo>
                    <a:lnTo>
                      <a:pt x="306" y="760"/>
                    </a:lnTo>
                    <a:lnTo>
                      <a:pt x="304" y="760"/>
                    </a:lnTo>
                    <a:lnTo>
                      <a:pt x="303" y="760"/>
                    </a:lnTo>
                    <a:lnTo>
                      <a:pt x="301" y="759"/>
                    </a:lnTo>
                    <a:lnTo>
                      <a:pt x="299" y="759"/>
                    </a:lnTo>
                    <a:lnTo>
                      <a:pt x="298" y="759"/>
                    </a:lnTo>
                    <a:lnTo>
                      <a:pt x="296" y="759"/>
                    </a:lnTo>
                    <a:lnTo>
                      <a:pt x="294" y="759"/>
                    </a:lnTo>
                    <a:lnTo>
                      <a:pt x="292" y="759"/>
                    </a:lnTo>
                    <a:lnTo>
                      <a:pt x="294" y="757"/>
                    </a:lnTo>
                    <a:lnTo>
                      <a:pt x="296" y="757"/>
                    </a:lnTo>
                    <a:lnTo>
                      <a:pt x="298" y="757"/>
                    </a:lnTo>
                    <a:lnTo>
                      <a:pt x="298" y="759"/>
                    </a:lnTo>
                    <a:lnTo>
                      <a:pt x="299" y="757"/>
                    </a:lnTo>
                    <a:lnTo>
                      <a:pt x="298" y="757"/>
                    </a:lnTo>
                    <a:lnTo>
                      <a:pt x="299" y="757"/>
                    </a:lnTo>
                    <a:lnTo>
                      <a:pt x="298" y="757"/>
                    </a:lnTo>
                    <a:lnTo>
                      <a:pt x="296" y="757"/>
                    </a:lnTo>
                    <a:lnTo>
                      <a:pt x="298" y="755"/>
                    </a:lnTo>
                    <a:lnTo>
                      <a:pt x="296" y="755"/>
                    </a:lnTo>
                    <a:lnTo>
                      <a:pt x="298" y="755"/>
                    </a:lnTo>
                    <a:lnTo>
                      <a:pt x="296" y="755"/>
                    </a:lnTo>
                    <a:lnTo>
                      <a:pt x="296" y="753"/>
                    </a:lnTo>
                    <a:lnTo>
                      <a:pt x="294" y="753"/>
                    </a:lnTo>
                    <a:lnTo>
                      <a:pt x="292" y="753"/>
                    </a:lnTo>
                    <a:lnTo>
                      <a:pt x="291" y="753"/>
                    </a:lnTo>
                    <a:lnTo>
                      <a:pt x="292" y="753"/>
                    </a:lnTo>
                    <a:lnTo>
                      <a:pt x="291" y="753"/>
                    </a:lnTo>
                    <a:lnTo>
                      <a:pt x="291" y="755"/>
                    </a:lnTo>
                    <a:lnTo>
                      <a:pt x="292" y="753"/>
                    </a:lnTo>
                    <a:lnTo>
                      <a:pt x="292" y="755"/>
                    </a:lnTo>
                    <a:lnTo>
                      <a:pt x="294" y="755"/>
                    </a:lnTo>
                    <a:lnTo>
                      <a:pt x="292" y="755"/>
                    </a:lnTo>
                    <a:lnTo>
                      <a:pt x="291" y="755"/>
                    </a:lnTo>
                    <a:lnTo>
                      <a:pt x="289" y="755"/>
                    </a:lnTo>
                    <a:lnTo>
                      <a:pt x="289" y="757"/>
                    </a:lnTo>
                    <a:lnTo>
                      <a:pt x="287" y="757"/>
                    </a:lnTo>
                    <a:lnTo>
                      <a:pt x="287" y="759"/>
                    </a:lnTo>
                    <a:lnTo>
                      <a:pt x="286" y="759"/>
                    </a:lnTo>
                    <a:lnTo>
                      <a:pt x="286" y="760"/>
                    </a:lnTo>
                    <a:lnTo>
                      <a:pt x="286" y="762"/>
                    </a:lnTo>
                    <a:lnTo>
                      <a:pt x="284" y="764"/>
                    </a:lnTo>
                    <a:lnTo>
                      <a:pt x="284" y="765"/>
                    </a:lnTo>
                    <a:lnTo>
                      <a:pt x="284" y="767"/>
                    </a:lnTo>
                    <a:lnTo>
                      <a:pt x="284" y="769"/>
                    </a:lnTo>
                    <a:lnTo>
                      <a:pt x="284" y="770"/>
                    </a:lnTo>
                    <a:lnTo>
                      <a:pt x="286" y="770"/>
                    </a:lnTo>
                    <a:lnTo>
                      <a:pt x="286" y="772"/>
                    </a:lnTo>
                    <a:lnTo>
                      <a:pt x="286" y="774"/>
                    </a:lnTo>
                    <a:lnTo>
                      <a:pt x="284" y="774"/>
                    </a:lnTo>
                    <a:lnTo>
                      <a:pt x="286" y="774"/>
                    </a:lnTo>
                    <a:lnTo>
                      <a:pt x="286" y="776"/>
                    </a:lnTo>
                    <a:lnTo>
                      <a:pt x="286" y="777"/>
                    </a:lnTo>
                    <a:lnTo>
                      <a:pt x="286" y="779"/>
                    </a:lnTo>
                    <a:lnTo>
                      <a:pt x="286" y="781"/>
                    </a:lnTo>
                    <a:lnTo>
                      <a:pt x="287" y="781"/>
                    </a:lnTo>
                    <a:lnTo>
                      <a:pt x="287" y="782"/>
                    </a:lnTo>
                    <a:lnTo>
                      <a:pt x="287" y="784"/>
                    </a:lnTo>
                    <a:lnTo>
                      <a:pt x="287" y="786"/>
                    </a:lnTo>
                    <a:lnTo>
                      <a:pt x="289" y="787"/>
                    </a:lnTo>
                    <a:lnTo>
                      <a:pt x="291" y="789"/>
                    </a:lnTo>
                    <a:lnTo>
                      <a:pt x="291" y="791"/>
                    </a:lnTo>
                    <a:lnTo>
                      <a:pt x="289" y="791"/>
                    </a:lnTo>
                    <a:lnTo>
                      <a:pt x="291" y="793"/>
                    </a:lnTo>
                    <a:lnTo>
                      <a:pt x="289" y="793"/>
                    </a:lnTo>
                    <a:lnTo>
                      <a:pt x="289" y="794"/>
                    </a:lnTo>
                    <a:lnTo>
                      <a:pt x="289" y="796"/>
                    </a:lnTo>
                    <a:lnTo>
                      <a:pt x="289" y="798"/>
                    </a:lnTo>
                    <a:lnTo>
                      <a:pt x="289" y="799"/>
                    </a:lnTo>
                    <a:lnTo>
                      <a:pt x="289" y="801"/>
                    </a:lnTo>
                    <a:lnTo>
                      <a:pt x="291" y="801"/>
                    </a:lnTo>
                    <a:lnTo>
                      <a:pt x="289" y="801"/>
                    </a:lnTo>
                    <a:lnTo>
                      <a:pt x="289" y="803"/>
                    </a:lnTo>
                    <a:lnTo>
                      <a:pt x="289" y="804"/>
                    </a:lnTo>
                    <a:lnTo>
                      <a:pt x="289" y="806"/>
                    </a:lnTo>
                    <a:lnTo>
                      <a:pt x="287" y="806"/>
                    </a:lnTo>
                    <a:lnTo>
                      <a:pt x="287" y="808"/>
                    </a:lnTo>
                    <a:lnTo>
                      <a:pt x="287" y="810"/>
                    </a:lnTo>
                    <a:lnTo>
                      <a:pt x="287" y="811"/>
                    </a:lnTo>
                    <a:lnTo>
                      <a:pt x="287" y="813"/>
                    </a:lnTo>
                    <a:lnTo>
                      <a:pt x="289" y="815"/>
                    </a:lnTo>
                    <a:lnTo>
                      <a:pt x="289" y="816"/>
                    </a:lnTo>
                    <a:lnTo>
                      <a:pt x="291" y="816"/>
                    </a:lnTo>
                    <a:lnTo>
                      <a:pt x="291" y="818"/>
                    </a:lnTo>
                    <a:lnTo>
                      <a:pt x="292" y="818"/>
                    </a:lnTo>
                    <a:lnTo>
                      <a:pt x="292" y="820"/>
                    </a:lnTo>
                    <a:lnTo>
                      <a:pt x="294" y="820"/>
                    </a:lnTo>
                    <a:lnTo>
                      <a:pt x="296" y="820"/>
                    </a:lnTo>
                    <a:lnTo>
                      <a:pt x="298" y="820"/>
                    </a:lnTo>
                    <a:lnTo>
                      <a:pt x="298" y="822"/>
                    </a:lnTo>
                    <a:lnTo>
                      <a:pt x="299" y="822"/>
                    </a:lnTo>
                    <a:lnTo>
                      <a:pt x="301" y="822"/>
                    </a:lnTo>
                    <a:lnTo>
                      <a:pt x="303" y="822"/>
                    </a:lnTo>
                    <a:lnTo>
                      <a:pt x="304" y="822"/>
                    </a:lnTo>
                    <a:lnTo>
                      <a:pt x="306" y="822"/>
                    </a:lnTo>
                    <a:lnTo>
                      <a:pt x="306" y="823"/>
                    </a:lnTo>
                    <a:lnTo>
                      <a:pt x="306" y="822"/>
                    </a:lnTo>
                    <a:lnTo>
                      <a:pt x="308" y="823"/>
                    </a:lnTo>
                    <a:lnTo>
                      <a:pt x="306" y="823"/>
                    </a:lnTo>
                    <a:lnTo>
                      <a:pt x="306" y="825"/>
                    </a:lnTo>
                    <a:lnTo>
                      <a:pt x="304" y="825"/>
                    </a:lnTo>
                    <a:lnTo>
                      <a:pt x="304" y="827"/>
                    </a:lnTo>
                    <a:lnTo>
                      <a:pt x="304" y="828"/>
                    </a:lnTo>
                    <a:lnTo>
                      <a:pt x="303" y="830"/>
                    </a:lnTo>
                    <a:lnTo>
                      <a:pt x="303" y="832"/>
                    </a:lnTo>
                    <a:lnTo>
                      <a:pt x="304" y="832"/>
                    </a:lnTo>
                    <a:lnTo>
                      <a:pt x="304" y="830"/>
                    </a:lnTo>
                    <a:lnTo>
                      <a:pt x="304" y="832"/>
                    </a:lnTo>
                    <a:lnTo>
                      <a:pt x="306" y="830"/>
                    </a:lnTo>
                    <a:lnTo>
                      <a:pt x="306" y="832"/>
                    </a:lnTo>
                    <a:lnTo>
                      <a:pt x="308" y="832"/>
                    </a:lnTo>
                    <a:lnTo>
                      <a:pt x="308" y="830"/>
                    </a:lnTo>
                    <a:lnTo>
                      <a:pt x="308" y="832"/>
                    </a:lnTo>
                    <a:lnTo>
                      <a:pt x="309" y="832"/>
                    </a:lnTo>
                    <a:lnTo>
                      <a:pt x="311" y="832"/>
                    </a:lnTo>
                    <a:lnTo>
                      <a:pt x="311" y="830"/>
                    </a:lnTo>
                    <a:lnTo>
                      <a:pt x="311" y="832"/>
                    </a:lnTo>
                    <a:lnTo>
                      <a:pt x="313" y="830"/>
                    </a:lnTo>
                    <a:lnTo>
                      <a:pt x="315" y="830"/>
                    </a:lnTo>
                    <a:lnTo>
                      <a:pt x="316" y="830"/>
                    </a:lnTo>
                    <a:lnTo>
                      <a:pt x="318" y="830"/>
                    </a:lnTo>
                    <a:lnTo>
                      <a:pt x="320" y="832"/>
                    </a:lnTo>
                    <a:lnTo>
                      <a:pt x="320" y="830"/>
                    </a:lnTo>
                    <a:lnTo>
                      <a:pt x="321" y="830"/>
                    </a:lnTo>
                    <a:lnTo>
                      <a:pt x="321" y="828"/>
                    </a:lnTo>
                    <a:lnTo>
                      <a:pt x="323" y="828"/>
                    </a:lnTo>
                    <a:lnTo>
                      <a:pt x="321" y="827"/>
                    </a:lnTo>
                    <a:lnTo>
                      <a:pt x="323" y="827"/>
                    </a:lnTo>
                    <a:lnTo>
                      <a:pt x="321" y="825"/>
                    </a:lnTo>
                    <a:lnTo>
                      <a:pt x="321" y="823"/>
                    </a:lnTo>
                    <a:lnTo>
                      <a:pt x="320" y="823"/>
                    </a:lnTo>
                    <a:lnTo>
                      <a:pt x="318" y="823"/>
                    </a:lnTo>
                    <a:lnTo>
                      <a:pt x="316" y="823"/>
                    </a:lnTo>
                    <a:lnTo>
                      <a:pt x="316" y="822"/>
                    </a:lnTo>
                    <a:lnTo>
                      <a:pt x="315" y="823"/>
                    </a:lnTo>
                    <a:lnTo>
                      <a:pt x="313" y="823"/>
                    </a:lnTo>
                    <a:lnTo>
                      <a:pt x="311" y="823"/>
                    </a:lnTo>
                    <a:lnTo>
                      <a:pt x="311" y="822"/>
                    </a:lnTo>
                    <a:lnTo>
                      <a:pt x="313" y="822"/>
                    </a:lnTo>
                    <a:lnTo>
                      <a:pt x="316" y="822"/>
                    </a:lnTo>
                    <a:lnTo>
                      <a:pt x="318" y="820"/>
                    </a:lnTo>
                    <a:lnTo>
                      <a:pt x="320" y="820"/>
                    </a:lnTo>
                    <a:lnTo>
                      <a:pt x="321" y="820"/>
                    </a:lnTo>
                    <a:lnTo>
                      <a:pt x="323" y="820"/>
                    </a:lnTo>
                    <a:lnTo>
                      <a:pt x="323" y="818"/>
                    </a:lnTo>
                    <a:lnTo>
                      <a:pt x="325" y="818"/>
                    </a:lnTo>
                    <a:lnTo>
                      <a:pt x="325" y="816"/>
                    </a:lnTo>
                    <a:lnTo>
                      <a:pt x="326" y="816"/>
                    </a:lnTo>
                    <a:lnTo>
                      <a:pt x="328" y="816"/>
                    </a:lnTo>
                    <a:lnTo>
                      <a:pt x="328" y="815"/>
                    </a:lnTo>
                    <a:lnTo>
                      <a:pt x="330" y="815"/>
                    </a:lnTo>
                    <a:lnTo>
                      <a:pt x="332" y="815"/>
                    </a:lnTo>
                    <a:lnTo>
                      <a:pt x="333" y="816"/>
                    </a:lnTo>
                    <a:lnTo>
                      <a:pt x="333" y="818"/>
                    </a:lnTo>
                    <a:lnTo>
                      <a:pt x="333" y="820"/>
                    </a:lnTo>
                    <a:lnTo>
                      <a:pt x="335" y="822"/>
                    </a:lnTo>
                    <a:lnTo>
                      <a:pt x="335" y="823"/>
                    </a:lnTo>
                    <a:lnTo>
                      <a:pt x="337" y="825"/>
                    </a:lnTo>
                    <a:lnTo>
                      <a:pt x="337" y="827"/>
                    </a:lnTo>
                    <a:lnTo>
                      <a:pt x="337" y="828"/>
                    </a:lnTo>
                    <a:lnTo>
                      <a:pt x="337" y="830"/>
                    </a:lnTo>
                    <a:lnTo>
                      <a:pt x="337" y="832"/>
                    </a:lnTo>
                    <a:lnTo>
                      <a:pt x="337" y="833"/>
                    </a:lnTo>
                    <a:lnTo>
                      <a:pt x="337" y="835"/>
                    </a:lnTo>
                    <a:lnTo>
                      <a:pt x="337" y="837"/>
                    </a:lnTo>
                    <a:lnTo>
                      <a:pt x="338" y="837"/>
                    </a:lnTo>
                    <a:lnTo>
                      <a:pt x="338" y="839"/>
                    </a:lnTo>
                    <a:lnTo>
                      <a:pt x="338" y="840"/>
                    </a:lnTo>
                    <a:lnTo>
                      <a:pt x="337" y="840"/>
                    </a:lnTo>
                    <a:lnTo>
                      <a:pt x="337" y="842"/>
                    </a:lnTo>
                    <a:lnTo>
                      <a:pt x="337" y="844"/>
                    </a:lnTo>
                    <a:lnTo>
                      <a:pt x="337" y="845"/>
                    </a:lnTo>
                    <a:lnTo>
                      <a:pt x="337" y="847"/>
                    </a:lnTo>
                    <a:lnTo>
                      <a:pt x="335" y="847"/>
                    </a:lnTo>
                    <a:lnTo>
                      <a:pt x="333" y="849"/>
                    </a:lnTo>
                    <a:lnTo>
                      <a:pt x="332" y="849"/>
                    </a:lnTo>
                    <a:lnTo>
                      <a:pt x="330" y="849"/>
                    </a:lnTo>
                    <a:lnTo>
                      <a:pt x="328" y="849"/>
                    </a:lnTo>
                    <a:lnTo>
                      <a:pt x="328" y="850"/>
                    </a:lnTo>
                    <a:lnTo>
                      <a:pt x="326" y="850"/>
                    </a:lnTo>
                    <a:lnTo>
                      <a:pt x="325" y="850"/>
                    </a:lnTo>
                    <a:lnTo>
                      <a:pt x="323" y="850"/>
                    </a:lnTo>
                    <a:lnTo>
                      <a:pt x="321" y="850"/>
                    </a:lnTo>
                    <a:lnTo>
                      <a:pt x="321" y="852"/>
                    </a:lnTo>
                    <a:lnTo>
                      <a:pt x="320" y="852"/>
                    </a:lnTo>
                    <a:lnTo>
                      <a:pt x="318" y="850"/>
                    </a:lnTo>
                    <a:lnTo>
                      <a:pt x="316" y="849"/>
                    </a:lnTo>
                    <a:lnTo>
                      <a:pt x="316" y="847"/>
                    </a:lnTo>
                    <a:lnTo>
                      <a:pt x="315" y="847"/>
                    </a:lnTo>
                    <a:lnTo>
                      <a:pt x="315" y="845"/>
                    </a:lnTo>
                    <a:lnTo>
                      <a:pt x="316" y="844"/>
                    </a:lnTo>
                    <a:lnTo>
                      <a:pt x="315" y="842"/>
                    </a:lnTo>
                    <a:lnTo>
                      <a:pt x="316" y="842"/>
                    </a:lnTo>
                    <a:lnTo>
                      <a:pt x="316" y="840"/>
                    </a:lnTo>
                    <a:lnTo>
                      <a:pt x="315" y="840"/>
                    </a:lnTo>
                    <a:lnTo>
                      <a:pt x="315" y="839"/>
                    </a:lnTo>
                    <a:lnTo>
                      <a:pt x="313" y="839"/>
                    </a:lnTo>
                    <a:lnTo>
                      <a:pt x="313" y="837"/>
                    </a:lnTo>
                    <a:lnTo>
                      <a:pt x="311" y="837"/>
                    </a:lnTo>
                    <a:lnTo>
                      <a:pt x="311" y="835"/>
                    </a:lnTo>
                    <a:lnTo>
                      <a:pt x="309" y="835"/>
                    </a:lnTo>
                    <a:lnTo>
                      <a:pt x="308" y="835"/>
                    </a:lnTo>
                    <a:lnTo>
                      <a:pt x="306" y="835"/>
                    </a:lnTo>
                    <a:lnTo>
                      <a:pt x="306" y="833"/>
                    </a:lnTo>
                    <a:lnTo>
                      <a:pt x="304" y="833"/>
                    </a:lnTo>
                    <a:lnTo>
                      <a:pt x="303" y="835"/>
                    </a:lnTo>
                    <a:lnTo>
                      <a:pt x="301" y="835"/>
                    </a:lnTo>
                    <a:lnTo>
                      <a:pt x="299" y="835"/>
                    </a:lnTo>
                    <a:lnTo>
                      <a:pt x="299" y="837"/>
                    </a:lnTo>
                    <a:lnTo>
                      <a:pt x="298" y="837"/>
                    </a:lnTo>
                    <a:lnTo>
                      <a:pt x="298" y="839"/>
                    </a:lnTo>
                    <a:lnTo>
                      <a:pt x="296" y="839"/>
                    </a:lnTo>
                    <a:lnTo>
                      <a:pt x="296" y="840"/>
                    </a:lnTo>
                    <a:lnTo>
                      <a:pt x="294" y="840"/>
                    </a:lnTo>
                    <a:lnTo>
                      <a:pt x="292" y="840"/>
                    </a:lnTo>
                    <a:lnTo>
                      <a:pt x="291" y="840"/>
                    </a:lnTo>
                    <a:lnTo>
                      <a:pt x="291" y="842"/>
                    </a:lnTo>
                    <a:lnTo>
                      <a:pt x="291" y="844"/>
                    </a:lnTo>
                    <a:lnTo>
                      <a:pt x="289" y="844"/>
                    </a:lnTo>
                    <a:lnTo>
                      <a:pt x="289" y="845"/>
                    </a:lnTo>
                    <a:lnTo>
                      <a:pt x="289" y="847"/>
                    </a:lnTo>
                    <a:lnTo>
                      <a:pt x="291" y="847"/>
                    </a:lnTo>
                    <a:lnTo>
                      <a:pt x="291" y="849"/>
                    </a:lnTo>
                    <a:lnTo>
                      <a:pt x="291" y="847"/>
                    </a:lnTo>
                    <a:lnTo>
                      <a:pt x="292" y="847"/>
                    </a:lnTo>
                    <a:lnTo>
                      <a:pt x="292" y="849"/>
                    </a:lnTo>
                    <a:lnTo>
                      <a:pt x="294" y="849"/>
                    </a:lnTo>
                    <a:lnTo>
                      <a:pt x="294" y="850"/>
                    </a:lnTo>
                    <a:lnTo>
                      <a:pt x="296" y="850"/>
                    </a:lnTo>
                    <a:lnTo>
                      <a:pt x="298" y="850"/>
                    </a:lnTo>
                    <a:lnTo>
                      <a:pt x="299" y="852"/>
                    </a:lnTo>
                    <a:lnTo>
                      <a:pt x="301" y="852"/>
                    </a:lnTo>
                    <a:lnTo>
                      <a:pt x="301" y="854"/>
                    </a:lnTo>
                    <a:lnTo>
                      <a:pt x="303" y="854"/>
                    </a:lnTo>
                    <a:lnTo>
                      <a:pt x="304" y="854"/>
                    </a:lnTo>
                    <a:lnTo>
                      <a:pt x="306" y="854"/>
                    </a:lnTo>
                    <a:lnTo>
                      <a:pt x="306" y="856"/>
                    </a:lnTo>
                    <a:lnTo>
                      <a:pt x="308" y="856"/>
                    </a:lnTo>
                    <a:lnTo>
                      <a:pt x="309" y="856"/>
                    </a:lnTo>
                    <a:lnTo>
                      <a:pt x="311" y="856"/>
                    </a:lnTo>
                    <a:lnTo>
                      <a:pt x="313" y="854"/>
                    </a:lnTo>
                    <a:lnTo>
                      <a:pt x="313" y="856"/>
                    </a:lnTo>
                    <a:lnTo>
                      <a:pt x="313" y="857"/>
                    </a:lnTo>
                    <a:lnTo>
                      <a:pt x="311" y="857"/>
                    </a:lnTo>
                    <a:lnTo>
                      <a:pt x="311" y="859"/>
                    </a:lnTo>
                    <a:lnTo>
                      <a:pt x="309" y="859"/>
                    </a:lnTo>
                    <a:lnTo>
                      <a:pt x="309" y="861"/>
                    </a:lnTo>
                    <a:lnTo>
                      <a:pt x="308" y="861"/>
                    </a:lnTo>
                    <a:lnTo>
                      <a:pt x="306" y="861"/>
                    </a:lnTo>
                    <a:lnTo>
                      <a:pt x="304" y="862"/>
                    </a:lnTo>
                    <a:lnTo>
                      <a:pt x="303" y="862"/>
                    </a:lnTo>
                    <a:lnTo>
                      <a:pt x="301" y="864"/>
                    </a:lnTo>
                    <a:lnTo>
                      <a:pt x="298" y="864"/>
                    </a:lnTo>
                    <a:lnTo>
                      <a:pt x="294" y="866"/>
                    </a:lnTo>
                    <a:lnTo>
                      <a:pt x="294" y="867"/>
                    </a:lnTo>
                    <a:lnTo>
                      <a:pt x="291" y="869"/>
                    </a:lnTo>
                    <a:lnTo>
                      <a:pt x="289" y="871"/>
                    </a:lnTo>
                    <a:lnTo>
                      <a:pt x="289" y="873"/>
                    </a:lnTo>
                    <a:lnTo>
                      <a:pt x="287" y="874"/>
                    </a:lnTo>
                    <a:lnTo>
                      <a:pt x="289" y="874"/>
                    </a:lnTo>
                    <a:lnTo>
                      <a:pt x="289" y="876"/>
                    </a:lnTo>
                    <a:lnTo>
                      <a:pt x="287" y="876"/>
                    </a:lnTo>
                    <a:lnTo>
                      <a:pt x="287" y="878"/>
                    </a:lnTo>
                    <a:lnTo>
                      <a:pt x="286" y="878"/>
                    </a:lnTo>
                    <a:lnTo>
                      <a:pt x="286" y="879"/>
                    </a:lnTo>
                    <a:lnTo>
                      <a:pt x="284" y="879"/>
                    </a:lnTo>
                    <a:lnTo>
                      <a:pt x="284" y="881"/>
                    </a:lnTo>
                    <a:lnTo>
                      <a:pt x="284" y="883"/>
                    </a:lnTo>
                    <a:lnTo>
                      <a:pt x="282" y="883"/>
                    </a:lnTo>
                    <a:lnTo>
                      <a:pt x="282" y="884"/>
                    </a:lnTo>
                    <a:lnTo>
                      <a:pt x="281" y="884"/>
                    </a:lnTo>
                    <a:lnTo>
                      <a:pt x="281" y="886"/>
                    </a:lnTo>
                    <a:lnTo>
                      <a:pt x="279" y="886"/>
                    </a:lnTo>
                    <a:lnTo>
                      <a:pt x="279" y="888"/>
                    </a:lnTo>
                    <a:lnTo>
                      <a:pt x="279" y="890"/>
                    </a:lnTo>
                    <a:lnTo>
                      <a:pt x="279" y="891"/>
                    </a:lnTo>
                    <a:lnTo>
                      <a:pt x="279" y="893"/>
                    </a:lnTo>
                    <a:lnTo>
                      <a:pt x="279" y="895"/>
                    </a:lnTo>
                    <a:lnTo>
                      <a:pt x="279" y="896"/>
                    </a:lnTo>
                    <a:lnTo>
                      <a:pt x="279" y="898"/>
                    </a:lnTo>
                    <a:lnTo>
                      <a:pt x="279" y="900"/>
                    </a:lnTo>
                    <a:lnTo>
                      <a:pt x="281" y="900"/>
                    </a:lnTo>
                    <a:lnTo>
                      <a:pt x="281" y="901"/>
                    </a:lnTo>
                    <a:lnTo>
                      <a:pt x="281" y="903"/>
                    </a:lnTo>
                    <a:lnTo>
                      <a:pt x="282" y="903"/>
                    </a:lnTo>
                    <a:lnTo>
                      <a:pt x="281" y="903"/>
                    </a:lnTo>
                    <a:lnTo>
                      <a:pt x="282" y="905"/>
                    </a:lnTo>
                    <a:lnTo>
                      <a:pt x="282" y="907"/>
                    </a:lnTo>
                    <a:lnTo>
                      <a:pt x="284" y="905"/>
                    </a:lnTo>
                    <a:lnTo>
                      <a:pt x="282" y="907"/>
                    </a:lnTo>
                    <a:lnTo>
                      <a:pt x="282" y="908"/>
                    </a:lnTo>
                    <a:lnTo>
                      <a:pt x="282" y="910"/>
                    </a:lnTo>
                    <a:lnTo>
                      <a:pt x="282" y="912"/>
                    </a:lnTo>
                    <a:lnTo>
                      <a:pt x="281" y="910"/>
                    </a:lnTo>
                    <a:lnTo>
                      <a:pt x="281" y="912"/>
                    </a:lnTo>
                    <a:lnTo>
                      <a:pt x="279" y="912"/>
                    </a:lnTo>
                    <a:lnTo>
                      <a:pt x="279" y="913"/>
                    </a:lnTo>
                    <a:lnTo>
                      <a:pt x="279" y="915"/>
                    </a:lnTo>
                    <a:lnTo>
                      <a:pt x="281" y="915"/>
                    </a:lnTo>
                    <a:lnTo>
                      <a:pt x="281" y="917"/>
                    </a:lnTo>
                    <a:lnTo>
                      <a:pt x="281" y="918"/>
                    </a:lnTo>
                    <a:lnTo>
                      <a:pt x="282" y="918"/>
                    </a:lnTo>
                    <a:lnTo>
                      <a:pt x="281" y="920"/>
                    </a:lnTo>
                    <a:lnTo>
                      <a:pt x="282" y="920"/>
                    </a:lnTo>
                    <a:lnTo>
                      <a:pt x="282" y="922"/>
                    </a:lnTo>
                    <a:lnTo>
                      <a:pt x="281" y="922"/>
                    </a:lnTo>
                    <a:lnTo>
                      <a:pt x="281" y="924"/>
                    </a:lnTo>
                    <a:lnTo>
                      <a:pt x="279" y="924"/>
                    </a:lnTo>
                    <a:lnTo>
                      <a:pt x="279" y="925"/>
                    </a:lnTo>
                    <a:lnTo>
                      <a:pt x="279" y="927"/>
                    </a:lnTo>
                    <a:lnTo>
                      <a:pt x="281" y="927"/>
                    </a:lnTo>
                    <a:lnTo>
                      <a:pt x="281" y="929"/>
                    </a:lnTo>
                    <a:lnTo>
                      <a:pt x="279" y="929"/>
                    </a:lnTo>
                    <a:lnTo>
                      <a:pt x="277" y="929"/>
                    </a:lnTo>
                    <a:lnTo>
                      <a:pt x="277" y="930"/>
                    </a:lnTo>
                    <a:lnTo>
                      <a:pt x="277" y="932"/>
                    </a:lnTo>
                    <a:lnTo>
                      <a:pt x="277" y="930"/>
                    </a:lnTo>
                    <a:lnTo>
                      <a:pt x="277" y="932"/>
                    </a:lnTo>
                    <a:lnTo>
                      <a:pt x="275" y="930"/>
                    </a:lnTo>
                    <a:lnTo>
                      <a:pt x="274" y="930"/>
                    </a:lnTo>
                    <a:lnTo>
                      <a:pt x="274" y="932"/>
                    </a:lnTo>
                    <a:lnTo>
                      <a:pt x="272" y="932"/>
                    </a:lnTo>
                    <a:lnTo>
                      <a:pt x="272" y="934"/>
                    </a:lnTo>
                    <a:lnTo>
                      <a:pt x="270" y="934"/>
                    </a:lnTo>
                    <a:lnTo>
                      <a:pt x="269" y="935"/>
                    </a:lnTo>
                    <a:lnTo>
                      <a:pt x="267" y="937"/>
                    </a:lnTo>
                    <a:lnTo>
                      <a:pt x="267" y="939"/>
                    </a:lnTo>
                    <a:lnTo>
                      <a:pt x="267" y="941"/>
                    </a:lnTo>
                    <a:lnTo>
                      <a:pt x="267" y="942"/>
                    </a:lnTo>
                    <a:lnTo>
                      <a:pt x="265" y="942"/>
                    </a:lnTo>
                    <a:lnTo>
                      <a:pt x="265" y="944"/>
                    </a:lnTo>
                    <a:lnTo>
                      <a:pt x="265" y="946"/>
                    </a:lnTo>
                    <a:lnTo>
                      <a:pt x="267" y="946"/>
                    </a:lnTo>
                    <a:lnTo>
                      <a:pt x="269" y="946"/>
                    </a:lnTo>
                    <a:lnTo>
                      <a:pt x="270" y="947"/>
                    </a:lnTo>
                    <a:lnTo>
                      <a:pt x="270" y="946"/>
                    </a:lnTo>
                    <a:lnTo>
                      <a:pt x="270" y="947"/>
                    </a:lnTo>
                    <a:lnTo>
                      <a:pt x="272" y="947"/>
                    </a:lnTo>
                    <a:lnTo>
                      <a:pt x="272" y="949"/>
                    </a:lnTo>
                    <a:lnTo>
                      <a:pt x="270" y="949"/>
                    </a:lnTo>
                    <a:lnTo>
                      <a:pt x="270" y="951"/>
                    </a:lnTo>
                    <a:lnTo>
                      <a:pt x="269" y="951"/>
                    </a:lnTo>
                    <a:lnTo>
                      <a:pt x="269" y="952"/>
                    </a:lnTo>
                    <a:lnTo>
                      <a:pt x="270" y="952"/>
                    </a:lnTo>
                    <a:lnTo>
                      <a:pt x="269" y="952"/>
                    </a:lnTo>
                    <a:lnTo>
                      <a:pt x="269" y="954"/>
                    </a:lnTo>
                    <a:lnTo>
                      <a:pt x="269" y="952"/>
                    </a:lnTo>
                    <a:lnTo>
                      <a:pt x="267" y="952"/>
                    </a:lnTo>
                    <a:lnTo>
                      <a:pt x="267" y="954"/>
                    </a:lnTo>
                    <a:lnTo>
                      <a:pt x="265" y="952"/>
                    </a:lnTo>
                    <a:lnTo>
                      <a:pt x="264" y="952"/>
                    </a:lnTo>
                    <a:lnTo>
                      <a:pt x="262" y="952"/>
                    </a:lnTo>
                    <a:lnTo>
                      <a:pt x="264" y="952"/>
                    </a:lnTo>
                    <a:lnTo>
                      <a:pt x="262" y="952"/>
                    </a:lnTo>
                    <a:lnTo>
                      <a:pt x="262" y="951"/>
                    </a:lnTo>
                    <a:lnTo>
                      <a:pt x="260" y="951"/>
                    </a:lnTo>
                    <a:lnTo>
                      <a:pt x="260" y="952"/>
                    </a:lnTo>
                    <a:lnTo>
                      <a:pt x="258" y="952"/>
                    </a:lnTo>
                    <a:lnTo>
                      <a:pt x="258" y="954"/>
                    </a:lnTo>
                    <a:lnTo>
                      <a:pt x="257" y="954"/>
                    </a:lnTo>
                    <a:lnTo>
                      <a:pt x="257" y="952"/>
                    </a:lnTo>
                    <a:lnTo>
                      <a:pt x="255" y="951"/>
                    </a:lnTo>
                    <a:lnTo>
                      <a:pt x="253" y="951"/>
                    </a:lnTo>
                    <a:lnTo>
                      <a:pt x="252" y="951"/>
                    </a:lnTo>
                    <a:lnTo>
                      <a:pt x="250" y="951"/>
                    </a:lnTo>
                    <a:lnTo>
                      <a:pt x="248" y="952"/>
                    </a:lnTo>
                    <a:lnTo>
                      <a:pt x="247" y="954"/>
                    </a:lnTo>
                    <a:lnTo>
                      <a:pt x="245" y="954"/>
                    </a:lnTo>
                    <a:lnTo>
                      <a:pt x="245" y="952"/>
                    </a:lnTo>
                    <a:lnTo>
                      <a:pt x="243" y="954"/>
                    </a:lnTo>
                    <a:lnTo>
                      <a:pt x="245" y="954"/>
                    </a:lnTo>
                    <a:lnTo>
                      <a:pt x="243" y="954"/>
                    </a:lnTo>
                    <a:lnTo>
                      <a:pt x="241" y="954"/>
                    </a:lnTo>
                    <a:lnTo>
                      <a:pt x="240" y="954"/>
                    </a:lnTo>
                    <a:lnTo>
                      <a:pt x="240" y="956"/>
                    </a:lnTo>
                    <a:lnTo>
                      <a:pt x="238" y="958"/>
                    </a:lnTo>
                    <a:lnTo>
                      <a:pt x="238" y="959"/>
                    </a:lnTo>
                    <a:lnTo>
                      <a:pt x="240" y="958"/>
                    </a:lnTo>
                    <a:lnTo>
                      <a:pt x="240" y="959"/>
                    </a:lnTo>
                    <a:lnTo>
                      <a:pt x="238" y="959"/>
                    </a:lnTo>
                    <a:lnTo>
                      <a:pt x="238" y="958"/>
                    </a:lnTo>
                    <a:lnTo>
                      <a:pt x="236" y="958"/>
                    </a:lnTo>
                    <a:lnTo>
                      <a:pt x="236" y="959"/>
                    </a:lnTo>
                    <a:lnTo>
                      <a:pt x="238" y="959"/>
                    </a:lnTo>
                    <a:lnTo>
                      <a:pt x="238" y="961"/>
                    </a:lnTo>
                    <a:lnTo>
                      <a:pt x="238" y="963"/>
                    </a:lnTo>
                    <a:lnTo>
                      <a:pt x="238" y="961"/>
                    </a:lnTo>
                    <a:lnTo>
                      <a:pt x="236" y="961"/>
                    </a:lnTo>
                    <a:lnTo>
                      <a:pt x="235" y="961"/>
                    </a:lnTo>
                    <a:lnTo>
                      <a:pt x="233" y="961"/>
                    </a:lnTo>
                    <a:lnTo>
                      <a:pt x="233" y="963"/>
                    </a:lnTo>
                    <a:lnTo>
                      <a:pt x="231" y="963"/>
                    </a:lnTo>
                    <a:lnTo>
                      <a:pt x="230" y="963"/>
                    </a:lnTo>
                    <a:lnTo>
                      <a:pt x="228" y="963"/>
                    </a:lnTo>
                    <a:lnTo>
                      <a:pt x="226" y="963"/>
                    </a:lnTo>
                    <a:lnTo>
                      <a:pt x="224" y="964"/>
                    </a:lnTo>
                    <a:lnTo>
                      <a:pt x="223" y="966"/>
                    </a:lnTo>
                    <a:lnTo>
                      <a:pt x="221" y="966"/>
                    </a:lnTo>
                    <a:lnTo>
                      <a:pt x="221" y="968"/>
                    </a:lnTo>
                    <a:lnTo>
                      <a:pt x="219" y="969"/>
                    </a:lnTo>
                    <a:lnTo>
                      <a:pt x="218" y="971"/>
                    </a:lnTo>
                    <a:lnTo>
                      <a:pt x="218" y="973"/>
                    </a:lnTo>
                    <a:lnTo>
                      <a:pt x="216" y="975"/>
                    </a:lnTo>
                    <a:lnTo>
                      <a:pt x="214" y="976"/>
                    </a:lnTo>
                    <a:lnTo>
                      <a:pt x="214" y="978"/>
                    </a:lnTo>
                    <a:lnTo>
                      <a:pt x="213" y="978"/>
                    </a:lnTo>
                    <a:lnTo>
                      <a:pt x="213" y="980"/>
                    </a:lnTo>
                    <a:lnTo>
                      <a:pt x="211" y="980"/>
                    </a:lnTo>
                    <a:lnTo>
                      <a:pt x="211" y="981"/>
                    </a:lnTo>
                    <a:lnTo>
                      <a:pt x="211" y="983"/>
                    </a:lnTo>
                    <a:lnTo>
                      <a:pt x="211" y="985"/>
                    </a:lnTo>
                    <a:lnTo>
                      <a:pt x="211" y="987"/>
                    </a:lnTo>
                    <a:lnTo>
                      <a:pt x="209" y="987"/>
                    </a:lnTo>
                    <a:lnTo>
                      <a:pt x="211" y="988"/>
                    </a:lnTo>
                    <a:lnTo>
                      <a:pt x="209" y="988"/>
                    </a:lnTo>
                    <a:lnTo>
                      <a:pt x="211" y="990"/>
                    </a:lnTo>
                    <a:lnTo>
                      <a:pt x="209" y="990"/>
                    </a:lnTo>
                    <a:lnTo>
                      <a:pt x="207" y="990"/>
                    </a:lnTo>
                    <a:lnTo>
                      <a:pt x="207" y="992"/>
                    </a:lnTo>
                    <a:lnTo>
                      <a:pt x="206" y="992"/>
                    </a:lnTo>
                    <a:lnTo>
                      <a:pt x="207" y="993"/>
                    </a:lnTo>
                    <a:lnTo>
                      <a:pt x="206" y="993"/>
                    </a:lnTo>
                    <a:lnTo>
                      <a:pt x="206" y="995"/>
                    </a:lnTo>
                    <a:lnTo>
                      <a:pt x="204" y="995"/>
                    </a:lnTo>
                    <a:lnTo>
                      <a:pt x="204" y="997"/>
                    </a:lnTo>
                    <a:lnTo>
                      <a:pt x="204" y="998"/>
                    </a:lnTo>
                    <a:lnTo>
                      <a:pt x="202" y="998"/>
                    </a:lnTo>
                    <a:lnTo>
                      <a:pt x="202" y="1000"/>
                    </a:lnTo>
                    <a:lnTo>
                      <a:pt x="202" y="1002"/>
                    </a:lnTo>
                    <a:lnTo>
                      <a:pt x="201" y="1002"/>
                    </a:lnTo>
                    <a:lnTo>
                      <a:pt x="202" y="1002"/>
                    </a:lnTo>
                    <a:lnTo>
                      <a:pt x="201" y="1004"/>
                    </a:lnTo>
                    <a:lnTo>
                      <a:pt x="201" y="1005"/>
                    </a:lnTo>
                    <a:lnTo>
                      <a:pt x="201" y="1007"/>
                    </a:lnTo>
                    <a:lnTo>
                      <a:pt x="202" y="1009"/>
                    </a:lnTo>
                    <a:lnTo>
                      <a:pt x="202" y="1012"/>
                    </a:lnTo>
                    <a:lnTo>
                      <a:pt x="202" y="1014"/>
                    </a:lnTo>
                    <a:lnTo>
                      <a:pt x="202" y="1015"/>
                    </a:lnTo>
                    <a:lnTo>
                      <a:pt x="204" y="1017"/>
                    </a:lnTo>
                    <a:lnTo>
                      <a:pt x="204" y="1019"/>
                    </a:lnTo>
                    <a:lnTo>
                      <a:pt x="206" y="1021"/>
                    </a:lnTo>
                    <a:lnTo>
                      <a:pt x="206" y="1022"/>
                    </a:lnTo>
                    <a:lnTo>
                      <a:pt x="206" y="1024"/>
                    </a:lnTo>
                    <a:lnTo>
                      <a:pt x="207" y="1024"/>
                    </a:lnTo>
                    <a:lnTo>
                      <a:pt x="207" y="1027"/>
                    </a:lnTo>
                    <a:lnTo>
                      <a:pt x="209" y="1027"/>
                    </a:lnTo>
                    <a:lnTo>
                      <a:pt x="209" y="1029"/>
                    </a:lnTo>
                    <a:lnTo>
                      <a:pt x="211" y="1029"/>
                    </a:lnTo>
                    <a:lnTo>
                      <a:pt x="211" y="1031"/>
                    </a:lnTo>
                    <a:lnTo>
                      <a:pt x="213" y="1031"/>
                    </a:lnTo>
                    <a:lnTo>
                      <a:pt x="214" y="1031"/>
                    </a:lnTo>
                    <a:lnTo>
                      <a:pt x="214" y="1032"/>
                    </a:lnTo>
                    <a:lnTo>
                      <a:pt x="216" y="1032"/>
                    </a:lnTo>
                    <a:lnTo>
                      <a:pt x="218" y="1034"/>
                    </a:lnTo>
                    <a:lnTo>
                      <a:pt x="219" y="1036"/>
                    </a:lnTo>
                    <a:lnTo>
                      <a:pt x="219" y="1038"/>
                    </a:lnTo>
                    <a:lnTo>
                      <a:pt x="221" y="1038"/>
                    </a:lnTo>
                    <a:lnTo>
                      <a:pt x="221" y="1039"/>
                    </a:lnTo>
                    <a:lnTo>
                      <a:pt x="223" y="1041"/>
                    </a:lnTo>
                    <a:lnTo>
                      <a:pt x="224" y="1043"/>
                    </a:lnTo>
                    <a:lnTo>
                      <a:pt x="226" y="1044"/>
                    </a:lnTo>
                    <a:lnTo>
                      <a:pt x="228" y="1046"/>
                    </a:lnTo>
                    <a:lnTo>
                      <a:pt x="228" y="1048"/>
                    </a:lnTo>
                    <a:lnTo>
                      <a:pt x="230" y="1048"/>
                    </a:lnTo>
                    <a:lnTo>
                      <a:pt x="230" y="1049"/>
                    </a:lnTo>
                    <a:lnTo>
                      <a:pt x="231" y="1049"/>
                    </a:lnTo>
                    <a:lnTo>
                      <a:pt x="233" y="1049"/>
                    </a:lnTo>
                    <a:lnTo>
                      <a:pt x="235" y="1051"/>
                    </a:lnTo>
                    <a:lnTo>
                      <a:pt x="236" y="1051"/>
                    </a:lnTo>
                    <a:lnTo>
                      <a:pt x="238" y="1051"/>
                    </a:lnTo>
                    <a:lnTo>
                      <a:pt x="240" y="1051"/>
                    </a:lnTo>
                    <a:lnTo>
                      <a:pt x="241" y="1051"/>
                    </a:lnTo>
                    <a:lnTo>
                      <a:pt x="243" y="1051"/>
                    </a:lnTo>
                    <a:lnTo>
                      <a:pt x="245" y="1051"/>
                    </a:lnTo>
                    <a:lnTo>
                      <a:pt x="245" y="1053"/>
                    </a:lnTo>
                    <a:lnTo>
                      <a:pt x="247" y="1053"/>
                    </a:lnTo>
                    <a:lnTo>
                      <a:pt x="248" y="1053"/>
                    </a:lnTo>
                    <a:lnTo>
                      <a:pt x="250" y="1053"/>
                    </a:lnTo>
                    <a:lnTo>
                      <a:pt x="252" y="1053"/>
                    </a:lnTo>
                    <a:lnTo>
                      <a:pt x="253" y="1053"/>
                    </a:lnTo>
                    <a:lnTo>
                      <a:pt x="255" y="1053"/>
                    </a:lnTo>
                    <a:lnTo>
                      <a:pt x="257" y="1053"/>
                    </a:lnTo>
                    <a:lnTo>
                      <a:pt x="258" y="1053"/>
                    </a:lnTo>
                    <a:lnTo>
                      <a:pt x="260" y="1053"/>
                    </a:lnTo>
                    <a:lnTo>
                      <a:pt x="262" y="1055"/>
                    </a:lnTo>
                    <a:lnTo>
                      <a:pt x="262" y="1056"/>
                    </a:lnTo>
                    <a:lnTo>
                      <a:pt x="264" y="1056"/>
                    </a:lnTo>
                    <a:lnTo>
                      <a:pt x="265" y="1058"/>
                    </a:lnTo>
                    <a:lnTo>
                      <a:pt x="265" y="1060"/>
                    </a:lnTo>
                    <a:lnTo>
                      <a:pt x="265" y="1061"/>
                    </a:lnTo>
                    <a:lnTo>
                      <a:pt x="265" y="1063"/>
                    </a:lnTo>
                    <a:lnTo>
                      <a:pt x="265" y="1065"/>
                    </a:lnTo>
                    <a:lnTo>
                      <a:pt x="265" y="1066"/>
                    </a:lnTo>
                    <a:lnTo>
                      <a:pt x="265" y="1068"/>
                    </a:lnTo>
                    <a:lnTo>
                      <a:pt x="265" y="1070"/>
                    </a:lnTo>
                    <a:lnTo>
                      <a:pt x="265" y="1072"/>
                    </a:lnTo>
                    <a:lnTo>
                      <a:pt x="265" y="1073"/>
                    </a:lnTo>
                    <a:lnTo>
                      <a:pt x="265" y="1075"/>
                    </a:lnTo>
                    <a:lnTo>
                      <a:pt x="265" y="1077"/>
                    </a:lnTo>
                    <a:lnTo>
                      <a:pt x="264" y="1077"/>
                    </a:lnTo>
                    <a:lnTo>
                      <a:pt x="264" y="1078"/>
                    </a:lnTo>
                    <a:lnTo>
                      <a:pt x="264" y="1080"/>
                    </a:lnTo>
                    <a:lnTo>
                      <a:pt x="262" y="1082"/>
                    </a:lnTo>
                    <a:lnTo>
                      <a:pt x="262" y="1083"/>
                    </a:lnTo>
                    <a:lnTo>
                      <a:pt x="262" y="1085"/>
                    </a:lnTo>
                    <a:lnTo>
                      <a:pt x="260" y="1087"/>
                    </a:lnTo>
                    <a:lnTo>
                      <a:pt x="260" y="1089"/>
                    </a:lnTo>
                    <a:lnTo>
                      <a:pt x="260" y="1090"/>
                    </a:lnTo>
                    <a:lnTo>
                      <a:pt x="260" y="1092"/>
                    </a:lnTo>
                    <a:lnTo>
                      <a:pt x="262" y="1092"/>
                    </a:lnTo>
                    <a:lnTo>
                      <a:pt x="262" y="1094"/>
                    </a:lnTo>
                    <a:lnTo>
                      <a:pt x="264" y="1094"/>
                    </a:lnTo>
                    <a:lnTo>
                      <a:pt x="264" y="1095"/>
                    </a:lnTo>
                    <a:lnTo>
                      <a:pt x="262" y="1097"/>
                    </a:lnTo>
                    <a:lnTo>
                      <a:pt x="262" y="1095"/>
                    </a:lnTo>
                    <a:lnTo>
                      <a:pt x="260" y="1095"/>
                    </a:lnTo>
                    <a:lnTo>
                      <a:pt x="258" y="1095"/>
                    </a:lnTo>
                    <a:lnTo>
                      <a:pt x="258" y="1097"/>
                    </a:lnTo>
                    <a:lnTo>
                      <a:pt x="258" y="1099"/>
                    </a:lnTo>
                    <a:lnTo>
                      <a:pt x="258" y="1100"/>
                    </a:lnTo>
                    <a:lnTo>
                      <a:pt x="257" y="1100"/>
                    </a:lnTo>
                    <a:lnTo>
                      <a:pt x="257" y="1102"/>
                    </a:lnTo>
                    <a:lnTo>
                      <a:pt x="258" y="1102"/>
                    </a:lnTo>
                    <a:lnTo>
                      <a:pt x="260" y="1102"/>
                    </a:lnTo>
                    <a:lnTo>
                      <a:pt x="260" y="1104"/>
                    </a:lnTo>
                    <a:lnTo>
                      <a:pt x="258" y="1104"/>
                    </a:lnTo>
                    <a:lnTo>
                      <a:pt x="260" y="1104"/>
                    </a:lnTo>
                    <a:lnTo>
                      <a:pt x="258" y="1104"/>
                    </a:lnTo>
                    <a:lnTo>
                      <a:pt x="257" y="1104"/>
                    </a:lnTo>
                    <a:lnTo>
                      <a:pt x="255" y="1104"/>
                    </a:lnTo>
                    <a:lnTo>
                      <a:pt x="253" y="1104"/>
                    </a:lnTo>
                    <a:lnTo>
                      <a:pt x="252" y="1104"/>
                    </a:lnTo>
                    <a:lnTo>
                      <a:pt x="252" y="1106"/>
                    </a:lnTo>
                    <a:lnTo>
                      <a:pt x="252" y="1107"/>
                    </a:lnTo>
                    <a:lnTo>
                      <a:pt x="250" y="1107"/>
                    </a:lnTo>
                    <a:lnTo>
                      <a:pt x="252" y="1109"/>
                    </a:lnTo>
                    <a:lnTo>
                      <a:pt x="250" y="1109"/>
                    </a:lnTo>
                    <a:lnTo>
                      <a:pt x="248" y="1109"/>
                    </a:lnTo>
                    <a:lnTo>
                      <a:pt x="247" y="1111"/>
                    </a:lnTo>
                    <a:lnTo>
                      <a:pt x="247" y="1112"/>
                    </a:lnTo>
                    <a:lnTo>
                      <a:pt x="245" y="1112"/>
                    </a:lnTo>
                    <a:lnTo>
                      <a:pt x="245" y="1114"/>
                    </a:lnTo>
                    <a:lnTo>
                      <a:pt x="245" y="1116"/>
                    </a:lnTo>
                    <a:lnTo>
                      <a:pt x="245" y="1117"/>
                    </a:lnTo>
                    <a:lnTo>
                      <a:pt x="245" y="1116"/>
                    </a:lnTo>
                    <a:lnTo>
                      <a:pt x="245" y="1117"/>
                    </a:lnTo>
                    <a:lnTo>
                      <a:pt x="243" y="1116"/>
                    </a:lnTo>
                    <a:lnTo>
                      <a:pt x="241" y="1116"/>
                    </a:lnTo>
                    <a:lnTo>
                      <a:pt x="240" y="1117"/>
                    </a:lnTo>
                    <a:lnTo>
                      <a:pt x="240" y="1119"/>
                    </a:lnTo>
                    <a:lnTo>
                      <a:pt x="238" y="1119"/>
                    </a:lnTo>
                    <a:lnTo>
                      <a:pt x="238" y="1121"/>
                    </a:lnTo>
                    <a:lnTo>
                      <a:pt x="238" y="1119"/>
                    </a:lnTo>
                    <a:lnTo>
                      <a:pt x="236" y="1119"/>
                    </a:lnTo>
                    <a:lnTo>
                      <a:pt x="235" y="1121"/>
                    </a:lnTo>
                    <a:lnTo>
                      <a:pt x="233" y="1121"/>
                    </a:lnTo>
                    <a:lnTo>
                      <a:pt x="231" y="1123"/>
                    </a:lnTo>
                    <a:lnTo>
                      <a:pt x="230" y="1124"/>
                    </a:lnTo>
                    <a:lnTo>
                      <a:pt x="228" y="1124"/>
                    </a:lnTo>
                    <a:lnTo>
                      <a:pt x="228" y="1126"/>
                    </a:lnTo>
                    <a:lnTo>
                      <a:pt x="226" y="1128"/>
                    </a:lnTo>
                    <a:lnTo>
                      <a:pt x="226" y="1129"/>
                    </a:lnTo>
                    <a:lnTo>
                      <a:pt x="224" y="1129"/>
                    </a:lnTo>
                    <a:lnTo>
                      <a:pt x="223" y="1129"/>
                    </a:lnTo>
                    <a:lnTo>
                      <a:pt x="221" y="1131"/>
                    </a:lnTo>
                    <a:lnTo>
                      <a:pt x="219" y="1133"/>
                    </a:lnTo>
                    <a:lnTo>
                      <a:pt x="218" y="1133"/>
                    </a:lnTo>
                    <a:lnTo>
                      <a:pt x="218" y="1135"/>
                    </a:lnTo>
                    <a:lnTo>
                      <a:pt x="218" y="1136"/>
                    </a:lnTo>
                    <a:lnTo>
                      <a:pt x="218" y="1138"/>
                    </a:lnTo>
                    <a:lnTo>
                      <a:pt x="216" y="1138"/>
                    </a:lnTo>
                    <a:lnTo>
                      <a:pt x="216" y="1140"/>
                    </a:lnTo>
                    <a:lnTo>
                      <a:pt x="216" y="1141"/>
                    </a:lnTo>
                    <a:lnTo>
                      <a:pt x="214" y="1141"/>
                    </a:lnTo>
                    <a:lnTo>
                      <a:pt x="213" y="1143"/>
                    </a:lnTo>
                    <a:lnTo>
                      <a:pt x="211" y="1143"/>
                    </a:lnTo>
                    <a:lnTo>
                      <a:pt x="209" y="1145"/>
                    </a:lnTo>
                    <a:lnTo>
                      <a:pt x="206" y="1146"/>
                    </a:lnTo>
                    <a:lnTo>
                      <a:pt x="206" y="1148"/>
                    </a:lnTo>
                    <a:lnTo>
                      <a:pt x="204" y="1150"/>
                    </a:lnTo>
                    <a:lnTo>
                      <a:pt x="204" y="1152"/>
                    </a:lnTo>
                    <a:lnTo>
                      <a:pt x="202" y="1152"/>
                    </a:lnTo>
                    <a:lnTo>
                      <a:pt x="202" y="1155"/>
                    </a:lnTo>
                    <a:lnTo>
                      <a:pt x="201" y="1157"/>
                    </a:lnTo>
                    <a:lnTo>
                      <a:pt x="202" y="1158"/>
                    </a:lnTo>
                    <a:lnTo>
                      <a:pt x="201" y="1160"/>
                    </a:lnTo>
                    <a:lnTo>
                      <a:pt x="199" y="1162"/>
                    </a:lnTo>
                    <a:lnTo>
                      <a:pt x="201" y="1162"/>
                    </a:lnTo>
                    <a:lnTo>
                      <a:pt x="199" y="1162"/>
                    </a:lnTo>
                    <a:lnTo>
                      <a:pt x="201" y="1163"/>
                    </a:lnTo>
                    <a:lnTo>
                      <a:pt x="202" y="1162"/>
                    </a:lnTo>
                    <a:lnTo>
                      <a:pt x="202" y="1163"/>
                    </a:lnTo>
                    <a:lnTo>
                      <a:pt x="202" y="1165"/>
                    </a:lnTo>
                    <a:lnTo>
                      <a:pt x="202" y="1167"/>
                    </a:lnTo>
                    <a:lnTo>
                      <a:pt x="201" y="1167"/>
                    </a:lnTo>
                    <a:lnTo>
                      <a:pt x="201" y="1169"/>
                    </a:lnTo>
                    <a:lnTo>
                      <a:pt x="201" y="1170"/>
                    </a:lnTo>
                    <a:lnTo>
                      <a:pt x="201" y="1172"/>
                    </a:lnTo>
                    <a:lnTo>
                      <a:pt x="199" y="1174"/>
                    </a:lnTo>
                    <a:lnTo>
                      <a:pt x="199" y="1175"/>
                    </a:lnTo>
                    <a:lnTo>
                      <a:pt x="199" y="1177"/>
                    </a:lnTo>
                    <a:lnTo>
                      <a:pt x="199" y="1179"/>
                    </a:lnTo>
                    <a:lnTo>
                      <a:pt x="199" y="1180"/>
                    </a:lnTo>
                    <a:lnTo>
                      <a:pt x="199" y="1182"/>
                    </a:lnTo>
                    <a:lnTo>
                      <a:pt x="199" y="1184"/>
                    </a:lnTo>
                    <a:lnTo>
                      <a:pt x="199" y="1186"/>
                    </a:lnTo>
                    <a:lnTo>
                      <a:pt x="199" y="1187"/>
                    </a:lnTo>
                    <a:lnTo>
                      <a:pt x="197" y="1189"/>
                    </a:lnTo>
                    <a:lnTo>
                      <a:pt x="197" y="1191"/>
                    </a:lnTo>
                    <a:lnTo>
                      <a:pt x="197" y="1192"/>
                    </a:lnTo>
                    <a:lnTo>
                      <a:pt x="196" y="1194"/>
                    </a:lnTo>
                    <a:lnTo>
                      <a:pt x="196" y="1196"/>
                    </a:lnTo>
                    <a:lnTo>
                      <a:pt x="196" y="1197"/>
                    </a:lnTo>
                    <a:lnTo>
                      <a:pt x="194" y="1197"/>
                    </a:lnTo>
                    <a:lnTo>
                      <a:pt x="194" y="1199"/>
                    </a:lnTo>
                    <a:lnTo>
                      <a:pt x="194" y="1201"/>
                    </a:lnTo>
                    <a:lnTo>
                      <a:pt x="192" y="1201"/>
                    </a:lnTo>
                    <a:lnTo>
                      <a:pt x="192" y="1203"/>
                    </a:lnTo>
                    <a:lnTo>
                      <a:pt x="190" y="1203"/>
                    </a:lnTo>
                    <a:lnTo>
                      <a:pt x="189" y="1204"/>
                    </a:lnTo>
                    <a:lnTo>
                      <a:pt x="187" y="1204"/>
                    </a:lnTo>
                    <a:lnTo>
                      <a:pt x="187" y="1206"/>
                    </a:lnTo>
                    <a:lnTo>
                      <a:pt x="185" y="1206"/>
                    </a:lnTo>
                    <a:lnTo>
                      <a:pt x="184" y="1208"/>
                    </a:lnTo>
                    <a:lnTo>
                      <a:pt x="182" y="1208"/>
                    </a:lnTo>
                    <a:lnTo>
                      <a:pt x="180" y="1208"/>
                    </a:lnTo>
                    <a:lnTo>
                      <a:pt x="179" y="1208"/>
                    </a:lnTo>
                    <a:lnTo>
                      <a:pt x="177" y="1208"/>
                    </a:lnTo>
                    <a:lnTo>
                      <a:pt x="177" y="1209"/>
                    </a:lnTo>
                    <a:lnTo>
                      <a:pt x="177" y="1211"/>
                    </a:lnTo>
                    <a:lnTo>
                      <a:pt x="175" y="1211"/>
                    </a:lnTo>
                    <a:lnTo>
                      <a:pt x="173" y="1213"/>
                    </a:lnTo>
                    <a:lnTo>
                      <a:pt x="172" y="1213"/>
                    </a:lnTo>
                    <a:lnTo>
                      <a:pt x="170" y="1213"/>
                    </a:lnTo>
                    <a:lnTo>
                      <a:pt x="170" y="1214"/>
                    </a:lnTo>
                    <a:lnTo>
                      <a:pt x="168" y="1214"/>
                    </a:lnTo>
                    <a:lnTo>
                      <a:pt x="167" y="1214"/>
                    </a:lnTo>
                    <a:lnTo>
                      <a:pt x="167" y="1216"/>
                    </a:lnTo>
                    <a:lnTo>
                      <a:pt x="167" y="1214"/>
                    </a:lnTo>
                    <a:lnTo>
                      <a:pt x="167" y="1216"/>
                    </a:lnTo>
                    <a:lnTo>
                      <a:pt x="165" y="1216"/>
                    </a:lnTo>
                    <a:lnTo>
                      <a:pt x="163" y="1216"/>
                    </a:lnTo>
                    <a:lnTo>
                      <a:pt x="162" y="1218"/>
                    </a:lnTo>
                    <a:lnTo>
                      <a:pt x="160" y="1218"/>
                    </a:lnTo>
                    <a:lnTo>
                      <a:pt x="160" y="1220"/>
                    </a:lnTo>
                    <a:lnTo>
                      <a:pt x="158" y="1220"/>
                    </a:lnTo>
                    <a:lnTo>
                      <a:pt x="160" y="1221"/>
                    </a:lnTo>
                    <a:lnTo>
                      <a:pt x="158" y="1221"/>
                    </a:lnTo>
                    <a:lnTo>
                      <a:pt x="156" y="1223"/>
                    </a:lnTo>
                    <a:lnTo>
                      <a:pt x="156" y="1225"/>
                    </a:lnTo>
                    <a:lnTo>
                      <a:pt x="155" y="1225"/>
                    </a:lnTo>
                    <a:lnTo>
                      <a:pt x="155" y="1226"/>
                    </a:lnTo>
                    <a:lnTo>
                      <a:pt x="153" y="1228"/>
                    </a:lnTo>
                    <a:lnTo>
                      <a:pt x="153" y="1230"/>
                    </a:lnTo>
                    <a:lnTo>
                      <a:pt x="153" y="1231"/>
                    </a:lnTo>
                    <a:lnTo>
                      <a:pt x="153" y="1233"/>
                    </a:lnTo>
                    <a:lnTo>
                      <a:pt x="151" y="1233"/>
                    </a:lnTo>
                    <a:lnTo>
                      <a:pt x="151" y="1235"/>
                    </a:lnTo>
                    <a:lnTo>
                      <a:pt x="151" y="1237"/>
                    </a:lnTo>
                    <a:lnTo>
                      <a:pt x="151" y="1238"/>
                    </a:lnTo>
                    <a:lnTo>
                      <a:pt x="150" y="1240"/>
                    </a:lnTo>
                    <a:lnTo>
                      <a:pt x="150" y="1242"/>
                    </a:lnTo>
                    <a:lnTo>
                      <a:pt x="151" y="1243"/>
                    </a:lnTo>
                    <a:lnTo>
                      <a:pt x="151" y="1245"/>
                    </a:lnTo>
                    <a:lnTo>
                      <a:pt x="151" y="1247"/>
                    </a:lnTo>
                    <a:lnTo>
                      <a:pt x="151" y="1248"/>
                    </a:lnTo>
                    <a:lnTo>
                      <a:pt x="150" y="1250"/>
                    </a:lnTo>
                    <a:lnTo>
                      <a:pt x="148" y="1252"/>
                    </a:lnTo>
                    <a:lnTo>
                      <a:pt x="148" y="1254"/>
                    </a:lnTo>
                    <a:lnTo>
                      <a:pt x="150" y="1254"/>
                    </a:lnTo>
                    <a:lnTo>
                      <a:pt x="150" y="1255"/>
                    </a:lnTo>
                    <a:lnTo>
                      <a:pt x="150" y="1257"/>
                    </a:lnTo>
                    <a:lnTo>
                      <a:pt x="150" y="1259"/>
                    </a:lnTo>
                    <a:lnTo>
                      <a:pt x="151" y="1264"/>
                    </a:lnTo>
                    <a:lnTo>
                      <a:pt x="151" y="1265"/>
                    </a:lnTo>
                    <a:lnTo>
                      <a:pt x="153" y="1267"/>
                    </a:lnTo>
                    <a:lnTo>
                      <a:pt x="153" y="1269"/>
                    </a:lnTo>
                    <a:lnTo>
                      <a:pt x="153" y="1271"/>
                    </a:lnTo>
                    <a:lnTo>
                      <a:pt x="155" y="1274"/>
                    </a:lnTo>
                    <a:lnTo>
                      <a:pt x="155" y="1276"/>
                    </a:lnTo>
                    <a:lnTo>
                      <a:pt x="155" y="1279"/>
                    </a:lnTo>
                    <a:lnTo>
                      <a:pt x="156" y="1281"/>
                    </a:lnTo>
                    <a:lnTo>
                      <a:pt x="156" y="1282"/>
                    </a:lnTo>
                    <a:lnTo>
                      <a:pt x="156" y="1284"/>
                    </a:lnTo>
                    <a:lnTo>
                      <a:pt x="156" y="1286"/>
                    </a:lnTo>
                    <a:lnTo>
                      <a:pt x="155" y="1286"/>
                    </a:lnTo>
                    <a:lnTo>
                      <a:pt x="155" y="1288"/>
                    </a:lnTo>
                    <a:lnTo>
                      <a:pt x="156" y="1288"/>
                    </a:lnTo>
                    <a:lnTo>
                      <a:pt x="156" y="1289"/>
                    </a:lnTo>
                    <a:lnTo>
                      <a:pt x="156" y="1291"/>
                    </a:lnTo>
                    <a:lnTo>
                      <a:pt x="158" y="1293"/>
                    </a:lnTo>
                    <a:lnTo>
                      <a:pt x="160" y="1296"/>
                    </a:lnTo>
                    <a:lnTo>
                      <a:pt x="162" y="1300"/>
                    </a:lnTo>
                    <a:lnTo>
                      <a:pt x="163" y="1305"/>
                    </a:lnTo>
                    <a:lnTo>
                      <a:pt x="165" y="1308"/>
                    </a:lnTo>
                    <a:lnTo>
                      <a:pt x="167" y="1310"/>
                    </a:lnTo>
                    <a:lnTo>
                      <a:pt x="168" y="1315"/>
                    </a:lnTo>
                    <a:lnTo>
                      <a:pt x="170" y="1317"/>
                    </a:lnTo>
                    <a:lnTo>
                      <a:pt x="173" y="1322"/>
                    </a:lnTo>
                    <a:lnTo>
                      <a:pt x="175" y="1325"/>
                    </a:lnTo>
                    <a:lnTo>
                      <a:pt x="177" y="1325"/>
                    </a:lnTo>
                    <a:lnTo>
                      <a:pt x="177" y="1327"/>
                    </a:lnTo>
                    <a:lnTo>
                      <a:pt x="177" y="1328"/>
                    </a:lnTo>
                    <a:lnTo>
                      <a:pt x="175" y="1328"/>
                    </a:lnTo>
                    <a:lnTo>
                      <a:pt x="175" y="1330"/>
                    </a:lnTo>
                    <a:lnTo>
                      <a:pt x="175" y="1328"/>
                    </a:lnTo>
                    <a:lnTo>
                      <a:pt x="175" y="1327"/>
                    </a:lnTo>
                    <a:lnTo>
                      <a:pt x="173" y="1327"/>
                    </a:lnTo>
                    <a:lnTo>
                      <a:pt x="172" y="1327"/>
                    </a:lnTo>
                    <a:lnTo>
                      <a:pt x="170" y="1327"/>
                    </a:lnTo>
                    <a:lnTo>
                      <a:pt x="168" y="1327"/>
                    </a:lnTo>
                    <a:lnTo>
                      <a:pt x="168" y="1325"/>
                    </a:lnTo>
                    <a:lnTo>
                      <a:pt x="167" y="1325"/>
                    </a:lnTo>
                    <a:lnTo>
                      <a:pt x="165" y="1325"/>
                    </a:lnTo>
                    <a:lnTo>
                      <a:pt x="163" y="1325"/>
                    </a:lnTo>
                    <a:lnTo>
                      <a:pt x="163" y="1323"/>
                    </a:lnTo>
                    <a:lnTo>
                      <a:pt x="162" y="1323"/>
                    </a:lnTo>
                    <a:lnTo>
                      <a:pt x="158" y="1322"/>
                    </a:lnTo>
                    <a:lnTo>
                      <a:pt x="156" y="1322"/>
                    </a:lnTo>
                    <a:lnTo>
                      <a:pt x="155" y="1320"/>
                    </a:lnTo>
                    <a:lnTo>
                      <a:pt x="153" y="1320"/>
                    </a:lnTo>
                    <a:lnTo>
                      <a:pt x="151" y="1320"/>
                    </a:lnTo>
                    <a:lnTo>
                      <a:pt x="150" y="1318"/>
                    </a:lnTo>
                    <a:lnTo>
                      <a:pt x="148" y="1318"/>
                    </a:lnTo>
                    <a:lnTo>
                      <a:pt x="145" y="1318"/>
                    </a:lnTo>
                    <a:lnTo>
                      <a:pt x="141" y="1318"/>
                    </a:lnTo>
                    <a:lnTo>
                      <a:pt x="139" y="1317"/>
                    </a:lnTo>
                    <a:lnTo>
                      <a:pt x="138" y="1317"/>
                    </a:lnTo>
                    <a:lnTo>
                      <a:pt x="134" y="1315"/>
                    </a:lnTo>
                    <a:lnTo>
                      <a:pt x="131" y="1313"/>
                    </a:lnTo>
                    <a:lnTo>
                      <a:pt x="128" y="1313"/>
                    </a:lnTo>
                    <a:lnTo>
                      <a:pt x="126" y="1311"/>
                    </a:lnTo>
                    <a:lnTo>
                      <a:pt x="124" y="1310"/>
                    </a:lnTo>
                    <a:lnTo>
                      <a:pt x="121" y="1308"/>
                    </a:lnTo>
                    <a:lnTo>
                      <a:pt x="109" y="1310"/>
                    </a:lnTo>
                    <a:lnTo>
                      <a:pt x="104" y="1308"/>
                    </a:lnTo>
                    <a:lnTo>
                      <a:pt x="99" y="1310"/>
                    </a:lnTo>
                    <a:lnTo>
                      <a:pt x="92" y="1308"/>
                    </a:lnTo>
                    <a:lnTo>
                      <a:pt x="78" y="1310"/>
                    </a:lnTo>
                    <a:lnTo>
                      <a:pt x="75" y="1308"/>
                    </a:lnTo>
                    <a:lnTo>
                      <a:pt x="73" y="1308"/>
                    </a:lnTo>
                    <a:lnTo>
                      <a:pt x="65" y="1308"/>
                    </a:lnTo>
                    <a:lnTo>
                      <a:pt x="56" y="1310"/>
                    </a:lnTo>
                    <a:lnTo>
                      <a:pt x="56" y="1308"/>
                    </a:lnTo>
                    <a:lnTo>
                      <a:pt x="54" y="1308"/>
                    </a:lnTo>
                    <a:lnTo>
                      <a:pt x="53" y="1308"/>
                    </a:lnTo>
                    <a:lnTo>
                      <a:pt x="53" y="1306"/>
                    </a:lnTo>
                    <a:lnTo>
                      <a:pt x="54" y="1306"/>
                    </a:lnTo>
                    <a:lnTo>
                      <a:pt x="54" y="1305"/>
                    </a:lnTo>
                    <a:lnTo>
                      <a:pt x="56" y="1305"/>
                    </a:lnTo>
                    <a:lnTo>
                      <a:pt x="56" y="1303"/>
                    </a:lnTo>
                    <a:lnTo>
                      <a:pt x="54" y="1301"/>
                    </a:lnTo>
                    <a:lnTo>
                      <a:pt x="54" y="1300"/>
                    </a:lnTo>
                    <a:lnTo>
                      <a:pt x="53" y="1300"/>
                    </a:lnTo>
                    <a:lnTo>
                      <a:pt x="53" y="1298"/>
                    </a:lnTo>
                    <a:lnTo>
                      <a:pt x="51" y="1298"/>
                    </a:lnTo>
                    <a:lnTo>
                      <a:pt x="51" y="1296"/>
                    </a:lnTo>
                    <a:lnTo>
                      <a:pt x="49" y="1296"/>
                    </a:lnTo>
                    <a:lnTo>
                      <a:pt x="49" y="1294"/>
                    </a:lnTo>
                    <a:lnTo>
                      <a:pt x="48" y="1294"/>
                    </a:lnTo>
                    <a:lnTo>
                      <a:pt x="48" y="1293"/>
                    </a:lnTo>
                    <a:lnTo>
                      <a:pt x="46" y="1293"/>
                    </a:lnTo>
                    <a:lnTo>
                      <a:pt x="44" y="1293"/>
                    </a:lnTo>
                    <a:lnTo>
                      <a:pt x="44" y="1291"/>
                    </a:lnTo>
                    <a:lnTo>
                      <a:pt x="44" y="1289"/>
                    </a:lnTo>
                    <a:lnTo>
                      <a:pt x="43" y="1288"/>
                    </a:lnTo>
                    <a:lnTo>
                      <a:pt x="43" y="1286"/>
                    </a:lnTo>
                    <a:lnTo>
                      <a:pt x="41" y="1286"/>
                    </a:lnTo>
                    <a:lnTo>
                      <a:pt x="39" y="1286"/>
                    </a:lnTo>
                    <a:lnTo>
                      <a:pt x="39" y="1284"/>
                    </a:lnTo>
                    <a:lnTo>
                      <a:pt x="41" y="1282"/>
                    </a:lnTo>
                    <a:lnTo>
                      <a:pt x="39" y="1282"/>
                    </a:lnTo>
                    <a:lnTo>
                      <a:pt x="41" y="1282"/>
                    </a:lnTo>
                    <a:lnTo>
                      <a:pt x="43" y="1282"/>
                    </a:lnTo>
                    <a:lnTo>
                      <a:pt x="43" y="1281"/>
                    </a:lnTo>
                    <a:lnTo>
                      <a:pt x="43" y="1279"/>
                    </a:lnTo>
                    <a:lnTo>
                      <a:pt x="43" y="1277"/>
                    </a:lnTo>
                    <a:lnTo>
                      <a:pt x="43" y="1276"/>
                    </a:lnTo>
                    <a:lnTo>
                      <a:pt x="43" y="1274"/>
                    </a:lnTo>
                    <a:lnTo>
                      <a:pt x="41" y="1272"/>
                    </a:lnTo>
                    <a:lnTo>
                      <a:pt x="43" y="1272"/>
                    </a:lnTo>
                    <a:lnTo>
                      <a:pt x="43" y="1271"/>
                    </a:lnTo>
                    <a:lnTo>
                      <a:pt x="44" y="1271"/>
                    </a:lnTo>
                    <a:lnTo>
                      <a:pt x="44" y="1269"/>
                    </a:lnTo>
                    <a:lnTo>
                      <a:pt x="44" y="1267"/>
                    </a:lnTo>
                    <a:lnTo>
                      <a:pt x="44" y="1265"/>
                    </a:lnTo>
                    <a:lnTo>
                      <a:pt x="43" y="1265"/>
                    </a:lnTo>
                    <a:lnTo>
                      <a:pt x="41" y="1264"/>
                    </a:lnTo>
                    <a:lnTo>
                      <a:pt x="41" y="1262"/>
                    </a:lnTo>
                    <a:lnTo>
                      <a:pt x="41" y="1260"/>
                    </a:lnTo>
                    <a:lnTo>
                      <a:pt x="39" y="1260"/>
                    </a:lnTo>
                    <a:lnTo>
                      <a:pt x="41" y="1259"/>
                    </a:lnTo>
                    <a:lnTo>
                      <a:pt x="41" y="1257"/>
                    </a:lnTo>
                    <a:lnTo>
                      <a:pt x="41" y="1255"/>
                    </a:lnTo>
                    <a:lnTo>
                      <a:pt x="43" y="1255"/>
                    </a:lnTo>
                    <a:lnTo>
                      <a:pt x="43" y="1257"/>
                    </a:lnTo>
                    <a:lnTo>
                      <a:pt x="44" y="1257"/>
                    </a:lnTo>
                    <a:lnTo>
                      <a:pt x="44" y="1255"/>
                    </a:lnTo>
                    <a:lnTo>
                      <a:pt x="44" y="1254"/>
                    </a:lnTo>
                    <a:lnTo>
                      <a:pt x="44" y="1252"/>
                    </a:lnTo>
                    <a:lnTo>
                      <a:pt x="46" y="1250"/>
                    </a:lnTo>
                    <a:lnTo>
                      <a:pt x="46" y="1248"/>
                    </a:lnTo>
                    <a:lnTo>
                      <a:pt x="44" y="1247"/>
                    </a:lnTo>
                    <a:lnTo>
                      <a:pt x="44" y="1245"/>
                    </a:lnTo>
                    <a:lnTo>
                      <a:pt x="44" y="1243"/>
                    </a:lnTo>
                    <a:lnTo>
                      <a:pt x="43" y="1243"/>
                    </a:lnTo>
                    <a:lnTo>
                      <a:pt x="43" y="1242"/>
                    </a:lnTo>
                    <a:lnTo>
                      <a:pt x="43" y="1240"/>
                    </a:lnTo>
                    <a:lnTo>
                      <a:pt x="44" y="1238"/>
                    </a:lnTo>
                    <a:lnTo>
                      <a:pt x="44" y="1237"/>
                    </a:lnTo>
                    <a:lnTo>
                      <a:pt x="43" y="1237"/>
                    </a:lnTo>
                    <a:lnTo>
                      <a:pt x="43" y="1235"/>
                    </a:lnTo>
                    <a:lnTo>
                      <a:pt x="41" y="1235"/>
                    </a:lnTo>
                    <a:lnTo>
                      <a:pt x="39" y="1235"/>
                    </a:lnTo>
                    <a:lnTo>
                      <a:pt x="37" y="1233"/>
                    </a:lnTo>
                    <a:lnTo>
                      <a:pt x="36" y="1235"/>
                    </a:lnTo>
                    <a:lnTo>
                      <a:pt x="34" y="1235"/>
                    </a:lnTo>
                    <a:lnTo>
                      <a:pt x="34" y="1237"/>
                    </a:lnTo>
                    <a:lnTo>
                      <a:pt x="34" y="1238"/>
                    </a:lnTo>
                    <a:lnTo>
                      <a:pt x="32" y="1237"/>
                    </a:lnTo>
                    <a:lnTo>
                      <a:pt x="31" y="1235"/>
                    </a:lnTo>
                    <a:lnTo>
                      <a:pt x="31" y="1237"/>
                    </a:lnTo>
                    <a:lnTo>
                      <a:pt x="29" y="1235"/>
                    </a:lnTo>
                    <a:lnTo>
                      <a:pt x="27" y="1235"/>
                    </a:lnTo>
                    <a:lnTo>
                      <a:pt x="26" y="1237"/>
                    </a:lnTo>
                    <a:lnTo>
                      <a:pt x="24" y="1237"/>
                    </a:lnTo>
                    <a:lnTo>
                      <a:pt x="24" y="1238"/>
                    </a:lnTo>
                    <a:lnTo>
                      <a:pt x="22" y="1238"/>
                    </a:lnTo>
                    <a:lnTo>
                      <a:pt x="22" y="1240"/>
                    </a:lnTo>
                    <a:lnTo>
                      <a:pt x="20" y="1242"/>
                    </a:lnTo>
                    <a:lnTo>
                      <a:pt x="19" y="1242"/>
                    </a:lnTo>
                    <a:lnTo>
                      <a:pt x="17" y="1243"/>
                    </a:lnTo>
                    <a:lnTo>
                      <a:pt x="17" y="1242"/>
                    </a:lnTo>
                    <a:lnTo>
                      <a:pt x="15" y="1243"/>
                    </a:lnTo>
                    <a:lnTo>
                      <a:pt x="14" y="1245"/>
                    </a:lnTo>
                    <a:lnTo>
                      <a:pt x="12" y="1245"/>
                    </a:lnTo>
                    <a:lnTo>
                      <a:pt x="10" y="1245"/>
                    </a:lnTo>
                    <a:lnTo>
                      <a:pt x="10" y="1243"/>
                    </a:lnTo>
                    <a:lnTo>
                      <a:pt x="10" y="1242"/>
                    </a:lnTo>
                    <a:lnTo>
                      <a:pt x="10" y="1240"/>
                    </a:lnTo>
                    <a:lnTo>
                      <a:pt x="12" y="1240"/>
                    </a:lnTo>
                    <a:lnTo>
                      <a:pt x="14" y="1238"/>
                    </a:lnTo>
                    <a:lnTo>
                      <a:pt x="14" y="1237"/>
                    </a:lnTo>
                    <a:lnTo>
                      <a:pt x="12" y="1237"/>
                    </a:lnTo>
                    <a:lnTo>
                      <a:pt x="10" y="1235"/>
                    </a:lnTo>
                    <a:lnTo>
                      <a:pt x="10" y="1233"/>
                    </a:lnTo>
                    <a:lnTo>
                      <a:pt x="10" y="1231"/>
                    </a:lnTo>
                    <a:lnTo>
                      <a:pt x="9" y="1231"/>
                    </a:lnTo>
                    <a:lnTo>
                      <a:pt x="9" y="1230"/>
                    </a:lnTo>
                    <a:lnTo>
                      <a:pt x="7" y="1228"/>
                    </a:lnTo>
                    <a:lnTo>
                      <a:pt x="9" y="1228"/>
                    </a:lnTo>
                    <a:lnTo>
                      <a:pt x="7" y="1226"/>
                    </a:lnTo>
                    <a:lnTo>
                      <a:pt x="5" y="1226"/>
                    </a:lnTo>
                    <a:lnTo>
                      <a:pt x="7" y="1226"/>
                    </a:lnTo>
                    <a:lnTo>
                      <a:pt x="5" y="1225"/>
                    </a:lnTo>
                    <a:lnTo>
                      <a:pt x="3" y="1221"/>
                    </a:lnTo>
                    <a:lnTo>
                      <a:pt x="3" y="1220"/>
                    </a:lnTo>
                    <a:lnTo>
                      <a:pt x="3" y="1218"/>
                    </a:lnTo>
                    <a:lnTo>
                      <a:pt x="2" y="1218"/>
                    </a:lnTo>
                    <a:lnTo>
                      <a:pt x="2" y="1216"/>
                    </a:lnTo>
                    <a:lnTo>
                      <a:pt x="0" y="1214"/>
                    </a:lnTo>
                    <a:lnTo>
                      <a:pt x="2" y="1213"/>
                    </a:lnTo>
                    <a:lnTo>
                      <a:pt x="2" y="1211"/>
                    </a:lnTo>
                    <a:lnTo>
                      <a:pt x="2" y="1209"/>
                    </a:lnTo>
                    <a:lnTo>
                      <a:pt x="2" y="1208"/>
                    </a:lnTo>
                    <a:lnTo>
                      <a:pt x="3" y="1206"/>
                    </a:lnTo>
                    <a:lnTo>
                      <a:pt x="3" y="1204"/>
                    </a:lnTo>
                    <a:lnTo>
                      <a:pt x="2" y="1204"/>
                    </a:lnTo>
                    <a:lnTo>
                      <a:pt x="2" y="1203"/>
                    </a:lnTo>
                    <a:lnTo>
                      <a:pt x="2" y="1201"/>
                    </a:lnTo>
                    <a:lnTo>
                      <a:pt x="3" y="1199"/>
                    </a:lnTo>
                    <a:lnTo>
                      <a:pt x="2" y="1199"/>
                    </a:lnTo>
                    <a:lnTo>
                      <a:pt x="2" y="1197"/>
                    </a:lnTo>
                    <a:lnTo>
                      <a:pt x="2" y="1196"/>
                    </a:lnTo>
                    <a:lnTo>
                      <a:pt x="3" y="1196"/>
                    </a:lnTo>
                    <a:lnTo>
                      <a:pt x="3" y="1194"/>
                    </a:lnTo>
                    <a:lnTo>
                      <a:pt x="3" y="1192"/>
                    </a:lnTo>
                    <a:lnTo>
                      <a:pt x="5" y="1191"/>
                    </a:lnTo>
                    <a:lnTo>
                      <a:pt x="5" y="1189"/>
                    </a:lnTo>
                    <a:lnTo>
                      <a:pt x="3" y="1187"/>
                    </a:lnTo>
                    <a:lnTo>
                      <a:pt x="3" y="1186"/>
                    </a:lnTo>
                    <a:lnTo>
                      <a:pt x="3" y="1184"/>
                    </a:lnTo>
                    <a:lnTo>
                      <a:pt x="3" y="1182"/>
                    </a:lnTo>
                    <a:lnTo>
                      <a:pt x="5" y="1182"/>
                    </a:lnTo>
                    <a:lnTo>
                      <a:pt x="3" y="1180"/>
                    </a:lnTo>
                    <a:lnTo>
                      <a:pt x="3" y="1179"/>
                    </a:lnTo>
                    <a:lnTo>
                      <a:pt x="2" y="1179"/>
                    </a:lnTo>
                    <a:lnTo>
                      <a:pt x="2" y="1177"/>
                    </a:lnTo>
                    <a:lnTo>
                      <a:pt x="2" y="1175"/>
                    </a:lnTo>
                    <a:lnTo>
                      <a:pt x="3" y="1175"/>
                    </a:lnTo>
                    <a:lnTo>
                      <a:pt x="3" y="1174"/>
                    </a:lnTo>
                    <a:lnTo>
                      <a:pt x="3" y="1172"/>
                    </a:lnTo>
                    <a:lnTo>
                      <a:pt x="3" y="1170"/>
                    </a:lnTo>
                    <a:lnTo>
                      <a:pt x="5" y="1170"/>
                    </a:lnTo>
                    <a:lnTo>
                      <a:pt x="5" y="1169"/>
                    </a:lnTo>
                    <a:lnTo>
                      <a:pt x="5" y="1167"/>
                    </a:lnTo>
                    <a:lnTo>
                      <a:pt x="7" y="1165"/>
                    </a:lnTo>
                    <a:lnTo>
                      <a:pt x="5" y="1165"/>
                    </a:lnTo>
                    <a:lnTo>
                      <a:pt x="3" y="1163"/>
                    </a:lnTo>
                    <a:lnTo>
                      <a:pt x="3" y="1162"/>
                    </a:lnTo>
                    <a:lnTo>
                      <a:pt x="3" y="1160"/>
                    </a:lnTo>
                    <a:lnTo>
                      <a:pt x="17" y="1163"/>
                    </a:lnTo>
                    <a:lnTo>
                      <a:pt x="19" y="1163"/>
                    </a:lnTo>
                    <a:lnTo>
                      <a:pt x="17" y="1163"/>
                    </a:lnTo>
                    <a:lnTo>
                      <a:pt x="17" y="1162"/>
                    </a:lnTo>
                    <a:lnTo>
                      <a:pt x="17" y="1163"/>
                    </a:lnTo>
                    <a:lnTo>
                      <a:pt x="15" y="1163"/>
                    </a:lnTo>
                    <a:lnTo>
                      <a:pt x="15" y="1162"/>
                    </a:lnTo>
                    <a:lnTo>
                      <a:pt x="15" y="1160"/>
                    </a:lnTo>
                    <a:lnTo>
                      <a:pt x="15" y="1158"/>
                    </a:lnTo>
                    <a:lnTo>
                      <a:pt x="17" y="1157"/>
                    </a:lnTo>
                    <a:lnTo>
                      <a:pt x="19" y="1155"/>
                    </a:lnTo>
                    <a:lnTo>
                      <a:pt x="19" y="1153"/>
                    </a:lnTo>
                    <a:lnTo>
                      <a:pt x="20" y="1153"/>
                    </a:lnTo>
                    <a:lnTo>
                      <a:pt x="20" y="1152"/>
                    </a:lnTo>
                    <a:lnTo>
                      <a:pt x="20" y="1150"/>
                    </a:lnTo>
                    <a:lnTo>
                      <a:pt x="20" y="1148"/>
                    </a:lnTo>
                    <a:lnTo>
                      <a:pt x="22" y="1148"/>
                    </a:lnTo>
                    <a:lnTo>
                      <a:pt x="22" y="1146"/>
                    </a:lnTo>
                    <a:lnTo>
                      <a:pt x="24" y="1146"/>
                    </a:lnTo>
                    <a:lnTo>
                      <a:pt x="26" y="1148"/>
                    </a:lnTo>
                    <a:lnTo>
                      <a:pt x="27" y="1148"/>
                    </a:lnTo>
                    <a:lnTo>
                      <a:pt x="27" y="1146"/>
                    </a:lnTo>
                    <a:lnTo>
                      <a:pt x="29" y="1145"/>
                    </a:lnTo>
                    <a:lnTo>
                      <a:pt x="31" y="1145"/>
                    </a:lnTo>
                    <a:lnTo>
                      <a:pt x="31" y="1143"/>
                    </a:lnTo>
                    <a:lnTo>
                      <a:pt x="32" y="1141"/>
                    </a:lnTo>
                    <a:lnTo>
                      <a:pt x="34" y="1140"/>
                    </a:lnTo>
                    <a:lnTo>
                      <a:pt x="36" y="1140"/>
                    </a:lnTo>
                    <a:lnTo>
                      <a:pt x="36" y="1138"/>
                    </a:lnTo>
                    <a:lnTo>
                      <a:pt x="36" y="1136"/>
                    </a:lnTo>
                    <a:lnTo>
                      <a:pt x="36" y="1135"/>
                    </a:lnTo>
                    <a:lnTo>
                      <a:pt x="36" y="1131"/>
                    </a:lnTo>
                    <a:lnTo>
                      <a:pt x="34" y="1124"/>
                    </a:lnTo>
                    <a:lnTo>
                      <a:pt x="34" y="1123"/>
                    </a:lnTo>
                    <a:lnTo>
                      <a:pt x="36" y="1123"/>
                    </a:lnTo>
                    <a:lnTo>
                      <a:pt x="36" y="1124"/>
                    </a:lnTo>
                    <a:lnTo>
                      <a:pt x="37" y="1124"/>
                    </a:lnTo>
                    <a:lnTo>
                      <a:pt x="39" y="1124"/>
                    </a:lnTo>
                    <a:lnTo>
                      <a:pt x="41" y="1123"/>
                    </a:lnTo>
                    <a:lnTo>
                      <a:pt x="41" y="1121"/>
                    </a:lnTo>
                    <a:lnTo>
                      <a:pt x="39" y="1121"/>
                    </a:lnTo>
                    <a:lnTo>
                      <a:pt x="39" y="1119"/>
                    </a:lnTo>
                    <a:lnTo>
                      <a:pt x="41" y="1119"/>
                    </a:lnTo>
                    <a:lnTo>
                      <a:pt x="43" y="1117"/>
                    </a:lnTo>
                    <a:lnTo>
                      <a:pt x="41" y="1117"/>
                    </a:lnTo>
                    <a:lnTo>
                      <a:pt x="41" y="1116"/>
                    </a:lnTo>
                    <a:lnTo>
                      <a:pt x="43" y="1116"/>
                    </a:lnTo>
                    <a:lnTo>
                      <a:pt x="43" y="1117"/>
                    </a:lnTo>
                    <a:lnTo>
                      <a:pt x="43" y="1116"/>
                    </a:lnTo>
                    <a:lnTo>
                      <a:pt x="44" y="1117"/>
                    </a:lnTo>
                    <a:lnTo>
                      <a:pt x="44" y="1116"/>
                    </a:lnTo>
                    <a:lnTo>
                      <a:pt x="46" y="1116"/>
                    </a:lnTo>
                    <a:lnTo>
                      <a:pt x="46" y="1114"/>
                    </a:lnTo>
                    <a:lnTo>
                      <a:pt x="44" y="1112"/>
                    </a:lnTo>
                    <a:lnTo>
                      <a:pt x="44" y="1111"/>
                    </a:lnTo>
                    <a:lnTo>
                      <a:pt x="43" y="1111"/>
                    </a:lnTo>
                    <a:lnTo>
                      <a:pt x="43" y="1109"/>
                    </a:lnTo>
                    <a:lnTo>
                      <a:pt x="44" y="1109"/>
                    </a:lnTo>
                    <a:lnTo>
                      <a:pt x="43" y="1107"/>
                    </a:lnTo>
                    <a:lnTo>
                      <a:pt x="44" y="1106"/>
                    </a:lnTo>
                    <a:lnTo>
                      <a:pt x="43" y="1106"/>
                    </a:lnTo>
                    <a:lnTo>
                      <a:pt x="43" y="1104"/>
                    </a:lnTo>
                    <a:lnTo>
                      <a:pt x="41" y="1104"/>
                    </a:lnTo>
                    <a:lnTo>
                      <a:pt x="41" y="1102"/>
                    </a:lnTo>
                    <a:lnTo>
                      <a:pt x="39" y="1102"/>
                    </a:lnTo>
                    <a:lnTo>
                      <a:pt x="39" y="1100"/>
                    </a:lnTo>
                    <a:lnTo>
                      <a:pt x="39" y="1099"/>
                    </a:lnTo>
                    <a:lnTo>
                      <a:pt x="39" y="1097"/>
                    </a:lnTo>
                    <a:lnTo>
                      <a:pt x="37" y="1097"/>
                    </a:lnTo>
                    <a:lnTo>
                      <a:pt x="36" y="1095"/>
                    </a:lnTo>
                    <a:lnTo>
                      <a:pt x="36" y="1094"/>
                    </a:lnTo>
                    <a:lnTo>
                      <a:pt x="37" y="1094"/>
                    </a:lnTo>
                    <a:lnTo>
                      <a:pt x="37" y="1092"/>
                    </a:lnTo>
                    <a:lnTo>
                      <a:pt x="37" y="1090"/>
                    </a:lnTo>
                    <a:lnTo>
                      <a:pt x="37" y="1089"/>
                    </a:lnTo>
                    <a:lnTo>
                      <a:pt x="37" y="1087"/>
                    </a:lnTo>
                    <a:lnTo>
                      <a:pt x="36" y="1087"/>
                    </a:lnTo>
                    <a:lnTo>
                      <a:pt x="36" y="1085"/>
                    </a:lnTo>
                    <a:lnTo>
                      <a:pt x="37" y="1087"/>
                    </a:lnTo>
                    <a:lnTo>
                      <a:pt x="39" y="1087"/>
                    </a:lnTo>
                    <a:lnTo>
                      <a:pt x="41" y="1087"/>
                    </a:lnTo>
                    <a:lnTo>
                      <a:pt x="41" y="1085"/>
                    </a:lnTo>
                    <a:lnTo>
                      <a:pt x="39" y="1085"/>
                    </a:lnTo>
                    <a:lnTo>
                      <a:pt x="39" y="1083"/>
                    </a:lnTo>
                    <a:lnTo>
                      <a:pt x="39" y="1082"/>
                    </a:lnTo>
                    <a:lnTo>
                      <a:pt x="41" y="1082"/>
                    </a:lnTo>
                    <a:lnTo>
                      <a:pt x="41" y="1080"/>
                    </a:lnTo>
                    <a:lnTo>
                      <a:pt x="43" y="1080"/>
                    </a:lnTo>
                    <a:lnTo>
                      <a:pt x="43" y="1078"/>
                    </a:lnTo>
                    <a:lnTo>
                      <a:pt x="43" y="1077"/>
                    </a:lnTo>
                    <a:lnTo>
                      <a:pt x="43" y="1075"/>
                    </a:lnTo>
                    <a:lnTo>
                      <a:pt x="44" y="1075"/>
                    </a:lnTo>
                    <a:lnTo>
                      <a:pt x="44" y="1073"/>
                    </a:lnTo>
                    <a:lnTo>
                      <a:pt x="43" y="1073"/>
                    </a:lnTo>
                    <a:lnTo>
                      <a:pt x="43" y="1072"/>
                    </a:lnTo>
                    <a:lnTo>
                      <a:pt x="43" y="1073"/>
                    </a:lnTo>
                    <a:lnTo>
                      <a:pt x="43" y="1072"/>
                    </a:lnTo>
                    <a:lnTo>
                      <a:pt x="44" y="1072"/>
                    </a:lnTo>
                    <a:lnTo>
                      <a:pt x="44" y="1070"/>
                    </a:lnTo>
                    <a:lnTo>
                      <a:pt x="46" y="1070"/>
                    </a:lnTo>
                    <a:lnTo>
                      <a:pt x="46" y="1068"/>
                    </a:lnTo>
                    <a:lnTo>
                      <a:pt x="48" y="1070"/>
                    </a:lnTo>
                    <a:lnTo>
                      <a:pt x="48" y="1068"/>
                    </a:lnTo>
                    <a:lnTo>
                      <a:pt x="49" y="1066"/>
                    </a:lnTo>
                    <a:lnTo>
                      <a:pt x="49" y="1065"/>
                    </a:lnTo>
                    <a:lnTo>
                      <a:pt x="51" y="1065"/>
                    </a:lnTo>
                    <a:lnTo>
                      <a:pt x="53" y="1065"/>
                    </a:lnTo>
                    <a:lnTo>
                      <a:pt x="53" y="1063"/>
                    </a:lnTo>
                    <a:lnTo>
                      <a:pt x="54" y="1063"/>
                    </a:lnTo>
                    <a:lnTo>
                      <a:pt x="53" y="1061"/>
                    </a:lnTo>
                    <a:lnTo>
                      <a:pt x="54" y="1060"/>
                    </a:lnTo>
                    <a:lnTo>
                      <a:pt x="53" y="1058"/>
                    </a:lnTo>
                    <a:lnTo>
                      <a:pt x="54" y="1060"/>
                    </a:lnTo>
                    <a:lnTo>
                      <a:pt x="56" y="1060"/>
                    </a:lnTo>
                    <a:lnTo>
                      <a:pt x="58" y="1060"/>
                    </a:lnTo>
                    <a:lnTo>
                      <a:pt x="58" y="1058"/>
                    </a:lnTo>
                    <a:lnTo>
                      <a:pt x="58" y="1056"/>
                    </a:lnTo>
                    <a:lnTo>
                      <a:pt x="60" y="1056"/>
                    </a:lnTo>
                    <a:lnTo>
                      <a:pt x="58" y="1056"/>
                    </a:lnTo>
                    <a:lnTo>
                      <a:pt x="58" y="1055"/>
                    </a:lnTo>
                    <a:lnTo>
                      <a:pt x="56" y="1053"/>
                    </a:lnTo>
                    <a:lnTo>
                      <a:pt x="54" y="1053"/>
                    </a:lnTo>
                    <a:lnTo>
                      <a:pt x="56" y="1051"/>
                    </a:lnTo>
                    <a:lnTo>
                      <a:pt x="58" y="1049"/>
                    </a:lnTo>
                    <a:lnTo>
                      <a:pt x="58" y="1048"/>
                    </a:lnTo>
                    <a:lnTo>
                      <a:pt x="56" y="1048"/>
                    </a:lnTo>
                    <a:lnTo>
                      <a:pt x="54" y="1048"/>
                    </a:lnTo>
                    <a:lnTo>
                      <a:pt x="56" y="1046"/>
                    </a:lnTo>
                    <a:lnTo>
                      <a:pt x="54" y="1046"/>
                    </a:lnTo>
                    <a:lnTo>
                      <a:pt x="54" y="1044"/>
                    </a:lnTo>
                    <a:lnTo>
                      <a:pt x="54" y="1043"/>
                    </a:lnTo>
                    <a:lnTo>
                      <a:pt x="56" y="1043"/>
                    </a:lnTo>
                    <a:lnTo>
                      <a:pt x="56" y="1041"/>
                    </a:lnTo>
                    <a:lnTo>
                      <a:pt x="54" y="1039"/>
                    </a:lnTo>
                    <a:lnTo>
                      <a:pt x="56" y="1039"/>
                    </a:lnTo>
                    <a:lnTo>
                      <a:pt x="58" y="1039"/>
                    </a:lnTo>
                    <a:lnTo>
                      <a:pt x="60" y="1039"/>
                    </a:lnTo>
                    <a:lnTo>
                      <a:pt x="60" y="1038"/>
                    </a:lnTo>
                    <a:lnTo>
                      <a:pt x="61" y="1038"/>
                    </a:lnTo>
                    <a:lnTo>
                      <a:pt x="61" y="1036"/>
                    </a:lnTo>
                    <a:lnTo>
                      <a:pt x="63" y="1036"/>
                    </a:lnTo>
                    <a:lnTo>
                      <a:pt x="63" y="1034"/>
                    </a:lnTo>
                    <a:lnTo>
                      <a:pt x="65" y="1034"/>
                    </a:lnTo>
                    <a:lnTo>
                      <a:pt x="66" y="1032"/>
                    </a:lnTo>
                    <a:lnTo>
                      <a:pt x="65" y="1031"/>
                    </a:lnTo>
                    <a:lnTo>
                      <a:pt x="66" y="1031"/>
                    </a:lnTo>
                    <a:lnTo>
                      <a:pt x="65" y="1029"/>
                    </a:lnTo>
                    <a:lnTo>
                      <a:pt x="65" y="1027"/>
                    </a:lnTo>
                    <a:lnTo>
                      <a:pt x="65" y="1026"/>
                    </a:lnTo>
                    <a:lnTo>
                      <a:pt x="65" y="1024"/>
                    </a:lnTo>
                    <a:lnTo>
                      <a:pt x="63" y="1021"/>
                    </a:lnTo>
                    <a:lnTo>
                      <a:pt x="63" y="1017"/>
                    </a:lnTo>
                    <a:lnTo>
                      <a:pt x="63" y="1015"/>
                    </a:lnTo>
                    <a:lnTo>
                      <a:pt x="63" y="1014"/>
                    </a:lnTo>
                    <a:lnTo>
                      <a:pt x="63" y="1012"/>
                    </a:lnTo>
                    <a:lnTo>
                      <a:pt x="61" y="1010"/>
                    </a:lnTo>
                    <a:lnTo>
                      <a:pt x="61" y="1009"/>
                    </a:lnTo>
                    <a:lnTo>
                      <a:pt x="60" y="1009"/>
                    </a:lnTo>
                    <a:lnTo>
                      <a:pt x="58" y="1009"/>
                    </a:lnTo>
                    <a:lnTo>
                      <a:pt x="58" y="1007"/>
                    </a:lnTo>
                    <a:lnTo>
                      <a:pt x="56" y="1007"/>
                    </a:lnTo>
                    <a:lnTo>
                      <a:pt x="58" y="1005"/>
                    </a:lnTo>
                    <a:lnTo>
                      <a:pt x="60" y="1005"/>
                    </a:lnTo>
                    <a:lnTo>
                      <a:pt x="61" y="1005"/>
                    </a:lnTo>
                    <a:lnTo>
                      <a:pt x="61" y="1004"/>
                    </a:lnTo>
                    <a:lnTo>
                      <a:pt x="63" y="1004"/>
                    </a:lnTo>
                    <a:lnTo>
                      <a:pt x="65" y="1004"/>
                    </a:lnTo>
                    <a:lnTo>
                      <a:pt x="65" y="1002"/>
                    </a:lnTo>
                    <a:lnTo>
                      <a:pt x="65" y="1000"/>
                    </a:lnTo>
                    <a:lnTo>
                      <a:pt x="66" y="1000"/>
                    </a:lnTo>
                    <a:lnTo>
                      <a:pt x="66" y="998"/>
                    </a:lnTo>
                    <a:lnTo>
                      <a:pt x="66" y="997"/>
                    </a:lnTo>
                    <a:lnTo>
                      <a:pt x="66" y="995"/>
                    </a:lnTo>
                    <a:lnTo>
                      <a:pt x="65" y="993"/>
                    </a:lnTo>
                    <a:lnTo>
                      <a:pt x="63" y="993"/>
                    </a:lnTo>
                    <a:lnTo>
                      <a:pt x="63" y="992"/>
                    </a:lnTo>
                    <a:lnTo>
                      <a:pt x="63" y="993"/>
                    </a:lnTo>
                    <a:lnTo>
                      <a:pt x="61" y="992"/>
                    </a:lnTo>
                    <a:lnTo>
                      <a:pt x="63" y="990"/>
                    </a:lnTo>
                    <a:lnTo>
                      <a:pt x="61" y="990"/>
                    </a:lnTo>
                    <a:lnTo>
                      <a:pt x="61" y="988"/>
                    </a:lnTo>
                    <a:lnTo>
                      <a:pt x="61" y="987"/>
                    </a:lnTo>
                    <a:lnTo>
                      <a:pt x="61" y="985"/>
                    </a:lnTo>
                    <a:lnTo>
                      <a:pt x="61" y="983"/>
                    </a:lnTo>
                    <a:lnTo>
                      <a:pt x="61" y="981"/>
                    </a:lnTo>
                    <a:lnTo>
                      <a:pt x="63" y="980"/>
                    </a:lnTo>
                    <a:lnTo>
                      <a:pt x="61" y="980"/>
                    </a:lnTo>
                    <a:lnTo>
                      <a:pt x="61" y="978"/>
                    </a:lnTo>
                    <a:lnTo>
                      <a:pt x="63" y="978"/>
                    </a:lnTo>
                    <a:lnTo>
                      <a:pt x="63" y="976"/>
                    </a:lnTo>
                    <a:lnTo>
                      <a:pt x="65" y="976"/>
                    </a:lnTo>
                    <a:lnTo>
                      <a:pt x="66" y="976"/>
                    </a:lnTo>
                    <a:lnTo>
                      <a:pt x="68" y="976"/>
                    </a:lnTo>
                    <a:lnTo>
                      <a:pt x="70" y="976"/>
                    </a:lnTo>
                    <a:lnTo>
                      <a:pt x="70" y="975"/>
                    </a:lnTo>
                    <a:lnTo>
                      <a:pt x="71" y="975"/>
                    </a:lnTo>
                    <a:lnTo>
                      <a:pt x="70" y="973"/>
                    </a:lnTo>
                    <a:lnTo>
                      <a:pt x="70" y="971"/>
                    </a:lnTo>
                    <a:lnTo>
                      <a:pt x="70" y="969"/>
                    </a:lnTo>
                    <a:lnTo>
                      <a:pt x="71" y="969"/>
                    </a:lnTo>
                    <a:lnTo>
                      <a:pt x="73" y="969"/>
                    </a:lnTo>
                    <a:lnTo>
                      <a:pt x="73" y="968"/>
                    </a:lnTo>
                    <a:lnTo>
                      <a:pt x="75" y="968"/>
                    </a:lnTo>
                    <a:lnTo>
                      <a:pt x="77" y="968"/>
                    </a:lnTo>
                    <a:lnTo>
                      <a:pt x="77" y="966"/>
                    </a:lnTo>
                    <a:lnTo>
                      <a:pt x="77" y="964"/>
                    </a:lnTo>
                    <a:lnTo>
                      <a:pt x="75" y="964"/>
                    </a:lnTo>
                    <a:lnTo>
                      <a:pt x="77" y="963"/>
                    </a:lnTo>
                    <a:lnTo>
                      <a:pt x="75" y="963"/>
                    </a:lnTo>
                    <a:lnTo>
                      <a:pt x="75" y="961"/>
                    </a:lnTo>
                    <a:lnTo>
                      <a:pt x="73" y="961"/>
                    </a:lnTo>
                    <a:lnTo>
                      <a:pt x="73" y="959"/>
                    </a:lnTo>
                    <a:lnTo>
                      <a:pt x="71" y="958"/>
                    </a:lnTo>
                    <a:lnTo>
                      <a:pt x="71" y="956"/>
                    </a:lnTo>
                    <a:lnTo>
                      <a:pt x="70" y="956"/>
                    </a:lnTo>
                    <a:lnTo>
                      <a:pt x="70" y="954"/>
                    </a:lnTo>
                    <a:lnTo>
                      <a:pt x="68" y="952"/>
                    </a:lnTo>
                    <a:lnTo>
                      <a:pt x="68" y="951"/>
                    </a:lnTo>
                    <a:lnTo>
                      <a:pt x="70" y="951"/>
                    </a:lnTo>
                    <a:lnTo>
                      <a:pt x="68" y="951"/>
                    </a:lnTo>
                    <a:lnTo>
                      <a:pt x="66" y="951"/>
                    </a:lnTo>
                    <a:lnTo>
                      <a:pt x="66" y="949"/>
                    </a:lnTo>
                    <a:lnTo>
                      <a:pt x="65" y="951"/>
                    </a:lnTo>
                    <a:lnTo>
                      <a:pt x="65" y="949"/>
                    </a:lnTo>
                    <a:lnTo>
                      <a:pt x="63" y="949"/>
                    </a:lnTo>
                    <a:lnTo>
                      <a:pt x="61" y="947"/>
                    </a:lnTo>
                    <a:lnTo>
                      <a:pt x="61" y="949"/>
                    </a:lnTo>
                    <a:lnTo>
                      <a:pt x="60" y="947"/>
                    </a:lnTo>
                    <a:lnTo>
                      <a:pt x="58" y="947"/>
                    </a:lnTo>
                    <a:lnTo>
                      <a:pt x="58" y="949"/>
                    </a:lnTo>
                    <a:lnTo>
                      <a:pt x="56" y="949"/>
                    </a:lnTo>
                    <a:lnTo>
                      <a:pt x="56" y="947"/>
                    </a:lnTo>
                    <a:lnTo>
                      <a:pt x="54" y="947"/>
                    </a:lnTo>
                    <a:lnTo>
                      <a:pt x="53" y="946"/>
                    </a:lnTo>
                    <a:lnTo>
                      <a:pt x="53" y="947"/>
                    </a:lnTo>
                    <a:lnTo>
                      <a:pt x="53" y="946"/>
                    </a:lnTo>
                    <a:lnTo>
                      <a:pt x="51" y="946"/>
                    </a:lnTo>
                    <a:lnTo>
                      <a:pt x="53" y="944"/>
                    </a:lnTo>
                    <a:lnTo>
                      <a:pt x="51" y="944"/>
                    </a:lnTo>
                    <a:lnTo>
                      <a:pt x="53" y="944"/>
                    </a:lnTo>
                    <a:lnTo>
                      <a:pt x="53" y="942"/>
                    </a:lnTo>
                    <a:lnTo>
                      <a:pt x="51" y="942"/>
                    </a:lnTo>
                    <a:lnTo>
                      <a:pt x="51" y="941"/>
                    </a:lnTo>
                    <a:lnTo>
                      <a:pt x="51" y="939"/>
                    </a:lnTo>
                    <a:lnTo>
                      <a:pt x="53" y="941"/>
                    </a:lnTo>
                    <a:lnTo>
                      <a:pt x="54" y="941"/>
                    </a:lnTo>
                    <a:lnTo>
                      <a:pt x="56" y="941"/>
                    </a:lnTo>
                    <a:lnTo>
                      <a:pt x="56" y="942"/>
                    </a:lnTo>
                    <a:lnTo>
                      <a:pt x="56" y="941"/>
                    </a:lnTo>
                    <a:lnTo>
                      <a:pt x="58" y="941"/>
                    </a:lnTo>
                    <a:lnTo>
                      <a:pt x="58" y="942"/>
                    </a:lnTo>
                    <a:lnTo>
                      <a:pt x="60" y="941"/>
                    </a:lnTo>
                    <a:lnTo>
                      <a:pt x="60" y="942"/>
                    </a:lnTo>
                    <a:lnTo>
                      <a:pt x="60" y="941"/>
                    </a:lnTo>
                    <a:lnTo>
                      <a:pt x="61" y="939"/>
                    </a:lnTo>
                    <a:lnTo>
                      <a:pt x="61" y="941"/>
                    </a:lnTo>
                    <a:lnTo>
                      <a:pt x="63" y="941"/>
                    </a:lnTo>
                    <a:lnTo>
                      <a:pt x="65" y="941"/>
                    </a:lnTo>
                    <a:lnTo>
                      <a:pt x="66" y="941"/>
                    </a:lnTo>
                    <a:lnTo>
                      <a:pt x="68" y="941"/>
                    </a:lnTo>
                    <a:lnTo>
                      <a:pt x="68" y="939"/>
                    </a:lnTo>
                    <a:lnTo>
                      <a:pt x="68" y="941"/>
                    </a:lnTo>
                    <a:lnTo>
                      <a:pt x="70" y="939"/>
                    </a:lnTo>
                    <a:lnTo>
                      <a:pt x="71" y="939"/>
                    </a:lnTo>
                    <a:lnTo>
                      <a:pt x="73" y="939"/>
                    </a:lnTo>
                    <a:lnTo>
                      <a:pt x="73" y="941"/>
                    </a:lnTo>
                    <a:lnTo>
                      <a:pt x="75" y="941"/>
                    </a:lnTo>
                    <a:lnTo>
                      <a:pt x="75" y="942"/>
                    </a:lnTo>
                    <a:lnTo>
                      <a:pt x="77" y="942"/>
                    </a:lnTo>
                    <a:lnTo>
                      <a:pt x="78" y="942"/>
                    </a:lnTo>
                    <a:lnTo>
                      <a:pt x="78" y="941"/>
                    </a:lnTo>
                    <a:lnTo>
                      <a:pt x="80" y="941"/>
                    </a:lnTo>
                    <a:lnTo>
                      <a:pt x="80" y="939"/>
                    </a:lnTo>
                    <a:lnTo>
                      <a:pt x="80" y="937"/>
                    </a:lnTo>
                    <a:lnTo>
                      <a:pt x="82" y="935"/>
                    </a:lnTo>
                    <a:lnTo>
                      <a:pt x="80" y="935"/>
                    </a:lnTo>
                    <a:lnTo>
                      <a:pt x="80" y="934"/>
                    </a:lnTo>
                    <a:lnTo>
                      <a:pt x="82" y="932"/>
                    </a:lnTo>
                    <a:lnTo>
                      <a:pt x="80" y="932"/>
                    </a:lnTo>
                    <a:lnTo>
                      <a:pt x="82" y="932"/>
                    </a:lnTo>
                    <a:lnTo>
                      <a:pt x="83" y="932"/>
                    </a:lnTo>
                    <a:lnTo>
                      <a:pt x="85" y="932"/>
                    </a:lnTo>
                    <a:lnTo>
                      <a:pt x="83" y="930"/>
                    </a:lnTo>
                    <a:lnTo>
                      <a:pt x="85" y="929"/>
                    </a:lnTo>
                    <a:lnTo>
                      <a:pt x="83" y="929"/>
                    </a:lnTo>
                    <a:lnTo>
                      <a:pt x="82" y="927"/>
                    </a:lnTo>
                    <a:lnTo>
                      <a:pt x="83" y="927"/>
                    </a:lnTo>
                    <a:lnTo>
                      <a:pt x="83" y="925"/>
                    </a:lnTo>
                    <a:lnTo>
                      <a:pt x="82" y="925"/>
                    </a:lnTo>
                    <a:lnTo>
                      <a:pt x="80" y="924"/>
                    </a:lnTo>
                    <a:lnTo>
                      <a:pt x="80" y="925"/>
                    </a:lnTo>
                    <a:lnTo>
                      <a:pt x="80" y="924"/>
                    </a:lnTo>
                    <a:lnTo>
                      <a:pt x="78" y="924"/>
                    </a:lnTo>
                    <a:lnTo>
                      <a:pt x="77" y="924"/>
                    </a:lnTo>
                    <a:lnTo>
                      <a:pt x="75" y="924"/>
                    </a:lnTo>
                    <a:lnTo>
                      <a:pt x="75" y="922"/>
                    </a:lnTo>
                    <a:lnTo>
                      <a:pt x="73" y="922"/>
                    </a:lnTo>
                    <a:lnTo>
                      <a:pt x="71" y="922"/>
                    </a:lnTo>
                    <a:lnTo>
                      <a:pt x="71" y="924"/>
                    </a:lnTo>
                    <a:lnTo>
                      <a:pt x="70" y="922"/>
                    </a:lnTo>
                    <a:lnTo>
                      <a:pt x="70" y="924"/>
                    </a:lnTo>
                    <a:lnTo>
                      <a:pt x="68" y="924"/>
                    </a:lnTo>
                    <a:lnTo>
                      <a:pt x="66" y="922"/>
                    </a:lnTo>
                    <a:lnTo>
                      <a:pt x="66" y="924"/>
                    </a:lnTo>
                    <a:lnTo>
                      <a:pt x="65" y="924"/>
                    </a:lnTo>
                    <a:lnTo>
                      <a:pt x="65" y="922"/>
                    </a:lnTo>
                    <a:lnTo>
                      <a:pt x="63" y="922"/>
                    </a:lnTo>
                    <a:lnTo>
                      <a:pt x="63" y="924"/>
                    </a:lnTo>
                    <a:lnTo>
                      <a:pt x="61" y="924"/>
                    </a:lnTo>
                    <a:lnTo>
                      <a:pt x="60" y="924"/>
                    </a:lnTo>
                    <a:lnTo>
                      <a:pt x="60" y="922"/>
                    </a:lnTo>
                    <a:lnTo>
                      <a:pt x="60" y="920"/>
                    </a:lnTo>
                    <a:lnTo>
                      <a:pt x="61" y="920"/>
                    </a:lnTo>
                    <a:lnTo>
                      <a:pt x="61" y="918"/>
                    </a:lnTo>
                    <a:lnTo>
                      <a:pt x="60" y="917"/>
                    </a:lnTo>
                    <a:lnTo>
                      <a:pt x="60" y="915"/>
                    </a:lnTo>
                    <a:lnTo>
                      <a:pt x="61" y="913"/>
                    </a:lnTo>
                    <a:lnTo>
                      <a:pt x="60" y="913"/>
                    </a:lnTo>
                    <a:lnTo>
                      <a:pt x="60" y="912"/>
                    </a:lnTo>
                    <a:lnTo>
                      <a:pt x="58" y="910"/>
                    </a:lnTo>
                    <a:lnTo>
                      <a:pt x="60" y="910"/>
                    </a:lnTo>
                    <a:lnTo>
                      <a:pt x="61" y="910"/>
                    </a:lnTo>
                    <a:lnTo>
                      <a:pt x="63" y="908"/>
                    </a:lnTo>
                    <a:lnTo>
                      <a:pt x="63" y="907"/>
                    </a:lnTo>
                    <a:lnTo>
                      <a:pt x="63" y="905"/>
                    </a:lnTo>
                    <a:lnTo>
                      <a:pt x="65" y="905"/>
                    </a:lnTo>
                    <a:lnTo>
                      <a:pt x="65" y="903"/>
                    </a:lnTo>
                    <a:lnTo>
                      <a:pt x="65" y="901"/>
                    </a:lnTo>
                    <a:lnTo>
                      <a:pt x="66" y="901"/>
                    </a:lnTo>
                    <a:lnTo>
                      <a:pt x="65" y="900"/>
                    </a:lnTo>
                    <a:lnTo>
                      <a:pt x="63" y="900"/>
                    </a:lnTo>
                    <a:lnTo>
                      <a:pt x="63" y="898"/>
                    </a:lnTo>
                    <a:lnTo>
                      <a:pt x="63" y="896"/>
                    </a:lnTo>
                    <a:lnTo>
                      <a:pt x="61" y="896"/>
                    </a:lnTo>
                    <a:lnTo>
                      <a:pt x="63" y="896"/>
                    </a:lnTo>
                    <a:lnTo>
                      <a:pt x="61" y="896"/>
                    </a:lnTo>
                    <a:lnTo>
                      <a:pt x="63" y="895"/>
                    </a:lnTo>
                    <a:lnTo>
                      <a:pt x="61" y="895"/>
                    </a:lnTo>
                    <a:lnTo>
                      <a:pt x="63" y="893"/>
                    </a:lnTo>
                    <a:lnTo>
                      <a:pt x="65" y="891"/>
                    </a:lnTo>
                    <a:lnTo>
                      <a:pt x="65" y="890"/>
                    </a:lnTo>
                    <a:lnTo>
                      <a:pt x="66" y="890"/>
                    </a:lnTo>
                    <a:lnTo>
                      <a:pt x="68" y="890"/>
                    </a:lnTo>
                    <a:lnTo>
                      <a:pt x="66" y="890"/>
                    </a:lnTo>
                    <a:lnTo>
                      <a:pt x="68" y="890"/>
                    </a:lnTo>
                    <a:lnTo>
                      <a:pt x="68" y="888"/>
                    </a:lnTo>
                    <a:lnTo>
                      <a:pt x="68" y="886"/>
                    </a:lnTo>
                    <a:lnTo>
                      <a:pt x="66" y="886"/>
                    </a:lnTo>
                    <a:lnTo>
                      <a:pt x="65" y="886"/>
                    </a:lnTo>
                    <a:lnTo>
                      <a:pt x="63" y="886"/>
                    </a:lnTo>
                    <a:lnTo>
                      <a:pt x="63" y="884"/>
                    </a:lnTo>
                    <a:lnTo>
                      <a:pt x="61" y="884"/>
                    </a:lnTo>
                    <a:lnTo>
                      <a:pt x="61" y="883"/>
                    </a:lnTo>
                    <a:lnTo>
                      <a:pt x="60" y="883"/>
                    </a:lnTo>
                    <a:lnTo>
                      <a:pt x="58" y="883"/>
                    </a:lnTo>
                    <a:lnTo>
                      <a:pt x="58" y="881"/>
                    </a:lnTo>
                    <a:lnTo>
                      <a:pt x="60" y="879"/>
                    </a:lnTo>
                    <a:lnTo>
                      <a:pt x="58" y="879"/>
                    </a:lnTo>
                    <a:lnTo>
                      <a:pt x="58" y="878"/>
                    </a:lnTo>
                    <a:lnTo>
                      <a:pt x="58" y="879"/>
                    </a:lnTo>
                    <a:lnTo>
                      <a:pt x="56" y="879"/>
                    </a:lnTo>
                    <a:lnTo>
                      <a:pt x="56" y="878"/>
                    </a:lnTo>
                    <a:lnTo>
                      <a:pt x="56" y="876"/>
                    </a:lnTo>
                    <a:lnTo>
                      <a:pt x="58" y="874"/>
                    </a:lnTo>
                    <a:lnTo>
                      <a:pt x="58" y="873"/>
                    </a:lnTo>
                    <a:lnTo>
                      <a:pt x="56" y="873"/>
                    </a:lnTo>
                    <a:lnTo>
                      <a:pt x="58" y="873"/>
                    </a:lnTo>
                    <a:lnTo>
                      <a:pt x="60" y="873"/>
                    </a:lnTo>
                    <a:lnTo>
                      <a:pt x="61" y="873"/>
                    </a:lnTo>
                    <a:lnTo>
                      <a:pt x="61" y="871"/>
                    </a:lnTo>
                    <a:lnTo>
                      <a:pt x="61" y="873"/>
                    </a:lnTo>
                    <a:lnTo>
                      <a:pt x="63" y="873"/>
                    </a:lnTo>
                    <a:lnTo>
                      <a:pt x="63" y="871"/>
                    </a:lnTo>
                    <a:lnTo>
                      <a:pt x="63" y="869"/>
                    </a:lnTo>
                    <a:lnTo>
                      <a:pt x="61" y="867"/>
                    </a:lnTo>
                    <a:lnTo>
                      <a:pt x="63" y="867"/>
                    </a:lnTo>
                    <a:lnTo>
                      <a:pt x="63" y="866"/>
                    </a:lnTo>
                    <a:lnTo>
                      <a:pt x="61" y="866"/>
                    </a:lnTo>
                    <a:lnTo>
                      <a:pt x="61" y="864"/>
                    </a:lnTo>
                    <a:lnTo>
                      <a:pt x="60" y="864"/>
                    </a:lnTo>
                    <a:lnTo>
                      <a:pt x="58" y="864"/>
                    </a:lnTo>
                    <a:lnTo>
                      <a:pt x="58" y="862"/>
                    </a:lnTo>
                    <a:lnTo>
                      <a:pt x="56" y="862"/>
                    </a:lnTo>
                    <a:lnTo>
                      <a:pt x="56" y="861"/>
                    </a:lnTo>
                    <a:lnTo>
                      <a:pt x="54" y="859"/>
                    </a:lnTo>
                    <a:lnTo>
                      <a:pt x="53" y="859"/>
                    </a:lnTo>
                    <a:lnTo>
                      <a:pt x="53" y="857"/>
                    </a:lnTo>
                    <a:lnTo>
                      <a:pt x="51" y="857"/>
                    </a:lnTo>
                    <a:lnTo>
                      <a:pt x="51" y="856"/>
                    </a:lnTo>
                    <a:lnTo>
                      <a:pt x="49" y="854"/>
                    </a:lnTo>
                    <a:lnTo>
                      <a:pt x="49" y="852"/>
                    </a:lnTo>
                    <a:lnTo>
                      <a:pt x="49" y="850"/>
                    </a:lnTo>
                    <a:lnTo>
                      <a:pt x="49" y="849"/>
                    </a:lnTo>
                    <a:lnTo>
                      <a:pt x="48" y="849"/>
                    </a:lnTo>
                    <a:lnTo>
                      <a:pt x="49" y="849"/>
                    </a:lnTo>
                    <a:lnTo>
                      <a:pt x="49" y="847"/>
                    </a:lnTo>
                    <a:lnTo>
                      <a:pt x="49" y="845"/>
                    </a:lnTo>
                    <a:lnTo>
                      <a:pt x="49" y="844"/>
                    </a:lnTo>
                    <a:lnTo>
                      <a:pt x="48" y="844"/>
                    </a:lnTo>
                    <a:lnTo>
                      <a:pt x="48" y="842"/>
                    </a:lnTo>
                    <a:lnTo>
                      <a:pt x="49" y="842"/>
                    </a:lnTo>
                    <a:lnTo>
                      <a:pt x="49" y="840"/>
                    </a:lnTo>
                    <a:lnTo>
                      <a:pt x="49" y="839"/>
                    </a:lnTo>
                    <a:lnTo>
                      <a:pt x="51" y="839"/>
                    </a:lnTo>
                    <a:lnTo>
                      <a:pt x="51" y="837"/>
                    </a:lnTo>
                    <a:lnTo>
                      <a:pt x="53" y="837"/>
                    </a:lnTo>
                    <a:lnTo>
                      <a:pt x="53" y="835"/>
                    </a:lnTo>
                    <a:lnTo>
                      <a:pt x="53" y="833"/>
                    </a:lnTo>
                    <a:lnTo>
                      <a:pt x="53" y="832"/>
                    </a:lnTo>
                    <a:lnTo>
                      <a:pt x="53" y="830"/>
                    </a:lnTo>
                    <a:lnTo>
                      <a:pt x="51" y="830"/>
                    </a:lnTo>
                    <a:lnTo>
                      <a:pt x="51" y="828"/>
                    </a:lnTo>
                    <a:lnTo>
                      <a:pt x="49" y="830"/>
                    </a:lnTo>
                    <a:lnTo>
                      <a:pt x="49" y="828"/>
                    </a:lnTo>
                    <a:lnTo>
                      <a:pt x="49" y="827"/>
                    </a:lnTo>
                    <a:lnTo>
                      <a:pt x="49" y="825"/>
                    </a:lnTo>
                    <a:lnTo>
                      <a:pt x="48" y="823"/>
                    </a:lnTo>
                    <a:lnTo>
                      <a:pt x="49" y="823"/>
                    </a:lnTo>
                    <a:lnTo>
                      <a:pt x="48" y="822"/>
                    </a:lnTo>
                    <a:lnTo>
                      <a:pt x="48" y="820"/>
                    </a:lnTo>
                    <a:lnTo>
                      <a:pt x="48" y="818"/>
                    </a:lnTo>
                    <a:lnTo>
                      <a:pt x="49" y="818"/>
                    </a:lnTo>
                    <a:lnTo>
                      <a:pt x="51" y="818"/>
                    </a:lnTo>
                    <a:lnTo>
                      <a:pt x="51" y="816"/>
                    </a:lnTo>
                    <a:lnTo>
                      <a:pt x="53" y="816"/>
                    </a:lnTo>
                    <a:lnTo>
                      <a:pt x="53" y="818"/>
                    </a:lnTo>
                    <a:lnTo>
                      <a:pt x="54" y="818"/>
                    </a:lnTo>
                    <a:lnTo>
                      <a:pt x="56" y="820"/>
                    </a:lnTo>
                    <a:lnTo>
                      <a:pt x="58" y="820"/>
                    </a:lnTo>
                    <a:lnTo>
                      <a:pt x="58" y="818"/>
                    </a:lnTo>
                    <a:lnTo>
                      <a:pt x="60" y="818"/>
                    </a:lnTo>
                    <a:lnTo>
                      <a:pt x="60" y="820"/>
                    </a:lnTo>
                    <a:lnTo>
                      <a:pt x="60" y="818"/>
                    </a:lnTo>
                    <a:lnTo>
                      <a:pt x="61" y="818"/>
                    </a:lnTo>
                    <a:lnTo>
                      <a:pt x="63" y="818"/>
                    </a:lnTo>
                    <a:lnTo>
                      <a:pt x="63" y="816"/>
                    </a:lnTo>
                    <a:lnTo>
                      <a:pt x="63" y="815"/>
                    </a:lnTo>
                    <a:lnTo>
                      <a:pt x="63" y="813"/>
                    </a:lnTo>
                    <a:lnTo>
                      <a:pt x="61" y="813"/>
                    </a:lnTo>
                    <a:lnTo>
                      <a:pt x="61" y="811"/>
                    </a:lnTo>
                    <a:lnTo>
                      <a:pt x="61" y="810"/>
                    </a:lnTo>
                    <a:lnTo>
                      <a:pt x="61" y="808"/>
                    </a:lnTo>
                    <a:lnTo>
                      <a:pt x="61" y="806"/>
                    </a:lnTo>
                    <a:lnTo>
                      <a:pt x="61" y="804"/>
                    </a:lnTo>
                    <a:lnTo>
                      <a:pt x="61" y="803"/>
                    </a:lnTo>
                    <a:lnTo>
                      <a:pt x="61" y="801"/>
                    </a:lnTo>
                    <a:lnTo>
                      <a:pt x="61" y="799"/>
                    </a:lnTo>
                    <a:lnTo>
                      <a:pt x="60" y="799"/>
                    </a:lnTo>
                    <a:lnTo>
                      <a:pt x="61" y="798"/>
                    </a:lnTo>
                    <a:lnTo>
                      <a:pt x="60" y="798"/>
                    </a:lnTo>
                    <a:lnTo>
                      <a:pt x="60" y="796"/>
                    </a:lnTo>
                    <a:lnTo>
                      <a:pt x="58" y="796"/>
                    </a:lnTo>
                    <a:lnTo>
                      <a:pt x="58" y="794"/>
                    </a:lnTo>
                    <a:lnTo>
                      <a:pt x="58" y="793"/>
                    </a:lnTo>
                    <a:lnTo>
                      <a:pt x="60" y="793"/>
                    </a:lnTo>
                    <a:lnTo>
                      <a:pt x="60" y="791"/>
                    </a:lnTo>
                    <a:lnTo>
                      <a:pt x="60" y="789"/>
                    </a:lnTo>
                    <a:lnTo>
                      <a:pt x="60" y="787"/>
                    </a:lnTo>
                    <a:lnTo>
                      <a:pt x="60" y="786"/>
                    </a:lnTo>
                    <a:lnTo>
                      <a:pt x="58" y="786"/>
                    </a:lnTo>
                    <a:lnTo>
                      <a:pt x="58" y="784"/>
                    </a:lnTo>
                    <a:lnTo>
                      <a:pt x="58" y="782"/>
                    </a:lnTo>
                    <a:lnTo>
                      <a:pt x="56" y="782"/>
                    </a:lnTo>
                    <a:lnTo>
                      <a:pt x="58" y="782"/>
                    </a:lnTo>
                    <a:lnTo>
                      <a:pt x="58" y="781"/>
                    </a:lnTo>
                    <a:lnTo>
                      <a:pt x="58" y="779"/>
                    </a:lnTo>
                    <a:lnTo>
                      <a:pt x="58" y="777"/>
                    </a:lnTo>
                    <a:lnTo>
                      <a:pt x="60" y="779"/>
                    </a:lnTo>
                    <a:lnTo>
                      <a:pt x="58" y="777"/>
                    </a:lnTo>
                    <a:lnTo>
                      <a:pt x="60" y="777"/>
                    </a:lnTo>
                    <a:lnTo>
                      <a:pt x="58" y="777"/>
                    </a:lnTo>
                    <a:lnTo>
                      <a:pt x="58" y="776"/>
                    </a:lnTo>
                    <a:lnTo>
                      <a:pt x="58" y="774"/>
                    </a:lnTo>
                    <a:lnTo>
                      <a:pt x="60" y="774"/>
                    </a:lnTo>
                    <a:lnTo>
                      <a:pt x="60" y="772"/>
                    </a:lnTo>
                    <a:lnTo>
                      <a:pt x="60" y="770"/>
                    </a:lnTo>
                    <a:lnTo>
                      <a:pt x="60" y="769"/>
                    </a:lnTo>
                    <a:lnTo>
                      <a:pt x="58" y="769"/>
                    </a:lnTo>
                    <a:lnTo>
                      <a:pt x="58" y="767"/>
                    </a:lnTo>
                    <a:lnTo>
                      <a:pt x="58" y="765"/>
                    </a:lnTo>
                    <a:lnTo>
                      <a:pt x="56" y="765"/>
                    </a:lnTo>
                    <a:lnTo>
                      <a:pt x="58" y="765"/>
                    </a:lnTo>
                    <a:lnTo>
                      <a:pt x="58" y="764"/>
                    </a:lnTo>
                    <a:lnTo>
                      <a:pt x="58" y="762"/>
                    </a:lnTo>
                    <a:lnTo>
                      <a:pt x="58" y="760"/>
                    </a:lnTo>
                    <a:lnTo>
                      <a:pt x="58" y="762"/>
                    </a:lnTo>
                    <a:lnTo>
                      <a:pt x="58" y="760"/>
                    </a:lnTo>
                    <a:lnTo>
                      <a:pt x="56" y="760"/>
                    </a:lnTo>
                    <a:lnTo>
                      <a:pt x="56" y="759"/>
                    </a:lnTo>
                    <a:lnTo>
                      <a:pt x="56" y="757"/>
                    </a:lnTo>
                    <a:lnTo>
                      <a:pt x="56" y="755"/>
                    </a:lnTo>
                    <a:lnTo>
                      <a:pt x="54" y="755"/>
                    </a:lnTo>
                    <a:lnTo>
                      <a:pt x="54" y="753"/>
                    </a:lnTo>
                    <a:lnTo>
                      <a:pt x="56" y="753"/>
                    </a:lnTo>
                    <a:lnTo>
                      <a:pt x="58" y="752"/>
                    </a:lnTo>
                    <a:lnTo>
                      <a:pt x="58" y="750"/>
                    </a:lnTo>
                    <a:lnTo>
                      <a:pt x="60" y="750"/>
                    </a:lnTo>
                    <a:lnTo>
                      <a:pt x="60" y="748"/>
                    </a:lnTo>
                    <a:lnTo>
                      <a:pt x="58" y="748"/>
                    </a:lnTo>
                    <a:lnTo>
                      <a:pt x="58" y="747"/>
                    </a:lnTo>
                    <a:lnTo>
                      <a:pt x="60" y="745"/>
                    </a:lnTo>
                    <a:lnTo>
                      <a:pt x="58" y="745"/>
                    </a:lnTo>
                    <a:lnTo>
                      <a:pt x="60" y="743"/>
                    </a:lnTo>
                    <a:lnTo>
                      <a:pt x="60" y="742"/>
                    </a:lnTo>
                    <a:lnTo>
                      <a:pt x="61" y="740"/>
                    </a:lnTo>
                    <a:lnTo>
                      <a:pt x="61" y="742"/>
                    </a:lnTo>
                    <a:lnTo>
                      <a:pt x="61" y="740"/>
                    </a:lnTo>
                    <a:lnTo>
                      <a:pt x="63" y="742"/>
                    </a:lnTo>
                    <a:lnTo>
                      <a:pt x="65" y="740"/>
                    </a:lnTo>
                    <a:lnTo>
                      <a:pt x="65" y="738"/>
                    </a:lnTo>
                    <a:lnTo>
                      <a:pt x="65" y="736"/>
                    </a:lnTo>
                    <a:lnTo>
                      <a:pt x="65" y="735"/>
                    </a:lnTo>
                    <a:lnTo>
                      <a:pt x="63" y="735"/>
                    </a:lnTo>
                    <a:lnTo>
                      <a:pt x="61" y="735"/>
                    </a:lnTo>
                    <a:lnTo>
                      <a:pt x="60" y="733"/>
                    </a:lnTo>
                    <a:lnTo>
                      <a:pt x="61" y="733"/>
                    </a:lnTo>
                    <a:lnTo>
                      <a:pt x="60" y="733"/>
                    </a:lnTo>
                    <a:lnTo>
                      <a:pt x="60" y="731"/>
                    </a:lnTo>
                    <a:lnTo>
                      <a:pt x="61" y="730"/>
                    </a:lnTo>
                    <a:lnTo>
                      <a:pt x="60" y="730"/>
                    </a:lnTo>
                    <a:lnTo>
                      <a:pt x="60" y="728"/>
                    </a:lnTo>
                    <a:lnTo>
                      <a:pt x="61" y="728"/>
                    </a:lnTo>
                    <a:lnTo>
                      <a:pt x="60" y="726"/>
                    </a:lnTo>
                    <a:lnTo>
                      <a:pt x="61" y="726"/>
                    </a:lnTo>
                    <a:lnTo>
                      <a:pt x="63" y="726"/>
                    </a:lnTo>
                    <a:lnTo>
                      <a:pt x="65" y="728"/>
                    </a:lnTo>
                    <a:lnTo>
                      <a:pt x="65" y="726"/>
                    </a:lnTo>
                    <a:lnTo>
                      <a:pt x="65" y="725"/>
                    </a:lnTo>
                    <a:lnTo>
                      <a:pt x="65" y="723"/>
                    </a:lnTo>
                    <a:lnTo>
                      <a:pt x="65" y="721"/>
                    </a:lnTo>
                    <a:lnTo>
                      <a:pt x="66" y="721"/>
                    </a:lnTo>
                    <a:lnTo>
                      <a:pt x="66" y="719"/>
                    </a:lnTo>
                    <a:lnTo>
                      <a:pt x="68" y="719"/>
                    </a:lnTo>
                    <a:lnTo>
                      <a:pt x="68" y="718"/>
                    </a:lnTo>
                    <a:lnTo>
                      <a:pt x="66" y="716"/>
                    </a:lnTo>
                    <a:lnTo>
                      <a:pt x="65" y="716"/>
                    </a:lnTo>
                    <a:lnTo>
                      <a:pt x="65" y="714"/>
                    </a:lnTo>
                    <a:lnTo>
                      <a:pt x="65" y="713"/>
                    </a:lnTo>
                    <a:lnTo>
                      <a:pt x="65" y="711"/>
                    </a:lnTo>
                    <a:lnTo>
                      <a:pt x="63" y="711"/>
                    </a:lnTo>
                    <a:lnTo>
                      <a:pt x="63" y="709"/>
                    </a:lnTo>
                    <a:lnTo>
                      <a:pt x="65" y="709"/>
                    </a:lnTo>
                    <a:lnTo>
                      <a:pt x="63" y="709"/>
                    </a:lnTo>
                    <a:lnTo>
                      <a:pt x="65" y="709"/>
                    </a:lnTo>
                    <a:lnTo>
                      <a:pt x="65" y="708"/>
                    </a:lnTo>
                    <a:lnTo>
                      <a:pt x="63" y="706"/>
                    </a:lnTo>
                    <a:lnTo>
                      <a:pt x="65" y="706"/>
                    </a:lnTo>
                    <a:lnTo>
                      <a:pt x="65" y="704"/>
                    </a:lnTo>
                    <a:lnTo>
                      <a:pt x="65" y="702"/>
                    </a:lnTo>
                    <a:lnTo>
                      <a:pt x="65" y="704"/>
                    </a:lnTo>
                    <a:lnTo>
                      <a:pt x="66" y="704"/>
                    </a:lnTo>
                    <a:lnTo>
                      <a:pt x="66" y="706"/>
                    </a:lnTo>
                    <a:lnTo>
                      <a:pt x="68" y="706"/>
                    </a:lnTo>
                    <a:lnTo>
                      <a:pt x="70" y="706"/>
                    </a:lnTo>
                    <a:lnTo>
                      <a:pt x="71" y="706"/>
                    </a:lnTo>
                    <a:lnTo>
                      <a:pt x="71" y="704"/>
                    </a:lnTo>
                    <a:lnTo>
                      <a:pt x="71" y="702"/>
                    </a:lnTo>
                    <a:lnTo>
                      <a:pt x="70" y="702"/>
                    </a:lnTo>
                    <a:lnTo>
                      <a:pt x="70" y="701"/>
                    </a:lnTo>
                    <a:lnTo>
                      <a:pt x="71" y="699"/>
                    </a:lnTo>
                    <a:lnTo>
                      <a:pt x="71" y="697"/>
                    </a:lnTo>
                    <a:lnTo>
                      <a:pt x="73" y="697"/>
                    </a:lnTo>
                    <a:lnTo>
                      <a:pt x="71" y="697"/>
                    </a:lnTo>
                    <a:lnTo>
                      <a:pt x="73" y="696"/>
                    </a:lnTo>
                    <a:lnTo>
                      <a:pt x="71" y="696"/>
                    </a:lnTo>
                    <a:lnTo>
                      <a:pt x="71" y="694"/>
                    </a:lnTo>
                    <a:lnTo>
                      <a:pt x="73" y="694"/>
                    </a:lnTo>
                    <a:lnTo>
                      <a:pt x="75" y="694"/>
                    </a:lnTo>
                    <a:lnTo>
                      <a:pt x="75" y="692"/>
                    </a:lnTo>
                    <a:lnTo>
                      <a:pt x="75" y="691"/>
                    </a:lnTo>
                    <a:lnTo>
                      <a:pt x="75" y="689"/>
                    </a:lnTo>
                    <a:lnTo>
                      <a:pt x="75" y="687"/>
                    </a:lnTo>
                    <a:lnTo>
                      <a:pt x="73" y="685"/>
                    </a:lnTo>
                    <a:lnTo>
                      <a:pt x="73" y="684"/>
                    </a:lnTo>
                    <a:lnTo>
                      <a:pt x="73" y="682"/>
                    </a:lnTo>
                    <a:lnTo>
                      <a:pt x="73" y="680"/>
                    </a:lnTo>
                    <a:lnTo>
                      <a:pt x="75" y="680"/>
                    </a:lnTo>
                    <a:lnTo>
                      <a:pt x="73" y="680"/>
                    </a:lnTo>
                    <a:lnTo>
                      <a:pt x="73" y="679"/>
                    </a:lnTo>
                    <a:lnTo>
                      <a:pt x="73" y="677"/>
                    </a:lnTo>
                    <a:lnTo>
                      <a:pt x="73" y="675"/>
                    </a:lnTo>
                    <a:lnTo>
                      <a:pt x="75" y="675"/>
                    </a:lnTo>
                    <a:lnTo>
                      <a:pt x="75" y="674"/>
                    </a:lnTo>
                    <a:lnTo>
                      <a:pt x="77" y="674"/>
                    </a:lnTo>
                    <a:lnTo>
                      <a:pt x="78" y="672"/>
                    </a:lnTo>
                    <a:lnTo>
                      <a:pt x="78" y="670"/>
                    </a:lnTo>
                    <a:lnTo>
                      <a:pt x="80" y="670"/>
                    </a:lnTo>
                    <a:lnTo>
                      <a:pt x="82" y="670"/>
                    </a:lnTo>
                    <a:lnTo>
                      <a:pt x="83" y="670"/>
                    </a:lnTo>
                    <a:lnTo>
                      <a:pt x="83" y="668"/>
                    </a:lnTo>
                    <a:lnTo>
                      <a:pt x="85" y="668"/>
                    </a:lnTo>
                    <a:lnTo>
                      <a:pt x="87" y="668"/>
                    </a:lnTo>
                    <a:lnTo>
                      <a:pt x="88" y="668"/>
                    </a:lnTo>
                    <a:lnTo>
                      <a:pt x="90" y="668"/>
                    </a:lnTo>
                    <a:lnTo>
                      <a:pt x="90" y="667"/>
                    </a:lnTo>
                    <a:lnTo>
                      <a:pt x="92" y="667"/>
                    </a:lnTo>
                    <a:lnTo>
                      <a:pt x="92" y="665"/>
                    </a:lnTo>
                    <a:lnTo>
                      <a:pt x="90" y="665"/>
                    </a:lnTo>
                    <a:lnTo>
                      <a:pt x="90" y="663"/>
                    </a:lnTo>
                    <a:lnTo>
                      <a:pt x="92" y="663"/>
                    </a:lnTo>
                    <a:lnTo>
                      <a:pt x="92" y="662"/>
                    </a:lnTo>
                    <a:lnTo>
                      <a:pt x="94" y="662"/>
                    </a:lnTo>
                    <a:lnTo>
                      <a:pt x="94" y="660"/>
                    </a:lnTo>
                    <a:lnTo>
                      <a:pt x="94" y="658"/>
                    </a:lnTo>
                    <a:lnTo>
                      <a:pt x="92" y="658"/>
                    </a:lnTo>
                    <a:lnTo>
                      <a:pt x="92" y="656"/>
                    </a:lnTo>
                    <a:lnTo>
                      <a:pt x="90" y="656"/>
                    </a:lnTo>
                    <a:lnTo>
                      <a:pt x="90" y="655"/>
                    </a:lnTo>
                    <a:lnTo>
                      <a:pt x="88" y="655"/>
                    </a:lnTo>
                    <a:lnTo>
                      <a:pt x="88" y="653"/>
                    </a:lnTo>
                    <a:lnTo>
                      <a:pt x="88" y="651"/>
                    </a:lnTo>
                    <a:lnTo>
                      <a:pt x="87" y="650"/>
                    </a:lnTo>
                    <a:lnTo>
                      <a:pt x="88" y="650"/>
                    </a:lnTo>
                    <a:lnTo>
                      <a:pt x="87" y="650"/>
                    </a:lnTo>
                    <a:lnTo>
                      <a:pt x="87" y="648"/>
                    </a:lnTo>
                    <a:lnTo>
                      <a:pt x="87" y="646"/>
                    </a:lnTo>
                    <a:lnTo>
                      <a:pt x="87" y="645"/>
                    </a:lnTo>
                    <a:lnTo>
                      <a:pt x="88" y="645"/>
                    </a:lnTo>
                    <a:lnTo>
                      <a:pt x="88" y="643"/>
                    </a:lnTo>
                    <a:lnTo>
                      <a:pt x="87" y="641"/>
                    </a:lnTo>
                    <a:lnTo>
                      <a:pt x="85" y="639"/>
                    </a:lnTo>
                    <a:lnTo>
                      <a:pt x="87" y="639"/>
                    </a:lnTo>
                    <a:lnTo>
                      <a:pt x="88" y="639"/>
                    </a:lnTo>
                    <a:lnTo>
                      <a:pt x="87" y="639"/>
                    </a:lnTo>
                    <a:lnTo>
                      <a:pt x="87" y="638"/>
                    </a:lnTo>
                    <a:lnTo>
                      <a:pt x="85" y="638"/>
                    </a:lnTo>
                    <a:lnTo>
                      <a:pt x="85" y="636"/>
                    </a:lnTo>
                    <a:lnTo>
                      <a:pt x="85" y="634"/>
                    </a:lnTo>
                    <a:lnTo>
                      <a:pt x="83" y="633"/>
                    </a:lnTo>
                    <a:lnTo>
                      <a:pt x="83" y="631"/>
                    </a:lnTo>
                    <a:lnTo>
                      <a:pt x="83" y="629"/>
                    </a:lnTo>
                    <a:lnTo>
                      <a:pt x="82" y="629"/>
                    </a:lnTo>
                    <a:lnTo>
                      <a:pt x="82" y="628"/>
                    </a:lnTo>
                    <a:lnTo>
                      <a:pt x="83" y="628"/>
                    </a:lnTo>
                    <a:lnTo>
                      <a:pt x="82" y="628"/>
                    </a:lnTo>
                    <a:lnTo>
                      <a:pt x="82" y="626"/>
                    </a:lnTo>
                    <a:lnTo>
                      <a:pt x="82" y="624"/>
                    </a:lnTo>
                    <a:lnTo>
                      <a:pt x="82" y="622"/>
                    </a:lnTo>
                    <a:lnTo>
                      <a:pt x="80" y="622"/>
                    </a:lnTo>
                    <a:lnTo>
                      <a:pt x="80" y="621"/>
                    </a:lnTo>
                    <a:lnTo>
                      <a:pt x="82" y="619"/>
                    </a:lnTo>
                    <a:lnTo>
                      <a:pt x="83" y="617"/>
                    </a:lnTo>
                    <a:lnTo>
                      <a:pt x="83" y="616"/>
                    </a:lnTo>
                    <a:lnTo>
                      <a:pt x="82" y="616"/>
                    </a:lnTo>
                    <a:lnTo>
                      <a:pt x="83" y="616"/>
                    </a:lnTo>
                    <a:lnTo>
                      <a:pt x="83" y="614"/>
                    </a:lnTo>
                    <a:lnTo>
                      <a:pt x="83" y="612"/>
                    </a:lnTo>
                    <a:lnTo>
                      <a:pt x="83" y="611"/>
                    </a:lnTo>
                    <a:lnTo>
                      <a:pt x="82" y="609"/>
                    </a:lnTo>
                    <a:lnTo>
                      <a:pt x="80" y="609"/>
                    </a:lnTo>
                    <a:lnTo>
                      <a:pt x="82" y="607"/>
                    </a:lnTo>
                    <a:lnTo>
                      <a:pt x="80" y="607"/>
                    </a:lnTo>
                    <a:lnTo>
                      <a:pt x="80" y="605"/>
                    </a:lnTo>
                    <a:lnTo>
                      <a:pt x="80" y="604"/>
                    </a:lnTo>
                    <a:lnTo>
                      <a:pt x="82" y="604"/>
                    </a:lnTo>
                    <a:lnTo>
                      <a:pt x="82" y="602"/>
                    </a:lnTo>
                    <a:lnTo>
                      <a:pt x="83" y="602"/>
                    </a:lnTo>
                    <a:lnTo>
                      <a:pt x="83" y="600"/>
                    </a:lnTo>
                    <a:lnTo>
                      <a:pt x="83" y="599"/>
                    </a:lnTo>
                    <a:lnTo>
                      <a:pt x="85" y="599"/>
                    </a:lnTo>
                    <a:lnTo>
                      <a:pt x="85" y="597"/>
                    </a:lnTo>
                    <a:lnTo>
                      <a:pt x="83" y="597"/>
                    </a:lnTo>
                    <a:lnTo>
                      <a:pt x="83" y="595"/>
                    </a:lnTo>
                    <a:lnTo>
                      <a:pt x="83" y="594"/>
                    </a:lnTo>
                    <a:lnTo>
                      <a:pt x="82" y="594"/>
                    </a:lnTo>
                    <a:lnTo>
                      <a:pt x="82" y="592"/>
                    </a:lnTo>
                    <a:lnTo>
                      <a:pt x="80" y="592"/>
                    </a:lnTo>
                    <a:lnTo>
                      <a:pt x="82" y="592"/>
                    </a:lnTo>
                    <a:lnTo>
                      <a:pt x="83" y="592"/>
                    </a:lnTo>
                    <a:lnTo>
                      <a:pt x="83" y="590"/>
                    </a:lnTo>
                    <a:lnTo>
                      <a:pt x="85" y="590"/>
                    </a:lnTo>
                    <a:lnTo>
                      <a:pt x="83" y="590"/>
                    </a:lnTo>
                    <a:lnTo>
                      <a:pt x="82" y="588"/>
                    </a:lnTo>
                    <a:lnTo>
                      <a:pt x="83" y="588"/>
                    </a:lnTo>
                    <a:lnTo>
                      <a:pt x="83" y="587"/>
                    </a:lnTo>
                    <a:lnTo>
                      <a:pt x="82" y="587"/>
                    </a:lnTo>
                    <a:lnTo>
                      <a:pt x="82" y="585"/>
                    </a:lnTo>
                    <a:lnTo>
                      <a:pt x="83" y="585"/>
                    </a:lnTo>
                    <a:lnTo>
                      <a:pt x="83" y="583"/>
                    </a:lnTo>
                    <a:lnTo>
                      <a:pt x="83" y="582"/>
                    </a:lnTo>
                    <a:lnTo>
                      <a:pt x="83" y="580"/>
                    </a:lnTo>
                    <a:lnTo>
                      <a:pt x="83" y="578"/>
                    </a:lnTo>
                    <a:lnTo>
                      <a:pt x="85" y="578"/>
                    </a:lnTo>
                    <a:lnTo>
                      <a:pt x="85" y="580"/>
                    </a:lnTo>
                    <a:lnTo>
                      <a:pt x="87" y="580"/>
                    </a:lnTo>
                    <a:lnTo>
                      <a:pt x="87" y="578"/>
                    </a:lnTo>
                    <a:lnTo>
                      <a:pt x="87" y="577"/>
                    </a:lnTo>
                    <a:lnTo>
                      <a:pt x="85" y="577"/>
                    </a:lnTo>
                    <a:lnTo>
                      <a:pt x="87" y="575"/>
                    </a:lnTo>
                    <a:lnTo>
                      <a:pt x="85" y="575"/>
                    </a:lnTo>
                    <a:lnTo>
                      <a:pt x="87" y="573"/>
                    </a:lnTo>
                    <a:lnTo>
                      <a:pt x="85" y="573"/>
                    </a:lnTo>
                    <a:lnTo>
                      <a:pt x="87" y="571"/>
                    </a:lnTo>
                    <a:lnTo>
                      <a:pt x="87" y="570"/>
                    </a:lnTo>
                    <a:lnTo>
                      <a:pt x="87" y="571"/>
                    </a:lnTo>
                    <a:lnTo>
                      <a:pt x="88" y="571"/>
                    </a:lnTo>
                    <a:lnTo>
                      <a:pt x="90" y="571"/>
                    </a:lnTo>
                    <a:lnTo>
                      <a:pt x="90" y="570"/>
                    </a:lnTo>
                    <a:lnTo>
                      <a:pt x="92" y="570"/>
                    </a:lnTo>
                    <a:lnTo>
                      <a:pt x="92" y="568"/>
                    </a:lnTo>
                    <a:lnTo>
                      <a:pt x="92" y="566"/>
                    </a:lnTo>
                    <a:lnTo>
                      <a:pt x="92" y="568"/>
                    </a:lnTo>
                    <a:lnTo>
                      <a:pt x="94" y="568"/>
                    </a:lnTo>
                    <a:lnTo>
                      <a:pt x="94" y="566"/>
                    </a:lnTo>
                    <a:lnTo>
                      <a:pt x="94" y="568"/>
                    </a:lnTo>
                    <a:lnTo>
                      <a:pt x="95" y="568"/>
                    </a:lnTo>
                    <a:lnTo>
                      <a:pt x="97" y="568"/>
                    </a:lnTo>
                    <a:lnTo>
                      <a:pt x="99" y="568"/>
                    </a:lnTo>
                    <a:lnTo>
                      <a:pt x="99" y="566"/>
                    </a:lnTo>
                    <a:lnTo>
                      <a:pt x="97" y="566"/>
                    </a:lnTo>
                    <a:lnTo>
                      <a:pt x="97" y="565"/>
                    </a:lnTo>
                    <a:lnTo>
                      <a:pt x="99" y="563"/>
                    </a:lnTo>
                    <a:lnTo>
                      <a:pt x="97" y="561"/>
                    </a:lnTo>
                    <a:lnTo>
                      <a:pt x="99" y="561"/>
                    </a:lnTo>
                    <a:lnTo>
                      <a:pt x="100" y="561"/>
                    </a:lnTo>
                    <a:lnTo>
                      <a:pt x="100" y="560"/>
                    </a:lnTo>
                    <a:lnTo>
                      <a:pt x="100" y="558"/>
                    </a:lnTo>
                    <a:lnTo>
                      <a:pt x="102" y="558"/>
                    </a:lnTo>
                    <a:lnTo>
                      <a:pt x="102" y="556"/>
                    </a:lnTo>
                    <a:lnTo>
                      <a:pt x="104" y="556"/>
                    </a:lnTo>
                    <a:lnTo>
                      <a:pt x="104" y="558"/>
                    </a:lnTo>
                    <a:lnTo>
                      <a:pt x="105" y="558"/>
                    </a:lnTo>
                    <a:lnTo>
                      <a:pt x="107" y="558"/>
                    </a:lnTo>
                    <a:lnTo>
                      <a:pt x="107" y="556"/>
                    </a:lnTo>
                    <a:lnTo>
                      <a:pt x="107" y="554"/>
                    </a:lnTo>
                    <a:lnTo>
                      <a:pt x="107" y="553"/>
                    </a:lnTo>
                    <a:lnTo>
                      <a:pt x="109" y="553"/>
                    </a:lnTo>
                    <a:lnTo>
                      <a:pt x="109" y="551"/>
                    </a:lnTo>
                    <a:lnTo>
                      <a:pt x="109" y="549"/>
                    </a:lnTo>
                    <a:lnTo>
                      <a:pt x="107" y="549"/>
                    </a:lnTo>
                    <a:lnTo>
                      <a:pt x="109" y="548"/>
                    </a:lnTo>
                    <a:lnTo>
                      <a:pt x="107" y="548"/>
                    </a:lnTo>
                    <a:lnTo>
                      <a:pt x="107" y="546"/>
                    </a:lnTo>
                    <a:lnTo>
                      <a:pt x="107" y="544"/>
                    </a:lnTo>
                    <a:lnTo>
                      <a:pt x="109" y="544"/>
                    </a:lnTo>
                    <a:lnTo>
                      <a:pt x="111" y="544"/>
                    </a:lnTo>
                    <a:lnTo>
                      <a:pt x="111" y="543"/>
                    </a:lnTo>
                    <a:lnTo>
                      <a:pt x="109" y="543"/>
                    </a:lnTo>
                    <a:lnTo>
                      <a:pt x="109" y="541"/>
                    </a:lnTo>
                    <a:lnTo>
                      <a:pt x="109" y="539"/>
                    </a:lnTo>
                    <a:lnTo>
                      <a:pt x="109" y="537"/>
                    </a:lnTo>
                    <a:lnTo>
                      <a:pt x="107" y="537"/>
                    </a:lnTo>
                    <a:lnTo>
                      <a:pt x="107" y="536"/>
                    </a:lnTo>
                    <a:lnTo>
                      <a:pt x="109" y="534"/>
                    </a:lnTo>
                    <a:lnTo>
                      <a:pt x="107" y="532"/>
                    </a:lnTo>
                    <a:lnTo>
                      <a:pt x="107" y="531"/>
                    </a:lnTo>
                    <a:lnTo>
                      <a:pt x="109" y="531"/>
                    </a:lnTo>
                    <a:lnTo>
                      <a:pt x="107" y="529"/>
                    </a:lnTo>
                    <a:lnTo>
                      <a:pt x="105" y="529"/>
                    </a:lnTo>
                    <a:lnTo>
                      <a:pt x="107" y="527"/>
                    </a:lnTo>
                    <a:lnTo>
                      <a:pt x="105" y="527"/>
                    </a:lnTo>
                    <a:lnTo>
                      <a:pt x="107" y="526"/>
                    </a:lnTo>
                    <a:lnTo>
                      <a:pt x="105" y="526"/>
                    </a:lnTo>
                    <a:lnTo>
                      <a:pt x="107" y="524"/>
                    </a:lnTo>
                    <a:lnTo>
                      <a:pt x="107" y="522"/>
                    </a:lnTo>
                    <a:lnTo>
                      <a:pt x="105" y="522"/>
                    </a:lnTo>
                    <a:lnTo>
                      <a:pt x="104" y="522"/>
                    </a:lnTo>
                    <a:lnTo>
                      <a:pt x="102" y="522"/>
                    </a:lnTo>
                    <a:lnTo>
                      <a:pt x="102" y="520"/>
                    </a:lnTo>
                    <a:lnTo>
                      <a:pt x="102" y="519"/>
                    </a:lnTo>
                    <a:lnTo>
                      <a:pt x="102" y="517"/>
                    </a:lnTo>
                    <a:lnTo>
                      <a:pt x="104" y="517"/>
                    </a:lnTo>
                    <a:lnTo>
                      <a:pt x="105" y="517"/>
                    </a:lnTo>
                    <a:lnTo>
                      <a:pt x="107" y="517"/>
                    </a:lnTo>
                    <a:lnTo>
                      <a:pt x="109" y="517"/>
                    </a:lnTo>
                    <a:lnTo>
                      <a:pt x="109" y="515"/>
                    </a:lnTo>
                    <a:lnTo>
                      <a:pt x="109" y="514"/>
                    </a:lnTo>
                    <a:lnTo>
                      <a:pt x="109" y="512"/>
                    </a:lnTo>
                    <a:lnTo>
                      <a:pt x="109" y="510"/>
                    </a:lnTo>
                    <a:lnTo>
                      <a:pt x="109" y="509"/>
                    </a:lnTo>
                    <a:lnTo>
                      <a:pt x="111" y="509"/>
                    </a:lnTo>
                    <a:lnTo>
                      <a:pt x="111" y="507"/>
                    </a:lnTo>
                    <a:lnTo>
                      <a:pt x="111" y="505"/>
                    </a:lnTo>
                    <a:lnTo>
                      <a:pt x="112" y="503"/>
                    </a:lnTo>
                    <a:lnTo>
                      <a:pt x="112" y="502"/>
                    </a:lnTo>
                    <a:lnTo>
                      <a:pt x="112" y="500"/>
                    </a:lnTo>
                    <a:lnTo>
                      <a:pt x="111" y="500"/>
                    </a:lnTo>
                    <a:lnTo>
                      <a:pt x="111" y="498"/>
                    </a:lnTo>
                    <a:lnTo>
                      <a:pt x="112" y="498"/>
                    </a:lnTo>
                    <a:lnTo>
                      <a:pt x="112" y="497"/>
                    </a:lnTo>
                    <a:lnTo>
                      <a:pt x="114" y="497"/>
                    </a:lnTo>
                    <a:lnTo>
                      <a:pt x="114" y="495"/>
                    </a:lnTo>
                    <a:lnTo>
                      <a:pt x="114" y="493"/>
                    </a:lnTo>
                    <a:lnTo>
                      <a:pt x="116" y="491"/>
                    </a:lnTo>
                    <a:lnTo>
                      <a:pt x="116" y="490"/>
                    </a:lnTo>
                    <a:lnTo>
                      <a:pt x="117" y="488"/>
                    </a:lnTo>
                    <a:lnTo>
                      <a:pt x="119" y="488"/>
                    </a:lnTo>
                    <a:lnTo>
                      <a:pt x="119" y="486"/>
                    </a:lnTo>
                    <a:lnTo>
                      <a:pt x="121" y="485"/>
                    </a:lnTo>
                    <a:lnTo>
                      <a:pt x="121" y="483"/>
                    </a:lnTo>
                    <a:lnTo>
                      <a:pt x="121" y="481"/>
                    </a:lnTo>
                    <a:lnTo>
                      <a:pt x="121" y="480"/>
                    </a:lnTo>
                    <a:lnTo>
                      <a:pt x="122" y="480"/>
                    </a:lnTo>
                    <a:lnTo>
                      <a:pt x="122" y="478"/>
                    </a:lnTo>
                    <a:lnTo>
                      <a:pt x="122" y="480"/>
                    </a:lnTo>
                    <a:lnTo>
                      <a:pt x="124" y="480"/>
                    </a:lnTo>
                    <a:lnTo>
                      <a:pt x="126" y="480"/>
                    </a:lnTo>
                    <a:lnTo>
                      <a:pt x="126" y="478"/>
                    </a:lnTo>
                    <a:lnTo>
                      <a:pt x="128" y="478"/>
                    </a:lnTo>
                    <a:lnTo>
                      <a:pt x="128" y="476"/>
                    </a:lnTo>
                    <a:lnTo>
                      <a:pt x="128" y="474"/>
                    </a:lnTo>
                    <a:lnTo>
                      <a:pt x="126" y="474"/>
                    </a:lnTo>
                    <a:lnTo>
                      <a:pt x="126" y="473"/>
                    </a:lnTo>
                    <a:lnTo>
                      <a:pt x="128" y="471"/>
                    </a:lnTo>
                    <a:lnTo>
                      <a:pt x="126" y="471"/>
                    </a:lnTo>
                    <a:lnTo>
                      <a:pt x="126" y="469"/>
                    </a:lnTo>
                    <a:lnTo>
                      <a:pt x="128" y="469"/>
                    </a:lnTo>
                    <a:lnTo>
                      <a:pt x="126" y="468"/>
                    </a:lnTo>
                    <a:lnTo>
                      <a:pt x="126" y="466"/>
                    </a:lnTo>
                    <a:lnTo>
                      <a:pt x="126" y="468"/>
                    </a:lnTo>
                    <a:lnTo>
                      <a:pt x="124" y="466"/>
                    </a:lnTo>
                    <a:lnTo>
                      <a:pt x="124" y="464"/>
                    </a:lnTo>
                    <a:lnTo>
                      <a:pt x="126" y="464"/>
                    </a:lnTo>
                    <a:lnTo>
                      <a:pt x="126" y="463"/>
                    </a:lnTo>
                    <a:lnTo>
                      <a:pt x="124" y="463"/>
                    </a:lnTo>
                    <a:lnTo>
                      <a:pt x="124" y="461"/>
                    </a:lnTo>
                    <a:lnTo>
                      <a:pt x="124" y="459"/>
                    </a:lnTo>
                    <a:lnTo>
                      <a:pt x="124" y="457"/>
                    </a:lnTo>
                    <a:lnTo>
                      <a:pt x="126" y="457"/>
                    </a:lnTo>
                    <a:lnTo>
                      <a:pt x="126" y="456"/>
                    </a:lnTo>
                    <a:lnTo>
                      <a:pt x="126" y="454"/>
                    </a:lnTo>
                    <a:lnTo>
                      <a:pt x="126" y="452"/>
                    </a:lnTo>
                    <a:lnTo>
                      <a:pt x="126" y="451"/>
                    </a:lnTo>
                    <a:lnTo>
                      <a:pt x="126" y="449"/>
                    </a:lnTo>
                    <a:lnTo>
                      <a:pt x="128" y="449"/>
                    </a:lnTo>
                    <a:lnTo>
                      <a:pt x="128" y="447"/>
                    </a:lnTo>
                    <a:lnTo>
                      <a:pt x="128" y="446"/>
                    </a:lnTo>
                    <a:lnTo>
                      <a:pt x="128" y="444"/>
                    </a:lnTo>
                    <a:lnTo>
                      <a:pt x="129" y="444"/>
                    </a:lnTo>
                    <a:lnTo>
                      <a:pt x="129" y="442"/>
                    </a:lnTo>
                    <a:lnTo>
                      <a:pt x="129" y="440"/>
                    </a:lnTo>
                    <a:lnTo>
                      <a:pt x="128" y="440"/>
                    </a:lnTo>
                    <a:lnTo>
                      <a:pt x="128" y="439"/>
                    </a:lnTo>
                    <a:lnTo>
                      <a:pt x="126" y="439"/>
                    </a:lnTo>
                    <a:lnTo>
                      <a:pt x="124" y="439"/>
                    </a:lnTo>
                    <a:lnTo>
                      <a:pt x="124" y="437"/>
                    </a:lnTo>
                    <a:lnTo>
                      <a:pt x="124" y="439"/>
                    </a:lnTo>
                    <a:lnTo>
                      <a:pt x="122" y="439"/>
                    </a:lnTo>
                    <a:lnTo>
                      <a:pt x="122" y="440"/>
                    </a:lnTo>
                    <a:lnTo>
                      <a:pt x="121" y="440"/>
                    </a:lnTo>
                    <a:lnTo>
                      <a:pt x="121" y="439"/>
                    </a:lnTo>
                    <a:lnTo>
                      <a:pt x="121" y="437"/>
                    </a:lnTo>
                    <a:lnTo>
                      <a:pt x="119" y="437"/>
                    </a:lnTo>
                    <a:lnTo>
                      <a:pt x="119" y="435"/>
                    </a:lnTo>
                    <a:lnTo>
                      <a:pt x="119" y="434"/>
                    </a:lnTo>
                    <a:lnTo>
                      <a:pt x="119" y="432"/>
                    </a:lnTo>
                    <a:lnTo>
                      <a:pt x="119" y="430"/>
                    </a:lnTo>
                    <a:lnTo>
                      <a:pt x="117" y="430"/>
                    </a:lnTo>
                    <a:lnTo>
                      <a:pt x="119" y="429"/>
                    </a:lnTo>
                    <a:lnTo>
                      <a:pt x="121" y="429"/>
                    </a:lnTo>
                    <a:lnTo>
                      <a:pt x="121" y="427"/>
                    </a:lnTo>
                    <a:lnTo>
                      <a:pt x="122" y="427"/>
                    </a:lnTo>
                    <a:lnTo>
                      <a:pt x="121" y="427"/>
                    </a:lnTo>
                    <a:lnTo>
                      <a:pt x="121" y="425"/>
                    </a:lnTo>
                    <a:lnTo>
                      <a:pt x="121" y="423"/>
                    </a:lnTo>
                    <a:lnTo>
                      <a:pt x="119" y="422"/>
                    </a:lnTo>
                    <a:lnTo>
                      <a:pt x="119" y="420"/>
                    </a:lnTo>
                    <a:lnTo>
                      <a:pt x="117" y="420"/>
                    </a:lnTo>
                    <a:lnTo>
                      <a:pt x="117" y="418"/>
                    </a:lnTo>
                    <a:lnTo>
                      <a:pt x="117" y="417"/>
                    </a:lnTo>
                    <a:lnTo>
                      <a:pt x="116" y="417"/>
                    </a:lnTo>
                    <a:lnTo>
                      <a:pt x="116" y="415"/>
                    </a:lnTo>
                    <a:lnTo>
                      <a:pt x="116" y="413"/>
                    </a:lnTo>
                    <a:lnTo>
                      <a:pt x="116" y="412"/>
                    </a:lnTo>
                    <a:lnTo>
                      <a:pt x="117" y="410"/>
                    </a:lnTo>
                    <a:lnTo>
                      <a:pt x="117" y="408"/>
                    </a:lnTo>
                    <a:lnTo>
                      <a:pt x="116" y="408"/>
                    </a:lnTo>
                    <a:lnTo>
                      <a:pt x="117" y="406"/>
                    </a:lnTo>
                    <a:lnTo>
                      <a:pt x="116" y="406"/>
                    </a:lnTo>
                    <a:lnTo>
                      <a:pt x="114" y="405"/>
                    </a:lnTo>
                    <a:lnTo>
                      <a:pt x="114" y="403"/>
                    </a:lnTo>
                    <a:lnTo>
                      <a:pt x="114" y="401"/>
                    </a:lnTo>
                    <a:lnTo>
                      <a:pt x="114" y="400"/>
                    </a:lnTo>
                    <a:lnTo>
                      <a:pt x="112" y="400"/>
                    </a:lnTo>
                    <a:lnTo>
                      <a:pt x="111" y="398"/>
                    </a:lnTo>
                    <a:lnTo>
                      <a:pt x="111" y="396"/>
                    </a:lnTo>
                    <a:lnTo>
                      <a:pt x="111" y="395"/>
                    </a:lnTo>
                    <a:lnTo>
                      <a:pt x="111" y="393"/>
                    </a:lnTo>
                    <a:lnTo>
                      <a:pt x="111" y="391"/>
                    </a:lnTo>
                    <a:lnTo>
                      <a:pt x="109" y="391"/>
                    </a:lnTo>
                    <a:lnTo>
                      <a:pt x="111" y="391"/>
                    </a:lnTo>
                    <a:lnTo>
                      <a:pt x="109" y="389"/>
                    </a:lnTo>
                    <a:lnTo>
                      <a:pt x="109" y="388"/>
                    </a:lnTo>
                    <a:lnTo>
                      <a:pt x="111" y="389"/>
                    </a:lnTo>
                    <a:lnTo>
                      <a:pt x="112" y="389"/>
                    </a:lnTo>
                    <a:lnTo>
                      <a:pt x="112" y="388"/>
                    </a:lnTo>
                    <a:lnTo>
                      <a:pt x="114" y="386"/>
                    </a:lnTo>
                    <a:lnTo>
                      <a:pt x="114" y="384"/>
                    </a:lnTo>
                    <a:lnTo>
                      <a:pt x="112" y="384"/>
                    </a:lnTo>
                    <a:lnTo>
                      <a:pt x="112" y="383"/>
                    </a:lnTo>
                    <a:lnTo>
                      <a:pt x="111" y="383"/>
                    </a:lnTo>
                    <a:lnTo>
                      <a:pt x="109" y="383"/>
                    </a:lnTo>
                    <a:lnTo>
                      <a:pt x="107" y="383"/>
                    </a:lnTo>
                    <a:lnTo>
                      <a:pt x="105" y="381"/>
                    </a:lnTo>
                    <a:lnTo>
                      <a:pt x="105" y="379"/>
                    </a:lnTo>
                    <a:lnTo>
                      <a:pt x="105" y="378"/>
                    </a:lnTo>
                    <a:lnTo>
                      <a:pt x="105" y="376"/>
                    </a:lnTo>
                    <a:lnTo>
                      <a:pt x="105" y="374"/>
                    </a:lnTo>
                    <a:lnTo>
                      <a:pt x="104" y="374"/>
                    </a:lnTo>
                    <a:lnTo>
                      <a:pt x="104" y="372"/>
                    </a:lnTo>
                    <a:lnTo>
                      <a:pt x="102" y="372"/>
                    </a:lnTo>
                    <a:lnTo>
                      <a:pt x="102" y="371"/>
                    </a:lnTo>
                    <a:lnTo>
                      <a:pt x="102" y="369"/>
                    </a:lnTo>
                    <a:lnTo>
                      <a:pt x="102" y="367"/>
                    </a:lnTo>
                    <a:lnTo>
                      <a:pt x="102" y="366"/>
                    </a:lnTo>
                    <a:lnTo>
                      <a:pt x="102" y="364"/>
                    </a:lnTo>
                    <a:lnTo>
                      <a:pt x="104" y="364"/>
                    </a:lnTo>
                    <a:lnTo>
                      <a:pt x="104" y="362"/>
                    </a:lnTo>
                    <a:lnTo>
                      <a:pt x="104" y="361"/>
                    </a:lnTo>
                    <a:lnTo>
                      <a:pt x="102" y="361"/>
                    </a:lnTo>
                    <a:lnTo>
                      <a:pt x="104" y="359"/>
                    </a:lnTo>
                    <a:lnTo>
                      <a:pt x="104" y="357"/>
                    </a:lnTo>
                    <a:lnTo>
                      <a:pt x="104" y="355"/>
                    </a:lnTo>
                    <a:lnTo>
                      <a:pt x="104" y="354"/>
                    </a:lnTo>
                    <a:lnTo>
                      <a:pt x="104" y="352"/>
                    </a:lnTo>
                    <a:lnTo>
                      <a:pt x="105" y="352"/>
                    </a:lnTo>
                    <a:lnTo>
                      <a:pt x="105" y="350"/>
                    </a:lnTo>
                    <a:lnTo>
                      <a:pt x="105" y="352"/>
                    </a:lnTo>
                    <a:lnTo>
                      <a:pt x="107" y="352"/>
                    </a:lnTo>
                    <a:lnTo>
                      <a:pt x="107" y="354"/>
                    </a:lnTo>
                    <a:lnTo>
                      <a:pt x="107" y="355"/>
                    </a:lnTo>
                    <a:lnTo>
                      <a:pt x="109" y="354"/>
                    </a:lnTo>
                    <a:lnTo>
                      <a:pt x="109" y="352"/>
                    </a:lnTo>
                    <a:lnTo>
                      <a:pt x="109" y="350"/>
                    </a:lnTo>
                    <a:lnTo>
                      <a:pt x="111" y="350"/>
                    </a:lnTo>
                    <a:lnTo>
                      <a:pt x="112" y="350"/>
                    </a:lnTo>
                    <a:lnTo>
                      <a:pt x="112" y="349"/>
                    </a:lnTo>
                    <a:lnTo>
                      <a:pt x="111" y="349"/>
                    </a:lnTo>
                    <a:lnTo>
                      <a:pt x="111" y="347"/>
                    </a:lnTo>
                    <a:lnTo>
                      <a:pt x="111" y="345"/>
                    </a:lnTo>
                    <a:lnTo>
                      <a:pt x="111" y="344"/>
                    </a:lnTo>
                    <a:lnTo>
                      <a:pt x="111" y="342"/>
                    </a:lnTo>
                    <a:lnTo>
                      <a:pt x="112" y="342"/>
                    </a:lnTo>
                    <a:lnTo>
                      <a:pt x="112" y="340"/>
                    </a:lnTo>
                    <a:lnTo>
                      <a:pt x="112" y="338"/>
                    </a:lnTo>
                    <a:lnTo>
                      <a:pt x="112" y="337"/>
                    </a:lnTo>
                    <a:lnTo>
                      <a:pt x="112" y="335"/>
                    </a:lnTo>
                    <a:lnTo>
                      <a:pt x="114" y="335"/>
                    </a:lnTo>
                    <a:lnTo>
                      <a:pt x="112" y="335"/>
                    </a:lnTo>
                    <a:lnTo>
                      <a:pt x="112" y="333"/>
                    </a:lnTo>
                    <a:lnTo>
                      <a:pt x="114" y="333"/>
                    </a:lnTo>
                    <a:lnTo>
                      <a:pt x="114" y="332"/>
                    </a:lnTo>
                    <a:lnTo>
                      <a:pt x="114" y="330"/>
                    </a:lnTo>
                    <a:lnTo>
                      <a:pt x="116" y="328"/>
                    </a:lnTo>
                    <a:lnTo>
                      <a:pt x="114" y="328"/>
                    </a:lnTo>
                    <a:lnTo>
                      <a:pt x="116" y="328"/>
                    </a:lnTo>
                    <a:lnTo>
                      <a:pt x="116" y="326"/>
                    </a:lnTo>
                    <a:lnTo>
                      <a:pt x="117" y="326"/>
                    </a:lnTo>
                    <a:lnTo>
                      <a:pt x="117" y="325"/>
                    </a:lnTo>
                    <a:lnTo>
                      <a:pt x="116" y="323"/>
                    </a:lnTo>
                    <a:lnTo>
                      <a:pt x="117" y="321"/>
                    </a:lnTo>
                    <a:lnTo>
                      <a:pt x="117" y="323"/>
                    </a:lnTo>
                    <a:lnTo>
                      <a:pt x="119" y="323"/>
                    </a:lnTo>
                    <a:lnTo>
                      <a:pt x="119" y="325"/>
                    </a:lnTo>
                    <a:lnTo>
                      <a:pt x="121" y="325"/>
                    </a:lnTo>
                    <a:lnTo>
                      <a:pt x="121" y="323"/>
                    </a:lnTo>
                    <a:lnTo>
                      <a:pt x="122" y="323"/>
                    </a:lnTo>
                    <a:lnTo>
                      <a:pt x="124" y="323"/>
                    </a:lnTo>
                    <a:lnTo>
                      <a:pt x="124" y="321"/>
                    </a:lnTo>
                    <a:lnTo>
                      <a:pt x="124" y="320"/>
                    </a:lnTo>
                    <a:lnTo>
                      <a:pt x="126" y="320"/>
                    </a:lnTo>
                    <a:lnTo>
                      <a:pt x="126" y="318"/>
                    </a:lnTo>
                    <a:lnTo>
                      <a:pt x="126" y="316"/>
                    </a:lnTo>
                    <a:lnTo>
                      <a:pt x="126" y="318"/>
                    </a:lnTo>
                    <a:lnTo>
                      <a:pt x="128" y="318"/>
                    </a:lnTo>
                    <a:lnTo>
                      <a:pt x="128" y="316"/>
                    </a:lnTo>
                    <a:lnTo>
                      <a:pt x="128" y="315"/>
                    </a:lnTo>
                    <a:lnTo>
                      <a:pt x="126" y="315"/>
                    </a:lnTo>
                    <a:lnTo>
                      <a:pt x="126" y="313"/>
                    </a:lnTo>
                    <a:lnTo>
                      <a:pt x="124" y="313"/>
                    </a:lnTo>
                    <a:lnTo>
                      <a:pt x="122" y="313"/>
                    </a:lnTo>
                    <a:lnTo>
                      <a:pt x="122" y="311"/>
                    </a:lnTo>
                    <a:lnTo>
                      <a:pt x="124" y="311"/>
                    </a:lnTo>
                    <a:lnTo>
                      <a:pt x="124" y="309"/>
                    </a:lnTo>
                    <a:lnTo>
                      <a:pt x="124" y="308"/>
                    </a:lnTo>
                    <a:lnTo>
                      <a:pt x="124" y="306"/>
                    </a:lnTo>
                    <a:lnTo>
                      <a:pt x="126" y="304"/>
                    </a:lnTo>
                    <a:lnTo>
                      <a:pt x="124" y="304"/>
                    </a:lnTo>
                    <a:lnTo>
                      <a:pt x="126" y="303"/>
                    </a:lnTo>
                    <a:lnTo>
                      <a:pt x="124" y="303"/>
                    </a:lnTo>
                    <a:lnTo>
                      <a:pt x="124" y="301"/>
                    </a:lnTo>
                    <a:lnTo>
                      <a:pt x="124" y="299"/>
                    </a:lnTo>
                    <a:lnTo>
                      <a:pt x="126" y="299"/>
                    </a:lnTo>
                    <a:lnTo>
                      <a:pt x="126" y="298"/>
                    </a:lnTo>
                    <a:lnTo>
                      <a:pt x="124" y="298"/>
                    </a:lnTo>
                    <a:lnTo>
                      <a:pt x="124" y="296"/>
                    </a:lnTo>
                    <a:lnTo>
                      <a:pt x="122" y="296"/>
                    </a:lnTo>
                    <a:lnTo>
                      <a:pt x="122" y="294"/>
                    </a:lnTo>
                    <a:lnTo>
                      <a:pt x="124" y="294"/>
                    </a:lnTo>
                    <a:lnTo>
                      <a:pt x="122" y="294"/>
                    </a:lnTo>
                    <a:lnTo>
                      <a:pt x="124" y="292"/>
                    </a:lnTo>
                    <a:lnTo>
                      <a:pt x="122" y="292"/>
                    </a:lnTo>
                    <a:lnTo>
                      <a:pt x="124" y="291"/>
                    </a:lnTo>
                    <a:lnTo>
                      <a:pt x="122" y="291"/>
                    </a:lnTo>
                    <a:lnTo>
                      <a:pt x="122" y="289"/>
                    </a:lnTo>
                    <a:lnTo>
                      <a:pt x="122" y="287"/>
                    </a:lnTo>
                    <a:lnTo>
                      <a:pt x="122" y="286"/>
                    </a:lnTo>
                    <a:lnTo>
                      <a:pt x="121" y="286"/>
                    </a:lnTo>
                    <a:lnTo>
                      <a:pt x="121" y="284"/>
                    </a:lnTo>
                    <a:lnTo>
                      <a:pt x="121" y="282"/>
                    </a:lnTo>
                    <a:lnTo>
                      <a:pt x="121" y="281"/>
                    </a:lnTo>
                    <a:lnTo>
                      <a:pt x="122" y="281"/>
                    </a:lnTo>
                    <a:lnTo>
                      <a:pt x="122" y="279"/>
                    </a:lnTo>
                    <a:lnTo>
                      <a:pt x="122" y="277"/>
                    </a:lnTo>
                    <a:lnTo>
                      <a:pt x="124" y="277"/>
                    </a:lnTo>
                    <a:lnTo>
                      <a:pt x="124" y="275"/>
                    </a:lnTo>
                    <a:lnTo>
                      <a:pt x="126" y="275"/>
                    </a:lnTo>
                    <a:lnTo>
                      <a:pt x="128" y="275"/>
                    </a:lnTo>
                    <a:lnTo>
                      <a:pt x="128" y="274"/>
                    </a:lnTo>
                    <a:lnTo>
                      <a:pt x="129" y="274"/>
                    </a:lnTo>
                    <a:lnTo>
                      <a:pt x="128" y="274"/>
                    </a:lnTo>
                    <a:lnTo>
                      <a:pt x="128" y="272"/>
                    </a:lnTo>
                    <a:lnTo>
                      <a:pt x="129" y="272"/>
                    </a:lnTo>
                    <a:lnTo>
                      <a:pt x="128" y="270"/>
                    </a:lnTo>
                    <a:lnTo>
                      <a:pt x="129" y="270"/>
                    </a:lnTo>
                    <a:lnTo>
                      <a:pt x="129" y="269"/>
                    </a:lnTo>
                    <a:lnTo>
                      <a:pt x="129" y="267"/>
                    </a:lnTo>
                    <a:lnTo>
                      <a:pt x="129" y="265"/>
                    </a:lnTo>
                    <a:lnTo>
                      <a:pt x="129" y="264"/>
                    </a:lnTo>
                    <a:lnTo>
                      <a:pt x="131" y="264"/>
                    </a:lnTo>
                    <a:lnTo>
                      <a:pt x="131" y="262"/>
                    </a:lnTo>
                    <a:lnTo>
                      <a:pt x="131" y="260"/>
                    </a:lnTo>
                    <a:lnTo>
                      <a:pt x="131" y="258"/>
                    </a:lnTo>
                    <a:lnTo>
                      <a:pt x="131" y="257"/>
                    </a:lnTo>
                    <a:lnTo>
                      <a:pt x="131" y="255"/>
                    </a:lnTo>
                    <a:lnTo>
                      <a:pt x="133" y="255"/>
                    </a:lnTo>
                    <a:lnTo>
                      <a:pt x="131" y="253"/>
                    </a:lnTo>
                    <a:lnTo>
                      <a:pt x="133" y="253"/>
                    </a:lnTo>
                    <a:lnTo>
                      <a:pt x="133" y="252"/>
                    </a:lnTo>
                    <a:lnTo>
                      <a:pt x="133" y="250"/>
                    </a:lnTo>
                    <a:lnTo>
                      <a:pt x="133" y="248"/>
                    </a:lnTo>
                    <a:lnTo>
                      <a:pt x="134" y="248"/>
                    </a:lnTo>
                    <a:lnTo>
                      <a:pt x="133" y="248"/>
                    </a:lnTo>
                    <a:lnTo>
                      <a:pt x="133" y="247"/>
                    </a:lnTo>
                    <a:lnTo>
                      <a:pt x="134" y="247"/>
                    </a:lnTo>
                    <a:lnTo>
                      <a:pt x="136" y="247"/>
                    </a:lnTo>
                    <a:lnTo>
                      <a:pt x="134" y="245"/>
                    </a:lnTo>
                    <a:lnTo>
                      <a:pt x="136" y="245"/>
                    </a:lnTo>
                    <a:lnTo>
                      <a:pt x="138" y="245"/>
                    </a:lnTo>
                    <a:lnTo>
                      <a:pt x="138" y="243"/>
                    </a:lnTo>
                    <a:lnTo>
                      <a:pt x="138" y="241"/>
                    </a:lnTo>
                    <a:lnTo>
                      <a:pt x="139" y="241"/>
                    </a:lnTo>
                    <a:lnTo>
                      <a:pt x="139" y="240"/>
                    </a:lnTo>
                    <a:lnTo>
                      <a:pt x="139" y="238"/>
                    </a:lnTo>
                    <a:lnTo>
                      <a:pt x="141" y="240"/>
                    </a:lnTo>
                    <a:lnTo>
                      <a:pt x="143" y="240"/>
                    </a:lnTo>
                    <a:lnTo>
                      <a:pt x="143" y="238"/>
                    </a:lnTo>
                    <a:lnTo>
                      <a:pt x="145" y="236"/>
                    </a:lnTo>
                    <a:lnTo>
                      <a:pt x="145" y="235"/>
                    </a:lnTo>
                    <a:lnTo>
                      <a:pt x="146" y="233"/>
                    </a:lnTo>
                    <a:lnTo>
                      <a:pt x="146" y="231"/>
                    </a:lnTo>
                    <a:lnTo>
                      <a:pt x="148" y="230"/>
                    </a:lnTo>
                    <a:lnTo>
                      <a:pt x="150" y="231"/>
                    </a:lnTo>
                    <a:lnTo>
                      <a:pt x="150" y="230"/>
                    </a:lnTo>
                    <a:lnTo>
                      <a:pt x="150" y="228"/>
                    </a:lnTo>
                    <a:lnTo>
                      <a:pt x="151" y="228"/>
                    </a:lnTo>
                    <a:lnTo>
                      <a:pt x="151" y="226"/>
                    </a:lnTo>
                    <a:lnTo>
                      <a:pt x="151" y="224"/>
                    </a:lnTo>
                    <a:lnTo>
                      <a:pt x="151" y="223"/>
                    </a:lnTo>
                    <a:lnTo>
                      <a:pt x="151" y="221"/>
                    </a:lnTo>
                    <a:lnTo>
                      <a:pt x="153" y="221"/>
                    </a:lnTo>
                    <a:lnTo>
                      <a:pt x="153" y="219"/>
                    </a:lnTo>
                    <a:lnTo>
                      <a:pt x="153" y="218"/>
                    </a:lnTo>
                    <a:lnTo>
                      <a:pt x="153" y="216"/>
                    </a:lnTo>
                    <a:lnTo>
                      <a:pt x="155" y="216"/>
                    </a:lnTo>
                    <a:lnTo>
                      <a:pt x="156" y="214"/>
                    </a:lnTo>
                    <a:lnTo>
                      <a:pt x="155" y="214"/>
                    </a:lnTo>
                    <a:lnTo>
                      <a:pt x="156" y="214"/>
                    </a:lnTo>
                    <a:lnTo>
                      <a:pt x="156" y="213"/>
                    </a:lnTo>
                    <a:lnTo>
                      <a:pt x="156" y="211"/>
                    </a:lnTo>
                    <a:lnTo>
                      <a:pt x="155" y="211"/>
                    </a:lnTo>
                    <a:lnTo>
                      <a:pt x="156" y="211"/>
                    </a:lnTo>
                    <a:lnTo>
                      <a:pt x="156" y="209"/>
                    </a:lnTo>
                    <a:lnTo>
                      <a:pt x="156" y="211"/>
                    </a:lnTo>
                    <a:lnTo>
                      <a:pt x="158" y="209"/>
                    </a:lnTo>
                    <a:lnTo>
                      <a:pt x="156" y="209"/>
                    </a:lnTo>
                    <a:lnTo>
                      <a:pt x="158" y="209"/>
                    </a:lnTo>
                    <a:lnTo>
                      <a:pt x="158" y="207"/>
                    </a:lnTo>
                    <a:lnTo>
                      <a:pt x="158" y="206"/>
                    </a:lnTo>
                    <a:lnTo>
                      <a:pt x="160" y="206"/>
                    </a:lnTo>
                    <a:lnTo>
                      <a:pt x="160" y="204"/>
                    </a:lnTo>
                    <a:lnTo>
                      <a:pt x="162" y="204"/>
                    </a:lnTo>
                    <a:lnTo>
                      <a:pt x="160" y="204"/>
                    </a:lnTo>
                    <a:lnTo>
                      <a:pt x="160" y="202"/>
                    </a:lnTo>
                    <a:lnTo>
                      <a:pt x="160" y="201"/>
                    </a:lnTo>
                    <a:lnTo>
                      <a:pt x="160" y="199"/>
                    </a:lnTo>
                    <a:lnTo>
                      <a:pt x="162" y="199"/>
                    </a:lnTo>
                    <a:lnTo>
                      <a:pt x="162" y="197"/>
                    </a:lnTo>
                    <a:lnTo>
                      <a:pt x="163" y="197"/>
                    </a:lnTo>
                    <a:lnTo>
                      <a:pt x="165" y="197"/>
                    </a:lnTo>
                    <a:lnTo>
                      <a:pt x="167" y="197"/>
                    </a:lnTo>
                    <a:lnTo>
                      <a:pt x="167" y="199"/>
                    </a:lnTo>
                    <a:lnTo>
                      <a:pt x="168" y="201"/>
                    </a:lnTo>
                    <a:lnTo>
                      <a:pt x="168" y="199"/>
                    </a:lnTo>
                    <a:lnTo>
                      <a:pt x="170" y="201"/>
                    </a:lnTo>
                    <a:lnTo>
                      <a:pt x="170" y="199"/>
                    </a:lnTo>
                    <a:lnTo>
                      <a:pt x="170" y="197"/>
                    </a:lnTo>
                    <a:lnTo>
                      <a:pt x="172" y="199"/>
                    </a:lnTo>
                    <a:lnTo>
                      <a:pt x="173" y="197"/>
                    </a:lnTo>
                    <a:lnTo>
                      <a:pt x="172" y="196"/>
                    </a:lnTo>
                    <a:lnTo>
                      <a:pt x="173" y="197"/>
                    </a:lnTo>
                    <a:lnTo>
                      <a:pt x="173" y="196"/>
                    </a:lnTo>
                    <a:lnTo>
                      <a:pt x="175" y="196"/>
                    </a:lnTo>
                    <a:lnTo>
                      <a:pt x="177" y="196"/>
                    </a:lnTo>
                    <a:lnTo>
                      <a:pt x="179" y="196"/>
                    </a:lnTo>
                    <a:lnTo>
                      <a:pt x="179" y="194"/>
                    </a:lnTo>
                    <a:lnTo>
                      <a:pt x="179" y="192"/>
                    </a:lnTo>
                    <a:lnTo>
                      <a:pt x="179" y="190"/>
                    </a:lnTo>
                    <a:lnTo>
                      <a:pt x="180" y="190"/>
                    </a:lnTo>
                    <a:lnTo>
                      <a:pt x="179" y="190"/>
                    </a:lnTo>
                    <a:lnTo>
                      <a:pt x="179" y="189"/>
                    </a:lnTo>
                    <a:lnTo>
                      <a:pt x="177" y="187"/>
                    </a:lnTo>
                    <a:lnTo>
                      <a:pt x="177" y="185"/>
                    </a:lnTo>
                    <a:lnTo>
                      <a:pt x="175" y="185"/>
                    </a:lnTo>
                    <a:lnTo>
                      <a:pt x="173" y="182"/>
                    </a:lnTo>
                    <a:lnTo>
                      <a:pt x="173" y="180"/>
                    </a:lnTo>
                    <a:lnTo>
                      <a:pt x="172" y="180"/>
                    </a:lnTo>
                    <a:lnTo>
                      <a:pt x="172" y="178"/>
                    </a:lnTo>
                    <a:lnTo>
                      <a:pt x="170" y="177"/>
                    </a:lnTo>
                    <a:lnTo>
                      <a:pt x="170" y="175"/>
                    </a:lnTo>
                    <a:lnTo>
                      <a:pt x="168" y="173"/>
                    </a:lnTo>
                    <a:lnTo>
                      <a:pt x="168" y="172"/>
                    </a:lnTo>
                    <a:lnTo>
                      <a:pt x="170" y="170"/>
                    </a:lnTo>
                    <a:lnTo>
                      <a:pt x="170" y="167"/>
                    </a:lnTo>
                    <a:lnTo>
                      <a:pt x="172" y="165"/>
                    </a:lnTo>
                    <a:lnTo>
                      <a:pt x="173" y="163"/>
                    </a:lnTo>
                    <a:lnTo>
                      <a:pt x="175" y="163"/>
                    </a:lnTo>
                    <a:lnTo>
                      <a:pt x="175" y="160"/>
                    </a:lnTo>
                    <a:lnTo>
                      <a:pt x="175" y="156"/>
                    </a:lnTo>
                    <a:lnTo>
                      <a:pt x="175" y="155"/>
                    </a:lnTo>
                    <a:lnTo>
                      <a:pt x="173" y="151"/>
                    </a:lnTo>
                    <a:lnTo>
                      <a:pt x="173" y="146"/>
                    </a:lnTo>
                    <a:lnTo>
                      <a:pt x="172" y="144"/>
                    </a:lnTo>
                    <a:lnTo>
                      <a:pt x="172" y="143"/>
                    </a:lnTo>
                    <a:lnTo>
                      <a:pt x="170" y="143"/>
                    </a:lnTo>
                    <a:lnTo>
                      <a:pt x="170" y="141"/>
                    </a:lnTo>
                    <a:lnTo>
                      <a:pt x="172" y="139"/>
                    </a:lnTo>
                    <a:lnTo>
                      <a:pt x="170" y="139"/>
                    </a:lnTo>
                    <a:lnTo>
                      <a:pt x="170" y="138"/>
                    </a:lnTo>
                    <a:lnTo>
                      <a:pt x="170" y="136"/>
                    </a:lnTo>
                    <a:lnTo>
                      <a:pt x="168" y="134"/>
                    </a:lnTo>
                    <a:lnTo>
                      <a:pt x="170" y="134"/>
                    </a:lnTo>
                    <a:lnTo>
                      <a:pt x="170" y="133"/>
                    </a:lnTo>
                    <a:lnTo>
                      <a:pt x="172" y="133"/>
                    </a:lnTo>
                    <a:lnTo>
                      <a:pt x="172" y="131"/>
                    </a:lnTo>
                    <a:lnTo>
                      <a:pt x="170" y="131"/>
                    </a:lnTo>
                    <a:lnTo>
                      <a:pt x="170" y="129"/>
                    </a:lnTo>
                    <a:lnTo>
                      <a:pt x="170" y="127"/>
                    </a:lnTo>
                    <a:lnTo>
                      <a:pt x="172" y="127"/>
                    </a:lnTo>
                    <a:lnTo>
                      <a:pt x="172" y="126"/>
                    </a:lnTo>
                    <a:lnTo>
                      <a:pt x="172" y="124"/>
                    </a:lnTo>
                    <a:lnTo>
                      <a:pt x="173" y="122"/>
                    </a:lnTo>
                    <a:lnTo>
                      <a:pt x="175" y="122"/>
                    </a:lnTo>
                    <a:lnTo>
                      <a:pt x="175" y="124"/>
                    </a:lnTo>
                    <a:lnTo>
                      <a:pt x="175" y="122"/>
                    </a:lnTo>
                    <a:lnTo>
                      <a:pt x="177" y="122"/>
                    </a:lnTo>
                    <a:lnTo>
                      <a:pt x="177" y="121"/>
                    </a:lnTo>
                    <a:lnTo>
                      <a:pt x="177" y="119"/>
                    </a:lnTo>
                    <a:lnTo>
                      <a:pt x="175" y="119"/>
                    </a:lnTo>
                    <a:lnTo>
                      <a:pt x="175" y="117"/>
                    </a:lnTo>
                    <a:lnTo>
                      <a:pt x="173" y="117"/>
                    </a:lnTo>
                    <a:lnTo>
                      <a:pt x="173" y="116"/>
                    </a:lnTo>
                    <a:lnTo>
                      <a:pt x="173" y="114"/>
                    </a:lnTo>
                    <a:lnTo>
                      <a:pt x="172" y="114"/>
                    </a:lnTo>
                    <a:lnTo>
                      <a:pt x="170" y="112"/>
                    </a:lnTo>
                    <a:lnTo>
                      <a:pt x="170" y="110"/>
                    </a:lnTo>
                    <a:lnTo>
                      <a:pt x="170" y="109"/>
                    </a:lnTo>
                    <a:lnTo>
                      <a:pt x="170" y="107"/>
                    </a:lnTo>
                    <a:lnTo>
                      <a:pt x="172" y="107"/>
                    </a:lnTo>
                    <a:lnTo>
                      <a:pt x="172" y="105"/>
                    </a:lnTo>
                    <a:lnTo>
                      <a:pt x="172" y="104"/>
                    </a:lnTo>
                    <a:lnTo>
                      <a:pt x="173" y="104"/>
                    </a:lnTo>
                    <a:lnTo>
                      <a:pt x="173" y="102"/>
                    </a:lnTo>
                    <a:lnTo>
                      <a:pt x="175" y="102"/>
                    </a:lnTo>
                    <a:lnTo>
                      <a:pt x="175" y="100"/>
                    </a:lnTo>
                    <a:lnTo>
                      <a:pt x="175" y="99"/>
                    </a:lnTo>
                    <a:lnTo>
                      <a:pt x="177" y="99"/>
                    </a:lnTo>
                    <a:lnTo>
                      <a:pt x="177" y="100"/>
                    </a:lnTo>
                    <a:lnTo>
                      <a:pt x="179" y="99"/>
                    </a:lnTo>
                    <a:lnTo>
                      <a:pt x="179" y="97"/>
                    </a:lnTo>
                    <a:lnTo>
                      <a:pt x="180" y="97"/>
                    </a:lnTo>
                    <a:lnTo>
                      <a:pt x="180" y="95"/>
                    </a:lnTo>
                    <a:lnTo>
                      <a:pt x="187" y="93"/>
                    </a:lnTo>
                    <a:lnTo>
                      <a:pt x="189" y="92"/>
                    </a:lnTo>
                    <a:lnTo>
                      <a:pt x="190" y="92"/>
                    </a:lnTo>
                    <a:lnTo>
                      <a:pt x="199" y="88"/>
                    </a:lnTo>
                    <a:lnTo>
                      <a:pt x="206" y="85"/>
                    </a:lnTo>
                    <a:lnTo>
                      <a:pt x="211" y="83"/>
                    </a:lnTo>
                    <a:lnTo>
                      <a:pt x="214" y="73"/>
                    </a:lnTo>
                    <a:lnTo>
                      <a:pt x="214" y="71"/>
                    </a:lnTo>
                    <a:lnTo>
                      <a:pt x="218" y="61"/>
                    </a:lnTo>
                    <a:lnTo>
                      <a:pt x="219" y="54"/>
                    </a:lnTo>
                    <a:lnTo>
                      <a:pt x="219" y="53"/>
                    </a:lnTo>
                    <a:lnTo>
                      <a:pt x="223" y="44"/>
                    </a:lnTo>
                    <a:lnTo>
                      <a:pt x="219" y="41"/>
                    </a:lnTo>
                    <a:lnTo>
                      <a:pt x="216" y="37"/>
                    </a:lnTo>
                    <a:lnTo>
                      <a:pt x="218" y="34"/>
                    </a:lnTo>
                    <a:lnTo>
                      <a:pt x="223" y="32"/>
                    </a:lnTo>
                    <a:lnTo>
                      <a:pt x="223" y="31"/>
                    </a:lnTo>
                    <a:lnTo>
                      <a:pt x="221" y="31"/>
                    </a:lnTo>
                    <a:lnTo>
                      <a:pt x="221" y="29"/>
                    </a:lnTo>
                    <a:lnTo>
                      <a:pt x="221" y="27"/>
                    </a:lnTo>
                    <a:lnTo>
                      <a:pt x="223" y="27"/>
                    </a:lnTo>
                    <a:lnTo>
                      <a:pt x="224" y="25"/>
                    </a:lnTo>
                    <a:lnTo>
                      <a:pt x="226" y="25"/>
                    </a:lnTo>
                    <a:lnTo>
                      <a:pt x="230" y="24"/>
                    </a:lnTo>
                    <a:lnTo>
                      <a:pt x="230" y="22"/>
                    </a:lnTo>
                    <a:lnTo>
                      <a:pt x="230" y="20"/>
                    </a:lnTo>
                    <a:lnTo>
                      <a:pt x="231" y="20"/>
                    </a:lnTo>
                    <a:lnTo>
                      <a:pt x="231" y="19"/>
                    </a:lnTo>
                    <a:lnTo>
                      <a:pt x="231" y="17"/>
                    </a:lnTo>
                    <a:lnTo>
                      <a:pt x="233" y="15"/>
                    </a:lnTo>
                    <a:lnTo>
                      <a:pt x="235" y="15"/>
                    </a:lnTo>
                    <a:lnTo>
                      <a:pt x="241" y="13"/>
                    </a:lnTo>
                    <a:lnTo>
                      <a:pt x="245" y="12"/>
                    </a:lnTo>
                    <a:lnTo>
                      <a:pt x="247" y="12"/>
                    </a:lnTo>
                    <a:lnTo>
                      <a:pt x="247" y="10"/>
                    </a:lnTo>
                    <a:lnTo>
                      <a:pt x="247" y="8"/>
                    </a:lnTo>
                    <a:lnTo>
                      <a:pt x="247" y="7"/>
                    </a:lnTo>
                    <a:lnTo>
                      <a:pt x="247" y="5"/>
                    </a:lnTo>
                    <a:lnTo>
                      <a:pt x="248" y="5"/>
                    </a:lnTo>
                    <a:lnTo>
                      <a:pt x="247" y="5"/>
                    </a:lnTo>
                    <a:lnTo>
                      <a:pt x="248" y="5"/>
                    </a:lnTo>
                    <a:lnTo>
                      <a:pt x="248" y="3"/>
                    </a:lnTo>
                    <a:lnTo>
                      <a:pt x="248" y="2"/>
                    </a:lnTo>
                    <a:lnTo>
                      <a:pt x="248" y="0"/>
                    </a:lnTo>
                    <a:lnTo>
                      <a:pt x="250" y="0"/>
                    </a:lnTo>
                    <a:lnTo>
                      <a:pt x="252" y="2"/>
                    </a:lnTo>
                    <a:lnTo>
                      <a:pt x="253" y="2"/>
                    </a:lnTo>
                    <a:lnTo>
                      <a:pt x="255" y="3"/>
                    </a:lnTo>
                    <a:lnTo>
                      <a:pt x="255" y="5"/>
                    </a:lnTo>
                    <a:lnTo>
                      <a:pt x="257" y="5"/>
                    </a:lnTo>
                    <a:lnTo>
                      <a:pt x="258" y="5"/>
                    </a:lnTo>
                    <a:lnTo>
                      <a:pt x="260" y="8"/>
                    </a:lnTo>
                    <a:lnTo>
                      <a:pt x="262" y="10"/>
                    </a:lnTo>
                    <a:lnTo>
                      <a:pt x="264" y="10"/>
                    </a:lnTo>
                    <a:lnTo>
                      <a:pt x="264" y="12"/>
                    </a:lnTo>
                    <a:lnTo>
                      <a:pt x="265" y="12"/>
                    </a:lnTo>
                    <a:lnTo>
                      <a:pt x="267" y="12"/>
                    </a:lnTo>
                    <a:lnTo>
                      <a:pt x="269" y="12"/>
                    </a:lnTo>
                    <a:lnTo>
                      <a:pt x="270" y="12"/>
                    </a:lnTo>
                    <a:lnTo>
                      <a:pt x="270" y="10"/>
                    </a:lnTo>
                    <a:lnTo>
                      <a:pt x="274" y="12"/>
                    </a:lnTo>
                    <a:lnTo>
                      <a:pt x="275" y="12"/>
                    </a:lnTo>
                    <a:lnTo>
                      <a:pt x="277" y="12"/>
                    </a:lnTo>
                    <a:lnTo>
                      <a:pt x="281" y="12"/>
                    </a:lnTo>
                    <a:lnTo>
                      <a:pt x="281" y="10"/>
                    </a:lnTo>
                    <a:lnTo>
                      <a:pt x="281" y="12"/>
                    </a:lnTo>
                    <a:lnTo>
                      <a:pt x="284" y="10"/>
                    </a:lnTo>
                    <a:lnTo>
                      <a:pt x="287" y="10"/>
                    </a:lnTo>
                    <a:lnTo>
                      <a:pt x="289" y="10"/>
                    </a:lnTo>
                    <a:lnTo>
                      <a:pt x="291" y="10"/>
                    </a:lnTo>
                    <a:lnTo>
                      <a:pt x="291" y="12"/>
                    </a:lnTo>
                    <a:lnTo>
                      <a:pt x="292" y="12"/>
                    </a:lnTo>
                    <a:lnTo>
                      <a:pt x="294" y="12"/>
                    </a:lnTo>
                    <a:lnTo>
                      <a:pt x="296" y="13"/>
                    </a:lnTo>
                    <a:lnTo>
                      <a:pt x="298" y="13"/>
                    </a:lnTo>
                    <a:lnTo>
                      <a:pt x="299" y="15"/>
                    </a:lnTo>
                    <a:lnTo>
                      <a:pt x="301" y="15"/>
                    </a:lnTo>
                    <a:lnTo>
                      <a:pt x="303" y="15"/>
                    </a:lnTo>
                    <a:lnTo>
                      <a:pt x="304" y="17"/>
                    </a:lnTo>
                    <a:lnTo>
                      <a:pt x="306" y="17"/>
                    </a:lnTo>
                    <a:lnTo>
                      <a:pt x="306" y="19"/>
                    </a:lnTo>
                    <a:lnTo>
                      <a:pt x="304" y="20"/>
                    </a:lnTo>
                    <a:lnTo>
                      <a:pt x="304" y="22"/>
                    </a:lnTo>
                    <a:lnTo>
                      <a:pt x="306" y="22"/>
                    </a:lnTo>
                    <a:lnTo>
                      <a:pt x="306" y="24"/>
                    </a:lnTo>
                    <a:lnTo>
                      <a:pt x="308" y="24"/>
                    </a:lnTo>
                    <a:lnTo>
                      <a:pt x="308" y="25"/>
                    </a:lnTo>
                    <a:lnTo>
                      <a:pt x="309" y="25"/>
                    </a:lnTo>
                    <a:lnTo>
                      <a:pt x="308" y="27"/>
                    </a:lnTo>
                    <a:lnTo>
                      <a:pt x="309" y="27"/>
                    </a:lnTo>
                    <a:lnTo>
                      <a:pt x="309" y="29"/>
                    </a:lnTo>
                    <a:lnTo>
                      <a:pt x="309" y="31"/>
                    </a:lnTo>
                    <a:lnTo>
                      <a:pt x="309" y="32"/>
                    </a:lnTo>
                    <a:lnTo>
                      <a:pt x="311" y="32"/>
                    </a:lnTo>
                    <a:lnTo>
                      <a:pt x="311" y="34"/>
                    </a:lnTo>
                    <a:lnTo>
                      <a:pt x="309" y="34"/>
                    </a:lnTo>
                    <a:lnTo>
                      <a:pt x="311" y="34"/>
                    </a:lnTo>
                    <a:lnTo>
                      <a:pt x="313" y="36"/>
                    </a:lnTo>
                    <a:lnTo>
                      <a:pt x="313" y="37"/>
                    </a:lnTo>
                    <a:lnTo>
                      <a:pt x="311" y="37"/>
                    </a:lnTo>
                    <a:lnTo>
                      <a:pt x="313" y="37"/>
                    </a:lnTo>
                    <a:lnTo>
                      <a:pt x="313" y="39"/>
                    </a:lnTo>
                    <a:lnTo>
                      <a:pt x="313" y="41"/>
                    </a:lnTo>
                    <a:lnTo>
                      <a:pt x="313" y="39"/>
                    </a:lnTo>
                    <a:lnTo>
                      <a:pt x="315" y="39"/>
                    </a:lnTo>
                    <a:lnTo>
                      <a:pt x="313" y="39"/>
                    </a:lnTo>
                    <a:lnTo>
                      <a:pt x="315" y="37"/>
                    </a:lnTo>
                    <a:lnTo>
                      <a:pt x="315" y="36"/>
                    </a:lnTo>
                    <a:lnTo>
                      <a:pt x="315" y="34"/>
                    </a:lnTo>
                    <a:lnTo>
                      <a:pt x="315" y="32"/>
                    </a:lnTo>
                    <a:lnTo>
                      <a:pt x="315" y="31"/>
                    </a:lnTo>
                    <a:lnTo>
                      <a:pt x="316" y="31"/>
                    </a:lnTo>
                    <a:lnTo>
                      <a:pt x="316" y="29"/>
                    </a:lnTo>
                    <a:lnTo>
                      <a:pt x="315" y="29"/>
                    </a:lnTo>
                    <a:lnTo>
                      <a:pt x="316" y="29"/>
                    </a:lnTo>
                    <a:lnTo>
                      <a:pt x="316" y="27"/>
                    </a:lnTo>
                    <a:lnTo>
                      <a:pt x="316" y="25"/>
                    </a:lnTo>
                    <a:lnTo>
                      <a:pt x="318" y="25"/>
                    </a:lnTo>
                    <a:lnTo>
                      <a:pt x="318" y="24"/>
                    </a:lnTo>
                    <a:lnTo>
                      <a:pt x="320" y="24"/>
                    </a:lnTo>
                    <a:lnTo>
                      <a:pt x="320" y="22"/>
                    </a:lnTo>
                    <a:lnTo>
                      <a:pt x="320" y="20"/>
                    </a:lnTo>
                    <a:lnTo>
                      <a:pt x="321" y="19"/>
                    </a:lnTo>
                    <a:lnTo>
                      <a:pt x="321" y="17"/>
                    </a:lnTo>
                    <a:lnTo>
                      <a:pt x="323" y="17"/>
                    </a:lnTo>
                    <a:lnTo>
                      <a:pt x="323" y="15"/>
                    </a:lnTo>
                    <a:lnTo>
                      <a:pt x="323" y="13"/>
                    </a:lnTo>
                    <a:lnTo>
                      <a:pt x="325" y="12"/>
                    </a:lnTo>
                    <a:lnTo>
                      <a:pt x="323" y="12"/>
                    </a:lnTo>
                    <a:lnTo>
                      <a:pt x="325" y="12"/>
                    </a:lnTo>
                    <a:lnTo>
                      <a:pt x="325" y="10"/>
                    </a:lnTo>
                    <a:lnTo>
                      <a:pt x="325" y="8"/>
                    </a:lnTo>
                    <a:lnTo>
                      <a:pt x="326" y="8"/>
                    </a:lnTo>
                    <a:lnTo>
                      <a:pt x="332" y="8"/>
                    </a:lnTo>
                    <a:lnTo>
                      <a:pt x="333" y="8"/>
                    </a:lnTo>
                    <a:lnTo>
                      <a:pt x="335" y="8"/>
                    </a:lnTo>
                    <a:lnTo>
                      <a:pt x="335" y="10"/>
                    </a:lnTo>
                    <a:lnTo>
                      <a:pt x="335" y="8"/>
                    </a:lnTo>
                    <a:lnTo>
                      <a:pt x="354" y="8"/>
                    </a:lnTo>
                    <a:lnTo>
                      <a:pt x="364" y="8"/>
                    </a:lnTo>
                    <a:lnTo>
                      <a:pt x="364" y="10"/>
                    </a:lnTo>
                    <a:lnTo>
                      <a:pt x="364" y="12"/>
                    </a:lnTo>
                    <a:lnTo>
                      <a:pt x="364" y="13"/>
                    </a:lnTo>
                    <a:lnTo>
                      <a:pt x="366" y="13"/>
                    </a:lnTo>
                    <a:lnTo>
                      <a:pt x="367" y="13"/>
                    </a:lnTo>
                    <a:lnTo>
                      <a:pt x="367" y="15"/>
                    </a:lnTo>
                    <a:lnTo>
                      <a:pt x="369" y="15"/>
                    </a:lnTo>
                    <a:lnTo>
                      <a:pt x="369" y="17"/>
                    </a:lnTo>
                    <a:close/>
                    <a:moveTo>
                      <a:pt x="167" y="1473"/>
                    </a:moveTo>
                    <a:lnTo>
                      <a:pt x="167" y="1468"/>
                    </a:lnTo>
                    <a:lnTo>
                      <a:pt x="167" y="1456"/>
                    </a:lnTo>
                    <a:lnTo>
                      <a:pt x="167" y="1454"/>
                    </a:lnTo>
                    <a:lnTo>
                      <a:pt x="167" y="1453"/>
                    </a:lnTo>
                    <a:lnTo>
                      <a:pt x="167" y="1451"/>
                    </a:lnTo>
                    <a:lnTo>
                      <a:pt x="167" y="1444"/>
                    </a:lnTo>
                    <a:lnTo>
                      <a:pt x="167" y="1442"/>
                    </a:lnTo>
                    <a:lnTo>
                      <a:pt x="167" y="1429"/>
                    </a:lnTo>
                    <a:lnTo>
                      <a:pt x="167" y="1417"/>
                    </a:lnTo>
                    <a:lnTo>
                      <a:pt x="167" y="1410"/>
                    </a:lnTo>
                    <a:lnTo>
                      <a:pt x="168" y="1398"/>
                    </a:lnTo>
                    <a:lnTo>
                      <a:pt x="168" y="1386"/>
                    </a:lnTo>
                    <a:lnTo>
                      <a:pt x="168" y="1383"/>
                    </a:lnTo>
                    <a:lnTo>
                      <a:pt x="168" y="1378"/>
                    </a:lnTo>
                    <a:lnTo>
                      <a:pt x="168" y="1364"/>
                    </a:lnTo>
                    <a:lnTo>
                      <a:pt x="168" y="1347"/>
                    </a:lnTo>
                    <a:lnTo>
                      <a:pt x="168" y="1345"/>
                    </a:lnTo>
                    <a:lnTo>
                      <a:pt x="168" y="1347"/>
                    </a:lnTo>
                    <a:lnTo>
                      <a:pt x="170" y="1349"/>
                    </a:lnTo>
                    <a:lnTo>
                      <a:pt x="173" y="1352"/>
                    </a:lnTo>
                    <a:lnTo>
                      <a:pt x="175" y="1356"/>
                    </a:lnTo>
                    <a:lnTo>
                      <a:pt x="177" y="1359"/>
                    </a:lnTo>
                    <a:lnTo>
                      <a:pt x="179" y="1361"/>
                    </a:lnTo>
                    <a:lnTo>
                      <a:pt x="180" y="1362"/>
                    </a:lnTo>
                    <a:lnTo>
                      <a:pt x="180" y="1366"/>
                    </a:lnTo>
                    <a:lnTo>
                      <a:pt x="180" y="1368"/>
                    </a:lnTo>
                    <a:lnTo>
                      <a:pt x="182" y="1371"/>
                    </a:lnTo>
                    <a:lnTo>
                      <a:pt x="182" y="1373"/>
                    </a:lnTo>
                    <a:lnTo>
                      <a:pt x="182" y="1371"/>
                    </a:lnTo>
                    <a:lnTo>
                      <a:pt x="180" y="1369"/>
                    </a:lnTo>
                    <a:lnTo>
                      <a:pt x="180" y="1368"/>
                    </a:lnTo>
                    <a:lnTo>
                      <a:pt x="180" y="1366"/>
                    </a:lnTo>
                    <a:lnTo>
                      <a:pt x="179" y="1364"/>
                    </a:lnTo>
                    <a:lnTo>
                      <a:pt x="179" y="1366"/>
                    </a:lnTo>
                    <a:lnTo>
                      <a:pt x="177" y="1366"/>
                    </a:lnTo>
                    <a:lnTo>
                      <a:pt x="175" y="1366"/>
                    </a:lnTo>
                    <a:lnTo>
                      <a:pt x="175" y="1368"/>
                    </a:lnTo>
                    <a:lnTo>
                      <a:pt x="173" y="1369"/>
                    </a:lnTo>
                    <a:lnTo>
                      <a:pt x="172" y="1371"/>
                    </a:lnTo>
                    <a:lnTo>
                      <a:pt x="172" y="1373"/>
                    </a:lnTo>
                    <a:lnTo>
                      <a:pt x="170" y="1373"/>
                    </a:lnTo>
                    <a:lnTo>
                      <a:pt x="170" y="1374"/>
                    </a:lnTo>
                    <a:lnTo>
                      <a:pt x="170" y="1376"/>
                    </a:lnTo>
                    <a:lnTo>
                      <a:pt x="170" y="1378"/>
                    </a:lnTo>
                    <a:lnTo>
                      <a:pt x="172" y="1379"/>
                    </a:lnTo>
                    <a:lnTo>
                      <a:pt x="173" y="1381"/>
                    </a:lnTo>
                    <a:lnTo>
                      <a:pt x="175" y="1381"/>
                    </a:lnTo>
                    <a:lnTo>
                      <a:pt x="177" y="1381"/>
                    </a:lnTo>
                    <a:lnTo>
                      <a:pt x="177" y="1383"/>
                    </a:lnTo>
                    <a:lnTo>
                      <a:pt x="179" y="1383"/>
                    </a:lnTo>
                    <a:lnTo>
                      <a:pt x="180" y="1381"/>
                    </a:lnTo>
                    <a:lnTo>
                      <a:pt x="182" y="1381"/>
                    </a:lnTo>
                    <a:lnTo>
                      <a:pt x="182" y="1383"/>
                    </a:lnTo>
                    <a:lnTo>
                      <a:pt x="184" y="1383"/>
                    </a:lnTo>
                    <a:lnTo>
                      <a:pt x="185" y="1385"/>
                    </a:lnTo>
                    <a:lnTo>
                      <a:pt x="185" y="1386"/>
                    </a:lnTo>
                    <a:lnTo>
                      <a:pt x="185" y="1388"/>
                    </a:lnTo>
                    <a:lnTo>
                      <a:pt x="187" y="1390"/>
                    </a:lnTo>
                    <a:lnTo>
                      <a:pt x="187" y="1391"/>
                    </a:lnTo>
                    <a:lnTo>
                      <a:pt x="187" y="1393"/>
                    </a:lnTo>
                    <a:lnTo>
                      <a:pt x="189" y="1395"/>
                    </a:lnTo>
                    <a:lnTo>
                      <a:pt x="189" y="1396"/>
                    </a:lnTo>
                    <a:lnTo>
                      <a:pt x="189" y="1398"/>
                    </a:lnTo>
                    <a:lnTo>
                      <a:pt x="190" y="1398"/>
                    </a:lnTo>
                    <a:lnTo>
                      <a:pt x="190" y="1400"/>
                    </a:lnTo>
                    <a:lnTo>
                      <a:pt x="192" y="1402"/>
                    </a:lnTo>
                    <a:lnTo>
                      <a:pt x="194" y="1403"/>
                    </a:lnTo>
                    <a:lnTo>
                      <a:pt x="194" y="1405"/>
                    </a:lnTo>
                    <a:lnTo>
                      <a:pt x="196" y="1405"/>
                    </a:lnTo>
                    <a:lnTo>
                      <a:pt x="197" y="1407"/>
                    </a:lnTo>
                    <a:lnTo>
                      <a:pt x="199" y="1408"/>
                    </a:lnTo>
                    <a:lnTo>
                      <a:pt x="201" y="1410"/>
                    </a:lnTo>
                    <a:lnTo>
                      <a:pt x="202" y="1412"/>
                    </a:lnTo>
                    <a:lnTo>
                      <a:pt x="204" y="1412"/>
                    </a:lnTo>
                    <a:lnTo>
                      <a:pt x="202" y="1413"/>
                    </a:lnTo>
                    <a:lnTo>
                      <a:pt x="204" y="1415"/>
                    </a:lnTo>
                    <a:lnTo>
                      <a:pt x="204" y="1417"/>
                    </a:lnTo>
                    <a:lnTo>
                      <a:pt x="206" y="1417"/>
                    </a:lnTo>
                    <a:lnTo>
                      <a:pt x="206" y="1419"/>
                    </a:lnTo>
                    <a:lnTo>
                      <a:pt x="207" y="1419"/>
                    </a:lnTo>
                    <a:lnTo>
                      <a:pt x="207" y="1420"/>
                    </a:lnTo>
                    <a:lnTo>
                      <a:pt x="209" y="1420"/>
                    </a:lnTo>
                    <a:lnTo>
                      <a:pt x="209" y="1422"/>
                    </a:lnTo>
                    <a:lnTo>
                      <a:pt x="211" y="1422"/>
                    </a:lnTo>
                    <a:lnTo>
                      <a:pt x="211" y="1424"/>
                    </a:lnTo>
                    <a:lnTo>
                      <a:pt x="213" y="1424"/>
                    </a:lnTo>
                    <a:lnTo>
                      <a:pt x="213" y="1425"/>
                    </a:lnTo>
                    <a:lnTo>
                      <a:pt x="214" y="1425"/>
                    </a:lnTo>
                    <a:lnTo>
                      <a:pt x="216" y="1427"/>
                    </a:lnTo>
                    <a:lnTo>
                      <a:pt x="218" y="1427"/>
                    </a:lnTo>
                    <a:lnTo>
                      <a:pt x="218" y="1429"/>
                    </a:lnTo>
                    <a:lnTo>
                      <a:pt x="219" y="1429"/>
                    </a:lnTo>
                    <a:lnTo>
                      <a:pt x="221" y="1430"/>
                    </a:lnTo>
                    <a:lnTo>
                      <a:pt x="223" y="1430"/>
                    </a:lnTo>
                    <a:lnTo>
                      <a:pt x="224" y="1432"/>
                    </a:lnTo>
                    <a:lnTo>
                      <a:pt x="226" y="1434"/>
                    </a:lnTo>
                    <a:lnTo>
                      <a:pt x="228" y="1434"/>
                    </a:lnTo>
                    <a:lnTo>
                      <a:pt x="230" y="1436"/>
                    </a:lnTo>
                    <a:lnTo>
                      <a:pt x="231" y="1436"/>
                    </a:lnTo>
                    <a:lnTo>
                      <a:pt x="231" y="1437"/>
                    </a:lnTo>
                    <a:lnTo>
                      <a:pt x="233" y="1437"/>
                    </a:lnTo>
                    <a:lnTo>
                      <a:pt x="233" y="1439"/>
                    </a:lnTo>
                    <a:lnTo>
                      <a:pt x="233" y="1441"/>
                    </a:lnTo>
                    <a:lnTo>
                      <a:pt x="235" y="1441"/>
                    </a:lnTo>
                    <a:lnTo>
                      <a:pt x="235" y="1442"/>
                    </a:lnTo>
                    <a:lnTo>
                      <a:pt x="236" y="1442"/>
                    </a:lnTo>
                    <a:lnTo>
                      <a:pt x="236" y="1444"/>
                    </a:lnTo>
                    <a:lnTo>
                      <a:pt x="238" y="1444"/>
                    </a:lnTo>
                    <a:lnTo>
                      <a:pt x="238" y="1446"/>
                    </a:lnTo>
                    <a:lnTo>
                      <a:pt x="240" y="1447"/>
                    </a:lnTo>
                    <a:lnTo>
                      <a:pt x="240" y="1449"/>
                    </a:lnTo>
                    <a:lnTo>
                      <a:pt x="241" y="1449"/>
                    </a:lnTo>
                    <a:lnTo>
                      <a:pt x="243" y="1449"/>
                    </a:lnTo>
                    <a:lnTo>
                      <a:pt x="245" y="1451"/>
                    </a:lnTo>
                    <a:lnTo>
                      <a:pt x="247" y="1451"/>
                    </a:lnTo>
                    <a:lnTo>
                      <a:pt x="248" y="1453"/>
                    </a:lnTo>
                    <a:lnTo>
                      <a:pt x="250" y="1453"/>
                    </a:lnTo>
                    <a:lnTo>
                      <a:pt x="252" y="1454"/>
                    </a:lnTo>
                    <a:lnTo>
                      <a:pt x="253" y="1454"/>
                    </a:lnTo>
                    <a:lnTo>
                      <a:pt x="255" y="1454"/>
                    </a:lnTo>
                    <a:lnTo>
                      <a:pt x="257" y="1456"/>
                    </a:lnTo>
                    <a:lnTo>
                      <a:pt x="258" y="1456"/>
                    </a:lnTo>
                    <a:lnTo>
                      <a:pt x="260" y="1456"/>
                    </a:lnTo>
                    <a:lnTo>
                      <a:pt x="260" y="1458"/>
                    </a:lnTo>
                    <a:lnTo>
                      <a:pt x="262" y="1458"/>
                    </a:lnTo>
                    <a:lnTo>
                      <a:pt x="264" y="1459"/>
                    </a:lnTo>
                    <a:lnTo>
                      <a:pt x="265" y="1459"/>
                    </a:lnTo>
                    <a:lnTo>
                      <a:pt x="267" y="1459"/>
                    </a:lnTo>
                    <a:lnTo>
                      <a:pt x="269" y="1459"/>
                    </a:lnTo>
                    <a:lnTo>
                      <a:pt x="270" y="1459"/>
                    </a:lnTo>
                    <a:lnTo>
                      <a:pt x="272" y="1459"/>
                    </a:lnTo>
                    <a:lnTo>
                      <a:pt x="274" y="1459"/>
                    </a:lnTo>
                    <a:lnTo>
                      <a:pt x="275" y="1458"/>
                    </a:lnTo>
                    <a:lnTo>
                      <a:pt x="275" y="1459"/>
                    </a:lnTo>
                    <a:lnTo>
                      <a:pt x="275" y="1458"/>
                    </a:lnTo>
                    <a:lnTo>
                      <a:pt x="277" y="1458"/>
                    </a:lnTo>
                    <a:lnTo>
                      <a:pt x="279" y="1458"/>
                    </a:lnTo>
                    <a:lnTo>
                      <a:pt x="281" y="1458"/>
                    </a:lnTo>
                    <a:lnTo>
                      <a:pt x="282" y="1458"/>
                    </a:lnTo>
                    <a:lnTo>
                      <a:pt x="282" y="1459"/>
                    </a:lnTo>
                    <a:lnTo>
                      <a:pt x="282" y="1458"/>
                    </a:lnTo>
                    <a:lnTo>
                      <a:pt x="282" y="1459"/>
                    </a:lnTo>
                    <a:lnTo>
                      <a:pt x="284" y="1459"/>
                    </a:lnTo>
                    <a:lnTo>
                      <a:pt x="286" y="1459"/>
                    </a:lnTo>
                    <a:lnTo>
                      <a:pt x="284" y="1461"/>
                    </a:lnTo>
                    <a:lnTo>
                      <a:pt x="284" y="1463"/>
                    </a:lnTo>
                    <a:lnTo>
                      <a:pt x="284" y="1465"/>
                    </a:lnTo>
                    <a:lnTo>
                      <a:pt x="282" y="1465"/>
                    </a:lnTo>
                    <a:lnTo>
                      <a:pt x="284" y="1465"/>
                    </a:lnTo>
                    <a:lnTo>
                      <a:pt x="282" y="1466"/>
                    </a:lnTo>
                    <a:lnTo>
                      <a:pt x="282" y="1468"/>
                    </a:lnTo>
                    <a:lnTo>
                      <a:pt x="281" y="1468"/>
                    </a:lnTo>
                    <a:lnTo>
                      <a:pt x="282" y="1468"/>
                    </a:lnTo>
                    <a:lnTo>
                      <a:pt x="282" y="1470"/>
                    </a:lnTo>
                    <a:lnTo>
                      <a:pt x="281" y="1470"/>
                    </a:lnTo>
                    <a:lnTo>
                      <a:pt x="281" y="1471"/>
                    </a:lnTo>
                    <a:lnTo>
                      <a:pt x="279" y="1471"/>
                    </a:lnTo>
                    <a:lnTo>
                      <a:pt x="279" y="1473"/>
                    </a:lnTo>
                    <a:lnTo>
                      <a:pt x="279" y="1475"/>
                    </a:lnTo>
                    <a:lnTo>
                      <a:pt x="277" y="1476"/>
                    </a:lnTo>
                    <a:lnTo>
                      <a:pt x="275" y="1476"/>
                    </a:lnTo>
                    <a:lnTo>
                      <a:pt x="275" y="1475"/>
                    </a:lnTo>
                    <a:lnTo>
                      <a:pt x="275" y="1473"/>
                    </a:lnTo>
                    <a:lnTo>
                      <a:pt x="274" y="1473"/>
                    </a:lnTo>
                    <a:lnTo>
                      <a:pt x="274" y="1475"/>
                    </a:lnTo>
                    <a:lnTo>
                      <a:pt x="272" y="1476"/>
                    </a:lnTo>
                    <a:lnTo>
                      <a:pt x="270" y="1476"/>
                    </a:lnTo>
                    <a:lnTo>
                      <a:pt x="269" y="1476"/>
                    </a:lnTo>
                    <a:lnTo>
                      <a:pt x="269" y="1478"/>
                    </a:lnTo>
                    <a:lnTo>
                      <a:pt x="267" y="1478"/>
                    </a:lnTo>
                    <a:lnTo>
                      <a:pt x="265" y="1478"/>
                    </a:lnTo>
                    <a:lnTo>
                      <a:pt x="265" y="1476"/>
                    </a:lnTo>
                    <a:lnTo>
                      <a:pt x="265" y="1475"/>
                    </a:lnTo>
                    <a:lnTo>
                      <a:pt x="264" y="1473"/>
                    </a:lnTo>
                    <a:lnTo>
                      <a:pt x="264" y="1475"/>
                    </a:lnTo>
                    <a:lnTo>
                      <a:pt x="262" y="1475"/>
                    </a:lnTo>
                    <a:lnTo>
                      <a:pt x="262" y="1473"/>
                    </a:lnTo>
                    <a:lnTo>
                      <a:pt x="260" y="1473"/>
                    </a:lnTo>
                    <a:lnTo>
                      <a:pt x="258" y="1475"/>
                    </a:lnTo>
                    <a:lnTo>
                      <a:pt x="258" y="1473"/>
                    </a:lnTo>
                    <a:lnTo>
                      <a:pt x="257" y="1473"/>
                    </a:lnTo>
                    <a:lnTo>
                      <a:pt x="257" y="1475"/>
                    </a:lnTo>
                    <a:lnTo>
                      <a:pt x="258" y="1476"/>
                    </a:lnTo>
                    <a:lnTo>
                      <a:pt x="257" y="1478"/>
                    </a:lnTo>
                    <a:lnTo>
                      <a:pt x="255" y="1478"/>
                    </a:lnTo>
                    <a:lnTo>
                      <a:pt x="253" y="1478"/>
                    </a:lnTo>
                    <a:lnTo>
                      <a:pt x="252" y="1478"/>
                    </a:lnTo>
                    <a:lnTo>
                      <a:pt x="250" y="1478"/>
                    </a:lnTo>
                    <a:lnTo>
                      <a:pt x="250" y="1480"/>
                    </a:lnTo>
                    <a:lnTo>
                      <a:pt x="248" y="1478"/>
                    </a:lnTo>
                    <a:lnTo>
                      <a:pt x="247" y="1478"/>
                    </a:lnTo>
                    <a:lnTo>
                      <a:pt x="245" y="1478"/>
                    </a:lnTo>
                    <a:lnTo>
                      <a:pt x="245" y="1480"/>
                    </a:lnTo>
                    <a:lnTo>
                      <a:pt x="243" y="1480"/>
                    </a:lnTo>
                    <a:lnTo>
                      <a:pt x="245" y="1482"/>
                    </a:lnTo>
                    <a:lnTo>
                      <a:pt x="243" y="1482"/>
                    </a:lnTo>
                    <a:lnTo>
                      <a:pt x="241" y="1482"/>
                    </a:lnTo>
                    <a:lnTo>
                      <a:pt x="241" y="1483"/>
                    </a:lnTo>
                    <a:lnTo>
                      <a:pt x="240" y="1482"/>
                    </a:lnTo>
                    <a:lnTo>
                      <a:pt x="238" y="1483"/>
                    </a:lnTo>
                    <a:lnTo>
                      <a:pt x="238" y="1482"/>
                    </a:lnTo>
                    <a:lnTo>
                      <a:pt x="236" y="1482"/>
                    </a:lnTo>
                    <a:lnTo>
                      <a:pt x="235" y="1482"/>
                    </a:lnTo>
                    <a:lnTo>
                      <a:pt x="233" y="1480"/>
                    </a:lnTo>
                    <a:lnTo>
                      <a:pt x="231" y="1480"/>
                    </a:lnTo>
                    <a:lnTo>
                      <a:pt x="231" y="1478"/>
                    </a:lnTo>
                    <a:lnTo>
                      <a:pt x="231" y="1476"/>
                    </a:lnTo>
                    <a:lnTo>
                      <a:pt x="230" y="1476"/>
                    </a:lnTo>
                    <a:lnTo>
                      <a:pt x="228" y="1476"/>
                    </a:lnTo>
                    <a:lnTo>
                      <a:pt x="226" y="1476"/>
                    </a:lnTo>
                    <a:lnTo>
                      <a:pt x="224" y="1476"/>
                    </a:lnTo>
                    <a:lnTo>
                      <a:pt x="224" y="1475"/>
                    </a:lnTo>
                    <a:lnTo>
                      <a:pt x="223" y="1475"/>
                    </a:lnTo>
                    <a:lnTo>
                      <a:pt x="221" y="1475"/>
                    </a:lnTo>
                    <a:lnTo>
                      <a:pt x="219" y="1475"/>
                    </a:lnTo>
                    <a:lnTo>
                      <a:pt x="219" y="1473"/>
                    </a:lnTo>
                    <a:lnTo>
                      <a:pt x="218" y="1473"/>
                    </a:lnTo>
                    <a:lnTo>
                      <a:pt x="216" y="1473"/>
                    </a:lnTo>
                    <a:lnTo>
                      <a:pt x="214" y="1473"/>
                    </a:lnTo>
                    <a:lnTo>
                      <a:pt x="213" y="1473"/>
                    </a:lnTo>
                    <a:lnTo>
                      <a:pt x="213" y="1471"/>
                    </a:lnTo>
                    <a:lnTo>
                      <a:pt x="213" y="1473"/>
                    </a:lnTo>
                    <a:lnTo>
                      <a:pt x="213" y="1471"/>
                    </a:lnTo>
                    <a:lnTo>
                      <a:pt x="213" y="1473"/>
                    </a:lnTo>
                    <a:lnTo>
                      <a:pt x="211" y="1471"/>
                    </a:lnTo>
                    <a:lnTo>
                      <a:pt x="213" y="1473"/>
                    </a:lnTo>
                    <a:lnTo>
                      <a:pt x="211" y="1473"/>
                    </a:lnTo>
                    <a:lnTo>
                      <a:pt x="211" y="1471"/>
                    </a:lnTo>
                    <a:lnTo>
                      <a:pt x="209" y="1471"/>
                    </a:lnTo>
                    <a:lnTo>
                      <a:pt x="211" y="1473"/>
                    </a:lnTo>
                    <a:lnTo>
                      <a:pt x="209" y="1473"/>
                    </a:lnTo>
                    <a:lnTo>
                      <a:pt x="207" y="1473"/>
                    </a:lnTo>
                    <a:lnTo>
                      <a:pt x="207" y="1471"/>
                    </a:lnTo>
                    <a:lnTo>
                      <a:pt x="206" y="1471"/>
                    </a:lnTo>
                    <a:lnTo>
                      <a:pt x="204" y="1471"/>
                    </a:lnTo>
                    <a:lnTo>
                      <a:pt x="202" y="1471"/>
                    </a:lnTo>
                    <a:lnTo>
                      <a:pt x="202" y="1473"/>
                    </a:lnTo>
                    <a:lnTo>
                      <a:pt x="201" y="1473"/>
                    </a:lnTo>
                    <a:lnTo>
                      <a:pt x="199" y="1473"/>
                    </a:lnTo>
                    <a:lnTo>
                      <a:pt x="197" y="1473"/>
                    </a:lnTo>
                    <a:lnTo>
                      <a:pt x="196" y="1471"/>
                    </a:lnTo>
                    <a:lnTo>
                      <a:pt x="194" y="1471"/>
                    </a:lnTo>
                    <a:lnTo>
                      <a:pt x="192" y="1471"/>
                    </a:lnTo>
                    <a:lnTo>
                      <a:pt x="190" y="1471"/>
                    </a:lnTo>
                    <a:lnTo>
                      <a:pt x="189" y="1471"/>
                    </a:lnTo>
                    <a:lnTo>
                      <a:pt x="189" y="1470"/>
                    </a:lnTo>
                    <a:lnTo>
                      <a:pt x="187" y="1471"/>
                    </a:lnTo>
                    <a:lnTo>
                      <a:pt x="187" y="1470"/>
                    </a:lnTo>
                    <a:lnTo>
                      <a:pt x="185" y="1470"/>
                    </a:lnTo>
                    <a:lnTo>
                      <a:pt x="184" y="1470"/>
                    </a:lnTo>
                    <a:lnTo>
                      <a:pt x="182" y="1468"/>
                    </a:lnTo>
                    <a:lnTo>
                      <a:pt x="180" y="1468"/>
                    </a:lnTo>
                    <a:lnTo>
                      <a:pt x="179" y="1468"/>
                    </a:lnTo>
                    <a:lnTo>
                      <a:pt x="179" y="1470"/>
                    </a:lnTo>
                    <a:lnTo>
                      <a:pt x="180" y="1470"/>
                    </a:lnTo>
                    <a:lnTo>
                      <a:pt x="179" y="1470"/>
                    </a:lnTo>
                    <a:lnTo>
                      <a:pt x="177" y="1470"/>
                    </a:lnTo>
                    <a:lnTo>
                      <a:pt x="175" y="1471"/>
                    </a:lnTo>
                    <a:lnTo>
                      <a:pt x="173" y="1471"/>
                    </a:lnTo>
                    <a:lnTo>
                      <a:pt x="172" y="1470"/>
                    </a:lnTo>
                    <a:lnTo>
                      <a:pt x="172" y="1471"/>
                    </a:lnTo>
                    <a:lnTo>
                      <a:pt x="170" y="1471"/>
                    </a:lnTo>
                    <a:lnTo>
                      <a:pt x="172" y="1471"/>
                    </a:lnTo>
                    <a:lnTo>
                      <a:pt x="170" y="1473"/>
                    </a:lnTo>
                    <a:lnTo>
                      <a:pt x="168" y="1473"/>
                    </a:lnTo>
                    <a:lnTo>
                      <a:pt x="167" y="1473"/>
                    </a:lnTo>
                    <a:close/>
                    <a:moveTo>
                      <a:pt x="313" y="1465"/>
                    </a:moveTo>
                    <a:lnTo>
                      <a:pt x="315" y="1463"/>
                    </a:lnTo>
                    <a:lnTo>
                      <a:pt x="315" y="1465"/>
                    </a:lnTo>
                    <a:lnTo>
                      <a:pt x="316" y="1463"/>
                    </a:lnTo>
                    <a:lnTo>
                      <a:pt x="318" y="1465"/>
                    </a:lnTo>
                    <a:lnTo>
                      <a:pt x="318" y="1466"/>
                    </a:lnTo>
                    <a:lnTo>
                      <a:pt x="320" y="1465"/>
                    </a:lnTo>
                    <a:lnTo>
                      <a:pt x="318" y="1465"/>
                    </a:lnTo>
                    <a:lnTo>
                      <a:pt x="318" y="1463"/>
                    </a:lnTo>
                    <a:lnTo>
                      <a:pt x="320" y="1465"/>
                    </a:lnTo>
                    <a:lnTo>
                      <a:pt x="321" y="1465"/>
                    </a:lnTo>
                    <a:lnTo>
                      <a:pt x="321" y="1463"/>
                    </a:lnTo>
                    <a:lnTo>
                      <a:pt x="323" y="1465"/>
                    </a:lnTo>
                    <a:lnTo>
                      <a:pt x="321" y="1466"/>
                    </a:lnTo>
                    <a:lnTo>
                      <a:pt x="323" y="1466"/>
                    </a:lnTo>
                    <a:lnTo>
                      <a:pt x="323" y="1465"/>
                    </a:lnTo>
                    <a:lnTo>
                      <a:pt x="325" y="1465"/>
                    </a:lnTo>
                    <a:lnTo>
                      <a:pt x="326" y="1463"/>
                    </a:lnTo>
                    <a:lnTo>
                      <a:pt x="328" y="1463"/>
                    </a:lnTo>
                    <a:lnTo>
                      <a:pt x="328" y="1465"/>
                    </a:lnTo>
                    <a:lnTo>
                      <a:pt x="330" y="1463"/>
                    </a:lnTo>
                    <a:lnTo>
                      <a:pt x="330" y="1465"/>
                    </a:lnTo>
                    <a:lnTo>
                      <a:pt x="328" y="1466"/>
                    </a:lnTo>
                    <a:lnTo>
                      <a:pt x="328" y="1468"/>
                    </a:lnTo>
                    <a:lnTo>
                      <a:pt x="328" y="1466"/>
                    </a:lnTo>
                    <a:lnTo>
                      <a:pt x="326" y="1466"/>
                    </a:lnTo>
                    <a:lnTo>
                      <a:pt x="326" y="1468"/>
                    </a:lnTo>
                    <a:lnTo>
                      <a:pt x="325" y="1468"/>
                    </a:lnTo>
                    <a:lnTo>
                      <a:pt x="325" y="1466"/>
                    </a:lnTo>
                    <a:lnTo>
                      <a:pt x="323" y="1466"/>
                    </a:lnTo>
                    <a:lnTo>
                      <a:pt x="323" y="1468"/>
                    </a:lnTo>
                    <a:lnTo>
                      <a:pt x="321" y="1468"/>
                    </a:lnTo>
                    <a:lnTo>
                      <a:pt x="321" y="1466"/>
                    </a:lnTo>
                    <a:lnTo>
                      <a:pt x="321" y="1468"/>
                    </a:lnTo>
                    <a:lnTo>
                      <a:pt x="320" y="1468"/>
                    </a:lnTo>
                    <a:lnTo>
                      <a:pt x="320" y="1470"/>
                    </a:lnTo>
                    <a:lnTo>
                      <a:pt x="320" y="1468"/>
                    </a:lnTo>
                    <a:lnTo>
                      <a:pt x="318" y="1470"/>
                    </a:lnTo>
                    <a:lnTo>
                      <a:pt x="316" y="1470"/>
                    </a:lnTo>
                    <a:lnTo>
                      <a:pt x="316" y="1471"/>
                    </a:lnTo>
                    <a:lnTo>
                      <a:pt x="316" y="1470"/>
                    </a:lnTo>
                    <a:lnTo>
                      <a:pt x="316" y="1468"/>
                    </a:lnTo>
                    <a:lnTo>
                      <a:pt x="316" y="1466"/>
                    </a:lnTo>
                    <a:lnTo>
                      <a:pt x="315" y="1468"/>
                    </a:lnTo>
                    <a:lnTo>
                      <a:pt x="315" y="1466"/>
                    </a:lnTo>
                    <a:lnTo>
                      <a:pt x="313" y="1466"/>
                    </a:lnTo>
                    <a:lnTo>
                      <a:pt x="313" y="1468"/>
                    </a:lnTo>
                    <a:lnTo>
                      <a:pt x="313" y="1470"/>
                    </a:lnTo>
                    <a:lnTo>
                      <a:pt x="311" y="1470"/>
                    </a:lnTo>
                    <a:lnTo>
                      <a:pt x="309" y="1471"/>
                    </a:lnTo>
                    <a:lnTo>
                      <a:pt x="308" y="1471"/>
                    </a:lnTo>
                    <a:lnTo>
                      <a:pt x="308" y="1470"/>
                    </a:lnTo>
                    <a:lnTo>
                      <a:pt x="309" y="1470"/>
                    </a:lnTo>
                    <a:lnTo>
                      <a:pt x="308" y="1470"/>
                    </a:lnTo>
                    <a:lnTo>
                      <a:pt x="306" y="1471"/>
                    </a:lnTo>
                    <a:lnTo>
                      <a:pt x="306" y="1473"/>
                    </a:lnTo>
                    <a:lnTo>
                      <a:pt x="304" y="1473"/>
                    </a:lnTo>
                    <a:lnTo>
                      <a:pt x="303" y="1475"/>
                    </a:lnTo>
                    <a:lnTo>
                      <a:pt x="303" y="1473"/>
                    </a:lnTo>
                    <a:lnTo>
                      <a:pt x="301" y="1475"/>
                    </a:lnTo>
                    <a:lnTo>
                      <a:pt x="299" y="1475"/>
                    </a:lnTo>
                    <a:lnTo>
                      <a:pt x="299" y="1473"/>
                    </a:lnTo>
                    <a:lnTo>
                      <a:pt x="301" y="1473"/>
                    </a:lnTo>
                    <a:lnTo>
                      <a:pt x="303" y="1473"/>
                    </a:lnTo>
                    <a:lnTo>
                      <a:pt x="301" y="1471"/>
                    </a:lnTo>
                    <a:lnTo>
                      <a:pt x="301" y="1470"/>
                    </a:lnTo>
                    <a:lnTo>
                      <a:pt x="299" y="1471"/>
                    </a:lnTo>
                    <a:lnTo>
                      <a:pt x="298" y="1470"/>
                    </a:lnTo>
                    <a:lnTo>
                      <a:pt x="299" y="1470"/>
                    </a:lnTo>
                    <a:lnTo>
                      <a:pt x="299" y="1468"/>
                    </a:lnTo>
                    <a:lnTo>
                      <a:pt x="299" y="1466"/>
                    </a:lnTo>
                    <a:lnTo>
                      <a:pt x="301" y="1468"/>
                    </a:lnTo>
                    <a:lnTo>
                      <a:pt x="301" y="1466"/>
                    </a:lnTo>
                    <a:lnTo>
                      <a:pt x="303" y="1466"/>
                    </a:lnTo>
                    <a:lnTo>
                      <a:pt x="303" y="1468"/>
                    </a:lnTo>
                    <a:lnTo>
                      <a:pt x="304" y="1468"/>
                    </a:lnTo>
                    <a:lnTo>
                      <a:pt x="306" y="1468"/>
                    </a:lnTo>
                    <a:lnTo>
                      <a:pt x="306" y="1466"/>
                    </a:lnTo>
                    <a:lnTo>
                      <a:pt x="306" y="1465"/>
                    </a:lnTo>
                    <a:lnTo>
                      <a:pt x="306" y="1463"/>
                    </a:lnTo>
                    <a:lnTo>
                      <a:pt x="306" y="1465"/>
                    </a:lnTo>
                    <a:lnTo>
                      <a:pt x="308" y="1466"/>
                    </a:lnTo>
                    <a:lnTo>
                      <a:pt x="309" y="1465"/>
                    </a:lnTo>
                    <a:lnTo>
                      <a:pt x="309" y="1466"/>
                    </a:lnTo>
                    <a:lnTo>
                      <a:pt x="309" y="1465"/>
                    </a:lnTo>
                    <a:lnTo>
                      <a:pt x="311" y="1465"/>
                    </a:lnTo>
                    <a:lnTo>
                      <a:pt x="311" y="1466"/>
                    </a:lnTo>
                    <a:lnTo>
                      <a:pt x="311" y="1465"/>
                    </a:lnTo>
                    <a:lnTo>
                      <a:pt x="313" y="1463"/>
                    </a:lnTo>
                    <a:lnTo>
                      <a:pt x="313" y="1465"/>
                    </a:lnTo>
                    <a:close/>
                    <a:moveTo>
                      <a:pt x="391" y="682"/>
                    </a:moveTo>
                    <a:lnTo>
                      <a:pt x="393" y="682"/>
                    </a:lnTo>
                    <a:lnTo>
                      <a:pt x="394" y="682"/>
                    </a:lnTo>
                    <a:lnTo>
                      <a:pt x="394" y="684"/>
                    </a:lnTo>
                    <a:lnTo>
                      <a:pt x="396" y="684"/>
                    </a:lnTo>
                    <a:lnTo>
                      <a:pt x="396" y="685"/>
                    </a:lnTo>
                    <a:lnTo>
                      <a:pt x="396" y="687"/>
                    </a:lnTo>
                    <a:lnTo>
                      <a:pt x="396" y="689"/>
                    </a:lnTo>
                    <a:lnTo>
                      <a:pt x="394" y="689"/>
                    </a:lnTo>
                    <a:lnTo>
                      <a:pt x="394" y="687"/>
                    </a:lnTo>
                    <a:lnTo>
                      <a:pt x="393" y="687"/>
                    </a:lnTo>
                    <a:lnTo>
                      <a:pt x="391" y="687"/>
                    </a:lnTo>
                    <a:lnTo>
                      <a:pt x="391" y="685"/>
                    </a:lnTo>
                    <a:lnTo>
                      <a:pt x="389" y="685"/>
                    </a:lnTo>
                    <a:lnTo>
                      <a:pt x="389" y="684"/>
                    </a:lnTo>
                    <a:lnTo>
                      <a:pt x="388" y="684"/>
                    </a:lnTo>
                    <a:lnTo>
                      <a:pt x="388" y="682"/>
                    </a:lnTo>
                    <a:lnTo>
                      <a:pt x="389" y="682"/>
                    </a:lnTo>
                    <a:lnTo>
                      <a:pt x="391" y="682"/>
                    </a:lnTo>
                    <a:close/>
                    <a:moveTo>
                      <a:pt x="388" y="718"/>
                    </a:moveTo>
                    <a:lnTo>
                      <a:pt x="388" y="719"/>
                    </a:lnTo>
                    <a:lnTo>
                      <a:pt x="388" y="721"/>
                    </a:lnTo>
                    <a:lnTo>
                      <a:pt x="386" y="719"/>
                    </a:lnTo>
                    <a:lnTo>
                      <a:pt x="384" y="719"/>
                    </a:lnTo>
                    <a:lnTo>
                      <a:pt x="384" y="718"/>
                    </a:lnTo>
                    <a:lnTo>
                      <a:pt x="386" y="718"/>
                    </a:lnTo>
                    <a:lnTo>
                      <a:pt x="386" y="716"/>
                    </a:lnTo>
                    <a:lnTo>
                      <a:pt x="386" y="718"/>
                    </a:lnTo>
                    <a:lnTo>
                      <a:pt x="388" y="718"/>
                    </a:lnTo>
                    <a:close/>
                    <a:moveTo>
                      <a:pt x="386" y="742"/>
                    </a:moveTo>
                    <a:lnTo>
                      <a:pt x="386" y="743"/>
                    </a:lnTo>
                    <a:lnTo>
                      <a:pt x="386" y="745"/>
                    </a:lnTo>
                    <a:lnTo>
                      <a:pt x="386" y="747"/>
                    </a:lnTo>
                    <a:lnTo>
                      <a:pt x="384" y="745"/>
                    </a:lnTo>
                    <a:lnTo>
                      <a:pt x="383" y="745"/>
                    </a:lnTo>
                    <a:lnTo>
                      <a:pt x="384" y="743"/>
                    </a:lnTo>
                    <a:lnTo>
                      <a:pt x="384" y="742"/>
                    </a:lnTo>
                    <a:lnTo>
                      <a:pt x="386" y="742"/>
                    </a:lnTo>
                    <a:close/>
                    <a:moveTo>
                      <a:pt x="207" y="1473"/>
                    </a:moveTo>
                    <a:lnTo>
                      <a:pt x="209" y="1473"/>
                    </a:lnTo>
                    <a:lnTo>
                      <a:pt x="209" y="1475"/>
                    </a:lnTo>
                    <a:lnTo>
                      <a:pt x="207" y="1473"/>
                    </a:lnTo>
                    <a:lnTo>
                      <a:pt x="206" y="1475"/>
                    </a:lnTo>
                    <a:lnTo>
                      <a:pt x="204" y="1473"/>
                    </a:lnTo>
                    <a:lnTo>
                      <a:pt x="206" y="1471"/>
                    </a:lnTo>
                    <a:lnTo>
                      <a:pt x="206" y="1473"/>
                    </a:lnTo>
                    <a:lnTo>
                      <a:pt x="206" y="1471"/>
                    </a:lnTo>
                    <a:lnTo>
                      <a:pt x="207" y="1471"/>
                    </a:lnTo>
                    <a:lnTo>
                      <a:pt x="207" y="1473"/>
                    </a:lnTo>
                    <a:close/>
                    <a:moveTo>
                      <a:pt x="384" y="738"/>
                    </a:moveTo>
                    <a:lnTo>
                      <a:pt x="386" y="738"/>
                    </a:lnTo>
                    <a:lnTo>
                      <a:pt x="386" y="742"/>
                    </a:lnTo>
                    <a:lnTo>
                      <a:pt x="384" y="742"/>
                    </a:lnTo>
                    <a:lnTo>
                      <a:pt x="384" y="738"/>
                    </a:lnTo>
                    <a:close/>
                    <a:moveTo>
                      <a:pt x="386" y="687"/>
                    </a:moveTo>
                    <a:lnTo>
                      <a:pt x="389" y="687"/>
                    </a:lnTo>
                    <a:lnTo>
                      <a:pt x="389" y="689"/>
                    </a:lnTo>
                    <a:lnTo>
                      <a:pt x="386" y="689"/>
                    </a:lnTo>
                    <a:lnTo>
                      <a:pt x="386" y="687"/>
                    </a:lnTo>
                    <a:close/>
                    <a:moveTo>
                      <a:pt x="389" y="679"/>
                    </a:moveTo>
                    <a:lnTo>
                      <a:pt x="391" y="679"/>
                    </a:lnTo>
                    <a:lnTo>
                      <a:pt x="391" y="680"/>
                    </a:lnTo>
                    <a:lnTo>
                      <a:pt x="389" y="680"/>
                    </a:lnTo>
                    <a:lnTo>
                      <a:pt x="389" y="679"/>
                    </a:lnTo>
                    <a:close/>
                    <a:moveTo>
                      <a:pt x="381" y="672"/>
                    </a:moveTo>
                    <a:lnTo>
                      <a:pt x="383" y="672"/>
                    </a:lnTo>
                    <a:lnTo>
                      <a:pt x="383" y="675"/>
                    </a:lnTo>
                    <a:lnTo>
                      <a:pt x="381" y="675"/>
                    </a:lnTo>
                    <a:lnTo>
                      <a:pt x="381" y="672"/>
                    </a:lnTo>
                    <a:close/>
                    <a:moveTo>
                      <a:pt x="386" y="679"/>
                    </a:moveTo>
                    <a:lnTo>
                      <a:pt x="389" y="679"/>
                    </a:lnTo>
                    <a:lnTo>
                      <a:pt x="389" y="680"/>
                    </a:lnTo>
                    <a:lnTo>
                      <a:pt x="386" y="680"/>
                    </a:lnTo>
                    <a:lnTo>
                      <a:pt x="386" y="679"/>
                    </a:lnTo>
                    <a:close/>
                    <a:moveTo>
                      <a:pt x="386" y="728"/>
                    </a:moveTo>
                    <a:lnTo>
                      <a:pt x="388" y="728"/>
                    </a:lnTo>
                    <a:lnTo>
                      <a:pt x="388" y="731"/>
                    </a:lnTo>
                    <a:lnTo>
                      <a:pt x="386" y="731"/>
                    </a:lnTo>
                    <a:lnTo>
                      <a:pt x="386" y="728"/>
                    </a:lnTo>
                    <a:close/>
                    <a:moveTo>
                      <a:pt x="515" y="476"/>
                    </a:moveTo>
                    <a:lnTo>
                      <a:pt x="517" y="476"/>
                    </a:lnTo>
                    <a:lnTo>
                      <a:pt x="517" y="478"/>
                    </a:lnTo>
                    <a:lnTo>
                      <a:pt x="515" y="478"/>
                    </a:lnTo>
                    <a:lnTo>
                      <a:pt x="515" y="476"/>
                    </a:lnTo>
                    <a:close/>
                    <a:moveTo>
                      <a:pt x="386" y="677"/>
                    </a:moveTo>
                    <a:lnTo>
                      <a:pt x="388" y="677"/>
                    </a:lnTo>
                    <a:lnTo>
                      <a:pt x="388" y="679"/>
                    </a:lnTo>
                    <a:lnTo>
                      <a:pt x="386" y="679"/>
                    </a:lnTo>
                    <a:lnTo>
                      <a:pt x="386" y="677"/>
                    </a:lnTo>
                    <a:close/>
                    <a:moveTo>
                      <a:pt x="381" y="675"/>
                    </a:moveTo>
                    <a:lnTo>
                      <a:pt x="384" y="675"/>
                    </a:lnTo>
                    <a:lnTo>
                      <a:pt x="384" y="677"/>
                    </a:lnTo>
                    <a:lnTo>
                      <a:pt x="381" y="677"/>
                    </a:lnTo>
                    <a:lnTo>
                      <a:pt x="381" y="675"/>
                    </a:lnTo>
                    <a:close/>
                    <a:moveTo>
                      <a:pt x="255" y="956"/>
                    </a:moveTo>
                    <a:lnTo>
                      <a:pt x="257" y="956"/>
                    </a:lnTo>
                    <a:lnTo>
                      <a:pt x="255" y="956"/>
                    </a:lnTo>
                    <a:close/>
                    <a:moveTo>
                      <a:pt x="513" y="493"/>
                    </a:moveTo>
                    <a:lnTo>
                      <a:pt x="515" y="493"/>
                    </a:lnTo>
                    <a:lnTo>
                      <a:pt x="513" y="493"/>
                    </a:lnTo>
                    <a:close/>
                    <a:moveTo>
                      <a:pt x="318" y="1458"/>
                    </a:moveTo>
                    <a:lnTo>
                      <a:pt x="320" y="1458"/>
                    </a:lnTo>
                    <a:lnTo>
                      <a:pt x="320" y="1459"/>
                    </a:lnTo>
                    <a:lnTo>
                      <a:pt x="318" y="1459"/>
                    </a:lnTo>
                    <a:lnTo>
                      <a:pt x="318" y="1458"/>
                    </a:lnTo>
                    <a:close/>
                    <a:moveTo>
                      <a:pt x="269" y="952"/>
                    </a:moveTo>
                    <a:lnTo>
                      <a:pt x="270" y="952"/>
                    </a:lnTo>
                    <a:lnTo>
                      <a:pt x="270" y="954"/>
                    </a:lnTo>
                    <a:lnTo>
                      <a:pt x="269" y="954"/>
                    </a:lnTo>
                    <a:lnTo>
                      <a:pt x="269" y="952"/>
                    </a:lnTo>
                    <a:close/>
                    <a:moveTo>
                      <a:pt x="389" y="689"/>
                    </a:moveTo>
                    <a:lnTo>
                      <a:pt x="391" y="689"/>
                    </a:lnTo>
                    <a:lnTo>
                      <a:pt x="389" y="689"/>
                    </a:lnTo>
                    <a:close/>
                    <a:moveTo>
                      <a:pt x="383" y="718"/>
                    </a:moveTo>
                    <a:lnTo>
                      <a:pt x="384" y="718"/>
                    </a:lnTo>
                    <a:lnTo>
                      <a:pt x="384" y="719"/>
                    </a:lnTo>
                    <a:lnTo>
                      <a:pt x="383" y="719"/>
                    </a:lnTo>
                    <a:lnTo>
                      <a:pt x="383" y="718"/>
                    </a:lnTo>
                    <a:close/>
                    <a:moveTo>
                      <a:pt x="529" y="502"/>
                    </a:moveTo>
                    <a:lnTo>
                      <a:pt x="530" y="502"/>
                    </a:lnTo>
                    <a:lnTo>
                      <a:pt x="530" y="503"/>
                    </a:lnTo>
                    <a:lnTo>
                      <a:pt x="529" y="503"/>
                    </a:lnTo>
                    <a:lnTo>
                      <a:pt x="529" y="502"/>
                    </a:lnTo>
                    <a:close/>
                    <a:moveTo>
                      <a:pt x="515" y="474"/>
                    </a:moveTo>
                    <a:lnTo>
                      <a:pt x="515" y="476"/>
                    </a:lnTo>
                    <a:lnTo>
                      <a:pt x="515" y="474"/>
                    </a:lnTo>
                    <a:close/>
                    <a:moveTo>
                      <a:pt x="381" y="716"/>
                    </a:moveTo>
                    <a:lnTo>
                      <a:pt x="383" y="716"/>
                    </a:lnTo>
                    <a:lnTo>
                      <a:pt x="383" y="718"/>
                    </a:lnTo>
                    <a:lnTo>
                      <a:pt x="381" y="718"/>
                    </a:lnTo>
                    <a:lnTo>
                      <a:pt x="381" y="716"/>
                    </a:lnTo>
                    <a:close/>
                    <a:moveTo>
                      <a:pt x="383" y="674"/>
                    </a:moveTo>
                    <a:lnTo>
                      <a:pt x="384" y="674"/>
                    </a:lnTo>
                    <a:lnTo>
                      <a:pt x="384" y="675"/>
                    </a:lnTo>
                    <a:lnTo>
                      <a:pt x="383" y="675"/>
                    </a:lnTo>
                    <a:lnTo>
                      <a:pt x="383" y="674"/>
                    </a:lnTo>
                    <a:close/>
                    <a:moveTo>
                      <a:pt x="315" y="1459"/>
                    </a:moveTo>
                    <a:lnTo>
                      <a:pt x="315" y="1461"/>
                    </a:lnTo>
                    <a:lnTo>
                      <a:pt x="315" y="1459"/>
                    </a:lnTo>
                    <a:close/>
                    <a:moveTo>
                      <a:pt x="515" y="476"/>
                    </a:moveTo>
                    <a:lnTo>
                      <a:pt x="515" y="478"/>
                    </a:lnTo>
                    <a:lnTo>
                      <a:pt x="515" y="476"/>
                    </a:lnTo>
                    <a:close/>
                    <a:moveTo>
                      <a:pt x="517" y="474"/>
                    </a:moveTo>
                    <a:lnTo>
                      <a:pt x="519" y="474"/>
                    </a:lnTo>
                    <a:lnTo>
                      <a:pt x="519" y="476"/>
                    </a:lnTo>
                    <a:lnTo>
                      <a:pt x="517" y="476"/>
                    </a:lnTo>
                    <a:lnTo>
                      <a:pt x="517" y="474"/>
                    </a:lnTo>
                    <a:close/>
                    <a:moveTo>
                      <a:pt x="383" y="687"/>
                    </a:moveTo>
                    <a:lnTo>
                      <a:pt x="384" y="687"/>
                    </a:lnTo>
                    <a:lnTo>
                      <a:pt x="383" y="687"/>
                    </a:lnTo>
                    <a:close/>
                    <a:moveTo>
                      <a:pt x="257" y="956"/>
                    </a:moveTo>
                    <a:lnTo>
                      <a:pt x="258" y="956"/>
                    </a:lnTo>
                    <a:lnTo>
                      <a:pt x="258" y="958"/>
                    </a:lnTo>
                    <a:lnTo>
                      <a:pt x="257" y="958"/>
                    </a:lnTo>
                    <a:lnTo>
                      <a:pt x="257" y="956"/>
                    </a:lnTo>
                    <a:close/>
                    <a:moveTo>
                      <a:pt x="384" y="675"/>
                    </a:moveTo>
                    <a:lnTo>
                      <a:pt x="386" y="675"/>
                    </a:lnTo>
                    <a:lnTo>
                      <a:pt x="384" y="675"/>
                    </a:lnTo>
                    <a:close/>
                    <a:moveTo>
                      <a:pt x="386" y="723"/>
                    </a:moveTo>
                    <a:lnTo>
                      <a:pt x="388" y="723"/>
                    </a:lnTo>
                    <a:lnTo>
                      <a:pt x="388" y="725"/>
                    </a:lnTo>
                    <a:lnTo>
                      <a:pt x="386" y="725"/>
                    </a:lnTo>
                    <a:lnTo>
                      <a:pt x="386" y="723"/>
                    </a:lnTo>
                    <a:close/>
                    <a:moveTo>
                      <a:pt x="265" y="954"/>
                    </a:moveTo>
                    <a:lnTo>
                      <a:pt x="267" y="954"/>
                    </a:lnTo>
                    <a:lnTo>
                      <a:pt x="265" y="954"/>
                    </a:lnTo>
                    <a:close/>
                    <a:moveTo>
                      <a:pt x="381" y="721"/>
                    </a:moveTo>
                    <a:lnTo>
                      <a:pt x="383" y="721"/>
                    </a:lnTo>
                    <a:lnTo>
                      <a:pt x="381" y="721"/>
                    </a:lnTo>
                    <a:close/>
                    <a:moveTo>
                      <a:pt x="383" y="721"/>
                    </a:moveTo>
                    <a:lnTo>
                      <a:pt x="383" y="723"/>
                    </a:lnTo>
                    <a:lnTo>
                      <a:pt x="383" y="721"/>
                    </a:lnTo>
                    <a:close/>
                    <a:moveTo>
                      <a:pt x="274" y="951"/>
                    </a:moveTo>
                    <a:lnTo>
                      <a:pt x="274" y="952"/>
                    </a:lnTo>
                    <a:lnTo>
                      <a:pt x="274" y="951"/>
                    </a:lnTo>
                    <a:close/>
                    <a:moveTo>
                      <a:pt x="367" y="767"/>
                    </a:moveTo>
                    <a:lnTo>
                      <a:pt x="369" y="767"/>
                    </a:lnTo>
                    <a:lnTo>
                      <a:pt x="367" y="767"/>
                    </a:lnTo>
                    <a:close/>
                    <a:moveTo>
                      <a:pt x="517" y="474"/>
                    </a:moveTo>
                    <a:lnTo>
                      <a:pt x="519" y="474"/>
                    </a:lnTo>
                    <a:lnTo>
                      <a:pt x="517" y="474"/>
                    </a:lnTo>
                    <a:close/>
                    <a:moveTo>
                      <a:pt x="515" y="471"/>
                    </a:moveTo>
                    <a:lnTo>
                      <a:pt x="515" y="473"/>
                    </a:lnTo>
                    <a:lnTo>
                      <a:pt x="515" y="471"/>
                    </a:lnTo>
                    <a:close/>
                    <a:moveTo>
                      <a:pt x="513" y="476"/>
                    </a:moveTo>
                    <a:lnTo>
                      <a:pt x="515" y="476"/>
                    </a:lnTo>
                    <a:lnTo>
                      <a:pt x="513" y="476"/>
                    </a:lnTo>
                    <a:close/>
                    <a:moveTo>
                      <a:pt x="209" y="1473"/>
                    </a:moveTo>
                    <a:lnTo>
                      <a:pt x="209" y="1475"/>
                    </a:lnTo>
                    <a:lnTo>
                      <a:pt x="209" y="1473"/>
                    </a:lnTo>
                    <a:close/>
                    <a:moveTo>
                      <a:pt x="388" y="721"/>
                    </a:moveTo>
                    <a:lnTo>
                      <a:pt x="389" y="721"/>
                    </a:lnTo>
                    <a:lnTo>
                      <a:pt x="389" y="723"/>
                    </a:lnTo>
                    <a:lnTo>
                      <a:pt x="388" y="723"/>
                    </a:lnTo>
                    <a:lnTo>
                      <a:pt x="388" y="721"/>
                    </a:lnTo>
                    <a:close/>
                    <a:moveTo>
                      <a:pt x="384" y="677"/>
                    </a:moveTo>
                    <a:lnTo>
                      <a:pt x="386" y="677"/>
                    </a:lnTo>
                    <a:lnTo>
                      <a:pt x="384" y="677"/>
                    </a:lnTo>
                    <a:close/>
                    <a:moveTo>
                      <a:pt x="394" y="680"/>
                    </a:moveTo>
                    <a:lnTo>
                      <a:pt x="394" y="682"/>
                    </a:lnTo>
                    <a:lnTo>
                      <a:pt x="394" y="680"/>
                    </a:lnTo>
                    <a:close/>
                    <a:moveTo>
                      <a:pt x="512" y="464"/>
                    </a:moveTo>
                    <a:lnTo>
                      <a:pt x="512" y="466"/>
                    </a:lnTo>
                    <a:lnTo>
                      <a:pt x="512" y="464"/>
                    </a:lnTo>
                    <a:close/>
                  </a:path>
                </a:pathLst>
              </a:custGeom>
              <a:solidFill>
                <a:schemeClr val="accent1"/>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2" name="Freeform 12">
                <a:extLst>
                  <a:ext uri="{FF2B5EF4-FFF2-40B4-BE49-F238E27FC236}">
                    <a16:creationId xmlns:a16="http://schemas.microsoft.com/office/drawing/2014/main" id="{D0CA2042-1D74-2124-C35A-4E189A90A6EC}"/>
                  </a:ext>
                </a:extLst>
              </p:cNvPr>
              <p:cNvSpPr>
                <a:spLocks noEditPoints="1"/>
              </p:cNvSpPr>
              <p:nvPr/>
            </p:nvSpPr>
            <p:spPr bwMode="auto">
              <a:xfrm>
                <a:off x="5683575" y="2820535"/>
                <a:ext cx="2056" cy="2056"/>
              </a:xfrm>
              <a:custGeom>
                <a:avLst/>
                <a:gdLst>
                  <a:gd name="T0" fmla="*/ 0 w 7"/>
                  <a:gd name="T1" fmla="*/ 0 h 7"/>
                  <a:gd name="T2" fmla="*/ 2 w 7"/>
                  <a:gd name="T3" fmla="*/ 0 h 7"/>
                  <a:gd name="T4" fmla="*/ 2 w 7"/>
                  <a:gd name="T5" fmla="*/ 2 h 7"/>
                  <a:gd name="T6" fmla="*/ 3 w 7"/>
                  <a:gd name="T7" fmla="*/ 2 h 7"/>
                  <a:gd name="T8" fmla="*/ 3 w 7"/>
                  <a:gd name="T9" fmla="*/ 3 h 7"/>
                  <a:gd name="T10" fmla="*/ 5 w 7"/>
                  <a:gd name="T11" fmla="*/ 3 h 7"/>
                  <a:gd name="T12" fmla="*/ 5 w 7"/>
                  <a:gd name="T13" fmla="*/ 5 h 7"/>
                  <a:gd name="T14" fmla="*/ 7 w 7"/>
                  <a:gd name="T15" fmla="*/ 5 h 7"/>
                  <a:gd name="T16" fmla="*/ 7 w 7"/>
                  <a:gd name="T17" fmla="*/ 7 h 7"/>
                  <a:gd name="T18" fmla="*/ 5 w 7"/>
                  <a:gd name="T19" fmla="*/ 7 h 7"/>
                  <a:gd name="T20" fmla="*/ 3 w 7"/>
                  <a:gd name="T21" fmla="*/ 7 h 7"/>
                  <a:gd name="T22" fmla="*/ 3 w 7"/>
                  <a:gd name="T23" fmla="*/ 5 h 7"/>
                  <a:gd name="T24" fmla="*/ 2 w 7"/>
                  <a:gd name="T25" fmla="*/ 5 h 7"/>
                  <a:gd name="T26" fmla="*/ 2 w 7"/>
                  <a:gd name="T27" fmla="*/ 3 h 7"/>
                  <a:gd name="T28" fmla="*/ 0 w 7"/>
                  <a:gd name="T29" fmla="*/ 3 h 7"/>
                  <a:gd name="T30" fmla="*/ 0 w 7"/>
                  <a:gd name="T31" fmla="*/ 2 h 7"/>
                  <a:gd name="T32" fmla="*/ 0 w 7"/>
                  <a:gd name="T33" fmla="*/ 0 h 7"/>
                  <a:gd name="T34" fmla="*/ 2 w 7"/>
                  <a:gd name="T35" fmla="*/ 5 h 7"/>
                  <a:gd name="T36" fmla="*/ 3 w 7"/>
                  <a:gd name="T37" fmla="*/ 5 h 7"/>
                  <a:gd name="T38" fmla="*/ 2 w 7"/>
                  <a:gd name="T3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 h="7">
                    <a:moveTo>
                      <a:pt x="0" y="0"/>
                    </a:moveTo>
                    <a:lnTo>
                      <a:pt x="2" y="0"/>
                    </a:lnTo>
                    <a:lnTo>
                      <a:pt x="2" y="2"/>
                    </a:lnTo>
                    <a:lnTo>
                      <a:pt x="3" y="2"/>
                    </a:lnTo>
                    <a:lnTo>
                      <a:pt x="3" y="3"/>
                    </a:lnTo>
                    <a:lnTo>
                      <a:pt x="5" y="3"/>
                    </a:lnTo>
                    <a:lnTo>
                      <a:pt x="5" y="5"/>
                    </a:lnTo>
                    <a:lnTo>
                      <a:pt x="7" y="5"/>
                    </a:lnTo>
                    <a:lnTo>
                      <a:pt x="7" y="7"/>
                    </a:lnTo>
                    <a:lnTo>
                      <a:pt x="5" y="7"/>
                    </a:lnTo>
                    <a:lnTo>
                      <a:pt x="3" y="7"/>
                    </a:lnTo>
                    <a:lnTo>
                      <a:pt x="3" y="5"/>
                    </a:lnTo>
                    <a:lnTo>
                      <a:pt x="2" y="5"/>
                    </a:lnTo>
                    <a:lnTo>
                      <a:pt x="2" y="3"/>
                    </a:lnTo>
                    <a:lnTo>
                      <a:pt x="0" y="3"/>
                    </a:lnTo>
                    <a:lnTo>
                      <a:pt x="0" y="2"/>
                    </a:lnTo>
                    <a:lnTo>
                      <a:pt x="0" y="0"/>
                    </a:lnTo>
                    <a:close/>
                    <a:moveTo>
                      <a:pt x="2" y="5"/>
                    </a:moveTo>
                    <a:lnTo>
                      <a:pt x="3" y="5"/>
                    </a:lnTo>
                    <a:lnTo>
                      <a:pt x="2" y="5"/>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4" name="Freeform 14">
                <a:extLst>
                  <a:ext uri="{FF2B5EF4-FFF2-40B4-BE49-F238E27FC236}">
                    <a16:creationId xmlns:a16="http://schemas.microsoft.com/office/drawing/2014/main" id="{EE4B53D8-7570-EF59-47F0-6E1A39F2832D}"/>
                  </a:ext>
                </a:extLst>
              </p:cNvPr>
              <p:cNvSpPr>
                <a:spLocks/>
              </p:cNvSpPr>
              <p:nvPr/>
            </p:nvSpPr>
            <p:spPr bwMode="auto">
              <a:xfrm>
                <a:off x="5786963" y="2813485"/>
                <a:ext cx="2056" cy="2644"/>
              </a:xfrm>
              <a:custGeom>
                <a:avLst/>
                <a:gdLst>
                  <a:gd name="T0" fmla="*/ 2 w 7"/>
                  <a:gd name="T1" fmla="*/ 0 h 9"/>
                  <a:gd name="T2" fmla="*/ 2 w 7"/>
                  <a:gd name="T3" fmla="*/ 2 h 9"/>
                  <a:gd name="T4" fmla="*/ 3 w 7"/>
                  <a:gd name="T5" fmla="*/ 2 h 9"/>
                  <a:gd name="T6" fmla="*/ 3 w 7"/>
                  <a:gd name="T7" fmla="*/ 4 h 9"/>
                  <a:gd name="T8" fmla="*/ 5 w 7"/>
                  <a:gd name="T9" fmla="*/ 4 h 9"/>
                  <a:gd name="T10" fmla="*/ 5 w 7"/>
                  <a:gd name="T11" fmla="*/ 5 h 9"/>
                  <a:gd name="T12" fmla="*/ 7 w 7"/>
                  <a:gd name="T13" fmla="*/ 5 h 9"/>
                  <a:gd name="T14" fmla="*/ 7 w 7"/>
                  <a:gd name="T15" fmla="*/ 7 h 9"/>
                  <a:gd name="T16" fmla="*/ 7 w 7"/>
                  <a:gd name="T17" fmla="*/ 9 h 9"/>
                  <a:gd name="T18" fmla="*/ 5 w 7"/>
                  <a:gd name="T19" fmla="*/ 9 h 9"/>
                  <a:gd name="T20" fmla="*/ 3 w 7"/>
                  <a:gd name="T21" fmla="*/ 9 h 9"/>
                  <a:gd name="T22" fmla="*/ 2 w 7"/>
                  <a:gd name="T23" fmla="*/ 9 h 9"/>
                  <a:gd name="T24" fmla="*/ 0 w 7"/>
                  <a:gd name="T25" fmla="*/ 7 h 9"/>
                  <a:gd name="T26" fmla="*/ 0 w 7"/>
                  <a:gd name="T27" fmla="*/ 5 h 9"/>
                  <a:gd name="T28" fmla="*/ 0 w 7"/>
                  <a:gd name="T29" fmla="*/ 4 h 9"/>
                  <a:gd name="T30" fmla="*/ 0 w 7"/>
                  <a:gd name="T31" fmla="*/ 2 h 9"/>
                  <a:gd name="T32" fmla="*/ 0 w 7"/>
                  <a:gd name="T33" fmla="*/ 0 h 9"/>
                  <a:gd name="T34" fmla="*/ 2 w 7"/>
                  <a:gd name="T3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9">
                    <a:moveTo>
                      <a:pt x="2" y="0"/>
                    </a:moveTo>
                    <a:lnTo>
                      <a:pt x="2" y="2"/>
                    </a:lnTo>
                    <a:lnTo>
                      <a:pt x="3" y="2"/>
                    </a:lnTo>
                    <a:lnTo>
                      <a:pt x="3" y="4"/>
                    </a:lnTo>
                    <a:lnTo>
                      <a:pt x="5" y="4"/>
                    </a:lnTo>
                    <a:lnTo>
                      <a:pt x="5" y="5"/>
                    </a:lnTo>
                    <a:lnTo>
                      <a:pt x="7" y="5"/>
                    </a:lnTo>
                    <a:lnTo>
                      <a:pt x="7" y="7"/>
                    </a:lnTo>
                    <a:lnTo>
                      <a:pt x="7" y="9"/>
                    </a:lnTo>
                    <a:lnTo>
                      <a:pt x="5" y="9"/>
                    </a:lnTo>
                    <a:lnTo>
                      <a:pt x="3" y="9"/>
                    </a:lnTo>
                    <a:lnTo>
                      <a:pt x="2" y="9"/>
                    </a:lnTo>
                    <a:lnTo>
                      <a:pt x="0" y="7"/>
                    </a:lnTo>
                    <a:lnTo>
                      <a:pt x="0" y="5"/>
                    </a:lnTo>
                    <a:lnTo>
                      <a:pt x="0" y="4"/>
                    </a:lnTo>
                    <a:lnTo>
                      <a:pt x="0" y="2"/>
                    </a:lnTo>
                    <a:lnTo>
                      <a:pt x="0" y="0"/>
                    </a:lnTo>
                    <a:lnTo>
                      <a:pt x="2"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 name="Freeform 16">
                <a:extLst>
                  <a:ext uri="{FF2B5EF4-FFF2-40B4-BE49-F238E27FC236}">
                    <a16:creationId xmlns:a16="http://schemas.microsoft.com/office/drawing/2014/main" id="{57A9C2A5-739D-4E9A-26A2-CF3307E8F913}"/>
                  </a:ext>
                </a:extLst>
              </p:cNvPr>
              <p:cNvSpPr>
                <a:spLocks/>
              </p:cNvSpPr>
              <p:nvPr/>
            </p:nvSpPr>
            <p:spPr bwMode="auto">
              <a:xfrm>
                <a:off x="5687688" y="3043466"/>
                <a:ext cx="120719" cy="136874"/>
              </a:xfrm>
              <a:custGeom>
                <a:avLst/>
                <a:gdLst>
                  <a:gd name="T0" fmla="*/ 306 w 411"/>
                  <a:gd name="T1" fmla="*/ 342 h 466"/>
                  <a:gd name="T2" fmla="*/ 231 w 411"/>
                  <a:gd name="T3" fmla="*/ 435 h 466"/>
                  <a:gd name="T4" fmla="*/ 188 w 411"/>
                  <a:gd name="T5" fmla="*/ 444 h 466"/>
                  <a:gd name="T6" fmla="*/ 182 w 411"/>
                  <a:gd name="T7" fmla="*/ 464 h 466"/>
                  <a:gd name="T8" fmla="*/ 175 w 411"/>
                  <a:gd name="T9" fmla="*/ 450 h 466"/>
                  <a:gd name="T10" fmla="*/ 156 w 411"/>
                  <a:gd name="T11" fmla="*/ 435 h 466"/>
                  <a:gd name="T12" fmla="*/ 125 w 411"/>
                  <a:gd name="T13" fmla="*/ 430 h 466"/>
                  <a:gd name="T14" fmla="*/ 112 w 411"/>
                  <a:gd name="T15" fmla="*/ 437 h 466"/>
                  <a:gd name="T16" fmla="*/ 85 w 411"/>
                  <a:gd name="T17" fmla="*/ 459 h 466"/>
                  <a:gd name="T18" fmla="*/ 59 w 411"/>
                  <a:gd name="T19" fmla="*/ 452 h 466"/>
                  <a:gd name="T20" fmla="*/ 54 w 411"/>
                  <a:gd name="T21" fmla="*/ 427 h 466"/>
                  <a:gd name="T22" fmla="*/ 42 w 411"/>
                  <a:gd name="T23" fmla="*/ 394 h 466"/>
                  <a:gd name="T24" fmla="*/ 32 w 411"/>
                  <a:gd name="T25" fmla="*/ 379 h 466"/>
                  <a:gd name="T26" fmla="*/ 37 w 411"/>
                  <a:gd name="T27" fmla="*/ 362 h 466"/>
                  <a:gd name="T28" fmla="*/ 37 w 411"/>
                  <a:gd name="T29" fmla="*/ 347 h 466"/>
                  <a:gd name="T30" fmla="*/ 29 w 411"/>
                  <a:gd name="T31" fmla="*/ 328 h 466"/>
                  <a:gd name="T32" fmla="*/ 22 w 411"/>
                  <a:gd name="T33" fmla="*/ 308 h 466"/>
                  <a:gd name="T34" fmla="*/ 18 w 411"/>
                  <a:gd name="T35" fmla="*/ 290 h 466"/>
                  <a:gd name="T36" fmla="*/ 6 w 411"/>
                  <a:gd name="T37" fmla="*/ 267 h 466"/>
                  <a:gd name="T38" fmla="*/ 10 w 411"/>
                  <a:gd name="T39" fmla="*/ 253 h 466"/>
                  <a:gd name="T40" fmla="*/ 22 w 411"/>
                  <a:gd name="T41" fmla="*/ 234 h 466"/>
                  <a:gd name="T42" fmla="*/ 12 w 411"/>
                  <a:gd name="T43" fmla="*/ 200 h 466"/>
                  <a:gd name="T44" fmla="*/ 13 w 411"/>
                  <a:gd name="T45" fmla="*/ 188 h 466"/>
                  <a:gd name="T46" fmla="*/ 15 w 411"/>
                  <a:gd name="T47" fmla="*/ 168 h 466"/>
                  <a:gd name="T48" fmla="*/ 27 w 411"/>
                  <a:gd name="T49" fmla="*/ 154 h 466"/>
                  <a:gd name="T50" fmla="*/ 23 w 411"/>
                  <a:gd name="T51" fmla="*/ 136 h 466"/>
                  <a:gd name="T52" fmla="*/ 27 w 411"/>
                  <a:gd name="T53" fmla="*/ 114 h 466"/>
                  <a:gd name="T54" fmla="*/ 32 w 411"/>
                  <a:gd name="T55" fmla="*/ 100 h 466"/>
                  <a:gd name="T56" fmla="*/ 18 w 411"/>
                  <a:gd name="T57" fmla="*/ 68 h 466"/>
                  <a:gd name="T58" fmla="*/ 6 w 411"/>
                  <a:gd name="T59" fmla="*/ 42 h 466"/>
                  <a:gd name="T60" fmla="*/ 23 w 411"/>
                  <a:gd name="T61" fmla="*/ 44 h 466"/>
                  <a:gd name="T62" fmla="*/ 39 w 411"/>
                  <a:gd name="T63" fmla="*/ 46 h 466"/>
                  <a:gd name="T64" fmla="*/ 54 w 411"/>
                  <a:gd name="T65" fmla="*/ 34 h 466"/>
                  <a:gd name="T66" fmla="*/ 71 w 411"/>
                  <a:gd name="T67" fmla="*/ 27 h 466"/>
                  <a:gd name="T68" fmla="*/ 86 w 411"/>
                  <a:gd name="T69" fmla="*/ 20 h 466"/>
                  <a:gd name="T70" fmla="*/ 103 w 411"/>
                  <a:gd name="T71" fmla="*/ 6 h 466"/>
                  <a:gd name="T72" fmla="*/ 120 w 411"/>
                  <a:gd name="T73" fmla="*/ 3 h 466"/>
                  <a:gd name="T74" fmla="*/ 132 w 411"/>
                  <a:gd name="T75" fmla="*/ 3 h 466"/>
                  <a:gd name="T76" fmla="*/ 141 w 411"/>
                  <a:gd name="T77" fmla="*/ 3 h 466"/>
                  <a:gd name="T78" fmla="*/ 148 w 411"/>
                  <a:gd name="T79" fmla="*/ 13 h 466"/>
                  <a:gd name="T80" fmla="*/ 146 w 411"/>
                  <a:gd name="T81" fmla="*/ 34 h 466"/>
                  <a:gd name="T82" fmla="*/ 146 w 411"/>
                  <a:gd name="T83" fmla="*/ 54 h 466"/>
                  <a:gd name="T84" fmla="*/ 154 w 411"/>
                  <a:gd name="T85" fmla="*/ 69 h 466"/>
                  <a:gd name="T86" fmla="*/ 166 w 411"/>
                  <a:gd name="T87" fmla="*/ 85 h 466"/>
                  <a:gd name="T88" fmla="*/ 175 w 411"/>
                  <a:gd name="T89" fmla="*/ 93 h 466"/>
                  <a:gd name="T90" fmla="*/ 193 w 411"/>
                  <a:gd name="T91" fmla="*/ 97 h 466"/>
                  <a:gd name="T92" fmla="*/ 212 w 411"/>
                  <a:gd name="T93" fmla="*/ 102 h 466"/>
                  <a:gd name="T94" fmla="*/ 226 w 411"/>
                  <a:gd name="T95" fmla="*/ 108 h 466"/>
                  <a:gd name="T96" fmla="*/ 241 w 411"/>
                  <a:gd name="T97" fmla="*/ 117 h 466"/>
                  <a:gd name="T98" fmla="*/ 255 w 411"/>
                  <a:gd name="T99" fmla="*/ 119 h 466"/>
                  <a:gd name="T100" fmla="*/ 268 w 411"/>
                  <a:gd name="T101" fmla="*/ 132 h 466"/>
                  <a:gd name="T102" fmla="*/ 285 w 411"/>
                  <a:gd name="T103" fmla="*/ 132 h 466"/>
                  <a:gd name="T104" fmla="*/ 301 w 411"/>
                  <a:gd name="T105" fmla="*/ 137 h 466"/>
                  <a:gd name="T106" fmla="*/ 309 w 411"/>
                  <a:gd name="T107" fmla="*/ 144 h 466"/>
                  <a:gd name="T108" fmla="*/ 312 w 411"/>
                  <a:gd name="T109" fmla="*/ 165 h 466"/>
                  <a:gd name="T110" fmla="*/ 306 w 411"/>
                  <a:gd name="T111" fmla="*/ 187 h 466"/>
                  <a:gd name="T112" fmla="*/ 343 w 411"/>
                  <a:gd name="T113" fmla="*/ 228 h 466"/>
                  <a:gd name="T114" fmla="*/ 380 w 411"/>
                  <a:gd name="T115" fmla="*/ 233 h 466"/>
                  <a:gd name="T116" fmla="*/ 379 w 411"/>
                  <a:gd name="T117" fmla="*/ 256 h 466"/>
                  <a:gd name="T118" fmla="*/ 396 w 411"/>
                  <a:gd name="T119" fmla="*/ 272 h 466"/>
                  <a:gd name="T120" fmla="*/ 408 w 411"/>
                  <a:gd name="T121" fmla="*/ 294 h 466"/>
                  <a:gd name="T122" fmla="*/ 403 w 411"/>
                  <a:gd name="T123" fmla="*/ 325 h 466"/>
                  <a:gd name="T124" fmla="*/ 392 w 411"/>
                  <a:gd name="T125" fmla="*/ 36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1" h="466">
                    <a:moveTo>
                      <a:pt x="387" y="367"/>
                    </a:moveTo>
                    <a:lnTo>
                      <a:pt x="387" y="365"/>
                    </a:lnTo>
                    <a:lnTo>
                      <a:pt x="389" y="365"/>
                    </a:lnTo>
                    <a:lnTo>
                      <a:pt x="389" y="364"/>
                    </a:lnTo>
                    <a:lnTo>
                      <a:pt x="387" y="364"/>
                    </a:lnTo>
                    <a:lnTo>
                      <a:pt x="387" y="362"/>
                    </a:lnTo>
                    <a:lnTo>
                      <a:pt x="387" y="360"/>
                    </a:lnTo>
                    <a:lnTo>
                      <a:pt x="387" y="359"/>
                    </a:lnTo>
                    <a:lnTo>
                      <a:pt x="386" y="359"/>
                    </a:lnTo>
                    <a:lnTo>
                      <a:pt x="387" y="359"/>
                    </a:lnTo>
                    <a:lnTo>
                      <a:pt x="387" y="357"/>
                    </a:lnTo>
                    <a:lnTo>
                      <a:pt x="386" y="357"/>
                    </a:lnTo>
                    <a:lnTo>
                      <a:pt x="387" y="355"/>
                    </a:lnTo>
                    <a:lnTo>
                      <a:pt x="379" y="348"/>
                    </a:lnTo>
                    <a:lnTo>
                      <a:pt x="375" y="347"/>
                    </a:lnTo>
                    <a:lnTo>
                      <a:pt x="358" y="335"/>
                    </a:lnTo>
                    <a:lnTo>
                      <a:pt x="326" y="335"/>
                    </a:lnTo>
                    <a:lnTo>
                      <a:pt x="306" y="342"/>
                    </a:lnTo>
                    <a:lnTo>
                      <a:pt x="268" y="348"/>
                    </a:lnTo>
                    <a:lnTo>
                      <a:pt x="267" y="348"/>
                    </a:lnTo>
                    <a:lnTo>
                      <a:pt x="261" y="362"/>
                    </a:lnTo>
                    <a:lnTo>
                      <a:pt x="261" y="364"/>
                    </a:lnTo>
                    <a:lnTo>
                      <a:pt x="251" y="377"/>
                    </a:lnTo>
                    <a:lnTo>
                      <a:pt x="250" y="381"/>
                    </a:lnTo>
                    <a:lnTo>
                      <a:pt x="250" y="396"/>
                    </a:lnTo>
                    <a:lnTo>
                      <a:pt x="250" y="399"/>
                    </a:lnTo>
                    <a:lnTo>
                      <a:pt x="243" y="421"/>
                    </a:lnTo>
                    <a:lnTo>
                      <a:pt x="239" y="430"/>
                    </a:lnTo>
                    <a:lnTo>
                      <a:pt x="236" y="442"/>
                    </a:lnTo>
                    <a:lnTo>
                      <a:pt x="236" y="440"/>
                    </a:lnTo>
                    <a:lnTo>
                      <a:pt x="234" y="440"/>
                    </a:lnTo>
                    <a:lnTo>
                      <a:pt x="234" y="438"/>
                    </a:lnTo>
                    <a:lnTo>
                      <a:pt x="233" y="438"/>
                    </a:lnTo>
                    <a:lnTo>
                      <a:pt x="231" y="438"/>
                    </a:lnTo>
                    <a:lnTo>
                      <a:pt x="231" y="437"/>
                    </a:lnTo>
                    <a:lnTo>
                      <a:pt x="231" y="435"/>
                    </a:lnTo>
                    <a:lnTo>
                      <a:pt x="231" y="433"/>
                    </a:lnTo>
                    <a:lnTo>
                      <a:pt x="221" y="433"/>
                    </a:lnTo>
                    <a:lnTo>
                      <a:pt x="202" y="433"/>
                    </a:lnTo>
                    <a:lnTo>
                      <a:pt x="202" y="435"/>
                    </a:lnTo>
                    <a:lnTo>
                      <a:pt x="202" y="433"/>
                    </a:lnTo>
                    <a:lnTo>
                      <a:pt x="200" y="433"/>
                    </a:lnTo>
                    <a:lnTo>
                      <a:pt x="199" y="433"/>
                    </a:lnTo>
                    <a:lnTo>
                      <a:pt x="193" y="433"/>
                    </a:lnTo>
                    <a:lnTo>
                      <a:pt x="192" y="433"/>
                    </a:lnTo>
                    <a:lnTo>
                      <a:pt x="192" y="435"/>
                    </a:lnTo>
                    <a:lnTo>
                      <a:pt x="192" y="437"/>
                    </a:lnTo>
                    <a:lnTo>
                      <a:pt x="190" y="437"/>
                    </a:lnTo>
                    <a:lnTo>
                      <a:pt x="192" y="437"/>
                    </a:lnTo>
                    <a:lnTo>
                      <a:pt x="190" y="438"/>
                    </a:lnTo>
                    <a:lnTo>
                      <a:pt x="190" y="440"/>
                    </a:lnTo>
                    <a:lnTo>
                      <a:pt x="190" y="442"/>
                    </a:lnTo>
                    <a:lnTo>
                      <a:pt x="188" y="442"/>
                    </a:lnTo>
                    <a:lnTo>
                      <a:pt x="188" y="444"/>
                    </a:lnTo>
                    <a:lnTo>
                      <a:pt x="187" y="445"/>
                    </a:lnTo>
                    <a:lnTo>
                      <a:pt x="187" y="447"/>
                    </a:lnTo>
                    <a:lnTo>
                      <a:pt x="187" y="449"/>
                    </a:lnTo>
                    <a:lnTo>
                      <a:pt x="185" y="449"/>
                    </a:lnTo>
                    <a:lnTo>
                      <a:pt x="185" y="450"/>
                    </a:lnTo>
                    <a:lnTo>
                      <a:pt x="183" y="450"/>
                    </a:lnTo>
                    <a:lnTo>
                      <a:pt x="183" y="452"/>
                    </a:lnTo>
                    <a:lnTo>
                      <a:pt x="183" y="454"/>
                    </a:lnTo>
                    <a:lnTo>
                      <a:pt x="182" y="454"/>
                    </a:lnTo>
                    <a:lnTo>
                      <a:pt x="183" y="454"/>
                    </a:lnTo>
                    <a:lnTo>
                      <a:pt x="183" y="456"/>
                    </a:lnTo>
                    <a:lnTo>
                      <a:pt x="182" y="456"/>
                    </a:lnTo>
                    <a:lnTo>
                      <a:pt x="182" y="457"/>
                    </a:lnTo>
                    <a:lnTo>
                      <a:pt x="182" y="459"/>
                    </a:lnTo>
                    <a:lnTo>
                      <a:pt x="182" y="461"/>
                    </a:lnTo>
                    <a:lnTo>
                      <a:pt x="182" y="462"/>
                    </a:lnTo>
                    <a:lnTo>
                      <a:pt x="180" y="464"/>
                    </a:lnTo>
                    <a:lnTo>
                      <a:pt x="182" y="464"/>
                    </a:lnTo>
                    <a:lnTo>
                      <a:pt x="180" y="464"/>
                    </a:lnTo>
                    <a:lnTo>
                      <a:pt x="180" y="466"/>
                    </a:lnTo>
                    <a:lnTo>
                      <a:pt x="180" y="464"/>
                    </a:lnTo>
                    <a:lnTo>
                      <a:pt x="180" y="462"/>
                    </a:lnTo>
                    <a:lnTo>
                      <a:pt x="178" y="462"/>
                    </a:lnTo>
                    <a:lnTo>
                      <a:pt x="180" y="462"/>
                    </a:lnTo>
                    <a:lnTo>
                      <a:pt x="180" y="461"/>
                    </a:lnTo>
                    <a:lnTo>
                      <a:pt x="178" y="459"/>
                    </a:lnTo>
                    <a:lnTo>
                      <a:pt x="176" y="459"/>
                    </a:lnTo>
                    <a:lnTo>
                      <a:pt x="178" y="459"/>
                    </a:lnTo>
                    <a:lnTo>
                      <a:pt x="178" y="457"/>
                    </a:lnTo>
                    <a:lnTo>
                      <a:pt x="176" y="457"/>
                    </a:lnTo>
                    <a:lnTo>
                      <a:pt x="176" y="456"/>
                    </a:lnTo>
                    <a:lnTo>
                      <a:pt x="176" y="454"/>
                    </a:lnTo>
                    <a:lnTo>
                      <a:pt x="176" y="452"/>
                    </a:lnTo>
                    <a:lnTo>
                      <a:pt x="175" y="452"/>
                    </a:lnTo>
                    <a:lnTo>
                      <a:pt x="176" y="450"/>
                    </a:lnTo>
                    <a:lnTo>
                      <a:pt x="175" y="450"/>
                    </a:lnTo>
                    <a:lnTo>
                      <a:pt x="175" y="449"/>
                    </a:lnTo>
                    <a:lnTo>
                      <a:pt x="173" y="449"/>
                    </a:lnTo>
                    <a:lnTo>
                      <a:pt x="173" y="447"/>
                    </a:lnTo>
                    <a:lnTo>
                      <a:pt x="171" y="447"/>
                    </a:lnTo>
                    <a:lnTo>
                      <a:pt x="171" y="445"/>
                    </a:lnTo>
                    <a:lnTo>
                      <a:pt x="173" y="444"/>
                    </a:lnTo>
                    <a:lnTo>
                      <a:pt x="173" y="442"/>
                    </a:lnTo>
                    <a:lnTo>
                      <a:pt x="171" y="442"/>
                    </a:lnTo>
                    <a:lnTo>
                      <a:pt x="170" y="440"/>
                    </a:lnTo>
                    <a:lnTo>
                      <a:pt x="168" y="440"/>
                    </a:lnTo>
                    <a:lnTo>
                      <a:pt x="166" y="440"/>
                    </a:lnTo>
                    <a:lnTo>
                      <a:pt x="165" y="438"/>
                    </a:lnTo>
                    <a:lnTo>
                      <a:pt x="163" y="438"/>
                    </a:lnTo>
                    <a:lnTo>
                      <a:pt x="161" y="437"/>
                    </a:lnTo>
                    <a:lnTo>
                      <a:pt x="159" y="437"/>
                    </a:lnTo>
                    <a:lnTo>
                      <a:pt x="158" y="437"/>
                    </a:lnTo>
                    <a:lnTo>
                      <a:pt x="158" y="435"/>
                    </a:lnTo>
                    <a:lnTo>
                      <a:pt x="156" y="435"/>
                    </a:lnTo>
                    <a:lnTo>
                      <a:pt x="154" y="435"/>
                    </a:lnTo>
                    <a:lnTo>
                      <a:pt x="151" y="435"/>
                    </a:lnTo>
                    <a:lnTo>
                      <a:pt x="148" y="437"/>
                    </a:lnTo>
                    <a:lnTo>
                      <a:pt x="148" y="435"/>
                    </a:lnTo>
                    <a:lnTo>
                      <a:pt x="148" y="437"/>
                    </a:lnTo>
                    <a:lnTo>
                      <a:pt x="144" y="437"/>
                    </a:lnTo>
                    <a:lnTo>
                      <a:pt x="142" y="437"/>
                    </a:lnTo>
                    <a:lnTo>
                      <a:pt x="141" y="437"/>
                    </a:lnTo>
                    <a:lnTo>
                      <a:pt x="137" y="435"/>
                    </a:lnTo>
                    <a:lnTo>
                      <a:pt x="137" y="437"/>
                    </a:lnTo>
                    <a:lnTo>
                      <a:pt x="136" y="437"/>
                    </a:lnTo>
                    <a:lnTo>
                      <a:pt x="134" y="437"/>
                    </a:lnTo>
                    <a:lnTo>
                      <a:pt x="132" y="437"/>
                    </a:lnTo>
                    <a:lnTo>
                      <a:pt x="131" y="437"/>
                    </a:lnTo>
                    <a:lnTo>
                      <a:pt x="131" y="435"/>
                    </a:lnTo>
                    <a:lnTo>
                      <a:pt x="129" y="435"/>
                    </a:lnTo>
                    <a:lnTo>
                      <a:pt x="127" y="433"/>
                    </a:lnTo>
                    <a:lnTo>
                      <a:pt x="125" y="430"/>
                    </a:lnTo>
                    <a:lnTo>
                      <a:pt x="124" y="430"/>
                    </a:lnTo>
                    <a:lnTo>
                      <a:pt x="122" y="430"/>
                    </a:lnTo>
                    <a:lnTo>
                      <a:pt x="122" y="428"/>
                    </a:lnTo>
                    <a:lnTo>
                      <a:pt x="120" y="427"/>
                    </a:lnTo>
                    <a:lnTo>
                      <a:pt x="119" y="427"/>
                    </a:lnTo>
                    <a:lnTo>
                      <a:pt x="117" y="425"/>
                    </a:lnTo>
                    <a:lnTo>
                      <a:pt x="115" y="425"/>
                    </a:lnTo>
                    <a:lnTo>
                      <a:pt x="115" y="427"/>
                    </a:lnTo>
                    <a:lnTo>
                      <a:pt x="115" y="428"/>
                    </a:lnTo>
                    <a:lnTo>
                      <a:pt x="115" y="430"/>
                    </a:lnTo>
                    <a:lnTo>
                      <a:pt x="114" y="430"/>
                    </a:lnTo>
                    <a:lnTo>
                      <a:pt x="115" y="430"/>
                    </a:lnTo>
                    <a:lnTo>
                      <a:pt x="114" y="430"/>
                    </a:lnTo>
                    <a:lnTo>
                      <a:pt x="114" y="432"/>
                    </a:lnTo>
                    <a:lnTo>
                      <a:pt x="114" y="433"/>
                    </a:lnTo>
                    <a:lnTo>
                      <a:pt x="114" y="435"/>
                    </a:lnTo>
                    <a:lnTo>
                      <a:pt x="114" y="437"/>
                    </a:lnTo>
                    <a:lnTo>
                      <a:pt x="112" y="437"/>
                    </a:lnTo>
                    <a:lnTo>
                      <a:pt x="108" y="438"/>
                    </a:lnTo>
                    <a:lnTo>
                      <a:pt x="102" y="440"/>
                    </a:lnTo>
                    <a:lnTo>
                      <a:pt x="100" y="440"/>
                    </a:lnTo>
                    <a:lnTo>
                      <a:pt x="98" y="442"/>
                    </a:lnTo>
                    <a:lnTo>
                      <a:pt x="98" y="444"/>
                    </a:lnTo>
                    <a:lnTo>
                      <a:pt x="98" y="445"/>
                    </a:lnTo>
                    <a:lnTo>
                      <a:pt x="97" y="445"/>
                    </a:lnTo>
                    <a:lnTo>
                      <a:pt x="97" y="447"/>
                    </a:lnTo>
                    <a:lnTo>
                      <a:pt x="97" y="449"/>
                    </a:lnTo>
                    <a:lnTo>
                      <a:pt x="93" y="450"/>
                    </a:lnTo>
                    <a:lnTo>
                      <a:pt x="91" y="450"/>
                    </a:lnTo>
                    <a:lnTo>
                      <a:pt x="90" y="452"/>
                    </a:lnTo>
                    <a:lnTo>
                      <a:pt x="88" y="452"/>
                    </a:lnTo>
                    <a:lnTo>
                      <a:pt x="88" y="454"/>
                    </a:lnTo>
                    <a:lnTo>
                      <a:pt x="88" y="456"/>
                    </a:lnTo>
                    <a:lnTo>
                      <a:pt x="90" y="456"/>
                    </a:lnTo>
                    <a:lnTo>
                      <a:pt x="90" y="457"/>
                    </a:lnTo>
                    <a:lnTo>
                      <a:pt x="85" y="459"/>
                    </a:lnTo>
                    <a:lnTo>
                      <a:pt x="83" y="462"/>
                    </a:lnTo>
                    <a:lnTo>
                      <a:pt x="73" y="466"/>
                    </a:lnTo>
                    <a:lnTo>
                      <a:pt x="71" y="466"/>
                    </a:lnTo>
                    <a:lnTo>
                      <a:pt x="63" y="464"/>
                    </a:lnTo>
                    <a:lnTo>
                      <a:pt x="61" y="464"/>
                    </a:lnTo>
                    <a:lnTo>
                      <a:pt x="59" y="464"/>
                    </a:lnTo>
                    <a:lnTo>
                      <a:pt x="59" y="462"/>
                    </a:lnTo>
                    <a:lnTo>
                      <a:pt x="61" y="461"/>
                    </a:lnTo>
                    <a:lnTo>
                      <a:pt x="59" y="461"/>
                    </a:lnTo>
                    <a:lnTo>
                      <a:pt x="61" y="461"/>
                    </a:lnTo>
                    <a:lnTo>
                      <a:pt x="59" y="459"/>
                    </a:lnTo>
                    <a:lnTo>
                      <a:pt x="61" y="457"/>
                    </a:lnTo>
                    <a:lnTo>
                      <a:pt x="59" y="457"/>
                    </a:lnTo>
                    <a:lnTo>
                      <a:pt x="59" y="456"/>
                    </a:lnTo>
                    <a:lnTo>
                      <a:pt x="61" y="456"/>
                    </a:lnTo>
                    <a:lnTo>
                      <a:pt x="61" y="454"/>
                    </a:lnTo>
                    <a:lnTo>
                      <a:pt x="61" y="452"/>
                    </a:lnTo>
                    <a:lnTo>
                      <a:pt x="59" y="452"/>
                    </a:lnTo>
                    <a:lnTo>
                      <a:pt x="59" y="450"/>
                    </a:lnTo>
                    <a:lnTo>
                      <a:pt x="59" y="449"/>
                    </a:lnTo>
                    <a:lnTo>
                      <a:pt x="59" y="447"/>
                    </a:lnTo>
                    <a:lnTo>
                      <a:pt x="57" y="447"/>
                    </a:lnTo>
                    <a:lnTo>
                      <a:pt x="57" y="445"/>
                    </a:lnTo>
                    <a:lnTo>
                      <a:pt x="57" y="444"/>
                    </a:lnTo>
                    <a:lnTo>
                      <a:pt x="59" y="442"/>
                    </a:lnTo>
                    <a:lnTo>
                      <a:pt x="57" y="442"/>
                    </a:lnTo>
                    <a:lnTo>
                      <a:pt x="59" y="440"/>
                    </a:lnTo>
                    <a:lnTo>
                      <a:pt x="57" y="440"/>
                    </a:lnTo>
                    <a:lnTo>
                      <a:pt x="57" y="438"/>
                    </a:lnTo>
                    <a:lnTo>
                      <a:pt x="57" y="437"/>
                    </a:lnTo>
                    <a:lnTo>
                      <a:pt x="57" y="435"/>
                    </a:lnTo>
                    <a:lnTo>
                      <a:pt x="56" y="435"/>
                    </a:lnTo>
                    <a:lnTo>
                      <a:pt x="56" y="433"/>
                    </a:lnTo>
                    <a:lnTo>
                      <a:pt x="54" y="433"/>
                    </a:lnTo>
                    <a:lnTo>
                      <a:pt x="54" y="432"/>
                    </a:lnTo>
                    <a:lnTo>
                      <a:pt x="54" y="427"/>
                    </a:lnTo>
                    <a:lnTo>
                      <a:pt x="54" y="425"/>
                    </a:lnTo>
                    <a:lnTo>
                      <a:pt x="52" y="423"/>
                    </a:lnTo>
                    <a:lnTo>
                      <a:pt x="52" y="421"/>
                    </a:lnTo>
                    <a:lnTo>
                      <a:pt x="51" y="420"/>
                    </a:lnTo>
                    <a:lnTo>
                      <a:pt x="49" y="418"/>
                    </a:lnTo>
                    <a:lnTo>
                      <a:pt x="49" y="416"/>
                    </a:lnTo>
                    <a:lnTo>
                      <a:pt x="49" y="415"/>
                    </a:lnTo>
                    <a:lnTo>
                      <a:pt x="49" y="413"/>
                    </a:lnTo>
                    <a:lnTo>
                      <a:pt x="49" y="410"/>
                    </a:lnTo>
                    <a:lnTo>
                      <a:pt x="49" y="408"/>
                    </a:lnTo>
                    <a:lnTo>
                      <a:pt x="49" y="406"/>
                    </a:lnTo>
                    <a:lnTo>
                      <a:pt x="46" y="401"/>
                    </a:lnTo>
                    <a:lnTo>
                      <a:pt x="46" y="399"/>
                    </a:lnTo>
                    <a:lnTo>
                      <a:pt x="46" y="398"/>
                    </a:lnTo>
                    <a:lnTo>
                      <a:pt x="44" y="398"/>
                    </a:lnTo>
                    <a:lnTo>
                      <a:pt x="44" y="396"/>
                    </a:lnTo>
                    <a:lnTo>
                      <a:pt x="42" y="396"/>
                    </a:lnTo>
                    <a:lnTo>
                      <a:pt x="42" y="394"/>
                    </a:lnTo>
                    <a:lnTo>
                      <a:pt x="40" y="394"/>
                    </a:lnTo>
                    <a:lnTo>
                      <a:pt x="39" y="394"/>
                    </a:lnTo>
                    <a:lnTo>
                      <a:pt x="37" y="393"/>
                    </a:lnTo>
                    <a:lnTo>
                      <a:pt x="37" y="391"/>
                    </a:lnTo>
                    <a:lnTo>
                      <a:pt x="37" y="389"/>
                    </a:lnTo>
                    <a:lnTo>
                      <a:pt x="37" y="387"/>
                    </a:lnTo>
                    <a:lnTo>
                      <a:pt x="37" y="386"/>
                    </a:lnTo>
                    <a:lnTo>
                      <a:pt x="39" y="386"/>
                    </a:lnTo>
                    <a:lnTo>
                      <a:pt x="39" y="384"/>
                    </a:lnTo>
                    <a:lnTo>
                      <a:pt x="40" y="384"/>
                    </a:lnTo>
                    <a:lnTo>
                      <a:pt x="40" y="382"/>
                    </a:lnTo>
                    <a:lnTo>
                      <a:pt x="39" y="382"/>
                    </a:lnTo>
                    <a:lnTo>
                      <a:pt x="39" y="381"/>
                    </a:lnTo>
                    <a:lnTo>
                      <a:pt x="37" y="381"/>
                    </a:lnTo>
                    <a:lnTo>
                      <a:pt x="35" y="381"/>
                    </a:lnTo>
                    <a:lnTo>
                      <a:pt x="35" y="379"/>
                    </a:lnTo>
                    <a:lnTo>
                      <a:pt x="34" y="379"/>
                    </a:lnTo>
                    <a:lnTo>
                      <a:pt x="32" y="379"/>
                    </a:lnTo>
                    <a:lnTo>
                      <a:pt x="32" y="377"/>
                    </a:lnTo>
                    <a:lnTo>
                      <a:pt x="30" y="377"/>
                    </a:lnTo>
                    <a:lnTo>
                      <a:pt x="30" y="376"/>
                    </a:lnTo>
                    <a:lnTo>
                      <a:pt x="30" y="374"/>
                    </a:lnTo>
                    <a:lnTo>
                      <a:pt x="32" y="374"/>
                    </a:lnTo>
                    <a:lnTo>
                      <a:pt x="34" y="374"/>
                    </a:lnTo>
                    <a:lnTo>
                      <a:pt x="34" y="372"/>
                    </a:lnTo>
                    <a:lnTo>
                      <a:pt x="34" y="370"/>
                    </a:lnTo>
                    <a:lnTo>
                      <a:pt x="32" y="370"/>
                    </a:lnTo>
                    <a:lnTo>
                      <a:pt x="32" y="369"/>
                    </a:lnTo>
                    <a:lnTo>
                      <a:pt x="32" y="367"/>
                    </a:lnTo>
                    <a:lnTo>
                      <a:pt x="32" y="365"/>
                    </a:lnTo>
                    <a:lnTo>
                      <a:pt x="30" y="365"/>
                    </a:lnTo>
                    <a:lnTo>
                      <a:pt x="30" y="364"/>
                    </a:lnTo>
                    <a:lnTo>
                      <a:pt x="32" y="364"/>
                    </a:lnTo>
                    <a:lnTo>
                      <a:pt x="34" y="362"/>
                    </a:lnTo>
                    <a:lnTo>
                      <a:pt x="35" y="362"/>
                    </a:lnTo>
                    <a:lnTo>
                      <a:pt x="37" y="362"/>
                    </a:lnTo>
                    <a:lnTo>
                      <a:pt x="37" y="360"/>
                    </a:lnTo>
                    <a:lnTo>
                      <a:pt x="37" y="359"/>
                    </a:lnTo>
                    <a:lnTo>
                      <a:pt x="39" y="359"/>
                    </a:lnTo>
                    <a:lnTo>
                      <a:pt x="39" y="357"/>
                    </a:lnTo>
                    <a:lnTo>
                      <a:pt x="37" y="357"/>
                    </a:lnTo>
                    <a:lnTo>
                      <a:pt x="37" y="355"/>
                    </a:lnTo>
                    <a:lnTo>
                      <a:pt x="39" y="355"/>
                    </a:lnTo>
                    <a:lnTo>
                      <a:pt x="37" y="355"/>
                    </a:lnTo>
                    <a:lnTo>
                      <a:pt x="35" y="355"/>
                    </a:lnTo>
                    <a:lnTo>
                      <a:pt x="35" y="353"/>
                    </a:lnTo>
                    <a:lnTo>
                      <a:pt x="34" y="352"/>
                    </a:lnTo>
                    <a:lnTo>
                      <a:pt x="32" y="352"/>
                    </a:lnTo>
                    <a:lnTo>
                      <a:pt x="32" y="350"/>
                    </a:lnTo>
                    <a:lnTo>
                      <a:pt x="34" y="350"/>
                    </a:lnTo>
                    <a:lnTo>
                      <a:pt x="35" y="350"/>
                    </a:lnTo>
                    <a:lnTo>
                      <a:pt x="35" y="348"/>
                    </a:lnTo>
                    <a:lnTo>
                      <a:pt x="35" y="347"/>
                    </a:lnTo>
                    <a:lnTo>
                      <a:pt x="37" y="347"/>
                    </a:lnTo>
                    <a:lnTo>
                      <a:pt x="37" y="345"/>
                    </a:lnTo>
                    <a:lnTo>
                      <a:pt x="39" y="345"/>
                    </a:lnTo>
                    <a:lnTo>
                      <a:pt x="39" y="343"/>
                    </a:lnTo>
                    <a:lnTo>
                      <a:pt x="40" y="342"/>
                    </a:lnTo>
                    <a:lnTo>
                      <a:pt x="40" y="340"/>
                    </a:lnTo>
                    <a:lnTo>
                      <a:pt x="40" y="338"/>
                    </a:lnTo>
                    <a:lnTo>
                      <a:pt x="39" y="338"/>
                    </a:lnTo>
                    <a:lnTo>
                      <a:pt x="39" y="336"/>
                    </a:lnTo>
                    <a:lnTo>
                      <a:pt x="37" y="335"/>
                    </a:lnTo>
                    <a:lnTo>
                      <a:pt x="35" y="335"/>
                    </a:lnTo>
                    <a:lnTo>
                      <a:pt x="35" y="333"/>
                    </a:lnTo>
                    <a:lnTo>
                      <a:pt x="34" y="333"/>
                    </a:lnTo>
                    <a:lnTo>
                      <a:pt x="34" y="331"/>
                    </a:lnTo>
                    <a:lnTo>
                      <a:pt x="32" y="331"/>
                    </a:lnTo>
                    <a:lnTo>
                      <a:pt x="32" y="330"/>
                    </a:lnTo>
                    <a:lnTo>
                      <a:pt x="30" y="330"/>
                    </a:lnTo>
                    <a:lnTo>
                      <a:pt x="30" y="328"/>
                    </a:lnTo>
                    <a:lnTo>
                      <a:pt x="29" y="328"/>
                    </a:lnTo>
                    <a:lnTo>
                      <a:pt x="27" y="326"/>
                    </a:lnTo>
                    <a:lnTo>
                      <a:pt x="25" y="326"/>
                    </a:lnTo>
                    <a:lnTo>
                      <a:pt x="25" y="325"/>
                    </a:lnTo>
                    <a:lnTo>
                      <a:pt x="25" y="323"/>
                    </a:lnTo>
                    <a:lnTo>
                      <a:pt x="23" y="323"/>
                    </a:lnTo>
                    <a:lnTo>
                      <a:pt x="23" y="321"/>
                    </a:lnTo>
                    <a:lnTo>
                      <a:pt x="25" y="321"/>
                    </a:lnTo>
                    <a:lnTo>
                      <a:pt x="25" y="319"/>
                    </a:lnTo>
                    <a:lnTo>
                      <a:pt x="23" y="318"/>
                    </a:lnTo>
                    <a:lnTo>
                      <a:pt x="23" y="316"/>
                    </a:lnTo>
                    <a:lnTo>
                      <a:pt x="23" y="314"/>
                    </a:lnTo>
                    <a:lnTo>
                      <a:pt x="22" y="314"/>
                    </a:lnTo>
                    <a:lnTo>
                      <a:pt x="22" y="313"/>
                    </a:lnTo>
                    <a:lnTo>
                      <a:pt x="22" y="311"/>
                    </a:lnTo>
                    <a:lnTo>
                      <a:pt x="20" y="311"/>
                    </a:lnTo>
                    <a:lnTo>
                      <a:pt x="22" y="311"/>
                    </a:lnTo>
                    <a:lnTo>
                      <a:pt x="22" y="309"/>
                    </a:lnTo>
                    <a:lnTo>
                      <a:pt x="22" y="308"/>
                    </a:lnTo>
                    <a:lnTo>
                      <a:pt x="22" y="306"/>
                    </a:lnTo>
                    <a:lnTo>
                      <a:pt x="22" y="304"/>
                    </a:lnTo>
                    <a:lnTo>
                      <a:pt x="20" y="304"/>
                    </a:lnTo>
                    <a:lnTo>
                      <a:pt x="20" y="302"/>
                    </a:lnTo>
                    <a:lnTo>
                      <a:pt x="20" y="301"/>
                    </a:lnTo>
                    <a:lnTo>
                      <a:pt x="20" y="299"/>
                    </a:lnTo>
                    <a:lnTo>
                      <a:pt x="20" y="297"/>
                    </a:lnTo>
                    <a:lnTo>
                      <a:pt x="18" y="297"/>
                    </a:lnTo>
                    <a:lnTo>
                      <a:pt x="18" y="296"/>
                    </a:lnTo>
                    <a:lnTo>
                      <a:pt x="17" y="296"/>
                    </a:lnTo>
                    <a:lnTo>
                      <a:pt x="17" y="294"/>
                    </a:lnTo>
                    <a:lnTo>
                      <a:pt x="18" y="294"/>
                    </a:lnTo>
                    <a:lnTo>
                      <a:pt x="18" y="292"/>
                    </a:lnTo>
                    <a:lnTo>
                      <a:pt x="20" y="292"/>
                    </a:lnTo>
                    <a:lnTo>
                      <a:pt x="18" y="292"/>
                    </a:lnTo>
                    <a:lnTo>
                      <a:pt x="20" y="292"/>
                    </a:lnTo>
                    <a:lnTo>
                      <a:pt x="20" y="290"/>
                    </a:lnTo>
                    <a:lnTo>
                      <a:pt x="18" y="290"/>
                    </a:lnTo>
                    <a:lnTo>
                      <a:pt x="18" y="289"/>
                    </a:lnTo>
                    <a:lnTo>
                      <a:pt x="17" y="289"/>
                    </a:lnTo>
                    <a:lnTo>
                      <a:pt x="15" y="289"/>
                    </a:lnTo>
                    <a:lnTo>
                      <a:pt x="13" y="289"/>
                    </a:lnTo>
                    <a:lnTo>
                      <a:pt x="13" y="287"/>
                    </a:lnTo>
                    <a:lnTo>
                      <a:pt x="12" y="287"/>
                    </a:lnTo>
                    <a:lnTo>
                      <a:pt x="12" y="285"/>
                    </a:lnTo>
                    <a:lnTo>
                      <a:pt x="12" y="284"/>
                    </a:lnTo>
                    <a:lnTo>
                      <a:pt x="12" y="282"/>
                    </a:lnTo>
                    <a:lnTo>
                      <a:pt x="12" y="280"/>
                    </a:lnTo>
                    <a:lnTo>
                      <a:pt x="10" y="280"/>
                    </a:lnTo>
                    <a:lnTo>
                      <a:pt x="10" y="279"/>
                    </a:lnTo>
                    <a:lnTo>
                      <a:pt x="8" y="277"/>
                    </a:lnTo>
                    <a:lnTo>
                      <a:pt x="6" y="275"/>
                    </a:lnTo>
                    <a:lnTo>
                      <a:pt x="6" y="272"/>
                    </a:lnTo>
                    <a:lnTo>
                      <a:pt x="6" y="270"/>
                    </a:lnTo>
                    <a:lnTo>
                      <a:pt x="6" y="268"/>
                    </a:lnTo>
                    <a:lnTo>
                      <a:pt x="6" y="267"/>
                    </a:lnTo>
                    <a:lnTo>
                      <a:pt x="5" y="267"/>
                    </a:lnTo>
                    <a:lnTo>
                      <a:pt x="3" y="263"/>
                    </a:lnTo>
                    <a:lnTo>
                      <a:pt x="1" y="263"/>
                    </a:lnTo>
                    <a:lnTo>
                      <a:pt x="0" y="263"/>
                    </a:lnTo>
                    <a:lnTo>
                      <a:pt x="1" y="263"/>
                    </a:lnTo>
                    <a:lnTo>
                      <a:pt x="1" y="262"/>
                    </a:lnTo>
                    <a:lnTo>
                      <a:pt x="3" y="262"/>
                    </a:lnTo>
                    <a:lnTo>
                      <a:pt x="3" y="260"/>
                    </a:lnTo>
                    <a:lnTo>
                      <a:pt x="5" y="260"/>
                    </a:lnTo>
                    <a:lnTo>
                      <a:pt x="5" y="258"/>
                    </a:lnTo>
                    <a:lnTo>
                      <a:pt x="6" y="256"/>
                    </a:lnTo>
                    <a:lnTo>
                      <a:pt x="6" y="258"/>
                    </a:lnTo>
                    <a:lnTo>
                      <a:pt x="8" y="258"/>
                    </a:lnTo>
                    <a:lnTo>
                      <a:pt x="8" y="256"/>
                    </a:lnTo>
                    <a:lnTo>
                      <a:pt x="10" y="256"/>
                    </a:lnTo>
                    <a:lnTo>
                      <a:pt x="10" y="255"/>
                    </a:lnTo>
                    <a:lnTo>
                      <a:pt x="8" y="255"/>
                    </a:lnTo>
                    <a:lnTo>
                      <a:pt x="10" y="253"/>
                    </a:lnTo>
                    <a:lnTo>
                      <a:pt x="12" y="253"/>
                    </a:lnTo>
                    <a:lnTo>
                      <a:pt x="12" y="251"/>
                    </a:lnTo>
                    <a:lnTo>
                      <a:pt x="12" y="250"/>
                    </a:lnTo>
                    <a:lnTo>
                      <a:pt x="13" y="250"/>
                    </a:lnTo>
                    <a:lnTo>
                      <a:pt x="13" y="248"/>
                    </a:lnTo>
                    <a:lnTo>
                      <a:pt x="15" y="248"/>
                    </a:lnTo>
                    <a:lnTo>
                      <a:pt x="15" y="246"/>
                    </a:lnTo>
                    <a:lnTo>
                      <a:pt x="17" y="246"/>
                    </a:lnTo>
                    <a:lnTo>
                      <a:pt x="17" y="245"/>
                    </a:lnTo>
                    <a:lnTo>
                      <a:pt x="18" y="243"/>
                    </a:lnTo>
                    <a:lnTo>
                      <a:pt x="20" y="243"/>
                    </a:lnTo>
                    <a:lnTo>
                      <a:pt x="22" y="243"/>
                    </a:lnTo>
                    <a:lnTo>
                      <a:pt x="22" y="241"/>
                    </a:lnTo>
                    <a:lnTo>
                      <a:pt x="22" y="239"/>
                    </a:lnTo>
                    <a:lnTo>
                      <a:pt x="20" y="239"/>
                    </a:lnTo>
                    <a:lnTo>
                      <a:pt x="20" y="238"/>
                    </a:lnTo>
                    <a:lnTo>
                      <a:pt x="22" y="236"/>
                    </a:lnTo>
                    <a:lnTo>
                      <a:pt x="22" y="234"/>
                    </a:lnTo>
                    <a:lnTo>
                      <a:pt x="23" y="234"/>
                    </a:lnTo>
                    <a:lnTo>
                      <a:pt x="29" y="231"/>
                    </a:lnTo>
                    <a:lnTo>
                      <a:pt x="29" y="229"/>
                    </a:lnTo>
                    <a:lnTo>
                      <a:pt x="27" y="228"/>
                    </a:lnTo>
                    <a:lnTo>
                      <a:pt x="25" y="228"/>
                    </a:lnTo>
                    <a:lnTo>
                      <a:pt x="23" y="226"/>
                    </a:lnTo>
                    <a:lnTo>
                      <a:pt x="22" y="226"/>
                    </a:lnTo>
                    <a:lnTo>
                      <a:pt x="20" y="226"/>
                    </a:lnTo>
                    <a:lnTo>
                      <a:pt x="18" y="226"/>
                    </a:lnTo>
                    <a:lnTo>
                      <a:pt x="15" y="224"/>
                    </a:lnTo>
                    <a:lnTo>
                      <a:pt x="13" y="224"/>
                    </a:lnTo>
                    <a:lnTo>
                      <a:pt x="12" y="219"/>
                    </a:lnTo>
                    <a:lnTo>
                      <a:pt x="12" y="214"/>
                    </a:lnTo>
                    <a:lnTo>
                      <a:pt x="10" y="211"/>
                    </a:lnTo>
                    <a:lnTo>
                      <a:pt x="10" y="209"/>
                    </a:lnTo>
                    <a:lnTo>
                      <a:pt x="8" y="205"/>
                    </a:lnTo>
                    <a:lnTo>
                      <a:pt x="12" y="202"/>
                    </a:lnTo>
                    <a:lnTo>
                      <a:pt x="12" y="200"/>
                    </a:lnTo>
                    <a:lnTo>
                      <a:pt x="12" y="199"/>
                    </a:lnTo>
                    <a:lnTo>
                      <a:pt x="13" y="200"/>
                    </a:lnTo>
                    <a:lnTo>
                      <a:pt x="13" y="199"/>
                    </a:lnTo>
                    <a:lnTo>
                      <a:pt x="15" y="199"/>
                    </a:lnTo>
                    <a:lnTo>
                      <a:pt x="13" y="199"/>
                    </a:lnTo>
                    <a:lnTo>
                      <a:pt x="13" y="197"/>
                    </a:lnTo>
                    <a:lnTo>
                      <a:pt x="15" y="195"/>
                    </a:lnTo>
                    <a:lnTo>
                      <a:pt x="15" y="194"/>
                    </a:lnTo>
                    <a:lnTo>
                      <a:pt x="17" y="194"/>
                    </a:lnTo>
                    <a:lnTo>
                      <a:pt x="17" y="192"/>
                    </a:lnTo>
                    <a:lnTo>
                      <a:pt x="17" y="194"/>
                    </a:lnTo>
                    <a:lnTo>
                      <a:pt x="17" y="192"/>
                    </a:lnTo>
                    <a:lnTo>
                      <a:pt x="18" y="192"/>
                    </a:lnTo>
                    <a:lnTo>
                      <a:pt x="17" y="192"/>
                    </a:lnTo>
                    <a:lnTo>
                      <a:pt x="17" y="190"/>
                    </a:lnTo>
                    <a:lnTo>
                      <a:pt x="15" y="188"/>
                    </a:lnTo>
                    <a:lnTo>
                      <a:pt x="13" y="187"/>
                    </a:lnTo>
                    <a:lnTo>
                      <a:pt x="13" y="188"/>
                    </a:lnTo>
                    <a:lnTo>
                      <a:pt x="13" y="187"/>
                    </a:lnTo>
                    <a:lnTo>
                      <a:pt x="12" y="187"/>
                    </a:lnTo>
                    <a:lnTo>
                      <a:pt x="12" y="185"/>
                    </a:lnTo>
                    <a:lnTo>
                      <a:pt x="12" y="183"/>
                    </a:lnTo>
                    <a:lnTo>
                      <a:pt x="10" y="183"/>
                    </a:lnTo>
                    <a:lnTo>
                      <a:pt x="10" y="182"/>
                    </a:lnTo>
                    <a:lnTo>
                      <a:pt x="10" y="180"/>
                    </a:lnTo>
                    <a:lnTo>
                      <a:pt x="10" y="178"/>
                    </a:lnTo>
                    <a:lnTo>
                      <a:pt x="10" y="177"/>
                    </a:lnTo>
                    <a:lnTo>
                      <a:pt x="12" y="177"/>
                    </a:lnTo>
                    <a:lnTo>
                      <a:pt x="12" y="175"/>
                    </a:lnTo>
                    <a:lnTo>
                      <a:pt x="13" y="175"/>
                    </a:lnTo>
                    <a:lnTo>
                      <a:pt x="15" y="175"/>
                    </a:lnTo>
                    <a:lnTo>
                      <a:pt x="13" y="173"/>
                    </a:lnTo>
                    <a:lnTo>
                      <a:pt x="13" y="171"/>
                    </a:lnTo>
                    <a:lnTo>
                      <a:pt x="15" y="171"/>
                    </a:lnTo>
                    <a:lnTo>
                      <a:pt x="15" y="170"/>
                    </a:lnTo>
                    <a:lnTo>
                      <a:pt x="15" y="168"/>
                    </a:lnTo>
                    <a:lnTo>
                      <a:pt x="17" y="170"/>
                    </a:lnTo>
                    <a:lnTo>
                      <a:pt x="17" y="168"/>
                    </a:lnTo>
                    <a:lnTo>
                      <a:pt x="17" y="166"/>
                    </a:lnTo>
                    <a:lnTo>
                      <a:pt x="18" y="166"/>
                    </a:lnTo>
                    <a:lnTo>
                      <a:pt x="18" y="165"/>
                    </a:lnTo>
                    <a:lnTo>
                      <a:pt x="20" y="165"/>
                    </a:lnTo>
                    <a:lnTo>
                      <a:pt x="20" y="163"/>
                    </a:lnTo>
                    <a:lnTo>
                      <a:pt x="22" y="163"/>
                    </a:lnTo>
                    <a:lnTo>
                      <a:pt x="22" y="161"/>
                    </a:lnTo>
                    <a:lnTo>
                      <a:pt x="22" y="160"/>
                    </a:lnTo>
                    <a:lnTo>
                      <a:pt x="22" y="158"/>
                    </a:lnTo>
                    <a:lnTo>
                      <a:pt x="22" y="156"/>
                    </a:lnTo>
                    <a:lnTo>
                      <a:pt x="23" y="156"/>
                    </a:lnTo>
                    <a:lnTo>
                      <a:pt x="25" y="156"/>
                    </a:lnTo>
                    <a:lnTo>
                      <a:pt x="27" y="156"/>
                    </a:lnTo>
                    <a:lnTo>
                      <a:pt x="29" y="156"/>
                    </a:lnTo>
                    <a:lnTo>
                      <a:pt x="27" y="156"/>
                    </a:lnTo>
                    <a:lnTo>
                      <a:pt x="27" y="154"/>
                    </a:lnTo>
                    <a:lnTo>
                      <a:pt x="27" y="153"/>
                    </a:lnTo>
                    <a:lnTo>
                      <a:pt x="27" y="151"/>
                    </a:lnTo>
                    <a:lnTo>
                      <a:pt x="25" y="151"/>
                    </a:lnTo>
                    <a:lnTo>
                      <a:pt x="25" y="149"/>
                    </a:lnTo>
                    <a:lnTo>
                      <a:pt x="23" y="149"/>
                    </a:lnTo>
                    <a:lnTo>
                      <a:pt x="23" y="148"/>
                    </a:lnTo>
                    <a:lnTo>
                      <a:pt x="23" y="146"/>
                    </a:lnTo>
                    <a:lnTo>
                      <a:pt x="22" y="146"/>
                    </a:lnTo>
                    <a:lnTo>
                      <a:pt x="23" y="144"/>
                    </a:lnTo>
                    <a:lnTo>
                      <a:pt x="22" y="144"/>
                    </a:lnTo>
                    <a:lnTo>
                      <a:pt x="22" y="143"/>
                    </a:lnTo>
                    <a:lnTo>
                      <a:pt x="22" y="141"/>
                    </a:lnTo>
                    <a:lnTo>
                      <a:pt x="22" y="139"/>
                    </a:lnTo>
                    <a:lnTo>
                      <a:pt x="20" y="139"/>
                    </a:lnTo>
                    <a:lnTo>
                      <a:pt x="20" y="137"/>
                    </a:lnTo>
                    <a:lnTo>
                      <a:pt x="20" y="136"/>
                    </a:lnTo>
                    <a:lnTo>
                      <a:pt x="22" y="136"/>
                    </a:lnTo>
                    <a:lnTo>
                      <a:pt x="23" y="136"/>
                    </a:lnTo>
                    <a:lnTo>
                      <a:pt x="23" y="134"/>
                    </a:lnTo>
                    <a:lnTo>
                      <a:pt x="23" y="132"/>
                    </a:lnTo>
                    <a:lnTo>
                      <a:pt x="25" y="132"/>
                    </a:lnTo>
                    <a:lnTo>
                      <a:pt x="25" y="131"/>
                    </a:lnTo>
                    <a:lnTo>
                      <a:pt x="25" y="129"/>
                    </a:lnTo>
                    <a:lnTo>
                      <a:pt x="25" y="127"/>
                    </a:lnTo>
                    <a:lnTo>
                      <a:pt x="27" y="125"/>
                    </a:lnTo>
                    <a:lnTo>
                      <a:pt x="25" y="125"/>
                    </a:lnTo>
                    <a:lnTo>
                      <a:pt x="27" y="125"/>
                    </a:lnTo>
                    <a:lnTo>
                      <a:pt x="27" y="124"/>
                    </a:lnTo>
                    <a:lnTo>
                      <a:pt x="27" y="122"/>
                    </a:lnTo>
                    <a:lnTo>
                      <a:pt x="27" y="120"/>
                    </a:lnTo>
                    <a:lnTo>
                      <a:pt x="27" y="119"/>
                    </a:lnTo>
                    <a:lnTo>
                      <a:pt x="27" y="117"/>
                    </a:lnTo>
                    <a:lnTo>
                      <a:pt x="27" y="115"/>
                    </a:lnTo>
                    <a:lnTo>
                      <a:pt x="27" y="114"/>
                    </a:lnTo>
                    <a:lnTo>
                      <a:pt x="27" y="112"/>
                    </a:lnTo>
                    <a:lnTo>
                      <a:pt x="27" y="114"/>
                    </a:lnTo>
                    <a:lnTo>
                      <a:pt x="25" y="112"/>
                    </a:lnTo>
                    <a:lnTo>
                      <a:pt x="27" y="112"/>
                    </a:lnTo>
                    <a:lnTo>
                      <a:pt x="27" y="110"/>
                    </a:lnTo>
                    <a:lnTo>
                      <a:pt x="27" y="108"/>
                    </a:lnTo>
                    <a:lnTo>
                      <a:pt x="29" y="108"/>
                    </a:lnTo>
                    <a:lnTo>
                      <a:pt x="27" y="107"/>
                    </a:lnTo>
                    <a:lnTo>
                      <a:pt x="29" y="107"/>
                    </a:lnTo>
                    <a:lnTo>
                      <a:pt x="29" y="105"/>
                    </a:lnTo>
                    <a:lnTo>
                      <a:pt x="30" y="105"/>
                    </a:lnTo>
                    <a:lnTo>
                      <a:pt x="30" y="103"/>
                    </a:lnTo>
                    <a:lnTo>
                      <a:pt x="32" y="103"/>
                    </a:lnTo>
                    <a:lnTo>
                      <a:pt x="30" y="103"/>
                    </a:lnTo>
                    <a:lnTo>
                      <a:pt x="32" y="103"/>
                    </a:lnTo>
                    <a:lnTo>
                      <a:pt x="30" y="103"/>
                    </a:lnTo>
                    <a:lnTo>
                      <a:pt x="32" y="103"/>
                    </a:lnTo>
                    <a:lnTo>
                      <a:pt x="30" y="102"/>
                    </a:lnTo>
                    <a:lnTo>
                      <a:pt x="30" y="100"/>
                    </a:lnTo>
                    <a:lnTo>
                      <a:pt x="32" y="100"/>
                    </a:lnTo>
                    <a:lnTo>
                      <a:pt x="32" y="98"/>
                    </a:lnTo>
                    <a:lnTo>
                      <a:pt x="34" y="98"/>
                    </a:lnTo>
                    <a:lnTo>
                      <a:pt x="34" y="97"/>
                    </a:lnTo>
                    <a:lnTo>
                      <a:pt x="32" y="97"/>
                    </a:lnTo>
                    <a:lnTo>
                      <a:pt x="34" y="97"/>
                    </a:lnTo>
                    <a:lnTo>
                      <a:pt x="34" y="98"/>
                    </a:lnTo>
                    <a:lnTo>
                      <a:pt x="34" y="97"/>
                    </a:lnTo>
                    <a:lnTo>
                      <a:pt x="32" y="93"/>
                    </a:lnTo>
                    <a:lnTo>
                      <a:pt x="29" y="86"/>
                    </a:lnTo>
                    <a:lnTo>
                      <a:pt x="27" y="85"/>
                    </a:lnTo>
                    <a:lnTo>
                      <a:pt x="25" y="81"/>
                    </a:lnTo>
                    <a:lnTo>
                      <a:pt x="25" y="80"/>
                    </a:lnTo>
                    <a:lnTo>
                      <a:pt x="23" y="78"/>
                    </a:lnTo>
                    <a:lnTo>
                      <a:pt x="23" y="76"/>
                    </a:lnTo>
                    <a:lnTo>
                      <a:pt x="22" y="74"/>
                    </a:lnTo>
                    <a:lnTo>
                      <a:pt x="20" y="73"/>
                    </a:lnTo>
                    <a:lnTo>
                      <a:pt x="20" y="69"/>
                    </a:lnTo>
                    <a:lnTo>
                      <a:pt x="18" y="68"/>
                    </a:lnTo>
                    <a:lnTo>
                      <a:pt x="18" y="66"/>
                    </a:lnTo>
                    <a:lnTo>
                      <a:pt x="15" y="64"/>
                    </a:lnTo>
                    <a:lnTo>
                      <a:pt x="15" y="61"/>
                    </a:lnTo>
                    <a:lnTo>
                      <a:pt x="13" y="61"/>
                    </a:lnTo>
                    <a:lnTo>
                      <a:pt x="13" y="59"/>
                    </a:lnTo>
                    <a:lnTo>
                      <a:pt x="12" y="56"/>
                    </a:lnTo>
                    <a:lnTo>
                      <a:pt x="10" y="54"/>
                    </a:lnTo>
                    <a:lnTo>
                      <a:pt x="8" y="52"/>
                    </a:lnTo>
                    <a:lnTo>
                      <a:pt x="6" y="51"/>
                    </a:lnTo>
                    <a:lnTo>
                      <a:pt x="6" y="49"/>
                    </a:lnTo>
                    <a:lnTo>
                      <a:pt x="5" y="46"/>
                    </a:lnTo>
                    <a:lnTo>
                      <a:pt x="3" y="44"/>
                    </a:lnTo>
                    <a:lnTo>
                      <a:pt x="3" y="42"/>
                    </a:lnTo>
                    <a:lnTo>
                      <a:pt x="3" y="44"/>
                    </a:lnTo>
                    <a:lnTo>
                      <a:pt x="3" y="42"/>
                    </a:lnTo>
                    <a:lnTo>
                      <a:pt x="5" y="42"/>
                    </a:lnTo>
                    <a:lnTo>
                      <a:pt x="6" y="44"/>
                    </a:lnTo>
                    <a:lnTo>
                      <a:pt x="6" y="42"/>
                    </a:lnTo>
                    <a:lnTo>
                      <a:pt x="8" y="42"/>
                    </a:lnTo>
                    <a:lnTo>
                      <a:pt x="10" y="44"/>
                    </a:lnTo>
                    <a:lnTo>
                      <a:pt x="10" y="42"/>
                    </a:lnTo>
                    <a:lnTo>
                      <a:pt x="10" y="44"/>
                    </a:lnTo>
                    <a:lnTo>
                      <a:pt x="12" y="42"/>
                    </a:lnTo>
                    <a:lnTo>
                      <a:pt x="13" y="42"/>
                    </a:lnTo>
                    <a:lnTo>
                      <a:pt x="13" y="44"/>
                    </a:lnTo>
                    <a:lnTo>
                      <a:pt x="13" y="42"/>
                    </a:lnTo>
                    <a:lnTo>
                      <a:pt x="15" y="42"/>
                    </a:lnTo>
                    <a:lnTo>
                      <a:pt x="15" y="44"/>
                    </a:lnTo>
                    <a:lnTo>
                      <a:pt x="15" y="42"/>
                    </a:lnTo>
                    <a:lnTo>
                      <a:pt x="17" y="44"/>
                    </a:lnTo>
                    <a:lnTo>
                      <a:pt x="18" y="44"/>
                    </a:lnTo>
                    <a:lnTo>
                      <a:pt x="20" y="44"/>
                    </a:lnTo>
                    <a:lnTo>
                      <a:pt x="22" y="44"/>
                    </a:lnTo>
                    <a:lnTo>
                      <a:pt x="22" y="46"/>
                    </a:lnTo>
                    <a:lnTo>
                      <a:pt x="22" y="44"/>
                    </a:lnTo>
                    <a:lnTo>
                      <a:pt x="23" y="44"/>
                    </a:lnTo>
                    <a:lnTo>
                      <a:pt x="23" y="46"/>
                    </a:lnTo>
                    <a:lnTo>
                      <a:pt x="25" y="46"/>
                    </a:lnTo>
                    <a:lnTo>
                      <a:pt x="27" y="46"/>
                    </a:lnTo>
                    <a:lnTo>
                      <a:pt x="25" y="46"/>
                    </a:lnTo>
                    <a:lnTo>
                      <a:pt x="27" y="46"/>
                    </a:lnTo>
                    <a:lnTo>
                      <a:pt x="27" y="44"/>
                    </a:lnTo>
                    <a:lnTo>
                      <a:pt x="29" y="46"/>
                    </a:lnTo>
                    <a:lnTo>
                      <a:pt x="29" y="44"/>
                    </a:lnTo>
                    <a:lnTo>
                      <a:pt x="29" y="46"/>
                    </a:lnTo>
                    <a:lnTo>
                      <a:pt x="30" y="44"/>
                    </a:lnTo>
                    <a:lnTo>
                      <a:pt x="30" y="46"/>
                    </a:lnTo>
                    <a:lnTo>
                      <a:pt x="30" y="47"/>
                    </a:lnTo>
                    <a:lnTo>
                      <a:pt x="32" y="49"/>
                    </a:lnTo>
                    <a:lnTo>
                      <a:pt x="32" y="51"/>
                    </a:lnTo>
                    <a:lnTo>
                      <a:pt x="37" y="49"/>
                    </a:lnTo>
                    <a:lnTo>
                      <a:pt x="37" y="47"/>
                    </a:lnTo>
                    <a:lnTo>
                      <a:pt x="39" y="47"/>
                    </a:lnTo>
                    <a:lnTo>
                      <a:pt x="39" y="46"/>
                    </a:lnTo>
                    <a:lnTo>
                      <a:pt x="40" y="47"/>
                    </a:lnTo>
                    <a:lnTo>
                      <a:pt x="40" y="46"/>
                    </a:lnTo>
                    <a:lnTo>
                      <a:pt x="42" y="46"/>
                    </a:lnTo>
                    <a:lnTo>
                      <a:pt x="42" y="47"/>
                    </a:lnTo>
                    <a:lnTo>
                      <a:pt x="42" y="46"/>
                    </a:lnTo>
                    <a:lnTo>
                      <a:pt x="44" y="46"/>
                    </a:lnTo>
                    <a:lnTo>
                      <a:pt x="46" y="46"/>
                    </a:lnTo>
                    <a:lnTo>
                      <a:pt x="46" y="44"/>
                    </a:lnTo>
                    <a:lnTo>
                      <a:pt x="47" y="44"/>
                    </a:lnTo>
                    <a:lnTo>
                      <a:pt x="47" y="42"/>
                    </a:lnTo>
                    <a:lnTo>
                      <a:pt x="49" y="42"/>
                    </a:lnTo>
                    <a:lnTo>
                      <a:pt x="49" y="40"/>
                    </a:lnTo>
                    <a:lnTo>
                      <a:pt x="51" y="39"/>
                    </a:lnTo>
                    <a:lnTo>
                      <a:pt x="51" y="37"/>
                    </a:lnTo>
                    <a:lnTo>
                      <a:pt x="52" y="37"/>
                    </a:lnTo>
                    <a:lnTo>
                      <a:pt x="52" y="35"/>
                    </a:lnTo>
                    <a:lnTo>
                      <a:pt x="52" y="34"/>
                    </a:lnTo>
                    <a:lnTo>
                      <a:pt x="54" y="34"/>
                    </a:lnTo>
                    <a:lnTo>
                      <a:pt x="56" y="32"/>
                    </a:lnTo>
                    <a:lnTo>
                      <a:pt x="56" y="34"/>
                    </a:lnTo>
                    <a:lnTo>
                      <a:pt x="57" y="32"/>
                    </a:lnTo>
                    <a:lnTo>
                      <a:pt x="57" y="34"/>
                    </a:lnTo>
                    <a:lnTo>
                      <a:pt x="59" y="32"/>
                    </a:lnTo>
                    <a:lnTo>
                      <a:pt x="61" y="32"/>
                    </a:lnTo>
                    <a:lnTo>
                      <a:pt x="63" y="34"/>
                    </a:lnTo>
                    <a:lnTo>
                      <a:pt x="64" y="34"/>
                    </a:lnTo>
                    <a:lnTo>
                      <a:pt x="64" y="35"/>
                    </a:lnTo>
                    <a:lnTo>
                      <a:pt x="66" y="35"/>
                    </a:lnTo>
                    <a:lnTo>
                      <a:pt x="66" y="34"/>
                    </a:lnTo>
                    <a:lnTo>
                      <a:pt x="66" y="32"/>
                    </a:lnTo>
                    <a:lnTo>
                      <a:pt x="66" y="30"/>
                    </a:lnTo>
                    <a:lnTo>
                      <a:pt x="68" y="32"/>
                    </a:lnTo>
                    <a:lnTo>
                      <a:pt x="68" y="30"/>
                    </a:lnTo>
                    <a:lnTo>
                      <a:pt x="69" y="30"/>
                    </a:lnTo>
                    <a:lnTo>
                      <a:pt x="69" y="29"/>
                    </a:lnTo>
                    <a:lnTo>
                      <a:pt x="71" y="27"/>
                    </a:lnTo>
                    <a:lnTo>
                      <a:pt x="73" y="27"/>
                    </a:lnTo>
                    <a:lnTo>
                      <a:pt x="74" y="25"/>
                    </a:lnTo>
                    <a:lnTo>
                      <a:pt x="74" y="27"/>
                    </a:lnTo>
                    <a:lnTo>
                      <a:pt x="74" y="25"/>
                    </a:lnTo>
                    <a:lnTo>
                      <a:pt x="76" y="25"/>
                    </a:lnTo>
                    <a:lnTo>
                      <a:pt x="76" y="23"/>
                    </a:lnTo>
                    <a:lnTo>
                      <a:pt x="74" y="23"/>
                    </a:lnTo>
                    <a:lnTo>
                      <a:pt x="76" y="23"/>
                    </a:lnTo>
                    <a:lnTo>
                      <a:pt x="78" y="23"/>
                    </a:lnTo>
                    <a:lnTo>
                      <a:pt x="80" y="23"/>
                    </a:lnTo>
                    <a:lnTo>
                      <a:pt x="80" y="22"/>
                    </a:lnTo>
                    <a:lnTo>
                      <a:pt x="78" y="22"/>
                    </a:lnTo>
                    <a:lnTo>
                      <a:pt x="80" y="22"/>
                    </a:lnTo>
                    <a:lnTo>
                      <a:pt x="81" y="22"/>
                    </a:lnTo>
                    <a:lnTo>
                      <a:pt x="83" y="22"/>
                    </a:lnTo>
                    <a:lnTo>
                      <a:pt x="85" y="22"/>
                    </a:lnTo>
                    <a:lnTo>
                      <a:pt x="85" y="20"/>
                    </a:lnTo>
                    <a:lnTo>
                      <a:pt x="86" y="20"/>
                    </a:lnTo>
                    <a:lnTo>
                      <a:pt x="88" y="20"/>
                    </a:lnTo>
                    <a:lnTo>
                      <a:pt x="90" y="18"/>
                    </a:lnTo>
                    <a:lnTo>
                      <a:pt x="90" y="17"/>
                    </a:lnTo>
                    <a:lnTo>
                      <a:pt x="91" y="17"/>
                    </a:lnTo>
                    <a:lnTo>
                      <a:pt x="91" y="15"/>
                    </a:lnTo>
                    <a:lnTo>
                      <a:pt x="93" y="15"/>
                    </a:lnTo>
                    <a:lnTo>
                      <a:pt x="91" y="15"/>
                    </a:lnTo>
                    <a:lnTo>
                      <a:pt x="93" y="15"/>
                    </a:lnTo>
                    <a:lnTo>
                      <a:pt x="93" y="13"/>
                    </a:lnTo>
                    <a:lnTo>
                      <a:pt x="95" y="13"/>
                    </a:lnTo>
                    <a:lnTo>
                      <a:pt x="95" y="12"/>
                    </a:lnTo>
                    <a:lnTo>
                      <a:pt x="97" y="12"/>
                    </a:lnTo>
                    <a:lnTo>
                      <a:pt x="98" y="10"/>
                    </a:lnTo>
                    <a:lnTo>
                      <a:pt x="100" y="10"/>
                    </a:lnTo>
                    <a:lnTo>
                      <a:pt x="100" y="8"/>
                    </a:lnTo>
                    <a:lnTo>
                      <a:pt x="102" y="8"/>
                    </a:lnTo>
                    <a:lnTo>
                      <a:pt x="102" y="6"/>
                    </a:lnTo>
                    <a:lnTo>
                      <a:pt x="103" y="6"/>
                    </a:lnTo>
                    <a:lnTo>
                      <a:pt x="105" y="6"/>
                    </a:lnTo>
                    <a:lnTo>
                      <a:pt x="107" y="6"/>
                    </a:lnTo>
                    <a:lnTo>
                      <a:pt x="108" y="6"/>
                    </a:lnTo>
                    <a:lnTo>
                      <a:pt x="110" y="6"/>
                    </a:lnTo>
                    <a:lnTo>
                      <a:pt x="108" y="6"/>
                    </a:lnTo>
                    <a:lnTo>
                      <a:pt x="110" y="6"/>
                    </a:lnTo>
                    <a:lnTo>
                      <a:pt x="112" y="6"/>
                    </a:lnTo>
                    <a:lnTo>
                      <a:pt x="112" y="5"/>
                    </a:lnTo>
                    <a:lnTo>
                      <a:pt x="114" y="5"/>
                    </a:lnTo>
                    <a:lnTo>
                      <a:pt x="115" y="5"/>
                    </a:lnTo>
                    <a:lnTo>
                      <a:pt x="115" y="3"/>
                    </a:lnTo>
                    <a:lnTo>
                      <a:pt x="115" y="5"/>
                    </a:lnTo>
                    <a:lnTo>
                      <a:pt x="117" y="5"/>
                    </a:lnTo>
                    <a:lnTo>
                      <a:pt x="117" y="3"/>
                    </a:lnTo>
                    <a:lnTo>
                      <a:pt x="119" y="3"/>
                    </a:lnTo>
                    <a:lnTo>
                      <a:pt x="120" y="3"/>
                    </a:lnTo>
                    <a:lnTo>
                      <a:pt x="120" y="5"/>
                    </a:lnTo>
                    <a:lnTo>
                      <a:pt x="120" y="3"/>
                    </a:lnTo>
                    <a:lnTo>
                      <a:pt x="122" y="3"/>
                    </a:lnTo>
                    <a:lnTo>
                      <a:pt x="122" y="5"/>
                    </a:lnTo>
                    <a:lnTo>
                      <a:pt x="122" y="3"/>
                    </a:lnTo>
                    <a:lnTo>
                      <a:pt x="124" y="3"/>
                    </a:lnTo>
                    <a:lnTo>
                      <a:pt x="125" y="3"/>
                    </a:lnTo>
                    <a:lnTo>
                      <a:pt x="125" y="1"/>
                    </a:lnTo>
                    <a:lnTo>
                      <a:pt x="125" y="3"/>
                    </a:lnTo>
                    <a:lnTo>
                      <a:pt x="125" y="1"/>
                    </a:lnTo>
                    <a:lnTo>
                      <a:pt x="127" y="3"/>
                    </a:lnTo>
                    <a:lnTo>
                      <a:pt x="127" y="1"/>
                    </a:lnTo>
                    <a:lnTo>
                      <a:pt x="127" y="3"/>
                    </a:lnTo>
                    <a:lnTo>
                      <a:pt x="129" y="3"/>
                    </a:lnTo>
                    <a:lnTo>
                      <a:pt x="129" y="1"/>
                    </a:lnTo>
                    <a:lnTo>
                      <a:pt x="131" y="1"/>
                    </a:lnTo>
                    <a:lnTo>
                      <a:pt x="129" y="3"/>
                    </a:lnTo>
                    <a:lnTo>
                      <a:pt x="131" y="3"/>
                    </a:lnTo>
                    <a:lnTo>
                      <a:pt x="131" y="1"/>
                    </a:lnTo>
                    <a:lnTo>
                      <a:pt x="132" y="3"/>
                    </a:lnTo>
                    <a:lnTo>
                      <a:pt x="132" y="1"/>
                    </a:lnTo>
                    <a:lnTo>
                      <a:pt x="134" y="1"/>
                    </a:lnTo>
                    <a:lnTo>
                      <a:pt x="134" y="3"/>
                    </a:lnTo>
                    <a:lnTo>
                      <a:pt x="132" y="3"/>
                    </a:lnTo>
                    <a:lnTo>
                      <a:pt x="134" y="3"/>
                    </a:lnTo>
                    <a:lnTo>
                      <a:pt x="132" y="3"/>
                    </a:lnTo>
                    <a:lnTo>
                      <a:pt x="134" y="5"/>
                    </a:lnTo>
                    <a:lnTo>
                      <a:pt x="134" y="3"/>
                    </a:lnTo>
                    <a:lnTo>
                      <a:pt x="136" y="3"/>
                    </a:lnTo>
                    <a:lnTo>
                      <a:pt x="136" y="5"/>
                    </a:lnTo>
                    <a:lnTo>
                      <a:pt x="136" y="3"/>
                    </a:lnTo>
                    <a:lnTo>
                      <a:pt x="136" y="5"/>
                    </a:lnTo>
                    <a:lnTo>
                      <a:pt x="137" y="5"/>
                    </a:lnTo>
                    <a:lnTo>
                      <a:pt x="139" y="5"/>
                    </a:lnTo>
                    <a:lnTo>
                      <a:pt x="137" y="5"/>
                    </a:lnTo>
                    <a:lnTo>
                      <a:pt x="137" y="3"/>
                    </a:lnTo>
                    <a:lnTo>
                      <a:pt x="139" y="3"/>
                    </a:lnTo>
                    <a:lnTo>
                      <a:pt x="141" y="3"/>
                    </a:lnTo>
                    <a:lnTo>
                      <a:pt x="141" y="1"/>
                    </a:lnTo>
                    <a:lnTo>
                      <a:pt x="141" y="0"/>
                    </a:lnTo>
                    <a:lnTo>
                      <a:pt x="141" y="1"/>
                    </a:lnTo>
                    <a:lnTo>
                      <a:pt x="141" y="0"/>
                    </a:lnTo>
                    <a:lnTo>
                      <a:pt x="142" y="0"/>
                    </a:lnTo>
                    <a:lnTo>
                      <a:pt x="144" y="0"/>
                    </a:lnTo>
                    <a:lnTo>
                      <a:pt x="144" y="1"/>
                    </a:lnTo>
                    <a:lnTo>
                      <a:pt x="146" y="1"/>
                    </a:lnTo>
                    <a:lnTo>
                      <a:pt x="146" y="3"/>
                    </a:lnTo>
                    <a:lnTo>
                      <a:pt x="146" y="5"/>
                    </a:lnTo>
                    <a:lnTo>
                      <a:pt x="148" y="5"/>
                    </a:lnTo>
                    <a:lnTo>
                      <a:pt x="148" y="6"/>
                    </a:lnTo>
                    <a:lnTo>
                      <a:pt x="146" y="6"/>
                    </a:lnTo>
                    <a:lnTo>
                      <a:pt x="146" y="8"/>
                    </a:lnTo>
                    <a:lnTo>
                      <a:pt x="146" y="10"/>
                    </a:lnTo>
                    <a:lnTo>
                      <a:pt x="146" y="12"/>
                    </a:lnTo>
                    <a:lnTo>
                      <a:pt x="146" y="13"/>
                    </a:lnTo>
                    <a:lnTo>
                      <a:pt x="148" y="13"/>
                    </a:lnTo>
                    <a:lnTo>
                      <a:pt x="148" y="15"/>
                    </a:lnTo>
                    <a:lnTo>
                      <a:pt x="146" y="17"/>
                    </a:lnTo>
                    <a:lnTo>
                      <a:pt x="148" y="17"/>
                    </a:lnTo>
                    <a:lnTo>
                      <a:pt x="148" y="18"/>
                    </a:lnTo>
                    <a:lnTo>
                      <a:pt x="146" y="18"/>
                    </a:lnTo>
                    <a:lnTo>
                      <a:pt x="146" y="20"/>
                    </a:lnTo>
                    <a:lnTo>
                      <a:pt x="146" y="22"/>
                    </a:lnTo>
                    <a:lnTo>
                      <a:pt x="144" y="22"/>
                    </a:lnTo>
                    <a:lnTo>
                      <a:pt x="144" y="23"/>
                    </a:lnTo>
                    <a:lnTo>
                      <a:pt x="144" y="25"/>
                    </a:lnTo>
                    <a:lnTo>
                      <a:pt x="144" y="27"/>
                    </a:lnTo>
                    <a:lnTo>
                      <a:pt x="142" y="27"/>
                    </a:lnTo>
                    <a:lnTo>
                      <a:pt x="142" y="29"/>
                    </a:lnTo>
                    <a:lnTo>
                      <a:pt x="144" y="29"/>
                    </a:lnTo>
                    <a:lnTo>
                      <a:pt x="144" y="30"/>
                    </a:lnTo>
                    <a:lnTo>
                      <a:pt x="142" y="30"/>
                    </a:lnTo>
                    <a:lnTo>
                      <a:pt x="144" y="32"/>
                    </a:lnTo>
                    <a:lnTo>
                      <a:pt x="146" y="34"/>
                    </a:lnTo>
                    <a:lnTo>
                      <a:pt x="146" y="35"/>
                    </a:lnTo>
                    <a:lnTo>
                      <a:pt x="146" y="37"/>
                    </a:lnTo>
                    <a:lnTo>
                      <a:pt x="146" y="39"/>
                    </a:lnTo>
                    <a:lnTo>
                      <a:pt x="148" y="39"/>
                    </a:lnTo>
                    <a:lnTo>
                      <a:pt x="148" y="40"/>
                    </a:lnTo>
                    <a:lnTo>
                      <a:pt x="148" y="42"/>
                    </a:lnTo>
                    <a:lnTo>
                      <a:pt x="148" y="44"/>
                    </a:lnTo>
                    <a:lnTo>
                      <a:pt x="149" y="44"/>
                    </a:lnTo>
                    <a:lnTo>
                      <a:pt x="148" y="46"/>
                    </a:lnTo>
                    <a:lnTo>
                      <a:pt x="148" y="47"/>
                    </a:lnTo>
                    <a:lnTo>
                      <a:pt x="146" y="49"/>
                    </a:lnTo>
                    <a:lnTo>
                      <a:pt x="144" y="49"/>
                    </a:lnTo>
                    <a:lnTo>
                      <a:pt x="144" y="51"/>
                    </a:lnTo>
                    <a:lnTo>
                      <a:pt x="146" y="51"/>
                    </a:lnTo>
                    <a:lnTo>
                      <a:pt x="146" y="52"/>
                    </a:lnTo>
                    <a:lnTo>
                      <a:pt x="144" y="52"/>
                    </a:lnTo>
                    <a:lnTo>
                      <a:pt x="144" y="54"/>
                    </a:lnTo>
                    <a:lnTo>
                      <a:pt x="146" y="54"/>
                    </a:lnTo>
                    <a:lnTo>
                      <a:pt x="146" y="56"/>
                    </a:lnTo>
                    <a:lnTo>
                      <a:pt x="148" y="56"/>
                    </a:lnTo>
                    <a:lnTo>
                      <a:pt x="146" y="56"/>
                    </a:lnTo>
                    <a:lnTo>
                      <a:pt x="146" y="57"/>
                    </a:lnTo>
                    <a:lnTo>
                      <a:pt x="146" y="59"/>
                    </a:lnTo>
                    <a:lnTo>
                      <a:pt x="146" y="61"/>
                    </a:lnTo>
                    <a:lnTo>
                      <a:pt x="148" y="63"/>
                    </a:lnTo>
                    <a:lnTo>
                      <a:pt x="149" y="63"/>
                    </a:lnTo>
                    <a:lnTo>
                      <a:pt x="149" y="64"/>
                    </a:lnTo>
                    <a:lnTo>
                      <a:pt x="149" y="66"/>
                    </a:lnTo>
                    <a:lnTo>
                      <a:pt x="149" y="68"/>
                    </a:lnTo>
                    <a:lnTo>
                      <a:pt x="148" y="69"/>
                    </a:lnTo>
                    <a:lnTo>
                      <a:pt x="149" y="69"/>
                    </a:lnTo>
                    <a:lnTo>
                      <a:pt x="149" y="71"/>
                    </a:lnTo>
                    <a:lnTo>
                      <a:pt x="151" y="71"/>
                    </a:lnTo>
                    <a:lnTo>
                      <a:pt x="151" y="69"/>
                    </a:lnTo>
                    <a:lnTo>
                      <a:pt x="153" y="69"/>
                    </a:lnTo>
                    <a:lnTo>
                      <a:pt x="154" y="69"/>
                    </a:lnTo>
                    <a:lnTo>
                      <a:pt x="154" y="71"/>
                    </a:lnTo>
                    <a:lnTo>
                      <a:pt x="154" y="73"/>
                    </a:lnTo>
                    <a:lnTo>
                      <a:pt x="154" y="74"/>
                    </a:lnTo>
                    <a:lnTo>
                      <a:pt x="156" y="74"/>
                    </a:lnTo>
                    <a:lnTo>
                      <a:pt x="156" y="76"/>
                    </a:lnTo>
                    <a:lnTo>
                      <a:pt x="156" y="78"/>
                    </a:lnTo>
                    <a:lnTo>
                      <a:pt x="156" y="80"/>
                    </a:lnTo>
                    <a:lnTo>
                      <a:pt x="158" y="80"/>
                    </a:lnTo>
                    <a:lnTo>
                      <a:pt x="159" y="80"/>
                    </a:lnTo>
                    <a:lnTo>
                      <a:pt x="161" y="80"/>
                    </a:lnTo>
                    <a:lnTo>
                      <a:pt x="163" y="80"/>
                    </a:lnTo>
                    <a:lnTo>
                      <a:pt x="163" y="81"/>
                    </a:lnTo>
                    <a:lnTo>
                      <a:pt x="163" y="83"/>
                    </a:lnTo>
                    <a:lnTo>
                      <a:pt x="163" y="81"/>
                    </a:lnTo>
                    <a:lnTo>
                      <a:pt x="165" y="81"/>
                    </a:lnTo>
                    <a:lnTo>
                      <a:pt x="165" y="83"/>
                    </a:lnTo>
                    <a:lnTo>
                      <a:pt x="165" y="85"/>
                    </a:lnTo>
                    <a:lnTo>
                      <a:pt x="166" y="85"/>
                    </a:lnTo>
                    <a:lnTo>
                      <a:pt x="166" y="83"/>
                    </a:lnTo>
                    <a:lnTo>
                      <a:pt x="166" y="81"/>
                    </a:lnTo>
                    <a:lnTo>
                      <a:pt x="166" y="83"/>
                    </a:lnTo>
                    <a:lnTo>
                      <a:pt x="168" y="83"/>
                    </a:lnTo>
                    <a:lnTo>
                      <a:pt x="166" y="83"/>
                    </a:lnTo>
                    <a:lnTo>
                      <a:pt x="166" y="85"/>
                    </a:lnTo>
                    <a:lnTo>
                      <a:pt x="168" y="86"/>
                    </a:lnTo>
                    <a:lnTo>
                      <a:pt x="170" y="86"/>
                    </a:lnTo>
                    <a:lnTo>
                      <a:pt x="171" y="86"/>
                    </a:lnTo>
                    <a:lnTo>
                      <a:pt x="171" y="88"/>
                    </a:lnTo>
                    <a:lnTo>
                      <a:pt x="173" y="88"/>
                    </a:lnTo>
                    <a:lnTo>
                      <a:pt x="173" y="86"/>
                    </a:lnTo>
                    <a:lnTo>
                      <a:pt x="173" y="88"/>
                    </a:lnTo>
                    <a:lnTo>
                      <a:pt x="175" y="88"/>
                    </a:lnTo>
                    <a:lnTo>
                      <a:pt x="175" y="90"/>
                    </a:lnTo>
                    <a:lnTo>
                      <a:pt x="173" y="91"/>
                    </a:lnTo>
                    <a:lnTo>
                      <a:pt x="175" y="91"/>
                    </a:lnTo>
                    <a:lnTo>
                      <a:pt x="175" y="93"/>
                    </a:lnTo>
                    <a:lnTo>
                      <a:pt x="176" y="93"/>
                    </a:lnTo>
                    <a:lnTo>
                      <a:pt x="176" y="95"/>
                    </a:lnTo>
                    <a:lnTo>
                      <a:pt x="178" y="95"/>
                    </a:lnTo>
                    <a:lnTo>
                      <a:pt x="180" y="95"/>
                    </a:lnTo>
                    <a:lnTo>
                      <a:pt x="182" y="95"/>
                    </a:lnTo>
                    <a:lnTo>
                      <a:pt x="180" y="97"/>
                    </a:lnTo>
                    <a:lnTo>
                      <a:pt x="182" y="97"/>
                    </a:lnTo>
                    <a:lnTo>
                      <a:pt x="182" y="95"/>
                    </a:lnTo>
                    <a:lnTo>
                      <a:pt x="183" y="95"/>
                    </a:lnTo>
                    <a:lnTo>
                      <a:pt x="185" y="95"/>
                    </a:lnTo>
                    <a:lnTo>
                      <a:pt x="185" y="97"/>
                    </a:lnTo>
                    <a:lnTo>
                      <a:pt x="187" y="97"/>
                    </a:lnTo>
                    <a:lnTo>
                      <a:pt x="187" y="95"/>
                    </a:lnTo>
                    <a:lnTo>
                      <a:pt x="187" y="97"/>
                    </a:lnTo>
                    <a:lnTo>
                      <a:pt x="188" y="97"/>
                    </a:lnTo>
                    <a:lnTo>
                      <a:pt x="190" y="97"/>
                    </a:lnTo>
                    <a:lnTo>
                      <a:pt x="192" y="97"/>
                    </a:lnTo>
                    <a:lnTo>
                      <a:pt x="193" y="97"/>
                    </a:lnTo>
                    <a:lnTo>
                      <a:pt x="195" y="95"/>
                    </a:lnTo>
                    <a:lnTo>
                      <a:pt x="197" y="95"/>
                    </a:lnTo>
                    <a:lnTo>
                      <a:pt x="199" y="93"/>
                    </a:lnTo>
                    <a:lnTo>
                      <a:pt x="199" y="95"/>
                    </a:lnTo>
                    <a:lnTo>
                      <a:pt x="200" y="95"/>
                    </a:lnTo>
                    <a:lnTo>
                      <a:pt x="202" y="95"/>
                    </a:lnTo>
                    <a:lnTo>
                      <a:pt x="204" y="95"/>
                    </a:lnTo>
                    <a:lnTo>
                      <a:pt x="204" y="97"/>
                    </a:lnTo>
                    <a:lnTo>
                      <a:pt x="205" y="97"/>
                    </a:lnTo>
                    <a:lnTo>
                      <a:pt x="207" y="97"/>
                    </a:lnTo>
                    <a:lnTo>
                      <a:pt x="207" y="98"/>
                    </a:lnTo>
                    <a:lnTo>
                      <a:pt x="209" y="98"/>
                    </a:lnTo>
                    <a:lnTo>
                      <a:pt x="210" y="98"/>
                    </a:lnTo>
                    <a:lnTo>
                      <a:pt x="210" y="100"/>
                    </a:lnTo>
                    <a:lnTo>
                      <a:pt x="209" y="100"/>
                    </a:lnTo>
                    <a:lnTo>
                      <a:pt x="210" y="100"/>
                    </a:lnTo>
                    <a:lnTo>
                      <a:pt x="210" y="102"/>
                    </a:lnTo>
                    <a:lnTo>
                      <a:pt x="212" y="102"/>
                    </a:lnTo>
                    <a:lnTo>
                      <a:pt x="214" y="102"/>
                    </a:lnTo>
                    <a:lnTo>
                      <a:pt x="214" y="103"/>
                    </a:lnTo>
                    <a:lnTo>
                      <a:pt x="216" y="103"/>
                    </a:lnTo>
                    <a:lnTo>
                      <a:pt x="217" y="103"/>
                    </a:lnTo>
                    <a:lnTo>
                      <a:pt x="216" y="102"/>
                    </a:lnTo>
                    <a:lnTo>
                      <a:pt x="217" y="102"/>
                    </a:lnTo>
                    <a:lnTo>
                      <a:pt x="217" y="100"/>
                    </a:lnTo>
                    <a:lnTo>
                      <a:pt x="219" y="102"/>
                    </a:lnTo>
                    <a:lnTo>
                      <a:pt x="219" y="100"/>
                    </a:lnTo>
                    <a:lnTo>
                      <a:pt x="219" y="102"/>
                    </a:lnTo>
                    <a:lnTo>
                      <a:pt x="221" y="102"/>
                    </a:lnTo>
                    <a:lnTo>
                      <a:pt x="221" y="103"/>
                    </a:lnTo>
                    <a:lnTo>
                      <a:pt x="222" y="103"/>
                    </a:lnTo>
                    <a:lnTo>
                      <a:pt x="222" y="105"/>
                    </a:lnTo>
                    <a:lnTo>
                      <a:pt x="224" y="105"/>
                    </a:lnTo>
                    <a:lnTo>
                      <a:pt x="224" y="107"/>
                    </a:lnTo>
                    <a:lnTo>
                      <a:pt x="224" y="108"/>
                    </a:lnTo>
                    <a:lnTo>
                      <a:pt x="226" y="108"/>
                    </a:lnTo>
                    <a:lnTo>
                      <a:pt x="227" y="108"/>
                    </a:lnTo>
                    <a:lnTo>
                      <a:pt x="227" y="110"/>
                    </a:lnTo>
                    <a:lnTo>
                      <a:pt x="229" y="110"/>
                    </a:lnTo>
                    <a:lnTo>
                      <a:pt x="229" y="112"/>
                    </a:lnTo>
                    <a:lnTo>
                      <a:pt x="231" y="112"/>
                    </a:lnTo>
                    <a:lnTo>
                      <a:pt x="231" y="114"/>
                    </a:lnTo>
                    <a:lnTo>
                      <a:pt x="233" y="114"/>
                    </a:lnTo>
                    <a:lnTo>
                      <a:pt x="234" y="115"/>
                    </a:lnTo>
                    <a:lnTo>
                      <a:pt x="234" y="114"/>
                    </a:lnTo>
                    <a:lnTo>
                      <a:pt x="236" y="114"/>
                    </a:lnTo>
                    <a:lnTo>
                      <a:pt x="236" y="112"/>
                    </a:lnTo>
                    <a:lnTo>
                      <a:pt x="236" y="114"/>
                    </a:lnTo>
                    <a:lnTo>
                      <a:pt x="238" y="114"/>
                    </a:lnTo>
                    <a:lnTo>
                      <a:pt x="238" y="115"/>
                    </a:lnTo>
                    <a:lnTo>
                      <a:pt x="239" y="115"/>
                    </a:lnTo>
                    <a:lnTo>
                      <a:pt x="239" y="117"/>
                    </a:lnTo>
                    <a:lnTo>
                      <a:pt x="241" y="115"/>
                    </a:lnTo>
                    <a:lnTo>
                      <a:pt x="241" y="117"/>
                    </a:lnTo>
                    <a:lnTo>
                      <a:pt x="243" y="117"/>
                    </a:lnTo>
                    <a:lnTo>
                      <a:pt x="243" y="115"/>
                    </a:lnTo>
                    <a:lnTo>
                      <a:pt x="243" y="117"/>
                    </a:lnTo>
                    <a:lnTo>
                      <a:pt x="244" y="117"/>
                    </a:lnTo>
                    <a:lnTo>
                      <a:pt x="244" y="119"/>
                    </a:lnTo>
                    <a:lnTo>
                      <a:pt x="244" y="117"/>
                    </a:lnTo>
                    <a:lnTo>
                      <a:pt x="244" y="119"/>
                    </a:lnTo>
                    <a:lnTo>
                      <a:pt x="246" y="119"/>
                    </a:lnTo>
                    <a:lnTo>
                      <a:pt x="248" y="119"/>
                    </a:lnTo>
                    <a:lnTo>
                      <a:pt x="250" y="119"/>
                    </a:lnTo>
                    <a:lnTo>
                      <a:pt x="250" y="117"/>
                    </a:lnTo>
                    <a:lnTo>
                      <a:pt x="251" y="117"/>
                    </a:lnTo>
                    <a:lnTo>
                      <a:pt x="251" y="119"/>
                    </a:lnTo>
                    <a:lnTo>
                      <a:pt x="253" y="119"/>
                    </a:lnTo>
                    <a:lnTo>
                      <a:pt x="251" y="117"/>
                    </a:lnTo>
                    <a:lnTo>
                      <a:pt x="253" y="117"/>
                    </a:lnTo>
                    <a:lnTo>
                      <a:pt x="253" y="119"/>
                    </a:lnTo>
                    <a:lnTo>
                      <a:pt x="255" y="119"/>
                    </a:lnTo>
                    <a:lnTo>
                      <a:pt x="255" y="120"/>
                    </a:lnTo>
                    <a:lnTo>
                      <a:pt x="255" y="122"/>
                    </a:lnTo>
                    <a:lnTo>
                      <a:pt x="255" y="124"/>
                    </a:lnTo>
                    <a:lnTo>
                      <a:pt x="256" y="124"/>
                    </a:lnTo>
                    <a:lnTo>
                      <a:pt x="256" y="125"/>
                    </a:lnTo>
                    <a:lnTo>
                      <a:pt x="258" y="125"/>
                    </a:lnTo>
                    <a:lnTo>
                      <a:pt x="258" y="127"/>
                    </a:lnTo>
                    <a:lnTo>
                      <a:pt x="258" y="125"/>
                    </a:lnTo>
                    <a:lnTo>
                      <a:pt x="260" y="127"/>
                    </a:lnTo>
                    <a:lnTo>
                      <a:pt x="260" y="129"/>
                    </a:lnTo>
                    <a:lnTo>
                      <a:pt x="260" y="127"/>
                    </a:lnTo>
                    <a:lnTo>
                      <a:pt x="261" y="129"/>
                    </a:lnTo>
                    <a:lnTo>
                      <a:pt x="261" y="131"/>
                    </a:lnTo>
                    <a:lnTo>
                      <a:pt x="263" y="131"/>
                    </a:lnTo>
                    <a:lnTo>
                      <a:pt x="263" y="132"/>
                    </a:lnTo>
                    <a:lnTo>
                      <a:pt x="265" y="132"/>
                    </a:lnTo>
                    <a:lnTo>
                      <a:pt x="267" y="132"/>
                    </a:lnTo>
                    <a:lnTo>
                      <a:pt x="268" y="132"/>
                    </a:lnTo>
                    <a:lnTo>
                      <a:pt x="268" y="131"/>
                    </a:lnTo>
                    <a:lnTo>
                      <a:pt x="270" y="131"/>
                    </a:lnTo>
                    <a:lnTo>
                      <a:pt x="270" y="132"/>
                    </a:lnTo>
                    <a:lnTo>
                      <a:pt x="270" y="131"/>
                    </a:lnTo>
                    <a:lnTo>
                      <a:pt x="272" y="132"/>
                    </a:lnTo>
                    <a:lnTo>
                      <a:pt x="272" y="131"/>
                    </a:lnTo>
                    <a:lnTo>
                      <a:pt x="273" y="132"/>
                    </a:lnTo>
                    <a:lnTo>
                      <a:pt x="275" y="132"/>
                    </a:lnTo>
                    <a:lnTo>
                      <a:pt x="277" y="132"/>
                    </a:lnTo>
                    <a:lnTo>
                      <a:pt x="278" y="132"/>
                    </a:lnTo>
                    <a:lnTo>
                      <a:pt x="280" y="132"/>
                    </a:lnTo>
                    <a:lnTo>
                      <a:pt x="280" y="131"/>
                    </a:lnTo>
                    <a:lnTo>
                      <a:pt x="282" y="131"/>
                    </a:lnTo>
                    <a:lnTo>
                      <a:pt x="284" y="131"/>
                    </a:lnTo>
                    <a:lnTo>
                      <a:pt x="284" y="132"/>
                    </a:lnTo>
                    <a:lnTo>
                      <a:pt x="285" y="132"/>
                    </a:lnTo>
                    <a:lnTo>
                      <a:pt x="285" y="131"/>
                    </a:lnTo>
                    <a:lnTo>
                      <a:pt x="285" y="132"/>
                    </a:lnTo>
                    <a:lnTo>
                      <a:pt x="287" y="132"/>
                    </a:lnTo>
                    <a:lnTo>
                      <a:pt x="287" y="131"/>
                    </a:lnTo>
                    <a:lnTo>
                      <a:pt x="287" y="132"/>
                    </a:lnTo>
                    <a:lnTo>
                      <a:pt x="289" y="132"/>
                    </a:lnTo>
                    <a:lnTo>
                      <a:pt x="289" y="131"/>
                    </a:lnTo>
                    <a:lnTo>
                      <a:pt x="290" y="131"/>
                    </a:lnTo>
                    <a:lnTo>
                      <a:pt x="290" y="132"/>
                    </a:lnTo>
                    <a:lnTo>
                      <a:pt x="290" y="131"/>
                    </a:lnTo>
                    <a:lnTo>
                      <a:pt x="292" y="131"/>
                    </a:lnTo>
                    <a:lnTo>
                      <a:pt x="292" y="132"/>
                    </a:lnTo>
                    <a:lnTo>
                      <a:pt x="294" y="132"/>
                    </a:lnTo>
                    <a:lnTo>
                      <a:pt x="295" y="132"/>
                    </a:lnTo>
                    <a:lnTo>
                      <a:pt x="295" y="134"/>
                    </a:lnTo>
                    <a:lnTo>
                      <a:pt x="295" y="136"/>
                    </a:lnTo>
                    <a:lnTo>
                      <a:pt x="297" y="136"/>
                    </a:lnTo>
                    <a:lnTo>
                      <a:pt x="299" y="136"/>
                    </a:lnTo>
                    <a:lnTo>
                      <a:pt x="299" y="137"/>
                    </a:lnTo>
                    <a:lnTo>
                      <a:pt x="301" y="137"/>
                    </a:lnTo>
                    <a:lnTo>
                      <a:pt x="302" y="137"/>
                    </a:lnTo>
                    <a:lnTo>
                      <a:pt x="302" y="139"/>
                    </a:lnTo>
                    <a:lnTo>
                      <a:pt x="302" y="137"/>
                    </a:lnTo>
                    <a:lnTo>
                      <a:pt x="302" y="139"/>
                    </a:lnTo>
                    <a:lnTo>
                      <a:pt x="304" y="139"/>
                    </a:lnTo>
                    <a:lnTo>
                      <a:pt x="306" y="139"/>
                    </a:lnTo>
                    <a:lnTo>
                      <a:pt x="307" y="141"/>
                    </a:lnTo>
                    <a:lnTo>
                      <a:pt x="309" y="141"/>
                    </a:lnTo>
                    <a:lnTo>
                      <a:pt x="311" y="141"/>
                    </a:lnTo>
                    <a:lnTo>
                      <a:pt x="309" y="143"/>
                    </a:lnTo>
                    <a:lnTo>
                      <a:pt x="311" y="143"/>
                    </a:lnTo>
                    <a:lnTo>
                      <a:pt x="309" y="143"/>
                    </a:lnTo>
                    <a:lnTo>
                      <a:pt x="311" y="143"/>
                    </a:lnTo>
                    <a:lnTo>
                      <a:pt x="309" y="143"/>
                    </a:lnTo>
                    <a:lnTo>
                      <a:pt x="309" y="144"/>
                    </a:lnTo>
                    <a:lnTo>
                      <a:pt x="309" y="143"/>
                    </a:lnTo>
                    <a:lnTo>
                      <a:pt x="311" y="144"/>
                    </a:lnTo>
                    <a:lnTo>
                      <a:pt x="309" y="144"/>
                    </a:lnTo>
                    <a:lnTo>
                      <a:pt x="311" y="144"/>
                    </a:lnTo>
                    <a:lnTo>
                      <a:pt x="311" y="146"/>
                    </a:lnTo>
                    <a:lnTo>
                      <a:pt x="311" y="148"/>
                    </a:lnTo>
                    <a:lnTo>
                      <a:pt x="312" y="148"/>
                    </a:lnTo>
                    <a:lnTo>
                      <a:pt x="312" y="149"/>
                    </a:lnTo>
                    <a:lnTo>
                      <a:pt x="311" y="149"/>
                    </a:lnTo>
                    <a:lnTo>
                      <a:pt x="311" y="151"/>
                    </a:lnTo>
                    <a:lnTo>
                      <a:pt x="309" y="151"/>
                    </a:lnTo>
                    <a:lnTo>
                      <a:pt x="309" y="153"/>
                    </a:lnTo>
                    <a:lnTo>
                      <a:pt x="309" y="154"/>
                    </a:lnTo>
                    <a:lnTo>
                      <a:pt x="309" y="156"/>
                    </a:lnTo>
                    <a:lnTo>
                      <a:pt x="311" y="156"/>
                    </a:lnTo>
                    <a:lnTo>
                      <a:pt x="311" y="158"/>
                    </a:lnTo>
                    <a:lnTo>
                      <a:pt x="311" y="160"/>
                    </a:lnTo>
                    <a:lnTo>
                      <a:pt x="311" y="161"/>
                    </a:lnTo>
                    <a:lnTo>
                      <a:pt x="312" y="161"/>
                    </a:lnTo>
                    <a:lnTo>
                      <a:pt x="312" y="163"/>
                    </a:lnTo>
                    <a:lnTo>
                      <a:pt x="312" y="165"/>
                    </a:lnTo>
                    <a:lnTo>
                      <a:pt x="314" y="165"/>
                    </a:lnTo>
                    <a:lnTo>
                      <a:pt x="314" y="166"/>
                    </a:lnTo>
                    <a:lnTo>
                      <a:pt x="314" y="168"/>
                    </a:lnTo>
                    <a:lnTo>
                      <a:pt x="314" y="170"/>
                    </a:lnTo>
                    <a:lnTo>
                      <a:pt x="316" y="170"/>
                    </a:lnTo>
                    <a:lnTo>
                      <a:pt x="316" y="171"/>
                    </a:lnTo>
                    <a:lnTo>
                      <a:pt x="318" y="173"/>
                    </a:lnTo>
                    <a:lnTo>
                      <a:pt x="318" y="175"/>
                    </a:lnTo>
                    <a:lnTo>
                      <a:pt x="318" y="177"/>
                    </a:lnTo>
                    <a:lnTo>
                      <a:pt x="318" y="180"/>
                    </a:lnTo>
                    <a:lnTo>
                      <a:pt x="318" y="182"/>
                    </a:lnTo>
                    <a:lnTo>
                      <a:pt x="318" y="183"/>
                    </a:lnTo>
                    <a:lnTo>
                      <a:pt x="318" y="187"/>
                    </a:lnTo>
                    <a:lnTo>
                      <a:pt x="316" y="187"/>
                    </a:lnTo>
                    <a:lnTo>
                      <a:pt x="314" y="187"/>
                    </a:lnTo>
                    <a:lnTo>
                      <a:pt x="311" y="187"/>
                    </a:lnTo>
                    <a:lnTo>
                      <a:pt x="309" y="187"/>
                    </a:lnTo>
                    <a:lnTo>
                      <a:pt x="306" y="187"/>
                    </a:lnTo>
                    <a:lnTo>
                      <a:pt x="309" y="190"/>
                    </a:lnTo>
                    <a:lnTo>
                      <a:pt x="314" y="195"/>
                    </a:lnTo>
                    <a:lnTo>
                      <a:pt x="316" y="199"/>
                    </a:lnTo>
                    <a:lnTo>
                      <a:pt x="318" y="200"/>
                    </a:lnTo>
                    <a:lnTo>
                      <a:pt x="318" y="202"/>
                    </a:lnTo>
                    <a:lnTo>
                      <a:pt x="318" y="204"/>
                    </a:lnTo>
                    <a:lnTo>
                      <a:pt x="319" y="221"/>
                    </a:lnTo>
                    <a:lnTo>
                      <a:pt x="319" y="224"/>
                    </a:lnTo>
                    <a:lnTo>
                      <a:pt x="319" y="228"/>
                    </a:lnTo>
                    <a:lnTo>
                      <a:pt x="321" y="228"/>
                    </a:lnTo>
                    <a:lnTo>
                      <a:pt x="323" y="228"/>
                    </a:lnTo>
                    <a:lnTo>
                      <a:pt x="324" y="228"/>
                    </a:lnTo>
                    <a:lnTo>
                      <a:pt x="326" y="228"/>
                    </a:lnTo>
                    <a:lnTo>
                      <a:pt x="329" y="228"/>
                    </a:lnTo>
                    <a:lnTo>
                      <a:pt x="331" y="228"/>
                    </a:lnTo>
                    <a:lnTo>
                      <a:pt x="335" y="228"/>
                    </a:lnTo>
                    <a:lnTo>
                      <a:pt x="341" y="228"/>
                    </a:lnTo>
                    <a:lnTo>
                      <a:pt x="343" y="228"/>
                    </a:lnTo>
                    <a:lnTo>
                      <a:pt x="345" y="228"/>
                    </a:lnTo>
                    <a:lnTo>
                      <a:pt x="348" y="228"/>
                    </a:lnTo>
                    <a:lnTo>
                      <a:pt x="352" y="229"/>
                    </a:lnTo>
                    <a:lnTo>
                      <a:pt x="353" y="229"/>
                    </a:lnTo>
                    <a:lnTo>
                      <a:pt x="355" y="229"/>
                    </a:lnTo>
                    <a:lnTo>
                      <a:pt x="360" y="229"/>
                    </a:lnTo>
                    <a:lnTo>
                      <a:pt x="367" y="229"/>
                    </a:lnTo>
                    <a:lnTo>
                      <a:pt x="369" y="229"/>
                    </a:lnTo>
                    <a:lnTo>
                      <a:pt x="370" y="229"/>
                    </a:lnTo>
                    <a:lnTo>
                      <a:pt x="375" y="229"/>
                    </a:lnTo>
                    <a:lnTo>
                      <a:pt x="379" y="229"/>
                    </a:lnTo>
                    <a:lnTo>
                      <a:pt x="380" y="229"/>
                    </a:lnTo>
                    <a:lnTo>
                      <a:pt x="380" y="228"/>
                    </a:lnTo>
                    <a:lnTo>
                      <a:pt x="382" y="228"/>
                    </a:lnTo>
                    <a:lnTo>
                      <a:pt x="382" y="229"/>
                    </a:lnTo>
                    <a:lnTo>
                      <a:pt x="382" y="231"/>
                    </a:lnTo>
                    <a:lnTo>
                      <a:pt x="382" y="233"/>
                    </a:lnTo>
                    <a:lnTo>
                      <a:pt x="380" y="233"/>
                    </a:lnTo>
                    <a:lnTo>
                      <a:pt x="380" y="234"/>
                    </a:lnTo>
                    <a:lnTo>
                      <a:pt x="382" y="234"/>
                    </a:lnTo>
                    <a:lnTo>
                      <a:pt x="382" y="236"/>
                    </a:lnTo>
                    <a:lnTo>
                      <a:pt x="380" y="238"/>
                    </a:lnTo>
                    <a:lnTo>
                      <a:pt x="379" y="238"/>
                    </a:lnTo>
                    <a:lnTo>
                      <a:pt x="379" y="239"/>
                    </a:lnTo>
                    <a:lnTo>
                      <a:pt x="379" y="241"/>
                    </a:lnTo>
                    <a:lnTo>
                      <a:pt x="377" y="241"/>
                    </a:lnTo>
                    <a:lnTo>
                      <a:pt x="377" y="243"/>
                    </a:lnTo>
                    <a:lnTo>
                      <a:pt x="377" y="245"/>
                    </a:lnTo>
                    <a:lnTo>
                      <a:pt x="377" y="246"/>
                    </a:lnTo>
                    <a:lnTo>
                      <a:pt x="377" y="248"/>
                    </a:lnTo>
                    <a:lnTo>
                      <a:pt x="377" y="250"/>
                    </a:lnTo>
                    <a:lnTo>
                      <a:pt x="377" y="251"/>
                    </a:lnTo>
                    <a:lnTo>
                      <a:pt x="377" y="253"/>
                    </a:lnTo>
                    <a:lnTo>
                      <a:pt x="379" y="253"/>
                    </a:lnTo>
                    <a:lnTo>
                      <a:pt x="379" y="255"/>
                    </a:lnTo>
                    <a:lnTo>
                      <a:pt x="379" y="256"/>
                    </a:lnTo>
                    <a:lnTo>
                      <a:pt x="380" y="256"/>
                    </a:lnTo>
                    <a:lnTo>
                      <a:pt x="380" y="258"/>
                    </a:lnTo>
                    <a:lnTo>
                      <a:pt x="380" y="260"/>
                    </a:lnTo>
                    <a:lnTo>
                      <a:pt x="380" y="262"/>
                    </a:lnTo>
                    <a:lnTo>
                      <a:pt x="382" y="262"/>
                    </a:lnTo>
                    <a:lnTo>
                      <a:pt x="382" y="263"/>
                    </a:lnTo>
                    <a:lnTo>
                      <a:pt x="384" y="263"/>
                    </a:lnTo>
                    <a:lnTo>
                      <a:pt x="384" y="265"/>
                    </a:lnTo>
                    <a:lnTo>
                      <a:pt x="384" y="267"/>
                    </a:lnTo>
                    <a:lnTo>
                      <a:pt x="386" y="267"/>
                    </a:lnTo>
                    <a:lnTo>
                      <a:pt x="387" y="267"/>
                    </a:lnTo>
                    <a:lnTo>
                      <a:pt x="389" y="268"/>
                    </a:lnTo>
                    <a:lnTo>
                      <a:pt x="389" y="270"/>
                    </a:lnTo>
                    <a:lnTo>
                      <a:pt x="391" y="270"/>
                    </a:lnTo>
                    <a:lnTo>
                      <a:pt x="392" y="270"/>
                    </a:lnTo>
                    <a:lnTo>
                      <a:pt x="392" y="272"/>
                    </a:lnTo>
                    <a:lnTo>
                      <a:pt x="394" y="272"/>
                    </a:lnTo>
                    <a:lnTo>
                      <a:pt x="396" y="272"/>
                    </a:lnTo>
                    <a:lnTo>
                      <a:pt x="396" y="270"/>
                    </a:lnTo>
                    <a:lnTo>
                      <a:pt x="397" y="270"/>
                    </a:lnTo>
                    <a:lnTo>
                      <a:pt x="399" y="272"/>
                    </a:lnTo>
                    <a:lnTo>
                      <a:pt x="401" y="273"/>
                    </a:lnTo>
                    <a:lnTo>
                      <a:pt x="403" y="273"/>
                    </a:lnTo>
                    <a:lnTo>
                      <a:pt x="401" y="273"/>
                    </a:lnTo>
                    <a:lnTo>
                      <a:pt x="401" y="275"/>
                    </a:lnTo>
                    <a:lnTo>
                      <a:pt x="401" y="277"/>
                    </a:lnTo>
                    <a:lnTo>
                      <a:pt x="401" y="279"/>
                    </a:lnTo>
                    <a:lnTo>
                      <a:pt x="403" y="279"/>
                    </a:lnTo>
                    <a:lnTo>
                      <a:pt x="403" y="280"/>
                    </a:lnTo>
                    <a:lnTo>
                      <a:pt x="404" y="282"/>
                    </a:lnTo>
                    <a:lnTo>
                      <a:pt x="404" y="284"/>
                    </a:lnTo>
                    <a:lnTo>
                      <a:pt x="403" y="284"/>
                    </a:lnTo>
                    <a:lnTo>
                      <a:pt x="406" y="289"/>
                    </a:lnTo>
                    <a:lnTo>
                      <a:pt x="406" y="290"/>
                    </a:lnTo>
                    <a:lnTo>
                      <a:pt x="408" y="292"/>
                    </a:lnTo>
                    <a:lnTo>
                      <a:pt x="408" y="294"/>
                    </a:lnTo>
                    <a:lnTo>
                      <a:pt x="409" y="296"/>
                    </a:lnTo>
                    <a:lnTo>
                      <a:pt x="411" y="296"/>
                    </a:lnTo>
                    <a:lnTo>
                      <a:pt x="411" y="297"/>
                    </a:lnTo>
                    <a:lnTo>
                      <a:pt x="409" y="297"/>
                    </a:lnTo>
                    <a:lnTo>
                      <a:pt x="408" y="297"/>
                    </a:lnTo>
                    <a:lnTo>
                      <a:pt x="408" y="299"/>
                    </a:lnTo>
                    <a:lnTo>
                      <a:pt x="408" y="301"/>
                    </a:lnTo>
                    <a:lnTo>
                      <a:pt x="406" y="308"/>
                    </a:lnTo>
                    <a:lnTo>
                      <a:pt x="404" y="309"/>
                    </a:lnTo>
                    <a:lnTo>
                      <a:pt x="404" y="313"/>
                    </a:lnTo>
                    <a:lnTo>
                      <a:pt x="403" y="314"/>
                    </a:lnTo>
                    <a:lnTo>
                      <a:pt x="403" y="316"/>
                    </a:lnTo>
                    <a:lnTo>
                      <a:pt x="403" y="318"/>
                    </a:lnTo>
                    <a:lnTo>
                      <a:pt x="401" y="319"/>
                    </a:lnTo>
                    <a:lnTo>
                      <a:pt x="401" y="321"/>
                    </a:lnTo>
                    <a:lnTo>
                      <a:pt x="403" y="321"/>
                    </a:lnTo>
                    <a:lnTo>
                      <a:pt x="403" y="323"/>
                    </a:lnTo>
                    <a:lnTo>
                      <a:pt x="403" y="325"/>
                    </a:lnTo>
                    <a:lnTo>
                      <a:pt x="404" y="325"/>
                    </a:lnTo>
                    <a:lnTo>
                      <a:pt x="403" y="325"/>
                    </a:lnTo>
                    <a:lnTo>
                      <a:pt x="403" y="326"/>
                    </a:lnTo>
                    <a:lnTo>
                      <a:pt x="401" y="326"/>
                    </a:lnTo>
                    <a:lnTo>
                      <a:pt x="399" y="330"/>
                    </a:lnTo>
                    <a:lnTo>
                      <a:pt x="397" y="331"/>
                    </a:lnTo>
                    <a:lnTo>
                      <a:pt x="397" y="333"/>
                    </a:lnTo>
                    <a:lnTo>
                      <a:pt x="397" y="335"/>
                    </a:lnTo>
                    <a:lnTo>
                      <a:pt x="394" y="342"/>
                    </a:lnTo>
                    <a:lnTo>
                      <a:pt x="391" y="348"/>
                    </a:lnTo>
                    <a:lnTo>
                      <a:pt x="389" y="352"/>
                    </a:lnTo>
                    <a:lnTo>
                      <a:pt x="394" y="355"/>
                    </a:lnTo>
                    <a:lnTo>
                      <a:pt x="397" y="359"/>
                    </a:lnTo>
                    <a:lnTo>
                      <a:pt x="397" y="360"/>
                    </a:lnTo>
                    <a:lnTo>
                      <a:pt x="397" y="362"/>
                    </a:lnTo>
                    <a:lnTo>
                      <a:pt x="396" y="362"/>
                    </a:lnTo>
                    <a:lnTo>
                      <a:pt x="394" y="362"/>
                    </a:lnTo>
                    <a:lnTo>
                      <a:pt x="392" y="362"/>
                    </a:lnTo>
                    <a:lnTo>
                      <a:pt x="392" y="364"/>
                    </a:lnTo>
                    <a:lnTo>
                      <a:pt x="391" y="364"/>
                    </a:lnTo>
                    <a:lnTo>
                      <a:pt x="391" y="365"/>
                    </a:lnTo>
                    <a:lnTo>
                      <a:pt x="389" y="365"/>
                    </a:lnTo>
                    <a:lnTo>
                      <a:pt x="387" y="36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8" name="Freeform 17">
                <a:extLst>
                  <a:ext uri="{FF2B5EF4-FFF2-40B4-BE49-F238E27FC236}">
                    <a16:creationId xmlns:a16="http://schemas.microsoft.com/office/drawing/2014/main" id="{F891C738-8B7F-A920-D907-FF661EB76FF3}"/>
                  </a:ext>
                </a:extLst>
              </p:cNvPr>
              <p:cNvSpPr>
                <a:spLocks noEditPoints="1"/>
              </p:cNvSpPr>
              <p:nvPr/>
            </p:nvSpPr>
            <p:spPr bwMode="auto">
              <a:xfrm>
                <a:off x="5700022" y="2769132"/>
                <a:ext cx="54044" cy="57276"/>
              </a:xfrm>
              <a:custGeom>
                <a:avLst/>
                <a:gdLst>
                  <a:gd name="T0" fmla="*/ 2 w 184"/>
                  <a:gd name="T1" fmla="*/ 187 h 195"/>
                  <a:gd name="T2" fmla="*/ 4 w 184"/>
                  <a:gd name="T3" fmla="*/ 187 h 195"/>
                  <a:gd name="T4" fmla="*/ 4 w 184"/>
                  <a:gd name="T5" fmla="*/ 189 h 195"/>
                  <a:gd name="T6" fmla="*/ 5 w 184"/>
                  <a:gd name="T7" fmla="*/ 189 h 195"/>
                  <a:gd name="T8" fmla="*/ 7 w 184"/>
                  <a:gd name="T9" fmla="*/ 189 h 195"/>
                  <a:gd name="T10" fmla="*/ 7 w 184"/>
                  <a:gd name="T11" fmla="*/ 190 h 195"/>
                  <a:gd name="T12" fmla="*/ 7 w 184"/>
                  <a:gd name="T13" fmla="*/ 192 h 195"/>
                  <a:gd name="T14" fmla="*/ 7 w 184"/>
                  <a:gd name="T15" fmla="*/ 194 h 195"/>
                  <a:gd name="T16" fmla="*/ 5 w 184"/>
                  <a:gd name="T17" fmla="*/ 192 h 195"/>
                  <a:gd name="T18" fmla="*/ 5 w 184"/>
                  <a:gd name="T19" fmla="*/ 194 h 195"/>
                  <a:gd name="T20" fmla="*/ 7 w 184"/>
                  <a:gd name="T21" fmla="*/ 195 h 195"/>
                  <a:gd name="T22" fmla="*/ 5 w 184"/>
                  <a:gd name="T23" fmla="*/ 195 h 195"/>
                  <a:gd name="T24" fmla="*/ 4 w 184"/>
                  <a:gd name="T25" fmla="*/ 195 h 195"/>
                  <a:gd name="T26" fmla="*/ 4 w 184"/>
                  <a:gd name="T27" fmla="*/ 194 h 195"/>
                  <a:gd name="T28" fmla="*/ 4 w 184"/>
                  <a:gd name="T29" fmla="*/ 192 h 195"/>
                  <a:gd name="T30" fmla="*/ 5 w 184"/>
                  <a:gd name="T31" fmla="*/ 192 h 195"/>
                  <a:gd name="T32" fmla="*/ 4 w 184"/>
                  <a:gd name="T33" fmla="*/ 192 h 195"/>
                  <a:gd name="T34" fmla="*/ 4 w 184"/>
                  <a:gd name="T35" fmla="*/ 190 h 195"/>
                  <a:gd name="T36" fmla="*/ 4 w 184"/>
                  <a:gd name="T37" fmla="*/ 189 h 195"/>
                  <a:gd name="T38" fmla="*/ 2 w 184"/>
                  <a:gd name="T39" fmla="*/ 189 h 195"/>
                  <a:gd name="T40" fmla="*/ 0 w 184"/>
                  <a:gd name="T41" fmla="*/ 189 h 195"/>
                  <a:gd name="T42" fmla="*/ 0 w 184"/>
                  <a:gd name="T43" fmla="*/ 187 h 195"/>
                  <a:gd name="T44" fmla="*/ 0 w 184"/>
                  <a:gd name="T45" fmla="*/ 185 h 195"/>
                  <a:gd name="T46" fmla="*/ 2 w 184"/>
                  <a:gd name="T47" fmla="*/ 187 h 195"/>
                  <a:gd name="T48" fmla="*/ 182 w 184"/>
                  <a:gd name="T49" fmla="*/ 3 h 195"/>
                  <a:gd name="T50" fmla="*/ 184 w 184"/>
                  <a:gd name="T51" fmla="*/ 3 h 195"/>
                  <a:gd name="T52" fmla="*/ 184 w 184"/>
                  <a:gd name="T53" fmla="*/ 5 h 195"/>
                  <a:gd name="T54" fmla="*/ 182 w 184"/>
                  <a:gd name="T55" fmla="*/ 5 h 195"/>
                  <a:gd name="T56" fmla="*/ 182 w 184"/>
                  <a:gd name="T57" fmla="*/ 3 h 195"/>
                  <a:gd name="T58" fmla="*/ 174 w 184"/>
                  <a:gd name="T59" fmla="*/ 0 h 195"/>
                  <a:gd name="T60" fmla="*/ 175 w 184"/>
                  <a:gd name="T61" fmla="*/ 0 h 195"/>
                  <a:gd name="T62" fmla="*/ 174 w 184"/>
                  <a:gd name="T63" fmla="*/ 0 h 195"/>
                  <a:gd name="T64" fmla="*/ 2 w 184"/>
                  <a:gd name="T65" fmla="*/ 190 h 195"/>
                  <a:gd name="T66" fmla="*/ 4 w 184"/>
                  <a:gd name="T67" fmla="*/ 190 h 195"/>
                  <a:gd name="T68" fmla="*/ 4 w 184"/>
                  <a:gd name="T69" fmla="*/ 192 h 195"/>
                  <a:gd name="T70" fmla="*/ 2 w 184"/>
                  <a:gd name="T71" fmla="*/ 192 h 195"/>
                  <a:gd name="T72" fmla="*/ 2 w 184"/>
                  <a:gd name="T73" fmla="*/ 19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4" h="195">
                    <a:moveTo>
                      <a:pt x="2" y="187"/>
                    </a:moveTo>
                    <a:lnTo>
                      <a:pt x="4" y="187"/>
                    </a:lnTo>
                    <a:lnTo>
                      <a:pt x="4" y="189"/>
                    </a:lnTo>
                    <a:lnTo>
                      <a:pt x="5" y="189"/>
                    </a:lnTo>
                    <a:lnTo>
                      <a:pt x="7" y="189"/>
                    </a:lnTo>
                    <a:lnTo>
                      <a:pt x="7" y="190"/>
                    </a:lnTo>
                    <a:lnTo>
                      <a:pt x="7" y="192"/>
                    </a:lnTo>
                    <a:lnTo>
                      <a:pt x="7" y="194"/>
                    </a:lnTo>
                    <a:lnTo>
                      <a:pt x="5" y="192"/>
                    </a:lnTo>
                    <a:lnTo>
                      <a:pt x="5" y="194"/>
                    </a:lnTo>
                    <a:lnTo>
                      <a:pt x="7" y="195"/>
                    </a:lnTo>
                    <a:lnTo>
                      <a:pt x="5" y="195"/>
                    </a:lnTo>
                    <a:lnTo>
                      <a:pt x="4" y="195"/>
                    </a:lnTo>
                    <a:lnTo>
                      <a:pt x="4" y="194"/>
                    </a:lnTo>
                    <a:lnTo>
                      <a:pt x="4" y="192"/>
                    </a:lnTo>
                    <a:lnTo>
                      <a:pt x="5" y="192"/>
                    </a:lnTo>
                    <a:lnTo>
                      <a:pt x="4" y="192"/>
                    </a:lnTo>
                    <a:lnTo>
                      <a:pt x="4" y="190"/>
                    </a:lnTo>
                    <a:lnTo>
                      <a:pt x="4" y="189"/>
                    </a:lnTo>
                    <a:lnTo>
                      <a:pt x="2" y="189"/>
                    </a:lnTo>
                    <a:lnTo>
                      <a:pt x="0" y="189"/>
                    </a:lnTo>
                    <a:lnTo>
                      <a:pt x="0" y="187"/>
                    </a:lnTo>
                    <a:lnTo>
                      <a:pt x="0" y="185"/>
                    </a:lnTo>
                    <a:lnTo>
                      <a:pt x="2" y="187"/>
                    </a:lnTo>
                    <a:close/>
                    <a:moveTo>
                      <a:pt x="182" y="3"/>
                    </a:moveTo>
                    <a:lnTo>
                      <a:pt x="184" y="3"/>
                    </a:lnTo>
                    <a:lnTo>
                      <a:pt x="184" y="5"/>
                    </a:lnTo>
                    <a:lnTo>
                      <a:pt x="182" y="5"/>
                    </a:lnTo>
                    <a:lnTo>
                      <a:pt x="182" y="3"/>
                    </a:lnTo>
                    <a:close/>
                    <a:moveTo>
                      <a:pt x="174" y="0"/>
                    </a:moveTo>
                    <a:lnTo>
                      <a:pt x="175" y="0"/>
                    </a:lnTo>
                    <a:lnTo>
                      <a:pt x="174" y="0"/>
                    </a:lnTo>
                    <a:close/>
                    <a:moveTo>
                      <a:pt x="2" y="190"/>
                    </a:moveTo>
                    <a:lnTo>
                      <a:pt x="4" y="190"/>
                    </a:lnTo>
                    <a:lnTo>
                      <a:pt x="4" y="192"/>
                    </a:lnTo>
                    <a:lnTo>
                      <a:pt x="2" y="192"/>
                    </a:lnTo>
                    <a:lnTo>
                      <a:pt x="2" y="19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9" name="Freeform 18">
                <a:extLst>
                  <a:ext uri="{FF2B5EF4-FFF2-40B4-BE49-F238E27FC236}">
                    <a16:creationId xmlns:a16="http://schemas.microsoft.com/office/drawing/2014/main" id="{4E88C0F6-0275-140C-B363-E9B295EBEBA7}"/>
                  </a:ext>
                </a:extLst>
              </p:cNvPr>
              <p:cNvSpPr>
                <a:spLocks noEditPoints="1"/>
              </p:cNvSpPr>
              <p:nvPr/>
            </p:nvSpPr>
            <p:spPr bwMode="auto">
              <a:xfrm>
                <a:off x="5644513" y="2894550"/>
                <a:ext cx="442927" cy="407976"/>
              </a:xfrm>
              <a:custGeom>
                <a:avLst/>
                <a:gdLst>
                  <a:gd name="T0" fmla="*/ 84 w 1508"/>
                  <a:gd name="T1" fmla="*/ 517 h 1389"/>
                  <a:gd name="T2" fmla="*/ 6 w 1508"/>
                  <a:gd name="T3" fmla="*/ 437 h 1389"/>
                  <a:gd name="T4" fmla="*/ 45 w 1508"/>
                  <a:gd name="T5" fmla="*/ 348 h 1389"/>
                  <a:gd name="T6" fmla="*/ 119 w 1508"/>
                  <a:gd name="T7" fmla="*/ 318 h 1389"/>
                  <a:gd name="T8" fmla="*/ 138 w 1508"/>
                  <a:gd name="T9" fmla="*/ 158 h 1389"/>
                  <a:gd name="T10" fmla="*/ 194 w 1508"/>
                  <a:gd name="T11" fmla="*/ 117 h 1389"/>
                  <a:gd name="T12" fmla="*/ 286 w 1508"/>
                  <a:gd name="T13" fmla="*/ 144 h 1389"/>
                  <a:gd name="T14" fmla="*/ 349 w 1508"/>
                  <a:gd name="T15" fmla="*/ 109 h 1389"/>
                  <a:gd name="T16" fmla="*/ 323 w 1508"/>
                  <a:gd name="T17" fmla="*/ 39 h 1389"/>
                  <a:gd name="T18" fmla="*/ 395 w 1508"/>
                  <a:gd name="T19" fmla="*/ 39 h 1389"/>
                  <a:gd name="T20" fmla="*/ 473 w 1508"/>
                  <a:gd name="T21" fmla="*/ 10 h 1389"/>
                  <a:gd name="T22" fmla="*/ 475 w 1508"/>
                  <a:gd name="T23" fmla="*/ 93 h 1389"/>
                  <a:gd name="T24" fmla="*/ 539 w 1508"/>
                  <a:gd name="T25" fmla="*/ 126 h 1389"/>
                  <a:gd name="T26" fmla="*/ 609 w 1508"/>
                  <a:gd name="T27" fmla="*/ 93 h 1389"/>
                  <a:gd name="T28" fmla="*/ 708 w 1508"/>
                  <a:gd name="T29" fmla="*/ 103 h 1389"/>
                  <a:gd name="T30" fmla="*/ 764 w 1508"/>
                  <a:gd name="T31" fmla="*/ 30 h 1389"/>
                  <a:gd name="T32" fmla="*/ 813 w 1508"/>
                  <a:gd name="T33" fmla="*/ 120 h 1389"/>
                  <a:gd name="T34" fmla="*/ 786 w 1508"/>
                  <a:gd name="T35" fmla="*/ 183 h 1389"/>
                  <a:gd name="T36" fmla="*/ 854 w 1508"/>
                  <a:gd name="T37" fmla="*/ 187 h 1389"/>
                  <a:gd name="T38" fmla="*/ 861 w 1508"/>
                  <a:gd name="T39" fmla="*/ 223 h 1389"/>
                  <a:gd name="T40" fmla="*/ 896 w 1508"/>
                  <a:gd name="T41" fmla="*/ 199 h 1389"/>
                  <a:gd name="T42" fmla="*/ 924 w 1508"/>
                  <a:gd name="T43" fmla="*/ 211 h 1389"/>
                  <a:gd name="T44" fmla="*/ 949 w 1508"/>
                  <a:gd name="T45" fmla="*/ 219 h 1389"/>
                  <a:gd name="T46" fmla="*/ 969 w 1508"/>
                  <a:gd name="T47" fmla="*/ 234 h 1389"/>
                  <a:gd name="T48" fmla="*/ 988 w 1508"/>
                  <a:gd name="T49" fmla="*/ 258 h 1389"/>
                  <a:gd name="T50" fmla="*/ 1012 w 1508"/>
                  <a:gd name="T51" fmla="*/ 263 h 1389"/>
                  <a:gd name="T52" fmla="*/ 1049 w 1508"/>
                  <a:gd name="T53" fmla="*/ 262 h 1389"/>
                  <a:gd name="T54" fmla="*/ 1153 w 1508"/>
                  <a:gd name="T55" fmla="*/ 275 h 1389"/>
                  <a:gd name="T56" fmla="*/ 1264 w 1508"/>
                  <a:gd name="T57" fmla="*/ 350 h 1389"/>
                  <a:gd name="T58" fmla="*/ 1323 w 1508"/>
                  <a:gd name="T59" fmla="*/ 437 h 1389"/>
                  <a:gd name="T60" fmla="*/ 1258 w 1508"/>
                  <a:gd name="T61" fmla="*/ 539 h 1389"/>
                  <a:gd name="T62" fmla="*/ 1192 w 1508"/>
                  <a:gd name="T63" fmla="*/ 607 h 1389"/>
                  <a:gd name="T64" fmla="*/ 1180 w 1508"/>
                  <a:gd name="T65" fmla="*/ 672 h 1389"/>
                  <a:gd name="T66" fmla="*/ 1163 w 1508"/>
                  <a:gd name="T67" fmla="*/ 797 h 1389"/>
                  <a:gd name="T68" fmla="*/ 1117 w 1508"/>
                  <a:gd name="T69" fmla="*/ 908 h 1389"/>
                  <a:gd name="T70" fmla="*/ 1044 w 1508"/>
                  <a:gd name="T71" fmla="*/ 976 h 1389"/>
                  <a:gd name="T72" fmla="*/ 1002 w 1508"/>
                  <a:gd name="T73" fmla="*/ 974 h 1389"/>
                  <a:gd name="T74" fmla="*/ 949 w 1508"/>
                  <a:gd name="T75" fmla="*/ 1005 h 1389"/>
                  <a:gd name="T76" fmla="*/ 859 w 1508"/>
                  <a:gd name="T77" fmla="*/ 1085 h 1389"/>
                  <a:gd name="T78" fmla="*/ 856 w 1508"/>
                  <a:gd name="T79" fmla="*/ 1170 h 1389"/>
                  <a:gd name="T80" fmla="*/ 743 w 1508"/>
                  <a:gd name="T81" fmla="*/ 1320 h 1389"/>
                  <a:gd name="T82" fmla="*/ 687 w 1508"/>
                  <a:gd name="T83" fmla="*/ 1332 h 1389"/>
                  <a:gd name="T84" fmla="*/ 607 w 1508"/>
                  <a:gd name="T85" fmla="*/ 1272 h 1389"/>
                  <a:gd name="T86" fmla="*/ 585 w 1508"/>
                  <a:gd name="T87" fmla="*/ 1213 h 1389"/>
                  <a:gd name="T88" fmla="*/ 653 w 1508"/>
                  <a:gd name="T89" fmla="*/ 1146 h 1389"/>
                  <a:gd name="T90" fmla="*/ 680 w 1508"/>
                  <a:gd name="T91" fmla="*/ 1078 h 1389"/>
                  <a:gd name="T92" fmla="*/ 650 w 1508"/>
                  <a:gd name="T93" fmla="*/ 1008 h 1389"/>
                  <a:gd name="T94" fmla="*/ 594 w 1508"/>
                  <a:gd name="T95" fmla="*/ 944 h 1389"/>
                  <a:gd name="T96" fmla="*/ 546 w 1508"/>
                  <a:gd name="T97" fmla="*/ 905 h 1389"/>
                  <a:gd name="T98" fmla="*/ 543 w 1508"/>
                  <a:gd name="T99" fmla="*/ 779 h 1389"/>
                  <a:gd name="T100" fmla="*/ 456 w 1508"/>
                  <a:gd name="T101" fmla="*/ 663 h 1389"/>
                  <a:gd name="T102" fmla="*/ 391 w 1508"/>
                  <a:gd name="T103" fmla="*/ 624 h 1389"/>
                  <a:gd name="T104" fmla="*/ 312 w 1508"/>
                  <a:gd name="T105" fmla="*/ 588 h 1389"/>
                  <a:gd name="T106" fmla="*/ 281 w 1508"/>
                  <a:gd name="T107" fmla="*/ 510 h 1389"/>
                  <a:gd name="T108" fmla="*/ 203 w 1508"/>
                  <a:gd name="T109" fmla="*/ 539 h 1389"/>
                  <a:gd name="T110" fmla="*/ 930 w 1508"/>
                  <a:gd name="T111" fmla="*/ 209 h 1389"/>
                  <a:gd name="T112" fmla="*/ 781 w 1508"/>
                  <a:gd name="T113" fmla="*/ 177 h 1389"/>
                  <a:gd name="T114" fmla="*/ 818 w 1508"/>
                  <a:gd name="T115" fmla="*/ 173 h 1389"/>
                  <a:gd name="T116" fmla="*/ 793 w 1508"/>
                  <a:gd name="T117" fmla="*/ 168 h 1389"/>
                  <a:gd name="T118" fmla="*/ 990 w 1508"/>
                  <a:gd name="T119" fmla="*/ 285 h 1389"/>
                  <a:gd name="T120" fmla="*/ 986 w 1508"/>
                  <a:gd name="T121" fmla="*/ 228 h 1389"/>
                  <a:gd name="T122" fmla="*/ 1189 w 1508"/>
                  <a:gd name="T123" fmla="*/ 621 h 1389"/>
                  <a:gd name="T124" fmla="*/ 973 w 1508"/>
                  <a:gd name="T125" fmla="*/ 1007 h 1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08" h="1389">
                    <a:moveTo>
                      <a:pt x="150" y="549"/>
                    </a:moveTo>
                    <a:lnTo>
                      <a:pt x="148" y="549"/>
                    </a:lnTo>
                    <a:lnTo>
                      <a:pt x="148" y="551"/>
                    </a:lnTo>
                    <a:lnTo>
                      <a:pt x="148" y="549"/>
                    </a:lnTo>
                    <a:lnTo>
                      <a:pt x="148" y="551"/>
                    </a:lnTo>
                    <a:lnTo>
                      <a:pt x="147" y="551"/>
                    </a:lnTo>
                    <a:lnTo>
                      <a:pt x="145" y="551"/>
                    </a:lnTo>
                    <a:lnTo>
                      <a:pt x="143" y="551"/>
                    </a:lnTo>
                    <a:lnTo>
                      <a:pt x="143" y="549"/>
                    </a:lnTo>
                    <a:lnTo>
                      <a:pt x="142" y="549"/>
                    </a:lnTo>
                    <a:lnTo>
                      <a:pt x="140" y="549"/>
                    </a:lnTo>
                    <a:lnTo>
                      <a:pt x="138" y="549"/>
                    </a:lnTo>
                    <a:lnTo>
                      <a:pt x="136" y="549"/>
                    </a:lnTo>
                    <a:lnTo>
                      <a:pt x="136" y="551"/>
                    </a:lnTo>
                    <a:lnTo>
                      <a:pt x="135" y="549"/>
                    </a:lnTo>
                    <a:lnTo>
                      <a:pt x="135" y="551"/>
                    </a:lnTo>
                    <a:lnTo>
                      <a:pt x="133" y="551"/>
                    </a:lnTo>
                    <a:lnTo>
                      <a:pt x="131" y="551"/>
                    </a:lnTo>
                    <a:lnTo>
                      <a:pt x="131" y="553"/>
                    </a:lnTo>
                    <a:lnTo>
                      <a:pt x="130" y="553"/>
                    </a:lnTo>
                    <a:lnTo>
                      <a:pt x="128" y="554"/>
                    </a:lnTo>
                    <a:lnTo>
                      <a:pt x="128" y="553"/>
                    </a:lnTo>
                    <a:lnTo>
                      <a:pt x="128" y="554"/>
                    </a:lnTo>
                    <a:lnTo>
                      <a:pt x="126" y="553"/>
                    </a:lnTo>
                    <a:lnTo>
                      <a:pt x="126" y="554"/>
                    </a:lnTo>
                    <a:lnTo>
                      <a:pt x="125" y="554"/>
                    </a:lnTo>
                    <a:lnTo>
                      <a:pt x="123" y="554"/>
                    </a:lnTo>
                    <a:lnTo>
                      <a:pt x="123" y="553"/>
                    </a:lnTo>
                    <a:lnTo>
                      <a:pt x="121" y="553"/>
                    </a:lnTo>
                    <a:lnTo>
                      <a:pt x="119" y="551"/>
                    </a:lnTo>
                    <a:lnTo>
                      <a:pt x="118" y="549"/>
                    </a:lnTo>
                    <a:lnTo>
                      <a:pt x="114" y="551"/>
                    </a:lnTo>
                    <a:lnTo>
                      <a:pt x="114" y="542"/>
                    </a:lnTo>
                    <a:lnTo>
                      <a:pt x="114" y="539"/>
                    </a:lnTo>
                    <a:lnTo>
                      <a:pt x="114" y="537"/>
                    </a:lnTo>
                    <a:lnTo>
                      <a:pt x="114" y="534"/>
                    </a:lnTo>
                    <a:lnTo>
                      <a:pt x="114" y="532"/>
                    </a:lnTo>
                    <a:lnTo>
                      <a:pt x="114" y="530"/>
                    </a:lnTo>
                    <a:lnTo>
                      <a:pt x="114" y="529"/>
                    </a:lnTo>
                    <a:lnTo>
                      <a:pt x="114" y="525"/>
                    </a:lnTo>
                    <a:lnTo>
                      <a:pt x="114" y="524"/>
                    </a:lnTo>
                    <a:lnTo>
                      <a:pt x="114" y="522"/>
                    </a:lnTo>
                    <a:lnTo>
                      <a:pt x="114" y="520"/>
                    </a:lnTo>
                    <a:lnTo>
                      <a:pt x="114" y="519"/>
                    </a:lnTo>
                    <a:lnTo>
                      <a:pt x="114" y="517"/>
                    </a:lnTo>
                    <a:lnTo>
                      <a:pt x="114" y="513"/>
                    </a:lnTo>
                    <a:lnTo>
                      <a:pt x="114" y="512"/>
                    </a:lnTo>
                    <a:lnTo>
                      <a:pt x="114" y="510"/>
                    </a:lnTo>
                    <a:lnTo>
                      <a:pt x="116" y="510"/>
                    </a:lnTo>
                    <a:lnTo>
                      <a:pt x="118" y="510"/>
                    </a:lnTo>
                    <a:lnTo>
                      <a:pt x="118" y="508"/>
                    </a:lnTo>
                    <a:lnTo>
                      <a:pt x="118" y="507"/>
                    </a:lnTo>
                    <a:lnTo>
                      <a:pt x="116" y="507"/>
                    </a:lnTo>
                    <a:lnTo>
                      <a:pt x="116" y="505"/>
                    </a:lnTo>
                    <a:lnTo>
                      <a:pt x="114" y="503"/>
                    </a:lnTo>
                    <a:lnTo>
                      <a:pt x="116" y="503"/>
                    </a:lnTo>
                    <a:lnTo>
                      <a:pt x="114" y="502"/>
                    </a:lnTo>
                    <a:lnTo>
                      <a:pt x="116" y="502"/>
                    </a:lnTo>
                    <a:lnTo>
                      <a:pt x="116" y="503"/>
                    </a:lnTo>
                    <a:lnTo>
                      <a:pt x="116" y="502"/>
                    </a:lnTo>
                    <a:lnTo>
                      <a:pt x="116" y="503"/>
                    </a:lnTo>
                    <a:lnTo>
                      <a:pt x="116" y="502"/>
                    </a:lnTo>
                    <a:lnTo>
                      <a:pt x="118" y="502"/>
                    </a:lnTo>
                    <a:lnTo>
                      <a:pt x="116" y="502"/>
                    </a:lnTo>
                    <a:lnTo>
                      <a:pt x="118" y="502"/>
                    </a:lnTo>
                    <a:lnTo>
                      <a:pt x="118" y="500"/>
                    </a:lnTo>
                    <a:lnTo>
                      <a:pt x="118" y="498"/>
                    </a:lnTo>
                    <a:lnTo>
                      <a:pt x="116" y="498"/>
                    </a:lnTo>
                    <a:lnTo>
                      <a:pt x="114" y="498"/>
                    </a:lnTo>
                    <a:lnTo>
                      <a:pt x="114" y="500"/>
                    </a:lnTo>
                    <a:lnTo>
                      <a:pt x="113" y="500"/>
                    </a:lnTo>
                    <a:lnTo>
                      <a:pt x="113" y="502"/>
                    </a:lnTo>
                    <a:lnTo>
                      <a:pt x="111" y="502"/>
                    </a:lnTo>
                    <a:lnTo>
                      <a:pt x="111" y="503"/>
                    </a:lnTo>
                    <a:lnTo>
                      <a:pt x="109" y="502"/>
                    </a:lnTo>
                    <a:lnTo>
                      <a:pt x="109" y="503"/>
                    </a:lnTo>
                    <a:lnTo>
                      <a:pt x="109" y="505"/>
                    </a:lnTo>
                    <a:lnTo>
                      <a:pt x="108" y="505"/>
                    </a:lnTo>
                    <a:lnTo>
                      <a:pt x="106" y="505"/>
                    </a:lnTo>
                    <a:lnTo>
                      <a:pt x="106" y="507"/>
                    </a:lnTo>
                    <a:lnTo>
                      <a:pt x="104" y="508"/>
                    </a:lnTo>
                    <a:lnTo>
                      <a:pt x="102" y="508"/>
                    </a:lnTo>
                    <a:lnTo>
                      <a:pt x="102" y="510"/>
                    </a:lnTo>
                    <a:lnTo>
                      <a:pt x="102" y="512"/>
                    </a:lnTo>
                    <a:lnTo>
                      <a:pt x="101" y="512"/>
                    </a:lnTo>
                    <a:lnTo>
                      <a:pt x="99" y="512"/>
                    </a:lnTo>
                    <a:lnTo>
                      <a:pt x="97" y="512"/>
                    </a:lnTo>
                    <a:lnTo>
                      <a:pt x="97" y="513"/>
                    </a:lnTo>
                    <a:lnTo>
                      <a:pt x="96" y="513"/>
                    </a:lnTo>
                    <a:lnTo>
                      <a:pt x="96" y="515"/>
                    </a:lnTo>
                    <a:lnTo>
                      <a:pt x="94" y="515"/>
                    </a:lnTo>
                    <a:lnTo>
                      <a:pt x="94" y="517"/>
                    </a:lnTo>
                    <a:lnTo>
                      <a:pt x="92" y="517"/>
                    </a:lnTo>
                    <a:lnTo>
                      <a:pt x="91" y="517"/>
                    </a:lnTo>
                    <a:lnTo>
                      <a:pt x="89" y="517"/>
                    </a:lnTo>
                    <a:lnTo>
                      <a:pt x="85" y="517"/>
                    </a:lnTo>
                    <a:lnTo>
                      <a:pt x="84" y="517"/>
                    </a:lnTo>
                    <a:lnTo>
                      <a:pt x="80" y="517"/>
                    </a:lnTo>
                    <a:lnTo>
                      <a:pt x="77" y="517"/>
                    </a:lnTo>
                    <a:lnTo>
                      <a:pt x="74" y="517"/>
                    </a:lnTo>
                    <a:lnTo>
                      <a:pt x="70" y="517"/>
                    </a:lnTo>
                    <a:lnTo>
                      <a:pt x="67" y="517"/>
                    </a:lnTo>
                    <a:lnTo>
                      <a:pt x="62" y="517"/>
                    </a:lnTo>
                    <a:lnTo>
                      <a:pt x="63" y="517"/>
                    </a:lnTo>
                    <a:lnTo>
                      <a:pt x="62" y="515"/>
                    </a:lnTo>
                    <a:lnTo>
                      <a:pt x="62" y="513"/>
                    </a:lnTo>
                    <a:lnTo>
                      <a:pt x="63" y="513"/>
                    </a:lnTo>
                    <a:lnTo>
                      <a:pt x="62" y="512"/>
                    </a:lnTo>
                    <a:lnTo>
                      <a:pt x="63" y="512"/>
                    </a:lnTo>
                    <a:lnTo>
                      <a:pt x="62" y="512"/>
                    </a:lnTo>
                    <a:lnTo>
                      <a:pt x="63" y="510"/>
                    </a:lnTo>
                    <a:lnTo>
                      <a:pt x="62" y="510"/>
                    </a:lnTo>
                    <a:lnTo>
                      <a:pt x="60" y="510"/>
                    </a:lnTo>
                    <a:lnTo>
                      <a:pt x="60" y="508"/>
                    </a:lnTo>
                    <a:lnTo>
                      <a:pt x="58" y="508"/>
                    </a:lnTo>
                    <a:lnTo>
                      <a:pt x="60" y="508"/>
                    </a:lnTo>
                    <a:lnTo>
                      <a:pt x="58" y="507"/>
                    </a:lnTo>
                    <a:lnTo>
                      <a:pt x="60" y="507"/>
                    </a:lnTo>
                    <a:lnTo>
                      <a:pt x="60" y="505"/>
                    </a:lnTo>
                    <a:lnTo>
                      <a:pt x="58" y="505"/>
                    </a:lnTo>
                    <a:lnTo>
                      <a:pt x="60" y="505"/>
                    </a:lnTo>
                    <a:lnTo>
                      <a:pt x="58" y="505"/>
                    </a:lnTo>
                    <a:lnTo>
                      <a:pt x="58" y="503"/>
                    </a:lnTo>
                    <a:lnTo>
                      <a:pt x="58" y="502"/>
                    </a:lnTo>
                    <a:lnTo>
                      <a:pt x="57" y="502"/>
                    </a:lnTo>
                    <a:lnTo>
                      <a:pt x="57" y="500"/>
                    </a:lnTo>
                    <a:lnTo>
                      <a:pt x="55" y="500"/>
                    </a:lnTo>
                    <a:lnTo>
                      <a:pt x="53" y="500"/>
                    </a:lnTo>
                    <a:lnTo>
                      <a:pt x="51" y="500"/>
                    </a:lnTo>
                    <a:lnTo>
                      <a:pt x="50" y="500"/>
                    </a:lnTo>
                    <a:lnTo>
                      <a:pt x="48" y="500"/>
                    </a:lnTo>
                    <a:lnTo>
                      <a:pt x="48" y="498"/>
                    </a:lnTo>
                    <a:lnTo>
                      <a:pt x="46" y="498"/>
                    </a:lnTo>
                    <a:lnTo>
                      <a:pt x="45" y="498"/>
                    </a:lnTo>
                    <a:lnTo>
                      <a:pt x="43" y="498"/>
                    </a:lnTo>
                    <a:lnTo>
                      <a:pt x="43" y="496"/>
                    </a:lnTo>
                    <a:lnTo>
                      <a:pt x="36" y="496"/>
                    </a:lnTo>
                    <a:lnTo>
                      <a:pt x="28" y="496"/>
                    </a:lnTo>
                    <a:lnTo>
                      <a:pt x="28" y="495"/>
                    </a:lnTo>
                    <a:lnTo>
                      <a:pt x="29" y="495"/>
                    </a:lnTo>
                    <a:lnTo>
                      <a:pt x="31" y="493"/>
                    </a:lnTo>
                    <a:lnTo>
                      <a:pt x="31" y="491"/>
                    </a:lnTo>
                    <a:lnTo>
                      <a:pt x="33" y="491"/>
                    </a:lnTo>
                    <a:lnTo>
                      <a:pt x="34" y="490"/>
                    </a:lnTo>
                    <a:lnTo>
                      <a:pt x="33" y="490"/>
                    </a:lnTo>
                    <a:lnTo>
                      <a:pt x="34" y="488"/>
                    </a:lnTo>
                    <a:lnTo>
                      <a:pt x="36" y="488"/>
                    </a:lnTo>
                    <a:lnTo>
                      <a:pt x="36" y="486"/>
                    </a:lnTo>
                    <a:lnTo>
                      <a:pt x="36" y="485"/>
                    </a:lnTo>
                    <a:lnTo>
                      <a:pt x="36" y="483"/>
                    </a:lnTo>
                    <a:lnTo>
                      <a:pt x="34" y="483"/>
                    </a:lnTo>
                    <a:lnTo>
                      <a:pt x="34" y="481"/>
                    </a:lnTo>
                    <a:lnTo>
                      <a:pt x="33" y="479"/>
                    </a:lnTo>
                    <a:lnTo>
                      <a:pt x="31" y="478"/>
                    </a:lnTo>
                    <a:lnTo>
                      <a:pt x="29" y="476"/>
                    </a:lnTo>
                    <a:lnTo>
                      <a:pt x="29" y="474"/>
                    </a:lnTo>
                    <a:lnTo>
                      <a:pt x="29" y="473"/>
                    </a:lnTo>
                    <a:lnTo>
                      <a:pt x="28" y="473"/>
                    </a:lnTo>
                    <a:lnTo>
                      <a:pt x="26" y="473"/>
                    </a:lnTo>
                    <a:lnTo>
                      <a:pt x="24" y="473"/>
                    </a:lnTo>
                    <a:lnTo>
                      <a:pt x="24" y="471"/>
                    </a:lnTo>
                    <a:lnTo>
                      <a:pt x="23" y="471"/>
                    </a:lnTo>
                    <a:lnTo>
                      <a:pt x="23" y="469"/>
                    </a:lnTo>
                    <a:lnTo>
                      <a:pt x="23" y="467"/>
                    </a:lnTo>
                    <a:lnTo>
                      <a:pt x="23" y="466"/>
                    </a:lnTo>
                    <a:lnTo>
                      <a:pt x="21" y="466"/>
                    </a:lnTo>
                    <a:lnTo>
                      <a:pt x="21" y="464"/>
                    </a:lnTo>
                    <a:lnTo>
                      <a:pt x="21" y="462"/>
                    </a:lnTo>
                    <a:lnTo>
                      <a:pt x="19" y="462"/>
                    </a:lnTo>
                    <a:lnTo>
                      <a:pt x="17" y="462"/>
                    </a:lnTo>
                    <a:lnTo>
                      <a:pt x="16" y="461"/>
                    </a:lnTo>
                    <a:lnTo>
                      <a:pt x="16" y="459"/>
                    </a:lnTo>
                    <a:lnTo>
                      <a:pt x="16" y="457"/>
                    </a:lnTo>
                    <a:lnTo>
                      <a:pt x="14" y="456"/>
                    </a:lnTo>
                    <a:lnTo>
                      <a:pt x="14" y="454"/>
                    </a:lnTo>
                    <a:lnTo>
                      <a:pt x="14" y="452"/>
                    </a:lnTo>
                    <a:lnTo>
                      <a:pt x="12" y="450"/>
                    </a:lnTo>
                    <a:lnTo>
                      <a:pt x="12" y="449"/>
                    </a:lnTo>
                    <a:lnTo>
                      <a:pt x="11" y="449"/>
                    </a:lnTo>
                    <a:lnTo>
                      <a:pt x="11" y="447"/>
                    </a:lnTo>
                    <a:lnTo>
                      <a:pt x="9" y="447"/>
                    </a:lnTo>
                    <a:lnTo>
                      <a:pt x="9" y="445"/>
                    </a:lnTo>
                    <a:lnTo>
                      <a:pt x="7" y="445"/>
                    </a:lnTo>
                    <a:lnTo>
                      <a:pt x="9" y="445"/>
                    </a:lnTo>
                    <a:lnTo>
                      <a:pt x="9" y="444"/>
                    </a:lnTo>
                    <a:lnTo>
                      <a:pt x="9" y="445"/>
                    </a:lnTo>
                    <a:lnTo>
                      <a:pt x="11" y="444"/>
                    </a:lnTo>
                    <a:lnTo>
                      <a:pt x="11" y="442"/>
                    </a:lnTo>
                    <a:lnTo>
                      <a:pt x="11" y="440"/>
                    </a:lnTo>
                    <a:lnTo>
                      <a:pt x="9" y="440"/>
                    </a:lnTo>
                    <a:lnTo>
                      <a:pt x="7" y="440"/>
                    </a:lnTo>
                    <a:lnTo>
                      <a:pt x="7" y="439"/>
                    </a:lnTo>
                    <a:lnTo>
                      <a:pt x="6" y="439"/>
                    </a:lnTo>
                    <a:lnTo>
                      <a:pt x="6" y="437"/>
                    </a:lnTo>
                    <a:lnTo>
                      <a:pt x="4" y="437"/>
                    </a:lnTo>
                    <a:lnTo>
                      <a:pt x="2" y="435"/>
                    </a:lnTo>
                    <a:lnTo>
                      <a:pt x="0" y="433"/>
                    </a:lnTo>
                    <a:lnTo>
                      <a:pt x="2" y="433"/>
                    </a:lnTo>
                    <a:lnTo>
                      <a:pt x="2" y="432"/>
                    </a:lnTo>
                    <a:lnTo>
                      <a:pt x="2" y="430"/>
                    </a:lnTo>
                    <a:lnTo>
                      <a:pt x="2" y="427"/>
                    </a:lnTo>
                    <a:lnTo>
                      <a:pt x="4" y="428"/>
                    </a:lnTo>
                    <a:lnTo>
                      <a:pt x="6" y="427"/>
                    </a:lnTo>
                    <a:lnTo>
                      <a:pt x="7" y="427"/>
                    </a:lnTo>
                    <a:lnTo>
                      <a:pt x="9" y="427"/>
                    </a:lnTo>
                    <a:lnTo>
                      <a:pt x="9" y="425"/>
                    </a:lnTo>
                    <a:lnTo>
                      <a:pt x="11" y="425"/>
                    </a:lnTo>
                    <a:lnTo>
                      <a:pt x="11" y="423"/>
                    </a:lnTo>
                    <a:lnTo>
                      <a:pt x="9" y="422"/>
                    </a:lnTo>
                    <a:lnTo>
                      <a:pt x="7" y="418"/>
                    </a:lnTo>
                    <a:lnTo>
                      <a:pt x="9" y="416"/>
                    </a:lnTo>
                    <a:lnTo>
                      <a:pt x="9" y="415"/>
                    </a:lnTo>
                    <a:lnTo>
                      <a:pt x="9" y="413"/>
                    </a:lnTo>
                    <a:lnTo>
                      <a:pt x="9" y="411"/>
                    </a:lnTo>
                    <a:lnTo>
                      <a:pt x="9" y="410"/>
                    </a:lnTo>
                    <a:lnTo>
                      <a:pt x="11" y="410"/>
                    </a:lnTo>
                    <a:lnTo>
                      <a:pt x="11" y="408"/>
                    </a:lnTo>
                    <a:lnTo>
                      <a:pt x="12" y="408"/>
                    </a:lnTo>
                    <a:lnTo>
                      <a:pt x="12" y="406"/>
                    </a:lnTo>
                    <a:lnTo>
                      <a:pt x="14" y="406"/>
                    </a:lnTo>
                    <a:lnTo>
                      <a:pt x="16" y="406"/>
                    </a:lnTo>
                    <a:lnTo>
                      <a:pt x="16" y="405"/>
                    </a:lnTo>
                    <a:lnTo>
                      <a:pt x="17" y="403"/>
                    </a:lnTo>
                    <a:lnTo>
                      <a:pt x="17" y="405"/>
                    </a:lnTo>
                    <a:lnTo>
                      <a:pt x="17" y="403"/>
                    </a:lnTo>
                    <a:lnTo>
                      <a:pt x="19" y="403"/>
                    </a:lnTo>
                    <a:lnTo>
                      <a:pt x="21" y="403"/>
                    </a:lnTo>
                    <a:lnTo>
                      <a:pt x="21" y="401"/>
                    </a:lnTo>
                    <a:lnTo>
                      <a:pt x="23" y="401"/>
                    </a:lnTo>
                    <a:lnTo>
                      <a:pt x="24" y="401"/>
                    </a:lnTo>
                    <a:lnTo>
                      <a:pt x="26" y="401"/>
                    </a:lnTo>
                    <a:lnTo>
                      <a:pt x="26" y="399"/>
                    </a:lnTo>
                    <a:lnTo>
                      <a:pt x="28" y="401"/>
                    </a:lnTo>
                    <a:lnTo>
                      <a:pt x="28" y="399"/>
                    </a:lnTo>
                    <a:lnTo>
                      <a:pt x="28" y="398"/>
                    </a:lnTo>
                    <a:lnTo>
                      <a:pt x="29" y="399"/>
                    </a:lnTo>
                    <a:lnTo>
                      <a:pt x="29" y="398"/>
                    </a:lnTo>
                    <a:lnTo>
                      <a:pt x="29" y="396"/>
                    </a:lnTo>
                    <a:lnTo>
                      <a:pt x="31" y="396"/>
                    </a:lnTo>
                    <a:lnTo>
                      <a:pt x="29" y="396"/>
                    </a:lnTo>
                    <a:lnTo>
                      <a:pt x="31" y="394"/>
                    </a:lnTo>
                    <a:lnTo>
                      <a:pt x="29" y="394"/>
                    </a:lnTo>
                    <a:lnTo>
                      <a:pt x="29" y="393"/>
                    </a:lnTo>
                    <a:lnTo>
                      <a:pt x="29" y="391"/>
                    </a:lnTo>
                    <a:lnTo>
                      <a:pt x="28" y="391"/>
                    </a:lnTo>
                    <a:lnTo>
                      <a:pt x="29" y="391"/>
                    </a:lnTo>
                    <a:lnTo>
                      <a:pt x="28" y="389"/>
                    </a:lnTo>
                    <a:lnTo>
                      <a:pt x="28" y="388"/>
                    </a:lnTo>
                    <a:lnTo>
                      <a:pt x="26" y="388"/>
                    </a:lnTo>
                    <a:lnTo>
                      <a:pt x="28" y="388"/>
                    </a:lnTo>
                    <a:lnTo>
                      <a:pt x="26" y="388"/>
                    </a:lnTo>
                    <a:lnTo>
                      <a:pt x="26" y="386"/>
                    </a:lnTo>
                    <a:lnTo>
                      <a:pt x="26" y="384"/>
                    </a:lnTo>
                    <a:lnTo>
                      <a:pt x="26" y="382"/>
                    </a:lnTo>
                    <a:lnTo>
                      <a:pt x="26" y="381"/>
                    </a:lnTo>
                    <a:lnTo>
                      <a:pt x="28" y="382"/>
                    </a:lnTo>
                    <a:lnTo>
                      <a:pt x="26" y="381"/>
                    </a:lnTo>
                    <a:lnTo>
                      <a:pt x="28" y="381"/>
                    </a:lnTo>
                    <a:lnTo>
                      <a:pt x="28" y="379"/>
                    </a:lnTo>
                    <a:lnTo>
                      <a:pt x="28" y="377"/>
                    </a:lnTo>
                    <a:lnTo>
                      <a:pt x="29" y="377"/>
                    </a:lnTo>
                    <a:lnTo>
                      <a:pt x="29" y="376"/>
                    </a:lnTo>
                    <a:lnTo>
                      <a:pt x="31" y="376"/>
                    </a:lnTo>
                    <a:lnTo>
                      <a:pt x="31" y="374"/>
                    </a:lnTo>
                    <a:lnTo>
                      <a:pt x="33" y="374"/>
                    </a:lnTo>
                    <a:lnTo>
                      <a:pt x="33" y="372"/>
                    </a:lnTo>
                    <a:lnTo>
                      <a:pt x="34" y="372"/>
                    </a:lnTo>
                    <a:lnTo>
                      <a:pt x="34" y="371"/>
                    </a:lnTo>
                    <a:lnTo>
                      <a:pt x="34" y="369"/>
                    </a:lnTo>
                    <a:lnTo>
                      <a:pt x="36" y="369"/>
                    </a:lnTo>
                    <a:lnTo>
                      <a:pt x="34" y="369"/>
                    </a:lnTo>
                    <a:lnTo>
                      <a:pt x="34" y="367"/>
                    </a:lnTo>
                    <a:lnTo>
                      <a:pt x="36" y="367"/>
                    </a:lnTo>
                    <a:lnTo>
                      <a:pt x="36" y="365"/>
                    </a:lnTo>
                    <a:lnTo>
                      <a:pt x="36" y="364"/>
                    </a:lnTo>
                    <a:lnTo>
                      <a:pt x="34" y="364"/>
                    </a:lnTo>
                    <a:lnTo>
                      <a:pt x="36" y="364"/>
                    </a:lnTo>
                    <a:lnTo>
                      <a:pt x="36" y="362"/>
                    </a:lnTo>
                    <a:lnTo>
                      <a:pt x="36" y="360"/>
                    </a:lnTo>
                    <a:lnTo>
                      <a:pt x="38" y="360"/>
                    </a:lnTo>
                    <a:lnTo>
                      <a:pt x="38" y="359"/>
                    </a:lnTo>
                    <a:lnTo>
                      <a:pt x="38" y="357"/>
                    </a:lnTo>
                    <a:lnTo>
                      <a:pt x="38" y="355"/>
                    </a:lnTo>
                    <a:lnTo>
                      <a:pt x="38" y="354"/>
                    </a:lnTo>
                    <a:lnTo>
                      <a:pt x="38" y="352"/>
                    </a:lnTo>
                    <a:lnTo>
                      <a:pt x="40" y="352"/>
                    </a:lnTo>
                    <a:lnTo>
                      <a:pt x="40" y="350"/>
                    </a:lnTo>
                    <a:lnTo>
                      <a:pt x="41" y="350"/>
                    </a:lnTo>
                    <a:lnTo>
                      <a:pt x="43" y="350"/>
                    </a:lnTo>
                    <a:lnTo>
                      <a:pt x="43" y="348"/>
                    </a:lnTo>
                    <a:lnTo>
                      <a:pt x="45" y="348"/>
                    </a:lnTo>
                    <a:lnTo>
                      <a:pt x="46" y="348"/>
                    </a:lnTo>
                    <a:lnTo>
                      <a:pt x="48" y="348"/>
                    </a:lnTo>
                    <a:lnTo>
                      <a:pt x="46" y="347"/>
                    </a:lnTo>
                    <a:lnTo>
                      <a:pt x="48" y="347"/>
                    </a:lnTo>
                    <a:lnTo>
                      <a:pt x="46" y="347"/>
                    </a:lnTo>
                    <a:lnTo>
                      <a:pt x="48" y="347"/>
                    </a:lnTo>
                    <a:lnTo>
                      <a:pt x="50" y="345"/>
                    </a:lnTo>
                    <a:lnTo>
                      <a:pt x="51" y="345"/>
                    </a:lnTo>
                    <a:lnTo>
                      <a:pt x="53" y="343"/>
                    </a:lnTo>
                    <a:lnTo>
                      <a:pt x="51" y="343"/>
                    </a:lnTo>
                    <a:lnTo>
                      <a:pt x="53" y="343"/>
                    </a:lnTo>
                    <a:lnTo>
                      <a:pt x="55" y="343"/>
                    </a:lnTo>
                    <a:lnTo>
                      <a:pt x="55" y="342"/>
                    </a:lnTo>
                    <a:lnTo>
                      <a:pt x="55" y="340"/>
                    </a:lnTo>
                    <a:lnTo>
                      <a:pt x="57" y="340"/>
                    </a:lnTo>
                    <a:lnTo>
                      <a:pt x="58" y="340"/>
                    </a:lnTo>
                    <a:lnTo>
                      <a:pt x="60" y="340"/>
                    </a:lnTo>
                    <a:lnTo>
                      <a:pt x="58" y="338"/>
                    </a:lnTo>
                    <a:lnTo>
                      <a:pt x="60" y="340"/>
                    </a:lnTo>
                    <a:lnTo>
                      <a:pt x="60" y="338"/>
                    </a:lnTo>
                    <a:lnTo>
                      <a:pt x="62" y="338"/>
                    </a:lnTo>
                    <a:lnTo>
                      <a:pt x="63" y="337"/>
                    </a:lnTo>
                    <a:lnTo>
                      <a:pt x="63" y="338"/>
                    </a:lnTo>
                    <a:lnTo>
                      <a:pt x="63" y="337"/>
                    </a:lnTo>
                    <a:lnTo>
                      <a:pt x="65" y="337"/>
                    </a:lnTo>
                    <a:lnTo>
                      <a:pt x="65" y="335"/>
                    </a:lnTo>
                    <a:lnTo>
                      <a:pt x="67" y="335"/>
                    </a:lnTo>
                    <a:lnTo>
                      <a:pt x="68" y="335"/>
                    </a:lnTo>
                    <a:lnTo>
                      <a:pt x="68" y="333"/>
                    </a:lnTo>
                    <a:lnTo>
                      <a:pt x="70" y="333"/>
                    </a:lnTo>
                    <a:lnTo>
                      <a:pt x="70" y="331"/>
                    </a:lnTo>
                    <a:lnTo>
                      <a:pt x="72" y="331"/>
                    </a:lnTo>
                    <a:lnTo>
                      <a:pt x="70" y="330"/>
                    </a:lnTo>
                    <a:lnTo>
                      <a:pt x="72" y="330"/>
                    </a:lnTo>
                    <a:lnTo>
                      <a:pt x="72" y="331"/>
                    </a:lnTo>
                    <a:lnTo>
                      <a:pt x="72" y="330"/>
                    </a:lnTo>
                    <a:lnTo>
                      <a:pt x="74" y="330"/>
                    </a:lnTo>
                    <a:lnTo>
                      <a:pt x="75" y="330"/>
                    </a:lnTo>
                    <a:lnTo>
                      <a:pt x="77" y="330"/>
                    </a:lnTo>
                    <a:lnTo>
                      <a:pt x="75" y="330"/>
                    </a:lnTo>
                    <a:lnTo>
                      <a:pt x="77" y="330"/>
                    </a:lnTo>
                    <a:lnTo>
                      <a:pt x="79" y="330"/>
                    </a:lnTo>
                    <a:lnTo>
                      <a:pt x="80" y="330"/>
                    </a:lnTo>
                    <a:lnTo>
                      <a:pt x="80" y="331"/>
                    </a:lnTo>
                    <a:lnTo>
                      <a:pt x="82" y="331"/>
                    </a:lnTo>
                    <a:lnTo>
                      <a:pt x="82" y="330"/>
                    </a:lnTo>
                    <a:lnTo>
                      <a:pt x="84" y="330"/>
                    </a:lnTo>
                    <a:lnTo>
                      <a:pt x="84" y="328"/>
                    </a:lnTo>
                    <a:lnTo>
                      <a:pt x="84" y="330"/>
                    </a:lnTo>
                    <a:lnTo>
                      <a:pt x="85" y="330"/>
                    </a:lnTo>
                    <a:lnTo>
                      <a:pt x="84" y="328"/>
                    </a:lnTo>
                    <a:lnTo>
                      <a:pt x="85" y="328"/>
                    </a:lnTo>
                    <a:lnTo>
                      <a:pt x="87" y="328"/>
                    </a:lnTo>
                    <a:lnTo>
                      <a:pt x="87" y="330"/>
                    </a:lnTo>
                    <a:lnTo>
                      <a:pt x="87" y="328"/>
                    </a:lnTo>
                    <a:lnTo>
                      <a:pt x="89" y="328"/>
                    </a:lnTo>
                    <a:lnTo>
                      <a:pt x="91" y="328"/>
                    </a:lnTo>
                    <a:lnTo>
                      <a:pt x="91" y="326"/>
                    </a:lnTo>
                    <a:lnTo>
                      <a:pt x="91" y="328"/>
                    </a:lnTo>
                    <a:lnTo>
                      <a:pt x="92" y="328"/>
                    </a:lnTo>
                    <a:lnTo>
                      <a:pt x="92" y="326"/>
                    </a:lnTo>
                    <a:lnTo>
                      <a:pt x="94" y="326"/>
                    </a:lnTo>
                    <a:lnTo>
                      <a:pt x="96" y="328"/>
                    </a:lnTo>
                    <a:lnTo>
                      <a:pt x="96" y="326"/>
                    </a:lnTo>
                    <a:lnTo>
                      <a:pt x="97" y="326"/>
                    </a:lnTo>
                    <a:lnTo>
                      <a:pt x="99" y="326"/>
                    </a:lnTo>
                    <a:lnTo>
                      <a:pt x="101" y="326"/>
                    </a:lnTo>
                    <a:lnTo>
                      <a:pt x="102" y="326"/>
                    </a:lnTo>
                    <a:lnTo>
                      <a:pt x="102" y="325"/>
                    </a:lnTo>
                    <a:lnTo>
                      <a:pt x="101" y="325"/>
                    </a:lnTo>
                    <a:lnTo>
                      <a:pt x="102" y="325"/>
                    </a:lnTo>
                    <a:lnTo>
                      <a:pt x="102" y="326"/>
                    </a:lnTo>
                    <a:lnTo>
                      <a:pt x="104" y="326"/>
                    </a:lnTo>
                    <a:lnTo>
                      <a:pt x="104" y="325"/>
                    </a:lnTo>
                    <a:lnTo>
                      <a:pt x="106" y="325"/>
                    </a:lnTo>
                    <a:lnTo>
                      <a:pt x="106" y="323"/>
                    </a:lnTo>
                    <a:lnTo>
                      <a:pt x="106" y="321"/>
                    </a:lnTo>
                    <a:lnTo>
                      <a:pt x="108" y="321"/>
                    </a:lnTo>
                    <a:lnTo>
                      <a:pt x="108" y="319"/>
                    </a:lnTo>
                    <a:lnTo>
                      <a:pt x="109" y="319"/>
                    </a:lnTo>
                    <a:lnTo>
                      <a:pt x="109" y="318"/>
                    </a:lnTo>
                    <a:lnTo>
                      <a:pt x="111" y="319"/>
                    </a:lnTo>
                    <a:lnTo>
                      <a:pt x="113" y="319"/>
                    </a:lnTo>
                    <a:lnTo>
                      <a:pt x="113" y="318"/>
                    </a:lnTo>
                    <a:lnTo>
                      <a:pt x="114" y="318"/>
                    </a:lnTo>
                    <a:lnTo>
                      <a:pt x="114" y="319"/>
                    </a:lnTo>
                    <a:lnTo>
                      <a:pt x="116" y="319"/>
                    </a:lnTo>
                    <a:lnTo>
                      <a:pt x="118" y="318"/>
                    </a:lnTo>
                    <a:lnTo>
                      <a:pt x="116" y="318"/>
                    </a:lnTo>
                    <a:lnTo>
                      <a:pt x="118" y="318"/>
                    </a:lnTo>
                    <a:lnTo>
                      <a:pt x="118" y="319"/>
                    </a:lnTo>
                    <a:lnTo>
                      <a:pt x="119" y="319"/>
                    </a:lnTo>
                    <a:lnTo>
                      <a:pt x="119" y="318"/>
                    </a:lnTo>
                    <a:lnTo>
                      <a:pt x="119" y="319"/>
                    </a:lnTo>
                    <a:lnTo>
                      <a:pt x="119" y="318"/>
                    </a:lnTo>
                    <a:lnTo>
                      <a:pt x="121" y="318"/>
                    </a:lnTo>
                    <a:lnTo>
                      <a:pt x="119" y="318"/>
                    </a:lnTo>
                    <a:lnTo>
                      <a:pt x="121" y="318"/>
                    </a:lnTo>
                    <a:lnTo>
                      <a:pt x="123" y="318"/>
                    </a:lnTo>
                    <a:lnTo>
                      <a:pt x="123" y="319"/>
                    </a:lnTo>
                    <a:lnTo>
                      <a:pt x="125" y="319"/>
                    </a:lnTo>
                    <a:lnTo>
                      <a:pt x="125" y="318"/>
                    </a:lnTo>
                    <a:lnTo>
                      <a:pt x="126" y="319"/>
                    </a:lnTo>
                    <a:lnTo>
                      <a:pt x="126" y="321"/>
                    </a:lnTo>
                    <a:lnTo>
                      <a:pt x="125" y="321"/>
                    </a:lnTo>
                    <a:lnTo>
                      <a:pt x="126" y="323"/>
                    </a:lnTo>
                    <a:lnTo>
                      <a:pt x="128" y="325"/>
                    </a:lnTo>
                    <a:lnTo>
                      <a:pt x="128" y="323"/>
                    </a:lnTo>
                    <a:lnTo>
                      <a:pt x="128" y="325"/>
                    </a:lnTo>
                    <a:lnTo>
                      <a:pt x="130" y="325"/>
                    </a:lnTo>
                    <a:lnTo>
                      <a:pt x="130" y="323"/>
                    </a:lnTo>
                    <a:lnTo>
                      <a:pt x="131" y="323"/>
                    </a:lnTo>
                    <a:lnTo>
                      <a:pt x="131" y="321"/>
                    </a:lnTo>
                    <a:lnTo>
                      <a:pt x="131" y="323"/>
                    </a:lnTo>
                    <a:lnTo>
                      <a:pt x="133" y="323"/>
                    </a:lnTo>
                    <a:lnTo>
                      <a:pt x="133" y="325"/>
                    </a:lnTo>
                    <a:lnTo>
                      <a:pt x="135" y="326"/>
                    </a:lnTo>
                    <a:lnTo>
                      <a:pt x="136" y="326"/>
                    </a:lnTo>
                    <a:lnTo>
                      <a:pt x="136" y="325"/>
                    </a:lnTo>
                    <a:lnTo>
                      <a:pt x="136" y="323"/>
                    </a:lnTo>
                    <a:lnTo>
                      <a:pt x="136" y="321"/>
                    </a:lnTo>
                    <a:lnTo>
                      <a:pt x="138" y="321"/>
                    </a:lnTo>
                    <a:lnTo>
                      <a:pt x="140" y="311"/>
                    </a:lnTo>
                    <a:lnTo>
                      <a:pt x="142" y="302"/>
                    </a:lnTo>
                    <a:lnTo>
                      <a:pt x="145" y="279"/>
                    </a:lnTo>
                    <a:lnTo>
                      <a:pt x="145" y="275"/>
                    </a:lnTo>
                    <a:lnTo>
                      <a:pt x="148" y="260"/>
                    </a:lnTo>
                    <a:lnTo>
                      <a:pt x="148" y="255"/>
                    </a:lnTo>
                    <a:lnTo>
                      <a:pt x="150" y="250"/>
                    </a:lnTo>
                    <a:lnTo>
                      <a:pt x="152" y="245"/>
                    </a:lnTo>
                    <a:lnTo>
                      <a:pt x="152" y="238"/>
                    </a:lnTo>
                    <a:lnTo>
                      <a:pt x="153" y="229"/>
                    </a:lnTo>
                    <a:lnTo>
                      <a:pt x="153" y="228"/>
                    </a:lnTo>
                    <a:lnTo>
                      <a:pt x="155" y="228"/>
                    </a:lnTo>
                    <a:lnTo>
                      <a:pt x="155" y="226"/>
                    </a:lnTo>
                    <a:lnTo>
                      <a:pt x="153" y="226"/>
                    </a:lnTo>
                    <a:lnTo>
                      <a:pt x="155" y="224"/>
                    </a:lnTo>
                    <a:lnTo>
                      <a:pt x="155" y="223"/>
                    </a:lnTo>
                    <a:lnTo>
                      <a:pt x="155" y="221"/>
                    </a:lnTo>
                    <a:lnTo>
                      <a:pt x="155" y="219"/>
                    </a:lnTo>
                    <a:lnTo>
                      <a:pt x="155" y="217"/>
                    </a:lnTo>
                    <a:lnTo>
                      <a:pt x="155" y="216"/>
                    </a:lnTo>
                    <a:lnTo>
                      <a:pt x="155" y="214"/>
                    </a:lnTo>
                    <a:lnTo>
                      <a:pt x="155" y="212"/>
                    </a:lnTo>
                    <a:lnTo>
                      <a:pt x="153" y="212"/>
                    </a:lnTo>
                    <a:lnTo>
                      <a:pt x="155" y="212"/>
                    </a:lnTo>
                    <a:lnTo>
                      <a:pt x="153" y="211"/>
                    </a:lnTo>
                    <a:lnTo>
                      <a:pt x="152" y="209"/>
                    </a:lnTo>
                    <a:lnTo>
                      <a:pt x="152" y="211"/>
                    </a:lnTo>
                    <a:lnTo>
                      <a:pt x="152" y="209"/>
                    </a:lnTo>
                    <a:lnTo>
                      <a:pt x="152" y="207"/>
                    </a:lnTo>
                    <a:lnTo>
                      <a:pt x="150" y="207"/>
                    </a:lnTo>
                    <a:lnTo>
                      <a:pt x="150" y="206"/>
                    </a:lnTo>
                    <a:lnTo>
                      <a:pt x="148" y="204"/>
                    </a:lnTo>
                    <a:lnTo>
                      <a:pt x="150" y="204"/>
                    </a:lnTo>
                    <a:lnTo>
                      <a:pt x="148" y="204"/>
                    </a:lnTo>
                    <a:lnTo>
                      <a:pt x="148" y="202"/>
                    </a:lnTo>
                    <a:lnTo>
                      <a:pt x="148" y="200"/>
                    </a:lnTo>
                    <a:lnTo>
                      <a:pt x="150" y="200"/>
                    </a:lnTo>
                    <a:lnTo>
                      <a:pt x="150" y="199"/>
                    </a:lnTo>
                    <a:lnTo>
                      <a:pt x="148" y="199"/>
                    </a:lnTo>
                    <a:lnTo>
                      <a:pt x="148" y="197"/>
                    </a:lnTo>
                    <a:lnTo>
                      <a:pt x="148" y="195"/>
                    </a:lnTo>
                    <a:lnTo>
                      <a:pt x="148" y="194"/>
                    </a:lnTo>
                    <a:lnTo>
                      <a:pt x="147" y="195"/>
                    </a:lnTo>
                    <a:lnTo>
                      <a:pt x="147" y="194"/>
                    </a:lnTo>
                    <a:lnTo>
                      <a:pt x="145" y="194"/>
                    </a:lnTo>
                    <a:lnTo>
                      <a:pt x="143" y="192"/>
                    </a:lnTo>
                    <a:lnTo>
                      <a:pt x="142" y="192"/>
                    </a:lnTo>
                    <a:lnTo>
                      <a:pt x="142" y="190"/>
                    </a:lnTo>
                    <a:lnTo>
                      <a:pt x="140" y="189"/>
                    </a:lnTo>
                    <a:lnTo>
                      <a:pt x="138" y="190"/>
                    </a:lnTo>
                    <a:lnTo>
                      <a:pt x="138" y="189"/>
                    </a:lnTo>
                    <a:lnTo>
                      <a:pt x="136" y="189"/>
                    </a:lnTo>
                    <a:lnTo>
                      <a:pt x="136" y="187"/>
                    </a:lnTo>
                    <a:lnTo>
                      <a:pt x="135" y="185"/>
                    </a:lnTo>
                    <a:lnTo>
                      <a:pt x="135" y="183"/>
                    </a:lnTo>
                    <a:lnTo>
                      <a:pt x="135" y="182"/>
                    </a:lnTo>
                    <a:lnTo>
                      <a:pt x="133" y="182"/>
                    </a:lnTo>
                    <a:lnTo>
                      <a:pt x="133" y="178"/>
                    </a:lnTo>
                    <a:lnTo>
                      <a:pt x="133" y="175"/>
                    </a:lnTo>
                    <a:lnTo>
                      <a:pt x="133" y="172"/>
                    </a:lnTo>
                    <a:lnTo>
                      <a:pt x="133" y="170"/>
                    </a:lnTo>
                    <a:lnTo>
                      <a:pt x="133" y="168"/>
                    </a:lnTo>
                    <a:lnTo>
                      <a:pt x="133" y="166"/>
                    </a:lnTo>
                    <a:lnTo>
                      <a:pt x="133" y="165"/>
                    </a:lnTo>
                    <a:lnTo>
                      <a:pt x="133" y="161"/>
                    </a:lnTo>
                    <a:lnTo>
                      <a:pt x="133" y="160"/>
                    </a:lnTo>
                    <a:lnTo>
                      <a:pt x="135" y="160"/>
                    </a:lnTo>
                    <a:lnTo>
                      <a:pt x="135" y="158"/>
                    </a:lnTo>
                    <a:lnTo>
                      <a:pt x="136" y="158"/>
                    </a:lnTo>
                    <a:lnTo>
                      <a:pt x="136" y="160"/>
                    </a:lnTo>
                    <a:lnTo>
                      <a:pt x="138" y="160"/>
                    </a:lnTo>
                    <a:lnTo>
                      <a:pt x="138" y="158"/>
                    </a:lnTo>
                    <a:lnTo>
                      <a:pt x="140" y="158"/>
                    </a:lnTo>
                    <a:lnTo>
                      <a:pt x="142" y="158"/>
                    </a:lnTo>
                    <a:lnTo>
                      <a:pt x="143" y="158"/>
                    </a:lnTo>
                    <a:lnTo>
                      <a:pt x="143" y="156"/>
                    </a:lnTo>
                    <a:lnTo>
                      <a:pt x="145" y="158"/>
                    </a:lnTo>
                    <a:lnTo>
                      <a:pt x="145" y="156"/>
                    </a:lnTo>
                    <a:lnTo>
                      <a:pt x="147" y="154"/>
                    </a:lnTo>
                    <a:lnTo>
                      <a:pt x="147" y="156"/>
                    </a:lnTo>
                    <a:lnTo>
                      <a:pt x="148" y="156"/>
                    </a:lnTo>
                    <a:lnTo>
                      <a:pt x="148" y="158"/>
                    </a:lnTo>
                    <a:lnTo>
                      <a:pt x="148" y="156"/>
                    </a:lnTo>
                    <a:lnTo>
                      <a:pt x="150" y="156"/>
                    </a:lnTo>
                    <a:lnTo>
                      <a:pt x="150" y="154"/>
                    </a:lnTo>
                    <a:lnTo>
                      <a:pt x="152" y="154"/>
                    </a:lnTo>
                    <a:lnTo>
                      <a:pt x="152" y="153"/>
                    </a:lnTo>
                    <a:lnTo>
                      <a:pt x="153" y="153"/>
                    </a:lnTo>
                    <a:lnTo>
                      <a:pt x="155" y="154"/>
                    </a:lnTo>
                    <a:lnTo>
                      <a:pt x="155" y="156"/>
                    </a:lnTo>
                    <a:lnTo>
                      <a:pt x="157" y="156"/>
                    </a:lnTo>
                    <a:lnTo>
                      <a:pt x="157" y="158"/>
                    </a:lnTo>
                    <a:lnTo>
                      <a:pt x="157" y="156"/>
                    </a:lnTo>
                    <a:lnTo>
                      <a:pt x="159" y="156"/>
                    </a:lnTo>
                    <a:lnTo>
                      <a:pt x="159" y="158"/>
                    </a:lnTo>
                    <a:lnTo>
                      <a:pt x="160" y="158"/>
                    </a:lnTo>
                    <a:lnTo>
                      <a:pt x="162" y="158"/>
                    </a:lnTo>
                    <a:lnTo>
                      <a:pt x="162" y="156"/>
                    </a:lnTo>
                    <a:lnTo>
                      <a:pt x="164" y="156"/>
                    </a:lnTo>
                    <a:lnTo>
                      <a:pt x="165" y="156"/>
                    </a:lnTo>
                    <a:lnTo>
                      <a:pt x="165" y="154"/>
                    </a:lnTo>
                    <a:lnTo>
                      <a:pt x="164" y="154"/>
                    </a:lnTo>
                    <a:lnTo>
                      <a:pt x="162" y="153"/>
                    </a:lnTo>
                    <a:lnTo>
                      <a:pt x="164" y="153"/>
                    </a:lnTo>
                    <a:lnTo>
                      <a:pt x="164" y="151"/>
                    </a:lnTo>
                    <a:lnTo>
                      <a:pt x="164" y="149"/>
                    </a:lnTo>
                    <a:lnTo>
                      <a:pt x="164" y="148"/>
                    </a:lnTo>
                    <a:lnTo>
                      <a:pt x="162" y="148"/>
                    </a:lnTo>
                    <a:lnTo>
                      <a:pt x="162" y="146"/>
                    </a:lnTo>
                    <a:lnTo>
                      <a:pt x="164" y="146"/>
                    </a:lnTo>
                    <a:lnTo>
                      <a:pt x="162" y="146"/>
                    </a:lnTo>
                    <a:lnTo>
                      <a:pt x="162" y="144"/>
                    </a:lnTo>
                    <a:lnTo>
                      <a:pt x="162" y="143"/>
                    </a:lnTo>
                    <a:lnTo>
                      <a:pt x="160" y="143"/>
                    </a:lnTo>
                    <a:lnTo>
                      <a:pt x="159" y="143"/>
                    </a:lnTo>
                    <a:lnTo>
                      <a:pt x="159" y="141"/>
                    </a:lnTo>
                    <a:lnTo>
                      <a:pt x="157" y="141"/>
                    </a:lnTo>
                    <a:lnTo>
                      <a:pt x="155" y="143"/>
                    </a:lnTo>
                    <a:lnTo>
                      <a:pt x="153" y="141"/>
                    </a:lnTo>
                    <a:lnTo>
                      <a:pt x="152" y="141"/>
                    </a:lnTo>
                    <a:lnTo>
                      <a:pt x="150" y="141"/>
                    </a:lnTo>
                    <a:lnTo>
                      <a:pt x="148" y="141"/>
                    </a:lnTo>
                    <a:lnTo>
                      <a:pt x="147" y="141"/>
                    </a:lnTo>
                    <a:lnTo>
                      <a:pt x="145" y="141"/>
                    </a:lnTo>
                    <a:lnTo>
                      <a:pt x="143" y="141"/>
                    </a:lnTo>
                    <a:lnTo>
                      <a:pt x="142" y="141"/>
                    </a:lnTo>
                    <a:lnTo>
                      <a:pt x="142" y="143"/>
                    </a:lnTo>
                    <a:lnTo>
                      <a:pt x="142" y="141"/>
                    </a:lnTo>
                    <a:lnTo>
                      <a:pt x="140" y="141"/>
                    </a:lnTo>
                    <a:lnTo>
                      <a:pt x="140" y="139"/>
                    </a:lnTo>
                    <a:lnTo>
                      <a:pt x="140" y="136"/>
                    </a:lnTo>
                    <a:lnTo>
                      <a:pt x="140" y="134"/>
                    </a:lnTo>
                    <a:lnTo>
                      <a:pt x="140" y="132"/>
                    </a:lnTo>
                    <a:lnTo>
                      <a:pt x="140" y="129"/>
                    </a:lnTo>
                    <a:lnTo>
                      <a:pt x="140" y="126"/>
                    </a:lnTo>
                    <a:lnTo>
                      <a:pt x="140" y="122"/>
                    </a:lnTo>
                    <a:lnTo>
                      <a:pt x="140" y="120"/>
                    </a:lnTo>
                    <a:lnTo>
                      <a:pt x="142" y="120"/>
                    </a:lnTo>
                    <a:lnTo>
                      <a:pt x="143" y="120"/>
                    </a:lnTo>
                    <a:lnTo>
                      <a:pt x="143" y="119"/>
                    </a:lnTo>
                    <a:lnTo>
                      <a:pt x="145" y="119"/>
                    </a:lnTo>
                    <a:lnTo>
                      <a:pt x="147" y="119"/>
                    </a:lnTo>
                    <a:lnTo>
                      <a:pt x="147" y="120"/>
                    </a:lnTo>
                    <a:lnTo>
                      <a:pt x="147" y="119"/>
                    </a:lnTo>
                    <a:lnTo>
                      <a:pt x="147" y="120"/>
                    </a:lnTo>
                    <a:lnTo>
                      <a:pt x="147" y="119"/>
                    </a:lnTo>
                    <a:lnTo>
                      <a:pt x="148" y="120"/>
                    </a:lnTo>
                    <a:lnTo>
                      <a:pt x="148" y="119"/>
                    </a:lnTo>
                    <a:lnTo>
                      <a:pt x="150" y="119"/>
                    </a:lnTo>
                    <a:lnTo>
                      <a:pt x="152" y="117"/>
                    </a:lnTo>
                    <a:lnTo>
                      <a:pt x="152" y="119"/>
                    </a:lnTo>
                    <a:lnTo>
                      <a:pt x="153" y="119"/>
                    </a:lnTo>
                    <a:lnTo>
                      <a:pt x="155" y="119"/>
                    </a:lnTo>
                    <a:lnTo>
                      <a:pt x="159" y="119"/>
                    </a:lnTo>
                    <a:lnTo>
                      <a:pt x="164" y="119"/>
                    </a:lnTo>
                    <a:lnTo>
                      <a:pt x="169" y="119"/>
                    </a:lnTo>
                    <a:lnTo>
                      <a:pt x="174" y="119"/>
                    </a:lnTo>
                    <a:lnTo>
                      <a:pt x="184" y="119"/>
                    </a:lnTo>
                    <a:lnTo>
                      <a:pt x="198" y="119"/>
                    </a:lnTo>
                    <a:lnTo>
                      <a:pt x="196" y="119"/>
                    </a:lnTo>
                    <a:lnTo>
                      <a:pt x="196" y="117"/>
                    </a:lnTo>
                    <a:lnTo>
                      <a:pt x="196" y="119"/>
                    </a:lnTo>
                    <a:lnTo>
                      <a:pt x="194" y="117"/>
                    </a:lnTo>
                    <a:lnTo>
                      <a:pt x="194" y="119"/>
                    </a:lnTo>
                    <a:lnTo>
                      <a:pt x="194" y="117"/>
                    </a:lnTo>
                    <a:lnTo>
                      <a:pt x="194" y="115"/>
                    </a:lnTo>
                    <a:lnTo>
                      <a:pt x="194" y="117"/>
                    </a:lnTo>
                    <a:lnTo>
                      <a:pt x="194" y="115"/>
                    </a:lnTo>
                    <a:lnTo>
                      <a:pt x="194" y="117"/>
                    </a:lnTo>
                    <a:lnTo>
                      <a:pt x="193" y="115"/>
                    </a:lnTo>
                    <a:lnTo>
                      <a:pt x="194" y="115"/>
                    </a:lnTo>
                    <a:lnTo>
                      <a:pt x="193" y="115"/>
                    </a:lnTo>
                    <a:lnTo>
                      <a:pt x="194" y="115"/>
                    </a:lnTo>
                    <a:lnTo>
                      <a:pt x="194" y="114"/>
                    </a:lnTo>
                    <a:lnTo>
                      <a:pt x="194" y="112"/>
                    </a:lnTo>
                    <a:lnTo>
                      <a:pt x="196" y="112"/>
                    </a:lnTo>
                    <a:lnTo>
                      <a:pt x="196" y="110"/>
                    </a:lnTo>
                    <a:lnTo>
                      <a:pt x="196" y="109"/>
                    </a:lnTo>
                    <a:lnTo>
                      <a:pt x="196" y="110"/>
                    </a:lnTo>
                    <a:lnTo>
                      <a:pt x="196" y="112"/>
                    </a:lnTo>
                    <a:lnTo>
                      <a:pt x="198" y="112"/>
                    </a:lnTo>
                    <a:lnTo>
                      <a:pt x="198" y="110"/>
                    </a:lnTo>
                    <a:lnTo>
                      <a:pt x="198" y="112"/>
                    </a:lnTo>
                    <a:lnTo>
                      <a:pt x="199" y="112"/>
                    </a:lnTo>
                    <a:lnTo>
                      <a:pt x="199" y="114"/>
                    </a:lnTo>
                    <a:lnTo>
                      <a:pt x="201" y="114"/>
                    </a:lnTo>
                    <a:lnTo>
                      <a:pt x="203" y="114"/>
                    </a:lnTo>
                    <a:lnTo>
                      <a:pt x="203" y="115"/>
                    </a:lnTo>
                    <a:lnTo>
                      <a:pt x="204" y="115"/>
                    </a:lnTo>
                    <a:lnTo>
                      <a:pt x="204" y="117"/>
                    </a:lnTo>
                    <a:lnTo>
                      <a:pt x="206" y="117"/>
                    </a:lnTo>
                    <a:lnTo>
                      <a:pt x="206" y="115"/>
                    </a:lnTo>
                    <a:lnTo>
                      <a:pt x="208" y="114"/>
                    </a:lnTo>
                    <a:lnTo>
                      <a:pt x="208" y="112"/>
                    </a:lnTo>
                    <a:lnTo>
                      <a:pt x="210" y="112"/>
                    </a:lnTo>
                    <a:lnTo>
                      <a:pt x="210" y="110"/>
                    </a:lnTo>
                    <a:lnTo>
                      <a:pt x="211" y="110"/>
                    </a:lnTo>
                    <a:lnTo>
                      <a:pt x="211" y="109"/>
                    </a:lnTo>
                    <a:lnTo>
                      <a:pt x="213" y="109"/>
                    </a:lnTo>
                    <a:lnTo>
                      <a:pt x="215" y="109"/>
                    </a:lnTo>
                    <a:lnTo>
                      <a:pt x="216" y="109"/>
                    </a:lnTo>
                    <a:lnTo>
                      <a:pt x="218" y="109"/>
                    </a:lnTo>
                    <a:lnTo>
                      <a:pt x="218" y="107"/>
                    </a:lnTo>
                    <a:lnTo>
                      <a:pt x="220" y="107"/>
                    </a:lnTo>
                    <a:lnTo>
                      <a:pt x="220" y="105"/>
                    </a:lnTo>
                    <a:lnTo>
                      <a:pt x="221" y="105"/>
                    </a:lnTo>
                    <a:lnTo>
                      <a:pt x="221" y="103"/>
                    </a:lnTo>
                    <a:lnTo>
                      <a:pt x="223" y="102"/>
                    </a:lnTo>
                    <a:lnTo>
                      <a:pt x="223" y="103"/>
                    </a:lnTo>
                    <a:lnTo>
                      <a:pt x="225" y="103"/>
                    </a:lnTo>
                    <a:lnTo>
                      <a:pt x="223" y="103"/>
                    </a:lnTo>
                    <a:lnTo>
                      <a:pt x="223" y="105"/>
                    </a:lnTo>
                    <a:lnTo>
                      <a:pt x="225" y="105"/>
                    </a:lnTo>
                    <a:lnTo>
                      <a:pt x="225" y="107"/>
                    </a:lnTo>
                    <a:lnTo>
                      <a:pt x="225" y="109"/>
                    </a:lnTo>
                    <a:lnTo>
                      <a:pt x="225" y="110"/>
                    </a:lnTo>
                    <a:lnTo>
                      <a:pt x="225" y="112"/>
                    </a:lnTo>
                    <a:lnTo>
                      <a:pt x="227" y="112"/>
                    </a:lnTo>
                    <a:lnTo>
                      <a:pt x="227" y="114"/>
                    </a:lnTo>
                    <a:lnTo>
                      <a:pt x="228" y="115"/>
                    </a:lnTo>
                    <a:lnTo>
                      <a:pt x="230" y="115"/>
                    </a:lnTo>
                    <a:lnTo>
                      <a:pt x="232" y="115"/>
                    </a:lnTo>
                    <a:lnTo>
                      <a:pt x="232" y="117"/>
                    </a:lnTo>
                    <a:lnTo>
                      <a:pt x="232" y="119"/>
                    </a:lnTo>
                    <a:lnTo>
                      <a:pt x="232" y="120"/>
                    </a:lnTo>
                    <a:lnTo>
                      <a:pt x="232" y="122"/>
                    </a:lnTo>
                    <a:lnTo>
                      <a:pt x="232" y="124"/>
                    </a:lnTo>
                    <a:lnTo>
                      <a:pt x="233" y="124"/>
                    </a:lnTo>
                    <a:lnTo>
                      <a:pt x="232" y="126"/>
                    </a:lnTo>
                    <a:lnTo>
                      <a:pt x="232" y="127"/>
                    </a:lnTo>
                    <a:lnTo>
                      <a:pt x="233" y="127"/>
                    </a:lnTo>
                    <a:lnTo>
                      <a:pt x="233" y="129"/>
                    </a:lnTo>
                    <a:lnTo>
                      <a:pt x="233" y="131"/>
                    </a:lnTo>
                    <a:lnTo>
                      <a:pt x="233" y="132"/>
                    </a:lnTo>
                    <a:lnTo>
                      <a:pt x="232" y="132"/>
                    </a:lnTo>
                    <a:lnTo>
                      <a:pt x="232" y="134"/>
                    </a:lnTo>
                    <a:lnTo>
                      <a:pt x="233" y="134"/>
                    </a:lnTo>
                    <a:lnTo>
                      <a:pt x="233" y="136"/>
                    </a:lnTo>
                    <a:lnTo>
                      <a:pt x="233" y="137"/>
                    </a:lnTo>
                    <a:lnTo>
                      <a:pt x="233" y="139"/>
                    </a:lnTo>
                    <a:lnTo>
                      <a:pt x="235" y="137"/>
                    </a:lnTo>
                    <a:lnTo>
                      <a:pt x="240" y="137"/>
                    </a:lnTo>
                    <a:lnTo>
                      <a:pt x="242" y="136"/>
                    </a:lnTo>
                    <a:lnTo>
                      <a:pt x="259" y="153"/>
                    </a:lnTo>
                    <a:lnTo>
                      <a:pt x="261" y="153"/>
                    </a:lnTo>
                    <a:lnTo>
                      <a:pt x="262" y="151"/>
                    </a:lnTo>
                    <a:lnTo>
                      <a:pt x="264" y="151"/>
                    </a:lnTo>
                    <a:lnTo>
                      <a:pt x="264" y="153"/>
                    </a:lnTo>
                    <a:lnTo>
                      <a:pt x="266" y="153"/>
                    </a:lnTo>
                    <a:lnTo>
                      <a:pt x="267" y="153"/>
                    </a:lnTo>
                    <a:lnTo>
                      <a:pt x="267" y="151"/>
                    </a:lnTo>
                    <a:lnTo>
                      <a:pt x="269" y="151"/>
                    </a:lnTo>
                    <a:lnTo>
                      <a:pt x="271" y="151"/>
                    </a:lnTo>
                    <a:lnTo>
                      <a:pt x="271" y="149"/>
                    </a:lnTo>
                    <a:lnTo>
                      <a:pt x="272" y="149"/>
                    </a:lnTo>
                    <a:lnTo>
                      <a:pt x="272" y="148"/>
                    </a:lnTo>
                    <a:lnTo>
                      <a:pt x="274" y="148"/>
                    </a:lnTo>
                    <a:lnTo>
                      <a:pt x="274" y="146"/>
                    </a:lnTo>
                    <a:lnTo>
                      <a:pt x="276" y="146"/>
                    </a:lnTo>
                    <a:lnTo>
                      <a:pt x="278" y="146"/>
                    </a:lnTo>
                    <a:lnTo>
                      <a:pt x="278" y="144"/>
                    </a:lnTo>
                    <a:lnTo>
                      <a:pt x="279" y="144"/>
                    </a:lnTo>
                    <a:lnTo>
                      <a:pt x="281" y="144"/>
                    </a:lnTo>
                    <a:lnTo>
                      <a:pt x="283" y="144"/>
                    </a:lnTo>
                    <a:lnTo>
                      <a:pt x="284" y="144"/>
                    </a:lnTo>
                    <a:lnTo>
                      <a:pt x="286" y="144"/>
                    </a:lnTo>
                    <a:lnTo>
                      <a:pt x="286" y="146"/>
                    </a:lnTo>
                    <a:lnTo>
                      <a:pt x="286" y="148"/>
                    </a:lnTo>
                    <a:lnTo>
                      <a:pt x="288" y="148"/>
                    </a:lnTo>
                    <a:lnTo>
                      <a:pt x="288" y="149"/>
                    </a:lnTo>
                    <a:lnTo>
                      <a:pt x="286" y="149"/>
                    </a:lnTo>
                    <a:lnTo>
                      <a:pt x="286" y="151"/>
                    </a:lnTo>
                    <a:lnTo>
                      <a:pt x="284" y="153"/>
                    </a:lnTo>
                    <a:lnTo>
                      <a:pt x="284" y="154"/>
                    </a:lnTo>
                    <a:lnTo>
                      <a:pt x="286" y="156"/>
                    </a:lnTo>
                    <a:lnTo>
                      <a:pt x="286" y="154"/>
                    </a:lnTo>
                    <a:lnTo>
                      <a:pt x="288" y="154"/>
                    </a:lnTo>
                    <a:lnTo>
                      <a:pt x="289" y="154"/>
                    </a:lnTo>
                    <a:lnTo>
                      <a:pt x="289" y="153"/>
                    </a:lnTo>
                    <a:lnTo>
                      <a:pt x="291" y="153"/>
                    </a:lnTo>
                    <a:lnTo>
                      <a:pt x="291" y="151"/>
                    </a:lnTo>
                    <a:lnTo>
                      <a:pt x="289" y="151"/>
                    </a:lnTo>
                    <a:lnTo>
                      <a:pt x="291" y="149"/>
                    </a:lnTo>
                    <a:lnTo>
                      <a:pt x="293" y="148"/>
                    </a:lnTo>
                    <a:lnTo>
                      <a:pt x="291" y="148"/>
                    </a:lnTo>
                    <a:lnTo>
                      <a:pt x="293" y="148"/>
                    </a:lnTo>
                    <a:lnTo>
                      <a:pt x="293" y="146"/>
                    </a:lnTo>
                    <a:lnTo>
                      <a:pt x="295" y="146"/>
                    </a:lnTo>
                    <a:lnTo>
                      <a:pt x="296" y="146"/>
                    </a:lnTo>
                    <a:lnTo>
                      <a:pt x="296" y="148"/>
                    </a:lnTo>
                    <a:lnTo>
                      <a:pt x="298" y="148"/>
                    </a:lnTo>
                    <a:lnTo>
                      <a:pt x="298" y="146"/>
                    </a:lnTo>
                    <a:lnTo>
                      <a:pt x="298" y="144"/>
                    </a:lnTo>
                    <a:lnTo>
                      <a:pt x="300" y="144"/>
                    </a:lnTo>
                    <a:lnTo>
                      <a:pt x="298" y="143"/>
                    </a:lnTo>
                    <a:lnTo>
                      <a:pt x="298" y="141"/>
                    </a:lnTo>
                    <a:lnTo>
                      <a:pt x="300" y="141"/>
                    </a:lnTo>
                    <a:lnTo>
                      <a:pt x="298" y="139"/>
                    </a:lnTo>
                    <a:lnTo>
                      <a:pt x="300" y="139"/>
                    </a:lnTo>
                    <a:lnTo>
                      <a:pt x="301" y="139"/>
                    </a:lnTo>
                    <a:lnTo>
                      <a:pt x="301" y="141"/>
                    </a:lnTo>
                    <a:lnTo>
                      <a:pt x="303" y="141"/>
                    </a:lnTo>
                    <a:lnTo>
                      <a:pt x="303" y="139"/>
                    </a:lnTo>
                    <a:lnTo>
                      <a:pt x="305" y="139"/>
                    </a:lnTo>
                    <a:lnTo>
                      <a:pt x="305" y="137"/>
                    </a:lnTo>
                    <a:lnTo>
                      <a:pt x="305" y="136"/>
                    </a:lnTo>
                    <a:lnTo>
                      <a:pt x="306" y="136"/>
                    </a:lnTo>
                    <a:lnTo>
                      <a:pt x="306" y="137"/>
                    </a:lnTo>
                    <a:lnTo>
                      <a:pt x="306" y="136"/>
                    </a:lnTo>
                    <a:lnTo>
                      <a:pt x="308" y="136"/>
                    </a:lnTo>
                    <a:lnTo>
                      <a:pt x="310" y="136"/>
                    </a:lnTo>
                    <a:lnTo>
                      <a:pt x="308" y="134"/>
                    </a:lnTo>
                    <a:lnTo>
                      <a:pt x="310" y="134"/>
                    </a:lnTo>
                    <a:lnTo>
                      <a:pt x="312" y="134"/>
                    </a:lnTo>
                    <a:lnTo>
                      <a:pt x="312" y="136"/>
                    </a:lnTo>
                    <a:lnTo>
                      <a:pt x="313" y="136"/>
                    </a:lnTo>
                    <a:lnTo>
                      <a:pt x="313" y="134"/>
                    </a:lnTo>
                    <a:lnTo>
                      <a:pt x="315" y="134"/>
                    </a:lnTo>
                    <a:lnTo>
                      <a:pt x="317" y="134"/>
                    </a:lnTo>
                    <a:lnTo>
                      <a:pt x="317" y="132"/>
                    </a:lnTo>
                    <a:lnTo>
                      <a:pt x="318" y="132"/>
                    </a:lnTo>
                    <a:lnTo>
                      <a:pt x="318" y="131"/>
                    </a:lnTo>
                    <a:lnTo>
                      <a:pt x="320" y="129"/>
                    </a:lnTo>
                    <a:lnTo>
                      <a:pt x="322" y="129"/>
                    </a:lnTo>
                    <a:lnTo>
                      <a:pt x="322" y="127"/>
                    </a:lnTo>
                    <a:lnTo>
                      <a:pt x="323" y="127"/>
                    </a:lnTo>
                    <a:lnTo>
                      <a:pt x="325" y="126"/>
                    </a:lnTo>
                    <a:lnTo>
                      <a:pt x="325" y="127"/>
                    </a:lnTo>
                    <a:lnTo>
                      <a:pt x="325" y="126"/>
                    </a:lnTo>
                    <a:lnTo>
                      <a:pt x="325" y="127"/>
                    </a:lnTo>
                    <a:lnTo>
                      <a:pt x="325" y="129"/>
                    </a:lnTo>
                    <a:lnTo>
                      <a:pt x="325" y="131"/>
                    </a:lnTo>
                    <a:lnTo>
                      <a:pt x="323" y="131"/>
                    </a:lnTo>
                    <a:lnTo>
                      <a:pt x="325" y="131"/>
                    </a:lnTo>
                    <a:lnTo>
                      <a:pt x="327" y="132"/>
                    </a:lnTo>
                    <a:lnTo>
                      <a:pt x="327" y="131"/>
                    </a:lnTo>
                    <a:lnTo>
                      <a:pt x="327" y="129"/>
                    </a:lnTo>
                    <a:lnTo>
                      <a:pt x="329" y="127"/>
                    </a:lnTo>
                    <a:lnTo>
                      <a:pt x="330" y="127"/>
                    </a:lnTo>
                    <a:lnTo>
                      <a:pt x="332" y="127"/>
                    </a:lnTo>
                    <a:lnTo>
                      <a:pt x="332" y="126"/>
                    </a:lnTo>
                    <a:lnTo>
                      <a:pt x="332" y="124"/>
                    </a:lnTo>
                    <a:lnTo>
                      <a:pt x="334" y="124"/>
                    </a:lnTo>
                    <a:lnTo>
                      <a:pt x="335" y="124"/>
                    </a:lnTo>
                    <a:lnTo>
                      <a:pt x="335" y="122"/>
                    </a:lnTo>
                    <a:lnTo>
                      <a:pt x="335" y="120"/>
                    </a:lnTo>
                    <a:lnTo>
                      <a:pt x="335" y="119"/>
                    </a:lnTo>
                    <a:lnTo>
                      <a:pt x="335" y="117"/>
                    </a:lnTo>
                    <a:lnTo>
                      <a:pt x="335" y="115"/>
                    </a:lnTo>
                    <a:lnTo>
                      <a:pt x="335" y="114"/>
                    </a:lnTo>
                    <a:lnTo>
                      <a:pt x="335" y="112"/>
                    </a:lnTo>
                    <a:lnTo>
                      <a:pt x="337" y="112"/>
                    </a:lnTo>
                    <a:lnTo>
                      <a:pt x="337" y="110"/>
                    </a:lnTo>
                    <a:lnTo>
                      <a:pt x="339" y="110"/>
                    </a:lnTo>
                    <a:lnTo>
                      <a:pt x="340" y="110"/>
                    </a:lnTo>
                    <a:lnTo>
                      <a:pt x="342" y="110"/>
                    </a:lnTo>
                    <a:lnTo>
                      <a:pt x="344" y="112"/>
                    </a:lnTo>
                    <a:lnTo>
                      <a:pt x="344" y="110"/>
                    </a:lnTo>
                    <a:lnTo>
                      <a:pt x="346" y="110"/>
                    </a:lnTo>
                    <a:lnTo>
                      <a:pt x="347" y="110"/>
                    </a:lnTo>
                    <a:lnTo>
                      <a:pt x="347" y="109"/>
                    </a:lnTo>
                    <a:lnTo>
                      <a:pt x="349" y="110"/>
                    </a:lnTo>
                    <a:lnTo>
                      <a:pt x="349" y="109"/>
                    </a:lnTo>
                    <a:lnTo>
                      <a:pt x="351" y="109"/>
                    </a:lnTo>
                    <a:lnTo>
                      <a:pt x="351" y="107"/>
                    </a:lnTo>
                    <a:lnTo>
                      <a:pt x="352" y="107"/>
                    </a:lnTo>
                    <a:lnTo>
                      <a:pt x="352" y="105"/>
                    </a:lnTo>
                    <a:lnTo>
                      <a:pt x="354" y="105"/>
                    </a:lnTo>
                    <a:lnTo>
                      <a:pt x="354" y="107"/>
                    </a:lnTo>
                    <a:lnTo>
                      <a:pt x="356" y="107"/>
                    </a:lnTo>
                    <a:lnTo>
                      <a:pt x="356" y="105"/>
                    </a:lnTo>
                    <a:lnTo>
                      <a:pt x="356" y="107"/>
                    </a:lnTo>
                    <a:lnTo>
                      <a:pt x="357" y="105"/>
                    </a:lnTo>
                    <a:lnTo>
                      <a:pt x="359" y="103"/>
                    </a:lnTo>
                    <a:lnTo>
                      <a:pt x="357" y="103"/>
                    </a:lnTo>
                    <a:lnTo>
                      <a:pt x="359" y="103"/>
                    </a:lnTo>
                    <a:lnTo>
                      <a:pt x="359" y="102"/>
                    </a:lnTo>
                    <a:lnTo>
                      <a:pt x="359" y="100"/>
                    </a:lnTo>
                    <a:lnTo>
                      <a:pt x="359" y="98"/>
                    </a:lnTo>
                    <a:lnTo>
                      <a:pt x="359" y="97"/>
                    </a:lnTo>
                    <a:lnTo>
                      <a:pt x="359" y="95"/>
                    </a:lnTo>
                    <a:lnTo>
                      <a:pt x="357" y="95"/>
                    </a:lnTo>
                    <a:lnTo>
                      <a:pt x="356" y="95"/>
                    </a:lnTo>
                    <a:lnTo>
                      <a:pt x="354" y="97"/>
                    </a:lnTo>
                    <a:lnTo>
                      <a:pt x="352" y="97"/>
                    </a:lnTo>
                    <a:lnTo>
                      <a:pt x="351" y="97"/>
                    </a:lnTo>
                    <a:lnTo>
                      <a:pt x="349" y="97"/>
                    </a:lnTo>
                    <a:lnTo>
                      <a:pt x="347" y="97"/>
                    </a:lnTo>
                    <a:lnTo>
                      <a:pt x="346" y="97"/>
                    </a:lnTo>
                    <a:lnTo>
                      <a:pt x="344" y="97"/>
                    </a:lnTo>
                    <a:lnTo>
                      <a:pt x="342" y="95"/>
                    </a:lnTo>
                    <a:lnTo>
                      <a:pt x="340" y="95"/>
                    </a:lnTo>
                    <a:lnTo>
                      <a:pt x="339" y="95"/>
                    </a:lnTo>
                    <a:lnTo>
                      <a:pt x="337" y="93"/>
                    </a:lnTo>
                    <a:lnTo>
                      <a:pt x="337" y="95"/>
                    </a:lnTo>
                    <a:lnTo>
                      <a:pt x="337" y="93"/>
                    </a:lnTo>
                    <a:lnTo>
                      <a:pt x="335" y="93"/>
                    </a:lnTo>
                    <a:lnTo>
                      <a:pt x="335" y="92"/>
                    </a:lnTo>
                    <a:lnTo>
                      <a:pt x="337" y="92"/>
                    </a:lnTo>
                    <a:lnTo>
                      <a:pt x="337" y="90"/>
                    </a:lnTo>
                    <a:lnTo>
                      <a:pt x="337" y="88"/>
                    </a:lnTo>
                    <a:lnTo>
                      <a:pt x="339" y="88"/>
                    </a:lnTo>
                    <a:lnTo>
                      <a:pt x="339" y="86"/>
                    </a:lnTo>
                    <a:lnTo>
                      <a:pt x="337" y="86"/>
                    </a:lnTo>
                    <a:lnTo>
                      <a:pt x="339" y="86"/>
                    </a:lnTo>
                    <a:lnTo>
                      <a:pt x="337" y="85"/>
                    </a:lnTo>
                    <a:lnTo>
                      <a:pt x="339" y="85"/>
                    </a:lnTo>
                    <a:lnTo>
                      <a:pt x="337" y="85"/>
                    </a:lnTo>
                    <a:lnTo>
                      <a:pt x="337" y="83"/>
                    </a:lnTo>
                    <a:lnTo>
                      <a:pt x="335" y="81"/>
                    </a:lnTo>
                    <a:lnTo>
                      <a:pt x="335" y="80"/>
                    </a:lnTo>
                    <a:lnTo>
                      <a:pt x="335" y="78"/>
                    </a:lnTo>
                    <a:lnTo>
                      <a:pt x="334" y="78"/>
                    </a:lnTo>
                    <a:lnTo>
                      <a:pt x="334" y="76"/>
                    </a:lnTo>
                    <a:lnTo>
                      <a:pt x="332" y="76"/>
                    </a:lnTo>
                    <a:lnTo>
                      <a:pt x="332" y="75"/>
                    </a:lnTo>
                    <a:lnTo>
                      <a:pt x="330" y="73"/>
                    </a:lnTo>
                    <a:lnTo>
                      <a:pt x="330" y="71"/>
                    </a:lnTo>
                    <a:lnTo>
                      <a:pt x="330" y="69"/>
                    </a:lnTo>
                    <a:lnTo>
                      <a:pt x="330" y="68"/>
                    </a:lnTo>
                    <a:lnTo>
                      <a:pt x="330" y="66"/>
                    </a:lnTo>
                    <a:lnTo>
                      <a:pt x="330" y="64"/>
                    </a:lnTo>
                    <a:lnTo>
                      <a:pt x="330" y="63"/>
                    </a:lnTo>
                    <a:lnTo>
                      <a:pt x="329" y="63"/>
                    </a:lnTo>
                    <a:lnTo>
                      <a:pt x="330" y="61"/>
                    </a:lnTo>
                    <a:lnTo>
                      <a:pt x="332" y="59"/>
                    </a:lnTo>
                    <a:lnTo>
                      <a:pt x="332" y="58"/>
                    </a:lnTo>
                    <a:lnTo>
                      <a:pt x="330" y="56"/>
                    </a:lnTo>
                    <a:lnTo>
                      <a:pt x="329" y="54"/>
                    </a:lnTo>
                    <a:lnTo>
                      <a:pt x="329" y="52"/>
                    </a:lnTo>
                    <a:lnTo>
                      <a:pt x="327" y="52"/>
                    </a:lnTo>
                    <a:lnTo>
                      <a:pt x="327" y="51"/>
                    </a:lnTo>
                    <a:lnTo>
                      <a:pt x="325" y="51"/>
                    </a:lnTo>
                    <a:lnTo>
                      <a:pt x="323" y="51"/>
                    </a:lnTo>
                    <a:lnTo>
                      <a:pt x="322" y="51"/>
                    </a:lnTo>
                    <a:lnTo>
                      <a:pt x="322" y="49"/>
                    </a:lnTo>
                    <a:lnTo>
                      <a:pt x="320" y="49"/>
                    </a:lnTo>
                    <a:lnTo>
                      <a:pt x="320" y="47"/>
                    </a:lnTo>
                    <a:lnTo>
                      <a:pt x="318" y="47"/>
                    </a:lnTo>
                    <a:lnTo>
                      <a:pt x="318" y="46"/>
                    </a:lnTo>
                    <a:lnTo>
                      <a:pt x="317" y="44"/>
                    </a:lnTo>
                    <a:lnTo>
                      <a:pt x="315" y="42"/>
                    </a:lnTo>
                    <a:lnTo>
                      <a:pt x="315" y="41"/>
                    </a:lnTo>
                    <a:lnTo>
                      <a:pt x="313" y="41"/>
                    </a:lnTo>
                    <a:lnTo>
                      <a:pt x="313" y="39"/>
                    </a:lnTo>
                    <a:lnTo>
                      <a:pt x="312" y="39"/>
                    </a:lnTo>
                    <a:lnTo>
                      <a:pt x="312" y="37"/>
                    </a:lnTo>
                    <a:lnTo>
                      <a:pt x="310" y="37"/>
                    </a:lnTo>
                    <a:lnTo>
                      <a:pt x="310" y="35"/>
                    </a:lnTo>
                    <a:lnTo>
                      <a:pt x="310" y="34"/>
                    </a:lnTo>
                    <a:lnTo>
                      <a:pt x="312" y="34"/>
                    </a:lnTo>
                    <a:lnTo>
                      <a:pt x="313" y="34"/>
                    </a:lnTo>
                    <a:lnTo>
                      <a:pt x="315" y="34"/>
                    </a:lnTo>
                    <a:lnTo>
                      <a:pt x="315" y="35"/>
                    </a:lnTo>
                    <a:lnTo>
                      <a:pt x="317" y="37"/>
                    </a:lnTo>
                    <a:lnTo>
                      <a:pt x="317" y="39"/>
                    </a:lnTo>
                    <a:lnTo>
                      <a:pt x="318" y="39"/>
                    </a:lnTo>
                    <a:lnTo>
                      <a:pt x="320" y="39"/>
                    </a:lnTo>
                    <a:lnTo>
                      <a:pt x="322" y="39"/>
                    </a:lnTo>
                    <a:lnTo>
                      <a:pt x="323" y="39"/>
                    </a:lnTo>
                    <a:lnTo>
                      <a:pt x="323" y="37"/>
                    </a:lnTo>
                    <a:lnTo>
                      <a:pt x="323" y="39"/>
                    </a:lnTo>
                    <a:lnTo>
                      <a:pt x="325" y="37"/>
                    </a:lnTo>
                    <a:lnTo>
                      <a:pt x="325" y="39"/>
                    </a:lnTo>
                    <a:lnTo>
                      <a:pt x="327" y="39"/>
                    </a:lnTo>
                    <a:lnTo>
                      <a:pt x="329" y="37"/>
                    </a:lnTo>
                    <a:lnTo>
                      <a:pt x="329" y="39"/>
                    </a:lnTo>
                    <a:lnTo>
                      <a:pt x="330" y="39"/>
                    </a:lnTo>
                    <a:lnTo>
                      <a:pt x="332" y="39"/>
                    </a:lnTo>
                    <a:lnTo>
                      <a:pt x="334" y="39"/>
                    </a:lnTo>
                    <a:lnTo>
                      <a:pt x="334" y="41"/>
                    </a:lnTo>
                    <a:lnTo>
                      <a:pt x="335" y="41"/>
                    </a:lnTo>
                    <a:lnTo>
                      <a:pt x="334" y="42"/>
                    </a:lnTo>
                    <a:lnTo>
                      <a:pt x="335" y="42"/>
                    </a:lnTo>
                    <a:lnTo>
                      <a:pt x="335" y="44"/>
                    </a:lnTo>
                    <a:lnTo>
                      <a:pt x="337" y="46"/>
                    </a:lnTo>
                    <a:lnTo>
                      <a:pt x="339" y="46"/>
                    </a:lnTo>
                    <a:lnTo>
                      <a:pt x="339" y="47"/>
                    </a:lnTo>
                    <a:lnTo>
                      <a:pt x="339" y="46"/>
                    </a:lnTo>
                    <a:lnTo>
                      <a:pt x="340" y="46"/>
                    </a:lnTo>
                    <a:lnTo>
                      <a:pt x="342" y="46"/>
                    </a:lnTo>
                    <a:lnTo>
                      <a:pt x="342" y="44"/>
                    </a:lnTo>
                    <a:lnTo>
                      <a:pt x="344" y="44"/>
                    </a:lnTo>
                    <a:lnTo>
                      <a:pt x="344" y="46"/>
                    </a:lnTo>
                    <a:lnTo>
                      <a:pt x="346" y="46"/>
                    </a:lnTo>
                    <a:lnTo>
                      <a:pt x="346" y="44"/>
                    </a:lnTo>
                    <a:lnTo>
                      <a:pt x="347" y="46"/>
                    </a:lnTo>
                    <a:lnTo>
                      <a:pt x="349" y="46"/>
                    </a:lnTo>
                    <a:lnTo>
                      <a:pt x="347" y="44"/>
                    </a:lnTo>
                    <a:lnTo>
                      <a:pt x="349" y="42"/>
                    </a:lnTo>
                    <a:lnTo>
                      <a:pt x="349" y="44"/>
                    </a:lnTo>
                    <a:lnTo>
                      <a:pt x="351" y="44"/>
                    </a:lnTo>
                    <a:lnTo>
                      <a:pt x="351" y="46"/>
                    </a:lnTo>
                    <a:lnTo>
                      <a:pt x="352" y="46"/>
                    </a:lnTo>
                    <a:lnTo>
                      <a:pt x="351" y="46"/>
                    </a:lnTo>
                    <a:lnTo>
                      <a:pt x="352" y="47"/>
                    </a:lnTo>
                    <a:lnTo>
                      <a:pt x="352" y="46"/>
                    </a:lnTo>
                    <a:lnTo>
                      <a:pt x="352" y="47"/>
                    </a:lnTo>
                    <a:lnTo>
                      <a:pt x="354" y="47"/>
                    </a:lnTo>
                    <a:lnTo>
                      <a:pt x="356" y="47"/>
                    </a:lnTo>
                    <a:lnTo>
                      <a:pt x="357" y="47"/>
                    </a:lnTo>
                    <a:lnTo>
                      <a:pt x="357" y="46"/>
                    </a:lnTo>
                    <a:lnTo>
                      <a:pt x="357" y="44"/>
                    </a:lnTo>
                    <a:lnTo>
                      <a:pt x="356" y="44"/>
                    </a:lnTo>
                    <a:lnTo>
                      <a:pt x="357" y="44"/>
                    </a:lnTo>
                    <a:lnTo>
                      <a:pt x="359" y="44"/>
                    </a:lnTo>
                    <a:lnTo>
                      <a:pt x="361" y="44"/>
                    </a:lnTo>
                    <a:lnTo>
                      <a:pt x="363" y="44"/>
                    </a:lnTo>
                    <a:lnTo>
                      <a:pt x="364" y="44"/>
                    </a:lnTo>
                    <a:lnTo>
                      <a:pt x="364" y="46"/>
                    </a:lnTo>
                    <a:lnTo>
                      <a:pt x="364" y="47"/>
                    </a:lnTo>
                    <a:lnTo>
                      <a:pt x="364" y="49"/>
                    </a:lnTo>
                    <a:lnTo>
                      <a:pt x="366" y="49"/>
                    </a:lnTo>
                    <a:lnTo>
                      <a:pt x="368" y="49"/>
                    </a:lnTo>
                    <a:lnTo>
                      <a:pt x="368" y="51"/>
                    </a:lnTo>
                    <a:lnTo>
                      <a:pt x="369" y="51"/>
                    </a:lnTo>
                    <a:lnTo>
                      <a:pt x="369" y="52"/>
                    </a:lnTo>
                    <a:lnTo>
                      <a:pt x="369" y="54"/>
                    </a:lnTo>
                    <a:lnTo>
                      <a:pt x="371" y="54"/>
                    </a:lnTo>
                    <a:lnTo>
                      <a:pt x="371" y="56"/>
                    </a:lnTo>
                    <a:lnTo>
                      <a:pt x="373" y="56"/>
                    </a:lnTo>
                    <a:lnTo>
                      <a:pt x="374" y="56"/>
                    </a:lnTo>
                    <a:lnTo>
                      <a:pt x="374" y="54"/>
                    </a:lnTo>
                    <a:lnTo>
                      <a:pt x="376" y="52"/>
                    </a:lnTo>
                    <a:lnTo>
                      <a:pt x="378" y="51"/>
                    </a:lnTo>
                    <a:lnTo>
                      <a:pt x="378" y="52"/>
                    </a:lnTo>
                    <a:lnTo>
                      <a:pt x="380" y="52"/>
                    </a:lnTo>
                    <a:lnTo>
                      <a:pt x="380" y="54"/>
                    </a:lnTo>
                    <a:lnTo>
                      <a:pt x="380" y="52"/>
                    </a:lnTo>
                    <a:lnTo>
                      <a:pt x="381" y="52"/>
                    </a:lnTo>
                    <a:lnTo>
                      <a:pt x="380" y="51"/>
                    </a:lnTo>
                    <a:lnTo>
                      <a:pt x="381" y="51"/>
                    </a:lnTo>
                    <a:lnTo>
                      <a:pt x="380" y="49"/>
                    </a:lnTo>
                    <a:lnTo>
                      <a:pt x="381" y="49"/>
                    </a:lnTo>
                    <a:lnTo>
                      <a:pt x="380" y="49"/>
                    </a:lnTo>
                    <a:lnTo>
                      <a:pt x="380" y="47"/>
                    </a:lnTo>
                    <a:lnTo>
                      <a:pt x="378" y="46"/>
                    </a:lnTo>
                    <a:lnTo>
                      <a:pt x="380" y="46"/>
                    </a:lnTo>
                    <a:lnTo>
                      <a:pt x="380" y="44"/>
                    </a:lnTo>
                    <a:lnTo>
                      <a:pt x="380" y="42"/>
                    </a:lnTo>
                    <a:lnTo>
                      <a:pt x="380" y="41"/>
                    </a:lnTo>
                    <a:lnTo>
                      <a:pt x="381" y="42"/>
                    </a:lnTo>
                    <a:lnTo>
                      <a:pt x="383" y="41"/>
                    </a:lnTo>
                    <a:lnTo>
                      <a:pt x="383" y="42"/>
                    </a:lnTo>
                    <a:lnTo>
                      <a:pt x="383" y="41"/>
                    </a:lnTo>
                    <a:lnTo>
                      <a:pt x="385" y="41"/>
                    </a:lnTo>
                    <a:lnTo>
                      <a:pt x="385" y="42"/>
                    </a:lnTo>
                    <a:lnTo>
                      <a:pt x="386" y="42"/>
                    </a:lnTo>
                    <a:lnTo>
                      <a:pt x="386" y="41"/>
                    </a:lnTo>
                    <a:lnTo>
                      <a:pt x="386" y="39"/>
                    </a:lnTo>
                    <a:lnTo>
                      <a:pt x="388" y="39"/>
                    </a:lnTo>
                    <a:lnTo>
                      <a:pt x="388" y="37"/>
                    </a:lnTo>
                    <a:lnTo>
                      <a:pt x="390" y="39"/>
                    </a:lnTo>
                    <a:lnTo>
                      <a:pt x="390" y="37"/>
                    </a:lnTo>
                    <a:lnTo>
                      <a:pt x="391" y="37"/>
                    </a:lnTo>
                    <a:lnTo>
                      <a:pt x="393" y="37"/>
                    </a:lnTo>
                    <a:lnTo>
                      <a:pt x="395" y="39"/>
                    </a:lnTo>
                    <a:lnTo>
                      <a:pt x="395" y="37"/>
                    </a:lnTo>
                    <a:lnTo>
                      <a:pt x="395" y="39"/>
                    </a:lnTo>
                    <a:lnTo>
                      <a:pt x="395" y="37"/>
                    </a:lnTo>
                    <a:lnTo>
                      <a:pt x="397" y="39"/>
                    </a:lnTo>
                    <a:lnTo>
                      <a:pt x="398" y="39"/>
                    </a:lnTo>
                    <a:lnTo>
                      <a:pt x="400" y="39"/>
                    </a:lnTo>
                    <a:lnTo>
                      <a:pt x="400" y="41"/>
                    </a:lnTo>
                    <a:lnTo>
                      <a:pt x="402" y="39"/>
                    </a:lnTo>
                    <a:lnTo>
                      <a:pt x="403" y="39"/>
                    </a:lnTo>
                    <a:lnTo>
                      <a:pt x="402" y="37"/>
                    </a:lnTo>
                    <a:lnTo>
                      <a:pt x="403" y="37"/>
                    </a:lnTo>
                    <a:lnTo>
                      <a:pt x="405" y="37"/>
                    </a:lnTo>
                    <a:lnTo>
                      <a:pt x="407" y="37"/>
                    </a:lnTo>
                    <a:lnTo>
                      <a:pt x="407" y="39"/>
                    </a:lnTo>
                    <a:lnTo>
                      <a:pt x="408" y="39"/>
                    </a:lnTo>
                    <a:lnTo>
                      <a:pt x="408" y="37"/>
                    </a:lnTo>
                    <a:lnTo>
                      <a:pt x="410" y="37"/>
                    </a:lnTo>
                    <a:lnTo>
                      <a:pt x="412" y="37"/>
                    </a:lnTo>
                    <a:lnTo>
                      <a:pt x="412" y="35"/>
                    </a:lnTo>
                    <a:lnTo>
                      <a:pt x="414" y="35"/>
                    </a:lnTo>
                    <a:lnTo>
                      <a:pt x="414" y="34"/>
                    </a:lnTo>
                    <a:lnTo>
                      <a:pt x="415" y="34"/>
                    </a:lnTo>
                    <a:lnTo>
                      <a:pt x="417" y="34"/>
                    </a:lnTo>
                    <a:lnTo>
                      <a:pt x="417" y="35"/>
                    </a:lnTo>
                    <a:lnTo>
                      <a:pt x="417" y="34"/>
                    </a:lnTo>
                    <a:lnTo>
                      <a:pt x="419" y="34"/>
                    </a:lnTo>
                    <a:lnTo>
                      <a:pt x="420" y="34"/>
                    </a:lnTo>
                    <a:lnTo>
                      <a:pt x="422" y="34"/>
                    </a:lnTo>
                    <a:lnTo>
                      <a:pt x="422" y="32"/>
                    </a:lnTo>
                    <a:lnTo>
                      <a:pt x="422" y="30"/>
                    </a:lnTo>
                    <a:lnTo>
                      <a:pt x="422" y="29"/>
                    </a:lnTo>
                    <a:lnTo>
                      <a:pt x="424" y="29"/>
                    </a:lnTo>
                    <a:lnTo>
                      <a:pt x="425" y="29"/>
                    </a:lnTo>
                    <a:lnTo>
                      <a:pt x="427" y="29"/>
                    </a:lnTo>
                    <a:lnTo>
                      <a:pt x="429" y="29"/>
                    </a:lnTo>
                    <a:lnTo>
                      <a:pt x="429" y="27"/>
                    </a:lnTo>
                    <a:lnTo>
                      <a:pt x="429" y="25"/>
                    </a:lnTo>
                    <a:lnTo>
                      <a:pt x="427" y="25"/>
                    </a:lnTo>
                    <a:lnTo>
                      <a:pt x="429" y="25"/>
                    </a:lnTo>
                    <a:lnTo>
                      <a:pt x="431" y="25"/>
                    </a:lnTo>
                    <a:lnTo>
                      <a:pt x="432" y="25"/>
                    </a:lnTo>
                    <a:lnTo>
                      <a:pt x="434" y="25"/>
                    </a:lnTo>
                    <a:lnTo>
                      <a:pt x="434" y="27"/>
                    </a:lnTo>
                    <a:lnTo>
                      <a:pt x="434" y="25"/>
                    </a:lnTo>
                    <a:lnTo>
                      <a:pt x="436" y="25"/>
                    </a:lnTo>
                    <a:lnTo>
                      <a:pt x="437" y="25"/>
                    </a:lnTo>
                    <a:lnTo>
                      <a:pt x="439" y="25"/>
                    </a:lnTo>
                    <a:lnTo>
                      <a:pt x="439" y="24"/>
                    </a:lnTo>
                    <a:lnTo>
                      <a:pt x="441" y="24"/>
                    </a:lnTo>
                    <a:lnTo>
                      <a:pt x="441" y="22"/>
                    </a:lnTo>
                    <a:lnTo>
                      <a:pt x="441" y="20"/>
                    </a:lnTo>
                    <a:lnTo>
                      <a:pt x="442" y="20"/>
                    </a:lnTo>
                    <a:lnTo>
                      <a:pt x="442" y="18"/>
                    </a:lnTo>
                    <a:lnTo>
                      <a:pt x="444" y="18"/>
                    </a:lnTo>
                    <a:lnTo>
                      <a:pt x="446" y="18"/>
                    </a:lnTo>
                    <a:lnTo>
                      <a:pt x="446" y="17"/>
                    </a:lnTo>
                    <a:lnTo>
                      <a:pt x="448" y="17"/>
                    </a:lnTo>
                    <a:lnTo>
                      <a:pt x="448" y="15"/>
                    </a:lnTo>
                    <a:lnTo>
                      <a:pt x="449" y="15"/>
                    </a:lnTo>
                    <a:lnTo>
                      <a:pt x="449" y="13"/>
                    </a:lnTo>
                    <a:lnTo>
                      <a:pt x="451" y="13"/>
                    </a:lnTo>
                    <a:lnTo>
                      <a:pt x="451" y="12"/>
                    </a:lnTo>
                    <a:lnTo>
                      <a:pt x="453" y="12"/>
                    </a:lnTo>
                    <a:lnTo>
                      <a:pt x="453" y="10"/>
                    </a:lnTo>
                    <a:lnTo>
                      <a:pt x="453" y="8"/>
                    </a:lnTo>
                    <a:lnTo>
                      <a:pt x="451" y="8"/>
                    </a:lnTo>
                    <a:lnTo>
                      <a:pt x="451" y="6"/>
                    </a:lnTo>
                    <a:lnTo>
                      <a:pt x="451" y="5"/>
                    </a:lnTo>
                    <a:lnTo>
                      <a:pt x="451" y="3"/>
                    </a:lnTo>
                    <a:lnTo>
                      <a:pt x="449" y="3"/>
                    </a:lnTo>
                    <a:lnTo>
                      <a:pt x="449" y="1"/>
                    </a:lnTo>
                    <a:lnTo>
                      <a:pt x="448" y="1"/>
                    </a:lnTo>
                    <a:lnTo>
                      <a:pt x="449" y="1"/>
                    </a:lnTo>
                    <a:lnTo>
                      <a:pt x="451" y="1"/>
                    </a:lnTo>
                    <a:lnTo>
                      <a:pt x="453" y="1"/>
                    </a:lnTo>
                    <a:lnTo>
                      <a:pt x="454" y="1"/>
                    </a:lnTo>
                    <a:lnTo>
                      <a:pt x="456" y="1"/>
                    </a:lnTo>
                    <a:lnTo>
                      <a:pt x="458" y="1"/>
                    </a:lnTo>
                    <a:lnTo>
                      <a:pt x="458" y="3"/>
                    </a:lnTo>
                    <a:lnTo>
                      <a:pt x="458" y="1"/>
                    </a:lnTo>
                    <a:lnTo>
                      <a:pt x="459" y="1"/>
                    </a:lnTo>
                    <a:lnTo>
                      <a:pt x="461" y="1"/>
                    </a:lnTo>
                    <a:lnTo>
                      <a:pt x="463" y="1"/>
                    </a:lnTo>
                    <a:lnTo>
                      <a:pt x="465" y="0"/>
                    </a:lnTo>
                    <a:lnTo>
                      <a:pt x="466" y="0"/>
                    </a:lnTo>
                    <a:lnTo>
                      <a:pt x="466" y="1"/>
                    </a:lnTo>
                    <a:lnTo>
                      <a:pt x="468" y="1"/>
                    </a:lnTo>
                    <a:lnTo>
                      <a:pt x="468" y="0"/>
                    </a:lnTo>
                    <a:lnTo>
                      <a:pt x="468" y="1"/>
                    </a:lnTo>
                    <a:lnTo>
                      <a:pt x="470" y="1"/>
                    </a:lnTo>
                    <a:lnTo>
                      <a:pt x="470" y="3"/>
                    </a:lnTo>
                    <a:lnTo>
                      <a:pt x="470" y="5"/>
                    </a:lnTo>
                    <a:lnTo>
                      <a:pt x="471" y="5"/>
                    </a:lnTo>
                    <a:lnTo>
                      <a:pt x="471" y="6"/>
                    </a:lnTo>
                    <a:lnTo>
                      <a:pt x="473" y="6"/>
                    </a:lnTo>
                    <a:lnTo>
                      <a:pt x="473" y="8"/>
                    </a:lnTo>
                    <a:lnTo>
                      <a:pt x="473" y="10"/>
                    </a:lnTo>
                    <a:lnTo>
                      <a:pt x="473" y="12"/>
                    </a:lnTo>
                    <a:lnTo>
                      <a:pt x="473" y="13"/>
                    </a:lnTo>
                    <a:lnTo>
                      <a:pt x="471" y="15"/>
                    </a:lnTo>
                    <a:lnTo>
                      <a:pt x="471" y="17"/>
                    </a:lnTo>
                    <a:lnTo>
                      <a:pt x="471" y="18"/>
                    </a:lnTo>
                    <a:lnTo>
                      <a:pt x="471" y="20"/>
                    </a:lnTo>
                    <a:lnTo>
                      <a:pt x="470" y="20"/>
                    </a:lnTo>
                    <a:lnTo>
                      <a:pt x="470" y="22"/>
                    </a:lnTo>
                    <a:lnTo>
                      <a:pt x="468" y="22"/>
                    </a:lnTo>
                    <a:lnTo>
                      <a:pt x="468" y="24"/>
                    </a:lnTo>
                    <a:lnTo>
                      <a:pt x="468" y="25"/>
                    </a:lnTo>
                    <a:lnTo>
                      <a:pt x="470" y="25"/>
                    </a:lnTo>
                    <a:lnTo>
                      <a:pt x="471" y="25"/>
                    </a:lnTo>
                    <a:lnTo>
                      <a:pt x="470" y="25"/>
                    </a:lnTo>
                    <a:lnTo>
                      <a:pt x="471" y="25"/>
                    </a:lnTo>
                    <a:lnTo>
                      <a:pt x="471" y="27"/>
                    </a:lnTo>
                    <a:lnTo>
                      <a:pt x="473" y="25"/>
                    </a:lnTo>
                    <a:lnTo>
                      <a:pt x="473" y="27"/>
                    </a:lnTo>
                    <a:lnTo>
                      <a:pt x="473" y="25"/>
                    </a:lnTo>
                    <a:lnTo>
                      <a:pt x="475" y="25"/>
                    </a:lnTo>
                    <a:lnTo>
                      <a:pt x="475" y="27"/>
                    </a:lnTo>
                    <a:lnTo>
                      <a:pt x="476" y="27"/>
                    </a:lnTo>
                    <a:lnTo>
                      <a:pt x="478" y="27"/>
                    </a:lnTo>
                    <a:lnTo>
                      <a:pt x="476" y="27"/>
                    </a:lnTo>
                    <a:lnTo>
                      <a:pt x="478" y="27"/>
                    </a:lnTo>
                    <a:lnTo>
                      <a:pt x="480" y="27"/>
                    </a:lnTo>
                    <a:lnTo>
                      <a:pt x="482" y="29"/>
                    </a:lnTo>
                    <a:lnTo>
                      <a:pt x="482" y="30"/>
                    </a:lnTo>
                    <a:lnTo>
                      <a:pt x="483" y="30"/>
                    </a:lnTo>
                    <a:lnTo>
                      <a:pt x="483" y="32"/>
                    </a:lnTo>
                    <a:lnTo>
                      <a:pt x="482" y="32"/>
                    </a:lnTo>
                    <a:lnTo>
                      <a:pt x="482" y="34"/>
                    </a:lnTo>
                    <a:lnTo>
                      <a:pt x="483" y="34"/>
                    </a:lnTo>
                    <a:lnTo>
                      <a:pt x="482" y="34"/>
                    </a:lnTo>
                    <a:lnTo>
                      <a:pt x="482" y="35"/>
                    </a:lnTo>
                    <a:lnTo>
                      <a:pt x="482" y="37"/>
                    </a:lnTo>
                    <a:lnTo>
                      <a:pt x="483" y="37"/>
                    </a:lnTo>
                    <a:lnTo>
                      <a:pt x="485" y="37"/>
                    </a:lnTo>
                    <a:lnTo>
                      <a:pt x="485" y="39"/>
                    </a:lnTo>
                    <a:lnTo>
                      <a:pt x="485" y="41"/>
                    </a:lnTo>
                    <a:lnTo>
                      <a:pt x="487" y="42"/>
                    </a:lnTo>
                    <a:lnTo>
                      <a:pt x="487" y="44"/>
                    </a:lnTo>
                    <a:lnTo>
                      <a:pt x="488" y="44"/>
                    </a:lnTo>
                    <a:lnTo>
                      <a:pt x="488" y="46"/>
                    </a:lnTo>
                    <a:lnTo>
                      <a:pt x="487" y="46"/>
                    </a:lnTo>
                    <a:lnTo>
                      <a:pt x="487" y="47"/>
                    </a:lnTo>
                    <a:lnTo>
                      <a:pt x="487" y="49"/>
                    </a:lnTo>
                    <a:lnTo>
                      <a:pt x="485" y="49"/>
                    </a:lnTo>
                    <a:lnTo>
                      <a:pt x="485" y="51"/>
                    </a:lnTo>
                    <a:lnTo>
                      <a:pt x="485" y="49"/>
                    </a:lnTo>
                    <a:lnTo>
                      <a:pt x="485" y="51"/>
                    </a:lnTo>
                    <a:lnTo>
                      <a:pt x="483" y="51"/>
                    </a:lnTo>
                    <a:lnTo>
                      <a:pt x="483" y="52"/>
                    </a:lnTo>
                    <a:lnTo>
                      <a:pt x="482" y="54"/>
                    </a:lnTo>
                    <a:lnTo>
                      <a:pt x="480" y="56"/>
                    </a:lnTo>
                    <a:lnTo>
                      <a:pt x="478" y="56"/>
                    </a:lnTo>
                    <a:lnTo>
                      <a:pt x="478" y="58"/>
                    </a:lnTo>
                    <a:lnTo>
                      <a:pt x="476" y="58"/>
                    </a:lnTo>
                    <a:lnTo>
                      <a:pt x="478" y="58"/>
                    </a:lnTo>
                    <a:lnTo>
                      <a:pt x="476" y="58"/>
                    </a:lnTo>
                    <a:lnTo>
                      <a:pt x="478" y="58"/>
                    </a:lnTo>
                    <a:lnTo>
                      <a:pt x="478" y="59"/>
                    </a:lnTo>
                    <a:lnTo>
                      <a:pt x="480" y="59"/>
                    </a:lnTo>
                    <a:lnTo>
                      <a:pt x="478" y="61"/>
                    </a:lnTo>
                    <a:lnTo>
                      <a:pt x="480" y="61"/>
                    </a:lnTo>
                    <a:lnTo>
                      <a:pt x="478" y="61"/>
                    </a:lnTo>
                    <a:lnTo>
                      <a:pt x="478" y="63"/>
                    </a:lnTo>
                    <a:lnTo>
                      <a:pt x="480" y="63"/>
                    </a:lnTo>
                    <a:lnTo>
                      <a:pt x="478" y="63"/>
                    </a:lnTo>
                    <a:lnTo>
                      <a:pt x="480" y="63"/>
                    </a:lnTo>
                    <a:lnTo>
                      <a:pt x="480" y="64"/>
                    </a:lnTo>
                    <a:lnTo>
                      <a:pt x="478" y="64"/>
                    </a:lnTo>
                    <a:lnTo>
                      <a:pt x="478" y="66"/>
                    </a:lnTo>
                    <a:lnTo>
                      <a:pt x="478" y="68"/>
                    </a:lnTo>
                    <a:lnTo>
                      <a:pt x="476" y="68"/>
                    </a:lnTo>
                    <a:lnTo>
                      <a:pt x="476" y="69"/>
                    </a:lnTo>
                    <a:lnTo>
                      <a:pt x="476" y="71"/>
                    </a:lnTo>
                    <a:lnTo>
                      <a:pt x="475" y="71"/>
                    </a:lnTo>
                    <a:lnTo>
                      <a:pt x="476" y="71"/>
                    </a:lnTo>
                    <a:lnTo>
                      <a:pt x="475" y="73"/>
                    </a:lnTo>
                    <a:lnTo>
                      <a:pt x="476" y="73"/>
                    </a:lnTo>
                    <a:lnTo>
                      <a:pt x="475" y="73"/>
                    </a:lnTo>
                    <a:lnTo>
                      <a:pt x="475" y="75"/>
                    </a:lnTo>
                    <a:lnTo>
                      <a:pt x="475" y="76"/>
                    </a:lnTo>
                    <a:lnTo>
                      <a:pt x="475" y="78"/>
                    </a:lnTo>
                    <a:lnTo>
                      <a:pt x="473" y="78"/>
                    </a:lnTo>
                    <a:lnTo>
                      <a:pt x="473" y="80"/>
                    </a:lnTo>
                    <a:lnTo>
                      <a:pt x="473" y="81"/>
                    </a:lnTo>
                    <a:lnTo>
                      <a:pt x="473" y="83"/>
                    </a:lnTo>
                    <a:lnTo>
                      <a:pt x="473" y="85"/>
                    </a:lnTo>
                    <a:lnTo>
                      <a:pt x="473" y="86"/>
                    </a:lnTo>
                    <a:lnTo>
                      <a:pt x="473" y="88"/>
                    </a:lnTo>
                    <a:lnTo>
                      <a:pt x="475" y="90"/>
                    </a:lnTo>
                    <a:lnTo>
                      <a:pt x="473" y="90"/>
                    </a:lnTo>
                    <a:lnTo>
                      <a:pt x="475" y="90"/>
                    </a:lnTo>
                    <a:lnTo>
                      <a:pt x="475" y="92"/>
                    </a:lnTo>
                    <a:lnTo>
                      <a:pt x="475" y="93"/>
                    </a:lnTo>
                    <a:lnTo>
                      <a:pt x="476" y="93"/>
                    </a:lnTo>
                    <a:lnTo>
                      <a:pt x="476" y="95"/>
                    </a:lnTo>
                    <a:lnTo>
                      <a:pt x="476" y="97"/>
                    </a:lnTo>
                    <a:lnTo>
                      <a:pt x="476" y="98"/>
                    </a:lnTo>
                    <a:lnTo>
                      <a:pt x="478" y="98"/>
                    </a:lnTo>
                    <a:lnTo>
                      <a:pt x="478" y="100"/>
                    </a:lnTo>
                    <a:lnTo>
                      <a:pt x="478" y="98"/>
                    </a:lnTo>
                    <a:lnTo>
                      <a:pt x="478" y="100"/>
                    </a:lnTo>
                    <a:lnTo>
                      <a:pt x="480" y="100"/>
                    </a:lnTo>
                    <a:lnTo>
                      <a:pt x="482" y="100"/>
                    </a:lnTo>
                    <a:lnTo>
                      <a:pt x="482" y="102"/>
                    </a:lnTo>
                    <a:lnTo>
                      <a:pt x="482" y="103"/>
                    </a:lnTo>
                    <a:lnTo>
                      <a:pt x="482" y="105"/>
                    </a:lnTo>
                    <a:lnTo>
                      <a:pt x="482" y="107"/>
                    </a:lnTo>
                    <a:lnTo>
                      <a:pt x="482" y="109"/>
                    </a:lnTo>
                    <a:lnTo>
                      <a:pt x="482" y="110"/>
                    </a:lnTo>
                    <a:lnTo>
                      <a:pt x="482" y="112"/>
                    </a:lnTo>
                    <a:lnTo>
                      <a:pt x="482" y="114"/>
                    </a:lnTo>
                    <a:lnTo>
                      <a:pt x="482" y="115"/>
                    </a:lnTo>
                    <a:lnTo>
                      <a:pt x="483" y="115"/>
                    </a:lnTo>
                    <a:lnTo>
                      <a:pt x="485" y="115"/>
                    </a:lnTo>
                    <a:lnTo>
                      <a:pt x="485" y="117"/>
                    </a:lnTo>
                    <a:lnTo>
                      <a:pt x="483" y="117"/>
                    </a:lnTo>
                    <a:lnTo>
                      <a:pt x="483" y="119"/>
                    </a:lnTo>
                    <a:lnTo>
                      <a:pt x="485" y="119"/>
                    </a:lnTo>
                    <a:lnTo>
                      <a:pt x="485" y="120"/>
                    </a:lnTo>
                    <a:lnTo>
                      <a:pt x="487" y="120"/>
                    </a:lnTo>
                    <a:lnTo>
                      <a:pt x="487" y="119"/>
                    </a:lnTo>
                    <a:lnTo>
                      <a:pt x="488" y="119"/>
                    </a:lnTo>
                    <a:lnTo>
                      <a:pt x="488" y="120"/>
                    </a:lnTo>
                    <a:lnTo>
                      <a:pt x="490" y="122"/>
                    </a:lnTo>
                    <a:lnTo>
                      <a:pt x="490" y="120"/>
                    </a:lnTo>
                    <a:lnTo>
                      <a:pt x="490" y="122"/>
                    </a:lnTo>
                    <a:lnTo>
                      <a:pt x="490" y="124"/>
                    </a:lnTo>
                    <a:lnTo>
                      <a:pt x="492" y="124"/>
                    </a:lnTo>
                    <a:lnTo>
                      <a:pt x="492" y="126"/>
                    </a:lnTo>
                    <a:lnTo>
                      <a:pt x="493" y="126"/>
                    </a:lnTo>
                    <a:lnTo>
                      <a:pt x="493" y="127"/>
                    </a:lnTo>
                    <a:lnTo>
                      <a:pt x="495" y="127"/>
                    </a:lnTo>
                    <a:lnTo>
                      <a:pt x="495" y="129"/>
                    </a:lnTo>
                    <a:lnTo>
                      <a:pt x="497" y="129"/>
                    </a:lnTo>
                    <a:lnTo>
                      <a:pt x="497" y="131"/>
                    </a:lnTo>
                    <a:lnTo>
                      <a:pt x="499" y="131"/>
                    </a:lnTo>
                    <a:lnTo>
                      <a:pt x="500" y="131"/>
                    </a:lnTo>
                    <a:lnTo>
                      <a:pt x="500" y="132"/>
                    </a:lnTo>
                    <a:lnTo>
                      <a:pt x="502" y="132"/>
                    </a:lnTo>
                    <a:lnTo>
                      <a:pt x="504" y="132"/>
                    </a:lnTo>
                    <a:lnTo>
                      <a:pt x="505" y="132"/>
                    </a:lnTo>
                    <a:lnTo>
                      <a:pt x="507" y="132"/>
                    </a:lnTo>
                    <a:lnTo>
                      <a:pt x="507" y="134"/>
                    </a:lnTo>
                    <a:lnTo>
                      <a:pt x="509" y="134"/>
                    </a:lnTo>
                    <a:lnTo>
                      <a:pt x="510" y="134"/>
                    </a:lnTo>
                    <a:lnTo>
                      <a:pt x="510" y="136"/>
                    </a:lnTo>
                    <a:lnTo>
                      <a:pt x="509" y="136"/>
                    </a:lnTo>
                    <a:lnTo>
                      <a:pt x="510" y="136"/>
                    </a:lnTo>
                    <a:lnTo>
                      <a:pt x="510" y="137"/>
                    </a:lnTo>
                    <a:lnTo>
                      <a:pt x="512" y="137"/>
                    </a:lnTo>
                    <a:lnTo>
                      <a:pt x="514" y="137"/>
                    </a:lnTo>
                    <a:lnTo>
                      <a:pt x="516" y="137"/>
                    </a:lnTo>
                    <a:lnTo>
                      <a:pt x="516" y="136"/>
                    </a:lnTo>
                    <a:lnTo>
                      <a:pt x="516" y="134"/>
                    </a:lnTo>
                    <a:lnTo>
                      <a:pt x="517" y="134"/>
                    </a:lnTo>
                    <a:lnTo>
                      <a:pt x="519" y="134"/>
                    </a:lnTo>
                    <a:lnTo>
                      <a:pt x="521" y="134"/>
                    </a:lnTo>
                    <a:lnTo>
                      <a:pt x="521" y="136"/>
                    </a:lnTo>
                    <a:lnTo>
                      <a:pt x="521" y="134"/>
                    </a:lnTo>
                    <a:lnTo>
                      <a:pt x="522" y="134"/>
                    </a:lnTo>
                    <a:lnTo>
                      <a:pt x="522" y="136"/>
                    </a:lnTo>
                    <a:lnTo>
                      <a:pt x="522" y="134"/>
                    </a:lnTo>
                    <a:lnTo>
                      <a:pt x="524" y="136"/>
                    </a:lnTo>
                    <a:lnTo>
                      <a:pt x="524" y="134"/>
                    </a:lnTo>
                    <a:lnTo>
                      <a:pt x="524" y="132"/>
                    </a:lnTo>
                    <a:lnTo>
                      <a:pt x="524" y="131"/>
                    </a:lnTo>
                    <a:lnTo>
                      <a:pt x="522" y="131"/>
                    </a:lnTo>
                    <a:lnTo>
                      <a:pt x="524" y="129"/>
                    </a:lnTo>
                    <a:lnTo>
                      <a:pt x="522" y="129"/>
                    </a:lnTo>
                    <a:lnTo>
                      <a:pt x="524" y="129"/>
                    </a:lnTo>
                    <a:lnTo>
                      <a:pt x="526" y="129"/>
                    </a:lnTo>
                    <a:lnTo>
                      <a:pt x="526" y="127"/>
                    </a:lnTo>
                    <a:lnTo>
                      <a:pt x="527" y="129"/>
                    </a:lnTo>
                    <a:lnTo>
                      <a:pt x="527" y="127"/>
                    </a:lnTo>
                    <a:lnTo>
                      <a:pt x="527" y="126"/>
                    </a:lnTo>
                    <a:lnTo>
                      <a:pt x="529" y="126"/>
                    </a:lnTo>
                    <a:lnTo>
                      <a:pt x="529" y="124"/>
                    </a:lnTo>
                    <a:lnTo>
                      <a:pt x="529" y="126"/>
                    </a:lnTo>
                    <a:lnTo>
                      <a:pt x="531" y="126"/>
                    </a:lnTo>
                    <a:lnTo>
                      <a:pt x="531" y="124"/>
                    </a:lnTo>
                    <a:lnTo>
                      <a:pt x="531" y="126"/>
                    </a:lnTo>
                    <a:lnTo>
                      <a:pt x="533" y="126"/>
                    </a:lnTo>
                    <a:lnTo>
                      <a:pt x="534" y="126"/>
                    </a:lnTo>
                    <a:lnTo>
                      <a:pt x="536" y="127"/>
                    </a:lnTo>
                    <a:lnTo>
                      <a:pt x="534" y="127"/>
                    </a:lnTo>
                    <a:lnTo>
                      <a:pt x="536" y="127"/>
                    </a:lnTo>
                    <a:lnTo>
                      <a:pt x="538" y="127"/>
                    </a:lnTo>
                    <a:lnTo>
                      <a:pt x="538" y="126"/>
                    </a:lnTo>
                    <a:lnTo>
                      <a:pt x="539" y="127"/>
                    </a:lnTo>
                    <a:lnTo>
                      <a:pt x="539" y="126"/>
                    </a:lnTo>
                    <a:lnTo>
                      <a:pt x="541" y="126"/>
                    </a:lnTo>
                    <a:lnTo>
                      <a:pt x="541" y="124"/>
                    </a:lnTo>
                    <a:lnTo>
                      <a:pt x="541" y="122"/>
                    </a:lnTo>
                    <a:lnTo>
                      <a:pt x="539" y="122"/>
                    </a:lnTo>
                    <a:lnTo>
                      <a:pt x="541" y="122"/>
                    </a:lnTo>
                    <a:lnTo>
                      <a:pt x="543" y="122"/>
                    </a:lnTo>
                    <a:lnTo>
                      <a:pt x="544" y="122"/>
                    </a:lnTo>
                    <a:lnTo>
                      <a:pt x="544" y="120"/>
                    </a:lnTo>
                    <a:lnTo>
                      <a:pt x="544" y="122"/>
                    </a:lnTo>
                    <a:lnTo>
                      <a:pt x="546" y="120"/>
                    </a:lnTo>
                    <a:lnTo>
                      <a:pt x="548" y="120"/>
                    </a:lnTo>
                    <a:lnTo>
                      <a:pt x="548" y="119"/>
                    </a:lnTo>
                    <a:lnTo>
                      <a:pt x="548" y="120"/>
                    </a:lnTo>
                    <a:lnTo>
                      <a:pt x="550" y="119"/>
                    </a:lnTo>
                    <a:lnTo>
                      <a:pt x="550" y="120"/>
                    </a:lnTo>
                    <a:lnTo>
                      <a:pt x="550" y="119"/>
                    </a:lnTo>
                    <a:lnTo>
                      <a:pt x="550" y="120"/>
                    </a:lnTo>
                    <a:lnTo>
                      <a:pt x="551" y="120"/>
                    </a:lnTo>
                    <a:lnTo>
                      <a:pt x="553" y="120"/>
                    </a:lnTo>
                    <a:lnTo>
                      <a:pt x="555" y="120"/>
                    </a:lnTo>
                    <a:lnTo>
                      <a:pt x="556" y="120"/>
                    </a:lnTo>
                    <a:lnTo>
                      <a:pt x="556" y="119"/>
                    </a:lnTo>
                    <a:lnTo>
                      <a:pt x="556" y="117"/>
                    </a:lnTo>
                    <a:lnTo>
                      <a:pt x="558" y="117"/>
                    </a:lnTo>
                    <a:lnTo>
                      <a:pt x="560" y="115"/>
                    </a:lnTo>
                    <a:lnTo>
                      <a:pt x="558" y="115"/>
                    </a:lnTo>
                    <a:lnTo>
                      <a:pt x="560" y="115"/>
                    </a:lnTo>
                    <a:lnTo>
                      <a:pt x="560" y="114"/>
                    </a:lnTo>
                    <a:lnTo>
                      <a:pt x="561" y="112"/>
                    </a:lnTo>
                    <a:lnTo>
                      <a:pt x="561" y="114"/>
                    </a:lnTo>
                    <a:lnTo>
                      <a:pt x="561" y="112"/>
                    </a:lnTo>
                    <a:lnTo>
                      <a:pt x="561" y="110"/>
                    </a:lnTo>
                    <a:lnTo>
                      <a:pt x="563" y="110"/>
                    </a:lnTo>
                    <a:lnTo>
                      <a:pt x="565" y="110"/>
                    </a:lnTo>
                    <a:lnTo>
                      <a:pt x="565" y="112"/>
                    </a:lnTo>
                    <a:lnTo>
                      <a:pt x="567" y="112"/>
                    </a:lnTo>
                    <a:lnTo>
                      <a:pt x="567" y="110"/>
                    </a:lnTo>
                    <a:lnTo>
                      <a:pt x="568" y="110"/>
                    </a:lnTo>
                    <a:lnTo>
                      <a:pt x="570" y="110"/>
                    </a:lnTo>
                    <a:lnTo>
                      <a:pt x="570" y="109"/>
                    </a:lnTo>
                    <a:lnTo>
                      <a:pt x="570" y="110"/>
                    </a:lnTo>
                    <a:lnTo>
                      <a:pt x="572" y="110"/>
                    </a:lnTo>
                    <a:lnTo>
                      <a:pt x="572" y="112"/>
                    </a:lnTo>
                    <a:lnTo>
                      <a:pt x="573" y="112"/>
                    </a:lnTo>
                    <a:lnTo>
                      <a:pt x="573" y="114"/>
                    </a:lnTo>
                    <a:lnTo>
                      <a:pt x="575" y="114"/>
                    </a:lnTo>
                    <a:lnTo>
                      <a:pt x="577" y="112"/>
                    </a:lnTo>
                    <a:lnTo>
                      <a:pt x="577" y="114"/>
                    </a:lnTo>
                    <a:lnTo>
                      <a:pt x="578" y="114"/>
                    </a:lnTo>
                    <a:lnTo>
                      <a:pt x="580" y="114"/>
                    </a:lnTo>
                    <a:lnTo>
                      <a:pt x="580" y="115"/>
                    </a:lnTo>
                    <a:lnTo>
                      <a:pt x="582" y="115"/>
                    </a:lnTo>
                    <a:lnTo>
                      <a:pt x="582" y="114"/>
                    </a:lnTo>
                    <a:lnTo>
                      <a:pt x="584" y="112"/>
                    </a:lnTo>
                    <a:lnTo>
                      <a:pt x="584" y="114"/>
                    </a:lnTo>
                    <a:lnTo>
                      <a:pt x="585" y="114"/>
                    </a:lnTo>
                    <a:lnTo>
                      <a:pt x="585" y="112"/>
                    </a:lnTo>
                    <a:lnTo>
                      <a:pt x="587" y="112"/>
                    </a:lnTo>
                    <a:lnTo>
                      <a:pt x="589" y="114"/>
                    </a:lnTo>
                    <a:lnTo>
                      <a:pt x="590" y="112"/>
                    </a:lnTo>
                    <a:lnTo>
                      <a:pt x="592" y="112"/>
                    </a:lnTo>
                    <a:lnTo>
                      <a:pt x="594" y="112"/>
                    </a:lnTo>
                    <a:lnTo>
                      <a:pt x="594" y="114"/>
                    </a:lnTo>
                    <a:lnTo>
                      <a:pt x="594" y="112"/>
                    </a:lnTo>
                    <a:lnTo>
                      <a:pt x="595" y="112"/>
                    </a:lnTo>
                    <a:lnTo>
                      <a:pt x="597" y="112"/>
                    </a:lnTo>
                    <a:lnTo>
                      <a:pt x="597" y="114"/>
                    </a:lnTo>
                    <a:lnTo>
                      <a:pt x="599" y="114"/>
                    </a:lnTo>
                    <a:lnTo>
                      <a:pt x="601" y="114"/>
                    </a:lnTo>
                    <a:lnTo>
                      <a:pt x="602" y="114"/>
                    </a:lnTo>
                    <a:lnTo>
                      <a:pt x="604" y="115"/>
                    </a:lnTo>
                    <a:lnTo>
                      <a:pt x="606" y="115"/>
                    </a:lnTo>
                    <a:lnTo>
                      <a:pt x="607" y="115"/>
                    </a:lnTo>
                    <a:lnTo>
                      <a:pt x="609" y="115"/>
                    </a:lnTo>
                    <a:lnTo>
                      <a:pt x="611" y="114"/>
                    </a:lnTo>
                    <a:lnTo>
                      <a:pt x="611" y="112"/>
                    </a:lnTo>
                    <a:lnTo>
                      <a:pt x="609" y="110"/>
                    </a:lnTo>
                    <a:lnTo>
                      <a:pt x="611" y="110"/>
                    </a:lnTo>
                    <a:lnTo>
                      <a:pt x="611" y="109"/>
                    </a:lnTo>
                    <a:lnTo>
                      <a:pt x="611" y="107"/>
                    </a:lnTo>
                    <a:lnTo>
                      <a:pt x="609" y="107"/>
                    </a:lnTo>
                    <a:lnTo>
                      <a:pt x="609" y="105"/>
                    </a:lnTo>
                    <a:lnTo>
                      <a:pt x="607" y="105"/>
                    </a:lnTo>
                    <a:lnTo>
                      <a:pt x="606" y="105"/>
                    </a:lnTo>
                    <a:lnTo>
                      <a:pt x="606" y="103"/>
                    </a:lnTo>
                    <a:lnTo>
                      <a:pt x="606" y="102"/>
                    </a:lnTo>
                    <a:lnTo>
                      <a:pt x="604" y="102"/>
                    </a:lnTo>
                    <a:lnTo>
                      <a:pt x="602" y="102"/>
                    </a:lnTo>
                    <a:lnTo>
                      <a:pt x="604" y="100"/>
                    </a:lnTo>
                    <a:lnTo>
                      <a:pt x="604" y="98"/>
                    </a:lnTo>
                    <a:lnTo>
                      <a:pt x="606" y="98"/>
                    </a:lnTo>
                    <a:lnTo>
                      <a:pt x="607" y="98"/>
                    </a:lnTo>
                    <a:lnTo>
                      <a:pt x="606" y="98"/>
                    </a:lnTo>
                    <a:lnTo>
                      <a:pt x="607" y="97"/>
                    </a:lnTo>
                    <a:lnTo>
                      <a:pt x="607" y="95"/>
                    </a:lnTo>
                    <a:lnTo>
                      <a:pt x="607" y="93"/>
                    </a:lnTo>
                    <a:lnTo>
                      <a:pt x="609" y="93"/>
                    </a:lnTo>
                    <a:lnTo>
                      <a:pt x="607" y="93"/>
                    </a:lnTo>
                    <a:lnTo>
                      <a:pt x="609" y="93"/>
                    </a:lnTo>
                    <a:lnTo>
                      <a:pt x="609" y="92"/>
                    </a:lnTo>
                    <a:lnTo>
                      <a:pt x="611" y="92"/>
                    </a:lnTo>
                    <a:lnTo>
                      <a:pt x="611" y="93"/>
                    </a:lnTo>
                    <a:lnTo>
                      <a:pt x="612" y="93"/>
                    </a:lnTo>
                    <a:lnTo>
                      <a:pt x="612" y="95"/>
                    </a:lnTo>
                    <a:lnTo>
                      <a:pt x="614" y="95"/>
                    </a:lnTo>
                    <a:lnTo>
                      <a:pt x="616" y="95"/>
                    </a:lnTo>
                    <a:lnTo>
                      <a:pt x="616" y="97"/>
                    </a:lnTo>
                    <a:lnTo>
                      <a:pt x="618" y="97"/>
                    </a:lnTo>
                    <a:lnTo>
                      <a:pt x="619" y="97"/>
                    </a:lnTo>
                    <a:lnTo>
                      <a:pt x="621" y="97"/>
                    </a:lnTo>
                    <a:lnTo>
                      <a:pt x="621" y="95"/>
                    </a:lnTo>
                    <a:lnTo>
                      <a:pt x="623" y="95"/>
                    </a:lnTo>
                    <a:lnTo>
                      <a:pt x="623" y="97"/>
                    </a:lnTo>
                    <a:lnTo>
                      <a:pt x="623" y="95"/>
                    </a:lnTo>
                    <a:lnTo>
                      <a:pt x="624" y="95"/>
                    </a:lnTo>
                    <a:lnTo>
                      <a:pt x="626" y="95"/>
                    </a:lnTo>
                    <a:lnTo>
                      <a:pt x="628" y="95"/>
                    </a:lnTo>
                    <a:lnTo>
                      <a:pt x="628" y="97"/>
                    </a:lnTo>
                    <a:lnTo>
                      <a:pt x="629" y="97"/>
                    </a:lnTo>
                    <a:lnTo>
                      <a:pt x="629" y="95"/>
                    </a:lnTo>
                    <a:lnTo>
                      <a:pt x="629" y="93"/>
                    </a:lnTo>
                    <a:lnTo>
                      <a:pt x="631" y="93"/>
                    </a:lnTo>
                    <a:lnTo>
                      <a:pt x="633" y="93"/>
                    </a:lnTo>
                    <a:lnTo>
                      <a:pt x="635" y="93"/>
                    </a:lnTo>
                    <a:lnTo>
                      <a:pt x="635" y="92"/>
                    </a:lnTo>
                    <a:lnTo>
                      <a:pt x="636" y="92"/>
                    </a:lnTo>
                    <a:lnTo>
                      <a:pt x="638" y="92"/>
                    </a:lnTo>
                    <a:lnTo>
                      <a:pt x="638" y="93"/>
                    </a:lnTo>
                    <a:lnTo>
                      <a:pt x="638" y="92"/>
                    </a:lnTo>
                    <a:lnTo>
                      <a:pt x="640" y="92"/>
                    </a:lnTo>
                    <a:lnTo>
                      <a:pt x="641" y="92"/>
                    </a:lnTo>
                    <a:lnTo>
                      <a:pt x="641" y="90"/>
                    </a:lnTo>
                    <a:lnTo>
                      <a:pt x="643" y="90"/>
                    </a:lnTo>
                    <a:lnTo>
                      <a:pt x="643" y="92"/>
                    </a:lnTo>
                    <a:lnTo>
                      <a:pt x="643" y="93"/>
                    </a:lnTo>
                    <a:lnTo>
                      <a:pt x="645" y="93"/>
                    </a:lnTo>
                    <a:lnTo>
                      <a:pt x="645" y="95"/>
                    </a:lnTo>
                    <a:lnTo>
                      <a:pt x="646" y="95"/>
                    </a:lnTo>
                    <a:lnTo>
                      <a:pt x="648" y="95"/>
                    </a:lnTo>
                    <a:lnTo>
                      <a:pt x="650" y="95"/>
                    </a:lnTo>
                    <a:lnTo>
                      <a:pt x="652" y="95"/>
                    </a:lnTo>
                    <a:lnTo>
                      <a:pt x="652" y="97"/>
                    </a:lnTo>
                    <a:lnTo>
                      <a:pt x="652" y="98"/>
                    </a:lnTo>
                    <a:lnTo>
                      <a:pt x="653" y="98"/>
                    </a:lnTo>
                    <a:lnTo>
                      <a:pt x="655" y="98"/>
                    </a:lnTo>
                    <a:lnTo>
                      <a:pt x="655" y="100"/>
                    </a:lnTo>
                    <a:lnTo>
                      <a:pt x="657" y="100"/>
                    </a:lnTo>
                    <a:lnTo>
                      <a:pt x="657" y="102"/>
                    </a:lnTo>
                    <a:lnTo>
                      <a:pt x="658" y="102"/>
                    </a:lnTo>
                    <a:lnTo>
                      <a:pt x="660" y="103"/>
                    </a:lnTo>
                    <a:lnTo>
                      <a:pt x="662" y="103"/>
                    </a:lnTo>
                    <a:lnTo>
                      <a:pt x="663" y="103"/>
                    </a:lnTo>
                    <a:lnTo>
                      <a:pt x="663" y="105"/>
                    </a:lnTo>
                    <a:lnTo>
                      <a:pt x="665" y="105"/>
                    </a:lnTo>
                    <a:lnTo>
                      <a:pt x="667" y="105"/>
                    </a:lnTo>
                    <a:lnTo>
                      <a:pt x="669" y="105"/>
                    </a:lnTo>
                    <a:lnTo>
                      <a:pt x="670" y="105"/>
                    </a:lnTo>
                    <a:lnTo>
                      <a:pt x="670" y="107"/>
                    </a:lnTo>
                    <a:lnTo>
                      <a:pt x="672" y="107"/>
                    </a:lnTo>
                    <a:lnTo>
                      <a:pt x="672" y="105"/>
                    </a:lnTo>
                    <a:lnTo>
                      <a:pt x="672" y="103"/>
                    </a:lnTo>
                    <a:lnTo>
                      <a:pt x="674" y="103"/>
                    </a:lnTo>
                    <a:lnTo>
                      <a:pt x="675" y="103"/>
                    </a:lnTo>
                    <a:lnTo>
                      <a:pt x="677" y="103"/>
                    </a:lnTo>
                    <a:lnTo>
                      <a:pt x="677" y="102"/>
                    </a:lnTo>
                    <a:lnTo>
                      <a:pt x="677" y="100"/>
                    </a:lnTo>
                    <a:lnTo>
                      <a:pt x="677" y="102"/>
                    </a:lnTo>
                    <a:lnTo>
                      <a:pt x="679" y="102"/>
                    </a:lnTo>
                    <a:lnTo>
                      <a:pt x="679" y="100"/>
                    </a:lnTo>
                    <a:lnTo>
                      <a:pt x="680" y="100"/>
                    </a:lnTo>
                    <a:lnTo>
                      <a:pt x="682" y="100"/>
                    </a:lnTo>
                    <a:lnTo>
                      <a:pt x="680" y="100"/>
                    </a:lnTo>
                    <a:lnTo>
                      <a:pt x="680" y="98"/>
                    </a:lnTo>
                    <a:lnTo>
                      <a:pt x="682" y="98"/>
                    </a:lnTo>
                    <a:lnTo>
                      <a:pt x="684" y="98"/>
                    </a:lnTo>
                    <a:lnTo>
                      <a:pt x="684" y="100"/>
                    </a:lnTo>
                    <a:lnTo>
                      <a:pt x="686" y="100"/>
                    </a:lnTo>
                    <a:lnTo>
                      <a:pt x="687" y="100"/>
                    </a:lnTo>
                    <a:lnTo>
                      <a:pt x="689" y="100"/>
                    </a:lnTo>
                    <a:lnTo>
                      <a:pt x="689" y="102"/>
                    </a:lnTo>
                    <a:lnTo>
                      <a:pt x="691" y="102"/>
                    </a:lnTo>
                    <a:lnTo>
                      <a:pt x="692" y="102"/>
                    </a:lnTo>
                    <a:lnTo>
                      <a:pt x="694" y="100"/>
                    </a:lnTo>
                    <a:lnTo>
                      <a:pt x="696" y="100"/>
                    </a:lnTo>
                    <a:lnTo>
                      <a:pt x="697" y="100"/>
                    </a:lnTo>
                    <a:lnTo>
                      <a:pt x="699" y="100"/>
                    </a:lnTo>
                    <a:lnTo>
                      <a:pt x="701" y="100"/>
                    </a:lnTo>
                    <a:lnTo>
                      <a:pt x="701" y="102"/>
                    </a:lnTo>
                    <a:lnTo>
                      <a:pt x="701" y="103"/>
                    </a:lnTo>
                    <a:lnTo>
                      <a:pt x="703" y="103"/>
                    </a:lnTo>
                    <a:lnTo>
                      <a:pt x="704" y="103"/>
                    </a:lnTo>
                    <a:lnTo>
                      <a:pt x="706" y="102"/>
                    </a:lnTo>
                    <a:lnTo>
                      <a:pt x="706" y="103"/>
                    </a:lnTo>
                    <a:lnTo>
                      <a:pt x="708" y="103"/>
                    </a:lnTo>
                    <a:lnTo>
                      <a:pt x="709" y="103"/>
                    </a:lnTo>
                    <a:lnTo>
                      <a:pt x="709" y="105"/>
                    </a:lnTo>
                    <a:lnTo>
                      <a:pt x="711" y="105"/>
                    </a:lnTo>
                    <a:lnTo>
                      <a:pt x="711" y="103"/>
                    </a:lnTo>
                    <a:lnTo>
                      <a:pt x="713" y="103"/>
                    </a:lnTo>
                    <a:lnTo>
                      <a:pt x="713" y="102"/>
                    </a:lnTo>
                    <a:lnTo>
                      <a:pt x="714" y="102"/>
                    </a:lnTo>
                    <a:lnTo>
                      <a:pt x="714" y="100"/>
                    </a:lnTo>
                    <a:lnTo>
                      <a:pt x="716" y="100"/>
                    </a:lnTo>
                    <a:lnTo>
                      <a:pt x="718" y="98"/>
                    </a:lnTo>
                    <a:lnTo>
                      <a:pt x="720" y="98"/>
                    </a:lnTo>
                    <a:lnTo>
                      <a:pt x="721" y="98"/>
                    </a:lnTo>
                    <a:lnTo>
                      <a:pt x="721" y="97"/>
                    </a:lnTo>
                    <a:lnTo>
                      <a:pt x="721" y="95"/>
                    </a:lnTo>
                    <a:lnTo>
                      <a:pt x="723" y="95"/>
                    </a:lnTo>
                    <a:lnTo>
                      <a:pt x="721" y="95"/>
                    </a:lnTo>
                    <a:lnTo>
                      <a:pt x="723" y="95"/>
                    </a:lnTo>
                    <a:lnTo>
                      <a:pt x="723" y="93"/>
                    </a:lnTo>
                    <a:lnTo>
                      <a:pt x="725" y="93"/>
                    </a:lnTo>
                    <a:lnTo>
                      <a:pt x="725" y="92"/>
                    </a:lnTo>
                    <a:lnTo>
                      <a:pt x="725" y="90"/>
                    </a:lnTo>
                    <a:lnTo>
                      <a:pt x="725" y="88"/>
                    </a:lnTo>
                    <a:lnTo>
                      <a:pt x="725" y="86"/>
                    </a:lnTo>
                    <a:lnTo>
                      <a:pt x="726" y="86"/>
                    </a:lnTo>
                    <a:lnTo>
                      <a:pt x="726" y="85"/>
                    </a:lnTo>
                    <a:lnTo>
                      <a:pt x="726" y="83"/>
                    </a:lnTo>
                    <a:lnTo>
                      <a:pt x="728" y="83"/>
                    </a:lnTo>
                    <a:lnTo>
                      <a:pt x="728" y="81"/>
                    </a:lnTo>
                    <a:lnTo>
                      <a:pt x="728" y="80"/>
                    </a:lnTo>
                    <a:lnTo>
                      <a:pt x="730" y="80"/>
                    </a:lnTo>
                    <a:lnTo>
                      <a:pt x="730" y="78"/>
                    </a:lnTo>
                    <a:lnTo>
                      <a:pt x="730" y="76"/>
                    </a:lnTo>
                    <a:lnTo>
                      <a:pt x="731" y="76"/>
                    </a:lnTo>
                    <a:lnTo>
                      <a:pt x="731" y="75"/>
                    </a:lnTo>
                    <a:lnTo>
                      <a:pt x="731" y="73"/>
                    </a:lnTo>
                    <a:lnTo>
                      <a:pt x="731" y="71"/>
                    </a:lnTo>
                    <a:lnTo>
                      <a:pt x="733" y="71"/>
                    </a:lnTo>
                    <a:lnTo>
                      <a:pt x="733" y="69"/>
                    </a:lnTo>
                    <a:lnTo>
                      <a:pt x="733" y="68"/>
                    </a:lnTo>
                    <a:lnTo>
                      <a:pt x="735" y="68"/>
                    </a:lnTo>
                    <a:lnTo>
                      <a:pt x="737" y="68"/>
                    </a:lnTo>
                    <a:lnTo>
                      <a:pt x="737" y="66"/>
                    </a:lnTo>
                    <a:lnTo>
                      <a:pt x="737" y="64"/>
                    </a:lnTo>
                    <a:lnTo>
                      <a:pt x="738" y="64"/>
                    </a:lnTo>
                    <a:lnTo>
                      <a:pt x="738" y="63"/>
                    </a:lnTo>
                    <a:lnTo>
                      <a:pt x="738" y="61"/>
                    </a:lnTo>
                    <a:lnTo>
                      <a:pt x="740" y="61"/>
                    </a:lnTo>
                    <a:lnTo>
                      <a:pt x="740" y="59"/>
                    </a:lnTo>
                    <a:lnTo>
                      <a:pt x="742" y="59"/>
                    </a:lnTo>
                    <a:lnTo>
                      <a:pt x="742" y="58"/>
                    </a:lnTo>
                    <a:lnTo>
                      <a:pt x="742" y="56"/>
                    </a:lnTo>
                    <a:lnTo>
                      <a:pt x="743" y="56"/>
                    </a:lnTo>
                    <a:lnTo>
                      <a:pt x="743" y="54"/>
                    </a:lnTo>
                    <a:lnTo>
                      <a:pt x="743" y="52"/>
                    </a:lnTo>
                    <a:lnTo>
                      <a:pt x="745" y="52"/>
                    </a:lnTo>
                    <a:lnTo>
                      <a:pt x="745" y="51"/>
                    </a:lnTo>
                    <a:lnTo>
                      <a:pt x="747" y="49"/>
                    </a:lnTo>
                    <a:lnTo>
                      <a:pt x="748" y="47"/>
                    </a:lnTo>
                    <a:lnTo>
                      <a:pt x="750" y="47"/>
                    </a:lnTo>
                    <a:lnTo>
                      <a:pt x="750" y="46"/>
                    </a:lnTo>
                    <a:lnTo>
                      <a:pt x="750" y="44"/>
                    </a:lnTo>
                    <a:lnTo>
                      <a:pt x="752" y="42"/>
                    </a:lnTo>
                    <a:lnTo>
                      <a:pt x="754" y="42"/>
                    </a:lnTo>
                    <a:lnTo>
                      <a:pt x="754" y="41"/>
                    </a:lnTo>
                    <a:lnTo>
                      <a:pt x="755" y="41"/>
                    </a:lnTo>
                    <a:lnTo>
                      <a:pt x="755" y="39"/>
                    </a:lnTo>
                    <a:lnTo>
                      <a:pt x="755" y="37"/>
                    </a:lnTo>
                    <a:lnTo>
                      <a:pt x="757" y="37"/>
                    </a:lnTo>
                    <a:lnTo>
                      <a:pt x="755" y="35"/>
                    </a:lnTo>
                    <a:lnTo>
                      <a:pt x="757" y="35"/>
                    </a:lnTo>
                    <a:lnTo>
                      <a:pt x="757" y="34"/>
                    </a:lnTo>
                    <a:lnTo>
                      <a:pt x="757" y="35"/>
                    </a:lnTo>
                    <a:lnTo>
                      <a:pt x="759" y="37"/>
                    </a:lnTo>
                    <a:lnTo>
                      <a:pt x="759" y="39"/>
                    </a:lnTo>
                    <a:lnTo>
                      <a:pt x="759" y="41"/>
                    </a:lnTo>
                    <a:lnTo>
                      <a:pt x="760" y="41"/>
                    </a:lnTo>
                    <a:lnTo>
                      <a:pt x="760" y="42"/>
                    </a:lnTo>
                    <a:lnTo>
                      <a:pt x="760" y="44"/>
                    </a:lnTo>
                    <a:lnTo>
                      <a:pt x="762" y="44"/>
                    </a:lnTo>
                    <a:lnTo>
                      <a:pt x="760" y="44"/>
                    </a:lnTo>
                    <a:lnTo>
                      <a:pt x="760" y="42"/>
                    </a:lnTo>
                    <a:lnTo>
                      <a:pt x="760" y="41"/>
                    </a:lnTo>
                    <a:lnTo>
                      <a:pt x="760" y="39"/>
                    </a:lnTo>
                    <a:lnTo>
                      <a:pt x="759" y="39"/>
                    </a:lnTo>
                    <a:lnTo>
                      <a:pt x="759" y="37"/>
                    </a:lnTo>
                    <a:lnTo>
                      <a:pt x="759" y="35"/>
                    </a:lnTo>
                    <a:lnTo>
                      <a:pt x="759" y="34"/>
                    </a:lnTo>
                    <a:lnTo>
                      <a:pt x="757" y="34"/>
                    </a:lnTo>
                    <a:lnTo>
                      <a:pt x="757" y="32"/>
                    </a:lnTo>
                    <a:lnTo>
                      <a:pt x="757" y="30"/>
                    </a:lnTo>
                    <a:lnTo>
                      <a:pt x="757" y="29"/>
                    </a:lnTo>
                    <a:lnTo>
                      <a:pt x="759" y="29"/>
                    </a:lnTo>
                    <a:lnTo>
                      <a:pt x="759" y="27"/>
                    </a:lnTo>
                    <a:lnTo>
                      <a:pt x="760" y="29"/>
                    </a:lnTo>
                    <a:lnTo>
                      <a:pt x="762" y="29"/>
                    </a:lnTo>
                    <a:lnTo>
                      <a:pt x="762" y="30"/>
                    </a:lnTo>
                    <a:lnTo>
                      <a:pt x="764" y="30"/>
                    </a:lnTo>
                    <a:lnTo>
                      <a:pt x="764" y="32"/>
                    </a:lnTo>
                    <a:lnTo>
                      <a:pt x="765" y="32"/>
                    </a:lnTo>
                    <a:lnTo>
                      <a:pt x="765" y="34"/>
                    </a:lnTo>
                    <a:lnTo>
                      <a:pt x="767" y="34"/>
                    </a:lnTo>
                    <a:lnTo>
                      <a:pt x="767" y="35"/>
                    </a:lnTo>
                    <a:lnTo>
                      <a:pt x="769" y="37"/>
                    </a:lnTo>
                    <a:lnTo>
                      <a:pt x="769" y="39"/>
                    </a:lnTo>
                    <a:lnTo>
                      <a:pt x="771" y="39"/>
                    </a:lnTo>
                    <a:lnTo>
                      <a:pt x="771" y="41"/>
                    </a:lnTo>
                    <a:lnTo>
                      <a:pt x="771" y="42"/>
                    </a:lnTo>
                    <a:lnTo>
                      <a:pt x="771" y="44"/>
                    </a:lnTo>
                    <a:lnTo>
                      <a:pt x="771" y="46"/>
                    </a:lnTo>
                    <a:lnTo>
                      <a:pt x="771" y="47"/>
                    </a:lnTo>
                    <a:lnTo>
                      <a:pt x="771" y="49"/>
                    </a:lnTo>
                    <a:lnTo>
                      <a:pt x="771" y="51"/>
                    </a:lnTo>
                    <a:lnTo>
                      <a:pt x="771" y="52"/>
                    </a:lnTo>
                    <a:lnTo>
                      <a:pt x="769" y="54"/>
                    </a:lnTo>
                    <a:lnTo>
                      <a:pt x="771" y="52"/>
                    </a:lnTo>
                    <a:lnTo>
                      <a:pt x="771" y="51"/>
                    </a:lnTo>
                    <a:lnTo>
                      <a:pt x="771" y="49"/>
                    </a:lnTo>
                    <a:lnTo>
                      <a:pt x="771" y="47"/>
                    </a:lnTo>
                    <a:lnTo>
                      <a:pt x="772" y="47"/>
                    </a:lnTo>
                    <a:lnTo>
                      <a:pt x="772" y="46"/>
                    </a:lnTo>
                    <a:lnTo>
                      <a:pt x="774" y="46"/>
                    </a:lnTo>
                    <a:lnTo>
                      <a:pt x="774" y="47"/>
                    </a:lnTo>
                    <a:lnTo>
                      <a:pt x="774" y="49"/>
                    </a:lnTo>
                    <a:lnTo>
                      <a:pt x="774" y="51"/>
                    </a:lnTo>
                    <a:lnTo>
                      <a:pt x="774" y="52"/>
                    </a:lnTo>
                    <a:lnTo>
                      <a:pt x="774" y="54"/>
                    </a:lnTo>
                    <a:lnTo>
                      <a:pt x="774" y="56"/>
                    </a:lnTo>
                    <a:lnTo>
                      <a:pt x="774" y="58"/>
                    </a:lnTo>
                    <a:lnTo>
                      <a:pt x="774" y="59"/>
                    </a:lnTo>
                    <a:lnTo>
                      <a:pt x="774" y="61"/>
                    </a:lnTo>
                    <a:lnTo>
                      <a:pt x="772" y="61"/>
                    </a:lnTo>
                    <a:lnTo>
                      <a:pt x="774" y="63"/>
                    </a:lnTo>
                    <a:lnTo>
                      <a:pt x="774" y="64"/>
                    </a:lnTo>
                    <a:lnTo>
                      <a:pt x="774" y="66"/>
                    </a:lnTo>
                    <a:lnTo>
                      <a:pt x="774" y="68"/>
                    </a:lnTo>
                    <a:lnTo>
                      <a:pt x="776" y="68"/>
                    </a:lnTo>
                    <a:lnTo>
                      <a:pt x="776" y="69"/>
                    </a:lnTo>
                    <a:lnTo>
                      <a:pt x="776" y="71"/>
                    </a:lnTo>
                    <a:lnTo>
                      <a:pt x="776" y="73"/>
                    </a:lnTo>
                    <a:lnTo>
                      <a:pt x="776" y="75"/>
                    </a:lnTo>
                    <a:lnTo>
                      <a:pt x="776" y="76"/>
                    </a:lnTo>
                    <a:lnTo>
                      <a:pt x="777" y="76"/>
                    </a:lnTo>
                    <a:lnTo>
                      <a:pt x="777" y="78"/>
                    </a:lnTo>
                    <a:lnTo>
                      <a:pt x="777" y="80"/>
                    </a:lnTo>
                    <a:lnTo>
                      <a:pt x="779" y="81"/>
                    </a:lnTo>
                    <a:lnTo>
                      <a:pt x="777" y="81"/>
                    </a:lnTo>
                    <a:lnTo>
                      <a:pt x="779" y="83"/>
                    </a:lnTo>
                    <a:lnTo>
                      <a:pt x="779" y="85"/>
                    </a:lnTo>
                    <a:lnTo>
                      <a:pt x="781" y="85"/>
                    </a:lnTo>
                    <a:lnTo>
                      <a:pt x="781" y="86"/>
                    </a:lnTo>
                    <a:lnTo>
                      <a:pt x="781" y="88"/>
                    </a:lnTo>
                    <a:lnTo>
                      <a:pt x="782" y="88"/>
                    </a:lnTo>
                    <a:lnTo>
                      <a:pt x="782" y="90"/>
                    </a:lnTo>
                    <a:lnTo>
                      <a:pt x="782" y="92"/>
                    </a:lnTo>
                    <a:lnTo>
                      <a:pt x="782" y="93"/>
                    </a:lnTo>
                    <a:lnTo>
                      <a:pt x="781" y="93"/>
                    </a:lnTo>
                    <a:lnTo>
                      <a:pt x="782" y="93"/>
                    </a:lnTo>
                    <a:lnTo>
                      <a:pt x="784" y="93"/>
                    </a:lnTo>
                    <a:lnTo>
                      <a:pt x="784" y="95"/>
                    </a:lnTo>
                    <a:lnTo>
                      <a:pt x="784" y="97"/>
                    </a:lnTo>
                    <a:lnTo>
                      <a:pt x="784" y="98"/>
                    </a:lnTo>
                    <a:lnTo>
                      <a:pt x="786" y="98"/>
                    </a:lnTo>
                    <a:lnTo>
                      <a:pt x="786" y="100"/>
                    </a:lnTo>
                    <a:lnTo>
                      <a:pt x="786" y="102"/>
                    </a:lnTo>
                    <a:lnTo>
                      <a:pt x="786" y="103"/>
                    </a:lnTo>
                    <a:lnTo>
                      <a:pt x="788" y="103"/>
                    </a:lnTo>
                    <a:lnTo>
                      <a:pt x="788" y="105"/>
                    </a:lnTo>
                    <a:lnTo>
                      <a:pt x="786" y="105"/>
                    </a:lnTo>
                    <a:lnTo>
                      <a:pt x="786" y="107"/>
                    </a:lnTo>
                    <a:lnTo>
                      <a:pt x="784" y="107"/>
                    </a:lnTo>
                    <a:lnTo>
                      <a:pt x="786" y="107"/>
                    </a:lnTo>
                    <a:lnTo>
                      <a:pt x="788" y="105"/>
                    </a:lnTo>
                    <a:lnTo>
                      <a:pt x="788" y="107"/>
                    </a:lnTo>
                    <a:lnTo>
                      <a:pt x="789" y="107"/>
                    </a:lnTo>
                    <a:lnTo>
                      <a:pt x="791" y="109"/>
                    </a:lnTo>
                    <a:lnTo>
                      <a:pt x="789" y="109"/>
                    </a:lnTo>
                    <a:lnTo>
                      <a:pt x="789" y="110"/>
                    </a:lnTo>
                    <a:lnTo>
                      <a:pt x="791" y="110"/>
                    </a:lnTo>
                    <a:lnTo>
                      <a:pt x="791" y="112"/>
                    </a:lnTo>
                    <a:lnTo>
                      <a:pt x="793" y="112"/>
                    </a:lnTo>
                    <a:lnTo>
                      <a:pt x="793" y="114"/>
                    </a:lnTo>
                    <a:lnTo>
                      <a:pt x="794" y="115"/>
                    </a:lnTo>
                    <a:lnTo>
                      <a:pt x="794" y="117"/>
                    </a:lnTo>
                    <a:lnTo>
                      <a:pt x="796" y="117"/>
                    </a:lnTo>
                    <a:lnTo>
                      <a:pt x="798" y="117"/>
                    </a:lnTo>
                    <a:lnTo>
                      <a:pt x="799" y="117"/>
                    </a:lnTo>
                    <a:lnTo>
                      <a:pt x="801" y="117"/>
                    </a:lnTo>
                    <a:lnTo>
                      <a:pt x="803" y="117"/>
                    </a:lnTo>
                    <a:lnTo>
                      <a:pt x="805" y="117"/>
                    </a:lnTo>
                    <a:lnTo>
                      <a:pt x="806" y="117"/>
                    </a:lnTo>
                    <a:lnTo>
                      <a:pt x="808" y="117"/>
                    </a:lnTo>
                    <a:lnTo>
                      <a:pt x="810" y="119"/>
                    </a:lnTo>
                    <a:lnTo>
                      <a:pt x="811" y="119"/>
                    </a:lnTo>
                    <a:lnTo>
                      <a:pt x="813" y="120"/>
                    </a:lnTo>
                    <a:lnTo>
                      <a:pt x="813" y="122"/>
                    </a:lnTo>
                    <a:lnTo>
                      <a:pt x="813" y="124"/>
                    </a:lnTo>
                    <a:lnTo>
                      <a:pt x="813" y="126"/>
                    </a:lnTo>
                    <a:lnTo>
                      <a:pt x="813" y="127"/>
                    </a:lnTo>
                    <a:lnTo>
                      <a:pt x="815" y="127"/>
                    </a:lnTo>
                    <a:lnTo>
                      <a:pt x="815" y="129"/>
                    </a:lnTo>
                    <a:lnTo>
                      <a:pt x="815" y="131"/>
                    </a:lnTo>
                    <a:lnTo>
                      <a:pt x="815" y="132"/>
                    </a:lnTo>
                    <a:lnTo>
                      <a:pt x="813" y="134"/>
                    </a:lnTo>
                    <a:lnTo>
                      <a:pt x="813" y="136"/>
                    </a:lnTo>
                    <a:lnTo>
                      <a:pt x="811" y="136"/>
                    </a:lnTo>
                    <a:lnTo>
                      <a:pt x="810" y="136"/>
                    </a:lnTo>
                    <a:lnTo>
                      <a:pt x="808" y="136"/>
                    </a:lnTo>
                    <a:lnTo>
                      <a:pt x="806" y="136"/>
                    </a:lnTo>
                    <a:lnTo>
                      <a:pt x="806" y="137"/>
                    </a:lnTo>
                    <a:lnTo>
                      <a:pt x="806" y="136"/>
                    </a:lnTo>
                    <a:lnTo>
                      <a:pt x="806" y="134"/>
                    </a:lnTo>
                    <a:lnTo>
                      <a:pt x="806" y="132"/>
                    </a:lnTo>
                    <a:lnTo>
                      <a:pt x="805" y="132"/>
                    </a:lnTo>
                    <a:lnTo>
                      <a:pt x="803" y="132"/>
                    </a:lnTo>
                    <a:lnTo>
                      <a:pt x="801" y="132"/>
                    </a:lnTo>
                    <a:lnTo>
                      <a:pt x="801" y="134"/>
                    </a:lnTo>
                    <a:lnTo>
                      <a:pt x="803" y="132"/>
                    </a:lnTo>
                    <a:lnTo>
                      <a:pt x="805" y="132"/>
                    </a:lnTo>
                    <a:lnTo>
                      <a:pt x="806" y="132"/>
                    </a:lnTo>
                    <a:lnTo>
                      <a:pt x="806" y="134"/>
                    </a:lnTo>
                    <a:lnTo>
                      <a:pt x="805" y="136"/>
                    </a:lnTo>
                    <a:lnTo>
                      <a:pt x="805" y="137"/>
                    </a:lnTo>
                    <a:lnTo>
                      <a:pt x="806" y="137"/>
                    </a:lnTo>
                    <a:lnTo>
                      <a:pt x="808" y="137"/>
                    </a:lnTo>
                    <a:lnTo>
                      <a:pt x="810" y="137"/>
                    </a:lnTo>
                    <a:lnTo>
                      <a:pt x="811" y="137"/>
                    </a:lnTo>
                    <a:lnTo>
                      <a:pt x="811" y="136"/>
                    </a:lnTo>
                    <a:lnTo>
                      <a:pt x="813" y="136"/>
                    </a:lnTo>
                    <a:lnTo>
                      <a:pt x="813" y="137"/>
                    </a:lnTo>
                    <a:lnTo>
                      <a:pt x="815" y="137"/>
                    </a:lnTo>
                    <a:lnTo>
                      <a:pt x="815" y="139"/>
                    </a:lnTo>
                    <a:lnTo>
                      <a:pt x="813" y="139"/>
                    </a:lnTo>
                    <a:lnTo>
                      <a:pt x="813" y="141"/>
                    </a:lnTo>
                    <a:lnTo>
                      <a:pt x="811" y="141"/>
                    </a:lnTo>
                    <a:lnTo>
                      <a:pt x="810" y="143"/>
                    </a:lnTo>
                    <a:lnTo>
                      <a:pt x="808" y="143"/>
                    </a:lnTo>
                    <a:lnTo>
                      <a:pt x="808" y="144"/>
                    </a:lnTo>
                    <a:lnTo>
                      <a:pt x="806" y="144"/>
                    </a:lnTo>
                    <a:lnTo>
                      <a:pt x="806" y="146"/>
                    </a:lnTo>
                    <a:lnTo>
                      <a:pt x="805" y="146"/>
                    </a:lnTo>
                    <a:lnTo>
                      <a:pt x="805" y="148"/>
                    </a:lnTo>
                    <a:lnTo>
                      <a:pt x="803" y="148"/>
                    </a:lnTo>
                    <a:lnTo>
                      <a:pt x="801" y="148"/>
                    </a:lnTo>
                    <a:lnTo>
                      <a:pt x="801" y="149"/>
                    </a:lnTo>
                    <a:lnTo>
                      <a:pt x="799" y="149"/>
                    </a:lnTo>
                    <a:lnTo>
                      <a:pt x="799" y="151"/>
                    </a:lnTo>
                    <a:lnTo>
                      <a:pt x="799" y="153"/>
                    </a:lnTo>
                    <a:lnTo>
                      <a:pt x="798" y="153"/>
                    </a:lnTo>
                    <a:lnTo>
                      <a:pt x="798" y="154"/>
                    </a:lnTo>
                    <a:lnTo>
                      <a:pt x="796" y="154"/>
                    </a:lnTo>
                    <a:lnTo>
                      <a:pt x="794" y="156"/>
                    </a:lnTo>
                    <a:lnTo>
                      <a:pt x="794" y="158"/>
                    </a:lnTo>
                    <a:lnTo>
                      <a:pt x="793" y="158"/>
                    </a:lnTo>
                    <a:lnTo>
                      <a:pt x="793" y="160"/>
                    </a:lnTo>
                    <a:lnTo>
                      <a:pt x="793" y="161"/>
                    </a:lnTo>
                    <a:lnTo>
                      <a:pt x="791" y="161"/>
                    </a:lnTo>
                    <a:lnTo>
                      <a:pt x="791" y="163"/>
                    </a:lnTo>
                    <a:lnTo>
                      <a:pt x="791" y="165"/>
                    </a:lnTo>
                    <a:lnTo>
                      <a:pt x="789" y="165"/>
                    </a:lnTo>
                    <a:lnTo>
                      <a:pt x="789" y="166"/>
                    </a:lnTo>
                    <a:lnTo>
                      <a:pt x="788" y="166"/>
                    </a:lnTo>
                    <a:lnTo>
                      <a:pt x="788" y="168"/>
                    </a:lnTo>
                    <a:lnTo>
                      <a:pt x="786" y="168"/>
                    </a:lnTo>
                    <a:lnTo>
                      <a:pt x="786" y="170"/>
                    </a:lnTo>
                    <a:lnTo>
                      <a:pt x="784" y="170"/>
                    </a:lnTo>
                    <a:lnTo>
                      <a:pt x="784" y="172"/>
                    </a:lnTo>
                    <a:lnTo>
                      <a:pt x="782" y="172"/>
                    </a:lnTo>
                    <a:lnTo>
                      <a:pt x="781" y="172"/>
                    </a:lnTo>
                    <a:lnTo>
                      <a:pt x="779" y="172"/>
                    </a:lnTo>
                    <a:lnTo>
                      <a:pt x="779" y="173"/>
                    </a:lnTo>
                    <a:lnTo>
                      <a:pt x="777" y="173"/>
                    </a:lnTo>
                    <a:lnTo>
                      <a:pt x="776" y="175"/>
                    </a:lnTo>
                    <a:lnTo>
                      <a:pt x="776" y="177"/>
                    </a:lnTo>
                    <a:lnTo>
                      <a:pt x="774" y="177"/>
                    </a:lnTo>
                    <a:lnTo>
                      <a:pt x="774" y="178"/>
                    </a:lnTo>
                    <a:lnTo>
                      <a:pt x="774" y="180"/>
                    </a:lnTo>
                    <a:lnTo>
                      <a:pt x="777" y="182"/>
                    </a:lnTo>
                    <a:lnTo>
                      <a:pt x="777" y="180"/>
                    </a:lnTo>
                    <a:lnTo>
                      <a:pt x="779" y="180"/>
                    </a:lnTo>
                    <a:lnTo>
                      <a:pt x="781" y="180"/>
                    </a:lnTo>
                    <a:lnTo>
                      <a:pt x="782" y="180"/>
                    </a:lnTo>
                    <a:lnTo>
                      <a:pt x="782" y="178"/>
                    </a:lnTo>
                    <a:lnTo>
                      <a:pt x="784" y="178"/>
                    </a:lnTo>
                    <a:lnTo>
                      <a:pt x="786" y="178"/>
                    </a:lnTo>
                    <a:lnTo>
                      <a:pt x="788" y="178"/>
                    </a:lnTo>
                    <a:lnTo>
                      <a:pt x="788" y="180"/>
                    </a:lnTo>
                    <a:lnTo>
                      <a:pt x="789" y="180"/>
                    </a:lnTo>
                    <a:lnTo>
                      <a:pt x="789" y="182"/>
                    </a:lnTo>
                    <a:lnTo>
                      <a:pt x="788" y="182"/>
                    </a:lnTo>
                    <a:lnTo>
                      <a:pt x="788" y="183"/>
                    </a:lnTo>
                    <a:lnTo>
                      <a:pt x="786" y="183"/>
                    </a:lnTo>
                    <a:lnTo>
                      <a:pt x="784" y="185"/>
                    </a:lnTo>
                    <a:lnTo>
                      <a:pt x="782" y="185"/>
                    </a:lnTo>
                    <a:lnTo>
                      <a:pt x="782" y="187"/>
                    </a:lnTo>
                    <a:lnTo>
                      <a:pt x="781" y="187"/>
                    </a:lnTo>
                    <a:lnTo>
                      <a:pt x="779" y="189"/>
                    </a:lnTo>
                    <a:lnTo>
                      <a:pt x="777" y="190"/>
                    </a:lnTo>
                    <a:lnTo>
                      <a:pt x="776" y="190"/>
                    </a:lnTo>
                    <a:lnTo>
                      <a:pt x="777" y="192"/>
                    </a:lnTo>
                    <a:lnTo>
                      <a:pt x="777" y="190"/>
                    </a:lnTo>
                    <a:lnTo>
                      <a:pt x="779" y="190"/>
                    </a:lnTo>
                    <a:lnTo>
                      <a:pt x="781" y="190"/>
                    </a:lnTo>
                    <a:lnTo>
                      <a:pt x="782" y="190"/>
                    </a:lnTo>
                    <a:lnTo>
                      <a:pt x="782" y="192"/>
                    </a:lnTo>
                    <a:lnTo>
                      <a:pt x="782" y="190"/>
                    </a:lnTo>
                    <a:lnTo>
                      <a:pt x="784" y="190"/>
                    </a:lnTo>
                    <a:lnTo>
                      <a:pt x="784" y="192"/>
                    </a:lnTo>
                    <a:lnTo>
                      <a:pt x="784" y="194"/>
                    </a:lnTo>
                    <a:lnTo>
                      <a:pt x="782" y="194"/>
                    </a:lnTo>
                    <a:lnTo>
                      <a:pt x="782" y="195"/>
                    </a:lnTo>
                    <a:lnTo>
                      <a:pt x="781" y="195"/>
                    </a:lnTo>
                    <a:lnTo>
                      <a:pt x="779" y="195"/>
                    </a:lnTo>
                    <a:lnTo>
                      <a:pt x="779" y="197"/>
                    </a:lnTo>
                    <a:lnTo>
                      <a:pt x="777" y="197"/>
                    </a:lnTo>
                    <a:lnTo>
                      <a:pt x="776" y="197"/>
                    </a:lnTo>
                    <a:lnTo>
                      <a:pt x="776" y="199"/>
                    </a:lnTo>
                    <a:lnTo>
                      <a:pt x="776" y="200"/>
                    </a:lnTo>
                    <a:lnTo>
                      <a:pt x="774" y="200"/>
                    </a:lnTo>
                    <a:lnTo>
                      <a:pt x="776" y="200"/>
                    </a:lnTo>
                    <a:lnTo>
                      <a:pt x="777" y="199"/>
                    </a:lnTo>
                    <a:lnTo>
                      <a:pt x="779" y="197"/>
                    </a:lnTo>
                    <a:lnTo>
                      <a:pt x="781" y="197"/>
                    </a:lnTo>
                    <a:lnTo>
                      <a:pt x="782" y="197"/>
                    </a:lnTo>
                    <a:lnTo>
                      <a:pt x="782" y="199"/>
                    </a:lnTo>
                    <a:lnTo>
                      <a:pt x="782" y="200"/>
                    </a:lnTo>
                    <a:lnTo>
                      <a:pt x="782" y="202"/>
                    </a:lnTo>
                    <a:lnTo>
                      <a:pt x="782" y="204"/>
                    </a:lnTo>
                    <a:lnTo>
                      <a:pt x="784" y="204"/>
                    </a:lnTo>
                    <a:lnTo>
                      <a:pt x="784" y="202"/>
                    </a:lnTo>
                    <a:lnTo>
                      <a:pt x="784" y="200"/>
                    </a:lnTo>
                    <a:lnTo>
                      <a:pt x="784" y="199"/>
                    </a:lnTo>
                    <a:lnTo>
                      <a:pt x="784" y="197"/>
                    </a:lnTo>
                    <a:lnTo>
                      <a:pt x="786" y="197"/>
                    </a:lnTo>
                    <a:lnTo>
                      <a:pt x="786" y="195"/>
                    </a:lnTo>
                    <a:lnTo>
                      <a:pt x="786" y="194"/>
                    </a:lnTo>
                    <a:lnTo>
                      <a:pt x="786" y="192"/>
                    </a:lnTo>
                    <a:lnTo>
                      <a:pt x="786" y="190"/>
                    </a:lnTo>
                    <a:lnTo>
                      <a:pt x="788" y="190"/>
                    </a:lnTo>
                    <a:lnTo>
                      <a:pt x="788" y="189"/>
                    </a:lnTo>
                    <a:lnTo>
                      <a:pt x="788" y="187"/>
                    </a:lnTo>
                    <a:lnTo>
                      <a:pt x="789" y="187"/>
                    </a:lnTo>
                    <a:lnTo>
                      <a:pt x="789" y="185"/>
                    </a:lnTo>
                    <a:lnTo>
                      <a:pt x="791" y="185"/>
                    </a:lnTo>
                    <a:lnTo>
                      <a:pt x="791" y="183"/>
                    </a:lnTo>
                    <a:lnTo>
                      <a:pt x="793" y="183"/>
                    </a:lnTo>
                    <a:lnTo>
                      <a:pt x="794" y="183"/>
                    </a:lnTo>
                    <a:lnTo>
                      <a:pt x="794" y="182"/>
                    </a:lnTo>
                    <a:lnTo>
                      <a:pt x="796" y="182"/>
                    </a:lnTo>
                    <a:lnTo>
                      <a:pt x="798" y="182"/>
                    </a:lnTo>
                    <a:lnTo>
                      <a:pt x="799" y="182"/>
                    </a:lnTo>
                    <a:lnTo>
                      <a:pt x="801" y="182"/>
                    </a:lnTo>
                    <a:lnTo>
                      <a:pt x="803" y="182"/>
                    </a:lnTo>
                    <a:lnTo>
                      <a:pt x="805" y="182"/>
                    </a:lnTo>
                    <a:lnTo>
                      <a:pt x="806" y="182"/>
                    </a:lnTo>
                    <a:lnTo>
                      <a:pt x="806" y="183"/>
                    </a:lnTo>
                    <a:lnTo>
                      <a:pt x="808" y="183"/>
                    </a:lnTo>
                    <a:lnTo>
                      <a:pt x="810" y="183"/>
                    </a:lnTo>
                    <a:lnTo>
                      <a:pt x="811" y="183"/>
                    </a:lnTo>
                    <a:lnTo>
                      <a:pt x="813" y="183"/>
                    </a:lnTo>
                    <a:lnTo>
                      <a:pt x="815" y="183"/>
                    </a:lnTo>
                    <a:lnTo>
                      <a:pt x="815" y="185"/>
                    </a:lnTo>
                    <a:lnTo>
                      <a:pt x="816" y="185"/>
                    </a:lnTo>
                    <a:lnTo>
                      <a:pt x="818" y="185"/>
                    </a:lnTo>
                    <a:lnTo>
                      <a:pt x="820" y="185"/>
                    </a:lnTo>
                    <a:lnTo>
                      <a:pt x="822" y="185"/>
                    </a:lnTo>
                    <a:lnTo>
                      <a:pt x="823" y="187"/>
                    </a:lnTo>
                    <a:lnTo>
                      <a:pt x="823" y="185"/>
                    </a:lnTo>
                    <a:lnTo>
                      <a:pt x="825" y="185"/>
                    </a:lnTo>
                    <a:lnTo>
                      <a:pt x="827" y="185"/>
                    </a:lnTo>
                    <a:lnTo>
                      <a:pt x="828" y="185"/>
                    </a:lnTo>
                    <a:lnTo>
                      <a:pt x="830" y="185"/>
                    </a:lnTo>
                    <a:lnTo>
                      <a:pt x="830" y="183"/>
                    </a:lnTo>
                    <a:lnTo>
                      <a:pt x="832" y="183"/>
                    </a:lnTo>
                    <a:lnTo>
                      <a:pt x="833" y="183"/>
                    </a:lnTo>
                    <a:lnTo>
                      <a:pt x="835" y="183"/>
                    </a:lnTo>
                    <a:lnTo>
                      <a:pt x="837" y="183"/>
                    </a:lnTo>
                    <a:lnTo>
                      <a:pt x="837" y="182"/>
                    </a:lnTo>
                    <a:lnTo>
                      <a:pt x="839" y="183"/>
                    </a:lnTo>
                    <a:lnTo>
                      <a:pt x="840" y="183"/>
                    </a:lnTo>
                    <a:lnTo>
                      <a:pt x="842" y="183"/>
                    </a:lnTo>
                    <a:lnTo>
                      <a:pt x="844" y="183"/>
                    </a:lnTo>
                    <a:lnTo>
                      <a:pt x="845" y="185"/>
                    </a:lnTo>
                    <a:lnTo>
                      <a:pt x="847" y="185"/>
                    </a:lnTo>
                    <a:lnTo>
                      <a:pt x="849" y="185"/>
                    </a:lnTo>
                    <a:lnTo>
                      <a:pt x="850" y="185"/>
                    </a:lnTo>
                    <a:lnTo>
                      <a:pt x="852" y="185"/>
                    </a:lnTo>
                    <a:lnTo>
                      <a:pt x="852" y="187"/>
                    </a:lnTo>
                    <a:lnTo>
                      <a:pt x="854" y="187"/>
                    </a:lnTo>
                    <a:lnTo>
                      <a:pt x="856" y="187"/>
                    </a:lnTo>
                    <a:lnTo>
                      <a:pt x="856" y="185"/>
                    </a:lnTo>
                    <a:lnTo>
                      <a:pt x="857" y="185"/>
                    </a:lnTo>
                    <a:lnTo>
                      <a:pt x="859" y="185"/>
                    </a:lnTo>
                    <a:lnTo>
                      <a:pt x="861" y="185"/>
                    </a:lnTo>
                    <a:lnTo>
                      <a:pt x="861" y="187"/>
                    </a:lnTo>
                    <a:lnTo>
                      <a:pt x="861" y="185"/>
                    </a:lnTo>
                    <a:lnTo>
                      <a:pt x="862" y="185"/>
                    </a:lnTo>
                    <a:lnTo>
                      <a:pt x="864" y="187"/>
                    </a:lnTo>
                    <a:lnTo>
                      <a:pt x="866" y="187"/>
                    </a:lnTo>
                    <a:lnTo>
                      <a:pt x="866" y="189"/>
                    </a:lnTo>
                    <a:lnTo>
                      <a:pt x="864" y="189"/>
                    </a:lnTo>
                    <a:lnTo>
                      <a:pt x="864" y="190"/>
                    </a:lnTo>
                    <a:lnTo>
                      <a:pt x="864" y="192"/>
                    </a:lnTo>
                    <a:lnTo>
                      <a:pt x="862" y="192"/>
                    </a:lnTo>
                    <a:lnTo>
                      <a:pt x="862" y="194"/>
                    </a:lnTo>
                    <a:lnTo>
                      <a:pt x="862" y="195"/>
                    </a:lnTo>
                    <a:lnTo>
                      <a:pt x="862" y="197"/>
                    </a:lnTo>
                    <a:lnTo>
                      <a:pt x="862" y="199"/>
                    </a:lnTo>
                    <a:lnTo>
                      <a:pt x="861" y="199"/>
                    </a:lnTo>
                    <a:lnTo>
                      <a:pt x="862" y="199"/>
                    </a:lnTo>
                    <a:lnTo>
                      <a:pt x="861" y="200"/>
                    </a:lnTo>
                    <a:lnTo>
                      <a:pt x="862" y="200"/>
                    </a:lnTo>
                    <a:lnTo>
                      <a:pt x="861" y="200"/>
                    </a:lnTo>
                    <a:lnTo>
                      <a:pt x="861" y="202"/>
                    </a:lnTo>
                    <a:lnTo>
                      <a:pt x="861" y="204"/>
                    </a:lnTo>
                    <a:lnTo>
                      <a:pt x="861" y="206"/>
                    </a:lnTo>
                    <a:lnTo>
                      <a:pt x="861" y="207"/>
                    </a:lnTo>
                    <a:lnTo>
                      <a:pt x="861" y="209"/>
                    </a:lnTo>
                    <a:lnTo>
                      <a:pt x="859" y="209"/>
                    </a:lnTo>
                    <a:lnTo>
                      <a:pt x="857" y="211"/>
                    </a:lnTo>
                    <a:lnTo>
                      <a:pt x="856" y="212"/>
                    </a:lnTo>
                    <a:lnTo>
                      <a:pt x="857" y="212"/>
                    </a:lnTo>
                    <a:lnTo>
                      <a:pt x="857" y="214"/>
                    </a:lnTo>
                    <a:lnTo>
                      <a:pt x="856" y="214"/>
                    </a:lnTo>
                    <a:lnTo>
                      <a:pt x="856" y="216"/>
                    </a:lnTo>
                    <a:lnTo>
                      <a:pt x="854" y="216"/>
                    </a:lnTo>
                    <a:lnTo>
                      <a:pt x="854" y="217"/>
                    </a:lnTo>
                    <a:lnTo>
                      <a:pt x="852" y="217"/>
                    </a:lnTo>
                    <a:lnTo>
                      <a:pt x="852" y="219"/>
                    </a:lnTo>
                    <a:lnTo>
                      <a:pt x="852" y="221"/>
                    </a:lnTo>
                    <a:lnTo>
                      <a:pt x="850" y="221"/>
                    </a:lnTo>
                    <a:lnTo>
                      <a:pt x="850" y="223"/>
                    </a:lnTo>
                    <a:lnTo>
                      <a:pt x="850" y="224"/>
                    </a:lnTo>
                    <a:lnTo>
                      <a:pt x="850" y="226"/>
                    </a:lnTo>
                    <a:lnTo>
                      <a:pt x="850" y="228"/>
                    </a:lnTo>
                    <a:lnTo>
                      <a:pt x="849" y="228"/>
                    </a:lnTo>
                    <a:lnTo>
                      <a:pt x="847" y="228"/>
                    </a:lnTo>
                    <a:lnTo>
                      <a:pt x="847" y="229"/>
                    </a:lnTo>
                    <a:lnTo>
                      <a:pt x="847" y="231"/>
                    </a:lnTo>
                    <a:lnTo>
                      <a:pt x="847" y="233"/>
                    </a:lnTo>
                    <a:lnTo>
                      <a:pt x="847" y="234"/>
                    </a:lnTo>
                    <a:lnTo>
                      <a:pt x="845" y="234"/>
                    </a:lnTo>
                    <a:lnTo>
                      <a:pt x="845" y="236"/>
                    </a:lnTo>
                    <a:lnTo>
                      <a:pt x="847" y="236"/>
                    </a:lnTo>
                    <a:lnTo>
                      <a:pt x="845" y="238"/>
                    </a:lnTo>
                    <a:lnTo>
                      <a:pt x="844" y="238"/>
                    </a:lnTo>
                    <a:lnTo>
                      <a:pt x="844" y="240"/>
                    </a:lnTo>
                    <a:lnTo>
                      <a:pt x="842" y="241"/>
                    </a:lnTo>
                    <a:lnTo>
                      <a:pt x="842" y="240"/>
                    </a:lnTo>
                    <a:lnTo>
                      <a:pt x="842" y="241"/>
                    </a:lnTo>
                    <a:lnTo>
                      <a:pt x="844" y="240"/>
                    </a:lnTo>
                    <a:lnTo>
                      <a:pt x="845" y="240"/>
                    </a:lnTo>
                    <a:lnTo>
                      <a:pt x="845" y="238"/>
                    </a:lnTo>
                    <a:lnTo>
                      <a:pt x="847" y="238"/>
                    </a:lnTo>
                    <a:lnTo>
                      <a:pt x="847" y="236"/>
                    </a:lnTo>
                    <a:lnTo>
                      <a:pt x="849" y="236"/>
                    </a:lnTo>
                    <a:lnTo>
                      <a:pt x="849" y="234"/>
                    </a:lnTo>
                    <a:lnTo>
                      <a:pt x="849" y="233"/>
                    </a:lnTo>
                    <a:lnTo>
                      <a:pt x="850" y="233"/>
                    </a:lnTo>
                    <a:lnTo>
                      <a:pt x="850" y="231"/>
                    </a:lnTo>
                    <a:lnTo>
                      <a:pt x="852" y="231"/>
                    </a:lnTo>
                    <a:lnTo>
                      <a:pt x="852" y="229"/>
                    </a:lnTo>
                    <a:lnTo>
                      <a:pt x="854" y="229"/>
                    </a:lnTo>
                    <a:lnTo>
                      <a:pt x="854" y="228"/>
                    </a:lnTo>
                    <a:lnTo>
                      <a:pt x="854" y="226"/>
                    </a:lnTo>
                    <a:lnTo>
                      <a:pt x="856" y="226"/>
                    </a:lnTo>
                    <a:lnTo>
                      <a:pt x="856" y="224"/>
                    </a:lnTo>
                    <a:lnTo>
                      <a:pt x="857" y="224"/>
                    </a:lnTo>
                    <a:lnTo>
                      <a:pt x="857" y="223"/>
                    </a:lnTo>
                    <a:lnTo>
                      <a:pt x="859" y="223"/>
                    </a:lnTo>
                    <a:lnTo>
                      <a:pt x="859" y="224"/>
                    </a:lnTo>
                    <a:lnTo>
                      <a:pt x="861" y="224"/>
                    </a:lnTo>
                    <a:lnTo>
                      <a:pt x="861" y="226"/>
                    </a:lnTo>
                    <a:lnTo>
                      <a:pt x="859" y="226"/>
                    </a:lnTo>
                    <a:lnTo>
                      <a:pt x="859" y="228"/>
                    </a:lnTo>
                    <a:lnTo>
                      <a:pt x="861" y="228"/>
                    </a:lnTo>
                    <a:lnTo>
                      <a:pt x="861" y="229"/>
                    </a:lnTo>
                    <a:lnTo>
                      <a:pt x="861" y="228"/>
                    </a:lnTo>
                    <a:lnTo>
                      <a:pt x="862" y="228"/>
                    </a:lnTo>
                    <a:lnTo>
                      <a:pt x="864" y="228"/>
                    </a:lnTo>
                    <a:lnTo>
                      <a:pt x="862" y="228"/>
                    </a:lnTo>
                    <a:lnTo>
                      <a:pt x="861" y="228"/>
                    </a:lnTo>
                    <a:lnTo>
                      <a:pt x="861" y="226"/>
                    </a:lnTo>
                    <a:lnTo>
                      <a:pt x="861" y="224"/>
                    </a:lnTo>
                    <a:lnTo>
                      <a:pt x="862" y="224"/>
                    </a:lnTo>
                    <a:lnTo>
                      <a:pt x="861" y="223"/>
                    </a:lnTo>
                    <a:lnTo>
                      <a:pt x="861" y="221"/>
                    </a:lnTo>
                    <a:lnTo>
                      <a:pt x="862" y="221"/>
                    </a:lnTo>
                    <a:lnTo>
                      <a:pt x="862" y="219"/>
                    </a:lnTo>
                    <a:lnTo>
                      <a:pt x="864" y="219"/>
                    </a:lnTo>
                    <a:lnTo>
                      <a:pt x="862" y="217"/>
                    </a:lnTo>
                    <a:lnTo>
                      <a:pt x="862" y="216"/>
                    </a:lnTo>
                    <a:lnTo>
                      <a:pt x="864" y="216"/>
                    </a:lnTo>
                    <a:lnTo>
                      <a:pt x="864" y="214"/>
                    </a:lnTo>
                    <a:lnTo>
                      <a:pt x="864" y="216"/>
                    </a:lnTo>
                    <a:lnTo>
                      <a:pt x="864" y="214"/>
                    </a:lnTo>
                    <a:lnTo>
                      <a:pt x="866" y="214"/>
                    </a:lnTo>
                    <a:lnTo>
                      <a:pt x="867" y="214"/>
                    </a:lnTo>
                    <a:lnTo>
                      <a:pt x="866" y="214"/>
                    </a:lnTo>
                    <a:lnTo>
                      <a:pt x="867" y="216"/>
                    </a:lnTo>
                    <a:lnTo>
                      <a:pt x="867" y="214"/>
                    </a:lnTo>
                    <a:lnTo>
                      <a:pt x="867" y="212"/>
                    </a:lnTo>
                    <a:lnTo>
                      <a:pt x="867" y="211"/>
                    </a:lnTo>
                    <a:lnTo>
                      <a:pt x="867" y="209"/>
                    </a:lnTo>
                    <a:lnTo>
                      <a:pt x="869" y="209"/>
                    </a:lnTo>
                    <a:lnTo>
                      <a:pt x="869" y="207"/>
                    </a:lnTo>
                    <a:lnTo>
                      <a:pt x="871" y="206"/>
                    </a:lnTo>
                    <a:lnTo>
                      <a:pt x="873" y="206"/>
                    </a:lnTo>
                    <a:lnTo>
                      <a:pt x="873" y="207"/>
                    </a:lnTo>
                    <a:lnTo>
                      <a:pt x="873" y="206"/>
                    </a:lnTo>
                    <a:lnTo>
                      <a:pt x="873" y="204"/>
                    </a:lnTo>
                    <a:lnTo>
                      <a:pt x="874" y="204"/>
                    </a:lnTo>
                    <a:lnTo>
                      <a:pt x="874" y="202"/>
                    </a:lnTo>
                    <a:lnTo>
                      <a:pt x="876" y="200"/>
                    </a:lnTo>
                    <a:lnTo>
                      <a:pt x="878" y="200"/>
                    </a:lnTo>
                    <a:lnTo>
                      <a:pt x="878" y="202"/>
                    </a:lnTo>
                    <a:lnTo>
                      <a:pt x="878" y="200"/>
                    </a:lnTo>
                    <a:lnTo>
                      <a:pt x="878" y="202"/>
                    </a:lnTo>
                    <a:lnTo>
                      <a:pt x="878" y="200"/>
                    </a:lnTo>
                    <a:lnTo>
                      <a:pt x="879" y="202"/>
                    </a:lnTo>
                    <a:lnTo>
                      <a:pt x="879" y="204"/>
                    </a:lnTo>
                    <a:lnTo>
                      <a:pt x="879" y="202"/>
                    </a:lnTo>
                    <a:lnTo>
                      <a:pt x="879" y="200"/>
                    </a:lnTo>
                    <a:lnTo>
                      <a:pt x="879" y="199"/>
                    </a:lnTo>
                    <a:lnTo>
                      <a:pt x="881" y="199"/>
                    </a:lnTo>
                    <a:lnTo>
                      <a:pt x="881" y="197"/>
                    </a:lnTo>
                    <a:lnTo>
                      <a:pt x="883" y="197"/>
                    </a:lnTo>
                    <a:lnTo>
                      <a:pt x="883" y="199"/>
                    </a:lnTo>
                    <a:lnTo>
                      <a:pt x="883" y="200"/>
                    </a:lnTo>
                    <a:lnTo>
                      <a:pt x="883" y="202"/>
                    </a:lnTo>
                    <a:lnTo>
                      <a:pt x="883" y="200"/>
                    </a:lnTo>
                    <a:lnTo>
                      <a:pt x="884" y="200"/>
                    </a:lnTo>
                    <a:lnTo>
                      <a:pt x="884" y="199"/>
                    </a:lnTo>
                    <a:lnTo>
                      <a:pt x="883" y="199"/>
                    </a:lnTo>
                    <a:lnTo>
                      <a:pt x="884" y="199"/>
                    </a:lnTo>
                    <a:lnTo>
                      <a:pt x="884" y="197"/>
                    </a:lnTo>
                    <a:lnTo>
                      <a:pt x="884" y="199"/>
                    </a:lnTo>
                    <a:lnTo>
                      <a:pt x="884" y="197"/>
                    </a:lnTo>
                    <a:lnTo>
                      <a:pt x="884" y="199"/>
                    </a:lnTo>
                    <a:lnTo>
                      <a:pt x="886" y="199"/>
                    </a:lnTo>
                    <a:lnTo>
                      <a:pt x="884" y="199"/>
                    </a:lnTo>
                    <a:lnTo>
                      <a:pt x="886" y="199"/>
                    </a:lnTo>
                    <a:lnTo>
                      <a:pt x="888" y="200"/>
                    </a:lnTo>
                    <a:lnTo>
                      <a:pt x="888" y="199"/>
                    </a:lnTo>
                    <a:lnTo>
                      <a:pt x="886" y="199"/>
                    </a:lnTo>
                    <a:lnTo>
                      <a:pt x="886" y="197"/>
                    </a:lnTo>
                    <a:lnTo>
                      <a:pt x="886" y="195"/>
                    </a:lnTo>
                    <a:lnTo>
                      <a:pt x="888" y="195"/>
                    </a:lnTo>
                    <a:lnTo>
                      <a:pt x="888" y="197"/>
                    </a:lnTo>
                    <a:lnTo>
                      <a:pt x="888" y="199"/>
                    </a:lnTo>
                    <a:lnTo>
                      <a:pt x="888" y="197"/>
                    </a:lnTo>
                    <a:lnTo>
                      <a:pt x="890" y="197"/>
                    </a:lnTo>
                    <a:lnTo>
                      <a:pt x="890" y="199"/>
                    </a:lnTo>
                    <a:lnTo>
                      <a:pt x="890" y="200"/>
                    </a:lnTo>
                    <a:lnTo>
                      <a:pt x="890" y="202"/>
                    </a:lnTo>
                    <a:lnTo>
                      <a:pt x="890" y="200"/>
                    </a:lnTo>
                    <a:lnTo>
                      <a:pt x="890" y="202"/>
                    </a:lnTo>
                    <a:lnTo>
                      <a:pt x="888" y="202"/>
                    </a:lnTo>
                    <a:lnTo>
                      <a:pt x="886" y="202"/>
                    </a:lnTo>
                    <a:lnTo>
                      <a:pt x="886" y="204"/>
                    </a:lnTo>
                    <a:lnTo>
                      <a:pt x="888" y="204"/>
                    </a:lnTo>
                    <a:lnTo>
                      <a:pt x="888" y="202"/>
                    </a:lnTo>
                    <a:lnTo>
                      <a:pt x="890" y="202"/>
                    </a:lnTo>
                    <a:lnTo>
                      <a:pt x="891" y="202"/>
                    </a:lnTo>
                    <a:lnTo>
                      <a:pt x="891" y="200"/>
                    </a:lnTo>
                    <a:lnTo>
                      <a:pt x="891" y="199"/>
                    </a:lnTo>
                    <a:lnTo>
                      <a:pt x="893" y="199"/>
                    </a:lnTo>
                    <a:lnTo>
                      <a:pt x="891" y="199"/>
                    </a:lnTo>
                    <a:lnTo>
                      <a:pt x="891" y="197"/>
                    </a:lnTo>
                    <a:lnTo>
                      <a:pt x="893" y="197"/>
                    </a:lnTo>
                    <a:lnTo>
                      <a:pt x="893" y="199"/>
                    </a:lnTo>
                    <a:lnTo>
                      <a:pt x="893" y="200"/>
                    </a:lnTo>
                    <a:lnTo>
                      <a:pt x="895" y="200"/>
                    </a:lnTo>
                    <a:lnTo>
                      <a:pt x="895" y="202"/>
                    </a:lnTo>
                    <a:lnTo>
                      <a:pt x="895" y="204"/>
                    </a:lnTo>
                    <a:lnTo>
                      <a:pt x="896" y="204"/>
                    </a:lnTo>
                    <a:lnTo>
                      <a:pt x="898" y="204"/>
                    </a:lnTo>
                    <a:lnTo>
                      <a:pt x="898" y="206"/>
                    </a:lnTo>
                    <a:lnTo>
                      <a:pt x="898" y="204"/>
                    </a:lnTo>
                    <a:lnTo>
                      <a:pt x="896" y="202"/>
                    </a:lnTo>
                    <a:lnTo>
                      <a:pt x="896" y="200"/>
                    </a:lnTo>
                    <a:lnTo>
                      <a:pt x="895" y="200"/>
                    </a:lnTo>
                    <a:lnTo>
                      <a:pt x="896" y="199"/>
                    </a:lnTo>
                    <a:lnTo>
                      <a:pt x="895" y="199"/>
                    </a:lnTo>
                    <a:lnTo>
                      <a:pt x="896" y="199"/>
                    </a:lnTo>
                    <a:lnTo>
                      <a:pt x="895" y="199"/>
                    </a:lnTo>
                    <a:lnTo>
                      <a:pt x="895" y="197"/>
                    </a:lnTo>
                    <a:lnTo>
                      <a:pt x="896" y="197"/>
                    </a:lnTo>
                    <a:lnTo>
                      <a:pt x="898" y="197"/>
                    </a:lnTo>
                    <a:lnTo>
                      <a:pt x="898" y="199"/>
                    </a:lnTo>
                    <a:lnTo>
                      <a:pt x="896" y="199"/>
                    </a:lnTo>
                    <a:lnTo>
                      <a:pt x="898" y="199"/>
                    </a:lnTo>
                    <a:lnTo>
                      <a:pt x="896" y="199"/>
                    </a:lnTo>
                    <a:lnTo>
                      <a:pt x="896" y="200"/>
                    </a:lnTo>
                    <a:lnTo>
                      <a:pt x="898" y="199"/>
                    </a:lnTo>
                    <a:lnTo>
                      <a:pt x="898" y="200"/>
                    </a:lnTo>
                    <a:lnTo>
                      <a:pt x="898" y="199"/>
                    </a:lnTo>
                    <a:lnTo>
                      <a:pt x="900" y="199"/>
                    </a:lnTo>
                    <a:lnTo>
                      <a:pt x="898" y="199"/>
                    </a:lnTo>
                    <a:lnTo>
                      <a:pt x="900" y="199"/>
                    </a:lnTo>
                    <a:lnTo>
                      <a:pt x="901" y="197"/>
                    </a:lnTo>
                    <a:lnTo>
                      <a:pt x="901" y="199"/>
                    </a:lnTo>
                    <a:lnTo>
                      <a:pt x="901" y="200"/>
                    </a:lnTo>
                    <a:lnTo>
                      <a:pt x="901" y="199"/>
                    </a:lnTo>
                    <a:lnTo>
                      <a:pt x="903" y="200"/>
                    </a:lnTo>
                    <a:lnTo>
                      <a:pt x="903" y="199"/>
                    </a:lnTo>
                    <a:lnTo>
                      <a:pt x="905" y="199"/>
                    </a:lnTo>
                    <a:lnTo>
                      <a:pt x="905" y="200"/>
                    </a:lnTo>
                    <a:lnTo>
                      <a:pt x="903" y="200"/>
                    </a:lnTo>
                    <a:lnTo>
                      <a:pt x="903" y="202"/>
                    </a:lnTo>
                    <a:lnTo>
                      <a:pt x="905" y="202"/>
                    </a:lnTo>
                    <a:lnTo>
                      <a:pt x="905" y="200"/>
                    </a:lnTo>
                    <a:lnTo>
                      <a:pt x="907" y="200"/>
                    </a:lnTo>
                    <a:lnTo>
                      <a:pt x="907" y="202"/>
                    </a:lnTo>
                    <a:lnTo>
                      <a:pt x="905" y="202"/>
                    </a:lnTo>
                    <a:lnTo>
                      <a:pt x="905" y="204"/>
                    </a:lnTo>
                    <a:lnTo>
                      <a:pt x="907" y="204"/>
                    </a:lnTo>
                    <a:lnTo>
                      <a:pt x="907" y="206"/>
                    </a:lnTo>
                    <a:lnTo>
                      <a:pt x="907" y="204"/>
                    </a:lnTo>
                    <a:lnTo>
                      <a:pt x="907" y="202"/>
                    </a:lnTo>
                    <a:lnTo>
                      <a:pt x="907" y="204"/>
                    </a:lnTo>
                    <a:lnTo>
                      <a:pt x="907" y="202"/>
                    </a:lnTo>
                    <a:lnTo>
                      <a:pt x="908" y="202"/>
                    </a:lnTo>
                    <a:lnTo>
                      <a:pt x="907" y="200"/>
                    </a:lnTo>
                    <a:lnTo>
                      <a:pt x="908" y="200"/>
                    </a:lnTo>
                    <a:lnTo>
                      <a:pt x="908" y="202"/>
                    </a:lnTo>
                    <a:lnTo>
                      <a:pt x="908" y="204"/>
                    </a:lnTo>
                    <a:lnTo>
                      <a:pt x="908" y="206"/>
                    </a:lnTo>
                    <a:lnTo>
                      <a:pt x="910" y="204"/>
                    </a:lnTo>
                    <a:lnTo>
                      <a:pt x="910" y="206"/>
                    </a:lnTo>
                    <a:lnTo>
                      <a:pt x="908" y="206"/>
                    </a:lnTo>
                    <a:lnTo>
                      <a:pt x="908" y="207"/>
                    </a:lnTo>
                    <a:lnTo>
                      <a:pt x="908" y="206"/>
                    </a:lnTo>
                    <a:lnTo>
                      <a:pt x="910" y="206"/>
                    </a:lnTo>
                    <a:lnTo>
                      <a:pt x="912" y="206"/>
                    </a:lnTo>
                    <a:lnTo>
                      <a:pt x="910" y="206"/>
                    </a:lnTo>
                    <a:lnTo>
                      <a:pt x="910" y="204"/>
                    </a:lnTo>
                    <a:lnTo>
                      <a:pt x="912" y="204"/>
                    </a:lnTo>
                    <a:lnTo>
                      <a:pt x="912" y="202"/>
                    </a:lnTo>
                    <a:lnTo>
                      <a:pt x="913" y="202"/>
                    </a:lnTo>
                    <a:lnTo>
                      <a:pt x="913" y="204"/>
                    </a:lnTo>
                    <a:lnTo>
                      <a:pt x="912" y="204"/>
                    </a:lnTo>
                    <a:lnTo>
                      <a:pt x="913" y="204"/>
                    </a:lnTo>
                    <a:lnTo>
                      <a:pt x="913" y="206"/>
                    </a:lnTo>
                    <a:lnTo>
                      <a:pt x="913" y="207"/>
                    </a:lnTo>
                    <a:lnTo>
                      <a:pt x="915" y="207"/>
                    </a:lnTo>
                    <a:lnTo>
                      <a:pt x="915" y="206"/>
                    </a:lnTo>
                    <a:lnTo>
                      <a:pt x="915" y="204"/>
                    </a:lnTo>
                    <a:lnTo>
                      <a:pt x="917" y="204"/>
                    </a:lnTo>
                    <a:lnTo>
                      <a:pt x="917" y="202"/>
                    </a:lnTo>
                    <a:lnTo>
                      <a:pt x="917" y="204"/>
                    </a:lnTo>
                    <a:lnTo>
                      <a:pt x="917" y="206"/>
                    </a:lnTo>
                    <a:lnTo>
                      <a:pt x="917" y="207"/>
                    </a:lnTo>
                    <a:lnTo>
                      <a:pt x="918" y="206"/>
                    </a:lnTo>
                    <a:lnTo>
                      <a:pt x="918" y="207"/>
                    </a:lnTo>
                    <a:lnTo>
                      <a:pt x="917" y="207"/>
                    </a:lnTo>
                    <a:lnTo>
                      <a:pt x="918" y="209"/>
                    </a:lnTo>
                    <a:lnTo>
                      <a:pt x="918" y="207"/>
                    </a:lnTo>
                    <a:lnTo>
                      <a:pt x="918" y="206"/>
                    </a:lnTo>
                    <a:lnTo>
                      <a:pt x="920" y="206"/>
                    </a:lnTo>
                    <a:lnTo>
                      <a:pt x="920" y="207"/>
                    </a:lnTo>
                    <a:lnTo>
                      <a:pt x="920" y="209"/>
                    </a:lnTo>
                    <a:lnTo>
                      <a:pt x="922" y="209"/>
                    </a:lnTo>
                    <a:lnTo>
                      <a:pt x="920" y="207"/>
                    </a:lnTo>
                    <a:lnTo>
                      <a:pt x="922" y="207"/>
                    </a:lnTo>
                    <a:lnTo>
                      <a:pt x="922" y="206"/>
                    </a:lnTo>
                    <a:lnTo>
                      <a:pt x="922" y="207"/>
                    </a:lnTo>
                    <a:lnTo>
                      <a:pt x="924" y="207"/>
                    </a:lnTo>
                    <a:lnTo>
                      <a:pt x="922" y="206"/>
                    </a:lnTo>
                    <a:lnTo>
                      <a:pt x="924" y="206"/>
                    </a:lnTo>
                    <a:lnTo>
                      <a:pt x="922" y="204"/>
                    </a:lnTo>
                    <a:lnTo>
                      <a:pt x="924" y="204"/>
                    </a:lnTo>
                    <a:lnTo>
                      <a:pt x="924" y="206"/>
                    </a:lnTo>
                    <a:lnTo>
                      <a:pt x="925" y="206"/>
                    </a:lnTo>
                    <a:lnTo>
                      <a:pt x="925" y="207"/>
                    </a:lnTo>
                    <a:lnTo>
                      <a:pt x="924" y="207"/>
                    </a:lnTo>
                    <a:lnTo>
                      <a:pt x="925" y="207"/>
                    </a:lnTo>
                    <a:lnTo>
                      <a:pt x="924" y="207"/>
                    </a:lnTo>
                    <a:lnTo>
                      <a:pt x="924" y="209"/>
                    </a:lnTo>
                    <a:lnTo>
                      <a:pt x="924" y="211"/>
                    </a:lnTo>
                    <a:lnTo>
                      <a:pt x="922" y="211"/>
                    </a:lnTo>
                    <a:lnTo>
                      <a:pt x="920" y="211"/>
                    </a:lnTo>
                    <a:lnTo>
                      <a:pt x="922" y="211"/>
                    </a:lnTo>
                    <a:lnTo>
                      <a:pt x="924" y="211"/>
                    </a:lnTo>
                    <a:lnTo>
                      <a:pt x="925" y="211"/>
                    </a:lnTo>
                    <a:lnTo>
                      <a:pt x="927" y="211"/>
                    </a:lnTo>
                    <a:lnTo>
                      <a:pt x="927" y="209"/>
                    </a:lnTo>
                    <a:lnTo>
                      <a:pt x="927" y="211"/>
                    </a:lnTo>
                    <a:lnTo>
                      <a:pt x="929" y="209"/>
                    </a:lnTo>
                    <a:lnTo>
                      <a:pt x="929" y="207"/>
                    </a:lnTo>
                    <a:lnTo>
                      <a:pt x="929" y="209"/>
                    </a:lnTo>
                    <a:lnTo>
                      <a:pt x="930" y="207"/>
                    </a:lnTo>
                    <a:lnTo>
                      <a:pt x="932" y="207"/>
                    </a:lnTo>
                    <a:lnTo>
                      <a:pt x="930" y="207"/>
                    </a:lnTo>
                    <a:lnTo>
                      <a:pt x="930" y="209"/>
                    </a:lnTo>
                    <a:lnTo>
                      <a:pt x="929" y="209"/>
                    </a:lnTo>
                    <a:lnTo>
                      <a:pt x="929" y="211"/>
                    </a:lnTo>
                    <a:lnTo>
                      <a:pt x="930" y="212"/>
                    </a:lnTo>
                    <a:lnTo>
                      <a:pt x="929" y="212"/>
                    </a:lnTo>
                    <a:lnTo>
                      <a:pt x="930" y="212"/>
                    </a:lnTo>
                    <a:lnTo>
                      <a:pt x="932" y="212"/>
                    </a:lnTo>
                    <a:lnTo>
                      <a:pt x="930" y="212"/>
                    </a:lnTo>
                    <a:lnTo>
                      <a:pt x="932" y="212"/>
                    </a:lnTo>
                    <a:lnTo>
                      <a:pt x="932" y="211"/>
                    </a:lnTo>
                    <a:lnTo>
                      <a:pt x="932" y="212"/>
                    </a:lnTo>
                    <a:lnTo>
                      <a:pt x="934" y="212"/>
                    </a:lnTo>
                    <a:lnTo>
                      <a:pt x="934" y="214"/>
                    </a:lnTo>
                    <a:lnTo>
                      <a:pt x="934" y="212"/>
                    </a:lnTo>
                    <a:lnTo>
                      <a:pt x="935" y="212"/>
                    </a:lnTo>
                    <a:lnTo>
                      <a:pt x="935" y="214"/>
                    </a:lnTo>
                    <a:lnTo>
                      <a:pt x="935" y="212"/>
                    </a:lnTo>
                    <a:lnTo>
                      <a:pt x="935" y="211"/>
                    </a:lnTo>
                    <a:lnTo>
                      <a:pt x="937" y="209"/>
                    </a:lnTo>
                    <a:lnTo>
                      <a:pt x="935" y="209"/>
                    </a:lnTo>
                    <a:lnTo>
                      <a:pt x="937" y="209"/>
                    </a:lnTo>
                    <a:lnTo>
                      <a:pt x="937" y="207"/>
                    </a:lnTo>
                    <a:lnTo>
                      <a:pt x="939" y="207"/>
                    </a:lnTo>
                    <a:lnTo>
                      <a:pt x="939" y="209"/>
                    </a:lnTo>
                    <a:lnTo>
                      <a:pt x="939" y="211"/>
                    </a:lnTo>
                    <a:lnTo>
                      <a:pt x="937" y="211"/>
                    </a:lnTo>
                    <a:lnTo>
                      <a:pt x="937" y="212"/>
                    </a:lnTo>
                    <a:lnTo>
                      <a:pt x="939" y="212"/>
                    </a:lnTo>
                    <a:lnTo>
                      <a:pt x="939" y="214"/>
                    </a:lnTo>
                    <a:lnTo>
                      <a:pt x="937" y="214"/>
                    </a:lnTo>
                    <a:lnTo>
                      <a:pt x="937" y="216"/>
                    </a:lnTo>
                    <a:lnTo>
                      <a:pt x="937" y="217"/>
                    </a:lnTo>
                    <a:lnTo>
                      <a:pt x="935" y="217"/>
                    </a:lnTo>
                    <a:lnTo>
                      <a:pt x="937" y="217"/>
                    </a:lnTo>
                    <a:lnTo>
                      <a:pt x="937" y="216"/>
                    </a:lnTo>
                    <a:lnTo>
                      <a:pt x="939" y="214"/>
                    </a:lnTo>
                    <a:lnTo>
                      <a:pt x="939" y="212"/>
                    </a:lnTo>
                    <a:lnTo>
                      <a:pt x="941" y="212"/>
                    </a:lnTo>
                    <a:lnTo>
                      <a:pt x="941" y="214"/>
                    </a:lnTo>
                    <a:lnTo>
                      <a:pt x="939" y="214"/>
                    </a:lnTo>
                    <a:lnTo>
                      <a:pt x="939" y="216"/>
                    </a:lnTo>
                    <a:lnTo>
                      <a:pt x="939" y="214"/>
                    </a:lnTo>
                    <a:lnTo>
                      <a:pt x="941" y="214"/>
                    </a:lnTo>
                    <a:lnTo>
                      <a:pt x="941" y="216"/>
                    </a:lnTo>
                    <a:lnTo>
                      <a:pt x="941" y="214"/>
                    </a:lnTo>
                    <a:lnTo>
                      <a:pt x="942" y="212"/>
                    </a:lnTo>
                    <a:lnTo>
                      <a:pt x="942" y="214"/>
                    </a:lnTo>
                    <a:lnTo>
                      <a:pt x="942" y="212"/>
                    </a:lnTo>
                    <a:lnTo>
                      <a:pt x="942" y="214"/>
                    </a:lnTo>
                    <a:lnTo>
                      <a:pt x="942" y="216"/>
                    </a:lnTo>
                    <a:lnTo>
                      <a:pt x="944" y="216"/>
                    </a:lnTo>
                    <a:lnTo>
                      <a:pt x="942" y="216"/>
                    </a:lnTo>
                    <a:lnTo>
                      <a:pt x="942" y="217"/>
                    </a:lnTo>
                    <a:lnTo>
                      <a:pt x="942" y="219"/>
                    </a:lnTo>
                    <a:lnTo>
                      <a:pt x="941" y="219"/>
                    </a:lnTo>
                    <a:lnTo>
                      <a:pt x="942" y="219"/>
                    </a:lnTo>
                    <a:lnTo>
                      <a:pt x="942" y="217"/>
                    </a:lnTo>
                    <a:lnTo>
                      <a:pt x="942" y="216"/>
                    </a:lnTo>
                    <a:lnTo>
                      <a:pt x="944" y="216"/>
                    </a:lnTo>
                    <a:lnTo>
                      <a:pt x="944" y="217"/>
                    </a:lnTo>
                    <a:lnTo>
                      <a:pt x="944" y="216"/>
                    </a:lnTo>
                    <a:lnTo>
                      <a:pt x="944" y="214"/>
                    </a:lnTo>
                    <a:lnTo>
                      <a:pt x="946" y="214"/>
                    </a:lnTo>
                    <a:lnTo>
                      <a:pt x="946" y="216"/>
                    </a:lnTo>
                    <a:lnTo>
                      <a:pt x="947" y="216"/>
                    </a:lnTo>
                    <a:lnTo>
                      <a:pt x="946" y="216"/>
                    </a:lnTo>
                    <a:lnTo>
                      <a:pt x="946" y="217"/>
                    </a:lnTo>
                    <a:lnTo>
                      <a:pt x="944" y="217"/>
                    </a:lnTo>
                    <a:lnTo>
                      <a:pt x="946" y="217"/>
                    </a:lnTo>
                    <a:lnTo>
                      <a:pt x="947" y="219"/>
                    </a:lnTo>
                    <a:lnTo>
                      <a:pt x="946" y="219"/>
                    </a:lnTo>
                    <a:lnTo>
                      <a:pt x="947" y="219"/>
                    </a:lnTo>
                    <a:lnTo>
                      <a:pt x="947" y="217"/>
                    </a:lnTo>
                    <a:lnTo>
                      <a:pt x="947" y="216"/>
                    </a:lnTo>
                    <a:lnTo>
                      <a:pt x="949" y="216"/>
                    </a:lnTo>
                    <a:lnTo>
                      <a:pt x="949" y="214"/>
                    </a:lnTo>
                    <a:lnTo>
                      <a:pt x="951" y="214"/>
                    </a:lnTo>
                    <a:lnTo>
                      <a:pt x="951" y="216"/>
                    </a:lnTo>
                    <a:lnTo>
                      <a:pt x="949" y="216"/>
                    </a:lnTo>
                    <a:lnTo>
                      <a:pt x="949" y="217"/>
                    </a:lnTo>
                    <a:lnTo>
                      <a:pt x="947" y="217"/>
                    </a:lnTo>
                    <a:lnTo>
                      <a:pt x="949" y="217"/>
                    </a:lnTo>
                    <a:lnTo>
                      <a:pt x="949" y="219"/>
                    </a:lnTo>
                    <a:lnTo>
                      <a:pt x="951" y="219"/>
                    </a:lnTo>
                    <a:lnTo>
                      <a:pt x="949" y="219"/>
                    </a:lnTo>
                    <a:lnTo>
                      <a:pt x="951" y="219"/>
                    </a:lnTo>
                    <a:lnTo>
                      <a:pt x="949" y="219"/>
                    </a:lnTo>
                    <a:lnTo>
                      <a:pt x="949" y="221"/>
                    </a:lnTo>
                    <a:lnTo>
                      <a:pt x="951" y="221"/>
                    </a:lnTo>
                    <a:lnTo>
                      <a:pt x="951" y="219"/>
                    </a:lnTo>
                    <a:lnTo>
                      <a:pt x="951" y="217"/>
                    </a:lnTo>
                    <a:lnTo>
                      <a:pt x="952" y="217"/>
                    </a:lnTo>
                    <a:lnTo>
                      <a:pt x="951" y="219"/>
                    </a:lnTo>
                    <a:lnTo>
                      <a:pt x="952" y="219"/>
                    </a:lnTo>
                    <a:lnTo>
                      <a:pt x="951" y="219"/>
                    </a:lnTo>
                    <a:lnTo>
                      <a:pt x="951" y="221"/>
                    </a:lnTo>
                    <a:lnTo>
                      <a:pt x="952" y="219"/>
                    </a:lnTo>
                    <a:lnTo>
                      <a:pt x="952" y="217"/>
                    </a:lnTo>
                    <a:lnTo>
                      <a:pt x="954" y="217"/>
                    </a:lnTo>
                    <a:lnTo>
                      <a:pt x="954" y="216"/>
                    </a:lnTo>
                    <a:lnTo>
                      <a:pt x="956" y="216"/>
                    </a:lnTo>
                    <a:lnTo>
                      <a:pt x="956" y="217"/>
                    </a:lnTo>
                    <a:lnTo>
                      <a:pt x="954" y="217"/>
                    </a:lnTo>
                    <a:lnTo>
                      <a:pt x="954" y="219"/>
                    </a:lnTo>
                    <a:lnTo>
                      <a:pt x="954" y="221"/>
                    </a:lnTo>
                    <a:lnTo>
                      <a:pt x="956" y="221"/>
                    </a:lnTo>
                    <a:lnTo>
                      <a:pt x="954" y="223"/>
                    </a:lnTo>
                    <a:lnTo>
                      <a:pt x="956" y="223"/>
                    </a:lnTo>
                    <a:lnTo>
                      <a:pt x="956" y="224"/>
                    </a:lnTo>
                    <a:lnTo>
                      <a:pt x="954" y="224"/>
                    </a:lnTo>
                    <a:lnTo>
                      <a:pt x="956" y="224"/>
                    </a:lnTo>
                    <a:lnTo>
                      <a:pt x="956" y="226"/>
                    </a:lnTo>
                    <a:lnTo>
                      <a:pt x="956" y="224"/>
                    </a:lnTo>
                    <a:lnTo>
                      <a:pt x="958" y="224"/>
                    </a:lnTo>
                    <a:lnTo>
                      <a:pt x="958" y="223"/>
                    </a:lnTo>
                    <a:lnTo>
                      <a:pt x="958" y="221"/>
                    </a:lnTo>
                    <a:lnTo>
                      <a:pt x="959" y="221"/>
                    </a:lnTo>
                    <a:lnTo>
                      <a:pt x="959" y="223"/>
                    </a:lnTo>
                    <a:lnTo>
                      <a:pt x="959" y="221"/>
                    </a:lnTo>
                    <a:lnTo>
                      <a:pt x="959" y="223"/>
                    </a:lnTo>
                    <a:lnTo>
                      <a:pt x="961" y="223"/>
                    </a:lnTo>
                    <a:lnTo>
                      <a:pt x="961" y="224"/>
                    </a:lnTo>
                    <a:lnTo>
                      <a:pt x="961" y="226"/>
                    </a:lnTo>
                    <a:lnTo>
                      <a:pt x="959" y="224"/>
                    </a:lnTo>
                    <a:lnTo>
                      <a:pt x="959" y="226"/>
                    </a:lnTo>
                    <a:lnTo>
                      <a:pt x="959" y="224"/>
                    </a:lnTo>
                    <a:lnTo>
                      <a:pt x="961" y="226"/>
                    </a:lnTo>
                    <a:lnTo>
                      <a:pt x="961" y="224"/>
                    </a:lnTo>
                    <a:lnTo>
                      <a:pt x="963" y="224"/>
                    </a:lnTo>
                    <a:lnTo>
                      <a:pt x="963" y="223"/>
                    </a:lnTo>
                    <a:lnTo>
                      <a:pt x="963" y="224"/>
                    </a:lnTo>
                    <a:lnTo>
                      <a:pt x="963" y="223"/>
                    </a:lnTo>
                    <a:lnTo>
                      <a:pt x="964" y="223"/>
                    </a:lnTo>
                    <a:lnTo>
                      <a:pt x="964" y="221"/>
                    </a:lnTo>
                    <a:lnTo>
                      <a:pt x="966" y="223"/>
                    </a:lnTo>
                    <a:lnTo>
                      <a:pt x="964" y="223"/>
                    </a:lnTo>
                    <a:lnTo>
                      <a:pt x="964" y="224"/>
                    </a:lnTo>
                    <a:lnTo>
                      <a:pt x="963" y="224"/>
                    </a:lnTo>
                    <a:lnTo>
                      <a:pt x="963" y="226"/>
                    </a:lnTo>
                    <a:lnTo>
                      <a:pt x="963" y="228"/>
                    </a:lnTo>
                    <a:lnTo>
                      <a:pt x="964" y="228"/>
                    </a:lnTo>
                    <a:lnTo>
                      <a:pt x="963" y="228"/>
                    </a:lnTo>
                    <a:lnTo>
                      <a:pt x="964" y="228"/>
                    </a:lnTo>
                    <a:lnTo>
                      <a:pt x="964" y="226"/>
                    </a:lnTo>
                    <a:lnTo>
                      <a:pt x="966" y="226"/>
                    </a:lnTo>
                    <a:lnTo>
                      <a:pt x="966" y="224"/>
                    </a:lnTo>
                    <a:lnTo>
                      <a:pt x="968" y="223"/>
                    </a:lnTo>
                    <a:lnTo>
                      <a:pt x="966" y="223"/>
                    </a:lnTo>
                    <a:lnTo>
                      <a:pt x="968" y="223"/>
                    </a:lnTo>
                    <a:lnTo>
                      <a:pt x="969" y="223"/>
                    </a:lnTo>
                    <a:lnTo>
                      <a:pt x="968" y="223"/>
                    </a:lnTo>
                    <a:lnTo>
                      <a:pt x="969" y="224"/>
                    </a:lnTo>
                    <a:lnTo>
                      <a:pt x="968" y="224"/>
                    </a:lnTo>
                    <a:lnTo>
                      <a:pt x="969" y="224"/>
                    </a:lnTo>
                    <a:lnTo>
                      <a:pt x="969" y="226"/>
                    </a:lnTo>
                    <a:lnTo>
                      <a:pt x="968" y="226"/>
                    </a:lnTo>
                    <a:lnTo>
                      <a:pt x="968" y="228"/>
                    </a:lnTo>
                    <a:lnTo>
                      <a:pt x="966" y="228"/>
                    </a:lnTo>
                    <a:lnTo>
                      <a:pt x="968" y="228"/>
                    </a:lnTo>
                    <a:lnTo>
                      <a:pt x="969" y="228"/>
                    </a:lnTo>
                    <a:lnTo>
                      <a:pt x="968" y="229"/>
                    </a:lnTo>
                    <a:lnTo>
                      <a:pt x="968" y="231"/>
                    </a:lnTo>
                    <a:lnTo>
                      <a:pt x="968" y="233"/>
                    </a:lnTo>
                    <a:lnTo>
                      <a:pt x="968" y="234"/>
                    </a:lnTo>
                    <a:lnTo>
                      <a:pt x="966" y="234"/>
                    </a:lnTo>
                    <a:lnTo>
                      <a:pt x="966" y="236"/>
                    </a:lnTo>
                    <a:lnTo>
                      <a:pt x="968" y="236"/>
                    </a:lnTo>
                    <a:lnTo>
                      <a:pt x="969" y="236"/>
                    </a:lnTo>
                    <a:lnTo>
                      <a:pt x="969" y="238"/>
                    </a:lnTo>
                    <a:lnTo>
                      <a:pt x="971" y="238"/>
                    </a:lnTo>
                    <a:lnTo>
                      <a:pt x="971" y="240"/>
                    </a:lnTo>
                    <a:lnTo>
                      <a:pt x="971" y="241"/>
                    </a:lnTo>
                    <a:lnTo>
                      <a:pt x="973" y="241"/>
                    </a:lnTo>
                    <a:lnTo>
                      <a:pt x="973" y="240"/>
                    </a:lnTo>
                    <a:lnTo>
                      <a:pt x="971" y="241"/>
                    </a:lnTo>
                    <a:lnTo>
                      <a:pt x="971" y="240"/>
                    </a:lnTo>
                    <a:lnTo>
                      <a:pt x="971" y="238"/>
                    </a:lnTo>
                    <a:lnTo>
                      <a:pt x="971" y="236"/>
                    </a:lnTo>
                    <a:lnTo>
                      <a:pt x="969" y="236"/>
                    </a:lnTo>
                    <a:lnTo>
                      <a:pt x="969" y="234"/>
                    </a:lnTo>
                    <a:lnTo>
                      <a:pt x="971" y="234"/>
                    </a:lnTo>
                    <a:lnTo>
                      <a:pt x="971" y="233"/>
                    </a:lnTo>
                    <a:lnTo>
                      <a:pt x="971" y="231"/>
                    </a:lnTo>
                    <a:lnTo>
                      <a:pt x="971" y="229"/>
                    </a:lnTo>
                    <a:lnTo>
                      <a:pt x="973" y="229"/>
                    </a:lnTo>
                    <a:lnTo>
                      <a:pt x="973" y="228"/>
                    </a:lnTo>
                    <a:lnTo>
                      <a:pt x="973" y="229"/>
                    </a:lnTo>
                    <a:lnTo>
                      <a:pt x="973" y="228"/>
                    </a:lnTo>
                    <a:lnTo>
                      <a:pt x="975" y="228"/>
                    </a:lnTo>
                    <a:lnTo>
                      <a:pt x="975" y="229"/>
                    </a:lnTo>
                    <a:lnTo>
                      <a:pt x="975" y="228"/>
                    </a:lnTo>
                    <a:lnTo>
                      <a:pt x="976" y="228"/>
                    </a:lnTo>
                    <a:lnTo>
                      <a:pt x="978" y="228"/>
                    </a:lnTo>
                    <a:lnTo>
                      <a:pt x="980" y="229"/>
                    </a:lnTo>
                    <a:lnTo>
                      <a:pt x="978" y="229"/>
                    </a:lnTo>
                    <a:lnTo>
                      <a:pt x="980" y="229"/>
                    </a:lnTo>
                    <a:lnTo>
                      <a:pt x="980" y="231"/>
                    </a:lnTo>
                    <a:lnTo>
                      <a:pt x="978" y="231"/>
                    </a:lnTo>
                    <a:lnTo>
                      <a:pt x="980" y="231"/>
                    </a:lnTo>
                    <a:lnTo>
                      <a:pt x="981" y="231"/>
                    </a:lnTo>
                    <a:lnTo>
                      <a:pt x="981" y="229"/>
                    </a:lnTo>
                    <a:lnTo>
                      <a:pt x="980" y="229"/>
                    </a:lnTo>
                    <a:lnTo>
                      <a:pt x="980" y="228"/>
                    </a:lnTo>
                    <a:lnTo>
                      <a:pt x="981" y="228"/>
                    </a:lnTo>
                    <a:lnTo>
                      <a:pt x="983" y="226"/>
                    </a:lnTo>
                    <a:lnTo>
                      <a:pt x="985" y="226"/>
                    </a:lnTo>
                    <a:lnTo>
                      <a:pt x="985" y="228"/>
                    </a:lnTo>
                    <a:lnTo>
                      <a:pt x="983" y="228"/>
                    </a:lnTo>
                    <a:lnTo>
                      <a:pt x="983" y="229"/>
                    </a:lnTo>
                    <a:lnTo>
                      <a:pt x="981" y="229"/>
                    </a:lnTo>
                    <a:lnTo>
                      <a:pt x="981" y="231"/>
                    </a:lnTo>
                    <a:lnTo>
                      <a:pt x="981" y="233"/>
                    </a:lnTo>
                    <a:lnTo>
                      <a:pt x="983" y="233"/>
                    </a:lnTo>
                    <a:lnTo>
                      <a:pt x="985" y="233"/>
                    </a:lnTo>
                    <a:lnTo>
                      <a:pt x="985" y="231"/>
                    </a:lnTo>
                    <a:lnTo>
                      <a:pt x="986" y="231"/>
                    </a:lnTo>
                    <a:lnTo>
                      <a:pt x="986" y="233"/>
                    </a:lnTo>
                    <a:lnTo>
                      <a:pt x="986" y="231"/>
                    </a:lnTo>
                    <a:lnTo>
                      <a:pt x="988" y="231"/>
                    </a:lnTo>
                    <a:lnTo>
                      <a:pt x="988" y="233"/>
                    </a:lnTo>
                    <a:lnTo>
                      <a:pt x="988" y="231"/>
                    </a:lnTo>
                    <a:lnTo>
                      <a:pt x="990" y="231"/>
                    </a:lnTo>
                    <a:lnTo>
                      <a:pt x="992" y="233"/>
                    </a:lnTo>
                    <a:lnTo>
                      <a:pt x="990" y="234"/>
                    </a:lnTo>
                    <a:lnTo>
                      <a:pt x="990" y="233"/>
                    </a:lnTo>
                    <a:lnTo>
                      <a:pt x="988" y="233"/>
                    </a:lnTo>
                    <a:lnTo>
                      <a:pt x="988" y="234"/>
                    </a:lnTo>
                    <a:lnTo>
                      <a:pt x="986" y="234"/>
                    </a:lnTo>
                    <a:lnTo>
                      <a:pt x="986" y="236"/>
                    </a:lnTo>
                    <a:lnTo>
                      <a:pt x="988" y="236"/>
                    </a:lnTo>
                    <a:lnTo>
                      <a:pt x="990" y="236"/>
                    </a:lnTo>
                    <a:lnTo>
                      <a:pt x="988" y="236"/>
                    </a:lnTo>
                    <a:lnTo>
                      <a:pt x="988" y="238"/>
                    </a:lnTo>
                    <a:lnTo>
                      <a:pt x="986" y="238"/>
                    </a:lnTo>
                    <a:lnTo>
                      <a:pt x="988" y="238"/>
                    </a:lnTo>
                    <a:lnTo>
                      <a:pt x="990" y="238"/>
                    </a:lnTo>
                    <a:lnTo>
                      <a:pt x="992" y="238"/>
                    </a:lnTo>
                    <a:lnTo>
                      <a:pt x="990" y="236"/>
                    </a:lnTo>
                    <a:lnTo>
                      <a:pt x="992" y="236"/>
                    </a:lnTo>
                    <a:lnTo>
                      <a:pt x="993" y="236"/>
                    </a:lnTo>
                    <a:lnTo>
                      <a:pt x="992" y="236"/>
                    </a:lnTo>
                    <a:lnTo>
                      <a:pt x="992" y="238"/>
                    </a:lnTo>
                    <a:lnTo>
                      <a:pt x="993" y="238"/>
                    </a:lnTo>
                    <a:lnTo>
                      <a:pt x="992" y="238"/>
                    </a:lnTo>
                    <a:lnTo>
                      <a:pt x="993" y="240"/>
                    </a:lnTo>
                    <a:lnTo>
                      <a:pt x="993" y="238"/>
                    </a:lnTo>
                    <a:lnTo>
                      <a:pt x="993" y="240"/>
                    </a:lnTo>
                    <a:lnTo>
                      <a:pt x="995" y="240"/>
                    </a:lnTo>
                    <a:lnTo>
                      <a:pt x="995" y="241"/>
                    </a:lnTo>
                    <a:lnTo>
                      <a:pt x="993" y="241"/>
                    </a:lnTo>
                    <a:lnTo>
                      <a:pt x="995" y="241"/>
                    </a:lnTo>
                    <a:lnTo>
                      <a:pt x="997" y="243"/>
                    </a:lnTo>
                    <a:lnTo>
                      <a:pt x="997" y="245"/>
                    </a:lnTo>
                    <a:lnTo>
                      <a:pt x="995" y="245"/>
                    </a:lnTo>
                    <a:lnTo>
                      <a:pt x="997" y="245"/>
                    </a:lnTo>
                    <a:lnTo>
                      <a:pt x="995" y="246"/>
                    </a:lnTo>
                    <a:lnTo>
                      <a:pt x="993" y="246"/>
                    </a:lnTo>
                    <a:lnTo>
                      <a:pt x="995" y="246"/>
                    </a:lnTo>
                    <a:lnTo>
                      <a:pt x="997" y="246"/>
                    </a:lnTo>
                    <a:lnTo>
                      <a:pt x="995" y="248"/>
                    </a:lnTo>
                    <a:lnTo>
                      <a:pt x="993" y="248"/>
                    </a:lnTo>
                    <a:lnTo>
                      <a:pt x="993" y="250"/>
                    </a:lnTo>
                    <a:lnTo>
                      <a:pt x="993" y="251"/>
                    </a:lnTo>
                    <a:lnTo>
                      <a:pt x="992" y="251"/>
                    </a:lnTo>
                    <a:lnTo>
                      <a:pt x="992" y="253"/>
                    </a:lnTo>
                    <a:lnTo>
                      <a:pt x="990" y="253"/>
                    </a:lnTo>
                    <a:lnTo>
                      <a:pt x="990" y="255"/>
                    </a:lnTo>
                    <a:lnTo>
                      <a:pt x="990" y="253"/>
                    </a:lnTo>
                    <a:lnTo>
                      <a:pt x="990" y="255"/>
                    </a:lnTo>
                    <a:lnTo>
                      <a:pt x="988" y="255"/>
                    </a:lnTo>
                    <a:lnTo>
                      <a:pt x="986" y="255"/>
                    </a:lnTo>
                    <a:lnTo>
                      <a:pt x="988" y="255"/>
                    </a:lnTo>
                    <a:lnTo>
                      <a:pt x="990" y="255"/>
                    </a:lnTo>
                    <a:lnTo>
                      <a:pt x="992" y="255"/>
                    </a:lnTo>
                    <a:lnTo>
                      <a:pt x="990" y="257"/>
                    </a:lnTo>
                    <a:lnTo>
                      <a:pt x="990" y="258"/>
                    </a:lnTo>
                    <a:lnTo>
                      <a:pt x="988" y="258"/>
                    </a:lnTo>
                    <a:lnTo>
                      <a:pt x="990" y="258"/>
                    </a:lnTo>
                    <a:lnTo>
                      <a:pt x="992" y="258"/>
                    </a:lnTo>
                    <a:lnTo>
                      <a:pt x="990" y="257"/>
                    </a:lnTo>
                    <a:lnTo>
                      <a:pt x="992" y="257"/>
                    </a:lnTo>
                    <a:lnTo>
                      <a:pt x="992" y="255"/>
                    </a:lnTo>
                    <a:lnTo>
                      <a:pt x="993" y="253"/>
                    </a:lnTo>
                    <a:lnTo>
                      <a:pt x="995" y="253"/>
                    </a:lnTo>
                    <a:lnTo>
                      <a:pt x="993" y="253"/>
                    </a:lnTo>
                    <a:lnTo>
                      <a:pt x="995" y="251"/>
                    </a:lnTo>
                    <a:lnTo>
                      <a:pt x="995" y="250"/>
                    </a:lnTo>
                    <a:lnTo>
                      <a:pt x="997" y="250"/>
                    </a:lnTo>
                    <a:lnTo>
                      <a:pt x="998" y="251"/>
                    </a:lnTo>
                    <a:lnTo>
                      <a:pt x="1000" y="253"/>
                    </a:lnTo>
                    <a:lnTo>
                      <a:pt x="998" y="253"/>
                    </a:lnTo>
                    <a:lnTo>
                      <a:pt x="1000" y="253"/>
                    </a:lnTo>
                    <a:lnTo>
                      <a:pt x="1000" y="255"/>
                    </a:lnTo>
                    <a:lnTo>
                      <a:pt x="1000" y="257"/>
                    </a:lnTo>
                    <a:lnTo>
                      <a:pt x="1000" y="258"/>
                    </a:lnTo>
                    <a:lnTo>
                      <a:pt x="1000" y="260"/>
                    </a:lnTo>
                    <a:lnTo>
                      <a:pt x="998" y="260"/>
                    </a:lnTo>
                    <a:lnTo>
                      <a:pt x="997" y="260"/>
                    </a:lnTo>
                    <a:lnTo>
                      <a:pt x="997" y="258"/>
                    </a:lnTo>
                    <a:lnTo>
                      <a:pt x="995" y="258"/>
                    </a:lnTo>
                    <a:lnTo>
                      <a:pt x="997" y="258"/>
                    </a:lnTo>
                    <a:lnTo>
                      <a:pt x="997" y="260"/>
                    </a:lnTo>
                    <a:lnTo>
                      <a:pt x="995" y="260"/>
                    </a:lnTo>
                    <a:lnTo>
                      <a:pt x="995" y="262"/>
                    </a:lnTo>
                    <a:lnTo>
                      <a:pt x="997" y="262"/>
                    </a:lnTo>
                    <a:lnTo>
                      <a:pt x="995" y="262"/>
                    </a:lnTo>
                    <a:lnTo>
                      <a:pt x="995" y="263"/>
                    </a:lnTo>
                    <a:lnTo>
                      <a:pt x="993" y="263"/>
                    </a:lnTo>
                    <a:lnTo>
                      <a:pt x="993" y="265"/>
                    </a:lnTo>
                    <a:lnTo>
                      <a:pt x="993" y="263"/>
                    </a:lnTo>
                    <a:lnTo>
                      <a:pt x="995" y="263"/>
                    </a:lnTo>
                    <a:lnTo>
                      <a:pt x="995" y="265"/>
                    </a:lnTo>
                    <a:lnTo>
                      <a:pt x="993" y="265"/>
                    </a:lnTo>
                    <a:lnTo>
                      <a:pt x="993" y="267"/>
                    </a:lnTo>
                    <a:lnTo>
                      <a:pt x="993" y="268"/>
                    </a:lnTo>
                    <a:lnTo>
                      <a:pt x="992" y="268"/>
                    </a:lnTo>
                    <a:lnTo>
                      <a:pt x="992" y="270"/>
                    </a:lnTo>
                    <a:lnTo>
                      <a:pt x="992" y="272"/>
                    </a:lnTo>
                    <a:lnTo>
                      <a:pt x="992" y="274"/>
                    </a:lnTo>
                    <a:lnTo>
                      <a:pt x="992" y="275"/>
                    </a:lnTo>
                    <a:lnTo>
                      <a:pt x="990" y="275"/>
                    </a:lnTo>
                    <a:lnTo>
                      <a:pt x="990" y="277"/>
                    </a:lnTo>
                    <a:lnTo>
                      <a:pt x="990" y="279"/>
                    </a:lnTo>
                    <a:lnTo>
                      <a:pt x="992" y="280"/>
                    </a:lnTo>
                    <a:lnTo>
                      <a:pt x="992" y="282"/>
                    </a:lnTo>
                    <a:lnTo>
                      <a:pt x="990" y="282"/>
                    </a:lnTo>
                    <a:lnTo>
                      <a:pt x="990" y="284"/>
                    </a:lnTo>
                    <a:lnTo>
                      <a:pt x="988" y="284"/>
                    </a:lnTo>
                    <a:lnTo>
                      <a:pt x="988" y="285"/>
                    </a:lnTo>
                    <a:lnTo>
                      <a:pt x="986" y="285"/>
                    </a:lnTo>
                    <a:lnTo>
                      <a:pt x="986" y="287"/>
                    </a:lnTo>
                    <a:lnTo>
                      <a:pt x="986" y="289"/>
                    </a:lnTo>
                    <a:lnTo>
                      <a:pt x="986" y="291"/>
                    </a:lnTo>
                    <a:lnTo>
                      <a:pt x="988" y="291"/>
                    </a:lnTo>
                    <a:lnTo>
                      <a:pt x="988" y="289"/>
                    </a:lnTo>
                    <a:lnTo>
                      <a:pt x="986" y="287"/>
                    </a:lnTo>
                    <a:lnTo>
                      <a:pt x="988" y="287"/>
                    </a:lnTo>
                    <a:lnTo>
                      <a:pt x="988" y="285"/>
                    </a:lnTo>
                    <a:lnTo>
                      <a:pt x="990" y="285"/>
                    </a:lnTo>
                    <a:lnTo>
                      <a:pt x="992" y="285"/>
                    </a:lnTo>
                    <a:lnTo>
                      <a:pt x="992" y="284"/>
                    </a:lnTo>
                    <a:lnTo>
                      <a:pt x="995" y="282"/>
                    </a:lnTo>
                    <a:lnTo>
                      <a:pt x="995" y="280"/>
                    </a:lnTo>
                    <a:lnTo>
                      <a:pt x="997" y="280"/>
                    </a:lnTo>
                    <a:lnTo>
                      <a:pt x="997" y="279"/>
                    </a:lnTo>
                    <a:lnTo>
                      <a:pt x="998" y="279"/>
                    </a:lnTo>
                    <a:lnTo>
                      <a:pt x="998" y="277"/>
                    </a:lnTo>
                    <a:lnTo>
                      <a:pt x="998" y="275"/>
                    </a:lnTo>
                    <a:lnTo>
                      <a:pt x="998" y="274"/>
                    </a:lnTo>
                    <a:lnTo>
                      <a:pt x="998" y="272"/>
                    </a:lnTo>
                    <a:lnTo>
                      <a:pt x="1000" y="270"/>
                    </a:lnTo>
                    <a:lnTo>
                      <a:pt x="1000" y="268"/>
                    </a:lnTo>
                    <a:lnTo>
                      <a:pt x="1000" y="267"/>
                    </a:lnTo>
                    <a:lnTo>
                      <a:pt x="1000" y="265"/>
                    </a:lnTo>
                    <a:lnTo>
                      <a:pt x="1000" y="263"/>
                    </a:lnTo>
                    <a:lnTo>
                      <a:pt x="1002" y="263"/>
                    </a:lnTo>
                    <a:lnTo>
                      <a:pt x="1003" y="265"/>
                    </a:lnTo>
                    <a:lnTo>
                      <a:pt x="1003" y="263"/>
                    </a:lnTo>
                    <a:lnTo>
                      <a:pt x="1002" y="263"/>
                    </a:lnTo>
                    <a:lnTo>
                      <a:pt x="1003" y="263"/>
                    </a:lnTo>
                    <a:lnTo>
                      <a:pt x="1002" y="263"/>
                    </a:lnTo>
                    <a:lnTo>
                      <a:pt x="1002" y="262"/>
                    </a:lnTo>
                    <a:lnTo>
                      <a:pt x="1003" y="262"/>
                    </a:lnTo>
                    <a:lnTo>
                      <a:pt x="1005" y="262"/>
                    </a:lnTo>
                    <a:lnTo>
                      <a:pt x="1007" y="262"/>
                    </a:lnTo>
                    <a:lnTo>
                      <a:pt x="1007" y="260"/>
                    </a:lnTo>
                    <a:lnTo>
                      <a:pt x="1009" y="260"/>
                    </a:lnTo>
                    <a:lnTo>
                      <a:pt x="1010" y="260"/>
                    </a:lnTo>
                    <a:lnTo>
                      <a:pt x="1010" y="258"/>
                    </a:lnTo>
                    <a:lnTo>
                      <a:pt x="1012" y="260"/>
                    </a:lnTo>
                    <a:lnTo>
                      <a:pt x="1010" y="260"/>
                    </a:lnTo>
                    <a:lnTo>
                      <a:pt x="1010" y="262"/>
                    </a:lnTo>
                    <a:lnTo>
                      <a:pt x="1012" y="262"/>
                    </a:lnTo>
                    <a:lnTo>
                      <a:pt x="1012" y="263"/>
                    </a:lnTo>
                    <a:lnTo>
                      <a:pt x="1010" y="265"/>
                    </a:lnTo>
                    <a:lnTo>
                      <a:pt x="1009" y="265"/>
                    </a:lnTo>
                    <a:lnTo>
                      <a:pt x="1009" y="267"/>
                    </a:lnTo>
                    <a:lnTo>
                      <a:pt x="1009" y="268"/>
                    </a:lnTo>
                    <a:lnTo>
                      <a:pt x="1007" y="268"/>
                    </a:lnTo>
                    <a:lnTo>
                      <a:pt x="1005" y="268"/>
                    </a:lnTo>
                    <a:lnTo>
                      <a:pt x="1005" y="270"/>
                    </a:lnTo>
                    <a:lnTo>
                      <a:pt x="1003" y="270"/>
                    </a:lnTo>
                    <a:lnTo>
                      <a:pt x="1003" y="272"/>
                    </a:lnTo>
                    <a:lnTo>
                      <a:pt x="1002" y="272"/>
                    </a:lnTo>
                    <a:lnTo>
                      <a:pt x="1003" y="272"/>
                    </a:lnTo>
                    <a:lnTo>
                      <a:pt x="1003" y="274"/>
                    </a:lnTo>
                    <a:lnTo>
                      <a:pt x="1003" y="272"/>
                    </a:lnTo>
                    <a:lnTo>
                      <a:pt x="1005" y="272"/>
                    </a:lnTo>
                    <a:lnTo>
                      <a:pt x="1007" y="272"/>
                    </a:lnTo>
                    <a:lnTo>
                      <a:pt x="1007" y="274"/>
                    </a:lnTo>
                    <a:lnTo>
                      <a:pt x="1007" y="272"/>
                    </a:lnTo>
                    <a:lnTo>
                      <a:pt x="1009" y="272"/>
                    </a:lnTo>
                    <a:lnTo>
                      <a:pt x="1009" y="270"/>
                    </a:lnTo>
                    <a:lnTo>
                      <a:pt x="1010" y="272"/>
                    </a:lnTo>
                    <a:lnTo>
                      <a:pt x="1010" y="270"/>
                    </a:lnTo>
                    <a:lnTo>
                      <a:pt x="1010" y="272"/>
                    </a:lnTo>
                    <a:lnTo>
                      <a:pt x="1010" y="270"/>
                    </a:lnTo>
                    <a:lnTo>
                      <a:pt x="1012" y="268"/>
                    </a:lnTo>
                    <a:lnTo>
                      <a:pt x="1012" y="267"/>
                    </a:lnTo>
                    <a:lnTo>
                      <a:pt x="1014" y="267"/>
                    </a:lnTo>
                    <a:lnTo>
                      <a:pt x="1014" y="265"/>
                    </a:lnTo>
                    <a:lnTo>
                      <a:pt x="1015" y="265"/>
                    </a:lnTo>
                    <a:lnTo>
                      <a:pt x="1015" y="263"/>
                    </a:lnTo>
                    <a:lnTo>
                      <a:pt x="1017" y="265"/>
                    </a:lnTo>
                    <a:lnTo>
                      <a:pt x="1017" y="263"/>
                    </a:lnTo>
                    <a:lnTo>
                      <a:pt x="1019" y="263"/>
                    </a:lnTo>
                    <a:lnTo>
                      <a:pt x="1017" y="263"/>
                    </a:lnTo>
                    <a:lnTo>
                      <a:pt x="1019" y="262"/>
                    </a:lnTo>
                    <a:lnTo>
                      <a:pt x="1019" y="260"/>
                    </a:lnTo>
                    <a:lnTo>
                      <a:pt x="1019" y="258"/>
                    </a:lnTo>
                    <a:lnTo>
                      <a:pt x="1020" y="258"/>
                    </a:lnTo>
                    <a:lnTo>
                      <a:pt x="1019" y="260"/>
                    </a:lnTo>
                    <a:lnTo>
                      <a:pt x="1019" y="262"/>
                    </a:lnTo>
                    <a:lnTo>
                      <a:pt x="1019" y="260"/>
                    </a:lnTo>
                    <a:lnTo>
                      <a:pt x="1020" y="260"/>
                    </a:lnTo>
                    <a:lnTo>
                      <a:pt x="1022" y="258"/>
                    </a:lnTo>
                    <a:lnTo>
                      <a:pt x="1022" y="257"/>
                    </a:lnTo>
                    <a:lnTo>
                      <a:pt x="1022" y="255"/>
                    </a:lnTo>
                    <a:lnTo>
                      <a:pt x="1024" y="255"/>
                    </a:lnTo>
                    <a:lnTo>
                      <a:pt x="1026" y="255"/>
                    </a:lnTo>
                    <a:lnTo>
                      <a:pt x="1026" y="253"/>
                    </a:lnTo>
                    <a:lnTo>
                      <a:pt x="1026" y="255"/>
                    </a:lnTo>
                    <a:lnTo>
                      <a:pt x="1024" y="255"/>
                    </a:lnTo>
                    <a:lnTo>
                      <a:pt x="1024" y="257"/>
                    </a:lnTo>
                    <a:lnTo>
                      <a:pt x="1026" y="257"/>
                    </a:lnTo>
                    <a:lnTo>
                      <a:pt x="1026" y="258"/>
                    </a:lnTo>
                    <a:lnTo>
                      <a:pt x="1024" y="258"/>
                    </a:lnTo>
                    <a:lnTo>
                      <a:pt x="1024" y="260"/>
                    </a:lnTo>
                    <a:lnTo>
                      <a:pt x="1022" y="260"/>
                    </a:lnTo>
                    <a:lnTo>
                      <a:pt x="1020" y="260"/>
                    </a:lnTo>
                    <a:lnTo>
                      <a:pt x="1020" y="262"/>
                    </a:lnTo>
                    <a:lnTo>
                      <a:pt x="1020" y="263"/>
                    </a:lnTo>
                    <a:lnTo>
                      <a:pt x="1020" y="262"/>
                    </a:lnTo>
                    <a:lnTo>
                      <a:pt x="1022" y="262"/>
                    </a:lnTo>
                    <a:lnTo>
                      <a:pt x="1024" y="262"/>
                    </a:lnTo>
                    <a:lnTo>
                      <a:pt x="1022" y="262"/>
                    </a:lnTo>
                    <a:lnTo>
                      <a:pt x="1022" y="263"/>
                    </a:lnTo>
                    <a:lnTo>
                      <a:pt x="1024" y="263"/>
                    </a:lnTo>
                    <a:lnTo>
                      <a:pt x="1024" y="262"/>
                    </a:lnTo>
                    <a:lnTo>
                      <a:pt x="1026" y="262"/>
                    </a:lnTo>
                    <a:lnTo>
                      <a:pt x="1026" y="263"/>
                    </a:lnTo>
                    <a:lnTo>
                      <a:pt x="1026" y="262"/>
                    </a:lnTo>
                    <a:lnTo>
                      <a:pt x="1027" y="262"/>
                    </a:lnTo>
                    <a:lnTo>
                      <a:pt x="1026" y="262"/>
                    </a:lnTo>
                    <a:lnTo>
                      <a:pt x="1027" y="263"/>
                    </a:lnTo>
                    <a:lnTo>
                      <a:pt x="1027" y="262"/>
                    </a:lnTo>
                    <a:lnTo>
                      <a:pt x="1027" y="260"/>
                    </a:lnTo>
                    <a:lnTo>
                      <a:pt x="1029" y="260"/>
                    </a:lnTo>
                    <a:lnTo>
                      <a:pt x="1029" y="262"/>
                    </a:lnTo>
                    <a:lnTo>
                      <a:pt x="1031" y="262"/>
                    </a:lnTo>
                    <a:lnTo>
                      <a:pt x="1031" y="263"/>
                    </a:lnTo>
                    <a:lnTo>
                      <a:pt x="1031" y="262"/>
                    </a:lnTo>
                    <a:lnTo>
                      <a:pt x="1031" y="260"/>
                    </a:lnTo>
                    <a:lnTo>
                      <a:pt x="1032" y="260"/>
                    </a:lnTo>
                    <a:lnTo>
                      <a:pt x="1034" y="260"/>
                    </a:lnTo>
                    <a:lnTo>
                      <a:pt x="1032" y="260"/>
                    </a:lnTo>
                    <a:lnTo>
                      <a:pt x="1031" y="260"/>
                    </a:lnTo>
                    <a:lnTo>
                      <a:pt x="1031" y="258"/>
                    </a:lnTo>
                    <a:lnTo>
                      <a:pt x="1031" y="257"/>
                    </a:lnTo>
                    <a:lnTo>
                      <a:pt x="1032" y="257"/>
                    </a:lnTo>
                    <a:lnTo>
                      <a:pt x="1034" y="257"/>
                    </a:lnTo>
                    <a:lnTo>
                      <a:pt x="1036" y="257"/>
                    </a:lnTo>
                    <a:lnTo>
                      <a:pt x="1037" y="257"/>
                    </a:lnTo>
                    <a:lnTo>
                      <a:pt x="1039" y="258"/>
                    </a:lnTo>
                    <a:lnTo>
                      <a:pt x="1041" y="258"/>
                    </a:lnTo>
                    <a:lnTo>
                      <a:pt x="1043" y="258"/>
                    </a:lnTo>
                    <a:lnTo>
                      <a:pt x="1043" y="260"/>
                    </a:lnTo>
                    <a:lnTo>
                      <a:pt x="1044" y="260"/>
                    </a:lnTo>
                    <a:lnTo>
                      <a:pt x="1046" y="262"/>
                    </a:lnTo>
                    <a:lnTo>
                      <a:pt x="1048" y="262"/>
                    </a:lnTo>
                    <a:lnTo>
                      <a:pt x="1049" y="262"/>
                    </a:lnTo>
                    <a:lnTo>
                      <a:pt x="1049" y="263"/>
                    </a:lnTo>
                    <a:lnTo>
                      <a:pt x="1051" y="263"/>
                    </a:lnTo>
                    <a:lnTo>
                      <a:pt x="1053" y="263"/>
                    </a:lnTo>
                    <a:lnTo>
                      <a:pt x="1053" y="265"/>
                    </a:lnTo>
                    <a:lnTo>
                      <a:pt x="1054" y="265"/>
                    </a:lnTo>
                    <a:lnTo>
                      <a:pt x="1056" y="265"/>
                    </a:lnTo>
                    <a:lnTo>
                      <a:pt x="1058" y="267"/>
                    </a:lnTo>
                    <a:lnTo>
                      <a:pt x="1060" y="267"/>
                    </a:lnTo>
                    <a:lnTo>
                      <a:pt x="1061" y="268"/>
                    </a:lnTo>
                    <a:lnTo>
                      <a:pt x="1063" y="268"/>
                    </a:lnTo>
                    <a:lnTo>
                      <a:pt x="1065" y="268"/>
                    </a:lnTo>
                    <a:lnTo>
                      <a:pt x="1066" y="270"/>
                    </a:lnTo>
                    <a:lnTo>
                      <a:pt x="1068" y="270"/>
                    </a:lnTo>
                    <a:lnTo>
                      <a:pt x="1070" y="270"/>
                    </a:lnTo>
                    <a:lnTo>
                      <a:pt x="1071" y="270"/>
                    </a:lnTo>
                    <a:lnTo>
                      <a:pt x="1071" y="272"/>
                    </a:lnTo>
                    <a:lnTo>
                      <a:pt x="1073" y="274"/>
                    </a:lnTo>
                    <a:lnTo>
                      <a:pt x="1071" y="274"/>
                    </a:lnTo>
                    <a:lnTo>
                      <a:pt x="1073" y="274"/>
                    </a:lnTo>
                    <a:lnTo>
                      <a:pt x="1073" y="272"/>
                    </a:lnTo>
                    <a:lnTo>
                      <a:pt x="1073" y="274"/>
                    </a:lnTo>
                    <a:lnTo>
                      <a:pt x="1073" y="272"/>
                    </a:lnTo>
                    <a:lnTo>
                      <a:pt x="1073" y="274"/>
                    </a:lnTo>
                    <a:lnTo>
                      <a:pt x="1075" y="274"/>
                    </a:lnTo>
                    <a:lnTo>
                      <a:pt x="1075" y="272"/>
                    </a:lnTo>
                    <a:lnTo>
                      <a:pt x="1077" y="272"/>
                    </a:lnTo>
                    <a:lnTo>
                      <a:pt x="1075" y="272"/>
                    </a:lnTo>
                    <a:lnTo>
                      <a:pt x="1073" y="272"/>
                    </a:lnTo>
                    <a:lnTo>
                      <a:pt x="1075" y="272"/>
                    </a:lnTo>
                    <a:lnTo>
                      <a:pt x="1075" y="270"/>
                    </a:lnTo>
                    <a:lnTo>
                      <a:pt x="1077" y="272"/>
                    </a:lnTo>
                    <a:lnTo>
                      <a:pt x="1078" y="272"/>
                    </a:lnTo>
                    <a:lnTo>
                      <a:pt x="1078" y="274"/>
                    </a:lnTo>
                    <a:lnTo>
                      <a:pt x="1078" y="272"/>
                    </a:lnTo>
                    <a:lnTo>
                      <a:pt x="1080" y="272"/>
                    </a:lnTo>
                    <a:lnTo>
                      <a:pt x="1080" y="270"/>
                    </a:lnTo>
                    <a:lnTo>
                      <a:pt x="1082" y="270"/>
                    </a:lnTo>
                    <a:lnTo>
                      <a:pt x="1083" y="270"/>
                    </a:lnTo>
                    <a:lnTo>
                      <a:pt x="1085" y="270"/>
                    </a:lnTo>
                    <a:lnTo>
                      <a:pt x="1087" y="270"/>
                    </a:lnTo>
                    <a:lnTo>
                      <a:pt x="1085" y="272"/>
                    </a:lnTo>
                    <a:lnTo>
                      <a:pt x="1087" y="272"/>
                    </a:lnTo>
                    <a:lnTo>
                      <a:pt x="1087" y="270"/>
                    </a:lnTo>
                    <a:lnTo>
                      <a:pt x="1088" y="272"/>
                    </a:lnTo>
                    <a:lnTo>
                      <a:pt x="1090" y="272"/>
                    </a:lnTo>
                    <a:lnTo>
                      <a:pt x="1090" y="274"/>
                    </a:lnTo>
                    <a:lnTo>
                      <a:pt x="1092" y="274"/>
                    </a:lnTo>
                    <a:lnTo>
                      <a:pt x="1092" y="275"/>
                    </a:lnTo>
                    <a:lnTo>
                      <a:pt x="1094" y="275"/>
                    </a:lnTo>
                    <a:lnTo>
                      <a:pt x="1095" y="275"/>
                    </a:lnTo>
                    <a:lnTo>
                      <a:pt x="1095" y="277"/>
                    </a:lnTo>
                    <a:lnTo>
                      <a:pt x="1097" y="277"/>
                    </a:lnTo>
                    <a:lnTo>
                      <a:pt x="1097" y="275"/>
                    </a:lnTo>
                    <a:lnTo>
                      <a:pt x="1099" y="275"/>
                    </a:lnTo>
                    <a:lnTo>
                      <a:pt x="1099" y="277"/>
                    </a:lnTo>
                    <a:lnTo>
                      <a:pt x="1100" y="277"/>
                    </a:lnTo>
                    <a:lnTo>
                      <a:pt x="1100" y="275"/>
                    </a:lnTo>
                    <a:lnTo>
                      <a:pt x="1100" y="277"/>
                    </a:lnTo>
                    <a:lnTo>
                      <a:pt x="1102" y="277"/>
                    </a:lnTo>
                    <a:lnTo>
                      <a:pt x="1104" y="277"/>
                    </a:lnTo>
                    <a:lnTo>
                      <a:pt x="1104" y="275"/>
                    </a:lnTo>
                    <a:lnTo>
                      <a:pt x="1105" y="275"/>
                    </a:lnTo>
                    <a:lnTo>
                      <a:pt x="1107" y="275"/>
                    </a:lnTo>
                    <a:lnTo>
                      <a:pt x="1109" y="275"/>
                    </a:lnTo>
                    <a:lnTo>
                      <a:pt x="1111" y="275"/>
                    </a:lnTo>
                    <a:lnTo>
                      <a:pt x="1112" y="275"/>
                    </a:lnTo>
                    <a:lnTo>
                      <a:pt x="1114" y="275"/>
                    </a:lnTo>
                    <a:lnTo>
                      <a:pt x="1116" y="275"/>
                    </a:lnTo>
                    <a:lnTo>
                      <a:pt x="1117" y="275"/>
                    </a:lnTo>
                    <a:lnTo>
                      <a:pt x="1119" y="275"/>
                    </a:lnTo>
                    <a:lnTo>
                      <a:pt x="1121" y="275"/>
                    </a:lnTo>
                    <a:lnTo>
                      <a:pt x="1121" y="274"/>
                    </a:lnTo>
                    <a:lnTo>
                      <a:pt x="1122" y="274"/>
                    </a:lnTo>
                    <a:lnTo>
                      <a:pt x="1124" y="274"/>
                    </a:lnTo>
                    <a:lnTo>
                      <a:pt x="1126" y="274"/>
                    </a:lnTo>
                    <a:lnTo>
                      <a:pt x="1128" y="274"/>
                    </a:lnTo>
                    <a:lnTo>
                      <a:pt x="1129" y="274"/>
                    </a:lnTo>
                    <a:lnTo>
                      <a:pt x="1131" y="272"/>
                    </a:lnTo>
                    <a:lnTo>
                      <a:pt x="1133" y="272"/>
                    </a:lnTo>
                    <a:lnTo>
                      <a:pt x="1133" y="274"/>
                    </a:lnTo>
                    <a:lnTo>
                      <a:pt x="1134" y="274"/>
                    </a:lnTo>
                    <a:lnTo>
                      <a:pt x="1136" y="274"/>
                    </a:lnTo>
                    <a:lnTo>
                      <a:pt x="1136" y="272"/>
                    </a:lnTo>
                    <a:lnTo>
                      <a:pt x="1138" y="272"/>
                    </a:lnTo>
                    <a:lnTo>
                      <a:pt x="1138" y="274"/>
                    </a:lnTo>
                    <a:lnTo>
                      <a:pt x="1139" y="274"/>
                    </a:lnTo>
                    <a:lnTo>
                      <a:pt x="1141" y="274"/>
                    </a:lnTo>
                    <a:lnTo>
                      <a:pt x="1143" y="274"/>
                    </a:lnTo>
                    <a:lnTo>
                      <a:pt x="1145" y="274"/>
                    </a:lnTo>
                    <a:lnTo>
                      <a:pt x="1146" y="274"/>
                    </a:lnTo>
                    <a:lnTo>
                      <a:pt x="1148" y="274"/>
                    </a:lnTo>
                    <a:lnTo>
                      <a:pt x="1150" y="274"/>
                    </a:lnTo>
                    <a:lnTo>
                      <a:pt x="1150" y="275"/>
                    </a:lnTo>
                    <a:lnTo>
                      <a:pt x="1151" y="275"/>
                    </a:lnTo>
                    <a:lnTo>
                      <a:pt x="1150" y="275"/>
                    </a:lnTo>
                    <a:lnTo>
                      <a:pt x="1151" y="275"/>
                    </a:lnTo>
                    <a:lnTo>
                      <a:pt x="1153" y="275"/>
                    </a:lnTo>
                    <a:lnTo>
                      <a:pt x="1153" y="277"/>
                    </a:lnTo>
                    <a:lnTo>
                      <a:pt x="1155" y="277"/>
                    </a:lnTo>
                    <a:lnTo>
                      <a:pt x="1156" y="279"/>
                    </a:lnTo>
                    <a:lnTo>
                      <a:pt x="1158" y="279"/>
                    </a:lnTo>
                    <a:lnTo>
                      <a:pt x="1160" y="280"/>
                    </a:lnTo>
                    <a:lnTo>
                      <a:pt x="1162" y="280"/>
                    </a:lnTo>
                    <a:lnTo>
                      <a:pt x="1162" y="282"/>
                    </a:lnTo>
                    <a:lnTo>
                      <a:pt x="1163" y="282"/>
                    </a:lnTo>
                    <a:lnTo>
                      <a:pt x="1165" y="282"/>
                    </a:lnTo>
                    <a:lnTo>
                      <a:pt x="1165" y="284"/>
                    </a:lnTo>
                    <a:lnTo>
                      <a:pt x="1167" y="284"/>
                    </a:lnTo>
                    <a:lnTo>
                      <a:pt x="1168" y="285"/>
                    </a:lnTo>
                    <a:lnTo>
                      <a:pt x="1170" y="285"/>
                    </a:lnTo>
                    <a:lnTo>
                      <a:pt x="1172" y="285"/>
                    </a:lnTo>
                    <a:lnTo>
                      <a:pt x="1172" y="287"/>
                    </a:lnTo>
                    <a:lnTo>
                      <a:pt x="1173" y="287"/>
                    </a:lnTo>
                    <a:lnTo>
                      <a:pt x="1175" y="287"/>
                    </a:lnTo>
                    <a:lnTo>
                      <a:pt x="1175" y="289"/>
                    </a:lnTo>
                    <a:lnTo>
                      <a:pt x="1175" y="291"/>
                    </a:lnTo>
                    <a:lnTo>
                      <a:pt x="1177" y="291"/>
                    </a:lnTo>
                    <a:lnTo>
                      <a:pt x="1179" y="292"/>
                    </a:lnTo>
                    <a:lnTo>
                      <a:pt x="1180" y="294"/>
                    </a:lnTo>
                    <a:lnTo>
                      <a:pt x="1180" y="292"/>
                    </a:lnTo>
                    <a:lnTo>
                      <a:pt x="1182" y="292"/>
                    </a:lnTo>
                    <a:lnTo>
                      <a:pt x="1184" y="294"/>
                    </a:lnTo>
                    <a:lnTo>
                      <a:pt x="1184" y="296"/>
                    </a:lnTo>
                    <a:lnTo>
                      <a:pt x="1185" y="296"/>
                    </a:lnTo>
                    <a:lnTo>
                      <a:pt x="1185" y="297"/>
                    </a:lnTo>
                    <a:lnTo>
                      <a:pt x="1187" y="297"/>
                    </a:lnTo>
                    <a:lnTo>
                      <a:pt x="1189" y="297"/>
                    </a:lnTo>
                    <a:lnTo>
                      <a:pt x="1189" y="299"/>
                    </a:lnTo>
                    <a:lnTo>
                      <a:pt x="1190" y="301"/>
                    </a:lnTo>
                    <a:lnTo>
                      <a:pt x="1192" y="301"/>
                    </a:lnTo>
                    <a:lnTo>
                      <a:pt x="1192" y="302"/>
                    </a:lnTo>
                    <a:lnTo>
                      <a:pt x="1194" y="302"/>
                    </a:lnTo>
                    <a:lnTo>
                      <a:pt x="1196" y="302"/>
                    </a:lnTo>
                    <a:lnTo>
                      <a:pt x="1197" y="304"/>
                    </a:lnTo>
                    <a:lnTo>
                      <a:pt x="1199" y="304"/>
                    </a:lnTo>
                    <a:lnTo>
                      <a:pt x="1199" y="302"/>
                    </a:lnTo>
                    <a:lnTo>
                      <a:pt x="1199" y="304"/>
                    </a:lnTo>
                    <a:lnTo>
                      <a:pt x="1201" y="304"/>
                    </a:lnTo>
                    <a:lnTo>
                      <a:pt x="1201" y="306"/>
                    </a:lnTo>
                    <a:lnTo>
                      <a:pt x="1202" y="308"/>
                    </a:lnTo>
                    <a:lnTo>
                      <a:pt x="1202" y="309"/>
                    </a:lnTo>
                    <a:lnTo>
                      <a:pt x="1204" y="309"/>
                    </a:lnTo>
                    <a:lnTo>
                      <a:pt x="1204" y="311"/>
                    </a:lnTo>
                    <a:lnTo>
                      <a:pt x="1206" y="311"/>
                    </a:lnTo>
                    <a:lnTo>
                      <a:pt x="1207" y="313"/>
                    </a:lnTo>
                    <a:lnTo>
                      <a:pt x="1209" y="314"/>
                    </a:lnTo>
                    <a:lnTo>
                      <a:pt x="1209" y="316"/>
                    </a:lnTo>
                    <a:lnTo>
                      <a:pt x="1211" y="316"/>
                    </a:lnTo>
                    <a:lnTo>
                      <a:pt x="1211" y="318"/>
                    </a:lnTo>
                    <a:lnTo>
                      <a:pt x="1213" y="319"/>
                    </a:lnTo>
                    <a:lnTo>
                      <a:pt x="1214" y="321"/>
                    </a:lnTo>
                    <a:lnTo>
                      <a:pt x="1216" y="321"/>
                    </a:lnTo>
                    <a:lnTo>
                      <a:pt x="1216" y="323"/>
                    </a:lnTo>
                    <a:lnTo>
                      <a:pt x="1218" y="323"/>
                    </a:lnTo>
                    <a:lnTo>
                      <a:pt x="1218" y="325"/>
                    </a:lnTo>
                    <a:lnTo>
                      <a:pt x="1219" y="326"/>
                    </a:lnTo>
                    <a:lnTo>
                      <a:pt x="1221" y="326"/>
                    </a:lnTo>
                    <a:lnTo>
                      <a:pt x="1223" y="326"/>
                    </a:lnTo>
                    <a:lnTo>
                      <a:pt x="1223" y="328"/>
                    </a:lnTo>
                    <a:lnTo>
                      <a:pt x="1224" y="328"/>
                    </a:lnTo>
                    <a:lnTo>
                      <a:pt x="1224" y="330"/>
                    </a:lnTo>
                    <a:lnTo>
                      <a:pt x="1224" y="331"/>
                    </a:lnTo>
                    <a:lnTo>
                      <a:pt x="1226" y="331"/>
                    </a:lnTo>
                    <a:lnTo>
                      <a:pt x="1228" y="333"/>
                    </a:lnTo>
                    <a:lnTo>
                      <a:pt x="1230" y="335"/>
                    </a:lnTo>
                    <a:lnTo>
                      <a:pt x="1231" y="335"/>
                    </a:lnTo>
                    <a:lnTo>
                      <a:pt x="1233" y="335"/>
                    </a:lnTo>
                    <a:lnTo>
                      <a:pt x="1235" y="335"/>
                    </a:lnTo>
                    <a:lnTo>
                      <a:pt x="1235" y="337"/>
                    </a:lnTo>
                    <a:lnTo>
                      <a:pt x="1236" y="337"/>
                    </a:lnTo>
                    <a:lnTo>
                      <a:pt x="1238" y="337"/>
                    </a:lnTo>
                    <a:lnTo>
                      <a:pt x="1238" y="338"/>
                    </a:lnTo>
                    <a:lnTo>
                      <a:pt x="1240" y="338"/>
                    </a:lnTo>
                    <a:lnTo>
                      <a:pt x="1240" y="340"/>
                    </a:lnTo>
                    <a:lnTo>
                      <a:pt x="1240" y="342"/>
                    </a:lnTo>
                    <a:lnTo>
                      <a:pt x="1241" y="342"/>
                    </a:lnTo>
                    <a:lnTo>
                      <a:pt x="1241" y="343"/>
                    </a:lnTo>
                    <a:lnTo>
                      <a:pt x="1243" y="343"/>
                    </a:lnTo>
                    <a:lnTo>
                      <a:pt x="1243" y="345"/>
                    </a:lnTo>
                    <a:lnTo>
                      <a:pt x="1245" y="345"/>
                    </a:lnTo>
                    <a:lnTo>
                      <a:pt x="1247" y="345"/>
                    </a:lnTo>
                    <a:lnTo>
                      <a:pt x="1248" y="345"/>
                    </a:lnTo>
                    <a:lnTo>
                      <a:pt x="1250" y="345"/>
                    </a:lnTo>
                    <a:lnTo>
                      <a:pt x="1252" y="345"/>
                    </a:lnTo>
                    <a:lnTo>
                      <a:pt x="1253" y="345"/>
                    </a:lnTo>
                    <a:lnTo>
                      <a:pt x="1253" y="347"/>
                    </a:lnTo>
                    <a:lnTo>
                      <a:pt x="1255" y="347"/>
                    </a:lnTo>
                    <a:lnTo>
                      <a:pt x="1255" y="348"/>
                    </a:lnTo>
                    <a:lnTo>
                      <a:pt x="1257" y="348"/>
                    </a:lnTo>
                    <a:lnTo>
                      <a:pt x="1258" y="348"/>
                    </a:lnTo>
                    <a:lnTo>
                      <a:pt x="1258" y="350"/>
                    </a:lnTo>
                    <a:lnTo>
                      <a:pt x="1260" y="350"/>
                    </a:lnTo>
                    <a:lnTo>
                      <a:pt x="1262" y="350"/>
                    </a:lnTo>
                    <a:lnTo>
                      <a:pt x="1264" y="350"/>
                    </a:lnTo>
                    <a:lnTo>
                      <a:pt x="1262" y="350"/>
                    </a:lnTo>
                    <a:lnTo>
                      <a:pt x="1264" y="350"/>
                    </a:lnTo>
                    <a:lnTo>
                      <a:pt x="1265" y="350"/>
                    </a:lnTo>
                    <a:lnTo>
                      <a:pt x="1267" y="350"/>
                    </a:lnTo>
                    <a:lnTo>
                      <a:pt x="1267" y="348"/>
                    </a:lnTo>
                    <a:lnTo>
                      <a:pt x="1269" y="350"/>
                    </a:lnTo>
                    <a:lnTo>
                      <a:pt x="1270" y="350"/>
                    </a:lnTo>
                    <a:lnTo>
                      <a:pt x="1272" y="350"/>
                    </a:lnTo>
                    <a:lnTo>
                      <a:pt x="1274" y="350"/>
                    </a:lnTo>
                    <a:lnTo>
                      <a:pt x="1275" y="350"/>
                    </a:lnTo>
                    <a:lnTo>
                      <a:pt x="1277" y="350"/>
                    </a:lnTo>
                    <a:lnTo>
                      <a:pt x="1279" y="350"/>
                    </a:lnTo>
                    <a:lnTo>
                      <a:pt x="1281" y="348"/>
                    </a:lnTo>
                    <a:lnTo>
                      <a:pt x="1282" y="348"/>
                    </a:lnTo>
                    <a:lnTo>
                      <a:pt x="1284" y="348"/>
                    </a:lnTo>
                    <a:lnTo>
                      <a:pt x="1286" y="348"/>
                    </a:lnTo>
                    <a:lnTo>
                      <a:pt x="1287" y="348"/>
                    </a:lnTo>
                    <a:lnTo>
                      <a:pt x="1289" y="350"/>
                    </a:lnTo>
                    <a:lnTo>
                      <a:pt x="1291" y="350"/>
                    </a:lnTo>
                    <a:lnTo>
                      <a:pt x="1292" y="350"/>
                    </a:lnTo>
                    <a:lnTo>
                      <a:pt x="1294" y="350"/>
                    </a:lnTo>
                    <a:lnTo>
                      <a:pt x="1294" y="352"/>
                    </a:lnTo>
                    <a:lnTo>
                      <a:pt x="1296" y="350"/>
                    </a:lnTo>
                    <a:lnTo>
                      <a:pt x="1296" y="352"/>
                    </a:lnTo>
                    <a:lnTo>
                      <a:pt x="1298" y="352"/>
                    </a:lnTo>
                    <a:lnTo>
                      <a:pt x="1299" y="352"/>
                    </a:lnTo>
                    <a:lnTo>
                      <a:pt x="1301" y="352"/>
                    </a:lnTo>
                    <a:lnTo>
                      <a:pt x="1301" y="354"/>
                    </a:lnTo>
                    <a:lnTo>
                      <a:pt x="1303" y="354"/>
                    </a:lnTo>
                    <a:lnTo>
                      <a:pt x="1303" y="355"/>
                    </a:lnTo>
                    <a:lnTo>
                      <a:pt x="1304" y="357"/>
                    </a:lnTo>
                    <a:lnTo>
                      <a:pt x="1304" y="359"/>
                    </a:lnTo>
                    <a:lnTo>
                      <a:pt x="1306" y="360"/>
                    </a:lnTo>
                    <a:lnTo>
                      <a:pt x="1306" y="362"/>
                    </a:lnTo>
                    <a:lnTo>
                      <a:pt x="1308" y="364"/>
                    </a:lnTo>
                    <a:lnTo>
                      <a:pt x="1308" y="365"/>
                    </a:lnTo>
                    <a:lnTo>
                      <a:pt x="1308" y="367"/>
                    </a:lnTo>
                    <a:lnTo>
                      <a:pt x="1309" y="367"/>
                    </a:lnTo>
                    <a:lnTo>
                      <a:pt x="1309" y="369"/>
                    </a:lnTo>
                    <a:lnTo>
                      <a:pt x="1309" y="371"/>
                    </a:lnTo>
                    <a:lnTo>
                      <a:pt x="1309" y="372"/>
                    </a:lnTo>
                    <a:lnTo>
                      <a:pt x="1309" y="374"/>
                    </a:lnTo>
                    <a:lnTo>
                      <a:pt x="1311" y="374"/>
                    </a:lnTo>
                    <a:lnTo>
                      <a:pt x="1311" y="376"/>
                    </a:lnTo>
                    <a:lnTo>
                      <a:pt x="1311" y="377"/>
                    </a:lnTo>
                    <a:lnTo>
                      <a:pt x="1311" y="379"/>
                    </a:lnTo>
                    <a:lnTo>
                      <a:pt x="1313" y="379"/>
                    </a:lnTo>
                    <a:lnTo>
                      <a:pt x="1313" y="381"/>
                    </a:lnTo>
                    <a:lnTo>
                      <a:pt x="1313" y="382"/>
                    </a:lnTo>
                    <a:lnTo>
                      <a:pt x="1313" y="384"/>
                    </a:lnTo>
                    <a:lnTo>
                      <a:pt x="1313" y="386"/>
                    </a:lnTo>
                    <a:lnTo>
                      <a:pt x="1313" y="388"/>
                    </a:lnTo>
                    <a:lnTo>
                      <a:pt x="1315" y="388"/>
                    </a:lnTo>
                    <a:lnTo>
                      <a:pt x="1315" y="389"/>
                    </a:lnTo>
                    <a:lnTo>
                      <a:pt x="1315" y="391"/>
                    </a:lnTo>
                    <a:lnTo>
                      <a:pt x="1316" y="391"/>
                    </a:lnTo>
                    <a:lnTo>
                      <a:pt x="1315" y="391"/>
                    </a:lnTo>
                    <a:lnTo>
                      <a:pt x="1316" y="393"/>
                    </a:lnTo>
                    <a:lnTo>
                      <a:pt x="1316" y="394"/>
                    </a:lnTo>
                    <a:lnTo>
                      <a:pt x="1318" y="394"/>
                    </a:lnTo>
                    <a:lnTo>
                      <a:pt x="1318" y="396"/>
                    </a:lnTo>
                    <a:lnTo>
                      <a:pt x="1318" y="398"/>
                    </a:lnTo>
                    <a:lnTo>
                      <a:pt x="1318" y="399"/>
                    </a:lnTo>
                    <a:lnTo>
                      <a:pt x="1318" y="401"/>
                    </a:lnTo>
                    <a:lnTo>
                      <a:pt x="1318" y="403"/>
                    </a:lnTo>
                    <a:lnTo>
                      <a:pt x="1318" y="405"/>
                    </a:lnTo>
                    <a:lnTo>
                      <a:pt x="1320" y="405"/>
                    </a:lnTo>
                    <a:lnTo>
                      <a:pt x="1318" y="405"/>
                    </a:lnTo>
                    <a:lnTo>
                      <a:pt x="1320" y="405"/>
                    </a:lnTo>
                    <a:lnTo>
                      <a:pt x="1318" y="406"/>
                    </a:lnTo>
                    <a:lnTo>
                      <a:pt x="1320" y="406"/>
                    </a:lnTo>
                    <a:lnTo>
                      <a:pt x="1318" y="406"/>
                    </a:lnTo>
                    <a:lnTo>
                      <a:pt x="1320" y="406"/>
                    </a:lnTo>
                    <a:lnTo>
                      <a:pt x="1320" y="408"/>
                    </a:lnTo>
                    <a:lnTo>
                      <a:pt x="1320" y="410"/>
                    </a:lnTo>
                    <a:lnTo>
                      <a:pt x="1320" y="411"/>
                    </a:lnTo>
                    <a:lnTo>
                      <a:pt x="1321" y="411"/>
                    </a:lnTo>
                    <a:lnTo>
                      <a:pt x="1321" y="413"/>
                    </a:lnTo>
                    <a:lnTo>
                      <a:pt x="1323" y="413"/>
                    </a:lnTo>
                    <a:lnTo>
                      <a:pt x="1323" y="415"/>
                    </a:lnTo>
                    <a:lnTo>
                      <a:pt x="1323" y="416"/>
                    </a:lnTo>
                    <a:lnTo>
                      <a:pt x="1321" y="416"/>
                    </a:lnTo>
                    <a:lnTo>
                      <a:pt x="1323" y="418"/>
                    </a:lnTo>
                    <a:lnTo>
                      <a:pt x="1321" y="418"/>
                    </a:lnTo>
                    <a:lnTo>
                      <a:pt x="1323" y="418"/>
                    </a:lnTo>
                    <a:lnTo>
                      <a:pt x="1323" y="420"/>
                    </a:lnTo>
                    <a:lnTo>
                      <a:pt x="1323" y="422"/>
                    </a:lnTo>
                    <a:lnTo>
                      <a:pt x="1323" y="423"/>
                    </a:lnTo>
                    <a:lnTo>
                      <a:pt x="1323" y="425"/>
                    </a:lnTo>
                    <a:lnTo>
                      <a:pt x="1323" y="427"/>
                    </a:lnTo>
                    <a:lnTo>
                      <a:pt x="1323" y="428"/>
                    </a:lnTo>
                    <a:lnTo>
                      <a:pt x="1323" y="430"/>
                    </a:lnTo>
                    <a:lnTo>
                      <a:pt x="1323" y="432"/>
                    </a:lnTo>
                    <a:lnTo>
                      <a:pt x="1323" y="433"/>
                    </a:lnTo>
                    <a:lnTo>
                      <a:pt x="1321" y="433"/>
                    </a:lnTo>
                    <a:lnTo>
                      <a:pt x="1323" y="435"/>
                    </a:lnTo>
                    <a:lnTo>
                      <a:pt x="1323" y="437"/>
                    </a:lnTo>
                    <a:lnTo>
                      <a:pt x="1323" y="439"/>
                    </a:lnTo>
                    <a:lnTo>
                      <a:pt x="1321" y="439"/>
                    </a:lnTo>
                    <a:lnTo>
                      <a:pt x="1323" y="439"/>
                    </a:lnTo>
                    <a:lnTo>
                      <a:pt x="1321" y="439"/>
                    </a:lnTo>
                    <a:lnTo>
                      <a:pt x="1323" y="440"/>
                    </a:lnTo>
                    <a:lnTo>
                      <a:pt x="1321" y="442"/>
                    </a:lnTo>
                    <a:lnTo>
                      <a:pt x="1321" y="444"/>
                    </a:lnTo>
                    <a:lnTo>
                      <a:pt x="1323" y="445"/>
                    </a:lnTo>
                    <a:lnTo>
                      <a:pt x="1323" y="447"/>
                    </a:lnTo>
                    <a:lnTo>
                      <a:pt x="1321" y="449"/>
                    </a:lnTo>
                    <a:lnTo>
                      <a:pt x="1321" y="450"/>
                    </a:lnTo>
                    <a:lnTo>
                      <a:pt x="1320" y="452"/>
                    </a:lnTo>
                    <a:lnTo>
                      <a:pt x="1321" y="452"/>
                    </a:lnTo>
                    <a:lnTo>
                      <a:pt x="1320" y="452"/>
                    </a:lnTo>
                    <a:lnTo>
                      <a:pt x="1320" y="454"/>
                    </a:lnTo>
                    <a:lnTo>
                      <a:pt x="1320" y="456"/>
                    </a:lnTo>
                    <a:lnTo>
                      <a:pt x="1320" y="457"/>
                    </a:lnTo>
                    <a:lnTo>
                      <a:pt x="1318" y="457"/>
                    </a:lnTo>
                    <a:lnTo>
                      <a:pt x="1318" y="459"/>
                    </a:lnTo>
                    <a:lnTo>
                      <a:pt x="1318" y="461"/>
                    </a:lnTo>
                    <a:lnTo>
                      <a:pt x="1318" y="462"/>
                    </a:lnTo>
                    <a:lnTo>
                      <a:pt x="1318" y="464"/>
                    </a:lnTo>
                    <a:lnTo>
                      <a:pt x="1316" y="464"/>
                    </a:lnTo>
                    <a:lnTo>
                      <a:pt x="1316" y="466"/>
                    </a:lnTo>
                    <a:lnTo>
                      <a:pt x="1316" y="467"/>
                    </a:lnTo>
                    <a:lnTo>
                      <a:pt x="1315" y="469"/>
                    </a:lnTo>
                    <a:lnTo>
                      <a:pt x="1315" y="471"/>
                    </a:lnTo>
                    <a:lnTo>
                      <a:pt x="1315" y="473"/>
                    </a:lnTo>
                    <a:lnTo>
                      <a:pt x="1313" y="473"/>
                    </a:lnTo>
                    <a:lnTo>
                      <a:pt x="1315" y="473"/>
                    </a:lnTo>
                    <a:lnTo>
                      <a:pt x="1313" y="474"/>
                    </a:lnTo>
                    <a:lnTo>
                      <a:pt x="1313" y="476"/>
                    </a:lnTo>
                    <a:lnTo>
                      <a:pt x="1313" y="478"/>
                    </a:lnTo>
                    <a:lnTo>
                      <a:pt x="1311" y="478"/>
                    </a:lnTo>
                    <a:lnTo>
                      <a:pt x="1313" y="478"/>
                    </a:lnTo>
                    <a:lnTo>
                      <a:pt x="1311" y="479"/>
                    </a:lnTo>
                    <a:lnTo>
                      <a:pt x="1311" y="481"/>
                    </a:lnTo>
                    <a:lnTo>
                      <a:pt x="1311" y="483"/>
                    </a:lnTo>
                    <a:lnTo>
                      <a:pt x="1309" y="483"/>
                    </a:lnTo>
                    <a:lnTo>
                      <a:pt x="1309" y="485"/>
                    </a:lnTo>
                    <a:lnTo>
                      <a:pt x="1308" y="485"/>
                    </a:lnTo>
                    <a:lnTo>
                      <a:pt x="1308" y="486"/>
                    </a:lnTo>
                    <a:lnTo>
                      <a:pt x="1308" y="488"/>
                    </a:lnTo>
                    <a:lnTo>
                      <a:pt x="1306" y="488"/>
                    </a:lnTo>
                    <a:lnTo>
                      <a:pt x="1306" y="490"/>
                    </a:lnTo>
                    <a:lnTo>
                      <a:pt x="1306" y="491"/>
                    </a:lnTo>
                    <a:lnTo>
                      <a:pt x="1304" y="491"/>
                    </a:lnTo>
                    <a:lnTo>
                      <a:pt x="1304" y="493"/>
                    </a:lnTo>
                    <a:lnTo>
                      <a:pt x="1303" y="493"/>
                    </a:lnTo>
                    <a:lnTo>
                      <a:pt x="1303" y="495"/>
                    </a:lnTo>
                    <a:lnTo>
                      <a:pt x="1301" y="495"/>
                    </a:lnTo>
                    <a:lnTo>
                      <a:pt x="1301" y="496"/>
                    </a:lnTo>
                    <a:lnTo>
                      <a:pt x="1299" y="496"/>
                    </a:lnTo>
                    <a:lnTo>
                      <a:pt x="1299" y="498"/>
                    </a:lnTo>
                    <a:lnTo>
                      <a:pt x="1298" y="500"/>
                    </a:lnTo>
                    <a:lnTo>
                      <a:pt x="1296" y="500"/>
                    </a:lnTo>
                    <a:lnTo>
                      <a:pt x="1296" y="502"/>
                    </a:lnTo>
                    <a:lnTo>
                      <a:pt x="1294" y="502"/>
                    </a:lnTo>
                    <a:lnTo>
                      <a:pt x="1294" y="503"/>
                    </a:lnTo>
                    <a:lnTo>
                      <a:pt x="1292" y="505"/>
                    </a:lnTo>
                    <a:lnTo>
                      <a:pt x="1292" y="507"/>
                    </a:lnTo>
                    <a:lnTo>
                      <a:pt x="1291" y="507"/>
                    </a:lnTo>
                    <a:lnTo>
                      <a:pt x="1289" y="507"/>
                    </a:lnTo>
                    <a:lnTo>
                      <a:pt x="1289" y="508"/>
                    </a:lnTo>
                    <a:lnTo>
                      <a:pt x="1289" y="510"/>
                    </a:lnTo>
                    <a:lnTo>
                      <a:pt x="1287" y="510"/>
                    </a:lnTo>
                    <a:lnTo>
                      <a:pt x="1287" y="512"/>
                    </a:lnTo>
                    <a:lnTo>
                      <a:pt x="1286" y="512"/>
                    </a:lnTo>
                    <a:lnTo>
                      <a:pt x="1286" y="513"/>
                    </a:lnTo>
                    <a:lnTo>
                      <a:pt x="1284" y="513"/>
                    </a:lnTo>
                    <a:lnTo>
                      <a:pt x="1284" y="515"/>
                    </a:lnTo>
                    <a:lnTo>
                      <a:pt x="1284" y="517"/>
                    </a:lnTo>
                    <a:lnTo>
                      <a:pt x="1282" y="517"/>
                    </a:lnTo>
                    <a:lnTo>
                      <a:pt x="1282" y="519"/>
                    </a:lnTo>
                    <a:lnTo>
                      <a:pt x="1281" y="520"/>
                    </a:lnTo>
                    <a:lnTo>
                      <a:pt x="1279" y="520"/>
                    </a:lnTo>
                    <a:lnTo>
                      <a:pt x="1279" y="522"/>
                    </a:lnTo>
                    <a:lnTo>
                      <a:pt x="1279" y="524"/>
                    </a:lnTo>
                    <a:lnTo>
                      <a:pt x="1277" y="522"/>
                    </a:lnTo>
                    <a:lnTo>
                      <a:pt x="1277" y="524"/>
                    </a:lnTo>
                    <a:lnTo>
                      <a:pt x="1275" y="524"/>
                    </a:lnTo>
                    <a:lnTo>
                      <a:pt x="1275" y="525"/>
                    </a:lnTo>
                    <a:lnTo>
                      <a:pt x="1274" y="525"/>
                    </a:lnTo>
                    <a:lnTo>
                      <a:pt x="1274" y="527"/>
                    </a:lnTo>
                    <a:lnTo>
                      <a:pt x="1272" y="527"/>
                    </a:lnTo>
                    <a:lnTo>
                      <a:pt x="1272" y="529"/>
                    </a:lnTo>
                    <a:lnTo>
                      <a:pt x="1272" y="530"/>
                    </a:lnTo>
                    <a:lnTo>
                      <a:pt x="1270" y="532"/>
                    </a:lnTo>
                    <a:lnTo>
                      <a:pt x="1270" y="534"/>
                    </a:lnTo>
                    <a:lnTo>
                      <a:pt x="1269" y="534"/>
                    </a:lnTo>
                    <a:lnTo>
                      <a:pt x="1269" y="536"/>
                    </a:lnTo>
                    <a:lnTo>
                      <a:pt x="1267" y="536"/>
                    </a:lnTo>
                    <a:lnTo>
                      <a:pt x="1265" y="536"/>
                    </a:lnTo>
                    <a:lnTo>
                      <a:pt x="1264" y="537"/>
                    </a:lnTo>
                    <a:lnTo>
                      <a:pt x="1262" y="537"/>
                    </a:lnTo>
                    <a:lnTo>
                      <a:pt x="1260" y="539"/>
                    </a:lnTo>
                    <a:lnTo>
                      <a:pt x="1258" y="539"/>
                    </a:lnTo>
                    <a:lnTo>
                      <a:pt x="1258" y="541"/>
                    </a:lnTo>
                    <a:lnTo>
                      <a:pt x="1257" y="541"/>
                    </a:lnTo>
                    <a:lnTo>
                      <a:pt x="1255" y="541"/>
                    </a:lnTo>
                    <a:lnTo>
                      <a:pt x="1255" y="542"/>
                    </a:lnTo>
                    <a:lnTo>
                      <a:pt x="1253" y="542"/>
                    </a:lnTo>
                    <a:lnTo>
                      <a:pt x="1253" y="544"/>
                    </a:lnTo>
                    <a:lnTo>
                      <a:pt x="1252" y="546"/>
                    </a:lnTo>
                    <a:lnTo>
                      <a:pt x="1250" y="547"/>
                    </a:lnTo>
                    <a:lnTo>
                      <a:pt x="1248" y="549"/>
                    </a:lnTo>
                    <a:lnTo>
                      <a:pt x="1248" y="551"/>
                    </a:lnTo>
                    <a:lnTo>
                      <a:pt x="1248" y="549"/>
                    </a:lnTo>
                    <a:lnTo>
                      <a:pt x="1248" y="551"/>
                    </a:lnTo>
                    <a:lnTo>
                      <a:pt x="1247" y="551"/>
                    </a:lnTo>
                    <a:lnTo>
                      <a:pt x="1247" y="553"/>
                    </a:lnTo>
                    <a:lnTo>
                      <a:pt x="1245" y="554"/>
                    </a:lnTo>
                    <a:lnTo>
                      <a:pt x="1245" y="556"/>
                    </a:lnTo>
                    <a:lnTo>
                      <a:pt x="1243" y="556"/>
                    </a:lnTo>
                    <a:lnTo>
                      <a:pt x="1243" y="558"/>
                    </a:lnTo>
                    <a:lnTo>
                      <a:pt x="1243" y="559"/>
                    </a:lnTo>
                    <a:lnTo>
                      <a:pt x="1241" y="559"/>
                    </a:lnTo>
                    <a:lnTo>
                      <a:pt x="1241" y="561"/>
                    </a:lnTo>
                    <a:lnTo>
                      <a:pt x="1240" y="561"/>
                    </a:lnTo>
                    <a:lnTo>
                      <a:pt x="1240" y="563"/>
                    </a:lnTo>
                    <a:lnTo>
                      <a:pt x="1238" y="564"/>
                    </a:lnTo>
                    <a:lnTo>
                      <a:pt x="1238" y="566"/>
                    </a:lnTo>
                    <a:lnTo>
                      <a:pt x="1236" y="566"/>
                    </a:lnTo>
                    <a:lnTo>
                      <a:pt x="1238" y="568"/>
                    </a:lnTo>
                    <a:lnTo>
                      <a:pt x="1236" y="568"/>
                    </a:lnTo>
                    <a:lnTo>
                      <a:pt x="1236" y="570"/>
                    </a:lnTo>
                    <a:lnTo>
                      <a:pt x="1235" y="571"/>
                    </a:lnTo>
                    <a:lnTo>
                      <a:pt x="1233" y="573"/>
                    </a:lnTo>
                    <a:lnTo>
                      <a:pt x="1233" y="575"/>
                    </a:lnTo>
                    <a:lnTo>
                      <a:pt x="1233" y="576"/>
                    </a:lnTo>
                    <a:lnTo>
                      <a:pt x="1231" y="576"/>
                    </a:lnTo>
                    <a:lnTo>
                      <a:pt x="1231" y="578"/>
                    </a:lnTo>
                    <a:lnTo>
                      <a:pt x="1231" y="580"/>
                    </a:lnTo>
                    <a:lnTo>
                      <a:pt x="1230" y="581"/>
                    </a:lnTo>
                    <a:lnTo>
                      <a:pt x="1230" y="583"/>
                    </a:lnTo>
                    <a:lnTo>
                      <a:pt x="1228" y="585"/>
                    </a:lnTo>
                    <a:lnTo>
                      <a:pt x="1228" y="587"/>
                    </a:lnTo>
                    <a:lnTo>
                      <a:pt x="1226" y="588"/>
                    </a:lnTo>
                    <a:lnTo>
                      <a:pt x="1226" y="590"/>
                    </a:lnTo>
                    <a:lnTo>
                      <a:pt x="1224" y="592"/>
                    </a:lnTo>
                    <a:lnTo>
                      <a:pt x="1223" y="593"/>
                    </a:lnTo>
                    <a:lnTo>
                      <a:pt x="1223" y="595"/>
                    </a:lnTo>
                    <a:lnTo>
                      <a:pt x="1221" y="597"/>
                    </a:lnTo>
                    <a:lnTo>
                      <a:pt x="1221" y="598"/>
                    </a:lnTo>
                    <a:lnTo>
                      <a:pt x="1219" y="598"/>
                    </a:lnTo>
                    <a:lnTo>
                      <a:pt x="1219" y="600"/>
                    </a:lnTo>
                    <a:lnTo>
                      <a:pt x="1218" y="600"/>
                    </a:lnTo>
                    <a:lnTo>
                      <a:pt x="1218" y="602"/>
                    </a:lnTo>
                    <a:lnTo>
                      <a:pt x="1218" y="604"/>
                    </a:lnTo>
                    <a:lnTo>
                      <a:pt x="1216" y="604"/>
                    </a:lnTo>
                    <a:lnTo>
                      <a:pt x="1216" y="605"/>
                    </a:lnTo>
                    <a:lnTo>
                      <a:pt x="1214" y="607"/>
                    </a:lnTo>
                    <a:lnTo>
                      <a:pt x="1214" y="609"/>
                    </a:lnTo>
                    <a:lnTo>
                      <a:pt x="1213" y="609"/>
                    </a:lnTo>
                    <a:lnTo>
                      <a:pt x="1213" y="610"/>
                    </a:lnTo>
                    <a:lnTo>
                      <a:pt x="1211" y="610"/>
                    </a:lnTo>
                    <a:lnTo>
                      <a:pt x="1211" y="612"/>
                    </a:lnTo>
                    <a:lnTo>
                      <a:pt x="1209" y="612"/>
                    </a:lnTo>
                    <a:lnTo>
                      <a:pt x="1209" y="614"/>
                    </a:lnTo>
                    <a:lnTo>
                      <a:pt x="1207" y="614"/>
                    </a:lnTo>
                    <a:lnTo>
                      <a:pt x="1207" y="615"/>
                    </a:lnTo>
                    <a:lnTo>
                      <a:pt x="1206" y="615"/>
                    </a:lnTo>
                    <a:lnTo>
                      <a:pt x="1206" y="617"/>
                    </a:lnTo>
                    <a:lnTo>
                      <a:pt x="1204" y="617"/>
                    </a:lnTo>
                    <a:lnTo>
                      <a:pt x="1204" y="619"/>
                    </a:lnTo>
                    <a:lnTo>
                      <a:pt x="1202" y="619"/>
                    </a:lnTo>
                    <a:lnTo>
                      <a:pt x="1201" y="621"/>
                    </a:lnTo>
                    <a:lnTo>
                      <a:pt x="1199" y="621"/>
                    </a:lnTo>
                    <a:lnTo>
                      <a:pt x="1197" y="621"/>
                    </a:lnTo>
                    <a:lnTo>
                      <a:pt x="1199" y="619"/>
                    </a:lnTo>
                    <a:lnTo>
                      <a:pt x="1197" y="619"/>
                    </a:lnTo>
                    <a:lnTo>
                      <a:pt x="1199" y="617"/>
                    </a:lnTo>
                    <a:lnTo>
                      <a:pt x="1199" y="619"/>
                    </a:lnTo>
                    <a:lnTo>
                      <a:pt x="1199" y="617"/>
                    </a:lnTo>
                    <a:lnTo>
                      <a:pt x="1199" y="615"/>
                    </a:lnTo>
                    <a:lnTo>
                      <a:pt x="1199" y="614"/>
                    </a:lnTo>
                    <a:lnTo>
                      <a:pt x="1201" y="614"/>
                    </a:lnTo>
                    <a:lnTo>
                      <a:pt x="1201" y="612"/>
                    </a:lnTo>
                    <a:lnTo>
                      <a:pt x="1201" y="614"/>
                    </a:lnTo>
                    <a:lnTo>
                      <a:pt x="1201" y="612"/>
                    </a:lnTo>
                    <a:lnTo>
                      <a:pt x="1199" y="614"/>
                    </a:lnTo>
                    <a:lnTo>
                      <a:pt x="1199" y="612"/>
                    </a:lnTo>
                    <a:lnTo>
                      <a:pt x="1199" y="614"/>
                    </a:lnTo>
                    <a:lnTo>
                      <a:pt x="1199" y="612"/>
                    </a:lnTo>
                    <a:lnTo>
                      <a:pt x="1197" y="612"/>
                    </a:lnTo>
                    <a:lnTo>
                      <a:pt x="1197" y="610"/>
                    </a:lnTo>
                    <a:lnTo>
                      <a:pt x="1196" y="610"/>
                    </a:lnTo>
                    <a:lnTo>
                      <a:pt x="1196" y="612"/>
                    </a:lnTo>
                    <a:lnTo>
                      <a:pt x="1194" y="610"/>
                    </a:lnTo>
                    <a:lnTo>
                      <a:pt x="1194" y="609"/>
                    </a:lnTo>
                    <a:lnTo>
                      <a:pt x="1194" y="610"/>
                    </a:lnTo>
                    <a:lnTo>
                      <a:pt x="1194" y="609"/>
                    </a:lnTo>
                    <a:lnTo>
                      <a:pt x="1192" y="609"/>
                    </a:lnTo>
                    <a:lnTo>
                      <a:pt x="1192" y="607"/>
                    </a:lnTo>
                    <a:lnTo>
                      <a:pt x="1192" y="609"/>
                    </a:lnTo>
                    <a:lnTo>
                      <a:pt x="1190" y="609"/>
                    </a:lnTo>
                    <a:lnTo>
                      <a:pt x="1190" y="607"/>
                    </a:lnTo>
                    <a:lnTo>
                      <a:pt x="1190" y="609"/>
                    </a:lnTo>
                    <a:lnTo>
                      <a:pt x="1190" y="610"/>
                    </a:lnTo>
                    <a:lnTo>
                      <a:pt x="1190" y="612"/>
                    </a:lnTo>
                    <a:lnTo>
                      <a:pt x="1189" y="614"/>
                    </a:lnTo>
                    <a:lnTo>
                      <a:pt x="1189" y="615"/>
                    </a:lnTo>
                    <a:lnTo>
                      <a:pt x="1187" y="615"/>
                    </a:lnTo>
                    <a:lnTo>
                      <a:pt x="1187" y="614"/>
                    </a:lnTo>
                    <a:lnTo>
                      <a:pt x="1185" y="612"/>
                    </a:lnTo>
                    <a:lnTo>
                      <a:pt x="1185" y="610"/>
                    </a:lnTo>
                    <a:lnTo>
                      <a:pt x="1187" y="610"/>
                    </a:lnTo>
                    <a:lnTo>
                      <a:pt x="1187" y="609"/>
                    </a:lnTo>
                    <a:lnTo>
                      <a:pt x="1185" y="609"/>
                    </a:lnTo>
                    <a:lnTo>
                      <a:pt x="1187" y="609"/>
                    </a:lnTo>
                    <a:lnTo>
                      <a:pt x="1185" y="610"/>
                    </a:lnTo>
                    <a:lnTo>
                      <a:pt x="1185" y="609"/>
                    </a:lnTo>
                    <a:lnTo>
                      <a:pt x="1185" y="610"/>
                    </a:lnTo>
                    <a:lnTo>
                      <a:pt x="1184" y="612"/>
                    </a:lnTo>
                    <a:lnTo>
                      <a:pt x="1185" y="612"/>
                    </a:lnTo>
                    <a:lnTo>
                      <a:pt x="1185" y="614"/>
                    </a:lnTo>
                    <a:lnTo>
                      <a:pt x="1184" y="614"/>
                    </a:lnTo>
                    <a:lnTo>
                      <a:pt x="1185" y="614"/>
                    </a:lnTo>
                    <a:lnTo>
                      <a:pt x="1187" y="614"/>
                    </a:lnTo>
                    <a:lnTo>
                      <a:pt x="1185" y="614"/>
                    </a:lnTo>
                    <a:lnTo>
                      <a:pt x="1187" y="615"/>
                    </a:lnTo>
                    <a:lnTo>
                      <a:pt x="1189" y="615"/>
                    </a:lnTo>
                    <a:lnTo>
                      <a:pt x="1189" y="617"/>
                    </a:lnTo>
                    <a:lnTo>
                      <a:pt x="1190" y="615"/>
                    </a:lnTo>
                    <a:lnTo>
                      <a:pt x="1190" y="617"/>
                    </a:lnTo>
                    <a:lnTo>
                      <a:pt x="1189" y="617"/>
                    </a:lnTo>
                    <a:lnTo>
                      <a:pt x="1189" y="619"/>
                    </a:lnTo>
                    <a:lnTo>
                      <a:pt x="1189" y="621"/>
                    </a:lnTo>
                    <a:lnTo>
                      <a:pt x="1189" y="622"/>
                    </a:lnTo>
                    <a:lnTo>
                      <a:pt x="1190" y="622"/>
                    </a:lnTo>
                    <a:lnTo>
                      <a:pt x="1190" y="621"/>
                    </a:lnTo>
                    <a:lnTo>
                      <a:pt x="1192" y="621"/>
                    </a:lnTo>
                    <a:lnTo>
                      <a:pt x="1192" y="619"/>
                    </a:lnTo>
                    <a:lnTo>
                      <a:pt x="1192" y="617"/>
                    </a:lnTo>
                    <a:lnTo>
                      <a:pt x="1194" y="617"/>
                    </a:lnTo>
                    <a:lnTo>
                      <a:pt x="1194" y="619"/>
                    </a:lnTo>
                    <a:lnTo>
                      <a:pt x="1196" y="619"/>
                    </a:lnTo>
                    <a:lnTo>
                      <a:pt x="1194" y="621"/>
                    </a:lnTo>
                    <a:lnTo>
                      <a:pt x="1194" y="622"/>
                    </a:lnTo>
                    <a:lnTo>
                      <a:pt x="1192" y="622"/>
                    </a:lnTo>
                    <a:lnTo>
                      <a:pt x="1190" y="622"/>
                    </a:lnTo>
                    <a:lnTo>
                      <a:pt x="1190" y="624"/>
                    </a:lnTo>
                    <a:lnTo>
                      <a:pt x="1189" y="624"/>
                    </a:lnTo>
                    <a:lnTo>
                      <a:pt x="1189" y="626"/>
                    </a:lnTo>
                    <a:lnTo>
                      <a:pt x="1189" y="624"/>
                    </a:lnTo>
                    <a:lnTo>
                      <a:pt x="1187" y="624"/>
                    </a:lnTo>
                    <a:lnTo>
                      <a:pt x="1187" y="626"/>
                    </a:lnTo>
                    <a:lnTo>
                      <a:pt x="1189" y="626"/>
                    </a:lnTo>
                    <a:lnTo>
                      <a:pt x="1187" y="626"/>
                    </a:lnTo>
                    <a:lnTo>
                      <a:pt x="1187" y="627"/>
                    </a:lnTo>
                    <a:lnTo>
                      <a:pt x="1185" y="627"/>
                    </a:lnTo>
                    <a:lnTo>
                      <a:pt x="1184" y="629"/>
                    </a:lnTo>
                    <a:lnTo>
                      <a:pt x="1182" y="631"/>
                    </a:lnTo>
                    <a:lnTo>
                      <a:pt x="1182" y="632"/>
                    </a:lnTo>
                    <a:lnTo>
                      <a:pt x="1184" y="634"/>
                    </a:lnTo>
                    <a:lnTo>
                      <a:pt x="1185" y="634"/>
                    </a:lnTo>
                    <a:lnTo>
                      <a:pt x="1185" y="636"/>
                    </a:lnTo>
                    <a:lnTo>
                      <a:pt x="1185" y="638"/>
                    </a:lnTo>
                    <a:lnTo>
                      <a:pt x="1184" y="638"/>
                    </a:lnTo>
                    <a:lnTo>
                      <a:pt x="1185" y="638"/>
                    </a:lnTo>
                    <a:lnTo>
                      <a:pt x="1184" y="639"/>
                    </a:lnTo>
                    <a:lnTo>
                      <a:pt x="1184" y="641"/>
                    </a:lnTo>
                    <a:lnTo>
                      <a:pt x="1185" y="641"/>
                    </a:lnTo>
                    <a:lnTo>
                      <a:pt x="1185" y="643"/>
                    </a:lnTo>
                    <a:lnTo>
                      <a:pt x="1185" y="644"/>
                    </a:lnTo>
                    <a:lnTo>
                      <a:pt x="1184" y="644"/>
                    </a:lnTo>
                    <a:lnTo>
                      <a:pt x="1184" y="643"/>
                    </a:lnTo>
                    <a:lnTo>
                      <a:pt x="1184" y="644"/>
                    </a:lnTo>
                    <a:lnTo>
                      <a:pt x="1182" y="644"/>
                    </a:lnTo>
                    <a:lnTo>
                      <a:pt x="1182" y="646"/>
                    </a:lnTo>
                    <a:lnTo>
                      <a:pt x="1182" y="648"/>
                    </a:lnTo>
                    <a:lnTo>
                      <a:pt x="1182" y="650"/>
                    </a:lnTo>
                    <a:lnTo>
                      <a:pt x="1182" y="651"/>
                    </a:lnTo>
                    <a:lnTo>
                      <a:pt x="1180" y="651"/>
                    </a:lnTo>
                    <a:lnTo>
                      <a:pt x="1182" y="651"/>
                    </a:lnTo>
                    <a:lnTo>
                      <a:pt x="1182" y="653"/>
                    </a:lnTo>
                    <a:lnTo>
                      <a:pt x="1182" y="651"/>
                    </a:lnTo>
                    <a:lnTo>
                      <a:pt x="1184" y="651"/>
                    </a:lnTo>
                    <a:lnTo>
                      <a:pt x="1184" y="653"/>
                    </a:lnTo>
                    <a:lnTo>
                      <a:pt x="1184" y="655"/>
                    </a:lnTo>
                    <a:lnTo>
                      <a:pt x="1184" y="656"/>
                    </a:lnTo>
                    <a:lnTo>
                      <a:pt x="1184" y="658"/>
                    </a:lnTo>
                    <a:lnTo>
                      <a:pt x="1182" y="660"/>
                    </a:lnTo>
                    <a:lnTo>
                      <a:pt x="1182" y="661"/>
                    </a:lnTo>
                    <a:lnTo>
                      <a:pt x="1182" y="663"/>
                    </a:lnTo>
                    <a:lnTo>
                      <a:pt x="1182" y="665"/>
                    </a:lnTo>
                    <a:lnTo>
                      <a:pt x="1182" y="667"/>
                    </a:lnTo>
                    <a:lnTo>
                      <a:pt x="1182" y="668"/>
                    </a:lnTo>
                    <a:lnTo>
                      <a:pt x="1182" y="670"/>
                    </a:lnTo>
                    <a:lnTo>
                      <a:pt x="1180" y="670"/>
                    </a:lnTo>
                    <a:lnTo>
                      <a:pt x="1180" y="672"/>
                    </a:lnTo>
                    <a:lnTo>
                      <a:pt x="1180" y="673"/>
                    </a:lnTo>
                    <a:lnTo>
                      <a:pt x="1180" y="675"/>
                    </a:lnTo>
                    <a:lnTo>
                      <a:pt x="1180" y="677"/>
                    </a:lnTo>
                    <a:lnTo>
                      <a:pt x="1179" y="678"/>
                    </a:lnTo>
                    <a:lnTo>
                      <a:pt x="1179" y="680"/>
                    </a:lnTo>
                    <a:lnTo>
                      <a:pt x="1179" y="682"/>
                    </a:lnTo>
                    <a:lnTo>
                      <a:pt x="1180" y="682"/>
                    </a:lnTo>
                    <a:lnTo>
                      <a:pt x="1180" y="684"/>
                    </a:lnTo>
                    <a:lnTo>
                      <a:pt x="1180" y="682"/>
                    </a:lnTo>
                    <a:lnTo>
                      <a:pt x="1180" y="684"/>
                    </a:lnTo>
                    <a:lnTo>
                      <a:pt x="1180" y="685"/>
                    </a:lnTo>
                    <a:lnTo>
                      <a:pt x="1180" y="687"/>
                    </a:lnTo>
                    <a:lnTo>
                      <a:pt x="1180" y="689"/>
                    </a:lnTo>
                    <a:lnTo>
                      <a:pt x="1182" y="689"/>
                    </a:lnTo>
                    <a:lnTo>
                      <a:pt x="1182" y="690"/>
                    </a:lnTo>
                    <a:lnTo>
                      <a:pt x="1182" y="694"/>
                    </a:lnTo>
                    <a:lnTo>
                      <a:pt x="1182" y="695"/>
                    </a:lnTo>
                    <a:lnTo>
                      <a:pt x="1182" y="697"/>
                    </a:lnTo>
                    <a:lnTo>
                      <a:pt x="1182" y="699"/>
                    </a:lnTo>
                    <a:lnTo>
                      <a:pt x="1182" y="701"/>
                    </a:lnTo>
                    <a:lnTo>
                      <a:pt x="1182" y="702"/>
                    </a:lnTo>
                    <a:lnTo>
                      <a:pt x="1182" y="704"/>
                    </a:lnTo>
                    <a:lnTo>
                      <a:pt x="1184" y="706"/>
                    </a:lnTo>
                    <a:lnTo>
                      <a:pt x="1184" y="707"/>
                    </a:lnTo>
                    <a:lnTo>
                      <a:pt x="1184" y="709"/>
                    </a:lnTo>
                    <a:lnTo>
                      <a:pt x="1184" y="711"/>
                    </a:lnTo>
                    <a:lnTo>
                      <a:pt x="1184" y="712"/>
                    </a:lnTo>
                    <a:lnTo>
                      <a:pt x="1184" y="714"/>
                    </a:lnTo>
                    <a:lnTo>
                      <a:pt x="1184" y="716"/>
                    </a:lnTo>
                    <a:lnTo>
                      <a:pt x="1185" y="716"/>
                    </a:lnTo>
                    <a:lnTo>
                      <a:pt x="1185" y="718"/>
                    </a:lnTo>
                    <a:lnTo>
                      <a:pt x="1185" y="719"/>
                    </a:lnTo>
                    <a:lnTo>
                      <a:pt x="1187" y="719"/>
                    </a:lnTo>
                    <a:lnTo>
                      <a:pt x="1187" y="721"/>
                    </a:lnTo>
                    <a:lnTo>
                      <a:pt x="1185" y="721"/>
                    </a:lnTo>
                    <a:lnTo>
                      <a:pt x="1185" y="723"/>
                    </a:lnTo>
                    <a:lnTo>
                      <a:pt x="1185" y="724"/>
                    </a:lnTo>
                    <a:lnTo>
                      <a:pt x="1184" y="726"/>
                    </a:lnTo>
                    <a:lnTo>
                      <a:pt x="1184" y="728"/>
                    </a:lnTo>
                    <a:lnTo>
                      <a:pt x="1184" y="729"/>
                    </a:lnTo>
                    <a:lnTo>
                      <a:pt x="1184" y="731"/>
                    </a:lnTo>
                    <a:lnTo>
                      <a:pt x="1182" y="731"/>
                    </a:lnTo>
                    <a:lnTo>
                      <a:pt x="1182" y="733"/>
                    </a:lnTo>
                    <a:lnTo>
                      <a:pt x="1182" y="735"/>
                    </a:lnTo>
                    <a:lnTo>
                      <a:pt x="1180" y="735"/>
                    </a:lnTo>
                    <a:lnTo>
                      <a:pt x="1180" y="736"/>
                    </a:lnTo>
                    <a:lnTo>
                      <a:pt x="1182" y="736"/>
                    </a:lnTo>
                    <a:lnTo>
                      <a:pt x="1180" y="738"/>
                    </a:lnTo>
                    <a:lnTo>
                      <a:pt x="1182" y="738"/>
                    </a:lnTo>
                    <a:lnTo>
                      <a:pt x="1180" y="740"/>
                    </a:lnTo>
                    <a:lnTo>
                      <a:pt x="1180" y="741"/>
                    </a:lnTo>
                    <a:lnTo>
                      <a:pt x="1179" y="741"/>
                    </a:lnTo>
                    <a:lnTo>
                      <a:pt x="1180" y="741"/>
                    </a:lnTo>
                    <a:lnTo>
                      <a:pt x="1179" y="743"/>
                    </a:lnTo>
                    <a:lnTo>
                      <a:pt x="1179" y="745"/>
                    </a:lnTo>
                    <a:lnTo>
                      <a:pt x="1179" y="746"/>
                    </a:lnTo>
                    <a:lnTo>
                      <a:pt x="1179" y="748"/>
                    </a:lnTo>
                    <a:lnTo>
                      <a:pt x="1179" y="750"/>
                    </a:lnTo>
                    <a:lnTo>
                      <a:pt x="1177" y="750"/>
                    </a:lnTo>
                    <a:lnTo>
                      <a:pt x="1177" y="752"/>
                    </a:lnTo>
                    <a:lnTo>
                      <a:pt x="1177" y="753"/>
                    </a:lnTo>
                    <a:lnTo>
                      <a:pt x="1177" y="755"/>
                    </a:lnTo>
                    <a:lnTo>
                      <a:pt x="1177" y="757"/>
                    </a:lnTo>
                    <a:lnTo>
                      <a:pt x="1179" y="757"/>
                    </a:lnTo>
                    <a:lnTo>
                      <a:pt x="1177" y="757"/>
                    </a:lnTo>
                    <a:lnTo>
                      <a:pt x="1177" y="758"/>
                    </a:lnTo>
                    <a:lnTo>
                      <a:pt x="1177" y="760"/>
                    </a:lnTo>
                    <a:lnTo>
                      <a:pt x="1175" y="760"/>
                    </a:lnTo>
                    <a:lnTo>
                      <a:pt x="1175" y="762"/>
                    </a:lnTo>
                    <a:lnTo>
                      <a:pt x="1175" y="763"/>
                    </a:lnTo>
                    <a:lnTo>
                      <a:pt x="1175" y="765"/>
                    </a:lnTo>
                    <a:lnTo>
                      <a:pt x="1175" y="767"/>
                    </a:lnTo>
                    <a:lnTo>
                      <a:pt x="1173" y="769"/>
                    </a:lnTo>
                    <a:lnTo>
                      <a:pt x="1175" y="769"/>
                    </a:lnTo>
                    <a:lnTo>
                      <a:pt x="1173" y="770"/>
                    </a:lnTo>
                    <a:lnTo>
                      <a:pt x="1173" y="772"/>
                    </a:lnTo>
                    <a:lnTo>
                      <a:pt x="1175" y="774"/>
                    </a:lnTo>
                    <a:lnTo>
                      <a:pt x="1175" y="775"/>
                    </a:lnTo>
                    <a:lnTo>
                      <a:pt x="1175" y="777"/>
                    </a:lnTo>
                    <a:lnTo>
                      <a:pt x="1175" y="779"/>
                    </a:lnTo>
                    <a:lnTo>
                      <a:pt x="1175" y="780"/>
                    </a:lnTo>
                    <a:lnTo>
                      <a:pt x="1175" y="782"/>
                    </a:lnTo>
                    <a:lnTo>
                      <a:pt x="1175" y="784"/>
                    </a:lnTo>
                    <a:lnTo>
                      <a:pt x="1177" y="784"/>
                    </a:lnTo>
                    <a:lnTo>
                      <a:pt x="1177" y="786"/>
                    </a:lnTo>
                    <a:lnTo>
                      <a:pt x="1175" y="786"/>
                    </a:lnTo>
                    <a:lnTo>
                      <a:pt x="1175" y="787"/>
                    </a:lnTo>
                    <a:lnTo>
                      <a:pt x="1173" y="789"/>
                    </a:lnTo>
                    <a:lnTo>
                      <a:pt x="1173" y="791"/>
                    </a:lnTo>
                    <a:lnTo>
                      <a:pt x="1172" y="791"/>
                    </a:lnTo>
                    <a:lnTo>
                      <a:pt x="1172" y="792"/>
                    </a:lnTo>
                    <a:lnTo>
                      <a:pt x="1170" y="792"/>
                    </a:lnTo>
                    <a:lnTo>
                      <a:pt x="1168" y="792"/>
                    </a:lnTo>
                    <a:lnTo>
                      <a:pt x="1168" y="794"/>
                    </a:lnTo>
                    <a:lnTo>
                      <a:pt x="1167" y="794"/>
                    </a:lnTo>
                    <a:lnTo>
                      <a:pt x="1165" y="796"/>
                    </a:lnTo>
                    <a:lnTo>
                      <a:pt x="1163" y="797"/>
                    </a:lnTo>
                    <a:lnTo>
                      <a:pt x="1163" y="799"/>
                    </a:lnTo>
                    <a:lnTo>
                      <a:pt x="1162" y="801"/>
                    </a:lnTo>
                    <a:lnTo>
                      <a:pt x="1162" y="803"/>
                    </a:lnTo>
                    <a:lnTo>
                      <a:pt x="1160" y="804"/>
                    </a:lnTo>
                    <a:lnTo>
                      <a:pt x="1160" y="806"/>
                    </a:lnTo>
                    <a:lnTo>
                      <a:pt x="1160" y="808"/>
                    </a:lnTo>
                    <a:lnTo>
                      <a:pt x="1158" y="808"/>
                    </a:lnTo>
                    <a:lnTo>
                      <a:pt x="1158" y="809"/>
                    </a:lnTo>
                    <a:lnTo>
                      <a:pt x="1158" y="811"/>
                    </a:lnTo>
                    <a:lnTo>
                      <a:pt x="1158" y="813"/>
                    </a:lnTo>
                    <a:lnTo>
                      <a:pt x="1156" y="813"/>
                    </a:lnTo>
                    <a:lnTo>
                      <a:pt x="1156" y="815"/>
                    </a:lnTo>
                    <a:lnTo>
                      <a:pt x="1156" y="816"/>
                    </a:lnTo>
                    <a:lnTo>
                      <a:pt x="1156" y="818"/>
                    </a:lnTo>
                    <a:lnTo>
                      <a:pt x="1156" y="820"/>
                    </a:lnTo>
                    <a:lnTo>
                      <a:pt x="1156" y="821"/>
                    </a:lnTo>
                    <a:lnTo>
                      <a:pt x="1156" y="823"/>
                    </a:lnTo>
                    <a:lnTo>
                      <a:pt x="1156" y="825"/>
                    </a:lnTo>
                    <a:lnTo>
                      <a:pt x="1156" y="826"/>
                    </a:lnTo>
                    <a:lnTo>
                      <a:pt x="1156" y="828"/>
                    </a:lnTo>
                    <a:lnTo>
                      <a:pt x="1156" y="830"/>
                    </a:lnTo>
                    <a:lnTo>
                      <a:pt x="1156" y="832"/>
                    </a:lnTo>
                    <a:lnTo>
                      <a:pt x="1156" y="833"/>
                    </a:lnTo>
                    <a:lnTo>
                      <a:pt x="1156" y="835"/>
                    </a:lnTo>
                    <a:lnTo>
                      <a:pt x="1158" y="837"/>
                    </a:lnTo>
                    <a:lnTo>
                      <a:pt x="1158" y="838"/>
                    </a:lnTo>
                    <a:lnTo>
                      <a:pt x="1158" y="840"/>
                    </a:lnTo>
                    <a:lnTo>
                      <a:pt x="1158" y="842"/>
                    </a:lnTo>
                    <a:lnTo>
                      <a:pt x="1158" y="843"/>
                    </a:lnTo>
                    <a:lnTo>
                      <a:pt x="1158" y="845"/>
                    </a:lnTo>
                    <a:lnTo>
                      <a:pt x="1158" y="847"/>
                    </a:lnTo>
                    <a:lnTo>
                      <a:pt x="1156" y="849"/>
                    </a:lnTo>
                    <a:lnTo>
                      <a:pt x="1156" y="850"/>
                    </a:lnTo>
                    <a:lnTo>
                      <a:pt x="1156" y="852"/>
                    </a:lnTo>
                    <a:lnTo>
                      <a:pt x="1155" y="852"/>
                    </a:lnTo>
                    <a:lnTo>
                      <a:pt x="1155" y="854"/>
                    </a:lnTo>
                    <a:lnTo>
                      <a:pt x="1155" y="855"/>
                    </a:lnTo>
                    <a:lnTo>
                      <a:pt x="1153" y="855"/>
                    </a:lnTo>
                    <a:lnTo>
                      <a:pt x="1151" y="855"/>
                    </a:lnTo>
                    <a:lnTo>
                      <a:pt x="1150" y="857"/>
                    </a:lnTo>
                    <a:lnTo>
                      <a:pt x="1148" y="857"/>
                    </a:lnTo>
                    <a:lnTo>
                      <a:pt x="1148" y="859"/>
                    </a:lnTo>
                    <a:lnTo>
                      <a:pt x="1146" y="859"/>
                    </a:lnTo>
                    <a:lnTo>
                      <a:pt x="1146" y="860"/>
                    </a:lnTo>
                    <a:lnTo>
                      <a:pt x="1146" y="862"/>
                    </a:lnTo>
                    <a:lnTo>
                      <a:pt x="1145" y="862"/>
                    </a:lnTo>
                    <a:lnTo>
                      <a:pt x="1145" y="864"/>
                    </a:lnTo>
                    <a:lnTo>
                      <a:pt x="1145" y="866"/>
                    </a:lnTo>
                    <a:lnTo>
                      <a:pt x="1143" y="866"/>
                    </a:lnTo>
                    <a:lnTo>
                      <a:pt x="1143" y="867"/>
                    </a:lnTo>
                    <a:lnTo>
                      <a:pt x="1143" y="869"/>
                    </a:lnTo>
                    <a:lnTo>
                      <a:pt x="1141" y="869"/>
                    </a:lnTo>
                    <a:lnTo>
                      <a:pt x="1141" y="871"/>
                    </a:lnTo>
                    <a:lnTo>
                      <a:pt x="1141" y="872"/>
                    </a:lnTo>
                    <a:lnTo>
                      <a:pt x="1141" y="874"/>
                    </a:lnTo>
                    <a:lnTo>
                      <a:pt x="1141" y="876"/>
                    </a:lnTo>
                    <a:lnTo>
                      <a:pt x="1141" y="877"/>
                    </a:lnTo>
                    <a:lnTo>
                      <a:pt x="1139" y="877"/>
                    </a:lnTo>
                    <a:lnTo>
                      <a:pt x="1138" y="877"/>
                    </a:lnTo>
                    <a:lnTo>
                      <a:pt x="1138" y="879"/>
                    </a:lnTo>
                    <a:lnTo>
                      <a:pt x="1136" y="879"/>
                    </a:lnTo>
                    <a:lnTo>
                      <a:pt x="1138" y="879"/>
                    </a:lnTo>
                    <a:lnTo>
                      <a:pt x="1139" y="879"/>
                    </a:lnTo>
                    <a:lnTo>
                      <a:pt x="1138" y="879"/>
                    </a:lnTo>
                    <a:lnTo>
                      <a:pt x="1138" y="881"/>
                    </a:lnTo>
                    <a:lnTo>
                      <a:pt x="1138" y="883"/>
                    </a:lnTo>
                    <a:lnTo>
                      <a:pt x="1136" y="884"/>
                    </a:lnTo>
                    <a:lnTo>
                      <a:pt x="1136" y="886"/>
                    </a:lnTo>
                    <a:lnTo>
                      <a:pt x="1134" y="886"/>
                    </a:lnTo>
                    <a:lnTo>
                      <a:pt x="1134" y="888"/>
                    </a:lnTo>
                    <a:lnTo>
                      <a:pt x="1134" y="889"/>
                    </a:lnTo>
                    <a:lnTo>
                      <a:pt x="1133" y="889"/>
                    </a:lnTo>
                    <a:lnTo>
                      <a:pt x="1133" y="891"/>
                    </a:lnTo>
                    <a:lnTo>
                      <a:pt x="1133" y="889"/>
                    </a:lnTo>
                    <a:lnTo>
                      <a:pt x="1133" y="891"/>
                    </a:lnTo>
                    <a:lnTo>
                      <a:pt x="1131" y="891"/>
                    </a:lnTo>
                    <a:lnTo>
                      <a:pt x="1131" y="893"/>
                    </a:lnTo>
                    <a:lnTo>
                      <a:pt x="1129" y="893"/>
                    </a:lnTo>
                    <a:lnTo>
                      <a:pt x="1131" y="894"/>
                    </a:lnTo>
                    <a:lnTo>
                      <a:pt x="1129" y="894"/>
                    </a:lnTo>
                    <a:lnTo>
                      <a:pt x="1128" y="894"/>
                    </a:lnTo>
                    <a:lnTo>
                      <a:pt x="1129" y="896"/>
                    </a:lnTo>
                    <a:lnTo>
                      <a:pt x="1128" y="896"/>
                    </a:lnTo>
                    <a:lnTo>
                      <a:pt x="1128" y="898"/>
                    </a:lnTo>
                    <a:lnTo>
                      <a:pt x="1126" y="898"/>
                    </a:lnTo>
                    <a:lnTo>
                      <a:pt x="1126" y="896"/>
                    </a:lnTo>
                    <a:lnTo>
                      <a:pt x="1124" y="898"/>
                    </a:lnTo>
                    <a:lnTo>
                      <a:pt x="1122" y="898"/>
                    </a:lnTo>
                    <a:lnTo>
                      <a:pt x="1122" y="900"/>
                    </a:lnTo>
                    <a:lnTo>
                      <a:pt x="1121" y="900"/>
                    </a:lnTo>
                    <a:lnTo>
                      <a:pt x="1121" y="901"/>
                    </a:lnTo>
                    <a:lnTo>
                      <a:pt x="1121" y="903"/>
                    </a:lnTo>
                    <a:lnTo>
                      <a:pt x="1121" y="905"/>
                    </a:lnTo>
                    <a:lnTo>
                      <a:pt x="1119" y="905"/>
                    </a:lnTo>
                    <a:lnTo>
                      <a:pt x="1119" y="906"/>
                    </a:lnTo>
                    <a:lnTo>
                      <a:pt x="1119" y="908"/>
                    </a:lnTo>
                    <a:lnTo>
                      <a:pt x="1117" y="908"/>
                    </a:lnTo>
                    <a:lnTo>
                      <a:pt x="1117" y="910"/>
                    </a:lnTo>
                    <a:lnTo>
                      <a:pt x="1116" y="910"/>
                    </a:lnTo>
                    <a:lnTo>
                      <a:pt x="1116" y="911"/>
                    </a:lnTo>
                    <a:lnTo>
                      <a:pt x="1116" y="913"/>
                    </a:lnTo>
                    <a:lnTo>
                      <a:pt x="1116" y="915"/>
                    </a:lnTo>
                    <a:lnTo>
                      <a:pt x="1116" y="917"/>
                    </a:lnTo>
                    <a:lnTo>
                      <a:pt x="1114" y="918"/>
                    </a:lnTo>
                    <a:lnTo>
                      <a:pt x="1114" y="920"/>
                    </a:lnTo>
                    <a:lnTo>
                      <a:pt x="1112" y="920"/>
                    </a:lnTo>
                    <a:lnTo>
                      <a:pt x="1112" y="922"/>
                    </a:lnTo>
                    <a:lnTo>
                      <a:pt x="1112" y="923"/>
                    </a:lnTo>
                    <a:lnTo>
                      <a:pt x="1112" y="925"/>
                    </a:lnTo>
                    <a:lnTo>
                      <a:pt x="1114" y="925"/>
                    </a:lnTo>
                    <a:lnTo>
                      <a:pt x="1114" y="927"/>
                    </a:lnTo>
                    <a:lnTo>
                      <a:pt x="1114" y="928"/>
                    </a:lnTo>
                    <a:lnTo>
                      <a:pt x="1114" y="930"/>
                    </a:lnTo>
                    <a:lnTo>
                      <a:pt x="1114" y="932"/>
                    </a:lnTo>
                    <a:lnTo>
                      <a:pt x="1114" y="934"/>
                    </a:lnTo>
                    <a:lnTo>
                      <a:pt x="1114" y="935"/>
                    </a:lnTo>
                    <a:lnTo>
                      <a:pt x="1114" y="937"/>
                    </a:lnTo>
                    <a:lnTo>
                      <a:pt x="1116" y="937"/>
                    </a:lnTo>
                    <a:lnTo>
                      <a:pt x="1116" y="939"/>
                    </a:lnTo>
                    <a:lnTo>
                      <a:pt x="1114" y="939"/>
                    </a:lnTo>
                    <a:lnTo>
                      <a:pt x="1114" y="940"/>
                    </a:lnTo>
                    <a:lnTo>
                      <a:pt x="1112" y="940"/>
                    </a:lnTo>
                    <a:lnTo>
                      <a:pt x="1112" y="942"/>
                    </a:lnTo>
                    <a:lnTo>
                      <a:pt x="1111" y="942"/>
                    </a:lnTo>
                    <a:lnTo>
                      <a:pt x="1109" y="944"/>
                    </a:lnTo>
                    <a:lnTo>
                      <a:pt x="1107" y="944"/>
                    </a:lnTo>
                    <a:lnTo>
                      <a:pt x="1107" y="945"/>
                    </a:lnTo>
                    <a:lnTo>
                      <a:pt x="1105" y="945"/>
                    </a:lnTo>
                    <a:lnTo>
                      <a:pt x="1104" y="945"/>
                    </a:lnTo>
                    <a:lnTo>
                      <a:pt x="1102" y="945"/>
                    </a:lnTo>
                    <a:lnTo>
                      <a:pt x="1100" y="947"/>
                    </a:lnTo>
                    <a:lnTo>
                      <a:pt x="1099" y="947"/>
                    </a:lnTo>
                    <a:lnTo>
                      <a:pt x="1097" y="947"/>
                    </a:lnTo>
                    <a:lnTo>
                      <a:pt x="1095" y="949"/>
                    </a:lnTo>
                    <a:lnTo>
                      <a:pt x="1095" y="947"/>
                    </a:lnTo>
                    <a:lnTo>
                      <a:pt x="1095" y="949"/>
                    </a:lnTo>
                    <a:lnTo>
                      <a:pt x="1094" y="949"/>
                    </a:lnTo>
                    <a:lnTo>
                      <a:pt x="1092" y="951"/>
                    </a:lnTo>
                    <a:lnTo>
                      <a:pt x="1090" y="951"/>
                    </a:lnTo>
                    <a:lnTo>
                      <a:pt x="1090" y="952"/>
                    </a:lnTo>
                    <a:lnTo>
                      <a:pt x="1088" y="952"/>
                    </a:lnTo>
                    <a:lnTo>
                      <a:pt x="1088" y="954"/>
                    </a:lnTo>
                    <a:lnTo>
                      <a:pt x="1087" y="954"/>
                    </a:lnTo>
                    <a:lnTo>
                      <a:pt x="1087" y="956"/>
                    </a:lnTo>
                    <a:lnTo>
                      <a:pt x="1085" y="956"/>
                    </a:lnTo>
                    <a:lnTo>
                      <a:pt x="1085" y="957"/>
                    </a:lnTo>
                    <a:lnTo>
                      <a:pt x="1083" y="957"/>
                    </a:lnTo>
                    <a:lnTo>
                      <a:pt x="1083" y="959"/>
                    </a:lnTo>
                    <a:lnTo>
                      <a:pt x="1082" y="959"/>
                    </a:lnTo>
                    <a:lnTo>
                      <a:pt x="1082" y="961"/>
                    </a:lnTo>
                    <a:lnTo>
                      <a:pt x="1080" y="961"/>
                    </a:lnTo>
                    <a:lnTo>
                      <a:pt x="1080" y="963"/>
                    </a:lnTo>
                    <a:lnTo>
                      <a:pt x="1080" y="964"/>
                    </a:lnTo>
                    <a:lnTo>
                      <a:pt x="1080" y="966"/>
                    </a:lnTo>
                    <a:lnTo>
                      <a:pt x="1082" y="966"/>
                    </a:lnTo>
                    <a:lnTo>
                      <a:pt x="1082" y="968"/>
                    </a:lnTo>
                    <a:lnTo>
                      <a:pt x="1083" y="968"/>
                    </a:lnTo>
                    <a:lnTo>
                      <a:pt x="1085" y="966"/>
                    </a:lnTo>
                    <a:lnTo>
                      <a:pt x="1085" y="968"/>
                    </a:lnTo>
                    <a:lnTo>
                      <a:pt x="1083" y="968"/>
                    </a:lnTo>
                    <a:lnTo>
                      <a:pt x="1085" y="968"/>
                    </a:lnTo>
                    <a:lnTo>
                      <a:pt x="1083" y="968"/>
                    </a:lnTo>
                    <a:lnTo>
                      <a:pt x="1083" y="969"/>
                    </a:lnTo>
                    <a:lnTo>
                      <a:pt x="1082" y="969"/>
                    </a:lnTo>
                    <a:lnTo>
                      <a:pt x="1082" y="971"/>
                    </a:lnTo>
                    <a:lnTo>
                      <a:pt x="1080" y="971"/>
                    </a:lnTo>
                    <a:lnTo>
                      <a:pt x="1082" y="971"/>
                    </a:lnTo>
                    <a:lnTo>
                      <a:pt x="1080" y="973"/>
                    </a:lnTo>
                    <a:lnTo>
                      <a:pt x="1078" y="973"/>
                    </a:lnTo>
                    <a:lnTo>
                      <a:pt x="1080" y="974"/>
                    </a:lnTo>
                    <a:lnTo>
                      <a:pt x="1080" y="976"/>
                    </a:lnTo>
                    <a:lnTo>
                      <a:pt x="1078" y="974"/>
                    </a:lnTo>
                    <a:lnTo>
                      <a:pt x="1077" y="974"/>
                    </a:lnTo>
                    <a:lnTo>
                      <a:pt x="1075" y="974"/>
                    </a:lnTo>
                    <a:lnTo>
                      <a:pt x="1073" y="974"/>
                    </a:lnTo>
                    <a:lnTo>
                      <a:pt x="1071" y="974"/>
                    </a:lnTo>
                    <a:lnTo>
                      <a:pt x="1070" y="974"/>
                    </a:lnTo>
                    <a:lnTo>
                      <a:pt x="1068" y="974"/>
                    </a:lnTo>
                    <a:lnTo>
                      <a:pt x="1066" y="974"/>
                    </a:lnTo>
                    <a:lnTo>
                      <a:pt x="1065" y="974"/>
                    </a:lnTo>
                    <a:lnTo>
                      <a:pt x="1063" y="974"/>
                    </a:lnTo>
                    <a:lnTo>
                      <a:pt x="1061" y="974"/>
                    </a:lnTo>
                    <a:lnTo>
                      <a:pt x="1060" y="974"/>
                    </a:lnTo>
                    <a:lnTo>
                      <a:pt x="1058" y="974"/>
                    </a:lnTo>
                    <a:lnTo>
                      <a:pt x="1056" y="974"/>
                    </a:lnTo>
                    <a:lnTo>
                      <a:pt x="1054" y="974"/>
                    </a:lnTo>
                    <a:lnTo>
                      <a:pt x="1053" y="974"/>
                    </a:lnTo>
                    <a:lnTo>
                      <a:pt x="1051" y="974"/>
                    </a:lnTo>
                    <a:lnTo>
                      <a:pt x="1049" y="974"/>
                    </a:lnTo>
                    <a:lnTo>
                      <a:pt x="1049" y="976"/>
                    </a:lnTo>
                    <a:lnTo>
                      <a:pt x="1048" y="976"/>
                    </a:lnTo>
                    <a:lnTo>
                      <a:pt x="1046" y="974"/>
                    </a:lnTo>
                    <a:lnTo>
                      <a:pt x="1046" y="976"/>
                    </a:lnTo>
                    <a:lnTo>
                      <a:pt x="1044" y="976"/>
                    </a:lnTo>
                    <a:lnTo>
                      <a:pt x="1044" y="974"/>
                    </a:lnTo>
                    <a:lnTo>
                      <a:pt x="1043" y="974"/>
                    </a:lnTo>
                    <a:lnTo>
                      <a:pt x="1043" y="973"/>
                    </a:lnTo>
                    <a:lnTo>
                      <a:pt x="1043" y="974"/>
                    </a:lnTo>
                    <a:lnTo>
                      <a:pt x="1043" y="973"/>
                    </a:lnTo>
                    <a:lnTo>
                      <a:pt x="1043" y="971"/>
                    </a:lnTo>
                    <a:lnTo>
                      <a:pt x="1043" y="969"/>
                    </a:lnTo>
                    <a:lnTo>
                      <a:pt x="1044" y="969"/>
                    </a:lnTo>
                    <a:lnTo>
                      <a:pt x="1044" y="968"/>
                    </a:lnTo>
                    <a:lnTo>
                      <a:pt x="1046" y="968"/>
                    </a:lnTo>
                    <a:lnTo>
                      <a:pt x="1046" y="966"/>
                    </a:lnTo>
                    <a:lnTo>
                      <a:pt x="1044" y="964"/>
                    </a:lnTo>
                    <a:lnTo>
                      <a:pt x="1043" y="964"/>
                    </a:lnTo>
                    <a:lnTo>
                      <a:pt x="1043" y="966"/>
                    </a:lnTo>
                    <a:lnTo>
                      <a:pt x="1041" y="966"/>
                    </a:lnTo>
                    <a:lnTo>
                      <a:pt x="1039" y="966"/>
                    </a:lnTo>
                    <a:lnTo>
                      <a:pt x="1039" y="968"/>
                    </a:lnTo>
                    <a:lnTo>
                      <a:pt x="1039" y="966"/>
                    </a:lnTo>
                    <a:lnTo>
                      <a:pt x="1037" y="968"/>
                    </a:lnTo>
                    <a:lnTo>
                      <a:pt x="1037" y="969"/>
                    </a:lnTo>
                    <a:lnTo>
                      <a:pt x="1037" y="971"/>
                    </a:lnTo>
                    <a:lnTo>
                      <a:pt x="1039" y="971"/>
                    </a:lnTo>
                    <a:lnTo>
                      <a:pt x="1039" y="973"/>
                    </a:lnTo>
                    <a:lnTo>
                      <a:pt x="1041" y="973"/>
                    </a:lnTo>
                    <a:lnTo>
                      <a:pt x="1041" y="974"/>
                    </a:lnTo>
                    <a:lnTo>
                      <a:pt x="1041" y="976"/>
                    </a:lnTo>
                    <a:lnTo>
                      <a:pt x="1039" y="976"/>
                    </a:lnTo>
                    <a:lnTo>
                      <a:pt x="1037" y="976"/>
                    </a:lnTo>
                    <a:lnTo>
                      <a:pt x="1036" y="978"/>
                    </a:lnTo>
                    <a:lnTo>
                      <a:pt x="1036" y="976"/>
                    </a:lnTo>
                    <a:lnTo>
                      <a:pt x="1034" y="976"/>
                    </a:lnTo>
                    <a:lnTo>
                      <a:pt x="1032" y="976"/>
                    </a:lnTo>
                    <a:lnTo>
                      <a:pt x="1032" y="978"/>
                    </a:lnTo>
                    <a:lnTo>
                      <a:pt x="1031" y="978"/>
                    </a:lnTo>
                    <a:lnTo>
                      <a:pt x="1029" y="978"/>
                    </a:lnTo>
                    <a:lnTo>
                      <a:pt x="1027" y="978"/>
                    </a:lnTo>
                    <a:lnTo>
                      <a:pt x="1027" y="980"/>
                    </a:lnTo>
                    <a:lnTo>
                      <a:pt x="1027" y="978"/>
                    </a:lnTo>
                    <a:lnTo>
                      <a:pt x="1026" y="978"/>
                    </a:lnTo>
                    <a:lnTo>
                      <a:pt x="1024" y="978"/>
                    </a:lnTo>
                    <a:lnTo>
                      <a:pt x="1022" y="978"/>
                    </a:lnTo>
                    <a:lnTo>
                      <a:pt x="1020" y="978"/>
                    </a:lnTo>
                    <a:lnTo>
                      <a:pt x="1020" y="980"/>
                    </a:lnTo>
                    <a:lnTo>
                      <a:pt x="1019" y="980"/>
                    </a:lnTo>
                    <a:lnTo>
                      <a:pt x="1017" y="980"/>
                    </a:lnTo>
                    <a:lnTo>
                      <a:pt x="1015" y="980"/>
                    </a:lnTo>
                    <a:lnTo>
                      <a:pt x="1014" y="980"/>
                    </a:lnTo>
                    <a:lnTo>
                      <a:pt x="1012" y="980"/>
                    </a:lnTo>
                    <a:lnTo>
                      <a:pt x="1014" y="978"/>
                    </a:lnTo>
                    <a:lnTo>
                      <a:pt x="1015" y="978"/>
                    </a:lnTo>
                    <a:lnTo>
                      <a:pt x="1015" y="980"/>
                    </a:lnTo>
                    <a:lnTo>
                      <a:pt x="1017" y="980"/>
                    </a:lnTo>
                    <a:lnTo>
                      <a:pt x="1017" y="978"/>
                    </a:lnTo>
                    <a:lnTo>
                      <a:pt x="1015" y="978"/>
                    </a:lnTo>
                    <a:lnTo>
                      <a:pt x="1017" y="978"/>
                    </a:lnTo>
                    <a:lnTo>
                      <a:pt x="1019" y="978"/>
                    </a:lnTo>
                    <a:lnTo>
                      <a:pt x="1020" y="978"/>
                    </a:lnTo>
                    <a:lnTo>
                      <a:pt x="1022" y="978"/>
                    </a:lnTo>
                    <a:lnTo>
                      <a:pt x="1024" y="978"/>
                    </a:lnTo>
                    <a:lnTo>
                      <a:pt x="1026" y="978"/>
                    </a:lnTo>
                    <a:lnTo>
                      <a:pt x="1026" y="976"/>
                    </a:lnTo>
                    <a:lnTo>
                      <a:pt x="1024" y="976"/>
                    </a:lnTo>
                    <a:lnTo>
                      <a:pt x="1022" y="976"/>
                    </a:lnTo>
                    <a:lnTo>
                      <a:pt x="1022" y="974"/>
                    </a:lnTo>
                    <a:lnTo>
                      <a:pt x="1020" y="974"/>
                    </a:lnTo>
                    <a:lnTo>
                      <a:pt x="1020" y="973"/>
                    </a:lnTo>
                    <a:lnTo>
                      <a:pt x="1020" y="974"/>
                    </a:lnTo>
                    <a:lnTo>
                      <a:pt x="1020" y="973"/>
                    </a:lnTo>
                    <a:lnTo>
                      <a:pt x="1019" y="973"/>
                    </a:lnTo>
                    <a:lnTo>
                      <a:pt x="1019" y="974"/>
                    </a:lnTo>
                    <a:lnTo>
                      <a:pt x="1017" y="973"/>
                    </a:lnTo>
                    <a:lnTo>
                      <a:pt x="1019" y="973"/>
                    </a:lnTo>
                    <a:lnTo>
                      <a:pt x="1017" y="973"/>
                    </a:lnTo>
                    <a:lnTo>
                      <a:pt x="1015" y="974"/>
                    </a:lnTo>
                    <a:lnTo>
                      <a:pt x="1014" y="974"/>
                    </a:lnTo>
                    <a:lnTo>
                      <a:pt x="1012" y="974"/>
                    </a:lnTo>
                    <a:lnTo>
                      <a:pt x="1012" y="976"/>
                    </a:lnTo>
                    <a:lnTo>
                      <a:pt x="1010" y="976"/>
                    </a:lnTo>
                    <a:lnTo>
                      <a:pt x="1012" y="974"/>
                    </a:lnTo>
                    <a:lnTo>
                      <a:pt x="1010" y="974"/>
                    </a:lnTo>
                    <a:lnTo>
                      <a:pt x="1010" y="976"/>
                    </a:lnTo>
                    <a:lnTo>
                      <a:pt x="1009" y="978"/>
                    </a:lnTo>
                    <a:lnTo>
                      <a:pt x="1007" y="978"/>
                    </a:lnTo>
                    <a:lnTo>
                      <a:pt x="1005" y="978"/>
                    </a:lnTo>
                    <a:lnTo>
                      <a:pt x="1005" y="976"/>
                    </a:lnTo>
                    <a:lnTo>
                      <a:pt x="1003" y="976"/>
                    </a:lnTo>
                    <a:lnTo>
                      <a:pt x="1003" y="978"/>
                    </a:lnTo>
                    <a:lnTo>
                      <a:pt x="1002" y="976"/>
                    </a:lnTo>
                    <a:lnTo>
                      <a:pt x="1002" y="978"/>
                    </a:lnTo>
                    <a:lnTo>
                      <a:pt x="1000" y="978"/>
                    </a:lnTo>
                    <a:lnTo>
                      <a:pt x="1000" y="976"/>
                    </a:lnTo>
                    <a:lnTo>
                      <a:pt x="1002" y="976"/>
                    </a:lnTo>
                    <a:lnTo>
                      <a:pt x="1002" y="974"/>
                    </a:lnTo>
                    <a:lnTo>
                      <a:pt x="1003" y="974"/>
                    </a:lnTo>
                    <a:lnTo>
                      <a:pt x="1002" y="974"/>
                    </a:lnTo>
                    <a:lnTo>
                      <a:pt x="1000" y="974"/>
                    </a:lnTo>
                    <a:lnTo>
                      <a:pt x="1002" y="974"/>
                    </a:lnTo>
                    <a:lnTo>
                      <a:pt x="1000" y="974"/>
                    </a:lnTo>
                    <a:lnTo>
                      <a:pt x="1000" y="976"/>
                    </a:lnTo>
                    <a:lnTo>
                      <a:pt x="1000" y="974"/>
                    </a:lnTo>
                    <a:lnTo>
                      <a:pt x="998" y="974"/>
                    </a:lnTo>
                    <a:lnTo>
                      <a:pt x="998" y="976"/>
                    </a:lnTo>
                    <a:lnTo>
                      <a:pt x="998" y="978"/>
                    </a:lnTo>
                    <a:lnTo>
                      <a:pt x="997" y="976"/>
                    </a:lnTo>
                    <a:lnTo>
                      <a:pt x="997" y="978"/>
                    </a:lnTo>
                    <a:lnTo>
                      <a:pt x="995" y="978"/>
                    </a:lnTo>
                    <a:lnTo>
                      <a:pt x="993" y="978"/>
                    </a:lnTo>
                    <a:lnTo>
                      <a:pt x="993" y="980"/>
                    </a:lnTo>
                    <a:lnTo>
                      <a:pt x="993" y="978"/>
                    </a:lnTo>
                    <a:lnTo>
                      <a:pt x="992" y="978"/>
                    </a:lnTo>
                    <a:lnTo>
                      <a:pt x="990" y="978"/>
                    </a:lnTo>
                    <a:lnTo>
                      <a:pt x="990" y="980"/>
                    </a:lnTo>
                    <a:lnTo>
                      <a:pt x="990" y="981"/>
                    </a:lnTo>
                    <a:lnTo>
                      <a:pt x="988" y="983"/>
                    </a:lnTo>
                    <a:lnTo>
                      <a:pt x="990" y="983"/>
                    </a:lnTo>
                    <a:lnTo>
                      <a:pt x="988" y="983"/>
                    </a:lnTo>
                    <a:lnTo>
                      <a:pt x="988" y="985"/>
                    </a:lnTo>
                    <a:lnTo>
                      <a:pt x="990" y="985"/>
                    </a:lnTo>
                    <a:lnTo>
                      <a:pt x="992" y="983"/>
                    </a:lnTo>
                    <a:lnTo>
                      <a:pt x="992" y="985"/>
                    </a:lnTo>
                    <a:lnTo>
                      <a:pt x="990" y="985"/>
                    </a:lnTo>
                    <a:lnTo>
                      <a:pt x="990" y="986"/>
                    </a:lnTo>
                    <a:lnTo>
                      <a:pt x="990" y="985"/>
                    </a:lnTo>
                    <a:lnTo>
                      <a:pt x="992" y="985"/>
                    </a:lnTo>
                    <a:lnTo>
                      <a:pt x="992" y="986"/>
                    </a:lnTo>
                    <a:lnTo>
                      <a:pt x="990" y="986"/>
                    </a:lnTo>
                    <a:lnTo>
                      <a:pt x="992" y="988"/>
                    </a:lnTo>
                    <a:lnTo>
                      <a:pt x="992" y="986"/>
                    </a:lnTo>
                    <a:lnTo>
                      <a:pt x="993" y="985"/>
                    </a:lnTo>
                    <a:lnTo>
                      <a:pt x="993" y="986"/>
                    </a:lnTo>
                    <a:lnTo>
                      <a:pt x="995" y="986"/>
                    </a:lnTo>
                    <a:lnTo>
                      <a:pt x="995" y="988"/>
                    </a:lnTo>
                    <a:lnTo>
                      <a:pt x="995" y="986"/>
                    </a:lnTo>
                    <a:lnTo>
                      <a:pt x="995" y="988"/>
                    </a:lnTo>
                    <a:lnTo>
                      <a:pt x="993" y="988"/>
                    </a:lnTo>
                    <a:lnTo>
                      <a:pt x="993" y="990"/>
                    </a:lnTo>
                    <a:lnTo>
                      <a:pt x="992" y="990"/>
                    </a:lnTo>
                    <a:lnTo>
                      <a:pt x="992" y="988"/>
                    </a:lnTo>
                    <a:lnTo>
                      <a:pt x="992" y="990"/>
                    </a:lnTo>
                    <a:lnTo>
                      <a:pt x="992" y="988"/>
                    </a:lnTo>
                    <a:lnTo>
                      <a:pt x="990" y="990"/>
                    </a:lnTo>
                    <a:lnTo>
                      <a:pt x="990" y="988"/>
                    </a:lnTo>
                    <a:lnTo>
                      <a:pt x="990" y="990"/>
                    </a:lnTo>
                    <a:lnTo>
                      <a:pt x="990" y="988"/>
                    </a:lnTo>
                    <a:lnTo>
                      <a:pt x="988" y="990"/>
                    </a:lnTo>
                    <a:lnTo>
                      <a:pt x="986" y="990"/>
                    </a:lnTo>
                    <a:lnTo>
                      <a:pt x="985" y="990"/>
                    </a:lnTo>
                    <a:lnTo>
                      <a:pt x="985" y="991"/>
                    </a:lnTo>
                    <a:lnTo>
                      <a:pt x="985" y="990"/>
                    </a:lnTo>
                    <a:lnTo>
                      <a:pt x="983" y="990"/>
                    </a:lnTo>
                    <a:lnTo>
                      <a:pt x="981" y="988"/>
                    </a:lnTo>
                    <a:lnTo>
                      <a:pt x="981" y="990"/>
                    </a:lnTo>
                    <a:lnTo>
                      <a:pt x="980" y="990"/>
                    </a:lnTo>
                    <a:lnTo>
                      <a:pt x="980" y="991"/>
                    </a:lnTo>
                    <a:lnTo>
                      <a:pt x="978" y="991"/>
                    </a:lnTo>
                    <a:lnTo>
                      <a:pt x="976" y="991"/>
                    </a:lnTo>
                    <a:lnTo>
                      <a:pt x="976" y="993"/>
                    </a:lnTo>
                    <a:lnTo>
                      <a:pt x="978" y="993"/>
                    </a:lnTo>
                    <a:lnTo>
                      <a:pt x="976" y="993"/>
                    </a:lnTo>
                    <a:lnTo>
                      <a:pt x="976" y="995"/>
                    </a:lnTo>
                    <a:lnTo>
                      <a:pt x="975" y="995"/>
                    </a:lnTo>
                    <a:lnTo>
                      <a:pt x="975" y="997"/>
                    </a:lnTo>
                    <a:lnTo>
                      <a:pt x="975" y="995"/>
                    </a:lnTo>
                    <a:lnTo>
                      <a:pt x="973" y="995"/>
                    </a:lnTo>
                    <a:lnTo>
                      <a:pt x="973" y="997"/>
                    </a:lnTo>
                    <a:lnTo>
                      <a:pt x="973" y="995"/>
                    </a:lnTo>
                    <a:lnTo>
                      <a:pt x="971" y="995"/>
                    </a:lnTo>
                    <a:lnTo>
                      <a:pt x="971" y="997"/>
                    </a:lnTo>
                    <a:lnTo>
                      <a:pt x="971" y="998"/>
                    </a:lnTo>
                    <a:lnTo>
                      <a:pt x="969" y="998"/>
                    </a:lnTo>
                    <a:lnTo>
                      <a:pt x="969" y="997"/>
                    </a:lnTo>
                    <a:lnTo>
                      <a:pt x="968" y="998"/>
                    </a:lnTo>
                    <a:lnTo>
                      <a:pt x="968" y="1000"/>
                    </a:lnTo>
                    <a:lnTo>
                      <a:pt x="966" y="1000"/>
                    </a:lnTo>
                    <a:lnTo>
                      <a:pt x="964" y="1000"/>
                    </a:lnTo>
                    <a:lnTo>
                      <a:pt x="964" y="1002"/>
                    </a:lnTo>
                    <a:lnTo>
                      <a:pt x="964" y="1003"/>
                    </a:lnTo>
                    <a:lnTo>
                      <a:pt x="966" y="1003"/>
                    </a:lnTo>
                    <a:lnTo>
                      <a:pt x="964" y="1003"/>
                    </a:lnTo>
                    <a:lnTo>
                      <a:pt x="966" y="1005"/>
                    </a:lnTo>
                    <a:lnTo>
                      <a:pt x="966" y="1007"/>
                    </a:lnTo>
                    <a:lnTo>
                      <a:pt x="964" y="1007"/>
                    </a:lnTo>
                    <a:lnTo>
                      <a:pt x="963" y="1007"/>
                    </a:lnTo>
                    <a:lnTo>
                      <a:pt x="961" y="1007"/>
                    </a:lnTo>
                    <a:lnTo>
                      <a:pt x="959" y="1005"/>
                    </a:lnTo>
                    <a:lnTo>
                      <a:pt x="958" y="1005"/>
                    </a:lnTo>
                    <a:lnTo>
                      <a:pt x="958" y="1007"/>
                    </a:lnTo>
                    <a:lnTo>
                      <a:pt x="958" y="1005"/>
                    </a:lnTo>
                    <a:lnTo>
                      <a:pt x="956" y="1005"/>
                    </a:lnTo>
                    <a:lnTo>
                      <a:pt x="954" y="1005"/>
                    </a:lnTo>
                    <a:lnTo>
                      <a:pt x="952" y="1005"/>
                    </a:lnTo>
                    <a:lnTo>
                      <a:pt x="951" y="1003"/>
                    </a:lnTo>
                    <a:lnTo>
                      <a:pt x="951" y="1005"/>
                    </a:lnTo>
                    <a:lnTo>
                      <a:pt x="949" y="1005"/>
                    </a:lnTo>
                    <a:lnTo>
                      <a:pt x="947" y="1005"/>
                    </a:lnTo>
                    <a:lnTo>
                      <a:pt x="946" y="1005"/>
                    </a:lnTo>
                    <a:lnTo>
                      <a:pt x="944" y="1007"/>
                    </a:lnTo>
                    <a:lnTo>
                      <a:pt x="942" y="1007"/>
                    </a:lnTo>
                    <a:lnTo>
                      <a:pt x="941" y="1007"/>
                    </a:lnTo>
                    <a:lnTo>
                      <a:pt x="941" y="1008"/>
                    </a:lnTo>
                    <a:lnTo>
                      <a:pt x="941" y="1010"/>
                    </a:lnTo>
                    <a:lnTo>
                      <a:pt x="939" y="1010"/>
                    </a:lnTo>
                    <a:lnTo>
                      <a:pt x="941" y="1012"/>
                    </a:lnTo>
                    <a:lnTo>
                      <a:pt x="939" y="1012"/>
                    </a:lnTo>
                    <a:lnTo>
                      <a:pt x="939" y="1014"/>
                    </a:lnTo>
                    <a:lnTo>
                      <a:pt x="939" y="1012"/>
                    </a:lnTo>
                    <a:lnTo>
                      <a:pt x="937" y="1014"/>
                    </a:lnTo>
                    <a:lnTo>
                      <a:pt x="935" y="1014"/>
                    </a:lnTo>
                    <a:lnTo>
                      <a:pt x="935" y="1015"/>
                    </a:lnTo>
                    <a:lnTo>
                      <a:pt x="935" y="1014"/>
                    </a:lnTo>
                    <a:lnTo>
                      <a:pt x="934" y="1014"/>
                    </a:lnTo>
                    <a:lnTo>
                      <a:pt x="935" y="1014"/>
                    </a:lnTo>
                    <a:lnTo>
                      <a:pt x="934" y="1012"/>
                    </a:lnTo>
                    <a:lnTo>
                      <a:pt x="932" y="1012"/>
                    </a:lnTo>
                    <a:lnTo>
                      <a:pt x="932" y="1014"/>
                    </a:lnTo>
                    <a:lnTo>
                      <a:pt x="932" y="1015"/>
                    </a:lnTo>
                    <a:lnTo>
                      <a:pt x="932" y="1014"/>
                    </a:lnTo>
                    <a:lnTo>
                      <a:pt x="930" y="1014"/>
                    </a:lnTo>
                    <a:lnTo>
                      <a:pt x="929" y="1015"/>
                    </a:lnTo>
                    <a:lnTo>
                      <a:pt x="927" y="1015"/>
                    </a:lnTo>
                    <a:lnTo>
                      <a:pt x="925" y="1017"/>
                    </a:lnTo>
                    <a:lnTo>
                      <a:pt x="924" y="1017"/>
                    </a:lnTo>
                    <a:lnTo>
                      <a:pt x="922" y="1017"/>
                    </a:lnTo>
                    <a:lnTo>
                      <a:pt x="922" y="1019"/>
                    </a:lnTo>
                    <a:lnTo>
                      <a:pt x="920" y="1019"/>
                    </a:lnTo>
                    <a:lnTo>
                      <a:pt x="920" y="1020"/>
                    </a:lnTo>
                    <a:lnTo>
                      <a:pt x="918" y="1020"/>
                    </a:lnTo>
                    <a:lnTo>
                      <a:pt x="917" y="1020"/>
                    </a:lnTo>
                    <a:lnTo>
                      <a:pt x="917" y="1022"/>
                    </a:lnTo>
                    <a:lnTo>
                      <a:pt x="915" y="1022"/>
                    </a:lnTo>
                    <a:lnTo>
                      <a:pt x="913" y="1024"/>
                    </a:lnTo>
                    <a:lnTo>
                      <a:pt x="912" y="1025"/>
                    </a:lnTo>
                    <a:lnTo>
                      <a:pt x="912" y="1027"/>
                    </a:lnTo>
                    <a:lnTo>
                      <a:pt x="912" y="1029"/>
                    </a:lnTo>
                    <a:lnTo>
                      <a:pt x="910" y="1029"/>
                    </a:lnTo>
                    <a:lnTo>
                      <a:pt x="908" y="1031"/>
                    </a:lnTo>
                    <a:lnTo>
                      <a:pt x="907" y="1032"/>
                    </a:lnTo>
                    <a:lnTo>
                      <a:pt x="905" y="1032"/>
                    </a:lnTo>
                    <a:lnTo>
                      <a:pt x="905" y="1034"/>
                    </a:lnTo>
                    <a:lnTo>
                      <a:pt x="903" y="1034"/>
                    </a:lnTo>
                    <a:lnTo>
                      <a:pt x="901" y="1036"/>
                    </a:lnTo>
                    <a:lnTo>
                      <a:pt x="900" y="1036"/>
                    </a:lnTo>
                    <a:lnTo>
                      <a:pt x="900" y="1037"/>
                    </a:lnTo>
                    <a:lnTo>
                      <a:pt x="898" y="1037"/>
                    </a:lnTo>
                    <a:lnTo>
                      <a:pt x="896" y="1039"/>
                    </a:lnTo>
                    <a:lnTo>
                      <a:pt x="895" y="1039"/>
                    </a:lnTo>
                    <a:lnTo>
                      <a:pt x="895" y="1041"/>
                    </a:lnTo>
                    <a:lnTo>
                      <a:pt x="893" y="1041"/>
                    </a:lnTo>
                    <a:lnTo>
                      <a:pt x="891" y="1042"/>
                    </a:lnTo>
                    <a:lnTo>
                      <a:pt x="890" y="1042"/>
                    </a:lnTo>
                    <a:lnTo>
                      <a:pt x="890" y="1044"/>
                    </a:lnTo>
                    <a:lnTo>
                      <a:pt x="888" y="1044"/>
                    </a:lnTo>
                    <a:lnTo>
                      <a:pt x="888" y="1046"/>
                    </a:lnTo>
                    <a:lnTo>
                      <a:pt x="886" y="1046"/>
                    </a:lnTo>
                    <a:lnTo>
                      <a:pt x="884" y="1048"/>
                    </a:lnTo>
                    <a:lnTo>
                      <a:pt x="884" y="1049"/>
                    </a:lnTo>
                    <a:lnTo>
                      <a:pt x="883" y="1049"/>
                    </a:lnTo>
                    <a:lnTo>
                      <a:pt x="883" y="1051"/>
                    </a:lnTo>
                    <a:lnTo>
                      <a:pt x="881" y="1051"/>
                    </a:lnTo>
                    <a:lnTo>
                      <a:pt x="881" y="1053"/>
                    </a:lnTo>
                    <a:lnTo>
                      <a:pt x="881" y="1054"/>
                    </a:lnTo>
                    <a:lnTo>
                      <a:pt x="881" y="1056"/>
                    </a:lnTo>
                    <a:lnTo>
                      <a:pt x="879" y="1056"/>
                    </a:lnTo>
                    <a:lnTo>
                      <a:pt x="879" y="1058"/>
                    </a:lnTo>
                    <a:lnTo>
                      <a:pt x="878" y="1058"/>
                    </a:lnTo>
                    <a:lnTo>
                      <a:pt x="878" y="1059"/>
                    </a:lnTo>
                    <a:lnTo>
                      <a:pt x="876" y="1059"/>
                    </a:lnTo>
                    <a:lnTo>
                      <a:pt x="876" y="1061"/>
                    </a:lnTo>
                    <a:lnTo>
                      <a:pt x="874" y="1061"/>
                    </a:lnTo>
                    <a:lnTo>
                      <a:pt x="874" y="1063"/>
                    </a:lnTo>
                    <a:lnTo>
                      <a:pt x="873" y="1063"/>
                    </a:lnTo>
                    <a:lnTo>
                      <a:pt x="873" y="1065"/>
                    </a:lnTo>
                    <a:lnTo>
                      <a:pt x="871" y="1065"/>
                    </a:lnTo>
                    <a:lnTo>
                      <a:pt x="871" y="1066"/>
                    </a:lnTo>
                    <a:lnTo>
                      <a:pt x="871" y="1068"/>
                    </a:lnTo>
                    <a:lnTo>
                      <a:pt x="869" y="1068"/>
                    </a:lnTo>
                    <a:lnTo>
                      <a:pt x="867" y="1068"/>
                    </a:lnTo>
                    <a:lnTo>
                      <a:pt x="867" y="1070"/>
                    </a:lnTo>
                    <a:lnTo>
                      <a:pt x="867" y="1071"/>
                    </a:lnTo>
                    <a:lnTo>
                      <a:pt x="866" y="1071"/>
                    </a:lnTo>
                    <a:lnTo>
                      <a:pt x="866" y="1073"/>
                    </a:lnTo>
                    <a:lnTo>
                      <a:pt x="864" y="1073"/>
                    </a:lnTo>
                    <a:lnTo>
                      <a:pt x="862" y="1075"/>
                    </a:lnTo>
                    <a:lnTo>
                      <a:pt x="862" y="1076"/>
                    </a:lnTo>
                    <a:lnTo>
                      <a:pt x="861" y="1078"/>
                    </a:lnTo>
                    <a:lnTo>
                      <a:pt x="861" y="1080"/>
                    </a:lnTo>
                    <a:lnTo>
                      <a:pt x="859" y="1080"/>
                    </a:lnTo>
                    <a:lnTo>
                      <a:pt x="861" y="1082"/>
                    </a:lnTo>
                    <a:lnTo>
                      <a:pt x="859" y="1082"/>
                    </a:lnTo>
                    <a:lnTo>
                      <a:pt x="859" y="1083"/>
                    </a:lnTo>
                    <a:lnTo>
                      <a:pt x="859" y="1085"/>
                    </a:lnTo>
                    <a:lnTo>
                      <a:pt x="857" y="1085"/>
                    </a:lnTo>
                    <a:lnTo>
                      <a:pt x="857" y="1087"/>
                    </a:lnTo>
                    <a:lnTo>
                      <a:pt x="857" y="1088"/>
                    </a:lnTo>
                    <a:lnTo>
                      <a:pt x="857" y="1090"/>
                    </a:lnTo>
                    <a:lnTo>
                      <a:pt x="857" y="1092"/>
                    </a:lnTo>
                    <a:lnTo>
                      <a:pt x="857" y="1093"/>
                    </a:lnTo>
                    <a:lnTo>
                      <a:pt x="859" y="1093"/>
                    </a:lnTo>
                    <a:lnTo>
                      <a:pt x="861" y="1093"/>
                    </a:lnTo>
                    <a:lnTo>
                      <a:pt x="861" y="1095"/>
                    </a:lnTo>
                    <a:lnTo>
                      <a:pt x="861" y="1097"/>
                    </a:lnTo>
                    <a:lnTo>
                      <a:pt x="859" y="1099"/>
                    </a:lnTo>
                    <a:lnTo>
                      <a:pt x="859" y="1100"/>
                    </a:lnTo>
                    <a:lnTo>
                      <a:pt x="859" y="1102"/>
                    </a:lnTo>
                    <a:lnTo>
                      <a:pt x="857" y="1102"/>
                    </a:lnTo>
                    <a:lnTo>
                      <a:pt x="857" y="1104"/>
                    </a:lnTo>
                    <a:lnTo>
                      <a:pt x="857" y="1105"/>
                    </a:lnTo>
                    <a:lnTo>
                      <a:pt x="857" y="1107"/>
                    </a:lnTo>
                    <a:lnTo>
                      <a:pt x="856" y="1107"/>
                    </a:lnTo>
                    <a:lnTo>
                      <a:pt x="856" y="1109"/>
                    </a:lnTo>
                    <a:lnTo>
                      <a:pt x="856" y="1110"/>
                    </a:lnTo>
                    <a:lnTo>
                      <a:pt x="856" y="1112"/>
                    </a:lnTo>
                    <a:lnTo>
                      <a:pt x="854" y="1112"/>
                    </a:lnTo>
                    <a:lnTo>
                      <a:pt x="856" y="1112"/>
                    </a:lnTo>
                    <a:lnTo>
                      <a:pt x="854" y="1112"/>
                    </a:lnTo>
                    <a:lnTo>
                      <a:pt x="854" y="1114"/>
                    </a:lnTo>
                    <a:lnTo>
                      <a:pt x="856" y="1114"/>
                    </a:lnTo>
                    <a:lnTo>
                      <a:pt x="856" y="1116"/>
                    </a:lnTo>
                    <a:lnTo>
                      <a:pt x="856" y="1117"/>
                    </a:lnTo>
                    <a:lnTo>
                      <a:pt x="856" y="1116"/>
                    </a:lnTo>
                    <a:lnTo>
                      <a:pt x="857" y="1117"/>
                    </a:lnTo>
                    <a:lnTo>
                      <a:pt x="857" y="1119"/>
                    </a:lnTo>
                    <a:lnTo>
                      <a:pt x="856" y="1121"/>
                    </a:lnTo>
                    <a:lnTo>
                      <a:pt x="856" y="1122"/>
                    </a:lnTo>
                    <a:lnTo>
                      <a:pt x="857" y="1122"/>
                    </a:lnTo>
                    <a:lnTo>
                      <a:pt x="857" y="1124"/>
                    </a:lnTo>
                    <a:lnTo>
                      <a:pt x="856" y="1124"/>
                    </a:lnTo>
                    <a:lnTo>
                      <a:pt x="857" y="1126"/>
                    </a:lnTo>
                    <a:lnTo>
                      <a:pt x="859" y="1126"/>
                    </a:lnTo>
                    <a:lnTo>
                      <a:pt x="859" y="1128"/>
                    </a:lnTo>
                    <a:lnTo>
                      <a:pt x="857" y="1128"/>
                    </a:lnTo>
                    <a:lnTo>
                      <a:pt x="857" y="1129"/>
                    </a:lnTo>
                    <a:lnTo>
                      <a:pt x="857" y="1131"/>
                    </a:lnTo>
                    <a:lnTo>
                      <a:pt x="859" y="1131"/>
                    </a:lnTo>
                    <a:lnTo>
                      <a:pt x="861" y="1131"/>
                    </a:lnTo>
                    <a:lnTo>
                      <a:pt x="861" y="1129"/>
                    </a:lnTo>
                    <a:lnTo>
                      <a:pt x="861" y="1131"/>
                    </a:lnTo>
                    <a:lnTo>
                      <a:pt x="862" y="1131"/>
                    </a:lnTo>
                    <a:lnTo>
                      <a:pt x="861" y="1131"/>
                    </a:lnTo>
                    <a:lnTo>
                      <a:pt x="861" y="1133"/>
                    </a:lnTo>
                    <a:lnTo>
                      <a:pt x="862" y="1133"/>
                    </a:lnTo>
                    <a:lnTo>
                      <a:pt x="861" y="1134"/>
                    </a:lnTo>
                    <a:lnTo>
                      <a:pt x="861" y="1133"/>
                    </a:lnTo>
                    <a:lnTo>
                      <a:pt x="859" y="1133"/>
                    </a:lnTo>
                    <a:lnTo>
                      <a:pt x="857" y="1134"/>
                    </a:lnTo>
                    <a:lnTo>
                      <a:pt x="857" y="1136"/>
                    </a:lnTo>
                    <a:lnTo>
                      <a:pt x="857" y="1138"/>
                    </a:lnTo>
                    <a:lnTo>
                      <a:pt x="859" y="1138"/>
                    </a:lnTo>
                    <a:lnTo>
                      <a:pt x="859" y="1136"/>
                    </a:lnTo>
                    <a:lnTo>
                      <a:pt x="859" y="1138"/>
                    </a:lnTo>
                    <a:lnTo>
                      <a:pt x="861" y="1138"/>
                    </a:lnTo>
                    <a:lnTo>
                      <a:pt x="859" y="1139"/>
                    </a:lnTo>
                    <a:lnTo>
                      <a:pt x="861" y="1139"/>
                    </a:lnTo>
                    <a:lnTo>
                      <a:pt x="859" y="1139"/>
                    </a:lnTo>
                    <a:lnTo>
                      <a:pt x="859" y="1141"/>
                    </a:lnTo>
                    <a:lnTo>
                      <a:pt x="857" y="1141"/>
                    </a:lnTo>
                    <a:lnTo>
                      <a:pt x="857" y="1143"/>
                    </a:lnTo>
                    <a:lnTo>
                      <a:pt x="856" y="1143"/>
                    </a:lnTo>
                    <a:lnTo>
                      <a:pt x="856" y="1145"/>
                    </a:lnTo>
                    <a:lnTo>
                      <a:pt x="857" y="1145"/>
                    </a:lnTo>
                    <a:lnTo>
                      <a:pt x="857" y="1146"/>
                    </a:lnTo>
                    <a:lnTo>
                      <a:pt x="857" y="1148"/>
                    </a:lnTo>
                    <a:lnTo>
                      <a:pt x="859" y="1148"/>
                    </a:lnTo>
                    <a:lnTo>
                      <a:pt x="857" y="1150"/>
                    </a:lnTo>
                    <a:lnTo>
                      <a:pt x="857" y="1148"/>
                    </a:lnTo>
                    <a:lnTo>
                      <a:pt x="857" y="1150"/>
                    </a:lnTo>
                    <a:lnTo>
                      <a:pt x="856" y="1150"/>
                    </a:lnTo>
                    <a:lnTo>
                      <a:pt x="856" y="1151"/>
                    </a:lnTo>
                    <a:lnTo>
                      <a:pt x="857" y="1151"/>
                    </a:lnTo>
                    <a:lnTo>
                      <a:pt x="856" y="1151"/>
                    </a:lnTo>
                    <a:lnTo>
                      <a:pt x="856" y="1153"/>
                    </a:lnTo>
                    <a:lnTo>
                      <a:pt x="857" y="1155"/>
                    </a:lnTo>
                    <a:lnTo>
                      <a:pt x="856" y="1155"/>
                    </a:lnTo>
                    <a:lnTo>
                      <a:pt x="857" y="1155"/>
                    </a:lnTo>
                    <a:lnTo>
                      <a:pt x="857" y="1156"/>
                    </a:lnTo>
                    <a:lnTo>
                      <a:pt x="859" y="1158"/>
                    </a:lnTo>
                    <a:lnTo>
                      <a:pt x="857" y="1158"/>
                    </a:lnTo>
                    <a:lnTo>
                      <a:pt x="857" y="1160"/>
                    </a:lnTo>
                    <a:lnTo>
                      <a:pt x="859" y="1160"/>
                    </a:lnTo>
                    <a:lnTo>
                      <a:pt x="857" y="1160"/>
                    </a:lnTo>
                    <a:lnTo>
                      <a:pt x="857" y="1162"/>
                    </a:lnTo>
                    <a:lnTo>
                      <a:pt x="857" y="1163"/>
                    </a:lnTo>
                    <a:lnTo>
                      <a:pt x="857" y="1165"/>
                    </a:lnTo>
                    <a:lnTo>
                      <a:pt x="857" y="1167"/>
                    </a:lnTo>
                    <a:lnTo>
                      <a:pt x="856" y="1168"/>
                    </a:lnTo>
                    <a:lnTo>
                      <a:pt x="857" y="1168"/>
                    </a:lnTo>
                    <a:lnTo>
                      <a:pt x="856" y="1168"/>
                    </a:lnTo>
                    <a:lnTo>
                      <a:pt x="856" y="1170"/>
                    </a:lnTo>
                    <a:lnTo>
                      <a:pt x="856" y="1172"/>
                    </a:lnTo>
                    <a:lnTo>
                      <a:pt x="856" y="1173"/>
                    </a:lnTo>
                    <a:lnTo>
                      <a:pt x="854" y="1175"/>
                    </a:lnTo>
                    <a:lnTo>
                      <a:pt x="854" y="1177"/>
                    </a:lnTo>
                    <a:lnTo>
                      <a:pt x="852" y="1179"/>
                    </a:lnTo>
                    <a:lnTo>
                      <a:pt x="852" y="1180"/>
                    </a:lnTo>
                    <a:lnTo>
                      <a:pt x="852" y="1182"/>
                    </a:lnTo>
                    <a:lnTo>
                      <a:pt x="852" y="1184"/>
                    </a:lnTo>
                    <a:lnTo>
                      <a:pt x="852" y="1185"/>
                    </a:lnTo>
                    <a:lnTo>
                      <a:pt x="850" y="1185"/>
                    </a:lnTo>
                    <a:lnTo>
                      <a:pt x="850" y="1187"/>
                    </a:lnTo>
                    <a:lnTo>
                      <a:pt x="849" y="1187"/>
                    </a:lnTo>
                    <a:lnTo>
                      <a:pt x="847" y="1187"/>
                    </a:lnTo>
                    <a:lnTo>
                      <a:pt x="847" y="1189"/>
                    </a:lnTo>
                    <a:lnTo>
                      <a:pt x="845" y="1189"/>
                    </a:lnTo>
                    <a:lnTo>
                      <a:pt x="844" y="1190"/>
                    </a:lnTo>
                    <a:lnTo>
                      <a:pt x="840" y="1192"/>
                    </a:lnTo>
                    <a:lnTo>
                      <a:pt x="839" y="1194"/>
                    </a:lnTo>
                    <a:lnTo>
                      <a:pt x="837" y="1194"/>
                    </a:lnTo>
                    <a:lnTo>
                      <a:pt x="837" y="1196"/>
                    </a:lnTo>
                    <a:lnTo>
                      <a:pt x="833" y="1197"/>
                    </a:lnTo>
                    <a:lnTo>
                      <a:pt x="833" y="1199"/>
                    </a:lnTo>
                    <a:lnTo>
                      <a:pt x="832" y="1199"/>
                    </a:lnTo>
                    <a:lnTo>
                      <a:pt x="832" y="1201"/>
                    </a:lnTo>
                    <a:lnTo>
                      <a:pt x="828" y="1202"/>
                    </a:lnTo>
                    <a:lnTo>
                      <a:pt x="828" y="1204"/>
                    </a:lnTo>
                    <a:lnTo>
                      <a:pt x="827" y="1206"/>
                    </a:lnTo>
                    <a:lnTo>
                      <a:pt x="825" y="1207"/>
                    </a:lnTo>
                    <a:lnTo>
                      <a:pt x="823" y="1209"/>
                    </a:lnTo>
                    <a:lnTo>
                      <a:pt x="822" y="1211"/>
                    </a:lnTo>
                    <a:lnTo>
                      <a:pt x="822" y="1213"/>
                    </a:lnTo>
                    <a:lnTo>
                      <a:pt x="820" y="1213"/>
                    </a:lnTo>
                    <a:lnTo>
                      <a:pt x="820" y="1214"/>
                    </a:lnTo>
                    <a:lnTo>
                      <a:pt x="820" y="1216"/>
                    </a:lnTo>
                    <a:lnTo>
                      <a:pt x="818" y="1216"/>
                    </a:lnTo>
                    <a:lnTo>
                      <a:pt x="818" y="1218"/>
                    </a:lnTo>
                    <a:lnTo>
                      <a:pt x="816" y="1219"/>
                    </a:lnTo>
                    <a:lnTo>
                      <a:pt x="815" y="1221"/>
                    </a:lnTo>
                    <a:lnTo>
                      <a:pt x="815" y="1223"/>
                    </a:lnTo>
                    <a:lnTo>
                      <a:pt x="813" y="1224"/>
                    </a:lnTo>
                    <a:lnTo>
                      <a:pt x="813" y="1226"/>
                    </a:lnTo>
                    <a:lnTo>
                      <a:pt x="811" y="1228"/>
                    </a:lnTo>
                    <a:lnTo>
                      <a:pt x="810" y="1231"/>
                    </a:lnTo>
                    <a:lnTo>
                      <a:pt x="810" y="1233"/>
                    </a:lnTo>
                    <a:lnTo>
                      <a:pt x="808" y="1235"/>
                    </a:lnTo>
                    <a:lnTo>
                      <a:pt x="808" y="1236"/>
                    </a:lnTo>
                    <a:lnTo>
                      <a:pt x="806" y="1240"/>
                    </a:lnTo>
                    <a:lnTo>
                      <a:pt x="806" y="1241"/>
                    </a:lnTo>
                    <a:lnTo>
                      <a:pt x="805" y="1245"/>
                    </a:lnTo>
                    <a:lnTo>
                      <a:pt x="803" y="1250"/>
                    </a:lnTo>
                    <a:lnTo>
                      <a:pt x="801" y="1252"/>
                    </a:lnTo>
                    <a:lnTo>
                      <a:pt x="801" y="1253"/>
                    </a:lnTo>
                    <a:lnTo>
                      <a:pt x="799" y="1257"/>
                    </a:lnTo>
                    <a:lnTo>
                      <a:pt x="799" y="1258"/>
                    </a:lnTo>
                    <a:lnTo>
                      <a:pt x="799" y="1260"/>
                    </a:lnTo>
                    <a:lnTo>
                      <a:pt x="798" y="1262"/>
                    </a:lnTo>
                    <a:lnTo>
                      <a:pt x="798" y="1264"/>
                    </a:lnTo>
                    <a:lnTo>
                      <a:pt x="796" y="1267"/>
                    </a:lnTo>
                    <a:lnTo>
                      <a:pt x="794" y="1269"/>
                    </a:lnTo>
                    <a:lnTo>
                      <a:pt x="793" y="1270"/>
                    </a:lnTo>
                    <a:lnTo>
                      <a:pt x="793" y="1272"/>
                    </a:lnTo>
                    <a:lnTo>
                      <a:pt x="791" y="1272"/>
                    </a:lnTo>
                    <a:lnTo>
                      <a:pt x="791" y="1274"/>
                    </a:lnTo>
                    <a:lnTo>
                      <a:pt x="789" y="1276"/>
                    </a:lnTo>
                    <a:lnTo>
                      <a:pt x="789" y="1277"/>
                    </a:lnTo>
                    <a:lnTo>
                      <a:pt x="788" y="1279"/>
                    </a:lnTo>
                    <a:lnTo>
                      <a:pt x="786" y="1281"/>
                    </a:lnTo>
                    <a:lnTo>
                      <a:pt x="784" y="1284"/>
                    </a:lnTo>
                    <a:lnTo>
                      <a:pt x="784" y="1286"/>
                    </a:lnTo>
                    <a:lnTo>
                      <a:pt x="782" y="1286"/>
                    </a:lnTo>
                    <a:lnTo>
                      <a:pt x="782" y="1287"/>
                    </a:lnTo>
                    <a:lnTo>
                      <a:pt x="779" y="1289"/>
                    </a:lnTo>
                    <a:lnTo>
                      <a:pt x="779" y="1291"/>
                    </a:lnTo>
                    <a:lnTo>
                      <a:pt x="777" y="1293"/>
                    </a:lnTo>
                    <a:lnTo>
                      <a:pt x="776" y="1294"/>
                    </a:lnTo>
                    <a:lnTo>
                      <a:pt x="774" y="1294"/>
                    </a:lnTo>
                    <a:lnTo>
                      <a:pt x="774" y="1296"/>
                    </a:lnTo>
                    <a:lnTo>
                      <a:pt x="772" y="1298"/>
                    </a:lnTo>
                    <a:lnTo>
                      <a:pt x="771" y="1299"/>
                    </a:lnTo>
                    <a:lnTo>
                      <a:pt x="769" y="1301"/>
                    </a:lnTo>
                    <a:lnTo>
                      <a:pt x="769" y="1303"/>
                    </a:lnTo>
                    <a:lnTo>
                      <a:pt x="767" y="1303"/>
                    </a:lnTo>
                    <a:lnTo>
                      <a:pt x="765" y="1304"/>
                    </a:lnTo>
                    <a:lnTo>
                      <a:pt x="764" y="1306"/>
                    </a:lnTo>
                    <a:lnTo>
                      <a:pt x="762" y="1308"/>
                    </a:lnTo>
                    <a:lnTo>
                      <a:pt x="760" y="1308"/>
                    </a:lnTo>
                    <a:lnTo>
                      <a:pt x="759" y="1310"/>
                    </a:lnTo>
                    <a:lnTo>
                      <a:pt x="757" y="1311"/>
                    </a:lnTo>
                    <a:lnTo>
                      <a:pt x="755" y="1311"/>
                    </a:lnTo>
                    <a:lnTo>
                      <a:pt x="755" y="1313"/>
                    </a:lnTo>
                    <a:lnTo>
                      <a:pt x="754" y="1313"/>
                    </a:lnTo>
                    <a:lnTo>
                      <a:pt x="752" y="1315"/>
                    </a:lnTo>
                    <a:lnTo>
                      <a:pt x="750" y="1315"/>
                    </a:lnTo>
                    <a:lnTo>
                      <a:pt x="748" y="1316"/>
                    </a:lnTo>
                    <a:lnTo>
                      <a:pt x="747" y="1318"/>
                    </a:lnTo>
                    <a:lnTo>
                      <a:pt x="745" y="1320"/>
                    </a:lnTo>
                    <a:lnTo>
                      <a:pt x="743" y="1320"/>
                    </a:lnTo>
                    <a:lnTo>
                      <a:pt x="742" y="1323"/>
                    </a:lnTo>
                    <a:lnTo>
                      <a:pt x="742" y="1325"/>
                    </a:lnTo>
                    <a:lnTo>
                      <a:pt x="740" y="1325"/>
                    </a:lnTo>
                    <a:lnTo>
                      <a:pt x="740" y="1327"/>
                    </a:lnTo>
                    <a:lnTo>
                      <a:pt x="740" y="1325"/>
                    </a:lnTo>
                    <a:lnTo>
                      <a:pt x="740" y="1327"/>
                    </a:lnTo>
                    <a:lnTo>
                      <a:pt x="738" y="1327"/>
                    </a:lnTo>
                    <a:lnTo>
                      <a:pt x="737" y="1328"/>
                    </a:lnTo>
                    <a:lnTo>
                      <a:pt x="735" y="1330"/>
                    </a:lnTo>
                    <a:lnTo>
                      <a:pt x="733" y="1333"/>
                    </a:lnTo>
                    <a:lnTo>
                      <a:pt x="731" y="1335"/>
                    </a:lnTo>
                    <a:lnTo>
                      <a:pt x="731" y="1337"/>
                    </a:lnTo>
                    <a:lnTo>
                      <a:pt x="731" y="1338"/>
                    </a:lnTo>
                    <a:lnTo>
                      <a:pt x="730" y="1338"/>
                    </a:lnTo>
                    <a:lnTo>
                      <a:pt x="730" y="1342"/>
                    </a:lnTo>
                    <a:lnTo>
                      <a:pt x="730" y="1344"/>
                    </a:lnTo>
                    <a:lnTo>
                      <a:pt x="728" y="1344"/>
                    </a:lnTo>
                    <a:lnTo>
                      <a:pt x="728" y="1345"/>
                    </a:lnTo>
                    <a:lnTo>
                      <a:pt x="728" y="1347"/>
                    </a:lnTo>
                    <a:lnTo>
                      <a:pt x="728" y="1349"/>
                    </a:lnTo>
                    <a:lnTo>
                      <a:pt x="728" y="1350"/>
                    </a:lnTo>
                    <a:lnTo>
                      <a:pt x="726" y="1352"/>
                    </a:lnTo>
                    <a:lnTo>
                      <a:pt x="726" y="1354"/>
                    </a:lnTo>
                    <a:lnTo>
                      <a:pt x="726" y="1355"/>
                    </a:lnTo>
                    <a:lnTo>
                      <a:pt x="725" y="1355"/>
                    </a:lnTo>
                    <a:lnTo>
                      <a:pt x="725" y="1357"/>
                    </a:lnTo>
                    <a:lnTo>
                      <a:pt x="725" y="1359"/>
                    </a:lnTo>
                    <a:lnTo>
                      <a:pt x="723" y="1362"/>
                    </a:lnTo>
                    <a:lnTo>
                      <a:pt x="721" y="1364"/>
                    </a:lnTo>
                    <a:lnTo>
                      <a:pt x="721" y="1366"/>
                    </a:lnTo>
                    <a:lnTo>
                      <a:pt x="720" y="1366"/>
                    </a:lnTo>
                    <a:lnTo>
                      <a:pt x="720" y="1367"/>
                    </a:lnTo>
                    <a:lnTo>
                      <a:pt x="718" y="1369"/>
                    </a:lnTo>
                    <a:lnTo>
                      <a:pt x="716" y="1371"/>
                    </a:lnTo>
                    <a:lnTo>
                      <a:pt x="714" y="1372"/>
                    </a:lnTo>
                    <a:lnTo>
                      <a:pt x="713" y="1374"/>
                    </a:lnTo>
                    <a:lnTo>
                      <a:pt x="711" y="1376"/>
                    </a:lnTo>
                    <a:lnTo>
                      <a:pt x="709" y="1378"/>
                    </a:lnTo>
                    <a:lnTo>
                      <a:pt x="708" y="1379"/>
                    </a:lnTo>
                    <a:lnTo>
                      <a:pt x="706" y="1381"/>
                    </a:lnTo>
                    <a:lnTo>
                      <a:pt x="704" y="1383"/>
                    </a:lnTo>
                    <a:lnTo>
                      <a:pt x="704" y="1384"/>
                    </a:lnTo>
                    <a:lnTo>
                      <a:pt x="703" y="1384"/>
                    </a:lnTo>
                    <a:lnTo>
                      <a:pt x="701" y="1386"/>
                    </a:lnTo>
                    <a:lnTo>
                      <a:pt x="699" y="1388"/>
                    </a:lnTo>
                    <a:lnTo>
                      <a:pt x="697" y="1388"/>
                    </a:lnTo>
                    <a:lnTo>
                      <a:pt x="697" y="1389"/>
                    </a:lnTo>
                    <a:lnTo>
                      <a:pt x="696" y="1389"/>
                    </a:lnTo>
                    <a:lnTo>
                      <a:pt x="694" y="1389"/>
                    </a:lnTo>
                    <a:lnTo>
                      <a:pt x="694" y="1388"/>
                    </a:lnTo>
                    <a:lnTo>
                      <a:pt x="692" y="1388"/>
                    </a:lnTo>
                    <a:lnTo>
                      <a:pt x="691" y="1388"/>
                    </a:lnTo>
                    <a:lnTo>
                      <a:pt x="691" y="1386"/>
                    </a:lnTo>
                    <a:lnTo>
                      <a:pt x="691" y="1384"/>
                    </a:lnTo>
                    <a:lnTo>
                      <a:pt x="691" y="1383"/>
                    </a:lnTo>
                    <a:lnTo>
                      <a:pt x="691" y="1381"/>
                    </a:lnTo>
                    <a:lnTo>
                      <a:pt x="692" y="1379"/>
                    </a:lnTo>
                    <a:lnTo>
                      <a:pt x="692" y="1376"/>
                    </a:lnTo>
                    <a:lnTo>
                      <a:pt x="692" y="1374"/>
                    </a:lnTo>
                    <a:lnTo>
                      <a:pt x="691" y="1372"/>
                    </a:lnTo>
                    <a:lnTo>
                      <a:pt x="691" y="1371"/>
                    </a:lnTo>
                    <a:lnTo>
                      <a:pt x="691" y="1369"/>
                    </a:lnTo>
                    <a:lnTo>
                      <a:pt x="691" y="1367"/>
                    </a:lnTo>
                    <a:lnTo>
                      <a:pt x="692" y="1367"/>
                    </a:lnTo>
                    <a:lnTo>
                      <a:pt x="692" y="1366"/>
                    </a:lnTo>
                    <a:lnTo>
                      <a:pt x="692" y="1364"/>
                    </a:lnTo>
                    <a:lnTo>
                      <a:pt x="694" y="1364"/>
                    </a:lnTo>
                    <a:lnTo>
                      <a:pt x="697" y="1359"/>
                    </a:lnTo>
                    <a:lnTo>
                      <a:pt x="699" y="1359"/>
                    </a:lnTo>
                    <a:lnTo>
                      <a:pt x="699" y="1357"/>
                    </a:lnTo>
                    <a:lnTo>
                      <a:pt x="699" y="1355"/>
                    </a:lnTo>
                    <a:lnTo>
                      <a:pt x="699" y="1354"/>
                    </a:lnTo>
                    <a:lnTo>
                      <a:pt x="701" y="1354"/>
                    </a:lnTo>
                    <a:lnTo>
                      <a:pt x="701" y="1352"/>
                    </a:lnTo>
                    <a:lnTo>
                      <a:pt x="703" y="1350"/>
                    </a:lnTo>
                    <a:lnTo>
                      <a:pt x="704" y="1350"/>
                    </a:lnTo>
                    <a:lnTo>
                      <a:pt x="704" y="1349"/>
                    </a:lnTo>
                    <a:lnTo>
                      <a:pt x="706" y="1349"/>
                    </a:lnTo>
                    <a:lnTo>
                      <a:pt x="703" y="1347"/>
                    </a:lnTo>
                    <a:lnTo>
                      <a:pt x="703" y="1345"/>
                    </a:lnTo>
                    <a:lnTo>
                      <a:pt x="701" y="1345"/>
                    </a:lnTo>
                    <a:lnTo>
                      <a:pt x="701" y="1344"/>
                    </a:lnTo>
                    <a:lnTo>
                      <a:pt x="699" y="1344"/>
                    </a:lnTo>
                    <a:lnTo>
                      <a:pt x="697" y="1344"/>
                    </a:lnTo>
                    <a:lnTo>
                      <a:pt x="696" y="1342"/>
                    </a:lnTo>
                    <a:lnTo>
                      <a:pt x="696" y="1344"/>
                    </a:lnTo>
                    <a:lnTo>
                      <a:pt x="696" y="1342"/>
                    </a:lnTo>
                    <a:lnTo>
                      <a:pt x="694" y="1342"/>
                    </a:lnTo>
                    <a:lnTo>
                      <a:pt x="694" y="1340"/>
                    </a:lnTo>
                    <a:lnTo>
                      <a:pt x="694" y="1338"/>
                    </a:lnTo>
                    <a:lnTo>
                      <a:pt x="692" y="1338"/>
                    </a:lnTo>
                    <a:lnTo>
                      <a:pt x="691" y="1338"/>
                    </a:lnTo>
                    <a:lnTo>
                      <a:pt x="689" y="1337"/>
                    </a:lnTo>
                    <a:lnTo>
                      <a:pt x="689" y="1335"/>
                    </a:lnTo>
                    <a:lnTo>
                      <a:pt x="687" y="1335"/>
                    </a:lnTo>
                    <a:lnTo>
                      <a:pt x="687" y="1333"/>
                    </a:lnTo>
                    <a:lnTo>
                      <a:pt x="687" y="1332"/>
                    </a:lnTo>
                    <a:lnTo>
                      <a:pt x="687" y="1330"/>
                    </a:lnTo>
                    <a:lnTo>
                      <a:pt x="686" y="1330"/>
                    </a:lnTo>
                    <a:lnTo>
                      <a:pt x="686" y="1328"/>
                    </a:lnTo>
                    <a:lnTo>
                      <a:pt x="686" y="1327"/>
                    </a:lnTo>
                    <a:lnTo>
                      <a:pt x="684" y="1327"/>
                    </a:lnTo>
                    <a:lnTo>
                      <a:pt x="686" y="1325"/>
                    </a:lnTo>
                    <a:lnTo>
                      <a:pt x="684" y="1325"/>
                    </a:lnTo>
                    <a:lnTo>
                      <a:pt x="684" y="1323"/>
                    </a:lnTo>
                    <a:lnTo>
                      <a:pt x="682" y="1321"/>
                    </a:lnTo>
                    <a:lnTo>
                      <a:pt x="682" y="1323"/>
                    </a:lnTo>
                    <a:lnTo>
                      <a:pt x="680" y="1321"/>
                    </a:lnTo>
                    <a:lnTo>
                      <a:pt x="680" y="1320"/>
                    </a:lnTo>
                    <a:lnTo>
                      <a:pt x="679" y="1320"/>
                    </a:lnTo>
                    <a:lnTo>
                      <a:pt x="679" y="1318"/>
                    </a:lnTo>
                    <a:lnTo>
                      <a:pt x="677" y="1318"/>
                    </a:lnTo>
                    <a:lnTo>
                      <a:pt x="675" y="1316"/>
                    </a:lnTo>
                    <a:lnTo>
                      <a:pt x="677" y="1316"/>
                    </a:lnTo>
                    <a:lnTo>
                      <a:pt x="675" y="1316"/>
                    </a:lnTo>
                    <a:lnTo>
                      <a:pt x="674" y="1315"/>
                    </a:lnTo>
                    <a:lnTo>
                      <a:pt x="674" y="1316"/>
                    </a:lnTo>
                    <a:lnTo>
                      <a:pt x="672" y="1316"/>
                    </a:lnTo>
                    <a:lnTo>
                      <a:pt x="670" y="1316"/>
                    </a:lnTo>
                    <a:lnTo>
                      <a:pt x="670" y="1315"/>
                    </a:lnTo>
                    <a:lnTo>
                      <a:pt x="669" y="1315"/>
                    </a:lnTo>
                    <a:lnTo>
                      <a:pt x="669" y="1313"/>
                    </a:lnTo>
                    <a:lnTo>
                      <a:pt x="667" y="1313"/>
                    </a:lnTo>
                    <a:lnTo>
                      <a:pt x="667" y="1311"/>
                    </a:lnTo>
                    <a:lnTo>
                      <a:pt x="665" y="1311"/>
                    </a:lnTo>
                    <a:lnTo>
                      <a:pt x="663" y="1310"/>
                    </a:lnTo>
                    <a:lnTo>
                      <a:pt x="660" y="1306"/>
                    </a:lnTo>
                    <a:lnTo>
                      <a:pt x="660" y="1304"/>
                    </a:lnTo>
                    <a:lnTo>
                      <a:pt x="660" y="1303"/>
                    </a:lnTo>
                    <a:lnTo>
                      <a:pt x="658" y="1303"/>
                    </a:lnTo>
                    <a:lnTo>
                      <a:pt x="658" y="1301"/>
                    </a:lnTo>
                    <a:lnTo>
                      <a:pt x="658" y="1299"/>
                    </a:lnTo>
                    <a:lnTo>
                      <a:pt x="657" y="1299"/>
                    </a:lnTo>
                    <a:lnTo>
                      <a:pt x="655" y="1298"/>
                    </a:lnTo>
                    <a:lnTo>
                      <a:pt x="653" y="1298"/>
                    </a:lnTo>
                    <a:lnTo>
                      <a:pt x="652" y="1298"/>
                    </a:lnTo>
                    <a:lnTo>
                      <a:pt x="650" y="1296"/>
                    </a:lnTo>
                    <a:lnTo>
                      <a:pt x="650" y="1298"/>
                    </a:lnTo>
                    <a:lnTo>
                      <a:pt x="648" y="1298"/>
                    </a:lnTo>
                    <a:lnTo>
                      <a:pt x="646" y="1298"/>
                    </a:lnTo>
                    <a:lnTo>
                      <a:pt x="646" y="1296"/>
                    </a:lnTo>
                    <a:lnTo>
                      <a:pt x="645" y="1294"/>
                    </a:lnTo>
                    <a:lnTo>
                      <a:pt x="645" y="1296"/>
                    </a:lnTo>
                    <a:lnTo>
                      <a:pt x="643" y="1296"/>
                    </a:lnTo>
                    <a:lnTo>
                      <a:pt x="643" y="1294"/>
                    </a:lnTo>
                    <a:lnTo>
                      <a:pt x="643" y="1293"/>
                    </a:lnTo>
                    <a:lnTo>
                      <a:pt x="641" y="1293"/>
                    </a:lnTo>
                    <a:lnTo>
                      <a:pt x="641" y="1291"/>
                    </a:lnTo>
                    <a:lnTo>
                      <a:pt x="640" y="1291"/>
                    </a:lnTo>
                    <a:lnTo>
                      <a:pt x="640" y="1293"/>
                    </a:lnTo>
                    <a:lnTo>
                      <a:pt x="638" y="1293"/>
                    </a:lnTo>
                    <a:lnTo>
                      <a:pt x="636" y="1293"/>
                    </a:lnTo>
                    <a:lnTo>
                      <a:pt x="636" y="1291"/>
                    </a:lnTo>
                    <a:lnTo>
                      <a:pt x="635" y="1291"/>
                    </a:lnTo>
                    <a:lnTo>
                      <a:pt x="633" y="1291"/>
                    </a:lnTo>
                    <a:lnTo>
                      <a:pt x="633" y="1289"/>
                    </a:lnTo>
                    <a:lnTo>
                      <a:pt x="633" y="1287"/>
                    </a:lnTo>
                    <a:lnTo>
                      <a:pt x="631" y="1287"/>
                    </a:lnTo>
                    <a:lnTo>
                      <a:pt x="633" y="1287"/>
                    </a:lnTo>
                    <a:lnTo>
                      <a:pt x="631" y="1286"/>
                    </a:lnTo>
                    <a:lnTo>
                      <a:pt x="629" y="1286"/>
                    </a:lnTo>
                    <a:lnTo>
                      <a:pt x="631" y="1284"/>
                    </a:lnTo>
                    <a:lnTo>
                      <a:pt x="629" y="1284"/>
                    </a:lnTo>
                    <a:lnTo>
                      <a:pt x="629" y="1282"/>
                    </a:lnTo>
                    <a:lnTo>
                      <a:pt x="629" y="1281"/>
                    </a:lnTo>
                    <a:lnTo>
                      <a:pt x="628" y="1281"/>
                    </a:lnTo>
                    <a:lnTo>
                      <a:pt x="626" y="1281"/>
                    </a:lnTo>
                    <a:lnTo>
                      <a:pt x="628" y="1279"/>
                    </a:lnTo>
                    <a:lnTo>
                      <a:pt x="626" y="1279"/>
                    </a:lnTo>
                    <a:lnTo>
                      <a:pt x="626" y="1277"/>
                    </a:lnTo>
                    <a:lnTo>
                      <a:pt x="624" y="1277"/>
                    </a:lnTo>
                    <a:lnTo>
                      <a:pt x="624" y="1276"/>
                    </a:lnTo>
                    <a:lnTo>
                      <a:pt x="623" y="1276"/>
                    </a:lnTo>
                    <a:lnTo>
                      <a:pt x="623" y="1274"/>
                    </a:lnTo>
                    <a:lnTo>
                      <a:pt x="621" y="1274"/>
                    </a:lnTo>
                    <a:lnTo>
                      <a:pt x="619" y="1274"/>
                    </a:lnTo>
                    <a:lnTo>
                      <a:pt x="619" y="1276"/>
                    </a:lnTo>
                    <a:lnTo>
                      <a:pt x="619" y="1277"/>
                    </a:lnTo>
                    <a:lnTo>
                      <a:pt x="619" y="1279"/>
                    </a:lnTo>
                    <a:lnTo>
                      <a:pt x="618" y="1277"/>
                    </a:lnTo>
                    <a:lnTo>
                      <a:pt x="618" y="1279"/>
                    </a:lnTo>
                    <a:lnTo>
                      <a:pt x="618" y="1277"/>
                    </a:lnTo>
                    <a:lnTo>
                      <a:pt x="618" y="1279"/>
                    </a:lnTo>
                    <a:lnTo>
                      <a:pt x="616" y="1279"/>
                    </a:lnTo>
                    <a:lnTo>
                      <a:pt x="616" y="1281"/>
                    </a:lnTo>
                    <a:lnTo>
                      <a:pt x="614" y="1281"/>
                    </a:lnTo>
                    <a:lnTo>
                      <a:pt x="612" y="1281"/>
                    </a:lnTo>
                    <a:lnTo>
                      <a:pt x="612" y="1279"/>
                    </a:lnTo>
                    <a:lnTo>
                      <a:pt x="611" y="1279"/>
                    </a:lnTo>
                    <a:lnTo>
                      <a:pt x="611" y="1277"/>
                    </a:lnTo>
                    <a:lnTo>
                      <a:pt x="609" y="1277"/>
                    </a:lnTo>
                    <a:lnTo>
                      <a:pt x="609" y="1276"/>
                    </a:lnTo>
                    <a:lnTo>
                      <a:pt x="607" y="1274"/>
                    </a:lnTo>
                    <a:lnTo>
                      <a:pt x="607" y="1272"/>
                    </a:lnTo>
                    <a:lnTo>
                      <a:pt x="606" y="1270"/>
                    </a:lnTo>
                    <a:lnTo>
                      <a:pt x="604" y="1270"/>
                    </a:lnTo>
                    <a:lnTo>
                      <a:pt x="604" y="1269"/>
                    </a:lnTo>
                    <a:lnTo>
                      <a:pt x="604" y="1270"/>
                    </a:lnTo>
                    <a:lnTo>
                      <a:pt x="604" y="1269"/>
                    </a:lnTo>
                    <a:lnTo>
                      <a:pt x="602" y="1269"/>
                    </a:lnTo>
                    <a:lnTo>
                      <a:pt x="602" y="1267"/>
                    </a:lnTo>
                    <a:lnTo>
                      <a:pt x="602" y="1265"/>
                    </a:lnTo>
                    <a:lnTo>
                      <a:pt x="601" y="1264"/>
                    </a:lnTo>
                    <a:lnTo>
                      <a:pt x="601" y="1265"/>
                    </a:lnTo>
                    <a:lnTo>
                      <a:pt x="601" y="1264"/>
                    </a:lnTo>
                    <a:lnTo>
                      <a:pt x="599" y="1264"/>
                    </a:lnTo>
                    <a:lnTo>
                      <a:pt x="599" y="1262"/>
                    </a:lnTo>
                    <a:lnTo>
                      <a:pt x="597" y="1262"/>
                    </a:lnTo>
                    <a:lnTo>
                      <a:pt x="597" y="1260"/>
                    </a:lnTo>
                    <a:lnTo>
                      <a:pt x="595" y="1260"/>
                    </a:lnTo>
                    <a:lnTo>
                      <a:pt x="594" y="1260"/>
                    </a:lnTo>
                    <a:lnTo>
                      <a:pt x="594" y="1258"/>
                    </a:lnTo>
                    <a:lnTo>
                      <a:pt x="594" y="1257"/>
                    </a:lnTo>
                    <a:lnTo>
                      <a:pt x="594" y="1258"/>
                    </a:lnTo>
                    <a:lnTo>
                      <a:pt x="592" y="1257"/>
                    </a:lnTo>
                    <a:lnTo>
                      <a:pt x="592" y="1255"/>
                    </a:lnTo>
                    <a:lnTo>
                      <a:pt x="592" y="1257"/>
                    </a:lnTo>
                    <a:lnTo>
                      <a:pt x="590" y="1257"/>
                    </a:lnTo>
                    <a:lnTo>
                      <a:pt x="590" y="1255"/>
                    </a:lnTo>
                    <a:lnTo>
                      <a:pt x="589" y="1255"/>
                    </a:lnTo>
                    <a:lnTo>
                      <a:pt x="589" y="1253"/>
                    </a:lnTo>
                    <a:lnTo>
                      <a:pt x="590" y="1253"/>
                    </a:lnTo>
                    <a:lnTo>
                      <a:pt x="589" y="1253"/>
                    </a:lnTo>
                    <a:lnTo>
                      <a:pt x="589" y="1252"/>
                    </a:lnTo>
                    <a:lnTo>
                      <a:pt x="587" y="1252"/>
                    </a:lnTo>
                    <a:lnTo>
                      <a:pt x="587" y="1250"/>
                    </a:lnTo>
                    <a:lnTo>
                      <a:pt x="585" y="1250"/>
                    </a:lnTo>
                    <a:lnTo>
                      <a:pt x="585" y="1248"/>
                    </a:lnTo>
                    <a:lnTo>
                      <a:pt x="584" y="1248"/>
                    </a:lnTo>
                    <a:lnTo>
                      <a:pt x="582" y="1247"/>
                    </a:lnTo>
                    <a:lnTo>
                      <a:pt x="582" y="1245"/>
                    </a:lnTo>
                    <a:lnTo>
                      <a:pt x="580" y="1245"/>
                    </a:lnTo>
                    <a:lnTo>
                      <a:pt x="578" y="1245"/>
                    </a:lnTo>
                    <a:lnTo>
                      <a:pt x="577" y="1245"/>
                    </a:lnTo>
                    <a:lnTo>
                      <a:pt x="575" y="1245"/>
                    </a:lnTo>
                    <a:lnTo>
                      <a:pt x="573" y="1245"/>
                    </a:lnTo>
                    <a:lnTo>
                      <a:pt x="572" y="1245"/>
                    </a:lnTo>
                    <a:lnTo>
                      <a:pt x="570" y="1245"/>
                    </a:lnTo>
                    <a:lnTo>
                      <a:pt x="570" y="1247"/>
                    </a:lnTo>
                    <a:lnTo>
                      <a:pt x="568" y="1248"/>
                    </a:lnTo>
                    <a:lnTo>
                      <a:pt x="568" y="1250"/>
                    </a:lnTo>
                    <a:lnTo>
                      <a:pt x="567" y="1252"/>
                    </a:lnTo>
                    <a:lnTo>
                      <a:pt x="565" y="1252"/>
                    </a:lnTo>
                    <a:lnTo>
                      <a:pt x="563" y="1252"/>
                    </a:lnTo>
                    <a:lnTo>
                      <a:pt x="563" y="1250"/>
                    </a:lnTo>
                    <a:lnTo>
                      <a:pt x="563" y="1252"/>
                    </a:lnTo>
                    <a:lnTo>
                      <a:pt x="561" y="1252"/>
                    </a:lnTo>
                    <a:lnTo>
                      <a:pt x="561" y="1253"/>
                    </a:lnTo>
                    <a:lnTo>
                      <a:pt x="560" y="1253"/>
                    </a:lnTo>
                    <a:lnTo>
                      <a:pt x="560" y="1252"/>
                    </a:lnTo>
                    <a:lnTo>
                      <a:pt x="558" y="1252"/>
                    </a:lnTo>
                    <a:lnTo>
                      <a:pt x="556" y="1252"/>
                    </a:lnTo>
                    <a:lnTo>
                      <a:pt x="555" y="1252"/>
                    </a:lnTo>
                    <a:lnTo>
                      <a:pt x="555" y="1250"/>
                    </a:lnTo>
                    <a:lnTo>
                      <a:pt x="555" y="1248"/>
                    </a:lnTo>
                    <a:lnTo>
                      <a:pt x="553" y="1248"/>
                    </a:lnTo>
                    <a:lnTo>
                      <a:pt x="555" y="1248"/>
                    </a:lnTo>
                    <a:lnTo>
                      <a:pt x="556" y="1247"/>
                    </a:lnTo>
                    <a:lnTo>
                      <a:pt x="558" y="1245"/>
                    </a:lnTo>
                    <a:lnTo>
                      <a:pt x="558" y="1243"/>
                    </a:lnTo>
                    <a:lnTo>
                      <a:pt x="560" y="1243"/>
                    </a:lnTo>
                    <a:lnTo>
                      <a:pt x="560" y="1241"/>
                    </a:lnTo>
                    <a:lnTo>
                      <a:pt x="561" y="1241"/>
                    </a:lnTo>
                    <a:lnTo>
                      <a:pt x="563" y="1241"/>
                    </a:lnTo>
                    <a:lnTo>
                      <a:pt x="563" y="1240"/>
                    </a:lnTo>
                    <a:lnTo>
                      <a:pt x="563" y="1238"/>
                    </a:lnTo>
                    <a:lnTo>
                      <a:pt x="563" y="1236"/>
                    </a:lnTo>
                    <a:lnTo>
                      <a:pt x="563" y="1235"/>
                    </a:lnTo>
                    <a:lnTo>
                      <a:pt x="565" y="1233"/>
                    </a:lnTo>
                    <a:lnTo>
                      <a:pt x="567" y="1233"/>
                    </a:lnTo>
                    <a:lnTo>
                      <a:pt x="567" y="1231"/>
                    </a:lnTo>
                    <a:lnTo>
                      <a:pt x="568" y="1233"/>
                    </a:lnTo>
                    <a:lnTo>
                      <a:pt x="570" y="1231"/>
                    </a:lnTo>
                    <a:lnTo>
                      <a:pt x="572" y="1231"/>
                    </a:lnTo>
                    <a:lnTo>
                      <a:pt x="572" y="1230"/>
                    </a:lnTo>
                    <a:lnTo>
                      <a:pt x="573" y="1230"/>
                    </a:lnTo>
                    <a:lnTo>
                      <a:pt x="573" y="1228"/>
                    </a:lnTo>
                    <a:lnTo>
                      <a:pt x="575" y="1228"/>
                    </a:lnTo>
                    <a:lnTo>
                      <a:pt x="575" y="1226"/>
                    </a:lnTo>
                    <a:lnTo>
                      <a:pt x="575" y="1224"/>
                    </a:lnTo>
                    <a:lnTo>
                      <a:pt x="577" y="1224"/>
                    </a:lnTo>
                    <a:lnTo>
                      <a:pt x="577" y="1223"/>
                    </a:lnTo>
                    <a:lnTo>
                      <a:pt x="578" y="1223"/>
                    </a:lnTo>
                    <a:lnTo>
                      <a:pt x="578" y="1221"/>
                    </a:lnTo>
                    <a:lnTo>
                      <a:pt x="580" y="1221"/>
                    </a:lnTo>
                    <a:lnTo>
                      <a:pt x="580" y="1219"/>
                    </a:lnTo>
                    <a:lnTo>
                      <a:pt x="582" y="1219"/>
                    </a:lnTo>
                    <a:lnTo>
                      <a:pt x="582" y="1218"/>
                    </a:lnTo>
                    <a:lnTo>
                      <a:pt x="582" y="1216"/>
                    </a:lnTo>
                    <a:lnTo>
                      <a:pt x="584" y="1216"/>
                    </a:lnTo>
                    <a:lnTo>
                      <a:pt x="585" y="1213"/>
                    </a:lnTo>
                    <a:lnTo>
                      <a:pt x="585" y="1211"/>
                    </a:lnTo>
                    <a:lnTo>
                      <a:pt x="585" y="1209"/>
                    </a:lnTo>
                    <a:lnTo>
                      <a:pt x="587" y="1209"/>
                    </a:lnTo>
                    <a:lnTo>
                      <a:pt x="587" y="1207"/>
                    </a:lnTo>
                    <a:lnTo>
                      <a:pt x="589" y="1207"/>
                    </a:lnTo>
                    <a:lnTo>
                      <a:pt x="589" y="1206"/>
                    </a:lnTo>
                    <a:lnTo>
                      <a:pt x="590" y="1206"/>
                    </a:lnTo>
                    <a:lnTo>
                      <a:pt x="594" y="1206"/>
                    </a:lnTo>
                    <a:lnTo>
                      <a:pt x="594" y="1204"/>
                    </a:lnTo>
                    <a:lnTo>
                      <a:pt x="594" y="1202"/>
                    </a:lnTo>
                    <a:lnTo>
                      <a:pt x="594" y="1201"/>
                    </a:lnTo>
                    <a:lnTo>
                      <a:pt x="595" y="1201"/>
                    </a:lnTo>
                    <a:lnTo>
                      <a:pt x="595" y="1199"/>
                    </a:lnTo>
                    <a:lnTo>
                      <a:pt x="597" y="1199"/>
                    </a:lnTo>
                    <a:lnTo>
                      <a:pt x="597" y="1197"/>
                    </a:lnTo>
                    <a:lnTo>
                      <a:pt x="597" y="1196"/>
                    </a:lnTo>
                    <a:lnTo>
                      <a:pt x="597" y="1194"/>
                    </a:lnTo>
                    <a:lnTo>
                      <a:pt x="599" y="1194"/>
                    </a:lnTo>
                    <a:lnTo>
                      <a:pt x="601" y="1194"/>
                    </a:lnTo>
                    <a:lnTo>
                      <a:pt x="602" y="1192"/>
                    </a:lnTo>
                    <a:lnTo>
                      <a:pt x="602" y="1190"/>
                    </a:lnTo>
                    <a:lnTo>
                      <a:pt x="604" y="1190"/>
                    </a:lnTo>
                    <a:lnTo>
                      <a:pt x="604" y="1189"/>
                    </a:lnTo>
                    <a:lnTo>
                      <a:pt x="606" y="1189"/>
                    </a:lnTo>
                    <a:lnTo>
                      <a:pt x="606" y="1187"/>
                    </a:lnTo>
                    <a:lnTo>
                      <a:pt x="607" y="1187"/>
                    </a:lnTo>
                    <a:lnTo>
                      <a:pt x="607" y="1185"/>
                    </a:lnTo>
                    <a:lnTo>
                      <a:pt x="607" y="1184"/>
                    </a:lnTo>
                    <a:lnTo>
                      <a:pt x="607" y="1182"/>
                    </a:lnTo>
                    <a:lnTo>
                      <a:pt x="609" y="1182"/>
                    </a:lnTo>
                    <a:lnTo>
                      <a:pt x="611" y="1182"/>
                    </a:lnTo>
                    <a:lnTo>
                      <a:pt x="612" y="1182"/>
                    </a:lnTo>
                    <a:lnTo>
                      <a:pt x="611" y="1180"/>
                    </a:lnTo>
                    <a:lnTo>
                      <a:pt x="611" y="1179"/>
                    </a:lnTo>
                    <a:lnTo>
                      <a:pt x="612" y="1177"/>
                    </a:lnTo>
                    <a:lnTo>
                      <a:pt x="614" y="1177"/>
                    </a:lnTo>
                    <a:lnTo>
                      <a:pt x="616" y="1177"/>
                    </a:lnTo>
                    <a:lnTo>
                      <a:pt x="618" y="1179"/>
                    </a:lnTo>
                    <a:lnTo>
                      <a:pt x="618" y="1180"/>
                    </a:lnTo>
                    <a:lnTo>
                      <a:pt x="618" y="1179"/>
                    </a:lnTo>
                    <a:lnTo>
                      <a:pt x="619" y="1177"/>
                    </a:lnTo>
                    <a:lnTo>
                      <a:pt x="619" y="1175"/>
                    </a:lnTo>
                    <a:lnTo>
                      <a:pt x="618" y="1175"/>
                    </a:lnTo>
                    <a:lnTo>
                      <a:pt x="616" y="1175"/>
                    </a:lnTo>
                    <a:lnTo>
                      <a:pt x="616" y="1173"/>
                    </a:lnTo>
                    <a:lnTo>
                      <a:pt x="616" y="1172"/>
                    </a:lnTo>
                    <a:lnTo>
                      <a:pt x="618" y="1172"/>
                    </a:lnTo>
                    <a:lnTo>
                      <a:pt x="619" y="1172"/>
                    </a:lnTo>
                    <a:lnTo>
                      <a:pt x="619" y="1170"/>
                    </a:lnTo>
                    <a:lnTo>
                      <a:pt x="621" y="1170"/>
                    </a:lnTo>
                    <a:lnTo>
                      <a:pt x="621" y="1168"/>
                    </a:lnTo>
                    <a:lnTo>
                      <a:pt x="621" y="1170"/>
                    </a:lnTo>
                    <a:lnTo>
                      <a:pt x="623" y="1170"/>
                    </a:lnTo>
                    <a:lnTo>
                      <a:pt x="623" y="1168"/>
                    </a:lnTo>
                    <a:lnTo>
                      <a:pt x="624" y="1168"/>
                    </a:lnTo>
                    <a:lnTo>
                      <a:pt x="624" y="1167"/>
                    </a:lnTo>
                    <a:lnTo>
                      <a:pt x="626" y="1167"/>
                    </a:lnTo>
                    <a:lnTo>
                      <a:pt x="628" y="1165"/>
                    </a:lnTo>
                    <a:lnTo>
                      <a:pt x="629" y="1165"/>
                    </a:lnTo>
                    <a:lnTo>
                      <a:pt x="628" y="1163"/>
                    </a:lnTo>
                    <a:lnTo>
                      <a:pt x="629" y="1163"/>
                    </a:lnTo>
                    <a:lnTo>
                      <a:pt x="629" y="1162"/>
                    </a:lnTo>
                    <a:lnTo>
                      <a:pt x="631" y="1160"/>
                    </a:lnTo>
                    <a:lnTo>
                      <a:pt x="633" y="1162"/>
                    </a:lnTo>
                    <a:lnTo>
                      <a:pt x="633" y="1160"/>
                    </a:lnTo>
                    <a:lnTo>
                      <a:pt x="635" y="1160"/>
                    </a:lnTo>
                    <a:lnTo>
                      <a:pt x="635" y="1158"/>
                    </a:lnTo>
                    <a:lnTo>
                      <a:pt x="636" y="1158"/>
                    </a:lnTo>
                    <a:lnTo>
                      <a:pt x="636" y="1160"/>
                    </a:lnTo>
                    <a:lnTo>
                      <a:pt x="638" y="1160"/>
                    </a:lnTo>
                    <a:lnTo>
                      <a:pt x="638" y="1158"/>
                    </a:lnTo>
                    <a:lnTo>
                      <a:pt x="640" y="1158"/>
                    </a:lnTo>
                    <a:lnTo>
                      <a:pt x="641" y="1156"/>
                    </a:lnTo>
                    <a:lnTo>
                      <a:pt x="640" y="1156"/>
                    </a:lnTo>
                    <a:lnTo>
                      <a:pt x="638" y="1156"/>
                    </a:lnTo>
                    <a:lnTo>
                      <a:pt x="638" y="1155"/>
                    </a:lnTo>
                    <a:lnTo>
                      <a:pt x="640" y="1155"/>
                    </a:lnTo>
                    <a:lnTo>
                      <a:pt x="641" y="1156"/>
                    </a:lnTo>
                    <a:lnTo>
                      <a:pt x="641" y="1155"/>
                    </a:lnTo>
                    <a:lnTo>
                      <a:pt x="643" y="1155"/>
                    </a:lnTo>
                    <a:lnTo>
                      <a:pt x="645" y="1155"/>
                    </a:lnTo>
                    <a:lnTo>
                      <a:pt x="645" y="1153"/>
                    </a:lnTo>
                    <a:lnTo>
                      <a:pt x="645" y="1151"/>
                    </a:lnTo>
                    <a:lnTo>
                      <a:pt x="645" y="1150"/>
                    </a:lnTo>
                    <a:lnTo>
                      <a:pt x="646" y="1150"/>
                    </a:lnTo>
                    <a:lnTo>
                      <a:pt x="646" y="1148"/>
                    </a:lnTo>
                    <a:lnTo>
                      <a:pt x="648" y="1146"/>
                    </a:lnTo>
                    <a:lnTo>
                      <a:pt x="648" y="1148"/>
                    </a:lnTo>
                    <a:lnTo>
                      <a:pt x="650" y="1148"/>
                    </a:lnTo>
                    <a:lnTo>
                      <a:pt x="650" y="1146"/>
                    </a:lnTo>
                    <a:lnTo>
                      <a:pt x="652" y="1146"/>
                    </a:lnTo>
                    <a:lnTo>
                      <a:pt x="652" y="1148"/>
                    </a:lnTo>
                    <a:lnTo>
                      <a:pt x="653" y="1146"/>
                    </a:lnTo>
                    <a:lnTo>
                      <a:pt x="652" y="1146"/>
                    </a:lnTo>
                    <a:lnTo>
                      <a:pt x="652" y="1145"/>
                    </a:lnTo>
                    <a:lnTo>
                      <a:pt x="653" y="1145"/>
                    </a:lnTo>
                    <a:lnTo>
                      <a:pt x="653" y="1146"/>
                    </a:lnTo>
                    <a:lnTo>
                      <a:pt x="655" y="1146"/>
                    </a:lnTo>
                    <a:lnTo>
                      <a:pt x="655" y="1145"/>
                    </a:lnTo>
                    <a:lnTo>
                      <a:pt x="655" y="1143"/>
                    </a:lnTo>
                    <a:lnTo>
                      <a:pt x="657" y="1143"/>
                    </a:lnTo>
                    <a:lnTo>
                      <a:pt x="657" y="1145"/>
                    </a:lnTo>
                    <a:lnTo>
                      <a:pt x="658" y="1145"/>
                    </a:lnTo>
                    <a:lnTo>
                      <a:pt x="660" y="1145"/>
                    </a:lnTo>
                    <a:lnTo>
                      <a:pt x="660" y="1143"/>
                    </a:lnTo>
                    <a:lnTo>
                      <a:pt x="660" y="1141"/>
                    </a:lnTo>
                    <a:lnTo>
                      <a:pt x="662" y="1141"/>
                    </a:lnTo>
                    <a:lnTo>
                      <a:pt x="662" y="1143"/>
                    </a:lnTo>
                    <a:lnTo>
                      <a:pt x="663" y="1143"/>
                    </a:lnTo>
                    <a:lnTo>
                      <a:pt x="663" y="1141"/>
                    </a:lnTo>
                    <a:lnTo>
                      <a:pt x="665" y="1141"/>
                    </a:lnTo>
                    <a:lnTo>
                      <a:pt x="665" y="1143"/>
                    </a:lnTo>
                    <a:lnTo>
                      <a:pt x="667" y="1143"/>
                    </a:lnTo>
                    <a:lnTo>
                      <a:pt x="667" y="1141"/>
                    </a:lnTo>
                    <a:lnTo>
                      <a:pt x="669" y="1139"/>
                    </a:lnTo>
                    <a:lnTo>
                      <a:pt x="669" y="1138"/>
                    </a:lnTo>
                    <a:lnTo>
                      <a:pt x="669" y="1136"/>
                    </a:lnTo>
                    <a:lnTo>
                      <a:pt x="670" y="1136"/>
                    </a:lnTo>
                    <a:lnTo>
                      <a:pt x="670" y="1138"/>
                    </a:lnTo>
                    <a:lnTo>
                      <a:pt x="672" y="1138"/>
                    </a:lnTo>
                    <a:lnTo>
                      <a:pt x="672" y="1136"/>
                    </a:lnTo>
                    <a:lnTo>
                      <a:pt x="674" y="1136"/>
                    </a:lnTo>
                    <a:lnTo>
                      <a:pt x="674" y="1134"/>
                    </a:lnTo>
                    <a:lnTo>
                      <a:pt x="675" y="1134"/>
                    </a:lnTo>
                    <a:lnTo>
                      <a:pt x="675" y="1133"/>
                    </a:lnTo>
                    <a:lnTo>
                      <a:pt x="677" y="1133"/>
                    </a:lnTo>
                    <a:lnTo>
                      <a:pt x="677" y="1131"/>
                    </a:lnTo>
                    <a:lnTo>
                      <a:pt x="679" y="1133"/>
                    </a:lnTo>
                    <a:lnTo>
                      <a:pt x="679" y="1131"/>
                    </a:lnTo>
                    <a:lnTo>
                      <a:pt x="680" y="1131"/>
                    </a:lnTo>
                    <a:lnTo>
                      <a:pt x="680" y="1133"/>
                    </a:lnTo>
                    <a:lnTo>
                      <a:pt x="680" y="1131"/>
                    </a:lnTo>
                    <a:lnTo>
                      <a:pt x="682" y="1131"/>
                    </a:lnTo>
                    <a:lnTo>
                      <a:pt x="680" y="1131"/>
                    </a:lnTo>
                    <a:lnTo>
                      <a:pt x="682" y="1131"/>
                    </a:lnTo>
                    <a:lnTo>
                      <a:pt x="682" y="1129"/>
                    </a:lnTo>
                    <a:lnTo>
                      <a:pt x="682" y="1128"/>
                    </a:lnTo>
                    <a:lnTo>
                      <a:pt x="682" y="1129"/>
                    </a:lnTo>
                    <a:lnTo>
                      <a:pt x="682" y="1128"/>
                    </a:lnTo>
                    <a:lnTo>
                      <a:pt x="684" y="1128"/>
                    </a:lnTo>
                    <a:lnTo>
                      <a:pt x="682" y="1128"/>
                    </a:lnTo>
                    <a:lnTo>
                      <a:pt x="682" y="1126"/>
                    </a:lnTo>
                    <a:lnTo>
                      <a:pt x="684" y="1128"/>
                    </a:lnTo>
                    <a:lnTo>
                      <a:pt x="684" y="1126"/>
                    </a:lnTo>
                    <a:lnTo>
                      <a:pt x="686" y="1126"/>
                    </a:lnTo>
                    <a:lnTo>
                      <a:pt x="684" y="1124"/>
                    </a:lnTo>
                    <a:lnTo>
                      <a:pt x="686" y="1124"/>
                    </a:lnTo>
                    <a:lnTo>
                      <a:pt x="686" y="1122"/>
                    </a:lnTo>
                    <a:lnTo>
                      <a:pt x="686" y="1124"/>
                    </a:lnTo>
                    <a:lnTo>
                      <a:pt x="686" y="1122"/>
                    </a:lnTo>
                    <a:lnTo>
                      <a:pt x="686" y="1121"/>
                    </a:lnTo>
                    <a:lnTo>
                      <a:pt x="687" y="1121"/>
                    </a:lnTo>
                    <a:lnTo>
                      <a:pt x="686" y="1119"/>
                    </a:lnTo>
                    <a:lnTo>
                      <a:pt x="686" y="1117"/>
                    </a:lnTo>
                    <a:lnTo>
                      <a:pt x="684" y="1117"/>
                    </a:lnTo>
                    <a:lnTo>
                      <a:pt x="686" y="1116"/>
                    </a:lnTo>
                    <a:lnTo>
                      <a:pt x="684" y="1116"/>
                    </a:lnTo>
                    <a:lnTo>
                      <a:pt x="684" y="1114"/>
                    </a:lnTo>
                    <a:lnTo>
                      <a:pt x="684" y="1116"/>
                    </a:lnTo>
                    <a:lnTo>
                      <a:pt x="684" y="1114"/>
                    </a:lnTo>
                    <a:lnTo>
                      <a:pt x="686" y="1114"/>
                    </a:lnTo>
                    <a:lnTo>
                      <a:pt x="684" y="1114"/>
                    </a:lnTo>
                    <a:lnTo>
                      <a:pt x="686" y="1112"/>
                    </a:lnTo>
                    <a:lnTo>
                      <a:pt x="684" y="1112"/>
                    </a:lnTo>
                    <a:lnTo>
                      <a:pt x="684" y="1110"/>
                    </a:lnTo>
                    <a:lnTo>
                      <a:pt x="684" y="1109"/>
                    </a:lnTo>
                    <a:lnTo>
                      <a:pt x="686" y="1109"/>
                    </a:lnTo>
                    <a:lnTo>
                      <a:pt x="684" y="1109"/>
                    </a:lnTo>
                    <a:lnTo>
                      <a:pt x="686" y="1107"/>
                    </a:lnTo>
                    <a:lnTo>
                      <a:pt x="684" y="1107"/>
                    </a:lnTo>
                    <a:lnTo>
                      <a:pt x="686" y="1107"/>
                    </a:lnTo>
                    <a:lnTo>
                      <a:pt x="686" y="1105"/>
                    </a:lnTo>
                    <a:lnTo>
                      <a:pt x="686" y="1104"/>
                    </a:lnTo>
                    <a:lnTo>
                      <a:pt x="686" y="1102"/>
                    </a:lnTo>
                    <a:lnTo>
                      <a:pt x="686" y="1100"/>
                    </a:lnTo>
                    <a:lnTo>
                      <a:pt x="687" y="1100"/>
                    </a:lnTo>
                    <a:lnTo>
                      <a:pt x="687" y="1099"/>
                    </a:lnTo>
                    <a:lnTo>
                      <a:pt x="687" y="1097"/>
                    </a:lnTo>
                    <a:lnTo>
                      <a:pt x="687" y="1095"/>
                    </a:lnTo>
                    <a:lnTo>
                      <a:pt x="686" y="1093"/>
                    </a:lnTo>
                    <a:lnTo>
                      <a:pt x="684" y="1092"/>
                    </a:lnTo>
                    <a:lnTo>
                      <a:pt x="684" y="1090"/>
                    </a:lnTo>
                    <a:lnTo>
                      <a:pt x="682" y="1088"/>
                    </a:lnTo>
                    <a:lnTo>
                      <a:pt x="682" y="1087"/>
                    </a:lnTo>
                    <a:lnTo>
                      <a:pt x="680" y="1087"/>
                    </a:lnTo>
                    <a:lnTo>
                      <a:pt x="680" y="1085"/>
                    </a:lnTo>
                    <a:lnTo>
                      <a:pt x="682" y="1085"/>
                    </a:lnTo>
                    <a:lnTo>
                      <a:pt x="680" y="1085"/>
                    </a:lnTo>
                    <a:lnTo>
                      <a:pt x="682" y="1083"/>
                    </a:lnTo>
                    <a:lnTo>
                      <a:pt x="680" y="1083"/>
                    </a:lnTo>
                    <a:lnTo>
                      <a:pt x="680" y="1082"/>
                    </a:lnTo>
                    <a:lnTo>
                      <a:pt x="682" y="1082"/>
                    </a:lnTo>
                    <a:lnTo>
                      <a:pt x="680" y="1080"/>
                    </a:lnTo>
                    <a:lnTo>
                      <a:pt x="680" y="1078"/>
                    </a:lnTo>
                    <a:lnTo>
                      <a:pt x="680" y="1076"/>
                    </a:lnTo>
                    <a:lnTo>
                      <a:pt x="679" y="1076"/>
                    </a:lnTo>
                    <a:lnTo>
                      <a:pt x="680" y="1076"/>
                    </a:lnTo>
                    <a:lnTo>
                      <a:pt x="679" y="1076"/>
                    </a:lnTo>
                    <a:lnTo>
                      <a:pt x="680" y="1076"/>
                    </a:lnTo>
                    <a:lnTo>
                      <a:pt x="680" y="1075"/>
                    </a:lnTo>
                    <a:lnTo>
                      <a:pt x="679" y="1075"/>
                    </a:lnTo>
                    <a:lnTo>
                      <a:pt x="679" y="1073"/>
                    </a:lnTo>
                    <a:lnTo>
                      <a:pt x="679" y="1075"/>
                    </a:lnTo>
                    <a:lnTo>
                      <a:pt x="679" y="1073"/>
                    </a:lnTo>
                    <a:lnTo>
                      <a:pt x="677" y="1073"/>
                    </a:lnTo>
                    <a:lnTo>
                      <a:pt x="677" y="1075"/>
                    </a:lnTo>
                    <a:lnTo>
                      <a:pt x="677" y="1073"/>
                    </a:lnTo>
                    <a:lnTo>
                      <a:pt x="675" y="1073"/>
                    </a:lnTo>
                    <a:lnTo>
                      <a:pt x="677" y="1073"/>
                    </a:lnTo>
                    <a:lnTo>
                      <a:pt x="675" y="1073"/>
                    </a:lnTo>
                    <a:lnTo>
                      <a:pt x="675" y="1071"/>
                    </a:lnTo>
                    <a:lnTo>
                      <a:pt x="674" y="1071"/>
                    </a:lnTo>
                    <a:lnTo>
                      <a:pt x="672" y="1071"/>
                    </a:lnTo>
                    <a:lnTo>
                      <a:pt x="672" y="1073"/>
                    </a:lnTo>
                    <a:lnTo>
                      <a:pt x="670" y="1071"/>
                    </a:lnTo>
                    <a:lnTo>
                      <a:pt x="672" y="1071"/>
                    </a:lnTo>
                    <a:lnTo>
                      <a:pt x="672" y="1070"/>
                    </a:lnTo>
                    <a:lnTo>
                      <a:pt x="672" y="1068"/>
                    </a:lnTo>
                    <a:lnTo>
                      <a:pt x="670" y="1070"/>
                    </a:lnTo>
                    <a:lnTo>
                      <a:pt x="669" y="1070"/>
                    </a:lnTo>
                    <a:lnTo>
                      <a:pt x="669" y="1071"/>
                    </a:lnTo>
                    <a:lnTo>
                      <a:pt x="667" y="1071"/>
                    </a:lnTo>
                    <a:lnTo>
                      <a:pt x="667" y="1073"/>
                    </a:lnTo>
                    <a:lnTo>
                      <a:pt x="665" y="1071"/>
                    </a:lnTo>
                    <a:lnTo>
                      <a:pt x="663" y="1071"/>
                    </a:lnTo>
                    <a:lnTo>
                      <a:pt x="663" y="1073"/>
                    </a:lnTo>
                    <a:lnTo>
                      <a:pt x="662" y="1073"/>
                    </a:lnTo>
                    <a:lnTo>
                      <a:pt x="662" y="1075"/>
                    </a:lnTo>
                    <a:lnTo>
                      <a:pt x="660" y="1075"/>
                    </a:lnTo>
                    <a:lnTo>
                      <a:pt x="662" y="1076"/>
                    </a:lnTo>
                    <a:lnTo>
                      <a:pt x="660" y="1076"/>
                    </a:lnTo>
                    <a:lnTo>
                      <a:pt x="660" y="1075"/>
                    </a:lnTo>
                    <a:lnTo>
                      <a:pt x="658" y="1073"/>
                    </a:lnTo>
                    <a:lnTo>
                      <a:pt x="657" y="1073"/>
                    </a:lnTo>
                    <a:lnTo>
                      <a:pt x="657" y="1071"/>
                    </a:lnTo>
                    <a:lnTo>
                      <a:pt x="657" y="1073"/>
                    </a:lnTo>
                    <a:lnTo>
                      <a:pt x="655" y="1073"/>
                    </a:lnTo>
                    <a:lnTo>
                      <a:pt x="655" y="1071"/>
                    </a:lnTo>
                    <a:lnTo>
                      <a:pt x="655" y="1070"/>
                    </a:lnTo>
                    <a:lnTo>
                      <a:pt x="655" y="1068"/>
                    </a:lnTo>
                    <a:lnTo>
                      <a:pt x="655" y="1066"/>
                    </a:lnTo>
                    <a:lnTo>
                      <a:pt x="655" y="1065"/>
                    </a:lnTo>
                    <a:lnTo>
                      <a:pt x="657" y="1065"/>
                    </a:lnTo>
                    <a:lnTo>
                      <a:pt x="657" y="1063"/>
                    </a:lnTo>
                    <a:lnTo>
                      <a:pt x="658" y="1061"/>
                    </a:lnTo>
                    <a:lnTo>
                      <a:pt x="658" y="1059"/>
                    </a:lnTo>
                    <a:lnTo>
                      <a:pt x="660" y="1058"/>
                    </a:lnTo>
                    <a:lnTo>
                      <a:pt x="660" y="1056"/>
                    </a:lnTo>
                    <a:lnTo>
                      <a:pt x="660" y="1054"/>
                    </a:lnTo>
                    <a:lnTo>
                      <a:pt x="660" y="1053"/>
                    </a:lnTo>
                    <a:lnTo>
                      <a:pt x="660" y="1051"/>
                    </a:lnTo>
                    <a:lnTo>
                      <a:pt x="660" y="1049"/>
                    </a:lnTo>
                    <a:lnTo>
                      <a:pt x="660" y="1048"/>
                    </a:lnTo>
                    <a:lnTo>
                      <a:pt x="662" y="1046"/>
                    </a:lnTo>
                    <a:lnTo>
                      <a:pt x="662" y="1044"/>
                    </a:lnTo>
                    <a:lnTo>
                      <a:pt x="662" y="1042"/>
                    </a:lnTo>
                    <a:lnTo>
                      <a:pt x="663" y="1041"/>
                    </a:lnTo>
                    <a:lnTo>
                      <a:pt x="663" y="1039"/>
                    </a:lnTo>
                    <a:lnTo>
                      <a:pt x="663" y="1037"/>
                    </a:lnTo>
                    <a:lnTo>
                      <a:pt x="665" y="1037"/>
                    </a:lnTo>
                    <a:lnTo>
                      <a:pt x="665" y="1036"/>
                    </a:lnTo>
                    <a:lnTo>
                      <a:pt x="665" y="1034"/>
                    </a:lnTo>
                    <a:lnTo>
                      <a:pt x="663" y="1034"/>
                    </a:lnTo>
                    <a:lnTo>
                      <a:pt x="663" y="1032"/>
                    </a:lnTo>
                    <a:lnTo>
                      <a:pt x="663" y="1031"/>
                    </a:lnTo>
                    <a:lnTo>
                      <a:pt x="665" y="1031"/>
                    </a:lnTo>
                    <a:lnTo>
                      <a:pt x="665" y="1029"/>
                    </a:lnTo>
                    <a:lnTo>
                      <a:pt x="667" y="1027"/>
                    </a:lnTo>
                    <a:lnTo>
                      <a:pt x="667" y="1025"/>
                    </a:lnTo>
                    <a:lnTo>
                      <a:pt x="665" y="1024"/>
                    </a:lnTo>
                    <a:lnTo>
                      <a:pt x="665" y="1022"/>
                    </a:lnTo>
                    <a:lnTo>
                      <a:pt x="663" y="1022"/>
                    </a:lnTo>
                    <a:lnTo>
                      <a:pt x="663" y="1020"/>
                    </a:lnTo>
                    <a:lnTo>
                      <a:pt x="663" y="1019"/>
                    </a:lnTo>
                    <a:lnTo>
                      <a:pt x="663" y="1017"/>
                    </a:lnTo>
                    <a:lnTo>
                      <a:pt x="665" y="1017"/>
                    </a:lnTo>
                    <a:lnTo>
                      <a:pt x="665" y="1015"/>
                    </a:lnTo>
                    <a:lnTo>
                      <a:pt x="665" y="1014"/>
                    </a:lnTo>
                    <a:lnTo>
                      <a:pt x="663" y="1014"/>
                    </a:lnTo>
                    <a:lnTo>
                      <a:pt x="662" y="1012"/>
                    </a:lnTo>
                    <a:lnTo>
                      <a:pt x="660" y="1010"/>
                    </a:lnTo>
                    <a:lnTo>
                      <a:pt x="660" y="1008"/>
                    </a:lnTo>
                    <a:lnTo>
                      <a:pt x="658" y="1008"/>
                    </a:lnTo>
                    <a:lnTo>
                      <a:pt x="657" y="1008"/>
                    </a:lnTo>
                    <a:lnTo>
                      <a:pt x="655" y="1007"/>
                    </a:lnTo>
                    <a:lnTo>
                      <a:pt x="655" y="1008"/>
                    </a:lnTo>
                    <a:lnTo>
                      <a:pt x="655" y="1007"/>
                    </a:lnTo>
                    <a:lnTo>
                      <a:pt x="653" y="1007"/>
                    </a:lnTo>
                    <a:lnTo>
                      <a:pt x="652" y="1007"/>
                    </a:lnTo>
                    <a:lnTo>
                      <a:pt x="652" y="1008"/>
                    </a:lnTo>
                    <a:lnTo>
                      <a:pt x="650" y="1008"/>
                    </a:lnTo>
                    <a:lnTo>
                      <a:pt x="648" y="1008"/>
                    </a:lnTo>
                    <a:lnTo>
                      <a:pt x="646" y="1008"/>
                    </a:lnTo>
                    <a:lnTo>
                      <a:pt x="646" y="1010"/>
                    </a:lnTo>
                    <a:lnTo>
                      <a:pt x="645" y="1010"/>
                    </a:lnTo>
                    <a:lnTo>
                      <a:pt x="645" y="1012"/>
                    </a:lnTo>
                    <a:lnTo>
                      <a:pt x="643" y="1012"/>
                    </a:lnTo>
                    <a:lnTo>
                      <a:pt x="641" y="1012"/>
                    </a:lnTo>
                    <a:lnTo>
                      <a:pt x="640" y="1012"/>
                    </a:lnTo>
                    <a:lnTo>
                      <a:pt x="640" y="1014"/>
                    </a:lnTo>
                    <a:lnTo>
                      <a:pt x="640" y="1012"/>
                    </a:lnTo>
                    <a:lnTo>
                      <a:pt x="638" y="1012"/>
                    </a:lnTo>
                    <a:lnTo>
                      <a:pt x="636" y="1014"/>
                    </a:lnTo>
                    <a:lnTo>
                      <a:pt x="636" y="1012"/>
                    </a:lnTo>
                    <a:lnTo>
                      <a:pt x="636" y="1014"/>
                    </a:lnTo>
                    <a:lnTo>
                      <a:pt x="635" y="1014"/>
                    </a:lnTo>
                    <a:lnTo>
                      <a:pt x="633" y="1014"/>
                    </a:lnTo>
                    <a:lnTo>
                      <a:pt x="633" y="1012"/>
                    </a:lnTo>
                    <a:lnTo>
                      <a:pt x="631" y="1012"/>
                    </a:lnTo>
                    <a:lnTo>
                      <a:pt x="629" y="1014"/>
                    </a:lnTo>
                    <a:lnTo>
                      <a:pt x="629" y="1012"/>
                    </a:lnTo>
                    <a:lnTo>
                      <a:pt x="628" y="1012"/>
                    </a:lnTo>
                    <a:lnTo>
                      <a:pt x="628" y="1010"/>
                    </a:lnTo>
                    <a:lnTo>
                      <a:pt x="626" y="1010"/>
                    </a:lnTo>
                    <a:lnTo>
                      <a:pt x="626" y="1008"/>
                    </a:lnTo>
                    <a:lnTo>
                      <a:pt x="626" y="1007"/>
                    </a:lnTo>
                    <a:lnTo>
                      <a:pt x="626" y="1005"/>
                    </a:lnTo>
                    <a:lnTo>
                      <a:pt x="628" y="1005"/>
                    </a:lnTo>
                    <a:lnTo>
                      <a:pt x="626" y="1005"/>
                    </a:lnTo>
                    <a:lnTo>
                      <a:pt x="626" y="1003"/>
                    </a:lnTo>
                    <a:lnTo>
                      <a:pt x="626" y="1002"/>
                    </a:lnTo>
                    <a:lnTo>
                      <a:pt x="626" y="1000"/>
                    </a:lnTo>
                    <a:lnTo>
                      <a:pt x="624" y="1000"/>
                    </a:lnTo>
                    <a:lnTo>
                      <a:pt x="623" y="1000"/>
                    </a:lnTo>
                    <a:lnTo>
                      <a:pt x="623" y="998"/>
                    </a:lnTo>
                    <a:lnTo>
                      <a:pt x="624" y="998"/>
                    </a:lnTo>
                    <a:lnTo>
                      <a:pt x="624" y="997"/>
                    </a:lnTo>
                    <a:lnTo>
                      <a:pt x="623" y="997"/>
                    </a:lnTo>
                    <a:lnTo>
                      <a:pt x="623" y="995"/>
                    </a:lnTo>
                    <a:lnTo>
                      <a:pt x="623" y="993"/>
                    </a:lnTo>
                    <a:lnTo>
                      <a:pt x="624" y="991"/>
                    </a:lnTo>
                    <a:lnTo>
                      <a:pt x="624" y="990"/>
                    </a:lnTo>
                    <a:lnTo>
                      <a:pt x="623" y="988"/>
                    </a:lnTo>
                    <a:lnTo>
                      <a:pt x="623" y="986"/>
                    </a:lnTo>
                    <a:lnTo>
                      <a:pt x="624" y="986"/>
                    </a:lnTo>
                    <a:lnTo>
                      <a:pt x="623" y="986"/>
                    </a:lnTo>
                    <a:lnTo>
                      <a:pt x="623" y="985"/>
                    </a:lnTo>
                    <a:lnTo>
                      <a:pt x="624" y="985"/>
                    </a:lnTo>
                    <a:lnTo>
                      <a:pt x="624" y="983"/>
                    </a:lnTo>
                    <a:lnTo>
                      <a:pt x="623" y="983"/>
                    </a:lnTo>
                    <a:lnTo>
                      <a:pt x="623" y="981"/>
                    </a:lnTo>
                    <a:lnTo>
                      <a:pt x="621" y="981"/>
                    </a:lnTo>
                    <a:lnTo>
                      <a:pt x="621" y="980"/>
                    </a:lnTo>
                    <a:lnTo>
                      <a:pt x="621" y="978"/>
                    </a:lnTo>
                    <a:lnTo>
                      <a:pt x="619" y="978"/>
                    </a:lnTo>
                    <a:lnTo>
                      <a:pt x="621" y="976"/>
                    </a:lnTo>
                    <a:lnTo>
                      <a:pt x="619" y="974"/>
                    </a:lnTo>
                    <a:lnTo>
                      <a:pt x="619" y="973"/>
                    </a:lnTo>
                    <a:lnTo>
                      <a:pt x="619" y="971"/>
                    </a:lnTo>
                    <a:lnTo>
                      <a:pt x="619" y="969"/>
                    </a:lnTo>
                    <a:lnTo>
                      <a:pt x="619" y="968"/>
                    </a:lnTo>
                    <a:lnTo>
                      <a:pt x="621" y="968"/>
                    </a:lnTo>
                    <a:lnTo>
                      <a:pt x="621" y="966"/>
                    </a:lnTo>
                    <a:lnTo>
                      <a:pt x="621" y="964"/>
                    </a:lnTo>
                    <a:lnTo>
                      <a:pt x="621" y="963"/>
                    </a:lnTo>
                    <a:lnTo>
                      <a:pt x="619" y="963"/>
                    </a:lnTo>
                    <a:lnTo>
                      <a:pt x="619" y="961"/>
                    </a:lnTo>
                    <a:lnTo>
                      <a:pt x="618" y="961"/>
                    </a:lnTo>
                    <a:lnTo>
                      <a:pt x="618" y="959"/>
                    </a:lnTo>
                    <a:lnTo>
                      <a:pt x="616" y="959"/>
                    </a:lnTo>
                    <a:lnTo>
                      <a:pt x="616" y="957"/>
                    </a:lnTo>
                    <a:lnTo>
                      <a:pt x="616" y="956"/>
                    </a:lnTo>
                    <a:lnTo>
                      <a:pt x="618" y="956"/>
                    </a:lnTo>
                    <a:lnTo>
                      <a:pt x="616" y="956"/>
                    </a:lnTo>
                    <a:lnTo>
                      <a:pt x="616" y="954"/>
                    </a:lnTo>
                    <a:lnTo>
                      <a:pt x="614" y="954"/>
                    </a:lnTo>
                    <a:lnTo>
                      <a:pt x="614" y="952"/>
                    </a:lnTo>
                    <a:lnTo>
                      <a:pt x="612" y="951"/>
                    </a:lnTo>
                    <a:lnTo>
                      <a:pt x="611" y="951"/>
                    </a:lnTo>
                    <a:lnTo>
                      <a:pt x="609" y="951"/>
                    </a:lnTo>
                    <a:lnTo>
                      <a:pt x="607" y="951"/>
                    </a:lnTo>
                    <a:lnTo>
                      <a:pt x="606" y="951"/>
                    </a:lnTo>
                    <a:lnTo>
                      <a:pt x="604" y="951"/>
                    </a:lnTo>
                    <a:lnTo>
                      <a:pt x="604" y="949"/>
                    </a:lnTo>
                    <a:lnTo>
                      <a:pt x="604" y="951"/>
                    </a:lnTo>
                    <a:lnTo>
                      <a:pt x="602" y="951"/>
                    </a:lnTo>
                    <a:lnTo>
                      <a:pt x="601" y="949"/>
                    </a:lnTo>
                    <a:lnTo>
                      <a:pt x="601" y="951"/>
                    </a:lnTo>
                    <a:lnTo>
                      <a:pt x="601" y="949"/>
                    </a:lnTo>
                    <a:lnTo>
                      <a:pt x="599" y="949"/>
                    </a:lnTo>
                    <a:lnTo>
                      <a:pt x="599" y="947"/>
                    </a:lnTo>
                    <a:lnTo>
                      <a:pt x="597" y="947"/>
                    </a:lnTo>
                    <a:lnTo>
                      <a:pt x="595" y="947"/>
                    </a:lnTo>
                    <a:lnTo>
                      <a:pt x="595" y="945"/>
                    </a:lnTo>
                    <a:lnTo>
                      <a:pt x="595" y="944"/>
                    </a:lnTo>
                    <a:lnTo>
                      <a:pt x="594" y="944"/>
                    </a:lnTo>
                    <a:lnTo>
                      <a:pt x="594" y="942"/>
                    </a:lnTo>
                    <a:lnTo>
                      <a:pt x="594" y="944"/>
                    </a:lnTo>
                    <a:lnTo>
                      <a:pt x="592" y="942"/>
                    </a:lnTo>
                    <a:lnTo>
                      <a:pt x="592" y="944"/>
                    </a:lnTo>
                    <a:lnTo>
                      <a:pt x="590" y="944"/>
                    </a:lnTo>
                    <a:lnTo>
                      <a:pt x="590" y="945"/>
                    </a:lnTo>
                    <a:lnTo>
                      <a:pt x="589" y="945"/>
                    </a:lnTo>
                    <a:lnTo>
                      <a:pt x="590" y="945"/>
                    </a:lnTo>
                    <a:lnTo>
                      <a:pt x="589" y="945"/>
                    </a:lnTo>
                    <a:lnTo>
                      <a:pt x="589" y="947"/>
                    </a:lnTo>
                    <a:lnTo>
                      <a:pt x="587" y="947"/>
                    </a:lnTo>
                    <a:lnTo>
                      <a:pt x="587" y="949"/>
                    </a:lnTo>
                    <a:lnTo>
                      <a:pt x="585" y="949"/>
                    </a:lnTo>
                    <a:lnTo>
                      <a:pt x="587" y="949"/>
                    </a:lnTo>
                    <a:lnTo>
                      <a:pt x="585" y="949"/>
                    </a:lnTo>
                    <a:lnTo>
                      <a:pt x="585" y="947"/>
                    </a:lnTo>
                    <a:lnTo>
                      <a:pt x="584" y="947"/>
                    </a:lnTo>
                    <a:lnTo>
                      <a:pt x="584" y="949"/>
                    </a:lnTo>
                    <a:lnTo>
                      <a:pt x="582" y="949"/>
                    </a:lnTo>
                    <a:lnTo>
                      <a:pt x="580" y="949"/>
                    </a:lnTo>
                    <a:lnTo>
                      <a:pt x="580" y="951"/>
                    </a:lnTo>
                    <a:lnTo>
                      <a:pt x="578" y="951"/>
                    </a:lnTo>
                    <a:lnTo>
                      <a:pt x="578" y="949"/>
                    </a:lnTo>
                    <a:lnTo>
                      <a:pt x="577" y="949"/>
                    </a:lnTo>
                    <a:lnTo>
                      <a:pt x="575" y="949"/>
                    </a:lnTo>
                    <a:lnTo>
                      <a:pt x="573" y="947"/>
                    </a:lnTo>
                    <a:lnTo>
                      <a:pt x="573" y="949"/>
                    </a:lnTo>
                    <a:lnTo>
                      <a:pt x="572" y="949"/>
                    </a:lnTo>
                    <a:lnTo>
                      <a:pt x="570" y="949"/>
                    </a:lnTo>
                    <a:lnTo>
                      <a:pt x="570" y="947"/>
                    </a:lnTo>
                    <a:lnTo>
                      <a:pt x="568" y="949"/>
                    </a:lnTo>
                    <a:lnTo>
                      <a:pt x="568" y="947"/>
                    </a:lnTo>
                    <a:lnTo>
                      <a:pt x="567" y="947"/>
                    </a:lnTo>
                    <a:lnTo>
                      <a:pt x="567" y="949"/>
                    </a:lnTo>
                    <a:lnTo>
                      <a:pt x="565" y="949"/>
                    </a:lnTo>
                    <a:lnTo>
                      <a:pt x="565" y="947"/>
                    </a:lnTo>
                    <a:lnTo>
                      <a:pt x="563" y="949"/>
                    </a:lnTo>
                    <a:lnTo>
                      <a:pt x="561" y="947"/>
                    </a:lnTo>
                    <a:lnTo>
                      <a:pt x="561" y="949"/>
                    </a:lnTo>
                    <a:lnTo>
                      <a:pt x="561" y="947"/>
                    </a:lnTo>
                    <a:lnTo>
                      <a:pt x="560" y="947"/>
                    </a:lnTo>
                    <a:lnTo>
                      <a:pt x="558" y="947"/>
                    </a:lnTo>
                    <a:lnTo>
                      <a:pt x="556" y="947"/>
                    </a:lnTo>
                    <a:lnTo>
                      <a:pt x="556" y="945"/>
                    </a:lnTo>
                    <a:lnTo>
                      <a:pt x="556" y="947"/>
                    </a:lnTo>
                    <a:lnTo>
                      <a:pt x="555" y="945"/>
                    </a:lnTo>
                    <a:lnTo>
                      <a:pt x="553" y="945"/>
                    </a:lnTo>
                    <a:lnTo>
                      <a:pt x="553" y="944"/>
                    </a:lnTo>
                    <a:lnTo>
                      <a:pt x="551" y="944"/>
                    </a:lnTo>
                    <a:lnTo>
                      <a:pt x="550" y="944"/>
                    </a:lnTo>
                    <a:lnTo>
                      <a:pt x="550" y="945"/>
                    </a:lnTo>
                    <a:lnTo>
                      <a:pt x="548" y="945"/>
                    </a:lnTo>
                    <a:lnTo>
                      <a:pt x="548" y="944"/>
                    </a:lnTo>
                    <a:lnTo>
                      <a:pt x="546" y="945"/>
                    </a:lnTo>
                    <a:lnTo>
                      <a:pt x="546" y="944"/>
                    </a:lnTo>
                    <a:lnTo>
                      <a:pt x="544" y="944"/>
                    </a:lnTo>
                    <a:lnTo>
                      <a:pt x="544" y="945"/>
                    </a:lnTo>
                    <a:lnTo>
                      <a:pt x="544" y="944"/>
                    </a:lnTo>
                    <a:lnTo>
                      <a:pt x="543" y="944"/>
                    </a:lnTo>
                    <a:lnTo>
                      <a:pt x="543" y="942"/>
                    </a:lnTo>
                    <a:lnTo>
                      <a:pt x="541" y="942"/>
                    </a:lnTo>
                    <a:lnTo>
                      <a:pt x="541" y="944"/>
                    </a:lnTo>
                    <a:lnTo>
                      <a:pt x="541" y="942"/>
                    </a:lnTo>
                    <a:lnTo>
                      <a:pt x="539" y="942"/>
                    </a:lnTo>
                    <a:lnTo>
                      <a:pt x="539" y="940"/>
                    </a:lnTo>
                    <a:lnTo>
                      <a:pt x="541" y="940"/>
                    </a:lnTo>
                    <a:lnTo>
                      <a:pt x="541" y="939"/>
                    </a:lnTo>
                    <a:lnTo>
                      <a:pt x="543" y="939"/>
                    </a:lnTo>
                    <a:lnTo>
                      <a:pt x="543" y="937"/>
                    </a:lnTo>
                    <a:lnTo>
                      <a:pt x="543" y="935"/>
                    </a:lnTo>
                    <a:lnTo>
                      <a:pt x="541" y="935"/>
                    </a:lnTo>
                    <a:lnTo>
                      <a:pt x="541" y="934"/>
                    </a:lnTo>
                    <a:lnTo>
                      <a:pt x="543" y="934"/>
                    </a:lnTo>
                    <a:lnTo>
                      <a:pt x="543" y="932"/>
                    </a:lnTo>
                    <a:lnTo>
                      <a:pt x="543" y="930"/>
                    </a:lnTo>
                    <a:lnTo>
                      <a:pt x="544" y="928"/>
                    </a:lnTo>
                    <a:lnTo>
                      <a:pt x="543" y="928"/>
                    </a:lnTo>
                    <a:lnTo>
                      <a:pt x="543" y="927"/>
                    </a:lnTo>
                    <a:lnTo>
                      <a:pt x="543" y="925"/>
                    </a:lnTo>
                    <a:lnTo>
                      <a:pt x="543" y="923"/>
                    </a:lnTo>
                    <a:lnTo>
                      <a:pt x="541" y="923"/>
                    </a:lnTo>
                    <a:lnTo>
                      <a:pt x="541" y="922"/>
                    </a:lnTo>
                    <a:lnTo>
                      <a:pt x="543" y="922"/>
                    </a:lnTo>
                    <a:lnTo>
                      <a:pt x="543" y="920"/>
                    </a:lnTo>
                    <a:lnTo>
                      <a:pt x="543" y="918"/>
                    </a:lnTo>
                    <a:lnTo>
                      <a:pt x="544" y="918"/>
                    </a:lnTo>
                    <a:lnTo>
                      <a:pt x="544" y="917"/>
                    </a:lnTo>
                    <a:lnTo>
                      <a:pt x="544" y="915"/>
                    </a:lnTo>
                    <a:lnTo>
                      <a:pt x="543" y="913"/>
                    </a:lnTo>
                    <a:lnTo>
                      <a:pt x="544" y="913"/>
                    </a:lnTo>
                    <a:lnTo>
                      <a:pt x="544" y="911"/>
                    </a:lnTo>
                    <a:lnTo>
                      <a:pt x="546" y="911"/>
                    </a:lnTo>
                    <a:lnTo>
                      <a:pt x="546" y="910"/>
                    </a:lnTo>
                    <a:lnTo>
                      <a:pt x="544" y="910"/>
                    </a:lnTo>
                    <a:lnTo>
                      <a:pt x="544" y="908"/>
                    </a:lnTo>
                    <a:lnTo>
                      <a:pt x="546" y="906"/>
                    </a:lnTo>
                    <a:lnTo>
                      <a:pt x="544" y="906"/>
                    </a:lnTo>
                    <a:lnTo>
                      <a:pt x="544" y="905"/>
                    </a:lnTo>
                    <a:lnTo>
                      <a:pt x="546" y="905"/>
                    </a:lnTo>
                    <a:lnTo>
                      <a:pt x="546" y="903"/>
                    </a:lnTo>
                    <a:lnTo>
                      <a:pt x="546" y="901"/>
                    </a:lnTo>
                    <a:lnTo>
                      <a:pt x="544" y="901"/>
                    </a:lnTo>
                    <a:lnTo>
                      <a:pt x="544" y="900"/>
                    </a:lnTo>
                    <a:lnTo>
                      <a:pt x="543" y="900"/>
                    </a:lnTo>
                    <a:lnTo>
                      <a:pt x="544" y="900"/>
                    </a:lnTo>
                    <a:lnTo>
                      <a:pt x="544" y="898"/>
                    </a:lnTo>
                    <a:lnTo>
                      <a:pt x="544" y="896"/>
                    </a:lnTo>
                    <a:lnTo>
                      <a:pt x="543" y="896"/>
                    </a:lnTo>
                    <a:lnTo>
                      <a:pt x="541" y="896"/>
                    </a:lnTo>
                    <a:lnTo>
                      <a:pt x="543" y="894"/>
                    </a:lnTo>
                    <a:lnTo>
                      <a:pt x="544" y="894"/>
                    </a:lnTo>
                    <a:lnTo>
                      <a:pt x="544" y="893"/>
                    </a:lnTo>
                    <a:lnTo>
                      <a:pt x="543" y="893"/>
                    </a:lnTo>
                    <a:lnTo>
                      <a:pt x="543" y="891"/>
                    </a:lnTo>
                    <a:lnTo>
                      <a:pt x="543" y="893"/>
                    </a:lnTo>
                    <a:lnTo>
                      <a:pt x="541" y="893"/>
                    </a:lnTo>
                    <a:lnTo>
                      <a:pt x="541" y="891"/>
                    </a:lnTo>
                    <a:lnTo>
                      <a:pt x="541" y="889"/>
                    </a:lnTo>
                    <a:lnTo>
                      <a:pt x="539" y="889"/>
                    </a:lnTo>
                    <a:lnTo>
                      <a:pt x="541" y="888"/>
                    </a:lnTo>
                    <a:lnTo>
                      <a:pt x="539" y="888"/>
                    </a:lnTo>
                    <a:lnTo>
                      <a:pt x="539" y="886"/>
                    </a:lnTo>
                    <a:lnTo>
                      <a:pt x="539" y="884"/>
                    </a:lnTo>
                    <a:lnTo>
                      <a:pt x="541" y="884"/>
                    </a:lnTo>
                    <a:lnTo>
                      <a:pt x="541" y="883"/>
                    </a:lnTo>
                    <a:lnTo>
                      <a:pt x="539" y="883"/>
                    </a:lnTo>
                    <a:lnTo>
                      <a:pt x="538" y="881"/>
                    </a:lnTo>
                    <a:lnTo>
                      <a:pt x="538" y="879"/>
                    </a:lnTo>
                    <a:lnTo>
                      <a:pt x="536" y="879"/>
                    </a:lnTo>
                    <a:lnTo>
                      <a:pt x="538" y="877"/>
                    </a:lnTo>
                    <a:lnTo>
                      <a:pt x="536" y="876"/>
                    </a:lnTo>
                    <a:lnTo>
                      <a:pt x="536" y="877"/>
                    </a:lnTo>
                    <a:lnTo>
                      <a:pt x="534" y="877"/>
                    </a:lnTo>
                    <a:lnTo>
                      <a:pt x="534" y="876"/>
                    </a:lnTo>
                    <a:lnTo>
                      <a:pt x="536" y="876"/>
                    </a:lnTo>
                    <a:lnTo>
                      <a:pt x="536" y="874"/>
                    </a:lnTo>
                    <a:lnTo>
                      <a:pt x="534" y="874"/>
                    </a:lnTo>
                    <a:lnTo>
                      <a:pt x="536" y="872"/>
                    </a:lnTo>
                    <a:lnTo>
                      <a:pt x="538" y="872"/>
                    </a:lnTo>
                    <a:lnTo>
                      <a:pt x="538" y="871"/>
                    </a:lnTo>
                    <a:lnTo>
                      <a:pt x="539" y="871"/>
                    </a:lnTo>
                    <a:lnTo>
                      <a:pt x="539" y="869"/>
                    </a:lnTo>
                    <a:lnTo>
                      <a:pt x="541" y="869"/>
                    </a:lnTo>
                    <a:lnTo>
                      <a:pt x="543" y="869"/>
                    </a:lnTo>
                    <a:lnTo>
                      <a:pt x="544" y="869"/>
                    </a:lnTo>
                    <a:lnTo>
                      <a:pt x="544" y="867"/>
                    </a:lnTo>
                    <a:lnTo>
                      <a:pt x="544" y="866"/>
                    </a:lnTo>
                    <a:lnTo>
                      <a:pt x="541" y="862"/>
                    </a:lnTo>
                    <a:lnTo>
                      <a:pt x="536" y="859"/>
                    </a:lnTo>
                    <a:lnTo>
                      <a:pt x="538" y="855"/>
                    </a:lnTo>
                    <a:lnTo>
                      <a:pt x="541" y="849"/>
                    </a:lnTo>
                    <a:lnTo>
                      <a:pt x="544" y="842"/>
                    </a:lnTo>
                    <a:lnTo>
                      <a:pt x="544" y="840"/>
                    </a:lnTo>
                    <a:lnTo>
                      <a:pt x="544" y="838"/>
                    </a:lnTo>
                    <a:lnTo>
                      <a:pt x="546" y="837"/>
                    </a:lnTo>
                    <a:lnTo>
                      <a:pt x="548" y="833"/>
                    </a:lnTo>
                    <a:lnTo>
                      <a:pt x="550" y="833"/>
                    </a:lnTo>
                    <a:lnTo>
                      <a:pt x="550" y="832"/>
                    </a:lnTo>
                    <a:lnTo>
                      <a:pt x="551" y="832"/>
                    </a:lnTo>
                    <a:lnTo>
                      <a:pt x="550" y="832"/>
                    </a:lnTo>
                    <a:lnTo>
                      <a:pt x="550" y="830"/>
                    </a:lnTo>
                    <a:lnTo>
                      <a:pt x="550" y="828"/>
                    </a:lnTo>
                    <a:lnTo>
                      <a:pt x="548" y="828"/>
                    </a:lnTo>
                    <a:lnTo>
                      <a:pt x="548" y="826"/>
                    </a:lnTo>
                    <a:lnTo>
                      <a:pt x="550" y="825"/>
                    </a:lnTo>
                    <a:lnTo>
                      <a:pt x="550" y="823"/>
                    </a:lnTo>
                    <a:lnTo>
                      <a:pt x="550" y="821"/>
                    </a:lnTo>
                    <a:lnTo>
                      <a:pt x="551" y="820"/>
                    </a:lnTo>
                    <a:lnTo>
                      <a:pt x="551" y="816"/>
                    </a:lnTo>
                    <a:lnTo>
                      <a:pt x="553" y="815"/>
                    </a:lnTo>
                    <a:lnTo>
                      <a:pt x="555" y="808"/>
                    </a:lnTo>
                    <a:lnTo>
                      <a:pt x="555" y="806"/>
                    </a:lnTo>
                    <a:lnTo>
                      <a:pt x="555" y="804"/>
                    </a:lnTo>
                    <a:lnTo>
                      <a:pt x="556" y="804"/>
                    </a:lnTo>
                    <a:lnTo>
                      <a:pt x="558" y="804"/>
                    </a:lnTo>
                    <a:lnTo>
                      <a:pt x="558" y="803"/>
                    </a:lnTo>
                    <a:lnTo>
                      <a:pt x="556" y="803"/>
                    </a:lnTo>
                    <a:lnTo>
                      <a:pt x="555" y="801"/>
                    </a:lnTo>
                    <a:lnTo>
                      <a:pt x="555" y="799"/>
                    </a:lnTo>
                    <a:lnTo>
                      <a:pt x="553" y="797"/>
                    </a:lnTo>
                    <a:lnTo>
                      <a:pt x="553" y="796"/>
                    </a:lnTo>
                    <a:lnTo>
                      <a:pt x="550" y="791"/>
                    </a:lnTo>
                    <a:lnTo>
                      <a:pt x="551" y="791"/>
                    </a:lnTo>
                    <a:lnTo>
                      <a:pt x="551" y="789"/>
                    </a:lnTo>
                    <a:lnTo>
                      <a:pt x="550" y="787"/>
                    </a:lnTo>
                    <a:lnTo>
                      <a:pt x="550" y="786"/>
                    </a:lnTo>
                    <a:lnTo>
                      <a:pt x="548" y="786"/>
                    </a:lnTo>
                    <a:lnTo>
                      <a:pt x="548" y="784"/>
                    </a:lnTo>
                    <a:lnTo>
                      <a:pt x="548" y="782"/>
                    </a:lnTo>
                    <a:lnTo>
                      <a:pt x="548" y="780"/>
                    </a:lnTo>
                    <a:lnTo>
                      <a:pt x="550" y="780"/>
                    </a:lnTo>
                    <a:lnTo>
                      <a:pt x="548" y="780"/>
                    </a:lnTo>
                    <a:lnTo>
                      <a:pt x="546" y="779"/>
                    </a:lnTo>
                    <a:lnTo>
                      <a:pt x="544" y="777"/>
                    </a:lnTo>
                    <a:lnTo>
                      <a:pt x="543" y="777"/>
                    </a:lnTo>
                    <a:lnTo>
                      <a:pt x="543" y="779"/>
                    </a:lnTo>
                    <a:lnTo>
                      <a:pt x="541" y="779"/>
                    </a:lnTo>
                    <a:lnTo>
                      <a:pt x="539" y="779"/>
                    </a:lnTo>
                    <a:lnTo>
                      <a:pt x="539" y="777"/>
                    </a:lnTo>
                    <a:lnTo>
                      <a:pt x="538" y="777"/>
                    </a:lnTo>
                    <a:lnTo>
                      <a:pt x="536" y="777"/>
                    </a:lnTo>
                    <a:lnTo>
                      <a:pt x="536" y="775"/>
                    </a:lnTo>
                    <a:lnTo>
                      <a:pt x="534" y="774"/>
                    </a:lnTo>
                    <a:lnTo>
                      <a:pt x="533" y="774"/>
                    </a:lnTo>
                    <a:lnTo>
                      <a:pt x="531" y="774"/>
                    </a:lnTo>
                    <a:lnTo>
                      <a:pt x="531" y="772"/>
                    </a:lnTo>
                    <a:lnTo>
                      <a:pt x="531" y="770"/>
                    </a:lnTo>
                    <a:lnTo>
                      <a:pt x="529" y="770"/>
                    </a:lnTo>
                    <a:lnTo>
                      <a:pt x="529" y="769"/>
                    </a:lnTo>
                    <a:lnTo>
                      <a:pt x="527" y="769"/>
                    </a:lnTo>
                    <a:lnTo>
                      <a:pt x="527" y="767"/>
                    </a:lnTo>
                    <a:lnTo>
                      <a:pt x="527" y="765"/>
                    </a:lnTo>
                    <a:lnTo>
                      <a:pt x="527" y="763"/>
                    </a:lnTo>
                    <a:lnTo>
                      <a:pt x="526" y="763"/>
                    </a:lnTo>
                    <a:lnTo>
                      <a:pt x="526" y="762"/>
                    </a:lnTo>
                    <a:lnTo>
                      <a:pt x="526" y="760"/>
                    </a:lnTo>
                    <a:lnTo>
                      <a:pt x="524" y="760"/>
                    </a:lnTo>
                    <a:lnTo>
                      <a:pt x="524" y="758"/>
                    </a:lnTo>
                    <a:lnTo>
                      <a:pt x="524" y="757"/>
                    </a:lnTo>
                    <a:lnTo>
                      <a:pt x="524" y="755"/>
                    </a:lnTo>
                    <a:lnTo>
                      <a:pt x="524" y="753"/>
                    </a:lnTo>
                    <a:lnTo>
                      <a:pt x="524" y="752"/>
                    </a:lnTo>
                    <a:lnTo>
                      <a:pt x="524" y="750"/>
                    </a:lnTo>
                    <a:lnTo>
                      <a:pt x="524" y="748"/>
                    </a:lnTo>
                    <a:lnTo>
                      <a:pt x="526" y="748"/>
                    </a:lnTo>
                    <a:lnTo>
                      <a:pt x="526" y="746"/>
                    </a:lnTo>
                    <a:lnTo>
                      <a:pt x="526" y="745"/>
                    </a:lnTo>
                    <a:lnTo>
                      <a:pt x="527" y="745"/>
                    </a:lnTo>
                    <a:lnTo>
                      <a:pt x="529" y="743"/>
                    </a:lnTo>
                    <a:lnTo>
                      <a:pt x="529" y="741"/>
                    </a:lnTo>
                    <a:lnTo>
                      <a:pt x="527" y="741"/>
                    </a:lnTo>
                    <a:lnTo>
                      <a:pt x="527" y="740"/>
                    </a:lnTo>
                    <a:lnTo>
                      <a:pt x="529" y="740"/>
                    </a:lnTo>
                    <a:lnTo>
                      <a:pt x="529" y="738"/>
                    </a:lnTo>
                    <a:lnTo>
                      <a:pt x="529" y="736"/>
                    </a:lnTo>
                    <a:lnTo>
                      <a:pt x="529" y="735"/>
                    </a:lnTo>
                    <a:lnTo>
                      <a:pt x="527" y="735"/>
                    </a:lnTo>
                    <a:lnTo>
                      <a:pt x="527" y="736"/>
                    </a:lnTo>
                    <a:lnTo>
                      <a:pt x="526" y="736"/>
                    </a:lnTo>
                    <a:lnTo>
                      <a:pt x="522" y="736"/>
                    </a:lnTo>
                    <a:lnTo>
                      <a:pt x="517" y="736"/>
                    </a:lnTo>
                    <a:lnTo>
                      <a:pt x="516" y="736"/>
                    </a:lnTo>
                    <a:lnTo>
                      <a:pt x="514" y="736"/>
                    </a:lnTo>
                    <a:lnTo>
                      <a:pt x="507" y="736"/>
                    </a:lnTo>
                    <a:lnTo>
                      <a:pt x="502" y="736"/>
                    </a:lnTo>
                    <a:lnTo>
                      <a:pt x="500" y="736"/>
                    </a:lnTo>
                    <a:lnTo>
                      <a:pt x="499" y="736"/>
                    </a:lnTo>
                    <a:lnTo>
                      <a:pt x="495" y="735"/>
                    </a:lnTo>
                    <a:lnTo>
                      <a:pt x="492" y="735"/>
                    </a:lnTo>
                    <a:lnTo>
                      <a:pt x="490" y="735"/>
                    </a:lnTo>
                    <a:lnTo>
                      <a:pt x="488" y="735"/>
                    </a:lnTo>
                    <a:lnTo>
                      <a:pt x="482" y="735"/>
                    </a:lnTo>
                    <a:lnTo>
                      <a:pt x="478" y="735"/>
                    </a:lnTo>
                    <a:lnTo>
                      <a:pt x="476" y="735"/>
                    </a:lnTo>
                    <a:lnTo>
                      <a:pt x="473" y="735"/>
                    </a:lnTo>
                    <a:lnTo>
                      <a:pt x="471" y="735"/>
                    </a:lnTo>
                    <a:lnTo>
                      <a:pt x="470" y="735"/>
                    </a:lnTo>
                    <a:lnTo>
                      <a:pt x="468" y="735"/>
                    </a:lnTo>
                    <a:lnTo>
                      <a:pt x="466" y="735"/>
                    </a:lnTo>
                    <a:lnTo>
                      <a:pt x="466" y="731"/>
                    </a:lnTo>
                    <a:lnTo>
                      <a:pt x="466" y="728"/>
                    </a:lnTo>
                    <a:lnTo>
                      <a:pt x="465" y="711"/>
                    </a:lnTo>
                    <a:lnTo>
                      <a:pt x="465" y="709"/>
                    </a:lnTo>
                    <a:lnTo>
                      <a:pt x="465" y="707"/>
                    </a:lnTo>
                    <a:lnTo>
                      <a:pt x="463" y="706"/>
                    </a:lnTo>
                    <a:lnTo>
                      <a:pt x="461" y="702"/>
                    </a:lnTo>
                    <a:lnTo>
                      <a:pt x="456" y="697"/>
                    </a:lnTo>
                    <a:lnTo>
                      <a:pt x="453" y="694"/>
                    </a:lnTo>
                    <a:lnTo>
                      <a:pt x="456" y="694"/>
                    </a:lnTo>
                    <a:lnTo>
                      <a:pt x="458" y="694"/>
                    </a:lnTo>
                    <a:lnTo>
                      <a:pt x="461" y="694"/>
                    </a:lnTo>
                    <a:lnTo>
                      <a:pt x="463" y="694"/>
                    </a:lnTo>
                    <a:lnTo>
                      <a:pt x="465" y="694"/>
                    </a:lnTo>
                    <a:lnTo>
                      <a:pt x="465" y="690"/>
                    </a:lnTo>
                    <a:lnTo>
                      <a:pt x="465" y="689"/>
                    </a:lnTo>
                    <a:lnTo>
                      <a:pt x="465" y="687"/>
                    </a:lnTo>
                    <a:lnTo>
                      <a:pt x="465" y="684"/>
                    </a:lnTo>
                    <a:lnTo>
                      <a:pt x="465" y="682"/>
                    </a:lnTo>
                    <a:lnTo>
                      <a:pt x="465" y="680"/>
                    </a:lnTo>
                    <a:lnTo>
                      <a:pt x="463" y="678"/>
                    </a:lnTo>
                    <a:lnTo>
                      <a:pt x="463" y="677"/>
                    </a:lnTo>
                    <a:lnTo>
                      <a:pt x="461" y="677"/>
                    </a:lnTo>
                    <a:lnTo>
                      <a:pt x="461" y="675"/>
                    </a:lnTo>
                    <a:lnTo>
                      <a:pt x="461" y="673"/>
                    </a:lnTo>
                    <a:lnTo>
                      <a:pt x="461" y="672"/>
                    </a:lnTo>
                    <a:lnTo>
                      <a:pt x="459" y="672"/>
                    </a:lnTo>
                    <a:lnTo>
                      <a:pt x="459" y="670"/>
                    </a:lnTo>
                    <a:lnTo>
                      <a:pt x="459" y="668"/>
                    </a:lnTo>
                    <a:lnTo>
                      <a:pt x="458" y="668"/>
                    </a:lnTo>
                    <a:lnTo>
                      <a:pt x="458" y="667"/>
                    </a:lnTo>
                    <a:lnTo>
                      <a:pt x="458" y="665"/>
                    </a:lnTo>
                    <a:lnTo>
                      <a:pt x="458" y="663"/>
                    </a:lnTo>
                    <a:lnTo>
                      <a:pt x="456" y="663"/>
                    </a:lnTo>
                    <a:lnTo>
                      <a:pt x="456" y="661"/>
                    </a:lnTo>
                    <a:lnTo>
                      <a:pt x="456" y="660"/>
                    </a:lnTo>
                    <a:lnTo>
                      <a:pt x="456" y="658"/>
                    </a:lnTo>
                    <a:lnTo>
                      <a:pt x="458" y="658"/>
                    </a:lnTo>
                    <a:lnTo>
                      <a:pt x="458" y="656"/>
                    </a:lnTo>
                    <a:lnTo>
                      <a:pt x="459" y="656"/>
                    </a:lnTo>
                    <a:lnTo>
                      <a:pt x="459" y="655"/>
                    </a:lnTo>
                    <a:lnTo>
                      <a:pt x="458" y="655"/>
                    </a:lnTo>
                    <a:lnTo>
                      <a:pt x="458" y="653"/>
                    </a:lnTo>
                    <a:lnTo>
                      <a:pt x="458" y="651"/>
                    </a:lnTo>
                    <a:lnTo>
                      <a:pt x="456" y="651"/>
                    </a:lnTo>
                    <a:lnTo>
                      <a:pt x="458" y="651"/>
                    </a:lnTo>
                    <a:lnTo>
                      <a:pt x="456" y="650"/>
                    </a:lnTo>
                    <a:lnTo>
                      <a:pt x="456" y="651"/>
                    </a:lnTo>
                    <a:lnTo>
                      <a:pt x="456" y="650"/>
                    </a:lnTo>
                    <a:lnTo>
                      <a:pt x="458" y="650"/>
                    </a:lnTo>
                    <a:lnTo>
                      <a:pt x="456" y="650"/>
                    </a:lnTo>
                    <a:lnTo>
                      <a:pt x="458" y="650"/>
                    </a:lnTo>
                    <a:lnTo>
                      <a:pt x="456" y="650"/>
                    </a:lnTo>
                    <a:lnTo>
                      <a:pt x="458" y="648"/>
                    </a:lnTo>
                    <a:lnTo>
                      <a:pt x="456" y="648"/>
                    </a:lnTo>
                    <a:lnTo>
                      <a:pt x="454" y="648"/>
                    </a:lnTo>
                    <a:lnTo>
                      <a:pt x="453" y="646"/>
                    </a:lnTo>
                    <a:lnTo>
                      <a:pt x="451" y="646"/>
                    </a:lnTo>
                    <a:lnTo>
                      <a:pt x="449" y="646"/>
                    </a:lnTo>
                    <a:lnTo>
                      <a:pt x="449" y="644"/>
                    </a:lnTo>
                    <a:lnTo>
                      <a:pt x="449" y="646"/>
                    </a:lnTo>
                    <a:lnTo>
                      <a:pt x="449" y="644"/>
                    </a:lnTo>
                    <a:lnTo>
                      <a:pt x="448" y="644"/>
                    </a:lnTo>
                    <a:lnTo>
                      <a:pt x="446" y="644"/>
                    </a:lnTo>
                    <a:lnTo>
                      <a:pt x="446" y="643"/>
                    </a:lnTo>
                    <a:lnTo>
                      <a:pt x="444" y="643"/>
                    </a:lnTo>
                    <a:lnTo>
                      <a:pt x="442" y="643"/>
                    </a:lnTo>
                    <a:lnTo>
                      <a:pt x="442" y="641"/>
                    </a:lnTo>
                    <a:lnTo>
                      <a:pt x="442" y="639"/>
                    </a:lnTo>
                    <a:lnTo>
                      <a:pt x="441" y="639"/>
                    </a:lnTo>
                    <a:lnTo>
                      <a:pt x="439" y="639"/>
                    </a:lnTo>
                    <a:lnTo>
                      <a:pt x="439" y="638"/>
                    </a:lnTo>
                    <a:lnTo>
                      <a:pt x="437" y="638"/>
                    </a:lnTo>
                    <a:lnTo>
                      <a:pt x="437" y="639"/>
                    </a:lnTo>
                    <a:lnTo>
                      <a:pt x="437" y="638"/>
                    </a:lnTo>
                    <a:lnTo>
                      <a:pt x="436" y="638"/>
                    </a:lnTo>
                    <a:lnTo>
                      <a:pt x="436" y="639"/>
                    </a:lnTo>
                    <a:lnTo>
                      <a:pt x="434" y="639"/>
                    </a:lnTo>
                    <a:lnTo>
                      <a:pt x="434" y="638"/>
                    </a:lnTo>
                    <a:lnTo>
                      <a:pt x="434" y="639"/>
                    </a:lnTo>
                    <a:lnTo>
                      <a:pt x="432" y="639"/>
                    </a:lnTo>
                    <a:lnTo>
                      <a:pt x="432" y="638"/>
                    </a:lnTo>
                    <a:lnTo>
                      <a:pt x="432" y="639"/>
                    </a:lnTo>
                    <a:lnTo>
                      <a:pt x="431" y="639"/>
                    </a:lnTo>
                    <a:lnTo>
                      <a:pt x="431" y="638"/>
                    </a:lnTo>
                    <a:lnTo>
                      <a:pt x="429" y="638"/>
                    </a:lnTo>
                    <a:lnTo>
                      <a:pt x="427" y="638"/>
                    </a:lnTo>
                    <a:lnTo>
                      <a:pt x="427" y="639"/>
                    </a:lnTo>
                    <a:lnTo>
                      <a:pt x="425" y="639"/>
                    </a:lnTo>
                    <a:lnTo>
                      <a:pt x="424" y="639"/>
                    </a:lnTo>
                    <a:lnTo>
                      <a:pt x="422" y="639"/>
                    </a:lnTo>
                    <a:lnTo>
                      <a:pt x="420" y="639"/>
                    </a:lnTo>
                    <a:lnTo>
                      <a:pt x="419" y="638"/>
                    </a:lnTo>
                    <a:lnTo>
                      <a:pt x="419" y="639"/>
                    </a:lnTo>
                    <a:lnTo>
                      <a:pt x="417" y="638"/>
                    </a:lnTo>
                    <a:lnTo>
                      <a:pt x="417" y="639"/>
                    </a:lnTo>
                    <a:lnTo>
                      <a:pt x="417" y="638"/>
                    </a:lnTo>
                    <a:lnTo>
                      <a:pt x="415" y="638"/>
                    </a:lnTo>
                    <a:lnTo>
                      <a:pt x="415" y="639"/>
                    </a:lnTo>
                    <a:lnTo>
                      <a:pt x="414" y="639"/>
                    </a:lnTo>
                    <a:lnTo>
                      <a:pt x="412" y="639"/>
                    </a:lnTo>
                    <a:lnTo>
                      <a:pt x="410" y="639"/>
                    </a:lnTo>
                    <a:lnTo>
                      <a:pt x="410" y="638"/>
                    </a:lnTo>
                    <a:lnTo>
                      <a:pt x="408" y="638"/>
                    </a:lnTo>
                    <a:lnTo>
                      <a:pt x="408" y="636"/>
                    </a:lnTo>
                    <a:lnTo>
                      <a:pt x="407" y="634"/>
                    </a:lnTo>
                    <a:lnTo>
                      <a:pt x="407" y="636"/>
                    </a:lnTo>
                    <a:lnTo>
                      <a:pt x="407" y="634"/>
                    </a:lnTo>
                    <a:lnTo>
                      <a:pt x="405" y="632"/>
                    </a:lnTo>
                    <a:lnTo>
                      <a:pt x="405" y="634"/>
                    </a:lnTo>
                    <a:lnTo>
                      <a:pt x="405" y="632"/>
                    </a:lnTo>
                    <a:lnTo>
                      <a:pt x="403" y="632"/>
                    </a:lnTo>
                    <a:lnTo>
                      <a:pt x="403" y="631"/>
                    </a:lnTo>
                    <a:lnTo>
                      <a:pt x="402" y="631"/>
                    </a:lnTo>
                    <a:lnTo>
                      <a:pt x="402" y="629"/>
                    </a:lnTo>
                    <a:lnTo>
                      <a:pt x="402" y="627"/>
                    </a:lnTo>
                    <a:lnTo>
                      <a:pt x="402" y="626"/>
                    </a:lnTo>
                    <a:lnTo>
                      <a:pt x="400" y="626"/>
                    </a:lnTo>
                    <a:lnTo>
                      <a:pt x="400" y="624"/>
                    </a:lnTo>
                    <a:lnTo>
                      <a:pt x="398" y="624"/>
                    </a:lnTo>
                    <a:lnTo>
                      <a:pt x="400" y="626"/>
                    </a:lnTo>
                    <a:lnTo>
                      <a:pt x="398" y="626"/>
                    </a:lnTo>
                    <a:lnTo>
                      <a:pt x="398" y="624"/>
                    </a:lnTo>
                    <a:lnTo>
                      <a:pt x="397" y="624"/>
                    </a:lnTo>
                    <a:lnTo>
                      <a:pt x="397" y="626"/>
                    </a:lnTo>
                    <a:lnTo>
                      <a:pt x="395" y="626"/>
                    </a:lnTo>
                    <a:lnTo>
                      <a:pt x="393" y="626"/>
                    </a:lnTo>
                    <a:lnTo>
                      <a:pt x="391" y="626"/>
                    </a:lnTo>
                    <a:lnTo>
                      <a:pt x="391" y="624"/>
                    </a:lnTo>
                    <a:lnTo>
                      <a:pt x="391" y="626"/>
                    </a:lnTo>
                    <a:lnTo>
                      <a:pt x="391" y="624"/>
                    </a:lnTo>
                    <a:lnTo>
                      <a:pt x="390" y="624"/>
                    </a:lnTo>
                    <a:lnTo>
                      <a:pt x="390" y="622"/>
                    </a:lnTo>
                    <a:lnTo>
                      <a:pt x="390" y="624"/>
                    </a:lnTo>
                    <a:lnTo>
                      <a:pt x="388" y="624"/>
                    </a:lnTo>
                    <a:lnTo>
                      <a:pt x="388" y="622"/>
                    </a:lnTo>
                    <a:lnTo>
                      <a:pt x="386" y="624"/>
                    </a:lnTo>
                    <a:lnTo>
                      <a:pt x="386" y="622"/>
                    </a:lnTo>
                    <a:lnTo>
                      <a:pt x="385" y="622"/>
                    </a:lnTo>
                    <a:lnTo>
                      <a:pt x="385" y="621"/>
                    </a:lnTo>
                    <a:lnTo>
                      <a:pt x="383" y="621"/>
                    </a:lnTo>
                    <a:lnTo>
                      <a:pt x="383" y="619"/>
                    </a:lnTo>
                    <a:lnTo>
                      <a:pt x="383" y="621"/>
                    </a:lnTo>
                    <a:lnTo>
                      <a:pt x="381" y="621"/>
                    </a:lnTo>
                    <a:lnTo>
                      <a:pt x="381" y="622"/>
                    </a:lnTo>
                    <a:lnTo>
                      <a:pt x="380" y="621"/>
                    </a:lnTo>
                    <a:lnTo>
                      <a:pt x="378" y="621"/>
                    </a:lnTo>
                    <a:lnTo>
                      <a:pt x="378" y="619"/>
                    </a:lnTo>
                    <a:lnTo>
                      <a:pt x="376" y="619"/>
                    </a:lnTo>
                    <a:lnTo>
                      <a:pt x="376" y="617"/>
                    </a:lnTo>
                    <a:lnTo>
                      <a:pt x="374" y="617"/>
                    </a:lnTo>
                    <a:lnTo>
                      <a:pt x="374" y="615"/>
                    </a:lnTo>
                    <a:lnTo>
                      <a:pt x="373" y="615"/>
                    </a:lnTo>
                    <a:lnTo>
                      <a:pt x="371" y="615"/>
                    </a:lnTo>
                    <a:lnTo>
                      <a:pt x="371" y="614"/>
                    </a:lnTo>
                    <a:lnTo>
                      <a:pt x="371" y="612"/>
                    </a:lnTo>
                    <a:lnTo>
                      <a:pt x="369" y="612"/>
                    </a:lnTo>
                    <a:lnTo>
                      <a:pt x="369" y="610"/>
                    </a:lnTo>
                    <a:lnTo>
                      <a:pt x="368" y="610"/>
                    </a:lnTo>
                    <a:lnTo>
                      <a:pt x="368" y="609"/>
                    </a:lnTo>
                    <a:lnTo>
                      <a:pt x="366" y="609"/>
                    </a:lnTo>
                    <a:lnTo>
                      <a:pt x="366" y="607"/>
                    </a:lnTo>
                    <a:lnTo>
                      <a:pt x="366" y="609"/>
                    </a:lnTo>
                    <a:lnTo>
                      <a:pt x="364" y="607"/>
                    </a:lnTo>
                    <a:lnTo>
                      <a:pt x="364" y="609"/>
                    </a:lnTo>
                    <a:lnTo>
                      <a:pt x="363" y="609"/>
                    </a:lnTo>
                    <a:lnTo>
                      <a:pt x="364" y="610"/>
                    </a:lnTo>
                    <a:lnTo>
                      <a:pt x="363" y="610"/>
                    </a:lnTo>
                    <a:lnTo>
                      <a:pt x="361" y="610"/>
                    </a:lnTo>
                    <a:lnTo>
                      <a:pt x="361" y="609"/>
                    </a:lnTo>
                    <a:lnTo>
                      <a:pt x="359" y="609"/>
                    </a:lnTo>
                    <a:lnTo>
                      <a:pt x="357" y="609"/>
                    </a:lnTo>
                    <a:lnTo>
                      <a:pt x="357" y="607"/>
                    </a:lnTo>
                    <a:lnTo>
                      <a:pt x="356" y="607"/>
                    </a:lnTo>
                    <a:lnTo>
                      <a:pt x="357" y="607"/>
                    </a:lnTo>
                    <a:lnTo>
                      <a:pt x="357" y="605"/>
                    </a:lnTo>
                    <a:lnTo>
                      <a:pt x="356" y="605"/>
                    </a:lnTo>
                    <a:lnTo>
                      <a:pt x="354" y="605"/>
                    </a:lnTo>
                    <a:lnTo>
                      <a:pt x="354" y="604"/>
                    </a:lnTo>
                    <a:lnTo>
                      <a:pt x="352" y="604"/>
                    </a:lnTo>
                    <a:lnTo>
                      <a:pt x="351" y="604"/>
                    </a:lnTo>
                    <a:lnTo>
                      <a:pt x="351" y="602"/>
                    </a:lnTo>
                    <a:lnTo>
                      <a:pt x="349" y="602"/>
                    </a:lnTo>
                    <a:lnTo>
                      <a:pt x="347" y="602"/>
                    </a:lnTo>
                    <a:lnTo>
                      <a:pt x="346" y="602"/>
                    </a:lnTo>
                    <a:lnTo>
                      <a:pt x="346" y="600"/>
                    </a:lnTo>
                    <a:lnTo>
                      <a:pt x="344" y="602"/>
                    </a:lnTo>
                    <a:lnTo>
                      <a:pt x="342" y="602"/>
                    </a:lnTo>
                    <a:lnTo>
                      <a:pt x="340" y="604"/>
                    </a:lnTo>
                    <a:lnTo>
                      <a:pt x="339" y="604"/>
                    </a:lnTo>
                    <a:lnTo>
                      <a:pt x="337" y="604"/>
                    </a:lnTo>
                    <a:lnTo>
                      <a:pt x="335" y="604"/>
                    </a:lnTo>
                    <a:lnTo>
                      <a:pt x="334" y="604"/>
                    </a:lnTo>
                    <a:lnTo>
                      <a:pt x="334" y="602"/>
                    </a:lnTo>
                    <a:lnTo>
                      <a:pt x="334" y="604"/>
                    </a:lnTo>
                    <a:lnTo>
                      <a:pt x="332" y="604"/>
                    </a:lnTo>
                    <a:lnTo>
                      <a:pt x="332" y="602"/>
                    </a:lnTo>
                    <a:lnTo>
                      <a:pt x="330" y="602"/>
                    </a:lnTo>
                    <a:lnTo>
                      <a:pt x="329" y="602"/>
                    </a:lnTo>
                    <a:lnTo>
                      <a:pt x="329" y="604"/>
                    </a:lnTo>
                    <a:lnTo>
                      <a:pt x="327" y="604"/>
                    </a:lnTo>
                    <a:lnTo>
                      <a:pt x="329" y="602"/>
                    </a:lnTo>
                    <a:lnTo>
                      <a:pt x="327" y="602"/>
                    </a:lnTo>
                    <a:lnTo>
                      <a:pt x="325" y="602"/>
                    </a:lnTo>
                    <a:lnTo>
                      <a:pt x="323" y="602"/>
                    </a:lnTo>
                    <a:lnTo>
                      <a:pt x="323" y="600"/>
                    </a:lnTo>
                    <a:lnTo>
                      <a:pt x="322" y="600"/>
                    </a:lnTo>
                    <a:lnTo>
                      <a:pt x="322" y="598"/>
                    </a:lnTo>
                    <a:lnTo>
                      <a:pt x="320" y="598"/>
                    </a:lnTo>
                    <a:lnTo>
                      <a:pt x="322" y="597"/>
                    </a:lnTo>
                    <a:lnTo>
                      <a:pt x="322" y="595"/>
                    </a:lnTo>
                    <a:lnTo>
                      <a:pt x="320" y="595"/>
                    </a:lnTo>
                    <a:lnTo>
                      <a:pt x="320" y="593"/>
                    </a:lnTo>
                    <a:lnTo>
                      <a:pt x="320" y="595"/>
                    </a:lnTo>
                    <a:lnTo>
                      <a:pt x="318" y="595"/>
                    </a:lnTo>
                    <a:lnTo>
                      <a:pt x="318" y="593"/>
                    </a:lnTo>
                    <a:lnTo>
                      <a:pt x="317" y="593"/>
                    </a:lnTo>
                    <a:lnTo>
                      <a:pt x="315" y="593"/>
                    </a:lnTo>
                    <a:lnTo>
                      <a:pt x="313" y="592"/>
                    </a:lnTo>
                    <a:lnTo>
                      <a:pt x="313" y="590"/>
                    </a:lnTo>
                    <a:lnTo>
                      <a:pt x="315" y="590"/>
                    </a:lnTo>
                    <a:lnTo>
                      <a:pt x="313" y="590"/>
                    </a:lnTo>
                    <a:lnTo>
                      <a:pt x="313" y="588"/>
                    </a:lnTo>
                    <a:lnTo>
                      <a:pt x="313" y="590"/>
                    </a:lnTo>
                    <a:lnTo>
                      <a:pt x="313" y="592"/>
                    </a:lnTo>
                    <a:lnTo>
                      <a:pt x="312" y="592"/>
                    </a:lnTo>
                    <a:lnTo>
                      <a:pt x="312" y="590"/>
                    </a:lnTo>
                    <a:lnTo>
                      <a:pt x="312" y="588"/>
                    </a:lnTo>
                    <a:lnTo>
                      <a:pt x="310" y="588"/>
                    </a:lnTo>
                    <a:lnTo>
                      <a:pt x="310" y="590"/>
                    </a:lnTo>
                    <a:lnTo>
                      <a:pt x="310" y="588"/>
                    </a:lnTo>
                    <a:lnTo>
                      <a:pt x="310" y="587"/>
                    </a:lnTo>
                    <a:lnTo>
                      <a:pt x="308" y="587"/>
                    </a:lnTo>
                    <a:lnTo>
                      <a:pt x="306" y="587"/>
                    </a:lnTo>
                    <a:lnTo>
                      <a:pt x="305" y="587"/>
                    </a:lnTo>
                    <a:lnTo>
                      <a:pt x="303" y="587"/>
                    </a:lnTo>
                    <a:lnTo>
                      <a:pt x="303" y="585"/>
                    </a:lnTo>
                    <a:lnTo>
                      <a:pt x="303" y="583"/>
                    </a:lnTo>
                    <a:lnTo>
                      <a:pt x="303" y="581"/>
                    </a:lnTo>
                    <a:lnTo>
                      <a:pt x="301" y="581"/>
                    </a:lnTo>
                    <a:lnTo>
                      <a:pt x="301" y="580"/>
                    </a:lnTo>
                    <a:lnTo>
                      <a:pt x="301" y="578"/>
                    </a:lnTo>
                    <a:lnTo>
                      <a:pt x="301" y="576"/>
                    </a:lnTo>
                    <a:lnTo>
                      <a:pt x="300" y="576"/>
                    </a:lnTo>
                    <a:lnTo>
                      <a:pt x="298" y="576"/>
                    </a:lnTo>
                    <a:lnTo>
                      <a:pt x="298" y="578"/>
                    </a:lnTo>
                    <a:lnTo>
                      <a:pt x="296" y="578"/>
                    </a:lnTo>
                    <a:lnTo>
                      <a:pt x="296" y="576"/>
                    </a:lnTo>
                    <a:lnTo>
                      <a:pt x="295" y="576"/>
                    </a:lnTo>
                    <a:lnTo>
                      <a:pt x="296" y="575"/>
                    </a:lnTo>
                    <a:lnTo>
                      <a:pt x="296" y="573"/>
                    </a:lnTo>
                    <a:lnTo>
                      <a:pt x="296" y="571"/>
                    </a:lnTo>
                    <a:lnTo>
                      <a:pt x="296" y="570"/>
                    </a:lnTo>
                    <a:lnTo>
                      <a:pt x="295" y="570"/>
                    </a:lnTo>
                    <a:lnTo>
                      <a:pt x="293" y="568"/>
                    </a:lnTo>
                    <a:lnTo>
                      <a:pt x="293" y="566"/>
                    </a:lnTo>
                    <a:lnTo>
                      <a:pt x="293" y="564"/>
                    </a:lnTo>
                    <a:lnTo>
                      <a:pt x="293" y="563"/>
                    </a:lnTo>
                    <a:lnTo>
                      <a:pt x="295" y="563"/>
                    </a:lnTo>
                    <a:lnTo>
                      <a:pt x="293" y="563"/>
                    </a:lnTo>
                    <a:lnTo>
                      <a:pt x="293" y="561"/>
                    </a:lnTo>
                    <a:lnTo>
                      <a:pt x="291" y="561"/>
                    </a:lnTo>
                    <a:lnTo>
                      <a:pt x="291" y="559"/>
                    </a:lnTo>
                    <a:lnTo>
                      <a:pt x="293" y="559"/>
                    </a:lnTo>
                    <a:lnTo>
                      <a:pt x="293" y="558"/>
                    </a:lnTo>
                    <a:lnTo>
                      <a:pt x="291" y="558"/>
                    </a:lnTo>
                    <a:lnTo>
                      <a:pt x="291" y="556"/>
                    </a:lnTo>
                    <a:lnTo>
                      <a:pt x="293" y="556"/>
                    </a:lnTo>
                    <a:lnTo>
                      <a:pt x="295" y="554"/>
                    </a:lnTo>
                    <a:lnTo>
                      <a:pt x="295" y="553"/>
                    </a:lnTo>
                    <a:lnTo>
                      <a:pt x="296" y="551"/>
                    </a:lnTo>
                    <a:lnTo>
                      <a:pt x="295" y="551"/>
                    </a:lnTo>
                    <a:lnTo>
                      <a:pt x="295" y="549"/>
                    </a:lnTo>
                    <a:lnTo>
                      <a:pt x="295" y="547"/>
                    </a:lnTo>
                    <a:lnTo>
                      <a:pt x="295" y="546"/>
                    </a:lnTo>
                    <a:lnTo>
                      <a:pt x="293" y="546"/>
                    </a:lnTo>
                    <a:lnTo>
                      <a:pt x="293" y="544"/>
                    </a:lnTo>
                    <a:lnTo>
                      <a:pt x="293" y="542"/>
                    </a:lnTo>
                    <a:lnTo>
                      <a:pt x="293" y="541"/>
                    </a:lnTo>
                    <a:lnTo>
                      <a:pt x="291" y="539"/>
                    </a:lnTo>
                    <a:lnTo>
                      <a:pt x="289" y="537"/>
                    </a:lnTo>
                    <a:lnTo>
                      <a:pt x="291" y="537"/>
                    </a:lnTo>
                    <a:lnTo>
                      <a:pt x="291" y="536"/>
                    </a:lnTo>
                    <a:lnTo>
                      <a:pt x="289" y="536"/>
                    </a:lnTo>
                    <a:lnTo>
                      <a:pt x="289" y="534"/>
                    </a:lnTo>
                    <a:lnTo>
                      <a:pt x="291" y="534"/>
                    </a:lnTo>
                    <a:lnTo>
                      <a:pt x="291" y="532"/>
                    </a:lnTo>
                    <a:lnTo>
                      <a:pt x="291" y="530"/>
                    </a:lnTo>
                    <a:lnTo>
                      <a:pt x="291" y="529"/>
                    </a:lnTo>
                    <a:lnTo>
                      <a:pt x="293" y="529"/>
                    </a:lnTo>
                    <a:lnTo>
                      <a:pt x="293" y="527"/>
                    </a:lnTo>
                    <a:lnTo>
                      <a:pt x="293" y="525"/>
                    </a:lnTo>
                    <a:lnTo>
                      <a:pt x="295" y="525"/>
                    </a:lnTo>
                    <a:lnTo>
                      <a:pt x="295" y="524"/>
                    </a:lnTo>
                    <a:lnTo>
                      <a:pt x="293" y="524"/>
                    </a:lnTo>
                    <a:lnTo>
                      <a:pt x="295" y="522"/>
                    </a:lnTo>
                    <a:lnTo>
                      <a:pt x="295" y="520"/>
                    </a:lnTo>
                    <a:lnTo>
                      <a:pt x="293" y="520"/>
                    </a:lnTo>
                    <a:lnTo>
                      <a:pt x="293" y="519"/>
                    </a:lnTo>
                    <a:lnTo>
                      <a:pt x="293" y="517"/>
                    </a:lnTo>
                    <a:lnTo>
                      <a:pt x="293" y="515"/>
                    </a:lnTo>
                    <a:lnTo>
                      <a:pt x="293" y="513"/>
                    </a:lnTo>
                    <a:lnTo>
                      <a:pt x="295" y="513"/>
                    </a:lnTo>
                    <a:lnTo>
                      <a:pt x="295" y="512"/>
                    </a:lnTo>
                    <a:lnTo>
                      <a:pt x="293" y="512"/>
                    </a:lnTo>
                    <a:lnTo>
                      <a:pt x="293" y="510"/>
                    </a:lnTo>
                    <a:lnTo>
                      <a:pt x="293" y="508"/>
                    </a:lnTo>
                    <a:lnTo>
                      <a:pt x="291" y="508"/>
                    </a:lnTo>
                    <a:lnTo>
                      <a:pt x="291" y="507"/>
                    </a:lnTo>
                    <a:lnTo>
                      <a:pt x="289" y="507"/>
                    </a:lnTo>
                    <a:lnTo>
                      <a:pt x="288" y="507"/>
                    </a:lnTo>
                    <a:lnTo>
                      <a:pt x="288" y="508"/>
                    </a:lnTo>
                    <a:lnTo>
                      <a:pt x="288" y="507"/>
                    </a:lnTo>
                    <a:lnTo>
                      <a:pt x="288" y="508"/>
                    </a:lnTo>
                    <a:lnTo>
                      <a:pt x="288" y="510"/>
                    </a:lnTo>
                    <a:lnTo>
                      <a:pt x="286" y="510"/>
                    </a:lnTo>
                    <a:lnTo>
                      <a:pt x="284" y="510"/>
                    </a:lnTo>
                    <a:lnTo>
                      <a:pt x="284" y="512"/>
                    </a:lnTo>
                    <a:lnTo>
                      <a:pt x="286" y="512"/>
                    </a:lnTo>
                    <a:lnTo>
                      <a:pt x="284" y="512"/>
                    </a:lnTo>
                    <a:lnTo>
                      <a:pt x="283" y="512"/>
                    </a:lnTo>
                    <a:lnTo>
                      <a:pt x="283" y="510"/>
                    </a:lnTo>
                    <a:lnTo>
                      <a:pt x="283" y="512"/>
                    </a:lnTo>
                    <a:lnTo>
                      <a:pt x="283" y="510"/>
                    </a:lnTo>
                    <a:lnTo>
                      <a:pt x="281" y="510"/>
                    </a:lnTo>
                    <a:lnTo>
                      <a:pt x="281" y="512"/>
                    </a:lnTo>
                    <a:lnTo>
                      <a:pt x="279" y="510"/>
                    </a:lnTo>
                    <a:lnTo>
                      <a:pt x="281" y="510"/>
                    </a:lnTo>
                    <a:lnTo>
                      <a:pt x="279" y="510"/>
                    </a:lnTo>
                    <a:lnTo>
                      <a:pt x="281" y="510"/>
                    </a:lnTo>
                    <a:lnTo>
                      <a:pt x="281" y="508"/>
                    </a:lnTo>
                    <a:lnTo>
                      <a:pt x="279" y="508"/>
                    </a:lnTo>
                    <a:lnTo>
                      <a:pt x="279" y="510"/>
                    </a:lnTo>
                    <a:lnTo>
                      <a:pt x="278" y="508"/>
                    </a:lnTo>
                    <a:lnTo>
                      <a:pt x="278" y="510"/>
                    </a:lnTo>
                    <a:lnTo>
                      <a:pt x="276" y="510"/>
                    </a:lnTo>
                    <a:lnTo>
                      <a:pt x="278" y="508"/>
                    </a:lnTo>
                    <a:lnTo>
                      <a:pt x="276" y="508"/>
                    </a:lnTo>
                    <a:lnTo>
                      <a:pt x="276" y="510"/>
                    </a:lnTo>
                    <a:lnTo>
                      <a:pt x="274" y="510"/>
                    </a:lnTo>
                    <a:lnTo>
                      <a:pt x="274" y="508"/>
                    </a:lnTo>
                    <a:lnTo>
                      <a:pt x="274" y="510"/>
                    </a:lnTo>
                    <a:lnTo>
                      <a:pt x="272" y="508"/>
                    </a:lnTo>
                    <a:lnTo>
                      <a:pt x="272" y="510"/>
                    </a:lnTo>
                    <a:lnTo>
                      <a:pt x="272" y="508"/>
                    </a:lnTo>
                    <a:lnTo>
                      <a:pt x="272" y="510"/>
                    </a:lnTo>
                    <a:lnTo>
                      <a:pt x="271" y="510"/>
                    </a:lnTo>
                    <a:lnTo>
                      <a:pt x="269" y="510"/>
                    </a:lnTo>
                    <a:lnTo>
                      <a:pt x="269" y="512"/>
                    </a:lnTo>
                    <a:lnTo>
                      <a:pt x="269" y="510"/>
                    </a:lnTo>
                    <a:lnTo>
                      <a:pt x="267" y="510"/>
                    </a:lnTo>
                    <a:lnTo>
                      <a:pt x="267" y="512"/>
                    </a:lnTo>
                    <a:lnTo>
                      <a:pt x="267" y="510"/>
                    </a:lnTo>
                    <a:lnTo>
                      <a:pt x="266" y="510"/>
                    </a:lnTo>
                    <a:lnTo>
                      <a:pt x="264" y="510"/>
                    </a:lnTo>
                    <a:lnTo>
                      <a:pt x="264" y="512"/>
                    </a:lnTo>
                    <a:lnTo>
                      <a:pt x="262" y="512"/>
                    </a:lnTo>
                    <a:lnTo>
                      <a:pt x="262" y="510"/>
                    </a:lnTo>
                    <a:lnTo>
                      <a:pt x="262" y="512"/>
                    </a:lnTo>
                    <a:lnTo>
                      <a:pt x="261" y="512"/>
                    </a:lnTo>
                    <a:lnTo>
                      <a:pt x="259" y="512"/>
                    </a:lnTo>
                    <a:lnTo>
                      <a:pt x="259" y="513"/>
                    </a:lnTo>
                    <a:lnTo>
                      <a:pt x="257" y="513"/>
                    </a:lnTo>
                    <a:lnTo>
                      <a:pt x="255" y="513"/>
                    </a:lnTo>
                    <a:lnTo>
                      <a:pt x="257" y="513"/>
                    </a:lnTo>
                    <a:lnTo>
                      <a:pt x="255" y="513"/>
                    </a:lnTo>
                    <a:lnTo>
                      <a:pt x="254" y="513"/>
                    </a:lnTo>
                    <a:lnTo>
                      <a:pt x="252" y="513"/>
                    </a:lnTo>
                    <a:lnTo>
                      <a:pt x="250" y="513"/>
                    </a:lnTo>
                    <a:lnTo>
                      <a:pt x="249" y="513"/>
                    </a:lnTo>
                    <a:lnTo>
                      <a:pt x="249" y="515"/>
                    </a:lnTo>
                    <a:lnTo>
                      <a:pt x="247" y="515"/>
                    </a:lnTo>
                    <a:lnTo>
                      <a:pt x="247" y="517"/>
                    </a:lnTo>
                    <a:lnTo>
                      <a:pt x="245" y="517"/>
                    </a:lnTo>
                    <a:lnTo>
                      <a:pt x="244" y="519"/>
                    </a:lnTo>
                    <a:lnTo>
                      <a:pt x="242" y="519"/>
                    </a:lnTo>
                    <a:lnTo>
                      <a:pt x="242" y="520"/>
                    </a:lnTo>
                    <a:lnTo>
                      <a:pt x="240" y="520"/>
                    </a:lnTo>
                    <a:lnTo>
                      <a:pt x="240" y="522"/>
                    </a:lnTo>
                    <a:lnTo>
                      <a:pt x="238" y="522"/>
                    </a:lnTo>
                    <a:lnTo>
                      <a:pt x="240" y="522"/>
                    </a:lnTo>
                    <a:lnTo>
                      <a:pt x="238" y="522"/>
                    </a:lnTo>
                    <a:lnTo>
                      <a:pt x="238" y="524"/>
                    </a:lnTo>
                    <a:lnTo>
                      <a:pt x="237" y="524"/>
                    </a:lnTo>
                    <a:lnTo>
                      <a:pt x="237" y="525"/>
                    </a:lnTo>
                    <a:lnTo>
                      <a:pt x="235" y="527"/>
                    </a:lnTo>
                    <a:lnTo>
                      <a:pt x="233" y="527"/>
                    </a:lnTo>
                    <a:lnTo>
                      <a:pt x="232" y="527"/>
                    </a:lnTo>
                    <a:lnTo>
                      <a:pt x="232" y="529"/>
                    </a:lnTo>
                    <a:lnTo>
                      <a:pt x="230" y="529"/>
                    </a:lnTo>
                    <a:lnTo>
                      <a:pt x="228" y="529"/>
                    </a:lnTo>
                    <a:lnTo>
                      <a:pt x="227" y="529"/>
                    </a:lnTo>
                    <a:lnTo>
                      <a:pt x="225" y="529"/>
                    </a:lnTo>
                    <a:lnTo>
                      <a:pt x="227" y="529"/>
                    </a:lnTo>
                    <a:lnTo>
                      <a:pt x="227" y="530"/>
                    </a:lnTo>
                    <a:lnTo>
                      <a:pt x="225" y="530"/>
                    </a:lnTo>
                    <a:lnTo>
                      <a:pt x="223" y="530"/>
                    </a:lnTo>
                    <a:lnTo>
                      <a:pt x="221" y="530"/>
                    </a:lnTo>
                    <a:lnTo>
                      <a:pt x="223" y="530"/>
                    </a:lnTo>
                    <a:lnTo>
                      <a:pt x="223" y="532"/>
                    </a:lnTo>
                    <a:lnTo>
                      <a:pt x="221" y="532"/>
                    </a:lnTo>
                    <a:lnTo>
                      <a:pt x="221" y="534"/>
                    </a:lnTo>
                    <a:lnTo>
                      <a:pt x="221" y="532"/>
                    </a:lnTo>
                    <a:lnTo>
                      <a:pt x="220" y="534"/>
                    </a:lnTo>
                    <a:lnTo>
                      <a:pt x="218" y="534"/>
                    </a:lnTo>
                    <a:lnTo>
                      <a:pt x="216" y="536"/>
                    </a:lnTo>
                    <a:lnTo>
                      <a:pt x="216" y="537"/>
                    </a:lnTo>
                    <a:lnTo>
                      <a:pt x="215" y="537"/>
                    </a:lnTo>
                    <a:lnTo>
                      <a:pt x="215" y="539"/>
                    </a:lnTo>
                    <a:lnTo>
                      <a:pt x="213" y="537"/>
                    </a:lnTo>
                    <a:lnTo>
                      <a:pt x="213" y="539"/>
                    </a:lnTo>
                    <a:lnTo>
                      <a:pt x="213" y="541"/>
                    </a:lnTo>
                    <a:lnTo>
                      <a:pt x="213" y="542"/>
                    </a:lnTo>
                    <a:lnTo>
                      <a:pt x="211" y="542"/>
                    </a:lnTo>
                    <a:lnTo>
                      <a:pt x="211" y="541"/>
                    </a:lnTo>
                    <a:lnTo>
                      <a:pt x="210" y="541"/>
                    </a:lnTo>
                    <a:lnTo>
                      <a:pt x="208" y="539"/>
                    </a:lnTo>
                    <a:lnTo>
                      <a:pt x="206" y="539"/>
                    </a:lnTo>
                    <a:lnTo>
                      <a:pt x="204" y="541"/>
                    </a:lnTo>
                    <a:lnTo>
                      <a:pt x="204" y="539"/>
                    </a:lnTo>
                    <a:lnTo>
                      <a:pt x="203" y="541"/>
                    </a:lnTo>
                    <a:lnTo>
                      <a:pt x="203" y="539"/>
                    </a:lnTo>
                    <a:lnTo>
                      <a:pt x="201" y="541"/>
                    </a:lnTo>
                    <a:lnTo>
                      <a:pt x="199" y="541"/>
                    </a:lnTo>
                    <a:lnTo>
                      <a:pt x="199" y="542"/>
                    </a:lnTo>
                    <a:lnTo>
                      <a:pt x="199" y="544"/>
                    </a:lnTo>
                    <a:lnTo>
                      <a:pt x="198" y="544"/>
                    </a:lnTo>
                    <a:lnTo>
                      <a:pt x="198" y="546"/>
                    </a:lnTo>
                    <a:lnTo>
                      <a:pt x="196" y="547"/>
                    </a:lnTo>
                    <a:lnTo>
                      <a:pt x="196" y="549"/>
                    </a:lnTo>
                    <a:lnTo>
                      <a:pt x="194" y="549"/>
                    </a:lnTo>
                    <a:lnTo>
                      <a:pt x="194" y="551"/>
                    </a:lnTo>
                    <a:lnTo>
                      <a:pt x="193" y="551"/>
                    </a:lnTo>
                    <a:lnTo>
                      <a:pt x="193" y="553"/>
                    </a:lnTo>
                    <a:lnTo>
                      <a:pt x="191" y="553"/>
                    </a:lnTo>
                    <a:lnTo>
                      <a:pt x="189" y="553"/>
                    </a:lnTo>
                    <a:lnTo>
                      <a:pt x="189" y="554"/>
                    </a:lnTo>
                    <a:lnTo>
                      <a:pt x="189" y="553"/>
                    </a:lnTo>
                    <a:lnTo>
                      <a:pt x="187" y="553"/>
                    </a:lnTo>
                    <a:lnTo>
                      <a:pt x="187" y="554"/>
                    </a:lnTo>
                    <a:lnTo>
                      <a:pt x="186" y="553"/>
                    </a:lnTo>
                    <a:lnTo>
                      <a:pt x="186" y="554"/>
                    </a:lnTo>
                    <a:lnTo>
                      <a:pt x="184" y="554"/>
                    </a:lnTo>
                    <a:lnTo>
                      <a:pt x="184" y="556"/>
                    </a:lnTo>
                    <a:lnTo>
                      <a:pt x="179" y="558"/>
                    </a:lnTo>
                    <a:lnTo>
                      <a:pt x="179" y="556"/>
                    </a:lnTo>
                    <a:lnTo>
                      <a:pt x="177" y="554"/>
                    </a:lnTo>
                    <a:lnTo>
                      <a:pt x="177" y="553"/>
                    </a:lnTo>
                    <a:lnTo>
                      <a:pt x="177" y="551"/>
                    </a:lnTo>
                    <a:lnTo>
                      <a:pt x="176" y="553"/>
                    </a:lnTo>
                    <a:lnTo>
                      <a:pt x="176" y="551"/>
                    </a:lnTo>
                    <a:lnTo>
                      <a:pt x="176" y="553"/>
                    </a:lnTo>
                    <a:lnTo>
                      <a:pt x="174" y="551"/>
                    </a:lnTo>
                    <a:lnTo>
                      <a:pt x="174" y="553"/>
                    </a:lnTo>
                    <a:lnTo>
                      <a:pt x="172" y="553"/>
                    </a:lnTo>
                    <a:lnTo>
                      <a:pt x="174" y="553"/>
                    </a:lnTo>
                    <a:lnTo>
                      <a:pt x="172" y="553"/>
                    </a:lnTo>
                    <a:lnTo>
                      <a:pt x="170" y="553"/>
                    </a:lnTo>
                    <a:lnTo>
                      <a:pt x="170" y="551"/>
                    </a:lnTo>
                    <a:lnTo>
                      <a:pt x="169" y="551"/>
                    </a:lnTo>
                    <a:lnTo>
                      <a:pt x="169" y="553"/>
                    </a:lnTo>
                    <a:lnTo>
                      <a:pt x="169" y="551"/>
                    </a:lnTo>
                    <a:lnTo>
                      <a:pt x="167" y="551"/>
                    </a:lnTo>
                    <a:lnTo>
                      <a:pt x="165" y="551"/>
                    </a:lnTo>
                    <a:lnTo>
                      <a:pt x="164" y="551"/>
                    </a:lnTo>
                    <a:lnTo>
                      <a:pt x="162" y="549"/>
                    </a:lnTo>
                    <a:lnTo>
                      <a:pt x="162" y="551"/>
                    </a:lnTo>
                    <a:lnTo>
                      <a:pt x="162" y="549"/>
                    </a:lnTo>
                    <a:lnTo>
                      <a:pt x="160" y="549"/>
                    </a:lnTo>
                    <a:lnTo>
                      <a:pt x="160" y="551"/>
                    </a:lnTo>
                    <a:lnTo>
                      <a:pt x="160" y="549"/>
                    </a:lnTo>
                    <a:lnTo>
                      <a:pt x="159" y="549"/>
                    </a:lnTo>
                    <a:lnTo>
                      <a:pt x="157" y="551"/>
                    </a:lnTo>
                    <a:lnTo>
                      <a:pt x="157" y="549"/>
                    </a:lnTo>
                    <a:lnTo>
                      <a:pt x="157" y="551"/>
                    </a:lnTo>
                    <a:lnTo>
                      <a:pt x="155" y="549"/>
                    </a:lnTo>
                    <a:lnTo>
                      <a:pt x="153" y="549"/>
                    </a:lnTo>
                    <a:lnTo>
                      <a:pt x="153" y="551"/>
                    </a:lnTo>
                    <a:lnTo>
                      <a:pt x="152" y="549"/>
                    </a:lnTo>
                    <a:lnTo>
                      <a:pt x="150" y="549"/>
                    </a:lnTo>
                    <a:lnTo>
                      <a:pt x="150" y="551"/>
                    </a:lnTo>
                    <a:lnTo>
                      <a:pt x="150" y="549"/>
                    </a:lnTo>
                    <a:close/>
                    <a:moveTo>
                      <a:pt x="1401" y="308"/>
                    </a:moveTo>
                    <a:lnTo>
                      <a:pt x="1405" y="308"/>
                    </a:lnTo>
                    <a:lnTo>
                      <a:pt x="1405" y="309"/>
                    </a:lnTo>
                    <a:lnTo>
                      <a:pt x="1401" y="309"/>
                    </a:lnTo>
                    <a:lnTo>
                      <a:pt x="1401" y="308"/>
                    </a:lnTo>
                    <a:close/>
                    <a:moveTo>
                      <a:pt x="847" y="234"/>
                    </a:moveTo>
                    <a:lnTo>
                      <a:pt x="849" y="234"/>
                    </a:lnTo>
                    <a:lnTo>
                      <a:pt x="849" y="236"/>
                    </a:lnTo>
                    <a:lnTo>
                      <a:pt x="847" y="236"/>
                    </a:lnTo>
                    <a:lnTo>
                      <a:pt x="847" y="234"/>
                    </a:lnTo>
                    <a:close/>
                    <a:moveTo>
                      <a:pt x="847" y="231"/>
                    </a:moveTo>
                    <a:lnTo>
                      <a:pt x="849" y="231"/>
                    </a:lnTo>
                    <a:lnTo>
                      <a:pt x="847" y="231"/>
                    </a:lnTo>
                    <a:close/>
                    <a:moveTo>
                      <a:pt x="859" y="223"/>
                    </a:moveTo>
                    <a:lnTo>
                      <a:pt x="861" y="223"/>
                    </a:lnTo>
                    <a:lnTo>
                      <a:pt x="861" y="224"/>
                    </a:lnTo>
                    <a:lnTo>
                      <a:pt x="859" y="224"/>
                    </a:lnTo>
                    <a:lnTo>
                      <a:pt x="859" y="223"/>
                    </a:lnTo>
                    <a:close/>
                    <a:moveTo>
                      <a:pt x="859" y="221"/>
                    </a:moveTo>
                    <a:lnTo>
                      <a:pt x="861" y="221"/>
                    </a:lnTo>
                    <a:lnTo>
                      <a:pt x="861" y="223"/>
                    </a:lnTo>
                    <a:lnTo>
                      <a:pt x="859" y="223"/>
                    </a:lnTo>
                    <a:lnTo>
                      <a:pt x="859" y="221"/>
                    </a:lnTo>
                    <a:close/>
                    <a:moveTo>
                      <a:pt x="859" y="221"/>
                    </a:moveTo>
                    <a:lnTo>
                      <a:pt x="861" y="221"/>
                    </a:lnTo>
                    <a:lnTo>
                      <a:pt x="861" y="223"/>
                    </a:lnTo>
                    <a:lnTo>
                      <a:pt x="859" y="223"/>
                    </a:lnTo>
                    <a:lnTo>
                      <a:pt x="859" y="221"/>
                    </a:lnTo>
                    <a:close/>
                    <a:moveTo>
                      <a:pt x="861" y="219"/>
                    </a:moveTo>
                    <a:lnTo>
                      <a:pt x="861" y="221"/>
                    </a:lnTo>
                    <a:lnTo>
                      <a:pt x="861" y="219"/>
                    </a:lnTo>
                    <a:close/>
                    <a:moveTo>
                      <a:pt x="859" y="219"/>
                    </a:moveTo>
                    <a:lnTo>
                      <a:pt x="861" y="219"/>
                    </a:lnTo>
                    <a:lnTo>
                      <a:pt x="861" y="221"/>
                    </a:lnTo>
                    <a:lnTo>
                      <a:pt x="859" y="221"/>
                    </a:lnTo>
                    <a:lnTo>
                      <a:pt x="859" y="219"/>
                    </a:lnTo>
                    <a:close/>
                    <a:moveTo>
                      <a:pt x="930" y="209"/>
                    </a:moveTo>
                    <a:lnTo>
                      <a:pt x="932" y="209"/>
                    </a:lnTo>
                    <a:lnTo>
                      <a:pt x="932" y="211"/>
                    </a:lnTo>
                    <a:lnTo>
                      <a:pt x="930" y="211"/>
                    </a:lnTo>
                    <a:lnTo>
                      <a:pt x="930" y="209"/>
                    </a:lnTo>
                    <a:close/>
                    <a:moveTo>
                      <a:pt x="934" y="209"/>
                    </a:moveTo>
                    <a:lnTo>
                      <a:pt x="935" y="209"/>
                    </a:lnTo>
                    <a:lnTo>
                      <a:pt x="935" y="212"/>
                    </a:lnTo>
                    <a:lnTo>
                      <a:pt x="934" y="212"/>
                    </a:lnTo>
                    <a:lnTo>
                      <a:pt x="934" y="209"/>
                    </a:lnTo>
                    <a:close/>
                    <a:moveTo>
                      <a:pt x="920" y="204"/>
                    </a:moveTo>
                    <a:lnTo>
                      <a:pt x="922" y="204"/>
                    </a:lnTo>
                    <a:lnTo>
                      <a:pt x="920" y="204"/>
                    </a:lnTo>
                    <a:close/>
                    <a:moveTo>
                      <a:pt x="896" y="202"/>
                    </a:moveTo>
                    <a:lnTo>
                      <a:pt x="896" y="204"/>
                    </a:lnTo>
                    <a:lnTo>
                      <a:pt x="896" y="202"/>
                    </a:lnTo>
                    <a:close/>
                    <a:moveTo>
                      <a:pt x="878" y="200"/>
                    </a:moveTo>
                    <a:lnTo>
                      <a:pt x="878" y="202"/>
                    </a:lnTo>
                    <a:lnTo>
                      <a:pt x="878" y="200"/>
                    </a:lnTo>
                    <a:close/>
                    <a:moveTo>
                      <a:pt x="878" y="200"/>
                    </a:moveTo>
                    <a:lnTo>
                      <a:pt x="879" y="200"/>
                    </a:lnTo>
                    <a:lnTo>
                      <a:pt x="878" y="200"/>
                    </a:lnTo>
                    <a:close/>
                    <a:moveTo>
                      <a:pt x="883" y="199"/>
                    </a:moveTo>
                    <a:lnTo>
                      <a:pt x="884" y="199"/>
                    </a:lnTo>
                    <a:lnTo>
                      <a:pt x="884" y="200"/>
                    </a:lnTo>
                    <a:lnTo>
                      <a:pt x="883" y="200"/>
                    </a:lnTo>
                    <a:lnTo>
                      <a:pt x="883" y="199"/>
                    </a:lnTo>
                    <a:close/>
                    <a:moveTo>
                      <a:pt x="884" y="197"/>
                    </a:moveTo>
                    <a:lnTo>
                      <a:pt x="884" y="199"/>
                    </a:lnTo>
                    <a:lnTo>
                      <a:pt x="884" y="197"/>
                    </a:lnTo>
                    <a:close/>
                    <a:moveTo>
                      <a:pt x="784" y="190"/>
                    </a:moveTo>
                    <a:lnTo>
                      <a:pt x="782" y="190"/>
                    </a:lnTo>
                    <a:lnTo>
                      <a:pt x="781" y="190"/>
                    </a:lnTo>
                    <a:lnTo>
                      <a:pt x="779" y="190"/>
                    </a:lnTo>
                    <a:lnTo>
                      <a:pt x="779" y="189"/>
                    </a:lnTo>
                    <a:lnTo>
                      <a:pt x="781" y="189"/>
                    </a:lnTo>
                    <a:lnTo>
                      <a:pt x="782" y="187"/>
                    </a:lnTo>
                    <a:lnTo>
                      <a:pt x="784" y="187"/>
                    </a:lnTo>
                    <a:lnTo>
                      <a:pt x="784" y="185"/>
                    </a:lnTo>
                    <a:lnTo>
                      <a:pt x="784" y="187"/>
                    </a:lnTo>
                    <a:lnTo>
                      <a:pt x="784" y="189"/>
                    </a:lnTo>
                    <a:lnTo>
                      <a:pt x="784" y="190"/>
                    </a:lnTo>
                    <a:close/>
                    <a:moveTo>
                      <a:pt x="844" y="183"/>
                    </a:moveTo>
                    <a:lnTo>
                      <a:pt x="845" y="183"/>
                    </a:lnTo>
                    <a:lnTo>
                      <a:pt x="844" y="183"/>
                    </a:lnTo>
                    <a:close/>
                    <a:moveTo>
                      <a:pt x="793" y="183"/>
                    </a:moveTo>
                    <a:lnTo>
                      <a:pt x="794" y="183"/>
                    </a:lnTo>
                    <a:lnTo>
                      <a:pt x="793" y="183"/>
                    </a:lnTo>
                    <a:close/>
                    <a:moveTo>
                      <a:pt x="845" y="183"/>
                    </a:moveTo>
                    <a:lnTo>
                      <a:pt x="849" y="183"/>
                    </a:lnTo>
                    <a:lnTo>
                      <a:pt x="849" y="185"/>
                    </a:lnTo>
                    <a:lnTo>
                      <a:pt x="845" y="185"/>
                    </a:lnTo>
                    <a:lnTo>
                      <a:pt x="845" y="183"/>
                    </a:lnTo>
                    <a:close/>
                    <a:moveTo>
                      <a:pt x="839" y="182"/>
                    </a:moveTo>
                    <a:lnTo>
                      <a:pt x="840" y="182"/>
                    </a:lnTo>
                    <a:lnTo>
                      <a:pt x="840" y="183"/>
                    </a:lnTo>
                    <a:lnTo>
                      <a:pt x="839" y="183"/>
                    </a:lnTo>
                    <a:lnTo>
                      <a:pt x="839" y="182"/>
                    </a:lnTo>
                    <a:close/>
                    <a:moveTo>
                      <a:pt x="796" y="178"/>
                    </a:moveTo>
                    <a:lnTo>
                      <a:pt x="798" y="178"/>
                    </a:lnTo>
                    <a:lnTo>
                      <a:pt x="798" y="180"/>
                    </a:lnTo>
                    <a:lnTo>
                      <a:pt x="796" y="180"/>
                    </a:lnTo>
                    <a:lnTo>
                      <a:pt x="796" y="178"/>
                    </a:lnTo>
                    <a:close/>
                    <a:moveTo>
                      <a:pt x="789" y="178"/>
                    </a:moveTo>
                    <a:lnTo>
                      <a:pt x="791" y="178"/>
                    </a:lnTo>
                    <a:lnTo>
                      <a:pt x="791" y="180"/>
                    </a:lnTo>
                    <a:lnTo>
                      <a:pt x="789" y="180"/>
                    </a:lnTo>
                    <a:lnTo>
                      <a:pt x="789" y="178"/>
                    </a:lnTo>
                    <a:close/>
                    <a:moveTo>
                      <a:pt x="788" y="178"/>
                    </a:moveTo>
                    <a:lnTo>
                      <a:pt x="789" y="178"/>
                    </a:lnTo>
                    <a:lnTo>
                      <a:pt x="789" y="180"/>
                    </a:lnTo>
                    <a:lnTo>
                      <a:pt x="788" y="180"/>
                    </a:lnTo>
                    <a:lnTo>
                      <a:pt x="788" y="178"/>
                    </a:lnTo>
                    <a:close/>
                    <a:moveTo>
                      <a:pt x="789" y="178"/>
                    </a:moveTo>
                    <a:lnTo>
                      <a:pt x="791" y="178"/>
                    </a:lnTo>
                    <a:lnTo>
                      <a:pt x="789" y="178"/>
                    </a:lnTo>
                    <a:close/>
                    <a:moveTo>
                      <a:pt x="786" y="177"/>
                    </a:moveTo>
                    <a:lnTo>
                      <a:pt x="788" y="177"/>
                    </a:lnTo>
                    <a:lnTo>
                      <a:pt x="788" y="178"/>
                    </a:lnTo>
                    <a:lnTo>
                      <a:pt x="786" y="178"/>
                    </a:lnTo>
                    <a:lnTo>
                      <a:pt x="786" y="177"/>
                    </a:lnTo>
                    <a:close/>
                    <a:moveTo>
                      <a:pt x="779" y="177"/>
                    </a:moveTo>
                    <a:lnTo>
                      <a:pt x="781" y="177"/>
                    </a:lnTo>
                    <a:lnTo>
                      <a:pt x="779" y="177"/>
                    </a:lnTo>
                    <a:close/>
                    <a:moveTo>
                      <a:pt x="784" y="177"/>
                    </a:moveTo>
                    <a:lnTo>
                      <a:pt x="786" y="177"/>
                    </a:lnTo>
                    <a:lnTo>
                      <a:pt x="786" y="178"/>
                    </a:lnTo>
                    <a:lnTo>
                      <a:pt x="784" y="178"/>
                    </a:lnTo>
                    <a:lnTo>
                      <a:pt x="782" y="178"/>
                    </a:lnTo>
                    <a:lnTo>
                      <a:pt x="781" y="178"/>
                    </a:lnTo>
                    <a:lnTo>
                      <a:pt x="779" y="178"/>
                    </a:lnTo>
                    <a:lnTo>
                      <a:pt x="779" y="180"/>
                    </a:lnTo>
                    <a:lnTo>
                      <a:pt x="779" y="178"/>
                    </a:lnTo>
                    <a:lnTo>
                      <a:pt x="777" y="180"/>
                    </a:lnTo>
                    <a:lnTo>
                      <a:pt x="777" y="178"/>
                    </a:lnTo>
                    <a:lnTo>
                      <a:pt x="779" y="178"/>
                    </a:lnTo>
                    <a:lnTo>
                      <a:pt x="781" y="178"/>
                    </a:lnTo>
                    <a:lnTo>
                      <a:pt x="781" y="177"/>
                    </a:lnTo>
                    <a:lnTo>
                      <a:pt x="782" y="177"/>
                    </a:lnTo>
                    <a:lnTo>
                      <a:pt x="784" y="177"/>
                    </a:lnTo>
                    <a:close/>
                    <a:moveTo>
                      <a:pt x="825" y="175"/>
                    </a:moveTo>
                    <a:lnTo>
                      <a:pt x="827" y="175"/>
                    </a:lnTo>
                    <a:lnTo>
                      <a:pt x="828" y="175"/>
                    </a:lnTo>
                    <a:lnTo>
                      <a:pt x="830" y="175"/>
                    </a:lnTo>
                    <a:lnTo>
                      <a:pt x="830" y="177"/>
                    </a:lnTo>
                    <a:lnTo>
                      <a:pt x="832" y="177"/>
                    </a:lnTo>
                    <a:lnTo>
                      <a:pt x="830" y="177"/>
                    </a:lnTo>
                    <a:lnTo>
                      <a:pt x="832" y="177"/>
                    </a:lnTo>
                    <a:lnTo>
                      <a:pt x="832" y="178"/>
                    </a:lnTo>
                    <a:lnTo>
                      <a:pt x="832" y="180"/>
                    </a:lnTo>
                    <a:lnTo>
                      <a:pt x="830" y="180"/>
                    </a:lnTo>
                    <a:lnTo>
                      <a:pt x="828" y="182"/>
                    </a:lnTo>
                    <a:lnTo>
                      <a:pt x="827" y="182"/>
                    </a:lnTo>
                    <a:lnTo>
                      <a:pt x="825" y="182"/>
                    </a:lnTo>
                    <a:lnTo>
                      <a:pt x="823" y="182"/>
                    </a:lnTo>
                    <a:lnTo>
                      <a:pt x="822" y="182"/>
                    </a:lnTo>
                    <a:lnTo>
                      <a:pt x="822" y="183"/>
                    </a:lnTo>
                    <a:lnTo>
                      <a:pt x="820" y="182"/>
                    </a:lnTo>
                    <a:lnTo>
                      <a:pt x="818" y="182"/>
                    </a:lnTo>
                    <a:lnTo>
                      <a:pt x="816" y="182"/>
                    </a:lnTo>
                    <a:lnTo>
                      <a:pt x="816" y="180"/>
                    </a:lnTo>
                    <a:lnTo>
                      <a:pt x="816" y="178"/>
                    </a:lnTo>
                    <a:lnTo>
                      <a:pt x="818" y="178"/>
                    </a:lnTo>
                    <a:lnTo>
                      <a:pt x="820" y="178"/>
                    </a:lnTo>
                    <a:lnTo>
                      <a:pt x="820" y="177"/>
                    </a:lnTo>
                    <a:lnTo>
                      <a:pt x="822" y="177"/>
                    </a:lnTo>
                    <a:lnTo>
                      <a:pt x="823" y="175"/>
                    </a:lnTo>
                    <a:lnTo>
                      <a:pt x="825" y="175"/>
                    </a:lnTo>
                    <a:close/>
                    <a:moveTo>
                      <a:pt x="827" y="173"/>
                    </a:moveTo>
                    <a:lnTo>
                      <a:pt x="828" y="173"/>
                    </a:lnTo>
                    <a:lnTo>
                      <a:pt x="828" y="175"/>
                    </a:lnTo>
                    <a:lnTo>
                      <a:pt x="827" y="175"/>
                    </a:lnTo>
                    <a:lnTo>
                      <a:pt x="827" y="173"/>
                    </a:lnTo>
                    <a:close/>
                    <a:moveTo>
                      <a:pt x="818" y="173"/>
                    </a:moveTo>
                    <a:lnTo>
                      <a:pt x="820" y="173"/>
                    </a:lnTo>
                    <a:lnTo>
                      <a:pt x="820" y="175"/>
                    </a:lnTo>
                    <a:lnTo>
                      <a:pt x="818" y="175"/>
                    </a:lnTo>
                    <a:lnTo>
                      <a:pt x="818" y="173"/>
                    </a:lnTo>
                    <a:close/>
                    <a:moveTo>
                      <a:pt x="791" y="172"/>
                    </a:moveTo>
                    <a:lnTo>
                      <a:pt x="793" y="172"/>
                    </a:lnTo>
                    <a:lnTo>
                      <a:pt x="794" y="173"/>
                    </a:lnTo>
                    <a:lnTo>
                      <a:pt x="796" y="173"/>
                    </a:lnTo>
                    <a:lnTo>
                      <a:pt x="794" y="175"/>
                    </a:lnTo>
                    <a:lnTo>
                      <a:pt x="796" y="175"/>
                    </a:lnTo>
                    <a:lnTo>
                      <a:pt x="796" y="177"/>
                    </a:lnTo>
                    <a:lnTo>
                      <a:pt x="796" y="178"/>
                    </a:lnTo>
                    <a:lnTo>
                      <a:pt x="794" y="178"/>
                    </a:lnTo>
                    <a:lnTo>
                      <a:pt x="793" y="178"/>
                    </a:lnTo>
                    <a:lnTo>
                      <a:pt x="791" y="177"/>
                    </a:lnTo>
                    <a:lnTo>
                      <a:pt x="789" y="177"/>
                    </a:lnTo>
                    <a:lnTo>
                      <a:pt x="789" y="175"/>
                    </a:lnTo>
                    <a:lnTo>
                      <a:pt x="788" y="175"/>
                    </a:lnTo>
                    <a:lnTo>
                      <a:pt x="788" y="173"/>
                    </a:lnTo>
                    <a:lnTo>
                      <a:pt x="788" y="172"/>
                    </a:lnTo>
                    <a:lnTo>
                      <a:pt x="789" y="172"/>
                    </a:lnTo>
                    <a:lnTo>
                      <a:pt x="791" y="172"/>
                    </a:lnTo>
                    <a:close/>
                    <a:moveTo>
                      <a:pt x="788" y="172"/>
                    </a:moveTo>
                    <a:lnTo>
                      <a:pt x="789" y="172"/>
                    </a:lnTo>
                    <a:lnTo>
                      <a:pt x="788" y="172"/>
                    </a:lnTo>
                    <a:close/>
                    <a:moveTo>
                      <a:pt x="822" y="172"/>
                    </a:moveTo>
                    <a:lnTo>
                      <a:pt x="823" y="172"/>
                    </a:lnTo>
                    <a:lnTo>
                      <a:pt x="823" y="173"/>
                    </a:lnTo>
                    <a:lnTo>
                      <a:pt x="822" y="173"/>
                    </a:lnTo>
                    <a:lnTo>
                      <a:pt x="822" y="172"/>
                    </a:lnTo>
                    <a:close/>
                    <a:moveTo>
                      <a:pt x="789" y="172"/>
                    </a:moveTo>
                    <a:lnTo>
                      <a:pt x="791" y="172"/>
                    </a:lnTo>
                    <a:lnTo>
                      <a:pt x="789" y="172"/>
                    </a:lnTo>
                    <a:close/>
                    <a:moveTo>
                      <a:pt x="823" y="170"/>
                    </a:moveTo>
                    <a:lnTo>
                      <a:pt x="825" y="170"/>
                    </a:lnTo>
                    <a:lnTo>
                      <a:pt x="825" y="172"/>
                    </a:lnTo>
                    <a:lnTo>
                      <a:pt x="823" y="172"/>
                    </a:lnTo>
                    <a:lnTo>
                      <a:pt x="823" y="170"/>
                    </a:lnTo>
                    <a:close/>
                    <a:moveTo>
                      <a:pt x="806" y="168"/>
                    </a:moveTo>
                    <a:lnTo>
                      <a:pt x="806" y="170"/>
                    </a:lnTo>
                    <a:lnTo>
                      <a:pt x="805" y="170"/>
                    </a:lnTo>
                    <a:lnTo>
                      <a:pt x="803" y="170"/>
                    </a:lnTo>
                    <a:lnTo>
                      <a:pt x="803" y="168"/>
                    </a:lnTo>
                    <a:lnTo>
                      <a:pt x="805" y="168"/>
                    </a:lnTo>
                    <a:lnTo>
                      <a:pt x="805" y="166"/>
                    </a:lnTo>
                    <a:lnTo>
                      <a:pt x="806" y="166"/>
                    </a:lnTo>
                    <a:lnTo>
                      <a:pt x="808" y="166"/>
                    </a:lnTo>
                    <a:lnTo>
                      <a:pt x="808" y="168"/>
                    </a:lnTo>
                    <a:lnTo>
                      <a:pt x="806" y="168"/>
                    </a:lnTo>
                    <a:close/>
                    <a:moveTo>
                      <a:pt x="825" y="165"/>
                    </a:moveTo>
                    <a:lnTo>
                      <a:pt x="825" y="166"/>
                    </a:lnTo>
                    <a:lnTo>
                      <a:pt x="827" y="166"/>
                    </a:lnTo>
                    <a:lnTo>
                      <a:pt x="825" y="166"/>
                    </a:lnTo>
                    <a:lnTo>
                      <a:pt x="825" y="168"/>
                    </a:lnTo>
                    <a:lnTo>
                      <a:pt x="823" y="168"/>
                    </a:lnTo>
                    <a:lnTo>
                      <a:pt x="823" y="170"/>
                    </a:lnTo>
                    <a:lnTo>
                      <a:pt x="822" y="170"/>
                    </a:lnTo>
                    <a:lnTo>
                      <a:pt x="822" y="172"/>
                    </a:lnTo>
                    <a:lnTo>
                      <a:pt x="820" y="172"/>
                    </a:lnTo>
                    <a:lnTo>
                      <a:pt x="820" y="173"/>
                    </a:lnTo>
                    <a:lnTo>
                      <a:pt x="818" y="173"/>
                    </a:lnTo>
                    <a:lnTo>
                      <a:pt x="818" y="175"/>
                    </a:lnTo>
                    <a:lnTo>
                      <a:pt x="816" y="175"/>
                    </a:lnTo>
                    <a:lnTo>
                      <a:pt x="816" y="177"/>
                    </a:lnTo>
                    <a:lnTo>
                      <a:pt x="815" y="177"/>
                    </a:lnTo>
                    <a:lnTo>
                      <a:pt x="815" y="178"/>
                    </a:lnTo>
                    <a:lnTo>
                      <a:pt x="813" y="178"/>
                    </a:lnTo>
                    <a:lnTo>
                      <a:pt x="811" y="178"/>
                    </a:lnTo>
                    <a:lnTo>
                      <a:pt x="811" y="180"/>
                    </a:lnTo>
                    <a:lnTo>
                      <a:pt x="810" y="180"/>
                    </a:lnTo>
                    <a:lnTo>
                      <a:pt x="810" y="178"/>
                    </a:lnTo>
                    <a:lnTo>
                      <a:pt x="808" y="177"/>
                    </a:lnTo>
                    <a:lnTo>
                      <a:pt x="806" y="177"/>
                    </a:lnTo>
                    <a:lnTo>
                      <a:pt x="805" y="177"/>
                    </a:lnTo>
                    <a:lnTo>
                      <a:pt x="803" y="177"/>
                    </a:lnTo>
                    <a:lnTo>
                      <a:pt x="801" y="177"/>
                    </a:lnTo>
                    <a:lnTo>
                      <a:pt x="799" y="177"/>
                    </a:lnTo>
                    <a:lnTo>
                      <a:pt x="798" y="177"/>
                    </a:lnTo>
                    <a:lnTo>
                      <a:pt x="798" y="175"/>
                    </a:lnTo>
                    <a:lnTo>
                      <a:pt x="798" y="173"/>
                    </a:lnTo>
                    <a:lnTo>
                      <a:pt x="796" y="173"/>
                    </a:lnTo>
                    <a:lnTo>
                      <a:pt x="796" y="172"/>
                    </a:lnTo>
                    <a:lnTo>
                      <a:pt x="798" y="172"/>
                    </a:lnTo>
                    <a:lnTo>
                      <a:pt x="799" y="172"/>
                    </a:lnTo>
                    <a:lnTo>
                      <a:pt x="799" y="170"/>
                    </a:lnTo>
                    <a:lnTo>
                      <a:pt x="801" y="170"/>
                    </a:lnTo>
                    <a:lnTo>
                      <a:pt x="803" y="170"/>
                    </a:lnTo>
                    <a:lnTo>
                      <a:pt x="805" y="170"/>
                    </a:lnTo>
                    <a:lnTo>
                      <a:pt x="806" y="170"/>
                    </a:lnTo>
                    <a:lnTo>
                      <a:pt x="808" y="170"/>
                    </a:lnTo>
                    <a:lnTo>
                      <a:pt x="808" y="168"/>
                    </a:lnTo>
                    <a:lnTo>
                      <a:pt x="808" y="166"/>
                    </a:lnTo>
                    <a:lnTo>
                      <a:pt x="810" y="166"/>
                    </a:lnTo>
                    <a:lnTo>
                      <a:pt x="810" y="168"/>
                    </a:lnTo>
                    <a:lnTo>
                      <a:pt x="810" y="166"/>
                    </a:lnTo>
                    <a:lnTo>
                      <a:pt x="810" y="168"/>
                    </a:lnTo>
                    <a:lnTo>
                      <a:pt x="810" y="166"/>
                    </a:lnTo>
                    <a:lnTo>
                      <a:pt x="811" y="166"/>
                    </a:lnTo>
                    <a:lnTo>
                      <a:pt x="811" y="168"/>
                    </a:lnTo>
                    <a:lnTo>
                      <a:pt x="813" y="168"/>
                    </a:lnTo>
                    <a:lnTo>
                      <a:pt x="815" y="168"/>
                    </a:lnTo>
                    <a:lnTo>
                      <a:pt x="816" y="168"/>
                    </a:lnTo>
                    <a:lnTo>
                      <a:pt x="816" y="166"/>
                    </a:lnTo>
                    <a:lnTo>
                      <a:pt x="818" y="166"/>
                    </a:lnTo>
                    <a:lnTo>
                      <a:pt x="820" y="166"/>
                    </a:lnTo>
                    <a:lnTo>
                      <a:pt x="820" y="165"/>
                    </a:lnTo>
                    <a:lnTo>
                      <a:pt x="822" y="165"/>
                    </a:lnTo>
                    <a:lnTo>
                      <a:pt x="822" y="166"/>
                    </a:lnTo>
                    <a:lnTo>
                      <a:pt x="822" y="165"/>
                    </a:lnTo>
                    <a:lnTo>
                      <a:pt x="823" y="165"/>
                    </a:lnTo>
                    <a:lnTo>
                      <a:pt x="825" y="165"/>
                    </a:lnTo>
                    <a:close/>
                    <a:moveTo>
                      <a:pt x="803" y="156"/>
                    </a:moveTo>
                    <a:lnTo>
                      <a:pt x="805" y="156"/>
                    </a:lnTo>
                    <a:lnTo>
                      <a:pt x="803" y="156"/>
                    </a:lnTo>
                    <a:close/>
                    <a:moveTo>
                      <a:pt x="808" y="156"/>
                    </a:moveTo>
                    <a:lnTo>
                      <a:pt x="808" y="158"/>
                    </a:lnTo>
                    <a:lnTo>
                      <a:pt x="810" y="158"/>
                    </a:lnTo>
                    <a:lnTo>
                      <a:pt x="810" y="160"/>
                    </a:lnTo>
                    <a:lnTo>
                      <a:pt x="808" y="160"/>
                    </a:lnTo>
                    <a:lnTo>
                      <a:pt x="808" y="161"/>
                    </a:lnTo>
                    <a:lnTo>
                      <a:pt x="806" y="161"/>
                    </a:lnTo>
                    <a:lnTo>
                      <a:pt x="806" y="163"/>
                    </a:lnTo>
                    <a:lnTo>
                      <a:pt x="805" y="163"/>
                    </a:lnTo>
                    <a:lnTo>
                      <a:pt x="805" y="165"/>
                    </a:lnTo>
                    <a:lnTo>
                      <a:pt x="803" y="165"/>
                    </a:lnTo>
                    <a:lnTo>
                      <a:pt x="803" y="166"/>
                    </a:lnTo>
                    <a:lnTo>
                      <a:pt x="801" y="166"/>
                    </a:lnTo>
                    <a:lnTo>
                      <a:pt x="799" y="166"/>
                    </a:lnTo>
                    <a:lnTo>
                      <a:pt x="799" y="165"/>
                    </a:lnTo>
                    <a:lnTo>
                      <a:pt x="799" y="163"/>
                    </a:lnTo>
                    <a:lnTo>
                      <a:pt x="799" y="161"/>
                    </a:lnTo>
                    <a:lnTo>
                      <a:pt x="799" y="160"/>
                    </a:lnTo>
                    <a:lnTo>
                      <a:pt x="799" y="158"/>
                    </a:lnTo>
                    <a:lnTo>
                      <a:pt x="801" y="158"/>
                    </a:lnTo>
                    <a:lnTo>
                      <a:pt x="803" y="158"/>
                    </a:lnTo>
                    <a:lnTo>
                      <a:pt x="805" y="158"/>
                    </a:lnTo>
                    <a:lnTo>
                      <a:pt x="806" y="158"/>
                    </a:lnTo>
                    <a:lnTo>
                      <a:pt x="806" y="156"/>
                    </a:lnTo>
                    <a:lnTo>
                      <a:pt x="808" y="156"/>
                    </a:lnTo>
                    <a:close/>
                    <a:moveTo>
                      <a:pt x="799" y="156"/>
                    </a:moveTo>
                    <a:lnTo>
                      <a:pt x="801" y="158"/>
                    </a:lnTo>
                    <a:lnTo>
                      <a:pt x="799" y="158"/>
                    </a:lnTo>
                    <a:lnTo>
                      <a:pt x="799" y="160"/>
                    </a:lnTo>
                    <a:lnTo>
                      <a:pt x="799" y="161"/>
                    </a:lnTo>
                    <a:lnTo>
                      <a:pt x="799" y="163"/>
                    </a:lnTo>
                    <a:lnTo>
                      <a:pt x="799" y="165"/>
                    </a:lnTo>
                    <a:lnTo>
                      <a:pt x="799" y="166"/>
                    </a:lnTo>
                    <a:lnTo>
                      <a:pt x="799" y="168"/>
                    </a:lnTo>
                    <a:lnTo>
                      <a:pt x="799" y="170"/>
                    </a:lnTo>
                    <a:lnTo>
                      <a:pt x="798" y="170"/>
                    </a:lnTo>
                    <a:lnTo>
                      <a:pt x="796" y="170"/>
                    </a:lnTo>
                    <a:lnTo>
                      <a:pt x="796" y="172"/>
                    </a:lnTo>
                    <a:lnTo>
                      <a:pt x="796" y="173"/>
                    </a:lnTo>
                    <a:lnTo>
                      <a:pt x="794" y="172"/>
                    </a:lnTo>
                    <a:lnTo>
                      <a:pt x="793" y="172"/>
                    </a:lnTo>
                    <a:lnTo>
                      <a:pt x="793" y="170"/>
                    </a:lnTo>
                    <a:lnTo>
                      <a:pt x="791" y="170"/>
                    </a:lnTo>
                    <a:lnTo>
                      <a:pt x="793" y="168"/>
                    </a:lnTo>
                    <a:lnTo>
                      <a:pt x="794" y="168"/>
                    </a:lnTo>
                    <a:lnTo>
                      <a:pt x="796" y="165"/>
                    </a:lnTo>
                    <a:lnTo>
                      <a:pt x="796" y="163"/>
                    </a:lnTo>
                    <a:lnTo>
                      <a:pt x="796" y="161"/>
                    </a:lnTo>
                    <a:lnTo>
                      <a:pt x="796" y="160"/>
                    </a:lnTo>
                    <a:lnTo>
                      <a:pt x="796" y="158"/>
                    </a:lnTo>
                    <a:lnTo>
                      <a:pt x="798" y="158"/>
                    </a:lnTo>
                    <a:lnTo>
                      <a:pt x="798" y="156"/>
                    </a:lnTo>
                    <a:lnTo>
                      <a:pt x="799" y="156"/>
                    </a:lnTo>
                    <a:close/>
                    <a:moveTo>
                      <a:pt x="801" y="156"/>
                    </a:moveTo>
                    <a:lnTo>
                      <a:pt x="801" y="158"/>
                    </a:lnTo>
                    <a:lnTo>
                      <a:pt x="801" y="156"/>
                    </a:lnTo>
                    <a:close/>
                    <a:moveTo>
                      <a:pt x="789" y="166"/>
                    </a:moveTo>
                    <a:lnTo>
                      <a:pt x="791" y="166"/>
                    </a:lnTo>
                    <a:lnTo>
                      <a:pt x="791" y="168"/>
                    </a:lnTo>
                    <a:lnTo>
                      <a:pt x="789" y="168"/>
                    </a:lnTo>
                    <a:lnTo>
                      <a:pt x="789" y="166"/>
                    </a:lnTo>
                    <a:close/>
                    <a:moveTo>
                      <a:pt x="801" y="148"/>
                    </a:moveTo>
                    <a:lnTo>
                      <a:pt x="801" y="149"/>
                    </a:lnTo>
                    <a:lnTo>
                      <a:pt x="801" y="148"/>
                    </a:lnTo>
                    <a:close/>
                    <a:moveTo>
                      <a:pt x="810" y="148"/>
                    </a:moveTo>
                    <a:lnTo>
                      <a:pt x="811" y="148"/>
                    </a:lnTo>
                    <a:lnTo>
                      <a:pt x="810" y="148"/>
                    </a:lnTo>
                    <a:close/>
                    <a:moveTo>
                      <a:pt x="810" y="148"/>
                    </a:moveTo>
                    <a:lnTo>
                      <a:pt x="810" y="149"/>
                    </a:lnTo>
                    <a:lnTo>
                      <a:pt x="808" y="149"/>
                    </a:lnTo>
                    <a:lnTo>
                      <a:pt x="810" y="149"/>
                    </a:lnTo>
                    <a:lnTo>
                      <a:pt x="808" y="151"/>
                    </a:lnTo>
                    <a:lnTo>
                      <a:pt x="806" y="153"/>
                    </a:lnTo>
                    <a:lnTo>
                      <a:pt x="805" y="153"/>
                    </a:lnTo>
                    <a:lnTo>
                      <a:pt x="803" y="153"/>
                    </a:lnTo>
                    <a:lnTo>
                      <a:pt x="801" y="153"/>
                    </a:lnTo>
                    <a:lnTo>
                      <a:pt x="801" y="151"/>
                    </a:lnTo>
                    <a:lnTo>
                      <a:pt x="801" y="149"/>
                    </a:lnTo>
                    <a:lnTo>
                      <a:pt x="803" y="148"/>
                    </a:lnTo>
                    <a:lnTo>
                      <a:pt x="805" y="148"/>
                    </a:lnTo>
                    <a:lnTo>
                      <a:pt x="806" y="148"/>
                    </a:lnTo>
                    <a:lnTo>
                      <a:pt x="808" y="148"/>
                    </a:lnTo>
                    <a:lnTo>
                      <a:pt x="810" y="148"/>
                    </a:lnTo>
                    <a:close/>
                    <a:moveTo>
                      <a:pt x="806" y="146"/>
                    </a:moveTo>
                    <a:lnTo>
                      <a:pt x="810" y="146"/>
                    </a:lnTo>
                    <a:lnTo>
                      <a:pt x="810" y="148"/>
                    </a:lnTo>
                    <a:lnTo>
                      <a:pt x="806" y="148"/>
                    </a:lnTo>
                    <a:lnTo>
                      <a:pt x="806" y="146"/>
                    </a:lnTo>
                    <a:close/>
                    <a:moveTo>
                      <a:pt x="805" y="146"/>
                    </a:moveTo>
                    <a:lnTo>
                      <a:pt x="806" y="146"/>
                    </a:lnTo>
                    <a:lnTo>
                      <a:pt x="806" y="148"/>
                    </a:lnTo>
                    <a:lnTo>
                      <a:pt x="805" y="148"/>
                    </a:lnTo>
                    <a:lnTo>
                      <a:pt x="805" y="146"/>
                    </a:lnTo>
                    <a:close/>
                    <a:moveTo>
                      <a:pt x="813" y="141"/>
                    </a:moveTo>
                    <a:lnTo>
                      <a:pt x="813" y="143"/>
                    </a:lnTo>
                    <a:lnTo>
                      <a:pt x="813" y="144"/>
                    </a:lnTo>
                    <a:lnTo>
                      <a:pt x="811" y="146"/>
                    </a:lnTo>
                    <a:lnTo>
                      <a:pt x="810" y="146"/>
                    </a:lnTo>
                    <a:lnTo>
                      <a:pt x="808" y="146"/>
                    </a:lnTo>
                    <a:lnTo>
                      <a:pt x="806" y="146"/>
                    </a:lnTo>
                    <a:lnTo>
                      <a:pt x="806" y="144"/>
                    </a:lnTo>
                    <a:lnTo>
                      <a:pt x="808" y="144"/>
                    </a:lnTo>
                    <a:lnTo>
                      <a:pt x="808" y="143"/>
                    </a:lnTo>
                    <a:lnTo>
                      <a:pt x="810" y="143"/>
                    </a:lnTo>
                    <a:lnTo>
                      <a:pt x="811" y="143"/>
                    </a:lnTo>
                    <a:lnTo>
                      <a:pt x="811" y="141"/>
                    </a:lnTo>
                    <a:lnTo>
                      <a:pt x="813" y="141"/>
                    </a:lnTo>
                    <a:close/>
                    <a:moveTo>
                      <a:pt x="798" y="107"/>
                    </a:moveTo>
                    <a:lnTo>
                      <a:pt x="798" y="109"/>
                    </a:lnTo>
                    <a:lnTo>
                      <a:pt x="798" y="110"/>
                    </a:lnTo>
                    <a:lnTo>
                      <a:pt x="799" y="110"/>
                    </a:lnTo>
                    <a:lnTo>
                      <a:pt x="799" y="112"/>
                    </a:lnTo>
                    <a:lnTo>
                      <a:pt x="798" y="114"/>
                    </a:lnTo>
                    <a:lnTo>
                      <a:pt x="796" y="115"/>
                    </a:lnTo>
                    <a:lnTo>
                      <a:pt x="794" y="114"/>
                    </a:lnTo>
                    <a:lnTo>
                      <a:pt x="794" y="112"/>
                    </a:lnTo>
                    <a:lnTo>
                      <a:pt x="794" y="110"/>
                    </a:lnTo>
                    <a:lnTo>
                      <a:pt x="793" y="110"/>
                    </a:lnTo>
                    <a:lnTo>
                      <a:pt x="793" y="109"/>
                    </a:lnTo>
                    <a:lnTo>
                      <a:pt x="793" y="107"/>
                    </a:lnTo>
                    <a:lnTo>
                      <a:pt x="794" y="107"/>
                    </a:lnTo>
                    <a:lnTo>
                      <a:pt x="796" y="107"/>
                    </a:lnTo>
                    <a:lnTo>
                      <a:pt x="798" y="107"/>
                    </a:lnTo>
                    <a:close/>
                    <a:moveTo>
                      <a:pt x="786" y="105"/>
                    </a:moveTo>
                    <a:lnTo>
                      <a:pt x="786" y="107"/>
                    </a:lnTo>
                    <a:lnTo>
                      <a:pt x="786" y="105"/>
                    </a:lnTo>
                    <a:close/>
                    <a:moveTo>
                      <a:pt x="794" y="103"/>
                    </a:moveTo>
                    <a:lnTo>
                      <a:pt x="794" y="105"/>
                    </a:lnTo>
                    <a:lnTo>
                      <a:pt x="796" y="105"/>
                    </a:lnTo>
                    <a:lnTo>
                      <a:pt x="796" y="107"/>
                    </a:lnTo>
                    <a:lnTo>
                      <a:pt x="794" y="107"/>
                    </a:lnTo>
                    <a:lnTo>
                      <a:pt x="793" y="107"/>
                    </a:lnTo>
                    <a:lnTo>
                      <a:pt x="793" y="105"/>
                    </a:lnTo>
                    <a:lnTo>
                      <a:pt x="791" y="105"/>
                    </a:lnTo>
                    <a:lnTo>
                      <a:pt x="793" y="105"/>
                    </a:lnTo>
                    <a:lnTo>
                      <a:pt x="793" y="103"/>
                    </a:lnTo>
                    <a:lnTo>
                      <a:pt x="794" y="103"/>
                    </a:lnTo>
                    <a:close/>
                    <a:moveTo>
                      <a:pt x="990" y="284"/>
                    </a:moveTo>
                    <a:lnTo>
                      <a:pt x="992" y="284"/>
                    </a:lnTo>
                    <a:lnTo>
                      <a:pt x="992" y="285"/>
                    </a:lnTo>
                    <a:lnTo>
                      <a:pt x="990" y="285"/>
                    </a:lnTo>
                    <a:lnTo>
                      <a:pt x="990" y="284"/>
                    </a:lnTo>
                    <a:close/>
                    <a:moveTo>
                      <a:pt x="990" y="277"/>
                    </a:moveTo>
                    <a:lnTo>
                      <a:pt x="992" y="277"/>
                    </a:lnTo>
                    <a:lnTo>
                      <a:pt x="990" y="277"/>
                    </a:lnTo>
                    <a:close/>
                    <a:moveTo>
                      <a:pt x="1071" y="272"/>
                    </a:moveTo>
                    <a:lnTo>
                      <a:pt x="1073" y="272"/>
                    </a:lnTo>
                    <a:lnTo>
                      <a:pt x="1071" y="272"/>
                    </a:lnTo>
                    <a:close/>
                    <a:moveTo>
                      <a:pt x="997" y="270"/>
                    </a:moveTo>
                    <a:lnTo>
                      <a:pt x="997" y="272"/>
                    </a:lnTo>
                    <a:lnTo>
                      <a:pt x="997" y="274"/>
                    </a:lnTo>
                    <a:lnTo>
                      <a:pt x="997" y="275"/>
                    </a:lnTo>
                    <a:lnTo>
                      <a:pt x="997" y="277"/>
                    </a:lnTo>
                    <a:lnTo>
                      <a:pt x="997" y="279"/>
                    </a:lnTo>
                    <a:lnTo>
                      <a:pt x="995" y="279"/>
                    </a:lnTo>
                    <a:lnTo>
                      <a:pt x="995" y="280"/>
                    </a:lnTo>
                    <a:lnTo>
                      <a:pt x="993" y="280"/>
                    </a:lnTo>
                    <a:lnTo>
                      <a:pt x="992" y="279"/>
                    </a:lnTo>
                    <a:lnTo>
                      <a:pt x="992" y="277"/>
                    </a:lnTo>
                    <a:lnTo>
                      <a:pt x="993" y="275"/>
                    </a:lnTo>
                    <a:lnTo>
                      <a:pt x="993" y="274"/>
                    </a:lnTo>
                    <a:lnTo>
                      <a:pt x="993" y="272"/>
                    </a:lnTo>
                    <a:lnTo>
                      <a:pt x="995" y="272"/>
                    </a:lnTo>
                    <a:lnTo>
                      <a:pt x="995" y="270"/>
                    </a:lnTo>
                    <a:lnTo>
                      <a:pt x="997" y="270"/>
                    </a:lnTo>
                    <a:close/>
                    <a:moveTo>
                      <a:pt x="1073" y="270"/>
                    </a:moveTo>
                    <a:lnTo>
                      <a:pt x="1075" y="270"/>
                    </a:lnTo>
                    <a:lnTo>
                      <a:pt x="1077" y="270"/>
                    </a:lnTo>
                    <a:lnTo>
                      <a:pt x="1075" y="270"/>
                    </a:lnTo>
                    <a:lnTo>
                      <a:pt x="1075" y="272"/>
                    </a:lnTo>
                    <a:lnTo>
                      <a:pt x="1073" y="270"/>
                    </a:lnTo>
                    <a:lnTo>
                      <a:pt x="1071" y="270"/>
                    </a:lnTo>
                    <a:lnTo>
                      <a:pt x="1071" y="268"/>
                    </a:lnTo>
                    <a:lnTo>
                      <a:pt x="1073" y="268"/>
                    </a:lnTo>
                    <a:lnTo>
                      <a:pt x="1073" y="270"/>
                    </a:lnTo>
                    <a:close/>
                    <a:moveTo>
                      <a:pt x="1073" y="268"/>
                    </a:moveTo>
                    <a:lnTo>
                      <a:pt x="1075" y="268"/>
                    </a:lnTo>
                    <a:lnTo>
                      <a:pt x="1077" y="268"/>
                    </a:lnTo>
                    <a:lnTo>
                      <a:pt x="1078" y="268"/>
                    </a:lnTo>
                    <a:lnTo>
                      <a:pt x="1078" y="270"/>
                    </a:lnTo>
                    <a:lnTo>
                      <a:pt x="1080" y="270"/>
                    </a:lnTo>
                    <a:lnTo>
                      <a:pt x="1080" y="272"/>
                    </a:lnTo>
                    <a:lnTo>
                      <a:pt x="1078" y="272"/>
                    </a:lnTo>
                    <a:lnTo>
                      <a:pt x="1077" y="272"/>
                    </a:lnTo>
                    <a:lnTo>
                      <a:pt x="1077" y="270"/>
                    </a:lnTo>
                    <a:lnTo>
                      <a:pt x="1075" y="270"/>
                    </a:lnTo>
                    <a:lnTo>
                      <a:pt x="1073" y="268"/>
                    </a:lnTo>
                    <a:close/>
                    <a:moveTo>
                      <a:pt x="998" y="260"/>
                    </a:moveTo>
                    <a:lnTo>
                      <a:pt x="998" y="262"/>
                    </a:lnTo>
                    <a:lnTo>
                      <a:pt x="997" y="262"/>
                    </a:lnTo>
                    <a:lnTo>
                      <a:pt x="997" y="263"/>
                    </a:lnTo>
                    <a:lnTo>
                      <a:pt x="995" y="263"/>
                    </a:lnTo>
                    <a:lnTo>
                      <a:pt x="995" y="262"/>
                    </a:lnTo>
                    <a:lnTo>
                      <a:pt x="997" y="262"/>
                    </a:lnTo>
                    <a:lnTo>
                      <a:pt x="995" y="260"/>
                    </a:lnTo>
                    <a:lnTo>
                      <a:pt x="997" y="260"/>
                    </a:lnTo>
                    <a:lnTo>
                      <a:pt x="998" y="260"/>
                    </a:lnTo>
                    <a:close/>
                    <a:moveTo>
                      <a:pt x="1029" y="258"/>
                    </a:moveTo>
                    <a:lnTo>
                      <a:pt x="1029" y="260"/>
                    </a:lnTo>
                    <a:lnTo>
                      <a:pt x="1029" y="258"/>
                    </a:lnTo>
                    <a:close/>
                    <a:moveTo>
                      <a:pt x="1020" y="258"/>
                    </a:moveTo>
                    <a:lnTo>
                      <a:pt x="1020" y="260"/>
                    </a:lnTo>
                    <a:lnTo>
                      <a:pt x="1020" y="258"/>
                    </a:lnTo>
                    <a:close/>
                    <a:moveTo>
                      <a:pt x="1026" y="258"/>
                    </a:moveTo>
                    <a:lnTo>
                      <a:pt x="1029" y="258"/>
                    </a:lnTo>
                    <a:lnTo>
                      <a:pt x="1029" y="260"/>
                    </a:lnTo>
                    <a:lnTo>
                      <a:pt x="1026" y="260"/>
                    </a:lnTo>
                    <a:lnTo>
                      <a:pt x="1026" y="258"/>
                    </a:lnTo>
                    <a:close/>
                    <a:moveTo>
                      <a:pt x="1024" y="255"/>
                    </a:moveTo>
                    <a:lnTo>
                      <a:pt x="1026" y="255"/>
                    </a:lnTo>
                    <a:lnTo>
                      <a:pt x="1024" y="255"/>
                    </a:lnTo>
                    <a:close/>
                    <a:moveTo>
                      <a:pt x="1026" y="255"/>
                    </a:moveTo>
                    <a:lnTo>
                      <a:pt x="1027" y="255"/>
                    </a:lnTo>
                    <a:lnTo>
                      <a:pt x="1026" y="255"/>
                    </a:lnTo>
                    <a:close/>
                    <a:moveTo>
                      <a:pt x="986" y="234"/>
                    </a:moveTo>
                    <a:lnTo>
                      <a:pt x="988" y="234"/>
                    </a:lnTo>
                    <a:lnTo>
                      <a:pt x="986" y="234"/>
                    </a:lnTo>
                    <a:close/>
                    <a:moveTo>
                      <a:pt x="969" y="233"/>
                    </a:moveTo>
                    <a:lnTo>
                      <a:pt x="971" y="233"/>
                    </a:lnTo>
                    <a:lnTo>
                      <a:pt x="971" y="236"/>
                    </a:lnTo>
                    <a:lnTo>
                      <a:pt x="969" y="236"/>
                    </a:lnTo>
                    <a:lnTo>
                      <a:pt x="969" y="233"/>
                    </a:lnTo>
                    <a:close/>
                    <a:moveTo>
                      <a:pt x="969" y="233"/>
                    </a:moveTo>
                    <a:lnTo>
                      <a:pt x="968" y="234"/>
                    </a:lnTo>
                    <a:lnTo>
                      <a:pt x="969" y="234"/>
                    </a:lnTo>
                    <a:lnTo>
                      <a:pt x="969" y="236"/>
                    </a:lnTo>
                    <a:lnTo>
                      <a:pt x="968" y="236"/>
                    </a:lnTo>
                    <a:lnTo>
                      <a:pt x="968" y="234"/>
                    </a:lnTo>
                    <a:lnTo>
                      <a:pt x="968" y="233"/>
                    </a:lnTo>
                    <a:lnTo>
                      <a:pt x="969" y="231"/>
                    </a:lnTo>
                    <a:lnTo>
                      <a:pt x="969" y="233"/>
                    </a:lnTo>
                    <a:close/>
                    <a:moveTo>
                      <a:pt x="986" y="229"/>
                    </a:moveTo>
                    <a:lnTo>
                      <a:pt x="988" y="229"/>
                    </a:lnTo>
                    <a:lnTo>
                      <a:pt x="988" y="231"/>
                    </a:lnTo>
                    <a:lnTo>
                      <a:pt x="986" y="231"/>
                    </a:lnTo>
                    <a:lnTo>
                      <a:pt x="986" y="229"/>
                    </a:lnTo>
                    <a:close/>
                    <a:moveTo>
                      <a:pt x="985" y="228"/>
                    </a:moveTo>
                    <a:lnTo>
                      <a:pt x="986" y="228"/>
                    </a:lnTo>
                    <a:lnTo>
                      <a:pt x="986" y="231"/>
                    </a:lnTo>
                    <a:lnTo>
                      <a:pt x="985" y="231"/>
                    </a:lnTo>
                    <a:lnTo>
                      <a:pt x="985" y="228"/>
                    </a:lnTo>
                    <a:close/>
                    <a:moveTo>
                      <a:pt x="986" y="228"/>
                    </a:moveTo>
                    <a:lnTo>
                      <a:pt x="988" y="228"/>
                    </a:lnTo>
                    <a:lnTo>
                      <a:pt x="988" y="229"/>
                    </a:lnTo>
                    <a:lnTo>
                      <a:pt x="986" y="229"/>
                    </a:lnTo>
                    <a:lnTo>
                      <a:pt x="986" y="228"/>
                    </a:lnTo>
                    <a:close/>
                    <a:moveTo>
                      <a:pt x="976" y="226"/>
                    </a:moveTo>
                    <a:lnTo>
                      <a:pt x="976" y="228"/>
                    </a:lnTo>
                    <a:lnTo>
                      <a:pt x="976" y="226"/>
                    </a:lnTo>
                    <a:close/>
                    <a:moveTo>
                      <a:pt x="975" y="226"/>
                    </a:moveTo>
                    <a:lnTo>
                      <a:pt x="976" y="226"/>
                    </a:lnTo>
                    <a:lnTo>
                      <a:pt x="976" y="228"/>
                    </a:lnTo>
                    <a:lnTo>
                      <a:pt x="975" y="228"/>
                    </a:lnTo>
                    <a:lnTo>
                      <a:pt x="975" y="226"/>
                    </a:lnTo>
                    <a:close/>
                    <a:moveTo>
                      <a:pt x="964" y="226"/>
                    </a:moveTo>
                    <a:lnTo>
                      <a:pt x="966" y="226"/>
                    </a:lnTo>
                    <a:lnTo>
                      <a:pt x="964" y="226"/>
                    </a:lnTo>
                    <a:close/>
                    <a:moveTo>
                      <a:pt x="976" y="224"/>
                    </a:moveTo>
                    <a:lnTo>
                      <a:pt x="976" y="226"/>
                    </a:lnTo>
                    <a:lnTo>
                      <a:pt x="976" y="224"/>
                    </a:lnTo>
                    <a:close/>
                    <a:moveTo>
                      <a:pt x="975" y="224"/>
                    </a:moveTo>
                    <a:lnTo>
                      <a:pt x="976" y="224"/>
                    </a:lnTo>
                    <a:lnTo>
                      <a:pt x="976" y="226"/>
                    </a:lnTo>
                    <a:lnTo>
                      <a:pt x="975" y="226"/>
                    </a:lnTo>
                    <a:lnTo>
                      <a:pt x="975" y="224"/>
                    </a:lnTo>
                    <a:close/>
                    <a:moveTo>
                      <a:pt x="978" y="224"/>
                    </a:moveTo>
                    <a:lnTo>
                      <a:pt x="978" y="226"/>
                    </a:lnTo>
                    <a:lnTo>
                      <a:pt x="978" y="224"/>
                    </a:lnTo>
                    <a:close/>
                    <a:moveTo>
                      <a:pt x="983" y="223"/>
                    </a:moveTo>
                    <a:lnTo>
                      <a:pt x="983" y="224"/>
                    </a:lnTo>
                    <a:lnTo>
                      <a:pt x="983" y="223"/>
                    </a:lnTo>
                    <a:close/>
                    <a:moveTo>
                      <a:pt x="959" y="223"/>
                    </a:moveTo>
                    <a:lnTo>
                      <a:pt x="961" y="223"/>
                    </a:lnTo>
                    <a:lnTo>
                      <a:pt x="959" y="223"/>
                    </a:lnTo>
                    <a:close/>
                    <a:moveTo>
                      <a:pt x="959" y="221"/>
                    </a:moveTo>
                    <a:lnTo>
                      <a:pt x="961" y="221"/>
                    </a:lnTo>
                    <a:lnTo>
                      <a:pt x="961" y="223"/>
                    </a:lnTo>
                    <a:lnTo>
                      <a:pt x="959" y="223"/>
                    </a:lnTo>
                    <a:lnTo>
                      <a:pt x="959" y="221"/>
                    </a:lnTo>
                    <a:close/>
                    <a:moveTo>
                      <a:pt x="959" y="221"/>
                    </a:moveTo>
                    <a:lnTo>
                      <a:pt x="961" y="221"/>
                    </a:lnTo>
                    <a:lnTo>
                      <a:pt x="959" y="221"/>
                    </a:lnTo>
                    <a:close/>
                    <a:moveTo>
                      <a:pt x="980" y="221"/>
                    </a:moveTo>
                    <a:lnTo>
                      <a:pt x="981" y="221"/>
                    </a:lnTo>
                    <a:lnTo>
                      <a:pt x="983" y="221"/>
                    </a:lnTo>
                    <a:lnTo>
                      <a:pt x="983" y="223"/>
                    </a:lnTo>
                    <a:lnTo>
                      <a:pt x="983" y="221"/>
                    </a:lnTo>
                    <a:lnTo>
                      <a:pt x="983" y="223"/>
                    </a:lnTo>
                    <a:lnTo>
                      <a:pt x="981" y="223"/>
                    </a:lnTo>
                    <a:lnTo>
                      <a:pt x="981" y="224"/>
                    </a:lnTo>
                    <a:lnTo>
                      <a:pt x="980" y="224"/>
                    </a:lnTo>
                    <a:lnTo>
                      <a:pt x="980" y="226"/>
                    </a:lnTo>
                    <a:lnTo>
                      <a:pt x="978" y="224"/>
                    </a:lnTo>
                    <a:lnTo>
                      <a:pt x="978" y="223"/>
                    </a:lnTo>
                    <a:lnTo>
                      <a:pt x="980" y="223"/>
                    </a:lnTo>
                    <a:lnTo>
                      <a:pt x="980" y="221"/>
                    </a:lnTo>
                    <a:close/>
                    <a:moveTo>
                      <a:pt x="959" y="217"/>
                    </a:moveTo>
                    <a:lnTo>
                      <a:pt x="961" y="217"/>
                    </a:lnTo>
                    <a:lnTo>
                      <a:pt x="961" y="219"/>
                    </a:lnTo>
                    <a:lnTo>
                      <a:pt x="959" y="219"/>
                    </a:lnTo>
                    <a:lnTo>
                      <a:pt x="959" y="217"/>
                    </a:lnTo>
                    <a:close/>
                    <a:moveTo>
                      <a:pt x="956" y="217"/>
                    </a:moveTo>
                    <a:lnTo>
                      <a:pt x="956" y="221"/>
                    </a:lnTo>
                    <a:lnTo>
                      <a:pt x="956" y="217"/>
                    </a:lnTo>
                    <a:close/>
                    <a:moveTo>
                      <a:pt x="952" y="217"/>
                    </a:moveTo>
                    <a:lnTo>
                      <a:pt x="952" y="219"/>
                    </a:lnTo>
                    <a:lnTo>
                      <a:pt x="952" y="217"/>
                    </a:lnTo>
                    <a:close/>
                    <a:moveTo>
                      <a:pt x="944" y="216"/>
                    </a:moveTo>
                    <a:lnTo>
                      <a:pt x="947" y="216"/>
                    </a:lnTo>
                    <a:lnTo>
                      <a:pt x="947" y="217"/>
                    </a:lnTo>
                    <a:lnTo>
                      <a:pt x="944" y="217"/>
                    </a:lnTo>
                    <a:lnTo>
                      <a:pt x="944" y="216"/>
                    </a:lnTo>
                    <a:close/>
                    <a:moveTo>
                      <a:pt x="958" y="217"/>
                    </a:moveTo>
                    <a:lnTo>
                      <a:pt x="958" y="219"/>
                    </a:lnTo>
                    <a:lnTo>
                      <a:pt x="958" y="221"/>
                    </a:lnTo>
                    <a:lnTo>
                      <a:pt x="958" y="223"/>
                    </a:lnTo>
                    <a:lnTo>
                      <a:pt x="958" y="224"/>
                    </a:lnTo>
                    <a:lnTo>
                      <a:pt x="956" y="224"/>
                    </a:lnTo>
                    <a:lnTo>
                      <a:pt x="956" y="223"/>
                    </a:lnTo>
                    <a:lnTo>
                      <a:pt x="956" y="221"/>
                    </a:lnTo>
                    <a:lnTo>
                      <a:pt x="958" y="221"/>
                    </a:lnTo>
                    <a:lnTo>
                      <a:pt x="958" y="219"/>
                    </a:lnTo>
                    <a:lnTo>
                      <a:pt x="958" y="217"/>
                    </a:lnTo>
                    <a:lnTo>
                      <a:pt x="958" y="216"/>
                    </a:lnTo>
                    <a:lnTo>
                      <a:pt x="958" y="217"/>
                    </a:lnTo>
                    <a:close/>
                    <a:moveTo>
                      <a:pt x="951" y="216"/>
                    </a:moveTo>
                    <a:lnTo>
                      <a:pt x="952" y="216"/>
                    </a:lnTo>
                    <a:lnTo>
                      <a:pt x="952" y="217"/>
                    </a:lnTo>
                    <a:lnTo>
                      <a:pt x="951" y="217"/>
                    </a:lnTo>
                    <a:lnTo>
                      <a:pt x="951" y="216"/>
                    </a:lnTo>
                    <a:close/>
                    <a:moveTo>
                      <a:pt x="1189" y="621"/>
                    </a:moveTo>
                    <a:lnTo>
                      <a:pt x="1190" y="621"/>
                    </a:lnTo>
                    <a:lnTo>
                      <a:pt x="1190" y="622"/>
                    </a:lnTo>
                    <a:lnTo>
                      <a:pt x="1189" y="622"/>
                    </a:lnTo>
                    <a:lnTo>
                      <a:pt x="1189" y="621"/>
                    </a:lnTo>
                    <a:close/>
                    <a:moveTo>
                      <a:pt x="1189" y="621"/>
                    </a:moveTo>
                    <a:lnTo>
                      <a:pt x="1190" y="621"/>
                    </a:lnTo>
                    <a:lnTo>
                      <a:pt x="1189" y="621"/>
                    </a:lnTo>
                    <a:close/>
                    <a:moveTo>
                      <a:pt x="1194" y="612"/>
                    </a:moveTo>
                    <a:lnTo>
                      <a:pt x="1194" y="614"/>
                    </a:lnTo>
                    <a:lnTo>
                      <a:pt x="1194" y="612"/>
                    </a:lnTo>
                    <a:close/>
                    <a:moveTo>
                      <a:pt x="1197" y="612"/>
                    </a:moveTo>
                    <a:lnTo>
                      <a:pt x="1197" y="614"/>
                    </a:lnTo>
                    <a:lnTo>
                      <a:pt x="1197" y="612"/>
                    </a:lnTo>
                    <a:close/>
                    <a:moveTo>
                      <a:pt x="1194" y="612"/>
                    </a:moveTo>
                    <a:lnTo>
                      <a:pt x="1196" y="612"/>
                    </a:lnTo>
                    <a:lnTo>
                      <a:pt x="1194" y="612"/>
                    </a:lnTo>
                    <a:close/>
                    <a:moveTo>
                      <a:pt x="1190" y="609"/>
                    </a:moveTo>
                    <a:lnTo>
                      <a:pt x="1192" y="609"/>
                    </a:lnTo>
                    <a:lnTo>
                      <a:pt x="1192" y="610"/>
                    </a:lnTo>
                    <a:lnTo>
                      <a:pt x="1190" y="610"/>
                    </a:lnTo>
                    <a:lnTo>
                      <a:pt x="1190" y="609"/>
                    </a:lnTo>
                    <a:close/>
                    <a:moveTo>
                      <a:pt x="1507" y="884"/>
                    </a:moveTo>
                    <a:lnTo>
                      <a:pt x="1508" y="884"/>
                    </a:lnTo>
                    <a:lnTo>
                      <a:pt x="1508" y="886"/>
                    </a:lnTo>
                    <a:lnTo>
                      <a:pt x="1507" y="886"/>
                    </a:lnTo>
                    <a:lnTo>
                      <a:pt x="1507" y="884"/>
                    </a:lnTo>
                    <a:close/>
                    <a:moveTo>
                      <a:pt x="1007" y="985"/>
                    </a:moveTo>
                    <a:lnTo>
                      <a:pt x="1009" y="985"/>
                    </a:lnTo>
                    <a:lnTo>
                      <a:pt x="1007" y="985"/>
                    </a:lnTo>
                    <a:close/>
                    <a:moveTo>
                      <a:pt x="992" y="985"/>
                    </a:moveTo>
                    <a:lnTo>
                      <a:pt x="993" y="985"/>
                    </a:lnTo>
                    <a:lnTo>
                      <a:pt x="992" y="985"/>
                    </a:lnTo>
                    <a:close/>
                    <a:moveTo>
                      <a:pt x="990" y="981"/>
                    </a:moveTo>
                    <a:lnTo>
                      <a:pt x="990" y="983"/>
                    </a:lnTo>
                    <a:lnTo>
                      <a:pt x="990" y="981"/>
                    </a:lnTo>
                    <a:close/>
                    <a:moveTo>
                      <a:pt x="1005" y="980"/>
                    </a:moveTo>
                    <a:lnTo>
                      <a:pt x="1007" y="980"/>
                    </a:lnTo>
                    <a:lnTo>
                      <a:pt x="1005" y="980"/>
                    </a:lnTo>
                    <a:lnTo>
                      <a:pt x="1007" y="981"/>
                    </a:lnTo>
                    <a:lnTo>
                      <a:pt x="1009" y="981"/>
                    </a:lnTo>
                    <a:lnTo>
                      <a:pt x="1009" y="983"/>
                    </a:lnTo>
                    <a:lnTo>
                      <a:pt x="1009" y="981"/>
                    </a:lnTo>
                    <a:lnTo>
                      <a:pt x="1009" y="983"/>
                    </a:lnTo>
                    <a:lnTo>
                      <a:pt x="1010" y="983"/>
                    </a:lnTo>
                    <a:lnTo>
                      <a:pt x="1009" y="983"/>
                    </a:lnTo>
                    <a:lnTo>
                      <a:pt x="1007" y="983"/>
                    </a:lnTo>
                    <a:lnTo>
                      <a:pt x="1007" y="985"/>
                    </a:lnTo>
                    <a:lnTo>
                      <a:pt x="1005" y="983"/>
                    </a:lnTo>
                    <a:lnTo>
                      <a:pt x="1003" y="985"/>
                    </a:lnTo>
                    <a:lnTo>
                      <a:pt x="1003" y="983"/>
                    </a:lnTo>
                    <a:lnTo>
                      <a:pt x="1002" y="983"/>
                    </a:lnTo>
                    <a:lnTo>
                      <a:pt x="1002" y="985"/>
                    </a:lnTo>
                    <a:lnTo>
                      <a:pt x="1002" y="983"/>
                    </a:lnTo>
                    <a:lnTo>
                      <a:pt x="1000" y="983"/>
                    </a:lnTo>
                    <a:lnTo>
                      <a:pt x="1002" y="983"/>
                    </a:lnTo>
                    <a:lnTo>
                      <a:pt x="1002" y="981"/>
                    </a:lnTo>
                    <a:lnTo>
                      <a:pt x="1003" y="981"/>
                    </a:lnTo>
                    <a:lnTo>
                      <a:pt x="1005" y="981"/>
                    </a:lnTo>
                    <a:lnTo>
                      <a:pt x="1003" y="980"/>
                    </a:lnTo>
                    <a:lnTo>
                      <a:pt x="1005" y="980"/>
                    </a:lnTo>
                    <a:close/>
                    <a:moveTo>
                      <a:pt x="993" y="978"/>
                    </a:moveTo>
                    <a:lnTo>
                      <a:pt x="995" y="978"/>
                    </a:lnTo>
                    <a:lnTo>
                      <a:pt x="995" y="980"/>
                    </a:lnTo>
                    <a:lnTo>
                      <a:pt x="993" y="980"/>
                    </a:lnTo>
                    <a:lnTo>
                      <a:pt x="993" y="978"/>
                    </a:lnTo>
                    <a:close/>
                    <a:moveTo>
                      <a:pt x="995" y="978"/>
                    </a:moveTo>
                    <a:lnTo>
                      <a:pt x="997" y="978"/>
                    </a:lnTo>
                    <a:lnTo>
                      <a:pt x="995" y="978"/>
                    </a:lnTo>
                    <a:close/>
                    <a:moveTo>
                      <a:pt x="1000" y="978"/>
                    </a:moveTo>
                    <a:lnTo>
                      <a:pt x="1002" y="978"/>
                    </a:lnTo>
                    <a:lnTo>
                      <a:pt x="1002" y="980"/>
                    </a:lnTo>
                    <a:lnTo>
                      <a:pt x="1000" y="980"/>
                    </a:lnTo>
                    <a:lnTo>
                      <a:pt x="1000" y="978"/>
                    </a:lnTo>
                    <a:close/>
                    <a:moveTo>
                      <a:pt x="1010" y="976"/>
                    </a:moveTo>
                    <a:lnTo>
                      <a:pt x="1012" y="976"/>
                    </a:lnTo>
                    <a:lnTo>
                      <a:pt x="1010" y="976"/>
                    </a:lnTo>
                    <a:close/>
                    <a:moveTo>
                      <a:pt x="1080" y="976"/>
                    </a:moveTo>
                    <a:lnTo>
                      <a:pt x="1082" y="976"/>
                    </a:lnTo>
                    <a:lnTo>
                      <a:pt x="1080" y="976"/>
                    </a:lnTo>
                    <a:close/>
                    <a:moveTo>
                      <a:pt x="1015" y="974"/>
                    </a:moveTo>
                    <a:lnTo>
                      <a:pt x="1017" y="974"/>
                    </a:lnTo>
                    <a:lnTo>
                      <a:pt x="1015" y="974"/>
                    </a:lnTo>
                    <a:close/>
                    <a:moveTo>
                      <a:pt x="1041" y="968"/>
                    </a:moveTo>
                    <a:lnTo>
                      <a:pt x="1041" y="969"/>
                    </a:lnTo>
                    <a:lnTo>
                      <a:pt x="1041" y="971"/>
                    </a:lnTo>
                    <a:lnTo>
                      <a:pt x="1041" y="969"/>
                    </a:lnTo>
                    <a:lnTo>
                      <a:pt x="1039" y="969"/>
                    </a:lnTo>
                    <a:lnTo>
                      <a:pt x="1039" y="971"/>
                    </a:lnTo>
                    <a:lnTo>
                      <a:pt x="1037" y="969"/>
                    </a:lnTo>
                    <a:lnTo>
                      <a:pt x="1039" y="969"/>
                    </a:lnTo>
                    <a:lnTo>
                      <a:pt x="1039" y="968"/>
                    </a:lnTo>
                    <a:lnTo>
                      <a:pt x="1039" y="969"/>
                    </a:lnTo>
                    <a:lnTo>
                      <a:pt x="1041" y="969"/>
                    </a:lnTo>
                    <a:lnTo>
                      <a:pt x="1041" y="968"/>
                    </a:lnTo>
                    <a:close/>
                    <a:moveTo>
                      <a:pt x="1090" y="954"/>
                    </a:moveTo>
                    <a:lnTo>
                      <a:pt x="1090" y="956"/>
                    </a:lnTo>
                    <a:lnTo>
                      <a:pt x="1090" y="954"/>
                    </a:lnTo>
                    <a:close/>
                    <a:moveTo>
                      <a:pt x="973" y="1005"/>
                    </a:moveTo>
                    <a:lnTo>
                      <a:pt x="975" y="1005"/>
                    </a:lnTo>
                    <a:lnTo>
                      <a:pt x="975" y="1007"/>
                    </a:lnTo>
                    <a:lnTo>
                      <a:pt x="973" y="1007"/>
                    </a:lnTo>
                    <a:lnTo>
                      <a:pt x="973" y="1005"/>
                    </a:lnTo>
                    <a:close/>
                    <a:moveTo>
                      <a:pt x="978" y="1003"/>
                    </a:moveTo>
                    <a:lnTo>
                      <a:pt x="978" y="1005"/>
                    </a:lnTo>
                    <a:lnTo>
                      <a:pt x="978" y="1003"/>
                    </a:lnTo>
                    <a:close/>
                    <a:moveTo>
                      <a:pt x="968" y="1003"/>
                    </a:moveTo>
                    <a:lnTo>
                      <a:pt x="969" y="1003"/>
                    </a:lnTo>
                    <a:lnTo>
                      <a:pt x="971" y="1005"/>
                    </a:lnTo>
                    <a:lnTo>
                      <a:pt x="971" y="1007"/>
                    </a:lnTo>
                    <a:lnTo>
                      <a:pt x="969" y="1007"/>
                    </a:lnTo>
                    <a:lnTo>
                      <a:pt x="969" y="1008"/>
                    </a:lnTo>
                    <a:lnTo>
                      <a:pt x="971" y="1010"/>
                    </a:lnTo>
                    <a:lnTo>
                      <a:pt x="971" y="1008"/>
                    </a:lnTo>
                    <a:lnTo>
                      <a:pt x="971" y="1010"/>
                    </a:lnTo>
                    <a:lnTo>
                      <a:pt x="971" y="1012"/>
                    </a:lnTo>
                    <a:lnTo>
                      <a:pt x="969" y="1012"/>
                    </a:lnTo>
                    <a:lnTo>
                      <a:pt x="969" y="1010"/>
                    </a:lnTo>
                    <a:lnTo>
                      <a:pt x="968" y="1010"/>
                    </a:lnTo>
                    <a:lnTo>
                      <a:pt x="966" y="1010"/>
                    </a:lnTo>
                    <a:lnTo>
                      <a:pt x="964" y="1012"/>
                    </a:lnTo>
                    <a:lnTo>
                      <a:pt x="964" y="1010"/>
                    </a:lnTo>
                    <a:lnTo>
                      <a:pt x="963" y="1010"/>
                    </a:lnTo>
                    <a:lnTo>
                      <a:pt x="963" y="1008"/>
                    </a:lnTo>
                    <a:lnTo>
                      <a:pt x="964" y="1008"/>
                    </a:lnTo>
                    <a:lnTo>
                      <a:pt x="964" y="1007"/>
                    </a:lnTo>
                    <a:lnTo>
                      <a:pt x="966" y="1007"/>
                    </a:lnTo>
                    <a:lnTo>
                      <a:pt x="966" y="1005"/>
                    </a:lnTo>
                    <a:lnTo>
                      <a:pt x="968" y="1005"/>
                    </a:lnTo>
                    <a:lnTo>
                      <a:pt x="968" y="1003"/>
                    </a:lnTo>
                    <a:close/>
                    <a:moveTo>
                      <a:pt x="973" y="997"/>
                    </a:moveTo>
                    <a:lnTo>
                      <a:pt x="975" y="997"/>
                    </a:lnTo>
                    <a:lnTo>
                      <a:pt x="973" y="997"/>
                    </a:lnTo>
                    <a:close/>
                    <a:moveTo>
                      <a:pt x="976" y="997"/>
                    </a:moveTo>
                    <a:lnTo>
                      <a:pt x="978" y="997"/>
                    </a:lnTo>
                    <a:lnTo>
                      <a:pt x="976" y="997"/>
                    </a:lnTo>
                    <a:close/>
                    <a:moveTo>
                      <a:pt x="983" y="991"/>
                    </a:moveTo>
                    <a:lnTo>
                      <a:pt x="985" y="991"/>
                    </a:lnTo>
                    <a:lnTo>
                      <a:pt x="983" y="991"/>
                    </a:lnTo>
                    <a:close/>
                    <a:moveTo>
                      <a:pt x="861" y="1156"/>
                    </a:moveTo>
                    <a:lnTo>
                      <a:pt x="861" y="1158"/>
                    </a:lnTo>
                    <a:lnTo>
                      <a:pt x="861" y="1156"/>
                    </a:lnTo>
                    <a:close/>
                    <a:moveTo>
                      <a:pt x="864" y="1141"/>
                    </a:moveTo>
                    <a:lnTo>
                      <a:pt x="866" y="1143"/>
                    </a:lnTo>
                    <a:lnTo>
                      <a:pt x="866" y="1141"/>
                    </a:lnTo>
                    <a:lnTo>
                      <a:pt x="866" y="1143"/>
                    </a:lnTo>
                    <a:lnTo>
                      <a:pt x="866" y="1145"/>
                    </a:lnTo>
                    <a:lnTo>
                      <a:pt x="864" y="1145"/>
                    </a:lnTo>
                    <a:lnTo>
                      <a:pt x="864" y="1146"/>
                    </a:lnTo>
                    <a:lnTo>
                      <a:pt x="864" y="1148"/>
                    </a:lnTo>
                    <a:lnTo>
                      <a:pt x="862" y="1148"/>
                    </a:lnTo>
                    <a:lnTo>
                      <a:pt x="862" y="1150"/>
                    </a:lnTo>
                    <a:lnTo>
                      <a:pt x="862" y="1151"/>
                    </a:lnTo>
                    <a:lnTo>
                      <a:pt x="861" y="1151"/>
                    </a:lnTo>
                    <a:lnTo>
                      <a:pt x="861" y="1153"/>
                    </a:lnTo>
                    <a:lnTo>
                      <a:pt x="861" y="1155"/>
                    </a:lnTo>
                    <a:lnTo>
                      <a:pt x="862" y="1155"/>
                    </a:lnTo>
                    <a:lnTo>
                      <a:pt x="861" y="1155"/>
                    </a:lnTo>
                    <a:lnTo>
                      <a:pt x="861" y="1156"/>
                    </a:lnTo>
                    <a:lnTo>
                      <a:pt x="861" y="1155"/>
                    </a:lnTo>
                    <a:lnTo>
                      <a:pt x="859" y="1156"/>
                    </a:lnTo>
                    <a:lnTo>
                      <a:pt x="859" y="1155"/>
                    </a:lnTo>
                    <a:lnTo>
                      <a:pt x="859" y="1153"/>
                    </a:lnTo>
                    <a:lnTo>
                      <a:pt x="859" y="1151"/>
                    </a:lnTo>
                    <a:lnTo>
                      <a:pt x="859" y="1150"/>
                    </a:lnTo>
                    <a:lnTo>
                      <a:pt x="861" y="1150"/>
                    </a:lnTo>
                    <a:lnTo>
                      <a:pt x="859" y="1150"/>
                    </a:lnTo>
                    <a:lnTo>
                      <a:pt x="859" y="1148"/>
                    </a:lnTo>
                    <a:lnTo>
                      <a:pt x="861" y="1148"/>
                    </a:lnTo>
                    <a:lnTo>
                      <a:pt x="861" y="1146"/>
                    </a:lnTo>
                    <a:lnTo>
                      <a:pt x="861" y="1145"/>
                    </a:lnTo>
                    <a:lnTo>
                      <a:pt x="859" y="1145"/>
                    </a:lnTo>
                    <a:lnTo>
                      <a:pt x="859" y="1143"/>
                    </a:lnTo>
                    <a:lnTo>
                      <a:pt x="861" y="1143"/>
                    </a:lnTo>
                    <a:lnTo>
                      <a:pt x="859" y="1143"/>
                    </a:lnTo>
                    <a:lnTo>
                      <a:pt x="861" y="1143"/>
                    </a:lnTo>
                    <a:lnTo>
                      <a:pt x="861" y="1141"/>
                    </a:lnTo>
                    <a:lnTo>
                      <a:pt x="861" y="1143"/>
                    </a:lnTo>
                    <a:lnTo>
                      <a:pt x="862" y="1141"/>
                    </a:lnTo>
                    <a:lnTo>
                      <a:pt x="864" y="1141"/>
                    </a:lnTo>
                    <a:lnTo>
                      <a:pt x="862" y="1141"/>
                    </a:lnTo>
                    <a:lnTo>
                      <a:pt x="864" y="1139"/>
                    </a:lnTo>
                    <a:lnTo>
                      <a:pt x="864" y="1141"/>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8" name="Freeform 21">
                <a:extLst>
                  <a:ext uri="{FF2B5EF4-FFF2-40B4-BE49-F238E27FC236}">
                    <a16:creationId xmlns:a16="http://schemas.microsoft.com/office/drawing/2014/main" id="{638A737B-AC0B-D22D-457B-2E0830861D2D}"/>
                  </a:ext>
                </a:extLst>
              </p:cNvPr>
              <p:cNvSpPr>
                <a:spLocks noEditPoints="1"/>
              </p:cNvSpPr>
              <p:nvPr/>
            </p:nvSpPr>
            <p:spPr bwMode="auto">
              <a:xfrm>
                <a:off x="5293224" y="3123357"/>
                <a:ext cx="426185" cy="496678"/>
              </a:xfrm>
              <a:custGeom>
                <a:avLst/>
                <a:gdLst>
                  <a:gd name="T0" fmla="*/ 1322 w 1451"/>
                  <a:gd name="T1" fmla="*/ 542 h 1691"/>
                  <a:gd name="T2" fmla="*/ 1283 w 1451"/>
                  <a:gd name="T3" fmla="*/ 838 h 1691"/>
                  <a:gd name="T4" fmla="*/ 1278 w 1451"/>
                  <a:gd name="T5" fmla="*/ 1092 h 1691"/>
                  <a:gd name="T6" fmla="*/ 1217 w 1451"/>
                  <a:gd name="T7" fmla="*/ 1381 h 1691"/>
                  <a:gd name="T8" fmla="*/ 1264 w 1451"/>
                  <a:gd name="T9" fmla="*/ 1556 h 1691"/>
                  <a:gd name="T10" fmla="*/ 1205 w 1451"/>
                  <a:gd name="T11" fmla="*/ 1514 h 1691"/>
                  <a:gd name="T12" fmla="*/ 1234 w 1451"/>
                  <a:gd name="T13" fmla="*/ 1488 h 1691"/>
                  <a:gd name="T14" fmla="*/ 1208 w 1451"/>
                  <a:gd name="T15" fmla="*/ 1446 h 1691"/>
                  <a:gd name="T16" fmla="*/ 1196 w 1451"/>
                  <a:gd name="T17" fmla="*/ 1384 h 1691"/>
                  <a:gd name="T18" fmla="*/ 1200 w 1451"/>
                  <a:gd name="T19" fmla="*/ 1320 h 1691"/>
                  <a:gd name="T20" fmla="*/ 1219 w 1451"/>
                  <a:gd name="T21" fmla="*/ 1260 h 1691"/>
                  <a:gd name="T22" fmla="*/ 1196 w 1451"/>
                  <a:gd name="T23" fmla="*/ 1208 h 1691"/>
                  <a:gd name="T24" fmla="*/ 1169 w 1451"/>
                  <a:gd name="T25" fmla="*/ 1153 h 1691"/>
                  <a:gd name="T26" fmla="*/ 1222 w 1451"/>
                  <a:gd name="T27" fmla="*/ 1134 h 1691"/>
                  <a:gd name="T28" fmla="*/ 1236 w 1451"/>
                  <a:gd name="T29" fmla="*/ 988 h 1691"/>
                  <a:gd name="T30" fmla="*/ 1219 w 1451"/>
                  <a:gd name="T31" fmla="*/ 871 h 1691"/>
                  <a:gd name="T32" fmla="*/ 1285 w 1451"/>
                  <a:gd name="T33" fmla="*/ 556 h 1691"/>
                  <a:gd name="T34" fmla="*/ 1312 w 1451"/>
                  <a:gd name="T35" fmla="*/ 212 h 1691"/>
                  <a:gd name="T36" fmla="*/ 1389 w 1451"/>
                  <a:gd name="T37" fmla="*/ 127 h 1691"/>
                  <a:gd name="T38" fmla="*/ 1287 w 1451"/>
                  <a:gd name="T39" fmla="*/ 1609 h 1691"/>
                  <a:gd name="T40" fmla="*/ 1321 w 1451"/>
                  <a:gd name="T41" fmla="*/ 1595 h 1691"/>
                  <a:gd name="T42" fmla="*/ 1338 w 1451"/>
                  <a:gd name="T43" fmla="*/ 1505 h 1691"/>
                  <a:gd name="T44" fmla="*/ 1174 w 1451"/>
                  <a:gd name="T45" fmla="*/ 1286 h 1691"/>
                  <a:gd name="T46" fmla="*/ 1164 w 1451"/>
                  <a:gd name="T47" fmla="*/ 1344 h 1691"/>
                  <a:gd name="T48" fmla="*/ 1173 w 1451"/>
                  <a:gd name="T49" fmla="*/ 1284 h 1691"/>
                  <a:gd name="T50" fmla="*/ 1251 w 1451"/>
                  <a:gd name="T51" fmla="*/ 1505 h 1691"/>
                  <a:gd name="T52" fmla="*/ 1355 w 1451"/>
                  <a:gd name="T53" fmla="*/ 1662 h 1691"/>
                  <a:gd name="T54" fmla="*/ 1247 w 1451"/>
                  <a:gd name="T55" fmla="*/ 1568 h 1691"/>
                  <a:gd name="T56" fmla="*/ 1402 w 1451"/>
                  <a:gd name="T57" fmla="*/ 1628 h 1691"/>
                  <a:gd name="T58" fmla="*/ 1300 w 1451"/>
                  <a:gd name="T59" fmla="*/ 1566 h 1691"/>
                  <a:gd name="T60" fmla="*/ 1174 w 1451"/>
                  <a:gd name="T61" fmla="*/ 1502 h 1691"/>
                  <a:gd name="T62" fmla="*/ 1156 w 1451"/>
                  <a:gd name="T63" fmla="*/ 1379 h 1691"/>
                  <a:gd name="T64" fmla="*/ 1156 w 1451"/>
                  <a:gd name="T65" fmla="*/ 1284 h 1691"/>
                  <a:gd name="T66" fmla="*/ 1179 w 1451"/>
                  <a:gd name="T67" fmla="*/ 1282 h 1691"/>
                  <a:gd name="T68" fmla="*/ 1312 w 1451"/>
                  <a:gd name="T69" fmla="*/ 1643 h 1691"/>
                  <a:gd name="T70" fmla="*/ 1169 w 1451"/>
                  <a:gd name="T71" fmla="*/ 1265 h 1691"/>
                  <a:gd name="T72" fmla="*/ 1152 w 1451"/>
                  <a:gd name="T73" fmla="*/ 1277 h 1691"/>
                  <a:gd name="T74" fmla="*/ 1168 w 1451"/>
                  <a:gd name="T75" fmla="*/ 1422 h 1691"/>
                  <a:gd name="T76" fmla="*/ 1196 w 1451"/>
                  <a:gd name="T77" fmla="*/ 1481 h 1691"/>
                  <a:gd name="T78" fmla="*/ 1208 w 1451"/>
                  <a:gd name="T79" fmla="*/ 1126 h 1691"/>
                  <a:gd name="T80" fmla="*/ 1193 w 1451"/>
                  <a:gd name="T81" fmla="*/ 1099 h 1691"/>
                  <a:gd name="T82" fmla="*/ 1292 w 1451"/>
                  <a:gd name="T83" fmla="*/ 1626 h 1691"/>
                  <a:gd name="T84" fmla="*/ 1207 w 1451"/>
                  <a:gd name="T85" fmla="*/ 1155 h 1691"/>
                  <a:gd name="T86" fmla="*/ 1190 w 1451"/>
                  <a:gd name="T87" fmla="*/ 1114 h 1691"/>
                  <a:gd name="T88" fmla="*/ 1173 w 1451"/>
                  <a:gd name="T89" fmla="*/ 1138 h 1691"/>
                  <a:gd name="T90" fmla="*/ 1326 w 1451"/>
                  <a:gd name="T91" fmla="*/ 1629 h 1691"/>
                  <a:gd name="T92" fmla="*/ 1164 w 1451"/>
                  <a:gd name="T93" fmla="*/ 1391 h 1691"/>
                  <a:gd name="T94" fmla="*/ 1173 w 1451"/>
                  <a:gd name="T95" fmla="*/ 1417 h 1691"/>
                  <a:gd name="T96" fmla="*/ 1229 w 1451"/>
                  <a:gd name="T97" fmla="*/ 952 h 1691"/>
                  <a:gd name="T98" fmla="*/ 1183 w 1451"/>
                  <a:gd name="T99" fmla="*/ 1075 h 1691"/>
                  <a:gd name="T100" fmla="*/ 1229 w 1451"/>
                  <a:gd name="T101" fmla="*/ 976 h 1691"/>
                  <a:gd name="T102" fmla="*/ 1378 w 1451"/>
                  <a:gd name="T103" fmla="*/ 1660 h 1691"/>
                  <a:gd name="T104" fmla="*/ 1208 w 1451"/>
                  <a:gd name="T105" fmla="*/ 1065 h 1691"/>
                  <a:gd name="T106" fmla="*/ 1229 w 1451"/>
                  <a:gd name="T107" fmla="*/ 1585 h 1691"/>
                  <a:gd name="T108" fmla="*/ 1336 w 1451"/>
                  <a:gd name="T109" fmla="*/ 1653 h 1691"/>
                  <a:gd name="T110" fmla="*/ 1185 w 1451"/>
                  <a:gd name="T111" fmla="*/ 1463 h 1691"/>
                  <a:gd name="T112" fmla="*/ 1171 w 1451"/>
                  <a:gd name="T113" fmla="*/ 1481 h 1691"/>
                  <a:gd name="T114" fmla="*/ 1215 w 1451"/>
                  <a:gd name="T115" fmla="*/ 1521 h 1691"/>
                  <a:gd name="T116" fmla="*/ 1159 w 1451"/>
                  <a:gd name="T117" fmla="*/ 1356 h 1691"/>
                  <a:gd name="T118" fmla="*/ 1251 w 1451"/>
                  <a:gd name="T119" fmla="*/ 1597 h 1691"/>
                  <a:gd name="T120" fmla="*/ 1232 w 1451"/>
                  <a:gd name="T121" fmla="*/ 1546 h 1691"/>
                  <a:gd name="T122" fmla="*/ 1281 w 1451"/>
                  <a:gd name="T123" fmla="*/ 1614 h 1691"/>
                  <a:gd name="T124" fmla="*/ 1168 w 1451"/>
                  <a:gd name="T125" fmla="*/ 1405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51" h="1691">
                    <a:moveTo>
                      <a:pt x="1426" y="190"/>
                    </a:moveTo>
                    <a:lnTo>
                      <a:pt x="1429" y="194"/>
                    </a:lnTo>
                    <a:lnTo>
                      <a:pt x="1433" y="197"/>
                    </a:lnTo>
                    <a:lnTo>
                      <a:pt x="1429" y="206"/>
                    </a:lnTo>
                    <a:lnTo>
                      <a:pt x="1429" y="207"/>
                    </a:lnTo>
                    <a:lnTo>
                      <a:pt x="1428" y="214"/>
                    </a:lnTo>
                    <a:lnTo>
                      <a:pt x="1424" y="224"/>
                    </a:lnTo>
                    <a:lnTo>
                      <a:pt x="1424" y="226"/>
                    </a:lnTo>
                    <a:lnTo>
                      <a:pt x="1421" y="236"/>
                    </a:lnTo>
                    <a:lnTo>
                      <a:pt x="1416" y="238"/>
                    </a:lnTo>
                    <a:lnTo>
                      <a:pt x="1409" y="241"/>
                    </a:lnTo>
                    <a:lnTo>
                      <a:pt x="1400" y="245"/>
                    </a:lnTo>
                    <a:lnTo>
                      <a:pt x="1399" y="245"/>
                    </a:lnTo>
                    <a:lnTo>
                      <a:pt x="1397" y="246"/>
                    </a:lnTo>
                    <a:lnTo>
                      <a:pt x="1390" y="248"/>
                    </a:lnTo>
                    <a:lnTo>
                      <a:pt x="1390" y="250"/>
                    </a:lnTo>
                    <a:lnTo>
                      <a:pt x="1389" y="250"/>
                    </a:lnTo>
                    <a:lnTo>
                      <a:pt x="1389" y="252"/>
                    </a:lnTo>
                    <a:lnTo>
                      <a:pt x="1387" y="253"/>
                    </a:lnTo>
                    <a:lnTo>
                      <a:pt x="1387" y="252"/>
                    </a:lnTo>
                    <a:lnTo>
                      <a:pt x="1385" y="252"/>
                    </a:lnTo>
                    <a:lnTo>
                      <a:pt x="1385" y="253"/>
                    </a:lnTo>
                    <a:lnTo>
                      <a:pt x="1385" y="255"/>
                    </a:lnTo>
                    <a:lnTo>
                      <a:pt x="1383" y="255"/>
                    </a:lnTo>
                    <a:lnTo>
                      <a:pt x="1383" y="257"/>
                    </a:lnTo>
                    <a:lnTo>
                      <a:pt x="1382" y="257"/>
                    </a:lnTo>
                    <a:lnTo>
                      <a:pt x="1382" y="258"/>
                    </a:lnTo>
                    <a:lnTo>
                      <a:pt x="1382" y="260"/>
                    </a:lnTo>
                    <a:lnTo>
                      <a:pt x="1380" y="260"/>
                    </a:lnTo>
                    <a:lnTo>
                      <a:pt x="1380" y="262"/>
                    </a:lnTo>
                    <a:lnTo>
                      <a:pt x="1380" y="263"/>
                    </a:lnTo>
                    <a:lnTo>
                      <a:pt x="1380" y="265"/>
                    </a:lnTo>
                    <a:lnTo>
                      <a:pt x="1382" y="267"/>
                    </a:lnTo>
                    <a:lnTo>
                      <a:pt x="1383" y="267"/>
                    </a:lnTo>
                    <a:lnTo>
                      <a:pt x="1383" y="269"/>
                    </a:lnTo>
                    <a:lnTo>
                      <a:pt x="1383" y="270"/>
                    </a:lnTo>
                    <a:lnTo>
                      <a:pt x="1385" y="270"/>
                    </a:lnTo>
                    <a:lnTo>
                      <a:pt x="1385" y="272"/>
                    </a:lnTo>
                    <a:lnTo>
                      <a:pt x="1387" y="272"/>
                    </a:lnTo>
                    <a:lnTo>
                      <a:pt x="1387" y="274"/>
                    </a:lnTo>
                    <a:lnTo>
                      <a:pt x="1387" y="275"/>
                    </a:lnTo>
                    <a:lnTo>
                      <a:pt x="1385" y="275"/>
                    </a:lnTo>
                    <a:lnTo>
                      <a:pt x="1385" y="277"/>
                    </a:lnTo>
                    <a:lnTo>
                      <a:pt x="1385" y="275"/>
                    </a:lnTo>
                    <a:lnTo>
                      <a:pt x="1383" y="275"/>
                    </a:lnTo>
                    <a:lnTo>
                      <a:pt x="1382" y="277"/>
                    </a:lnTo>
                    <a:lnTo>
                      <a:pt x="1382" y="279"/>
                    </a:lnTo>
                    <a:lnTo>
                      <a:pt x="1382" y="280"/>
                    </a:lnTo>
                    <a:lnTo>
                      <a:pt x="1380" y="280"/>
                    </a:lnTo>
                    <a:lnTo>
                      <a:pt x="1380" y="282"/>
                    </a:lnTo>
                    <a:lnTo>
                      <a:pt x="1380" y="284"/>
                    </a:lnTo>
                    <a:lnTo>
                      <a:pt x="1382" y="284"/>
                    </a:lnTo>
                    <a:lnTo>
                      <a:pt x="1382" y="286"/>
                    </a:lnTo>
                    <a:lnTo>
                      <a:pt x="1380" y="286"/>
                    </a:lnTo>
                    <a:lnTo>
                      <a:pt x="1380" y="287"/>
                    </a:lnTo>
                    <a:lnTo>
                      <a:pt x="1378" y="287"/>
                    </a:lnTo>
                    <a:lnTo>
                      <a:pt x="1380" y="289"/>
                    </a:lnTo>
                    <a:lnTo>
                      <a:pt x="1380" y="291"/>
                    </a:lnTo>
                    <a:lnTo>
                      <a:pt x="1380" y="292"/>
                    </a:lnTo>
                    <a:lnTo>
                      <a:pt x="1382" y="292"/>
                    </a:lnTo>
                    <a:lnTo>
                      <a:pt x="1380" y="294"/>
                    </a:lnTo>
                    <a:lnTo>
                      <a:pt x="1380" y="296"/>
                    </a:lnTo>
                    <a:lnTo>
                      <a:pt x="1382" y="296"/>
                    </a:lnTo>
                    <a:lnTo>
                      <a:pt x="1382" y="297"/>
                    </a:lnTo>
                    <a:lnTo>
                      <a:pt x="1383" y="299"/>
                    </a:lnTo>
                    <a:lnTo>
                      <a:pt x="1383" y="304"/>
                    </a:lnTo>
                    <a:lnTo>
                      <a:pt x="1385" y="308"/>
                    </a:lnTo>
                    <a:lnTo>
                      <a:pt x="1385" y="309"/>
                    </a:lnTo>
                    <a:lnTo>
                      <a:pt x="1385" y="313"/>
                    </a:lnTo>
                    <a:lnTo>
                      <a:pt x="1385" y="316"/>
                    </a:lnTo>
                    <a:lnTo>
                      <a:pt x="1383" y="316"/>
                    </a:lnTo>
                    <a:lnTo>
                      <a:pt x="1382" y="318"/>
                    </a:lnTo>
                    <a:lnTo>
                      <a:pt x="1380" y="320"/>
                    </a:lnTo>
                    <a:lnTo>
                      <a:pt x="1380" y="323"/>
                    </a:lnTo>
                    <a:lnTo>
                      <a:pt x="1378" y="325"/>
                    </a:lnTo>
                    <a:lnTo>
                      <a:pt x="1378" y="326"/>
                    </a:lnTo>
                    <a:lnTo>
                      <a:pt x="1380" y="328"/>
                    </a:lnTo>
                    <a:lnTo>
                      <a:pt x="1380" y="330"/>
                    </a:lnTo>
                    <a:lnTo>
                      <a:pt x="1382" y="331"/>
                    </a:lnTo>
                    <a:lnTo>
                      <a:pt x="1382" y="333"/>
                    </a:lnTo>
                    <a:lnTo>
                      <a:pt x="1383" y="333"/>
                    </a:lnTo>
                    <a:lnTo>
                      <a:pt x="1383" y="335"/>
                    </a:lnTo>
                    <a:lnTo>
                      <a:pt x="1385" y="338"/>
                    </a:lnTo>
                    <a:lnTo>
                      <a:pt x="1387" y="338"/>
                    </a:lnTo>
                    <a:lnTo>
                      <a:pt x="1387" y="340"/>
                    </a:lnTo>
                    <a:lnTo>
                      <a:pt x="1389" y="342"/>
                    </a:lnTo>
                    <a:lnTo>
                      <a:pt x="1389" y="343"/>
                    </a:lnTo>
                    <a:lnTo>
                      <a:pt x="1390" y="343"/>
                    </a:lnTo>
                    <a:lnTo>
                      <a:pt x="1389" y="343"/>
                    </a:lnTo>
                    <a:lnTo>
                      <a:pt x="1389" y="345"/>
                    </a:lnTo>
                    <a:lnTo>
                      <a:pt x="1389" y="347"/>
                    </a:lnTo>
                    <a:lnTo>
                      <a:pt x="1389" y="349"/>
                    </a:lnTo>
                    <a:lnTo>
                      <a:pt x="1387" y="349"/>
                    </a:lnTo>
                    <a:lnTo>
                      <a:pt x="1385" y="349"/>
                    </a:lnTo>
                    <a:lnTo>
                      <a:pt x="1383" y="349"/>
                    </a:lnTo>
                    <a:lnTo>
                      <a:pt x="1383" y="350"/>
                    </a:lnTo>
                    <a:lnTo>
                      <a:pt x="1382" y="349"/>
                    </a:lnTo>
                    <a:lnTo>
                      <a:pt x="1383" y="350"/>
                    </a:lnTo>
                    <a:lnTo>
                      <a:pt x="1382" y="352"/>
                    </a:lnTo>
                    <a:lnTo>
                      <a:pt x="1380" y="350"/>
                    </a:lnTo>
                    <a:lnTo>
                      <a:pt x="1380" y="352"/>
                    </a:lnTo>
                    <a:lnTo>
                      <a:pt x="1380" y="354"/>
                    </a:lnTo>
                    <a:lnTo>
                      <a:pt x="1378" y="352"/>
                    </a:lnTo>
                    <a:lnTo>
                      <a:pt x="1378" y="354"/>
                    </a:lnTo>
                    <a:lnTo>
                      <a:pt x="1377" y="352"/>
                    </a:lnTo>
                    <a:lnTo>
                      <a:pt x="1377" y="350"/>
                    </a:lnTo>
                    <a:lnTo>
                      <a:pt x="1375" y="350"/>
                    </a:lnTo>
                    <a:lnTo>
                      <a:pt x="1373" y="350"/>
                    </a:lnTo>
                    <a:lnTo>
                      <a:pt x="1372" y="350"/>
                    </a:lnTo>
                    <a:lnTo>
                      <a:pt x="1372" y="352"/>
                    </a:lnTo>
                    <a:lnTo>
                      <a:pt x="1370" y="352"/>
                    </a:lnTo>
                    <a:lnTo>
                      <a:pt x="1370" y="354"/>
                    </a:lnTo>
                    <a:lnTo>
                      <a:pt x="1370" y="355"/>
                    </a:lnTo>
                    <a:lnTo>
                      <a:pt x="1370" y="357"/>
                    </a:lnTo>
                    <a:lnTo>
                      <a:pt x="1372" y="357"/>
                    </a:lnTo>
                    <a:lnTo>
                      <a:pt x="1370" y="357"/>
                    </a:lnTo>
                    <a:lnTo>
                      <a:pt x="1370" y="359"/>
                    </a:lnTo>
                    <a:lnTo>
                      <a:pt x="1368" y="359"/>
                    </a:lnTo>
                    <a:lnTo>
                      <a:pt x="1368" y="360"/>
                    </a:lnTo>
                    <a:lnTo>
                      <a:pt x="1368" y="362"/>
                    </a:lnTo>
                    <a:lnTo>
                      <a:pt x="1366" y="362"/>
                    </a:lnTo>
                    <a:lnTo>
                      <a:pt x="1368" y="362"/>
                    </a:lnTo>
                    <a:lnTo>
                      <a:pt x="1366" y="364"/>
                    </a:lnTo>
                    <a:lnTo>
                      <a:pt x="1366" y="362"/>
                    </a:lnTo>
                    <a:lnTo>
                      <a:pt x="1366" y="364"/>
                    </a:lnTo>
                    <a:lnTo>
                      <a:pt x="1365" y="364"/>
                    </a:lnTo>
                    <a:lnTo>
                      <a:pt x="1366" y="364"/>
                    </a:lnTo>
                    <a:lnTo>
                      <a:pt x="1366" y="366"/>
                    </a:lnTo>
                    <a:lnTo>
                      <a:pt x="1366" y="367"/>
                    </a:lnTo>
                    <a:lnTo>
                      <a:pt x="1365" y="367"/>
                    </a:lnTo>
                    <a:lnTo>
                      <a:pt x="1366" y="367"/>
                    </a:lnTo>
                    <a:lnTo>
                      <a:pt x="1365" y="369"/>
                    </a:lnTo>
                    <a:lnTo>
                      <a:pt x="1363" y="369"/>
                    </a:lnTo>
                    <a:lnTo>
                      <a:pt x="1363" y="371"/>
                    </a:lnTo>
                    <a:lnTo>
                      <a:pt x="1363" y="372"/>
                    </a:lnTo>
                    <a:lnTo>
                      <a:pt x="1363" y="374"/>
                    </a:lnTo>
                    <a:lnTo>
                      <a:pt x="1361" y="374"/>
                    </a:lnTo>
                    <a:lnTo>
                      <a:pt x="1361" y="376"/>
                    </a:lnTo>
                    <a:lnTo>
                      <a:pt x="1361" y="377"/>
                    </a:lnTo>
                    <a:lnTo>
                      <a:pt x="1361" y="379"/>
                    </a:lnTo>
                    <a:lnTo>
                      <a:pt x="1361" y="381"/>
                    </a:lnTo>
                    <a:lnTo>
                      <a:pt x="1360" y="381"/>
                    </a:lnTo>
                    <a:lnTo>
                      <a:pt x="1360" y="383"/>
                    </a:lnTo>
                    <a:lnTo>
                      <a:pt x="1360" y="384"/>
                    </a:lnTo>
                    <a:lnTo>
                      <a:pt x="1358" y="383"/>
                    </a:lnTo>
                    <a:lnTo>
                      <a:pt x="1356" y="384"/>
                    </a:lnTo>
                    <a:lnTo>
                      <a:pt x="1356" y="386"/>
                    </a:lnTo>
                    <a:lnTo>
                      <a:pt x="1355" y="388"/>
                    </a:lnTo>
                    <a:lnTo>
                      <a:pt x="1355" y="389"/>
                    </a:lnTo>
                    <a:lnTo>
                      <a:pt x="1353" y="391"/>
                    </a:lnTo>
                    <a:lnTo>
                      <a:pt x="1353" y="393"/>
                    </a:lnTo>
                    <a:lnTo>
                      <a:pt x="1351" y="393"/>
                    </a:lnTo>
                    <a:lnTo>
                      <a:pt x="1349" y="391"/>
                    </a:lnTo>
                    <a:lnTo>
                      <a:pt x="1349" y="393"/>
                    </a:lnTo>
                    <a:lnTo>
                      <a:pt x="1349" y="394"/>
                    </a:lnTo>
                    <a:lnTo>
                      <a:pt x="1348" y="394"/>
                    </a:lnTo>
                    <a:lnTo>
                      <a:pt x="1348" y="396"/>
                    </a:lnTo>
                    <a:lnTo>
                      <a:pt x="1348" y="398"/>
                    </a:lnTo>
                    <a:lnTo>
                      <a:pt x="1346" y="398"/>
                    </a:lnTo>
                    <a:lnTo>
                      <a:pt x="1344" y="398"/>
                    </a:lnTo>
                    <a:lnTo>
                      <a:pt x="1346" y="400"/>
                    </a:lnTo>
                    <a:lnTo>
                      <a:pt x="1344" y="400"/>
                    </a:lnTo>
                    <a:lnTo>
                      <a:pt x="1343" y="400"/>
                    </a:lnTo>
                    <a:lnTo>
                      <a:pt x="1343" y="401"/>
                    </a:lnTo>
                    <a:lnTo>
                      <a:pt x="1344" y="401"/>
                    </a:lnTo>
                    <a:lnTo>
                      <a:pt x="1343" y="401"/>
                    </a:lnTo>
                    <a:lnTo>
                      <a:pt x="1343" y="403"/>
                    </a:lnTo>
                    <a:lnTo>
                      <a:pt x="1343" y="405"/>
                    </a:lnTo>
                    <a:lnTo>
                      <a:pt x="1343" y="406"/>
                    </a:lnTo>
                    <a:lnTo>
                      <a:pt x="1341" y="406"/>
                    </a:lnTo>
                    <a:lnTo>
                      <a:pt x="1343" y="408"/>
                    </a:lnTo>
                    <a:lnTo>
                      <a:pt x="1341" y="408"/>
                    </a:lnTo>
                    <a:lnTo>
                      <a:pt x="1341" y="410"/>
                    </a:lnTo>
                    <a:lnTo>
                      <a:pt x="1341" y="411"/>
                    </a:lnTo>
                    <a:lnTo>
                      <a:pt x="1341" y="413"/>
                    </a:lnTo>
                    <a:lnTo>
                      <a:pt x="1341" y="415"/>
                    </a:lnTo>
                    <a:lnTo>
                      <a:pt x="1341" y="417"/>
                    </a:lnTo>
                    <a:lnTo>
                      <a:pt x="1339" y="417"/>
                    </a:lnTo>
                    <a:lnTo>
                      <a:pt x="1339" y="418"/>
                    </a:lnTo>
                    <a:lnTo>
                      <a:pt x="1339" y="420"/>
                    </a:lnTo>
                    <a:lnTo>
                      <a:pt x="1339" y="422"/>
                    </a:lnTo>
                    <a:lnTo>
                      <a:pt x="1339" y="423"/>
                    </a:lnTo>
                    <a:lnTo>
                      <a:pt x="1338" y="423"/>
                    </a:lnTo>
                    <a:lnTo>
                      <a:pt x="1339" y="425"/>
                    </a:lnTo>
                    <a:lnTo>
                      <a:pt x="1338" y="425"/>
                    </a:lnTo>
                    <a:lnTo>
                      <a:pt x="1338" y="427"/>
                    </a:lnTo>
                    <a:lnTo>
                      <a:pt x="1339" y="427"/>
                    </a:lnTo>
                    <a:lnTo>
                      <a:pt x="1338" y="427"/>
                    </a:lnTo>
                    <a:lnTo>
                      <a:pt x="1338" y="428"/>
                    </a:lnTo>
                    <a:lnTo>
                      <a:pt x="1336" y="428"/>
                    </a:lnTo>
                    <a:lnTo>
                      <a:pt x="1334" y="428"/>
                    </a:lnTo>
                    <a:lnTo>
                      <a:pt x="1334" y="430"/>
                    </a:lnTo>
                    <a:lnTo>
                      <a:pt x="1332" y="430"/>
                    </a:lnTo>
                    <a:lnTo>
                      <a:pt x="1332" y="432"/>
                    </a:lnTo>
                    <a:lnTo>
                      <a:pt x="1332" y="434"/>
                    </a:lnTo>
                    <a:lnTo>
                      <a:pt x="1331" y="434"/>
                    </a:lnTo>
                    <a:lnTo>
                      <a:pt x="1331" y="435"/>
                    </a:lnTo>
                    <a:lnTo>
                      <a:pt x="1331" y="437"/>
                    </a:lnTo>
                    <a:lnTo>
                      <a:pt x="1331" y="439"/>
                    </a:lnTo>
                    <a:lnTo>
                      <a:pt x="1332" y="439"/>
                    </a:lnTo>
                    <a:lnTo>
                      <a:pt x="1332" y="440"/>
                    </a:lnTo>
                    <a:lnTo>
                      <a:pt x="1332" y="442"/>
                    </a:lnTo>
                    <a:lnTo>
                      <a:pt x="1332" y="444"/>
                    </a:lnTo>
                    <a:lnTo>
                      <a:pt x="1334" y="444"/>
                    </a:lnTo>
                    <a:lnTo>
                      <a:pt x="1332" y="445"/>
                    </a:lnTo>
                    <a:lnTo>
                      <a:pt x="1334" y="445"/>
                    </a:lnTo>
                    <a:lnTo>
                      <a:pt x="1332" y="447"/>
                    </a:lnTo>
                    <a:lnTo>
                      <a:pt x="1334" y="447"/>
                    </a:lnTo>
                    <a:lnTo>
                      <a:pt x="1332" y="447"/>
                    </a:lnTo>
                    <a:lnTo>
                      <a:pt x="1332" y="449"/>
                    </a:lnTo>
                    <a:lnTo>
                      <a:pt x="1334" y="449"/>
                    </a:lnTo>
                    <a:lnTo>
                      <a:pt x="1334" y="451"/>
                    </a:lnTo>
                    <a:lnTo>
                      <a:pt x="1336" y="451"/>
                    </a:lnTo>
                    <a:lnTo>
                      <a:pt x="1336" y="452"/>
                    </a:lnTo>
                    <a:lnTo>
                      <a:pt x="1334" y="452"/>
                    </a:lnTo>
                    <a:lnTo>
                      <a:pt x="1334" y="454"/>
                    </a:lnTo>
                    <a:lnTo>
                      <a:pt x="1334" y="456"/>
                    </a:lnTo>
                    <a:lnTo>
                      <a:pt x="1336" y="456"/>
                    </a:lnTo>
                    <a:lnTo>
                      <a:pt x="1334" y="457"/>
                    </a:lnTo>
                    <a:lnTo>
                      <a:pt x="1336" y="457"/>
                    </a:lnTo>
                    <a:lnTo>
                      <a:pt x="1334" y="459"/>
                    </a:lnTo>
                    <a:lnTo>
                      <a:pt x="1334" y="461"/>
                    </a:lnTo>
                    <a:lnTo>
                      <a:pt x="1334" y="462"/>
                    </a:lnTo>
                    <a:lnTo>
                      <a:pt x="1334" y="464"/>
                    </a:lnTo>
                    <a:lnTo>
                      <a:pt x="1332" y="464"/>
                    </a:lnTo>
                    <a:lnTo>
                      <a:pt x="1332" y="466"/>
                    </a:lnTo>
                    <a:lnTo>
                      <a:pt x="1334" y="466"/>
                    </a:lnTo>
                    <a:lnTo>
                      <a:pt x="1336" y="466"/>
                    </a:lnTo>
                    <a:lnTo>
                      <a:pt x="1336" y="468"/>
                    </a:lnTo>
                    <a:lnTo>
                      <a:pt x="1338" y="468"/>
                    </a:lnTo>
                    <a:lnTo>
                      <a:pt x="1338" y="469"/>
                    </a:lnTo>
                    <a:lnTo>
                      <a:pt x="1338" y="471"/>
                    </a:lnTo>
                    <a:lnTo>
                      <a:pt x="1336" y="471"/>
                    </a:lnTo>
                    <a:lnTo>
                      <a:pt x="1336" y="469"/>
                    </a:lnTo>
                    <a:lnTo>
                      <a:pt x="1336" y="471"/>
                    </a:lnTo>
                    <a:lnTo>
                      <a:pt x="1336" y="473"/>
                    </a:lnTo>
                    <a:lnTo>
                      <a:pt x="1334" y="473"/>
                    </a:lnTo>
                    <a:lnTo>
                      <a:pt x="1334" y="474"/>
                    </a:lnTo>
                    <a:lnTo>
                      <a:pt x="1334" y="476"/>
                    </a:lnTo>
                    <a:lnTo>
                      <a:pt x="1332" y="476"/>
                    </a:lnTo>
                    <a:lnTo>
                      <a:pt x="1331" y="476"/>
                    </a:lnTo>
                    <a:lnTo>
                      <a:pt x="1331" y="478"/>
                    </a:lnTo>
                    <a:lnTo>
                      <a:pt x="1329" y="478"/>
                    </a:lnTo>
                    <a:lnTo>
                      <a:pt x="1329" y="476"/>
                    </a:lnTo>
                    <a:lnTo>
                      <a:pt x="1327" y="476"/>
                    </a:lnTo>
                    <a:lnTo>
                      <a:pt x="1327" y="474"/>
                    </a:lnTo>
                    <a:lnTo>
                      <a:pt x="1326" y="476"/>
                    </a:lnTo>
                    <a:lnTo>
                      <a:pt x="1327" y="478"/>
                    </a:lnTo>
                    <a:lnTo>
                      <a:pt x="1327" y="479"/>
                    </a:lnTo>
                    <a:lnTo>
                      <a:pt x="1326" y="479"/>
                    </a:lnTo>
                    <a:lnTo>
                      <a:pt x="1326" y="481"/>
                    </a:lnTo>
                    <a:lnTo>
                      <a:pt x="1324" y="481"/>
                    </a:lnTo>
                    <a:lnTo>
                      <a:pt x="1326" y="481"/>
                    </a:lnTo>
                    <a:lnTo>
                      <a:pt x="1324" y="483"/>
                    </a:lnTo>
                    <a:lnTo>
                      <a:pt x="1324" y="485"/>
                    </a:lnTo>
                    <a:lnTo>
                      <a:pt x="1324" y="486"/>
                    </a:lnTo>
                    <a:lnTo>
                      <a:pt x="1322" y="486"/>
                    </a:lnTo>
                    <a:lnTo>
                      <a:pt x="1322" y="488"/>
                    </a:lnTo>
                    <a:lnTo>
                      <a:pt x="1324" y="488"/>
                    </a:lnTo>
                    <a:lnTo>
                      <a:pt x="1322" y="488"/>
                    </a:lnTo>
                    <a:lnTo>
                      <a:pt x="1322" y="490"/>
                    </a:lnTo>
                    <a:lnTo>
                      <a:pt x="1322" y="491"/>
                    </a:lnTo>
                    <a:lnTo>
                      <a:pt x="1322" y="493"/>
                    </a:lnTo>
                    <a:lnTo>
                      <a:pt x="1322" y="495"/>
                    </a:lnTo>
                    <a:lnTo>
                      <a:pt x="1321" y="495"/>
                    </a:lnTo>
                    <a:lnTo>
                      <a:pt x="1321" y="497"/>
                    </a:lnTo>
                    <a:lnTo>
                      <a:pt x="1321" y="498"/>
                    </a:lnTo>
                    <a:lnTo>
                      <a:pt x="1321" y="500"/>
                    </a:lnTo>
                    <a:lnTo>
                      <a:pt x="1321" y="502"/>
                    </a:lnTo>
                    <a:lnTo>
                      <a:pt x="1322" y="502"/>
                    </a:lnTo>
                    <a:lnTo>
                      <a:pt x="1322" y="503"/>
                    </a:lnTo>
                    <a:lnTo>
                      <a:pt x="1321" y="503"/>
                    </a:lnTo>
                    <a:lnTo>
                      <a:pt x="1319" y="503"/>
                    </a:lnTo>
                    <a:lnTo>
                      <a:pt x="1319" y="505"/>
                    </a:lnTo>
                    <a:lnTo>
                      <a:pt x="1319" y="507"/>
                    </a:lnTo>
                    <a:lnTo>
                      <a:pt x="1317" y="508"/>
                    </a:lnTo>
                    <a:lnTo>
                      <a:pt x="1317" y="507"/>
                    </a:lnTo>
                    <a:lnTo>
                      <a:pt x="1317" y="505"/>
                    </a:lnTo>
                    <a:lnTo>
                      <a:pt x="1315" y="505"/>
                    </a:lnTo>
                    <a:lnTo>
                      <a:pt x="1315" y="503"/>
                    </a:lnTo>
                    <a:lnTo>
                      <a:pt x="1315" y="505"/>
                    </a:lnTo>
                    <a:lnTo>
                      <a:pt x="1314" y="505"/>
                    </a:lnTo>
                    <a:lnTo>
                      <a:pt x="1314" y="507"/>
                    </a:lnTo>
                    <a:lnTo>
                      <a:pt x="1314" y="508"/>
                    </a:lnTo>
                    <a:lnTo>
                      <a:pt x="1314" y="510"/>
                    </a:lnTo>
                    <a:lnTo>
                      <a:pt x="1314" y="512"/>
                    </a:lnTo>
                    <a:lnTo>
                      <a:pt x="1312" y="514"/>
                    </a:lnTo>
                    <a:lnTo>
                      <a:pt x="1314" y="514"/>
                    </a:lnTo>
                    <a:lnTo>
                      <a:pt x="1314" y="515"/>
                    </a:lnTo>
                    <a:lnTo>
                      <a:pt x="1314" y="517"/>
                    </a:lnTo>
                    <a:lnTo>
                      <a:pt x="1312" y="517"/>
                    </a:lnTo>
                    <a:lnTo>
                      <a:pt x="1312" y="519"/>
                    </a:lnTo>
                    <a:lnTo>
                      <a:pt x="1312" y="520"/>
                    </a:lnTo>
                    <a:lnTo>
                      <a:pt x="1312" y="522"/>
                    </a:lnTo>
                    <a:lnTo>
                      <a:pt x="1312" y="524"/>
                    </a:lnTo>
                    <a:lnTo>
                      <a:pt x="1312" y="525"/>
                    </a:lnTo>
                    <a:lnTo>
                      <a:pt x="1314" y="525"/>
                    </a:lnTo>
                    <a:lnTo>
                      <a:pt x="1314" y="527"/>
                    </a:lnTo>
                    <a:lnTo>
                      <a:pt x="1315" y="527"/>
                    </a:lnTo>
                    <a:lnTo>
                      <a:pt x="1315" y="529"/>
                    </a:lnTo>
                    <a:lnTo>
                      <a:pt x="1315" y="531"/>
                    </a:lnTo>
                    <a:lnTo>
                      <a:pt x="1315" y="532"/>
                    </a:lnTo>
                    <a:lnTo>
                      <a:pt x="1315" y="534"/>
                    </a:lnTo>
                    <a:lnTo>
                      <a:pt x="1317" y="536"/>
                    </a:lnTo>
                    <a:lnTo>
                      <a:pt x="1319" y="536"/>
                    </a:lnTo>
                    <a:lnTo>
                      <a:pt x="1321" y="536"/>
                    </a:lnTo>
                    <a:lnTo>
                      <a:pt x="1322" y="536"/>
                    </a:lnTo>
                    <a:lnTo>
                      <a:pt x="1322" y="537"/>
                    </a:lnTo>
                    <a:lnTo>
                      <a:pt x="1324" y="537"/>
                    </a:lnTo>
                    <a:lnTo>
                      <a:pt x="1324" y="539"/>
                    </a:lnTo>
                    <a:lnTo>
                      <a:pt x="1322" y="541"/>
                    </a:lnTo>
                    <a:lnTo>
                      <a:pt x="1322" y="542"/>
                    </a:lnTo>
                    <a:lnTo>
                      <a:pt x="1321" y="542"/>
                    </a:lnTo>
                    <a:lnTo>
                      <a:pt x="1319" y="541"/>
                    </a:lnTo>
                    <a:lnTo>
                      <a:pt x="1319" y="542"/>
                    </a:lnTo>
                    <a:lnTo>
                      <a:pt x="1321" y="544"/>
                    </a:lnTo>
                    <a:lnTo>
                      <a:pt x="1319" y="544"/>
                    </a:lnTo>
                    <a:lnTo>
                      <a:pt x="1321" y="544"/>
                    </a:lnTo>
                    <a:lnTo>
                      <a:pt x="1321" y="546"/>
                    </a:lnTo>
                    <a:lnTo>
                      <a:pt x="1321" y="548"/>
                    </a:lnTo>
                    <a:lnTo>
                      <a:pt x="1321" y="549"/>
                    </a:lnTo>
                    <a:lnTo>
                      <a:pt x="1321" y="551"/>
                    </a:lnTo>
                    <a:lnTo>
                      <a:pt x="1322" y="553"/>
                    </a:lnTo>
                    <a:lnTo>
                      <a:pt x="1324" y="553"/>
                    </a:lnTo>
                    <a:lnTo>
                      <a:pt x="1324" y="554"/>
                    </a:lnTo>
                    <a:lnTo>
                      <a:pt x="1324" y="556"/>
                    </a:lnTo>
                    <a:lnTo>
                      <a:pt x="1324" y="558"/>
                    </a:lnTo>
                    <a:lnTo>
                      <a:pt x="1326" y="559"/>
                    </a:lnTo>
                    <a:lnTo>
                      <a:pt x="1327" y="559"/>
                    </a:lnTo>
                    <a:lnTo>
                      <a:pt x="1326" y="561"/>
                    </a:lnTo>
                    <a:lnTo>
                      <a:pt x="1327" y="561"/>
                    </a:lnTo>
                    <a:lnTo>
                      <a:pt x="1327" y="563"/>
                    </a:lnTo>
                    <a:lnTo>
                      <a:pt x="1326" y="565"/>
                    </a:lnTo>
                    <a:lnTo>
                      <a:pt x="1326" y="566"/>
                    </a:lnTo>
                    <a:lnTo>
                      <a:pt x="1326" y="568"/>
                    </a:lnTo>
                    <a:lnTo>
                      <a:pt x="1326" y="570"/>
                    </a:lnTo>
                    <a:lnTo>
                      <a:pt x="1327" y="570"/>
                    </a:lnTo>
                    <a:lnTo>
                      <a:pt x="1327" y="571"/>
                    </a:lnTo>
                    <a:lnTo>
                      <a:pt x="1327" y="573"/>
                    </a:lnTo>
                    <a:lnTo>
                      <a:pt x="1329" y="573"/>
                    </a:lnTo>
                    <a:lnTo>
                      <a:pt x="1329" y="575"/>
                    </a:lnTo>
                    <a:lnTo>
                      <a:pt x="1331" y="576"/>
                    </a:lnTo>
                    <a:lnTo>
                      <a:pt x="1331" y="578"/>
                    </a:lnTo>
                    <a:lnTo>
                      <a:pt x="1331" y="580"/>
                    </a:lnTo>
                    <a:lnTo>
                      <a:pt x="1332" y="580"/>
                    </a:lnTo>
                    <a:lnTo>
                      <a:pt x="1331" y="580"/>
                    </a:lnTo>
                    <a:lnTo>
                      <a:pt x="1331" y="582"/>
                    </a:lnTo>
                    <a:lnTo>
                      <a:pt x="1329" y="582"/>
                    </a:lnTo>
                    <a:lnTo>
                      <a:pt x="1327" y="583"/>
                    </a:lnTo>
                    <a:lnTo>
                      <a:pt x="1329" y="583"/>
                    </a:lnTo>
                    <a:lnTo>
                      <a:pt x="1329" y="585"/>
                    </a:lnTo>
                    <a:lnTo>
                      <a:pt x="1329" y="587"/>
                    </a:lnTo>
                    <a:lnTo>
                      <a:pt x="1329" y="588"/>
                    </a:lnTo>
                    <a:lnTo>
                      <a:pt x="1329" y="590"/>
                    </a:lnTo>
                    <a:lnTo>
                      <a:pt x="1331" y="590"/>
                    </a:lnTo>
                    <a:lnTo>
                      <a:pt x="1331" y="592"/>
                    </a:lnTo>
                    <a:lnTo>
                      <a:pt x="1331" y="593"/>
                    </a:lnTo>
                    <a:lnTo>
                      <a:pt x="1332" y="593"/>
                    </a:lnTo>
                    <a:lnTo>
                      <a:pt x="1332" y="592"/>
                    </a:lnTo>
                    <a:lnTo>
                      <a:pt x="1334" y="592"/>
                    </a:lnTo>
                    <a:lnTo>
                      <a:pt x="1334" y="590"/>
                    </a:lnTo>
                    <a:lnTo>
                      <a:pt x="1334" y="592"/>
                    </a:lnTo>
                    <a:lnTo>
                      <a:pt x="1336" y="592"/>
                    </a:lnTo>
                    <a:lnTo>
                      <a:pt x="1338" y="592"/>
                    </a:lnTo>
                    <a:lnTo>
                      <a:pt x="1338" y="593"/>
                    </a:lnTo>
                    <a:lnTo>
                      <a:pt x="1339" y="593"/>
                    </a:lnTo>
                    <a:lnTo>
                      <a:pt x="1339" y="595"/>
                    </a:lnTo>
                    <a:lnTo>
                      <a:pt x="1339" y="597"/>
                    </a:lnTo>
                    <a:lnTo>
                      <a:pt x="1338" y="597"/>
                    </a:lnTo>
                    <a:lnTo>
                      <a:pt x="1338" y="599"/>
                    </a:lnTo>
                    <a:lnTo>
                      <a:pt x="1338" y="600"/>
                    </a:lnTo>
                    <a:lnTo>
                      <a:pt x="1338" y="602"/>
                    </a:lnTo>
                    <a:lnTo>
                      <a:pt x="1336" y="602"/>
                    </a:lnTo>
                    <a:lnTo>
                      <a:pt x="1336" y="604"/>
                    </a:lnTo>
                    <a:lnTo>
                      <a:pt x="1336" y="605"/>
                    </a:lnTo>
                    <a:lnTo>
                      <a:pt x="1336" y="607"/>
                    </a:lnTo>
                    <a:lnTo>
                      <a:pt x="1336" y="609"/>
                    </a:lnTo>
                    <a:lnTo>
                      <a:pt x="1336" y="610"/>
                    </a:lnTo>
                    <a:lnTo>
                      <a:pt x="1334" y="610"/>
                    </a:lnTo>
                    <a:lnTo>
                      <a:pt x="1334" y="612"/>
                    </a:lnTo>
                    <a:lnTo>
                      <a:pt x="1334" y="614"/>
                    </a:lnTo>
                    <a:lnTo>
                      <a:pt x="1334" y="616"/>
                    </a:lnTo>
                    <a:lnTo>
                      <a:pt x="1336" y="616"/>
                    </a:lnTo>
                    <a:lnTo>
                      <a:pt x="1336" y="617"/>
                    </a:lnTo>
                    <a:lnTo>
                      <a:pt x="1334" y="617"/>
                    </a:lnTo>
                    <a:lnTo>
                      <a:pt x="1334" y="619"/>
                    </a:lnTo>
                    <a:lnTo>
                      <a:pt x="1336" y="621"/>
                    </a:lnTo>
                    <a:lnTo>
                      <a:pt x="1336" y="619"/>
                    </a:lnTo>
                    <a:lnTo>
                      <a:pt x="1336" y="621"/>
                    </a:lnTo>
                    <a:lnTo>
                      <a:pt x="1338" y="622"/>
                    </a:lnTo>
                    <a:lnTo>
                      <a:pt x="1336" y="622"/>
                    </a:lnTo>
                    <a:lnTo>
                      <a:pt x="1336" y="624"/>
                    </a:lnTo>
                    <a:lnTo>
                      <a:pt x="1338" y="624"/>
                    </a:lnTo>
                    <a:lnTo>
                      <a:pt x="1336" y="626"/>
                    </a:lnTo>
                    <a:lnTo>
                      <a:pt x="1336" y="627"/>
                    </a:lnTo>
                    <a:lnTo>
                      <a:pt x="1338" y="627"/>
                    </a:lnTo>
                    <a:lnTo>
                      <a:pt x="1338" y="629"/>
                    </a:lnTo>
                    <a:lnTo>
                      <a:pt x="1338" y="631"/>
                    </a:lnTo>
                    <a:lnTo>
                      <a:pt x="1336" y="631"/>
                    </a:lnTo>
                    <a:lnTo>
                      <a:pt x="1336" y="633"/>
                    </a:lnTo>
                    <a:lnTo>
                      <a:pt x="1334" y="633"/>
                    </a:lnTo>
                    <a:lnTo>
                      <a:pt x="1332" y="633"/>
                    </a:lnTo>
                    <a:lnTo>
                      <a:pt x="1332" y="631"/>
                    </a:lnTo>
                    <a:lnTo>
                      <a:pt x="1332" y="633"/>
                    </a:lnTo>
                    <a:lnTo>
                      <a:pt x="1331" y="633"/>
                    </a:lnTo>
                    <a:lnTo>
                      <a:pt x="1331" y="634"/>
                    </a:lnTo>
                    <a:lnTo>
                      <a:pt x="1331" y="636"/>
                    </a:lnTo>
                    <a:lnTo>
                      <a:pt x="1331" y="638"/>
                    </a:lnTo>
                    <a:lnTo>
                      <a:pt x="1329" y="639"/>
                    </a:lnTo>
                    <a:lnTo>
                      <a:pt x="1329" y="641"/>
                    </a:lnTo>
                    <a:lnTo>
                      <a:pt x="1327" y="641"/>
                    </a:lnTo>
                    <a:lnTo>
                      <a:pt x="1326" y="643"/>
                    </a:lnTo>
                    <a:lnTo>
                      <a:pt x="1326" y="644"/>
                    </a:lnTo>
                    <a:lnTo>
                      <a:pt x="1324" y="646"/>
                    </a:lnTo>
                    <a:lnTo>
                      <a:pt x="1324" y="648"/>
                    </a:lnTo>
                    <a:lnTo>
                      <a:pt x="1324" y="650"/>
                    </a:lnTo>
                    <a:lnTo>
                      <a:pt x="1322" y="650"/>
                    </a:lnTo>
                    <a:lnTo>
                      <a:pt x="1322" y="651"/>
                    </a:lnTo>
                    <a:lnTo>
                      <a:pt x="1321" y="651"/>
                    </a:lnTo>
                    <a:lnTo>
                      <a:pt x="1321" y="653"/>
                    </a:lnTo>
                    <a:lnTo>
                      <a:pt x="1322" y="653"/>
                    </a:lnTo>
                    <a:lnTo>
                      <a:pt x="1322" y="655"/>
                    </a:lnTo>
                    <a:lnTo>
                      <a:pt x="1322" y="656"/>
                    </a:lnTo>
                    <a:lnTo>
                      <a:pt x="1321" y="658"/>
                    </a:lnTo>
                    <a:lnTo>
                      <a:pt x="1321" y="660"/>
                    </a:lnTo>
                    <a:lnTo>
                      <a:pt x="1321" y="662"/>
                    </a:lnTo>
                    <a:lnTo>
                      <a:pt x="1319" y="662"/>
                    </a:lnTo>
                    <a:lnTo>
                      <a:pt x="1319" y="663"/>
                    </a:lnTo>
                    <a:lnTo>
                      <a:pt x="1319" y="665"/>
                    </a:lnTo>
                    <a:lnTo>
                      <a:pt x="1319" y="667"/>
                    </a:lnTo>
                    <a:lnTo>
                      <a:pt x="1319" y="668"/>
                    </a:lnTo>
                    <a:lnTo>
                      <a:pt x="1319" y="670"/>
                    </a:lnTo>
                    <a:lnTo>
                      <a:pt x="1317" y="670"/>
                    </a:lnTo>
                    <a:lnTo>
                      <a:pt x="1315" y="670"/>
                    </a:lnTo>
                    <a:lnTo>
                      <a:pt x="1314" y="670"/>
                    </a:lnTo>
                    <a:lnTo>
                      <a:pt x="1312" y="670"/>
                    </a:lnTo>
                    <a:lnTo>
                      <a:pt x="1312" y="672"/>
                    </a:lnTo>
                    <a:lnTo>
                      <a:pt x="1312" y="673"/>
                    </a:lnTo>
                    <a:lnTo>
                      <a:pt x="1312" y="675"/>
                    </a:lnTo>
                    <a:lnTo>
                      <a:pt x="1314" y="675"/>
                    </a:lnTo>
                    <a:lnTo>
                      <a:pt x="1315" y="675"/>
                    </a:lnTo>
                    <a:lnTo>
                      <a:pt x="1317" y="675"/>
                    </a:lnTo>
                    <a:lnTo>
                      <a:pt x="1317" y="677"/>
                    </a:lnTo>
                    <a:lnTo>
                      <a:pt x="1315" y="679"/>
                    </a:lnTo>
                    <a:lnTo>
                      <a:pt x="1317" y="679"/>
                    </a:lnTo>
                    <a:lnTo>
                      <a:pt x="1315" y="680"/>
                    </a:lnTo>
                    <a:lnTo>
                      <a:pt x="1317" y="680"/>
                    </a:lnTo>
                    <a:lnTo>
                      <a:pt x="1315" y="682"/>
                    </a:lnTo>
                    <a:lnTo>
                      <a:pt x="1317" y="682"/>
                    </a:lnTo>
                    <a:lnTo>
                      <a:pt x="1319" y="684"/>
                    </a:lnTo>
                    <a:lnTo>
                      <a:pt x="1317" y="684"/>
                    </a:lnTo>
                    <a:lnTo>
                      <a:pt x="1317" y="685"/>
                    </a:lnTo>
                    <a:lnTo>
                      <a:pt x="1319" y="687"/>
                    </a:lnTo>
                    <a:lnTo>
                      <a:pt x="1317" y="689"/>
                    </a:lnTo>
                    <a:lnTo>
                      <a:pt x="1317" y="690"/>
                    </a:lnTo>
                    <a:lnTo>
                      <a:pt x="1319" y="690"/>
                    </a:lnTo>
                    <a:lnTo>
                      <a:pt x="1319" y="692"/>
                    </a:lnTo>
                    <a:lnTo>
                      <a:pt x="1319" y="694"/>
                    </a:lnTo>
                    <a:lnTo>
                      <a:pt x="1319" y="696"/>
                    </a:lnTo>
                    <a:lnTo>
                      <a:pt x="1321" y="696"/>
                    </a:lnTo>
                    <a:lnTo>
                      <a:pt x="1321" y="697"/>
                    </a:lnTo>
                    <a:lnTo>
                      <a:pt x="1319" y="697"/>
                    </a:lnTo>
                    <a:lnTo>
                      <a:pt x="1317" y="697"/>
                    </a:lnTo>
                    <a:lnTo>
                      <a:pt x="1317" y="699"/>
                    </a:lnTo>
                    <a:lnTo>
                      <a:pt x="1317" y="701"/>
                    </a:lnTo>
                    <a:lnTo>
                      <a:pt x="1319" y="701"/>
                    </a:lnTo>
                    <a:lnTo>
                      <a:pt x="1317" y="702"/>
                    </a:lnTo>
                    <a:lnTo>
                      <a:pt x="1319" y="702"/>
                    </a:lnTo>
                    <a:lnTo>
                      <a:pt x="1319" y="704"/>
                    </a:lnTo>
                    <a:lnTo>
                      <a:pt x="1319" y="706"/>
                    </a:lnTo>
                    <a:lnTo>
                      <a:pt x="1317" y="706"/>
                    </a:lnTo>
                    <a:lnTo>
                      <a:pt x="1317" y="707"/>
                    </a:lnTo>
                    <a:lnTo>
                      <a:pt x="1317" y="709"/>
                    </a:lnTo>
                    <a:lnTo>
                      <a:pt x="1317" y="711"/>
                    </a:lnTo>
                    <a:lnTo>
                      <a:pt x="1315" y="711"/>
                    </a:lnTo>
                    <a:lnTo>
                      <a:pt x="1314" y="711"/>
                    </a:lnTo>
                    <a:lnTo>
                      <a:pt x="1314" y="709"/>
                    </a:lnTo>
                    <a:lnTo>
                      <a:pt x="1312" y="709"/>
                    </a:lnTo>
                    <a:lnTo>
                      <a:pt x="1312" y="711"/>
                    </a:lnTo>
                    <a:lnTo>
                      <a:pt x="1310" y="711"/>
                    </a:lnTo>
                    <a:lnTo>
                      <a:pt x="1310" y="713"/>
                    </a:lnTo>
                    <a:lnTo>
                      <a:pt x="1310" y="714"/>
                    </a:lnTo>
                    <a:lnTo>
                      <a:pt x="1309" y="714"/>
                    </a:lnTo>
                    <a:lnTo>
                      <a:pt x="1307" y="714"/>
                    </a:lnTo>
                    <a:lnTo>
                      <a:pt x="1309" y="716"/>
                    </a:lnTo>
                    <a:lnTo>
                      <a:pt x="1307" y="718"/>
                    </a:lnTo>
                    <a:lnTo>
                      <a:pt x="1307" y="719"/>
                    </a:lnTo>
                    <a:lnTo>
                      <a:pt x="1309" y="719"/>
                    </a:lnTo>
                    <a:lnTo>
                      <a:pt x="1309" y="721"/>
                    </a:lnTo>
                    <a:lnTo>
                      <a:pt x="1307" y="721"/>
                    </a:lnTo>
                    <a:lnTo>
                      <a:pt x="1305" y="721"/>
                    </a:lnTo>
                    <a:lnTo>
                      <a:pt x="1304" y="721"/>
                    </a:lnTo>
                    <a:lnTo>
                      <a:pt x="1304" y="719"/>
                    </a:lnTo>
                    <a:lnTo>
                      <a:pt x="1304" y="721"/>
                    </a:lnTo>
                    <a:lnTo>
                      <a:pt x="1302" y="721"/>
                    </a:lnTo>
                    <a:lnTo>
                      <a:pt x="1302" y="719"/>
                    </a:lnTo>
                    <a:lnTo>
                      <a:pt x="1302" y="721"/>
                    </a:lnTo>
                    <a:lnTo>
                      <a:pt x="1302" y="723"/>
                    </a:lnTo>
                    <a:lnTo>
                      <a:pt x="1300" y="723"/>
                    </a:lnTo>
                    <a:lnTo>
                      <a:pt x="1300" y="724"/>
                    </a:lnTo>
                    <a:lnTo>
                      <a:pt x="1298" y="724"/>
                    </a:lnTo>
                    <a:lnTo>
                      <a:pt x="1297" y="724"/>
                    </a:lnTo>
                    <a:lnTo>
                      <a:pt x="1297" y="723"/>
                    </a:lnTo>
                    <a:lnTo>
                      <a:pt x="1297" y="724"/>
                    </a:lnTo>
                    <a:lnTo>
                      <a:pt x="1295" y="726"/>
                    </a:lnTo>
                    <a:lnTo>
                      <a:pt x="1297" y="726"/>
                    </a:lnTo>
                    <a:lnTo>
                      <a:pt x="1295" y="728"/>
                    </a:lnTo>
                    <a:lnTo>
                      <a:pt x="1297" y="728"/>
                    </a:lnTo>
                    <a:lnTo>
                      <a:pt x="1295" y="730"/>
                    </a:lnTo>
                    <a:lnTo>
                      <a:pt x="1297" y="730"/>
                    </a:lnTo>
                    <a:lnTo>
                      <a:pt x="1297" y="731"/>
                    </a:lnTo>
                    <a:lnTo>
                      <a:pt x="1297" y="733"/>
                    </a:lnTo>
                    <a:lnTo>
                      <a:pt x="1295" y="733"/>
                    </a:lnTo>
                    <a:lnTo>
                      <a:pt x="1295" y="731"/>
                    </a:lnTo>
                    <a:lnTo>
                      <a:pt x="1293" y="731"/>
                    </a:lnTo>
                    <a:lnTo>
                      <a:pt x="1293" y="733"/>
                    </a:lnTo>
                    <a:lnTo>
                      <a:pt x="1293" y="735"/>
                    </a:lnTo>
                    <a:lnTo>
                      <a:pt x="1293" y="736"/>
                    </a:lnTo>
                    <a:lnTo>
                      <a:pt x="1293" y="738"/>
                    </a:lnTo>
                    <a:lnTo>
                      <a:pt x="1292" y="738"/>
                    </a:lnTo>
                    <a:lnTo>
                      <a:pt x="1292" y="740"/>
                    </a:lnTo>
                    <a:lnTo>
                      <a:pt x="1293" y="740"/>
                    </a:lnTo>
                    <a:lnTo>
                      <a:pt x="1293" y="741"/>
                    </a:lnTo>
                    <a:lnTo>
                      <a:pt x="1292" y="741"/>
                    </a:lnTo>
                    <a:lnTo>
                      <a:pt x="1293" y="743"/>
                    </a:lnTo>
                    <a:lnTo>
                      <a:pt x="1295" y="743"/>
                    </a:lnTo>
                    <a:lnTo>
                      <a:pt x="1293" y="743"/>
                    </a:lnTo>
                    <a:lnTo>
                      <a:pt x="1293" y="745"/>
                    </a:lnTo>
                    <a:lnTo>
                      <a:pt x="1292" y="745"/>
                    </a:lnTo>
                    <a:lnTo>
                      <a:pt x="1290" y="745"/>
                    </a:lnTo>
                    <a:lnTo>
                      <a:pt x="1292" y="745"/>
                    </a:lnTo>
                    <a:lnTo>
                      <a:pt x="1292" y="747"/>
                    </a:lnTo>
                    <a:lnTo>
                      <a:pt x="1293" y="747"/>
                    </a:lnTo>
                    <a:lnTo>
                      <a:pt x="1293" y="748"/>
                    </a:lnTo>
                    <a:lnTo>
                      <a:pt x="1293" y="750"/>
                    </a:lnTo>
                    <a:lnTo>
                      <a:pt x="1295" y="750"/>
                    </a:lnTo>
                    <a:lnTo>
                      <a:pt x="1295" y="752"/>
                    </a:lnTo>
                    <a:lnTo>
                      <a:pt x="1293" y="752"/>
                    </a:lnTo>
                    <a:lnTo>
                      <a:pt x="1293" y="753"/>
                    </a:lnTo>
                    <a:lnTo>
                      <a:pt x="1293" y="755"/>
                    </a:lnTo>
                    <a:lnTo>
                      <a:pt x="1292" y="755"/>
                    </a:lnTo>
                    <a:lnTo>
                      <a:pt x="1292" y="757"/>
                    </a:lnTo>
                    <a:lnTo>
                      <a:pt x="1290" y="757"/>
                    </a:lnTo>
                    <a:lnTo>
                      <a:pt x="1290" y="758"/>
                    </a:lnTo>
                    <a:lnTo>
                      <a:pt x="1290" y="760"/>
                    </a:lnTo>
                    <a:lnTo>
                      <a:pt x="1292" y="760"/>
                    </a:lnTo>
                    <a:lnTo>
                      <a:pt x="1290" y="762"/>
                    </a:lnTo>
                    <a:lnTo>
                      <a:pt x="1292" y="762"/>
                    </a:lnTo>
                    <a:lnTo>
                      <a:pt x="1293" y="764"/>
                    </a:lnTo>
                    <a:lnTo>
                      <a:pt x="1293" y="765"/>
                    </a:lnTo>
                    <a:lnTo>
                      <a:pt x="1293" y="767"/>
                    </a:lnTo>
                    <a:lnTo>
                      <a:pt x="1293" y="769"/>
                    </a:lnTo>
                    <a:lnTo>
                      <a:pt x="1292" y="769"/>
                    </a:lnTo>
                    <a:lnTo>
                      <a:pt x="1293" y="769"/>
                    </a:lnTo>
                    <a:lnTo>
                      <a:pt x="1293" y="770"/>
                    </a:lnTo>
                    <a:lnTo>
                      <a:pt x="1292" y="772"/>
                    </a:lnTo>
                    <a:lnTo>
                      <a:pt x="1290" y="774"/>
                    </a:lnTo>
                    <a:lnTo>
                      <a:pt x="1290" y="775"/>
                    </a:lnTo>
                    <a:lnTo>
                      <a:pt x="1292" y="775"/>
                    </a:lnTo>
                    <a:lnTo>
                      <a:pt x="1292" y="777"/>
                    </a:lnTo>
                    <a:lnTo>
                      <a:pt x="1292" y="779"/>
                    </a:lnTo>
                    <a:lnTo>
                      <a:pt x="1292" y="781"/>
                    </a:lnTo>
                    <a:lnTo>
                      <a:pt x="1293" y="781"/>
                    </a:lnTo>
                    <a:lnTo>
                      <a:pt x="1292" y="781"/>
                    </a:lnTo>
                    <a:lnTo>
                      <a:pt x="1292" y="782"/>
                    </a:lnTo>
                    <a:lnTo>
                      <a:pt x="1293" y="782"/>
                    </a:lnTo>
                    <a:lnTo>
                      <a:pt x="1293" y="784"/>
                    </a:lnTo>
                    <a:lnTo>
                      <a:pt x="1293" y="786"/>
                    </a:lnTo>
                    <a:lnTo>
                      <a:pt x="1295" y="787"/>
                    </a:lnTo>
                    <a:lnTo>
                      <a:pt x="1295" y="789"/>
                    </a:lnTo>
                    <a:lnTo>
                      <a:pt x="1295" y="791"/>
                    </a:lnTo>
                    <a:lnTo>
                      <a:pt x="1297" y="791"/>
                    </a:lnTo>
                    <a:lnTo>
                      <a:pt x="1297" y="792"/>
                    </a:lnTo>
                    <a:lnTo>
                      <a:pt x="1298" y="792"/>
                    </a:lnTo>
                    <a:lnTo>
                      <a:pt x="1297" y="792"/>
                    </a:lnTo>
                    <a:lnTo>
                      <a:pt x="1295" y="792"/>
                    </a:lnTo>
                    <a:lnTo>
                      <a:pt x="1297" y="794"/>
                    </a:lnTo>
                    <a:lnTo>
                      <a:pt x="1298" y="796"/>
                    </a:lnTo>
                    <a:lnTo>
                      <a:pt x="1298" y="798"/>
                    </a:lnTo>
                    <a:lnTo>
                      <a:pt x="1297" y="798"/>
                    </a:lnTo>
                    <a:lnTo>
                      <a:pt x="1297" y="799"/>
                    </a:lnTo>
                    <a:lnTo>
                      <a:pt x="1297" y="801"/>
                    </a:lnTo>
                    <a:lnTo>
                      <a:pt x="1297" y="803"/>
                    </a:lnTo>
                    <a:lnTo>
                      <a:pt x="1298" y="803"/>
                    </a:lnTo>
                    <a:lnTo>
                      <a:pt x="1297" y="803"/>
                    </a:lnTo>
                    <a:lnTo>
                      <a:pt x="1298" y="804"/>
                    </a:lnTo>
                    <a:lnTo>
                      <a:pt x="1298" y="806"/>
                    </a:lnTo>
                    <a:lnTo>
                      <a:pt x="1298" y="808"/>
                    </a:lnTo>
                    <a:lnTo>
                      <a:pt x="1300" y="808"/>
                    </a:lnTo>
                    <a:lnTo>
                      <a:pt x="1300" y="809"/>
                    </a:lnTo>
                    <a:lnTo>
                      <a:pt x="1302" y="809"/>
                    </a:lnTo>
                    <a:lnTo>
                      <a:pt x="1302" y="811"/>
                    </a:lnTo>
                    <a:lnTo>
                      <a:pt x="1304" y="811"/>
                    </a:lnTo>
                    <a:lnTo>
                      <a:pt x="1304" y="813"/>
                    </a:lnTo>
                    <a:lnTo>
                      <a:pt x="1304" y="815"/>
                    </a:lnTo>
                    <a:lnTo>
                      <a:pt x="1302" y="815"/>
                    </a:lnTo>
                    <a:lnTo>
                      <a:pt x="1302" y="816"/>
                    </a:lnTo>
                    <a:lnTo>
                      <a:pt x="1300" y="816"/>
                    </a:lnTo>
                    <a:lnTo>
                      <a:pt x="1300" y="818"/>
                    </a:lnTo>
                    <a:lnTo>
                      <a:pt x="1302" y="818"/>
                    </a:lnTo>
                    <a:lnTo>
                      <a:pt x="1302" y="820"/>
                    </a:lnTo>
                    <a:lnTo>
                      <a:pt x="1300" y="820"/>
                    </a:lnTo>
                    <a:lnTo>
                      <a:pt x="1300" y="821"/>
                    </a:lnTo>
                    <a:lnTo>
                      <a:pt x="1298" y="821"/>
                    </a:lnTo>
                    <a:lnTo>
                      <a:pt x="1297" y="821"/>
                    </a:lnTo>
                    <a:lnTo>
                      <a:pt x="1295" y="821"/>
                    </a:lnTo>
                    <a:lnTo>
                      <a:pt x="1293" y="821"/>
                    </a:lnTo>
                    <a:lnTo>
                      <a:pt x="1293" y="823"/>
                    </a:lnTo>
                    <a:lnTo>
                      <a:pt x="1292" y="823"/>
                    </a:lnTo>
                    <a:lnTo>
                      <a:pt x="1290" y="823"/>
                    </a:lnTo>
                    <a:lnTo>
                      <a:pt x="1288" y="823"/>
                    </a:lnTo>
                    <a:lnTo>
                      <a:pt x="1288" y="825"/>
                    </a:lnTo>
                    <a:lnTo>
                      <a:pt x="1287" y="827"/>
                    </a:lnTo>
                    <a:lnTo>
                      <a:pt x="1285" y="827"/>
                    </a:lnTo>
                    <a:lnTo>
                      <a:pt x="1285" y="828"/>
                    </a:lnTo>
                    <a:lnTo>
                      <a:pt x="1283" y="828"/>
                    </a:lnTo>
                    <a:lnTo>
                      <a:pt x="1283" y="830"/>
                    </a:lnTo>
                    <a:lnTo>
                      <a:pt x="1283" y="832"/>
                    </a:lnTo>
                    <a:lnTo>
                      <a:pt x="1283" y="833"/>
                    </a:lnTo>
                    <a:lnTo>
                      <a:pt x="1285" y="833"/>
                    </a:lnTo>
                    <a:lnTo>
                      <a:pt x="1283" y="833"/>
                    </a:lnTo>
                    <a:lnTo>
                      <a:pt x="1283" y="835"/>
                    </a:lnTo>
                    <a:lnTo>
                      <a:pt x="1283" y="837"/>
                    </a:lnTo>
                    <a:lnTo>
                      <a:pt x="1283" y="838"/>
                    </a:lnTo>
                    <a:lnTo>
                      <a:pt x="1285" y="840"/>
                    </a:lnTo>
                    <a:lnTo>
                      <a:pt x="1285" y="842"/>
                    </a:lnTo>
                    <a:lnTo>
                      <a:pt x="1285" y="844"/>
                    </a:lnTo>
                    <a:lnTo>
                      <a:pt x="1285" y="845"/>
                    </a:lnTo>
                    <a:lnTo>
                      <a:pt x="1285" y="847"/>
                    </a:lnTo>
                    <a:lnTo>
                      <a:pt x="1283" y="847"/>
                    </a:lnTo>
                    <a:lnTo>
                      <a:pt x="1281" y="847"/>
                    </a:lnTo>
                    <a:lnTo>
                      <a:pt x="1281" y="849"/>
                    </a:lnTo>
                    <a:lnTo>
                      <a:pt x="1283" y="849"/>
                    </a:lnTo>
                    <a:lnTo>
                      <a:pt x="1281" y="850"/>
                    </a:lnTo>
                    <a:lnTo>
                      <a:pt x="1283" y="850"/>
                    </a:lnTo>
                    <a:lnTo>
                      <a:pt x="1281" y="850"/>
                    </a:lnTo>
                    <a:lnTo>
                      <a:pt x="1281" y="852"/>
                    </a:lnTo>
                    <a:lnTo>
                      <a:pt x="1280" y="854"/>
                    </a:lnTo>
                    <a:lnTo>
                      <a:pt x="1280" y="855"/>
                    </a:lnTo>
                    <a:lnTo>
                      <a:pt x="1281" y="855"/>
                    </a:lnTo>
                    <a:lnTo>
                      <a:pt x="1281" y="857"/>
                    </a:lnTo>
                    <a:lnTo>
                      <a:pt x="1281" y="859"/>
                    </a:lnTo>
                    <a:lnTo>
                      <a:pt x="1280" y="859"/>
                    </a:lnTo>
                    <a:lnTo>
                      <a:pt x="1278" y="859"/>
                    </a:lnTo>
                    <a:lnTo>
                      <a:pt x="1276" y="859"/>
                    </a:lnTo>
                    <a:lnTo>
                      <a:pt x="1276" y="857"/>
                    </a:lnTo>
                    <a:lnTo>
                      <a:pt x="1275" y="857"/>
                    </a:lnTo>
                    <a:lnTo>
                      <a:pt x="1275" y="855"/>
                    </a:lnTo>
                    <a:lnTo>
                      <a:pt x="1275" y="857"/>
                    </a:lnTo>
                    <a:lnTo>
                      <a:pt x="1275" y="859"/>
                    </a:lnTo>
                    <a:lnTo>
                      <a:pt x="1273" y="859"/>
                    </a:lnTo>
                    <a:lnTo>
                      <a:pt x="1275" y="861"/>
                    </a:lnTo>
                    <a:lnTo>
                      <a:pt x="1275" y="862"/>
                    </a:lnTo>
                    <a:lnTo>
                      <a:pt x="1273" y="862"/>
                    </a:lnTo>
                    <a:lnTo>
                      <a:pt x="1275" y="862"/>
                    </a:lnTo>
                    <a:lnTo>
                      <a:pt x="1273" y="862"/>
                    </a:lnTo>
                    <a:lnTo>
                      <a:pt x="1273" y="864"/>
                    </a:lnTo>
                    <a:lnTo>
                      <a:pt x="1275" y="864"/>
                    </a:lnTo>
                    <a:lnTo>
                      <a:pt x="1275" y="866"/>
                    </a:lnTo>
                    <a:lnTo>
                      <a:pt x="1275" y="867"/>
                    </a:lnTo>
                    <a:lnTo>
                      <a:pt x="1275" y="869"/>
                    </a:lnTo>
                    <a:lnTo>
                      <a:pt x="1276" y="869"/>
                    </a:lnTo>
                    <a:lnTo>
                      <a:pt x="1278" y="871"/>
                    </a:lnTo>
                    <a:lnTo>
                      <a:pt x="1278" y="872"/>
                    </a:lnTo>
                    <a:lnTo>
                      <a:pt x="1276" y="872"/>
                    </a:lnTo>
                    <a:lnTo>
                      <a:pt x="1276" y="874"/>
                    </a:lnTo>
                    <a:lnTo>
                      <a:pt x="1275" y="874"/>
                    </a:lnTo>
                    <a:lnTo>
                      <a:pt x="1275" y="876"/>
                    </a:lnTo>
                    <a:lnTo>
                      <a:pt x="1275" y="878"/>
                    </a:lnTo>
                    <a:lnTo>
                      <a:pt x="1275" y="879"/>
                    </a:lnTo>
                    <a:lnTo>
                      <a:pt x="1275" y="881"/>
                    </a:lnTo>
                    <a:lnTo>
                      <a:pt x="1273" y="879"/>
                    </a:lnTo>
                    <a:lnTo>
                      <a:pt x="1271" y="879"/>
                    </a:lnTo>
                    <a:lnTo>
                      <a:pt x="1270" y="879"/>
                    </a:lnTo>
                    <a:lnTo>
                      <a:pt x="1271" y="881"/>
                    </a:lnTo>
                    <a:lnTo>
                      <a:pt x="1270" y="881"/>
                    </a:lnTo>
                    <a:lnTo>
                      <a:pt x="1270" y="883"/>
                    </a:lnTo>
                    <a:lnTo>
                      <a:pt x="1271" y="883"/>
                    </a:lnTo>
                    <a:lnTo>
                      <a:pt x="1270" y="884"/>
                    </a:lnTo>
                    <a:lnTo>
                      <a:pt x="1270" y="886"/>
                    </a:lnTo>
                    <a:lnTo>
                      <a:pt x="1271" y="886"/>
                    </a:lnTo>
                    <a:lnTo>
                      <a:pt x="1270" y="886"/>
                    </a:lnTo>
                    <a:lnTo>
                      <a:pt x="1271" y="888"/>
                    </a:lnTo>
                    <a:lnTo>
                      <a:pt x="1273" y="888"/>
                    </a:lnTo>
                    <a:lnTo>
                      <a:pt x="1275" y="888"/>
                    </a:lnTo>
                    <a:lnTo>
                      <a:pt x="1275" y="889"/>
                    </a:lnTo>
                    <a:lnTo>
                      <a:pt x="1275" y="891"/>
                    </a:lnTo>
                    <a:lnTo>
                      <a:pt x="1275" y="893"/>
                    </a:lnTo>
                    <a:lnTo>
                      <a:pt x="1273" y="895"/>
                    </a:lnTo>
                    <a:lnTo>
                      <a:pt x="1271" y="893"/>
                    </a:lnTo>
                    <a:lnTo>
                      <a:pt x="1271" y="895"/>
                    </a:lnTo>
                    <a:lnTo>
                      <a:pt x="1271" y="893"/>
                    </a:lnTo>
                    <a:lnTo>
                      <a:pt x="1270" y="895"/>
                    </a:lnTo>
                    <a:lnTo>
                      <a:pt x="1270" y="896"/>
                    </a:lnTo>
                    <a:lnTo>
                      <a:pt x="1268" y="898"/>
                    </a:lnTo>
                    <a:lnTo>
                      <a:pt x="1270" y="898"/>
                    </a:lnTo>
                    <a:lnTo>
                      <a:pt x="1268" y="900"/>
                    </a:lnTo>
                    <a:lnTo>
                      <a:pt x="1268" y="901"/>
                    </a:lnTo>
                    <a:lnTo>
                      <a:pt x="1270" y="901"/>
                    </a:lnTo>
                    <a:lnTo>
                      <a:pt x="1270" y="903"/>
                    </a:lnTo>
                    <a:lnTo>
                      <a:pt x="1268" y="903"/>
                    </a:lnTo>
                    <a:lnTo>
                      <a:pt x="1268" y="905"/>
                    </a:lnTo>
                    <a:lnTo>
                      <a:pt x="1266" y="906"/>
                    </a:lnTo>
                    <a:lnTo>
                      <a:pt x="1264" y="906"/>
                    </a:lnTo>
                    <a:lnTo>
                      <a:pt x="1264" y="908"/>
                    </a:lnTo>
                    <a:lnTo>
                      <a:pt x="1266" y="908"/>
                    </a:lnTo>
                    <a:lnTo>
                      <a:pt x="1266" y="910"/>
                    </a:lnTo>
                    <a:lnTo>
                      <a:pt x="1266" y="912"/>
                    </a:lnTo>
                    <a:lnTo>
                      <a:pt x="1266" y="913"/>
                    </a:lnTo>
                    <a:lnTo>
                      <a:pt x="1268" y="913"/>
                    </a:lnTo>
                    <a:lnTo>
                      <a:pt x="1268" y="915"/>
                    </a:lnTo>
                    <a:lnTo>
                      <a:pt x="1268" y="913"/>
                    </a:lnTo>
                    <a:lnTo>
                      <a:pt x="1268" y="915"/>
                    </a:lnTo>
                    <a:lnTo>
                      <a:pt x="1268" y="917"/>
                    </a:lnTo>
                    <a:lnTo>
                      <a:pt x="1268" y="918"/>
                    </a:lnTo>
                    <a:lnTo>
                      <a:pt x="1266" y="918"/>
                    </a:lnTo>
                    <a:lnTo>
                      <a:pt x="1268" y="918"/>
                    </a:lnTo>
                    <a:lnTo>
                      <a:pt x="1268" y="920"/>
                    </a:lnTo>
                    <a:lnTo>
                      <a:pt x="1268" y="922"/>
                    </a:lnTo>
                    <a:lnTo>
                      <a:pt x="1270" y="922"/>
                    </a:lnTo>
                    <a:lnTo>
                      <a:pt x="1270" y="923"/>
                    </a:lnTo>
                    <a:lnTo>
                      <a:pt x="1270" y="925"/>
                    </a:lnTo>
                    <a:lnTo>
                      <a:pt x="1270" y="927"/>
                    </a:lnTo>
                    <a:lnTo>
                      <a:pt x="1268" y="927"/>
                    </a:lnTo>
                    <a:lnTo>
                      <a:pt x="1268" y="929"/>
                    </a:lnTo>
                    <a:lnTo>
                      <a:pt x="1268" y="930"/>
                    </a:lnTo>
                    <a:lnTo>
                      <a:pt x="1270" y="930"/>
                    </a:lnTo>
                    <a:lnTo>
                      <a:pt x="1268" y="930"/>
                    </a:lnTo>
                    <a:lnTo>
                      <a:pt x="1270" y="932"/>
                    </a:lnTo>
                    <a:lnTo>
                      <a:pt x="1268" y="930"/>
                    </a:lnTo>
                    <a:lnTo>
                      <a:pt x="1268" y="932"/>
                    </a:lnTo>
                    <a:lnTo>
                      <a:pt x="1268" y="934"/>
                    </a:lnTo>
                    <a:lnTo>
                      <a:pt x="1268" y="935"/>
                    </a:lnTo>
                    <a:lnTo>
                      <a:pt x="1266" y="935"/>
                    </a:lnTo>
                    <a:lnTo>
                      <a:pt x="1268" y="935"/>
                    </a:lnTo>
                    <a:lnTo>
                      <a:pt x="1268" y="937"/>
                    </a:lnTo>
                    <a:lnTo>
                      <a:pt x="1268" y="939"/>
                    </a:lnTo>
                    <a:lnTo>
                      <a:pt x="1270" y="939"/>
                    </a:lnTo>
                    <a:lnTo>
                      <a:pt x="1270" y="940"/>
                    </a:lnTo>
                    <a:lnTo>
                      <a:pt x="1270" y="942"/>
                    </a:lnTo>
                    <a:lnTo>
                      <a:pt x="1270" y="944"/>
                    </a:lnTo>
                    <a:lnTo>
                      <a:pt x="1270" y="946"/>
                    </a:lnTo>
                    <a:lnTo>
                      <a:pt x="1268" y="946"/>
                    </a:lnTo>
                    <a:lnTo>
                      <a:pt x="1268" y="947"/>
                    </a:lnTo>
                    <a:lnTo>
                      <a:pt x="1268" y="949"/>
                    </a:lnTo>
                    <a:lnTo>
                      <a:pt x="1270" y="949"/>
                    </a:lnTo>
                    <a:lnTo>
                      <a:pt x="1270" y="951"/>
                    </a:lnTo>
                    <a:lnTo>
                      <a:pt x="1271" y="951"/>
                    </a:lnTo>
                    <a:lnTo>
                      <a:pt x="1270" y="952"/>
                    </a:lnTo>
                    <a:lnTo>
                      <a:pt x="1271" y="952"/>
                    </a:lnTo>
                    <a:lnTo>
                      <a:pt x="1271" y="954"/>
                    </a:lnTo>
                    <a:lnTo>
                      <a:pt x="1271" y="956"/>
                    </a:lnTo>
                    <a:lnTo>
                      <a:pt x="1271" y="957"/>
                    </a:lnTo>
                    <a:lnTo>
                      <a:pt x="1271" y="959"/>
                    </a:lnTo>
                    <a:lnTo>
                      <a:pt x="1271" y="961"/>
                    </a:lnTo>
                    <a:lnTo>
                      <a:pt x="1271" y="963"/>
                    </a:lnTo>
                    <a:lnTo>
                      <a:pt x="1271" y="964"/>
                    </a:lnTo>
                    <a:lnTo>
                      <a:pt x="1271" y="966"/>
                    </a:lnTo>
                    <a:lnTo>
                      <a:pt x="1273" y="966"/>
                    </a:lnTo>
                    <a:lnTo>
                      <a:pt x="1273" y="968"/>
                    </a:lnTo>
                    <a:lnTo>
                      <a:pt x="1273" y="969"/>
                    </a:lnTo>
                    <a:lnTo>
                      <a:pt x="1273" y="971"/>
                    </a:lnTo>
                    <a:lnTo>
                      <a:pt x="1271" y="971"/>
                    </a:lnTo>
                    <a:lnTo>
                      <a:pt x="1270" y="971"/>
                    </a:lnTo>
                    <a:lnTo>
                      <a:pt x="1270" y="973"/>
                    </a:lnTo>
                    <a:lnTo>
                      <a:pt x="1270" y="971"/>
                    </a:lnTo>
                    <a:lnTo>
                      <a:pt x="1268" y="971"/>
                    </a:lnTo>
                    <a:lnTo>
                      <a:pt x="1268" y="973"/>
                    </a:lnTo>
                    <a:lnTo>
                      <a:pt x="1266" y="973"/>
                    </a:lnTo>
                    <a:lnTo>
                      <a:pt x="1264" y="971"/>
                    </a:lnTo>
                    <a:lnTo>
                      <a:pt x="1263" y="971"/>
                    </a:lnTo>
                    <a:lnTo>
                      <a:pt x="1263" y="969"/>
                    </a:lnTo>
                    <a:lnTo>
                      <a:pt x="1261" y="969"/>
                    </a:lnTo>
                    <a:lnTo>
                      <a:pt x="1261" y="971"/>
                    </a:lnTo>
                    <a:lnTo>
                      <a:pt x="1259" y="971"/>
                    </a:lnTo>
                    <a:lnTo>
                      <a:pt x="1258" y="971"/>
                    </a:lnTo>
                    <a:lnTo>
                      <a:pt x="1258" y="973"/>
                    </a:lnTo>
                    <a:lnTo>
                      <a:pt x="1258" y="975"/>
                    </a:lnTo>
                    <a:lnTo>
                      <a:pt x="1259" y="976"/>
                    </a:lnTo>
                    <a:lnTo>
                      <a:pt x="1258" y="976"/>
                    </a:lnTo>
                    <a:lnTo>
                      <a:pt x="1259" y="978"/>
                    </a:lnTo>
                    <a:lnTo>
                      <a:pt x="1259" y="980"/>
                    </a:lnTo>
                    <a:lnTo>
                      <a:pt x="1259" y="981"/>
                    </a:lnTo>
                    <a:lnTo>
                      <a:pt x="1259" y="983"/>
                    </a:lnTo>
                    <a:lnTo>
                      <a:pt x="1261" y="981"/>
                    </a:lnTo>
                    <a:lnTo>
                      <a:pt x="1261" y="983"/>
                    </a:lnTo>
                    <a:lnTo>
                      <a:pt x="1263" y="983"/>
                    </a:lnTo>
                    <a:lnTo>
                      <a:pt x="1263" y="985"/>
                    </a:lnTo>
                    <a:lnTo>
                      <a:pt x="1263" y="986"/>
                    </a:lnTo>
                    <a:lnTo>
                      <a:pt x="1263" y="988"/>
                    </a:lnTo>
                    <a:lnTo>
                      <a:pt x="1263" y="990"/>
                    </a:lnTo>
                    <a:lnTo>
                      <a:pt x="1261" y="990"/>
                    </a:lnTo>
                    <a:lnTo>
                      <a:pt x="1261" y="992"/>
                    </a:lnTo>
                    <a:lnTo>
                      <a:pt x="1259" y="992"/>
                    </a:lnTo>
                    <a:lnTo>
                      <a:pt x="1259" y="993"/>
                    </a:lnTo>
                    <a:lnTo>
                      <a:pt x="1259" y="995"/>
                    </a:lnTo>
                    <a:lnTo>
                      <a:pt x="1258" y="995"/>
                    </a:lnTo>
                    <a:lnTo>
                      <a:pt x="1258" y="997"/>
                    </a:lnTo>
                    <a:lnTo>
                      <a:pt x="1259" y="997"/>
                    </a:lnTo>
                    <a:lnTo>
                      <a:pt x="1259" y="998"/>
                    </a:lnTo>
                    <a:lnTo>
                      <a:pt x="1259" y="1000"/>
                    </a:lnTo>
                    <a:lnTo>
                      <a:pt x="1259" y="1002"/>
                    </a:lnTo>
                    <a:lnTo>
                      <a:pt x="1258" y="1002"/>
                    </a:lnTo>
                    <a:lnTo>
                      <a:pt x="1259" y="1002"/>
                    </a:lnTo>
                    <a:lnTo>
                      <a:pt x="1259" y="1003"/>
                    </a:lnTo>
                    <a:lnTo>
                      <a:pt x="1259" y="1005"/>
                    </a:lnTo>
                    <a:lnTo>
                      <a:pt x="1259" y="1007"/>
                    </a:lnTo>
                    <a:lnTo>
                      <a:pt x="1261" y="1009"/>
                    </a:lnTo>
                    <a:lnTo>
                      <a:pt x="1261" y="1010"/>
                    </a:lnTo>
                    <a:lnTo>
                      <a:pt x="1263" y="1010"/>
                    </a:lnTo>
                    <a:lnTo>
                      <a:pt x="1263" y="1012"/>
                    </a:lnTo>
                    <a:lnTo>
                      <a:pt x="1264" y="1012"/>
                    </a:lnTo>
                    <a:lnTo>
                      <a:pt x="1266" y="1014"/>
                    </a:lnTo>
                    <a:lnTo>
                      <a:pt x="1266" y="1015"/>
                    </a:lnTo>
                    <a:lnTo>
                      <a:pt x="1268" y="1015"/>
                    </a:lnTo>
                    <a:lnTo>
                      <a:pt x="1268" y="1017"/>
                    </a:lnTo>
                    <a:lnTo>
                      <a:pt x="1270" y="1017"/>
                    </a:lnTo>
                    <a:lnTo>
                      <a:pt x="1271" y="1017"/>
                    </a:lnTo>
                    <a:lnTo>
                      <a:pt x="1271" y="1019"/>
                    </a:lnTo>
                    <a:lnTo>
                      <a:pt x="1273" y="1019"/>
                    </a:lnTo>
                    <a:lnTo>
                      <a:pt x="1273" y="1020"/>
                    </a:lnTo>
                    <a:lnTo>
                      <a:pt x="1271" y="1020"/>
                    </a:lnTo>
                    <a:lnTo>
                      <a:pt x="1273" y="1022"/>
                    </a:lnTo>
                    <a:lnTo>
                      <a:pt x="1273" y="1024"/>
                    </a:lnTo>
                    <a:lnTo>
                      <a:pt x="1273" y="1026"/>
                    </a:lnTo>
                    <a:lnTo>
                      <a:pt x="1271" y="1026"/>
                    </a:lnTo>
                    <a:lnTo>
                      <a:pt x="1271" y="1024"/>
                    </a:lnTo>
                    <a:lnTo>
                      <a:pt x="1271" y="1026"/>
                    </a:lnTo>
                    <a:lnTo>
                      <a:pt x="1270" y="1026"/>
                    </a:lnTo>
                    <a:lnTo>
                      <a:pt x="1268" y="1026"/>
                    </a:lnTo>
                    <a:lnTo>
                      <a:pt x="1266" y="1026"/>
                    </a:lnTo>
                    <a:lnTo>
                      <a:pt x="1268" y="1026"/>
                    </a:lnTo>
                    <a:lnTo>
                      <a:pt x="1268" y="1027"/>
                    </a:lnTo>
                    <a:lnTo>
                      <a:pt x="1266" y="1029"/>
                    </a:lnTo>
                    <a:lnTo>
                      <a:pt x="1266" y="1031"/>
                    </a:lnTo>
                    <a:lnTo>
                      <a:pt x="1266" y="1032"/>
                    </a:lnTo>
                    <a:lnTo>
                      <a:pt x="1268" y="1032"/>
                    </a:lnTo>
                    <a:lnTo>
                      <a:pt x="1268" y="1031"/>
                    </a:lnTo>
                    <a:lnTo>
                      <a:pt x="1268" y="1032"/>
                    </a:lnTo>
                    <a:lnTo>
                      <a:pt x="1270" y="1032"/>
                    </a:lnTo>
                    <a:lnTo>
                      <a:pt x="1268" y="1034"/>
                    </a:lnTo>
                    <a:lnTo>
                      <a:pt x="1268" y="1036"/>
                    </a:lnTo>
                    <a:lnTo>
                      <a:pt x="1270" y="1036"/>
                    </a:lnTo>
                    <a:lnTo>
                      <a:pt x="1271" y="1036"/>
                    </a:lnTo>
                    <a:lnTo>
                      <a:pt x="1271" y="1037"/>
                    </a:lnTo>
                    <a:lnTo>
                      <a:pt x="1273" y="1037"/>
                    </a:lnTo>
                    <a:lnTo>
                      <a:pt x="1273" y="1039"/>
                    </a:lnTo>
                    <a:lnTo>
                      <a:pt x="1275" y="1039"/>
                    </a:lnTo>
                    <a:lnTo>
                      <a:pt x="1276" y="1039"/>
                    </a:lnTo>
                    <a:lnTo>
                      <a:pt x="1278" y="1039"/>
                    </a:lnTo>
                    <a:lnTo>
                      <a:pt x="1278" y="1041"/>
                    </a:lnTo>
                    <a:lnTo>
                      <a:pt x="1278" y="1043"/>
                    </a:lnTo>
                    <a:lnTo>
                      <a:pt x="1276" y="1043"/>
                    </a:lnTo>
                    <a:lnTo>
                      <a:pt x="1278" y="1043"/>
                    </a:lnTo>
                    <a:lnTo>
                      <a:pt x="1276" y="1043"/>
                    </a:lnTo>
                    <a:lnTo>
                      <a:pt x="1275" y="1043"/>
                    </a:lnTo>
                    <a:lnTo>
                      <a:pt x="1275" y="1044"/>
                    </a:lnTo>
                    <a:lnTo>
                      <a:pt x="1273" y="1046"/>
                    </a:lnTo>
                    <a:lnTo>
                      <a:pt x="1271" y="1048"/>
                    </a:lnTo>
                    <a:lnTo>
                      <a:pt x="1273" y="1048"/>
                    </a:lnTo>
                    <a:lnTo>
                      <a:pt x="1271" y="1049"/>
                    </a:lnTo>
                    <a:lnTo>
                      <a:pt x="1273" y="1049"/>
                    </a:lnTo>
                    <a:lnTo>
                      <a:pt x="1271" y="1049"/>
                    </a:lnTo>
                    <a:lnTo>
                      <a:pt x="1273" y="1049"/>
                    </a:lnTo>
                    <a:lnTo>
                      <a:pt x="1273" y="1051"/>
                    </a:lnTo>
                    <a:lnTo>
                      <a:pt x="1273" y="1053"/>
                    </a:lnTo>
                    <a:lnTo>
                      <a:pt x="1275" y="1053"/>
                    </a:lnTo>
                    <a:lnTo>
                      <a:pt x="1276" y="1054"/>
                    </a:lnTo>
                    <a:lnTo>
                      <a:pt x="1275" y="1054"/>
                    </a:lnTo>
                    <a:lnTo>
                      <a:pt x="1275" y="1056"/>
                    </a:lnTo>
                    <a:lnTo>
                      <a:pt x="1275" y="1058"/>
                    </a:lnTo>
                    <a:lnTo>
                      <a:pt x="1273" y="1058"/>
                    </a:lnTo>
                    <a:lnTo>
                      <a:pt x="1273" y="1060"/>
                    </a:lnTo>
                    <a:lnTo>
                      <a:pt x="1273" y="1061"/>
                    </a:lnTo>
                    <a:lnTo>
                      <a:pt x="1271" y="1063"/>
                    </a:lnTo>
                    <a:lnTo>
                      <a:pt x="1270" y="1063"/>
                    </a:lnTo>
                    <a:lnTo>
                      <a:pt x="1268" y="1063"/>
                    </a:lnTo>
                    <a:lnTo>
                      <a:pt x="1270" y="1065"/>
                    </a:lnTo>
                    <a:lnTo>
                      <a:pt x="1270" y="1066"/>
                    </a:lnTo>
                    <a:lnTo>
                      <a:pt x="1271" y="1066"/>
                    </a:lnTo>
                    <a:lnTo>
                      <a:pt x="1270" y="1068"/>
                    </a:lnTo>
                    <a:lnTo>
                      <a:pt x="1270" y="1070"/>
                    </a:lnTo>
                    <a:lnTo>
                      <a:pt x="1271" y="1071"/>
                    </a:lnTo>
                    <a:lnTo>
                      <a:pt x="1271" y="1073"/>
                    </a:lnTo>
                    <a:lnTo>
                      <a:pt x="1270" y="1073"/>
                    </a:lnTo>
                    <a:lnTo>
                      <a:pt x="1270" y="1075"/>
                    </a:lnTo>
                    <a:lnTo>
                      <a:pt x="1270" y="1077"/>
                    </a:lnTo>
                    <a:lnTo>
                      <a:pt x="1271" y="1077"/>
                    </a:lnTo>
                    <a:lnTo>
                      <a:pt x="1273" y="1077"/>
                    </a:lnTo>
                    <a:lnTo>
                      <a:pt x="1273" y="1075"/>
                    </a:lnTo>
                    <a:lnTo>
                      <a:pt x="1275" y="1075"/>
                    </a:lnTo>
                    <a:lnTo>
                      <a:pt x="1275" y="1077"/>
                    </a:lnTo>
                    <a:lnTo>
                      <a:pt x="1276" y="1077"/>
                    </a:lnTo>
                    <a:lnTo>
                      <a:pt x="1276" y="1075"/>
                    </a:lnTo>
                    <a:lnTo>
                      <a:pt x="1278" y="1077"/>
                    </a:lnTo>
                    <a:lnTo>
                      <a:pt x="1280" y="1077"/>
                    </a:lnTo>
                    <a:lnTo>
                      <a:pt x="1280" y="1075"/>
                    </a:lnTo>
                    <a:lnTo>
                      <a:pt x="1281" y="1077"/>
                    </a:lnTo>
                    <a:lnTo>
                      <a:pt x="1281" y="1075"/>
                    </a:lnTo>
                    <a:lnTo>
                      <a:pt x="1283" y="1075"/>
                    </a:lnTo>
                    <a:lnTo>
                      <a:pt x="1285" y="1075"/>
                    </a:lnTo>
                    <a:lnTo>
                      <a:pt x="1285" y="1077"/>
                    </a:lnTo>
                    <a:lnTo>
                      <a:pt x="1287" y="1077"/>
                    </a:lnTo>
                    <a:lnTo>
                      <a:pt x="1288" y="1077"/>
                    </a:lnTo>
                    <a:lnTo>
                      <a:pt x="1290" y="1077"/>
                    </a:lnTo>
                    <a:lnTo>
                      <a:pt x="1290" y="1078"/>
                    </a:lnTo>
                    <a:lnTo>
                      <a:pt x="1290" y="1077"/>
                    </a:lnTo>
                    <a:lnTo>
                      <a:pt x="1292" y="1078"/>
                    </a:lnTo>
                    <a:lnTo>
                      <a:pt x="1293" y="1078"/>
                    </a:lnTo>
                    <a:lnTo>
                      <a:pt x="1293" y="1080"/>
                    </a:lnTo>
                    <a:lnTo>
                      <a:pt x="1292" y="1080"/>
                    </a:lnTo>
                    <a:lnTo>
                      <a:pt x="1293" y="1082"/>
                    </a:lnTo>
                    <a:lnTo>
                      <a:pt x="1295" y="1082"/>
                    </a:lnTo>
                    <a:lnTo>
                      <a:pt x="1293" y="1083"/>
                    </a:lnTo>
                    <a:lnTo>
                      <a:pt x="1295" y="1085"/>
                    </a:lnTo>
                    <a:lnTo>
                      <a:pt x="1293" y="1085"/>
                    </a:lnTo>
                    <a:lnTo>
                      <a:pt x="1292" y="1085"/>
                    </a:lnTo>
                    <a:lnTo>
                      <a:pt x="1290" y="1085"/>
                    </a:lnTo>
                    <a:lnTo>
                      <a:pt x="1292" y="1085"/>
                    </a:lnTo>
                    <a:lnTo>
                      <a:pt x="1290" y="1087"/>
                    </a:lnTo>
                    <a:lnTo>
                      <a:pt x="1290" y="1088"/>
                    </a:lnTo>
                    <a:lnTo>
                      <a:pt x="1292" y="1088"/>
                    </a:lnTo>
                    <a:lnTo>
                      <a:pt x="1290" y="1090"/>
                    </a:lnTo>
                    <a:lnTo>
                      <a:pt x="1290" y="1092"/>
                    </a:lnTo>
                    <a:lnTo>
                      <a:pt x="1290" y="1094"/>
                    </a:lnTo>
                    <a:lnTo>
                      <a:pt x="1288" y="1094"/>
                    </a:lnTo>
                    <a:lnTo>
                      <a:pt x="1288" y="1095"/>
                    </a:lnTo>
                    <a:lnTo>
                      <a:pt x="1287" y="1095"/>
                    </a:lnTo>
                    <a:lnTo>
                      <a:pt x="1285" y="1095"/>
                    </a:lnTo>
                    <a:lnTo>
                      <a:pt x="1285" y="1094"/>
                    </a:lnTo>
                    <a:lnTo>
                      <a:pt x="1283" y="1094"/>
                    </a:lnTo>
                    <a:lnTo>
                      <a:pt x="1283" y="1092"/>
                    </a:lnTo>
                    <a:lnTo>
                      <a:pt x="1281" y="1092"/>
                    </a:lnTo>
                    <a:lnTo>
                      <a:pt x="1280" y="1092"/>
                    </a:lnTo>
                    <a:lnTo>
                      <a:pt x="1278" y="1094"/>
                    </a:lnTo>
                    <a:lnTo>
                      <a:pt x="1278" y="1092"/>
                    </a:lnTo>
                    <a:lnTo>
                      <a:pt x="1278" y="1094"/>
                    </a:lnTo>
                    <a:lnTo>
                      <a:pt x="1276" y="1094"/>
                    </a:lnTo>
                    <a:lnTo>
                      <a:pt x="1275" y="1094"/>
                    </a:lnTo>
                    <a:lnTo>
                      <a:pt x="1273" y="1094"/>
                    </a:lnTo>
                    <a:lnTo>
                      <a:pt x="1271" y="1094"/>
                    </a:lnTo>
                    <a:lnTo>
                      <a:pt x="1271" y="1092"/>
                    </a:lnTo>
                    <a:lnTo>
                      <a:pt x="1270" y="1094"/>
                    </a:lnTo>
                    <a:lnTo>
                      <a:pt x="1270" y="1095"/>
                    </a:lnTo>
                    <a:lnTo>
                      <a:pt x="1270" y="1094"/>
                    </a:lnTo>
                    <a:lnTo>
                      <a:pt x="1268" y="1095"/>
                    </a:lnTo>
                    <a:lnTo>
                      <a:pt x="1268" y="1094"/>
                    </a:lnTo>
                    <a:lnTo>
                      <a:pt x="1266" y="1094"/>
                    </a:lnTo>
                    <a:lnTo>
                      <a:pt x="1266" y="1095"/>
                    </a:lnTo>
                    <a:lnTo>
                      <a:pt x="1266" y="1094"/>
                    </a:lnTo>
                    <a:lnTo>
                      <a:pt x="1264" y="1094"/>
                    </a:lnTo>
                    <a:lnTo>
                      <a:pt x="1263" y="1094"/>
                    </a:lnTo>
                    <a:lnTo>
                      <a:pt x="1261" y="1092"/>
                    </a:lnTo>
                    <a:lnTo>
                      <a:pt x="1261" y="1094"/>
                    </a:lnTo>
                    <a:lnTo>
                      <a:pt x="1261" y="1095"/>
                    </a:lnTo>
                    <a:lnTo>
                      <a:pt x="1263" y="1095"/>
                    </a:lnTo>
                    <a:lnTo>
                      <a:pt x="1263" y="1097"/>
                    </a:lnTo>
                    <a:lnTo>
                      <a:pt x="1261" y="1097"/>
                    </a:lnTo>
                    <a:lnTo>
                      <a:pt x="1263" y="1097"/>
                    </a:lnTo>
                    <a:lnTo>
                      <a:pt x="1261" y="1099"/>
                    </a:lnTo>
                    <a:lnTo>
                      <a:pt x="1263" y="1099"/>
                    </a:lnTo>
                    <a:lnTo>
                      <a:pt x="1263" y="1100"/>
                    </a:lnTo>
                    <a:lnTo>
                      <a:pt x="1263" y="1099"/>
                    </a:lnTo>
                    <a:lnTo>
                      <a:pt x="1264" y="1100"/>
                    </a:lnTo>
                    <a:lnTo>
                      <a:pt x="1266" y="1100"/>
                    </a:lnTo>
                    <a:lnTo>
                      <a:pt x="1266" y="1102"/>
                    </a:lnTo>
                    <a:lnTo>
                      <a:pt x="1268" y="1102"/>
                    </a:lnTo>
                    <a:lnTo>
                      <a:pt x="1268" y="1100"/>
                    </a:lnTo>
                    <a:lnTo>
                      <a:pt x="1270" y="1100"/>
                    </a:lnTo>
                    <a:lnTo>
                      <a:pt x="1271" y="1102"/>
                    </a:lnTo>
                    <a:lnTo>
                      <a:pt x="1271" y="1100"/>
                    </a:lnTo>
                    <a:lnTo>
                      <a:pt x="1273" y="1102"/>
                    </a:lnTo>
                    <a:lnTo>
                      <a:pt x="1275" y="1102"/>
                    </a:lnTo>
                    <a:lnTo>
                      <a:pt x="1275" y="1104"/>
                    </a:lnTo>
                    <a:lnTo>
                      <a:pt x="1276" y="1102"/>
                    </a:lnTo>
                    <a:lnTo>
                      <a:pt x="1276" y="1104"/>
                    </a:lnTo>
                    <a:lnTo>
                      <a:pt x="1278" y="1104"/>
                    </a:lnTo>
                    <a:lnTo>
                      <a:pt x="1280" y="1104"/>
                    </a:lnTo>
                    <a:lnTo>
                      <a:pt x="1278" y="1104"/>
                    </a:lnTo>
                    <a:lnTo>
                      <a:pt x="1278" y="1105"/>
                    </a:lnTo>
                    <a:lnTo>
                      <a:pt x="1280" y="1107"/>
                    </a:lnTo>
                    <a:lnTo>
                      <a:pt x="1280" y="1109"/>
                    </a:lnTo>
                    <a:lnTo>
                      <a:pt x="1281" y="1109"/>
                    </a:lnTo>
                    <a:lnTo>
                      <a:pt x="1281" y="1111"/>
                    </a:lnTo>
                    <a:lnTo>
                      <a:pt x="1283" y="1112"/>
                    </a:lnTo>
                    <a:lnTo>
                      <a:pt x="1283" y="1114"/>
                    </a:lnTo>
                    <a:lnTo>
                      <a:pt x="1285" y="1114"/>
                    </a:lnTo>
                    <a:lnTo>
                      <a:pt x="1285" y="1116"/>
                    </a:lnTo>
                    <a:lnTo>
                      <a:pt x="1287" y="1116"/>
                    </a:lnTo>
                    <a:lnTo>
                      <a:pt x="1285" y="1117"/>
                    </a:lnTo>
                    <a:lnTo>
                      <a:pt x="1287" y="1117"/>
                    </a:lnTo>
                    <a:lnTo>
                      <a:pt x="1287" y="1119"/>
                    </a:lnTo>
                    <a:lnTo>
                      <a:pt x="1287" y="1121"/>
                    </a:lnTo>
                    <a:lnTo>
                      <a:pt x="1285" y="1121"/>
                    </a:lnTo>
                    <a:lnTo>
                      <a:pt x="1283" y="1121"/>
                    </a:lnTo>
                    <a:lnTo>
                      <a:pt x="1283" y="1122"/>
                    </a:lnTo>
                    <a:lnTo>
                      <a:pt x="1281" y="1122"/>
                    </a:lnTo>
                    <a:lnTo>
                      <a:pt x="1280" y="1122"/>
                    </a:lnTo>
                    <a:lnTo>
                      <a:pt x="1280" y="1124"/>
                    </a:lnTo>
                    <a:lnTo>
                      <a:pt x="1280" y="1126"/>
                    </a:lnTo>
                    <a:lnTo>
                      <a:pt x="1281" y="1128"/>
                    </a:lnTo>
                    <a:lnTo>
                      <a:pt x="1280" y="1128"/>
                    </a:lnTo>
                    <a:lnTo>
                      <a:pt x="1280" y="1129"/>
                    </a:lnTo>
                    <a:lnTo>
                      <a:pt x="1278" y="1129"/>
                    </a:lnTo>
                    <a:lnTo>
                      <a:pt x="1276" y="1129"/>
                    </a:lnTo>
                    <a:lnTo>
                      <a:pt x="1275" y="1129"/>
                    </a:lnTo>
                    <a:lnTo>
                      <a:pt x="1273" y="1129"/>
                    </a:lnTo>
                    <a:lnTo>
                      <a:pt x="1273" y="1131"/>
                    </a:lnTo>
                    <a:lnTo>
                      <a:pt x="1271" y="1131"/>
                    </a:lnTo>
                    <a:lnTo>
                      <a:pt x="1271" y="1133"/>
                    </a:lnTo>
                    <a:lnTo>
                      <a:pt x="1273" y="1133"/>
                    </a:lnTo>
                    <a:lnTo>
                      <a:pt x="1271" y="1134"/>
                    </a:lnTo>
                    <a:lnTo>
                      <a:pt x="1271" y="1136"/>
                    </a:lnTo>
                    <a:lnTo>
                      <a:pt x="1271" y="1138"/>
                    </a:lnTo>
                    <a:lnTo>
                      <a:pt x="1271" y="1140"/>
                    </a:lnTo>
                    <a:lnTo>
                      <a:pt x="1271" y="1141"/>
                    </a:lnTo>
                    <a:lnTo>
                      <a:pt x="1271" y="1143"/>
                    </a:lnTo>
                    <a:lnTo>
                      <a:pt x="1273" y="1143"/>
                    </a:lnTo>
                    <a:lnTo>
                      <a:pt x="1271" y="1145"/>
                    </a:lnTo>
                    <a:lnTo>
                      <a:pt x="1273" y="1146"/>
                    </a:lnTo>
                    <a:lnTo>
                      <a:pt x="1273" y="1145"/>
                    </a:lnTo>
                    <a:lnTo>
                      <a:pt x="1273" y="1146"/>
                    </a:lnTo>
                    <a:lnTo>
                      <a:pt x="1275" y="1146"/>
                    </a:lnTo>
                    <a:lnTo>
                      <a:pt x="1276" y="1148"/>
                    </a:lnTo>
                    <a:lnTo>
                      <a:pt x="1276" y="1150"/>
                    </a:lnTo>
                    <a:lnTo>
                      <a:pt x="1276" y="1151"/>
                    </a:lnTo>
                    <a:lnTo>
                      <a:pt x="1276" y="1153"/>
                    </a:lnTo>
                    <a:lnTo>
                      <a:pt x="1275" y="1153"/>
                    </a:lnTo>
                    <a:lnTo>
                      <a:pt x="1275" y="1155"/>
                    </a:lnTo>
                    <a:lnTo>
                      <a:pt x="1275" y="1157"/>
                    </a:lnTo>
                    <a:lnTo>
                      <a:pt x="1273" y="1157"/>
                    </a:lnTo>
                    <a:lnTo>
                      <a:pt x="1271" y="1157"/>
                    </a:lnTo>
                    <a:lnTo>
                      <a:pt x="1271" y="1158"/>
                    </a:lnTo>
                    <a:lnTo>
                      <a:pt x="1270" y="1158"/>
                    </a:lnTo>
                    <a:lnTo>
                      <a:pt x="1268" y="1158"/>
                    </a:lnTo>
                    <a:lnTo>
                      <a:pt x="1266" y="1160"/>
                    </a:lnTo>
                    <a:lnTo>
                      <a:pt x="1268" y="1160"/>
                    </a:lnTo>
                    <a:lnTo>
                      <a:pt x="1268" y="1162"/>
                    </a:lnTo>
                    <a:lnTo>
                      <a:pt x="1270" y="1162"/>
                    </a:lnTo>
                    <a:lnTo>
                      <a:pt x="1271" y="1162"/>
                    </a:lnTo>
                    <a:lnTo>
                      <a:pt x="1271" y="1163"/>
                    </a:lnTo>
                    <a:lnTo>
                      <a:pt x="1273" y="1165"/>
                    </a:lnTo>
                    <a:lnTo>
                      <a:pt x="1273" y="1167"/>
                    </a:lnTo>
                    <a:lnTo>
                      <a:pt x="1273" y="1168"/>
                    </a:lnTo>
                    <a:lnTo>
                      <a:pt x="1273" y="1170"/>
                    </a:lnTo>
                    <a:lnTo>
                      <a:pt x="1273" y="1174"/>
                    </a:lnTo>
                    <a:lnTo>
                      <a:pt x="1275" y="1177"/>
                    </a:lnTo>
                    <a:lnTo>
                      <a:pt x="1275" y="1179"/>
                    </a:lnTo>
                    <a:lnTo>
                      <a:pt x="1275" y="1180"/>
                    </a:lnTo>
                    <a:lnTo>
                      <a:pt x="1275" y="1182"/>
                    </a:lnTo>
                    <a:lnTo>
                      <a:pt x="1276" y="1184"/>
                    </a:lnTo>
                    <a:lnTo>
                      <a:pt x="1275" y="1184"/>
                    </a:lnTo>
                    <a:lnTo>
                      <a:pt x="1276" y="1185"/>
                    </a:lnTo>
                    <a:lnTo>
                      <a:pt x="1275" y="1187"/>
                    </a:lnTo>
                    <a:lnTo>
                      <a:pt x="1273" y="1187"/>
                    </a:lnTo>
                    <a:lnTo>
                      <a:pt x="1273" y="1189"/>
                    </a:lnTo>
                    <a:lnTo>
                      <a:pt x="1271" y="1189"/>
                    </a:lnTo>
                    <a:lnTo>
                      <a:pt x="1271" y="1191"/>
                    </a:lnTo>
                    <a:lnTo>
                      <a:pt x="1270" y="1191"/>
                    </a:lnTo>
                    <a:lnTo>
                      <a:pt x="1270" y="1192"/>
                    </a:lnTo>
                    <a:lnTo>
                      <a:pt x="1268" y="1192"/>
                    </a:lnTo>
                    <a:lnTo>
                      <a:pt x="1266" y="1192"/>
                    </a:lnTo>
                    <a:lnTo>
                      <a:pt x="1264" y="1192"/>
                    </a:lnTo>
                    <a:lnTo>
                      <a:pt x="1266" y="1194"/>
                    </a:lnTo>
                    <a:lnTo>
                      <a:pt x="1266" y="1196"/>
                    </a:lnTo>
                    <a:lnTo>
                      <a:pt x="1264" y="1196"/>
                    </a:lnTo>
                    <a:lnTo>
                      <a:pt x="1264" y="1197"/>
                    </a:lnTo>
                    <a:lnTo>
                      <a:pt x="1264" y="1199"/>
                    </a:lnTo>
                    <a:lnTo>
                      <a:pt x="1266" y="1199"/>
                    </a:lnTo>
                    <a:lnTo>
                      <a:pt x="1264" y="1201"/>
                    </a:lnTo>
                    <a:lnTo>
                      <a:pt x="1266" y="1201"/>
                    </a:lnTo>
                    <a:lnTo>
                      <a:pt x="1268" y="1201"/>
                    </a:lnTo>
                    <a:lnTo>
                      <a:pt x="1268" y="1202"/>
                    </a:lnTo>
                    <a:lnTo>
                      <a:pt x="1266" y="1204"/>
                    </a:lnTo>
                    <a:lnTo>
                      <a:pt x="1264" y="1206"/>
                    </a:lnTo>
                    <a:lnTo>
                      <a:pt x="1266" y="1206"/>
                    </a:lnTo>
                    <a:lnTo>
                      <a:pt x="1268" y="1208"/>
                    </a:lnTo>
                    <a:lnTo>
                      <a:pt x="1268" y="1209"/>
                    </a:lnTo>
                    <a:lnTo>
                      <a:pt x="1270" y="1209"/>
                    </a:lnTo>
                    <a:lnTo>
                      <a:pt x="1268" y="1209"/>
                    </a:lnTo>
                    <a:lnTo>
                      <a:pt x="1268" y="1211"/>
                    </a:lnTo>
                    <a:lnTo>
                      <a:pt x="1268" y="1213"/>
                    </a:lnTo>
                    <a:lnTo>
                      <a:pt x="1266" y="1213"/>
                    </a:lnTo>
                    <a:lnTo>
                      <a:pt x="1264" y="1213"/>
                    </a:lnTo>
                    <a:lnTo>
                      <a:pt x="1263" y="1211"/>
                    </a:lnTo>
                    <a:lnTo>
                      <a:pt x="1264" y="1213"/>
                    </a:lnTo>
                    <a:lnTo>
                      <a:pt x="1263" y="1214"/>
                    </a:lnTo>
                    <a:lnTo>
                      <a:pt x="1264" y="1216"/>
                    </a:lnTo>
                    <a:lnTo>
                      <a:pt x="1263" y="1216"/>
                    </a:lnTo>
                    <a:lnTo>
                      <a:pt x="1263" y="1218"/>
                    </a:lnTo>
                    <a:lnTo>
                      <a:pt x="1261" y="1218"/>
                    </a:lnTo>
                    <a:lnTo>
                      <a:pt x="1259" y="1218"/>
                    </a:lnTo>
                    <a:lnTo>
                      <a:pt x="1259" y="1219"/>
                    </a:lnTo>
                    <a:lnTo>
                      <a:pt x="1258" y="1221"/>
                    </a:lnTo>
                    <a:lnTo>
                      <a:pt x="1258" y="1223"/>
                    </a:lnTo>
                    <a:lnTo>
                      <a:pt x="1256" y="1221"/>
                    </a:lnTo>
                    <a:lnTo>
                      <a:pt x="1256" y="1223"/>
                    </a:lnTo>
                    <a:lnTo>
                      <a:pt x="1254" y="1223"/>
                    </a:lnTo>
                    <a:lnTo>
                      <a:pt x="1254" y="1225"/>
                    </a:lnTo>
                    <a:lnTo>
                      <a:pt x="1253" y="1225"/>
                    </a:lnTo>
                    <a:lnTo>
                      <a:pt x="1253" y="1226"/>
                    </a:lnTo>
                    <a:lnTo>
                      <a:pt x="1253" y="1225"/>
                    </a:lnTo>
                    <a:lnTo>
                      <a:pt x="1253" y="1226"/>
                    </a:lnTo>
                    <a:lnTo>
                      <a:pt x="1254" y="1226"/>
                    </a:lnTo>
                    <a:lnTo>
                      <a:pt x="1254" y="1228"/>
                    </a:lnTo>
                    <a:lnTo>
                      <a:pt x="1253" y="1228"/>
                    </a:lnTo>
                    <a:lnTo>
                      <a:pt x="1253" y="1230"/>
                    </a:lnTo>
                    <a:lnTo>
                      <a:pt x="1253" y="1231"/>
                    </a:lnTo>
                    <a:lnTo>
                      <a:pt x="1253" y="1233"/>
                    </a:lnTo>
                    <a:lnTo>
                      <a:pt x="1251" y="1233"/>
                    </a:lnTo>
                    <a:lnTo>
                      <a:pt x="1251" y="1235"/>
                    </a:lnTo>
                    <a:lnTo>
                      <a:pt x="1249" y="1235"/>
                    </a:lnTo>
                    <a:lnTo>
                      <a:pt x="1249" y="1236"/>
                    </a:lnTo>
                    <a:lnTo>
                      <a:pt x="1249" y="1238"/>
                    </a:lnTo>
                    <a:lnTo>
                      <a:pt x="1251" y="1238"/>
                    </a:lnTo>
                    <a:lnTo>
                      <a:pt x="1251" y="1240"/>
                    </a:lnTo>
                    <a:lnTo>
                      <a:pt x="1249" y="1240"/>
                    </a:lnTo>
                    <a:lnTo>
                      <a:pt x="1247" y="1240"/>
                    </a:lnTo>
                    <a:lnTo>
                      <a:pt x="1246" y="1238"/>
                    </a:lnTo>
                    <a:lnTo>
                      <a:pt x="1246" y="1240"/>
                    </a:lnTo>
                    <a:lnTo>
                      <a:pt x="1247" y="1240"/>
                    </a:lnTo>
                    <a:lnTo>
                      <a:pt x="1247" y="1242"/>
                    </a:lnTo>
                    <a:lnTo>
                      <a:pt x="1247" y="1243"/>
                    </a:lnTo>
                    <a:lnTo>
                      <a:pt x="1247" y="1245"/>
                    </a:lnTo>
                    <a:lnTo>
                      <a:pt x="1247" y="1247"/>
                    </a:lnTo>
                    <a:lnTo>
                      <a:pt x="1246" y="1247"/>
                    </a:lnTo>
                    <a:lnTo>
                      <a:pt x="1246" y="1248"/>
                    </a:lnTo>
                    <a:lnTo>
                      <a:pt x="1247" y="1250"/>
                    </a:lnTo>
                    <a:lnTo>
                      <a:pt x="1249" y="1250"/>
                    </a:lnTo>
                    <a:lnTo>
                      <a:pt x="1249" y="1252"/>
                    </a:lnTo>
                    <a:lnTo>
                      <a:pt x="1249" y="1253"/>
                    </a:lnTo>
                    <a:lnTo>
                      <a:pt x="1249" y="1255"/>
                    </a:lnTo>
                    <a:lnTo>
                      <a:pt x="1251" y="1255"/>
                    </a:lnTo>
                    <a:lnTo>
                      <a:pt x="1251" y="1257"/>
                    </a:lnTo>
                    <a:lnTo>
                      <a:pt x="1253" y="1257"/>
                    </a:lnTo>
                    <a:lnTo>
                      <a:pt x="1253" y="1259"/>
                    </a:lnTo>
                    <a:lnTo>
                      <a:pt x="1254" y="1259"/>
                    </a:lnTo>
                    <a:lnTo>
                      <a:pt x="1253" y="1260"/>
                    </a:lnTo>
                    <a:lnTo>
                      <a:pt x="1254" y="1262"/>
                    </a:lnTo>
                    <a:lnTo>
                      <a:pt x="1253" y="1262"/>
                    </a:lnTo>
                    <a:lnTo>
                      <a:pt x="1253" y="1264"/>
                    </a:lnTo>
                    <a:lnTo>
                      <a:pt x="1254" y="1264"/>
                    </a:lnTo>
                    <a:lnTo>
                      <a:pt x="1254" y="1265"/>
                    </a:lnTo>
                    <a:lnTo>
                      <a:pt x="1256" y="1267"/>
                    </a:lnTo>
                    <a:lnTo>
                      <a:pt x="1256" y="1269"/>
                    </a:lnTo>
                    <a:lnTo>
                      <a:pt x="1254" y="1269"/>
                    </a:lnTo>
                    <a:lnTo>
                      <a:pt x="1254" y="1270"/>
                    </a:lnTo>
                    <a:lnTo>
                      <a:pt x="1253" y="1269"/>
                    </a:lnTo>
                    <a:lnTo>
                      <a:pt x="1253" y="1270"/>
                    </a:lnTo>
                    <a:lnTo>
                      <a:pt x="1253" y="1269"/>
                    </a:lnTo>
                    <a:lnTo>
                      <a:pt x="1251" y="1269"/>
                    </a:lnTo>
                    <a:lnTo>
                      <a:pt x="1251" y="1270"/>
                    </a:lnTo>
                    <a:lnTo>
                      <a:pt x="1253" y="1270"/>
                    </a:lnTo>
                    <a:lnTo>
                      <a:pt x="1251" y="1272"/>
                    </a:lnTo>
                    <a:lnTo>
                      <a:pt x="1249" y="1272"/>
                    </a:lnTo>
                    <a:lnTo>
                      <a:pt x="1249" y="1274"/>
                    </a:lnTo>
                    <a:lnTo>
                      <a:pt x="1251" y="1274"/>
                    </a:lnTo>
                    <a:lnTo>
                      <a:pt x="1251" y="1276"/>
                    </a:lnTo>
                    <a:lnTo>
                      <a:pt x="1249" y="1277"/>
                    </a:lnTo>
                    <a:lnTo>
                      <a:pt x="1247" y="1277"/>
                    </a:lnTo>
                    <a:lnTo>
                      <a:pt x="1246" y="1277"/>
                    </a:lnTo>
                    <a:lnTo>
                      <a:pt x="1246" y="1276"/>
                    </a:lnTo>
                    <a:lnTo>
                      <a:pt x="1244" y="1276"/>
                    </a:lnTo>
                    <a:lnTo>
                      <a:pt x="1244" y="1277"/>
                    </a:lnTo>
                    <a:lnTo>
                      <a:pt x="1246" y="1284"/>
                    </a:lnTo>
                    <a:lnTo>
                      <a:pt x="1246" y="1288"/>
                    </a:lnTo>
                    <a:lnTo>
                      <a:pt x="1246" y="1289"/>
                    </a:lnTo>
                    <a:lnTo>
                      <a:pt x="1246" y="1291"/>
                    </a:lnTo>
                    <a:lnTo>
                      <a:pt x="1246" y="1293"/>
                    </a:lnTo>
                    <a:lnTo>
                      <a:pt x="1244" y="1293"/>
                    </a:lnTo>
                    <a:lnTo>
                      <a:pt x="1242" y="1294"/>
                    </a:lnTo>
                    <a:lnTo>
                      <a:pt x="1241" y="1296"/>
                    </a:lnTo>
                    <a:lnTo>
                      <a:pt x="1241" y="1298"/>
                    </a:lnTo>
                    <a:lnTo>
                      <a:pt x="1239" y="1298"/>
                    </a:lnTo>
                    <a:lnTo>
                      <a:pt x="1237" y="1299"/>
                    </a:lnTo>
                    <a:lnTo>
                      <a:pt x="1237" y="1301"/>
                    </a:lnTo>
                    <a:lnTo>
                      <a:pt x="1236" y="1301"/>
                    </a:lnTo>
                    <a:lnTo>
                      <a:pt x="1234" y="1299"/>
                    </a:lnTo>
                    <a:lnTo>
                      <a:pt x="1232" y="1299"/>
                    </a:lnTo>
                    <a:lnTo>
                      <a:pt x="1232" y="1301"/>
                    </a:lnTo>
                    <a:lnTo>
                      <a:pt x="1230" y="1301"/>
                    </a:lnTo>
                    <a:lnTo>
                      <a:pt x="1230" y="1303"/>
                    </a:lnTo>
                    <a:lnTo>
                      <a:pt x="1230" y="1305"/>
                    </a:lnTo>
                    <a:lnTo>
                      <a:pt x="1230" y="1306"/>
                    </a:lnTo>
                    <a:lnTo>
                      <a:pt x="1229" y="1306"/>
                    </a:lnTo>
                    <a:lnTo>
                      <a:pt x="1229" y="1308"/>
                    </a:lnTo>
                    <a:lnTo>
                      <a:pt x="1227" y="1310"/>
                    </a:lnTo>
                    <a:lnTo>
                      <a:pt x="1225" y="1311"/>
                    </a:lnTo>
                    <a:lnTo>
                      <a:pt x="1225" y="1313"/>
                    </a:lnTo>
                    <a:lnTo>
                      <a:pt x="1225" y="1315"/>
                    </a:lnTo>
                    <a:lnTo>
                      <a:pt x="1225" y="1316"/>
                    </a:lnTo>
                    <a:lnTo>
                      <a:pt x="1227" y="1316"/>
                    </a:lnTo>
                    <a:lnTo>
                      <a:pt x="1227" y="1315"/>
                    </a:lnTo>
                    <a:lnTo>
                      <a:pt x="1227" y="1316"/>
                    </a:lnTo>
                    <a:lnTo>
                      <a:pt x="1229" y="1316"/>
                    </a:lnTo>
                    <a:lnTo>
                      <a:pt x="1227" y="1316"/>
                    </a:lnTo>
                    <a:lnTo>
                      <a:pt x="1213" y="1313"/>
                    </a:lnTo>
                    <a:lnTo>
                      <a:pt x="1213" y="1315"/>
                    </a:lnTo>
                    <a:lnTo>
                      <a:pt x="1213" y="1316"/>
                    </a:lnTo>
                    <a:lnTo>
                      <a:pt x="1215" y="1318"/>
                    </a:lnTo>
                    <a:lnTo>
                      <a:pt x="1217" y="1318"/>
                    </a:lnTo>
                    <a:lnTo>
                      <a:pt x="1215" y="1320"/>
                    </a:lnTo>
                    <a:lnTo>
                      <a:pt x="1215" y="1322"/>
                    </a:lnTo>
                    <a:lnTo>
                      <a:pt x="1215" y="1323"/>
                    </a:lnTo>
                    <a:lnTo>
                      <a:pt x="1213" y="1323"/>
                    </a:lnTo>
                    <a:lnTo>
                      <a:pt x="1213" y="1325"/>
                    </a:lnTo>
                    <a:lnTo>
                      <a:pt x="1213" y="1327"/>
                    </a:lnTo>
                    <a:lnTo>
                      <a:pt x="1213" y="1328"/>
                    </a:lnTo>
                    <a:lnTo>
                      <a:pt x="1212" y="1328"/>
                    </a:lnTo>
                    <a:lnTo>
                      <a:pt x="1212" y="1330"/>
                    </a:lnTo>
                    <a:lnTo>
                      <a:pt x="1212" y="1332"/>
                    </a:lnTo>
                    <a:lnTo>
                      <a:pt x="1213" y="1332"/>
                    </a:lnTo>
                    <a:lnTo>
                      <a:pt x="1213" y="1333"/>
                    </a:lnTo>
                    <a:lnTo>
                      <a:pt x="1215" y="1335"/>
                    </a:lnTo>
                    <a:lnTo>
                      <a:pt x="1213" y="1335"/>
                    </a:lnTo>
                    <a:lnTo>
                      <a:pt x="1213" y="1337"/>
                    </a:lnTo>
                    <a:lnTo>
                      <a:pt x="1213" y="1339"/>
                    </a:lnTo>
                    <a:lnTo>
                      <a:pt x="1213" y="1340"/>
                    </a:lnTo>
                    <a:lnTo>
                      <a:pt x="1215" y="1342"/>
                    </a:lnTo>
                    <a:lnTo>
                      <a:pt x="1215" y="1344"/>
                    </a:lnTo>
                    <a:lnTo>
                      <a:pt x="1213" y="1345"/>
                    </a:lnTo>
                    <a:lnTo>
                      <a:pt x="1213" y="1347"/>
                    </a:lnTo>
                    <a:lnTo>
                      <a:pt x="1213" y="1349"/>
                    </a:lnTo>
                    <a:lnTo>
                      <a:pt x="1212" y="1349"/>
                    </a:lnTo>
                    <a:lnTo>
                      <a:pt x="1212" y="1350"/>
                    </a:lnTo>
                    <a:lnTo>
                      <a:pt x="1212" y="1352"/>
                    </a:lnTo>
                    <a:lnTo>
                      <a:pt x="1213" y="1352"/>
                    </a:lnTo>
                    <a:lnTo>
                      <a:pt x="1212" y="1354"/>
                    </a:lnTo>
                    <a:lnTo>
                      <a:pt x="1212" y="1356"/>
                    </a:lnTo>
                    <a:lnTo>
                      <a:pt x="1212" y="1357"/>
                    </a:lnTo>
                    <a:lnTo>
                      <a:pt x="1213" y="1357"/>
                    </a:lnTo>
                    <a:lnTo>
                      <a:pt x="1213" y="1359"/>
                    </a:lnTo>
                    <a:lnTo>
                      <a:pt x="1212" y="1361"/>
                    </a:lnTo>
                    <a:lnTo>
                      <a:pt x="1212" y="1362"/>
                    </a:lnTo>
                    <a:lnTo>
                      <a:pt x="1212" y="1364"/>
                    </a:lnTo>
                    <a:lnTo>
                      <a:pt x="1212" y="1366"/>
                    </a:lnTo>
                    <a:lnTo>
                      <a:pt x="1210" y="1367"/>
                    </a:lnTo>
                    <a:lnTo>
                      <a:pt x="1212" y="1369"/>
                    </a:lnTo>
                    <a:lnTo>
                      <a:pt x="1212" y="1371"/>
                    </a:lnTo>
                    <a:lnTo>
                      <a:pt x="1213" y="1371"/>
                    </a:lnTo>
                    <a:lnTo>
                      <a:pt x="1213" y="1373"/>
                    </a:lnTo>
                    <a:lnTo>
                      <a:pt x="1213" y="1374"/>
                    </a:lnTo>
                    <a:lnTo>
                      <a:pt x="1215" y="1378"/>
                    </a:lnTo>
                    <a:lnTo>
                      <a:pt x="1217" y="1379"/>
                    </a:lnTo>
                    <a:lnTo>
                      <a:pt x="1215" y="1379"/>
                    </a:lnTo>
                    <a:lnTo>
                      <a:pt x="1217" y="1379"/>
                    </a:lnTo>
                    <a:lnTo>
                      <a:pt x="1219" y="1381"/>
                    </a:lnTo>
                    <a:lnTo>
                      <a:pt x="1217" y="1381"/>
                    </a:lnTo>
                    <a:lnTo>
                      <a:pt x="1219" y="1383"/>
                    </a:lnTo>
                    <a:lnTo>
                      <a:pt x="1219" y="1384"/>
                    </a:lnTo>
                    <a:lnTo>
                      <a:pt x="1220" y="1384"/>
                    </a:lnTo>
                    <a:lnTo>
                      <a:pt x="1220" y="1386"/>
                    </a:lnTo>
                    <a:lnTo>
                      <a:pt x="1220" y="1388"/>
                    </a:lnTo>
                    <a:lnTo>
                      <a:pt x="1222" y="1390"/>
                    </a:lnTo>
                    <a:lnTo>
                      <a:pt x="1224" y="1390"/>
                    </a:lnTo>
                    <a:lnTo>
                      <a:pt x="1224" y="1391"/>
                    </a:lnTo>
                    <a:lnTo>
                      <a:pt x="1222" y="1393"/>
                    </a:lnTo>
                    <a:lnTo>
                      <a:pt x="1220" y="1393"/>
                    </a:lnTo>
                    <a:lnTo>
                      <a:pt x="1220" y="1395"/>
                    </a:lnTo>
                    <a:lnTo>
                      <a:pt x="1220" y="1396"/>
                    </a:lnTo>
                    <a:lnTo>
                      <a:pt x="1220" y="1398"/>
                    </a:lnTo>
                    <a:lnTo>
                      <a:pt x="1222" y="1398"/>
                    </a:lnTo>
                    <a:lnTo>
                      <a:pt x="1224" y="1398"/>
                    </a:lnTo>
                    <a:lnTo>
                      <a:pt x="1225" y="1396"/>
                    </a:lnTo>
                    <a:lnTo>
                      <a:pt x="1227" y="1395"/>
                    </a:lnTo>
                    <a:lnTo>
                      <a:pt x="1227" y="1396"/>
                    </a:lnTo>
                    <a:lnTo>
                      <a:pt x="1229" y="1395"/>
                    </a:lnTo>
                    <a:lnTo>
                      <a:pt x="1230" y="1395"/>
                    </a:lnTo>
                    <a:lnTo>
                      <a:pt x="1232" y="1393"/>
                    </a:lnTo>
                    <a:lnTo>
                      <a:pt x="1232" y="1391"/>
                    </a:lnTo>
                    <a:lnTo>
                      <a:pt x="1234" y="1391"/>
                    </a:lnTo>
                    <a:lnTo>
                      <a:pt x="1234" y="1390"/>
                    </a:lnTo>
                    <a:lnTo>
                      <a:pt x="1236" y="1390"/>
                    </a:lnTo>
                    <a:lnTo>
                      <a:pt x="1237" y="1388"/>
                    </a:lnTo>
                    <a:lnTo>
                      <a:pt x="1239" y="1388"/>
                    </a:lnTo>
                    <a:lnTo>
                      <a:pt x="1241" y="1390"/>
                    </a:lnTo>
                    <a:lnTo>
                      <a:pt x="1241" y="1388"/>
                    </a:lnTo>
                    <a:lnTo>
                      <a:pt x="1242" y="1390"/>
                    </a:lnTo>
                    <a:lnTo>
                      <a:pt x="1244" y="1391"/>
                    </a:lnTo>
                    <a:lnTo>
                      <a:pt x="1244" y="1390"/>
                    </a:lnTo>
                    <a:lnTo>
                      <a:pt x="1244" y="1388"/>
                    </a:lnTo>
                    <a:lnTo>
                      <a:pt x="1246" y="1388"/>
                    </a:lnTo>
                    <a:lnTo>
                      <a:pt x="1247" y="1386"/>
                    </a:lnTo>
                    <a:lnTo>
                      <a:pt x="1249" y="1388"/>
                    </a:lnTo>
                    <a:lnTo>
                      <a:pt x="1251" y="1388"/>
                    </a:lnTo>
                    <a:lnTo>
                      <a:pt x="1253" y="1388"/>
                    </a:lnTo>
                    <a:lnTo>
                      <a:pt x="1253" y="1390"/>
                    </a:lnTo>
                    <a:lnTo>
                      <a:pt x="1254" y="1390"/>
                    </a:lnTo>
                    <a:lnTo>
                      <a:pt x="1254" y="1391"/>
                    </a:lnTo>
                    <a:lnTo>
                      <a:pt x="1253" y="1393"/>
                    </a:lnTo>
                    <a:lnTo>
                      <a:pt x="1253" y="1395"/>
                    </a:lnTo>
                    <a:lnTo>
                      <a:pt x="1253" y="1396"/>
                    </a:lnTo>
                    <a:lnTo>
                      <a:pt x="1254" y="1396"/>
                    </a:lnTo>
                    <a:lnTo>
                      <a:pt x="1254" y="1398"/>
                    </a:lnTo>
                    <a:lnTo>
                      <a:pt x="1254" y="1400"/>
                    </a:lnTo>
                    <a:lnTo>
                      <a:pt x="1256" y="1401"/>
                    </a:lnTo>
                    <a:lnTo>
                      <a:pt x="1256" y="1403"/>
                    </a:lnTo>
                    <a:lnTo>
                      <a:pt x="1254" y="1405"/>
                    </a:lnTo>
                    <a:lnTo>
                      <a:pt x="1254" y="1407"/>
                    </a:lnTo>
                    <a:lnTo>
                      <a:pt x="1254" y="1408"/>
                    </a:lnTo>
                    <a:lnTo>
                      <a:pt x="1254" y="1410"/>
                    </a:lnTo>
                    <a:lnTo>
                      <a:pt x="1253" y="1410"/>
                    </a:lnTo>
                    <a:lnTo>
                      <a:pt x="1253" y="1408"/>
                    </a:lnTo>
                    <a:lnTo>
                      <a:pt x="1251" y="1408"/>
                    </a:lnTo>
                    <a:lnTo>
                      <a:pt x="1251" y="1410"/>
                    </a:lnTo>
                    <a:lnTo>
                      <a:pt x="1251" y="1412"/>
                    </a:lnTo>
                    <a:lnTo>
                      <a:pt x="1249" y="1413"/>
                    </a:lnTo>
                    <a:lnTo>
                      <a:pt x="1251" y="1413"/>
                    </a:lnTo>
                    <a:lnTo>
                      <a:pt x="1251" y="1415"/>
                    </a:lnTo>
                    <a:lnTo>
                      <a:pt x="1251" y="1417"/>
                    </a:lnTo>
                    <a:lnTo>
                      <a:pt x="1253" y="1418"/>
                    </a:lnTo>
                    <a:lnTo>
                      <a:pt x="1254" y="1418"/>
                    </a:lnTo>
                    <a:lnTo>
                      <a:pt x="1254" y="1420"/>
                    </a:lnTo>
                    <a:lnTo>
                      <a:pt x="1254" y="1422"/>
                    </a:lnTo>
                    <a:lnTo>
                      <a:pt x="1254" y="1424"/>
                    </a:lnTo>
                    <a:lnTo>
                      <a:pt x="1253" y="1424"/>
                    </a:lnTo>
                    <a:lnTo>
                      <a:pt x="1253" y="1425"/>
                    </a:lnTo>
                    <a:lnTo>
                      <a:pt x="1251" y="1425"/>
                    </a:lnTo>
                    <a:lnTo>
                      <a:pt x="1253" y="1427"/>
                    </a:lnTo>
                    <a:lnTo>
                      <a:pt x="1253" y="1429"/>
                    </a:lnTo>
                    <a:lnTo>
                      <a:pt x="1253" y="1430"/>
                    </a:lnTo>
                    <a:lnTo>
                      <a:pt x="1253" y="1432"/>
                    </a:lnTo>
                    <a:lnTo>
                      <a:pt x="1253" y="1434"/>
                    </a:lnTo>
                    <a:lnTo>
                      <a:pt x="1253" y="1435"/>
                    </a:lnTo>
                    <a:lnTo>
                      <a:pt x="1251" y="1435"/>
                    </a:lnTo>
                    <a:lnTo>
                      <a:pt x="1249" y="1435"/>
                    </a:lnTo>
                    <a:lnTo>
                      <a:pt x="1251" y="1435"/>
                    </a:lnTo>
                    <a:lnTo>
                      <a:pt x="1249" y="1437"/>
                    </a:lnTo>
                    <a:lnTo>
                      <a:pt x="1249" y="1439"/>
                    </a:lnTo>
                    <a:lnTo>
                      <a:pt x="1251" y="1439"/>
                    </a:lnTo>
                    <a:lnTo>
                      <a:pt x="1253" y="1439"/>
                    </a:lnTo>
                    <a:lnTo>
                      <a:pt x="1253" y="1441"/>
                    </a:lnTo>
                    <a:lnTo>
                      <a:pt x="1254" y="1442"/>
                    </a:lnTo>
                    <a:lnTo>
                      <a:pt x="1254" y="1444"/>
                    </a:lnTo>
                    <a:lnTo>
                      <a:pt x="1254" y="1446"/>
                    </a:lnTo>
                    <a:lnTo>
                      <a:pt x="1256" y="1446"/>
                    </a:lnTo>
                    <a:lnTo>
                      <a:pt x="1258" y="1446"/>
                    </a:lnTo>
                    <a:lnTo>
                      <a:pt x="1258" y="1447"/>
                    </a:lnTo>
                    <a:lnTo>
                      <a:pt x="1259" y="1447"/>
                    </a:lnTo>
                    <a:lnTo>
                      <a:pt x="1259" y="1449"/>
                    </a:lnTo>
                    <a:lnTo>
                      <a:pt x="1261" y="1449"/>
                    </a:lnTo>
                    <a:lnTo>
                      <a:pt x="1261" y="1451"/>
                    </a:lnTo>
                    <a:lnTo>
                      <a:pt x="1263" y="1451"/>
                    </a:lnTo>
                    <a:lnTo>
                      <a:pt x="1263" y="1453"/>
                    </a:lnTo>
                    <a:lnTo>
                      <a:pt x="1264" y="1453"/>
                    </a:lnTo>
                    <a:lnTo>
                      <a:pt x="1264" y="1454"/>
                    </a:lnTo>
                    <a:lnTo>
                      <a:pt x="1266" y="1456"/>
                    </a:lnTo>
                    <a:lnTo>
                      <a:pt x="1266" y="1458"/>
                    </a:lnTo>
                    <a:lnTo>
                      <a:pt x="1264" y="1458"/>
                    </a:lnTo>
                    <a:lnTo>
                      <a:pt x="1264" y="1459"/>
                    </a:lnTo>
                    <a:lnTo>
                      <a:pt x="1263" y="1459"/>
                    </a:lnTo>
                    <a:lnTo>
                      <a:pt x="1263" y="1461"/>
                    </a:lnTo>
                    <a:lnTo>
                      <a:pt x="1264" y="1461"/>
                    </a:lnTo>
                    <a:lnTo>
                      <a:pt x="1266" y="1461"/>
                    </a:lnTo>
                    <a:lnTo>
                      <a:pt x="1266" y="1463"/>
                    </a:lnTo>
                    <a:lnTo>
                      <a:pt x="1275" y="1461"/>
                    </a:lnTo>
                    <a:lnTo>
                      <a:pt x="1283" y="1461"/>
                    </a:lnTo>
                    <a:lnTo>
                      <a:pt x="1285" y="1461"/>
                    </a:lnTo>
                    <a:lnTo>
                      <a:pt x="1288" y="1463"/>
                    </a:lnTo>
                    <a:lnTo>
                      <a:pt x="1302" y="1461"/>
                    </a:lnTo>
                    <a:lnTo>
                      <a:pt x="1309" y="1463"/>
                    </a:lnTo>
                    <a:lnTo>
                      <a:pt x="1314" y="1461"/>
                    </a:lnTo>
                    <a:lnTo>
                      <a:pt x="1319" y="1463"/>
                    </a:lnTo>
                    <a:lnTo>
                      <a:pt x="1331" y="1461"/>
                    </a:lnTo>
                    <a:lnTo>
                      <a:pt x="1334" y="1463"/>
                    </a:lnTo>
                    <a:lnTo>
                      <a:pt x="1336" y="1464"/>
                    </a:lnTo>
                    <a:lnTo>
                      <a:pt x="1338" y="1466"/>
                    </a:lnTo>
                    <a:lnTo>
                      <a:pt x="1341" y="1466"/>
                    </a:lnTo>
                    <a:lnTo>
                      <a:pt x="1344" y="1468"/>
                    </a:lnTo>
                    <a:lnTo>
                      <a:pt x="1348" y="1470"/>
                    </a:lnTo>
                    <a:lnTo>
                      <a:pt x="1349" y="1470"/>
                    </a:lnTo>
                    <a:lnTo>
                      <a:pt x="1351" y="1471"/>
                    </a:lnTo>
                    <a:lnTo>
                      <a:pt x="1355" y="1471"/>
                    </a:lnTo>
                    <a:lnTo>
                      <a:pt x="1358" y="1471"/>
                    </a:lnTo>
                    <a:lnTo>
                      <a:pt x="1360" y="1471"/>
                    </a:lnTo>
                    <a:lnTo>
                      <a:pt x="1361" y="1473"/>
                    </a:lnTo>
                    <a:lnTo>
                      <a:pt x="1363" y="1473"/>
                    </a:lnTo>
                    <a:lnTo>
                      <a:pt x="1365" y="1473"/>
                    </a:lnTo>
                    <a:lnTo>
                      <a:pt x="1366" y="1475"/>
                    </a:lnTo>
                    <a:lnTo>
                      <a:pt x="1368" y="1475"/>
                    </a:lnTo>
                    <a:lnTo>
                      <a:pt x="1372" y="1476"/>
                    </a:lnTo>
                    <a:lnTo>
                      <a:pt x="1373" y="1476"/>
                    </a:lnTo>
                    <a:lnTo>
                      <a:pt x="1373" y="1478"/>
                    </a:lnTo>
                    <a:lnTo>
                      <a:pt x="1375" y="1478"/>
                    </a:lnTo>
                    <a:lnTo>
                      <a:pt x="1377" y="1478"/>
                    </a:lnTo>
                    <a:lnTo>
                      <a:pt x="1378" y="1478"/>
                    </a:lnTo>
                    <a:lnTo>
                      <a:pt x="1378" y="1480"/>
                    </a:lnTo>
                    <a:lnTo>
                      <a:pt x="1380" y="1480"/>
                    </a:lnTo>
                    <a:lnTo>
                      <a:pt x="1382" y="1480"/>
                    </a:lnTo>
                    <a:lnTo>
                      <a:pt x="1383" y="1480"/>
                    </a:lnTo>
                    <a:lnTo>
                      <a:pt x="1385" y="1480"/>
                    </a:lnTo>
                    <a:lnTo>
                      <a:pt x="1385" y="1481"/>
                    </a:lnTo>
                    <a:lnTo>
                      <a:pt x="1385" y="1483"/>
                    </a:lnTo>
                    <a:lnTo>
                      <a:pt x="1383" y="1483"/>
                    </a:lnTo>
                    <a:lnTo>
                      <a:pt x="1383" y="1481"/>
                    </a:lnTo>
                    <a:lnTo>
                      <a:pt x="1382" y="1481"/>
                    </a:lnTo>
                    <a:lnTo>
                      <a:pt x="1382" y="1480"/>
                    </a:lnTo>
                    <a:lnTo>
                      <a:pt x="1380" y="1481"/>
                    </a:lnTo>
                    <a:lnTo>
                      <a:pt x="1378" y="1480"/>
                    </a:lnTo>
                    <a:lnTo>
                      <a:pt x="1377" y="1480"/>
                    </a:lnTo>
                    <a:lnTo>
                      <a:pt x="1375" y="1480"/>
                    </a:lnTo>
                    <a:lnTo>
                      <a:pt x="1373" y="1480"/>
                    </a:lnTo>
                    <a:lnTo>
                      <a:pt x="1373" y="1478"/>
                    </a:lnTo>
                    <a:lnTo>
                      <a:pt x="1372" y="1480"/>
                    </a:lnTo>
                    <a:lnTo>
                      <a:pt x="1372" y="1478"/>
                    </a:lnTo>
                    <a:lnTo>
                      <a:pt x="1370" y="1480"/>
                    </a:lnTo>
                    <a:lnTo>
                      <a:pt x="1368" y="1478"/>
                    </a:lnTo>
                    <a:lnTo>
                      <a:pt x="1366" y="1478"/>
                    </a:lnTo>
                    <a:lnTo>
                      <a:pt x="1365" y="1476"/>
                    </a:lnTo>
                    <a:lnTo>
                      <a:pt x="1363" y="1475"/>
                    </a:lnTo>
                    <a:lnTo>
                      <a:pt x="1361" y="1475"/>
                    </a:lnTo>
                    <a:lnTo>
                      <a:pt x="1361" y="1473"/>
                    </a:lnTo>
                    <a:lnTo>
                      <a:pt x="1360" y="1473"/>
                    </a:lnTo>
                    <a:lnTo>
                      <a:pt x="1358" y="1473"/>
                    </a:lnTo>
                    <a:lnTo>
                      <a:pt x="1356" y="1473"/>
                    </a:lnTo>
                    <a:lnTo>
                      <a:pt x="1356" y="1475"/>
                    </a:lnTo>
                    <a:lnTo>
                      <a:pt x="1355" y="1475"/>
                    </a:lnTo>
                    <a:lnTo>
                      <a:pt x="1353" y="1475"/>
                    </a:lnTo>
                    <a:lnTo>
                      <a:pt x="1353" y="1476"/>
                    </a:lnTo>
                    <a:lnTo>
                      <a:pt x="1351" y="1476"/>
                    </a:lnTo>
                    <a:lnTo>
                      <a:pt x="1349" y="1476"/>
                    </a:lnTo>
                    <a:lnTo>
                      <a:pt x="1349" y="1478"/>
                    </a:lnTo>
                    <a:lnTo>
                      <a:pt x="1349" y="1480"/>
                    </a:lnTo>
                    <a:lnTo>
                      <a:pt x="1348" y="1480"/>
                    </a:lnTo>
                    <a:lnTo>
                      <a:pt x="1349" y="1481"/>
                    </a:lnTo>
                    <a:lnTo>
                      <a:pt x="1348" y="1481"/>
                    </a:lnTo>
                    <a:lnTo>
                      <a:pt x="1349" y="1483"/>
                    </a:lnTo>
                    <a:lnTo>
                      <a:pt x="1348" y="1483"/>
                    </a:lnTo>
                    <a:lnTo>
                      <a:pt x="1346" y="1485"/>
                    </a:lnTo>
                    <a:lnTo>
                      <a:pt x="1346" y="1487"/>
                    </a:lnTo>
                    <a:lnTo>
                      <a:pt x="1346" y="1488"/>
                    </a:lnTo>
                    <a:lnTo>
                      <a:pt x="1344" y="1488"/>
                    </a:lnTo>
                    <a:lnTo>
                      <a:pt x="1344" y="1490"/>
                    </a:lnTo>
                    <a:lnTo>
                      <a:pt x="1343" y="1492"/>
                    </a:lnTo>
                    <a:lnTo>
                      <a:pt x="1341" y="1492"/>
                    </a:lnTo>
                    <a:lnTo>
                      <a:pt x="1339" y="1492"/>
                    </a:lnTo>
                    <a:lnTo>
                      <a:pt x="1338" y="1490"/>
                    </a:lnTo>
                    <a:lnTo>
                      <a:pt x="1338" y="1488"/>
                    </a:lnTo>
                    <a:lnTo>
                      <a:pt x="1336" y="1488"/>
                    </a:lnTo>
                    <a:lnTo>
                      <a:pt x="1336" y="1490"/>
                    </a:lnTo>
                    <a:lnTo>
                      <a:pt x="1334" y="1490"/>
                    </a:lnTo>
                    <a:lnTo>
                      <a:pt x="1332" y="1492"/>
                    </a:lnTo>
                    <a:lnTo>
                      <a:pt x="1331" y="1492"/>
                    </a:lnTo>
                    <a:lnTo>
                      <a:pt x="1331" y="1493"/>
                    </a:lnTo>
                    <a:lnTo>
                      <a:pt x="1329" y="1493"/>
                    </a:lnTo>
                    <a:lnTo>
                      <a:pt x="1327" y="1493"/>
                    </a:lnTo>
                    <a:lnTo>
                      <a:pt x="1326" y="1495"/>
                    </a:lnTo>
                    <a:lnTo>
                      <a:pt x="1324" y="1495"/>
                    </a:lnTo>
                    <a:lnTo>
                      <a:pt x="1324" y="1497"/>
                    </a:lnTo>
                    <a:lnTo>
                      <a:pt x="1324" y="1498"/>
                    </a:lnTo>
                    <a:lnTo>
                      <a:pt x="1324" y="1497"/>
                    </a:lnTo>
                    <a:lnTo>
                      <a:pt x="1322" y="1497"/>
                    </a:lnTo>
                    <a:lnTo>
                      <a:pt x="1321" y="1497"/>
                    </a:lnTo>
                    <a:lnTo>
                      <a:pt x="1321" y="1498"/>
                    </a:lnTo>
                    <a:lnTo>
                      <a:pt x="1319" y="1498"/>
                    </a:lnTo>
                    <a:lnTo>
                      <a:pt x="1317" y="1500"/>
                    </a:lnTo>
                    <a:lnTo>
                      <a:pt x="1315" y="1500"/>
                    </a:lnTo>
                    <a:lnTo>
                      <a:pt x="1314" y="1502"/>
                    </a:lnTo>
                    <a:lnTo>
                      <a:pt x="1312" y="1502"/>
                    </a:lnTo>
                    <a:lnTo>
                      <a:pt x="1312" y="1500"/>
                    </a:lnTo>
                    <a:lnTo>
                      <a:pt x="1314" y="1500"/>
                    </a:lnTo>
                    <a:lnTo>
                      <a:pt x="1314" y="1498"/>
                    </a:lnTo>
                    <a:lnTo>
                      <a:pt x="1312" y="1498"/>
                    </a:lnTo>
                    <a:lnTo>
                      <a:pt x="1312" y="1500"/>
                    </a:lnTo>
                    <a:lnTo>
                      <a:pt x="1310" y="1502"/>
                    </a:lnTo>
                    <a:lnTo>
                      <a:pt x="1310" y="1500"/>
                    </a:lnTo>
                    <a:lnTo>
                      <a:pt x="1309" y="1502"/>
                    </a:lnTo>
                    <a:lnTo>
                      <a:pt x="1307" y="1502"/>
                    </a:lnTo>
                    <a:lnTo>
                      <a:pt x="1309" y="1504"/>
                    </a:lnTo>
                    <a:lnTo>
                      <a:pt x="1307" y="1504"/>
                    </a:lnTo>
                    <a:lnTo>
                      <a:pt x="1307" y="1502"/>
                    </a:lnTo>
                    <a:lnTo>
                      <a:pt x="1305" y="1502"/>
                    </a:lnTo>
                    <a:lnTo>
                      <a:pt x="1305" y="1504"/>
                    </a:lnTo>
                    <a:lnTo>
                      <a:pt x="1304" y="1504"/>
                    </a:lnTo>
                    <a:lnTo>
                      <a:pt x="1304" y="1502"/>
                    </a:lnTo>
                    <a:lnTo>
                      <a:pt x="1302" y="1502"/>
                    </a:lnTo>
                    <a:lnTo>
                      <a:pt x="1304" y="1502"/>
                    </a:lnTo>
                    <a:lnTo>
                      <a:pt x="1302" y="1502"/>
                    </a:lnTo>
                    <a:lnTo>
                      <a:pt x="1302" y="1504"/>
                    </a:lnTo>
                    <a:lnTo>
                      <a:pt x="1304" y="1504"/>
                    </a:lnTo>
                    <a:lnTo>
                      <a:pt x="1305" y="1504"/>
                    </a:lnTo>
                    <a:lnTo>
                      <a:pt x="1304" y="1505"/>
                    </a:lnTo>
                    <a:lnTo>
                      <a:pt x="1305" y="1505"/>
                    </a:lnTo>
                    <a:lnTo>
                      <a:pt x="1307" y="1505"/>
                    </a:lnTo>
                    <a:lnTo>
                      <a:pt x="1305" y="1507"/>
                    </a:lnTo>
                    <a:lnTo>
                      <a:pt x="1304" y="1507"/>
                    </a:lnTo>
                    <a:lnTo>
                      <a:pt x="1304" y="1509"/>
                    </a:lnTo>
                    <a:lnTo>
                      <a:pt x="1304" y="1507"/>
                    </a:lnTo>
                    <a:lnTo>
                      <a:pt x="1304" y="1509"/>
                    </a:lnTo>
                    <a:lnTo>
                      <a:pt x="1304" y="1510"/>
                    </a:lnTo>
                    <a:lnTo>
                      <a:pt x="1304" y="1512"/>
                    </a:lnTo>
                    <a:lnTo>
                      <a:pt x="1302" y="1512"/>
                    </a:lnTo>
                    <a:lnTo>
                      <a:pt x="1302" y="1514"/>
                    </a:lnTo>
                    <a:lnTo>
                      <a:pt x="1304" y="1514"/>
                    </a:lnTo>
                    <a:lnTo>
                      <a:pt x="1305" y="1514"/>
                    </a:lnTo>
                    <a:lnTo>
                      <a:pt x="1304" y="1515"/>
                    </a:lnTo>
                    <a:lnTo>
                      <a:pt x="1304" y="1517"/>
                    </a:lnTo>
                    <a:lnTo>
                      <a:pt x="1304" y="1519"/>
                    </a:lnTo>
                    <a:lnTo>
                      <a:pt x="1304" y="1521"/>
                    </a:lnTo>
                    <a:lnTo>
                      <a:pt x="1302" y="1521"/>
                    </a:lnTo>
                    <a:lnTo>
                      <a:pt x="1302" y="1522"/>
                    </a:lnTo>
                    <a:lnTo>
                      <a:pt x="1302" y="1524"/>
                    </a:lnTo>
                    <a:lnTo>
                      <a:pt x="1302" y="1526"/>
                    </a:lnTo>
                    <a:lnTo>
                      <a:pt x="1302" y="1527"/>
                    </a:lnTo>
                    <a:lnTo>
                      <a:pt x="1300" y="1527"/>
                    </a:lnTo>
                    <a:lnTo>
                      <a:pt x="1300" y="1529"/>
                    </a:lnTo>
                    <a:lnTo>
                      <a:pt x="1300" y="1531"/>
                    </a:lnTo>
                    <a:lnTo>
                      <a:pt x="1298" y="1532"/>
                    </a:lnTo>
                    <a:lnTo>
                      <a:pt x="1300" y="1532"/>
                    </a:lnTo>
                    <a:lnTo>
                      <a:pt x="1300" y="1534"/>
                    </a:lnTo>
                    <a:lnTo>
                      <a:pt x="1300" y="1536"/>
                    </a:lnTo>
                    <a:lnTo>
                      <a:pt x="1298" y="1538"/>
                    </a:lnTo>
                    <a:lnTo>
                      <a:pt x="1298" y="1539"/>
                    </a:lnTo>
                    <a:lnTo>
                      <a:pt x="1298" y="1541"/>
                    </a:lnTo>
                    <a:lnTo>
                      <a:pt x="1298" y="1543"/>
                    </a:lnTo>
                    <a:lnTo>
                      <a:pt x="1298" y="1544"/>
                    </a:lnTo>
                    <a:lnTo>
                      <a:pt x="1298" y="1546"/>
                    </a:lnTo>
                    <a:lnTo>
                      <a:pt x="1300" y="1548"/>
                    </a:lnTo>
                    <a:lnTo>
                      <a:pt x="1300" y="1549"/>
                    </a:lnTo>
                    <a:lnTo>
                      <a:pt x="1300" y="1551"/>
                    </a:lnTo>
                    <a:lnTo>
                      <a:pt x="1300" y="1553"/>
                    </a:lnTo>
                    <a:lnTo>
                      <a:pt x="1298" y="1553"/>
                    </a:lnTo>
                    <a:lnTo>
                      <a:pt x="1300" y="1555"/>
                    </a:lnTo>
                    <a:lnTo>
                      <a:pt x="1298" y="1556"/>
                    </a:lnTo>
                    <a:lnTo>
                      <a:pt x="1298" y="1558"/>
                    </a:lnTo>
                    <a:lnTo>
                      <a:pt x="1298" y="1560"/>
                    </a:lnTo>
                    <a:lnTo>
                      <a:pt x="1298" y="1561"/>
                    </a:lnTo>
                    <a:lnTo>
                      <a:pt x="1297" y="1561"/>
                    </a:lnTo>
                    <a:lnTo>
                      <a:pt x="1297" y="1563"/>
                    </a:lnTo>
                    <a:lnTo>
                      <a:pt x="1295" y="1565"/>
                    </a:lnTo>
                    <a:lnTo>
                      <a:pt x="1295" y="1563"/>
                    </a:lnTo>
                    <a:lnTo>
                      <a:pt x="1295" y="1565"/>
                    </a:lnTo>
                    <a:lnTo>
                      <a:pt x="1293" y="1565"/>
                    </a:lnTo>
                    <a:lnTo>
                      <a:pt x="1292" y="1566"/>
                    </a:lnTo>
                    <a:lnTo>
                      <a:pt x="1290" y="1566"/>
                    </a:lnTo>
                    <a:lnTo>
                      <a:pt x="1290" y="1568"/>
                    </a:lnTo>
                    <a:lnTo>
                      <a:pt x="1288" y="1568"/>
                    </a:lnTo>
                    <a:lnTo>
                      <a:pt x="1287" y="1568"/>
                    </a:lnTo>
                    <a:lnTo>
                      <a:pt x="1287" y="1566"/>
                    </a:lnTo>
                    <a:lnTo>
                      <a:pt x="1285" y="1566"/>
                    </a:lnTo>
                    <a:lnTo>
                      <a:pt x="1283" y="1565"/>
                    </a:lnTo>
                    <a:lnTo>
                      <a:pt x="1281" y="1565"/>
                    </a:lnTo>
                    <a:lnTo>
                      <a:pt x="1280" y="1565"/>
                    </a:lnTo>
                    <a:lnTo>
                      <a:pt x="1280" y="1563"/>
                    </a:lnTo>
                    <a:lnTo>
                      <a:pt x="1278" y="1563"/>
                    </a:lnTo>
                    <a:lnTo>
                      <a:pt x="1276" y="1563"/>
                    </a:lnTo>
                    <a:lnTo>
                      <a:pt x="1275" y="1563"/>
                    </a:lnTo>
                    <a:lnTo>
                      <a:pt x="1273" y="1563"/>
                    </a:lnTo>
                    <a:lnTo>
                      <a:pt x="1273" y="1561"/>
                    </a:lnTo>
                    <a:lnTo>
                      <a:pt x="1271" y="1561"/>
                    </a:lnTo>
                    <a:lnTo>
                      <a:pt x="1271" y="1560"/>
                    </a:lnTo>
                    <a:lnTo>
                      <a:pt x="1270" y="1560"/>
                    </a:lnTo>
                    <a:lnTo>
                      <a:pt x="1268" y="1560"/>
                    </a:lnTo>
                    <a:lnTo>
                      <a:pt x="1268" y="1558"/>
                    </a:lnTo>
                    <a:lnTo>
                      <a:pt x="1266" y="1556"/>
                    </a:lnTo>
                    <a:lnTo>
                      <a:pt x="1268" y="1556"/>
                    </a:lnTo>
                    <a:lnTo>
                      <a:pt x="1266" y="1556"/>
                    </a:lnTo>
                    <a:lnTo>
                      <a:pt x="1266" y="1558"/>
                    </a:lnTo>
                    <a:lnTo>
                      <a:pt x="1264" y="1558"/>
                    </a:lnTo>
                    <a:lnTo>
                      <a:pt x="1264" y="1556"/>
                    </a:lnTo>
                    <a:lnTo>
                      <a:pt x="1263" y="1556"/>
                    </a:lnTo>
                    <a:lnTo>
                      <a:pt x="1263" y="1558"/>
                    </a:lnTo>
                    <a:lnTo>
                      <a:pt x="1263" y="1556"/>
                    </a:lnTo>
                    <a:lnTo>
                      <a:pt x="1261" y="1556"/>
                    </a:lnTo>
                    <a:lnTo>
                      <a:pt x="1259" y="1556"/>
                    </a:lnTo>
                    <a:lnTo>
                      <a:pt x="1259" y="1555"/>
                    </a:lnTo>
                    <a:lnTo>
                      <a:pt x="1258" y="1555"/>
                    </a:lnTo>
                    <a:lnTo>
                      <a:pt x="1258" y="1553"/>
                    </a:lnTo>
                    <a:lnTo>
                      <a:pt x="1256" y="1553"/>
                    </a:lnTo>
                    <a:lnTo>
                      <a:pt x="1256" y="1551"/>
                    </a:lnTo>
                    <a:lnTo>
                      <a:pt x="1254" y="1551"/>
                    </a:lnTo>
                    <a:lnTo>
                      <a:pt x="1254" y="1549"/>
                    </a:lnTo>
                    <a:lnTo>
                      <a:pt x="1253" y="1549"/>
                    </a:lnTo>
                    <a:lnTo>
                      <a:pt x="1253" y="1548"/>
                    </a:lnTo>
                    <a:lnTo>
                      <a:pt x="1251" y="1546"/>
                    </a:lnTo>
                    <a:lnTo>
                      <a:pt x="1251" y="1544"/>
                    </a:lnTo>
                    <a:lnTo>
                      <a:pt x="1251" y="1546"/>
                    </a:lnTo>
                    <a:lnTo>
                      <a:pt x="1249" y="1544"/>
                    </a:lnTo>
                    <a:lnTo>
                      <a:pt x="1249" y="1543"/>
                    </a:lnTo>
                    <a:lnTo>
                      <a:pt x="1249" y="1541"/>
                    </a:lnTo>
                    <a:lnTo>
                      <a:pt x="1247" y="1541"/>
                    </a:lnTo>
                    <a:lnTo>
                      <a:pt x="1247" y="1539"/>
                    </a:lnTo>
                    <a:lnTo>
                      <a:pt x="1247" y="1538"/>
                    </a:lnTo>
                    <a:lnTo>
                      <a:pt x="1249" y="1539"/>
                    </a:lnTo>
                    <a:lnTo>
                      <a:pt x="1249" y="1538"/>
                    </a:lnTo>
                    <a:lnTo>
                      <a:pt x="1249" y="1536"/>
                    </a:lnTo>
                    <a:lnTo>
                      <a:pt x="1249" y="1534"/>
                    </a:lnTo>
                    <a:lnTo>
                      <a:pt x="1251" y="1534"/>
                    </a:lnTo>
                    <a:lnTo>
                      <a:pt x="1251" y="1532"/>
                    </a:lnTo>
                    <a:lnTo>
                      <a:pt x="1253" y="1532"/>
                    </a:lnTo>
                    <a:lnTo>
                      <a:pt x="1254" y="1531"/>
                    </a:lnTo>
                    <a:lnTo>
                      <a:pt x="1256" y="1532"/>
                    </a:lnTo>
                    <a:lnTo>
                      <a:pt x="1258" y="1532"/>
                    </a:lnTo>
                    <a:lnTo>
                      <a:pt x="1259" y="1532"/>
                    </a:lnTo>
                    <a:lnTo>
                      <a:pt x="1259" y="1531"/>
                    </a:lnTo>
                    <a:lnTo>
                      <a:pt x="1259" y="1532"/>
                    </a:lnTo>
                    <a:lnTo>
                      <a:pt x="1259" y="1534"/>
                    </a:lnTo>
                    <a:lnTo>
                      <a:pt x="1261" y="1534"/>
                    </a:lnTo>
                    <a:lnTo>
                      <a:pt x="1259" y="1536"/>
                    </a:lnTo>
                    <a:lnTo>
                      <a:pt x="1261" y="1536"/>
                    </a:lnTo>
                    <a:lnTo>
                      <a:pt x="1261" y="1538"/>
                    </a:lnTo>
                    <a:lnTo>
                      <a:pt x="1259" y="1539"/>
                    </a:lnTo>
                    <a:lnTo>
                      <a:pt x="1259" y="1541"/>
                    </a:lnTo>
                    <a:lnTo>
                      <a:pt x="1258" y="1541"/>
                    </a:lnTo>
                    <a:lnTo>
                      <a:pt x="1256" y="1543"/>
                    </a:lnTo>
                    <a:lnTo>
                      <a:pt x="1254" y="1541"/>
                    </a:lnTo>
                    <a:lnTo>
                      <a:pt x="1256" y="1543"/>
                    </a:lnTo>
                    <a:lnTo>
                      <a:pt x="1258" y="1543"/>
                    </a:lnTo>
                    <a:lnTo>
                      <a:pt x="1259" y="1541"/>
                    </a:lnTo>
                    <a:lnTo>
                      <a:pt x="1261" y="1541"/>
                    </a:lnTo>
                    <a:lnTo>
                      <a:pt x="1261" y="1539"/>
                    </a:lnTo>
                    <a:lnTo>
                      <a:pt x="1263" y="1539"/>
                    </a:lnTo>
                    <a:lnTo>
                      <a:pt x="1263" y="1538"/>
                    </a:lnTo>
                    <a:lnTo>
                      <a:pt x="1263" y="1536"/>
                    </a:lnTo>
                    <a:lnTo>
                      <a:pt x="1263" y="1534"/>
                    </a:lnTo>
                    <a:lnTo>
                      <a:pt x="1263" y="1532"/>
                    </a:lnTo>
                    <a:lnTo>
                      <a:pt x="1263" y="1531"/>
                    </a:lnTo>
                    <a:lnTo>
                      <a:pt x="1264" y="1531"/>
                    </a:lnTo>
                    <a:lnTo>
                      <a:pt x="1266" y="1531"/>
                    </a:lnTo>
                    <a:lnTo>
                      <a:pt x="1268" y="1531"/>
                    </a:lnTo>
                    <a:lnTo>
                      <a:pt x="1270" y="1531"/>
                    </a:lnTo>
                    <a:lnTo>
                      <a:pt x="1270" y="1532"/>
                    </a:lnTo>
                    <a:lnTo>
                      <a:pt x="1270" y="1534"/>
                    </a:lnTo>
                    <a:lnTo>
                      <a:pt x="1270" y="1536"/>
                    </a:lnTo>
                    <a:lnTo>
                      <a:pt x="1270" y="1538"/>
                    </a:lnTo>
                    <a:lnTo>
                      <a:pt x="1270" y="1539"/>
                    </a:lnTo>
                    <a:lnTo>
                      <a:pt x="1271" y="1541"/>
                    </a:lnTo>
                    <a:lnTo>
                      <a:pt x="1271" y="1543"/>
                    </a:lnTo>
                    <a:lnTo>
                      <a:pt x="1271" y="1541"/>
                    </a:lnTo>
                    <a:lnTo>
                      <a:pt x="1270" y="1543"/>
                    </a:lnTo>
                    <a:lnTo>
                      <a:pt x="1270" y="1544"/>
                    </a:lnTo>
                    <a:lnTo>
                      <a:pt x="1268" y="1544"/>
                    </a:lnTo>
                    <a:lnTo>
                      <a:pt x="1266" y="1546"/>
                    </a:lnTo>
                    <a:lnTo>
                      <a:pt x="1264" y="1546"/>
                    </a:lnTo>
                    <a:lnTo>
                      <a:pt x="1264" y="1548"/>
                    </a:lnTo>
                    <a:lnTo>
                      <a:pt x="1263" y="1548"/>
                    </a:lnTo>
                    <a:lnTo>
                      <a:pt x="1261" y="1548"/>
                    </a:lnTo>
                    <a:lnTo>
                      <a:pt x="1263" y="1548"/>
                    </a:lnTo>
                    <a:lnTo>
                      <a:pt x="1264" y="1549"/>
                    </a:lnTo>
                    <a:lnTo>
                      <a:pt x="1266" y="1548"/>
                    </a:lnTo>
                    <a:lnTo>
                      <a:pt x="1268" y="1548"/>
                    </a:lnTo>
                    <a:lnTo>
                      <a:pt x="1270" y="1546"/>
                    </a:lnTo>
                    <a:lnTo>
                      <a:pt x="1271" y="1544"/>
                    </a:lnTo>
                    <a:lnTo>
                      <a:pt x="1273" y="1543"/>
                    </a:lnTo>
                    <a:lnTo>
                      <a:pt x="1271" y="1543"/>
                    </a:lnTo>
                    <a:lnTo>
                      <a:pt x="1271" y="1541"/>
                    </a:lnTo>
                    <a:lnTo>
                      <a:pt x="1271" y="1539"/>
                    </a:lnTo>
                    <a:lnTo>
                      <a:pt x="1273" y="1538"/>
                    </a:lnTo>
                    <a:lnTo>
                      <a:pt x="1271" y="1538"/>
                    </a:lnTo>
                    <a:lnTo>
                      <a:pt x="1271" y="1536"/>
                    </a:lnTo>
                    <a:lnTo>
                      <a:pt x="1271" y="1534"/>
                    </a:lnTo>
                    <a:lnTo>
                      <a:pt x="1273" y="1536"/>
                    </a:lnTo>
                    <a:lnTo>
                      <a:pt x="1271" y="1534"/>
                    </a:lnTo>
                    <a:lnTo>
                      <a:pt x="1271" y="1532"/>
                    </a:lnTo>
                    <a:lnTo>
                      <a:pt x="1273" y="1532"/>
                    </a:lnTo>
                    <a:lnTo>
                      <a:pt x="1273" y="1531"/>
                    </a:lnTo>
                    <a:lnTo>
                      <a:pt x="1273" y="1529"/>
                    </a:lnTo>
                    <a:lnTo>
                      <a:pt x="1275" y="1529"/>
                    </a:lnTo>
                    <a:lnTo>
                      <a:pt x="1276" y="1529"/>
                    </a:lnTo>
                    <a:lnTo>
                      <a:pt x="1278" y="1527"/>
                    </a:lnTo>
                    <a:lnTo>
                      <a:pt x="1280" y="1527"/>
                    </a:lnTo>
                    <a:lnTo>
                      <a:pt x="1280" y="1526"/>
                    </a:lnTo>
                    <a:lnTo>
                      <a:pt x="1281" y="1526"/>
                    </a:lnTo>
                    <a:lnTo>
                      <a:pt x="1283" y="1526"/>
                    </a:lnTo>
                    <a:lnTo>
                      <a:pt x="1285" y="1524"/>
                    </a:lnTo>
                    <a:lnTo>
                      <a:pt x="1287" y="1524"/>
                    </a:lnTo>
                    <a:lnTo>
                      <a:pt x="1287" y="1522"/>
                    </a:lnTo>
                    <a:lnTo>
                      <a:pt x="1287" y="1521"/>
                    </a:lnTo>
                    <a:lnTo>
                      <a:pt x="1288" y="1521"/>
                    </a:lnTo>
                    <a:lnTo>
                      <a:pt x="1288" y="1519"/>
                    </a:lnTo>
                    <a:lnTo>
                      <a:pt x="1290" y="1517"/>
                    </a:lnTo>
                    <a:lnTo>
                      <a:pt x="1290" y="1515"/>
                    </a:lnTo>
                    <a:lnTo>
                      <a:pt x="1292" y="1515"/>
                    </a:lnTo>
                    <a:lnTo>
                      <a:pt x="1292" y="1514"/>
                    </a:lnTo>
                    <a:lnTo>
                      <a:pt x="1293" y="1514"/>
                    </a:lnTo>
                    <a:lnTo>
                      <a:pt x="1293" y="1512"/>
                    </a:lnTo>
                    <a:lnTo>
                      <a:pt x="1293" y="1510"/>
                    </a:lnTo>
                    <a:lnTo>
                      <a:pt x="1293" y="1509"/>
                    </a:lnTo>
                    <a:lnTo>
                      <a:pt x="1293" y="1507"/>
                    </a:lnTo>
                    <a:lnTo>
                      <a:pt x="1292" y="1507"/>
                    </a:lnTo>
                    <a:lnTo>
                      <a:pt x="1290" y="1507"/>
                    </a:lnTo>
                    <a:lnTo>
                      <a:pt x="1290" y="1505"/>
                    </a:lnTo>
                    <a:lnTo>
                      <a:pt x="1288" y="1505"/>
                    </a:lnTo>
                    <a:lnTo>
                      <a:pt x="1287" y="1507"/>
                    </a:lnTo>
                    <a:lnTo>
                      <a:pt x="1285" y="1507"/>
                    </a:lnTo>
                    <a:lnTo>
                      <a:pt x="1285" y="1505"/>
                    </a:lnTo>
                    <a:lnTo>
                      <a:pt x="1285" y="1504"/>
                    </a:lnTo>
                    <a:lnTo>
                      <a:pt x="1285" y="1502"/>
                    </a:lnTo>
                    <a:lnTo>
                      <a:pt x="1283" y="1502"/>
                    </a:lnTo>
                    <a:lnTo>
                      <a:pt x="1283" y="1500"/>
                    </a:lnTo>
                    <a:lnTo>
                      <a:pt x="1281" y="1498"/>
                    </a:lnTo>
                    <a:lnTo>
                      <a:pt x="1281" y="1497"/>
                    </a:lnTo>
                    <a:lnTo>
                      <a:pt x="1280" y="1497"/>
                    </a:lnTo>
                    <a:lnTo>
                      <a:pt x="1280" y="1495"/>
                    </a:lnTo>
                    <a:lnTo>
                      <a:pt x="1280" y="1493"/>
                    </a:lnTo>
                    <a:lnTo>
                      <a:pt x="1278" y="1493"/>
                    </a:lnTo>
                    <a:lnTo>
                      <a:pt x="1276" y="1493"/>
                    </a:lnTo>
                    <a:lnTo>
                      <a:pt x="1275" y="1493"/>
                    </a:lnTo>
                    <a:lnTo>
                      <a:pt x="1273" y="1493"/>
                    </a:lnTo>
                    <a:lnTo>
                      <a:pt x="1271" y="1493"/>
                    </a:lnTo>
                    <a:lnTo>
                      <a:pt x="1270" y="1493"/>
                    </a:lnTo>
                    <a:lnTo>
                      <a:pt x="1270" y="1492"/>
                    </a:lnTo>
                    <a:lnTo>
                      <a:pt x="1268" y="1492"/>
                    </a:lnTo>
                    <a:lnTo>
                      <a:pt x="1266" y="1492"/>
                    </a:lnTo>
                    <a:lnTo>
                      <a:pt x="1264" y="1492"/>
                    </a:lnTo>
                    <a:lnTo>
                      <a:pt x="1264" y="1493"/>
                    </a:lnTo>
                    <a:lnTo>
                      <a:pt x="1263" y="1492"/>
                    </a:lnTo>
                    <a:lnTo>
                      <a:pt x="1263" y="1493"/>
                    </a:lnTo>
                    <a:lnTo>
                      <a:pt x="1263" y="1492"/>
                    </a:lnTo>
                    <a:lnTo>
                      <a:pt x="1263" y="1493"/>
                    </a:lnTo>
                    <a:lnTo>
                      <a:pt x="1261" y="1492"/>
                    </a:lnTo>
                    <a:lnTo>
                      <a:pt x="1259" y="1492"/>
                    </a:lnTo>
                    <a:lnTo>
                      <a:pt x="1261" y="1492"/>
                    </a:lnTo>
                    <a:lnTo>
                      <a:pt x="1259" y="1493"/>
                    </a:lnTo>
                    <a:lnTo>
                      <a:pt x="1259" y="1492"/>
                    </a:lnTo>
                    <a:lnTo>
                      <a:pt x="1259" y="1490"/>
                    </a:lnTo>
                    <a:lnTo>
                      <a:pt x="1259" y="1492"/>
                    </a:lnTo>
                    <a:lnTo>
                      <a:pt x="1258" y="1490"/>
                    </a:lnTo>
                    <a:lnTo>
                      <a:pt x="1258" y="1492"/>
                    </a:lnTo>
                    <a:lnTo>
                      <a:pt x="1256" y="1492"/>
                    </a:lnTo>
                    <a:lnTo>
                      <a:pt x="1254" y="1492"/>
                    </a:lnTo>
                    <a:lnTo>
                      <a:pt x="1253" y="1492"/>
                    </a:lnTo>
                    <a:lnTo>
                      <a:pt x="1253" y="1493"/>
                    </a:lnTo>
                    <a:lnTo>
                      <a:pt x="1251" y="1495"/>
                    </a:lnTo>
                    <a:lnTo>
                      <a:pt x="1249" y="1495"/>
                    </a:lnTo>
                    <a:lnTo>
                      <a:pt x="1249" y="1497"/>
                    </a:lnTo>
                    <a:lnTo>
                      <a:pt x="1251" y="1497"/>
                    </a:lnTo>
                    <a:lnTo>
                      <a:pt x="1249" y="1498"/>
                    </a:lnTo>
                    <a:lnTo>
                      <a:pt x="1247" y="1498"/>
                    </a:lnTo>
                    <a:lnTo>
                      <a:pt x="1247" y="1497"/>
                    </a:lnTo>
                    <a:lnTo>
                      <a:pt x="1246" y="1497"/>
                    </a:lnTo>
                    <a:lnTo>
                      <a:pt x="1244" y="1495"/>
                    </a:lnTo>
                    <a:lnTo>
                      <a:pt x="1246" y="1495"/>
                    </a:lnTo>
                    <a:lnTo>
                      <a:pt x="1246" y="1493"/>
                    </a:lnTo>
                    <a:lnTo>
                      <a:pt x="1247" y="1493"/>
                    </a:lnTo>
                    <a:lnTo>
                      <a:pt x="1247" y="1492"/>
                    </a:lnTo>
                    <a:lnTo>
                      <a:pt x="1249" y="1493"/>
                    </a:lnTo>
                    <a:lnTo>
                      <a:pt x="1251" y="1493"/>
                    </a:lnTo>
                    <a:lnTo>
                      <a:pt x="1251" y="1492"/>
                    </a:lnTo>
                    <a:lnTo>
                      <a:pt x="1251" y="1490"/>
                    </a:lnTo>
                    <a:lnTo>
                      <a:pt x="1249" y="1490"/>
                    </a:lnTo>
                    <a:lnTo>
                      <a:pt x="1249" y="1492"/>
                    </a:lnTo>
                    <a:lnTo>
                      <a:pt x="1247" y="1492"/>
                    </a:lnTo>
                    <a:lnTo>
                      <a:pt x="1246" y="1492"/>
                    </a:lnTo>
                    <a:lnTo>
                      <a:pt x="1246" y="1493"/>
                    </a:lnTo>
                    <a:lnTo>
                      <a:pt x="1244" y="1493"/>
                    </a:lnTo>
                    <a:lnTo>
                      <a:pt x="1244" y="1495"/>
                    </a:lnTo>
                    <a:lnTo>
                      <a:pt x="1242" y="1493"/>
                    </a:lnTo>
                    <a:lnTo>
                      <a:pt x="1242" y="1492"/>
                    </a:lnTo>
                    <a:lnTo>
                      <a:pt x="1244" y="1490"/>
                    </a:lnTo>
                    <a:lnTo>
                      <a:pt x="1242" y="1492"/>
                    </a:lnTo>
                    <a:lnTo>
                      <a:pt x="1241" y="1492"/>
                    </a:lnTo>
                    <a:lnTo>
                      <a:pt x="1241" y="1493"/>
                    </a:lnTo>
                    <a:lnTo>
                      <a:pt x="1239" y="1493"/>
                    </a:lnTo>
                    <a:lnTo>
                      <a:pt x="1237" y="1493"/>
                    </a:lnTo>
                    <a:lnTo>
                      <a:pt x="1236" y="1492"/>
                    </a:lnTo>
                    <a:lnTo>
                      <a:pt x="1234" y="1492"/>
                    </a:lnTo>
                    <a:lnTo>
                      <a:pt x="1236" y="1493"/>
                    </a:lnTo>
                    <a:lnTo>
                      <a:pt x="1234" y="1493"/>
                    </a:lnTo>
                    <a:lnTo>
                      <a:pt x="1236" y="1493"/>
                    </a:lnTo>
                    <a:lnTo>
                      <a:pt x="1234" y="1493"/>
                    </a:lnTo>
                    <a:lnTo>
                      <a:pt x="1234" y="1495"/>
                    </a:lnTo>
                    <a:lnTo>
                      <a:pt x="1236" y="1495"/>
                    </a:lnTo>
                    <a:lnTo>
                      <a:pt x="1234" y="1495"/>
                    </a:lnTo>
                    <a:lnTo>
                      <a:pt x="1232" y="1495"/>
                    </a:lnTo>
                    <a:lnTo>
                      <a:pt x="1234" y="1495"/>
                    </a:lnTo>
                    <a:lnTo>
                      <a:pt x="1234" y="1497"/>
                    </a:lnTo>
                    <a:lnTo>
                      <a:pt x="1234" y="1498"/>
                    </a:lnTo>
                    <a:lnTo>
                      <a:pt x="1234" y="1497"/>
                    </a:lnTo>
                    <a:lnTo>
                      <a:pt x="1236" y="1497"/>
                    </a:lnTo>
                    <a:lnTo>
                      <a:pt x="1236" y="1495"/>
                    </a:lnTo>
                    <a:lnTo>
                      <a:pt x="1237" y="1497"/>
                    </a:lnTo>
                    <a:lnTo>
                      <a:pt x="1236" y="1498"/>
                    </a:lnTo>
                    <a:lnTo>
                      <a:pt x="1237" y="1497"/>
                    </a:lnTo>
                    <a:lnTo>
                      <a:pt x="1239" y="1497"/>
                    </a:lnTo>
                    <a:lnTo>
                      <a:pt x="1237" y="1498"/>
                    </a:lnTo>
                    <a:lnTo>
                      <a:pt x="1239" y="1497"/>
                    </a:lnTo>
                    <a:lnTo>
                      <a:pt x="1239" y="1498"/>
                    </a:lnTo>
                    <a:lnTo>
                      <a:pt x="1241" y="1498"/>
                    </a:lnTo>
                    <a:lnTo>
                      <a:pt x="1241" y="1500"/>
                    </a:lnTo>
                    <a:lnTo>
                      <a:pt x="1239" y="1502"/>
                    </a:lnTo>
                    <a:lnTo>
                      <a:pt x="1239" y="1504"/>
                    </a:lnTo>
                    <a:lnTo>
                      <a:pt x="1237" y="1504"/>
                    </a:lnTo>
                    <a:lnTo>
                      <a:pt x="1236" y="1505"/>
                    </a:lnTo>
                    <a:lnTo>
                      <a:pt x="1236" y="1507"/>
                    </a:lnTo>
                    <a:lnTo>
                      <a:pt x="1234" y="1507"/>
                    </a:lnTo>
                    <a:lnTo>
                      <a:pt x="1232" y="1505"/>
                    </a:lnTo>
                    <a:lnTo>
                      <a:pt x="1232" y="1507"/>
                    </a:lnTo>
                    <a:lnTo>
                      <a:pt x="1232" y="1509"/>
                    </a:lnTo>
                    <a:lnTo>
                      <a:pt x="1230" y="1509"/>
                    </a:lnTo>
                    <a:lnTo>
                      <a:pt x="1229" y="1509"/>
                    </a:lnTo>
                    <a:lnTo>
                      <a:pt x="1229" y="1510"/>
                    </a:lnTo>
                    <a:lnTo>
                      <a:pt x="1230" y="1510"/>
                    </a:lnTo>
                    <a:lnTo>
                      <a:pt x="1230" y="1512"/>
                    </a:lnTo>
                    <a:lnTo>
                      <a:pt x="1232" y="1512"/>
                    </a:lnTo>
                    <a:lnTo>
                      <a:pt x="1230" y="1514"/>
                    </a:lnTo>
                    <a:lnTo>
                      <a:pt x="1232" y="1515"/>
                    </a:lnTo>
                    <a:lnTo>
                      <a:pt x="1230" y="1515"/>
                    </a:lnTo>
                    <a:lnTo>
                      <a:pt x="1232" y="1515"/>
                    </a:lnTo>
                    <a:lnTo>
                      <a:pt x="1232" y="1517"/>
                    </a:lnTo>
                    <a:lnTo>
                      <a:pt x="1230" y="1517"/>
                    </a:lnTo>
                    <a:lnTo>
                      <a:pt x="1230" y="1519"/>
                    </a:lnTo>
                    <a:lnTo>
                      <a:pt x="1232" y="1519"/>
                    </a:lnTo>
                    <a:lnTo>
                      <a:pt x="1230" y="1521"/>
                    </a:lnTo>
                    <a:lnTo>
                      <a:pt x="1230" y="1522"/>
                    </a:lnTo>
                    <a:lnTo>
                      <a:pt x="1229" y="1521"/>
                    </a:lnTo>
                    <a:lnTo>
                      <a:pt x="1229" y="1522"/>
                    </a:lnTo>
                    <a:lnTo>
                      <a:pt x="1227" y="1522"/>
                    </a:lnTo>
                    <a:lnTo>
                      <a:pt x="1227" y="1524"/>
                    </a:lnTo>
                    <a:lnTo>
                      <a:pt x="1225" y="1524"/>
                    </a:lnTo>
                    <a:lnTo>
                      <a:pt x="1225" y="1522"/>
                    </a:lnTo>
                    <a:lnTo>
                      <a:pt x="1224" y="1521"/>
                    </a:lnTo>
                    <a:lnTo>
                      <a:pt x="1225" y="1521"/>
                    </a:lnTo>
                    <a:lnTo>
                      <a:pt x="1225" y="1519"/>
                    </a:lnTo>
                    <a:lnTo>
                      <a:pt x="1224" y="1519"/>
                    </a:lnTo>
                    <a:lnTo>
                      <a:pt x="1224" y="1521"/>
                    </a:lnTo>
                    <a:lnTo>
                      <a:pt x="1224" y="1522"/>
                    </a:lnTo>
                    <a:lnTo>
                      <a:pt x="1224" y="1524"/>
                    </a:lnTo>
                    <a:lnTo>
                      <a:pt x="1222" y="1522"/>
                    </a:lnTo>
                    <a:lnTo>
                      <a:pt x="1220" y="1522"/>
                    </a:lnTo>
                    <a:lnTo>
                      <a:pt x="1219" y="1522"/>
                    </a:lnTo>
                    <a:lnTo>
                      <a:pt x="1219" y="1521"/>
                    </a:lnTo>
                    <a:lnTo>
                      <a:pt x="1217" y="1521"/>
                    </a:lnTo>
                    <a:lnTo>
                      <a:pt x="1219" y="1521"/>
                    </a:lnTo>
                    <a:lnTo>
                      <a:pt x="1217" y="1521"/>
                    </a:lnTo>
                    <a:lnTo>
                      <a:pt x="1215" y="1519"/>
                    </a:lnTo>
                    <a:lnTo>
                      <a:pt x="1217" y="1517"/>
                    </a:lnTo>
                    <a:lnTo>
                      <a:pt x="1219" y="1517"/>
                    </a:lnTo>
                    <a:lnTo>
                      <a:pt x="1219" y="1519"/>
                    </a:lnTo>
                    <a:lnTo>
                      <a:pt x="1220" y="1517"/>
                    </a:lnTo>
                    <a:lnTo>
                      <a:pt x="1219" y="1517"/>
                    </a:lnTo>
                    <a:lnTo>
                      <a:pt x="1217" y="1515"/>
                    </a:lnTo>
                    <a:lnTo>
                      <a:pt x="1219" y="1515"/>
                    </a:lnTo>
                    <a:lnTo>
                      <a:pt x="1220" y="1515"/>
                    </a:lnTo>
                    <a:lnTo>
                      <a:pt x="1222" y="1515"/>
                    </a:lnTo>
                    <a:lnTo>
                      <a:pt x="1222" y="1517"/>
                    </a:lnTo>
                    <a:lnTo>
                      <a:pt x="1222" y="1515"/>
                    </a:lnTo>
                    <a:lnTo>
                      <a:pt x="1220" y="1515"/>
                    </a:lnTo>
                    <a:lnTo>
                      <a:pt x="1222" y="1514"/>
                    </a:lnTo>
                    <a:lnTo>
                      <a:pt x="1222" y="1512"/>
                    </a:lnTo>
                    <a:lnTo>
                      <a:pt x="1224" y="1512"/>
                    </a:lnTo>
                    <a:lnTo>
                      <a:pt x="1224" y="1514"/>
                    </a:lnTo>
                    <a:lnTo>
                      <a:pt x="1225" y="1514"/>
                    </a:lnTo>
                    <a:lnTo>
                      <a:pt x="1224" y="1512"/>
                    </a:lnTo>
                    <a:lnTo>
                      <a:pt x="1222" y="1512"/>
                    </a:lnTo>
                    <a:lnTo>
                      <a:pt x="1222" y="1514"/>
                    </a:lnTo>
                    <a:lnTo>
                      <a:pt x="1220" y="1514"/>
                    </a:lnTo>
                    <a:lnTo>
                      <a:pt x="1220" y="1512"/>
                    </a:lnTo>
                    <a:lnTo>
                      <a:pt x="1219" y="1514"/>
                    </a:lnTo>
                    <a:lnTo>
                      <a:pt x="1219" y="1512"/>
                    </a:lnTo>
                    <a:lnTo>
                      <a:pt x="1219" y="1514"/>
                    </a:lnTo>
                    <a:lnTo>
                      <a:pt x="1219" y="1512"/>
                    </a:lnTo>
                    <a:lnTo>
                      <a:pt x="1217" y="1512"/>
                    </a:lnTo>
                    <a:lnTo>
                      <a:pt x="1219" y="1514"/>
                    </a:lnTo>
                    <a:lnTo>
                      <a:pt x="1217" y="1514"/>
                    </a:lnTo>
                    <a:lnTo>
                      <a:pt x="1219" y="1515"/>
                    </a:lnTo>
                    <a:lnTo>
                      <a:pt x="1217" y="1515"/>
                    </a:lnTo>
                    <a:lnTo>
                      <a:pt x="1215" y="1515"/>
                    </a:lnTo>
                    <a:lnTo>
                      <a:pt x="1213" y="1515"/>
                    </a:lnTo>
                    <a:lnTo>
                      <a:pt x="1213" y="1514"/>
                    </a:lnTo>
                    <a:lnTo>
                      <a:pt x="1215" y="1514"/>
                    </a:lnTo>
                    <a:lnTo>
                      <a:pt x="1217" y="1514"/>
                    </a:lnTo>
                    <a:lnTo>
                      <a:pt x="1215" y="1512"/>
                    </a:lnTo>
                    <a:lnTo>
                      <a:pt x="1213" y="1512"/>
                    </a:lnTo>
                    <a:lnTo>
                      <a:pt x="1215" y="1514"/>
                    </a:lnTo>
                    <a:lnTo>
                      <a:pt x="1213" y="1514"/>
                    </a:lnTo>
                    <a:lnTo>
                      <a:pt x="1213" y="1512"/>
                    </a:lnTo>
                    <a:lnTo>
                      <a:pt x="1212" y="1512"/>
                    </a:lnTo>
                    <a:lnTo>
                      <a:pt x="1210" y="1512"/>
                    </a:lnTo>
                    <a:lnTo>
                      <a:pt x="1208" y="1512"/>
                    </a:lnTo>
                    <a:lnTo>
                      <a:pt x="1207" y="1512"/>
                    </a:lnTo>
                    <a:lnTo>
                      <a:pt x="1205" y="1514"/>
                    </a:lnTo>
                    <a:lnTo>
                      <a:pt x="1203" y="1514"/>
                    </a:lnTo>
                    <a:lnTo>
                      <a:pt x="1203" y="1512"/>
                    </a:lnTo>
                    <a:lnTo>
                      <a:pt x="1205" y="1512"/>
                    </a:lnTo>
                    <a:lnTo>
                      <a:pt x="1205" y="1510"/>
                    </a:lnTo>
                    <a:lnTo>
                      <a:pt x="1207" y="1510"/>
                    </a:lnTo>
                    <a:lnTo>
                      <a:pt x="1208" y="1509"/>
                    </a:lnTo>
                    <a:lnTo>
                      <a:pt x="1208" y="1510"/>
                    </a:lnTo>
                    <a:lnTo>
                      <a:pt x="1210" y="1510"/>
                    </a:lnTo>
                    <a:lnTo>
                      <a:pt x="1208" y="1509"/>
                    </a:lnTo>
                    <a:lnTo>
                      <a:pt x="1210" y="1509"/>
                    </a:lnTo>
                    <a:lnTo>
                      <a:pt x="1212" y="1510"/>
                    </a:lnTo>
                    <a:lnTo>
                      <a:pt x="1212" y="1509"/>
                    </a:lnTo>
                    <a:lnTo>
                      <a:pt x="1212" y="1510"/>
                    </a:lnTo>
                    <a:lnTo>
                      <a:pt x="1213" y="1510"/>
                    </a:lnTo>
                    <a:lnTo>
                      <a:pt x="1215" y="1510"/>
                    </a:lnTo>
                    <a:lnTo>
                      <a:pt x="1215" y="1512"/>
                    </a:lnTo>
                    <a:lnTo>
                      <a:pt x="1217" y="1510"/>
                    </a:lnTo>
                    <a:lnTo>
                      <a:pt x="1217" y="1512"/>
                    </a:lnTo>
                    <a:lnTo>
                      <a:pt x="1219" y="1512"/>
                    </a:lnTo>
                    <a:lnTo>
                      <a:pt x="1219" y="1510"/>
                    </a:lnTo>
                    <a:lnTo>
                      <a:pt x="1217" y="1510"/>
                    </a:lnTo>
                    <a:lnTo>
                      <a:pt x="1215" y="1510"/>
                    </a:lnTo>
                    <a:lnTo>
                      <a:pt x="1213" y="1510"/>
                    </a:lnTo>
                    <a:lnTo>
                      <a:pt x="1212" y="1509"/>
                    </a:lnTo>
                    <a:lnTo>
                      <a:pt x="1213" y="1509"/>
                    </a:lnTo>
                    <a:lnTo>
                      <a:pt x="1213" y="1510"/>
                    </a:lnTo>
                    <a:lnTo>
                      <a:pt x="1213" y="1509"/>
                    </a:lnTo>
                    <a:lnTo>
                      <a:pt x="1212" y="1509"/>
                    </a:lnTo>
                    <a:lnTo>
                      <a:pt x="1213" y="1509"/>
                    </a:lnTo>
                    <a:lnTo>
                      <a:pt x="1212" y="1507"/>
                    </a:lnTo>
                    <a:lnTo>
                      <a:pt x="1210" y="1507"/>
                    </a:lnTo>
                    <a:lnTo>
                      <a:pt x="1212" y="1507"/>
                    </a:lnTo>
                    <a:lnTo>
                      <a:pt x="1212" y="1505"/>
                    </a:lnTo>
                    <a:lnTo>
                      <a:pt x="1213" y="1505"/>
                    </a:lnTo>
                    <a:lnTo>
                      <a:pt x="1213" y="1507"/>
                    </a:lnTo>
                    <a:lnTo>
                      <a:pt x="1215" y="1507"/>
                    </a:lnTo>
                    <a:lnTo>
                      <a:pt x="1215" y="1509"/>
                    </a:lnTo>
                    <a:lnTo>
                      <a:pt x="1213" y="1509"/>
                    </a:lnTo>
                    <a:lnTo>
                      <a:pt x="1215" y="1509"/>
                    </a:lnTo>
                    <a:lnTo>
                      <a:pt x="1215" y="1507"/>
                    </a:lnTo>
                    <a:lnTo>
                      <a:pt x="1217" y="1505"/>
                    </a:lnTo>
                    <a:lnTo>
                      <a:pt x="1219" y="1507"/>
                    </a:lnTo>
                    <a:lnTo>
                      <a:pt x="1217" y="1507"/>
                    </a:lnTo>
                    <a:lnTo>
                      <a:pt x="1217" y="1509"/>
                    </a:lnTo>
                    <a:lnTo>
                      <a:pt x="1219" y="1509"/>
                    </a:lnTo>
                    <a:lnTo>
                      <a:pt x="1219" y="1507"/>
                    </a:lnTo>
                    <a:lnTo>
                      <a:pt x="1220" y="1509"/>
                    </a:lnTo>
                    <a:lnTo>
                      <a:pt x="1219" y="1507"/>
                    </a:lnTo>
                    <a:lnTo>
                      <a:pt x="1220" y="1507"/>
                    </a:lnTo>
                    <a:lnTo>
                      <a:pt x="1222" y="1507"/>
                    </a:lnTo>
                    <a:lnTo>
                      <a:pt x="1222" y="1505"/>
                    </a:lnTo>
                    <a:lnTo>
                      <a:pt x="1222" y="1504"/>
                    </a:lnTo>
                    <a:lnTo>
                      <a:pt x="1220" y="1505"/>
                    </a:lnTo>
                    <a:lnTo>
                      <a:pt x="1220" y="1504"/>
                    </a:lnTo>
                    <a:lnTo>
                      <a:pt x="1220" y="1502"/>
                    </a:lnTo>
                    <a:lnTo>
                      <a:pt x="1220" y="1504"/>
                    </a:lnTo>
                    <a:lnTo>
                      <a:pt x="1222" y="1504"/>
                    </a:lnTo>
                    <a:lnTo>
                      <a:pt x="1220" y="1502"/>
                    </a:lnTo>
                    <a:lnTo>
                      <a:pt x="1222" y="1502"/>
                    </a:lnTo>
                    <a:lnTo>
                      <a:pt x="1222" y="1500"/>
                    </a:lnTo>
                    <a:lnTo>
                      <a:pt x="1220" y="1500"/>
                    </a:lnTo>
                    <a:lnTo>
                      <a:pt x="1219" y="1500"/>
                    </a:lnTo>
                    <a:lnTo>
                      <a:pt x="1219" y="1498"/>
                    </a:lnTo>
                    <a:lnTo>
                      <a:pt x="1219" y="1497"/>
                    </a:lnTo>
                    <a:lnTo>
                      <a:pt x="1220" y="1497"/>
                    </a:lnTo>
                    <a:lnTo>
                      <a:pt x="1219" y="1497"/>
                    </a:lnTo>
                    <a:lnTo>
                      <a:pt x="1219" y="1495"/>
                    </a:lnTo>
                    <a:lnTo>
                      <a:pt x="1217" y="1495"/>
                    </a:lnTo>
                    <a:lnTo>
                      <a:pt x="1217" y="1493"/>
                    </a:lnTo>
                    <a:lnTo>
                      <a:pt x="1217" y="1495"/>
                    </a:lnTo>
                    <a:lnTo>
                      <a:pt x="1219" y="1495"/>
                    </a:lnTo>
                    <a:lnTo>
                      <a:pt x="1217" y="1495"/>
                    </a:lnTo>
                    <a:lnTo>
                      <a:pt x="1219" y="1497"/>
                    </a:lnTo>
                    <a:lnTo>
                      <a:pt x="1219" y="1498"/>
                    </a:lnTo>
                    <a:lnTo>
                      <a:pt x="1217" y="1498"/>
                    </a:lnTo>
                    <a:lnTo>
                      <a:pt x="1217" y="1500"/>
                    </a:lnTo>
                    <a:lnTo>
                      <a:pt x="1217" y="1498"/>
                    </a:lnTo>
                    <a:lnTo>
                      <a:pt x="1215" y="1500"/>
                    </a:lnTo>
                    <a:lnTo>
                      <a:pt x="1215" y="1498"/>
                    </a:lnTo>
                    <a:lnTo>
                      <a:pt x="1215" y="1500"/>
                    </a:lnTo>
                    <a:lnTo>
                      <a:pt x="1215" y="1498"/>
                    </a:lnTo>
                    <a:lnTo>
                      <a:pt x="1215" y="1500"/>
                    </a:lnTo>
                    <a:lnTo>
                      <a:pt x="1213" y="1498"/>
                    </a:lnTo>
                    <a:lnTo>
                      <a:pt x="1213" y="1500"/>
                    </a:lnTo>
                    <a:lnTo>
                      <a:pt x="1212" y="1498"/>
                    </a:lnTo>
                    <a:lnTo>
                      <a:pt x="1212" y="1500"/>
                    </a:lnTo>
                    <a:lnTo>
                      <a:pt x="1213" y="1500"/>
                    </a:lnTo>
                    <a:lnTo>
                      <a:pt x="1213" y="1502"/>
                    </a:lnTo>
                    <a:lnTo>
                      <a:pt x="1213" y="1500"/>
                    </a:lnTo>
                    <a:lnTo>
                      <a:pt x="1212" y="1500"/>
                    </a:lnTo>
                    <a:lnTo>
                      <a:pt x="1212" y="1502"/>
                    </a:lnTo>
                    <a:lnTo>
                      <a:pt x="1210" y="1502"/>
                    </a:lnTo>
                    <a:lnTo>
                      <a:pt x="1212" y="1502"/>
                    </a:lnTo>
                    <a:lnTo>
                      <a:pt x="1210" y="1504"/>
                    </a:lnTo>
                    <a:lnTo>
                      <a:pt x="1210" y="1502"/>
                    </a:lnTo>
                    <a:lnTo>
                      <a:pt x="1210" y="1504"/>
                    </a:lnTo>
                    <a:lnTo>
                      <a:pt x="1210" y="1502"/>
                    </a:lnTo>
                    <a:lnTo>
                      <a:pt x="1208" y="1502"/>
                    </a:lnTo>
                    <a:lnTo>
                      <a:pt x="1208" y="1504"/>
                    </a:lnTo>
                    <a:lnTo>
                      <a:pt x="1208" y="1505"/>
                    </a:lnTo>
                    <a:lnTo>
                      <a:pt x="1207" y="1505"/>
                    </a:lnTo>
                    <a:lnTo>
                      <a:pt x="1208" y="1505"/>
                    </a:lnTo>
                    <a:lnTo>
                      <a:pt x="1207" y="1505"/>
                    </a:lnTo>
                    <a:lnTo>
                      <a:pt x="1207" y="1504"/>
                    </a:lnTo>
                    <a:lnTo>
                      <a:pt x="1208" y="1504"/>
                    </a:lnTo>
                    <a:lnTo>
                      <a:pt x="1207" y="1504"/>
                    </a:lnTo>
                    <a:lnTo>
                      <a:pt x="1205" y="1504"/>
                    </a:lnTo>
                    <a:lnTo>
                      <a:pt x="1207" y="1502"/>
                    </a:lnTo>
                    <a:lnTo>
                      <a:pt x="1208" y="1502"/>
                    </a:lnTo>
                    <a:lnTo>
                      <a:pt x="1208" y="1500"/>
                    </a:lnTo>
                    <a:lnTo>
                      <a:pt x="1208" y="1498"/>
                    </a:lnTo>
                    <a:lnTo>
                      <a:pt x="1208" y="1500"/>
                    </a:lnTo>
                    <a:lnTo>
                      <a:pt x="1210" y="1498"/>
                    </a:lnTo>
                    <a:lnTo>
                      <a:pt x="1208" y="1500"/>
                    </a:lnTo>
                    <a:lnTo>
                      <a:pt x="1210" y="1500"/>
                    </a:lnTo>
                    <a:lnTo>
                      <a:pt x="1210" y="1498"/>
                    </a:lnTo>
                    <a:lnTo>
                      <a:pt x="1212" y="1498"/>
                    </a:lnTo>
                    <a:lnTo>
                      <a:pt x="1210" y="1498"/>
                    </a:lnTo>
                    <a:lnTo>
                      <a:pt x="1208" y="1498"/>
                    </a:lnTo>
                    <a:lnTo>
                      <a:pt x="1208" y="1497"/>
                    </a:lnTo>
                    <a:lnTo>
                      <a:pt x="1207" y="1497"/>
                    </a:lnTo>
                    <a:lnTo>
                      <a:pt x="1208" y="1497"/>
                    </a:lnTo>
                    <a:lnTo>
                      <a:pt x="1207" y="1497"/>
                    </a:lnTo>
                    <a:lnTo>
                      <a:pt x="1208" y="1495"/>
                    </a:lnTo>
                    <a:lnTo>
                      <a:pt x="1210" y="1495"/>
                    </a:lnTo>
                    <a:lnTo>
                      <a:pt x="1208" y="1495"/>
                    </a:lnTo>
                    <a:lnTo>
                      <a:pt x="1210" y="1493"/>
                    </a:lnTo>
                    <a:lnTo>
                      <a:pt x="1210" y="1495"/>
                    </a:lnTo>
                    <a:lnTo>
                      <a:pt x="1212" y="1495"/>
                    </a:lnTo>
                    <a:lnTo>
                      <a:pt x="1210" y="1493"/>
                    </a:lnTo>
                    <a:lnTo>
                      <a:pt x="1208" y="1492"/>
                    </a:lnTo>
                    <a:lnTo>
                      <a:pt x="1210" y="1493"/>
                    </a:lnTo>
                    <a:lnTo>
                      <a:pt x="1212" y="1493"/>
                    </a:lnTo>
                    <a:lnTo>
                      <a:pt x="1212" y="1495"/>
                    </a:lnTo>
                    <a:lnTo>
                      <a:pt x="1212" y="1493"/>
                    </a:lnTo>
                    <a:lnTo>
                      <a:pt x="1212" y="1492"/>
                    </a:lnTo>
                    <a:lnTo>
                      <a:pt x="1210" y="1492"/>
                    </a:lnTo>
                    <a:lnTo>
                      <a:pt x="1212" y="1490"/>
                    </a:lnTo>
                    <a:lnTo>
                      <a:pt x="1212" y="1488"/>
                    </a:lnTo>
                    <a:lnTo>
                      <a:pt x="1212" y="1490"/>
                    </a:lnTo>
                    <a:lnTo>
                      <a:pt x="1213" y="1490"/>
                    </a:lnTo>
                    <a:lnTo>
                      <a:pt x="1215" y="1490"/>
                    </a:lnTo>
                    <a:lnTo>
                      <a:pt x="1215" y="1488"/>
                    </a:lnTo>
                    <a:lnTo>
                      <a:pt x="1213" y="1488"/>
                    </a:lnTo>
                    <a:lnTo>
                      <a:pt x="1212" y="1488"/>
                    </a:lnTo>
                    <a:lnTo>
                      <a:pt x="1212" y="1487"/>
                    </a:lnTo>
                    <a:lnTo>
                      <a:pt x="1213" y="1487"/>
                    </a:lnTo>
                    <a:lnTo>
                      <a:pt x="1213" y="1485"/>
                    </a:lnTo>
                    <a:lnTo>
                      <a:pt x="1212" y="1487"/>
                    </a:lnTo>
                    <a:lnTo>
                      <a:pt x="1212" y="1488"/>
                    </a:lnTo>
                    <a:lnTo>
                      <a:pt x="1210" y="1488"/>
                    </a:lnTo>
                    <a:lnTo>
                      <a:pt x="1210" y="1487"/>
                    </a:lnTo>
                    <a:lnTo>
                      <a:pt x="1208" y="1487"/>
                    </a:lnTo>
                    <a:lnTo>
                      <a:pt x="1208" y="1485"/>
                    </a:lnTo>
                    <a:lnTo>
                      <a:pt x="1208" y="1483"/>
                    </a:lnTo>
                    <a:lnTo>
                      <a:pt x="1210" y="1483"/>
                    </a:lnTo>
                    <a:lnTo>
                      <a:pt x="1210" y="1485"/>
                    </a:lnTo>
                    <a:lnTo>
                      <a:pt x="1212" y="1483"/>
                    </a:lnTo>
                    <a:lnTo>
                      <a:pt x="1210" y="1481"/>
                    </a:lnTo>
                    <a:lnTo>
                      <a:pt x="1212" y="1481"/>
                    </a:lnTo>
                    <a:lnTo>
                      <a:pt x="1210" y="1481"/>
                    </a:lnTo>
                    <a:lnTo>
                      <a:pt x="1212" y="1481"/>
                    </a:lnTo>
                    <a:lnTo>
                      <a:pt x="1212" y="1480"/>
                    </a:lnTo>
                    <a:lnTo>
                      <a:pt x="1210" y="1480"/>
                    </a:lnTo>
                    <a:lnTo>
                      <a:pt x="1210" y="1478"/>
                    </a:lnTo>
                    <a:lnTo>
                      <a:pt x="1210" y="1476"/>
                    </a:lnTo>
                    <a:lnTo>
                      <a:pt x="1212" y="1475"/>
                    </a:lnTo>
                    <a:lnTo>
                      <a:pt x="1212" y="1473"/>
                    </a:lnTo>
                    <a:lnTo>
                      <a:pt x="1210" y="1473"/>
                    </a:lnTo>
                    <a:lnTo>
                      <a:pt x="1210" y="1471"/>
                    </a:lnTo>
                    <a:lnTo>
                      <a:pt x="1208" y="1471"/>
                    </a:lnTo>
                    <a:lnTo>
                      <a:pt x="1208" y="1470"/>
                    </a:lnTo>
                    <a:lnTo>
                      <a:pt x="1207" y="1468"/>
                    </a:lnTo>
                    <a:lnTo>
                      <a:pt x="1207" y="1466"/>
                    </a:lnTo>
                    <a:lnTo>
                      <a:pt x="1205" y="1466"/>
                    </a:lnTo>
                    <a:lnTo>
                      <a:pt x="1205" y="1464"/>
                    </a:lnTo>
                    <a:lnTo>
                      <a:pt x="1207" y="1463"/>
                    </a:lnTo>
                    <a:lnTo>
                      <a:pt x="1208" y="1464"/>
                    </a:lnTo>
                    <a:lnTo>
                      <a:pt x="1207" y="1466"/>
                    </a:lnTo>
                    <a:lnTo>
                      <a:pt x="1208" y="1466"/>
                    </a:lnTo>
                    <a:lnTo>
                      <a:pt x="1208" y="1468"/>
                    </a:lnTo>
                    <a:lnTo>
                      <a:pt x="1210" y="1468"/>
                    </a:lnTo>
                    <a:lnTo>
                      <a:pt x="1210" y="1470"/>
                    </a:lnTo>
                    <a:lnTo>
                      <a:pt x="1210" y="1471"/>
                    </a:lnTo>
                    <a:lnTo>
                      <a:pt x="1210" y="1470"/>
                    </a:lnTo>
                    <a:lnTo>
                      <a:pt x="1212" y="1470"/>
                    </a:lnTo>
                    <a:lnTo>
                      <a:pt x="1212" y="1471"/>
                    </a:lnTo>
                    <a:lnTo>
                      <a:pt x="1212" y="1473"/>
                    </a:lnTo>
                    <a:lnTo>
                      <a:pt x="1213" y="1473"/>
                    </a:lnTo>
                    <a:lnTo>
                      <a:pt x="1213" y="1471"/>
                    </a:lnTo>
                    <a:lnTo>
                      <a:pt x="1213" y="1470"/>
                    </a:lnTo>
                    <a:lnTo>
                      <a:pt x="1212" y="1470"/>
                    </a:lnTo>
                    <a:lnTo>
                      <a:pt x="1213" y="1470"/>
                    </a:lnTo>
                    <a:lnTo>
                      <a:pt x="1215" y="1470"/>
                    </a:lnTo>
                    <a:lnTo>
                      <a:pt x="1217" y="1471"/>
                    </a:lnTo>
                    <a:lnTo>
                      <a:pt x="1217" y="1473"/>
                    </a:lnTo>
                    <a:lnTo>
                      <a:pt x="1219" y="1475"/>
                    </a:lnTo>
                    <a:lnTo>
                      <a:pt x="1219" y="1473"/>
                    </a:lnTo>
                    <a:lnTo>
                      <a:pt x="1220" y="1473"/>
                    </a:lnTo>
                    <a:lnTo>
                      <a:pt x="1222" y="1473"/>
                    </a:lnTo>
                    <a:lnTo>
                      <a:pt x="1222" y="1471"/>
                    </a:lnTo>
                    <a:lnTo>
                      <a:pt x="1222" y="1470"/>
                    </a:lnTo>
                    <a:lnTo>
                      <a:pt x="1222" y="1468"/>
                    </a:lnTo>
                    <a:lnTo>
                      <a:pt x="1224" y="1468"/>
                    </a:lnTo>
                    <a:lnTo>
                      <a:pt x="1225" y="1470"/>
                    </a:lnTo>
                    <a:lnTo>
                      <a:pt x="1225" y="1468"/>
                    </a:lnTo>
                    <a:lnTo>
                      <a:pt x="1227" y="1466"/>
                    </a:lnTo>
                    <a:lnTo>
                      <a:pt x="1229" y="1466"/>
                    </a:lnTo>
                    <a:lnTo>
                      <a:pt x="1230" y="1464"/>
                    </a:lnTo>
                    <a:lnTo>
                      <a:pt x="1230" y="1466"/>
                    </a:lnTo>
                    <a:lnTo>
                      <a:pt x="1229" y="1466"/>
                    </a:lnTo>
                    <a:lnTo>
                      <a:pt x="1229" y="1468"/>
                    </a:lnTo>
                    <a:lnTo>
                      <a:pt x="1230" y="1470"/>
                    </a:lnTo>
                    <a:lnTo>
                      <a:pt x="1229" y="1470"/>
                    </a:lnTo>
                    <a:lnTo>
                      <a:pt x="1227" y="1470"/>
                    </a:lnTo>
                    <a:lnTo>
                      <a:pt x="1229" y="1471"/>
                    </a:lnTo>
                    <a:lnTo>
                      <a:pt x="1227" y="1471"/>
                    </a:lnTo>
                    <a:lnTo>
                      <a:pt x="1227" y="1473"/>
                    </a:lnTo>
                    <a:lnTo>
                      <a:pt x="1227" y="1475"/>
                    </a:lnTo>
                    <a:lnTo>
                      <a:pt x="1225" y="1475"/>
                    </a:lnTo>
                    <a:lnTo>
                      <a:pt x="1227" y="1475"/>
                    </a:lnTo>
                    <a:lnTo>
                      <a:pt x="1227" y="1473"/>
                    </a:lnTo>
                    <a:lnTo>
                      <a:pt x="1229" y="1471"/>
                    </a:lnTo>
                    <a:lnTo>
                      <a:pt x="1230" y="1471"/>
                    </a:lnTo>
                    <a:lnTo>
                      <a:pt x="1230" y="1473"/>
                    </a:lnTo>
                    <a:lnTo>
                      <a:pt x="1232" y="1473"/>
                    </a:lnTo>
                    <a:lnTo>
                      <a:pt x="1232" y="1475"/>
                    </a:lnTo>
                    <a:lnTo>
                      <a:pt x="1232" y="1476"/>
                    </a:lnTo>
                    <a:lnTo>
                      <a:pt x="1230" y="1476"/>
                    </a:lnTo>
                    <a:lnTo>
                      <a:pt x="1230" y="1478"/>
                    </a:lnTo>
                    <a:lnTo>
                      <a:pt x="1232" y="1478"/>
                    </a:lnTo>
                    <a:lnTo>
                      <a:pt x="1234" y="1478"/>
                    </a:lnTo>
                    <a:lnTo>
                      <a:pt x="1232" y="1476"/>
                    </a:lnTo>
                    <a:lnTo>
                      <a:pt x="1234" y="1476"/>
                    </a:lnTo>
                    <a:lnTo>
                      <a:pt x="1234" y="1478"/>
                    </a:lnTo>
                    <a:lnTo>
                      <a:pt x="1234" y="1476"/>
                    </a:lnTo>
                    <a:lnTo>
                      <a:pt x="1234" y="1475"/>
                    </a:lnTo>
                    <a:lnTo>
                      <a:pt x="1234" y="1473"/>
                    </a:lnTo>
                    <a:lnTo>
                      <a:pt x="1236" y="1473"/>
                    </a:lnTo>
                    <a:lnTo>
                      <a:pt x="1236" y="1471"/>
                    </a:lnTo>
                    <a:lnTo>
                      <a:pt x="1236" y="1470"/>
                    </a:lnTo>
                    <a:lnTo>
                      <a:pt x="1236" y="1468"/>
                    </a:lnTo>
                    <a:lnTo>
                      <a:pt x="1237" y="1468"/>
                    </a:lnTo>
                    <a:lnTo>
                      <a:pt x="1236" y="1466"/>
                    </a:lnTo>
                    <a:lnTo>
                      <a:pt x="1237" y="1468"/>
                    </a:lnTo>
                    <a:lnTo>
                      <a:pt x="1237" y="1466"/>
                    </a:lnTo>
                    <a:lnTo>
                      <a:pt x="1239" y="1466"/>
                    </a:lnTo>
                    <a:lnTo>
                      <a:pt x="1237" y="1464"/>
                    </a:lnTo>
                    <a:lnTo>
                      <a:pt x="1237" y="1466"/>
                    </a:lnTo>
                    <a:lnTo>
                      <a:pt x="1236" y="1466"/>
                    </a:lnTo>
                    <a:lnTo>
                      <a:pt x="1236" y="1468"/>
                    </a:lnTo>
                    <a:lnTo>
                      <a:pt x="1234" y="1470"/>
                    </a:lnTo>
                    <a:lnTo>
                      <a:pt x="1234" y="1471"/>
                    </a:lnTo>
                    <a:lnTo>
                      <a:pt x="1234" y="1473"/>
                    </a:lnTo>
                    <a:lnTo>
                      <a:pt x="1232" y="1475"/>
                    </a:lnTo>
                    <a:lnTo>
                      <a:pt x="1232" y="1473"/>
                    </a:lnTo>
                    <a:lnTo>
                      <a:pt x="1232" y="1471"/>
                    </a:lnTo>
                    <a:lnTo>
                      <a:pt x="1230" y="1471"/>
                    </a:lnTo>
                    <a:lnTo>
                      <a:pt x="1230" y="1470"/>
                    </a:lnTo>
                    <a:lnTo>
                      <a:pt x="1230" y="1468"/>
                    </a:lnTo>
                    <a:lnTo>
                      <a:pt x="1230" y="1466"/>
                    </a:lnTo>
                    <a:lnTo>
                      <a:pt x="1232" y="1466"/>
                    </a:lnTo>
                    <a:lnTo>
                      <a:pt x="1230" y="1466"/>
                    </a:lnTo>
                    <a:lnTo>
                      <a:pt x="1232" y="1464"/>
                    </a:lnTo>
                    <a:lnTo>
                      <a:pt x="1232" y="1466"/>
                    </a:lnTo>
                    <a:lnTo>
                      <a:pt x="1234" y="1466"/>
                    </a:lnTo>
                    <a:lnTo>
                      <a:pt x="1234" y="1464"/>
                    </a:lnTo>
                    <a:lnTo>
                      <a:pt x="1234" y="1463"/>
                    </a:lnTo>
                    <a:lnTo>
                      <a:pt x="1234" y="1461"/>
                    </a:lnTo>
                    <a:lnTo>
                      <a:pt x="1234" y="1459"/>
                    </a:lnTo>
                    <a:lnTo>
                      <a:pt x="1236" y="1459"/>
                    </a:lnTo>
                    <a:lnTo>
                      <a:pt x="1237" y="1459"/>
                    </a:lnTo>
                    <a:lnTo>
                      <a:pt x="1239" y="1459"/>
                    </a:lnTo>
                    <a:lnTo>
                      <a:pt x="1239" y="1461"/>
                    </a:lnTo>
                    <a:lnTo>
                      <a:pt x="1239" y="1463"/>
                    </a:lnTo>
                    <a:lnTo>
                      <a:pt x="1239" y="1464"/>
                    </a:lnTo>
                    <a:lnTo>
                      <a:pt x="1239" y="1466"/>
                    </a:lnTo>
                    <a:lnTo>
                      <a:pt x="1241" y="1468"/>
                    </a:lnTo>
                    <a:lnTo>
                      <a:pt x="1241" y="1470"/>
                    </a:lnTo>
                    <a:lnTo>
                      <a:pt x="1242" y="1470"/>
                    </a:lnTo>
                    <a:lnTo>
                      <a:pt x="1242" y="1468"/>
                    </a:lnTo>
                    <a:lnTo>
                      <a:pt x="1244" y="1470"/>
                    </a:lnTo>
                    <a:lnTo>
                      <a:pt x="1244" y="1471"/>
                    </a:lnTo>
                    <a:lnTo>
                      <a:pt x="1244" y="1473"/>
                    </a:lnTo>
                    <a:lnTo>
                      <a:pt x="1246" y="1473"/>
                    </a:lnTo>
                    <a:lnTo>
                      <a:pt x="1246" y="1475"/>
                    </a:lnTo>
                    <a:lnTo>
                      <a:pt x="1244" y="1475"/>
                    </a:lnTo>
                    <a:lnTo>
                      <a:pt x="1244" y="1476"/>
                    </a:lnTo>
                    <a:lnTo>
                      <a:pt x="1244" y="1478"/>
                    </a:lnTo>
                    <a:lnTo>
                      <a:pt x="1244" y="1480"/>
                    </a:lnTo>
                    <a:lnTo>
                      <a:pt x="1244" y="1481"/>
                    </a:lnTo>
                    <a:lnTo>
                      <a:pt x="1242" y="1481"/>
                    </a:lnTo>
                    <a:lnTo>
                      <a:pt x="1244" y="1481"/>
                    </a:lnTo>
                    <a:lnTo>
                      <a:pt x="1242" y="1481"/>
                    </a:lnTo>
                    <a:lnTo>
                      <a:pt x="1242" y="1483"/>
                    </a:lnTo>
                    <a:lnTo>
                      <a:pt x="1242" y="1481"/>
                    </a:lnTo>
                    <a:lnTo>
                      <a:pt x="1242" y="1483"/>
                    </a:lnTo>
                    <a:lnTo>
                      <a:pt x="1241" y="1481"/>
                    </a:lnTo>
                    <a:lnTo>
                      <a:pt x="1239" y="1481"/>
                    </a:lnTo>
                    <a:lnTo>
                      <a:pt x="1239" y="1483"/>
                    </a:lnTo>
                    <a:lnTo>
                      <a:pt x="1239" y="1485"/>
                    </a:lnTo>
                    <a:lnTo>
                      <a:pt x="1237" y="1483"/>
                    </a:lnTo>
                    <a:lnTo>
                      <a:pt x="1237" y="1485"/>
                    </a:lnTo>
                    <a:lnTo>
                      <a:pt x="1236" y="1485"/>
                    </a:lnTo>
                    <a:lnTo>
                      <a:pt x="1236" y="1487"/>
                    </a:lnTo>
                    <a:lnTo>
                      <a:pt x="1234" y="1487"/>
                    </a:lnTo>
                    <a:lnTo>
                      <a:pt x="1234" y="1488"/>
                    </a:lnTo>
                    <a:lnTo>
                      <a:pt x="1232" y="1488"/>
                    </a:lnTo>
                    <a:lnTo>
                      <a:pt x="1230" y="1488"/>
                    </a:lnTo>
                    <a:lnTo>
                      <a:pt x="1230" y="1490"/>
                    </a:lnTo>
                    <a:lnTo>
                      <a:pt x="1232" y="1490"/>
                    </a:lnTo>
                    <a:lnTo>
                      <a:pt x="1234" y="1488"/>
                    </a:lnTo>
                    <a:lnTo>
                      <a:pt x="1236" y="1488"/>
                    </a:lnTo>
                    <a:lnTo>
                      <a:pt x="1236" y="1487"/>
                    </a:lnTo>
                    <a:lnTo>
                      <a:pt x="1237" y="1487"/>
                    </a:lnTo>
                    <a:lnTo>
                      <a:pt x="1239" y="1487"/>
                    </a:lnTo>
                    <a:lnTo>
                      <a:pt x="1241" y="1487"/>
                    </a:lnTo>
                    <a:lnTo>
                      <a:pt x="1242" y="1487"/>
                    </a:lnTo>
                    <a:lnTo>
                      <a:pt x="1241" y="1487"/>
                    </a:lnTo>
                    <a:lnTo>
                      <a:pt x="1242" y="1487"/>
                    </a:lnTo>
                    <a:lnTo>
                      <a:pt x="1241" y="1485"/>
                    </a:lnTo>
                    <a:lnTo>
                      <a:pt x="1242" y="1485"/>
                    </a:lnTo>
                    <a:lnTo>
                      <a:pt x="1242" y="1483"/>
                    </a:lnTo>
                    <a:lnTo>
                      <a:pt x="1242" y="1485"/>
                    </a:lnTo>
                    <a:lnTo>
                      <a:pt x="1244" y="1483"/>
                    </a:lnTo>
                    <a:lnTo>
                      <a:pt x="1244" y="1485"/>
                    </a:lnTo>
                    <a:lnTo>
                      <a:pt x="1244" y="1483"/>
                    </a:lnTo>
                    <a:lnTo>
                      <a:pt x="1246" y="1483"/>
                    </a:lnTo>
                    <a:lnTo>
                      <a:pt x="1246" y="1481"/>
                    </a:lnTo>
                    <a:lnTo>
                      <a:pt x="1246" y="1480"/>
                    </a:lnTo>
                    <a:lnTo>
                      <a:pt x="1247" y="1478"/>
                    </a:lnTo>
                    <a:lnTo>
                      <a:pt x="1246" y="1478"/>
                    </a:lnTo>
                    <a:lnTo>
                      <a:pt x="1246" y="1476"/>
                    </a:lnTo>
                    <a:lnTo>
                      <a:pt x="1247" y="1476"/>
                    </a:lnTo>
                    <a:lnTo>
                      <a:pt x="1247" y="1475"/>
                    </a:lnTo>
                    <a:lnTo>
                      <a:pt x="1247" y="1473"/>
                    </a:lnTo>
                    <a:lnTo>
                      <a:pt x="1246" y="1473"/>
                    </a:lnTo>
                    <a:lnTo>
                      <a:pt x="1246" y="1471"/>
                    </a:lnTo>
                    <a:lnTo>
                      <a:pt x="1244" y="1470"/>
                    </a:lnTo>
                    <a:lnTo>
                      <a:pt x="1244" y="1468"/>
                    </a:lnTo>
                    <a:lnTo>
                      <a:pt x="1242" y="1466"/>
                    </a:lnTo>
                    <a:lnTo>
                      <a:pt x="1242" y="1464"/>
                    </a:lnTo>
                    <a:lnTo>
                      <a:pt x="1241" y="1464"/>
                    </a:lnTo>
                    <a:lnTo>
                      <a:pt x="1241" y="1463"/>
                    </a:lnTo>
                    <a:lnTo>
                      <a:pt x="1241" y="1461"/>
                    </a:lnTo>
                    <a:lnTo>
                      <a:pt x="1241" y="1459"/>
                    </a:lnTo>
                    <a:lnTo>
                      <a:pt x="1242" y="1458"/>
                    </a:lnTo>
                    <a:lnTo>
                      <a:pt x="1244" y="1458"/>
                    </a:lnTo>
                    <a:lnTo>
                      <a:pt x="1242" y="1458"/>
                    </a:lnTo>
                    <a:lnTo>
                      <a:pt x="1244" y="1459"/>
                    </a:lnTo>
                    <a:lnTo>
                      <a:pt x="1244" y="1461"/>
                    </a:lnTo>
                    <a:lnTo>
                      <a:pt x="1244" y="1459"/>
                    </a:lnTo>
                    <a:lnTo>
                      <a:pt x="1244" y="1458"/>
                    </a:lnTo>
                    <a:lnTo>
                      <a:pt x="1246" y="1459"/>
                    </a:lnTo>
                    <a:lnTo>
                      <a:pt x="1247" y="1458"/>
                    </a:lnTo>
                    <a:lnTo>
                      <a:pt x="1249" y="1458"/>
                    </a:lnTo>
                    <a:lnTo>
                      <a:pt x="1247" y="1456"/>
                    </a:lnTo>
                    <a:lnTo>
                      <a:pt x="1247" y="1454"/>
                    </a:lnTo>
                    <a:lnTo>
                      <a:pt x="1246" y="1453"/>
                    </a:lnTo>
                    <a:lnTo>
                      <a:pt x="1247" y="1453"/>
                    </a:lnTo>
                    <a:lnTo>
                      <a:pt x="1247" y="1451"/>
                    </a:lnTo>
                    <a:lnTo>
                      <a:pt x="1249" y="1449"/>
                    </a:lnTo>
                    <a:lnTo>
                      <a:pt x="1247" y="1449"/>
                    </a:lnTo>
                    <a:lnTo>
                      <a:pt x="1247" y="1447"/>
                    </a:lnTo>
                    <a:lnTo>
                      <a:pt x="1246" y="1447"/>
                    </a:lnTo>
                    <a:lnTo>
                      <a:pt x="1247" y="1446"/>
                    </a:lnTo>
                    <a:lnTo>
                      <a:pt x="1246" y="1446"/>
                    </a:lnTo>
                    <a:lnTo>
                      <a:pt x="1244" y="1444"/>
                    </a:lnTo>
                    <a:lnTo>
                      <a:pt x="1242" y="1444"/>
                    </a:lnTo>
                    <a:lnTo>
                      <a:pt x="1242" y="1442"/>
                    </a:lnTo>
                    <a:lnTo>
                      <a:pt x="1242" y="1441"/>
                    </a:lnTo>
                    <a:lnTo>
                      <a:pt x="1241" y="1441"/>
                    </a:lnTo>
                    <a:lnTo>
                      <a:pt x="1241" y="1439"/>
                    </a:lnTo>
                    <a:lnTo>
                      <a:pt x="1241" y="1441"/>
                    </a:lnTo>
                    <a:lnTo>
                      <a:pt x="1242" y="1441"/>
                    </a:lnTo>
                    <a:lnTo>
                      <a:pt x="1241" y="1442"/>
                    </a:lnTo>
                    <a:lnTo>
                      <a:pt x="1241" y="1441"/>
                    </a:lnTo>
                    <a:lnTo>
                      <a:pt x="1241" y="1439"/>
                    </a:lnTo>
                    <a:lnTo>
                      <a:pt x="1239" y="1439"/>
                    </a:lnTo>
                    <a:lnTo>
                      <a:pt x="1241" y="1439"/>
                    </a:lnTo>
                    <a:lnTo>
                      <a:pt x="1239" y="1439"/>
                    </a:lnTo>
                    <a:lnTo>
                      <a:pt x="1239" y="1437"/>
                    </a:lnTo>
                    <a:lnTo>
                      <a:pt x="1237" y="1439"/>
                    </a:lnTo>
                    <a:lnTo>
                      <a:pt x="1237" y="1437"/>
                    </a:lnTo>
                    <a:lnTo>
                      <a:pt x="1236" y="1437"/>
                    </a:lnTo>
                    <a:lnTo>
                      <a:pt x="1234" y="1437"/>
                    </a:lnTo>
                    <a:lnTo>
                      <a:pt x="1232" y="1435"/>
                    </a:lnTo>
                    <a:lnTo>
                      <a:pt x="1232" y="1434"/>
                    </a:lnTo>
                    <a:lnTo>
                      <a:pt x="1230" y="1434"/>
                    </a:lnTo>
                    <a:lnTo>
                      <a:pt x="1229" y="1434"/>
                    </a:lnTo>
                    <a:lnTo>
                      <a:pt x="1227" y="1434"/>
                    </a:lnTo>
                    <a:lnTo>
                      <a:pt x="1227" y="1432"/>
                    </a:lnTo>
                    <a:lnTo>
                      <a:pt x="1227" y="1430"/>
                    </a:lnTo>
                    <a:lnTo>
                      <a:pt x="1225" y="1432"/>
                    </a:lnTo>
                    <a:lnTo>
                      <a:pt x="1224" y="1432"/>
                    </a:lnTo>
                    <a:lnTo>
                      <a:pt x="1224" y="1434"/>
                    </a:lnTo>
                    <a:lnTo>
                      <a:pt x="1222" y="1432"/>
                    </a:lnTo>
                    <a:lnTo>
                      <a:pt x="1222" y="1434"/>
                    </a:lnTo>
                    <a:lnTo>
                      <a:pt x="1222" y="1432"/>
                    </a:lnTo>
                    <a:lnTo>
                      <a:pt x="1220" y="1434"/>
                    </a:lnTo>
                    <a:lnTo>
                      <a:pt x="1222" y="1434"/>
                    </a:lnTo>
                    <a:lnTo>
                      <a:pt x="1222" y="1435"/>
                    </a:lnTo>
                    <a:lnTo>
                      <a:pt x="1224" y="1435"/>
                    </a:lnTo>
                    <a:lnTo>
                      <a:pt x="1224" y="1434"/>
                    </a:lnTo>
                    <a:lnTo>
                      <a:pt x="1225" y="1434"/>
                    </a:lnTo>
                    <a:lnTo>
                      <a:pt x="1227" y="1434"/>
                    </a:lnTo>
                    <a:lnTo>
                      <a:pt x="1229" y="1434"/>
                    </a:lnTo>
                    <a:lnTo>
                      <a:pt x="1229" y="1435"/>
                    </a:lnTo>
                    <a:lnTo>
                      <a:pt x="1229" y="1437"/>
                    </a:lnTo>
                    <a:lnTo>
                      <a:pt x="1227" y="1439"/>
                    </a:lnTo>
                    <a:lnTo>
                      <a:pt x="1225" y="1439"/>
                    </a:lnTo>
                    <a:lnTo>
                      <a:pt x="1225" y="1441"/>
                    </a:lnTo>
                    <a:lnTo>
                      <a:pt x="1227" y="1439"/>
                    </a:lnTo>
                    <a:lnTo>
                      <a:pt x="1229" y="1439"/>
                    </a:lnTo>
                    <a:lnTo>
                      <a:pt x="1229" y="1437"/>
                    </a:lnTo>
                    <a:lnTo>
                      <a:pt x="1229" y="1435"/>
                    </a:lnTo>
                    <a:lnTo>
                      <a:pt x="1230" y="1435"/>
                    </a:lnTo>
                    <a:lnTo>
                      <a:pt x="1232" y="1437"/>
                    </a:lnTo>
                    <a:lnTo>
                      <a:pt x="1232" y="1439"/>
                    </a:lnTo>
                    <a:lnTo>
                      <a:pt x="1234" y="1437"/>
                    </a:lnTo>
                    <a:lnTo>
                      <a:pt x="1234" y="1439"/>
                    </a:lnTo>
                    <a:lnTo>
                      <a:pt x="1236" y="1441"/>
                    </a:lnTo>
                    <a:lnTo>
                      <a:pt x="1236" y="1439"/>
                    </a:lnTo>
                    <a:lnTo>
                      <a:pt x="1237" y="1439"/>
                    </a:lnTo>
                    <a:lnTo>
                      <a:pt x="1237" y="1441"/>
                    </a:lnTo>
                    <a:lnTo>
                      <a:pt x="1239" y="1441"/>
                    </a:lnTo>
                    <a:lnTo>
                      <a:pt x="1239" y="1442"/>
                    </a:lnTo>
                    <a:lnTo>
                      <a:pt x="1241" y="1444"/>
                    </a:lnTo>
                    <a:lnTo>
                      <a:pt x="1241" y="1446"/>
                    </a:lnTo>
                    <a:lnTo>
                      <a:pt x="1242" y="1444"/>
                    </a:lnTo>
                    <a:lnTo>
                      <a:pt x="1242" y="1446"/>
                    </a:lnTo>
                    <a:lnTo>
                      <a:pt x="1244" y="1446"/>
                    </a:lnTo>
                    <a:lnTo>
                      <a:pt x="1246" y="1446"/>
                    </a:lnTo>
                    <a:lnTo>
                      <a:pt x="1246" y="1447"/>
                    </a:lnTo>
                    <a:lnTo>
                      <a:pt x="1246" y="1449"/>
                    </a:lnTo>
                    <a:lnTo>
                      <a:pt x="1244" y="1451"/>
                    </a:lnTo>
                    <a:lnTo>
                      <a:pt x="1244" y="1453"/>
                    </a:lnTo>
                    <a:lnTo>
                      <a:pt x="1242" y="1453"/>
                    </a:lnTo>
                    <a:lnTo>
                      <a:pt x="1241" y="1453"/>
                    </a:lnTo>
                    <a:lnTo>
                      <a:pt x="1239" y="1451"/>
                    </a:lnTo>
                    <a:lnTo>
                      <a:pt x="1239" y="1453"/>
                    </a:lnTo>
                    <a:lnTo>
                      <a:pt x="1239" y="1451"/>
                    </a:lnTo>
                    <a:lnTo>
                      <a:pt x="1237" y="1451"/>
                    </a:lnTo>
                    <a:lnTo>
                      <a:pt x="1237" y="1449"/>
                    </a:lnTo>
                    <a:lnTo>
                      <a:pt x="1236" y="1449"/>
                    </a:lnTo>
                    <a:lnTo>
                      <a:pt x="1234" y="1447"/>
                    </a:lnTo>
                    <a:lnTo>
                      <a:pt x="1234" y="1449"/>
                    </a:lnTo>
                    <a:lnTo>
                      <a:pt x="1232" y="1447"/>
                    </a:lnTo>
                    <a:lnTo>
                      <a:pt x="1232" y="1449"/>
                    </a:lnTo>
                    <a:lnTo>
                      <a:pt x="1230" y="1449"/>
                    </a:lnTo>
                    <a:lnTo>
                      <a:pt x="1230" y="1447"/>
                    </a:lnTo>
                    <a:lnTo>
                      <a:pt x="1230" y="1446"/>
                    </a:lnTo>
                    <a:lnTo>
                      <a:pt x="1229" y="1446"/>
                    </a:lnTo>
                    <a:lnTo>
                      <a:pt x="1227" y="1446"/>
                    </a:lnTo>
                    <a:lnTo>
                      <a:pt x="1227" y="1444"/>
                    </a:lnTo>
                    <a:lnTo>
                      <a:pt x="1227" y="1446"/>
                    </a:lnTo>
                    <a:lnTo>
                      <a:pt x="1225" y="1446"/>
                    </a:lnTo>
                    <a:lnTo>
                      <a:pt x="1225" y="1444"/>
                    </a:lnTo>
                    <a:lnTo>
                      <a:pt x="1224" y="1444"/>
                    </a:lnTo>
                    <a:lnTo>
                      <a:pt x="1224" y="1442"/>
                    </a:lnTo>
                    <a:lnTo>
                      <a:pt x="1224" y="1441"/>
                    </a:lnTo>
                    <a:lnTo>
                      <a:pt x="1222" y="1441"/>
                    </a:lnTo>
                    <a:lnTo>
                      <a:pt x="1220" y="1439"/>
                    </a:lnTo>
                    <a:lnTo>
                      <a:pt x="1220" y="1441"/>
                    </a:lnTo>
                    <a:lnTo>
                      <a:pt x="1222" y="1441"/>
                    </a:lnTo>
                    <a:lnTo>
                      <a:pt x="1222" y="1442"/>
                    </a:lnTo>
                    <a:lnTo>
                      <a:pt x="1222" y="1444"/>
                    </a:lnTo>
                    <a:lnTo>
                      <a:pt x="1220" y="1444"/>
                    </a:lnTo>
                    <a:lnTo>
                      <a:pt x="1220" y="1446"/>
                    </a:lnTo>
                    <a:lnTo>
                      <a:pt x="1222" y="1444"/>
                    </a:lnTo>
                    <a:lnTo>
                      <a:pt x="1224" y="1446"/>
                    </a:lnTo>
                    <a:lnTo>
                      <a:pt x="1225" y="1446"/>
                    </a:lnTo>
                    <a:lnTo>
                      <a:pt x="1227" y="1446"/>
                    </a:lnTo>
                    <a:lnTo>
                      <a:pt x="1229" y="1447"/>
                    </a:lnTo>
                    <a:lnTo>
                      <a:pt x="1229" y="1449"/>
                    </a:lnTo>
                    <a:lnTo>
                      <a:pt x="1230" y="1451"/>
                    </a:lnTo>
                    <a:lnTo>
                      <a:pt x="1229" y="1451"/>
                    </a:lnTo>
                    <a:lnTo>
                      <a:pt x="1229" y="1449"/>
                    </a:lnTo>
                    <a:lnTo>
                      <a:pt x="1227" y="1447"/>
                    </a:lnTo>
                    <a:lnTo>
                      <a:pt x="1225" y="1449"/>
                    </a:lnTo>
                    <a:lnTo>
                      <a:pt x="1224" y="1449"/>
                    </a:lnTo>
                    <a:lnTo>
                      <a:pt x="1225" y="1451"/>
                    </a:lnTo>
                    <a:lnTo>
                      <a:pt x="1225" y="1449"/>
                    </a:lnTo>
                    <a:lnTo>
                      <a:pt x="1227" y="1449"/>
                    </a:lnTo>
                    <a:lnTo>
                      <a:pt x="1229" y="1449"/>
                    </a:lnTo>
                    <a:lnTo>
                      <a:pt x="1229" y="1451"/>
                    </a:lnTo>
                    <a:lnTo>
                      <a:pt x="1229" y="1453"/>
                    </a:lnTo>
                    <a:lnTo>
                      <a:pt x="1227" y="1453"/>
                    </a:lnTo>
                    <a:lnTo>
                      <a:pt x="1227" y="1454"/>
                    </a:lnTo>
                    <a:lnTo>
                      <a:pt x="1225" y="1454"/>
                    </a:lnTo>
                    <a:lnTo>
                      <a:pt x="1225" y="1456"/>
                    </a:lnTo>
                    <a:lnTo>
                      <a:pt x="1224" y="1454"/>
                    </a:lnTo>
                    <a:lnTo>
                      <a:pt x="1224" y="1456"/>
                    </a:lnTo>
                    <a:lnTo>
                      <a:pt x="1224" y="1454"/>
                    </a:lnTo>
                    <a:lnTo>
                      <a:pt x="1222" y="1456"/>
                    </a:lnTo>
                    <a:lnTo>
                      <a:pt x="1224" y="1456"/>
                    </a:lnTo>
                    <a:lnTo>
                      <a:pt x="1225" y="1456"/>
                    </a:lnTo>
                    <a:lnTo>
                      <a:pt x="1227" y="1456"/>
                    </a:lnTo>
                    <a:lnTo>
                      <a:pt x="1227" y="1454"/>
                    </a:lnTo>
                    <a:lnTo>
                      <a:pt x="1229" y="1454"/>
                    </a:lnTo>
                    <a:lnTo>
                      <a:pt x="1229" y="1453"/>
                    </a:lnTo>
                    <a:lnTo>
                      <a:pt x="1230" y="1453"/>
                    </a:lnTo>
                    <a:lnTo>
                      <a:pt x="1230" y="1451"/>
                    </a:lnTo>
                    <a:lnTo>
                      <a:pt x="1232" y="1453"/>
                    </a:lnTo>
                    <a:lnTo>
                      <a:pt x="1232" y="1454"/>
                    </a:lnTo>
                    <a:lnTo>
                      <a:pt x="1232" y="1453"/>
                    </a:lnTo>
                    <a:lnTo>
                      <a:pt x="1232" y="1454"/>
                    </a:lnTo>
                    <a:lnTo>
                      <a:pt x="1232" y="1456"/>
                    </a:lnTo>
                    <a:lnTo>
                      <a:pt x="1230" y="1456"/>
                    </a:lnTo>
                    <a:lnTo>
                      <a:pt x="1229" y="1458"/>
                    </a:lnTo>
                    <a:lnTo>
                      <a:pt x="1227" y="1458"/>
                    </a:lnTo>
                    <a:lnTo>
                      <a:pt x="1225" y="1459"/>
                    </a:lnTo>
                    <a:lnTo>
                      <a:pt x="1225" y="1461"/>
                    </a:lnTo>
                    <a:lnTo>
                      <a:pt x="1225" y="1463"/>
                    </a:lnTo>
                    <a:lnTo>
                      <a:pt x="1225" y="1464"/>
                    </a:lnTo>
                    <a:lnTo>
                      <a:pt x="1225" y="1466"/>
                    </a:lnTo>
                    <a:lnTo>
                      <a:pt x="1225" y="1468"/>
                    </a:lnTo>
                    <a:lnTo>
                      <a:pt x="1224" y="1468"/>
                    </a:lnTo>
                    <a:lnTo>
                      <a:pt x="1222" y="1468"/>
                    </a:lnTo>
                    <a:lnTo>
                      <a:pt x="1222" y="1466"/>
                    </a:lnTo>
                    <a:lnTo>
                      <a:pt x="1222" y="1464"/>
                    </a:lnTo>
                    <a:lnTo>
                      <a:pt x="1222" y="1463"/>
                    </a:lnTo>
                    <a:lnTo>
                      <a:pt x="1222" y="1461"/>
                    </a:lnTo>
                    <a:lnTo>
                      <a:pt x="1220" y="1459"/>
                    </a:lnTo>
                    <a:lnTo>
                      <a:pt x="1222" y="1458"/>
                    </a:lnTo>
                    <a:lnTo>
                      <a:pt x="1220" y="1456"/>
                    </a:lnTo>
                    <a:lnTo>
                      <a:pt x="1220" y="1458"/>
                    </a:lnTo>
                    <a:lnTo>
                      <a:pt x="1220" y="1456"/>
                    </a:lnTo>
                    <a:lnTo>
                      <a:pt x="1222" y="1456"/>
                    </a:lnTo>
                    <a:lnTo>
                      <a:pt x="1220" y="1454"/>
                    </a:lnTo>
                    <a:lnTo>
                      <a:pt x="1220" y="1453"/>
                    </a:lnTo>
                    <a:lnTo>
                      <a:pt x="1220" y="1451"/>
                    </a:lnTo>
                    <a:lnTo>
                      <a:pt x="1220" y="1449"/>
                    </a:lnTo>
                    <a:lnTo>
                      <a:pt x="1219" y="1449"/>
                    </a:lnTo>
                    <a:lnTo>
                      <a:pt x="1219" y="1447"/>
                    </a:lnTo>
                    <a:lnTo>
                      <a:pt x="1219" y="1446"/>
                    </a:lnTo>
                    <a:lnTo>
                      <a:pt x="1217" y="1444"/>
                    </a:lnTo>
                    <a:lnTo>
                      <a:pt x="1217" y="1442"/>
                    </a:lnTo>
                    <a:lnTo>
                      <a:pt x="1217" y="1444"/>
                    </a:lnTo>
                    <a:lnTo>
                      <a:pt x="1217" y="1446"/>
                    </a:lnTo>
                    <a:lnTo>
                      <a:pt x="1219" y="1446"/>
                    </a:lnTo>
                    <a:lnTo>
                      <a:pt x="1219" y="1447"/>
                    </a:lnTo>
                    <a:lnTo>
                      <a:pt x="1219" y="1449"/>
                    </a:lnTo>
                    <a:lnTo>
                      <a:pt x="1219" y="1451"/>
                    </a:lnTo>
                    <a:lnTo>
                      <a:pt x="1219" y="1453"/>
                    </a:lnTo>
                    <a:lnTo>
                      <a:pt x="1220" y="1454"/>
                    </a:lnTo>
                    <a:lnTo>
                      <a:pt x="1219" y="1453"/>
                    </a:lnTo>
                    <a:lnTo>
                      <a:pt x="1219" y="1454"/>
                    </a:lnTo>
                    <a:lnTo>
                      <a:pt x="1220" y="1454"/>
                    </a:lnTo>
                    <a:lnTo>
                      <a:pt x="1219" y="1456"/>
                    </a:lnTo>
                    <a:lnTo>
                      <a:pt x="1220" y="1458"/>
                    </a:lnTo>
                    <a:lnTo>
                      <a:pt x="1220" y="1459"/>
                    </a:lnTo>
                    <a:lnTo>
                      <a:pt x="1220" y="1461"/>
                    </a:lnTo>
                    <a:lnTo>
                      <a:pt x="1220" y="1463"/>
                    </a:lnTo>
                    <a:lnTo>
                      <a:pt x="1220" y="1464"/>
                    </a:lnTo>
                    <a:lnTo>
                      <a:pt x="1220" y="1466"/>
                    </a:lnTo>
                    <a:lnTo>
                      <a:pt x="1222" y="1468"/>
                    </a:lnTo>
                    <a:lnTo>
                      <a:pt x="1220" y="1470"/>
                    </a:lnTo>
                    <a:lnTo>
                      <a:pt x="1220" y="1471"/>
                    </a:lnTo>
                    <a:lnTo>
                      <a:pt x="1219" y="1471"/>
                    </a:lnTo>
                    <a:lnTo>
                      <a:pt x="1219" y="1470"/>
                    </a:lnTo>
                    <a:lnTo>
                      <a:pt x="1217" y="1470"/>
                    </a:lnTo>
                    <a:lnTo>
                      <a:pt x="1217" y="1468"/>
                    </a:lnTo>
                    <a:lnTo>
                      <a:pt x="1215" y="1468"/>
                    </a:lnTo>
                    <a:lnTo>
                      <a:pt x="1215" y="1466"/>
                    </a:lnTo>
                    <a:lnTo>
                      <a:pt x="1213" y="1466"/>
                    </a:lnTo>
                    <a:lnTo>
                      <a:pt x="1212" y="1464"/>
                    </a:lnTo>
                    <a:lnTo>
                      <a:pt x="1212" y="1463"/>
                    </a:lnTo>
                    <a:lnTo>
                      <a:pt x="1210" y="1463"/>
                    </a:lnTo>
                    <a:lnTo>
                      <a:pt x="1212" y="1463"/>
                    </a:lnTo>
                    <a:lnTo>
                      <a:pt x="1210" y="1463"/>
                    </a:lnTo>
                    <a:lnTo>
                      <a:pt x="1210" y="1461"/>
                    </a:lnTo>
                    <a:lnTo>
                      <a:pt x="1210" y="1459"/>
                    </a:lnTo>
                    <a:lnTo>
                      <a:pt x="1210" y="1458"/>
                    </a:lnTo>
                    <a:lnTo>
                      <a:pt x="1212" y="1458"/>
                    </a:lnTo>
                    <a:lnTo>
                      <a:pt x="1210" y="1458"/>
                    </a:lnTo>
                    <a:lnTo>
                      <a:pt x="1210" y="1456"/>
                    </a:lnTo>
                    <a:lnTo>
                      <a:pt x="1208" y="1456"/>
                    </a:lnTo>
                    <a:lnTo>
                      <a:pt x="1208" y="1454"/>
                    </a:lnTo>
                    <a:lnTo>
                      <a:pt x="1208" y="1453"/>
                    </a:lnTo>
                    <a:lnTo>
                      <a:pt x="1208" y="1451"/>
                    </a:lnTo>
                    <a:lnTo>
                      <a:pt x="1210" y="1453"/>
                    </a:lnTo>
                    <a:lnTo>
                      <a:pt x="1210" y="1451"/>
                    </a:lnTo>
                    <a:lnTo>
                      <a:pt x="1210" y="1453"/>
                    </a:lnTo>
                    <a:lnTo>
                      <a:pt x="1210" y="1454"/>
                    </a:lnTo>
                    <a:lnTo>
                      <a:pt x="1212" y="1454"/>
                    </a:lnTo>
                    <a:lnTo>
                      <a:pt x="1212" y="1456"/>
                    </a:lnTo>
                    <a:lnTo>
                      <a:pt x="1213" y="1458"/>
                    </a:lnTo>
                    <a:lnTo>
                      <a:pt x="1213" y="1459"/>
                    </a:lnTo>
                    <a:lnTo>
                      <a:pt x="1212" y="1458"/>
                    </a:lnTo>
                    <a:lnTo>
                      <a:pt x="1212" y="1459"/>
                    </a:lnTo>
                    <a:lnTo>
                      <a:pt x="1213" y="1459"/>
                    </a:lnTo>
                    <a:lnTo>
                      <a:pt x="1215" y="1461"/>
                    </a:lnTo>
                    <a:lnTo>
                      <a:pt x="1215" y="1463"/>
                    </a:lnTo>
                    <a:lnTo>
                      <a:pt x="1217" y="1464"/>
                    </a:lnTo>
                    <a:lnTo>
                      <a:pt x="1217" y="1463"/>
                    </a:lnTo>
                    <a:lnTo>
                      <a:pt x="1215" y="1461"/>
                    </a:lnTo>
                    <a:lnTo>
                      <a:pt x="1215" y="1459"/>
                    </a:lnTo>
                    <a:lnTo>
                      <a:pt x="1215" y="1458"/>
                    </a:lnTo>
                    <a:lnTo>
                      <a:pt x="1213" y="1458"/>
                    </a:lnTo>
                    <a:lnTo>
                      <a:pt x="1215" y="1456"/>
                    </a:lnTo>
                    <a:lnTo>
                      <a:pt x="1213" y="1456"/>
                    </a:lnTo>
                    <a:lnTo>
                      <a:pt x="1213" y="1454"/>
                    </a:lnTo>
                    <a:lnTo>
                      <a:pt x="1212" y="1453"/>
                    </a:lnTo>
                    <a:lnTo>
                      <a:pt x="1212" y="1451"/>
                    </a:lnTo>
                    <a:lnTo>
                      <a:pt x="1213" y="1451"/>
                    </a:lnTo>
                    <a:lnTo>
                      <a:pt x="1212" y="1451"/>
                    </a:lnTo>
                    <a:lnTo>
                      <a:pt x="1212" y="1449"/>
                    </a:lnTo>
                    <a:lnTo>
                      <a:pt x="1210" y="1449"/>
                    </a:lnTo>
                    <a:lnTo>
                      <a:pt x="1210" y="1447"/>
                    </a:lnTo>
                    <a:lnTo>
                      <a:pt x="1212" y="1447"/>
                    </a:lnTo>
                    <a:lnTo>
                      <a:pt x="1213" y="1447"/>
                    </a:lnTo>
                    <a:lnTo>
                      <a:pt x="1213" y="1446"/>
                    </a:lnTo>
                    <a:lnTo>
                      <a:pt x="1215" y="1444"/>
                    </a:lnTo>
                    <a:lnTo>
                      <a:pt x="1213" y="1444"/>
                    </a:lnTo>
                    <a:lnTo>
                      <a:pt x="1213" y="1446"/>
                    </a:lnTo>
                    <a:lnTo>
                      <a:pt x="1212" y="1446"/>
                    </a:lnTo>
                    <a:lnTo>
                      <a:pt x="1212" y="1447"/>
                    </a:lnTo>
                    <a:lnTo>
                      <a:pt x="1212" y="1446"/>
                    </a:lnTo>
                    <a:lnTo>
                      <a:pt x="1212" y="1444"/>
                    </a:lnTo>
                    <a:lnTo>
                      <a:pt x="1212" y="1446"/>
                    </a:lnTo>
                    <a:lnTo>
                      <a:pt x="1210" y="1447"/>
                    </a:lnTo>
                    <a:lnTo>
                      <a:pt x="1210" y="1446"/>
                    </a:lnTo>
                    <a:lnTo>
                      <a:pt x="1208" y="1446"/>
                    </a:lnTo>
                    <a:lnTo>
                      <a:pt x="1208" y="1444"/>
                    </a:lnTo>
                    <a:lnTo>
                      <a:pt x="1208" y="1442"/>
                    </a:lnTo>
                    <a:lnTo>
                      <a:pt x="1208" y="1444"/>
                    </a:lnTo>
                    <a:lnTo>
                      <a:pt x="1208" y="1446"/>
                    </a:lnTo>
                    <a:lnTo>
                      <a:pt x="1208" y="1447"/>
                    </a:lnTo>
                    <a:lnTo>
                      <a:pt x="1207" y="1447"/>
                    </a:lnTo>
                    <a:lnTo>
                      <a:pt x="1207" y="1449"/>
                    </a:lnTo>
                    <a:lnTo>
                      <a:pt x="1207" y="1451"/>
                    </a:lnTo>
                    <a:lnTo>
                      <a:pt x="1205" y="1449"/>
                    </a:lnTo>
                    <a:lnTo>
                      <a:pt x="1205" y="1447"/>
                    </a:lnTo>
                    <a:lnTo>
                      <a:pt x="1205" y="1446"/>
                    </a:lnTo>
                    <a:lnTo>
                      <a:pt x="1203" y="1446"/>
                    </a:lnTo>
                    <a:lnTo>
                      <a:pt x="1203" y="1444"/>
                    </a:lnTo>
                    <a:lnTo>
                      <a:pt x="1202" y="1444"/>
                    </a:lnTo>
                    <a:lnTo>
                      <a:pt x="1203" y="1442"/>
                    </a:lnTo>
                    <a:lnTo>
                      <a:pt x="1205" y="1442"/>
                    </a:lnTo>
                    <a:lnTo>
                      <a:pt x="1203" y="1442"/>
                    </a:lnTo>
                    <a:lnTo>
                      <a:pt x="1202" y="1442"/>
                    </a:lnTo>
                    <a:lnTo>
                      <a:pt x="1200" y="1442"/>
                    </a:lnTo>
                    <a:lnTo>
                      <a:pt x="1200" y="1441"/>
                    </a:lnTo>
                    <a:lnTo>
                      <a:pt x="1198" y="1441"/>
                    </a:lnTo>
                    <a:lnTo>
                      <a:pt x="1200" y="1441"/>
                    </a:lnTo>
                    <a:lnTo>
                      <a:pt x="1200" y="1439"/>
                    </a:lnTo>
                    <a:lnTo>
                      <a:pt x="1202" y="1439"/>
                    </a:lnTo>
                    <a:lnTo>
                      <a:pt x="1203" y="1439"/>
                    </a:lnTo>
                    <a:lnTo>
                      <a:pt x="1202" y="1439"/>
                    </a:lnTo>
                    <a:lnTo>
                      <a:pt x="1202" y="1437"/>
                    </a:lnTo>
                    <a:lnTo>
                      <a:pt x="1203" y="1437"/>
                    </a:lnTo>
                    <a:lnTo>
                      <a:pt x="1202" y="1437"/>
                    </a:lnTo>
                    <a:lnTo>
                      <a:pt x="1203" y="1435"/>
                    </a:lnTo>
                    <a:lnTo>
                      <a:pt x="1202" y="1437"/>
                    </a:lnTo>
                    <a:lnTo>
                      <a:pt x="1202" y="1435"/>
                    </a:lnTo>
                    <a:lnTo>
                      <a:pt x="1200" y="1437"/>
                    </a:lnTo>
                    <a:lnTo>
                      <a:pt x="1200" y="1439"/>
                    </a:lnTo>
                    <a:lnTo>
                      <a:pt x="1200" y="1437"/>
                    </a:lnTo>
                    <a:lnTo>
                      <a:pt x="1200" y="1435"/>
                    </a:lnTo>
                    <a:lnTo>
                      <a:pt x="1198" y="1435"/>
                    </a:lnTo>
                    <a:lnTo>
                      <a:pt x="1200" y="1435"/>
                    </a:lnTo>
                    <a:lnTo>
                      <a:pt x="1198" y="1435"/>
                    </a:lnTo>
                    <a:lnTo>
                      <a:pt x="1198" y="1434"/>
                    </a:lnTo>
                    <a:lnTo>
                      <a:pt x="1198" y="1435"/>
                    </a:lnTo>
                    <a:lnTo>
                      <a:pt x="1198" y="1434"/>
                    </a:lnTo>
                    <a:lnTo>
                      <a:pt x="1196" y="1435"/>
                    </a:lnTo>
                    <a:lnTo>
                      <a:pt x="1196" y="1434"/>
                    </a:lnTo>
                    <a:lnTo>
                      <a:pt x="1198" y="1432"/>
                    </a:lnTo>
                    <a:lnTo>
                      <a:pt x="1198" y="1434"/>
                    </a:lnTo>
                    <a:lnTo>
                      <a:pt x="1198" y="1432"/>
                    </a:lnTo>
                    <a:lnTo>
                      <a:pt x="1200" y="1432"/>
                    </a:lnTo>
                    <a:lnTo>
                      <a:pt x="1198" y="1432"/>
                    </a:lnTo>
                    <a:lnTo>
                      <a:pt x="1198" y="1430"/>
                    </a:lnTo>
                    <a:lnTo>
                      <a:pt x="1200" y="1430"/>
                    </a:lnTo>
                    <a:lnTo>
                      <a:pt x="1198" y="1430"/>
                    </a:lnTo>
                    <a:lnTo>
                      <a:pt x="1198" y="1429"/>
                    </a:lnTo>
                    <a:lnTo>
                      <a:pt x="1200" y="1429"/>
                    </a:lnTo>
                    <a:lnTo>
                      <a:pt x="1200" y="1427"/>
                    </a:lnTo>
                    <a:lnTo>
                      <a:pt x="1200" y="1429"/>
                    </a:lnTo>
                    <a:lnTo>
                      <a:pt x="1202" y="1429"/>
                    </a:lnTo>
                    <a:lnTo>
                      <a:pt x="1203" y="1429"/>
                    </a:lnTo>
                    <a:lnTo>
                      <a:pt x="1203" y="1430"/>
                    </a:lnTo>
                    <a:lnTo>
                      <a:pt x="1203" y="1432"/>
                    </a:lnTo>
                    <a:lnTo>
                      <a:pt x="1205" y="1432"/>
                    </a:lnTo>
                    <a:lnTo>
                      <a:pt x="1205" y="1434"/>
                    </a:lnTo>
                    <a:lnTo>
                      <a:pt x="1205" y="1432"/>
                    </a:lnTo>
                    <a:lnTo>
                      <a:pt x="1205" y="1430"/>
                    </a:lnTo>
                    <a:lnTo>
                      <a:pt x="1205" y="1432"/>
                    </a:lnTo>
                    <a:lnTo>
                      <a:pt x="1207" y="1434"/>
                    </a:lnTo>
                    <a:lnTo>
                      <a:pt x="1207" y="1435"/>
                    </a:lnTo>
                    <a:lnTo>
                      <a:pt x="1208" y="1437"/>
                    </a:lnTo>
                    <a:lnTo>
                      <a:pt x="1208" y="1439"/>
                    </a:lnTo>
                    <a:lnTo>
                      <a:pt x="1208" y="1441"/>
                    </a:lnTo>
                    <a:lnTo>
                      <a:pt x="1208" y="1442"/>
                    </a:lnTo>
                    <a:lnTo>
                      <a:pt x="1210" y="1441"/>
                    </a:lnTo>
                    <a:lnTo>
                      <a:pt x="1208" y="1439"/>
                    </a:lnTo>
                    <a:lnTo>
                      <a:pt x="1208" y="1437"/>
                    </a:lnTo>
                    <a:lnTo>
                      <a:pt x="1208" y="1435"/>
                    </a:lnTo>
                    <a:lnTo>
                      <a:pt x="1207" y="1434"/>
                    </a:lnTo>
                    <a:lnTo>
                      <a:pt x="1207" y="1435"/>
                    </a:lnTo>
                    <a:lnTo>
                      <a:pt x="1208" y="1435"/>
                    </a:lnTo>
                    <a:lnTo>
                      <a:pt x="1210" y="1435"/>
                    </a:lnTo>
                    <a:lnTo>
                      <a:pt x="1210" y="1437"/>
                    </a:lnTo>
                    <a:lnTo>
                      <a:pt x="1210" y="1435"/>
                    </a:lnTo>
                    <a:lnTo>
                      <a:pt x="1208" y="1435"/>
                    </a:lnTo>
                    <a:lnTo>
                      <a:pt x="1208" y="1434"/>
                    </a:lnTo>
                    <a:lnTo>
                      <a:pt x="1208" y="1432"/>
                    </a:lnTo>
                    <a:lnTo>
                      <a:pt x="1210" y="1432"/>
                    </a:lnTo>
                    <a:lnTo>
                      <a:pt x="1212" y="1432"/>
                    </a:lnTo>
                    <a:lnTo>
                      <a:pt x="1210" y="1432"/>
                    </a:lnTo>
                    <a:lnTo>
                      <a:pt x="1208" y="1432"/>
                    </a:lnTo>
                    <a:lnTo>
                      <a:pt x="1207" y="1430"/>
                    </a:lnTo>
                    <a:lnTo>
                      <a:pt x="1207" y="1429"/>
                    </a:lnTo>
                    <a:lnTo>
                      <a:pt x="1207" y="1427"/>
                    </a:lnTo>
                    <a:lnTo>
                      <a:pt x="1207" y="1425"/>
                    </a:lnTo>
                    <a:lnTo>
                      <a:pt x="1207" y="1427"/>
                    </a:lnTo>
                    <a:lnTo>
                      <a:pt x="1207" y="1425"/>
                    </a:lnTo>
                    <a:lnTo>
                      <a:pt x="1207" y="1424"/>
                    </a:lnTo>
                    <a:lnTo>
                      <a:pt x="1205" y="1422"/>
                    </a:lnTo>
                    <a:lnTo>
                      <a:pt x="1203" y="1420"/>
                    </a:lnTo>
                    <a:lnTo>
                      <a:pt x="1203" y="1418"/>
                    </a:lnTo>
                    <a:lnTo>
                      <a:pt x="1205" y="1418"/>
                    </a:lnTo>
                    <a:lnTo>
                      <a:pt x="1207" y="1418"/>
                    </a:lnTo>
                    <a:lnTo>
                      <a:pt x="1207" y="1420"/>
                    </a:lnTo>
                    <a:lnTo>
                      <a:pt x="1207" y="1422"/>
                    </a:lnTo>
                    <a:lnTo>
                      <a:pt x="1208" y="1422"/>
                    </a:lnTo>
                    <a:lnTo>
                      <a:pt x="1207" y="1422"/>
                    </a:lnTo>
                    <a:lnTo>
                      <a:pt x="1207" y="1420"/>
                    </a:lnTo>
                    <a:lnTo>
                      <a:pt x="1207" y="1418"/>
                    </a:lnTo>
                    <a:lnTo>
                      <a:pt x="1208" y="1418"/>
                    </a:lnTo>
                    <a:lnTo>
                      <a:pt x="1207" y="1418"/>
                    </a:lnTo>
                    <a:lnTo>
                      <a:pt x="1207" y="1417"/>
                    </a:lnTo>
                    <a:lnTo>
                      <a:pt x="1207" y="1415"/>
                    </a:lnTo>
                    <a:lnTo>
                      <a:pt x="1207" y="1417"/>
                    </a:lnTo>
                    <a:lnTo>
                      <a:pt x="1205" y="1417"/>
                    </a:lnTo>
                    <a:lnTo>
                      <a:pt x="1205" y="1415"/>
                    </a:lnTo>
                    <a:lnTo>
                      <a:pt x="1203" y="1413"/>
                    </a:lnTo>
                    <a:lnTo>
                      <a:pt x="1203" y="1412"/>
                    </a:lnTo>
                    <a:lnTo>
                      <a:pt x="1202" y="1412"/>
                    </a:lnTo>
                    <a:lnTo>
                      <a:pt x="1203" y="1412"/>
                    </a:lnTo>
                    <a:lnTo>
                      <a:pt x="1203" y="1413"/>
                    </a:lnTo>
                    <a:lnTo>
                      <a:pt x="1203" y="1415"/>
                    </a:lnTo>
                    <a:lnTo>
                      <a:pt x="1205" y="1415"/>
                    </a:lnTo>
                    <a:lnTo>
                      <a:pt x="1205" y="1417"/>
                    </a:lnTo>
                    <a:lnTo>
                      <a:pt x="1205" y="1418"/>
                    </a:lnTo>
                    <a:lnTo>
                      <a:pt x="1203" y="1418"/>
                    </a:lnTo>
                    <a:lnTo>
                      <a:pt x="1202" y="1420"/>
                    </a:lnTo>
                    <a:lnTo>
                      <a:pt x="1200" y="1422"/>
                    </a:lnTo>
                    <a:lnTo>
                      <a:pt x="1198" y="1420"/>
                    </a:lnTo>
                    <a:lnTo>
                      <a:pt x="1198" y="1418"/>
                    </a:lnTo>
                    <a:lnTo>
                      <a:pt x="1198" y="1417"/>
                    </a:lnTo>
                    <a:lnTo>
                      <a:pt x="1198" y="1415"/>
                    </a:lnTo>
                    <a:lnTo>
                      <a:pt x="1196" y="1415"/>
                    </a:lnTo>
                    <a:lnTo>
                      <a:pt x="1196" y="1413"/>
                    </a:lnTo>
                    <a:lnTo>
                      <a:pt x="1196" y="1415"/>
                    </a:lnTo>
                    <a:lnTo>
                      <a:pt x="1196" y="1417"/>
                    </a:lnTo>
                    <a:lnTo>
                      <a:pt x="1196" y="1418"/>
                    </a:lnTo>
                    <a:lnTo>
                      <a:pt x="1195" y="1418"/>
                    </a:lnTo>
                    <a:lnTo>
                      <a:pt x="1193" y="1418"/>
                    </a:lnTo>
                    <a:lnTo>
                      <a:pt x="1191" y="1417"/>
                    </a:lnTo>
                    <a:lnTo>
                      <a:pt x="1193" y="1415"/>
                    </a:lnTo>
                    <a:lnTo>
                      <a:pt x="1191" y="1413"/>
                    </a:lnTo>
                    <a:lnTo>
                      <a:pt x="1193" y="1413"/>
                    </a:lnTo>
                    <a:lnTo>
                      <a:pt x="1191" y="1413"/>
                    </a:lnTo>
                    <a:lnTo>
                      <a:pt x="1191" y="1412"/>
                    </a:lnTo>
                    <a:lnTo>
                      <a:pt x="1191" y="1410"/>
                    </a:lnTo>
                    <a:lnTo>
                      <a:pt x="1191" y="1412"/>
                    </a:lnTo>
                    <a:lnTo>
                      <a:pt x="1191" y="1410"/>
                    </a:lnTo>
                    <a:lnTo>
                      <a:pt x="1193" y="1410"/>
                    </a:lnTo>
                    <a:lnTo>
                      <a:pt x="1193" y="1408"/>
                    </a:lnTo>
                    <a:lnTo>
                      <a:pt x="1195" y="1408"/>
                    </a:lnTo>
                    <a:lnTo>
                      <a:pt x="1195" y="1407"/>
                    </a:lnTo>
                    <a:lnTo>
                      <a:pt x="1193" y="1407"/>
                    </a:lnTo>
                    <a:lnTo>
                      <a:pt x="1195" y="1405"/>
                    </a:lnTo>
                    <a:lnTo>
                      <a:pt x="1193" y="1407"/>
                    </a:lnTo>
                    <a:lnTo>
                      <a:pt x="1193" y="1405"/>
                    </a:lnTo>
                    <a:lnTo>
                      <a:pt x="1193" y="1407"/>
                    </a:lnTo>
                    <a:lnTo>
                      <a:pt x="1191" y="1408"/>
                    </a:lnTo>
                    <a:lnTo>
                      <a:pt x="1193" y="1407"/>
                    </a:lnTo>
                    <a:lnTo>
                      <a:pt x="1191" y="1407"/>
                    </a:lnTo>
                    <a:lnTo>
                      <a:pt x="1191" y="1408"/>
                    </a:lnTo>
                    <a:lnTo>
                      <a:pt x="1191" y="1410"/>
                    </a:lnTo>
                    <a:lnTo>
                      <a:pt x="1190" y="1410"/>
                    </a:lnTo>
                    <a:lnTo>
                      <a:pt x="1190" y="1408"/>
                    </a:lnTo>
                    <a:lnTo>
                      <a:pt x="1188" y="1408"/>
                    </a:lnTo>
                    <a:lnTo>
                      <a:pt x="1190" y="1407"/>
                    </a:lnTo>
                    <a:lnTo>
                      <a:pt x="1188" y="1407"/>
                    </a:lnTo>
                    <a:lnTo>
                      <a:pt x="1188" y="1405"/>
                    </a:lnTo>
                    <a:lnTo>
                      <a:pt x="1188" y="1403"/>
                    </a:lnTo>
                    <a:lnTo>
                      <a:pt x="1190" y="1403"/>
                    </a:lnTo>
                    <a:lnTo>
                      <a:pt x="1190" y="1401"/>
                    </a:lnTo>
                    <a:lnTo>
                      <a:pt x="1191" y="1401"/>
                    </a:lnTo>
                    <a:lnTo>
                      <a:pt x="1193" y="1400"/>
                    </a:lnTo>
                    <a:lnTo>
                      <a:pt x="1195" y="1401"/>
                    </a:lnTo>
                    <a:lnTo>
                      <a:pt x="1196" y="1401"/>
                    </a:lnTo>
                    <a:lnTo>
                      <a:pt x="1198" y="1401"/>
                    </a:lnTo>
                    <a:lnTo>
                      <a:pt x="1198" y="1403"/>
                    </a:lnTo>
                    <a:lnTo>
                      <a:pt x="1198" y="1401"/>
                    </a:lnTo>
                    <a:lnTo>
                      <a:pt x="1200" y="1400"/>
                    </a:lnTo>
                    <a:lnTo>
                      <a:pt x="1202" y="1401"/>
                    </a:lnTo>
                    <a:lnTo>
                      <a:pt x="1202" y="1403"/>
                    </a:lnTo>
                    <a:lnTo>
                      <a:pt x="1200" y="1405"/>
                    </a:lnTo>
                    <a:lnTo>
                      <a:pt x="1202" y="1405"/>
                    </a:lnTo>
                    <a:lnTo>
                      <a:pt x="1203" y="1405"/>
                    </a:lnTo>
                    <a:lnTo>
                      <a:pt x="1205" y="1405"/>
                    </a:lnTo>
                    <a:lnTo>
                      <a:pt x="1207" y="1405"/>
                    </a:lnTo>
                    <a:lnTo>
                      <a:pt x="1207" y="1403"/>
                    </a:lnTo>
                    <a:lnTo>
                      <a:pt x="1205" y="1405"/>
                    </a:lnTo>
                    <a:lnTo>
                      <a:pt x="1203" y="1403"/>
                    </a:lnTo>
                    <a:lnTo>
                      <a:pt x="1203" y="1401"/>
                    </a:lnTo>
                    <a:lnTo>
                      <a:pt x="1202" y="1401"/>
                    </a:lnTo>
                    <a:lnTo>
                      <a:pt x="1202" y="1400"/>
                    </a:lnTo>
                    <a:lnTo>
                      <a:pt x="1200" y="1400"/>
                    </a:lnTo>
                    <a:lnTo>
                      <a:pt x="1200" y="1398"/>
                    </a:lnTo>
                    <a:lnTo>
                      <a:pt x="1202" y="1398"/>
                    </a:lnTo>
                    <a:lnTo>
                      <a:pt x="1202" y="1396"/>
                    </a:lnTo>
                    <a:lnTo>
                      <a:pt x="1203" y="1396"/>
                    </a:lnTo>
                    <a:lnTo>
                      <a:pt x="1203" y="1398"/>
                    </a:lnTo>
                    <a:lnTo>
                      <a:pt x="1205" y="1398"/>
                    </a:lnTo>
                    <a:lnTo>
                      <a:pt x="1203" y="1398"/>
                    </a:lnTo>
                    <a:lnTo>
                      <a:pt x="1203" y="1396"/>
                    </a:lnTo>
                    <a:lnTo>
                      <a:pt x="1203" y="1395"/>
                    </a:lnTo>
                    <a:lnTo>
                      <a:pt x="1203" y="1393"/>
                    </a:lnTo>
                    <a:lnTo>
                      <a:pt x="1203" y="1391"/>
                    </a:lnTo>
                    <a:lnTo>
                      <a:pt x="1203" y="1390"/>
                    </a:lnTo>
                    <a:lnTo>
                      <a:pt x="1205" y="1390"/>
                    </a:lnTo>
                    <a:lnTo>
                      <a:pt x="1207" y="1390"/>
                    </a:lnTo>
                    <a:lnTo>
                      <a:pt x="1208" y="1388"/>
                    </a:lnTo>
                    <a:lnTo>
                      <a:pt x="1210" y="1390"/>
                    </a:lnTo>
                    <a:lnTo>
                      <a:pt x="1212" y="1390"/>
                    </a:lnTo>
                    <a:lnTo>
                      <a:pt x="1213" y="1391"/>
                    </a:lnTo>
                    <a:lnTo>
                      <a:pt x="1213" y="1390"/>
                    </a:lnTo>
                    <a:lnTo>
                      <a:pt x="1212" y="1390"/>
                    </a:lnTo>
                    <a:lnTo>
                      <a:pt x="1210" y="1388"/>
                    </a:lnTo>
                    <a:lnTo>
                      <a:pt x="1212" y="1388"/>
                    </a:lnTo>
                    <a:lnTo>
                      <a:pt x="1210" y="1386"/>
                    </a:lnTo>
                    <a:lnTo>
                      <a:pt x="1210" y="1388"/>
                    </a:lnTo>
                    <a:lnTo>
                      <a:pt x="1210" y="1386"/>
                    </a:lnTo>
                    <a:lnTo>
                      <a:pt x="1208" y="1388"/>
                    </a:lnTo>
                    <a:lnTo>
                      <a:pt x="1208" y="1386"/>
                    </a:lnTo>
                    <a:lnTo>
                      <a:pt x="1207" y="1386"/>
                    </a:lnTo>
                    <a:lnTo>
                      <a:pt x="1207" y="1384"/>
                    </a:lnTo>
                    <a:lnTo>
                      <a:pt x="1205" y="1384"/>
                    </a:lnTo>
                    <a:lnTo>
                      <a:pt x="1205" y="1383"/>
                    </a:lnTo>
                    <a:lnTo>
                      <a:pt x="1205" y="1381"/>
                    </a:lnTo>
                    <a:lnTo>
                      <a:pt x="1207" y="1381"/>
                    </a:lnTo>
                    <a:lnTo>
                      <a:pt x="1208" y="1381"/>
                    </a:lnTo>
                    <a:lnTo>
                      <a:pt x="1210" y="1381"/>
                    </a:lnTo>
                    <a:lnTo>
                      <a:pt x="1210" y="1379"/>
                    </a:lnTo>
                    <a:lnTo>
                      <a:pt x="1210" y="1378"/>
                    </a:lnTo>
                    <a:lnTo>
                      <a:pt x="1212" y="1378"/>
                    </a:lnTo>
                    <a:lnTo>
                      <a:pt x="1210" y="1376"/>
                    </a:lnTo>
                    <a:lnTo>
                      <a:pt x="1212" y="1376"/>
                    </a:lnTo>
                    <a:lnTo>
                      <a:pt x="1212" y="1374"/>
                    </a:lnTo>
                    <a:lnTo>
                      <a:pt x="1210" y="1374"/>
                    </a:lnTo>
                    <a:lnTo>
                      <a:pt x="1210" y="1376"/>
                    </a:lnTo>
                    <a:lnTo>
                      <a:pt x="1210" y="1378"/>
                    </a:lnTo>
                    <a:lnTo>
                      <a:pt x="1208" y="1379"/>
                    </a:lnTo>
                    <a:lnTo>
                      <a:pt x="1208" y="1381"/>
                    </a:lnTo>
                    <a:lnTo>
                      <a:pt x="1208" y="1379"/>
                    </a:lnTo>
                    <a:lnTo>
                      <a:pt x="1207" y="1381"/>
                    </a:lnTo>
                    <a:lnTo>
                      <a:pt x="1205" y="1381"/>
                    </a:lnTo>
                    <a:lnTo>
                      <a:pt x="1203" y="1383"/>
                    </a:lnTo>
                    <a:lnTo>
                      <a:pt x="1203" y="1384"/>
                    </a:lnTo>
                    <a:lnTo>
                      <a:pt x="1203" y="1386"/>
                    </a:lnTo>
                    <a:lnTo>
                      <a:pt x="1203" y="1388"/>
                    </a:lnTo>
                    <a:lnTo>
                      <a:pt x="1203" y="1390"/>
                    </a:lnTo>
                    <a:lnTo>
                      <a:pt x="1202" y="1391"/>
                    </a:lnTo>
                    <a:lnTo>
                      <a:pt x="1202" y="1393"/>
                    </a:lnTo>
                    <a:lnTo>
                      <a:pt x="1203" y="1393"/>
                    </a:lnTo>
                    <a:lnTo>
                      <a:pt x="1202" y="1395"/>
                    </a:lnTo>
                    <a:lnTo>
                      <a:pt x="1202" y="1396"/>
                    </a:lnTo>
                    <a:lnTo>
                      <a:pt x="1200" y="1396"/>
                    </a:lnTo>
                    <a:lnTo>
                      <a:pt x="1200" y="1398"/>
                    </a:lnTo>
                    <a:lnTo>
                      <a:pt x="1198" y="1400"/>
                    </a:lnTo>
                    <a:lnTo>
                      <a:pt x="1196" y="1400"/>
                    </a:lnTo>
                    <a:lnTo>
                      <a:pt x="1196" y="1398"/>
                    </a:lnTo>
                    <a:lnTo>
                      <a:pt x="1195" y="1400"/>
                    </a:lnTo>
                    <a:lnTo>
                      <a:pt x="1195" y="1398"/>
                    </a:lnTo>
                    <a:lnTo>
                      <a:pt x="1193" y="1396"/>
                    </a:lnTo>
                    <a:lnTo>
                      <a:pt x="1193" y="1395"/>
                    </a:lnTo>
                    <a:lnTo>
                      <a:pt x="1191" y="1395"/>
                    </a:lnTo>
                    <a:lnTo>
                      <a:pt x="1193" y="1395"/>
                    </a:lnTo>
                    <a:lnTo>
                      <a:pt x="1193" y="1393"/>
                    </a:lnTo>
                    <a:lnTo>
                      <a:pt x="1195" y="1393"/>
                    </a:lnTo>
                    <a:lnTo>
                      <a:pt x="1195" y="1391"/>
                    </a:lnTo>
                    <a:lnTo>
                      <a:pt x="1193" y="1391"/>
                    </a:lnTo>
                    <a:lnTo>
                      <a:pt x="1191" y="1391"/>
                    </a:lnTo>
                    <a:lnTo>
                      <a:pt x="1193" y="1391"/>
                    </a:lnTo>
                    <a:lnTo>
                      <a:pt x="1191" y="1393"/>
                    </a:lnTo>
                    <a:lnTo>
                      <a:pt x="1193" y="1395"/>
                    </a:lnTo>
                    <a:lnTo>
                      <a:pt x="1191" y="1395"/>
                    </a:lnTo>
                    <a:lnTo>
                      <a:pt x="1193" y="1395"/>
                    </a:lnTo>
                    <a:lnTo>
                      <a:pt x="1191" y="1393"/>
                    </a:lnTo>
                    <a:lnTo>
                      <a:pt x="1191" y="1391"/>
                    </a:lnTo>
                    <a:lnTo>
                      <a:pt x="1191" y="1390"/>
                    </a:lnTo>
                    <a:lnTo>
                      <a:pt x="1190" y="1390"/>
                    </a:lnTo>
                    <a:lnTo>
                      <a:pt x="1190" y="1388"/>
                    </a:lnTo>
                    <a:lnTo>
                      <a:pt x="1188" y="1386"/>
                    </a:lnTo>
                    <a:lnTo>
                      <a:pt x="1188" y="1384"/>
                    </a:lnTo>
                    <a:lnTo>
                      <a:pt x="1190" y="1384"/>
                    </a:lnTo>
                    <a:lnTo>
                      <a:pt x="1191" y="1383"/>
                    </a:lnTo>
                    <a:lnTo>
                      <a:pt x="1191" y="1384"/>
                    </a:lnTo>
                    <a:lnTo>
                      <a:pt x="1193" y="1384"/>
                    </a:lnTo>
                    <a:lnTo>
                      <a:pt x="1193" y="1386"/>
                    </a:lnTo>
                    <a:lnTo>
                      <a:pt x="1193" y="1384"/>
                    </a:lnTo>
                    <a:lnTo>
                      <a:pt x="1191" y="1384"/>
                    </a:lnTo>
                    <a:lnTo>
                      <a:pt x="1191" y="1383"/>
                    </a:lnTo>
                    <a:lnTo>
                      <a:pt x="1190" y="1383"/>
                    </a:lnTo>
                    <a:lnTo>
                      <a:pt x="1191" y="1383"/>
                    </a:lnTo>
                    <a:lnTo>
                      <a:pt x="1190" y="1384"/>
                    </a:lnTo>
                    <a:lnTo>
                      <a:pt x="1188" y="1384"/>
                    </a:lnTo>
                    <a:lnTo>
                      <a:pt x="1188" y="1383"/>
                    </a:lnTo>
                    <a:lnTo>
                      <a:pt x="1186" y="1381"/>
                    </a:lnTo>
                    <a:lnTo>
                      <a:pt x="1186" y="1379"/>
                    </a:lnTo>
                    <a:lnTo>
                      <a:pt x="1188" y="1379"/>
                    </a:lnTo>
                    <a:lnTo>
                      <a:pt x="1190" y="1379"/>
                    </a:lnTo>
                    <a:lnTo>
                      <a:pt x="1191" y="1381"/>
                    </a:lnTo>
                    <a:lnTo>
                      <a:pt x="1190" y="1381"/>
                    </a:lnTo>
                    <a:lnTo>
                      <a:pt x="1191" y="1383"/>
                    </a:lnTo>
                    <a:lnTo>
                      <a:pt x="1191" y="1381"/>
                    </a:lnTo>
                    <a:lnTo>
                      <a:pt x="1193" y="1383"/>
                    </a:lnTo>
                    <a:lnTo>
                      <a:pt x="1193" y="1381"/>
                    </a:lnTo>
                    <a:lnTo>
                      <a:pt x="1191" y="1381"/>
                    </a:lnTo>
                    <a:lnTo>
                      <a:pt x="1191" y="1379"/>
                    </a:lnTo>
                    <a:lnTo>
                      <a:pt x="1191" y="1381"/>
                    </a:lnTo>
                    <a:lnTo>
                      <a:pt x="1191" y="1379"/>
                    </a:lnTo>
                    <a:lnTo>
                      <a:pt x="1191" y="1381"/>
                    </a:lnTo>
                    <a:lnTo>
                      <a:pt x="1193" y="1381"/>
                    </a:lnTo>
                    <a:lnTo>
                      <a:pt x="1195" y="1381"/>
                    </a:lnTo>
                    <a:lnTo>
                      <a:pt x="1195" y="1383"/>
                    </a:lnTo>
                    <a:lnTo>
                      <a:pt x="1196" y="1383"/>
                    </a:lnTo>
                    <a:lnTo>
                      <a:pt x="1196" y="1384"/>
                    </a:lnTo>
                    <a:lnTo>
                      <a:pt x="1196" y="1386"/>
                    </a:lnTo>
                    <a:lnTo>
                      <a:pt x="1196" y="1384"/>
                    </a:lnTo>
                    <a:lnTo>
                      <a:pt x="1196" y="1383"/>
                    </a:lnTo>
                    <a:lnTo>
                      <a:pt x="1198" y="1383"/>
                    </a:lnTo>
                    <a:lnTo>
                      <a:pt x="1200" y="1383"/>
                    </a:lnTo>
                    <a:lnTo>
                      <a:pt x="1200" y="1384"/>
                    </a:lnTo>
                    <a:lnTo>
                      <a:pt x="1202" y="1384"/>
                    </a:lnTo>
                    <a:lnTo>
                      <a:pt x="1200" y="1383"/>
                    </a:lnTo>
                    <a:lnTo>
                      <a:pt x="1198" y="1383"/>
                    </a:lnTo>
                    <a:lnTo>
                      <a:pt x="1196" y="1383"/>
                    </a:lnTo>
                    <a:lnTo>
                      <a:pt x="1196" y="1381"/>
                    </a:lnTo>
                    <a:lnTo>
                      <a:pt x="1195" y="1381"/>
                    </a:lnTo>
                    <a:lnTo>
                      <a:pt x="1196" y="1379"/>
                    </a:lnTo>
                    <a:lnTo>
                      <a:pt x="1195" y="1379"/>
                    </a:lnTo>
                    <a:lnTo>
                      <a:pt x="1195" y="1381"/>
                    </a:lnTo>
                    <a:lnTo>
                      <a:pt x="1195" y="1379"/>
                    </a:lnTo>
                    <a:lnTo>
                      <a:pt x="1193" y="1379"/>
                    </a:lnTo>
                    <a:lnTo>
                      <a:pt x="1191" y="1378"/>
                    </a:lnTo>
                    <a:lnTo>
                      <a:pt x="1191" y="1376"/>
                    </a:lnTo>
                    <a:lnTo>
                      <a:pt x="1193" y="1376"/>
                    </a:lnTo>
                    <a:lnTo>
                      <a:pt x="1195" y="1374"/>
                    </a:lnTo>
                    <a:lnTo>
                      <a:pt x="1196" y="1374"/>
                    </a:lnTo>
                    <a:lnTo>
                      <a:pt x="1198" y="1374"/>
                    </a:lnTo>
                    <a:lnTo>
                      <a:pt x="1196" y="1374"/>
                    </a:lnTo>
                    <a:lnTo>
                      <a:pt x="1195" y="1374"/>
                    </a:lnTo>
                    <a:lnTo>
                      <a:pt x="1193" y="1374"/>
                    </a:lnTo>
                    <a:lnTo>
                      <a:pt x="1193" y="1376"/>
                    </a:lnTo>
                    <a:lnTo>
                      <a:pt x="1191" y="1376"/>
                    </a:lnTo>
                    <a:lnTo>
                      <a:pt x="1190" y="1378"/>
                    </a:lnTo>
                    <a:lnTo>
                      <a:pt x="1190" y="1376"/>
                    </a:lnTo>
                    <a:lnTo>
                      <a:pt x="1188" y="1378"/>
                    </a:lnTo>
                    <a:lnTo>
                      <a:pt x="1190" y="1378"/>
                    </a:lnTo>
                    <a:lnTo>
                      <a:pt x="1188" y="1378"/>
                    </a:lnTo>
                    <a:lnTo>
                      <a:pt x="1186" y="1378"/>
                    </a:lnTo>
                    <a:lnTo>
                      <a:pt x="1188" y="1376"/>
                    </a:lnTo>
                    <a:lnTo>
                      <a:pt x="1186" y="1376"/>
                    </a:lnTo>
                    <a:lnTo>
                      <a:pt x="1186" y="1378"/>
                    </a:lnTo>
                    <a:lnTo>
                      <a:pt x="1185" y="1376"/>
                    </a:lnTo>
                    <a:lnTo>
                      <a:pt x="1186" y="1374"/>
                    </a:lnTo>
                    <a:lnTo>
                      <a:pt x="1186" y="1373"/>
                    </a:lnTo>
                    <a:lnTo>
                      <a:pt x="1188" y="1373"/>
                    </a:lnTo>
                    <a:lnTo>
                      <a:pt x="1188" y="1371"/>
                    </a:lnTo>
                    <a:lnTo>
                      <a:pt x="1186" y="1371"/>
                    </a:lnTo>
                    <a:lnTo>
                      <a:pt x="1188" y="1371"/>
                    </a:lnTo>
                    <a:lnTo>
                      <a:pt x="1186" y="1371"/>
                    </a:lnTo>
                    <a:lnTo>
                      <a:pt x="1188" y="1369"/>
                    </a:lnTo>
                    <a:lnTo>
                      <a:pt x="1186" y="1367"/>
                    </a:lnTo>
                    <a:lnTo>
                      <a:pt x="1186" y="1369"/>
                    </a:lnTo>
                    <a:lnTo>
                      <a:pt x="1186" y="1367"/>
                    </a:lnTo>
                    <a:lnTo>
                      <a:pt x="1186" y="1369"/>
                    </a:lnTo>
                    <a:lnTo>
                      <a:pt x="1186" y="1371"/>
                    </a:lnTo>
                    <a:lnTo>
                      <a:pt x="1185" y="1371"/>
                    </a:lnTo>
                    <a:lnTo>
                      <a:pt x="1185" y="1373"/>
                    </a:lnTo>
                    <a:lnTo>
                      <a:pt x="1185" y="1374"/>
                    </a:lnTo>
                    <a:lnTo>
                      <a:pt x="1183" y="1374"/>
                    </a:lnTo>
                    <a:lnTo>
                      <a:pt x="1185" y="1374"/>
                    </a:lnTo>
                    <a:lnTo>
                      <a:pt x="1185" y="1376"/>
                    </a:lnTo>
                    <a:lnTo>
                      <a:pt x="1183" y="1374"/>
                    </a:lnTo>
                    <a:lnTo>
                      <a:pt x="1181" y="1374"/>
                    </a:lnTo>
                    <a:lnTo>
                      <a:pt x="1179" y="1373"/>
                    </a:lnTo>
                    <a:lnTo>
                      <a:pt x="1181" y="1373"/>
                    </a:lnTo>
                    <a:lnTo>
                      <a:pt x="1181" y="1371"/>
                    </a:lnTo>
                    <a:lnTo>
                      <a:pt x="1181" y="1373"/>
                    </a:lnTo>
                    <a:lnTo>
                      <a:pt x="1179" y="1373"/>
                    </a:lnTo>
                    <a:lnTo>
                      <a:pt x="1179" y="1371"/>
                    </a:lnTo>
                    <a:lnTo>
                      <a:pt x="1178" y="1371"/>
                    </a:lnTo>
                    <a:lnTo>
                      <a:pt x="1178" y="1369"/>
                    </a:lnTo>
                    <a:lnTo>
                      <a:pt x="1179" y="1369"/>
                    </a:lnTo>
                    <a:lnTo>
                      <a:pt x="1181" y="1369"/>
                    </a:lnTo>
                    <a:lnTo>
                      <a:pt x="1179" y="1369"/>
                    </a:lnTo>
                    <a:lnTo>
                      <a:pt x="1178" y="1369"/>
                    </a:lnTo>
                    <a:lnTo>
                      <a:pt x="1178" y="1367"/>
                    </a:lnTo>
                    <a:lnTo>
                      <a:pt x="1178" y="1366"/>
                    </a:lnTo>
                    <a:lnTo>
                      <a:pt x="1178" y="1367"/>
                    </a:lnTo>
                    <a:lnTo>
                      <a:pt x="1176" y="1367"/>
                    </a:lnTo>
                    <a:lnTo>
                      <a:pt x="1174" y="1367"/>
                    </a:lnTo>
                    <a:lnTo>
                      <a:pt x="1176" y="1366"/>
                    </a:lnTo>
                    <a:lnTo>
                      <a:pt x="1176" y="1364"/>
                    </a:lnTo>
                    <a:lnTo>
                      <a:pt x="1178" y="1364"/>
                    </a:lnTo>
                    <a:lnTo>
                      <a:pt x="1176" y="1364"/>
                    </a:lnTo>
                    <a:lnTo>
                      <a:pt x="1176" y="1366"/>
                    </a:lnTo>
                    <a:lnTo>
                      <a:pt x="1174" y="1366"/>
                    </a:lnTo>
                    <a:lnTo>
                      <a:pt x="1173" y="1366"/>
                    </a:lnTo>
                    <a:lnTo>
                      <a:pt x="1173" y="1364"/>
                    </a:lnTo>
                    <a:lnTo>
                      <a:pt x="1173" y="1362"/>
                    </a:lnTo>
                    <a:lnTo>
                      <a:pt x="1174" y="1362"/>
                    </a:lnTo>
                    <a:lnTo>
                      <a:pt x="1174" y="1361"/>
                    </a:lnTo>
                    <a:lnTo>
                      <a:pt x="1176" y="1361"/>
                    </a:lnTo>
                    <a:lnTo>
                      <a:pt x="1178" y="1359"/>
                    </a:lnTo>
                    <a:lnTo>
                      <a:pt x="1179" y="1361"/>
                    </a:lnTo>
                    <a:lnTo>
                      <a:pt x="1178" y="1362"/>
                    </a:lnTo>
                    <a:lnTo>
                      <a:pt x="1179" y="1362"/>
                    </a:lnTo>
                    <a:lnTo>
                      <a:pt x="1179" y="1361"/>
                    </a:lnTo>
                    <a:lnTo>
                      <a:pt x="1178" y="1359"/>
                    </a:lnTo>
                    <a:lnTo>
                      <a:pt x="1179" y="1359"/>
                    </a:lnTo>
                    <a:lnTo>
                      <a:pt x="1178" y="1359"/>
                    </a:lnTo>
                    <a:lnTo>
                      <a:pt x="1179" y="1359"/>
                    </a:lnTo>
                    <a:lnTo>
                      <a:pt x="1181" y="1359"/>
                    </a:lnTo>
                    <a:lnTo>
                      <a:pt x="1181" y="1361"/>
                    </a:lnTo>
                    <a:lnTo>
                      <a:pt x="1181" y="1359"/>
                    </a:lnTo>
                    <a:lnTo>
                      <a:pt x="1183" y="1359"/>
                    </a:lnTo>
                    <a:lnTo>
                      <a:pt x="1183" y="1361"/>
                    </a:lnTo>
                    <a:lnTo>
                      <a:pt x="1183" y="1359"/>
                    </a:lnTo>
                    <a:lnTo>
                      <a:pt x="1181" y="1359"/>
                    </a:lnTo>
                    <a:lnTo>
                      <a:pt x="1179" y="1357"/>
                    </a:lnTo>
                    <a:lnTo>
                      <a:pt x="1179" y="1359"/>
                    </a:lnTo>
                    <a:lnTo>
                      <a:pt x="1178" y="1359"/>
                    </a:lnTo>
                    <a:lnTo>
                      <a:pt x="1176" y="1359"/>
                    </a:lnTo>
                    <a:lnTo>
                      <a:pt x="1176" y="1361"/>
                    </a:lnTo>
                    <a:lnTo>
                      <a:pt x="1176" y="1359"/>
                    </a:lnTo>
                    <a:lnTo>
                      <a:pt x="1178" y="1359"/>
                    </a:lnTo>
                    <a:lnTo>
                      <a:pt x="1178" y="1357"/>
                    </a:lnTo>
                    <a:lnTo>
                      <a:pt x="1179" y="1357"/>
                    </a:lnTo>
                    <a:lnTo>
                      <a:pt x="1181" y="1356"/>
                    </a:lnTo>
                    <a:lnTo>
                      <a:pt x="1183" y="1357"/>
                    </a:lnTo>
                    <a:lnTo>
                      <a:pt x="1185" y="1357"/>
                    </a:lnTo>
                    <a:lnTo>
                      <a:pt x="1185" y="1359"/>
                    </a:lnTo>
                    <a:lnTo>
                      <a:pt x="1183" y="1359"/>
                    </a:lnTo>
                    <a:lnTo>
                      <a:pt x="1185" y="1359"/>
                    </a:lnTo>
                    <a:lnTo>
                      <a:pt x="1185" y="1361"/>
                    </a:lnTo>
                    <a:lnTo>
                      <a:pt x="1185" y="1359"/>
                    </a:lnTo>
                    <a:lnTo>
                      <a:pt x="1186" y="1359"/>
                    </a:lnTo>
                    <a:lnTo>
                      <a:pt x="1186" y="1361"/>
                    </a:lnTo>
                    <a:lnTo>
                      <a:pt x="1188" y="1361"/>
                    </a:lnTo>
                    <a:lnTo>
                      <a:pt x="1188" y="1362"/>
                    </a:lnTo>
                    <a:lnTo>
                      <a:pt x="1186" y="1362"/>
                    </a:lnTo>
                    <a:lnTo>
                      <a:pt x="1186" y="1364"/>
                    </a:lnTo>
                    <a:lnTo>
                      <a:pt x="1185" y="1364"/>
                    </a:lnTo>
                    <a:lnTo>
                      <a:pt x="1186" y="1364"/>
                    </a:lnTo>
                    <a:lnTo>
                      <a:pt x="1188" y="1362"/>
                    </a:lnTo>
                    <a:lnTo>
                      <a:pt x="1188" y="1364"/>
                    </a:lnTo>
                    <a:lnTo>
                      <a:pt x="1188" y="1366"/>
                    </a:lnTo>
                    <a:lnTo>
                      <a:pt x="1190" y="1366"/>
                    </a:lnTo>
                    <a:lnTo>
                      <a:pt x="1190" y="1367"/>
                    </a:lnTo>
                    <a:lnTo>
                      <a:pt x="1191" y="1369"/>
                    </a:lnTo>
                    <a:lnTo>
                      <a:pt x="1191" y="1367"/>
                    </a:lnTo>
                    <a:lnTo>
                      <a:pt x="1193" y="1366"/>
                    </a:lnTo>
                    <a:lnTo>
                      <a:pt x="1193" y="1367"/>
                    </a:lnTo>
                    <a:lnTo>
                      <a:pt x="1193" y="1366"/>
                    </a:lnTo>
                    <a:lnTo>
                      <a:pt x="1195" y="1367"/>
                    </a:lnTo>
                    <a:lnTo>
                      <a:pt x="1196" y="1367"/>
                    </a:lnTo>
                    <a:lnTo>
                      <a:pt x="1196" y="1369"/>
                    </a:lnTo>
                    <a:lnTo>
                      <a:pt x="1198" y="1369"/>
                    </a:lnTo>
                    <a:lnTo>
                      <a:pt x="1196" y="1367"/>
                    </a:lnTo>
                    <a:lnTo>
                      <a:pt x="1195" y="1367"/>
                    </a:lnTo>
                    <a:lnTo>
                      <a:pt x="1195" y="1366"/>
                    </a:lnTo>
                    <a:lnTo>
                      <a:pt x="1196" y="1366"/>
                    </a:lnTo>
                    <a:lnTo>
                      <a:pt x="1195" y="1366"/>
                    </a:lnTo>
                    <a:lnTo>
                      <a:pt x="1195" y="1364"/>
                    </a:lnTo>
                    <a:lnTo>
                      <a:pt x="1193" y="1364"/>
                    </a:lnTo>
                    <a:lnTo>
                      <a:pt x="1193" y="1366"/>
                    </a:lnTo>
                    <a:lnTo>
                      <a:pt x="1191" y="1366"/>
                    </a:lnTo>
                    <a:lnTo>
                      <a:pt x="1191" y="1364"/>
                    </a:lnTo>
                    <a:lnTo>
                      <a:pt x="1190" y="1364"/>
                    </a:lnTo>
                    <a:lnTo>
                      <a:pt x="1190" y="1362"/>
                    </a:lnTo>
                    <a:lnTo>
                      <a:pt x="1190" y="1361"/>
                    </a:lnTo>
                    <a:lnTo>
                      <a:pt x="1188" y="1361"/>
                    </a:lnTo>
                    <a:lnTo>
                      <a:pt x="1188" y="1359"/>
                    </a:lnTo>
                    <a:lnTo>
                      <a:pt x="1186" y="1359"/>
                    </a:lnTo>
                    <a:lnTo>
                      <a:pt x="1186" y="1357"/>
                    </a:lnTo>
                    <a:lnTo>
                      <a:pt x="1186" y="1356"/>
                    </a:lnTo>
                    <a:lnTo>
                      <a:pt x="1185" y="1356"/>
                    </a:lnTo>
                    <a:lnTo>
                      <a:pt x="1185" y="1354"/>
                    </a:lnTo>
                    <a:lnTo>
                      <a:pt x="1185" y="1352"/>
                    </a:lnTo>
                    <a:lnTo>
                      <a:pt x="1186" y="1350"/>
                    </a:lnTo>
                    <a:lnTo>
                      <a:pt x="1186" y="1352"/>
                    </a:lnTo>
                    <a:lnTo>
                      <a:pt x="1186" y="1354"/>
                    </a:lnTo>
                    <a:lnTo>
                      <a:pt x="1186" y="1352"/>
                    </a:lnTo>
                    <a:lnTo>
                      <a:pt x="1188" y="1352"/>
                    </a:lnTo>
                    <a:lnTo>
                      <a:pt x="1190" y="1352"/>
                    </a:lnTo>
                    <a:lnTo>
                      <a:pt x="1190" y="1354"/>
                    </a:lnTo>
                    <a:lnTo>
                      <a:pt x="1191" y="1354"/>
                    </a:lnTo>
                    <a:lnTo>
                      <a:pt x="1193" y="1356"/>
                    </a:lnTo>
                    <a:lnTo>
                      <a:pt x="1193" y="1354"/>
                    </a:lnTo>
                    <a:lnTo>
                      <a:pt x="1195" y="1356"/>
                    </a:lnTo>
                    <a:lnTo>
                      <a:pt x="1195" y="1357"/>
                    </a:lnTo>
                    <a:lnTo>
                      <a:pt x="1195" y="1356"/>
                    </a:lnTo>
                    <a:lnTo>
                      <a:pt x="1195" y="1357"/>
                    </a:lnTo>
                    <a:lnTo>
                      <a:pt x="1196" y="1356"/>
                    </a:lnTo>
                    <a:lnTo>
                      <a:pt x="1196" y="1354"/>
                    </a:lnTo>
                    <a:lnTo>
                      <a:pt x="1196" y="1352"/>
                    </a:lnTo>
                    <a:lnTo>
                      <a:pt x="1198" y="1352"/>
                    </a:lnTo>
                    <a:lnTo>
                      <a:pt x="1198" y="1350"/>
                    </a:lnTo>
                    <a:lnTo>
                      <a:pt x="1200" y="1350"/>
                    </a:lnTo>
                    <a:lnTo>
                      <a:pt x="1202" y="1350"/>
                    </a:lnTo>
                    <a:lnTo>
                      <a:pt x="1200" y="1350"/>
                    </a:lnTo>
                    <a:lnTo>
                      <a:pt x="1200" y="1349"/>
                    </a:lnTo>
                    <a:lnTo>
                      <a:pt x="1200" y="1347"/>
                    </a:lnTo>
                    <a:lnTo>
                      <a:pt x="1202" y="1347"/>
                    </a:lnTo>
                    <a:lnTo>
                      <a:pt x="1202" y="1345"/>
                    </a:lnTo>
                    <a:lnTo>
                      <a:pt x="1203" y="1345"/>
                    </a:lnTo>
                    <a:lnTo>
                      <a:pt x="1202" y="1345"/>
                    </a:lnTo>
                    <a:lnTo>
                      <a:pt x="1202" y="1347"/>
                    </a:lnTo>
                    <a:lnTo>
                      <a:pt x="1200" y="1347"/>
                    </a:lnTo>
                    <a:lnTo>
                      <a:pt x="1200" y="1349"/>
                    </a:lnTo>
                    <a:lnTo>
                      <a:pt x="1200" y="1350"/>
                    </a:lnTo>
                    <a:lnTo>
                      <a:pt x="1198" y="1350"/>
                    </a:lnTo>
                    <a:lnTo>
                      <a:pt x="1196" y="1350"/>
                    </a:lnTo>
                    <a:lnTo>
                      <a:pt x="1196" y="1352"/>
                    </a:lnTo>
                    <a:lnTo>
                      <a:pt x="1195" y="1354"/>
                    </a:lnTo>
                    <a:lnTo>
                      <a:pt x="1193" y="1352"/>
                    </a:lnTo>
                    <a:lnTo>
                      <a:pt x="1191" y="1350"/>
                    </a:lnTo>
                    <a:lnTo>
                      <a:pt x="1191" y="1349"/>
                    </a:lnTo>
                    <a:lnTo>
                      <a:pt x="1190" y="1350"/>
                    </a:lnTo>
                    <a:lnTo>
                      <a:pt x="1190" y="1349"/>
                    </a:lnTo>
                    <a:lnTo>
                      <a:pt x="1190" y="1350"/>
                    </a:lnTo>
                    <a:lnTo>
                      <a:pt x="1188" y="1350"/>
                    </a:lnTo>
                    <a:lnTo>
                      <a:pt x="1190" y="1350"/>
                    </a:lnTo>
                    <a:lnTo>
                      <a:pt x="1188" y="1349"/>
                    </a:lnTo>
                    <a:lnTo>
                      <a:pt x="1186" y="1350"/>
                    </a:lnTo>
                    <a:lnTo>
                      <a:pt x="1186" y="1349"/>
                    </a:lnTo>
                    <a:lnTo>
                      <a:pt x="1185" y="1349"/>
                    </a:lnTo>
                    <a:lnTo>
                      <a:pt x="1186" y="1347"/>
                    </a:lnTo>
                    <a:lnTo>
                      <a:pt x="1185" y="1347"/>
                    </a:lnTo>
                    <a:lnTo>
                      <a:pt x="1185" y="1345"/>
                    </a:lnTo>
                    <a:lnTo>
                      <a:pt x="1185" y="1344"/>
                    </a:lnTo>
                    <a:lnTo>
                      <a:pt x="1186" y="1344"/>
                    </a:lnTo>
                    <a:lnTo>
                      <a:pt x="1188" y="1344"/>
                    </a:lnTo>
                    <a:lnTo>
                      <a:pt x="1188" y="1342"/>
                    </a:lnTo>
                    <a:lnTo>
                      <a:pt x="1190" y="1342"/>
                    </a:lnTo>
                    <a:lnTo>
                      <a:pt x="1191" y="1342"/>
                    </a:lnTo>
                    <a:lnTo>
                      <a:pt x="1193" y="1342"/>
                    </a:lnTo>
                    <a:lnTo>
                      <a:pt x="1195" y="1340"/>
                    </a:lnTo>
                    <a:lnTo>
                      <a:pt x="1195" y="1342"/>
                    </a:lnTo>
                    <a:lnTo>
                      <a:pt x="1195" y="1340"/>
                    </a:lnTo>
                    <a:lnTo>
                      <a:pt x="1193" y="1340"/>
                    </a:lnTo>
                    <a:lnTo>
                      <a:pt x="1191" y="1340"/>
                    </a:lnTo>
                    <a:lnTo>
                      <a:pt x="1190" y="1340"/>
                    </a:lnTo>
                    <a:lnTo>
                      <a:pt x="1188" y="1340"/>
                    </a:lnTo>
                    <a:lnTo>
                      <a:pt x="1188" y="1342"/>
                    </a:lnTo>
                    <a:lnTo>
                      <a:pt x="1186" y="1342"/>
                    </a:lnTo>
                    <a:lnTo>
                      <a:pt x="1186" y="1340"/>
                    </a:lnTo>
                    <a:lnTo>
                      <a:pt x="1186" y="1339"/>
                    </a:lnTo>
                    <a:lnTo>
                      <a:pt x="1186" y="1337"/>
                    </a:lnTo>
                    <a:lnTo>
                      <a:pt x="1186" y="1335"/>
                    </a:lnTo>
                    <a:lnTo>
                      <a:pt x="1188" y="1333"/>
                    </a:lnTo>
                    <a:lnTo>
                      <a:pt x="1188" y="1335"/>
                    </a:lnTo>
                    <a:lnTo>
                      <a:pt x="1188" y="1333"/>
                    </a:lnTo>
                    <a:lnTo>
                      <a:pt x="1190" y="1332"/>
                    </a:lnTo>
                    <a:lnTo>
                      <a:pt x="1191" y="1332"/>
                    </a:lnTo>
                    <a:lnTo>
                      <a:pt x="1191" y="1333"/>
                    </a:lnTo>
                    <a:lnTo>
                      <a:pt x="1191" y="1332"/>
                    </a:lnTo>
                    <a:lnTo>
                      <a:pt x="1193" y="1332"/>
                    </a:lnTo>
                    <a:lnTo>
                      <a:pt x="1193" y="1330"/>
                    </a:lnTo>
                    <a:lnTo>
                      <a:pt x="1195" y="1330"/>
                    </a:lnTo>
                    <a:lnTo>
                      <a:pt x="1196" y="1332"/>
                    </a:lnTo>
                    <a:lnTo>
                      <a:pt x="1196" y="1333"/>
                    </a:lnTo>
                    <a:lnTo>
                      <a:pt x="1196" y="1335"/>
                    </a:lnTo>
                    <a:lnTo>
                      <a:pt x="1195" y="1335"/>
                    </a:lnTo>
                    <a:lnTo>
                      <a:pt x="1195" y="1337"/>
                    </a:lnTo>
                    <a:lnTo>
                      <a:pt x="1196" y="1335"/>
                    </a:lnTo>
                    <a:lnTo>
                      <a:pt x="1196" y="1333"/>
                    </a:lnTo>
                    <a:lnTo>
                      <a:pt x="1198" y="1332"/>
                    </a:lnTo>
                    <a:lnTo>
                      <a:pt x="1200" y="1332"/>
                    </a:lnTo>
                    <a:lnTo>
                      <a:pt x="1200" y="1333"/>
                    </a:lnTo>
                    <a:lnTo>
                      <a:pt x="1200" y="1335"/>
                    </a:lnTo>
                    <a:lnTo>
                      <a:pt x="1202" y="1335"/>
                    </a:lnTo>
                    <a:lnTo>
                      <a:pt x="1202" y="1337"/>
                    </a:lnTo>
                    <a:lnTo>
                      <a:pt x="1203" y="1337"/>
                    </a:lnTo>
                    <a:lnTo>
                      <a:pt x="1203" y="1339"/>
                    </a:lnTo>
                    <a:lnTo>
                      <a:pt x="1203" y="1340"/>
                    </a:lnTo>
                    <a:lnTo>
                      <a:pt x="1203" y="1339"/>
                    </a:lnTo>
                    <a:lnTo>
                      <a:pt x="1205" y="1339"/>
                    </a:lnTo>
                    <a:lnTo>
                      <a:pt x="1203" y="1339"/>
                    </a:lnTo>
                    <a:lnTo>
                      <a:pt x="1203" y="1337"/>
                    </a:lnTo>
                    <a:lnTo>
                      <a:pt x="1205" y="1337"/>
                    </a:lnTo>
                    <a:lnTo>
                      <a:pt x="1205" y="1339"/>
                    </a:lnTo>
                    <a:lnTo>
                      <a:pt x="1205" y="1340"/>
                    </a:lnTo>
                    <a:lnTo>
                      <a:pt x="1207" y="1340"/>
                    </a:lnTo>
                    <a:lnTo>
                      <a:pt x="1207" y="1342"/>
                    </a:lnTo>
                    <a:lnTo>
                      <a:pt x="1207" y="1340"/>
                    </a:lnTo>
                    <a:lnTo>
                      <a:pt x="1208" y="1340"/>
                    </a:lnTo>
                    <a:lnTo>
                      <a:pt x="1207" y="1340"/>
                    </a:lnTo>
                    <a:lnTo>
                      <a:pt x="1207" y="1339"/>
                    </a:lnTo>
                    <a:lnTo>
                      <a:pt x="1205" y="1339"/>
                    </a:lnTo>
                    <a:lnTo>
                      <a:pt x="1205" y="1337"/>
                    </a:lnTo>
                    <a:lnTo>
                      <a:pt x="1203" y="1335"/>
                    </a:lnTo>
                    <a:lnTo>
                      <a:pt x="1202" y="1335"/>
                    </a:lnTo>
                    <a:lnTo>
                      <a:pt x="1202" y="1333"/>
                    </a:lnTo>
                    <a:lnTo>
                      <a:pt x="1202" y="1332"/>
                    </a:lnTo>
                    <a:lnTo>
                      <a:pt x="1202" y="1330"/>
                    </a:lnTo>
                    <a:lnTo>
                      <a:pt x="1200" y="1330"/>
                    </a:lnTo>
                    <a:lnTo>
                      <a:pt x="1198" y="1330"/>
                    </a:lnTo>
                    <a:lnTo>
                      <a:pt x="1196" y="1330"/>
                    </a:lnTo>
                    <a:lnTo>
                      <a:pt x="1195" y="1328"/>
                    </a:lnTo>
                    <a:lnTo>
                      <a:pt x="1195" y="1330"/>
                    </a:lnTo>
                    <a:lnTo>
                      <a:pt x="1193" y="1328"/>
                    </a:lnTo>
                    <a:lnTo>
                      <a:pt x="1193" y="1327"/>
                    </a:lnTo>
                    <a:lnTo>
                      <a:pt x="1195" y="1327"/>
                    </a:lnTo>
                    <a:lnTo>
                      <a:pt x="1195" y="1325"/>
                    </a:lnTo>
                    <a:lnTo>
                      <a:pt x="1193" y="1325"/>
                    </a:lnTo>
                    <a:lnTo>
                      <a:pt x="1193" y="1323"/>
                    </a:lnTo>
                    <a:lnTo>
                      <a:pt x="1195" y="1323"/>
                    </a:lnTo>
                    <a:lnTo>
                      <a:pt x="1195" y="1322"/>
                    </a:lnTo>
                    <a:lnTo>
                      <a:pt x="1195" y="1320"/>
                    </a:lnTo>
                    <a:lnTo>
                      <a:pt x="1195" y="1318"/>
                    </a:lnTo>
                    <a:lnTo>
                      <a:pt x="1195" y="1316"/>
                    </a:lnTo>
                    <a:lnTo>
                      <a:pt x="1196" y="1316"/>
                    </a:lnTo>
                    <a:lnTo>
                      <a:pt x="1198" y="1316"/>
                    </a:lnTo>
                    <a:lnTo>
                      <a:pt x="1198" y="1318"/>
                    </a:lnTo>
                    <a:lnTo>
                      <a:pt x="1198" y="1320"/>
                    </a:lnTo>
                    <a:lnTo>
                      <a:pt x="1200" y="1320"/>
                    </a:lnTo>
                    <a:lnTo>
                      <a:pt x="1202" y="1320"/>
                    </a:lnTo>
                    <a:lnTo>
                      <a:pt x="1203" y="1320"/>
                    </a:lnTo>
                    <a:lnTo>
                      <a:pt x="1203" y="1322"/>
                    </a:lnTo>
                    <a:lnTo>
                      <a:pt x="1203" y="1323"/>
                    </a:lnTo>
                    <a:lnTo>
                      <a:pt x="1205" y="1323"/>
                    </a:lnTo>
                    <a:lnTo>
                      <a:pt x="1203" y="1323"/>
                    </a:lnTo>
                    <a:lnTo>
                      <a:pt x="1203" y="1322"/>
                    </a:lnTo>
                    <a:lnTo>
                      <a:pt x="1203" y="1320"/>
                    </a:lnTo>
                    <a:lnTo>
                      <a:pt x="1203" y="1322"/>
                    </a:lnTo>
                    <a:lnTo>
                      <a:pt x="1203" y="1320"/>
                    </a:lnTo>
                    <a:lnTo>
                      <a:pt x="1202" y="1320"/>
                    </a:lnTo>
                    <a:lnTo>
                      <a:pt x="1200" y="1320"/>
                    </a:lnTo>
                    <a:lnTo>
                      <a:pt x="1200" y="1318"/>
                    </a:lnTo>
                    <a:lnTo>
                      <a:pt x="1200" y="1316"/>
                    </a:lnTo>
                    <a:lnTo>
                      <a:pt x="1198" y="1316"/>
                    </a:lnTo>
                    <a:lnTo>
                      <a:pt x="1200" y="1318"/>
                    </a:lnTo>
                    <a:lnTo>
                      <a:pt x="1198" y="1318"/>
                    </a:lnTo>
                    <a:lnTo>
                      <a:pt x="1198" y="1316"/>
                    </a:lnTo>
                    <a:lnTo>
                      <a:pt x="1198" y="1315"/>
                    </a:lnTo>
                    <a:lnTo>
                      <a:pt x="1196" y="1315"/>
                    </a:lnTo>
                    <a:lnTo>
                      <a:pt x="1196" y="1313"/>
                    </a:lnTo>
                    <a:lnTo>
                      <a:pt x="1195" y="1313"/>
                    </a:lnTo>
                    <a:lnTo>
                      <a:pt x="1195" y="1315"/>
                    </a:lnTo>
                    <a:lnTo>
                      <a:pt x="1193" y="1315"/>
                    </a:lnTo>
                    <a:lnTo>
                      <a:pt x="1193" y="1313"/>
                    </a:lnTo>
                    <a:lnTo>
                      <a:pt x="1191" y="1313"/>
                    </a:lnTo>
                    <a:lnTo>
                      <a:pt x="1193" y="1315"/>
                    </a:lnTo>
                    <a:lnTo>
                      <a:pt x="1193" y="1316"/>
                    </a:lnTo>
                    <a:lnTo>
                      <a:pt x="1193" y="1318"/>
                    </a:lnTo>
                    <a:lnTo>
                      <a:pt x="1193" y="1320"/>
                    </a:lnTo>
                    <a:lnTo>
                      <a:pt x="1193" y="1322"/>
                    </a:lnTo>
                    <a:lnTo>
                      <a:pt x="1191" y="1322"/>
                    </a:lnTo>
                    <a:lnTo>
                      <a:pt x="1191" y="1323"/>
                    </a:lnTo>
                    <a:lnTo>
                      <a:pt x="1191" y="1325"/>
                    </a:lnTo>
                    <a:lnTo>
                      <a:pt x="1191" y="1327"/>
                    </a:lnTo>
                    <a:lnTo>
                      <a:pt x="1191" y="1328"/>
                    </a:lnTo>
                    <a:lnTo>
                      <a:pt x="1191" y="1330"/>
                    </a:lnTo>
                    <a:lnTo>
                      <a:pt x="1190" y="1330"/>
                    </a:lnTo>
                    <a:lnTo>
                      <a:pt x="1188" y="1330"/>
                    </a:lnTo>
                    <a:lnTo>
                      <a:pt x="1188" y="1328"/>
                    </a:lnTo>
                    <a:lnTo>
                      <a:pt x="1186" y="1327"/>
                    </a:lnTo>
                    <a:lnTo>
                      <a:pt x="1186" y="1325"/>
                    </a:lnTo>
                    <a:lnTo>
                      <a:pt x="1186" y="1323"/>
                    </a:lnTo>
                    <a:lnTo>
                      <a:pt x="1186" y="1325"/>
                    </a:lnTo>
                    <a:lnTo>
                      <a:pt x="1185" y="1325"/>
                    </a:lnTo>
                    <a:lnTo>
                      <a:pt x="1185" y="1323"/>
                    </a:lnTo>
                    <a:lnTo>
                      <a:pt x="1183" y="1323"/>
                    </a:lnTo>
                    <a:lnTo>
                      <a:pt x="1183" y="1322"/>
                    </a:lnTo>
                    <a:lnTo>
                      <a:pt x="1183" y="1323"/>
                    </a:lnTo>
                    <a:lnTo>
                      <a:pt x="1183" y="1322"/>
                    </a:lnTo>
                    <a:lnTo>
                      <a:pt x="1183" y="1320"/>
                    </a:lnTo>
                    <a:lnTo>
                      <a:pt x="1185" y="1320"/>
                    </a:lnTo>
                    <a:lnTo>
                      <a:pt x="1185" y="1318"/>
                    </a:lnTo>
                    <a:lnTo>
                      <a:pt x="1185" y="1316"/>
                    </a:lnTo>
                    <a:lnTo>
                      <a:pt x="1185" y="1315"/>
                    </a:lnTo>
                    <a:lnTo>
                      <a:pt x="1185" y="1313"/>
                    </a:lnTo>
                    <a:lnTo>
                      <a:pt x="1185" y="1311"/>
                    </a:lnTo>
                    <a:lnTo>
                      <a:pt x="1186" y="1311"/>
                    </a:lnTo>
                    <a:lnTo>
                      <a:pt x="1185" y="1311"/>
                    </a:lnTo>
                    <a:lnTo>
                      <a:pt x="1185" y="1310"/>
                    </a:lnTo>
                    <a:lnTo>
                      <a:pt x="1185" y="1308"/>
                    </a:lnTo>
                    <a:lnTo>
                      <a:pt x="1185" y="1306"/>
                    </a:lnTo>
                    <a:lnTo>
                      <a:pt x="1185" y="1305"/>
                    </a:lnTo>
                    <a:lnTo>
                      <a:pt x="1183" y="1306"/>
                    </a:lnTo>
                    <a:lnTo>
                      <a:pt x="1183" y="1308"/>
                    </a:lnTo>
                    <a:lnTo>
                      <a:pt x="1183" y="1306"/>
                    </a:lnTo>
                    <a:lnTo>
                      <a:pt x="1183" y="1305"/>
                    </a:lnTo>
                    <a:lnTo>
                      <a:pt x="1181" y="1303"/>
                    </a:lnTo>
                    <a:lnTo>
                      <a:pt x="1183" y="1303"/>
                    </a:lnTo>
                    <a:lnTo>
                      <a:pt x="1183" y="1301"/>
                    </a:lnTo>
                    <a:lnTo>
                      <a:pt x="1183" y="1303"/>
                    </a:lnTo>
                    <a:lnTo>
                      <a:pt x="1185" y="1301"/>
                    </a:lnTo>
                    <a:lnTo>
                      <a:pt x="1185" y="1299"/>
                    </a:lnTo>
                    <a:lnTo>
                      <a:pt x="1183" y="1299"/>
                    </a:lnTo>
                    <a:lnTo>
                      <a:pt x="1183" y="1298"/>
                    </a:lnTo>
                    <a:lnTo>
                      <a:pt x="1185" y="1299"/>
                    </a:lnTo>
                    <a:lnTo>
                      <a:pt x="1185" y="1298"/>
                    </a:lnTo>
                    <a:lnTo>
                      <a:pt x="1186" y="1299"/>
                    </a:lnTo>
                    <a:lnTo>
                      <a:pt x="1185" y="1298"/>
                    </a:lnTo>
                    <a:lnTo>
                      <a:pt x="1183" y="1298"/>
                    </a:lnTo>
                    <a:lnTo>
                      <a:pt x="1183" y="1296"/>
                    </a:lnTo>
                    <a:lnTo>
                      <a:pt x="1185" y="1296"/>
                    </a:lnTo>
                    <a:lnTo>
                      <a:pt x="1183" y="1296"/>
                    </a:lnTo>
                    <a:lnTo>
                      <a:pt x="1183" y="1294"/>
                    </a:lnTo>
                    <a:lnTo>
                      <a:pt x="1183" y="1293"/>
                    </a:lnTo>
                    <a:lnTo>
                      <a:pt x="1183" y="1291"/>
                    </a:lnTo>
                    <a:lnTo>
                      <a:pt x="1185" y="1291"/>
                    </a:lnTo>
                    <a:lnTo>
                      <a:pt x="1185" y="1289"/>
                    </a:lnTo>
                    <a:lnTo>
                      <a:pt x="1185" y="1288"/>
                    </a:lnTo>
                    <a:lnTo>
                      <a:pt x="1186" y="1288"/>
                    </a:lnTo>
                    <a:lnTo>
                      <a:pt x="1186" y="1289"/>
                    </a:lnTo>
                    <a:lnTo>
                      <a:pt x="1186" y="1288"/>
                    </a:lnTo>
                    <a:lnTo>
                      <a:pt x="1186" y="1289"/>
                    </a:lnTo>
                    <a:lnTo>
                      <a:pt x="1188" y="1289"/>
                    </a:lnTo>
                    <a:lnTo>
                      <a:pt x="1190" y="1289"/>
                    </a:lnTo>
                    <a:lnTo>
                      <a:pt x="1190" y="1288"/>
                    </a:lnTo>
                    <a:lnTo>
                      <a:pt x="1191" y="1288"/>
                    </a:lnTo>
                    <a:lnTo>
                      <a:pt x="1193" y="1288"/>
                    </a:lnTo>
                    <a:lnTo>
                      <a:pt x="1195" y="1289"/>
                    </a:lnTo>
                    <a:lnTo>
                      <a:pt x="1196" y="1288"/>
                    </a:lnTo>
                    <a:lnTo>
                      <a:pt x="1196" y="1289"/>
                    </a:lnTo>
                    <a:lnTo>
                      <a:pt x="1198" y="1288"/>
                    </a:lnTo>
                    <a:lnTo>
                      <a:pt x="1196" y="1288"/>
                    </a:lnTo>
                    <a:lnTo>
                      <a:pt x="1195" y="1288"/>
                    </a:lnTo>
                    <a:lnTo>
                      <a:pt x="1193" y="1288"/>
                    </a:lnTo>
                    <a:lnTo>
                      <a:pt x="1191" y="1286"/>
                    </a:lnTo>
                    <a:lnTo>
                      <a:pt x="1190" y="1288"/>
                    </a:lnTo>
                    <a:lnTo>
                      <a:pt x="1188" y="1288"/>
                    </a:lnTo>
                    <a:lnTo>
                      <a:pt x="1186" y="1288"/>
                    </a:lnTo>
                    <a:lnTo>
                      <a:pt x="1188" y="1286"/>
                    </a:lnTo>
                    <a:lnTo>
                      <a:pt x="1190" y="1286"/>
                    </a:lnTo>
                    <a:lnTo>
                      <a:pt x="1190" y="1284"/>
                    </a:lnTo>
                    <a:lnTo>
                      <a:pt x="1190" y="1286"/>
                    </a:lnTo>
                    <a:lnTo>
                      <a:pt x="1188" y="1286"/>
                    </a:lnTo>
                    <a:lnTo>
                      <a:pt x="1188" y="1284"/>
                    </a:lnTo>
                    <a:lnTo>
                      <a:pt x="1188" y="1286"/>
                    </a:lnTo>
                    <a:lnTo>
                      <a:pt x="1186" y="1286"/>
                    </a:lnTo>
                    <a:lnTo>
                      <a:pt x="1186" y="1284"/>
                    </a:lnTo>
                    <a:lnTo>
                      <a:pt x="1185" y="1286"/>
                    </a:lnTo>
                    <a:lnTo>
                      <a:pt x="1185" y="1284"/>
                    </a:lnTo>
                    <a:lnTo>
                      <a:pt x="1186" y="1284"/>
                    </a:lnTo>
                    <a:lnTo>
                      <a:pt x="1185" y="1282"/>
                    </a:lnTo>
                    <a:lnTo>
                      <a:pt x="1185" y="1281"/>
                    </a:lnTo>
                    <a:lnTo>
                      <a:pt x="1186" y="1281"/>
                    </a:lnTo>
                    <a:lnTo>
                      <a:pt x="1186" y="1279"/>
                    </a:lnTo>
                    <a:lnTo>
                      <a:pt x="1188" y="1279"/>
                    </a:lnTo>
                    <a:lnTo>
                      <a:pt x="1188" y="1277"/>
                    </a:lnTo>
                    <a:lnTo>
                      <a:pt x="1190" y="1279"/>
                    </a:lnTo>
                    <a:lnTo>
                      <a:pt x="1188" y="1277"/>
                    </a:lnTo>
                    <a:lnTo>
                      <a:pt x="1190" y="1277"/>
                    </a:lnTo>
                    <a:lnTo>
                      <a:pt x="1190" y="1276"/>
                    </a:lnTo>
                    <a:lnTo>
                      <a:pt x="1191" y="1276"/>
                    </a:lnTo>
                    <a:lnTo>
                      <a:pt x="1193" y="1276"/>
                    </a:lnTo>
                    <a:lnTo>
                      <a:pt x="1193" y="1277"/>
                    </a:lnTo>
                    <a:lnTo>
                      <a:pt x="1195" y="1277"/>
                    </a:lnTo>
                    <a:lnTo>
                      <a:pt x="1195" y="1279"/>
                    </a:lnTo>
                    <a:lnTo>
                      <a:pt x="1196" y="1279"/>
                    </a:lnTo>
                    <a:lnTo>
                      <a:pt x="1198" y="1281"/>
                    </a:lnTo>
                    <a:lnTo>
                      <a:pt x="1200" y="1282"/>
                    </a:lnTo>
                    <a:lnTo>
                      <a:pt x="1200" y="1281"/>
                    </a:lnTo>
                    <a:lnTo>
                      <a:pt x="1200" y="1279"/>
                    </a:lnTo>
                    <a:lnTo>
                      <a:pt x="1198" y="1279"/>
                    </a:lnTo>
                    <a:lnTo>
                      <a:pt x="1196" y="1279"/>
                    </a:lnTo>
                    <a:lnTo>
                      <a:pt x="1196" y="1277"/>
                    </a:lnTo>
                    <a:lnTo>
                      <a:pt x="1196" y="1276"/>
                    </a:lnTo>
                    <a:lnTo>
                      <a:pt x="1196" y="1274"/>
                    </a:lnTo>
                    <a:lnTo>
                      <a:pt x="1198" y="1272"/>
                    </a:lnTo>
                    <a:lnTo>
                      <a:pt x="1200" y="1274"/>
                    </a:lnTo>
                    <a:lnTo>
                      <a:pt x="1200" y="1272"/>
                    </a:lnTo>
                    <a:lnTo>
                      <a:pt x="1202" y="1272"/>
                    </a:lnTo>
                    <a:lnTo>
                      <a:pt x="1200" y="1272"/>
                    </a:lnTo>
                    <a:lnTo>
                      <a:pt x="1198" y="1272"/>
                    </a:lnTo>
                    <a:lnTo>
                      <a:pt x="1196" y="1272"/>
                    </a:lnTo>
                    <a:lnTo>
                      <a:pt x="1196" y="1270"/>
                    </a:lnTo>
                    <a:lnTo>
                      <a:pt x="1195" y="1270"/>
                    </a:lnTo>
                    <a:lnTo>
                      <a:pt x="1193" y="1270"/>
                    </a:lnTo>
                    <a:lnTo>
                      <a:pt x="1193" y="1269"/>
                    </a:lnTo>
                    <a:lnTo>
                      <a:pt x="1191" y="1269"/>
                    </a:lnTo>
                    <a:lnTo>
                      <a:pt x="1190" y="1269"/>
                    </a:lnTo>
                    <a:lnTo>
                      <a:pt x="1191" y="1267"/>
                    </a:lnTo>
                    <a:lnTo>
                      <a:pt x="1193" y="1267"/>
                    </a:lnTo>
                    <a:lnTo>
                      <a:pt x="1195" y="1267"/>
                    </a:lnTo>
                    <a:lnTo>
                      <a:pt x="1196" y="1267"/>
                    </a:lnTo>
                    <a:lnTo>
                      <a:pt x="1198" y="1267"/>
                    </a:lnTo>
                    <a:lnTo>
                      <a:pt x="1200" y="1267"/>
                    </a:lnTo>
                    <a:lnTo>
                      <a:pt x="1198" y="1267"/>
                    </a:lnTo>
                    <a:lnTo>
                      <a:pt x="1196" y="1267"/>
                    </a:lnTo>
                    <a:lnTo>
                      <a:pt x="1195" y="1267"/>
                    </a:lnTo>
                    <a:lnTo>
                      <a:pt x="1193" y="1267"/>
                    </a:lnTo>
                    <a:lnTo>
                      <a:pt x="1191" y="1267"/>
                    </a:lnTo>
                    <a:lnTo>
                      <a:pt x="1190" y="1267"/>
                    </a:lnTo>
                    <a:lnTo>
                      <a:pt x="1190" y="1269"/>
                    </a:lnTo>
                    <a:lnTo>
                      <a:pt x="1188" y="1269"/>
                    </a:lnTo>
                    <a:lnTo>
                      <a:pt x="1188" y="1267"/>
                    </a:lnTo>
                    <a:lnTo>
                      <a:pt x="1190" y="1267"/>
                    </a:lnTo>
                    <a:lnTo>
                      <a:pt x="1190" y="1265"/>
                    </a:lnTo>
                    <a:lnTo>
                      <a:pt x="1188" y="1264"/>
                    </a:lnTo>
                    <a:lnTo>
                      <a:pt x="1188" y="1265"/>
                    </a:lnTo>
                    <a:lnTo>
                      <a:pt x="1188" y="1264"/>
                    </a:lnTo>
                    <a:lnTo>
                      <a:pt x="1188" y="1262"/>
                    </a:lnTo>
                    <a:lnTo>
                      <a:pt x="1186" y="1262"/>
                    </a:lnTo>
                    <a:lnTo>
                      <a:pt x="1185" y="1262"/>
                    </a:lnTo>
                    <a:lnTo>
                      <a:pt x="1185" y="1260"/>
                    </a:lnTo>
                    <a:lnTo>
                      <a:pt x="1183" y="1260"/>
                    </a:lnTo>
                    <a:lnTo>
                      <a:pt x="1183" y="1259"/>
                    </a:lnTo>
                    <a:lnTo>
                      <a:pt x="1181" y="1259"/>
                    </a:lnTo>
                    <a:lnTo>
                      <a:pt x="1181" y="1257"/>
                    </a:lnTo>
                    <a:lnTo>
                      <a:pt x="1181" y="1255"/>
                    </a:lnTo>
                    <a:lnTo>
                      <a:pt x="1183" y="1255"/>
                    </a:lnTo>
                    <a:lnTo>
                      <a:pt x="1183" y="1253"/>
                    </a:lnTo>
                    <a:lnTo>
                      <a:pt x="1183" y="1255"/>
                    </a:lnTo>
                    <a:lnTo>
                      <a:pt x="1183" y="1253"/>
                    </a:lnTo>
                    <a:lnTo>
                      <a:pt x="1183" y="1252"/>
                    </a:lnTo>
                    <a:lnTo>
                      <a:pt x="1185" y="1252"/>
                    </a:lnTo>
                    <a:lnTo>
                      <a:pt x="1183" y="1252"/>
                    </a:lnTo>
                    <a:lnTo>
                      <a:pt x="1183" y="1253"/>
                    </a:lnTo>
                    <a:lnTo>
                      <a:pt x="1181" y="1253"/>
                    </a:lnTo>
                    <a:lnTo>
                      <a:pt x="1181" y="1255"/>
                    </a:lnTo>
                    <a:lnTo>
                      <a:pt x="1179" y="1255"/>
                    </a:lnTo>
                    <a:lnTo>
                      <a:pt x="1181" y="1255"/>
                    </a:lnTo>
                    <a:lnTo>
                      <a:pt x="1181" y="1253"/>
                    </a:lnTo>
                    <a:lnTo>
                      <a:pt x="1181" y="1255"/>
                    </a:lnTo>
                    <a:lnTo>
                      <a:pt x="1179" y="1255"/>
                    </a:lnTo>
                    <a:lnTo>
                      <a:pt x="1178" y="1257"/>
                    </a:lnTo>
                    <a:lnTo>
                      <a:pt x="1178" y="1255"/>
                    </a:lnTo>
                    <a:lnTo>
                      <a:pt x="1176" y="1255"/>
                    </a:lnTo>
                    <a:lnTo>
                      <a:pt x="1176" y="1253"/>
                    </a:lnTo>
                    <a:lnTo>
                      <a:pt x="1176" y="1255"/>
                    </a:lnTo>
                    <a:lnTo>
                      <a:pt x="1176" y="1253"/>
                    </a:lnTo>
                    <a:lnTo>
                      <a:pt x="1176" y="1252"/>
                    </a:lnTo>
                    <a:lnTo>
                      <a:pt x="1176" y="1250"/>
                    </a:lnTo>
                    <a:lnTo>
                      <a:pt x="1178" y="1250"/>
                    </a:lnTo>
                    <a:lnTo>
                      <a:pt x="1179" y="1248"/>
                    </a:lnTo>
                    <a:lnTo>
                      <a:pt x="1181" y="1248"/>
                    </a:lnTo>
                    <a:lnTo>
                      <a:pt x="1183" y="1250"/>
                    </a:lnTo>
                    <a:lnTo>
                      <a:pt x="1185" y="1250"/>
                    </a:lnTo>
                    <a:lnTo>
                      <a:pt x="1186" y="1252"/>
                    </a:lnTo>
                    <a:lnTo>
                      <a:pt x="1186" y="1253"/>
                    </a:lnTo>
                    <a:lnTo>
                      <a:pt x="1186" y="1252"/>
                    </a:lnTo>
                    <a:lnTo>
                      <a:pt x="1186" y="1253"/>
                    </a:lnTo>
                    <a:lnTo>
                      <a:pt x="1188" y="1255"/>
                    </a:lnTo>
                    <a:lnTo>
                      <a:pt x="1188" y="1257"/>
                    </a:lnTo>
                    <a:lnTo>
                      <a:pt x="1190" y="1259"/>
                    </a:lnTo>
                    <a:lnTo>
                      <a:pt x="1190" y="1260"/>
                    </a:lnTo>
                    <a:lnTo>
                      <a:pt x="1190" y="1262"/>
                    </a:lnTo>
                    <a:lnTo>
                      <a:pt x="1188" y="1262"/>
                    </a:lnTo>
                    <a:lnTo>
                      <a:pt x="1190" y="1262"/>
                    </a:lnTo>
                    <a:lnTo>
                      <a:pt x="1188" y="1264"/>
                    </a:lnTo>
                    <a:lnTo>
                      <a:pt x="1190" y="1264"/>
                    </a:lnTo>
                    <a:lnTo>
                      <a:pt x="1190" y="1262"/>
                    </a:lnTo>
                    <a:lnTo>
                      <a:pt x="1190" y="1260"/>
                    </a:lnTo>
                    <a:lnTo>
                      <a:pt x="1191" y="1262"/>
                    </a:lnTo>
                    <a:lnTo>
                      <a:pt x="1191" y="1264"/>
                    </a:lnTo>
                    <a:lnTo>
                      <a:pt x="1193" y="1262"/>
                    </a:lnTo>
                    <a:lnTo>
                      <a:pt x="1195" y="1262"/>
                    </a:lnTo>
                    <a:lnTo>
                      <a:pt x="1193" y="1262"/>
                    </a:lnTo>
                    <a:lnTo>
                      <a:pt x="1191" y="1264"/>
                    </a:lnTo>
                    <a:lnTo>
                      <a:pt x="1191" y="1262"/>
                    </a:lnTo>
                    <a:lnTo>
                      <a:pt x="1191" y="1260"/>
                    </a:lnTo>
                    <a:lnTo>
                      <a:pt x="1190" y="1260"/>
                    </a:lnTo>
                    <a:lnTo>
                      <a:pt x="1190" y="1259"/>
                    </a:lnTo>
                    <a:lnTo>
                      <a:pt x="1191" y="1259"/>
                    </a:lnTo>
                    <a:lnTo>
                      <a:pt x="1190" y="1259"/>
                    </a:lnTo>
                    <a:lnTo>
                      <a:pt x="1190" y="1257"/>
                    </a:lnTo>
                    <a:lnTo>
                      <a:pt x="1188" y="1255"/>
                    </a:lnTo>
                    <a:lnTo>
                      <a:pt x="1188" y="1253"/>
                    </a:lnTo>
                    <a:lnTo>
                      <a:pt x="1188" y="1252"/>
                    </a:lnTo>
                    <a:lnTo>
                      <a:pt x="1190" y="1252"/>
                    </a:lnTo>
                    <a:lnTo>
                      <a:pt x="1190" y="1250"/>
                    </a:lnTo>
                    <a:lnTo>
                      <a:pt x="1191" y="1250"/>
                    </a:lnTo>
                    <a:lnTo>
                      <a:pt x="1191" y="1252"/>
                    </a:lnTo>
                    <a:lnTo>
                      <a:pt x="1191" y="1253"/>
                    </a:lnTo>
                    <a:lnTo>
                      <a:pt x="1193" y="1253"/>
                    </a:lnTo>
                    <a:lnTo>
                      <a:pt x="1193" y="1255"/>
                    </a:lnTo>
                    <a:lnTo>
                      <a:pt x="1191" y="1253"/>
                    </a:lnTo>
                    <a:lnTo>
                      <a:pt x="1191" y="1252"/>
                    </a:lnTo>
                    <a:lnTo>
                      <a:pt x="1191" y="1250"/>
                    </a:lnTo>
                    <a:lnTo>
                      <a:pt x="1193" y="1250"/>
                    </a:lnTo>
                    <a:lnTo>
                      <a:pt x="1193" y="1252"/>
                    </a:lnTo>
                    <a:lnTo>
                      <a:pt x="1193" y="1250"/>
                    </a:lnTo>
                    <a:lnTo>
                      <a:pt x="1195" y="1250"/>
                    </a:lnTo>
                    <a:lnTo>
                      <a:pt x="1196" y="1250"/>
                    </a:lnTo>
                    <a:lnTo>
                      <a:pt x="1196" y="1252"/>
                    </a:lnTo>
                    <a:lnTo>
                      <a:pt x="1195" y="1252"/>
                    </a:lnTo>
                    <a:lnTo>
                      <a:pt x="1196" y="1252"/>
                    </a:lnTo>
                    <a:lnTo>
                      <a:pt x="1196" y="1253"/>
                    </a:lnTo>
                    <a:lnTo>
                      <a:pt x="1196" y="1252"/>
                    </a:lnTo>
                    <a:lnTo>
                      <a:pt x="1198" y="1252"/>
                    </a:lnTo>
                    <a:lnTo>
                      <a:pt x="1198" y="1253"/>
                    </a:lnTo>
                    <a:lnTo>
                      <a:pt x="1200" y="1253"/>
                    </a:lnTo>
                    <a:lnTo>
                      <a:pt x="1202" y="1252"/>
                    </a:lnTo>
                    <a:lnTo>
                      <a:pt x="1202" y="1253"/>
                    </a:lnTo>
                    <a:lnTo>
                      <a:pt x="1202" y="1252"/>
                    </a:lnTo>
                    <a:lnTo>
                      <a:pt x="1202" y="1253"/>
                    </a:lnTo>
                    <a:lnTo>
                      <a:pt x="1203" y="1253"/>
                    </a:lnTo>
                    <a:lnTo>
                      <a:pt x="1203" y="1255"/>
                    </a:lnTo>
                    <a:lnTo>
                      <a:pt x="1202" y="1255"/>
                    </a:lnTo>
                    <a:lnTo>
                      <a:pt x="1203" y="1257"/>
                    </a:lnTo>
                    <a:lnTo>
                      <a:pt x="1202" y="1257"/>
                    </a:lnTo>
                    <a:lnTo>
                      <a:pt x="1203" y="1257"/>
                    </a:lnTo>
                    <a:lnTo>
                      <a:pt x="1203" y="1255"/>
                    </a:lnTo>
                    <a:lnTo>
                      <a:pt x="1203" y="1253"/>
                    </a:lnTo>
                    <a:lnTo>
                      <a:pt x="1205" y="1253"/>
                    </a:lnTo>
                    <a:lnTo>
                      <a:pt x="1207" y="1253"/>
                    </a:lnTo>
                    <a:lnTo>
                      <a:pt x="1207" y="1255"/>
                    </a:lnTo>
                    <a:lnTo>
                      <a:pt x="1205" y="1255"/>
                    </a:lnTo>
                    <a:lnTo>
                      <a:pt x="1205" y="1257"/>
                    </a:lnTo>
                    <a:lnTo>
                      <a:pt x="1205" y="1259"/>
                    </a:lnTo>
                    <a:lnTo>
                      <a:pt x="1205" y="1257"/>
                    </a:lnTo>
                    <a:lnTo>
                      <a:pt x="1207" y="1255"/>
                    </a:lnTo>
                    <a:lnTo>
                      <a:pt x="1208" y="1257"/>
                    </a:lnTo>
                    <a:lnTo>
                      <a:pt x="1210" y="1257"/>
                    </a:lnTo>
                    <a:lnTo>
                      <a:pt x="1210" y="1259"/>
                    </a:lnTo>
                    <a:lnTo>
                      <a:pt x="1210" y="1257"/>
                    </a:lnTo>
                    <a:lnTo>
                      <a:pt x="1212" y="1259"/>
                    </a:lnTo>
                    <a:lnTo>
                      <a:pt x="1212" y="1260"/>
                    </a:lnTo>
                    <a:lnTo>
                      <a:pt x="1212" y="1262"/>
                    </a:lnTo>
                    <a:lnTo>
                      <a:pt x="1210" y="1262"/>
                    </a:lnTo>
                    <a:lnTo>
                      <a:pt x="1210" y="1264"/>
                    </a:lnTo>
                    <a:lnTo>
                      <a:pt x="1212" y="1262"/>
                    </a:lnTo>
                    <a:lnTo>
                      <a:pt x="1212" y="1260"/>
                    </a:lnTo>
                    <a:lnTo>
                      <a:pt x="1212" y="1262"/>
                    </a:lnTo>
                    <a:lnTo>
                      <a:pt x="1212" y="1264"/>
                    </a:lnTo>
                    <a:lnTo>
                      <a:pt x="1213" y="1264"/>
                    </a:lnTo>
                    <a:lnTo>
                      <a:pt x="1215" y="1264"/>
                    </a:lnTo>
                    <a:lnTo>
                      <a:pt x="1213" y="1262"/>
                    </a:lnTo>
                    <a:lnTo>
                      <a:pt x="1215" y="1260"/>
                    </a:lnTo>
                    <a:lnTo>
                      <a:pt x="1217" y="1260"/>
                    </a:lnTo>
                    <a:lnTo>
                      <a:pt x="1217" y="1262"/>
                    </a:lnTo>
                    <a:lnTo>
                      <a:pt x="1219" y="1262"/>
                    </a:lnTo>
                    <a:lnTo>
                      <a:pt x="1220" y="1262"/>
                    </a:lnTo>
                    <a:lnTo>
                      <a:pt x="1220" y="1260"/>
                    </a:lnTo>
                    <a:lnTo>
                      <a:pt x="1222" y="1260"/>
                    </a:lnTo>
                    <a:lnTo>
                      <a:pt x="1222" y="1259"/>
                    </a:lnTo>
                    <a:lnTo>
                      <a:pt x="1222" y="1257"/>
                    </a:lnTo>
                    <a:lnTo>
                      <a:pt x="1222" y="1255"/>
                    </a:lnTo>
                    <a:lnTo>
                      <a:pt x="1222" y="1253"/>
                    </a:lnTo>
                    <a:lnTo>
                      <a:pt x="1222" y="1252"/>
                    </a:lnTo>
                    <a:lnTo>
                      <a:pt x="1222" y="1253"/>
                    </a:lnTo>
                    <a:lnTo>
                      <a:pt x="1222" y="1255"/>
                    </a:lnTo>
                    <a:lnTo>
                      <a:pt x="1222" y="1257"/>
                    </a:lnTo>
                    <a:lnTo>
                      <a:pt x="1222" y="1259"/>
                    </a:lnTo>
                    <a:lnTo>
                      <a:pt x="1220" y="1260"/>
                    </a:lnTo>
                    <a:lnTo>
                      <a:pt x="1219" y="1260"/>
                    </a:lnTo>
                    <a:lnTo>
                      <a:pt x="1219" y="1259"/>
                    </a:lnTo>
                    <a:lnTo>
                      <a:pt x="1217" y="1259"/>
                    </a:lnTo>
                    <a:lnTo>
                      <a:pt x="1215" y="1259"/>
                    </a:lnTo>
                    <a:lnTo>
                      <a:pt x="1215" y="1257"/>
                    </a:lnTo>
                    <a:lnTo>
                      <a:pt x="1213" y="1255"/>
                    </a:lnTo>
                    <a:lnTo>
                      <a:pt x="1212" y="1255"/>
                    </a:lnTo>
                    <a:lnTo>
                      <a:pt x="1212" y="1253"/>
                    </a:lnTo>
                    <a:lnTo>
                      <a:pt x="1212" y="1252"/>
                    </a:lnTo>
                    <a:lnTo>
                      <a:pt x="1213" y="1252"/>
                    </a:lnTo>
                    <a:lnTo>
                      <a:pt x="1213" y="1250"/>
                    </a:lnTo>
                    <a:lnTo>
                      <a:pt x="1212" y="1250"/>
                    </a:lnTo>
                    <a:lnTo>
                      <a:pt x="1212" y="1252"/>
                    </a:lnTo>
                    <a:lnTo>
                      <a:pt x="1210" y="1252"/>
                    </a:lnTo>
                    <a:lnTo>
                      <a:pt x="1210" y="1250"/>
                    </a:lnTo>
                    <a:lnTo>
                      <a:pt x="1208" y="1248"/>
                    </a:lnTo>
                    <a:lnTo>
                      <a:pt x="1210" y="1248"/>
                    </a:lnTo>
                    <a:lnTo>
                      <a:pt x="1210" y="1247"/>
                    </a:lnTo>
                    <a:lnTo>
                      <a:pt x="1208" y="1247"/>
                    </a:lnTo>
                    <a:lnTo>
                      <a:pt x="1210" y="1245"/>
                    </a:lnTo>
                    <a:lnTo>
                      <a:pt x="1212" y="1245"/>
                    </a:lnTo>
                    <a:lnTo>
                      <a:pt x="1213" y="1245"/>
                    </a:lnTo>
                    <a:lnTo>
                      <a:pt x="1213" y="1247"/>
                    </a:lnTo>
                    <a:lnTo>
                      <a:pt x="1213" y="1248"/>
                    </a:lnTo>
                    <a:lnTo>
                      <a:pt x="1215" y="1248"/>
                    </a:lnTo>
                    <a:lnTo>
                      <a:pt x="1215" y="1250"/>
                    </a:lnTo>
                    <a:lnTo>
                      <a:pt x="1217" y="1250"/>
                    </a:lnTo>
                    <a:lnTo>
                      <a:pt x="1219" y="1250"/>
                    </a:lnTo>
                    <a:lnTo>
                      <a:pt x="1220" y="1248"/>
                    </a:lnTo>
                    <a:lnTo>
                      <a:pt x="1220" y="1250"/>
                    </a:lnTo>
                    <a:lnTo>
                      <a:pt x="1222" y="1250"/>
                    </a:lnTo>
                    <a:lnTo>
                      <a:pt x="1224" y="1250"/>
                    </a:lnTo>
                    <a:lnTo>
                      <a:pt x="1222" y="1248"/>
                    </a:lnTo>
                    <a:lnTo>
                      <a:pt x="1220" y="1248"/>
                    </a:lnTo>
                    <a:lnTo>
                      <a:pt x="1219" y="1248"/>
                    </a:lnTo>
                    <a:lnTo>
                      <a:pt x="1217" y="1248"/>
                    </a:lnTo>
                    <a:lnTo>
                      <a:pt x="1215" y="1248"/>
                    </a:lnTo>
                    <a:lnTo>
                      <a:pt x="1213" y="1248"/>
                    </a:lnTo>
                    <a:lnTo>
                      <a:pt x="1213" y="1247"/>
                    </a:lnTo>
                    <a:lnTo>
                      <a:pt x="1215" y="1247"/>
                    </a:lnTo>
                    <a:lnTo>
                      <a:pt x="1213" y="1245"/>
                    </a:lnTo>
                    <a:lnTo>
                      <a:pt x="1215" y="1245"/>
                    </a:lnTo>
                    <a:lnTo>
                      <a:pt x="1215" y="1243"/>
                    </a:lnTo>
                    <a:lnTo>
                      <a:pt x="1215" y="1245"/>
                    </a:lnTo>
                    <a:lnTo>
                      <a:pt x="1213" y="1245"/>
                    </a:lnTo>
                    <a:lnTo>
                      <a:pt x="1213" y="1243"/>
                    </a:lnTo>
                    <a:lnTo>
                      <a:pt x="1212" y="1243"/>
                    </a:lnTo>
                    <a:lnTo>
                      <a:pt x="1212" y="1242"/>
                    </a:lnTo>
                    <a:lnTo>
                      <a:pt x="1210" y="1242"/>
                    </a:lnTo>
                    <a:lnTo>
                      <a:pt x="1212" y="1242"/>
                    </a:lnTo>
                    <a:lnTo>
                      <a:pt x="1212" y="1240"/>
                    </a:lnTo>
                    <a:lnTo>
                      <a:pt x="1210" y="1240"/>
                    </a:lnTo>
                    <a:lnTo>
                      <a:pt x="1208" y="1240"/>
                    </a:lnTo>
                    <a:lnTo>
                      <a:pt x="1207" y="1240"/>
                    </a:lnTo>
                    <a:lnTo>
                      <a:pt x="1207" y="1238"/>
                    </a:lnTo>
                    <a:lnTo>
                      <a:pt x="1207" y="1236"/>
                    </a:lnTo>
                    <a:lnTo>
                      <a:pt x="1207" y="1235"/>
                    </a:lnTo>
                    <a:lnTo>
                      <a:pt x="1208" y="1233"/>
                    </a:lnTo>
                    <a:lnTo>
                      <a:pt x="1210" y="1231"/>
                    </a:lnTo>
                    <a:lnTo>
                      <a:pt x="1208" y="1231"/>
                    </a:lnTo>
                    <a:lnTo>
                      <a:pt x="1208" y="1233"/>
                    </a:lnTo>
                    <a:lnTo>
                      <a:pt x="1207" y="1233"/>
                    </a:lnTo>
                    <a:lnTo>
                      <a:pt x="1208" y="1233"/>
                    </a:lnTo>
                    <a:lnTo>
                      <a:pt x="1207" y="1233"/>
                    </a:lnTo>
                    <a:lnTo>
                      <a:pt x="1207" y="1235"/>
                    </a:lnTo>
                    <a:lnTo>
                      <a:pt x="1205" y="1235"/>
                    </a:lnTo>
                    <a:lnTo>
                      <a:pt x="1205" y="1236"/>
                    </a:lnTo>
                    <a:lnTo>
                      <a:pt x="1205" y="1238"/>
                    </a:lnTo>
                    <a:lnTo>
                      <a:pt x="1207" y="1238"/>
                    </a:lnTo>
                    <a:lnTo>
                      <a:pt x="1207" y="1240"/>
                    </a:lnTo>
                    <a:lnTo>
                      <a:pt x="1205" y="1240"/>
                    </a:lnTo>
                    <a:lnTo>
                      <a:pt x="1205" y="1242"/>
                    </a:lnTo>
                    <a:lnTo>
                      <a:pt x="1203" y="1242"/>
                    </a:lnTo>
                    <a:lnTo>
                      <a:pt x="1202" y="1242"/>
                    </a:lnTo>
                    <a:lnTo>
                      <a:pt x="1202" y="1243"/>
                    </a:lnTo>
                    <a:lnTo>
                      <a:pt x="1200" y="1243"/>
                    </a:lnTo>
                    <a:lnTo>
                      <a:pt x="1200" y="1242"/>
                    </a:lnTo>
                    <a:lnTo>
                      <a:pt x="1198" y="1242"/>
                    </a:lnTo>
                    <a:lnTo>
                      <a:pt x="1196" y="1242"/>
                    </a:lnTo>
                    <a:lnTo>
                      <a:pt x="1196" y="1240"/>
                    </a:lnTo>
                    <a:lnTo>
                      <a:pt x="1196" y="1238"/>
                    </a:lnTo>
                    <a:lnTo>
                      <a:pt x="1195" y="1240"/>
                    </a:lnTo>
                    <a:lnTo>
                      <a:pt x="1193" y="1240"/>
                    </a:lnTo>
                    <a:lnTo>
                      <a:pt x="1191" y="1240"/>
                    </a:lnTo>
                    <a:lnTo>
                      <a:pt x="1190" y="1240"/>
                    </a:lnTo>
                    <a:lnTo>
                      <a:pt x="1188" y="1240"/>
                    </a:lnTo>
                    <a:lnTo>
                      <a:pt x="1186" y="1240"/>
                    </a:lnTo>
                    <a:lnTo>
                      <a:pt x="1185" y="1240"/>
                    </a:lnTo>
                    <a:lnTo>
                      <a:pt x="1185" y="1238"/>
                    </a:lnTo>
                    <a:lnTo>
                      <a:pt x="1186" y="1238"/>
                    </a:lnTo>
                    <a:lnTo>
                      <a:pt x="1186" y="1240"/>
                    </a:lnTo>
                    <a:lnTo>
                      <a:pt x="1188" y="1240"/>
                    </a:lnTo>
                    <a:lnTo>
                      <a:pt x="1186" y="1238"/>
                    </a:lnTo>
                    <a:lnTo>
                      <a:pt x="1185" y="1238"/>
                    </a:lnTo>
                    <a:lnTo>
                      <a:pt x="1183" y="1238"/>
                    </a:lnTo>
                    <a:lnTo>
                      <a:pt x="1181" y="1238"/>
                    </a:lnTo>
                    <a:lnTo>
                      <a:pt x="1181" y="1240"/>
                    </a:lnTo>
                    <a:lnTo>
                      <a:pt x="1179" y="1240"/>
                    </a:lnTo>
                    <a:lnTo>
                      <a:pt x="1179" y="1238"/>
                    </a:lnTo>
                    <a:lnTo>
                      <a:pt x="1181" y="1238"/>
                    </a:lnTo>
                    <a:lnTo>
                      <a:pt x="1179" y="1238"/>
                    </a:lnTo>
                    <a:lnTo>
                      <a:pt x="1179" y="1240"/>
                    </a:lnTo>
                    <a:lnTo>
                      <a:pt x="1178" y="1240"/>
                    </a:lnTo>
                    <a:lnTo>
                      <a:pt x="1176" y="1240"/>
                    </a:lnTo>
                    <a:lnTo>
                      <a:pt x="1174" y="1238"/>
                    </a:lnTo>
                    <a:lnTo>
                      <a:pt x="1176" y="1238"/>
                    </a:lnTo>
                    <a:lnTo>
                      <a:pt x="1176" y="1236"/>
                    </a:lnTo>
                    <a:lnTo>
                      <a:pt x="1178" y="1236"/>
                    </a:lnTo>
                    <a:lnTo>
                      <a:pt x="1176" y="1236"/>
                    </a:lnTo>
                    <a:lnTo>
                      <a:pt x="1176" y="1238"/>
                    </a:lnTo>
                    <a:lnTo>
                      <a:pt x="1174" y="1238"/>
                    </a:lnTo>
                    <a:lnTo>
                      <a:pt x="1173" y="1238"/>
                    </a:lnTo>
                    <a:lnTo>
                      <a:pt x="1173" y="1236"/>
                    </a:lnTo>
                    <a:lnTo>
                      <a:pt x="1174" y="1235"/>
                    </a:lnTo>
                    <a:lnTo>
                      <a:pt x="1174" y="1233"/>
                    </a:lnTo>
                    <a:lnTo>
                      <a:pt x="1176" y="1233"/>
                    </a:lnTo>
                    <a:lnTo>
                      <a:pt x="1176" y="1231"/>
                    </a:lnTo>
                    <a:lnTo>
                      <a:pt x="1178" y="1233"/>
                    </a:lnTo>
                    <a:lnTo>
                      <a:pt x="1178" y="1231"/>
                    </a:lnTo>
                    <a:lnTo>
                      <a:pt x="1178" y="1233"/>
                    </a:lnTo>
                    <a:lnTo>
                      <a:pt x="1178" y="1231"/>
                    </a:lnTo>
                    <a:lnTo>
                      <a:pt x="1176" y="1231"/>
                    </a:lnTo>
                    <a:lnTo>
                      <a:pt x="1176" y="1230"/>
                    </a:lnTo>
                    <a:lnTo>
                      <a:pt x="1178" y="1230"/>
                    </a:lnTo>
                    <a:lnTo>
                      <a:pt x="1178" y="1228"/>
                    </a:lnTo>
                    <a:lnTo>
                      <a:pt x="1179" y="1228"/>
                    </a:lnTo>
                    <a:lnTo>
                      <a:pt x="1181" y="1228"/>
                    </a:lnTo>
                    <a:lnTo>
                      <a:pt x="1179" y="1230"/>
                    </a:lnTo>
                    <a:lnTo>
                      <a:pt x="1181" y="1230"/>
                    </a:lnTo>
                    <a:lnTo>
                      <a:pt x="1181" y="1231"/>
                    </a:lnTo>
                    <a:lnTo>
                      <a:pt x="1181" y="1230"/>
                    </a:lnTo>
                    <a:lnTo>
                      <a:pt x="1181" y="1228"/>
                    </a:lnTo>
                    <a:lnTo>
                      <a:pt x="1183" y="1228"/>
                    </a:lnTo>
                    <a:lnTo>
                      <a:pt x="1185" y="1228"/>
                    </a:lnTo>
                    <a:lnTo>
                      <a:pt x="1185" y="1230"/>
                    </a:lnTo>
                    <a:lnTo>
                      <a:pt x="1185" y="1231"/>
                    </a:lnTo>
                    <a:lnTo>
                      <a:pt x="1185" y="1230"/>
                    </a:lnTo>
                    <a:lnTo>
                      <a:pt x="1186" y="1231"/>
                    </a:lnTo>
                    <a:lnTo>
                      <a:pt x="1186" y="1233"/>
                    </a:lnTo>
                    <a:lnTo>
                      <a:pt x="1185" y="1233"/>
                    </a:lnTo>
                    <a:lnTo>
                      <a:pt x="1185" y="1235"/>
                    </a:lnTo>
                    <a:lnTo>
                      <a:pt x="1185" y="1233"/>
                    </a:lnTo>
                    <a:lnTo>
                      <a:pt x="1185" y="1231"/>
                    </a:lnTo>
                    <a:lnTo>
                      <a:pt x="1185" y="1233"/>
                    </a:lnTo>
                    <a:lnTo>
                      <a:pt x="1183" y="1233"/>
                    </a:lnTo>
                    <a:lnTo>
                      <a:pt x="1183" y="1235"/>
                    </a:lnTo>
                    <a:lnTo>
                      <a:pt x="1181" y="1235"/>
                    </a:lnTo>
                    <a:lnTo>
                      <a:pt x="1179" y="1235"/>
                    </a:lnTo>
                    <a:lnTo>
                      <a:pt x="1179" y="1233"/>
                    </a:lnTo>
                    <a:lnTo>
                      <a:pt x="1178" y="1233"/>
                    </a:lnTo>
                    <a:lnTo>
                      <a:pt x="1179" y="1233"/>
                    </a:lnTo>
                    <a:lnTo>
                      <a:pt x="1178" y="1235"/>
                    </a:lnTo>
                    <a:lnTo>
                      <a:pt x="1179" y="1235"/>
                    </a:lnTo>
                    <a:lnTo>
                      <a:pt x="1179" y="1236"/>
                    </a:lnTo>
                    <a:lnTo>
                      <a:pt x="1181" y="1235"/>
                    </a:lnTo>
                    <a:lnTo>
                      <a:pt x="1183" y="1235"/>
                    </a:lnTo>
                    <a:lnTo>
                      <a:pt x="1185" y="1235"/>
                    </a:lnTo>
                    <a:lnTo>
                      <a:pt x="1186" y="1233"/>
                    </a:lnTo>
                    <a:lnTo>
                      <a:pt x="1186" y="1235"/>
                    </a:lnTo>
                    <a:lnTo>
                      <a:pt x="1186" y="1233"/>
                    </a:lnTo>
                    <a:lnTo>
                      <a:pt x="1188" y="1235"/>
                    </a:lnTo>
                    <a:lnTo>
                      <a:pt x="1186" y="1235"/>
                    </a:lnTo>
                    <a:lnTo>
                      <a:pt x="1186" y="1236"/>
                    </a:lnTo>
                    <a:lnTo>
                      <a:pt x="1188" y="1236"/>
                    </a:lnTo>
                    <a:lnTo>
                      <a:pt x="1188" y="1238"/>
                    </a:lnTo>
                    <a:lnTo>
                      <a:pt x="1190" y="1238"/>
                    </a:lnTo>
                    <a:lnTo>
                      <a:pt x="1191" y="1238"/>
                    </a:lnTo>
                    <a:lnTo>
                      <a:pt x="1191" y="1240"/>
                    </a:lnTo>
                    <a:lnTo>
                      <a:pt x="1191" y="1238"/>
                    </a:lnTo>
                    <a:lnTo>
                      <a:pt x="1193" y="1238"/>
                    </a:lnTo>
                    <a:lnTo>
                      <a:pt x="1195" y="1238"/>
                    </a:lnTo>
                    <a:lnTo>
                      <a:pt x="1193" y="1238"/>
                    </a:lnTo>
                    <a:lnTo>
                      <a:pt x="1191" y="1238"/>
                    </a:lnTo>
                    <a:lnTo>
                      <a:pt x="1190" y="1238"/>
                    </a:lnTo>
                    <a:lnTo>
                      <a:pt x="1190" y="1236"/>
                    </a:lnTo>
                    <a:lnTo>
                      <a:pt x="1188" y="1236"/>
                    </a:lnTo>
                    <a:lnTo>
                      <a:pt x="1188" y="1235"/>
                    </a:lnTo>
                    <a:lnTo>
                      <a:pt x="1188" y="1233"/>
                    </a:lnTo>
                    <a:lnTo>
                      <a:pt x="1190" y="1233"/>
                    </a:lnTo>
                    <a:lnTo>
                      <a:pt x="1191" y="1233"/>
                    </a:lnTo>
                    <a:lnTo>
                      <a:pt x="1193" y="1235"/>
                    </a:lnTo>
                    <a:lnTo>
                      <a:pt x="1195" y="1235"/>
                    </a:lnTo>
                    <a:lnTo>
                      <a:pt x="1193" y="1233"/>
                    </a:lnTo>
                    <a:lnTo>
                      <a:pt x="1195" y="1233"/>
                    </a:lnTo>
                    <a:lnTo>
                      <a:pt x="1193" y="1233"/>
                    </a:lnTo>
                    <a:lnTo>
                      <a:pt x="1191" y="1233"/>
                    </a:lnTo>
                    <a:lnTo>
                      <a:pt x="1190" y="1233"/>
                    </a:lnTo>
                    <a:lnTo>
                      <a:pt x="1188" y="1233"/>
                    </a:lnTo>
                    <a:lnTo>
                      <a:pt x="1190" y="1233"/>
                    </a:lnTo>
                    <a:lnTo>
                      <a:pt x="1188" y="1233"/>
                    </a:lnTo>
                    <a:lnTo>
                      <a:pt x="1188" y="1231"/>
                    </a:lnTo>
                    <a:lnTo>
                      <a:pt x="1190" y="1231"/>
                    </a:lnTo>
                    <a:lnTo>
                      <a:pt x="1191" y="1231"/>
                    </a:lnTo>
                    <a:lnTo>
                      <a:pt x="1193" y="1231"/>
                    </a:lnTo>
                    <a:lnTo>
                      <a:pt x="1195" y="1231"/>
                    </a:lnTo>
                    <a:lnTo>
                      <a:pt x="1196" y="1231"/>
                    </a:lnTo>
                    <a:lnTo>
                      <a:pt x="1198" y="1231"/>
                    </a:lnTo>
                    <a:lnTo>
                      <a:pt x="1198" y="1230"/>
                    </a:lnTo>
                    <a:lnTo>
                      <a:pt x="1198" y="1231"/>
                    </a:lnTo>
                    <a:lnTo>
                      <a:pt x="1196" y="1231"/>
                    </a:lnTo>
                    <a:lnTo>
                      <a:pt x="1195" y="1231"/>
                    </a:lnTo>
                    <a:lnTo>
                      <a:pt x="1193" y="1231"/>
                    </a:lnTo>
                    <a:lnTo>
                      <a:pt x="1193" y="1230"/>
                    </a:lnTo>
                    <a:lnTo>
                      <a:pt x="1195" y="1230"/>
                    </a:lnTo>
                    <a:lnTo>
                      <a:pt x="1195" y="1228"/>
                    </a:lnTo>
                    <a:lnTo>
                      <a:pt x="1196" y="1228"/>
                    </a:lnTo>
                    <a:lnTo>
                      <a:pt x="1198" y="1226"/>
                    </a:lnTo>
                    <a:lnTo>
                      <a:pt x="1200" y="1226"/>
                    </a:lnTo>
                    <a:lnTo>
                      <a:pt x="1198" y="1226"/>
                    </a:lnTo>
                    <a:lnTo>
                      <a:pt x="1196" y="1226"/>
                    </a:lnTo>
                    <a:lnTo>
                      <a:pt x="1195" y="1226"/>
                    </a:lnTo>
                    <a:lnTo>
                      <a:pt x="1195" y="1228"/>
                    </a:lnTo>
                    <a:lnTo>
                      <a:pt x="1193" y="1230"/>
                    </a:lnTo>
                    <a:lnTo>
                      <a:pt x="1191" y="1230"/>
                    </a:lnTo>
                    <a:lnTo>
                      <a:pt x="1190" y="1230"/>
                    </a:lnTo>
                    <a:lnTo>
                      <a:pt x="1188" y="1230"/>
                    </a:lnTo>
                    <a:lnTo>
                      <a:pt x="1188" y="1231"/>
                    </a:lnTo>
                    <a:lnTo>
                      <a:pt x="1186" y="1231"/>
                    </a:lnTo>
                    <a:lnTo>
                      <a:pt x="1186" y="1230"/>
                    </a:lnTo>
                    <a:lnTo>
                      <a:pt x="1186" y="1228"/>
                    </a:lnTo>
                    <a:lnTo>
                      <a:pt x="1186" y="1226"/>
                    </a:lnTo>
                    <a:lnTo>
                      <a:pt x="1188" y="1226"/>
                    </a:lnTo>
                    <a:lnTo>
                      <a:pt x="1190" y="1226"/>
                    </a:lnTo>
                    <a:lnTo>
                      <a:pt x="1191" y="1226"/>
                    </a:lnTo>
                    <a:lnTo>
                      <a:pt x="1193" y="1225"/>
                    </a:lnTo>
                    <a:lnTo>
                      <a:pt x="1195" y="1225"/>
                    </a:lnTo>
                    <a:lnTo>
                      <a:pt x="1195" y="1223"/>
                    </a:lnTo>
                    <a:lnTo>
                      <a:pt x="1193" y="1223"/>
                    </a:lnTo>
                    <a:lnTo>
                      <a:pt x="1193" y="1225"/>
                    </a:lnTo>
                    <a:lnTo>
                      <a:pt x="1191" y="1225"/>
                    </a:lnTo>
                    <a:lnTo>
                      <a:pt x="1191" y="1226"/>
                    </a:lnTo>
                    <a:lnTo>
                      <a:pt x="1190" y="1225"/>
                    </a:lnTo>
                    <a:lnTo>
                      <a:pt x="1190" y="1226"/>
                    </a:lnTo>
                    <a:lnTo>
                      <a:pt x="1188" y="1226"/>
                    </a:lnTo>
                    <a:lnTo>
                      <a:pt x="1186" y="1226"/>
                    </a:lnTo>
                    <a:lnTo>
                      <a:pt x="1185" y="1226"/>
                    </a:lnTo>
                    <a:lnTo>
                      <a:pt x="1183" y="1226"/>
                    </a:lnTo>
                    <a:lnTo>
                      <a:pt x="1185" y="1226"/>
                    </a:lnTo>
                    <a:lnTo>
                      <a:pt x="1185" y="1228"/>
                    </a:lnTo>
                    <a:lnTo>
                      <a:pt x="1186" y="1226"/>
                    </a:lnTo>
                    <a:lnTo>
                      <a:pt x="1186" y="1228"/>
                    </a:lnTo>
                    <a:lnTo>
                      <a:pt x="1185" y="1228"/>
                    </a:lnTo>
                    <a:lnTo>
                      <a:pt x="1183" y="1226"/>
                    </a:lnTo>
                    <a:lnTo>
                      <a:pt x="1181" y="1225"/>
                    </a:lnTo>
                    <a:lnTo>
                      <a:pt x="1183" y="1225"/>
                    </a:lnTo>
                    <a:lnTo>
                      <a:pt x="1183" y="1223"/>
                    </a:lnTo>
                    <a:lnTo>
                      <a:pt x="1183" y="1225"/>
                    </a:lnTo>
                    <a:lnTo>
                      <a:pt x="1185" y="1223"/>
                    </a:lnTo>
                    <a:lnTo>
                      <a:pt x="1185" y="1225"/>
                    </a:lnTo>
                    <a:lnTo>
                      <a:pt x="1186" y="1225"/>
                    </a:lnTo>
                    <a:lnTo>
                      <a:pt x="1186" y="1223"/>
                    </a:lnTo>
                    <a:lnTo>
                      <a:pt x="1188" y="1223"/>
                    </a:lnTo>
                    <a:lnTo>
                      <a:pt x="1188" y="1221"/>
                    </a:lnTo>
                    <a:lnTo>
                      <a:pt x="1188" y="1223"/>
                    </a:lnTo>
                    <a:lnTo>
                      <a:pt x="1186" y="1223"/>
                    </a:lnTo>
                    <a:lnTo>
                      <a:pt x="1185" y="1223"/>
                    </a:lnTo>
                    <a:lnTo>
                      <a:pt x="1183" y="1223"/>
                    </a:lnTo>
                    <a:lnTo>
                      <a:pt x="1183" y="1221"/>
                    </a:lnTo>
                    <a:lnTo>
                      <a:pt x="1181" y="1223"/>
                    </a:lnTo>
                    <a:lnTo>
                      <a:pt x="1181" y="1225"/>
                    </a:lnTo>
                    <a:lnTo>
                      <a:pt x="1179" y="1223"/>
                    </a:lnTo>
                    <a:lnTo>
                      <a:pt x="1181" y="1223"/>
                    </a:lnTo>
                    <a:lnTo>
                      <a:pt x="1179" y="1223"/>
                    </a:lnTo>
                    <a:lnTo>
                      <a:pt x="1179" y="1221"/>
                    </a:lnTo>
                    <a:lnTo>
                      <a:pt x="1181" y="1221"/>
                    </a:lnTo>
                    <a:lnTo>
                      <a:pt x="1181" y="1219"/>
                    </a:lnTo>
                    <a:lnTo>
                      <a:pt x="1181" y="1218"/>
                    </a:lnTo>
                    <a:lnTo>
                      <a:pt x="1183" y="1218"/>
                    </a:lnTo>
                    <a:lnTo>
                      <a:pt x="1183" y="1216"/>
                    </a:lnTo>
                    <a:lnTo>
                      <a:pt x="1185" y="1216"/>
                    </a:lnTo>
                    <a:lnTo>
                      <a:pt x="1185" y="1214"/>
                    </a:lnTo>
                    <a:lnTo>
                      <a:pt x="1186" y="1214"/>
                    </a:lnTo>
                    <a:lnTo>
                      <a:pt x="1186" y="1213"/>
                    </a:lnTo>
                    <a:lnTo>
                      <a:pt x="1186" y="1211"/>
                    </a:lnTo>
                    <a:lnTo>
                      <a:pt x="1188" y="1211"/>
                    </a:lnTo>
                    <a:lnTo>
                      <a:pt x="1188" y="1213"/>
                    </a:lnTo>
                    <a:lnTo>
                      <a:pt x="1190" y="1213"/>
                    </a:lnTo>
                    <a:lnTo>
                      <a:pt x="1188" y="1213"/>
                    </a:lnTo>
                    <a:lnTo>
                      <a:pt x="1188" y="1211"/>
                    </a:lnTo>
                    <a:lnTo>
                      <a:pt x="1190" y="1211"/>
                    </a:lnTo>
                    <a:lnTo>
                      <a:pt x="1190" y="1213"/>
                    </a:lnTo>
                    <a:lnTo>
                      <a:pt x="1190" y="1214"/>
                    </a:lnTo>
                    <a:lnTo>
                      <a:pt x="1190" y="1216"/>
                    </a:lnTo>
                    <a:lnTo>
                      <a:pt x="1190" y="1218"/>
                    </a:lnTo>
                    <a:lnTo>
                      <a:pt x="1190" y="1219"/>
                    </a:lnTo>
                    <a:lnTo>
                      <a:pt x="1191" y="1219"/>
                    </a:lnTo>
                    <a:lnTo>
                      <a:pt x="1190" y="1218"/>
                    </a:lnTo>
                    <a:lnTo>
                      <a:pt x="1190" y="1216"/>
                    </a:lnTo>
                    <a:lnTo>
                      <a:pt x="1191" y="1214"/>
                    </a:lnTo>
                    <a:lnTo>
                      <a:pt x="1190" y="1213"/>
                    </a:lnTo>
                    <a:lnTo>
                      <a:pt x="1191" y="1211"/>
                    </a:lnTo>
                    <a:lnTo>
                      <a:pt x="1190" y="1213"/>
                    </a:lnTo>
                    <a:lnTo>
                      <a:pt x="1190" y="1211"/>
                    </a:lnTo>
                    <a:lnTo>
                      <a:pt x="1191" y="1211"/>
                    </a:lnTo>
                    <a:lnTo>
                      <a:pt x="1193" y="1211"/>
                    </a:lnTo>
                    <a:lnTo>
                      <a:pt x="1193" y="1213"/>
                    </a:lnTo>
                    <a:lnTo>
                      <a:pt x="1193" y="1214"/>
                    </a:lnTo>
                    <a:lnTo>
                      <a:pt x="1195" y="1214"/>
                    </a:lnTo>
                    <a:lnTo>
                      <a:pt x="1193" y="1214"/>
                    </a:lnTo>
                    <a:lnTo>
                      <a:pt x="1193" y="1213"/>
                    </a:lnTo>
                    <a:lnTo>
                      <a:pt x="1193" y="1211"/>
                    </a:lnTo>
                    <a:lnTo>
                      <a:pt x="1195" y="1211"/>
                    </a:lnTo>
                    <a:lnTo>
                      <a:pt x="1195" y="1209"/>
                    </a:lnTo>
                    <a:lnTo>
                      <a:pt x="1196" y="1209"/>
                    </a:lnTo>
                    <a:lnTo>
                      <a:pt x="1195" y="1211"/>
                    </a:lnTo>
                    <a:lnTo>
                      <a:pt x="1196" y="1211"/>
                    </a:lnTo>
                    <a:lnTo>
                      <a:pt x="1195" y="1213"/>
                    </a:lnTo>
                    <a:lnTo>
                      <a:pt x="1196" y="1213"/>
                    </a:lnTo>
                    <a:lnTo>
                      <a:pt x="1196" y="1211"/>
                    </a:lnTo>
                    <a:lnTo>
                      <a:pt x="1196" y="1209"/>
                    </a:lnTo>
                    <a:lnTo>
                      <a:pt x="1196" y="1208"/>
                    </a:lnTo>
                    <a:lnTo>
                      <a:pt x="1196" y="1206"/>
                    </a:lnTo>
                    <a:lnTo>
                      <a:pt x="1196" y="1208"/>
                    </a:lnTo>
                    <a:lnTo>
                      <a:pt x="1195" y="1208"/>
                    </a:lnTo>
                    <a:lnTo>
                      <a:pt x="1195" y="1209"/>
                    </a:lnTo>
                    <a:lnTo>
                      <a:pt x="1193" y="1209"/>
                    </a:lnTo>
                    <a:lnTo>
                      <a:pt x="1191" y="1209"/>
                    </a:lnTo>
                    <a:lnTo>
                      <a:pt x="1191" y="1208"/>
                    </a:lnTo>
                    <a:lnTo>
                      <a:pt x="1190" y="1208"/>
                    </a:lnTo>
                    <a:lnTo>
                      <a:pt x="1190" y="1206"/>
                    </a:lnTo>
                    <a:lnTo>
                      <a:pt x="1190" y="1204"/>
                    </a:lnTo>
                    <a:lnTo>
                      <a:pt x="1191" y="1202"/>
                    </a:lnTo>
                    <a:lnTo>
                      <a:pt x="1191" y="1201"/>
                    </a:lnTo>
                    <a:lnTo>
                      <a:pt x="1193" y="1201"/>
                    </a:lnTo>
                    <a:lnTo>
                      <a:pt x="1193" y="1202"/>
                    </a:lnTo>
                    <a:lnTo>
                      <a:pt x="1195" y="1202"/>
                    </a:lnTo>
                    <a:lnTo>
                      <a:pt x="1195" y="1204"/>
                    </a:lnTo>
                    <a:lnTo>
                      <a:pt x="1195" y="1202"/>
                    </a:lnTo>
                    <a:lnTo>
                      <a:pt x="1195" y="1201"/>
                    </a:lnTo>
                    <a:lnTo>
                      <a:pt x="1196" y="1199"/>
                    </a:lnTo>
                    <a:lnTo>
                      <a:pt x="1195" y="1199"/>
                    </a:lnTo>
                    <a:lnTo>
                      <a:pt x="1195" y="1201"/>
                    </a:lnTo>
                    <a:lnTo>
                      <a:pt x="1193" y="1199"/>
                    </a:lnTo>
                    <a:lnTo>
                      <a:pt x="1191" y="1197"/>
                    </a:lnTo>
                    <a:lnTo>
                      <a:pt x="1191" y="1196"/>
                    </a:lnTo>
                    <a:lnTo>
                      <a:pt x="1190" y="1196"/>
                    </a:lnTo>
                    <a:lnTo>
                      <a:pt x="1191" y="1194"/>
                    </a:lnTo>
                    <a:lnTo>
                      <a:pt x="1190" y="1194"/>
                    </a:lnTo>
                    <a:lnTo>
                      <a:pt x="1188" y="1192"/>
                    </a:lnTo>
                    <a:lnTo>
                      <a:pt x="1186" y="1191"/>
                    </a:lnTo>
                    <a:lnTo>
                      <a:pt x="1185" y="1191"/>
                    </a:lnTo>
                    <a:lnTo>
                      <a:pt x="1186" y="1191"/>
                    </a:lnTo>
                    <a:lnTo>
                      <a:pt x="1188" y="1192"/>
                    </a:lnTo>
                    <a:lnTo>
                      <a:pt x="1190" y="1191"/>
                    </a:lnTo>
                    <a:lnTo>
                      <a:pt x="1188" y="1191"/>
                    </a:lnTo>
                    <a:lnTo>
                      <a:pt x="1188" y="1189"/>
                    </a:lnTo>
                    <a:lnTo>
                      <a:pt x="1186" y="1191"/>
                    </a:lnTo>
                    <a:lnTo>
                      <a:pt x="1186" y="1189"/>
                    </a:lnTo>
                    <a:lnTo>
                      <a:pt x="1186" y="1191"/>
                    </a:lnTo>
                    <a:lnTo>
                      <a:pt x="1185" y="1189"/>
                    </a:lnTo>
                    <a:lnTo>
                      <a:pt x="1183" y="1189"/>
                    </a:lnTo>
                    <a:lnTo>
                      <a:pt x="1181" y="1189"/>
                    </a:lnTo>
                    <a:lnTo>
                      <a:pt x="1179" y="1189"/>
                    </a:lnTo>
                    <a:lnTo>
                      <a:pt x="1181" y="1187"/>
                    </a:lnTo>
                    <a:lnTo>
                      <a:pt x="1179" y="1187"/>
                    </a:lnTo>
                    <a:lnTo>
                      <a:pt x="1178" y="1187"/>
                    </a:lnTo>
                    <a:lnTo>
                      <a:pt x="1178" y="1189"/>
                    </a:lnTo>
                    <a:lnTo>
                      <a:pt x="1179" y="1189"/>
                    </a:lnTo>
                    <a:lnTo>
                      <a:pt x="1181" y="1189"/>
                    </a:lnTo>
                    <a:lnTo>
                      <a:pt x="1181" y="1191"/>
                    </a:lnTo>
                    <a:lnTo>
                      <a:pt x="1179" y="1191"/>
                    </a:lnTo>
                    <a:lnTo>
                      <a:pt x="1178" y="1191"/>
                    </a:lnTo>
                    <a:lnTo>
                      <a:pt x="1176" y="1191"/>
                    </a:lnTo>
                    <a:lnTo>
                      <a:pt x="1176" y="1192"/>
                    </a:lnTo>
                    <a:lnTo>
                      <a:pt x="1176" y="1194"/>
                    </a:lnTo>
                    <a:lnTo>
                      <a:pt x="1174" y="1194"/>
                    </a:lnTo>
                    <a:lnTo>
                      <a:pt x="1174" y="1192"/>
                    </a:lnTo>
                    <a:lnTo>
                      <a:pt x="1173" y="1192"/>
                    </a:lnTo>
                    <a:lnTo>
                      <a:pt x="1174" y="1192"/>
                    </a:lnTo>
                    <a:lnTo>
                      <a:pt x="1174" y="1194"/>
                    </a:lnTo>
                    <a:lnTo>
                      <a:pt x="1176" y="1194"/>
                    </a:lnTo>
                    <a:lnTo>
                      <a:pt x="1178" y="1194"/>
                    </a:lnTo>
                    <a:lnTo>
                      <a:pt x="1179" y="1192"/>
                    </a:lnTo>
                    <a:lnTo>
                      <a:pt x="1181" y="1194"/>
                    </a:lnTo>
                    <a:lnTo>
                      <a:pt x="1183" y="1194"/>
                    </a:lnTo>
                    <a:lnTo>
                      <a:pt x="1183" y="1196"/>
                    </a:lnTo>
                    <a:lnTo>
                      <a:pt x="1183" y="1197"/>
                    </a:lnTo>
                    <a:lnTo>
                      <a:pt x="1183" y="1196"/>
                    </a:lnTo>
                    <a:lnTo>
                      <a:pt x="1181" y="1196"/>
                    </a:lnTo>
                    <a:lnTo>
                      <a:pt x="1179" y="1196"/>
                    </a:lnTo>
                    <a:lnTo>
                      <a:pt x="1178" y="1196"/>
                    </a:lnTo>
                    <a:lnTo>
                      <a:pt x="1176" y="1194"/>
                    </a:lnTo>
                    <a:lnTo>
                      <a:pt x="1176" y="1196"/>
                    </a:lnTo>
                    <a:lnTo>
                      <a:pt x="1174" y="1196"/>
                    </a:lnTo>
                    <a:lnTo>
                      <a:pt x="1174" y="1194"/>
                    </a:lnTo>
                    <a:lnTo>
                      <a:pt x="1173" y="1192"/>
                    </a:lnTo>
                    <a:lnTo>
                      <a:pt x="1171" y="1192"/>
                    </a:lnTo>
                    <a:lnTo>
                      <a:pt x="1171" y="1191"/>
                    </a:lnTo>
                    <a:lnTo>
                      <a:pt x="1169" y="1191"/>
                    </a:lnTo>
                    <a:lnTo>
                      <a:pt x="1171" y="1191"/>
                    </a:lnTo>
                    <a:lnTo>
                      <a:pt x="1171" y="1189"/>
                    </a:lnTo>
                    <a:lnTo>
                      <a:pt x="1171" y="1191"/>
                    </a:lnTo>
                    <a:lnTo>
                      <a:pt x="1169" y="1191"/>
                    </a:lnTo>
                    <a:lnTo>
                      <a:pt x="1169" y="1192"/>
                    </a:lnTo>
                    <a:lnTo>
                      <a:pt x="1168" y="1191"/>
                    </a:lnTo>
                    <a:lnTo>
                      <a:pt x="1166" y="1191"/>
                    </a:lnTo>
                    <a:lnTo>
                      <a:pt x="1166" y="1189"/>
                    </a:lnTo>
                    <a:lnTo>
                      <a:pt x="1164" y="1189"/>
                    </a:lnTo>
                    <a:lnTo>
                      <a:pt x="1164" y="1187"/>
                    </a:lnTo>
                    <a:lnTo>
                      <a:pt x="1162" y="1187"/>
                    </a:lnTo>
                    <a:lnTo>
                      <a:pt x="1162" y="1185"/>
                    </a:lnTo>
                    <a:lnTo>
                      <a:pt x="1161" y="1185"/>
                    </a:lnTo>
                    <a:lnTo>
                      <a:pt x="1161" y="1184"/>
                    </a:lnTo>
                    <a:lnTo>
                      <a:pt x="1161" y="1182"/>
                    </a:lnTo>
                    <a:lnTo>
                      <a:pt x="1162" y="1182"/>
                    </a:lnTo>
                    <a:lnTo>
                      <a:pt x="1162" y="1180"/>
                    </a:lnTo>
                    <a:lnTo>
                      <a:pt x="1164" y="1179"/>
                    </a:lnTo>
                    <a:lnTo>
                      <a:pt x="1166" y="1177"/>
                    </a:lnTo>
                    <a:lnTo>
                      <a:pt x="1166" y="1175"/>
                    </a:lnTo>
                    <a:lnTo>
                      <a:pt x="1166" y="1174"/>
                    </a:lnTo>
                    <a:lnTo>
                      <a:pt x="1164" y="1174"/>
                    </a:lnTo>
                    <a:lnTo>
                      <a:pt x="1164" y="1175"/>
                    </a:lnTo>
                    <a:lnTo>
                      <a:pt x="1164" y="1177"/>
                    </a:lnTo>
                    <a:lnTo>
                      <a:pt x="1162" y="1177"/>
                    </a:lnTo>
                    <a:lnTo>
                      <a:pt x="1162" y="1179"/>
                    </a:lnTo>
                    <a:lnTo>
                      <a:pt x="1162" y="1177"/>
                    </a:lnTo>
                    <a:lnTo>
                      <a:pt x="1162" y="1179"/>
                    </a:lnTo>
                    <a:lnTo>
                      <a:pt x="1162" y="1177"/>
                    </a:lnTo>
                    <a:lnTo>
                      <a:pt x="1162" y="1179"/>
                    </a:lnTo>
                    <a:lnTo>
                      <a:pt x="1162" y="1180"/>
                    </a:lnTo>
                    <a:lnTo>
                      <a:pt x="1161" y="1180"/>
                    </a:lnTo>
                    <a:lnTo>
                      <a:pt x="1161" y="1182"/>
                    </a:lnTo>
                    <a:lnTo>
                      <a:pt x="1159" y="1182"/>
                    </a:lnTo>
                    <a:lnTo>
                      <a:pt x="1157" y="1184"/>
                    </a:lnTo>
                    <a:lnTo>
                      <a:pt x="1157" y="1182"/>
                    </a:lnTo>
                    <a:lnTo>
                      <a:pt x="1156" y="1180"/>
                    </a:lnTo>
                    <a:lnTo>
                      <a:pt x="1157" y="1182"/>
                    </a:lnTo>
                    <a:lnTo>
                      <a:pt x="1156" y="1182"/>
                    </a:lnTo>
                    <a:lnTo>
                      <a:pt x="1157" y="1182"/>
                    </a:lnTo>
                    <a:lnTo>
                      <a:pt x="1156" y="1184"/>
                    </a:lnTo>
                    <a:lnTo>
                      <a:pt x="1154" y="1184"/>
                    </a:lnTo>
                    <a:lnTo>
                      <a:pt x="1152" y="1184"/>
                    </a:lnTo>
                    <a:lnTo>
                      <a:pt x="1152" y="1185"/>
                    </a:lnTo>
                    <a:lnTo>
                      <a:pt x="1152" y="1184"/>
                    </a:lnTo>
                    <a:lnTo>
                      <a:pt x="1151" y="1185"/>
                    </a:lnTo>
                    <a:lnTo>
                      <a:pt x="1152" y="1185"/>
                    </a:lnTo>
                    <a:lnTo>
                      <a:pt x="1151" y="1185"/>
                    </a:lnTo>
                    <a:lnTo>
                      <a:pt x="1151" y="1184"/>
                    </a:lnTo>
                    <a:lnTo>
                      <a:pt x="1149" y="1184"/>
                    </a:lnTo>
                    <a:lnTo>
                      <a:pt x="1149" y="1185"/>
                    </a:lnTo>
                    <a:lnTo>
                      <a:pt x="1147" y="1185"/>
                    </a:lnTo>
                    <a:lnTo>
                      <a:pt x="1145" y="1187"/>
                    </a:lnTo>
                    <a:lnTo>
                      <a:pt x="1144" y="1187"/>
                    </a:lnTo>
                    <a:lnTo>
                      <a:pt x="1145" y="1187"/>
                    </a:lnTo>
                    <a:lnTo>
                      <a:pt x="1145" y="1189"/>
                    </a:lnTo>
                    <a:lnTo>
                      <a:pt x="1144" y="1189"/>
                    </a:lnTo>
                    <a:lnTo>
                      <a:pt x="1144" y="1191"/>
                    </a:lnTo>
                    <a:lnTo>
                      <a:pt x="1144" y="1192"/>
                    </a:lnTo>
                    <a:lnTo>
                      <a:pt x="1144" y="1191"/>
                    </a:lnTo>
                    <a:lnTo>
                      <a:pt x="1145" y="1191"/>
                    </a:lnTo>
                    <a:lnTo>
                      <a:pt x="1145" y="1189"/>
                    </a:lnTo>
                    <a:lnTo>
                      <a:pt x="1147" y="1187"/>
                    </a:lnTo>
                    <a:lnTo>
                      <a:pt x="1147" y="1189"/>
                    </a:lnTo>
                    <a:lnTo>
                      <a:pt x="1149" y="1187"/>
                    </a:lnTo>
                    <a:lnTo>
                      <a:pt x="1151" y="1187"/>
                    </a:lnTo>
                    <a:lnTo>
                      <a:pt x="1152" y="1189"/>
                    </a:lnTo>
                    <a:lnTo>
                      <a:pt x="1151" y="1189"/>
                    </a:lnTo>
                    <a:lnTo>
                      <a:pt x="1149" y="1189"/>
                    </a:lnTo>
                    <a:lnTo>
                      <a:pt x="1151" y="1189"/>
                    </a:lnTo>
                    <a:lnTo>
                      <a:pt x="1149" y="1191"/>
                    </a:lnTo>
                    <a:lnTo>
                      <a:pt x="1149" y="1192"/>
                    </a:lnTo>
                    <a:lnTo>
                      <a:pt x="1151" y="1191"/>
                    </a:lnTo>
                    <a:lnTo>
                      <a:pt x="1151" y="1192"/>
                    </a:lnTo>
                    <a:lnTo>
                      <a:pt x="1151" y="1191"/>
                    </a:lnTo>
                    <a:lnTo>
                      <a:pt x="1152" y="1191"/>
                    </a:lnTo>
                    <a:lnTo>
                      <a:pt x="1152" y="1192"/>
                    </a:lnTo>
                    <a:lnTo>
                      <a:pt x="1152" y="1194"/>
                    </a:lnTo>
                    <a:lnTo>
                      <a:pt x="1151" y="1194"/>
                    </a:lnTo>
                    <a:lnTo>
                      <a:pt x="1151" y="1196"/>
                    </a:lnTo>
                    <a:lnTo>
                      <a:pt x="1149" y="1196"/>
                    </a:lnTo>
                    <a:lnTo>
                      <a:pt x="1151" y="1196"/>
                    </a:lnTo>
                    <a:lnTo>
                      <a:pt x="1151" y="1194"/>
                    </a:lnTo>
                    <a:lnTo>
                      <a:pt x="1152" y="1194"/>
                    </a:lnTo>
                    <a:lnTo>
                      <a:pt x="1154" y="1196"/>
                    </a:lnTo>
                    <a:lnTo>
                      <a:pt x="1152" y="1194"/>
                    </a:lnTo>
                    <a:lnTo>
                      <a:pt x="1154" y="1194"/>
                    </a:lnTo>
                    <a:lnTo>
                      <a:pt x="1152" y="1194"/>
                    </a:lnTo>
                    <a:lnTo>
                      <a:pt x="1152" y="1192"/>
                    </a:lnTo>
                    <a:lnTo>
                      <a:pt x="1154" y="1194"/>
                    </a:lnTo>
                    <a:lnTo>
                      <a:pt x="1154" y="1196"/>
                    </a:lnTo>
                    <a:lnTo>
                      <a:pt x="1154" y="1197"/>
                    </a:lnTo>
                    <a:lnTo>
                      <a:pt x="1152" y="1197"/>
                    </a:lnTo>
                    <a:lnTo>
                      <a:pt x="1152" y="1199"/>
                    </a:lnTo>
                    <a:lnTo>
                      <a:pt x="1151" y="1199"/>
                    </a:lnTo>
                    <a:lnTo>
                      <a:pt x="1149" y="1199"/>
                    </a:lnTo>
                    <a:lnTo>
                      <a:pt x="1147" y="1201"/>
                    </a:lnTo>
                    <a:lnTo>
                      <a:pt x="1147" y="1199"/>
                    </a:lnTo>
                    <a:lnTo>
                      <a:pt x="1145" y="1199"/>
                    </a:lnTo>
                    <a:lnTo>
                      <a:pt x="1145" y="1197"/>
                    </a:lnTo>
                    <a:lnTo>
                      <a:pt x="1144" y="1197"/>
                    </a:lnTo>
                    <a:lnTo>
                      <a:pt x="1144" y="1196"/>
                    </a:lnTo>
                    <a:lnTo>
                      <a:pt x="1142" y="1194"/>
                    </a:lnTo>
                    <a:lnTo>
                      <a:pt x="1142" y="1192"/>
                    </a:lnTo>
                    <a:lnTo>
                      <a:pt x="1140" y="1192"/>
                    </a:lnTo>
                    <a:lnTo>
                      <a:pt x="1140" y="1191"/>
                    </a:lnTo>
                    <a:lnTo>
                      <a:pt x="1142" y="1191"/>
                    </a:lnTo>
                    <a:lnTo>
                      <a:pt x="1140" y="1189"/>
                    </a:lnTo>
                    <a:lnTo>
                      <a:pt x="1140" y="1187"/>
                    </a:lnTo>
                    <a:lnTo>
                      <a:pt x="1140" y="1185"/>
                    </a:lnTo>
                    <a:lnTo>
                      <a:pt x="1142" y="1185"/>
                    </a:lnTo>
                    <a:lnTo>
                      <a:pt x="1142" y="1184"/>
                    </a:lnTo>
                    <a:lnTo>
                      <a:pt x="1142" y="1182"/>
                    </a:lnTo>
                    <a:lnTo>
                      <a:pt x="1144" y="1182"/>
                    </a:lnTo>
                    <a:lnTo>
                      <a:pt x="1144" y="1180"/>
                    </a:lnTo>
                    <a:lnTo>
                      <a:pt x="1144" y="1182"/>
                    </a:lnTo>
                    <a:lnTo>
                      <a:pt x="1144" y="1180"/>
                    </a:lnTo>
                    <a:lnTo>
                      <a:pt x="1145" y="1182"/>
                    </a:lnTo>
                    <a:lnTo>
                      <a:pt x="1147" y="1182"/>
                    </a:lnTo>
                    <a:lnTo>
                      <a:pt x="1147" y="1184"/>
                    </a:lnTo>
                    <a:lnTo>
                      <a:pt x="1147" y="1182"/>
                    </a:lnTo>
                    <a:lnTo>
                      <a:pt x="1145" y="1182"/>
                    </a:lnTo>
                    <a:lnTo>
                      <a:pt x="1145" y="1180"/>
                    </a:lnTo>
                    <a:lnTo>
                      <a:pt x="1147" y="1180"/>
                    </a:lnTo>
                    <a:lnTo>
                      <a:pt x="1149" y="1182"/>
                    </a:lnTo>
                    <a:lnTo>
                      <a:pt x="1149" y="1180"/>
                    </a:lnTo>
                    <a:lnTo>
                      <a:pt x="1147" y="1180"/>
                    </a:lnTo>
                    <a:lnTo>
                      <a:pt x="1147" y="1179"/>
                    </a:lnTo>
                    <a:lnTo>
                      <a:pt x="1145" y="1179"/>
                    </a:lnTo>
                    <a:lnTo>
                      <a:pt x="1147" y="1179"/>
                    </a:lnTo>
                    <a:lnTo>
                      <a:pt x="1147" y="1177"/>
                    </a:lnTo>
                    <a:lnTo>
                      <a:pt x="1147" y="1179"/>
                    </a:lnTo>
                    <a:lnTo>
                      <a:pt x="1149" y="1179"/>
                    </a:lnTo>
                    <a:lnTo>
                      <a:pt x="1149" y="1177"/>
                    </a:lnTo>
                    <a:lnTo>
                      <a:pt x="1149" y="1179"/>
                    </a:lnTo>
                    <a:lnTo>
                      <a:pt x="1149" y="1177"/>
                    </a:lnTo>
                    <a:lnTo>
                      <a:pt x="1151" y="1177"/>
                    </a:lnTo>
                    <a:lnTo>
                      <a:pt x="1152" y="1177"/>
                    </a:lnTo>
                    <a:lnTo>
                      <a:pt x="1151" y="1175"/>
                    </a:lnTo>
                    <a:lnTo>
                      <a:pt x="1151" y="1174"/>
                    </a:lnTo>
                    <a:lnTo>
                      <a:pt x="1151" y="1175"/>
                    </a:lnTo>
                    <a:lnTo>
                      <a:pt x="1152" y="1175"/>
                    </a:lnTo>
                    <a:lnTo>
                      <a:pt x="1151" y="1174"/>
                    </a:lnTo>
                    <a:lnTo>
                      <a:pt x="1152" y="1174"/>
                    </a:lnTo>
                    <a:lnTo>
                      <a:pt x="1152" y="1172"/>
                    </a:lnTo>
                    <a:lnTo>
                      <a:pt x="1154" y="1172"/>
                    </a:lnTo>
                    <a:lnTo>
                      <a:pt x="1156" y="1170"/>
                    </a:lnTo>
                    <a:lnTo>
                      <a:pt x="1157" y="1172"/>
                    </a:lnTo>
                    <a:lnTo>
                      <a:pt x="1156" y="1170"/>
                    </a:lnTo>
                    <a:lnTo>
                      <a:pt x="1157" y="1170"/>
                    </a:lnTo>
                    <a:lnTo>
                      <a:pt x="1157" y="1168"/>
                    </a:lnTo>
                    <a:lnTo>
                      <a:pt x="1157" y="1167"/>
                    </a:lnTo>
                    <a:lnTo>
                      <a:pt x="1157" y="1168"/>
                    </a:lnTo>
                    <a:lnTo>
                      <a:pt x="1159" y="1168"/>
                    </a:lnTo>
                    <a:lnTo>
                      <a:pt x="1159" y="1170"/>
                    </a:lnTo>
                    <a:lnTo>
                      <a:pt x="1161" y="1170"/>
                    </a:lnTo>
                    <a:lnTo>
                      <a:pt x="1162" y="1170"/>
                    </a:lnTo>
                    <a:lnTo>
                      <a:pt x="1164" y="1170"/>
                    </a:lnTo>
                    <a:lnTo>
                      <a:pt x="1166" y="1170"/>
                    </a:lnTo>
                    <a:lnTo>
                      <a:pt x="1168" y="1170"/>
                    </a:lnTo>
                    <a:lnTo>
                      <a:pt x="1166" y="1170"/>
                    </a:lnTo>
                    <a:lnTo>
                      <a:pt x="1164" y="1170"/>
                    </a:lnTo>
                    <a:lnTo>
                      <a:pt x="1162" y="1170"/>
                    </a:lnTo>
                    <a:lnTo>
                      <a:pt x="1161" y="1170"/>
                    </a:lnTo>
                    <a:lnTo>
                      <a:pt x="1161" y="1168"/>
                    </a:lnTo>
                    <a:lnTo>
                      <a:pt x="1159" y="1168"/>
                    </a:lnTo>
                    <a:lnTo>
                      <a:pt x="1159" y="1167"/>
                    </a:lnTo>
                    <a:lnTo>
                      <a:pt x="1161" y="1167"/>
                    </a:lnTo>
                    <a:lnTo>
                      <a:pt x="1162" y="1167"/>
                    </a:lnTo>
                    <a:lnTo>
                      <a:pt x="1161" y="1167"/>
                    </a:lnTo>
                    <a:lnTo>
                      <a:pt x="1161" y="1165"/>
                    </a:lnTo>
                    <a:lnTo>
                      <a:pt x="1161" y="1163"/>
                    </a:lnTo>
                    <a:lnTo>
                      <a:pt x="1162" y="1163"/>
                    </a:lnTo>
                    <a:lnTo>
                      <a:pt x="1164" y="1163"/>
                    </a:lnTo>
                    <a:lnTo>
                      <a:pt x="1164" y="1165"/>
                    </a:lnTo>
                    <a:lnTo>
                      <a:pt x="1166" y="1165"/>
                    </a:lnTo>
                    <a:lnTo>
                      <a:pt x="1166" y="1167"/>
                    </a:lnTo>
                    <a:lnTo>
                      <a:pt x="1168" y="1167"/>
                    </a:lnTo>
                    <a:lnTo>
                      <a:pt x="1166" y="1165"/>
                    </a:lnTo>
                    <a:lnTo>
                      <a:pt x="1166" y="1163"/>
                    </a:lnTo>
                    <a:lnTo>
                      <a:pt x="1166" y="1162"/>
                    </a:lnTo>
                    <a:lnTo>
                      <a:pt x="1168" y="1162"/>
                    </a:lnTo>
                    <a:lnTo>
                      <a:pt x="1168" y="1160"/>
                    </a:lnTo>
                    <a:lnTo>
                      <a:pt x="1169" y="1160"/>
                    </a:lnTo>
                    <a:lnTo>
                      <a:pt x="1169" y="1162"/>
                    </a:lnTo>
                    <a:lnTo>
                      <a:pt x="1169" y="1160"/>
                    </a:lnTo>
                    <a:lnTo>
                      <a:pt x="1169" y="1162"/>
                    </a:lnTo>
                    <a:lnTo>
                      <a:pt x="1171" y="1162"/>
                    </a:lnTo>
                    <a:lnTo>
                      <a:pt x="1171" y="1163"/>
                    </a:lnTo>
                    <a:lnTo>
                      <a:pt x="1171" y="1162"/>
                    </a:lnTo>
                    <a:lnTo>
                      <a:pt x="1173" y="1162"/>
                    </a:lnTo>
                    <a:lnTo>
                      <a:pt x="1174" y="1162"/>
                    </a:lnTo>
                    <a:lnTo>
                      <a:pt x="1173" y="1160"/>
                    </a:lnTo>
                    <a:lnTo>
                      <a:pt x="1173" y="1162"/>
                    </a:lnTo>
                    <a:lnTo>
                      <a:pt x="1171" y="1162"/>
                    </a:lnTo>
                    <a:lnTo>
                      <a:pt x="1171" y="1160"/>
                    </a:lnTo>
                    <a:lnTo>
                      <a:pt x="1171" y="1158"/>
                    </a:lnTo>
                    <a:lnTo>
                      <a:pt x="1171" y="1157"/>
                    </a:lnTo>
                    <a:lnTo>
                      <a:pt x="1171" y="1155"/>
                    </a:lnTo>
                    <a:lnTo>
                      <a:pt x="1173" y="1155"/>
                    </a:lnTo>
                    <a:lnTo>
                      <a:pt x="1174" y="1155"/>
                    </a:lnTo>
                    <a:lnTo>
                      <a:pt x="1176" y="1155"/>
                    </a:lnTo>
                    <a:lnTo>
                      <a:pt x="1178" y="1155"/>
                    </a:lnTo>
                    <a:lnTo>
                      <a:pt x="1176" y="1153"/>
                    </a:lnTo>
                    <a:lnTo>
                      <a:pt x="1176" y="1155"/>
                    </a:lnTo>
                    <a:lnTo>
                      <a:pt x="1174" y="1155"/>
                    </a:lnTo>
                    <a:lnTo>
                      <a:pt x="1173" y="1155"/>
                    </a:lnTo>
                    <a:lnTo>
                      <a:pt x="1173" y="1153"/>
                    </a:lnTo>
                    <a:lnTo>
                      <a:pt x="1174" y="1153"/>
                    </a:lnTo>
                    <a:lnTo>
                      <a:pt x="1173" y="1151"/>
                    </a:lnTo>
                    <a:lnTo>
                      <a:pt x="1173" y="1150"/>
                    </a:lnTo>
                    <a:lnTo>
                      <a:pt x="1174" y="1148"/>
                    </a:lnTo>
                    <a:lnTo>
                      <a:pt x="1173" y="1148"/>
                    </a:lnTo>
                    <a:lnTo>
                      <a:pt x="1173" y="1150"/>
                    </a:lnTo>
                    <a:lnTo>
                      <a:pt x="1173" y="1151"/>
                    </a:lnTo>
                    <a:lnTo>
                      <a:pt x="1171" y="1151"/>
                    </a:lnTo>
                    <a:lnTo>
                      <a:pt x="1173" y="1151"/>
                    </a:lnTo>
                    <a:lnTo>
                      <a:pt x="1173" y="1153"/>
                    </a:lnTo>
                    <a:lnTo>
                      <a:pt x="1171" y="1153"/>
                    </a:lnTo>
                    <a:lnTo>
                      <a:pt x="1171" y="1155"/>
                    </a:lnTo>
                    <a:lnTo>
                      <a:pt x="1169" y="1155"/>
                    </a:lnTo>
                    <a:lnTo>
                      <a:pt x="1168" y="1155"/>
                    </a:lnTo>
                    <a:lnTo>
                      <a:pt x="1168" y="1157"/>
                    </a:lnTo>
                    <a:lnTo>
                      <a:pt x="1168" y="1158"/>
                    </a:lnTo>
                    <a:lnTo>
                      <a:pt x="1166" y="1158"/>
                    </a:lnTo>
                    <a:lnTo>
                      <a:pt x="1164" y="1158"/>
                    </a:lnTo>
                    <a:lnTo>
                      <a:pt x="1162" y="1158"/>
                    </a:lnTo>
                    <a:lnTo>
                      <a:pt x="1161" y="1157"/>
                    </a:lnTo>
                    <a:lnTo>
                      <a:pt x="1161" y="1155"/>
                    </a:lnTo>
                    <a:lnTo>
                      <a:pt x="1162" y="1155"/>
                    </a:lnTo>
                    <a:lnTo>
                      <a:pt x="1162" y="1153"/>
                    </a:lnTo>
                    <a:lnTo>
                      <a:pt x="1164" y="1155"/>
                    </a:lnTo>
                    <a:lnTo>
                      <a:pt x="1164" y="1153"/>
                    </a:lnTo>
                    <a:lnTo>
                      <a:pt x="1166" y="1153"/>
                    </a:lnTo>
                    <a:lnTo>
                      <a:pt x="1168" y="1153"/>
                    </a:lnTo>
                    <a:lnTo>
                      <a:pt x="1169" y="1153"/>
                    </a:lnTo>
                    <a:lnTo>
                      <a:pt x="1168" y="1153"/>
                    </a:lnTo>
                    <a:lnTo>
                      <a:pt x="1166" y="1151"/>
                    </a:lnTo>
                    <a:lnTo>
                      <a:pt x="1168" y="1153"/>
                    </a:lnTo>
                    <a:lnTo>
                      <a:pt x="1166" y="1153"/>
                    </a:lnTo>
                    <a:lnTo>
                      <a:pt x="1164" y="1153"/>
                    </a:lnTo>
                    <a:lnTo>
                      <a:pt x="1162" y="1153"/>
                    </a:lnTo>
                    <a:lnTo>
                      <a:pt x="1161" y="1151"/>
                    </a:lnTo>
                    <a:lnTo>
                      <a:pt x="1162" y="1151"/>
                    </a:lnTo>
                    <a:lnTo>
                      <a:pt x="1164" y="1151"/>
                    </a:lnTo>
                    <a:lnTo>
                      <a:pt x="1164" y="1150"/>
                    </a:lnTo>
                    <a:lnTo>
                      <a:pt x="1166" y="1151"/>
                    </a:lnTo>
                    <a:lnTo>
                      <a:pt x="1164" y="1150"/>
                    </a:lnTo>
                    <a:lnTo>
                      <a:pt x="1162" y="1151"/>
                    </a:lnTo>
                    <a:lnTo>
                      <a:pt x="1161" y="1151"/>
                    </a:lnTo>
                    <a:lnTo>
                      <a:pt x="1161" y="1150"/>
                    </a:lnTo>
                    <a:lnTo>
                      <a:pt x="1161" y="1148"/>
                    </a:lnTo>
                    <a:lnTo>
                      <a:pt x="1159" y="1148"/>
                    </a:lnTo>
                    <a:lnTo>
                      <a:pt x="1161" y="1146"/>
                    </a:lnTo>
                    <a:lnTo>
                      <a:pt x="1162" y="1146"/>
                    </a:lnTo>
                    <a:lnTo>
                      <a:pt x="1164" y="1146"/>
                    </a:lnTo>
                    <a:lnTo>
                      <a:pt x="1164" y="1148"/>
                    </a:lnTo>
                    <a:lnTo>
                      <a:pt x="1164" y="1146"/>
                    </a:lnTo>
                    <a:lnTo>
                      <a:pt x="1164" y="1148"/>
                    </a:lnTo>
                    <a:lnTo>
                      <a:pt x="1166" y="1148"/>
                    </a:lnTo>
                    <a:lnTo>
                      <a:pt x="1168" y="1148"/>
                    </a:lnTo>
                    <a:lnTo>
                      <a:pt x="1168" y="1150"/>
                    </a:lnTo>
                    <a:lnTo>
                      <a:pt x="1169" y="1150"/>
                    </a:lnTo>
                    <a:lnTo>
                      <a:pt x="1168" y="1150"/>
                    </a:lnTo>
                    <a:lnTo>
                      <a:pt x="1168" y="1148"/>
                    </a:lnTo>
                    <a:lnTo>
                      <a:pt x="1166" y="1148"/>
                    </a:lnTo>
                    <a:lnTo>
                      <a:pt x="1164" y="1146"/>
                    </a:lnTo>
                    <a:lnTo>
                      <a:pt x="1166" y="1146"/>
                    </a:lnTo>
                    <a:lnTo>
                      <a:pt x="1168" y="1146"/>
                    </a:lnTo>
                    <a:lnTo>
                      <a:pt x="1168" y="1148"/>
                    </a:lnTo>
                    <a:lnTo>
                      <a:pt x="1168" y="1146"/>
                    </a:lnTo>
                    <a:lnTo>
                      <a:pt x="1169" y="1146"/>
                    </a:lnTo>
                    <a:lnTo>
                      <a:pt x="1168" y="1146"/>
                    </a:lnTo>
                    <a:lnTo>
                      <a:pt x="1169" y="1146"/>
                    </a:lnTo>
                    <a:lnTo>
                      <a:pt x="1171" y="1146"/>
                    </a:lnTo>
                    <a:lnTo>
                      <a:pt x="1169" y="1146"/>
                    </a:lnTo>
                    <a:lnTo>
                      <a:pt x="1169" y="1145"/>
                    </a:lnTo>
                    <a:lnTo>
                      <a:pt x="1171" y="1145"/>
                    </a:lnTo>
                    <a:lnTo>
                      <a:pt x="1173" y="1143"/>
                    </a:lnTo>
                    <a:lnTo>
                      <a:pt x="1173" y="1145"/>
                    </a:lnTo>
                    <a:lnTo>
                      <a:pt x="1174" y="1145"/>
                    </a:lnTo>
                    <a:lnTo>
                      <a:pt x="1173" y="1146"/>
                    </a:lnTo>
                    <a:lnTo>
                      <a:pt x="1173" y="1148"/>
                    </a:lnTo>
                    <a:lnTo>
                      <a:pt x="1174" y="1146"/>
                    </a:lnTo>
                    <a:lnTo>
                      <a:pt x="1174" y="1145"/>
                    </a:lnTo>
                    <a:lnTo>
                      <a:pt x="1176" y="1145"/>
                    </a:lnTo>
                    <a:lnTo>
                      <a:pt x="1178" y="1145"/>
                    </a:lnTo>
                    <a:lnTo>
                      <a:pt x="1178" y="1146"/>
                    </a:lnTo>
                    <a:lnTo>
                      <a:pt x="1176" y="1146"/>
                    </a:lnTo>
                    <a:lnTo>
                      <a:pt x="1178" y="1146"/>
                    </a:lnTo>
                    <a:lnTo>
                      <a:pt x="1178" y="1145"/>
                    </a:lnTo>
                    <a:lnTo>
                      <a:pt x="1179" y="1145"/>
                    </a:lnTo>
                    <a:lnTo>
                      <a:pt x="1179" y="1146"/>
                    </a:lnTo>
                    <a:lnTo>
                      <a:pt x="1179" y="1148"/>
                    </a:lnTo>
                    <a:lnTo>
                      <a:pt x="1178" y="1148"/>
                    </a:lnTo>
                    <a:lnTo>
                      <a:pt x="1179" y="1148"/>
                    </a:lnTo>
                    <a:lnTo>
                      <a:pt x="1181" y="1148"/>
                    </a:lnTo>
                    <a:lnTo>
                      <a:pt x="1179" y="1150"/>
                    </a:lnTo>
                    <a:lnTo>
                      <a:pt x="1181" y="1150"/>
                    </a:lnTo>
                    <a:lnTo>
                      <a:pt x="1181" y="1148"/>
                    </a:lnTo>
                    <a:lnTo>
                      <a:pt x="1183" y="1150"/>
                    </a:lnTo>
                    <a:lnTo>
                      <a:pt x="1181" y="1151"/>
                    </a:lnTo>
                    <a:lnTo>
                      <a:pt x="1181" y="1153"/>
                    </a:lnTo>
                    <a:lnTo>
                      <a:pt x="1181" y="1155"/>
                    </a:lnTo>
                    <a:lnTo>
                      <a:pt x="1183" y="1155"/>
                    </a:lnTo>
                    <a:lnTo>
                      <a:pt x="1183" y="1153"/>
                    </a:lnTo>
                    <a:lnTo>
                      <a:pt x="1183" y="1151"/>
                    </a:lnTo>
                    <a:lnTo>
                      <a:pt x="1183" y="1153"/>
                    </a:lnTo>
                    <a:lnTo>
                      <a:pt x="1183" y="1151"/>
                    </a:lnTo>
                    <a:lnTo>
                      <a:pt x="1183" y="1150"/>
                    </a:lnTo>
                    <a:lnTo>
                      <a:pt x="1185" y="1150"/>
                    </a:lnTo>
                    <a:lnTo>
                      <a:pt x="1185" y="1151"/>
                    </a:lnTo>
                    <a:lnTo>
                      <a:pt x="1185" y="1150"/>
                    </a:lnTo>
                    <a:lnTo>
                      <a:pt x="1183" y="1150"/>
                    </a:lnTo>
                    <a:lnTo>
                      <a:pt x="1183" y="1148"/>
                    </a:lnTo>
                    <a:lnTo>
                      <a:pt x="1181" y="1148"/>
                    </a:lnTo>
                    <a:lnTo>
                      <a:pt x="1181" y="1146"/>
                    </a:lnTo>
                    <a:lnTo>
                      <a:pt x="1181" y="1145"/>
                    </a:lnTo>
                    <a:lnTo>
                      <a:pt x="1183" y="1145"/>
                    </a:lnTo>
                    <a:lnTo>
                      <a:pt x="1183" y="1146"/>
                    </a:lnTo>
                    <a:lnTo>
                      <a:pt x="1183" y="1145"/>
                    </a:lnTo>
                    <a:lnTo>
                      <a:pt x="1181" y="1145"/>
                    </a:lnTo>
                    <a:lnTo>
                      <a:pt x="1181" y="1143"/>
                    </a:lnTo>
                    <a:lnTo>
                      <a:pt x="1183" y="1145"/>
                    </a:lnTo>
                    <a:lnTo>
                      <a:pt x="1183" y="1143"/>
                    </a:lnTo>
                    <a:lnTo>
                      <a:pt x="1185" y="1143"/>
                    </a:lnTo>
                    <a:lnTo>
                      <a:pt x="1186" y="1145"/>
                    </a:lnTo>
                    <a:lnTo>
                      <a:pt x="1186" y="1143"/>
                    </a:lnTo>
                    <a:lnTo>
                      <a:pt x="1186" y="1145"/>
                    </a:lnTo>
                    <a:lnTo>
                      <a:pt x="1186" y="1146"/>
                    </a:lnTo>
                    <a:lnTo>
                      <a:pt x="1188" y="1146"/>
                    </a:lnTo>
                    <a:lnTo>
                      <a:pt x="1186" y="1146"/>
                    </a:lnTo>
                    <a:lnTo>
                      <a:pt x="1188" y="1145"/>
                    </a:lnTo>
                    <a:lnTo>
                      <a:pt x="1190" y="1143"/>
                    </a:lnTo>
                    <a:lnTo>
                      <a:pt x="1191" y="1143"/>
                    </a:lnTo>
                    <a:lnTo>
                      <a:pt x="1193" y="1143"/>
                    </a:lnTo>
                    <a:lnTo>
                      <a:pt x="1193" y="1145"/>
                    </a:lnTo>
                    <a:lnTo>
                      <a:pt x="1195" y="1145"/>
                    </a:lnTo>
                    <a:lnTo>
                      <a:pt x="1193" y="1145"/>
                    </a:lnTo>
                    <a:lnTo>
                      <a:pt x="1193" y="1143"/>
                    </a:lnTo>
                    <a:lnTo>
                      <a:pt x="1195" y="1145"/>
                    </a:lnTo>
                    <a:lnTo>
                      <a:pt x="1195" y="1146"/>
                    </a:lnTo>
                    <a:lnTo>
                      <a:pt x="1193" y="1146"/>
                    </a:lnTo>
                    <a:lnTo>
                      <a:pt x="1191" y="1146"/>
                    </a:lnTo>
                    <a:lnTo>
                      <a:pt x="1190" y="1146"/>
                    </a:lnTo>
                    <a:lnTo>
                      <a:pt x="1190" y="1148"/>
                    </a:lnTo>
                    <a:lnTo>
                      <a:pt x="1188" y="1148"/>
                    </a:lnTo>
                    <a:lnTo>
                      <a:pt x="1190" y="1148"/>
                    </a:lnTo>
                    <a:lnTo>
                      <a:pt x="1191" y="1148"/>
                    </a:lnTo>
                    <a:lnTo>
                      <a:pt x="1193" y="1148"/>
                    </a:lnTo>
                    <a:lnTo>
                      <a:pt x="1193" y="1150"/>
                    </a:lnTo>
                    <a:lnTo>
                      <a:pt x="1191" y="1150"/>
                    </a:lnTo>
                    <a:lnTo>
                      <a:pt x="1193" y="1150"/>
                    </a:lnTo>
                    <a:lnTo>
                      <a:pt x="1193" y="1148"/>
                    </a:lnTo>
                    <a:lnTo>
                      <a:pt x="1195" y="1148"/>
                    </a:lnTo>
                    <a:lnTo>
                      <a:pt x="1196" y="1150"/>
                    </a:lnTo>
                    <a:lnTo>
                      <a:pt x="1196" y="1151"/>
                    </a:lnTo>
                    <a:lnTo>
                      <a:pt x="1195" y="1151"/>
                    </a:lnTo>
                    <a:lnTo>
                      <a:pt x="1195" y="1153"/>
                    </a:lnTo>
                    <a:lnTo>
                      <a:pt x="1193" y="1153"/>
                    </a:lnTo>
                    <a:lnTo>
                      <a:pt x="1191" y="1153"/>
                    </a:lnTo>
                    <a:lnTo>
                      <a:pt x="1190" y="1153"/>
                    </a:lnTo>
                    <a:lnTo>
                      <a:pt x="1188" y="1155"/>
                    </a:lnTo>
                    <a:lnTo>
                      <a:pt x="1186" y="1153"/>
                    </a:lnTo>
                    <a:lnTo>
                      <a:pt x="1186" y="1155"/>
                    </a:lnTo>
                    <a:lnTo>
                      <a:pt x="1188" y="1155"/>
                    </a:lnTo>
                    <a:lnTo>
                      <a:pt x="1190" y="1155"/>
                    </a:lnTo>
                    <a:lnTo>
                      <a:pt x="1191" y="1153"/>
                    </a:lnTo>
                    <a:lnTo>
                      <a:pt x="1193" y="1153"/>
                    </a:lnTo>
                    <a:lnTo>
                      <a:pt x="1195" y="1153"/>
                    </a:lnTo>
                    <a:lnTo>
                      <a:pt x="1195" y="1155"/>
                    </a:lnTo>
                    <a:lnTo>
                      <a:pt x="1195" y="1157"/>
                    </a:lnTo>
                    <a:lnTo>
                      <a:pt x="1195" y="1158"/>
                    </a:lnTo>
                    <a:lnTo>
                      <a:pt x="1193" y="1158"/>
                    </a:lnTo>
                    <a:lnTo>
                      <a:pt x="1191" y="1160"/>
                    </a:lnTo>
                    <a:lnTo>
                      <a:pt x="1191" y="1158"/>
                    </a:lnTo>
                    <a:lnTo>
                      <a:pt x="1190" y="1158"/>
                    </a:lnTo>
                    <a:lnTo>
                      <a:pt x="1190" y="1160"/>
                    </a:lnTo>
                    <a:lnTo>
                      <a:pt x="1188" y="1160"/>
                    </a:lnTo>
                    <a:lnTo>
                      <a:pt x="1186" y="1160"/>
                    </a:lnTo>
                    <a:lnTo>
                      <a:pt x="1186" y="1158"/>
                    </a:lnTo>
                    <a:lnTo>
                      <a:pt x="1186" y="1160"/>
                    </a:lnTo>
                    <a:lnTo>
                      <a:pt x="1185" y="1158"/>
                    </a:lnTo>
                    <a:lnTo>
                      <a:pt x="1186" y="1160"/>
                    </a:lnTo>
                    <a:lnTo>
                      <a:pt x="1188" y="1160"/>
                    </a:lnTo>
                    <a:lnTo>
                      <a:pt x="1190" y="1160"/>
                    </a:lnTo>
                    <a:lnTo>
                      <a:pt x="1191" y="1160"/>
                    </a:lnTo>
                    <a:lnTo>
                      <a:pt x="1193" y="1160"/>
                    </a:lnTo>
                    <a:lnTo>
                      <a:pt x="1193" y="1158"/>
                    </a:lnTo>
                    <a:lnTo>
                      <a:pt x="1195" y="1158"/>
                    </a:lnTo>
                    <a:lnTo>
                      <a:pt x="1196" y="1157"/>
                    </a:lnTo>
                    <a:lnTo>
                      <a:pt x="1195" y="1157"/>
                    </a:lnTo>
                    <a:lnTo>
                      <a:pt x="1195" y="1155"/>
                    </a:lnTo>
                    <a:lnTo>
                      <a:pt x="1195" y="1153"/>
                    </a:lnTo>
                    <a:lnTo>
                      <a:pt x="1195" y="1151"/>
                    </a:lnTo>
                    <a:lnTo>
                      <a:pt x="1196" y="1151"/>
                    </a:lnTo>
                    <a:lnTo>
                      <a:pt x="1196" y="1153"/>
                    </a:lnTo>
                    <a:lnTo>
                      <a:pt x="1198" y="1153"/>
                    </a:lnTo>
                    <a:lnTo>
                      <a:pt x="1198" y="1155"/>
                    </a:lnTo>
                    <a:lnTo>
                      <a:pt x="1198" y="1157"/>
                    </a:lnTo>
                    <a:lnTo>
                      <a:pt x="1198" y="1158"/>
                    </a:lnTo>
                    <a:lnTo>
                      <a:pt x="1196" y="1160"/>
                    </a:lnTo>
                    <a:lnTo>
                      <a:pt x="1195" y="1160"/>
                    </a:lnTo>
                    <a:lnTo>
                      <a:pt x="1195" y="1162"/>
                    </a:lnTo>
                    <a:lnTo>
                      <a:pt x="1193" y="1162"/>
                    </a:lnTo>
                    <a:lnTo>
                      <a:pt x="1191" y="1163"/>
                    </a:lnTo>
                    <a:lnTo>
                      <a:pt x="1190" y="1163"/>
                    </a:lnTo>
                    <a:lnTo>
                      <a:pt x="1188" y="1163"/>
                    </a:lnTo>
                    <a:lnTo>
                      <a:pt x="1188" y="1165"/>
                    </a:lnTo>
                    <a:lnTo>
                      <a:pt x="1186" y="1165"/>
                    </a:lnTo>
                    <a:lnTo>
                      <a:pt x="1185" y="1163"/>
                    </a:lnTo>
                    <a:lnTo>
                      <a:pt x="1183" y="1163"/>
                    </a:lnTo>
                    <a:lnTo>
                      <a:pt x="1181" y="1162"/>
                    </a:lnTo>
                    <a:lnTo>
                      <a:pt x="1183" y="1162"/>
                    </a:lnTo>
                    <a:lnTo>
                      <a:pt x="1181" y="1160"/>
                    </a:lnTo>
                    <a:lnTo>
                      <a:pt x="1181" y="1162"/>
                    </a:lnTo>
                    <a:lnTo>
                      <a:pt x="1181" y="1163"/>
                    </a:lnTo>
                    <a:lnTo>
                      <a:pt x="1183" y="1163"/>
                    </a:lnTo>
                    <a:lnTo>
                      <a:pt x="1185" y="1165"/>
                    </a:lnTo>
                    <a:lnTo>
                      <a:pt x="1186" y="1165"/>
                    </a:lnTo>
                    <a:lnTo>
                      <a:pt x="1188" y="1165"/>
                    </a:lnTo>
                    <a:lnTo>
                      <a:pt x="1190" y="1165"/>
                    </a:lnTo>
                    <a:lnTo>
                      <a:pt x="1190" y="1163"/>
                    </a:lnTo>
                    <a:lnTo>
                      <a:pt x="1191" y="1163"/>
                    </a:lnTo>
                    <a:lnTo>
                      <a:pt x="1193" y="1163"/>
                    </a:lnTo>
                    <a:lnTo>
                      <a:pt x="1195" y="1162"/>
                    </a:lnTo>
                    <a:lnTo>
                      <a:pt x="1196" y="1162"/>
                    </a:lnTo>
                    <a:lnTo>
                      <a:pt x="1196" y="1163"/>
                    </a:lnTo>
                    <a:lnTo>
                      <a:pt x="1195" y="1163"/>
                    </a:lnTo>
                    <a:lnTo>
                      <a:pt x="1196" y="1163"/>
                    </a:lnTo>
                    <a:lnTo>
                      <a:pt x="1196" y="1165"/>
                    </a:lnTo>
                    <a:lnTo>
                      <a:pt x="1196" y="1163"/>
                    </a:lnTo>
                    <a:lnTo>
                      <a:pt x="1196" y="1162"/>
                    </a:lnTo>
                    <a:lnTo>
                      <a:pt x="1198" y="1162"/>
                    </a:lnTo>
                    <a:lnTo>
                      <a:pt x="1198" y="1160"/>
                    </a:lnTo>
                    <a:lnTo>
                      <a:pt x="1200" y="1160"/>
                    </a:lnTo>
                    <a:lnTo>
                      <a:pt x="1202" y="1158"/>
                    </a:lnTo>
                    <a:lnTo>
                      <a:pt x="1202" y="1160"/>
                    </a:lnTo>
                    <a:lnTo>
                      <a:pt x="1202" y="1162"/>
                    </a:lnTo>
                    <a:lnTo>
                      <a:pt x="1203" y="1162"/>
                    </a:lnTo>
                    <a:lnTo>
                      <a:pt x="1203" y="1163"/>
                    </a:lnTo>
                    <a:lnTo>
                      <a:pt x="1205" y="1163"/>
                    </a:lnTo>
                    <a:lnTo>
                      <a:pt x="1205" y="1165"/>
                    </a:lnTo>
                    <a:lnTo>
                      <a:pt x="1205" y="1167"/>
                    </a:lnTo>
                    <a:lnTo>
                      <a:pt x="1205" y="1168"/>
                    </a:lnTo>
                    <a:lnTo>
                      <a:pt x="1205" y="1170"/>
                    </a:lnTo>
                    <a:lnTo>
                      <a:pt x="1203" y="1170"/>
                    </a:lnTo>
                    <a:lnTo>
                      <a:pt x="1203" y="1172"/>
                    </a:lnTo>
                    <a:lnTo>
                      <a:pt x="1203" y="1174"/>
                    </a:lnTo>
                    <a:lnTo>
                      <a:pt x="1202" y="1174"/>
                    </a:lnTo>
                    <a:lnTo>
                      <a:pt x="1202" y="1175"/>
                    </a:lnTo>
                    <a:lnTo>
                      <a:pt x="1200" y="1175"/>
                    </a:lnTo>
                    <a:lnTo>
                      <a:pt x="1202" y="1177"/>
                    </a:lnTo>
                    <a:lnTo>
                      <a:pt x="1202" y="1179"/>
                    </a:lnTo>
                    <a:lnTo>
                      <a:pt x="1202" y="1177"/>
                    </a:lnTo>
                    <a:lnTo>
                      <a:pt x="1200" y="1177"/>
                    </a:lnTo>
                    <a:lnTo>
                      <a:pt x="1200" y="1179"/>
                    </a:lnTo>
                    <a:lnTo>
                      <a:pt x="1198" y="1179"/>
                    </a:lnTo>
                    <a:lnTo>
                      <a:pt x="1200" y="1179"/>
                    </a:lnTo>
                    <a:lnTo>
                      <a:pt x="1200" y="1180"/>
                    </a:lnTo>
                    <a:lnTo>
                      <a:pt x="1202" y="1180"/>
                    </a:lnTo>
                    <a:lnTo>
                      <a:pt x="1202" y="1182"/>
                    </a:lnTo>
                    <a:lnTo>
                      <a:pt x="1203" y="1180"/>
                    </a:lnTo>
                    <a:lnTo>
                      <a:pt x="1203" y="1179"/>
                    </a:lnTo>
                    <a:lnTo>
                      <a:pt x="1203" y="1177"/>
                    </a:lnTo>
                    <a:lnTo>
                      <a:pt x="1205" y="1177"/>
                    </a:lnTo>
                    <a:lnTo>
                      <a:pt x="1205" y="1175"/>
                    </a:lnTo>
                    <a:lnTo>
                      <a:pt x="1205" y="1174"/>
                    </a:lnTo>
                    <a:lnTo>
                      <a:pt x="1205" y="1172"/>
                    </a:lnTo>
                    <a:lnTo>
                      <a:pt x="1207" y="1172"/>
                    </a:lnTo>
                    <a:lnTo>
                      <a:pt x="1208" y="1170"/>
                    </a:lnTo>
                    <a:lnTo>
                      <a:pt x="1208" y="1168"/>
                    </a:lnTo>
                    <a:lnTo>
                      <a:pt x="1210" y="1168"/>
                    </a:lnTo>
                    <a:lnTo>
                      <a:pt x="1210" y="1167"/>
                    </a:lnTo>
                    <a:lnTo>
                      <a:pt x="1212" y="1167"/>
                    </a:lnTo>
                    <a:lnTo>
                      <a:pt x="1213" y="1167"/>
                    </a:lnTo>
                    <a:lnTo>
                      <a:pt x="1215" y="1167"/>
                    </a:lnTo>
                    <a:lnTo>
                      <a:pt x="1213" y="1167"/>
                    </a:lnTo>
                    <a:lnTo>
                      <a:pt x="1212" y="1167"/>
                    </a:lnTo>
                    <a:lnTo>
                      <a:pt x="1212" y="1165"/>
                    </a:lnTo>
                    <a:lnTo>
                      <a:pt x="1212" y="1163"/>
                    </a:lnTo>
                    <a:lnTo>
                      <a:pt x="1212" y="1162"/>
                    </a:lnTo>
                    <a:lnTo>
                      <a:pt x="1213" y="1162"/>
                    </a:lnTo>
                    <a:lnTo>
                      <a:pt x="1213" y="1160"/>
                    </a:lnTo>
                    <a:lnTo>
                      <a:pt x="1215" y="1160"/>
                    </a:lnTo>
                    <a:lnTo>
                      <a:pt x="1213" y="1160"/>
                    </a:lnTo>
                    <a:lnTo>
                      <a:pt x="1213" y="1158"/>
                    </a:lnTo>
                    <a:lnTo>
                      <a:pt x="1215" y="1158"/>
                    </a:lnTo>
                    <a:lnTo>
                      <a:pt x="1215" y="1157"/>
                    </a:lnTo>
                    <a:lnTo>
                      <a:pt x="1217" y="1157"/>
                    </a:lnTo>
                    <a:lnTo>
                      <a:pt x="1217" y="1155"/>
                    </a:lnTo>
                    <a:lnTo>
                      <a:pt x="1219" y="1155"/>
                    </a:lnTo>
                    <a:lnTo>
                      <a:pt x="1219" y="1153"/>
                    </a:lnTo>
                    <a:lnTo>
                      <a:pt x="1217" y="1153"/>
                    </a:lnTo>
                    <a:lnTo>
                      <a:pt x="1215" y="1155"/>
                    </a:lnTo>
                    <a:lnTo>
                      <a:pt x="1215" y="1157"/>
                    </a:lnTo>
                    <a:lnTo>
                      <a:pt x="1213" y="1157"/>
                    </a:lnTo>
                    <a:lnTo>
                      <a:pt x="1213" y="1158"/>
                    </a:lnTo>
                    <a:lnTo>
                      <a:pt x="1212" y="1160"/>
                    </a:lnTo>
                    <a:lnTo>
                      <a:pt x="1212" y="1162"/>
                    </a:lnTo>
                    <a:lnTo>
                      <a:pt x="1210" y="1163"/>
                    </a:lnTo>
                    <a:lnTo>
                      <a:pt x="1212" y="1162"/>
                    </a:lnTo>
                    <a:lnTo>
                      <a:pt x="1212" y="1163"/>
                    </a:lnTo>
                    <a:lnTo>
                      <a:pt x="1210" y="1163"/>
                    </a:lnTo>
                    <a:lnTo>
                      <a:pt x="1210" y="1165"/>
                    </a:lnTo>
                    <a:lnTo>
                      <a:pt x="1208" y="1167"/>
                    </a:lnTo>
                    <a:lnTo>
                      <a:pt x="1208" y="1168"/>
                    </a:lnTo>
                    <a:lnTo>
                      <a:pt x="1207" y="1168"/>
                    </a:lnTo>
                    <a:lnTo>
                      <a:pt x="1208" y="1168"/>
                    </a:lnTo>
                    <a:lnTo>
                      <a:pt x="1207" y="1168"/>
                    </a:lnTo>
                    <a:lnTo>
                      <a:pt x="1208" y="1167"/>
                    </a:lnTo>
                    <a:lnTo>
                      <a:pt x="1208" y="1165"/>
                    </a:lnTo>
                    <a:lnTo>
                      <a:pt x="1208" y="1163"/>
                    </a:lnTo>
                    <a:lnTo>
                      <a:pt x="1210" y="1163"/>
                    </a:lnTo>
                    <a:lnTo>
                      <a:pt x="1208" y="1163"/>
                    </a:lnTo>
                    <a:lnTo>
                      <a:pt x="1208" y="1162"/>
                    </a:lnTo>
                    <a:lnTo>
                      <a:pt x="1208" y="1160"/>
                    </a:lnTo>
                    <a:lnTo>
                      <a:pt x="1208" y="1158"/>
                    </a:lnTo>
                    <a:lnTo>
                      <a:pt x="1210" y="1158"/>
                    </a:lnTo>
                    <a:lnTo>
                      <a:pt x="1210" y="1157"/>
                    </a:lnTo>
                    <a:lnTo>
                      <a:pt x="1210" y="1155"/>
                    </a:lnTo>
                    <a:lnTo>
                      <a:pt x="1208" y="1153"/>
                    </a:lnTo>
                    <a:lnTo>
                      <a:pt x="1210" y="1153"/>
                    </a:lnTo>
                    <a:lnTo>
                      <a:pt x="1208" y="1151"/>
                    </a:lnTo>
                    <a:lnTo>
                      <a:pt x="1210" y="1151"/>
                    </a:lnTo>
                    <a:lnTo>
                      <a:pt x="1210" y="1150"/>
                    </a:lnTo>
                    <a:lnTo>
                      <a:pt x="1212" y="1150"/>
                    </a:lnTo>
                    <a:lnTo>
                      <a:pt x="1210" y="1150"/>
                    </a:lnTo>
                    <a:lnTo>
                      <a:pt x="1210" y="1148"/>
                    </a:lnTo>
                    <a:lnTo>
                      <a:pt x="1212" y="1146"/>
                    </a:lnTo>
                    <a:lnTo>
                      <a:pt x="1213" y="1146"/>
                    </a:lnTo>
                    <a:lnTo>
                      <a:pt x="1212" y="1145"/>
                    </a:lnTo>
                    <a:lnTo>
                      <a:pt x="1213" y="1143"/>
                    </a:lnTo>
                    <a:lnTo>
                      <a:pt x="1213" y="1141"/>
                    </a:lnTo>
                    <a:lnTo>
                      <a:pt x="1215" y="1141"/>
                    </a:lnTo>
                    <a:lnTo>
                      <a:pt x="1215" y="1140"/>
                    </a:lnTo>
                    <a:lnTo>
                      <a:pt x="1217" y="1138"/>
                    </a:lnTo>
                    <a:lnTo>
                      <a:pt x="1219" y="1138"/>
                    </a:lnTo>
                    <a:lnTo>
                      <a:pt x="1220" y="1138"/>
                    </a:lnTo>
                    <a:lnTo>
                      <a:pt x="1220" y="1136"/>
                    </a:lnTo>
                    <a:lnTo>
                      <a:pt x="1222" y="1138"/>
                    </a:lnTo>
                    <a:lnTo>
                      <a:pt x="1222" y="1136"/>
                    </a:lnTo>
                    <a:lnTo>
                      <a:pt x="1222" y="1138"/>
                    </a:lnTo>
                    <a:lnTo>
                      <a:pt x="1224" y="1138"/>
                    </a:lnTo>
                    <a:lnTo>
                      <a:pt x="1225" y="1136"/>
                    </a:lnTo>
                    <a:lnTo>
                      <a:pt x="1224" y="1136"/>
                    </a:lnTo>
                    <a:lnTo>
                      <a:pt x="1224" y="1134"/>
                    </a:lnTo>
                    <a:lnTo>
                      <a:pt x="1222" y="1134"/>
                    </a:lnTo>
                    <a:lnTo>
                      <a:pt x="1222" y="1136"/>
                    </a:lnTo>
                    <a:lnTo>
                      <a:pt x="1220" y="1136"/>
                    </a:lnTo>
                    <a:lnTo>
                      <a:pt x="1220" y="1134"/>
                    </a:lnTo>
                    <a:lnTo>
                      <a:pt x="1220" y="1133"/>
                    </a:lnTo>
                    <a:lnTo>
                      <a:pt x="1222" y="1133"/>
                    </a:lnTo>
                    <a:lnTo>
                      <a:pt x="1220" y="1133"/>
                    </a:lnTo>
                    <a:lnTo>
                      <a:pt x="1220" y="1134"/>
                    </a:lnTo>
                    <a:lnTo>
                      <a:pt x="1219" y="1134"/>
                    </a:lnTo>
                    <a:lnTo>
                      <a:pt x="1217" y="1136"/>
                    </a:lnTo>
                    <a:lnTo>
                      <a:pt x="1217" y="1138"/>
                    </a:lnTo>
                    <a:lnTo>
                      <a:pt x="1215" y="1138"/>
                    </a:lnTo>
                    <a:lnTo>
                      <a:pt x="1215" y="1140"/>
                    </a:lnTo>
                    <a:lnTo>
                      <a:pt x="1213" y="1140"/>
                    </a:lnTo>
                    <a:lnTo>
                      <a:pt x="1213" y="1141"/>
                    </a:lnTo>
                    <a:lnTo>
                      <a:pt x="1212" y="1141"/>
                    </a:lnTo>
                    <a:lnTo>
                      <a:pt x="1212" y="1140"/>
                    </a:lnTo>
                    <a:lnTo>
                      <a:pt x="1212" y="1138"/>
                    </a:lnTo>
                    <a:lnTo>
                      <a:pt x="1212" y="1136"/>
                    </a:lnTo>
                    <a:lnTo>
                      <a:pt x="1212" y="1134"/>
                    </a:lnTo>
                    <a:lnTo>
                      <a:pt x="1212" y="1133"/>
                    </a:lnTo>
                    <a:lnTo>
                      <a:pt x="1213" y="1133"/>
                    </a:lnTo>
                    <a:lnTo>
                      <a:pt x="1213" y="1131"/>
                    </a:lnTo>
                    <a:lnTo>
                      <a:pt x="1213" y="1129"/>
                    </a:lnTo>
                    <a:lnTo>
                      <a:pt x="1213" y="1128"/>
                    </a:lnTo>
                    <a:lnTo>
                      <a:pt x="1213" y="1126"/>
                    </a:lnTo>
                    <a:lnTo>
                      <a:pt x="1215" y="1124"/>
                    </a:lnTo>
                    <a:lnTo>
                      <a:pt x="1217" y="1124"/>
                    </a:lnTo>
                    <a:lnTo>
                      <a:pt x="1217" y="1126"/>
                    </a:lnTo>
                    <a:lnTo>
                      <a:pt x="1217" y="1128"/>
                    </a:lnTo>
                    <a:lnTo>
                      <a:pt x="1217" y="1126"/>
                    </a:lnTo>
                    <a:lnTo>
                      <a:pt x="1217" y="1124"/>
                    </a:lnTo>
                    <a:lnTo>
                      <a:pt x="1217" y="1122"/>
                    </a:lnTo>
                    <a:lnTo>
                      <a:pt x="1219" y="1122"/>
                    </a:lnTo>
                    <a:lnTo>
                      <a:pt x="1219" y="1121"/>
                    </a:lnTo>
                    <a:lnTo>
                      <a:pt x="1219" y="1122"/>
                    </a:lnTo>
                    <a:lnTo>
                      <a:pt x="1220" y="1124"/>
                    </a:lnTo>
                    <a:lnTo>
                      <a:pt x="1220" y="1122"/>
                    </a:lnTo>
                    <a:lnTo>
                      <a:pt x="1220" y="1121"/>
                    </a:lnTo>
                    <a:lnTo>
                      <a:pt x="1219" y="1121"/>
                    </a:lnTo>
                    <a:lnTo>
                      <a:pt x="1220" y="1121"/>
                    </a:lnTo>
                    <a:lnTo>
                      <a:pt x="1220" y="1119"/>
                    </a:lnTo>
                    <a:lnTo>
                      <a:pt x="1222" y="1119"/>
                    </a:lnTo>
                    <a:lnTo>
                      <a:pt x="1224" y="1119"/>
                    </a:lnTo>
                    <a:lnTo>
                      <a:pt x="1225" y="1119"/>
                    </a:lnTo>
                    <a:lnTo>
                      <a:pt x="1225" y="1121"/>
                    </a:lnTo>
                    <a:lnTo>
                      <a:pt x="1225" y="1122"/>
                    </a:lnTo>
                    <a:lnTo>
                      <a:pt x="1227" y="1122"/>
                    </a:lnTo>
                    <a:lnTo>
                      <a:pt x="1227" y="1124"/>
                    </a:lnTo>
                    <a:lnTo>
                      <a:pt x="1229" y="1124"/>
                    </a:lnTo>
                    <a:lnTo>
                      <a:pt x="1230" y="1126"/>
                    </a:lnTo>
                    <a:lnTo>
                      <a:pt x="1232" y="1126"/>
                    </a:lnTo>
                    <a:lnTo>
                      <a:pt x="1234" y="1126"/>
                    </a:lnTo>
                    <a:lnTo>
                      <a:pt x="1234" y="1128"/>
                    </a:lnTo>
                    <a:lnTo>
                      <a:pt x="1234" y="1126"/>
                    </a:lnTo>
                    <a:lnTo>
                      <a:pt x="1234" y="1128"/>
                    </a:lnTo>
                    <a:lnTo>
                      <a:pt x="1236" y="1126"/>
                    </a:lnTo>
                    <a:lnTo>
                      <a:pt x="1236" y="1128"/>
                    </a:lnTo>
                    <a:lnTo>
                      <a:pt x="1236" y="1126"/>
                    </a:lnTo>
                    <a:lnTo>
                      <a:pt x="1237" y="1126"/>
                    </a:lnTo>
                    <a:lnTo>
                      <a:pt x="1236" y="1126"/>
                    </a:lnTo>
                    <a:lnTo>
                      <a:pt x="1237" y="1126"/>
                    </a:lnTo>
                    <a:lnTo>
                      <a:pt x="1237" y="1124"/>
                    </a:lnTo>
                    <a:lnTo>
                      <a:pt x="1236" y="1124"/>
                    </a:lnTo>
                    <a:lnTo>
                      <a:pt x="1237" y="1122"/>
                    </a:lnTo>
                    <a:lnTo>
                      <a:pt x="1236" y="1122"/>
                    </a:lnTo>
                    <a:lnTo>
                      <a:pt x="1234" y="1122"/>
                    </a:lnTo>
                    <a:lnTo>
                      <a:pt x="1234" y="1124"/>
                    </a:lnTo>
                    <a:lnTo>
                      <a:pt x="1232" y="1124"/>
                    </a:lnTo>
                    <a:lnTo>
                      <a:pt x="1230" y="1124"/>
                    </a:lnTo>
                    <a:lnTo>
                      <a:pt x="1230" y="1122"/>
                    </a:lnTo>
                    <a:lnTo>
                      <a:pt x="1229" y="1122"/>
                    </a:lnTo>
                    <a:lnTo>
                      <a:pt x="1229" y="1121"/>
                    </a:lnTo>
                    <a:lnTo>
                      <a:pt x="1227" y="1121"/>
                    </a:lnTo>
                    <a:lnTo>
                      <a:pt x="1227" y="1119"/>
                    </a:lnTo>
                    <a:lnTo>
                      <a:pt x="1225" y="1117"/>
                    </a:lnTo>
                    <a:lnTo>
                      <a:pt x="1224" y="1117"/>
                    </a:lnTo>
                    <a:lnTo>
                      <a:pt x="1224" y="1116"/>
                    </a:lnTo>
                    <a:lnTo>
                      <a:pt x="1222" y="1116"/>
                    </a:lnTo>
                    <a:lnTo>
                      <a:pt x="1220" y="1116"/>
                    </a:lnTo>
                    <a:lnTo>
                      <a:pt x="1220" y="1117"/>
                    </a:lnTo>
                    <a:lnTo>
                      <a:pt x="1219" y="1117"/>
                    </a:lnTo>
                    <a:lnTo>
                      <a:pt x="1219" y="1119"/>
                    </a:lnTo>
                    <a:lnTo>
                      <a:pt x="1219" y="1117"/>
                    </a:lnTo>
                    <a:lnTo>
                      <a:pt x="1217" y="1117"/>
                    </a:lnTo>
                    <a:lnTo>
                      <a:pt x="1215" y="1117"/>
                    </a:lnTo>
                    <a:lnTo>
                      <a:pt x="1213" y="1116"/>
                    </a:lnTo>
                    <a:lnTo>
                      <a:pt x="1213" y="1114"/>
                    </a:lnTo>
                    <a:lnTo>
                      <a:pt x="1215" y="1116"/>
                    </a:lnTo>
                    <a:lnTo>
                      <a:pt x="1215" y="1117"/>
                    </a:lnTo>
                    <a:lnTo>
                      <a:pt x="1215" y="1116"/>
                    </a:lnTo>
                    <a:lnTo>
                      <a:pt x="1215" y="1114"/>
                    </a:lnTo>
                    <a:lnTo>
                      <a:pt x="1217" y="1114"/>
                    </a:lnTo>
                    <a:lnTo>
                      <a:pt x="1219" y="1114"/>
                    </a:lnTo>
                    <a:lnTo>
                      <a:pt x="1220" y="1114"/>
                    </a:lnTo>
                    <a:lnTo>
                      <a:pt x="1220" y="1112"/>
                    </a:lnTo>
                    <a:lnTo>
                      <a:pt x="1219" y="1112"/>
                    </a:lnTo>
                    <a:lnTo>
                      <a:pt x="1220" y="1112"/>
                    </a:lnTo>
                    <a:lnTo>
                      <a:pt x="1220" y="1111"/>
                    </a:lnTo>
                    <a:lnTo>
                      <a:pt x="1220" y="1109"/>
                    </a:lnTo>
                    <a:lnTo>
                      <a:pt x="1219" y="1109"/>
                    </a:lnTo>
                    <a:lnTo>
                      <a:pt x="1220" y="1109"/>
                    </a:lnTo>
                    <a:lnTo>
                      <a:pt x="1220" y="1107"/>
                    </a:lnTo>
                    <a:lnTo>
                      <a:pt x="1220" y="1109"/>
                    </a:lnTo>
                    <a:lnTo>
                      <a:pt x="1219" y="1109"/>
                    </a:lnTo>
                    <a:lnTo>
                      <a:pt x="1219" y="1107"/>
                    </a:lnTo>
                    <a:lnTo>
                      <a:pt x="1217" y="1107"/>
                    </a:lnTo>
                    <a:lnTo>
                      <a:pt x="1217" y="1105"/>
                    </a:lnTo>
                    <a:lnTo>
                      <a:pt x="1217" y="1104"/>
                    </a:lnTo>
                    <a:lnTo>
                      <a:pt x="1217" y="1102"/>
                    </a:lnTo>
                    <a:lnTo>
                      <a:pt x="1219" y="1102"/>
                    </a:lnTo>
                    <a:lnTo>
                      <a:pt x="1220" y="1102"/>
                    </a:lnTo>
                    <a:lnTo>
                      <a:pt x="1222" y="1102"/>
                    </a:lnTo>
                    <a:lnTo>
                      <a:pt x="1224" y="1102"/>
                    </a:lnTo>
                    <a:lnTo>
                      <a:pt x="1225" y="1100"/>
                    </a:lnTo>
                    <a:lnTo>
                      <a:pt x="1227" y="1102"/>
                    </a:lnTo>
                    <a:lnTo>
                      <a:pt x="1227" y="1100"/>
                    </a:lnTo>
                    <a:lnTo>
                      <a:pt x="1229" y="1100"/>
                    </a:lnTo>
                    <a:lnTo>
                      <a:pt x="1229" y="1099"/>
                    </a:lnTo>
                    <a:lnTo>
                      <a:pt x="1230" y="1099"/>
                    </a:lnTo>
                    <a:lnTo>
                      <a:pt x="1230" y="1097"/>
                    </a:lnTo>
                    <a:lnTo>
                      <a:pt x="1232" y="1097"/>
                    </a:lnTo>
                    <a:lnTo>
                      <a:pt x="1232" y="1099"/>
                    </a:lnTo>
                    <a:lnTo>
                      <a:pt x="1232" y="1097"/>
                    </a:lnTo>
                    <a:lnTo>
                      <a:pt x="1234" y="1097"/>
                    </a:lnTo>
                    <a:lnTo>
                      <a:pt x="1236" y="1095"/>
                    </a:lnTo>
                    <a:lnTo>
                      <a:pt x="1237" y="1094"/>
                    </a:lnTo>
                    <a:lnTo>
                      <a:pt x="1239" y="1092"/>
                    </a:lnTo>
                    <a:lnTo>
                      <a:pt x="1241" y="1092"/>
                    </a:lnTo>
                    <a:lnTo>
                      <a:pt x="1241" y="1090"/>
                    </a:lnTo>
                    <a:lnTo>
                      <a:pt x="1239" y="1088"/>
                    </a:lnTo>
                    <a:lnTo>
                      <a:pt x="1241" y="1087"/>
                    </a:lnTo>
                    <a:lnTo>
                      <a:pt x="1241" y="1085"/>
                    </a:lnTo>
                    <a:lnTo>
                      <a:pt x="1241" y="1083"/>
                    </a:lnTo>
                    <a:lnTo>
                      <a:pt x="1242" y="1082"/>
                    </a:lnTo>
                    <a:lnTo>
                      <a:pt x="1244" y="1082"/>
                    </a:lnTo>
                    <a:lnTo>
                      <a:pt x="1244" y="1080"/>
                    </a:lnTo>
                    <a:lnTo>
                      <a:pt x="1244" y="1082"/>
                    </a:lnTo>
                    <a:lnTo>
                      <a:pt x="1246" y="1082"/>
                    </a:lnTo>
                    <a:lnTo>
                      <a:pt x="1244" y="1080"/>
                    </a:lnTo>
                    <a:lnTo>
                      <a:pt x="1244" y="1078"/>
                    </a:lnTo>
                    <a:lnTo>
                      <a:pt x="1244" y="1077"/>
                    </a:lnTo>
                    <a:lnTo>
                      <a:pt x="1244" y="1075"/>
                    </a:lnTo>
                    <a:lnTo>
                      <a:pt x="1244" y="1073"/>
                    </a:lnTo>
                    <a:lnTo>
                      <a:pt x="1246" y="1071"/>
                    </a:lnTo>
                    <a:lnTo>
                      <a:pt x="1244" y="1071"/>
                    </a:lnTo>
                    <a:lnTo>
                      <a:pt x="1244" y="1073"/>
                    </a:lnTo>
                    <a:lnTo>
                      <a:pt x="1244" y="1075"/>
                    </a:lnTo>
                    <a:lnTo>
                      <a:pt x="1242" y="1077"/>
                    </a:lnTo>
                    <a:lnTo>
                      <a:pt x="1242" y="1078"/>
                    </a:lnTo>
                    <a:lnTo>
                      <a:pt x="1242" y="1080"/>
                    </a:lnTo>
                    <a:lnTo>
                      <a:pt x="1241" y="1080"/>
                    </a:lnTo>
                    <a:lnTo>
                      <a:pt x="1241" y="1082"/>
                    </a:lnTo>
                    <a:lnTo>
                      <a:pt x="1241" y="1080"/>
                    </a:lnTo>
                    <a:lnTo>
                      <a:pt x="1239" y="1080"/>
                    </a:lnTo>
                    <a:lnTo>
                      <a:pt x="1239" y="1078"/>
                    </a:lnTo>
                    <a:lnTo>
                      <a:pt x="1241" y="1078"/>
                    </a:lnTo>
                    <a:lnTo>
                      <a:pt x="1239" y="1078"/>
                    </a:lnTo>
                    <a:lnTo>
                      <a:pt x="1237" y="1078"/>
                    </a:lnTo>
                    <a:lnTo>
                      <a:pt x="1237" y="1077"/>
                    </a:lnTo>
                    <a:lnTo>
                      <a:pt x="1237" y="1075"/>
                    </a:lnTo>
                    <a:lnTo>
                      <a:pt x="1236" y="1075"/>
                    </a:lnTo>
                    <a:lnTo>
                      <a:pt x="1234" y="1075"/>
                    </a:lnTo>
                    <a:lnTo>
                      <a:pt x="1232" y="1073"/>
                    </a:lnTo>
                    <a:lnTo>
                      <a:pt x="1234" y="1073"/>
                    </a:lnTo>
                    <a:lnTo>
                      <a:pt x="1234" y="1071"/>
                    </a:lnTo>
                    <a:lnTo>
                      <a:pt x="1236" y="1071"/>
                    </a:lnTo>
                    <a:lnTo>
                      <a:pt x="1234" y="1071"/>
                    </a:lnTo>
                    <a:lnTo>
                      <a:pt x="1232" y="1071"/>
                    </a:lnTo>
                    <a:lnTo>
                      <a:pt x="1230" y="1071"/>
                    </a:lnTo>
                    <a:lnTo>
                      <a:pt x="1230" y="1070"/>
                    </a:lnTo>
                    <a:lnTo>
                      <a:pt x="1229" y="1070"/>
                    </a:lnTo>
                    <a:lnTo>
                      <a:pt x="1229" y="1068"/>
                    </a:lnTo>
                    <a:lnTo>
                      <a:pt x="1227" y="1068"/>
                    </a:lnTo>
                    <a:lnTo>
                      <a:pt x="1227" y="1070"/>
                    </a:lnTo>
                    <a:lnTo>
                      <a:pt x="1225" y="1070"/>
                    </a:lnTo>
                    <a:lnTo>
                      <a:pt x="1225" y="1068"/>
                    </a:lnTo>
                    <a:lnTo>
                      <a:pt x="1224" y="1068"/>
                    </a:lnTo>
                    <a:lnTo>
                      <a:pt x="1224" y="1066"/>
                    </a:lnTo>
                    <a:lnTo>
                      <a:pt x="1225" y="1066"/>
                    </a:lnTo>
                    <a:lnTo>
                      <a:pt x="1225" y="1068"/>
                    </a:lnTo>
                    <a:lnTo>
                      <a:pt x="1227" y="1068"/>
                    </a:lnTo>
                    <a:lnTo>
                      <a:pt x="1225" y="1066"/>
                    </a:lnTo>
                    <a:lnTo>
                      <a:pt x="1227" y="1066"/>
                    </a:lnTo>
                    <a:lnTo>
                      <a:pt x="1227" y="1065"/>
                    </a:lnTo>
                    <a:lnTo>
                      <a:pt x="1227" y="1066"/>
                    </a:lnTo>
                    <a:lnTo>
                      <a:pt x="1225" y="1065"/>
                    </a:lnTo>
                    <a:lnTo>
                      <a:pt x="1227" y="1065"/>
                    </a:lnTo>
                    <a:lnTo>
                      <a:pt x="1227" y="1063"/>
                    </a:lnTo>
                    <a:lnTo>
                      <a:pt x="1225" y="1063"/>
                    </a:lnTo>
                    <a:lnTo>
                      <a:pt x="1225" y="1065"/>
                    </a:lnTo>
                    <a:lnTo>
                      <a:pt x="1225" y="1066"/>
                    </a:lnTo>
                    <a:lnTo>
                      <a:pt x="1224" y="1066"/>
                    </a:lnTo>
                    <a:lnTo>
                      <a:pt x="1222" y="1066"/>
                    </a:lnTo>
                    <a:lnTo>
                      <a:pt x="1222" y="1065"/>
                    </a:lnTo>
                    <a:lnTo>
                      <a:pt x="1222" y="1066"/>
                    </a:lnTo>
                    <a:lnTo>
                      <a:pt x="1220" y="1066"/>
                    </a:lnTo>
                    <a:lnTo>
                      <a:pt x="1220" y="1065"/>
                    </a:lnTo>
                    <a:lnTo>
                      <a:pt x="1222" y="1065"/>
                    </a:lnTo>
                    <a:lnTo>
                      <a:pt x="1220" y="1065"/>
                    </a:lnTo>
                    <a:lnTo>
                      <a:pt x="1220" y="1063"/>
                    </a:lnTo>
                    <a:lnTo>
                      <a:pt x="1222" y="1061"/>
                    </a:lnTo>
                    <a:lnTo>
                      <a:pt x="1222" y="1063"/>
                    </a:lnTo>
                    <a:lnTo>
                      <a:pt x="1224" y="1065"/>
                    </a:lnTo>
                    <a:lnTo>
                      <a:pt x="1224" y="1063"/>
                    </a:lnTo>
                    <a:lnTo>
                      <a:pt x="1222" y="1061"/>
                    </a:lnTo>
                    <a:lnTo>
                      <a:pt x="1224" y="1060"/>
                    </a:lnTo>
                    <a:lnTo>
                      <a:pt x="1225" y="1060"/>
                    </a:lnTo>
                    <a:lnTo>
                      <a:pt x="1225" y="1061"/>
                    </a:lnTo>
                    <a:lnTo>
                      <a:pt x="1227" y="1061"/>
                    </a:lnTo>
                    <a:lnTo>
                      <a:pt x="1227" y="1060"/>
                    </a:lnTo>
                    <a:lnTo>
                      <a:pt x="1225" y="1060"/>
                    </a:lnTo>
                    <a:lnTo>
                      <a:pt x="1225" y="1058"/>
                    </a:lnTo>
                    <a:lnTo>
                      <a:pt x="1225" y="1056"/>
                    </a:lnTo>
                    <a:lnTo>
                      <a:pt x="1227" y="1056"/>
                    </a:lnTo>
                    <a:lnTo>
                      <a:pt x="1227" y="1054"/>
                    </a:lnTo>
                    <a:lnTo>
                      <a:pt x="1229" y="1054"/>
                    </a:lnTo>
                    <a:lnTo>
                      <a:pt x="1229" y="1053"/>
                    </a:lnTo>
                    <a:lnTo>
                      <a:pt x="1229" y="1051"/>
                    </a:lnTo>
                    <a:lnTo>
                      <a:pt x="1229" y="1049"/>
                    </a:lnTo>
                    <a:lnTo>
                      <a:pt x="1230" y="1049"/>
                    </a:lnTo>
                    <a:lnTo>
                      <a:pt x="1230" y="1048"/>
                    </a:lnTo>
                    <a:lnTo>
                      <a:pt x="1230" y="1046"/>
                    </a:lnTo>
                    <a:lnTo>
                      <a:pt x="1232" y="1046"/>
                    </a:lnTo>
                    <a:lnTo>
                      <a:pt x="1232" y="1048"/>
                    </a:lnTo>
                    <a:lnTo>
                      <a:pt x="1234" y="1048"/>
                    </a:lnTo>
                    <a:lnTo>
                      <a:pt x="1236" y="1048"/>
                    </a:lnTo>
                    <a:lnTo>
                      <a:pt x="1236" y="1049"/>
                    </a:lnTo>
                    <a:lnTo>
                      <a:pt x="1237" y="1048"/>
                    </a:lnTo>
                    <a:lnTo>
                      <a:pt x="1237" y="1049"/>
                    </a:lnTo>
                    <a:lnTo>
                      <a:pt x="1239" y="1049"/>
                    </a:lnTo>
                    <a:lnTo>
                      <a:pt x="1237" y="1049"/>
                    </a:lnTo>
                    <a:lnTo>
                      <a:pt x="1237" y="1048"/>
                    </a:lnTo>
                    <a:lnTo>
                      <a:pt x="1236" y="1048"/>
                    </a:lnTo>
                    <a:lnTo>
                      <a:pt x="1236" y="1046"/>
                    </a:lnTo>
                    <a:lnTo>
                      <a:pt x="1236" y="1044"/>
                    </a:lnTo>
                    <a:lnTo>
                      <a:pt x="1236" y="1043"/>
                    </a:lnTo>
                    <a:lnTo>
                      <a:pt x="1237" y="1043"/>
                    </a:lnTo>
                    <a:lnTo>
                      <a:pt x="1236" y="1043"/>
                    </a:lnTo>
                    <a:lnTo>
                      <a:pt x="1236" y="1041"/>
                    </a:lnTo>
                    <a:lnTo>
                      <a:pt x="1236" y="1043"/>
                    </a:lnTo>
                    <a:lnTo>
                      <a:pt x="1236" y="1044"/>
                    </a:lnTo>
                    <a:lnTo>
                      <a:pt x="1236" y="1046"/>
                    </a:lnTo>
                    <a:lnTo>
                      <a:pt x="1234" y="1046"/>
                    </a:lnTo>
                    <a:lnTo>
                      <a:pt x="1232" y="1046"/>
                    </a:lnTo>
                    <a:lnTo>
                      <a:pt x="1232" y="1048"/>
                    </a:lnTo>
                    <a:lnTo>
                      <a:pt x="1232" y="1046"/>
                    </a:lnTo>
                    <a:lnTo>
                      <a:pt x="1230" y="1046"/>
                    </a:lnTo>
                    <a:lnTo>
                      <a:pt x="1230" y="1044"/>
                    </a:lnTo>
                    <a:lnTo>
                      <a:pt x="1229" y="1044"/>
                    </a:lnTo>
                    <a:lnTo>
                      <a:pt x="1229" y="1043"/>
                    </a:lnTo>
                    <a:lnTo>
                      <a:pt x="1230" y="1043"/>
                    </a:lnTo>
                    <a:lnTo>
                      <a:pt x="1232" y="1041"/>
                    </a:lnTo>
                    <a:lnTo>
                      <a:pt x="1232" y="1039"/>
                    </a:lnTo>
                    <a:lnTo>
                      <a:pt x="1234" y="1039"/>
                    </a:lnTo>
                    <a:lnTo>
                      <a:pt x="1234" y="1037"/>
                    </a:lnTo>
                    <a:lnTo>
                      <a:pt x="1232" y="1039"/>
                    </a:lnTo>
                    <a:lnTo>
                      <a:pt x="1232" y="1037"/>
                    </a:lnTo>
                    <a:lnTo>
                      <a:pt x="1232" y="1039"/>
                    </a:lnTo>
                    <a:lnTo>
                      <a:pt x="1230" y="1037"/>
                    </a:lnTo>
                    <a:lnTo>
                      <a:pt x="1229" y="1037"/>
                    </a:lnTo>
                    <a:lnTo>
                      <a:pt x="1229" y="1036"/>
                    </a:lnTo>
                    <a:lnTo>
                      <a:pt x="1229" y="1034"/>
                    </a:lnTo>
                    <a:lnTo>
                      <a:pt x="1227" y="1032"/>
                    </a:lnTo>
                    <a:lnTo>
                      <a:pt x="1227" y="1031"/>
                    </a:lnTo>
                    <a:lnTo>
                      <a:pt x="1229" y="1029"/>
                    </a:lnTo>
                    <a:lnTo>
                      <a:pt x="1229" y="1027"/>
                    </a:lnTo>
                    <a:lnTo>
                      <a:pt x="1227" y="1027"/>
                    </a:lnTo>
                    <a:lnTo>
                      <a:pt x="1227" y="1026"/>
                    </a:lnTo>
                    <a:lnTo>
                      <a:pt x="1229" y="1026"/>
                    </a:lnTo>
                    <a:lnTo>
                      <a:pt x="1229" y="1024"/>
                    </a:lnTo>
                    <a:lnTo>
                      <a:pt x="1230" y="1024"/>
                    </a:lnTo>
                    <a:lnTo>
                      <a:pt x="1230" y="1022"/>
                    </a:lnTo>
                    <a:lnTo>
                      <a:pt x="1232" y="1022"/>
                    </a:lnTo>
                    <a:lnTo>
                      <a:pt x="1234" y="1022"/>
                    </a:lnTo>
                    <a:lnTo>
                      <a:pt x="1234" y="1020"/>
                    </a:lnTo>
                    <a:lnTo>
                      <a:pt x="1234" y="1019"/>
                    </a:lnTo>
                    <a:lnTo>
                      <a:pt x="1234" y="1017"/>
                    </a:lnTo>
                    <a:lnTo>
                      <a:pt x="1232" y="1017"/>
                    </a:lnTo>
                    <a:lnTo>
                      <a:pt x="1232" y="1015"/>
                    </a:lnTo>
                    <a:lnTo>
                      <a:pt x="1234" y="1015"/>
                    </a:lnTo>
                    <a:lnTo>
                      <a:pt x="1234" y="1014"/>
                    </a:lnTo>
                    <a:lnTo>
                      <a:pt x="1234" y="1012"/>
                    </a:lnTo>
                    <a:lnTo>
                      <a:pt x="1236" y="1012"/>
                    </a:lnTo>
                    <a:lnTo>
                      <a:pt x="1237" y="1012"/>
                    </a:lnTo>
                    <a:lnTo>
                      <a:pt x="1237" y="1014"/>
                    </a:lnTo>
                    <a:lnTo>
                      <a:pt x="1239" y="1014"/>
                    </a:lnTo>
                    <a:lnTo>
                      <a:pt x="1239" y="1012"/>
                    </a:lnTo>
                    <a:lnTo>
                      <a:pt x="1239" y="1010"/>
                    </a:lnTo>
                    <a:lnTo>
                      <a:pt x="1237" y="1010"/>
                    </a:lnTo>
                    <a:lnTo>
                      <a:pt x="1239" y="1010"/>
                    </a:lnTo>
                    <a:lnTo>
                      <a:pt x="1237" y="1010"/>
                    </a:lnTo>
                    <a:lnTo>
                      <a:pt x="1237" y="1009"/>
                    </a:lnTo>
                    <a:lnTo>
                      <a:pt x="1236" y="1009"/>
                    </a:lnTo>
                    <a:lnTo>
                      <a:pt x="1237" y="1007"/>
                    </a:lnTo>
                    <a:lnTo>
                      <a:pt x="1237" y="1009"/>
                    </a:lnTo>
                    <a:lnTo>
                      <a:pt x="1239" y="1009"/>
                    </a:lnTo>
                    <a:lnTo>
                      <a:pt x="1239" y="1007"/>
                    </a:lnTo>
                    <a:lnTo>
                      <a:pt x="1239" y="1005"/>
                    </a:lnTo>
                    <a:lnTo>
                      <a:pt x="1237" y="1005"/>
                    </a:lnTo>
                    <a:lnTo>
                      <a:pt x="1237" y="1003"/>
                    </a:lnTo>
                    <a:lnTo>
                      <a:pt x="1236" y="1003"/>
                    </a:lnTo>
                    <a:lnTo>
                      <a:pt x="1236" y="1002"/>
                    </a:lnTo>
                    <a:lnTo>
                      <a:pt x="1236" y="1000"/>
                    </a:lnTo>
                    <a:lnTo>
                      <a:pt x="1236" y="998"/>
                    </a:lnTo>
                    <a:lnTo>
                      <a:pt x="1236" y="997"/>
                    </a:lnTo>
                    <a:lnTo>
                      <a:pt x="1237" y="997"/>
                    </a:lnTo>
                    <a:lnTo>
                      <a:pt x="1237" y="995"/>
                    </a:lnTo>
                    <a:lnTo>
                      <a:pt x="1236" y="995"/>
                    </a:lnTo>
                    <a:lnTo>
                      <a:pt x="1236" y="993"/>
                    </a:lnTo>
                    <a:lnTo>
                      <a:pt x="1236" y="992"/>
                    </a:lnTo>
                    <a:lnTo>
                      <a:pt x="1236" y="990"/>
                    </a:lnTo>
                    <a:lnTo>
                      <a:pt x="1236" y="988"/>
                    </a:lnTo>
                    <a:lnTo>
                      <a:pt x="1237" y="988"/>
                    </a:lnTo>
                    <a:lnTo>
                      <a:pt x="1239" y="988"/>
                    </a:lnTo>
                    <a:lnTo>
                      <a:pt x="1241" y="988"/>
                    </a:lnTo>
                    <a:lnTo>
                      <a:pt x="1242" y="990"/>
                    </a:lnTo>
                    <a:lnTo>
                      <a:pt x="1244" y="990"/>
                    </a:lnTo>
                    <a:lnTo>
                      <a:pt x="1244" y="992"/>
                    </a:lnTo>
                    <a:lnTo>
                      <a:pt x="1246" y="992"/>
                    </a:lnTo>
                    <a:lnTo>
                      <a:pt x="1247" y="992"/>
                    </a:lnTo>
                    <a:lnTo>
                      <a:pt x="1247" y="990"/>
                    </a:lnTo>
                    <a:lnTo>
                      <a:pt x="1246" y="992"/>
                    </a:lnTo>
                    <a:lnTo>
                      <a:pt x="1246" y="990"/>
                    </a:lnTo>
                    <a:lnTo>
                      <a:pt x="1244" y="990"/>
                    </a:lnTo>
                    <a:lnTo>
                      <a:pt x="1244" y="988"/>
                    </a:lnTo>
                    <a:lnTo>
                      <a:pt x="1242" y="988"/>
                    </a:lnTo>
                    <a:lnTo>
                      <a:pt x="1242" y="986"/>
                    </a:lnTo>
                    <a:lnTo>
                      <a:pt x="1241" y="986"/>
                    </a:lnTo>
                    <a:lnTo>
                      <a:pt x="1241" y="985"/>
                    </a:lnTo>
                    <a:lnTo>
                      <a:pt x="1241" y="983"/>
                    </a:lnTo>
                    <a:lnTo>
                      <a:pt x="1239" y="983"/>
                    </a:lnTo>
                    <a:lnTo>
                      <a:pt x="1237" y="981"/>
                    </a:lnTo>
                    <a:lnTo>
                      <a:pt x="1237" y="980"/>
                    </a:lnTo>
                    <a:lnTo>
                      <a:pt x="1237" y="978"/>
                    </a:lnTo>
                    <a:lnTo>
                      <a:pt x="1237" y="980"/>
                    </a:lnTo>
                    <a:lnTo>
                      <a:pt x="1236" y="980"/>
                    </a:lnTo>
                    <a:lnTo>
                      <a:pt x="1236" y="978"/>
                    </a:lnTo>
                    <a:lnTo>
                      <a:pt x="1237" y="978"/>
                    </a:lnTo>
                    <a:lnTo>
                      <a:pt x="1237" y="976"/>
                    </a:lnTo>
                    <a:lnTo>
                      <a:pt x="1239" y="976"/>
                    </a:lnTo>
                    <a:lnTo>
                      <a:pt x="1239" y="975"/>
                    </a:lnTo>
                    <a:lnTo>
                      <a:pt x="1241" y="975"/>
                    </a:lnTo>
                    <a:lnTo>
                      <a:pt x="1242" y="975"/>
                    </a:lnTo>
                    <a:lnTo>
                      <a:pt x="1244" y="975"/>
                    </a:lnTo>
                    <a:lnTo>
                      <a:pt x="1244" y="973"/>
                    </a:lnTo>
                    <a:lnTo>
                      <a:pt x="1244" y="975"/>
                    </a:lnTo>
                    <a:lnTo>
                      <a:pt x="1246" y="975"/>
                    </a:lnTo>
                    <a:lnTo>
                      <a:pt x="1246" y="976"/>
                    </a:lnTo>
                    <a:lnTo>
                      <a:pt x="1246" y="978"/>
                    </a:lnTo>
                    <a:lnTo>
                      <a:pt x="1246" y="980"/>
                    </a:lnTo>
                    <a:lnTo>
                      <a:pt x="1247" y="981"/>
                    </a:lnTo>
                    <a:lnTo>
                      <a:pt x="1247" y="983"/>
                    </a:lnTo>
                    <a:lnTo>
                      <a:pt x="1249" y="983"/>
                    </a:lnTo>
                    <a:lnTo>
                      <a:pt x="1249" y="985"/>
                    </a:lnTo>
                    <a:lnTo>
                      <a:pt x="1249" y="986"/>
                    </a:lnTo>
                    <a:lnTo>
                      <a:pt x="1249" y="988"/>
                    </a:lnTo>
                    <a:lnTo>
                      <a:pt x="1249" y="986"/>
                    </a:lnTo>
                    <a:lnTo>
                      <a:pt x="1251" y="986"/>
                    </a:lnTo>
                    <a:lnTo>
                      <a:pt x="1249" y="986"/>
                    </a:lnTo>
                    <a:lnTo>
                      <a:pt x="1249" y="985"/>
                    </a:lnTo>
                    <a:lnTo>
                      <a:pt x="1249" y="983"/>
                    </a:lnTo>
                    <a:lnTo>
                      <a:pt x="1249" y="981"/>
                    </a:lnTo>
                    <a:lnTo>
                      <a:pt x="1249" y="980"/>
                    </a:lnTo>
                    <a:lnTo>
                      <a:pt x="1247" y="980"/>
                    </a:lnTo>
                    <a:lnTo>
                      <a:pt x="1247" y="978"/>
                    </a:lnTo>
                    <a:lnTo>
                      <a:pt x="1249" y="976"/>
                    </a:lnTo>
                    <a:lnTo>
                      <a:pt x="1251" y="976"/>
                    </a:lnTo>
                    <a:lnTo>
                      <a:pt x="1249" y="976"/>
                    </a:lnTo>
                    <a:lnTo>
                      <a:pt x="1249" y="975"/>
                    </a:lnTo>
                    <a:lnTo>
                      <a:pt x="1247" y="975"/>
                    </a:lnTo>
                    <a:lnTo>
                      <a:pt x="1249" y="973"/>
                    </a:lnTo>
                    <a:lnTo>
                      <a:pt x="1251" y="973"/>
                    </a:lnTo>
                    <a:lnTo>
                      <a:pt x="1253" y="973"/>
                    </a:lnTo>
                    <a:lnTo>
                      <a:pt x="1251" y="973"/>
                    </a:lnTo>
                    <a:lnTo>
                      <a:pt x="1251" y="971"/>
                    </a:lnTo>
                    <a:lnTo>
                      <a:pt x="1251" y="973"/>
                    </a:lnTo>
                    <a:lnTo>
                      <a:pt x="1249" y="973"/>
                    </a:lnTo>
                    <a:lnTo>
                      <a:pt x="1247" y="971"/>
                    </a:lnTo>
                    <a:lnTo>
                      <a:pt x="1247" y="969"/>
                    </a:lnTo>
                    <a:lnTo>
                      <a:pt x="1249" y="969"/>
                    </a:lnTo>
                    <a:lnTo>
                      <a:pt x="1247" y="968"/>
                    </a:lnTo>
                    <a:lnTo>
                      <a:pt x="1249" y="968"/>
                    </a:lnTo>
                    <a:lnTo>
                      <a:pt x="1249" y="966"/>
                    </a:lnTo>
                    <a:lnTo>
                      <a:pt x="1249" y="964"/>
                    </a:lnTo>
                    <a:lnTo>
                      <a:pt x="1247" y="963"/>
                    </a:lnTo>
                    <a:lnTo>
                      <a:pt x="1246" y="964"/>
                    </a:lnTo>
                    <a:lnTo>
                      <a:pt x="1246" y="966"/>
                    </a:lnTo>
                    <a:lnTo>
                      <a:pt x="1244" y="966"/>
                    </a:lnTo>
                    <a:lnTo>
                      <a:pt x="1244" y="964"/>
                    </a:lnTo>
                    <a:lnTo>
                      <a:pt x="1244" y="966"/>
                    </a:lnTo>
                    <a:lnTo>
                      <a:pt x="1242" y="966"/>
                    </a:lnTo>
                    <a:lnTo>
                      <a:pt x="1242" y="964"/>
                    </a:lnTo>
                    <a:lnTo>
                      <a:pt x="1241" y="964"/>
                    </a:lnTo>
                    <a:lnTo>
                      <a:pt x="1241" y="966"/>
                    </a:lnTo>
                    <a:lnTo>
                      <a:pt x="1239" y="964"/>
                    </a:lnTo>
                    <a:lnTo>
                      <a:pt x="1237" y="964"/>
                    </a:lnTo>
                    <a:lnTo>
                      <a:pt x="1236" y="963"/>
                    </a:lnTo>
                    <a:lnTo>
                      <a:pt x="1237" y="963"/>
                    </a:lnTo>
                    <a:lnTo>
                      <a:pt x="1236" y="961"/>
                    </a:lnTo>
                    <a:lnTo>
                      <a:pt x="1234" y="961"/>
                    </a:lnTo>
                    <a:lnTo>
                      <a:pt x="1236" y="961"/>
                    </a:lnTo>
                    <a:lnTo>
                      <a:pt x="1236" y="959"/>
                    </a:lnTo>
                    <a:lnTo>
                      <a:pt x="1237" y="959"/>
                    </a:lnTo>
                    <a:lnTo>
                      <a:pt x="1237" y="957"/>
                    </a:lnTo>
                    <a:lnTo>
                      <a:pt x="1237" y="956"/>
                    </a:lnTo>
                    <a:lnTo>
                      <a:pt x="1239" y="956"/>
                    </a:lnTo>
                    <a:lnTo>
                      <a:pt x="1241" y="956"/>
                    </a:lnTo>
                    <a:lnTo>
                      <a:pt x="1241" y="954"/>
                    </a:lnTo>
                    <a:lnTo>
                      <a:pt x="1242" y="952"/>
                    </a:lnTo>
                    <a:lnTo>
                      <a:pt x="1244" y="952"/>
                    </a:lnTo>
                    <a:lnTo>
                      <a:pt x="1246" y="952"/>
                    </a:lnTo>
                    <a:lnTo>
                      <a:pt x="1247" y="952"/>
                    </a:lnTo>
                    <a:lnTo>
                      <a:pt x="1249" y="952"/>
                    </a:lnTo>
                    <a:lnTo>
                      <a:pt x="1249" y="951"/>
                    </a:lnTo>
                    <a:lnTo>
                      <a:pt x="1251" y="951"/>
                    </a:lnTo>
                    <a:lnTo>
                      <a:pt x="1253" y="949"/>
                    </a:lnTo>
                    <a:lnTo>
                      <a:pt x="1253" y="947"/>
                    </a:lnTo>
                    <a:lnTo>
                      <a:pt x="1253" y="946"/>
                    </a:lnTo>
                    <a:lnTo>
                      <a:pt x="1253" y="944"/>
                    </a:lnTo>
                    <a:lnTo>
                      <a:pt x="1254" y="944"/>
                    </a:lnTo>
                    <a:lnTo>
                      <a:pt x="1254" y="942"/>
                    </a:lnTo>
                    <a:lnTo>
                      <a:pt x="1253" y="942"/>
                    </a:lnTo>
                    <a:lnTo>
                      <a:pt x="1253" y="940"/>
                    </a:lnTo>
                    <a:lnTo>
                      <a:pt x="1254" y="939"/>
                    </a:lnTo>
                    <a:lnTo>
                      <a:pt x="1254" y="937"/>
                    </a:lnTo>
                    <a:lnTo>
                      <a:pt x="1253" y="937"/>
                    </a:lnTo>
                    <a:lnTo>
                      <a:pt x="1253" y="939"/>
                    </a:lnTo>
                    <a:lnTo>
                      <a:pt x="1253" y="937"/>
                    </a:lnTo>
                    <a:lnTo>
                      <a:pt x="1254" y="939"/>
                    </a:lnTo>
                    <a:lnTo>
                      <a:pt x="1253" y="939"/>
                    </a:lnTo>
                    <a:lnTo>
                      <a:pt x="1253" y="940"/>
                    </a:lnTo>
                    <a:lnTo>
                      <a:pt x="1253" y="942"/>
                    </a:lnTo>
                    <a:lnTo>
                      <a:pt x="1253" y="944"/>
                    </a:lnTo>
                    <a:lnTo>
                      <a:pt x="1253" y="946"/>
                    </a:lnTo>
                    <a:lnTo>
                      <a:pt x="1253" y="947"/>
                    </a:lnTo>
                    <a:lnTo>
                      <a:pt x="1251" y="947"/>
                    </a:lnTo>
                    <a:lnTo>
                      <a:pt x="1251" y="949"/>
                    </a:lnTo>
                    <a:lnTo>
                      <a:pt x="1249" y="949"/>
                    </a:lnTo>
                    <a:lnTo>
                      <a:pt x="1249" y="951"/>
                    </a:lnTo>
                    <a:lnTo>
                      <a:pt x="1249" y="949"/>
                    </a:lnTo>
                    <a:lnTo>
                      <a:pt x="1247" y="951"/>
                    </a:lnTo>
                    <a:lnTo>
                      <a:pt x="1246" y="951"/>
                    </a:lnTo>
                    <a:lnTo>
                      <a:pt x="1244" y="952"/>
                    </a:lnTo>
                    <a:lnTo>
                      <a:pt x="1244" y="951"/>
                    </a:lnTo>
                    <a:lnTo>
                      <a:pt x="1242" y="951"/>
                    </a:lnTo>
                    <a:lnTo>
                      <a:pt x="1241" y="949"/>
                    </a:lnTo>
                    <a:lnTo>
                      <a:pt x="1241" y="947"/>
                    </a:lnTo>
                    <a:lnTo>
                      <a:pt x="1241" y="946"/>
                    </a:lnTo>
                    <a:lnTo>
                      <a:pt x="1239" y="946"/>
                    </a:lnTo>
                    <a:lnTo>
                      <a:pt x="1239" y="944"/>
                    </a:lnTo>
                    <a:lnTo>
                      <a:pt x="1237" y="944"/>
                    </a:lnTo>
                    <a:lnTo>
                      <a:pt x="1237" y="942"/>
                    </a:lnTo>
                    <a:lnTo>
                      <a:pt x="1236" y="942"/>
                    </a:lnTo>
                    <a:lnTo>
                      <a:pt x="1234" y="942"/>
                    </a:lnTo>
                    <a:lnTo>
                      <a:pt x="1232" y="940"/>
                    </a:lnTo>
                    <a:lnTo>
                      <a:pt x="1230" y="942"/>
                    </a:lnTo>
                    <a:lnTo>
                      <a:pt x="1229" y="942"/>
                    </a:lnTo>
                    <a:lnTo>
                      <a:pt x="1229" y="944"/>
                    </a:lnTo>
                    <a:lnTo>
                      <a:pt x="1229" y="946"/>
                    </a:lnTo>
                    <a:lnTo>
                      <a:pt x="1227" y="946"/>
                    </a:lnTo>
                    <a:lnTo>
                      <a:pt x="1227" y="947"/>
                    </a:lnTo>
                    <a:lnTo>
                      <a:pt x="1229" y="949"/>
                    </a:lnTo>
                    <a:lnTo>
                      <a:pt x="1227" y="949"/>
                    </a:lnTo>
                    <a:lnTo>
                      <a:pt x="1229" y="951"/>
                    </a:lnTo>
                    <a:lnTo>
                      <a:pt x="1229" y="952"/>
                    </a:lnTo>
                    <a:lnTo>
                      <a:pt x="1227" y="951"/>
                    </a:lnTo>
                    <a:lnTo>
                      <a:pt x="1227" y="952"/>
                    </a:lnTo>
                    <a:lnTo>
                      <a:pt x="1225" y="954"/>
                    </a:lnTo>
                    <a:lnTo>
                      <a:pt x="1225" y="952"/>
                    </a:lnTo>
                    <a:lnTo>
                      <a:pt x="1225" y="951"/>
                    </a:lnTo>
                    <a:lnTo>
                      <a:pt x="1225" y="952"/>
                    </a:lnTo>
                    <a:lnTo>
                      <a:pt x="1224" y="952"/>
                    </a:lnTo>
                    <a:lnTo>
                      <a:pt x="1225" y="954"/>
                    </a:lnTo>
                    <a:lnTo>
                      <a:pt x="1224" y="954"/>
                    </a:lnTo>
                    <a:lnTo>
                      <a:pt x="1225" y="954"/>
                    </a:lnTo>
                    <a:lnTo>
                      <a:pt x="1225" y="956"/>
                    </a:lnTo>
                    <a:lnTo>
                      <a:pt x="1224" y="954"/>
                    </a:lnTo>
                    <a:lnTo>
                      <a:pt x="1224" y="956"/>
                    </a:lnTo>
                    <a:lnTo>
                      <a:pt x="1222" y="956"/>
                    </a:lnTo>
                    <a:lnTo>
                      <a:pt x="1222" y="954"/>
                    </a:lnTo>
                    <a:lnTo>
                      <a:pt x="1222" y="952"/>
                    </a:lnTo>
                    <a:lnTo>
                      <a:pt x="1224" y="952"/>
                    </a:lnTo>
                    <a:lnTo>
                      <a:pt x="1224" y="954"/>
                    </a:lnTo>
                    <a:lnTo>
                      <a:pt x="1224" y="952"/>
                    </a:lnTo>
                    <a:lnTo>
                      <a:pt x="1222" y="952"/>
                    </a:lnTo>
                    <a:lnTo>
                      <a:pt x="1222" y="954"/>
                    </a:lnTo>
                    <a:lnTo>
                      <a:pt x="1222" y="956"/>
                    </a:lnTo>
                    <a:lnTo>
                      <a:pt x="1220" y="954"/>
                    </a:lnTo>
                    <a:lnTo>
                      <a:pt x="1219" y="954"/>
                    </a:lnTo>
                    <a:lnTo>
                      <a:pt x="1217" y="954"/>
                    </a:lnTo>
                    <a:lnTo>
                      <a:pt x="1219" y="956"/>
                    </a:lnTo>
                    <a:lnTo>
                      <a:pt x="1217" y="956"/>
                    </a:lnTo>
                    <a:lnTo>
                      <a:pt x="1215" y="954"/>
                    </a:lnTo>
                    <a:lnTo>
                      <a:pt x="1215" y="956"/>
                    </a:lnTo>
                    <a:lnTo>
                      <a:pt x="1213" y="956"/>
                    </a:lnTo>
                    <a:lnTo>
                      <a:pt x="1212" y="954"/>
                    </a:lnTo>
                    <a:lnTo>
                      <a:pt x="1210" y="954"/>
                    </a:lnTo>
                    <a:lnTo>
                      <a:pt x="1208" y="954"/>
                    </a:lnTo>
                    <a:lnTo>
                      <a:pt x="1207" y="954"/>
                    </a:lnTo>
                    <a:lnTo>
                      <a:pt x="1207" y="952"/>
                    </a:lnTo>
                    <a:lnTo>
                      <a:pt x="1207" y="954"/>
                    </a:lnTo>
                    <a:lnTo>
                      <a:pt x="1205" y="952"/>
                    </a:lnTo>
                    <a:lnTo>
                      <a:pt x="1207" y="952"/>
                    </a:lnTo>
                    <a:lnTo>
                      <a:pt x="1207" y="951"/>
                    </a:lnTo>
                    <a:lnTo>
                      <a:pt x="1207" y="949"/>
                    </a:lnTo>
                    <a:lnTo>
                      <a:pt x="1207" y="947"/>
                    </a:lnTo>
                    <a:lnTo>
                      <a:pt x="1207" y="949"/>
                    </a:lnTo>
                    <a:lnTo>
                      <a:pt x="1208" y="949"/>
                    </a:lnTo>
                    <a:lnTo>
                      <a:pt x="1207" y="949"/>
                    </a:lnTo>
                    <a:lnTo>
                      <a:pt x="1207" y="951"/>
                    </a:lnTo>
                    <a:lnTo>
                      <a:pt x="1208" y="949"/>
                    </a:lnTo>
                    <a:lnTo>
                      <a:pt x="1207" y="949"/>
                    </a:lnTo>
                    <a:lnTo>
                      <a:pt x="1208" y="947"/>
                    </a:lnTo>
                    <a:lnTo>
                      <a:pt x="1210" y="947"/>
                    </a:lnTo>
                    <a:lnTo>
                      <a:pt x="1210" y="949"/>
                    </a:lnTo>
                    <a:lnTo>
                      <a:pt x="1212" y="949"/>
                    </a:lnTo>
                    <a:lnTo>
                      <a:pt x="1210" y="947"/>
                    </a:lnTo>
                    <a:lnTo>
                      <a:pt x="1212" y="947"/>
                    </a:lnTo>
                    <a:lnTo>
                      <a:pt x="1210" y="947"/>
                    </a:lnTo>
                    <a:lnTo>
                      <a:pt x="1212" y="947"/>
                    </a:lnTo>
                    <a:lnTo>
                      <a:pt x="1213" y="947"/>
                    </a:lnTo>
                    <a:lnTo>
                      <a:pt x="1212" y="947"/>
                    </a:lnTo>
                    <a:lnTo>
                      <a:pt x="1213" y="946"/>
                    </a:lnTo>
                    <a:lnTo>
                      <a:pt x="1213" y="944"/>
                    </a:lnTo>
                    <a:lnTo>
                      <a:pt x="1215" y="942"/>
                    </a:lnTo>
                    <a:lnTo>
                      <a:pt x="1217" y="942"/>
                    </a:lnTo>
                    <a:lnTo>
                      <a:pt x="1219" y="942"/>
                    </a:lnTo>
                    <a:lnTo>
                      <a:pt x="1217" y="942"/>
                    </a:lnTo>
                    <a:lnTo>
                      <a:pt x="1215" y="942"/>
                    </a:lnTo>
                    <a:lnTo>
                      <a:pt x="1213" y="942"/>
                    </a:lnTo>
                    <a:lnTo>
                      <a:pt x="1213" y="944"/>
                    </a:lnTo>
                    <a:lnTo>
                      <a:pt x="1212" y="946"/>
                    </a:lnTo>
                    <a:lnTo>
                      <a:pt x="1210" y="946"/>
                    </a:lnTo>
                    <a:lnTo>
                      <a:pt x="1210" y="947"/>
                    </a:lnTo>
                    <a:lnTo>
                      <a:pt x="1208" y="946"/>
                    </a:lnTo>
                    <a:lnTo>
                      <a:pt x="1208" y="944"/>
                    </a:lnTo>
                    <a:lnTo>
                      <a:pt x="1210" y="944"/>
                    </a:lnTo>
                    <a:lnTo>
                      <a:pt x="1208" y="944"/>
                    </a:lnTo>
                    <a:lnTo>
                      <a:pt x="1207" y="942"/>
                    </a:lnTo>
                    <a:lnTo>
                      <a:pt x="1207" y="944"/>
                    </a:lnTo>
                    <a:lnTo>
                      <a:pt x="1207" y="946"/>
                    </a:lnTo>
                    <a:lnTo>
                      <a:pt x="1208" y="946"/>
                    </a:lnTo>
                    <a:lnTo>
                      <a:pt x="1207" y="947"/>
                    </a:lnTo>
                    <a:lnTo>
                      <a:pt x="1207" y="946"/>
                    </a:lnTo>
                    <a:lnTo>
                      <a:pt x="1205" y="946"/>
                    </a:lnTo>
                    <a:lnTo>
                      <a:pt x="1205" y="944"/>
                    </a:lnTo>
                    <a:lnTo>
                      <a:pt x="1203" y="944"/>
                    </a:lnTo>
                    <a:lnTo>
                      <a:pt x="1203" y="946"/>
                    </a:lnTo>
                    <a:lnTo>
                      <a:pt x="1203" y="944"/>
                    </a:lnTo>
                    <a:lnTo>
                      <a:pt x="1203" y="942"/>
                    </a:lnTo>
                    <a:lnTo>
                      <a:pt x="1202" y="942"/>
                    </a:lnTo>
                    <a:lnTo>
                      <a:pt x="1202" y="940"/>
                    </a:lnTo>
                    <a:lnTo>
                      <a:pt x="1202" y="939"/>
                    </a:lnTo>
                    <a:lnTo>
                      <a:pt x="1202" y="937"/>
                    </a:lnTo>
                    <a:lnTo>
                      <a:pt x="1202" y="935"/>
                    </a:lnTo>
                    <a:lnTo>
                      <a:pt x="1202" y="934"/>
                    </a:lnTo>
                    <a:lnTo>
                      <a:pt x="1202" y="932"/>
                    </a:lnTo>
                    <a:lnTo>
                      <a:pt x="1202" y="930"/>
                    </a:lnTo>
                    <a:lnTo>
                      <a:pt x="1200" y="930"/>
                    </a:lnTo>
                    <a:lnTo>
                      <a:pt x="1200" y="929"/>
                    </a:lnTo>
                    <a:lnTo>
                      <a:pt x="1200" y="927"/>
                    </a:lnTo>
                    <a:lnTo>
                      <a:pt x="1198" y="925"/>
                    </a:lnTo>
                    <a:lnTo>
                      <a:pt x="1200" y="925"/>
                    </a:lnTo>
                    <a:lnTo>
                      <a:pt x="1198" y="925"/>
                    </a:lnTo>
                    <a:lnTo>
                      <a:pt x="1198" y="923"/>
                    </a:lnTo>
                    <a:lnTo>
                      <a:pt x="1198" y="922"/>
                    </a:lnTo>
                    <a:lnTo>
                      <a:pt x="1198" y="920"/>
                    </a:lnTo>
                    <a:lnTo>
                      <a:pt x="1198" y="918"/>
                    </a:lnTo>
                    <a:lnTo>
                      <a:pt x="1200" y="917"/>
                    </a:lnTo>
                    <a:lnTo>
                      <a:pt x="1202" y="917"/>
                    </a:lnTo>
                    <a:lnTo>
                      <a:pt x="1202" y="915"/>
                    </a:lnTo>
                    <a:lnTo>
                      <a:pt x="1200" y="915"/>
                    </a:lnTo>
                    <a:lnTo>
                      <a:pt x="1200" y="913"/>
                    </a:lnTo>
                    <a:lnTo>
                      <a:pt x="1200" y="912"/>
                    </a:lnTo>
                    <a:lnTo>
                      <a:pt x="1202" y="912"/>
                    </a:lnTo>
                    <a:lnTo>
                      <a:pt x="1200" y="912"/>
                    </a:lnTo>
                    <a:lnTo>
                      <a:pt x="1202" y="910"/>
                    </a:lnTo>
                    <a:lnTo>
                      <a:pt x="1202" y="908"/>
                    </a:lnTo>
                    <a:lnTo>
                      <a:pt x="1202" y="906"/>
                    </a:lnTo>
                    <a:lnTo>
                      <a:pt x="1203" y="906"/>
                    </a:lnTo>
                    <a:lnTo>
                      <a:pt x="1202" y="905"/>
                    </a:lnTo>
                    <a:lnTo>
                      <a:pt x="1203" y="905"/>
                    </a:lnTo>
                    <a:lnTo>
                      <a:pt x="1203" y="903"/>
                    </a:lnTo>
                    <a:lnTo>
                      <a:pt x="1205" y="903"/>
                    </a:lnTo>
                    <a:lnTo>
                      <a:pt x="1205" y="901"/>
                    </a:lnTo>
                    <a:lnTo>
                      <a:pt x="1205" y="900"/>
                    </a:lnTo>
                    <a:lnTo>
                      <a:pt x="1207" y="898"/>
                    </a:lnTo>
                    <a:lnTo>
                      <a:pt x="1205" y="898"/>
                    </a:lnTo>
                    <a:lnTo>
                      <a:pt x="1205" y="896"/>
                    </a:lnTo>
                    <a:lnTo>
                      <a:pt x="1203" y="896"/>
                    </a:lnTo>
                    <a:lnTo>
                      <a:pt x="1203" y="895"/>
                    </a:lnTo>
                    <a:lnTo>
                      <a:pt x="1205" y="895"/>
                    </a:lnTo>
                    <a:lnTo>
                      <a:pt x="1205" y="893"/>
                    </a:lnTo>
                    <a:lnTo>
                      <a:pt x="1205" y="891"/>
                    </a:lnTo>
                    <a:lnTo>
                      <a:pt x="1205" y="889"/>
                    </a:lnTo>
                    <a:lnTo>
                      <a:pt x="1205" y="888"/>
                    </a:lnTo>
                    <a:lnTo>
                      <a:pt x="1205" y="886"/>
                    </a:lnTo>
                    <a:lnTo>
                      <a:pt x="1207" y="886"/>
                    </a:lnTo>
                    <a:lnTo>
                      <a:pt x="1205" y="886"/>
                    </a:lnTo>
                    <a:lnTo>
                      <a:pt x="1207" y="884"/>
                    </a:lnTo>
                    <a:lnTo>
                      <a:pt x="1205" y="884"/>
                    </a:lnTo>
                    <a:lnTo>
                      <a:pt x="1207" y="884"/>
                    </a:lnTo>
                    <a:lnTo>
                      <a:pt x="1207" y="883"/>
                    </a:lnTo>
                    <a:lnTo>
                      <a:pt x="1208" y="883"/>
                    </a:lnTo>
                    <a:lnTo>
                      <a:pt x="1208" y="881"/>
                    </a:lnTo>
                    <a:lnTo>
                      <a:pt x="1208" y="879"/>
                    </a:lnTo>
                    <a:lnTo>
                      <a:pt x="1208" y="878"/>
                    </a:lnTo>
                    <a:lnTo>
                      <a:pt x="1207" y="878"/>
                    </a:lnTo>
                    <a:lnTo>
                      <a:pt x="1207" y="876"/>
                    </a:lnTo>
                    <a:lnTo>
                      <a:pt x="1207" y="874"/>
                    </a:lnTo>
                    <a:lnTo>
                      <a:pt x="1208" y="872"/>
                    </a:lnTo>
                    <a:lnTo>
                      <a:pt x="1210" y="872"/>
                    </a:lnTo>
                    <a:lnTo>
                      <a:pt x="1212" y="872"/>
                    </a:lnTo>
                    <a:lnTo>
                      <a:pt x="1212" y="871"/>
                    </a:lnTo>
                    <a:lnTo>
                      <a:pt x="1213" y="871"/>
                    </a:lnTo>
                    <a:lnTo>
                      <a:pt x="1213" y="869"/>
                    </a:lnTo>
                    <a:lnTo>
                      <a:pt x="1215" y="869"/>
                    </a:lnTo>
                    <a:lnTo>
                      <a:pt x="1215" y="871"/>
                    </a:lnTo>
                    <a:lnTo>
                      <a:pt x="1217" y="871"/>
                    </a:lnTo>
                    <a:lnTo>
                      <a:pt x="1217" y="872"/>
                    </a:lnTo>
                    <a:lnTo>
                      <a:pt x="1217" y="871"/>
                    </a:lnTo>
                    <a:lnTo>
                      <a:pt x="1217" y="872"/>
                    </a:lnTo>
                    <a:lnTo>
                      <a:pt x="1217" y="871"/>
                    </a:lnTo>
                    <a:lnTo>
                      <a:pt x="1219" y="871"/>
                    </a:lnTo>
                    <a:lnTo>
                      <a:pt x="1217" y="871"/>
                    </a:lnTo>
                    <a:lnTo>
                      <a:pt x="1217" y="869"/>
                    </a:lnTo>
                    <a:lnTo>
                      <a:pt x="1219" y="869"/>
                    </a:lnTo>
                    <a:lnTo>
                      <a:pt x="1220" y="869"/>
                    </a:lnTo>
                    <a:lnTo>
                      <a:pt x="1222" y="869"/>
                    </a:lnTo>
                    <a:lnTo>
                      <a:pt x="1220" y="867"/>
                    </a:lnTo>
                    <a:lnTo>
                      <a:pt x="1220" y="869"/>
                    </a:lnTo>
                    <a:lnTo>
                      <a:pt x="1219" y="869"/>
                    </a:lnTo>
                    <a:lnTo>
                      <a:pt x="1217" y="869"/>
                    </a:lnTo>
                    <a:lnTo>
                      <a:pt x="1217" y="867"/>
                    </a:lnTo>
                    <a:lnTo>
                      <a:pt x="1217" y="866"/>
                    </a:lnTo>
                    <a:lnTo>
                      <a:pt x="1217" y="864"/>
                    </a:lnTo>
                    <a:lnTo>
                      <a:pt x="1217" y="862"/>
                    </a:lnTo>
                    <a:lnTo>
                      <a:pt x="1217" y="861"/>
                    </a:lnTo>
                    <a:lnTo>
                      <a:pt x="1219" y="861"/>
                    </a:lnTo>
                    <a:lnTo>
                      <a:pt x="1219" y="859"/>
                    </a:lnTo>
                    <a:lnTo>
                      <a:pt x="1220" y="859"/>
                    </a:lnTo>
                    <a:lnTo>
                      <a:pt x="1220" y="857"/>
                    </a:lnTo>
                    <a:lnTo>
                      <a:pt x="1220" y="855"/>
                    </a:lnTo>
                    <a:lnTo>
                      <a:pt x="1222" y="855"/>
                    </a:lnTo>
                    <a:lnTo>
                      <a:pt x="1222" y="854"/>
                    </a:lnTo>
                    <a:lnTo>
                      <a:pt x="1222" y="852"/>
                    </a:lnTo>
                    <a:lnTo>
                      <a:pt x="1220" y="852"/>
                    </a:lnTo>
                    <a:lnTo>
                      <a:pt x="1220" y="850"/>
                    </a:lnTo>
                    <a:lnTo>
                      <a:pt x="1222" y="850"/>
                    </a:lnTo>
                    <a:lnTo>
                      <a:pt x="1224" y="850"/>
                    </a:lnTo>
                    <a:lnTo>
                      <a:pt x="1222" y="850"/>
                    </a:lnTo>
                    <a:lnTo>
                      <a:pt x="1222" y="849"/>
                    </a:lnTo>
                    <a:lnTo>
                      <a:pt x="1224" y="849"/>
                    </a:lnTo>
                    <a:lnTo>
                      <a:pt x="1222" y="849"/>
                    </a:lnTo>
                    <a:lnTo>
                      <a:pt x="1224" y="849"/>
                    </a:lnTo>
                    <a:lnTo>
                      <a:pt x="1224" y="847"/>
                    </a:lnTo>
                    <a:lnTo>
                      <a:pt x="1222" y="845"/>
                    </a:lnTo>
                    <a:lnTo>
                      <a:pt x="1222" y="844"/>
                    </a:lnTo>
                    <a:lnTo>
                      <a:pt x="1222" y="842"/>
                    </a:lnTo>
                    <a:lnTo>
                      <a:pt x="1222" y="840"/>
                    </a:lnTo>
                    <a:lnTo>
                      <a:pt x="1222" y="838"/>
                    </a:lnTo>
                    <a:lnTo>
                      <a:pt x="1220" y="838"/>
                    </a:lnTo>
                    <a:lnTo>
                      <a:pt x="1220" y="837"/>
                    </a:lnTo>
                    <a:lnTo>
                      <a:pt x="1220" y="835"/>
                    </a:lnTo>
                    <a:lnTo>
                      <a:pt x="1220" y="833"/>
                    </a:lnTo>
                    <a:lnTo>
                      <a:pt x="1219" y="832"/>
                    </a:lnTo>
                    <a:lnTo>
                      <a:pt x="1219" y="830"/>
                    </a:lnTo>
                    <a:lnTo>
                      <a:pt x="1219" y="828"/>
                    </a:lnTo>
                    <a:lnTo>
                      <a:pt x="1219" y="827"/>
                    </a:lnTo>
                    <a:lnTo>
                      <a:pt x="1217" y="827"/>
                    </a:lnTo>
                    <a:lnTo>
                      <a:pt x="1217" y="825"/>
                    </a:lnTo>
                    <a:lnTo>
                      <a:pt x="1217" y="823"/>
                    </a:lnTo>
                    <a:lnTo>
                      <a:pt x="1217" y="821"/>
                    </a:lnTo>
                    <a:lnTo>
                      <a:pt x="1215" y="821"/>
                    </a:lnTo>
                    <a:lnTo>
                      <a:pt x="1217" y="820"/>
                    </a:lnTo>
                    <a:lnTo>
                      <a:pt x="1215" y="820"/>
                    </a:lnTo>
                    <a:lnTo>
                      <a:pt x="1215" y="821"/>
                    </a:lnTo>
                    <a:lnTo>
                      <a:pt x="1217" y="821"/>
                    </a:lnTo>
                    <a:lnTo>
                      <a:pt x="1215" y="821"/>
                    </a:lnTo>
                    <a:lnTo>
                      <a:pt x="1215" y="820"/>
                    </a:lnTo>
                    <a:lnTo>
                      <a:pt x="1213" y="818"/>
                    </a:lnTo>
                    <a:lnTo>
                      <a:pt x="1213" y="816"/>
                    </a:lnTo>
                    <a:lnTo>
                      <a:pt x="1213" y="815"/>
                    </a:lnTo>
                    <a:lnTo>
                      <a:pt x="1213" y="813"/>
                    </a:lnTo>
                    <a:lnTo>
                      <a:pt x="1213" y="811"/>
                    </a:lnTo>
                    <a:lnTo>
                      <a:pt x="1212" y="809"/>
                    </a:lnTo>
                    <a:lnTo>
                      <a:pt x="1213" y="809"/>
                    </a:lnTo>
                    <a:lnTo>
                      <a:pt x="1212" y="809"/>
                    </a:lnTo>
                    <a:lnTo>
                      <a:pt x="1212" y="808"/>
                    </a:lnTo>
                    <a:lnTo>
                      <a:pt x="1212" y="806"/>
                    </a:lnTo>
                    <a:lnTo>
                      <a:pt x="1212" y="804"/>
                    </a:lnTo>
                    <a:lnTo>
                      <a:pt x="1213" y="804"/>
                    </a:lnTo>
                    <a:lnTo>
                      <a:pt x="1213" y="803"/>
                    </a:lnTo>
                    <a:lnTo>
                      <a:pt x="1213" y="801"/>
                    </a:lnTo>
                    <a:lnTo>
                      <a:pt x="1213" y="799"/>
                    </a:lnTo>
                    <a:lnTo>
                      <a:pt x="1213" y="798"/>
                    </a:lnTo>
                    <a:lnTo>
                      <a:pt x="1215" y="798"/>
                    </a:lnTo>
                    <a:lnTo>
                      <a:pt x="1215" y="796"/>
                    </a:lnTo>
                    <a:lnTo>
                      <a:pt x="1215" y="794"/>
                    </a:lnTo>
                    <a:lnTo>
                      <a:pt x="1215" y="792"/>
                    </a:lnTo>
                    <a:lnTo>
                      <a:pt x="1215" y="791"/>
                    </a:lnTo>
                    <a:lnTo>
                      <a:pt x="1213" y="789"/>
                    </a:lnTo>
                    <a:lnTo>
                      <a:pt x="1213" y="787"/>
                    </a:lnTo>
                    <a:lnTo>
                      <a:pt x="1213" y="786"/>
                    </a:lnTo>
                    <a:lnTo>
                      <a:pt x="1212" y="784"/>
                    </a:lnTo>
                    <a:lnTo>
                      <a:pt x="1212" y="782"/>
                    </a:lnTo>
                    <a:lnTo>
                      <a:pt x="1210" y="781"/>
                    </a:lnTo>
                    <a:lnTo>
                      <a:pt x="1210" y="779"/>
                    </a:lnTo>
                    <a:lnTo>
                      <a:pt x="1208" y="779"/>
                    </a:lnTo>
                    <a:lnTo>
                      <a:pt x="1208" y="777"/>
                    </a:lnTo>
                    <a:lnTo>
                      <a:pt x="1207" y="775"/>
                    </a:lnTo>
                    <a:lnTo>
                      <a:pt x="1208" y="775"/>
                    </a:lnTo>
                    <a:lnTo>
                      <a:pt x="1208" y="774"/>
                    </a:lnTo>
                    <a:lnTo>
                      <a:pt x="1207" y="774"/>
                    </a:lnTo>
                    <a:lnTo>
                      <a:pt x="1207" y="772"/>
                    </a:lnTo>
                    <a:lnTo>
                      <a:pt x="1207" y="770"/>
                    </a:lnTo>
                    <a:lnTo>
                      <a:pt x="1208" y="772"/>
                    </a:lnTo>
                    <a:lnTo>
                      <a:pt x="1208" y="770"/>
                    </a:lnTo>
                    <a:lnTo>
                      <a:pt x="1208" y="769"/>
                    </a:lnTo>
                    <a:lnTo>
                      <a:pt x="1210" y="769"/>
                    </a:lnTo>
                    <a:lnTo>
                      <a:pt x="1210" y="767"/>
                    </a:lnTo>
                    <a:lnTo>
                      <a:pt x="1210" y="765"/>
                    </a:lnTo>
                    <a:lnTo>
                      <a:pt x="1210" y="764"/>
                    </a:lnTo>
                    <a:lnTo>
                      <a:pt x="1210" y="765"/>
                    </a:lnTo>
                    <a:lnTo>
                      <a:pt x="1210" y="764"/>
                    </a:lnTo>
                    <a:lnTo>
                      <a:pt x="1210" y="762"/>
                    </a:lnTo>
                    <a:lnTo>
                      <a:pt x="1208" y="762"/>
                    </a:lnTo>
                    <a:lnTo>
                      <a:pt x="1207" y="760"/>
                    </a:lnTo>
                    <a:lnTo>
                      <a:pt x="1207" y="762"/>
                    </a:lnTo>
                    <a:lnTo>
                      <a:pt x="1207" y="760"/>
                    </a:lnTo>
                    <a:lnTo>
                      <a:pt x="1208" y="758"/>
                    </a:lnTo>
                    <a:lnTo>
                      <a:pt x="1207" y="758"/>
                    </a:lnTo>
                    <a:lnTo>
                      <a:pt x="1208" y="757"/>
                    </a:lnTo>
                    <a:lnTo>
                      <a:pt x="1208" y="755"/>
                    </a:lnTo>
                    <a:lnTo>
                      <a:pt x="1208" y="753"/>
                    </a:lnTo>
                    <a:lnTo>
                      <a:pt x="1210" y="752"/>
                    </a:lnTo>
                    <a:lnTo>
                      <a:pt x="1212" y="753"/>
                    </a:lnTo>
                    <a:lnTo>
                      <a:pt x="1210" y="753"/>
                    </a:lnTo>
                    <a:lnTo>
                      <a:pt x="1212" y="755"/>
                    </a:lnTo>
                    <a:lnTo>
                      <a:pt x="1213" y="755"/>
                    </a:lnTo>
                    <a:lnTo>
                      <a:pt x="1213" y="753"/>
                    </a:lnTo>
                    <a:lnTo>
                      <a:pt x="1213" y="755"/>
                    </a:lnTo>
                    <a:lnTo>
                      <a:pt x="1215" y="755"/>
                    </a:lnTo>
                    <a:lnTo>
                      <a:pt x="1215" y="757"/>
                    </a:lnTo>
                    <a:lnTo>
                      <a:pt x="1215" y="755"/>
                    </a:lnTo>
                    <a:lnTo>
                      <a:pt x="1217" y="755"/>
                    </a:lnTo>
                    <a:lnTo>
                      <a:pt x="1219" y="755"/>
                    </a:lnTo>
                    <a:lnTo>
                      <a:pt x="1220" y="755"/>
                    </a:lnTo>
                    <a:lnTo>
                      <a:pt x="1222" y="755"/>
                    </a:lnTo>
                    <a:lnTo>
                      <a:pt x="1222" y="753"/>
                    </a:lnTo>
                    <a:lnTo>
                      <a:pt x="1224" y="753"/>
                    </a:lnTo>
                    <a:lnTo>
                      <a:pt x="1224" y="752"/>
                    </a:lnTo>
                    <a:lnTo>
                      <a:pt x="1225" y="750"/>
                    </a:lnTo>
                    <a:lnTo>
                      <a:pt x="1224" y="750"/>
                    </a:lnTo>
                    <a:lnTo>
                      <a:pt x="1224" y="748"/>
                    </a:lnTo>
                    <a:lnTo>
                      <a:pt x="1225" y="748"/>
                    </a:lnTo>
                    <a:lnTo>
                      <a:pt x="1225" y="747"/>
                    </a:lnTo>
                    <a:lnTo>
                      <a:pt x="1224" y="747"/>
                    </a:lnTo>
                    <a:lnTo>
                      <a:pt x="1224" y="745"/>
                    </a:lnTo>
                    <a:lnTo>
                      <a:pt x="1224" y="743"/>
                    </a:lnTo>
                    <a:lnTo>
                      <a:pt x="1225" y="743"/>
                    </a:lnTo>
                    <a:lnTo>
                      <a:pt x="1225" y="741"/>
                    </a:lnTo>
                    <a:lnTo>
                      <a:pt x="1225" y="740"/>
                    </a:lnTo>
                    <a:lnTo>
                      <a:pt x="1225" y="738"/>
                    </a:lnTo>
                    <a:lnTo>
                      <a:pt x="1227" y="738"/>
                    </a:lnTo>
                    <a:lnTo>
                      <a:pt x="1227" y="740"/>
                    </a:lnTo>
                    <a:lnTo>
                      <a:pt x="1229" y="738"/>
                    </a:lnTo>
                    <a:lnTo>
                      <a:pt x="1227" y="738"/>
                    </a:lnTo>
                    <a:lnTo>
                      <a:pt x="1225" y="738"/>
                    </a:lnTo>
                    <a:lnTo>
                      <a:pt x="1224" y="738"/>
                    </a:lnTo>
                    <a:lnTo>
                      <a:pt x="1224" y="736"/>
                    </a:lnTo>
                    <a:lnTo>
                      <a:pt x="1222" y="736"/>
                    </a:lnTo>
                    <a:lnTo>
                      <a:pt x="1224" y="736"/>
                    </a:lnTo>
                    <a:lnTo>
                      <a:pt x="1224" y="735"/>
                    </a:lnTo>
                    <a:lnTo>
                      <a:pt x="1224" y="736"/>
                    </a:lnTo>
                    <a:lnTo>
                      <a:pt x="1225" y="735"/>
                    </a:lnTo>
                    <a:lnTo>
                      <a:pt x="1225" y="733"/>
                    </a:lnTo>
                    <a:lnTo>
                      <a:pt x="1225" y="731"/>
                    </a:lnTo>
                    <a:lnTo>
                      <a:pt x="1225" y="730"/>
                    </a:lnTo>
                    <a:lnTo>
                      <a:pt x="1227" y="730"/>
                    </a:lnTo>
                    <a:lnTo>
                      <a:pt x="1227" y="731"/>
                    </a:lnTo>
                    <a:lnTo>
                      <a:pt x="1227" y="733"/>
                    </a:lnTo>
                    <a:lnTo>
                      <a:pt x="1225" y="733"/>
                    </a:lnTo>
                    <a:lnTo>
                      <a:pt x="1227" y="735"/>
                    </a:lnTo>
                    <a:lnTo>
                      <a:pt x="1229" y="735"/>
                    </a:lnTo>
                    <a:lnTo>
                      <a:pt x="1230" y="735"/>
                    </a:lnTo>
                    <a:lnTo>
                      <a:pt x="1230" y="733"/>
                    </a:lnTo>
                    <a:lnTo>
                      <a:pt x="1230" y="731"/>
                    </a:lnTo>
                    <a:lnTo>
                      <a:pt x="1232" y="730"/>
                    </a:lnTo>
                    <a:lnTo>
                      <a:pt x="1230" y="730"/>
                    </a:lnTo>
                    <a:lnTo>
                      <a:pt x="1230" y="728"/>
                    </a:lnTo>
                    <a:lnTo>
                      <a:pt x="1230" y="726"/>
                    </a:lnTo>
                    <a:lnTo>
                      <a:pt x="1232" y="726"/>
                    </a:lnTo>
                    <a:lnTo>
                      <a:pt x="1232" y="724"/>
                    </a:lnTo>
                    <a:lnTo>
                      <a:pt x="1234" y="724"/>
                    </a:lnTo>
                    <a:lnTo>
                      <a:pt x="1232" y="724"/>
                    </a:lnTo>
                    <a:lnTo>
                      <a:pt x="1232" y="723"/>
                    </a:lnTo>
                    <a:lnTo>
                      <a:pt x="1234" y="723"/>
                    </a:lnTo>
                    <a:lnTo>
                      <a:pt x="1234" y="721"/>
                    </a:lnTo>
                    <a:lnTo>
                      <a:pt x="1234" y="719"/>
                    </a:lnTo>
                    <a:lnTo>
                      <a:pt x="1236" y="718"/>
                    </a:lnTo>
                    <a:lnTo>
                      <a:pt x="1236" y="716"/>
                    </a:lnTo>
                    <a:lnTo>
                      <a:pt x="1236" y="714"/>
                    </a:lnTo>
                    <a:lnTo>
                      <a:pt x="1236" y="713"/>
                    </a:lnTo>
                    <a:lnTo>
                      <a:pt x="1236" y="711"/>
                    </a:lnTo>
                    <a:lnTo>
                      <a:pt x="1237" y="711"/>
                    </a:lnTo>
                    <a:lnTo>
                      <a:pt x="1237" y="709"/>
                    </a:lnTo>
                    <a:lnTo>
                      <a:pt x="1236" y="707"/>
                    </a:lnTo>
                    <a:lnTo>
                      <a:pt x="1237" y="707"/>
                    </a:lnTo>
                    <a:lnTo>
                      <a:pt x="1237" y="706"/>
                    </a:lnTo>
                    <a:lnTo>
                      <a:pt x="1237" y="704"/>
                    </a:lnTo>
                    <a:lnTo>
                      <a:pt x="1237" y="702"/>
                    </a:lnTo>
                    <a:lnTo>
                      <a:pt x="1239" y="702"/>
                    </a:lnTo>
                    <a:lnTo>
                      <a:pt x="1239" y="701"/>
                    </a:lnTo>
                    <a:lnTo>
                      <a:pt x="1241" y="701"/>
                    </a:lnTo>
                    <a:lnTo>
                      <a:pt x="1241" y="699"/>
                    </a:lnTo>
                    <a:lnTo>
                      <a:pt x="1242" y="697"/>
                    </a:lnTo>
                    <a:lnTo>
                      <a:pt x="1244" y="696"/>
                    </a:lnTo>
                    <a:lnTo>
                      <a:pt x="1244" y="694"/>
                    </a:lnTo>
                    <a:lnTo>
                      <a:pt x="1244" y="692"/>
                    </a:lnTo>
                    <a:lnTo>
                      <a:pt x="1244" y="690"/>
                    </a:lnTo>
                    <a:lnTo>
                      <a:pt x="1244" y="689"/>
                    </a:lnTo>
                    <a:lnTo>
                      <a:pt x="1242" y="689"/>
                    </a:lnTo>
                    <a:lnTo>
                      <a:pt x="1242" y="687"/>
                    </a:lnTo>
                    <a:lnTo>
                      <a:pt x="1242" y="685"/>
                    </a:lnTo>
                    <a:lnTo>
                      <a:pt x="1244" y="685"/>
                    </a:lnTo>
                    <a:lnTo>
                      <a:pt x="1244" y="684"/>
                    </a:lnTo>
                    <a:lnTo>
                      <a:pt x="1246" y="684"/>
                    </a:lnTo>
                    <a:lnTo>
                      <a:pt x="1246" y="682"/>
                    </a:lnTo>
                    <a:lnTo>
                      <a:pt x="1247" y="682"/>
                    </a:lnTo>
                    <a:lnTo>
                      <a:pt x="1247" y="680"/>
                    </a:lnTo>
                    <a:lnTo>
                      <a:pt x="1247" y="679"/>
                    </a:lnTo>
                    <a:lnTo>
                      <a:pt x="1247" y="677"/>
                    </a:lnTo>
                    <a:lnTo>
                      <a:pt x="1249" y="677"/>
                    </a:lnTo>
                    <a:lnTo>
                      <a:pt x="1249" y="675"/>
                    </a:lnTo>
                    <a:lnTo>
                      <a:pt x="1251" y="675"/>
                    </a:lnTo>
                    <a:lnTo>
                      <a:pt x="1251" y="673"/>
                    </a:lnTo>
                    <a:lnTo>
                      <a:pt x="1251" y="672"/>
                    </a:lnTo>
                    <a:lnTo>
                      <a:pt x="1251" y="670"/>
                    </a:lnTo>
                    <a:lnTo>
                      <a:pt x="1253" y="670"/>
                    </a:lnTo>
                    <a:lnTo>
                      <a:pt x="1254" y="668"/>
                    </a:lnTo>
                    <a:lnTo>
                      <a:pt x="1256" y="668"/>
                    </a:lnTo>
                    <a:lnTo>
                      <a:pt x="1256" y="667"/>
                    </a:lnTo>
                    <a:lnTo>
                      <a:pt x="1258" y="667"/>
                    </a:lnTo>
                    <a:lnTo>
                      <a:pt x="1258" y="665"/>
                    </a:lnTo>
                    <a:lnTo>
                      <a:pt x="1258" y="663"/>
                    </a:lnTo>
                    <a:lnTo>
                      <a:pt x="1258" y="662"/>
                    </a:lnTo>
                    <a:lnTo>
                      <a:pt x="1258" y="660"/>
                    </a:lnTo>
                    <a:lnTo>
                      <a:pt x="1258" y="658"/>
                    </a:lnTo>
                    <a:lnTo>
                      <a:pt x="1258" y="656"/>
                    </a:lnTo>
                    <a:lnTo>
                      <a:pt x="1259" y="656"/>
                    </a:lnTo>
                    <a:lnTo>
                      <a:pt x="1259" y="655"/>
                    </a:lnTo>
                    <a:lnTo>
                      <a:pt x="1259" y="653"/>
                    </a:lnTo>
                    <a:lnTo>
                      <a:pt x="1261" y="651"/>
                    </a:lnTo>
                    <a:lnTo>
                      <a:pt x="1261" y="650"/>
                    </a:lnTo>
                    <a:lnTo>
                      <a:pt x="1263" y="650"/>
                    </a:lnTo>
                    <a:lnTo>
                      <a:pt x="1263" y="648"/>
                    </a:lnTo>
                    <a:lnTo>
                      <a:pt x="1263" y="646"/>
                    </a:lnTo>
                    <a:lnTo>
                      <a:pt x="1263" y="644"/>
                    </a:lnTo>
                    <a:lnTo>
                      <a:pt x="1263" y="643"/>
                    </a:lnTo>
                    <a:lnTo>
                      <a:pt x="1263" y="641"/>
                    </a:lnTo>
                    <a:lnTo>
                      <a:pt x="1263" y="639"/>
                    </a:lnTo>
                    <a:lnTo>
                      <a:pt x="1263" y="638"/>
                    </a:lnTo>
                    <a:lnTo>
                      <a:pt x="1263" y="636"/>
                    </a:lnTo>
                    <a:lnTo>
                      <a:pt x="1264" y="636"/>
                    </a:lnTo>
                    <a:lnTo>
                      <a:pt x="1264" y="634"/>
                    </a:lnTo>
                    <a:lnTo>
                      <a:pt x="1264" y="633"/>
                    </a:lnTo>
                    <a:lnTo>
                      <a:pt x="1264" y="631"/>
                    </a:lnTo>
                    <a:lnTo>
                      <a:pt x="1264" y="629"/>
                    </a:lnTo>
                    <a:lnTo>
                      <a:pt x="1264" y="627"/>
                    </a:lnTo>
                    <a:lnTo>
                      <a:pt x="1263" y="627"/>
                    </a:lnTo>
                    <a:lnTo>
                      <a:pt x="1264" y="627"/>
                    </a:lnTo>
                    <a:lnTo>
                      <a:pt x="1263" y="626"/>
                    </a:lnTo>
                    <a:lnTo>
                      <a:pt x="1264" y="626"/>
                    </a:lnTo>
                    <a:lnTo>
                      <a:pt x="1266" y="624"/>
                    </a:lnTo>
                    <a:lnTo>
                      <a:pt x="1266" y="622"/>
                    </a:lnTo>
                    <a:lnTo>
                      <a:pt x="1268" y="621"/>
                    </a:lnTo>
                    <a:lnTo>
                      <a:pt x="1268" y="619"/>
                    </a:lnTo>
                    <a:lnTo>
                      <a:pt x="1270" y="617"/>
                    </a:lnTo>
                    <a:lnTo>
                      <a:pt x="1270" y="616"/>
                    </a:lnTo>
                    <a:lnTo>
                      <a:pt x="1270" y="614"/>
                    </a:lnTo>
                    <a:lnTo>
                      <a:pt x="1271" y="612"/>
                    </a:lnTo>
                    <a:lnTo>
                      <a:pt x="1273" y="612"/>
                    </a:lnTo>
                    <a:lnTo>
                      <a:pt x="1273" y="610"/>
                    </a:lnTo>
                    <a:lnTo>
                      <a:pt x="1275" y="610"/>
                    </a:lnTo>
                    <a:lnTo>
                      <a:pt x="1275" y="609"/>
                    </a:lnTo>
                    <a:lnTo>
                      <a:pt x="1276" y="609"/>
                    </a:lnTo>
                    <a:lnTo>
                      <a:pt x="1276" y="607"/>
                    </a:lnTo>
                    <a:lnTo>
                      <a:pt x="1276" y="605"/>
                    </a:lnTo>
                    <a:lnTo>
                      <a:pt x="1276" y="604"/>
                    </a:lnTo>
                    <a:lnTo>
                      <a:pt x="1276" y="602"/>
                    </a:lnTo>
                    <a:lnTo>
                      <a:pt x="1276" y="600"/>
                    </a:lnTo>
                    <a:lnTo>
                      <a:pt x="1275" y="599"/>
                    </a:lnTo>
                    <a:lnTo>
                      <a:pt x="1273" y="599"/>
                    </a:lnTo>
                    <a:lnTo>
                      <a:pt x="1275" y="597"/>
                    </a:lnTo>
                    <a:lnTo>
                      <a:pt x="1273" y="597"/>
                    </a:lnTo>
                    <a:lnTo>
                      <a:pt x="1275" y="597"/>
                    </a:lnTo>
                    <a:lnTo>
                      <a:pt x="1275" y="595"/>
                    </a:lnTo>
                    <a:lnTo>
                      <a:pt x="1276" y="593"/>
                    </a:lnTo>
                    <a:lnTo>
                      <a:pt x="1275" y="593"/>
                    </a:lnTo>
                    <a:lnTo>
                      <a:pt x="1275" y="592"/>
                    </a:lnTo>
                    <a:lnTo>
                      <a:pt x="1275" y="590"/>
                    </a:lnTo>
                    <a:lnTo>
                      <a:pt x="1275" y="588"/>
                    </a:lnTo>
                    <a:lnTo>
                      <a:pt x="1273" y="588"/>
                    </a:lnTo>
                    <a:lnTo>
                      <a:pt x="1275" y="588"/>
                    </a:lnTo>
                    <a:lnTo>
                      <a:pt x="1275" y="587"/>
                    </a:lnTo>
                    <a:lnTo>
                      <a:pt x="1273" y="587"/>
                    </a:lnTo>
                    <a:lnTo>
                      <a:pt x="1273" y="585"/>
                    </a:lnTo>
                    <a:lnTo>
                      <a:pt x="1275" y="585"/>
                    </a:lnTo>
                    <a:lnTo>
                      <a:pt x="1275" y="583"/>
                    </a:lnTo>
                    <a:lnTo>
                      <a:pt x="1275" y="582"/>
                    </a:lnTo>
                    <a:lnTo>
                      <a:pt x="1276" y="582"/>
                    </a:lnTo>
                    <a:lnTo>
                      <a:pt x="1278" y="582"/>
                    </a:lnTo>
                    <a:lnTo>
                      <a:pt x="1280" y="580"/>
                    </a:lnTo>
                    <a:lnTo>
                      <a:pt x="1280" y="578"/>
                    </a:lnTo>
                    <a:lnTo>
                      <a:pt x="1278" y="578"/>
                    </a:lnTo>
                    <a:lnTo>
                      <a:pt x="1280" y="578"/>
                    </a:lnTo>
                    <a:lnTo>
                      <a:pt x="1280" y="576"/>
                    </a:lnTo>
                    <a:lnTo>
                      <a:pt x="1280" y="575"/>
                    </a:lnTo>
                    <a:lnTo>
                      <a:pt x="1280" y="573"/>
                    </a:lnTo>
                    <a:lnTo>
                      <a:pt x="1280" y="571"/>
                    </a:lnTo>
                    <a:lnTo>
                      <a:pt x="1281" y="571"/>
                    </a:lnTo>
                    <a:lnTo>
                      <a:pt x="1281" y="570"/>
                    </a:lnTo>
                    <a:lnTo>
                      <a:pt x="1280" y="570"/>
                    </a:lnTo>
                    <a:lnTo>
                      <a:pt x="1281" y="570"/>
                    </a:lnTo>
                    <a:lnTo>
                      <a:pt x="1281" y="568"/>
                    </a:lnTo>
                    <a:lnTo>
                      <a:pt x="1283" y="568"/>
                    </a:lnTo>
                    <a:lnTo>
                      <a:pt x="1283" y="566"/>
                    </a:lnTo>
                    <a:lnTo>
                      <a:pt x="1283" y="565"/>
                    </a:lnTo>
                    <a:lnTo>
                      <a:pt x="1281" y="565"/>
                    </a:lnTo>
                    <a:lnTo>
                      <a:pt x="1281" y="563"/>
                    </a:lnTo>
                    <a:lnTo>
                      <a:pt x="1281" y="561"/>
                    </a:lnTo>
                    <a:lnTo>
                      <a:pt x="1283" y="561"/>
                    </a:lnTo>
                    <a:lnTo>
                      <a:pt x="1283" y="559"/>
                    </a:lnTo>
                    <a:lnTo>
                      <a:pt x="1283" y="558"/>
                    </a:lnTo>
                    <a:lnTo>
                      <a:pt x="1285" y="556"/>
                    </a:lnTo>
                    <a:lnTo>
                      <a:pt x="1283" y="556"/>
                    </a:lnTo>
                    <a:lnTo>
                      <a:pt x="1283" y="554"/>
                    </a:lnTo>
                    <a:lnTo>
                      <a:pt x="1281" y="554"/>
                    </a:lnTo>
                    <a:lnTo>
                      <a:pt x="1281" y="553"/>
                    </a:lnTo>
                    <a:lnTo>
                      <a:pt x="1281" y="551"/>
                    </a:lnTo>
                    <a:lnTo>
                      <a:pt x="1280" y="549"/>
                    </a:lnTo>
                    <a:lnTo>
                      <a:pt x="1280" y="548"/>
                    </a:lnTo>
                    <a:lnTo>
                      <a:pt x="1280" y="546"/>
                    </a:lnTo>
                    <a:lnTo>
                      <a:pt x="1280" y="544"/>
                    </a:lnTo>
                    <a:lnTo>
                      <a:pt x="1280" y="542"/>
                    </a:lnTo>
                    <a:lnTo>
                      <a:pt x="1280" y="541"/>
                    </a:lnTo>
                    <a:lnTo>
                      <a:pt x="1280" y="539"/>
                    </a:lnTo>
                    <a:lnTo>
                      <a:pt x="1281" y="539"/>
                    </a:lnTo>
                    <a:lnTo>
                      <a:pt x="1280" y="539"/>
                    </a:lnTo>
                    <a:lnTo>
                      <a:pt x="1280" y="537"/>
                    </a:lnTo>
                    <a:lnTo>
                      <a:pt x="1281" y="536"/>
                    </a:lnTo>
                    <a:lnTo>
                      <a:pt x="1280" y="536"/>
                    </a:lnTo>
                    <a:lnTo>
                      <a:pt x="1280" y="534"/>
                    </a:lnTo>
                    <a:lnTo>
                      <a:pt x="1278" y="536"/>
                    </a:lnTo>
                    <a:lnTo>
                      <a:pt x="1278" y="534"/>
                    </a:lnTo>
                    <a:lnTo>
                      <a:pt x="1280" y="534"/>
                    </a:lnTo>
                    <a:lnTo>
                      <a:pt x="1280" y="532"/>
                    </a:lnTo>
                    <a:lnTo>
                      <a:pt x="1280" y="531"/>
                    </a:lnTo>
                    <a:lnTo>
                      <a:pt x="1280" y="529"/>
                    </a:lnTo>
                    <a:lnTo>
                      <a:pt x="1278" y="527"/>
                    </a:lnTo>
                    <a:lnTo>
                      <a:pt x="1278" y="525"/>
                    </a:lnTo>
                    <a:lnTo>
                      <a:pt x="1278" y="524"/>
                    </a:lnTo>
                    <a:lnTo>
                      <a:pt x="1278" y="522"/>
                    </a:lnTo>
                    <a:lnTo>
                      <a:pt x="1278" y="520"/>
                    </a:lnTo>
                    <a:lnTo>
                      <a:pt x="1278" y="519"/>
                    </a:lnTo>
                    <a:lnTo>
                      <a:pt x="1278" y="517"/>
                    </a:lnTo>
                    <a:lnTo>
                      <a:pt x="1276" y="517"/>
                    </a:lnTo>
                    <a:lnTo>
                      <a:pt x="1276" y="515"/>
                    </a:lnTo>
                    <a:lnTo>
                      <a:pt x="1276" y="514"/>
                    </a:lnTo>
                    <a:lnTo>
                      <a:pt x="1276" y="512"/>
                    </a:lnTo>
                    <a:lnTo>
                      <a:pt x="1276" y="510"/>
                    </a:lnTo>
                    <a:lnTo>
                      <a:pt x="1275" y="508"/>
                    </a:lnTo>
                    <a:lnTo>
                      <a:pt x="1276" y="508"/>
                    </a:lnTo>
                    <a:lnTo>
                      <a:pt x="1275" y="508"/>
                    </a:lnTo>
                    <a:lnTo>
                      <a:pt x="1275" y="507"/>
                    </a:lnTo>
                    <a:lnTo>
                      <a:pt x="1275" y="505"/>
                    </a:lnTo>
                    <a:lnTo>
                      <a:pt x="1276" y="505"/>
                    </a:lnTo>
                    <a:lnTo>
                      <a:pt x="1275" y="505"/>
                    </a:lnTo>
                    <a:lnTo>
                      <a:pt x="1275" y="503"/>
                    </a:lnTo>
                    <a:lnTo>
                      <a:pt x="1275" y="502"/>
                    </a:lnTo>
                    <a:lnTo>
                      <a:pt x="1276" y="502"/>
                    </a:lnTo>
                    <a:lnTo>
                      <a:pt x="1275" y="500"/>
                    </a:lnTo>
                    <a:lnTo>
                      <a:pt x="1276" y="500"/>
                    </a:lnTo>
                    <a:lnTo>
                      <a:pt x="1275" y="500"/>
                    </a:lnTo>
                    <a:lnTo>
                      <a:pt x="1275" y="498"/>
                    </a:lnTo>
                    <a:lnTo>
                      <a:pt x="1275" y="497"/>
                    </a:lnTo>
                    <a:lnTo>
                      <a:pt x="1275" y="495"/>
                    </a:lnTo>
                    <a:lnTo>
                      <a:pt x="1275" y="493"/>
                    </a:lnTo>
                    <a:lnTo>
                      <a:pt x="1273" y="493"/>
                    </a:lnTo>
                    <a:lnTo>
                      <a:pt x="1273" y="491"/>
                    </a:lnTo>
                    <a:lnTo>
                      <a:pt x="1275" y="490"/>
                    </a:lnTo>
                    <a:lnTo>
                      <a:pt x="1273" y="490"/>
                    </a:lnTo>
                    <a:lnTo>
                      <a:pt x="1275" y="490"/>
                    </a:lnTo>
                    <a:lnTo>
                      <a:pt x="1275" y="488"/>
                    </a:lnTo>
                    <a:lnTo>
                      <a:pt x="1273" y="488"/>
                    </a:lnTo>
                    <a:lnTo>
                      <a:pt x="1273" y="486"/>
                    </a:lnTo>
                    <a:lnTo>
                      <a:pt x="1273" y="485"/>
                    </a:lnTo>
                    <a:lnTo>
                      <a:pt x="1273" y="483"/>
                    </a:lnTo>
                    <a:lnTo>
                      <a:pt x="1275" y="483"/>
                    </a:lnTo>
                    <a:lnTo>
                      <a:pt x="1275" y="481"/>
                    </a:lnTo>
                    <a:lnTo>
                      <a:pt x="1275" y="479"/>
                    </a:lnTo>
                    <a:lnTo>
                      <a:pt x="1275" y="478"/>
                    </a:lnTo>
                    <a:lnTo>
                      <a:pt x="1275" y="476"/>
                    </a:lnTo>
                    <a:lnTo>
                      <a:pt x="1275" y="474"/>
                    </a:lnTo>
                    <a:lnTo>
                      <a:pt x="1275" y="473"/>
                    </a:lnTo>
                    <a:lnTo>
                      <a:pt x="1276" y="473"/>
                    </a:lnTo>
                    <a:lnTo>
                      <a:pt x="1276" y="471"/>
                    </a:lnTo>
                    <a:lnTo>
                      <a:pt x="1276" y="473"/>
                    </a:lnTo>
                    <a:lnTo>
                      <a:pt x="1278" y="474"/>
                    </a:lnTo>
                    <a:lnTo>
                      <a:pt x="1278" y="473"/>
                    </a:lnTo>
                    <a:lnTo>
                      <a:pt x="1280" y="473"/>
                    </a:lnTo>
                    <a:lnTo>
                      <a:pt x="1281" y="473"/>
                    </a:lnTo>
                    <a:lnTo>
                      <a:pt x="1280" y="471"/>
                    </a:lnTo>
                    <a:lnTo>
                      <a:pt x="1281" y="471"/>
                    </a:lnTo>
                    <a:lnTo>
                      <a:pt x="1281" y="469"/>
                    </a:lnTo>
                    <a:lnTo>
                      <a:pt x="1283" y="468"/>
                    </a:lnTo>
                    <a:lnTo>
                      <a:pt x="1283" y="469"/>
                    </a:lnTo>
                    <a:lnTo>
                      <a:pt x="1285" y="469"/>
                    </a:lnTo>
                    <a:lnTo>
                      <a:pt x="1285" y="468"/>
                    </a:lnTo>
                    <a:lnTo>
                      <a:pt x="1285" y="466"/>
                    </a:lnTo>
                    <a:lnTo>
                      <a:pt x="1285" y="464"/>
                    </a:lnTo>
                    <a:lnTo>
                      <a:pt x="1285" y="462"/>
                    </a:lnTo>
                    <a:lnTo>
                      <a:pt x="1283" y="462"/>
                    </a:lnTo>
                    <a:lnTo>
                      <a:pt x="1285" y="461"/>
                    </a:lnTo>
                    <a:lnTo>
                      <a:pt x="1285" y="459"/>
                    </a:lnTo>
                    <a:lnTo>
                      <a:pt x="1287" y="459"/>
                    </a:lnTo>
                    <a:lnTo>
                      <a:pt x="1287" y="461"/>
                    </a:lnTo>
                    <a:lnTo>
                      <a:pt x="1287" y="459"/>
                    </a:lnTo>
                    <a:lnTo>
                      <a:pt x="1288" y="459"/>
                    </a:lnTo>
                    <a:lnTo>
                      <a:pt x="1288" y="457"/>
                    </a:lnTo>
                    <a:lnTo>
                      <a:pt x="1288" y="456"/>
                    </a:lnTo>
                    <a:lnTo>
                      <a:pt x="1287" y="454"/>
                    </a:lnTo>
                    <a:lnTo>
                      <a:pt x="1287" y="452"/>
                    </a:lnTo>
                    <a:lnTo>
                      <a:pt x="1287" y="451"/>
                    </a:lnTo>
                    <a:lnTo>
                      <a:pt x="1287" y="449"/>
                    </a:lnTo>
                    <a:lnTo>
                      <a:pt x="1287" y="447"/>
                    </a:lnTo>
                    <a:lnTo>
                      <a:pt x="1288" y="447"/>
                    </a:lnTo>
                    <a:lnTo>
                      <a:pt x="1288" y="445"/>
                    </a:lnTo>
                    <a:lnTo>
                      <a:pt x="1287" y="445"/>
                    </a:lnTo>
                    <a:lnTo>
                      <a:pt x="1287" y="444"/>
                    </a:lnTo>
                    <a:lnTo>
                      <a:pt x="1287" y="442"/>
                    </a:lnTo>
                    <a:lnTo>
                      <a:pt x="1287" y="440"/>
                    </a:lnTo>
                    <a:lnTo>
                      <a:pt x="1287" y="439"/>
                    </a:lnTo>
                    <a:lnTo>
                      <a:pt x="1287" y="437"/>
                    </a:lnTo>
                    <a:lnTo>
                      <a:pt x="1287" y="435"/>
                    </a:lnTo>
                    <a:lnTo>
                      <a:pt x="1285" y="435"/>
                    </a:lnTo>
                    <a:lnTo>
                      <a:pt x="1285" y="434"/>
                    </a:lnTo>
                    <a:lnTo>
                      <a:pt x="1283" y="434"/>
                    </a:lnTo>
                    <a:lnTo>
                      <a:pt x="1281" y="432"/>
                    </a:lnTo>
                    <a:lnTo>
                      <a:pt x="1281" y="430"/>
                    </a:lnTo>
                    <a:lnTo>
                      <a:pt x="1280" y="428"/>
                    </a:lnTo>
                    <a:lnTo>
                      <a:pt x="1281" y="428"/>
                    </a:lnTo>
                    <a:lnTo>
                      <a:pt x="1281" y="427"/>
                    </a:lnTo>
                    <a:lnTo>
                      <a:pt x="1280" y="427"/>
                    </a:lnTo>
                    <a:lnTo>
                      <a:pt x="1281" y="425"/>
                    </a:lnTo>
                    <a:lnTo>
                      <a:pt x="1280" y="423"/>
                    </a:lnTo>
                    <a:lnTo>
                      <a:pt x="1281" y="423"/>
                    </a:lnTo>
                    <a:lnTo>
                      <a:pt x="1281" y="422"/>
                    </a:lnTo>
                    <a:lnTo>
                      <a:pt x="1280" y="422"/>
                    </a:lnTo>
                    <a:lnTo>
                      <a:pt x="1280" y="420"/>
                    </a:lnTo>
                    <a:lnTo>
                      <a:pt x="1280" y="418"/>
                    </a:lnTo>
                    <a:lnTo>
                      <a:pt x="1281" y="418"/>
                    </a:lnTo>
                    <a:lnTo>
                      <a:pt x="1281" y="417"/>
                    </a:lnTo>
                    <a:lnTo>
                      <a:pt x="1283" y="417"/>
                    </a:lnTo>
                    <a:lnTo>
                      <a:pt x="1285" y="415"/>
                    </a:lnTo>
                    <a:lnTo>
                      <a:pt x="1285" y="413"/>
                    </a:lnTo>
                    <a:lnTo>
                      <a:pt x="1287" y="411"/>
                    </a:lnTo>
                    <a:lnTo>
                      <a:pt x="1288" y="411"/>
                    </a:lnTo>
                    <a:lnTo>
                      <a:pt x="1288" y="410"/>
                    </a:lnTo>
                    <a:lnTo>
                      <a:pt x="1288" y="408"/>
                    </a:lnTo>
                    <a:lnTo>
                      <a:pt x="1287" y="408"/>
                    </a:lnTo>
                    <a:lnTo>
                      <a:pt x="1287" y="406"/>
                    </a:lnTo>
                    <a:lnTo>
                      <a:pt x="1288" y="406"/>
                    </a:lnTo>
                    <a:lnTo>
                      <a:pt x="1288" y="405"/>
                    </a:lnTo>
                    <a:lnTo>
                      <a:pt x="1288" y="403"/>
                    </a:lnTo>
                    <a:lnTo>
                      <a:pt x="1290" y="403"/>
                    </a:lnTo>
                    <a:lnTo>
                      <a:pt x="1290" y="401"/>
                    </a:lnTo>
                    <a:lnTo>
                      <a:pt x="1292" y="400"/>
                    </a:lnTo>
                    <a:lnTo>
                      <a:pt x="1292" y="398"/>
                    </a:lnTo>
                    <a:lnTo>
                      <a:pt x="1292" y="396"/>
                    </a:lnTo>
                    <a:lnTo>
                      <a:pt x="1290" y="396"/>
                    </a:lnTo>
                    <a:lnTo>
                      <a:pt x="1292" y="396"/>
                    </a:lnTo>
                    <a:lnTo>
                      <a:pt x="1292" y="394"/>
                    </a:lnTo>
                    <a:lnTo>
                      <a:pt x="1292" y="393"/>
                    </a:lnTo>
                    <a:lnTo>
                      <a:pt x="1292" y="391"/>
                    </a:lnTo>
                    <a:lnTo>
                      <a:pt x="1292" y="389"/>
                    </a:lnTo>
                    <a:lnTo>
                      <a:pt x="1292" y="388"/>
                    </a:lnTo>
                    <a:lnTo>
                      <a:pt x="1293" y="388"/>
                    </a:lnTo>
                    <a:lnTo>
                      <a:pt x="1292" y="386"/>
                    </a:lnTo>
                    <a:lnTo>
                      <a:pt x="1293" y="386"/>
                    </a:lnTo>
                    <a:lnTo>
                      <a:pt x="1292" y="386"/>
                    </a:lnTo>
                    <a:lnTo>
                      <a:pt x="1293" y="386"/>
                    </a:lnTo>
                    <a:lnTo>
                      <a:pt x="1292" y="384"/>
                    </a:lnTo>
                    <a:lnTo>
                      <a:pt x="1293" y="384"/>
                    </a:lnTo>
                    <a:lnTo>
                      <a:pt x="1292" y="384"/>
                    </a:lnTo>
                    <a:lnTo>
                      <a:pt x="1293" y="383"/>
                    </a:lnTo>
                    <a:lnTo>
                      <a:pt x="1293" y="381"/>
                    </a:lnTo>
                    <a:lnTo>
                      <a:pt x="1293" y="379"/>
                    </a:lnTo>
                    <a:lnTo>
                      <a:pt x="1295" y="377"/>
                    </a:lnTo>
                    <a:lnTo>
                      <a:pt x="1295" y="376"/>
                    </a:lnTo>
                    <a:lnTo>
                      <a:pt x="1295" y="374"/>
                    </a:lnTo>
                    <a:lnTo>
                      <a:pt x="1297" y="374"/>
                    </a:lnTo>
                    <a:lnTo>
                      <a:pt x="1297" y="372"/>
                    </a:lnTo>
                    <a:lnTo>
                      <a:pt x="1298" y="372"/>
                    </a:lnTo>
                    <a:lnTo>
                      <a:pt x="1300" y="372"/>
                    </a:lnTo>
                    <a:lnTo>
                      <a:pt x="1300" y="371"/>
                    </a:lnTo>
                    <a:lnTo>
                      <a:pt x="1300" y="369"/>
                    </a:lnTo>
                    <a:lnTo>
                      <a:pt x="1300" y="367"/>
                    </a:lnTo>
                    <a:lnTo>
                      <a:pt x="1302" y="367"/>
                    </a:lnTo>
                    <a:lnTo>
                      <a:pt x="1302" y="366"/>
                    </a:lnTo>
                    <a:lnTo>
                      <a:pt x="1300" y="366"/>
                    </a:lnTo>
                    <a:lnTo>
                      <a:pt x="1302" y="366"/>
                    </a:lnTo>
                    <a:lnTo>
                      <a:pt x="1300" y="364"/>
                    </a:lnTo>
                    <a:lnTo>
                      <a:pt x="1300" y="362"/>
                    </a:lnTo>
                    <a:lnTo>
                      <a:pt x="1298" y="360"/>
                    </a:lnTo>
                    <a:lnTo>
                      <a:pt x="1300" y="359"/>
                    </a:lnTo>
                    <a:lnTo>
                      <a:pt x="1300" y="357"/>
                    </a:lnTo>
                    <a:lnTo>
                      <a:pt x="1298" y="357"/>
                    </a:lnTo>
                    <a:lnTo>
                      <a:pt x="1298" y="355"/>
                    </a:lnTo>
                    <a:lnTo>
                      <a:pt x="1298" y="354"/>
                    </a:lnTo>
                    <a:lnTo>
                      <a:pt x="1298" y="352"/>
                    </a:lnTo>
                    <a:lnTo>
                      <a:pt x="1300" y="350"/>
                    </a:lnTo>
                    <a:lnTo>
                      <a:pt x="1300" y="352"/>
                    </a:lnTo>
                    <a:lnTo>
                      <a:pt x="1302" y="352"/>
                    </a:lnTo>
                    <a:lnTo>
                      <a:pt x="1302" y="350"/>
                    </a:lnTo>
                    <a:lnTo>
                      <a:pt x="1304" y="350"/>
                    </a:lnTo>
                    <a:lnTo>
                      <a:pt x="1302" y="349"/>
                    </a:lnTo>
                    <a:lnTo>
                      <a:pt x="1304" y="349"/>
                    </a:lnTo>
                    <a:lnTo>
                      <a:pt x="1304" y="347"/>
                    </a:lnTo>
                    <a:lnTo>
                      <a:pt x="1305" y="347"/>
                    </a:lnTo>
                    <a:lnTo>
                      <a:pt x="1305" y="345"/>
                    </a:lnTo>
                    <a:lnTo>
                      <a:pt x="1304" y="345"/>
                    </a:lnTo>
                    <a:lnTo>
                      <a:pt x="1304" y="343"/>
                    </a:lnTo>
                    <a:lnTo>
                      <a:pt x="1304" y="342"/>
                    </a:lnTo>
                    <a:lnTo>
                      <a:pt x="1304" y="340"/>
                    </a:lnTo>
                    <a:lnTo>
                      <a:pt x="1305" y="338"/>
                    </a:lnTo>
                    <a:lnTo>
                      <a:pt x="1307" y="337"/>
                    </a:lnTo>
                    <a:lnTo>
                      <a:pt x="1305" y="337"/>
                    </a:lnTo>
                    <a:lnTo>
                      <a:pt x="1305" y="335"/>
                    </a:lnTo>
                    <a:lnTo>
                      <a:pt x="1307" y="335"/>
                    </a:lnTo>
                    <a:lnTo>
                      <a:pt x="1307" y="333"/>
                    </a:lnTo>
                    <a:lnTo>
                      <a:pt x="1307" y="331"/>
                    </a:lnTo>
                    <a:lnTo>
                      <a:pt x="1307" y="330"/>
                    </a:lnTo>
                    <a:lnTo>
                      <a:pt x="1309" y="330"/>
                    </a:lnTo>
                    <a:lnTo>
                      <a:pt x="1307" y="330"/>
                    </a:lnTo>
                    <a:lnTo>
                      <a:pt x="1307" y="328"/>
                    </a:lnTo>
                    <a:lnTo>
                      <a:pt x="1309" y="326"/>
                    </a:lnTo>
                    <a:lnTo>
                      <a:pt x="1309" y="325"/>
                    </a:lnTo>
                    <a:lnTo>
                      <a:pt x="1307" y="325"/>
                    </a:lnTo>
                    <a:lnTo>
                      <a:pt x="1307" y="323"/>
                    </a:lnTo>
                    <a:lnTo>
                      <a:pt x="1309" y="323"/>
                    </a:lnTo>
                    <a:lnTo>
                      <a:pt x="1310" y="323"/>
                    </a:lnTo>
                    <a:lnTo>
                      <a:pt x="1310" y="321"/>
                    </a:lnTo>
                    <a:lnTo>
                      <a:pt x="1310" y="320"/>
                    </a:lnTo>
                    <a:lnTo>
                      <a:pt x="1309" y="320"/>
                    </a:lnTo>
                    <a:lnTo>
                      <a:pt x="1309" y="318"/>
                    </a:lnTo>
                    <a:lnTo>
                      <a:pt x="1309" y="316"/>
                    </a:lnTo>
                    <a:lnTo>
                      <a:pt x="1309" y="314"/>
                    </a:lnTo>
                    <a:lnTo>
                      <a:pt x="1309" y="313"/>
                    </a:lnTo>
                    <a:lnTo>
                      <a:pt x="1309" y="311"/>
                    </a:lnTo>
                    <a:lnTo>
                      <a:pt x="1310" y="311"/>
                    </a:lnTo>
                    <a:lnTo>
                      <a:pt x="1310" y="309"/>
                    </a:lnTo>
                    <a:lnTo>
                      <a:pt x="1310" y="308"/>
                    </a:lnTo>
                    <a:lnTo>
                      <a:pt x="1309" y="306"/>
                    </a:lnTo>
                    <a:lnTo>
                      <a:pt x="1309" y="304"/>
                    </a:lnTo>
                    <a:lnTo>
                      <a:pt x="1307" y="304"/>
                    </a:lnTo>
                    <a:lnTo>
                      <a:pt x="1307" y="303"/>
                    </a:lnTo>
                    <a:lnTo>
                      <a:pt x="1307" y="301"/>
                    </a:lnTo>
                    <a:lnTo>
                      <a:pt x="1307" y="299"/>
                    </a:lnTo>
                    <a:lnTo>
                      <a:pt x="1309" y="299"/>
                    </a:lnTo>
                    <a:lnTo>
                      <a:pt x="1307" y="297"/>
                    </a:lnTo>
                    <a:lnTo>
                      <a:pt x="1309" y="297"/>
                    </a:lnTo>
                    <a:lnTo>
                      <a:pt x="1309" y="296"/>
                    </a:lnTo>
                    <a:lnTo>
                      <a:pt x="1310" y="296"/>
                    </a:lnTo>
                    <a:lnTo>
                      <a:pt x="1310" y="294"/>
                    </a:lnTo>
                    <a:lnTo>
                      <a:pt x="1309" y="294"/>
                    </a:lnTo>
                    <a:lnTo>
                      <a:pt x="1310" y="294"/>
                    </a:lnTo>
                    <a:lnTo>
                      <a:pt x="1310" y="292"/>
                    </a:lnTo>
                    <a:lnTo>
                      <a:pt x="1309" y="291"/>
                    </a:lnTo>
                    <a:lnTo>
                      <a:pt x="1310" y="291"/>
                    </a:lnTo>
                    <a:lnTo>
                      <a:pt x="1312" y="291"/>
                    </a:lnTo>
                    <a:lnTo>
                      <a:pt x="1312" y="289"/>
                    </a:lnTo>
                    <a:lnTo>
                      <a:pt x="1314" y="289"/>
                    </a:lnTo>
                    <a:lnTo>
                      <a:pt x="1314" y="287"/>
                    </a:lnTo>
                    <a:lnTo>
                      <a:pt x="1314" y="286"/>
                    </a:lnTo>
                    <a:lnTo>
                      <a:pt x="1315" y="287"/>
                    </a:lnTo>
                    <a:lnTo>
                      <a:pt x="1315" y="286"/>
                    </a:lnTo>
                    <a:lnTo>
                      <a:pt x="1315" y="284"/>
                    </a:lnTo>
                    <a:lnTo>
                      <a:pt x="1315" y="282"/>
                    </a:lnTo>
                    <a:lnTo>
                      <a:pt x="1317" y="282"/>
                    </a:lnTo>
                    <a:lnTo>
                      <a:pt x="1317" y="280"/>
                    </a:lnTo>
                    <a:lnTo>
                      <a:pt x="1317" y="279"/>
                    </a:lnTo>
                    <a:lnTo>
                      <a:pt x="1315" y="277"/>
                    </a:lnTo>
                    <a:lnTo>
                      <a:pt x="1315" y="275"/>
                    </a:lnTo>
                    <a:lnTo>
                      <a:pt x="1314" y="275"/>
                    </a:lnTo>
                    <a:lnTo>
                      <a:pt x="1315" y="274"/>
                    </a:lnTo>
                    <a:lnTo>
                      <a:pt x="1315" y="272"/>
                    </a:lnTo>
                    <a:lnTo>
                      <a:pt x="1315" y="270"/>
                    </a:lnTo>
                    <a:lnTo>
                      <a:pt x="1314" y="269"/>
                    </a:lnTo>
                    <a:lnTo>
                      <a:pt x="1314" y="267"/>
                    </a:lnTo>
                    <a:lnTo>
                      <a:pt x="1314" y="265"/>
                    </a:lnTo>
                    <a:lnTo>
                      <a:pt x="1312" y="265"/>
                    </a:lnTo>
                    <a:lnTo>
                      <a:pt x="1314" y="265"/>
                    </a:lnTo>
                    <a:lnTo>
                      <a:pt x="1312" y="265"/>
                    </a:lnTo>
                    <a:lnTo>
                      <a:pt x="1312" y="263"/>
                    </a:lnTo>
                    <a:lnTo>
                      <a:pt x="1312" y="262"/>
                    </a:lnTo>
                    <a:lnTo>
                      <a:pt x="1312" y="260"/>
                    </a:lnTo>
                    <a:lnTo>
                      <a:pt x="1312" y="258"/>
                    </a:lnTo>
                    <a:lnTo>
                      <a:pt x="1312" y="257"/>
                    </a:lnTo>
                    <a:lnTo>
                      <a:pt x="1312" y="255"/>
                    </a:lnTo>
                    <a:lnTo>
                      <a:pt x="1312" y="253"/>
                    </a:lnTo>
                    <a:lnTo>
                      <a:pt x="1312" y="252"/>
                    </a:lnTo>
                    <a:lnTo>
                      <a:pt x="1312" y="250"/>
                    </a:lnTo>
                    <a:lnTo>
                      <a:pt x="1314" y="250"/>
                    </a:lnTo>
                    <a:lnTo>
                      <a:pt x="1312" y="248"/>
                    </a:lnTo>
                    <a:lnTo>
                      <a:pt x="1314" y="248"/>
                    </a:lnTo>
                    <a:lnTo>
                      <a:pt x="1312" y="246"/>
                    </a:lnTo>
                    <a:lnTo>
                      <a:pt x="1314" y="246"/>
                    </a:lnTo>
                    <a:lnTo>
                      <a:pt x="1314" y="245"/>
                    </a:lnTo>
                    <a:lnTo>
                      <a:pt x="1314" y="243"/>
                    </a:lnTo>
                    <a:lnTo>
                      <a:pt x="1314" y="241"/>
                    </a:lnTo>
                    <a:lnTo>
                      <a:pt x="1314" y="240"/>
                    </a:lnTo>
                    <a:lnTo>
                      <a:pt x="1314" y="238"/>
                    </a:lnTo>
                    <a:lnTo>
                      <a:pt x="1314" y="236"/>
                    </a:lnTo>
                    <a:lnTo>
                      <a:pt x="1314" y="235"/>
                    </a:lnTo>
                    <a:lnTo>
                      <a:pt x="1314" y="233"/>
                    </a:lnTo>
                    <a:lnTo>
                      <a:pt x="1314" y="231"/>
                    </a:lnTo>
                    <a:lnTo>
                      <a:pt x="1314" y="229"/>
                    </a:lnTo>
                    <a:lnTo>
                      <a:pt x="1314" y="228"/>
                    </a:lnTo>
                    <a:lnTo>
                      <a:pt x="1314" y="226"/>
                    </a:lnTo>
                    <a:lnTo>
                      <a:pt x="1315" y="226"/>
                    </a:lnTo>
                    <a:lnTo>
                      <a:pt x="1315" y="224"/>
                    </a:lnTo>
                    <a:lnTo>
                      <a:pt x="1317" y="224"/>
                    </a:lnTo>
                    <a:lnTo>
                      <a:pt x="1317" y="223"/>
                    </a:lnTo>
                    <a:lnTo>
                      <a:pt x="1317" y="221"/>
                    </a:lnTo>
                    <a:lnTo>
                      <a:pt x="1317" y="219"/>
                    </a:lnTo>
                    <a:lnTo>
                      <a:pt x="1317" y="218"/>
                    </a:lnTo>
                    <a:lnTo>
                      <a:pt x="1317" y="216"/>
                    </a:lnTo>
                    <a:lnTo>
                      <a:pt x="1315" y="216"/>
                    </a:lnTo>
                    <a:lnTo>
                      <a:pt x="1315" y="214"/>
                    </a:lnTo>
                    <a:lnTo>
                      <a:pt x="1314" y="214"/>
                    </a:lnTo>
                    <a:lnTo>
                      <a:pt x="1314" y="216"/>
                    </a:lnTo>
                    <a:lnTo>
                      <a:pt x="1312" y="218"/>
                    </a:lnTo>
                    <a:lnTo>
                      <a:pt x="1312" y="216"/>
                    </a:lnTo>
                    <a:lnTo>
                      <a:pt x="1310" y="216"/>
                    </a:lnTo>
                    <a:lnTo>
                      <a:pt x="1310" y="214"/>
                    </a:lnTo>
                    <a:lnTo>
                      <a:pt x="1312" y="212"/>
                    </a:lnTo>
                    <a:lnTo>
                      <a:pt x="1310" y="212"/>
                    </a:lnTo>
                    <a:lnTo>
                      <a:pt x="1310" y="211"/>
                    </a:lnTo>
                    <a:lnTo>
                      <a:pt x="1312" y="209"/>
                    </a:lnTo>
                    <a:lnTo>
                      <a:pt x="1310" y="209"/>
                    </a:lnTo>
                    <a:lnTo>
                      <a:pt x="1310" y="207"/>
                    </a:lnTo>
                    <a:lnTo>
                      <a:pt x="1310" y="206"/>
                    </a:lnTo>
                    <a:lnTo>
                      <a:pt x="1312" y="206"/>
                    </a:lnTo>
                    <a:lnTo>
                      <a:pt x="1312" y="204"/>
                    </a:lnTo>
                    <a:lnTo>
                      <a:pt x="1312" y="202"/>
                    </a:lnTo>
                    <a:lnTo>
                      <a:pt x="1312" y="201"/>
                    </a:lnTo>
                    <a:lnTo>
                      <a:pt x="1312" y="199"/>
                    </a:lnTo>
                    <a:lnTo>
                      <a:pt x="1314" y="199"/>
                    </a:lnTo>
                    <a:lnTo>
                      <a:pt x="1314" y="201"/>
                    </a:lnTo>
                    <a:lnTo>
                      <a:pt x="1315" y="201"/>
                    </a:lnTo>
                    <a:lnTo>
                      <a:pt x="1317" y="201"/>
                    </a:lnTo>
                    <a:lnTo>
                      <a:pt x="1319" y="201"/>
                    </a:lnTo>
                    <a:lnTo>
                      <a:pt x="1319" y="199"/>
                    </a:lnTo>
                    <a:lnTo>
                      <a:pt x="1321" y="197"/>
                    </a:lnTo>
                    <a:lnTo>
                      <a:pt x="1321" y="195"/>
                    </a:lnTo>
                    <a:lnTo>
                      <a:pt x="1321" y="194"/>
                    </a:lnTo>
                    <a:lnTo>
                      <a:pt x="1322" y="194"/>
                    </a:lnTo>
                    <a:lnTo>
                      <a:pt x="1321" y="192"/>
                    </a:lnTo>
                    <a:lnTo>
                      <a:pt x="1321" y="190"/>
                    </a:lnTo>
                    <a:lnTo>
                      <a:pt x="1321" y="189"/>
                    </a:lnTo>
                    <a:lnTo>
                      <a:pt x="1322" y="187"/>
                    </a:lnTo>
                    <a:lnTo>
                      <a:pt x="1322" y="185"/>
                    </a:lnTo>
                    <a:lnTo>
                      <a:pt x="1322" y="184"/>
                    </a:lnTo>
                    <a:lnTo>
                      <a:pt x="1322" y="182"/>
                    </a:lnTo>
                    <a:lnTo>
                      <a:pt x="1322" y="180"/>
                    </a:lnTo>
                    <a:lnTo>
                      <a:pt x="1324" y="178"/>
                    </a:lnTo>
                    <a:lnTo>
                      <a:pt x="1322" y="178"/>
                    </a:lnTo>
                    <a:lnTo>
                      <a:pt x="1322" y="177"/>
                    </a:lnTo>
                    <a:lnTo>
                      <a:pt x="1322" y="175"/>
                    </a:lnTo>
                    <a:lnTo>
                      <a:pt x="1322" y="173"/>
                    </a:lnTo>
                    <a:lnTo>
                      <a:pt x="1324" y="172"/>
                    </a:lnTo>
                    <a:lnTo>
                      <a:pt x="1322" y="172"/>
                    </a:lnTo>
                    <a:lnTo>
                      <a:pt x="1324" y="170"/>
                    </a:lnTo>
                    <a:lnTo>
                      <a:pt x="1324" y="168"/>
                    </a:lnTo>
                    <a:lnTo>
                      <a:pt x="1324" y="166"/>
                    </a:lnTo>
                    <a:lnTo>
                      <a:pt x="1324" y="165"/>
                    </a:lnTo>
                    <a:lnTo>
                      <a:pt x="1324" y="163"/>
                    </a:lnTo>
                    <a:lnTo>
                      <a:pt x="1326" y="163"/>
                    </a:lnTo>
                    <a:lnTo>
                      <a:pt x="1324" y="163"/>
                    </a:lnTo>
                    <a:lnTo>
                      <a:pt x="1324" y="161"/>
                    </a:lnTo>
                    <a:lnTo>
                      <a:pt x="1326" y="161"/>
                    </a:lnTo>
                    <a:lnTo>
                      <a:pt x="1326" y="160"/>
                    </a:lnTo>
                    <a:lnTo>
                      <a:pt x="1326" y="158"/>
                    </a:lnTo>
                    <a:lnTo>
                      <a:pt x="1326" y="156"/>
                    </a:lnTo>
                    <a:lnTo>
                      <a:pt x="1326" y="155"/>
                    </a:lnTo>
                    <a:lnTo>
                      <a:pt x="1326" y="153"/>
                    </a:lnTo>
                    <a:lnTo>
                      <a:pt x="1326" y="151"/>
                    </a:lnTo>
                    <a:lnTo>
                      <a:pt x="1326" y="149"/>
                    </a:lnTo>
                    <a:lnTo>
                      <a:pt x="1326" y="148"/>
                    </a:lnTo>
                    <a:lnTo>
                      <a:pt x="1327" y="148"/>
                    </a:lnTo>
                    <a:lnTo>
                      <a:pt x="1327" y="146"/>
                    </a:lnTo>
                    <a:lnTo>
                      <a:pt x="1327" y="144"/>
                    </a:lnTo>
                    <a:lnTo>
                      <a:pt x="1329" y="144"/>
                    </a:lnTo>
                    <a:lnTo>
                      <a:pt x="1329" y="143"/>
                    </a:lnTo>
                    <a:lnTo>
                      <a:pt x="1329" y="141"/>
                    </a:lnTo>
                    <a:lnTo>
                      <a:pt x="1329" y="139"/>
                    </a:lnTo>
                    <a:lnTo>
                      <a:pt x="1329" y="138"/>
                    </a:lnTo>
                    <a:lnTo>
                      <a:pt x="1327" y="138"/>
                    </a:lnTo>
                    <a:lnTo>
                      <a:pt x="1329" y="136"/>
                    </a:lnTo>
                    <a:lnTo>
                      <a:pt x="1329" y="134"/>
                    </a:lnTo>
                    <a:lnTo>
                      <a:pt x="1329" y="132"/>
                    </a:lnTo>
                    <a:lnTo>
                      <a:pt x="1327" y="132"/>
                    </a:lnTo>
                    <a:lnTo>
                      <a:pt x="1327" y="131"/>
                    </a:lnTo>
                    <a:lnTo>
                      <a:pt x="1327" y="129"/>
                    </a:lnTo>
                    <a:lnTo>
                      <a:pt x="1327" y="127"/>
                    </a:lnTo>
                    <a:lnTo>
                      <a:pt x="1326" y="127"/>
                    </a:lnTo>
                    <a:lnTo>
                      <a:pt x="1326" y="126"/>
                    </a:lnTo>
                    <a:lnTo>
                      <a:pt x="1326" y="124"/>
                    </a:lnTo>
                    <a:lnTo>
                      <a:pt x="1327" y="122"/>
                    </a:lnTo>
                    <a:lnTo>
                      <a:pt x="1326" y="121"/>
                    </a:lnTo>
                    <a:lnTo>
                      <a:pt x="1327" y="121"/>
                    </a:lnTo>
                    <a:lnTo>
                      <a:pt x="1326" y="121"/>
                    </a:lnTo>
                    <a:lnTo>
                      <a:pt x="1326" y="119"/>
                    </a:lnTo>
                    <a:lnTo>
                      <a:pt x="1324" y="117"/>
                    </a:lnTo>
                    <a:lnTo>
                      <a:pt x="1326" y="117"/>
                    </a:lnTo>
                    <a:lnTo>
                      <a:pt x="1324" y="117"/>
                    </a:lnTo>
                    <a:lnTo>
                      <a:pt x="1324" y="115"/>
                    </a:lnTo>
                    <a:lnTo>
                      <a:pt x="1326" y="115"/>
                    </a:lnTo>
                    <a:lnTo>
                      <a:pt x="1324" y="115"/>
                    </a:lnTo>
                    <a:lnTo>
                      <a:pt x="1324" y="114"/>
                    </a:lnTo>
                    <a:lnTo>
                      <a:pt x="1326" y="114"/>
                    </a:lnTo>
                    <a:lnTo>
                      <a:pt x="1324" y="114"/>
                    </a:lnTo>
                    <a:lnTo>
                      <a:pt x="1326" y="112"/>
                    </a:lnTo>
                    <a:lnTo>
                      <a:pt x="1324" y="110"/>
                    </a:lnTo>
                    <a:lnTo>
                      <a:pt x="1324" y="109"/>
                    </a:lnTo>
                    <a:lnTo>
                      <a:pt x="1324" y="107"/>
                    </a:lnTo>
                    <a:lnTo>
                      <a:pt x="1326" y="107"/>
                    </a:lnTo>
                    <a:lnTo>
                      <a:pt x="1326" y="105"/>
                    </a:lnTo>
                    <a:lnTo>
                      <a:pt x="1326" y="104"/>
                    </a:lnTo>
                    <a:lnTo>
                      <a:pt x="1326" y="102"/>
                    </a:lnTo>
                    <a:lnTo>
                      <a:pt x="1326" y="100"/>
                    </a:lnTo>
                    <a:lnTo>
                      <a:pt x="1327" y="100"/>
                    </a:lnTo>
                    <a:lnTo>
                      <a:pt x="1327" y="98"/>
                    </a:lnTo>
                    <a:lnTo>
                      <a:pt x="1326" y="97"/>
                    </a:lnTo>
                    <a:lnTo>
                      <a:pt x="1327" y="95"/>
                    </a:lnTo>
                    <a:lnTo>
                      <a:pt x="1326" y="95"/>
                    </a:lnTo>
                    <a:lnTo>
                      <a:pt x="1326" y="93"/>
                    </a:lnTo>
                    <a:lnTo>
                      <a:pt x="1327" y="93"/>
                    </a:lnTo>
                    <a:lnTo>
                      <a:pt x="1327" y="92"/>
                    </a:lnTo>
                    <a:lnTo>
                      <a:pt x="1327" y="90"/>
                    </a:lnTo>
                    <a:lnTo>
                      <a:pt x="1327" y="88"/>
                    </a:lnTo>
                    <a:lnTo>
                      <a:pt x="1327" y="87"/>
                    </a:lnTo>
                    <a:lnTo>
                      <a:pt x="1326" y="87"/>
                    </a:lnTo>
                    <a:lnTo>
                      <a:pt x="1327" y="87"/>
                    </a:lnTo>
                    <a:lnTo>
                      <a:pt x="1326" y="85"/>
                    </a:lnTo>
                    <a:lnTo>
                      <a:pt x="1327" y="85"/>
                    </a:lnTo>
                    <a:lnTo>
                      <a:pt x="1327" y="83"/>
                    </a:lnTo>
                    <a:lnTo>
                      <a:pt x="1326" y="83"/>
                    </a:lnTo>
                    <a:lnTo>
                      <a:pt x="1326" y="81"/>
                    </a:lnTo>
                    <a:lnTo>
                      <a:pt x="1326" y="80"/>
                    </a:lnTo>
                    <a:lnTo>
                      <a:pt x="1326" y="78"/>
                    </a:lnTo>
                    <a:lnTo>
                      <a:pt x="1326" y="76"/>
                    </a:lnTo>
                    <a:lnTo>
                      <a:pt x="1324" y="75"/>
                    </a:lnTo>
                    <a:lnTo>
                      <a:pt x="1324" y="73"/>
                    </a:lnTo>
                    <a:lnTo>
                      <a:pt x="1324" y="71"/>
                    </a:lnTo>
                    <a:lnTo>
                      <a:pt x="1324" y="70"/>
                    </a:lnTo>
                    <a:lnTo>
                      <a:pt x="1324" y="68"/>
                    </a:lnTo>
                    <a:lnTo>
                      <a:pt x="1324" y="66"/>
                    </a:lnTo>
                    <a:lnTo>
                      <a:pt x="1322" y="66"/>
                    </a:lnTo>
                    <a:lnTo>
                      <a:pt x="1322" y="64"/>
                    </a:lnTo>
                    <a:lnTo>
                      <a:pt x="1322" y="63"/>
                    </a:lnTo>
                    <a:lnTo>
                      <a:pt x="1322" y="61"/>
                    </a:lnTo>
                    <a:lnTo>
                      <a:pt x="1322" y="59"/>
                    </a:lnTo>
                    <a:lnTo>
                      <a:pt x="1322" y="58"/>
                    </a:lnTo>
                    <a:lnTo>
                      <a:pt x="1322" y="56"/>
                    </a:lnTo>
                    <a:lnTo>
                      <a:pt x="1321" y="56"/>
                    </a:lnTo>
                    <a:lnTo>
                      <a:pt x="1321" y="54"/>
                    </a:lnTo>
                    <a:lnTo>
                      <a:pt x="1321" y="53"/>
                    </a:lnTo>
                    <a:lnTo>
                      <a:pt x="1321" y="51"/>
                    </a:lnTo>
                    <a:lnTo>
                      <a:pt x="1321" y="49"/>
                    </a:lnTo>
                    <a:lnTo>
                      <a:pt x="1321" y="47"/>
                    </a:lnTo>
                    <a:lnTo>
                      <a:pt x="1319" y="47"/>
                    </a:lnTo>
                    <a:lnTo>
                      <a:pt x="1319" y="46"/>
                    </a:lnTo>
                    <a:lnTo>
                      <a:pt x="1319" y="44"/>
                    </a:lnTo>
                    <a:lnTo>
                      <a:pt x="1321" y="44"/>
                    </a:lnTo>
                    <a:lnTo>
                      <a:pt x="1319" y="42"/>
                    </a:lnTo>
                    <a:lnTo>
                      <a:pt x="1321" y="42"/>
                    </a:lnTo>
                    <a:lnTo>
                      <a:pt x="1321" y="41"/>
                    </a:lnTo>
                    <a:lnTo>
                      <a:pt x="1319" y="41"/>
                    </a:lnTo>
                    <a:lnTo>
                      <a:pt x="1321" y="39"/>
                    </a:lnTo>
                    <a:lnTo>
                      <a:pt x="1321" y="37"/>
                    </a:lnTo>
                    <a:lnTo>
                      <a:pt x="1321" y="36"/>
                    </a:lnTo>
                    <a:lnTo>
                      <a:pt x="1321" y="34"/>
                    </a:lnTo>
                    <a:lnTo>
                      <a:pt x="1321" y="32"/>
                    </a:lnTo>
                    <a:lnTo>
                      <a:pt x="1321" y="30"/>
                    </a:lnTo>
                    <a:lnTo>
                      <a:pt x="1319" y="30"/>
                    </a:lnTo>
                    <a:lnTo>
                      <a:pt x="1319" y="29"/>
                    </a:lnTo>
                    <a:lnTo>
                      <a:pt x="1321" y="29"/>
                    </a:lnTo>
                    <a:lnTo>
                      <a:pt x="1322" y="29"/>
                    </a:lnTo>
                    <a:lnTo>
                      <a:pt x="1324" y="29"/>
                    </a:lnTo>
                    <a:lnTo>
                      <a:pt x="1326" y="29"/>
                    </a:lnTo>
                    <a:lnTo>
                      <a:pt x="1327" y="29"/>
                    </a:lnTo>
                    <a:lnTo>
                      <a:pt x="1329" y="27"/>
                    </a:lnTo>
                    <a:lnTo>
                      <a:pt x="1331" y="27"/>
                    </a:lnTo>
                    <a:lnTo>
                      <a:pt x="1331" y="25"/>
                    </a:lnTo>
                    <a:lnTo>
                      <a:pt x="1332" y="25"/>
                    </a:lnTo>
                    <a:lnTo>
                      <a:pt x="1334" y="25"/>
                    </a:lnTo>
                    <a:lnTo>
                      <a:pt x="1334" y="24"/>
                    </a:lnTo>
                    <a:lnTo>
                      <a:pt x="1336" y="24"/>
                    </a:lnTo>
                    <a:lnTo>
                      <a:pt x="1338" y="22"/>
                    </a:lnTo>
                    <a:lnTo>
                      <a:pt x="1339" y="22"/>
                    </a:lnTo>
                    <a:lnTo>
                      <a:pt x="1339" y="20"/>
                    </a:lnTo>
                    <a:lnTo>
                      <a:pt x="1339" y="18"/>
                    </a:lnTo>
                    <a:lnTo>
                      <a:pt x="1339" y="17"/>
                    </a:lnTo>
                    <a:lnTo>
                      <a:pt x="1339" y="15"/>
                    </a:lnTo>
                    <a:lnTo>
                      <a:pt x="1339" y="13"/>
                    </a:lnTo>
                    <a:lnTo>
                      <a:pt x="1338" y="13"/>
                    </a:lnTo>
                    <a:lnTo>
                      <a:pt x="1339" y="12"/>
                    </a:lnTo>
                    <a:lnTo>
                      <a:pt x="1338" y="12"/>
                    </a:lnTo>
                    <a:lnTo>
                      <a:pt x="1338" y="10"/>
                    </a:lnTo>
                    <a:lnTo>
                      <a:pt x="1338" y="8"/>
                    </a:lnTo>
                    <a:lnTo>
                      <a:pt x="1336" y="8"/>
                    </a:lnTo>
                    <a:lnTo>
                      <a:pt x="1338" y="7"/>
                    </a:lnTo>
                    <a:lnTo>
                      <a:pt x="1338" y="5"/>
                    </a:lnTo>
                    <a:lnTo>
                      <a:pt x="1339" y="5"/>
                    </a:lnTo>
                    <a:lnTo>
                      <a:pt x="1341" y="5"/>
                    </a:lnTo>
                    <a:lnTo>
                      <a:pt x="1343" y="5"/>
                    </a:lnTo>
                    <a:lnTo>
                      <a:pt x="1344" y="3"/>
                    </a:lnTo>
                    <a:lnTo>
                      <a:pt x="1346" y="1"/>
                    </a:lnTo>
                    <a:lnTo>
                      <a:pt x="1349" y="0"/>
                    </a:lnTo>
                    <a:lnTo>
                      <a:pt x="1349" y="3"/>
                    </a:lnTo>
                    <a:lnTo>
                      <a:pt x="1351" y="5"/>
                    </a:lnTo>
                    <a:lnTo>
                      <a:pt x="1353" y="7"/>
                    </a:lnTo>
                    <a:lnTo>
                      <a:pt x="1353" y="8"/>
                    </a:lnTo>
                    <a:lnTo>
                      <a:pt x="1355" y="8"/>
                    </a:lnTo>
                    <a:lnTo>
                      <a:pt x="1355" y="10"/>
                    </a:lnTo>
                    <a:lnTo>
                      <a:pt x="1355" y="12"/>
                    </a:lnTo>
                    <a:lnTo>
                      <a:pt x="1355" y="13"/>
                    </a:lnTo>
                    <a:lnTo>
                      <a:pt x="1355" y="15"/>
                    </a:lnTo>
                    <a:lnTo>
                      <a:pt x="1356" y="15"/>
                    </a:lnTo>
                    <a:lnTo>
                      <a:pt x="1356" y="17"/>
                    </a:lnTo>
                    <a:lnTo>
                      <a:pt x="1358" y="17"/>
                    </a:lnTo>
                    <a:lnTo>
                      <a:pt x="1360" y="17"/>
                    </a:lnTo>
                    <a:lnTo>
                      <a:pt x="1361" y="17"/>
                    </a:lnTo>
                    <a:lnTo>
                      <a:pt x="1361" y="18"/>
                    </a:lnTo>
                    <a:lnTo>
                      <a:pt x="1363" y="18"/>
                    </a:lnTo>
                    <a:lnTo>
                      <a:pt x="1363" y="20"/>
                    </a:lnTo>
                    <a:lnTo>
                      <a:pt x="1361" y="20"/>
                    </a:lnTo>
                    <a:lnTo>
                      <a:pt x="1363" y="20"/>
                    </a:lnTo>
                    <a:lnTo>
                      <a:pt x="1361" y="20"/>
                    </a:lnTo>
                    <a:lnTo>
                      <a:pt x="1361" y="22"/>
                    </a:lnTo>
                    <a:lnTo>
                      <a:pt x="1360" y="22"/>
                    </a:lnTo>
                    <a:lnTo>
                      <a:pt x="1360" y="24"/>
                    </a:lnTo>
                    <a:lnTo>
                      <a:pt x="1361" y="24"/>
                    </a:lnTo>
                    <a:lnTo>
                      <a:pt x="1361" y="25"/>
                    </a:lnTo>
                    <a:lnTo>
                      <a:pt x="1363" y="25"/>
                    </a:lnTo>
                    <a:lnTo>
                      <a:pt x="1363" y="27"/>
                    </a:lnTo>
                    <a:lnTo>
                      <a:pt x="1363" y="29"/>
                    </a:lnTo>
                    <a:lnTo>
                      <a:pt x="1363" y="30"/>
                    </a:lnTo>
                    <a:lnTo>
                      <a:pt x="1363" y="32"/>
                    </a:lnTo>
                    <a:lnTo>
                      <a:pt x="1365" y="32"/>
                    </a:lnTo>
                    <a:lnTo>
                      <a:pt x="1365" y="34"/>
                    </a:lnTo>
                    <a:lnTo>
                      <a:pt x="1365" y="36"/>
                    </a:lnTo>
                    <a:lnTo>
                      <a:pt x="1365" y="37"/>
                    </a:lnTo>
                    <a:lnTo>
                      <a:pt x="1365" y="39"/>
                    </a:lnTo>
                    <a:lnTo>
                      <a:pt x="1363" y="39"/>
                    </a:lnTo>
                    <a:lnTo>
                      <a:pt x="1365" y="39"/>
                    </a:lnTo>
                    <a:lnTo>
                      <a:pt x="1365" y="41"/>
                    </a:lnTo>
                    <a:lnTo>
                      <a:pt x="1365" y="42"/>
                    </a:lnTo>
                    <a:lnTo>
                      <a:pt x="1366" y="42"/>
                    </a:lnTo>
                    <a:lnTo>
                      <a:pt x="1366" y="44"/>
                    </a:lnTo>
                    <a:lnTo>
                      <a:pt x="1366" y="46"/>
                    </a:lnTo>
                    <a:lnTo>
                      <a:pt x="1368" y="47"/>
                    </a:lnTo>
                    <a:lnTo>
                      <a:pt x="1368" y="49"/>
                    </a:lnTo>
                    <a:lnTo>
                      <a:pt x="1366" y="49"/>
                    </a:lnTo>
                    <a:lnTo>
                      <a:pt x="1366" y="51"/>
                    </a:lnTo>
                    <a:lnTo>
                      <a:pt x="1368" y="51"/>
                    </a:lnTo>
                    <a:lnTo>
                      <a:pt x="1368" y="53"/>
                    </a:lnTo>
                    <a:lnTo>
                      <a:pt x="1368" y="54"/>
                    </a:lnTo>
                    <a:lnTo>
                      <a:pt x="1370" y="54"/>
                    </a:lnTo>
                    <a:lnTo>
                      <a:pt x="1372" y="56"/>
                    </a:lnTo>
                    <a:lnTo>
                      <a:pt x="1373" y="56"/>
                    </a:lnTo>
                    <a:lnTo>
                      <a:pt x="1373" y="58"/>
                    </a:lnTo>
                    <a:lnTo>
                      <a:pt x="1375" y="58"/>
                    </a:lnTo>
                    <a:lnTo>
                      <a:pt x="1375" y="59"/>
                    </a:lnTo>
                    <a:lnTo>
                      <a:pt x="1377" y="59"/>
                    </a:lnTo>
                    <a:lnTo>
                      <a:pt x="1377" y="61"/>
                    </a:lnTo>
                    <a:lnTo>
                      <a:pt x="1378" y="61"/>
                    </a:lnTo>
                    <a:lnTo>
                      <a:pt x="1378" y="63"/>
                    </a:lnTo>
                    <a:lnTo>
                      <a:pt x="1380" y="63"/>
                    </a:lnTo>
                    <a:lnTo>
                      <a:pt x="1382" y="64"/>
                    </a:lnTo>
                    <a:lnTo>
                      <a:pt x="1382" y="66"/>
                    </a:lnTo>
                    <a:lnTo>
                      <a:pt x="1383" y="66"/>
                    </a:lnTo>
                    <a:lnTo>
                      <a:pt x="1383" y="68"/>
                    </a:lnTo>
                    <a:lnTo>
                      <a:pt x="1383" y="70"/>
                    </a:lnTo>
                    <a:lnTo>
                      <a:pt x="1382" y="71"/>
                    </a:lnTo>
                    <a:lnTo>
                      <a:pt x="1382" y="73"/>
                    </a:lnTo>
                    <a:lnTo>
                      <a:pt x="1380" y="73"/>
                    </a:lnTo>
                    <a:lnTo>
                      <a:pt x="1380" y="75"/>
                    </a:lnTo>
                    <a:lnTo>
                      <a:pt x="1378" y="75"/>
                    </a:lnTo>
                    <a:lnTo>
                      <a:pt x="1378" y="76"/>
                    </a:lnTo>
                    <a:lnTo>
                      <a:pt x="1378" y="78"/>
                    </a:lnTo>
                    <a:lnTo>
                      <a:pt x="1377" y="78"/>
                    </a:lnTo>
                    <a:lnTo>
                      <a:pt x="1375" y="78"/>
                    </a:lnTo>
                    <a:lnTo>
                      <a:pt x="1375" y="80"/>
                    </a:lnTo>
                    <a:lnTo>
                      <a:pt x="1377" y="80"/>
                    </a:lnTo>
                    <a:lnTo>
                      <a:pt x="1378" y="81"/>
                    </a:lnTo>
                    <a:lnTo>
                      <a:pt x="1378" y="83"/>
                    </a:lnTo>
                    <a:lnTo>
                      <a:pt x="1380" y="83"/>
                    </a:lnTo>
                    <a:lnTo>
                      <a:pt x="1382" y="83"/>
                    </a:lnTo>
                    <a:lnTo>
                      <a:pt x="1380" y="83"/>
                    </a:lnTo>
                    <a:lnTo>
                      <a:pt x="1380" y="85"/>
                    </a:lnTo>
                    <a:lnTo>
                      <a:pt x="1382" y="85"/>
                    </a:lnTo>
                    <a:lnTo>
                      <a:pt x="1382" y="87"/>
                    </a:lnTo>
                    <a:lnTo>
                      <a:pt x="1380" y="87"/>
                    </a:lnTo>
                    <a:lnTo>
                      <a:pt x="1380" y="88"/>
                    </a:lnTo>
                    <a:lnTo>
                      <a:pt x="1380" y="90"/>
                    </a:lnTo>
                    <a:lnTo>
                      <a:pt x="1378" y="90"/>
                    </a:lnTo>
                    <a:lnTo>
                      <a:pt x="1377" y="90"/>
                    </a:lnTo>
                    <a:lnTo>
                      <a:pt x="1375" y="92"/>
                    </a:lnTo>
                    <a:lnTo>
                      <a:pt x="1373" y="92"/>
                    </a:lnTo>
                    <a:lnTo>
                      <a:pt x="1373" y="93"/>
                    </a:lnTo>
                    <a:lnTo>
                      <a:pt x="1375" y="93"/>
                    </a:lnTo>
                    <a:lnTo>
                      <a:pt x="1375" y="95"/>
                    </a:lnTo>
                    <a:lnTo>
                      <a:pt x="1375" y="97"/>
                    </a:lnTo>
                    <a:lnTo>
                      <a:pt x="1375" y="98"/>
                    </a:lnTo>
                    <a:lnTo>
                      <a:pt x="1377" y="98"/>
                    </a:lnTo>
                    <a:lnTo>
                      <a:pt x="1377" y="100"/>
                    </a:lnTo>
                    <a:lnTo>
                      <a:pt x="1377" y="102"/>
                    </a:lnTo>
                    <a:lnTo>
                      <a:pt x="1375" y="102"/>
                    </a:lnTo>
                    <a:lnTo>
                      <a:pt x="1373" y="102"/>
                    </a:lnTo>
                    <a:lnTo>
                      <a:pt x="1373" y="104"/>
                    </a:lnTo>
                    <a:lnTo>
                      <a:pt x="1373" y="105"/>
                    </a:lnTo>
                    <a:lnTo>
                      <a:pt x="1375" y="105"/>
                    </a:lnTo>
                    <a:lnTo>
                      <a:pt x="1375" y="107"/>
                    </a:lnTo>
                    <a:lnTo>
                      <a:pt x="1377" y="107"/>
                    </a:lnTo>
                    <a:lnTo>
                      <a:pt x="1378" y="107"/>
                    </a:lnTo>
                    <a:lnTo>
                      <a:pt x="1378" y="109"/>
                    </a:lnTo>
                    <a:lnTo>
                      <a:pt x="1380" y="109"/>
                    </a:lnTo>
                    <a:lnTo>
                      <a:pt x="1382" y="109"/>
                    </a:lnTo>
                    <a:lnTo>
                      <a:pt x="1382" y="110"/>
                    </a:lnTo>
                    <a:lnTo>
                      <a:pt x="1383" y="110"/>
                    </a:lnTo>
                    <a:lnTo>
                      <a:pt x="1383" y="112"/>
                    </a:lnTo>
                    <a:lnTo>
                      <a:pt x="1382" y="112"/>
                    </a:lnTo>
                    <a:lnTo>
                      <a:pt x="1382" y="114"/>
                    </a:lnTo>
                    <a:lnTo>
                      <a:pt x="1380" y="114"/>
                    </a:lnTo>
                    <a:lnTo>
                      <a:pt x="1380" y="115"/>
                    </a:lnTo>
                    <a:lnTo>
                      <a:pt x="1380" y="117"/>
                    </a:lnTo>
                    <a:lnTo>
                      <a:pt x="1380" y="119"/>
                    </a:lnTo>
                    <a:lnTo>
                      <a:pt x="1380" y="121"/>
                    </a:lnTo>
                    <a:lnTo>
                      <a:pt x="1382" y="122"/>
                    </a:lnTo>
                    <a:lnTo>
                      <a:pt x="1383" y="122"/>
                    </a:lnTo>
                    <a:lnTo>
                      <a:pt x="1385" y="122"/>
                    </a:lnTo>
                    <a:lnTo>
                      <a:pt x="1385" y="124"/>
                    </a:lnTo>
                    <a:lnTo>
                      <a:pt x="1387" y="124"/>
                    </a:lnTo>
                    <a:lnTo>
                      <a:pt x="1387" y="126"/>
                    </a:lnTo>
                    <a:lnTo>
                      <a:pt x="1389" y="126"/>
                    </a:lnTo>
                    <a:lnTo>
                      <a:pt x="1389" y="127"/>
                    </a:lnTo>
                    <a:lnTo>
                      <a:pt x="1389" y="129"/>
                    </a:lnTo>
                    <a:lnTo>
                      <a:pt x="1392" y="134"/>
                    </a:lnTo>
                    <a:lnTo>
                      <a:pt x="1392" y="136"/>
                    </a:lnTo>
                    <a:lnTo>
                      <a:pt x="1392" y="138"/>
                    </a:lnTo>
                    <a:lnTo>
                      <a:pt x="1392" y="141"/>
                    </a:lnTo>
                    <a:lnTo>
                      <a:pt x="1392" y="143"/>
                    </a:lnTo>
                    <a:lnTo>
                      <a:pt x="1392" y="144"/>
                    </a:lnTo>
                    <a:lnTo>
                      <a:pt x="1392" y="146"/>
                    </a:lnTo>
                    <a:lnTo>
                      <a:pt x="1394" y="148"/>
                    </a:lnTo>
                    <a:lnTo>
                      <a:pt x="1395" y="149"/>
                    </a:lnTo>
                    <a:lnTo>
                      <a:pt x="1395" y="151"/>
                    </a:lnTo>
                    <a:lnTo>
                      <a:pt x="1397" y="153"/>
                    </a:lnTo>
                    <a:lnTo>
                      <a:pt x="1397" y="155"/>
                    </a:lnTo>
                    <a:lnTo>
                      <a:pt x="1397" y="160"/>
                    </a:lnTo>
                    <a:lnTo>
                      <a:pt x="1397" y="161"/>
                    </a:lnTo>
                    <a:lnTo>
                      <a:pt x="1399" y="161"/>
                    </a:lnTo>
                    <a:lnTo>
                      <a:pt x="1399" y="163"/>
                    </a:lnTo>
                    <a:lnTo>
                      <a:pt x="1400" y="163"/>
                    </a:lnTo>
                    <a:lnTo>
                      <a:pt x="1400" y="165"/>
                    </a:lnTo>
                    <a:lnTo>
                      <a:pt x="1400" y="166"/>
                    </a:lnTo>
                    <a:lnTo>
                      <a:pt x="1400" y="168"/>
                    </a:lnTo>
                    <a:lnTo>
                      <a:pt x="1402" y="168"/>
                    </a:lnTo>
                    <a:lnTo>
                      <a:pt x="1400" y="170"/>
                    </a:lnTo>
                    <a:lnTo>
                      <a:pt x="1402" y="170"/>
                    </a:lnTo>
                    <a:lnTo>
                      <a:pt x="1400" y="172"/>
                    </a:lnTo>
                    <a:lnTo>
                      <a:pt x="1400" y="173"/>
                    </a:lnTo>
                    <a:lnTo>
                      <a:pt x="1400" y="175"/>
                    </a:lnTo>
                    <a:lnTo>
                      <a:pt x="1402" y="175"/>
                    </a:lnTo>
                    <a:lnTo>
                      <a:pt x="1402" y="177"/>
                    </a:lnTo>
                    <a:lnTo>
                      <a:pt x="1402" y="178"/>
                    </a:lnTo>
                    <a:lnTo>
                      <a:pt x="1402" y="180"/>
                    </a:lnTo>
                    <a:lnTo>
                      <a:pt x="1404" y="180"/>
                    </a:lnTo>
                    <a:lnTo>
                      <a:pt x="1404" y="182"/>
                    </a:lnTo>
                    <a:lnTo>
                      <a:pt x="1404" y="184"/>
                    </a:lnTo>
                    <a:lnTo>
                      <a:pt x="1402" y="184"/>
                    </a:lnTo>
                    <a:lnTo>
                      <a:pt x="1402" y="185"/>
                    </a:lnTo>
                    <a:lnTo>
                      <a:pt x="1404" y="185"/>
                    </a:lnTo>
                    <a:lnTo>
                      <a:pt x="1402" y="187"/>
                    </a:lnTo>
                    <a:lnTo>
                      <a:pt x="1404" y="189"/>
                    </a:lnTo>
                    <a:lnTo>
                      <a:pt x="1402" y="189"/>
                    </a:lnTo>
                    <a:lnTo>
                      <a:pt x="1404" y="189"/>
                    </a:lnTo>
                    <a:lnTo>
                      <a:pt x="1402" y="190"/>
                    </a:lnTo>
                    <a:lnTo>
                      <a:pt x="1402" y="192"/>
                    </a:lnTo>
                    <a:lnTo>
                      <a:pt x="1404" y="192"/>
                    </a:lnTo>
                    <a:lnTo>
                      <a:pt x="1406" y="192"/>
                    </a:lnTo>
                    <a:lnTo>
                      <a:pt x="1414" y="194"/>
                    </a:lnTo>
                    <a:lnTo>
                      <a:pt x="1416" y="194"/>
                    </a:lnTo>
                    <a:lnTo>
                      <a:pt x="1426" y="190"/>
                    </a:lnTo>
                    <a:close/>
                    <a:moveTo>
                      <a:pt x="1378" y="1498"/>
                    </a:moveTo>
                    <a:lnTo>
                      <a:pt x="1378" y="1500"/>
                    </a:lnTo>
                    <a:lnTo>
                      <a:pt x="1378" y="1517"/>
                    </a:lnTo>
                    <a:lnTo>
                      <a:pt x="1378" y="1531"/>
                    </a:lnTo>
                    <a:lnTo>
                      <a:pt x="1378" y="1536"/>
                    </a:lnTo>
                    <a:lnTo>
                      <a:pt x="1378" y="1539"/>
                    </a:lnTo>
                    <a:lnTo>
                      <a:pt x="1378" y="1551"/>
                    </a:lnTo>
                    <a:lnTo>
                      <a:pt x="1377" y="1563"/>
                    </a:lnTo>
                    <a:lnTo>
                      <a:pt x="1377" y="1570"/>
                    </a:lnTo>
                    <a:lnTo>
                      <a:pt x="1377" y="1582"/>
                    </a:lnTo>
                    <a:lnTo>
                      <a:pt x="1377" y="1595"/>
                    </a:lnTo>
                    <a:lnTo>
                      <a:pt x="1377" y="1597"/>
                    </a:lnTo>
                    <a:lnTo>
                      <a:pt x="1377" y="1604"/>
                    </a:lnTo>
                    <a:lnTo>
                      <a:pt x="1377" y="1606"/>
                    </a:lnTo>
                    <a:lnTo>
                      <a:pt x="1377" y="1607"/>
                    </a:lnTo>
                    <a:lnTo>
                      <a:pt x="1377" y="1609"/>
                    </a:lnTo>
                    <a:lnTo>
                      <a:pt x="1377" y="1621"/>
                    </a:lnTo>
                    <a:lnTo>
                      <a:pt x="1377" y="1626"/>
                    </a:lnTo>
                    <a:lnTo>
                      <a:pt x="1375" y="1624"/>
                    </a:lnTo>
                    <a:lnTo>
                      <a:pt x="1373" y="1623"/>
                    </a:lnTo>
                    <a:lnTo>
                      <a:pt x="1372" y="1623"/>
                    </a:lnTo>
                    <a:lnTo>
                      <a:pt x="1372" y="1624"/>
                    </a:lnTo>
                    <a:lnTo>
                      <a:pt x="1373" y="1624"/>
                    </a:lnTo>
                    <a:lnTo>
                      <a:pt x="1373" y="1626"/>
                    </a:lnTo>
                    <a:lnTo>
                      <a:pt x="1375" y="1626"/>
                    </a:lnTo>
                    <a:lnTo>
                      <a:pt x="1375" y="1628"/>
                    </a:lnTo>
                    <a:lnTo>
                      <a:pt x="1373" y="1628"/>
                    </a:lnTo>
                    <a:lnTo>
                      <a:pt x="1372" y="1629"/>
                    </a:lnTo>
                    <a:lnTo>
                      <a:pt x="1370" y="1629"/>
                    </a:lnTo>
                    <a:lnTo>
                      <a:pt x="1368" y="1629"/>
                    </a:lnTo>
                    <a:lnTo>
                      <a:pt x="1366" y="1629"/>
                    </a:lnTo>
                    <a:lnTo>
                      <a:pt x="1365" y="1629"/>
                    </a:lnTo>
                    <a:lnTo>
                      <a:pt x="1365" y="1631"/>
                    </a:lnTo>
                    <a:lnTo>
                      <a:pt x="1363" y="1629"/>
                    </a:lnTo>
                    <a:lnTo>
                      <a:pt x="1361" y="1629"/>
                    </a:lnTo>
                    <a:lnTo>
                      <a:pt x="1360" y="1629"/>
                    </a:lnTo>
                    <a:lnTo>
                      <a:pt x="1358" y="1628"/>
                    </a:lnTo>
                    <a:lnTo>
                      <a:pt x="1356" y="1628"/>
                    </a:lnTo>
                    <a:lnTo>
                      <a:pt x="1355" y="1628"/>
                    </a:lnTo>
                    <a:lnTo>
                      <a:pt x="1353" y="1628"/>
                    </a:lnTo>
                    <a:lnTo>
                      <a:pt x="1351" y="1626"/>
                    </a:lnTo>
                    <a:lnTo>
                      <a:pt x="1349" y="1626"/>
                    </a:lnTo>
                    <a:lnTo>
                      <a:pt x="1348" y="1626"/>
                    </a:lnTo>
                    <a:lnTo>
                      <a:pt x="1348" y="1624"/>
                    </a:lnTo>
                    <a:lnTo>
                      <a:pt x="1346" y="1624"/>
                    </a:lnTo>
                    <a:lnTo>
                      <a:pt x="1344" y="1624"/>
                    </a:lnTo>
                    <a:lnTo>
                      <a:pt x="1343" y="1623"/>
                    </a:lnTo>
                    <a:lnTo>
                      <a:pt x="1343" y="1621"/>
                    </a:lnTo>
                    <a:lnTo>
                      <a:pt x="1344" y="1619"/>
                    </a:lnTo>
                    <a:lnTo>
                      <a:pt x="1344" y="1621"/>
                    </a:lnTo>
                    <a:lnTo>
                      <a:pt x="1344" y="1619"/>
                    </a:lnTo>
                    <a:lnTo>
                      <a:pt x="1344" y="1618"/>
                    </a:lnTo>
                    <a:lnTo>
                      <a:pt x="1344" y="1616"/>
                    </a:lnTo>
                    <a:lnTo>
                      <a:pt x="1344" y="1618"/>
                    </a:lnTo>
                    <a:lnTo>
                      <a:pt x="1344" y="1619"/>
                    </a:lnTo>
                    <a:lnTo>
                      <a:pt x="1343" y="1621"/>
                    </a:lnTo>
                    <a:lnTo>
                      <a:pt x="1343" y="1619"/>
                    </a:lnTo>
                    <a:lnTo>
                      <a:pt x="1343" y="1618"/>
                    </a:lnTo>
                    <a:lnTo>
                      <a:pt x="1341" y="1616"/>
                    </a:lnTo>
                    <a:lnTo>
                      <a:pt x="1341" y="1614"/>
                    </a:lnTo>
                    <a:lnTo>
                      <a:pt x="1341" y="1616"/>
                    </a:lnTo>
                    <a:lnTo>
                      <a:pt x="1341" y="1618"/>
                    </a:lnTo>
                    <a:lnTo>
                      <a:pt x="1343" y="1619"/>
                    </a:lnTo>
                    <a:lnTo>
                      <a:pt x="1341" y="1619"/>
                    </a:lnTo>
                    <a:lnTo>
                      <a:pt x="1341" y="1621"/>
                    </a:lnTo>
                    <a:lnTo>
                      <a:pt x="1343" y="1621"/>
                    </a:lnTo>
                    <a:lnTo>
                      <a:pt x="1343" y="1619"/>
                    </a:lnTo>
                    <a:lnTo>
                      <a:pt x="1343" y="1621"/>
                    </a:lnTo>
                    <a:lnTo>
                      <a:pt x="1343" y="1623"/>
                    </a:lnTo>
                    <a:lnTo>
                      <a:pt x="1341" y="1623"/>
                    </a:lnTo>
                    <a:lnTo>
                      <a:pt x="1339" y="1623"/>
                    </a:lnTo>
                    <a:lnTo>
                      <a:pt x="1339" y="1621"/>
                    </a:lnTo>
                    <a:lnTo>
                      <a:pt x="1339" y="1619"/>
                    </a:lnTo>
                    <a:lnTo>
                      <a:pt x="1341" y="1619"/>
                    </a:lnTo>
                    <a:lnTo>
                      <a:pt x="1341" y="1618"/>
                    </a:lnTo>
                    <a:lnTo>
                      <a:pt x="1339" y="1618"/>
                    </a:lnTo>
                    <a:lnTo>
                      <a:pt x="1339" y="1616"/>
                    </a:lnTo>
                    <a:lnTo>
                      <a:pt x="1339" y="1618"/>
                    </a:lnTo>
                    <a:lnTo>
                      <a:pt x="1341" y="1619"/>
                    </a:lnTo>
                    <a:lnTo>
                      <a:pt x="1339" y="1619"/>
                    </a:lnTo>
                    <a:lnTo>
                      <a:pt x="1339" y="1621"/>
                    </a:lnTo>
                    <a:lnTo>
                      <a:pt x="1339" y="1623"/>
                    </a:lnTo>
                    <a:lnTo>
                      <a:pt x="1338" y="1623"/>
                    </a:lnTo>
                    <a:lnTo>
                      <a:pt x="1336" y="1623"/>
                    </a:lnTo>
                    <a:lnTo>
                      <a:pt x="1334" y="1623"/>
                    </a:lnTo>
                    <a:lnTo>
                      <a:pt x="1332" y="1623"/>
                    </a:lnTo>
                    <a:lnTo>
                      <a:pt x="1332" y="1621"/>
                    </a:lnTo>
                    <a:lnTo>
                      <a:pt x="1332" y="1619"/>
                    </a:lnTo>
                    <a:lnTo>
                      <a:pt x="1332" y="1618"/>
                    </a:lnTo>
                    <a:lnTo>
                      <a:pt x="1332" y="1616"/>
                    </a:lnTo>
                    <a:lnTo>
                      <a:pt x="1332" y="1618"/>
                    </a:lnTo>
                    <a:lnTo>
                      <a:pt x="1332" y="1619"/>
                    </a:lnTo>
                    <a:lnTo>
                      <a:pt x="1332" y="1621"/>
                    </a:lnTo>
                    <a:lnTo>
                      <a:pt x="1332" y="1623"/>
                    </a:lnTo>
                    <a:lnTo>
                      <a:pt x="1332" y="1624"/>
                    </a:lnTo>
                    <a:lnTo>
                      <a:pt x="1331" y="1624"/>
                    </a:lnTo>
                    <a:lnTo>
                      <a:pt x="1329" y="1624"/>
                    </a:lnTo>
                    <a:lnTo>
                      <a:pt x="1327" y="1624"/>
                    </a:lnTo>
                    <a:lnTo>
                      <a:pt x="1329" y="1623"/>
                    </a:lnTo>
                    <a:lnTo>
                      <a:pt x="1329" y="1621"/>
                    </a:lnTo>
                    <a:lnTo>
                      <a:pt x="1327" y="1623"/>
                    </a:lnTo>
                    <a:lnTo>
                      <a:pt x="1327" y="1621"/>
                    </a:lnTo>
                    <a:lnTo>
                      <a:pt x="1327" y="1623"/>
                    </a:lnTo>
                    <a:lnTo>
                      <a:pt x="1326" y="1624"/>
                    </a:lnTo>
                    <a:lnTo>
                      <a:pt x="1324" y="1624"/>
                    </a:lnTo>
                    <a:lnTo>
                      <a:pt x="1324" y="1623"/>
                    </a:lnTo>
                    <a:lnTo>
                      <a:pt x="1324" y="1624"/>
                    </a:lnTo>
                    <a:lnTo>
                      <a:pt x="1326" y="1624"/>
                    </a:lnTo>
                    <a:lnTo>
                      <a:pt x="1324" y="1624"/>
                    </a:lnTo>
                    <a:lnTo>
                      <a:pt x="1322" y="1624"/>
                    </a:lnTo>
                    <a:lnTo>
                      <a:pt x="1321" y="1624"/>
                    </a:lnTo>
                    <a:lnTo>
                      <a:pt x="1321" y="1623"/>
                    </a:lnTo>
                    <a:lnTo>
                      <a:pt x="1321" y="1621"/>
                    </a:lnTo>
                    <a:lnTo>
                      <a:pt x="1321" y="1619"/>
                    </a:lnTo>
                    <a:lnTo>
                      <a:pt x="1322" y="1618"/>
                    </a:lnTo>
                    <a:lnTo>
                      <a:pt x="1324" y="1616"/>
                    </a:lnTo>
                    <a:lnTo>
                      <a:pt x="1326" y="1614"/>
                    </a:lnTo>
                    <a:lnTo>
                      <a:pt x="1324" y="1614"/>
                    </a:lnTo>
                    <a:lnTo>
                      <a:pt x="1322" y="1614"/>
                    </a:lnTo>
                    <a:lnTo>
                      <a:pt x="1322" y="1616"/>
                    </a:lnTo>
                    <a:lnTo>
                      <a:pt x="1322" y="1618"/>
                    </a:lnTo>
                    <a:lnTo>
                      <a:pt x="1321" y="1618"/>
                    </a:lnTo>
                    <a:lnTo>
                      <a:pt x="1321" y="1619"/>
                    </a:lnTo>
                    <a:lnTo>
                      <a:pt x="1321" y="1621"/>
                    </a:lnTo>
                    <a:lnTo>
                      <a:pt x="1319" y="1623"/>
                    </a:lnTo>
                    <a:lnTo>
                      <a:pt x="1319" y="1624"/>
                    </a:lnTo>
                    <a:lnTo>
                      <a:pt x="1319" y="1623"/>
                    </a:lnTo>
                    <a:lnTo>
                      <a:pt x="1317" y="1623"/>
                    </a:lnTo>
                    <a:lnTo>
                      <a:pt x="1315" y="1621"/>
                    </a:lnTo>
                    <a:lnTo>
                      <a:pt x="1314" y="1621"/>
                    </a:lnTo>
                    <a:lnTo>
                      <a:pt x="1312" y="1621"/>
                    </a:lnTo>
                    <a:lnTo>
                      <a:pt x="1312" y="1619"/>
                    </a:lnTo>
                    <a:lnTo>
                      <a:pt x="1310" y="1619"/>
                    </a:lnTo>
                    <a:lnTo>
                      <a:pt x="1312" y="1619"/>
                    </a:lnTo>
                    <a:lnTo>
                      <a:pt x="1310" y="1619"/>
                    </a:lnTo>
                    <a:lnTo>
                      <a:pt x="1310" y="1621"/>
                    </a:lnTo>
                    <a:lnTo>
                      <a:pt x="1309" y="1621"/>
                    </a:lnTo>
                    <a:lnTo>
                      <a:pt x="1309" y="1623"/>
                    </a:lnTo>
                    <a:lnTo>
                      <a:pt x="1307" y="1621"/>
                    </a:lnTo>
                    <a:lnTo>
                      <a:pt x="1307" y="1623"/>
                    </a:lnTo>
                    <a:lnTo>
                      <a:pt x="1307" y="1624"/>
                    </a:lnTo>
                    <a:lnTo>
                      <a:pt x="1307" y="1623"/>
                    </a:lnTo>
                    <a:lnTo>
                      <a:pt x="1305" y="1623"/>
                    </a:lnTo>
                    <a:lnTo>
                      <a:pt x="1304" y="1623"/>
                    </a:lnTo>
                    <a:lnTo>
                      <a:pt x="1302" y="1623"/>
                    </a:lnTo>
                    <a:lnTo>
                      <a:pt x="1304" y="1621"/>
                    </a:lnTo>
                    <a:lnTo>
                      <a:pt x="1304" y="1619"/>
                    </a:lnTo>
                    <a:lnTo>
                      <a:pt x="1304" y="1621"/>
                    </a:lnTo>
                    <a:lnTo>
                      <a:pt x="1304" y="1619"/>
                    </a:lnTo>
                    <a:lnTo>
                      <a:pt x="1305" y="1619"/>
                    </a:lnTo>
                    <a:lnTo>
                      <a:pt x="1307" y="1619"/>
                    </a:lnTo>
                    <a:lnTo>
                      <a:pt x="1309" y="1618"/>
                    </a:lnTo>
                    <a:lnTo>
                      <a:pt x="1310" y="1618"/>
                    </a:lnTo>
                    <a:lnTo>
                      <a:pt x="1310" y="1616"/>
                    </a:lnTo>
                    <a:lnTo>
                      <a:pt x="1312" y="1616"/>
                    </a:lnTo>
                    <a:lnTo>
                      <a:pt x="1314" y="1616"/>
                    </a:lnTo>
                    <a:lnTo>
                      <a:pt x="1314" y="1614"/>
                    </a:lnTo>
                    <a:lnTo>
                      <a:pt x="1315" y="1614"/>
                    </a:lnTo>
                    <a:lnTo>
                      <a:pt x="1315" y="1612"/>
                    </a:lnTo>
                    <a:lnTo>
                      <a:pt x="1317" y="1612"/>
                    </a:lnTo>
                    <a:lnTo>
                      <a:pt x="1317" y="1611"/>
                    </a:lnTo>
                    <a:lnTo>
                      <a:pt x="1315" y="1611"/>
                    </a:lnTo>
                    <a:lnTo>
                      <a:pt x="1314" y="1611"/>
                    </a:lnTo>
                    <a:lnTo>
                      <a:pt x="1312" y="1611"/>
                    </a:lnTo>
                    <a:lnTo>
                      <a:pt x="1312" y="1612"/>
                    </a:lnTo>
                    <a:lnTo>
                      <a:pt x="1310" y="1614"/>
                    </a:lnTo>
                    <a:lnTo>
                      <a:pt x="1312" y="1614"/>
                    </a:lnTo>
                    <a:lnTo>
                      <a:pt x="1312" y="1616"/>
                    </a:lnTo>
                    <a:lnTo>
                      <a:pt x="1310" y="1616"/>
                    </a:lnTo>
                    <a:lnTo>
                      <a:pt x="1309" y="1616"/>
                    </a:lnTo>
                    <a:lnTo>
                      <a:pt x="1309" y="1618"/>
                    </a:lnTo>
                    <a:lnTo>
                      <a:pt x="1307" y="1618"/>
                    </a:lnTo>
                    <a:lnTo>
                      <a:pt x="1307" y="1616"/>
                    </a:lnTo>
                    <a:lnTo>
                      <a:pt x="1305" y="1616"/>
                    </a:lnTo>
                    <a:lnTo>
                      <a:pt x="1305" y="1618"/>
                    </a:lnTo>
                    <a:lnTo>
                      <a:pt x="1304" y="1618"/>
                    </a:lnTo>
                    <a:lnTo>
                      <a:pt x="1305" y="1618"/>
                    </a:lnTo>
                    <a:lnTo>
                      <a:pt x="1304" y="1619"/>
                    </a:lnTo>
                    <a:lnTo>
                      <a:pt x="1304" y="1618"/>
                    </a:lnTo>
                    <a:lnTo>
                      <a:pt x="1302" y="1619"/>
                    </a:lnTo>
                    <a:lnTo>
                      <a:pt x="1302" y="1618"/>
                    </a:lnTo>
                    <a:lnTo>
                      <a:pt x="1300" y="1618"/>
                    </a:lnTo>
                    <a:lnTo>
                      <a:pt x="1298" y="1618"/>
                    </a:lnTo>
                    <a:lnTo>
                      <a:pt x="1300" y="1618"/>
                    </a:lnTo>
                    <a:lnTo>
                      <a:pt x="1300" y="1616"/>
                    </a:lnTo>
                    <a:lnTo>
                      <a:pt x="1302" y="1616"/>
                    </a:lnTo>
                    <a:lnTo>
                      <a:pt x="1304" y="1614"/>
                    </a:lnTo>
                    <a:lnTo>
                      <a:pt x="1305" y="1614"/>
                    </a:lnTo>
                    <a:lnTo>
                      <a:pt x="1304" y="1614"/>
                    </a:lnTo>
                    <a:lnTo>
                      <a:pt x="1302" y="1614"/>
                    </a:lnTo>
                    <a:lnTo>
                      <a:pt x="1302" y="1612"/>
                    </a:lnTo>
                    <a:lnTo>
                      <a:pt x="1300" y="1612"/>
                    </a:lnTo>
                    <a:lnTo>
                      <a:pt x="1300" y="1614"/>
                    </a:lnTo>
                    <a:lnTo>
                      <a:pt x="1298" y="1614"/>
                    </a:lnTo>
                    <a:lnTo>
                      <a:pt x="1300" y="1614"/>
                    </a:lnTo>
                    <a:lnTo>
                      <a:pt x="1300" y="1616"/>
                    </a:lnTo>
                    <a:lnTo>
                      <a:pt x="1298" y="1618"/>
                    </a:lnTo>
                    <a:lnTo>
                      <a:pt x="1298" y="1619"/>
                    </a:lnTo>
                    <a:lnTo>
                      <a:pt x="1297" y="1619"/>
                    </a:lnTo>
                    <a:lnTo>
                      <a:pt x="1295" y="1618"/>
                    </a:lnTo>
                    <a:lnTo>
                      <a:pt x="1297" y="1618"/>
                    </a:lnTo>
                    <a:lnTo>
                      <a:pt x="1297" y="1616"/>
                    </a:lnTo>
                    <a:lnTo>
                      <a:pt x="1298" y="1616"/>
                    </a:lnTo>
                    <a:lnTo>
                      <a:pt x="1298" y="1614"/>
                    </a:lnTo>
                    <a:lnTo>
                      <a:pt x="1300" y="1614"/>
                    </a:lnTo>
                    <a:lnTo>
                      <a:pt x="1298" y="1614"/>
                    </a:lnTo>
                    <a:lnTo>
                      <a:pt x="1297" y="1614"/>
                    </a:lnTo>
                    <a:lnTo>
                      <a:pt x="1297" y="1616"/>
                    </a:lnTo>
                    <a:lnTo>
                      <a:pt x="1297" y="1614"/>
                    </a:lnTo>
                    <a:lnTo>
                      <a:pt x="1298" y="1614"/>
                    </a:lnTo>
                    <a:lnTo>
                      <a:pt x="1298" y="1612"/>
                    </a:lnTo>
                    <a:lnTo>
                      <a:pt x="1297" y="1612"/>
                    </a:lnTo>
                    <a:lnTo>
                      <a:pt x="1298" y="1612"/>
                    </a:lnTo>
                    <a:lnTo>
                      <a:pt x="1298" y="1611"/>
                    </a:lnTo>
                    <a:lnTo>
                      <a:pt x="1300" y="1611"/>
                    </a:lnTo>
                    <a:lnTo>
                      <a:pt x="1298" y="1611"/>
                    </a:lnTo>
                    <a:lnTo>
                      <a:pt x="1297" y="1611"/>
                    </a:lnTo>
                    <a:lnTo>
                      <a:pt x="1297" y="1609"/>
                    </a:lnTo>
                    <a:lnTo>
                      <a:pt x="1295" y="1609"/>
                    </a:lnTo>
                    <a:lnTo>
                      <a:pt x="1297" y="1611"/>
                    </a:lnTo>
                    <a:lnTo>
                      <a:pt x="1295" y="1612"/>
                    </a:lnTo>
                    <a:lnTo>
                      <a:pt x="1295" y="1611"/>
                    </a:lnTo>
                    <a:lnTo>
                      <a:pt x="1293" y="1612"/>
                    </a:lnTo>
                    <a:lnTo>
                      <a:pt x="1293" y="1614"/>
                    </a:lnTo>
                    <a:lnTo>
                      <a:pt x="1292" y="1614"/>
                    </a:lnTo>
                    <a:lnTo>
                      <a:pt x="1290" y="1614"/>
                    </a:lnTo>
                    <a:lnTo>
                      <a:pt x="1292" y="1614"/>
                    </a:lnTo>
                    <a:lnTo>
                      <a:pt x="1290" y="1612"/>
                    </a:lnTo>
                    <a:lnTo>
                      <a:pt x="1288" y="1614"/>
                    </a:lnTo>
                    <a:lnTo>
                      <a:pt x="1288" y="1612"/>
                    </a:lnTo>
                    <a:lnTo>
                      <a:pt x="1287" y="1612"/>
                    </a:lnTo>
                    <a:lnTo>
                      <a:pt x="1287" y="1611"/>
                    </a:lnTo>
                    <a:lnTo>
                      <a:pt x="1288" y="1611"/>
                    </a:lnTo>
                    <a:lnTo>
                      <a:pt x="1290" y="1612"/>
                    </a:lnTo>
                    <a:lnTo>
                      <a:pt x="1290" y="1611"/>
                    </a:lnTo>
                    <a:lnTo>
                      <a:pt x="1292" y="1611"/>
                    </a:lnTo>
                    <a:lnTo>
                      <a:pt x="1293" y="1611"/>
                    </a:lnTo>
                    <a:lnTo>
                      <a:pt x="1292" y="1611"/>
                    </a:lnTo>
                    <a:lnTo>
                      <a:pt x="1290" y="1611"/>
                    </a:lnTo>
                    <a:lnTo>
                      <a:pt x="1288" y="1609"/>
                    </a:lnTo>
                    <a:lnTo>
                      <a:pt x="1288" y="1607"/>
                    </a:lnTo>
                    <a:lnTo>
                      <a:pt x="1290" y="1607"/>
                    </a:lnTo>
                    <a:lnTo>
                      <a:pt x="1292" y="1607"/>
                    </a:lnTo>
                    <a:lnTo>
                      <a:pt x="1290" y="1607"/>
                    </a:lnTo>
                    <a:lnTo>
                      <a:pt x="1288" y="1607"/>
                    </a:lnTo>
                    <a:lnTo>
                      <a:pt x="1290" y="1606"/>
                    </a:lnTo>
                    <a:lnTo>
                      <a:pt x="1288" y="1606"/>
                    </a:lnTo>
                    <a:lnTo>
                      <a:pt x="1290" y="1604"/>
                    </a:lnTo>
                    <a:lnTo>
                      <a:pt x="1288" y="1606"/>
                    </a:lnTo>
                    <a:lnTo>
                      <a:pt x="1288" y="1607"/>
                    </a:lnTo>
                    <a:lnTo>
                      <a:pt x="1287" y="1607"/>
                    </a:lnTo>
                    <a:lnTo>
                      <a:pt x="1287" y="1606"/>
                    </a:lnTo>
                    <a:lnTo>
                      <a:pt x="1287" y="1604"/>
                    </a:lnTo>
                    <a:lnTo>
                      <a:pt x="1287" y="1606"/>
                    </a:lnTo>
                    <a:lnTo>
                      <a:pt x="1287" y="1607"/>
                    </a:lnTo>
                    <a:lnTo>
                      <a:pt x="1285" y="1606"/>
                    </a:lnTo>
                    <a:lnTo>
                      <a:pt x="1283" y="1604"/>
                    </a:lnTo>
                    <a:lnTo>
                      <a:pt x="1285" y="1606"/>
                    </a:lnTo>
                    <a:lnTo>
                      <a:pt x="1285" y="1607"/>
                    </a:lnTo>
                    <a:lnTo>
                      <a:pt x="1283" y="1606"/>
                    </a:lnTo>
                    <a:lnTo>
                      <a:pt x="1283" y="1607"/>
                    </a:lnTo>
                    <a:lnTo>
                      <a:pt x="1285" y="1607"/>
                    </a:lnTo>
                    <a:lnTo>
                      <a:pt x="1287" y="1607"/>
                    </a:lnTo>
                    <a:lnTo>
                      <a:pt x="1287" y="1609"/>
                    </a:lnTo>
                    <a:lnTo>
                      <a:pt x="1287" y="1611"/>
                    </a:lnTo>
                    <a:lnTo>
                      <a:pt x="1285" y="1609"/>
                    </a:lnTo>
                    <a:lnTo>
                      <a:pt x="1287" y="1609"/>
                    </a:lnTo>
                    <a:lnTo>
                      <a:pt x="1285" y="1609"/>
                    </a:lnTo>
                    <a:lnTo>
                      <a:pt x="1283" y="1609"/>
                    </a:lnTo>
                    <a:lnTo>
                      <a:pt x="1285" y="1609"/>
                    </a:lnTo>
                    <a:lnTo>
                      <a:pt x="1285" y="1611"/>
                    </a:lnTo>
                    <a:lnTo>
                      <a:pt x="1285" y="1612"/>
                    </a:lnTo>
                    <a:lnTo>
                      <a:pt x="1283" y="1612"/>
                    </a:lnTo>
                    <a:lnTo>
                      <a:pt x="1283" y="1611"/>
                    </a:lnTo>
                    <a:lnTo>
                      <a:pt x="1281" y="1611"/>
                    </a:lnTo>
                    <a:lnTo>
                      <a:pt x="1283" y="1612"/>
                    </a:lnTo>
                    <a:lnTo>
                      <a:pt x="1281" y="1612"/>
                    </a:lnTo>
                    <a:lnTo>
                      <a:pt x="1281" y="1614"/>
                    </a:lnTo>
                    <a:lnTo>
                      <a:pt x="1280" y="1614"/>
                    </a:lnTo>
                    <a:lnTo>
                      <a:pt x="1280" y="1612"/>
                    </a:lnTo>
                    <a:lnTo>
                      <a:pt x="1280" y="1611"/>
                    </a:lnTo>
                    <a:lnTo>
                      <a:pt x="1280" y="1609"/>
                    </a:lnTo>
                    <a:lnTo>
                      <a:pt x="1281" y="1609"/>
                    </a:lnTo>
                    <a:lnTo>
                      <a:pt x="1281" y="1607"/>
                    </a:lnTo>
                    <a:lnTo>
                      <a:pt x="1280" y="1609"/>
                    </a:lnTo>
                    <a:lnTo>
                      <a:pt x="1280" y="1611"/>
                    </a:lnTo>
                    <a:lnTo>
                      <a:pt x="1280" y="1612"/>
                    </a:lnTo>
                    <a:lnTo>
                      <a:pt x="1280" y="1611"/>
                    </a:lnTo>
                    <a:lnTo>
                      <a:pt x="1278" y="1612"/>
                    </a:lnTo>
                    <a:lnTo>
                      <a:pt x="1278" y="1611"/>
                    </a:lnTo>
                    <a:lnTo>
                      <a:pt x="1278" y="1609"/>
                    </a:lnTo>
                    <a:lnTo>
                      <a:pt x="1278" y="1611"/>
                    </a:lnTo>
                    <a:lnTo>
                      <a:pt x="1276" y="1611"/>
                    </a:lnTo>
                    <a:lnTo>
                      <a:pt x="1276" y="1609"/>
                    </a:lnTo>
                    <a:lnTo>
                      <a:pt x="1278" y="1609"/>
                    </a:lnTo>
                    <a:lnTo>
                      <a:pt x="1278" y="1607"/>
                    </a:lnTo>
                    <a:lnTo>
                      <a:pt x="1278" y="1609"/>
                    </a:lnTo>
                    <a:lnTo>
                      <a:pt x="1276" y="1607"/>
                    </a:lnTo>
                    <a:lnTo>
                      <a:pt x="1276" y="1609"/>
                    </a:lnTo>
                    <a:lnTo>
                      <a:pt x="1275" y="1611"/>
                    </a:lnTo>
                    <a:lnTo>
                      <a:pt x="1276" y="1611"/>
                    </a:lnTo>
                    <a:lnTo>
                      <a:pt x="1275" y="1612"/>
                    </a:lnTo>
                    <a:lnTo>
                      <a:pt x="1275" y="1611"/>
                    </a:lnTo>
                    <a:lnTo>
                      <a:pt x="1275" y="1609"/>
                    </a:lnTo>
                    <a:lnTo>
                      <a:pt x="1276" y="1609"/>
                    </a:lnTo>
                    <a:lnTo>
                      <a:pt x="1276" y="1607"/>
                    </a:lnTo>
                    <a:lnTo>
                      <a:pt x="1275" y="1609"/>
                    </a:lnTo>
                    <a:lnTo>
                      <a:pt x="1273" y="1609"/>
                    </a:lnTo>
                    <a:lnTo>
                      <a:pt x="1271" y="1607"/>
                    </a:lnTo>
                    <a:lnTo>
                      <a:pt x="1273" y="1609"/>
                    </a:lnTo>
                    <a:lnTo>
                      <a:pt x="1271" y="1611"/>
                    </a:lnTo>
                    <a:lnTo>
                      <a:pt x="1271" y="1609"/>
                    </a:lnTo>
                    <a:lnTo>
                      <a:pt x="1270" y="1607"/>
                    </a:lnTo>
                    <a:lnTo>
                      <a:pt x="1270" y="1609"/>
                    </a:lnTo>
                    <a:lnTo>
                      <a:pt x="1271" y="1611"/>
                    </a:lnTo>
                    <a:lnTo>
                      <a:pt x="1270" y="1611"/>
                    </a:lnTo>
                    <a:lnTo>
                      <a:pt x="1268" y="1611"/>
                    </a:lnTo>
                    <a:lnTo>
                      <a:pt x="1266" y="1611"/>
                    </a:lnTo>
                    <a:lnTo>
                      <a:pt x="1264" y="1609"/>
                    </a:lnTo>
                    <a:lnTo>
                      <a:pt x="1266" y="1609"/>
                    </a:lnTo>
                    <a:lnTo>
                      <a:pt x="1268" y="1609"/>
                    </a:lnTo>
                    <a:lnTo>
                      <a:pt x="1268" y="1607"/>
                    </a:lnTo>
                    <a:lnTo>
                      <a:pt x="1266" y="1607"/>
                    </a:lnTo>
                    <a:lnTo>
                      <a:pt x="1266" y="1606"/>
                    </a:lnTo>
                    <a:lnTo>
                      <a:pt x="1264" y="1607"/>
                    </a:lnTo>
                    <a:lnTo>
                      <a:pt x="1264" y="1606"/>
                    </a:lnTo>
                    <a:lnTo>
                      <a:pt x="1264" y="1604"/>
                    </a:lnTo>
                    <a:lnTo>
                      <a:pt x="1263" y="1604"/>
                    </a:lnTo>
                    <a:lnTo>
                      <a:pt x="1264" y="1602"/>
                    </a:lnTo>
                    <a:lnTo>
                      <a:pt x="1264" y="1604"/>
                    </a:lnTo>
                    <a:lnTo>
                      <a:pt x="1266" y="1606"/>
                    </a:lnTo>
                    <a:lnTo>
                      <a:pt x="1264" y="1604"/>
                    </a:lnTo>
                    <a:lnTo>
                      <a:pt x="1264" y="1602"/>
                    </a:lnTo>
                    <a:lnTo>
                      <a:pt x="1266" y="1604"/>
                    </a:lnTo>
                    <a:lnTo>
                      <a:pt x="1264" y="1602"/>
                    </a:lnTo>
                    <a:lnTo>
                      <a:pt x="1264" y="1600"/>
                    </a:lnTo>
                    <a:lnTo>
                      <a:pt x="1266" y="1600"/>
                    </a:lnTo>
                    <a:lnTo>
                      <a:pt x="1268" y="1600"/>
                    </a:lnTo>
                    <a:lnTo>
                      <a:pt x="1268" y="1602"/>
                    </a:lnTo>
                    <a:lnTo>
                      <a:pt x="1268" y="1604"/>
                    </a:lnTo>
                    <a:lnTo>
                      <a:pt x="1268" y="1602"/>
                    </a:lnTo>
                    <a:lnTo>
                      <a:pt x="1268" y="1600"/>
                    </a:lnTo>
                    <a:lnTo>
                      <a:pt x="1270" y="1602"/>
                    </a:lnTo>
                    <a:lnTo>
                      <a:pt x="1270" y="1604"/>
                    </a:lnTo>
                    <a:lnTo>
                      <a:pt x="1270" y="1606"/>
                    </a:lnTo>
                    <a:lnTo>
                      <a:pt x="1271" y="1606"/>
                    </a:lnTo>
                    <a:lnTo>
                      <a:pt x="1273" y="1606"/>
                    </a:lnTo>
                    <a:lnTo>
                      <a:pt x="1275" y="1607"/>
                    </a:lnTo>
                    <a:lnTo>
                      <a:pt x="1275" y="1606"/>
                    </a:lnTo>
                    <a:lnTo>
                      <a:pt x="1273" y="1606"/>
                    </a:lnTo>
                    <a:lnTo>
                      <a:pt x="1275" y="1606"/>
                    </a:lnTo>
                    <a:lnTo>
                      <a:pt x="1273" y="1604"/>
                    </a:lnTo>
                    <a:lnTo>
                      <a:pt x="1271" y="1602"/>
                    </a:lnTo>
                    <a:lnTo>
                      <a:pt x="1273" y="1602"/>
                    </a:lnTo>
                    <a:lnTo>
                      <a:pt x="1275" y="1604"/>
                    </a:lnTo>
                    <a:lnTo>
                      <a:pt x="1276" y="1604"/>
                    </a:lnTo>
                    <a:lnTo>
                      <a:pt x="1276" y="1606"/>
                    </a:lnTo>
                    <a:lnTo>
                      <a:pt x="1276" y="1604"/>
                    </a:lnTo>
                    <a:lnTo>
                      <a:pt x="1278" y="1606"/>
                    </a:lnTo>
                    <a:lnTo>
                      <a:pt x="1280" y="1606"/>
                    </a:lnTo>
                    <a:lnTo>
                      <a:pt x="1278" y="1604"/>
                    </a:lnTo>
                    <a:lnTo>
                      <a:pt x="1276" y="1604"/>
                    </a:lnTo>
                    <a:lnTo>
                      <a:pt x="1275" y="1604"/>
                    </a:lnTo>
                    <a:lnTo>
                      <a:pt x="1276" y="1602"/>
                    </a:lnTo>
                    <a:lnTo>
                      <a:pt x="1275" y="1602"/>
                    </a:lnTo>
                    <a:lnTo>
                      <a:pt x="1273" y="1602"/>
                    </a:lnTo>
                    <a:lnTo>
                      <a:pt x="1275" y="1600"/>
                    </a:lnTo>
                    <a:lnTo>
                      <a:pt x="1273" y="1600"/>
                    </a:lnTo>
                    <a:lnTo>
                      <a:pt x="1271" y="1600"/>
                    </a:lnTo>
                    <a:lnTo>
                      <a:pt x="1270" y="1600"/>
                    </a:lnTo>
                    <a:lnTo>
                      <a:pt x="1268" y="1600"/>
                    </a:lnTo>
                    <a:lnTo>
                      <a:pt x="1268" y="1599"/>
                    </a:lnTo>
                    <a:lnTo>
                      <a:pt x="1270" y="1599"/>
                    </a:lnTo>
                    <a:lnTo>
                      <a:pt x="1271" y="1600"/>
                    </a:lnTo>
                    <a:lnTo>
                      <a:pt x="1270" y="1599"/>
                    </a:lnTo>
                    <a:lnTo>
                      <a:pt x="1271" y="1599"/>
                    </a:lnTo>
                    <a:lnTo>
                      <a:pt x="1270" y="1599"/>
                    </a:lnTo>
                    <a:lnTo>
                      <a:pt x="1270" y="1597"/>
                    </a:lnTo>
                    <a:lnTo>
                      <a:pt x="1271" y="1599"/>
                    </a:lnTo>
                    <a:lnTo>
                      <a:pt x="1270" y="1597"/>
                    </a:lnTo>
                    <a:lnTo>
                      <a:pt x="1271" y="1597"/>
                    </a:lnTo>
                    <a:lnTo>
                      <a:pt x="1273" y="1597"/>
                    </a:lnTo>
                    <a:lnTo>
                      <a:pt x="1273" y="1599"/>
                    </a:lnTo>
                    <a:lnTo>
                      <a:pt x="1275" y="1599"/>
                    </a:lnTo>
                    <a:lnTo>
                      <a:pt x="1275" y="1600"/>
                    </a:lnTo>
                    <a:lnTo>
                      <a:pt x="1276" y="1600"/>
                    </a:lnTo>
                    <a:lnTo>
                      <a:pt x="1276" y="1602"/>
                    </a:lnTo>
                    <a:lnTo>
                      <a:pt x="1278" y="1602"/>
                    </a:lnTo>
                    <a:lnTo>
                      <a:pt x="1278" y="1604"/>
                    </a:lnTo>
                    <a:lnTo>
                      <a:pt x="1280" y="1604"/>
                    </a:lnTo>
                    <a:lnTo>
                      <a:pt x="1280" y="1602"/>
                    </a:lnTo>
                    <a:lnTo>
                      <a:pt x="1278" y="1602"/>
                    </a:lnTo>
                    <a:lnTo>
                      <a:pt x="1280" y="1602"/>
                    </a:lnTo>
                    <a:lnTo>
                      <a:pt x="1281" y="1602"/>
                    </a:lnTo>
                    <a:lnTo>
                      <a:pt x="1280" y="1602"/>
                    </a:lnTo>
                    <a:lnTo>
                      <a:pt x="1278" y="1600"/>
                    </a:lnTo>
                    <a:lnTo>
                      <a:pt x="1276" y="1600"/>
                    </a:lnTo>
                    <a:lnTo>
                      <a:pt x="1278" y="1600"/>
                    </a:lnTo>
                    <a:lnTo>
                      <a:pt x="1278" y="1599"/>
                    </a:lnTo>
                    <a:lnTo>
                      <a:pt x="1276" y="1597"/>
                    </a:lnTo>
                    <a:lnTo>
                      <a:pt x="1278" y="1597"/>
                    </a:lnTo>
                    <a:lnTo>
                      <a:pt x="1278" y="1599"/>
                    </a:lnTo>
                    <a:lnTo>
                      <a:pt x="1280" y="1599"/>
                    </a:lnTo>
                    <a:lnTo>
                      <a:pt x="1280" y="1597"/>
                    </a:lnTo>
                    <a:lnTo>
                      <a:pt x="1280" y="1599"/>
                    </a:lnTo>
                    <a:lnTo>
                      <a:pt x="1278" y="1597"/>
                    </a:lnTo>
                    <a:lnTo>
                      <a:pt x="1280" y="1597"/>
                    </a:lnTo>
                    <a:lnTo>
                      <a:pt x="1280" y="1599"/>
                    </a:lnTo>
                    <a:lnTo>
                      <a:pt x="1281" y="1599"/>
                    </a:lnTo>
                    <a:lnTo>
                      <a:pt x="1283" y="1599"/>
                    </a:lnTo>
                    <a:lnTo>
                      <a:pt x="1281" y="1599"/>
                    </a:lnTo>
                    <a:lnTo>
                      <a:pt x="1283" y="1599"/>
                    </a:lnTo>
                    <a:lnTo>
                      <a:pt x="1285" y="1599"/>
                    </a:lnTo>
                    <a:lnTo>
                      <a:pt x="1285" y="1600"/>
                    </a:lnTo>
                    <a:lnTo>
                      <a:pt x="1285" y="1599"/>
                    </a:lnTo>
                    <a:lnTo>
                      <a:pt x="1287" y="1599"/>
                    </a:lnTo>
                    <a:lnTo>
                      <a:pt x="1285" y="1599"/>
                    </a:lnTo>
                    <a:lnTo>
                      <a:pt x="1283" y="1599"/>
                    </a:lnTo>
                    <a:lnTo>
                      <a:pt x="1283" y="1597"/>
                    </a:lnTo>
                    <a:lnTo>
                      <a:pt x="1285" y="1597"/>
                    </a:lnTo>
                    <a:lnTo>
                      <a:pt x="1283" y="1595"/>
                    </a:lnTo>
                    <a:lnTo>
                      <a:pt x="1285" y="1597"/>
                    </a:lnTo>
                    <a:lnTo>
                      <a:pt x="1285" y="1595"/>
                    </a:lnTo>
                    <a:lnTo>
                      <a:pt x="1287" y="1595"/>
                    </a:lnTo>
                    <a:lnTo>
                      <a:pt x="1287" y="1597"/>
                    </a:lnTo>
                    <a:lnTo>
                      <a:pt x="1288" y="1597"/>
                    </a:lnTo>
                    <a:lnTo>
                      <a:pt x="1290" y="1599"/>
                    </a:lnTo>
                    <a:lnTo>
                      <a:pt x="1292" y="1599"/>
                    </a:lnTo>
                    <a:lnTo>
                      <a:pt x="1290" y="1599"/>
                    </a:lnTo>
                    <a:lnTo>
                      <a:pt x="1290" y="1600"/>
                    </a:lnTo>
                    <a:lnTo>
                      <a:pt x="1292" y="1600"/>
                    </a:lnTo>
                    <a:lnTo>
                      <a:pt x="1292" y="1599"/>
                    </a:lnTo>
                    <a:lnTo>
                      <a:pt x="1293" y="1599"/>
                    </a:lnTo>
                    <a:lnTo>
                      <a:pt x="1292" y="1600"/>
                    </a:lnTo>
                    <a:lnTo>
                      <a:pt x="1293" y="1600"/>
                    </a:lnTo>
                    <a:lnTo>
                      <a:pt x="1293" y="1602"/>
                    </a:lnTo>
                    <a:lnTo>
                      <a:pt x="1293" y="1600"/>
                    </a:lnTo>
                    <a:lnTo>
                      <a:pt x="1293" y="1599"/>
                    </a:lnTo>
                    <a:lnTo>
                      <a:pt x="1295" y="1600"/>
                    </a:lnTo>
                    <a:lnTo>
                      <a:pt x="1297" y="1600"/>
                    </a:lnTo>
                    <a:lnTo>
                      <a:pt x="1298" y="1600"/>
                    </a:lnTo>
                    <a:lnTo>
                      <a:pt x="1298" y="1602"/>
                    </a:lnTo>
                    <a:lnTo>
                      <a:pt x="1298" y="1604"/>
                    </a:lnTo>
                    <a:lnTo>
                      <a:pt x="1300" y="1604"/>
                    </a:lnTo>
                    <a:lnTo>
                      <a:pt x="1300" y="1602"/>
                    </a:lnTo>
                    <a:lnTo>
                      <a:pt x="1300" y="1600"/>
                    </a:lnTo>
                    <a:lnTo>
                      <a:pt x="1298" y="1600"/>
                    </a:lnTo>
                    <a:lnTo>
                      <a:pt x="1300" y="1599"/>
                    </a:lnTo>
                    <a:lnTo>
                      <a:pt x="1300" y="1597"/>
                    </a:lnTo>
                    <a:lnTo>
                      <a:pt x="1300" y="1595"/>
                    </a:lnTo>
                    <a:lnTo>
                      <a:pt x="1300" y="1594"/>
                    </a:lnTo>
                    <a:lnTo>
                      <a:pt x="1302" y="1595"/>
                    </a:lnTo>
                    <a:lnTo>
                      <a:pt x="1302" y="1594"/>
                    </a:lnTo>
                    <a:lnTo>
                      <a:pt x="1304" y="1594"/>
                    </a:lnTo>
                    <a:lnTo>
                      <a:pt x="1305" y="1594"/>
                    </a:lnTo>
                    <a:lnTo>
                      <a:pt x="1307" y="1594"/>
                    </a:lnTo>
                    <a:lnTo>
                      <a:pt x="1307" y="1595"/>
                    </a:lnTo>
                    <a:lnTo>
                      <a:pt x="1307" y="1594"/>
                    </a:lnTo>
                    <a:lnTo>
                      <a:pt x="1309" y="1595"/>
                    </a:lnTo>
                    <a:lnTo>
                      <a:pt x="1309" y="1594"/>
                    </a:lnTo>
                    <a:lnTo>
                      <a:pt x="1310" y="1594"/>
                    </a:lnTo>
                    <a:lnTo>
                      <a:pt x="1312" y="1594"/>
                    </a:lnTo>
                    <a:lnTo>
                      <a:pt x="1312" y="1595"/>
                    </a:lnTo>
                    <a:lnTo>
                      <a:pt x="1310" y="1595"/>
                    </a:lnTo>
                    <a:lnTo>
                      <a:pt x="1310" y="1597"/>
                    </a:lnTo>
                    <a:lnTo>
                      <a:pt x="1309" y="1597"/>
                    </a:lnTo>
                    <a:lnTo>
                      <a:pt x="1309" y="1599"/>
                    </a:lnTo>
                    <a:lnTo>
                      <a:pt x="1307" y="1599"/>
                    </a:lnTo>
                    <a:lnTo>
                      <a:pt x="1307" y="1600"/>
                    </a:lnTo>
                    <a:lnTo>
                      <a:pt x="1309" y="1600"/>
                    </a:lnTo>
                    <a:lnTo>
                      <a:pt x="1307" y="1602"/>
                    </a:lnTo>
                    <a:lnTo>
                      <a:pt x="1307" y="1604"/>
                    </a:lnTo>
                    <a:lnTo>
                      <a:pt x="1305" y="1606"/>
                    </a:lnTo>
                    <a:lnTo>
                      <a:pt x="1305" y="1607"/>
                    </a:lnTo>
                    <a:lnTo>
                      <a:pt x="1305" y="1609"/>
                    </a:lnTo>
                    <a:lnTo>
                      <a:pt x="1305" y="1611"/>
                    </a:lnTo>
                    <a:lnTo>
                      <a:pt x="1305" y="1609"/>
                    </a:lnTo>
                    <a:lnTo>
                      <a:pt x="1307" y="1609"/>
                    </a:lnTo>
                    <a:lnTo>
                      <a:pt x="1307" y="1607"/>
                    </a:lnTo>
                    <a:lnTo>
                      <a:pt x="1307" y="1606"/>
                    </a:lnTo>
                    <a:lnTo>
                      <a:pt x="1309" y="1607"/>
                    </a:lnTo>
                    <a:lnTo>
                      <a:pt x="1309" y="1609"/>
                    </a:lnTo>
                    <a:lnTo>
                      <a:pt x="1310" y="1609"/>
                    </a:lnTo>
                    <a:lnTo>
                      <a:pt x="1309" y="1607"/>
                    </a:lnTo>
                    <a:lnTo>
                      <a:pt x="1307" y="1606"/>
                    </a:lnTo>
                    <a:lnTo>
                      <a:pt x="1309" y="1604"/>
                    </a:lnTo>
                    <a:lnTo>
                      <a:pt x="1309" y="1602"/>
                    </a:lnTo>
                    <a:lnTo>
                      <a:pt x="1309" y="1600"/>
                    </a:lnTo>
                    <a:lnTo>
                      <a:pt x="1310" y="1600"/>
                    </a:lnTo>
                    <a:lnTo>
                      <a:pt x="1310" y="1599"/>
                    </a:lnTo>
                    <a:lnTo>
                      <a:pt x="1312" y="1599"/>
                    </a:lnTo>
                    <a:lnTo>
                      <a:pt x="1312" y="1597"/>
                    </a:lnTo>
                    <a:lnTo>
                      <a:pt x="1314" y="1599"/>
                    </a:lnTo>
                    <a:lnTo>
                      <a:pt x="1315" y="1600"/>
                    </a:lnTo>
                    <a:lnTo>
                      <a:pt x="1317" y="1602"/>
                    </a:lnTo>
                    <a:lnTo>
                      <a:pt x="1315" y="1602"/>
                    </a:lnTo>
                    <a:lnTo>
                      <a:pt x="1317" y="1602"/>
                    </a:lnTo>
                    <a:lnTo>
                      <a:pt x="1319" y="1602"/>
                    </a:lnTo>
                    <a:lnTo>
                      <a:pt x="1319" y="1604"/>
                    </a:lnTo>
                    <a:lnTo>
                      <a:pt x="1321" y="1604"/>
                    </a:lnTo>
                    <a:lnTo>
                      <a:pt x="1319" y="1604"/>
                    </a:lnTo>
                    <a:lnTo>
                      <a:pt x="1321" y="1604"/>
                    </a:lnTo>
                    <a:lnTo>
                      <a:pt x="1321" y="1606"/>
                    </a:lnTo>
                    <a:lnTo>
                      <a:pt x="1322" y="1607"/>
                    </a:lnTo>
                    <a:lnTo>
                      <a:pt x="1324" y="1607"/>
                    </a:lnTo>
                    <a:lnTo>
                      <a:pt x="1324" y="1609"/>
                    </a:lnTo>
                    <a:lnTo>
                      <a:pt x="1324" y="1607"/>
                    </a:lnTo>
                    <a:lnTo>
                      <a:pt x="1326" y="1609"/>
                    </a:lnTo>
                    <a:lnTo>
                      <a:pt x="1324" y="1607"/>
                    </a:lnTo>
                    <a:lnTo>
                      <a:pt x="1322" y="1607"/>
                    </a:lnTo>
                    <a:lnTo>
                      <a:pt x="1322" y="1606"/>
                    </a:lnTo>
                    <a:lnTo>
                      <a:pt x="1321" y="1606"/>
                    </a:lnTo>
                    <a:lnTo>
                      <a:pt x="1321" y="1604"/>
                    </a:lnTo>
                    <a:lnTo>
                      <a:pt x="1322" y="1604"/>
                    </a:lnTo>
                    <a:lnTo>
                      <a:pt x="1324" y="1604"/>
                    </a:lnTo>
                    <a:lnTo>
                      <a:pt x="1326" y="1606"/>
                    </a:lnTo>
                    <a:lnTo>
                      <a:pt x="1327" y="1607"/>
                    </a:lnTo>
                    <a:lnTo>
                      <a:pt x="1327" y="1606"/>
                    </a:lnTo>
                    <a:lnTo>
                      <a:pt x="1326" y="1606"/>
                    </a:lnTo>
                    <a:lnTo>
                      <a:pt x="1324" y="1604"/>
                    </a:lnTo>
                    <a:lnTo>
                      <a:pt x="1326" y="1604"/>
                    </a:lnTo>
                    <a:lnTo>
                      <a:pt x="1324" y="1604"/>
                    </a:lnTo>
                    <a:lnTo>
                      <a:pt x="1322" y="1602"/>
                    </a:lnTo>
                    <a:lnTo>
                      <a:pt x="1321" y="1602"/>
                    </a:lnTo>
                    <a:lnTo>
                      <a:pt x="1319" y="1600"/>
                    </a:lnTo>
                    <a:lnTo>
                      <a:pt x="1317" y="1600"/>
                    </a:lnTo>
                    <a:lnTo>
                      <a:pt x="1317" y="1599"/>
                    </a:lnTo>
                    <a:lnTo>
                      <a:pt x="1315" y="1599"/>
                    </a:lnTo>
                    <a:lnTo>
                      <a:pt x="1317" y="1597"/>
                    </a:lnTo>
                    <a:lnTo>
                      <a:pt x="1315" y="1597"/>
                    </a:lnTo>
                    <a:lnTo>
                      <a:pt x="1314" y="1597"/>
                    </a:lnTo>
                    <a:lnTo>
                      <a:pt x="1314" y="1595"/>
                    </a:lnTo>
                    <a:lnTo>
                      <a:pt x="1315" y="1594"/>
                    </a:lnTo>
                    <a:lnTo>
                      <a:pt x="1314" y="1594"/>
                    </a:lnTo>
                    <a:lnTo>
                      <a:pt x="1314" y="1592"/>
                    </a:lnTo>
                    <a:lnTo>
                      <a:pt x="1312" y="1590"/>
                    </a:lnTo>
                    <a:lnTo>
                      <a:pt x="1310" y="1590"/>
                    </a:lnTo>
                    <a:lnTo>
                      <a:pt x="1309" y="1590"/>
                    </a:lnTo>
                    <a:lnTo>
                      <a:pt x="1307" y="1590"/>
                    </a:lnTo>
                    <a:lnTo>
                      <a:pt x="1305" y="1590"/>
                    </a:lnTo>
                    <a:lnTo>
                      <a:pt x="1304" y="1590"/>
                    </a:lnTo>
                    <a:lnTo>
                      <a:pt x="1304" y="1589"/>
                    </a:lnTo>
                    <a:lnTo>
                      <a:pt x="1302" y="1589"/>
                    </a:lnTo>
                    <a:lnTo>
                      <a:pt x="1302" y="1587"/>
                    </a:lnTo>
                    <a:lnTo>
                      <a:pt x="1300" y="1585"/>
                    </a:lnTo>
                    <a:lnTo>
                      <a:pt x="1302" y="1585"/>
                    </a:lnTo>
                    <a:lnTo>
                      <a:pt x="1300" y="1583"/>
                    </a:lnTo>
                    <a:lnTo>
                      <a:pt x="1302" y="1583"/>
                    </a:lnTo>
                    <a:lnTo>
                      <a:pt x="1302" y="1585"/>
                    </a:lnTo>
                    <a:lnTo>
                      <a:pt x="1304" y="1585"/>
                    </a:lnTo>
                    <a:lnTo>
                      <a:pt x="1302" y="1585"/>
                    </a:lnTo>
                    <a:lnTo>
                      <a:pt x="1302" y="1583"/>
                    </a:lnTo>
                    <a:lnTo>
                      <a:pt x="1300" y="1582"/>
                    </a:lnTo>
                    <a:lnTo>
                      <a:pt x="1300" y="1580"/>
                    </a:lnTo>
                    <a:lnTo>
                      <a:pt x="1300" y="1582"/>
                    </a:lnTo>
                    <a:lnTo>
                      <a:pt x="1302" y="1582"/>
                    </a:lnTo>
                    <a:lnTo>
                      <a:pt x="1304" y="1582"/>
                    </a:lnTo>
                    <a:lnTo>
                      <a:pt x="1304" y="1583"/>
                    </a:lnTo>
                    <a:lnTo>
                      <a:pt x="1305" y="1583"/>
                    </a:lnTo>
                    <a:lnTo>
                      <a:pt x="1305" y="1585"/>
                    </a:lnTo>
                    <a:lnTo>
                      <a:pt x="1307" y="1585"/>
                    </a:lnTo>
                    <a:lnTo>
                      <a:pt x="1309" y="1585"/>
                    </a:lnTo>
                    <a:lnTo>
                      <a:pt x="1309" y="1587"/>
                    </a:lnTo>
                    <a:lnTo>
                      <a:pt x="1310" y="1589"/>
                    </a:lnTo>
                    <a:lnTo>
                      <a:pt x="1312" y="1589"/>
                    </a:lnTo>
                    <a:lnTo>
                      <a:pt x="1314" y="1589"/>
                    </a:lnTo>
                    <a:lnTo>
                      <a:pt x="1314" y="1590"/>
                    </a:lnTo>
                    <a:lnTo>
                      <a:pt x="1315" y="1590"/>
                    </a:lnTo>
                    <a:lnTo>
                      <a:pt x="1317" y="1590"/>
                    </a:lnTo>
                    <a:lnTo>
                      <a:pt x="1317" y="1592"/>
                    </a:lnTo>
                    <a:lnTo>
                      <a:pt x="1319" y="1592"/>
                    </a:lnTo>
                    <a:lnTo>
                      <a:pt x="1321" y="1592"/>
                    </a:lnTo>
                    <a:lnTo>
                      <a:pt x="1321" y="1594"/>
                    </a:lnTo>
                    <a:lnTo>
                      <a:pt x="1322" y="1594"/>
                    </a:lnTo>
                    <a:lnTo>
                      <a:pt x="1322" y="1595"/>
                    </a:lnTo>
                    <a:lnTo>
                      <a:pt x="1321" y="1595"/>
                    </a:lnTo>
                    <a:lnTo>
                      <a:pt x="1322" y="1595"/>
                    </a:lnTo>
                    <a:lnTo>
                      <a:pt x="1324" y="1595"/>
                    </a:lnTo>
                    <a:lnTo>
                      <a:pt x="1324" y="1597"/>
                    </a:lnTo>
                    <a:lnTo>
                      <a:pt x="1326" y="1599"/>
                    </a:lnTo>
                    <a:lnTo>
                      <a:pt x="1327" y="1599"/>
                    </a:lnTo>
                    <a:lnTo>
                      <a:pt x="1327" y="1597"/>
                    </a:lnTo>
                    <a:lnTo>
                      <a:pt x="1326" y="1597"/>
                    </a:lnTo>
                    <a:lnTo>
                      <a:pt x="1327" y="1597"/>
                    </a:lnTo>
                    <a:lnTo>
                      <a:pt x="1326" y="1597"/>
                    </a:lnTo>
                    <a:lnTo>
                      <a:pt x="1327" y="1595"/>
                    </a:lnTo>
                    <a:lnTo>
                      <a:pt x="1329" y="1595"/>
                    </a:lnTo>
                    <a:lnTo>
                      <a:pt x="1329" y="1597"/>
                    </a:lnTo>
                    <a:lnTo>
                      <a:pt x="1331" y="1597"/>
                    </a:lnTo>
                    <a:lnTo>
                      <a:pt x="1329" y="1595"/>
                    </a:lnTo>
                    <a:lnTo>
                      <a:pt x="1327" y="1595"/>
                    </a:lnTo>
                    <a:lnTo>
                      <a:pt x="1326" y="1595"/>
                    </a:lnTo>
                    <a:lnTo>
                      <a:pt x="1326" y="1594"/>
                    </a:lnTo>
                    <a:lnTo>
                      <a:pt x="1324" y="1594"/>
                    </a:lnTo>
                    <a:lnTo>
                      <a:pt x="1324" y="1592"/>
                    </a:lnTo>
                    <a:lnTo>
                      <a:pt x="1326" y="1592"/>
                    </a:lnTo>
                    <a:lnTo>
                      <a:pt x="1327" y="1592"/>
                    </a:lnTo>
                    <a:lnTo>
                      <a:pt x="1327" y="1590"/>
                    </a:lnTo>
                    <a:lnTo>
                      <a:pt x="1327" y="1589"/>
                    </a:lnTo>
                    <a:lnTo>
                      <a:pt x="1329" y="1589"/>
                    </a:lnTo>
                    <a:lnTo>
                      <a:pt x="1331" y="1589"/>
                    </a:lnTo>
                    <a:lnTo>
                      <a:pt x="1332" y="1590"/>
                    </a:lnTo>
                    <a:lnTo>
                      <a:pt x="1332" y="1592"/>
                    </a:lnTo>
                    <a:lnTo>
                      <a:pt x="1334" y="1592"/>
                    </a:lnTo>
                    <a:lnTo>
                      <a:pt x="1332" y="1592"/>
                    </a:lnTo>
                    <a:lnTo>
                      <a:pt x="1332" y="1594"/>
                    </a:lnTo>
                    <a:lnTo>
                      <a:pt x="1334" y="1595"/>
                    </a:lnTo>
                    <a:lnTo>
                      <a:pt x="1332" y="1595"/>
                    </a:lnTo>
                    <a:lnTo>
                      <a:pt x="1332" y="1597"/>
                    </a:lnTo>
                    <a:lnTo>
                      <a:pt x="1334" y="1595"/>
                    </a:lnTo>
                    <a:lnTo>
                      <a:pt x="1334" y="1597"/>
                    </a:lnTo>
                    <a:lnTo>
                      <a:pt x="1336" y="1597"/>
                    </a:lnTo>
                    <a:lnTo>
                      <a:pt x="1336" y="1599"/>
                    </a:lnTo>
                    <a:lnTo>
                      <a:pt x="1334" y="1599"/>
                    </a:lnTo>
                    <a:lnTo>
                      <a:pt x="1336" y="1599"/>
                    </a:lnTo>
                    <a:lnTo>
                      <a:pt x="1338" y="1600"/>
                    </a:lnTo>
                    <a:lnTo>
                      <a:pt x="1336" y="1600"/>
                    </a:lnTo>
                    <a:lnTo>
                      <a:pt x="1336" y="1602"/>
                    </a:lnTo>
                    <a:lnTo>
                      <a:pt x="1334" y="1604"/>
                    </a:lnTo>
                    <a:lnTo>
                      <a:pt x="1336" y="1604"/>
                    </a:lnTo>
                    <a:lnTo>
                      <a:pt x="1336" y="1602"/>
                    </a:lnTo>
                    <a:lnTo>
                      <a:pt x="1338" y="1602"/>
                    </a:lnTo>
                    <a:lnTo>
                      <a:pt x="1338" y="1600"/>
                    </a:lnTo>
                    <a:lnTo>
                      <a:pt x="1338" y="1602"/>
                    </a:lnTo>
                    <a:lnTo>
                      <a:pt x="1339" y="1602"/>
                    </a:lnTo>
                    <a:lnTo>
                      <a:pt x="1339" y="1604"/>
                    </a:lnTo>
                    <a:lnTo>
                      <a:pt x="1339" y="1606"/>
                    </a:lnTo>
                    <a:lnTo>
                      <a:pt x="1338" y="1606"/>
                    </a:lnTo>
                    <a:lnTo>
                      <a:pt x="1338" y="1607"/>
                    </a:lnTo>
                    <a:lnTo>
                      <a:pt x="1338" y="1606"/>
                    </a:lnTo>
                    <a:lnTo>
                      <a:pt x="1339" y="1606"/>
                    </a:lnTo>
                    <a:lnTo>
                      <a:pt x="1339" y="1607"/>
                    </a:lnTo>
                    <a:lnTo>
                      <a:pt x="1341" y="1607"/>
                    </a:lnTo>
                    <a:lnTo>
                      <a:pt x="1339" y="1607"/>
                    </a:lnTo>
                    <a:lnTo>
                      <a:pt x="1339" y="1609"/>
                    </a:lnTo>
                    <a:lnTo>
                      <a:pt x="1341" y="1607"/>
                    </a:lnTo>
                    <a:lnTo>
                      <a:pt x="1339" y="1606"/>
                    </a:lnTo>
                    <a:lnTo>
                      <a:pt x="1341" y="1604"/>
                    </a:lnTo>
                    <a:lnTo>
                      <a:pt x="1341" y="1602"/>
                    </a:lnTo>
                    <a:lnTo>
                      <a:pt x="1339" y="1600"/>
                    </a:lnTo>
                    <a:lnTo>
                      <a:pt x="1339" y="1599"/>
                    </a:lnTo>
                    <a:lnTo>
                      <a:pt x="1338" y="1599"/>
                    </a:lnTo>
                    <a:lnTo>
                      <a:pt x="1338" y="1597"/>
                    </a:lnTo>
                    <a:lnTo>
                      <a:pt x="1338" y="1595"/>
                    </a:lnTo>
                    <a:lnTo>
                      <a:pt x="1338" y="1594"/>
                    </a:lnTo>
                    <a:lnTo>
                      <a:pt x="1336" y="1594"/>
                    </a:lnTo>
                    <a:lnTo>
                      <a:pt x="1336" y="1592"/>
                    </a:lnTo>
                    <a:lnTo>
                      <a:pt x="1336" y="1590"/>
                    </a:lnTo>
                    <a:lnTo>
                      <a:pt x="1338" y="1590"/>
                    </a:lnTo>
                    <a:lnTo>
                      <a:pt x="1339" y="1592"/>
                    </a:lnTo>
                    <a:lnTo>
                      <a:pt x="1341" y="1592"/>
                    </a:lnTo>
                    <a:lnTo>
                      <a:pt x="1341" y="1594"/>
                    </a:lnTo>
                    <a:lnTo>
                      <a:pt x="1343" y="1594"/>
                    </a:lnTo>
                    <a:lnTo>
                      <a:pt x="1344" y="1594"/>
                    </a:lnTo>
                    <a:lnTo>
                      <a:pt x="1344" y="1595"/>
                    </a:lnTo>
                    <a:lnTo>
                      <a:pt x="1343" y="1597"/>
                    </a:lnTo>
                    <a:lnTo>
                      <a:pt x="1344" y="1597"/>
                    </a:lnTo>
                    <a:lnTo>
                      <a:pt x="1344" y="1599"/>
                    </a:lnTo>
                    <a:lnTo>
                      <a:pt x="1343" y="1600"/>
                    </a:lnTo>
                    <a:lnTo>
                      <a:pt x="1344" y="1602"/>
                    </a:lnTo>
                    <a:lnTo>
                      <a:pt x="1346" y="1602"/>
                    </a:lnTo>
                    <a:lnTo>
                      <a:pt x="1344" y="1600"/>
                    </a:lnTo>
                    <a:lnTo>
                      <a:pt x="1344" y="1599"/>
                    </a:lnTo>
                    <a:lnTo>
                      <a:pt x="1346" y="1599"/>
                    </a:lnTo>
                    <a:lnTo>
                      <a:pt x="1344" y="1597"/>
                    </a:lnTo>
                    <a:lnTo>
                      <a:pt x="1346" y="1599"/>
                    </a:lnTo>
                    <a:lnTo>
                      <a:pt x="1348" y="1600"/>
                    </a:lnTo>
                    <a:lnTo>
                      <a:pt x="1348" y="1599"/>
                    </a:lnTo>
                    <a:lnTo>
                      <a:pt x="1346" y="1599"/>
                    </a:lnTo>
                    <a:lnTo>
                      <a:pt x="1348" y="1599"/>
                    </a:lnTo>
                    <a:lnTo>
                      <a:pt x="1346" y="1597"/>
                    </a:lnTo>
                    <a:lnTo>
                      <a:pt x="1346" y="1595"/>
                    </a:lnTo>
                    <a:lnTo>
                      <a:pt x="1346" y="1594"/>
                    </a:lnTo>
                    <a:lnTo>
                      <a:pt x="1348" y="1594"/>
                    </a:lnTo>
                    <a:lnTo>
                      <a:pt x="1349" y="1594"/>
                    </a:lnTo>
                    <a:lnTo>
                      <a:pt x="1349" y="1595"/>
                    </a:lnTo>
                    <a:lnTo>
                      <a:pt x="1351" y="1595"/>
                    </a:lnTo>
                    <a:lnTo>
                      <a:pt x="1351" y="1597"/>
                    </a:lnTo>
                    <a:lnTo>
                      <a:pt x="1353" y="1597"/>
                    </a:lnTo>
                    <a:lnTo>
                      <a:pt x="1355" y="1599"/>
                    </a:lnTo>
                    <a:lnTo>
                      <a:pt x="1356" y="1599"/>
                    </a:lnTo>
                    <a:lnTo>
                      <a:pt x="1356" y="1600"/>
                    </a:lnTo>
                    <a:lnTo>
                      <a:pt x="1358" y="1600"/>
                    </a:lnTo>
                    <a:lnTo>
                      <a:pt x="1358" y="1602"/>
                    </a:lnTo>
                    <a:lnTo>
                      <a:pt x="1356" y="1602"/>
                    </a:lnTo>
                    <a:lnTo>
                      <a:pt x="1356" y="1604"/>
                    </a:lnTo>
                    <a:lnTo>
                      <a:pt x="1355" y="1606"/>
                    </a:lnTo>
                    <a:lnTo>
                      <a:pt x="1355" y="1607"/>
                    </a:lnTo>
                    <a:lnTo>
                      <a:pt x="1353" y="1607"/>
                    </a:lnTo>
                    <a:lnTo>
                      <a:pt x="1353" y="1609"/>
                    </a:lnTo>
                    <a:lnTo>
                      <a:pt x="1351" y="1609"/>
                    </a:lnTo>
                    <a:lnTo>
                      <a:pt x="1353" y="1611"/>
                    </a:lnTo>
                    <a:lnTo>
                      <a:pt x="1351" y="1611"/>
                    </a:lnTo>
                    <a:lnTo>
                      <a:pt x="1351" y="1612"/>
                    </a:lnTo>
                    <a:lnTo>
                      <a:pt x="1349" y="1612"/>
                    </a:lnTo>
                    <a:lnTo>
                      <a:pt x="1348" y="1612"/>
                    </a:lnTo>
                    <a:lnTo>
                      <a:pt x="1349" y="1614"/>
                    </a:lnTo>
                    <a:lnTo>
                      <a:pt x="1351" y="1612"/>
                    </a:lnTo>
                    <a:lnTo>
                      <a:pt x="1353" y="1612"/>
                    </a:lnTo>
                    <a:lnTo>
                      <a:pt x="1353" y="1614"/>
                    </a:lnTo>
                    <a:lnTo>
                      <a:pt x="1353" y="1616"/>
                    </a:lnTo>
                    <a:lnTo>
                      <a:pt x="1353" y="1614"/>
                    </a:lnTo>
                    <a:lnTo>
                      <a:pt x="1353" y="1612"/>
                    </a:lnTo>
                    <a:lnTo>
                      <a:pt x="1353" y="1611"/>
                    </a:lnTo>
                    <a:lnTo>
                      <a:pt x="1355" y="1611"/>
                    </a:lnTo>
                    <a:lnTo>
                      <a:pt x="1355" y="1609"/>
                    </a:lnTo>
                    <a:lnTo>
                      <a:pt x="1355" y="1607"/>
                    </a:lnTo>
                    <a:lnTo>
                      <a:pt x="1356" y="1606"/>
                    </a:lnTo>
                    <a:lnTo>
                      <a:pt x="1358" y="1606"/>
                    </a:lnTo>
                    <a:lnTo>
                      <a:pt x="1358" y="1604"/>
                    </a:lnTo>
                    <a:lnTo>
                      <a:pt x="1358" y="1606"/>
                    </a:lnTo>
                    <a:lnTo>
                      <a:pt x="1360" y="1607"/>
                    </a:lnTo>
                    <a:lnTo>
                      <a:pt x="1361" y="1607"/>
                    </a:lnTo>
                    <a:lnTo>
                      <a:pt x="1360" y="1606"/>
                    </a:lnTo>
                    <a:lnTo>
                      <a:pt x="1360" y="1604"/>
                    </a:lnTo>
                    <a:lnTo>
                      <a:pt x="1360" y="1602"/>
                    </a:lnTo>
                    <a:lnTo>
                      <a:pt x="1361" y="1600"/>
                    </a:lnTo>
                    <a:lnTo>
                      <a:pt x="1363" y="1600"/>
                    </a:lnTo>
                    <a:lnTo>
                      <a:pt x="1365" y="1600"/>
                    </a:lnTo>
                    <a:lnTo>
                      <a:pt x="1365" y="1602"/>
                    </a:lnTo>
                    <a:lnTo>
                      <a:pt x="1366" y="1602"/>
                    </a:lnTo>
                    <a:lnTo>
                      <a:pt x="1365" y="1600"/>
                    </a:lnTo>
                    <a:lnTo>
                      <a:pt x="1366" y="1600"/>
                    </a:lnTo>
                    <a:lnTo>
                      <a:pt x="1365" y="1599"/>
                    </a:lnTo>
                    <a:lnTo>
                      <a:pt x="1363" y="1599"/>
                    </a:lnTo>
                    <a:lnTo>
                      <a:pt x="1363" y="1597"/>
                    </a:lnTo>
                    <a:lnTo>
                      <a:pt x="1361" y="1597"/>
                    </a:lnTo>
                    <a:lnTo>
                      <a:pt x="1360" y="1597"/>
                    </a:lnTo>
                    <a:lnTo>
                      <a:pt x="1360" y="1595"/>
                    </a:lnTo>
                    <a:lnTo>
                      <a:pt x="1358" y="1595"/>
                    </a:lnTo>
                    <a:lnTo>
                      <a:pt x="1358" y="1594"/>
                    </a:lnTo>
                    <a:lnTo>
                      <a:pt x="1356" y="1594"/>
                    </a:lnTo>
                    <a:lnTo>
                      <a:pt x="1355" y="1592"/>
                    </a:lnTo>
                    <a:lnTo>
                      <a:pt x="1353" y="1592"/>
                    </a:lnTo>
                    <a:lnTo>
                      <a:pt x="1351" y="1592"/>
                    </a:lnTo>
                    <a:lnTo>
                      <a:pt x="1351" y="1590"/>
                    </a:lnTo>
                    <a:lnTo>
                      <a:pt x="1349" y="1590"/>
                    </a:lnTo>
                    <a:lnTo>
                      <a:pt x="1348" y="1590"/>
                    </a:lnTo>
                    <a:lnTo>
                      <a:pt x="1348" y="1589"/>
                    </a:lnTo>
                    <a:lnTo>
                      <a:pt x="1346" y="1589"/>
                    </a:lnTo>
                    <a:lnTo>
                      <a:pt x="1344" y="1587"/>
                    </a:lnTo>
                    <a:lnTo>
                      <a:pt x="1343" y="1587"/>
                    </a:lnTo>
                    <a:lnTo>
                      <a:pt x="1341" y="1587"/>
                    </a:lnTo>
                    <a:lnTo>
                      <a:pt x="1341" y="1585"/>
                    </a:lnTo>
                    <a:lnTo>
                      <a:pt x="1339" y="1585"/>
                    </a:lnTo>
                    <a:lnTo>
                      <a:pt x="1338" y="1585"/>
                    </a:lnTo>
                    <a:lnTo>
                      <a:pt x="1336" y="1583"/>
                    </a:lnTo>
                    <a:lnTo>
                      <a:pt x="1334" y="1583"/>
                    </a:lnTo>
                    <a:lnTo>
                      <a:pt x="1334" y="1582"/>
                    </a:lnTo>
                    <a:lnTo>
                      <a:pt x="1332" y="1582"/>
                    </a:lnTo>
                    <a:lnTo>
                      <a:pt x="1331" y="1580"/>
                    </a:lnTo>
                    <a:lnTo>
                      <a:pt x="1329" y="1580"/>
                    </a:lnTo>
                    <a:lnTo>
                      <a:pt x="1331" y="1580"/>
                    </a:lnTo>
                    <a:lnTo>
                      <a:pt x="1331" y="1578"/>
                    </a:lnTo>
                    <a:lnTo>
                      <a:pt x="1329" y="1578"/>
                    </a:lnTo>
                    <a:lnTo>
                      <a:pt x="1329" y="1577"/>
                    </a:lnTo>
                    <a:lnTo>
                      <a:pt x="1329" y="1575"/>
                    </a:lnTo>
                    <a:lnTo>
                      <a:pt x="1329" y="1573"/>
                    </a:lnTo>
                    <a:lnTo>
                      <a:pt x="1327" y="1573"/>
                    </a:lnTo>
                    <a:lnTo>
                      <a:pt x="1327" y="1572"/>
                    </a:lnTo>
                    <a:lnTo>
                      <a:pt x="1327" y="1570"/>
                    </a:lnTo>
                    <a:lnTo>
                      <a:pt x="1327" y="1568"/>
                    </a:lnTo>
                    <a:lnTo>
                      <a:pt x="1326" y="1568"/>
                    </a:lnTo>
                    <a:lnTo>
                      <a:pt x="1326" y="1566"/>
                    </a:lnTo>
                    <a:lnTo>
                      <a:pt x="1326" y="1565"/>
                    </a:lnTo>
                    <a:lnTo>
                      <a:pt x="1326" y="1563"/>
                    </a:lnTo>
                    <a:lnTo>
                      <a:pt x="1326" y="1561"/>
                    </a:lnTo>
                    <a:lnTo>
                      <a:pt x="1326" y="1560"/>
                    </a:lnTo>
                    <a:lnTo>
                      <a:pt x="1327" y="1560"/>
                    </a:lnTo>
                    <a:lnTo>
                      <a:pt x="1329" y="1558"/>
                    </a:lnTo>
                    <a:lnTo>
                      <a:pt x="1331" y="1558"/>
                    </a:lnTo>
                    <a:lnTo>
                      <a:pt x="1332" y="1558"/>
                    </a:lnTo>
                    <a:lnTo>
                      <a:pt x="1334" y="1556"/>
                    </a:lnTo>
                    <a:lnTo>
                      <a:pt x="1334" y="1555"/>
                    </a:lnTo>
                    <a:lnTo>
                      <a:pt x="1336" y="1555"/>
                    </a:lnTo>
                    <a:lnTo>
                      <a:pt x="1338" y="1555"/>
                    </a:lnTo>
                    <a:lnTo>
                      <a:pt x="1339" y="1555"/>
                    </a:lnTo>
                    <a:lnTo>
                      <a:pt x="1341" y="1555"/>
                    </a:lnTo>
                    <a:lnTo>
                      <a:pt x="1343" y="1555"/>
                    </a:lnTo>
                    <a:lnTo>
                      <a:pt x="1343" y="1553"/>
                    </a:lnTo>
                    <a:lnTo>
                      <a:pt x="1344" y="1553"/>
                    </a:lnTo>
                    <a:lnTo>
                      <a:pt x="1344" y="1551"/>
                    </a:lnTo>
                    <a:lnTo>
                      <a:pt x="1346" y="1551"/>
                    </a:lnTo>
                    <a:lnTo>
                      <a:pt x="1348" y="1549"/>
                    </a:lnTo>
                    <a:lnTo>
                      <a:pt x="1349" y="1549"/>
                    </a:lnTo>
                    <a:lnTo>
                      <a:pt x="1349" y="1548"/>
                    </a:lnTo>
                    <a:lnTo>
                      <a:pt x="1351" y="1548"/>
                    </a:lnTo>
                    <a:lnTo>
                      <a:pt x="1353" y="1548"/>
                    </a:lnTo>
                    <a:lnTo>
                      <a:pt x="1353" y="1546"/>
                    </a:lnTo>
                    <a:lnTo>
                      <a:pt x="1355" y="1546"/>
                    </a:lnTo>
                    <a:lnTo>
                      <a:pt x="1355" y="1544"/>
                    </a:lnTo>
                    <a:lnTo>
                      <a:pt x="1355" y="1543"/>
                    </a:lnTo>
                    <a:lnTo>
                      <a:pt x="1355" y="1541"/>
                    </a:lnTo>
                    <a:lnTo>
                      <a:pt x="1355" y="1539"/>
                    </a:lnTo>
                    <a:lnTo>
                      <a:pt x="1353" y="1539"/>
                    </a:lnTo>
                    <a:lnTo>
                      <a:pt x="1353" y="1538"/>
                    </a:lnTo>
                    <a:lnTo>
                      <a:pt x="1351" y="1538"/>
                    </a:lnTo>
                    <a:lnTo>
                      <a:pt x="1349" y="1538"/>
                    </a:lnTo>
                    <a:lnTo>
                      <a:pt x="1348" y="1538"/>
                    </a:lnTo>
                    <a:lnTo>
                      <a:pt x="1346" y="1538"/>
                    </a:lnTo>
                    <a:lnTo>
                      <a:pt x="1344" y="1538"/>
                    </a:lnTo>
                    <a:lnTo>
                      <a:pt x="1343" y="1538"/>
                    </a:lnTo>
                    <a:lnTo>
                      <a:pt x="1341" y="1538"/>
                    </a:lnTo>
                    <a:lnTo>
                      <a:pt x="1339" y="1538"/>
                    </a:lnTo>
                    <a:lnTo>
                      <a:pt x="1338" y="1539"/>
                    </a:lnTo>
                    <a:lnTo>
                      <a:pt x="1336" y="1539"/>
                    </a:lnTo>
                    <a:lnTo>
                      <a:pt x="1334" y="1539"/>
                    </a:lnTo>
                    <a:lnTo>
                      <a:pt x="1332" y="1539"/>
                    </a:lnTo>
                    <a:lnTo>
                      <a:pt x="1331" y="1541"/>
                    </a:lnTo>
                    <a:lnTo>
                      <a:pt x="1329" y="1541"/>
                    </a:lnTo>
                    <a:lnTo>
                      <a:pt x="1329" y="1543"/>
                    </a:lnTo>
                    <a:lnTo>
                      <a:pt x="1327" y="1543"/>
                    </a:lnTo>
                    <a:lnTo>
                      <a:pt x="1326" y="1543"/>
                    </a:lnTo>
                    <a:lnTo>
                      <a:pt x="1326" y="1544"/>
                    </a:lnTo>
                    <a:lnTo>
                      <a:pt x="1324" y="1544"/>
                    </a:lnTo>
                    <a:lnTo>
                      <a:pt x="1322" y="1544"/>
                    </a:lnTo>
                    <a:lnTo>
                      <a:pt x="1322" y="1543"/>
                    </a:lnTo>
                    <a:lnTo>
                      <a:pt x="1321" y="1543"/>
                    </a:lnTo>
                    <a:lnTo>
                      <a:pt x="1321" y="1541"/>
                    </a:lnTo>
                    <a:lnTo>
                      <a:pt x="1321" y="1539"/>
                    </a:lnTo>
                    <a:lnTo>
                      <a:pt x="1319" y="1539"/>
                    </a:lnTo>
                    <a:lnTo>
                      <a:pt x="1317" y="1539"/>
                    </a:lnTo>
                    <a:lnTo>
                      <a:pt x="1315" y="1539"/>
                    </a:lnTo>
                    <a:lnTo>
                      <a:pt x="1315" y="1538"/>
                    </a:lnTo>
                    <a:lnTo>
                      <a:pt x="1315" y="1536"/>
                    </a:lnTo>
                    <a:lnTo>
                      <a:pt x="1317" y="1534"/>
                    </a:lnTo>
                    <a:lnTo>
                      <a:pt x="1319" y="1534"/>
                    </a:lnTo>
                    <a:lnTo>
                      <a:pt x="1317" y="1534"/>
                    </a:lnTo>
                    <a:lnTo>
                      <a:pt x="1315" y="1536"/>
                    </a:lnTo>
                    <a:lnTo>
                      <a:pt x="1315" y="1534"/>
                    </a:lnTo>
                    <a:lnTo>
                      <a:pt x="1315" y="1532"/>
                    </a:lnTo>
                    <a:lnTo>
                      <a:pt x="1315" y="1531"/>
                    </a:lnTo>
                    <a:lnTo>
                      <a:pt x="1315" y="1529"/>
                    </a:lnTo>
                    <a:lnTo>
                      <a:pt x="1317" y="1527"/>
                    </a:lnTo>
                    <a:lnTo>
                      <a:pt x="1317" y="1526"/>
                    </a:lnTo>
                    <a:lnTo>
                      <a:pt x="1317" y="1524"/>
                    </a:lnTo>
                    <a:lnTo>
                      <a:pt x="1315" y="1524"/>
                    </a:lnTo>
                    <a:lnTo>
                      <a:pt x="1317" y="1522"/>
                    </a:lnTo>
                    <a:lnTo>
                      <a:pt x="1317" y="1521"/>
                    </a:lnTo>
                    <a:lnTo>
                      <a:pt x="1317" y="1519"/>
                    </a:lnTo>
                    <a:lnTo>
                      <a:pt x="1317" y="1517"/>
                    </a:lnTo>
                    <a:lnTo>
                      <a:pt x="1319" y="1517"/>
                    </a:lnTo>
                    <a:lnTo>
                      <a:pt x="1319" y="1515"/>
                    </a:lnTo>
                    <a:lnTo>
                      <a:pt x="1321" y="1515"/>
                    </a:lnTo>
                    <a:lnTo>
                      <a:pt x="1321" y="1517"/>
                    </a:lnTo>
                    <a:lnTo>
                      <a:pt x="1319" y="1517"/>
                    </a:lnTo>
                    <a:lnTo>
                      <a:pt x="1321" y="1519"/>
                    </a:lnTo>
                    <a:lnTo>
                      <a:pt x="1321" y="1521"/>
                    </a:lnTo>
                    <a:lnTo>
                      <a:pt x="1319" y="1521"/>
                    </a:lnTo>
                    <a:lnTo>
                      <a:pt x="1321" y="1521"/>
                    </a:lnTo>
                    <a:lnTo>
                      <a:pt x="1322" y="1521"/>
                    </a:lnTo>
                    <a:lnTo>
                      <a:pt x="1324" y="1521"/>
                    </a:lnTo>
                    <a:lnTo>
                      <a:pt x="1324" y="1519"/>
                    </a:lnTo>
                    <a:lnTo>
                      <a:pt x="1326" y="1519"/>
                    </a:lnTo>
                    <a:lnTo>
                      <a:pt x="1327" y="1519"/>
                    </a:lnTo>
                    <a:lnTo>
                      <a:pt x="1327" y="1517"/>
                    </a:lnTo>
                    <a:lnTo>
                      <a:pt x="1327" y="1515"/>
                    </a:lnTo>
                    <a:lnTo>
                      <a:pt x="1329" y="1514"/>
                    </a:lnTo>
                    <a:lnTo>
                      <a:pt x="1327" y="1512"/>
                    </a:lnTo>
                    <a:lnTo>
                      <a:pt x="1327" y="1510"/>
                    </a:lnTo>
                    <a:lnTo>
                      <a:pt x="1326" y="1512"/>
                    </a:lnTo>
                    <a:lnTo>
                      <a:pt x="1326" y="1510"/>
                    </a:lnTo>
                    <a:lnTo>
                      <a:pt x="1324" y="1510"/>
                    </a:lnTo>
                    <a:lnTo>
                      <a:pt x="1322" y="1510"/>
                    </a:lnTo>
                    <a:lnTo>
                      <a:pt x="1322" y="1512"/>
                    </a:lnTo>
                    <a:lnTo>
                      <a:pt x="1321" y="1512"/>
                    </a:lnTo>
                    <a:lnTo>
                      <a:pt x="1322" y="1510"/>
                    </a:lnTo>
                    <a:lnTo>
                      <a:pt x="1322" y="1509"/>
                    </a:lnTo>
                    <a:lnTo>
                      <a:pt x="1322" y="1507"/>
                    </a:lnTo>
                    <a:lnTo>
                      <a:pt x="1321" y="1505"/>
                    </a:lnTo>
                    <a:lnTo>
                      <a:pt x="1319" y="1505"/>
                    </a:lnTo>
                    <a:lnTo>
                      <a:pt x="1317" y="1505"/>
                    </a:lnTo>
                    <a:lnTo>
                      <a:pt x="1317" y="1504"/>
                    </a:lnTo>
                    <a:lnTo>
                      <a:pt x="1319" y="1504"/>
                    </a:lnTo>
                    <a:lnTo>
                      <a:pt x="1321" y="1504"/>
                    </a:lnTo>
                    <a:lnTo>
                      <a:pt x="1322" y="1504"/>
                    </a:lnTo>
                    <a:lnTo>
                      <a:pt x="1324" y="1504"/>
                    </a:lnTo>
                    <a:lnTo>
                      <a:pt x="1326" y="1502"/>
                    </a:lnTo>
                    <a:lnTo>
                      <a:pt x="1327" y="1502"/>
                    </a:lnTo>
                    <a:lnTo>
                      <a:pt x="1327" y="1504"/>
                    </a:lnTo>
                    <a:lnTo>
                      <a:pt x="1329" y="1505"/>
                    </a:lnTo>
                    <a:lnTo>
                      <a:pt x="1329" y="1507"/>
                    </a:lnTo>
                    <a:lnTo>
                      <a:pt x="1331" y="1509"/>
                    </a:lnTo>
                    <a:lnTo>
                      <a:pt x="1332" y="1509"/>
                    </a:lnTo>
                    <a:lnTo>
                      <a:pt x="1334" y="1509"/>
                    </a:lnTo>
                    <a:lnTo>
                      <a:pt x="1336" y="1507"/>
                    </a:lnTo>
                    <a:lnTo>
                      <a:pt x="1336" y="1505"/>
                    </a:lnTo>
                    <a:lnTo>
                      <a:pt x="1338" y="1505"/>
                    </a:lnTo>
                    <a:lnTo>
                      <a:pt x="1339" y="1505"/>
                    </a:lnTo>
                    <a:lnTo>
                      <a:pt x="1341" y="1504"/>
                    </a:lnTo>
                    <a:lnTo>
                      <a:pt x="1343" y="1502"/>
                    </a:lnTo>
                    <a:lnTo>
                      <a:pt x="1343" y="1500"/>
                    </a:lnTo>
                    <a:lnTo>
                      <a:pt x="1344" y="1498"/>
                    </a:lnTo>
                    <a:lnTo>
                      <a:pt x="1344" y="1497"/>
                    </a:lnTo>
                    <a:lnTo>
                      <a:pt x="1344" y="1495"/>
                    </a:lnTo>
                    <a:lnTo>
                      <a:pt x="1344" y="1493"/>
                    </a:lnTo>
                    <a:lnTo>
                      <a:pt x="1344" y="1492"/>
                    </a:lnTo>
                    <a:lnTo>
                      <a:pt x="1346" y="1492"/>
                    </a:lnTo>
                    <a:lnTo>
                      <a:pt x="1346" y="1490"/>
                    </a:lnTo>
                    <a:lnTo>
                      <a:pt x="1348" y="1490"/>
                    </a:lnTo>
                    <a:lnTo>
                      <a:pt x="1349" y="1488"/>
                    </a:lnTo>
                    <a:lnTo>
                      <a:pt x="1348" y="1488"/>
                    </a:lnTo>
                    <a:lnTo>
                      <a:pt x="1349" y="1488"/>
                    </a:lnTo>
                    <a:lnTo>
                      <a:pt x="1348" y="1488"/>
                    </a:lnTo>
                    <a:lnTo>
                      <a:pt x="1349" y="1488"/>
                    </a:lnTo>
                    <a:lnTo>
                      <a:pt x="1351" y="1487"/>
                    </a:lnTo>
                    <a:lnTo>
                      <a:pt x="1353" y="1488"/>
                    </a:lnTo>
                    <a:lnTo>
                      <a:pt x="1353" y="1490"/>
                    </a:lnTo>
                    <a:lnTo>
                      <a:pt x="1355" y="1492"/>
                    </a:lnTo>
                    <a:lnTo>
                      <a:pt x="1355" y="1493"/>
                    </a:lnTo>
                    <a:lnTo>
                      <a:pt x="1355" y="1495"/>
                    </a:lnTo>
                    <a:lnTo>
                      <a:pt x="1356" y="1497"/>
                    </a:lnTo>
                    <a:lnTo>
                      <a:pt x="1356" y="1498"/>
                    </a:lnTo>
                    <a:lnTo>
                      <a:pt x="1358" y="1498"/>
                    </a:lnTo>
                    <a:lnTo>
                      <a:pt x="1360" y="1500"/>
                    </a:lnTo>
                    <a:lnTo>
                      <a:pt x="1361" y="1500"/>
                    </a:lnTo>
                    <a:lnTo>
                      <a:pt x="1363" y="1500"/>
                    </a:lnTo>
                    <a:lnTo>
                      <a:pt x="1363" y="1498"/>
                    </a:lnTo>
                    <a:lnTo>
                      <a:pt x="1365" y="1498"/>
                    </a:lnTo>
                    <a:lnTo>
                      <a:pt x="1366" y="1498"/>
                    </a:lnTo>
                    <a:lnTo>
                      <a:pt x="1368" y="1497"/>
                    </a:lnTo>
                    <a:lnTo>
                      <a:pt x="1370" y="1497"/>
                    </a:lnTo>
                    <a:lnTo>
                      <a:pt x="1372" y="1497"/>
                    </a:lnTo>
                    <a:lnTo>
                      <a:pt x="1372" y="1495"/>
                    </a:lnTo>
                    <a:lnTo>
                      <a:pt x="1373" y="1495"/>
                    </a:lnTo>
                    <a:lnTo>
                      <a:pt x="1373" y="1493"/>
                    </a:lnTo>
                    <a:lnTo>
                      <a:pt x="1373" y="1492"/>
                    </a:lnTo>
                    <a:lnTo>
                      <a:pt x="1373" y="1493"/>
                    </a:lnTo>
                    <a:lnTo>
                      <a:pt x="1375" y="1493"/>
                    </a:lnTo>
                    <a:lnTo>
                      <a:pt x="1375" y="1495"/>
                    </a:lnTo>
                    <a:lnTo>
                      <a:pt x="1377" y="1497"/>
                    </a:lnTo>
                    <a:lnTo>
                      <a:pt x="1378" y="1497"/>
                    </a:lnTo>
                    <a:lnTo>
                      <a:pt x="1378" y="1498"/>
                    </a:lnTo>
                    <a:close/>
                    <a:moveTo>
                      <a:pt x="1200" y="954"/>
                    </a:moveTo>
                    <a:lnTo>
                      <a:pt x="1200" y="956"/>
                    </a:lnTo>
                    <a:lnTo>
                      <a:pt x="1202" y="957"/>
                    </a:lnTo>
                    <a:lnTo>
                      <a:pt x="1200" y="957"/>
                    </a:lnTo>
                    <a:lnTo>
                      <a:pt x="1198" y="957"/>
                    </a:lnTo>
                    <a:lnTo>
                      <a:pt x="1198" y="956"/>
                    </a:lnTo>
                    <a:lnTo>
                      <a:pt x="1196" y="957"/>
                    </a:lnTo>
                    <a:lnTo>
                      <a:pt x="1196" y="956"/>
                    </a:lnTo>
                    <a:lnTo>
                      <a:pt x="1196" y="957"/>
                    </a:lnTo>
                    <a:lnTo>
                      <a:pt x="1198" y="957"/>
                    </a:lnTo>
                    <a:lnTo>
                      <a:pt x="1198" y="959"/>
                    </a:lnTo>
                    <a:lnTo>
                      <a:pt x="1200" y="959"/>
                    </a:lnTo>
                    <a:lnTo>
                      <a:pt x="1202" y="959"/>
                    </a:lnTo>
                    <a:lnTo>
                      <a:pt x="1202" y="957"/>
                    </a:lnTo>
                    <a:lnTo>
                      <a:pt x="1203" y="957"/>
                    </a:lnTo>
                    <a:lnTo>
                      <a:pt x="1203" y="959"/>
                    </a:lnTo>
                    <a:lnTo>
                      <a:pt x="1205" y="961"/>
                    </a:lnTo>
                    <a:lnTo>
                      <a:pt x="1203" y="963"/>
                    </a:lnTo>
                    <a:lnTo>
                      <a:pt x="1205" y="963"/>
                    </a:lnTo>
                    <a:lnTo>
                      <a:pt x="1205" y="961"/>
                    </a:lnTo>
                    <a:lnTo>
                      <a:pt x="1205" y="963"/>
                    </a:lnTo>
                    <a:lnTo>
                      <a:pt x="1205" y="961"/>
                    </a:lnTo>
                    <a:lnTo>
                      <a:pt x="1207" y="961"/>
                    </a:lnTo>
                    <a:lnTo>
                      <a:pt x="1205" y="961"/>
                    </a:lnTo>
                    <a:lnTo>
                      <a:pt x="1205" y="959"/>
                    </a:lnTo>
                    <a:lnTo>
                      <a:pt x="1203" y="959"/>
                    </a:lnTo>
                    <a:lnTo>
                      <a:pt x="1205" y="959"/>
                    </a:lnTo>
                    <a:lnTo>
                      <a:pt x="1205" y="957"/>
                    </a:lnTo>
                    <a:lnTo>
                      <a:pt x="1207" y="957"/>
                    </a:lnTo>
                    <a:lnTo>
                      <a:pt x="1207" y="956"/>
                    </a:lnTo>
                    <a:lnTo>
                      <a:pt x="1208" y="956"/>
                    </a:lnTo>
                    <a:lnTo>
                      <a:pt x="1208" y="957"/>
                    </a:lnTo>
                    <a:lnTo>
                      <a:pt x="1210" y="956"/>
                    </a:lnTo>
                    <a:lnTo>
                      <a:pt x="1212" y="956"/>
                    </a:lnTo>
                    <a:lnTo>
                      <a:pt x="1212" y="957"/>
                    </a:lnTo>
                    <a:lnTo>
                      <a:pt x="1213" y="957"/>
                    </a:lnTo>
                    <a:lnTo>
                      <a:pt x="1213" y="959"/>
                    </a:lnTo>
                    <a:lnTo>
                      <a:pt x="1212" y="959"/>
                    </a:lnTo>
                    <a:lnTo>
                      <a:pt x="1213" y="959"/>
                    </a:lnTo>
                    <a:lnTo>
                      <a:pt x="1213" y="961"/>
                    </a:lnTo>
                    <a:lnTo>
                      <a:pt x="1213" y="959"/>
                    </a:lnTo>
                    <a:lnTo>
                      <a:pt x="1212" y="959"/>
                    </a:lnTo>
                    <a:lnTo>
                      <a:pt x="1212" y="961"/>
                    </a:lnTo>
                    <a:lnTo>
                      <a:pt x="1213" y="961"/>
                    </a:lnTo>
                    <a:lnTo>
                      <a:pt x="1212" y="961"/>
                    </a:lnTo>
                    <a:lnTo>
                      <a:pt x="1212" y="963"/>
                    </a:lnTo>
                    <a:lnTo>
                      <a:pt x="1213" y="963"/>
                    </a:lnTo>
                    <a:lnTo>
                      <a:pt x="1213" y="964"/>
                    </a:lnTo>
                    <a:lnTo>
                      <a:pt x="1213" y="966"/>
                    </a:lnTo>
                    <a:lnTo>
                      <a:pt x="1215" y="966"/>
                    </a:lnTo>
                    <a:lnTo>
                      <a:pt x="1215" y="968"/>
                    </a:lnTo>
                    <a:lnTo>
                      <a:pt x="1215" y="969"/>
                    </a:lnTo>
                    <a:lnTo>
                      <a:pt x="1215" y="971"/>
                    </a:lnTo>
                    <a:lnTo>
                      <a:pt x="1213" y="969"/>
                    </a:lnTo>
                    <a:lnTo>
                      <a:pt x="1213" y="971"/>
                    </a:lnTo>
                    <a:lnTo>
                      <a:pt x="1215" y="973"/>
                    </a:lnTo>
                    <a:lnTo>
                      <a:pt x="1217" y="975"/>
                    </a:lnTo>
                    <a:lnTo>
                      <a:pt x="1219" y="975"/>
                    </a:lnTo>
                    <a:lnTo>
                      <a:pt x="1219" y="976"/>
                    </a:lnTo>
                    <a:lnTo>
                      <a:pt x="1217" y="976"/>
                    </a:lnTo>
                    <a:lnTo>
                      <a:pt x="1219" y="976"/>
                    </a:lnTo>
                    <a:lnTo>
                      <a:pt x="1219" y="978"/>
                    </a:lnTo>
                    <a:lnTo>
                      <a:pt x="1219" y="980"/>
                    </a:lnTo>
                    <a:lnTo>
                      <a:pt x="1217" y="980"/>
                    </a:lnTo>
                    <a:lnTo>
                      <a:pt x="1215" y="980"/>
                    </a:lnTo>
                    <a:lnTo>
                      <a:pt x="1215" y="978"/>
                    </a:lnTo>
                    <a:lnTo>
                      <a:pt x="1215" y="980"/>
                    </a:lnTo>
                    <a:lnTo>
                      <a:pt x="1213" y="980"/>
                    </a:lnTo>
                    <a:lnTo>
                      <a:pt x="1212" y="980"/>
                    </a:lnTo>
                    <a:lnTo>
                      <a:pt x="1210" y="981"/>
                    </a:lnTo>
                    <a:lnTo>
                      <a:pt x="1208" y="981"/>
                    </a:lnTo>
                    <a:lnTo>
                      <a:pt x="1207" y="983"/>
                    </a:lnTo>
                    <a:lnTo>
                      <a:pt x="1208" y="983"/>
                    </a:lnTo>
                    <a:lnTo>
                      <a:pt x="1208" y="985"/>
                    </a:lnTo>
                    <a:lnTo>
                      <a:pt x="1208" y="986"/>
                    </a:lnTo>
                    <a:lnTo>
                      <a:pt x="1207" y="986"/>
                    </a:lnTo>
                    <a:lnTo>
                      <a:pt x="1208" y="988"/>
                    </a:lnTo>
                    <a:lnTo>
                      <a:pt x="1210" y="988"/>
                    </a:lnTo>
                    <a:lnTo>
                      <a:pt x="1210" y="990"/>
                    </a:lnTo>
                    <a:lnTo>
                      <a:pt x="1208" y="988"/>
                    </a:lnTo>
                    <a:lnTo>
                      <a:pt x="1208" y="990"/>
                    </a:lnTo>
                    <a:lnTo>
                      <a:pt x="1207" y="990"/>
                    </a:lnTo>
                    <a:lnTo>
                      <a:pt x="1205" y="990"/>
                    </a:lnTo>
                    <a:lnTo>
                      <a:pt x="1205" y="988"/>
                    </a:lnTo>
                    <a:lnTo>
                      <a:pt x="1203" y="988"/>
                    </a:lnTo>
                    <a:lnTo>
                      <a:pt x="1205" y="988"/>
                    </a:lnTo>
                    <a:lnTo>
                      <a:pt x="1205" y="986"/>
                    </a:lnTo>
                    <a:lnTo>
                      <a:pt x="1205" y="985"/>
                    </a:lnTo>
                    <a:lnTo>
                      <a:pt x="1205" y="986"/>
                    </a:lnTo>
                    <a:lnTo>
                      <a:pt x="1203" y="986"/>
                    </a:lnTo>
                    <a:lnTo>
                      <a:pt x="1203" y="988"/>
                    </a:lnTo>
                    <a:lnTo>
                      <a:pt x="1203" y="990"/>
                    </a:lnTo>
                    <a:lnTo>
                      <a:pt x="1205" y="990"/>
                    </a:lnTo>
                    <a:lnTo>
                      <a:pt x="1205" y="992"/>
                    </a:lnTo>
                    <a:lnTo>
                      <a:pt x="1203" y="992"/>
                    </a:lnTo>
                    <a:lnTo>
                      <a:pt x="1203" y="993"/>
                    </a:lnTo>
                    <a:lnTo>
                      <a:pt x="1205" y="993"/>
                    </a:lnTo>
                    <a:lnTo>
                      <a:pt x="1205" y="995"/>
                    </a:lnTo>
                    <a:lnTo>
                      <a:pt x="1207" y="995"/>
                    </a:lnTo>
                    <a:lnTo>
                      <a:pt x="1208" y="995"/>
                    </a:lnTo>
                    <a:lnTo>
                      <a:pt x="1207" y="995"/>
                    </a:lnTo>
                    <a:lnTo>
                      <a:pt x="1207" y="997"/>
                    </a:lnTo>
                    <a:lnTo>
                      <a:pt x="1208" y="997"/>
                    </a:lnTo>
                    <a:lnTo>
                      <a:pt x="1208" y="998"/>
                    </a:lnTo>
                    <a:lnTo>
                      <a:pt x="1210" y="998"/>
                    </a:lnTo>
                    <a:lnTo>
                      <a:pt x="1210" y="1000"/>
                    </a:lnTo>
                    <a:lnTo>
                      <a:pt x="1212" y="998"/>
                    </a:lnTo>
                    <a:lnTo>
                      <a:pt x="1212" y="1000"/>
                    </a:lnTo>
                    <a:lnTo>
                      <a:pt x="1213" y="1000"/>
                    </a:lnTo>
                    <a:lnTo>
                      <a:pt x="1213" y="1002"/>
                    </a:lnTo>
                    <a:lnTo>
                      <a:pt x="1213" y="1003"/>
                    </a:lnTo>
                    <a:lnTo>
                      <a:pt x="1215" y="1005"/>
                    </a:lnTo>
                    <a:lnTo>
                      <a:pt x="1213" y="1005"/>
                    </a:lnTo>
                    <a:lnTo>
                      <a:pt x="1213" y="1007"/>
                    </a:lnTo>
                    <a:lnTo>
                      <a:pt x="1213" y="1005"/>
                    </a:lnTo>
                    <a:lnTo>
                      <a:pt x="1213" y="1003"/>
                    </a:lnTo>
                    <a:lnTo>
                      <a:pt x="1213" y="1005"/>
                    </a:lnTo>
                    <a:lnTo>
                      <a:pt x="1212" y="1005"/>
                    </a:lnTo>
                    <a:lnTo>
                      <a:pt x="1210" y="1005"/>
                    </a:lnTo>
                    <a:lnTo>
                      <a:pt x="1210" y="1003"/>
                    </a:lnTo>
                    <a:lnTo>
                      <a:pt x="1210" y="1002"/>
                    </a:lnTo>
                    <a:lnTo>
                      <a:pt x="1208" y="1002"/>
                    </a:lnTo>
                    <a:lnTo>
                      <a:pt x="1210" y="1003"/>
                    </a:lnTo>
                    <a:lnTo>
                      <a:pt x="1208" y="1003"/>
                    </a:lnTo>
                    <a:lnTo>
                      <a:pt x="1210" y="1003"/>
                    </a:lnTo>
                    <a:lnTo>
                      <a:pt x="1210" y="1005"/>
                    </a:lnTo>
                    <a:lnTo>
                      <a:pt x="1208" y="1005"/>
                    </a:lnTo>
                    <a:lnTo>
                      <a:pt x="1208" y="1003"/>
                    </a:lnTo>
                    <a:lnTo>
                      <a:pt x="1207" y="1003"/>
                    </a:lnTo>
                    <a:lnTo>
                      <a:pt x="1205" y="1003"/>
                    </a:lnTo>
                    <a:lnTo>
                      <a:pt x="1205" y="1005"/>
                    </a:lnTo>
                    <a:lnTo>
                      <a:pt x="1207" y="1005"/>
                    </a:lnTo>
                    <a:lnTo>
                      <a:pt x="1208" y="1005"/>
                    </a:lnTo>
                    <a:lnTo>
                      <a:pt x="1208" y="1007"/>
                    </a:lnTo>
                    <a:lnTo>
                      <a:pt x="1208" y="1009"/>
                    </a:lnTo>
                    <a:lnTo>
                      <a:pt x="1210" y="1009"/>
                    </a:lnTo>
                    <a:lnTo>
                      <a:pt x="1212" y="1009"/>
                    </a:lnTo>
                    <a:lnTo>
                      <a:pt x="1212" y="1010"/>
                    </a:lnTo>
                    <a:lnTo>
                      <a:pt x="1212" y="1012"/>
                    </a:lnTo>
                    <a:lnTo>
                      <a:pt x="1213" y="1014"/>
                    </a:lnTo>
                    <a:lnTo>
                      <a:pt x="1212" y="1014"/>
                    </a:lnTo>
                    <a:lnTo>
                      <a:pt x="1212" y="1012"/>
                    </a:lnTo>
                    <a:lnTo>
                      <a:pt x="1210" y="1012"/>
                    </a:lnTo>
                    <a:lnTo>
                      <a:pt x="1208" y="1012"/>
                    </a:lnTo>
                    <a:lnTo>
                      <a:pt x="1208" y="1014"/>
                    </a:lnTo>
                    <a:lnTo>
                      <a:pt x="1210" y="1014"/>
                    </a:lnTo>
                    <a:lnTo>
                      <a:pt x="1212" y="1014"/>
                    </a:lnTo>
                    <a:lnTo>
                      <a:pt x="1213" y="1014"/>
                    </a:lnTo>
                    <a:lnTo>
                      <a:pt x="1213" y="1015"/>
                    </a:lnTo>
                    <a:lnTo>
                      <a:pt x="1213" y="1017"/>
                    </a:lnTo>
                    <a:lnTo>
                      <a:pt x="1212" y="1015"/>
                    </a:lnTo>
                    <a:lnTo>
                      <a:pt x="1210" y="1015"/>
                    </a:lnTo>
                    <a:lnTo>
                      <a:pt x="1208" y="1015"/>
                    </a:lnTo>
                    <a:lnTo>
                      <a:pt x="1208" y="1017"/>
                    </a:lnTo>
                    <a:lnTo>
                      <a:pt x="1207" y="1017"/>
                    </a:lnTo>
                    <a:lnTo>
                      <a:pt x="1207" y="1015"/>
                    </a:lnTo>
                    <a:lnTo>
                      <a:pt x="1205" y="1015"/>
                    </a:lnTo>
                    <a:lnTo>
                      <a:pt x="1205" y="1017"/>
                    </a:lnTo>
                    <a:lnTo>
                      <a:pt x="1205" y="1019"/>
                    </a:lnTo>
                    <a:lnTo>
                      <a:pt x="1205" y="1020"/>
                    </a:lnTo>
                    <a:lnTo>
                      <a:pt x="1205" y="1022"/>
                    </a:lnTo>
                    <a:lnTo>
                      <a:pt x="1207" y="1022"/>
                    </a:lnTo>
                    <a:lnTo>
                      <a:pt x="1207" y="1024"/>
                    </a:lnTo>
                    <a:lnTo>
                      <a:pt x="1208" y="1024"/>
                    </a:lnTo>
                    <a:lnTo>
                      <a:pt x="1208" y="1026"/>
                    </a:lnTo>
                    <a:lnTo>
                      <a:pt x="1207" y="1026"/>
                    </a:lnTo>
                    <a:lnTo>
                      <a:pt x="1205" y="1026"/>
                    </a:lnTo>
                    <a:lnTo>
                      <a:pt x="1203" y="1026"/>
                    </a:lnTo>
                    <a:lnTo>
                      <a:pt x="1203" y="1024"/>
                    </a:lnTo>
                    <a:lnTo>
                      <a:pt x="1202" y="1024"/>
                    </a:lnTo>
                    <a:lnTo>
                      <a:pt x="1200" y="1024"/>
                    </a:lnTo>
                    <a:lnTo>
                      <a:pt x="1202" y="1024"/>
                    </a:lnTo>
                    <a:lnTo>
                      <a:pt x="1203" y="1026"/>
                    </a:lnTo>
                    <a:lnTo>
                      <a:pt x="1203" y="1027"/>
                    </a:lnTo>
                    <a:lnTo>
                      <a:pt x="1203" y="1029"/>
                    </a:lnTo>
                    <a:lnTo>
                      <a:pt x="1202" y="1029"/>
                    </a:lnTo>
                    <a:lnTo>
                      <a:pt x="1202" y="1027"/>
                    </a:lnTo>
                    <a:lnTo>
                      <a:pt x="1203" y="1029"/>
                    </a:lnTo>
                    <a:lnTo>
                      <a:pt x="1202" y="1031"/>
                    </a:lnTo>
                    <a:lnTo>
                      <a:pt x="1200" y="1031"/>
                    </a:lnTo>
                    <a:lnTo>
                      <a:pt x="1200" y="1029"/>
                    </a:lnTo>
                    <a:lnTo>
                      <a:pt x="1198" y="1027"/>
                    </a:lnTo>
                    <a:lnTo>
                      <a:pt x="1196" y="1027"/>
                    </a:lnTo>
                    <a:lnTo>
                      <a:pt x="1196" y="1029"/>
                    </a:lnTo>
                    <a:lnTo>
                      <a:pt x="1196" y="1027"/>
                    </a:lnTo>
                    <a:lnTo>
                      <a:pt x="1195" y="1027"/>
                    </a:lnTo>
                    <a:lnTo>
                      <a:pt x="1195" y="1026"/>
                    </a:lnTo>
                    <a:lnTo>
                      <a:pt x="1193" y="1026"/>
                    </a:lnTo>
                    <a:lnTo>
                      <a:pt x="1193" y="1027"/>
                    </a:lnTo>
                    <a:lnTo>
                      <a:pt x="1195" y="1027"/>
                    </a:lnTo>
                    <a:lnTo>
                      <a:pt x="1193" y="1027"/>
                    </a:lnTo>
                    <a:lnTo>
                      <a:pt x="1193" y="1029"/>
                    </a:lnTo>
                    <a:lnTo>
                      <a:pt x="1191" y="1027"/>
                    </a:lnTo>
                    <a:lnTo>
                      <a:pt x="1193" y="1027"/>
                    </a:lnTo>
                    <a:lnTo>
                      <a:pt x="1191" y="1026"/>
                    </a:lnTo>
                    <a:lnTo>
                      <a:pt x="1191" y="1024"/>
                    </a:lnTo>
                    <a:lnTo>
                      <a:pt x="1191" y="1026"/>
                    </a:lnTo>
                    <a:lnTo>
                      <a:pt x="1191" y="1027"/>
                    </a:lnTo>
                    <a:lnTo>
                      <a:pt x="1190" y="1026"/>
                    </a:lnTo>
                    <a:lnTo>
                      <a:pt x="1190" y="1027"/>
                    </a:lnTo>
                    <a:lnTo>
                      <a:pt x="1188" y="1026"/>
                    </a:lnTo>
                    <a:lnTo>
                      <a:pt x="1186" y="1026"/>
                    </a:lnTo>
                    <a:lnTo>
                      <a:pt x="1186" y="1024"/>
                    </a:lnTo>
                    <a:lnTo>
                      <a:pt x="1185" y="1024"/>
                    </a:lnTo>
                    <a:lnTo>
                      <a:pt x="1183" y="1024"/>
                    </a:lnTo>
                    <a:lnTo>
                      <a:pt x="1183" y="1022"/>
                    </a:lnTo>
                    <a:lnTo>
                      <a:pt x="1183" y="1020"/>
                    </a:lnTo>
                    <a:lnTo>
                      <a:pt x="1185" y="1019"/>
                    </a:lnTo>
                    <a:lnTo>
                      <a:pt x="1185" y="1017"/>
                    </a:lnTo>
                    <a:lnTo>
                      <a:pt x="1186" y="1017"/>
                    </a:lnTo>
                    <a:lnTo>
                      <a:pt x="1186" y="1015"/>
                    </a:lnTo>
                    <a:lnTo>
                      <a:pt x="1185" y="1015"/>
                    </a:lnTo>
                    <a:lnTo>
                      <a:pt x="1186" y="1015"/>
                    </a:lnTo>
                    <a:lnTo>
                      <a:pt x="1185" y="1015"/>
                    </a:lnTo>
                    <a:lnTo>
                      <a:pt x="1185" y="1014"/>
                    </a:lnTo>
                    <a:lnTo>
                      <a:pt x="1186" y="1014"/>
                    </a:lnTo>
                    <a:lnTo>
                      <a:pt x="1188" y="1012"/>
                    </a:lnTo>
                    <a:lnTo>
                      <a:pt x="1188" y="1010"/>
                    </a:lnTo>
                    <a:lnTo>
                      <a:pt x="1190" y="1009"/>
                    </a:lnTo>
                    <a:lnTo>
                      <a:pt x="1190" y="1007"/>
                    </a:lnTo>
                    <a:lnTo>
                      <a:pt x="1188" y="1007"/>
                    </a:lnTo>
                    <a:lnTo>
                      <a:pt x="1190" y="1007"/>
                    </a:lnTo>
                    <a:lnTo>
                      <a:pt x="1190" y="1005"/>
                    </a:lnTo>
                    <a:lnTo>
                      <a:pt x="1191" y="1005"/>
                    </a:lnTo>
                    <a:lnTo>
                      <a:pt x="1191" y="1003"/>
                    </a:lnTo>
                    <a:lnTo>
                      <a:pt x="1191" y="1002"/>
                    </a:lnTo>
                    <a:lnTo>
                      <a:pt x="1191" y="1000"/>
                    </a:lnTo>
                    <a:lnTo>
                      <a:pt x="1191" y="998"/>
                    </a:lnTo>
                    <a:lnTo>
                      <a:pt x="1191" y="997"/>
                    </a:lnTo>
                    <a:lnTo>
                      <a:pt x="1191" y="995"/>
                    </a:lnTo>
                    <a:lnTo>
                      <a:pt x="1191" y="993"/>
                    </a:lnTo>
                    <a:lnTo>
                      <a:pt x="1193" y="993"/>
                    </a:lnTo>
                    <a:lnTo>
                      <a:pt x="1191" y="993"/>
                    </a:lnTo>
                    <a:lnTo>
                      <a:pt x="1191" y="992"/>
                    </a:lnTo>
                    <a:lnTo>
                      <a:pt x="1191" y="990"/>
                    </a:lnTo>
                    <a:lnTo>
                      <a:pt x="1190" y="988"/>
                    </a:lnTo>
                    <a:lnTo>
                      <a:pt x="1190" y="986"/>
                    </a:lnTo>
                    <a:lnTo>
                      <a:pt x="1190" y="985"/>
                    </a:lnTo>
                    <a:lnTo>
                      <a:pt x="1190" y="983"/>
                    </a:lnTo>
                    <a:lnTo>
                      <a:pt x="1191" y="983"/>
                    </a:lnTo>
                    <a:lnTo>
                      <a:pt x="1191" y="981"/>
                    </a:lnTo>
                    <a:lnTo>
                      <a:pt x="1191" y="980"/>
                    </a:lnTo>
                    <a:lnTo>
                      <a:pt x="1191" y="978"/>
                    </a:lnTo>
                    <a:lnTo>
                      <a:pt x="1190" y="976"/>
                    </a:lnTo>
                    <a:lnTo>
                      <a:pt x="1191" y="976"/>
                    </a:lnTo>
                    <a:lnTo>
                      <a:pt x="1191" y="975"/>
                    </a:lnTo>
                    <a:lnTo>
                      <a:pt x="1191" y="973"/>
                    </a:lnTo>
                    <a:lnTo>
                      <a:pt x="1193" y="973"/>
                    </a:lnTo>
                    <a:lnTo>
                      <a:pt x="1193" y="971"/>
                    </a:lnTo>
                    <a:lnTo>
                      <a:pt x="1195" y="971"/>
                    </a:lnTo>
                    <a:lnTo>
                      <a:pt x="1195" y="969"/>
                    </a:lnTo>
                    <a:lnTo>
                      <a:pt x="1195" y="968"/>
                    </a:lnTo>
                    <a:lnTo>
                      <a:pt x="1195" y="966"/>
                    </a:lnTo>
                    <a:lnTo>
                      <a:pt x="1195" y="964"/>
                    </a:lnTo>
                    <a:lnTo>
                      <a:pt x="1195" y="963"/>
                    </a:lnTo>
                    <a:lnTo>
                      <a:pt x="1195" y="961"/>
                    </a:lnTo>
                    <a:lnTo>
                      <a:pt x="1196" y="961"/>
                    </a:lnTo>
                    <a:lnTo>
                      <a:pt x="1196" y="959"/>
                    </a:lnTo>
                    <a:lnTo>
                      <a:pt x="1195" y="959"/>
                    </a:lnTo>
                    <a:lnTo>
                      <a:pt x="1195" y="957"/>
                    </a:lnTo>
                    <a:lnTo>
                      <a:pt x="1195" y="956"/>
                    </a:lnTo>
                    <a:lnTo>
                      <a:pt x="1195" y="954"/>
                    </a:lnTo>
                    <a:lnTo>
                      <a:pt x="1196" y="954"/>
                    </a:lnTo>
                    <a:lnTo>
                      <a:pt x="1196" y="956"/>
                    </a:lnTo>
                    <a:lnTo>
                      <a:pt x="1198" y="956"/>
                    </a:lnTo>
                    <a:lnTo>
                      <a:pt x="1200" y="954"/>
                    </a:lnTo>
                    <a:close/>
                    <a:moveTo>
                      <a:pt x="1174" y="1286"/>
                    </a:moveTo>
                    <a:lnTo>
                      <a:pt x="1176" y="1286"/>
                    </a:lnTo>
                    <a:lnTo>
                      <a:pt x="1176" y="1288"/>
                    </a:lnTo>
                    <a:lnTo>
                      <a:pt x="1174" y="1289"/>
                    </a:lnTo>
                    <a:lnTo>
                      <a:pt x="1176" y="1289"/>
                    </a:lnTo>
                    <a:lnTo>
                      <a:pt x="1176" y="1288"/>
                    </a:lnTo>
                    <a:lnTo>
                      <a:pt x="1178" y="1289"/>
                    </a:lnTo>
                    <a:lnTo>
                      <a:pt x="1176" y="1289"/>
                    </a:lnTo>
                    <a:lnTo>
                      <a:pt x="1176" y="1291"/>
                    </a:lnTo>
                    <a:lnTo>
                      <a:pt x="1176" y="1293"/>
                    </a:lnTo>
                    <a:lnTo>
                      <a:pt x="1178" y="1293"/>
                    </a:lnTo>
                    <a:lnTo>
                      <a:pt x="1176" y="1294"/>
                    </a:lnTo>
                    <a:lnTo>
                      <a:pt x="1174" y="1296"/>
                    </a:lnTo>
                    <a:lnTo>
                      <a:pt x="1176" y="1296"/>
                    </a:lnTo>
                    <a:lnTo>
                      <a:pt x="1176" y="1294"/>
                    </a:lnTo>
                    <a:lnTo>
                      <a:pt x="1178" y="1294"/>
                    </a:lnTo>
                    <a:lnTo>
                      <a:pt x="1178" y="1293"/>
                    </a:lnTo>
                    <a:lnTo>
                      <a:pt x="1178" y="1291"/>
                    </a:lnTo>
                    <a:lnTo>
                      <a:pt x="1178" y="1289"/>
                    </a:lnTo>
                    <a:lnTo>
                      <a:pt x="1178" y="1288"/>
                    </a:lnTo>
                    <a:lnTo>
                      <a:pt x="1179" y="1288"/>
                    </a:lnTo>
                    <a:lnTo>
                      <a:pt x="1181" y="1288"/>
                    </a:lnTo>
                    <a:lnTo>
                      <a:pt x="1181" y="1289"/>
                    </a:lnTo>
                    <a:lnTo>
                      <a:pt x="1181" y="1291"/>
                    </a:lnTo>
                    <a:lnTo>
                      <a:pt x="1181" y="1293"/>
                    </a:lnTo>
                    <a:lnTo>
                      <a:pt x="1181" y="1294"/>
                    </a:lnTo>
                    <a:lnTo>
                      <a:pt x="1181" y="1296"/>
                    </a:lnTo>
                    <a:lnTo>
                      <a:pt x="1179" y="1296"/>
                    </a:lnTo>
                    <a:lnTo>
                      <a:pt x="1179" y="1298"/>
                    </a:lnTo>
                    <a:lnTo>
                      <a:pt x="1178" y="1298"/>
                    </a:lnTo>
                    <a:lnTo>
                      <a:pt x="1178" y="1299"/>
                    </a:lnTo>
                    <a:lnTo>
                      <a:pt x="1176" y="1299"/>
                    </a:lnTo>
                    <a:lnTo>
                      <a:pt x="1178" y="1299"/>
                    </a:lnTo>
                    <a:lnTo>
                      <a:pt x="1178" y="1298"/>
                    </a:lnTo>
                    <a:lnTo>
                      <a:pt x="1179" y="1298"/>
                    </a:lnTo>
                    <a:lnTo>
                      <a:pt x="1179" y="1296"/>
                    </a:lnTo>
                    <a:lnTo>
                      <a:pt x="1181" y="1296"/>
                    </a:lnTo>
                    <a:lnTo>
                      <a:pt x="1181" y="1298"/>
                    </a:lnTo>
                    <a:lnTo>
                      <a:pt x="1181" y="1299"/>
                    </a:lnTo>
                    <a:lnTo>
                      <a:pt x="1183" y="1299"/>
                    </a:lnTo>
                    <a:lnTo>
                      <a:pt x="1183" y="1301"/>
                    </a:lnTo>
                    <a:lnTo>
                      <a:pt x="1181" y="1301"/>
                    </a:lnTo>
                    <a:lnTo>
                      <a:pt x="1181" y="1303"/>
                    </a:lnTo>
                    <a:lnTo>
                      <a:pt x="1179" y="1303"/>
                    </a:lnTo>
                    <a:lnTo>
                      <a:pt x="1181" y="1303"/>
                    </a:lnTo>
                    <a:lnTo>
                      <a:pt x="1181" y="1305"/>
                    </a:lnTo>
                    <a:lnTo>
                      <a:pt x="1181" y="1306"/>
                    </a:lnTo>
                    <a:lnTo>
                      <a:pt x="1183" y="1308"/>
                    </a:lnTo>
                    <a:lnTo>
                      <a:pt x="1183" y="1310"/>
                    </a:lnTo>
                    <a:lnTo>
                      <a:pt x="1183" y="1308"/>
                    </a:lnTo>
                    <a:lnTo>
                      <a:pt x="1181" y="1310"/>
                    </a:lnTo>
                    <a:lnTo>
                      <a:pt x="1183" y="1311"/>
                    </a:lnTo>
                    <a:lnTo>
                      <a:pt x="1183" y="1313"/>
                    </a:lnTo>
                    <a:lnTo>
                      <a:pt x="1183" y="1315"/>
                    </a:lnTo>
                    <a:lnTo>
                      <a:pt x="1183" y="1316"/>
                    </a:lnTo>
                    <a:lnTo>
                      <a:pt x="1183" y="1318"/>
                    </a:lnTo>
                    <a:lnTo>
                      <a:pt x="1183" y="1320"/>
                    </a:lnTo>
                    <a:lnTo>
                      <a:pt x="1181" y="1320"/>
                    </a:lnTo>
                    <a:lnTo>
                      <a:pt x="1181" y="1322"/>
                    </a:lnTo>
                    <a:lnTo>
                      <a:pt x="1183" y="1322"/>
                    </a:lnTo>
                    <a:lnTo>
                      <a:pt x="1183" y="1323"/>
                    </a:lnTo>
                    <a:lnTo>
                      <a:pt x="1181" y="1323"/>
                    </a:lnTo>
                    <a:lnTo>
                      <a:pt x="1181" y="1325"/>
                    </a:lnTo>
                    <a:lnTo>
                      <a:pt x="1181" y="1327"/>
                    </a:lnTo>
                    <a:lnTo>
                      <a:pt x="1181" y="1328"/>
                    </a:lnTo>
                    <a:lnTo>
                      <a:pt x="1179" y="1328"/>
                    </a:lnTo>
                    <a:lnTo>
                      <a:pt x="1178" y="1328"/>
                    </a:lnTo>
                    <a:lnTo>
                      <a:pt x="1179" y="1328"/>
                    </a:lnTo>
                    <a:lnTo>
                      <a:pt x="1179" y="1330"/>
                    </a:lnTo>
                    <a:lnTo>
                      <a:pt x="1179" y="1328"/>
                    </a:lnTo>
                    <a:lnTo>
                      <a:pt x="1179" y="1330"/>
                    </a:lnTo>
                    <a:lnTo>
                      <a:pt x="1181" y="1332"/>
                    </a:lnTo>
                    <a:lnTo>
                      <a:pt x="1181" y="1333"/>
                    </a:lnTo>
                    <a:lnTo>
                      <a:pt x="1179" y="1335"/>
                    </a:lnTo>
                    <a:lnTo>
                      <a:pt x="1179" y="1333"/>
                    </a:lnTo>
                    <a:lnTo>
                      <a:pt x="1178" y="1335"/>
                    </a:lnTo>
                    <a:lnTo>
                      <a:pt x="1178" y="1337"/>
                    </a:lnTo>
                    <a:lnTo>
                      <a:pt x="1179" y="1337"/>
                    </a:lnTo>
                    <a:lnTo>
                      <a:pt x="1178" y="1339"/>
                    </a:lnTo>
                    <a:lnTo>
                      <a:pt x="1176" y="1337"/>
                    </a:lnTo>
                    <a:lnTo>
                      <a:pt x="1178" y="1339"/>
                    </a:lnTo>
                    <a:lnTo>
                      <a:pt x="1179" y="1339"/>
                    </a:lnTo>
                    <a:lnTo>
                      <a:pt x="1179" y="1337"/>
                    </a:lnTo>
                    <a:lnTo>
                      <a:pt x="1179" y="1335"/>
                    </a:lnTo>
                    <a:lnTo>
                      <a:pt x="1181" y="1335"/>
                    </a:lnTo>
                    <a:lnTo>
                      <a:pt x="1183" y="1337"/>
                    </a:lnTo>
                    <a:lnTo>
                      <a:pt x="1183" y="1339"/>
                    </a:lnTo>
                    <a:lnTo>
                      <a:pt x="1183" y="1340"/>
                    </a:lnTo>
                    <a:lnTo>
                      <a:pt x="1183" y="1342"/>
                    </a:lnTo>
                    <a:lnTo>
                      <a:pt x="1181" y="1342"/>
                    </a:lnTo>
                    <a:lnTo>
                      <a:pt x="1181" y="1340"/>
                    </a:lnTo>
                    <a:lnTo>
                      <a:pt x="1179" y="1340"/>
                    </a:lnTo>
                    <a:lnTo>
                      <a:pt x="1179" y="1342"/>
                    </a:lnTo>
                    <a:lnTo>
                      <a:pt x="1181" y="1342"/>
                    </a:lnTo>
                    <a:lnTo>
                      <a:pt x="1181" y="1344"/>
                    </a:lnTo>
                    <a:lnTo>
                      <a:pt x="1183" y="1344"/>
                    </a:lnTo>
                    <a:lnTo>
                      <a:pt x="1183" y="1345"/>
                    </a:lnTo>
                    <a:lnTo>
                      <a:pt x="1183" y="1347"/>
                    </a:lnTo>
                    <a:lnTo>
                      <a:pt x="1183" y="1349"/>
                    </a:lnTo>
                    <a:lnTo>
                      <a:pt x="1181" y="1350"/>
                    </a:lnTo>
                    <a:lnTo>
                      <a:pt x="1181" y="1349"/>
                    </a:lnTo>
                    <a:lnTo>
                      <a:pt x="1181" y="1347"/>
                    </a:lnTo>
                    <a:lnTo>
                      <a:pt x="1179" y="1347"/>
                    </a:lnTo>
                    <a:lnTo>
                      <a:pt x="1181" y="1347"/>
                    </a:lnTo>
                    <a:lnTo>
                      <a:pt x="1181" y="1349"/>
                    </a:lnTo>
                    <a:lnTo>
                      <a:pt x="1181" y="1350"/>
                    </a:lnTo>
                    <a:lnTo>
                      <a:pt x="1181" y="1352"/>
                    </a:lnTo>
                    <a:lnTo>
                      <a:pt x="1179" y="1352"/>
                    </a:lnTo>
                    <a:lnTo>
                      <a:pt x="1181" y="1352"/>
                    </a:lnTo>
                    <a:lnTo>
                      <a:pt x="1179" y="1354"/>
                    </a:lnTo>
                    <a:lnTo>
                      <a:pt x="1178" y="1352"/>
                    </a:lnTo>
                    <a:lnTo>
                      <a:pt x="1178" y="1350"/>
                    </a:lnTo>
                    <a:lnTo>
                      <a:pt x="1176" y="1350"/>
                    </a:lnTo>
                    <a:lnTo>
                      <a:pt x="1176" y="1349"/>
                    </a:lnTo>
                    <a:lnTo>
                      <a:pt x="1176" y="1347"/>
                    </a:lnTo>
                    <a:lnTo>
                      <a:pt x="1174" y="1349"/>
                    </a:lnTo>
                    <a:lnTo>
                      <a:pt x="1176" y="1349"/>
                    </a:lnTo>
                    <a:lnTo>
                      <a:pt x="1176" y="1350"/>
                    </a:lnTo>
                    <a:lnTo>
                      <a:pt x="1178" y="1352"/>
                    </a:lnTo>
                    <a:lnTo>
                      <a:pt x="1179" y="1354"/>
                    </a:lnTo>
                    <a:lnTo>
                      <a:pt x="1178" y="1354"/>
                    </a:lnTo>
                    <a:lnTo>
                      <a:pt x="1178" y="1356"/>
                    </a:lnTo>
                    <a:lnTo>
                      <a:pt x="1176" y="1356"/>
                    </a:lnTo>
                    <a:lnTo>
                      <a:pt x="1176" y="1357"/>
                    </a:lnTo>
                    <a:lnTo>
                      <a:pt x="1174" y="1357"/>
                    </a:lnTo>
                    <a:lnTo>
                      <a:pt x="1174" y="1356"/>
                    </a:lnTo>
                    <a:lnTo>
                      <a:pt x="1174" y="1357"/>
                    </a:lnTo>
                    <a:lnTo>
                      <a:pt x="1173" y="1357"/>
                    </a:lnTo>
                    <a:lnTo>
                      <a:pt x="1173" y="1356"/>
                    </a:lnTo>
                    <a:lnTo>
                      <a:pt x="1174" y="1356"/>
                    </a:lnTo>
                    <a:lnTo>
                      <a:pt x="1174" y="1354"/>
                    </a:lnTo>
                    <a:lnTo>
                      <a:pt x="1174" y="1356"/>
                    </a:lnTo>
                    <a:lnTo>
                      <a:pt x="1173" y="1356"/>
                    </a:lnTo>
                    <a:lnTo>
                      <a:pt x="1173" y="1357"/>
                    </a:lnTo>
                    <a:lnTo>
                      <a:pt x="1173" y="1356"/>
                    </a:lnTo>
                    <a:lnTo>
                      <a:pt x="1173" y="1357"/>
                    </a:lnTo>
                    <a:lnTo>
                      <a:pt x="1171" y="1357"/>
                    </a:lnTo>
                    <a:lnTo>
                      <a:pt x="1169" y="1357"/>
                    </a:lnTo>
                    <a:lnTo>
                      <a:pt x="1168" y="1357"/>
                    </a:lnTo>
                    <a:lnTo>
                      <a:pt x="1169" y="1356"/>
                    </a:lnTo>
                    <a:lnTo>
                      <a:pt x="1168" y="1357"/>
                    </a:lnTo>
                    <a:lnTo>
                      <a:pt x="1168" y="1356"/>
                    </a:lnTo>
                    <a:lnTo>
                      <a:pt x="1166" y="1354"/>
                    </a:lnTo>
                    <a:lnTo>
                      <a:pt x="1168" y="1354"/>
                    </a:lnTo>
                    <a:lnTo>
                      <a:pt x="1168" y="1352"/>
                    </a:lnTo>
                    <a:lnTo>
                      <a:pt x="1169" y="1352"/>
                    </a:lnTo>
                    <a:lnTo>
                      <a:pt x="1171" y="1350"/>
                    </a:lnTo>
                    <a:lnTo>
                      <a:pt x="1173" y="1350"/>
                    </a:lnTo>
                    <a:lnTo>
                      <a:pt x="1174" y="1350"/>
                    </a:lnTo>
                    <a:lnTo>
                      <a:pt x="1174" y="1352"/>
                    </a:lnTo>
                    <a:lnTo>
                      <a:pt x="1176" y="1352"/>
                    </a:lnTo>
                    <a:lnTo>
                      <a:pt x="1174" y="1350"/>
                    </a:lnTo>
                    <a:lnTo>
                      <a:pt x="1173" y="1350"/>
                    </a:lnTo>
                    <a:lnTo>
                      <a:pt x="1173" y="1349"/>
                    </a:lnTo>
                    <a:lnTo>
                      <a:pt x="1171" y="1350"/>
                    </a:lnTo>
                    <a:lnTo>
                      <a:pt x="1169" y="1350"/>
                    </a:lnTo>
                    <a:lnTo>
                      <a:pt x="1168" y="1352"/>
                    </a:lnTo>
                    <a:lnTo>
                      <a:pt x="1166" y="1354"/>
                    </a:lnTo>
                    <a:lnTo>
                      <a:pt x="1168" y="1352"/>
                    </a:lnTo>
                    <a:lnTo>
                      <a:pt x="1166" y="1352"/>
                    </a:lnTo>
                    <a:lnTo>
                      <a:pt x="1166" y="1350"/>
                    </a:lnTo>
                    <a:lnTo>
                      <a:pt x="1166" y="1349"/>
                    </a:lnTo>
                    <a:lnTo>
                      <a:pt x="1168" y="1349"/>
                    </a:lnTo>
                    <a:lnTo>
                      <a:pt x="1166" y="1347"/>
                    </a:lnTo>
                    <a:lnTo>
                      <a:pt x="1168" y="1347"/>
                    </a:lnTo>
                    <a:lnTo>
                      <a:pt x="1166" y="1345"/>
                    </a:lnTo>
                    <a:lnTo>
                      <a:pt x="1168" y="1345"/>
                    </a:lnTo>
                    <a:lnTo>
                      <a:pt x="1168" y="1347"/>
                    </a:lnTo>
                    <a:lnTo>
                      <a:pt x="1169" y="1347"/>
                    </a:lnTo>
                    <a:lnTo>
                      <a:pt x="1169" y="1349"/>
                    </a:lnTo>
                    <a:lnTo>
                      <a:pt x="1171" y="1347"/>
                    </a:lnTo>
                    <a:lnTo>
                      <a:pt x="1173" y="1347"/>
                    </a:lnTo>
                    <a:lnTo>
                      <a:pt x="1173" y="1345"/>
                    </a:lnTo>
                    <a:lnTo>
                      <a:pt x="1174" y="1345"/>
                    </a:lnTo>
                    <a:lnTo>
                      <a:pt x="1176" y="1344"/>
                    </a:lnTo>
                    <a:lnTo>
                      <a:pt x="1174" y="1345"/>
                    </a:lnTo>
                    <a:lnTo>
                      <a:pt x="1173" y="1345"/>
                    </a:lnTo>
                    <a:lnTo>
                      <a:pt x="1171" y="1347"/>
                    </a:lnTo>
                    <a:lnTo>
                      <a:pt x="1169" y="1347"/>
                    </a:lnTo>
                    <a:lnTo>
                      <a:pt x="1168" y="1345"/>
                    </a:lnTo>
                    <a:lnTo>
                      <a:pt x="1169" y="1345"/>
                    </a:lnTo>
                    <a:lnTo>
                      <a:pt x="1169" y="1344"/>
                    </a:lnTo>
                    <a:lnTo>
                      <a:pt x="1169" y="1342"/>
                    </a:lnTo>
                    <a:lnTo>
                      <a:pt x="1171" y="1342"/>
                    </a:lnTo>
                    <a:lnTo>
                      <a:pt x="1173" y="1342"/>
                    </a:lnTo>
                    <a:lnTo>
                      <a:pt x="1171" y="1342"/>
                    </a:lnTo>
                    <a:lnTo>
                      <a:pt x="1171" y="1340"/>
                    </a:lnTo>
                    <a:lnTo>
                      <a:pt x="1173" y="1340"/>
                    </a:lnTo>
                    <a:lnTo>
                      <a:pt x="1171" y="1340"/>
                    </a:lnTo>
                    <a:lnTo>
                      <a:pt x="1171" y="1342"/>
                    </a:lnTo>
                    <a:lnTo>
                      <a:pt x="1169" y="1342"/>
                    </a:lnTo>
                    <a:lnTo>
                      <a:pt x="1169" y="1344"/>
                    </a:lnTo>
                    <a:lnTo>
                      <a:pt x="1168" y="1345"/>
                    </a:lnTo>
                    <a:lnTo>
                      <a:pt x="1168" y="1344"/>
                    </a:lnTo>
                    <a:lnTo>
                      <a:pt x="1166" y="1344"/>
                    </a:lnTo>
                    <a:lnTo>
                      <a:pt x="1166" y="1342"/>
                    </a:lnTo>
                    <a:lnTo>
                      <a:pt x="1166" y="1340"/>
                    </a:lnTo>
                    <a:lnTo>
                      <a:pt x="1168" y="1340"/>
                    </a:lnTo>
                    <a:lnTo>
                      <a:pt x="1166" y="1339"/>
                    </a:lnTo>
                    <a:lnTo>
                      <a:pt x="1166" y="1337"/>
                    </a:lnTo>
                    <a:lnTo>
                      <a:pt x="1168" y="1337"/>
                    </a:lnTo>
                    <a:lnTo>
                      <a:pt x="1166" y="1335"/>
                    </a:lnTo>
                    <a:lnTo>
                      <a:pt x="1166" y="1333"/>
                    </a:lnTo>
                    <a:lnTo>
                      <a:pt x="1168" y="1333"/>
                    </a:lnTo>
                    <a:lnTo>
                      <a:pt x="1169" y="1333"/>
                    </a:lnTo>
                    <a:lnTo>
                      <a:pt x="1169" y="1335"/>
                    </a:lnTo>
                    <a:lnTo>
                      <a:pt x="1171" y="1335"/>
                    </a:lnTo>
                    <a:lnTo>
                      <a:pt x="1173" y="1335"/>
                    </a:lnTo>
                    <a:lnTo>
                      <a:pt x="1171" y="1335"/>
                    </a:lnTo>
                    <a:lnTo>
                      <a:pt x="1171" y="1333"/>
                    </a:lnTo>
                    <a:lnTo>
                      <a:pt x="1171" y="1332"/>
                    </a:lnTo>
                    <a:lnTo>
                      <a:pt x="1173" y="1332"/>
                    </a:lnTo>
                    <a:lnTo>
                      <a:pt x="1171" y="1330"/>
                    </a:lnTo>
                    <a:lnTo>
                      <a:pt x="1171" y="1332"/>
                    </a:lnTo>
                    <a:lnTo>
                      <a:pt x="1171" y="1333"/>
                    </a:lnTo>
                    <a:lnTo>
                      <a:pt x="1169" y="1333"/>
                    </a:lnTo>
                    <a:lnTo>
                      <a:pt x="1168" y="1333"/>
                    </a:lnTo>
                    <a:lnTo>
                      <a:pt x="1168" y="1332"/>
                    </a:lnTo>
                    <a:lnTo>
                      <a:pt x="1166" y="1332"/>
                    </a:lnTo>
                    <a:lnTo>
                      <a:pt x="1168" y="1332"/>
                    </a:lnTo>
                    <a:lnTo>
                      <a:pt x="1168" y="1330"/>
                    </a:lnTo>
                    <a:lnTo>
                      <a:pt x="1168" y="1328"/>
                    </a:lnTo>
                    <a:lnTo>
                      <a:pt x="1169" y="1328"/>
                    </a:lnTo>
                    <a:lnTo>
                      <a:pt x="1171" y="1327"/>
                    </a:lnTo>
                    <a:lnTo>
                      <a:pt x="1173" y="1325"/>
                    </a:lnTo>
                    <a:lnTo>
                      <a:pt x="1174" y="1325"/>
                    </a:lnTo>
                    <a:lnTo>
                      <a:pt x="1176" y="1325"/>
                    </a:lnTo>
                    <a:lnTo>
                      <a:pt x="1174" y="1323"/>
                    </a:lnTo>
                    <a:lnTo>
                      <a:pt x="1173" y="1325"/>
                    </a:lnTo>
                    <a:lnTo>
                      <a:pt x="1173" y="1323"/>
                    </a:lnTo>
                    <a:lnTo>
                      <a:pt x="1173" y="1322"/>
                    </a:lnTo>
                    <a:lnTo>
                      <a:pt x="1174" y="1322"/>
                    </a:lnTo>
                    <a:lnTo>
                      <a:pt x="1176" y="1320"/>
                    </a:lnTo>
                    <a:lnTo>
                      <a:pt x="1176" y="1318"/>
                    </a:lnTo>
                    <a:lnTo>
                      <a:pt x="1176" y="1320"/>
                    </a:lnTo>
                    <a:lnTo>
                      <a:pt x="1174" y="1320"/>
                    </a:lnTo>
                    <a:lnTo>
                      <a:pt x="1174" y="1322"/>
                    </a:lnTo>
                    <a:lnTo>
                      <a:pt x="1173" y="1322"/>
                    </a:lnTo>
                    <a:lnTo>
                      <a:pt x="1173" y="1323"/>
                    </a:lnTo>
                    <a:lnTo>
                      <a:pt x="1173" y="1322"/>
                    </a:lnTo>
                    <a:lnTo>
                      <a:pt x="1171" y="1322"/>
                    </a:lnTo>
                    <a:lnTo>
                      <a:pt x="1169" y="1320"/>
                    </a:lnTo>
                    <a:lnTo>
                      <a:pt x="1171" y="1322"/>
                    </a:lnTo>
                    <a:lnTo>
                      <a:pt x="1171" y="1323"/>
                    </a:lnTo>
                    <a:lnTo>
                      <a:pt x="1173" y="1323"/>
                    </a:lnTo>
                    <a:lnTo>
                      <a:pt x="1171" y="1325"/>
                    </a:lnTo>
                    <a:lnTo>
                      <a:pt x="1169" y="1327"/>
                    </a:lnTo>
                    <a:lnTo>
                      <a:pt x="1168" y="1327"/>
                    </a:lnTo>
                    <a:lnTo>
                      <a:pt x="1168" y="1328"/>
                    </a:lnTo>
                    <a:lnTo>
                      <a:pt x="1168" y="1327"/>
                    </a:lnTo>
                    <a:lnTo>
                      <a:pt x="1168" y="1325"/>
                    </a:lnTo>
                    <a:lnTo>
                      <a:pt x="1168" y="1323"/>
                    </a:lnTo>
                    <a:lnTo>
                      <a:pt x="1168" y="1325"/>
                    </a:lnTo>
                    <a:lnTo>
                      <a:pt x="1168" y="1327"/>
                    </a:lnTo>
                    <a:lnTo>
                      <a:pt x="1168" y="1328"/>
                    </a:lnTo>
                    <a:lnTo>
                      <a:pt x="1166" y="1330"/>
                    </a:lnTo>
                    <a:lnTo>
                      <a:pt x="1164" y="1330"/>
                    </a:lnTo>
                    <a:lnTo>
                      <a:pt x="1164" y="1328"/>
                    </a:lnTo>
                    <a:lnTo>
                      <a:pt x="1166" y="1327"/>
                    </a:lnTo>
                    <a:lnTo>
                      <a:pt x="1164" y="1327"/>
                    </a:lnTo>
                    <a:lnTo>
                      <a:pt x="1164" y="1325"/>
                    </a:lnTo>
                    <a:lnTo>
                      <a:pt x="1164" y="1327"/>
                    </a:lnTo>
                    <a:lnTo>
                      <a:pt x="1164" y="1328"/>
                    </a:lnTo>
                    <a:lnTo>
                      <a:pt x="1162" y="1327"/>
                    </a:lnTo>
                    <a:lnTo>
                      <a:pt x="1162" y="1328"/>
                    </a:lnTo>
                    <a:lnTo>
                      <a:pt x="1164" y="1328"/>
                    </a:lnTo>
                    <a:lnTo>
                      <a:pt x="1164" y="1330"/>
                    </a:lnTo>
                    <a:lnTo>
                      <a:pt x="1162" y="1330"/>
                    </a:lnTo>
                    <a:lnTo>
                      <a:pt x="1162" y="1328"/>
                    </a:lnTo>
                    <a:lnTo>
                      <a:pt x="1162" y="1330"/>
                    </a:lnTo>
                    <a:lnTo>
                      <a:pt x="1164" y="1332"/>
                    </a:lnTo>
                    <a:lnTo>
                      <a:pt x="1162" y="1332"/>
                    </a:lnTo>
                    <a:lnTo>
                      <a:pt x="1164" y="1332"/>
                    </a:lnTo>
                    <a:lnTo>
                      <a:pt x="1164" y="1333"/>
                    </a:lnTo>
                    <a:lnTo>
                      <a:pt x="1162" y="1333"/>
                    </a:lnTo>
                    <a:lnTo>
                      <a:pt x="1162" y="1332"/>
                    </a:lnTo>
                    <a:lnTo>
                      <a:pt x="1161" y="1332"/>
                    </a:lnTo>
                    <a:lnTo>
                      <a:pt x="1161" y="1330"/>
                    </a:lnTo>
                    <a:lnTo>
                      <a:pt x="1159" y="1330"/>
                    </a:lnTo>
                    <a:lnTo>
                      <a:pt x="1161" y="1332"/>
                    </a:lnTo>
                    <a:lnTo>
                      <a:pt x="1162" y="1333"/>
                    </a:lnTo>
                    <a:lnTo>
                      <a:pt x="1164" y="1333"/>
                    </a:lnTo>
                    <a:lnTo>
                      <a:pt x="1162" y="1335"/>
                    </a:lnTo>
                    <a:lnTo>
                      <a:pt x="1162" y="1337"/>
                    </a:lnTo>
                    <a:lnTo>
                      <a:pt x="1162" y="1339"/>
                    </a:lnTo>
                    <a:lnTo>
                      <a:pt x="1162" y="1337"/>
                    </a:lnTo>
                    <a:lnTo>
                      <a:pt x="1164" y="1337"/>
                    </a:lnTo>
                    <a:lnTo>
                      <a:pt x="1164" y="1335"/>
                    </a:lnTo>
                    <a:lnTo>
                      <a:pt x="1164" y="1333"/>
                    </a:lnTo>
                    <a:lnTo>
                      <a:pt x="1164" y="1335"/>
                    </a:lnTo>
                    <a:lnTo>
                      <a:pt x="1166" y="1335"/>
                    </a:lnTo>
                    <a:lnTo>
                      <a:pt x="1164" y="1335"/>
                    </a:lnTo>
                    <a:lnTo>
                      <a:pt x="1164" y="1337"/>
                    </a:lnTo>
                    <a:lnTo>
                      <a:pt x="1164" y="1339"/>
                    </a:lnTo>
                    <a:lnTo>
                      <a:pt x="1162" y="1340"/>
                    </a:lnTo>
                    <a:lnTo>
                      <a:pt x="1162" y="1339"/>
                    </a:lnTo>
                    <a:lnTo>
                      <a:pt x="1162" y="1340"/>
                    </a:lnTo>
                    <a:lnTo>
                      <a:pt x="1162" y="1342"/>
                    </a:lnTo>
                    <a:lnTo>
                      <a:pt x="1162" y="1344"/>
                    </a:lnTo>
                    <a:lnTo>
                      <a:pt x="1162" y="1342"/>
                    </a:lnTo>
                    <a:lnTo>
                      <a:pt x="1162" y="1340"/>
                    </a:lnTo>
                    <a:lnTo>
                      <a:pt x="1164" y="1340"/>
                    </a:lnTo>
                    <a:lnTo>
                      <a:pt x="1164" y="1339"/>
                    </a:lnTo>
                    <a:lnTo>
                      <a:pt x="1164" y="1340"/>
                    </a:lnTo>
                    <a:lnTo>
                      <a:pt x="1164" y="1342"/>
                    </a:lnTo>
                    <a:lnTo>
                      <a:pt x="1164" y="1340"/>
                    </a:lnTo>
                    <a:lnTo>
                      <a:pt x="1166" y="1342"/>
                    </a:lnTo>
                    <a:lnTo>
                      <a:pt x="1166" y="1344"/>
                    </a:lnTo>
                    <a:lnTo>
                      <a:pt x="1164" y="1344"/>
                    </a:lnTo>
                    <a:lnTo>
                      <a:pt x="1166" y="1344"/>
                    </a:lnTo>
                    <a:lnTo>
                      <a:pt x="1164" y="1344"/>
                    </a:lnTo>
                    <a:lnTo>
                      <a:pt x="1164" y="1345"/>
                    </a:lnTo>
                    <a:lnTo>
                      <a:pt x="1164" y="1344"/>
                    </a:lnTo>
                    <a:lnTo>
                      <a:pt x="1164" y="1345"/>
                    </a:lnTo>
                    <a:lnTo>
                      <a:pt x="1164" y="1347"/>
                    </a:lnTo>
                    <a:lnTo>
                      <a:pt x="1162" y="1347"/>
                    </a:lnTo>
                    <a:lnTo>
                      <a:pt x="1164" y="1347"/>
                    </a:lnTo>
                    <a:lnTo>
                      <a:pt x="1162" y="1349"/>
                    </a:lnTo>
                    <a:lnTo>
                      <a:pt x="1161" y="1349"/>
                    </a:lnTo>
                    <a:lnTo>
                      <a:pt x="1161" y="1347"/>
                    </a:lnTo>
                    <a:lnTo>
                      <a:pt x="1161" y="1345"/>
                    </a:lnTo>
                    <a:lnTo>
                      <a:pt x="1161" y="1347"/>
                    </a:lnTo>
                    <a:lnTo>
                      <a:pt x="1159" y="1347"/>
                    </a:lnTo>
                    <a:lnTo>
                      <a:pt x="1157" y="1345"/>
                    </a:lnTo>
                    <a:lnTo>
                      <a:pt x="1157" y="1344"/>
                    </a:lnTo>
                    <a:lnTo>
                      <a:pt x="1157" y="1342"/>
                    </a:lnTo>
                    <a:lnTo>
                      <a:pt x="1159" y="1342"/>
                    </a:lnTo>
                    <a:lnTo>
                      <a:pt x="1157" y="1342"/>
                    </a:lnTo>
                    <a:lnTo>
                      <a:pt x="1156" y="1342"/>
                    </a:lnTo>
                    <a:lnTo>
                      <a:pt x="1156" y="1340"/>
                    </a:lnTo>
                    <a:lnTo>
                      <a:pt x="1156" y="1339"/>
                    </a:lnTo>
                    <a:lnTo>
                      <a:pt x="1154" y="1339"/>
                    </a:lnTo>
                    <a:lnTo>
                      <a:pt x="1156" y="1339"/>
                    </a:lnTo>
                    <a:lnTo>
                      <a:pt x="1157" y="1337"/>
                    </a:lnTo>
                    <a:lnTo>
                      <a:pt x="1156" y="1337"/>
                    </a:lnTo>
                    <a:lnTo>
                      <a:pt x="1154" y="1337"/>
                    </a:lnTo>
                    <a:lnTo>
                      <a:pt x="1156" y="1337"/>
                    </a:lnTo>
                    <a:lnTo>
                      <a:pt x="1154" y="1337"/>
                    </a:lnTo>
                    <a:lnTo>
                      <a:pt x="1154" y="1335"/>
                    </a:lnTo>
                    <a:lnTo>
                      <a:pt x="1156" y="1337"/>
                    </a:lnTo>
                    <a:lnTo>
                      <a:pt x="1157" y="1337"/>
                    </a:lnTo>
                    <a:lnTo>
                      <a:pt x="1157" y="1335"/>
                    </a:lnTo>
                    <a:lnTo>
                      <a:pt x="1157" y="1337"/>
                    </a:lnTo>
                    <a:lnTo>
                      <a:pt x="1156" y="1337"/>
                    </a:lnTo>
                    <a:lnTo>
                      <a:pt x="1156" y="1335"/>
                    </a:lnTo>
                    <a:lnTo>
                      <a:pt x="1154" y="1335"/>
                    </a:lnTo>
                    <a:lnTo>
                      <a:pt x="1156" y="1335"/>
                    </a:lnTo>
                    <a:lnTo>
                      <a:pt x="1156" y="1333"/>
                    </a:lnTo>
                    <a:lnTo>
                      <a:pt x="1157" y="1333"/>
                    </a:lnTo>
                    <a:lnTo>
                      <a:pt x="1157" y="1332"/>
                    </a:lnTo>
                    <a:lnTo>
                      <a:pt x="1157" y="1333"/>
                    </a:lnTo>
                    <a:lnTo>
                      <a:pt x="1156" y="1333"/>
                    </a:lnTo>
                    <a:lnTo>
                      <a:pt x="1156" y="1335"/>
                    </a:lnTo>
                    <a:lnTo>
                      <a:pt x="1154" y="1335"/>
                    </a:lnTo>
                    <a:lnTo>
                      <a:pt x="1152" y="1335"/>
                    </a:lnTo>
                    <a:lnTo>
                      <a:pt x="1152" y="1333"/>
                    </a:lnTo>
                    <a:lnTo>
                      <a:pt x="1154" y="1333"/>
                    </a:lnTo>
                    <a:lnTo>
                      <a:pt x="1154" y="1332"/>
                    </a:lnTo>
                    <a:lnTo>
                      <a:pt x="1156" y="1332"/>
                    </a:lnTo>
                    <a:lnTo>
                      <a:pt x="1157" y="1332"/>
                    </a:lnTo>
                    <a:lnTo>
                      <a:pt x="1156" y="1332"/>
                    </a:lnTo>
                    <a:lnTo>
                      <a:pt x="1156" y="1330"/>
                    </a:lnTo>
                    <a:lnTo>
                      <a:pt x="1157" y="1330"/>
                    </a:lnTo>
                    <a:lnTo>
                      <a:pt x="1157" y="1328"/>
                    </a:lnTo>
                    <a:lnTo>
                      <a:pt x="1157" y="1330"/>
                    </a:lnTo>
                    <a:lnTo>
                      <a:pt x="1157" y="1328"/>
                    </a:lnTo>
                    <a:lnTo>
                      <a:pt x="1156" y="1330"/>
                    </a:lnTo>
                    <a:lnTo>
                      <a:pt x="1154" y="1330"/>
                    </a:lnTo>
                    <a:lnTo>
                      <a:pt x="1154" y="1332"/>
                    </a:lnTo>
                    <a:lnTo>
                      <a:pt x="1154" y="1330"/>
                    </a:lnTo>
                    <a:lnTo>
                      <a:pt x="1152" y="1330"/>
                    </a:lnTo>
                    <a:lnTo>
                      <a:pt x="1152" y="1328"/>
                    </a:lnTo>
                    <a:lnTo>
                      <a:pt x="1154" y="1328"/>
                    </a:lnTo>
                    <a:lnTo>
                      <a:pt x="1156" y="1327"/>
                    </a:lnTo>
                    <a:lnTo>
                      <a:pt x="1154" y="1327"/>
                    </a:lnTo>
                    <a:lnTo>
                      <a:pt x="1156" y="1327"/>
                    </a:lnTo>
                    <a:lnTo>
                      <a:pt x="1156" y="1325"/>
                    </a:lnTo>
                    <a:lnTo>
                      <a:pt x="1156" y="1327"/>
                    </a:lnTo>
                    <a:lnTo>
                      <a:pt x="1154" y="1327"/>
                    </a:lnTo>
                    <a:lnTo>
                      <a:pt x="1154" y="1328"/>
                    </a:lnTo>
                    <a:lnTo>
                      <a:pt x="1152" y="1328"/>
                    </a:lnTo>
                    <a:lnTo>
                      <a:pt x="1152" y="1330"/>
                    </a:lnTo>
                    <a:lnTo>
                      <a:pt x="1152" y="1328"/>
                    </a:lnTo>
                    <a:lnTo>
                      <a:pt x="1151" y="1327"/>
                    </a:lnTo>
                    <a:lnTo>
                      <a:pt x="1152" y="1325"/>
                    </a:lnTo>
                    <a:lnTo>
                      <a:pt x="1151" y="1325"/>
                    </a:lnTo>
                    <a:lnTo>
                      <a:pt x="1151" y="1327"/>
                    </a:lnTo>
                    <a:lnTo>
                      <a:pt x="1152" y="1325"/>
                    </a:lnTo>
                    <a:lnTo>
                      <a:pt x="1151" y="1327"/>
                    </a:lnTo>
                    <a:lnTo>
                      <a:pt x="1149" y="1328"/>
                    </a:lnTo>
                    <a:lnTo>
                      <a:pt x="1149" y="1327"/>
                    </a:lnTo>
                    <a:lnTo>
                      <a:pt x="1151" y="1325"/>
                    </a:lnTo>
                    <a:lnTo>
                      <a:pt x="1152" y="1323"/>
                    </a:lnTo>
                    <a:lnTo>
                      <a:pt x="1151" y="1323"/>
                    </a:lnTo>
                    <a:lnTo>
                      <a:pt x="1151" y="1325"/>
                    </a:lnTo>
                    <a:lnTo>
                      <a:pt x="1149" y="1325"/>
                    </a:lnTo>
                    <a:lnTo>
                      <a:pt x="1149" y="1323"/>
                    </a:lnTo>
                    <a:lnTo>
                      <a:pt x="1147" y="1323"/>
                    </a:lnTo>
                    <a:lnTo>
                      <a:pt x="1147" y="1322"/>
                    </a:lnTo>
                    <a:lnTo>
                      <a:pt x="1149" y="1320"/>
                    </a:lnTo>
                    <a:lnTo>
                      <a:pt x="1147" y="1320"/>
                    </a:lnTo>
                    <a:lnTo>
                      <a:pt x="1147" y="1318"/>
                    </a:lnTo>
                    <a:lnTo>
                      <a:pt x="1147" y="1316"/>
                    </a:lnTo>
                    <a:lnTo>
                      <a:pt x="1149" y="1316"/>
                    </a:lnTo>
                    <a:lnTo>
                      <a:pt x="1151" y="1315"/>
                    </a:lnTo>
                    <a:lnTo>
                      <a:pt x="1151" y="1316"/>
                    </a:lnTo>
                    <a:lnTo>
                      <a:pt x="1152" y="1315"/>
                    </a:lnTo>
                    <a:lnTo>
                      <a:pt x="1152" y="1316"/>
                    </a:lnTo>
                    <a:lnTo>
                      <a:pt x="1151" y="1316"/>
                    </a:lnTo>
                    <a:lnTo>
                      <a:pt x="1151" y="1318"/>
                    </a:lnTo>
                    <a:lnTo>
                      <a:pt x="1149" y="1318"/>
                    </a:lnTo>
                    <a:lnTo>
                      <a:pt x="1149" y="1320"/>
                    </a:lnTo>
                    <a:lnTo>
                      <a:pt x="1149" y="1318"/>
                    </a:lnTo>
                    <a:lnTo>
                      <a:pt x="1151" y="1318"/>
                    </a:lnTo>
                    <a:lnTo>
                      <a:pt x="1152" y="1316"/>
                    </a:lnTo>
                    <a:lnTo>
                      <a:pt x="1152" y="1318"/>
                    </a:lnTo>
                    <a:lnTo>
                      <a:pt x="1151" y="1318"/>
                    </a:lnTo>
                    <a:lnTo>
                      <a:pt x="1152" y="1318"/>
                    </a:lnTo>
                    <a:lnTo>
                      <a:pt x="1152" y="1320"/>
                    </a:lnTo>
                    <a:lnTo>
                      <a:pt x="1152" y="1322"/>
                    </a:lnTo>
                    <a:lnTo>
                      <a:pt x="1154" y="1322"/>
                    </a:lnTo>
                    <a:lnTo>
                      <a:pt x="1154" y="1323"/>
                    </a:lnTo>
                    <a:lnTo>
                      <a:pt x="1156" y="1325"/>
                    </a:lnTo>
                    <a:lnTo>
                      <a:pt x="1157" y="1325"/>
                    </a:lnTo>
                    <a:lnTo>
                      <a:pt x="1157" y="1327"/>
                    </a:lnTo>
                    <a:lnTo>
                      <a:pt x="1159" y="1327"/>
                    </a:lnTo>
                    <a:lnTo>
                      <a:pt x="1157" y="1327"/>
                    </a:lnTo>
                    <a:lnTo>
                      <a:pt x="1157" y="1325"/>
                    </a:lnTo>
                    <a:lnTo>
                      <a:pt x="1156" y="1325"/>
                    </a:lnTo>
                    <a:lnTo>
                      <a:pt x="1156" y="1323"/>
                    </a:lnTo>
                    <a:lnTo>
                      <a:pt x="1156" y="1325"/>
                    </a:lnTo>
                    <a:lnTo>
                      <a:pt x="1157" y="1323"/>
                    </a:lnTo>
                    <a:lnTo>
                      <a:pt x="1159" y="1323"/>
                    </a:lnTo>
                    <a:lnTo>
                      <a:pt x="1159" y="1325"/>
                    </a:lnTo>
                    <a:lnTo>
                      <a:pt x="1161" y="1323"/>
                    </a:lnTo>
                    <a:lnTo>
                      <a:pt x="1162" y="1323"/>
                    </a:lnTo>
                    <a:lnTo>
                      <a:pt x="1164" y="1323"/>
                    </a:lnTo>
                    <a:lnTo>
                      <a:pt x="1162" y="1323"/>
                    </a:lnTo>
                    <a:lnTo>
                      <a:pt x="1161" y="1323"/>
                    </a:lnTo>
                    <a:lnTo>
                      <a:pt x="1159" y="1323"/>
                    </a:lnTo>
                    <a:lnTo>
                      <a:pt x="1157" y="1323"/>
                    </a:lnTo>
                    <a:lnTo>
                      <a:pt x="1156" y="1323"/>
                    </a:lnTo>
                    <a:lnTo>
                      <a:pt x="1157" y="1323"/>
                    </a:lnTo>
                    <a:lnTo>
                      <a:pt x="1156" y="1323"/>
                    </a:lnTo>
                    <a:lnTo>
                      <a:pt x="1156" y="1322"/>
                    </a:lnTo>
                    <a:lnTo>
                      <a:pt x="1154" y="1322"/>
                    </a:lnTo>
                    <a:lnTo>
                      <a:pt x="1156" y="1322"/>
                    </a:lnTo>
                    <a:lnTo>
                      <a:pt x="1154" y="1322"/>
                    </a:lnTo>
                    <a:lnTo>
                      <a:pt x="1154" y="1320"/>
                    </a:lnTo>
                    <a:lnTo>
                      <a:pt x="1154" y="1318"/>
                    </a:lnTo>
                    <a:lnTo>
                      <a:pt x="1156" y="1320"/>
                    </a:lnTo>
                    <a:lnTo>
                      <a:pt x="1154" y="1318"/>
                    </a:lnTo>
                    <a:lnTo>
                      <a:pt x="1152" y="1318"/>
                    </a:lnTo>
                    <a:lnTo>
                      <a:pt x="1152" y="1316"/>
                    </a:lnTo>
                    <a:lnTo>
                      <a:pt x="1154" y="1316"/>
                    </a:lnTo>
                    <a:lnTo>
                      <a:pt x="1154" y="1315"/>
                    </a:lnTo>
                    <a:lnTo>
                      <a:pt x="1152" y="1315"/>
                    </a:lnTo>
                    <a:lnTo>
                      <a:pt x="1154" y="1315"/>
                    </a:lnTo>
                    <a:lnTo>
                      <a:pt x="1156" y="1315"/>
                    </a:lnTo>
                    <a:lnTo>
                      <a:pt x="1156" y="1316"/>
                    </a:lnTo>
                    <a:lnTo>
                      <a:pt x="1156" y="1315"/>
                    </a:lnTo>
                    <a:lnTo>
                      <a:pt x="1156" y="1316"/>
                    </a:lnTo>
                    <a:lnTo>
                      <a:pt x="1157" y="1316"/>
                    </a:lnTo>
                    <a:lnTo>
                      <a:pt x="1156" y="1316"/>
                    </a:lnTo>
                    <a:lnTo>
                      <a:pt x="1157" y="1316"/>
                    </a:lnTo>
                    <a:lnTo>
                      <a:pt x="1157" y="1318"/>
                    </a:lnTo>
                    <a:lnTo>
                      <a:pt x="1157" y="1320"/>
                    </a:lnTo>
                    <a:lnTo>
                      <a:pt x="1159" y="1320"/>
                    </a:lnTo>
                    <a:lnTo>
                      <a:pt x="1157" y="1320"/>
                    </a:lnTo>
                    <a:lnTo>
                      <a:pt x="1159" y="1320"/>
                    </a:lnTo>
                    <a:lnTo>
                      <a:pt x="1159" y="1322"/>
                    </a:lnTo>
                    <a:lnTo>
                      <a:pt x="1159" y="1320"/>
                    </a:lnTo>
                    <a:lnTo>
                      <a:pt x="1161" y="1320"/>
                    </a:lnTo>
                    <a:lnTo>
                      <a:pt x="1162" y="1320"/>
                    </a:lnTo>
                    <a:lnTo>
                      <a:pt x="1161" y="1320"/>
                    </a:lnTo>
                    <a:lnTo>
                      <a:pt x="1159" y="1320"/>
                    </a:lnTo>
                    <a:lnTo>
                      <a:pt x="1157" y="1318"/>
                    </a:lnTo>
                    <a:lnTo>
                      <a:pt x="1159" y="1318"/>
                    </a:lnTo>
                    <a:lnTo>
                      <a:pt x="1159" y="1316"/>
                    </a:lnTo>
                    <a:lnTo>
                      <a:pt x="1157" y="1318"/>
                    </a:lnTo>
                    <a:lnTo>
                      <a:pt x="1157" y="1316"/>
                    </a:lnTo>
                    <a:lnTo>
                      <a:pt x="1157" y="1315"/>
                    </a:lnTo>
                    <a:lnTo>
                      <a:pt x="1157" y="1316"/>
                    </a:lnTo>
                    <a:lnTo>
                      <a:pt x="1159" y="1316"/>
                    </a:lnTo>
                    <a:lnTo>
                      <a:pt x="1161" y="1318"/>
                    </a:lnTo>
                    <a:lnTo>
                      <a:pt x="1161" y="1320"/>
                    </a:lnTo>
                    <a:lnTo>
                      <a:pt x="1162" y="1320"/>
                    </a:lnTo>
                    <a:lnTo>
                      <a:pt x="1161" y="1318"/>
                    </a:lnTo>
                    <a:lnTo>
                      <a:pt x="1159" y="1316"/>
                    </a:lnTo>
                    <a:lnTo>
                      <a:pt x="1161" y="1316"/>
                    </a:lnTo>
                    <a:lnTo>
                      <a:pt x="1159" y="1316"/>
                    </a:lnTo>
                    <a:lnTo>
                      <a:pt x="1159" y="1315"/>
                    </a:lnTo>
                    <a:lnTo>
                      <a:pt x="1161" y="1315"/>
                    </a:lnTo>
                    <a:lnTo>
                      <a:pt x="1161" y="1316"/>
                    </a:lnTo>
                    <a:lnTo>
                      <a:pt x="1161" y="1315"/>
                    </a:lnTo>
                    <a:lnTo>
                      <a:pt x="1162" y="1316"/>
                    </a:lnTo>
                    <a:lnTo>
                      <a:pt x="1164" y="1316"/>
                    </a:lnTo>
                    <a:lnTo>
                      <a:pt x="1164" y="1318"/>
                    </a:lnTo>
                    <a:lnTo>
                      <a:pt x="1164" y="1316"/>
                    </a:lnTo>
                    <a:lnTo>
                      <a:pt x="1162" y="1316"/>
                    </a:lnTo>
                    <a:lnTo>
                      <a:pt x="1162" y="1315"/>
                    </a:lnTo>
                    <a:lnTo>
                      <a:pt x="1164" y="1315"/>
                    </a:lnTo>
                    <a:lnTo>
                      <a:pt x="1162" y="1315"/>
                    </a:lnTo>
                    <a:lnTo>
                      <a:pt x="1161" y="1315"/>
                    </a:lnTo>
                    <a:lnTo>
                      <a:pt x="1161" y="1313"/>
                    </a:lnTo>
                    <a:lnTo>
                      <a:pt x="1162" y="1313"/>
                    </a:lnTo>
                    <a:lnTo>
                      <a:pt x="1162" y="1315"/>
                    </a:lnTo>
                    <a:lnTo>
                      <a:pt x="1162" y="1313"/>
                    </a:lnTo>
                    <a:lnTo>
                      <a:pt x="1161" y="1313"/>
                    </a:lnTo>
                    <a:lnTo>
                      <a:pt x="1161" y="1311"/>
                    </a:lnTo>
                    <a:lnTo>
                      <a:pt x="1162" y="1313"/>
                    </a:lnTo>
                    <a:lnTo>
                      <a:pt x="1162" y="1315"/>
                    </a:lnTo>
                    <a:lnTo>
                      <a:pt x="1164" y="1315"/>
                    </a:lnTo>
                    <a:lnTo>
                      <a:pt x="1164" y="1316"/>
                    </a:lnTo>
                    <a:lnTo>
                      <a:pt x="1166" y="1318"/>
                    </a:lnTo>
                    <a:lnTo>
                      <a:pt x="1168" y="1318"/>
                    </a:lnTo>
                    <a:lnTo>
                      <a:pt x="1168" y="1320"/>
                    </a:lnTo>
                    <a:lnTo>
                      <a:pt x="1166" y="1322"/>
                    </a:lnTo>
                    <a:lnTo>
                      <a:pt x="1168" y="1322"/>
                    </a:lnTo>
                    <a:lnTo>
                      <a:pt x="1168" y="1320"/>
                    </a:lnTo>
                    <a:lnTo>
                      <a:pt x="1168" y="1318"/>
                    </a:lnTo>
                    <a:lnTo>
                      <a:pt x="1168" y="1316"/>
                    </a:lnTo>
                    <a:lnTo>
                      <a:pt x="1168" y="1315"/>
                    </a:lnTo>
                    <a:lnTo>
                      <a:pt x="1168" y="1313"/>
                    </a:lnTo>
                    <a:lnTo>
                      <a:pt x="1169" y="1313"/>
                    </a:lnTo>
                    <a:lnTo>
                      <a:pt x="1169" y="1315"/>
                    </a:lnTo>
                    <a:lnTo>
                      <a:pt x="1169" y="1313"/>
                    </a:lnTo>
                    <a:lnTo>
                      <a:pt x="1168" y="1313"/>
                    </a:lnTo>
                    <a:lnTo>
                      <a:pt x="1168" y="1311"/>
                    </a:lnTo>
                    <a:lnTo>
                      <a:pt x="1169" y="1311"/>
                    </a:lnTo>
                    <a:lnTo>
                      <a:pt x="1171" y="1311"/>
                    </a:lnTo>
                    <a:lnTo>
                      <a:pt x="1171" y="1313"/>
                    </a:lnTo>
                    <a:lnTo>
                      <a:pt x="1171" y="1311"/>
                    </a:lnTo>
                    <a:lnTo>
                      <a:pt x="1169" y="1311"/>
                    </a:lnTo>
                    <a:lnTo>
                      <a:pt x="1169" y="1310"/>
                    </a:lnTo>
                    <a:lnTo>
                      <a:pt x="1169" y="1308"/>
                    </a:lnTo>
                    <a:lnTo>
                      <a:pt x="1169" y="1306"/>
                    </a:lnTo>
                    <a:lnTo>
                      <a:pt x="1171" y="1306"/>
                    </a:lnTo>
                    <a:lnTo>
                      <a:pt x="1169" y="1306"/>
                    </a:lnTo>
                    <a:lnTo>
                      <a:pt x="1169" y="1305"/>
                    </a:lnTo>
                    <a:lnTo>
                      <a:pt x="1168" y="1305"/>
                    </a:lnTo>
                    <a:lnTo>
                      <a:pt x="1168" y="1303"/>
                    </a:lnTo>
                    <a:lnTo>
                      <a:pt x="1166" y="1303"/>
                    </a:lnTo>
                    <a:lnTo>
                      <a:pt x="1166" y="1301"/>
                    </a:lnTo>
                    <a:lnTo>
                      <a:pt x="1168" y="1301"/>
                    </a:lnTo>
                    <a:lnTo>
                      <a:pt x="1169" y="1301"/>
                    </a:lnTo>
                    <a:lnTo>
                      <a:pt x="1169" y="1299"/>
                    </a:lnTo>
                    <a:lnTo>
                      <a:pt x="1169" y="1301"/>
                    </a:lnTo>
                    <a:lnTo>
                      <a:pt x="1171" y="1301"/>
                    </a:lnTo>
                    <a:lnTo>
                      <a:pt x="1171" y="1303"/>
                    </a:lnTo>
                    <a:lnTo>
                      <a:pt x="1173" y="1303"/>
                    </a:lnTo>
                    <a:lnTo>
                      <a:pt x="1173" y="1305"/>
                    </a:lnTo>
                    <a:lnTo>
                      <a:pt x="1171" y="1303"/>
                    </a:lnTo>
                    <a:lnTo>
                      <a:pt x="1171" y="1301"/>
                    </a:lnTo>
                    <a:lnTo>
                      <a:pt x="1169" y="1299"/>
                    </a:lnTo>
                    <a:lnTo>
                      <a:pt x="1171" y="1299"/>
                    </a:lnTo>
                    <a:lnTo>
                      <a:pt x="1171" y="1298"/>
                    </a:lnTo>
                    <a:lnTo>
                      <a:pt x="1171" y="1299"/>
                    </a:lnTo>
                    <a:lnTo>
                      <a:pt x="1169" y="1299"/>
                    </a:lnTo>
                    <a:lnTo>
                      <a:pt x="1168" y="1299"/>
                    </a:lnTo>
                    <a:lnTo>
                      <a:pt x="1168" y="1301"/>
                    </a:lnTo>
                    <a:lnTo>
                      <a:pt x="1166" y="1301"/>
                    </a:lnTo>
                    <a:lnTo>
                      <a:pt x="1164" y="1301"/>
                    </a:lnTo>
                    <a:lnTo>
                      <a:pt x="1164" y="1299"/>
                    </a:lnTo>
                    <a:lnTo>
                      <a:pt x="1166" y="1299"/>
                    </a:lnTo>
                    <a:lnTo>
                      <a:pt x="1168" y="1299"/>
                    </a:lnTo>
                    <a:lnTo>
                      <a:pt x="1166" y="1299"/>
                    </a:lnTo>
                    <a:lnTo>
                      <a:pt x="1164" y="1299"/>
                    </a:lnTo>
                    <a:lnTo>
                      <a:pt x="1164" y="1298"/>
                    </a:lnTo>
                    <a:lnTo>
                      <a:pt x="1166" y="1298"/>
                    </a:lnTo>
                    <a:lnTo>
                      <a:pt x="1168" y="1298"/>
                    </a:lnTo>
                    <a:lnTo>
                      <a:pt x="1169" y="1296"/>
                    </a:lnTo>
                    <a:lnTo>
                      <a:pt x="1168" y="1296"/>
                    </a:lnTo>
                    <a:lnTo>
                      <a:pt x="1168" y="1298"/>
                    </a:lnTo>
                    <a:lnTo>
                      <a:pt x="1168" y="1296"/>
                    </a:lnTo>
                    <a:lnTo>
                      <a:pt x="1168" y="1298"/>
                    </a:lnTo>
                    <a:lnTo>
                      <a:pt x="1166" y="1298"/>
                    </a:lnTo>
                    <a:lnTo>
                      <a:pt x="1164" y="1298"/>
                    </a:lnTo>
                    <a:lnTo>
                      <a:pt x="1162" y="1296"/>
                    </a:lnTo>
                    <a:lnTo>
                      <a:pt x="1164" y="1296"/>
                    </a:lnTo>
                    <a:lnTo>
                      <a:pt x="1166" y="1294"/>
                    </a:lnTo>
                    <a:lnTo>
                      <a:pt x="1168" y="1294"/>
                    </a:lnTo>
                    <a:lnTo>
                      <a:pt x="1169" y="1294"/>
                    </a:lnTo>
                    <a:lnTo>
                      <a:pt x="1168" y="1294"/>
                    </a:lnTo>
                    <a:lnTo>
                      <a:pt x="1169" y="1293"/>
                    </a:lnTo>
                    <a:lnTo>
                      <a:pt x="1168" y="1293"/>
                    </a:lnTo>
                    <a:lnTo>
                      <a:pt x="1168" y="1294"/>
                    </a:lnTo>
                    <a:lnTo>
                      <a:pt x="1166" y="1294"/>
                    </a:lnTo>
                    <a:lnTo>
                      <a:pt x="1164" y="1296"/>
                    </a:lnTo>
                    <a:lnTo>
                      <a:pt x="1162" y="1296"/>
                    </a:lnTo>
                    <a:lnTo>
                      <a:pt x="1162" y="1294"/>
                    </a:lnTo>
                    <a:lnTo>
                      <a:pt x="1162" y="1293"/>
                    </a:lnTo>
                    <a:lnTo>
                      <a:pt x="1162" y="1291"/>
                    </a:lnTo>
                    <a:lnTo>
                      <a:pt x="1164" y="1291"/>
                    </a:lnTo>
                    <a:lnTo>
                      <a:pt x="1164" y="1293"/>
                    </a:lnTo>
                    <a:lnTo>
                      <a:pt x="1166" y="1293"/>
                    </a:lnTo>
                    <a:lnTo>
                      <a:pt x="1168" y="1294"/>
                    </a:lnTo>
                    <a:lnTo>
                      <a:pt x="1168" y="1293"/>
                    </a:lnTo>
                    <a:lnTo>
                      <a:pt x="1166" y="1293"/>
                    </a:lnTo>
                    <a:lnTo>
                      <a:pt x="1164" y="1291"/>
                    </a:lnTo>
                    <a:lnTo>
                      <a:pt x="1166" y="1291"/>
                    </a:lnTo>
                    <a:lnTo>
                      <a:pt x="1166" y="1289"/>
                    </a:lnTo>
                    <a:lnTo>
                      <a:pt x="1164" y="1291"/>
                    </a:lnTo>
                    <a:lnTo>
                      <a:pt x="1162" y="1289"/>
                    </a:lnTo>
                    <a:lnTo>
                      <a:pt x="1164" y="1289"/>
                    </a:lnTo>
                    <a:lnTo>
                      <a:pt x="1166" y="1289"/>
                    </a:lnTo>
                    <a:lnTo>
                      <a:pt x="1168" y="1288"/>
                    </a:lnTo>
                    <a:lnTo>
                      <a:pt x="1168" y="1289"/>
                    </a:lnTo>
                    <a:lnTo>
                      <a:pt x="1168" y="1288"/>
                    </a:lnTo>
                    <a:lnTo>
                      <a:pt x="1169" y="1288"/>
                    </a:lnTo>
                    <a:lnTo>
                      <a:pt x="1168" y="1288"/>
                    </a:lnTo>
                    <a:lnTo>
                      <a:pt x="1169" y="1286"/>
                    </a:lnTo>
                    <a:lnTo>
                      <a:pt x="1169" y="1288"/>
                    </a:lnTo>
                    <a:lnTo>
                      <a:pt x="1169" y="1286"/>
                    </a:lnTo>
                    <a:lnTo>
                      <a:pt x="1171" y="1286"/>
                    </a:lnTo>
                    <a:lnTo>
                      <a:pt x="1171" y="1288"/>
                    </a:lnTo>
                    <a:lnTo>
                      <a:pt x="1171" y="1289"/>
                    </a:lnTo>
                    <a:lnTo>
                      <a:pt x="1169" y="1288"/>
                    </a:lnTo>
                    <a:lnTo>
                      <a:pt x="1169" y="1289"/>
                    </a:lnTo>
                    <a:lnTo>
                      <a:pt x="1171" y="1291"/>
                    </a:lnTo>
                    <a:lnTo>
                      <a:pt x="1171" y="1289"/>
                    </a:lnTo>
                    <a:lnTo>
                      <a:pt x="1171" y="1288"/>
                    </a:lnTo>
                    <a:lnTo>
                      <a:pt x="1171" y="1286"/>
                    </a:lnTo>
                    <a:lnTo>
                      <a:pt x="1173" y="1286"/>
                    </a:lnTo>
                    <a:lnTo>
                      <a:pt x="1173" y="1284"/>
                    </a:lnTo>
                    <a:lnTo>
                      <a:pt x="1174" y="1286"/>
                    </a:lnTo>
                    <a:close/>
                    <a:moveTo>
                      <a:pt x="1264" y="1498"/>
                    </a:moveTo>
                    <a:lnTo>
                      <a:pt x="1266" y="1498"/>
                    </a:lnTo>
                    <a:lnTo>
                      <a:pt x="1266" y="1500"/>
                    </a:lnTo>
                    <a:lnTo>
                      <a:pt x="1268" y="1500"/>
                    </a:lnTo>
                    <a:lnTo>
                      <a:pt x="1270" y="1500"/>
                    </a:lnTo>
                    <a:lnTo>
                      <a:pt x="1271" y="1500"/>
                    </a:lnTo>
                    <a:lnTo>
                      <a:pt x="1273" y="1500"/>
                    </a:lnTo>
                    <a:lnTo>
                      <a:pt x="1275" y="1500"/>
                    </a:lnTo>
                    <a:lnTo>
                      <a:pt x="1276" y="1500"/>
                    </a:lnTo>
                    <a:lnTo>
                      <a:pt x="1278" y="1498"/>
                    </a:lnTo>
                    <a:lnTo>
                      <a:pt x="1280" y="1498"/>
                    </a:lnTo>
                    <a:lnTo>
                      <a:pt x="1281" y="1497"/>
                    </a:lnTo>
                    <a:lnTo>
                      <a:pt x="1281" y="1498"/>
                    </a:lnTo>
                    <a:lnTo>
                      <a:pt x="1281" y="1500"/>
                    </a:lnTo>
                    <a:lnTo>
                      <a:pt x="1283" y="1500"/>
                    </a:lnTo>
                    <a:lnTo>
                      <a:pt x="1283" y="1502"/>
                    </a:lnTo>
                    <a:lnTo>
                      <a:pt x="1285" y="1502"/>
                    </a:lnTo>
                    <a:lnTo>
                      <a:pt x="1283" y="1504"/>
                    </a:lnTo>
                    <a:lnTo>
                      <a:pt x="1285" y="1505"/>
                    </a:lnTo>
                    <a:lnTo>
                      <a:pt x="1283" y="1507"/>
                    </a:lnTo>
                    <a:lnTo>
                      <a:pt x="1285" y="1505"/>
                    </a:lnTo>
                    <a:lnTo>
                      <a:pt x="1285" y="1507"/>
                    </a:lnTo>
                    <a:lnTo>
                      <a:pt x="1283" y="1507"/>
                    </a:lnTo>
                    <a:lnTo>
                      <a:pt x="1283" y="1509"/>
                    </a:lnTo>
                    <a:lnTo>
                      <a:pt x="1281" y="1509"/>
                    </a:lnTo>
                    <a:lnTo>
                      <a:pt x="1280" y="1509"/>
                    </a:lnTo>
                    <a:lnTo>
                      <a:pt x="1278" y="1510"/>
                    </a:lnTo>
                    <a:lnTo>
                      <a:pt x="1276" y="1510"/>
                    </a:lnTo>
                    <a:lnTo>
                      <a:pt x="1276" y="1512"/>
                    </a:lnTo>
                    <a:lnTo>
                      <a:pt x="1275" y="1512"/>
                    </a:lnTo>
                    <a:lnTo>
                      <a:pt x="1275" y="1514"/>
                    </a:lnTo>
                    <a:lnTo>
                      <a:pt x="1273" y="1514"/>
                    </a:lnTo>
                    <a:lnTo>
                      <a:pt x="1271" y="1515"/>
                    </a:lnTo>
                    <a:lnTo>
                      <a:pt x="1270" y="1515"/>
                    </a:lnTo>
                    <a:lnTo>
                      <a:pt x="1270" y="1517"/>
                    </a:lnTo>
                    <a:lnTo>
                      <a:pt x="1268" y="1517"/>
                    </a:lnTo>
                    <a:lnTo>
                      <a:pt x="1266" y="1517"/>
                    </a:lnTo>
                    <a:lnTo>
                      <a:pt x="1266" y="1519"/>
                    </a:lnTo>
                    <a:lnTo>
                      <a:pt x="1266" y="1521"/>
                    </a:lnTo>
                    <a:lnTo>
                      <a:pt x="1264" y="1521"/>
                    </a:lnTo>
                    <a:lnTo>
                      <a:pt x="1264" y="1522"/>
                    </a:lnTo>
                    <a:lnTo>
                      <a:pt x="1263" y="1524"/>
                    </a:lnTo>
                    <a:lnTo>
                      <a:pt x="1263" y="1526"/>
                    </a:lnTo>
                    <a:lnTo>
                      <a:pt x="1261" y="1524"/>
                    </a:lnTo>
                    <a:lnTo>
                      <a:pt x="1261" y="1526"/>
                    </a:lnTo>
                    <a:lnTo>
                      <a:pt x="1259" y="1526"/>
                    </a:lnTo>
                    <a:lnTo>
                      <a:pt x="1259" y="1524"/>
                    </a:lnTo>
                    <a:lnTo>
                      <a:pt x="1258" y="1524"/>
                    </a:lnTo>
                    <a:lnTo>
                      <a:pt x="1258" y="1522"/>
                    </a:lnTo>
                    <a:lnTo>
                      <a:pt x="1256" y="1521"/>
                    </a:lnTo>
                    <a:lnTo>
                      <a:pt x="1254" y="1521"/>
                    </a:lnTo>
                    <a:lnTo>
                      <a:pt x="1253" y="1519"/>
                    </a:lnTo>
                    <a:lnTo>
                      <a:pt x="1251" y="1519"/>
                    </a:lnTo>
                    <a:lnTo>
                      <a:pt x="1253" y="1521"/>
                    </a:lnTo>
                    <a:lnTo>
                      <a:pt x="1254" y="1521"/>
                    </a:lnTo>
                    <a:lnTo>
                      <a:pt x="1254" y="1522"/>
                    </a:lnTo>
                    <a:lnTo>
                      <a:pt x="1256" y="1522"/>
                    </a:lnTo>
                    <a:lnTo>
                      <a:pt x="1254" y="1522"/>
                    </a:lnTo>
                    <a:lnTo>
                      <a:pt x="1256" y="1524"/>
                    </a:lnTo>
                    <a:lnTo>
                      <a:pt x="1254" y="1524"/>
                    </a:lnTo>
                    <a:lnTo>
                      <a:pt x="1254" y="1522"/>
                    </a:lnTo>
                    <a:lnTo>
                      <a:pt x="1253" y="1522"/>
                    </a:lnTo>
                    <a:lnTo>
                      <a:pt x="1253" y="1521"/>
                    </a:lnTo>
                    <a:lnTo>
                      <a:pt x="1251" y="1521"/>
                    </a:lnTo>
                    <a:lnTo>
                      <a:pt x="1251" y="1522"/>
                    </a:lnTo>
                    <a:lnTo>
                      <a:pt x="1251" y="1521"/>
                    </a:lnTo>
                    <a:lnTo>
                      <a:pt x="1249" y="1521"/>
                    </a:lnTo>
                    <a:lnTo>
                      <a:pt x="1247" y="1521"/>
                    </a:lnTo>
                    <a:lnTo>
                      <a:pt x="1247" y="1522"/>
                    </a:lnTo>
                    <a:lnTo>
                      <a:pt x="1247" y="1521"/>
                    </a:lnTo>
                    <a:lnTo>
                      <a:pt x="1246" y="1522"/>
                    </a:lnTo>
                    <a:lnTo>
                      <a:pt x="1244" y="1522"/>
                    </a:lnTo>
                    <a:lnTo>
                      <a:pt x="1246" y="1522"/>
                    </a:lnTo>
                    <a:lnTo>
                      <a:pt x="1247" y="1522"/>
                    </a:lnTo>
                    <a:lnTo>
                      <a:pt x="1249" y="1522"/>
                    </a:lnTo>
                    <a:lnTo>
                      <a:pt x="1251" y="1522"/>
                    </a:lnTo>
                    <a:lnTo>
                      <a:pt x="1253" y="1524"/>
                    </a:lnTo>
                    <a:lnTo>
                      <a:pt x="1253" y="1526"/>
                    </a:lnTo>
                    <a:lnTo>
                      <a:pt x="1254" y="1526"/>
                    </a:lnTo>
                    <a:lnTo>
                      <a:pt x="1256" y="1526"/>
                    </a:lnTo>
                    <a:lnTo>
                      <a:pt x="1256" y="1527"/>
                    </a:lnTo>
                    <a:lnTo>
                      <a:pt x="1258" y="1529"/>
                    </a:lnTo>
                    <a:lnTo>
                      <a:pt x="1256" y="1529"/>
                    </a:lnTo>
                    <a:lnTo>
                      <a:pt x="1254" y="1529"/>
                    </a:lnTo>
                    <a:lnTo>
                      <a:pt x="1253" y="1529"/>
                    </a:lnTo>
                    <a:lnTo>
                      <a:pt x="1251" y="1529"/>
                    </a:lnTo>
                    <a:lnTo>
                      <a:pt x="1251" y="1527"/>
                    </a:lnTo>
                    <a:lnTo>
                      <a:pt x="1251" y="1529"/>
                    </a:lnTo>
                    <a:lnTo>
                      <a:pt x="1253" y="1529"/>
                    </a:lnTo>
                    <a:lnTo>
                      <a:pt x="1253" y="1531"/>
                    </a:lnTo>
                    <a:lnTo>
                      <a:pt x="1251" y="1531"/>
                    </a:lnTo>
                    <a:lnTo>
                      <a:pt x="1249" y="1531"/>
                    </a:lnTo>
                    <a:lnTo>
                      <a:pt x="1249" y="1529"/>
                    </a:lnTo>
                    <a:lnTo>
                      <a:pt x="1249" y="1527"/>
                    </a:lnTo>
                    <a:lnTo>
                      <a:pt x="1249" y="1529"/>
                    </a:lnTo>
                    <a:lnTo>
                      <a:pt x="1247" y="1529"/>
                    </a:lnTo>
                    <a:lnTo>
                      <a:pt x="1246" y="1527"/>
                    </a:lnTo>
                    <a:lnTo>
                      <a:pt x="1246" y="1529"/>
                    </a:lnTo>
                    <a:lnTo>
                      <a:pt x="1247" y="1529"/>
                    </a:lnTo>
                    <a:lnTo>
                      <a:pt x="1249" y="1531"/>
                    </a:lnTo>
                    <a:lnTo>
                      <a:pt x="1247" y="1531"/>
                    </a:lnTo>
                    <a:lnTo>
                      <a:pt x="1246" y="1529"/>
                    </a:lnTo>
                    <a:lnTo>
                      <a:pt x="1244" y="1529"/>
                    </a:lnTo>
                    <a:lnTo>
                      <a:pt x="1242" y="1529"/>
                    </a:lnTo>
                    <a:lnTo>
                      <a:pt x="1244" y="1529"/>
                    </a:lnTo>
                    <a:lnTo>
                      <a:pt x="1246" y="1531"/>
                    </a:lnTo>
                    <a:lnTo>
                      <a:pt x="1247" y="1531"/>
                    </a:lnTo>
                    <a:lnTo>
                      <a:pt x="1247" y="1532"/>
                    </a:lnTo>
                    <a:lnTo>
                      <a:pt x="1249" y="1531"/>
                    </a:lnTo>
                    <a:lnTo>
                      <a:pt x="1249" y="1532"/>
                    </a:lnTo>
                    <a:lnTo>
                      <a:pt x="1247" y="1532"/>
                    </a:lnTo>
                    <a:lnTo>
                      <a:pt x="1249" y="1534"/>
                    </a:lnTo>
                    <a:lnTo>
                      <a:pt x="1247" y="1534"/>
                    </a:lnTo>
                    <a:lnTo>
                      <a:pt x="1246" y="1534"/>
                    </a:lnTo>
                    <a:lnTo>
                      <a:pt x="1246" y="1532"/>
                    </a:lnTo>
                    <a:lnTo>
                      <a:pt x="1246" y="1534"/>
                    </a:lnTo>
                    <a:lnTo>
                      <a:pt x="1246" y="1536"/>
                    </a:lnTo>
                    <a:lnTo>
                      <a:pt x="1246" y="1538"/>
                    </a:lnTo>
                    <a:lnTo>
                      <a:pt x="1246" y="1539"/>
                    </a:lnTo>
                    <a:lnTo>
                      <a:pt x="1244" y="1539"/>
                    </a:lnTo>
                    <a:lnTo>
                      <a:pt x="1242" y="1539"/>
                    </a:lnTo>
                    <a:lnTo>
                      <a:pt x="1242" y="1538"/>
                    </a:lnTo>
                    <a:lnTo>
                      <a:pt x="1241" y="1538"/>
                    </a:lnTo>
                    <a:lnTo>
                      <a:pt x="1242" y="1538"/>
                    </a:lnTo>
                    <a:lnTo>
                      <a:pt x="1242" y="1539"/>
                    </a:lnTo>
                    <a:lnTo>
                      <a:pt x="1244" y="1539"/>
                    </a:lnTo>
                    <a:lnTo>
                      <a:pt x="1244" y="1541"/>
                    </a:lnTo>
                    <a:lnTo>
                      <a:pt x="1242" y="1543"/>
                    </a:lnTo>
                    <a:lnTo>
                      <a:pt x="1244" y="1541"/>
                    </a:lnTo>
                    <a:lnTo>
                      <a:pt x="1246" y="1539"/>
                    </a:lnTo>
                    <a:lnTo>
                      <a:pt x="1246" y="1541"/>
                    </a:lnTo>
                    <a:lnTo>
                      <a:pt x="1247" y="1541"/>
                    </a:lnTo>
                    <a:lnTo>
                      <a:pt x="1247" y="1543"/>
                    </a:lnTo>
                    <a:lnTo>
                      <a:pt x="1249" y="1544"/>
                    </a:lnTo>
                    <a:lnTo>
                      <a:pt x="1249" y="1546"/>
                    </a:lnTo>
                    <a:lnTo>
                      <a:pt x="1251" y="1546"/>
                    </a:lnTo>
                    <a:lnTo>
                      <a:pt x="1251" y="1548"/>
                    </a:lnTo>
                    <a:lnTo>
                      <a:pt x="1249" y="1548"/>
                    </a:lnTo>
                    <a:lnTo>
                      <a:pt x="1247" y="1548"/>
                    </a:lnTo>
                    <a:lnTo>
                      <a:pt x="1246" y="1548"/>
                    </a:lnTo>
                    <a:lnTo>
                      <a:pt x="1244" y="1548"/>
                    </a:lnTo>
                    <a:lnTo>
                      <a:pt x="1246" y="1548"/>
                    </a:lnTo>
                    <a:lnTo>
                      <a:pt x="1246" y="1546"/>
                    </a:lnTo>
                    <a:lnTo>
                      <a:pt x="1244" y="1546"/>
                    </a:lnTo>
                    <a:lnTo>
                      <a:pt x="1242" y="1546"/>
                    </a:lnTo>
                    <a:lnTo>
                      <a:pt x="1242" y="1544"/>
                    </a:lnTo>
                    <a:lnTo>
                      <a:pt x="1244" y="1544"/>
                    </a:lnTo>
                    <a:lnTo>
                      <a:pt x="1242" y="1543"/>
                    </a:lnTo>
                    <a:lnTo>
                      <a:pt x="1242" y="1544"/>
                    </a:lnTo>
                    <a:lnTo>
                      <a:pt x="1241" y="1544"/>
                    </a:lnTo>
                    <a:lnTo>
                      <a:pt x="1239" y="1543"/>
                    </a:lnTo>
                    <a:lnTo>
                      <a:pt x="1237" y="1541"/>
                    </a:lnTo>
                    <a:lnTo>
                      <a:pt x="1237" y="1539"/>
                    </a:lnTo>
                    <a:lnTo>
                      <a:pt x="1237" y="1541"/>
                    </a:lnTo>
                    <a:lnTo>
                      <a:pt x="1237" y="1543"/>
                    </a:lnTo>
                    <a:lnTo>
                      <a:pt x="1236" y="1541"/>
                    </a:lnTo>
                    <a:lnTo>
                      <a:pt x="1237" y="1539"/>
                    </a:lnTo>
                    <a:lnTo>
                      <a:pt x="1236" y="1539"/>
                    </a:lnTo>
                    <a:lnTo>
                      <a:pt x="1234" y="1539"/>
                    </a:lnTo>
                    <a:lnTo>
                      <a:pt x="1232" y="1539"/>
                    </a:lnTo>
                    <a:lnTo>
                      <a:pt x="1234" y="1538"/>
                    </a:lnTo>
                    <a:lnTo>
                      <a:pt x="1232" y="1538"/>
                    </a:lnTo>
                    <a:lnTo>
                      <a:pt x="1230" y="1538"/>
                    </a:lnTo>
                    <a:lnTo>
                      <a:pt x="1230" y="1536"/>
                    </a:lnTo>
                    <a:lnTo>
                      <a:pt x="1230" y="1534"/>
                    </a:lnTo>
                    <a:lnTo>
                      <a:pt x="1229" y="1534"/>
                    </a:lnTo>
                    <a:lnTo>
                      <a:pt x="1229" y="1532"/>
                    </a:lnTo>
                    <a:lnTo>
                      <a:pt x="1229" y="1534"/>
                    </a:lnTo>
                    <a:lnTo>
                      <a:pt x="1227" y="1534"/>
                    </a:lnTo>
                    <a:lnTo>
                      <a:pt x="1227" y="1532"/>
                    </a:lnTo>
                    <a:lnTo>
                      <a:pt x="1225" y="1534"/>
                    </a:lnTo>
                    <a:lnTo>
                      <a:pt x="1225" y="1532"/>
                    </a:lnTo>
                    <a:lnTo>
                      <a:pt x="1224" y="1532"/>
                    </a:lnTo>
                    <a:lnTo>
                      <a:pt x="1225" y="1531"/>
                    </a:lnTo>
                    <a:lnTo>
                      <a:pt x="1224" y="1532"/>
                    </a:lnTo>
                    <a:lnTo>
                      <a:pt x="1222" y="1531"/>
                    </a:lnTo>
                    <a:lnTo>
                      <a:pt x="1222" y="1529"/>
                    </a:lnTo>
                    <a:lnTo>
                      <a:pt x="1222" y="1531"/>
                    </a:lnTo>
                    <a:lnTo>
                      <a:pt x="1224" y="1529"/>
                    </a:lnTo>
                    <a:lnTo>
                      <a:pt x="1222" y="1529"/>
                    </a:lnTo>
                    <a:lnTo>
                      <a:pt x="1222" y="1527"/>
                    </a:lnTo>
                    <a:lnTo>
                      <a:pt x="1220" y="1527"/>
                    </a:lnTo>
                    <a:lnTo>
                      <a:pt x="1220" y="1526"/>
                    </a:lnTo>
                    <a:lnTo>
                      <a:pt x="1222" y="1527"/>
                    </a:lnTo>
                    <a:lnTo>
                      <a:pt x="1224" y="1527"/>
                    </a:lnTo>
                    <a:lnTo>
                      <a:pt x="1225" y="1527"/>
                    </a:lnTo>
                    <a:lnTo>
                      <a:pt x="1225" y="1529"/>
                    </a:lnTo>
                    <a:lnTo>
                      <a:pt x="1225" y="1527"/>
                    </a:lnTo>
                    <a:lnTo>
                      <a:pt x="1227" y="1527"/>
                    </a:lnTo>
                    <a:lnTo>
                      <a:pt x="1229" y="1527"/>
                    </a:lnTo>
                    <a:lnTo>
                      <a:pt x="1229" y="1529"/>
                    </a:lnTo>
                    <a:lnTo>
                      <a:pt x="1229" y="1527"/>
                    </a:lnTo>
                    <a:lnTo>
                      <a:pt x="1230" y="1527"/>
                    </a:lnTo>
                    <a:lnTo>
                      <a:pt x="1230" y="1529"/>
                    </a:lnTo>
                    <a:lnTo>
                      <a:pt x="1232" y="1527"/>
                    </a:lnTo>
                    <a:lnTo>
                      <a:pt x="1230" y="1527"/>
                    </a:lnTo>
                    <a:lnTo>
                      <a:pt x="1232" y="1527"/>
                    </a:lnTo>
                    <a:lnTo>
                      <a:pt x="1230" y="1527"/>
                    </a:lnTo>
                    <a:lnTo>
                      <a:pt x="1232" y="1527"/>
                    </a:lnTo>
                    <a:lnTo>
                      <a:pt x="1234" y="1527"/>
                    </a:lnTo>
                    <a:lnTo>
                      <a:pt x="1232" y="1529"/>
                    </a:lnTo>
                    <a:lnTo>
                      <a:pt x="1234" y="1529"/>
                    </a:lnTo>
                    <a:lnTo>
                      <a:pt x="1236" y="1529"/>
                    </a:lnTo>
                    <a:lnTo>
                      <a:pt x="1236" y="1531"/>
                    </a:lnTo>
                    <a:lnTo>
                      <a:pt x="1236" y="1529"/>
                    </a:lnTo>
                    <a:lnTo>
                      <a:pt x="1237" y="1531"/>
                    </a:lnTo>
                    <a:lnTo>
                      <a:pt x="1239" y="1531"/>
                    </a:lnTo>
                    <a:lnTo>
                      <a:pt x="1239" y="1532"/>
                    </a:lnTo>
                    <a:lnTo>
                      <a:pt x="1237" y="1532"/>
                    </a:lnTo>
                    <a:lnTo>
                      <a:pt x="1239" y="1532"/>
                    </a:lnTo>
                    <a:lnTo>
                      <a:pt x="1237" y="1534"/>
                    </a:lnTo>
                    <a:lnTo>
                      <a:pt x="1239" y="1534"/>
                    </a:lnTo>
                    <a:lnTo>
                      <a:pt x="1237" y="1534"/>
                    </a:lnTo>
                    <a:lnTo>
                      <a:pt x="1239" y="1534"/>
                    </a:lnTo>
                    <a:lnTo>
                      <a:pt x="1239" y="1532"/>
                    </a:lnTo>
                    <a:lnTo>
                      <a:pt x="1241" y="1532"/>
                    </a:lnTo>
                    <a:lnTo>
                      <a:pt x="1239" y="1531"/>
                    </a:lnTo>
                    <a:lnTo>
                      <a:pt x="1237" y="1531"/>
                    </a:lnTo>
                    <a:lnTo>
                      <a:pt x="1237" y="1529"/>
                    </a:lnTo>
                    <a:lnTo>
                      <a:pt x="1236" y="1529"/>
                    </a:lnTo>
                    <a:lnTo>
                      <a:pt x="1236" y="1527"/>
                    </a:lnTo>
                    <a:lnTo>
                      <a:pt x="1236" y="1529"/>
                    </a:lnTo>
                    <a:lnTo>
                      <a:pt x="1236" y="1527"/>
                    </a:lnTo>
                    <a:lnTo>
                      <a:pt x="1237" y="1527"/>
                    </a:lnTo>
                    <a:lnTo>
                      <a:pt x="1239" y="1529"/>
                    </a:lnTo>
                    <a:lnTo>
                      <a:pt x="1239" y="1527"/>
                    </a:lnTo>
                    <a:lnTo>
                      <a:pt x="1237" y="1527"/>
                    </a:lnTo>
                    <a:lnTo>
                      <a:pt x="1237" y="1526"/>
                    </a:lnTo>
                    <a:lnTo>
                      <a:pt x="1239" y="1526"/>
                    </a:lnTo>
                    <a:lnTo>
                      <a:pt x="1241" y="1527"/>
                    </a:lnTo>
                    <a:lnTo>
                      <a:pt x="1239" y="1526"/>
                    </a:lnTo>
                    <a:lnTo>
                      <a:pt x="1241" y="1526"/>
                    </a:lnTo>
                    <a:lnTo>
                      <a:pt x="1241" y="1527"/>
                    </a:lnTo>
                    <a:lnTo>
                      <a:pt x="1241" y="1526"/>
                    </a:lnTo>
                    <a:lnTo>
                      <a:pt x="1239" y="1526"/>
                    </a:lnTo>
                    <a:lnTo>
                      <a:pt x="1241" y="1526"/>
                    </a:lnTo>
                    <a:lnTo>
                      <a:pt x="1239" y="1526"/>
                    </a:lnTo>
                    <a:lnTo>
                      <a:pt x="1239" y="1524"/>
                    </a:lnTo>
                    <a:lnTo>
                      <a:pt x="1239" y="1526"/>
                    </a:lnTo>
                    <a:lnTo>
                      <a:pt x="1237" y="1526"/>
                    </a:lnTo>
                    <a:lnTo>
                      <a:pt x="1237" y="1524"/>
                    </a:lnTo>
                    <a:lnTo>
                      <a:pt x="1236" y="1526"/>
                    </a:lnTo>
                    <a:lnTo>
                      <a:pt x="1234" y="1526"/>
                    </a:lnTo>
                    <a:lnTo>
                      <a:pt x="1232" y="1524"/>
                    </a:lnTo>
                    <a:lnTo>
                      <a:pt x="1230" y="1524"/>
                    </a:lnTo>
                    <a:lnTo>
                      <a:pt x="1232" y="1522"/>
                    </a:lnTo>
                    <a:lnTo>
                      <a:pt x="1232" y="1524"/>
                    </a:lnTo>
                    <a:lnTo>
                      <a:pt x="1232" y="1522"/>
                    </a:lnTo>
                    <a:lnTo>
                      <a:pt x="1234" y="1522"/>
                    </a:lnTo>
                    <a:lnTo>
                      <a:pt x="1234" y="1521"/>
                    </a:lnTo>
                    <a:lnTo>
                      <a:pt x="1236" y="1521"/>
                    </a:lnTo>
                    <a:lnTo>
                      <a:pt x="1236" y="1519"/>
                    </a:lnTo>
                    <a:lnTo>
                      <a:pt x="1234" y="1519"/>
                    </a:lnTo>
                    <a:lnTo>
                      <a:pt x="1234" y="1521"/>
                    </a:lnTo>
                    <a:lnTo>
                      <a:pt x="1232" y="1521"/>
                    </a:lnTo>
                    <a:lnTo>
                      <a:pt x="1232" y="1519"/>
                    </a:lnTo>
                    <a:lnTo>
                      <a:pt x="1232" y="1517"/>
                    </a:lnTo>
                    <a:lnTo>
                      <a:pt x="1232" y="1515"/>
                    </a:lnTo>
                    <a:lnTo>
                      <a:pt x="1230" y="1514"/>
                    </a:lnTo>
                    <a:lnTo>
                      <a:pt x="1232" y="1514"/>
                    </a:lnTo>
                    <a:lnTo>
                      <a:pt x="1232" y="1512"/>
                    </a:lnTo>
                    <a:lnTo>
                      <a:pt x="1234" y="1512"/>
                    </a:lnTo>
                    <a:lnTo>
                      <a:pt x="1232" y="1512"/>
                    </a:lnTo>
                    <a:lnTo>
                      <a:pt x="1232" y="1510"/>
                    </a:lnTo>
                    <a:lnTo>
                      <a:pt x="1230" y="1510"/>
                    </a:lnTo>
                    <a:lnTo>
                      <a:pt x="1230" y="1509"/>
                    </a:lnTo>
                    <a:lnTo>
                      <a:pt x="1232" y="1509"/>
                    </a:lnTo>
                    <a:lnTo>
                      <a:pt x="1234" y="1509"/>
                    </a:lnTo>
                    <a:lnTo>
                      <a:pt x="1236" y="1507"/>
                    </a:lnTo>
                    <a:lnTo>
                      <a:pt x="1236" y="1505"/>
                    </a:lnTo>
                    <a:lnTo>
                      <a:pt x="1237" y="1505"/>
                    </a:lnTo>
                    <a:lnTo>
                      <a:pt x="1237" y="1507"/>
                    </a:lnTo>
                    <a:lnTo>
                      <a:pt x="1236" y="1507"/>
                    </a:lnTo>
                    <a:lnTo>
                      <a:pt x="1237" y="1507"/>
                    </a:lnTo>
                    <a:lnTo>
                      <a:pt x="1239" y="1505"/>
                    </a:lnTo>
                    <a:lnTo>
                      <a:pt x="1239" y="1504"/>
                    </a:lnTo>
                    <a:lnTo>
                      <a:pt x="1241" y="1502"/>
                    </a:lnTo>
                    <a:lnTo>
                      <a:pt x="1242" y="1502"/>
                    </a:lnTo>
                    <a:lnTo>
                      <a:pt x="1242" y="1504"/>
                    </a:lnTo>
                    <a:lnTo>
                      <a:pt x="1244" y="1505"/>
                    </a:lnTo>
                    <a:lnTo>
                      <a:pt x="1242" y="1505"/>
                    </a:lnTo>
                    <a:lnTo>
                      <a:pt x="1242" y="1507"/>
                    </a:lnTo>
                    <a:lnTo>
                      <a:pt x="1241" y="1509"/>
                    </a:lnTo>
                    <a:lnTo>
                      <a:pt x="1239" y="1510"/>
                    </a:lnTo>
                    <a:lnTo>
                      <a:pt x="1239" y="1512"/>
                    </a:lnTo>
                    <a:lnTo>
                      <a:pt x="1241" y="1512"/>
                    </a:lnTo>
                    <a:lnTo>
                      <a:pt x="1241" y="1510"/>
                    </a:lnTo>
                    <a:lnTo>
                      <a:pt x="1241" y="1509"/>
                    </a:lnTo>
                    <a:lnTo>
                      <a:pt x="1242" y="1509"/>
                    </a:lnTo>
                    <a:lnTo>
                      <a:pt x="1242" y="1507"/>
                    </a:lnTo>
                    <a:lnTo>
                      <a:pt x="1244" y="1507"/>
                    </a:lnTo>
                    <a:lnTo>
                      <a:pt x="1246" y="1507"/>
                    </a:lnTo>
                    <a:lnTo>
                      <a:pt x="1244" y="1509"/>
                    </a:lnTo>
                    <a:lnTo>
                      <a:pt x="1242" y="1509"/>
                    </a:lnTo>
                    <a:lnTo>
                      <a:pt x="1242" y="1510"/>
                    </a:lnTo>
                    <a:lnTo>
                      <a:pt x="1244" y="1509"/>
                    </a:lnTo>
                    <a:lnTo>
                      <a:pt x="1246" y="1507"/>
                    </a:lnTo>
                    <a:lnTo>
                      <a:pt x="1246" y="1509"/>
                    </a:lnTo>
                    <a:lnTo>
                      <a:pt x="1244" y="1509"/>
                    </a:lnTo>
                    <a:lnTo>
                      <a:pt x="1244" y="1510"/>
                    </a:lnTo>
                    <a:lnTo>
                      <a:pt x="1244" y="1509"/>
                    </a:lnTo>
                    <a:lnTo>
                      <a:pt x="1246" y="1509"/>
                    </a:lnTo>
                    <a:lnTo>
                      <a:pt x="1247" y="1507"/>
                    </a:lnTo>
                    <a:lnTo>
                      <a:pt x="1247" y="1509"/>
                    </a:lnTo>
                    <a:lnTo>
                      <a:pt x="1247" y="1507"/>
                    </a:lnTo>
                    <a:lnTo>
                      <a:pt x="1247" y="1509"/>
                    </a:lnTo>
                    <a:lnTo>
                      <a:pt x="1249" y="1510"/>
                    </a:lnTo>
                    <a:lnTo>
                      <a:pt x="1249" y="1509"/>
                    </a:lnTo>
                    <a:lnTo>
                      <a:pt x="1249" y="1507"/>
                    </a:lnTo>
                    <a:lnTo>
                      <a:pt x="1251" y="1507"/>
                    </a:lnTo>
                    <a:lnTo>
                      <a:pt x="1251" y="1505"/>
                    </a:lnTo>
                    <a:lnTo>
                      <a:pt x="1253" y="1505"/>
                    </a:lnTo>
                    <a:lnTo>
                      <a:pt x="1254" y="1504"/>
                    </a:lnTo>
                    <a:lnTo>
                      <a:pt x="1254" y="1502"/>
                    </a:lnTo>
                    <a:lnTo>
                      <a:pt x="1256" y="1502"/>
                    </a:lnTo>
                    <a:lnTo>
                      <a:pt x="1258" y="1500"/>
                    </a:lnTo>
                    <a:lnTo>
                      <a:pt x="1258" y="1498"/>
                    </a:lnTo>
                    <a:lnTo>
                      <a:pt x="1259" y="1498"/>
                    </a:lnTo>
                    <a:lnTo>
                      <a:pt x="1261" y="1498"/>
                    </a:lnTo>
                    <a:lnTo>
                      <a:pt x="1263" y="1500"/>
                    </a:lnTo>
                    <a:lnTo>
                      <a:pt x="1263" y="1498"/>
                    </a:lnTo>
                    <a:lnTo>
                      <a:pt x="1264" y="1497"/>
                    </a:lnTo>
                    <a:lnTo>
                      <a:pt x="1264" y="1498"/>
                    </a:lnTo>
                    <a:close/>
                    <a:moveTo>
                      <a:pt x="1382" y="1628"/>
                    </a:moveTo>
                    <a:lnTo>
                      <a:pt x="1383" y="1629"/>
                    </a:lnTo>
                    <a:lnTo>
                      <a:pt x="1385" y="1629"/>
                    </a:lnTo>
                    <a:lnTo>
                      <a:pt x="1385" y="1631"/>
                    </a:lnTo>
                    <a:lnTo>
                      <a:pt x="1387" y="1631"/>
                    </a:lnTo>
                    <a:lnTo>
                      <a:pt x="1387" y="1633"/>
                    </a:lnTo>
                    <a:lnTo>
                      <a:pt x="1389" y="1635"/>
                    </a:lnTo>
                    <a:lnTo>
                      <a:pt x="1389" y="1636"/>
                    </a:lnTo>
                    <a:lnTo>
                      <a:pt x="1387" y="1636"/>
                    </a:lnTo>
                    <a:lnTo>
                      <a:pt x="1385" y="1636"/>
                    </a:lnTo>
                    <a:lnTo>
                      <a:pt x="1385" y="1635"/>
                    </a:lnTo>
                    <a:lnTo>
                      <a:pt x="1383" y="1635"/>
                    </a:lnTo>
                    <a:lnTo>
                      <a:pt x="1385" y="1636"/>
                    </a:lnTo>
                    <a:lnTo>
                      <a:pt x="1385" y="1638"/>
                    </a:lnTo>
                    <a:lnTo>
                      <a:pt x="1383" y="1640"/>
                    </a:lnTo>
                    <a:lnTo>
                      <a:pt x="1382" y="1640"/>
                    </a:lnTo>
                    <a:lnTo>
                      <a:pt x="1380" y="1638"/>
                    </a:lnTo>
                    <a:lnTo>
                      <a:pt x="1378" y="1638"/>
                    </a:lnTo>
                    <a:lnTo>
                      <a:pt x="1380" y="1638"/>
                    </a:lnTo>
                    <a:lnTo>
                      <a:pt x="1380" y="1640"/>
                    </a:lnTo>
                    <a:lnTo>
                      <a:pt x="1380" y="1641"/>
                    </a:lnTo>
                    <a:lnTo>
                      <a:pt x="1378" y="1641"/>
                    </a:lnTo>
                    <a:lnTo>
                      <a:pt x="1377" y="1641"/>
                    </a:lnTo>
                    <a:lnTo>
                      <a:pt x="1375" y="1641"/>
                    </a:lnTo>
                    <a:lnTo>
                      <a:pt x="1373" y="1641"/>
                    </a:lnTo>
                    <a:lnTo>
                      <a:pt x="1373" y="1640"/>
                    </a:lnTo>
                    <a:lnTo>
                      <a:pt x="1372" y="1640"/>
                    </a:lnTo>
                    <a:lnTo>
                      <a:pt x="1370" y="1640"/>
                    </a:lnTo>
                    <a:lnTo>
                      <a:pt x="1370" y="1638"/>
                    </a:lnTo>
                    <a:lnTo>
                      <a:pt x="1368" y="1638"/>
                    </a:lnTo>
                    <a:lnTo>
                      <a:pt x="1368" y="1636"/>
                    </a:lnTo>
                    <a:lnTo>
                      <a:pt x="1366" y="1636"/>
                    </a:lnTo>
                    <a:lnTo>
                      <a:pt x="1365" y="1635"/>
                    </a:lnTo>
                    <a:lnTo>
                      <a:pt x="1363" y="1636"/>
                    </a:lnTo>
                    <a:lnTo>
                      <a:pt x="1365" y="1636"/>
                    </a:lnTo>
                    <a:lnTo>
                      <a:pt x="1366" y="1636"/>
                    </a:lnTo>
                    <a:lnTo>
                      <a:pt x="1366" y="1638"/>
                    </a:lnTo>
                    <a:lnTo>
                      <a:pt x="1366" y="1640"/>
                    </a:lnTo>
                    <a:lnTo>
                      <a:pt x="1368" y="1640"/>
                    </a:lnTo>
                    <a:lnTo>
                      <a:pt x="1370" y="1640"/>
                    </a:lnTo>
                    <a:lnTo>
                      <a:pt x="1370" y="1641"/>
                    </a:lnTo>
                    <a:lnTo>
                      <a:pt x="1372" y="1641"/>
                    </a:lnTo>
                    <a:lnTo>
                      <a:pt x="1372" y="1643"/>
                    </a:lnTo>
                    <a:lnTo>
                      <a:pt x="1372" y="1641"/>
                    </a:lnTo>
                    <a:lnTo>
                      <a:pt x="1372" y="1643"/>
                    </a:lnTo>
                    <a:lnTo>
                      <a:pt x="1373" y="1643"/>
                    </a:lnTo>
                    <a:lnTo>
                      <a:pt x="1375" y="1643"/>
                    </a:lnTo>
                    <a:lnTo>
                      <a:pt x="1375" y="1641"/>
                    </a:lnTo>
                    <a:lnTo>
                      <a:pt x="1377" y="1643"/>
                    </a:lnTo>
                    <a:lnTo>
                      <a:pt x="1378" y="1643"/>
                    </a:lnTo>
                    <a:lnTo>
                      <a:pt x="1380" y="1643"/>
                    </a:lnTo>
                    <a:lnTo>
                      <a:pt x="1382" y="1643"/>
                    </a:lnTo>
                    <a:lnTo>
                      <a:pt x="1383" y="1643"/>
                    </a:lnTo>
                    <a:lnTo>
                      <a:pt x="1385" y="1643"/>
                    </a:lnTo>
                    <a:lnTo>
                      <a:pt x="1387" y="1643"/>
                    </a:lnTo>
                    <a:lnTo>
                      <a:pt x="1387" y="1645"/>
                    </a:lnTo>
                    <a:lnTo>
                      <a:pt x="1389" y="1645"/>
                    </a:lnTo>
                    <a:lnTo>
                      <a:pt x="1390" y="1645"/>
                    </a:lnTo>
                    <a:lnTo>
                      <a:pt x="1390" y="1646"/>
                    </a:lnTo>
                    <a:lnTo>
                      <a:pt x="1389" y="1646"/>
                    </a:lnTo>
                    <a:lnTo>
                      <a:pt x="1387" y="1646"/>
                    </a:lnTo>
                    <a:lnTo>
                      <a:pt x="1389" y="1646"/>
                    </a:lnTo>
                    <a:lnTo>
                      <a:pt x="1390" y="1646"/>
                    </a:lnTo>
                    <a:lnTo>
                      <a:pt x="1392" y="1648"/>
                    </a:lnTo>
                    <a:lnTo>
                      <a:pt x="1394" y="1648"/>
                    </a:lnTo>
                    <a:lnTo>
                      <a:pt x="1394" y="1650"/>
                    </a:lnTo>
                    <a:lnTo>
                      <a:pt x="1392" y="1650"/>
                    </a:lnTo>
                    <a:lnTo>
                      <a:pt x="1390" y="1650"/>
                    </a:lnTo>
                    <a:lnTo>
                      <a:pt x="1389" y="1650"/>
                    </a:lnTo>
                    <a:lnTo>
                      <a:pt x="1387" y="1650"/>
                    </a:lnTo>
                    <a:lnTo>
                      <a:pt x="1385" y="1650"/>
                    </a:lnTo>
                    <a:lnTo>
                      <a:pt x="1383" y="1650"/>
                    </a:lnTo>
                    <a:lnTo>
                      <a:pt x="1382" y="1650"/>
                    </a:lnTo>
                    <a:lnTo>
                      <a:pt x="1383" y="1650"/>
                    </a:lnTo>
                    <a:lnTo>
                      <a:pt x="1383" y="1652"/>
                    </a:lnTo>
                    <a:lnTo>
                      <a:pt x="1382" y="1652"/>
                    </a:lnTo>
                    <a:lnTo>
                      <a:pt x="1380" y="1652"/>
                    </a:lnTo>
                    <a:lnTo>
                      <a:pt x="1378" y="1650"/>
                    </a:lnTo>
                    <a:lnTo>
                      <a:pt x="1378" y="1648"/>
                    </a:lnTo>
                    <a:lnTo>
                      <a:pt x="1377" y="1648"/>
                    </a:lnTo>
                    <a:lnTo>
                      <a:pt x="1375" y="1648"/>
                    </a:lnTo>
                    <a:lnTo>
                      <a:pt x="1377" y="1648"/>
                    </a:lnTo>
                    <a:lnTo>
                      <a:pt x="1378" y="1650"/>
                    </a:lnTo>
                    <a:lnTo>
                      <a:pt x="1377" y="1650"/>
                    </a:lnTo>
                    <a:lnTo>
                      <a:pt x="1378" y="1650"/>
                    </a:lnTo>
                    <a:lnTo>
                      <a:pt x="1378" y="1652"/>
                    </a:lnTo>
                    <a:lnTo>
                      <a:pt x="1378" y="1653"/>
                    </a:lnTo>
                    <a:lnTo>
                      <a:pt x="1380" y="1652"/>
                    </a:lnTo>
                    <a:lnTo>
                      <a:pt x="1382" y="1652"/>
                    </a:lnTo>
                    <a:lnTo>
                      <a:pt x="1380" y="1653"/>
                    </a:lnTo>
                    <a:lnTo>
                      <a:pt x="1380" y="1655"/>
                    </a:lnTo>
                    <a:lnTo>
                      <a:pt x="1382" y="1653"/>
                    </a:lnTo>
                    <a:lnTo>
                      <a:pt x="1383" y="1653"/>
                    </a:lnTo>
                    <a:lnTo>
                      <a:pt x="1385" y="1653"/>
                    </a:lnTo>
                    <a:lnTo>
                      <a:pt x="1387" y="1653"/>
                    </a:lnTo>
                    <a:lnTo>
                      <a:pt x="1389" y="1653"/>
                    </a:lnTo>
                    <a:lnTo>
                      <a:pt x="1389" y="1655"/>
                    </a:lnTo>
                    <a:lnTo>
                      <a:pt x="1390" y="1655"/>
                    </a:lnTo>
                    <a:lnTo>
                      <a:pt x="1389" y="1655"/>
                    </a:lnTo>
                    <a:lnTo>
                      <a:pt x="1389" y="1657"/>
                    </a:lnTo>
                    <a:lnTo>
                      <a:pt x="1390" y="1655"/>
                    </a:lnTo>
                    <a:lnTo>
                      <a:pt x="1392" y="1657"/>
                    </a:lnTo>
                    <a:lnTo>
                      <a:pt x="1392" y="1655"/>
                    </a:lnTo>
                    <a:lnTo>
                      <a:pt x="1394" y="1655"/>
                    </a:lnTo>
                    <a:lnTo>
                      <a:pt x="1395" y="1657"/>
                    </a:lnTo>
                    <a:lnTo>
                      <a:pt x="1394" y="1658"/>
                    </a:lnTo>
                    <a:lnTo>
                      <a:pt x="1394" y="1660"/>
                    </a:lnTo>
                    <a:lnTo>
                      <a:pt x="1395" y="1660"/>
                    </a:lnTo>
                    <a:lnTo>
                      <a:pt x="1397" y="1660"/>
                    </a:lnTo>
                    <a:lnTo>
                      <a:pt x="1399" y="1660"/>
                    </a:lnTo>
                    <a:lnTo>
                      <a:pt x="1397" y="1662"/>
                    </a:lnTo>
                    <a:lnTo>
                      <a:pt x="1395" y="1663"/>
                    </a:lnTo>
                    <a:lnTo>
                      <a:pt x="1397" y="1663"/>
                    </a:lnTo>
                    <a:lnTo>
                      <a:pt x="1397" y="1665"/>
                    </a:lnTo>
                    <a:lnTo>
                      <a:pt x="1397" y="1667"/>
                    </a:lnTo>
                    <a:lnTo>
                      <a:pt x="1399" y="1667"/>
                    </a:lnTo>
                    <a:lnTo>
                      <a:pt x="1399" y="1669"/>
                    </a:lnTo>
                    <a:lnTo>
                      <a:pt x="1399" y="1670"/>
                    </a:lnTo>
                    <a:lnTo>
                      <a:pt x="1397" y="1670"/>
                    </a:lnTo>
                    <a:lnTo>
                      <a:pt x="1399" y="1672"/>
                    </a:lnTo>
                    <a:lnTo>
                      <a:pt x="1397" y="1674"/>
                    </a:lnTo>
                    <a:lnTo>
                      <a:pt x="1397" y="1675"/>
                    </a:lnTo>
                    <a:lnTo>
                      <a:pt x="1395" y="1674"/>
                    </a:lnTo>
                    <a:lnTo>
                      <a:pt x="1395" y="1672"/>
                    </a:lnTo>
                    <a:lnTo>
                      <a:pt x="1394" y="1672"/>
                    </a:lnTo>
                    <a:lnTo>
                      <a:pt x="1395" y="1670"/>
                    </a:lnTo>
                    <a:lnTo>
                      <a:pt x="1394" y="1670"/>
                    </a:lnTo>
                    <a:lnTo>
                      <a:pt x="1394" y="1669"/>
                    </a:lnTo>
                    <a:lnTo>
                      <a:pt x="1394" y="1667"/>
                    </a:lnTo>
                    <a:lnTo>
                      <a:pt x="1394" y="1669"/>
                    </a:lnTo>
                    <a:lnTo>
                      <a:pt x="1392" y="1669"/>
                    </a:lnTo>
                    <a:lnTo>
                      <a:pt x="1392" y="1670"/>
                    </a:lnTo>
                    <a:lnTo>
                      <a:pt x="1392" y="1669"/>
                    </a:lnTo>
                    <a:lnTo>
                      <a:pt x="1390" y="1670"/>
                    </a:lnTo>
                    <a:lnTo>
                      <a:pt x="1389" y="1669"/>
                    </a:lnTo>
                    <a:lnTo>
                      <a:pt x="1390" y="1667"/>
                    </a:lnTo>
                    <a:lnTo>
                      <a:pt x="1390" y="1665"/>
                    </a:lnTo>
                    <a:lnTo>
                      <a:pt x="1392" y="1665"/>
                    </a:lnTo>
                    <a:lnTo>
                      <a:pt x="1392" y="1663"/>
                    </a:lnTo>
                    <a:lnTo>
                      <a:pt x="1390" y="1663"/>
                    </a:lnTo>
                    <a:lnTo>
                      <a:pt x="1389" y="1663"/>
                    </a:lnTo>
                    <a:lnTo>
                      <a:pt x="1389" y="1662"/>
                    </a:lnTo>
                    <a:lnTo>
                      <a:pt x="1389" y="1660"/>
                    </a:lnTo>
                    <a:lnTo>
                      <a:pt x="1387" y="1662"/>
                    </a:lnTo>
                    <a:lnTo>
                      <a:pt x="1389" y="1660"/>
                    </a:lnTo>
                    <a:lnTo>
                      <a:pt x="1387" y="1660"/>
                    </a:lnTo>
                    <a:lnTo>
                      <a:pt x="1387" y="1662"/>
                    </a:lnTo>
                    <a:lnTo>
                      <a:pt x="1385" y="1662"/>
                    </a:lnTo>
                    <a:lnTo>
                      <a:pt x="1383" y="1660"/>
                    </a:lnTo>
                    <a:lnTo>
                      <a:pt x="1383" y="1662"/>
                    </a:lnTo>
                    <a:lnTo>
                      <a:pt x="1382" y="1660"/>
                    </a:lnTo>
                    <a:lnTo>
                      <a:pt x="1380" y="1660"/>
                    </a:lnTo>
                    <a:lnTo>
                      <a:pt x="1382" y="1658"/>
                    </a:lnTo>
                    <a:lnTo>
                      <a:pt x="1382" y="1657"/>
                    </a:lnTo>
                    <a:lnTo>
                      <a:pt x="1380" y="1657"/>
                    </a:lnTo>
                    <a:lnTo>
                      <a:pt x="1380" y="1658"/>
                    </a:lnTo>
                    <a:lnTo>
                      <a:pt x="1380" y="1657"/>
                    </a:lnTo>
                    <a:lnTo>
                      <a:pt x="1378" y="1657"/>
                    </a:lnTo>
                    <a:lnTo>
                      <a:pt x="1380" y="1658"/>
                    </a:lnTo>
                    <a:lnTo>
                      <a:pt x="1378" y="1658"/>
                    </a:lnTo>
                    <a:lnTo>
                      <a:pt x="1380" y="1660"/>
                    </a:lnTo>
                    <a:lnTo>
                      <a:pt x="1378" y="1658"/>
                    </a:lnTo>
                    <a:lnTo>
                      <a:pt x="1378" y="1660"/>
                    </a:lnTo>
                    <a:lnTo>
                      <a:pt x="1377" y="1660"/>
                    </a:lnTo>
                    <a:lnTo>
                      <a:pt x="1375" y="1660"/>
                    </a:lnTo>
                    <a:lnTo>
                      <a:pt x="1375" y="1658"/>
                    </a:lnTo>
                    <a:lnTo>
                      <a:pt x="1373" y="1658"/>
                    </a:lnTo>
                    <a:lnTo>
                      <a:pt x="1373" y="1660"/>
                    </a:lnTo>
                    <a:lnTo>
                      <a:pt x="1372" y="1660"/>
                    </a:lnTo>
                    <a:lnTo>
                      <a:pt x="1373" y="1660"/>
                    </a:lnTo>
                    <a:lnTo>
                      <a:pt x="1375" y="1662"/>
                    </a:lnTo>
                    <a:lnTo>
                      <a:pt x="1373" y="1662"/>
                    </a:lnTo>
                    <a:lnTo>
                      <a:pt x="1373" y="1663"/>
                    </a:lnTo>
                    <a:lnTo>
                      <a:pt x="1372" y="1662"/>
                    </a:lnTo>
                    <a:lnTo>
                      <a:pt x="1370" y="1662"/>
                    </a:lnTo>
                    <a:lnTo>
                      <a:pt x="1370" y="1660"/>
                    </a:lnTo>
                    <a:lnTo>
                      <a:pt x="1368" y="1660"/>
                    </a:lnTo>
                    <a:lnTo>
                      <a:pt x="1368" y="1658"/>
                    </a:lnTo>
                    <a:lnTo>
                      <a:pt x="1366" y="1658"/>
                    </a:lnTo>
                    <a:lnTo>
                      <a:pt x="1368" y="1658"/>
                    </a:lnTo>
                    <a:lnTo>
                      <a:pt x="1368" y="1657"/>
                    </a:lnTo>
                    <a:lnTo>
                      <a:pt x="1370" y="1655"/>
                    </a:lnTo>
                    <a:lnTo>
                      <a:pt x="1372" y="1655"/>
                    </a:lnTo>
                    <a:lnTo>
                      <a:pt x="1373" y="1655"/>
                    </a:lnTo>
                    <a:lnTo>
                      <a:pt x="1373" y="1657"/>
                    </a:lnTo>
                    <a:lnTo>
                      <a:pt x="1373" y="1655"/>
                    </a:lnTo>
                    <a:lnTo>
                      <a:pt x="1372" y="1655"/>
                    </a:lnTo>
                    <a:lnTo>
                      <a:pt x="1370" y="1655"/>
                    </a:lnTo>
                    <a:lnTo>
                      <a:pt x="1368" y="1657"/>
                    </a:lnTo>
                    <a:lnTo>
                      <a:pt x="1366" y="1657"/>
                    </a:lnTo>
                    <a:lnTo>
                      <a:pt x="1368" y="1655"/>
                    </a:lnTo>
                    <a:lnTo>
                      <a:pt x="1368" y="1653"/>
                    </a:lnTo>
                    <a:lnTo>
                      <a:pt x="1370" y="1653"/>
                    </a:lnTo>
                    <a:lnTo>
                      <a:pt x="1368" y="1653"/>
                    </a:lnTo>
                    <a:lnTo>
                      <a:pt x="1370" y="1653"/>
                    </a:lnTo>
                    <a:lnTo>
                      <a:pt x="1370" y="1652"/>
                    </a:lnTo>
                    <a:lnTo>
                      <a:pt x="1370" y="1650"/>
                    </a:lnTo>
                    <a:lnTo>
                      <a:pt x="1370" y="1648"/>
                    </a:lnTo>
                    <a:lnTo>
                      <a:pt x="1372" y="1648"/>
                    </a:lnTo>
                    <a:lnTo>
                      <a:pt x="1372" y="1646"/>
                    </a:lnTo>
                    <a:lnTo>
                      <a:pt x="1370" y="1646"/>
                    </a:lnTo>
                    <a:lnTo>
                      <a:pt x="1372" y="1645"/>
                    </a:lnTo>
                    <a:lnTo>
                      <a:pt x="1373" y="1643"/>
                    </a:lnTo>
                    <a:lnTo>
                      <a:pt x="1372" y="1643"/>
                    </a:lnTo>
                    <a:lnTo>
                      <a:pt x="1372" y="1645"/>
                    </a:lnTo>
                    <a:lnTo>
                      <a:pt x="1370" y="1645"/>
                    </a:lnTo>
                    <a:lnTo>
                      <a:pt x="1370" y="1646"/>
                    </a:lnTo>
                    <a:lnTo>
                      <a:pt x="1370" y="1645"/>
                    </a:lnTo>
                    <a:lnTo>
                      <a:pt x="1368" y="1646"/>
                    </a:lnTo>
                    <a:lnTo>
                      <a:pt x="1368" y="1645"/>
                    </a:lnTo>
                    <a:lnTo>
                      <a:pt x="1368" y="1646"/>
                    </a:lnTo>
                    <a:lnTo>
                      <a:pt x="1366" y="1646"/>
                    </a:lnTo>
                    <a:lnTo>
                      <a:pt x="1368" y="1646"/>
                    </a:lnTo>
                    <a:lnTo>
                      <a:pt x="1366" y="1648"/>
                    </a:lnTo>
                    <a:lnTo>
                      <a:pt x="1366" y="1650"/>
                    </a:lnTo>
                    <a:lnTo>
                      <a:pt x="1366" y="1648"/>
                    </a:lnTo>
                    <a:lnTo>
                      <a:pt x="1365" y="1650"/>
                    </a:lnTo>
                    <a:lnTo>
                      <a:pt x="1365" y="1648"/>
                    </a:lnTo>
                    <a:lnTo>
                      <a:pt x="1363" y="1648"/>
                    </a:lnTo>
                    <a:lnTo>
                      <a:pt x="1363" y="1646"/>
                    </a:lnTo>
                    <a:lnTo>
                      <a:pt x="1361" y="1645"/>
                    </a:lnTo>
                    <a:lnTo>
                      <a:pt x="1361" y="1643"/>
                    </a:lnTo>
                    <a:lnTo>
                      <a:pt x="1361" y="1645"/>
                    </a:lnTo>
                    <a:lnTo>
                      <a:pt x="1361" y="1646"/>
                    </a:lnTo>
                    <a:lnTo>
                      <a:pt x="1363" y="1648"/>
                    </a:lnTo>
                    <a:lnTo>
                      <a:pt x="1361" y="1648"/>
                    </a:lnTo>
                    <a:lnTo>
                      <a:pt x="1360" y="1646"/>
                    </a:lnTo>
                    <a:lnTo>
                      <a:pt x="1360" y="1648"/>
                    </a:lnTo>
                    <a:lnTo>
                      <a:pt x="1360" y="1646"/>
                    </a:lnTo>
                    <a:lnTo>
                      <a:pt x="1358" y="1646"/>
                    </a:lnTo>
                    <a:lnTo>
                      <a:pt x="1360" y="1646"/>
                    </a:lnTo>
                    <a:lnTo>
                      <a:pt x="1358" y="1646"/>
                    </a:lnTo>
                    <a:lnTo>
                      <a:pt x="1358" y="1645"/>
                    </a:lnTo>
                    <a:lnTo>
                      <a:pt x="1358" y="1643"/>
                    </a:lnTo>
                    <a:lnTo>
                      <a:pt x="1356" y="1645"/>
                    </a:lnTo>
                    <a:lnTo>
                      <a:pt x="1356" y="1646"/>
                    </a:lnTo>
                    <a:lnTo>
                      <a:pt x="1358" y="1646"/>
                    </a:lnTo>
                    <a:lnTo>
                      <a:pt x="1358" y="1648"/>
                    </a:lnTo>
                    <a:lnTo>
                      <a:pt x="1356" y="1648"/>
                    </a:lnTo>
                    <a:lnTo>
                      <a:pt x="1356" y="1646"/>
                    </a:lnTo>
                    <a:lnTo>
                      <a:pt x="1356" y="1648"/>
                    </a:lnTo>
                    <a:lnTo>
                      <a:pt x="1355" y="1646"/>
                    </a:lnTo>
                    <a:lnTo>
                      <a:pt x="1355" y="1648"/>
                    </a:lnTo>
                    <a:lnTo>
                      <a:pt x="1356" y="1648"/>
                    </a:lnTo>
                    <a:lnTo>
                      <a:pt x="1358" y="1648"/>
                    </a:lnTo>
                    <a:lnTo>
                      <a:pt x="1358" y="1650"/>
                    </a:lnTo>
                    <a:lnTo>
                      <a:pt x="1356" y="1650"/>
                    </a:lnTo>
                    <a:lnTo>
                      <a:pt x="1356" y="1652"/>
                    </a:lnTo>
                    <a:lnTo>
                      <a:pt x="1355" y="1650"/>
                    </a:lnTo>
                    <a:lnTo>
                      <a:pt x="1353" y="1650"/>
                    </a:lnTo>
                    <a:lnTo>
                      <a:pt x="1355" y="1650"/>
                    </a:lnTo>
                    <a:lnTo>
                      <a:pt x="1353" y="1650"/>
                    </a:lnTo>
                    <a:lnTo>
                      <a:pt x="1351" y="1650"/>
                    </a:lnTo>
                    <a:lnTo>
                      <a:pt x="1353" y="1650"/>
                    </a:lnTo>
                    <a:lnTo>
                      <a:pt x="1351" y="1648"/>
                    </a:lnTo>
                    <a:lnTo>
                      <a:pt x="1351" y="1650"/>
                    </a:lnTo>
                    <a:lnTo>
                      <a:pt x="1351" y="1652"/>
                    </a:lnTo>
                    <a:lnTo>
                      <a:pt x="1351" y="1650"/>
                    </a:lnTo>
                    <a:lnTo>
                      <a:pt x="1353" y="1650"/>
                    </a:lnTo>
                    <a:lnTo>
                      <a:pt x="1355" y="1652"/>
                    </a:lnTo>
                    <a:lnTo>
                      <a:pt x="1356" y="1652"/>
                    </a:lnTo>
                    <a:lnTo>
                      <a:pt x="1355" y="1652"/>
                    </a:lnTo>
                    <a:lnTo>
                      <a:pt x="1355" y="1653"/>
                    </a:lnTo>
                    <a:lnTo>
                      <a:pt x="1356" y="1653"/>
                    </a:lnTo>
                    <a:lnTo>
                      <a:pt x="1356" y="1655"/>
                    </a:lnTo>
                    <a:lnTo>
                      <a:pt x="1356" y="1657"/>
                    </a:lnTo>
                    <a:lnTo>
                      <a:pt x="1358" y="1655"/>
                    </a:lnTo>
                    <a:lnTo>
                      <a:pt x="1358" y="1657"/>
                    </a:lnTo>
                    <a:lnTo>
                      <a:pt x="1360" y="1658"/>
                    </a:lnTo>
                    <a:lnTo>
                      <a:pt x="1358" y="1658"/>
                    </a:lnTo>
                    <a:lnTo>
                      <a:pt x="1356" y="1658"/>
                    </a:lnTo>
                    <a:lnTo>
                      <a:pt x="1356" y="1660"/>
                    </a:lnTo>
                    <a:lnTo>
                      <a:pt x="1358" y="1658"/>
                    </a:lnTo>
                    <a:lnTo>
                      <a:pt x="1358" y="1660"/>
                    </a:lnTo>
                    <a:lnTo>
                      <a:pt x="1356" y="1660"/>
                    </a:lnTo>
                    <a:lnTo>
                      <a:pt x="1358" y="1660"/>
                    </a:lnTo>
                    <a:lnTo>
                      <a:pt x="1360" y="1660"/>
                    </a:lnTo>
                    <a:lnTo>
                      <a:pt x="1358" y="1662"/>
                    </a:lnTo>
                    <a:lnTo>
                      <a:pt x="1360" y="1660"/>
                    </a:lnTo>
                    <a:lnTo>
                      <a:pt x="1360" y="1662"/>
                    </a:lnTo>
                    <a:lnTo>
                      <a:pt x="1360" y="1660"/>
                    </a:lnTo>
                    <a:lnTo>
                      <a:pt x="1361" y="1660"/>
                    </a:lnTo>
                    <a:lnTo>
                      <a:pt x="1363" y="1660"/>
                    </a:lnTo>
                    <a:lnTo>
                      <a:pt x="1363" y="1662"/>
                    </a:lnTo>
                    <a:lnTo>
                      <a:pt x="1361" y="1660"/>
                    </a:lnTo>
                    <a:lnTo>
                      <a:pt x="1360" y="1660"/>
                    </a:lnTo>
                    <a:lnTo>
                      <a:pt x="1361" y="1662"/>
                    </a:lnTo>
                    <a:lnTo>
                      <a:pt x="1360" y="1662"/>
                    </a:lnTo>
                    <a:lnTo>
                      <a:pt x="1361" y="1662"/>
                    </a:lnTo>
                    <a:lnTo>
                      <a:pt x="1363" y="1662"/>
                    </a:lnTo>
                    <a:lnTo>
                      <a:pt x="1361" y="1663"/>
                    </a:lnTo>
                    <a:lnTo>
                      <a:pt x="1360" y="1663"/>
                    </a:lnTo>
                    <a:lnTo>
                      <a:pt x="1360" y="1662"/>
                    </a:lnTo>
                    <a:lnTo>
                      <a:pt x="1360" y="1663"/>
                    </a:lnTo>
                    <a:lnTo>
                      <a:pt x="1360" y="1662"/>
                    </a:lnTo>
                    <a:lnTo>
                      <a:pt x="1358" y="1662"/>
                    </a:lnTo>
                    <a:lnTo>
                      <a:pt x="1358" y="1663"/>
                    </a:lnTo>
                    <a:lnTo>
                      <a:pt x="1356" y="1663"/>
                    </a:lnTo>
                    <a:lnTo>
                      <a:pt x="1355" y="1663"/>
                    </a:lnTo>
                    <a:lnTo>
                      <a:pt x="1355" y="1662"/>
                    </a:lnTo>
                    <a:lnTo>
                      <a:pt x="1355" y="1660"/>
                    </a:lnTo>
                    <a:lnTo>
                      <a:pt x="1355" y="1658"/>
                    </a:lnTo>
                    <a:lnTo>
                      <a:pt x="1355" y="1660"/>
                    </a:lnTo>
                    <a:lnTo>
                      <a:pt x="1353" y="1660"/>
                    </a:lnTo>
                    <a:lnTo>
                      <a:pt x="1355" y="1660"/>
                    </a:lnTo>
                    <a:lnTo>
                      <a:pt x="1355" y="1662"/>
                    </a:lnTo>
                    <a:lnTo>
                      <a:pt x="1353" y="1662"/>
                    </a:lnTo>
                    <a:lnTo>
                      <a:pt x="1355" y="1662"/>
                    </a:lnTo>
                    <a:lnTo>
                      <a:pt x="1353" y="1662"/>
                    </a:lnTo>
                    <a:lnTo>
                      <a:pt x="1353" y="1663"/>
                    </a:lnTo>
                    <a:lnTo>
                      <a:pt x="1353" y="1665"/>
                    </a:lnTo>
                    <a:lnTo>
                      <a:pt x="1351" y="1663"/>
                    </a:lnTo>
                    <a:lnTo>
                      <a:pt x="1353" y="1662"/>
                    </a:lnTo>
                    <a:lnTo>
                      <a:pt x="1351" y="1660"/>
                    </a:lnTo>
                    <a:lnTo>
                      <a:pt x="1351" y="1658"/>
                    </a:lnTo>
                    <a:lnTo>
                      <a:pt x="1349" y="1658"/>
                    </a:lnTo>
                    <a:lnTo>
                      <a:pt x="1349" y="1657"/>
                    </a:lnTo>
                    <a:lnTo>
                      <a:pt x="1351" y="1657"/>
                    </a:lnTo>
                    <a:lnTo>
                      <a:pt x="1353" y="1657"/>
                    </a:lnTo>
                    <a:lnTo>
                      <a:pt x="1351" y="1657"/>
                    </a:lnTo>
                    <a:lnTo>
                      <a:pt x="1349" y="1657"/>
                    </a:lnTo>
                    <a:lnTo>
                      <a:pt x="1349" y="1655"/>
                    </a:lnTo>
                    <a:lnTo>
                      <a:pt x="1351" y="1655"/>
                    </a:lnTo>
                    <a:lnTo>
                      <a:pt x="1349" y="1655"/>
                    </a:lnTo>
                    <a:lnTo>
                      <a:pt x="1348" y="1657"/>
                    </a:lnTo>
                    <a:lnTo>
                      <a:pt x="1346" y="1657"/>
                    </a:lnTo>
                    <a:lnTo>
                      <a:pt x="1344" y="1657"/>
                    </a:lnTo>
                    <a:lnTo>
                      <a:pt x="1344" y="1655"/>
                    </a:lnTo>
                    <a:lnTo>
                      <a:pt x="1346" y="1655"/>
                    </a:lnTo>
                    <a:lnTo>
                      <a:pt x="1348" y="1653"/>
                    </a:lnTo>
                    <a:lnTo>
                      <a:pt x="1346" y="1655"/>
                    </a:lnTo>
                    <a:lnTo>
                      <a:pt x="1346" y="1653"/>
                    </a:lnTo>
                    <a:lnTo>
                      <a:pt x="1344" y="1653"/>
                    </a:lnTo>
                    <a:lnTo>
                      <a:pt x="1344" y="1655"/>
                    </a:lnTo>
                    <a:lnTo>
                      <a:pt x="1343" y="1655"/>
                    </a:lnTo>
                    <a:lnTo>
                      <a:pt x="1343" y="1653"/>
                    </a:lnTo>
                    <a:lnTo>
                      <a:pt x="1344" y="1653"/>
                    </a:lnTo>
                    <a:lnTo>
                      <a:pt x="1344" y="1652"/>
                    </a:lnTo>
                    <a:lnTo>
                      <a:pt x="1343" y="1653"/>
                    </a:lnTo>
                    <a:lnTo>
                      <a:pt x="1341" y="1653"/>
                    </a:lnTo>
                    <a:lnTo>
                      <a:pt x="1339" y="1653"/>
                    </a:lnTo>
                    <a:lnTo>
                      <a:pt x="1338" y="1653"/>
                    </a:lnTo>
                    <a:lnTo>
                      <a:pt x="1339" y="1653"/>
                    </a:lnTo>
                    <a:lnTo>
                      <a:pt x="1339" y="1652"/>
                    </a:lnTo>
                    <a:lnTo>
                      <a:pt x="1341" y="1652"/>
                    </a:lnTo>
                    <a:lnTo>
                      <a:pt x="1339" y="1650"/>
                    </a:lnTo>
                    <a:lnTo>
                      <a:pt x="1341" y="1650"/>
                    </a:lnTo>
                    <a:lnTo>
                      <a:pt x="1343" y="1650"/>
                    </a:lnTo>
                    <a:lnTo>
                      <a:pt x="1344" y="1650"/>
                    </a:lnTo>
                    <a:lnTo>
                      <a:pt x="1346" y="1650"/>
                    </a:lnTo>
                    <a:lnTo>
                      <a:pt x="1348" y="1650"/>
                    </a:lnTo>
                    <a:lnTo>
                      <a:pt x="1346" y="1650"/>
                    </a:lnTo>
                    <a:lnTo>
                      <a:pt x="1344" y="1650"/>
                    </a:lnTo>
                    <a:lnTo>
                      <a:pt x="1343" y="1650"/>
                    </a:lnTo>
                    <a:lnTo>
                      <a:pt x="1344" y="1650"/>
                    </a:lnTo>
                    <a:lnTo>
                      <a:pt x="1344" y="1648"/>
                    </a:lnTo>
                    <a:lnTo>
                      <a:pt x="1343" y="1650"/>
                    </a:lnTo>
                    <a:lnTo>
                      <a:pt x="1343" y="1648"/>
                    </a:lnTo>
                    <a:lnTo>
                      <a:pt x="1344" y="1646"/>
                    </a:lnTo>
                    <a:lnTo>
                      <a:pt x="1346" y="1646"/>
                    </a:lnTo>
                    <a:lnTo>
                      <a:pt x="1348" y="1646"/>
                    </a:lnTo>
                    <a:lnTo>
                      <a:pt x="1348" y="1645"/>
                    </a:lnTo>
                    <a:lnTo>
                      <a:pt x="1349" y="1645"/>
                    </a:lnTo>
                    <a:lnTo>
                      <a:pt x="1349" y="1643"/>
                    </a:lnTo>
                    <a:lnTo>
                      <a:pt x="1348" y="1645"/>
                    </a:lnTo>
                    <a:lnTo>
                      <a:pt x="1346" y="1645"/>
                    </a:lnTo>
                    <a:lnTo>
                      <a:pt x="1344" y="1646"/>
                    </a:lnTo>
                    <a:lnTo>
                      <a:pt x="1343" y="1646"/>
                    </a:lnTo>
                    <a:lnTo>
                      <a:pt x="1343" y="1648"/>
                    </a:lnTo>
                    <a:lnTo>
                      <a:pt x="1341" y="1648"/>
                    </a:lnTo>
                    <a:lnTo>
                      <a:pt x="1339" y="1648"/>
                    </a:lnTo>
                    <a:lnTo>
                      <a:pt x="1339" y="1650"/>
                    </a:lnTo>
                    <a:lnTo>
                      <a:pt x="1338" y="1650"/>
                    </a:lnTo>
                    <a:lnTo>
                      <a:pt x="1336" y="1650"/>
                    </a:lnTo>
                    <a:lnTo>
                      <a:pt x="1334" y="1650"/>
                    </a:lnTo>
                    <a:lnTo>
                      <a:pt x="1336" y="1648"/>
                    </a:lnTo>
                    <a:lnTo>
                      <a:pt x="1334" y="1648"/>
                    </a:lnTo>
                    <a:lnTo>
                      <a:pt x="1332" y="1648"/>
                    </a:lnTo>
                    <a:lnTo>
                      <a:pt x="1332" y="1646"/>
                    </a:lnTo>
                    <a:lnTo>
                      <a:pt x="1334" y="1648"/>
                    </a:lnTo>
                    <a:lnTo>
                      <a:pt x="1336" y="1646"/>
                    </a:lnTo>
                    <a:lnTo>
                      <a:pt x="1334" y="1645"/>
                    </a:lnTo>
                    <a:lnTo>
                      <a:pt x="1332" y="1645"/>
                    </a:lnTo>
                    <a:lnTo>
                      <a:pt x="1331" y="1645"/>
                    </a:lnTo>
                    <a:lnTo>
                      <a:pt x="1332" y="1645"/>
                    </a:lnTo>
                    <a:lnTo>
                      <a:pt x="1334" y="1645"/>
                    </a:lnTo>
                    <a:lnTo>
                      <a:pt x="1336" y="1645"/>
                    </a:lnTo>
                    <a:lnTo>
                      <a:pt x="1338" y="1645"/>
                    </a:lnTo>
                    <a:lnTo>
                      <a:pt x="1336" y="1643"/>
                    </a:lnTo>
                    <a:lnTo>
                      <a:pt x="1336" y="1645"/>
                    </a:lnTo>
                    <a:lnTo>
                      <a:pt x="1334" y="1645"/>
                    </a:lnTo>
                    <a:lnTo>
                      <a:pt x="1332" y="1643"/>
                    </a:lnTo>
                    <a:lnTo>
                      <a:pt x="1334" y="1643"/>
                    </a:lnTo>
                    <a:lnTo>
                      <a:pt x="1332" y="1643"/>
                    </a:lnTo>
                    <a:lnTo>
                      <a:pt x="1331" y="1643"/>
                    </a:lnTo>
                    <a:lnTo>
                      <a:pt x="1331" y="1641"/>
                    </a:lnTo>
                    <a:lnTo>
                      <a:pt x="1331" y="1640"/>
                    </a:lnTo>
                    <a:lnTo>
                      <a:pt x="1332" y="1640"/>
                    </a:lnTo>
                    <a:lnTo>
                      <a:pt x="1332" y="1641"/>
                    </a:lnTo>
                    <a:lnTo>
                      <a:pt x="1334" y="1641"/>
                    </a:lnTo>
                    <a:lnTo>
                      <a:pt x="1332" y="1641"/>
                    </a:lnTo>
                    <a:lnTo>
                      <a:pt x="1332" y="1640"/>
                    </a:lnTo>
                    <a:lnTo>
                      <a:pt x="1334" y="1640"/>
                    </a:lnTo>
                    <a:lnTo>
                      <a:pt x="1334" y="1638"/>
                    </a:lnTo>
                    <a:lnTo>
                      <a:pt x="1336" y="1638"/>
                    </a:lnTo>
                    <a:lnTo>
                      <a:pt x="1338" y="1638"/>
                    </a:lnTo>
                    <a:lnTo>
                      <a:pt x="1339" y="1638"/>
                    </a:lnTo>
                    <a:lnTo>
                      <a:pt x="1339" y="1636"/>
                    </a:lnTo>
                    <a:lnTo>
                      <a:pt x="1341" y="1636"/>
                    </a:lnTo>
                    <a:lnTo>
                      <a:pt x="1343" y="1636"/>
                    </a:lnTo>
                    <a:lnTo>
                      <a:pt x="1343" y="1638"/>
                    </a:lnTo>
                    <a:lnTo>
                      <a:pt x="1343" y="1636"/>
                    </a:lnTo>
                    <a:lnTo>
                      <a:pt x="1344" y="1636"/>
                    </a:lnTo>
                    <a:lnTo>
                      <a:pt x="1346" y="1636"/>
                    </a:lnTo>
                    <a:lnTo>
                      <a:pt x="1346" y="1638"/>
                    </a:lnTo>
                    <a:lnTo>
                      <a:pt x="1346" y="1640"/>
                    </a:lnTo>
                    <a:lnTo>
                      <a:pt x="1348" y="1640"/>
                    </a:lnTo>
                    <a:lnTo>
                      <a:pt x="1346" y="1640"/>
                    </a:lnTo>
                    <a:lnTo>
                      <a:pt x="1348" y="1641"/>
                    </a:lnTo>
                    <a:lnTo>
                      <a:pt x="1348" y="1643"/>
                    </a:lnTo>
                    <a:lnTo>
                      <a:pt x="1346" y="1643"/>
                    </a:lnTo>
                    <a:lnTo>
                      <a:pt x="1348" y="1641"/>
                    </a:lnTo>
                    <a:lnTo>
                      <a:pt x="1348" y="1640"/>
                    </a:lnTo>
                    <a:lnTo>
                      <a:pt x="1348" y="1638"/>
                    </a:lnTo>
                    <a:lnTo>
                      <a:pt x="1346" y="1638"/>
                    </a:lnTo>
                    <a:lnTo>
                      <a:pt x="1348" y="1638"/>
                    </a:lnTo>
                    <a:lnTo>
                      <a:pt x="1346" y="1636"/>
                    </a:lnTo>
                    <a:lnTo>
                      <a:pt x="1346" y="1635"/>
                    </a:lnTo>
                    <a:lnTo>
                      <a:pt x="1348" y="1635"/>
                    </a:lnTo>
                    <a:lnTo>
                      <a:pt x="1349" y="1635"/>
                    </a:lnTo>
                    <a:lnTo>
                      <a:pt x="1351" y="1635"/>
                    </a:lnTo>
                    <a:lnTo>
                      <a:pt x="1351" y="1636"/>
                    </a:lnTo>
                    <a:lnTo>
                      <a:pt x="1349" y="1636"/>
                    </a:lnTo>
                    <a:lnTo>
                      <a:pt x="1351" y="1636"/>
                    </a:lnTo>
                    <a:lnTo>
                      <a:pt x="1353" y="1636"/>
                    </a:lnTo>
                    <a:lnTo>
                      <a:pt x="1355" y="1636"/>
                    </a:lnTo>
                    <a:lnTo>
                      <a:pt x="1353" y="1636"/>
                    </a:lnTo>
                    <a:lnTo>
                      <a:pt x="1353" y="1635"/>
                    </a:lnTo>
                    <a:lnTo>
                      <a:pt x="1353" y="1633"/>
                    </a:lnTo>
                    <a:lnTo>
                      <a:pt x="1355" y="1633"/>
                    </a:lnTo>
                    <a:lnTo>
                      <a:pt x="1356" y="1633"/>
                    </a:lnTo>
                    <a:lnTo>
                      <a:pt x="1358" y="1633"/>
                    </a:lnTo>
                    <a:lnTo>
                      <a:pt x="1358" y="1635"/>
                    </a:lnTo>
                    <a:lnTo>
                      <a:pt x="1360" y="1635"/>
                    </a:lnTo>
                    <a:lnTo>
                      <a:pt x="1358" y="1635"/>
                    </a:lnTo>
                    <a:lnTo>
                      <a:pt x="1358" y="1633"/>
                    </a:lnTo>
                    <a:lnTo>
                      <a:pt x="1360" y="1633"/>
                    </a:lnTo>
                    <a:lnTo>
                      <a:pt x="1361" y="1631"/>
                    </a:lnTo>
                    <a:lnTo>
                      <a:pt x="1361" y="1633"/>
                    </a:lnTo>
                    <a:lnTo>
                      <a:pt x="1363" y="1631"/>
                    </a:lnTo>
                    <a:lnTo>
                      <a:pt x="1363" y="1633"/>
                    </a:lnTo>
                    <a:lnTo>
                      <a:pt x="1365" y="1633"/>
                    </a:lnTo>
                    <a:lnTo>
                      <a:pt x="1365" y="1631"/>
                    </a:lnTo>
                    <a:lnTo>
                      <a:pt x="1366" y="1631"/>
                    </a:lnTo>
                    <a:lnTo>
                      <a:pt x="1368" y="1631"/>
                    </a:lnTo>
                    <a:lnTo>
                      <a:pt x="1370" y="1631"/>
                    </a:lnTo>
                    <a:lnTo>
                      <a:pt x="1372" y="1631"/>
                    </a:lnTo>
                    <a:lnTo>
                      <a:pt x="1373" y="1631"/>
                    </a:lnTo>
                    <a:lnTo>
                      <a:pt x="1373" y="1629"/>
                    </a:lnTo>
                    <a:lnTo>
                      <a:pt x="1375" y="1629"/>
                    </a:lnTo>
                    <a:lnTo>
                      <a:pt x="1377" y="1629"/>
                    </a:lnTo>
                    <a:lnTo>
                      <a:pt x="1378" y="1629"/>
                    </a:lnTo>
                    <a:lnTo>
                      <a:pt x="1380" y="1628"/>
                    </a:lnTo>
                    <a:lnTo>
                      <a:pt x="1382" y="1628"/>
                    </a:lnTo>
                    <a:close/>
                    <a:moveTo>
                      <a:pt x="1229" y="1539"/>
                    </a:moveTo>
                    <a:lnTo>
                      <a:pt x="1230" y="1539"/>
                    </a:lnTo>
                    <a:lnTo>
                      <a:pt x="1229" y="1541"/>
                    </a:lnTo>
                    <a:lnTo>
                      <a:pt x="1229" y="1543"/>
                    </a:lnTo>
                    <a:lnTo>
                      <a:pt x="1229" y="1541"/>
                    </a:lnTo>
                    <a:lnTo>
                      <a:pt x="1230" y="1541"/>
                    </a:lnTo>
                    <a:lnTo>
                      <a:pt x="1230" y="1543"/>
                    </a:lnTo>
                    <a:lnTo>
                      <a:pt x="1229" y="1544"/>
                    </a:lnTo>
                    <a:lnTo>
                      <a:pt x="1230" y="1544"/>
                    </a:lnTo>
                    <a:lnTo>
                      <a:pt x="1230" y="1546"/>
                    </a:lnTo>
                    <a:lnTo>
                      <a:pt x="1230" y="1544"/>
                    </a:lnTo>
                    <a:lnTo>
                      <a:pt x="1230" y="1543"/>
                    </a:lnTo>
                    <a:lnTo>
                      <a:pt x="1230" y="1541"/>
                    </a:lnTo>
                    <a:lnTo>
                      <a:pt x="1230" y="1539"/>
                    </a:lnTo>
                    <a:lnTo>
                      <a:pt x="1230" y="1541"/>
                    </a:lnTo>
                    <a:lnTo>
                      <a:pt x="1232" y="1541"/>
                    </a:lnTo>
                    <a:lnTo>
                      <a:pt x="1232" y="1543"/>
                    </a:lnTo>
                    <a:lnTo>
                      <a:pt x="1232" y="1541"/>
                    </a:lnTo>
                    <a:lnTo>
                      <a:pt x="1234" y="1543"/>
                    </a:lnTo>
                    <a:lnTo>
                      <a:pt x="1232" y="1543"/>
                    </a:lnTo>
                    <a:lnTo>
                      <a:pt x="1234" y="1543"/>
                    </a:lnTo>
                    <a:lnTo>
                      <a:pt x="1234" y="1544"/>
                    </a:lnTo>
                    <a:lnTo>
                      <a:pt x="1232" y="1544"/>
                    </a:lnTo>
                    <a:lnTo>
                      <a:pt x="1232" y="1546"/>
                    </a:lnTo>
                    <a:lnTo>
                      <a:pt x="1232" y="1548"/>
                    </a:lnTo>
                    <a:lnTo>
                      <a:pt x="1234" y="1546"/>
                    </a:lnTo>
                    <a:lnTo>
                      <a:pt x="1232" y="1546"/>
                    </a:lnTo>
                    <a:lnTo>
                      <a:pt x="1234" y="1544"/>
                    </a:lnTo>
                    <a:lnTo>
                      <a:pt x="1234" y="1546"/>
                    </a:lnTo>
                    <a:lnTo>
                      <a:pt x="1236" y="1546"/>
                    </a:lnTo>
                    <a:lnTo>
                      <a:pt x="1234" y="1548"/>
                    </a:lnTo>
                    <a:lnTo>
                      <a:pt x="1232" y="1548"/>
                    </a:lnTo>
                    <a:lnTo>
                      <a:pt x="1234" y="1548"/>
                    </a:lnTo>
                    <a:lnTo>
                      <a:pt x="1236" y="1548"/>
                    </a:lnTo>
                    <a:lnTo>
                      <a:pt x="1234" y="1548"/>
                    </a:lnTo>
                    <a:lnTo>
                      <a:pt x="1234" y="1549"/>
                    </a:lnTo>
                    <a:lnTo>
                      <a:pt x="1236" y="1549"/>
                    </a:lnTo>
                    <a:lnTo>
                      <a:pt x="1234" y="1551"/>
                    </a:lnTo>
                    <a:lnTo>
                      <a:pt x="1234" y="1553"/>
                    </a:lnTo>
                    <a:lnTo>
                      <a:pt x="1234" y="1555"/>
                    </a:lnTo>
                    <a:lnTo>
                      <a:pt x="1236" y="1555"/>
                    </a:lnTo>
                    <a:lnTo>
                      <a:pt x="1236" y="1553"/>
                    </a:lnTo>
                    <a:lnTo>
                      <a:pt x="1234" y="1553"/>
                    </a:lnTo>
                    <a:lnTo>
                      <a:pt x="1236" y="1551"/>
                    </a:lnTo>
                    <a:lnTo>
                      <a:pt x="1236" y="1549"/>
                    </a:lnTo>
                    <a:lnTo>
                      <a:pt x="1237" y="1549"/>
                    </a:lnTo>
                    <a:lnTo>
                      <a:pt x="1236" y="1548"/>
                    </a:lnTo>
                    <a:lnTo>
                      <a:pt x="1236" y="1546"/>
                    </a:lnTo>
                    <a:lnTo>
                      <a:pt x="1236" y="1544"/>
                    </a:lnTo>
                    <a:lnTo>
                      <a:pt x="1234" y="1543"/>
                    </a:lnTo>
                    <a:lnTo>
                      <a:pt x="1236" y="1543"/>
                    </a:lnTo>
                    <a:lnTo>
                      <a:pt x="1237" y="1544"/>
                    </a:lnTo>
                    <a:lnTo>
                      <a:pt x="1237" y="1546"/>
                    </a:lnTo>
                    <a:lnTo>
                      <a:pt x="1239" y="1546"/>
                    </a:lnTo>
                    <a:lnTo>
                      <a:pt x="1239" y="1548"/>
                    </a:lnTo>
                    <a:lnTo>
                      <a:pt x="1239" y="1549"/>
                    </a:lnTo>
                    <a:lnTo>
                      <a:pt x="1241" y="1551"/>
                    </a:lnTo>
                    <a:lnTo>
                      <a:pt x="1239" y="1551"/>
                    </a:lnTo>
                    <a:lnTo>
                      <a:pt x="1239" y="1553"/>
                    </a:lnTo>
                    <a:lnTo>
                      <a:pt x="1241" y="1551"/>
                    </a:lnTo>
                    <a:lnTo>
                      <a:pt x="1241" y="1553"/>
                    </a:lnTo>
                    <a:lnTo>
                      <a:pt x="1241" y="1555"/>
                    </a:lnTo>
                    <a:lnTo>
                      <a:pt x="1242" y="1553"/>
                    </a:lnTo>
                    <a:lnTo>
                      <a:pt x="1242" y="1551"/>
                    </a:lnTo>
                    <a:lnTo>
                      <a:pt x="1242" y="1549"/>
                    </a:lnTo>
                    <a:lnTo>
                      <a:pt x="1241" y="1549"/>
                    </a:lnTo>
                    <a:lnTo>
                      <a:pt x="1241" y="1548"/>
                    </a:lnTo>
                    <a:lnTo>
                      <a:pt x="1242" y="1548"/>
                    </a:lnTo>
                    <a:lnTo>
                      <a:pt x="1242" y="1549"/>
                    </a:lnTo>
                    <a:lnTo>
                      <a:pt x="1242" y="1548"/>
                    </a:lnTo>
                    <a:lnTo>
                      <a:pt x="1244" y="1549"/>
                    </a:lnTo>
                    <a:lnTo>
                      <a:pt x="1246" y="1549"/>
                    </a:lnTo>
                    <a:lnTo>
                      <a:pt x="1247" y="1549"/>
                    </a:lnTo>
                    <a:lnTo>
                      <a:pt x="1247" y="1551"/>
                    </a:lnTo>
                    <a:lnTo>
                      <a:pt x="1249" y="1551"/>
                    </a:lnTo>
                    <a:lnTo>
                      <a:pt x="1247" y="1553"/>
                    </a:lnTo>
                    <a:lnTo>
                      <a:pt x="1249" y="1553"/>
                    </a:lnTo>
                    <a:lnTo>
                      <a:pt x="1249" y="1551"/>
                    </a:lnTo>
                    <a:lnTo>
                      <a:pt x="1249" y="1553"/>
                    </a:lnTo>
                    <a:lnTo>
                      <a:pt x="1251" y="1553"/>
                    </a:lnTo>
                    <a:lnTo>
                      <a:pt x="1249" y="1555"/>
                    </a:lnTo>
                    <a:lnTo>
                      <a:pt x="1247" y="1555"/>
                    </a:lnTo>
                    <a:lnTo>
                      <a:pt x="1246" y="1555"/>
                    </a:lnTo>
                    <a:lnTo>
                      <a:pt x="1244" y="1555"/>
                    </a:lnTo>
                    <a:lnTo>
                      <a:pt x="1242" y="1555"/>
                    </a:lnTo>
                    <a:lnTo>
                      <a:pt x="1242" y="1556"/>
                    </a:lnTo>
                    <a:lnTo>
                      <a:pt x="1242" y="1558"/>
                    </a:lnTo>
                    <a:lnTo>
                      <a:pt x="1244" y="1558"/>
                    </a:lnTo>
                    <a:lnTo>
                      <a:pt x="1242" y="1558"/>
                    </a:lnTo>
                    <a:lnTo>
                      <a:pt x="1244" y="1558"/>
                    </a:lnTo>
                    <a:lnTo>
                      <a:pt x="1246" y="1558"/>
                    </a:lnTo>
                    <a:lnTo>
                      <a:pt x="1244" y="1558"/>
                    </a:lnTo>
                    <a:lnTo>
                      <a:pt x="1242" y="1558"/>
                    </a:lnTo>
                    <a:lnTo>
                      <a:pt x="1244" y="1556"/>
                    </a:lnTo>
                    <a:lnTo>
                      <a:pt x="1246" y="1556"/>
                    </a:lnTo>
                    <a:lnTo>
                      <a:pt x="1247" y="1555"/>
                    </a:lnTo>
                    <a:lnTo>
                      <a:pt x="1247" y="1556"/>
                    </a:lnTo>
                    <a:lnTo>
                      <a:pt x="1249" y="1556"/>
                    </a:lnTo>
                    <a:lnTo>
                      <a:pt x="1247" y="1556"/>
                    </a:lnTo>
                    <a:lnTo>
                      <a:pt x="1249" y="1556"/>
                    </a:lnTo>
                    <a:lnTo>
                      <a:pt x="1249" y="1558"/>
                    </a:lnTo>
                    <a:lnTo>
                      <a:pt x="1247" y="1558"/>
                    </a:lnTo>
                    <a:lnTo>
                      <a:pt x="1249" y="1558"/>
                    </a:lnTo>
                    <a:lnTo>
                      <a:pt x="1247" y="1558"/>
                    </a:lnTo>
                    <a:lnTo>
                      <a:pt x="1247" y="1560"/>
                    </a:lnTo>
                    <a:lnTo>
                      <a:pt x="1249" y="1560"/>
                    </a:lnTo>
                    <a:lnTo>
                      <a:pt x="1249" y="1558"/>
                    </a:lnTo>
                    <a:lnTo>
                      <a:pt x="1249" y="1556"/>
                    </a:lnTo>
                    <a:lnTo>
                      <a:pt x="1251" y="1556"/>
                    </a:lnTo>
                    <a:lnTo>
                      <a:pt x="1253" y="1556"/>
                    </a:lnTo>
                    <a:lnTo>
                      <a:pt x="1251" y="1558"/>
                    </a:lnTo>
                    <a:lnTo>
                      <a:pt x="1253" y="1558"/>
                    </a:lnTo>
                    <a:lnTo>
                      <a:pt x="1253" y="1556"/>
                    </a:lnTo>
                    <a:lnTo>
                      <a:pt x="1254" y="1558"/>
                    </a:lnTo>
                    <a:lnTo>
                      <a:pt x="1256" y="1558"/>
                    </a:lnTo>
                    <a:lnTo>
                      <a:pt x="1254" y="1560"/>
                    </a:lnTo>
                    <a:lnTo>
                      <a:pt x="1253" y="1560"/>
                    </a:lnTo>
                    <a:lnTo>
                      <a:pt x="1254" y="1560"/>
                    </a:lnTo>
                    <a:lnTo>
                      <a:pt x="1256" y="1560"/>
                    </a:lnTo>
                    <a:lnTo>
                      <a:pt x="1258" y="1560"/>
                    </a:lnTo>
                    <a:lnTo>
                      <a:pt x="1258" y="1561"/>
                    </a:lnTo>
                    <a:lnTo>
                      <a:pt x="1259" y="1563"/>
                    </a:lnTo>
                    <a:lnTo>
                      <a:pt x="1258" y="1563"/>
                    </a:lnTo>
                    <a:lnTo>
                      <a:pt x="1256" y="1563"/>
                    </a:lnTo>
                    <a:lnTo>
                      <a:pt x="1254" y="1563"/>
                    </a:lnTo>
                    <a:lnTo>
                      <a:pt x="1256" y="1563"/>
                    </a:lnTo>
                    <a:lnTo>
                      <a:pt x="1258" y="1565"/>
                    </a:lnTo>
                    <a:lnTo>
                      <a:pt x="1256" y="1565"/>
                    </a:lnTo>
                    <a:lnTo>
                      <a:pt x="1256" y="1566"/>
                    </a:lnTo>
                    <a:lnTo>
                      <a:pt x="1254" y="1566"/>
                    </a:lnTo>
                    <a:lnTo>
                      <a:pt x="1253" y="1565"/>
                    </a:lnTo>
                    <a:lnTo>
                      <a:pt x="1251" y="1563"/>
                    </a:lnTo>
                    <a:lnTo>
                      <a:pt x="1251" y="1565"/>
                    </a:lnTo>
                    <a:lnTo>
                      <a:pt x="1249" y="1565"/>
                    </a:lnTo>
                    <a:lnTo>
                      <a:pt x="1247" y="1565"/>
                    </a:lnTo>
                    <a:lnTo>
                      <a:pt x="1249" y="1565"/>
                    </a:lnTo>
                    <a:lnTo>
                      <a:pt x="1251" y="1565"/>
                    </a:lnTo>
                    <a:lnTo>
                      <a:pt x="1253" y="1565"/>
                    </a:lnTo>
                    <a:lnTo>
                      <a:pt x="1251" y="1566"/>
                    </a:lnTo>
                    <a:lnTo>
                      <a:pt x="1253" y="1566"/>
                    </a:lnTo>
                    <a:lnTo>
                      <a:pt x="1253" y="1568"/>
                    </a:lnTo>
                    <a:lnTo>
                      <a:pt x="1253" y="1570"/>
                    </a:lnTo>
                    <a:lnTo>
                      <a:pt x="1251" y="1570"/>
                    </a:lnTo>
                    <a:lnTo>
                      <a:pt x="1251" y="1568"/>
                    </a:lnTo>
                    <a:lnTo>
                      <a:pt x="1251" y="1570"/>
                    </a:lnTo>
                    <a:lnTo>
                      <a:pt x="1251" y="1568"/>
                    </a:lnTo>
                    <a:lnTo>
                      <a:pt x="1249" y="1568"/>
                    </a:lnTo>
                    <a:lnTo>
                      <a:pt x="1247" y="1568"/>
                    </a:lnTo>
                    <a:lnTo>
                      <a:pt x="1249" y="1568"/>
                    </a:lnTo>
                    <a:lnTo>
                      <a:pt x="1249" y="1570"/>
                    </a:lnTo>
                    <a:lnTo>
                      <a:pt x="1251" y="1570"/>
                    </a:lnTo>
                    <a:lnTo>
                      <a:pt x="1251" y="1572"/>
                    </a:lnTo>
                    <a:lnTo>
                      <a:pt x="1249" y="1572"/>
                    </a:lnTo>
                    <a:lnTo>
                      <a:pt x="1247" y="1572"/>
                    </a:lnTo>
                    <a:lnTo>
                      <a:pt x="1249" y="1572"/>
                    </a:lnTo>
                    <a:lnTo>
                      <a:pt x="1251" y="1573"/>
                    </a:lnTo>
                    <a:lnTo>
                      <a:pt x="1251" y="1575"/>
                    </a:lnTo>
                    <a:lnTo>
                      <a:pt x="1251" y="1573"/>
                    </a:lnTo>
                    <a:lnTo>
                      <a:pt x="1253" y="1575"/>
                    </a:lnTo>
                    <a:lnTo>
                      <a:pt x="1253" y="1577"/>
                    </a:lnTo>
                    <a:lnTo>
                      <a:pt x="1251" y="1577"/>
                    </a:lnTo>
                    <a:lnTo>
                      <a:pt x="1249" y="1577"/>
                    </a:lnTo>
                    <a:lnTo>
                      <a:pt x="1249" y="1578"/>
                    </a:lnTo>
                    <a:lnTo>
                      <a:pt x="1247" y="1578"/>
                    </a:lnTo>
                    <a:lnTo>
                      <a:pt x="1247" y="1577"/>
                    </a:lnTo>
                    <a:lnTo>
                      <a:pt x="1247" y="1575"/>
                    </a:lnTo>
                    <a:lnTo>
                      <a:pt x="1246" y="1575"/>
                    </a:lnTo>
                    <a:lnTo>
                      <a:pt x="1247" y="1575"/>
                    </a:lnTo>
                    <a:lnTo>
                      <a:pt x="1247" y="1573"/>
                    </a:lnTo>
                    <a:lnTo>
                      <a:pt x="1247" y="1572"/>
                    </a:lnTo>
                    <a:lnTo>
                      <a:pt x="1247" y="1573"/>
                    </a:lnTo>
                    <a:lnTo>
                      <a:pt x="1247" y="1575"/>
                    </a:lnTo>
                    <a:lnTo>
                      <a:pt x="1246" y="1575"/>
                    </a:lnTo>
                    <a:lnTo>
                      <a:pt x="1246" y="1573"/>
                    </a:lnTo>
                    <a:lnTo>
                      <a:pt x="1244" y="1575"/>
                    </a:lnTo>
                    <a:lnTo>
                      <a:pt x="1246" y="1575"/>
                    </a:lnTo>
                    <a:lnTo>
                      <a:pt x="1244" y="1575"/>
                    </a:lnTo>
                    <a:lnTo>
                      <a:pt x="1244" y="1577"/>
                    </a:lnTo>
                    <a:lnTo>
                      <a:pt x="1246" y="1577"/>
                    </a:lnTo>
                    <a:lnTo>
                      <a:pt x="1246" y="1578"/>
                    </a:lnTo>
                    <a:lnTo>
                      <a:pt x="1246" y="1580"/>
                    </a:lnTo>
                    <a:lnTo>
                      <a:pt x="1246" y="1578"/>
                    </a:lnTo>
                    <a:lnTo>
                      <a:pt x="1246" y="1580"/>
                    </a:lnTo>
                    <a:lnTo>
                      <a:pt x="1244" y="1580"/>
                    </a:lnTo>
                    <a:lnTo>
                      <a:pt x="1244" y="1578"/>
                    </a:lnTo>
                    <a:lnTo>
                      <a:pt x="1242" y="1580"/>
                    </a:lnTo>
                    <a:lnTo>
                      <a:pt x="1242" y="1578"/>
                    </a:lnTo>
                    <a:lnTo>
                      <a:pt x="1242" y="1580"/>
                    </a:lnTo>
                    <a:lnTo>
                      <a:pt x="1242" y="1578"/>
                    </a:lnTo>
                    <a:lnTo>
                      <a:pt x="1244" y="1577"/>
                    </a:lnTo>
                    <a:lnTo>
                      <a:pt x="1242" y="1577"/>
                    </a:lnTo>
                    <a:lnTo>
                      <a:pt x="1242" y="1578"/>
                    </a:lnTo>
                    <a:lnTo>
                      <a:pt x="1241" y="1580"/>
                    </a:lnTo>
                    <a:lnTo>
                      <a:pt x="1241" y="1578"/>
                    </a:lnTo>
                    <a:lnTo>
                      <a:pt x="1242" y="1577"/>
                    </a:lnTo>
                    <a:lnTo>
                      <a:pt x="1242" y="1575"/>
                    </a:lnTo>
                    <a:lnTo>
                      <a:pt x="1242" y="1577"/>
                    </a:lnTo>
                    <a:lnTo>
                      <a:pt x="1241" y="1578"/>
                    </a:lnTo>
                    <a:lnTo>
                      <a:pt x="1241" y="1580"/>
                    </a:lnTo>
                    <a:lnTo>
                      <a:pt x="1239" y="1578"/>
                    </a:lnTo>
                    <a:lnTo>
                      <a:pt x="1239" y="1580"/>
                    </a:lnTo>
                    <a:lnTo>
                      <a:pt x="1241" y="1580"/>
                    </a:lnTo>
                    <a:lnTo>
                      <a:pt x="1239" y="1582"/>
                    </a:lnTo>
                    <a:lnTo>
                      <a:pt x="1237" y="1580"/>
                    </a:lnTo>
                    <a:lnTo>
                      <a:pt x="1237" y="1582"/>
                    </a:lnTo>
                    <a:lnTo>
                      <a:pt x="1237" y="1580"/>
                    </a:lnTo>
                    <a:lnTo>
                      <a:pt x="1236" y="1580"/>
                    </a:lnTo>
                    <a:lnTo>
                      <a:pt x="1237" y="1580"/>
                    </a:lnTo>
                    <a:lnTo>
                      <a:pt x="1236" y="1580"/>
                    </a:lnTo>
                    <a:lnTo>
                      <a:pt x="1236" y="1582"/>
                    </a:lnTo>
                    <a:lnTo>
                      <a:pt x="1234" y="1582"/>
                    </a:lnTo>
                    <a:lnTo>
                      <a:pt x="1232" y="1582"/>
                    </a:lnTo>
                    <a:lnTo>
                      <a:pt x="1230" y="1582"/>
                    </a:lnTo>
                    <a:lnTo>
                      <a:pt x="1232" y="1580"/>
                    </a:lnTo>
                    <a:lnTo>
                      <a:pt x="1232" y="1582"/>
                    </a:lnTo>
                    <a:lnTo>
                      <a:pt x="1232" y="1580"/>
                    </a:lnTo>
                    <a:lnTo>
                      <a:pt x="1234" y="1580"/>
                    </a:lnTo>
                    <a:lnTo>
                      <a:pt x="1232" y="1580"/>
                    </a:lnTo>
                    <a:lnTo>
                      <a:pt x="1234" y="1580"/>
                    </a:lnTo>
                    <a:lnTo>
                      <a:pt x="1234" y="1578"/>
                    </a:lnTo>
                    <a:lnTo>
                      <a:pt x="1232" y="1580"/>
                    </a:lnTo>
                    <a:lnTo>
                      <a:pt x="1232" y="1578"/>
                    </a:lnTo>
                    <a:lnTo>
                      <a:pt x="1232" y="1580"/>
                    </a:lnTo>
                    <a:lnTo>
                      <a:pt x="1230" y="1580"/>
                    </a:lnTo>
                    <a:lnTo>
                      <a:pt x="1229" y="1580"/>
                    </a:lnTo>
                    <a:lnTo>
                      <a:pt x="1227" y="1578"/>
                    </a:lnTo>
                    <a:lnTo>
                      <a:pt x="1229" y="1578"/>
                    </a:lnTo>
                    <a:lnTo>
                      <a:pt x="1230" y="1578"/>
                    </a:lnTo>
                    <a:lnTo>
                      <a:pt x="1232" y="1578"/>
                    </a:lnTo>
                    <a:lnTo>
                      <a:pt x="1234" y="1578"/>
                    </a:lnTo>
                    <a:lnTo>
                      <a:pt x="1236" y="1578"/>
                    </a:lnTo>
                    <a:lnTo>
                      <a:pt x="1237" y="1580"/>
                    </a:lnTo>
                    <a:lnTo>
                      <a:pt x="1237" y="1578"/>
                    </a:lnTo>
                    <a:lnTo>
                      <a:pt x="1236" y="1578"/>
                    </a:lnTo>
                    <a:lnTo>
                      <a:pt x="1234" y="1578"/>
                    </a:lnTo>
                    <a:lnTo>
                      <a:pt x="1234" y="1577"/>
                    </a:lnTo>
                    <a:lnTo>
                      <a:pt x="1232" y="1578"/>
                    </a:lnTo>
                    <a:lnTo>
                      <a:pt x="1232" y="1577"/>
                    </a:lnTo>
                    <a:lnTo>
                      <a:pt x="1230" y="1578"/>
                    </a:lnTo>
                    <a:lnTo>
                      <a:pt x="1232" y="1577"/>
                    </a:lnTo>
                    <a:lnTo>
                      <a:pt x="1230" y="1575"/>
                    </a:lnTo>
                    <a:lnTo>
                      <a:pt x="1232" y="1577"/>
                    </a:lnTo>
                    <a:lnTo>
                      <a:pt x="1234" y="1577"/>
                    </a:lnTo>
                    <a:lnTo>
                      <a:pt x="1236" y="1577"/>
                    </a:lnTo>
                    <a:lnTo>
                      <a:pt x="1234" y="1577"/>
                    </a:lnTo>
                    <a:lnTo>
                      <a:pt x="1236" y="1577"/>
                    </a:lnTo>
                    <a:lnTo>
                      <a:pt x="1237" y="1577"/>
                    </a:lnTo>
                    <a:lnTo>
                      <a:pt x="1237" y="1578"/>
                    </a:lnTo>
                    <a:lnTo>
                      <a:pt x="1239" y="1578"/>
                    </a:lnTo>
                    <a:lnTo>
                      <a:pt x="1237" y="1577"/>
                    </a:lnTo>
                    <a:lnTo>
                      <a:pt x="1239" y="1577"/>
                    </a:lnTo>
                    <a:lnTo>
                      <a:pt x="1237" y="1577"/>
                    </a:lnTo>
                    <a:lnTo>
                      <a:pt x="1236" y="1577"/>
                    </a:lnTo>
                    <a:lnTo>
                      <a:pt x="1237" y="1575"/>
                    </a:lnTo>
                    <a:lnTo>
                      <a:pt x="1236" y="1575"/>
                    </a:lnTo>
                    <a:lnTo>
                      <a:pt x="1234" y="1575"/>
                    </a:lnTo>
                    <a:lnTo>
                      <a:pt x="1236" y="1575"/>
                    </a:lnTo>
                    <a:lnTo>
                      <a:pt x="1237" y="1575"/>
                    </a:lnTo>
                    <a:lnTo>
                      <a:pt x="1237" y="1573"/>
                    </a:lnTo>
                    <a:lnTo>
                      <a:pt x="1236" y="1575"/>
                    </a:lnTo>
                    <a:lnTo>
                      <a:pt x="1237" y="1573"/>
                    </a:lnTo>
                    <a:lnTo>
                      <a:pt x="1236" y="1573"/>
                    </a:lnTo>
                    <a:lnTo>
                      <a:pt x="1234" y="1573"/>
                    </a:lnTo>
                    <a:lnTo>
                      <a:pt x="1236" y="1572"/>
                    </a:lnTo>
                    <a:lnTo>
                      <a:pt x="1237" y="1572"/>
                    </a:lnTo>
                    <a:lnTo>
                      <a:pt x="1239" y="1572"/>
                    </a:lnTo>
                    <a:lnTo>
                      <a:pt x="1239" y="1573"/>
                    </a:lnTo>
                    <a:lnTo>
                      <a:pt x="1241" y="1573"/>
                    </a:lnTo>
                    <a:lnTo>
                      <a:pt x="1239" y="1573"/>
                    </a:lnTo>
                    <a:lnTo>
                      <a:pt x="1239" y="1572"/>
                    </a:lnTo>
                    <a:lnTo>
                      <a:pt x="1237" y="1572"/>
                    </a:lnTo>
                    <a:lnTo>
                      <a:pt x="1237" y="1570"/>
                    </a:lnTo>
                    <a:lnTo>
                      <a:pt x="1237" y="1572"/>
                    </a:lnTo>
                    <a:lnTo>
                      <a:pt x="1237" y="1570"/>
                    </a:lnTo>
                    <a:lnTo>
                      <a:pt x="1239" y="1568"/>
                    </a:lnTo>
                    <a:lnTo>
                      <a:pt x="1241" y="1568"/>
                    </a:lnTo>
                    <a:lnTo>
                      <a:pt x="1242" y="1568"/>
                    </a:lnTo>
                    <a:lnTo>
                      <a:pt x="1242" y="1566"/>
                    </a:lnTo>
                    <a:lnTo>
                      <a:pt x="1241" y="1566"/>
                    </a:lnTo>
                    <a:lnTo>
                      <a:pt x="1241" y="1568"/>
                    </a:lnTo>
                    <a:lnTo>
                      <a:pt x="1241" y="1566"/>
                    </a:lnTo>
                    <a:lnTo>
                      <a:pt x="1239" y="1566"/>
                    </a:lnTo>
                    <a:lnTo>
                      <a:pt x="1241" y="1566"/>
                    </a:lnTo>
                    <a:lnTo>
                      <a:pt x="1239" y="1566"/>
                    </a:lnTo>
                    <a:lnTo>
                      <a:pt x="1239" y="1568"/>
                    </a:lnTo>
                    <a:lnTo>
                      <a:pt x="1237" y="1568"/>
                    </a:lnTo>
                    <a:lnTo>
                      <a:pt x="1237" y="1570"/>
                    </a:lnTo>
                    <a:lnTo>
                      <a:pt x="1237" y="1568"/>
                    </a:lnTo>
                    <a:lnTo>
                      <a:pt x="1237" y="1566"/>
                    </a:lnTo>
                    <a:lnTo>
                      <a:pt x="1239" y="1566"/>
                    </a:lnTo>
                    <a:lnTo>
                      <a:pt x="1239" y="1565"/>
                    </a:lnTo>
                    <a:lnTo>
                      <a:pt x="1237" y="1566"/>
                    </a:lnTo>
                    <a:lnTo>
                      <a:pt x="1236" y="1568"/>
                    </a:lnTo>
                    <a:lnTo>
                      <a:pt x="1237" y="1568"/>
                    </a:lnTo>
                    <a:lnTo>
                      <a:pt x="1236" y="1568"/>
                    </a:lnTo>
                    <a:lnTo>
                      <a:pt x="1237" y="1570"/>
                    </a:lnTo>
                    <a:lnTo>
                      <a:pt x="1236" y="1570"/>
                    </a:lnTo>
                    <a:lnTo>
                      <a:pt x="1236" y="1572"/>
                    </a:lnTo>
                    <a:lnTo>
                      <a:pt x="1234" y="1572"/>
                    </a:lnTo>
                    <a:lnTo>
                      <a:pt x="1232" y="1572"/>
                    </a:lnTo>
                    <a:lnTo>
                      <a:pt x="1234" y="1572"/>
                    </a:lnTo>
                    <a:lnTo>
                      <a:pt x="1232" y="1572"/>
                    </a:lnTo>
                    <a:lnTo>
                      <a:pt x="1232" y="1570"/>
                    </a:lnTo>
                    <a:lnTo>
                      <a:pt x="1234" y="1570"/>
                    </a:lnTo>
                    <a:lnTo>
                      <a:pt x="1236" y="1570"/>
                    </a:lnTo>
                    <a:lnTo>
                      <a:pt x="1234" y="1570"/>
                    </a:lnTo>
                    <a:lnTo>
                      <a:pt x="1234" y="1568"/>
                    </a:lnTo>
                    <a:lnTo>
                      <a:pt x="1236" y="1568"/>
                    </a:lnTo>
                    <a:lnTo>
                      <a:pt x="1236" y="1566"/>
                    </a:lnTo>
                    <a:lnTo>
                      <a:pt x="1236" y="1565"/>
                    </a:lnTo>
                    <a:lnTo>
                      <a:pt x="1236" y="1563"/>
                    </a:lnTo>
                    <a:lnTo>
                      <a:pt x="1237" y="1563"/>
                    </a:lnTo>
                    <a:lnTo>
                      <a:pt x="1237" y="1561"/>
                    </a:lnTo>
                    <a:lnTo>
                      <a:pt x="1239" y="1561"/>
                    </a:lnTo>
                    <a:lnTo>
                      <a:pt x="1239" y="1560"/>
                    </a:lnTo>
                    <a:lnTo>
                      <a:pt x="1237" y="1561"/>
                    </a:lnTo>
                    <a:lnTo>
                      <a:pt x="1237" y="1563"/>
                    </a:lnTo>
                    <a:lnTo>
                      <a:pt x="1236" y="1561"/>
                    </a:lnTo>
                    <a:lnTo>
                      <a:pt x="1236" y="1563"/>
                    </a:lnTo>
                    <a:lnTo>
                      <a:pt x="1234" y="1563"/>
                    </a:lnTo>
                    <a:lnTo>
                      <a:pt x="1236" y="1563"/>
                    </a:lnTo>
                    <a:lnTo>
                      <a:pt x="1236" y="1565"/>
                    </a:lnTo>
                    <a:lnTo>
                      <a:pt x="1236" y="1566"/>
                    </a:lnTo>
                    <a:lnTo>
                      <a:pt x="1234" y="1566"/>
                    </a:lnTo>
                    <a:lnTo>
                      <a:pt x="1234" y="1568"/>
                    </a:lnTo>
                    <a:lnTo>
                      <a:pt x="1232" y="1568"/>
                    </a:lnTo>
                    <a:lnTo>
                      <a:pt x="1230" y="1568"/>
                    </a:lnTo>
                    <a:lnTo>
                      <a:pt x="1232" y="1568"/>
                    </a:lnTo>
                    <a:lnTo>
                      <a:pt x="1232" y="1566"/>
                    </a:lnTo>
                    <a:lnTo>
                      <a:pt x="1230" y="1568"/>
                    </a:lnTo>
                    <a:lnTo>
                      <a:pt x="1229" y="1568"/>
                    </a:lnTo>
                    <a:lnTo>
                      <a:pt x="1229" y="1566"/>
                    </a:lnTo>
                    <a:lnTo>
                      <a:pt x="1230" y="1566"/>
                    </a:lnTo>
                    <a:lnTo>
                      <a:pt x="1229" y="1565"/>
                    </a:lnTo>
                    <a:lnTo>
                      <a:pt x="1230" y="1565"/>
                    </a:lnTo>
                    <a:lnTo>
                      <a:pt x="1232" y="1565"/>
                    </a:lnTo>
                    <a:lnTo>
                      <a:pt x="1234" y="1565"/>
                    </a:lnTo>
                    <a:lnTo>
                      <a:pt x="1232" y="1565"/>
                    </a:lnTo>
                    <a:lnTo>
                      <a:pt x="1230" y="1565"/>
                    </a:lnTo>
                    <a:lnTo>
                      <a:pt x="1229" y="1565"/>
                    </a:lnTo>
                    <a:lnTo>
                      <a:pt x="1230" y="1563"/>
                    </a:lnTo>
                    <a:lnTo>
                      <a:pt x="1229" y="1563"/>
                    </a:lnTo>
                    <a:lnTo>
                      <a:pt x="1229" y="1565"/>
                    </a:lnTo>
                    <a:lnTo>
                      <a:pt x="1229" y="1563"/>
                    </a:lnTo>
                    <a:lnTo>
                      <a:pt x="1230" y="1563"/>
                    </a:lnTo>
                    <a:lnTo>
                      <a:pt x="1232" y="1563"/>
                    </a:lnTo>
                    <a:lnTo>
                      <a:pt x="1230" y="1563"/>
                    </a:lnTo>
                    <a:lnTo>
                      <a:pt x="1230" y="1561"/>
                    </a:lnTo>
                    <a:lnTo>
                      <a:pt x="1232" y="1561"/>
                    </a:lnTo>
                    <a:lnTo>
                      <a:pt x="1234" y="1561"/>
                    </a:lnTo>
                    <a:lnTo>
                      <a:pt x="1234" y="1560"/>
                    </a:lnTo>
                    <a:lnTo>
                      <a:pt x="1236" y="1560"/>
                    </a:lnTo>
                    <a:lnTo>
                      <a:pt x="1237" y="1560"/>
                    </a:lnTo>
                    <a:lnTo>
                      <a:pt x="1236" y="1560"/>
                    </a:lnTo>
                    <a:lnTo>
                      <a:pt x="1236" y="1558"/>
                    </a:lnTo>
                    <a:lnTo>
                      <a:pt x="1236" y="1556"/>
                    </a:lnTo>
                    <a:lnTo>
                      <a:pt x="1236" y="1558"/>
                    </a:lnTo>
                    <a:lnTo>
                      <a:pt x="1234" y="1558"/>
                    </a:lnTo>
                    <a:lnTo>
                      <a:pt x="1236" y="1558"/>
                    </a:lnTo>
                    <a:lnTo>
                      <a:pt x="1234" y="1560"/>
                    </a:lnTo>
                    <a:lnTo>
                      <a:pt x="1234" y="1558"/>
                    </a:lnTo>
                    <a:lnTo>
                      <a:pt x="1232" y="1558"/>
                    </a:lnTo>
                    <a:lnTo>
                      <a:pt x="1230" y="1558"/>
                    </a:lnTo>
                    <a:lnTo>
                      <a:pt x="1230" y="1556"/>
                    </a:lnTo>
                    <a:lnTo>
                      <a:pt x="1229" y="1558"/>
                    </a:lnTo>
                    <a:lnTo>
                      <a:pt x="1229" y="1556"/>
                    </a:lnTo>
                    <a:lnTo>
                      <a:pt x="1227" y="1556"/>
                    </a:lnTo>
                    <a:lnTo>
                      <a:pt x="1225" y="1556"/>
                    </a:lnTo>
                    <a:lnTo>
                      <a:pt x="1224" y="1556"/>
                    </a:lnTo>
                    <a:lnTo>
                      <a:pt x="1225" y="1556"/>
                    </a:lnTo>
                    <a:lnTo>
                      <a:pt x="1225" y="1555"/>
                    </a:lnTo>
                    <a:lnTo>
                      <a:pt x="1227" y="1555"/>
                    </a:lnTo>
                    <a:lnTo>
                      <a:pt x="1229" y="1556"/>
                    </a:lnTo>
                    <a:lnTo>
                      <a:pt x="1229" y="1555"/>
                    </a:lnTo>
                    <a:lnTo>
                      <a:pt x="1230" y="1555"/>
                    </a:lnTo>
                    <a:lnTo>
                      <a:pt x="1232" y="1555"/>
                    </a:lnTo>
                    <a:lnTo>
                      <a:pt x="1232" y="1553"/>
                    </a:lnTo>
                    <a:lnTo>
                      <a:pt x="1230" y="1551"/>
                    </a:lnTo>
                    <a:lnTo>
                      <a:pt x="1230" y="1553"/>
                    </a:lnTo>
                    <a:lnTo>
                      <a:pt x="1230" y="1555"/>
                    </a:lnTo>
                    <a:lnTo>
                      <a:pt x="1230" y="1553"/>
                    </a:lnTo>
                    <a:lnTo>
                      <a:pt x="1229" y="1555"/>
                    </a:lnTo>
                    <a:lnTo>
                      <a:pt x="1227" y="1553"/>
                    </a:lnTo>
                    <a:lnTo>
                      <a:pt x="1227" y="1555"/>
                    </a:lnTo>
                    <a:lnTo>
                      <a:pt x="1227" y="1553"/>
                    </a:lnTo>
                    <a:lnTo>
                      <a:pt x="1229" y="1553"/>
                    </a:lnTo>
                    <a:lnTo>
                      <a:pt x="1229" y="1551"/>
                    </a:lnTo>
                    <a:lnTo>
                      <a:pt x="1230" y="1551"/>
                    </a:lnTo>
                    <a:lnTo>
                      <a:pt x="1230" y="1549"/>
                    </a:lnTo>
                    <a:lnTo>
                      <a:pt x="1229" y="1549"/>
                    </a:lnTo>
                    <a:lnTo>
                      <a:pt x="1229" y="1551"/>
                    </a:lnTo>
                    <a:lnTo>
                      <a:pt x="1227" y="1549"/>
                    </a:lnTo>
                    <a:lnTo>
                      <a:pt x="1227" y="1551"/>
                    </a:lnTo>
                    <a:lnTo>
                      <a:pt x="1229" y="1551"/>
                    </a:lnTo>
                    <a:lnTo>
                      <a:pt x="1227" y="1551"/>
                    </a:lnTo>
                    <a:lnTo>
                      <a:pt x="1227" y="1553"/>
                    </a:lnTo>
                    <a:lnTo>
                      <a:pt x="1227" y="1555"/>
                    </a:lnTo>
                    <a:lnTo>
                      <a:pt x="1225" y="1553"/>
                    </a:lnTo>
                    <a:lnTo>
                      <a:pt x="1224" y="1555"/>
                    </a:lnTo>
                    <a:lnTo>
                      <a:pt x="1224" y="1553"/>
                    </a:lnTo>
                    <a:lnTo>
                      <a:pt x="1225" y="1551"/>
                    </a:lnTo>
                    <a:lnTo>
                      <a:pt x="1225" y="1553"/>
                    </a:lnTo>
                    <a:lnTo>
                      <a:pt x="1224" y="1553"/>
                    </a:lnTo>
                    <a:lnTo>
                      <a:pt x="1222" y="1553"/>
                    </a:lnTo>
                    <a:lnTo>
                      <a:pt x="1220" y="1553"/>
                    </a:lnTo>
                    <a:lnTo>
                      <a:pt x="1222" y="1551"/>
                    </a:lnTo>
                    <a:lnTo>
                      <a:pt x="1220" y="1551"/>
                    </a:lnTo>
                    <a:lnTo>
                      <a:pt x="1222" y="1551"/>
                    </a:lnTo>
                    <a:lnTo>
                      <a:pt x="1220" y="1551"/>
                    </a:lnTo>
                    <a:lnTo>
                      <a:pt x="1222" y="1551"/>
                    </a:lnTo>
                    <a:lnTo>
                      <a:pt x="1222" y="1549"/>
                    </a:lnTo>
                    <a:lnTo>
                      <a:pt x="1224" y="1549"/>
                    </a:lnTo>
                    <a:lnTo>
                      <a:pt x="1222" y="1549"/>
                    </a:lnTo>
                    <a:lnTo>
                      <a:pt x="1220" y="1549"/>
                    </a:lnTo>
                    <a:lnTo>
                      <a:pt x="1222" y="1549"/>
                    </a:lnTo>
                    <a:lnTo>
                      <a:pt x="1220" y="1549"/>
                    </a:lnTo>
                    <a:lnTo>
                      <a:pt x="1219" y="1549"/>
                    </a:lnTo>
                    <a:lnTo>
                      <a:pt x="1219" y="1548"/>
                    </a:lnTo>
                    <a:lnTo>
                      <a:pt x="1217" y="1548"/>
                    </a:lnTo>
                    <a:lnTo>
                      <a:pt x="1217" y="1546"/>
                    </a:lnTo>
                    <a:lnTo>
                      <a:pt x="1217" y="1544"/>
                    </a:lnTo>
                    <a:lnTo>
                      <a:pt x="1215" y="1544"/>
                    </a:lnTo>
                    <a:lnTo>
                      <a:pt x="1215" y="1543"/>
                    </a:lnTo>
                    <a:lnTo>
                      <a:pt x="1217" y="1544"/>
                    </a:lnTo>
                    <a:lnTo>
                      <a:pt x="1219" y="1544"/>
                    </a:lnTo>
                    <a:lnTo>
                      <a:pt x="1220" y="1544"/>
                    </a:lnTo>
                    <a:lnTo>
                      <a:pt x="1220" y="1546"/>
                    </a:lnTo>
                    <a:lnTo>
                      <a:pt x="1222" y="1544"/>
                    </a:lnTo>
                    <a:lnTo>
                      <a:pt x="1222" y="1546"/>
                    </a:lnTo>
                    <a:lnTo>
                      <a:pt x="1222" y="1548"/>
                    </a:lnTo>
                    <a:lnTo>
                      <a:pt x="1222" y="1546"/>
                    </a:lnTo>
                    <a:lnTo>
                      <a:pt x="1224" y="1546"/>
                    </a:lnTo>
                    <a:lnTo>
                      <a:pt x="1222" y="1546"/>
                    </a:lnTo>
                    <a:lnTo>
                      <a:pt x="1224" y="1544"/>
                    </a:lnTo>
                    <a:lnTo>
                      <a:pt x="1224" y="1546"/>
                    </a:lnTo>
                    <a:lnTo>
                      <a:pt x="1225" y="1544"/>
                    </a:lnTo>
                    <a:lnTo>
                      <a:pt x="1225" y="1546"/>
                    </a:lnTo>
                    <a:lnTo>
                      <a:pt x="1227" y="1546"/>
                    </a:lnTo>
                    <a:lnTo>
                      <a:pt x="1227" y="1548"/>
                    </a:lnTo>
                    <a:lnTo>
                      <a:pt x="1227" y="1546"/>
                    </a:lnTo>
                    <a:lnTo>
                      <a:pt x="1229" y="1548"/>
                    </a:lnTo>
                    <a:lnTo>
                      <a:pt x="1229" y="1546"/>
                    </a:lnTo>
                    <a:lnTo>
                      <a:pt x="1227" y="1546"/>
                    </a:lnTo>
                    <a:lnTo>
                      <a:pt x="1225" y="1546"/>
                    </a:lnTo>
                    <a:lnTo>
                      <a:pt x="1225" y="1544"/>
                    </a:lnTo>
                    <a:lnTo>
                      <a:pt x="1225" y="1543"/>
                    </a:lnTo>
                    <a:lnTo>
                      <a:pt x="1227" y="1543"/>
                    </a:lnTo>
                    <a:lnTo>
                      <a:pt x="1225" y="1543"/>
                    </a:lnTo>
                    <a:lnTo>
                      <a:pt x="1227" y="1543"/>
                    </a:lnTo>
                    <a:lnTo>
                      <a:pt x="1225" y="1543"/>
                    </a:lnTo>
                    <a:lnTo>
                      <a:pt x="1225" y="1541"/>
                    </a:lnTo>
                    <a:lnTo>
                      <a:pt x="1224" y="1541"/>
                    </a:lnTo>
                    <a:lnTo>
                      <a:pt x="1225" y="1541"/>
                    </a:lnTo>
                    <a:lnTo>
                      <a:pt x="1224" y="1539"/>
                    </a:lnTo>
                    <a:lnTo>
                      <a:pt x="1225" y="1539"/>
                    </a:lnTo>
                    <a:lnTo>
                      <a:pt x="1227" y="1539"/>
                    </a:lnTo>
                    <a:lnTo>
                      <a:pt x="1229" y="1539"/>
                    </a:lnTo>
                    <a:close/>
                    <a:moveTo>
                      <a:pt x="1400" y="1626"/>
                    </a:moveTo>
                    <a:lnTo>
                      <a:pt x="1402" y="1626"/>
                    </a:lnTo>
                    <a:lnTo>
                      <a:pt x="1402" y="1628"/>
                    </a:lnTo>
                    <a:lnTo>
                      <a:pt x="1404" y="1626"/>
                    </a:lnTo>
                    <a:lnTo>
                      <a:pt x="1404" y="1628"/>
                    </a:lnTo>
                    <a:lnTo>
                      <a:pt x="1406" y="1628"/>
                    </a:lnTo>
                    <a:lnTo>
                      <a:pt x="1407" y="1628"/>
                    </a:lnTo>
                    <a:lnTo>
                      <a:pt x="1409" y="1628"/>
                    </a:lnTo>
                    <a:lnTo>
                      <a:pt x="1407" y="1628"/>
                    </a:lnTo>
                    <a:lnTo>
                      <a:pt x="1409" y="1629"/>
                    </a:lnTo>
                    <a:lnTo>
                      <a:pt x="1409" y="1628"/>
                    </a:lnTo>
                    <a:lnTo>
                      <a:pt x="1411" y="1629"/>
                    </a:lnTo>
                    <a:lnTo>
                      <a:pt x="1411" y="1628"/>
                    </a:lnTo>
                    <a:lnTo>
                      <a:pt x="1412" y="1628"/>
                    </a:lnTo>
                    <a:lnTo>
                      <a:pt x="1414" y="1628"/>
                    </a:lnTo>
                    <a:lnTo>
                      <a:pt x="1416" y="1628"/>
                    </a:lnTo>
                    <a:lnTo>
                      <a:pt x="1416" y="1629"/>
                    </a:lnTo>
                    <a:lnTo>
                      <a:pt x="1417" y="1628"/>
                    </a:lnTo>
                    <a:lnTo>
                      <a:pt x="1419" y="1628"/>
                    </a:lnTo>
                    <a:lnTo>
                      <a:pt x="1421" y="1628"/>
                    </a:lnTo>
                    <a:lnTo>
                      <a:pt x="1423" y="1628"/>
                    </a:lnTo>
                    <a:lnTo>
                      <a:pt x="1423" y="1629"/>
                    </a:lnTo>
                    <a:lnTo>
                      <a:pt x="1424" y="1629"/>
                    </a:lnTo>
                    <a:lnTo>
                      <a:pt x="1426" y="1629"/>
                    </a:lnTo>
                    <a:lnTo>
                      <a:pt x="1428" y="1631"/>
                    </a:lnTo>
                    <a:lnTo>
                      <a:pt x="1428" y="1633"/>
                    </a:lnTo>
                    <a:lnTo>
                      <a:pt x="1429" y="1635"/>
                    </a:lnTo>
                    <a:lnTo>
                      <a:pt x="1429" y="1636"/>
                    </a:lnTo>
                    <a:lnTo>
                      <a:pt x="1429" y="1638"/>
                    </a:lnTo>
                    <a:lnTo>
                      <a:pt x="1431" y="1638"/>
                    </a:lnTo>
                    <a:lnTo>
                      <a:pt x="1431" y="1640"/>
                    </a:lnTo>
                    <a:lnTo>
                      <a:pt x="1431" y="1641"/>
                    </a:lnTo>
                    <a:lnTo>
                      <a:pt x="1429" y="1643"/>
                    </a:lnTo>
                    <a:lnTo>
                      <a:pt x="1429" y="1645"/>
                    </a:lnTo>
                    <a:lnTo>
                      <a:pt x="1428" y="1646"/>
                    </a:lnTo>
                    <a:lnTo>
                      <a:pt x="1426" y="1648"/>
                    </a:lnTo>
                    <a:lnTo>
                      <a:pt x="1426" y="1650"/>
                    </a:lnTo>
                    <a:lnTo>
                      <a:pt x="1424" y="1650"/>
                    </a:lnTo>
                    <a:lnTo>
                      <a:pt x="1424" y="1652"/>
                    </a:lnTo>
                    <a:lnTo>
                      <a:pt x="1423" y="1652"/>
                    </a:lnTo>
                    <a:lnTo>
                      <a:pt x="1421" y="1652"/>
                    </a:lnTo>
                    <a:lnTo>
                      <a:pt x="1419" y="1652"/>
                    </a:lnTo>
                    <a:lnTo>
                      <a:pt x="1417" y="1652"/>
                    </a:lnTo>
                    <a:lnTo>
                      <a:pt x="1417" y="1650"/>
                    </a:lnTo>
                    <a:lnTo>
                      <a:pt x="1417" y="1648"/>
                    </a:lnTo>
                    <a:lnTo>
                      <a:pt x="1417" y="1646"/>
                    </a:lnTo>
                    <a:lnTo>
                      <a:pt x="1419" y="1645"/>
                    </a:lnTo>
                    <a:lnTo>
                      <a:pt x="1417" y="1643"/>
                    </a:lnTo>
                    <a:lnTo>
                      <a:pt x="1416" y="1643"/>
                    </a:lnTo>
                    <a:lnTo>
                      <a:pt x="1414" y="1643"/>
                    </a:lnTo>
                    <a:lnTo>
                      <a:pt x="1412" y="1645"/>
                    </a:lnTo>
                    <a:lnTo>
                      <a:pt x="1411" y="1646"/>
                    </a:lnTo>
                    <a:lnTo>
                      <a:pt x="1412" y="1648"/>
                    </a:lnTo>
                    <a:lnTo>
                      <a:pt x="1411" y="1648"/>
                    </a:lnTo>
                    <a:lnTo>
                      <a:pt x="1409" y="1648"/>
                    </a:lnTo>
                    <a:lnTo>
                      <a:pt x="1407" y="1646"/>
                    </a:lnTo>
                    <a:lnTo>
                      <a:pt x="1407" y="1648"/>
                    </a:lnTo>
                    <a:lnTo>
                      <a:pt x="1406" y="1648"/>
                    </a:lnTo>
                    <a:lnTo>
                      <a:pt x="1404" y="1648"/>
                    </a:lnTo>
                    <a:lnTo>
                      <a:pt x="1402" y="1646"/>
                    </a:lnTo>
                    <a:lnTo>
                      <a:pt x="1404" y="1646"/>
                    </a:lnTo>
                    <a:lnTo>
                      <a:pt x="1402" y="1645"/>
                    </a:lnTo>
                    <a:lnTo>
                      <a:pt x="1404" y="1645"/>
                    </a:lnTo>
                    <a:lnTo>
                      <a:pt x="1404" y="1646"/>
                    </a:lnTo>
                    <a:lnTo>
                      <a:pt x="1406" y="1646"/>
                    </a:lnTo>
                    <a:lnTo>
                      <a:pt x="1407" y="1646"/>
                    </a:lnTo>
                    <a:lnTo>
                      <a:pt x="1406" y="1645"/>
                    </a:lnTo>
                    <a:lnTo>
                      <a:pt x="1404" y="1645"/>
                    </a:lnTo>
                    <a:lnTo>
                      <a:pt x="1404" y="1643"/>
                    </a:lnTo>
                    <a:lnTo>
                      <a:pt x="1402" y="1645"/>
                    </a:lnTo>
                    <a:lnTo>
                      <a:pt x="1402" y="1643"/>
                    </a:lnTo>
                    <a:lnTo>
                      <a:pt x="1400" y="1643"/>
                    </a:lnTo>
                    <a:lnTo>
                      <a:pt x="1400" y="1645"/>
                    </a:lnTo>
                    <a:lnTo>
                      <a:pt x="1399" y="1646"/>
                    </a:lnTo>
                    <a:lnTo>
                      <a:pt x="1399" y="1645"/>
                    </a:lnTo>
                    <a:lnTo>
                      <a:pt x="1399" y="1646"/>
                    </a:lnTo>
                    <a:lnTo>
                      <a:pt x="1397" y="1646"/>
                    </a:lnTo>
                    <a:lnTo>
                      <a:pt x="1395" y="1645"/>
                    </a:lnTo>
                    <a:lnTo>
                      <a:pt x="1394" y="1645"/>
                    </a:lnTo>
                    <a:lnTo>
                      <a:pt x="1394" y="1643"/>
                    </a:lnTo>
                    <a:lnTo>
                      <a:pt x="1395" y="1643"/>
                    </a:lnTo>
                    <a:lnTo>
                      <a:pt x="1397" y="1643"/>
                    </a:lnTo>
                    <a:lnTo>
                      <a:pt x="1395" y="1643"/>
                    </a:lnTo>
                    <a:lnTo>
                      <a:pt x="1394" y="1641"/>
                    </a:lnTo>
                    <a:lnTo>
                      <a:pt x="1394" y="1640"/>
                    </a:lnTo>
                    <a:lnTo>
                      <a:pt x="1394" y="1638"/>
                    </a:lnTo>
                    <a:lnTo>
                      <a:pt x="1394" y="1636"/>
                    </a:lnTo>
                    <a:lnTo>
                      <a:pt x="1394" y="1635"/>
                    </a:lnTo>
                    <a:lnTo>
                      <a:pt x="1394" y="1633"/>
                    </a:lnTo>
                    <a:lnTo>
                      <a:pt x="1392" y="1633"/>
                    </a:lnTo>
                    <a:lnTo>
                      <a:pt x="1394" y="1631"/>
                    </a:lnTo>
                    <a:lnTo>
                      <a:pt x="1392" y="1633"/>
                    </a:lnTo>
                    <a:lnTo>
                      <a:pt x="1392" y="1631"/>
                    </a:lnTo>
                    <a:lnTo>
                      <a:pt x="1392" y="1633"/>
                    </a:lnTo>
                    <a:lnTo>
                      <a:pt x="1390" y="1633"/>
                    </a:lnTo>
                    <a:lnTo>
                      <a:pt x="1389" y="1633"/>
                    </a:lnTo>
                    <a:lnTo>
                      <a:pt x="1387" y="1631"/>
                    </a:lnTo>
                    <a:lnTo>
                      <a:pt x="1387" y="1629"/>
                    </a:lnTo>
                    <a:lnTo>
                      <a:pt x="1385" y="1629"/>
                    </a:lnTo>
                    <a:lnTo>
                      <a:pt x="1387" y="1628"/>
                    </a:lnTo>
                    <a:lnTo>
                      <a:pt x="1389" y="1628"/>
                    </a:lnTo>
                    <a:lnTo>
                      <a:pt x="1390" y="1628"/>
                    </a:lnTo>
                    <a:lnTo>
                      <a:pt x="1392" y="1628"/>
                    </a:lnTo>
                    <a:lnTo>
                      <a:pt x="1390" y="1626"/>
                    </a:lnTo>
                    <a:lnTo>
                      <a:pt x="1392" y="1626"/>
                    </a:lnTo>
                    <a:lnTo>
                      <a:pt x="1394" y="1626"/>
                    </a:lnTo>
                    <a:lnTo>
                      <a:pt x="1395" y="1626"/>
                    </a:lnTo>
                    <a:lnTo>
                      <a:pt x="1397" y="1626"/>
                    </a:lnTo>
                    <a:lnTo>
                      <a:pt x="1399" y="1626"/>
                    </a:lnTo>
                    <a:lnTo>
                      <a:pt x="1400" y="1626"/>
                    </a:lnTo>
                    <a:close/>
                    <a:moveTo>
                      <a:pt x="1232" y="1075"/>
                    </a:moveTo>
                    <a:lnTo>
                      <a:pt x="1232" y="1077"/>
                    </a:lnTo>
                    <a:lnTo>
                      <a:pt x="1234" y="1077"/>
                    </a:lnTo>
                    <a:lnTo>
                      <a:pt x="1234" y="1078"/>
                    </a:lnTo>
                    <a:lnTo>
                      <a:pt x="1232" y="1080"/>
                    </a:lnTo>
                    <a:lnTo>
                      <a:pt x="1230" y="1082"/>
                    </a:lnTo>
                    <a:lnTo>
                      <a:pt x="1232" y="1082"/>
                    </a:lnTo>
                    <a:lnTo>
                      <a:pt x="1230" y="1082"/>
                    </a:lnTo>
                    <a:lnTo>
                      <a:pt x="1230" y="1083"/>
                    </a:lnTo>
                    <a:lnTo>
                      <a:pt x="1232" y="1082"/>
                    </a:lnTo>
                    <a:lnTo>
                      <a:pt x="1232" y="1080"/>
                    </a:lnTo>
                    <a:lnTo>
                      <a:pt x="1234" y="1080"/>
                    </a:lnTo>
                    <a:lnTo>
                      <a:pt x="1234" y="1078"/>
                    </a:lnTo>
                    <a:lnTo>
                      <a:pt x="1234" y="1077"/>
                    </a:lnTo>
                    <a:lnTo>
                      <a:pt x="1236" y="1078"/>
                    </a:lnTo>
                    <a:lnTo>
                      <a:pt x="1237" y="1078"/>
                    </a:lnTo>
                    <a:lnTo>
                      <a:pt x="1237" y="1080"/>
                    </a:lnTo>
                    <a:lnTo>
                      <a:pt x="1239" y="1080"/>
                    </a:lnTo>
                    <a:lnTo>
                      <a:pt x="1239" y="1082"/>
                    </a:lnTo>
                    <a:lnTo>
                      <a:pt x="1241" y="1082"/>
                    </a:lnTo>
                    <a:lnTo>
                      <a:pt x="1241" y="1083"/>
                    </a:lnTo>
                    <a:lnTo>
                      <a:pt x="1239" y="1083"/>
                    </a:lnTo>
                    <a:lnTo>
                      <a:pt x="1239" y="1085"/>
                    </a:lnTo>
                    <a:lnTo>
                      <a:pt x="1237" y="1087"/>
                    </a:lnTo>
                    <a:lnTo>
                      <a:pt x="1236" y="1087"/>
                    </a:lnTo>
                    <a:lnTo>
                      <a:pt x="1234" y="1087"/>
                    </a:lnTo>
                    <a:lnTo>
                      <a:pt x="1232" y="1085"/>
                    </a:lnTo>
                    <a:lnTo>
                      <a:pt x="1230" y="1085"/>
                    </a:lnTo>
                    <a:lnTo>
                      <a:pt x="1232" y="1085"/>
                    </a:lnTo>
                    <a:lnTo>
                      <a:pt x="1230" y="1085"/>
                    </a:lnTo>
                    <a:lnTo>
                      <a:pt x="1232" y="1085"/>
                    </a:lnTo>
                    <a:lnTo>
                      <a:pt x="1230" y="1087"/>
                    </a:lnTo>
                    <a:lnTo>
                      <a:pt x="1232" y="1087"/>
                    </a:lnTo>
                    <a:lnTo>
                      <a:pt x="1234" y="1087"/>
                    </a:lnTo>
                    <a:lnTo>
                      <a:pt x="1234" y="1088"/>
                    </a:lnTo>
                    <a:lnTo>
                      <a:pt x="1236" y="1088"/>
                    </a:lnTo>
                    <a:lnTo>
                      <a:pt x="1237" y="1088"/>
                    </a:lnTo>
                    <a:lnTo>
                      <a:pt x="1237" y="1090"/>
                    </a:lnTo>
                    <a:lnTo>
                      <a:pt x="1236" y="1090"/>
                    </a:lnTo>
                    <a:lnTo>
                      <a:pt x="1236" y="1092"/>
                    </a:lnTo>
                    <a:lnTo>
                      <a:pt x="1234" y="1094"/>
                    </a:lnTo>
                    <a:lnTo>
                      <a:pt x="1234" y="1092"/>
                    </a:lnTo>
                    <a:lnTo>
                      <a:pt x="1234" y="1094"/>
                    </a:lnTo>
                    <a:lnTo>
                      <a:pt x="1232" y="1094"/>
                    </a:lnTo>
                    <a:lnTo>
                      <a:pt x="1230" y="1095"/>
                    </a:lnTo>
                    <a:lnTo>
                      <a:pt x="1230" y="1097"/>
                    </a:lnTo>
                    <a:lnTo>
                      <a:pt x="1229" y="1097"/>
                    </a:lnTo>
                    <a:lnTo>
                      <a:pt x="1229" y="1099"/>
                    </a:lnTo>
                    <a:lnTo>
                      <a:pt x="1227" y="1099"/>
                    </a:lnTo>
                    <a:lnTo>
                      <a:pt x="1227" y="1100"/>
                    </a:lnTo>
                    <a:lnTo>
                      <a:pt x="1225" y="1100"/>
                    </a:lnTo>
                    <a:lnTo>
                      <a:pt x="1224" y="1100"/>
                    </a:lnTo>
                    <a:lnTo>
                      <a:pt x="1224" y="1102"/>
                    </a:lnTo>
                    <a:lnTo>
                      <a:pt x="1222" y="1100"/>
                    </a:lnTo>
                    <a:lnTo>
                      <a:pt x="1220" y="1100"/>
                    </a:lnTo>
                    <a:lnTo>
                      <a:pt x="1220" y="1099"/>
                    </a:lnTo>
                    <a:lnTo>
                      <a:pt x="1220" y="1100"/>
                    </a:lnTo>
                    <a:lnTo>
                      <a:pt x="1220" y="1099"/>
                    </a:lnTo>
                    <a:lnTo>
                      <a:pt x="1219" y="1099"/>
                    </a:lnTo>
                    <a:lnTo>
                      <a:pt x="1219" y="1097"/>
                    </a:lnTo>
                    <a:lnTo>
                      <a:pt x="1217" y="1097"/>
                    </a:lnTo>
                    <a:lnTo>
                      <a:pt x="1217" y="1095"/>
                    </a:lnTo>
                    <a:lnTo>
                      <a:pt x="1219" y="1095"/>
                    </a:lnTo>
                    <a:lnTo>
                      <a:pt x="1220" y="1095"/>
                    </a:lnTo>
                    <a:lnTo>
                      <a:pt x="1220" y="1094"/>
                    </a:lnTo>
                    <a:lnTo>
                      <a:pt x="1222" y="1095"/>
                    </a:lnTo>
                    <a:lnTo>
                      <a:pt x="1224" y="1095"/>
                    </a:lnTo>
                    <a:lnTo>
                      <a:pt x="1222" y="1094"/>
                    </a:lnTo>
                    <a:lnTo>
                      <a:pt x="1220" y="1092"/>
                    </a:lnTo>
                    <a:lnTo>
                      <a:pt x="1222" y="1092"/>
                    </a:lnTo>
                    <a:lnTo>
                      <a:pt x="1220" y="1092"/>
                    </a:lnTo>
                    <a:lnTo>
                      <a:pt x="1220" y="1094"/>
                    </a:lnTo>
                    <a:lnTo>
                      <a:pt x="1219" y="1094"/>
                    </a:lnTo>
                    <a:lnTo>
                      <a:pt x="1219" y="1095"/>
                    </a:lnTo>
                    <a:lnTo>
                      <a:pt x="1217" y="1094"/>
                    </a:lnTo>
                    <a:lnTo>
                      <a:pt x="1217" y="1092"/>
                    </a:lnTo>
                    <a:lnTo>
                      <a:pt x="1219" y="1092"/>
                    </a:lnTo>
                    <a:lnTo>
                      <a:pt x="1217" y="1092"/>
                    </a:lnTo>
                    <a:lnTo>
                      <a:pt x="1215" y="1092"/>
                    </a:lnTo>
                    <a:lnTo>
                      <a:pt x="1215" y="1090"/>
                    </a:lnTo>
                    <a:lnTo>
                      <a:pt x="1215" y="1088"/>
                    </a:lnTo>
                    <a:lnTo>
                      <a:pt x="1215" y="1087"/>
                    </a:lnTo>
                    <a:lnTo>
                      <a:pt x="1215" y="1088"/>
                    </a:lnTo>
                    <a:lnTo>
                      <a:pt x="1215" y="1087"/>
                    </a:lnTo>
                    <a:lnTo>
                      <a:pt x="1215" y="1085"/>
                    </a:lnTo>
                    <a:lnTo>
                      <a:pt x="1217" y="1085"/>
                    </a:lnTo>
                    <a:lnTo>
                      <a:pt x="1217" y="1083"/>
                    </a:lnTo>
                    <a:lnTo>
                      <a:pt x="1217" y="1085"/>
                    </a:lnTo>
                    <a:lnTo>
                      <a:pt x="1219" y="1085"/>
                    </a:lnTo>
                    <a:lnTo>
                      <a:pt x="1217" y="1085"/>
                    </a:lnTo>
                    <a:lnTo>
                      <a:pt x="1219" y="1085"/>
                    </a:lnTo>
                    <a:lnTo>
                      <a:pt x="1219" y="1087"/>
                    </a:lnTo>
                    <a:lnTo>
                      <a:pt x="1219" y="1085"/>
                    </a:lnTo>
                    <a:lnTo>
                      <a:pt x="1220" y="1085"/>
                    </a:lnTo>
                    <a:lnTo>
                      <a:pt x="1220" y="1087"/>
                    </a:lnTo>
                    <a:lnTo>
                      <a:pt x="1222" y="1087"/>
                    </a:lnTo>
                    <a:lnTo>
                      <a:pt x="1224" y="1087"/>
                    </a:lnTo>
                    <a:lnTo>
                      <a:pt x="1222" y="1085"/>
                    </a:lnTo>
                    <a:lnTo>
                      <a:pt x="1220" y="1085"/>
                    </a:lnTo>
                    <a:lnTo>
                      <a:pt x="1222" y="1085"/>
                    </a:lnTo>
                    <a:lnTo>
                      <a:pt x="1220" y="1083"/>
                    </a:lnTo>
                    <a:lnTo>
                      <a:pt x="1222" y="1083"/>
                    </a:lnTo>
                    <a:lnTo>
                      <a:pt x="1222" y="1082"/>
                    </a:lnTo>
                    <a:lnTo>
                      <a:pt x="1222" y="1083"/>
                    </a:lnTo>
                    <a:lnTo>
                      <a:pt x="1224" y="1083"/>
                    </a:lnTo>
                    <a:lnTo>
                      <a:pt x="1225" y="1083"/>
                    </a:lnTo>
                    <a:lnTo>
                      <a:pt x="1225" y="1085"/>
                    </a:lnTo>
                    <a:lnTo>
                      <a:pt x="1225" y="1083"/>
                    </a:lnTo>
                    <a:lnTo>
                      <a:pt x="1225" y="1082"/>
                    </a:lnTo>
                    <a:lnTo>
                      <a:pt x="1224" y="1082"/>
                    </a:lnTo>
                    <a:lnTo>
                      <a:pt x="1222" y="1082"/>
                    </a:lnTo>
                    <a:lnTo>
                      <a:pt x="1222" y="1080"/>
                    </a:lnTo>
                    <a:lnTo>
                      <a:pt x="1222" y="1078"/>
                    </a:lnTo>
                    <a:lnTo>
                      <a:pt x="1222" y="1077"/>
                    </a:lnTo>
                    <a:lnTo>
                      <a:pt x="1224" y="1077"/>
                    </a:lnTo>
                    <a:lnTo>
                      <a:pt x="1225" y="1077"/>
                    </a:lnTo>
                    <a:lnTo>
                      <a:pt x="1225" y="1078"/>
                    </a:lnTo>
                    <a:lnTo>
                      <a:pt x="1225" y="1077"/>
                    </a:lnTo>
                    <a:lnTo>
                      <a:pt x="1227" y="1077"/>
                    </a:lnTo>
                    <a:lnTo>
                      <a:pt x="1227" y="1075"/>
                    </a:lnTo>
                    <a:lnTo>
                      <a:pt x="1229" y="1075"/>
                    </a:lnTo>
                    <a:lnTo>
                      <a:pt x="1230" y="1075"/>
                    </a:lnTo>
                    <a:lnTo>
                      <a:pt x="1232" y="1075"/>
                    </a:lnTo>
                    <a:close/>
                    <a:moveTo>
                      <a:pt x="1315" y="1549"/>
                    </a:moveTo>
                    <a:lnTo>
                      <a:pt x="1315" y="1551"/>
                    </a:lnTo>
                    <a:lnTo>
                      <a:pt x="1315" y="1553"/>
                    </a:lnTo>
                    <a:lnTo>
                      <a:pt x="1315" y="1555"/>
                    </a:lnTo>
                    <a:lnTo>
                      <a:pt x="1315" y="1556"/>
                    </a:lnTo>
                    <a:lnTo>
                      <a:pt x="1315" y="1558"/>
                    </a:lnTo>
                    <a:lnTo>
                      <a:pt x="1315" y="1560"/>
                    </a:lnTo>
                    <a:lnTo>
                      <a:pt x="1315" y="1561"/>
                    </a:lnTo>
                    <a:lnTo>
                      <a:pt x="1317" y="1563"/>
                    </a:lnTo>
                    <a:lnTo>
                      <a:pt x="1315" y="1563"/>
                    </a:lnTo>
                    <a:lnTo>
                      <a:pt x="1317" y="1565"/>
                    </a:lnTo>
                    <a:lnTo>
                      <a:pt x="1315" y="1565"/>
                    </a:lnTo>
                    <a:lnTo>
                      <a:pt x="1317" y="1566"/>
                    </a:lnTo>
                    <a:lnTo>
                      <a:pt x="1315" y="1566"/>
                    </a:lnTo>
                    <a:lnTo>
                      <a:pt x="1315" y="1568"/>
                    </a:lnTo>
                    <a:lnTo>
                      <a:pt x="1317" y="1570"/>
                    </a:lnTo>
                    <a:lnTo>
                      <a:pt x="1319" y="1572"/>
                    </a:lnTo>
                    <a:lnTo>
                      <a:pt x="1319" y="1573"/>
                    </a:lnTo>
                    <a:lnTo>
                      <a:pt x="1321" y="1575"/>
                    </a:lnTo>
                    <a:lnTo>
                      <a:pt x="1319" y="1577"/>
                    </a:lnTo>
                    <a:lnTo>
                      <a:pt x="1317" y="1577"/>
                    </a:lnTo>
                    <a:lnTo>
                      <a:pt x="1317" y="1578"/>
                    </a:lnTo>
                    <a:lnTo>
                      <a:pt x="1315" y="1577"/>
                    </a:lnTo>
                    <a:lnTo>
                      <a:pt x="1314" y="1575"/>
                    </a:lnTo>
                    <a:lnTo>
                      <a:pt x="1312" y="1573"/>
                    </a:lnTo>
                    <a:lnTo>
                      <a:pt x="1310" y="1572"/>
                    </a:lnTo>
                    <a:lnTo>
                      <a:pt x="1309" y="1570"/>
                    </a:lnTo>
                    <a:lnTo>
                      <a:pt x="1309" y="1572"/>
                    </a:lnTo>
                    <a:lnTo>
                      <a:pt x="1309" y="1573"/>
                    </a:lnTo>
                    <a:lnTo>
                      <a:pt x="1310" y="1573"/>
                    </a:lnTo>
                    <a:lnTo>
                      <a:pt x="1310" y="1575"/>
                    </a:lnTo>
                    <a:lnTo>
                      <a:pt x="1312" y="1575"/>
                    </a:lnTo>
                    <a:lnTo>
                      <a:pt x="1312" y="1577"/>
                    </a:lnTo>
                    <a:lnTo>
                      <a:pt x="1312" y="1578"/>
                    </a:lnTo>
                    <a:lnTo>
                      <a:pt x="1312" y="1580"/>
                    </a:lnTo>
                    <a:lnTo>
                      <a:pt x="1312" y="1582"/>
                    </a:lnTo>
                    <a:lnTo>
                      <a:pt x="1314" y="1582"/>
                    </a:lnTo>
                    <a:lnTo>
                      <a:pt x="1314" y="1583"/>
                    </a:lnTo>
                    <a:lnTo>
                      <a:pt x="1314" y="1582"/>
                    </a:lnTo>
                    <a:lnTo>
                      <a:pt x="1315" y="1582"/>
                    </a:lnTo>
                    <a:lnTo>
                      <a:pt x="1315" y="1583"/>
                    </a:lnTo>
                    <a:lnTo>
                      <a:pt x="1317" y="1583"/>
                    </a:lnTo>
                    <a:lnTo>
                      <a:pt x="1317" y="1585"/>
                    </a:lnTo>
                    <a:lnTo>
                      <a:pt x="1319" y="1585"/>
                    </a:lnTo>
                    <a:lnTo>
                      <a:pt x="1321" y="1585"/>
                    </a:lnTo>
                    <a:lnTo>
                      <a:pt x="1322" y="1585"/>
                    </a:lnTo>
                    <a:lnTo>
                      <a:pt x="1321" y="1585"/>
                    </a:lnTo>
                    <a:lnTo>
                      <a:pt x="1322" y="1587"/>
                    </a:lnTo>
                    <a:lnTo>
                      <a:pt x="1321" y="1589"/>
                    </a:lnTo>
                    <a:lnTo>
                      <a:pt x="1322" y="1587"/>
                    </a:lnTo>
                    <a:lnTo>
                      <a:pt x="1324" y="1587"/>
                    </a:lnTo>
                    <a:lnTo>
                      <a:pt x="1324" y="1589"/>
                    </a:lnTo>
                    <a:lnTo>
                      <a:pt x="1322" y="1590"/>
                    </a:lnTo>
                    <a:lnTo>
                      <a:pt x="1321" y="1590"/>
                    </a:lnTo>
                    <a:lnTo>
                      <a:pt x="1319" y="1590"/>
                    </a:lnTo>
                    <a:lnTo>
                      <a:pt x="1317" y="1589"/>
                    </a:lnTo>
                    <a:lnTo>
                      <a:pt x="1315" y="1589"/>
                    </a:lnTo>
                    <a:lnTo>
                      <a:pt x="1314" y="1587"/>
                    </a:lnTo>
                    <a:lnTo>
                      <a:pt x="1315" y="1589"/>
                    </a:lnTo>
                    <a:lnTo>
                      <a:pt x="1314" y="1589"/>
                    </a:lnTo>
                    <a:lnTo>
                      <a:pt x="1312" y="1587"/>
                    </a:lnTo>
                    <a:lnTo>
                      <a:pt x="1310" y="1587"/>
                    </a:lnTo>
                    <a:lnTo>
                      <a:pt x="1309" y="1585"/>
                    </a:lnTo>
                    <a:lnTo>
                      <a:pt x="1307" y="1585"/>
                    </a:lnTo>
                    <a:lnTo>
                      <a:pt x="1305" y="1583"/>
                    </a:lnTo>
                    <a:lnTo>
                      <a:pt x="1305" y="1582"/>
                    </a:lnTo>
                    <a:lnTo>
                      <a:pt x="1304" y="1582"/>
                    </a:lnTo>
                    <a:lnTo>
                      <a:pt x="1304" y="1580"/>
                    </a:lnTo>
                    <a:lnTo>
                      <a:pt x="1305" y="1580"/>
                    </a:lnTo>
                    <a:lnTo>
                      <a:pt x="1304" y="1580"/>
                    </a:lnTo>
                    <a:lnTo>
                      <a:pt x="1302" y="1578"/>
                    </a:lnTo>
                    <a:lnTo>
                      <a:pt x="1302" y="1577"/>
                    </a:lnTo>
                    <a:lnTo>
                      <a:pt x="1302" y="1575"/>
                    </a:lnTo>
                    <a:lnTo>
                      <a:pt x="1302" y="1573"/>
                    </a:lnTo>
                    <a:lnTo>
                      <a:pt x="1302" y="1572"/>
                    </a:lnTo>
                    <a:lnTo>
                      <a:pt x="1300" y="1570"/>
                    </a:lnTo>
                    <a:lnTo>
                      <a:pt x="1302" y="1570"/>
                    </a:lnTo>
                    <a:lnTo>
                      <a:pt x="1304" y="1570"/>
                    </a:lnTo>
                    <a:lnTo>
                      <a:pt x="1302" y="1570"/>
                    </a:lnTo>
                    <a:lnTo>
                      <a:pt x="1302" y="1568"/>
                    </a:lnTo>
                    <a:lnTo>
                      <a:pt x="1300" y="1568"/>
                    </a:lnTo>
                    <a:lnTo>
                      <a:pt x="1300" y="1566"/>
                    </a:lnTo>
                    <a:lnTo>
                      <a:pt x="1302" y="1566"/>
                    </a:lnTo>
                    <a:lnTo>
                      <a:pt x="1302" y="1565"/>
                    </a:lnTo>
                    <a:lnTo>
                      <a:pt x="1304" y="1565"/>
                    </a:lnTo>
                    <a:lnTo>
                      <a:pt x="1305" y="1565"/>
                    </a:lnTo>
                    <a:lnTo>
                      <a:pt x="1307" y="1565"/>
                    </a:lnTo>
                    <a:lnTo>
                      <a:pt x="1309" y="1565"/>
                    </a:lnTo>
                    <a:lnTo>
                      <a:pt x="1309" y="1566"/>
                    </a:lnTo>
                    <a:lnTo>
                      <a:pt x="1310" y="1566"/>
                    </a:lnTo>
                    <a:lnTo>
                      <a:pt x="1310" y="1565"/>
                    </a:lnTo>
                    <a:lnTo>
                      <a:pt x="1310" y="1563"/>
                    </a:lnTo>
                    <a:lnTo>
                      <a:pt x="1309" y="1563"/>
                    </a:lnTo>
                    <a:lnTo>
                      <a:pt x="1307" y="1561"/>
                    </a:lnTo>
                    <a:lnTo>
                      <a:pt x="1307" y="1560"/>
                    </a:lnTo>
                    <a:lnTo>
                      <a:pt x="1307" y="1558"/>
                    </a:lnTo>
                    <a:lnTo>
                      <a:pt x="1307" y="1556"/>
                    </a:lnTo>
                    <a:lnTo>
                      <a:pt x="1309" y="1556"/>
                    </a:lnTo>
                    <a:lnTo>
                      <a:pt x="1310" y="1555"/>
                    </a:lnTo>
                    <a:lnTo>
                      <a:pt x="1312" y="1553"/>
                    </a:lnTo>
                    <a:lnTo>
                      <a:pt x="1312" y="1551"/>
                    </a:lnTo>
                    <a:lnTo>
                      <a:pt x="1312" y="1549"/>
                    </a:lnTo>
                    <a:lnTo>
                      <a:pt x="1314" y="1549"/>
                    </a:lnTo>
                    <a:lnTo>
                      <a:pt x="1315" y="1549"/>
                    </a:lnTo>
                    <a:close/>
                    <a:moveTo>
                      <a:pt x="1174" y="1502"/>
                    </a:moveTo>
                    <a:lnTo>
                      <a:pt x="1174" y="1504"/>
                    </a:lnTo>
                    <a:lnTo>
                      <a:pt x="1176" y="1504"/>
                    </a:lnTo>
                    <a:lnTo>
                      <a:pt x="1174" y="1504"/>
                    </a:lnTo>
                    <a:lnTo>
                      <a:pt x="1176" y="1505"/>
                    </a:lnTo>
                    <a:lnTo>
                      <a:pt x="1178" y="1505"/>
                    </a:lnTo>
                    <a:lnTo>
                      <a:pt x="1178" y="1507"/>
                    </a:lnTo>
                    <a:lnTo>
                      <a:pt x="1179" y="1507"/>
                    </a:lnTo>
                    <a:lnTo>
                      <a:pt x="1179" y="1505"/>
                    </a:lnTo>
                    <a:lnTo>
                      <a:pt x="1179" y="1507"/>
                    </a:lnTo>
                    <a:lnTo>
                      <a:pt x="1181" y="1507"/>
                    </a:lnTo>
                    <a:lnTo>
                      <a:pt x="1181" y="1509"/>
                    </a:lnTo>
                    <a:lnTo>
                      <a:pt x="1179" y="1509"/>
                    </a:lnTo>
                    <a:lnTo>
                      <a:pt x="1181" y="1509"/>
                    </a:lnTo>
                    <a:lnTo>
                      <a:pt x="1181" y="1510"/>
                    </a:lnTo>
                    <a:lnTo>
                      <a:pt x="1179" y="1510"/>
                    </a:lnTo>
                    <a:lnTo>
                      <a:pt x="1181" y="1510"/>
                    </a:lnTo>
                    <a:lnTo>
                      <a:pt x="1183" y="1510"/>
                    </a:lnTo>
                    <a:lnTo>
                      <a:pt x="1183" y="1512"/>
                    </a:lnTo>
                    <a:lnTo>
                      <a:pt x="1183" y="1510"/>
                    </a:lnTo>
                    <a:lnTo>
                      <a:pt x="1185" y="1510"/>
                    </a:lnTo>
                    <a:lnTo>
                      <a:pt x="1183" y="1512"/>
                    </a:lnTo>
                    <a:lnTo>
                      <a:pt x="1183" y="1514"/>
                    </a:lnTo>
                    <a:lnTo>
                      <a:pt x="1185" y="1514"/>
                    </a:lnTo>
                    <a:lnTo>
                      <a:pt x="1185" y="1515"/>
                    </a:lnTo>
                    <a:lnTo>
                      <a:pt x="1186" y="1515"/>
                    </a:lnTo>
                    <a:lnTo>
                      <a:pt x="1185" y="1515"/>
                    </a:lnTo>
                    <a:lnTo>
                      <a:pt x="1185" y="1514"/>
                    </a:lnTo>
                    <a:lnTo>
                      <a:pt x="1186" y="1514"/>
                    </a:lnTo>
                    <a:lnTo>
                      <a:pt x="1186" y="1512"/>
                    </a:lnTo>
                    <a:lnTo>
                      <a:pt x="1186" y="1514"/>
                    </a:lnTo>
                    <a:lnTo>
                      <a:pt x="1186" y="1515"/>
                    </a:lnTo>
                    <a:lnTo>
                      <a:pt x="1188" y="1515"/>
                    </a:lnTo>
                    <a:lnTo>
                      <a:pt x="1186" y="1517"/>
                    </a:lnTo>
                    <a:lnTo>
                      <a:pt x="1188" y="1515"/>
                    </a:lnTo>
                    <a:lnTo>
                      <a:pt x="1188" y="1514"/>
                    </a:lnTo>
                    <a:lnTo>
                      <a:pt x="1188" y="1515"/>
                    </a:lnTo>
                    <a:lnTo>
                      <a:pt x="1190" y="1515"/>
                    </a:lnTo>
                    <a:lnTo>
                      <a:pt x="1190" y="1517"/>
                    </a:lnTo>
                    <a:lnTo>
                      <a:pt x="1190" y="1515"/>
                    </a:lnTo>
                    <a:lnTo>
                      <a:pt x="1191" y="1517"/>
                    </a:lnTo>
                    <a:lnTo>
                      <a:pt x="1190" y="1517"/>
                    </a:lnTo>
                    <a:lnTo>
                      <a:pt x="1191" y="1517"/>
                    </a:lnTo>
                    <a:lnTo>
                      <a:pt x="1193" y="1519"/>
                    </a:lnTo>
                    <a:lnTo>
                      <a:pt x="1193" y="1517"/>
                    </a:lnTo>
                    <a:lnTo>
                      <a:pt x="1193" y="1515"/>
                    </a:lnTo>
                    <a:lnTo>
                      <a:pt x="1191" y="1515"/>
                    </a:lnTo>
                    <a:lnTo>
                      <a:pt x="1191" y="1514"/>
                    </a:lnTo>
                    <a:lnTo>
                      <a:pt x="1193" y="1514"/>
                    </a:lnTo>
                    <a:lnTo>
                      <a:pt x="1193" y="1515"/>
                    </a:lnTo>
                    <a:lnTo>
                      <a:pt x="1195" y="1515"/>
                    </a:lnTo>
                    <a:lnTo>
                      <a:pt x="1193" y="1515"/>
                    </a:lnTo>
                    <a:lnTo>
                      <a:pt x="1195" y="1517"/>
                    </a:lnTo>
                    <a:lnTo>
                      <a:pt x="1196" y="1517"/>
                    </a:lnTo>
                    <a:lnTo>
                      <a:pt x="1195" y="1517"/>
                    </a:lnTo>
                    <a:lnTo>
                      <a:pt x="1196" y="1517"/>
                    </a:lnTo>
                    <a:lnTo>
                      <a:pt x="1198" y="1517"/>
                    </a:lnTo>
                    <a:lnTo>
                      <a:pt x="1198" y="1519"/>
                    </a:lnTo>
                    <a:lnTo>
                      <a:pt x="1196" y="1517"/>
                    </a:lnTo>
                    <a:lnTo>
                      <a:pt x="1198" y="1519"/>
                    </a:lnTo>
                    <a:lnTo>
                      <a:pt x="1196" y="1519"/>
                    </a:lnTo>
                    <a:lnTo>
                      <a:pt x="1198" y="1519"/>
                    </a:lnTo>
                    <a:lnTo>
                      <a:pt x="1198" y="1521"/>
                    </a:lnTo>
                    <a:lnTo>
                      <a:pt x="1200" y="1521"/>
                    </a:lnTo>
                    <a:lnTo>
                      <a:pt x="1198" y="1521"/>
                    </a:lnTo>
                    <a:lnTo>
                      <a:pt x="1200" y="1521"/>
                    </a:lnTo>
                    <a:lnTo>
                      <a:pt x="1198" y="1519"/>
                    </a:lnTo>
                    <a:lnTo>
                      <a:pt x="1200" y="1519"/>
                    </a:lnTo>
                    <a:lnTo>
                      <a:pt x="1202" y="1519"/>
                    </a:lnTo>
                    <a:lnTo>
                      <a:pt x="1202" y="1521"/>
                    </a:lnTo>
                    <a:lnTo>
                      <a:pt x="1203" y="1522"/>
                    </a:lnTo>
                    <a:lnTo>
                      <a:pt x="1202" y="1521"/>
                    </a:lnTo>
                    <a:lnTo>
                      <a:pt x="1202" y="1519"/>
                    </a:lnTo>
                    <a:lnTo>
                      <a:pt x="1203" y="1521"/>
                    </a:lnTo>
                    <a:lnTo>
                      <a:pt x="1205" y="1522"/>
                    </a:lnTo>
                    <a:lnTo>
                      <a:pt x="1205" y="1521"/>
                    </a:lnTo>
                    <a:lnTo>
                      <a:pt x="1205" y="1522"/>
                    </a:lnTo>
                    <a:lnTo>
                      <a:pt x="1207" y="1522"/>
                    </a:lnTo>
                    <a:lnTo>
                      <a:pt x="1205" y="1522"/>
                    </a:lnTo>
                    <a:lnTo>
                      <a:pt x="1207" y="1522"/>
                    </a:lnTo>
                    <a:lnTo>
                      <a:pt x="1207" y="1524"/>
                    </a:lnTo>
                    <a:lnTo>
                      <a:pt x="1208" y="1524"/>
                    </a:lnTo>
                    <a:lnTo>
                      <a:pt x="1207" y="1524"/>
                    </a:lnTo>
                    <a:lnTo>
                      <a:pt x="1208" y="1524"/>
                    </a:lnTo>
                    <a:lnTo>
                      <a:pt x="1208" y="1526"/>
                    </a:lnTo>
                    <a:lnTo>
                      <a:pt x="1208" y="1527"/>
                    </a:lnTo>
                    <a:lnTo>
                      <a:pt x="1208" y="1526"/>
                    </a:lnTo>
                    <a:lnTo>
                      <a:pt x="1210" y="1526"/>
                    </a:lnTo>
                    <a:lnTo>
                      <a:pt x="1208" y="1526"/>
                    </a:lnTo>
                    <a:lnTo>
                      <a:pt x="1208" y="1524"/>
                    </a:lnTo>
                    <a:lnTo>
                      <a:pt x="1208" y="1522"/>
                    </a:lnTo>
                    <a:lnTo>
                      <a:pt x="1210" y="1522"/>
                    </a:lnTo>
                    <a:lnTo>
                      <a:pt x="1208" y="1522"/>
                    </a:lnTo>
                    <a:lnTo>
                      <a:pt x="1210" y="1524"/>
                    </a:lnTo>
                    <a:lnTo>
                      <a:pt x="1212" y="1524"/>
                    </a:lnTo>
                    <a:lnTo>
                      <a:pt x="1212" y="1526"/>
                    </a:lnTo>
                    <a:lnTo>
                      <a:pt x="1212" y="1527"/>
                    </a:lnTo>
                    <a:lnTo>
                      <a:pt x="1210" y="1527"/>
                    </a:lnTo>
                    <a:lnTo>
                      <a:pt x="1212" y="1529"/>
                    </a:lnTo>
                    <a:lnTo>
                      <a:pt x="1212" y="1531"/>
                    </a:lnTo>
                    <a:lnTo>
                      <a:pt x="1212" y="1532"/>
                    </a:lnTo>
                    <a:lnTo>
                      <a:pt x="1213" y="1532"/>
                    </a:lnTo>
                    <a:lnTo>
                      <a:pt x="1213" y="1534"/>
                    </a:lnTo>
                    <a:lnTo>
                      <a:pt x="1213" y="1532"/>
                    </a:lnTo>
                    <a:lnTo>
                      <a:pt x="1213" y="1531"/>
                    </a:lnTo>
                    <a:lnTo>
                      <a:pt x="1215" y="1531"/>
                    </a:lnTo>
                    <a:lnTo>
                      <a:pt x="1213" y="1531"/>
                    </a:lnTo>
                    <a:lnTo>
                      <a:pt x="1215" y="1529"/>
                    </a:lnTo>
                    <a:lnTo>
                      <a:pt x="1213" y="1531"/>
                    </a:lnTo>
                    <a:lnTo>
                      <a:pt x="1213" y="1529"/>
                    </a:lnTo>
                    <a:lnTo>
                      <a:pt x="1213" y="1527"/>
                    </a:lnTo>
                    <a:lnTo>
                      <a:pt x="1212" y="1527"/>
                    </a:lnTo>
                    <a:lnTo>
                      <a:pt x="1213" y="1527"/>
                    </a:lnTo>
                    <a:lnTo>
                      <a:pt x="1213" y="1526"/>
                    </a:lnTo>
                    <a:lnTo>
                      <a:pt x="1215" y="1526"/>
                    </a:lnTo>
                    <a:lnTo>
                      <a:pt x="1215" y="1527"/>
                    </a:lnTo>
                    <a:lnTo>
                      <a:pt x="1217" y="1527"/>
                    </a:lnTo>
                    <a:lnTo>
                      <a:pt x="1215" y="1527"/>
                    </a:lnTo>
                    <a:lnTo>
                      <a:pt x="1217" y="1527"/>
                    </a:lnTo>
                    <a:lnTo>
                      <a:pt x="1217" y="1529"/>
                    </a:lnTo>
                    <a:lnTo>
                      <a:pt x="1217" y="1527"/>
                    </a:lnTo>
                    <a:lnTo>
                      <a:pt x="1217" y="1529"/>
                    </a:lnTo>
                    <a:lnTo>
                      <a:pt x="1215" y="1529"/>
                    </a:lnTo>
                    <a:lnTo>
                      <a:pt x="1217" y="1529"/>
                    </a:lnTo>
                    <a:lnTo>
                      <a:pt x="1215" y="1529"/>
                    </a:lnTo>
                    <a:lnTo>
                      <a:pt x="1217" y="1529"/>
                    </a:lnTo>
                    <a:lnTo>
                      <a:pt x="1219" y="1529"/>
                    </a:lnTo>
                    <a:lnTo>
                      <a:pt x="1217" y="1529"/>
                    </a:lnTo>
                    <a:lnTo>
                      <a:pt x="1219" y="1529"/>
                    </a:lnTo>
                    <a:lnTo>
                      <a:pt x="1219" y="1531"/>
                    </a:lnTo>
                    <a:lnTo>
                      <a:pt x="1220" y="1531"/>
                    </a:lnTo>
                    <a:lnTo>
                      <a:pt x="1219" y="1531"/>
                    </a:lnTo>
                    <a:lnTo>
                      <a:pt x="1219" y="1532"/>
                    </a:lnTo>
                    <a:lnTo>
                      <a:pt x="1217" y="1532"/>
                    </a:lnTo>
                    <a:lnTo>
                      <a:pt x="1219" y="1532"/>
                    </a:lnTo>
                    <a:lnTo>
                      <a:pt x="1217" y="1532"/>
                    </a:lnTo>
                    <a:lnTo>
                      <a:pt x="1219" y="1532"/>
                    </a:lnTo>
                    <a:lnTo>
                      <a:pt x="1220" y="1532"/>
                    </a:lnTo>
                    <a:lnTo>
                      <a:pt x="1220" y="1534"/>
                    </a:lnTo>
                    <a:lnTo>
                      <a:pt x="1222" y="1534"/>
                    </a:lnTo>
                    <a:lnTo>
                      <a:pt x="1224" y="1534"/>
                    </a:lnTo>
                    <a:lnTo>
                      <a:pt x="1224" y="1536"/>
                    </a:lnTo>
                    <a:lnTo>
                      <a:pt x="1222" y="1536"/>
                    </a:lnTo>
                    <a:lnTo>
                      <a:pt x="1224" y="1536"/>
                    </a:lnTo>
                    <a:lnTo>
                      <a:pt x="1225" y="1536"/>
                    </a:lnTo>
                    <a:lnTo>
                      <a:pt x="1225" y="1538"/>
                    </a:lnTo>
                    <a:lnTo>
                      <a:pt x="1227" y="1538"/>
                    </a:lnTo>
                    <a:lnTo>
                      <a:pt x="1225" y="1539"/>
                    </a:lnTo>
                    <a:lnTo>
                      <a:pt x="1225" y="1538"/>
                    </a:lnTo>
                    <a:lnTo>
                      <a:pt x="1224" y="1539"/>
                    </a:lnTo>
                    <a:lnTo>
                      <a:pt x="1222" y="1539"/>
                    </a:lnTo>
                    <a:lnTo>
                      <a:pt x="1222" y="1538"/>
                    </a:lnTo>
                    <a:lnTo>
                      <a:pt x="1222" y="1539"/>
                    </a:lnTo>
                    <a:lnTo>
                      <a:pt x="1220" y="1539"/>
                    </a:lnTo>
                    <a:lnTo>
                      <a:pt x="1220" y="1538"/>
                    </a:lnTo>
                    <a:lnTo>
                      <a:pt x="1219" y="1538"/>
                    </a:lnTo>
                    <a:lnTo>
                      <a:pt x="1217" y="1536"/>
                    </a:lnTo>
                    <a:lnTo>
                      <a:pt x="1219" y="1536"/>
                    </a:lnTo>
                    <a:lnTo>
                      <a:pt x="1217" y="1536"/>
                    </a:lnTo>
                    <a:lnTo>
                      <a:pt x="1215" y="1536"/>
                    </a:lnTo>
                    <a:lnTo>
                      <a:pt x="1215" y="1538"/>
                    </a:lnTo>
                    <a:lnTo>
                      <a:pt x="1215" y="1536"/>
                    </a:lnTo>
                    <a:lnTo>
                      <a:pt x="1213" y="1538"/>
                    </a:lnTo>
                    <a:lnTo>
                      <a:pt x="1212" y="1538"/>
                    </a:lnTo>
                    <a:lnTo>
                      <a:pt x="1210" y="1538"/>
                    </a:lnTo>
                    <a:lnTo>
                      <a:pt x="1210" y="1536"/>
                    </a:lnTo>
                    <a:lnTo>
                      <a:pt x="1208" y="1534"/>
                    </a:lnTo>
                    <a:lnTo>
                      <a:pt x="1210" y="1534"/>
                    </a:lnTo>
                    <a:lnTo>
                      <a:pt x="1212" y="1534"/>
                    </a:lnTo>
                    <a:lnTo>
                      <a:pt x="1212" y="1536"/>
                    </a:lnTo>
                    <a:lnTo>
                      <a:pt x="1212" y="1534"/>
                    </a:lnTo>
                    <a:lnTo>
                      <a:pt x="1213" y="1536"/>
                    </a:lnTo>
                    <a:lnTo>
                      <a:pt x="1213" y="1534"/>
                    </a:lnTo>
                    <a:lnTo>
                      <a:pt x="1212" y="1534"/>
                    </a:lnTo>
                    <a:lnTo>
                      <a:pt x="1210" y="1534"/>
                    </a:lnTo>
                    <a:lnTo>
                      <a:pt x="1210" y="1532"/>
                    </a:lnTo>
                    <a:lnTo>
                      <a:pt x="1210" y="1531"/>
                    </a:lnTo>
                    <a:lnTo>
                      <a:pt x="1212" y="1531"/>
                    </a:lnTo>
                    <a:lnTo>
                      <a:pt x="1210" y="1531"/>
                    </a:lnTo>
                    <a:lnTo>
                      <a:pt x="1210" y="1529"/>
                    </a:lnTo>
                    <a:lnTo>
                      <a:pt x="1210" y="1531"/>
                    </a:lnTo>
                    <a:lnTo>
                      <a:pt x="1210" y="1529"/>
                    </a:lnTo>
                    <a:lnTo>
                      <a:pt x="1208" y="1527"/>
                    </a:lnTo>
                    <a:lnTo>
                      <a:pt x="1208" y="1529"/>
                    </a:lnTo>
                    <a:lnTo>
                      <a:pt x="1208" y="1531"/>
                    </a:lnTo>
                    <a:lnTo>
                      <a:pt x="1208" y="1529"/>
                    </a:lnTo>
                    <a:lnTo>
                      <a:pt x="1207" y="1529"/>
                    </a:lnTo>
                    <a:lnTo>
                      <a:pt x="1207" y="1527"/>
                    </a:lnTo>
                    <a:lnTo>
                      <a:pt x="1207" y="1526"/>
                    </a:lnTo>
                    <a:lnTo>
                      <a:pt x="1205" y="1526"/>
                    </a:lnTo>
                    <a:lnTo>
                      <a:pt x="1207" y="1527"/>
                    </a:lnTo>
                    <a:lnTo>
                      <a:pt x="1205" y="1527"/>
                    </a:lnTo>
                    <a:lnTo>
                      <a:pt x="1205" y="1529"/>
                    </a:lnTo>
                    <a:lnTo>
                      <a:pt x="1205" y="1527"/>
                    </a:lnTo>
                    <a:lnTo>
                      <a:pt x="1207" y="1527"/>
                    </a:lnTo>
                    <a:lnTo>
                      <a:pt x="1205" y="1527"/>
                    </a:lnTo>
                    <a:lnTo>
                      <a:pt x="1203" y="1527"/>
                    </a:lnTo>
                    <a:lnTo>
                      <a:pt x="1203" y="1526"/>
                    </a:lnTo>
                    <a:lnTo>
                      <a:pt x="1203" y="1524"/>
                    </a:lnTo>
                    <a:lnTo>
                      <a:pt x="1202" y="1524"/>
                    </a:lnTo>
                    <a:lnTo>
                      <a:pt x="1203" y="1526"/>
                    </a:lnTo>
                    <a:lnTo>
                      <a:pt x="1203" y="1527"/>
                    </a:lnTo>
                    <a:lnTo>
                      <a:pt x="1203" y="1526"/>
                    </a:lnTo>
                    <a:lnTo>
                      <a:pt x="1202" y="1526"/>
                    </a:lnTo>
                    <a:lnTo>
                      <a:pt x="1202" y="1524"/>
                    </a:lnTo>
                    <a:lnTo>
                      <a:pt x="1202" y="1522"/>
                    </a:lnTo>
                    <a:lnTo>
                      <a:pt x="1200" y="1522"/>
                    </a:lnTo>
                    <a:lnTo>
                      <a:pt x="1200" y="1521"/>
                    </a:lnTo>
                    <a:lnTo>
                      <a:pt x="1200" y="1522"/>
                    </a:lnTo>
                    <a:lnTo>
                      <a:pt x="1200" y="1524"/>
                    </a:lnTo>
                    <a:lnTo>
                      <a:pt x="1198" y="1522"/>
                    </a:lnTo>
                    <a:lnTo>
                      <a:pt x="1196" y="1524"/>
                    </a:lnTo>
                    <a:lnTo>
                      <a:pt x="1196" y="1522"/>
                    </a:lnTo>
                    <a:lnTo>
                      <a:pt x="1195" y="1522"/>
                    </a:lnTo>
                    <a:lnTo>
                      <a:pt x="1195" y="1521"/>
                    </a:lnTo>
                    <a:lnTo>
                      <a:pt x="1195" y="1522"/>
                    </a:lnTo>
                    <a:lnTo>
                      <a:pt x="1193" y="1521"/>
                    </a:lnTo>
                    <a:lnTo>
                      <a:pt x="1195" y="1522"/>
                    </a:lnTo>
                    <a:lnTo>
                      <a:pt x="1196" y="1524"/>
                    </a:lnTo>
                    <a:lnTo>
                      <a:pt x="1195" y="1524"/>
                    </a:lnTo>
                    <a:lnTo>
                      <a:pt x="1193" y="1526"/>
                    </a:lnTo>
                    <a:lnTo>
                      <a:pt x="1195" y="1524"/>
                    </a:lnTo>
                    <a:lnTo>
                      <a:pt x="1193" y="1524"/>
                    </a:lnTo>
                    <a:lnTo>
                      <a:pt x="1193" y="1522"/>
                    </a:lnTo>
                    <a:lnTo>
                      <a:pt x="1193" y="1524"/>
                    </a:lnTo>
                    <a:lnTo>
                      <a:pt x="1191" y="1522"/>
                    </a:lnTo>
                    <a:lnTo>
                      <a:pt x="1191" y="1524"/>
                    </a:lnTo>
                    <a:lnTo>
                      <a:pt x="1191" y="1522"/>
                    </a:lnTo>
                    <a:lnTo>
                      <a:pt x="1190" y="1522"/>
                    </a:lnTo>
                    <a:lnTo>
                      <a:pt x="1191" y="1524"/>
                    </a:lnTo>
                    <a:lnTo>
                      <a:pt x="1190" y="1524"/>
                    </a:lnTo>
                    <a:lnTo>
                      <a:pt x="1190" y="1522"/>
                    </a:lnTo>
                    <a:lnTo>
                      <a:pt x="1188" y="1521"/>
                    </a:lnTo>
                    <a:lnTo>
                      <a:pt x="1190" y="1521"/>
                    </a:lnTo>
                    <a:lnTo>
                      <a:pt x="1188" y="1519"/>
                    </a:lnTo>
                    <a:lnTo>
                      <a:pt x="1188" y="1521"/>
                    </a:lnTo>
                    <a:lnTo>
                      <a:pt x="1190" y="1522"/>
                    </a:lnTo>
                    <a:lnTo>
                      <a:pt x="1188" y="1524"/>
                    </a:lnTo>
                    <a:lnTo>
                      <a:pt x="1188" y="1526"/>
                    </a:lnTo>
                    <a:lnTo>
                      <a:pt x="1188" y="1524"/>
                    </a:lnTo>
                    <a:lnTo>
                      <a:pt x="1188" y="1522"/>
                    </a:lnTo>
                    <a:lnTo>
                      <a:pt x="1188" y="1524"/>
                    </a:lnTo>
                    <a:lnTo>
                      <a:pt x="1186" y="1524"/>
                    </a:lnTo>
                    <a:lnTo>
                      <a:pt x="1185" y="1524"/>
                    </a:lnTo>
                    <a:lnTo>
                      <a:pt x="1185" y="1522"/>
                    </a:lnTo>
                    <a:lnTo>
                      <a:pt x="1186" y="1522"/>
                    </a:lnTo>
                    <a:lnTo>
                      <a:pt x="1186" y="1521"/>
                    </a:lnTo>
                    <a:lnTo>
                      <a:pt x="1185" y="1521"/>
                    </a:lnTo>
                    <a:lnTo>
                      <a:pt x="1185" y="1519"/>
                    </a:lnTo>
                    <a:lnTo>
                      <a:pt x="1185" y="1521"/>
                    </a:lnTo>
                    <a:lnTo>
                      <a:pt x="1185" y="1522"/>
                    </a:lnTo>
                    <a:lnTo>
                      <a:pt x="1185" y="1521"/>
                    </a:lnTo>
                    <a:lnTo>
                      <a:pt x="1183" y="1521"/>
                    </a:lnTo>
                    <a:lnTo>
                      <a:pt x="1183" y="1519"/>
                    </a:lnTo>
                    <a:lnTo>
                      <a:pt x="1183" y="1517"/>
                    </a:lnTo>
                    <a:lnTo>
                      <a:pt x="1181" y="1517"/>
                    </a:lnTo>
                    <a:lnTo>
                      <a:pt x="1181" y="1515"/>
                    </a:lnTo>
                    <a:lnTo>
                      <a:pt x="1181" y="1517"/>
                    </a:lnTo>
                    <a:lnTo>
                      <a:pt x="1179" y="1517"/>
                    </a:lnTo>
                    <a:lnTo>
                      <a:pt x="1181" y="1515"/>
                    </a:lnTo>
                    <a:lnTo>
                      <a:pt x="1179" y="1517"/>
                    </a:lnTo>
                    <a:lnTo>
                      <a:pt x="1179" y="1515"/>
                    </a:lnTo>
                    <a:lnTo>
                      <a:pt x="1179" y="1514"/>
                    </a:lnTo>
                    <a:lnTo>
                      <a:pt x="1179" y="1512"/>
                    </a:lnTo>
                    <a:lnTo>
                      <a:pt x="1179" y="1514"/>
                    </a:lnTo>
                    <a:lnTo>
                      <a:pt x="1179" y="1515"/>
                    </a:lnTo>
                    <a:lnTo>
                      <a:pt x="1179" y="1514"/>
                    </a:lnTo>
                    <a:lnTo>
                      <a:pt x="1178" y="1515"/>
                    </a:lnTo>
                    <a:lnTo>
                      <a:pt x="1176" y="1515"/>
                    </a:lnTo>
                    <a:lnTo>
                      <a:pt x="1176" y="1514"/>
                    </a:lnTo>
                    <a:lnTo>
                      <a:pt x="1176" y="1512"/>
                    </a:lnTo>
                    <a:lnTo>
                      <a:pt x="1176" y="1510"/>
                    </a:lnTo>
                    <a:lnTo>
                      <a:pt x="1174" y="1510"/>
                    </a:lnTo>
                    <a:lnTo>
                      <a:pt x="1174" y="1509"/>
                    </a:lnTo>
                    <a:lnTo>
                      <a:pt x="1176" y="1509"/>
                    </a:lnTo>
                    <a:lnTo>
                      <a:pt x="1176" y="1510"/>
                    </a:lnTo>
                    <a:lnTo>
                      <a:pt x="1178" y="1510"/>
                    </a:lnTo>
                    <a:lnTo>
                      <a:pt x="1176" y="1510"/>
                    </a:lnTo>
                    <a:lnTo>
                      <a:pt x="1176" y="1509"/>
                    </a:lnTo>
                    <a:lnTo>
                      <a:pt x="1174" y="1509"/>
                    </a:lnTo>
                    <a:lnTo>
                      <a:pt x="1173" y="1507"/>
                    </a:lnTo>
                    <a:lnTo>
                      <a:pt x="1174" y="1507"/>
                    </a:lnTo>
                    <a:lnTo>
                      <a:pt x="1176" y="1507"/>
                    </a:lnTo>
                    <a:lnTo>
                      <a:pt x="1174" y="1507"/>
                    </a:lnTo>
                    <a:lnTo>
                      <a:pt x="1173" y="1505"/>
                    </a:lnTo>
                    <a:lnTo>
                      <a:pt x="1173" y="1504"/>
                    </a:lnTo>
                    <a:lnTo>
                      <a:pt x="1171" y="1502"/>
                    </a:lnTo>
                    <a:lnTo>
                      <a:pt x="1173" y="1504"/>
                    </a:lnTo>
                    <a:lnTo>
                      <a:pt x="1173" y="1502"/>
                    </a:lnTo>
                    <a:lnTo>
                      <a:pt x="1174" y="1502"/>
                    </a:lnTo>
                    <a:close/>
                    <a:moveTo>
                      <a:pt x="1278" y="1572"/>
                    </a:moveTo>
                    <a:lnTo>
                      <a:pt x="1276" y="1572"/>
                    </a:lnTo>
                    <a:lnTo>
                      <a:pt x="1278" y="1572"/>
                    </a:lnTo>
                    <a:lnTo>
                      <a:pt x="1280" y="1572"/>
                    </a:lnTo>
                    <a:lnTo>
                      <a:pt x="1280" y="1573"/>
                    </a:lnTo>
                    <a:lnTo>
                      <a:pt x="1280" y="1572"/>
                    </a:lnTo>
                    <a:lnTo>
                      <a:pt x="1281" y="1573"/>
                    </a:lnTo>
                    <a:lnTo>
                      <a:pt x="1280" y="1575"/>
                    </a:lnTo>
                    <a:lnTo>
                      <a:pt x="1281" y="1573"/>
                    </a:lnTo>
                    <a:lnTo>
                      <a:pt x="1280" y="1572"/>
                    </a:lnTo>
                    <a:lnTo>
                      <a:pt x="1281" y="1572"/>
                    </a:lnTo>
                    <a:lnTo>
                      <a:pt x="1283" y="1572"/>
                    </a:lnTo>
                    <a:lnTo>
                      <a:pt x="1283" y="1573"/>
                    </a:lnTo>
                    <a:lnTo>
                      <a:pt x="1281" y="1573"/>
                    </a:lnTo>
                    <a:lnTo>
                      <a:pt x="1283" y="1575"/>
                    </a:lnTo>
                    <a:lnTo>
                      <a:pt x="1283" y="1573"/>
                    </a:lnTo>
                    <a:lnTo>
                      <a:pt x="1283" y="1575"/>
                    </a:lnTo>
                    <a:lnTo>
                      <a:pt x="1285" y="1577"/>
                    </a:lnTo>
                    <a:lnTo>
                      <a:pt x="1283" y="1577"/>
                    </a:lnTo>
                    <a:lnTo>
                      <a:pt x="1285" y="1577"/>
                    </a:lnTo>
                    <a:lnTo>
                      <a:pt x="1285" y="1578"/>
                    </a:lnTo>
                    <a:lnTo>
                      <a:pt x="1283" y="1578"/>
                    </a:lnTo>
                    <a:lnTo>
                      <a:pt x="1283" y="1580"/>
                    </a:lnTo>
                    <a:lnTo>
                      <a:pt x="1285" y="1578"/>
                    </a:lnTo>
                    <a:lnTo>
                      <a:pt x="1285" y="1577"/>
                    </a:lnTo>
                    <a:lnTo>
                      <a:pt x="1285" y="1575"/>
                    </a:lnTo>
                    <a:lnTo>
                      <a:pt x="1285" y="1573"/>
                    </a:lnTo>
                    <a:lnTo>
                      <a:pt x="1285" y="1572"/>
                    </a:lnTo>
                    <a:lnTo>
                      <a:pt x="1287" y="1573"/>
                    </a:lnTo>
                    <a:lnTo>
                      <a:pt x="1288" y="1573"/>
                    </a:lnTo>
                    <a:lnTo>
                      <a:pt x="1288" y="1575"/>
                    </a:lnTo>
                    <a:lnTo>
                      <a:pt x="1288" y="1577"/>
                    </a:lnTo>
                    <a:lnTo>
                      <a:pt x="1288" y="1578"/>
                    </a:lnTo>
                    <a:lnTo>
                      <a:pt x="1290" y="1580"/>
                    </a:lnTo>
                    <a:lnTo>
                      <a:pt x="1288" y="1580"/>
                    </a:lnTo>
                    <a:lnTo>
                      <a:pt x="1287" y="1580"/>
                    </a:lnTo>
                    <a:lnTo>
                      <a:pt x="1288" y="1580"/>
                    </a:lnTo>
                    <a:lnTo>
                      <a:pt x="1290" y="1580"/>
                    </a:lnTo>
                    <a:lnTo>
                      <a:pt x="1290" y="1582"/>
                    </a:lnTo>
                    <a:lnTo>
                      <a:pt x="1290" y="1580"/>
                    </a:lnTo>
                    <a:lnTo>
                      <a:pt x="1290" y="1582"/>
                    </a:lnTo>
                    <a:lnTo>
                      <a:pt x="1290" y="1583"/>
                    </a:lnTo>
                    <a:lnTo>
                      <a:pt x="1290" y="1585"/>
                    </a:lnTo>
                    <a:lnTo>
                      <a:pt x="1292" y="1585"/>
                    </a:lnTo>
                    <a:lnTo>
                      <a:pt x="1292" y="1583"/>
                    </a:lnTo>
                    <a:lnTo>
                      <a:pt x="1292" y="1582"/>
                    </a:lnTo>
                    <a:lnTo>
                      <a:pt x="1292" y="1580"/>
                    </a:lnTo>
                    <a:lnTo>
                      <a:pt x="1293" y="1578"/>
                    </a:lnTo>
                    <a:lnTo>
                      <a:pt x="1293" y="1580"/>
                    </a:lnTo>
                    <a:lnTo>
                      <a:pt x="1293" y="1582"/>
                    </a:lnTo>
                    <a:lnTo>
                      <a:pt x="1292" y="1582"/>
                    </a:lnTo>
                    <a:lnTo>
                      <a:pt x="1293" y="1583"/>
                    </a:lnTo>
                    <a:lnTo>
                      <a:pt x="1293" y="1582"/>
                    </a:lnTo>
                    <a:lnTo>
                      <a:pt x="1293" y="1580"/>
                    </a:lnTo>
                    <a:lnTo>
                      <a:pt x="1293" y="1578"/>
                    </a:lnTo>
                    <a:lnTo>
                      <a:pt x="1295" y="1578"/>
                    </a:lnTo>
                    <a:lnTo>
                      <a:pt x="1295" y="1577"/>
                    </a:lnTo>
                    <a:lnTo>
                      <a:pt x="1295" y="1578"/>
                    </a:lnTo>
                    <a:lnTo>
                      <a:pt x="1297" y="1578"/>
                    </a:lnTo>
                    <a:lnTo>
                      <a:pt x="1297" y="1580"/>
                    </a:lnTo>
                    <a:lnTo>
                      <a:pt x="1298" y="1580"/>
                    </a:lnTo>
                    <a:lnTo>
                      <a:pt x="1298" y="1582"/>
                    </a:lnTo>
                    <a:lnTo>
                      <a:pt x="1297" y="1582"/>
                    </a:lnTo>
                    <a:lnTo>
                      <a:pt x="1298" y="1582"/>
                    </a:lnTo>
                    <a:lnTo>
                      <a:pt x="1297" y="1583"/>
                    </a:lnTo>
                    <a:lnTo>
                      <a:pt x="1297" y="1585"/>
                    </a:lnTo>
                    <a:lnTo>
                      <a:pt x="1295" y="1585"/>
                    </a:lnTo>
                    <a:lnTo>
                      <a:pt x="1295" y="1587"/>
                    </a:lnTo>
                    <a:lnTo>
                      <a:pt x="1297" y="1587"/>
                    </a:lnTo>
                    <a:lnTo>
                      <a:pt x="1297" y="1585"/>
                    </a:lnTo>
                    <a:lnTo>
                      <a:pt x="1297" y="1583"/>
                    </a:lnTo>
                    <a:lnTo>
                      <a:pt x="1298" y="1583"/>
                    </a:lnTo>
                    <a:lnTo>
                      <a:pt x="1298" y="1585"/>
                    </a:lnTo>
                    <a:lnTo>
                      <a:pt x="1298" y="1587"/>
                    </a:lnTo>
                    <a:lnTo>
                      <a:pt x="1298" y="1589"/>
                    </a:lnTo>
                    <a:lnTo>
                      <a:pt x="1297" y="1589"/>
                    </a:lnTo>
                    <a:lnTo>
                      <a:pt x="1298" y="1590"/>
                    </a:lnTo>
                    <a:lnTo>
                      <a:pt x="1298" y="1592"/>
                    </a:lnTo>
                    <a:lnTo>
                      <a:pt x="1297" y="1592"/>
                    </a:lnTo>
                    <a:lnTo>
                      <a:pt x="1295" y="1592"/>
                    </a:lnTo>
                    <a:lnTo>
                      <a:pt x="1297" y="1592"/>
                    </a:lnTo>
                    <a:lnTo>
                      <a:pt x="1297" y="1594"/>
                    </a:lnTo>
                    <a:lnTo>
                      <a:pt x="1295" y="1594"/>
                    </a:lnTo>
                    <a:lnTo>
                      <a:pt x="1293" y="1594"/>
                    </a:lnTo>
                    <a:lnTo>
                      <a:pt x="1293" y="1592"/>
                    </a:lnTo>
                    <a:lnTo>
                      <a:pt x="1292" y="1592"/>
                    </a:lnTo>
                    <a:lnTo>
                      <a:pt x="1293" y="1594"/>
                    </a:lnTo>
                    <a:lnTo>
                      <a:pt x="1295" y="1594"/>
                    </a:lnTo>
                    <a:lnTo>
                      <a:pt x="1295" y="1595"/>
                    </a:lnTo>
                    <a:lnTo>
                      <a:pt x="1293" y="1595"/>
                    </a:lnTo>
                    <a:lnTo>
                      <a:pt x="1295" y="1597"/>
                    </a:lnTo>
                    <a:lnTo>
                      <a:pt x="1293" y="1597"/>
                    </a:lnTo>
                    <a:lnTo>
                      <a:pt x="1292" y="1597"/>
                    </a:lnTo>
                    <a:lnTo>
                      <a:pt x="1292" y="1595"/>
                    </a:lnTo>
                    <a:lnTo>
                      <a:pt x="1292" y="1594"/>
                    </a:lnTo>
                    <a:lnTo>
                      <a:pt x="1292" y="1595"/>
                    </a:lnTo>
                    <a:lnTo>
                      <a:pt x="1290" y="1595"/>
                    </a:lnTo>
                    <a:lnTo>
                      <a:pt x="1290" y="1594"/>
                    </a:lnTo>
                    <a:lnTo>
                      <a:pt x="1288" y="1594"/>
                    </a:lnTo>
                    <a:lnTo>
                      <a:pt x="1287" y="1594"/>
                    </a:lnTo>
                    <a:lnTo>
                      <a:pt x="1287" y="1592"/>
                    </a:lnTo>
                    <a:lnTo>
                      <a:pt x="1285" y="1592"/>
                    </a:lnTo>
                    <a:lnTo>
                      <a:pt x="1285" y="1590"/>
                    </a:lnTo>
                    <a:lnTo>
                      <a:pt x="1287" y="1590"/>
                    </a:lnTo>
                    <a:lnTo>
                      <a:pt x="1288" y="1590"/>
                    </a:lnTo>
                    <a:lnTo>
                      <a:pt x="1290" y="1590"/>
                    </a:lnTo>
                    <a:lnTo>
                      <a:pt x="1290" y="1589"/>
                    </a:lnTo>
                    <a:lnTo>
                      <a:pt x="1292" y="1589"/>
                    </a:lnTo>
                    <a:lnTo>
                      <a:pt x="1290" y="1589"/>
                    </a:lnTo>
                    <a:lnTo>
                      <a:pt x="1290" y="1587"/>
                    </a:lnTo>
                    <a:lnTo>
                      <a:pt x="1290" y="1589"/>
                    </a:lnTo>
                    <a:lnTo>
                      <a:pt x="1288" y="1589"/>
                    </a:lnTo>
                    <a:lnTo>
                      <a:pt x="1287" y="1589"/>
                    </a:lnTo>
                    <a:lnTo>
                      <a:pt x="1287" y="1590"/>
                    </a:lnTo>
                    <a:lnTo>
                      <a:pt x="1287" y="1589"/>
                    </a:lnTo>
                    <a:lnTo>
                      <a:pt x="1287" y="1587"/>
                    </a:lnTo>
                    <a:lnTo>
                      <a:pt x="1287" y="1589"/>
                    </a:lnTo>
                    <a:lnTo>
                      <a:pt x="1285" y="1589"/>
                    </a:lnTo>
                    <a:lnTo>
                      <a:pt x="1283" y="1589"/>
                    </a:lnTo>
                    <a:lnTo>
                      <a:pt x="1283" y="1587"/>
                    </a:lnTo>
                    <a:lnTo>
                      <a:pt x="1281" y="1585"/>
                    </a:lnTo>
                    <a:lnTo>
                      <a:pt x="1283" y="1585"/>
                    </a:lnTo>
                    <a:lnTo>
                      <a:pt x="1283" y="1583"/>
                    </a:lnTo>
                    <a:lnTo>
                      <a:pt x="1283" y="1585"/>
                    </a:lnTo>
                    <a:lnTo>
                      <a:pt x="1283" y="1583"/>
                    </a:lnTo>
                    <a:lnTo>
                      <a:pt x="1285" y="1583"/>
                    </a:lnTo>
                    <a:lnTo>
                      <a:pt x="1285" y="1582"/>
                    </a:lnTo>
                    <a:lnTo>
                      <a:pt x="1285" y="1583"/>
                    </a:lnTo>
                    <a:lnTo>
                      <a:pt x="1283" y="1583"/>
                    </a:lnTo>
                    <a:lnTo>
                      <a:pt x="1283" y="1582"/>
                    </a:lnTo>
                    <a:lnTo>
                      <a:pt x="1285" y="1582"/>
                    </a:lnTo>
                    <a:lnTo>
                      <a:pt x="1285" y="1580"/>
                    </a:lnTo>
                    <a:lnTo>
                      <a:pt x="1283" y="1580"/>
                    </a:lnTo>
                    <a:lnTo>
                      <a:pt x="1283" y="1582"/>
                    </a:lnTo>
                    <a:lnTo>
                      <a:pt x="1283" y="1583"/>
                    </a:lnTo>
                    <a:lnTo>
                      <a:pt x="1281" y="1582"/>
                    </a:lnTo>
                    <a:lnTo>
                      <a:pt x="1280" y="1582"/>
                    </a:lnTo>
                    <a:lnTo>
                      <a:pt x="1281" y="1582"/>
                    </a:lnTo>
                    <a:lnTo>
                      <a:pt x="1281" y="1583"/>
                    </a:lnTo>
                    <a:lnTo>
                      <a:pt x="1281" y="1585"/>
                    </a:lnTo>
                    <a:lnTo>
                      <a:pt x="1280" y="1585"/>
                    </a:lnTo>
                    <a:lnTo>
                      <a:pt x="1281" y="1585"/>
                    </a:lnTo>
                    <a:lnTo>
                      <a:pt x="1280" y="1585"/>
                    </a:lnTo>
                    <a:lnTo>
                      <a:pt x="1281" y="1587"/>
                    </a:lnTo>
                    <a:lnTo>
                      <a:pt x="1281" y="1589"/>
                    </a:lnTo>
                    <a:lnTo>
                      <a:pt x="1281" y="1587"/>
                    </a:lnTo>
                    <a:lnTo>
                      <a:pt x="1283" y="1589"/>
                    </a:lnTo>
                    <a:lnTo>
                      <a:pt x="1285" y="1589"/>
                    </a:lnTo>
                    <a:lnTo>
                      <a:pt x="1285" y="1590"/>
                    </a:lnTo>
                    <a:lnTo>
                      <a:pt x="1283" y="1590"/>
                    </a:lnTo>
                    <a:lnTo>
                      <a:pt x="1283" y="1592"/>
                    </a:lnTo>
                    <a:lnTo>
                      <a:pt x="1285" y="1594"/>
                    </a:lnTo>
                    <a:lnTo>
                      <a:pt x="1283" y="1594"/>
                    </a:lnTo>
                    <a:lnTo>
                      <a:pt x="1281" y="1594"/>
                    </a:lnTo>
                    <a:lnTo>
                      <a:pt x="1280" y="1592"/>
                    </a:lnTo>
                    <a:lnTo>
                      <a:pt x="1281" y="1592"/>
                    </a:lnTo>
                    <a:lnTo>
                      <a:pt x="1280" y="1590"/>
                    </a:lnTo>
                    <a:lnTo>
                      <a:pt x="1280" y="1589"/>
                    </a:lnTo>
                    <a:lnTo>
                      <a:pt x="1281" y="1589"/>
                    </a:lnTo>
                    <a:lnTo>
                      <a:pt x="1280" y="1587"/>
                    </a:lnTo>
                    <a:lnTo>
                      <a:pt x="1281" y="1587"/>
                    </a:lnTo>
                    <a:lnTo>
                      <a:pt x="1280" y="1587"/>
                    </a:lnTo>
                    <a:lnTo>
                      <a:pt x="1280" y="1589"/>
                    </a:lnTo>
                    <a:lnTo>
                      <a:pt x="1280" y="1590"/>
                    </a:lnTo>
                    <a:lnTo>
                      <a:pt x="1278" y="1590"/>
                    </a:lnTo>
                    <a:lnTo>
                      <a:pt x="1278" y="1589"/>
                    </a:lnTo>
                    <a:lnTo>
                      <a:pt x="1278" y="1587"/>
                    </a:lnTo>
                    <a:lnTo>
                      <a:pt x="1278" y="1585"/>
                    </a:lnTo>
                    <a:lnTo>
                      <a:pt x="1280" y="1585"/>
                    </a:lnTo>
                    <a:lnTo>
                      <a:pt x="1278" y="1585"/>
                    </a:lnTo>
                    <a:lnTo>
                      <a:pt x="1278" y="1587"/>
                    </a:lnTo>
                    <a:lnTo>
                      <a:pt x="1276" y="1587"/>
                    </a:lnTo>
                    <a:lnTo>
                      <a:pt x="1278" y="1589"/>
                    </a:lnTo>
                    <a:lnTo>
                      <a:pt x="1276" y="1589"/>
                    </a:lnTo>
                    <a:lnTo>
                      <a:pt x="1275" y="1587"/>
                    </a:lnTo>
                    <a:lnTo>
                      <a:pt x="1275" y="1585"/>
                    </a:lnTo>
                    <a:lnTo>
                      <a:pt x="1275" y="1583"/>
                    </a:lnTo>
                    <a:lnTo>
                      <a:pt x="1273" y="1583"/>
                    </a:lnTo>
                    <a:lnTo>
                      <a:pt x="1275" y="1582"/>
                    </a:lnTo>
                    <a:lnTo>
                      <a:pt x="1276" y="1582"/>
                    </a:lnTo>
                    <a:lnTo>
                      <a:pt x="1276" y="1580"/>
                    </a:lnTo>
                    <a:lnTo>
                      <a:pt x="1278" y="1580"/>
                    </a:lnTo>
                    <a:lnTo>
                      <a:pt x="1278" y="1578"/>
                    </a:lnTo>
                    <a:lnTo>
                      <a:pt x="1278" y="1580"/>
                    </a:lnTo>
                    <a:lnTo>
                      <a:pt x="1276" y="1578"/>
                    </a:lnTo>
                    <a:lnTo>
                      <a:pt x="1276" y="1577"/>
                    </a:lnTo>
                    <a:lnTo>
                      <a:pt x="1275" y="1575"/>
                    </a:lnTo>
                    <a:lnTo>
                      <a:pt x="1276" y="1575"/>
                    </a:lnTo>
                    <a:lnTo>
                      <a:pt x="1275" y="1573"/>
                    </a:lnTo>
                    <a:lnTo>
                      <a:pt x="1276" y="1573"/>
                    </a:lnTo>
                    <a:lnTo>
                      <a:pt x="1276" y="1572"/>
                    </a:lnTo>
                    <a:lnTo>
                      <a:pt x="1278" y="1570"/>
                    </a:lnTo>
                    <a:lnTo>
                      <a:pt x="1278" y="1572"/>
                    </a:lnTo>
                    <a:close/>
                    <a:moveTo>
                      <a:pt x="1152" y="1354"/>
                    </a:moveTo>
                    <a:lnTo>
                      <a:pt x="1154" y="1354"/>
                    </a:lnTo>
                    <a:lnTo>
                      <a:pt x="1152" y="1356"/>
                    </a:lnTo>
                    <a:lnTo>
                      <a:pt x="1152" y="1357"/>
                    </a:lnTo>
                    <a:lnTo>
                      <a:pt x="1152" y="1356"/>
                    </a:lnTo>
                    <a:lnTo>
                      <a:pt x="1154" y="1356"/>
                    </a:lnTo>
                    <a:lnTo>
                      <a:pt x="1154" y="1357"/>
                    </a:lnTo>
                    <a:lnTo>
                      <a:pt x="1152" y="1357"/>
                    </a:lnTo>
                    <a:lnTo>
                      <a:pt x="1154" y="1359"/>
                    </a:lnTo>
                    <a:lnTo>
                      <a:pt x="1154" y="1357"/>
                    </a:lnTo>
                    <a:lnTo>
                      <a:pt x="1154" y="1356"/>
                    </a:lnTo>
                    <a:lnTo>
                      <a:pt x="1156" y="1356"/>
                    </a:lnTo>
                    <a:lnTo>
                      <a:pt x="1157" y="1356"/>
                    </a:lnTo>
                    <a:lnTo>
                      <a:pt x="1159" y="1356"/>
                    </a:lnTo>
                    <a:lnTo>
                      <a:pt x="1159" y="1357"/>
                    </a:lnTo>
                    <a:lnTo>
                      <a:pt x="1159" y="1359"/>
                    </a:lnTo>
                    <a:lnTo>
                      <a:pt x="1157" y="1359"/>
                    </a:lnTo>
                    <a:lnTo>
                      <a:pt x="1157" y="1361"/>
                    </a:lnTo>
                    <a:lnTo>
                      <a:pt x="1159" y="1359"/>
                    </a:lnTo>
                    <a:lnTo>
                      <a:pt x="1161" y="1359"/>
                    </a:lnTo>
                    <a:lnTo>
                      <a:pt x="1159" y="1359"/>
                    </a:lnTo>
                    <a:lnTo>
                      <a:pt x="1161" y="1359"/>
                    </a:lnTo>
                    <a:lnTo>
                      <a:pt x="1161" y="1361"/>
                    </a:lnTo>
                    <a:lnTo>
                      <a:pt x="1161" y="1362"/>
                    </a:lnTo>
                    <a:lnTo>
                      <a:pt x="1162" y="1362"/>
                    </a:lnTo>
                    <a:lnTo>
                      <a:pt x="1161" y="1361"/>
                    </a:lnTo>
                    <a:lnTo>
                      <a:pt x="1162" y="1359"/>
                    </a:lnTo>
                    <a:lnTo>
                      <a:pt x="1162" y="1357"/>
                    </a:lnTo>
                    <a:lnTo>
                      <a:pt x="1164" y="1357"/>
                    </a:lnTo>
                    <a:lnTo>
                      <a:pt x="1164" y="1359"/>
                    </a:lnTo>
                    <a:lnTo>
                      <a:pt x="1164" y="1361"/>
                    </a:lnTo>
                    <a:lnTo>
                      <a:pt x="1162" y="1362"/>
                    </a:lnTo>
                    <a:lnTo>
                      <a:pt x="1164" y="1361"/>
                    </a:lnTo>
                    <a:lnTo>
                      <a:pt x="1164" y="1362"/>
                    </a:lnTo>
                    <a:lnTo>
                      <a:pt x="1164" y="1361"/>
                    </a:lnTo>
                    <a:lnTo>
                      <a:pt x="1166" y="1361"/>
                    </a:lnTo>
                    <a:lnTo>
                      <a:pt x="1166" y="1362"/>
                    </a:lnTo>
                    <a:lnTo>
                      <a:pt x="1168" y="1362"/>
                    </a:lnTo>
                    <a:lnTo>
                      <a:pt x="1168" y="1364"/>
                    </a:lnTo>
                    <a:lnTo>
                      <a:pt x="1168" y="1362"/>
                    </a:lnTo>
                    <a:lnTo>
                      <a:pt x="1166" y="1361"/>
                    </a:lnTo>
                    <a:lnTo>
                      <a:pt x="1168" y="1362"/>
                    </a:lnTo>
                    <a:lnTo>
                      <a:pt x="1169" y="1362"/>
                    </a:lnTo>
                    <a:lnTo>
                      <a:pt x="1168" y="1362"/>
                    </a:lnTo>
                    <a:lnTo>
                      <a:pt x="1166" y="1361"/>
                    </a:lnTo>
                    <a:lnTo>
                      <a:pt x="1168" y="1361"/>
                    </a:lnTo>
                    <a:lnTo>
                      <a:pt x="1166" y="1359"/>
                    </a:lnTo>
                    <a:lnTo>
                      <a:pt x="1168" y="1361"/>
                    </a:lnTo>
                    <a:lnTo>
                      <a:pt x="1169" y="1361"/>
                    </a:lnTo>
                    <a:lnTo>
                      <a:pt x="1171" y="1362"/>
                    </a:lnTo>
                    <a:lnTo>
                      <a:pt x="1169" y="1362"/>
                    </a:lnTo>
                    <a:lnTo>
                      <a:pt x="1171" y="1364"/>
                    </a:lnTo>
                    <a:lnTo>
                      <a:pt x="1169" y="1364"/>
                    </a:lnTo>
                    <a:lnTo>
                      <a:pt x="1168" y="1364"/>
                    </a:lnTo>
                    <a:lnTo>
                      <a:pt x="1169" y="1364"/>
                    </a:lnTo>
                    <a:lnTo>
                      <a:pt x="1168" y="1364"/>
                    </a:lnTo>
                    <a:lnTo>
                      <a:pt x="1169" y="1364"/>
                    </a:lnTo>
                    <a:lnTo>
                      <a:pt x="1168" y="1364"/>
                    </a:lnTo>
                    <a:lnTo>
                      <a:pt x="1166" y="1364"/>
                    </a:lnTo>
                    <a:lnTo>
                      <a:pt x="1168" y="1364"/>
                    </a:lnTo>
                    <a:lnTo>
                      <a:pt x="1169" y="1366"/>
                    </a:lnTo>
                    <a:lnTo>
                      <a:pt x="1168" y="1367"/>
                    </a:lnTo>
                    <a:lnTo>
                      <a:pt x="1168" y="1366"/>
                    </a:lnTo>
                    <a:lnTo>
                      <a:pt x="1166" y="1366"/>
                    </a:lnTo>
                    <a:lnTo>
                      <a:pt x="1166" y="1367"/>
                    </a:lnTo>
                    <a:lnTo>
                      <a:pt x="1168" y="1367"/>
                    </a:lnTo>
                    <a:lnTo>
                      <a:pt x="1166" y="1367"/>
                    </a:lnTo>
                    <a:lnTo>
                      <a:pt x="1166" y="1366"/>
                    </a:lnTo>
                    <a:lnTo>
                      <a:pt x="1164" y="1366"/>
                    </a:lnTo>
                    <a:lnTo>
                      <a:pt x="1162" y="1367"/>
                    </a:lnTo>
                    <a:lnTo>
                      <a:pt x="1164" y="1366"/>
                    </a:lnTo>
                    <a:lnTo>
                      <a:pt x="1164" y="1367"/>
                    </a:lnTo>
                    <a:lnTo>
                      <a:pt x="1164" y="1369"/>
                    </a:lnTo>
                    <a:lnTo>
                      <a:pt x="1162" y="1369"/>
                    </a:lnTo>
                    <a:lnTo>
                      <a:pt x="1162" y="1371"/>
                    </a:lnTo>
                    <a:lnTo>
                      <a:pt x="1161" y="1371"/>
                    </a:lnTo>
                    <a:lnTo>
                      <a:pt x="1161" y="1373"/>
                    </a:lnTo>
                    <a:lnTo>
                      <a:pt x="1159" y="1371"/>
                    </a:lnTo>
                    <a:lnTo>
                      <a:pt x="1161" y="1373"/>
                    </a:lnTo>
                    <a:lnTo>
                      <a:pt x="1159" y="1373"/>
                    </a:lnTo>
                    <a:lnTo>
                      <a:pt x="1159" y="1374"/>
                    </a:lnTo>
                    <a:lnTo>
                      <a:pt x="1157" y="1373"/>
                    </a:lnTo>
                    <a:lnTo>
                      <a:pt x="1157" y="1374"/>
                    </a:lnTo>
                    <a:lnTo>
                      <a:pt x="1157" y="1376"/>
                    </a:lnTo>
                    <a:lnTo>
                      <a:pt x="1156" y="1378"/>
                    </a:lnTo>
                    <a:lnTo>
                      <a:pt x="1157" y="1376"/>
                    </a:lnTo>
                    <a:lnTo>
                      <a:pt x="1159" y="1376"/>
                    </a:lnTo>
                    <a:lnTo>
                      <a:pt x="1161" y="1376"/>
                    </a:lnTo>
                    <a:lnTo>
                      <a:pt x="1159" y="1376"/>
                    </a:lnTo>
                    <a:lnTo>
                      <a:pt x="1159" y="1374"/>
                    </a:lnTo>
                    <a:lnTo>
                      <a:pt x="1157" y="1374"/>
                    </a:lnTo>
                    <a:lnTo>
                      <a:pt x="1159" y="1374"/>
                    </a:lnTo>
                    <a:lnTo>
                      <a:pt x="1159" y="1373"/>
                    </a:lnTo>
                    <a:lnTo>
                      <a:pt x="1161" y="1373"/>
                    </a:lnTo>
                    <a:lnTo>
                      <a:pt x="1161" y="1371"/>
                    </a:lnTo>
                    <a:lnTo>
                      <a:pt x="1162" y="1371"/>
                    </a:lnTo>
                    <a:lnTo>
                      <a:pt x="1162" y="1369"/>
                    </a:lnTo>
                    <a:lnTo>
                      <a:pt x="1164" y="1369"/>
                    </a:lnTo>
                    <a:lnTo>
                      <a:pt x="1166" y="1369"/>
                    </a:lnTo>
                    <a:lnTo>
                      <a:pt x="1166" y="1371"/>
                    </a:lnTo>
                    <a:lnTo>
                      <a:pt x="1166" y="1373"/>
                    </a:lnTo>
                    <a:lnTo>
                      <a:pt x="1166" y="1374"/>
                    </a:lnTo>
                    <a:lnTo>
                      <a:pt x="1164" y="1373"/>
                    </a:lnTo>
                    <a:lnTo>
                      <a:pt x="1164" y="1374"/>
                    </a:lnTo>
                    <a:lnTo>
                      <a:pt x="1162" y="1373"/>
                    </a:lnTo>
                    <a:lnTo>
                      <a:pt x="1162" y="1374"/>
                    </a:lnTo>
                    <a:lnTo>
                      <a:pt x="1161" y="1374"/>
                    </a:lnTo>
                    <a:lnTo>
                      <a:pt x="1162" y="1374"/>
                    </a:lnTo>
                    <a:lnTo>
                      <a:pt x="1164" y="1374"/>
                    </a:lnTo>
                    <a:lnTo>
                      <a:pt x="1164" y="1376"/>
                    </a:lnTo>
                    <a:lnTo>
                      <a:pt x="1162" y="1374"/>
                    </a:lnTo>
                    <a:lnTo>
                      <a:pt x="1164" y="1376"/>
                    </a:lnTo>
                    <a:lnTo>
                      <a:pt x="1162" y="1376"/>
                    </a:lnTo>
                    <a:lnTo>
                      <a:pt x="1161" y="1376"/>
                    </a:lnTo>
                    <a:lnTo>
                      <a:pt x="1159" y="1376"/>
                    </a:lnTo>
                    <a:lnTo>
                      <a:pt x="1159" y="1378"/>
                    </a:lnTo>
                    <a:lnTo>
                      <a:pt x="1157" y="1378"/>
                    </a:lnTo>
                    <a:lnTo>
                      <a:pt x="1157" y="1379"/>
                    </a:lnTo>
                    <a:lnTo>
                      <a:pt x="1156" y="1379"/>
                    </a:lnTo>
                    <a:lnTo>
                      <a:pt x="1156" y="1378"/>
                    </a:lnTo>
                    <a:lnTo>
                      <a:pt x="1154" y="1379"/>
                    </a:lnTo>
                    <a:lnTo>
                      <a:pt x="1154" y="1378"/>
                    </a:lnTo>
                    <a:lnTo>
                      <a:pt x="1154" y="1379"/>
                    </a:lnTo>
                    <a:lnTo>
                      <a:pt x="1154" y="1378"/>
                    </a:lnTo>
                    <a:lnTo>
                      <a:pt x="1152" y="1378"/>
                    </a:lnTo>
                    <a:lnTo>
                      <a:pt x="1151" y="1378"/>
                    </a:lnTo>
                    <a:lnTo>
                      <a:pt x="1152" y="1378"/>
                    </a:lnTo>
                    <a:lnTo>
                      <a:pt x="1152" y="1376"/>
                    </a:lnTo>
                    <a:lnTo>
                      <a:pt x="1152" y="1374"/>
                    </a:lnTo>
                    <a:lnTo>
                      <a:pt x="1154" y="1374"/>
                    </a:lnTo>
                    <a:lnTo>
                      <a:pt x="1152" y="1374"/>
                    </a:lnTo>
                    <a:lnTo>
                      <a:pt x="1154" y="1374"/>
                    </a:lnTo>
                    <a:lnTo>
                      <a:pt x="1154" y="1373"/>
                    </a:lnTo>
                    <a:lnTo>
                      <a:pt x="1156" y="1373"/>
                    </a:lnTo>
                    <a:lnTo>
                      <a:pt x="1156" y="1371"/>
                    </a:lnTo>
                    <a:lnTo>
                      <a:pt x="1156" y="1369"/>
                    </a:lnTo>
                    <a:lnTo>
                      <a:pt x="1156" y="1371"/>
                    </a:lnTo>
                    <a:lnTo>
                      <a:pt x="1156" y="1373"/>
                    </a:lnTo>
                    <a:lnTo>
                      <a:pt x="1154" y="1373"/>
                    </a:lnTo>
                    <a:lnTo>
                      <a:pt x="1152" y="1373"/>
                    </a:lnTo>
                    <a:lnTo>
                      <a:pt x="1152" y="1374"/>
                    </a:lnTo>
                    <a:lnTo>
                      <a:pt x="1152" y="1373"/>
                    </a:lnTo>
                    <a:lnTo>
                      <a:pt x="1154" y="1373"/>
                    </a:lnTo>
                    <a:lnTo>
                      <a:pt x="1154" y="1371"/>
                    </a:lnTo>
                    <a:lnTo>
                      <a:pt x="1152" y="1371"/>
                    </a:lnTo>
                    <a:lnTo>
                      <a:pt x="1151" y="1373"/>
                    </a:lnTo>
                    <a:lnTo>
                      <a:pt x="1151" y="1374"/>
                    </a:lnTo>
                    <a:lnTo>
                      <a:pt x="1149" y="1374"/>
                    </a:lnTo>
                    <a:lnTo>
                      <a:pt x="1149" y="1376"/>
                    </a:lnTo>
                    <a:lnTo>
                      <a:pt x="1149" y="1378"/>
                    </a:lnTo>
                    <a:lnTo>
                      <a:pt x="1147" y="1378"/>
                    </a:lnTo>
                    <a:lnTo>
                      <a:pt x="1145" y="1376"/>
                    </a:lnTo>
                    <a:lnTo>
                      <a:pt x="1147" y="1376"/>
                    </a:lnTo>
                    <a:lnTo>
                      <a:pt x="1149" y="1374"/>
                    </a:lnTo>
                    <a:lnTo>
                      <a:pt x="1149" y="1373"/>
                    </a:lnTo>
                    <a:lnTo>
                      <a:pt x="1149" y="1374"/>
                    </a:lnTo>
                    <a:lnTo>
                      <a:pt x="1147" y="1374"/>
                    </a:lnTo>
                    <a:lnTo>
                      <a:pt x="1147" y="1373"/>
                    </a:lnTo>
                    <a:lnTo>
                      <a:pt x="1147" y="1371"/>
                    </a:lnTo>
                    <a:lnTo>
                      <a:pt x="1147" y="1369"/>
                    </a:lnTo>
                    <a:lnTo>
                      <a:pt x="1149" y="1369"/>
                    </a:lnTo>
                    <a:lnTo>
                      <a:pt x="1149" y="1367"/>
                    </a:lnTo>
                    <a:lnTo>
                      <a:pt x="1147" y="1367"/>
                    </a:lnTo>
                    <a:lnTo>
                      <a:pt x="1149" y="1366"/>
                    </a:lnTo>
                    <a:lnTo>
                      <a:pt x="1147" y="1366"/>
                    </a:lnTo>
                    <a:lnTo>
                      <a:pt x="1149" y="1366"/>
                    </a:lnTo>
                    <a:lnTo>
                      <a:pt x="1149" y="1364"/>
                    </a:lnTo>
                    <a:lnTo>
                      <a:pt x="1149" y="1362"/>
                    </a:lnTo>
                    <a:lnTo>
                      <a:pt x="1151" y="1362"/>
                    </a:lnTo>
                    <a:lnTo>
                      <a:pt x="1152" y="1362"/>
                    </a:lnTo>
                    <a:lnTo>
                      <a:pt x="1152" y="1364"/>
                    </a:lnTo>
                    <a:lnTo>
                      <a:pt x="1154" y="1364"/>
                    </a:lnTo>
                    <a:lnTo>
                      <a:pt x="1154" y="1366"/>
                    </a:lnTo>
                    <a:lnTo>
                      <a:pt x="1152" y="1366"/>
                    </a:lnTo>
                    <a:lnTo>
                      <a:pt x="1151" y="1364"/>
                    </a:lnTo>
                    <a:lnTo>
                      <a:pt x="1151" y="1366"/>
                    </a:lnTo>
                    <a:lnTo>
                      <a:pt x="1152" y="1366"/>
                    </a:lnTo>
                    <a:lnTo>
                      <a:pt x="1154" y="1366"/>
                    </a:lnTo>
                    <a:lnTo>
                      <a:pt x="1154" y="1367"/>
                    </a:lnTo>
                    <a:lnTo>
                      <a:pt x="1156" y="1367"/>
                    </a:lnTo>
                    <a:lnTo>
                      <a:pt x="1156" y="1369"/>
                    </a:lnTo>
                    <a:lnTo>
                      <a:pt x="1157" y="1367"/>
                    </a:lnTo>
                    <a:lnTo>
                      <a:pt x="1157" y="1366"/>
                    </a:lnTo>
                    <a:lnTo>
                      <a:pt x="1157" y="1364"/>
                    </a:lnTo>
                    <a:lnTo>
                      <a:pt x="1159" y="1362"/>
                    </a:lnTo>
                    <a:lnTo>
                      <a:pt x="1159" y="1361"/>
                    </a:lnTo>
                    <a:lnTo>
                      <a:pt x="1159" y="1362"/>
                    </a:lnTo>
                    <a:lnTo>
                      <a:pt x="1157" y="1362"/>
                    </a:lnTo>
                    <a:lnTo>
                      <a:pt x="1159" y="1362"/>
                    </a:lnTo>
                    <a:lnTo>
                      <a:pt x="1157" y="1364"/>
                    </a:lnTo>
                    <a:lnTo>
                      <a:pt x="1156" y="1362"/>
                    </a:lnTo>
                    <a:lnTo>
                      <a:pt x="1154" y="1362"/>
                    </a:lnTo>
                    <a:lnTo>
                      <a:pt x="1154" y="1361"/>
                    </a:lnTo>
                    <a:lnTo>
                      <a:pt x="1152" y="1362"/>
                    </a:lnTo>
                    <a:lnTo>
                      <a:pt x="1152" y="1361"/>
                    </a:lnTo>
                    <a:lnTo>
                      <a:pt x="1152" y="1362"/>
                    </a:lnTo>
                    <a:lnTo>
                      <a:pt x="1151" y="1361"/>
                    </a:lnTo>
                    <a:lnTo>
                      <a:pt x="1151" y="1359"/>
                    </a:lnTo>
                    <a:lnTo>
                      <a:pt x="1149" y="1359"/>
                    </a:lnTo>
                    <a:lnTo>
                      <a:pt x="1149" y="1357"/>
                    </a:lnTo>
                    <a:lnTo>
                      <a:pt x="1149" y="1356"/>
                    </a:lnTo>
                    <a:lnTo>
                      <a:pt x="1151" y="1356"/>
                    </a:lnTo>
                    <a:lnTo>
                      <a:pt x="1151" y="1354"/>
                    </a:lnTo>
                    <a:lnTo>
                      <a:pt x="1151" y="1356"/>
                    </a:lnTo>
                    <a:lnTo>
                      <a:pt x="1151" y="1357"/>
                    </a:lnTo>
                    <a:lnTo>
                      <a:pt x="1151" y="1356"/>
                    </a:lnTo>
                    <a:lnTo>
                      <a:pt x="1151" y="1354"/>
                    </a:lnTo>
                    <a:lnTo>
                      <a:pt x="1152" y="1354"/>
                    </a:lnTo>
                    <a:close/>
                    <a:moveTo>
                      <a:pt x="1266" y="1565"/>
                    </a:moveTo>
                    <a:lnTo>
                      <a:pt x="1268" y="1566"/>
                    </a:lnTo>
                    <a:lnTo>
                      <a:pt x="1270" y="1568"/>
                    </a:lnTo>
                    <a:lnTo>
                      <a:pt x="1270" y="1570"/>
                    </a:lnTo>
                    <a:lnTo>
                      <a:pt x="1270" y="1572"/>
                    </a:lnTo>
                    <a:lnTo>
                      <a:pt x="1270" y="1573"/>
                    </a:lnTo>
                    <a:lnTo>
                      <a:pt x="1270" y="1572"/>
                    </a:lnTo>
                    <a:lnTo>
                      <a:pt x="1270" y="1570"/>
                    </a:lnTo>
                    <a:lnTo>
                      <a:pt x="1271" y="1570"/>
                    </a:lnTo>
                    <a:lnTo>
                      <a:pt x="1271" y="1568"/>
                    </a:lnTo>
                    <a:lnTo>
                      <a:pt x="1273" y="1568"/>
                    </a:lnTo>
                    <a:lnTo>
                      <a:pt x="1271" y="1570"/>
                    </a:lnTo>
                    <a:lnTo>
                      <a:pt x="1273" y="1568"/>
                    </a:lnTo>
                    <a:lnTo>
                      <a:pt x="1275" y="1570"/>
                    </a:lnTo>
                    <a:lnTo>
                      <a:pt x="1276" y="1570"/>
                    </a:lnTo>
                    <a:lnTo>
                      <a:pt x="1275" y="1572"/>
                    </a:lnTo>
                    <a:lnTo>
                      <a:pt x="1275" y="1573"/>
                    </a:lnTo>
                    <a:lnTo>
                      <a:pt x="1273" y="1573"/>
                    </a:lnTo>
                    <a:lnTo>
                      <a:pt x="1275" y="1575"/>
                    </a:lnTo>
                    <a:lnTo>
                      <a:pt x="1275" y="1577"/>
                    </a:lnTo>
                    <a:lnTo>
                      <a:pt x="1273" y="1577"/>
                    </a:lnTo>
                    <a:lnTo>
                      <a:pt x="1271" y="1577"/>
                    </a:lnTo>
                    <a:lnTo>
                      <a:pt x="1273" y="1577"/>
                    </a:lnTo>
                    <a:lnTo>
                      <a:pt x="1273" y="1578"/>
                    </a:lnTo>
                    <a:lnTo>
                      <a:pt x="1273" y="1580"/>
                    </a:lnTo>
                    <a:lnTo>
                      <a:pt x="1273" y="1578"/>
                    </a:lnTo>
                    <a:lnTo>
                      <a:pt x="1275" y="1578"/>
                    </a:lnTo>
                    <a:lnTo>
                      <a:pt x="1275" y="1577"/>
                    </a:lnTo>
                    <a:lnTo>
                      <a:pt x="1276" y="1578"/>
                    </a:lnTo>
                    <a:lnTo>
                      <a:pt x="1276" y="1580"/>
                    </a:lnTo>
                    <a:lnTo>
                      <a:pt x="1275" y="1582"/>
                    </a:lnTo>
                    <a:lnTo>
                      <a:pt x="1275" y="1580"/>
                    </a:lnTo>
                    <a:lnTo>
                      <a:pt x="1275" y="1582"/>
                    </a:lnTo>
                    <a:lnTo>
                      <a:pt x="1273" y="1582"/>
                    </a:lnTo>
                    <a:lnTo>
                      <a:pt x="1273" y="1583"/>
                    </a:lnTo>
                    <a:lnTo>
                      <a:pt x="1273" y="1582"/>
                    </a:lnTo>
                    <a:lnTo>
                      <a:pt x="1273" y="1583"/>
                    </a:lnTo>
                    <a:lnTo>
                      <a:pt x="1271" y="1583"/>
                    </a:lnTo>
                    <a:lnTo>
                      <a:pt x="1271" y="1582"/>
                    </a:lnTo>
                    <a:lnTo>
                      <a:pt x="1271" y="1583"/>
                    </a:lnTo>
                    <a:lnTo>
                      <a:pt x="1270" y="1582"/>
                    </a:lnTo>
                    <a:lnTo>
                      <a:pt x="1270" y="1580"/>
                    </a:lnTo>
                    <a:lnTo>
                      <a:pt x="1268" y="1580"/>
                    </a:lnTo>
                    <a:lnTo>
                      <a:pt x="1270" y="1578"/>
                    </a:lnTo>
                    <a:lnTo>
                      <a:pt x="1268" y="1580"/>
                    </a:lnTo>
                    <a:lnTo>
                      <a:pt x="1268" y="1578"/>
                    </a:lnTo>
                    <a:lnTo>
                      <a:pt x="1266" y="1577"/>
                    </a:lnTo>
                    <a:lnTo>
                      <a:pt x="1266" y="1575"/>
                    </a:lnTo>
                    <a:lnTo>
                      <a:pt x="1266" y="1577"/>
                    </a:lnTo>
                    <a:lnTo>
                      <a:pt x="1266" y="1578"/>
                    </a:lnTo>
                    <a:lnTo>
                      <a:pt x="1266" y="1580"/>
                    </a:lnTo>
                    <a:lnTo>
                      <a:pt x="1268" y="1580"/>
                    </a:lnTo>
                    <a:lnTo>
                      <a:pt x="1266" y="1582"/>
                    </a:lnTo>
                    <a:lnTo>
                      <a:pt x="1268" y="1582"/>
                    </a:lnTo>
                    <a:lnTo>
                      <a:pt x="1268" y="1583"/>
                    </a:lnTo>
                    <a:lnTo>
                      <a:pt x="1270" y="1582"/>
                    </a:lnTo>
                    <a:lnTo>
                      <a:pt x="1270" y="1583"/>
                    </a:lnTo>
                    <a:lnTo>
                      <a:pt x="1271" y="1583"/>
                    </a:lnTo>
                    <a:lnTo>
                      <a:pt x="1271" y="1585"/>
                    </a:lnTo>
                    <a:lnTo>
                      <a:pt x="1271" y="1587"/>
                    </a:lnTo>
                    <a:lnTo>
                      <a:pt x="1271" y="1585"/>
                    </a:lnTo>
                    <a:lnTo>
                      <a:pt x="1271" y="1587"/>
                    </a:lnTo>
                    <a:lnTo>
                      <a:pt x="1273" y="1587"/>
                    </a:lnTo>
                    <a:lnTo>
                      <a:pt x="1273" y="1589"/>
                    </a:lnTo>
                    <a:lnTo>
                      <a:pt x="1273" y="1590"/>
                    </a:lnTo>
                    <a:lnTo>
                      <a:pt x="1271" y="1590"/>
                    </a:lnTo>
                    <a:lnTo>
                      <a:pt x="1271" y="1589"/>
                    </a:lnTo>
                    <a:lnTo>
                      <a:pt x="1270" y="1589"/>
                    </a:lnTo>
                    <a:lnTo>
                      <a:pt x="1268" y="1589"/>
                    </a:lnTo>
                    <a:lnTo>
                      <a:pt x="1270" y="1589"/>
                    </a:lnTo>
                    <a:lnTo>
                      <a:pt x="1270" y="1590"/>
                    </a:lnTo>
                    <a:lnTo>
                      <a:pt x="1268" y="1590"/>
                    </a:lnTo>
                    <a:lnTo>
                      <a:pt x="1270" y="1590"/>
                    </a:lnTo>
                    <a:lnTo>
                      <a:pt x="1270" y="1592"/>
                    </a:lnTo>
                    <a:lnTo>
                      <a:pt x="1268" y="1592"/>
                    </a:lnTo>
                    <a:lnTo>
                      <a:pt x="1270" y="1592"/>
                    </a:lnTo>
                    <a:lnTo>
                      <a:pt x="1270" y="1594"/>
                    </a:lnTo>
                    <a:lnTo>
                      <a:pt x="1271" y="1594"/>
                    </a:lnTo>
                    <a:lnTo>
                      <a:pt x="1270" y="1594"/>
                    </a:lnTo>
                    <a:lnTo>
                      <a:pt x="1268" y="1594"/>
                    </a:lnTo>
                    <a:lnTo>
                      <a:pt x="1266" y="1594"/>
                    </a:lnTo>
                    <a:lnTo>
                      <a:pt x="1266" y="1592"/>
                    </a:lnTo>
                    <a:lnTo>
                      <a:pt x="1266" y="1594"/>
                    </a:lnTo>
                    <a:lnTo>
                      <a:pt x="1264" y="1594"/>
                    </a:lnTo>
                    <a:lnTo>
                      <a:pt x="1264" y="1592"/>
                    </a:lnTo>
                    <a:lnTo>
                      <a:pt x="1266" y="1592"/>
                    </a:lnTo>
                    <a:lnTo>
                      <a:pt x="1266" y="1590"/>
                    </a:lnTo>
                    <a:lnTo>
                      <a:pt x="1266" y="1589"/>
                    </a:lnTo>
                    <a:lnTo>
                      <a:pt x="1268" y="1589"/>
                    </a:lnTo>
                    <a:lnTo>
                      <a:pt x="1268" y="1587"/>
                    </a:lnTo>
                    <a:lnTo>
                      <a:pt x="1268" y="1589"/>
                    </a:lnTo>
                    <a:lnTo>
                      <a:pt x="1266" y="1587"/>
                    </a:lnTo>
                    <a:lnTo>
                      <a:pt x="1266" y="1589"/>
                    </a:lnTo>
                    <a:lnTo>
                      <a:pt x="1264" y="1587"/>
                    </a:lnTo>
                    <a:lnTo>
                      <a:pt x="1263" y="1587"/>
                    </a:lnTo>
                    <a:lnTo>
                      <a:pt x="1264" y="1587"/>
                    </a:lnTo>
                    <a:lnTo>
                      <a:pt x="1263" y="1587"/>
                    </a:lnTo>
                    <a:lnTo>
                      <a:pt x="1264" y="1587"/>
                    </a:lnTo>
                    <a:lnTo>
                      <a:pt x="1263" y="1585"/>
                    </a:lnTo>
                    <a:lnTo>
                      <a:pt x="1263" y="1587"/>
                    </a:lnTo>
                    <a:lnTo>
                      <a:pt x="1263" y="1585"/>
                    </a:lnTo>
                    <a:lnTo>
                      <a:pt x="1261" y="1585"/>
                    </a:lnTo>
                    <a:lnTo>
                      <a:pt x="1261" y="1583"/>
                    </a:lnTo>
                    <a:lnTo>
                      <a:pt x="1259" y="1583"/>
                    </a:lnTo>
                    <a:lnTo>
                      <a:pt x="1259" y="1582"/>
                    </a:lnTo>
                    <a:lnTo>
                      <a:pt x="1261" y="1583"/>
                    </a:lnTo>
                    <a:lnTo>
                      <a:pt x="1261" y="1582"/>
                    </a:lnTo>
                    <a:lnTo>
                      <a:pt x="1263" y="1583"/>
                    </a:lnTo>
                    <a:lnTo>
                      <a:pt x="1263" y="1582"/>
                    </a:lnTo>
                    <a:lnTo>
                      <a:pt x="1261" y="1582"/>
                    </a:lnTo>
                    <a:lnTo>
                      <a:pt x="1259" y="1582"/>
                    </a:lnTo>
                    <a:lnTo>
                      <a:pt x="1258" y="1580"/>
                    </a:lnTo>
                    <a:lnTo>
                      <a:pt x="1259" y="1580"/>
                    </a:lnTo>
                    <a:lnTo>
                      <a:pt x="1261" y="1580"/>
                    </a:lnTo>
                    <a:lnTo>
                      <a:pt x="1263" y="1580"/>
                    </a:lnTo>
                    <a:lnTo>
                      <a:pt x="1261" y="1580"/>
                    </a:lnTo>
                    <a:lnTo>
                      <a:pt x="1259" y="1578"/>
                    </a:lnTo>
                    <a:lnTo>
                      <a:pt x="1259" y="1577"/>
                    </a:lnTo>
                    <a:lnTo>
                      <a:pt x="1259" y="1578"/>
                    </a:lnTo>
                    <a:lnTo>
                      <a:pt x="1258" y="1578"/>
                    </a:lnTo>
                    <a:lnTo>
                      <a:pt x="1258" y="1580"/>
                    </a:lnTo>
                    <a:lnTo>
                      <a:pt x="1256" y="1580"/>
                    </a:lnTo>
                    <a:lnTo>
                      <a:pt x="1256" y="1578"/>
                    </a:lnTo>
                    <a:lnTo>
                      <a:pt x="1254" y="1577"/>
                    </a:lnTo>
                    <a:lnTo>
                      <a:pt x="1256" y="1577"/>
                    </a:lnTo>
                    <a:lnTo>
                      <a:pt x="1256" y="1575"/>
                    </a:lnTo>
                    <a:lnTo>
                      <a:pt x="1258" y="1573"/>
                    </a:lnTo>
                    <a:lnTo>
                      <a:pt x="1258" y="1572"/>
                    </a:lnTo>
                    <a:lnTo>
                      <a:pt x="1258" y="1573"/>
                    </a:lnTo>
                    <a:lnTo>
                      <a:pt x="1256" y="1573"/>
                    </a:lnTo>
                    <a:lnTo>
                      <a:pt x="1254" y="1575"/>
                    </a:lnTo>
                    <a:lnTo>
                      <a:pt x="1254" y="1573"/>
                    </a:lnTo>
                    <a:lnTo>
                      <a:pt x="1254" y="1572"/>
                    </a:lnTo>
                    <a:lnTo>
                      <a:pt x="1254" y="1570"/>
                    </a:lnTo>
                    <a:lnTo>
                      <a:pt x="1256" y="1568"/>
                    </a:lnTo>
                    <a:lnTo>
                      <a:pt x="1256" y="1570"/>
                    </a:lnTo>
                    <a:lnTo>
                      <a:pt x="1258" y="1570"/>
                    </a:lnTo>
                    <a:lnTo>
                      <a:pt x="1259" y="1570"/>
                    </a:lnTo>
                    <a:lnTo>
                      <a:pt x="1259" y="1572"/>
                    </a:lnTo>
                    <a:lnTo>
                      <a:pt x="1259" y="1573"/>
                    </a:lnTo>
                    <a:lnTo>
                      <a:pt x="1261" y="1573"/>
                    </a:lnTo>
                    <a:lnTo>
                      <a:pt x="1263" y="1573"/>
                    </a:lnTo>
                    <a:lnTo>
                      <a:pt x="1261" y="1573"/>
                    </a:lnTo>
                    <a:lnTo>
                      <a:pt x="1261" y="1572"/>
                    </a:lnTo>
                    <a:lnTo>
                      <a:pt x="1259" y="1570"/>
                    </a:lnTo>
                    <a:lnTo>
                      <a:pt x="1261" y="1570"/>
                    </a:lnTo>
                    <a:lnTo>
                      <a:pt x="1261" y="1572"/>
                    </a:lnTo>
                    <a:lnTo>
                      <a:pt x="1263" y="1572"/>
                    </a:lnTo>
                    <a:lnTo>
                      <a:pt x="1261" y="1572"/>
                    </a:lnTo>
                    <a:lnTo>
                      <a:pt x="1261" y="1570"/>
                    </a:lnTo>
                    <a:lnTo>
                      <a:pt x="1263" y="1570"/>
                    </a:lnTo>
                    <a:lnTo>
                      <a:pt x="1263" y="1568"/>
                    </a:lnTo>
                    <a:lnTo>
                      <a:pt x="1263" y="1570"/>
                    </a:lnTo>
                    <a:lnTo>
                      <a:pt x="1264" y="1568"/>
                    </a:lnTo>
                    <a:lnTo>
                      <a:pt x="1266" y="1568"/>
                    </a:lnTo>
                    <a:lnTo>
                      <a:pt x="1264" y="1566"/>
                    </a:lnTo>
                    <a:lnTo>
                      <a:pt x="1266" y="1565"/>
                    </a:lnTo>
                    <a:close/>
                    <a:moveTo>
                      <a:pt x="1152" y="1252"/>
                    </a:moveTo>
                    <a:lnTo>
                      <a:pt x="1154" y="1253"/>
                    </a:lnTo>
                    <a:lnTo>
                      <a:pt x="1152" y="1255"/>
                    </a:lnTo>
                    <a:lnTo>
                      <a:pt x="1154" y="1255"/>
                    </a:lnTo>
                    <a:lnTo>
                      <a:pt x="1152" y="1255"/>
                    </a:lnTo>
                    <a:lnTo>
                      <a:pt x="1151" y="1255"/>
                    </a:lnTo>
                    <a:lnTo>
                      <a:pt x="1152" y="1255"/>
                    </a:lnTo>
                    <a:lnTo>
                      <a:pt x="1152" y="1257"/>
                    </a:lnTo>
                    <a:lnTo>
                      <a:pt x="1152" y="1259"/>
                    </a:lnTo>
                    <a:lnTo>
                      <a:pt x="1152" y="1257"/>
                    </a:lnTo>
                    <a:lnTo>
                      <a:pt x="1152" y="1255"/>
                    </a:lnTo>
                    <a:lnTo>
                      <a:pt x="1154" y="1255"/>
                    </a:lnTo>
                    <a:lnTo>
                      <a:pt x="1154" y="1257"/>
                    </a:lnTo>
                    <a:lnTo>
                      <a:pt x="1152" y="1259"/>
                    </a:lnTo>
                    <a:lnTo>
                      <a:pt x="1152" y="1260"/>
                    </a:lnTo>
                    <a:lnTo>
                      <a:pt x="1152" y="1259"/>
                    </a:lnTo>
                    <a:lnTo>
                      <a:pt x="1154" y="1259"/>
                    </a:lnTo>
                    <a:lnTo>
                      <a:pt x="1156" y="1259"/>
                    </a:lnTo>
                    <a:lnTo>
                      <a:pt x="1154" y="1259"/>
                    </a:lnTo>
                    <a:lnTo>
                      <a:pt x="1154" y="1260"/>
                    </a:lnTo>
                    <a:lnTo>
                      <a:pt x="1156" y="1260"/>
                    </a:lnTo>
                    <a:lnTo>
                      <a:pt x="1156" y="1262"/>
                    </a:lnTo>
                    <a:lnTo>
                      <a:pt x="1154" y="1262"/>
                    </a:lnTo>
                    <a:lnTo>
                      <a:pt x="1154" y="1264"/>
                    </a:lnTo>
                    <a:lnTo>
                      <a:pt x="1156" y="1262"/>
                    </a:lnTo>
                    <a:lnTo>
                      <a:pt x="1156" y="1264"/>
                    </a:lnTo>
                    <a:lnTo>
                      <a:pt x="1157" y="1264"/>
                    </a:lnTo>
                    <a:lnTo>
                      <a:pt x="1157" y="1265"/>
                    </a:lnTo>
                    <a:lnTo>
                      <a:pt x="1156" y="1265"/>
                    </a:lnTo>
                    <a:lnTo>
                      <a:pt x="1156" y="1267"/>
                    </a:lnTo>
                    <a:lnTo>
                      <a:pt x="1157" y="1265"/>
                    </a:lnTo>
                    <a:lnTo>
                      <a:pt x="1157" y="1267"/>
                    </a:lnTo>
                    <a:lnTo>
                      <a:pt x="1157" y="1269"/>
                    </a:lnTo>
                    <a:lnTo>
                      <a:pt x="1159" y="1269"/>
                    </a:lnTo>
                    <a:lnTo>
                      <a:pt x="1159" y="1270"/>
                    </a:lnTo>
                    <a:lnTo>
                      <a:pt x="1159" y="1272"/>
                    </a:lnTo>
                    <a:lnTo>
                      <a:pt x="1157" y="1272"/>
                    </a:lnTo>
                    <a:lnTo>
                      <a:pt x="1159" y="1272"/>
                    </a:lnTo>
                    <a:lnTo>
                      <a:pt x="1157" y="1272"/>
                    </a:lnTo>
                    <a:lnTo>
                      <a:pt x="1157" y="1274"/>
                    </a:lnTo>
                    <a:lnTo>
                      <a:pt x="1159" y="1272"/>
                    </a:lnTo>
                    <a:lnTo>
                      <a:pt x="1159" y="1270"/>
                    </a:lnTo>
                    <a:lnTo>
                      <a:pt x="1161" y="1272"/>
                    </a:lnTo>
                    <a:lnTo>
                      <a:pt x="1161" y="1274"/>
                    </a:lnTo>
                    <a:lnTo>
                      <a:pt x="1162" y="1274"/>
                    </a:lnTo>
                    <a:lnTo>
                      <a:pt x="1161" y="1276"/>
                    </a:lnTo>
                    <a:lnTo>
                      <a:pt x="1161" y="1274"/>
                    </a:lnTo>
                    <a:lnTo>
                      <a:pt x="1161" y="1276"/>
                    </a:lnTo>
                    <a:lnTo>
                      <a:pt x="1159" y="1276"/>
                    </a:lnTo>
                    <a:lnTo>
                      <a:pt x="1161" y="1276"/>
                    </a:lnTo>
                    <a:lnTo>
                      <a:pt x="1159" y="1277"/>
                    </a:lnTo>
                    <a:lnTo>
                      <a:pt x="1161" y="1276"/>
                    </a:lnTo>
                    <a:lnTo>
                      <a:pt x="1162" y="1276"/>
                    </a:lnTo>
                    <a:lnTo>
                      <a:pt x="1162" y="1277"/>
                    </a:lnTo>
                    <a:lnTo>
                      <a:pt x="1161" y="1277"/>
                    </a:lnTo>
                    <a:lnTo>
                      <a:pt x="1162" y="1279"/>
                    </a:lnTo>
                    <a:lnTo>
                      <a:pt x="1162" y="1281"/>
                    </a:lnTo>
                    <a:lnTo>
                      <a:pt x="1162" y="1282"/>
                    </a:lnTo>
                    <a:lnTo>
                      <a:pt x="1161" y="1282"/>
                    </a:lnTo>
                    <a:lnTo>
                      <a:pt x="1159" y="1284"/>
                    </a:lnTo>
                    <a:lnTo>
                      <a:pt x="1161" y="1284"/>
                    </a:lnTo>
                    <a:lnTo>
                      <a:pt x="1159" y="1284"/>
                    </a:lnTo>
                    <a:lnTo>
                      <a:pt x="1159" y="1286"/>
                    </a:lnTo>
                    <a:lnTo>
                      <a:pt x="1157" y="1286"/>
                    </a:lnTo>
                    <a:lnTo>
                      <a:pt x="1156" y="1286"/>
                    </a:lnTo>
                    <a:lnTo>
                      <a:pt x="1156" y="1284"/>
                    </a:lnTo>
                    <a:lnTo>
                      <a:pt x="1157" y="1284"/>
                    </a:lnTo>
                    <a:lnTo>
                      <a:pt x="1156" y="1284"/>
                    </a:lnTo>
                    <a:lnTo>
                      <a:pt x="1157" y="1282"/>
                    </a:lnTo>
                    <a:lnTo>
                      <a:pt x="1159" y="1282"/>
                    </a:lnTo>
                    <a:lnTo>
                      <a:pt x="1157" y="1282"/>
                    </a:lnTo>
                    <a:lnTo>
                      <a:pt x="1156" y="1284"/>
                    </a:lnTo>
                    <a:lnTo>
                      <a:pt x="1156" y="1282"/>
                    </a:lnTo>
                    <a:lnTo>
                      <a:pt x="1156" y="1281"/>
                    </a:lnTo>
                    <a:lnTo>
                      <a:pt x="1157" y="1281"/>
                    </a:lnTo>
                    <a:lnTo>
                      <a:pt x="1156" y="1281"/>
                    </a:lnTo>
                    <a:lnTo>
                      <a:pt x="1154" y="1281"/>
                    </a:lnTo>
                    <a:lnTo>
                      <a:pt x="1156" y="1279"/>
                    </a:lnTo>
                    <a:lnTo>
                      <a:pt x="1154" y="1279"/>
                    </a:lnTo>
                    <a:lnTo>
                      <a:pt x="1154" y="1277"/>
                    </a:lnTo>
                    <a:lnTo>
                      <a:pt x="1156" y="1277"/>
                    </a:lnTo>
                    <a:lnTo>
                      <a:pt x="1154" y="1277"/>
                    </a:lnTo>
                    <a:lnTo>
                      <a:pt x="1154" y="1276"/>
                    </a:lnTo>
                    <a:lnTo>
                      <a:pt x="1154" y="1274"/>
                    </a:lnTo>
                    <a:lnTo>
                      <a:pt x="1156" y="1274"/>
                    </a:lnTo>
                    <a:lnTo>
                      <a:pt x="1156" y="1272"/>
                    </a:lnTo>
                    <a:lnTo>
                      <a:pt x="1157" y="1272"/>
                    </a:lnTo>
                    <a:lnTo>
                      <a:pt x="1156" y="1270"/>
                    </a:lnTo>
                    <a:lnTo>
                      <a:pt x="1156" y="1272"/>
                    </a:lnTo>
                    <a:lnTo>
                      <a:pt x="1154" y="1272"/>
                    </a:lnTo>
                    <a:lnTo>
                      <a:pt x="1154" y="1270"/>
                    </a:lnTo>
                    <a:lnTo>
                      <a:pt x="1154" y="1272"/>
                    </a:lnTo>
                    <a:lnTo>
                      <a:pt x="1154" y="1270"/>
                    </a:lnTo>
                    <a:lnTo>
                      <a:pt x="1154" y="1269"/>
                    </a:lnTo>
                    <a:lnTo>
                      <a:pt x="1156" y="1269"/>
                    </a:lnTo>
                    <a:lnTo>
                      <a:pt x="1156" y="1267"/>
                    </a:lnTo>
                    <a:lnTo>
                      <a:pt x="1156" y="1269"/>
                    </a:lnTo>
                    <a:lnTo>
                      <a:pt x="1154" y="1269"/>
                    </a:lnTo>
                    <a:lnTo>
                      <a:pt x="1152" y="1270"/>
                    </a:lnTo>
                    <a:lnTo>
                      <a:pt x="1151" y="1272"/>
                    </a:lnTo>
                    <a:lnTo>
                      <a:pt x="1151" y="1270"/>
                    </a:lnTo>
                    <a:lnTo>
                      <a:pt x="1151" y="1272"/>
                    </a:lnTo>
                    <a:lnTo>
                      <a:pt x="1149" y="1272"/>
                    </a:lnTo>
                    <a:lnTo>
                      <a:pt x="1147" y="1272"/>
                    </a:lnTo>
                    <a:lnTo>
                      <a:pt x="1149" y="1272"/>
                    </a:lnTo>
                    <a:lnTo>
                      <a:pt x="1147" y="1272"/>
                    </a:lnTo>
                    <a:lnTo>
                      <a:pt x="1145" y="1270"/>
                    </a:lnTo>
                    <a:lnTo>
                      <a:pt x="1145" y="1269"/>
                    </a:lnTo>
                    <a:lnTo>
                      <a:pt x="1147" y="1269"/>
                    </a:lnTo>
                    <a:lnTo>
                      <a:pt x="1149" y="1269"/>
                    </a:lnTo>
                    <a:lnTo>
                      <a:pt x="1151" y="1269"/>
                    </a:lnTo>
                    <a:lnTo>
                      <a:pt x="1152" y="1269"/>
                    </a:lnTo>
                    <a:lnTo>
                      <a:pt x="1152" y="1267"/>
                    </a:lnTo>
                    <a:lnTo>
                      <a:pt x="1151" y="1269"/>
                    </a:lnTo>
                    <a:lnTo>
                      <a:pt x="1151" y="1267"/>
                    </a:lnTo>
                    <a:lnTo>
                      <a:pt x="1152" y="1267"/>
                    </a:lnTo>
                    <a:lnTo>
                      <a:pt x="1152" y="1265"/>
                    </a:lnTo>
                    <a:lnTo>
                      <a:pt x="1151" y="1267"/>
                    </a:lnTo>
                    <a:lnTo>
                      <a:pt x="1151" y="1265"/>
                    </a:lnTo>
                    <a:lnTo>
                      <a:pt x="1152" y="1264"/>
                    </a:lnTo>
                    <a:lnTo>
                      <a:pt x="1152" y="1262"/>
                    </a:lnTo>
                    <a:lnTo>
                      <a:pt x="1151" y="1264"/>
                    </a:lnTo>
                    <a:lnTo>
                      <a:pt x="1151" y="1265"/>
                    </a:lnTo>
                    <a:lnTo>
                      <a:pt x="1151" y="1267"/>
                    </a:lnTo>
                    <a:lnTo>
                      <a:pt x="1149" y="1267"/>
                    </a:lnTo>
                    <a:lnTo>
                      <a:pt x="1151" y="1269"/>
                    </a:lnTo>
                    <a:lnTo>
                      <a:pt x="1149" y="1269"/>
                    </a:lnTo>
                    <a:lnTo>
                      <a:pt x="1149" y="1267"/>
                    </a:lnTo>
                    <a:lnTo>
                      <a:pt x="1149" y="1269"/>
                    </a:lnTo>
                    <a:lnTo>
                      <a:pt x="1147" y="1269"/>
                    </a:lnTo>
                    <a:lnTo>
                      <a:pt x="1147" y="1267"/>
                    </a:lnTo>
                    <a:lnTo>
                      <a:pt x="1149" y="1267"/>
                    </a:lnTo>
                    <a:lnTo>
                      <a:pt x="1149" y="1265"/>
                    </a:lnTo>
                    <a:lnTo>
                      <a:pt x="1149" y="1264"/>
                    </a:lnTo>
                    <a:lnTo>
                      <a:pt x="1151" y="1262"/>
                    </a:lnTo>
                    <a:lnTo>
                      <a:pt x="1149" y="1264"/>
                    </a:lnTo>
                    <a:lnTo>
                      <a:pt x="1149" y="1262"/>
                    </a:lnTo>
                    <a:lnTo>
                      <a:pt x="1151" y="1262"/>
                    </a:lnTo>
                    <a:lnTo>
                      <a:pt x="1151" y="1260"/>
                    </a:lnTo>
                    <a:lnTo>
                      <a:pt x="1149" y="1262"/>
                    </a:lnTo>
                    <a:lnTo>
                      <a:pt x="1149" y="1264"/>
                    </a:lnTo>
                    <a:lnTo>
                      <a:pt x="1147" y="1264"/>
                    </a:lnTo>
                    <a:lnTo>
                      <a:pt x="1145" y="1262"/>
                    </a:lnTo>
                    <a:lnTo>
                      <a:pt x="1147" y="1262"/>
                    </a:lnTo>
                    <a:lnTo>
                      <a:pt x="1147" y="1260"/>
                    </a:lnTo>
                    <a:lnTo>
                      <a:pt x="1145" y="1260"/>
                    </a:lnTo>
                    <a:lnTo>
                      <a:pt x="1145" y="1259"/>
                    </a:lnTo>
                    <a:lnTo>
                      <a:pt x="1144" y="1257"/>
                    </a:lnTo>
                    <a:lnTo>
                      <a:pt x="1145" y="1255"/>
                    </a:lnTo>
                    <a:lnTo>
                      <a:pt x="1147" y="1255"/>
                    </a:lnTo>
                    <a:lnTo>
                      <a:pt x="1147" y="1253"/>
                    </a:lnTo>
                    <a:lnTo>
                      <a:pt x="1147" y="1255"/>
                    </a:lnTo>
                    <a:lnTo>
                      <a:pt x="1147" y="1253"/>
                    </a:lnTo>
                    <a:lnTo>
                      <a:pt x="1149" y="1255"/>
                    </a:lnTo>
                    <a:lnTo>
                      <a:pt x="1149" y="1253"/>
                    </a:lnTo>
                    <a:lnTo>
                      <a:pt x="1149" y="1255"/>
                    </a:lnTo>
                    <a:lnTo>
                      <a:pt x="1149" y="1253"/>
                    </a:lnTo>
                    <a:lnTo>
                      <a:pt x="1149" y="1255"/>
                    </a:lnTo>
                    <a:lnTo>
                      <a:pt x="1149" y="1253"/>
                    </a:lnTo>
                    <a:lnTo>
                      <a:pt x="1151" y="1253"/>
                    </a:lnTo>
                    <a:lnTo>
                      <a:pt x="1149" y="1255"/>
                    </a:lnTo>
                    <a:lnTo>
                      <a:pt x="1149" y="1257"/>
                    </a:lnTo>
                    <a:lnTo>
                      <a:pt x="1149" y="1255"/>
                    </a:lnTo>
                    <a:lnTo>
                      <a:pt x="1151" y="1255"/>
                    </a:lnTo>
                    <a:lnTo>
                      <a:pt x="1151" y="1253"/>
                    </a:lnTo>
                    <a:lnTo>
                      <a:pt x="1151" y="1252"/>
                    </a:lnTo>
                    <a:lnTo>
                      <a:pt x="1152" y="1252"/>
                    </a:lnTo>
                    <a:close/>
                    <a:moveTo>
                      <a:pt x="1176" y="1393"/>
                    </a:moveTo>
                    <a:lnTo>
                      <a:pt x="1176" y="1395"/>
                    </a:lnTo>
                    <a:lnTo>
                      <a:pt x="1176" y="1393"/>
                    </a:lnTo>
                    <a:lnTo>
                      <a:pt x="1178" y="1393"/>
                    </a:lnTo>
                    <a:lnTo>
                      <a:pt x="1178" y="1395"/>
                    </a:lnTo>
                    <a:lnTo>
                      <a:pt x="1179" y="1393"/>
                    </a:lnTo>
                    <a:lnTo>
                      <a:pt x="1179" y="1395"/>
                    </a:lnTo>
                    <a:lnTo>
                      <a:pt x="1181" y="1395"/>
                    </a:lnTo>
                    <a:lnTo>
                      <a:pt x="1181" y="1396"/>
                    </a:lnTo>
                    <a:lnTo>
                      <a:pt x="1181" y="1395"/>
                    </a:lnTo>
                    <a:lnTo>
                      <a:pt x="1183" y="1396"/>
                    </a:lnTo>
                    <a:lnTo>
                      <a:pt x="1181" y="1398"/>
                    </a:lnTo>
                    <a:lnTo>
                      <a:pt x="1181" y="1396"/>
                    </a:lnTo>
                    <a:lnTo>
                      <a:pt x="1181" y="1398"/>
                    </a:lnTo>
                    <a:lnTo>
                      <a:pt x="1181" y="1400"/>
                    </a:lnTo>
                    <a:lnTo>
                      <a:pt x="1179" y="1400"/>
                    </a:lnTo>
                    <a:lnTo>
                      <a:pt x="1181" y="1400"/>
                    </a:lnTo>
                    <a:lnTo>
                      <a:pt x="1181" y="1398"/>
                    </a:lnTo>
                    <a:lnTo>
                      <a:pt x="1183" y="1398"/>
                    </a:lnTo>
                    <a:lnTo>
                      <a:pt x="1183" y="1400"/>
                    </a:lnTo>
                    <a:lnTo>
                      <a:pt x="1183" y="1401"/>
                    </a:lnTo>
                    <a:lnTo>
                      <a:pt x="1183" y="1403"/>
                    </a:lnTo>
                    <a:lnTo>
                      <a:pt x="1181" y="1403"/>
                    </a:lnTo>
                    <a:lnTo>
                      <a:pt x="1183" y="1403"/>
                    </a:lnTo>
                    <a:lnTo>
                      <a:pt x="1183" y="1405"/>
                    </a:lnTo>
                    <a:lnTo>
                      <a:pt x="1183" y="1403"/>
                    </a:lnTo>
                    <a:lnTo>
                      <a:pt x="1183" y="1405"/>
                    </a:lnTo>
                    <a:lnTo>
                      <a:pt x="1183" y="1403"/>
                    </a:lnTo>
                    <a:lnTo>
                      <a:pt x="1183" y="1405"/>
                    </a:lnTo>
                    <a:lnTo>
                      <a:pt x="1183" y="1407"/>
                    </a:lnTo>
                    <a:lnTo>
                      <a:pt x="1183" y="1405"/>
                    </a:lnTo>
                    <a:lnTo>
                      <a:pt x="1185" y="1407"/>
                    </a:lnTo>
                    <a:lnTo>
                      <a:pt x="1185" y="1408"/>
                    </a:lnTo>
                    <a:lnTo>
                      <a:pt x="1185" y="1410"/>
                    </a:lnTo>
                    <a:lnTo>
                      <a:pt x="1185" y="1412"/>
                    </a:lnTo>
                    <a:lnTo>
                      <a:pt x="1183" y="1410"/>
                    </a:lnTo>
                    <a:lnTo>
                      <a:pt x="1185" y="1412"/>
                    </a:lnTo>
                    <a:lnTo>
                      <a:pt x="1183" y="1412"/>
                    </a:lnTo>
                    <a:lnTo>
                      <a:pt x="1183" y="1410"/>
                    </a:lnTo>
                    <a:lnTo>
                      <a:pt x="1181" y="1408"/>
                    </a:lnTo>
                    <a:lnTo>
                      <a:pt x="1181" y="1407"/>
                    </a:lnTo>
                    <a:lnTo>
                      <a:pt x="1179" y="1407"/>
                    </a:lnTo>
                    <a:lnTo>
                      <a:pt x="1179" y="1408"/>
                    </a:lnTo>
                    <a:lnTo>
                      <a:pt x="1181" y="1408"/>
                    </a:lnTo>
                    <a:lnTo>
                      <a:pt x="1181" y="1410"/>
                    </a:lnTo>
                    <a:lnTo>
                      <a:pt x="1181" y="1412"/>
                    </a:lnTo>
                    <a:lnTo>
                      <a:pt x="1179" y="1412"/>
                    </a:lnTo>
                    <a:lnTo>
                      <a:pt x="1179" y="1410"/>
                    </a:lnTo>
                    <a:lnTo>
                      <a:pt x="1179" y="1412"/>
                    </a:lnTo>
                    <a:lnTo>
                      <a:pt x="1181" y="1412"/>
                    </a:lnTo>
                    <a:lnTo>
                      <a:pt x="1181" y="1413"/>
                    </a:lnTo>
                    <a:lnTo>
                      <a:pt x="1183" y="1413"/>
                    </a:lnTo>
                    <a:lnTo>
                      <a:pt x="1185" y="1415"/>
                    </a:lnTo>
                    <a:lnTo>
                      <a:pt x="1185" y="1417"/>
                    </a:lnTo>
                    <a:lnTo>
                      <a:pt x="1185" y="1418"/>
                    </a:lnTo>
                    <a:lnTo>
                      <a:pt x="1183" y="1418"/>
                    </a:lnTo>
                    <a:lnTo>
                      <a:pt x="1183" y="1417"/>
                    </a:lnTo>
                    <a:lnTo>
                      <a:pt x="1181" y="1417"/>
                    </a:lnTo>
                    <a:lnTo>
                      <a:pt x="1183" y="1418"/>
                    </a:lnTo>
                    <a:lnTo>
                      <a:pt x="1183" y="1420"/>
                    </a:lnTo>
                    <a:lnTo>
                      <a:pt x="1183" y="1418"/>
                    </a:lnTo>
                    <a:lnTo>
                      <a:pt x="1181" y="1418"/>
                    </a:lnTo>
                    <a:lnTo>
                      <a:pt x="1181" y="1417"/>
                    </a:lnTo>
                    <a:lnTo>
                      <a:pt x="1179" y="1418"/>
                    </a:lnTo>
                    <a:lnTo>
                      <a:pt x="1181" y="1418"/>
                    </a:lnTo>
                    <a:lnTo>
                      <a:pt x="1183" y="1420"/>
                    </a:lnTo>
                    <a:lnTo>
                      <a:pt x="1183" y="1422"/>
                    </a:lnTo>
                    <a:lnTo>
                      <a:pt x="1181" y="1422"/>
                    </a:lnTo>
                    <a:lnTo>
                      <a:pt x="1181" y="1420"/>
                    </a:lnTo>
                    <a:lnTo>
                      <a:pt x="1181" y="1418"/>
                    </a:lnTo>
                    <a:lnTo>
                      <a:pt x="1179" y="1420"/>
                    </a:lnTo>
                    <a:lnTo>
                      <a:pt x="1179" y="1418"/>
                    </a:lnTo>
                    <a:lnTo>
                      <a:pt x="1178" y="1420"/>
                    </a:lnTo>
                    <a:lnTo>
                      <a:pt x="1178" y="1418"/>
                    </a:lnTo>
                    <a:lnTo>
                      <a:pt x="1179" y="1418"/>
                    </a:lnTo>
                    <a:lnTo>
                      <a:pt x="1179" y="1417"/>
                    </a:lnTo>
                    <a:lnTo>
                      <a:pt x="1178" y="1417"/>
                    </a:lnTo>
                    <a:lnTo>
                      <a:pt x="1178" y="1415"/>
                    </a:lnTo>
                    <a:lnTo>
                      <a:pt x="1176" y="1413"/>
                    </a:lnTo>
                    <a:lnTo>
                      <a:pt x="1178" y="1412"/>
                    </a:lnTo>
                    <a:lnTo>
                      <a:pt x="1176" y="1412"/>
                    </a:lnTo>
                    <a:lnTo>
                      <a:pt x="1176" y="1410"/>
                    </a:lnTo>
                    <a:lnTo>
                      <a:pt x="1178" y="1410"/>
                    </a:lnTo>
                    <a:lnTo>
                      <a:pt x="1179" y="1410"/>
                    </a:lnTo>
                    <a:lnTo>
                      <a:pt x="1179" y="1408"/>
                    </a:lnTo>
                    <a:lnTo>
                      <a:pt x="1179" y="1410"/>
                    </a:lnTo>
                    <a:lnTo>
                      <a:pt x="1178" y="1410"/>
                    </a:lnTo>
                    <a:lnTo>
                      <a:pt x="1176" y="1410"/>
                    </a:lnTo>
                    <a:lnTo>
                      <a:pt x="1176" y="1408"/>
                    </a:lnTo>
                    <a:lnTo>
                      <a:pt x="1176" y="1410"/>
                    </a:lnTo>
                    <a:lnTo>
                      <a:pt x="1176" y="1412"/>
                    </a:lnTo>
                    <a:lnTo>
                      <a:pt x="1174" y="1413"/>
                    </a:lnTo>
                    <a:lnTo>
                      <a:pt x="1174" y="1412"/>
                    </a:lnTo>
                    <a:lnTo>
                      <a:pt x="1174" y="1413"/>
                    </a:lnTo>
                    <a:lnTo>
                      <a:pt x="1173" y="1413"/>
                    </a:lnTo>
                    <a:lnTo>
                      <a:pt x="1171" y="1413"/>
                    </a:lnTo>
                    <a:lnTo>
                      <a:pt x="1173" y="1412"/>
                    </a:lnTo>
                    <a:lnTo>
                      <a:pt x="1171" y="1412"/>
                    </a:lnTo>
                    <a:lnTo>
                      <a:pt x="1173" y="1412"/>
                    </a:lnTo>
                    <a:lnTo>
                      <a:pt x="1173" y="1410"/>
                    </a:lnTo>
                    <a:lnTo>
                      <a:pt x="1171" y="1410"/>
                    </a:lnTo>
                    <a:lnTo>
                      <a:pt x="1173" y="1410"/>
                    </a:lnTo>
                    <a:lnTo>
                      <a:pt x="1174" y="1410"/>
                    </a:lnTo>
                    <a:lnTo>
                      <a:pt x="1174" y="1408"/>
                    </a:lnTo>
                    <a:lnTo>
                      <a:pt x="1176" y="1408"/>
                    </a:lnTo>
                    <a:lnTo>
                      <a:pt x="1176" y="1407"/>
                    </a:lnTo>
                    <a:lnTo>
                      <a:pt x="1176" y="1405"/>
                    </a:lnTo>
                    <a:lnTo>
                      <a:pt x="1176" y="1407"/>
                    </a:lnTo>
                    <a:lnTo>
                      <a:pt x="1174" y="1407"/>
                    </a:lnTo>
                    <a:lnTo>
                      <a:pt x="1174" y="1408"/>
                    </a:lnTo>
                    <a:lnTo>
                      <a:pt x="1173" y="1408"/>
                    </a:lnTo>
                    <a:lnTo>
                      <a:pt x="1171" y="1408"/>
                    </a:lnTo>
                    <a:lnTo>
                      <a:pt x="1171" y="1407"/>
                    </a:lnTo>
                    <a:lnTo>
                      <a:pt x="1171" y="1408"/>
                    </a:lnTo>
                    <a:lnTo>
                      <a:pt x="1169" y="1408"/>
                    </a:lnTo>
                    <a:lnTo>
                      <a:pt x="1171" y="1408"/>
                    </a:lnTo>
                    <a:lnTo>
                      <a:pt x="1171" y="1410"/>
                    </a:lnTo>
                    <a:lnTo>
                      <a:pt x="1169" y="1412"/>
                    </a:lnTo>
                    <a:lnTo>
                      <a:pt x="1168" y="1412"/>
                    </a:lnTo>
                    <a:lnTo>
                      <a:pt x="1169" y="1410"/>
                    </a:lnTo>
                    <a:lnTo>
                      <a:pt x="1168" y="1410"/>
                    </a:lnTo>
                    <a:lnTo>
                      <a:pt x="1168" y="1412"/>
                    </a:lnTo>
                    <a:lnTo>
                      <a:pt x="1166" y="1410"/>
                    </a:lnTo>
                    <a:lnTo>
                      <a:pt x="1168" y="1410"/>
                    </a:lnTo>
                    <a:lnTo>
                      <a:pt x="1168" y="1408"/>
                    </a:lnTo>
                    <a:lnTo>
                      <a:pt x="1169" y="1407"/>
                    </a:lnTo>
                    <a:lnTo>
                      <a:pt x="1168" y="1407"/>
                    </a:lnTo>
                    <a:lnTo>
                      <a:pt x="1169" y="1407"/>
                    </a:lnTo>
                    <a:lnTo>
                      <a:pt x="1171" y="1407"/>
                    </a:lnTo>
                    <a:lnTo>
                      <a:pt x="1169" y="1407"/>
                    </a:lnTo>
                    <a:lnTo>
                      <a:pt x="1168" y="1407"/>
                    </a:lnTo>
                    <a:lnTo>
                      <a:pt x="1166" y="1407"/>
                    </a:lnTo>
                    <a:lnTo>
                      <a:pt x="1168" y="1405"/>
                    </a:lnTo>
                    <a:lnTo>
                      <a:pt x="1169" y="1405"/>
                    </a:lnTo>
                    <a:lnTo>
                      <a:pt x="1168" y="1405"/>
                    </a:lnTo>
                    <a:lnTo>
                      <a:pt x="1166" y="1405"/>
                    </a:lnTo>
                    <a:lnTo>
                      <a:pt x="1166" y="1407"/>
                    </a:lnTo>
                    <a:lnTo>
                      <a:pt x="1164" y="1407"/>
                    </a:lnTo>
                    <a:lnTo>
                      <a:pt x="1164" y="1405"/>
                    </a:lnTo>
                    <a:lnTo>
                      <a:pt x="1164" y="1403"/>
                    </a:lnTo>
                    <a:lnTo>
                      <a:pt x="1166" y="1403"/>
                    </a:lnTo>
                    <a:lnTo>
                      <a:pt x="1168" y="1403"/>
                    </a:lnTo>
                    <a:lnTo>
                      <a:pt x="1166" y="1403"/>
                    </a:lnTo>
                    <a:lnTo>
                      <a:pt x="1164" y="1401"/>
                    </a:lnTo>
                    <a:lnTo>
                      <a:pt x="1166" y="1401"/>
                    </a:lnTo>
                    <a:lnTo>
                      <a:pt x="1168" y="1401"/>
                    </a:lnTo>
                    <a:lnTo>
                      <a:pt x="1166" y="1401"/>
                    </a:lnTo>
                    <a:lnTo>
                      <a:pt x="1168" y="1401"/>
                    </a:lnTo>
                    <a:lnTo>
                      <a:pt x="1169" y="1401"/>
                    </a:lnTo>
                    <a:lnTo>
                      <a:pt x="1169" y="1403"/>
                    </a:lnTo>
                    <a:lnTo>
                      <a:pt x="1171" y="1403"/>
                    </a:lnTo>
                    <a:lnTo>
                      <a:pt x="1173" y="1403"/>
                    </a:lnTo>
                    <a:lnTo>
                      <a:pt x="1174" y="1403"/>
                    </a:lnTo>
                    <a:lnTo>
                      <a:pt x="1173" y="1405"/>
                    </a:lnTo>
                    <a:lnTo>
                      <a:pt x="1174" y="1405"/>
                    </a:lnTo>
                    <a:lnTo>
                      <a:pt x="1174" y="1403"/>
                    </a:lnTo>
                    <a:lnTo>
                      <a:pt x="1176" y="1403"/>
                    </a:lnTo>
                    <a:lnTo>
                      <a:pt x="1176" y="1405"/>
                    </a:lnTo>
                    <a:lnTo>
                      <a:pt x="1176" y="1403"/>
                    </a:lnTo>
                    <a:lnTo>
                      <a:pt x="1178" y="1403"/>
                    </a:lnTo>
                    <a:lnTo>
                      <a:pt x="1176" y="1401"/>
                    </a:lnTo>
                    <a:lnTo>
                      <a:pt x="1178" y="1401"/>
                    </a:lnTo>
                    <a:lnTo>
                      <a:pt x="1176" y="1401"/>
                    </a:lnTo>
                    <a:lnTo>
                      <a:pt x="1176" y="1403"/>
                    </a:lnTo>
                    <a:lnTo>
                      <a:pt x="1174" y="1401"/>
                    </a:lnTo>
                    <a:lnTo>
                      <a:pt x="1174" y="1400"/>
                    </a:lnTo>
                    <a:lnTo>
                      <a:pt x="1176" y="1400"/>
                    </a:lnTo>
                    <a:lnTo>
                      <a:pt x="1176" y="1398"/>
                    </a:lnTo>
                    <a:lnTo>
                      <a:pt x="1178" y="1400"/>
                    </a:lnTo>
                    <a:lnTo>
                      <a:pt x="1176" y="1400"/>
                    </a:lnTo>
                    <a:lnTo>
                      <a:pt x="1178" y="1400"/>
                    </a:lnTo>
                    <a:lnTo>
                      <a:pt x="1178" y="1398"/>
                    </a:lnTo>
                    <a:lnTo>
                      <a:pt x="1179" y="1398"/>
                    </a:lnTo>
                    <a:lnTo>
                      <a:pt x="1178" y="1398"/>
                    </a:lnTo>
                    <a:lnTo>
                      <a:pt x="1176" y="1398"/>
                    </a:lnTo>
                    <a:lnTo>
                      <a:pt x="1176" y="1396"/>
                    </a:lnTo>
                    <a:lnTo>
                      <a:pt x="1174" y="1396"/>
                    </a:lnTo>
                    <a:lnTo>
                      <a:pt x="1174" y="1395"/>
                    </a:lnTo>
                    <a:lnTo>
                      <a:pt x="1173" y="1395"/>
                    </a:lnTo>
                    <a:lnTo>
                      <a:pt x="1174" y="1393"/>
                    </a:lnTo>
                    <a:lnTo>
                      <a:pt x="1174" y="1391"/>
                    </a:lnTo>
                    <a:lnTo>
                      <a:pt x="1176" y="1393"/>
                    </a:lnTo>
                    <a:close/>
                    <a:moveTo>
                      <a:pt x="1173" y="1259"/>
                    </a:moveTo>
                    <a:lnTo>
                      <a:pt x="1174" y="1259"/>
                    </a:lnTo>
                    <a:lnTo>
                      <a:pt x="1174" y="1260"/>
                    </a:lnTo>
                    <a:lnTo>
                      <a:pt x="1174" y="1262"/>
                    </a:lnTo>
                    <a:lnTo>
                      <a:pt x="1173" y="1262"/>
                    </a:lnTo>
                    <a:lnTo>
                      <a:pt x="1174" y="1262"/>
                    </a:lnTo>
                    <a:lnTo>
                      <a:pt x="1174" y="1264"/>
                    </a:lnTo>
                    <a:lnTo>
                      <a:pt x="1174" y="1262"/>
                    </a:lnTo>
                    <a:lnTo>
                      <a:pt x="1176" y="1264"/>
                    </a:lnTo>
                    <a:lnTo>
                      <a:pt x="1174" y="1265"/>
                    </a:lnTo>
                    <a:lnTo>
                      <a:pt x="1176" y="1265"/>
                    </a:lnTo>
                    <a:lnTo>
                      <a:pt x="1174" y="1265"/>
                    </a:lnTo>
                    <a:lnTo>
                      <a:pt x="1176" y="1267"/>
                    </a:lnTo>
                    <a:lnTo>
                      <a:pt x="1178" y="1267"/>
                    </a:lnTo>
                    <a:lnTo>
                      <a:pt x="1178" y="1269"/>
                    </a:lnTo>
                    <a:lnTo>
                      <a:pt x="1178" y="1270"/>
                    </a:lnTo>
                    <a:lnTo>
                      <a:pt x="1178" y="1272"/>
                    </a:lnTo>
                    <a:lnTo>
                      <a:pt x="1176" y="1272"/>
                    </a:lnTo>
                    <a:lnTo>
                      <a:pt x="1174" y="1272"/>
                    </a:lnTo>
                    <a:lnTo>
                      <a:pt x="1176" y="1272"/>
                    </a:lnTo>
                    <a:lnTo>
                      <a:pt x="1176" y="1274"/>
                    </a:lnTo>
                    <a:lnTo>
                      <a:pt x="1178" y="1276"/>
                    </a:lnTo>
                    <a:lnTo>
                      <a:pt x="1178" y="1277"/>
                    </a:lnTo>
                    <a:lnTo>
                      <a:pt x="1178" y="1279"/>
                    </a:lnTo>
                    <a:lnTo>
                      <a:pt x="1178" y="1281"/>
                    </a:lnTo>
                    <a:lnTo>
                      <a:pt x="1179" y="1282"/>
                    </a:lnTo>
                    <a:lnTo>
                      <a:pt x="1179" y="1284"/>
                    </a:lnTo>
                    <a:lnTo>
                      <a:pt x="1181" y="1282"/>
                    </a:lnTo>
                    <a:lnTo>
                      <a:pt x="1179" y="1282"/>
                    </a:lnTo>
                    <a:lnTo>
                      <a:pt x="1179" y="1281"/>
                    </a:lnTo>
                    <a:lnTo>
                      <a:pt x="1181" y="1281"/>
                    </a:lnTo>
                    <a:lnTo>
                      <a:pt x="1181" y="1282"/>
                    </a:lnTo>
                    <a:lnTo>
                      <a:pt x="1181" y="1284"/>
                    </a:lnTo>
                    <a:lnTo>
                      <a:pt x="1181" y="1286"/>
                    </a:lnTo>
                    <a:lnTo>
                      <a:pt x="1179" y="1286"/>
                    </a:lnTo>
                    <a:lnTo>
                      <a:pt x="1178" y="1288"/>
                    </a:lnTo>
                    <a:lnTo>
                      <a:pt x="1178" y="1286"/>
                    </a:lnTo>
                    <a:lnTo>
                      <a:pt x="1176" y="1286"/>
                    </a:lnTo>
                    <a:lnTo>
                      <a:pt x="1176" y="1284"/>
                    </a:lnTo>
                    <a:lnTo>
                      <a:pt x="1174" y="1284"/>
                    </a:lnTo>
                    <a:lnTo>
                      <a:pt x="1173" y="1284"/>
                    </a:lnTo>
                    <a:lnTo>
                      <a:pt x="1174" y="1282"/>
                    </a:lnTo>
                    <a:lnTo>
                      <a:pt x="1173" y="1284"/>
                    </a:lnTo>
                    <a:lnTo>
                      <a:pt x="1171" y="1284"/>
                    </a:lnTo>
                    <a:lnTo>
                      <a:pt x="1169" y="1282"/>
                    </a:lnTo>
                    <a:lnTo>
                      <a:pt x="1168" y="1282"/>
                    </a:lnTo>
                    <a:lnTo>
                      <a:pt x="1166" y="1282"/>
                    </a:lnTo>
                    <a:lnTo>
                      <a:pt x="1166" y="1281"/>
                    </a:lnTo>
                    <a:lnTo>
                      <a:pt x="1166" y="1279"/>
                    </a:lnTo>
                    <a:lnTo>
                      <a:pt x="1166" y="1281"/>
                    </a:lnTo>
                    <a:lnTo>
                      <a:pt x="1166" y="1282"/>
                    </a:lnTo>
                    <a:lnTo>
                      <a:pt x="1164" y="1282"/>
                    </a:lnTo>
                    <a:lnTo>
                      <a:pt x="1164" y="1281"/>
                    </a:lnTo>
                    <a:lnTo>
                      <a:pt x="1164" y="1279"/>
                    </a:lnTo>
                    <a:lnTo>
                      <a:pt x="1164" y="1277"/>
                    </a:lnTo>
                    <a:lnTo>
                      <a:pt x="1164" y="1276"/>
                    </a:lnTo>
                    <a:lnTo>
                      <a:pt x="1164" y="1274"/>
                    </a:lnTo>
                    <a:lnTo>
                      <a:pt x="1166" y="1274"/>
                    </a:lnTo>
                    <a:lnTo>
                      <a:pt x="1166" y="1272"/>
                    </a:lnTo>
                    <a:lnTo>
                      <a:pt x="1168" y="1272"/>
                    </a:lnTo>
                    <a:lnTo>
                      <a:pt x="1168" y="1270"/>
                    </a:lnTo>
                    <a:lnTo>
                      <a:pt x="1169" y="1272"/>
                    </a:lnTo>
                    <a:lnTo>
                      <a:pt x="1169" y="1270"/>
                    </a:lnTo>
                    <a:lnTo>
                      <a:pt x="1171" y="1270"/>
                    </a:lnTo>
                    <a:lnTo>
                      <a:pt x="1171" y="1272"/>
                    </a:lnTo>
                    <a:lnTo>
                      <a:pt x="1171" y="1274"/>
                    </a:lnTo>
                    <a:lnTo>
                      <a:pt x="1171" y="1276"/>
                    </a:lnTo>
                    <a:lnTo>
                      <a:pt x="1171" y="1277"/>
                    </a:lnTo>
                    <a:lnTo>
                      <a:pt x="1171" y="1279"/>
                    </a:lnTo>
                    <a:lnTo>
                      <a:pt x="1171" y="1277"/>
                    </a:lnTo>
                    <a:lnTo>
                      <a:pt x="1171" y="1276"/>
                    </a:lnTo>
                    <a:lnTo>
                      <a:pt x="1173" y="1276"/>
                    </a:lnTo>
                    <a:lnTo>
                      <a:pt x="1173" y="1277"/>
                    </a:lnTo>
                    <a:lnTo>
                      <a:pt x="1173" y="1279"/>
                    </a:lnTo>
                    <a:lnTo>
                      <a:pt x="1173" y="1277"/>
                    </a:lnTo>
                    <a:lnTo>
                      <a:pt x="1173" y="1276"/>
                    </a:lnTo>
                    <a:lnTo>
                      <a:pt x="1174" y="1276"/>
                    </a:lnTo>
                    <a:lnTo>
                      <a:pt x="1174" y="1274"/>
                    </a:lnTo>
                    <a:lnTo>
                      <a:pt x="1174" y="1272"/>
                    </a:lnTo>
                    <a:lnTo>
                      <a:pt x="1173" y="1274"/>
                    </a:lnTo>
                    <a:lnTo>
                      <a:pt x="1173" y="1272"/>
                    </a:lnTo>
                    <a:lnTo>
                      <a:pt x="1171" y="1272"/>
                    </a:lnTo>
                    <a:lnTo>
                      <a:pt x="1171" y="1270"/>
                    </a:lnTo>
                    <a:lnTo>
                      <a:pt x="1171" y="1272"/>
                    </a:lnTo>
                    <a:lnTo>
                      <a:pt x="1173" y="1272"/>
                    </a:lnTo>
                    <a:lnTo>
                      <a:pt x="1171" y="1270"/>
                    </a:lnTo>
                    <a:lnTo>
                      <a:pt x="1171" y="1269"/>
                    </a:lnTo>
                    <a:lnTo>
                      <a:pt x="1171" y="1267"/>
                    </a:lnTo>
                    <a:lnTo>
                      <a:pt x="1171" y="1265"/>
                    </a:lnTo>
                    <a:lnTo>
                      <a:pt x="1171" y="1264"/>
                    </a:lnTo>
                    <a:lnTo>
                      <a:pt x="1173" y="1264"/>
                    </a:lnTo>
                    <a:lnTo>
                      <a:pt x="1171" y="1264"/>
                    </a:lnTo>
                    <a:lnTo>
                      <a:pt x="1173" y="1262"/>
                    </a:lnTo>
                    <a:lnTo>
                      <a:pt x="1173" y="1260"/>
                    </a:lnTo>
                    <a:lnTo>
                      <a:pt x="1173" y="1259"/>
                    </a:lnTo>
                    <a:lnTo>
                      <a:pt x="1173" y="1257"/>
                    </a:lnTo>
                    <a:lnTo>
                      <a:pt x="1173" y="1259"/>
                    </a:lnTo>
                    <a:close/>
                    <a:moveTo>
                      <a:pt x="1188" y="1466"/>
                    </a:moveTo>
                    <a:lnTo>
                      <a:pt x="1190" y="1466"/>
                    </a:lnTo>
                    <a:lnTo>
                      <a:pt x="1190" y="1468"/>
                    </a:lnTo>
                    <a:lnTo>
                      <a:pt x="1191" y="1466"/>
                    </a:lnTo>
                    <a:lnTo>
                      <a:pt x="1193" y="1466"/>
                    </a:lnTo>
                    <a:lnTo>
                      <a:pt x="1193" y="1468"/>
                    </a:lnTo>
                    <a:lnTo>
                      <a:pt x="1195" y="1468"/>
                    </a:lnTo>
                    <a:lnTo>
                      <a:pt x="1195" y="1470"/>
                    </a:lnTo>
                    <a:lnTo>
                      <a:pt x="1193" y="1471"/>
                    </a:lnTo>
                    <a:lnTo>
                      <a:pt x="1195" y="1471"/>
                    </a:lnTo>
                    <a:lnTo>
                      <a:pt x="1195" y="1470"/>
                    </a:lnTo>
                    <a:lnTo>
                      <a:pt x="1196" y="1470"/>
                    </a:lnTo>
                    <a:lnTo>
                      <a:pt x="1196" y="1471"/>
                    </a:lnTo>
                    <a:lnTo>
                      <a:pt x="1198" y="1471"/>
                    </a:lnTo>
                    <a:lnTo>
                      <a:pt x="1198" y="1473"/>
                    </a:lnTo>
                    <a:lnTo>
                      <a:pt x="1200" y="1473"/>
                    </a:lnTo>
                    <a:lnTo>
                      <a:pt x="1202" y="1475"/>
                    </a:lnTo>
                    <a:lnTo>
                      <a:pt x="1203" y="1475"/>
                    </a:lnTo>
                    <a:lnTo>
                      <a:pt x="1203" y="1476"/>
                    </a:lnTo>
                    <a:lnTo>
                      <a:pt x="1205" y="1478"/>
                    </a:lnTo>
                    <a:lnTo>
                      <a:pt x="1205" y="1480"/>
                    </a:lnTo>
                    <a:lnTo>
                      <a:pt x="1203" y="1481"/>
                    </a:lnTo>
                    <a:lnTo>
                      <a:pt x="1205" y="1481"/>
                    </a:lnTo>
                    <a:lnTo>
                      <a:pt x="1205" y="1480"/>
                    </a:lnTo>
                    <a:lnTo>
                      <a:pt x="1205" y="1481"/>
                    </a:lnTo>
                    <a:lnTo>
                      <a:pt x="1205" y="1483"/>
                    </a:lnTo>
                    <a:lnTo>
                      <a:pt x="1205" y="1485"/>
                    </a:lnTo>
                    <a:lnTo>
                      <a:pt x="1207" y="1487"/>
                    </a:lnTo>
                    <a:lnTo>
                      <a:pt x="1207" y="1488"/>
                    </a:lnTo>
                    <a:lnTo>
                      <a:pt x="1208" y="1488"/>
                    </a:lnTo>
                    <a:lnTo>
                      <a:pt x="1208" y="1490"/>
                    </a:lnTo>
                    <a:lnTo>
                      <a:pt x="1207" y="1488"/>
                    </a:lnTo>
                    <a:lnTo>
                      <a:pt x="1208" y="1490"/>
                    </a:lnTo>
                    <a:lnTo>
                      <a:pt x="1207" y="1490"/>
                    </a:lnTo>
                    <a:lnTo>
                      <a:pt x="1205" y="1490"/>
                    </a:lnTo>
                    <a:lnTo>
                      <a:pt x="1207" y="1490"/>
                    </a:lnTo>
                    <a:lnTo>
                      <a:pt x="1207" y="1492"/>
                    </a:lnTo>
                    <a:lnTo>
                      <a:pt x="1205" y="1492"/>
                    </a:lnTo>
                    <a:lnTo>
                      <a:pt x="1205" y="1493"/>
                    </a:lnTo>
                    <a:lnTo>
                      <a:pt x="1207" y="1493"/>
                    </a:lnTo>
                    <a:lnTo>
                      <a:pt x="1205" y="1493"/>
                    </a:lnTo>
                    <a:lnTo>
                      <a:pt x="1203" y="1493"/>
                    </a:lnTo>
                    <a:lnTo>
                      <a:pt x="1203" y="1492"/>
                    </a:lnTo>
                    <a:lnTo>
                      <a:pt x="1203" y="1493"/>
                    </a:lnTo>
                    <a:lnTo>
                      <a:pt x="1205" y="1493"/>
                    </a:lnTo>
                    <a:lnTo>
                      <a:pt x="1203" y="1495"/>
                    </a:lnTo>
                    <a:lnTo>
                      <a:pt x="1205" y="1495"/>
                    </a:lnTo>
                    <a:lnTo>
                      <a:pt x="1205" y="1493"/>
                    </a:lnTo>
                    <a:lnTo>
                      <a:pt x="1207" y="1495"/>
                    </a:lnTo>
                    <a:lnTo>
                      <a:pt x="1207" y="1497"/>
                    </a:lnTo>
                    <a:lnTo>
                      <a:pt x="1205" y="1497"/>
                    </a:lnTo>
                    <a:lnTo>
                      <a:pt x="1205" y="1498"/>
                    </a:lnTo>
                    <a:lnTo>
                      <a:pt x="1205" y="1500"/>
                    </a:lnTo>
                    <a:lnTo>
                      <a:pt x="1205" y="1498"/>
                    </a:lnTo>
                    <a:lnTo>
                      <a:pt x="1203" y="1500"/>
                    </a:lnTo>
                    <a:lnTo>
                      <a:pt x="1205" y="1500"/>
                    </a:lnTo>
                    <a:lnTo>
                      <a:pt x="1203" y="1500"/>
                    </a:lnTo>
                    <a:lnTo>
                      <a:pt x="1203" y="1502"/>
                    </a:lnTo>
                    <a:lnTo>
                      <a:pt x="1202" y="1502"/>
                    </a:lnTo>
                    <a:lnTo>
                      <a:pt x="1202" y="1500"/>
                    </a:lnTo>
                    <a:lnTo>
                      <a:pt x="1202" y="1502"/>
                    </a:lnTo>
                    <a:lnTo>
                      <a:pt x="1200" y="1502"/>
                    </a:lnTo>
                    <a:lnTo>
                      <a:pt x="1200" y="1504"/>
                    </a:lnTo>
                    <a:lnTo>
                      <a:pt x="1198" y="1504"/>
                    </a:lnTo>
                    <a:lnTo>
                      <a:pt x="1198" y="1502"/>
                    </a:lnTo>
                    <a:lnTo>
                      <a:pt x="1198" y="1500"/>
                    </a:lnTo>
                    <a:lnTo>
                      <a:pt x="1200" y="1500"/>
                    </a:lnTo>
                    <a:lnTo>
                      <a:pt x="1200" y="1498"/>
                    </a:lnTo>
                    <a:lnTo>
                      <a:pt x="1202" y="1497"/>
                    </a:lnTo>
                    <a:lnTo>
                      <a:pt x="1202" y="1495"/>
                    </a:lnTo>
                    <a:lnTo>
                      <a:pt x="1200" y="1497"/>
                    </a:lnTo>
                    <a:lnTo>
                      <a:pt x="1200" y="1498"/>
                    </a:lnTo>
                    <a:lnTo>
                      <a:pt x="1198" y="1498"/>
                    </a:lnTo>
                    <a:lnTo>
                      <a:pt x="1198" y="1500"/>
                    </a:lnTo>
                    <a:lnTo>
                      <a:pt x="1198" y="1498"/>
                    </a:lnTo>
                    <a:lnTo>
                      <a:pt x="1198" y="1497"/>
                    </a:lnTo>
                    <a:lnTo>
                      <a:pt x="1200" y="1495"/>
                    </a:lnTo>
                    <a:lnTo>
                      <a:pt x="1202" y="1495"/>
                    </a:lnTo>
                    <a:lnTo>
                      <a:pt x="1202" y="1493"/>
                    </a:lnTo>
                    <a:lnTo>
                      <a:pt x="1200" y="1495"/>
                    </a:lnTo>
                    <a:lnTo>
                      <a:pt x="1200" y="1493"/>
                    </a:lnTo>
                    <a:lnTo>
                      <a:pt x="1200" y="1495"/>
                    </a:lnTo>
                    <a:lnTo>
                      <a:pt x="1198" y="1495"/>
                    </a:lnTo>
                    <a:lnTo>
                      <a:pt x="1196" y="1497"/>
                    </a:lnTo>
                    <a:lnTo>
                      <a:pt x="1196" y="1495"/>
                    </a:lnTo>
                    <a:lnTo>
                      <a:pt x="1196" y="1497"/>
                    </a:lnTo>
                    <a:lnTo>
                      <a:pt x="1196" y="1498"/>
                    </a:lnTo>
                    <a:lnTo>
                      <a:pt x="1195" y="1497"/>
                    </a:lnTo>
                    <a:lnTo>
                      <a:pt x="1193" y="1497"/>
                    </a:lnTo>
                    <a:lnTo>
                      <a:pt x="1195" y="1497"/>
                    </a:lnTo>
                    <a:lnTo>
                      <a:pt x="1195" y="1495"/>
                    </a:lnTo>
                    <a:lnTo>
                      <a:pt x="1195" y="1493"/>
                    </a:lnTo>
                    <a:lnTo>
                      <a:pt x="1196" y="1493"/>
                    </a:lnTo>
                    <a:lnTo>
                      <a:pt x="1198" y="1493"/>
                    </a:lnTo>
                    <a:lnTo>
                      <a:pt x="1198" y="1492"/>
                    </a:lnTo>
                    <a:lnTo>
                      <a:pt x="1196" y="1493"/>
                    </a:lnTo>
                    <a:lnTo>
                      <a:pt x="1196" y="1492"/>
                    </a:lnTo>
                    <a:lnTo>
                      <a:pt x="1198" y="1492"/>
                    </a:lnTo>
                    <a:lnTo>
                      <a:pt x="1198" y="1490"/>
                    </a:lnTo>
                    <a:lnTo>
                      <a:pt x="1200" y="1490"/>
                    </a:lnTo>
                    <a:lnTo>
                      <a:pt x="1200" y="1488"/>
                    </a:lnTo>
                    <a:lnTo>
                      <a:pt x="1200" y="1490"/>
                    </a:lnTo>
                    <a:lnTo>
                      <a:pt x="1200" y="1492"/>
                    </a:lnTo>
                    <a:lnTo>
                      <a:pt x="1198" y="1492"/>
                    </a:lnTo>
                    <a:lnTo>
                      <a:pt x="1200" y="1490"/>
                    </a:lnTo>
                    <a:lnTo>
                      <a:pt x="1202" y="1490"/>
                    </a:lnTo>
                    <a:lnTo>
                      <a:pt x="1200" y="1490"/>
                    </a:lnTo>
                    <a:lnTo>
                      <a:pt x="1202" y="1488"/>
                    </a:lnTo>
                    <a:lnTo>
                      <a:pt x="1203" y="1487"/>
                    </a:lnTo>
                    <a:lnTo>
                      <a:pt x="1202" y="1487"/>
                    </a:lnTo>
                    <a:lnTo>
                      <a:pt x="1202" y="1488"/>
                    </a:lnTo>
                    <a:lnTo>
                      <a:pt x="1200" y="1488"/>
                    </a:lnTo>
                    <a:lnTo>
                      <a:pt x="1202" y="1487"/>
                    </a:lnTo>
                    <a:lnTo>
                      <a:pt x="1203" y="1487"/>
                    </a:lnTo>
                    <a:lnTo>
                      <a:pt x="1205" y="1487"/>
                    </a:lnTo>
                    <a:lnTo>
                      <a:pt x="1203" y="1487"/>
                    </a:lnTo>
                    <a:lnTo>
                      <a:pt x="1205" y="1487"/>
                    </a:lnTo>
                    <a:lnTo>
                      <a:pt x="1203" y="1487"/>
                    </a:lnTo>
                    <a:lnTo>
                      <a:pt x="1205" y="1485"/>
                    </a:lnTo>
                    <a:lnTo>
                      <a:pt x="1203" y="1485"/>
                    </a:lnTo>
                    <a:lnTo>
                      <a:pt x="1202" y="1485"/>
                    </a:lnTo>
                    <a:lnTo>
                      <a:pt x="1200" y="1483"/>
                    </a:lnTo>
                    <a:lnTo>
                      <a:pt x="1202" y="1483"/>
                    </a:lnTo>
                    <a:lnTo>
                      <a:pt x="1200" y="1483"/>
                    </a:lnTo>
                    <a:lnTo>
                      <a:pt x="1202" y="1483"/>
                    </a:lnTo>
                    <a:lnTo>
                      <a:pt x="1202" y="1481"/>
                    </a:lnTo>
                    <a:lnTo>
                      <a:pt x="1203" y="1481"/>
                    </a:lnTo>
                    <a:lnTo>
                      <a:pt x="1205" y="1481"/>
                    </a:lnTo>
                    <a:lnTo>
                      <a:pt x="1203" y="1481"/>
                    </a:lnTo>
                    <a:lnTo>
                      <a:pt x="1202" y="1481"/>
                    </a:lnTo>
                    <a:lnTo>
                      <a:pt x="1203" y="1480"/>
                    </a:lnTo>
                    <a:lnTo>
                      <a:pt x="1202" y="1480"/>
                    </a:lnTo>
                    <a:lnTo>
                      <a:pt x="1200" y="1480"/>
                    </a:lnTo>
                    <a:lnTo>
                      <a:pt x="1198" y="1478"/>
                    </a:lnTo>
                    <a:lnTo>
                      <a:pt x="1196" y="1476"/>
                    </a:lnTo>
                    <a:lnTo>
                      <a:pt x="1196" y="1475"/>
                    </a:lnTo>
                    <a:lnTo>
                      <a:pt x="1195" y="1475"/>
                    </a:lnTo>
                    <a:lnTo>
                      <a:pt x="1195" y="1473"/>
                    </a:lnTo>
                    <a:lnTo>
                      <a:pt x="1193" y="1473"/>
                    </a:lnTo>
                    <a:lnTo>
                      <a:pt x="1195" y="1471"/>
                    </a:lnTo>
                    <a:lnTo>
                      <a:pt x="1193" y="1471"/>
                    </a:lnTo>
                    <a:lnTo>
                      <a:pt x="1191" y="1470"/>
                    </a:lnTo>
                    <a:lnTo>
                      <a:pt x="1190" y="1468"/>
                    </a:lnTo>
                    <a:lnTo>
                      <a:pt x="1188" y="1468"/>
                    </a:lnTo>
                    <a:lnTo>
                      <a:pt x="1188" y="1466"/>
                    </a:lnTo>
                    <a:close/>
                    <a:moveTo>
                      <a:pt x="1319" y="1626"/>
                    </a:moveTo>
                    <a:lnTo>
                      <a:pt x="1321" y="1626"/>
                    </a:lnTo>
                    <a:lnTo>
                      <a:pt x="1321" y="1628"/>
                    </a:lnTo>
                    <a:lnTo>
                      <a:pt x="1319" y="1628"/>
                    </a:lnTo>
                    <a:lnTo>
                      <a:pt x="1317" y="1629"/>
                    </a:lnTo>
                    <a:lnTo>
                      <a:pt x="1319" y="1629"/>
                    </a:lnTo>
                    <a:lnTo>
                      <a:pt x="1321" y="1629"/>
                    </a:lnTo>
                    <a:lnTo>
                      <a:pt x="1321" y="1628"/>
                    </a:lnTo>
                    <a:lnTo>
                      <a:pt x="1322" y="1629"/>
                    </a:lnTo>
                    <a:lnTo>
                      <a:pt x="1322" y="1631"/>
                    </a:lnTo>
                    <a:lnTo>
                      <a:pt x="1322" y="1629"/>
                    </a:lnTo>
                    <a:lnTo>
                      <a:pt x="1324" y="1629"/>
                    </a:lnTo>
                    <a:lnTo>
                      <a:pt x="1322" y="1629"/>
                    </a:lnTo>
                    <a:lnTo>
                      <a:pt x="1324" y="1629"/>
                    </a:lnTo>
                    <a:lnTo>
                      <a:pt x="1322" y="1631"/>
                    </a:lnTo>
                    <a:lnTo>
                      <a:pt x="1321" y="1631"/>
                    </a:lnTo>
                    <a:lnTo>
                      <a:pt x="1321" y="1629"/>
                    </a:lnTo>
                    <a:lnTo>
                      <a:pt x="1319" y="1629"/>
                    </a:lnTo>
                    <a:lnTo>
                      <a:pt x="1321" y="1631"/>
                    </a:lnTo>
                    <a:lnTo>
                      <a:pt x="1321" y="1633"/>
                    </a:lnTo>
                    <a:lnTo>
                      <a:pt x="1319" y="1633"/>
                    </a:lnTo>
                    <a:lnTo>
                      <a:pt x="1317" y="1633"/>
                    </a:lnTo>
                    <a:lnTo>
                      <a:pt x="1319" y="1633"/>
                    </a:lnTo>
                    <a:lnTo>
                      <a:pt x="1317" y="1633"/>
                    </a:lnTo>
                    <a:lnTo>
                      <a:pt x="1315" y="1633"/>
                    </a:lnTo>
                    <a:lnTo>
                      <a:pt x="1315" y="1631"/>
                    </a:lnTo>
                    <a:lnTo>
                      <a:pt x="1315" y="1629"/>
                    </a:lnTo>
                    <a:lnTo>
                      <a:pt x="1314" y="1629"/>
                    </a:lnTo>
                    <a:lnTo>
                      <a:pt x="1315" y="1631"/>
                    </a:lnTo>
                    <a:lnTo>
                      <a:pt x="1314" y="1631"/>
                    </a:lnTo>
                    <a:lnTo>
                      <a:pt x="1314" y="1633"/>
                    </a:lnTo>
                    <a:lnTo>
                      <a:pt x="1312" y="1633"/>
                    </a:lnTo>
                    <a:lnTo>
                      <a:pt x="1310" y="1633"/>
                    </a:lnTo>
                    <a:lnTo>
                      <a:pt x="1312" y="1633"/>
                    </a:lnTo>
                    <a:lnTo>
                      <a:pt x="1310" y="1635"/>
                    </a:lnTo>
                    <a:lnTo>
                      <a:pt x="1309" y="1635"/>
                    </a:lnTo>
                    <a:lnTo>
                      <a:pt x="1310" y="1635"/>
                    </a:lnTo>
                    <a:lnTo>
                      <a:pt x="1309" y="1635"/>
                    </a:lnTo>
                    <a:lnTo>
                      <a:pt x="1309" y="1633"/>
                    </a:lnTo>
                    <a:lnTo>
                      <a:pt x="1307" y="1633"/>
                    </a:lnTo>
                    <a:lnTo>
                      <a:pt x="1307" y="1631"/>
                    </a:lnTo>
                    <a:lnTo>
                      <a:pt x="1307" y="1633"/>
                    </a:lnTo>
                    <a:lnTo>
                      <a:pt x="1305" y="1633"/>
                    </a:lnTo>
                    <a:lnTo>
                      <a:pt x="1307" y="1635"/>
                    </a:lnTo>
                    <a:lnTo>
                      <a:pt x="1307" y="1633"/>
                    </a:lnTo>
                    <a:lnTo>
                      <a:pt x="1309" y="1635"/>
                    </a:lnTo>
                    <a:lnTo>
                      <a:pt x="1310" y="1635"/>
                    </a:lnTo>
                    <a:lnTo>
                      <a:pt x="1310" y="1636"/>
                    </a:lnTo>
                    <a:lnTo>
                      <a:pt x="1312" y="1635"/>
                    </a:lnTo>
                    <a:lnTo>
                      <a:pt x="1314" y="1635"/>
                    </a:lnTo>
                    <a:lnTo>
                      <a:pt x="1315" y="1636"/>
                    </a:lnTo>
                    <a:lnTo>
                      <a:pt x="1314" y="1636"/>
                    </a:lnTo>
                    <a:lnTo>
                      <a:pt x="1315" y="1636"/>
                    </a:lnTo>
                    <a:lnTo>
                      <a:pt x="1314" y="1638"/>
                    </a:lnTo>
                    <a:lnTo>
                      <a:pt x="1315" y="1636"/>
                    </a:lnTo>
                    <a:lnTo>
                      <a:pt x="1317" y="1636"/>
                    </a:lnTo>
                    <a:lnTo>
                      <a:pt x="1319" y="1636"/>
                    </a:lnTo>
                    <a:lnTo>
                      <a:pt x="1321" y="1635"/>
                    </a:lnTo>
                    <a:lnTo>
                      <a:pt x="1319" y="1636"/>
                    </a:lnTo>
                    <a:lnTo>
                      <a:pt x="1321" y="1636"/>
                    </a:lnTo>
                    <a:lnTo>
                      <a:pt x="1322" y="1638"/>
                    </a:lnTo>
                    <a:lnTo>
                      <a:pt x="1321" y="1638"/>
                    </a:lnTo>
                    <a:lnTo>
                      <a:pt x="1319" y="1638"/>
                    </a:lnTo>
                    <a:lnTo>
                      <a:pt x="1321" y="1638"/>
                    </a:lnTo>
                    <a:lnTo>
                      <a:pt x="1321" y="1640"/>
                    </a:lnTo>
                    <a:lnTo>
                      <a:pt x="1322" y="1640"/>
                    </a:lnTo>
                    <a:lnTo>
                      <a:pt x="1321" y="1640"/>
                    </a:lnTo>
                    <a:lnTo>
                      <a:pt x="1322" y="1641"/>
                    </a:lnTo>
                    <a:lnTo>
                      <a:pt x="1321" y="1641"/>
                    </a:lnTo>
                    <a:lnTo>
                      <a:pt x="1321" y="1640"/>
                    </a:lnTo>
                    <a:lnTo>
                      <a:pt x="1321" y="1641"/>
                    </a:lnTo>
                    <a:lnTo>
                      <a:pt x="1319" y="1641"/>
                    </a:lnTo>
                    <a:lnTo>
                      <a:pt x="1319" y="1640"/>
                    </a:lnTo>
                    <a:lnTo>
                      <a:pt x="1317" y="1640"/>
                    </a:lnTo>
                    <a:lnTo>
                      <a:pt x="1317" y="1638"/>
                    </a:lnTo>
                    <a:lnTo>
                      <a:pt x="1317" y="1640"/>
                    </a:lnTo>
                    <a:lnTo>
                      <a:pt x="1315" y="1640"/>
                    </a:lnTo>
                    <a:lnTo>
                      <a:pt x="1317" y="1640"/>
                    </a:lnTo>
                    <a:lnTo>
                      <a:pt x="1315" y="1640"/>
                    </a:lnTo>
                    <a:lnTo>
                      <a:pt x="1315" y="1641"/>
                    </a:lnTo>
                    <a:lnTo>
                      <a:pt x="1317" y="1641"/>
                    </a:lnTo>
                    <a:lnTo>
                      <a:pt x="1319" y="1641"/>
                    </a:lnTo>
                    <a:lnTo>
                      <a:pt x="1319" y="1643"/>
                    </a:lnTo>
                    <a:lnTo>
                      <a:pt x="1317" y="1643"/>
                    </a:lnTo>
                    <a:lnTo>
                      <a:pt x="1319" y="1643"/>
                    </a:lnTo>
                    <a:lnTo>
                      <a:pt x="1317" y="1645"/>
                    </a:lnTo>
                    <a:lnTo>
                      <a:pt x="1317" y="1643"/>
                    </a:lnTo>
                    <a:lnTo>
                      <a:pt x="1315" y="1643"/>
                    </a:lnTo>
                    <a:lnTo>
                      <a:pt x="1314" y="1645"/>
                    </a:lnTo>
                    <a:lnTo>
                      <a:pt x="1315" y="1646"/>
                    </a:lnTo>
                    <a:lnTo>
                      <a:pt x="1314" y="1645"/>
                    </a:lnTo>
                    <a:lnTo>
                      <a:pt x="1314" y="1643"/>
                    </a:lnTo>
                    <a:lnTo>
                      <a:pt x="1312" y="1641"/>
                    </a:lnTo>
                    <a:lnTo>
                      <a:pt x="1312" y="1643"/>
                    </a:lnTo>
                    <a:lnTo>
                      <a:pt x="1312" y="1645"/>
                    </a:lnTo>
                    <a:lnTo>
                      <a:pt x="1314" y="1645"/>
                    </a:lnTo>
                    <a:lnTo>
                      <a:pt x="1312" y="1645"/>
                    </a:lnTo>
                    <a:lnTo>
                      <a:pt x="1310" y="1643"/>
                    </a:lnTo>
                    <a:lnTo>
                      <a:pt x="1312" y="1643"/>
                    </a:lnTo>
                    <a:lnTo>
                      <a:pt x="1312" y="1641"/>
                    </a:lnTo>
                    <a:lnTo>
                      <a:pt x="1312" y="1640"/>
                    </a:lnTo>
                    <a:lnTo>
                      <a:pt x="1314" y="1641"/>
                    </a:lnTo>
                    <a:lnTo>
                      <a:pt x="1312" y="1640"/>
                    </a:lnTo>
                    <a:lnTo>
                      <a:pt x="1314" y="1640"/>
                    </a:lnTo>
                    <a:lnTo>
                      <a:pt x="1312" y="1638"/>
                    </a:lnTo>
                    <a:lnTo>
                      <a:pt x="1312" y="1640"/>
                    </a:lnTo>
                    <a:lnTo>
                      <a:pt x="1310" y="1640"/>
                    </a:lnTo>
                    <a:lnTo>
                      <a:pt x="1310" y="1638"/>
                    </a:lnTo>
                    <a:lnTo>
                      <a:pt x="1310" y="1636"/>
                    </a:lnTo>
                    <a:lnTo>
                      <a:pt x="1312" y="1636"/>
                    </a:lnTo>
                    <a:lnTo>
                      <a:pt x="1310" y="1636"/>
                    </a:lnTo>
                    <a:lnTo>
                      <a:pt x="1309" y="1636"/>
                    </a:lnTo>
                    <a:lnTo>
                      <a:pt x="1310" y="1636"/>
                    </a:lnTo>
                    <a:lnTo>
                      <a:pt x="1310" y="1638"/>
                    </a:lnTo>
                    <a:lnTo>
                      <a:pt x="1310" y="1640"/>
                    </a:lnTo>
                    <a:lnTo>
                      <a:pt x="1310" y="1638"/>
                    </a:lnTo>
                    <a:lnTo>
                      <a:pt x="1309" y="1638"/>
                    </a:lnTo>
                    <a:lnTo>
                      <a:pt x="1309" y="1640"/>
                    </a:lnTo>
                    <a:lnTo>
                      <a:pt x="1307" y="1640"/>
                    </a:lnTo>
                    <a:lnTo>
                      <a:pt x="1307" y="1638"/>
                    </a:lnTo>
                    <a:lnTo>
                      <a:pt x="1307" y="1640"/>
                    </a:lnTo>
                    <a:lnTo>
                      <a:pt x="1307" y="1641"/>
                    </a:lnTo>
                    <a:lnTo>
                      <a:pt x="1307" y="1640"/>
                    </a:lnTo>
                    <a:lnTo>
                      <a:pt x="1305" y="1640"/>
                    </a:lnTo>
                    <a:lnTo>
                      <a:pt x="1305" y="1638"/>
                    </a:lnTo>
                    <a:lnTo>
                      <a:pt x="1305" y="1636"/>
                    </a:lnTo>
                    <a:lnTo>
                      <a:pt x="1307" y="1636"/>
                    </a:lnTo>
                    <a:lnTo>
                      <a:pt x="1305" y="1636"/>
                    </a:lnTo>
                    <a:lnTo>
                      <a:pt x="1304" y="1636"/>
                    </a:lnTo>
                    <a:lnTo>
                      <a:pt x="1304" y="1638"/>
                    </a:lnTo>
                    <a:lnTo>
                      <a:pt x="1302" y="1638"/>
                    </a:lnTo>
                    <a:lnTo>
                      <a:pt x="1302" y="1636"/>
                    </a:lnTo>
                    <a:lnTo>
                      <a:pt x="1300" y="1636"/>
                    </a:lnTo>
                    <a:lnTo>
                      <a:pt x="1300" y="1638"/>
                    </a:lnTo>
                    <a:lnTo>
                      <a:pt x="1300" y="1636"/>
                    </a:lnTo>
                    <a:lnTo>
                      <a:pt x="1298" y="1638"/>
                    </a:lnTo>
                    <a:lnTo>
                      <a:pt x="1298" y="1636"/>
                    </a:lnTo>
                    <a:lnTo>
                      <a:pt x="1297" y="1636"/>
                    </a:lnTo>
                    <a:lnTo>
                      <a:pt x="1297" y="1635"/>
                    </a:lnTo>
                    <a:lnTo>
                      <a:pt x="1298" y="1635"/>
                    </a:lnTo>
                    <a:lnTo>
                      <a:pt x="1297" y="1635"/>
                    </a:lnTo>
                    <a:lnTo>
                      <a:pt x="1297" y="1633"/>
                    </a:lnTo>
                    <a:lnTo>
                      <a:pt x="1298" y="1633"/>
                    </a:lnTo>
                    <a:lnTo>
                      <a:pt x="1298" y="1631"/>
                    </a:lnTo>
                    <a:lnTo>
                      <a:pt x="1297" y="1631"/>
                    </a:lnTo>
                    <a:lnTo>
                      <a:pt x="1297" y="1629"/>
                    </a:lnTo>
                    <a:lnTo>
                      <a:pt x="1298" y="1629"/>
                    </a:lnTo>
                    <a:lnTo>
                      <a:pt x="1300" y="1629"/>
                    </a:lnTo>
                    <a:lnTo>
                      <a:pt x="1300" y="1631"/>
                    </a:lnTo>
                    <a:lnTo>
                      <a:pt x="1300" y="1629"/>
                    </a:lnTo>
                    <a:lnTo>
                      <a:pt x="1302" y="1629"/>
                    </a:lnTo>
                    <a:lnTo>
                      <a:pt x="1302" y="1628"/>
                    </a:lnTo>
                    <a:lnTo>
                      <a:pt x="1302" y="1629"/>
                    </a:lnTo>
                    <a:lnTo>
                      <a:pt x="1302" y="1631"/>
                    </a:lnTo>
                    <a:lnTo>
                      <a:pt x="1304" y="1631"/>
                    </a:lnTo>
                    <a:lnTo>
                      <a:pt x="1304" y="1629"/>
                    </a:lnTo>
                    <a:lnTo>
                      <a:pt x="1305" y="1628"/>
                    </a:lnTo>
                    <a:lnTo>
                      <a:pt x="1305" y="1629"/>
                    </a:lnTo>
                    <a:lnTo>
                      <a:pt x="1307" y="1629"/>
                    </a:lnTo>
                    <a:lnTo>
                      <a:pt x="1307" y="1631"/>
                    </a:lnTo>
                    <a:lnTo>
                      <a:pt x="1305" y="1631"/>
                    </a:lnTo>
                    <a:lnTo>
                      <a:pt x="1307" y="1631"/>
                    </a:lnTo>
                    <a:lnTo>
                      <a:pt x="1309" y="1631"/>
                    </a:lnTo>
                    <a:lnTo>
                      <a:pt x="1309" y="1629"/>
                    </a:lnTo>
                    <a:lnTo>
                      <a:pt x="1309" y="1631"/>
                    </a:lnTo>
                    <a:lnTo>
                      <a:pt x="1310" y="1631"/>
                    </a:lnTo>
                    <a:lnTo>
                      <a:pt x="1312" y="1631"/>
                    </a:lnTo>
                    <a:lnTo>
                      <a:pt x="1310" y="1631"/>
                    </a:lnTo>
                    <a:lnTo>
                      <a:pt x="1310" y="1629"/>
                    </a:lnTo>
                    <a:lnTo>
                      <a:pt x="1312" y="1629"/>
                    </a:lnTo>
                    <a:lnTo>
                      <a:pt x="1312" y="1628"/>
                    </a:lnTo>
                    <a:lnTo>
                      <a:pt x="1314" y="1628"/>
                    </a:lnTo>
                    <a:lnTo>
                      <a:pt x="1315" y="1628"/>
                    </a:lnTo>
                    <a:lnTo>
                      <a:pt x="1315" y="1626"/>
                    </a:lnTo>
                    <a:lnTo>
                      <a:pt x="1317" y="1628"/>
                    </a:lnTo>
                    <a:lnTo>
                      <a:pt x="1317" y="1626"/>
                    </a:lnTo>
                    <a:lnTo>
                      <a:pt x="1319" y="1626"/>
                    </a:lnTo>
                    <a:close/>
                    <a:moveTo>
                      <a:pt x="1203" y="1104"/>
                    </a:moveTo>
                    <a:lnTo>
                      <a:pt x="1203" y="1105"/>
                    </a:lnTo>
                    <a:lnTo>
                      <a:pt x="1203" y="1104"/>
                    </a:lnTo>
                    <a:lnTo>
                      <a:pt x="1203" y="1105"/>
                    </a:lnTo>
                    <a:lnTo>
                      <a:pt x="1205" y="1105"/>
                    </a:lnTo>
                    <a:lnTo>
                      <a:pt x="1203" y="1105"/>
                    </a:lnTo>
                    <a:lnTo>
                      <a:pt x="1205" y="1107"/>
                    </a:lnTo>
                    <a:lnTo>
                      <a:pt x="1207" y="1107"/>
                    </a:lnTo>
                    <a:lnTo>
                      <a:pt x="1207" y="1109"/>
                    </a:lnTo>
                    <a:lnTo>
                      <a:pt x="1207" y="1111"/>
                    </a:lnTo>
                    <a:lnTo>
                      <a:pt x="1207" y="1112"/>
                    </a:lnTo>
                    <a:lnTo>
                      <a:pt x="1207" y="1114"/>
                    </a:lnTo>
                    <a:lnTo>
                      <a:pt x="1205" y="1114"/>
                    </a:lnTo>
                    <a:lnTo>
                      <a:pt x="1207" y="1114"/>
                    </a:lnTo>
                    <a:lnTo>
                      <a:pt x="1207" y="1116"/>
                    </a:lnTo>
                    <a:lnTo>
                      <a:pt x="1205" y="1116"/>
                    </a:lnTo>
                    <a:lnTo>
                      <a:pt x="1207" y="1116"/>
                    </a:lnTo>
                    <a:lnTo>
                      <a:pt x="1207" y="1117"/>
                    </a:lnTo>
                    <a:lnTo>
                      <a:pt x="1205" y="1117"/>
                    </a:lnTo>
                    <a:lnTo>
                      <a:pt x="1205" y="1119"/>
                    </a:lnTo>
                    <a:lnTo>
                      <a:pt x="1205" y="1117"/>
                    </a:lnTo>
                    <a:lnTo>
                      <a:pt x="1203" y="1117"/>
                    </a:lnTo>
                    <a:lnTo>
                      <a:pt x="1203" y="1116"/>
                    </a:lnTo>
                    <a:lnTo>
                      <a:pt x="1202" y="1116"/>
                    </a:lnTo>
                    <a:lnTo>
                      <a:pt x="1200" y="1116"/>
                    </a:lnTo>
                    <a:lnTo>
                      <a:pt x="1198" y="1116"/>
                    </a:lnTo>
                    <a:lnTo>
                      <a:pt x="1198" y="1117"/>
                    </a:lnTo>
                    <a:lnTo>
                      <a:pt x="1196" y="1116"/>
                    </a:lnTo>
                    <a:lnTo>
                      <a:pt x="1196" y="1114"/>
                    </a:lnTo>
                    <a:lnTo>
                      <a:pt x="1198" y="1114"/>
                    </a:lnTo>
                    <a:lnTo>
                      <a:pt x="1200" y="1114"/>
                    </a:lnTo>
                    <a:lnTo>
                      <a:pt x="1202" y="1114"/>
                    </a:lnTo>
                    <a:lnTo>
                      <a:pt x="1200" y="1114"/>
                    </a:lnTo>
                    <a:lnTo>
                      <a:pt x="1198" y="1114"/>
                    </a:lnTo>
                    <a:lnTo>
                      <a:pt x="1196" y="1114"/>
                    </a:lnTo>
                    <a:lnTo>
                      <a:pt x="1195" y="1114"/>
                    </a:lnTo>
                    <a:lnTo>
                      <a:pt x="1195" y="1112"/>
                    </a:lnTo>
                    <a:lnTo>
                      <a:pt x="1195" y="1114"/>
                    </a:lnTo>
                    <a:lnTo>
                      <a:pt x="1195" y="1112"/>
                    </a:lnTo>
                    <a:lnTo>
                      <a:pt x="1193" y="1112"/>
                    </a:lnTo>
                    <a:lnTo>
                      <a:pt x="1195" y="1112"/>
                    </a:lnTo>
                    <a:lnTo>
                      <a:pt x="1195" y="1111"/>
                    </a:lnTo>
                    <a:lnTo>
                      <a:pt x="1193" y="1112"/>
                    </a:lnTo>
                    <a:lnTo>
                      <a:pt x="1191" y="1112"/>
                    </a:lnTo>
                    <a:lnTo>
                      <a:pt x="1191" y="1111"/>
                    </a:lnTo>
                    <a:lnTo>
                      <a:pt x="1191" y="1109"/>
                    </a:lnTo>
                    <a:lnTo>
                      <a:pt x="1191" y="1107"/>
                    </a:lnTo>
                    <a:lnTo>
                      <a:pt x="1191" y="1109"/>
                    </a:lnTo>
                    <a:lnTo>
                      <a:pt x="1191" y="1111"/>
                    </a:lnTo>
                    <a:lnTo>
                      <a:pt x="1191" y="1112"/>
                    </a:lnTo>
                    <a:lnTo>
                      <a:pt x="1190" y="1112"/>
                    </a:lnTo>
                    <a:lnTo>
                      <a:pt x="1188" y="1111"/>
                    </a:lnTo>
                    <a:lnTo>
                      <a:pt x="1188" y="1109"/>
                    </a:lnTo>
                    <a:lnTo>
                      <a:pt x="1188" y="1107"/>
                    </a:lnTo>
                    <a:lnTo>
                      <a:pt x="1190" y="1107"/>
                    </a:lnTo>
                    <a:lnTo>
                      <a:pt x="1191" y="1105"/>
                    </a:lnTo>
                    <a:lnTo>
                      <a:pt x="1193" y="1105"/>
                    </a:lnTo>
                    <a:lnTo>
                      <a:pt x="1193" y="1107"/>
                    </a:lnTo>
                    <a:lnTo>
                      <a:pt x="1193" y="1105"/>
                    </a:lnTo>
                    <a:lnTo>
                      <a:pt x="1195" y="1105"/>
                    </a:lnTo>
                    <a:lnTo>
                      <a:pt x="1195" y="1107"/>
                    </a:lnTo>
                    <a:lnTo>
                      <a:pt x="1195" y="1105"/>
                    </a:lnTo>
                    <a:lnTo>
                      <a:pt x="1196" y="1105"/>
                    </a:lnTo>
                    <a:lnTo>
                      <a:pt x="1198" y="1105"/>
                    </a:lnTo>
                    <a:lnTo>
                      <a:pt x="1200" y="1104"/>
                    </a:lnTo>
                    <a:lnTo>
                      <a:pt x="1202" y="1104"/>
                    </a:lnTo>
                    <a:lnTo>
                      <a:pt x="1203" y="1104"/>
                    </a:lnTo>
                    <a:close/>
                    <a:moveTo>
                      <a:pt x="1179" y="1376"/>
                    </a:moveTo>
                    <a:lnTo>
                      <a:pt x="1179" y="1378"/>
                    </a:lnTo>
                    <a:lnTo>
                      <a:pt x="1179" y="1379"/>
                    </a:lnTo>
                    <a:lnTo>
                      <a:pt x="1181" y="1379"/>
                    </a:lnTo>
                    <a:lnTo>
                      <a:pt x="1183" y="1379"/>
                    </a:lnTo>
                    <a:lnTo>
                      <a:pt x="1183" y="1378"/>
                    </a:lnTo>
                    <a:lnTo>
                      <a:pt x="1185" y="1379"/>
                    </a:lnTo>
                    <a:lnTo>
                      <a:pt x="1185" y="1381"/>
                    </a:lnTo>
                    <a:lnTo>
                      <a:pt x="1185" y="1383"/>
                    </a:lnTo>
                    <a:lnTo>
                      <a:pt x="1186" y="1384"/>
                    </a:lnTo>
                    <a:lnTo>
                      <a:pt x="1185" y="1384"/>
                    </a:lnTo>
                    <a:lnTo>
                      <a:pt x="1186" y="1384"/>
                    </a:lnTo>
                    <a:lnTo>
                      <a:pt x="1186" y="1386"/>
                    </a:lnTo>
                    <a:lnTo>
                      <a:pt x="1186" y="1388"/>
                    </a:lnTo>
                    <a:lnTo>
                      <a:pt x="1186" y="1386"/>
                    </a:lnTo>
                    <a:lnTo>
                      <a:pt x="1188" y="1388"/>
                    </a:lnTo>
                    <a:lnTo>
                      <a:pt x="1186" y="1388"/>
                    </a:lnTo>
                    <a:lnTo>
                      <a:pt x="1188" y="1388"/>
                    </a:lnTo>
                    <a:lnTo>
                      <a:pt x="1188" y="1390"/>
                    </a:lnTo>
                    <a:lnTo>
                      <a:pt x="1190" y="1390"/>
                    </a:lnTo>
                    <a:lnTo>
                      <a:pt x="1190" y="1391"/>
                    </a:lnTo>
                    <a:lnTo>
                      <a:pt x="1188" y="1391"/>
                    </a:lnTo>
                    <a:lnTo>
                      <a:pt x="1186" y="1390"/>
                    </a:lnTo>
                    <a:lnTo>
                      <a:pt x="1186" y="1391"/>
                    </a:lnTo>
                    <a:lnTo>
                      <a:pt x="1186" y="1390"/>
                    </a:lnTo>
                    <a:lnTo>
                      <a:pt x="1185" y="1390"/>
                    </a:lnTo>
                    <a:lnTo>
                      <a:pt x="1186" y="1391"/>
                    </a:lnTo>
                    <a:lnTo>
                      <a:pt x="1188" y="1391"/>
                    </a:lnTo>
                    <a:lnTo>
                      <a:pt x="1188" y="1393"/>
                    </a:lnTo>
                    <a:lnTo>
                      <a:pt x="1186" y="1391"/>
                    </a:lnTo>
                    <a:lnTo>
                      <a:pt x="1188" y="1393"/>
                    </a:lnTo>
                    <a:lnTo>
                      <a:pt x="1188" y="1391"/>
                    </a:lnTo>
                    <a:lnTo>
                      <a:pt x="1190" y="1391"/>
                    </a:lnTo>
                    <a:lnTo>
                      <a:pt x="1190" y="1393"/>
                    </a:lnTo>
                    <a:lnTo>
                      <a:pt x="1190" y="1395"/>
                    </a:lnTo>
                    <a:lnTo>
                      <a:pt x="1191" y="1395"/>
                    </a:lnTo>
                    <a:lnTo>
                      <a:pt x="1191" y="1396"/>
                    </a:lnTo>
                    <a:lnTo>
                      <a:pt x="1191" y="1398"/>
                    </a:lnTo>
                    <a:lnTo>
                      <a:pt x="1191" y="1400"/>
                    </a:lnTo>
                    <a:lnTo>
                      <a:pt x="1190" y="1400"/>
                    </a:lnTo>
                    <a:lnTo>
                      <a:pt x="1190" y="1398"/>
                    </a:lnTo>
                    <a:lnTo>
                      <a:pt x="1190" y="1400"/>
                    </a:lnTo>
                    <a:lnTo>
                      <a:pt x="1188" y="1400"/>
                    </a:lnTo>
                    <a:lnTo>
                      <a:pt x="1188" y="1398"/>
                    </a:lnTo>
                    <a:lnTo>
                      <a:pt x="1188" y="1400"/>
                    </a:lnTo>
                    <a:lnTo>
                      <a:pt x="1188" y="1398"/>
                    </a:lnTo>
                    <a:lnTo>
                      <a:pt x="1190" y="1398"/>
                    </a:lnTo>
                    <a:lnTo>
                      <a:pt x="1188" y="1396"/>
                    </a:lnTo>
                    <a:lnTo>
                      <a:pt x="1188" y="1398"/>
                    </a:lnTo>
                    <a:lnTo>
                      <a:pt x="1188" y="1396"/>
                    </a:lnTo>
                    <a:lnTo>
                      <a:pt x="1188" y="1395"/>
                    </a:lnTo>
                    <a:lnTo>
                      <a:pt x="1188" y="1396"/>
                    </a:lnTo>
                    <a:lnTo>
                      <a:pt x="1186" y="1396"/>
                    </a:lnTo>
                    <a:lnTo>
                      <a:pt x="1186" y="1398"/>
                    </a:lnTo>
                    <a:lnTo>
                      <a:pt x="1186" y="1396"/>
                    </a:lnTo>
                    <a:lnTo>
                      <a:pt x="1185" y="1395"/>
                    </a:lnTo>
                    <a:lnTo>
                      <a:pt x="1185" y="1396"/>
                    </a:lnTo>
                    <a:lnTo>
                      <a:pt x="1186" y="1396"/>
                    </a:lnTo>
                    <a:lnTo>
                      <a:pt x="1186" y="1398"/>
                    </a:lnTo>
                    <a:lnTo>
                      <a:pt x="1186" y="1400"/>
                    </a:lnTo>
                    <a:lnTo>
                      <a:pt x="1186" y="1401"/>
                    </a:lnTo>
                    <a:lnTo>
                      <a:pt x="1186" y="1400"/>
                    </a:lnTo>
                    <a:lnTo>
                      <a:pt x="1185" y="1400"/>
                    </a:lnTo>
                    <a:lnTo>
                      <a:pt x="1186" y="1400"/>
                    </a:lnTo>
                    <a:lnTo>
                      <a:pt x="1185" y="1400"/>
                    </a:lnTo>
                    <a:lnTo>
                      <a:pt x="1185" y="1398"/>
                    </a:lnTo>
                    <a:lnTo>
                      <a:pt x="1183" y="1396"/>
                    </a:lnTo>
                    <a:lnTo>
                      <a:pt x="1183" y="1395"/>
                    </a:lnTo>
                    <a:lnTo>
                      <a:pt x="1181" y="1395"/>
                    </a:lnTo>
                    <a:lnTo>
                      <a:pt x="1183" y="1395"/>
                    </a:lnTo>
                    <a:lnTo>
                      <a:pt x="1181" y="1395"/>
                    </a:lnTo>
                    <a:lnTo>
                      <a:pt x="1181" y="1393"/>
                    </a:lnTo>
                    <a:lnTo>
                      <a:pt x="1179" y="1395"/>
                    </a:lnTo>
                    <a:lnTo>
                      <a:pt x="1179" y="1393"/>
                    </a:lnTo>
                    <a:lnTo>
                      <a:pt x="1179" y="1391"/>
                    </a:lnTo>
                    <a:lnTo>
                      <a:pt x="1181" y="1393"/>
                    </a:lnTo>
                    <a:lnTo>
                      <a:pt x="1181" y="1391"/>
                    </a:lnTo>
                    <a:lnTo>
                      <a:pt x="1179" y="1391"/>
                    </a:lnTo>
                    <a:lnTo>
                      <a:pt x="1179" y="1393"/>
                    </a:lnTo>
                    <a:lnTo>
                      <a:pt x="1178" y="1391"/>
                    </a:lnTo>
                    <a:lnTo>
                      <a:pt x="1179" y="1391"/>
                    </a:lnTo>
                    <a:lnTo>
                      <a:pt x="1179" y="1390"/>
                    </a:lnTo>
                    <a:lnTo>
                      <a:pt x="1181" y="1390"/>
                    </a:lnTo>
                    <a:lnTo>
                      <a:pt x="1179" y="1390"/>
                    </a:lnTo>
                    <a:lnTo>
                      <a:pt x="1178" y="1390"/>
                    </a:lnTo>
                    <a:lnTo>
                      <a:pt x="1178" y="1391"/>
                    </a:lnTo>
                    <a:lnTo>
                      <a:pt x="1178" y="1390"/>
                    </a:lnTo>
                    <a:lnTo>
                      <a:pt x="1176" y="1390"/>
                    </a:lnTo>
                    <a:lnTo>
                      <a:pt x="1176" y="1388"/>
                    </a:lnTo>
                    <a:lnTo>
                      <a:pt x="1176" y="1390"/>
                    </a:lnTo>
                    <a:lnTo>
                      <a:pt x="1174" y="1390"/>
                    </a:lnTo>
                    <a:lnTo>
                      <a:pt x="1176" y="1390"/>
                    </a:lnTo>
                    <a:lnTo>
                      <a:pt x="1176" y="1388"/>
                    </a:lnTo>
                    <a:lnTo>
                      <a:pt x="1178" y="1388"/>
                    </a:lnTo>
                    <a:lnTo>
                      <a:pt x="1176" y="1388"/>
                    </a:lnTo>
                    <a:lnTo>
                      <a:pt x="1178" y="1388"/>
                    </a:lnTo>
                    <a:lnTo>
                      <a:pt x="1178" y="1386"/>
                    </a:lnTo>
                    <a:lnTo>
                      <a:pt x="1179" y="1386"/>
                    </a:lnTo>
                    <a:lnTo>
                      <a:pt x="1179" y="1384"/>
                    </a:lnTo>
                    <a:lnTo>
                      <a:pt x="1181" y="1384"/>
                    </a:lnTo>
                    <a:lnTo>
                      <a:pt x="1181" y="1383"/>
                    </a:lnTo>
                    <a:lnTo>
                      <a:pt x="1183" y="1383"/>
                    </a:lnTo>
                    <a:lnTo>
                      <a:pt x="1183" y="1384"/>
                    </a:lnTo>
                    <a:lnTo>
                      <a:pt x="1183" y="1383"/>
                    </a:lnTo>
                    <a:lnTo>
                      <a:pt x="1185" y="1383"/>
                    </a:lnTo>
                    <a:lnTo>
                      <a:pt x="1183" y="1381"/>
                    </a:lnTo>
                    <a:lnTo>
                      <a:pt x="1183" y="1383"/>
                    </a:lnTo>
                    <a:lnTo>
                      <a:pt x="1181" y="1381"/>
                    </a:lnTo>
                    <a:lnTo>
                      <a:pt x="1179" y="1381"/>
                    </a:lnTo>
                    <a:lnTo>
                      <a:pt x="1181" y="1379"/>
                    </a:lnTo>
                    <a:lnTo>
                      <a:pt x="1179" y="1381"/>
                    </a:lnTo>
                    <a:lnTo>
                      <a:pt x="1179" y="1383"/>
                    </a:lnTo>
                    <a:lnTo>
                      <a:pt x="1179" y="1381"/>
                    </a:lnTo>
                    <a:lnTo>
                      <a:pt x="1178" y="1381"/>
                    </a:lnTo>
                    <a:lnTo>
                      <a:pt x="1176" y="1381"/>
                    </a:lnTo>
                    <a:lnTo>
                      <a:pt x="1176" y="1379"/>
                    </a:lnTo>
                    <a:lnTo>
                      <a:pt x="1176" y="1381"/>
                    </a:lnTo>
                    <a:lnTo>
                      <a:pt x="1174" y="1381"/>
                    </a:lnTo>
                    <a:lnTo>
                      <a:pt x="1174" y="1379"/>
                    </a:lnTo>
                    <a:lnTo>
                      <a:pt x="1173" y="1381"/>
                    </a:lnTo>
                    <a:lnTo>
                      <a:pt x="1174" y="1379"/>
                    </a:lnTo>
                    <a:lnTo>
                      <a:pt x="1176" y="1378"/>
                    </a:lnTo>
                    <a:lnTo>
                      <a:pt x="1178" y="1376"/>
                    </a:lnTo>
                    <a:lnTo>
                      <a:pt x="1179" y="1376"/>
                    </a:lnTo>
                    <a:close/>
                    <a:moveTo>
                      <a:pt x="1157" y="1255"/>
                    </a:moveTo>
                    <a:lnTo>
                      <a:pt x="1159" y="1255"/>
                    </a:lnTo>
                    <a:lnTo>
                      <a:pt x="1161" y="1255"/>
                    </a:lnTo>
                    <a:lnTo>
                      <a:pt x="1159" y="1257"/>
                    </a:lnTo>
                    <a:lnTo>
                      <a:pt x="1161" y="1257"/>
                    </a:lnTo>
                    <a:lnTo>
                      <a:pt x="1162" y="1257"/>
                    </a:lnTo>
                    <a:lnTo>
                      <a:pt x="1161" y="1255"/>
                    </a:lnTo>
                    <a:lnTo>
                      <a:pt x="1162" y="1255"/>
                    </a:lnTo>
                    <a:lnTo>
                      <a:pt x="1164" y="1257"/>
                    </a:lnTo>
                    <a:lnTo>
                      <a:pt x="1166" y="1259"/>
                    </a:lnTo>
                    <a:lnTo>
                      <a:pt x="1164" y="1260"/>
                    </a:lnTo>
                    <a:lnTo>
                      <a:pt x="1166" y="1259"/>
                    </a:lnTo>
                    <a:lnTo>
                      <a:pt x="1166" y="1260"/>
                    </a:lnTo>
                    <a:lnTo>
                      <a:pt x="1168" y="1259"/>
                    </a:lnTo>
                    <a:lnTo>
                      <a:pt x="1168" y="1260"/>
                    </a:lnTo>
                    <a:lnTo>
                      <a:pt x="1168" y="1262"/>
                    </a:lnTo>
                    <a:lnTo>
                      <a:pt x="1166" y="1262"/>
                    </a:lnTo>
                    <a:lnTo>
                      <a:pt x="1166" y="1264"/>
                    </a:lnTo>
                    <a:lnTo>
                      <a:pt x="1168" y="1262"/>
                    </a:lnTo>
                    <a:lnTo>
                      <a:pt x="1168" y="1264"/>
                    </a:lnTo>
                    <a:lnTo>
                      <a:pt x="1166" y="1264"/>
                    </a:lnTo>
                    <a:lnTo>
                      <a:pt x="1166" y="1265"/>
                    </a:lnTo>
                    <a:lnTo>
                      <a:pt x="1166" y="1264"/>
                    </a:lnTo>
                    <a:lnTo>
                      <a:pt x="1168" y="1264"/>
                    </a:lnTo>
                    <a:lnTo>
                      <a:pt x="1169" y="1262"/>
                    </a:lnTo>
                    <a:lnTo>
                      <a:pt x="1169" y="1260"/>
                    </a:lnTo>
                    <a:lnTo>
                      <a:pt x="1171" y="1260"/>
                    </a:lnTo>
                    <a:lnTo>
                      <a:pt x="1171" y="1262"/>
                    </a:lnTo>
                    <a:lnTo>
                      <a:pt x="1169" y="1262"/>
                    </a:lnTo>
                    <a:lnTo>
                      <a:pt x="1171" y="1262"/>
                    </a:lnTo>
                    <a:lnTo>
                      <a:pt x="1171" y="1264"/>
                    </a:lnTo>
                    <a:lnTo>
                      <a:pt x="1169" y="1264"/>
                    </a:lnTo>
                    <a:lnTo>
                      <a:pt x="1169" y="1265"/>
                    </a:lnTo>
                    <a:lnTo>
                      <a:pt x="1168" y="1265"/>
                    </a:lnTo>
                    <a:lnTo>
                      <a:pt x="1168" y="1267"/>
                    </a:lnTo>
                    <a:lnTo>
                      <a:pt x="1168" y="1265"/>
                    </a:lnTo>
                    <a:lnTo>
                      <a:pt x="1169" y="1265"/>
                    </a:lnTo>
                    <a:lnTo>
                      <a:pt x="1169" y="1264"/>
                    </a:lnTo>
                    <a:lnTo>
                      <a:pt x="1171" y="1264"/>
                    </a:lnTo>
                    <a:lnTo>
                      <a:pt x="1169" y="1264"/>
                    </a:lnTo>
                    <a:lnTo>
                      <a:pt x="1169" y="1265"/>
                    </a:lnTo>
                    <a:lnTo>
                      <a:pt x="1169" y="1267"/>
                    </a:lnTo>
                    <a:lnTo>
                      <a:pt x="1169" y="1265"/>
                    </a:lnTo>
                    <a:lnTo>
                      <a:pt x="1169" y="1267"/>
                    </a:lnTo>
                    <a:lnTo>
                      <a:pt x="1171" y="1267"/>
                    </a:lnTo>
                    <a:lnTo>
                      <a:pt x="1169" y="1269"/>
                    </a:lnTo>
                    <a:lnTo>
                      <a:pt x="1171" y="1269"/>
                    </a:lnTo>
                    <a:lnTo>
                      <a:pt x="1169" y="1270"/>
                    </a:lnTo>
                    <a:lnTo>
                      <a:pt x="1168" y="1270"/>
                    </a:lnTo>
                    <a:lnTo>
                      <a:pt x="1169" y="1269"/>
                    </a:lnTo>
                    <a:lnTo>
                      <a:pt x="1168" y="1270"/>
                    </a:lnTo>
                    <a:lnTo>
                      <a:pt x="1166" y="1272"/>
                    </a:lnTo>
                    <a:lnTo>
                      <a:pt x="1164" y="1274"/>
                    </a:lnTo>
                    <a:lnTo>
                      <a:pt x="1162" y="1274"/>
                    </a:lnTo>
                    <a:lnTo>
                      <a:pt x="1162" y="1272"/>
                    </a:lnTo>
                    <a:lnTo>
                      <a:pt x="1162" y="1270"/>
                    </a:lnTo>
                    <a:lnTo>
                      <a:pt x="1161" y="1270"/>
                    </a:lnTo>
                    <a:lnTo>
                      <a:pt x="1161" y="1269"/>
                    </a:lnTo>
                    <a:lnTo>
                      <a:pt x="1161" y="1267"/>
                    </a:lnTo>
                    <a:lnTo>
                      <a:pt x="1162" y="1267"/>
                    </a:lnTo>
                    <a:lnTo>
                      <a:pt x="1161" y="1267"/>
                    </a:lnTo>
                    <a:lnTo>
                      <a:pt x="1161" y="1269"/>
                    </a:lnTo>
                    <a:lnTo>
                      <a:pt x="1159" y="1267"/>
                    </a:lnTo>
                    <a:lnTo>
                      <a:pt x="1159" y="1265"/>
                    </a:lnTo>
                    <a:lnTo>
                      <a:pt x="1159" y="1264"/>
                    </a:lnTo>
                    <a:lnTo>
                      <a:pt x="1161" y="1264"/>
                    </a:lnTo>
                    <a:lnTo>
                      <a:pt x="1162" y="1264"/>
                    </a:lnTo>
                    <a:lnTo>
                      <a:pt x="1161" y="1264"/>
                    </a:lnTo>
                    <a:lnTo>
                      <a:pt x="1159" y="1264"/>
                    </a:lnTo>
                    <a:lnTo>
                      <a:pt x="1161" y="1264"/>
                    </a:lnTo>
                    <a:lnTo>
                      <a:pt x="1161" y="1262"/>
                    </a:lnTo>
                    <a:lnTo>
                      <a:pt x="1161" y="1264"/>
                    </a:lnTo>
                    <a:lnTo>
                      <a:pt x="1159" y="1264"/>
                    </a:lnTo>
                    <a:lnTo>
                      <a:pt x="1157" y="1264"/>
                    </a:lnTo>
                    <a:lnTo>
                      <a:pt x="1159" y="1262"/>
                    </a:lnTo>
                    <a:lnTo>
                      <a:pt x="1157" y="1264"/>
                    </a:lnTo>
                    <a:lnTo>
                      <a:pt x="1157" y="1262"/>
                    </a:lnTo>
                    <a:lnTo>
                      <a:pt x="1159" y="1260"/>
                    </a:lnTo>
                    <a:lnTo>
                      <a:pt x="1157" y="1260"/>
                    </a:lnTo>
                    <a:lnTo>
                      <a:pt x="1157" y="1262"/>
                    </a:lnTo>
                    <a:lnTo>
                      <a:pt x="1157" y="1260"/>
                    </a:lnTo>
                    <a:lnTo>
                      <a:pt x="1159" y="1260"/>
                    </a:lnTo>
                    <a:lnTo>
                      <a:pt x="1161" y="1259"/>
                    </a:lnTo>
                    <a:lnTo>
                      <a:pt x="1159" y="1259"/>
                    </a:lnTo>
                    <a:lnTo>
                      <a:pt x="1159" y="1260"/>
                    </a:lnTo>
                    <a:lnTo>
                      <a:pt x="1157" y="1260"/>
                    </a:lnTo>
                    <a:lnTo>
                      <a:pt x="1157" y="1259"/>
                    </a:lnTo>
                    <a:lnTo>
                      <a:pt x="1159" y="1259"/>
                    </a:lnTo>
                    <a:lnTo>
                      <a:pt x="1157" y="1259"/>
                    </a:lnTo>
                    <a:lnTo>
                      <a:pt x="1157" y="1257"/>
                    </a:lnTo>
                    <a:lnTo>
                      <a:pt x="1157" y="1259"/>
                    </a:lnTo>
                    <a:lnTo>
                      <a:pt x="1156" y="1257"/>
                    </a:lnTo>
                    <a:lnTo>
                      <a:pt x="1156" y="1255"/>
                    </a:lnTo>
                    <a:lnTo>
                      <a:pt x="1157" y="1255"/>
                    </a:lnTo>
                    <a:close/>
                    <a:moveTo>
                      <a:pt x="1183" y="1447"/>
                    </a:moveTo>
                    <a:lnTo>
                      <a:pt x="1185" y="1447"/>
                    </a:lnTo>
                    <a:lnTo>
                      <a:pt x="1185" y="1449"/>
                    </a:lnTo>
                    <a:lnTo>
                      <a:pt x="1183" y="1449"/>
                    </a:lnTo>
                    <a:lnTo>
                      <a:pt x="1185" y="1451"/>
                    </a:lnTo>
                    <a:lnTo>
                      <a:pt x="1185" y="1449"/>
                    </a:lnTo>
                    <a:lnTo>
                      <a:pt x="1186" y="1449"/>
                    </a:lnTo>
                    <a:lnTo>
                      <a:pt x="1186" y="1451"/>
                    </a:lnTo>
                    <a:lnTo>
                      <a:pt x="1185" y="1451"/>
                    </a:lnTo>
                    <a:lnTo>
                      <a:pt x="1186" y="1451"/>
                    </a:lnTo>
                    <a:lnTo>
                      <a:pt x="1186" y="1449"/>
                    </a:lnTo>
                    <a:lnTo>
                      <a:pt x="1186" y="1451"/>
                    </a:lnTo>
                    <a:lnTo>
                      <a:pt x="1186" y="1453"/>
                    </a:lnTo>
                    <a:lnTo>
                      <a:pt x="1186" y="1451"/>
                    </a:lnTo>
                    <a:lnTo>
                      <a:pt x="1186" y="1453"/>
                    </a:lnTo>
                    <a:lnTo>
                      <a:pt x="1188" y="1453"/>
                    </a:lnTo>
                    <a:lnTo>
                      <a:pt x="1190" y="1453"/>
                    </a:lnTo>
                    <a:lnTo>
                      <a:pt x="1190" y="1454"/>
                    </a:lnTo>
                    <a:lnTo>
                      <a:pt x="1190" y="1453"/>
                    </a:lnTo>
                    <a:lnTo>
                      <a:pt x="1191" y="1454"/>
                    </a:lnTo>
                    <a:lnTo>
                      <a:pt x="1191" y="1456"/>
                    </a:lnTo>
                    <a:lnTo>
                      <a:pt x="1190" y="1456"/>
                    </a:lnTo>
                    <a:lnTo>
                      <a:pt x="1191" y="1456"/>
                    </a:lnTo>
                    <a:lnTo>
                      <a:pt x="1193" y="1456"/>
                    </a:lnTo>
                    <a:lnTo>
                      <a:pt x="1193" y="1454"/>
                    </a:lnTo>
                    <a:lnTo>
                      <a:pt x="1193" y="1456"/>
                    </a:lnTo>
                    <a:lnTo>
                      <a:pt x="1193" y="1454"/>
                    </a:lnTo>
                    <a:lnTo>
                      <a:pt x="1195" y="1456"/>
                    </a:lnTo>
                    <a:lnTo>
                      <a:pt x="1193" y="1456"/>
                    </a:lnTo>
                    <a:lnTo>
                      <a:pt x="1195" y="1458"/>
                    </a:lnTo>
                    <a:lnTo>
                      <a:pt x="1195" y="1456"/>
                    </a:lnTo>
                    <a:lnTo>
                      <a:pt x="1195" y="1458"/>
                    </a:lnTo>
                    <a:lnTo>
                      <a:pt x="1196" y="1458"/>
                    </a:lnTo>
                    <a:lnTo>
                      <a:pt x="1196" y="1459"/>
                    </a:lnTo>
                    <a:lnTo>
                      <a:pt x="1196" y="1461"/>
                    </a:lnTo>
                    <a:lnTo>
                      <a:pt x="1198" y="1459"/>
                    </a:lnTo>
                    <a:lnTo>
                      <a:pt x="1198" y="1461"/>
                    </a:lnTo>
                    <a:lnTo>
                      <a:pt x="1198" y="1459"/>
                    </a:lnTo>
                    <a:lnTo>
                      <a:pt x="1198" y="1461"/>
                    </a:lnTo>
                    <a:lnTo>
                      <a:pt x="1200" y="1461"/>
                    </a:lnTo>
                    <a:lnTo>
                      <a:pt x="1202" y="1461"/>
                    </a:lnTo>
                    <a:lnTo>
                      <a:pt x="1202" y="1463"/>
                    </a:lnTo>
                    <a:lnTo>
                      <a:pt x="1203" y="1463"/>
                    </a:lnTo>
                    <a:lnTo>
                      <a:pt x="1203" y="1464"/>
                    </a:lnTo>
                    <a:lnTo>
                      <a:pt x="1205" y="1466"/>
                    </a:lnTo>
                    <a:lnTo>
                      <a:pt x="1205" y="1468"/>
                    </a:lnTo>
                    <a:lnTo>
                      <a:pt x="1207" y="1468"/>
                    </a:lnTo>
                    <a:lnTo>
                      <a:pt x="1207" y="1470"/>
                    </a:lnTo>
                    <a:lnTo>
                      <a:pt x="1207" y="1471"/>
                    </a:lnTo>
                    <a:lnTo>
                      <a:pt x="1208" y="1473"/>
                    </a:lnTo>
                    <a:lnTo>
                      <a:pt x="1208" y="1475"/>
                    </a:lnTo>
                    <a:lnTo>
                      <a:pt x="1207" y="1475"/>
                    </a:lnTo>
                    <a:lnTo>
                      <a:pt x="1207" y="1473"/>
                    </a:lnTo>
                    <a:lnTo>
                      <a:pt x="1205" y="1473"/>
                    </a:lnTo>
                    <a:lnTo>
                      <a:pt x="1205" y="1471"/>
                    </a:lnTo>
                    <a:lnTo>
                      <a:pt x="1203" y="1471"/>
                    </a:lnTo>
                    <a:lnTo>
                      <a:pt x="1203" y="1470"/>
                    </a:lnTo>
                    <a:lnTo>
                      <a:pt x="1202" y="1470"/>
                    </a:lnTo>
                    <a:lnTo>
                      <a:pt x="1202" y="1468"/>
                    </a:lnTo>
                    <a:lnTo>
                      <a:pt x="1200" y="1468"/>
                    </a:lnTo>
                    <a:lnTo>
                      <a:pt x="1198" y="1468"/>
                    </a:lnTo>
                    <a:lnTo>
                      <a:pt x="1198" y="1466"/>
                    </a:lnTo>
                    <a:lnTo>
                      <a:pt x="1196" y="1466"/>
                    </a:lnTo>
                    <a:lnTo>
                      <a:pt x="1196" y="1464"/>
                    </a:lnTo>
                    <a:lnTo>
                      <a:pt x="1195" y="1464"/>
                    </a:lnTo>
                    <a:lnTo>
                      <a:pt x="1193" y="1463"/>
                    </a:lnTo>
                    <a:lnTo>
                      <a:pt x="1193" y="1464"/>
                    </a:lnTo>
                    <a:lnTo>
                      <a:pt x="1193" y="1463"/>
                    </a:lnTo>
                    <a:lnTo>
                      <a:pt x="1195" y="1463"/>
                    </a:lnTo>
                    <a:lnTo>
                      <a:pt x="1196" y="1463"/>
                    </a:lnTo>
                    <a:lnTo>
                      <a:pt x="1196" y="1464"/>
                    </a:lnTo>
                    <a:lnTo>
                      <a:pt x="1198" y="1464"/>
                    </a:lnTo>
                    <a:lnTo>
                      <a:pt x="1196" y="1464"/>
                    </a:lnTo>
                    <a:lnTo>
                      <a:pt x="1195" y="1463"/>
                    </a:lnTo>
                    <a:lnTo>
                      <a:pt x="1193" y="1461"/>
                    </a:lnTo>
                    <a:lnTo>
                      <a:pt x="1193" y="1459"/>
                    </a:lnTo>
                    <a:lnTo>
                      <a:pt x="1193" y="1461"/>
                    </a:lnTo>
                    <a:lnTo>
                      <a:pt x="1191" y="1461"/>
                    </a:lnTo>
                    <a:lnTo>
                      <a:pt x="1191" y="1459"/>
                    </a:lnTo>
                    <a:lnTo>
                      <a:pt x="1190" y="1459"/>
                    </a:lnTo>
                    <a:lnTo>
                      <a:pt x="1188" y="1459"/>
                    </a:lnTo>
                    <a:lnTo>
                      <a:pt x="1188" y="1458"/>
                    </a:lnTo>
                    <a:lnTo>
                      <a:pt x="1186" y="1458"/>
                    </a:lnTo>
                    <a:lnTo>
                      <a:pt x="1188" y="1456"/>
                    </a:lnTo>
                    <a:lnTo>
                      <a:pt x="1186" y="1456"/>
                    </a:lnTo>
                    <a:lnTo>
                      <a:pt x="1186" y="1458"/>
                    </a:lnTo>
                    <a:lnTo>
                      <a:pt x="1185" y="1456"/>
                    </a:lnTo>
                    <a:lnTo>
                      <a:pt x="1183" y="1454"/>
                    </a:lnTo>
                    <a:lnTo>
                      <a:pt x="1185" y="1454"/>
                    </a:lnTo>
                    <a:lnTo>
                      <a:pt x="1183" y="1454"/>
                    </a:lnTo>
                    <a:lnTo>
                      <a:pt x="1183" y="1453"/>
                    </a:lnTo>
                    <a:lnTo>
                      <a:pt x="1183" y="1451"/>
                    </a:lnTo>
                    <a:lnTo>
                      <a:pt x="1183" y="1453"/>
                    </a:lnTo>
                    <a:lnTo>
                      <a:pt x="1181" y="1451"/>
                    </a:lnTo>
                    <a:lnTo>
                      <a:pt x="1181" y="1449"/>
                    </a:lnTo>
                    <a:lnTo>
                      <a:pt x="1183" y="1449"/>
                    </a:lnTo>
                    <a:lnTo>
                      <a:pt x="1181" y="1449"/>
                    </a:lnTo>
                    <a:lnTo>
                      <a:pt x="1179" y="1447"/>
                    </a:lnTo>
                    <a:lnTo>
                      <a:pt x="1179" y="1446"/>
                    </a:lnTo>
                    <a:lnTo>
                      <a:pt x="1181" y="1447"/>
                    </a:lnTo>
                    <a:lnTo>
                      <a:pt x="1183" y="1447"/>
                    </a:lnTo>
                    <a:close/>
                    <a:moveTo>
                      <a:pt x="1343" y="1626"/>
                    </a:moveTo>
                    <a:lnTo>
                      <a:pt x="1344" y="1626"/>
                    </a:lnTo>
                    <a:lnTo>
                      <a:pt x="1346" y="1626"/>
                    </a:lnTo>
                    <a:lnTo>
                      <a:pt x="1348" y="1626"/>
                    </a:lnTo>
                    <a:lnTo>
                      <a:pt x="1349" y="1628"/>
                    </a:lnTo>
                    <a:lnTo>
                      <a:pt x="1348" y="1628"/>
                    </a:lnTo>
                    <a:lnTo>
                      <a:pt x="1349" y="1628"/>
                    </a:lnTo>
                    <a:lnTo>
                      <a:pt x="1348" y="1629"/>
                    </a:lnTo>
                    <a:lnTo>
                      <a:pt x="1348" y="1631"/>
                    </a:lnTo>
                    <a:lnTo>
                      <a:pt x="1349" y="1629"/>
                    </a:lnTo>
                    <a:lnTo>
                      <a:pt x="1349" y="1628"/>
                    </a:lnTo>
                    <a:lnTo>
                      <a:pt x="1351" y="1628"/>
                    </a:lnTo>
                    <a:lnTo>
                      <a:pt x="1353" y="1628"/>
                    </a:lnTo>
                    <a:lnTo>
                      <a:pt x="1355" y="1628"/>
                    </a:lnTo>
                    <a:lnTo>
                      <a:pt x="1355" y="1629"/>
                    </a:lnTo>
                    <a:lnTo>
                      <a:pt x="1356" y="1629"/>
                    </a:lnTo>
                    <a:lnTo>
                      <a:pt x="1358" y="1629"/>
                    </a:lnTo>
                    <a:lnTo>
                      <a:pt x="1360" y="1629"/>
                    </a:lnTo>
                    <a:lnTo>
                      <a:pt x="1360" y="1631"/>
                    </a:lnTo>
                    <a:lnTo>
                      <a:pt x="1361" y="1631"/>
                    </a:lnTo>
                    <a:lnTo>
                      <a:pt x="1360" y="1631"/>
                    </a:lnTo>
                    <a:lnTo>
                      <a:pt x="1358" y="1631"/>
                    </a:lnTo>
                    <a:lnTo>
                      <a:pt x="1356" y="1631"/>
                    </a:lnTo>
                    <a:lnTo>
                      <a:pt x="1355" y="1631"/>
                    </a:lnTo>
                    <a:lnTo>
                      <a:pt x="1353" y="1631"/>
                    </a:lnTo>
                    <a:lnTo>
                      <a:pt x="1355" y="1631"/>
                    </a:lnTo>
                    <a:lnTo>
                      <a:pt x="1355" y="1633"/>
                    </a:lnTo>
                    <a:lnTo>
                      <a:pt x="1353" y="1633"/>
                    </a:lnTo>
                    <a:lnTo>
                      <a:pt x="1351" y="1633"/>
                    </a:lnTo>
                    <a:lnTo>
                      <a:pt x="1351" y="1635"/>
                    </a:lnTo>
                    <a:lnTo>
                      <a:pt x="1349" y="1635"/>
                    </a:lnTo>
                    <a:lnTo>
                      <a:pt x="1349" y="1633"/>
                    </a:lnTo>
                    <a:lnTo>
                      <a:pt x="1349" y="1631"/>
                    </a:lnTo>
                    <a:lnTo>
                      <a:pt x="1349" y="1633"/>
                    </a:lnTo>
                    <a:lnTo>
                      <a:pt x="1348" y="1633"/>
                    </a:lnTo>
                    <a:lnTo>
                      <a:pt x="1348" y="1635"/>
                    </a:lnTo>
                    <a:lnTo>
                      <a:pt x="1346" y="1635"/>
                    </a:lnTo>
                    <a:lnTo>
                      <a:pt x="1344" y="1635"/>
                    </a:lnTo>
                    <a:lnTo>
                      <a:pt x="1343" y="1635"/>
                    </a:lnTo>
                    <a:lnTo>
                      <a:pt x="1343" y="1636"/>
                    </a:lnTo>
                    <a:lnTo>
                      <a:pt x="1341" y="1635"/>
                    </a:lnTo>
                    <a:lnTo>
                      <a:pt x="1341" y="1636"/>
                    </a:lnTo>
                    <a:lnTo>
                      <a:pt x="1339" y="1636"/>
                    </a:lnTo>
                    <a:lnTo>
                      <a:pt x="1338" y="1636"/>
                    </a:lnTo>
                    <a:lnTo>
                      <a:pt x="1338" y="1635"/>
                    </a:lnTo>
                    <a:lnTo>
                      <a:pt x="1338" y="1636"/>
                    </a:lnTo>
                    <a:lnTo>
                      <a:pt x="1338" y="1635"/>
                    </a:lnTo>
                    <a:lnTo>
                      <a:pt x="1338" y="1636"/>
                    </a:lnTo>
                    <a:lnTo>
                      <a:pt x="1336" y="1636"/>
                    </a:lnTo>
                    <a:lnTo>
                      <a:pt x="1334" y="1636"/>
                    </a:lnTo>
                    <a:lnTo>
                      <a:pt x="1334" y="1635"/>
                    </a:lnTo>
                    <a:lnTo>
                      <a:pt x="1332" y="1633"/>
                    </a:lnTo>
                    <a:lnTo>
                      <a:pt x="1334" y="1633"/>
                    </a:lnTo>
                    <a:lnTo>
                      <a:pt x="1334" y="1631"/>
                    </a:lnTo>
                    <a:lnTo>
                      <a:pt x="1334" y="1633"/>
                    </a:lnTo>
                    <a:lnTo>
                      <a:pt x="1332" y="1631"/>
                    </a:lnTo>
                    <a:lnTo>
                      <a:pt x="1334" y="1629"/>
                    </a:lnTo>
                    <a:lnTo>
                      <a:pt x="1336" y="1629"/>
                    </a:lnTo>
                    <a:lnTo>
                      <a:pt x="1338" y="1631"/>
                    </a:lnTo>
                    <a:lnTo>
                      <a:pt x="1338" y="1629"/>
                    </a:lnTo>
                    <a:lnTo>
                      <a:pt x="1336" y="1629"/>
                    </a:lnTo>
                    <a:lnTo>
                      <a:pt x="1334" y="1628"/>
                    </a:lnTo>
                    <a:lnTo>
                      <a:pt x="1334" y="1629"/>
                    </a:lnTo>
                    <a:lnTo>
                      <a:pt x="1332" y="1628"/>
                    </a:lnTo>
                    <a:lnTo>
                      <a:pt x="1334" y="1628"/>
                    </a:lnTo>
                    <a:lnTo>
                      <a:pt x="1334" y="1626"/>
                    </a:lnTo>
                    <a:lnTo>
                      <a:pt x="1336" y="1628"/>
                    </a:lnTo>
                    <a:lnTo>
                      <a:pt x="1336" y="1626"/>
                    </a:lnTo>
                    <a:lnTo>
                      <a:pt x="1338" y="1626"/>
                    </a:lnTo>
                    <a:lnTo>
                      <a:pt x="1339" y="1628"/>
                    </a:lnTo>
                    <a:lnTo>
                      <a:pt x="1339" y="1629"/>
                    </a:lnTo>
                    <a:lnTo>
                      <a:pt x="1339" y="1631"/>
                    </a:lnTo>
                    <a:lnTo>
                      <a:pt x="1341" y="1629"/>
                    </a:lnTo>
                    <a:lnTo>
                      <a:pt x="1343" y="1629"/>
                    </a:lnTo>
                    <a:lnTo>
                      <a:pt x="1341" y="1631"/>
                    </a:lnTo>
                    <a:lnTo>
                      <a:pt x="1343" y="1631"/>
                    </a:lnTo>
                    <a:lnTo>
                      <a:pt x="1343" y="1629"/>
                    </a:lnTo>
                    <a:lnTo>
                      <a:pt x="1341" y="1629"/>
                    </a:lnTo>
                    <a:lnTo>
                      <a:pt x="1341" y="1628"/>
                    </a:lnTo>
                    <a:lnTo>
                      <a:pt x="1343" y="1629"/>
                    </a:lnTo>
                    <a:lnTo>
                      <a:pt x="1341" y="1629"/>
                    </a:lnTo>
                    <a:lnTo>
                      <a:pt x="1341" y="1628"/>
                    </a:lnTo>
                    <a:lnTo>
                      <a:pt x="1339" y="1628"/>
                    </a:lnTo>
                    <a:lnTo>
                      <a:pt x="1339" y="1626"/>
                    </a:lnTo>
                    <a:lnTo>
                      <a:pt x="1341" y="1626"/>
                    </a:lnTo>
                    <a:lnTo>
                      <a:pt x="1343" y="1626"/>
                    </a:lnTo>
                    <a:close/>
                    <a:moveTo>
                      <a:pt x="1152" y="1272"/>
                    </a:moveTo>
                    <a:lnTo>
                      <a:pt x="1152" y="1274"/>
                    </a:lnTo>
                    <a:lnTo>
                      <a:pt x="1152" y="1276"/>
                    </a:lnTo>
                    <a:lnTo>
                      <a:pt x="1151" y="1276"/>
                    </a:lnTo>
                    <a:lnTo>
                      <a:pt x="1152" y="1276"/>
                    </a:lnTo>
                    <a:lnTo>
                      <a:pt x="1152" y="1277"/>
                    </a:lnTo>
                    <a:lnTo>
                      <a:pt x="1152" y="1276"/>
                    </a:lnTo>
                    <a:lnTo>
                      <a:pt x="1152" y="1274"/>
                    </a:lnTo>
                    <a:lnTo>
                      <a:pt x="1152" y="1272"/>
                    </a:lnTo>
                    <a:lnTo>
                      <a:pt x="1154" y="1272"/>
                    </a:lnTo>
                    <a:lnTo>
                      <a:pt x="1154" y="1274"/>
                    </a:lnTo>
                    <a:lnTo>
                      <a:pt x="1154" y="1276"/>
                    </a:lnTo>
                    <a:lnTo>
                      <a:pt x="1154" y="1277"/>
                    </a:lnTo>
                    <a:lnTo>
                      <a:pt x="1152" y="1277"/>
                    </a:lnTo>
                    <a:lnTo>
                      <a:pt x="1154" y="1277"/>
                    </a:lnTo>
                    <a:lnTo>
                      <a:pt x="1154" y="1279"/>
                    </a:lnTo>
                    <a:lnTo>
                      <a:pt x="1156" y="1279"/>
                    </a:lnTo>
                    <a:lnTo>
                      <a:pt x="1154" y="1281"/>
                    </a:lnTo>
                    <a:lnTo>
                      <a:pt x="1154" y="1282"/>
                    </a:lnTo>
                    <a:lnTo>
                      <a:pt x="1154" y="1284"/>
                    </a:lnTo>
                    <a:lnTo>
                      <a:pt x="1152" y="1284"/>
                    </a:lnTo>
                    <a:lnTo>
                      <a:pt x="1152" y="1286"/>
                    </a:lnTo>
                    <a:lnTo>
                      <a:pt x="1151" y="1286"/>
                    </a:lnTo>
                    <a:lnTo>
                      <a:pt x="1151" y="1288"/>
                    </a:lnTo>
                    <a:lnTo>
                      <a:pt x="1149" y="1289"/>
                    </a:lnTo>
                    <a:lnTo>
                      <a:pt x="1149" y="1288"/>
                    </a:lnTo>
                    <a:lnTo>
                      <a:pt x="1149" y="1289"/>
                    </a:lnTo>
                    <a:lnTo>
                      <a:pt x="1147" y="1289"/>
                    </a:lnTo>
                    <a:lnTo>
                      <a:pt x="1145" y="1291"/>
                    </a:lnTo>
                    <a:lnTo>
                      <a:pt x="1144" y="1291"/>
                    </a:lnTo>
                    <a:lnTo>
                      <a:pt x="1144" y="1289"/>
                    </a:lnTo>
                    <a:lnTo>
                      <a:pt x="1142" y="1289"/>
                    </a:lnTo>
                    <a:lnTo>
                      <a:pt x="1142" y="1288"/>
                    </a:lnTo>
                    <a:lnTo>
                      <a:pt x="1142" y="1286"/>
                    </a:lnTo>
                    <a:lnTo>
                      <a:pt x="1142" y="1284"/>
                    </a:lnTo>
                    <a:lnTo>
                      <a:pt x="1144" y="1284"/>
                    </a:lnTo>
                    <a:lnTo>
                      <a:pt x="1144" y="1286"/>
                    </a:lnTo>
                    <a:lnTo>
                      <a:pt x="1145" y="1286"/>
                    </a:lnTo>
                    <a:lnTo>
                      <a:pt x="1147" y="1286"/>
                    </a:lnTo>
                    <a:lnTo>
                      <a:pt x="1147" y="1288"/>
                    </a:lnTo>
                    <a:lnTo>
                      <a:pt x="1147" y="1286"/>
                    </a:lnTo>
                    <a:lnTo>
                      <a:pt x="1149" y="1286"/>
                    </a:lnTo>
                    <a:lnTo>
                      <a:pt x="1151" y="1286"/>
                    </a:lnTo>
                    <a:lnTo>
                      <a:pt x="1151" y="1284"/>
                    </a:lnTo>
                    <a:lnTo>
                      <a:pt x="1152" y="1282"/>
                    </a:lnTo>
                    <a:lnTo>
                      <a:pt x="1154" y="1282"/>
                    </a:lnTo>
                    <a:lnTo>
                      <a:pt x="1154" y="1281"/>
                    </a:lnTo>
                    <a:lnTo>
                      <a:pt x="1152" y="1282"/>
                    </a:lnTo>
                    <a:lnTo>
                      <a:pt x="1152" y="1284"/>
                    </a:lnTo>
                    <a:lnTo>
                      <a:pt x="1151" y="1284"/>
                    </a:lnTo>
                    <a:lnTo>
                      <a:pt x="1149" y="1286"/>
                    </a:lnTo>
                    <a:lnTo>
                      <a:pt x="1147" y="1286"/>
                    </a:lnTo>
                    <a:lnTo>
                      <a:pt x="1145" y="1286"/>
                    </a:lnTo>
                    <a:lnTo>
                      <a:pt x="1144" y="1286"/>
                    </a:lnTo>
                    <a:lnTo>
                      <a:pt x="1144" y="1284"/>
                    </a:lnTo>
                    <a:lnTo>
                      <a:pt x="1144" y="1282"/>
                    </a:lnTo>
                    <a:lnTo>
                      <a:pt x="1145" y="1282"/>
                    </a:lnTo>
                    <a:lnTo>
                      <a:pt x="1145" y="1284"/>
                    </a:lnTo>
                    <a:lnTo>
                      <a:pt x="1147" y="1284"/>
                    </a:lnTo>
                    <a:lnTo>
                      <a:pt x="1149" y="1284"/>
                    </a:lnTo>
                    <a:lnTo>
                      <a:pt x="1147" y="1282"/>
                    </a:lnTo>
                    <a:lnTo>
                      <a:pt x="1149" y="1282"/>
                    </a:lnTo>
                    <a:lnTo>
                      <a:pt x="1151" y="1282"/>
                    </a:lnTo>
                    <a:lnTo>
                      <a:pt x="1151" y="1281"/>
                    </a:lnTo>
                    <a:lnTo>
                      <a:pt x="1152" y="1281"/>
                    </a:lnTo>
                    <a:lnTo>
                      <a:pt x="1151" y="1281"/>
                    </a:lnTo>
                    <a:lnTo>
                      <a:pt x="1149" y="1282"/>
                    </a:lnTo>
                    <a:lnTo>
                      <a:pt x="1147" y="1282"/>
                    </a:lnTo>
                    <a:lnTo>
                      <a:pt x="1145" y="1282"/>
                    </a:lnTo>
                    <a:lnTo>
                      <a:pt x="1147" y="1282"/>
                    </a:lnTo>
                    <a:lnTo>
                      <a:pt x="1147" y="1281"/>
                    </a:lnTo>
                    <a:lnTo>
                      <a:pt x="1149" y="1281"/>
                    </a:lnTo>
                    <a:lnTo>
                      <a:pt x="1151" y="1279"/>
                    </a:lnTo>
                    <a:lnTo>
                      <a:pt x="1152" y="1277"/>
                    </a:lnTo>
                    <a:lnTo>
                      <a:pt x="1151" y="1279"/>
                    </a:lnTo>
                    <a:lnTo>
                      <a:pt x="1149" y="1279"/>
                    </a:lnTo>
                    <a:lnTo>
                      <a:pt x="1149" y="1281"/>
                    </a:lnTo>
                    <a:lnTo>
                      <a:pt x="1147" y="1281"/>
                    </a:lnTo>
                    <a:lnTo>
                      <a:pt x="1147" y="1282"/>
                    </a:lnTo>
                    <a:lnTo>
                      <a:pt x="1145" y="1282"/>
                    </a:lnTo>
                    <a:lnTo>
                      <a:pt x="1144" y="1282"/>
                    </a:lnTo>
                    <a:lnTo>
                      <a:pt x="1145" y="1281"/>
                    </a:lnTo>
                    <a:lnTo>
                      <a:pt x="1144" y="1281"/>
                    </a:lnTo>
                    <a:lnTo>
                      <a:pt x="1144" y="1282"/>
                    </a:lnTo>
                    <a:lnTo>
                      <a:pt x="1142" y="1282"/>
                    </a:lnTo>
                    <a:lnTo>
                      <a:pt x="1144" y="1281"/>
                    </a:lnTo>
                    <a:lnTo>
                      <a:pt x="1142" y="1281"/>
                    </a:lnTo>
                    <a:lnTo>
                      <a:pt x="1142" y="1279"/>
                    </a:lnTo>
                    <a:lnTo>
                      <a:pt x="1144" y="1279"/>
                    </a:lnTo>
                    <a:lnTo>
                      <a:pt x="1142" y="1277"/>
                    </a:lnTo>
                    <a:lnTo>
                      <a:pt x="1144" y="1276"/>
                    </a:lnTo>
                    <a:lnTo>
                      <a:pt x="1142" y="1276"/>
                    </a:lnTo>
                    <a:lnTo>
                      <a:pt x="1142" y="1274"/>
                    </a:lnTo>
                    <a:lnTo>
                      <a:pt x="1144" y="1274"/>
                    </a:lnTo>
                    <a:lnTo>
                      <a:pt x="1144" y="1272"/>
                    </a:lnTo>
                    <a:lnTo>
                      <a:pt x="1145" y="1272"/>
                    </a:lnTo>
                    <a:lnTo>
                      <a:pt x="1145" y="1274"/>
                    </a:lnTo>
                    <a:lnTo>
                      <a:pt x="1147" y="1274"/>
                    </a:lnTo>
                    <a:lnTo>
                      <a:pt x="1147" y="1276"/>
                    </a:lnTo>
                    <a:lnTo>
                      <a:pt x="1147" y="1274"/>
                    </a:lnTo>
                    <a:lnTo>
                      <a:pt x="1149" y="1274"/>
                    </a:lnTo>
                    <a:lnTo>
                      <a:pt x="1147" y="1274"/>
                    </a:lnTo>
                    <a:lnTo>
                      <a:pt x="1149" y="1274"/>
                    </a:lnTo>
                    <a:lnTo>
                      <a:pt x="1151" y="1272"/>
                    </a:lnTo>
                    <a:lnTo>
                      <a:pt x="1151" y="1274"/>
                    </a:lnTo>
                    <a:lnTo>
                      <a:pt x="1151" y="1276"/>
                    </a:lnTo>
                    <a:lnTo>
                      <a:pt x="1151" y="1274"/>
                    </a:lnTo>
                    <a:lnTo>
                      <a:pt x="1151" y="1272"/>
                    </a:lnTo>
                    <a:lnTo>
                      <a:pt x="1152" y="1272"/>
                    </a:lnTo>
                    <a:close/>
                    <a:moveTo>
                      <a:pt x="1195" y="1240"/>
                    </a:moveTo>
                    <a:lnTo>
                      <a:pt x="1195" y="1242"/>
                    </a:lnTo>
                    <a:lnTo>
                      <a:pt x="1196" y="1242"/>
                    </a:lnTo>
                    <a:lnTo>
                      <a:pt x="1196" y="1243"/>
                    </a:lnTo>
                    <a:lnTo>
                      <a:pt x="1198" y="1243"/>
                    </a:lnTo>
                    <a:lnTo>
                      <a:pt x="1200" y="1243"/>
                    </a:lnTo>
                    <a:lnTo>
                      <a:pt x="1202" y="1245"/>
                    </a:lnTo>
                    <a:lnTo>
                      <a:pt x="1202" y="1243"/>
                    </a:lnTo>
                    <a:lnTo>
                      <a:pt x="1203" y="1243"/>
                    </a:lnTo>
                    <a:lnTo>
                      <a:pt x="1205" y="1245"/>
                    </a:lnTo>
                    <a:lnTo>
                      <a:pt x="1203" y="1247"/>
                    </a:lnTo>
                    <a:lnTo>
                      <a:pt x="1203" y="1248"/>
                    </a:lnTo>
                    <a:lnTo>
                      <a:pt x="1202" y="1248"/>
                    </a:lnTo>
                    <a:lnTo>
                      <a:pt x="1200" y="1248"/>
                    </a:lnTo>
                    <a:lnTo>
                      <a:pt x="1202" y="1247"/>
                    </a:lnTo>
                    <a:lnTo>
                      <a:pt x="1200" y="1247"/>
                    </a:lnTo>
                    <a:lnTo>
                      <a:pt x="1198" y="1248"/>
                    </a:lnTo>
                    <a:lnTo>
                      <a:pt x="1196" y="1248"/>
                    </a:lnTo>
                    <a:lnTo>
                      <a:pt x="1195" y="1248"/>
                    </a:lnTo>
                    <a:lnTo>
                      <a:pt x="1193" y="1248"/>
                    </a:lnTo>
                    <a:lnTo>
                      <a:pt x="1191" y="1248"/>
                    </a:lnTo>
                    <a:lnTo>
                      <a:pt x="1190" y="1250"/>
                    </a:lnTo>
                    <a:lnTo>
                      <a:pt x="1190" y="1248"/>
                    </a:lnTo>
                    <a:lnTo>
                      <a:pt x="1188" y="1250"/>
                    </a:lnTo>
                    <a:lnTo>
                      <a:pt x="1186" y="1250"/>
                    </a:lnTo>
                    <a:lnTo>
                      <a:pt x="1186" y="1248"/>
                    </a:lnTo>
                    <a:lnTo>
                      <a:pt x="1186" y="1247"/>
                    </a:lnTo>
                    <a:lnTo>
                      <a:pt x="1185" y="1247"/>
                    </a:lnTo>
                    <a:lnTo>
                      <a:pt x="1185" y="1248"/>
                    </a:lnTo>
                    <a:lnTo>
                      <a:pt x="1185" y="1247"/>
                    </a:lnTo>
                    <a:lnTo>
                      <a:pt x="1183" y="1247"/>
                    </a:lnTo>
                    <a:lnTo>
                      <a:pt x="1181" y="1247"/>
                    </a:lnTo>
                    <a:lnTo>
                      <a:pt x="1181" y="1245"/>
                    </a:lnTo>
                    <a:lnTo>
                      <a:pt x="1183" y="1245"/>
                    </a:lnTo>
                    <a:lnTo>
                      <a:pt x="1185" y="1247"/>
                    </a:lnTo>
                    <a:lnTo>
                      <a:pt x="1185" y="1245"/>
                    </a:lnTo>
                    <a:lnTo>
                      <a:pt x="1183" y="1245"/>
                    </a:lnTo>
                    <a:lnTo>
                      <a:pt x="1183" y="1243"/>
                    </a:lnTo>
                    <a:lnTo>
                      <a:pt x="1185" y="1243"/>
                    </a:lnTo>
                    <a:lnTo>
                      <a:pt x="1185" y="1242"/>
                    </a:lnTo>
                    <a:lnTo>
                      <a:pt x="1186" y="1242"/>
                    </a:lnTo>
                    <a:lnTo>
                      <a:pt x="1186" y="1243"/>
                    </a:lnTo>
                    <a:lnTo>
                      <a:pt x="1188" y="1243"/>
                    </a:lnTo>
                    <a:lnTo>
                      <a:pt x="1188" y="1245"/>
                    </a:lnTo>
                    <a:lnTo>
                      <a:pt x="1190" y="1245"/>
                    </a:lnTo>
                    <a:lnTo>
                      <a:pt x="1191" y="1245"/>
                    </a:lnTo>
                    <a:lnTo>
                      <a:pt x="1190" y="1245"/>
                    </a:lnTo>
                    <a:lnTo>
                      <a:pt x="1190" y="1243"/>
                    </a:lnTo>
                    <a:lnTo>
                      <a:pt x="1188" y="1243"/>
                    </a:lnTo>
                    <a:lnTo>
                      <a:pt x="1188" y="1242"/>
                    </a:lnTo>
                    <a:lnTo>
                      <a:pt x="1186" y="1242"/>
                    </a:lnTo>
                    <a:lnTo>
                      <a:pt x="1188" y="1240"/>
                    </a:lnTo>
                    <a:lnTo>
                      <a:pt x="1190" y="1242"/>
                    </a:lnTo>
                    <a:lnTo>
                      <a:pt x="1190" y="1240"/>
                    </a:lnTo>
                    <a:lnTo>
                      <a:pt x="1191" y="1242"/>
                    </a:lnTo>
                    <a:lnTo>
                      <a:pt x="1193" y="1242"/>
                    </a:lnTo>
                    <a:lnTo>
                      <a:pt x="1195" y="1242"/>
                    </a:lnTo>
                    <a:lnTo>
                      <a:pt x="1195" y="1243"/>
                    </a:lnTo>
                    <a:lnTo>
                      <a:pt x="1196" y="1243"/>
                    </a:lnTo>
                    <a:lnTo>
                      <a:pt x="1195" y="1242"/>
                    </a:lnTo>
                    <a:lnTo>
                      <a:pt x="1193" y="1242"/>
                    </a:lnTo>
                    <a:lnTo>
                      <a:pt x="1191" y="1242"/>
                    </a:lnTo>
                    <a:lnTo>
                      <a:pt x="1191" y="1240"/>
                    </a:lnTo>
                    <a:lnTo>
                      <a:pt x="1193" y="1240"/>
                    </a:lnTo>
                    <a:lnTo>
                      <a:pt x="1195" y="1240"/>
                    </a:lnTo>
                    <a:close/>
                    <a:moveTo>
                      <a:pt x="1147" y="1333"/>
                    </a:moveTo>
                    <a:lnTo>
                      <a:pt x="1149" y="1333"/>
                    </a:lnTo>
                    <a:lnTo>
                      <a:pt x="1151" y="1333"/>
                    </a:lnTo>
                    <a:lnTo>
                      <a:pt x="1151" y="1335"/>
                    </a:lnTo>
                    <a:lnTo>
                      <a:pt x="1151" y="1333"/>
                    </a:lnTo>
                    <a:lnTo>
                      <a:pt x="1151" y="1332"/>
                    </a:lnTo>
                    <a:lnTo>
                      <a:pt x="1152" y="1333"/>
                    </a:lnTo>
                    <a:lnTo>
                      <a:pt x="1152" y="1335"/>
                    </a:lnTo>
                    <a:lnTo>
                      <a:pt x="1154" y="1337"/>
                    </a:lnTo>
                    <a:lnTo>
                      <a:pt x="1152" y="1337"/>
                    </a:lnTo>
                    <a:lnTo>
                      <a:pt x="1152" y="1339"/>
                    </a:lnTo>
                    <a:lnTo>
                      <a:pt x="1152" y="1337"/>
                    </a:lnTo>
                    <a:lnTo>
                      <a:pt x="1154" y="1339"/>
                    </a:lnTo>
                    <a:lnTo>
                      <a:pt x="1154" y="1340"/>
                    </a:lnTo>
                    <a:lnTo>
                      <a:pt x="1156" y="1342"/>
                    </a:lnTo>
                    <a:lnTo>
                      <a:pt x="1156" y="1344"/>
                    </a:lnTo>
                    <a:lnTo>
                      <a:pt x="1156" y="1345"/>
                    </a:lnTo>
                    <a:lnTo>
                      <a:pt x="1157" y="1345"/>
                    </a:lnTo>
                    <a:lnTo>
                      <a:pt x="1157" y="1347"/>
                    </a:lnTo>
                    <a:lnTo>
                      <a:pt x="1157" y="1349"/>
                    </a:lnTo>
                    <a:lnTo>
                      <a:pt x="1156" y="1349"/>
                    </a:lnTo>
                    <a:lnTo>
                      <a:pt x="1157" y="1349"/>
                    </a:lnTo>
                    <a:lnTo>
                      <a:pt x="1156" y="1349"/>
                    </a:lnTo>
                    <a:lnTo>
                      <a:pt x="1156" y="1347"/>
                    </a:lnTo>
                    <a:lnTo>
                      <a:pt x="1154" y="1347"/>
                    </a:lnTo>
                    <a:lnTo>
                      <a:pt x="1154" y="1345"/>
                    </a:lnTo>
                    <a:lnTo>
                      <a:pt x="1152" y="1345"/>
                    </a:lnTo>
                    <a:lnTo>
                      <a:pt x="1154" y="1345"/>
                    </a:lnTo>
                    <a:lnTo>
                      <a:pt x="1154" y="1347"/>
                    </a:lnTo>
                    <a:lnTo>
                      <a:pt x="1154" y="1349"/>
                    </a:lnTo>
                    <a:lnTo>
                      <a:pt x="1152" y="1349"/>
                    </a:lnTo>
                    <a:lnTo>
                      <a:pt x="1151" y="1347"/>
                    </a:lnTo>
                    <a:lnTo>
                      <a:pt x="1151" y="1345"/>
                    </a:lnTo>
                    <a:lnTo>
                      <a:pt x="1149" y="1345"/>
                    </a:lnTo>
                    <a:lnTo>
                      <a:pt x="1149" y="1344"/>
                    </a:lnTo>
                    <a:lnTo>
                      <a:pt x="1151" y="1344"/>
                    </a:lnTo>
                    <a:lnTo>
                      <a:pt x="1151" y="1342"/>
                    </a:lnTo>
                    <a:lnTo>
                      <a:pt x="1152" y="1342"/>
                    </a:lnTo>
                    <a:lnTo>
                      <a:pt x="1151" y="1342"/>
                    </a:lnTo>
                    <a:lnTo>
                      <a:pt x="1151" y="1340"/>
                    </a:lnTo>
                    <a:lnTo>
                      <a:pt x="1151" y="1339"/>
                    </a:lnTo>
                    <a:lnTo>
                      <a:pt x="1151" y="1340"/>
                    </a:lnTo>
                    <a:lnTo>
                      <a:pt x="1149" y="1342"/>
                    </a:lnTo>
                    <a:lnTo>
                      <a:pt x="1147" y="1342"/>
                    </a:lnTo>
                    <a:lnTo>
                      <a:pt x="1147" y="1344"/>
                    </a:lnTo>
                    <a:lnTo>
                      <a:pt x="1145" y="1344"/>
                    </a:lnTo>
                    <a:lnTo>
                      <a:pt x="1144" y="1344"/>
                    </a:lnTo>
                    <a:lnTo>
                      <a:pt x="1144" y="1345"/>
                    </a:lnTo>
                    <a:lnTo>
                      <a:pt x="1144" y="1347"/>
                    </a:lnTo>
                    <a:lnTo>
                      <a:pt x="1142" y="1347"/>
                    </a:lnTo>
                    <a:lnTo>
                      <a:pt x="1142" y="1345"/>
                    </a:lnTo>
                    <a:lnTo>
                      <a:pt x="1142" y="1344"/>
                    </a:lnTo>
                    <a:lnTo>
                      <a:pt x="1140" y="1344"/>
                    </a:lnTo>
                    <a:lnTo>
                      <a:pt x="1140" y="1342"/>
                    </a:lnTo>
                    <a:lnTo>
                      <a:pt x="1142" y="1342"/>
                    </a:lnTo>
                    <a:lnTo>
                      <a:pt x="1144" y="1340"/>
                    </a:lnTo>
                    <a:lnTo>
                      <a:pt x="1145" y="1340"/>
                    </a:lnTo>
                    <a:lnTo>
                      <a:pt x="1145" y="1339"/>
                    </a:lnTo>
                    <a:lnTo>
                      <a:pt x="1145" y="1340"/>
                    </a:lnTo>
                    <a:lnTo>
                      <a:pt x="1145" y="1339"/>
                    </a:lnTo>
                    <a:lnTo>
                      <a:pt x="1144" y="1339"/>
                    </a:lnTo>
                    <a:lnTo>
                      <a:pt x="1144" y="1337"/>
                    </a:lnTo>
                    <a:lnTo>
                      <a:pt x="1142" y="1337"/>
                    </a:lnTo>
                    <a:lnTo>
                      <a:pt x="1144" y="1337"/>
                    </a:lnTo>
                    <a:lnTo>
                      <a:pt x="1142" y="1335"/>
                    </a:lnTo>
                    <a:lnTo>
                      <a:pt x="1144" y="1335"/>
                    </a:lnTo>
                    <a:lnTo>
                      <a:pt x="1144" y="1333"/>
                    </a:lnTo>
                    <a:lnTo>
                      <a:pt x="1145" y="1333"/>
                    </a:lnTo>
                    <a:lnTo>
                      <a:pt x="1147" y="1333"/>
                    </a:lnTo>
                    <a:lnTo>
                      <a:pt x="1147" y="1335"/>
                    </a:lnTo>
                    <a:lnTo>
                      <a:pt x="1147" y="1333"/>
                    </a:lnTo>
                    <a:lnTo>
                      <a:pt x="1147" y="1332"/>
                    </a:lnTo>
                    <a:lnTo>
                      <a:pt x="1147" y="1333"/>
                    </a:lnTo>
                    <a:close/>
                    <a:moveTo>
                      <a:pt x="1193" y="1085"/>
                    </a:moveTo>
                    <a:lnTo>
                      <a:pt x="1195" y="1085"/>
                    </a:lnTo>
                    <a:lnTo>
                      <a:pt x="1196" y="1085"/>
                    </a:lnTo>
                    <a:lnTo>
                      <a:pt x="1195" y="1085"/>
                    </a:lnTo>
                    <a:lnTo>
                      <a:pt x="1196" y="1085"/>
                    </a:lnTo>
                    <a:lnTo>
                      <a:pt x="1198" y="1085"/>
                    </a:lnTo>
                    <a:lnTo>
                      <a:pt x="1200" y="1087"/>
                    </a:lnTo>
                    <a:lnTo>
                      <a:pt x="1202" y="1088"/>
                    </a:lnTo>
                    <a:lnTo>
                      <a:pt x="1200" y="1088"/>
                    </a:lnTo>
                    <a:lnTo>
                      <a:pt x="1202" y="1088"/>
                    </a:lnTo>
                    <a:lnTo>
                      <a:pt x="1202" y="1090"/>
                    </a:lnTo>
                    <a:lnTo>
                      <a:pt x="1200" y="1090"/>
                    </a:lnTo>
                    <a:lnTo>
                      <a:pt x="1198" y="1090"/>
                    </a:lnTo>
                    <a:lnTo>
                      <a:pt x="1196" y="1090"/>
                    </a:lnTo>
                    <a:lnTo>
                      <a:pt x="1196" y="1088"/>
                    </a:lnTo>
                    <a:lnTo>
                      <a:pt x="1198" y="1088"/>
                    </a:lnTo>
                    <a:lnTo>
                      <a:pt x="1196" y="1088"/>
                    </a:lnTo>
                    <a:lnTo>
                      <a:pt x="1196" y="1090"/>
                    </a:lnTo>
                    <a:lnTo>
                      <a:pt x="1196" y="1092"/>
                    </a:lnTo>
                    <a:lnTo>
                      <a:pt x="1195" y="1092"/>
                    </a:lnTo>
                    <a:lnTo>
                      <a:pt x="1195" y="1094"/>
                    </a:lnTo>
                    <a:lnTo>
                      <a:pt x="1193" y="1094"/>
                    </a:lnTo>
                    <a:lnTo>
                      <a:pt x="1191" y="1094"/>
                    </a:lnTo>
                    <a:lnTo>
                      <a:pt x="1190" y="1094"/>
                    </a:lnTo>
                    <a:lnTo>
                      <a:pt x="1190" y="1095"/>
                    </a:lnTo>
                    <a:lnTo>
                      <a:pt x="1188" y="1095"/>
                    </a:lnTo>
                    <a:lnTo>
                      <a:pt x="1186" y="1095"/>
                    </a:lnTo>
                    <a:lnTo>
                      <a:pt x="1185" y="1094"/>
                    </a:lnTo>
                    <a:lnTo>
                      <a:pt x="1185" y="1092"/>
                    </a:lnTo>
                    <a:lnTo>
                      <a:pt x="1185" y="1090"/>
                    </a:lnTo>
                    <a:lnTo>
                      <a:pt x="1186" y="1090"/>
                    </a:lnTo>
                    <a:lnTo>
                      <a:pt x="1188" y="1090"/>
                    </a:lnTo>
                    <a:lnTo>
                      <a:pt x="1188" y="1092"/>
                    </a:lnTo>
                    <a:lnTo>
                      <a:pt x="1190" y="1090"/>
                    </a:lnTo>
                    <a:lnTo>
                      <a:pt x="1188" y="1092"/>
                    </a:lnTo>
                    <a:lnTo>
                      <a:pt x="1190" y="1092"/>
                    </a:lnTo>
                    <a:lnTo>
                      <a:pt x="1191" y="1092"/>
                    </a:lnTo>
                    <a:lnTo>
                      <a:pt x="1193" y="1092"/>
                    </a:lnTo>
                    <a:lnTo>
                      <a:pt x="1191" y="1092"/>
                    </a:lnTo>
                    <a:lnTo>
                      <a:pt x="1190" y="1092"/>
                    </a:lnTo>
                    <a:lnTo>
                      <a:pt x="1190" y="1090"/>
                    </a:lnTo>
                    <a:lnTo>
                      <a:pt x="1188" y="1090"/>
                    </a:lnTo>
                    <a:lnTo>
                      <a:pt x="1186" y="1090"/>
                    </a:lnTo>
                    <a:lnTo>
                      <a:pt x="1185" y="1090"/>
                    </a:lnTo>
                    <a:lnTo>
                      <a:pt x="1183" y="1090"/>
                    </a:lnTo>
                    <a:lnTo>
                      <a:pt x="1183" y="1088"/>
                    </a:lnTo>
                    <a:lnTo>
                      <a:pt x="1183" y="1087"/>
                    </a:lnTo>
                    <a:lnTo>
                      <a:pt x="1185" y="1087"/>
                    </a:lnTo>
                    <a:lnTo>
                      <a:pt x="1186" y="1087"/>
                    </a:lnTo>
                    <a:lnTo>
                      <a:pt x="1186" y="1085"/>
                    </a:lnTo>
                    <a:lnTo>
                      <a:pt x="1188" y="1085"/>
                    </a:lnTo>
                    <a:lnTo>
                      <a:pt x="1190" y="1085"/>
                    </a:lnTo>
                    <a:lnTo>
                      <a:pt x="1191" y="1085"/>
                    </a:lnTo>
                    <a:lnTo>
                      <a:pt x="1193" y="1085"/>
                    </a:lnTo>
                    <a:close/>
                    <a:moveTo>
                      <a:pt x="1176" y="1418"/>
                    </a:moveTo>
                    <a:lnTo>
                      <a:pt x="1178" y="1418"/>
                    </a:lnTo>
                    <a:lnTo>
                      <a:pt x="1178" y="1420"/>
                    </a:lnTo>
                    <a:lnTo>
                      <a:pt x="1179" y="1422"/>
                    </a:lnTo>
                    <a:lnTo>
                      <a:pt x="1179" y="1424"/>
                    </a:lnTo>
                    <a:lnTo>
                      <a:pt x="1178" y="1424"/>
                    </a:lnTo>
                    <a:lnTo>
                      <a:pt x="1178" y="1422"/>
                    </a:lnTo>
                    <a:lnTo>
                      <a:pt x="1179" y="1422"/>
                    </a:lnTo>
                    <a:lnTo>
                      <a:pt x="1178" y="1420"/>
                    </a:lnTo>
                    <a:lnTo>
                      <a:pt x="1178" y="1422"/>
                    </a:lnTo>
                    <a:lnTo>
                      <a:pt x="1178" y="1424"/>
                    </a:lnTo>
                    <a:lnTo>
                      <a:pt x="1178" y="1425"/>
                    </a:lnTo>
                    <a:lnTo>
                      <a:pt x="1178" y="1424"/>
                    </a:lnTo>
                    <a:lnTo>
                      <a:pt x="1176" y="1422"/>
                    </a:lnTo>
                    <a:lnTo>
                      <a:pt x="1174" y="1422"/>
                    </a:lnTo>
                    <a:lnTo>
                      <a:pt x="1174" y="1420"/>
                    </a:lnTo>
                    <a:lnTo>
                      <a:pt x="1174" y="1422"/>
                    </a:lnTo>
                    <a:lnTo>
                      <a:pt x="1176" y="1422"/>
                    </a:lnTo>
                    <a:lnTo>
                      <a:pt x="1176" y="1424"/>
                    </a:lnTo>
                    <a:lnTo>
                      <a:pt x="1178" y="1424"/>
                    </a:lnTo>
                    <a:lnTo>
                      <a:pt x="1176" y="1425"/>
                    </a:lnTo>
                    <a:lnTo>
                      <a:pt x="1178" y="1425"/>
                    </a:lnTo>
                    <a:lnTo>
                      <a:pt x="1178" y="1427"/>
                    </a:lnTo>
                    <a:lnTo>
                      <a:pt x="1178" y="1425"/>
                    </a:lnTo>
                    <a:lnTo>
                      <a:pt x="1178" y="1427"/>
                    </a:lnTo>
                    <a:lnTo>
                      <a:pt x="1178" y="1429"/>
                    </a:lnTo>
                    <a:lnTo>
                      <a:pt x="1176" y="1429"/>
                    </a:lnTo>
                    <a:lnTo>
                      <a:pt x="1176" y="1430"/>
                    </a:lnTo>
                    <a:lnTo>
                      <a:pt x="1176" y="1429"/>
                    </a:lnTo>
                    <a:lnTo>
                      <a:pt x="1174" y="1429"/>
                    </a:lnTo>
                    <a:lnTo>
                      <a:pt x="1176" y="1427"/>
                    </a:lnTo>
                    <a:lnTo>
                      <a:pt x="1174" y="1427"/>
                    </a:lnTo>
                    <a:lnTo>
                      <a:pt x="1174" y="1425"/>
                    </a:lnTo>
                    <a:lnTo>
                      <a:pt x="1174" y="1424"/>
                    </a:lnTo>
                    <a:lnTo>
                      <a:pt x="1173" y="1425"/>
                    </a:lnTo>
                    <a:lnTo>
                      <a:pt x="1173" y="1424"/>
                    </a:lnTo>
                    <a:lnTo>
                      <a:pt x="1171" y="1424"/>
                    </a:lnTo>
                    <a:lnTo>
                      <a:pt x="1173" y="1425"/>
                    </a:lnTo>
                    <a:lnTo>
                      <a:pt x="1173" y="1427"/>
                    </a:lnTo>
                    <a:lnTo>
                      <a:pt x="1171" y="1429"/>
                    </a:lnTo>
                    <a:lnTo>
                      <a:pt x="1171" y="1427"/>
                    </a:lnTo>
                    <a:lnTo>
                      <a:pt x="1171" y="1429"/>
                    </a:lnTo>
                    <a:lnTo>
                      <a:pt x="1171" y="1430"/>
                    </a:lnTo>
                    <a:lnTo>
                      <a:pt x="1171" y="1429"/>
                    </a:lnTo>
                    <a:lnTo>
                      <a:pt x="1169" y="1429"/>
                    </a:lnTo>
                    <a:lnTo>
                      <a:pt x="1169" y="1430"/>
                    </a:lnTo>
                    <a:lnTo>
                      <a:pt x="1171" y="1430"/>
                    </a:lnTo>
                    <a:lnTo>
                      <a:pt x="1169" y="1432"/>
                    </a:lnTo>
                    <a:lnTo>
                      <a:pt x="1168" y="1432"/>
                    </a:lnTo>
                    <a:lnTo>
                      <a:pt x="1168" y="1430"/>
                    </a:lnTo>
                    <a:lnTo>
                      <a:pt x="1168" y="1432"/>
                    </a:lnTo>
                    <a:lnTo>
                      <a:pt x="1166" y="1432"/>
                    </a:lnTo>
                    <a:lnTo>
                      <a:pt x="1168" y="1432"/>
                    </a:lnTo>
                    <a:lnTo>
                      <a:pt x="1166" y="1432"/>
                    </a:lnTo>
                    <a:lnTo>
                      <a:pt x="1166" y="1430"/>
                    </a:lnTo>
                    <a:lnTo>
                      <a:pt x="1166" y="1432"/>
                    </a:lnTo>
                    <a:lnTo>
                      <a:pt x="1164" y="1432"/>
                    </a:lnTo>
                    <a:lnTo>
                      <a:pt x="1164" y="1430"/>
                    </a:lnTo>
                    <a:lnTo>
                      <a:pt x="1164" y="1432"/>
                    </a:lnTo>
                    <a:lnTo>
                      <a:pt x="1164" y="1434"/>
                    </a:lnTo>
                    <a:lnTo>
                      <a:pt x="1162" y="1434"/>
                    </a:lnTo>
                    <a:lnTo>
                      <a:pt x="1161" y="1434"/>
                    </a:lnTo>
                    <a:lnTo>
                      <a:pt x="1162" y="1432"/>
                    </a:lnTo>
                    <a:lnTo>
                      <a:pt x="1161" y="1432"/>
                    </a:lnTo>
                    <a:lnTo>
                      <a:pt x="1162" y="1432"/>
                    </a:lnTo>
                    <a:lnTo>
                      <a:pt x="1161" y="1430"/>
                    </a:lnTo>
                    <a:lnTo>
                      <a:pt x="1162" y="1430"/>
                    </a:lnTo>
                    <a:lnTo>
                      <a:pt x="1164" y="1430"/>
                    </a:lnTo>
                    <a:lnTo>
                      <a:pt x="1164" y="1429"/>
                    </a:lnTo>
                    <a:lnTo>
                      <a:pt x="1166" y="1429"/>
                    </a:lnTo>
                    <a:lnTo>
                      <a:pt x="1168" y="1427"/>
                    </a:lnTo>
                    <a:lnTo>
                      <a:pt x="1169" y="1425"/>
                    </a:lnTo>
                    <a:lnTo>
                      <a:pt x="1168" y="1425"/>
                    </a:lnTo>
                    <a:lnTo>
                      <a:pt x="1168" y="1427"/>
                    </a:lnTo>
                    <a:lnTo>
                      <a:pt x="1168" y="1425"/>
                    </a:lnTo>
                    <a:lnTo>
                      <a:pt x="1168" y="1427"/>
                    </a:lnTo>
                    <a:lnTo>
                      <a:pt x="1166" y="1427"/>
                    </a:lnTo>
                    <a:lnTo>
                      <a:pt x="1164" y="1429"/>
                    </a:lnTo>
                    <a:lnTo>
                      <a:pt x="1164" y="1427"/>
                    </a:lnTo>
                    <a:lnTo>
                      <a:pt x="1162" y="1425"/>
                    </a:lnTo>
                    <a:lnTo>
                      <a:pt x="1164" y="1425"/>
                    </a:lnTo>
                    <a:lnTo>
                      <a:pt x="1164" y="1424"/>
                    </a:lnTo>
                    <a:lnTo>
                      <a:pt x="1166" y="1424"/>
                    </a:lnTo>
                    <a:lnTo>
                      <a:pt x="1166" y="1422"/>
                    </a:lnTo>
                    <a:lnTo>
                      <a:pt x="1168" y="1422"/>
                    </a:lnTo>
                    <a:lnTo>
                      <a:pt x="1168" y="1424"/>
                    </a:lnTo>
                    <a:lnTo>
                      <a:pt x="1168" y="1422"/>
                    </a:lnTo>
                    <a:lnTo>
                      <a:pt x="1168" y="1424"/>
                    </a:lnTo>
                    <a:lnTo>
                      <a:pt x="1168" y="1422"/>
                    </a:lnTo>
                    <a:lnTo>
                      <a:pt x="1169" y="1424"/>
                    </a:lnTo>
                    <a:lnTo>
                      <a:pt x="1169" y="1422"/>
                    </a:lnTo>
                    <a:lnTo>
                      <a:pt x="1168" y="1422"/>
                    </a:lnTo>
                    <a:lnTo>
                      <a:pt x="1168" y="1420"/>
                    </a:lnTo>
                    <a:lnTo>
                      <a:pt x="1169" y="1420"/>
                    </a:lnTo>
                    <a:lnTo>
                      <a:pt x="1171" y="1420"/>
                    </a:lnTo>
                    <a:lnTo>
                      <a:pt x="1169" y="1420"/>
                    </a:lnTo>
                    <a:lnTo>
                      <a:pt x="1169" y="1418"/>
                    </a:lnTo>
                    <a:lnTo>
                      <a:pt x="1171" y="1418"/>
                    </a:lnTo>
                    <a:lnTo>
                      <a:pt x="1171" y="1420"/>
                    </a:lnTo>
                    <a:lnTo>
                      <a:pt x="1171" y="1418"/>
                    </a:lnTo>
                    <a:lnTo>
                      <a:pt x="1173" y="1418"/>
                    </a:lnTo>
                    <a:lnTo>
                      <a:pt x="1174" y="1418"/>
                    </a:lnTo>
                    <a:lnTo>
                      <a:pt x="1176" y="1418"/>
                    </a:lnTo>
                    <a:close/>
                    <a:moveTo>
                      <a:pt x="1151" y="1379"/>
                    </a:moveTo>
                    <a:lnTo>
                      <a:pt x="1151" y="1381"/>
                    </a:lnTo>
                    <a:lnTo>
                      <a:pt x="1151" y="1379"/>
                    </a:lnTo>
                    <a:lnTo>
                      <a:pt x="1152" y="1379"/>
                    </a:lnTo>
                    <a:lnTo>
                      <a:pt x="1154" y="1379"/>
                    </a:lnTo>
                    <a:lnTo>
                      <a:pt x="1152" y="1381"/>
                    </a:lnTo>
                    <a:lnTo>
                      <a:pt x="1152" y="1383"/>
                    </a:lnTo>
                    <a:lnTo>
                      <a:pt x="1152" y="1381"/>
                    </a:lnTo>
                    <a:lnTo>
                      <a:pt x="1154" y="1381"/>
                    </a:lnTo>
                    <a:lnTo>
                      <a:pt x="1156" y="1381"/>
                    </a:lnTo>
                    <a:lnTo>
                      <a:pt x="1157" y="1381"/>
                    </a:lnTo>
                    <a:lnTo>
                      <a:pt x="1159" y="1381"/>
                    </a:lnTo>
                    <a:lnTo>
                      <a:pt x="1161" y="1381"/>
                    </a:lnTo>
                    <a:lnTo>
                      <a:pt x="1161" y="1383"/>
                    </a:lnTo>
                    <a:lnTo>
                      <a:pt x="1159" y="1383"/>
                    </a:lnTo>
                    <a:lnTo>
                      <a:pt x="1157" y="1384"/>
                    </a:lnTo>
                    <a:lnTo>
                      <a:pt x="1157" y="1383"/>
                    </a:lnTo>
                    <a:lnTo>
                      <a:pt x="1157" y="1384"/>
                    </a:lnTo>
                    <a:lnTo>
                      <a:pt x="1156" y="1384"/>
                    </a:lnTo>
                    <a:lnTo>
                      <a:pt x="1157" y="1386"/>
                    </a:lnTo>
                    <a:lnTo>
                      <a:pt x="1156" y="1386"/>
                    </a:lnTo>
                    <a:lnTo>
                      <a:pt x="1156" y="1388"/>
                    </a:lnTo>
                    <a:lnTo>
                      <a:pt x="1156" y="1386"/>
                    </a:lnTo>
                    <a:lnTo>
                      <a:pt x="1154" y="1386"/>
                    </a:lnTo>
                    <a:lnTo>
                      <a:pt x="1152" y="1384"/>
                    </a:lnTo>
                    <a:lnTo>
                      <a:pt x="1154" y="1383"/>
                    </a:lnTo>
                    <a:lnTo>
                      <a:pt x="1152" y="1384"/>
                    </a:lnTo>
                    <a:lnTo>
                      <a:pt x="1152" y="1386"/>
                    </a:lnTo>
                    <a:lnTo>
                      <a:pt x="1154" y="1388"/>
                    </a:lnTo>
                    <a:lnTo>
                      <a:pt x="1156" y="1388"/>
                    </a:lnTo>
                    <a:lnTo>
                      <a:pt x="1154" y="1390"/>
                    </a:lnTo>
                    <a:lnTo>
                      <a:pt x="1152" y="1390"/>
                    </a:lnTo>
                    <a:lnTo>
                      <a:pt x="1152" y="1388"/>
                    </a:lnTo>
                    <a:lnTo>
                      <a:pt x="1152" y="1390"/>
                    </a:lnTo>
                    <a:lnTo>
                      <a:pt x="1154" y="1390"/>
                    </a:lnTo>
                    <a:lnTo>
                      <a:pt x="1156" y="1390"/>
                    </a:lnTo>
                    <a:lnTo>
                      <a:pt x="1154" y="1391"/>
                    </a:lnTo>
                    <a:lnTo>
                      <a:pt x="1152" y="1391"/>
                    </a:lnTo>
                    <a:lnTo>
                      <a:pt x="1154" y="1391"/>
                    </a:lnTo>
                    <a:lnTo>
                      <a:pt x="1154" y="1393"/>
                    </a:lnTo>
                    <a:lnTo>
                      <a:pt x="1152" y="1393"/>
                    </a:lnTo>
                    <a:lnTo>
                      <a:pt x="1154" y="1393"/>
                    </a:lnTo>
                    <a:lnTo>
                      <a:pt x="1154" y="1395"/>
                    </a:lnTo>
                    <a:lnTo>
                      <a:pt x="1154" y="1396"/>
                    </a:lnTo>
                    <a:lnTo>
                      <a:pt x="1152" y="1398"/>
                    </a:lnTo>
                    <a:lnTo>
                      <a:pt x="1152" y="1396"/>
                    </a:lnTo>
                    <a:lnTo>
                      <a:pt x="1152" y="1398"/>
                    </a:lnTo>
                    <a:lnTo>
                      <a:pt x="1152" y="1396"/>
                    </a:lnTo>
                    <a:lnTo>
                      <a:pt x="1152" y="1395"/>
                    </a:lnTo>
                    <a:lnTo>
                      <a:pt x="1152" y="1396"/>
                    </a:lnTo>
                    <a:lnTo>
                      <a:pt x="1151" y="1396"/>
                    </a:lnTo>
                    <a:lnTo>
                      <a:pt x="1149" y="1396"/>
                    </a:lnTo>
                    <a:lnTo>
                      <a:pt x="1149" y="1395"/>
                    </a:lnTo>
                    <a:lnTo>
                      <a:pt x="1147" y="1395"/>
                    </a:lnTo>
                    <a:lnTo>
                      <a:pt x="1149" y="1395"/>
                    </a:lnTo>
                    <a:lnTo>
                      <a:pt x="1147" y="1395"/>
                    </a:lnTo>
                    <a:lnTo>
                      <a:pt x="1149" y="1393"/>
                    </a:lnTo>
                    <a:lnTo>
                      <a:pt x="1147" y="1393"/>
                    </a:lnTo>
                    <a:lnTo>
                      <a:pt x="1147" y="1391"/>
                    </a:lnTo>
                    <a:lnTo>
                      <a:pt x="1149" y="1391"/>
                    </a:lnTo>
                    <a:lnTo>
                      <a:pt x="1151" y="1391"/>
                    </a:lnTo>
                    <a:lnTo>
                      <a:pt x="1149" y="1391"/>
                    </a:lnTo>
                    <a:lnTo>
                      <a:pt x="1149" y="1390"/>
                    </a:lnTo>
                    <a:lnTo>
                      <a:pt x="1147" y="1391"/>
                    </a:lnTo>
                    <a:lnTo>
                      <a:pt x="1147" y="1390"/>
                    </a:lnTo>
                    <a:lnTo>
                      <a:pt x="1145" y="1390"/>
                    </a:lnTo>
                    <a:lnTo>
                      <a:pt x="1147" y="1388"/>
                    </a:lnTo>
                    <a:lnTo>
                      <a:pt x="1147" y="1390"/>
                    </a:lnTo>
                    <a:lnTo>
                      <a:pt x="1149" y="1390"/>
                    </a:lnTo>
                    <a:lnTo>
                      <a:pt x="1147" y="1388"/>
                    </a:lnTo>
                    <a:lnTo>
                      <a:pt x="1147" y="1386"/>
                    </a:lnTo>
                    <a:lnTo>
                      <a:pt x="1149" y="1386"/>
                    </a:lnTo>
                    <a:lnTo>
                      <a:pt x="1147" y="1386"/>
                    </a:lnTo>
                    <a:lnTo>
                      <a:pt x="1149" y="1386"/>
                    </a:lnTo>
                    <a:lnTo>
                      <a:pt x="1151" y="1388"/>
                    </a:lnTo>
                    <a:lnTo>
                      <a:pt x="1151" y="1386"/>
                    </a:lnTo>
                    <a:lnTo>
                      <a:pt x="1149" y="1386"/>
                    </a:lnTo>
                    <a:lnTo>
                      <a:pt x="1151" y="1386"/>
                    </a:lnTo>
                    <a:lnTo>
                      <a:pt x="1151" y="1384"/>
                    </a:lnTo>
                    <a:lnTo>
                      <a:pt x="1149" y="1386"/>
                    </a:lnTo>
                    <a:lnTo>
                      <a:pt x="1149" y="1384"/>
                    </a:lnTo>
                    <a:lnTo>
                      <a:pt x="1147" y="1383"/>
                    </a:lnTo>
                    <a:lnTo>
                      <a:pt x="1147" y="1381"/>
                    </a:lnTo>
                    <a:lnTo>
                      <a:pt x="1147" y="1379"/>
                    </a:lnTo>
                    <a:lnTo>
                      <a:pt x="1149" y="1381"/>
                    </a:lnTo>
                    <a:lnTo>
                      <a:pt x="1149" y="1379"/>
                    </a:lnTo>
                    <a:lnTo>
                      <a:pt x="1147" y="1379"/>
                    </a:lnTo>
                    <a:lnTo>
                      <a:pt x="1149" y="1379"/>
                    </a:lnTo>
                    <a:lnTo>
                      <a:pt x="1151" y="1379"/>
                    </a:lnTo>
                    <a:close/>
                    <a:moveTo>
                      <a:pt x="1147" y="1293"/>
                    </a:moveTo>
                    <a:lnTo>
                      <a:pt x="1149" y="1293"/>
                    </a:lnTo>
                    <a:lnTo>
                      <a:pt x="1147" y="1294"/>
                    </a:lnTo>
                    <a:lnTo>
                      <a:pt x="1147" y="1296"/>
                    </a:lnTo>
                    <a:lnTo>
                      <a:pt x="1145" y="1296"/>
                    </a:lnTo>
                    <a:lnTo>
                      <a:pt x="1147" y="1296"/>
                    </a:lnTo>
                    <a:lnTo>
                      <a:pt x="1147" y="1294"/>
                    </a:lnTo>
                    <a:lnTo>
                      <a:pt x="1149" y="1294"/>
                    </a:lnTo>
                    <a:lnTo>
                      <a:pt x="1149" y="1293"/>
                    </a:lnTo>
                    <a:lnTo>
                      <a:pt x="1151" y="1293"/>
                    </a:lnTo>
                    <a:lnTo>
                      <a:pt x="1151" y="1294"/>
                    </a:lnTo>
                    <a:lnTo>
                      <a:pt x="1149" y="1294"/>
                    </a:lnTo>
                    <a:lnTo>
                      <a:pt x="1149" y="1296"/>
                    </a:lnTo>
                    <a:lnTo>
                      <a:pt x="1151" y="1294"/>
                    </a:lnTo>
                    <a:lnTo>
                      <a:pt x="1151" y="1296"/>
                    </a:lnTo>
                    <a:lnTo>
                      <a:pt x="1152" y="1296"/>
                    </a:lnTo>
                    <a:lnTo>
                      <a:pt x="1152" y="1298"/>
                    </a:lnTo>
                    <a:lnTo>
                      <a:pt x="1152" y="1296"/>
                    </a:lnTo>
                    <a:lnTo>
                      <a:pt x="1152" y="1294"/>
                    </a:lnTo>
                    <a:lnTo>
                      <a:pt x="1151" y="1294"/>
                    </a:lnTo>
                    <a:lnTo>
                      <a:pt x="1152" y="1293"/>
                    </a:lnTo>
                    <a:lnTo>
                      <a:pt x="1151" y="1294"/>
                    </a:lnTo>
                    <a:lnTo>
                      <a:pt x="1152" y="1293"/>
                    </a:lnTo>
                    <a:lnTo>
                      <a:pt x="1154" y="1294"/>
                    </a:lnTo>
                    <a:lnTo>
                      <a:pt x="1156" y="1294"/>
                    </a:lnTo>
                    <a:lnTo>
                      <a:pt x="1156" y="1296"/>
                    </a:lnTo>
                    <a:lnTo>
                      <a:pt x="1156" y="1298"/>
                    </a:lnTo>
                    <a:lnTo>
                      <a:pt x="1156" y="1299"/>
                    </a:lnTo>
                    <a:lnTo>
                      <a:pt x="1156" y="1301"/>
                    </a:lnTo>
                    <a:lnTo>
                      <a:pt x="1157" y="1301"/>
                    </a:lnTo>
                    <a:lnTo>
                      <a:pt x="1157" y="1303"/>
                    </a:lnTo>
                    <a:lnTo>
                      <a:pt x="1157" y="1305"/>
                    </a:lnTo>
                    <a:lnTo>
                      <a:pt x="1156" y="1305"/>
                    </a:lnTo>
                    <a:lnTo>
                      <a:pt x="1156" y="1306"/>
                    </a:lnTo>
                    <a:lnTo>
                      <a:pt x="1156" y="1305"/>
                    </a:lnTo>
                    <a:lnTo>
                      <a:pt x="1154" y="1306"/>
                    </a:lnTo>
                    <a:lnTo>
                      <a:pt x="1154" y="1305"/>
                    </a:lnTo>
                    <a:lnTo>
                      <a:pt x="1154" y="1303"/>
                    </a:lnTo>
                    <a:lnTo>
                      <a:pt x="1154" y="1301"/>
                    </a:lnTo>
                    <a:lnTo>
                      <a:pt x="1154" y="1299"/>
                    </a:lnTo>
                    <a:lnTo>
                      <a:pt x="1154" y="1298"/>
                    </a:lnTo>
                    <a:lnTo>
                      <a:pt x="1152" y="1299"/>
                    </a:lnTo>
                    <a:lnTo>
                      <a:pt x="1151" y="1299"/>
                    </a:lnTo>
                    <a:lnTo>
                      <a:pt x="1152" y="1298"/>
                    </a:lnTo>
                    <a:lnTo>
                      <a:pt x="1151" y="1299"/>
                    </a:lnTo>
                    <a:lnTo>
                      <a:pt x="1151" y="1301"/>
                    </a:lnTo>
                    <a:lnTo>
                      <a:pt x="1149" y="1301"/>
                    </a:lnTo>
                    <a:lnTo>
                      <a:pt x="1149" y="1303"/>
                    </a:lnTo>
                    <a:lnTo>
                      <a:pt x="1147" y="1305"/>
                    </a:lnTo>
                    <a:lnTo>
                      <a:pt x="1145" y="1303"/>
                    </a:lnTo>
                    <a:lnTo>
                      <a:pt x="1144" y="1301"/>
                    </a:lnTo>
                    <a:lnTo>
                      <a:pt x="1145" y="1301"/>
                    </a:lnTo>
                    <a:lnTo>
                      <a:pt x="1147" y="1299"/>
                    </a:lnTo>
                    <a:lnTo>
                      <a:pt x="1147" y="1301"/>
                    </a:lnTo>
                    <a:lnTo>
                      <a:pt x="1147" y="1299"/>
                    </a:lnTo>
                    <a:lnTo>
                      <a:pt x="1149" y="1299"/>
                    </a:lnTo>
                    <a:lnTo>
                      <a:pt x="1147" y="1299"/>
                    </a:lnTo>
                    <a:lnTo>
                      <a:pt x="1147" y="1298"/>
                    </a:lnTo>
                    <a:lnTo>
                      <a:pt x="1147" y="1299"/>
                    </a:lnTo>
                    <a:lnTo>
                      <a:pt x="1145" y="1299"/>
                    </a:lnTo>
                    <a:lnTo>
                      <a:pt x="1145" y="1301"/>
                    </a:lnTo>
                    <a:lnTo>
                      <a:pt x="1144" y="1299"/>
                    </a:lnTo>
                    <a:lnTo>
                      <a:pt x="1142" y="1299"/>
                    </a:lnTo>
                    <a:lnTo>
                      <a:pt x="1142" y="1298"/>
                    </a:lnTo>
                    <a:lnTo>
                      <a:pt x="1142" y="1299"/>
                    </a:lnTo>
                    <a:lnTo>
                      <a:pt x="1142" y="1298"/>
                    </a:lnTo>
                    <a:lnTo>
                      <a:pt x="1142" y="1296"/>
                    </a:lnTo>
                    <a:lnTo>
                      <a:pt x="1142" y="1294"/>
                    </a:lnTo>
                    <a:lnTo>
                      <a:pt x="1144" y="1293"/>
                    </a:lnTo>
                    <a:lnTo>
                      <a:pt x="1145" y="1294"/>
                    </a:lnTo>
                    <a:lnTo>
                      <a:pt x="1144" y="1293"/>
                    </a:lnTo>
                    <a:lnTo>
                      <a:pt x="1145" y="1293"/>
                    </a:lnTo>
                    <a:lnTo>
                      <a:pt x="1144" y="1293"/>
                    </a:lnTo>
                    <a:lnTo>
                      <a:pt x="1145" y="1293"/>
                    </a:lnTo>
                    <a:lnTo>
                      <a:pt x="1145" y="1291"/>
                    </a:lnTo>
                    <a:lnTo>
                      <a:pt x="1147" y="1293"/>
                    </a:lnTo>
                    <a:close/>
                    <a:moveTo>
                      <a:pt x="1168" y="1442"/>
                    </a:moveTo>
                    <a:lnTo>
                      <a:pt x="1169" y="1442"/>
                    </a:lnTo>
                    <a:lnTo>
                      <a:pt x="1171" y="1442"/>
                    </a:lnTo>
                    <a:lnTo>
                      <a:pt x="1171" y="1444"/>
                    </a:lnTo>
                    <a:lnTo>
                      <a:pt x="1169" y="1444"/>
                    </a:lnTo>
                    <a:lnTo>
                      <a:pt x="1171" y="1444"/>
                    </a:lnTo>
                    <a:lnTo>
                      <a:pt x="1169" y="1446"/>
                    </a:lnTo>
                    <a:lnTo>
                      <a:pt x="1171" y="1446"/>
                    </a:lnTo>
                    <a:lnTo>
                      <a:pt x="1171" y="1447"/>
                    </a:lnTo>
                    <a:lnTo>
                      <a:pt x="1169" y="1447"/>
                    </a:lnTo>
                    <a:lnTo>
                      <a:pt x="1169" y="1449"/>
                    </a:lnTo>
                    <a:lnTo>
                      <a:pt x="1169" y="1447"/>
                    </a:lnTo>
                    <a:lnTo>
                      <a:pt x="1171" y="1447"/>
                    </a:lnTo>
                    <a:lnTo>
                      <a:pt x="1171" y="1449"/>
                    </a:lnTo>
                    <a:lnTo>
                      <a:pt x="1171" y="1451"/>
                    </a:lnTo>
                    <a:lnTo>
                      <a:pt x="1169" y="1451"/>
                    </a:lnTo>
                    <a:lnTo>
                      <a:pt x="1171" y="1451"/>
                    </a:lnTo>
                    <a:lnTo>
                      <a:pt x="1171" y="1453"/>
                    </a:lnTo>
                    <a:lnTo>
                      <a:pt x="1171" y="1454"/>
                    </a:lnTo>
                    <a:lnTo>
                      <a:pt x="1169" y="1454"/>
                    </a:lnTo>
                    <a:lnTo>
                      <a:pt x="1169" y="1456"/>
                    </a:lnTo>
                    <a:lnTo>
                      <a:pt x="1169" y="1458"/>
                    </a:lnTo>
                    <a:lnTo>
                      <a:pt x="1169" y="1459"/>
                    </a:lnTo>
                    <a:lnTo>
                      <a:pt x="1168" y="1459"/>
                    </a:lnTo>
                    <a:lnTo>
                      <a:pt x="1169" y="1459"/>
                    </a:lnTo>
                    <a:lnTo>
                      <a:pt x="1169" y="1461"/>
                    </a:lnTo>
                    <a:lnTo>
                      <a:pt x="1168" y="1461"/>
                    </a:lnTo>
                    <a:lnTo>
                      <a:pt x="1169" y="1461"/>
                    </a:lnTo>
                    <a:lnTo>
                      <a:pt x="1168" y="1461"/>
                    </a:lnTo>
                    <a:lnTo>
                      <a:pt x="1168" y="1463"/>
                    </a:lnTo>
                    <a:lnTo>
                      <a:pt x="1166" y="1463"/>
                    </a:lnTo>
                    <a:lnTo>
                      <a:pt x="1168" y="1463"/>
                    </a:lnTo>
                    <a:lnTo>
                      <a:pt x="1168" y="1464"/>
                    </a:lnTo>
                    <a:lnTo>
                      <a:pt x="1166" y="1464"/>
                    </a:lnTo>
                    <a:lnTo>
                      <a:pt x="1168" y="1466"/>
                    </a:lnTo>
                    <a:lnTo>
                      <a:pt x="1166" y="1468"/>
                    </a:lnTo>
                    <a:lnTo>
                      <a:pt x="1164" y="1468"/>
                    </a:lnTo>
                    <a:lnTo>
                      <a:pt x="1166" y="1470"/>
                    </a:lnTo>
                    <a:lnTo>
                      <a:pt x="1166" y="1468"/>
                    </a:lnTo>
                    <a:lnTo>
                      <a:pt x="1166" y="1470"/>
                    </a:lnTo>
                    <a:lnTo>
                      <a:pt x="1164" y="1470"/>
                    </a:lnTo>
                    <a:lnTo>
                      <a:pt x="1164" y="1468"/>
                    </a:lnTo>
                    <a:lnTo>
                      <a:pt x="1166" y="1466"/>
                    </a:lnTo>
                    <a:lnTo>
                      <a:pt x="1164" y="1468"/>
                    </a:lnTo>
                    <a:lnTo>
                      <a:pt x="1164" y="1470"/>
                    </a:lnTo>
                    <a:lnTo>
                      <a:pt x="1162" y="1470"/>
                    </a:lnTo>
                    <a:lnTo>
                      <a:pt x="1162" y="1468"/>
                    </a:lnTo>
                    <a:lnTo>
                      <a:pt x="1164" y="1468"/>
                    </a:lnTo>
                    <a:lnTo>
                      <a:pt x="1164" y="1466"/>
                    </a:lnTo>
                    <a:lnTo>
                      <a:pt x="1164" y="1464"/>
                    </a:lnTo>
                    <a:lnTo>
                      <a:pt x="1164" y="1466"/>
                    </a:lnTo>
                    <a:lnTo>
                      <a:pt x="1162" y="1466"/>
                    </a:lnTo>
                    <a:lnTo>
                      <a:pt x="1164" y="1464"/>
                    </a:lnTo>
                    <a:lnTo>
                      <a:pt x="1162" y="1464"/>
                    </a:lnTo>
                    <a:lnTo>
                      <a:pt x="1162" y="1466"/>
                    </a:lnTo>
                    <a:lnTo>
                      <a:pt x="1162" y="1464"/>
                    </a:lnTo>
                    <a:lnTo>
                      <a:pt x="1161" y="1464"/>
                    </a:lnTo>
                    <a:lnTo>
                      <a:pt x="1161" y="1463"/>
                    </a:lnTo>
                    <a:lnTo>
                      <a:pt x="1161" y="1461"/>
                    </a:lnTo>
                    <a:lnTo>
                      <a:pt x="1162" y="1461"/>
                    </a:lnTo>
                    <a:lnTo>
                      <a:pt x="1164" y="1459"/>
                    </a:lnTo>
                    <a:lnTo>
                      <a:pt x="1162" y="1459"/>
                    </a:lnTo>
                    <a:lnTo>
                      <a:pt x="1162" y="1458"/>
                    </a:lnTo>
                    <a:lnTo>
                      <a:pt x="1162" y="1456"/>
                    </a:lnTo>
                    <a:lnTo>
                      <a:pt x="1164" y="1456"/>
                    </a:lnTo>
                    <a:lnTo>
                      <a:pt x="1164" y="1454"/>
                    </a:lnTo>
                    <a:lnTo>
                      <a:pt x="1164" y="1453"/>
                    </a:lnTo>
                    <a:lnTo>
                      <a:pt x="1164" y="1451"/>
                    </a:lnTo>
                    <a:lnTo>
                      <a:pt x="1166" y="1453"/>
                    </a:lnTo>
                    <a:lnTo>
                      <a:pt x="1164" y="1453"/>
                    </a:lnTo>
                    <a:lnTo>
                      <a:pt x="1166" y="1454"/>
                    </a:lnTo>
                    <a:lnTo>
                      <a:pt x="1166" y="1456"/>
                    </a:lnTo>
                    <a:lnTo>
                      <a:pt x="1166" y="1454"/>
                    </a:lnTo>
                    <a:lnTo>
                      <a:pt x="1166" y="1456"/>
                    </a:lnTo>
                    <a:lnTo>
                      <a:pt x="1164" y="1458"/>
                    </a:lnTo>
                    <a:lnTo>
                      <a:pt x="1166" y="1458"/>
                    </a:lnTo>
                    <a:lnTo>
                      <a:pt x="1166" y="1456"/>
                    </a:lnTo>
                    <a:lnTo>
                      <a:pt x="1166" y="1458"/>
                    </a:lnTo>
                    <a:lnTo>
                      <a:pt x="1166" y="1456"/>
                    </a:lnTo>
                    <a:lnTo>
                      <a:pt x="1168" y="1454"/>
                    </a:lnTo>
                    <a:lnTo>
                      <a:pt x="1168" y="1456"/>
                    </a:lnTo>
                    <a:lnTo>
                      <a:pt x="1168" y="1458"/>
                    </a:lnTo>
                    <a:lnTo>
                      <a:pt x="1168" y="1459"/>
                    </a:lnTo>
                    <a:lnTo>
                      <a:pt x="1168" y="1458"/>
                    </a:lnTo>
                    <a:lnTo>
                      <a:pt x="1168" y="1456"/>
                    </a:lnTo>
                    <a:lnTo>
                      <a:pt x="1168" y="1454"/>
                    </a:lnTo>
                    <a:lnTo>
                      <a:pt x="1169" y="1454"/>
                    </a:lnTo>
                    <a:lnTo>
                      <a:pt x="1169" y="1453"/>
                    </a:lnTo>
                    <a:lnTo>
                      <a:pt x="1168" y="1454"/>
                    </a:lnTo>
                    <a:lnTo>
                      <a:pt x="1168" y="1453"/>
                    </a:lnTo>
                    <a:lnTo>
                      <a:pt x="1168" y="1451"/>
                    </a:lnTo>
                    <a:lnTo>
                      <a:pt x="1168" y="1453"/>
                    </a:lnTo>
                    <a:lnTo>
                      <a:pt x="1168" y="1451"/>
                    </a:lnTo>
                    <a:lnTo>
                      <a:pt x="1166" y="1451"/>
                    </a:lnTo>
                    <a:lnTo>
                      <a:pt x="1168" y="1449"/>
                    </a:lnTo>
                    <a:lnTo>
                      <a:pt x="1169" y="1449"/>
                    </a:lnTo>
                    <a:lnTo>
                      <a:pt x="1168" y="1447"/>
                    </a:lnTo>
                    <a:lnTo>
                      <a:pt x="1166" y="1446"/>
                    </a:lnTo>
                    <a:lnTo>
                      <a:pt x="1166" y="1444"/>
                    </a:lnTo>
                    <a:lnTo>
                      <a:pt x="1168" y="1444"/>
                    </a:lnTo>
                    <a:lnTo>
                      <a:pt x="1166" y="1444"/>
                    </a:lnTo>
                    <a:lnTo>
                      <a:pt x="1164" y="1444"/>
                    </a:lnTo>
                    <a:lnTo>
                      <a:pt x="1166" y="1442"/>
                    </a:lnTo>
                    <a:lnTo>
                      <a:pt x="1168" y="1441"/>
                    </a:lnTo>
                    <a:lnTo>
                      <a:pt x="1168" y="1442"/>
                    </a:lnTo>
                    <a:close/>
                    <a:moveTo>
                      <a:pt x="1188" y="1468"/>
                    </a:moveTo>
                    <a:lnTo>
                      <a:pt x="1190" y="1468"/>
                    </a:lnTo>
                    <a:lnTo>
                      <a:pt x="1190" y="1470"/>
                    </a:lnTo>
                    <a:lnTo>
                      <a:pt x="1191" y="1470"/>
                    </a:lnTo>
                    <a:lnTo>
                      <a:pt x="1191" y="1471"/>
                    </a:lnTo>
                    <a:lnTo>
                      <a:pt x="1193" y="1471"/>
                    </a:lnTo>
                    <a:lnTo>
                      <a:pt x="1193" y="1473"/>
                    </a:lnTo>
                    <a:lnTo>
                      <a:pt x="1195" y="1473"/>
                    </a:lnTo>
                    <a:lnTo>
                      <a:pt x="1195" y="1475"/>
                    </a:lnTo>
                    <a:lnTo>
                      <a:pt x="1196" y="1476"/>
                    </a:lnTo>
                    <a:lnTo>
                      <a:pt x="1196" y="1478"/>
                    </a:lnTo>
                    <a:lnTo>
                      <a:pt x="1198" y="1480"/>
                    </a:lnTo>
                    <a:lnTo>
                      <a:pt x="1196" y="1478"/>
                    </a:lnTo>
                    <a:lnTo>
                      <a:pt x="1198" y="1478"/>
                    </a:lnTo>
                    <a:lnTo>
                      <a:pt x="1198" y="1480"/>
                    </a:lnTo>
                    <a:lnTo>
                      <a:pt x="1200" y="1480"/>
                    </a:lnTo>
                    <a:lnTo>
                      <a:pt x="1200" y="1481"/>
                    </a:lnTo>
                    <a:lnTo>
                      <a:pt x="1198" y="1481"/>
                    </a:lnTo>
                    <a:lnTo>
                      <a:pt x="1198" y="1480"/>
                    </a:lnTo>
                    <a:lnTo>
                      <a:pt x="1196" y="1480"/>
                    </a:lnTo>
                    <a:lnTo>
                      <a:pt x="1198" y="1481"/>
                    </a:lnTo>
                    <a:lnTo>
                      <a:pt x="1198" y="1483"/>
                    </a:lnTo>
                    <a:lnTo>
                      <a:pt x="1196" y="1483"/>
                    </a:lnTo>
                    <a:lnTo>
                      <a:pt x="1196" y="1481"/>
                    </a:lnTo>
                    <a:lnTo>
                      <a:pt x="1195" y="1481"/>
                    </a:lnTo>
                    <a:lnTo>
                      <a:pt x="1195" y="1480"/>
                    </a:lnTo>
                    <a:lnTo>
                      <a:pt x="1196" y="1481"/>
                    </a:lnTo>
                    <a:lnTo>
                      <a:pt x="1196" y="1483"/>
                    </a:lnTo>
                    <a:lnTo>
                      <a:pt x="1195" y="1481"/>
                    </a:lnTo>
                    <a:lnTo>
                      <a:pt x="1196" y="1483"/>
                    </a:lnTo>
                    <a:lnTo>
                      <a:pt x="1195" y="1485"/>
                    </a:lnTo>
                    <a:lnTo>
                      <a:pt x="1195" y="1483"/>
                    </a:lnTo>
                    <a:lnTo>
                      <a:pt x="1193" y="1485"/>
                    </a:lnTo>
                    <a:lnTo>
                      <a:pt x="1191" y="1485"/>
                    </a:lnTo>
                    <a:lnTo>
                      <a:pt x="1191" y="1483"/>
                    </a:lnTo>
                    <a:lnTo>
                      <a:pt x="1191" y="1485"/>
                    </a:lnTo>
                    <a:lnTo>
                      <a:pt x="1190" y="1485"/>
                    </a:lnTo>
                    <a:lnTo>
                      <a:pt x="1191" y="1483"/>
                    </a:lnTo>
                    <a:lnTo>
                      <a:pt x="1190" y="1481"/>
                    </a:lnTo>
                    <a:lnTo>
                      <a:pt x="1191" y="1481"/>
                    </a:lnTo>
                    <a:lnTo>
                      <a:pt x="1191" y="1480"/>
                    </a:lnTo>
                    <a:lnTo>
                      <a:pt x="1193" y="1480"/>
                    </a:lnTo>
                    <a:lnTo>
                      <a:pt x="1191" y="1480"/>
                    </a:lnTo>
                    <a:lnTo>
                      <a:pt x="1191" y="1481"/>
                    </a:lnTo>
                    <a:lnTo>
                      <a:pt x="1190" y="1481"/>
                    </a:lnTo>
                    <a:lnTo>
                      <a:pt x="1188" y="1481"/>
                    </a:lnTo>
                    <a:lnTo>
                      <a:pt x="1188" y="1483"/>
                    </a:lnTo>
                    <a:lnTo>
                      <a:pt x="1188" y="1481"/>
                    </a:lnTo>
                    <a:lnTo>
                      <a:pt x="1188" y="1480"/>
                    </a:lnTo>
                    <a:lnTo>
                      <a:pt x="1190" y="1480"/>
                    </a:lnTo>
                    <a:lnTo>
                      <a:pt x="1191" y="1480"/>
                    </a:lnTo>
                    <a:lnTo>
                      <a:pt x="1191" y="1478"/>
                    </a:lnTo>
                    <a:lnTo>
                      <a:pt x="1191" y="1480"/>
                    </a:lnTo>
                    <a:lnTo>
                      <a:pt x="1190" y="1478"/>
                    </a:lnTo>
                    <a:lnTo>
                      <a:pt x="1190" y="1476"/>
                    </a:lnTo>
                    <a:lnTo>
                      <a:pt x="1190" y="1475"/>
                    </a:lnTo>
                    <a:lnTo>
                      <a:pt x="1191" y="1475"/>
                    </a:lnTo>
                    <a:lnTo>
                      <a:pt x="1191" y="1476"/>
                    </a:lnTo>
                    <a:lnTo>
                      <a:pt x="1191" y="1475"/>
                    </a:lnTo>
                    <a:lnTo>
                      <a:pt x="1191" y="1473"/>
                    </a:lnTo>
                    <a:lnTo>
                      <a:pt x="1190" y="1475"/>
                    </a:lnTo>
                    <a:lnTo>
                      <a:pt x="1190" y="1473"/>
                    </a:lnTo>
                    <a:lnTo>
                      <a:pt x="1188" y="1473"/>
                    </a:lnTo>
                    <a:lnTo>
                      <a:pt x="1190" y="1473"/>
                    </a:lnTo>
                    <a:lnTo>
                      <a:pt x="1188" y="1473"/>
                    </a:lnTo>
                    <a:lnTo>
                      <a:pt x="1186" y="1473"/>
                    </a:lnTo>
                    <a:lnTo>
                      <a:pt x="1186" y="1475"/>
                    </a:lnTo>
                    <a:lnTo>
                      <a:pt x="1185" y="1473"/>
                    </a:lnTo>
                    <a:lnTo>
                      <a:pt x="1185" y="1471"/>
                    </a:lnTo>
                    <a:lnTo>
                      <a:pt x="1183" y="1473"/>
                    </a:lnTo>
                    <a:lnTo>
                      <a:pt x="1181" y="1473"/>
                    </a:lnTo>
                    <a:lnTo>
                      <a:pt x="1181" y="1471"/>
                    </a:lnTo>
                    <a:lnTo>
                      <a:pt x="1183" y="1470"/>
                    </a:lnTo>
                    <a:lnTo>
                      <a:pt x="1183" y="1471"/>
                    </a:lnTo>
                    <a:lnTo>
                      <a:pt x="1185" y="1471"/>
                    </a:lnTo>
                    <a:lnTo>
                      <a:pt x="1185" y="1473"/>
                    </a:lnTo>
                    <a:lnTo>
                      <a:pt x="1186" y="1473"/>
                    </a:lnTo>
                    <a:lnTo>
                      <a:pt x="1185" y="1473"/>
                    </a:lnTo>
                    <a:lnTo>
                      <a:pt x="1186" y="1473"/>
                    </a:lnTo>
                    <a:lnTo>
                      <a:pt x="1186" y="1471"/>
                    </a:lnTo>
                    <a:lnTo>
                      <a:pt x="1185" y="1471"/>
                    </a:lnTo>
                    <a:lnTo>
                      <a:pt x="1183" y="1471"/>
                    </a:lnTo>
                    <a:lnTo>
                      <a:pt x="1183" y="1470"/>
                    </a:lnTo>
                    <a:lnTo>
                      <a:pt x="1185" y="1470"/>
                    </a:lnTo>
                    <a:lnTo>
                      <a:pt x="1185" y="1468"/>
                    </a:lnTo>
                    <a:lnTo>
                      <a:pt x="1186" y="1468"/>
                    </a:lnTo>
                    <a:lnTo>
                      <a:pt x="1188" y="1468"/>
                    </a:lnTo>
                    <a:close/>
                    <a:moveTo>
                      <a:pt x="1195" y="1437"/>
                    </a:moveTo>
                    <a:lnTo>
                      <a:pt x="1195" y="1439"/>
                    </a:lnTo>
                    <a:lnTo>
                      <a:pt x="1193" y="1437"/>
                    </a:lnTo>
                    <a:lnTo>
                      <a:pt x="1195" y="1439"/>
                    </a:lnTo>
                    <a:lnTo>
                      <a:pt x="1195" y="1441"/>
                    </a:lnTo>
                    <a:lnTo>
                      <a:pt x="1196" y="1441"/>
                    </a:lnTo>
                    <a:lnTo>
                      <a:pt x="1195" y="1442"/>
                    </a:lnTo>
                    <a:lnTo>
                      <a:pt x="1196" y="1442"/>
                    </a:lnTo>
                    <a:lnTo>
                      <a:pt x="1196" y="1444"/>
                    </a:lnTo>
                    <a:lnTo>
                      <a:pt x="1196" y="1446"/>
                    </a:lnTo>
                    <a:lnTo>
                      <a:pt x="1195" y="1446"/>
                    </a:lnTo>
                    <a:lnTo>
                      <a:pt x="1196" y="1447"/>
                    </a:lnTo>
                    <a:lnTo>
                      <a:pt x="1198" y="1447"/>
                    </a:lnTo>
                    <a:lnTo>
                      <a:pt x="1198" y="1446"/>
                    </a:lnTo>
                    <a:lnTo>
                      <a:pt x="1198" y="1447"/>
                    </a:lnTo>
                    <a:lnTo>
                      <a:pt x="1198" y="1449"/>
                    </a:lnTo>
                    <a:lnTo>
                      <a:pt x="1200" y="1449"/>
                    </a:lnTo>
                    <a:lnTo>
                      <a:pt x="1198" y="1451"/>
                    </a:lnTo>
                    <a:lnTo>
                      <a:pt x="1200" y="1451"/>
                    </a:lnTo>
                    <a:lnTo>
                      <a:pt x="1202" y="1453"/>
                    </a:lnTo>
                    <a:lnTo>
                      <a:pt x="1203" y="1454"/>
                    </a:lnTo>
                    <a:lnTo>
                      <a:pt x="1203" y="1456"/>
                    </a:lnTo>
                    <a:lnTo>
                      <a:pt x="1203" y="1458"/>
                    </a:lnTo>
                    <a:lnTo>
                      <a:pt x="1205" y="1458"/>
                    </a:lnTo>
                    <a:lnTo>
                      <a:pt x="1205" y="1459"/>
                    </a:lnTo>
                    <a:lnTo>
                      <a:pt x="1207" y="1461"/>
                    </a:lnTo>
                    <a:lnTo>
                      <a:pt x="1207" y="1463"/>
                    </a:lnTo>
                    <a:lnTo>
                      <a:pt x="1205" y="1463"/>
                    </a:lnTo>
                    <a:lnTo>
                      <a:pt x="1203" y="1463"/>
                    </a:lnTo>
                    <a:lnTo>
                      <a:pt x="1203" y="1461"/>
                    </a:lnTo>
                    <a:lnTo>
                      <a:pt x="1202" y="1459"/>
                    </a:lnTo>
                    <a:lnTo>
                      <a:pt x="1202" y="1458"/>
                    </a:lnTo>
                    <a:lnTo>
                      <a:pt x="1203" y="1458"/>
                    </a:lnTo>
                    <a:lnTo>
                      <a:pt x="1202" y="1458"/>
                    </a:lnTo>
                    <a:lnTo>
                      <a:pt x="1200" y="1458"/>
                    </a:lnTo>
                    <a:lnTo>
                      <a:pt x="1202" y="1458"/>
                    </a:lnTo>
                    <a:lnTo>
                      <a:pt x="1200" y="1456"/>
                    </a:lnTo>
                    <a:lnTo>
                      <a:pt x="1202" y="1456"/>
                    </a:lnTo>
                    <a:lnTo>
                      <a:pt x="1200" y="1456"/>
                    </a:lnTo>
                    <a:lnTo>
                      <a:pt x="1198" y="1456"/>
                    </a:lnTo>
                    <a:lnTo>
                      <a:pt x="1198" y="1454"/>
                    </a:lnTo>
                    <a:lnTo>
                      <a:pt x="1198" y="1453"/>
                    </a:lnTo>
                    <a:lnTo>
                      <a:pt x="1196" y="1453"/>
                    </a:lnTo>
                    <a:lnTo>
                      <a:pt x="1198" y="1453"/>
                    </a:lnTo>
                    <a:lnTo>
                      <a:pt x="1198" y="1451"/>
                    </a:lnTo>
                    <a:lnTo>
                      <a:pt x="1198" y="1453"/>
                    </a:lnTo>
                    <a:lnTo>
                      <a:pt x="1196" y="1451"/>
                    </a:lnTo>
                    <a:lnTo>
                      <a:pt x="1195" y="1451"/>
                    </a:lnTo>
                    <a:lnTo>
                      <a:pt x="1195" y="1453"/>
                    </a:lnTo>
                    <a:lnTo>
                      <a:pt x="1195" y="1451"/>
                    </a:lnTo>
                    <a:lnTo>
                      <a:pt x="1196" y="1451"/>
                    </a:lnTo>
                    <a:lnTo>
                      <a:pt x="1195" y="1451"/>
                    </a:lnTo>
                    <a:lnTo>
                      <a:pt x="1193" y="1451"/>
                    </a:lnTo>
                    <a:lnTo>
                      <a:pt x="1193" y="1449"/>
                    </a:lnTo>
                    <a:lnTo>
                      <a:pt x="1191" y="1449"/>
                    </a:lnTo>
                    <a:lnTo>
                      <a:pt x="1191" y="1447"/>
                    </a:lnTo>
                    <a:lnTo>
                      <a:pt x="1190" y="1447"/>
                    </a:lnTo>
                    <a:lnTo>
                      <a:pt x="1188" y="1447"/>
                    </a:lnTo>
                    <a:lnTo>
                      <a:pt x="1190" y="1447"/>
                    </a:lnTo>
                    <a:lnTo>
                      <a:pt x="1190" y="1446"/>
                    </a:lnTo>
                    <a:lnTo>
                      <a:pt x="1188" y="1446"/>
                    </a:lnTo>
                    <a:lnTo>
                      <a:pt x="1188" y="1444"/>
                    </a:lnTo>
                    <a:lnTo>
                      <a:pt x="1190" y="1444"/>
                    </a:lnTo>
                    <a:lnTo>
                      <a:pt x="1191" y="1446"/>
                    </a:lnTo>
                    <a:lnTo>
                      <a:pt x="1191" y="1444"/>
                    </a:lnTo>
                    <a:lnTo>
                      <a:pt x="1190" y="1444"/>
                    </a:lnTo>
                    <a:lnTo>
                      <a:pt x="1191" y="1444"/>
                    </a:lnTo>
                    <a:lnTo>
                      <a:pt x="1190" y="1442"/>
                    </a:lnTo>
                    <a:lnTo>
                      <a:pt x="1191" y="1444"/>
                    </a:lnTo>
                    <a:lnTo>
                      <a:pt x="1193" y="1444"/>
                    </a:lnTo>
                    <a:lnTo>
                      <a:pt x="1191" y="1444"/>
                    </a:lnTo>
                    <a:lnTo>
                      <a:pt x="1191" y="1442"/>
                    </a:lnTo>
                    <a:lnTo>
                      <a:pt x="1193" y="1442"/>
                    </a:lnTo>
                    <a:lnTo>
                      <a:pt x="1191" y="1442"/>
                    </a:lnTo>
                    <a:lnTo>
                      <a:pt x="1191" y="1441"/>
                    </a:lnTo>
                    <a:lnTo>
                      <a:pt x="1191" y="1439"/>
                    </a:lnTo>
                    <a:lnTo>
                      <a:pt x="1193" y="1441"/>
                    </a:lnTo>
                    <a:lnTo>
                      <a:pt x="1191" y="1439"/>
                    </a:lnTo>
                    <a:lnTo>
                      <a:pt x="1193" y="1439"/>
                    </a:lnTo>
                    <a:lnTo>
                      <a:pt x="1193" y="1441"/>
                    </a:lnTo>
                    <a:lnTo>
                      <a:pt x="1195" y="1441"/>
                    </a:lnTo>
                    <a:lnTo>
                      <a:pt x="1193" y="1441"/>
                    </a:lnTo>
                    <a:lnTo>
                      <a:pt x="1195" y="1441"/>
                    </a:lnTo>
                    <a:lnTo>
                      <a:pt x="1193" y="1439"/>
                    </a:lnTo>
                    <a:lnTo>
                      <a:pt x="1193" y="1437"/>
                    </a:lnTo>
                    <a:lnTo>
                      <a:pt x="1195" y="1437"/>
                    </a:lnTo>
                    <a:lnTo>
                      <a:pt x="1195" y="1435"/>
                    </a:lnTo>
                    <a:lnTo>
                      <a:pt x="1195" y="1437"/>
                    </a:lnTo>
                    <a:close/>
                    <a:moveTo>
                      <a:pt x="1183" y="1126"/>
                    </a:moveTo>
                    <a:lnTo>
                      <a:pt x="1185" y="1126"/>
                    </a:lnTo>
                    <a:lnTo>
                      <a:pt x="1183" y="1126"/>
                    </a:lnTo>
                    <a:lnTo>
                      <a:pt x="1185" y="1126"/>
                    </a:lnTo>
                    <a:lnTo>
                      <a:pt x="1186" y="1126"/>
                    </a:lnTo>
                    <a:lnTo>
                      <a:pt x="1186" y="1128"/>
                    </a:lnTo>
                    <a:lnTo>
                      <a:pt x="1188" y="1128"/>
                    </a:lnTo>
                    <a:lnTo>
                      <a:pt x="1186" y="1129"/>
                    </a:lnTo>
                    <a:lnTo>
                      <a:pt x="1185" y="1129"/>
                    </a:lnTo>
                    <a:lnTo>
                      <a:pt x="1186" y="1129"/>
                    </a:lnTo>
                    <a:lnTo>
                      <a:pt x="1188" y="1128"/>
                    </a:lnTo>
                    <a:lnTo>
                      <a:pt x="1188" y="1129"/>
                    </a:lnTo>
                    <a:lnTo>
                      <a:pt x="1190" y="1131"/>
                    </a:lnTo>
                    <a:lnTo>
                      <a:pt x="1188" y="1131"/>
                    </a:lnTo>
                    <a:lnTo>
                      <a:pt x="1186" y="1131"/>
                    </a:lnTo>
                    <a:lnTo>
                      <a:pt x="1188" y="1131"/>
                    </a:lnTo>
                    <a:lnTo>
                      <a:pt x="1186" y="1131"/>
                    </a:lnTo>
                    <a:lnTo>
                      <a:pt x="1185" y="1131"/>
                    </a:lnTo>
                    <a:lnTo>
                      <a:pt x="1186" y="1131"/>
                    </a:lnTo>
                    <a:lnTo>
                      <a:pt x="1186" y="1133"/>
                    </a:lnTo>
                    <a:lnTo>
                      <a:pt x="1188" y="1131"/>
                    </a:lnTo>
                    <a:lnTo>
                      <a:pt x="1190" y="1131"/>
                    </a:lnTo>
                    <a:lnTo>
                      <a:pt x="1190" y="1133"/>
                    </a:lnTo>
                    <a:lnTo>
                      <a:pt x="1190" y="1134"/>
                    </a:lnTo>
                    <a:lnTo>
                      <a:pt x="1190" y="1136"/>
                    </a:lnTo>
                    <a:lnTo>
                      <a:pt x="1190" y="1138"/>
                    </a:lnTo>
                    <a:lnTo>
                      <a:pt x="1188" y="1138"/>
                    </a:lnTo>
                    <a:lnTo>
                      <a:pt x="1186" y="1138"/>
                    </a:lnTo>
                    <a:lnTo>
                      <a:pt x="1185" y="1138"/>
                    </a:lnTo>
                    <a:lnTo>
                      <a:pt x="1185" y="1136"/>
                    </a:lnTo>
                    <a:lnTo>
                      <a:pt x="1185" y="1138"/>
                    </a:lnTo>
                    <a:lnTo>
                      <a:pt x="1186" y="1138"/>
                    </a:lnTo>
                    <a:lnTo>
                      <a:pt x="1185" y="1138"/>
                    </a:lnTo>
                    <a:lnTo>
                      <a:pt x="1183" y="1138"/>
                    </a:lnTo>
                    <a:lnTo>
                      <a:pt x="1181" y="1138"/>
                    </a:lnTo>
                    <a:lnTo>
                      <a:pt x="1183" y="1138"/>
                    </a:lnTo>
                    <a:lnTo>
                      <a:pt x="1185" y="1138"/>
                    </a:lnTo>
                    <a:lnTo>
                      <a:pt x="1186" y="1138"/>
                    </a:lnTo>
                    <a:lnTo>
                      <a:pt x="1186" y="1140"/>
                    </a:lnTo>
                    <a:lnTo>
                      <a:pt x="1185" y="1140"/>
                    </a:lnTo>
                    <a:lnTo>
                      <a:pt x="1183" y="1140"/>
                    </a:lnTo>
                    <a:lnTo>
                      <a:pt x="1185" y="1140"/>
                    </a:lnTo>
                    <a:lnTo>
                      <a:pt x="1185" y="1141"/>
                    </a:lnTo>
                    <a:lnTo>
                      <a:pt x="1183" y="1141"/>
                    </a:lnTo>
                    <a:lnTo>
                      <a:pt x="1181" y="1141"/>
                    </a:lnTo>
                    <a:lnTo>
                      <a:pt x="1179" y="1140"/>
                    </a:lnTo>
                    <a:lnTo>
                      <a:pt x="1181" y="1140"/>
                    </a:lnTo>
                    <a:lnTo>
                      <a:pt x="1181" y="1138"/>
                    </a:lnTo>
                    <a:lnTo>
                      <a:pt x="1181" y="1136"/>
                    </a:lnTo>
                    <a:lnTo>
                      <a:pt x="1181" y="1134"/>
                    </a:lnTo>
                    <a:lnTo>
                      <a:pt x="1179" y="1134"/>
                    </a:lnTo>
                    <a:lnTo>
                      <a:pt x="1179" y="1133"/>
                    </a:lnTo>
                    <a:lnTo>
                      <a:pt x="1181" y="1133"/>
                    </a:lnTo>
                    <a:lnTo>
                      <a:pt x="1179" y="1134"/>
                    </a:lnTo>
                    <a:lnTo>
                      <a:pt x="1181" y="1133"/>
                    </a:lnTo>
                    <a:lnTo>
                      <a:pt x="1181" y="1134"/>
                    </a:lnTo>
                    <a:lnTo>
                      <a:pt x="1183" y="1133"/>
                    </a:lnTo>
                    <a:lnTo>
                      <a:pt x="1181" y="1133"/>
                    </a:lnTo>
                    <a:lnTo>
                      <a:pt x="1181" y="1131"/>
                    </a:lnTo>
                    <a:lnTo>
                      <a:pt x="1181" y="1129"/>
                    </a:lnTo>
                    <a:lnTo>
                      <a:pt x="1181" y="1128"/>
                    </a:lnTo>
                    <a:lnTo>
                      <a:pt x="1183" y="1128"/>
                    </a:lnTo>
                    <a:lnTo>
                      <a:pt x="1183" y="1126"/>
                    </a:lnTo>
                    <a:close/>
                    <a:moveTo>
                      <a:pt x="1162" y="1305"/>
                    </a:moveTo>
                    <a:lnTo>
                      <a:pt x="1162" y="1303"/>
                    </a:lnTo>
                    <a:lnTo>
                      <a:pt x="1162" y="1305"/>
                    </a:lnTo>
                    <a:lnTo>
                      <a:pt x="1164" y="1305"/>
                    </a:lnTo>
                    <a:lnTo>
                      <a:pt x="1164" y="1306"/>
                    </a:lnTo>
                    <a:lnTo>
                      <a:pt x="1164" y="1305"/>
                    </a:lnTo>
                    <a:lnTo>
                      <a:pt x="1164" y="1303"/>
                    </a:lnTo>
                    <a:lnTo>
                      <a:pt x="1166" y="1303"/>
                    </a:lnTo>
                    <a:lnTo>
                      <a:pt x="1168" y="1305"/>
                    </a:lnTo>
                    <a:lnTo>
                      <a:pt x="1168" y="1306"/>
                    </a:lnTo>
                    <a:lnTo>
                      <a:pt x="1169" y="1308"/>
                    </a:lnTo>
                    <a:lnTo>
                      <a:pt x="1168" y="1308"/>
                    </a:lnTo>
                    <a:lnTo>
                      <a:pt x="1168" y="1310"/>
                    </a:lnTo>
                    <a:lnTo>
                      <a:pt x="1168" y="1308"/>
                    </a:lnTo>
                    <a:lnTo>
                      <a:pt x="1168" y="1310"/>
                    </a:lnTo>
                    <a:lnTo>
                      <a:pt x="1168" y="1311"/>
                    </a:lnTo>
                    <a:lnTo>
                      <a:pt x="1168" y="1313"/>
                    </a:lnTo>
                    <a:lnTo>
                      <a:pt x="1168" y="1315"/>
                    </a:lnTo>
                    <a:lnTo>
                      <a:pt x="1168" y="1316"/>
                    </a:lnTo>
                    <a:lnTo>
                      <a:pt x="1166" y="1316"/>
                    </a:lnTo>
                    <a:lnTo>
                      <a:pt x="1164" y="1315"/>
                    </a:lnTo>
                    <a:lnTo>
                      <a:pt x="1166" y="1315"/>
                    </a:lnTo>
                    <a:lnTo>
                      <a:pt x="1164" y="1315"/>
                    </a:lnTo>
                    <a:lnTo>
                      <a:pt x="1164" y="1313"/>
                    </a:lnTo>
                    <a:lnTo>
                      <a:pt x="1162" y="1313"/>
                    </a:lnTo>
                    <a:lnTo>
                      <a:pt x="1162" y="1311"/>
                    </a:lnTo>
                    <a:lnTo>
                      <a:pt x="1161" y="1311"/>
                    </a:lnTo>
                    <a:lnTo>
                      <a:pt x="1161" y="1310"/>
                    </a:lnTo>
                    <a:lnTo>
                      <a:pt x="1159" y="1310"/>
                    </a:lnTo>
                    <a:lnTo>
                      <a:pt x="1157" y="1310"/>
                    </a:lnTo>
                    <a:lnTo>
                      <a:pt x="1156" y="1310"/>
                    </a:lnTo>
                    <a:lnTo>
                      <a:pt x="1157" y="1310"/>
                    </a:lnTo>
                    <a:lnTo>
                      <a:pt x="1157" y="1308"/>
                    </a:lnTo>
                    <a:lnTo>
                      <a:pt x="1159" y="1308"/>
                    </a:lnTo>
                    <a:lnTo>
                      <a:pt x="1161" y="1308"/>
                    </a:lnTo>
                    <a:lnTo>
                      <a:pt x="1159" y="1308"/>
                    </a:lnTo>
                    <a:lnTo>
                      <a:pt x="1159" y="1306"/>
                    </a:lnTo>
                    <a:lnTo>
                      <a:pt x="1157" y="1308"/>
                    </a:lnTo>
                    <a:lnTo>
                      <a:pt x="1156" y="1310"/>
                    </a:lnTo>
                    <a:lnTo>
                      <a:pt x="1156" y="1308"/>
                    </a:lnTo>
                    <a:lnTo>
                      <a:pt x="1156" y="1306"/>
                    </a:lnTo>
                    <a:lnTo>
                      <a:pt x="1157" y="1306"/>
                    </a:lnTo>
                    <a:lnTo>
                      <a:pt x="1157" y="1305"/>
                    </a:lnTo>
                    <a:lnTo>
                      <a:pt x="1159" y="1305"/>
                    </a:lnTo>
                    <a:lnTo>
                      <a:pt x="1159" y="1303"/>
                    </a:lnTo>
                    <a:lnTo>
                      <a:pt x="1159" y="1305"/>
                    </a:lnTo>
                    <a:lnTo>
                      <a:pt x="1159" y="1303"/>
                    </a:lnTo>
                    <a:lnTo>
                      <a:pt x="1161" y="1303"/>
                    </a:lnTo>
                    <a:lnTo>
                      <a:pt x="1161" y="1305"/>
                    </a:lnTo>
                    <a:lnTo>
                      <a:pt x="1161" y="1303"/>
                    </a:lnTo>
                    <a:lnTo>
                      <a:pt x="1159" y="1303"/>
                    </a:lnTo>
                    <a:lnTo>
                      <a:pt x="1159" y="1301"/>
                    </a:lnTo>
                    <a:lnTo>
                      <a:pt x="1161" y="1301"/>
                    </a:lnTo>
                    <a:lnTo>
                      <a:pt x="1161" y="1303"/>
                    </a:lnTo>
                    <a:lnTo>
                      <a:pt x="1162" y="1303"/>
                    </a:lnTo>
                    <a:lnTo>
                      <a:pt x="1162" y="1305"/>
                    </a:lnTo>
                    <a:close/>
                    <a:moveTo>
                      <a:pt x="1208" y="1126"/>
                    </a:moveTo>
                    <a:lnTo>
                      <a:pt x="1210" y="1126"/>
                    </a:lnTo>
                    <a:lnTo>
                      <a:pt x="1212" y="1126"/>
                    </a:lnTo>
                    <a:lnTo>
                      <a:pt x="1212" y="1128"/>
                    </a:lnTo>
                    <a:lnTo>
                      <a:pt x="1212" y="1129"/>
                    </a:lnTo>
                    <a:lnTo>
                      <a:pt x="1210" y="1129"/>
                    </a:lnTo>
                    <a:lnTo>
                      <a:pt x="1210" y="1128"/>
                    </a:lnTo>
                    <a:lnTo>
                      <a:pt x="1208" y="1128"/>
                    </a:lnTo>
                    <a:lnTo>
                      <a:pt x="1210" y="1129"/>
                    </a:lnTo>
                    <a:lnTo>
                      <a:pt x="1208" y="1129"/>
                    </a:lnTo>
                    <a:lnTo>
                      <a:pt x="1210" y="1129"/>
                    </a:lnTo>
                    <a:lnTo>
                      <a:pt x="1212" y="1129"/>
                    </a:lnTo>
                    <a:lnTo>
                      <a:pt x="1210" y="1131"/>
                    </a:lnTo>
                    <a:lnTo>
                      <a:pt x="1210" y="1133"/>
                    </a:lnTo>
                    <a:lnTo>
                      <a:pt x="1210" y="1134"/>
                    </a:lnTo>
                    <a:lnTo>
                      <a:pt x="1212" y="1134"/>
                    </a:lnTo>
                    <a:lnTo>
                      <a:pt x="1212" y="1136"/>
                    </a:lnTo>
                    <a:lnTo>
                      <a:pt x="1210" y="1134"/>
                    </a:lnTo>
                    <a:lnTo>
                      <a:pt x="1208" y="1134"/>
                    </a:lnTo>
                    <a:lnTo>
                      <a:pt x="1207" y="1133"/>
                    </a:lnTo>
                    <a:lnTo>
                      <a:pt x="1208" y="1134"/>
                    </a:lnTo>
                    <a:lnTo>
                      <a:pt x="1208" y="1136"/>
                    </a:lnTo>
                    <a:lnTo>
                      <a:pt x="1210" y="1136"/>
                    </a:lnTo>
                    <a:lnTo>
                      <a:pt x="1210" y="1138"/>
                    </a:lnTo>
                    <a:lnTo>
                      <a:pt x="1210" y="1140"/>
                    </a:lnTo>
                    <a:lnTo>
                      <a:pt x="1208" y="1141"/>
                    </a:lnTo>
                    <a:lnTo>
                      <a:pt x="1208" y="1140"/>
                    </a:lnTo>
                    <a:lnTo>
                      <a:pt x="1207" y="1140"/>
                    </a:lnTo>
                    <a:lnTo>
                      <a:pt x="1207" y="1138"/>
                    </a:lnTo>
                    <a:lnTo>
                      <a:pt x="1205" y="1138"/>
                    </a:lnTo>
                    <a:lnTo>
                      <a:pt x="1205" y="1136"/>
                    </a:lnTo>
                    <a:lnTo>
                      <a:pt x="1203" y="1138"/>
                    </a:lnTo>
                    <a:lnTo>
                      <a:pt x="1203" y="1136"/>
                    </a:lnTo>
                    <a:lnTo>
                      <a:pt x="1203" y="1134"/>
                    </a:lnTo>
                    <a:lnTo>
                      <a:pt x="1203" y="1133"/>
                    </a:lnTo>
                    <a:lnTo>
                      <a:pt x="1205" y="1131"/>
                    </a:lnTo>
                    <a:lnTo>
                      <a:pt x="1205" y="1129"/>
                    </a:lnTo>
                    <a:lnTo>
                      <a:pt x="1205" y="1128"/>
                    </a:lnTo>
                    <a:lnTo>
                      <a:pt x="1207" y="1126"/>
                    </a:lnTo>
                    <a:lnTo>
                      <a:pt x="1207" y="1124"/>
                    </a:lnTo>
                    <a:lnTo>
                      <a:pt x="1207" y="1126"/>
                    </a:lnTo>
                    <a:lnTo>
                      <a:pt x="1208" y="1126"/>
                    </a:lnTo>
                    <a:close/>
                    <a:moveTo>
                      <a:pt x="1162" y="1245"/>
                    </a:moveTo>
                    <a:lnTo>
                      <a:pt x="1164" y="1245"/>
                    </a:lnTo>
                    <a:lnTo>
                      <a:pt x="1164" y="1247"/>
                    </a:lnTo>
                    <a:lnTo>
                      <a:pt x="1164" y="1248"/>
                    </a:lnTo>
                    <a:lnTo>
                      <a:pt x="1162" y="1248"/>
                    </a:lnTo>
                    <a:lnTo>
                      <a:pt x="1164" y="1248"/>
                    </a:lnTo>
                    <a:lnTo>
                      <a:pt x="1164" y="1250"/>
                    </a:lnTo>
                    <a:lnTo>
                      <a:pt x="1166" y="1250"/>
                    </a:lnTo>
                    <a:lnTo>
                      <a:pt x="1164" y="1250"/>
                    </a:lnTo>
                    <a:lnTo>
                      <a:pt x="1166" y="1250"/>
                    </a:lnTo>
                    <a:lnTo>
                      <a:pt x="1168" y="1252"/>
                    </a:lnTo>
                    <a:lnTo>
                      <a:pt x="1169" y="1252"/>
                    </a:lnTo>
                    <a:lnTo>
                      <a:pt x="1171" y="1253"/>
                    </a:lnTo>
                    <a:lnTo>
                      <a:pt x="1169" y="1255"/>
                    </a:lnTo>
                    <a:lnTo>
                      <a:pt x="1171" y="1253"/>
                    </a:lnTo>
                    <a:lnTo>
                      <a:pt x="1171" y="1255"/>
                    </a:lnTo>
                    <a:lnTo>
                      <a:pt x="1171" y="1257"/>
                    </a:lnTo>
                    <a:lnTo>
                      <a:pt x="1171" y="1255"/>
                    </a:lnTo>
                    <a:lnTo>
                      <a:pt x="1169" y="1255"/>
                    </a:lnTo>
                    <a:lnTo>
                      <a:pt x="1168" y="1255"/>
                    </a:lnTo>
                    <a:lnTo>
                      <a:pt x="1166" y="1255"/>
                    </a:lnTo>
                    <a:lnTo>
                      <a:pt x="1164" y="1253"/>
                    </a:lnTo>
                    <a:lnTo>
                      <a:pt x="1162" y="1253"/>
                    </a:lnTo>
                    <a:lnTo>
                      <a:pt x="1161" y="1253"/>
                    </a:lnTo>
                    <a:lnTo>
                      <a:pt x="1162" y="1253"/>
                    </a:lnTo>
                    <a:lnTo>
                      <a:pt x="1164" y="1253"/>
                    </a:lnTo>
                    <a:lnTo>
                      <a:pt x="1164" y="1255"/>
                    </a:lnTo>
                    <a:lnTo>
                      <a:pt x="1166" y="1255"/>
                    </a:lnTo>
                    <a:lnTo>
                      <a:pt x="1166" y="1257"/>
                    </a:lnTo>
                    <a:lnTo>
                      <a:pt x="1166" y="1255"/>
                    </a:lnTo>
                    <a:lnTo>
                      <a:pt x="1168" y="1257"/>
                    </a:lnTo>
                    <a:lnTo>
                      <a:pt x="1169" y="1257"/>
                    </a:lnTo>
                    <a:lnTo>
                      <a:pt x="1169" y="1259"/>
                    </a:lnTo>
                    <a:lnTo>
                      <a:pt x="1168" y="1260"/>
                    </a:lnTo>
                    <a:lnTo>
                      <a:pt x="1168" y="1259"/>
                    </a:lnTo>
                    <a:lnTo>
                      <a:pt x="1168" y="1257"/>
                    </a:lnTo>
                    <a:lnTo>
                      <a:pt x="1166" y="1257"/>
                    </a:lnTo>
                    <a:lnTo>
                      <a:pt x="1164" y="1257"/>
                    </a:lnTo>
                    <a:lnTo>
                      <a:pt x="1164" y="1255"/>
                    </a:lnTo>
                    <a:lnTo>
                      <a:pt x="1162" y="1255"/>
                    </a:lnTo>
                    <a:lnTo>
                      <a:pt x="1161" y="1255"/>
                    </a:lnTo>
                    <a:lnTo>
                      <a:pt x="1159" y="1255"/>
                    </a:lnTo>
                    <a:lnTo>
                      <a:pt x="1159" y="1253"/>
                    </a:lnTo>
                    <a:lnTo>
                      <a:pt x="1159" y="1255"/>
                    </a:lnTo>
                    <a:lnTo>
                      <a:pt x="1159" y="1253"/>
                    </a:lnTo>
                    <a:lnTo>
                      <a:pt x="1161" y="1253"/>
                    </a:lnTo>
                    <a:lnTo>
                      <a:pt x="1159" y="1253"/>
                    </a:lnTo>
                    <a:lnTo>
                      <a:pt x="1161" y="1253"/>
                    </a:lnTo>
                    <a:lnTo>
                      <a:pt x="1161" y="1252"/>
                    </a:lnTo>
                    <a:lnTo>
                      <a:pt x="1159" y="1252"/>
                    </a:lnTo>
                    <a:lnTo>
                      <a:pt x="1161" y="1252"/>
                    </a:lnTo>
                    <a:lnTo>
                      <a:pt x="1162" y="1252"/>
                    </a:lnTo>
                    <a:lnTo>
                      <a:pt x="1161" y="1252"/>
                    </a:lnTo>
                    <a:lnTo>
                      <a:pt x="1162" y="1250"/>
                    </a:lnTo>
                    <a:lnTo>
                      <a:pt x="1162" y="1252"/>
                    </a:lnTo>
                    <a:lnTo>
                      <a:pt x="1164" y="1252"/>
                    </a:lnTo>
                    <a:lnTo>
                      <a:pt x="1164" y="1250"/>
                    </a:lnTo>
                    <a:lnTo>
                      <a:pt x="1162" y="1250"/>
                    </a:lnTo>
                    <a:lnTo>
                      <a:pt x="1161" y="1250"/>
                    </a:lnTo>
                    <a:lnTo>
                      <a:pt x="1159" y="1250"/>
                    </a:lnTo>
                    <a:lnTo>
                      <a:pt x="1161" y="1252"/>
                    </a:lnTo>
                    <a:lnTo>
                      <a:pt x="1159" y="1252"/>
                    </a:lnTo>
                    <a:lnTo>
                      <a:pt x="1157" y="1252"/>
                    </a:lnTo>
                    <a:lnTo>
                      <a:pt x="1156" y="1252"/>
                    </a:lnTo>
                    <a:lnTo>
                      <a:pt x="1156" y="1253"/>
                    </a:lnTo>
                    <a:lnTo>
                      <a:pt x="1156" y="1252"/>
                    </a:lnTo>
                    <a:lnTo>
                      <a:pt x="1157" y="1250"/>
                    </a:lnTo>
                    <a:lnTo>
                      <a:pt x="1159" y="1250"/>
                    </a:lnTo>
                    <a:lnTo>
                      <a:pt x="1159" y="1248"/>
                    </a:lnTo>
                    <a:lnTo>
                      <a:pt x="1157" y="1250"/>
                    </a:lnTo>
                    <a:lnTo>
                      <a:pt x="1159" y="1250"/>
                    </a:lnTo>
                    <a:lnTo>
                      <a:pt x="1157" y="1250"/>
                    </a:lnTo>
                    <a:lnTo>
                      <a:pt x="1156" y="1250"/>
                    </a:lnTo>
                    <a:lnTo>
                      <a:pt x="1157" y="1250"/>
                    </a:lnTo>
                    <a:lnTo>
                      <a:pt x="1157" y="1248"/>
                    </a:lnTo>
                    <a:lnTo>
                      <a:pt x="1159" y="1248"/>
                    </a:lnTo>
                    <a:lnTo>
                      <a:pt x="1157" y="1248"/>
                    </a:lnTo>
                    <a:lnTo>
                      <a:pt x="1159" y="1248"/>
                    </a:lnTo>
                    <a:lnTo>
                      <a:pt x="1161" y="1248"/>
                    </a:lnTo>
                    <a:lnTo>
                      <a:pt x="1161" y="1247"/>
                    </a:lnTo>
                    <a:lnTo>
                      <a:pt x="1162" y="1247"/>
                    </a:lnTo>
                    <a:lnTo>
                      <a:pt x="1162" y="1245"/>
                    </a:lnTo>
                    <a:close/>
                    <a:moveTo>
                      <a:pt x="1159" y="1420"/>
                    </a:moveTo>
                    <a:lnTo>
                      <a:pt x="1159" y="1422"/>
                    </a:lnTo>
                    <a:lnTo>
                      <a:pt x="1159" y="1424"/>
                    </a:lnTo>
                    <a:lnTo>
                      <a:pt x="1159" y="1425"/>
                    </a:lnTo>
                    <a:lnTo>
                      <a:pt x="1157" y="1425"/>
                    </a:lnTo>
                    <a:lnTo>
                      <a:pt x="1159" y="1427"/>
                    </a:lnTo>
                    <a:lnTo>
                      <a:pt x="1157" y="1427"/>
                    </a:lnTo>
                    <a:lnTo>
                      <a:pt x="1157" y="1429"/>
                    </a:lnTo>
                    <a:lnTo>
                      <a:pt x="1159" y="1429"/>
                    </a:lnTo>
                    <a:lnTo>
                      <a:pt x="1157" y="1427"/>
                    </a:lnTo>
                    <a:lnTo>
                      <a:pt x="1159" y="1425"/>
                    </a:lnTo>
                    <a:lnTo>
                      <a:pt x="1159" y="1424"/>
                    </a:lnTo>
                    <a:lnTo>
                      <a:pt x="1161" y="1424"/>
                    </a:lnTo>
                    <a:lnTo>
                      <a:pt x="1161" y="1425"/>
                    </a:lnTo>
                    <a:lnTo>
                      <a:pt x="1162" y="1425"/>
                    </a:lnTo>
                    <a:lnTo>
                      <a:pt x="1162" y="1427"/>
                    </a:lnTo>
                    <a:lnTo>
                      <a:pt x="1162" y="1429"/>
                    </a:lnTo>
                    <a:lnTo>
                      <a:pt x="1162" y="1427"/>
                    </a:lnTo>
                    <a:lnTo>
                      <a:pt x="1161" y="1427"/>
                    </a:lnTo>
                    <a:lnTo>
                      <a:pt x="1162" y="1429"/>
                    </a:lnTo>
                    <a:lnTo>
                      <a:pt x="1162" y="1430"/>
                    </a:lnTo>
                    <a:lnTo>
                      <a:pt x="1161" y="1429"/>
                    </a:lnTo>
                    <a:lnTo>
                      <a:pt x="1161" y="1427"/>
                    </a:lnTo>
                    <a:lnTo>
                      <a:pt x="1161" y="1429"/>
                    </a:lnTo>
                    <a:lnTo>
                      <a:pt x="1161" y="1430"/>
                    </a:lnTo>
                    <a:lnTo>
                      <a:pt x="1161" y="1429"/>
                    </a:lnTo>
                    <a:lnTo>
                      <a:pt x="1161" y="1430"/>
                    </a:lnTo>
                    <a:lnTo>
                      <a:pt x="1159" y="1432"/>
                    </a:lnTo>
                    <a:lnTo>
                      <a:pt x="1159" y="1430"/>
                    </a:lnTo>
                    <a:lnTo>
                      <a:pt x="1159" y="1432"/>
                    </a:lnTo>
                    <a:lnTo>
                      <a:pt x="1159" y="1434"/>
                    </a:lnTo>
                    <a:lnTo>
                      <a:pt x="1159" y="1432"/>
                    </a:lnTo>
                    <a:lnTo>
                      <a:pt x="1157" y="1432"/>
                    </a:lnTo>
                    <a:lnTo>
                      <a:pt x="1159" y="1430"/>
                    </a:lnTo>
                    <a:lnTo>
                      <a:pt x="1157" y="1430"/>
                    </a:lnTo>
                    <a:lnTo>
                      <a:pt x="1157" y="1432"/>
                    </a:lnTo>
                    <a:lnTo>
                      <a:pt x="1157" y="1434"/>
                    </a:lnTo>
                    <a:lnTo>
                      <a:pt x="1157" y="1435"/>
                    </a:lnTo>
                    <a:lnTo>
                      <a:pt x="1157" y="1437"/>
                    </a:lnTo>
                    <a:lnTo>
                      <a:pt x="1157" y="1439"/>
                    </a:lnTo>
                    <a:lnTo>
                      <a:pt x="1157" y="1441"/>
                    </a:lnTo>
                    <a:lnTo>
                      <a:pt x="1156" y="1439"/>
                    </a:lnTo>
                    <a:lnTo>
                      <a:pt x="1156" y="1437"/>
                    </a:lnTo>
                    <a:lnTo>
                      <a:pt x="1156" y="1439"/>
                    </a:lnTo>
                    <a:lnTo>
                      <a:pt x="1156" y="1441"/>
                    </a:lnTo>
                    <a:lnTo>
                      <a:pt x="1156" y="1442"/>
                    </a:lnTo>
                    <a:lnTo>
                      <a:pt x="1154" y="1441"/>
                    </a:lnTo>
                    <a:lnTo>
                      <a:pt x="1152" y="1442"/>
                    </a:lnTo>
                    <a:lnTo>
                      <a:pt x="1152" y="1441"/>
                    </a:lnTo>
                    <a:lnTo>
                      <a:pt x="1151" y="1441"/>
                    </a:lnTo>
                    <a:lnTo>
                      <a:pt x="1151" y="1439"/>
                    </a:lnTo>
                    <a:lnTo>
                      <a:pt x="1152" y="1439"/>
                    </a:lnTo>
                    <a:lnTo>
                      <a:pt x="1152" y="1437"/>
                    </a:lnTo>
                    <a:lnTo>
                      <a:pt x="1151" y="1437"/>
                    </a:lnTo>
                    <a:lnTo>
                      <a:pt x="1152" y="1435"/>
                    </a:lnTo>
                    <a:lnTo>
                      <a:pt x="1152" y="1437"/>
                    </a:lnTo>
                    <a:lnTo>
                      <a:pt x="1152" y="1435"/>
                    </a:lnTo>
                    <a:lnTo>
                      <a:pt x="1154" y="1435"/>
                    </a:lnTo>
                    <a:lnTo>
                      <a:pt x="1154" y="1434"/>
                    </a:lnTo>
                    <a:lnTo>
                      <a:pt x="1154" y="1435"/>
                    </a:lnTo>
                    <a:lnTo>
                      <a:pt x="1156" y="1434"/>
                    </a:lnTo>
                    <a:lnTo>
                      <a:pt x="1156" y="1432"/>
                    </a:lnTo>
                    <a:lnTo>
                      <a:pt x="1154" y="1432"/>
                    </a:lnTo>
                    <a:lnTo>
                      <a:pt x="1156" y="1430"/>
                    </a:lnTo>
                    <a:lnTo>
                      <a:pt x="1156" y="1429"/>
                    </a:lnTo>
                    <a:lnTo>
                      <a:pt x="1157" y="1429"/>
                    </a:lnTo>
                    <a:lnTo>
                      <a:pt x="1157" y="1427"/>
                    </a:lnTo>
                    <a:lnTo>
                      <a:pt x="1156" y="1427"/>
                    </a:lnTo>
                    <a:lnTo>
                      <a:pt x="1156" y="1425"/>
                    </a:lnTo>
                    <a:lnTo>
                      <a:pt x="1156" y="1424"/>
                    </a:lnTo>
                    <a:lnTo>
                      <a:pt x="1157" y="1424"/>
                    </a:lnTo>
                    <a:lnTo>
                      <a:pt x="1157" y="1422"/>
                    </a:lnTo>
                    <a:lnTo>
                      <a:pt x="1159" y="1420"/>
                    </a:lnTo>
                    <a:close/>
                    <a:moveTo>
                      <a:pt x="1154" y="1303"/>
                    </a:moveTo>
                    <a:lnTo>
                      <a:pt x="1152" y="1303"/>
                    </a:lnTo>
                    <a:lnTo>
                      <a:pt x="1151" y="1303"/>
                    </a:lnTo>
                    <a:lnTo>
                      <a:pt x="1152" y="1305"/>
                    </a:lnTo>
                    <a:lnTo>
                      <a:pt x="1152" y="1303"/>
                    </a:lnTo>
                    <a:lnTo>
                      <a:pt x="1154" y="1303"/>
                    </a:lnTo>
                    <a:lnTo>
                      <a:pt x="1154" y="1305"/>
                    </a:lnTo>
                    <a:lnTo>
                      <a:pt x="1154" y="1306"/>
                    </a:lnTo>
                    <a:lnTo>
                      <a:pt x="1154" y="1308"/>
                    </a:lnTo>
                    <a:lnTo>
                      <a:pt x="1152" y="1308"/>
                    </a:lnTo>
                    <a:lnTo>
                      <a:pt x="1152" y="1310"/>
                    </a:lnTo>
                    <a:lnTo>
                      <a:pt x="1152" y="1308"/>
                    </a:lnTo>
                    <a:lnTo>
                      <a:pt x="1151" y="1308"/>
                    </a:lnTo>
                    <a:lnTo>
                      <a:pt x="1151" y="1310"/>
                    </a:lnTo>
                    <a:lnTo>
                      <a:pt x="1151" y="1311"/>
                    </a:lnTo>
                    <a:lnTo>
                      <a:pt x="1149" y="1311"/>
                    </a:lnTo>
                    <a:lnTo>
                      <a:pt x="1151" y="1310"/>
                    </a:lnTo>
                    <a:lnTo>
                      <a:pt x="1149" y="1310"/>
                    </a:lnTo>
                    <a:lnTo>
                      <a:pt x="1151" y="1308"/>
                    </a:lnTo>
                    <a:lnTo>
                      <a:pt x="1149" y="1310"/>
                    </a:lnTo>
                    <a:lnTo>
                      <a:pt x="1149" y="1311"/>
                    </a:lnTo>
                    <a:lnTo>
                      <a:pt x="1149" y="1310"/>
                    </a:lnTo>
                    <a:lnTo>
                      <a:pt x="1149" y="1311"/>
                    </a:lnTo>
                    <a:lnTo>
                      <a:pt x="1147" y="1310"/>
                    </a:lnTo>
                    <a:lnTo>
                      <a:pt x="1149" y="1311"/>
                    </a:lnTo>
                    <a:lnTo>
                      <a:pt x="1147" y="1311"/>
                    </a:lnTo>
                    <a:lnTo>
                      <a:pt x="1147" y="1313"/>
                    </a:lnTo>
                    <a:lnTo>
                      <a:pt x="1149" y="1313"/>
                    </a:lnTo>
                    <a:lnTo>
                      <a:pt x="1147" y="1315"/>
                    </a:lnTo>
                    <a:lnTo>
                      <a:pt x="1145" y="1315"/>
                    </a:lnTo>
                    <a:lnTo>
                      <a:pt x="1144" y="1315"/>
                    </a:lnTo>
                    <a:lnTo>
                      <a:pt x="1144" y="1313"/>
                    </a:lnTo>
                    <a:lnTo>
                      <a:pt x="1142" y="1315"/>
                    </a:lnTo>
                    <a:lnTo>
                      <a:pt x="1142" y="1313"/>
                    </a:lnTo>
                    <a:lnTo>
                      <a:pt x="1142" y="1311"/>
                    </a:lnTo>
                    <a:lnTo>
                      <a:pt x="1142" y="1313"/>
                    </a:lnTo>
                    <a:lnTo>
                      <a:pt x="1144" y="1313"/>
                    </a:lnTo>
                    <a:lnTo>
                      <a:pt x="1142" y="1311"/>
                    </a:lnTo>
                    <a:lnTo>
                      <a:pt x="1144" y="1311"/>
                    </a:lnTo>
                    <a:lnTo>
                      <a:pt x="1142" y="1311"/>
                    </a:lnTo>
                    <a:lnTo>
                      <a:pt x="1142" y="1310"/>
                    </a:lnTo>
                    <a:lnTo>
                      <a:pt x="1144" y="1308"/>
                    </a:lnTo>
                    <a:lnTo>
                      <a:pt x="1145" y="1306"/>
                    </a:lnTo>
                    <a:lnTo>
                      <a:pt x="1145" y="1308"/>
                    </a:lnTo>
                    <a:lnTo>
                      <a:pt x="1144" y="1310"/>
                    </a:lnTo>
                    <a:lnTo>
                      <a:pt x="1144" y="1311"/>
                    </a:lnTo>
                    <a:lnTo>
                      <a:pt x="1144" y="1310"/>
                    </a:lnTo>
                    <a:lnTo>
                      <a:pt x="1145" y="1310"/>
                    </a:lnTo>
                    <a:lnTo>
                      <a:pt x="1145" y="1308"/>
                    </a:lnTo>
                    <a:lnTo>
                      <a:pt x="1147" y="1308"/>
                    </a:lnTo>
                    <a:lnTo>
                      <a:pt x="1145" y="1308"/>
                    </a:lnTo>
                    <a:lnTo>
                      <a:pt x="1145" y="1306"/>
                    </a:lnTo>
                    <a:lnTo>
                      <a:pt x="1147" y="1306"/>
                    </a:lnTo>
                    <a:lnTo>
                      <a:pt x="1149" y="1305"/>
                    </a:lnTo>
                    <a:lnTo>
                      <a:pt x="1149" y="1306"/>
                    </a:lnTo>
                    <a:lnTo>
                      <a:pt x="1149" y="1305"/>
                    </a:lnTo>
                    <a:lnTo>
                      <a:pt x="1151" y="1305"/>
                    </a:lnTo>
                    <a:lnTo>
                      <a:pt x="1149" y="1305"/>
                    </a:lnTo>
                    <a:lnTo>
                      <a:pt x="1149" y="1303"/>
                    </a:lnTo>
                    <a:lnTo>
                      <a:pt x="1151" y="1301"/>
                    </a:lnTo>
                    <a:lnTo>
                      <a:pt x="1151" y="1299"/>
                    </a:lnTo>
                    <a:lnTo>
                      <a:pt x="1152" y="1299"/>
                    </a:lnTo>
                    <a:lnTo>
                      <a:pt x="1152" y="1301"/>
                    </a:lnTo>
                    <a:lnTo>
                      <a:pt x="1154" y="1301"/>
                    </a:lnTo>
                    <a:lnTo>
                      <a:pt x="1154" y="1303"/>
                    </a:lnTo>
                    <a:close/>
                    <a:moveTo>
                      <a:pt x="1212" y="1539"/>
                    </a:moveTo>
                    <a:lnTo>
                      <a:pt x="1212" y="1541"/>
                    </a:lnTo>
                    <a:lnTo>
                      <a:pt x="1213" y="1541"/>
                    </a:lnTo>
                    <a:lnTo>
                      <a:pt x="1213" y="1539"/>
                    </a:lnTo>
                    <a:lnTo>
                      <a:pt x="1215" y="1539"/>
                    </a:lnTo>
                    <a:lnTo>
                      <a:pt x="1217" y="1539"/>
                    </a:lnTo>
                    <a:lnTo>
                      <a:pt x="1217" y="1541"/>
                    </a:lnTo>
                    <a:lnTo>
                      <a:pt x="1219" y="1543"/>
                    </a:lnTo>
                    <a:lnTo>
                      <a:pt x="1217" y="1543"/>
                    </a:lnTo>
                    <a:lnTo>
                      <a:pt x="1217" y="1541"/>
                    </a:lnTo>
                    <a:lnTo>
                      <a:pt x="1217" y="1543"/>
                    </a:lnTo>
                    <a:lnTo>
                      <a:pt x="1215" y="1543"/>
                    </a:lnTo>
                    <a:lnTo>
                      <a:pt x="1215" y="1544"/>
                    </a:lnTo>
                    <a:lnTo>
                      <a:pt x="1213" y="1544"/>
                    </a:lnTo>
                    <a:lnTo>
                      <a:pt x="1213" y="1546"/>
                    </a:lnTo>
                    <a:lnTo>
                      <a:pt x="1215" y="1546"/>
                    </a:lnTo>
                    <a:lnTo>
                      <a:pt x="1213" y="1544"/>
                    </a:lnTo>
                    <a:lnTo>
                      <a:pt x="1215" y="1544"/>
                    </a:lnTo>
                    <a:lnTo>
                      <a:pt x="1217" y="1546"/>
                    </a:lnTo>
                    <a:lnTo>
                      <a:pt x="1217" y="1548"/>
                    </a:lnTo>
                    <a:lnTo>
                      <a:pt x="1219" y="1548"/>
                    </a:lnTo>
                    <a:lnTo>
                      <a:pt x="1217" y="1548"/>
                    </a:lnTo>
                    <a:lnTo>
                      <a:pt x="1219" y="1549"/>
                    </a:lnTo>
                    <a:lnTo>
                      <a:pt x="1217" y="1548"/>
                    </a:lnTo>
                    <a:lnTo>
                      <a:pt x="1217" y="1549"/>
                    </a:lnTo>
                    <a:lnTo>
                      <a:pt x="1219" y="1549"/>
                    </a:lnTo>
                    <a:lnTo>
                      <a:pt x="1219" y="1551"/>
                    </a:lnTo>
                    <a:lnTo>
                      <a:pt x="1217" y="1551"/>
                    </a:lnTo>
                    <a:lnTo>
                      <a:pt x="1215" y="1549"/>
                    </a:lnTo>
                    <a:lnTo>
                      <a:pt x="1215" y="1551"/>
                    </a:lnTo>
                    <a:lnTo>
                      <a:pt x="1213" y="1551"/>
                    </a:lnTo>
                    <a:lnTo>
                      <a:pt x="1213" y="1549"/>
                    </a:lnTo>
                    <a:lnTo>
                      <a:pt x="1212" y="1548"/>
                    </a:lnTo>
                    <a:lnTo>
                      <a:pt x="1213" y="1549"/>
                    </a:lnTo>
                    <a:lnTo>
                      <a:pt x="1212" y="1549"/>
                    </a:lnTo>
                    <a:lnTo>
                      <a:pt x="1213" y="1551"/>
                    </a:lnTo>
                    <a:lnTo>
                      <a:pt x="1212" y="1551"/>
                    </a:lnTo>
                    <a:lnTo>
                      <a:pt x="1210" y="1551"/>
                    </a:lnTo>
                    <a:lnTo>
                      <a:pt x="1212" y="1549"/>
                    </a:lnTo>
                    <a:lnTo>
                      <a:pt x="1210" y="1549"/>
                    </a:lnTo>
                    <a:lnTo>
                      <a:pt x="1212" y="1549"/>
                    </a:lnTo>
                    <a:lnTo>
                      <a:pt x="1210" y="1549"/>
                    </a:lnTo>
                    <a:lnTo>
                      <a:pt x="1208" y="1548"/>
                    </a:lnTo>
                    <a:lnTo>
                      <a:pt x="1208" y="1549"/>
                    </a:lnTo>
                    <a:lnTo>
                      <a:pt x="1210" y="1549"/>
                    </a:lnTo>
                    <a:lnTo>
                      <a:pt x="1208" y="1549"/>
                    </a:lnTo>
                    <a:lnTo>
                      <a:pt x="1207" y="1548"/>
                    </a:lnTo>
                    <a:lnTo>
                      <a:pt x="1208" y="1546"/>
                    </a:lnTo>
                    <a:lnTo>
                      <a:pt x="1207" y="1546"/>
                    </a:lnTo>
                    <a:lnTo>
                      <a:pt x="1205" y="1548"/>
                    </a:lnTo>
                    <a:lnTo>
                      <a:pt x="1205" y="1546"/>
                    </a:lnTo>
                    <a:lnTo>
                      <a:pt x="1205" y="1544"/>
                    </a:lnTo>
                    <a:lnTo>
                      <a:pt x="1203" y="1544"/>
                    </a:lnTo>
                    <a:lnTo>
                      <a:pt x="1205" y="1544"/>
                    </a:lnTo>
                    <a:lnTo>
                      <a:pt x="1203" y="1544"/>
                    </a:lnTo>
                    <a:lnTo>
                      <a:pt x="1203" y="1543"/>
                    </a:lnTo>
                    <a:lnTo>
                      <a:pt x="1203" y="1541"/>
                    </a:lnTo>
                    <a:lnTo>
                      <a:pt x="1205" y="1543"/>
                    </a:lnTo>
                    <a:lnTo>
                      <a:pt x="1207" y="1544"/>
                    </a:lnTo>
                    <a:lnTo>
                      <a:pt x="1207" y="1546"/>
                    </a:lnTo>
                    <a:lnTo>
                      <a:pt x="1207" y="1544"/>
                    </a:lnTo>
                    <a:lnTo>
                      <a:pt x="1207" y="1546"/>
                    </a:lnTo>
                    <a:lnTo>
                      <a:pt x="1208" y="1546"/>
                    </a:lnTo>
                    <a:lnTo>
                      <a:pt x="1208" y="1544"/>
                    </a:lnTo>
                    <a:lnTo>
                      <a:pt x="1208" y="1546"/>
                    </a:lnTo>
                    <a:lnTo>
                      <a:pt x="1210" y="1546"/>
                    </a:lnTo>
                    <a:lnTo>
                      <a:pt x="1212" y="1546"/>
                    </a:lnTo>
                    <a:lnTo>
                      <a:pt x="1210" y="1548"/>
                    </a:lnTo>
                    <a:lnTo>
                      <a:pt x="1212" y="1548"/>
                    </a:lnTo>
                    <a:lnTo>
                      <a:pt x="1213" y="1548"/>
                    </a:lnTo>
                    <a:lnTo>
                      <a:pt x="1213" y="1549"/>
                    </a:lnTo>
                    <a:lnTo>
                      <a:pt x="1215" y="1549"/>
                    </a:lnTo>
                    <a:lnTo>
                      <a:pt x="1213" y="1548"/>
                    </a:lnTo>
                    <a:lnTo>
                      <a:pt x="1212" y="1548"/>
                    </a:lnTo>
                    <a:lnTo>
                      <a:pt x="1212" y="1546"/>
                    </a:lnTo>
                    <a:lnTo>
                      <a:pt x="1210" y="1546"/>
                    </a:lnTo>
                    <a:lnTo>
                      <a:pt x="1210" y="1544"/>
                    </a:lnTo>
                    <a:lnTo>
                      <a:pt x="1208" y="1544"/>
                    </a:lnTo>
                    <a:lnTo>
                      <a:pt x="1208" y="1543"/>
                    </a:lnTo>
                    <a:lnTo>
                      <a:pt x="1210" y="1544"/>
                    </a:lnTo>
                    <a:lnTo>
                      <a:pt x="1210" y="1543"/>
                    </a:lnTo>
                    <a:lnTo>
                      <a:pt x="1212" y="1544"/>
                    </a:lnTo>
                    <a:lnTo>
                      <a:pt x="1213" y="1544"/>
                    </a:lnTo>
                    <a:lnTo>
                      <a:pt x="1212" y="1543"/>
                    </a:lnTo>
                    <a:lnTo>
                      <a:pt x="1213" y="1543"/>
                    </a:lnTo>
                    <a:lnTo>
                      <a:pt x="1212" y="1543"/>
                    </a:lnTo>
                    <a:lnTo>
                      <a:pt x="1210" y="1543"/>
                    </a:lnTo>
                    <a:lnTo>
                      <a:pt x="1210" y="1541"/>
                    </a:lnTo>
                    <a:lnTo>
                      <a:pt x="1210" y="1539"/>
                    </a:lnTo>
                    <a:lnTo>
                      <a:pt x="1212" y="1539"/>
                    </a:lnTo>
                    <a:close/>
                    <a:moveTo>
                      <a:pt x="1191" y="1097"/>
                    </a:moveTo>
                    <a:lnTo>
                      <a:pt x="1193" y="1099"/>
                    </a:lnTo>
                    <a:lnTo>
                      <a:pt x="1195" y="1099"/>
                    </a:lnTo>
                    <a:lnTo>
                      <a:pt x="1196" y="1099"/>
                    </a:lnTo>
                    <a:lnTo>
                      <a:pt x="1198" y="1099"/>
                    </a:lnTo>
                    <a:lnTo>
                      <a:pt x="1198" y="1100"/>
                    </a:lnTo>
                    <a:lnTo>
                      <a:pt x="1200" y="1102"/>
                    </a:lnTo>
                    <a:lnTo>
                      <a:pt x="1200" y="1104"/>
                    </a:lnTo>
                    <a:lnTo>
                      <a:pt x="1198" y="1104"/>
                    </a:lnTo>
                    <a:lnTo>
                      <a:pt x="1196" y="1104"/>
                    </a:lnTo>
                    <a:lnTo>
                      <a:pt x="1195" y="1104"/>
                    </a:lnTo>
                    <a:lnTo>
                      <a:pt x="1195" y="1102"/>
                    </a:lnTo>
                    <a:lnTo>
                      <a:pt x="1195" y="1104"/>
                    </a:lnTo>
                    <a:lnTo>
                      <a:pt x="1193" y="1102"/>
                    </a:lnTo>
                    <a:lnTo>
                      <a:pt x="1195" y="1102"/>
                    </a:lnTo>
                    <a:lnTo>
                      <a:pt x="1195" y="1104"/>
                    </a:lnTo>
                    <a:lnTo>
                      <a:pt x="1195" y="1105"/>
                    </a:lnTo>
                    <a:lnTo>
                      <a:pt x="1193" y="1104"/>
                    </a:lnTo>
                    <a:lnTo>
                      <a:pt x="1193" y="1105"/>
                    </a:lnTo>
                    <a:lnTo>
                      <a:pt x="1191" y="1105"/>
                    </a:lnTo>
                    <a:lnTo>
                      <a:pt x="1191" y="1104"/>
                    </a:lnTo>
                    <a:lnTo>
                      <a:pt x="1190" y="1104"/>
                    </a:lnTo>
                    <a:lnTo>
                      <a:pt x="1190" y="1105"/>
                    </a:lnTo>
                    <a:lnTo>
                      <a:pt x="1188" y="1105"/>
                    </a:lnTo>
                    <a:lnTo>
                      <a:pt x="1186" y="1105"/>
                    </a:lnTo>
                    <a:lnTo>
                      <a:pt x="1185" y="1105"/>
                    </a:lnTo>
                    <a:lnTo>
                      <a:pt x="1185" y="1104"/>
                    </a:lnTo>
                    <a:lnTo>
                      <a:pt x="1183" y="1104"/>
                    </a:lnTo>
                    <a:lnTo>
                      <a:pt x="1185" y="1104"/>
                    </a:lnTo>
                    <a:lnTo>
                      <a:pt x="1186" y="1102"/>
                    </a:lnTo>
                    <a:lnTo>
                      <a:pt x="1188" y="1100"/>
                    </a:lnTo>
                    <a:lnTo>
                      <a:pt x="1188" y="1099"/>
                    </a:lnTo>
                    <a:lnTo>
                      <a:pt x="1190" y="1099"/>
                    </a:lnTo>
                    <a:lnTo>
                      <a:pt x="1191" y="1097"/>
                    </a:lnTo>
                    <a:close/>
                    <a:moveTo>
                      <a:pt x="1174" y="1449"/>
                    </a:moveTo>
                    <a:lnTo>
                      <a:pt x="1174" y="1451"/>
                    </a:lnTo>
                    <a:lnTo>
                      <a:pt x="1174" y="1453"/>
                    </a:lnTo>
                    <a:lnTo>
                      <a:pt x="1176" y="1453"/>
                    </a:lnTo>
                    <a:lnTo>
                      <a:pt x="1174" y="1453"/>
                    </a:lnTo>
                    <a:lnTo>
                      <a:pt x="1174" y="1454"/>
                    </a:lnTo>
                    <a:lnTo>
                      <a:pt x="1173" y="1454"/>
                    </a:lnTo>
                    <a:lnTo>
                      <a:pt x="1173" y="1456"/>
                    </a:lnTo>
                    <a:lnTo>
                      <a:pt x="1174" y="1456"/>
                    </a:lnTo>
                    <a:lnTo>
                      <a:pt x="1174" y="1454"/>
                    </a:lnTo>
                    <a:lnTo>
                      <a:pt x="1176" y="1454"/>
                    </a:lnTo>
                    <a:lnTo>
                      <a:pt x="1176" y="1453"/>
                    </a:lnTo>
                    <a:lnTo>
                      <a:pt x="1176" y="1454"/>
                    </a:lnTo>
                    <a:lnTo>
                      <a:pt x="1176" y="1456"/>
                    </a:lnTo>
                    <a:lnTo>
                      <a:pt x="1176" y="1454"/>
                    </a:lnTo>
                    <a:lnTo>
                      <a:pt x="1176" y="1453"/>
                    </a:lnTo>
                    <a:lnTo>
                      <a:pt x="1176" y="1454"/>
                    </a:lnTo>
                    <a:lnTo>
                      <a:pt x="1176" y="1456"/>
                    </a:lnTo>
                    <a:lnTo>
                      <a:pt x="1176" y="1458"/>
                    </a:lnTo>
                    <a:lnTo>
                      <a:pt x="1174" y="1458"/>
                    </a:lnTo>
                    <a:lnTo>
                      <a:pt x="1173" y="1458"/>
                    </a:lnTo>
                    <a:lnTo>
                      <a:pt x="1174" y="1459"/>
                    </a:lnTo>
                    <a:lnTo>
                      <a:pt x="1173" y="1461"/>
                    </a:lnTo>
                    <a:lnTo>
                      <a:pt x="1173" y="1463"/>
                    </a:lnTo>
                    <a:lnTo>
                      <a:pt x="1173" y="1461"/>
                    </a:lnTo>
                    <a:lnTo>
                      <a:pt x="1173" y="1463"/>
                    </a:lnTo>
                    <a:lnTo>
                      <a:pt x="1173" y="1461"/>
                    </a:lnTo>
                    <a:lnTo>
                      <a:pt x="1174" y="1461"/>
                    </a:lnTo>
                    <a:lnTo>
                      <a:pt x="1174" y="1463"/>
                    </a:lnTo>
                    <a:lnTo>
                      <a:pt x="1173" y="1463"/>
                    </a:lnTo>
                    <a:lnTo>
                      <a:pt x="1173" y="1464"/>
                    </a:lnTo>
                    <a:lnTo>
                      <a:pt x="1173" y="1466"/>
                    </a:lnTo>
                    <a:lnTo>
                      <a:pt x="1173" y="1464"/>
                    </a:lnTo>
                    <a:lnTo>
                      <a:pt x="1171" y="1466"/>
                    </a:lnTo>
                    <a:lnTo>
                      <a:pt x="1173" y="1466"/>
                    </a:lnTo>
                    <a:lnTo>
                      <a:pt x="1171" y="1466"/>
                    </a:lnTo>
                    <a:lnTo>
                      <a:pt x="1171" y="1468"/>
                    </a:lnTo>
                    <a:lnTo>
                      <a:pt x="1169" y="1468"/>
                    </a:lnTo>
                    <a:lnTo>
                      <a:pt x="1169" y="1470"/>
                    </a:lnTo>
                    <a:lnTo>
                      <a:pt x="1169" y="1471"/>
                    </a:lnTo>
                    <a:lnTo>
                      <a:pt x="1168" y="1471"/>
                    </a:lnTo>
                    <a:lnTo>
                      <a:pt x="1168" y="1470"/>
                    </a:lnTo>
                    <a:lnTo>
                      <a:pt x="1166" y="1470"/>
                    </a:lnTo>
                    <a:lnTo>
                      <a:pt x="1168" y="1468"/>
                    </a:lnTo>
                    <a:lnTo>
                      <a:pt x="1168" y="1466"/>
                    </a:lnTo>
                    <a:lnTo>
                      <a:pt x="1169" y="1466"/>
                    </a:lnTo>
                    <a:lnTo>
                      <a:pt x="1169" y="1464"/>
                    </a:lnTo>
                    <a:lnTo>
                      <a:pt x="1171" y="1464"/>
                    </a:lnTo>
                    <a:lnTo>
                      <a:pt x="1169" y="1464"/>
                    </a:lnTo>
                    <a:lnTo>
                      <a:pt x="1169" y="1463"/>
                    </a:lnTo>
                    <a:lnTo>
                      <a:pt x="1169" y="1464"/>
                    </a:lnTo>
                    <a:lnTo>
                      <a:pt x="1168" y="1464"/>
                    </a:lnTo>
                    <a:lnTo>
                      <a:pt x="1169" y="1464"/>
                    </a:lnTo>
                    <a:lnTo>
                      <a:pt x="1168" y="1464"/>
                    </a:lnTo>
                    <a:lnTo>
                      <a:pt x="1169" y="1463"/>
                    </a:lnTo>
                    <a:lnTo>
                      <a:pt x="1169" y="1461"/>
                    </a:lnTo>
                    <a:lnTo>
                      <a:pt x="1171" y="1459"/>
                    </a:lnTo>
                    <a:lnTo>
                      <a:pt x="1169" y="1461"/>
                    </a:lnTo>
                    <a:lnTo>
                      <a:pt x="1169" y="1459"/>
                    </a:lnTo>
                    <a:lnTo>
                      <a:pt x="1169" y="1458"/>
                    </a:lnTo>
                    <a:lnTo>
                      <a:pt x="1171" y="1458"/>
                    </a:lnTo>
                    <a:lnTo>
                      <a:pt x="1171" y="1456"/>
                    </a:lnTo>
                    <a:lnTo>
                      <a:pt x="1171" y="1454"/>
                    </a:lnTo>
                    <a:lnTo>
                      <a:pt x="1171" y="1453"/>
                    </a:lnTo>
                    <a:lnTo>
                      <a:pt x="1173" y="1454"/>
                    </a:lnTo>
                    <a:lnTo>
                      <a:pt x="1173" y="1453"/>
                    </a:lnTo>
                    <a:lnTo>
                      <a:pt x="1173" y="1454"/>
                    </a:lnTo>
                    <a:lnTo>
                      <a:pt x="1173" y="1453"/>
                    </a:lnTo>
                    <a:lnTo>
                      <a:pt x="1173" y="1454"/>
                    </a:lnTo>
                    <a:lnTo>
                      <a:pt x="1173" y="1453"/>
                    </a:lnTo>
                    <a:lnTo>
                      <a:pt x="1171" y="1453"/>
                    </a:lnTo>
                    <a:lnTo>
                      <a:pt x="1173" y="1451"/>
                    </a:lnTo>
                    <a:lnTo>
                      <a:pt x="1174" y="1449"/>
                    </a:lnTo>
                    <a:close/>
                    <a:moveTo>
                      <a:pt x="1186" y="1075"/>
                    </a:moveTo>
                    <a:lnTo>
                      <a:pt x="1188" y="1075"/>
                    </a:lnTo>
                    <a:lnTo>
                      <a:pt x="1188" y="1077"/>
                    </a:lnTo>
                    <a:lnTo>
                      <a:pt x="1190" y="1078"/>
                    </a:lnTo>
                    <a:lnTo>
                      <a:pt x="1190" y="1080"/>
                    </a:lnTo>
                    <a:lnTo>
                      <a:pt x="1188" y="1080"/>
                    </a:lnTo>
                    <a:lnTo>
                      <a:pt x="1186" y="1080"/>
                    </a:lnTo>
                    <a:lnTo>
                      <a:pt x="1185" y="1080"/>
                    </a:lnTo>
                    <a:lnTo>
                      <a:pt x="1186" y="1080"/>
                    </a:lnTo>
                    <a:lnTo>
                      <a:pt x="1188" y="1080"/>
                    </a:lnTo>
                    <a:lnTo>
                      <a:pt x="1190" y="1080"/>
                    </a:lnTo>
                    <a:lnTo>
                      <a:pt x="1190" y="1078"/>
                    </a:lnTo>
                    <a:lnTo>
                      <a:pt x="1191" y="1080"/>
                    </a:lnTo>
                    <a:lnTo>
                      <a:pt x="1191" y="1082"/>
                    </a:lnTo>
                    <a:lnTo>
                      <a:pt x="1191" y="1080"/>
                    </a:lnTo>
                    <a:lnTo>
                      <a:pt x="1191" y="1082"/>
                    </a:lnTo>
                    <a:lnTo>
                      <a:pt x="1193" y="1083"/>
                    </a:lnTo>
                    <a:lnTo>
                      <a:pt x="1191" y="1083"/>
                    </a:lnTo>
                    <a:lnTo>
                      <a:pt x="1190" y="1083"/>
                    </a:lnTo>
                    <a:lnTo>
                      <a:pt x="1188" y="1083"/>
                    </a:lnTo>
                    <a:lnTo>
                      <a:pt x="1186" y="1083"/>
                    </a:lnTo>
                    <a:lnTo>
                      <a:pt x="1185" y="1083"/>
                    </a:lnTo>
                    <a:lnTo>
                      <a:pt x="1185" y="1082"/>
                    </a:lnTo>
                    <a:lnTo>
                      <a:pt x="1185" y="1080"/>
                    </a:lnTo>
                    <a:lnTo>
                      <a:pt x="1183" y="1080"/>
                    </a:lnTo>
                    <a:lnTo>
                      <a:pt x="1181" y="1080"/>
                    </a:lnTo>
                    <a:lnTo>
                      <a:pt x="1183" y="1080"/>
                    </a:lnTo>
                    <a:lnTo>
                      <a:pt x="1183" y="1082"/>
                    </a:lnTo>
                    <a:lnTo>
                      <a:pt x="1185" y="1083"/>
                    </a:lnTo>
                    <a:lnTo>
                      <a:pt x="1183" y="1083"/>
                    </a:lnTo>
                    <a:lnTo>
                      <a:pt x="1183" y="1082"/>
                    </a:lnTo>
                    <a:lnTo>
                      <a:pt x="1183" y="1083"/>
                    </a:lnTo>
                    <a:lnTo>
                      <a:pt x="1183" y="1082"/>
                    </a:lnTo>
                    <a:lnTo>
                      <a:pt x="1183" y="1083"/>
                    </a:lnTo>
                    <a:lnTo>
                      <a:pt x="1183" y="1082"/>
                    </a:lnTo>
                    <a:lnTo>
                      <a:pt x="1181" y="1082"/>
                    </a:lnTo>
                    <a:lnTo>
                      <a:pt x="1179" y="1082"/>
                    </a:lnTo>
                    <a:lnTo>
                      <a:pt x="1178" y="1080"/>
                    </a:lnTo>
                    <a:lnTo>
                      <a:pt x="1178" y="1078"/>
                    </a:lnTo>
                    <a:lnTo>
                      <a:pt x="1179" y="1077"/>
                    </a:lnTo>
                    <a:lnTo>
                      <a:pt x="1181" y="1077"/>
                    </a:lnTo>
                    <a:lnTo>
                      <a:pt x="1183" y="1077"/>
                    </a:lnTo>
                    <a:lnTo>
                      <a:pt x="1183" y="1078"/>
                    </a:lnTo>
                    <a:lnTo>
                      <a:pt x="1185" y="1077"/>
                    </a:lnTo>
                    <a:lnTo>
                      <a:pt x="1186" y="1075"/>
                    </a:lnTo>
                    <a:close/>
                    <a:moveTo>
                      <a:pt x="1169" y="1390"/>
                    </a:moveTo>
                    <a:lnTo>
                      <a:pt x="1169" y="1391"/>
                    </a:lnTo>
                    <a:lnTo>
                      <a:pt x="1171" y="1390"/>
                    </a:lnTo>
                    <a:lnTo>
                      <a:pt x="1171" y="1391"/>
                    </a:lnTo>
                    <a:lnTo>
                      <a:pt x="1173" y="1391"/>
                    </a:lnTo>
                    <a:lnTo>
                      <a:pt x="1171" y="1393"/>
                    </a:lnTo>
                    <a:lnTo>
                      <a:pt x="1171" y="1391"/>
                    </a:lnTo>
                    <a:lnTo>
                      <a:pt x="1171" y="1393"/>
                    </a:lnTo>
                    <a:lnTo>
                      <a:pt x="1171" y="1395"/>
                    </a:lnTo>
                    <a:lnTo>
                      <a:pt x="1169" y="1393"/>
                    </a:lnTo>
                    <a:lnTo>
                      <a:pt x="1169" y="1395"/>
                    </a:lnTo>
                    <a:lnTo>
                      <a:pt x="1171" y="1395"/>
                    </a:lnTo>
                    <a:lnTo>
                      <a:pt x="1169" y="1395"/>
                    </a:lnTo>
                    <a:lnTo>
                      <a:pt x="1171" y="1396"/>
                    </a:lnTo>
                    <a:lnTo>
                      <a:pt x="1171" y="1395"/>
                    </a:lnTo>
                    <a:lnTo>
                      <a:pt x="1173" y="1396"/>
                    </a:lnTo>
                    <a:lnTo>
                      <a:pt x="1173" y="1398"/>
                    </a:lnTo>
                    <a:lnTo>
                      <a:pt x="1171" y="1398"/>
                    </a:lnTo>
                    <a:lnTo>
                      <a:pt x="1169" y="1398"/>
                    </a:lnTo>
                    <a:lnTo>
                      <a:pt x="1171" y="1398"/>
                    </a:lnTo>
                    <a:lnTo>
                      <a:pt x="1173" y="1398"/>
                    </a:lnTo>
                    <a:lnTo>
                      <a:pt x="1171" y="1400"/>
                    </a:lnTo>
                    <a:lnTo>
                      <a:pt x="1173" y="1400"/>
                    </a:lnTo>
                    <a:lnTo>
                      <a:pt x="1173" y="1401"/>
                    </a:lnTo>
                    <a:lnTo>
                      <a:pt x="1173" y="1400"/>
                    </a:lnTo>
                    <a:lnTo>
                      <a:pt x="1173" y="1398"/>
                    </a:lnTo>
                    <a:lnTo>
                      <a:pt x="1173" y="1396"/>
                    </a:lnTo>
                    <a:lnTo>
                      <a:pt x="1174" y="1398"/>
                    </a:lnTo>
                    <a:lnTo>
                      <a:pt x="1174" y="1400"/>
                    </a:lnTo>
                    <a:lnTo>
                      <a:pt x="1174" y="1401"/>
                    </a:lnTo>
                    <a:lnTo>
                      <a:pt x="1173" y="1401"/>
                    </a:lnTo>
                    <a:lnTo>
                      <a:pt x="1173" y="1403"/>
                    </a:lnTo>
                    <a:lnTo>
                      <a:pt x="1171" y="1403"/>
                    </a:lnTo>
                    <a:lnTo>
                      <a:pt x="1171" y="1401"/>
                    </a:lnTo>
                    <a:lnTo>
                      <a:pt x="1169" y="1401"/>
                    </a:lnTo>
                    <a:lnTo>
                      <a:pt x="1168" y="1401"/>
                    </a:lnTo>
                    <a:lnTo>
                      <a:pt x="1166" y="1400"/>
                    </a:lnTo>
                    <a:lnTo>
                      <a:pt x="1168" y="1400"/>
                    </a:lnTo>
                    <a:lnTo>
                      <a:pt x="1166" y="1400"/>
                    </a:lnTo>
                    <a:lnTo>
                      <a:pt x="1164" y="1400"/>
                    </a:lnTo>
                    <a:lnTo>
                      <a:pt x="1164" y="1398"/>
                    </a:lnTo>
                    <a:lnTo>
                      <a:pt x="1166" y="1398"/>
                    </a:lnTo>
                    <a:lnTo>
                      <a:pt x="1168" y="1400"/>
                    </a:lnTo>
                    <a:lnTo>
                      <a:pt x="1166" y="1398"/>
                    </a:lnTo>
                    <a:lnTo>
                      <a:pt x="1168" y="1398"/>
                    </a:lnTo>
                    <a:lnTo>
                      <a:pt x="1166" y="1398"/>
                    </a:lnTo>
                    <a:lnTo>
                      <a:pt x="1168" y="1398"/>
                    </a:lnTo>
                    <a:lnTo>
                      <a:pt x="1166" y="1398"/>
                    </a:lnTo>
                    <a:lnTo>
                      <a:pt x="1164" y="1396"/>
                    </a:lnTo>
                    <a:lnTo>
                      <a:pt x="1166" y="1396"/>
                    </a:lnTo>
                    <a:lnTo>
                      <a:pt x="1166" y="1398"/>
                    </a:lnTo>
                    <a:lnTo>
                      <a:pt x="1168" y="1398"/>
                    </a:lnTo>
                    <a:lnTo>
                      <a:pt x="1168" y="1396"/>
                    </a:lnTo>
                    <a:lnTo>
                      <a:pt x="1166" y="1396"/>
                    </a:lnTo>
                    <a:lnTo>
                      <a:pt x="1164" y="1396"/>
                    </a:lnTo>
                    <a:lnTo>
                      <a:pt x="1164" y="1395"/>
                    </a:lnTo>
                    <a:lnTo>
                      <a:pt x="1166" y="1396"/>
                    </a:lnTo>
                    <a:lnTo>
                      <a:pt x="1168" y="1396"/>
                    </a:lnTo>
                    <a:lnTo>
                      <a:pt x="1166" y="1396"/>
                    </a:lnTo>
                    <a:lnTo>
                      <a:pt x="1166" y="1395"/>
                    </a:lnTo>
                    <a:lnTo>
                      <a:pt x="1164" y="1395"/>
                    </a:lnTo>
                    <a:lnTo>
                      <a:pt x="1166" y="1395"/>
                    </a:lnTo>
                    <a:lnTo>
                      <a:pt x="1164" y="1395"/>
                    </a:lnTo>
                    <a:lnTo>
                      <a:pt x="1164" y="1393"/>
                    </a:lnTo>
                    <a:lnTo>
                      <a:pt x="1166" y="1393"/>
                    </a:lnTo>
                    <a:lnTo>
                      <a:pt x="1168" y="1393"/>
                    </a:lnTo>
                    <a:lnTo>
                      <a:pt x="1168" y="1395"/>
                    </a:lnTo>
                    <a:lnTo>
                      <a:pt x="1166" y="1393"/>
                    </a:lnTo>
                    <a:lnTo>
                      <a:pt x="1168" y="1395"/>
                    </a:lnTo>
                    <a:lnTo>
                      <a:pt x="1169" y="1393"/>
                    </a:lnTo>
                    <a:lnTo>
                      <a:pt x="1168" y="1393"/>
                    </a:lnTo>
                    <a:lnTo>
                      <a:pt x="1168" y="1391"/>
                    </a:lnTo>
                    <a:lnTo>
                      <a:pt x="1166" y="1391"/>
                    </a:lnTo>
                    <a:lnTo>
                      <a:pt x="1164" y="1391"/>
                    </a:lnTo>
                    <a:lnTo>
                      <a:pt x="1164" y="1390"/>
                    </a:lnTo>
                    <a:lnTo>
                      <a:pt x="1166" y="1391"/>
                    </a:lnTo>
                    <a:lnTo>
                      <a:pt x="1166" y="1390"/>
                    </a:lnTo>
                    <a:lnTo>
                      <a:pt x="1168" y="1390"/>
                    </a:lnTo>
                    <a:lnTo>
                      <a:pt x="1168" y="1391"/>
                    </a:lnTo>
                    <a:lnTo>
                      <a:pt x="1169" y="1391"/>
                    </a:lnTo>
                    <a:lnTo>
                      <a:pt x="1169" y="1393"/>
                    </a:lnTo>
                    <a:lnTo>
                      <a:pt x="1169" y="1391"/>
                    </a:lnTo>
                    <a:lnTo>
                      <a:pt x="1168" y="1390"/>
                    </a:lnTo>
                    <a:lnTo>
                      <a:pt x="1169" y="1390"/>
                    </a:lnTo>
                    <a:close/>
                    <a:moveTo>
                      <a:pt x="1195" y="1114"/>
                    </a:moveTo>
                    <a:lnTo>
                      <a:pt x="1196" y="1114"/>
                    </a:lnTo>
                    <a:lnTo>
                      <a:pt x="1195" y="1114"/>
                    </a:lnTo>
                    <a:lnTo>
                      <a:pt x="1196" y="1116"/>
                    </a:lnTo>
                    <a:lnTo>
                      <a:pt x="1196" y="1117"/>
                    </a:lnTo>
                    <a:lnTo>
                      <a:pt x="1198" y="1117"/>
                    </a:lnTo>
                    <a:lnTo>
                      <a:pt x="1200" y="1117"/>
                    </a:lnTo>
                    <a:lnTo>
                      <a:pt x="1202" y="1116"/>
                    </a:lnTo>
                    <a:lnTo>
                      <a:pt x="1203" y="1116"/>
                    </a:lnTo>
                    <a:lnTo>
                      <a:pt x="1203" y="1117"/>
                    </a:lnTo>
                    <a:lnTo>
                      <a:pt x="1203" y="1119"/>
                    </a:lnTo>
                    <a:lnTo>
                      <a:pt x="1205" y="1119"/>
                    </a:lnTo>
                    <a:lnTo>
                      <a:pt x="1205" y="1121"/>
                    </a:lnTo>
                    <a:lnTo>
                      <a:pt x="1205" y="1122"/>
                    </a:lnTo>
                    <a:lnTo>
                      <a:pt x="1203" y="1121"/>
                    </a:lnTo>
                    <a:lnTo>
                      <a:pt x="1203" y="1122"/>
                    </a:lnTo>
                    <a:lnTo>
                      <a:pt x="1203" y="1121"/>
                    </a:lnTo>
                    <a:lnTo>
                      <a:pt x="1202" y="1122"/>
                    </a:lnTo>
                    <a:lnTo>
                      <a:pt x="1202" y="1121"/>
                    </a:lnTo>
                    <a:lnTo>
                      <a:pt x="1200" y="1121"/>
                    </a:lnTo>
                    <a:lnTo>
                      <a:pt x="1200" y="1122"/>
                    </a:lnTo>
                    <a:lnTo>
                      <a:pt x="1198" y="1122"/>
                    </a:lnTo>
                    <a:lnTo>
                      <a:pt x="1200" y="1121"/>
                    </a:lnTo>
                    <a:lnTo>
                      <a:pt x="1198" y="1122"/>
                    </a:lnTo>
                    <a:lnTo>
                      <a:pt x="1196" y="1122"/>
                    </a:lnTo>
                    <a:lnTo>
                      <a:pt x="1196" y="1121"/>
                    </a:lnTo>
                    <a:lnTo>
                      <a:pt x="1195" y="1121"/>
                    </a:lnTo>
                    <a:lnTo>
                      <a:pt x="1193" y="1121"/>
                    </a:lnTo>
                    <a:lnTo>
                      <a:pt x="1193" y="1119"/>
                    </a:lnTo>
                    <a:lnTo>
                      <a:pt x="1193" y="1121"/>
                    </a:lnTo>
                    <a:lnTo>
                      <a:pt x="1193" y="1122"/>
                    </a:lnTo>
                    <a:lnTo>
                      <a:pt x="1193" y="1121"/>
                    </a:lnTo>
                    <a:lnTo>
                      <a:pt x="1193" y="1119"/>
                    </a:lnTo>
                    <a:lnTo>
                      <a:pt x="1191" y="1121"/>
                    </a:lnTo>
                    <a:lnTo>
                      <a:pt x="1193" y="1119"/>
                    </a:lnTo>
                    <a:lnTo>
                      <a:pt x="1191" y="1119"/>
                    </a:lnTo>
                    <a:lnTo>
                      <a:pt x="1191" y="1117"/>
                    </a:lnTo>
                    <a:lnTo>
                      <a:pt x="1191" y="1116"/>
                    </a:lnTo>
                    <a:lnTo>
                      <a:pt x="1191" y="1114"/>
                    </a:lnTo>
                    <a:lnTo>
                      <a:pt x="1193" y="1116"/>
                    </a:lnTo>
                    <a:lnTo>
                      <a:pt x="1195" y="1114"/>
                    </a:lnTo>
                    <a:close/>
                    <a:moveTo>
                      <a:pt x="1288" y="1623"/>
                    </a:moveTo>
                    <a:lnTo>
                      <a:pt x="1290" y="1623"/>
                    </a:lnTo>
                    <a:lnTo>
                      <a:pt x="1292" y="1623"/>
                    </a:lnTo>
                    <a:lnTo>
                      <a:pt x="1290" y="1623"/>
                    </a:lnTo>
                    <a:lnTo>
                      <a:pt x="1292" y="1621"/>
                    </a:lnTo>
                    <a:lnTo>
                      <a:pt x="1292" y="1623"/>
                    </a:lnTo>
                    <a:lnTo>
                      <a:pt x="1293" y="1623"/>
                    </a:lnTo>
                    <a:lnTo>
                      <a:pt x="1293" y="1624"/>
                    </a:lnTo>
                    <a:lnTo>
                      <a:pt x="1293" y="1623"/>
                    </a:lnTo>
                    <a:lnTo>
                      <a:pt x="1293" y="1624"/>
                    </a:lnTo>
                    <a:lnTo>
                      <a:pt x="1295" y="1624"/>
                    </a:lnTo>
                    <a:lnTo>
                      <a:pt x="1295" y="1626"/>
                    </a:lnTo>
                    <a:lnTo>
                      <a:pt x="1297" y="1624"/>
                    </a:lnTo>
                    <a:lnTo>
                      <a:pt x="1298" y="1624"/>
                    </a:lnTo>
                    <a:lnTo>
                      <a:pt x="1297" y="1624"/>
                    </a:lnTo>
                    <a:lnTo>
                      <a:pt x="1297" y="1626"/>
                    </a:lnTo>
                    <a:lnTo>
                      <a:pt x="1298" y="1626"/>
                    </a:lnTo>
                    <a:lnTo>
                      <a:pt x="1300" y="1626"/>
                    </a:lnTo>
                    <a:lnTo>
                      <a:pt x="1298" y="1628"/>
                    </a:lnTo>
                    <a:lnTo>
                      <a:pt x="1297" y="1628"/>
                    </a:lnTo>
                    <a:lnTo>
                      <a:pt x="1298" y="1628"/>
                    </a:lnTo>
                    <a:lnTo>
                      <a:pt x="1300" y="1628"/>
                    </a:lnTo>
                    <a:lnTo>
                      <a:pt x="1298" y="1629"/>
                    </a:lnTo>
                    <a:lnTo>
                      <a:pt x="1298" y="1628"/>
                    </a:lnTo>
                    <a:lnTo>
                      <a:pt x="1297" y="1628"/>
                    </a:lnTo>
                    <a:lnTo>
                      <a:pt x="1297" y="1629"/>
                    </a:lnTo>
                    <a:lnTo>
                      <a:pt x="1295" y="1629"/>
                    </a:lnTo>
                    <a:lnTo>
                      <a:pt x="1293" y="1629"/>
                    </a:lnTo>
                    <a:lnTo>
                      <a:pt x="1293" y="1628"/>
                    </a:lnTo>
                    <a:lnTo>
                      <a:pt x="1292" y="1629"/>
                    </a:lnTo>
                    <a:lnTo>
                      <a:pt x="1292" y="1628"/>
                    </a:lnTo>
                    <a:lnTo>
                      <a:pt x="1293" y="1628"/>
                    </a:lnTo>
                    <a:lnTo>
                      <a:pt x="1295" y="1626"/>
                    </a:lnTo>
                    <a:lnTo>
                      <a:pt x="1293" y="1626"/>
                    </a:lnTo>
                    <a:lnTo>
                      <a:pt x="1292" y="1626"/>
                    </a:lnTo>
                    <a:lnTo>
                      <a:pt x="1292" y="1628"/>
                    </a:lnTo>
                    <a:lnTo>
                      <a:pt x="1292" y="1626"/>
                    </a:lnTo>
                    <a:lnTo>
                      <a:pt x="1292" y="1628"/>
                    </a:lnTo>
                    <a:lnTo>
                      <a:pt x="1290" y="1628"/>
                    </a:lnTo>
                    <a:lnTo>
                      <a:pt x="1290" y="1626"/>
                    </a:lnTo>
                    <a:lnTo>
                      <a:pt x="1290" y="1624"/>
                    </a:lnTo>
                    <a:lnTo>
                      <a:pt x="1292" y="1624"/>
                    </a:lnTo>
                    <a:lnTo>
                      <a:pt x="1290" y="1624"/>
                    </a:lnTo>
                    <a:lnTo>
                      <a:pt x="1288" y="1626"/>
                    </a:lnTo>
                    <a:lnTo>
                      <a:pt x="1288" y="1624"/>
                    </a:lnTo>
                    <a:lnTo>
                      <a:pt x="1287" y="1624"/>
                    </a:lnTo>
                    <a:lnTo>
                      <a:pt x="1288" y="1624"/>
                    </a:lnTo>
                    <a:lnTo>
                      <a:pt x="1288" y="1626"/>
                    </a:lnTo>
                    <a:lnTo>
                      <a:pt x="1287" y="1626"/>
                    </a:lnTo>
                    <a:lnTo>
                      <a:pt x="1287" y="1628"/>
                    </a:lnTo>
                    <a:lnTo>
                      <a:pt x="1285" y="1628"/>
                    </a:lnTo>
                    <a:lnTo>
                      <a:pt x="1287" y="1629"/>
                    </a:lnTo>
                    <a:lnTo>
                      <a:pt x="1285" y="1629"/>
                    </a:lnTo>
                    <a:lnTo>
                      <a:pt x="1285" y="1628"/>
                    </a:lnTo>
                    <a:lnTo>
                      <a:pt x="1285" y="1626"/>
                    </a:lnTo>
                    <a:lnTo>
                      <a:pt x="1285" y="1628"/>
                    </a:lnTo>
                    <a:lnTo>
                      <a:pt x="1283" y="1628"/>
                    </a:lnTo>
                    <a:lnTo>
                      <a:pt x="1283" y="1629"/>
                    </a:lnTo>
                    <a:lnTo>
                      <a:pt x="1281" y="1629"/>
                    </a:lnTo>
                    <a:lnTo>
                      <a:pt x="1281" y="1628"/>
                    </a:lnTo>
                    <a:lnTo>
                      <a:pt x="1283" y="1626"/>
                    </a:lnTo>
                    <a:lnTo>
                      <a:pt x="1281" y="1626"/>
                    </a:lnTo>
                    <a:lnTo>
                      <a:pt x="1281" y="1624"/>
                    </a:lnTo>
                    <a:lnTo>
                      <a:pt x="1283" y="1624"/>
                    </a:lnTo>
                    <a:lnTo>
                      <a:pt x="1283" y="1623"/>
                    </a:lnTo>
                    <a:lnTo>
                      <a:pt x="1283" y="1621"/>
                    </a:lnTo>
                    <a:lnTo>
                      <a:pt x="1285" y="1623"/>
                    </a:lnTo>
                    <a:lnTo>
                      <a:pt x="1285" y="1621"/>
                    </a:lnTo>
                    <a:lnTo>
                      <a:pt x="1287" y="1623"/>
                    </a:lnTo>
                    <a:lnTo>
                      <a:pt x="1288" y="1623"/>
                    </a:lnTo>
                    <a:lnTo>
                      <a:pt x="1287" y="1621"/>
                    </a:lnTo>
                    <a:lnTo>
                      <a:pt x="1288" y="1623"/>
                    </a:lnTo>
                    <a:close/>
                    <a:moveTo>
                      <a:pt x="1207" y="1082"/>
                    </a:moveTo>
                    <a:lnTo>
                      <a:pt x="1208" y="1083"/>
                    </a:lnTo>
                    <a:lnTo>
                      <a:pt x="1210" y="1083"/>
                    </a:lnTo>
                    <a:lnTo>
                      <a:pt x="1208" y="1085"/>
                    </a:lnTo>
                    <a:lnTo>
                      <a:pt x="1208" y="1083"/>
                    </a:lnTo>
                    <a:lnTo>
                      <a:pt x="1207" y="1083"/>
                    </a:lnTo>
                    <a:lnTo>
                      <a:pt x="1208" y="1083"/>
                    </a:lnTo>
                    <a:lnTo>
                      <a:pt x="1208" y="1085"/>
                    </a:lnTo>
                    <a:lnTo>
                      <a:pt x="1210" y="1085"/>
                    </a:lnTo>
                    <a:lnTo>
                      <a:pt x="1210" y="1087"/>
                    </a:lnTo>
                    <a:lnTo>
                      <a:pt x="1208" y="1087"/>
                    </a:lnTo>
                    <a:lnTo>
                      <a:pt x="1210" y="1088"/>
                    </a:lnTo>
                    <a:lnTo>
                      <a:pt x="1208" y="1088"/>
                    </a:lnTo>
                    <a:lnTo>
                      <a:pt x="1208" y="1090"/>
                    </a:lnTo>
                    <a:lnTo>
                      <a:pt x="1207" y="1090"/>
                    </a:lnTo>
                    <a:lnTo>
                      <a:pt x="1207" y="1092"/>
                    </a:lnTo>
                    <a:lnTo>
                      <a:pt x="1207" y="1090"/>
                    </a:lnTo>
                    <a:lnTo>
                      <a:pt x="1208" y="1090"/>
                    </a:lnTo>
                    <a:lnTo>
                      <a:pt x="1208" y="1088"/>
                    </a:lnTo>
                    <a:lnTo>
                      <a:pt x="1210" y="1088"/>
                    </a:lnTo>
                    <a:lnTo>
                      <a:pt x="1210" y="1090"/>
                    </a:lnTo>
                    <a:lnTo>
                      <a:pt x="1212" y="1090"/>
                    </a:lnTo>
                    <a:lnTo>
                      <a:pt x="1210" y="1090"/>
                    </a:lnTo>
                    <a:lnTo>
                      <a:pt x="1210" y="1092"/>
                    </a:lnTo>
                    <a:lnTo>
                      <a:pt x="1210" y="1090"/>
                    </a:lnTo>
                    <a:lnTo>
                      <a:pt x="1210" y="1092"/>
                    </a:lnTo>
                    <a:lnTo>
                      <a:pt x="1210" y="1090"/>
                    </a:lnTo>
                    <a:lnTo>
                      <a:pt x="1208" y="1092"/>
                    </a:lnTo>
                    <a:lnTo>
                      <a:pt x="1207" y="1092"/>
                    </a:lnTo>
                    <a:lnTo>
                      <a:pt x="1205" y="1092"/>
                    </a:lnTo>
                    <a:lnTo>
                      <a:pt x="1205" y="1090"/>
                    </a:lnTo>
                    <a:lnTo>
                      <a:pt x="1203" y="1090"/>
                    </a:lnTo>
                    <a:lnTo>
                      <a:pt x="1203" y="1088"/>
                    </a:lnTo>
                    <a:lnTo>
                      <a:pt x="1202" y="1088"/>
                    </a:lnTo>
                    <a:lnTo>
                      <a:pt x="1202" y="1087"/>
                    </a:lnTo>
                    <a:lnTo>
                      <a:pt x="1200" y="1085"/>
                    </a:lnTo>
                    <a:lnTo>
                      <a:pt x="1202" y="1085"/>
                    </a:lnTo>
                    <a:lnTo>
                      <a:pt x="1203" y="1087"/>
                    </a:lnTo>
                    <a:lnTo>
                      <a:pt x="1203" y="1088"/>
                    </a:lnTo>
                    <a:lnTo>
                      <a:pt x="1203" y="1087"/>
                    </a:lnTo>
                    <a:lnTo>
                      <a:pt x="1203" y="1085"/>
                    </a:lnTo>
                    <a:lnTo>
                      <a:pt x="1203" y="1083"/>
                    </a:lnTo>
                    <a:lnTo>
                      <a:pt x="1205" y="1083"/>
                    </a:lnTo>
                    <a:lnTo>
                      <a:pt x="1205" y="1082"/>
                    </a:lnTo>
                    <a:lnTo>
                      <a:pt x="1205" y="1083"/>
                    </a:lnTo>
                    <a:lnTo>
                      <a:pt x="1207" y="1082"/>
                    </a:lnTo>
                    <a:close/>
                    <a:moveTo>
                      <a:pt x="1207" y="1145"/>
                    </a:moveTo>
                    <a:lnTo>
                      <a:pt x="1207" y="1146"/>
                    </a:lnTo>
                    <a:lnTo>
                      <a:pt x="1208" y="1146"/>
                    </a:lnTo>
                    <a:lnTo>
                      <a:pt x="1208" y="1148"/>
                    </a:lnTo>
                    <a:lnTo>
                      <a:pt x="1207" y="1148"/>
                    </a:lnTo>
                    <a:lnTo>
                      <a:pt x="1208" y="1148"/>
                    </a:lnTo>
                    <a:lnTo>
                      <a:pt x="1208" y="1150"/>
                    </a:lnTo>
                    <a:lnTo>
                      <a:pt x="1207" y="1150"/>
                    </a:lnTo>
                    <a:lnTo>
                      <a:pt x="1208" y="1150"/>
                    </a:lnTo>
                    <a:lnTo>
                      <a:pt x="1208" y="1151"/>
                    </a:lnTo>
                    <a:lnTo>
                      <a:pt x="1207" y="1151"/>
                    </a:lnTo>
                    <a:lnTo>
                      <a:pt x="1208" y="1153"/>
                    </a:lnTo>
                    <a:lnTo>
                      <a:pt x="1207" y="1155"/>
                    </a:lnTo>
                    <a:lnTo>
                      <a:pt x="1205" y="1153"/>
                    </a:lnTo>
                    <a:lnTo>
                      <a:pt x="1203" y="1153"/>
                    </a:lnTo>
                    <a:lnTo>
                      <a:pt x="1203" y="1151"/>
                    </a:lnTo>
                    <a:lnTo>
                      <a:pt x="1203" y="1150"/>
                    </a:lnTo>
                    <a:lnTo>
                      <a:pt x="1205" y="1148"/>
                    </a:lnTo>
                    <a:lnTo>
                      <a:pt x="1207" y="1148"/>
                    </a:lnTo>
                    <a:lnTo>
                      <a:pt x="1205" y="1150"/>
                    </a:lnTo>
                    <a:lnTo>
                      <a:pt x="1207" y="1150"/>
                    </a:lnTo>
                    <a:lnTo>
                      <a:pt x="1205" y="1148"/>
                    </a:lnTo>
                    <a:lnTo>
                      <a:pt x="1207" y="1148"/>
                    </a:lnTo>
                    <a:lnTo>
                      <a:pt x="1207" y="1146"/>
                    </a:lnTo>
                    <a:lnTo>
                      <a:pt x="1205" y="1146"/>
                    </a:lnTo>
                    <a:lnTo>
                      <a:pt x="1203" y="1146"/>
                    </a:lnTo>
                    <a:lnTo>
                      <a:pt x="1203" y="1148"/>
                    </a:lnTo>
                    <a:lnTo>
                      <a:pt x="1205" y="1148"/>
                    </a:lnTo>
                    <a:lnTo>
                      <a:pt x="1203" y="1148"/>
                    </a:lnTo>
                    <a:lnTo>
                      <a:pt x="1203" y="1150"/>
                    </a:lnTo>
                    <a:lnTo>
                      <a:pt x="1202" y="1148"/>
                    </a:lnTo>
                    <a:lnTo>
                      <a:pt x="1202" y="1150"/>
                    </a:lnTo>
                    <a:lnTo>
                      <a:pt x="1203" y="1150"/>
                    </a:lnTo>
                    <a:lnTo>
                      <a:pt x="1203" y="1151"/>
                    </a:lnTo>
                    <a:lnTo>
                      <a:pt x="1202" y="1151"/>
                    </a:lnTo>
                    <a:lnTo>
                      <a:pt x="1200" y="1151"/>
                    </a:lnTo>
                    <a:lnTo>
                      <a:pt x="1200" y="1150"/>
                    </a:lnTo>
                    <a:lnTo>
                      <a:pt x="1198" y="1150"/>
                    </a:lnTo>
                    <a:lnTo>
                      <a:pt x="1200" y="1150"/>
                    </a:lnTo>
                    <a:lnTo>
                      <a:pt x="1200" y="1148"/>
                    </a:lnTo>
                    <a:lnTo>
                      <a:pt x="1200" y="1146"/>
                    </a:lnTo>
                    <a:lnTo>
                      <a:pt x="1202" y="1146"/>
                    </a:lnTo>
                    <a:lnTo>
                      <a:pt x="1203" y="1146"/>
                    </a:lnTo>
                    <a:lnTo>
                      <a:pt x="1205" y="1145"/>
                    </a:lnTo>
                    <a:lnTo>
                      <a:pt x="1203" y="1145"/>
                    </a:lnTo>
                    <a:lnTo>
                      <a:pt x="1205" y="1145"/>
                    </a:lnTo>
                    <a:lnTo>
                      <a:pt x="1205" y="1143"/>
                    </a:lnTo>
                    <a:lnTo>
                      <a:pt x="1207" y="1143"/>
                    </a:lnTo>
                    <a:lnTo>
                      <a:pt x="1207" y="1145"/>
                    </a:lnTo>
                    <a:close/>
                    <a:moveTo>
                      <a:pt x="1196" y="1065"/>
                    </a:moveTo>
                    <a:lnTo>
                      <a:pt x="1196" y="1066"/>
                    </a:lnTo>
                    <a:lnTo>
                      <a:pt x="1198" y="1066"/>
                    </a:lnTo>
                    <a:lnTo>
                      <a:pt x="1200" y="1066"/>
                    </a:lnTo>
                    <a:lnTo>
                      <a:pt x="1200" y="1068"/>
                    </a:lnTo>
                    <a:lnTo>
                      <a:pt x="1202" y="1068"/>
                    </a:lnTo>
                    <a:lnTo>
                      <a:pt x="1200" y="1068"/>
                    </a:lnTo>
                    <a:lnTo>
                      <a:pt x="1198" y="1068"/>
                    </a:lnTo>
                    <a:lnTo>
                      <a:pt x="1198" y="1070"/>
                    </a:lnTo>
                    <a:lnTo>
                      <a:pt x="1196" y="1068"/>
                    </a:lnTo>
                    <a:lnTo>
                      <a:pt x="1195" y="1068"/>
                    </a:lnTo>
                    <a:lnTo>
                      <a:pt x="1196" y="1070"/>
                    </a:lnTo>
                    <a:lnTo>
                      <a:pt x="1198" y="1071"/>
                    </a:lnTo>
                    <a:lnTo>
                      <a:pt x="1196" y="1070"/>
                    </a:lnTo>
                    <a:lnTo>
                      <a:pt x="1198" y="1070"/>
                    </a:lnTo>
                    <a:lnTo>
                      <a:pt x="1200" y="1071"/>
                    </a:lnTo>
                    <a:lnTo>
                      <a:pt x="1202" y="1071"/>
                    </a:lnTo>
                    <a:lnTo>
                      <a:pt x="1202" y="1070"/>
                    </a:lnTo>
                    <a:lnTo>
                      <a:pt x="1203" y="1070"/>
                    </a:lnTo>
                    <a:lnTo>
                      <a:pt x="1203" y="1071"/>
                    </a:lnTo>
                    <a:lnTo>
                      <a:pt x="1205" y="1071"/>
                    </a:lnTo>
                    <a:lnTo>
                      <a:pt x="1205" y="1073"/>
                    </a:lnTo>
                    <a:lnTo>
                      <a:pt x="1203" y="1073"/>
                    </a:lnTo>
                    <a:lnTo>
                      <a:pt x="1202" y="1073"/>
                    </a:lnTo>
                    <a:lnTo>
                      <a:pt x="1200" y="1073"/>
                    </a:lnTo>
                    <a:lnTo>
                      <a:pt x="1200" y="1071"/>
                    </a:lnTo>
                    <a:lnTo>
                      <a:pt x="1200" y="1073"/>
                    </a:lnTo>
                    <a:lnTo>
                      <a:pt x="1198" y="1073"/>
                    </a:lnTo>
                    <a:lnTo>
                      <a:pt x="1198" y="1071"/>
                    </a:lnTo>
                    <a:lnTo>
                      <a:pt x="1198" y="1073"/>
                    </a:lnTo>
                    <a:lnTo>
                      <a:pt x="1196" y="1073"/>
                    </a:lnTo>
                    <a:lnTo>
                      <a:pt x="1196" y="1071"/>
                    </a:lnTo>
                    <a:lnTo>
                      <a:pt x="1196" y="1073"/>
                    </a:lnTo>
                    <a:lnTo>
                      <a:pt x="1196" y="1071"/>
                    </a:lnTo>
                    <a:lnTo>
                      <a:pt x="1195" y="1071"/>
                    </a:lnTo>
                    <a:lnTo>
                      <a:pt x="1193" y="1070"/>
                    </a:lnTo>
                    <a:lnTo>
                      <a:pt x="1195" y="1068"/>
                    </a:lnTo>
                    <a:lnTo>
                      <a:pt x="1193" y="1068"/>
                    </a:lnTo>
                    <a:lnTo>
                      <a:pt x="1193" y="1066"/>
                    </a:lnTo>
                    <a:lnTo>
                      <a:pt x="1193" y="1065"/>
                    </a:lnTo>
                    <a:lnTo>
                      <a:pt x="1195" y="1065"/>
                    </a:lnTo>
                    <a:lnTo>
                      <a:pt x="1195" y="1063"/>
                    </a:lnTo>
                    <a:lnTo>
                      <a:pt x="1196" y="1063"/>
                    </a:lnTo>
                    <a:lnTo>
                      <a:pt x="1196" y="1065"/>
                    </a:lnTo>
                    <a:close/>
                    <a:moveTo>
                      <a:pt x="1254" y="1578"/>
                    </a:moveTo>
                    <a:lnTo>
                      <a:pt x="1254" y="1580"/>
                    </a:lnTo>
                    <a:lnTo>
                      <a:pt x="1254" y="1578"/>
                    </a:lnTo>
                    <a:lnTo>
                      <a:pt x="1256" y="1580"/>
                    </a:lnTo>
                    <a:lnTo>
                      <a:pt x="1254" y="1582"/>
                    </a:lnTo>
                    <a:lnTo>
                      <a:pt x="1256" y="1580"/>
                    </a:lnTo>
                    <a:lnTo>
                      <a:pt x="1256" y="1582"/>
                    </a:lnTo>
                    <a:lnTo>
                      <a:pt x="1258" y="1582"/>
                    </a:lnTo>
                    <a:lnTo>
                      <a:pt x="1256" y="1582"/>
                    </a:lnTo>
                    <a:lnTo>
                      <a:pt x="1256" y="1583"/>
                    </a:lnTo>
                    <a:lnTo>
                      <a:pt x="1254" y="1582"/>
                    </a:lnTo>
                    <a:lnTo>
                      <a:pt x="1254" y="1583"/>
                    </a:lnTo>
                    <a:lnTo>
                      <a:pt x="1254" y="1585"/>
                    </a:lnTo>
                    <a:lnTo>
                      <a:pt x="1254" y="1587"/>
                    </a:lnTo>
                    <a:lnTo>
                      <a:pt x="1253" y="1585"/>
                    </a:lnTo>
                    <a:lnTo>
                      <a:pt x="1253" y="1587"/>
                    </a:lnTo>
                    <a:lnTo>
                      <a:pt x="1254" y="1587"/>
                    </a:lnTo>
                    <a:lnTo>
                      <a:pt x="1253" y="1589"/>
                    </a:lnTo>
                    <a:lnTo>
                      <a:pt x="1251" y="1589"/>
                    </a:lnTo>
                    <a:lnTo>
                      <a:pt x="1251" y="1587"/>
                    </a:lnTo>
                    <a:lnTo>
                      <a:pt x="1249" y="1587"/>
                    </a:lnTo>
                    <a:lnTo>
                      <a:pt x="1251" y="1587"/>
                    </a:lnTo>
                    <a:lnTo>
                      <a:pt x="1249" y="1589"/>
                    </a:lnTo>
                    <a:lnTo>
                      <a:pt x="1251" y="1589"/>
                    </a:lnTo>
                    <a:lnTo>
                      <a:pt x="1253" y="1590"/>
                    </a:lnTo>
                    <a:lnTo>
                      <a:pt x="1251" y="1590"/>
                    </a:lnTo>
                    <a:lnTo>
                      <a:pt x="1249" y="1589"/>
                    </a:lnTo>
                    <a:lnTo>
                      <a:pt x="1249" y="1590"/>
                    </a:lnTo>
                    <a:lnTo>
                      <a:pt x="1247" y="1590"/>
                    </a:lnTo>
                    <a:lnTo>
                      <a:pt x="1247" y="1589"/>
                    </a:lnTo>
                    <a:lnTo>
                      <a:pt x="1246" y="1589"/>
                    </a:lnTo>
                    <a:lnTo>
                      <a:pt x="1247" y="1587"/>
                    </a:lnTo>
                    <a:lnTo>
                      <a:pt x="1247" y="1589"/>
                    </a:lnTo>
                    <a:lnTo>
                      <a:pt x="1247" y="1587"/>
                    </a:lnTo>
                    <a:lnTo>
                      <a:pt x="1246" y="1587"/>
                    </a:lnTo>
                    <a:lnTo>
                      <a:pt x="1247" y="1585"/>
                    </a:lnTo>
                    <a:lnTo>
                      <a:pt x="1249" y="1585"/>
                    </a:lnTo>
                    <a:lnTo>
                      <a:pt x="1251" y="1585"/>
                    </a:lnTo>
                    <a:lnTo>
                      <a:pt x="1249" y="1585"/>
                    </a:lnTo>
                    <a:lnTo>
                      <a:pt x="1249" y="1583"/>
                    </a:lnTo>
                    <a:lnTo>
                      <a:pt x="1251" y="1585"/>
                    </a:lnTo>
                    <a:lnTo>
                      <a:pt x="1251" y="1583"/>
                    </a:lnTo>
                    <a:lnTo>
                      <a:pt x="1253" y="1583"/>
                    </a:lnTo>
                    <a:lnTo>
                      <a:pt x="1253" y="1582"/>
                    </a:lnTo>
                    <a:lnTo>
                      <a:pt x="1251" y="1583"/>
                    </a:lnTo>
                    <a:lnTo>
                      <a:pt x="1249" y="1583"/>
                    </a:lnTo>
                    <a:lnTo>
                      <a:pt x="1249" y="1582"/>
                    </a:lnTo>
                    <a:lnTo>
                      <a:pt x="1251" y="1582"/>
                    </a:lnTo>
                    <a:lnTo>
                      <a:pt x="1251" y="1580"/>
                    </a:lnTo>
                    <a:lnTo>
                      <a:pt x="1249" y="1580"/>
                    </a:lnTo>
                    <a:lnTo>
                      <a:pt x="1249" y="1578"/>
                    </a:lnTo>
                    <a:lnTo>
                      <a:pt x="1251" y="1578"/>
                    </a:lnTo>
                    <a:lnTo>
                      <a:pt x="1253" y="1578"/>
                    </a:lnTo>
                    <a:lnTo>
                      <a:pt x="1253" y="1577"/>
                    </a:lnTo>
                    <a:lnTo>
                      <a:pt x="1254" y="1578"/>
                    </a:lnTo>
                    <a:close/>
                    <a:moveTo>
                      <a:pt x="1421" y="1667"/>
                    </a:moveTo>
                    <a:lnTo>
                      <a:pt x="1419" y="1669"/>
                    </a:lnTo>
                    <a:lnTo>
                      <a:pt x="1421" y="1669"/>
                    </a:lnTo>
                    <a:lnTo>
                      <a:pt x="1419" y="1670"/>
                    </a:lnTo>
                    <a:lnTo>
                      <a:pt x="1421" y="1670"/>
                    </a:lnTo>
                    <a:lnTo>
                      <a:pt x="1419" y="1672"/>
                    </a:lnTo>
                    <a:lnTo>
                      <a:pt x="1421" y="1672"/>
                    </a:lnTo>
                    <a:lnTo>
                      <a:pt x="1419" y="1674"/>
                    </a:lnTo>
                    <a:lnTo>
                      <a:pt x="1421" y="1675"/>
                    </a:lnTo>
                    <a:lnTo>
                      <a:pt x="1421" y="1674"/>
                    </a:lnTo>
                    <a:lnTo>
                      <a:pt x="1423" y="1674"/>
                    </a:lnTo>
                    <a:lnTo>
                      <a:pt x="1424" y="1675"/>
                    </a:lnTo>
                    <a:lnTo>
                      <a:pt x="1423" y="1675"/>
                    </a:lnTo>
                    <a:lnTo>
                      <a:pt x="1423" y="1677"/>
                    </a:lnTo>
                    <a:lnTo>
                      <a:pt x="1424" y="1677"/>
                    </a:lnTo>
                    <a:lnTo>
                      <a:pt x="1424" y="1679"/>
                    </a:lnTo>
                    <a:lnTo>
                      <a:pt x="1423" y="1679"/>
                    </a:lnTo>
                    <a:lnTo>
                      <a:pt x="1421" y="1680"/>
                    </a:lnTo>
                    <a:lnTo>
                      <a:pt x="1421" y="1679"/>
                    </a:lnTo>
                    <a:lnTo>
                      <a:pt x="1421" y="1677"/>
                    </a:lnTo>
                    <a:lnTo>
                      <a:pt x="1419" y="1679"/>
                    </a:lnTo>
                    <a:lnTo>
                      <a:pt x="1419" y="1677"/>
                    </a:lnTo>
                    <a:lnTo>
                      <a:pt x="1417" y="1679"/>
                    </a:lnTo>
                    <a:lnTo>
                      <a:pt x="1417" y="1677"/>
                    </a:lnTo>
                    <a:lnTo>
                      <a:pt x="1416" y="1677"/>
                    </a:lnTo>
                    <a:lnTo>
                      <a:pt x="1414" y="1677"/>
                    </a:lnTo>
                    <a:lnTo>
                      <a:pt x="1414" y="1675"/>
                    </a:lnTo>
                    <a:lnTo>
                      <a:pt x="1412" y="1675"/>
                    </a:lnTo>
                    <a:lnTo>
                      <a:pt x="1414" y="1675"/>
                    </a:lnTo>
                    <a:lnTo>
                      <a:pt x="1416" y="1675"/>
                    </a:lnTo>
                    <a:lnTo>
                      <a:pt x="1414" y="1675"/>
                    </a:lnTo>
                    <a:lnTo>
                      <a:pt x="1414" y="1674"/>
                    </a:lnTo>
                    <a:lnTo>
                      <a:pt x="1412" y="1672"/>
                    </a:lnTo>
                    <a:lnTo>
                      <a:pt x="1414" y="1672"/>
                    </a:lnTo>
                    <a:lnTo>
                      <a:pt x="1414" y="1670"/>
                    </a:lnTo>
                    <a:lnTo>
                      <a:pt x="1416" y="1670"/>
                    </a:lnTo>
                    <a:lnTo>
                      <a:pt x="1416" y="1672"/>
                    </a:lnTo>
                    <a:lnTo>
                      <a:pt x="1417" y="1672"/>
                    </a:lnTo>
                    <a:lnTo>
                      <a:pt x="1417" y="1674"/>
                    </a:lnTo>
                    <a:lnTo>
                      <a:pt x="1417" y="1675"/>
                    </a:lnTo>
                    <a:lnTo>
                      <a:pt x="1419" y="1675"/>
                    </a:lnTo>
                    <a:lnTo>
                      <a:pt x="1419" y="1674"/>
                    </a:lnTo>
                    <a:lnTo>
                      <a:pt x="1419" y="1672"/>
                    </a:lnTo>
                    <a:lnTo>
                      <a:pt x="1417" y="1672"/>
                    </a:lnTo>
                    <a:lnTo>
                      <a:pt x="1417" y="1670"/>
                    </a:lnTo>
                    <a:lnTo>
                      <a:pt x="1417" y="1669"/>
                    </a:lnTo>
                    <a:lnTo>
                      <a:pt x="1416" y="1669"/>
                    </a:lnTo>
                    <a:lnTo>
                      <a:pt x="1417" y="1667"/>
                    </a:lnTo>
                    <a:lnTo>
                      <a:pt x="1419" y="1667"/>
                    </a:lnTo>
                    <a:lnTo>
                      <a:pt x="1419" y="1665"/>
                    </a:lnTo>
                    <a:lnTo>
                      <a:pt x="1421" y="1665"/>
                    </a:lnTo>
                    <a:lnTo>
                      <a:pt x="1421" y="1667"/>
                    </a:lnTo>
                    <a:close/>
                    <a:moveTo>
                      <a:pt x="1198" y="1131"/>
                    </a:moveTo>
                    <a:lnTo>
                      <a:pt x="1196" y="1131"/>
                    </a:lnTo>
                    <a:lnTo>
                      <a:pt x="1198" y="1131"/>
                    </a:lnTo>
                    <a:lnTo>
                      <a:pt x="1200" y="1131"/>
                    </a:lnTo>
                    <a:lnTo>
                      <a:pt x="1200" y="1133"/>
                    </a:lnTo>
                    <a:lnTo>
                      <a:pt x="1202" y="1133"/>
                    </a:lnTo>
                    <a:lnTo>
                      <a:pt x="1202" y="1134"/>
                    </a:lnTo>
                    <a:lnTo>
                      <a:pt x="1200" y="1134"/>
                    </a:lnTo>
                    <a:lnTo>
                      <a:pt x="1202" y="1136"/>
                    </a:lnTo>
                    <a:lnTo>
                      <a:pt x="1200" y="1136"/>
                    </a:lnTo>
                    <a:lnTo>
                      <a:pt x="1200" y="1138"/>
                    </a:lnTo>
                    <a:lnTo>
                      <a:pt x="1198" y="1140"/>
                    </a:lnTo>
                    <a:lnTo>
                      <a:pt x="1196" y="1140"/>
                    </a:lnTo>
                    <a:lnTo>
                      <a:pt x="1195" y="1140"/>
                    </a:lnTo>
                    <a:lnTo>
                      <a:pt x="1195" y="1138"/>
                    </a:lnTo>
                    <a:lnTo>
                      <a:pt x="1195" y="1136"/>
                    </a:lnTo>
                    <a:lnTo>
                      <a:pt x="1195" y="1134"/>
                    </a:lnTo>
                    <a:lnTo>
                      <a:pt x="1193" y="1134"/>
                    </a:lnTo>
                    <a:lnTo>
                      <a:pt x="1193" y="1133"/>
                    </a:lnTo>
                    <a:lnTo>
                      <a:pt x="1195" y="1133"/>
                    </a:lnTo>
                    <a:lnTo>
                      <a:pt x="1195" y="1131"/>
                    </a:lnTo>
                    <a:lnTo>
                      <a:pt x="1196" y="1131"/>
                    </a:lnTo>
                    <a:lnTo>
                      <a:pt x="1196" y="1129"/>
                    </a:lnTo>
                    <a:lnTo>
                      <a:pt x="1198" y="1131"/>
                    </a:lnTo>
                    <a:close/>
                    <a:moveTo>
                      <a:pt x="1202" y="1153"/>
                    </a:moveTo>
                    <a:lnTo>
                      <a:pt x="1203" y="1153"/>
                    </a:lnTo>
                    <a:lnTo>
                      <a:pt x="1205" y="1155"/>
                    </a:lnTo>
                    <a:lnTo>
                      <a:pt x="1203" y="1155"/>
                    </a:lnTo>
                    <a:lnTo>
                      <a:pt x="1203" y="1157"/>
                    </a:lnTo>
                    <a:lnTo>
                      <a:pt x="1205" y="1155"/>
                    </a:lnTo>
                    <a:lnTo>
                      <a:pt x="1207" y="1155"/>
                    </a:lnTo>
                    <a:lnTo>
                      <a:pt x="1208" y="1157"/>
                    </a:lnTo>
                    <a:lnTo>
                      <a:pt x="1208" y="1158"/>
                    </a:lnTo>
                    <a:lnTo>
                      <a:pt x="1207" y="1158"/>
                    </a:lnTo>
                    <a:lnTo>
                      <a:pt x="1207" y="1160"/>
                    </a:lnTo>
                    <a:lnTo>
                      <a:pt x="1207" y="1162"/>
                    </a:lnTo>
                    <a:lnTo>
                      <a:pt x="1205" y="1163"/>
                    </a:lnTo>
                    <a:lnTo>
                      <a:pt x="1205" y="1162"/>
                    </a:lnTo>
                    <a:lnTo>
                      <a:pt x="1203" y="1162"/>
                    </a:lnTo>
                    <a:lnTo>
                      <a:pt x="1202" y="1160"/>
                    </a:lnTo>
                    <a:lnTo>
                      <a:pt x="1203" y="1160"/>
                    </a:lnTo>
                    <a:lnTo>
                      <a:pt x="1205" y="1160"/>
                    </a:lnTo>
                    <a:lnTo>
                      <a:pt x="1203" y="1160"/>
                    </a:lnTo>
                    <a:lnTo>
                      <a:pt x="1202" y="1160"/>
                    </a:lnTo>
                    <a:lnTo>
                      <a:pt x="1202" y="1158"/>
                    </a:lnTo>
                    <a:lnTo>
                      <a:pt x="1202" y="1157"/>
                    </a:lnTo>
                    <a:lnTo>
                      <a:pt x="1200" y="1157"/>
                    </a:lnTo>
                    <a:lnTo>
                      <a:pt x="1198" y="1157"/>
                    </a:lnTo>
                    <a:lnTo>
                      <a:pt x="1200" y="1157"/>
                    </a:lnTo>
                    <a:lnTo>
                      <a:pt x="1200" y="1155"/>
                    </a:lnTo>
                    <a:lnTo>
                      <a:pt x="1200" y="1153"/>
                    </a:lnTo>
                    <a:lnTo>
                      <a:pt x="1202" y="1153"/>
                    </a:lnTo>
                    <a:close/>
                    <a:moveTo>
                      <a:pt x="1179" y="1257"/>
                    </a:moveTo>
                    <a:lnTo>
                      <a:pt x="1179" y="1259"/>
                    </a:lnTo>
                    <a:lnTo>
                      <a:pt x="1181" y="1259"/>
                    </a:lnTo>
                    <a:lnTo>
                      <a:pt x="1183" y="1260"/>
                    </a:lnTo>
                    <a:lnTo>
                      <a:pt x="1183" y="1262"/>
                    </a:lnTo>
                    <a:lnTo>
                      <a:pt x="1185" y="1262"/>
                    </a:lnTo>
                    <a:lnTo>
                      <a:pt x="1185" y="1264"/>
                    </a:lnTo>
                    <a:lnTo>
                      <a:pt x="1186" y="1265"/>
                    </a:lnTo>
                    <a:lnTo>
                      <a:pt x="1185" y="1265"/>
                    </a:lnTo>
                    <a:lnTo>
                      <a:pt x="1185" y="1267"/>
                    </a:lnTo>
                    <a:lnTo>
                      <a:pt x="1183" y="1267"/>
                    </a:lnTo>
                    <a:lnTo>
                      <a:pt x="1183" y="1269"/>
                    </a:lnTo>
                    <a:lnTo>
                      <a:pt x="1181" y="1269"/>
                    </a:lnTo>
                    <a:lnTo>
                      <a:pt x="1179" y="1269"/>
                    </a:lnTo>
                    <a:lnTo>
                      <a:pt x="1179" y="1267"/>
                    </a:lnTo>
                    <a:lnTo>
                      <a:pt x="1179" y="1265"/>
                    </a:lnTo>
                    <a:lnTo>
                      <a:pt x="1181" y="1265"/>
                    </a:lnTo>
                    <a:lnTo>
                      <a:pt x="1179" y="1265"/>
                    </a:lnTo>
                    <a:lnTo>
                      <a:pt x="1179" y="1264"/>
                    </a:lnTo>
                    <a:lnTo>
                      <a:pt x="1181" y="1262"/>
                    </a:lnTo>
                    <a:lnTo>
                      <a:pt x="1183" y="1260"/>
                    </a:lnTo>
                    <a:lnTo>
                      <a:pt x="1181" y="1260"/>
                    </a:lnTo>
                    <a:lnTo>
                      <a:pt x="1181" y="1262"/>
                    </a:lnTo>
                    <a:lnTo>
                      <a:pt x="1179" y="1262"/>
                    </a:lnTo>
                    <a:lnTo>
                      <a:pt x="1179" y="1264"/>
                    </a:lnTo>
                    <a:lnTo>
                      <a:pt x="1179" y="1265"/>
                    </a:lnTo>
                    <a:lnTo>
                      <a:pt x="1178" y="1265"/>
                    </a:lnTo>
                    <a:lnTo>
                      <a:pt x="1178" y="1264"/>
                    </a:lnTo>
                    <a:lnTo>
                      <a:pt x="1178" y="1262"/>
                    </a:lnTo>
                    <a:lnTo>
                      <a:pt x="1178" y="1260"/>
                    </a:lnTo>
                    <a:lnTo>
                      <a:pt x="1179" y="1260"/>
                    </a:lnTo>
                    <a:lnTo>
                      <a:pt x="1178" y="1260"/>
                    </a:lnTo>
                    <a:lnTo>
                      <a:pt x="1178" y="1259"/>
                    </a:lnTo>
                    <a:lnTo>
                      <a:pt x="1178" y="1260"/>
                    </a:lnTo>
                    <a:lnTo>
                      <a:pt x="1178" y="1259"/>
                    </a:lnTo>
                    <a:lnTo>
                      <a:pt x="1179" y="1259"/>
                    </a:lnTo>
                    <a:lnTo>
                      <a:pt x="1181" y="1259"/>
                    </a:lnTo>
                    <a:lnTo>
                      <a:pt x="1179" y="1259"/>
                    </a:lnTo>
                    <a:lnTo>
                      <a:pt x="1179" y="1257"/>
                    </a:lnTo>
                    <a:lnTo>
                      <a:pt x="1178" y="1257"/>
                    </a:lnTo>
                    <a:lnTo>
                      <a:pt x="1179" y="1257"/>
                    </a:lnTo>
                    <a:close/>
                    <a:moveTo>
                      <a:pt x="1196" y="1126"/>
                    </a:moveTo>
                    <a:lnTo>
                      <a:pt x="1198" y="1126"/>
                    </a:lnTo>
                    <a:lnTo>
                      <a:pt x="1200" y="1126"/>
                    </a:lnTo>
                    <a:lnTo>
                      <a:pt x="1200" y="1128"/>
                    </a:lnTo>
                    <a:lnTo>
                      <a:pt x="1202" y="1126"/>
                    </a:lnTo>
                    <a:lnTo>
                      <a:pt x="1202" y="1128"/>
                    </a:lnTo>
                    <a:lnTo>
                      <a:pt x="1202" y="1126"/>
                    </a:lnTo>
                    <a:lnTo>
                      <a:pt x="1203" y="1126"/>
                    </a:lnTo>
                    <a:lnTo>
                      <a:pt x="1203" y="1128"/>
                    </a:lnTo>
                    <a:lnTo>
                      <a:pt x="1203" y="1129"/>
                    </a:lnTo>
                    <a:lnTo>
                      <a:pt x="1202" y="1131"/>
                    </a:lnTo>
                    <a:lnTo>
                      <a:pt x="1202" y="1133"/>
                    </a:lnTo>
                    <a:lnTo>
                      <a:pt x="1200" y="1131"/>
                    </a:lnTo>
                    <a:lnTo>
                      <a:pt x="1200" y="1129"/>
                    </a:lnTo>
                    <a:lnTo>
                      <a:pt x="1200" y="1131"/>
                    </a:lnTo>
                    <a:lnTo>
                      <a:pt x="1198" y="1131"/>
                    </a:lnTo>
                    <a:lnTo>
                      <a:pt x="1198" y="1129"/>
                    </a:lnTo>
                    <a:lnTo>
                      <a:pt x="1196" y="1129"/>
                    </a:lnTo>
                    <a:lnTo>
                      <a:pt x="1195" y="1129"/>
                    </a:lnTo>
                    <a:lnTo>
                      <a:pt x="1195" y="1131"/>
                    </a:lnTo>
                    <a:lnTo>
                      <a:pt x="1193" y="1131"/>
                    </a:lnTo>
                    <a:lnTo>
                      <a:pt x="1193" y="1133"/>
                    </a:lnTo>
                    <a:lnTo>
                      <a:pt x="1191" y="1131"/>
                    </a:lnTo>
                    <a:lnTo>
                      <a:pt x="1193" y="1131"/>
                    </a:lnTo>
                    <a:lnTo>
                      <a:pt x="1193" y="1129"/>
                    </a:lnTo>
                    <a:lnTo>
                      <a:pt x="1195" y="1129"/>
                    </a:lnTo>
                    <a:lnTo>
                      <a:pt x="1193" y="1129"/>
                    </a:lnTo>
                    <a:lnTo>
                      <a:pt x="1193" y="1128"/>
                    </a:lnTo>
                    <a:lnTo>
                      <a:pt x="1195" y="1126"/>
                    </a:lnTo>
                    <a:lnTo>
                      <a:pt x="1196" y="1126"/>
                    </a:lnTo>
                    <a:lnTo>
                      <a:pt x="1198" y="1126"/>
                    </a:lnTo>
                    <a:lnTo>
                      <a:pt x="1196" y="1126"/>
                    </a:lnTo>
                    <a:lnTo>
                      <a:pt x="1195" y="1126"/>
                    </a:lnTo>
                    <a:lnTo>
                      <a:pt x="1195" y="1124"/>
                    </a:lnTo>
                    <a:lnTo>
                      <a:pt x="1196" y="1126"/>
                    </a:lnTo>
                    <a:close/>
                    <a:moveTo>
                      <a:pt x="1156" y="1291"/>
                    </a:moveTo>
                    <a:lnTo>
                      <a:pt x="1157" y="1291"/>
                    </a:lnTo>
                    <a:lnTo>
                      <a:pt x="1157" y="1293"/>
                    </a:lnTo>
                    <a:lnTo>
                      <a:pt x="1159" y="1293"/>
                    </a:lnTo>
                    <a:lnTo>
                      <a:pt x="1161" y="1293"/>
                    </a:lnTo>
                    <a:lnTo>
                      <a:pt x="1161" y="1294"/>
                    </a:lnTo>
                    <a:lnTo>
                      <a:pt x="1161" y="1296"/>
                    </a:lnTo>
                    <a:lnTo>
                      <a:pt x="1162" y="1296"/>
                    </a:lnTo>
                    <a:lnTo>
                      <a:pt x="1162" y="1298"/>
                    </a:lnTo>
                    <a:lnTo>
                      <a:pt x="1161" y="1296"/>
                    </a:lnTo>
                    <a:lnTo>
                      <a:pt x="1161" y="1298"/>
                    </a:lnTo>
                    <a:lnTo>
                      <a:pt x="1159" y="1296"/>
                    </a:lnTo>
                    <a:lnTo>
                      <a:pt x="1159" y="1298"/>
                    </a:lnTo>
                    <a:lnTo>
                      <a:pt x="1161" y="1298"/>
                    </a:lnTo>
                    <a:lnTo>
                      <a:pt x="1162" y="1299"/>
                    </a:lnTo>
                    <a:lnTo>
                      <a:pt x="1161" y="1299"/>
                    </a:lnTo>
                    <a:lnTo>
                      <a:pt x="1159" y="1301"/>
                    </a:lnTo>
                    <a:lnTo>
                      <a:pt x="1157" y="1301"/>
                    </a:lnTo>
                    <a:lnTo>
                      <a:pt x="1157" y="1303"/>
                    </a:lnTo>
                    <a:lnTo>
                      <a:pt x="1157" y="1301"/>
                    </a:lnTo>
                    <a:lnTo>
                      <a:pt x="1157" y="1299"/>
                    </a:lnTo>
                    <a:lnTo>
                      <a:pt x="1156" y="1299"/>
                    </a:lnTo>
                    <a:lnTo>
                      <a:pt x="1156" y="1298"/>
                    </a:lnTo>
                    <a:lnTo>
                      <a:pt x="1156" y="1296"/>
                    </a:lnTo>
                    <a:lnTo>
                      <a:pt x="1156" y="1294"/>
                    </a:lnTo>
                    <a:lnTo>
                      <a:pt x="1157" y="1296"/>
                    </a:lnTo>
                    <a:lnTo>
                      <a:pt x="1156" y="1294"/>
                    </a:lnTo>
                    <a:lnTo>
                      <a:pt x="1154" y="1294"/>
                    </a:lnTo>
                    <a:lnTo>
                      <a:pt x="1154" y="1293"/>
                    </a:lnTo>
                    <a:lnTo>
                      <a:pt x="1154" y="1291"/>
                    </a:lnTo>
                    <a:lnTo>
                      <a:pt x="1156" y="1291"/>
                    </a:lnTo>
                    <a:close/>
                    <a:moveTo>
                      <a:pt x="1202" y="1046"/>
                    </a:moveTo>
                    <a:lnTo>
                      <a:pt x="1202" y="1048"/>
                    </a:lnTo>
                    <a:lnTo>
                      <a:pt x="1203" y="1048"/>
                    </a:lnTo>
                    <a:lnTo>
                      <a:pt x="1203" y="1049"/>
                    </a:lnTo>
                    <a:lnTo>
                      <a:pt x="1202" y="1049"/>
                    </a:lnTo>
                    <a:lnTo>
                      <a:pt x="1200" y="1049"/>
                    </a:lnTo>
                    <a:lnTo>
                      <a:pt x="1200" y="1051"/>
                    </a:lnTo>
                    <a:lnTo>
                      <a:pt x="1198" y="1049"/>
                    </a:lnTo>
                    <a:lnTo>
                      <a:pt x="1198" y="1051"/>
                    </a:lnTo>
                    <a:lnTo>
                      <a:pt x="1200" y="1051"/>
                    </a:lnTo>
                    <a:lnTo>
                      <a:pt x="1200" y="1053"/>
                    </a:lnTo>
                    <a:lnTo>
                      <a:pt x="1202" y="1053"/>
                    </a:lnTo>
                    <a:lnTo>
                      <a:pt x="1200" y="1053"/>
                    </a:lnTo>
                    <a:lnTo>
                      <a:pt x="1200" y="1054"/>
                    </a:lnTo>
                    <a:lnTo>
                      <a:pt x="1198" y="1054"/>
                    </a:lnTo>
                    <a:lnTo>
                      <a:pt x="1196" y="1054"/>
                    </a:lnTo>
                    <a:lnTo>
                      <a:pt x="1196" y="1053"/>
                    </a:lnTo>
                    <a:lnTo>
                      <a:pt x="1196" y="1051"/>
                    </a:lnTo>
                    <a:lnTo>
                      <a:pt x="1196" y="1053"/>
                    </a:lnTo>
                    <a:lnTo>
                      <a:pt x="1195" y="1053"/>
                    </a:lnTo>
                    <a:lnTo>
                      <a:pt x="1193" y="1053"/>
                    </a:lnTo>
                    <a:lnTo>
                      <a:pt x="1193" y="1051"/>
                    </a:lnTo>
                    <a:lnTo>
                      <a:pt x="1191" y="1051"/>
                    </a:lnTo>
                    <a:lnTo>
                      <a:pt x="1191" y="1049"/>
                    </a:lnTo>
                    <a:lnTo>
                      <a:pt x="1191" y="1048"/>
                    </a:lnTo>
                    <a:lnTo>
                      <a:pt x="1193" y="1048"/>
                    </a:lnTo>
                    <a:lnTo>
                      <a:pt x="1195" y="1048"/>
                    </a:lnTo>
                    <a:lnTo>
                      <a:pt x="1196" y="1049"/>
                    </a:lnTo>
                    <a:lnTo>
                      <a:pt x="1198" y="1049"/>
                    </a:lnTo>
                    <a:lnTo>
                      <a:pt x="1200" y="1049"/>
                    </a:lnTo>
                    <a:lnTo>
                      <a:pt x="1200" y="1048"/>
                    </a:lnTo>
                    <a:lnTo>
                      <a:pt x="1202" y="1048"/>
                    </a:lnTo>
                    <a:lnTo>
                      <a:pt x="1202" y="1046"/>
                    </a:lnTo>
                    <a:close/>
                    <a:moveTo>
                      <a:pt x="1185" y="1325"/>
                    </a:moveTo>
                    <a:lnTo>
                      <a:pt x="1186" y="1327"/>
                    </a:lnTo>
                    <a:lnTo>
                      <a:pt x="1186" y="1328"/>
                    </a:lnTo>
                    <a:lnTo>
                      <a:pt x="1188" y="1328"/>
                    </a:lnTo>
                    <a:lnTo>
                      <a:pt x="1188" y="1330"/>
                    </a:lnTo>
                    <a:lnTo>
                      <a:pt x="1188" y="1332"/>
                    </a:lnTo>
                    <a:lnTo>
                      <a:pt x="1188" y="1333"/>
                    </a:lnTo>
                    <a:lnTo>
                      <a:pt x="1186" y="1333"/>
                    </a:lnTo>
                    <a:lnTo>
                      <a:pt x="1185" y="1333"/>
                    </a:lnTo>
                    <a:lnTo>
                      <a:pt x="1185" y="1335"/>
                    </a:lnTo>
                    <a:lnTo>
                      <a:pt x="1183" y="1335"/>
                    </a:lnTo>
                    <a:lnTo>
                      <a:pt x="1183" y="1333"/>
                    </a:lnTo>
                    <a:lnTo>
                      <a:pt x="1181" y="1333"/>
                    </a:lnTo>
                    <a:lnTo>
                      <a:pt x="1183" y="1333"/>
                    </a:lnTo>
                    <a:lnTo>
                      <a:pt x="1183" y="1332"/>
                    </a:lnTo>
                    <a:lnTo>
                      <a:pt x="1183" y="1330"/>
                    </a:lnTo>
                    <a:lnTo>
                      <a:pt x="1181" y="1328"/>
                    </a:lnTo>
                    <a:lnTo>
                      <a:pt x="1181" y="1327"/>
                    </a:lnTo>
                    <a:lnTo>
                      <a:pt x="1183" y="1327"/>
                    </a:lnTo>
                    <a:lnTo>
                      <a:pt x="1183" y="1325"/>
                    </a:lnTo>
                    <a:lnTo>
                      <a:pt x="1183" y="1323"/>
                    </a:lnTo>
                    <a:lnTo>
                      <a:pt x="1185" y="1325"/>
                    </a:lnTo>
                    <a:close/>
                    <a:moveTo>
                      <a:pt x="1169" y="1242"/>
                    </a:moveTo>
                    <a:lnTo>
                      <a:pt x="1171" y="1242"/>
                    </a:lnTo>
                    <a:lnTo>
                      <a:pt x="1171" y="1243"/>
                    </a:lnTo>
                    <a:lnTo>
                      <a:pt x="1171" y="1245"/>
                    </a:lnTo>
                    <a:lnTo>
                      <a:pt x="1171" y="1247"/>
                    </a:lnTo>
                    <a:lnTo>
                      <a:pt x="1169" y="1247"/>
                    </a:lnTo>
                    <a:lnTo>
                      <a:pt x="1169" y="1245"/>
                    </a:lnTo>
                    <a:lnTo>
                      <a:pt x="1169" y="1247"/>
                    </a:lnTo>
                    <a:lnTo>
                      <a:pt x="1169" y="1248"/>
                    </a:lnTo>
                    <a:lnTo>
                      <a:pt x="1168" y="1248"/>
                    </a:lnTo>
                    <a:lnTo>
                      <a:pt x="1169" y="1248"/>
                    </a:lnTo>
                    <a:lnTo>
                      <a:pt x="1171" y="1248"/>
                    </a:lnTo>
                    <a:lnTo>
                      <a:pt x="1171" y="1250"/>
                    </a:lnTo>
                    <a:lnTo>
                      <a:pt x="1171" y="1252"/>
                    </a:lnTo>
                    <a:lnTo>
                      <a:pt x="1169" y="1252"/>
                    </a:lnTo>
                    <a:lnTo>
                      <a:pt x="1168" y="1252"/>
                    </a:lnTo>
                    <a:lnTo>
                      <a:pt x="1168" y="1250"/>
                    </a:lnTo>
                    <a:lnTo>
                      <a:pt x="1166" y="1250"/>
                    </a:lnTo>
                    <a:lnTo>
                      <a:pt x="1164" y="1250"/>
                    </a:lnTo>
                    <a:lnTo>
                      <a:pt x="1164" y="1248"/>
                    </a:lnTo>
                    <a:lnTo>
                      <a:pt x="1164" y="1247"/>
                    </a:lnTo>
                    <a:lnTo>
                      <a:pt x="1166" y="1248"/>
                    </a:lnTo>
                    <a:lnTo>
                      <a:pt x="1168" y="1248"/>
                    </a:lnTo>
                    <a:lnTo>
                      <a:pt x="1166" y="1248"/>
                    </a:lnTo>
                    <a:lnTo>
                      <a:pt x="1164" y="1247"/>
                    </a:lnTo>
                    <a:lnTo>
                      <a:pt x="1166" y="1247"/>
                    </a:lnTo>
                    <a:lnTo>
                      <a:pt x="1164" y="1245"/>
                    </a:lnTo>
                    <a:lnTo>
                      <a:pt x="1166" y="1245"/>
                    </a:lnTo>
                    <a:lnTo>
                      <a:pt x="1166" y="1243"/>
                    </a:lnTo>
                    <a:lnTo>
                      <a:pt x="1168" y="1245"/>
                    </a:lnTo>
                    <a:lnTo>
                      <a:pt x="1168" y="1243"/>
                    </a:lnTo>
                    <a:lnTo>
                      <a:pt x="1168" y="1245"/>
                    </a:lnTo>
                    <a:lnTo>
                      <a:pt x="1168" y="1243"/>
                    </a:lnTo>
                    <a:lnTo>
                      <a:pt x="1169" y="1243"/>
                    </a:lnTo>
                    <a:lnTo>
                      <a:pt x="1168" y="1243"/>
                    </a:lnTo>
                    <a:lnTo>
                      <a:pt x="1166" y="1242"/>
                    </a:lnTo>
                    <a:lnTo>
                      <a:pt x="1168" y="1242"/>
                    </a:lnTo>
                    <a:lnTo>
                      <a:pt x="1169" y="1242"/>
                    </a:lnTo>
                    <a:close/>
                    <a:moveTo>
                      <a:pt x="1162" y="1286"/>
                    </a:moveTo>
                    <a:lnTo>
                      <a:pt x="1162" y="1288"/>
                    </a:lnTo>
                    <a:lnTo>
                      <a:pt x="1162" y="1289"/>
                    </a:lnTo>
                    <a:lnTo>
                      <a:pt x="1162" y="1291"/>
                    </a:lnTo>
                    <a:lnTo>
                      <a:pt x="1161" y="1291"/>
                    </a:lnTo>
                    <a:lnTo>
                      <a:pt x="1161" y="1293"/>
                    </a:lnTo>
                    <a:lnTo>
                      <a:pt x="1161" y="1294"/>
                    </a:lnTo>
                    <a:lnTo>
                      <a:pt x="1159" y="1293"/>
                    </a:lnTo>
                    <a:lnTo>
                      <a:pt x="1157" y="1291"/>
                    </a:lnTo>
                    <a:lnTo>
                      <a:pt x="1156" y="1291"/>
                    </a:lnTo>
                    <a:lnTo>
                      <a:pt x="1156" y="1289"/>
                    </a:lnTo>
                    <a:lnTo>
                      <a:pt x="1156" y="1291"/>
                    </a:lnTo>
                    <a:lnTo>
                      <a:pt x="1156" y="1289"/>
                    </a:lnTo>
                    <a:lnTo>
                      <a:pt x="1157" y="1288"/>
                    </a:lnTo>
                    <a:lnTo>
                      <a:pt x="1159" y="1288"/>
                    </a:lnTo>
                    <a:lnTo>
                      <a:pt x="1159" y="1289"/>
                    </a:lnTo>
                    <a:lnTo>
                      <a:pt x="1159" y="1288"/>
                    </a:lnTo>
                    <a:lnTo>
                      <a:pt x="1157" y="1288"/>
                    </a:lnTo>
                    <a:lnTo>
                      <a:pt x="1159" y="1286"/>
                    </a:lnTo>
                    <a:lnTo>
                      <a:pt x="1161" y="1284"/>
                    </a:lnTo>
                    <a:lnTo>
                      <a:pt x="1161" y="1282"/>
                    </a:lnTo>
                    <a:lnTo>
                      <a:pt x="1162" y="1282"/>
                    </a:lnTo>
                    <a:lnTo>
                      <a:pt x="1162" y="1284"/>
                    </a:lnTo>
                    <a:lnTo>
                      <a:pt x="1162" y="1286"/>
                    </a:lnTo>
                    <a:close/>
                    <a:moveTo>
                      <a:pt x="1188" y="1265"/>
                    </a:moveTo>
                    <a:lnTo>
                      <a:pt x="1188" y="1267"/>
                    </a:lnTo>
                    <a:lnTo>
                      <a:pt x="1188" y="1269"/>
                    </a:lnTo>
                    <a:lnTo>
                      <a:pt x="1190" y="1270"/>
                    </a:lnTo>
                    <a:lnTo>
                      <a:pt x="1188" y="1270"/>
                    </a:lnTo>
                    <a:lnTo>
                      <a:pt x="1190" y="1270"/>
                    </a:lnTo>
                    <a:lnTo>
                      <a:pt x="1190" y="1272"/>
                    </a:lnTo>
                    <a:lnTo>
                      <a:pt x="1191" y="1274"/>
                    </a:lnTo>
                    <a:lnTo>
                      <a:pt x="1190" y="1276"/>
                    </a:lnTo>
                    <a:lnTo>
                      <a:pt x="1188" y="1276"/>
                    </a:lnTo>
                    <a:lnTo>
                      <a:pt x="1188" y="1274"/>
                    </a:lnTo>
                    <a:lnTo>
                      <a:pt x="1186" y="1274"/>
                    </a:lnTo>
                    <a:lnTo>
                      <a:pt x="1188" y="1274"/>
                    </a:lnTo>
                    <a:lnTo>
                      <a:pt x="1188" y="1272"/>
                    </a:lnTo>
                    <a:lnTo>
                      <a:pt x="1186" y="1272"/>
                    </a:lnTo>
                    <a:lnTo>
                      <a:pt x="1185" y="1272"/>
                    </a:lnTo>
                    <a:lnTo>
                      <a:pt x="1183" y="1270"/>
                    </a:lnTo>
                    <a:lnTo>
                      <a:pt x="1181" y="1270"/>
                    </a:lnTo>
                    <a:lnTo>
                      <a:pt x="1181" y="1269"/>
                    </a:lnTo>
                    <a:lnTo>
                      <a:pt x="1183" y="1269"/>
                    </a:lnTo>
                    <a:lnTo>
                      <a:pt x="1185" y="1269"/>
                    </a:lnTo>
                    <a:lnTo>
                      <a:pt x="1185" y="1270"/>
                    </a:lnTo>
                    <a:lnTo>
                      <a:pt x="1186" y="1270"/>
                    </a:lnTo>
                    <a:lnTo>
                      <a:pt x="1188" y="1272"/>
                    </a:lnTo>
                    <a:lnTo>
                      <a:pt x="1186" y="1270"/>
                    </a:lnTo>
                    <a:lnTo>
                      <a:pt x="1185" y="1269"/>
                    </a:lnTo>
                    <a:lnTo>
                      <a:pt x="1185" y="1267"/>
                    </a:lnTo>
                    <a:lnTo>
                      <a:pt x="1186" y="1265"/>
                    </a:lnTo>
                    <a:lnTo>
                      <a:pt x="1188" y="1265"/>
                    </a:lnTo>
                    <a:close/>
                    <a:moveTo>
                      <a:pt x="1186" y="1403"/>
                    </a:moveTo>
                    <a:lnTo>
                      <a:pt x="1186" y="1405"/>
                    </a:lnTo>
                    <a:lnTo>
                      <a:pt x="1188" y="1407"/>
                    </a:lnTo>
                    <a:lnTo>
                      <a:pt x="1188" y="1408"/>
                    </a:lnTo>
                    <a:lnTo>
                      <a:pt x="1188" y="1410"/>
                    </a:lnTo>
                    <a:lnTo>
                      <a:pt x="1188" y="1412"/>
                    </a:lnTo>
                    <a:lnTo>
                      <a:pt x="1190" y="1412"/>
                    </a:lnTo>
                    <a:lnTo>
                      <a:pt x="1190" y="1413"/>
                    </a:lnTo>
                    <a:lnTo>
                      <a:pt x="1190" y="1415"/>
                    </a:lnTo>
                    <a:lnTo>
                      <a:pt x="1190" y="1417"/>
                    </a:lnTo>
                    <a:lnTo>
                      <a:pt x="1191" y="1418"/>
                    </a:lnTo>
                    <a:lnTo>
                      <a:pt x="1190" y="1418"/>
                    </a:lnTo>
                    <a:lnTo>
                      <a:pt x="1190" y="1420"/>
                    </a:lnTo>
                    <a:lnTo>
                      <a:pt x="1188" y="1420"/>
                    </a:lnTo>
                    <a:lnTo>
                      <a:pt x="1188" y="1422"/>
                    </a:lnTo>
                    <a:lnTo>
                      <a:pt x="1188" y="1420"/>
                    </a:lnTo>
                    <a:lnTo>
                      <a:pt x="1188" y="1418"/>
                    </a:lnTo>
                    <a:lnTo>
                      <a:pt x="1188" y="1417"/>
                    </a:lnTo>
                    <a:lnTo>
                      <a:pt x="1186" y="1415"/>
                    </a:lnTo>
                    <a:lnTo>
                      <a:pt x="1188" y="1415"/>
                    </a:lnTo>
                    <a:lnTo>
                      <a:pt x="1186" y="1413"/>
                    </a:lnTo>
                    <a:lnTo>
                      <a:pt x="1186" y="1412"/>
                    </a:lnTo>
                    <a:lnTo>
                      <a:pt x="1186" y="1410"/>
                    </a:lnTo>
                    <a:lnTo>
                      <a:pt x="1186" y="1408"/>
                    </a:lnTo>
                    <a:lnTo>
                      <a:pt x="1185" y="1407"/>
                    </a:lnTo>
                    <a:lnTo>
                      <a:pt x="1186" y="1407"/>
                    </a:lnTo>
                    <a:lnTo>
                      <a:pt x="1185" y="1407"/>
                    </a:lnTo>
                    <a:lnTo>
                      <a:pt x="1186" y="1407"/>
                    </a:lnTo>
                    <a:lnTo>
                      <a:pt x="1186" y="1405"/>
                    </a:lnTo>
                    <a:lnTo>
                      <a:pt x="1185" y="1405"/>
                    </a:lnTo>
                    <a:lnTo>
                      <a:pt x="1185" y="1403"/>
                    </a:lnTo>
                    <a:lnTo>
                      <a:pt x="1186" y="1403"/>
                    </a:lnTo>
                    <a:close/>
                    <a:moveTo>
                      <a:pt x="1185" y="1112"/>
                    </a:moveTo>
                    <a:lnTo>
                      <a:pt x="1186" y="1114"/>
                    </a:lnTo>
                    <a:lnTo>
                      <a:pt x="1188" y="1114"/>
                    </a:lnTo>
                    <a:lnTo>
                      <a:pt x="1188" y="1116"/>
                    </a:lnTo>
                    <a:lnTo>
                      <a:pt x="1188" y="1114"/>
                    </a:lnTo>
                    <a:lnTo>
                      <a:pt x="1190" y="1114"/>
                    </a:lnTo>
                    <a:lnTo>
                      <a:pt x="1190" y="1116"/>
                    </a:lnTo>
                    <a:lnTo>
                      <a:pt x="1190" y="1117"/>
                    </a:lnTo>
                    <a:lnTo>
                      <a:pt x="1188" y="1117"/>
                    </a:lnTo>
                    <a:lnTo>
                      <a:pt x="1190" y="1117"/>
                    </a:lnTo>
                    <a:lnTo>
                      <a:pt x="1190" y="1119"/>
                    </a:lnTo>
                    <a:lnTo>
                      <a:pt x="1190" y="1121"/>
                    </a:lnTo>
                    <a:lnTo>
                      <a:pt x="1188" y="1121"/>
                    </a:lnTo>
                    <a:lnTo>
                      <a:pt x="1188" y="1119"/>
                    </a:lnTo>
                    <a:lnTo>
                      <a:pt x="1188" y="1117"/>
                    </a:lnTo>
                    <a:lnTo>
                      <a:pt x="1188" y="1116"/>
                    </a:lnTo>
                    <a:lnTo>
                      <a:pt x="1188" y="1114"/>
                    </a:lnTo>
                    <a:lnTo>
                      <a:pt x="1186" y="1116"/>
                    </a:lnTo>
                    <a:lnTo>
                      <a:pt x="1188" y="1117"/>
                    </a:lnTo>
                    <a:lnTo>
                      <a:pt x="1186" y="1117"/>
                    </a:lnTo>
                    <a:lnTo>
                      <a:pt x="1186" y="1116"/>
                    </a:lnTo>
                    <a:lnTo>
                      <a:pt x="1186" y="1117"/>
                    </a:lnTo>
                    <a:lnTo>
                      <a:pt x="1186" y="1119"/>
                    </a:lnTo>
                    <a:lnTo>
                      <a:pt x="1186" y="1121"/>
                    </a:lnTo>
                    <a:lnTo>
                      <a:pt x="1186" y="1119"/>
                    </a:lnTo>
                    <a:lnTo>
                      <a:pt x="1185" y="1119"/>
                    </a:lnTo>
                    <a:lnTo>
                      <a:pt x="1185" y="1117"/>
                    </a:lnTo>
                    <a:lnTo>
                      <a:pt x="1183" y="1117"/>
                    </a:lnTo>
                    <a:lnTo>
                      <a:pt x="1183" y="1116"/>
                    </a:lnTo>
                    <a:lnTo>
                      <a:pt x="1183" y="1114"/>
                    </a:lnTo>
                    <a:lnTo>
                      <a:pt x="1183" y="1112"/>
                    </a:lnTo>
                    <a:lnTo>
                      <a:pt x="1185" y="1112"/>
                    </a:lnTo>
                    <a:close/>
                    <a:moveTo>
                      <a:pt x="1161" y="1235"/>
                    </a:moveTo>
                    <a:lnTo>
                      <a:pt x="1159" y="1236"/>
                    </a:lnTo>
                    <a:lnTo>
                      <a:pt x="1161" y="1236"/>
                    </a:lnTo>
                    <a:lnTo>
                      <a:pt x="1161" y="1238"/>
                    </a:lnTo>
                    <a:lnTo>
                      <a:pt x="1159" y="1240"/>
                    </a:lnTo>
                    <a:lnTo>
                      <a:pt x="1157" y="1240"/>
                    </a:lnTo>
                    <a:lnTo>
                      <a:pt x="1159" y="1240"/>
                    </a:lnTo>
                    <a:lnTo>
                      <a:pt x="1161" y="1240"/>
                    </a:lnTo>
                    <a:lnTo>
                      <a:pt x="1162" y="1240"/>
                    </a:lnTo>
                    <a:lnTo>
                      <a:pt x="1162" y="1242"/>
                    </a:lnTo>
                    <a:lnTo>
                      <a:pt x="1161" y="1242"/>
                    </a:lnTo>
                    <a:lnTo>
                      <a:pt x="1161" y="1243"/>
                    </a:lnTo>
                    <a:lnTo>
                      <a:pt x="1159" y="1243"/>
                    </a:lnTo>
                    <a:lnTo>
                      <a:pt x="1157" y="1243"/>
                    </a:lnTo>
                    <a:lnTo>
                      <a:pt x="1157" y="1242"/>
                    </a:lnTo>
                    <a:lnTo>
                      <a:pt x="1156" y="1240"/>
                    </a:lnTo>
                    <a:lnTo>
                      <a:pt x="1156" y="1242"/>
                    </a:lnTo>
                    <a:lnTo>
                      <a:pt x="1157" y="1243"/>
                    </a:lnTo>
                    <a:lnTo>
                      <a:pt x="1156" y="1243"/>
                    </a:lnTo>
                    <a:lnTo>
                      <a:pt x="1156" y="1242"/>
                    </a:lnTo>
                    <a:lnTo>
                      <a:pt x="1156" y="1240"/>
                    </a:lnTo>
                    <a:lnTo>
                      <a:pt x="1154" y="1240"/>
                    </a:lnTo>
                    <a:lnTo>
                      <a:pt x="1152" y="1240"/>
                    </a:lnTo>
                    <a:lnTo>
                      <a:pt x="1151" y="1240"/>
                    </a:lnTo>
                    <a:lnTo>
                      <a:pt x="1151" y="1242"/>
                    </a:lnTo>
                    <a:lnTo>
                      <a:pt x="1151" y="1240"/>
                    </a:lnTo>
                    <a:lnTo>
                      <a:pt x="1151" y="1238"/>
                    </a:lnTo>
                    <a:lnTo>
                      <a:pt x="1152" y="1238"/>
                    </a:lnTo>
                    <a:lnTo>
                      <a:pt x="1152" y="1236"/>
                    </a:lnTo>
                    <a:lnTo>
                      <a:pt x="1152" y="1238"/>
                    </a:lnTo>
                    <a:lnTo>
                      <a:pt x="1154" y="1236"/>
                    </a:lnTo>
                    <a:lnTo>
                      <a:pt x="1154" y="1238"/>
                    </a:lnTo>
                    <a:lnTo>
                      <a:pt x="1154" y="1240"/>
                    </a:lnTo>
                    <a:lnTo>
                      <a:pt x="1154" y="1238"/>
                    </a:lnTo>
                    <a:lnTo>
                      <a:pt x="1156" y="1238"/>
                    </a:lnTo>
                    <a:lnTo>
                      <a:pt x="1157" y="1238"/>
                    </a:lnTo>
                    <a:lnTo>
                      <a:pt x="1157" y="1236"/>
                    </a:lnTo>
                    <a:lnTo>
                      <a:pt x="1159" y="1236"/>
                    </a:lnTo>
                    <a:lnTo>
                      <a:pt x="1157" y="1236"/>
                    </a:lnTo>
                    <a:lnTo>
                      <a:pt x="1159" y="1235"/>
                    </a:lnTo>
                    <a:lnTo>
                      <a:pt x="1161" y="1235"/>
                    </a:lnTo>
                    <a:close/>
                    <a:moveTo>
                      <a:pt x="1234" y="1456"/>
                    </a:moveTo>
                    <a:lnTo>
                      <a:pt x="1234" y="1458"/>
                    </a:lnTo>
                    <a:lnTo>
                      <a:pt x="1232" y="1458"/>
                    </a:lnTo>
                    <a:lnTo>
                      <a:pt x="1232" y="1459"/>
                    </a:lnTo>
                    <a:lnTo>
                      <a:pt x="1232" y="1461"/>
                    </a:lnTo>
                    <a:lnTo>
                      <a:pt x="1230" y="1461"/>
                    </a:lnTo>
                    <a:lnTo>
                      <a:pt x="1230" y="1463"/>
                    </a:lnTo>
                    <a:lnTo>
                      <a:pt x="1230" y="1464"/>
                    </a:lnTo>
                    <a:lnTo>
                      <a:pt x="1229" y="1464"/>
                    </a:lnTo>
                    <a:lnTo>
                      <a:pt x="1229" y="1466"/>
                    </a:lnTo>
                    <a:lnTo>
                      <a:pt x="1227" y="1466"/>
                    </a:lnTo>
                    <a:lnTo>
                      <a:pt x="1225" y="1466"/>
                    </a:lnTo>
                    <a:lnTo>
                      <a:pt x="1225" y="1464"/>
                    </a:lnTo>
                    <a:lnTo>
                      <a:pt x="1225" y="1463"/>
                    </a:lnTo>
                    <a:lnTo>
                      <a:pt x="1225" y="1461"/>
                    </a:lnTo>
                    <a:lnTo>
                      <a:pt x="1227" y="1461"/>
                    </a:lnTo>
                    <a:lnTo>
                      <a:pt x="1227" y="1459"/>
                    </a:lnTo>
                    <a:lnTo>
                      <a:pt x="1229" y="1458"/>
                    </a:lnTo>
                    <a:lnTo>
                      <a:pt x="1230" y="1458"/>
                    </a:lnTo>
                    <a:lnTo>
                      <a:pt x="1230" y="1456"/>
                    </a:lnTo>
                    <a:lnTo>
                      <a:pt x="1232" y="1456"/>
                    </a:lnTo>
                    <a:lnTo>
                      <a:pt x="1234" y="1456"/>
                    </a:lnTo>
                    <a:lnTo>
                      <a:pt x="1234" y="1454"/>
                    </a:lnTo>
                    <a:lnTo>
                      <a:pt x="1234" y="1456"/>
                    </a:lnTo>
                    <a:close/>
                    <a:moveTo>
                      <a:pt x="1183" y="1117"/>
                    </a:moveTo>
                    <a:lnTo>
                      <a:pt x="1185" y="1117"/>
                    </a:lnTo>
                    <a:lnTo>
                      <a:pt x="1185" y="1119"/>
                    </a:lnTo>
                    <a:lnTo>
                      <a:pt x="1186" y="1119"/>
                    </a:lnTo>
                    <a:lnTo>
                      <a:pt x="1186" y="1121"/>
                    </a:lnTo>
                    <a:lnTo>
                      <a:pt x="1186" y="1122"/>
                    </a:lnTo>
                    <a:lnTo>
                      <a:pt x="1188" y="1124"/>
                    </a:lnTo>
                    <a:lnTo>
                      <a:pt x="1186" y="1124"/>
                    </a:lnTo>
                    <a:lnTo>
                      <a:pt x="1185" y="1124"/>
                    </a:lnTo>
                    <a:lnTo>
                      <a:pt x="1183" y="1124"/>
                    </a:lnTo>
                    <a:lnTo>
                      <a:pt x="1183" y="1122"/>
                    </a:lnTo>
                    <a:lnTo>
                      <a:pt x="1181" y="1122"/>
                    </a:lnTo>
                    <a:lnTo>
                      <a:pt x="1179" y="1122"/>
                    </a:lnTo>
                    <a:lnTo>
                      <a:pt x="1179" y="1121"/>
                    </a:lnTo>
                    <a:lnTo>
                      <a:pt x="1179" y="1119"/>
                    </a:lnTo>
                    <a:lnTo>
                      <a:pt x="1181" y="1117"/>
                    </a:lnTo>
                    <a:lnTo>
                      <a:pt x="1183" y="1117"/>
                    </a:lnTo>
                    <a:close/>
                    <a:moveTo>
                      <a:pt x="1173" y="1373"/>
                    </a:moveTo>
                    <a:lnTo>
                      <a:pt x="1174" y="1373"/>
                    </a:lnTo>
                    <a:lnTo>
                      <a:pt x="1174" y="1374"/>
                    </a:lnTo>
                    <a:lnTo>
                      <a:pt x="1176" y="1374"/>
                    </a:lnTo>
                    <a:lnTo>
                      <a:pt x="1178" y="1374"/>
                    </a:lnTo>
                    <a:lnTo>
                      <a:pt x="1176" y="1374"/>
                    </a:lnTo>
                    <a:lnTo>
                      <a:pt x="1178" y="1374"/>
                    </a:lnTo>
                    <a:lnTo>
                      <a:pt x="1178" y="1376"/>
                    </a:lnTo>
                    <a:lnTo>
                      <a:pt x="1176" y="1376"/>
                    </a:lnTo>
                    <a:lnTo>
                      <a:pt x="1176" y="1378"/>
                    </a:lnTo>
                    <a:lnTo>
                      <a:pt x="1176" y="1376"/>
                    </a:lnTo>
                    <a:lnTo>
                      <a:pt x="1176" y="1378"/>
                    </a:lnTo>
                    <a:lnTo>
                      <a:pt x="1174" y="1378"/>
                    </a:lnTo>
                    <a:lnTo>
                      <a:pt x="1174" y="1379"/>
                    </a:lnTo>
                    <a:lnTo>
                      <a:pt x="1173" y="1379"/>
                    </a:lnTo>
                    <a:lnTo>
                      <a:pt x="1173" y="1381"/>
                    </a:lnTo>
                    <a:lnTo>
                      <a:pt x="1171" y="1381"/>
                    </a:lnTo>
                    <a:lnTo>
                      <a:pt x="1169" y="1379"/>
                    </a:lnTo>
                    <a:lnTo>
                      <a:pt x="1171" y="1379"/>
                    </a:lnTo>
                    <a:lnTo>
                      <a:pt x="1171" y="1378"/>
                    </a:lnTo>
                    <a:lnTo>
                      <a:pt x="1171" y="1379"/>
                    </a:lnTo>
                    <a:lnTo>
                      <a:pt x="1171" y="1378"/>
                    </a:lnTo>
                    <a:lnTo>
                      <a:pt x="1171" y="1376"/>
                    </a:lnTo>
                    <a:lnTo>
                      <a:pt x="1171" y="1378"/>
                    </a:lnTo>
                    <a:lnTo>
                      <a:pt x="1169" y="1378"/>
                    </a:lnTo>
                    <a:lnTo>
                      <a:pt x="1169" y="1376"/>
                    </a:lnTo>
                    <a:lnTo>
                      <a:pt x="1171" y="1376"/>
                    </a:lnTo>
                    <a:lnTo>
                      <a:pt x="1171" y="1374"/>
                    </a:lnTo>
                    <a:lnTo>
                      <a:pt x="1173" y="1374"/>
                    </a:lnTo>
                    <a:lnTo>
                      <a:pt x="1173" y="1373"/>
                    </a:lnTo>
                    <a:close/>
                    <a:moveTo>
                      <a:pt x="1436" y="1645"/>
                    </a:moveTo>
                    <a:lnTo>
                      <a:pt x="1438" y="1645"/>
                    </a:lnTo>
                    <a:lnTo>
                      <a:pt x="1438" y="1646"/>
                    </a:lnTo>
                    <a:lnTo>
                      <a:pt x="1438" y="1648"/>
                    </a:lnTo>
                    <a:lnTo>
                      <a:pt x="1438" y="1650"/>
                    </a:lnTo>
                    <a:lnTo>
                      <a:pt x="1438" y="1652"/>
                    </a:lnTo>
                    <a:lnTo>
                      <a:pt x="1436" y="1652"/>
                    </a:lnTo>
                    <a:lnTo>
                      <a:pt x="1438" y="1653"/>
                    </a:lnTo>
                    <a:lnTo>
                      <a:pt x="1436" y="1652"/>
                    </a:lnTo>
                    <a:lnTo>
                      <a:pt x="1436" y="1653"/>
                    </a:lnTo>
                    <a:lnTo>
                      <a:pt x="1434" y="1653"/>
                    </a:lnTo>
                    <a:lnTo>
                      <a:pt x="1433" y="1653"/>
                    </a:lnTo>
                    <a:lnTo>
                      <a:pt x="1431" y="1653"/>
                    </a:lnTo>
                    <a:lnTo>
                      <a:pt x="1431" y="1652"/>
                    </a:lnTo>
                    <a:lnTo>
                      <a:pt x="1431" y="1650"/>
                    </a:lnTo>
                    <a:lnTo>
                      <a:pt x="1431" y="1648"/>
                    </a:lnTo>
                    <a:lnTo>
                      <a:pt x="1433" y="1646"/>
                    </a:lnTo>
                    <a:lnTo>
                      <a:pt x="1434" y="1645"/>
                    </a:lnTo>
                    <a:lnTo>
                      <a:pt x="1436" y="1645"/>
                    </a:lnTo>
                    <a:close/>
                    <a:moveTo>
                      <a:pt x="1171" y="1036"/>
                    </a:moveTo>
                    <a:lnTo>
                      <a:pt x="1173" y="1036"/>
                    </a:lnTo>
                    <a:lnTo>
                      <a:pt x="1174" y="1036"/>
                    </a:lnTo>
                    <a:lnTo>
                      <a:pt x="1176" y="1037"/>
                    </a:lnTo>
                    <a:lnTo>
                      <a:pt x="1176" y="1039"/>
                    </a:lnTo>
                    <a:lnTo>
                      <a:pt x="1178" y="1039"/>
                    </a:lnTo>
                    <a:lnTo>
                      <a:pt x="1176" y="1039"/>
                    </a:lnTo>
                    <a:lnTo>
                      <a:pt x="1176" y="1041"/>
                    </a:lnTo>
                    <a:lnTo>
                      <a:pt x="1174" y="1041"/>
                    </a:lnTo>
                    <a:lnTo>
                      <a:pt x="1173" y="1041"/>
                    </a:lnTo>
                    <a:lnTo>
                      <a:pt x="1171" y="1041"/>
                    </a:lnTo>
                    <a:lnTo>
                      <a:pt x="1171" y="1043"/>
                    </a:lnTo>
                    <a:lnTo>
                      <a:pt x="1169" y="1041"/>
                    </a:lnTo>
                    <a:lnTo>
                      <a:pt x="1169" y="1039"/>
                    </a:lnTo>
                    <a:lnTo>
                      <a:pt x="1169" y="1037"/>
                    </a:lnTo>
                    <a:lnTo>
                      <a:pt x="1168" y="1037"/>
                    </a:lnTo>
                    <a:lnTo>
                      <a:pt x="1169" y="1037"/>
                    </a:lnTo>
                    <a:lnTo>
                      <a:pt x="1168" y="1036"/>
                    </a:lnTo>
                    <a:lnTo>
                      <a:pt x="1169" y="1037"/>
                    </a:lnTo>
                    <a:lnTo>
                      <a:pt x="1171" y="1037"/>
                    </a:lnTo>
                    <a:lnTo>
                      <a:pt x="1171" y="1036"/>
                    </a:lnTo>
                    <a:lnTo>
                      <a:pt x="1171" y="1034"/>
                    </a:lnTo>
                    <a:lnTo>
                      <a:pt x="1171" y="1036"/>
                    </a:lnTo>
                    <a:close/>
                    <a:moveTo>
                      <a:pt x="1195" y="1420"/>
                    </a:moveTo>
                    <a:lnTo>
                      <a:pt x="1196" y="1420"/>
                    </a:lnTo>
                    <a:lnTo>
                      <a:pt x="1198" y="1420"/>
                    </a:lnTo>
                    <a:lnTo>
                      <a:pt x="1198" y="1422"/>
                    </a:lnTo>
                    <a:lnTo>
                      <a:pt x="1198" y="1424"/>
                    </a:lnTo>
                    <a:lnTo>
                      <a:pt x="1198" y="1425"/>
                    </a:lnTo>
                    <a:lnTo>
                      <a:pt x="1196" y="1424"/>
                    </a:lnTo>
                    <a:lnTo>
                      <a:pt x="1196" y="1425"/>
                    </a:lnTo>
                    <a:lnTo>
                      <a:pt x="1198" y="1427"/>
                    </a:lnTo>
                    <a:lnTo>
                      <a:pt x="1196" y="1427"/>
                    </a:lnTo>
                    <a:lnTo>
                      <a:pt x="1195" y="1429"/>
                    </a:lnTo>
                    <a:lnTo>
                      <a:pt x="1195" y="1427"/>
                    </a:lnTo>
                    <a:lnTo>
                      <a:pt x="1193" y="1425"/>
                    </a:lnTo>
                    <a:lnTo>
                      <a:pt x="1193" y="1424"/>
                    </a:lnTo>
                    <a:lnTo>
                      <a:pt x="1193" y="1425"/>
                    </a:lnTo>
                    <a:lnTo>
                      <a:pt x="1193" y="1424"/>
                    </a:lnTo>
                    <a:lnTo>
                      <a:pt x="1193" y="1422"/>
                    </a:lnTo>
                    <a:lnTo>
                      <a:pt x="1193" y="1420"/>
                    </a:lnTo>
                    <a:lnTo>
                      <a:pt x="1195" y="1420"/>
                    </a:lnTo>
                    <a:close/>
                    <a:moveTo>
                      <a:pt x="1412" y="1680"/>
                    </a:moveTo>
                    <a:lnTo>
                      <a:pt x="1414" y="1680"/>
                    </a:lnTo>
                    <a:lnTo>
                      <a:pt x="1416" y="1682"/>
                    </a:lnTo>
                    <a:lnTo>
                      <a:pt x="1414" y="1682"/>
                    </a:lnTo>
                    <a:lnTo>
                      <a:pt x="1414" y="1684"/>
                    </a:lnTo>
                    <a:lnTo>
                      <a:pt x="1412" y="1684"/>
                    </a:lnTo>
                    <a:lnTo>
                      <a:pt x="1414" y="1684"/>
                    </a:lnTo>
                    <a:lnTo>
                      <a:pt x="1414" y="1686"/>
                    </a:lnTo>
                    <a:lnTo>
                      <a:pt x="1412" y="1686"/>
                    </a:lnTo>
                    <a:lnTo>
                      <a:pt x="1412" y="1684"/>
                    </a:lnTo>
                    <a:lnTo>
                      <a:pt x="1412" y="1686"/>
                    </a:lnTo>
                    <a:lnTo>
                      <a:pt x="1411" y="1687"/>
                    </a:lnTo>
                    <a:lnTo>
                      <a:pt x="1411" y="1686"/>
                    </a:lnTo>
                    <a:lnTo>
                      <a:pt x="1411" y="1684"/>
                    </a:lnTo>
                    <a:lnTo>
                      <a:pt x="1412" y="1684"/>
                    </a:lnTo>
                    <a:lnTo>
                      <a:pt x="1411" y="1682"/>
                    </a:lnTo>
                    <a:lnTo>
                      <a:pt x="1411" y="1684"/>
                    </a:lnTo>
                    <a:lnTo>
                      <a:pt x="1409" y="1684"/>
                    </a:lnTo>
                    <a:lnTo>
                      <a:pt x="1409" y="1686"/>
                    </a:lnTo>
                    <a:lnTo>
                      <a:pt x="1407" y="1686"/>
                    </a:lnTo>
                    <a:lnTo>
                      <a:pt x="1407" y="1684"/>
                    </a:lnTo>
                    <a:lnTo>
                      <a:pt x="1407" y="1682"/>
                    </a:lnTo>
                    <a:lnTo>
                      <a:pt x="1407" y="1684"/>
                    </a:lnTo>
                    <a:lnTo>
                      <a:pt x="1406" y="1684"/>
                    </a:lnTo>
                    <a:lnTo>
                      <a:pt x="1406" y="1686"/>
                    </a:lnTo>
                    <a:lnTo>
                      <a:pt x="1404" y="1686"/>
                    </a:lnTo>
                    <a:lnTo>
                      <a:pt x="1404" y="1684"/>
                    </a:lnTo>
                    <a:lnTo>
                      <a:pt x="1404" y="1686"/>
                    </a:lnTo>
                    <a:lnTo>
                      <a:pt x="1402" y="1686"/>
                    </a:lnTo>
                    <a:lnTo>
                      <a:pt x="1402" y="1684"/>
                    </a:lnTo>
                    <a:lnTo>
                      <a:pt x="1402" y="1682"/>
                    </a:lnTo>
                    <a:lnTo>
                      <a:pt x="1402" y="1680"/>
                    </a:lnTo>
                    <a:lnTo>
                      <a:pt x="1404" y="1682"/>
                    </a:lnTo>
                    <a:lnTo>
                      <a:pt x="1404" y="1680"/>
                    </a:lnTo>
                    <a:lnTo>
                      <a:pt x="1406" y="1680"/>
                    </a:lnTo>
                    <a:lnTo>
                      <a:pt x="1406" y="1682"/>
                    </a:lnTo>
                    <a:lnTo>
                      <a:pt x="1406" y="1680"/>
                    </a:lnTo>
                    <a:lnTo>
                      <a:pt x="1407" y="1682"/>
                    </a:lnTo>
                    <a:lnTo>
                      <a:pt x="1409" y="1680"/>
                    </a:lnTo>
                    <a:lnTo>
                      <a:pt x="1409" y="1682"/>
                    </a:lnTo>
                    <a:lnTo>
                      <a:pt x="1411" y="1680"/>
                    </a:lnTo>
                    <a:lnTo>
                      <a:pt x="1411" y="1682"/>
                    </a:lnTo>
                    <a:lnTo>
                      <a:pt x="1411" y="1680"/>
                    </a:lnTo>
                    <a:lnTo>
                      <a:pt x="1412" y="1682"/>
                    </a:lnTo>
                    <a:lnTo>
                      <a:pt x="1414" y="1680"/>
                    </a:lnTo>
                    <a:lnTo>
                      <a:pt x="1412" y="1680"/>
                    </a:lnTo>
                    <a:lnTo>
                      <a:pt x="1412" y="1679"/>
                    </a:lnTo>
                    <a:lnTo>
                      <a:pt x="1412" y="1680"/>
                    </a:lnTo>
                    <a:close/>
                    <a:moveTo>
                      <a:pt x="1162" y="1446"/>
                    </a:moveTo>
                    <a:lnTo>
                      <a:pt x="1164" y="1447"/>
                    </a:lnTo>
                    <a:lnTo>
                      <a:pt x="1162" y="1449"/>
                    </a:lnTo>
                    <a:lnTo>
                      <a:pt x="1164" y="1449"/>
                    </a:lnTo>
                    <a:lnTo>
                      <a:pt x="1162" y="1451"/>
                    </a:lnTo>
                    <a:lnTo>
                      <a:pt x="1164" y="1451"/>
                    </a:lnTo>
                    <a:lnTo>
                      <a:pt x="1164" y="1453"/>
                    </a:lnTo>
                    <a:lnTo>
                      <a:pt x="1162" y="1453"/>
                    </a:lnTo>
                    <a:lnTo>
                      <a:pt x="1162" y="1454"/>
                    </a:lnTo>
                    <a:lnTo>
                      <a:pt x="1162" y="1456"/>
                    </a:lnTo>
                    <a:lnTo>
                      <a:pt x="1161" y="1456"/>
                    </a:lnTo>
                    <a:lnTo>
                      <a:pt x="1161" y="1458"/>
                    </a:lnTo>
                    <a:lnTo>
                      <a:pt x="1159" y="1458"/>
                    </a:lnTo>
                    <a:lnTo>
                      <a:pt x="1159" y="1456"/>
                    </a:lnTo>
                    <a:lnTo>
                      <a:pt x="1161" y="1454"/>
                    </a:lnTo>
                    <a:lnTo>
                      <a:pt x="1161" y="1453"/>
                    </a:lnTo>
                    <a:lnTo>
                      <a:pt x="1159" y="1453"/>
                    </a:lnTo>
                    <a:lnTo>
                      <a:pt x="1159" y="1451"/>
                    </a:lnTo>
                    <a:lnTo>
                      <a:pt x="1161" y="1451"/>
                    </a:lnTo>
                    <a:lnTo>
                      <a:pt x="1159" y="1449"/>
                    </a:lnTo>
                    <a:lnTo>
                      <a:pt x="1161" y="1447"/>
                    </a:lnTo>
                    <a:lnTo>
                      <a:pt x="1161" y="1449"/>
                    </a:lnTo>
                    <a:lnTo>
                      <a:pt x="1161" y="1447"/>
                    </a:lnTo>
                    <a:lnTo>
                      <a:pt x="1162" y="1447"/>
                    </a:lnTo>
                    <a:lnTo>
                      <a:pt x="1162" y="1446"/>
                    </a:lnTo>
                    <a:close/>
                    <a:moveTo>
                      <a:pt x="1312" y="1623"/>
                    </a:moveTo>
                    <a:lnTo>
                      <a:pt x="1314" y="1623"/>
                    </a:lnTo>
                    <a:lnTo>
                      <a:pt x="1315" y="1623"/>
                    </a:lnTo>
                    <a:lnTo>
                      <a:pt x="1317" y="1623"/>
                    </a:lnTo>
                    <a:lnTo>
                      <a:pt x="1315" y="1624"/>
                    </a:lnTo>
                    <a:lnTo>
                      <a:pt x="1317" y="1624"/>
                    </a:lnTo>
                    <a:lnTo>
                      <a:pt x="1319" y="1624"/>
                    </a:lnTo>
                    <a:lnTo>
                      <a:pt x="1317" y="1626"/>
                    </a:lnTo>
                    <a:lnTo>
                      <a:pt x="1315" y="1626"/>
                    </a:lnTo>
                    <a:lnTo>
                      <a:pt x="1314" y="1626"/>
                    </a:lnTo>
                    <a:lnTo>
                      <a:pt x="1314" y="1628"/>
                    </a:lnTo>
                    <a:lnTo>
                      <a:pt x="1312" y="1626"/>
                    </a:lnTo>
                    <a:lnTo>
                      <a:pt x="1312" y="1628"/>
                    </a:lnTo>
                    <a:lnTo>
                      <a:pt x="1310" y="1628"/>
                    </a:lnTo>
                    <a:lnTo>
                      <a:pt x="1310" y="1626"/>
                    </a:lnTo>
                    <a:lnTo>
                      <a:pt x="1309" y="1628"/>
                    </a:lnTo>
                    <a:lnTo>
                      <a:pt x="1309" y="1626"/>
                    </a:lnTo>
                    <a:lnTo>
                      <a:pt x="1307" y="1624"/>
                    </a:lnTo>
                    <a:lnTo>
                      <a:pt x="1307" y="1626"/>
                    </a:lnTo>
                    <a:lnTo>
                      <a:pt x="1305" y="1626"/>
                    </a:lnTo>
                    <a:lnTo>
                      <a:pt x="1305" y="1624"/>
                    </a:lnTo>
                    <a:lnTo>
                      <a:pt x="1307" y="1624"/>
                    </a:lnTo>
                    <a:lnTo>
                      <a:pt x="1307" y="1623"/>
                    </a:lnTo>
                    <a:lnTo>
                      <a:pt x="1309" y="1623"/>
                    </a:lnTo>
                    <a:lnTo>
                      <a:pt x="1309" y="1624"/>
                    </a:lnTo>
                    <a:lnTo>
                      <a:pt x="1310" y="1623"/>
                    </a:lnTo>
                    <a:lnTo>
                      <a:pt x="1312" y="1623"/>
                    </a:lnTo>
                    <a:close/>
                    <a:moveTo>
                      <a:pt x="1179" y="1133"/>
                    </a:moveTo>
                    <a:lnTo>
                      <a:pt x="1179" y="1134"/>
                    </a:lnTo>
                    <a:lnTo>
                      <a:pt x="1178" y="1134"/>
                    </a:lnTo>
                    <a:lnTo>
                      <a:pt x="1178" y="1136"/>
                    </a:lnTo>
                    <a:lnTo>
                      <a:pt x="1178" y="1138"/>
                    </a:lnTo>
                    <a:lnTo>
                      <a:pt x="1178" y="1140"/>
                    </a:lnTo>
                    <a:lnTo>
                      <a:pt x="1176" y="1141"/>
                    </a:lnTo>
                    <a:lnTo>
                      <a:pt x="1176" y="1140"/>
                    </a:lnTo>
                    <a:lnTo>
                      <a:pt x="1174" y="1141"/>
                    </a:lnTo>
                    <a:lnTo>
                      <a:pt x="1173" y="1140"/>
                    </a:lnTo>
                    <a:lnTo>
                      <a:pt x="1174" y="1140"/>
                    </a:lnTo>
                    <a:lnTo>
                      <a:pt x="1173" y="1140"/>
                    </a:lnTo>
                    <a:lnTo>
                      <a:pt x="1173" y="1138"/>
                    </a:lnTo>
                    <a:lnTo>
                      <a:pt x="1174" y="1136"/>
                    </a:lnTo>
                    <a:lnTo>
                      <a:pt x="1174" y="1134"/>
                    </a:lnTo>
                    <a:lnTo>
                      <a:pt x="1176" y="1133"/>
                    </a:lnTo>
                    <a:lnTo>
                      <a:pt x="1178" y="1133"/>
                    </a:lnTo>
                    <a:lnTo>
                      <a:pt x="1179" y="1133"/>
                    </a:lnTo>
                    <a:close/>
                    <a:moveTo>
                      <a:pt x="1166" y="1473"/>
                    </a:moveTo>
                    <a:lnTo>
                      <a:pt x="1168" y="1473"/>
                    </a:lnTo>
                    <a:lnTo>
                      <a:pt x="1169" y="1473"/>
                    </a:lnTo>
                    <a:lnTo>
                      <a:pt x="1169" y="1475"/>
                    </a:lnTo>
                    <a:lnTo>
                      <a:pt x="1171" y="1475"/>
                    </a:lnTo>
                    <a:lnTo>
                      <a:pt x="1171" y="1476"/>
                    </a:lnTo>
                    <a:lnTo>
                      <a:pt x="1173" y="1476"/>
                    </a:lnTo>
                    <a:lnTo>
                      <a:pt x="1174" y="1475"/>
                    </a:lnTo>
                    <a:lnTo>
                      <a:pt x="1176" y="1473"/>
                    </a:lnTo>
                    <a:lnTo>
                      <a:pt x="1176" y="1475"/>
                    </a:lnTo>
                    <a:lnTo>
                      <a:pt x="1176" y="1476"/>
                    </a:lnTo>
                    <a:lnTo>
                      <a:pt x="1174" y="1476"/>
                    </a:lnTo>
                    <a:lnTo>
                      <a:pt x="1176" y="1478"/>
                    </a:lnTo>
                    <a:lnTo>
                      <a:pt x="1174" y="1478"/>
                    </a:lnTo>
                    <a:lnTo>
                      <a:pt x="1176" y="1480"/>
                    </a:lnTo>
                    <a:lnTo>
                      <a:pt x="1174" y="1480"/>
                    </a:lnTo>
                    <a:lnTo>
                      <a:pt x="1173" y="1478"/>
                    </a:lnTo>
                    <a:lnTo>
                      <a:pt x="1173" y="1480"/>
                    </a:lnTo>
                    <a:lnTo>
                      <a:pt x="1174" y="1480"/>
                    </a:lnTo>
                    <a:lnTo>
                      <a:pt x="1173" y="1480"/>
                    </a:lnTo>
                    <a:lnTo>
                      <a:pt x="1171" y="1480"/>
                    </a:lnTo>
                    <a:lnTo>
                      <a:pt x="1169" y="1480"/>
                    </a:lnTo>
                    <a:lnTo>
                      <a:pt x="1171" y="1478"/>
                    </a:lnTo>
                    <a:lnTo>
                      <a:pt x="1169" y="1478"/>
                    </a:lnTo>
                    <a:lnTo>
                      <a:pt x="1171" y="1476"/>
                    </a:lnTo>
                    <a:lnTo>
                      <a:pt x="1169" y="1476"/>
                    </a:lnTo>
                    <a:lnTo>
                      <a:pt x="1168" y="1476"/>
                    </a:lnTo>
                    <a:lnTo>
                      <a:pt x="1166" y="1475"/>
                    </a:lnTo>
                    <a:lnTo>
                      <a:pt x="1166" y="1473"/>
                    </a:lnTo>
                    <a:close/>
                    <a:moveTo>
                      <a:pt x="1178" y="1459"/>
                    </a:moveTo>
                    <a:lnTo>
                      <a:pt x="1179" y="1459"/>
                    </a:lnTo>
                    <a:lnTo>
                      <a:pt x="1181" y="1459"/>
                    </a:lnTo>
                    <a:lnTo>
                      <a:pt x="1181" y="1461"/>
                    </a:lnTo>
                    <a:lnTo>
                      <a:pt x="1179" y="1461"/>
                    </a:lnTo>
                    <a:lnTo>
                      <a:pt x="1181" y="1461"/>
                    </a:lnTo>
                    <a:lnTo>
                      <a:pt x="1179" y="1463"/>
                    </a:lnTo>
                    <a:lnTo>
                      <a:pt x="1179" y="1464"/>
                    </a:lnTo>
                    <a:lnTo>
                      <a:pt x="1178" y="1464"/>
                    </a:lnTo>
                    <a:lnTo>
                      <a:pt x="1178" y="1466"/>
                    </a:lnTo>
                    <a:lnTo>
                      <a:pt x="1176" y="1464"/>
                    </a:lnTo>
                    <a:lnTo>
                      <a:pt x="1176" y="1466"/>
                    </a:lnTo>
                    <a:lnTo>
                      <a:pt x="1176" y="1464"/>
                    </a:lnTo>
                    <a:lnTo>
                      <a:pt x="1176" y="1463"/>
                    </a:lnTo>
                    <a:lnTo>
                      <a:pt x="1176" y="1464"/>
                    </a:lnTo>
                    <a:lnTo>
                      <a:pt x="1174" y="1464"/>
                    </a:lnTo>
                    <a:lnTo>
                      <a:pt x="1176" y="1464"/>
                    </a:lnTo>
                    <a:lnTo>
                      <a:pt x="1176" y="1466"/>
                    </a:lnTo>
                    <a:lnTo>
                      <a:pt x="1174" y="1466"/>
                    </a:lnTo>
                    <a:lnTo>
                      <a:pt x="1174" y="1468"/>
                    </a:lnTo>
                    <a:lnTo>
                      <a:pt x="1174" y="1466"/>
                    </a:lnTo>
                    <a:lnTo>
                      <a:pt x="1173" y="1468"/>
                    </a:lnTo>
                    <a:lnTo>
                      <a:pt x="1173" y="1466"/>
                    </a:lnTo>
                    <a:lnTo>
                      <a:pt x="1173" y="1464"/>
                    </a:lnTo>
                    <a:lnTo>
                      <a:pt x="1174" y="1463"/>
                    </a:lnTo>
                    <a:lnTo>
                      <a:pt x="1176" y="1461"/>
                    </a:lnTo>
                    <a:lnTo>
                      <a:pt x="1176" y="1463"/>
                    </a:lnTo>
                    <a:lnTo>
                      <a:pt x="1178" y="1463"/>
                    </a:lnTo>
                    <a:lnTo>
                      <a:pt x="1176" y="1461"/>
                    </a:lnTo>
                    <a:lnTo>
                      <a:pt x="1178" y="1459"/>
                    </a:lnTo>
                    <a:lnTo>
                      <a:pt x="1178" y="1458"/>
                    </a:lnTo>
                    <a:lnTo>
                      <a:pt x="1178" y="1459"/>
                    </a:lnTo>
                    <a:close/>
                    <a:moveTo>
                      <a:pt x="1202" y="1094"/>
                    </a:moveTo>
                    <a:lnTo>
                      <a:pt x="1203" y="1094"/>
                    </a:lnTo>
                    <a:lnTo>
                      <a:pt x="1203" y="1095"/>
                    </a:lnTo>
                    <a:lnTo>
                      <a:pt x="1203" y="1097"/>
                    </a:lnTo>
                    <a:lnTo>
                      <a:pt x="1205" y="1099"/>
                    </a:lnTo>
                    <a:lnTo>
                      <a:pt x="1205" y="1100"/>
                    </a:lnTo>
                    <a:lnTo>
                      <a:pt x="1203" y="1100"/>
                    </a:lnTo>
                    <a:lnTo>
                      <a:pt x="1205" y="1100"/>
                    </a:lnTo>
                    <a:lnTo>
                      <a:pt x="1205" y="1102"/>
                    </a:lnTo>
                    <a:lnTo>
                      <a:pt x="1203" y="1102"/>
                    </a:lnTo>
                    <a:lnTo>
                      <a:pt x="1202" y="1102"/>
                    </a:lnTo>
                    <a:lnTo>
                      <a:pt x="1202" y="1100"/>
                    </a:lnTo>
                    <a:lnTo>
                      <a:pt x="1200" y="1100"/>
                    </a:lnTo>
                    <a:lnTo>
                      <a:pt x="1200" y="1099"/>
                    </a:lnTo>
                    <a:lnTo>
                      <a:pt x="1200" y="1097"/>
                    </a:lnTo>
                    <a:lnTo>
                      <a:pt x="1200" y="1099"/>
                    </a:lnTo>
                    <a:lnTo>
                      <a:pt x="1202" y="1099"/>
                    </a:lnTo>
                    <a:lnTo>
                      <a:pt x="1203" y="1099"/>
                    </a:lnTo>
                    <a:lnTo>
                      <a:pt x="1202" y="1099"/>
                    </a:lnTo>
                    <a:lnTo>
                      <a:pt x="1202" y="1097"/>
                    </a:lnTo>
                    <a:lnTo>
                      <a:pt x="1200" y="1097"/>
                    </a:lnTo>
                    <a:lnTo>
                      <a:pt x="1200" y="1095"/>
                    </a:lnTo>
                    <a:lnTo>
                      <a:pt x="1200" y="1094"/>
                    </a:lnTo>
                    <a:lnTo>
                      <a:pt x="1202" y="1094"/>
                    </a:lnTo>
                    <a:close/>
                    <a:moveTo>
                      <a:pt x="1195" y="1140"/>
                    </a:moveTo>
                    <a:lnTo>
                      <a:pt x="1196" y="1140"/>
                    </a:lnTo>
                    <a:lnTo>
                      <a:pt x="1198" y="1141"/>
                    </a:lnTo>
                    <a:lnTo>
                      <a:pt x="1200" y="1140"/>
                    </a:lnTo>
                    <a:lnTo>
                      <a:pt x="1200" y="1141"/>
                    </a:lnTo>
                    <a:lnTo>
                      <a:pt x="1198" y="1141"/>
                    </a:lnTo>
                    <a:lnTo>
                      <a:pt x="1198" y="1143"/>
                    </a:lnTo>
                    <a:lnTo>
                      <a:pt x="1198" y="1145"/>
                    </a:lnTo>
                    <a:lnTo>
                      <a:pt x="1198" y="1146"/>
                    </a:lnTo>
                    <a:lnTo>
                      <a:pt x="1198" y="1148"/>
                    </a:lnTo>
                    <a:lnTo>
                      <a:pt x="1196" y="1150"/>
                    </a:lnTo>
                    <a:lnTo>
                      <a:pt x="1196" y="1148"/>
                    </a:lnTo>
                    <a:lnTo>
                      <a:pt x="1196" y="1146"/>
                    </a:lnTo>
                    <a:lnTo>
                      <a:pt x="1196" y="1145"/>
                    </a:lnTo>
                    <a:lnTo>
                      <a:pt x="1195" y="1146"/>
                    </a:lnTo>
                    <a:lnTo>
                      <a:pt x="1195" y="1145"/>
                    </a:lnTo>
                    <a:lnTo>
                      <a:pt x="1195" y="1143"/>
                    </a:lnTo>
                    <a:lnTo>
                      <a:pt x="1195" y="1145"/>
                    </a:lnTo>
                    <a:lnTo>
                      <a:pt x="1193" y="1143"/>
                    </a:lnTo>
                    <a:lnTo>
                      <a:pt x="1193" y="1141"/>
                    </a:lnTo>
                    <a:lnTo>
                      <a:pt x="1195" y="1141"/>
                    </a:lnTo>
                    <a:lnTo>
                      <a:pt x="1195" y="1140"/>
                    </a:lnTo>
                    <a:close/>
                    <a:moveTo>
                      <a:pt x="1219" y="1575"/>
                    </a:moveTo>
                    <a:lnTo>
                      <a:pt x="1217" y="1575"/>
                    </a:lnTo>
                    <a:lnTo>
                      <a:pt x="1217" y="1577"/>
                    </a:lnTo>
                    <a:lnTo>
                      <a:pt x="1219" y="1575"/>
                    </a:lnTo>
                    <a:lnTo>
                      <a:pt x="1220" y="1575"/>
                    </a:lnTo>
                    <a:lnTo>
                      <a:pt x="1219" y="1577"/>
                    </a:lnTo>
                    <a:lnTo>
                      <a:pt x="1220" y="1577"/>
                    </a:lnTo>
                    <a:lnTo>
                      <a:pt x="1220" y="1578"/>
                    </a:lnTo>
                    <a:lnTo>
                      <a:pt x="1219" y="1578"/>
                    </a:lnTo>
                    <a:lnTo>
                      <a:pt x="1220" y="1578"/>
                    </a:lnTo>
                    <a:lnTo>
                      <a:pt x="1220" y="1577"/>
                    </a:lnTo>
                    <a:lnTo>
                      <a:pt x="1222" y="1577"/>
                    </a:lnTo>
                    <a:lnTo>
                      <a:pt x="1222" y="1578"/>
                    </a:lnTo>
                    <a:lnTo>
                      <a:pt x="1222" y="1580"/>
                    </a:lnTo>
                    <a:lnTo>
                      <a:pt x="1222" y="1578"/>
                    </a:lnTo>
                    <a:lnTo>
                      <a:pt x="1224" y="1578"/>
                    </a:lnTo>
                    <a:lnTo>
                      <a:pt x="1224" y="1580"/>
                    </a:lnTo>
                    <a:lnTo>
                      <a:pt x="1222" y="1580"/>
                    </a:lnTo>
                    <a:lnTo>
                      <a:pt x="1224" y="1580"/>
                    </a:lnTo>
                    <a:lnTo>
                      <a:pt x="1222" y="1582"/>
                    </a:lnTo>
                    <a:lnTo>
                      <a:pt x="1222" y="1580"/>
                    </a:lnTo>
                    <a:lnTo>
                      <a:pt x="1222" y="1582"/>
                    </a:lnTo>
                    <a:lnTo>
                      <a:pt x="1220" y="1580"/>
                    </a:lnTo>
                    <a:lnTo>
                      <a:pt x="1220" y="1578"/>
                    </a:lnTo>
                    <a:lnTo>
                      <a:pt x="1220" y="1580"/>
                    </a:lnTo>
                    <a:lnTo>
                      <a:pt x="1220" y="1582"/>
                    </a:lnTo>
                    <a:lnTo>
                      <a:pt x="1220" y="1583"/>
                    </a:lnTo>
                    <a:lnTo>
                      <a:pt x="1220" y="1582"/>
                    </a:lnTo>
                    <a:lnTo>
                      <a:pt x="1219" y="1582"/>
                    </a:lnTo>
                    <a:lnTo>
                      <a:pt x="1217" y="1582"/>
                    </a:lnTo>
                    <a:lnTo>
                      <a:pt x="1219" y="1582"/>
                    </a:lnTo>
                    <a:lnTo>
                      <a:pt x="1219" y="1580"/>
                    </a:lnTo>
                    <a:lnTo>
                      <a:pt x="1219" y="1578"/>
                    </a:lnTo>
                    <a:lnTo>
                      <a:pt x="1217" y="1578"/>
                    </a:lnTo>
                    <a:lnTo>
                      <a:pt x="1217" y="1580"/>
                    </a:lnTo>
                    <a:lnTo>
                      <a:pt x="1215" y="1578"/>
                    </a:lnTo>
                    <a:lnTo>
                      <a:pt x="1213" y="1578"/>
                    </a:lnTo>
                    <a:lnTo>
                      <a:pt x="1215" y="1578"/>
                    </a:lnTo>
                    <a:lnTo>
                      <a:pt x="1215" y="1577"/>
                    </a:lnTo>
                    <a:lnTo>
                      <a:pt x="1215" y="1575"/>
                    </a:lnTo>
                    <a:lnTo>
                      <a:pt x="1217" y="1577"/>
                    </a:lnTo>
                    <a:lnTo>
                      <a:pt x="1217" y="1575"/>
                    </a:lnTo>
                    <a:lnTo>
                      <a:pt x="1217" y="1573"/>
                    </a:lnTo>
                    <a:lnTo>
                      <a:pt x="1219" y="1575"/>
                    </a:lnTo>
                    <a:close/>
                    <a:moveTo>
                      <a:pt x="1191" y="1422"/>
                    </a:moveTo>
                    <a:lnTo>
                      <a:pt x="1191" y="1424"/>
                    </a:lnTo>
                    <a:lnTo>
                      <a:pt x="1191" y="1425"/>
                    </a:lnTo>
                    <a:lnTo>
                      <a:pt x="1191" y="1427"/>
                    </a:lnTo>
                    <a:lnTo>
                      <a:pt x="1193" y="1427"/>
                    </a:lnTo>
                    <a:lnTo>
                      <a:pt x="1191" y="1427"/>
                    </a:lnTo>
                    <a:lnTo>
                      <a:pt x="1191" y="1429"/>
                    </a:lnTo>
                    <a:lnTo>
                      <a:pt x="1191" y="1427"/>
                    </a:lnTo>
                    <a:lnTo>
                      <a:pt x="1193" y="1429"/>
                    </a:lnTo>
                    <a:lnTo>
                      <a:pt x="1193" y="1430"/>
                    </a:lnTo>
                    <a:lnTo>
                      <a:pt x="1193" y="1432"/>
                    </a:lnTo>
                    <a:lnTo>
                      <a:pt x="1191" y="1430"/>
                    </a:lnTo>
                    <a:lnTo>
                      <a:pt x="1191" y="1432"/>
                    </a:lnTo>
                    <a:lnTo>
                      <a:pt x="1191" y="1430"/>
                    </a:lnTo>
                    <a:lnTo>
                      <a:pt x="1190" y="1432"/>
                    </a:lnTo>
                    <a:lnTo>
                      <a:pt x="1190" y="1430"/>
                    </a:lnTo>
                    <a:lnTo>
                      <a:pt x="1188" y="1430"/>
                    </a:lnTo>
                    <a:lnTo>
                      <a:pt x="1188" y="1429"/>
                    </a:lnTo>
                    <a:lnTo>
                      <a:pt x="1190" y="1429"/>
                    </a:lnTo>
                    <a:lnTo>
                      <a:pt x="1188" y="1427"/>
                    </a:lnTo>
                    <a:lnTo>
                      <a:pt x="1188" y="1425"/>
                    </a:lnTo>
                    <a:lnTo>
                      <a:pt x="1188" y="1424"/>
                    </a:lnTo>
                    <a:lnTo>
                      <a:pt x="1190" y="1424"/>
                    </a:lnTo>
                    <a:lnTo>
                      <a:pt x="1191" y="1422"/>
                    </a:lnTo>
                    <a:close/>
                    <a:moveTo>
                      <a:pt x="1159" y="1094"/>
                    </a:moveTo>
                    <a:lnTo>
                      <a:pt x="1159" y="1095"/>
                    </a:lnTo>
                    <a:lnTo>
                      <a:pt x="1161" y="1095"/>
                    </a:lnTo>
                    <a:lnTo>
                      <a:pt x="1161" y="1097"/>
                    </a:lnTo>
                    <a:lnTo>
                      <a:pt x="1162" y="1097"/>
                    </a:lnTo>
                    <a:lnTo>
                      <a:pt x="1161" y="1099"/>
                    </a:lnTo>
                    <a:lnTo>
                      <a:pt x="1161" y="1100"/>
                    </a:lnTo>
                    <a:lnTo>
                      <a:pt x="1159" y="1100"/>
                    </a:lnTo>
                    <a:lnTo>
                      <a:pt x="1157" y="1100"/>
                    </a:lnTo>
                    <a:lnTo>
                      <a:pt x="1157" y="1099"/>
                    </a:lnTo>
                    <a:lnTo>
                      <a:pt x="1157" y="1097"/>
                    </a:lnTo>
                    <a:lnTo>
                      <a:pt x="1156" y="1097"/>
                    </a:lnTo>
                    <a:lnTo>
                      <a:pt x="1156" y="1095"/>
                    </a:lnTo>
                    <a:lnTo>
                      <a:pt x="1157" y="1095"/>
                    </a:lnTo>
                    <a:lnTo>
                      <a:pt x="1157" y="1094"/>
                    </a:lnTo>
                    <a:lnTo>
                      <a:pt x="1159" y="1094"/>
                    </a:lnTo>
                    <a:close/>
                    <a:moveTo>
                      <a:pt x="1448" y="1643"/>
                    </a:moveTo>
                    <a:lnTo>
                      <a:pt x="1450" y="1643"/>
                    </a:lnTo>
                    <a:lnTo>
                      <a:pt x="1451" y="1643"/>
                    </a:lnTo>
                    <a:lnTo>
                      <a:pt x="1451" y="1645"/>
                    </a:lnTo>
                    <a:lnTo>
                      <a:pt x="1450" y="1645"/>
                    </a:lnTo>
                    <a:lnTo>
                      <a:pt x="1450" y="1646"/>
                    </a:lnTo>
                    <a:lnTo>
                      <a:pt x="1448" y="1648"/>
                    </a:lnTo>
                    <a:lnTo>
                      <a:pt x="1450" y="1648"/>
                    </a:lnTo>
                    <a:lnTo>
                      <a:pt x="1448" y="1648"/>
                    </a:lnTo>
                    <a:lnTo>
                      <a:pt x="1446" y="1648"/>
                    </a:lnTo>
                    <a:lnTo>
                      <a:pt x="1446" y="1650"/>
                    </a:lnTo>
                    <a:lnTo>
                      <a:pt x="1445" y="1648"/>
                    </a:lnTo>
                    <a:lnTo>
                      <a:pt x="1445" y="1650"/>
                    </a:lnTo>
                    <a:lnTo>
                      <a:pt x="1445" y="1648"/>
                    </a:lnTo>
                    <a:lnTo>
                      <a:pt x="1445" y="1646"/>
                    </a:lnTo>
                    <a:lnTo>
                      <a:pt x="1445" y="1645"/>
                    </a:lnTo>
                    <a:lnTo>
                      <a:pt x="1446" y="1643"/>
                    </a:lnTo>
                    <a:lnTo>
                      <a:pt x="1448" y="1643"/>
                    </a:lnTo>
                    <a:close/>
                    <a:moveTo>
                      <a:pt x="1181" y="1272"/>
                    </a:moveTo>
                    <a:lnTo>
                      <a:pt x="1183" y="1272"/>
                    </a:lnTo>
                    <a:lnTo>
                      <a:pt x="1185" y="1272"/>
                    </a:lnTo>
                    <a:lnTo>
                      <a:pt x="1185" y="1274"/>
                    </a:lnTo>
                    <a:lnTo>
                      <a:pt x="1186" y="1274"/>
                    </a:lnTo>
                    <a:lnTo>
                      <a:pt x="1188" y="1274"/>
                    </a:lnTo>
                    <a:lnTo>
                      <a:pt x="1188" y="1276"/>
                    </a:lnTo>
                    <a:lnTo>
                      <a:pt x="1188" y="1277"/>
                    </a:lnTo>
                    <a:lnTo>
                      <a:pt x="1186" y="1277"/>
                    </a:lnTo>
                    <a:lnTo>
                      <a:pt x="1185" y="1277"/>
                    </a:lnTo>
                    <a:lnTo>
                      <a:pt x="1185" y="1279"/>
                    </a:lnTo>
                    <a:lnTo>
                      <a:pt x="1183" y="1277"/>
                    </a:lnTo>
                    <a:lnTo>
                      <a:pt x="1183" y="1276"/>
                    </a:lnTo>
                    <a:lnTo>
                      <a:pt x="1181" y="1274"/>
                    </a:lnTo>
                    <a:lnTo>
                      <a:pt x="1181" y="1272"/>
                    </a:lnTo>
                    <a:lnTo>
                      <a:pt x="1181" y="1270"/>
                    </a:lnTo>
                    <a:lnTo>
                      <a:pt x="1181" y="1272"/>
                    </a:lnTo>
                    <a:close/>
                    <a:moveTo>
                      <a:pt x="1181" y="1090"/>
                    </a:moveTo>
                    <a:lnTo>
                      <a:pt x="1183" y="1092"/>
                    </a:lnTo>
                    <a:lnTo>
                      <a:pt x="1183" y="1094"/>
                    </a:lnTo>
                    <a:lnTo>
                      <a:pt x="1185" y="1094"/>
                    </a:lnTo>
                    <a:lnTo>
                      <a:pt x="1185" y="1095"/>
                    </a:lnTo>
                    <a:lnTo>
                      <a:pt x="1186" y="1095"/>
                    </a:lnTo>
                    <a:lnTo>
                      <a:pt x="1186" y="1097"/>
                    </a:lnTo>
                    <a:lnTo>
                      <a:pt x="1185" y="1097"/>
                    </a:lnTo>
                    <a:lnTo>
                      <a:pt x="1183" y="1097"/>
                    </a:lnTo>
                    <a:lnTo>
                      <a:pt x="1181" y="1097"/>
                    </a:lnTo>
                    <a:lnTo>
                      <a:pt x="1181" y="1095"/>
                    </a:lnTo>
                    <a:lnTo>
                      <a:pt x="1179" y="1095"/>
                    </a:lnTo>
                    <a:lnTo>
                      <a:pt x="1179" y="1094"/>
                    </a:lnTo>
                    <a:lnTo>
                      <a:pt x="1178" y="1092"/>
                    </a:lnTo>
                    <a:lnTo>
                      <a:pt x="1179" y="1092"/>
                    </a:lnTo>
                    <a:lnTo>
                      <a:pt x="1179" y="1090"/>
                    </a:lnTo>
                    <a:lnTo>
                      <a:pt x="1179" y="1092"/>
                    </a:lnTo>
                    <a:lnTo>
                      <a:pt x="1181" y="1092"/>
                    </a:lnTo>
                    <a:lnTo>
                      <a:pt x="1181" y="1090"/>
                    </a:lnTo>
                    <a:close/>
                    <a:moveTo>
                      <a:pt x="1191" y="1077"/>
                    </a:moveTo>
                    <a:lnTo>
                      <a:pt x="1193" y="1078"/>
                    </a:lnTo>
                    <a:lnTo>
                      <a:pt x="1195" y="1078"/>
                    </a:lnTo>
                    <a:lnTo>
                      <a:pt x="1196" y="1078"/>
                    </a:lnTo>
                    <a:lnTo>
                      <a:pt x="1198" y="1078"/>
                    </a:lnTo>
                    <a:lnTo>
                      <a:pt x="1198" y="1080"/>
                    </a:lnTo>
                    <a:lnTo>
                      <a:pt x="1200" y="1082"/>
                    </a:lnTo>
                    <a:lnTo>
                      <a:pt x="1198" y="1082"/>
                    </a:lnTo>
                    <a:lnTo>
                      <a:pt x="1198" y="1083"/>
                    </a:lnTo>
                    <a:lnTo>
                      <a:pt x="1196" y="1083"/>
                    </a:lnTo>
                    <a:lnTo>
                      <a:pt x="1195" y="1083"/>
                    </a:lnTo>
                    <a:lnTo>
                      <a:pt x="1193" y="1083"/>
                    </a:lnTo>
                    <a:lnTo>
                      <a:pt x="1193" y="1082"/>
                    </a:lnTo>
                    <a:lnTo>
                      <a:pt x="1191" y="1082"/>
                    </a:lnTo>
                    <a:lnTo>
                      <a:pt x="1191" y="1080"/>
                    </a:lnTo>
                    <a:lnTo>
                      <a:pt x="1193" y="1080"/>
                    </a:lnTo>
                    <a:lnTo>
                      <a:pt x="1195" y="1080"/>
                    </a:lnTo>
                    <a:lnTo>
                      <a:pt x="1196" y="1080"/>
                    </a:lnTo>
                    <a:lnTo>
                      <a:pt x="1196" y="1082"/>
                    </a:lnTo>
                    <a:lnTo>
                      <a:pt x="1195" y="1082"/>
                    </a:lnTo>
                    <a:lnTo>
                      <a:pt x="1193" y="1082"/>
                    </a:lnTo>
                    <a:lnTo>
                      <a:pt x="1195" y="1082"/>
                    </a:lnTo>
                    <a:lnTo>
                      <a:pt x="1196" y="1082"/>
                    </a:lnTo>
                    <a:lnTo>
                      <a:pt x="1198" y="1082"/>
                    </a:lnTo>
                    <a:lnTo>
                      <a:pt x="1196" y="1082"/>
                    </a:lnTo>
                    <a:lnTo>
                      <a:pt x="1198" y="1080"/>
                    </a:lnTo>
                    <a:lnTo>
                      <a:pt x="1196" y="1080"/>
                    </a:lnTo>
                    <a:lnTo>
                      <a:pt x="1195" y="1080"/>
                    </a:lnTo>
                    <a:lnTo>
                      <a:pt x="1193" y="1080"/>
                    </a:lnTo>
                    <a:lnTo>
                      <a:pt x="1191" y="1080"/>
                    </a:lnTo>
                    <a:lnTo>
                      <a:pt x="1191" y="1078"/>
                    </a:lnTo>
                    <a:lnTo>
                      <a:pt x="1193" y="1078"/>
                    </a:lnTo>
                    <a:lnTo>
                      <a:pt x="1191" y="1078"/>
                    </a:lnTo>
                    <a:lnTo>
                      <a:pt x="1190" y="1077"/>
                    </a:lnTo>
                    <a:lnTo>
                      <a:pt x="1191" y="1077"/>
                    </a:lnTo>
                    <a:close/>
                    <a:moveTo>
                      <a:pt x="1327" y="1628"/>
                    </a:moveTo>
                    <a:lnTo>
                      <a:pt x="1329" y="1628"/>
                    </a:lnTo>
                    <a:lnTo>
                      <a:pt x="1329" y="1629"/>
                    </a:lnTo>
                    <a:lnTo>
                      <a:pt x="1327" y="1629"/>
                    </a:lnTo>
                    <a:lnTo>
                      <a:pt x="1329" y="1629"/>
                    </a:lnTo>
                    <a:lnTo>
                      <a:pt x="1331" y="1628"/>
                    </a:lnTo>
                    <a:lnTo>
                      <a:pt x="1332" y="1629"/>
                    </a:lnTo>
                    <a:lnTo>
                      <a:pt x="1332" y="1631"/>
                    </a:lnTo>
                    <a:lnTo>
                      <a:pt x="1331" y="1633"/>
                    </a:lnTo>
                    <a:lnTo>
                      <a:pt x="1329" y="1633"/>
                    </a:lnTo>
                    <a:lnTo>
                      <a:pt x="1331" y="1631"/>
                    </a:lnTo>
                    <a:lnTo>
                      <a:pt x="1331" y="1629"/>
                    </a:lnTo>
                    <a:lnTo>
                      <a:pt x="1329" y="1631"/>
                    </a:lnTo>
                    <a:lnTo>
                      <a:pt x="1329" y="1633"/>
                    </a:lnTo>
                    <a:lnTo>
                      <a:pt x="1327" y="1635"/>
                    </a:lnTo>
                    <a:lnTo>
                      <a:pt x="1327" y="1633"/>
                    </a:lnTo>
                    <a:lnTo>
                      <a:pt x="1326" y="1635"/>
                    </a:lnTo>
                    <a:lnTo>
                      <a:pt x="1326" y="1633"/>
                    </a:lnTo>
                    <a:lnTo>
                      <a:pt x="1326" y="1635"/>
                    </a:lnTo>
                    <a:lnTo>
                      <a:pt x="1324" y="1635"/>
                    </a:lnTo>
                    <a:lnTo>
                      <a:pt x="1324" y="1633"/>
                    </a:lnTo>
                    <a:lnTo>
                      <a:pt x="1326" y="1631"/>
                    </a:lnTo>
                    <a:lnTo>
                      <a:pt x="1324" y="1631"/>
                    </a:lnTo>
                    <a:lnTo>
                      <a:pt x="1326" y="1631"/>
                    </a:lnTo>
                    <a:lnTo>
                      <a:pt x="1327" y="1631"/>
                    </a:lnTo>
                    <a:lnTo>
                      <a:pt x="1327" y="1629"/>
                    </a:lnTo>
                    <a:lnTo>
                      <a:pt x="1326" y="1629"/>
                    </a:lnTo>
                    <a:lnTo>
                      <a:pt x="1327" y="1629"/>
                    </a:lnTo>
                    <a:lnTo>
                      <a:pt x="1326" y="1629"/>
                    </a:lnTo>
                    <a:lnTo>
                      <a:pt x="1324" y="1629"/>
                    </a:lnTo>
                    <a:lnTo>
                      <a:pt x="1326" y="1628"/>
                    </a:lnTo>
                    <a:lnTo>
                      <a:pt x="1327" y="1628"/>
                    </a:lnTo>
                    <a:close/>
                    <a:moveTo>
                      <a:pt x="1191" y="1269"/>
                    </a:moveTo>
                    <a:lnTo>
                      <a:pt x="1193" y="1270"/>
                    </a:lnTo>
                    <a:lnTo>
                      <a:pt x="1195" y="1272"/>
                    </a:lnTo>
                    <a:lnTo>
                      <a:pt x="1196" y="1272"/>
                    </a:lnTo>
                    <a:lnTo>
                      <a:pt x="1196" y="1274"/>
                    </a:lnTo>
                    <a:lnTo>
                      <a:pt x="1196" y="1276"/>
                    </a:lnTo>
                    <a:lnTo>
                      <a:pt x="1196" y="1277"/>
                    </a:lnTo>
                    <a:lnTo>
                      <a:pt x="1195" y="1276"/>
                    </a:lnTo>
                    <a:lnTo>
                      <a:pt x="1193" y="1276"/>
                    </a:lnTo>
                    <a:lnTo>
                      <a:pt x="1193" y="1274"/>
                    </a:lnTo>
                    <a:lnTo>
                      <a:pt x="1191" y="1274"/>
                    </a:lnTo>
                    <a:lnTo>
                      <a:pt x="1191" y="1272"/>
                    </a:lnTo>
                    <a:lnTo>
                      <a:pt x="1190" y="1272"/>
                    </a:lnTo>
                    <a:lnTo>
                      <a:pt x="1190" y="1270"/>
                    </a:lnTo>
                    <a:lnTo>
                      <a:pt x="1190" y="1269"/>
                    </a:lnTo>
                    <a:lnTo>
                      <a:pt x="1191" y="1269"/>
                    </a:lnTo>
                    <a:close/>
                    <a:moveTo>
                      <a:pt x="1195" y="1121"/>
                    </a:moveTo>
                    <a:lnTo>
                      <a:pt x="1196" y="1121"/>
                    </a:lnTo>
                    <a:lnTo>
                      <a:pt x="1196" y="1122"/>
                    </a:lnTo>
                    <a:lnTo>
                      <a:pt x="1196" y="1124"/>
                    </a:lnTo>
                    <a:lnTo>
                      <a:pt x="1195" y="1124"/>
                    </a:lnTo>
                    <a:lnTo>
                      <a:pt x="1196" y="1124"/>
                    </a:lnTo>
                    <a:lnTo>
                      <a:pt x="1196" y="1122"/>
                    </a:lnTo>
                    <a:lnTo>
                      <a:pt x="1198" y="1122"/>
                    </a:lnTo>
                    <a:lnTo>
                      <a:pt x="1200" y="1122"/>
                    </a:lnTo>
                    <a:lnTo>
                      <a:pt x="1202" y="1122"/>
                    </a:lnTo>
                    <a:lnTo>
                      <a:pt x="1203" y="1122"/>
                    </a:lnTo>
                    <a:lnTo>
                      <a:pt x="1203" y="1124"/>
                    </a:lnTo>
                    <a:lnTo>
                      <a:pt x="1202" y="1124"/>
                    </a:lnTo>
                    <a:lnTo>
                      <a:pt x="1202" y="1126"/>
                    </a:lnTo>
                    <a:lnTo>
                      <a:pt x="1200" y="1126"/>
                    </a:lnTo>
                    <a:lnTo>
                      <a:pt x="1198" y="1126"/>
                    </a:lnTo>
                    <a:lnTo>
                      <a:pt x="1198" y="1124"/>
                    </a:lnTo>
                    <a:lnTo>
                      <a:pt x="1198" y="1126"/>
                    </a:lnTo>
                    <a:lnTo>
                      <a:pt x="1198" y="1124"/>
                    </a:lnTo>
                    <a:lnTo>
                      <a:pt x="1196" y="1124"/>
                    </a:lnTo>
                    <a:lnTo>
                      <a:pt x="1195" y="1124"/>
                    </a:lnTo>
                    <a:lnTo>
                      <a:pt x="1195" y="1122"/>
                    </a:lnTo>
                    <a:lnTo>
                      <a:pt x="1193" y="1122"/>
                    </a:lnTo>
                    <a:lnTo>
                      <a:pt x="1193" y="1121"/>
                    </a:lnTo>
                    <a:lnTo>
                      <a:pt x="1195" y="1121"/>
                    </a:lnTo>
                    <a:close/>
                    <a:moveTo>
                      <a:pt x="1225" y="1051"/>
                    </a:moveTo>
                    <a:lnTo>
                      <a:pt x="1225" y="1053"/>
                    </a:lnTo>
                    <a:lnTo>
                      <a:pt x="1225" y="1054"/>
                    </a:lnTo>
                    <a:lnTo>
                      <a:pt x="1225" y="1056"/>
                    </a:lnTo>
                    <a:lnTo>
                      <a:pt x="1225" y="1058"/>
                    </a:lnTo>
                    <a:lnTo>
                      <a:pt x="1224" y="1058"/>
                    </a:lnTo>
                    <a:lnTo>
                      <a:pt x="1222" y="1058"/>
                    </a:lnTo>
                    <a:lnTo>
                      <a:pt x="1222" y="1056"/>
                    </a:lnTo>
                    <a:lnTo>
                      <a:pt x="1220" y="1056"/>
                    </a:lnTo>
                    <a:lnTo>
                      <a:pt x="1222" y="1054"/>
                    </a:lnTo>
                    <a:lnTo>
                      <a:pt x="1222" y="1053"/>
                    </a:lnTo>
                    <a:lnTo>
                      <a:pt x="1224" y="1053"/>
                    </a:lnTo>
                    <a:lnTo>
                      <a:pt x="1225" y="1051"/>
                    </a:lnTo>
                    <a:close/>
                    <a:moveTo>
                      <a:pt x="1203" y="1422"/>
                    </a:moveTo>
                    <a:lnTo>
                      <a:pt x="1205" y="1422"/>
                    </a:lnTo>
                    <a:lnTo>
                      <a:pt x="1205" y="1424"/>
                    </a:lnTo>
                    <a:lnTo>
                      <a:pt x="1205" y="1425"/>
                    </a:lnTo>
                    <a:lnTo>
                      <a:pt x="1205" y="1427"/>
                    </a:lnTo>
                    <a:lnTo>
                      <a:pt x="1205" y="1429"/>
                    </a:lnTo>
                    <a:lnTo>
                      <a:pt x="1205" y="1427"/>
                    </a:lnTo>
                    <a:lnTo>
                      <a:pt x="1203" y="1427"/>
                    </a:lnTo>
                    <a:lnTo>
                      <a:pt x="1202" y="1427"/>
                    </a:lnTo>
                    <a:lnTo>
                      <a:pt x="1200" y="1427"/>
                    </a:lnTo>
                    <a:lnTo>
                      <a:pt x="1200" y="1425"/>
                    </a:lnTo>
                    <a:lnTo>
                      <a:pt x="1202" y="1425"/>
                    </a:lnTo>
                    <a:lnTo>
                      <a:pt x="1203" y="1425"/>
                    </a:lnTo>
                    <a:lnTo>
                      <a:pt x="1203" y="1424"/>
                    </a:lnTo>
                    <a:lnTo>
                      <a:pt x="1202" y="1425"/>
                    </a:lnTo>
                    <a:lnTo>
                      <a:pt x="1200" y="1425"/>
                    </a:lnTo>
                    <a:lnTo>
                      <a:pt x="1200" y="1424"/>
                    </a:lnTo>
                    <a:lnTo>
                      <a:pt x="1200" y="1422"/>
                    </a:lnTo>
                    <a:lnTo>
                      <a:pt x="1202" y="1422"/>
                    </a:lnTo>
                    <a:lnTo>
                      <a:pt x="1202" y="1420"/>
                    </a:lnTo>
                    <a:lnTo>
                      <a:pt x="1203" y="1420"/>
                    </a:lnTo>
                    <a:lnTo>
                      <a:pt x="1203" y="1422"/>
                    </a:lnTo>
                    <a:close/>
                    <a:moveTo>
                      <a:pt x="3" y="349"/>
                    </a:moveTo>
                    <a:lnTo>
                      <a:pt x="5" y="349"/>
                    </a:lnTo>
                    <a:lnTo>
                      <a:pt x="5" y="350"/>
                    </a:lnTo>
                    <a:lnTo>
                      <a:pt x="7" y="350"/>
                    </a:lnTo>
                    <a:lnTo>
                      <a:pt x="7" y="352"/>
                    </a:lnTo>
                    <a:lnTo>
                      <a:pt x="5" y="352"/>
                    </a:lnTo>
                    <a:lnTo>
                      <a:pt x="3" y="352"/>
                    </a:lnTo>
                    <a:lnTo>
                      <a:pt x="3" y="354"/>
                    </a:lnTo>
                    <a:lnTo>
                      <a:pt x="1" y="354"/>
                    </a:lnTo>
                    <a:lnTo>
                      <a:pt x="0" y="354"/>
                    </a:lnTo>
                    <a:lnTo>
                      <a:pt x="0" y="352"/>
                    </a:lnTo>
                    <a:lnTo>
                      <a:pt x="1" y="352"/>
                    </a:lnTo>
                    <a:lnTo>
                      <a:pt x="1" y="350"/>
                    </a:lnTo>
                    <a:lnTo>
                      <a:pt x="1" y="349"/>
                    </a:lnTo>
                    <a:lnTo>
                      <a:pt x="3" y="349"/>
                    </a:lnTo>
                    <a:close/>
                    <a:moveTo>
                      <a:pt x="1208" y="1054"/>
                    </a:moveTo>
                    <a:lnTo>
                      <a:pt x="1208" y="1056"/>
                    </a:lnTo>
                    <a:lnTo>
                      <a:pt x="1210" y="1056"/>
                    </a:lnTo>
                    <a:lnTo>
                      <a:pt x="1210" y="1058"/>
                    </a:lnTo>
                    <a:lnTo>
                      <a:pt x="1208" y="1058"/>
                    </a:lnTo>
                    <a:lnTo>
                      <a:pt x="1208" y="1060"/>
                    </a:lnTo>
                    <a:lnTo>
                      <a:pt x="1210" y="1060"/>
                    </a:lnTo>
                    <a:lnTo>
                      <a:pt x="1210" y="1061"/>
                    </a:lnTo>
                    <a:lnTo>
                      <a:pt x="1210" y="1063"/>
                    </a:lnTo>
                    <a:lnTo>
                      <a:pt x="1208" y="1063"/>
                    </a:lnTo>
                    <a:lnTo>
                      <a:pt x="1208" y="1061"/>
                    </a:lnTo>
                    <a:lnTo>
                      <a:pt x="1208" y="1060"/>
                    </a:lnTo>
                    <a:lnTo>
                      <a:pt x="1208" y="1061"/>
                    </a:lnTo>
                    <a:lnTo>
                      <a:pt x="1208" y="1060"/>
                    </a:lnTo>
                    <a:lnTo>
                      <a:pt x="1207" y="1060"/>
                    </a:lnTo>
                    <a:lnTo>
                      <a:pt x="1207" y="1058"/>
                    </a:lnTo>
                    <a:lnTo>
                      <a:pt x="1205" y="1058"/>
                    </a:lnTo>
                    <a:lnTo>
                      <a:pt x="1205" y="1056"/>
                    </a:lnTo>
                    <a:lnTo>
                      <a:pt x="1207" y="1054"/>
                    </a:lnTo>
                    <a:lnTo>
                      <a:pt x="1208" y="1054"/>
                    </a:lnTo>
                    <a:close/>
                    <a:moveTo>
                      <a:pt x="1321" y="1577"/>
                    </a:moveTo>
                    <a:lnTo>
                      <a:pt x="1322" y="1578"/>
                    </a:lnTo>
                    <a:lnTo>
                      <a:pt x="1321" y="1580"/>
                    </a:lnTo>
                    <a:lnTo>
                      <a:pt x="1321" y="1582"/>
                    </a:lnTo>
                    <a:lnTo>
                      <a:pt x="1321" y="1583"/>
                    </a:lnTo>
                    <a:lnTo>
                      <a:pt x="1319" y="1583"/>
                    </a:lnTo>
                    <a:lnTo>
                      <a:pt x="1317" y="1582"/>
                    </a:lnTo>
                    <a:lnTo>
                      <a:pt x="1315" y="1582"/>
                    </a:lnTo>
                    <a:lnTo>
                      <a:pt x="1315" y="1580"/>
                    </a:lnTo>
                    <a:lnTo>
                      <a:pt x="1314" y="1578"/>
                    </a:lnTo>
                    <a:lnTo>
                      <a:pt x="1315" y="1578"/>
                    </a:lnTo>
                    <a:lnTo>
                      <a:pt x="1317" y="1578"/>
                    </a:lnTo>
                    <a:lnTo>
                      <a:pt x="1319" y="1578"/>
                    </a:lnTo>
                    <a:lnTo>
                      <a:pt x="1321" y="1577"/>
                    </a:lnTo>
                    <a:close/>
                    <a:moveTo>
                      <a:pt x="1164" y="1282"/>
                    </a:moveTo>
                    <a:lnTo>
                      <a:pt x="1164" y="1284"/>
                    </a:lnTo>
                    <a:lnTo>
                      <a:pt x="1166" y="1284"/>
                    </a:lnTo>
                    <a:lnTo>
                      <a:pt x="1168" y="1284"/>
                    </a:lnTo>
                    <a:lnTo>
                      <a:pt x="1169" y="1284"/>
                    </a:lnTo>
                    <a:lnTo>
                      <a:pt x="1171" y="1284"/>
                    </a:lnTo>
                    <a:lnTo>
                      <a:pt x="1171" y="1286"/>
                    </a:lnTo>
                    <a:lnTo>
                      <a:pt x="1169" y="1286"/>
                    </a:lnTo>
                    <a:lnTo>
                      <a:pt x="1168" y="1286"/>
                    </a:lnTo>
                    <a:lnTo>
                      <a:pt x="1168" y="1288"/>
                    </a:lnTo>
                    <a:lnTo>
                      <a:pt x="1166" y="1288"/>
                    </a:lnTo>
                    <a:lnTo>
                      <a:pt x="1166" y="1289"/>
                    </a:lnTo>
                    <a:lnTo>
                      <a:pt x="1164" y="1289"/>
                    </a:lnTo>
                    <a:lnTo>
                      <a:pt x="1162" y="1289"/>
                    </a:lnTo>
                    <a:lnTo>
                      <a:pt x="1162" y="1288"/>
                    </a:lnTo>
                    <a:lnTo>
                      <a:pt x="1164" y="1288"/>
                    </a:lnTo>
                    <a:lnTo>
                      <a:pt x="1164" y="1286"/>
                    </a:lnTo>
                    <a:lnTo>
                      <a:pt x="1166" y="1286"/>
                    </a:lnTo>
                    <a:lnTo>
                      <a:pt x="1166" y="1288"/>
                    </a:lnTo>
                    <a:lnTo>
                      <a:pt x="1166" y="1286"/>
                    </a:lnTo>
                    <a:lnTo>
                      <a:pt x="1168" y="1288"/>
                    </a:lnTo>
                    <a:lnTo>
                      <a:pt x="1168" y="1286"/>
                    </a:lnTo>
                    <a:lnTo>
                      <a:pt x="1166" y="1286"/>
                    </a:lnTo>
                    <a:lnTo>
                      <a:pt x="1164" y="1286"/>
                    </a:lnTo>
                    <a:lnTo>
                      <a:pt x="1164" y="1284"/>
                    </a:lnTo>
                    <a:lnTo>
                      <a:pt x="1164" y="1282"/>
                    </a:lnTo>
                    <a:close/>
                    <a:moveTo>
                      <a:pt x="1222" y="1563"/>
                    </a:moveTo>
                    <a:lnTo>
                      <a:pt x="1224" y="1563"/>
                    </a:lnTo>
                    <a:lnTo>
                      <a:pt x="1225" y="1563"/>
                    </a:lnTo>
                    <a:lnTo>
                      <a:pt x="1227" y="1563"/>
                    </a:lnTo>
                    <a:lnTo>
                      <a:pt x="1227" y="1565"/>
                    </a:lnTo>
                    <a:lnTo>
                      <a:pt x="1227" y="1566"/>
                    </a:lnTo>
                    <a:lnTo>
                      <a:pt x="1227" y="1568"/>
                    </a:lnTo>
                    <a:lnTo>
                      <a:pt x="1227" y="1566"/>
                    </a:lnTo>
                    <a:lnTo>
                      <a:pt x="1225" y="1568"/>
                    </a:lnTo>
                    <a:lnTo>
                      <a:pt x="1224" y="1568"/>
                    </a:lnTo>
                    <a:lnTo>
                      <a:pt x="1224" y="1570"/>
                    </a:lnTo>
                    <a:lnTo>
                      <a:pt x="1225" y="1568"/>
                    </a:lnTo>
                    <a:lnTo>
                      <a:pt x="1225" y="1570"/>
                    </a:lnTo>
                    <a:lnTo>
                      <a:pt x="1224" y="1570"/>
                    </a:lnTo>
                    <a:lnTo>
                      <a:pt x="1222" y="1568"/>
                    </a:lnTo>
                    <a:lnTo>
                      <a:pt x="1224" y="1568"/>
                    </a:lnTo>
                    <a:lnTo>
                      <a:pt x="1222" y="1568"/>
                    </a:lnTo>
                    <a:lnTo>
                      <a:pt x="1222" y="1566"/>
                    </a:lnTo>
                    <a:lnTo>
                      <a:pt x="1224" y="1568"/>
                    </a:lnTo>
                    <a:lnTo>
                      <a:pt x="1224" y="1566"/>
                    </a:lnTo>
                    <a:lnTo>
                      <a:pt x="1224" y="1565"/>
                    </a:lnTo>
                    <a:lnTo>
                      <a:pt x="1224" y="1566"/>
                    </a:lnTo>
                    <a:lnTo>
                      <a:pt x="1222" y="1566"/>
                    </a:lnTo>
                    <a:lnTo>
                      <a:pt x="1224" y="1565"/>
                    </a:lnTo>
                    <a:lnTo>
                      <a:pt x="1222" y="1566"/>
                    </a:lnTo>
                    <a:lnTo>
                      <a:pt x="1220" y="1566"/>
                    </a:lnTo>
                    <a:lnTo>
                      <a:pt x="1220" y="1565"/>
                    </a:lnTo>
                    <a:lnTo>
                      <a:pt x="1220" y="1566"/>
                    </a:lnTo>
                    <a:lnTo>
                      <a:pt x="1220" y="1565"/>
                    </a:lnTo>
                    <a:lnTo>
                      <a:pt x="1222" y="1565"/>
                    </a:lnTo>
                    <a:lnTo>
                      <a:pt x="1224" y="1565"/>
                    </a:lnTo>
                    <a:lnTo>
                      <a:pt x="1222" y="1565"/>
                    </a:lnTo>
                    <a:lnTo>
                      <a:pt x="1220" y="1565"/>
                    </a:lnTo>
                    <a:lnTo>
                      <a:pt x="1222" y="1563"/>
                    </a:lnTo>
                    <a:lnTo>
                      <a:pt x="1220" y="1565"/>
                    </a:lnTo>
                    <a:lnTo>
                      <a:pt x="1220" y="1563"/>
                    </a:lnTo>
                    <a:lnTo>
                      <a:pt x="1222" y="1563"/>
                    </a:lnTo>
                    <a:close/>
                    <a:moveTo>
                      <a:pt x="1186" y="1202"/>
                    </a:moveTo>
                    <a:lnTo>
                      <a:pt x="1188" y="1204"/>
                    </a:lnTo>
                    <a:lnTo>
                      <a:pt x="1186" y="1206"/>
                    </a:lnTo>
                    <a:lnTo>
                      <a:pt x="1185" y="1208"/>
                    </a:lnTo>
                    <a:lnTo>
                      <a:pt x="1183" y="1208"/>
                    </a:lnTo>
                    <a:lnTo>
                      <a:pt x="1183" y="1209"/>
                    </a:lnTo>
                    <a:lnTo>
                      <a:pt x="1181" y="1209"/>
                    </a:lnTo>
                    <a:lnTo>
                      <a:pt x="1181" y="1208"/>
                    </a:lnTo>
                    <a:lnTo>
                      <a:pt x="1181" y="1206"/>
                    </a:lnTo>
                    <a:lnTo>
                      <a:pt x="1181" y="1204"/>
                    </a:lnTo>
                    <a:lnTo>
                      <a:pt x="1183" y="1204"/>
                    </a:lnTo>
                    <a:lnTo>
                      <a:pt x="1185" y="1204"/>
                    </a:lnTo>
                    <a:lnTo>
                      <a:pt x="1185" y="1202"/>
                    </a:lnTo>
                    <a:lnTo>
                      <a:pt x="1186" y="1202"/>
                    </a:lnTo>
                    <a:close/>
                    <a:moveTo>
                      <a:pt x="1210" y="983"/>
                    </a:moveTo>
                    <a:lnTo>
                      <a:pt x="1212" y="983"/>
                    </a:lnTo>
                    <a:lnTo>
                      <a:pt x="1213" y="983"/>
                    </a:lnTo>
                    <a:lnTo>
                      <a:pt x="1212" y="983"/>
                    </a:lnTo>
                    <a:lnTo>
                      <a:pt x="1212" y="985"/>
                    </a:lnTo>
                    <a:lnTo>
                      <a:pt x="1213" y="985"/>
                    </a:lnTo>
                    <a:lnTo>
                      <a:pt x="1213" y="986"/>
                    </a:lnTo>
                    <a:lnTo>
                      <a:pt x="1215" y="986"/>
                    </a:lnTo>
                    <a:lnTo>
                      <a:pt x="1215" y="988"/>
                    </a:lnTo>
                    <a:lnTo>
                      <a:pt x="1217" y="988"/>
                    </a:lnTo>
                    <a:lnTo>
                      <a:pt x="1217" y="990"/>
                    </a:lnTo>
                    <a:lnTo>
                      <a:pt x="1217" y="992"/>
                    </a:lnTo>
                    <a:lnTo>
                      <a:pt x="1215" y="992"/>
                    </a:lnTo>
                    <a:lnTo>
                      <a:pt x="1215" y="990"/>
                    </a:lnTo>
                    <a:lnTo>
                      <a:pt x="1217" y="990"/>
                    </a:lnTo>
                    <a:lnTo>
                      <a:pt x="1215" y="990"/>
                    </a:lnTo>
                    <a:lnTo>
                      <a:pt x="1215" y="988"/>
                    </a:lnTo>
                    <a:lnTo>
                      <a:pt x="1213" y="988"/>
                    </a:lnTo>
                    <a:lnTo>
                      <a:pt x="1212" y="986"/>
                    </a:lnTo>
                    <a:lnTo>
                      <a:pt x="1210" y="986"/>
                    </a:lnTo>
                    <a:lnTo>
                      <a:pt x="1208" y="986"/>
                    </a:lnTo>
                    <a:lnTo>
                      <a:pt x="1208" y="985"/>
                    </a:lnTo>
                    <a:lnTo>
                      <a:pt x="1210" y="985"/>
                    </a:lnTo>
                    <a:lnTo>
                      <a:pt x="1208" y="985"/>
                    </a:lnTo>
                    <a:lnTo>
                      <a:pt x="1208" y="983"/>
                    </a:lnTo>
                    <a:lnTo>
                      <a:pt x="1210" y="981"/>
                    </a:lnTo>
                    <a:lnTo>
                      <a:pt x="1210" y="983"/>
                    </a:lnTo>
                    <a:close/>
                    <a:moveTo>
                      <a:pt x="1176" y="1087"/>
                    </a:moveTo>
                    <a:lnTo>
                      <a:pt x="1178" y="1087"/>
                    </a:lnTo>
                    <a:lnTo>
                      <a:pt x="1178" y="1085"/>
                    </a:lnTo>
                    <a:lnTo>
                      <a:pt x="1178" y="1087"/>
                    </a:lnTo>
                    <a:lnTo>
                      <a:pt x="1179" y="1087"/>
                    </a:lnTo>
                    <a:lnTo>
                      <a:pt x="1181" y="1087"/>
                    </a:lnTo>
                    <a:lnTo>
                      <a:pt x="1181" y="1088"/>
                    </a:lnTo>
                    <a:lnTo>
                      <a:pt x="1181" y="1090"/>
                    </a:lnTo>
                    <a:lnTo>
                      <a:pt x="1179" y="1090"/>
                    </a:lnTo>
                    <a:lnTo>
                      <a:pt x="1178" y="1090"/>
                    </a:lnTo>
                    <a:lnTo>
                      <a:pt x="1176" y="1088"/>
                    </a:lnTo>
                    <a:lnTo>
                      <a:pt x="1176" y="1090"/>
                    </a:lnTo>
                    <a:lnTo>
                      <a:pt x="1174" y="1088"/>
                    </a:lnTo>
                    <a:lnTo>
                      <a:pt x="1173" y="1088"/>
                    </a:lnTo>
                    <a:lnTo>
                      <a:pt x="1174" y="1088"/>
                    </a:lnTo>
                    <a:lnTo>
                      <a:pt x="1174" y="1087"/>
                    </a:lnTo>
                    <a:lnTo>
                      <a:pt x="1176" y="1087"/>
                    </a:lnTo>
                    <a:lnTo>
                      <a:pt x="1176" y="1085"/>
                    </a:lnTo>
                    <a:lnTo>
                      <a:pt x="1176" y="1087"/>
                    </a:lnTo>
                    <a:close/>
                    <a:moveTo>
                      <a:pt x="1195" y="1071"/>
                    </a:moveTo>
                    <a:lnTo>
                      <a:pt x="1196" y="1073"/>
                    </a:lnTo>
                    <a:lnTo>
                      <a:pt x="1198" y="1073"/>
                    </a:lnTo>
                    <a:lnTo>
                      <a:pt x="1200" y="1073"/>
                    </a:lnTo>
                    <a:lnTo>
                      <a:pt x="1200" y="1075"/>
                    </a:lnTo>
                    <a:lnTo>
                      <a:pt x="1200" y="1077"/>
                    </a:lnTo>
                    <a:lnTo>
                      <a:pt x="1200" y="1078"/>
                    </a:lnTo>
                    <a:lnTo>
                      <a:pt x="1198" y="1078"/>
                    </a:lnTo>
                    <a:lnTo>
                      <a:pt x="1198" y="1077"/>
                    </a:lnTo>
                    <a:lnTo>
                      <a:pt x="1196" y="1077"/>
                    </a:lnTo>
                    <a:lnTo>
                      <a:pt x="1195" y="1077"/>
                    </a:lnTo>
                    <a:lnTo>
                      <a:pt x="1195" y="1075"/>
                    </a:lnTo>
                    <a:lnTo>
                      <a:pt x="1193" y="1073"/>
                    </a:lnTo>
                    <a:lnTo>
                      <a:pt x="1193" y="1071"/>
                    </a:lnTo>
                    <a:lnTo>
                      <a:pt x="1195" y="1071"/>
                    </a:lnTo>
                    <a:close/>
                    <a:moveTo>
                      <a:pt x="1185" y="1107"/>
                    </a:moveTo>
                    <a:lnTo>
                      <a:pt x="1186" y="1107"/>
                    </a:lnTo>
                    <a:lnTo>
                      <a:pt x="1186" y="1109"/>
                    </a:lnTo>
                    <a:lnTo>
                      <a:pt x="1188" y="1109"/>
                    </a:lnTo>
                    <a:lnTo>
                      <a:pt x="1188" y="1111"/>
                    </a:lnTo>
                    <a:lnTo>
                      <a:pt x="1188" y="1112"/>
                    </a:lnTo>
                    <a:lnTo>
                      <a:pt x="1186" y="1112"/>
                    </a:lnTo>
                    <a:lnTo>
                      <a:pt x="1186" y="1111"/>
                    </a:lnTo>
                    <a:lnTo>
                      <a:pt x="1186" y="1112"/>
                    </a:lnTo>
                    <a:lnTo>
                      <a:pt x="1185" y="1111"/>
                    </a:lnTo>
                    <a:lnTo>
                      <a:pt x="1185" y="1112"/>
                    </a:lnTo>
                    <a:lnTo>
                      <a:pt x="1185" y="1111"/>
                    </a:lnTo>
                    <a:lnTo>
                      <a:pt x="1183" y="1111"/>
                    </a:lnTo>
                    <a:lnTo>
                      <a:pt x="1183" y="1109"/>
                    </a:lnTo>
                    <a:lnTo>
                      <a:pt x="1183" y="1107"/>
                    </a:lnTo>
                    <a:lnTo>
                      <a:pt x="1183" y="1105"/>
                    </a:lnTo>
                    <a:lnTo>
                      <a:pt x="1185" y="1107"/>
                    </a:lnTo>
                    <a:close/>
                    <a:moveTo>
                      <a:pt x="1188" y="1138"/>
                    </a:moveTo>
                    <a:lnTo>
                      <a:pt x="1190" y="1140"/>
                    </a:lnTo>
                    <a:lnTo>
                      <a:pt x="1188" y="1140"/>
                    </a:lnTo>
                    <a:lnTo>
                      <a:pt x="1188" y="1141"/>
                    </a:lnTo>
                    <a:lnTo>
                      <a:pt x="1186" y="1141"/>
                    </a:lnTo>
                    <a:lnTo>
                      <a:pt x="1188" y="1141"/>
                    </a:lnTo>
                    <a:lnTo>
                      <a:pt x="1190" y="1141"/>
                    </a:lnTo>
                    <a:lnTo>
                      <a:pt x="1190" y="1140"/>
                    </a:lnTo>
                    <a:lnTo>
                      <a:pt x="1191" y="1140"/>
                    </a:lnTo>
                    <a:lnTo>
                      <a:pt x="1191" y="1141"/>
                    </a:lnTo>
                    <a:lnTo>
                      <a:pt x="1191" y="1140"/>
                    </a:lnTo>
                    <a:lnTo>
                      <a:pt x="1191" y="1141"/>
                    </a:lnTo>
                    <a:lnTo>
                      <a:pt x="1193" y="1141"/>
                    </a:lnTo>
                    <a:lnTo>
                      <a:pt x="1191" y="1141"/>
                    </a:lnTo>
                    <a:lnTo>
                      <a:pt x="1193" y="1143"/>
                    </a:lnTo>
                    <a:lnTo>
                      <a:pt x="1191" y="1143"/>
                    </a:lnTo>
                    <a:lnTo>
                      <a:pt x="1190" y="1143"/>
                    </a:lnTo>
                    <a:lnTo>
                      <a:pt x="1188" y="1143"/>
                    </a:lnTo>
                    <a:lnTo>
                      <a:pt x="1188" y="1145"/>
                    </a:lnTo>
                    <a:lnTo>
                      <a:pt x="1186" y="1143"/>
                    </a:lnTo>
                    <a:lnTo>
                      <a:pt x="1186" y="1141"/>
                    </a:lnTo>
                    <a:lnTo>
                      <a:pt x="1185" y="1141"/>
                    </a:lnTo>
                    <a:lnTo>
                      <a:pt x="1186" y="1140"/>
                    </a:lnTo>
                    <a:lnTo>
                      <a:pt x="1186" y="1138"/>
                    </a:lnTo>
                    <a:lnTo>
                      <a:pt x="1188" y="1138"/>
                    </a:lnTo>
                    <a:close/>
                    <a:moveTo>
                      <a:pt x="1162" y="1390"/>
                    </a:moveTo>
                    <a:lnTo>
                      <a:pt x="1164" y="1391"/>
                    </a:lnTo>
                    <a:lnTo>
                      <a:pt x="1162" y="1391"/>
                    </a:lnTo>
                    <a:lnTo>
                      <a:pt x="1164" y="1393"/>
                    </a:lnTo>
                    <a:lnTo>
                      <a:pt x="1162" y="1393"/>
                    </a:lnTo>
                    <a:lnTo>
                      <a:pt x="1164" y="1395"/>
                    </a:lnTo>
                    <a:lnTo>
                      <a:pt x="1162" y="1395"/>
                    </a:lnTo>
                    <a:lnTo>
                      <a:pt x="1164" y="1395"/>
                    </a:lnTo>
                    <a:lnTo>
                      <a:pt x="1162" y="1395"/>
                    </a:lnTo>
                    <a:lnTo>
                      <a:pt x="1164" y="1396"/>
                    </a:lnTo>
                    <a:lnTo>
                      <a:pt x="1162" y="1396"/>
                    </a:lnTo>
                    <a:lnTo>
                      <a:pt x="1164" y="1396"/>
                    </a:lnTo>
                    <a:lnTo>
                      <a:pt x="1162" y="1398"/>
                    </a:lnTo>
                    <a:lnTo>
                      <a:pt x="1162" y="1396"/>
                    </a:lnTo>
                    <a:lnTo>
                      <a:pt x="1161" y="1396"/>
                    </a:lnTo>
                    <a:lnTo>
                      <a:pt x="1161" y="1395"/>
                    </a:lnTo>
                    <a:lnTo>
                      <a:pt x="1159" y="1393"/>
                    </a:lnTo>
                    <a:lnTo>
                      <a:pt x="1161" y="1391"/>
                    </a:lnTo>
                    <a:lnTo>
                      <a:pt x="1161" y="1393"/>
                    </a:lnTo>
                    <a:lnTo>
                      <a:pt x="1161" y="1391"/>
                    </a:lnTo>
                    <a:lnTo>
                      <a:pt x="1161" y="1390"/>
                    </a:lnTo>
                    <a:lnTo>
                      <a:pt x="1162" y="1390"/>
                    </a:lnTo>
                    <a:lnTo>
                      <a:pt x="1162" y="1388"/>
                    </a:lnTo>
                    <a:lnTo>
                      <a:pt x="1162" y="1390"/>
                    </a:lnTo>
                    <a:lnTo>
                      <a:pt x="1162" y="1391"/>
                    </a:lnTo>
                    <a:lnTo>
                      <a:pt x="1162" y="1390"/>
                    </a:lnTo>
                    <a:lnTo>
                      <a:pt x="1164" y="1388"/>
                    </a:lnTo>
                    <a:lnTo>
                      <a:pt x="1164" y="1390"/>
                    </a:lnTo>
                    <a:lnTo>
                      <a:pt x="1162" y="1390"/>
                    </a:lnTo>
                    <a:close/>
                    <a:moveTo>
                      <a:pt x="1431" y="1631"/>
                    </a:moveTo>
                    <a:lnTo>
                      <a:pt x="1433" y="1633"/>
                    </a:lnTo>
                    <a:lnTo>
                      <a:pt x="1434" y="1633"/>
                    </a:lnTo>
                    <a:lnTo>
                      <a:pt x="1436" y="1633"/>
                    </a:lnTo>
                    <a:lnTo>
                      <a:pt x="1436" y="1635"/>
                    </a:lnTo>
                    <a:lnTo>
                      <a:pt x="1438" y="1635"/>
                    </a:lnTo>
                    <a:lnTo>
                      <a:pt x="1438" y="1636"/>
                    </a:lnTo>
                    <a:lnTo>
                      <a:pt x="1438" y="1638"/>
                    </a:lnTo>
                    <a:lnTo>
                      <a:pt x="1440" y="1640"/>
                    </a:lnTo>
                    <a:lnTo>
                      <a:pt x="1438" y="1640"/>
                    </a:lnTo>
                    <a:lnTo>
                      <a:pt x="1436" y="1638"/>
                    </a:lnTo>
                    <a:lnTo>
                      <a:pt x="1434" y="1636"/>
                    </a:lnTo>
                    <a:lnTo>
                      <a:pt x="1433" y="1635"/>
                    </a:lnTo>
                    <a:lnTo>
                      <a:pt x="1431" y="1635"/>
                    </a:lnTo>
                    <a:lnTo>
                      <a:pt x="1431" y="1633"/>
                    </a:lnTo>
                    <a:lnTo>
                      <a:pt x="1431" y="1631"/>
                    </a:lnTo>
                    <a:close/>
                    <a:moveTo>
                      <a:pt x="1196" y="1094"/>
                    </a:moveTo>
                    <a:lnTo>
                      <a:pt x="1198" y="1094"/>
                    </a:lnTo>
                    <a:lnTo>
                      <a:pt x="1198" y="1095"/>
                    </a:lnTo>
                    <a:lnTo>
                      <a:pt x="1198" y="1097"/>
                    </a:lnTo>
                    <a:lnTo>
                      <a:pt x="1196" y="1097"/>
                    </a:lnTo>
                    <a:lnTo>
                      <a:pt x="1198" y="1097"/>
                    </a:lnTo>
                    <a:lnTo>
                      <a:pt x="1196" y="1097"/>
                    </a:lnTo>
                    <a:lnTo>
                      <a:pt x="1195" y="1097"/>
                    </a:lnTo>
                    <a:lnTo>
                      <a:pt x="1193" y="1097"/>
                    </a:lnTo>
                    <a:lnTo>
                      <a:pt x="1191" y="1097"/>
                    </a:lnTo>
                    <a:lnTo>
                      <a:pt x="1191" y="1095"/>
                    </a:lnTo>
                    <a:lnTo>
                      <a:pt x="1190" y="1095"/>
                    </a:lnTo>
                    <a:lnTo>
                      <a:pt x="1191" y="1095"/>
                    </a:lnTo>
                    <a:lnTo>
                      <a:pt x="1193" y="1095"/>
                    </a:lnTo>
                    <a:lnTo>
                      <a:pt x="1195" y="1094"/>
                    </a:lnTo>
                    <a:lnTo>
                      <a:pt x="1196" y="1094"/>
                    </a:lnTo>
                    <a:close/>
                    <a:moveTo>
                      <a:pt x="1178" y="1468"/>
                    </a:moveTo>
                    <a:lnTo>
                      <a:pt x="1176" y="1468"/>
                    </a:lnTo>
                    <a:lnTo>
                      <a:pt x="1176" y="1470"/>
                    </a:lnTo>
                    <a:lnTo>
                      <a:pt x="1174" y="1470"/>
                    </a:lnTo>
                    <a:lnTo>
                      <a:pt x="1176" y="1470"/>
                    </a:lnTo>
                    <a:lnTo>
                      <a:pt x="1174" y="1471"/>
                    </a:lnTo>
                    <a:lnTo>
                      <a:pt x="1176" y="1471"/>
                    </a:lnTo>
                    <a:lnTo>
                      <a:pt x="1174" y="1473"/>
                    </a:lnTo>
                    <a:lnTo>
                      <a:pt x="1174" y="1471"/>
                    </a:lnTo>
                    <a:lnTo>
                      <a:pt x="1173" y="1473"/>
                    </a:lnTo>
                    <a:lnTo>
                      <a:pt x="1173" y="1471"/>
                    </a:lnTo>
                    <a:lnTo>
                      <a:pt x="1173" y="1473"/>
                    </a:lnTo>
                    <a:lnTo>
                      <a:pt x="1174" y="1473"/>
                    </a:lnTo>
                    <a:lnTo>
                      <a:pt x="1173" y="1473"/>
                    </a:lnTo>
                    <a:lnTo>
                      <a:pt x="1171" y="1475"/>
                    </a:lnTo>
                    <a:lnTo>
                      <a:pt x="1171" y="1473"/>
                    </a:lnTo>
                    <a:lnTo>
                      <a:pt x="1171" y="1471"/>
                    </a:lnTo>
                    <a:lnTo>
                      <a:pt x="1169" y="1471"/>
                    </a:lnTo>
                    <a:lnTo>
                      <a:pt x="1171" y="1471"/>
                    </a:lnTo>
                    <a:lnTo>
                      <a:pt x="1171" y="1470"/>
                    </a:lnTo>
                    <a:lnTo>
                      <a:pt x="1173" y="1470"/>
                    </a:lnTo>
                    <a:lnTo>
                      <a:pt x="1174" y="1468"/>
                    </a:lnTo>
                    <a:lnTo>
                      <a:pt x="1176" y="1468"/>
                    </a:lnTo>
                    <a:lnTo>
                      <a:pt x="1176" y="1466"/>
                    </a:lnTo>
                    <a:lnTo>
                      <a:pt x="1178" y="1468"/>
                    </a:lnTo>
                    <a:close/>
                    <a:moveTo>
                      <a:pt x="1210" y="1092"/>
                    </a:moveTo>
                    <a:lnTo>
                      <a:pt x="1210" y="1094"/>
                    </a:lnTo>
                    <a:lnTo>
                      <a:pt x="1210" y="1095"/>
                    </a:lnTo>
                    <a:lnTo>
                      <a:pt x="1210" y="1097"/>
                    </a:lnTo>
                    <a:lnTo>
                      <a:pt x="1208" y="1097"/>
                    </a:lnTo>
                    <a:lnTo>
                      <a:pt x="1207" y="1097"/>
                    </a:lnTo>
                    <a:lnTo>
                      <a:pt x="1207" y="1095"/>
                    </a:lnTo>
                    <a:lnTo>
                      <a:pt x="1205" y="1095"/>
                    </a:lnTo>
                    <a:lnTo>
                      <a:pt x="1205" y="1094"/>
                    </a:lnTo>
                    <a:lnTo>
                      <a:pt x="1205" y="1092"/>
                    </a:lnTo>
                    <a:lnTo>
                      <a:pt x="1207" y="1094"/>
                    </a:lnTo>
                    <a:lnTo>
                      <a:pt x="1207" y="1092"/>
                    </a:lnTo>
                    <a:lnTo>
                      <a:pt x="1208" y="1092"/>
                    </a:lnTo>
                    <a:lnTo>
                      <a:pt x="1210" y="1092"/>
                    </a:lnTo>
                    <a:close/>
                    <a:moveTo>
                      <a:pt x="1161" y="1235"/>
                    </a:moveTo>
                    <a:lnTo>
                      <a:pt x="1162" y="1235"/>
                    </a:lnTo>
                    <a:lnTo>
                      <a:pt x="1164" y="1235"/>
                    </a:lnTo>
                    <a:lnTo>
                      <a:pt x="1164" y="1236"/>
                    </a:lnTo>
                    <a:lnTo>
                      <a:pt x="1164" y="1238"/>
                    </a:lnTo>
                    <a:lnTo>
                      <a:pt x="1164" y="1236"/>
                    </a:lnTo>
                    <a:lnTo>
                      <a:pt x="1164" y="1235"/>
                    </a:lnTo>
                    <a:lnTo>
                      <a:pt x="1164" y="1236"/>
                    </a:lnTo>
                    <a:lnTo>
                      <a:pt x="1166" y="1236"/>
                    </a:lnTo>
                    <a:lnTo>
                      <a:pt x="1166" y="1238"/>
                    </a:lnTo>
                    <a:lnTo>
                      <a:pt x="1168" y="1238"/>
                    </a:lnTo>
                    <a:lnTo>
                      <a:pt x="1168" y="1240"/>
                    </a:lnTo>
                    <a:lnTo>
                      <a:pt x="1166" y="1240"/>
                    </a:lnTo>
                    <a:lnTo>
                      <a:pt x="1166" y="1238"/>
                    </a:lnTo>
                    <a:lnTo>
                      <a:pt x="1166" y="1240"/>
                    </a:lnTo>
                    <a:lnTo>
                      <a:pt x="1164" y="1240"/>
                    </a:lnTo>
                    <a:lnTo>
                      <a:pt x="1162" y="1240"/>
                    </a:lnTo>
                    <a:lnTo>
                      <a:pt x="1162" y="1238"/>
                    </a:lnTo>
                    <a:lnTo>
                      <a:pt x="1161" y="1238"/>
                    </a:lnTo>
                    <a:lnTo>
                      <a:pt x="1161" y="1236"/>
                    </a:lnTo>
                    <a:lnTo>
                      <a:pt x="1161" y="1235"/>
                    </a:lnTo>
                    <a:close/>
                    <a:moveTo>
                      <a:pt x="1249" y="1592"/>
                    </a:moveTo>
                    <a:lnTo>
                      <a:pt x="1251" y="1592"/>
                    </a:lnTo>
                    <a:lnTo>
                      <a:pt x="1251" y="1594"/>
                    </a:lnTo>
                    <a:lnTo>
                      <a:pt x="1253" y="1594"/>
                    </a:lnTo>
                    <a:lnTo>
                      <a:pt x="1254" y="1594"/>
                    </a:lnTo>
                    <a:lnTo>
                      <a:pt x="1253" y="1594"/>
                    </a:lnTo>
                    <a:lnTo>
                      <a:pt x="1253" y="1595"/>
                    </a:lnTo>
                    <a:lnTo>
                      <a:pt x="1251" y="1594"/>
                    </a:lnTo>
                    <a:lnTo>
                      <a:pt x="1251" y="1595"/>
                    </a:lnTo>
                    <a:lnTo>
                      <a:pt x="1253" y="1595"/>
                    </a:lnTo>
                    <a:lnTo>
                      <a:pt x="1253" y="1597"/>
                    </a:lnTo>
                    <a:lnTo>
                      <a:pt x="1251" y="1597"/>
                    </a:lnTo>
                    <a:lnTo>
                      <a:pt x="1251" y="1595"/>
                    </a:lnTo>
                    <a:lnTo>
                      <a:pt x="1249" y="1595"/>
                    </a:lnTo>
                    <a:lnTo>
                      <a:pt x="1249" y="1597"/>
                    </a:lnTo>
                    <a:lnTo>
                      <a:pt x="1249" y="1599"/>
                    </a:lnTo>
                    <a:lnTo>
                      <a:pt x="1247" y="1600"/>
                    </a:lnTo>
                    <a:lnTo>
                      <a:pt x="1247" y="1599"/>
                    </a:lnTo>
                    <a:lnTo>
                      <a:pt x="1247" y="1597"/>
                    </a:lnTo>
                    <a:lnTo>
                      <a:pt x="1246" y="1597"/>
                    </a:lnTo>
                    <a:lnTo>
                      <a:pt x="1246" y="1595"/>
                    </a:lnTo>
                    <a:lnTo>
                      <a:pt x="1246" y="1594"/>
                    </a:lnTo>
                    <a:lnTo>
                      <a:pt x="1247" y="1595"/>
                    </a:lnTo>
                    <a:lnTo>
                      <a:pt x="1246" y="1594"/>
                    </a:lnTo>
                    <a:lnTo>
                      <a:pt x="1247" y="1594"/>
                    </a:lnTo>
                    <a:lnTo>
                      <a:pt x="1249" y="1594"/>
                    </a:lnTo>
                    <a:lnTo>
                      <a:pt x="1249" y="1592"/>
                    </a:lnTo>
                    <a:close/>
                    <a:moveTo>
                      <a:pt x="1198" y="1061"/>
                    </a:moveTo>
                    <a:lnTo>
                      <a:pt x="1200" y="1061"/>
                    </a:lnTo>
                    <a:lnTo>
                      <a:pt x="1200" y="1063"/>
                    </a:lnTo>
                    <a:lnTo>
                      <a:pt x="1202" y="1063"/>
                    </a:lnTo>
                    <a:lnTo>
                      <a:pt x="1200" y="1065"/>
                    </a:lnTo>
                    <a:lnTo>
                      <a:pt x="1202" y="1065"/>
                    </a:lnTo>
                    <a:lnTo>
                      <a:pt x="1203" y="1066"/>
                    </a:lnTo>
                    <a:lnTo>
                      <a:pt x="1202" y="1065"/>
                    </a:lnTo>
                    <a:lnTo>
                      <a:pt x="1203" y="1065"/>
                    </a:lnTo>
                    <a:lnTo>
                      <a:pt x="1203" y="1066"/>
                    </a:lnTo>
                    <a:lnTo>
                      <a:pt x="1202" y="1066"/>
                    </a:lnTo>
                    <a:lnTo>
                      <a:pt x="1200" y="1066"/>
                    </a:lnTo>
                    <a:lnTo>
                      <a:pt x="1198" y="1066"/>
                    </a:lnTo>
                    <a:lnTo>
                      <a:pt x="1196" y="1065"/>
                    </a:lnTo>
                    <a:lnTo>
                      <a:pt x="1196" y="1063"/>
                    </a:lnTo>
                    <a:lnTo>
                      <a:pt x="1198" y="1063"/>
                    </a:lnTo>
                    <a:lnTo>
                      <a:pt x="1198" y="1061"/>
                    </a:lnTo>
                    <a:close/>
                    <a:moveTo>
                      <a:pt x="1198" y="1442"/>
                    </a:moveTo>
                    <a:lnTo>
                      <a:pt x="1200" y="1442"/>
                    </a:lnTo>
                    <a:lnTo>
                      <a:pt x="1200" y="1444"/>
                    </a:lnTo>
                    <a:lnTo>
                      <a:pt x="1200" y="1446"/>
                    </a:lnTo>
                    <a:lnTo>
                      <a:pt x="1202" y="1444"/>
                    </a:lnTo>
                    <a:lnTo>
                      <a:pt x="1202" y="1446"/>
                    </a:lnTo>
                    <a:lnTo>
                      <a:pt x="1202" y="1447"/>
                    </a:lnTo>
                    <a:lnTo>
                      <a:pt x="1202" y="1449"/>
                    </a:lnTo>
                    <a:lnTo>
                      <a:pt x="1202" y="1447"/>
                    </a:lnTo>
                    <a:lnTo>
                      <a:pt x="1203" y="1447"/>
                    </a:lnTo>
                    <a:lnTo>
                      <a:pt x="1202" y="1447"/>
                    </a:lnTo>
                    <a:lnTo>
                      <a:pt x="1203" y="1446"/>
                    </a:lnTo>
                    <a:lnTo>
                      <a:pt x="1203" y="1447"/>
                    </a:lnTo>
                    <a:lnTo>
                      <a:pt x="1205" y="1449"/>
                    </a:lnTo>
                    <a:lnTo>
                      <a:pt x="1205" y="1451"/>
                    </a:lnTo>
                    <a:lnTo>
                      <a:pt x="1203" y="1449"/>
                    </a:lnTo>
                    <a:lnTo>
                      <a:pt x="1203" y="1451"/>
                    </a:lnTo>
                    <a:lnTo>
                      <a:pt x="1203" y="1453"/>
                    </a:lnTo>
                    <a:lnTo>
                      <a:pt x="1202" y="1451"/>
                    </a:lnTo>
                    <a:lnTo>
                      <a:pt x="1202" y="1449"/>
                    </a:lnTo>
                    <a:lnTo>
                      <a:pt x="1200" y="1449"/>
                    </a:lnTo>
                    <a:lnTo>
                      <a:pt x="1202" y="1447"/>
                    </a:lnTo>
                    <a:lnTo>
                      <a:pt x="1200" y="1449"/>
                    </a:lnTo>
                    <a:lnTo>
                      <a:pt x="1200" y="1447"/>
                    </a:lnTo>
                    <a:lnTo>
                      <a:pt x="1200" y="1446"/>
                    </a:lnTo>
                    <a:lnTo>
                      <a:pt x="1200" y="1447"/>
                    </a:lnTo>
                    <a:lnTo>
                      <a:pt x="1200" y="1446"/>
                    </a:lnTo>
                    <a:lnTo>
                      <a:pt x="1198" y="1446"/>
                    </a:lnTo>
                    <a:lnTo>
                      <a:pt x="1198" y="1444"/>
                    </a:lnTo>
                    <a:lnTo>
                      <a:pt x="1198" y="1442"/>
                    </a:lnTo>
                    <a:close/>
                    <a:moveTo>
                      <a:pt x="1263" y="1565"/>
                    </a:moveTo>
                    <a:lnTo>
                      <a:pt x="1261" y="1566"/>
                    </a:lnTo>
                    <a:lnTo>
                      <a:pt x="1261" y="1568"/>
                    </a:lnTo>
                    <a:lnTo>
                      <a:pt x="1261" y="1566"/>
                    </a:lnTo>
                    <a:lnTo>
                      <a:pt x="1261" y="1568"/>
                    </a:lnTo>
                    <a:lnTo>
                      <a:pt x="1261" y="1570"/>
                    </a:lnTo>
                    <a:lnTo>
                      <a:pt x="1259" y="1570"/>
                    </a:lnTo>
                    <a:lnTo>
                      <a:pt x="1261" y="1570"/>
                    </a:lnTo>
                    <a:lnTo>
                      <a:pt x="1261" y="1568"/>
                    </a:lnTo>
                    <a:lnTo>
                      <a:pt x="1263" y="1570"/>
                    </a:lnTo>
                    <a:lnTo>
                      <a:pt x="1261" y="1570"/>
                    </a:lnTo>
                    <a:lnTo>
                      <a:pt x="1261" y="1572"/>
                    </a:lnTo>
                    <a:lnTo>
                      <a:pt x="1261" y="1570"/>
                    </a:lnTo>
                    <a:lnTo>
                      <a:pt x="1259" y="1570"/>
                    </a:lnTo>
                    <a:lnTo>
                      <a:pt x="1259" y="1568"/>
                    </a:lnTo>
                    <a:lnTo>
                      <a:pt x="1258" y="1568"/>
                    </a:lnTo>
                    <a:lnTo>
                      <a:pt x="1256" y="1568"/>
                    </a:lnTo>
                    <a:lnTo>
                      <a:pt x="1256" y="1566"/>
                    </a:lnTo>
                    <a:lnTo>
                      <a:pt x="1258" y="1566"/>
                    </a:lnTo>
                    <a:lnTo>
                      <a:pt x="1258" y="1565"/>
                    </a:lnTo>
                    <a:lnTo>
                      <a:pt x="1259" y="1565"/>
                    </a:lnTo>
                    <a:lnTo>
                      <a:pt x="1261" y="1563"/>
                    </a:lnTo>
                    <a:lnTo>
                      <a:pt x="1263" y="1565"/>
                    </a:lnTo>
                    <a:close/>
                    <a:moveTo>
                      <a:pt x="1166" y="1413"/>
                    </a:moveTo>
                    <a:lnTo>
                      <a:pt x="1168" y="1413"/>
                    </a:lnTo>
                    <a:lnTo>
                      <a:pt x="1168" y="1415"/>
                    </a:lnTo>
                    <a:lnTo>
                      <a:pt x="1169" y="1413"/>
                    </a:lnTo>
                    <a:lnTo>
                      <a:pt x="1169" y="1415"/>
                    </a:lnTo>
                    <a:lnTo>
                      <a:pt x="1168" y="1417"/>
                    </a:lnTo>
                    <a:lnTo>
                      <a:pt x="1166" y="1417"/>
                    </a:lnTo>
                    <a:lnTo>
                      <a:pt x="1164" y="1415"/>
                    </a:lnTo>
                    <a:lnTo>
                      <a:pt x="1164" y="1417"/>
                    </a:lnTo>
                    <a:lnTo>
                      <a:pt x="1162" y="1417"/>
                    </a:lnTo>
                    <a:lnTo>
                      <a:pt x="1162" y="1415"/>
                    </a:lnTo>
                    <a:lnTo>
                      <a:pt x="1162" y="1413"/>
                    </a:lnTo>
                    <a:lnTo>
                      <a:pt x="1164" y="1413"/>
                    </a:lnTo>
                    <a:lnTo>
                      <a:pt x="1166" y="1413"/>
                    </a:lnTo>
                    <a:lnTo>
                      <a:pt x="1166" y="1415"/>
                    </a:lnTo>
                    <a:lnTo>
                      <a:pt x="1166" y="1413"/>
                    </a:lnTo>
                    <a:lnTo>
                      <a:pt x="1164" y="1413"/>
                    </a:lnTo>
                    <a:lnTo>
                      <a:pt x="1164" y="1412"/>
                    </a:lnTo>
                    <a:lnTo>
                      <a:pt x="1166" y="1413"/>
                    </a:lnTo>
                    <a:close/>
                    <a:moveTo>
                      <a:pt x="1183" y="1126"/>
                    </a:moveTo>
                    <a:lnTo>
                      <a:pt x="1181" y="1126"/>
                    </a:lnTo>
                    <a:lnTo>
                      <a:pt x="1181" y="1128"/>
                    </a:lnTo>
                    <a:lnTo>
                      <a:pt x="1181" y="1129"/>
                    </a:lnTo>
                    <a:lnTo>
                      <a:pt x="1181" y="1131"/>
                    </a:lnTo>
                    <a:lnTo>
                      <a:pt x="1181" y="1133"/>
                    </a:lnTo>
                    <a:lnTo>
                      <a:pt x="1179" y="1133"/>
                    </a:lnTo>
                    <a:lnTo>
                      <a:pt x="1179" y="1131"/>
                    </a:lnTo>
                    <a:lnTo>
                      <a:pt x="1178" y="1131"/>
                    </a:lnTo>
                    <a:lnTo>
                      <a:pt x="1178" y="1129"/>
                    </a:lnTo>
                    <a:lnTo>
                      <a:pt x="1178" y="1128"/>
                    </a:lnTo>
                    <a:lnTo>
                      <a:pt x="1179" y="1128"/>
                    </a:lnTo>
                    <a:lnTo>
                      <a:pt x="1179" y="1126"/>
                    </a:lnTo>
                    <a:lnTo>
                      <a:pt x="1181" y="1126"/>
                    </a:lnTo>
                    <a:lnTo>
                      <a:pt x="1183" y="1126"/>
                    </a:lnTo>
                    <a:close/>
                    <a:moveTo>
                      <a:pt x="1142" y="1301"/>
                    </a:moveTo>
                    <a:lnTo>
                      <a:pt x="1144" y="1303"/>
                    </a:lnTo>
                    <a:lnTo>
                      <a:pt x="1145" y="1303"/>
                    </a:lnTo>
                    <a:lnTo>
                      <a:pt x="1145" y="1305"/>
                    </a:lnTo>
                    <a:lnTo>
                      <a:pt x="1147" y="1305"/>
                    </a:lnTo>
                    <a:lnTo>
                      <a:pt x="1147" y="1306"/>
                    </a:lnTo>
                    <a:lnTo>
                      <a:pt x="1145" y="1306"/>
                    </a:lnTo>
                    <a:lnTo>
                      <a:pt x="1145" y="1305"/>
                    </a:lnTo>
                    <a:lnTo>
                      <a:pt x="1145" y="1306"/>
                    </a:lnTo>
                    <a:lnTo>
                      <a:pt x="1144" y="1305"/>
                    </a:lnTo>
                    <a:lnTo>
                      <a:pt x="1144" y="1306"/>
                    </a:lnTo>
                    <a:lnTo>
                      <a:pt x="1142" y="1305"/>
                    </a:lnTo>
                    <a:lnTo>
                      <a:pt x="1142" y="1303"/>
                    </a:lnTo>
                    <a:lnTo>
                      <a:pt x="1140" y="1303"/>
                    </a:lnTo>
                    <a:lnTo>
                      <a:pt x="1139" y="1303"/>
                    </a:lnTo>
                    <a:lnTo>
                      <a:pt x="1140" y="1301"/>
                    </a:lnTo>
                    <a:lnTo>
                      <a:pt x="1142" y="1301"/>
                    </a:lnTo>
                    <a:close/>
                    <a:moveTo>
                      <a:pt x="1210" y="990"/>
                    </a:moveTo>
                    <a:lnTo>
                      <a:pt x="1210" y="992"/>
                    </a:lnTo>
                    <a:lnTo>
                      <a:pt x="1210" y="993"/>
                    </a:lnTo>
                    <a:lnTo>
                      <a:pt x="1210" y="995"/>
                    </a:lnTo>
                    <a:lnTo>
                      <a:pt x="1212" y="997"/>
                    </a:lnTo>
                    <a:lnTo>
                      <a:pt x="1212" y="995"/>
                    </a:lnTo>
                    <a:lnTo>
                      <a:pt x="1212" y="997"/>
                    </a:lnTo>
                    <a:lnTo>
                      <a:pt x="1210" y="997"/>
                    </a:lnTo>
                    <a:lnTo>
                      <a:pt x="1210" y="995"/>
                    </a:lnTo>
                    <a:lnTo>
                      <a:pt x="1208" y="995"/>
                    </a:lnTo>
                    <a:lnTo>
                      <a:pt x="1208" y="993"/>
                    </a:lnTo>
                    <a:lnTo>
                      <a:pt x="1207" y="993"/>
                    </a:lnTo>
                    <a:lnTo>
                      <a:pt x="1207" y="995"/>
                    </a:lnTo>
                    <a:lnTo>
                      <a:pt x="1205" y="993"/>
                    </a:lnTo>
                    <a:lnTo>
                      <a:pt x="1205" y="992"/>
                    </a:lnTo>
                    <a:lnTo>
                      <a:pt x="1207" y="992"/>
                    </a:lnTo>
                    <a:lnTo>
                      <a:pt x="1208" y="992"/>
                    </a:lnTo>
                    <a:lnTo>
                      <a:pt x="1210" y="992"/>
                    </a:lnTo>
                    <a:lnTo>
                      <a:pt x="1210" y="990"/>
                    </a:lnTo>
                    <a:close/>
                    <a:moveTo>
                      <a:pt x="1202" y="1524"/>
                    </a:moveTo>
                    <a:lnTo>
                      <a:pt x="1202" y="1526"/>
                    </a:lnTo>
                    <a:lnTo>
                      <a:pt x="1202" y="1527"/>
                    </a:lnTo>
                    <a:lnTo>
                      <a:pt x="1203" y="1527"/>
                    </a:lnTo>
                    <a:lnTo>
                      <a:pt x="1203" y="1529"/>
                    </a:lnTo>
                    <a:lnTo>
                      <a:pt x="1205" y="1529"/>
                    </a:lnTo>
                    <a:lnTo>
                      <a:pt x="1203" y="1529"/>
                    </a:lnTo>
                    <a:lnTo>
                      <a:pt x="1203" y="1531"/>
                    </a:lnTo>
                    <a:lnTo>
                      <a:pt x="1202" y="1529"/>
                    </a:lnTo>
                    <a:lnTo>
                      <a:pt x="1202" y="1527"/>
                    </a:lnTo>
                    <a:lnTo>
                      <a:pt x="1200" y="1527"/>
                    </a:lnTo>
                    <a:lnTo>
                      <a:pt x="1200" y="1526"/>
                    </a:lnTo>
                    <a:lnTo>
                      <a:pt x="1200" y="1527"/>
                    </a:lnTo>
                    <a:lnTo>
                      <a:pt x="1198" y="1527"/>
                    </a:lnTo>
                    <a:lnTo>
                      <a:pt x="1198" y="1526"/>
                    </a:lnTo>
                    <a:lnTo>
                      <a:pt x="1198" y="1524"/>
                    </a:lnTo>
                    <a:lnTo>
                      <a:pt x="1200" y="1524"/>
                    </a:lnTo>
                    <a:lnTo>
                      <a:pt x="1202" y="1524"/>
                    </a:lnTo>
                    <a:close/>
                    <a:moveTo>
                      <a:pt x="1176" y="1413"/>
                    </a:moveTo>
                    <a:lnTo>
                      <a:pt x="1176" y="1415"/>
                    </a:lnTo>
                    <a:lnTo>
                      <a:pt x="1178" y="1417"/>
                    </a:lnTo>
                    <a:lnTo>
                      <a:pt x="1176" y="1417"/>
                    </a:lnTo>
                    <a:lnTo>
                      <a:pt x="1174" y="1417"/>
                    </a:lnTo>
                    <a:lnTo>
                      <a:pt x="1174" y="1418"/>
                    </a:lnTo>
                    <a:lnTo>
                      <a:pt x="1173" y="1418"/>
                    </a:lnTo>
                    <a:lnTo>
                      <a:pt x="1173" y="1417"/>
                    </a:lnTo>
                    <a:lnTo>
                      <a:pt x="1171" y="1417"/>
                    </a:lnTo>
                    <a:lnTo>
                      <a:pt x="1171" y="1415"/>
                    </a:lnTo>
                    <a:lnTo>
                      <a:pt x="1173" y="1415"/>
                    </a:lnTo>
                    <a:lnTo>
                      <a:pt x="1171" y="1415"/>
                    </a:lnTo>
                    <a:lnTo>
                      <a:pt x="1173" y="1415"/>
                    </a:lnTo>
                    <a:lnTo>
                      <a:pt x="1174" y="1415"/>
                    </a:lnTo>
                    <a:lnTo>
                      <a:pt x="1174" y="1413"/>
                    </a:lnTo>
                    <a:lnTo>
                      <a:pt x="1176" y="1413"/>
                    </a:lnTo>
                    <a:lnTo>
                      <a:pt x="1176" y="1412"/>
                    </a:lnTo>
                    <a:lnTo>
                      <a:pt x="1176" y="1413"/>
                    </a:lnTo>
                    <a:close/>
                    <a:moveTo>
                      <a:pt x="1186" y="1068"/>
                    </a:moveTo>
                    <a:lnTo>
                      <a:pt x="1188" y="1070"/>
                    </a:lnTo>
                    <a:lnTo>
                      <a:pt x="1188" y="1071"/>
                    </a:lnTo>
                    <a:lnTo>
                      <a:pt x="1186" y="1071"/>
                    </a:lnTo>
                    <a:lnTo>
                      <a:pt x="1185" y="1071"/>
                    </a:lnTo>
                    <a:lnTo>
                      <a:pt x="1183" y="1070"/>
                    </a:lnTo>
                    <a:lnTo>
                      <a:pt x="1183" y="1068"/>
                    </a:lnTo>
                    <a:lnTo>
                      <a:pt x="1185" y="1068"/>
                    </a:lnTo>
                    <a:lnTo>
                      <a:pt x="1186" y="1068"/>
                    </a:lnTo>
                    <a:close/>
                    <a:moveTo>
                      <a:pt x="1205" y="1548"/>
                    </a:moveTo>
                    <a:lnTo>
                      <a:pt x="1207" y="1548"/>
                    </a:lnTo>
                    <a:lnTo>
                      <a:pt x="1207" y="1549"/>
                    </a:lnTo>
                    <a:lnTo>
                      <a:pt x="1208" y="1549"/>
                    </a:lnTo>
                    <a:lnTo>
                      <a:pt x="1207" y="1549"/>
                    </a:lnTo>
                    <a:lnTo>
                      <a:pt x="1208" y="1549"/>
                    </a:lnTo>
                    <a:lnTo>
                      <a:pt x="1208" y="1551"/>
                    </a:lnTo>
                    <a:lnTo>
                      <a:pt x="1207" y="1551"/>
                    </a:lnTo>
                    <a:lnTo>
                      <a:pt x="1205" y="1551"/>
                    </a:lnTo>
                    <a:lnTo>
                      <a:pt x="1205" y="1549"/>
                    </a:lnTo>
                    <a:lnTo>
                      <a:pt x="1203" y="1548"/>
                    </a:lnTo>
                    <a:lnTo>
                      <a:pt x="1203" y="1549"/>
                    </a:lnTo>
                    <a:lnTo>
                      <a:pt x="1203" y="1551"/>
                    </a:lnTo>
                    <a:lnTo>
                      <a:pt x="1202" y="1551"/>
                    </a:lnTo>
                    <a:lnTo>
                      <a:pt x="1203" y="1549"/>
                    </a:lnTo>
                    <a:lnTo>
                      <a:pt x="1202" y="1549"/>
                    </a:lnTo>
                    <a:lnTo>
                      <a:pt x="1200" y="1549"/>
                    </a:lnTo>
                    <a:lnTo>
                      <a:pt x="1200" y="1548"/>
                    </a:lnTo>
                    <a:lnTo>
                      <a:pt x="1202" y="1548"/>
                    </a:lnTo>
                    <a:lnTo>
                      <a:pt x="1203" y="1549"/>
                    </a:lnTo>
                    <a:lnTo>
                      <a:pt x="1202" y="1548"/>
                    </a:lnTo>
                    <a:lnTo>
                      <a:pt x="1203" y="1548"/>
                    </a:lnTo>
                    <a:lnTo>
                      <a:pt x="1203" y="1546"/>
                    </a:lnTo>
                    <a:lnTo>
                      <a:pt x="1205" y="1546"/>
                    </a:lnTo>
                    <a:lnTo>
                      <a:pt x="1205" y="1548"/>
                    </a:lnTo>
                    <a:close/>
                    <a:moveTo>
                      <a:pt x="1229" y="1558"/>
                    </a:moveTo>
                    <a:lnTo>
                      <a:pt x="1230" y="1558"/>
                    </a:lnTo>
                    <a:lnTo>
                      <a:pt x="1232" y="1560"/>
                    </a:lnTo>
                    <a:lnTo>
                      <a:pt x="1234" y="1560"/>
                    </a:lnTo>
                    <a:lnTo>
                      <a:pt x="1234" y="1561"/>
                    </a:lnTo>
                    <a:lnTo>
                      <a:pt x="1232" y="1560"/>
                    </a:lnTo>
                    <a:lnTo>
                      <a:pt x="1232" y="1561"/>
                    </a:lnTo>
                    <a:lnTo>
                      <a:pt x="1232" y="1560"/>
                    </a:lnTo>
                    <a:lnTo>
                      <a:pt x="1230" y="1561"/>
                    </a:lnTo>
                    <a:lnTo>
                      <a:pt x="1229" y="1561"/>
                    </a:lnTo>
                    <a:lnTo>
                      <a:pt x="1227" y="1561"/>
                    </a:lnTo>
                    <a:lnTo>
                      <a:pt x="1225" y="1561"/>
                    </a:lnTo>
                    <a:lnTo>
                      <a:pt x="1227" y="1560"/>
                    </a:lnTo>
                    <a:lnTo>
                      <a:pt x="1229" y="1560"/>
                    </a:lnTo>
                    <a:lnTo>
                      <a:pt x="1229" y="1561"/>
                    </a:lnTo>
                    <a:lnTo>
                      <a:pt x="1229" y="1560"/>
                    </a:lnTo>
                    <a:lnTo>
                      <a:pt x="1227" y="1560"/>
                    </a:lnTo>
                    <a:lnTo>
                      <a:pt x="1229" y="1558"/>
                    </a:lnTo>
                    <a:lnTo>
                      <a:pt x="1227" y="1558"/>
                    </a:lnTo>
                    <a:lnTo>
                      <a:pt x="1229" y="1558"/>
                    </a:lnTo>
                    <a:close/>
                    <a:moveTo>
                      <a:pt x="1411" y="1662"/>
                    </a:moveTo>
                    <a:lnTo>
                      <a:pt x="1412" y="1663"/>
                    </a:lnTo>
                    <a:lnTo>
                      <a:pt x="1412" y="1665"/>
                    </a:lnTo>
                    <a:lnTo>
                      <a:pt x="1412" y="1667"/>
                    </a:lnTo>
                    <a:lnTo>
                      <a:pt x="1414" y="1667"/>
                    </a:lnTo>
                    <a:lnTo>
                      <a:pt x="1414" y="1669"/>
                    </a:lnTo>
                    <a:lnTo>
                      <a:pt x="1412" y="1669"/>
                    </a:lnTo>
                    <a:lnTo>
                      <a:pt x="1412" y="1667"/>
                    </a:lnTo>
                    <a:lnTo>
                      <a:pt x="1411" y="1667"/>
                    </a:lnTo>
                    <a:lnTo>
                      <a:pt x="1411" y="1669"/>
                    </a:lnTo>
                    <a:lnTo>
                      <a:pt x="1409" y="1669"/>
                    </a:lnTo>
                    <a:lnTo>
                      <a:pt x="1407" y="1669"/>
                    </a:lnTo>
                    <a:lnTo>
                      <a:pt x="1409" y="1667"/>
                    </a:lnTo>
                    <a:lnTo>
                      <a:pt x="1409" y="1665"/>
                    </a:lnTo>
                    <a:lnTo>
                      <a:pt x="1411" y="1667"/>
                    </a:lnTo>
                    <a:lnTo>
                      <a:pt x="1409" y="1665"/>
                    </a:lnTo>
                    <a:lnTo>
                      <a:pt x="1409" y="1663"/>
                    </a:lnTo>
                    <a:lnTo>
                      <a:pt x="1409" y="1662"/>
                    </a:lnTo>
                    <a:lnTo>
                      <a:pt x="1411" y="1662"/>
                    </a:lnTo>
                    <a:close/>
                    <a:moveTo>
                      <a:pt x="1207" y="1245"/>
                    </a:moveTo>
                    <a:lnTo>
                      <a:pt x="1208" y="1245"/>
                    </a:lnTo>
                    <a:lnTo>
                      <a:pt x="1208" y="1247"/>
                    </a:lnTo>
                    <a:lnTo>
                      <a:pt x="1208" y="1248"/>
                    </a:lnTo>
                    <a:lnTo>
                      <a:pt x="1208" y="1250"/>
                    </a:lnTo>
                    <a:lnTo>
                      <a:pt x="1208" y="1252"/>
                    </a:lnTo>
                    <a:lnTo>
                      <a:pt x="1207" y="1252"/>
                    </a:lnTo>
                    <a:lnTo>
                      <a:pt x="1208" y="1250"/>
                    </a:lnTo>
                    <a:lnTo>
                      <a:pt x="1207" y="1250"/>
                    </a:lnTo>
                    <a:lnTo>
                      <a:pt x="1205" y="1250"/>
                    </a:lnTo>
                    <a:lnTo>
                      <a:pt x="1205" y="1248"/>
                    </a:lnTo>
                    <a:lnTo>
                      <a:pt x="1207" y="1248"/>
                    </a:lnTo>
                    <a:lnTo>
                      <a:pt x="1205" y="1248"/>
                    </a:lnTo>
                    <a:lnTo>
                      <a:pt x="1205" y="1247"/>
                    </a:lnTo>
                    <a:lnTo>
                      <a:pt x="1205" y="1245"/>
                    </a:lnTo>
                    <a:lnTo>
                      <a:pt x="1207" y="1245"/>
                    </a:lnTo>
                    <a:close/>
                    <a:moveTo>
                      <a:pt x="1156" y="1311"/>
                    </a:moveTo>
                    <a:lnTo>
                      <a:pt x="1157" y="1311"/>
                    </a:lnTo>
                    <a:lnTo>
                      <a:pt x="1157" y="1313"/>
                    </a:lnTo>
                    <a:lnTo>
                      <a:pt x="1159" y="1313"/>
                    </a:lnTo>
                    <a:lnTo>
                      <a:pt x="1159" y="1311"/>
                    </a:lnTo>
                    <a:lnTo>
                      <a:pt x="1161" y="1313"/>
                    </a:lnTo>
                    <a:lnTo>
                      <a:pt x="1159" y="1313"/>
                    </a:lnTo>
                    <a:lnTo>
                      <a:pt x="1161" y="1315"/>
                    </a:lnTo>
                    <a:lnTo>
                      <a:pt x="1159" y="1315"/>
                    </a:lnTo>
                    <a:lnTo>
                      <a:pt x="1157" y="1315"/>
                    </a:lnTo>
                    <a:lnTo>
                      <a:pt x="1156" y="1315"/>
                    </a:lnTo>
                    <a:lnTo>
                      <a:pt x="1156" y="1313"/>
                    </a:lnTo>
                    <a:lnTo>
                      <a:pt x="1156" y="1311"/>
                    </a:lnTo>
                    <a:close/>
                    <a:moveTo>
                      <a:pt x="1193" y="1531"/>
                    </a:moveTo>
                    <a:lnTo>
                      <a:pt x="1193" y="1532"/>
                    </a:lnTo>
                    <a:lnTo>
                      <a:pt x="1195" y="1532"/>
                    </a:lnTo>
                    <a:lnTo>
                      <a:pt x="1193" y="1534"/>
                    </a:lnTo>
                    <a:lnTo>
                      <a:pt x="1193" y="1536"/>
                    </a:lnTo>
                    <a:lnTo>
                      <a:pt x="1191" y="1536"/>
                    </a:lnTo>
                    <a:lnTo>
                      <a:pt x="1190" y="1536"/>
                    </a:lnTo>
                    <a:lnTo>
                      <a:pt x="1190" y="1538"/>
                    </a:lnTo>
                    <a:lnTo>
                      <a:pt x="1188" y="1538"/>
                    </a:lnTo>
                    <a:lnTo>
                      <a:pt x="1188" y="1536"/>
                    </a:lnTo>
                    <a:lnTo>
                      <a:pt x="1186" y="1536"/>
                    </a:lnTo>
                    <a:lnTo>
                      <a:pt x="1188" y="1534"/>
                    </a:lnTo>
                    <a:lnTo>
                      <a:pt x="1190" y="1534"/>
                    </a:lnTo>
                    <a:lnTo>
                      <a:pt x="1190" y="1532"/>
                    </a:lnTo>
                    <a:lnTo>
                      <a:pt x="1191" y="1532"/>
                    </a:lnTo>
                    <a:lnTo>
                      <a:pt x="1193" y="1531"/>
                    </a:lnTo>
                    <a:close/>
                    <a:moveTo>
                      <a:pt x="1169" y="1083"/>
                    </a:moveTo>
                    <a:lnTo>
                      <a:pt x="1171" y="1083"/>
                    </a:lnTo>
                    <a:lnTo>
                      <a:pt x="1173" y="1085"/>
                    </a:lnTo>
                    <a:lnTo>
                      <a:pt x="1171" y="1085"/>
                    </a:lnTo>
                    <a:lnTo>
                      <a:pt x="1173" y="1087"/>
                    </a:lnTo>
                    <a:lnTo>
                      <a:pt x="1171" y="1087"/>
                    </a:lnTo>
                    <a:lnTo>
                      <a:pt x="1173" y="1088"/>
                    </a:lnTo>
                    <a:lnTo>
                      <a:pt x="1171" y="1088"/>
                    </a:lnTo>
                    <a:lnTo>
                      <a:pt x="1169" y="1088"/>
                    </a:lnTo>
                    <a:lnTo>
                      <a:pt x="1169" y="1087"/>
                    </a:lnTo>
                    <a:lnTo>
                      <a:pt x="1169" y="1085"/>
                    </a:lnTo>
                    <a:lnTo>
                      <a:pt x="1169" y="1083"/>
                    </a:lnTo>
                    <a:close/>
                    <a:moveTo>
                      <a:pt x="1423" y="1680"/>
                    </a:moveTo>
                    <a:lnTo>
                      <a:pt x="1424" y="1682"/>
                    </a:lnTo>
                    <a:lnTo>
                      <a:pt x="1426" y="1684"/>
                    </a:lnTo>
                    <a:lnTo>
                      <a:pt x="1426" y="1686"/>
                    </a:lnTo>
                    <a:lnTo>
                      <a:pt x="1424" y="1686"/>
                    </a:lnTo>
                    <a:lnTo>
                      <a:pt x="1423" y="1684"/>
                    </a:lnTo>
                    <a:lnTo>
                      <a:pt x="1421" y="1684"/>
                    </a:lnTo>
                    <a:lnTo>
                      <a:pt x="1421" y="1682"/>
                    </a:lnTo>
                    <a:lnTo>
                      <a:pt x="1421" y="1680"/>
                    </a:lnTo>
                    <a:lnTo>
                      <a:pt x="1419" y="1682"/>
                    </a:lnTo>
                    <a:lnTo>
                      <a:pt x="1417" y="1680"/>
                    </a:lnTo>
                    <a:lnTo>
                      <a:pt x="1419" y="1680"/>
                    </a:lnTo>
                    <a:lnTo>
                      <a:pt x="1421" y="1680"/>
                    </a:lnTo>
                    <a:lnTo>
                      <a:pt x="1423" y="1680"/>
                    </a:lnTo>
                    <a:close/>
                    <a:moveTo>
                      <a:pt x="1251" y="1549"/>
                    </a:moveTo>
                    <a:lnTo>
                      <a:pt x="1249" y="1549"/>
                    </a:lnTo>
                    <a:lnTo>
                      <a:pt x="1251" y="1549"/>
                    </a:lnTo>
                    <a:lnTo>
                      <a:pt x="1251" y="1551"/>
                    </a:lnTo>
                    <a:lnTo>
                      <a:pt x="1253" y="1551"/>
                    </a:lnTo>
                    <a:lnTo>
                      <a:pt x="1254" y="1551"/>
                    </a:lnTo>
                    <a:lnTo>
                      <a:pt x="1253" y="1553"/>
                    </a:lnTo>
                    <a:lnTo>
                      <a:pt x="1254" y="1553"/>
                    </a:lnTo>
                    <a:lnTo>
                      <a:pt x="1256" y="1555"/>
                    </a:lnTo>
                    <a:lnTo>
                      <a:pt x="1254" y="1555"/>
                    </a:lnTo>
                    <a:lnTo>
                      <a:pt x="1254" y="1556"/>
                    </a:lnTo>
                    <a:lnTo>
                      <a:pt x="1253" y="1555"/>
                    </a:lnTo>
                    <a:lnTo>
                      <a:pt x="1251" y="1555"/>
                    </a:lnTo>
                    <a:lnTo>
                      <a:pt x="1251" y="1553"/>
                    </a:lnTo>
                    <a:lnTo>
                      <a:pt x="1249" y="1553"/>
                    </a:lnTo>
                    <a:lnTo>
                      <a:pt x="1249" y="1551"/>
                    </a:lnTo>
                    <a:lnTo>
                      <a:pt x="1249" y="1549"/>
                    </a:lnTo>
                    <a:lnTo>
                      <a:pt x="1251" y="1549"/>
                    </a:lnTo>
                    <a:close/>
                    <a:moveTo>
                      <a:pt x="1332" y="1652"/>
                    </a:moveTo>
                    <a:lnTo>
                      <a:pt x="1334" y="1652"/>
                    </a:lnTo>
                    <a:lnTo>
                      <a:pt x="1332" y="1653"/>
                    </a:lnTo>
                    <a:lnTo>
                      <a:pt x="1331" y="1653"/>
                    </a:lnTo>
                    <a:lnTo>
                      <a:pt x="1332" y="1653"/>
                    </a:lnTo>
                    <a:lnTo>
                      <a:pt x="1332" y="1655"/>
                    </a:lnTo>
                    <a:lnTo>
                      <a:pt x="1331" y="1655"/>
                    </a:lnTo>
                    <a:lnTo>
                      <a:pt x="1331" y="1657"/>
                    </a:lnTo>
                    <a:lnTo>
                      <a:pt x="1329" y="1657"/>
                    </a:lnTo>
                    <a:lnTo>
                      <a:pt x="1331" y="1655"/>
                    </a:lnTo>
                    <a:lnTo>
                      <a:pt x="1329" y="1655"/>
                    </a:lnTo>
                    <a:lnTo>
                      <a:pt x="1329" y="1653"/>
                    </a:lnTo>
                    <a:lnTo>
                      <a:pt x="1327" y="1653"/>
                    </a:lnTo>
                    <a:lnTo>
                      <a:pt x="1326" y="1653"/>
                    </a:lnTo>
                    <a:lnTo>
                      <a:pt x="1327" y="1652"/>
                    </a:lnTo>
                    <a:lnTo>
                      <a:pt x="1326" y="1652"/>
                    </a:lnTo>
                    <a:lnTo>
                      <a:pt x="1327" y="1652"/>
                    </a:lnTo>
                    <a:lnTo>
                      <a:pt x="1329" y="1652"/>
                    </a:lnTo>
                    <a:lnTo>
                      <a:pt x="1329" y="1653"/>
                    </a:lnTo>
                    <a:lnTo>
                      <a:pt x="1331" y="1653"/>
                    </a:lnTo>
                    <a:lnTo>
                      <a:pt x="1331" y="1652"/>
                    </a:lnTo>
                    <a:lnTo>
                      <a:pt x="1332" y="1652"/>
                    </a:lnTo>
                    <a:close/>
                    <a:moveTo>
                      <a:pt x="1339" y="1655"/>
                    </a:moveTo>
                    <a:lnTo>
                      <a:pt x="1341" y="1655"/>
                    </a:lnTo>
                    <a:lnTo>
                      <a:pt x="1343" y="1655"/>
                    </a:lnTo>
                    <a:lnTo>
                      <a:pt x="1343" y="1657"/>
                    </a:lnTo>
                    <a:lnTo>
                      <a:pt x="1344" y="1657"/>
                    </a:lnTo>
                    <a:lnTo>
                      <a:pt x="1343" y="1658"/>
                    </a:lnTo>
                    <a:lnTo>
                      <a:pt x="1343" y="1657"/>
                    </a:lnTo>
                    <a:lnTo>
                      <a:pt x="1341" y="1657"/>
                    </a:lnTo>
                    <a:lnTo>
                      <a:pt x="1343" y="1658"/>
                    </a:lnTo>
                    <a:lnTo>
                      <a:pt x="1341" y="1658"/>
                    </a:lnTo>
                    <a:lnTo>
                      <a:pt x="1343" y="1658"/>
                    </a:lnTo>
                    <a:lnTo>
                      <a:pt x="1343" y="1660"/>
                    </a:lnTo>
                    <a:lnTo>
                      <a:pt x="1341" y="1658"/>
                    </a:lnTo>
                    <a:lnTo>
                      <a:pt x="1341" y="1660"/>
                    </a:lnTo>
                    <a:lnTo>
                      <a:pt x="1341" y="1658"/>
                    </a:lnTo>
                    <a:lnTo>
                      <a:pt x="1341" y="1660"/>
                    </a:lnTo>
                    <a:lnTo>
                      <a:pt x="1339" y="1658"/>
                    </a:lnTo>
                    <a:lnTo>
                      <a:pt x="1339" y="1660"/>
                    </a:lnTo>
                    <a:lnTo>
                      <a:pt x="1338" y="1660"/>
                    </a:lnTo>
                    <a:lnTo>
                      <a:pt x="1338" y="1658"/>
                    </a:lnTo>
                    <a:lnTo>
                      <a:pt x="1339" y="1658"/>
                    </a:lnTo>
                    <a:lnTo>
                      <a:pt x="1339" y="1657"/>
                    </a:lnTo>
                    <a:lnTo>
                      <a:pt x="1339" y="1655"/>
                    </a:lnTo>
                    <a:close/>
                    <a:moveTo>
                      <a:pt x="1212" y="1007"/>
                    </a:moveTo>
                    <a:lnTo>
                      <a:pt x="1213" y="1007"/>
                    </a:lnTo>
                    <a:lnTo>
                      <a:pt x="1215" y="1009"/>
                    </a:lnTo>
                    <a:lnTo>
                      <a:pt x="1217" y="1009"/>
                    </a:lnTo>
                    <a:lnTo>
                      <a:pt x="1217" y="1010"/>
                    </a:lnTo>
                    <a:lnTo>
                      <a:pt x="1219" y="1010"/>
                    </a:lnTo>
                    <a:lnTo>
                      <a:pt x="1219" y="1012"/>
                    </a:lnTo>
                    <a:lnTo>
                      <a:pt x="1219" y="1010"/>
                    </a:lnTo>
                    <a:lnTo>
                      <a:pt x="1217" y="1010"/>
                    </a:lnTo>
                    <a:lnTo>
                      <a:pt x="1215" y="1010"/>
                    </a:lnTo>
                    <a:lnTo>
                      <a:pt x="1213" y="1010"/>
                    </a:lnTo>
                    <a:lnTo>
                      <a:pt x="1213" y="1009"/>
                    </a:lnTo>
                    <a:lnTo>
                      <a:pt x="1212" y="1009"/>
                    </a:lnTo>
                    <a:lnTo>
                      <a:pt x="1210" y="1009"/>
                    </a:lnTo>
                    <a:lnTo>
                      <a:pt x="1210" y="1007"/>
                    </a:lnTo>
                    <a:lnTo>
                      <a:pt x="1212" y="1007"/>
                    </a:lnTo>
                    <a:close/>
                    <a:moveTo>
                      <a:pt x="1263" y="1609"/>
                    </a:moveTo>
                    <a:lnTo>
                      <a:pt x="1264" y="1611"/>
                    </a:lnTo>
                    <a:lnTo>
                      <a:pt x="1264" y="1612"/>
                    </a:lnTo>
                    <a:lnTo>
                      <a:pt x="1266" y="1612"/>
                    </a:lnTo>
                    <a:lnTo>
                      <a:pt x="1266" y="1614"/>
                    </a:lnTo>
                    <a:lnTo>
                      <a:pt x="1266" y="1612"/>
                    </a:lnTo>
                    <a:lnTo>
                      <a:pt x="1266" y="1614"/>
                    </a:lnTo>
                    <a:lnTo>
                      <a:pt x="1268" y="1614"/>
                    </a:lnTo>
                    <a:lnTo>
                      <a:pt x="1266" y="1614"/>
                    </a:lnTo>
                    <a:lnTo>
                      <a:pt x="1266" y="1616"/>
                    </a:lnTo>
                    <a:lnTo>
                      <a:pt x="1266" y="1618"/>
                    </a:lnTo>
                    <a:lnTo>
                      <a:pt x="1266" y="1616"/>
                    </a:lnTo>
                    <a:lnTo>
                      <a:pt x="1264" y="1616"/>
                    </a:lnTo>
                    <a:lnTo>
                      <a:pt x="1264" y="1614"/>
                    </a:lnTo>
                    <a:lnTo>
                      <a:pt x="1264" y="1612"/>
                    </a:lnTo>
                    <a:lnTo>
                      <a:pt x="1263" y="1614"/>
                    </a:lnTo>
                    <a:lnTo>
                      <a:pt x="1263" y="1612"/>
                    </a:lnTo>
                    <a:lnTo>
                      <a:pt x="1263" y="1611"/>
                    </a:lnTo>
                    <a:lnTo>
                      <a:pt x="1263" y="1612"/>
                    </a:lnTo>
                    <a:lnTo>
                      <a:pt x="1261" y="1612"/>
                    </a:lnTo>
                    <a:lnTo>
                      <a:pt x="1261" y="1611"/>
                    </a:lnTo>
                    <a:lnTo>
                      <a:pt x="1263" y="1609"/>
                    </a:lnTo>
                    <a:close/>
                    <a:moveTo>
                      <a:pt x="1168" y="1417"/>
                    </a:moveTo>
                    <a:lnTo>
                      <a:pt x="1169" y="1417"/>
                    </a:lnTo>
                    <a:lnTo>
                      <a:pt x="1169" y="1418"/>
                    </a:lnTo>
                    <a:lnTo>
                      <a:pt x="1168" y="1420"/>
                    </a:lnTo>
                    <a:lnTo>
                      <a:pt x="1166" y="1420"/>
                    </a:lnTo>
                    <a:lnTo>
                      <a:pt x="1168" y="1418"/>
                    </a:lnTo>
                    <a:lnTo>
                      <a:pt x="1166" y="1418"/>
                    </a:lnTo>
                    <a:lnTo>
                      <a:pt x="1164" y="1418"/>
                    </a:lnTo>
                    <a:lnTo>
                      <a:pt x="1164" y="1420"/>
                    </a:lnTo>
                    <a:lnTo>
                      <a:pt x="1162" y="1420"/>
                    </a:lnTo>
                    <a:lnTo>
                      <a:pt x="1162" y="1418"/>
                    </a:lnTo>
                    <a:lnTo>
                      <a:pt x="1164" y="1417"/>
                    </a:lnTo>
                    <a:lnTo>
                      <a:pt x="1166" y="1417"/>
                    </a:lnTo>
                    <a:lnTo>
                      <a:pt x="1168" y="1417"/>
                    </a:lnTo>
                    <a:close/>
                    <a:moveTo>
                      <a:pt x="1203" y="1075"/>
                    </a:moveTo>
                    <a:lnTo>
                      <a:pt x="1203" y="1077"/>
                    </a:lnTo>
                    <a:lnTo>
                      <a:pt x="1202" y="1077"/>
                    </a:lnTo>
                    <a:lnTo>
                      <a:pt x="1200" y="1078"/>
                    </a:lnTo>
                    <a:lnTo>
                      <a:pt x="1202" y="1077"/>
                    </a:lnTo>
                    <a:lnTo>
                      <a:pt x="1203" y="1077"/>
                    </a:lnTo>
                    <a:lnTo>
                      <a:pt x="1202" y="1078"/>
                    </a:lnTo>
                    <a:lnTo>
                      <a:pt x="1203" y="1077"/>
                    </a:lnTo>
                    <a:lnTo>
                      <a:pt x="1205" y="1077"/>
                    </a:lnTo>
                    <a:lnTo>
                      <a:pt x="1205" y="1078"/>
                    </a:lnTo>
                    <a:lnTo>
                      <a:pt x="1203" y="1078"/>
                    </a:lnTo>
                    <a:lnTo>
                      <a:pt x="1202" y="1078"/>
                    </a:lnTo>
                    <a:lnTo>
                      <a:pt x="1200" y="1078"/>
                    </a:lnTo>
                    <a:lnTo>
                      <a:pt x="1200" y="1077"/>
                    </a:lnTo>
                    <a:lnTo>
                      <a:pt x="1202" y="1075"/>
                    </a:lnTo>
                    <a:lnTo>
                      <a:pt x="1203" y="1075"/>
                    </a:lnTo>
                    <a:close/>
                    <a:moveTo>
                      <a:pt x="1222" y="1071"/>
                    </a:moveTo>
                    <a:lnTo>
                      <a:pt x="1222" y="1073"/>
                    </a:lnTo>
                    <a:lnTo>
                      <a:pt x="1224" y="1071"/>
                    </a:lnTo>
                    <a:lnTo>
                      <a:pt x="1224" y="1073"/>
                    </a:lnTo>
                    <a:lnTo>
                      <a:pt x="1225" y="1075"/>
                    </a:lnTo>
                    <a:lnTo>
                      <a:pt x="1224" y="1075"/>
                    </a:lnTo>
                    <a:lnTo>
                      <a:pt x="1222" y="1075"/>
                    </a:lnTo>
                    <a:lnTo>
                      <a:pt x="1220" y="1075"/>
                    </a:lnTo>
                    <a:lnTo>
                      <a:pt x="1220" y="1073"/>
                    </a:lnTo>
                    <a:lnTo>
                      <a:pt x="1222" y="1071"/>
                    </a:lnTo>
                    <a:close/>
                    <a:moveTo>
                      <a:pt x="1229" y="954"/>
                    </a:moveTo>
                    <a:lnTo>
                      <a:pt x="1229" y="956"/>
                    </a:lnTo>
                    <a:lnTo>
                      <a:pt x="1230" y="956"/>
                    </a:lnTo>
                    <a:lnTo>
                      <a:pt x="1230" y="957"/>
                    </a:lnTo>
                    <a:lnTo>
                      <a:pt x="1230" y="959"/>
                    </a:lnTo>
                    <a:lnTo>
                      <a:pt x="1229" y="957"/>
                    </a:lnTo>
                    <a:lnTo>
                      <a:pt x="1227" y="957"/>
                    </a:lnTo>
                    <a:lnTo>
                      <a:pt x="1227" y="956"/>
                    </a:lnTo>
                    <a:lnTo>
                      <a:pt x="1225" y="956"/>
                    </a:lnTo>
                    <a:lnTo>
                      <a:pt x="1227" y="956"/>
                    </a:lnTo>
                    <a:lnTo>
                      <a:pt x="1229" y="956"/>
                    </a:lnTo>
                    <a:lnTo>
                      <a:pt x="1227" y="956"/>
                    </a:lnTo>
                    <a:lnTo>
                      <a:pt x="1227" y="954"/>
                    </a:lnTo>
                    <a:lnTo>
                      <a:pt x="1227" y="952"/>
                    </a:lnTo>
                    <a:lnTo>
                      <a:pt x="1227" y="954"/>
                    </a:lnTo>
                    <a:lnTo>
                      <a:pt x="1227" y="952"/>
                    </a:lnTo>
                    <a:lnTo>
                      <a:pt x="1229" y="952"/>
                    </a:lnTo>
                    <a:lnTo>
                      <a:pt x="1229" y="954"/>
                    </a:lnTo>
                    <a:close/>
                    <a:moveTo>
                      <a:pt x="1208" y="1073"/>
                    </a:moveTo>
                    <a:lnTo>
                      <a:pt x="1208" y="1075"/>
                    </a:lnTo>
                    <a:lnTo>
                      <a:pt x="1207" y="1075"/>
                    </a:lnTo>
                    <a:lnTo>
                      <a:pt x="1207" y="1077"/>
                    </a:lnTo>
                    <a:lnTo>
                      <a:pt x="1208" y="1077"/>
                    </a:lnTo>
                    <a:lnTo>
                      <a:pt x="1208" y="1078"/>
                    </a:lnTo>
                    <a:lnTo>
                      <a:pt x="1207" y="1078"/>
                    </a:lnTo>
                    <a:lnTo>
                      <a:pt x="1205" y="1077"/>
                    </a:lnTo>
                    <a:lnTo>
                      <a:pt x="1205" y="1075"/>
                    </a:lnTo>
                    <a:lnTo>
                      <a:pt x="1203" y="1075"/>
                    </a:lnTo>
                    <a:lnTo>
                      <a:pt x="1205" y="1075"/>
                    </a:lnTo>
                    <a:lnTo>
                      <a:pt x="1207" y="1073"/>
                    </a:lnTo>
                    <a:lnTo>
                      <a:pt x="1207" y="1075"/>
                    </a:lnTo>
                    <a:lnTo>
                      <a:pt x="1208" y="1075"/>
                    </a:lnTo>
                    <a:lnTo>
                      <a:pt x="1207" y="1073"/>
                    </a:lnTo>
                    <a:lnTo>
                      <a:pt x="1208" y="1073"/>
                    </a:lnTo>
                    <a:close/>
                    <a:moveTo>
                      <a:pt x="1166" y="1420"/>
                    </a:moveTo>
                    <a:lnTo>
                      <a:pt x="1168" y="1422"/>
                    </a:lnTo>
                    <a:lnTo>
                      <a:pt x="1166" y="1422"/>
                    </a:lnTo>
                    <a:lnTo>
                      <a:pt x="1166" y="1424"/>
                    </a:lnTo>
                    <a:lnTo>
                      <a:pt x="1164" y="1424"/>
                    </a:lnTo>
                    <a:lnTo>
                      <a:pt x="1162" y="1424"/>
                    </a:lnTo>
                    <a:lnTo>
                      <a:pt x="1162" y="1425"/>
                    </a:lnTo>
                    <a:lnTo>
                      <a:pt x="1162" y="1424"/>
                    </a:lnTo>
                    <a:lnTo>
                      <a:pt x="1161" y="1424"/>
                    </a:lnTo>
                    <a:lnTo>
                      <a:pt x="1161" y="1422"/>
                    </a:lnTo>
                    <a:lnTo>
                      <a:pt x="1162" y="1422"/>
                    </a:lnTo>
                    <a:lnTo>
                      <a:pt x="1164" y="1422"/>
                    </a:lnTo>
                    <a:lnTo>
                      <a:pt x="1162" y="1422"/>
                    </a:lnTo>
                    <a:lnTo>
                      <a:pt x="1164" y="1420"/>
                    </a:lnTo>
                    <a:lnTo>
                      <a:pt x="1164" y="1422"/>
                    </a:lnTo>
                    <a:lnTo>
                      <a:pt x="1164" y="1420"/>
                    </a:lnTo>
                    <a:lnTo>
                      <a:pt x="1166" y="1420"/>
                    </a:lnTo>
                    <a:close/>
                    <a:moveTo>
                      <a:pt x="1247" y="968"/>
                    </a:moveTo>
                    <a:lnTo>
                      <a:pt x="1247" y="969"/>
                    </a:lnTo>
                    <a:lnTo>
                      <a:pt x="1247" y="971"/>
                    </a:lnTo>
                    <a:lnTo>
                      <a:pt x="1247" y="973"/>
                    </a:lnTo>
                    <a:lnTo>
                      <a:pt x="1246" y="973"/>
                    </a:lnTo>
                    <a:lnTo>
                      <a:pt x="1246" y="971"/>
                    </a:lnTo>
                    <a:lnTo>
                      <a:pt x="1244" y="971"/>
                    </a:lnTo>
                    <a:lnTo>
                      <a:pt x="1242" y="971"/>
                    </a:lnTo>
                    <a:lnTo>
                      <a:pt x="1244" y="969"/>
                    </a:lnTo>
                    <a:lnTo>
                      <a:pt x="1244" y="968"/>
                    </a:lnTo>
                    <a:lnTo>
                      <a:pt x="1246" y="968"/>
                    </a:lnTo>
                    <a:lnTo>
                      <a:pt x="1244" y="969"/>
                    </a:lnTo>
                    <a:lnTo>
                      <a:pt x="1246" y="968"/>
                    </a:lnTo>
                    <a:lnTo>
                      <a:pt x="1247" y="968"/>
                    </a:lnTo>
                    <a:close/>
                    <a:moveTo>
                      <a:pt x="1188" y="1099"/>
                    </a:moveTo>
                    <a:lnTo>
                      <a:pt x="1186" y="1100"/>
                    </a:lnTo>
                    <a:lnTo>
                      <a:pt x="1186" y="1102"/>
                    </a:lnTo>
                    <a:lnTo>
                      <a:pt x="1185" y="1102"/>
                    </a:lnTo>
                    <a:lnTo>
                      <a:pt x="1183" y="1102"/>
                    </a:lnTo>
                    <a:lnTo>
                      <a:pt x="1181" y="1100"/>
                    </a:lnTo>
                    <a:lnTo>
                      <a:pt x="1181" y="1099"/>
                    </a:lnTo>
                    <a:lnTo>
                      <a:pt x="1183" y="1100"/>
                    </a:lnTo>
                    <a:lnTo>
                      <a:pt x="1185" y="1100"/>
                    </a:lnTo>
                    <a:lnTo>
                      <a:pt x="1186" y="1099"/>
                    </a:lnTo>
                    <a:lnTo>
                      <a:pt x="1186" y="1100"/>
                    </a:lnTo>
                    <a:lnTo>
                      <a:pt x="1186" y="1099"/>
                    </a:lnTo>
                    <a:lnTo>
                      <a:pt x="1188" y="1099"/>
                    </a:lnTo>
                    <a:close/>
                    <a:moveTo>
                      <a:pt x="1169" y="1133"/>
                    </a:moveTo>
                    <a:lnTo>
                      <a:pt x="1169" y="1134"/>
                    </a:lnTo>
                    <a:lnTo>
                      <a:pt x="1171" y="1134"/>
                    </a:lnTo>
                    <a:lnTo>
                      <a:pt x="1169" y="1134"/>
                    </a:lnTo>
                    <a:lnTo>
                      <a:pt x="1168" y="1134"/>
                    </a:lnTo>
                    <a:lnTo>
                      <a:pt x="1169" y="1134"/>
                    </a:lnTo>
                    <a:lnTo>
                      <a:pt x="1171" y="1134"/>
                    </a:lnTo>
                    <a:lnTo>
                      <a:pt x="1171" y="1136"/>
                    </a:lnTo>
                    <a:lnTo>
                      <a:pt x="1171" y="1138"/>
                    </a:lnTo>
                    <a:lnTo>
                      <a:pt x="1171" y="1140"/>
                    </a:lnTo>
                    <a:lnTo>
                      <a:pt x="1171" y="1138"/>
                    </a:lnTo>
                    <a:lnTo>
                      <a:pt x="1169" y="1138"/>
                    </a:lnTo>
                    <a:lnTo>
                      <a:pt x="1169" y="1136"/>
                    </a:lnTo>
                    <a:lnTo>
                      <a:pt x="1168" y="1136"/>
                    </a:lnTo>
                    <a:lnTo>
                      <a:pt x="1168" y="1134"/>
                    </a:lnTo>
                    <a:lnTo>
                      <a:pt x="1168" y="1133"/>
                    </a:lnTo>
                    <a:lnTo>
                      <a:pt x="1169" y="1133"/>
                    </a:lnTo>
                    <a:close/>
                    <a:moveTo>
                      <a:pt x="1185" y="1240"/>
                    </a:moveTo>
                    <a:lnTo>
                      <a:pt x="1185" y="1242"/>
                    </a:lnTo>
                    <a:lnTo>
                      <a:pt x="1183" y="1242"/>
                    </a:lnTo>
                    <a:lnTo>
                      <a:pt x="1183" y="1243"/>
                    </a:lnTo>
                    <a:lnTo>
                      <a:pt x="1181" y="1243"/>
                    </a:lnTo>
                    <a:lnTo>
                      <a:pt x="1181" y="1245"/>
                    </a:lnTo>
                    <a:lnTo>
                      <a:pt x="1179" y="1245"/>
                    </a:lnTo>
                    <a:lnTo>
                      <a:pt x="1179" y="1243"/>
                    </a:lnTo>
                    <a:lnTo>
                      <a:pt x="1181" y="1243"/>
                    </a:lnTo>
                    <a:lnTo>
                      <a:pt x="1181" y="1242"/>
                    </a:lnTo>
                    <a:lnTo>
                      <a:pt x="1181" y="1240"/>
                    </a:lnTo>
                    <a:lnTo>
                      <a:pt x="1183" y="1240"/>
                    </a:lnTo>
                    <a:lnTo>
                      <a:pt x="1185" y="1240"/>
                    </a:lnTo>
                    <a:close/>
                    <a:moveTo>
                      <a:pt x="1205" y="1026"/>
                    </a:moveTo>
                    <a:lnTo>
                      <a:pt x="1207" y="1026"/>
                    </a:lnTo>
                    <a:lnTo>
                      <a:pt x="1207" y="1027"/>
                    </a:lnTo>
                    <a:lnTo>
                      <a:pt x="1208" y="1027"/>
                    </a:lnTo>
                    <a:lnTo>
                      <a:pt x="1207" y="1027"/>
                    </a:lnTo>
                    <a:lnTo>
                      <a:pt x="1207" y="1029"/>
                    </a:lnTo>
                    <a:lnTo>
                      <a:pt x="1205" y="1029"/>
                    </a:lnTo>
                    <a:lnTo>
                      <a:pt x="1205" y="1027"/>
                    </a:lnTo>
                    <a:lnTo>
                      <a:pt x="1203" y="1029"/>
                    </a:lnTo>
                    <a:lnTo>
                      <a:pt x="1203" y="1027"/>
                    </a:lnTo>
                    <a:lnTo>
                      <a:pt x="1203" y="1026"/>
                    </a:lnTo>
                    <a:lnTo>
                      <a:pt x="1205" y="1026"/>
                    </a:lnTo>
                    <a:close/>
                    <a:moveTo>
                      <a:pt x="1154" y="1282"/>
                    </a:moveTo>
                    <a:lnTo>
                      <a:pt x="1156" y="1284"/>
                    </a:lnTo>
                    <a:lnTo>
                      <a:pt x="1156" y="1286"/>
                    </a:lnTo>
                    <a:lnTo>
                      <a:pt x="1156" y="1288"/>
                    </a:lnTo>
                    <a:lnTo>
                      <a:pt x="1154" y="1288"/>
                    </a:lnTo>
                    <a:lnTo>
                      <a:pt x="1154" y="1286"/>
                    </a:lnTo>
                    <a:lnTo>
                      <a:pt x="1154" y="1288"/>
                    </a:lnTo>
                    <a:lnTo>
                      <a:pt x="1152" y="1288"/>
                    </a:lnTo>
                    <a:lnTo>
                      <a:pt x="1154" y="1286"/>
                    </a:lnTo>
                    <a:lnTo>
                      <a:pt x="1152" y="1286"/>
                    </a:lnTo>
                    <a:lnTo>
                      <a:pt x="1152" y="1288"/>
                    </a:lnTo>
                    <a:lnTo>
                      <a:pt x="1151" y="1288"/>
                    </a:lnTo>
                    <a:lnTo>
                      <a:pt x="1152" y="1286"/>
                    </a:lnTo>
                    <a:lnTo>
                      <a:pt x="1152" y="1284"/>
                    </a:lnTo>
                    <a:lnTo>
                      <a:pt x="1154" y="1284"/>
                    </a:lnTo>
                    <a:lnTo>
                      <a:pt x="1154" y="1282"/>
                    </a:lnTo>
                    <a:close/>
                    <a:moveTo>
                      <a:pt x="1193" y="1071"/>
                    </a:moveTo>
                    <a:lnTo>
                      <a:pt x="1193" y="1073"/>
                    </a:lnTo>
                    <a:lnTo>
                      <a:pt x="1193" y="1075"/>
                    </a:lnTo>
                    <a:lnTo>
                      <a:pt x="1193" y="1077"/>
                    </a:lnTo>
                    <a:lnTo>
                      <a:pt x="1191" y="1077"/>
                    </a:lnTo>
                    <a:lnTo>
                      <a:pt x="1191" y="1075"/>
                    </a:lnTo>
                    <a:lnTo>
                      <a:pt x="1190" y="1075"/>
                    </a:lnTo>
                    <a:lnTo>
                      <a:pt x="1191" y="1073"/>
                    </a:lnTo>
                    <a:lnTo>
                      <a:pt x="1191" y="1071"/>
                    </a:lnTo>
                    <a:lnTo>
                      <a:pt x="1193" y="1071"/>
                    </a:lnTo>
                    <a:close/>
                    <a:moveTo>
                      <a:pt x="1176" y="1381"/>
                    </a:moveTo>
                    <a:lnTo>
                      <a:pt x="1176" y="1383"/>
                    </a:lnTo>
                    <a:lnTo>
                      <a:pt x="1176" y="1384"/>
                    </a:lnTo>
                    <a:lnTo>
                      <a:pt x="1176" y="1386"/>
                    </a:lnTo>
                    <a:lnTo>
                      <a:pt x="1174" y="1386"/>
                    </a:lnTo>
                    <a:lnTo>
                      <a:pt x="1173" y="1386"/>
                    </a:lnTo>
                    <a:lnTo>
                      <a:pt x="1174" y="1386"/>
                    </a:lnTo>
                    <a:lnTo>
                      <a:pt x="1174" y="1384"/>
                    </a:lnTo>
                    <a:lnTo>
                      <a:pt x="1174" y="1383"/>
                    </a:lnTo>
                    <a:lnTo>
                      <a:pt x="1173" y="1384"/>
                    </a:lnTo>
                    <a:lnTo>
                      <a:pt x="1174" y="1383"/>
                    </a:lnTo>
                    <a:lnTo>
                      <a:pt x="1173" y="1383"/>
                    </a:lnTo>
                    <a:lnTo>
                      <a:pt x="1174" y="1381"/>
                    </a:lnTo>
                    <a:lnTo>
                      <a:pt x="1176" y="1381"/>
                    </a:lnTo>
                    <a:close/>
                    <a:moveTo>
                      <a:pt x="1253" y="1597"/>
                    </a:moveTo>
                    <a:lnTo>
                      <a:pt x="1254" y="1597"/>
                    </a:lnTo>
                    <a:lnTo>
                      <a:pt x="1254" y="1599"/>
                    </a:lnTo>
                    <a:lnTo>
                      <a:pt x="1256" y="1597"/>
                    </a:lnTo>
                    <a:lnTo>
                      <a:pt x="1254" y="1599"/>
                    </a:lnTo>
                    <a:lnTo>
                      <a:pt x="1256" y="1599"/>
                    </a:lnTo>
                    <a:lnTo>
                      <a:pt x="1256" y="1600"/>
                    </a:lnTo>
                    <a:lnTo>
                      <a:pt x="1254" y="1602"/>
                    </a:lnTo>
                    <a:lnTo>
                      <a:pt x="1254" y="1600"/>
                    </a:lnTo>
                    <a:lnTo>
                      <a:pt x="1254" y="1599"/>
                    </a:lnTo>
                    <a:lnTo>
                      <a:pt x="1254" y="1600"/>
                    </a:lnTo>
                    <a:lnTo>
                      <a:pt x="1253" y="1602"/>
                    </a:lnTo>
                    <a:lnTo>
                      <a:pt x="1253" y="1600"/>
                    </a:lnTo>
                    <a:lnTo>
                      <a:pt x="1251" y="1599"/>
                    </a:lnTo>
                    <a:lnTo>
                      <a:pt x="1251" y="1597"/>
                    </a:lnTo>
                    <a:lnTo>
                      <a:pt x="1253" y="1597"/>
                    </a:lnTo>
                    <a:close/>
                    <a:moveTo>
                      <a:pt x="1414" y="1669"/>
                    </a:moveTo>
                    <a:lnTo>
                      <a:pt x="1414" y="1670"/>
                    </a:lnTo>
                    <a:lnTo>
                      <a:pt x="1412" y="1670"/>
                    </a:lnTo>
                    <a:lnTo>
                      <a:pt x="1412" y="1672"/>
                    </a:lnTo>
                    <a:lnTo>
                      <a:pt x="1412" y="1674"/>
                    </a:lnTo>
                    <a:lnTo>
                      <a:pt x="1412" y="1672"/>
                    </a:lnTo>
                    <a:lnTo>
                      <a:pt x="1411" y="1674"/>
                    </a:lnTo>
                    <a:lnTo>
                      <a:pt x="1409" y="1674"/>
                    </a:lnTo>
                    <a:lnTo>
                      <a:pt x="1411" y="1674"/>
                    </a:lnTo>
                    <a:lnTo>
                      <a:pt x="1409" y="1672"/>
                    </a:lnTo>
                    <a:lnTo>
                      <a:pt x="1411" y="1672"/>
                    </a:lnTo>
                    <a:lnTo>
                      <a:pt x="1411" y="1670"/>
                    </a:lnTo>
                    <a:lnTo>
                      <a:pt x="1412" y="1670"/>
                    </a:lnTo>
                    <a:lnTo>
                      <a:pt x="1411" y="1670"/>
                    </a:lnTo>
                    <a:lnTo>
                      <a:pt x="1411" y="1669"/>
                    </a:lnTo>
                    <a:lnTo>
                      <a:pt x="1412" y="1667"/>
                    </a:lnTo>
                    <a:lnTo>
                      <a:pt x="1412" y="1669"/>
                    </a:lnTo>
                    <a:lnTo>
                      <a:pt x="1414" y="1669"/>
                    </a:lnTo>
                    <a:close/>
                    <a:moveTo>
                      <a:pt x="1205" y="1049"/>
                    </a:moveTo>
                    <a:lnTo>
                      <a:pt x="1205" y="1051"/>
                    </a:lnTo>
                    <a:lnTo>
                      <a:pt x="1205" y="1053"/>
                    </a:lnTo>
                    <a:lnTo>
                      <a:pt x="1205" y="1051"/>
                    </a:lnTo>
                    <a:lnTo>
                      <a:pt x="1205" y="1053"/>
                    </a:lnTo>
                    <a:lnTo>
                      <a:pt x="1203" y="1053"/>
                    </a:lnTo>
                    <a:lnTo>
                      <a:pt x="1202" y="1053"/>
                    </a:lnTo>
                    <a:lnTo>
                      <a:pt x="1202" y="1051"/>
                    </a:lnTo>
                    <a:lnTo>
                      <a:pt x="1200" y="1051"/>
                    </a:lnTo>
                    <a:lnTo>
                      <a:pt x="1202" y="1049"/>
                    </a:lnTo>
                    <a:lnTo>
                      <a:pt x="1202" y="1051"/>
                    </a:lnTo>
                    <a:lnTo>
                      <a:pt x="1203" y="1049"/>
                    </a:lnTo>
                    <a:lnTo>
                      <a:pt x="1203" y="1051"/>
                    </a:lnTo>
                    <a:lnTo>
                      <a:pt x="1203" y="1049"/>
                    </a:lnTo>
                    <a:lnTo>
                      <a:pt x="1205" y="1049"/>
                    </a:lnTo>
                    <a:close/>
                    <a:moveTo>
                      <a:pt x="1217" y="1551"/>
                    </a:moveTo>
                    <a:lnTo>
                      <a:pt x="1219" y="1551"/>
                    </a:lnTo>
                    <a:lnTo>
                      <a:pt x="1220" y="1553"/>
                    </a:lnTo>
                    <a:lnTo>
                      <a:pt x="1222" y="1555"/>
                    </a:lnTo>
                    <a:lnTo>
                      <a:pt x="1220" y="1555"/>
                    </a:lnTo>
                    <a:lnTo>
                      <a:pt x="1222" y="1555"/>
                    </a:lnTo>
                    <a:lnTo>
                      <a:pt x="1220" y="1555"/>
                    </a:lnTo>
                    <a:lnTo>
                      <a:pt x="1219" y="1553"/>
                    </a:lnTo>
                    <a:lnTo>
                      <a:pt x="1217" y="1551"/>
                    </a:lnTo>
                    <a:lnTo>
                      <a:pt x="1219" y="1553"/>
                    </a:lnTo>
                    <a:lnTo>
                      <a:pt x="1217" y="1553"/>
                    </a:lnTo>
                    <a:lnTo>
                      <a:pt x="1215" y="1553"/>
                    </a:lnTo>
                    <a:lnTo>
                      <a:pt x="1215" y="1555"/>
                    </a:lnTo>
                    <a:lnTo>
                      <a:pt x="1213" y="1553"/>
                    </a:lnTo>
                    <a:lnTo>
                      <a:pt x="1215" y="1553"/>
                    </a:lnTo>
                    <a:lnTo>
                      <a:pt x="1215" y="1551"/>
                    </a:lnTo>
                    <a:lnTo>
                      <a:pt x="1217" y="1551"/>
                    </a:lnTo>
                    <a:close/>
                    <a:moveTo>
                      <a:pt x="1361" y="1653"/>
                    </a:moveTo>
                    <a:lnTo>
                      <a:pt x="1361" y="1655"/>
                    </a:lnTo>
                    <a:lnTo>
                      <a:pt x="1363" y="1655"/>
                    </a:lnTo>
                    <a:lnTo>
                      <a:pt x="1363" y="1657"/>
                    </a:lnTo>
                    <a:lnTo>
                      <a:pt x="1361" y="1657"/>
                    </a:lnTo>
                    <a:lnTo>
                      <a:pt x="1363" y="1657"/>
                    </a:lnTo>
                    <a:lnTo>
                      <a:pt x="1365" y="1657"/>
                    </a:lnTo>
                    <a:lnTo>
                      <a:pt x="1365" y="1658"/>
                    </a:lnTo>
                    <a:lnTo>
                      <a:pt x="1366" y="1658"/>
                    </a:lnTo>
                    <a:lnTo>
                      <a:pt x="1366" y="1660"/>
                    </a:lnTo>
                    <a:lnTo>
                      <a:pt x="1365" y="1660"/>
                    </a:lnTo>
                    <a:lnTo>
                      <a:pt x="1365" y="1658"/>
                    </a:lnTo>
                    <a:lnTo>
                      <a:pt x="1363" y="1658"/>
                    </a:lnTo>
                    <a:lnTo>
                      <a:pt x="1363" y="1657"/>
                    </a:lnTo>
                    <a:lnTo>
                      <a:pt x="1361" y="1657"/>
                    </a:lnTo>
                    <a:lnTo>
                      <a:pt x="1361" y="1655"/>
                    </a:lnTo>
                    <a:lnTo>
                      <a:pt x="1360" y="1653"/>
                    </a:lnTo>
                    <a:lnTo>
                      <a:pt x="1358" y="1653"/>
                    </a:lnTo>
                    <a:lnTo>
                      <a:pt x="1360" y="1652"/>
                    </a:lnTo>
                    <a:lnTo>
                      <a:pt x="1361" y="1653"/>
                    </a:lnTo>
                    <a:close/>
                    <a:moveTo>
                      <a:pt x="1171" y="1247"/>
                    </a:moveTo>
                    <a:lnTo>
                      <a:pt x="1173" y="1248"/>
                    </a:lnTo>
                    <a:lnTo>
                      <a:pt x="1173" y="1250"/>
                    </a:lnTo>
                    <a:lnTo>
                      <a:pt x="1173" y="1252"/>
                    </a:lnTo>
                    <a:lnTo>
                      <a:pt x="1173" y="1253"/>
                    </a:lnTo>
                    <a:lnTo>
                      <a:pt x="1171" y="1252"/>
                    </a:lnTo>
                    <a:lnTo>
                      <a:pt x="1173" y="1253"/>
                    </a:lnTo>
                    <a:lnTo>
                      <a:pt x="1173" y="1252"/>
                    </a:lnTo>
                    <a:lnTo>
                      <a:pt x="1171" y="1252"/>
                    </a:lnTo>
                    <a:lnTo>
                      <a:pt x="1171" y="1250"/>
                    </a:lnTo>
                    <a:lnTo>
                      <a:pt x="1171" y="1248"/>
                    </a:lnTo>
                    <a:lnTo>
                      <a:pt x="1171" y="1247"/>
                    </a:lnTo>
                    <a:close/>
                    <a:moveTo>
                      <a:pt x="1370" y="1646"/>
                    </a:moveTo>
                    <a:lnTo>
                      <a:pt x="1370" y="1648"/>
                    </a:lnTo>
                    <a:lnTo>
                      <a:pt x="1368" y="1650"/>
                    </a:lnTo>
                    <a:lnTo>
                      <a:pt x="1370" y="1650"/>
                    </a:lnTo>
                    <a:lnTo>
                      <a:pt x="1368" y="1652"/>
                    </a:lnTo>
                    <a:lnTo>
                      <a:pt x="1368" y="1653"/>
                    </a:lnTo>
                    <a:lnTo>
                      <a:pt x="1366" y="1653"/>
                    </a:lnTo>
                    <a:lnTo>
                      <a:pt x="1368" y="1653"/>
                    </a:lnTo>
                    <a:lnTo>
                      <a:pt x="1366" y="1653"/>
                    </a:lnTo>
                    <a:lnTo>
                      <a:pt x="1366" y="1652"/>
                    </a:lnTo>
                    <a:lnTo>
                      <a:pt x="1366" y="1650"/>
                    </a:lnTo>
                    <a:lnTo>
                      <a:pt x="1368" y="1648"/>
                    </a:lnTo>
                    <a:lnTo>
                      <a:pt x="1368" y="1646"/>
                    </a:lnTo>
                    <a:lnTo>
                      <a:pt x="1370" y="1646"/>
                    </a:lnTo>
                    <a:close/>
                    <a:moveTo>
                      <a:pt x="1346" y="1658"/>
                    </a:moveTo>
                    <a:lnTo>
                      <a:pt x="1348" y="1658"/>
                    </a:lnTo>
                    <a:lnTo>
                      <a:pt x="1348" y="1660"/>
                    </a:lnTo>
                    <a:lnTo>
                      <a:pt x="1349" y="1660"/>
                    </a:lnTo>
                    <a:lnTo>
                      <a:pt x="1349" y="1662"/>
                    </a:lnTo>
                    <a:lnTo>
                      <a:pt x="1348" y="1663"/>
                    </a:lnTo>
                    <a:lnTo>
                      <a:pt x="1348" y="1662"/>
                    </a:lnTo>
                    <a:lnTo>
                      <a:pt x="1348" y="1660"/>
                    </a:lnTo>
                    <a:lnTo>
                      <a:pt x="1346" y="1660"/>
                    </a:lnTo>
                    <a:lnTo>
                      <a:pt x="1344" y="1660"/>
                    </a:lnTo>
                    <a:lnTo>
                      <a:pt x="1346" y="1658"/>
                    </a:lnTo>
                    <a:lnTo>
                      <a:pt x="1344" y="1658"/>
                    </a:lnTo>
                    <a:lnTo>
                      <a:pt x="1344" y="1657"/>
                    </a:lnTo>
                    <a:lnTo>
                      <a:pt x="1346" y="1658"/>
                    </a:lnTo>
                    <a:close/>
                    <a:moveTo>
                      <a:pt x="1179" y="1140"/>
                    </a:moveTo>
                    <a:lnTo>
                      <a:pt x="1179" y="1141"/>
                    </a:lnTo>
                    <a:lnTo>
                      <a:pt x="1181" y="1141"/>
                    </a:lnTo>
                    <a:lnTo>
                      <a:pt x="1181" y="1143"/>
                    </a:lnTo>
                    <a:lnTo>
                      <a:pt x="1179" y="1145"/>
                    </a:lnTo>
                    <a:lnTo>
                      <a:pt x="1179" y="1143"/>
                    </a:lnTo>
                    <a:lnTo>
                      <a:pt x="1178" y="1143"/>
                    </a:lnTo>
                    <a:lnTo>
                      <a:pt x="1176" y="1143"/>
                    </a:lnTo>
                    <a:lnTo>
                      <a:pt x="1178" y="1143"/>
                    </a:lnTo>
                    <a:lnTo>
                      <a:pt x="1178" y="1141"/>
                    </a:lnTo>
                    <a:lnTo>
                      <a:pt x="1178" y="1140"/>
                    </a:lnTo>
                    <a:lnTo>
                      <a:pt x="1179" y="1140"/>
                    </a:lnTo>
                    <a:close/>
                    <a:moveTo>
                      <a:pt x="1205" y="1453"/>
                    </a:moveTo>
                    <a:lnTo>
                      <a:pt x="1205" y="1454"/>
                    </a:lnTo>
                    <a:lnTo>
                      <a:pt x="1207" y="1454"/>
                    </a:lnTo>
                    <a:lnTo>
                      <a:pt x="1207" y="1456"/>
                    </a:lnTo>
                    <a:lnTo>
                      <a:pt x="1207" y="1458"/>
                    </a:lnTo>
                    <a:lnTo>
                      <a:pt x="1207" y="1459"/>
                    </a:lnTo>
                    <a:lnTo>
                      <a:pt x="1205" y="1458"/>
                    </a:lnTo>
                    <a:lnTo>
                      <a:pt x="1205" y="1456"/>
                    </a:lnTo>
                    <a:lnTo>
                      <a:pt x="1203" y="1456"/>
                    </a:lnTo>
                    <a:lnTo>
                      <a:pt x="1203" y="1454"/>
                    </a:lnTo>
                    <a:lnTo>
                      <a:pt x="1203" y="1453"/>
                    </a:lnTo>
                    <a:lnTo>
                      <a:pt x="1205" y="1453"/>
                    </a:lnTo>
                    <a:close/>
                    <a:moveTo>
                      <a:pt x="1429" y="1680"/>
                    </a:moveTo>
                    <a:lnTo>
                      <a:pt x="1429" y="1682"/>
                    </a:lnTo>
                    <a:lnTo>
                      <a:pt x="1428" y="1682"/>
                    </a:lnTo>
                    <a:lnTo>
                      <a:pt x="1429" y="1684"/>
                    </a:lnTo>
                    <a:lnTo>
                      <a:pt x="1429" y="1686"/>
                    </a:lnTo>
                    <a:lnTo>
                      <a:pt x="1431" y="1686"/>
                    </a:lnTo>
                    <a:lnTo>
                      <a:pt x="1429" y="1687"/>
                    </a:lnTo>
                    <a:lnTo>
                      <a:pt x="1429" y="1686"/>
                    </a:lnTo>
                    <a:lnTo>
                      <a:pt x="1428" y="1686"/>
                    </a:lnTo>
                    <a:lnTo>
                      <a:pt x="1426" y="1686"/>
                    </a:lnTo>
                    <a:lnTo>
                      <a:pt x="1426" y="1684"/>
                    </a:lnTo>
                    <a:lnTo>
                      <a:pt x="1428" y="1682"/>
                    </a:lnTo>
                    <a:lnTo>
                      <a:pt x="1429" y="1680"/>
                    </a:lnTo>
                    <a:close/>
                    <a:moveTo>
                      <a:pt x="1186" y="1073"/>
                    </a:moveTo>
                    <a:lnTo>
                      <a:pt x="1188" y="1073"/>
                    </a:lnTo>
                    <a:lnTo>
                      <a:pt x="1188" y="1075"/>
                    </a:lnTo>
                    <a:lnTo>
                      <a:pt x="1186" y="1075"/>
                    </a:lnTo>
                    <a:lnTo>
                      <a:pt x="1185" y="1075"/>
                    </a:lnTo>
                    <a:lnTo>
                      <a:pt x="1183" y="1075"/>
                    </a:lnTo>
                    <a:lnTo>
                      <a:pt x="1183" y="1077"/>
                    </a:lnTo>
                    <a:lnTo>
                      <a:pt x="1181" y="1075"/>
                    </a:lnTo>
                    <a:lnTo>
                      <a:pt x="1183" y="1075"/>
                    </a:lnTo>
                    <a:lnTo>
                      <a:pt x="1183" y="1073"/>
                    </a:lnTo>
                    <a:lnTo>
                      <a:pt x="1183" y="1075"/>
                    </a:lnTo>
                    <a:lnTo>
                      <a:pt x="1185" y="1075"/>
                    </a:lnTo>
                    <a:lnTo>
                      <a:pt x="1183" y="1073"/>
                    </a:lnTo>
                    <a:lnTo>
                      <a:pt x="1185" y="1073"/>
                    </a:lnTo>
                    <a:lnTo>
                      <a:pt x="1185" y="1071"/>
                    </a:lnTo>
                    <a:lnTo>
                      <a:pt x="1186" y="1073"/>
                    </a:lnTo>
                    <a:close/>
                    <a:moveTo>
                      <a:pt x="1202" y="1485"/>
                    </a:moveTo>
                    <a:lnTo>
                      <a:pt x="1202" y="1487"/>
                    </a:lnTo>
                    <a:lnTo>
                      <a:pt x="1200" y="1487"/>
                    </a:lnTo>
                    <a:lnTo>
                      <a:pt x="1200" y="1488"/>
                    </a:lnTo>
                    <a:lnTo>
                      <a:pt x="1198" y="1488"/>
                    </a:lnTo>
                    <a:lnTo>
                      <a:pt x="1196" y="1488"/>
                    </a:lnTo>
                    <a:lnTo>
                      <a:pt x="1198" y="1487"/>
                    </a:lnTo>
                    <a:lnTo>
                      <a:pt x="1198" y="1485"/>
                    </a:lnTo>
                    <a:lnTo>
                      <a:pt x="1200" y="1485"/>
                    </a:lnTo>
                    <a:lnTo>
                      <a:pt x="1202" y="1485"/>
                    </a:lnTo>
                    <a:close/>
                    <a:moveTo>
                      <a:pt x="1179" y="1242"/>
                    </a:moveTo>
                    <a:lnTo>
                      <a:pt x="1179" y="1243"/>
                    </a:lnTo>
                    <a:lnTo>
                      <a:pt x="1178" y="1243"/>
                    </a:lnTo>
                    <a:lnTo>
                      <a:pt x="1178" y="1245"/>
                    </a:lnTo>
                    <a:lnTo>
                      <a:pt x="1176" y="1245"/>
                    </a:lnTo>
                    <a:lnTo>
                      <a:pt x="1176" y="1243"/>
                    </a:lnTo>
                    <a:lnTo>
                      <a:pt x="1176" y="1242"/>
                    </a:lnTo>
                    <a:lnTo>
                      <a:pt x="1178" y="1242"/>
                    </a:lnTo>
                    <a:lnTo>
                      <a:pt x="1179" y="1242"/>
                    </a:lnTo>
                    <a:close/>
                    <a:moveTo>
                      <a:pt x="1196" y="1526"/>
                    </a:moveTo>
                    <a:lnTo>
                      <a:pt x="1198" y="1526"/>
                    </a:lnTo>
                    <a:lnTo>
                      <a:pt x="1196" y="1527"/>
                    </a:lnTo>
                    <a:lnTo>
                      <a:pt x="1198" y="1527"/>
                    </a:lnTo>
                    <a:lnTo>
                      <a:pt x="1200" y="1529"/>
                    </a:lnTo>
                    <a:lnTo>
                      <a:pt x="1200" y="1531"/>
                    </a:lnTo>
                    <a:lnTo>
                      <a:pt x="1200" y="1529"/>
                    </a:lnTo>
                    <a:lnTo>
                      <a:pt x="1198" y="1529"/>
                    </a:lnTo>
                    <a:lnTo>
                      <a:pt x="1198" y="1527"/>
                    </a:lnTo>
                    <a:lnTo>
                      <a:pt x="1198" y="1529"/>
                    </a:lnTo>
                    <a:lnTo>
                      <a:pt x="1196" y="1529"/>
                    </a:lnTo>
                    <a:lnTo>
                      <a:pt x="1196" y="1527"/>
                    </a:lnTo>
                    <a:lnTo>
                      <a:pt x="1195" y="1527"/>
                    </a:lnTo>
                    <a:lnTo>
                      <a:pt x="1195" y="1529"/>
                    </a:lnTo>
                    <a:lnTo>
                      <a:pt x="1195" y="1527"/>
                    </a:lnTo>
                    <a:lnTo>
                      <a:pt x="1193" y="1526"/>
                    </a:lnTo>
                    <a:lnTo>
                      <a:pt x="1195" y="1526"/>
                    </a:lnTo>
                    <a:lnTo>
                      <a:pt x="1196" y="1526"/>
                    </a:lnTo>
                    <a:close/>
                    <a:moveTo>
                      <a:pt x="1166" y="1435"/>
                    </a:moveTo>
                    <a:lnTo>
                      <a:pt x="1166" y="1437"/>
                    </a:lnTo>
                    <a:lnTo>
                      <a:pt x="1164" y="1437"/>
                    </a:lnTo>
                    <a:lnTo>
                      <a:pt x="1166" y="1437"/>
                    </a:lnTo>
                    <a:lnTo>
                      <a:pt x="1164" y="1437"/>
                    </a:lnTo>
                    <a:lnTo>
                      <a:pt x="1164" y="1435"/>
                    </a:lnTo>
                    <a:lnTo>
                      <a:pt x="1164" y="1437"/>
                    </a:lnTo>
                    <a:lnTo>
                      <a:pt x="1162" y="1437"/>
                    </a:lnTo>
                    <a:lnTo>
                      <a:pt x="1162" y="1435"/>
                    </a:lnTo>
                    <a:lnTo>
                      <a:pt x="1162" y="1434"/>
                    </a:lnTo>
                    <a:lnTo>
                      <a:pt x="1164" y="1434"/>
                    </a:lnTo>
                    <a:lnTo>
                      <a:pt x="1166" y="1432"/>
                    </a:lnTo>
                    <a:lnTo>
                      <a:pt x="1166" y="1434"/>
                    </a:lnTo>
                    <a:lnTo>
                      <a:pt x="1166" y="1435"/>
                    </a:lnTo>
                    <a:close/>
                    <a:moveTo>
                      <a:pt x="1217" y="1107"/>
                    </a:moveTo>
                    <a:lnTo>
                      <a:pt x="1217" y="1109"/>
                    </a:lnTo>
                    <a:lnTo>
                      <a:pt x="1219" y="1111"/>
                    </a:lnTo>
                    <a:lnTo>
                      <a:pt x="1219" y="1112"/>
                    </a:lnTo>
                    <a:lnTo>
                      <a:pt x="1217" y="1112"/>
                    </a:lnTo>
                    <a:lnTo>
                      <a:pt x="1215" y="1111"/>
                    </a:lnTo>
                    <a:lnTo>
                      <a:pt x="1215" y="1109"/>
                    </a:lnTo>
                    <a:lnTo>
                      <a:pt x="1215" y="1111"/>
                    </a:lnTo>
                    <a:lnTo>
                      <a:pt x="1215" y="1109"/>
                    </a:lnTo>
                    <a:lnTo>
                      <a:pt x="1215" y="1107"/>
                    </a:lnTo>
                    <a:lnTo>
                      <a:pt x="1217" y="1107"/>
                    </a:lnTo>
                    <a:close/>
                    <a:moveTo>
                      <a:pt x="1202" y="1141"/>
                    </a:moveTo>
                    <a:lnTo>
                      <a:pt x="1203" y="1141"/>
                    </a:lnTo>
                    <a:lnTo>
                      <a:pt x="1203" y="1143"/>
                    </a:lnTo>
                    <a:lnTo>
                      <a:pt x="1205" y="1143"/>
                    </a:lnTo>
                    <a:lnTo>
                      <a:pt x="1203" y="1143"/>
                    </a:lnTo>
                    <a:lnTo>
                      <a:pt x="1203" y="1145"/>
                    </a:lnTo>
                    <a:lnTo>
                      <a:pt x="1202" y="1145"/>
                    </a:lnTo>
                    <a:lnTo>
                      <a:pt x="1200" y="1145"/>
                    </a:lnTo>
                    <a:lnTo>
                      <a:pt x="1202" y="1143"/>
                    </a:lnTo>
                    <a:lnTo>
                      <a:pt x="1200" y="1145"/>
                    </a:lnTo>
                    <a:lnTo>
                      <a:pt x="1200" y="1143"/>
                    </a:lnTo>
                    <a:lnTo>
                      <a:pt x="1202" y="1141"/>
                    </a:lnTo>
                    <a:close/>
                    <a:moveTo>
                      <a:pt x="1168" y="1407"/>
                    </a:moveTo>
                    <a:lnTo>
                      <a:pt x="1169" y="1407"/>
                    </a:lnTo>
                    <a:lnTo>
                      <a:pt x="1168" y="1408"/>
                    </a:lnTo>
                    <a:lnTo>
                      <a:pt x="1166" y="1408"/>
                    </a:lnTo>
                    <a:lnTo>
                      <a:pt x="1166" y="1410"/>
                    </a:lnTo>
                    <a:lnTo>
                      <a:pt x="1164" y="1412"/>
                    </a:lnTo>
                    <a:lnTo>
                      <a:pt x="1164" y="1410"/>
                    </a:lnTo>
                    <a:lnTo>
                      <a:pt x="1166" y="1410"/>
                    </a:lnTo>
                    <a:lnTo>
                      <a:pt x="1166" y="1408"/>
                    </a:lnTo>
                    <a:lnTo>
                      <a:pt x="1164" y="1408"/>
                    </a:lnTo>
                    <a:lnTo>
                      <a:pt x="1166" y="1408"/>
                    </a:lnTo>
                    <a:lnTo>
                      <a:pt x="1166" y="1407"/>
                    </a:lnTo>
                    <a:lnTo>
                      <a:pt x="1168" y="1407"/>
                    </a:lnTo>
                    <a:close/>
                    <a:moveTo>
                      <a:pt x="965" y="610"/>
                    </a:moveTo>
                    <a:lnTo>
                      <a:pt x="969" y="610"/>
                    </a:lnTo>
                    <a:lnTo>
                      <a:pt x="969" y="614"/>
                    </a:lnTo>
                    <a:lnTo>
                      <a:pt x="965" y="614"/>
                    </a:lnTo>
                    <a:lnTo>
                      <a:pt x="965" y="610"/>
                    </a:lnTo>
                    <a:close/>
                    <a:moveTo>
                      <a:pt x="1229" y="1071"/>
                    </a:moveTo>
                    <a:lnTo>
                      <a:pt x="1230" y="1071"/>
                    </a:lnTo>
                    <a:lnTo>
                      <a:pt x="1230" y="1073"/>
                    </a:lnTo>
                    <a:lnTo>
                      <a:pt x="1229" y="1073"/>
                    </a:lnTo>
                    <a:lnTo>
                      <a:pt x="1229" y="1075"/>
                    </a:lnTo>
                    <a:lnTo>
                      <a:pt x="1227" y="1075"/>
                    </a:lnTo>
                    <a:lnTo>
                      <a:pt x="1227" y="1073"/>
                    </a:lnTo>
                    <a:lnTo>
                      <a:pt x="1227" y="1075"/>
                    </a:lnTo>
                    <a:lnTo>
                      <a:pt x="1225" y="1075"/>
                    </a:lnTo>
                    <a:lnTo>
                      <a:pt x="1225" y="1073"/>
                    </a:lnTo>
                    <a:lnTo>
                      <a:pt x="1227" y="1073"/>
                    </a:lnTo>
                    <a:lnTo>
                      <a:pt x="1227" y="1071"/>
                    </a:lnTo>
                    <a:lnTo>
                      <a:pt x="1229" y="1071"/>
                    </a:lnTo>
                    <a:close/>
                    <a:moveTo>
                      <a:pt x="1174" y="1242"/>
                    </a:moveTo>
                    <a:lnTo>
                      <a:pt x="1174" y="1243"/>
                    </a:lnTo>
                    <a:lnTo>
                      <a:pt x="1176" y="1245"/>
                    </a:lnTo>
                    <a:lnTo>
                      <a:pt x="1174" y="1245"/>
                    </a:lnTo>
                    <a:lnTo>
                      <a:pt x="1173" y="1245"/>
                    </a:lnTo>
                    <a:lnTo>
                      <a:pt x="1174" y="1245"/>
                    </a:lnTo>
                    <a:lnTo>
                      <a:pt x="1173" y="1245"/>
                    </a:lnTo>
                    <a:lnTo>
                      <a:pt x="1173" y="1243"/>
                    </a:lnTo>
                    <a:lnTo>
                      <a:pt x="1173" y="1242"/>
                    </a:lnTo>
                    <a:lnTo>
                      <a:pt x="1174" y="1242"/>
                    </a:lnTo>
                    <a:close/>
                    <a:moveTo>
                      <a:pt x="1198" y="803"/>
                    </a:moveTo>
                    <a:lnTo>
                      <a:pt x="1200" y="803"/>
                    </a:lnTo>
                    <a:lnTo>
                      <a:pt x="1200" y="804"/>
                    </a:lnTo>
                    <a:lnTo>
                      <a:pt x="1202" y="804"/>
                    </a:lnTo>
                    <a:lnTo>
                      <a:pt x="1200" y="804"/>
                    </a:lnTo>
                    <a:lnTo>
                      <a:pt x="1202" y="804"/>
                    </a:lnTo>
                    <a:lnTo>
                      <a:pt x="1200" y="804"/>
                    </a:lnTo>
                    <a:lnTo>
                      <a:pt x="1200" y="806"/>
                    </a:lnTo>
                    <a:lnTo>
                      <a:pt x="1198" y="806"/>
                    </a:lnTo>
                    <a:lnTo>
                      <a:pt x="1198" y="804"/>
                    </a:lnTo>
                    <a:lnTo>
                      <a:pt x="1198" y="803"/>
                    </a:lnTo>
                    <a:lnTo>
                      <a:pt x="1198" y="801"/>
                    </a:lnTo>
                    <a:lnTo>
                      <a:pt x="1198" y="803"/>
                    </a:lnTo>
                    <a:close/>
                    <a:moveTo>
                      <a:pt x="1178" y="1453"/>
                    </a:moveTo>
                    <a:lnTo>
                      <a:pt x="1178" y="1454"/>
                    </a:lnTo>
                    <a:lnTo>
                      <a:pt x="1178" y="1456"/>
                    </a:lnTo>
                    <a:lnTo>
                      <a:pt x="1178" y="1454"/>
                    </a:lnTo>
                    <a:lnTo>
                      <a:pt x="1178" y="1456"/>
                    </a:lnTo>
                    <a:lnTo>
                      <a:pt x="1176" y="1458"/>
                    </a:lnTo>
                    <a:lnTo>
                      <a:pt x="1178" y="1458"/>
                    </a:lnTo>
                    <a:lnTo>
                      <a:pt x="1178" y="1456"/>
                    </a:lnTo>
                    <a:lnTo>
                      <a:pt x="1178" y="1458"/>
                    </a:lnTo>
                    <a:lnTo>
                      <a:pt x="1176" y="1458"/>
                    </a:lnTo>
                    <a:lnTo>
                      <a:pt x="1176" y="1459"/>
                    </a:lnTo>
                    <a:lnTo>
                      <a:pt x="1174" y="1459"/>
                    </a:lnTo>
                    <a:lnTo>
                      <a:pt x="1174" y="1458"/>
                    </a:lnTo>
                    <a:lnTo>
                      <a:pt x="1176" y="1458"/>
                    </a:lnTo>
                    <a:lnTo>
                      <a:pt x="1176" y="1456"/>
                    </a:lnTo>
                    <a:lnTo>
                      <a:pt x="1176" y="1454"/>
                    </a:lnTo>
                    <a:lnTo>
                      <a:pt x="1178" y="1454"/>
                    </a:lnTo>
                    <a:lnTo>
                      <a:pt x="1178" y="1453"/>
                    </a:lnTo>
                    <a:close/>
                    <a:moveTo>
                      <a:pt x="1208" y="1068"/>
                    </a:moveTo>
                    <a:lnTo>
                      <a:pt x="1208" y="1070"/>
                    </a:lnTo>
                    <a:lnTo>
                      <a:pt x="1207" y="1071"/>
                    </a:lnTo>
                    <a:lnTo>
                      <a:pt x="1205" y="1071"/>
                    </a:lnTo>
                    <a:lnTo>
                      <a:pt x="1205" y="1070"/>
                    </a:lnTo>
                    <a:lnTo>
                      <a:pt x="1205" y="1068"/>
                    </a:lnTo>
                    <a:lnTo>
                      <a:pt x="1207" y="1070"/>
                    </a:lnTo>
                    <a:lnTo>
                      <a:pt x="1207" y="1068"/>
                    </a:lnTo>
                    <a:lnTo>
                      <a:pt x="1208" y="1068"/>
                    </a:lnTo>
                    <a:close/>
                    <a:moveTo>
                      <a:pt x="1278" y="1614"/>
                    </a:moveTo>
                    <a:lnTo>
                      <a:pt x="1278" y="1616"/>
                    </a:lnTo>
                    <a:lnTo>
                      <a:pt x="1280" y="1616"/>
                    </a:lnTo>
                    <a:lnTo>
                      <a:pt x="1278" y="1618"/>
                    </a:lnTo>
                    <a:lnTo>
                      <a:pt x="1276" y="1619"/>
                    </a:lnTo>
                    <a:lnTo>
                      <a:pt x="1276" y="1618"/>
                    </a:lnTo>
                    <a:lnTo>
                      <a:pt x="1276" y="1616"/>
                    </a:lnTo>
                    <a:lnTo>
                      <a:pt x="1275" y="1616"/>
                    </a:lnTo>
                    <a:lnTo>
                      <a:pt x="1276" y="1616"/>
                    </a:lnTo>
                    <a:lnTo>
                      <a:pt x="1276" y="1614"/>
                    </a:lnTo>
                    <a:lnTo>
                      <a:pt x="1278" y="1614"/>
                    </a:lnTo>
                    <a:close/>
                    <a:moveTo>
                      <a:pt x="1174" y="1369"/>
                    </a:moveTo>
                    <a:lnTo>
                      <a:pt x="1176" y="1369"/>
                    </a:lnTo>
                    <a:lnTo>
                      <a:pt x="1178" y="1369"/>
                    </a:lnTo>
                    <a:lnTo>
                      <a:pt x="1176" y="1371"/>
                    </a:lnTo>
                    <a:lnTo>
                      <a:pt x="1176" y="1369"/>
                    </a:lnTo>
                    <a:lnTo>
                      <a:pt x="1176" y="1371"/>
                    </a:lnTo>
                    <a:lnTo>
                      <a:pt x="1174" y="1371"/>
                    </a:lnTo>
                    <a:lnTo>
                      <a:pt x="1173" y="1371"/>
                    </a:lnTo>
                    <a:lnTo>
                      <a:pt x="1171" y="1371"/>
                    </a:lnTo>
                    <a:lnTo>
                      <a:pt x="1171" y="1369"/>
                    </a:lnTo>
                    <a:lnTo>
                      <a:pt x="1173" y="1369"/>
                    </a:lnTo>
                    <a:lnTo>
                      <a:pt x="1174" y="1369"/>
                    </a:lnTo>
                    <a:lnTo>
                      <a:pt x="1174" y="1371"/>
                    </a:lnTo>
                    <a:lnTo>
                      <a:pt x="1174" y="1369"/>
                    </a:lnTo>
                    <a:close/>
                    <a:moveTo>
                      <a:pt x="1200" y="1054"/>
                    </a:moveTo>
                    <a:lnTo>
                      <a:pt x="1202" y="1054"/>
                    </a:lnTo>
                    <a:lnTo>
                      <a:pt x="1203" y="1054"/>
                    </a:lnTo>
                    <a:lnTo>
                      <a:pt x="1203" y="1056"/>
                    </a:lnTo>
                    <a:lnTo>
                      <a:pt x="1202" y="1056"/>
                    </a:lnTo>
                    <a:lnTo>
                      <a:pt x="1200" y="1056"/>
                    </a:lnTo>
                    <a:lnTo>
                      <a:pt x="1198" y="1054"/>
                    </a:lnTo>
                    <a:lnTo>
                      <a:pt x="1200" y="1054"/>
                    </a:lnTo>
                    <a:close/>
                    <a:moveTo>
                      <a:pt x="1292" y="1629"/>
                    </a:moveTo>
                    <a:lnTo>
                      <a:pt x="1292" y="1631"/>
                    </a:lnTo>
                    <a:lnTo>
                      <a:pt x="1290" y="1631"/>
                    </a:lnTo>
                    <a:lnTo>
                      <a:pt x="1290" y="1633"/>
                    </a:lnTo>
                    <a:lnTo>
                      <a:pt x="1290" y="1635"/>
                    </a:lnTo>
                    <a:lnTo>
                      <a:pt x="1290" y="1633"/>
                    </a:lnTo>
                    <a:lnTo>
                      <a:pt x="1288" y="1633"/>
                    </a:lnTo>
                    <a:lnTo>
                      <a:pt x="1288" y="1631"/>
                    </a:lnTo>
                    <a:lnTo>
                      <a:pt x="1288" y="1629"/>
                    </a:lnTo>
                    <a:lnTo>
                      <a:pt x="1290" y="1629"/>
                    </a:lnTo>
                    <a:lnTo>
                      <a:pt x="1292" y="1629"/>
                    </a:lnTo>
                    <a:close/>
                    <a:moveTo>
                      <a:pt x="1251" y="1502"/>
                    </a:moveTo>
                    <a:lnTo>
                      <a:pt x="1251" y="1504"/>
                    </a:lnTo>
                    <a:lnTo>
                      <a:pt x="1249" y="1505"/>
                    </a:lnTo>
                    <a:lnTo>
                      <a:pt x="1247" y="1505"/>
                    </a:lnTo>
                    <a:lnTo>
                      <a:pt x="1247" y="1504"/>
                    </a:lnTo>
                    <a:lnTo>
                      <a:pt x="1247" y="1505"/>
                    </a:lnTo>
                    <a:lnTo>
                      <a:pt x="1247" y="1504"/>
                    </a:lnTo>
                    <a:lnTo>
                      <a:pt x="1247" y="1502"/>
                    </a:lnTo>
                    <a:lnTo>
                      <a:pt x="1249" y="1502"/>
                    </a:lnTo>
                    <a:lnTo>
                      <a:pt x="1251" y="1502"/>
                    </a:lnTo>
                    <a:close/>
                    <a:moveTo>
                      <a:pt x="1258" y="1595"/>
                    </a:moveTo>
                    <a:lnTo>
                      <a:pt x="1259" y="1595"/>
                    </a:lnTo>
                    <a:lnTo>
                      <a:pt x="1259" y="1597"/>
                    </a:lnTo>
                    <a:lnTo>
                      <a:pt x="1259" y="1595"/>
                    </a:lnTo>
                    <a:lnTo>
                      <a:pt x="1259" y="1597"/>
                    </a:lnTo>
                    <a:lnTo>
                      <a:pt x="1261" y="1597"/>
                    </a:lnTo>
                    <a:lnTo>
                      <a:pt x="1259" y="1599"/>
                    </a:lnTo>
                    <a:lnTo>
                      <a:pt x="1259" y="1597"/>
                    </a:lnTo>
                    <a:lnTo>
                      <a:pt x="1259" y="1599"/>
                    </a:lnTo>
                    <a:lnTo>
                      <a:pt x="1258" y="1599"/>
                    </a:lnTo>
                    <a:lnTo>
                      <a:pt x="1258" y="1597"/>
                    </a:lnTo>
                    <a:lnTo>
                      <a:pt x="1258" y="1599"/>
                    </a:lnTo>
                    <a:lnTo>
                      <a:pt x="1258" y="1597"/>
                    </a:lnTo>
                    <a:lnTo>
                      <a:pt x="1259" y="1597"/>
                    </a:lnTo>
                    <a:lnTo>
                      <a:pt x="1258" y="1597"/>
                    </a:lnTo>
                    <a:lnTo>
                      <a:pt x="1256" y="1597"/>
                    </a:lnTo>
                    <a:lnTo>
                      <a:pt x="1256" y="1595"/>
                    </a:lnTo>
                    <a:lnTo>
                      <a:pt x="1258" y="1595"/>
                    </a:lnTo>
                    <a:close/>
                    <a:moveTo>
                      <a:pt x="1145" y="1325"/>
                    </a:moveTo>
                    <a:lnTo>
                      <a:pt x="1147" y="1327"/>
                    </a:lnTo>
                    <a:lnTo>
                      <a:pt x="1147" y="1328"/>
                    </a:lnTo>
                    <a:lnTo>
                      <a:pt x="1147" y="1330"/>
                    </a:lnTo>
                    <a:lnTo>
                      <a:pt x="1147" y="1328"/>
                    </a:lnTo>
                    <a:lnTo>
                      <a:pt x="1145" y="1328"/>
                    </a:lnTo>
                    <a:lnTo>
                      <a:pt x="1145" y="1327"/>
                    </a:lnTo>
                    <a:lnTo>
                      <a:pt x="1144" y="1327"/>
                    </a:lnTo>
                    <a:lnTo>
                      <a:pt x="1144" y="1325"/>
                    </a:lnTo>
                    <a:lnTo>
                      <a:pt x="1145" y="1325"/>
                    </a:lnTo>
                    <a:lnTo>
                      <a:pt x="1145" y="1327"/>
                    </a:lnTo>
                    <a:lnTo>
                      <a:pt x="1145" y="1325"/>
                    </a:lnTo>
                    <a:close/>
                    <a:moveTo>
                      <a:pt x="1310" y="1509"/>
                    </a:moveTo>
                    <a:lnTo>
                      <a:pt x="1309" y="1509"/>
                    </a:lnTo>
                    <a:lnTo>
                      <a:pt x="1309" y="1510"/>
                    </a:lnTo>
                    <a:lnTo>
                      <a:pt x="1307" y="1512"/>
                    </a:lnTo>
                    <a:lnTo>
                      <a:pt x="1305" y="1512"/>
                    </a:lnTo>
                    <a:lnTo>
                      <a:pt x="1305" y="1510"/>
                    </a:lnTo>
                    <a:lnTo>
                      <a:pt x="1307" y="1510"/>
                    </a:lnTo>
                    <a:lnTo>
                      <a:pt x="1309" y="1509"/>
                    </a:lnTo>
                    <a:lnTo>
                      <a:pt x="1310" y="1509"/>
                    </a:lnTo>
                    <a:close/>
                    <a:moveTo>
                      <a:pt x="1275" y="1590"/>
                    </a:moveTo>
                    <a:lnTo>
                      <a:pt x="1276" y="1592"/>
                    </a:lnTo>
                    <a:lnTo>
                      <a:pt x="1276" y="1594"/>
                    </a:lnTo>
                    <a:lnTo>
                      <a:pt x="1276" y="1592"/>
                    </a:lnTo>
                    <a:lnTo>
                      <a:pt x="1275" y="1594"/>
                    </a:lnTo>
                    <a:lnTo>
                      <a:pt x="1273" y="1592"/>
                    </a:lnTo>
                    <a:lnTo>
                      <a:pt x="1271" y="1592"/>
                    </a:lnTo>
                    <a:lnTo>
                      <a:pt x="1271" y="1590"/>
                    </a:lnTo>
                    <a:lnTo>
                      <a:pt x="1273" y="1590"/>
                    </a:lnTo>
                    <a:lnTo>
                      <a:pt x="1275" y="1590"/>
                    </a:lnTo>
                    <a:close/>
                    <a:moveTo>
                      <a:pt x="1390" y="1641"/>
                    </a:moveTo>
                    <a:lnTo>
                      <a:pt x="1390" y="1643"/>
                    </a:lnTo>
                    <a:lnTo>
                      <a:pt x="1392" y="1643"/>
                    </a:lnTo>
                    <a:lnTo>
                      <a:pt x="1392" y="1645"/>
                    </a:lnTo>
                    <a:lnTo>
                      <a:pt x="1390" y="1645"/>
                    </a:lnTo>
                    <a:lnTo>
                      <a:pt x="1389" y="1645"/>
                    </a:lnTo>
                    <a:lnTo>
                      <a:pt x="1389" y="1643"/>
                    </a:lnTo>
                    <a:lnTo>
                      <a:pt x="1387" y="1643"/>
                    </a:lnTo>
                    <a:lnTo>
                      <a:pt x="1389" y="1641"/>
                    </a:lnTo>
                    <a:lnTo>
                      <a:pt x="1390" y="1641"/>
                    </a:lnTo>
                    <a:close/>
                    <a:moveTo>
                      <a:pt x="1230" y="998"/>
                    </a:moveTo>
                    <a:lnTo>
                      <a:pt x="1232" y="998"/>
                    </a:lnTo>
                    <a:lnTo>
                      <a:pt x="1232" y="997"/>
                    </a:lnTo>
                    <a:lnTo>
                      <a:pt x="1232" y="998"/>
                    </a:lnTo>
                    <a:lnTo>
                      <a:pt x="1232" y="1000"/>
                    </a:lnTo>
                    <a:lnTo>
                      <a:pt x="1232" y="998"/>
                    </a:lnTo>
                    <a:lnTo>
                      <a:pt x="1230" y="998"/>
                    </a:lnTo>
                    <a:lnTo>
                      <a:pt x="1230" y="1000"/>
                    </a:lnTo>
                    <a:lnTo>
                      <a:pt x="1232" y="1000"/>
                    </a:lnTo>
                    <a:lnTo>
                      <a:pt x="1232" y="1002"/>
                    </a:lnTo>
                    <a:lnTo>
                      <a:pt x="1232" y="1000"/>
                    </a:lnTo>
                    <a:lnTo>
                      <a:pt x="1232" y="1002"/>
                    </a:lnTo>
                    <a:lnTo>
                      <a:pt x="1230" y="1002"/>
                    </a:lnTo>
                    <a:lnTo>
                      <a:pt x="1230" y="1000"/>
                    </a:lnTo>
                    <a:lnTo>
                      <a:pt x="1230" y="998"/>
                    </a:lnTo>
                    <a:lnTo>
                      <a:pt x="1229" y="998"/>
                    </a:lnTo>
                    <a:lnTo>
                      <a:pt x="1229" y="997"/>
                    </a:lnTo>
                    <a:lnTo>
                      <a:pt x="1230" y="997"/>
                    </a:lnTo>
                    <a:lnTo>
                      <a:pt x="1230" y="998"/>
                    </a:lnTo>
                    <a:close/>
                    <a:moveTo>
                      <a:pt x="1229" y="976"/>
                    </a:moveTo>
                    <a:lnTo>
                      <a:pt x="1229" y="978"/>
                    </a:lnTo>
                    <a:lnTo>
                      <a:pt x="1227" y="978"/>
                    </a:lnTo>
                    <a:lnTo>
                      <a:pt x="1227" y="980"/>
                    </a:lnTo>
                    <a:lnTo>
                      <a:pt x="1225" y="980"/>
                    </a:lnTo>
                    <a:lnTo>
                      <a:pt x="1225" y="978"/>
                    </a:lnTo>
                    <a:lnTo>
                      <a:pt x="1224" y="978"/>
                    </a:lnTo>
                    <a:lnTo>
                      <a:pt x="1225" y="976"/>
                    </a:lnTo>
                    <a:lnTo>
                      <a:pt x="1225" y="978"/>
                    </a:lnTo>
                    <a:lnTo>
                      <a:pt x="1227" y="978"/>
                    </a:lnTo>
                    <a:lnTo>
                      <a:pt x="1225" y="976"/>
                    </a:lnTo>
                    <a:lnTo>
                      <a:pt x="1225" y="978"/>
                    </a:lnTo>
                    <a:lnTo>
                      <a:pt x="1225" y="976"/>
                    </a:lnTo>
                    <a:lnTo>
                      <a:pt x="1227" y="976"/>
                    </a:lnTo>
                    <a:lnTo>
                      <a:pt x="1229" y="976"/>
                    </a:lnTo>
                    <a:close/>
                    <a:moveTo>
                      <a:pt x="1203" y="1138"/>
                    </a:moveTo>
                    <a:lnTo>
                      <a:pt x="1205" y="1138"/>
                    </a:lnTo>
                    <a:lnTo>
                      <a:pt x="1205" y="1140"/>
                    </a:lnTo>
                    <a:lnTo>
                      <a:pt x="1207" y="1140"/>
                    </a:lnTo>
                    <a:lnTo>
                      <a:pt x="1207" y="1141"/>
                    </a:lnTo>
                    <a:lnTo>
                      <a:pt x="1205" y="1141"/>
                    </a:lnTo>
                    <a:lnTo>
                      <a:pt x="1203" y="1140"/>
                    </a:lnTo>
                    <a:lnTo>
                      <a:pt x="1203" y="1138"/>
                    </a:lnTo>
                    <a:lnTo>
                      <a:pt x="1203" y="1136"/>
                    </a:lnTo>
                    <a:lnTo>
                      <a:pt x="1203" y="1138"/>
                    </a:lnTo>
                    <a:close/>
                    <a:moveTo>
                      <a:pt x="1200" y="1470"/>
                    </a:moveTo>
                    <a:lnTo>
                      <a:pt x="1200" y="1471"/>
                    </a:lnTo>
                    <a:lnTo>
                      <a:pt x="1202" y="1471"/>
                    </a:lnTo>
                    <a:lnTo>
                      <a:pt x="1203" y="1471"/>
                    </a:lnTo>
                    <a:lnTo>
                      <a:pt x="1203" y="1473"/>
                    </a:lnTo>
                    <a:lnTo>
                      <a:pt x="1203" y="1475"/>
                    </a:lnTo>
                    <a:lnTo>
                      <a:pt x="1202" y="1475"/>
                    </a:lnTo>
                    <a:lnTo>
                      <a:pt x="1202" y="1473"/>
                    </a:lnTo>
                    <a:lnTo>
                      <a:pt x="1200" y="1473"/>
                    </a:lnTo>
                    <a:lnTo>
                      <a:pt x="1200" y="1471"/>
                    </a:lnTo>
                    <a:lnTo>
                      <a:pt x="1198" y="1471"/>
                    </a:lnTo>
                    <a:lnTo>
                      <a:pt x="1198" y="1470"/>
                    </a:lnTo>
                    <a:lnTo>
                      <a:pt x="1200" y="1470"/>
                    </a:lnTo>
                    <a:close/>
                    <a:moveTo>
                      <a:pt x="1033" y="605"/>
                    </a:moveTo>
                    <a:lnTo>
                      <a:pt x="1033" y="607"/>
                    </a:lnTo>
                    <a:lnTo>
                      <a:pt x="1035" y="607"/>
                    </a:lnTo>
                    <a:lnTo>
                      <a:pt x="1035" y="609"/>
                    </a:lnTo>
                    <a:lnTo>
                      <a:pt x="1035" y="607"/>
                    </a:lnTo>
                    <a:lnTo>
                      <a:pt x="1033" y="607"/>
                    </a:lnTo>
                    <a:lnTo>
                      <a:pt x="1032" y="607"/>
                    </a:lnTo>
                    <a:lnTo>
                      <a:pt x="1030" y="607"/>
                    </a:lnTo>
                    <a:lnTo>
                      <a:pt x="1030" y="609"/>
                    </a:lnTo>
                    <a:lnTo>
                      <a:pt x="1030" y="607"/>
                    </a:lnTo>
                    <a:lnTo>
                      <a:pt x="1032" y="607"/>
                    </a:lnTo>
                    <a:lnTo>
                      <a:pt x="1032" y="605"/>
                    </a:lnTo>
                    <a:lnTo>
                      <a:pt x="1033" y="605"/>
                    </a:lnTo>
                    <a:close/>
                    <a:moveTo>
                      <a:pt x="1174" y="1427"/>
                    </a:moveTo>
                    <a:lnTo>
                      <a:pt x="1173" y="1427"/>
                    </a:lnTo>
                    <a:lnTo>
                      <a:pt x="1174" y="1429"/>
                    </a:lnTo>
                    <a:lnTo>
                      <a:pt x="1173" y="1430"/>
                    </a:lnTo>
                    <a:lnTo>
                      <a:pt x="1173" y="1432"/>
                    </a:lnTo>
                    <a:lnTo>
                      <a:pt x="1171" y="1432"/>
                    </a:lnTo>
                    <a:lnTo>
                      <a:pt x="1171" y="1430"/>
                    </a:lnTo>
                    <a:lnTo>
                      <a:pt x="1173" y="1429"/>
                    </a:lnTo>
                    <a:lnTo>
                      <a:pt x="1173" y="1427"/>
                    </a:lnTo>
                    <a:lnTo>
                      <a:pt x="1173" y="1425"/>
                    </a:lnTo>
                    <a:lnTo>
                      <a:pt x="1174" y="1427"/>
                    </a:lnTo>
                    <a:close/>
                    <a:moveTo>
                      <a:pt x="1193" y="1068"/>
                    </a:moveTo>
                    <a:lnTo>
                      <a:pt x="1193" y="1070"/>
                    </a:lnTo>
                    <a:lnTo>
                      <a:pt x="1193" y="1071"/>
                    </a:lnTo>
                    <a:lnTo>
                      <a:pt x="1191" y="1071"/>
                    </a:lnTo>
                    <a:lnTo>
                      <a:pt x="1190" y="1070"/>
                    </a:lnTo>
                    <a:lnTo>
                      <a:pt x="1190" y="1068"/>
                    </a:lnTo>
                    <a:lnTo>
                      <a:pt x="1191" y="1070"/>
                    </a:lnTo>
                    <a:lnTo>
                      <a:pt x="1191" y="1068"/>
                    </a:lnTo>
                    <a:lnTo>
                      <a:pt x="1193" y="1068"/>
                    </a:lnTo>
                    <a:close/>
                    <a:moveTo>
                      <a:pt x="1273" y="1611"/>
                    </a:moveTo>
                    <a:lnTo>
                      <a:pt x="1273" y="1612"/>
                    </a:lnTo>
                    <a:lnTo>
                      <a:pt x="1275" y="1612"/>
                    </a:lnTo>
                    <a:lnTo>
                      <a:pt x="1275" y="1614"/>
                    </a:lnTo>
                    <a:lnTo>
                      <a:pt x="1273" y="1614"/>
                    </a:lnTo>
                    <a:lnTo>
                      <a:pt x="1273" y="1616"/>
                    </a:lnTo>
                    <a:lnTo>
                      <a:pt x="1271" y="1614"/>
                    </a:lnTo>
                    <a:lnTo>
                      <a:pt x="1271" y="1616"/>
                    </a:lnTo>
                    <a:lnTo>
                      <a:pt x="1271" y="1614"/>
                    </a:lnTo>
                    <a:lnTo>
                      <a:pt x="1270" y="1614"/>
                    </a:lnTo>
                    <a:lnTo>
                      <a:pt x="1271" y="1614"/>
                    </a:lnTo>
                    <a:lnTo>
                      <a:pt x="1273" y="1614"/>
                    </a:lnTo>
                    <a:lnTo>
                      <a:pt x="1271" y="1614"/>
                    </a:lnTo>
                    <a:lnTo>
                      <a:pt x="1271" y="1612"/>
                    </a:lnTo>
                    <a:lnTo>
                      <a:pt x="1271" y="1611"/>
                    </a:lnTo>
                    <a:lnTo>
                      <a:pt x="1273" y="1611"/>
                    </a:lnTo>
                    <a:close/>
                    <a:moveTo>
                      <a:pt x="1162" y="1376"/>
                    </a:moveTo>
                    <a:lnTo>
                      <a:pt x="1161" y="1376"/>
                    </a:lnTo>
                    <a:lnTo>
                      <a:pt x="1162" y="1376"/>
                    </a:lnTo>
                    <a:lnTo>
                      <a:pt x="1162" y="1378"/>
                    </a:lnTo>
                    <a:lnTo>
                      <a:pt x="1162" y="1379"/>
                    </a:lnTo>
                    <a:lnTo>
                      <a:pt x="1161" y="1379"/>
                    </a:lnTo>
                    <a:lnTo>
                      <a:pt x="1159" y="1379"/>
                    </a:lnTo>
                    <a:lnTo>
                      <a:pt x="1159" y="1378"/>
                    </a:lnTo>
                    <a:lnTo>
                      <a:pt x="1161" y="1376"/>
                    </a:lnTo>
                    <a:lnTo>
                      <a:pt x="1161" y="1378"/>
                    </a:lnTo>
                    <a:lnTo>
                      <a:pt x="1161" y="1376"/>
                    </a:lnTo>
                    <a:lnTo>
                      <a:pt x="1162" y="1376"/>
                    </a:lnTo>
                    <a:close/>
                    <a:moveTo>
                      <a:pt x="1213" y="1119"/>
                    </a:moveTo>
                    <a:lnTo>
                      <a:pt x="1215" y="1121"/>
                    </a:lnTo>
                    <a:lnTo>
                      <a:pt x="1213" y="1122"/>
                    </a:lnTo>
                    <a:lnTo>
                      <a:pt x="1212" y="1121"/>
                    </a:lnTo>
                    <a:lnTo>
                      <a:pt x="1210" y="1121"/>
                    </a:lnTo>
                    <a:lnTo>
                      <a:pt x="1210" y="1122"/>
                    </a:lnTo>
                    <a:lnTo>
                      <a:pt x="1210" y="1121"/>
                    </a:lnTo>
                    <a:lnTo>
                      <a:pt x="1212" y="1119"/>
                    </a:lnTo>
                    <a:lnTo>
                      <a:pt x="1213" y="1119"/>
                    </a:lnTo>
                    <a:close/>
                    <a:moveTo>
                      <a:pt x="1178" y="1112"/>
                    </a:moveTo>
                    <a:lnTo>
                      <a:pt x="1179" y="1112"/>
                    </a:lnTo>
                    <a:lnTo>
                      <a:pt x="1179" y="1116"/>
                    </a:lnTo>
                    <a:lnTo>
                      <a:pt x="1178" y="1116"/>
                    </a:lnTo>
                    <a:lnTo>
                      <a:pt x="1178" y="1112"/>
                    </a:lnTo>
                    <a:close/>
                    <a:moveTo>
                      <a:pt x="1232" y="949"/>
                    </a:moveTo>
                    <a:lnTo>
                      <a:pt x="1234" y="951"/>
                    </a:lnTo>
                    <a:lnTo>
                      <a:pt x="1232" y="951"/>
                    </a:lnTo>
                    <a:lnTo>
                      <a:pt x="1234" y="951"/>
                    </a:lnTo>
                    <a:lnTo>
                      <a:pt x="1232" y="951"/>
                    </a:lnTo>
                    <a:lnTo>
                      <a:pt x="1230" y="951"/>
                    </a:lnTo>
                    <a:lnTo>
                      <a:pt x="1232" y="952"/>
                    </a:lnTo>
                    <a:lnTo>
                      <a:pt x="1230" y="952"/>
                    </a:lnTo>
                    <a:lnTo>
                      <a:pt x="1230" y="951"/>
                    </a:lnTo>
                    <a:lnTo>
                      <a:pt x="1230" y="949"/>
                    </a:lnTo>
                    <a:lnTo>
                      <a:pt x="1232" y="949"/>
                    </a:lnTo>
                    <a:close/>
                    <a:moveTo>
                      <a:pt x="1176" y="1481"/>
                    </a:moveTo>
                    <a:lnTo>
                      <a:pt x="1176" y="1483"/>
                    </a:lnTo>
                    <a:lnTo>
                      <a:pt x="1174" y="1483"/>
                    </a:lnTo>
                    <a:lnTo>
                      <a:pt x="1173" y="1483"/>
                    </a:lnTo>
                    <a:lnTo>
                      <a:pt x="1173" y="1481"/>
                    </a:lnTo>
                    <a:lnTo>
                      <a:pt x="1173" y="1483"/>
                    </a:lnTo>
                    <a:lnTo>
                      <a:pt x="1174" y="1481"/>
                    </a:lnTo>
                    <a:lnTo>
                      <a:pt x="1176" y="1481"/>
                    </a:lnTo>
                    <a:close/>
                    <a:moveTo>
                      <a:pt x="1185" y="1063"/>
                    </a:moveTo>
                    <a:lnTo>
                      <a:pt x="1186" y="1063"/>
                    </a:lnTo>
                    <a:lnTo>
                      <a:pt x="1188" y="1063"/>
                    </a:lnTo>
                    <a:lnTo>
                      <a:pt x="1188" y="1065"/>
                    </a:lnTo>
                    <a:lnTo>
                      <a:pt x="1186" y="1065"/>
                    </a:lnTo>
                    <a:lnTo>
                      <a:pt x="1185" y="1066"/>
                    </a:lnTo>
                    <a:lnTo>
                      <a:pt x="1185" y="1065"/>
                    </a:lnTo>
                    <a:lnTo>
                      <a:pt x="1186" y="1065"/>
                    </a:lnTo>
                    <a:lnTo>
                      <a:pt x="1185" y="1065"/>
                    </a:lnTo>
                    <a:lnTo>
                      <a:pt x="1185" y="1063"/>
                    </a:lnTo>
                    <a:close/>
                    <a:moveTo>
                      <a:pt x="1244" y="1582"/>
                    </a:moveTo>
                    <a:lnTo>
                      <a:pt x="1246" y="1582"/>
                    </a:lnTo>
                    <a:lnTo>
                      <a:pt x="1244" y="1583"/>
                    </a:lnTo>
                    <a:lnTo>
                      <a:pt x="1242" y="1583"/>
                    </a:lnTo>
                    <a:lnTo>
                      <a:pt x="1242" y="1582"/>
                    </a:lnTo>
                    <a:lnTo>
                      <a:pt x="1241" y="1582"/>
                    </a:lnTo>
                    <a:lnTo>
                      <a:pt x="1241" y="1580"/>
                    </a:lnTo>
                    <a:lnTo>
                      <a:pt x="1242" y="1582"/>
                    </a:lnTo>
                    <a:lnTo>
                      <a:pt x="1242" y="1580"/>
                    </a:lnTo>
                    <a:lnTo>
                      <a:pt x="1244" y="1582"/>
                    </a:lnTo>
                    <a:close/>
                    <a:moveTo>
                      <a:pt x="1212" y="1116"/>
                    </a:moveTo>
                    <a:lnTo>
                      <a:pt x="1213" y="1116"/>
                    </a:lnTo>
                    <a:lnTo>
                      <a:pt x="1213" y="1117"/>
                    </a:lnTo>
                    <a:lnTo>
                      <a:pt x="1213" y="1119"/>
                    </a:lnTo>
                    <a:lnTo>
                      <a:pt x="1212" y="1119"/>
                    </a:lnTo>
                    <a:lnTo>
                      <a:pt x="1210" y="1119"/>
                    </a:lnTo>
                    <a:lnTo>
                      <a:pt x="1210" y="1117"/>
                    </a:lnTo>
                    <a:lnTo>
                      <a:pt x="1212" y="1117"/>
                    </a:lnTo>
                    <a:lnTo>
                      <a:pt x="1212" y="1116"/>
                    </a:lnTo>
                    <a:close/>
                    <a:moveTo>
                      <a:pt x="1145" y="1264"/>
                    </a:moveTo>
                    <a:lnTo>
                      <a:pt x="1149" y="1264"/>
                    </a:lnTo>
                    <a:lnTo>
                      <a:pt x="1149" y="1269"/>
                    </a:lnTo>
                    <a:lnTo>
                      <a:pt x="1145" y="1269"/>
                    </a:lnTo>
                    <a:lnTo>
                      <a:pt x="1145" y="1264"/>
                    </a:lnTo>
                    <a:close/>
                    <a:moveTo>
                      <a:pt x="1176" y="1475"/>
                    </a:moveTo>
                    <a:lnTo>
                      <a:pt x="1178" y="1475"/>
                    </a:lnTo>
                    <a:lnTo>
                      <a:pt x="1178" y="1480"/>
                    </a:lnTo>
                    <a:lnTo>
                      <a:pt x="1176" y="1480"/>
                    </a:lnTo>
                    <a:lnTo>
                      <a:pt x="1176" y="1475"/>
                    </a:lnTo>
                    <a:close/>
                    <a:moveTo>
                      <a:pt x="1151" y="1289"/>
                    </a:moveTo>
                    <a:lnTo>
                      <a:pt x="1152" y="1289"/>
                    </a:lnTo>
                    <a:lnTo>
                      <a:pt x="1151" y="1291"/>
                    </a:lnTo>
                    <a:lnTo>
                      <a:pt x="1149" y="1291"/>
                    </a:lnTo>
                    <a:lnTo>
                      <a:pt x="1147" y="1293"/>
                    </a:lnTo>
                    <a:lnTo>
                      <a:pt x="1147" y="1291"/>
                    </a:lnTo>
                    <a:lnTo>
                      <a:pt x="1149" y="1291"/>
                    </a:lnTo>
                    <a:lnTo>
                      <a:pt x="1149" y="1289"/>
                    </a:lnTo>
                    <a:lnTo>
                      <a:pt x="1151" y="1289"/>
                    </a:lnTo>
                    <a:close/>
                    <a:moveTo>
                      <a:pt x="1178" y="1247"/>
                    </a:moveTo>
                    <a:lnTo>
                      <a:pt x="1179" y="1247"/>
                    </a:lnTo>
                    <a:lnTo>
                      <a:pt x="1178" y="1248"/>
                    </a:lnTo>
                    <a:lnTo>
                      <a:pt x="1176" y="1250"/>
                    </a:lnTo>
                    <a:lnTo>
                      <a:pt x="1176" y="1248"/>
                    </a:lnTo>
                    <a:lnTo>
                      <a:pt x="1176" y="1247"/>
                    </a:lnTo>
                    <a:lnTo>
                      <a:pt x="1178" y="1247"/>
                    </a:lnTo>
                    <a:close/>
                    <a:moveTo>
                      <a:pt x="1162" y="1301"/>
                    </a:moveTo>
                    <a:lnTo>
                      <a:pt x="1164" y="1301"/>
                    </a:lnTo>
                    <a:lnTo>
                      <a:pt x="1164" y="1303"/>
                    </a:lnTo>
                    <a:lnTo>
                      <a:pt x="1162" y="1303"/>
                    </a:lnTo>
                    <a:lnTo>
                      <a:pt x="1164" y="1303"/>
                    </a:lnTo>
                    <a:lnTo>
                      <a:pt x="1164" y="1305"/>
                    </a:lnTo>
                    <a:lnTo>
                      <a:pt x="1162" y="1303"/>
                    </a:lnTo>
                    <a:lnTo>
                      <a:pt x="1161" y="1303"/>
                    </a:lnTo>
                    <a:lnTo>
                      <a:pt x="1161" y="1301"/>
                    </a:lnTo>
                    <a:lnTo>
                      <a:pt x="1162" y="1301"/>
                    </a:lnTo>
                    <a:close/>
                    <a:moveTo>
                      <a:pt x="1423" y="1687"/>
                    </a:moveTo>
                    <a:lnTo>
                      <a:pt x="1424" y="1687"/>
                    </a:lnTo>
                    <a:lnTo>
                      <a:pt x="1424" y="1689"/>
                    </a:lnTo>
                    <a:lnTo>
                      <a:pt x="1426" y="1691"/>
                    </a:lnTo>
                    <a:lnTo>
                      <a:pt x="1424" y="1689"/>
                    </a:lnTo>
                    <a:lnTo>
                      <a:pt x="1424" y="1691"/>
                    </a:lnTo>
                    <a:lnTo>
                      <a:pt x="1423" y="1691"/>
                    </a:lnTo>
                    <a:lnTo>
                      <a:pt x="1423" y="1689"/>
                    </a:lnTo>
                    <a:lnTo>
                      <a:pt x="1421" y="1687"/>
                    </a:lnTo>
                    <a:lnTo>
                      <a:pt x="1421" y="1689"/>
                    </a:lnTo>
                    <a:lnTo>
                      <a:pt x="1421" y="1687"/>
                    </a:lnTo>
                    <a:lnTo>
                      <a:pt x="1423" y="1687"/>
                    </a:lnTo>
                    <a:close/>
                    <a:moveTo>
                      <a:pt x="1212" y="1061"/>
                    </a:moveTo>
                    <a:lnTo>
                      <a:pt x="1215" y="1061"/>
                    </a:lnTo>
                    <a:lnTo>
                      <a:pt x="1215" y="1065"/>
                    </a:lnTo>
                    <a:lnTo>
                      <a:pt x="1212" y="1065"/>
                    </a:lnTo>
                    <a:lnTo>
                      <a:pt x="1212" y="1061"/>
                    </a:lnTo>
                    <a:close/>
                    <a:moveTo>
                      <a:pt x="1331" y="1635"/>
                    </a:moveTo>
                    <a:lnTo>
                      <a:pt x="1331" y="1636"/>
                    </a:lnTo>
                    <a:lnTo>
                      <a:pt x="1329" y="1636"/>
                    </a:lnTo>
                    <a:lnTo>
                      <a:pt x="1329" y="1638"/>
                    </a:lnTo>
                    <a:lnTo>
                      <a:pt x="1327" y="1636"/>
                    </a:lnTo>
                    <a:lnTo>
                      <a:pt x="1329" y="1635"/>
                    </a:lnTo>
                    <a:lnTo>
                      <a:pt x="1331" y="1635"/>
                    </a:lnTo>
                    <a:lnTo>
                      <a:pt x="1332" y="1633"/>
                    </a:lnTo>
                    <a:lnTo>
                      <a:pt x="1331" y="1635"/>
                    </a:lnTo>
                    <a:close/>
                    <a:moveTo>
                      <a:pt x="1256" y="1587"/>
                    </a:moveTo>
                    <a:lnTo>
                      <a:pt x="1259" y="1587"/>
                    </a:lnTo>
                    <a:lnTo>
                      <a:pt x="1259" y="1592"/>
                    </a:lnTo>
                    <a:lnTo>
                      <a:pt x="1256" y="1592"/>
                    </a:lnTo>
                    <a:lnTo>
                      <a:pt x="1256" y="1587"/>
                    </a:lnTo>
                    <a:close/>
                    <a:moveTo>
                      <a:pt x="1208" y="1077"/>
                    </a:moveTo>
                    <a:lnTo>
                      <a:pt x="1212" y="1077"/>
                    </a:lnTo>
                    <a:lnTo>
                      <a:pt x="1212" y="1080"/>
                    </a:lnTo>
                    <a:lnTo>
                      <a:pt x="1208" y="1080"/>
                    </a:lnTo>
                    <a:lnTo>
                      <a:pt x="1208" y="1077"/>
                    </a:lnTo>
                    <a:close/>
                    <a:moveTo>
                      <a:pt x="1375" y="1663"/>
                    </a:moveTo>
                    <a:lnTo>
                      <a:pt x="1377" y="1663"/>
                    </a:lnTo>
                    <a:lnTo>
                      <a:pt x="1377" y="1665"/>
                    </a:lnTo>
                    <a:lnTo>
                      <a:pt x="1378" y="1665"/>
                    </a:lnTo>
                    <a:lnTo>
                      <a:pt x="1378" y="1667"/>
                    </a:lnTo>
                    <a:lnTo>
                      <a:pt x="1377" y="1667"/>
                    </a:lnTo>
                    <a:lnTo>
                      <a:pt x="1377" y="1665"/>
                    </a:lnTo>
                    <a:lnTo>
                      <a:pt x="1375" y="1665"/>
                    </a:lnTo>
                    <a:lnTo>
                      <a:pt x="1375" y="1663"/>
                    </a:lnTo>
                    <a:lnTo>
                      <a:pt x="1373" y="1663"/>
                    </a:lnTo>
                    <a:lnTo>
                      <a:pt x="1375" y="1663"/>
                    </a:lnTo>
                    <a:close/>
                    <a:moveTo>
                      <a:pt x="1185" y="1061"/>
                    </a:moveTo>
                    <a:lnTo>
                      <a:pt x="1186" y="1061"/>
                    </a:lnTo>
                    <a:lnTo>
                      <a:pt x="1188" y="1061"/>
                    </a:lnTo>
                    <a:lnTo>
                      <a:pt x="1190" y="1063"/>
                    </a:lnTo>
                    <a:lnTo>
                      <a:pt x="1188" y="1063"/>
                    </a:lnTo>
                    <a:lnTo>
                      <a:pt x="1186" y="1063"/>
                    </a:lnTo>
                    <a:lnTo>
                      <a:pt x="1185" y="1063"/>
                    </a:lnTo>
                    <a:lnTo>
                      <a:pt x="1185" y="1061"/>
                    </a:lnTo>
                    <a:close/>
                    <a:moveTo>
                      <a:pt x="1208" y="1080"/>
                    </a:moveTo>
                    <a:lnTo>
                      <a:pt x="1210" y="1082"/>
                    </a:lnTo>
                    <a:lnTo>
                      <a:pt x="1208" y="1082"/>
                    </a:lnTo>
                    <a:lnTo>
                      <a:pt x="1207" y="1082"/>
                    </a:lnTo>
                    <a:lnTo>
                      <a:pt x="1207" y="1080"/>
                    </a:lnTo>
                    <a:lnTo>
                      <a:pt x="1208" y="1082"/>
                    </a:lnTo>
                    <a:lnTo>
                      <a:pt x="1208" y="1080"/>
                    </a:lnTo>
                    <a:lnTo>
                      <a:pt x="1207" y="1080"/>
                    </a:lnTo>
                    <a:lnTo>
                      <a:pt x="1208" y="1080"/>
                    </a:lnTo>
                    <a:close/>
                    <a:moveTo>
                      <a:pt x="1193" y="1493"/>
                    </a:moveTo>
                    <a:lnTo>
                      <a:pt x="1193" y="1495"/>
                    </a:lnTo>
                    <a:lnTo>
                      <a:pt x="1195" y="1493"/>
                    </a:lnTo>
                    <a:lnTo>
                      <a:pt x="1195" y="1495"/>
                    </a:lnTo>
                    <a:lnTo>
                      <a:pt x="1193" y="1495"/>
                    </a:lnTo>
                    <a:lnTo>
                      <a:pt x="1193" y="1497"/>
                    </a:lnTo>
                    <a:lnTo>
                      <a:pt x="1191" y="1495"/>
                    </a:lnTo>
                    <a:lnTo>
                      <a:pt x="1191" y="1497"/>
                    </a:lnTo>
                    <a:lnTo>
                      <a:pt x="1191" y="1495"/>
                    </a:lnTo>
                    <a:lnTo>
                      <a:pt x="1190" y="1495"/>
                    </a:lnTo>
                    <a:lnTo>
                      <a:pt x="1191" y="1495"/>
                    </a:lnTo>
                    <a:lnTo>
                      <a:pt x="1191" y="1493"/>
                    </a:lnTo>
                    <a:lnTo>
                      <a:pt x="1191" y="1495"/>
                    </a:lnTo>
                    <a:lnTo>
                      <a:pt x="1191" y="1493"/>
                    </a:lnTo>
                    <a:lnTo>
                      <a:pt x="1191" y="1495"/>
                    </a:lnTo>
                    <a:lnTo>
                      <a:pt x="1193" y="1493"/>
                    </a:lnTo>
                    <a:close/>
                    <a:moveTo>
                      <a:pt x="1161" y="1247"/>
                    </a:moveTo>
                    <a:lnTo>
                      <a:pt x="1159" y="1247"/>
                    </a:lnTo>
                    <a:lnTo>
                      <a:pt x="1159" y="1248"/>
                    </a:lnTo>
                    <a:lnTo>
                      <a:pt x="1157" y="1248"/>
                    </a:lnTo>
                    <a:lnTo>
                      <a:pt x="1156" y="1250"/>
                    </a:lnTo>
                    <a:lnTo>
                      <a:pt x="1156" y="1248"/>
                    </a:lnTo>
                    <a:lnTo>
                      <a:pt x="1156" y="1250"/>
                    </a:lnTo>
                    <a:lnTo>
                      <a:pt x="1154" y="1250"/>
                    </a:lnTo>
                    <a:lnTo>
                      <a:pt x="1156" y="1250"/>
                    </a:lnTo>
                    <a:lnTo>
                      <a:pt x="1154" y="1250"/>
                    </a:lnTo>
                    <a:lnTo>
                      <a:pt x="1156" y="1250"/>
                    </a:lnTo>
                    <a:lnTo>
                      <a:pt x="1156" y="1248"/>
                    </a:lnTo>
                    <a:lnTo>
                      <a:pt x="1157" y="1247"/>
                    </a:lnTo>
                    <a:lnTo>
                      <a:pt x="1157" y="1248"/>
                    </a:lnTo>
                    <a:lnTo>
                      <a:pt x="1157" y="1247"/>
                    </a:lnTo>
                    <a:lnTo>
                      <a:pt x="1159" y="1247"/>
                    </a:lnTo>
                    <a:lnTo>
                      <a:pt x="1161" y="1245"/>
                    </a:lnTo>
                    <a:lnTo>
                      <a:pt x="1161" y="1247"/>
                    </a:lnTo>
                    <a:close/>
                    <a:moveTo>
                      <a:pt x="1195" y="1063"/>
                    </a:moveTo>
                    <a:lnTo>
                      <a:pt x="1193" y="1065"/>
                    </a:lnTo>
                    <a:lnTo>
                      <a:pt x="1191" y="1065"/>
                    </a:lnTo>
                    <a:lnTo>
                      <a:pt x="1191" y="1063"/>
                    </a:lnTo>
                    <a:lnTo>
                      <a:pt x="1193" y="1063"/>
                    </a:lnTo>
                    <a:lnTo>
                      <a:pt x="1195" y="1063"/>
                    </a:lnTo>
                    <a:close/>
                    <a:moveTo>
                      <a:pt x="1196" y="1466"/>
                    </a:moveTo>
                    <a:lnTo>
                      <a:pt x="1198" y="1466"/>
                    </a:lnTo>
                    <a:lnTo>
                      <a:pt x="1198" y="1468"/>
                    </a:lnTo>
                    <a:lnTo>
                      <a:pt x="1200" y="1468"/>
                    </a:lnTo>
                    <a:lnTo>
                      <a:pt x="1198" y="1468"/>
                    </a:lnTo>
                    <a:lnTo>
                      <a:pt x="1198" y="1470"/>
                    </a:lnTo>
                    <a:lnTo>
                      <a:pt x="1198" y="1468"/>
                    </a:lnTo>
                    <a:lnTo>
                      <a:pt x="1196" y="1470"/>
                    </a:lnTo>
                    <a:lnTo>
                      <a:pt x="1196" y="1468"/>
                    </a:lnTo>
                    <a:lnTo>
                      <a:pt x="1195" y="1466"/>
                    </a:lnTo>
                    <a:lnTo>
                      <a:pt x="1196" y="1466"/>
                    </a:lnTo>
                    <a:close/>
                    <a:moveTo>
                      <a:pt x="1213" y="1515"/>
                    </a:moveTo>
                    <a:lnTo>
                      <a:pt x="1212" y="1515"/>
                    </a:lnTo>
                    <a:lnTo>
                      <a:pt x="1212" y="1517"/>
                    </a:lnTo>
                    <a:lnTo>
                      <a:pt x="1210" y="1517"/>
                    </a:lnTo>
                    <a:lnTo>
                      <a:pt x="1212" y="1515"/>
                    </a:lnTo>
                    <a:lnTo>
                      <a:pt x="1210" y="1515"/>
                    </a:lnTo>
                    <a:lnTo>
                      <a:pt x="1210" y="1514"/>
                    </a:lnTo>
                    <a:lnTo>
                      <a:pt x="1212" y="1514"/>
                    </a:lnTo>
                    <a:lnTo>
                      <a:pt x="1210" y="1514"/>
                    </a:lnTo>
                    <a:lnTo>
                      <a:pt x="1212" y="1514"/>
                    </a:lnTo>
                    <a:lnTo>
                      <a:pt x="1213" y="1514"/>
                    </a:lnTo>
                    <a:lnTo>
                      <a:pt x="1213" y="1515"/>
                    </a:lnTo>
                    <a:close/>
                    <a:moveTo>
                      <a:pt x="1378" y="1660"/>
                    </a:moveTo>
                    <a:lnTo>
                      <a:pt x="1378" y="1662"/>
                    </a:lnTo>
                    <a:lnTo>
                      <a:pt x="1378" y="1660"/>
                    </a:lnTo>
                    <a:lnTo>
                      <a:pt x="1380" y="1662"/>
                    </a:lnTo>
                    <a:lnTo>
                      <a:pt x="1378" y="1662"/>
                    </a:lnTo>
                    <a:lnTo>
                      <a:pt x="1378" y="1663"/>
                    </a:lnTo>
                    <a:lnTo>
                      <a:pt x="1377" y="1663"/>
                    </a:lnTo>
                    <a:lnTo>
                      <a:pt x="1377" y="1662"/>
                    </a:lnTo>
                    <a:lnTo>
                      <a:pt x="1378" y="1662"/>
                    </a:lnTo>
                    <a:lnTo>
                      <a:pt x="1377" y="1662"/>
                    </a:lnTo>
                    <a:lnTo>
                      <a:pt x="1375" y="1662"/>
                    </a:lnTo>
                    <a:lnTo>
                      <a:pt x="1375" y="1660"/>
                    </a:lnTo>
                    <a:lnTo>
                      <a:pt x="1377" y="1660"/>
                    </a:lnTo>
                    <a:lnTo>
                      <a:pt x="1378" y="1660"/>
                    </a:lnTo>
                    <a:close/>
                    <a:moveTo>
                      <a:pt x="1263" y="1604"/>
                    </a:moveTo>
                    <a:lnTo>
                      <a:pt x="1263" y="1606"/>
                    </a:lnTo>
                    <a:lnTo>
                      <a:pt x="1264" y="1606"/>
                    </a:lnTo>
                    <a:lnTo>
                      <a:pt x="1264" y="1607"/>
                    </a:lnTo>
                    <a:lnTo>
                      <a:pt x="1266" y="1607"/>
                    </a:lnTo>
                    <a:lnTo>
                      <a:pt x="1264" y="1607"/>
                    </a:lnTo>
                    <a:lnTo>
                      <a:pt x="1263" y="1607"/>
                    </a:lnTo>
                    <a:lnTo>
                      <a:pt x="1261" y="1606"/>
                    </a:lnTo>
                    <a:lnTo>
                      <a:pt x="1263" y="1604"/>
                    </a:lnTo>
                    <a:close/>
                    <a:moveTo>
                      <a:pt x="1173" y="1359"/>
                    </a:moveTo>
                    <a:lnTo>
                      <a:pt x="1174" y="1359"/>
                    </a:lnTo>
                    <a:lnTo>
                      <a:pt x="1173" y="1361"/>
                    </a:lnTo>
                    <a:lnTo>
                      <a:pt x="1171" y="1361"/>
                    </a:lnTo>
                    <a:lnTo>
                      <a:pt x="1171" y="1359"/>
                    </a:lnTo>
                    <a:lnTo>
                      <a:pt x="1173" y="1359"/>
                    </a:lnTo>
                    <a:close/>
                    <a:moveTo>
                      <a:pt x="1363" y="1665"/>
                    </a:moveTo>
                    <a:lnTo>
                      <a:pt x="1366" y="1665"/>
                    </a:lnTo>
                    <a:lnTo>
                      <a:pt x="1366" y="1672"/>
                    </a:lnTo>
                    <a:lnTo>
                      <a:pt x="1363" y="1672"/>
                    </a:lnTo>
                    <a:lnTo>
                      <a:pt x="1363" y="1665"/>
                    </a:lnTo>
                    <a:close/>
                    <a:moveTo>
                      <a:pt x="1253" y="1590"/>
                    </a:moveTo>
                    <a:lnTo>
                      <a:pt x="1256" y="1590"/>
                    </a:lnTo>
                    <a:lnTo>
                      <a:pt x="1256" y="1594"/>
                    </a:lnTo>
                    <a:lnTo>
                      <a:pt x="1253" y="1594"/>
                    </a:lnTo>
                    <a:lnTo>
                      <a:pt x="1253" y="1590"/>
                    </a:lnTo>
                    <a:close/>
                    <a:moveTo>
                      <a:pt x="1217" y="971"/>
                    </a:moveTo>
                    <a:lnTo>
                      <a:pt x="1219" y="971"/>
                    </a:lnTo>
                    <a:lnTo>
                      <a:pt x="1219" y="973"/>
                    </a:lnTo>
                    <a:lnTo>
                      <a:pt x="1217" y="973"/>
                    </a:lnTo>
                    <a:lnTo>
                      <a:pt x="1217" y="971"/>
                    </a:lnTo>
                    <a:lnTo>
                      <a:pt x="1215" y="971"/>
                    </a:lnTo>
                    <a:lnTo>
                      <a:pt x="1217" y="969"/>
                    </a:lnTo>
                    <a:lnTo>
                      <a:pt x="1217" y="971"/>
                    </a:lnTo>
                    <a:close/>
                    <a:moveTo>
                      <a:pt x="1203" y="1473"/>
                    </a:moveTo>
                    <a:lnTo>
                      <a:pt x="1207" y="1473"/>
                    </a:lnTo>
                    <a:lnTo>
                      <a:pt x="1207" y="1478"/>
                    </a:lnTo>
                    <a:lnTo>
                      <a:pt x="1203" y="1478"/>
                    </a:lnTo>
                    <a:lnTo>
                      <a:pt x="1203" y="1473"/>
                    </a:lnTo>
                    <a:close/>
                    <a:moveTo>
                      <a:pt x="1232" y="1600"/>
                    </a:moveTo>
                    <a:lnTo>
                      <a:pt x="1230" y="1602"/>
                    </a:lnTo>
                    <a:lnTo>
                      <a:pt x="1229" y="1602"/>
                    </a:lnTo>
                    <a:lnTo>
                      <a:pt x="1227" y="1602"/>
                    </a:lnTo>
                    <a:lnTo>
                      <a:pt x="1227" y="1600"/>
                    </a:lnTo>
                    <a:lnTo>
                      <a:pt x="1229" y="1600"/>
                    </a:lnTo>
                    <a:lnTo>
                      <a:pt x="1230" y="1600"/>
                    </a:lnTo>
                    <a:lnTo>
                      <a:pt x="1232" y="1600"/>
                    </a:lnTo>
                    <a:close/>
                    <a:moveTo>
                      <a:pt x="1331" y="1633"/>
                    </a:moveTo>
                    <a:lnTo>
                      <a:pt x="1334" y="1633"/>
                    </a:lnTo>
                    <a:lnTo>
                      <a:pt x="1334" y="1636"/>
                    </a:lnTo>
                    <a:lnTo>
                      <a:pt x="1331" y="1636"/>
                    </a:lnTo>
                    <a:lnTo>
                      <a:pt x="1331" y="1633"/>
                    </a:lnTo>
                    <a:close/>
                    <a:moveTo>
                      <a:pt x="1263" y="1589"/>
                    </a:moveTo>
                    <a:lnTo>
                      <a:pt x="1264" y="1589"/>
                    </a:lnTo>
                    <a:lnTo>
                      <a:pt x="1264" y="1590"/>
                    </a:lnTo>
                    <a:lnTo>
                      <a:pt x="1263" y="1590"/>
                    </a:lnTo>
                    <a:lnTo>
                      <a:pt x="1264" y="1590"/>
                    </a:lnTo>
                    <a:lnTo>
                      <a:pt x="1263" y="1590"/>
                    </a:lnTo>
                    <a:lnTo>
                      <a:pt x="1261" y="1590"/>
                    </a:lnTo>
                    <a:lnTo>
                      <a:pt x="1261" y="1589"/>
                    </a:lnTo>
                    <a:lnTo>
                      <a:pt x="1263" y="1589"/>
                    </a:lnTo>
                    <a:close/>
                    <a:moveTo>
                      <a:pt x="1181" y="1464"/>
                    </a:moveTo>
                    <a:lnTo>
                      <a:pt x="1179" y="1466"/>
                    </a:lnTo>
                    <a:lnTo>
                      <a:pt x="1178" y="1466"/>
                    </a:lnTo>
                    <a:lnTo>
                      <a:pt x="1178" y="1468"/>
                    </a:lnTo>
                    <a:lnTo>
                      <a:pt x="1178" y="1466"/>
                    </a:lnTo>
                    <a:lnTo>
                      <a:pt x="1178" y="1464"/>
                    </a:lnTo>
                    <a:lnTo>
                      <a:pt x="1179" y="1464"/>
                    </a:lnTo>
                    <a:lnTo>
                      <a:pt x="1181" y="1463"/>
                    </a:lnTo>
                    <a:lnTo>
                      <a:pt x="1181" y="1464"/>
                    </a:lnTo>
                    <a:close/>
                    <a:moveTo>
                      <a:pt x="1327" y="1645"/>
                    </a:moveTo>
                    <a:lnTo>
                      <a:pt x="1329" y="1645"/>
                    </a:lnTo>
                    <a:lnTo>
                      <a:pt x="1329" y="1646"/>
                    </a:lnTo>
                    <a:lnTo>
                      <a:pt x="1331" y="1646"/>
                    </a:lnTo>
                    <a:lnTo>
                      <a:pt x="1329" y="1646"/>
                    </a:lnTo>
                    <a:lnTo>
                      <a:pt x="1329" y="1648"/>
                    </a:lnTo>
                    <a:lnTo>
                      <a:pt x="1331" y="1648"/>
                    </a:lnTo>
                    <a:lnTo>
                      <a:pt x="1332" y="1648"/>
                    </a:lnTo>
                    <a:lnTo>
                      <a:pt x="1331" y="1648"/>
                    </a:lnTo>
                    <a:lnTo>
                      <a:pt x="1329" y="1648"/>
                    </a:lnTo>
                    <a:lnTo>
                      <a:pt x="1327" y="1648"/>
                    </a:lnTo>
                    <a:lnTo>
                      <a:pt x="1329" y="1646"/>
                    </a:lnTo>
                    <a:lnTo>
                      <a:pt x="1327" y="1646"/>
                    </a:lnTo>
                    <a:lnTo>
                      <a:pt x="1327" y="1645"/>
                    </a:lnTo>
                    <a:close/>
                    <a:moveTo>
                      <a:pt x="1217" y="1500"/>
                    </a:moveTo>
                    <a:lnTo>
                      <a:pt x="1219" y="1500"/>
                    </a:lnTo>
                    <a:lnTo>
                      <a:pt x="1219" y="1502"/>
                    </a:lnTo>
                    <a:lnTo>
                      <a:pt x="1217" y="1502"/>
                    </a:lnTo>
                    <a:lnTo>
                      <a:pt x="1215" y="1502"/>
                    </a:lnTo>
                    <a:lnTo>
                      <a:pt x="1217" y="1502"/>
                    </a:lnTo>
                    <a:lnTo>
                      <a:pt x="1215" y="1502"/>
                    </a:lnTo>
                    <a:lnTo>
                      <a:pt x="1217" y="1500"/>
                    </a:lnTo>
                    <a:lnTo>
                      <a:pt x="1219" y="1498"/>
                    </a:lnTo>
                    <a:lnTo>
                      <a:pt x="1219" y="1500"/>
                    </a:lnTo>
                    <a:lnTo>
                      <a:pt x="1217" y="1500"/>
                    </a:lnTo>
                    <a:close/>
                    <a:moveTo>
                      <a:pt x="1171" y="1446"/>
                    </a:moveTo>
                    <a:lnTo>
                      <a:pt x="1174" y="1446"/>
                    </a:lnTo>
                    <a:lnTo>
                      <a:pt x="1174" y="1451"/>
                    </a:lnTo>
                    <a:lnTo>
                      <a:pt x="1171" y="1451"/>
                    </a:lnTo>
                    <a:lnTo>
                      <a:pt x="1171" y="1446"/>
                    </a:lnTo>
                    <a:close/>
                    <a:moveTo>
                      <a:pt x="1190" y="1119"/>
                    </a:moveTo>
                    <a:lnTo>
                      <a:pt x="1191" y="1119"/>
                    </a:lnTo>
                    <a:lnTo>
                      <a:pt x="1191" y="1122"/>
                    </a:lnTo>
                    <a:lnTo>
                      <a:pt x="1190" y="1122"/>
                    </a:lnTo>
                    <a:lnTo>
                      <a:pt x="1190" y="1119"/>
                    </a:lnTo>
                    <a:close/>
                    <a:moveTo>
                      <a:pt x="1222" y="1570"/>
                    </a:moveTo>
                    <a:lnTo>
                      <a:pt x="1224" y="1570"/>
                    </a:lnTo>
                    <a:lnTo>
                      <a:pt x="1224" y="1572"/>
                    </a:lnTo>
                    <a:lnTo>
                      <a:pt x="1222" y="1572"/>
                    </a:lnTo>
                    <a:lnTo>
                      <a:pt x="1222" y="1570"/>
                    </a:lnTo>
                    <a:lnTo>
                      <a:pt x="1220" y="1572"/>
                    </a:lnTo>
                    <a:lnTo>
                      <a:pt x="1220" y="1570"/>
                    </a:lnTo>
                    <a:lnTo>
                      <a:pt x="1222" y="1570"/>
                    </a:lnTo>
                    <a:close/>
                    <a:moveTo>
                      <a:pt x="1205" y="1019"/>
                    </a:moveTo>
                    <a:lnTo>
                      <a:pt x="1208" y="1019"/>
                    </a:lnTo>
                    <a:lnTo>
                      <a:pt x="1208" y="1022"/>
                    </a:lnTo>
                    <a:lnTo>
                      <a:pt x="1205" y="1022"/>
                    </a:lnTo>
                    <a:lnTo>
                      <a:pt x="1205" y="1019"/>
                    </a:lnTo>
                    <a:close/>
                    <a:moveTo>
                      <a:pt x="1164" y="1366"/>
                    </a:moveTo>
                    <a:lnTo>
                      <a:pt x="1168" y="1366"/>
                    </a:lnTo>
                    <a:lnTo>
                      <a:pt x="1168" y="1371"/>
                    </a:lnTo>
                    <a:lnTo>
                      <a:pt x="1164" y="1371"/>
                    </a:lnTo>
                    <a:lnTo>
                      <a:pt x="1164" y="1366"/>
                    </a:lnTo>
                    <a:close/>
                    <a:moveTo>
                      <a:pt x="1191" y="1498"/>
                    </a:moveTo>
                    <a:lnTo>
                      <a:pt x="1193" y="1498"/>
                    </a:lnTo>
                    <a:lnTo>
                      <a:pt x="1193" y="1500"/>
                    </a:lnTo>
                    <a:lnTo>
                      <a:pt x="1191" y="1502"/>
                    </a:lnTo>
                    <a:lnTo>
                      <a:pt x="1191" y="1500"/>
                    </a:lnTo>
                    <a:lnTo>
                      <a:pt x="1193" y="1500"/>
                    </a:lnTo>
                    <a:lnTo>
                      <a:pt x="1191" y="1500"/>
                    </a:lnTo>
                    <a:lnTo>
                      <a:pt x="1191" y="1498"/>
                    </a:lnTo>
                    <a:lnTo>
                      <a:pt x="1190" y="1498"/>
                    </a:lnTo>
                    <a:lnTo>
                      <a:pt x="1190" y="1497"/>
                    </a:lnTo>
                    <a:lnTo>
                      <a:pt x="1191" y="1497"/>
                    </a:lnTo>
                    <a:lnTo>
                      <a:pt x="1191" y="1498"/>
                    </a:lnTo>
                    <a:close/>
                    <a:moveTo>
                      <a:pt x="1186" y="1060"/>
                    </a:moveTo>
                    <a:lnTo>
                      <a:pt x="1188" y="1061"/>
                    </a:lnTo>
                    <a:lnTo>
                      <a:pt x="1188" y="1060"/>
                    </a:lnTo>
                    <a:lnTo>
                      <a:pt x="1190" y="1061"/>
                    </a:lnTo>
                    <a:lnTo>
                      <a:pt x="1191" y="1061"/>
                    </a:lnTo>
                    <a:lnTo>
                      <a:pt x="1190" y="1061"/>
                    </a:lnTo>
                    <a:lnTo>
                      <a:pt x="1188" y="1061"/>
                    </a:lnTo>
                    <a:lnTo>
                      <a:pt x="1186" y="1061"/>
                    </a:lnTo>
                    <a:lnTo>
                      <a:pt x="1185" y="1061"/>
                    </a:lnTo>
                    <a:lnTo>
                      <a:pt x="1185" y="1060"/>
                    </a:lnTo>
                    <a:lnTo>
                      <a:pt x="1186" y="1060"/>
                    </a:lnTo>
                    <a:close/>
                    <a:moveTo>
                      <a:pt x="1191" y="1449"/>
                    </a:moveTo>
                    <a:lnTo>
                      <a:pt x="1193" y="1451"/>
                    </a:lnTo>
                    <a:lnTo>
                      <a:pt x="1195" y="1451"/>
                    </a:lnTo>
                    <a:lnTo>
                      <a:pt x="1196" y="1453"/>
                    </a:lnTo>
                    <a:lnTo>
                      <a:pt x="1195" y="1453"/>
                    </a:lnTo>
                    <a:lnTo>
                      <a:pt x="1195" y="1454"/>
                    </a:lnTo>
                    <a:lnTo>
                      <a:pt x="1193" y="1453"/>
                    </a:lnTo>
                    <a:lnTo>
                      <a:pt x="1195" y="1453"/>
                    </a:lnTo>
                    <a:lnTo>
                      <a:pt x="1193" y="1453"/>
                    </a:lnTo>
                    <a:lnTo>
                      <a:pt x="1193" y="1451"/>
                    </a:lnTo>
                    <a:lnTo>
                      <a:pt x="1191" y="1451"/>
                    </a:lnTo>
                    <a:lnTo>
                      <a:pt x="1191" y="1449"/>
                    </a:lnTo>
                    <a:lnTo>
                      <a:pt x="1191" y="1451"/>
                    </a:lnTo>
                    <a:lnTo>
                      <a:pt x="1191" y="1449"/>
                    </a:lnTo>
                    <a:close/>
                    <a:moveTo>
                      <a:pt x="1215" y="993"/>
                    </a:moveTo>
                    <a:lnTo>
                      <a:pt x="1213" y="995"/>
                    </a:lnTo>
                    <a:lnTo>
                      <a:pt x="1213" y="993"/>
                    </a:lnTo>
                    <a:lnTo>
                      <a:pt x="1212" y="995"/>
                    </a:lnTo>
                    <a:lnTo>
                      <a:pt x="1212" y="993"/>
                    </a:lnTo>
                    <a:lnTo>
                      <a:pt x="1213" y="993"/>
                    </a:lnTo>
                    <a:lnTo>
                      <a:pt x="1213" y="992"/>
                    </a:lnTo>
                    <a:lnTo>
                      <a:pt x="1215" y="993"/>
                    </a:lnTo>
                    <a:close/>
                    <a:moveTo>
                      <a:pt x="1426" y="1677"/>
                    </a:moveTo>
                    <a:lnTo>
                      <a:pt x="1428" y="1677"/>
                    </a:lnTo>
                    <a:lnTo>
                      <a:pt x="1428" y="1679"/>
                    </a:lnTo>
                    <a:lnTo>
                      <a:pt x="1426" y="1679"/>
                    </a:lnTo>
                    <a:lnTo>
                      <a:pt x="1426" y="1680"/>
                    </a:lnTo>
                    <a:lnTo>
                      <a:pt x="1424" y="1680"/>
                    </a:lnTo>
                    <a:lnTo>
                      <a:pt x="1424" y="1679"/>
                    </a:lnTo>
                    <a:lnTo>
                      <a:pt x="1426" y="1677"/>
                    </a:lnTo>
                    <a:close/>
                    <a:moveTo>
                      <a:pt x="1213" y="747"/>
                    </a:moveTo>
                    <a:lnTo>
                      <a:pt x="1213" y="748"/>
                    </a:lnTo>
                    <a:lnTo>
                      <a:pt x="1213" y="747"/>
                    </a:lnTo>
                    <a:lnTo>
                      <a:pt x="1212" y="748"/>
                    </a:lnTo>
                    <a:lnTo>
                      <a:pt x="1212" y="747"/>
                    </a:lnTo>
                    <a:lnTo>
                      <a:pt x="1212" y="745"/>
                    </a:lnTo>
                    <a:lnTo>
                      <a:pt x="1212" y="747"/>
                    </a:lnTo>
                    <a:lnTo>
                      <a:pt x="1213" y="747"/>
                    </a:lnTo>
                    <a:close/>
                    <a:moveTo>
                      <a:pt x="1220" y="993"/>
                    </a:moveTo>
                    <a:lnTo>
                      <a:pt x="1222" y="993"/>
                    </a:lnTo>
                    <a:lnTo>
                      <a:pt x="1222" y="995"/>
                    </a:lnTo>
                    <a:lnTo>
                      <a:pt x="1220" y="995"/>
                    </a:lnTo>
                    <a:lnTo>
                      <a:pt x="1219" y="993"/>
                    </a:lnTo>
                    <a:lnTo>
                      <a:pt x="1220" y="993"/>
                    </a:lnTo>
                    <a:close/>
                    <a:moveTo>
                      <a:pt x="1168" y="1259"/>
                    </a:moveTo>
                    <a:lnTo>
                      <a:pt x="1171" y="1259"/>
                    </a:lnTo>
                    <a:lnTo>
                      <a:pt x="1171" y="1262"/>
                    </a:lnTo>
                    <a:lnTo>
                      <a:pt x="1168" y="1262"/>
                    </a:lnTo>
                    <a:lnTo>
                      <a:pt x="1168" y="1259"/>
                    </a:lnTo>
                    <a:close/>
                    <a:moveTo>
                      <a:pt x="1159" y="1252"/>
                    </a:moveTo>
                    <a:lnTo>
                      <a:pt x="1161" y="1253"/>
                    </a:lnTo>
                    <a:lnTo>
                      <a:pt x="1159" y="1253"/>
                    </a:lnTo>
                    <a:lnTo>
                      <a:pt x="1157" y="1255"/>
                    </a:lnTo>
                    <a:lnTo>
                      <a:pt x="1157" y="1253"/>
                    </a:lnTo>
                    <a:lnTo>
                      <a:pt x="1159" y="1253"/>
                    </a:lnTo>
                    <a:lnTo>
                      <a:pt x="1157" y="1253"/>
                    </a:lnTo>
                    <a:lnTo>
                      <a:pt x="1156" y="1253"/>
                    </a:lnTo>
                    <a:lnTo>
                      <a:pt x="1157" y="1253"/>
                    </a:lnTo>
                    <a:lnTo>
                      <a:pt x="1159" y="1252"/>
                    </a:lnTo>
                    <a:close/>
                    <a:moveTo>
                      <a:pt x="1290" y="1575"/>
                    </a:moveTo>
                    <a:lnTo>
                      <a:pt x="1292" y="1575"/>
                    </a:lnTo>
                    <a:lnTo>
                      <a:pt x="1292" y="1580"/>
                    </a:lnTo>
                    <a:lnTo>
                      <a:pt x="1290" y="1580"/>
                    </a:lnTo>
                    <a:lnTo>
                      <a:pt x="1290" y="1575"/>
                    </a:lnTo>
                    <a:close/>
                    <a:moveTo>
                      <a:pt x="1290" y="1629"/>
                    </a:moveTo>
                    <a:lnTo>
                      <a:pt x="1293" y="1629"/>
                    </a:lnTo>
                    <a:lnTo>
                      <a:pt x="1293" y="1635"/>
                    </a:lnTo>
                    <a:lnTo>
                      <a:pt x="1290" y="1635"/>
                    </a:lnTo>
                    <a:lnTo>
                      <a:pt x="1290" y="1629"/>
                    </a:lnTo>
                    <a:close/>
                    <a:moveTo>
                      <a:pt x="1161" y="1245"/>
                    </a:moveTo>
                    <a:lnTo>
                      <a:pt x="1159" y="1247"/>
                    </a:lnTo>
                    <a:lnTo>
                      <a:pt x="1157" y="1247"/>
                    </a:lnTo>
                    <a:lnTo>
                      <a:pt x="1157" y="1245"/>
                    </a:lnTo>
                    <a:lnTo>
                      <a:pt x="1159" y="1245"/>
                    </a:lnTo>
                    <a:lnTo>
                      <a:pt x="1157" y="1245"/>
                    </a:lnTo>
                    <a:lnTo>
                      <a:pt x="1159" y="1245"/>
                    </a:lnTo>
                    <a:lnTo>
                      <a:pt x="1161" y="1245"/>
                    </a:lnTo>
                    <a:lnTo>
                      <a:pt x="1161" y="1243"/>
                    </a:lnTo>
                    <a:lnTo>
                      <a:pt x="1161" y="1245"/>
                    </a:lnTo>
                    <a:close/>
                    <a:moveTo>
                      <a:pt x="1210" y="1017"/>
                    </a:moveTo>
                    <a:lnTo>
                      <a:pt x="1213" y="1017"/>
                    </a:lnTo>
                    <a:lnTo>
                      <a:pt x="1213" y="1020"/>
                    </a:lnTo>
                    <a:lnTo>
                      <a:pt x="1210" y="1020"/>
                    </a:lnTo>
                    <a:lnTo>
                      <a:pt x="1210" y="1017"/>
                    </a:lnTo>
                    <a:close/>
                    <a:moveTo>
                      <a:pt x="1200" y="1085"/>
                    </a:moveTo>
                    <a:lnTo>
                      <a:pt x="1200" y="1087"/>
                    </a:lnTo>
                    <a:lnTo>
                      <a:pt x="1198" y="1085"/>
                    </a:lnTo>
                    <a:lnTo>
                      <a:pt x="1196" y="1085"/>
                    </a:lnTo>
                    <a:lnTo>
                      <a:pt x="1198" y="1085"/>
                    </a:lnTo>
                    <a:lnTo>
                      <a:pt x="1200" y="1083"/>
                    </a:lnTo>
                    <a:lnTo>
                      <a:pt x="1200" y="1085"/>
                    </a:lnTo>
                    <a:close/>
                    <a:moveTo>
                      <a:pt x="1210" y="1253"/>
                    </a:moveTo>
                    <a:lnTo>
                      <a:pt x="1210" y="1255"/>
                    </a:lnTo>
                    <a:lnTo>
                      <a:pt x="1212" y="1255"/>
                    </a:lnTo>
                    <a:lnTo>
                      <a:pt x="1212" y="1257"/>
                    </a:lnTo>
                    <a:lnTo>
                      <a:pt x="1210" y="1255"/>
                    </a:lnTo>
                    <a:lnTo>
                      <a:pt x="1208" y="1255"/>
                    </a:lnTo>
                    <a:lnTo>
                      <a:pt x="1208" y="1253"/>
                    </a:lnTo>
                    <a:lnTo>
                      <a:pt x="1210" y="1253"/>
                    </a:lnTo>
                    <a:close/>
                    <a:moveTo>
                      <a:pt x="1156" y="1187"/>
                    </a:moveTo>
                    <a:lnTo>
                      <a:pt x="1157" y="1189"/>
                    </a:lnTo>
                    <a:lnTo>
                      <a:pt x="1159" y="1191"/>
                    </a:lnTo>
                    <a:lnTo>
                      <a:pt x="1157" y="1191"/>
                    </a:lnTo>
                    <a:lnTo>
                      <a:pt x="1156" y="1189"/>
                    </a:lnTo>
                    <a:lnTo>
                      <a:pt x="1154" y="1189"/>
                    </a:lnTo>
                    <a:lnTo>
                      <a:pt x="1156" y="1187"/>
                    </a:lnTo>
                    <a:close/>
                    <a:moveTo>
                      <a:pt x="1219" y="1119"/>
                    </a:moveTo>
                    <a:lnTo>
                      <a:pt x="1217" y="1121"/>
                    </a:lnTo>
                    <a:lnTo>
                      <a:pt x="1215" y="1121"/>
                    </a:lnTo>
                    <a:lnTo>
                      <a:pt x="1217" y="1119"/>
                    </a:lnTo>
                    <a:lnTo>
                      <a:pt x="1215" y="1119"/>
                    </a:lnTo>
                    <a:lnTo>
                      <a:pt x="1217" y="1119"/>
                    </a:lnTo>
                    <a:lnTo>
                      <a:pt x="1219" y="1119"/>
                    </a:lnTo>
                    <a:close/>
                    <a:moveTo>
                      <a:pt x="1210" y="1242"/>
                    </a:moveTo>
                    <a:lnTo>
                      <a:pt x="1210" y="1243"/>
                    </a:lnTo>
                    <a:lnTo>
                      <a:pt x="1208" y="1243"/>
                    </a:lnTo>
                    <a:lnTo>
                      <a:pt x="1207" y="1243"/>
                    </a:lnTo>
                    <a:lnTo>
                      <a:pt x="1207" y="1242"/>
                    </a:lnTo>
                    <a:lnTo>
                      <a:pt x="1208" y="1242"/>
                    </a:lnTo>
                    <a:lnTo>
                      <a:pt x="1210" y="1242"/>
                    </a:lnTo>
                    <a:close/>
                    <a:moveTo>
                      <a:pt x="1151" y="1291"/>
                    </a:moveTo>
                    <a:lnTo>
                      <a:pt x="1154" y="1291"/>
                    </a:lnTo>
                    <a:lnTo>
                      <a:pt x="1154" y="1294"/>
                    </a:lnTo>
                    <a:lnTo>
                      <a:pt x="1151" y="1294"/>
                    </a:lnTo>
                    <a:lnTo>
                      <a:pt x="1151" y="1291"/>
                    </a:lnTo>
                    <a:close/>
                    <a:moveTo>
                      <a:pt x="1164" y="1476"/>
                    </a:moveTo>
                    <a:lnTo>
                      <a:pt x="1168" y="1476"/>
                    </a:lnTo>
                    <a:lnTo>
                      <a:pt x="1168" y="1480"/>
                    </a:lnTo>
                    <a:lnTo>
                      <a:pt x="1164" y="1480"/>
                    </a:lnTo>
                    <a:lnTo>
                      <a:pt x="1164" y="1476"/>
                    </a:lnTo>
                    <a:close/>
                    <a:moveTo>
                      <a:pt x="1188" y="1475"/>
                    </a:moveTo>
                    <a:lnTo>
                      <a:pt x="1188" y="1476"/>
                    </a:lnTo>
                    <a:lnTo>
                      <a:pt x="1186" y="1476"/>
                    </a:lnTo>
                    <a:lnTo>
                      <a:pt x="1186" y="1475"/>
                    </a:lnTo>
                    <a:lnTo>
                      <a:pt x="1188" y="1475"/>
                    </a:lnTo>
                    <a:lnTo>
                      <a:pt x="1186" y="1475"/>
                    </a:lnTo>
                    <a:lnTo>
                      <a:pt x="1185" y="1475"/>
                    </a:lnTo>
                    <a:lnTo>
                      <a:pt x="1186" y="1475"/>
                    </a:lnTo>
                    <a:lnTo>
                      <a:pt x="1188" y="1473"/>
                    </a:lnTo>
                    <a:lnTo>
                      <a:pt x="1190" y="1475"/>
                    </a:lnTo>
                    <a:lnTo>
                      <a:pt x="1188" y="1475"/>
                    </a:lnTo>
                    <a:close/>
                    <a:moveTo>
                      <a:pt x="1186" y="1119"/>
                    </a:moveTo>
                    <a:lnTo>
                      <a:pt x="1188" y="1119"/>
                    </a:lnTo>
                    <a:lnTo>
                      <a:pt x="1188" y="1124"/>
                    </a:lnTo>
                    <a:lnTo>
                      <a:pt x="1186" y="1124"/>
                    </a:lnTo>
                    <a:lnTo>
                      <a:pt x="1186" y="1119"/>
                    </a:lnTo>
                    <a:close/>
                    <a:moveTo>
                      <a:pt x="1326" y="1648"/>
                    </a:moveTo>
                    <a:lnTo>
                      <a:pt x="1327" y="1650"/>
                    </a:lnTo>
                    <a:lnTo>
                      <a:pt x="1329" y="1650"/>
                    </a:lnTo>
                    <a:lnTo>
                      <a:pt x="1327" y="1650"/>
                    </a:lnTo>
                    <a:lnTo>
                      <a:pt x="1326" y="1650"/>
                    </a:lnTo>
                    <a:lnTo>
                      <a:pt x="1324" y="1650"/>
                    </a:lnTo>
                    <a:lnTo>
                      <a:pt x="1324" y="1648"/>
                    </a:lnTo>
                    <a:lnTo>
                      <a:pt x="1326" y="1648"/>
                    </a:lnTo>
                    <a:close/>
                    <a:moveTo>
                      <a:pt x="1205" y="1065"/>
                    </a:moveTo>
                    <a:lnTo>
                      <a:pt x="1208" y="1065"/>
                    </a:lnTo>
                    <a:lnTo>
                      <a:pt x="1208" y="1066"/>
                    </a:lnTo>
                    <a:lnTo>
                      <a:pt x="1205" y="1066"/>
                    </a:lnTo>
                    <a:lnTo>
                      <a:pt x="1205" y="1065"/>
                    </a:lnTo>
                    <a:close/>
                    <a:moveTo>
                      <a:pt x="1198" y="1068"/>
                    </a:moveTo>
                    <a:lnTo>
                      <a:pt x="1202" y="1068"/>
                    </a:lnTo>
                    <a:lnTo>
                      <a:pt x="1202" y="1071"/>
                    </a:lnTo>
                    <a:lnTo>
                      <a:pt x="1198" y="1071"/>
                    </a:lnTo>
                    <a:lnTo>
                      <a:pt x="1198" y="1068"/>
                    </a:lnTo>
                    <a:close/>
                    <a:moveTo>
                      <a:pt x="1210" y="1022"/>
                    </a:moveTo>
                    <a:lnTo>
                      <a:pt x="1210" y="1024"/>
                    </a:lnTo>
                    <a:lnTo>
                      <a:pt x="1210" y="1022"/>
                    </a:lnTo>
                    <a:lnTo>
                      <a:pt x="1208" y="1022"/>
                    </a:lnTo>
                    <a:lnTo>
                      <a:pt x="1208" y="1020"/>
                    </a:lnTo>
                    <a:lnTo>
                      <a:pt x="1208" y="1019"/>
                    </a:lnTo>
                    <a:lnTo>
                      <a:pt x="1210" y="1019"/>
                    </a:lnTo>
                    <a:lnTo>
                      <a:pt x="1210" y="1020"/>
                    </a:lnTo>
                    <a:lnTo>
                      <a:pt x="1210" y="1022"/>
                    </a:lnTo>
                    <a:close/>
                    <a:moveTo>
                      <a:pt x="1178" y="1383"/>
                    </a:moveTo>
                    <a:lnTo>
                      <a:pt x="1181" y="1383"/>
                    </a:lnTo>
                    <a:lnTo>
                      <a:pt x="1181" y="1386"/>
                    </a:lnTo>
                    <a:lnTo>
                      <a:pt x="1178" y="1386"/>
                    </a:lnTo>
                    <a:lnTo>
                      <a:pt x="1178" y="1383"/>
                    </a:lnTo>
                    <a:close/>
                    <a:moveTo>
                      <a:pt x="1205" y="1104"/>
                    </a:moveTo>
                    <a:lnTo>
                      <a:pt x="1208" y="1104"/>
                    </a:lnTo>
                    <a:lnTo>
                      <a:pt x="1208" y="1107"/>
                    </a:lnTo>
                    <a:lnTo>
                      <a:pt x="1205" y="1107"/>
                    </a:lnTo>
                    <a:lnTo>
                      <a:pt x="1205" y="1104"/>
                    </a:lnTo>
                    <a:close/>
                    <a:moveTo>
                      <a:pt x="1205" y="1053"/>
                    </a:moveTo>
                    <a:lnTo>
                      <a:pt x="1203" y="1054"/>
                    </a:lnTo>
                    <a:lnTo>
                      <a:pt x="1202" y="1054"/>
                    </a:lnTo>
                    <a:lnTo>
                      <a:pt x="1202" y="1053"/>
                    </a:lnTo>
                    <a:lnTo>
                      <a:pt x="1203" y="1053"/>
                    </a:lnTo>
                    <a:lnTo>
                      <a:pt x="1205" y="1053"/>
                    </a:lnTo>
                    <a:close/>
                    <a:moveTo>
                      <a:pt x="1191" y="1396"/>
                    </a:moveTo>
                    <a:lnTo>
                      <a:pt x="1193" y="1396"/>
                    </a:lnTo>
                    <a:lnTo>
                      <a:pt x="1193" y="1400"/>
                    </a:lnTo>
                    <a:lnTo>
                      <a:pt x="1191" y="1400"/>
                    </a:lnTo>
                    <a:lnTo>
                      <a:pt x="1191" y="1396"/>
                    </a:lnTo>
                    <a:close/>
                    <a:moveTo>
                      <a:pt x="1224" y="1556"/>
                    </a:moveTo>
                    <a:lnTo>
                      <a:pt x="1224" y="1558"/>
                    </a:lnTo>
                    <a:lnTo>
                      <a:pt x="1224" y="1556"/>
                    </a:lnTo>
                    <a:lnTo>
                      <a:pt x="1224" y="1558"/>
                    </a:lnTo>
                    <a:lnTo>
                      <a:pt x="1222" y="1558"/>
                    </a:lnTo>
                    <a:lnTo>
                      <a:pt x="1220" y="1558"/>
                    </a:lnTo>
                    <a:lnTo>
                      <a:pt x="1222" y="1558"/>
                    </a:lnTo>
                    <a:lnTo>
                      <a:pt x="1224" y="1556"/>
                    </a:lnTo>
                    <a:lnTo>
                      <a:pt x="1222" y="1558"/>
                    </a:lnTo>
                    <a:lnTo>
                      <a:pt x="1220" y="1558"/>
                    </a:lnTo>
                    <a:lnTo>
                      <a:pt x="1222" y="1556"/>
                    </a:lnTo>
                    <a:lnTo>
                      <a:pt x="1224" y="1556"/>
                    </a:lnTo>
                    <a:close/>
                    <a:moveTo>
                      <a:pt x="1356" y="1663"/>
                    </a:moveTo>
                    <a:lnTo>
                      <a:pt x="1358" y="1663"/>
                    </a:lnTo>
                    <a:lnTo>
                      <a:pt x="1356" y="1665"/>
                    </a:lnTo>
                    <a:lnTo>
                      <a:pt x="1355" y="1665"/>
                    </a:lnTo>
                    <a:lnTo>
                      <a:pt x="1356" y="1667"/>
                    </a:lnTo>
                    <a:lnTo>
                      <a:pt x="1355" y="1665"/>
                    </a:lnTo>
                    <a:lnTo>
                      <a:pt x="1355" y="1663"/>
                    </a:lnTo>
                    <a:lnTo>
                      <a:pt x="1356" y="1663"/>
                    </a:lnTo>
                    <a:close/>
                    <a:moveTo>
                      <a:pt x="1183" y="1464"/>
                    </a:moveTo>
                    <a:lnTo>
                      <a:pt x="1186" y="1464"/>
                    </a:lnTo>
                    <a:lnTo>
                      <a:pt x="1186" y="1468"/>
                    </a:lnTo>
                    <a:lnTo>
                      <a:pt x="1183" y="1468"/>
                    </a:lnTo>
                    <a:lnTo>
                      <a:pt x="1183" y="1464"/>
                    </a:lnTo>
                    <a:close/>
                    <a:moveTo>
                      <a:pt x="1268" y="1614"/>
                    </a:moveTo>
                    <a:lnTo>
                      <a:pt x="1271" y="1614"/>
                    </a:lnTo>
                    <a:lnTo>
                      <a:pt x="1271" y="1619"/>
                    </a:lnTo>
                    <a:lnTo>
                      <a:pt x="1268" y="1619"/>
                    </a:lnTo>
                    <a:lnTo>
                      <a:pt x="1268" y="1614"/>
                    </a:lnTo>
                    <a:close/>
                    <a:moveTo>
                      <a:pt x="1202" y="1544"/>
                    </a:moveTo>
                    <a:lnTo>
                      <a:pt x="1203" y="1544"/>
                    </a:lnTo>
                    <a:lnTo>
                      <a:pt x="1203" y="1546"/>
                    </a:lnTo>
                    <a:lnTo>
                      <a:pt x="1202" y="1546"/>
                    </a:lnTo>
                    <a:lnTo>
                      <a:pt x="1202" y="1544"/>
                    </a:lnTo>
                    <a:close/>
                    <a:moveTo>
                      <a:pt x="1176" y="1487"/>
                    </a:moveTo>
                    <a:lnTo>
                      <a:pt x="1179" y="1487"/>
                    </a:lnTo>
                    <a:lnTo>
                      <a:pt x="1179" y="1488"/>
                    </a:lnTo>
                    <a:lnTo>
                      <a:pt x="1176" y="1488"/>
                    </a:lnTo>
                    <a:lnTo>
                      <a:pt x="1176" y="1487"/>
                    </a:lnTo>
                    <a:close/>
                    <a:moveTo>
                      <a:pt x="1181" y="1328"/>
                    </a:moveTo>
                    <a:lnTo>
                      <a:pt x="1183" y="1328"/>
                    </a:lnTo>
                    <a:lnTo>
                      <a:pt x="1183" y="1333"/>
                    </a:lnTo>
                    <a:lnTo>
                      <a:pt x="1181" y="1333"/>
                    </a:lnTo>
                    <a:lnTo>
                      <a:pt x="1181" y="1328"/>
                    </a:lnTo>
                    <a:close/>
                    <a:moveTo>
                      <a:pt x="1200" y="1080"/>
                    </a:moveTo>
                    <a:lnTo>
                      <a:pt x="1202" y="1080"/>
                    </a:lnTo>
                    <a:lnTo>
                      <a:pt x="1202" y="1082"/>
                    </a:lnTo>
                    <a:lnTo>
                      <a:pt x="1200" y="1082"/>
                    </a:lnTo>
                    <a:lnTo>
                      <a:pt x="1200" y="1080"/>
                    </a:lnTo>
                    <a:close/>
                    <a:moveTo>
                      <a:pt x="1171" y="1252"/>
                    </a:moveTo>
                    <a:lnTo>
                      <a:pt x="1173" y="1252"/>
                    </a:lnTo>
                    <a:lnTo>
                      <a:pt x="1173" y="1257"/>
                    </a:lnTo>
                    <a:lnTo>
                      <a:pt x="1171" y="1257"/>
                    </a:lnTo>
                    <a:lnTo>
                      <a:pt x="1171" y="1252"/>
                    </a:lnTo>
                    <a:close/>
                    <a:moveTo>
                      <a:pt x="1217" y="1082"/>
                    </a:moveTo>
                    <a:lnTo>
                      <a:pt x="1220" y="1082"/>
                    </a:lnTo>
                    <a:lnTo>
                      <a:pt x="1220" y="1085"/>
                    </a:lnTo>
                    <a:lnTo>
                      <a:pt x="1217" y="1085"/>
                    </a:lnTo>
                    <a:lnTo>
                      <a:pt x="1217" y="1082"/>
                    </a:lnTo>
                    <a:close/>
                    <a:moveTo>
                      <a:pt x="1162" y="1407"/>
                    </a:moveTo>
                    <a:lnTo>
                      <a:pt x="1164" y="1407"/>
                    </a:lnTo>
                    <a:lnTo>
                      <a:pt x="1162" y="1408"/>
                    </a:lnTo>
                    <a:lnTo>
                      <a:pt x="1161" y="1408"/>
                    </a:lnTo>
                    <a:lnTo>
                      <a:pt x="1161" y="1407"/>
                    </a:lnTo>
                    <a:lnTo>
                      <a:pt x="1162" y="1407"/>
                    </a:lnTo>
                    <a:close/>
                    <a:moveTo>
                      <a:pt x="1149" y="1373"/>
                    </a:moveTo>
                    <a:lnTo>
                      <a:pt x="1152" y="1373"/>
                    </a:lnTo>
                    <a:lnTo>
                      <a:pt x="1152" y="1376"/>
                    </a:lnTo>
                    <a:lnTo>
                      <a:pt x="1149" y="1376"/>
                    </a:lnTo>
                    <a:lnTo>
                      <a:pt x="1149" y="1373"/>
                    </a:lnTo>
                    <a:close/>
                    <a:moveTo>
                      <a:pt x="1217" y="985"/>
                    </a:moveTo>
                    <a:lnTo>
                      <a:pt x="1220" y="985"/>
                    </a:lnTo>
                    <a:lnTo>
                      <a:pt x="1220" y="986"/>
                    </a:lnTo>
                    <a:lnTo>
                      <a:pt x="1217" y="986"/>
                    </a:lnTo>
                    <a:lnTo>
                      <a:pt x="1217" y="985"/>
                    </a:lnTo>
                    <a:close/>
                    <a:moveTo>
                      <a:pt x="1161" y="1356"/>
                    </a:moveTo>
                    <a:lnTo>
                      <a:pt x="1162" y="1356"/>
                    </a:lnTo>
                    <a:lnTo>
                      <a:pt x="1162" y="1361"/>
                    </a:lnTo>
                    <a:lnTo>
                      <a:pt x="1161" y="1361"/>
                    </a:lnTo>
                    <a:lnTo>
                      <a:pt x="1161" y="1356"/>
                    </a:lnTo>
                    <a:close/>
                    <a:moveTo>
                      <a:pt x="1154" y="1364"/>
                    </a:moveTo>
                    <a:lnTo>
                      <a:pt x="1157" y="1364"/>
                    </a:lnTo>
                    <a:lnTo>
                      <a:pt x="1157" y="1367"/>
                    </a:lnTo>
                    <a:lnTo>
                      <a:pt x="1154" y="1367"/>
                    </a:lnTo>
                    <a:lnTo>
                      <a:pt x="1154" y="1364"/>
                    </a:lnTo>
                    <a:close/>
                    <a:moveTo>
                      <a:pt x="1365" y="1650"/>
                    </a:moveTo>
                    <a:lnTo>
                      <a:pt x="1366" y="1650"/>
                    </a:lnTo>
                    <a:lnTo>
                      <a:pt x="1366" y="1653"/>
                    </a:lnTo>
                    <a:lnTo>
                      <a:pt x="1365" y="1653"/>
                    </a:lnTo>
                    <a:lnTo>
                      <a:pt x="1365" y="1650"/>
                    </a:lnTo>
                    <a:close/>
                    <a:moveTo>
                      <a:pt x="1246" y="1590"/>
                    </a:moveTo>
                    <a:lnTo>
                      <a:pt x="1246" y="1589"/>
                    </a:lnTo>
                    <a:lnTo>
                      <a:pt x="1247" y="1590"/>
                    </a:lnTo>
                    <a:lnTo>
                      <a:pt x="1249" y="1592"/>
                    </a:lnTo>
                    <a:lnTo>
                      <a:pt x="1247" y="1592"/>
                    </a:lnTo>
                    <a:lnTo>
                      <a:pt x="1247" y="1590"/>
                    </a:lnTo>
                    <a:lnTo>
                      <a:pt x="1246" y="1590"/>
                    </a:lnTo>
                    <a:lnTo>
                      <a:pt x="1244" y="1590"/>
                    </a:lnTo>
                    <a:lnTo>
                      <a:pt x="1246" y="1590"/>
                    </a:lnTo>
                    <a:lnTo>
                      <a:pt x="1246" y="1589"/>
                    </a:lnTo>
                    <a:lnTo>
                      <a:pt x="1246" y="1590"/>
                    </a:lnTo>
                    <a:close/>
                    <a:moveTo>
                      <a:pt x="1202" y="1090"/>
                    </a:moveTo>
                    <a:lnTo>
                      <a:pt x="1203" y="1092"/>
                    </a:lnTo>
                    <a:lnTo>
                      <a:pt x="1202" y="1092"/>
                    </a:lnTo>
                    <a:lnTo>
                      <a:pt x="1200" y="1092"/>
                    </a:lnTo>
                    <a:lnTo>
                      <a:pt x="1198" y="1092"/>
                    </a:lnTo>
                    <a:lnTo>
                      <a:pt x="1200" y="1092"/>
                    </a:lnTo>
                    <a:lnTo>
                      <a:pt x="1200" y="1090"/>
                    </a:lnTo>
                    <a:lnTo>
                      <a:pt x="1202" y="1090"/>
                    </a:lnTo>
                    <a:close/>
                    <a:moveTo>
                      <a:pt x="1185" y="1524"/>
                    </a:moveTo>
                    <a:lnTo>
                      <a:pt x="1186" y="1524"/>
                    </a:lnTo>
                    <a:lnTo>
                      <a:pt x="1186" y="1527"/>
                    </a:lnTo>
                    <a:lnTo>
                      <a:pt x="1185" y="1527"/>
                    </a:lnTo>
                    <a:lnTo>
                      <a:pt x="1185" y="1524"/>
                    </a:lnTo>
                    <a:close/>
                    <a:moveTo>
                      <a:pt x="1210" y="1058"/>
                    </a:moveTo>
                    <a:lnTo>
                      <a:pt x="1212" y="1058"/>
                    </a:lnTo>
                    <a:lnTo>
                      <a:pt x="1212" y="1061"/>
                    </a:lnTo>
                    <a:lnTo>
                      <a:pt x="1210" y="1061"/>
                    </a:lnTo>
                    <a:lnTo>
                      <a:pt x="1210" y="1058"/>
                    </a:lnTo>
                    <a:close/>
                    <a:moveTo>
                      <a:pt x="1246" y="964"/>
                    </a:moveTo>
                    <a:lnTo>
                      <a:pt x="1247" y="964"/>
                    </a:lnTo>
                    <a:lnTo>
                      <a:pt x="1247" y="968"/>
                    </a:lnTo>
                    <a:lnTo>
                      <a:pt x="1246" y="968"/>
                    </a:lnTo>
                    <a:lnTo>
                      <a:pt x="1246" y="964"/>
                    </a:lnTo>
                    <a:close/>
                    <a:moveTo>
                      <a:pt x="1186" y="1027"/>
                    </a:moveTo>
                    <a:lnTo>
                      <a:pt x="1188" y="1027"/>
                    </a:lnTo>
                    <a:lnTo>
                      <a:pt x="1188" y="1031"/>
                    </a:lnTo>
                    <a:lnTo>
                      <a:pt x="1186" y="1031"/>
                    </a:lnTo>
                    <a:lnTo>
                      <a:pt x="1186" y="1027"/>
                    </a:lnTo>
                    <a:close/>
                    <a:moveTo>
                      <a:pt x="1144" y="1322"/>
                    </a:moveTo>
                    <a:lnTo>
                      <a:pt x="1147" y="1322"/>
                    </a:lnTo>
                    <a:lnTo>
                      <a:pt x="1147" y="1325"/>
                    </a:lnTo>
                    <a:lnTo>
                      <a:pt x="1144" y="1325"/>
                    </a:lnTo>
                    <a:lnTo>
                      <a:pt x="1144" y="1322"/>
                    </a:lnTo>
                    <a:close/>
                    <a:moveTo>
                      <a:pt x="1202" y="1536"/>
                    </a:moveTo>
                    <a:lnTo>
                      <a:pt x="1202" y="1538"/>
                    </a:lnTo>
                    <a:lnTo>
                      <a:pt x="1202" y="1536"/>
                    </a:lnTo>
                    <a:lnTo>
                      <a:pt x="1203" y="1538"/>
                    </a:lnTo>
                    <a:lnTo>
                      <a:pt x="1202" y="1538"/>
                    </a:lnTo>
                    <a:lnTo>
                      <a:pt x="1200" y="1536"/>
                    </a:lnTo>
                    <a:lnTo>
                      <a:pt x="1202" y="1536"/>
                    </a:lnTo>
                    <a:close/>
                    <a:moveTo>
                      <a:pt x="1368" y="1663"/>
                    </a:moveTo>
                    <a:lnTo>
                      <a:pt x="1372" y="1663"/>
                    </a:lnTo>
                    <a:lnTo>
                      <a:pt x="1372" y="1665"/>
                    </a:lnTo>
                    <a:lnTo>
                      <a:pt x="1368" y="1665"/>
                    </a:lnTo>
                    <a:lnTo>
                      <a:pt x="1368" y="1663"/>
                    </a:lnTo>
                    <a:close/>
                    <a:moveTo>
                      <a:pt x="1307" y="1640"/>
                    </a:moveTo>
                    <a:lnTo>
                      <a:pt x="1310" y="1640"/>
                    </a:lnTo>
                    <a:lnTo>
                      <a:pt x="1310" y="1643"/>
                    </a:lnTo>
                    <a:lnTo>
                      <a:pt x="1307" y="1643"/>
                    </a:lnTo>
                    <a:lnTo>
                      <a:pt x="1307" y="1640"/>
                    </a:lnTo>
                    <a:close/>
                    <a:moveTo>
                      <a:pt x="1188" y="1058"/>
                    </a:moveTo>
                    <a:lnTo>
                      <a:pt x="1190" y="1058"/>
                    </a:lnTo>
                    <a:lnTo>
                      <a:pt x="1191" y="1058"/>
                    </a:lnTo>
                    <a:lnTo>
                      <a:pt x="1190" y="1060"/>
                    </a:lnTo>
                    <a:lnTo>
                      <a:pt x="1188" y="1060"/>
                    </a:lnTo>
                    <a:lnTo>
                      <a:pt x="1186" y="1058"/>
                    </a:lnTo>
                    <a:lnTo>
                      <a:pt x="1188" y="1058"/>
                    </a:lnTo>
                    <a:close/>
                    <a:moveTo>
                      <a:pt x="1178" y="1485"/>
                    </a:moveTo>
                    <a:lnTo>
                      <a:pt x="1181" y="1485"/>
                    </a:lnTo>
                    <a:lnTo>
                      <a:pt x="1181" y="1487"/>
                    </a:lnTo>
                    <a:lnTo>
                      <a:pt x="1178" y="1487"/>
                    </a:lnTo>
                    <a:lnTo>
                      <a:pt x="1178" y="1485"/>
                    </a:lnTo>
                    <a:close/>
                    <a:moveTo>
                      <a:pt x="1210" y="1551"/>
                    </a:moveTo>
                    <a:lnTo>
                      <a:pt x="1213" y="1551"/>
                    </a:lnTo>
                    <a:lnTo>
                      <a:pt x="1213" y="1555"/>
                    </a:lnTo>
                    <a:lnTo>
                      <a:pt x="1210" y="1555"/>
                    </a:lnTo>
                    <a:lnTo>
                      <a:pt x="1210" y="1551"/>
                    </a:lnTo>
                    <a:close/>
                    <a:moveTo>
                      <a:pt x="1360" y="1667"/>
                    </a:moveTo>
                    <a:lnTo>
                      <a:pt x="1361" y="1667"/>
                    </a:lnTo>
                    <a:lnTo>
                      <a:pt x="1361" y="1670"/>
                    </a:lnTo>
                    <a:lnTo>
                      <a:pt x="1360" y="1670"/>
                    </a:lnTo>
                    <a:lnTo>
                      <a:pt x="1360" y="1667"/>
                    </a:lnTo>
                    <a:close/>
                    <a:moveTo>
                      <a:pt x="1210" y="1242"/>
                    </a:moveTo>
                    <a:lnTo>
                      <a:pt x="1213" y="1242"/>
                    </a:lnTo>
                    <a:lnTo>
                      <a:pt x="1213" y="1245"/>
                    </a:lnTo>
                    <a:lnTo>
                      <a:pt x="1210" y="1245"/>
                    </a:lnTo>
                    <a:lnTo>
                      <a:pt x="1210" y="1242"/>
                    </a:lnTo>
                    <a:close/>
                    <a:moveTo>
                      <a:pt x="1200" y="1541"/>
                    </a:moveTo>
                    <a:lnTo>
                      <a:pt x="1203" y="1541"/>
                    </a:lnTo>
                    <a:lnTo>
                      <a:pt x="1203" y="1543"/>
                    </a:lnTo>
                    <a:lnTo>
                      <a:pt x="1200" y="1543"/>
                    </a:lnTo>
                    <a:lnTo>
                      <a:pt x="1200" y="1541"/>
                    </a:lnTo>
                    <a:close/>
                    <a:moveTo>
                      <a:pt x="1151" y="1330"/>
                    </a:moveTo>
                    <a:lnTo>
                      <a:pt x="1154" y="1330"/>
                    </a:lnTo>
                    <a:lnTo>
                      <a:pt x="1154" y="1333"/>
                    </a:lnTo>
                    <a:lnTo>
                      <a:pt x="1151" y="1333"/>
                    </a:lnTo>
                    <a:lnTo>
                      <a:pt x="1151" y="1330"/>
                    </a:lnTo>
                    <a:close/>
                    <a:moveTo>
                      <a:pt x="1205" y="1080"/>
                    </a:moveTo>
                    <a:lnTo>
                      <a:pt x="1207" y="1080"/>
                    </a:lnTo>
                    <a:lnTo>
                      <a:pt x="1207" y="1082"/>
                    </a:lnTo>
                    <a:lnTo>
                      <a:pt x="1205" y="1082"/>
                    </a:lnTo>
                    <a:lnTo>
                      <a:pt x="1205" y="1080"/>
                    </a:lnTo>
                    <a:close/>
                    <a:moveTo>
                      <a:pt x="1225" y="1580"/>
                    </a:moveTo>
                    <a:lnTo>
                      <a:pt x="1227" y="1580"/>
                    </a:lnTo>
                    <a:lnTo>
                      <a:pt x="1227" y="1583"/>
                    </a:lnTo>
                    <a:lnTo>
                      <a:pt x="1225" y="1583"/>
                    </a:lnTo>
                    <a:lnTo>
                      <a:pt x="1225" y="1580"/>
                    </a:lnTo>
                    <a:close/>
                    <a:moveTo>
                      <a:pt x="1195" y="1146"/>
                    </a:moveTo>
                    <a:lnTo>
                      <a:pt x="1195" y="1148"/>
                    </a:lnTo>
                    <a:lnTo>
                      <a:pt x="1193" y="1148"/>
                    </a:lnTo>
                    <a:lnTo>
                      <a:pt x="1191" y="1146"/>
                    </a:lnTo>
                    <a:lnTo>
                      <a:pt x="1193" y="1146"/>
                    </a:lnTo>
                    <a:lnTo>
                      <a:pt x="1195" y="1146"/>
                    </a:lnTo>
                    <a:close/>
                    <a:moveTo>
                      <a:pt x="1290" y="1616"/>
                    </a:moveTo>
                    <a:lnTo>
                      <a:pt x="1288" y="1618"/>
                    </a:lnTo>
                    <a:lnTo>
                      <a:pt x="1287" y="1616"/>
                    </a:lnTo>
                    <a:lnTo>
                      <a:pt x="1288" y="1616"/>
                    </a:lnTo>
                    <a:lnTo>
                      <a:pt x="1290" y="1616"/>
                    </a:lnTo>
                    <a:lnTo>
                      <a:pt x="1288" y="1616"/>
                    </a:lnTo>
                    <a:lnTo>
                      <a:pt x="1290" y="1616"/>
                    </a:lnTo>
                    <a:close/>
                    <a:moveTo>
                      <a:pt x="1171" y="1366"/>
                    </a:moveTo>
                    <a:lnTo>
                      <a:pt x="1174" y="1366"/>
                    </a:lnTo>
                    <a:lnTo>
                      <a:pt x="1174" y="1369"/>
                    </a:lnTo>
                    <a:lnTo>
                      <a:pt x="1171" y="1369"/>
                    </a:lnTo>
                    <a:lnTo>
                      <a:pt x="1171" y="1366"/>
                    </a:lnTo>
                    <a:close/>
                    <a:moveTo>
                      <a:pt x="1176" y="1447"/>
                    </a:moveTo>
                    <a:lnTo>
                      <a:pt x="1178" y="1447"/>
                    </a:lnTo>
                    <a:lnTo>
                      <a:pt x="1178" y="1451"/>
                    </a:lnTo>
                    <a:lnTo>
                      <a:pt x="1176" y="1451"/>
                    </a:lnTo>
                    <a:lnTo>
                      <a:pt x="1176" y="1447"/>
                    </a:lnTo>
                    <a:close/>
                    <a:moveTo>
                      <a:pt x="1198" y="1157"/>
                    </a:moveTo>
                    <a:lnTo>
                      <a:pt x="1200" y="1157"/>
                    </a:lnTo>
                    <a:lnTo>
                      <a:pt x="1200" y="1158"/>
                    </a:lnTo>
                    <a:lnTo>
                      <a:pt x="1198" y="1158"/>
                    </a:lnTo>
                    <a:lnTo>
                      <a:pt x="1198" y="1157"/>
                    </a:lnTo>
                    <a:close/>
                    <a:moveTo>
                      <a:pt x="1312" y="1633"/>
                    </a:moveTo>
                    <a:lnTo>
                      <a:pt x="1314" y="1633"/>
                    </a:lnTo>
                    <a:lnTo>
                      <a:pt x="1314" y="1635"/>
                    </a:lnTo>
                    <a:lnTo>
                      <a:pt x="1314" y="1633"/>
                    </a:lnTo>
                    <a:lnTo>
                      <a:pt x="1312" y="1633"/>
                    </a:lnTo>
                    <a:lnTo>
                      <a:pt x="1314" y="1635"/>
                    </a:lnTo>
                    <a:lnTo>
                      <a:pt x="1312" y="1635"/>
                    </a:lnTo>
                    <a:lnTo>
                      <a:pt x="1310" y="1635"/>
                    </a:lnTo>
                    <a:lnTo>
                      <a:pt x="1310" y="1633"/>
                    </a:lnTo>
                    <a:lnTo>
                      <a:pt x="1312" y="1633"/>
                    </a:lnTo>
                    <a:close/>
                    <a:moveTo>
                      <a:pt x="1186" y="1279"/>
                    </a:moveTo>
                    <a:lnTo>
                      <a:pt x="1185" y="1279"/>
                    </a:lnTo>
                    <a:lnTo>
                      <a:pt x="1185" y="1281"/>
                    </a:lnTo>
                    <a:lnTo>
                      <a:pt x="1183" y="1281"/>
                    </a:lnTo>
                    <a:lnTo>
                      <a:pt x="1183" y="1279"/>
                    </a:lnTo>
                    <a:lnTo>
                      <a:pt x="1185" y="1279"/>
                    </a:lnTo>
                    <a:lnTo>
                      <a:pt x="1183" y="1279"/>
                    </a:lnTo>
                    <a:lnTo>
                      <a:pt x="1185" y="1279"/>
                    </a:lnTo>
                    <a:lnTo>
                      <a:pt x="1186" y="1277"/>
                    </a:lnTo>
                    <a:lnTo>
                      <a:pt x="1188" y="1277"/>
                    </a:lnTo>
                    <a:lnTo>
                      <a:pt x="1186" y="1279"/>
                    </a:lnTo>
                    <a:close/>
                    <a:moveTo>
                      <a:pt x="1156" y="1185"/>
                    </a:moveTo>
                    <a:lnTo>
                      <a:pt x="1157" y="1185"/>
                    </a:lnTo>
                    <a:lnTo>
                      <a:pt x="1157" y="1189"/>
                    </a:lnTo>
                    <a:lnTo>
                      <a:pt x="1156" y="1189"/>
                    </a:lnTo>
                    <a:lnTo>
                      <a:pt x="1156" y="1185"/>
                    </a:lnTo>
                    <a:close/>
                    <a:moveTo>
                      <a:pt x="1183" y="1476"/>
                    </a:moveTo>
                    <a:lnTo>
                      <a:pt x="1186" y="1476"/>
                    </a:lnTo>
                    <a:lnTo>
                      <a:pt x="1186" y="1478"/>
                    </a:lnTo>
                    <a:lnTo>
                      <a:pt x="1183" y="1478"/>
                    </a:lnTo>
                    <a:lnTo>
                      <a:pt x="1183" y="1476"/>
                    </a:lnTo>
                    <a:close/>
                    <a:moveTo>
                      <a:pt x="1217" y="1500"/>
                    </a:moveTo>
                    <a:lnTo>
                      <a:pt x="1219" y="1500"/>
                    </a:lnTo>
                    <a:lnTo>
                      <a:pt x="1219" y="1504"/>
                    </a:lnTo>
                    <a:lnTo>
                      <a:pt x="1217" y="1504"/>
                    </a:lnTo>
                    <a:lnTo>
                      <a:pt x="1217" y="1500"/>
                    </a:lnTo>
                    <a:close/>
                    <a:moveTo>
                      <a:pt x="1213" y="1556"/>
                    </a:moveTo>
                    <a:lnTo>
                      <a:pt x="1215" y="1556"/>
                    </a:lnTo>
                    <a:lnTo>
                      <a:pt x="1215" y="1558"/>
                    </a:lnTo>
                    <a:lnTo>
                      <a:pt x="1213" y="1558"/>
                    </a:lnTo>
                    <a:lnTo>
                      <a:pt x="1213" y="1556"/>
                    </a:lnTo>
                    <a:close/>
                    <a:moveTo>
                      <a:pt x="1315" y="1633"/>
                    </a:moveTo>
                    <a:lnTo>
                      <a:pt x="1319" y="1633"/>
                    </a:lnTo>
                    <a:lnTo>
                      <a:pt x="1319" y="1636"/>
                    </a:lnTo>
                    <a:lnTo>
                      <a:pt x="1315" y="1636"/>
                    </a:lnTo>
                    <a:lnTo>
                      <a:pt x="1315" y="1633"/>
                    </a:lnTo>
                    <a:close/>
                    <a:moveTo>
                      <a:pt x="1229" y="1585"/>
                    </a:moveTo>
                    <a:lnTo>
                      <a:pt x="1232" y="1585"/>
                    </a:lnTo>
                    <a:lnTo>
                      <a:pt x="1232" y="1587"/>
                    </a:lnTo>
                    <a:lnTo>
                      <a:pt x="1229" y="1587"/>
                    </a:lnTo>
                    <a:lnTo>
                      <a:pt x="1229" y="1585"/>
                    </a:lnTo>
                    <a:close/>
                    <a:moveTo>
                      <a:pt x="1378" y="1662"/>
                    </a:moveTo>
                    <a:lnTo>
                      <a:pt x="1382" y="1662"/>
                    </a:lnTo>
                    <a:lnTo>
                      <a:pt x="1382" y="1667"/>
                    </a:lnTo>
                    <a:lnTo>
                      <a:pt x="1378" y="1667"/>
                    </a:lnTo>
                    <a:lnTo>
                      <a:pt x="1378" y="1662"/>
                    </a:lnTo>
                    <a:close/>
                    <a:moveTo>
                      <a:pt x="1227" y="992"/>
                    </a:moveTo>
                    <a:lnTo>
                      <a:pt x="1230" y="992"/>
                    </a:lnTo>
                    <a:lnTo>
                      <a:pt x="1230" y="995"/>
                    </a:lnTo>
                    <a:lnTo>
                      <a:pt x="1227" y="995"/>
                    </a:lnTo>
                    <a:lnTo>
                      <a:pt x="1227" y="992"/>
                    </a:lnTo>
                    <a:close/>
                    <a:moveTo>
                      <a:pt x="1166" y="1432"/>
                    </a:moveTo>
                    <a:lnTo>
                      <a:pt x="1168" y="1432"/>
                    </a:lnTo>
                    <a:lnTo>
                      <a:pt x="1168" y="1435"/>
                    </a:lnTo>
                    <a:lnTo>
                      <a:pt x="1166" y="1435"/>
                    </a:lnTo>
                    <a:lnTo>
                      <a:pt x="1166" y="1432"/>
                    </a:lnTo>
                    <a:close/>
                    <a:moveTo>
                      <a:pt x="1241" y="1587"/>
                    </a:moveTo>
                    <a:lnTo>
                      <a:pt x="1242" y="1587"/>
                    </a:lnTo>
                    <a:lnTo>
                      <a:pt x="1242" y="1590"/>
                    </a:lnTo>
                    <a:lnTo>
                      <a:pt x="1241" y="1590"/>
                    </a:lnTo>
                    <a:lnTo>
                      <a:pt x="1241" y="1587"/>
                    </a:lnTo>
                    <a:close/>
                    <a:moveTo>
                      <a:pt x="1179" y="1136"/>
                    </a:moveTo>
                    <a:lnTo>
                      <a:pt x="1181" y="1136"/>
                    </a:lnTo>
                    <a:lnTo>
                      <a:pt x="1181" y="1140"/>
                    </a:lnTo>
                    <a:lnTo>
                      <a:pt x="1179" y="1140"/>
                    </a:lnTo>
                    <a:lnTo>
                      <a:pt x="1179" y="1136"/>
                    </a:lnTo>
                    <a:close/>
                    <a:moveTo>
                      <a:pt x="1220" y="978"/>
                    </a:moveTo>
                    <a:lnTo>
                      <a:pt x="1222" y="978"/>
                    </a:lnTo>
                    <a:lnTo>
                      <a:pt x="1222" y="980"/>
                    </a:lnTo>
                    <a:lnTo>
                      <a:pt x="1220" y="980"/>
                    </a:lnTo>
                    <a:lnTo>
                      <a:pt x="1220" y="978"/>
                    </a:lnTo>
                    <a:close/>
                    <a:moveTo>
                      <a:pt x="1215" y="1505"/>
                    </a:moveTo>
                    <a:lnTo>
                      <a:pt x="1217" y="1505"/>
                    </a:lnTo>
                    <a:lnTo>
                      <a:pt x="1215" y="1507"/>
                    </a:lnTo>
                    <a:lnTo>
                      <a:pt x="1215" y="1505"/>
                    </a:lnTo>
                    <a:lnTo>
                      <a:pt x="1215" y="1507"/>
                    </a:lnTo>
                    <a:lnTo>
                      <a:pt x="1213" y="1505"/>
                    </a:lnTo>
                    <a:lnTo>
                      <a:pt x="1212" y="1505"/>
                    </a:lnTo>
                    <a:lnTo>
                      <a:pt x="1213" y="1505"/>
                    </a:lnTo>
                    <a:lnTo>
                      <a:pt x="1215" y="1505"/>
                    </a:lnTo>
                    <a:lnTo>
                      <a:pt x="1215" y="1507"/>
                    </a:lnTo>
                    <a:lnTo>
                      <a:pt x="1215" y="1505"/>
                    </a:lnTo>
                    <a:close/>
                    <a:moveTo>
                      <a:pt x="1389" y="1633"/>
                    </a:moveTo>
                    <a:lnTo>
                      <a:pt x="1392" y="1633"/>
                    </a:lnTo>
                    <a:lnTo>
                      <a:pt x="1392" y="1635"/>
                    </a:lnTo>
                    <a:lnTo>
                      <a:pt x="1389" y="1635"/>
                    </a:lnTo>
                    <a:lnTo>
                      <a:pt x="1389" y="1633"/>
                    </a:lnTo>
                    <a:close/>
                    <a:moveTo>
                      <a:pt x="1275" y="1597"/>
                    </a:moveTo>
                    <a:lnTo>
                      <a:pt x="1276" y="1597"/>
                    </a:lnTo>
                    <a:lnTo>
                      <a:pt x="1276" y="1600"/>
                    </a:lnTo>
                    <a:lnTo>
                      <a:pt x="1275" y="1600"/>
                    </a:lnTo>
                    <a:lnTo>
                      <a:pt x="1275" y="1597"/>
                    </a:lnTo>
                    <a:close/>
                    <a:moveTo>
                      <a:pt x="1399" y="1645"/>
                    </a:moveTo>
                    <a:lnTo>
                      <a:pt x="1402" y="1645"/>
                    </a:lnTo>
                    <a:lnTo>
                      <a:pt x="1402" y="1648"/>
                    </a:lnTo>
                    <a:lnTo>
                      <a:pt x="1399" y="1648"/>
                    </a:lnTo>
                    <a:lnTo>
                      <a:pt x="1399" y="1645"/>
                    </a:lnTo>
                    <a:close/>
                    <a:moveTo>
                      <a:pt x="1178" y="1138"/>
                    </a:moveTo>
                    <a:lnTo>
                      <a:pt x="1179" y="1138"/>
                    </a:lnTo>
                    <a:lnTo>
                      <a:pt x="1179" y="1141"/>
                    </a:lnTo>
                    <a:lnTo>
                      <a:pt x="1178" y="1141"/>
                    </a:lnTo>
                    <a:lnTo>
                      <a:pt x="1178" y="1138"/>
                    </a:lnTo>
                    <a:close/>
                    <a:moveTo>
                      <a:pt x="1229" y="944"/>
                    </a:moveTo>
                    <a:lnTo>
                      <a:pt x="1232" y="944"/>
                    </a:lnTo>
                    <a:lnTo>
                      <a:pt x="1232" y="946"/>
                    </a:lnTo>
                    <a:lnTo>
                      <a:pt x="1229" y="946"/>
                    </a:lnTo>
                    <a:lnTo>
                      <a:pt x="1229" y="944"/>
                    </a:lnTo>
                    <a:close/>
                    <a:moveTo>
                      <a:pt x="1183" y="1427"/>
                    </a:moveTo>
                    <a:lnTo>
                      <a:pt x="1186" y="1427"/>
                    </a:lnTo>
                    <a:lnTo>
                      <a:pt x="1186" y="1429"/>
                    </a:lnTo>
                    <a:lnTo>
                      <a:pt x="1183" y="1429"/>
                    </a:lnTo>
                    <a:lnTo>
                      <a:pt x="1183" y="1427"/>
                    </a:lnTo>
                    <a:close/>
                    <a:moveTo>
                      <a:pt x="1196" y="1150"/>
                    </a:moveTo>
                    <a:lnTo>
                      <a:pt x="1198" y="1150"/>
                    </a:lnTo>
                    <a:lnTo>
                      <a:pt x="1198" y="1153"/>
                    </a:lnTo>
                    <a:lnTo>
                      <a:pt x="1196" y="1153"/>
                    </a:lnTo>
                    <a:lnTo>
                      <a:pt x="1196" y="1150"/>
                    </a:lnTo>
                    <a:close/>
                    <a:moveTo>
                      <a:pt x="1169" y="1417"/>
                    </a:moveTo>
                    <a:lnTo>
                      <a:pt x="1171" y="1417"/>
                    </a:lnTo>
                    <a:lnTo>
                      <a:pt x="1171" y="1418"/>
                    </a:lnTo>
                    <a:lnTo>
                      <a:pt x="1169" y="1418"/>
                    </a:lnTo>
                    <a:lnTo>
                      <a:pt x="1169" y="1417"/>
                    </a:lnTo>
                    <a:close/>
                    <a:moveTo>
                      <a:pt x="1188" y="1066"/>
                    </a:moveTo>
                    <a:lnTo>
                      <a:pt x="1188" y="1068"/>
                    </a:lnTo>
                    <a:lnTo>
                      <a:pt x="1190" y="1068"/>
                    </a:lnTo>
                    <a:lnTo>
                      <a:pt x="1188" y="1068"/>
                    </a:lnTo>
                    <a:lnTo>
                      <a:pt x="1186" y="1066"/>
                    </a:lnTo>
                    <a:lnTo>
                      <a:pt x="1188" y="1066"/>
                    </a:lnTo>
                    <a:close/>
                    <a:moveTo>
                      <a:pt x="1171" y="1475"/>
                    </a:moveTo>
                    <a:lnTo>
                      <a:pt x="1173" y="1475"/>
                    </a:lnTo>
                    <a:lnTo>
                      <a:pt x="1173" y="1476"/>
                    </a:lnTo>
                    <a:lnTo>
                      <a:pt x="1171" y="1476"/>
                    </a:lnTo>
                    <a:lnTo>
                      <a:pt x="1171" y="1475"/>
                    </a:lnTo>
                    <a:close/>
                    <a:moveTo>
                      <a:pt x="1224" y="1071"/>
                    </a:moveTo>
                    <a:lnTo>
                      <a:pt x="1227" y="1071"/>
                    </a:lnTo>
                    <a:lnTo>
                      <a:pt x="1227" y="1073"/>
                    </a:lnTo>
                    <a:lnTo>
                      <a:pt x="1224" y="1073"/>
                    </a:lnTo>
                    <a:lnTo>
                      <a:pt x="1224" y="1071"/>
                    </a:lnTo>
                    <a:close/>
                    <a:moveTo>
                      <a:pt x="1185" y="1262"/>
                    </a:moveTo>
                    <a:lnTo>
                      <a:pt x="1188" y="1262"/>
                    </a:lnTo>
                    <a:lnTo>
                      <a:pt x="1188" y="1265"/>
                    </a:lnTo>
                    <a:lnTo>
                      <a:pt x="1185" y="1265"/>
                    </a:lnTo>
                    <a:lnTo>
                      <a:pt x="1185" y="1262"/>
                    </a:lnTo>
                    <a:close/>
                    <a:moveTo>
                      <a:pt x="1188" y="1128"/>
                    </a:moveTo>
                    <a:lnTo>
                      <a:pt x="1191" y="1128"/>
                    </a:lnTo>
                    <a:lnTo>
                      <a:pt x="1191" y="1131"/>
                    </a:lnTo>
                    <a:lnTo>
                      <a:pt x="1188" y="1131"/>
                    </a:lnTo>
                    <a:lnTo>
                      <a:pt x="1188" y="1128"/>
                    </a:lnTo>
                    <a:close/>
                    <a:moveTo>
                      <a:pt x="1202" y="1080"/>
                    </a:moveTo>
                    <a:lnTo>
                      <a:pt x="1205" y="1080"/>
                    </a:lnTo>
                    <a:lnTo>
                      <a:pt x="1205" y="1082"/>
                    </a:lnTo>
                    <a:lnTo>
                      <a:pt x="1202" y="1082"/>
                    </a:lnTo>
                    <a:lnTo>
                      <a:pt x="1202" y="1080"/>
                    </a:lnTo>
                    <a:close/>
                    <a:moveTo>
                      <a:pt x="1185" y="1141"/>
                    </a:moveTo>
                    <a:lnTo>
                      <a:pt x="1185" y="1143"/>
                    </a:lnTo>
                    <a:lnTo>
                      <a:pt x="1183" y="1143"/>
                    </a:lnTo>
                    <a:lnTo>
                      <a:pt x="1181" y="1143"/>
                    </a:lnTo>
                    <a:lnTo>
                      <a:pt x="1183" y="1143"/>
                    </a:lnTo>
                    <a:lnTo>
                      <a:pt x="1185" y="1141"/>
                    </a:lnTo>
                    <a:close/>
                    <a:moveTo>
                      <a:pt x="1276" y="1612"/>
                    </a:moveTo>
                    <a:lnTo>
                      <a:pt x="1280" y="1612"/>
                    </a:lnTo>
                    <a:lnTo>
                      <a:pt x="1280" y="1614"/>
                    </a:lnTo>
                    <a:lnTo>
                      <a:pt x="1276" y="1614"/>
                    </a:lnTo>
                    <a:lnTo>
                      <a:pt x="1276" y="1612"/>
                    </a:lnTo>
                    <a:close/>
                    <a:moveTo>
                      <a:pt x="1208" y="1502"/>
                    </a:moveTo>
                    <a:lnTo>
                      <a:pt x="1210" y="1502"/>
                    </a:lnTo>
                    <a:lnTo>
                      <a:pt x="1210" y="1505"/>
                    </a:lnTo>
                    <a:lnTo>
                      <a:pt x="1208" y="1505"/>
                    </a:lnTo>
                    <a:lnTo>
                      <a:pt x="1208" y="1502"/>
                    </a:lnTo>
                    <a:close/>
                    <a:moveTo>
                      <a:pt x="1219" y="1538"/>
                    </a:moveTo>
                    <a:lnTo>
                      <a:pt x="1222" y="1538"/>
                    </a:lnTo>
                    <a:lnTo>
                      <a:pt x="1222" y="1541"/>
                    </a:lnTo>
                    <a:lnTo>
                      <a:pt x="1219" y="1541"/>
                    </a:lnTo>
                    <a:lnTo>
                      <a:pt x="1219" y="1538"/>
                    </a:lnTo>
                    <a:close/>
                    <a:moveTo>
                      <a:pt x="1373" y="1641"/>
                    </a:moveTo>
                    <a:lnTo>
                      <a:pt x="1375" y="1641"/>
                    </a:lnTo>
                    <a:lnTo>
                      <a:pt x="1375" y="1643"/>
                    </a:lnTo>
                    <a:lnTo>
                      <a:pt x="1373" y="1643"/>
                    </a:lnTo>
                    <a:lnTo>
                      <a:pt x="1373" y="1641"/>
                    </a:lnTo>
                    <a:lnTo>
                      <a:pt x="1372" y="1641"/>
                    </a:lnTo>
                    <a:lnTo>
                      <a:pt x="1373" y="1641"/>
                    </a:lnTo>
                    <a:close/>
                    <a:moveTo>
                      <a:pt x="1198" y="1485"/>
                    </a:moveTo>
                    <a:lnTo>
                      <a:pt x="1196" y="1485"/>
                    </a:lnTo>
                    <a:lnTo>
                      <a:pt x="1195" y="1487"/>
                    </a:lnTo>
                    <a:lnTo>
                      <a:pt x="1193" y="1487"/>
                    </a:lnTo>
                    <a:lnTo>
                      <a:pt x="1195" y="1485"/>
                    </a:lnTo>
                    <a:lnTo>
                      <a:pt x="1196" y="1485"/>
                    </a:lnTo>
                    <a:lnTo>
                      <a:pt x="1198" y="1485"/>
                    </a:lnTo>
                    <a:close/>
                    <a:moveTo>
                      <a:pt x="1161" y="1243"/>
                    </a:moveTo>
                    <a:lnTo>
                      <a:pt x="1162" y="1243"/>
                    </a:lnTo>
                    <a:lnTo>
                      <a:pt x="1162" y="1247"/>
                    </a:lnTo>
                    <a:lnTo>
                      <a:pt x="1161" y="1247"/>
                    </a:lnTo>
                    <a:lnTo>
                      <a:pt x="1161" y="1243"/>
                    </a:lnTo>
                    <a:close/>
                    <a:moveTo>
                      <a:pt x="1178" y="1478"/>
                    </a:moveTo>
                    <a:lnTo>
                      <a:pt x="1179" y="1478"/>
                    </a:lnTo>
                    <a:lnTo>
                      <a:pt x="1179" y="1481"/>
                    </a:lnTo>
                    <a:lnTo>
                      <a:pt x="1178" y="1481"/>
                    </a:lnTo>
                    <a:lnTo>
                      <a:pt x="1178" y="1478"/>
                    </a:lnTo>
                    <a:close/>
                    <a:moveTo>
                      <a:pt x="1181" y="1437"/>
                    </a:moveTo>
                    <a:lnTo>
                      <a:pt x="1185" y="1437"/>
                    </a:lnTo>
                    <a:lnTo>
                      <a:pt x="1185" y="1439"/>
                    </a:lnTo>
                    <a:lnTo>
                      <a:pt x="1181" y="1439"/>
                    </a:lnTo>
                    <a:lnTo>
                      <a:pt x="1181" y="1437"/>
                    </a:lnTo>
                    <a:close/>
                    <a:moveTo>
                      <a:pt x="1168" y="1432"/>
                    </a:moveTo>
                    <a:lnTo>
                      <a:pt x="1171" y="1432"/>
                    </a:lnTo>
                    <a:lnTo>
                      <a:pt x="1171" y="1434"/>
                    </a:lnTo>
                    <a:lnTo>
                      <a:pt x="1168" y="1434"/>
                    </a:lnTo>
                    <a:lnTo>
                      <a:pt x="1168" y="1432"/>
                    </a:lnTo>
                    <a:close/>
                    <a:moveTo>
                      <a:pt x="1219" y="983"/>
                    </a:moveTo>
                    <a:lnTo>
                      <a:pt x="1220" y="983"/>
                    </a:lnTo>
                    <a:lnTo>
                      <a:pt x="1220" y="985"/>
                    </a:lnTo>
                    <a:lnTo>
                      <a:pt x="1219" y="985"/>
                    </a:lnTo>
                    <a:lnTo>
                      <a:pt x="1219" y="983"/>
                    </a:lnTo>
                    <a:close/>
                    <a:moveTo>
                      <a:pt x="1249" y="1599"/>
                    </a:moveTo>
                    <a:lnTo>
                      <a:pt x="1251" y="1599"/>
                    </a:lnTo>
                    <a:lnTo>
                      <a:pt x="1251" y="1600"/>
                    </a:lnTo>
                    <a:lnTo>
                      <a:pt x="1249" y="1600"/>
                    </a:lnTo>
                    <a:lnTo>
                      <a:pt x="1249" y="1599"/>
                    </a:lnTo>
                    <a:close/>
                    <a:moveTo>
                      <a:pt x="1179" y="1134"/>
                    </a:moveTo>
                    <a:lnTo>
                      <a:pt x="1179" y="1138"/>
                    </a:lnTo>
                    <a:lnTo>
                      <a:pt x="1179" y="1134"/>
                    </a:lnTo>
                    <a:close/>
                    <a:moveTo>
                      <a:pt x="1174" y="1367"/>
                    </a:moveTo>
                    <a:lnTo>
                      <a:pt x="1178" y="1367"/>
                    </a:lnTo>
                    <a:lnTo>
                      <a:pt x="1178" y="1369"/>
                    </a:lnTo>
                    <a:lnTo>
                      <a:pt x="1174" y="1369"/>
                    </a:lnTo>
                    <a:lnTo>
                      <a:pt x="1174" y="1367"/>
                    </a:lnTo>
                    <a:close/>
                    <a:moveTo>
                      <a:pt x="1188" y="1056"/>
                    </a:moveTo>
                    <a:lnTo>
                      <a:pt x="1191" y="1056"/>
                    </a:lnTo>
                    <a:lnTo>
                      <a:pt x="1191" y="1058"/>
                    </a:lnTo>
                    <a:lnTo>
                      <a:pt x="1188" y="1058"/>
                    </a:lnTo>
                    <a:lnTo>
                      <a:pt x="1188" y="1056"/>
                    </a:lnTo>
                    <a:close/>
                    <a:moveTo>
                      <a:pt x="1241" y="1495"/>
                    </a:moveTo>
                    <a:lnTo>
                      <a:pt x="1244" y="1495"/>
                    </a:lnTo>
                    <a:lnTo>
                      <a:pt x="1244" y="1497"/>
                    </a:lnTo>
                    <a:lnTo>
                      <a:pt x="1241" y="1497"/>
                    </a:lnTo>
                    <a:lnTo>
                      <a:pt x="1241" y="1495"/>
                    </a:lnTo>
                    <a:close/>
                    <a:moveTo>
                      <a:pt x="1208" y="1539"/>
                    </a:moveTo>
                    <a:lnTo>
                      <a:pt x="1208" y="1538"/>
                    </a:lnTo>
                    <a:lnTo>
                      <a:pt x="1210" y="1539"/>
                    </a:lnTo>
                    <a:lnTo>
                      <a:pt x="1208" y="1539"/>
                    </a:lnTo>
                    <a:lnTo>
                      <a:pt x="1207" y="1539"/>
                    </a:lnTo>
                    <a:lnTo>
                      <a:pt x="1207" y="1538"/>
                    </a:lnTo>
                    <a:lnTo>
                      <a:pt x="1208" y="1539"/>
                    </a:lnTo>
                    <a:close/>
                    <a:moveTo>
                      <a:pt x="1222" y="1556"/>
                    </a:moveTo>
                    <a:lnTo>
                      <a:pt x="1225" y="1556"/>
                    </a:lnTo>
                    <a:lnTo>
                      <a:pt x="1225" y="1560"/>
                    </a:lnTo>
                    <a:lnTo>
                      <a:pt x="1222" y="1560"/>
                    </a:lnTo>
                    <a:lnTo>
                      <a:pt x="1222" y="1556"/>
                    </a:lnTo>
                    <a:close/>
                    <a:moveTo>
                      <a:pt x="1186" y="1526"/>
                    </a:moveTo>
                    <a:lnTo>
                      <a:pt x="1188" y="1526"/>
                    </a:lnTo>
                    <a:lnTo>
                      <a:pt x="1188" y="1529"/>
                    </a:lnTo>
                    <a:lnTo>
                      <a:pt x="1186" y="1529"/>
                    </a:lnTo>
                    <a:lnTo>
                      <a:pt x="1186" y="1526"/>
                    </a:lnTo>
                    <a:close/>
                    <a:moveTo>
                      <a:pt x="1259" y="1597"/>
                    </a:moveTo>
                    <a:lnTo>
                      <a:pt x="1261" y="1597"/>
                    </a:lnTo>
                    <a:lnTo>
                      <a:pt x="1261" y="1600"/>
                    </a:lnTo>
                    <a:lnTo>
                      <a:pt x="1259" y="1600"/>
                    </a:lnTo>
                    <a:lnTo>
                      <a:pt x="1259" y="1597"/>
                    </a:lnTo>
                    <a:close/>
                    <a:moveTo>
                      <a:pt x="1321" y="1631"/>
                    </a:moveTo>
                    <a:lnTo>
                      <a:pt x="1322" y="1631"/>
                    </a:lnTo>
                    <a:lnTo>
                      <a:pt x="1322" y="1633"/>
                    </a:lnTo>
                    <a:lnTo>
                      <a:pt x="1321" y="1633"/>
                    </a:lnTo>
                    <a:lnTo>
                      <a:pt x="1321" y="1631"/>
                    </a:lnTo>
                    <a:close/>
                    <a:moveTo>
                      <a:pt x="1207" y="1539"/>
                    </a:moveTo>
                    <a:lnTo>
                      <a:pt x="1208" y="1539"/>
                    </a:lnTo>
                    <a:lnTo>
                      <a:pt x="1208" y="1541"/>
                    </a:lnTo>
                    <a:lnTo>
                      <a:pt x="1207" y="1541"/>
                    </a:lnTo>
                    <a:lnTo>
                      <a:pt x="1207" y="1539"/>
                    </a:lnTo>
                    <a:close/>
                    <a:moveTo>
                      <a:pt x="1188" y="1208"/>
                    </a:moveTo>
                    <a:lnTo>
                      <a:pt x="1191" y="1208"/>
                    </a:lnTo>
                    <a:lnTo>
                      <a:pt x="1191" y="1211"/>
                    </a:lnTo>
                    <a:lnTo>
                      <a:pt x="1188" y="1211"/>
                    </a:lnTo>
                    <a:lnTo>
                      <a:pt x="1188" y="1208"/>
                    </a:lnTo>
                    <a:close/>
                    <a:moveTo>
                      <a:pt x="1151" y="1327"/>
                    </a:moveTo>
                    <a:lnTo>
                      <a:pt x="1152" y="1327"/>
                    </a:lnTo>
                    <a:lnTo>
                      <a:pt x="1152" y="1330"/>
                    </a:lnTo>
                    <a:lnTo>
                      <a:pt x="1151" y="1330"/>
                    </a:lnTo>
                    <a:lnTo>
                      <a:pt x="1151" y="1327"/>
                    </a:lnTo>
                    <a:close/>
                    <a:moveTo>
                      <a:pt x="1179" y="1444"/>
                    </a:moveTo>
                    <a:lnTo>
                      <a:pt x="1181" y="1444"/>
                    </a:lnTo>
                    <a:lnTo>
                      <a:pt x="1181" y="1446"/>
                    </a:lnTo>
                    <a:lnTo>
                      <a:pt x="1179" y="1446"/>
                    </a:lnTo>
                    <a:lnTo>
                      <a:pt x="1178" y="1444"/>
                    </a:lnTo>
                    <a:lnTo>
                      <a:pt x="1179" y="1444"/>
                    </a:lnTo>
                    <a:close/>
                    <a:moveTo>
                      <a:pt x="1178" y="1480"/>
                    </a:moveTo>
                    <a:lnTo>
                      <a:pt x="1181" y="1480"/>
                    </a:lnTo>
                    <a:lnTo>
                      <a:pt x="1181" y="1483"/>
                    </a:lnTo>
                    <a:lnTo>
                      <a:pt x="1178" y="1483"/>
                    </a:lnTo>
                    <a:lnTo>
                      <a:pt x="1178" y="1480"/>
                    </a:lnTo>
                    <a:close/>
                    <a:moveTo>
                      <a:pt x="1213" y="1104"/>
                    </a:moveTo>
                    <a:lnTo>
                      <a:pt x="1215" y="1104"/>
                    </a:lnTo>
                    <a:lnTo>
                      <a:pt x="1215" y="1107"/>
                    </a:lnTo>
                    <a:lnTo>
                      <a:pt x="1213" y="1107"/>
                    </a:lnTo>
                    <a:lnTo>
                      <a:pt x="1213" y="1104"/>
                    </a:lnTo>
                    <a:close/>
                    <a:moveTo>
                      <a:pt x="1202" y="1510"/>
                    </a:moveTo>
                    <a:lnTo>
                      <a:pt x="1203" y="1510"/>
                    </a:lnTo>
                    <a:lnTo>
                      <a:pt x="1203" y="1512"/>
                    </a:lnTo>
                    <a:lnTo>
                      <a:pt x="1202" y="1512"/>
                    </a:lnTo>
                    <a:lnTo>
                      <a:pt x="1202" y="1510"/>
                    </a:lnTo>
                    <a:close/>
                    <a:moveTo>
                      <a:pt x="1212" y="990"/>
                    </a:moveTo>
                    <a:lnTo>
                      <a:pt x="1213" y="990"/>
                    </a:lnTo>
                    <a:lnTo>
                      <a:pt x="1213" y="992"/>
                    </a:lnTo>
                    <a:lnTo>
                      <a:pt x="1212" y="992"/>
                    </a:lnTo>
                    <a:lnTo>
                      <a:pt x="1212" y="990"/>
                    </a:lnTo>
                    <a:close/>
                    <a:moveTo>
                      <a:pt x="1254" y="1493"/>
                    </a:moveTo>
                    <a:lnTo>
                      <a:pt x="1256" y="1493"/>
                    </a:lnTo>
                    <a:lnTo>
                      <a:pt x="1256" y="1497"/>
                    </a:lnTo>
                    <a:lnTo>
                      <a:pt x="1254" y="1497"/>
                    </a:lnTo>
                    <a:lnTo>
                      <a:pt x="1254" y="1493"/>
                    </a:lnTo>
                    <a:close/>
                    <a:moveTo>
                      <a:pt x="1222" y="990"/>
                    </a:moveTo>
                    <a:lnTo>
                      <a:pt x="1224" y="990"/>
                    </a:lnTo>
                    <a:lnTo>
                      <a:pt x="1224" y="993"/>
                    </a:lnTo>
                    <a:lnTo>
                      <a:pt x="1222" y="993"/>
                    </a:lnTo>
                    <a:lnTo>
                      <a:pt x="1222" y="990"/>
                    </a:lnTo>
                    <a:close/>
                    <a:moveTo>
                      <a:pt x="1382" y="1640"/>
                    </a:moveTo>
                    <a:lnTo>
                      <a:pt x="1385" y="1640"/>
                    </a:lnTo>
                    <a:lnTo>
                      <a:pt x="1385" y="1641"/>
                    </a:lnTo>
                    <a:lnTo>
                      <a:pt x="1382" y="1641"/>
                    </a:lnTo>
                    <a:lnTo>
                      <a:pt x="1382" y="1640"/>
                    </a:lnTo>
                    <a:close/>
                    <a:moveTo>
                      <a:pt x="1181" y="1492"/>
                    </a:moveTo>
                    <a:lnTo>
                      <a:pt x="1185" y="1492"/>
                    </a:lnTo>
                    <a:lnTo>
                      <a:pt x="1185" y="1493"/>
                    </a:lnTo>
                    <a:lnTo>
                      <a:pt x="1181" y="1493"/>
                    </a:lnTo>
                    <a:lnTo>
                      <a:pt x="1181" y="1492"/>
                    </a:lnTo>
                    <a:close/>
                    <a:moveTo>
                      <a:pt x="1217" y="1538"/>
                    </a:moveTo>
                    <a:lnTo>
                      <a:pt x="1220" y="1538"/>
                    </a:lnTo>
                    <a:lnTo>
                      <a:pt x="1220" y="1539"/>
                    </a:lnTo>
                    <a:lnTo>
                      <a:pt x="1217" y="1539"/>
                    </a:lnTo>
                    <a:lnTo>
                      <a:pt x="1217" y="1538"/>
                    </a:lnTo>
                    <a:close/>
                    <a:moveTo>
                      <a:pt x="1219" y="1566"/>
                    </a:moveTo>
                    <a:lnTo>
                      <a:pt x="1220" y="1566"/>
                    </a:lnTo>
                    <a:lnTo>
                      <a:pt x="1220" y="1568"/>
                    </a:lnTo>
                    <a:lnTo>
                      <a:pt x="1219" y="1568"/>
                    </a:lnTo>
                    <a:lnTo>
                      <a:pt x="1219" y="1566"/>
                    </a:lnTo>
                    <a:close/>
                    <a:moveTo>
                      <a:pt x="1200" y="1073"/>
                    </a:moveTo>
                    <a:lnTo>
                      <a:pt x="1202" y="1073"/>
                    </a:lnTo>
                    <a:lnTo>
                      <a:pt x="1202" y="1077"/>
                    </a:lnTo>
                    <a:lnTo>
                      <a:pt x="1200" y="1077"/>
                    </a:lnTo>
                    <a:lnTo>
                      <a:pt x="1200" y="1073"/>
                    </a:lnTo>
                    <a:close/>
                    <a:moveTo>
                      <a:pt x="1176" y="1439"/>
                    </a:moveTo>
                    <a:lnTo>
                      <a:pt x="1178" y="1439"/>
                    </a:lnTo>
                    <a:lnTo>
                      <a:pt x="1178" y="1441"/>
                    </a:lnTo>
                    <a:lnTo>
                      <a:pt x="1176" y="1441"/>
                    </a:lnTo>
                    <a:lnTo>
                      <a:pt x="1176" y="1439"/>
                    </a:lnTo>
                    <a:close/>
                    <a:moveTo>
                      <a:pt x="1336" y="1653"/>
                    </a:moveTo>
                    <a:lnTo>
                      <a:pt x="1339" y="1653"/>
                    </a:lnTo>
                    <a:lnTo>
                      <a:pt x="1339" y="1655"/>
                    </a:lnTo>
                    <a:lnTo>
                      <a:pt x="1336" y="1655"/>
                    </a:lnTo>
                    <a:lnTo>
                      <a:pt x="1336" y="1653"/>
                    </a:lnTo>
                    <a:close/>
                    <a:moveTo>
                      <a:pt x="1147" y="1330"/>
                    </a:moveTo>
                    <a:lnTo>
                      <a:pt x="1149" y="1330"/>
                    </a:lnTo>
                    <a:lnTo>
                      <a:pt x="1149" y="1332"/>
                    </a:lnTo>
                    <a:lnTo>
                      <a:pt x="1147" y="1332"/>
                    </a:lnTo>
                    <a:lnTo>
                      <a:pt x="1147" y="1330"/>
                    </a:lnTo>
                    <a:close/>
                    <a:moveTo>
                      <a:pt x="1205" y="1551"/>
                    </a:moveTo>
                    <a:lnTo>
                      <a:pt x="1207" y="1551"/>
                    </a:lnTo>
                    <a:lnTo>
                      <a:pt x="1207" y="1553"/>
                    </a:lnTo>
                    <a:lnTo>
                      <a:pt x="1205" y="1553"/>
                    </a:lnTo>
                    <a:lnTo>
                      <a:pt x="1205" y="1551"/>
                    </a:lnTo>
                    <a:close/>
                    <a:moveTo>
                      <a:pt x="1186" y="1534"/>
                    </a:moveTo>
                    <a:lnTo>
                      <a:pt x="1188" y="1534"/>
                    </a:lnTo>
                    <a:lnTo>
                      <a:pt x="1188" y="1536"/>
                    </a:lnTo>
                    <a:lnTo>
                      <a:pt x="1186" y="1536"/>
                    </a:lnTo>
                    <a:lnTo>
                      <a:pt x="1186" y="1534"/>
                    </a:lnTo>
                    <a:close/>
                    <a:moveTo>
                      <a:pt x="1169" y="1437"/>
                    </a:moveTo>
                    <a:lnTo>
                      <a:pt x="1173" y="1437"/>
                    </a:lnTo>
                    <a:lnTo>
                      <a:pt x="1173" y="1439"/>
                    </a:lnTo>
                    <a:lnTo>
                      <a:pt x="1169" y="1439"/>
                    </a:lnTo>
                    <a:lnTo>
                      <a:pt x="1169" y="1437"/>
                    </a:lnTo>
                    <a:close/>
                    <a:moveTo>
                      <a:pt x="1202" y="1066"/>
                    </a:moveTo>
                    <a:lnTo>
                      <a:pt x="1203" y="1066"/>
                    </a:lnTo>
                    <a:lnTo>
                      <a:pt x="1203" y="1068"/>
                    </a:lnTo>
                    <a:lnTo>
                      <a:pt x="1202" y="1068"/>
                    </a:lnTo>
                    <a:lnTo>
                      <a:pt x="1202" y="1066"/>
                    </a:lnTo>
                    <a:close/>
                    <a:moveTo>
                      <a:pt x="1264" y="1595"/>
                    </a:moveTo>
                    <a:lnTo>
                      <a:pt x="1268" y="1595"/>
                    </a:lnTo>
                    <a:lnTo>
                      <a:pt x="1268" y="1597"/>
                    </a:lnTo>
                    <a:lnTo>
                      <a:pt x="1264" y="1597"/>
                    </a:lnTo>
                    <a:lnTo>
                      <a:pt x="1264" y="1595"/>
                    </a:lnTo>
                    <a:close/>
                    <a:moveTo>
                      <a:pt x="1220" y="1543"/>
                    </a:moveTo>
                    <a:lnTo>
                      <a:pt x="1222" y="1543"/>
                    </a:lnTo>
                    <a:lnTo>
                      <a:pt x="1222" y="1544"/>
                    </a:lnTo>
                    <a:lnTo>
                      <a:pt x="1220" y="1544"/>
                    </a:lnTo>
                    <a:lnTo>
                      <a:pt x="1220" y="1543"/>
                    </a:lnTo>
                    <a:close/>
                    <a:moveTo>
                      <a:pt x="1191" y="1060"/>
                    </a:moveTo>
                    <a:lnTo>
                      <a:pt x="1195" y="1060"/>
                    </a:lnTo>
                    <a:lnTo>
                      <a:pt x="1195" y="1061"/>
                    </a:lnTo>
                    <a:lnTo>
                      <a:pt x="1191" y="1061"/>
                    </a:lnTo>
                    <a:lnTo>
                      <a:pt x="1191" y="1060"/>
                    </a:lnTo>
                    <a:close/>
                    <a:moveTo>
                      <a:pt x="1179" y="1422"/>
                    </a:moveTo>
                    <a:lnTo>
                      <a:pt x="1181" y="1422"/>
                    </a:lnTo>
                    <a:lnTo>
                      <a:pt x="1181" y="1424"/>
                    </a:lnTo>
                    <a:lnTo>
                      <a:pt x="1179" y="1424"/>
                    </a:lnTo>
                    <a:lnTo>
                      <a:pt x="1179" y="1422"/>
                    </a:lnTo>
                    <a:close/>
                    <a:moveTo>
                      <a:pt x="1183" y="1463"/>
                    </a:moveTo>
                    <a:lnTo>
                      <a:pt x="1185" y="1463"/>
                    </a:lnTo>
                    <a:lnTo>
                      <a:pt x="1185" y="1464"/>
                    </a:lnTo>
                    <a:lnTo>
                      <a:pt x="1183" y="1464"/>
                    </a:lnTo>
                    <a:lnTo>
                      <a:pt x="1183" y="1463"/>
                    </a:lnTo>
                    <a:close/>
                    <a:moveTo>
                      <a:pt x="1397" y="1663"/>
                    </a:moveTo>
                    <a:lnTo>
                      <a:pt x="1400" y="1663"/>
                    </a:lnTo>
                    <a:lnTo>
                      <a:pt x="1400" y="1665"/>
                    </a:lnTo>
                    <a:lnTo>
                      <a:pt x="1397" y="1665"/>
                    </a:lnTo>
                    <a:lnTo>
                      <a:pt x="1397" y="1663"/>
                    </a:lnTo>
                    <a:close/>
                    <a:moveTo>
                      <a:pt x="1190" y="1413"/>
                    </a:moveTo>
                    <a:lnTo>
                      <a:pt x="1191" y="1413"/>
                    </a:lnTo>
                    <a:lnTo>
                      <a:pt x="1191" y="1417"/>
                    </a:lnTo>
                    <a:lnTo>
                      <a:pt x="1190" y="1417"/>
                    </a:lnTo>
                    <a:lnTo>
                      <a:pt x="1190" y="1413"/>
                    </a:lnTo>
                    <a:close/>
                    <a:moveTo>
                      <a:pt x="1208" y="1449"/>
                    </a:moveTo>
                    <a:lnTo>
                      <a:pt x="1210" y="1449"/>
                    </a:lnTo>
                    <a:lnTo>
                      <a:pt x="1210" y="1451"/>
                    </a:lnTo>
                    <a:lnTo>
                      <a:pt x="1208" y="1451"/>
                    </a:lnTo>
                    <a:lnTo>
                      <a:pt x="1208" y="1449"/>
                    </a:lnTo>
                    <a:close/>
                    <a:moveTo>
                      <a:pt x="1222" y="976"/>
                    </a:moveTo>
                    <a:lnTo>
                      <a:pt x="1224" y="976"/>
                    </a:lnTo>
                    <a:lnTo>
                      <a:pt x="1224" y="980"/>
                    </a:lnTo>
                    <a:lnTo>
                      <a:pt x="1222" y="980"/>
                    </a:lnTo>
                    <a:lnTo>
                      <a:pt x="1222" y="976"/>
                    </a:lnTo>
                    <a:close/>
                    <a:moveTo>
                      <a:pt x="1346" y="1662"/>
                    </a:moveTo>
                    <a:lnTo>
                      <a:pt x="1348" y="1662"/>
                    </a:lnTo>
                    <a:lnTo>
                      <a:pt x="1348" y="1663"/>
                    </a:lnTo>
                    <a:lnTo>
                      <a:pt x="1346" y="1663"/>
                    </a:lnTo>
                    <a:lnTo>
                      <a:pt x="1346" y="1662"/>
                    </a:lnTo>
                    <a:close/>
                    <a:moveTo>
                      <a:pt x="1210" y="1063"/>
                    </a:moveTo>
                    <a:lnTo>
                      <a:pt x="1212" y="1063"/>
                    </a:lnTo>
                    <a:lnTo>
                      <a:pt x="1212" y="1065"/>
                    </a:lnTo>
                    <a:lnTo>
                      <a:pt x="1210" y="1065"/>
                    </a:lnTo>
                    <a:lnTo>
                      <a:pt x="1210" y="1063"/>
                    </a:lnTo>
                    <a:close/>
                    <a:moveTo>
                      <a:pt x="1161" y="1349"/>
                    </a:moveTo>
                    <a:lnTo>
                      <a:pt x="1162" y="1349"/>
                    </a:lnTo>
                    <a:lnTo>
                      <a:pt x="1162" y="1350"/>
                    </a:lnTo>
                    <a:lnTo>
                      <a:pt x="1161" y="1350"/>
                    </a:lnTo>
                    <a:lnTo>
                      <a:pt x="1161" y="1349"/>
                    </a:lnTo>
                    <a:close/>
                    <a:moveTo>
                      <a:pt x="1207" y="1529"/>
                    </a:moveTo>
                    <a:lnTo>
                      <a:pt x="1210" y="1529"/>
                    </a:lnTo>
                    <a:lnTo>
                      <a:pt x="1210" y="1532"/>
                    </a:lnTo>
                    <a:lnTo>
                      <a:pt x="1207" y="1532"/>
                    </a:lnTo>
                    <a:lnTo>
                      <a:pt x="1207" y="1529"/>
                    </a:lnTo>
                    <a:close/>
                    <a:moveTo>
                      <a:pt x="1205" y="1541"/>
                    </a:moveTo>
                    <a:lnTo>
                      <a:pt x="1207" y="1541"/>
                    </a:lnTo>
                    <a:lnTo>
                      <a:pt x="1207" y="1543"/>
                    </a:lnTo>
                    <a:lnTo>
                      <a:pt x="1205" y="1543"/>
                    </a:lnTo>
                    <a:lnTo>
                      <a:pt x="1205" y="1541"/>
                    </a:lnTo>
                    <a:close/>
                    <a:moveTo>
                      <a:pt x="1152" y="1257"/>
                    </a:moveTo>
                    <a:lnTo>
                      <a:pt x="1156" y="1257"/>
                    </a:lnTo>
                    <a:lnTo>
                      <a:pt x="1156" y="1259"/>
                    </a:lnTo>
                    <a:lnTo>
                      <a:pt x="1152" y="1259"/>
                    </a:lnTo>
                    <a:lnTo>
                      <a:pt x="1152" y="1257"/>
                    </a:lnTo>
                    <a:close/>
                    <a:moveTo>
                      <a:pt x="1152" y="1310"/>
                    </a:moveTo>
                    <a:lnTo>
                      <a:pt x="1154" y="1310"/>
                    </a:lnTo>
                    <a:lnTo>
                      <a:pt x="1154" y="1311"/>
                    </a:lnTo>
                    <a:lnTo>
                      <a:pt x="1152" y="1311"/>
                    </a:lnTo>
                    <a:lnTo>
                      <a:pt x="1152" y="1310"/>
                    </a:lnTo>
                    <a:close/>
                    <a:moveTo>
                      <a:pt x="1174" y="1478"/>
                    </a:moveTo>
                    <a:lnTo>
                      <a:pt x="1178" y="1478"/>
                    </a:lnTo>
                    <a:lnTo>
                      <a:pt x="1178" y="1481"/>
                    </a:lnTo>
                    <a:lnTo>
                      <a:pt x="1174" y="1481"/>
                    </a:lnTo>
                    <a:lnTo>
                      <a:pt x="1174" y="1478"/>
                    </a:lnTo>
                    <a:close/>
                    <a:moveTo>
                      <a:pt x="1164" y="1332"/>
                    </a:moveTo>
                    <a:lnTo>
                      <a:pt x="1166" y="1332"/>
                    </a:lnTo>
                    <a:lnTo>
                      <a:pt x="1166" y="1335"/>
                    </a:lnTo>
                    <a:lnTo>
                      <a:pt x="1164" y="1335"/>
                    </a:lnTo>
                    <a:lnTo>
                      <a:pt x="1164" y="1332"/>
                    </a:lnTo>
                    <a:close/>
                    <a:moveTo>
                      <a:pt x="1220" y="986"/>
                    </a:moveTo>
                    <a:lnTo>
                      <a:pt x="1222" y="986"/>
                    </a:lnTo>
                    <a:lnTo>
                      <a:pt x="1222" y="988"/>
                    </a:lnTo>
                    <a:lnTo>
                      <a:pt x="1220" y="988"/>
                    </a:lnTo>
                    <a:lnTo>
                      <a:pt x="1220" y="986"/>
                    </a:lnTo>
                    <a:close/>
                    <a:moveTo>
                      <a:pt x="1166" y="1383"/>
                    </a:moveTo>
                    <a:lnTo>
                      <a:pt x="1168" y="1383"/>
                    </a:lnTo>
                    <a:lnTo>
                      <a:pt x="1168" y="1384"/>
                    </a:lnTo>
                    <a:lnTo>
                      <a:pt x="1166" y="1384"/>
                    </a:lnTo>
                    <a:lnTo>
                      <a:pt x="1166" y="1383"/>
                    </a:lnTo>
                    <a:close/>
                    <a:moveTo>
                      <a:pt x="1173" y="1245"/>
                    </a:moveTo>
                    <a:lnTo>
                      <a:pt x="1174" y="1245"/>
                    </a:lnTo>
                    <a:lnTo>
                      <a:pt x="1174" y="1248"/>
                    </a:lnTo>
                    <a:lnTo>
                      <a:pt x="1173" y="1248"/>
                    </a:lnTo>
                    <a:lnTo>
                      <a:pt x="1173" y="1245"/>
                    </a:lnTo>
                    <a:close/>
                    <a:moveTo>
                      <a:pt x="1185" y="1099"/>
                    </a:moveTo>
                    <a:lnTo>
                      <a:pt x="1186" y="1099"/>
                    </a:lnTo>
                    <a:lnTo>
                      <a:pt x="1186" y="1100"/>
                    </a:lnTo>
                    <a:lnTo>
                      <a:pt x="1185" y="1100"/>
                    </a:lnTo>
                    <a:lnTo>
                      <a:pt x="1185" y="1099"/>
                    </a:lnTo>
                    <a:close/>
                    <a:moveTo>
                      <a:pt x="1215" y="981"/>
                    </a:moveTo>
                    <a:lnTo>
                      <a:pt x="1217" y="981"/>
                    </a:lnTo>
                    <a:lnTo>
                      <a:pt x="1217" y="983"/>
                    </a:lnTo>
                    <a:lnTo>
                      <a:pt x="1215" y="983"/>
                    </a:lnTo>
                    <a:lnTo>
                      <a:pt x="1215" y="981"/>
                    </a:lnTo>
                    <a:close/>
                    <a:moveTo>
                      <a:pt x="1154" y="1354"/>
                    </a:moveTo>
                    <a:lnTo>
                      <a:pt x="1154" y="1357"/>
                    </a:lnTo>
                    <a:lnTo>
                      <a:pt x="1154" y="1354"/>
                    </a:lnTo>
                    <a:close/>
                    <a:moveTo>
                      <a:pt x="1276" y="1595"/>
                    </a:moveTo>
                    <a:lnTo>
                      <a:pt x="1280" y="1595"/>
                    </a:lnTo>
                    <a:lnTo>
                      <a:pt x="1280" y="1597"/>
                    </a:lnTo>
                    <a:lnTo>
                      <a:pt x="1276" y="1597"/>
                    </a:lnTo>
                    <a:lnTo>
                      <a:pt x="1276" y="1595"/>
                    </a:lnTo>
                    <a:close/>
                    <a:moveTo>
                      <a:pt x="1190" y="1066"/>
                    </a:moveTo>
                    <a:lnTo>
                      <a:pt x="1191" y="1066"/>
                    </a:lnTo>
                    <a:lnTo>
                      <a:pt x="1190" y="1066"/>
                    </a:lnTo>
                    <a:close/>
                    <a:moveTo>
                      <a:pt x="1292" y="1616"/>
                    </a:moveTo>
                    <a:lnTo>
                      <a:pt x="1293" y="1616"/>
                    </a:lnTo>
                    <a:lnTo>
                      <a:pt x="1293" y="1618"/>
                    </a:lnTo>
                    <a:lnTo>
                      <a:pt x="1292" y="1618"/>
                    </a:lnTo>
                    <a:lnTo>
                      <a:pt x="1292" y="1616"/>
                    </a:lnTo>
                    <a:close/>
                    <a:moveTo>
                      <a:pt x="1149" y="1311"/>
                    </a:moveTo>
                    <a:lnTo>
                      <a:pt x="1151" y="1311"/>
                    </a:lnTo>
                    <a:lnTo>
                      <a:pt x="1151" y="1313"/>
                    </a:lnTo>
                    <a:lnTo>
                      <a:pt x="1149" y="1313"/>
                    </a:lnTo>
                    <a:lnTo>
                      <a:pt x="1149" y="1311"/>
                    </a:lnTo>
                    <a:close/>
                    <a:moveTo>
                      <a:pt x="1203" y="1429"/>
                    </a:moveTo>
                    <a:lnTo>
                      <a:pt x="1205" y="1429"/>
                    </a:lnTo>
                    <a:lnTo>
                      <a:pt x="1205" y="1430"/>
                    </a:lnTo>
                    <a:lnTo>
                      <a:pt x="1203" y="1430"/>
                    </a:lnTo>
                    <a:lnTo>
                      <a:pt x="1203" y="1429"/>
                    </a:lnTo>
                    <a:close/>
                    <a:moveTo>
                      <a:pt x="1246" y="1582"/>
                    </a:moveTo>
                    <a:lnTo>
                      <a:pt x="1247" y="1582"/>
                    </a:lnTo>
                    <a:lnTo>
                      <a:pt x="1247" y="1583"/>
                    </a:lnTo>
                    <a:lnTo>
                      <a:pt x="1246" y="1583"/>
                    </a:lnTo>
                    <a:lnTo>
                      <a:pt x="1246" y="1582"/>
                    </a:lnTo>
                    <a:close/>
                    <a:moveTo>
                      <a:pt x="1149" y="1342"/>
                    </a:moveTo>
                    <a:lnTo>
                      <a:pt x="1151" y="1342"/>
                    </a:lnTo>
                    <a:lnTo>
                      <a:pt x="1151" y="1345"/>
                    </a:lnTo>
                    <a:lnTo>
                      <a:pt x="1149" y="1345"/>
                    </a:lnTo>
                    <a:lnTo>
                      <a:pt x="1149" y="1342"/>
                    </a:lnTo>
                    <a:close/>
                    <a:moveTo>
                      <a:pt x="1203" y="1104"/>
                    </a:moveTo>
                    <a:lnTo>
                      <a:pt x="1205" y="1104"/>
                    </a:lnTo>
                    <a:lnTo>
                      <a:pt x="1205" y="1105"/>
                    </a:lnTo>
                    <a:lnTo>
                      <a:pt x="1203" y="1105"/>
                    </a:lnTo>
                    <a:lnTo>
                      <a:pt x="1203" y="1104"/>
                    </a:lnTo>
                    <a:close/>
                    <a:moveTo>
                      <a:pt x="1213" y="1107"/>
                    </a:moveTo>
                    <a:lnTo>
                      <a:pt x="1215" y="1107"/>
                    </a:lnTo>
                    <a:lnTo>
                      <a:pt x="1215" y="1109"/>
                    </a:lnTo>
                    <a:lnTo>
                      <a:pt x="1213" y="1109"/>
                    </a:lnTo>
                    <a:lnTo>
                      <a:pt x="1213" y="1107"/>
                    </a:lnTo>
                    <a:close/>
                    <a:moveTo>
                      <a:pt x="1183" y="1194"/>
                    </a:moveTo>
                    <a:lnTo>
                      <a:pt x="1185" y="1194"/>
                    </a:lnTo>
                    <a:lnTo>
                      <a:pt x="1185" y="1196"/>
                    </a:lnTo>
                    <a:lnTo>
                      <a:pt x="1183" y="1196"/>
                    </a:lnTo>
                    <a:lnTo>
                      <a:pt x="1183" y="1194"/>
                    </a:lnTo>
                    <a:close/>
                    <a:moveTo>
                      <a:pt x="1368" y="1662"/>
                    </a:moveTo>
                    <a:lnTo>
                      <a:pt x="1370" y="1662"/>
                    </a:lnTo>
                    <a:lnTo>
                      <a:pt x="1370" y="1663"/>
                    </a:lnTo>
                    <a:lnTo>
                      <a:pt x="1368" y="1663"/>
                    </a:lnTo>
                    <a:lnTo>
                      <a:pt x="1368" y="1662"/>
                    </a:lnTo>
                    <a:close/>
                    <a:moveTo>
                      <a:pt x="1329" y="1626"/>
                    </a:moveTo>
                    <a:lnTo>
                      <a:pt x="1331" y="1626"/>
                    </a:lnTo>
                    <a:lnTo>
                      <a:pt x="1329" y="1626"/>
                    </a:lnTo>
                    <a:lnTo>
                      <a:pt x="1331" y="1626"/>
                    </a:lnTo>
                    <a:lnTo>
                      <a:pt x="1329" y="1626"/>
                    </a:lnTo>
                    <a:lnTo>
                      <a:pt x="1327" y="1626"/>
                    </a:lnTo>
                    <a:lnTo>
                      <a:pt x="1329" y="1626"/>
                    </a:lnTo>
                    <a:close/>
                    <a:moveTo>
                      <a:pt x="1219" y="992"/>
                    </a:moveTo>
                    <a:lnTo>
                      <a:pt x="1222" y="992"/>
                    </a:lnTo>
                    <a:lnTo>
                      <a:pt x="1222" y="993"/>
                    </a:lnTo>
                    <a:lnTo>
                      <a:pt x="1219" y="993"/>
                    </a:lnTo>
                    <a:lnTo>
                      <a:pt x="1219" y="992"/>
                    </a:lnTo>
                    <a:close/>
                    <a:moveTo>
                      <a:pt x="1169" y="1388"/>
                    </a:moveTo>
                    <a:lnTo>
                      <a:pt x="1171" y="1388"/>
                    </a:lnTo>
                    <a:lnTo>
                      <a:pt x="1171" y="1390"/>
                    </a:lnTo>
                    <a:lnTo>
                      <a:pt x="1169" y="1390"/>
                    </a:lnTo>
                    <a:lnTo>
                      <a:pt x="1169" y="1388"/>
                    </a:lnTo>
                    <a:close/>
                    <a:moveTo>
                      <a:pt x="1185" y="1476"/>
                    </a:moveTo>
                    <a:lnTo>
                      <a:pt x="1186" y="1476"/>
                    </a:lnTo>
                    <a:lnTo>
                      <a:pt x="1186" y="1478"/>
                    </a:lnTo>
                    <a:lnTo>
                      <a:pt x="1185" y="1478"/>
                    </a:lnTo>
                    <a:lnTo>
                      <a:pt x="1185" y="1476"/>
                    </a:lnTo>
                    <a:close/>
                    <a:moveTo>
                      <a:pt x="1220" y="1058"/>
                    </a:moveTo>
                    <a:lnTo>
                      <a:pt x="1222" y="1058"/>
                    </a:lnTo>
                    <a:lnTo>
                      <a:pt x="1222" y="1060"/>
                    </a:lnTo>
                    <a:lnTo>
                      <a:pt x="1220" y="1060"/>
                    </a:lnTo>
                    <a:lnTo>
                      <a:pt x="1220" y="1058"/>
                    </a:lnTo>
                    <a:close/>
                    <a:moveTo>
                      <a:pt x="1186" y="1476"/>
                    </a:moveTo>
                    <a:lnTo>
                      <a:pt x="1190" y="1476"/>
                    </a:lnTo>
                    <a:lnTo>
                      <a:pt x="1190" y="1478"/>
                    </a:lnTo>
                    <a:lnTo>
                      <a:pt x="1186" y="1478"/>
                    </a:lnTo>
                    <a:lnTo>
                      <a:pt x="1186" y="1476"/>
                    </a:lnTo>
                    <a:close/>
                    <a:moveTo>
                      <a:pt x="1334" y="1653"/>
                    </a:moveTo>
                    <a:lnTo>
                      <a:pt x="1334" y="1657"/>
                    </a:lnTo>
                    <a:lnTo>
                      <a:pt x="1334" y="1653"/>
                    </a:lnTo>
                    <a:close/>
                    <a:moveTo>
                      <a:pt x="1200" y="1141"/>
                    </a:moveTo>
                    <a:lnTo>
                      <a:pt x="1202" y="1141"/>
                    </a:lnTo>
                    <a:lnTo>
                      <a:pt x="1202" y="1143"/>
                    </a:lnTo>
                    <a:lnTo>
                      <a:pt x="1200" y="1143"/>
                    </a:lnTo>
                    <a:lnTo>
                      <a:pt x="1200" y="1141"/>
                    </a:lnTo>
                    <a:close/>
                    <a:moveTo>
                      <a:pt x="1140" y="1306"/>
                    </a:moveTo>
                    <a:lnTo>
                      <a:pt x="1142" y="1306"/>
                    </a:lnTo>
                    <a:lnTo>
                      <a:pt x="1142" y="1310"/>
                    </a:lnTo>
                    <a:lnTo>
                      <a:pt x="1140" y="1310"/>
                    </a:lnTo>
                    <a:lnTo>
                      <a:pt x="1140" y="1306"/>
                    </a:lnTo>
                    <a:close/>
                    <a:moveTo>
                      <a:pt x="1190" y="1524"/>
                    </a:moveTo>
                    <a:lnTo>
                      <a:pt x="1191" y="1524"/>
                    </a:lnTo>
                    <a:lnTo>
                      <a:pt x="1191" y="1526"/>
                    </a:lnTo>
                    <a:lnTo>
                      <a:pt x="1190" y="1526"/>
                    </a:lnTo>
                    <a:lnTo>
                      <a:pt x="1190" y="1524"/>
                    </a:lnTo>
                    <a:close/>
                    <a:moveTo>
                      <a:pt x="1200" y="1060"/>
                    </a:moveTo>
                    <a:lnTo>
                      <a:pt x="1202" y="1060"/>
                    </a:lnTo>
                    <a:lnTo>
                      <a:pt x="1202" y="1061"/>
                    </a:lnTo>
                    <a:lnTo>
                      <a:pt x="1200" y="1061"/>
                    </a:lnTo>
                    <a:lnTo>
                      <a:pt x="1200" y="1060"/>
                    </a:lnTo>
                    <a:close/>
                    <a:moveTo>
                      <a:pt x="1161" y="1298"/>
                    </a:moveTo>
                    <a:lnTo>
                      <a:pt x="1162" y="1298"/>
                    </a:lnTo>
                    <a:lnTo>
                      <a:pt x="1162" y="1299"/>
                    </a:lnTo>
                    <a:lnTo>
                      <a:pt x="1161" y="1299"/>
                    </a:lnTo>
                    <a:lnTo>
                      <a:pt x="1161" y="1298"/>
                    </a:lnTo>
                    <a:close/>
                    <a:moveTo>
                      <a:pt x="1207" y="1492"/>
                    </a:moveTo>
                    <a:lnTo>
                      <a:pt x="1208" y="1492"/>
                    </a:lnTo>
                    <a:lnTo>
                      <a:pt x="1208" y="1493"/>
                    </a:lnTo>
                    <a:lnTo>
                      <a:pt x="1207" y="1493"/>
                    </a:lnTo>
                    <a:lnTo>
                      <a:pt x="1207" y="1492"/>
                    </a:lnTo>
                    <a:close/>
                    <a:moveTo>
                      <a:pt x="1416" y="1680"/>
                    </a:moveTo>
                    <a:lnTo>
                      <a:pt x="1417" y="1680"/>
                    </a:lnTo>
                    <a:lnTo>
                      <a:pt x="1417" y="1682"/>
                    </a:lnTo>
                    <a:lnTo>
                      <a:pt x="1416" y="1682"/>
                    </a:lnTo>
                    <a:lnTo>
                      <a:pt x="1416" y="1680"/>
                    </a:lnTo>
                    <a:close/>
                    <a:moveTo>
                      <a:pt x="1244" y="1502"/>
                    </a:moveTo>
                    <a:lnTo>
                      <a:pt x="1246" y="1502"/>
                    </a:lnTo>
                    <a:lnTo>
                      <a:pt x="1246" y="1504"/>
                    </a:lnTo>
                    <a:lnTo>
                      <a:pt x="1244" y="1504"/>
                    </a:lnTo>
                    <a:lnTo>
                      <a:pt x="1244" y="1502"/>
                    </a:lnTo>
                    <a:close/>
                    <a:moveTo>
                      <a:pt x="1193" y="1124"/>
                    </a:moveTo>
                    <a:lnTo>
                      <a:pt x="1193" y="1126"/>
                    </a:lnTo>
                    <a:lnTo>
                      <a:pt x="1193" y="1124"/>
                    </a:lnTo>
                    <a:close/>
                    <a:moveTo>
                      <a:pt x="1176" y="1117"/>
                    </a:moveTo>
                    <a:lnTo>
                      <a:pt x="1178" y="1117"/>
                    </a:lnTo>
                    <a:lnTo>
                      <a:pt x="1178" y="1119"/>
                    </a:lnTo>
                    <a:lnTo>
                      <a:pt x="1176" y="1119"/>
                    </a:lnTo>
                    <a:lnTo>
                      <a:pt x="1176" y="1117"/>
                    </a:lnTo>
                    <a:close/>
                    <a:moveTo>
                      <a:pt x="1161" y="1160"/>
                    </a:moveTo>
                    <a:lnTo>
                      <a:pt x="1162" y="1160"/>
                    </a:lnTo>
                    <a:lnTo>
                      <a:pt x="1162" y="1162"/>
                    </a:lnTo>
                    <a:lnTo>
                      <a:pt x="1161" y="1162"/>
                    </a:lnTo>
                    <a:lnTo>
                      <a:pt x="1161" y="1160"/>
                    </a:lnTo>
                    <a:close/>
                    <a:moveTo>
                      <a:pt x="1190" y="1060"/>
                    </a:moveTo>
                    <a:lnTo>
                      <a:pt x="1193" y="1060"/>
                    </a:lnTo>
                    <a:lnTo>
                      <a:pt x="1190" y="1060"/>
                    </a:lnTo>
                    <a:close/>
                    <a:moveTo>
                      <a:pt x="1162" y="1405"/>
                    </a:moveTo>
                    <a:lnTo>
                      <a:pt x="1164" y="1405"/>
                    </a:lnTo>
                    <a:lnTo>
                      <a:pt x="1164" y="1407"/>
                    </a:lnTo>
                    <a:lnTo>
                      <a:pt x="1162" y="1407"/>
                    </a:lnTo>
                    <a:lnTo>
                      <a:pt x="1162" y="1405"/>
                    </a:lnTo>
                    <a:close/>
                    <a:moveTo>
                      <a:pt x="1176" y="1470"/>
                    </a:moveTo>
                    <a:lnTo>
                      <a:pt x="1178" y="1470"/>
                    </a:lnTo>
                    <a:lnTo>
                      <a:pt x="1178" y="1471"/>
                    </a:lnTo>
                    <a:lnTo>
                      <a:pt x="1176" y="1471"/>
                    </a:lnTo>
                    <a:lnTo>
                      <a:pt x="1176" y="1470"/>
                    </a:lnTo>
                    <a:close/>
                    <a:moveTo>
                      <a:pt x="1212" y="1105"/>
                    </a:moveTo>
                    <a:lnTo>
                      <a:pt x="1213" y="1105"/>
                    </a:lnTo>
                    <a:lnTo>
                      <a:pt x="1212" y="1105"/>
                    </a:lnTo>
                    <a:close/>
                    <a:moveTo>
                      <a:pt x="1205" y="1097"/>
                    </a:moveTo>
                    <a:lnTo>
                      <a:pt x="1207" y="1097"/>
                    </a:lnTo>
                    <a:lnTo>
                      <a:pt x="1207" y="1099"/>
                    </a:lnTo>
                    <a:lnTo>
                      <a:pt x="1205" y="1099"/>
                    </a:lnTo>
                    <a:lnTo>
                      <a:pt x="1205" y="1097"/>
                    </a:lnTo>
                    <a:close/>
                    <a:moveTo>
                      <a:pt x="1241" y="1592"/>
                    </a:moveTo>
                    <a:lnTo>
                      <a:pt x="1242" y="1592"/>
                    </a:lnTo>
                    <a:lnTo>
                      <a:pt x="1242" y="1594"/>
                    </a:lnTo>
                    <a:lnTo>
                      <a:pt x="1241" y="1594"/>
                    </a:lnTo>
                    <a:lnTo>
                      <a:pt x="1241" y="1592"/>
                    </a:lnTo>
                    <a:close/>
                    <a:moveTo>
                      <a:pt x="1185" y="1461"/>
                    </a:moveTo>
                    <a:lnTo>
                      <a:pt x="1185" y="1463"/>
                    </a:lnTo>
                    <a:lnTo>
                      <a:pt x="1185" y="1461"/>
                    </a:lnTo>
                    <a:close/>
                    <a:moveTo>
                      <a:pt x="1191" y="1122"/>
                    </a:moveTo>
                    <a:lnTo>
                      <a:pt x="1193" y="1122"/>
                    </a:lnTo>
                    <a:lnTo>
                      <a:pt x="1193" y="1124"/>
                    </a:lnTo>
                    <a:lnTo>
                      <a:pt x="1191" y="1124"/>
                    </a:lnTo>
                    <a:lnTo>
                      <a:pt x="1191" y="1122"/>
                    </a:lnTo>
                    <a:close/>
                    <a:moveTo>
                      <a:pt x="1232" y="959"/>
                    </a:moveTo>
                    <a:lnTo>
                      <a:pt x="1234" y="959"/>
                    </a:lnTo>
                    <a:lnTo>
                      <a:pt x="1232" y="959"/>
                    </a:lnTo>
                    <a:close/>
                    <a:moveTo>
                      <a:pt x="1332" y="1590"/>
                    </a:moveTo>
                    <a:lnTo>
                      <a:pt x="1334" y="1590"/>
                    </a:lnTo>
                    <a:lnTo>
                      <a:pt x="1332" y="1590"/>
                    </a:lnTo>
                    <a:close/>
                    <a:moveTo>
                      <a:pt x="1179" y="1488"/>
                    </a:moveTo>
                    <a:lnTo>
                      <a:pt x="1179" y="1490"/>
                    </a:lnTo>
                    <a:lnTo>
                      <a:pt x="1179" y="1488"/>
                    </a:lnTo>
                    <a:close/>
                    <a:moveTo>
                      <a:pt x="1298" y="1621"/>
                    </a:moveTo>
                    <a:lnTo>
                      <a:pt x="1300" y="1621"/>
                    </a:lnTo>
                    <a:lnTo>
                      <a:pt x="1300" y="1624"/>
                    </a:lnTo>
                    <a:lnTo>
                      <a:pt x="1298" y="1624"/>
                    </a:lnTo>
                    <a:lnTo>
                      <a:pt x="1298" y="1621"/>
                    </a:lnTo>
                    <a:close/>
                    <a:moveTo>
                      <a:pt x="1258" y="1558"/>
                    </a:moveTo>
                    <a:lnTo>
                      <a:pt x="1259" y="1558"/>
                    </a:lnTo>
                    <a:lnTo>
                      <a:pt x="1259" y="1560"/>
                    </a:lnTo>
                    <a:lnTo>
                      <a:pt x="1258" y="1560"/>
                    </a:lnTo>
                    <a:lnTo>
                      <a:pt x="1258" y="1558"/>
                    </a:lnTo>
                    <a:close/>
                    <a:moveTo>
                      <a:pt x="1162" y="1376"/>
                    </a:moveTo>
                    <a:lnTo>
                      <a:pt x="1164" y="1376"/>
                    </a:lnTo>
                    <a:lnTo>
                      <a:pt x="1164" y="1378"/>
                    </a:lnTo>
                    <a:lnTo>
                      <a:pt x="1162" y="1378"/>
                    </a:lnTo>
                    <a:lnTo>
                      <a:pt x="1162" y="1376"/>
                    </a:lnTo>
                    <a:close/>
                    <a:moveTo>
                      <a:pt x="1210" y="1490"/>
                    </a:moveTo>
                    <a:lnTo>
                      <a:pt x="1210" y="1492"/>
                    </a:lnTo>
                    <a:lnTo>
                      <a:pt x="1210" y="1490"/>
                    </a:lnTo>
                    <a:close/>
                    <a:moveTo>
                      <a:pt x="1208" y="1553"/>
                    </a:moveTo>
                    <a:lnTo>
                      <a:pt x="1208" y="1556"/>
                    </a:lnTo>
                    <a:lnTo>
                      <a:pt x="1208" y="1553"/>
                    </a:lnTo>
                    <a:close/>
                    <a:moveTo>
                      <a:pt x="1264" y="1595"/>
                    </a:moveTo>
                    <a:lnTo>
                      <a:pt x="1266" y="1595"/>
                    </a:lnTo>
                    <a:lnTo>
                      <a:pt x="1266" y="1597"/>
                    </a:lnTo>
                    <a:lnTo>
                      <a:pt x="1264" y="1597"/>
                    </a:lnTo>
                    <a:lnTo>
                      <a:pt x="1264" y="1595"/>
                    </a:lnTo>
                    <a:close/>
                    <a:moveTo>
                      <a:pt x="1208" y="1478"/>
                    </a:moveTo>
                    <a:lnTo>
                      <a:pt x="1210" y="1478"/>
                    </a:lnTo>
                    <a:lnTo>
                      <a:pt x="1210" y="1480"/>
                    </a:lnTo>
                    <a:lnTo>
                      <a:pt x="1208" y="1480"/>
                    </a:lnTo>
                    <a:lnTo>
                      <a:pt x="1208" y="1478"/>
                    </a:lnTo>
                    <a:close/>
                    <a:moveTo>
                      <a:pt x="1173" y="1408"/>
                    </a:moveTo>
                    <a:lnTo>
                      <a:pt x="1174" y="1408"/>
                    </a:lnTo>
                    <a:lnTo>
                      <a:pt x="1174" y="1410"/>
                    </a:lnTo>
                    <a:lnTo>
                      <a:pt x="1173" y="1410"/>
                    </a:lnTo>
                    <a:lnTo>
                      <a:pt x="1173" y="1408"/>
                    </a:lnTo>
                    <a:close/>
                    <a:moveTo>
                      <a:pt x="1358" y="1650"/>
                    </a:moveTo>
                    <a:lnTo>
                      <a:pt x="1360" y="1650"/>
                    </a:lnTo>
                    <a:lnTo>
                      <a:pt x="1360" y="1652"/>
                    </a:lnTo>
                    <a:lnTo>
                      <a:pt x="1358" y="1652"/>
                    </a:lnTo>
                    <a:lnTo>
                      <a:pt x="1358" y="1650"/>
                    </a:lnTo>
                    <a:close/>
                    <a:moveTo>
                      <a:pt x="1179" y="1276"/>
                    </a:moveTo>
                    <a:lnTo>
                      <a:pt x="1181" y="1276"/>
                    </a:lnTo>
                    <a:lnTo>
                      <a:pt x="1181" y="1277"/>
                    </a:lnTo>
                    <a:lnTo>
                      <a:pt x="1179" y="1277"/>
                    </a:lnTo>
                    <a:lnTo>
                      <a:pt x="1179" y="1276"/>
                    </a:lnTo>
                    <a:close/>
                    <a:moveTo>
                      <a:pt x="1253" y="1572"/>
                    </a:moveTo>
                    <a:lnTo>
                      <a:pt x="1254" y="1572"/>
                    </a:lnTo>
                    <a:lnTo>
                      <a:pt x="1254" y="1575"/>
                    </a:lnTo>
                    <a:lnTo>
                      <a:pt x="1253" y="1575"/>
                    </a:lnTo>
                    <a:lnTo>
                      <a:pt x="1253" y="1572"/>
                    </a:lnTo>
                    <a:close/>
                    <a:moveTo>
                      <a:pt x="1156" y="1245"/>
                    </a:moveTo>
                    <a:lnTo>
                      <a:pt x="1157" y="1245"/>
                    </a:lnTo>
                    <a:lnTo>
                      <a:pt x="1157" y="1247"/>
                    </a:lnTo>
                    <a:lnTo>
                      <a:pt x="1156" y="1247"/>
                    </a:lnTo>
                    <a:lnTo>
                      <a:pt x="1156" y="1245"/>
                    </a:lnTo>
                    <a:close/>
                    <a:moveTo>
                      <a:pt x="1202" y="1243"/>
                    </a:moveTo>
                    <a:lnTo>
                      <a:pt x="1203" y="1243"/>
                    </a:lnTo>
                    <a:lnTo>
                      <a:pt x="1203" y="1245"/>
                    </a:lnTo>
                    <a:lnTo>
                      <a:pt x="1202" y="1245"/>
                    </a:lnTo>
                    <a:lnTo>
                      <a:pt x="1202" y="1243"/>
                    </a:lnTo>
                    <a:close/>
                    <a:moveTo>
                      <a:pt x="1254" y="1573"/>
                    </a:moveTo>
                    <a:lnTo>
                      <a:pt x="1254" y="1577"/>
                    </a:lnTo>
                    <a:lnTo>
                      <a:pt x="1254" y="1573"/>
                    </a:lnTo>
                    <a:close/>
                    <a:moveTo>
                      <a:pt x="1176" y="1119"/>
                    </a:moveTo>
                    <a:lnTo>
                      <a:pt x="1178" y="1119"/>
                    </a:lnTo>
                    <a:lnTo>
                      <a:pt x="1178" y="1121"/>
                    </a:lnTo>
                    <a:lnTo>
                      <a:pt x="1176" y="1121"/>
                    </a:lnTo>
                    <a:lnTo>
                      <a:pt x="1176" y="1119"/>
                    </a:lnTo>
                    <a:close/>
                    <a:moveTo>
                      <a:pt x="1227" y="1582"/>
                    </a:moveTo>
                    <a:lnTo>
                      <a:pt x="1227" y="1585"/>
                    </a:lnTo>
                    <a:lnTo>
                      <a:pt x="1227" y="1582"/>
                    </a:lnTo>
                    <a:close/>
                    <a:moveTo>
                      <a:pt x="1190" y="1483"/>
                    </a:moveTo>
                    <a:lnTo>
                      <a:pt x="1190" y="1485"/>
                    </a:lnTo>
                    <a:lnTo>
                      <a:pt x="1190" y="1483"/>
                    </a:lnTo>
                    <a:close/>
                    <a:moveTo>
                      <a:pt x="1176" y="1197"/>
                    </a:moveTo>
                    <a:lnTo>
                      <a:pt x="1178" y="1197"/>
                    </a:lnTo>
                    <a:lnTo>
                      <a:pt x="1178" y="1199"/>
                    </a:lnTo>
                    <a:lnTo>
                      <a:pt x="1176" y="1199"/>
                    </a:lnTo>
                    <a:lnTo>
                      <a:pt x="1176" y="1197"/>
                    </a:lnTo>
                    <a:close/>
                    <a:moveTo>
                      <a:pt x="1253" y="1498"/>
                    </a:moveTo>
                    <a:lnTo>
                      <a:pt x="1253" y="1500"/>
                    </a:lnTo>
                    <a:lnTo>
                      <a:pt x="1253" y="1498"/>
                    </a:lnTo>
                    <a:close/>
                    <a:moveTo>
                      <a:pt x="1186" y="1384"/>
                    </a:moveTo>
                    <a:lnTo>
                      <a:pt x="1188" y="1384"/>
                    </a:lnTo>
                    <a:lnTo>
                      <a:pt x="1188" y="1386"/>
                    </a:lnTo>
                    <a:lnTo>
                      <a:pt x="1186" y="1386"/>
                    </a:lnTo>
                    <a:lnTo>
                      <a:pt x="1186" y="1384"/>
                    </a:lnTo>
                    <a:close/>
                    <a:moveTo>
                      <a:pt x="1207" y="1071"/>
                    </a:moveTo>
                    <a:lnTo>
                      <a:pt x="1208" y="1071"/>
                    </a:lnTo>
                    <a:lnTo>
                      <a:pt x="1208" y="1073"/>
                    </a:lnTo>
                    <a:lnTo>
                      <a:pt x="1207" y="1073"/>
                    </a:lnTo>
                    <a:lnTo>
                      <a:pt x="1207" y="1071"/>
                    </a:lnTo>
                    <a:close/>
                    <a:moveTo>
                      <a:pt x="1225" y="1575"/>
                    </a:moveTo>
                    <a:lnTo>
                      <a:pt x="1229" y="1575"/>
                    </a:lnTo>
                    <a:lnTo>
                      <a:pt x="1229" y="1577"/>
                    </a:lnTo>
                    <a:lnTo>
                      <a:pt x="1225" y="1577"/>
                    </a:lnTo>
                    <a:lnTo>
                      <a:pt x="1225" y="1575"/>
                    </a:lnTo>
                    <a:close/>
                    <a:moveTo>
                      <a:pt x="1220" y="980"/>
                    </a:moveTo>
                    <a:lnTo>
                      <a:pt x="1222" y="980"/>
                    </a:lnTo>
                    <a:lnTo>
                      <a:pt x="1220" y="980"/>
                    </a:lnTo>
                    <a:close/>
                    <a:moveTo>
                      <a:pt x="1186" y="1191"/>
                    </a:moveTo>
                    <a:lnTo>
                      <a:pt x="1188" y="1191"/>
                    </a:lnTo>
                    <a:lnTo>
                      <a:pt x="1188" y="1192"/>
                    </a:lnTo>
                    <a:lnTo>
                      <a:pt x="1186" y="1192"/>
                    </a:lnTo>
                    <a:lnTo>
                      <a:pt x="1186" y="1191"/>
                    </a:lnTo>
                    <a:close/>
                    <a:moveTo>
                      <a:pt x="1224" y="1580"/>
                    </a:moveTo>
                    <a:lnTo>
                      <a:pt x="1224" y="1582"/>
                    </a:lnTo>
                    <a:lnTo>
                      <a:pt x="1224" y="1580"/>
                    </a:lnTo>
                    <a:close/>
                    <a:moveTo>
                      <a:pt x="1208" y="1553"/>
                    </a:moveTo>
                    <a:lnTo>
                      <a:pt x="1210" y="1553"/>
                    </a:lnTo>
                    <a:lnTo>
                      <a:pt x="1210" y="1555"/>
                    </a:lnTo>
                    <a:lnTo>
                      <a:pt x="1208" y="1555"/>
                    </a:lnTo>
                    <a:lnTo>
                      <a:pt x="1208" y="1553"/>
                    </a:lnTo>
                    <a:close/>
                    <a:moveTo>
                      <a:pt x="1219" y="1524"/>
                    </a:moveTo>
                    <a:lnTo>
                      <a:pt x="1222" y="1524"/>
                    </a:lnTo>
                    <a:lnTo>
                      <a:pt x="1222" y="1526"/>
                    </a:lnTo>
                    <a:lnTo>
                      <a:pt x="1219" y="1526"/>
                    </a:lnTo>
                    <a:lnTo>
                      <a:pt x="1219" y="1524"/>
                    </a:lnTo>
                    <a:close/>
                    <a:moveTo>
                      <a:pt x="1139" y="1310"/>
                    </a:moveTo>
                    <a:lnTo>
                      <a:pt x="1142" y="1310"/>
                    </a:lnTo>
                    <a:lnTo>
                      <a:pt x="1142" y="1311"/>
                    </a:lnTo>
                    <a:lnTo>
                      <a:pt x="1139" y="1311"/>
                    </a:lnTo>
                    <a:lnTo>
                      <a:pt x="1139" y="1310"/>
                    </a:lnTo>
                    <a:close/>
                    <a:moveTo>
                      <a:pt x="1225" y="981"/>
                    </a:moveTo>
                    <a:lnTo>
                      <a:pt x="1227" y="981"/>
                    </a:lnTo>
                    <a:lnTo>
                      <a:pt x="1227" y="983"/>
                    </a:lnTo>
                    <a:lnTo>
                      <a:pt x="1225" y="983"/>
                    </a:lnTo>
                    <a:lnTo>
                      <a:pt x="1225" y="981"/>
                    </a:lnTo>
                    <a:close/>
                    <a:moveTo>
                      <a:pt x="1140" y="1303"/>
                    </a:moveTo>
                    <a:lnTo>
                      <a:pt x="1142" y="1303"/>
                    </a:lnTo>
                    <a:lnTo>
                      <a:pt x="1142" y="1306"/>
                    </a:lnTo>
                    <a:lnTo>
                      <a:pt x="1140" y="1306"/>
                    </a:lnTo>
                    <a:lnTo>
                      <a:pt x="1140" y="1303"/>
                    </a:lnTo>
                    <a:close/>
                    <a:moveTo>
                      <a:pt x="1326" y="1653"/>
                    </a:moveTo>
                    <a:lnTo>
                      <a:pt x="1327" y="1653"/>
                    </a:lnTo>
                    <a:lnTo>
                      <a:pt x="1326" y="1653"/>
                    </a:lnTo>
                    <a:close/>
                    <a:moveTo>
                      <a:pt x="1246" y="1534"/>
                    </a:moveTo>
                    <a:lnTo>
                      <a:pt x="1247" y="1534"/>
                    </a:lnTo>
                    <a:lnTo>
                      <a:pt x="1247" y="1536"/>
                    </a:lnTo>
                    <a:lnTo>
                      <a:pt x="1246" y="1536"/>
                    </a:lnTo>
                    <a:lnTo>
                      <a:pt x="1246" y="1534"/>
                    </a:lnTo>
                    <a:close/>
                    <a:moveTo>
                      <a:pt x="1276" y="1590"/>
                    </a:moveTo>
                    <a:lnTo>
                      <a:pt x="1278" y="1590"/>
                    </a:lnTo>
                    <a:lnTo>
                      <a:pt x="1278" y="1592"/>
                    </a:lnTo>
                    <a:lnTo>
                      <a:pt x="1276" y="1592"/>
                    </a:lnTo>
                    <a:lnTo>
                      <a:pt x="1276" y="1590"/>
                    </a:lnTo>
                    <a:close/>
                    <a:moveTo>
                      <a:pt x="1270" y="1602"/>
                    </a:moveTo>
                    <a:lnTo>
                      <a:pt x="1271" y="1602"/>
                    </a:lnTo>
                    <a:lnTo>
                      <a:pt x="1271" y="1604"/>
                    </a:lnTo>
                    <a:lnTo>
                      <a:pt x="1270" y="1604"/>
                    </a:lnTo>
                    <a:lnTo>
                      <a:pt x="1270" y="1602"/>
                    </a:lnTo>
                    <a:close/>
                    <a:moveTo>
                      <a:pt x="1217" y="1555"/>
                    </a:moveTo>
                    <a:lnTo>
                      <a:pt x="1219" y="1555"/>
                    </a:lnTo>
                    <a:lnTo>
                      <a:pt x="1217" y="1555"/>
                    </a:lnTo>
                    <a:close/>
                    <a:moveTo>
                      <a:pt x="1183" y="1099"/>
                    </a:moveTo>
                    <a:lnTo>
                      <a:pt x="1185" y="1099"/>
                    </a:lnTo>
                    <a:lnTo>
                      <a:pt x="1185" y="1100"/>
                    </a:lnTo>
                    <a:lnTo>
                      <a:pt x="1183" y="1100"/>
                    </a:lnTo>
                    <a:lnTo>
                      <a:pt x="1183" y="1099"/>
                    </a:lnTo>
                    <a:close/>
                    <a:moveTo>
                      <a:pt x="1230" y="1449"/>
                    </a:moveTo>
                    <a:lnTo>
                      <a:pt x="1232" y="1449"/>
                    </a:lnTo>
                    <a:lnTo>
                      <a:pt x="1232" y="1451"/>
                    </a:lnTo>
                    <a:lnTo>
                      <a:pt x="1230" y="1451"/>
                    </a:lnTo>
                    <a:lnTo>
                      <a:pt x="1230" y="1449"/>
                    </a:lnTo>
                    <a:close/>
                    <a:moveTo>
                      <a:pt x="1181" y="1374"/>
                    </a:moveTo>
                    <a:lnTo>
                      <a:pt x="1181" y="1376"/>
                    </a:lnTo>
                    <a:lnTo>
                      <a:pt x="1181" y="1374"/>
                    </a:lnTo>
                    <a:close/>
                    <a:moveTo>
                      <a:pt x="1208" y="1116"/>
                    </a:moveTo>
                    <a:lnTo>
                      <a:pt x="1210" y="1116"/>
                    </a:lnTo>
                    <a:lnTo>
                      <a:pt x="1210" y="1117"/>
                    </a:lnTo>
                    <a:lnTo>
                      <a:pt x="1208" y="1117"/>
                    </a:lnTo>
                    <a:lnTo>
                      <a:pt x="1208" y="1116"/>
                    </a:lnTo>
                    <a:close/>
                    <a:moveTo>
                      <a:pt x="1268" y="1521"/>
                    </a:moveTo>
                    <a:lnTo>
                      <a:pt x="1270" y="1521"/>
                    </a:lnTo>
                    <a:lnTo>
                      <a:pt x="1270" y="1524"/>
                    </a:lnTo>
                    <a:lnTo>
                      <a:pt x="1268" y="1524"/>
                    </a:lnTo>
                    <a:lnTo>
                      <a:pt x="1268" y="1521"/>
                    </a:lnTo>
                    <a:close/>
                    <a:moveTo>
                      <a:pt x="1162" y="1243"/>
                    </a:moveTo>
                    <a:lnTo>
                      <a:pt x="1164" y="1243"/>
                    </a:lnTo>
                    <a:lnTo>
                      <a:pt x="1164" y="1245"/>
                    </a:lnTo>
                    <a:lnTo>
                      <a:pt x="1162" y="1245"/>
                    </a:lnTo>
                    <a:lnTo>
                      <a:pt x="1162" y="1243"/>
                    </a:lnTo>
                    <a:close/>
                    <a:moveTo>
                      <a:pt x="1225" y="959"/>
                    </a:moveTo>
                    <a:lnTo>
                      <a:pt x="1227" y="959"/>
                    </a:lnTo>
                    <a:lnTo>
                      <a:pt x="1227" y="961"/>
                    </a:lnTo>
                    <a:lnTo>
                      <a:pt x="1225" y="961"/>
                    </a:lnTo>
                    <a:lnTo>
                      <a:pt x="1225" y="959"/>
                    </a:lnTo>
                    <a:close/>
                    <a:moveTo>
                      <a:pt x="1179" y="1424"/>
                    </a:moveTo>
                    <a:lnTo>
                      <a:pt x="1181" y="1424"/>
                    </a:lnTo>
                    <a:lnTo>
                      <a:pt x="1181" y="1425"/>
                    </a:lnTo>
                    <a:lnTo>
                      <a:pt x="1179" y="1425"/>
                    </a:lnTo>
                    <a:lnTo>
                      <a:pt x="1179" y="1424"/>
                    </a:lnTo>
                    <a:close/>
                    <a:moveTo>
                      <a:pt x="1154" y="1187"/>
                    </a:moveTo>
                    <a:lnTo>
                      <a:pt x="1156" y="1187"/>
                    </a:lnTo>
                    <a:lnTo>
                      <a:pt x="1154" y="1187"/>
                    </a:lnTo>
                    <a:close/>
                    <a:moveTo>
                      <a:pt x="1217" y="1553"/>
                    </a:moveTo>
                    <a:lnTo>
                      <a:pt x="1220" y="1553"/>
                    </a:lnTo>
                    <a:lnTo>
                      <a:pt x="1220" y="1555"/>
                    </a:lnTo>
                    <a:lnTo>
                      <a:pt x="1217" y="1555"/>
                    </a:lnTo>
                    <a:lnTo>
                      <a:pt x="1217" y="1553"/>
                    </a:lnTo>
                    <a:close/>
                    <a:moveTo>
                      <a:pt x="1164" y="1134"/>
                    </a:moveTo>
                    <a:lnTo>
                      <a:pt x="1166" y="1134"/>
                    </a:lnTo>
                    <a:lnTo>
                      <a:pt x="1166" y="1136"/>
                    </a:lnTo>
                    <a:lnTo>
                      <a:pt x="1164" y="1136"/>
                    </a:lnTo>
                    <a:lnTo>
                      <a:pt x="1164" y="1134"/>
                    </a:lnTo>
                    <a:close/>
                    <a:moveTo>
                      <a:pt x="1224" y="954"/>
                    </a:moveTo>
                    <a:lnTo>
                      <a:pt x="1225" y="954"/>
                    </a:lnTo>
                    <a:lnTo>
                      <a:pt x="1225" y="956"/>
                    </a:lnTo>
                    <a:lnTo>
                      <a:pt x="1224" y="956"/>
                    </a:lnTo>
                    <a:lnTo>
                      <a:pt x="1224" y="954"/>
                    </a:lnTo>
                    <a:close/>
                    <a:moveTo>
                      <a:pt x="1145" y="1252"/>
                    </a:moveTo>
                    <a:lnTo>
                      <a:pt x="1149" y="1252"/>
                    </a:lnTo>
                    <a:lnTo>
                      <a:pt x="1149" y="1253"/>
                    </a:lnTo>
                    <a:lnTo>
                      <a:pt x="1145" y="1253"/>
                    </a:lnTo>
                    <a:lnTo>
                      <a:pt x="1145" y="1252"/>
                    </a:lnTo>
                    <a:close/>
                    <a:moveTo>
                      <a:pt x="1169" y="1415"/>
                    </a:moveTo>
                    <a:lnTo>
                      <a:pt x="1171" y="1415"/>
                    </a:lnTo>
                    <a:lnTo>
                      <a:pt x="1171" y="1417"/>
                    </a:lnTo>
                    <a:lnTo>
                      <a:pt x="1169" y="1417"/>
                    </a:lnTo>
                    <a:lnTo>
                      <a:pt x="1169" y="1415"/>
                    </a:lnTo>
                    <a:close/>
                    <a:moveTo>
                      <a:pt x="1198" y="1427"/>
                    </a:moveTo>
                    <a:lnTo>
                      <a:pt x="1200" y="1427"/>
                    </a:lnTo>
                    <a:lnTo>
                      <a:pt x="1200" y="1429"/>
                    </a:lnTo>
                    <a:lnTo>
                      <a:pt x="1198" y="1429"/>
                    </a:lnTo>
                    <a:lnTo>
                      <a:pt x="1198" y="1427"/>
                    </a:lnTo>
                    <a:close/>
                    <a:moveTo>
                      <a:pt x="1186" y="1485"/>
                    </a:moveTo>
                    <a:lnTo>
                      <a:pt x="1188" y="1485"/>
                    </a:lnTo>
                    <a:lnTo>
                      <a:pt x="1188" y="1487"/>
                    </a:lnTo>
                    <a:lnTo>
                      <a:pt x="1186" y="1487"/>
                    </a:lnTo>
                    <a:lnTo>
                      <a:pt x="1186" y="1485"/>
                    </a:lnTo>
                    <a:close/>
                    <a:moveTo>
                      <a:pt x="1186" y="1459"/>
                    </a:moveTo>
                    <a:lnTo>
                      <a:pt x="1186" y="1461"/>
                    </a:lnTo>
                    <a:lnTo>
                      <a:pt x="1186" y="1459"/>
                    </a:lnTo>
                    <a:close/>
                    <a:moveTo>
                      <a:pt x="1185" y="1461"/>
                    </a:moveTo>
                    <a:lnTo>
                      <a:pt x="1186" y="1461"/>
                    </a:lnTo>
                    <a:lnTo>
                      <a:pt x="1186" y="1463"/>
                    </a:lnTo>
                    <a:lnTo>
                      <a:pt x="1185" y="1463"/>
                    </a:lnTo>
                    <a:lnTo>
                      <a:pt x="1185" y="1461"/>
                    </a:lnTo>
                    <a:close/>
                    <a:moveTo>
                      <a:pt x="1164" y="1242"/>
                    </a:moveTo>
                    <a:lnTo>
                      <a:pt x="1166" y="1242"/>
                    </a:lnTo>
                    <a:lnTo>
                      <a:pt x="1166" y="1243"/>
                    </a:lnTo>
                    <a:lnTo>
                      <a:pt x="1164" y="1243"/>
                    </a:lnTo>
                    <a:lnTo>
                      <a:pt x="1164" y="1242"/>
                    </a:lnTo>
                    <a:close/>
                    <a:moveTo>
                      <a:pt x="1241" y="1493"/>
                    </a:moveTo>
                    <a:lnTo>
                      <a:pt x="1242" y="1493"/>
                    </a:lnTo>
                    <a:lnTo>
                      <a:pt x="1242" y="1495"/>
                    </a:lnTo>
                    <a:lnTo>
                      <a:pt x="1241" y="1495"/>
                    </a:lnTo>
                    <a:lnTo>
                      <a:pt x="1241" y="1493"/>
                    </a:lnTo>
                    <a:close/>
                    <a:moveTo>
                      <a:pt x="1200" y="1250"/>
                    </a:moveTo>
                    <a:lnTo>
                      <a:pt x="1203" y="1250"/>
                    </a:lnTo>
                    <a:lnTo>
                      <a:pt x="1200" y="1250"/>
                    </a:lnTo>
                    <a:close/>
                    <a:moveTo>
                      <a:pt x="1208" y="1065"/>
                    </a:moveTo>
                    <a:lnTo>
                      <a:pt x="1210" y="1065"/>
                    </a:lnTo>
                    <a:lnTo>
                      <a:pt x="1210" y="1066"/>
                    </a:lnTo>
                    <a:lnTo>
                      <a:pt x="1208" y="1066"/>
                    </a:lnTo>
                    <a:lnTo>
                      <a:pt x="1208" y="1065"/>
                    </a:lnTo>
                    <a:close/>
                    <a:moveTo>
                      <a:pt x="1220" y="1555"/>
                    </a:moveTo>
                    <a:lnTo>
                      <a:pt x="1222" y="1555"/>
                    </a:lnTo>
                    <a:lnTo>
                      <a:pt x="1222" y="1556"/>
                    </a:lnTo>
                    <a:lnTo>
                      <a:pt x="1220" y="1556"/>
                    </a:lnTo>
                    <a:lnTo>
                      <a:pt x="1220" y="1555"/>
                    </a:lnTo>
                    <a:close/>
                    <a:moveTo>
                      <a:pt x="1203" y="1532"/>
                    </a:moveTo>
                    <a:lnTo>
                      <a:pt x="1207" y="1532"/>
                    </a:lnTo>
                    <a:lnTo>
                      <a:pt x="1207" y="1534"/>
                    </a:lnTo>
                    <a:lnTo>
                      <a:pt x="1203" y="1534"/>
                    </a:lnTo>
                    <a:lnTo>
                      <a:pt x="1203" y="1532"/>
                    </a:lnTo>
                    <a:close/>
                    <a:moveTo>
                      <a:pt x="1173" y="1391"/>
                    </a:moveTo>
                    <a:lnTo>
                      <a:pt x="1174" y="1391"/>
                    </a:lnTo>
                    <a:lnTo>
                      <a:pt x="1174" y="1393"/>
                    </a:lnTo>
                    <a:lnTo>
                      <a:pt x="1173" y="1393"/>
                    </a:lnTo>
                    <a:lnTo>
                      <a:pt x="1173" y="1391"/>
                    </a:lnTo>
                    <a:close/>
                    <a:moveTo>
                      <a:pt x="1200" y="1442"/>
                    </a:moveTo>
                    <a:lnTo>
                      <a:pt x="1202" y="1442"/>
                    </a:lnTo>
                    <a:lnTo>
                      <a:pt x="1202" y="1444"/>
                    </a:lnTo>
                    <a:lnTo>
                      <a:pt x="1200" y="1444"/>
                    </a:lnTo>
                    <a:lnTo>
                      <a:pt x="1200" y="1442"/>
                    </a:lnTo>
                    <a:close/>
                    <a:moveTo>
                      <a:pt x="1383" y="1663"/>
                    </a:moveTo>
                    <a:lnTo>
                      <a:pt x="1385" y="1663"/>
                    </a:lnTo>
                    <a:lnTo>
                      <a:pt x="1385" y="1665"/>
                    </a:lnTo>
                    <a:lnTo>
                      <a:pt x="1383" y="1665"/>
                    </a:lnTo>
                    <a:lnTo>
                      <a:pt x="1383" y="1663"/>
                    </a:lnTo>
                    <a:close/>
                    <a:moveTo>
                      <a:pt x="1343" y="1657"/>
                    </a:moveTo>
                    <a:lnTo>
                      <a:pt x="1344" y="1657"/>
                    </a:lnTo>
                    <a:lnTo>
                      <a:pt x="1344" y="1660"/>
                    </a:lnTo>
                    <a:lnTo>
                      <a:pt x="1343" y="1660"/>
                    </a:lnTo>
                    <a:lnTo>
                      <a:pt x="1343" y="1657"/>
                    </a:lnTo>
                    <a:close/>
                    <a:moveTo>
                      <a:pt x="1215" y="1105"/>
                    </a:moveTo>
                    <a:lnTo>
                      <a:pt x="1217" y="1105"/>
                    </a:lnTo>
                    <a:lnTo>
                      <a:pt x="1217" y="1109"/>
                    </a:lnTo>
                    <a:lnTo>
                      <a:pt x="1215" y="1109"/>
                    </a:lnTo>
                    <a:lnTo>
                      <a:pt x="1215" y="1105"/>
                    </a:lnTo>
                    <a:close/>
                    <a:moveTo>
                      <a:pt x="1210" y="1071"/>
                    </a:moveTo>
                    <a:lnTo>
                      <a:pt x="1210" y="1073"/>
                    </a:lnTo>
                    <a:lnTo>
                      <a:pt x="1210" y="1071"/>
                    </a:lnTo>
                    <a:close/>
                    <a:moveTo>
                      <a:pt x="1169" y="1481"/>
                    </a:moveTo>
                    <a:lnTo>
                      <a:pt x="1171" y="1481"/>
                    </a:lnTo>
                    <a:lnTo>
                      <a:pt x="1169" y="1481"/>
                    </a:lnTo>
                    <a:close/>
                    <a:moveTo>
                      <a:pt x="1154" y="1306"/>
                    </a:moveTo>
                    <a:lnTo>
                      <a:pt x="1156" y="1306"/>
                    </a:lnTo>
                    <a:lnTo>
                      <a:pt x="1156" y="1310"/>
                    </a:lnTo>
                    <a:lnTo>
                      <a:pt x="1154" y="1310"/>
                    </a:lnTo>
                    <a:lnTo>
                      <a:pt x="1154" y="1306"/>
                    </a:lnTo>
                    <a:close/>
                    <a:moveTo>
                      <a:pt x="1292" y="1577"/>
                    </a:moveTo>
                    <a:lnTo>
                      <a:pt x="1293" y="1577"/>
                    </a:lnTo>
                    <a:lnTo>
                      <a:pt x="1293" y="1578"/>
                    </a:lnTo>
                    <a:lnTo>
                      <a:pt x="1292" y="1578"/>
                    </a:lnTo>
                    <a:lnTo>
                      <a:pt x="1292" y="1577"/>
                    </a:lnTo>
                    <a:close/>
                    <a:moveTo>
                      <a:pt x="1227" y="997"/>
                    </a:moveTo>
                    <a:lnTo>
                      <a:pt x="1229" y="997"/>
                    </a:lnTo>
                    <a:lnTo>
                      <a:pt x="1229" y="998"/>
                    </a:lnTo>
                    <a:lnTo>
                      <a:pt x="1227" y="998"/>
                    </a:lnTo>
                    <a:lnTo>
                      <a:pt x="1227" y="997"/>
                    </a:lnTo>
                    <a:close/>
                    <a:moveTo>
                      <a:pt x="1151" y="1185"/>
                    </a:moveTo>
                    <a:lnTo>
                      <a:pt x="1152" y="1185"/>
                    </a:lnTo>
                    <a:lnTo>
                      <a:pt x="1152" y="1187"/>
                    </a:lnTo>
                    <a:lnTo>
                      <a:pt x="1151" y="1187"/>
                    </a:lnTo>
                    <a:lnTo>
                      <a:pt x="1151" y="1185"/>
                    </a:lnTo>
                    <a:close/>
                    <a:moveTo>
                      <a:pt x="1205" y="1478"/>
                    </a:moveTo>
                    <a:lnTo>
                      <a:pt x="1207" y="1478"/>
                    </a:lnTo>
                    <a:lnTo>
                      <a:pt x="1207" y="1480"/>
                    </a:lnTo>
                    <a:lnTo>
                      <a:pt x="1205" y="1480"/>
                    </a:lnTo>
                    <a:lnTo>
                      <a:pt x="1205" y="1478"/>
                    </a:lnTo>
                    <a:close/>
                    <a:moveTo>
                      <a:pt x="1169" y="1357"/>
                    </a:moveTo>
                    <a:lnTo>
                      <a:pt x="1171" y="1357"/>
                    </a:lnTo>
                    <a:lnTo>
                      <a:pt x="1169" y="1357"/>
                    </a:lnTo>
                    <a:close/>
                    <a:moveTo>
                      <a:pt x="1186" y="1071"/>
                    </a:moveTo>
                    <a:lnTo>
                      <a:pt x="1188" y="1071"/>
                    </a:lnTo>
                    <a:lnTo>
                      <a:pt x="1188" y="1073"/>
                    </a:lnTo>
                    <a:lnTo>
                      <a:pt x="1186" y="1073"/>
                    </a:lnTo>
                    <a:lnTo>
                      <a:pt x="1186" y="1071"/>
                    </a:lnTo>
                    <a:close/>
                    <a:moveTo>
                      <a:pt x="1198" y="1439"/>
                    </a:moveTo>
                    <a:lnTo>
                      <a:pt x="1198" y="1441"/>
                    </a:lnTo>
                    <a:lnTo>
                      <a:pt x="1198" y="1439"/>
                    </a:lnTo>
                    <a:close/>
                    <a:moveTo>
                      <a:pt x="1196" y="1485"/>
                    </a:moveTo>
                    <a:lnTo>
                      <a:pt x="1198" y="1485"/>
                    </a:lnTo>
                    <a:lnTo>
                      <a:pt x="1198" y="1488"/>
                    </a:lnTo>
                    <a:lnTo>
                      <a:pt x="1196" y="1488"/>
                    </a:lnTo>
                    <a:lnTo>
                      <a:pt x="1196" y="1485"/>
                    </a:lnTo>
                    <a:close/>
                    <a:moveTo>
                      <a:pt x="1300" y="1638"/>
                    </a:moveTo>
                    <a:lnTo>
                      <a:pt x="1302" y="1638"/>
                    </a:lnTo>
                    <a:lnTo>
                      <a:pt x="1302" y="1640"/>
                    </a:lnTo>
                    <a:lnTo>
                      <a:pt x="1300" y="1640"/>
                    </a:lnTo>
                    <a:lnTo>
                      <a:pt x="1300" y="1638"/>
                    </a:lnTo>
                    <a:close/>
                    <a:moveTo>
                      <a:pt x="1259" y="1595"/>
                    </a:moveTo>
                    <a:lnTo>
                      <a:pt x="1261" y="1595"/>
                    </a:lnTo>
                    <a:lnTo>
                      <a:pt x="1259" y="1595"/>
                    </a:lnTo>
                    <a:close/>
                    <a:moveTo>
                      <a:pt x="1168" y="1480"/>
                    </a:moveTo>
                    <a:lnTo>
                      <a:pt x="1169" y="1480"/>
                    </a:lnTo>
                    <a:lnTo>
                      <a:pt x="1169" y="1481"/>
                    </a:lnTo>
                    <a:lnTo>
                      <a:pt x="1168" y="1481"/>
                    </a:lnTo>
                    <a:lnTo>
                      <a:pt x="1168" y="1480"/>
                    </a:lnTo>
                    <a:close/>
                    <a:moveTo>
                      <a:pt x="1179" y="1458"/>
                    </a:moveTo>
                    <a:lnTo>
                      <a:pt x="1179" y="1459"/>
                    </a:lnTo>
                    <a:lnTo>
                      <a:pt x="1179" y="1458"/>
                    </a:lnTo>
                    <a:close/>
                    <a:moveTo>
                      <a:pt x="1331" y="1655"/>
                    </a:moveTo>
                    <a:lnTo>
                      <a:pt x="1332" y="1655"/>
                    </a:lnTo>
                    <a:lnTo>
                      <a:pt x="1332" y="1657"/>
                    </a:lnTo>
                    <a:lnTo>
                      <a:pt x="1331" y="1657"/>
                    </a:lnTo>
                    <a:lnTo>
                      <a:pt x="1331" y="1655"/>
                    </a:lnTo>
                    <a:close/>
                    <a:moveTo>
                      <a:pt x="1259" y="1558"/>
                    </a:moveTo>
                    <a:lnTo>
                      <a:pt x="1261" y="1558"/>
                    </a:lnTo>
                    <a:lnTo>
                      <a:pt x="1261" y="1560"/>
                    </a:lnTo>
                    <a:lnTo>
                      <a:pt x="1259" y="1560"/>
                    </a:lnTo>
                    <a:lnTo>
                      <a:pt x="1259" y="1558"/>
                    </a:lnTo>
                    <a:close/>
                    <a:moveTo>
                      <a:pt x="1164" y="1388"/>
                    </a:moveTo>
                    <a:lnTo>
                      <a:pt x="1166" y="1388"/>
                    </a:lnTo>
                    <a:lnTo>
                      <a:pt x="1166" y="1390"/>
                    </a:lnTo>
                    <a:lnTo>
                      <a:pt x="1164" y="1390"/>
                    </a:lnTo>
                    <a:lnTo>
                      <a:pt x="1164" y="1388"/>
                    </a:lnTo>
                    <a:close/>
                    <a:moveTo>
                      <a:pt x="1261" y="1607"/>
                    </a:moveTo>
                    <a:lnTo>
                      <a:pt x="1263" y="1607"/>
                    </a:lnTo>
                    <a:lnTo>
                      <a:pt x="1263" y="1609"/>
                    </a:lnTo>
                    <a:lnTo>
                      <a:pt x="1261" y="1609"/>
                    </a:lnTo>
                    <a:lnTo>
                      <a:pt x="1261" y="1607"/>
                    </a:lnTo>
                    <a:close/>
                    <a:moveTo>
                      <a:pt x="1246" y="1505"/>
                    </a:moveTo>
                    <a:lnTo>
                      <a:pt x="1247" y="1505"/>
                    </a:lnTo>
                    <a:lnTo>
                      <a:pt x="1247" y="1507"/>
                    </a:lnTo>
                    <a:lnTo>
                      <a:pt x="1246" y="1507"/>
                    </a:lnTo>
                    <a:lnTo>
                      <a:pt x="1246" y="1505"/>
                    </a:lnTo>
                    <a:close/>
                    <a:moveTo>
                      <a:pt x="1185" y="1427"/>
                    </a:moveTo>
                    <a:lnTo>
                      <a:pt x="1186" y="1427"/>
                    </a:lnTo>
                    <a:lnTo>
                      <a:pt x="1185" y="1427"/>
                    </a:lnTo>
                    <a:close/>
                    <a:moveTo>
                      <a:pt x="1186" y="1461"/>
                    </a:moveTo>
                    <a:lnTo>
                      <a:pt x="1188" y="1461"/>
                    </a:lnTo>
                    <a:lnTo>
                      <a:pt x="1188" y="1463"/>
                    </a:lnTo>
                    <a:lnTo>
                      <a:pt x="1186" y="1463"/>
                    </a:lnTo>
                    <a:lnTo>
                      <a:pt x="1186" y="1461"/>
                    </a:lnTo>
                    <a:close/>
                    <a:moveTo>
                      <a:pt x="1236" y="995"/>
                    </a:moveTo>
                    <a:lnTo>
                      <a:pt x="1236" y="997"/>
                    </a:lnTo>
                    <a:lnTo>
                      <a:pt x="1236" y="995"/>
                    </a:lnTo>
                    <a:close/>
                    <a:moveTo>
                      <a:pt x="1196" y="1437"/>
                    </a:moveTo>
                    <a:lnTo>
                      <a:pt x="1198" y="1437"/>
                    </a:lnTo>
                    <a:lnTo>
                      <a:pt x="1198" y="1439"/>
                    </a:lnTo>
                    <a:lnTo>
                      <a:pt x="1196" y="1439"/>
                    </a:lnTo>
                    <a:lnTo>
                      <a:pt x="1196" y="1437"/>
                    </a:lnTo>
                    <a:close/>
                    <a:moveTo>
                      <a:pt x="1171" y="1390"/>
                    </a:moveTo>
                    <a:lnTo>
                      <a:pt x="1173" y="1390"/>
                    </a:lnTo>
                    <a:lnTo>
                      <a:pt x="1173" y="1391"/>
                    </a:lnTo>
                    <a:lnTo>
                      <a:pt x="1171" y="1391"/>
                    </a:lnTo>
                    <a:lnTo>
                      <a:pt x="1171" y="1390"/>
                    </a:lnTo>
                    <a:close/>
                    <a:moveTo>
                      <a:pt x="1191" y="1119"/>
                    </a:moveTo>
                    <a:lnTo>
                      <a:pt x="1191" y="1121"/>
                    </a:lnTo>
                    <a:lnTo>
                      <a:pt x="1191" y="1119"/>
                    </a:lnTo>
                    <a:close/>
                    <a:moveTo>
                      <a:pt x="1191" y="1061"/>
                    </a:moveTo>
                    <a:lnTo>
                      <a:pt x="1191" y="1063"/>
                    </a:lnTo>
                    <a:lnTo>
                      <a:pt x="1191" y="1061"/>
                    </a:lnTo>
                    <a:close/>
                    <a:moveTo>
                      <a:pt x="1212" y="1107"/>
                    </a:moveTo>
                    <a:lnTo>
                      <a:pt x="1213" y="1107"/>
                    </a:lnTo>
                    <a:lnTo>
                      <a:pt x="1213" y="1109"/>
                    </a:lnTo>
                    <a:lnTo>
                      <a:pt x="1212" y="1109"/>
                    </a:lnTo>
                    <a:lnTo>
                      <a:pt x="1212" y="1107"/>
                    </a:lnTo>
                    <a:close/>
                    <a:moveTo>
                      <a:pt x="1212" y="1524"/>
                    </a:moveTo>
                    <a:lnTo>
                      <a:pt x="1213" y="1524"/>
                    </a:lnTo>
                    <a:lnTo>
                      <a:pt x="1213" y="1526"/>
                    </a:lnTo>
                    <a:lnTo>
                      <a:pt x="1212" y="1526"/>
                    </a:lnTo>
                    <a:lnTo>
                      <a:pt x="1212" y="1524"/>
                    </a:lnTo>
                    <a:close/>
                    <a:moveTo>
                      <a:pt x="1212" y="1558"/>
                    </a:moveTo>
                    <a:lnTo>
                      <a:pt x="1213" y="1558"/>
                    </a:lnTo>
                    <a:lnTo>
                      <a:pt x="1213" y="1560"/>
                    </a:lnTo>
                    <a:lnTo>
                      <a:pt x="1212" y="1560"/>
                    </a:lnTo>
                    <a:lnTo>
                      <a:pt x="1212" y="1558"/>
                    </a:lnTo>
                    <a:close/>
                    <a:moveTo>
                      <a:pt x="1179" y="1420"/>
                    </a:moveTo>
                    <a:lnTo>
                      <a:pt x="1179" y="1422"/>
                    </a:lnTo>
                    <a:lnTo>
                      <a:pt x="1179" y="1420"/>
                    </a:lnTo>
                    <a:close/>
                    <a:moveTo>
                      <a:pt x="1440" y="1650"/>
                    </a:moveTo>
                    <a:lnTo>
                      <a:pt x="1440" y="1652"/>
                    </a:lnTo>
                    <a:lnTo>
                      <a:pt x="1440" y="1650"/>
                    </a:lnTo>
                    <a:close/>
                    <a:moveTo>
                      <a:pt x="1208" y="1243"/>
                    </a:moveTo>
                    <a:lnTo>
                      <a:pt x="1210" y="1243"/>
                    </a:lnTo>
                    <a:lnTo>
                      <a:pt x="1208" y="1243"/>
                    </a:lnTo>
                    <a:close/>
                    <a:moveTo>
                      <a:pt x="1293" y="1616"/>
                    </a:moveTo>
                    <a:lnTo>
                      <a:pt x="1295" y="1616"/>
                    </a:lnTo>
                    <a:lnTo>
                      <a:pt x="1293" y="1616"/>
                    </a:lnTo>
                    <a:close/>
                    <a:moveTo>
                      <a:pt x="1341" y="1648"/>
                    </a:moveTo>
                    <a:lnTo>
                      <a:pt x="1343" y="1648"/>
                    </a:lnTo>
                    <a:lnTo>
                      <a:pt x="1343" y="1650"/>
                    </a:lnTo>
                    <a:lnTo>
                      <a:pt x="1341" y="1650"/>
                    </a:lnTo>
                    <a:lnTo>
                      <a:pt x="1341" y="1648"/>
                    </a:lnTo>
                    <a:close/>
                    <a:moveTo>
                      <a:pt x="1185" y="1463"/>
                    </a:moveTo>
                    <a:lnTo>
                      <a:pt x="1186" y="1463"/>
                    </a:lnTo>
                    <a:lnTo>
                      <a:pt x="1186" y="1464"/>
                    </a:lnTo>
                    <a:lnTo>
                      <a:pt x="1185" y="1464"/>
                    </a:lnTo>
                    <a:lnTo>
                      <a:pt x="1185" y="1463"/>
                    </a:lnTo>
                    <a:close/>
                    <a:moveTo>
                      <a:pt x="1212" y="1100"/>
                    </a:moveTo>
                    <a:lnTo>
                      <a:pt x="1213" y="1100"/>
                    </a:lnTo>
                    <a:lnTo>
                      <a:pt x="1213" y="1102"/>
                    </a:lnTo>
                    <a:lnTo>
                      <a:pt x="1212" y="1102"/>
                    </a:lnTo>
                    <a:lnTo>
                      <a:pt x="1212" y="1100"/>
                    </a:lnTo>
                    <a:close/>
                    <a:moveTo>
                      <a:pt x="1166" y="1337"/>
                    </a:moveTo>
                    <a:lnTo>
                      <a:pt x="1166" y="1339"/>
                    </a:lnTo>
                    <a:lnTo>
                      <a:pt x="1166" y="1337"/>
                    </a:lnTo>
                    <a:close/>
                    <a:moveTo>
                      <a:pt x="1185" y="1441"/>
                    </a:moveTo>
                    <a:lnTo>
                      <a:pt x="1186" y="1441"/>
                    </a:lnTo>
                    <a:lnTo>
                      <a:pt x="1186" y="1442"/>
                    </a:lnTo>
                    <a:lnTo>
                      <a:pt x="1185" y="1442"/>
                    </a:lnTo>
                    <a:lnTo>
                      <a:pt x="1185" y="1441"/>
                    </a:lnTo>
                    <a:close/>
                    <a:moveTo>
                      <a:pt x="1212" y="1260"/>
                    </a:moveTo>
                    <a:lnTo>
                      <a:pt x="1213" y="1260"/>
                    </a:lnTo>
                    <a:lnTo>
                      <a:pt x="1212" y="1260"/>
                    </a:lnTo>
                    <a:close/>
                    <a:moveTo>
                      <a:pt x="1225" y="956"/>
                    </a:moveTo>
                    <a:lnTo>
                      <a:pt x="1227" y="956"/>
                    </a:lnTo>
                    <a:lnTo>
                      <a:pt x="1227" y="957"/>
                    </a:lnTo>
                    <a:lnTo>
                      <a:pt x="1225" y="957"/>
                    </a:lnTo>
                    <a:lnTo>
                      <a:pt x="1225" y="956"/>
                    </a:lnTo>
                    <a:close/>
                    <a:moveTo>
                      <a:pt x="1270" y="1614"/>
                    </a:moveTo>
                    <a:lnTo>
                      <a:pt x="1271" y="1614"/>
                    </a:lnTo>
                    <a:lnTo>
                      <a:pt x="1270" y="1614"/>
                    </a:lnTo>
                    <a:close/>
                    <a:moveTo>
                      <a:pt x="1326" y="1635"/>
                    </a:moveTo>
                    <a:lnTo>
                      <a:pt x="1327" y="1635"/>
                    </a:lnTo>
                    <a:lnTo>
                      <a:pt x="1326" y="1635"/>
                    </a:lnTo>
                    <a:close/>
                    <a:moveTo>
                      <a:pt x="1159" y="1415"/>
                    </a:moveTo>
                    <a:lnTo>
                      <a:pt x="1159" y="1417"/>
                    </a:lnTo>
                    <a:lnTo>
                      <a:pt x="1159" y="1415"/>
                    </a:lnTo>
                    <a:close/>
                    <a:moveTo>
                      <a:pt x="1196" y="1430"/>
                    </a:moveTo>
                    <a:lnTo>
                      <a:pt x="1198" y="1430"/>
                    </a:lnTo>
                    <a:lnTo>
                      <a:pt x="1198" y="1432"/>
                    </a:lnTo>
                    <a:lnTo>
                      <a:pt x="1196" y="1432"/>
                    </a:lnTo>
                    <a:lnTo>
                      <a:pt x="1196" y="1430"/>
                    </a:lnTo>
                    <a:close/>
                    <a:moveTo>
                      <a:pt x="1208" y="1141"/>
                    </a:moveTo>
                    <a:lnTo>
                      <a:pt x="1208" y="1143"/>
                    </a:lnTo>
                    <a:lnTo>
                      <a:pt x="1208" y="1141"/>
                    </a:lnTo>
                    <a:close/>
                    <a:moveTo>
                      <a:pt x="1263" y="1597"/>
                    </a:moveTo>
                    <a:lnTo>
                      <a:pt x="1264" y="1597"/>
                    </a:lnTo>
                    <a:lnTo>
                      <a:pt x="1264" y="1599"/>
                    </a:lnTo>
                    <a:lnTo>
                      <a:pt x="1263" y="1599"/>
                    </a:lnTo>
                    <a:lnTo>
                      <a:pt x="1263" y="1597"/>
                    </a:lnTo>
                    <a:close/>
                    <a:moveTo>
                      <a:pt x="1225" y="1563"/>
                    </a:moveTo>
                    <a:lnTo>
                      <a:pt x="1227" y="1563"/>
                    </a:lnTo>
                    <a:lnTo>
                      <a:pt x="1225" y="1563"/>
                    </a:lnTo>
                    <a:lnTo>
                      <a:pt x="1224" y="1563"/>
                    </a:lnTo>
                    <a:lnTo>
                      <a:pt x="1225" y="1563"/>
                    </a:lnTo>
                    <a:close/>
                    <a:moveTo>
                      <a:pt x="1256" y="1592"/>
                    </a:moveTo>
                    <a:lnTo>
                      <a:pt x="1258" y="1592"/>
                    </a:lnTo>
                    <a:lnTo>
                      <a:pt x="1258" y="1594"/>
                    </a:lnTo>
                    <a:lnTo>
                      <a:pt x="1256" y="1594"/>
                    </a:lnTo>
                    <a:lnTo>
                      <a:pt x="1256" y="1592"/>
                    </a:lnTo>
                    <a:close/>
                    <a:moveTo>
                      <a:pt x="1203" y="1134"/>
                    </a:moveTo>
                    <a:lnTo>
                      <a:pt x="1203" y="1136"/>
                    </a:lnTo>
                    <a:lnTo>
                      <a:pt x="1203" y="1134"/>
                    </a:lnTo>
                    <a:close/>
                    <a:moveTo>
                      <a:pt x="1205" y="1073"/>
                    </a:moveTo>
                    <a:lnTo>
                      <a:pt x="1207" y="1073"/>
                    </a:lnTo>
                    <a:lnTo>
                      <a:pt x="1205" y="1073"/>
                    </a:lnTo>
                    <a:close/>
                    <a:moveTo>
                      <a:pt x="1229" y="1583"/>
                    </a:moveTo>
                    <a:lnTo>
                      <a:pt x="1230" y="1583"/>
                    </a:lnTo>
                    <a:lnTo>
                      <a:pt x="1230" y="1585"/>
                    </a:lnTo>
                    <a:lnTo>
                      <a:pt x="1229" y="1585"/>
                    </a:lnTo>
                    <a:lnTo>
                      <a:pt x="1229" y="1583"/>
                    </a:lnTo>
                    <a:close/>
                    <a:moveTo>
                      <a:pt x="1287" y="1595"/>
                    </a:moveTo>
                    <a:lnTo>
                      <a:pt x="1288" y="1595"/>
                    </a:lnTo>
                    <a:lnTo>
                      <a:pt x="1288" y="1597"/>
                    </a:lnTo>
                    <a:lnTo>
                      <a:pt x="1287" y="1597"/>
                    </a:lnTo>
                    <a:lnTo>
                      <a:pt x="1287" y="1595"/>
                    </a:lnTo>
                    <a:close/>
                    <a:moveTo>
                      <a:pt x="1230" y="1572"/>
                    </a:moveTo>
                    <a:lnTo>
                      <a:pt x="1232" y="1572"/>
                    </a:lnTo>
                    <a:lnTo>
                      <a:pt x="1232" y="1573"/>
                    </a:lnTo>
                    <a:lnTo>
                      <a:pt x="1230" y="1573"/>
                    </a:lnTo>
                    <a:lnTo>
                      <a:pt x="1230" y="1572"/>
                    </a:lnTo>
                    <a:close/>
                    <a:moveTo>
                      <a:pt x="1297" y="1611"/>
                    </a:moveTo>
                    <a:lnTo>
                      <a:pt x="1297" y="1612"/>
                    </a:lnTo>
                    <a:lnTo>
                      <a:pt x="1297" y="1611"/>
                    </a:lnTo>
                    <a:close/>
                    <a:moveTo>
                      <a:pt x="1230" y="940"/>
                    </a:moveTo>
                    <a:lnTo>
                      <a:pt x="1232" y="940"/>
                    </a:lnTo>
                    <a:lnTo>
                      <a:pt x="1232" y="942"/>
                    </a:lnTo>
                    <a:lnTo>
                      <a:pt x="1230" y="942"/>
                    </a:lnTo>
                    <a:lnTo>
                      <a:pt x="1230" y="940"/>
                    </a:lnTo>
                    <a:close/>
                    <a:moveTo>
                      <a:pt x="1191" y="1461"/>
                    </a:moveTo>
                    <a:lnTo>
                      <a:pt x="1193" y="1461"/>
                    </a:lnTo>
                    <a:lnTo>
                      <a:pt x="1193" y="1463"/>
                    </a:lnTo>
                    <a:lnTo>
                      <a:pt x="1191" y="1463"/>
                    </a:lnTo>
                    <a:lnTo>
                      <a:pt x="1191" y="1461"/>
                    </a:lnTo>
                    <a:close/>
                    <a:moveTo>
                      <a:pt x="1186" y="1424"/>
                    </a:moveTo>
                    <a:lnTo>
                      <a:pt x="1186" y="1425"/>
                    </a:lnTo>
                    <a:lnTo>
                      <a:pt x="1186" y="1424"/>
                    </a:lnTo>
                    <a:close/>
                    <a:moveTo>
                      <a:pt x="1263" y="1614"/>
                    </a:moveTo>
                    <a:lnTo>
                      <a:pt x="1263" y="1616"/>
                    </a:lnTo>
                    <a:lnTo>
                      <a:pt x="1263" y="1614"/>
                    </a:lnTo>
                    <a:close/>
                    <a:moveTo>
                      <a:pt x="1176" y="1468"/>
                    </a:moveTo>
                    <a:lnTo>
                      <a:pt x="1178" y="1468"/>
                    </a:lnTo>
                    <a:lnTo>
                      <a:pt x="1178" y="1470"/>
                    </a:lnTo>
                    <a:lnTo>
                      <a:pt x="1176" y="1470"/>
                    </a:lnTo>
                    <a:lnTo>
                      <a:pt x="1176" y="1468"/>
                    </a:lnTo>
                    <a:close/>
                    <a:moveTo>
                      <a:pt x="1358" y="1646"/>
                    </a:moveTo>
                    <a:lnTo>
                      <a:pt x="1360" y="1646"/>
                    </a:lnTo>
                    <a:lnTo>
                      <a:pt x="1358" y="1646"/>
                    </a:lnTo>
                    <a:close/>
                    <a:moveTo>
                      <a:pt x="1162" y="1143"/>
                    </a:moveTo>
                    <a:lnTo>
                      <a:pt x="1164" y="1143"/>
                    </a:lnTo>
                    <a:lnTo>
                      <a:pt x="1162" y="1143"/>
                    </a:lnTo>
                    <a:close/>
                    <a:moveTo>
                      <a:pt x="1385" y="1662"/>
                    </a:moveTo>
                    <a:lnTo>
                      <a:pt x="1387" y="1662"/>
                    </a:lnTo>
                    <a:lnTo>
                      <a:pt x="1387" y="1663"/>
                    </a:lnTo>
                    <a:lnTo>
                      <a:pt x="1385" y="1663"/>
                    </a:lnTo>
                    <a:lnTo>
                      <a:pt x="1385" y="1662"/>
                    </a:lnTo>
                    <a:close/>
                    <a:moveTo>
                      <a:pt x="1173" y="1240"/>
                    </a:moveTo>
                    <a:lnTo>
                      <a:pt x="1174" y="1240"/>
                    </a:lnTo>
                    <a:lnTo>
                      <a:pt x="1174" y="1242"/>
                    </a:lnTo>
                    <a:lnTo>
                      <a:pt x="1173" y="1242"/>
                    </a:lnTo>
                    <a:lnTo>
                      <a:pt x="1173" y="1240"/>
                    </a:lnTo>
                    <a:close/>
                    <a:moveTo>
                      <a:pt x="1212" y="1111"/>
                    </a:moveTo>
                    <a:lnTo>
                      <a:pt x="1213" y="1111"/>
                    </a:lnTo>
                    <a:lnTo>
                      <a:pt x="1213" y="1112"/>
                    </a:lnTo>
                    <a:lnTo>
                      <a:pt x="1212" y="1112"/>
                    </a:lnTo>
                    <a:lnTo>
                      <a:pt x="1212" y="1111"/>
                    </a:lnTo>
                    <a:close/>
                    <a:moveTo>
                      <a:pt x="1375" y="1663"/>
                    </a:moveTo>
                    <a:lnTo>
                      <a:pt x="1377" y="1663"/>
                    </a:lnTo>
                    <a:lnTo>
                      <a:pt x="1377" y="1665"/>
                    </a:lnTo>
                    <a:lnTo>
                      <a:pt x="1375" y="1665"/>
                    </a:lnTo>
                    <a:lnTo>
                      <a:pt x="1375" y="1663"/>
                    </a:lnTo>
                    <a:close/>
                    <a:moveTo>
                      <a:pt x="1227" y="1572"/>
                    </a:moveTo>
                    <a:lnTo>
                      <a:pt x="1229" y="1572"/>
                    </a:lnTo>
                    <a:lnTo>
                      <a:pt x="1227" y="1572"/>
                    </a:lnTo>
                    <a:close/>
                    <a:moveTo>
                      <a:pt x="1225" y="1577"/>
                    </a:moveTo>
                    <a:lnTo>
                      <a:pt x="1227" y="1577"/>
                    </a:lnTo>
                    <a:lnTo>
                      <a:pt x="1225" y="1577"/>
                    </a:lnTo>
                    <a:close/>
                    <a:moveTo>
                      <a:pt x="1174" y="1100"/>
                    </a:moveTo>
                    <a:lnTo>
                      <a:pt x="1176" y="1100"/>
                    </a:lnTo>
                    <a:lnTo>
                      <a:pt x="1176" y="1102"/>
                    </a:lnTo>
                    <a:lnTo>
                      <a:pt x="1174" y="1102"/>
                    </a:lnTo>
                    <a:lnTo>
                      <a:pt x="1174" y="1100"/>
                    </a:lnTo>
                    <a:close/>
                    <a:moveTo>
                      <a:pt x="1278" y="423"/>
                    </a:moveTo>
                    <a:lnTo>
                      <a:pt x="1278" y="425"/>
                    </a:lnTo>
                    <a:lnTo>
                      <a:pt x="1278" y="423"/>
                    </a:lnTo>
                    <a:close/>
                    <a:moveTo>
                      <a:pt x="1208" y="1124"/>
                    </a:moveTo>
                    <a:lnTo>
                      <a:pt x="1210" y="1124"/>
                    </a:lnTo>
                    <a:lnTo>
                      <a:pt x="1210" y="1126"/>
                    </a:lnTo>
                    <a:lnTo>
                      <a:pt x="1208" y="1126"/>
                    </a:lnTo>
                    <a:lnTo>
                      <a:pt x="1208" y="1124"/>
                    </a:lnTo>
                    <a:close/>
                    <a:moveTo>
                      <a:pt x="1304" y="1638"/>
                    </a:moveTo>
                    <a:lnTo>
                      <a:pt x="1304" y="1640"/>
                    </a:lnTo>
                    <a:lnTo>
                      <a:pt x="1304" y="1638"/>
                    </a:lnTo>
                    <a:close/>
                    <a:moveTo>
                      <a:pt x="1222" y="1066"/>
                    </a:moveTo>
                    <a:lnTo>
                      <a:pt x="1224" y="1066"/>
                    </a:lnTo>
                    <a:lnTo>
                      <a:pt x="1224" y="1068"/>
                    </a:lnTo>
                    <a:lnTo>
                      <a:pt x="1222" y="1068"/>
                    </a:lnTo>
                    <a:lnTo>
                      <a:pt x="1222" y="1066"/>
                    </a:lnTo>
                    <a:close/>
                    <a:moveTo>
                      <a:pt x="1258" y="1568"/>
                    </a:moveTo>
                    <a:lnTo>
                      <a:pt x="1258" y="1570"/>
                    </a:lnTo>
                    <a:lnTo>
                      <a:pt x="1258" y="1568"/>
                    </a:lnTo>
                    <a:close/>
                    <a:moveTo>
                      <a:pt x="1174" y="1117"/>
                    </a:moveTo>
                    <a:lnTo>
                      <a:pt x="1176" y="1117"/>
                    </a:lnTo>
                    <a:lnTo>
                      <a:pt x="1176" y="1119"/>
                    </a:lnTo>
                    <a:lnTo>
                      <a:pt x="1174" y="1119"/>
                    </a:lnTo>
                    <a:lnTo>
                      <a:pt x="1174" y="1117"/>
                    </a:lnTo>
                    <a:close/>
                    <a:moveTo>
                      <a:pt x="1185" y="1400"/>
                    </a:moveTo>
                    <a:lnTo>
                      <a:pt x="1185" y="1401"/>
                    </a:lnTo>
                    <a:lnTo>
                      <a:pt x="1185" y="1400"/>
                    </a:lnTo>
                    <a:close/>
                    <a:moveTo>
                      <a:pt x="1213" y="1519"/>
                    </a:moveTo>
                    <a:lnTo>
                      <a:pt x="1215" y="1519"/>
                    </a:lnTo>
                    <a:lnTo>
                      <a:pt x="1215" y="1521"/>
                    </a:lnTo>
                    <a:lnTo>
                      <a:pt x="1213" y="1521"/>
                    </a:lnTo>
                    <a:lnTo>
                      <a:pt x="1213" y="1519"/>
                    </a:lnTo>
                    <a:close/>
                    <a:moveTo>
                      <a:pt x="1219" y="1543"/>
                    </a:moveTo>
                    <a:lnTo>
                      <a:pt x="1220" y="1543"/>
                    </a:lnTo>
                    <a:lnTo>
                      <a:pt x="1220" y="1544"/>
                    </a:lnTo>
                    <a:lnTo>
                      <a:pt x="1219" y="1544"/>
                    </a:lnTo>
                    <a:lnTo>
                      <a:pt x="1219" y="1543"/>
                    </a:lnTo>
                    <a:close/>
                    <a:moveTo>
                      <a:pt x="1205" y="1066"/>
                    </a:moveTo>
                    <a:lnTo>
                      <a:pt x="1205" y="1068"/>
                    </a:lnTo>
                    <a:lnTo>
                      <a:pt x="1205" y="1066"/>
                    </a:lnTo>
                    <a:close/>
                    <a:moveTo>
                      <a:pt x="1191" y="1126"/>
                    </a:moveTo>
                    <a:lnTo>
                      <a:pt x="1193" y="1126"/>
                    </a:lnTo>
                    <a:lnTo>
                      <a:pt x="1193" y="1128"/>
                    </a:lnTo>
                    <a:lnTo>
                      <a:pt x="1191" y="1128"/>
                    </a:lnTo>
                    <a:lnTo>
                      <a:pt x="1191" y="1126"/>
                    </a:lnTo>
                    <a:close/>
                    <a:moveTo>
                      <a:pt x="1176" y="1441"/>
                    </a:moveTo>
                    <a:lnTo>
                      <a:pt x="1179" y="1441"/>
                    </a:lnTo>
                    <a:lnTo>
                      <a:pt x="1179" y="1442"/>
                    </a:lnTo>
                    <a:lnTo>
                      <a:pt x="1176" y="1442"/>
                    </a:lnTo>
                    <a:lnTo>
                      <a:pt x="1176" y="1441"/>
                    </a:lnTo>
                    <a:close/>
                    <a:moveTo>
                      <a:pt x="1227" y="730"/>
                    </a:moveTo>
                    <a:lnTo>
                      <a:pt x="1229" y="730"/>
                    </a:lnTo>
                    <a:lnTo>
                      <a:pt x="1229" y="731"/>
                    </a:lnTo>
                    <a:lnTo>
                      <a:pt x="1227" y="731"/>
                    </a:lnTo>
                    <a:lnTo>
                      <a:pt x="1227" y="730"/>
                    </a:lnTo>
                    <a:close/>
                    <a:moveTo>
                      <a:pt x="1195" y="1048"/>
                    </a:moveTo>
                    <a:lnTo>
                      <a:pt x="1196" y="1048"/>
                    </a:lnTo>
                    <a:lnTo>
                      <a:pt x="1195" y="1048"/>
                    </a:lnTo>
                    <a:close/>
                    <a:moveTo>
                      <a:pt x="1207" y="1060"/>
                    </a:moveTo>
                    <a:lnTo>
                      <a:pt x="1208" y="1060"/>
                    </a:lnTo>
                    <a:lnTo>
                      <a:pt x="1208" y="1061"/>
                    </a:lnTo>
                    <a:lnTo>
                      <a:pt x="1207" y="1061"/>
                    </a:lnTo>
                    <a:lnTo>
                      <a:pt x="1207" y="1060"/>
                    </a:lnTo>
                    <a:close/>
                    <a:moveTo>
                      <a:pt x="1207" y="1102"/>
                    </a:moveTo>
                    <a:lnTo>
                      <a:pt x="1208" y="1102"/>
                    </a:lnTo>
                    <a:lnTo>
                      <a:pt x="1208" y="1104"/>
                    </a:lnTo>
                    <a:lnTo>
                      <a:pt x="1207" y="1104"/>
                    </a:lnTo>
                    <a:lnTo>
                      <a:pt x="1207" y="1102"/>
                    </a:lnTo>
                    <a:close/>
                    <a:moveTo>
                      <a:pt x="1166" y="1136"/>
                    </a:moveTo>
                    <a:lnTo>
                      <a:pt x="1168" y="1136"/>
                    </a:lnTo>
                    <a:lnTo>
                      <a:pt x="1168" y="1138"/>
                    </a:lnTo>
                    <a:lnTo>
                      <a:pt x="1166" y="1138"/>
                    </a:lnTo>
                    <a:lnTo>
                      <a:pt x="1166" y="1136"/>
                    </a:lnTo>
                    <a:close/>
                    <a:moveTo>
                      <a:pt x="1178" y="1277"/>
                    </a:moveTo>
                    <a:lnTo>
                      <a:pt x="1178" y="1281"/>
                    </a:lnTo>
                    <a:lnTo>
                      <a:pt x="1178" y="1277"/>
                    </a:lnTo>
                    <a:close/>
                    <a:moveTo>
                      <a:pt x="1188" y="1483"/>
                    </a:moveTo>
                    <a:lnTo>
                      <a:pt x="1190" y="1483"/>
                    </a:lnTo>
                    <a:lnTo>
                      <a:pt x="1188" y="1483"/>
                    </a:lnTo>
                    <a:close/>
                    <a:moveTo>
                      <a:pt x="1178" y="1373"/>
                    </a:moveTo>
                    <a:lnTo>
                      <a:pt x="1178" y="1374"/>
                    </a:lnTo>
                    <a:lnTo>
                      <a:pt x="1178" y="1373"/>
                    </a:lnTo>
                    <a:close/>
                    <a:moveTo>
                      <a:pt x="1389" y="1663"/>
                    </a:moveTo>
                    <a:lnTo>
                      <a:pt x="1389" y="1665"/>
                    </a:lnTo>
                    <a:lnTo>
                      <a:pt x="1389" y="1663"/>
                    </a:lnTo>
                    <a:close/>
                    <a:moveTo>
                      <a:pt x="1417" y="1684"/>
                    </a:moveTo>
                    <a:lnTo>
                      <a:pt x="1419" y="1684"/>
                    </a:lnTo>
                    <a:lnTo>
                      <a:pt x="1419" y="1686"/>
                    </a:lnTo>
                    <a:lnTo>
                      <a:pt x="1417" y="1686"/>
                    </a:lnTo>
                    <a:lnTo>
                      <a:pt x="1417" y="1684"/>
                    </a:lnTo>
                    <a:close/>
                    <a:moveTo>
                      <a:pt x="1181" y="1481"/>
                    </a:moveTo>
                    <a:lnTo>
                      <a:pt x="1183" y="1481"/>
                    </a:lnTo>
                    <a:lnTo>
                      <a:pt x="1181" y="1481"/>
                    </a:lnTo>
                    <a:close/>
                    <a:moveTo>
                      <a:pt x="1213" y="1070"/>
                    </a:moveTo>
                    <a:lnTo>
                      <a:pt x="1213" y="1071"/>
                    </a:lnTo>
                    <a:lnTo>
                      <a:pt x="1213" y="1070"/>
                    </a:lnTo>
                    <a:close/>
                    <a:moveTo>
                      <a:pt x="1225" y="1570"/>
                    </a:moveTo>
                    <a:lnTo>
                      <a:pt x="1227" y="1570"/>
                    </a:lnTo>
                    <a:lnTo>
                      <a:pt x="1225" y="1570"/>
                    </a:lnTo>
                    <a:close/>
                    <a:moveTo>
                      <a:pt x="1145" y="1332"/>
                    </a:moveTo>
                    <a:lnTo>
                      <a:pt x="1145" y="1333"/>
                    </a:lnTo>
                    <a:lnTo>
                      <a:pt x="1145" y="1332"/>
                    </a:lnTo>
                    <a:close/>
                    <a:moveTo>
                      <a:pt x="1236" y="1075"/>
                    </a:moveTo>
                    <a:lnTo>
                      <a:pt x="1237" y="1075"/>
                    </a:lnTo>
                    <a:lnTo>
                      <a:pt x="1237" y="1077"/>
                    </a:lnTo>
                    <a:lnTo>
                      <a:pt x="1236" y="1077"/>
                    </a:lnTo>
                    <a:lnTo>
                      <a:pt x="1236" y="1075"/>
                    </a:lnTo>
                    <a:close/>
                    <a:moveTo>
                      <a:pt x="1164" y="1332"/>
                    </a:moveTo>
                    <a:lnTo>
                      <a:pt x="1166" y="1332"/>
                    </a:lnTo>
                    <a:lnTo>
                      <a:pt x="1166" y="1333"/>
                    </a:lnTo>
                    <a:lnTo>
                      <a:pt x="1164" y="1333"/>
                    </a:lnTo>
                    <a:lnTo>
                      <a:pt x="1164" y="1332"/>
                    </a:lnTo>
                    <a:close/>
                    <a:moveTo>
                      <a:pt x="1162" y="1357"/>
                    </a:moveTo>
                    <a:lnTo>
                      <a:pt x="1162" y="1359"/>
                    </a:lnTo>
                    <a:lnTo>
                      <a:pt x="1162" y="1357"/>
                    </a:lnTo>
                    <a:close/>
                    <a:moveTo>
                      <a:pt x="1280" y="1614"/>
                    </a:moveTo>
                    <a:lnTo>
                      <a:pt x="1281" y="1614"/>
                    </a:lnTo>
                    <a:lnTo>
                      <a:pt x="1281" y="1616"/>
                    </a:lnTo>
                    <a:lnTo>
                      <a:pt x="1280" y="1616"/>
                    </a:lnTo>
                    <a:lnTo>
                      <a:pt x="1280" y="1614"/>
                    </a:lnTo>
                    <a:close/>
                    <a:moveTo>
                      <a:pt x="1185" y="1458"/>
                    </a:moveTo>
                    <a:lnTo>
                      <a:pt x="1186" y="1458"/>
                    </a:lnTo>
                    <a:lnTo>
                      <a:pt x="1186" y="1459"/>
                    </a:lnTo>
                    <a:lnTo>
                      <a:pt x="1185" y="1459"/>
                    </a:lnTo>
                    <a:lnTo>
                      <a:pt x="1185" y="1458"/>
                    </a:lnTo>
                    <a:close/>
                    <a:moveTo>
                      <a:pt x="1321" y="1583"/>
                    </a:moveTo>
                    <a:lnTo>
                      <a:pt x="1322" y="1583"/>
                    </a:lnTo>
                    <a:lnTo>
                      <a:pt x="1322" y="1585"/>
                    </a:lnTo>
                    <a:lnTo>
                      <a:pt x="1321" y="1585"/>
                    </a:lnTo>
                    <a:lnTo>
                      <a:pt x="1321" y="1583"/>
                    </a:lnTo>
                    <a:close/>
                    <a:moveTo>
                      <a:pt x="1219" y="1471"/>
                    </a:moveTo>
                    <a:lnTo>
                      <a:pt x="1220" y="1471"/>
                    </a:lnTo>
                    <a:lnTo>
                      <a:pt x="1220" y="1473"/>
                    </a:lnTo>
                    <a:lnTo>
                      <a:pt x="1219" y="1473"/>
                    </a:lnTo>
                    <a:lnTo>
                      <a:pt x="1219" y="1471"/>
                    </a:lnTo>
                    <a:close/>
                    <a:moveTo>
                      <a:pt x="1188" y="1463"/>
                    </a:moveTo>
                    <a:lnTo>
                      <a:pt x="1190" y="1463"/>
                    </a:lnTo>
                    <a:lnTo>
                      <a:pt x="1188" y="1463"/>
                    </a:lnTo>
                    <a:close/>
                    <a:moveTo>
                      <a:pt x="1249" y="1597"/>
                    </a:moveTo>
                    <a:lnTo>
                      <a:pt x="1251" y="1597"/>
                    </a:lnTo>
                    <a:lnTo>
                      <a:pt x="1251" y="1599"/>
                    </a:lnTo>
                    <a:lnTo>
                      <a:pt x="1249" y="1599"/>
                    </a:lnTo>
                    <a:lnTo>
                      <a:pt x="1249" y="1597"/>
                    </a:lnTo>
                    <a:close/>
                    <a:moveTo>
                      <a:pt x="1332" y="1645"/>
                    </a:moveTo>
                    <a:lnTo>
                      <a:pt x="1334" y="1645"/>
                    </a:lnTo>
                    <a:lnTo>
                      <a:pt x="1334" y="1646"/>
                    </a:lnTo>
                    <a:lnTo>
                      <a:pt x="1332" y="1646"/>
                    </a:lnTo>
                    <a:lnTo>
                      <a:pt x="1332" y="1645"/>
                    </a:lnTo>
                    <a:close/>
                    <a:moveTo>
                      <a:pt x="1142" y="1306"/>
                    </a:moveTo>
                    <a:lnTo>
                      <a:pt x="1142" y="1310"/>
                    </a:lnTo>
                    <a:lnTo>
                      <a:pt x="1142" y="1306"/>
                    </a:lnTo>
                    <a:close/>
                    <a:moveTo>
                      <a:pt x="1181" y="1492"/>
                    </a:moveTo>
                    <a:lnTo>
                      <a:pt x="1181" y="1493"/>
                    </a:lnTo>
                    <a:lnTo>
                      <a:pt x="1181" y="1492"/>
                    </a:lnTo>
                    <a:close/>
                    <a:moveTo>
                      <a:pt x="1159" y="1434"/>
                    </a:moveTo>
                    <a:lnTo>
                      <a:pt x="1159" y="1435"/>
                    </a:lnTo>
                    <a:lnTo>
                      <a:pt x="1159" y="1434"/>
                    </a:lnTo>
                    <a:close/>
                    <a:moveTo>
                      <a:pt x="1232" y="1582"/>
                    </a:moveTo>
                    <a:lnTo>
                      <a:pt x="1234" y="1582"/>
                    </a:lnTo>
                    <a:lnTo>
                      <a:pt x="1234" y="1583"/>
                    </a:lnTo>
                    <a:lnTo>
                      <a:pt x="1232" y="1583"/>
                    </a:lnTo>
                    <a:lnTo>
                      <a:pt x="1232" y="1582"/>
                    </a:lnTo>
                    <a:close/>
                    <a:moveTo>
                      <a:pt x="1212" y="1112"/>
                    </a:moveTo>
                    <a:lnTo>
                      <a:pt x="1213" y="1112"/>
                    </a:lnTo>
                    <a:lnTo>
                      <a:pt x="1213" y="1114"/>
                    </a:lnTo>
                    <a:lnTo>
                      <a:pt x="1212" y="1114"/>
                    </a:lnTo>
                    <a:lnTo>
                      <a:pt x="1212" y="1112"/>
                    </a:lnTo>
                    <a:close/>
                    <a:moveTo>
                      <a:pt x="1210" y="1504"/>
                    </a:moveTo>
                    <a:lnTo>
                      <a:pt x="1213" y="1504"/>
                    </a:lnTo>
                    <a:lnTo>
                      <a:pt x="1210" y="1504"/>
                    </a:lnTo>
                    <a:close/>
                    <a:moveTo>
                      <a:pt x="1181" y="1490"/>
                    </a:moveTo>
                    <a:lnTo>
                      <a:pt x="1183" y="1490"/>
                    </a:lnTo>
                    <a:lnTo>
                      <a:pt x="1183" y="1492"/>
                    </a:lnTo>
                    <a:lnTo>
                      <a:pt x="1181" y="1492"/>
                    </a:lnTo>
                    <a:lnTo>
                      <a:pt x="1181" y="1490"/>
                    </a:lnTo>
                    <a:close/>
                    <a:moveTo>
                      <a:pt x="1234" y="1124"/>
                    </a:moveTo>
                    <a:lnTo>
                      <a:pt x="1236" y="1124"/>
                    </a:lnTo>
                    <a:lnTo>
                      <a:pt x="1236" y="1126"/>
                    </a:lnTo>
                    <a:lnTo>
                      <a:pt x="1234" y="1126"/>
                    </a:lnTo>
                    <a:lnTo>
                      <a:pt x="1234" y="1124"/>
                    </a:lnTo>
                    <a:close/>
                    <a:moveTo>
                      <a:pt x="1261" y="1590"/>
                    </a:moveTo>
                    <a:lnTo>
                      <a:pt x="1261" y="1592"/>
                    </a:lnTo>
                    <a:lnTo>
                      <a:pt x="1261" y="1590"/>
                    </a:lnTo>
                    <a:close/>
                    <a:moveTo>
                      <a:pt x="1149" y="1376"/>
                    </a:moveTo>
                    <a:lnTo>
                      <a:pt x="1151" y="1376"/>
                    </a:lnTo>
                    <a:lnTo>
                      <a:pt x="1151" y="1378"/>
                    </a:lnTo>
                    <a:lnTo>
                      <a:pt x="1149" y="1378"/>
                    </a:lnTo>
                    <a:lnTo>
                      <a:pt x="1149" y="1376"/>
                    </a:lnTo>
                    <a:close/>
                    <a:moveTo>
                      <a:pt x="1183" y="1459"/>
                    </a:moveTo>
                    <a:lnTo>
                      <a:pt x="1185" y="1459"/>
                    </a:lnTo>
                    <a:lnTo>
                      <a:pt x="1185" y="1461"/>
                    </a:lnTo>
                    <a:lnTo>
                      <a:pt x="1183" y="1461"/>
                    </a:lnTo>
                    <a:lnTo>
                      <a:pt x="1183" y="1459"/>
                    </a:lnTo>
                    <a:close/>
                    <a:moveTo>
                      <a:pt x="1198" y="1424"/>
                    </a:moveTo>
                    <a:lnTo>
                      <a:pt x="1200" y="1424"/>
                    </a:lnTo>
                    <a:lnTo>
                      <a:pt x="1200" y="1425"/>
                    </a:lnTo>
                    <a:lnTo>
                      <a:pt x="1198" y="1425"/>
                    </a:lnTo>
                    <a:lnTo>
                      <a:pt x="1198" y="1424"/>
                    </a:lnTo>
                    <a:close/>
                    <a:moveTo>
                      <a:pt x="1208" y="1490"/>
                    </a:moveTo>
                    <a:lnTo>
                      <a:pt x="1208" y="1492"/>
                    </a:lnTo>
                    <a:lnTo>
                      <a:pt x="1208" y="1490"/>
                    </a:lnTo>
                    <a:close/>
                    <a:moveTo>
                      <a:pt x="1205" y="1058"/>
                    </a:moveTo>
                    <a:lnTo>
                      <a:pt x="1205" y="1060"/>
                    </a:lnTo>
                    <a:lnTo>
                      <a:pt x="1205" y="1058"/>
                    </a:lnTo>
                    <a:close/>
                    <a:moveTo>
                      <a:pt x="1281" y="1595"/>
                    </a:moveTo>
                    <a:lnTo>
                      <a:pt x="1283" y="1595"/>
                    </a:lnTo>
                    <a:lnTo>
                      <a:pt x="1281" y="1595"/>
                    </a:lnTo>
                    <a:close/>
                    <a:moveTo>
                      <a:pt x="1229" y="1570"/>
                    </a:moveTo>
                    <a:lnTo>
                      <a:pt x="1232" y="1570"/>
                    </a:lnTo>
                    <a:lnTo>
                      <a:pt x="1232" y="1572"/>
                    </a:lnTo>
                    <a:lnTo>
                      <a:pt x="1229" y="1572"/>
                    </a:lnTo>
                    <a:lnTo>
                      <a:pt x="1229" y="1570"/>
                    </a:lnTo>
                    <a:close/>
                    <a:moveTo>
                      <a:pt x="1181" y="1376"/>
                    </a:moveTo>
                    <a:lnTo>
                      <a:pt x="1183" y="1376"/>
                    </a:lnTo>
                    <a:lnTo>
                      <a:pt x="1181" y="1376"/>
                    </a:lnTo>
                    <a:close/>
                    <a:moveTo>
                      <a:pt x="1191" y="1233"/>
                    </a:moveTo>
                    <a:lnTo>
                      <a:pt x="1193" y="1233"/>
                    </a:lnTo>
                    <a:lnTo>
                      <a:pt x="1191" y="1233"/>
                    </a:lnTo>
                    <a:close/>
                    <a:moveTo>
                      <a:pt x="1215" y="983"/>
                    </a:moveTo>
                    <a:lnTo>
                      <a:pt x="1215" y="985"/>
                    </a:lnTo>
                    <a:lnTo>
                      <a:pt x="1215" y="983"/>
                    </a:lnTo>
                    <a:close/>
                    <a:moveTo>
                      <a:pt x="1208" y="1097"/>
                    </a:moveTo>
                    <a:lnTo>
                      <a:pt x="1208" y="1099"/>
                    </a:lnTo>
                    <a:lnTo>
                      <a:pt x="1208" y="1097"/>
                    </a:lnTo>
                    <a:close/>
                    <a:moveTo>
                      <a:pt x="1183" y="1495"/>
                    </a:moveTo>
                    <a:lnTo>
                      <a:pt x="1185" y="1495"/>
                    </a:lnTo>
                    <a:lnTo>
                      <a:pt x="1185" y="1497"/>
                    </a:lnTo>
                    <a:lnTo>
                      <a:pt x="1183" y="1497"/>
                    </a:lnTo>
                    <a:lnTo>
                      <a:pt x="1183" y="1495"/>
                    </a:lnTo>
                    <a:close/>
                    <a:moveTo>
                      <a:pt x="1183" y="1475"/>
                    </a:moveTo>
                    <a:lnTo>
                      <a:pt x="1185" y="1475"/>
                    </a:lnTo>
                    <a:lnTo>
                      <a:pt x="1183" y="1475"/>
                    </a:lnTo>
                    <a:close/>
                    <a:moveTo>
                      <a:pt x="1225" y="1570"/>
                    </a:moveTo>
                    <a:lnTo>
                      <a:pt x="1227" y="1570"/>
                    </a:lnTo>
                    <a:lnTo>
                      <a:pt x="1227" y="1572"/>
                    </a:lnTo>
                    <a:lnTo>
                      <a:pt x="1225" y="1572"/>
                    </a:lnTo>
                    <a:lnTo>
                      <a:pt x="1225" y="1570"/>
                    </a:lnTo>
                    <a:close/>
                    <a:moveTo>
                      <a:pt x="1259" y="1600"/>
                    </a:moveTo>
                    <a:lnTo>
                      <a:pt x="1259" y="1602"/>
                    </a:lnTo>
                    <a:lnTo>
                      <a:pt x="1259" y="1600"/>
                    </a:lnTo>
                    <a:close/>
                    <a:moveTo>
                      <a:pt x="1210" y="1124"/>
                    </a:moveTo>
                    <a:lnTo>
                      <a:pt x="1212" y="1124"/>
                    </a:lnTo>
                    <a:lnTo>
                      <a:pt x="1210" y="1124"/>
                    </a:lnTo>
                    <a:close/>
                    <a:moveTo>
                      <a:pt x="1183" y="1427"/>
                    </a:moveTo>
                    <a:lnTo>
                      <a:pt x="1185" y="1427"/>
                    </a:lnTo>
                    <a:lnTo>
                      <a:pt x="1183" y="1427"/>
                    </a:lnTo>
                    <a:close/>
                    <a:moveTo>
                      <a:pt x="1188" y="1097"/>
                    </a:moveTo>
                    <a:lnTo>
                      <a:pt x="1190" y="1097"/>
                    </a:lnTo>
                    <a:lnTo>
                      <a:pt x="1188" y="1097"/>
                    </a:lnTo>
                    <a:close/>
                    <a:moveTo>
                      <a:pt x="1188" y="1463"/>
                    </a:moveTo>
                    <a:lnTo>
                      <a:pt x="1190" y="1463"/>
                    </a:lnTo>
                    <a:lnTo>
                      <a:pt x="1190" y="1464"/>
                    </a:lnTo>
                    <a:lnTo>
                      <a:pt x="1188" y="1464"/>
                    </a:lnTo>
                    <a:lnTo>
                      <a:pt x="1188" y="1463"/>
                    </a:lnTo>
                    <a:close/>
                    <a:moveTo>
                      <a:pt x="1179" y="1257"/>
                    </a:moveTo>
                    <a:lnTo>
                      <a:pt x="1181" y="1257"/>
                    </a:lnTo>
                    <a:lnTo>
                      <a:pt x="1179" y="1257"/>
                    </a:lnTo>
                    <a:close/>
                    <a:moveTo>
                      <a:pt x="1181" y="1116"/>
                    </a:moveTo>
                    <a:lnTo>
                      <a:pt x="1181" y="1117"/>
                    </a:lnTo>
                    <a:lnTo>
                      <a:pt x="1181" y="1116"/>
                    </a:lnTo>
                    <a:close/>
                    <a:moveTo>
                      <a:pt x="1162" y="1160"/>
                    </a:moveTo>
                    <a:lnTo>
                      <a:pt x="1164" y="1160"/>
                    </a:lnTo>
                    <a:lnTo>
                      <a:pt x="1164" y="1162"/>
                    </a:lnTo>
                    <a:lnTo>
                      <a:pt x="1162" y="1162"/>
                    </a:lnTo>
                    <a:lnTo>
                      <a:pt x="1162" y="1160"/>
                    </a:lnTo>
                    <a:close/>
                    <a:moveTo>
                      <a:pt x="1181" y="1099"/>
                    </a:moveTo>
                    <a:lnTo>
                      <a:pt x="1183" y="1099"/>
                    </a:lnTo>
                    <a:lnTo>
                      <a:pt x="1181" y="1099"/>
                    </a:lnTo>
                    <a:close/>
                    <a:moveTo>
                      <a:pt x="1144" y="1306"/>
                    </a:moveTo>
                    <a:lnTo>
                      <a:pt x="1144" y="1308"/>
                    </a:lnTo>
                    <a:lnTo>
                      <a:pt x="1144" y="1306"/>
                    </a:lnTo>
                    <a:close/>
                    <a:moveTo>
                      <a:pt x="1185" y="1066"/>
                    </a:moveTo>
                    <a:lnTo>
                      <a:pt x="1186" y="1066"/>
                    </a:lnTo>
                    <a:lnTo>
                      <a:pt x="1185" y="1066"/>
                    </a:lnTo>
                    <a:close/>
                    <a:moveTo>
                      <a:pt x="1208" y="1075"/>
                    </a:moveTo>
                    <a:lnTo>
                      <a:pt x="1208" y="1077"/>
                    </a:lnTo>
                    <a:lnTo>
                      <a:pt x="1208" y="1075"/>
                    </a:lnTo>
                    <a:close/>
                    <a:moveTo>
                      <a:pt x="1239" y="1456"/>
                    </a:moveTo>
                    <a:lnTo>
                      <a:pt x="1241" y="1456"/>
                    </a:lnTo>
                    <a:lnTo>
                      <a:pt x="1241" y="1458"/>
                    </a:lnTo>
                    <a:lnTo>
                      <a:pt x="1239" y="1458"/>
                    </a:lnTo>
                    <a:lnTo>
                      <a:pt x="1239" y="1456"/>
                    </a:lnTo>
                    <a:close/>
                    <a:moveTo>
                      <a:pt x="1193" y="1464"/>
                    </a:moveTo>
                    <a:lnTo>
                      <a:pt x="1193" y="1466"/>
                    </a:lnTo>
                    <a:lnTo>
                      <a:pt x="1193" y="1464"/>
                    </a:lnTo>
                    <a:close/>
                    <a:moveTo>
                      <a:pt x="1166" y="1344"/>
                    </a:moveTo>
                    <a:lnTo>
                      <a:pt x="1168" y="1344"/>
                    </a:lnTo>
                    <a:lnTo>
                      <a:pt x="1168" y="1345"/>
                    </a:lnTo>
                    <a:lnTo>
                      <a:pt x="1166" y="1345"/>
                    </a:lnTo>
                    <a:lnTo>
                      <a:pt x="1166" y="1344"/>
                    </a:lnTo>
                    <a:close/>
                    <a:moveTo>
                      <a:pt x="1237" y="1582"/>
                    </a:moveTo>
                    <a:lnTo>
                      <a:pt x="1239" y="1582"/>
                    </a:lnTo>
                    <a:lnTo>
                      <a:pt x="1239" y="1583"/>
                    </a:lnTo>
                    <a:lnTo>
                      <a:pt x="1237" y="1583"/>
                    </a:lnTo>
                    <a:lnTo>
                      <a:pt x="1237" y="1582"/>
                    </a:lnTo>
                    <a:close/>
                    <a:moveTo>
                      <a:pt x="1200" y="1522"/>
                    </a:moveTo>
                    <a:lnTo>
                      <a:pt x="1202" y="1522"/>
                    </a:lnTo>
                    <a:lnTo>
                      <a:pt x="1202" y="1524"/>
                    </a:lnTo>
                    <a:lnTo>
                      <a:pt x="1200" y="1524"/>
                    </a:lnTo>
                    <a:lnTo>
                      <a:pt x="1200" y="1522"/>
                    </a:lnTo>
                    <a:close/>
                    <a:moveTo>
                      <a:pt x="1247" y="951"/>
                    </a:moveTo>
                    <a:lnTo>
                      <a:pt x="1249" y="951"/>
                    </a:lnTo>
                    <a:lnTo>
                      <a:pt x="1247" y="951"/>
                    </a:lnTo>
                    <a:close/>
                    <a:moveTo>
                      <a:pt x="1281" y="1597"/>
                    </a:moveTo>
                    <a:lnTo>
                      <a:pt x="1283" y="1597"/>
                    </a:lnTo>
                    <a:lnTo>
                      <a:pt x="1283" y="1599"/>
                    </a:lnTo>
                    <a:lnTo>
                      <a:pt x="1281" y="1599"/>
                    </a:lnTo>
                    <a:lnTo>
                      <a:pt x="1281" y="1597"/>
                    </a:lnTo>
                    <a:close/>
                    <a:moveTo>
                      <a:pt x="1288" y="1621"/>
                    </a:moveTo>
                    <a:lnTo>
                      <a:pt x="1290" y="1621"/>
                    </a:lnTo>
                    <a:lnTo>
                      <a:pt x="1288" y="1621"/>
                    </a:lnTo>
                    <a:close/>
                    <a:moveTo>
                      <a:pt x="1329" y="1648"/>
                    </a:moveTo>
                    <a:lnTo>
                      <a:pt x="1331" y="1648"/>
                    </a:lnTo>
                    <a:lnTo>
                      <a:pt x="1329" y="1648"/>
                    </a:lnTo>
                    <a:close/>
                    <a:moveTo>
                      <a:pt x="1261" y="1587"/>
                    </a:moveTo>
                    <a:lnTo>
                      <a:pt x="1263" y="1587"/>
                    </a:lnTo>
                    <a:lnTo>
                      <a:pt x="1261" y="1587"/>
                    </a:lnTo>
                    <a:close/>
                    <a:moveTo>
                      <a:pt x="1152" y="1185"/>
                    </a:moveTo>
                    <a:lnTo>
                      <a:pt x="1154" y="1185"/>
                    </a:lnTo>
                    <a:lnTo>
                      <a:pt x="1154" y="1187"/>
                    </a:lnTo>
                    <a:lnTo>
                      <a:pt x="1152" y="1187"/>
                    </a:lnTo>
                    <a:lnTo>
                      <a:pt x="1152" y="1185"/>
                    </a:lnTo>
                    <a:close/>
                    <a:moveTo>
                      <a:pt x="1193" y="1492"/>
                    </a:moveTo>
                    <a:lnTo>
                      <a:pt x="1195" y="1492"/>
                    </a:lnTo>
                    <a:lnTo>
                      <a:pt x="1193" y="1492"/>
                    </a:lnTo>
                    <a:close/>
                    <a:moveTo>
                      <a:pt x="1183" y="1425"/>
                    </a:moveTo>
                    <a:lnTo>
                      <a:pt x="1185" y="1425"/>
                    </a:lnTo>
                    <a:lnTo>
                      <a:pt x="1185" y="1427"/>
                    </a:lnTo>
                    <a:lnTo>
                      <a:pt x="1183" y="1427"/>
                    </a:lnTo>
                    <a:lnTo>
                      <a:pt x="1183" y="1425"/>
                    </a:lnTo>
                    <a:close/>
                    <a:moveTo>
                      <a:pt x="1164" y="1396"/>
                    </a:moveTo>
                    <a:lnTo>
                      <a:pt x="1164" y="1398"/>
                    </a:lnTo>
                    <a:lnTo>
                      <a:pt x="1164" y="1396"/>
                    </a:lnTo>
                    <a:close/>
                    <a:moveTo>
                      <a:pt x="1220" y="1526"/>
                    </a:moveTo>
                    <a:lnTo>
                      <a:pt x="1222" y="1526"/>
                    </a:lnTo>
                    <a:lnTo>
                      <a:pt x="1222" y="1527"/>
                    </a:lnTo>
                    <a:lnTo>
                      <a:pt x="1220" y="1527"/>
                    </a:lnTo>
                    <a:lnTo>
                      <a:pt x="1220" y="1526"/>
                    </a:lnTo>
                    <a:close/>
                    <a:moveTo>
                      <a:pt x="1178" y="1517"/>
                    </a:moveTo>
                    <a:lnTo>
                      <a:pt x="1179" y="1517"/>
                    </a:lnTo>
                    <a:lnTo>
                      <a:pt x="1178" y="1517"/>
                    </a:lnTo>
                    <a:close/>
                    <a:moveTo>
                      <a:pt x="1159" y="1356"/>
                    </a:moveTo>
                    <a:lnTo>
                      <a:pt x="1161" y="1356"/>
                    </a:lnTo>
                    <a:lnTo>
                      <a:pt x="1159" y="1356"/>
                    </a:lnTo>
                    <a:close/>
                    <a:moveTo>
                      <a:pt x="1159" y="1390"/>
                    </a:moveTo>
                    <a:lnTo>
                      <a:pt x="1161" y="1390"/>
                    </a:lnTo>
                    <a:lnTo>
                      <a:pt x="1159" y="1390"/>
                    </a:lnTo>
                    <a:close/>
                    <a:moveTo>
                      <a:pt x="1176" y="1386"/>
                    </a:moveTo>
                    <a:lnTo>
                      <a:pt x="1178" y="1386"/>
                    </a:lnTo>
                    <a:lnTo>
                      <a:pt x="1176" y="1386"/>
                    </a:lnTo>
                    <a:close/>
                    <a:moveTo>
                      <a:pt x="1438" y="1680"/>
                    </a:moveTo>
                    <a:lnTo>
                      <a:pt x="1440" y="1680"/>
                    </a:lnTo>
                    <a:lnTo>
                      <a:pt x="1440" y="1682"/>
                    </a:lnTo>
                    <a:lnTo>
                      <a:pt x="1438" y="1682"/>
                    </a:lnTo>
                    <a:lnTo>
                      <a:pt x="1438" y="1680"/>
                    </a:lnTo>
                    <a:close/>
                    <a:moveTo>
                      <a:pt x="1193" y="1140"/>
                    </a:moveTo>
                    <a:lnTo>
                      <a:pt x="1195" y="1140"/>
                    </a:lnTo>
                    <a:lnTo>
                      <a:pt x="1195" y="1141"/>
                    </a:lnTo>
                    <a:lnTo>
                      <a:pt x="1193" y="1141"/>
                    </a:lnTo>
                    <a:lnTo>
                      <a:pt x="1193" y="1140"/>
                    </a:lnTo>
                    <a:close/>
                    <a:moveTo>
                      <a:pt x="1159" y="1420"/>
                    </a:moveTo>
                    <a:lnTo>
                      <a:pt x="1159" y="1422"/>
                    </a:lnTo>
                    <a:lnTo>
                      <a:pt x="1159" y="1420"/>
                    </a:lnTo>
                    <a:close/>
                    <a:moveTo>
                      <a:pt x="1365" y="1660"/>
                    </a:moveTo>
                    <a:lnTo>
                      <a:pt x="1366" y="1660"/>
                    </a:lnTo>
                    <a:lnTo>
                      <a:pt x="1365" y="1660"/>
                    </a:lnTo>
                    <a:close/>
                    <a:moveTo>
                      <a:pt x="1205" y="1500"/>
                    </a:moveTo>
                    <a:lnTo>
                      <a:pt x="1207" y="1500"/>
                    </a:lnTo>
                    <a:lnTo>
                      <a:pt x="1207" y="1502"/>
                    </a:lnTo>
                    <a:lnTo>
                      <a:pt x="1205" y="1502"/>
                    </a:lnTo>
                    <a:lnTo>
                      <a:pt x="1205" y="1500"/>
                    </a:lnTo>
                    <a:close/>
                    <a:moveTo>
                      <a:pt x="1208" y="1053"/>
                    </a:moveTo>
                    <a:lnTo>
                      <a:pt x="1208" y="1054"/>
                    </a:lnTo>
                    <a:lnTo>
                      <a:pt x="1208" y="1053"/>
                    </a:lnTo>
                    <a:close/>
                    <a:moveTo>
                      <a:pt x="1179" y="1425"/>
                    </a:moveTo>
                    <a:lnTo>
                      <a:pt x="1179" y="1427"/>
                    </a:lnTo>
                    <a:lnTo>
                      <a:pt x="1179" y="1425"/>
                    </a:lnTo>
                    <a:close/>
                    <a:moveTo>
                      <a:pt x="1268" y="1597"/>
                    </a:moveTo>
                    <a:lnTo>
                      <a:pt x="1270" y="1597"/>
                    </a:lnTo>
                    <a:lnTo>
                      <a:pt x="1270" y="1599"/>
                    </a:lnTo>
                    <a:lnTo>
                      <a:pt x="1268" y="1599"/>
                    </a:lnTo>
                    <a:lnTo>
                      <a:pt x="1268" y="1597"/>
                    </a:lnTo>
                    <a:close/>
                    <a:moveTo>
                      <a:pt x="1220" y="1560"/>
                    </a:moveTo>
                    <a:lnTo>
                      <a:pt x="1222" y="1560"/>
                    </a:lnTo>
                    <a:lnTo>
                      <a:pt x="1220" y="1560"/>
                    </a:lnTo>
                    <a:close/>
                    <a:moveTo>
                      <a:pt x="1229" y="1570"/>
                    </a:moveTo>
                    <a:lnTo>
                      <a:pt x="1230" y="1570"/>
                    </a:lnTo>
                    <a:lnTo>
                      <a:pt x="1230" y="1572"/>
                    </a:lnTo>
                    <a:lnTo>
                      <a:pt x="1229" y="1572"/>
                    </a:lnTo>
                    <a:lnTo>
                      <a:pt x="1229" y="1570"/>
                    </a:lnTo>
                    <a:close/>
                    <a:moveTo>
                      <a:pt x="1176" y="1245"/>
                    </a:moveTo>
                    <a:lnTo>
                      <a:pt x="1178" y="1245"/>
                    </a:lnTo>
                    <a:lnTo>
                      <a:pt x="1178" y="1247"/>
                    </a:lnTo>
                    <a:lnTo>
                      <a:pt x="1176" y="1247"/>
                    </a:lnTo>
                    <a:lnTo>
                      <a:pt x="1176" y="1245"/>
                    </a:lnTo>
                    <a:close/>
                    <a:moveTo>
                      <a:pt x="1203" y="1549"/>
                    </a:moveTo>
                    <a:lnTo>
                      <a:pt x="1205" y="1549"/>
                    </a:lnTo>
                    <a:lnTo>
                      <a:pt x="1205" y="1551"/>
                    </a:lnTo>
                    <a:lnTo>
                      <a:pt x="1203" y="1551"/>
                    </a:lnTo>
                    <a:lnTo>
                      <a:pt x="1203" y="1549"/>
                    </a:lnTo>
                    <a:close/>
                    <a:moveTo>
                      <a:pt x="1205" y="1095"/>
                    </a:moveTo>
                    <a:lnTo>
                      <a:pt x="1205" y="1097"/>
                    </a:lnTo>
                    <a:lnTo>
                      <a:pt x="1205" y="1095"/>
                    </a:lnTo>
                    <a:close/>
                    <a:moveTo>
                      <a:pt x="1224" y="976"/>
                    </a:moveTo>
                    <a:lnTo>
                      <a:pt x="1225" y="976"/>
                    </a:lnTo>
                    <a:lnTo>
                      <a:pt x="1225" y="978"/>
                    </a:lnTo>
                    <a:lnTo>
                      <a:pt x="1224" y="978"/>
                    </a:lnTo>
                    <a:lnTo>
                      <a:pt x="1224" y="976"/>
                    </a:lnTo>
                    <a:close/>
                    <a:moveTo>
                      <a:pt x="1390" y="1645"/>
                    </a:moveTo>
                    <a:lnTo>
                      <a:pt x="1392" y="1645"/>
                    </a:lnTo>
                    <a:lnTo>
                      <a:pt x="1392" y="1646"/>
                    </a:lnTo>
                    <a:lnTo>
                      <a:pt x="1390" y="1646"/>
                    </a:lnTo>
                    <a:lnTo>
                      <a:pt x="1390" y="1645"/>
                    </a:lnTo>
                    <a:close/>
                    <a:moveTo>
                      <a:pt x="1205" y="1119"/>
                    </a:moveTo>
                    <a:lnTo>
                      <a:pt x="1207" y="1119"/>
                    </a:lnTo>
                    <a:lnTo>
                      <a:pt x="1205" y="1119"/>
                    </a:lnTo>
                    <a:close/>
                    <a:moveTo>
                      <a:pt x="1200" y="1248"/>
                    </a:moveTo>
                    <a:lnTo>
                      <a:pt x="1202" y="1248"/>
                    </a:lnTo>
                    <a:lnTo>
                      <a:pt x="1202" y="1250"/>
                    </a:lnTo>
                    <a:lnTo>
                      <a:pt x="1200" y="1250"/>
                    </a:lnTo>
                    <a:lnTo>
                      <a:pt x="1200" y="1248"/>
                    </a:lnTo>
                    <a:close/>
                    <a:moveTo>
                      <a:pt x="1395" y="1655"/>
                    </a:moveTo>
                    <a:lnTo>
                      <a:pt x="1397" y="1655"/>
                    </a:lnTo>
                    <a:lnTo>
                      <a:pt x="1397" y="1657"/>
                    </a:lnTo>
                    <a:lnTo>
                      <a:pt x="1395" y="1657"/>
                    </a:lnTo>
                    <a:lnTo>
                      <a:pt x="1395" y="1655"/>
                    </a:lnTo>
                    <a:close/>
                    <a:moveTo>
                      <a:pt x="1159" y="1349"/>
                    </a:moveTo>
                    <a:lnTo>
                      <a:pt x="1161" y="1349"/>
                    </a:lnTo>
                    <a:lnTo>
                      <a:pt x="1159" y="1349"/>
                    </a:lnTo>
                    <a:close/>
                    <a:moveTo>
                      <a:pt x="1198" y="1437"/>
                    </a:moveTo>
                    <a:lnTo>
                      <a:pt x="1198" y="1439"/>
                    </a:lnTo>
                    <a:lnTo>
                      <a:pt x="1198" y="1437"/>
                    </a:lnTo>
                    <a:close/>
                    <a:moveTo>
                      <a:pt x="1217" y="1561"/>
                    </a:moveTo>
                    <a:lnTo>
                      <a:pt x="1219" y="1561"/>
                    </a:lnTo>
                    <a:lnTo>
                      <a:pt x="1217" y="1561"/>
                    </a:lnTo>
                    <a:close/>
                    <a:moveTo>
                      <a:pt x="1174" y="1446"/>
                    </a:moveTo>
                    <a:lnTo>
                      <a:pt x="1174" y="1447"/>
                    </a:lnTo>
                    <a:lnTo>
                      <a:pt x="1174" y="1446"/>
                    </a:lnTo>
                    <a:close/>
                    <a:moveTo>
                      <a:pt x="1185" y="1063"/>
                    </a:moveTo>
                    <a:lnTo>
                      <a:pt x="1185" y="1065"/>
                    </a:lnTo>
                    <a:lnTo>
                      <a:pt x="1185" y="1063"/>
                    </a:lnTo>
                    <a:close/>
                    <a:moveTo>
                      <a:pt x="1368" y="1669"/>
                    </a:moveTo>
                    <a:lnTo>
                      <a:pt x="1368" y="1670"/>
                    </a:lnTo>
                    <a:lnTo>
                      <a:pt x="1368" y="1669"/>
                    </a:lnTo>
                    <a:close/>
                    <a:moveTo>
                      <a:pt x="1196" y="1488"/>
                    </a:moveTo>
                    <a:lnTo>
                      <a:pt x="1198" y="1488"/>
                    </a:lnTo>
                    <a:lnTo>
                      <a:pt x="1198" y="1490"/>
                    </a:lnTo>
                    <a:lnTo>
                      <a:pt x="1196" y="1490"/>
                    </a:lnTo>
                    <a:lnTo>
                      <a:pt x="1196" y="1488"/>
                    </a:lnTo>
                    <a:close/>
                    <a:moveTo>
                      <a:pt x="1156" y="1362"/>
                    </a:moveTo>
                    <a:lnTo>
                      <a:pt x="1156" y="1364"/>
                    </a:lnTo>
                    <a:lnTo>
                      <a:pt x="1156" y="1362"/>
                    </a:lnTo>
                    <a:close/>
                    <a:moveTo>
                      <a:pt x="1207" y="1155"/>
                    </a:moveTo>
                    <a:lnTo>
                      <a:pt x="1208" y="1155"/>
                    </a:lnTo>
                    <a:lnTo>
                      <a:pt x="1207" y="1155"/>
                    </a:lnTo>
                    <a:close/>
                    <a:moveTo>
                      <a:pt x="1224" y="956"/>
                    </a:moveTo>
                    <a:lnTo>
                      <a:pt x="1225" y="956"/>
                    </a:lnTo>
                    <a:lnTo>
                      <a:pt x="1225" y="957"/>
                    </a:lnTo>
                    <a:lnTo>
                      <a:pt x="1224" y="957"/>
                    </a:lnTo>
                    <a:lnTo>
                      <a:pt x="1224" y="956"/>
                    </a:lnTo>
                    <a:close/>
                    <a:moveTo>
                      <a:pt x="1196" y="1453"/>
                    </a:moveTo>
                    <a:lnTo>
                      <a:pt x="1198" y="1453"/>
                    </a:lnTo>
                    <a:lnTo>
                      <a:pt x="1198" y="1454"/>
                    </a:lnTo>
                    <a:lnTo>
                      <a:pt x="1196" y="1454"/>
                    </a:lnTo>
                    <a:lnTo>
                      <a:pt x="1196" y="1453"/>
                    </a:lnTo>
                    <a:close/>
                    <a:moveTo>
                      <a:pt x="1193" y="1487"/>
                    </a:moveTo>
                    <a:lnTo>
                      <a:pt x="1193" y="1488"/>
                    </a:lnTo>
                    <a:lnTo>
                      <a:pt x="1193" y="1487"/>
                    </a:lnTo>
                    <a:close/>
                    <a:moveTo>
                      <a:pt x="1191" y="1140"/>
                    </a:moveTo>
                    <a:lnTo>
                      <a:pt x="1193" y="1140"/>
                    </a:lnTo>
                    <a:lnTo>
                      <a:pt x="1191" y="1140"/>
                    </a:lnTo>
                    <a:close/>
                    <a:moveTo>
                      <a:pt x="1222" y="1568"/>
                    </a:moveTo>
                    <a:lnTo>
                      <a:pt x="1224" y="1568"/>
                    </a:lnTo>
                    <a:lnTo>
                      <a:pt x="1222" y="1568"/>
                    </a:lnTo>
                    <a:close/>
                    <a:moveTo>
                      <a:pt x="1220" y="1071"/>
                    </a:moveTo>
                    <a:lnTo>
                      <a:pt x="1220" y="1073"/>
                    </a:lnTo>
                    <a:lnTo>
                      <a:pt x="1220" y="1071"/>
                    </a:lnTo>
                    <a:close/>
                    <a:moveTo>
                      <a:pt x="1440" y="1665"/>
                    </a:moveTo>
                    <a:lnTo>
                      <a:pt x="1440" y="1667"/>
                    </a:lnTo>
                    <a:lnTo>
                      <a:pt x="1440" y="1665"/>
                    </a:lnTo>
                    <a:close/>
                    <a:moveTo>
                      <a:pt x="1149" y="1328"/>
                    </a:moveTo>
                    <a:lnTo>
                      <a:pt x="1149" y="1330"/>
                    </a:lnTo>
                    <a:lnTo>
                      <a:pt x="1149" y="1328"/>
                    </a:lnTo>
                    <a:close/>
                    <a:moveTo>
                      <a:pt x="1188" y="1485"/>
                    </a:moveTo>
                    <a:lnTo>
                      <a:pt x="1188" y="1487"/>
                    </a:lnTo>
                    <a:lnTo>
                      <a:pt x="1188" y="1485"/>
                    </a:lnTo>
                    <a:close/>
                    <a:moveTo>
                      <a:pt x="1174" y="1102"/>
                    </a:moveTo>
                    <a:lnTo>
                      <a:pt x="1176" y="1102"/>
                    </a:lnTo>
                    <a:lnTo>
                      <a:pt x="1176" y="1104"/>
                    </a:lnTo>
                    <a:lnTo>
                      <a:pt x="1174" y="1104"/>
                    </a:lnTo>
                    <a:lnTo>
                      <a:pt x="1174" y="1102"/>
                    </a:lnTo>
                    <a:close/>
                    <a:moveTo>
                      <a:pt x="1389" y="1628"/>
                    </a:moveTo>
                    <a:lnTo>
                      <a:pt x="1390" y="1628"/>
                    </a:lnTo>
                    <a:lnTo>
                      <a:pt x="1389" y="1628"/>
                    </a:lnTo>
                    <a:close/>
                    <a:moveTo>
                      <a:pt x="1220" y="1060"/>
                    </a:moveTo>
                    <a:lnTo>
                      <a:pt x="1222" y="1060"/>
                    </a:lnTo>
                    <a:lnTo>
                      <a:pt x="1222" y="1061"/>
                    </a:lnTo>
                    <a:lnTo>
                      <a:pt x="1220" y="1061"/>
                    </a:lnTo>
                    <a:lnTo>
                      <a:pt x="1220" y="1060"/>
                    </a:lnTo>
                    <a:close/>
                    <a:moveTo>
                      <a:pt x="1225" y="1556"/>
                    </a:moveTo>
                    <a:lnTo>
                      <a:pt x="1225" y="1558"/>
                    </a:lnTo>
                    <a:lnTo>
                      <a:pt x="1225" y="1556"/>
                    </a:lnTo>
                    <a:close/>
                    <a:moveTo>
                      <a:pt x="1190" y="1097"/>
                    </a:moveTo>
                    <a:lnTo>
                      <a:pt x="1190" y="1099"/>
                    </a:lnTo>
                    <a:lnTo>
                      <a:pt x="1190" y="1097"/>
                    </a:lnTo>
                    <a:close/>
                    <a:moveTo>
                      <a:pt x="1188" y="1487"/>
                    </a:moveTo>
                    <a:lnTo>
                      <a:pt x="1190" y="1487"/>
                    </a:lnTo>
                    <a:lnTo>
                      <a:pt x="1190" y="1488"/>
                    </a:lnTo>
                    <a:lnTo>
                      <a:pt x="1188" y="1488"/>
                    </a:lnTo>
                    <a:lnTo>
                      <a:pt x="1188" y="1487"/>
                    </a:lnTo>
                    <a:close/>
                    <a:moveTo>
                      <a:pt x="1196" y="1092"/>
                    </a:moveTo>
                    <a:lnTo>
                      <a:pt x="1198" y="1092"/>
                    </a:lnTo>
                    <a:lnTo>
                      <a:pt x="1196" y="1092"/>
                    </a:lnTo>
                    <a:close/>
                    <a:moveTo>
                      <a:pt x="1166" y="1236"/>
                    </a:moveTo>
                    <a:lnTo>
                      <a:pt x="1168" y="1236"/>
                    </a:lnTo>
                    <a:lnTo>
                      <a:pt x="1166" y="1236"/>
                    </a:lnTo>
                    <a:close/>
                    <a:moveTo>
                      <a:pt x="1181" y="1473"/>
                    </a:moveTo>
                    <a:lnTo>
                      <a:pt x="1183" y="1473"/>
                    </a:lnTo>
                    <a:lnTo>
                      <a:pt x="1183" y="1475"/>
                    </a:lnTo>
                    <a:lnTo>
                      <a:pt x="1181" y="1475"/>
                    </a:lnTo>
                    <a:lnTo>
                      <a:pt x="1181" y="1473"/>
                    </a:lnTo>
                    <a:close/>
                    <a:moveTo>
                      <a:pt x="1152" y="1187"/>
                    </a:moveTo>
                    <a:lnTo>
                      <a:pt x="1154" y="1187"/>
                    </a:lnTo>
                    <a:lnTo>
                      <a:pt x="1152" y="1187"/>
                    </a:lnTo>
                    <a:close/>
                    <a:moveTo>
                      <a:pt x="1219" y="1583"/>
                    </a:moveTo>
                    <a:lnTo>
                      <a:pt x="1220" y="1583"/>
                    </a:lnTo>
                    <a:lnTo>
                      <a:pt x="1220" y="1585"/>
                    </a:lnTo>
                    <a:lnTo>
                      <a:pt x="1219" y="1585"/>
                    </a:lnTo>
                    <a:lnTo>
                      <a:pt x="1219" y="1583"/>
                    </a:lnTo>
                    <a:close/>
                    <a:moveTo>
                      <a:pt x="1162" y="1240"/>
                    </a:moveTo>
                    <a:lnTo>
                      <a:pt x="1164" y="1240"/>
                    </a:lnTo>
                    <a:lnTo>
                      <a:pt x="1164" y="1242"/>
                    </a:lnTo>
                    <a:lnTo>
                      <a:pt x="1162" y="1242"/>
                    </a:lnTo>
                    <a:lnTo>
                      <a:pt x="1162" y="1240"/>
                    </a:lnTo>
                    <a:close/>
                    <a:moveTo>
                      <a:pt x="1237" y="1590"/>
                    </a:moveTo>
                    <a:lnTo>
                      <a:pt x="1237" y="1592"/>
                    </a:lnTo>
                    <a:lnTo>
                      <a:pt x="1237" y="1590"/>
                    </a:lnTo>
                    <a:close/>
                    <a:moveTo>
                      <a:pt x="1239" y="1582"/>
                    </a:moveTo>
                    <a:lnTo>
                      <a:pt x="1241" y="1582"/>
                    </a:lnTo>
                    <a:lnTo>
                      <a:pt x="1241" y="1583"/>
                    </a:lnTo>
                    <a:lnTo>
                      <a:pt x="1239" y="1583"/>
                    </a:lnTo>
                    <a:lnTo>
                      <a:pt x="1239" y="1582"/>
                    </a:lnTo>
                    <a:close/>
                    <a:moveTo>
                      <a:pt x="1190" y="1485"/>
                    </a:moveTo>
                    <a:lnTo>
                      <a:pt x="1191" y="1485"/>
                    </a:lnTo>
                    <a:lnTo>
                      <a:pt x="1191" y="1487"/>
                    </a:lnTo>
                    <a:lnTo>
                      <a:pt x="1190" y="1487"/>
                    </a:lnTo>
                    <a:lnTo>
                      <a:pt x="1190" y="1485"/>
                    </a:lnTo>
                    <a:close/>
                    <a:moveTo>
                      <a:pt x="1220" y="1541"/>
                    </a:moveTo>
                    <a:lnTo>
                      <a:pt x="1224" y="1541"/>
                    </a:lnTo>
                    <a:lnTo>
                      <a:pt x="1224" y="1543"/>
                    </a:lnTo>
                    <a:lnTo>
                      <a:pt x="1220" y="1543"/>
                    </a:lnTo>
                    <a:lnTo>
                      <a:pt x="1220" y="1541"/>
                    </a:lnTo>
                    <a:close/>
                    <a:moveTo>
                      <a:pt x="1183" y="1483"/>
                    </a:moveTo>
                    <a:lnTo>
                      <a:pt x="1185" y="1483"/>
                    </a:lnTo>
                    <a:lnTo>
                      <a:pt x="1183" y="1483"/>
                    </a:lnTo>
                    <a:close/>
                    <a:moveTo>
                      <a:pt x="1210" y="1560"/>
                    </a:moveTo>
                    <a:lnTo>
                      <a:pt x="1212" y="1560"/>
                    </a:lnTo>
                    <a:lnTo>
                      <a:pt x="1210" y="1560"/>
                    </a:lnTo>
                    <a:close/>
                    <a:moveTo>
                      <a:pt x="1205" y="1119"/>
                    </a:moveTo>
                    <a:lnTo>
                      <a:pt x="1205" y="1121"/>
                    </a:lnTo>
                    <a:lnTo>
                      <a:pt x="1205" y="1119"/>
                    </a:lnTo>
                    <a:close/>
                    <a:moveTo>
                      <a:pt x="1280" y="432"/>
                    </a:moveTo>
                    <a:lnTo>
                      <a:pt x="1280" y="434"/>
                    </a:lnTo>
                    <a:lnTo>
                      <a:pt x="1280" y="432"/>
                    </a:lnTo>
                    <a:close/>
                    <a:moveTo>
                      <a:pt x="1171" y="1381"/>
                    </a:moveTo>
                    <a:lnTo>
                      <a:pt x="1173" y="1381"/>
                    </a:lnTo>
                    <a:lnTo>
                      <a:pt x="1171" y="1381"/>
                    </a:lnTo>
                    <a:close/>
                    <a:moveTo>
                      <a:pt x="1219" y="956"/>
                    </a:moveTo>
                    <a:lnTo>
                      <a:pt x="1219" y="957"/>
                    </a:lnTo>
                    <a:lnTo>
                      <a:pt x="1219" y="956"/>
                    </a:lnTo>
                    <a:close/>
                    <a:moveTo>
                      <a:pt x="1229" y="1566"/>
                    </a:moveTo>
                    <a:lnTo>
                      <a:pt x="1230" y="1566"/>
                    </a:lnTo>
                    <a:lnTo>
                      <a:pt x="1229" y="1566"/>
                    </a:lnTo>
                    <a:close/>
                    <a:moveTo>
                      <a:pt x="1280" y="1595"/>
                    </a:moveTo>
                    <a:lnTo>
                      <a:pt x="1281" y="1595"/>
                    </a:lnTo>
                    <a:lnTo>
                      <a:pt x="1281" y="1597"/>
                    </a:lnTo>
                    <a:lnTo>
                      <a:pt x="1280" y="1597"/>
                    </a:lnTo>
                    <a:lnTo>
                      <a:pt x="1280" y="1595"/>
                    </a:lnTo>
                    <a:close/>
                    <a:moveTo>
                      <a:pt x="1219" y="1556"/>
                    </a:moveTo>
                    <a:lnTo>
                      <a:pt x="1222" y="1556"/>
                    </a:lnTo>
                    <a:lnTo>
                      <a:pt x="1219" y="1556"/>
                    </a:lnTo>
                    <a:close/>
                    <a:moveTo>
                      <a:pt x="1360" y="1648"/>
                    </a:moveTo>
                    <a:lnTo>
                      <a:pt x="1361" y="1648"/>
                    </a:lnTo>
                    <a:lnTo>
                      <a:pt x="1361" y="1650"/>
                    </a:lnTo>
                    <a:lnTo>
                      <a:pt x="1360" y="1650"/>
                    </a:lnTo>
                    <a:lnTo>
                      <a:pt x="1360" y="1648"/>
                    </a:lnTo>
                    <a:close/>
                    <a:moveTo>
                      <a:pt x="1254" y="1595"/>
                    </a:moveTo>
                    <a:lnTo>
                      <a:pt x="1254" y="1597"/>
                    </a:lnTo>
                    <a:lnTo>
                      <a:pt x="1254" y="1595"/>
                    </a:lnTo>
                    <a:close/>
                    <a:moveTo>
                      <a:pt x="1154" y="1243"/>
                    </a:moveTo>
                    <a:lnTo>
                      <a:pt x="1156" y="1243"/>
                    </a:lnTo>
                    <a:lnTo>
                      <a:pt x="1156" y="1245"/>
                    </a:lnTo>
                    <a:lnTo>
                      <a:pt x="1154" y="1245"/>
                    </a:lnTo>
                    <a:lnTo>
                      <a:pt x="1154" y="1243"/>
                    </a:lnTo>
                    <a:close/>
                    <a:moveTo>
                      <a:pt x="1205" y="1094"/>
                    </a:moveTo>
                    <a:lnTo>
                      <a:pt x="1205" y="1095"/>
                    </a:lnTo>
                    <a:lnTo>
                      <a:pt x="1205" y="1094"/>
                    </a:lnTo>
                    <a:close/>
                    <a:moveTo>
                      <a:pt x="1188" y="1276"/>
                    </a:moveTo>
                    <a:lnTo>
                      <a:pt x="1190" y="1276"/>
                    </a:lnTo>
                    <a:lnTo>
                      <a:pt x="1190" y="1277"/>
                    </a:lnTo>
                    <a:lnTo>
                      <a:pt x="1188" y="1277"/>
                    </a:lnTo>
                    <a:lnTo>
                      <a:pt x="1188" y="1276"/>
                    </a:lnTo>
                    <a:close/>
                    <a:moveTo>
                      <a:pt x="1159" y="1388"/>
                    </a:moveTo>
                    <a:lnTo>
                      <a:pt x="1161" y="1388"/>
                    </a:lnTo>
                    <a:lnTo>
                      <a:pt x="1161" y="1390"/>
                    </a:lnTo>
                    <a:lnTo>
                      <a:pt x="1159" y="1390"/>
                    </a:lnTo>
                    <a:lnTo>
                      <a:pt x="1159" y="1388"/>
                    </a:lnTo>
                    <a:close/>
                    <a:moveTo>
                      <a:pt x="1205" y="1250"/>
                    </a:moveTo>
                    <a:lnTo>
                      <a:pt x="1207" y="1250"/>
                    </a:lnTo>
                    <a:lnTo>
                      <a:pt x="1207" y="1252"/>
                    </a:lnTo>
                    <a:lnTo>
                      <a:pt x="1205" y="1252"/>
                    </a:lnTo>
                    <a:lnTo>
                      <a:pt x="1205" y="1250"/>
                    </a:lnTo>
                    <a:close/>
                    <a:moveTo>
                      <a:pt x="1166" y="1242"/>
                    </a:moveTo>
                    <a:lnTo>
                      <a:pt x="1166" y="1243"/>
                    </a:lnTo>
                    <a:lnTo>
                      <a:pt x="1166" y="1242"/>
                    </a:lnTo>
                    <a:close/>
                    <a:moveTo>
                      <a:pt x="1263" y="1590"/>
                    </a:moveTo>
                    <a:lnTo>
                      <a:pt x="1264" y="1590"/>
                    </a:lnTo>
                    <a:lnTo>
                      <a:pt x="1264" y="1592"/>
                    </a:lnTo>
                    <a:lnTo>
                      <a:pt x="1263" y="1592"/>
                    </a:lnTo>
                    <a:lnTo>
                      <a:pt x="1263" y="1590"/>
                    </a:lnTo>
                    <a:close/>
                    <a:moveTo>
                      <a:pt x="1321" y="1626"/>
                    </a:moveTo>
                    <a:lnTo>
                      <a:pt x="1322" y="1626"/>
                    </a:lnTo>
                    <a:lnTo>
                      <a:pt x="1321" y="1626"/>
                    </a:lnTo>
                    <a:close/>
                    <a:moveTo>
                      <a:pt x="1176" y="1432"/>
                    </a:moveTo>
                    <a:lnTo>
                      <a:pt x="1178" y="1432"/>
                    </a:lnTo>
                    <a:lnTo>
                      <a:pt x="1176" y="1432"/>
                    </a:lnTo>
                    <a:close/>
                    <a:moveTo>
                      <a:pt x="1220" y="1556"/>
                    </a:moveTo>
                    <a:lnTo>
                      <a:pt x="1220" y="1558"/>
                    </a:lnTo>
                    <a:lnTo>
                      <a:pt x="1220" y="1556"/>
                    </a:lnTo>
                    <a:close/>
                    <a:moveTo>
                      <a:pt x="1202" y="1058"/>
                    </a:moveTo>
                    <a:lnTo>
                      <a:pt x="1203" y="1058"/>
                    </a:lnTo>
                    <a:lnTo>
                      <a:pt x="1203" y="1060"/>
                    </a:lnTo>
                    <a:lnTo>
                      <a:pt x="1202" y="1060"/>
                    </a:lnTo>
                    <a:lnTo>
                      <a:pt x="1202" y="1058"/>
                    </a:lnTo>
                    <a:close/>
                    <a:moveTo>
                      <a:pt x="1339" y="1660"/>
                    </a:moveTo>
                    <a:lnTo>
                      <a:pt x="1339" y="1662"/>
                    </a:lnTo>
                    <a:lnTo>
                      <a:pt x="1339" y="1660"/>
                    </a:lnTo>
                    <a:close/>
                    <a:moveTo>
                      <a:pt x="1205" y="1122"/>
                    </a:moveTo>
                    <a:lnTo>
                      <a:pt x="1205" y="1124"/>
                    </a:lnTo>
                    <a:lnTo>
                      <a:pt x="1205" y="1122"/>
                    </a:lnTo>
                    <a:close/>
                    <a:moveTo>
                      <a:pt x="1295" y="1616"/>
                    </a:moveTo>
                    <a:lnTo>
                      <a:pt x="1297" y="1616"/>
                    </a:lnTo>
                    <a:lnTo>
                      <a:pt x="1297" y="1618"/>
                    </a:lnTo>
                    <a:lnTo>
                      <a:pt x="1295" y="1618"/>
                    </a:lnTo>
                    <a:lnTo>
                      <a:pt x="1295" y="1616"/>
                    </a:lnTo>
                    <a:close/>
                    <a:moveTo>
                      <a:pt x="1326" y="1650"/>
                    </a:moveTo>
                    <a:lnTo>
                      <a:pt x="1327" y="1650"/>
                    </a:lnTo>
                    <a:lnTo>
                      <a:pt x="1327" y="1652"/>
                    </a:lnTo>
                    <a:lnTo>
                      <a:pt x="1326" y="1652"/>
                    </a:lnTo>
                    <a:lnTo>
                      <a:pt x="1326" y="1650"/>
                    </a:lnTo>
                    <a:close/>
                    <a:moveTo>
                      <a:pt x="1169" y="1434"/>
                    </a:moveTo>
                    <a:lnTo>
                      <a:pt x="1171" y="1434"/>
                    </a:lnTo>
                    <a:lnTo>
                      <a:pt x="1169" y="1434"/>
                    </a:lnTo>
                    <a:close/>
                    <a:moveTo>
                      <a:pt x="1251" y="1597"/>
                    </a:moveTo>
                    <a:lnTo>
                      <a:pt x="1251" y="1599"/>
                    </a:lnTo>
                    <a:lnTo>
                      <a:pt x="1251" y="1597"/>
                    </a:lnTo>
                    <a:close/>
                    <a:moveTo>
                      <a:pt x="1159" y="1349"/>
                    </a:moveTo>
                    <a:lnTo>
                      <a:pt x="1161" y="1349"/>
                    </a:lnTo>
                    <a:lnTo>
                      <a:pt x="1159" y="1349"/>
                    </a:lnTo>
                    <a:close/>
                    <a:moveTo>
                      <a:pt x="1227" y="1583"/>
                    </a:moveTo>
                    <a:lnTo>
                      <a:pt x="1229" y="1583"/>
                    </a:lnTo>
                    <a:lnTo>
                      <a:pt x="1227" y="1583"/>
                    </a:lnTo>
                    <a:close/>
                    <a:moveTo>
                      <a:pt x="1219" y="1524"/>
                    </a:moveTo>
                    <a:lnTo>
                      <a:pt x="1220" y="1524"/>
                    </a:lnTo>
                    <a:lnTo>
                      <a:pt x="1220" y="1526"/>
                    </a:lnTo>
                    <a:lnTo>
                      <a:pt x="1219" y="1526"/>
                    </a:lnTo>
                    <a:lnTo>
                      <a:pt x="1219" y="1524"/>
                    </a:lnTo>
                    <a:close/>
                    <a:moveTo>
                      <a:pt x="1188" y="1447"/>
                    </a:moveTo>
                    <a:lnTo>
                      <a:pt x="1190" y="1447"/>
                    </a:lnTo>
                    <a:lnTo>
                      <a:pt x="1190" y="1449"/>
                    </a:lnTo>
                    <a:lnTo>
                      <a:pt x="1188" y="1449"/>
                    </a:lnTo>
                    <a:lnTo>
                      <a:pt x="1188" y="1447"/>
                    </a:lnTo>
                    <a:close/>
                    <a:moveTo>
                      <a:pt x="1154" y="1185"/>
                    </a:moveTo>
                    <a:lnTo>
                      <a:pt x="1156" y="1185"/>
                    </a:lnTo>
                    <a:lnTo>
                      <a:pt x="1156" y="1187"/>
                    </a:lnTo>
                    <a:lnTo>
                      <a:pt x="1154" y="1187"/>
                    </a:lnTo>
                    <a:lnTo>
                      <a:pt x="1154" y="1185"/>
                    </a:lnTo>
                    <a:close/>
                    <a:moveTo>
                      <a:pt x="1149" y="1332"/>
                    </a:moveTo>
                    <a:lnTo>
                      <a:pt x="1151" y="1332"/>
                    </a:lnTo>
                    <a:lnTo>
                      <a:pt x="1149" y="1332"/>
                    </a:lnTo>
                    <a:close/>
                    <a:moveTo>
                      <a:pt x="1385" y="1662"/>
                    </a:moveTo>
                    <a:lnTo>
                      <a:pt x="1385" y="1663"/>
                    </a:lnTo>
                    <a:lnTo>
                      <a:pt x="1385" y="1662"/>
                    </a:lnTo>
                    <a:close/>
                    <a:moveTo>
                      <a:pt x="1186" y="1485"/>
                    </a:moveTo>
                    <a:lnTo>
                      <a:pt x="1188" y="1485"/>
                    </a:lnTo>
                    <a:lnTo>
                      <a:pt x="1186" y="1485"/>
                    </a:lnTo>
                    <a:close/>
                    <a:moveTo>
                      <a:pt x="1181" y="1459"/>
                    </a:moveTo>
                    <a:lnTo>
                      <a:pt x="1181" y="1461"/>
                    </a:lnTo>
                    <a:lnTo>
                      <a:pt x="1181" y="1459"/>
                    </a:lnTo>
                    <a:close/>
                    <a:moveTo>
                      <a:pt x="1361" y="1670"/>
                    </a:moveTo>
                    <a:lnTo>
                      <a:pt x="1363" y="1670"/>
                    </a:lnTo>
                    <a:lnTo>
                      <a:pt x="1361" y="1670"/>
                    </a:lnTo>
                    <a:close/>
                    <a:moveTo>
                      <a:pt x="1210" y="1090"/>
                    </a:moveTo>
                    <a:lnTo>
                      <a:pt x="1212" y="1090"/>
                    </a:lnTo>
                    <a:lnTo>
                      <a:pt x="1212" y="1092"/>
                    </a:lnTo>
                    <a:lnTo>
                      <a:pt x="1210" y="1092"/>
                    </a:lnTo>
                    <a:lnTo>
                      <a:pt x="1210" y="1090"/>
                    </a:lnTo>
                    <a:close/>
                    <a:moveTo>
                      <a:pt x="1183" y="1071"/>
                    </a:moveTo>
                    <a:lnTo>
                      <a:pt x="1183" y="1073"/>
                    </a:lnTo>
                    <a:lnTo>
                      <a:pt x="1183" y="1071"/>
                    </a:lnTo>
                    <a:close/>
                    <a:moveTo>
                      <a:pt x="1205" y="1105"/>
                    </a:moveTo>
                    <a:lnTo>
                      <a:pt x="1207" y="1105"/>
                    </a:lnTo>
                    <a:lnTo>
                      <a:pt x="1205" y="1105"/>
                    </a:lnTo>
                    <a:close/>
                    <a:moveTo>
                      <a:pt x="1258" y="1602"/>
                    </a:moveTo>
                    <a:lnTo>
                      <a:pt x="1259" y="1602"/>
                    </a:lnTo>
                    <a:lnTo>
                      <a:pt x="1258" y="1602"/>
                    </a:lnTo>
                    <a:close/>
                    <a:moveTo>
                      <a:pt x="1220" y="1505"/>
                    </a:moveTo>
                    <a:lnTo>
                      <a:pt x="1222" y="1505"/>
                    </a:lnTo>
                    <a:lnTo>
                      <a:pt x="1222" y="1507"/>
                    </a:lnTo>
                    <a:lnTo>
                      <a:pt x="1220" y="1507"/>
                    </a:lnTo>
                    <a:lnTo>
                      <a:pt x="1220" y="1505"/>
                    </a:lnTo>
                    <a:close/>
                    <a:moveTo>
                      <a:pt x="1186" y="1444"/>
                    </a:moveTo>
                    <a:lnTo>
                      <a:pt x="1188" y="1444"/>
                    </a:lnTo>
                    <a:lnTo>
                      <a:pt x="1186" y="1444"/>
                    </a:lnTo>
                    <a:close/>
                    <a:moveTo>
                      <a:pt x="1404" y="1648"/>
                    </a:moveTo>
                    <a:lnTo>
                      <a:pt x="1406" y="1648"/>
                    </a:lnTo>
                    <a:lnTo>
                      <a:pt x="1404" y="1648"/>
                    </a:lnTo>
                    <a:close/>
                    <a:moveTo>
                      <a:pt x="1378" y="1665"/>
                    </a:moveTo>
                    <a:lnTo>
                      <a:pt x="1380" y="1665"/>
                    </a:lnTo>
                    <a:lnTo>
                      <a:pt x="1378" y="1665"/>
                    </a:lnTo>
                    <a:close/>
                    <a:moveTo>
                      <a:pt x="1343" y="1663"/>
                    </a:moveTo>
                    <a:lnTo>
                      <a:pt x="1344" y="1663"/>
                    </a:lnTo>
                    <a:lnTo>
                      <a:pt x="1344" y="1665"/>
                    </a:lnTo>
                    <a:lnTo>
                      <a:pt x="1343" y="1665"/>
                    </a:lnTo>
                    <a:lnTo>
                      <a:pt x="1343" y="1663"/>
                    </a:lnTo>
                    <a:close/>
                    <a:moveTo>
                      <a:pt x="1414" y="1679"/>
                    </a:moveTo>
                    <a:lnTo>
                      <a:pt x="1416" y="1679"/>
                    </a:lnTo>
                    <a:lnTo>
                      <a:pt x="1416" y="1680"/>
                    </a:lnTo>
                    <a:lnTo>
                      <a:pt x="1414" y="1680"/>
                    </a:lnTo>
                    <a:lnTo>
                      <a:pt x="1414" y="1679"/>
                    </a:lnTo>
                    <a:close/>
                    <a:moveTo>
                      <a:pt x="1220" y="1075"/>
                    </a:moveTo>
                    <a:lnTo>
                      <a:pt x="1220" y="1077"/>
                    </a:lnTo>
                    <a:lnTo>
                      <a:pt x="1220" y="1075"/>
                    </a:lnTo>
                    <a:close/>
                    <a:moveTo>
                      <a:pt x="1222" y="1561"/>
                    </a:moveTo>
                    <a:lnTo>
                      <a:pt x="1224" y="1561"/>
                    </a:lnTo>
                    <a:lnTo>
                      <a:pt x="1222" y="1561"/>
                    </a:lnTo>
                    <a:close/>
                    <a:moveTo>
                      <a:pt x="1176" y="1141"/>
                    </a:moveTo>
                    <a:lnTo>
                      <a:pt x="1178" y="1141"/>
                    </a:lnTo>
                    <a:lnTo>
                      <a:pt x="1178" y="1143"/>
                    </a:lnTo>
                    <a:lnTo>
                      <a:pt x="1176" y="1143"/>
                    </a:lnTo>
                    <a:lnTo>
                      <a:pt x="1176" y="1141"/>
                    </a:lnTo>
                    <a:close/>
                    <a:moveTo>
                      <a:pt x="1356" y="1653"/>
                    </a:moveTo>
                    <a:lnTo>
                      <a:pt x="1358" y="1653"/>
                    </a:lnTo>
                    <a:lnTo>
                      <a:pt x="1358" y="1655"/>
                    </a:lnTo>
                    <a:lnTo>
                      <a:pt x="1356" y="1655"/>
                    </a:lnTo>
                    <a:lnTo>
                      <a:pt x="1356" y="1653"/>
                    </a:lnTo>
                    <a:close/>
                    <a:moveTo>
                      <a:pt x="1213" y="1012"/>
                    </a:moveTo>
                    <a:lnTo>
                      <a:pt x="1215" y="1012"/>
                    </a:lnTo>
                    <a:lnTo>
                      <a:pt x="1215" y="1014"/>
                    </a:lnTo>
                    <a:lnTo>
                      <a:pt x="1213" y="1014"/>
                    </a:lnTo>
                    <a:lnTo>
                      <a:pt x="1213" y="1012"/>
                    </a:lnTo>
                    <a:close/>
                    <a:moveTo>
                      <a:pt x="1139" y="1311"/>
                    </a:moveTo>
                    <a:lnTo>
                      <a:pt x="1140" y="1311"/>
                    </a:lnTo>
                    <a:lnTo>
                      <a:pt x="1140" y="1313"/>
                    </a:lnTo>
                    <a:lnTo>
                      <a:pt x="1139" y="1313"/>
                    </a:lnTo>
                    <a:lnTo>
                      <a:pt x="1139" y="1311"/>
                    </a:lnTo>
                    <a:close/>
                    <a:moveTo>
                      <a:pt x="1215" y="1517"/>
                    </a:moveTo>
                    <a:lnTo>
                      <a:pt x="1217" y="1517"/>
                    </a:lnTo>
                    <a:lnTo>
                      <a:pt x="1215" y="1517"/>
                    </a:lnTo>
                    <a:close/>
                    <a:moveTo>
                      <a:pt x="1178" y="1444"/>
                    </a:moveTo>
                    <a:lnTo>
                      <a:pt x="1179" y="1444"/>
                    </a:lnTo>
                    <a:lnTo>
                      <a:pt x="1178" y="1444"/>
                    </a:lnTo>
                    <a:close/>
                    <a:moveTo>
                      <a:pt x="1188" y="1430"/>
                    </a:moveTo>
                    <a:lnTo>
                      <a:pt x="1190" y="1430"/>
                    </a:lnTo>
                    <a:lnTo>
                      <a:pt x="1188" y="1430"/>
                    </a:lnTo>
                    <a:close/>
                    <a:moveTo>
                      <a:pt x="1203" y="1082"/>
                    </a:moveTo>
                    <a:lnTo>
                      <a:pt x="1205" y="1082"/>
                    </a:lnTo>
                    <a:lnTo>
                      <a:pt x="1203" y="1082"/>
                    </a:lnTo>
                    <a:close/>
                    <a:moveTo>
                      <a:pt x="1225" y="1575"/>
                    </a:moveTo>
                    <a:lnTo>
                      <a:pt x="1227" y="1575"/>
                    </a:lnTo>
                    <a:lnTo>
                      <a:pt x="1225" y="1575"/>
                    </a:lnTo>
                    <a:close/>
                    <a:moveTo>
                      <a:pt x="1258" y="1587"/>
                    </a:moveTo>
                    <a:lnTo>
                      <a:pt x="1258" y="1589"/>
                    </a:lnTo>
                    <a:lnTo>
                      <a:pt x="1258" y="1587"/>
                    </a:lnTo>
                    <a:close/>
                    <a:moveTo>
                      <a:pt x="1183" y="1446"/>
                    </a:moveTo>
                    <a:lnTo>
                      <a:pt x="1185" y="1446"/>
                    </a:lnTo>
                    <a:lnTo>
                      <a:pt x="1185" y="1447"/>
                    </a:lnTo>
                    <a:lnTo>
                      <a:pt x="1183" y="1447"/>
                    </a:lnTo>
                    <a:lnTo>
                      <a:pt x="1183" y="1446"/>
                    </a:lnTo>
                    <a:close/>
                    <a:moveTo>
                      <a:pt x="1142" y="1301"/>
                    </a:moveTo>
                    <a:lnTo>
                      <a:pt x="1144" y="1301"/>
                    </a:lnTo>
                    <a:lnTo>
                      <a:pt x="1142" y="1301"/>
                    </a:lnTo>
                    <a:close/>
                    <a:moveTo>
                      <a:pt x="1185" y="1425"/>
                    </a:moveTo>
                    <a:lnTo>
                      <a:pt x="1186" y="1425"/>
                    </a:lnTo>
                    <a:lnTo>
                      <a:pt x="1185" y="1425"/>
                    </a:lnTo>
                    <a:close/>
                    <a:moveTo>
                      <a:pt x="1283" y="1612"/>
                    </a:moveTo>
                    <a:lnTo>
                      <a:pt x="1283" y="1614"/>
                    </a:lnTo>
                    <a:lnTo>
                      <a:pt x="1283" y="1612"/>
                    </a:lnTo>
                    <a:close/>
                    <a:moveTo>
                      <a:pt x="1191" y="1126"/>
                    </a:moveTo>
                    <a:lnTo>
                      <a:pt x="1191" y="1128"/>
                    </a:lnTo>
                    <a:lnTo>
                      <a:pt x="1191" y="1126"/>
                    </a:lnTo>
                    <a:close/>
                    <a:moveTo>
                      <a:pt x="1261" y="1590"/>
                    </a:moveTo>
                    <a:lnTo>
                      <a:pt x="1261" y="1592"/>
                    </a:lnTo>
                    <a:lnTo>
                      <a:pt x="1261" y="1590"/>
                    </a:lnTo>
                    <a:close/>
                    <a:moveTo>
                      <a:pt x="1190" y="1071"/>
                    </a:moveTo>
                    <a:lnTo>
                      <a:pt x="1190" y="1073"/>
                    </a:lnTo>
                    <a:lnTo>
                      <a:pt x="1190" y="1071"/>
                    </a:lnTo>
                    <a:close/>
                    <a:moveTo>
                      <a:pt x="1193" y="1140"/>
                    </a:moveTo>
                    <a:lnTo>
                      <a:pt x="1195" y="1140"/>
                    </a:lnTo>
                    <a:lnTo>
                      <a:pt x="1195" y="1141"/>
                    </a:lnTo>
                    <a:lnTo>
                      <a:pt x="1193" y="1141"/>
                    </a:lnTo>
                    <a:lnTo>
                      <a:pt x="1193" y="1140"/>
                    </a:lnTo>
                    <a:close/>
                    <a:moveTo>
                      <a:pt x="1360" y="1665"/>
                    </a:moveTo>
                    <a:lnTo>
                      <a:pt x="1361" y="1665"/>
                    </a:lnTo>
                    <a:lnTo>
                      <a:pt x="1360" y="1665"/>
                    </a:lnTo>
                    <a:close/>
                    <a:moveTo>
                      <a:pt x="1213" y="1517"/>
                    </a:moveTo>
                    <a:lnTo>
                      <a:pt x="1213" y="1519"/>
                    </a:lnTo>
                    <a:lnTo>
                      <a:pt x="1213" y="1517"/>
                    </a:lnTo>
                    <a:close/>
                    <a:moveTo>
                      <a:pt x="1229" y="1577"/>
                    </a:moveTo>
                    <a:lnTo>
                      <a:pt x="1230" y="1577"/>
                    </a:lnTo>
                    <a:lnTo>
                      <a:pt x="1229" y="1577"/>
                    </a:lnTo>
                    <a:close/>
                    <a:moveTo>
                      <a:pt x="1169" y="1415"/>
                    </a:moveTo>
                    <a:lnTo>
                      <a:pt x="1171" y="1415"/>
                    </a:lnTo>
                    <a:lnTo>
                      <a:pt x="1169" y="1415"/>
                    </a:lnTo>
                    <a:close/>
                    <a:moveTo>
                      <a:pt x="1219" y="1565"/>
                    </a:moveTo>
                    <a:lnTo>
                      <a:pt x="1220" y="1565"/>
                    </a:lnTo>
                    <a:lnTo>
                      <a:pt x="1219" y="1565"/>
                    </a:lnTo>
                    <a:close/>
                    <a:moveTo>
                      <a:pt x="1142" y="1299"/>
                    </a:moveTo>
                    <a:lnTo>
                      <a:pt x="1144" y="1299"/>
                    </a:lnTo>
                    <a:lnTo>
                      <a:pt x="1142" y="1299"/>
                    </a:lnTo>
                    <a:close/>
                    <a:moveTo>
                      <a:pt x="1273" y="1609"/>
                    </a:moveTo>
                    <a:lnTo>
                      <a:pt x="1275" y="1609"/>
                    </a:lnTo>
                    <a:lnTo>
                      <a:pt x="1275" y="1611"/>
                    </a:lnTo>
                    <a:lnTo>
                      <a:pt x="1273" y="1611"/>
                    </a:lnTo>
                    <a:lnTo>
                      <a:pt x="1273" y="1609"/>
                    </a:lnTo>
                    <a:close/>
                    <a:moveTo>
                      <a:pt x="1217" y="1565"/>
                    </a:moveTo>
                    <a:lnTo>
                      <a:pt x="1219" y="1565"/>
                    </a:lnTo>
                    <a:lnTo>
                      <a:pt x="1217" y="1565"/>
                    </a:lnTo>
                    <a:close/>
                    <a:moveTo>
                      <a:pt x="1183" y="1439"/>
                    </a:moveTo>
                    <a:lnTo>
                      <a:pt x="1185" y="1439"/>
                    </a:lnTo>
                    <a:lnTo>
                      <a:pt x="1185" y="1441"/>
                    </a:lnTo>
                    <a:lnTo>
                      <a:pt x="1183" y="1441"/>
                    </a:lnTo>
                    <a:lnTo>
                      <a:pt x="1183" y="1439"/>
                    </a:lnTo>
                    <a:close/>
                    <a:moveTo>
                      <a:pt x="1361" y="1599"/>
                    </a:moveTo>
                    <a:lnTo>
                      <a:pt x="1363" y="1599"/>
                    </a:lnTo>
                    <a:lnTo>
                      <a:pt x="1363" y="1600"/>
                    </a:lnTo>
                    <a:lnTo>
                      <a:pt x="1361" y="1600"/>
                    </a:lnTo>
                    <a:lnTo>
                      <a:pt x="1361" y="1599"/>
                    </a:lnTo>
                    <a:close/>
                    <a:moveTo>
                      <a:pt x="1219" y="1136"/>
                    </a:moveTo>
                    <a:lnTo>
                      <a:pt x="1220" y="1136"/>
                    </a:lnTo>
                    <a:lnTo>
                      <a:pt x="1219" y="1136"/>
                    </a:lnTo>
                    <a:close/>
                    <a:moveTo>
                      <a:pt x="1232" y="1507"/>
                    </a:moveTo>
                    <a:lnTo>
                      <a:pt x="1234" y="1507"/>
                    </a:lnTo>
                    <a:lnTo>
                      <a:pt x="1232" y="1507"/>
                    </a:lnTo>
                    <a:close/>
                    <a:moveTo>
                      <a:pt x="1358" y="1655"/>
                    </a:moveTo>
                    <a:lnTo>
                      <a:pt x="1360" y="1655"/>
                    </a:lnTo>
                    <a:lnTo>
                      <a:pt x="1360" y="1657"/>
                    </a:lnTo>
                    <a:lnTo>
                      <a:pt x="1358" y="1657"/>
                    </a:lnTo>
                    <a:lnTo>
                      <a:pt x="1358" y="1655"/>
                    </a:lnTo>
                    <a:close/>
                    <a:moveTo>
                      <a:pt x="1151" y="1330"/>
                    </a:moveTo>
                    <a:lnTo>
                      <a:pt x="1152" y="1330"/>
                    </a:lnTo>
                    <a:lnTo>
                      <a:pt x="1152" y="1332"/>
                    </a:lnTo>
                    <a:lnTo>
                      <a:pt x="1151" y="1332"/>
                    </a:lnTo>
                    <a:lnTo>
                      <a:pt x="1151" y="1330"/>
                    </a:lnTo>
                    <a:close/>
                    <a:moveTo>
                      <a:pt x="1200" y="1527"/>
                    </a:moveTo>
                    <a:lnTo>
                      <a:pt x="1202" y="1527"/>
                    </a:lnTo>
                    <a:lnTo>
                      <a:pt x="1202" y="1529"/>
                    </a:lnTo>
                    <a:lnTo>
                      <a:pt x="1200" y="1529"/>
                    </a:lnTo>
                    <a:lnTo>
                      <a:pt x="1200" y="1527"/>
                    </a:lnTo>
                    <a:close/>
                    <a:moveTo>
                      <a:pt x="1215" y="1555"/>
                    </a:moveTo>
                    <a:lnTo>
                      <a:pt x="1217" y="1555"/>
                    </a:lnTo>
                    <a:lnTo>
                      <a:pt x="1215" y="1555"/>
                    </a:lnTo>
                    <a:close/>
                    <a:moveTo>
                      <a:pt x="1295" y="1612"/>
                    </a:moveTo>
                    <a:lnTo>
                      <a:pt x="1295" y="1614"/>
                    </a:lnTo>
                    <a:lnTo>
                      <a:pt x="1295" y="1612"/>
                    </a:lnTo>
                    <a:close/>
                    <a:moveTo>
                      <a:pt x="1222" y="1068"/>
                    </a:moveTo>
                    <a:lnTo>
                      <a:pt x="1224" y="1068"/>
                    </a:lnTo>
                    <a:lnTo>
                      <a:pt x="1224" y="1070"/>
                    </a:lnTo>
                    <a:lnTo>
                      <a:pt x="1222" y="1070"/>
                    </a:lnTo>
                    <a:lnTo>
                      <a:pt x="1222" y="1068"/>
                    </a:lnTo>
                    <a:close/>
                    <a:moveTo>
                      <a:pt x="1344" y="1660"/>
                    </a:moveTo>
                    <a:lnTo>
                      <a:pt x="1346" y="1660"/>
                    </a:lnTo>
                    <a:lnTo>
                      <a:pt x="1346" y="1662"/>
                    </a:lnTo>
                    <a:lnTo>
                      <a:pt x="1344" y="1662"/>
                    </a:lnTo>
                    <a:lnTo>
                      <a:pt x="1344" y="1660"/>
                    </a:lnTo>
                    <a:close/>
                    <a:moveTo>
                      <a:pt x="1207" y="1498"/>
                    </a:moveTo>
                    <a:lnTo>
                      <a:pt x="1208" y="1498"/>
                    </a:lnTo>
                    <a:lnTo>
                      <a:pt x="1208" y="1500"/>
                    </a:lnTo>
                    <a:lnTo>
                      <a:pt x="1207" y="1500"/>
                    </a:lnTo>
                    <a:lnTo>
                      <a:pt x="1207" y="1498"/>
                    </a:lnTo>
                    <a:close/>
                    <a:moveTo>
                      <a:pt x="1171" y="1230"/>
                    </a:moveTo>
                    <a:lnTo>
                      <a:pt x="1173" y="1230"/>
                    </a:lnTo>
                    <a:lnTo>
                      <a:pt x="1173" y="1231"/>
                    </a:lnTo>
                    <a:lnTo>
                      <a:pt x="1171" y="1231"/>
                    </a:lnTo>
                    <a:lnTo>
                      <a:pt x="1171" y="1230"/>
                    </a:lnTo>
                    <a:close/>
                    <a:moveTo>
                      <a:pt x="1151" y="1310"/>
                    </a:moveTo>
                    <a:lnTo>
                      <a:pt x="1152" y="1310"/>
                    </a:lnTo>
                    <a:lnTo>
                      <a:pt x="1151" y="1310"/>
                    </a:lnTo>
                    <a:close/>
                    <a:moveTo>
                      <a:pt x="1246" y="1504"/>
                    </a:moveTo>
                    <a:lnTo>
                      <a:pt x="1246" y="1505"/>
                    </a:lnTo>
                    <a:lnTo>
                      <a:pt x="1246" y="1504"/>
                    </a:lnTo>
                    <a:close/>
                    <a:moveTo>
                      <a:pt x="1254" y="1575"/>
                    </a:moveTo>
                    <a:lnTo>
                      <a:pt x="1256" y="1575"/>
                    </a:lnTo>
                    <a:lnTo>
                      <a:pt x="1254" y="1575"/>
                    </a:lnTo>
                    <a:close/>
                    <a:moveTo>
                      <a:pt x="1198" y="1092"/>
                    </a:moveTo>
                    <a:lnTo>
                      <a:pt x="1200" y="1092"/>
                    </a:lnTo>
                    <a:lnTo>
                      <a:pt x="1198" y="1092"/>
                    </a:lnTo>
                    <a:close/>
                    <a:moveTo>
                      <a:pt x="1191" y="1379"/>
                    </a:moveTo>
                    <a:lnTo>
                      <a:pt x="1193" y="1379"/>
                    </a:lnTo>
                    <a:lnTo>
                      <a:pt x="1191" y="1379"/>
                    </a:lnTo>
                    <a:close/>
                    <a:moveTo>
                      <a:pt x="1154" y="1288"/>
                    </a:moveTo>
                    <a:lnTo>
                      <a:pt x="1154" y="1289"/>
                    </a:lnTo>
                    <a:lnTo>
                      <a:pt x="1154" y="1288"/>
                    </a:lnTo>
                    <a:close/>
                    <a:moveTo>
                      <a:pt x="1173" y="1395"/>
                    </a:moveTo>
                    <a:lnTo>
                      <a:pt x="1174" y="1395"/>
                    </a:lnTo>
                    <a:lnTo>
                      <a:pt x="1173" y="1395"/>
                    </a:lnTo>
                    <a:close/>
                    <a:moveTo>
                      <a:pt x="1219" y="1568"/>
                    </a:moveTo>
                    <a:lnTo>
                      <a:pt x="1219" y="1570"/>
                    </a:lnTo>
                    <a:lnTo>
                      <a:pt x="1219" y="1568"/>
                    </a:lnTo>
                    <a:close/>
                    <a:moveTo>
                      <a:pt x="1200" y="1094"/>
                    </a:moveTo>
                    <a:lnTo>
                      <a:pt x="1202" y="1094"/>
                    </a:lnTo>
                    <a:lnTo>
                      <a:pt x="1200" y="1094"/>
                    </a:lnTo>
                    <a:close/>
                    <a:moveTo>
                      <a:pt x="1205" y="1060"/>
                    </a:moveTo>
                    <a:lnTo>
                      <a:pt x="1207" y="1060"/>
                    </a:lnTo>
                    <a:lnTo>
                      <a:pt x="1207" y="1061"/>
                    </a:lnTo>
                    <a:lnTo>
                      <a:pt x="1205" y="1061"/>
                    </a:lnTo>
                    <a:lnTo>
                      <a:pt x="1205" y="1060"/>
                    </a:lnTo>
                    <a:close/>
                    <a:moveTo>
                      <a:pt x="1215" y="1502"/>
                    </a:moveTo>
                    <a:lnTo>
                      <a:pt x="1217" y="1502"/>
                    </a:lnTo>
                    <a:lnTo>
                      <a:pt x="1217" y="1504"/>
                    </a:lnTo>
                    <a:lnTo>
                      <a:pt x="1215" y="1504"/>
                    </a:lnTo>
                    <a:lnTo>
                      <a:pt x="1215" y="1502"/>
                    </a:lnTo>
                    <a:close/>
                    <a:moveTo>
                      <a:pt x="1254" y="1492"/>
                    </a:moveTo>
                    <a:lnTo>
                      <a:pt x="1254" y="1493"/>
                    </a:lnTo>
                    <a:lnTo>
                      <a:pt x="1254" y="1492"/>
                    </a:lnTo>
                    <a:close/>
                    <a:moveTo>
                      <a:pt x="1174" y="1473"/>
                    </a:moveTo>
                    <a:lnTo>
                      <a:pt x="1174" y="1475"/>
                    </a:lnTo>
                    <a:lnTo>
                      <a:pt x="1174" y="1473"/>
                    </a:lnTo>
                    <a:close/>
                    <a:moveTo>
                      <a:pt x="1298" y="1641"/>
                    </a:moveTo>
                    <a:lnTo>
                      <a:pt x="1300" y="1641"/>
                    </a:lnTo>
                    <a:lnTo>
                      <a:pt x="1298" y="1641"/>
                    </a:lnTo>
                    <a:close/>
                    <a:moveTo>
                      <a:pt x="1207" y="1527"/>
                    </a:moveTo>
                    <a:lnTo>
                      <a:pt x="1207" y="1529"/>
                    </a:lnTo>
                    <a:lnTo>
                      <a:pt x="1207" y="1527"/>
                    </a:lnTo>
                    <a:close/>
                    <a:moveTo>
                      <a:pt x="1421" y="1669"/>
                    </a:moveTo>
                    <a:lnTo>
                      <a:pt x="1423" y="1669"/>
                    </a:lnTo>
                    <a:lnTo>
                      <a:pt x="1421" y="1669"/>
                    </a:lnTo>
                    <a:close/>
                    <a:moveTo>
                      <a:pt x="1263" y="1600"/>
                    </a:moveTo>
                    <a:lnTo>
                      <a:pt x="1264" y="1600"/>
                    </a:lnTo>
                    <a:lnTo>
                      <a:pt x="1264" y="1602"/>
                    </a:lnTo>
                    <a:lnTo>
                      <a:pt x="1263" y="1602"/>
                    </a:lnTo>
                    <a:lnTo>
                      <a:pt x="1263" y="1600"/>
                    </a:lnTo>
                    <a:close/>
                    <a:moveTo>
                      <a:pt x="1222" y="1068"/>
                    </a:moveTo>
                    <a:lnTo>
                      <a:pt x="1224" y="1068"/>
                    </a:lnTo>
                    <a:lnTo>
                      <a:pt x="1224" y="1070"/>
                    </a:lnTo>
                    <a:lnTo>
                      <a:pt x="1222" y="1070"/>
                    </a:lnTo>
                    <a:lnTo>
                      <a:pt x="1222" y="1068"/>
                    </a:lnTo>
                    <a:close/>
                    <a:moveTo>
                      <a:pt x="1181" y="1298"/>
                    </a:moveTo>
                    <a:lnTo>
                      <a:pt x="1183" y="1298"/>
                    </a:lnTo>
                    <a:lnTo>
                      <a:pt x="1181" y="1298"/>
                    </a:lnTo>
                    <a:close/>
                    <a:moveTo>
                      <a:pt x="1195" y="1454"/>
                    </a:moveTo>
                    <a:lnTo>
                      <a:pt x="1196" y="1454"/>
                    </a:lnTo>
                    <a:lnTo>
                      <a:pt x="1195" y="1454"/>
                    </a:lnTo>
                    <a:close/>
                    <a:moveTo>
                      <a:pt x="1181" y="1211"/>
                    </a:moveTo>
                    <a:lnTo>
                      <a:pt x="1183" y="1211"/>
                    </a:lnTo>
                    <a:lnTo>
                      <a:pt x="1181" y="1211"/>
                    </a:lnTo>
                    <a:close/>
                    <a:moveTo>
                      <a:pt x="1147" y="1289"/>
                    </a:moveTo>
                    <a:lnTo>
                      <a:pt x="1149" y="1289"/>
                    </a:lnTo>
                    <a:lnTo>
                      <a:pt x="1147" y="1289"/>
                    </a:lnTo>
                    <a:close/>
                    <a:moveTo>
                      <a:pt x="1183" y="1316"/>
                    </a:moveTo>
                    <a:lnTo>
                      <a:pt x="1183" y="1318"/>
                    </a:lnTo>
                    <a:lnTo>
                      <a:pt x="1183" y="1316"/>
                    </a:lnTo>
                    <a:close/>
                    <a:moveTo>
                      <a:pt x="1232" y="1544"/>
                    </a:moveTo>
                    <a:lnTo>
                      <a:pt x="1234" y="1544"/>
                    </a:lnTo>
                    <a:lnTo>
                      <a:pt x="1234" y="1546"/>
                    </a:lnTo>
                    <a:lnTo>
                      <a:pt x="1232" y="1546"/>
                    </a:lnTo>
                    <a:lnTo>
                      <a:pt x="1232" y="1544"/>
                    </a:lnTo>
                    <a:close/>
                    <a:moveTo>
                      <a:pt x="1185" y="1463"/>
                    </a:moveTo>
                    <a:lnTo>
                      <a:pt x="1186" y="1463"/>
                    </a:lnTo>
                    <a:lnTo>
                      <a:pt x="1186" y="1464"/>
                    </a:lnTo>
                    <a:lnTo>
                      <a:pt x="1185" y="1464"/>
                    </a:lnTo>
                    <a:lnTo>
                      <a:pt x="1185" y="1463"/>
                    </a:lnTo>
                    <a:close/>
                    <a:moveTo>
                      <a:pt x="1178" y="1434"/>
                    </a:moveTo>
                    <a:lnTo>
                      <a:pt x="1179" y="1434"/>
                    </a:lnTo>
                    <a:lnTo>
                      <a:pt x="1178" y="1434"/>
                    </a:lnTo>
                    <a:close/>
                    <a:moveTo>
                      <a:pt x="1162" y="1245"/>
                    </a:moveTo>
                    <a:lnTo>
                      <a:pt x="1162" y="1247"/>
                    </a:lnTo>
                    <a:lnTo>
                      <a:pt x="1162" y="1245"/>
                    </a:lnTo>
                    <a:close/>
                    <a:moveTo>
                      <a:pt x="1229" y="1039"/>
                    </a:moveTo>
                    <a:lnTo>
                      <a:pt x="1229" y="1041"/>
                    </a:lnTo>
                    <a:lnTo>
                      <a:pt x="1229" y="1039"/>
                    </a:lnTo>
                    <a:close/>
                    <a:moveTo>
                      <a:pt x="1183" y="1289"/>
                    </a:moveTo>
                    <a:lnTo>
                      <a:pt x="1185" y="1289"/>
                    </a:lnTo>
                    <a:lnTo>
                      <a:pt x="1183" y="1289"/>
                    </a:lnTo>
                    <a:close/>
                    <a:moveTo>
                      <a:pt x="1402" y="1645"/>
                    </a:moveTo>
                    <a:lnTo>
                      <a:pt x="1402" y="1646"/>
                    </a:lnTo>
                    <a:lnTo>
                      <a:pt x="1402" y="1645"/>
                    </a:lnTo>
                    <a:close/>
                    <a:moveTo>
                      <a:pt x="1213" y="1556"/>
                    </a:moveTo>
                    <a:lnTo>
                      <a:pt x="1215" y="1556"/>
                    </a:lnTo>
                    <a:lnTo>
                      <a:pt x="1213" y="1556"/>
                    </a:lnTo>
                    <a:close/>
                    <a:moveTo>
                      <a:pt x="1191" y="1412"/>
                    </a:moveTo>
                    <a:lnTo>
                      <a:pt x="1191" y="1413"/>
                    </a:lnTo>
                    <a:lnTo>
                      <a:pt x="1191" y="1412"/>
                    </a:lnTo>
                    <a:close/>
                    <a:moveTo>
                      <a:pt x="1179" y="1430"/>
                    </a:moveTo>
                    <a:lnTo>
                      <a:pt x="1181" y="1430"/>
                    </a:lnTo>
                    <a:lnTo>
                      <a:pt x="1179" y="1430"/>
                    </a:lnTo>
                    <a:close/>
                    <a:moveTo>
                      <a:pt x="1183" y="1463"/>
                    </a:moveTo>
                    <a:lnTo>
                      <a:pt x="1185" y="1463"/>
                    </a:lnTo>
                    <a:lnTo>
                      <a:pt x="1183" y="1463"/>
                    </a:lnTo>
                    <a:close/>
                    <a:moveTo>
                      <a:pt x="1152" y="1187"/>
                    </a:moveTo>
                    <a:lnTo>
                      <a:pt x="1154" y="1187"/>
                    </a:lnTo>
                    <a:lnTo>
                      <a:pt x="1152" y="1187"/>
                    </a:lnTo>
                    <a:close/>
                    <a:moveTo>
                      <a:pt x="1358" y="1657"/>
                    </a:moveTo>
                    <a:lnTo>
                      <a:pt x="1360" y="1657"/>
                    </a:lnTo>
                    <a:lnTo>
                      <a:pt x="1358" y="1657"/>
                    </a:lnTo>
                    <a:close/>
                    <a:moveTo>
                      <a:pt x="1178" y="1425"/>
                    </a:moveTo>
                    <a:lnTo>
                      <a:pt x="1179" y="1425"/>
                    </a:lnTo>
                    <a:lnTo>
                      <a:pt x="1179" y="1427"/>
                    </a:lnTo>
                    <a:lnTo>
                      <a:pt x="1178" y="1427"/>
                    </a:lnTo>
                    <a:lnTo>
                      <a:pt x="1178" y="1425"/>
                    </a:lnTo>
                    <a:close/>
                    <a:moveTo>
                      <a:pt x="1154" y="1313"/>
                    </a:moveTo>
                    <a:lnTo>
                      <a:pt x="1156" y="1313"/>
                    </a:lnTo>
                    <a:lnTo>
                      <a:pt x="1154" y="1313"/>
                    </a:lnTo>
                    <a:close/>
                    <a:moveTo>
                      <a:pt x="1185" y="1527"/>
                    </a:moveTo>
                    <a:lnTo>
                      <a:pt x="1185" y="1529"/>
                    </a:lnTo>
                    <a:lnTo>
                      <a:pt x="1185" y="1527"/>
                    </a:lnTo>
                    <a:close/>
                    <a:moveTo>
                      <a:pt x="1380" y="1667"/>
                    </a:moveTo>
                    <a:lnTo>
                      <a:pt x="1382" y="1667"/>
                    </a:lnTo>
                    <a:lnTo>
                      <a:pt x="1380" y="1667"/>
                    </a:lnTo>
                    <a:close/>
                    <a:moveTo>
                      <a:pt x="1205" y="1527"/>
                    </a:moveTo>
                    <a:lnTo>
                      <a:pt x="1207" y="1527"/>
                    </a:lnTo>
                    <a:lnTo>
                      <a:pt x="1207" y="1529"/>
                    </a:lnTo>
                    <a:lnTo>
                      <a:pt x="1205" y="1529"/>
                    </a:lnTo>
                    <a:lnTo>
                      <a:pt x="1205" y="1527"/>
                    </a:lnTo>
                    <a:close/>
                    <a:moveTo>
                      <a:pt x="1397" y="1663"/>
                    </a:moveTo>
                    <a:lnTo>
                      <a:pt x="1397" y="1665"/>
                    </a:lnTo>
                    <a:lnTo>
                      <a:pt x="1397" y="1663"/>
                    </a:lnTo>
                    <a:close/>
                    <a:moveTo>
                      <a:pt x="1358" y="1667"/>
                    </a:moveTo>
                    <a:lnTo>
                      <a:pt x="1360" y="1667"/>
                    </a:lnTo>
                    <a:lnTo>
                      <a:pt x="1358" y="1667"/>
                    </a:lnTo>
                    <a:close/>
                    <a:moveTo>
                      <a:pt x="1190" y="1231"/>
                    </a:moveTo>
                    <a:lnTo>
                      <a:pt x="1191" y="1231"/>
                    </a:lnTo>
                    <a:lnTo>
                      <a:pt x="1190" y="1231"/>
                    </a:lnTo>
                    <a:close/>
                    <a:moveTo>
                      <a:pt x="1168" y="1136"/>
                    </a:moveTo>
                    <a:lnTo>
                      <a:pt x="1169" y="1136"/>
                    </a:lnTo>
                    <a:lnTo>
                      <a:pt x="1169" y="1138"/>
                    </a:lnTo>
                    <a:lnTo>
                      <a:pt x="1168" y="1138"/>
                    </a:lnTo>
                    <a:lnTo>
                      <a:pt x="1168" y="1136"/>
                    </a:lnTo>
                    <a:close/>
                    <a:moveTo>
                      <a:pt x="1183" y="1430"/>
                    </a:moveTo>
                    <a:lnTo>
                      <a:pt x="1185" y="1430"/>
                    </a:lnTo>
                    <a:lnTo>
                      <a:pt x="1183" y="1430"/>
                    </a:lnTo>
                    <a:close/>
                    <a:moveTo>
                      <a:pt x="1220" y="1083"/>
                    </a:moveTo>
                    <a:lnTo>
                      <a:pt x="1220" y="1085"/>
                    </a:lnTo>
                    <a:lnTo>
                      <a:pt x="1220" y="1083"/>
                    </a:lnTo>
                    <a:close/>
                    <a:moveTo>
                      <a:pt x="1183" y="1299"/>
                    </a:moveTo>
                    <a:lnTo>
                      <a:pt x="1183" y="1301"/>
                    </a:lnTo>
                    <a:lnTo>
                      <a:pt x="1183" y="1299"/>
                    </a:lnTo>
                    <a:close/>
                    <a:moveTo>
                      <a:pt x="1254" y="1590"/>
                    </a:moveTo>
                    <a:lnTo>
                      <a:pt x="1256" y="1590"/>
                    </a:lnTo>
                    <a:lnTo>
                      <a:pt x="1254" y="1590"/>
                    </a:lnTo>
                    <a:close/>
                    <a:moveTo>
                      <a:pt x="1222" y="1070"/>
                    </a:moveTo>
                    <a:lnTo>
                      <a:pt x="1224" y="1070"/>
                    </a:lnTo>
                    <a:lnTo>
                      <a:pt x="1222" y="1070"/>
                    </a:lnTo>
                    <a:close/>
                    <a:moveTo>
                      <a:pt x="1161" y="1470"/>
                    </a:moveTo>
                    <a:lnTo>
                      <a:pt x="1162" y="1470"/>
                    </a:lnTo>
                    <a:lnTo>
                      <a:pt x="1161" y="1470"/>
                    </a:lnTo>
                    <a:close/>
                    <a:moveTo>
                      <a:pt x="1343" y="1655"/>
                    </a:moveTo>
                    <a:lnTo>
                      <a:pt x="1344" y="1655"/>
                    </a:lnTo>
                    <a:lnTo>
                      <a:pt x="1343" y="1655"/>
                    </a:lnTo>
                    <a:close/>
                    <a:moveTo>
                      <a:pt x="1171" y="1413"/>
                    </a:moveTo>
                    <a:lnTo>
                      <a:pt x="1173" y="1413"/>
                    </a:lnTo>
                    <a:lnTo>
                      <a:pt x="1173" y="1415"/>
                    </a:lnTo>
                    <a:lnTo>
                      <a:pt x="1171" y="1415"/>
                    </a:lnTo>
                    <a:lnTo>
                      <a:pt x="1171" y="1413"/>
                    </a:lnTo>
                    <a:close/>
                    <a:moveTo>
                      <a:pt x="1169" y="1473"/>
                    </a:moveTo>
                    <a:lnTo>
                      <a:pt x="1169" y="1475"/>
                    </a:lnTo>
                    <a:lnTo>
                      <a:pt x="1169" y="1473"/>
                    </a:lnTo>
                    <a:close/>
                    <a:moveTo>
                      <a:pt x="1159" y="1247"/>
                    </a:moveTo>
                    <a:lnTo>
                      <a:pt x="1161" y="1247"/>
                    </a:lnTo>
                    <a:lnTo>
                      <a:pt x="1161" y="1248"/>
                    </a:lnTo>
                    <a:lnTo>
                      <a:pt x="1159" y="1248"/>
                    </a:lnTo>
                    <a:lnTo>
                      <a:pt x="1159" y="1247"/>
                    </a:lnTo>
                    <a:close/>
                    <a:moveTo>
                      <a:pt x="1154" y="1191"/>
                    </a:moveTo>
                    <a:lnTo>
                      <a:pt x="1156" y="1191"/>
                    </a:lnTo>
                    <a:lnTo>
                      <a:pt x="1154" y="1191"/>
                    </a:lnTo>
                    <a:close/>
                    <a:moveTo>
                      <a:pt x="1186" y="1441"/>
                    </a:moveTo>
                    <a:lnTo>
                      <a:pt x="1186" y="1442"/>
                    </a:lnTo>
                    <a:lnTo>
                      <a:pt x="1186" y="1441"/>
                    </a:lnTo>
                    <a:close/>
                    <a:moveTo>
                      <a:pt x="1152" y="1330"/>
                    </a:moveTo>
                    <a:lnTo>
                      <a:pt x="1154" y="1330"/>
                    </a:lnTo>
                    <a:lnTo>
                      <a:pt x="1152" y="1330"/>
                    </a:lnTo>
                    <a:close/>
                    <a:moveTo>
                      <a:pt x="1173" y="1430"/>
                    </a:moveTo>
                    <a:lnTo>
                      <a:pt x="1174" y="1430"/>
                    </a:lnTo>
                    <a:lnTo>
                      <a:pt x="1174" y="1432"/>
                    </a:lnTo>
                    <a:lnTo>
                      <a:pt x="1173" y="1432"/>
                    </a:lnTo>
                    <a:lnTo>
                      <a:pt x="1173" y="1430"/>
                    </a:lnTo>
                    <a:close/>
                    <a:moveTo>
                      <a:pt x="1242" y="1589"/>
                    </a:moveTo>
                    <a:lnTo>
                      <a:pt x="1242" y="1590"/>
                    </a:lnTo>
                    <a:lnTo>
                      <a:pt x="1242" y="1589"/>
                    </a:lnTo>
                    <a:close/>
                    <a:moveTo>
                      <a:pt x="1144" y="1269"/>
                    </a:moveTo>
                    <a:lnTo>
                      <a:pt x="1144" y="1270"/>
                    </a:lnTo>
                    <a:lnTo>
                      <a:pt x="1144" y="1269"/>
                    </a:lnTo>
                    <a:close/>
                    <a:moveTo>
                      <a:pt x="1193" y="1126"/>
                    </a:moveTo>
                    <a:lnTo>
                      <a:pt x="1193" y="1128"/>
                    </a:lnTo>
                    <a:lnTo>
                      <a:pt x="1193" y="1126"/>
                    </a:lnTo>
                    <a:close/>
                    <a:moveTo>
                      <a:pt x="1270" y="1592"/>
                    </a:moveTo>
                    <a:lnTo>
                      <a:pt x="1271" y="1592"/>
                    </a:lnTo>
                    <a:lnTo>
                      <a:pt x="1270" y="1592"/>
                    </a:lnTo>
                    <a:close/>
                    <a:moveTo>
                      <a:pt x="1210" y="1242"/>
                    </a:moveTo>
                    <a:lnTo>
                      <a:pt x="1212" y="1242"/>
                    </a:lnTo>
                    <a:lnTo>
                      <a:pt x="1210" y="1242"/>
                    </a:lnTo>
                    <a:close/>
                    <a:moveTo>
                      <a:pt x="1203" y="1061"/>
                    </a:moveTo>
                    <a:lnTo>
                      <a:pt x="1205" y="1061"/>
                    </a:lnTo>
                    <a:lnTo>
                      <a:pt x="1203" y="1061"/>
                    </a:lnTo>
                    <a:close/>
                    <a:moveTo>
                      <a:pt x="1185" y="1493"/>
                    </a:moveTo>
                    <a:lnTo>
                      <a:pt x="1185" y="1495"/>
                    </a:lnTo>
                    <a:lnTo>
                      <a:pt x="1185" y="1493"/>
                    </a:lnTo>
                    <a:close/>
                    <a:moveTo>
                      <a:pt x="1208" y="1070"/>
                    </a:moveTo>
                    <a:lnTo>
                      <a:pt x="1210" y="1070"/>
                    </a:lnTo>
                    <a:lnTo>
                      <a:pt x="1210" y="1071"/>
                    </a:lnTo>
                    <a:lnTo>
                      <a:pt x="1208" y="1071"/>
                    </a:lnTo>
                    <a:lnTo>
                      <a:pt x="1208" y="1070"/>
                    </a:lnTo>
                    <a:close/>
                    <a:moveTo>
                      <a:pt x="1157" y="1236"/>
                    </a:moveTo>
                    <a:lnTo>
                      <a:pt x="1157" y="1238"/>
                    </a:lnTo>
                    <a:lnTo>
                      <a:pt x="1157" y="1236"/>
                    </a:lnTo>
                    <a:close/>
                    <a:moveTo>
                      <a:pt x="1207" y="1063"/>
                    </a:moveTo>
                    <a:lnTo>
                      <a:pt x="1207" y="1065"/>
                    </a:lnTo>
                    <a:lnTo>
                      <a:pt x="1207" y="1063"/>
                    </a:lnTo>
                    <a:close/>
                    <a:moveTo>
                      <a:pt x="1205" y="1556"/>
                    </a:moveTo>
                    <a:lnTo>
                      <a:pt x="1207" y="1556"/>
                    </a:lnTo>
                    <a:lnTo>
                      <a:pt x="1205" y="1556"/>
                    </a:lnTo>
                    <a:close/>
                    <a:moveTo>
                      <a:pt x="1419" y="1674"/>
                    </a:moveTo>
                    <a:lnTo>
                      <a:pt x="1421" y="1674"/>
                    </a:lnTo>
                    <a:lnTo>
                      <a:pt x="1419" y="1674"/>
                    </a:lnTo>
                    <a:close/>
                    <a:moveTo>
                      <a:pt x="1300" y="1568"/>
                    </a:moveTo>
                    <a:lnTo>
                      <a:pt x="1302" y="1568"/>
                    </a:lnTo>
                    <a:lnTo>
                      <a:pt x="1300" y="1568"/>
                    </a:lnTo>
                    <a:close/>
                    <a:moveTo>
                      <a:pt x="1207" y="1053"/>
                    </a:moveTo>
                    <a:lnTo>
                      <a:pt x="1207" y="1054"/>
                    </a:lnTo>
                    <a:lnTo>
                      <a:pt x="1207" y="1053"/>
                    </a:lnTo>
                    <a:close/>
                    <a:moveTo>
                      <a:pt x="1297" y="1594"/>
                    </a:moveTo>
                    <a:lnTo>
                      <a:pt x="1298" y="1594"/>
                    </a:lnTo>
                    <a:lnTo>
                      <a:pt x="1297" y="1594"/>
                    </a:lnTo>
                    <a:close/>
                    <a:moveTo>
                      <a:pt x="1319" y="1514"/>
                    </a:moveTo>
                    <a:lnTo>
                      <a:pt x="1321" y="1514"/>
                    </a:lnTo>
                    <a:lnTo>
                      <a:pt x="1321" y="1515"/>
                    </a:lnTo>
                    <a:lnTo>
                      <a:pt x="1319" y="1515"/>
                    </a:lnTo>
                    <a:lnTo>
                      <a:pt x="1319" y="1514"/>
                    </a:lnTo>
                    <a:close/>
                    <a:moveTo>
                      <a:pt x="1191" y="1464"/>
                    </a:moveTo>
                    <a:lnTo>
                      <a:pt x="1193" y="1464"/>
                    </a:lnTo>
                    <a:lnTo>
                      <a:pt x="1191" y="1464"/>
                    </a:lnTo>
                    <a:close/>
                    <a:moveTo>
                      <a:pt x="1219" y="1568"/>
                    </a:moveTo>
                    <a:lnTo>
                      <a:pt x="1220" y="1568"/>
                    </a:lnTo>
                    <a:lnTo>
                      <a:pt x="1220" y="1570"/>
                    </a:lnTo>
                    <a:lnTo>
                      <a:pt x="1219" y="1570"/>
                    </a:lnTo>
                    <a:lnTo>
                      <a:pt x="1219" y="1568"/>
                    </a:lnTo>
                    <a:close/>
                    <a:moveTo>
                      <a:pt x="1203" y="1054"/>
                    </a:moveTo>
                    <a:lnTo>
                      <a:pt x="1205" y="1054"/>
                    </a:lnTo>
                    <a:lnTo>
                      <a:pt x="1203" y="1054"/>
                    </a:lnTo>
                    <a:close/>
                    <a:moveTo>
                      <a:pt x="1360" y="1657"/>
                    </a:moveTo>
                    <a:lnTo>
                      <a:pt x="1360" y="1658"/>
                    </a:lnTo>
                    <a:lnTo>
                      <a:pt x="1360" y="1657"/>
                    </a:lnTo>
                    <a:close/>
                    <a:moveTo>
                      <a:pt x="1234" y="1124"/>
                    </a:moveTo>
                    <a:lnTo>
                      <a:pt x="1236" y="1124"/>
                    </a:lnTo>
                    <a:lnTo>
                      <a:pt x="1236" y="1126"/>
                    </a:lnTo>
                    <a:lnTo>
                      <a:pt x="1234" y="1126"/>
                    </a:lnTo>
                    <a:lnTo>
                      <a:pt x="1234" y="1124"/>
                    </a:lnTo>
                    <a:close/>
                    <a:moveTo>
                      <a:pt x="1322" y="1628"/>
                    </a:moveTo>
                    <a:lnTo>
                      <a:pt x="1322" y="1629"/>
                    </a:lnTo>
                    <a:lnTo>
                      <a:pt x="1322" y="1628"/>
                    </a:lnTo>
                    <a:close/>
                    <a:moveTo>
                      <a:pt x="1215" y="1538"/>
                    </a:moveTo>
                    <a:lnTo>
                      <a:pt x="1217" y="1538"/>
                    </a:lnTo>
                    <a:lnTo>
                      <a:pt x="1215" y="1538"/>
                    </a:lnTo>
                    <a:close/>
                    <a:moveTo>
                      <a:pt x="1200" y="1082"/>
                    </a:moveTo>
                    <a:lnTo>
                      <a:pt x="1200" y="1083"/>
                    </a:lnTo>
                    <a:lnTo>
                      <a:pt x="1200" y="1082"/>
                    </a:lnTo>
                    <a:close/>
                    <a:moveTo>
                      <a:pt x="1188" y="1497"/>
                    </a:moveTo>
                    <a:lnTo>
                      <a:pt x="1190" y="1497"/>
                    </a:lnTo>
                    <a:lnTo>
                      <a:pt x="1188" y="1497"/>
                    </a:lnTo>
                    <a:close/>
                    <a:moveTo>
                      <a:pt x="1213" y="1500"/>
                    </a:moveTo>
                    <a:lnTo>
                      <a:pt x="1215" y="1500"/>
                    </a:lnTo>
                    <a:lnTo>
                      <a:pt x="1213" y="1500"/>
                    </a:lnTo>
                    <a:close/>
                    <a:moveTo>
                      <a:pt x="1310" y="1641"/>
                    </a:moveTo>
                    <a:lnTo>
                      <a:pt x="1310" y="1643"/>
                    </a:lnTo>
                    <a:lnTo>
                      <a:pt x="1310" y="1641"/>
                    </a:lnTo>
                    <a:close/>
                    <a:moveTo>
                      <a:pt x="1171" y="1432"/>
                    </a:moveTo>
                    <a:lnTo>
                      <a:pt x="1173" y="1432"/>
                    </a:lnTo>
                    <a:lnTo>
                      <a:pt x="1171" y="1432"/>
                    </a:lnTo>
                    <a:close/>
                    <a:moveTo>
                      <a:pt x="1208" y="1461"/>
                    </a:moveTo>
                    <a:lnTo>
                      <a:pt x="1208" y="1463"/>
                    </a:lnTo>
                    <a:lnTo>
                      <a:pt x="1208" y="1461"/>
                    </a:lnTo>
                    <a:close/>
                    <a:moveTo>
                      <a:pt x="1232" y="1475"/>
                    </a:moveTo>
                    <a:lnTo>
                      <a:pt x="1232" y="1476"/>
                    </a:lnTo>
                    <a:lnTo>
                      <a:pt x="1232" y="1475"/>
                    </a:lnTo>
                    <a:close/>
                    <a:moveTo>
                      <a:pt x="1229" y="1575"/>
                    </a:moveTo>
                    <a:lnTo>
                      <a:pt x="1229" y="1577"/>
                    </a:lnTo>
                    <a:lnTo>
                      <a:pt x="1229" y="1575"/>
                    </a:lnTo>
                    <a:close/>
                    <a:moveTo>
                      <a:pt x="1183" y="1422"/>
                    </a:moveTo>
                    <a:lnTo>
                      <a:pt x="1185" y="1422"/>
                    </a:lnTo>
                    <a:lnTo>
                      <a:pt x="1185" y="1424"/>
                    </a:lnTo>
                    <a:lnTo>
                      <a:pt x="1183" y="1424"/>
                    </a:lnTo>
                    <a:lnTo>
                      <a:pt x="1183" y="1422"/>
                    </a:lnTo>
                    <a:close/>
                    <a:moveTo>
                      <a:pt x="1169" y="1242"/>
                    </a:moveTo>
                    <a:lnTo>
                      <a:pt x="1171" y="1242"/>
                    </a:lnTo>
                    <a:lnTo>
                      <a:pt x="1169" y="1242"/>
                    </a:lnTo>
                    <a:close/>
                    <a:moveTo>
                      <a:pt x="1162" y="1459"/>
                    </a:moveTo>
                    <a:lnTo>
                      <a:pt x="1162" y="1461"/>
                    </a:lnTo>
                    <a:lnTo>
                      <a:pt x="1162" y="1459"/>
                    </a:lnTo>
                    <a:close/>
                    <a:moveTo>
                      <a:pt x="1329" y="1645"/>
                    </a:moveTo>
                    <a:lnTo>
                      <a:pt x="1331" y="1645"/>
                    </a:lnTo>
                    <a:lnTo>
                      <a:pt x="1329" y="1645"/>
                    </a:lnTo>
                    <a:close/>
                    <a:moveTo>
                      <a:pt x="1178" y="1384"/>
                    </a:moveTo>
                    <a:lnTo>
                      <a:pt x="1178" y="1386"/>
                    </a:lnTo>
                    <a:lnTo>
                      <a:pt x="1178" y="1384"/>
                    </a:lnTo>
                    <a:close/>
                    <a:moveTo>
                      <a:pt x="1298" y="1621"/>
                    </a:moveTo>
                    <a:lnTo>
                      <a:pt x="1300" y="1621"/>
                    </a:lnTo>
                    <a:lnTo>
                      <a:pt x="1298" y="1621"/>
                    </a:lnTo>
                    <a:close/>
                    <a:moveTo>
                      <a:pt x="1188" y="1492"/>
                    </a:moveTo>
                    <a:lnTo>
                      <a:pt x="1190" y="1492"/>
                    </a:lnTo>
                    <a:lnTo>
                      <a:pt x="1188" y="1492"/>
                    </a:lnTo>
                    <a:close/>
                    <a:moveTo>
                      <a:pt x="1140" y="1298"/>
                    </a:moveTo>
                    <a:lnTo>
                      <a:pt x="1140" y="1299"/>
                    </a:lnTo>
                    <a:lnTo>
                      <a:pt x="1140" y="1298"/>
                    </a:lnTo>
                    <a:close/>
                    <a:moveTo>
                      <a:pt x="1208" y="1534"/>
                    </a:moveTo>
                    <a:lnTo>
                      <a:pt x="1210" y="1534"/>
                    </a:lnTo>
                    <a:lnTo>
                      <a:pt x="1210" y="1536"/>
                    </a:lnTo>
                    <a:lnTo>
                      <a:pt x="1208" y="1536"/>
                    </a:lnTo>
                    <a:lnTo>
                      <a:pt x="1208" y="1534"/>
                    </a:lnTo>
                    <a:close/>
                    <a:moveTo>
                      <a:pt x="1196" y="1454"/>
                    </a:moveTo>
                    <a:lnTo>
                      <a:pt x="1198" y="1454"/>
                    </a:lnTo>
                    <a:lnTo>
                      <a:pt x="1196" y="1454"/>
                    </a:lnTo>
                    <a:close/>
                    <a:moveTo>
                      <a:pt x="1154" y="1250"/>
                    </a:moveTo>
                    <a:lnTo>
                      <a:pt x="1154" y="1252"/>
                    </a:lnTo>
                    <a:lnTo>
                      <a:pt x="1154" y="1250"/>
                    </a:lnTo>
                    <a:close/>
                    <a:moveTo>
                      <a:pt x="1193" y="1054"/>
                    </a:moveTo>
                    <a:lnTo>
                      <a:pt x="1195" y="1054"/>
                    </a:lnTo>
                    <a:lnTo>
                      <a:pt x="1193" y="1054"/>
                    </a:lnTo>
                    <a:close/>
                    <a:moveTo>
                      <a:pt x="1414" y="1669"/>
                    </a:moveTo>
                    <a:lnTo>
                      <a:pt x="1416" y="1669"/>
                    </a:lnTo>
                    <a:lnTo>
                      <a:pt x="1414" y="1669"/>
                    </a:lnTo>
                    <a:close/>
                    <a:moveTo>
                      <a:pt x="1287" y="1626"/>
                    </a:moveTo>
                    <a:lnTo>
                      <a:pt x="1287" y="1628"/>
                    </a:lnTo>
                    <a:lnTo>
                      <a:pt x="1287" y="1626"/>
                    </a:lnTo>
                    <a:close/>
                    <a:moveTo>
                      <a:pt x="1196" y="1417"/>
                    </a:moveTo>
                    <a:lnTo>
                      <a:pt x="1198" y="1417"/>
                    </a:lnTo>
                    <a:lnTo>
                      <a:pt x="1198" y="1418"/>
                    </a:lnTo>
                    <a:lnTo>
                      <a:pt x="1196" y="1418"/>
                    </a:lnTo>
                    <a:lnTo>
                      <a:pt x="1196" y="1417"/>
                    </a:lnTo>
                    <a:close/>
                    <a:moveTo>
                      <a:pt x="1191" y="1141"/>
                    </a:moveTo>
                    <a:lnTo>
                      <a:pt x="1193" y="1141"/>
                    </a:lnTo>
                    <a:lnTo>
                      <a:pt x="1191" y="1141"/>
                    </a:lnTo>
                    <a:close/>
                    <a:moveTo>
                      <a:pt x="1207" y="1051"/>
                    </a:moveTo>
                    <a:lnTo>
                      <a:pt x="1208" y="1051"/>
                    </a:lnTo>
                    <a:lnTo>
                      <a:pt x="1207" y="1051"/>
                    </a:lnTo>
                    <a:close/>
                    <a:moveTo>
                      <a:pt x="1202" y="952"/>
                    </a:moveTo>
                    <a:lnTo>
                      <a:pt x="1203" y="952"/>
                    </a:lnTo>
                    <a:lnTo>
                      <a:pt x="1202" y="952"/>
                    </a:lnTo>
                    <a:close/>
                    <a:moveTo>
                      <a:pt x="1212" y="1560"/>
                    </a:moveTo>
                    <a:lnTo>
                      <a:pt x="1213" y="1560"/>
                    </a:lnTo>
                    <a:lnTo>
                      <a:pt x="1212" y="1560"/>
                    </a:lnTo>
                    <a:close/>
                    <a:moveTo>
                      <a:pt x="1168" y="1390"/>
                    </a:moveTo>
                    <a:lnTo>
                      <a:pt x="1168" y="1391"/>
                    </a:lnTo>
                    <a:lnTo>
                      <a:pt x="1168" y="1390"/>
                    </a:lnTo>
                    <a:close/>
                    <a:moveTo>
                      <a:pt x="1186" y="1060"/>
                    </a:moveTo>
                    <a:lnTo>
                      <a:pt x="1188" y="1060"/>
                    </a:lnTo>
                    <a:lnTo>
                      <a:pt x="1186" y="1060"/>
                    </a:lnTo>
                    <a:close/>
                    <a:moveTo>
                      <a:pt x="1169" y="1478"/>
                    </a:moveTo>
                    <a:lnTo>
                      <a:pt x="1169" y="1480"/>
                    </a:lnTo>
                    <a:lnTo>
                      <a:pt x="1169" y="1478"/>
                    </a:lnTo>
                    <a:close/>
                    <a:moveTo>
                      <a:pt x="1297" y="1592"/>
                    </a:moveTo>
                    <a:lnTo>
                      <a:pt x="1298" y="1592"/>
                    </a:lnTo>
                    <a:lnTo>
                      <a:pt x="1297" y="1592"/>
                    </a:lnTo>
                    <a:close/>
                    <a:moveTo>
                      <a:pt x="1324" y="1635"/>
                    </a:moveTo>
                    <a:lnTo>
                      <a:pt x="1326" y="1635"/>
                    </a:lnTo>
                    <a:lnTo>
                      <a:pt x="1324" y="1635"/>
                    </a:lnTo>
                    <a:close/>
                    <a:moveTo>
                      <a:pt x="1176" y="1449"/>
                    </a:moveTo>
                    <a:lnTo>
                      <a:pt x="1176" y="1451"/>
                    </a:lnTo>
                    <a:lnTo>
                      <a:pt x="1176" y="1449"/>
                    </a:lnTo>
                    <a:close/>
                    <a:moveTo>
                      <a:pt x="1181" y="1420"/>
                    </a:moveTo>
                    <a:lnTo>
                      <a:pt x="1181" y="1422"/>
                    </a:lnTo>
                    <a:lnTo>
                      <a:pt x="1181" y="1420"/>
                    </a:lnTo>
                    <a:close/>
                    <a:moveTo>
                      <a:pt x="1176" y="1459"/>
                    </a:moveTo>
                    <a:lnTo>
                      <a:pt x="1176" y="1461"/>
                    </a:lnTo>
                    <a:lnTo>
                      <a:pt x="1176" y="1459"/>
                    </a:lnTo>
                    <a:close/>
                    <a:moveTo>
                      <a:pt x="1225" y="1556"/>
                    </a:moveTo>
                    <a:lnTo>
                      <a:pt x="1225" y="1558"/>
                    </a:lnTo>
                    <a:lnTo>
                      <a:pt x="1225" y="1556"/>
                    </a:lnTo>
                    <a:close/>
                    <a:moveTo>
                      <a:pt x="1281" y="1614"/>
                    </a:moveTo>
                    <a:lnTo>
                      <a:pt x="1281" y="1616"/>
                    </a:lnTo>
                    <a:lnTo>
                      <a:pt x="1281" y="1614"/>
                    </a:lnTo>
                    <a:close/>
                    <a:moveTo>
                      <a:pt x="1370" y="1646"/>
                    </a:moveTo>
                    <a:lnTo>
                      <a:pt x="1372" y="1646"/>
                    </a:lnTo>
                    <a:lnTo>
                      <a:pt x="1372" y="1648"/>
                    </a:lnTo>
                    <a:lnTo>
                      <a:pt x="1370" y="1648"/>
                    </a:lnTo>
                    <a:lnTo>
                      <a:pt x="1370" y="1646"/>
                    </a:lnTo>
                    <a:close/>
                    <a:moveTo>
                      <a:pt x="1416" y="1679"/>
                    </a:moveTo>
                    <a:lnTo>
                      <a:pt x="1416" y="1680"/>
                    </a:lnTo>
                    <a:lnTo>
                      <a:pt x="1416" y="1679"/>
                    </a:lnTo>
                    <a:close/>
                    <a:moveTo>
                      <a:pt x="1169" y="1444"/>
                    </a:moveTo>
                    <a:lnTo>
                      <a:pt x="1171" y="1444"/>
                    </a:lnTo>
                    <a:lnTo>
                      <a:pt x="1169" y="1444"/>
                    </a:lnTo>
                    <a:close/>
                    <a:moveTo>
                      <a:pt x="1370" y="1640"/>
                    </a:moveTo>
                    <a:lnTo>
                      <a:pt x="1372" y="1640"/>
                    </a:lnTo>
                    <a:lnTo>
                      <a:pt x="1372" y="1641"/>
                    </a:lnTo>
                    <a:lnTo>
                      <a:pt x="1370" y="1641"/>
                    </a:lnTo>
                    <a:lnTo>
                      <a:pt x="1370" y="1640"/>
                    </a:lnTo>
                    <a:close/>
                    <a:moveTo>
                      <a:pt x="1181" y="1432"/>
                    </a:moveTo>
                    <a:lnTo>
                      <a:pt x="1183" y="1432"/>
                    </a:lnTo>
                    <a:lnTo>
                      <a:pt x="1181" y="1432"/>
                    </a:lnTo>
                    <a:close/>
                    <a:moveTo>
                      <a:pt x="1222" y="1566"/>
                    </a:moveTo>
                    <a:lnTo>
                      <a:pt x="1222" y="1568"/>
                    </a:lnTo>
                    <a:lnTo>
                      <a:pt x="1222" y="1566"/>
                    </a:lnTo>
                    <a:close/>
                    <a:moveTo>
                      <a:pt x="1154" y="1379"/>
                    </a:moveTo>
                    <a:lnTo>
                      <a:pt x="1156" y="1379"/>
                    </a:lnTo>
                    <a:lnTo>
                      <a:pt x="1154" y="1379"/>
                    </a:lnTo>
                    <a:close/>
                    <a:moveTo>
                      <a:pt x="1237" y="1544"/>
                    </a:moveTo>
                    <a:lnTo>
                      <a:pt x="1239" y="1544"/>
                    </a:lnTo>
                    <a:lnTo>
                      <a:pt x="1239" y="1546"/>
                    </a:lnTo>
                    <a:lnTo>
                      <a:pt x="1237" y="1546"/>
                    </a:lnTo>
                    <a:lnTo>
                      <a:pt x="1237" y="1544"/>
                    </a:lnTo>
                    <a:close/>
                    <a:moveTo>
                      <a:pt x="1321" y="1633"/>
                    </a:moveTo>
                    <a:lnTo>
                      <a:pt x="1322" y="1633"/>
                    </a:lnTo>
                    <a:lnTo>
                      <a:pt x="1322" y="1635"/>
                    </a:lnTo>
                    <a:lnTo>
                      <a:pt x="1321" y="1635"/>
                    </a:lnTo>
                    <a:lnTo>
                      <a:pt x="1321" y="1633"/>
                    </a:lnTo>
                    <a:close/>
                    <a:moveTo>
                      <a:pt x="1157" y="1233"/>
                    </a:moveTo>
                    <a:lnTo>
                      <a:pt x="1157" y="1235"/>
                    </a:lnTo>
                    <a:lnTo>
                      <a:pt x="1157" y="1233"/>
                    </a:lnTo>
                    <a:close/>
                    <a:moveTo>
                      <a:pt x="1193" y="1435"/>
                    </a:moveTo>
                    <a:lnTo>
                      <a:pt x="1195" y="1435"/>
                    </a:lnTo>
                    <a:lnTo>
                      <a:pt x="1193" y="1435"/>
                    </a:lnTo>
                    <a:close/>
                    <a:moveTo>
                      <a:pt x="1247" y="1505"/>
                    </a:moveTo>
                    <a:lnTo>
                      <a:pt x="1247" y="1507"/>
                    </a:lnTo>
                    <a:lnTo>
                      <a:pt x="1247" y="1505"/>
                    </a:lnTo>
                    <a:close/>
                    <a:moveTo>
                      <a:pt x="1210" y="1240"/>
                    </a:moveTo>
                    <a:lnTo>
                      <a:pt x="1212" y="1240"/>
                    </a:lnTo>
                    <a:lnTo>
                      <a:pt x="1212" y="1242"/>
                    </a:lnTo>
                    <a:lnTo>
                      <a:pt x="1210" y="1242"/>
                    </a:lnTo>
                    <a:lnTo>
                      <a:pt x="1210" y="1240"/>
                    </a:lnTo>
                    <a:close/>
                    <a:moveTo>
                      <a:pt x="1285" y="1619"/>
                    </a:moveTo>
                    <a:lnTo>
                      <a:pt x="1285" y="1621"/>
                    </a:lnTo>
                    <a:lnTo>
                      <a:pt x="1285" y="1619"/>
                    </a:lnTo>
                    <a:close/>
                    <a:moveTo>
                      <a:pt x="1207" y="1451"/>
                    </a:moveTo>
                    <a:lnTo>
                      <a:pt x="1207" y="1453"/>
                    </a:lnTo>
                    <a:lnTo>
                      <a:pt x="1207" y="1451"/>
                    </a:lnTo>
                    <a:close/>
                    <a:moveTo>
                      <a:pt x="1178" y="1481"/>
                    </a:moveTo>
                    <a:lnTo>
                      <a:pt x="1178" y="1483"/>
                    </a:lnTo>
                    <a:lnTo>
                      <a:pt x="1178" y="1481"/>
                    </a:lnTo>
                    <a:close/>
                    <a:moveTo>
                      <a:pt x="1213" y="1104"/>
                    </a:moveTo>
                    <a:lnTo>
                      <a:pt x="1213" y="1105"/>
                    </a:lnTo>
                    <a:lnTo>
                      <a:pt x="1213" y="1104"/>
                    </a:lnTo>
                    <a:close/>
                    <a:moveTo>
                      <a:pt x="1190" y="1420"/>
                    </a:moveTo>
                    <a:lnTo>
                      <a:pt x="1190" y="1422"/>
                    </a:lnTo>
                    <a:lnTo>
                      <a:pt x="1190" y="1420"/>
                    </a:lnTo>
                    <a:close/>
                    <a:moveTo>
                      <a:pt x="1195" y="1145"/>
                    </a:moveTo>
                    <a:lnTo>
                      <a:pt x="1195" y="1146"/>
                    </a:lnTo>
                    <a:lnTo>
                      <a:pt x="1195" y="1145"/>
                    </a:lnTo>
                    <a:close/>
                    <a:moveTo>
                      <a:pt x="1195" y="1077"/>
                    </a:moveTo>
                    <a:lnTo>
                      <a:pt x="1196" y="1077"/>
                    </a:lnTo>
                    <a:lnTo>
                      <a:pt x="1195" y="1077"/>
                    </a:lnTo>
                    <a:close/>
                    <a:moveTo>
                      <a:pt x="1200" y="1527"/>
                    </a:moveTo>
                    <a:lnTo>
                      <a:pt x="1200" y="1529"/>
                    </a:lnTo>
                    <a:lnTo>
                      <a:pt x="1200" y="1527"/>
                    </a:lnTo>
                    <a:close/>
                    <a:moveTo>
                      <a:pt x="1219" y="1100"/>
                    </a:moveTo>
                    <a:lnTo>
                      <a:pt x="1219" y="1102"/>
                    </a:lnTo>
                    <a:lnTo>
                      <a:pt x="1219" y="1100"/>
                    </a:lnTo>
                    <a:close/>
                    <a:moveTo>
                      <a:pt x="1198" y="1092"/>
                    </a:moveTo>
                    <a:lnTo>
                      <a:pt x="1198" y="1094"/>
                    </a:lnTo>
                    <a:lnTo>
                      <a:pt x="1198" y="1092"/>
                    </a:lnTo>
                    <a:close/>
                    <a:moveTo>
                      <a:pt x="1229" y="1570"/>
                    </a:moveTo>
                    <a:lnTo>
                      <a:pt x="1230" y="1570"/>
                    </a:lnTo>
                    <a:lnTo>
                      <a:pt x="1229" y="1570"/>
                    </a:lnTo>
                    <a:close/>
                    <a:moveTo>
                      <a:pt x="1229" y="1580"/>
                    </a:moveTo>
                    <a:lnTo>
                      <a:pt x="1230" y="1580"/>
                    </a:lnTo>
                    <a:lnTo>
                      <a:pt x="1230" y="1582"/>
                    </a:lnTo>
                    <a:lnTo>
                      <a:pt x="1229" y="1582"/>
                    </a:lnTo>
                    <a:lnTo>
                      <a:pt x="1229" y="1580"/>
                    </a:lnTo>
                    <a:close/>
                    <a:moveTo>
                      <a:pt x="1169" y="1413"/>
                    </a:moveTo>
                    <a:lnTo>
                      <a:pt x="1171" y="1413"/>
                    </a:lnTo>
                    <a:lnTo>
                      <a:pt x="1169" y="1413"/>
                    </a:lnTo>
                    <a:close/>
                    <a:moveTo>
                      <a:pt x="1178" y="1441"/>
                    </a:moveTo>
                    <a:lnTo>
                      <a:pt x="1179" y="1441"/>
                    </a:lnTo>
                    <a:lnTo>
                      <a:pt x="1178" y="1441"/>
                    </a:lnTo>
                    <a:close/>
                    <a:moveTo>
                      <a:pt x="1161" y="1398"/>
                    </a:moveTo>
                    <a:lnTo>
                      <a:pt x="1162" y="1398"/>
                    </a:lnTo>
                    <a:lnTo>
                      <a:pt x="1161" y="1398"/>
                    </a:lnTo>
                    <a:close/>
                    <a:moveTo>
                      <a:pt x="1217" y="1504"/>
                    </a:moveTo>
                    <a:lnTo>
                      <a:pt x="1219" y="1504"/>
                    </a:lnTo>
                    <a:lnTo>
                      <a:pt x="1219" y="1505"/>
                    </a:lnTo>
                    <a:lnTo>
                      <a:pt x="1217" y="1505"/>
                    </a:lnTo>
                    <a:lnTo>
                      <a:pt x="1217" y="1504"/>
                    </a:lnTo>
                    <a:close/>
                    <a:moveTo>
                      <a:pt x="1183" y="1308"/>
                    </a:moveTo>
                    <a:lnTo>
                      <a:pt x="1183" y="1310"/>
                    </a:lnTo>
                    <a:lnTo>
                      <a:pt x="1183" y="1308"/>
                    </a:lnTo>
                    <a:close/>
                    <a:moveTo>
                      <a:pt x="1161" y="1357"/>
                    </a:moveTo>
                    <a:lnTo>
                      <a:pt x="1162" y="1357"/>
                    </a:lnTo>
                    <a:lnTo>
                      <a:pt x="1161" y="1357"/>
                    </a:lnTo>
                    <a:close/>
                    <a:moveTo>
                      <a:pt x="1176" y="1367"/>
                    </a:moveTo>
                    <a:lnTo>
                      <a:pt x="1178" y="1367"/>
                    </a:lnTo>
                    <a:lnTo>
                      <a:pt x="1176" y="1367"/>
                    </a:lnTo>
                    <a:close/>
                    <a:moveTo>
                      <a:pt x="1305" y="1623"/>
                    </a:moveTo>
                    <a:lnTo>
                      <a:pt x="1307" y="1623"/>
                    </a:lnTo>
                    <a:lnTo>
                      <a:pt x="1307" y="1624"/>
                    </a:lnTo>
                    <a:lnTo>
                      <a:pt x="1305" y="1624"/>
                    </a:lnTo>
                    <a:lnTo>
                      <a:pt x="1305" y="1623"/>
                    </a:lnTo>
                    <a:close/>
                    <a:moveTo>
                      <a:pt x="1149" y="1333"/>
                    </a:moveTo>
                    <a:lnTo>
                      <a:pt x="1151" y="1333"/>
                    </a:lnTo>
                    <a:lnTo>
                      <a:pt x="1149" y="1333"/>
                    </a:lnTo>
                    <a:close/>
                    <a:moveTo>
                      <a:pt x="1213" y="1102"/>
                    </a:moveTo>
                    <a:lnTo>
                      <a:pt x="1213" y="1104"/>
                    </a:lnTo>
                    <a:lnTo>
                      <a:pt x="1213" y="1102"/>
                    </a:lnTo>
                    <a:close/>
                    <a:moveTo>
                      <a:pt x="1154" y="1248"/>
                    </a:moveTo>
                    <a:lnTo>
                      <a:pt x="1156" y="1248"/>
                    </a:lnTo>
                    <a:lnTo>
                      <a:pt x="1154" y="1248"/>
                    </a:lnTo>
                    <a:close/>
                    <a:moveTo>
                      <a:pt x="1358" y="1652"/>
                    </a:moveTo>
                    <a:lnTo>
                      <a:pt x="1358" y="1653"/>
                    </a:lnTo>
                    <a:lnTo>
                      <a:pt x="1358" y="1652"/>
                    </a:lnTo>
                    <a:close/>
                    <a:moveTo>
                      <a:pt x="1259" y="1590"/>
                    </a:moveTo>
                    <a:lnTo>
                      <a:pt x="1259" y="1592"/>
                    </a:lnTo>
                    <a:lnTo>
                      <a:pt x="1259" y="1590"/>
                    </a:lnTo>
                    <a:close/>
                    <a:moveTo>
                      <a:pt x="1266" y="1599"/>
                    </a:moveTo>
                    <a:lnTo>
                      <a:pt x="1266" y="1600"/>
                    </a:lnTo>
                    <a:lnTo>
                      <a:pt x="1266" y="1599"/>
                    </a:lnTo>
                    <a:close/>
                    <a:moveTo>
                      <a:pt x="1188" y="1066"/>
                    </a:moveTo>
                    <a:lnTo>
                      <a:pt x="1188" y="1068"/>
                    </a:lnTo>
                    <a:lnTo>
                      <a:pt x="1188" y="1066"/>
                    </a:lnTo>
                    <a:close/>
                    <a:moveTo>
                      <a:pt x="1154" y="1272"/>
                    </a:moveTo>
                    <a:lnTo>
                      <a:pt x="1156" y="1272"/>
                    </a:lnTo>
                    <a:lnTo>
                      <a:pt x="1156" y="1274"/>
                    </a:lnTo>
                    <a:lnTo>
                      <a:pt x="1154" y="1274"/>
                    </a:lnTo>
                    <a:lnTo>
                      <a:pt x="1154" y="1272"/>
                    </a:lnTo>
                    <a:close/>
                    <a:moveTo>
                      <a:pt x="1309" y="1635"/>
                    </a:moveTo>
                    <a:lnTo>
                      <a:pt x="1310" y="1635"/>
                    </a:lnTo>
                    <a:lnTo>
                      <a:pt x="1309" y="1635"/>
                    </a:lnTo>
                    <a:close/>
                    <a:moveTo>
                      <a:pt x="1220" y="1077"/>
                    </a:moveTo>
                    <a:lnTo>
                      <a:pt x="1222" y="1077"/>
                    </a:lnTo>
                    <a:lnTo>
                      <a:pt x="1220" y="1077"/>
                    </a:lnTo>
                    <a:close/>
                    <a:moveTo>
                      <a:pt x="1205" y="1507"/>
                    </a:moveTo>
                    <a:lnTo>
                      <a:pt x="1207" y="1507"/>
                    </a:lnTo>
                    <a:lnTo>
                      <a:pt x="1205" y="1507"/>
                    </a:lnTo>
                    <a:close/>
                    <a:moveTo>
                      <a:pt x="1229" y="1558"/>
                    </a:moveTo>
                    <a:lnTo>
                      <a:pt x="1230" y="1558"/>
                    </a:lnTo>
                    <a:lnTo>
                      <a:pt x="1229" y="1558"/>
                    </a:lnTo>
                    <a:close/>
                    <a:moveTo>
                      <a:pt x="1198" y="1435"/>
                    </a:moveTo>
                    <a:lnTo>
                      <a:pt x="1198" y="1437"/>
                    </a:lnTo>
                    <a:lnTo>
                      <a:pt x="1198" y="1435"/>
                    </a:lnTo>
                    <a:close/>
                    <a:moveTo>
                      <a:pt x="1271" y="1595"/>
                    </a:moveTo>
                    <a:lnTo>
                      <a:pt x="1273" y="1595"/>
                    </a:lnTo>
                    <a:lnTo>
                      <a:pt x="1271" y="1595"/>
                    </a:lnTo>
                    <a:close/>
                    <a:moveTo>
                      <a:pt x="1186" y="1490"/>
                    </a:moveTo>
                    <a:lnTo>
                      <a:pt x="1188" y="1490"/>
                    </a:lnTo>
                    <a:lnTo>
                      <a:pt x="1186" y="1490"/>
                    </a:lnTo>
                    <a:close/>
                    <a:moveTo>
                      <a:pt x="1246" y="1507"/>
                    </a:moveTo>
                    <a:lnTo>
                      <a:pt x="1247" y="1507"/>
                    </a:lnTo>
                    <a:lnTo>
                      <a:pt x="1247" y="1509"/>
                    </a:lnTo>
                    <a:lnTo>
                      <a:pt x="1246" y="1509"/>
                    </a:lnTo>
                    <a:lnTo>
                      <a:pt x="1246" y="1507"/>
                    </a:lnTo>
                    <a:close/>
                    <a:moveTo>
                      <a:pt x="1368" y="1662"/>
                    </a:moveTo>
                    <a:lnTo>
                      <a:pt x="1370" y="1662"/>
                    </a:lnTo>
                    <a:lnTo>
                      <a:pt x="1368" y="1662"/>
                    </a:lnTo>
                    <a:close/>
                    <a:moveTo>
                      <a:pt x="1220" y="1544"/>
                    </a:moveTo>
                    <a:lnTo>
                      <a:pt x="1222" y="1544"/>
                    </a:lnTo>
                    <a:lnTo>
                      <a:pt x="1220" y="1544"/>
                    </a:lnTo>
                    <a:close/>
                    <a:moveTo>
                      <a:pt x="1162" y="1388"/>
                    </a:moveTo>
                    <a:lnTo>
                      <a:pt x="1164" y="1388"/>
                    </a:lnTo>
                    <a:lnTo>
                      <a:pt x="1162" y="1388"/>
                    </a:lnTo>
                    <a:close/>
                    <a:moveTo>
                      <a:pt x="1210" y="1242"/>
                    </a:moveTo>
                    <a:lnTo>
                      <a:pt x="1210" y="1243"/>
                    </a:lnTo>
                    <a:lnTo>
                      <a:pt x="1210" y="1242"/>
                    </a:lnTo>
                    <a:close/>
                    <a:moveTo>
                      <a:pt x="1196" y="1439"/>
                    </a:moveTo>
                    <a:lnTo>
                      <a:pt x="1198" y="1439"/>
                    </a:lnTo>
                    <a:lnTo>
                      <a:pt x="1198" y="1441"/>
                    </a:lnTo>
                    <a:lnTo>
                      <a:pt x="1196" y="1441"/>
                    </a:lnTo>
                    <a:lnTo>
                      <a:pt x="1196" y="1439"/>
                    </a:lnTo>
                    <a:close/>
                    <a:moveTo>
                      <a:pt x="1205" y="1481"/>
                    </a:moveTo>
                    <a:lnTo>
                      <a:pt x="1207" y="1481"/>
                    </a:lnTo>
                    <a:lnTo>
                      <a:pt x="1205" y="1481"/>
                    </a:lnTo>
                    <a:close/>
                    <a:moveTo>
                      <a:pt x="1190" y="1112"/>
                    </a:moveTo>
                    <a:lnTo>
                      <a:pt x="1191" y="1112"/>
                    </a:lnTo>
                    <a:lnTo>
                      <a:pt x="1191" y="1114"/>
                    </a:lnTo>
                    <a:lnTo>
                      <a:pt x="1190" y="1114"/>
                    </a:lnTo>
                    <a:lnTo>
                      <a:pt x="1190" y="1112"/>
                    </a:lnTo>
                    <a:close/>
                    <a:moveTo>
                      <a:pt x="1210" y="1481"/>
                    </a:moveTo>
                    <a:lnTo>
                      <a:pt x="1210" y="1483"/>
                    </a:lnTo>
                    <a:lnTo>
                      <a:pt x="1210" y="1481"/>
                    </a:lnTo>
                    <a:close/>
                    <a:moveTo>
                      <a:pt x="1312" y="1512"/>
                    </a:moveTo>
                    <a:lnTo>
                      <a:pt x="1312" y="1514"/>
                    </a:lnTo>
                    <a:lnTo>
                      <a:pt x="1312" y="1512"/>
                    </a:lnTo>
                    <a:close/>
                    <a:moveTo>
                      <a:pt x="1380" y="1662"/>
                    </a:moveTo>
                    <a:lnTo>
                      <a:pt x="1382" y="1662"/>
                    </a:lnTo>
                    <a:lnTo>
                      <a:pt x="1380" y="1662"/>
                    </a:lnTo>
                    <a:close/>
                    <a:moveTo>
                      <a:pt x="1210" y="1493"/>
                    </a:moveTo>
                    <a:lnTo>
                      <a:pt x="1212" y="1493"/>
                    </a:lnTo>
                    <a:lnTo>
                      <a:pt x="1210" y="1493"/>
                    </a:lnTo>
                    <a:close/>
                    <a:moveTo>
                      <a:pt x="1207" y="1099"/>
                    </a:moveTo>
                    <a:lnTo>
                      <a:pt x="1207" y="1100"/>
                    </a:lnTo>
                    <a:lnTo>
                      <a:pt x="1207" y="1099"/>
                    </a:lnTo>
                    <a:close/>
                    <a:moveTo>
                      <a:pt x="1154" y="1250"/>
                    </a:moveTo>
                    <a:lnTo>
                      <a:pt x="1156" y="1250"/>
                    </a:lnTo>
                    <a:lnTo>
                      <a:pt x="1154" y="1250"/>
                    </a:lnTo>
                    <a:close/>
                    <a:moveTo>
                      <a:pt x="1219" y="1549"/>
                    </a:moveTo>
                    <a:lnTo>
                      <a:pt x="1220" y="1549"/>
                    </a:lnTo>
                    <a:lnTo>
                      <a:pt x="1220" y="1551"/>
                    </a:lnTo>
                    <a:lnTo>
                      <a:pt x="1219" y="1551"/>
                    </a:lnTo>
                    <a:lnTo>
                      <a:pt x="1219" y="1549"/>
                    </a:lnTo>
                    <a:close/>
                    <a:moveTo>
                      <a:pt x="1210" y="1085"/>
                    </a:moveTo>
                    <a:lnTo>
                      <a:pt x="1210" y="1087"/>
                    </a:lnTo>
                    <a:lnTo>
                      <a:pt x="1210" y="1085"/>
                    </a:lnTo>
                    <a:close/>
                    <a:moveTo>
                      <a:pt x="1159" y="1347"/>
                    </a:moveTo>
                    <a:lnTo>
                      <a:pt x="1159" y="1349"/>
                    </a:lnTo>
                    <a:lnTo>
                      <a:pt x="1159" y="1347"/>
                    </a:lnTo>
                    <a:close/>
                    <a:moveTo>
                      <a:pt x="1219" y="1555"/>
                    </a:moveTo>
                    <a:lnTo>
                      <a:pt x="1220" y="1555"/>
                    </a:lnTo>
                    <a:lnTo>
                      <a:pt x="1219" y="1555"/>
                    </a:lnTo>
                    <a:close/>
                    <a:moveTo>
                      <a:pt x="1230" y="1570"/>
                    </a:moveTo>
                    <a:lnTo>
                      <a:pt x="1232" y="1570"/>
                    </a:lnTo>
                    <a:lnTo>
                      <a:pt x="1230" y="1570"/>
                    </a:lnTo>
                    <a:close/>
                    <a:moveTo>
                      <a:pt x="1144" y="1299"/>
                    </a:moveTo>
                    <a:lnTo>
                      <a:pt x="1144" y="1301"/>
                    </a:lnTo>
                    <a:lnTo>
                      <a:pt x="1144" y="1299"/>
                    </a:lnTo>
                    <a:close/>
                    <a:moveTo>
                      <a:pt x="1394" y="1635"/>
                    </a:moveTo>
                    <a:lnTo>
                      <a:pt x="1394" y="1636"/>
                    </a:lnTo>
                    <a:lnTo>
                      <a:pt x="1394" y="1635"/>
                    </a:lnTo>
                    <a:close/>
                    <a:moveTo>
                      <a:pt x="1236" y="1582"/>
                    </a:moveTo>
                    <a:lnTo>
                      <a:pt x="1236" y="1583"/>
                    </a:lnTo>
                    <a:lnTo>
                      <a:pt x="1236" y="1582"/>
                    </a:lnTo>
                    <a:close/>
                    <a:moveTo>
                      <a:pt x="1207" y="1514"/>
                    </a:moveTo>
                    <a:lnTo>
                      <a:pt x="1208" y="1514"/>
                    </a:lnTo>
                    <a:lnTo>
                      <a:pt x="1207" y="1514"/>
                    </a:lnTo>
                    <a:close/>
                    <a:moveTo>
                      <a:pt x="1220" y="1117"/>
                    </a:moveTo>
                    <a:lnTo>
                      <a:pt x="1222" y="1117"/>
                    </a:lnTo>
                    <a:lnTo>
                      <a:pt x="1220" y="1117"/>
                    </a:lnTo>
                    <a:close/>
                    <a:moveTo>
                      <a:pt x="1229" y="1039"/>
                    </a:moveTo>
                    <a:lnTo>
                      <a:pt x="1230" y="1039"/>
                    </a:lnTo>
                    <a:lnTo>
                      <a:pt x="1230" y="1041"/>
                    </a:lnTo>
                    <a:lnTo>
                      <a:pt x="1229" y="1041"/>
                    </a:lnTo>
                    <a:lnTo>
                      <a:pt x="1229" y="1039"/>
                    </a:lnTo>
                    <a:close/>
                    <a:moveTo>
                      <a:pt x="1178" y="1488"/>
                    </a:moveTo>
                    <a:lnTo>
                      <a:pt x="1179" y="1488"/>
                    </a:lnTo>
                    <a:lnTo>
                      <a:pt x="1179" y="1490"/>
                    </a:lnTo>
                    <a:lnTo>
                      <a:pt x="1178" y="1490"/>
                    </a:lnTo>
                    <a:lnTo>
                      <a:pt x="1178" y="1488"/>
                    </a:lnTo>
                    <a:close/>
                    <a:moveTo>
                      <a:pt x="1173" y="1435"/>
                    </a:moveTo>
                    <a:lnTo>
                      <a:pt x="1174" y="1435"/>
                    </a:lnTo>
                    <a:lnTo>
                      <a:pt x="1174" y="1437"/>
                    </a:lnTo>
                    <a:lnTo>
                      <a:pt x="1173" y="1437"/>
                    </a:lnTo>
                    <a:lnTo>
                      <a:pt x="1173" y="1435"/>
                    </a:lnTo>
                    <a:close/>
                    <a:moveTo>
                      <a:pt x="1202" y="1063"/>
                    </a:moveTo>
                    <a:lnTo>
                      <a:pt x="1203" y="1063"/>
                    </a:lnTo>
                    <a:lnTo>
                      <a:pt x="1202" y="1063"/>
                    </a:lnTo>
                    <a:close/>
                    <a:moveTo>
                      <a:pt x="1154" y="1250"/>
                    </a:moveTo>
                    <a:lnTo>
                      <a:pt x="1154" y="1252"/>
                    </a:lnTo>
                    <a:lnTo>
                      <a:pt x="1154" y="1250"/>
                    </a:lnTo>
                    <a:close/>
                    <a:moveTo>
                      <a:pt x="1178" y="1432"/>
                    </a:moveTo>
                    <a:lnTo>
                      <a:pt x="1179" y="1432"/>
                    </a:lnTo>
                    <a:lnTo>
                      <a:pt x="1178" y="1432"/>
                    </a:lnTo>
                    <a:close/>
                    <a:moveTo>
                      <a:pt x="1188" y="1480"/>
                    </a:moveTo>
                    <a:lnTo>
                      <a:pt x="1190" y="1480"/>
                    </a:lnTo>
                    <a:lnTo>
                      <a:pt x="1188" y="1480"/>
                    </a:lnTo>
                    <a:close/>
                    <a:moveTo>
                      <a:pt x="1360" y="1629"/>
                    </a:moveTo>
                    <a:lnTo>
                      <a:pt x="1361" y="1629"/>
                    </a:lnTo>
                    <a:lnTo>
                      <a:pt x="1361" y="1631"/>
                    </a:lnTo>
                    <a:lnTo>
                      <a:pt x="1360" y="1631"/>
                    </a:lnTo>
                    <a:lnTo>
                      <a:pt x="1360" y="1629"/>
                    </a:lnTo>
                    <a:close/>
                    <a:moveTo>
                      <a:pt x="1181" y="1117"/>
                    </a:moveTo>
                    <a:lnTo>
                      <a:pt x="1183" y="1117"/>
                    </a:lnTo>
                    <a:lnTo>
                      <a:pt x="1181" y="1117"/>
                    </a:lnTo>
                    <a:close/>
                    <a:moveTo>
                      <a:pt x="1346" y="1657"/>
                    </a:moveTo>
                    <a:lnTo>
                      <a:pt x="1348" y="1657"/>
                    </a:lnTo>
                    <a:lnTo>
                      <a:pt x="1348" y="1658"/>
                    </a:lnTo>
                    <a:lnTo>
                      <a:pt x="1346" y="1658"/>
                    </a:lnTo>
                    <a:lnTo>
                      <a:pt x="1346" y="1657"/>
                    </a:lnTo>
                    <a:close/>
                    <a:moveTo>
                      <a:pt x="1145" y="1332"/>
                    </a:moveTo>
                    <a:lnTo>
                      <a:pt x="1147" y="1332"/>
                    </a:lnTo>
                    <a:lnTo>
                      <a:pt x="1147" y="1333"/>
                    </a:lnTo>
                    <a:lnTo>
                      <a:pt x="1145" y="1333"/>
                    </a:lnTo>
                    <a:lnTo>
                      <a:pt x="1145" y="1332"/>
                    </a:lnTo>
                    <a:close/>
                    <a:moveTo>
                      <a:pt x="1215" y="1504"/>
                    </a:moveTo>
                    <a:lnTo>
                      <a:pt x="1217" y="1504"/>
                    </a:lnTo>
                    <a:lnTo>
                      <a:pt x="1215" y="1504"/>
                    </a:lnTo>
                    <a:close/>
                    <a:moveTo>
                      <a:pt x="1149" y="1253"/>
                    </a:moveTo>
                    <a:lnTo>
                      <a:pt x="1151" y="1253"/>
                    </a:lnTo>
                    <a:lnTo>
                      <a:pt x="1149" y="1253"/>
                    </a:lnTo>
                    <a:close/>
                    <a:moveTo>
                      <a:pt x="1329" y="1643"/>
                    </a:moveTo>
                    <a:lnTo>
                      <a:pt x="1331" y="1643"/>
                    </a:lnTo>
                    <a:lnTo>
                      <a:pt x="1329" y="1643"/>
                    </a:lnTo>
                    <a:close/>
                    <a:moveTo>
                      <a:pt x="1193" y="1453"/>
                    </a:moveTo>
                    <a:lnTo>
                      <a:pt x="1193" y="1454"/>
                    </a:lnTo>
                    <a:lnTo>
                      <a:pt x="1193" y="1453"/>
                    </a:lnTo>
                    <a:close/>
                    <a:moveTo>
                      <a:pt x="1203" y="1063"/>
                    </a:moveTo>
                    <a:lnTo>
                      <a:pt x="1203" y="1065"/>
                    </a:lnTo>
                    <a:lnTo>
                      <a:pt x="1203" y="1063"/>
                    </a:lnTo>
                    <a:close/>
                    <a:moveTo>
                      <a:pt x="1310" y="212"/>
                    </a:moveTo>
                    <a:lnTo>
                      <a:pt x="1310" y="214"/>
                    </a:lnTo>
                    <a:lnTo>
                      <a:pt x="1310" y="212"/>
                    </a:lnTo>
                    <a:close/>
                    <a:moveTo>
                      <a:pt x="1361" y="1667"/>
                    </a:moveTo>
                    <a:lnTo>
                      <a:pt x="1363" y="1667"/>
                    </a:lnTo>
                    <a:lnTo>
                      <a:pt x="1361" y="1667"/>
                    </a:lnTo>
                    <a:close/>
                    <a:moveTo>
                      <a:pt x="1166" y="1405"/>
                    </a:moveTo>
                    <a:lnTo>
                      <a:pt x="1168" y="1405"/>
                    </a:lnTo>
                    <a:lnTo>
                      <a:pt x="1168" y="1407"/>
                    </a:lnTo>
                    <a:lnTo>
                      <a:pt x="1166" y="1407"/>
                    </a:lnTo>
                    <a:lnTo>
                      <a:pt x="1166" y="1405"/>
                    </a:lnTo>
                    <a:close/>
                    <a:moveTo>
                      <a:pt x="1215" y="1555"/>
                    </a:moveTo>
                    <a:lnTo>
                      <a:pt x="1217" y="1555"/>
                    </a:lnTo>
                    <a:lnTo>
                      <a:pt x="1215" y="1555"/>
                    </a:lnTo>
                    <a:close/>
                    <a:moveTo>
                      <a:pt x="1191" y="1437"/>
                    </a:moveTo>
                    <a:lnTo>
                      <a:pt x="1193" y="1437"/>
                    </a:lnTo>
                    <a:lnTo>
                      <a:pt x="1191" y="1437"/>
                    </a:lnTo>
                    <a:close/>
                    <a:moveTo>
                      <a:pt x="1251" y="1522"/>
                    </a:moveTo>
                    <a:lnTo>
                      <a:pt x="1253" y="1522"/>
                    </a:lnTo>
                    <a:lnTo>
                      <a:pt x="1251" y="1522"/>
                    </a:lnTo>
                    <a:close/>
                    <a:moveTo>
                      <a:pt x="1207" y="1498"/>
                    </a:moveTo>
                    <a:lnTo>
                      <a:pt x="1208" y="1498"/>
                    </a:lnTo>
                    <a:lnTo>
                      <a:pt x="1208" y="1500"/>
                    </a:lnTo>
                    <a:lnTo>
                      <a:pt x="1207" y="1500"/>
                    </a:lnTo>
                    <a:lnTo>
                      <a:pt x="1207" y="1498"/>
                    </a:lnTo>
                    <a:close/>
                    <a:moveTo>
                      <a:pt x="1186" y="1439"/>
                    </a:moveTo>
                    <a:lnTo>
                      <a:pt x="1186" y="1441"/>
                    </a:lnTo>
                    <a:lnTo>
                      <a:pt x="1186" y="1439"/>
                    </a:lnTo>
                    <a:close/>
                    <a:moveTo>
                      <a:pt x="1176" y="1116"/>
                    </a:moveTo>
                    <a:lnTo>
                      <a:pt x="1178" y="1116"/>
                    </a:lnTo>
                    <a:lnTo>
                      <a:pt x="1176" y="1116"/>
                    </a:lnTo>
                    <a:close/>
                    <a:moveTo>
                      <a:pt x="1188" y="1209"/>
                    </a:moveTo>
                    <a:lnTo>
                      <a:pt x="1190" y="1209"/>
                    </a:lnTo>
                    <a:lnTo>
                      <a:pt x="1188" y="1209"/>
                    </a:lnTo>
                    <a:close/>
                    <a:moveTo>
                      <a:pt x="1159" y="1347"/>
                    </a:moveTo>
                    <a:lnTo>
                      <a:pt x="1161" y="1347"/>
                    </a:lnTo>
                    <a:lnTo>
                      <a:pt x="1159" y="1347"/>
                    </a:lnTo>
                    <a:close/>
                    <a:moveTo>
                      <a:pt x="1215" y="1105"/>
                    </a:moveTo>
                    <a:lnTo>
                      <a:pt x="1215" y="1107"/>
                    </a:lnTo>
                    <a:lnTo>
                      <a:pt x="1215" y="1105"/>
                    </a:lnTo>
                    <a:close/>
                    <a:moveTo>
                      <a:pt x="1162" y="1347"/>
                    </a:moveTo>
                    <a:lnTo>
                      <a:pt x="1164" y="1347"/>
                    </a:lnTo>
                    <a:lnTo>
                      <a:pt x="1162" y="1347"/>
                    </a:lnTo>
                    <a:close/>
                    <a:moveTo>
                      <a:pt x="1210" y="1116"/>
                    </a:moveTo>
                    <a:lnTo>
                      <a:pt x="1212" y="1116"/>
                    </a:lnTo>
                    <a:lnTo>
                      <a:pt x="1210" y="1116"/>
                    </a:lnTo>
                    <a:close/>
                    <a:moveTo>
                      <a:pt x="1259" y="1493"/>
                    </a:moveTo>
                    <a:lnTo>
                      <a:pt x="1261" y="1493"/>
                    </a:lnTo>
                    <a:lnTo>
                      <a:pt x="1259" y="1493"/>
                    </a:lnTo>
                    <a:close/>
                    <a:moveTo>
                      <a:pt x="1207" y="1521"/>
                    </a:moveTo>
                    <a:lnTo>
                      <a:pt x="1208" y="1521"/>
                    </a:lnTo>
                    <a:lnTo>
                      <a:pt x="1208" y="1522"/>
                    </a:lnTo>
                    <a:lnTo>
                      <a:pt x="1207" y="1522"/>
                    </a:lnTo>
                    <a:lnTo>
                      <a:pt x="1207" y="1521"/>
                    </a:lnTo>
                    <a:close/>
                    <a:moveTo>
                      <a:pt x="1212" y="1070"/>
                    </a:moveTo>
                    <a:lnTo>
                      <a:pt x="1212" y="1071"/>
                    </a:lnTo>
                    <a:lnTo>
                      <a:pt x="1212" y="1070"/>
                    </a:lnTo>
                    <a:close/>
                    <a:moveTo>
                      <a:pt x="1190" y="1068"/>
                    </a:moveTo>
                    <a:lnTo>
                      <a:pt x="1191" y="1068"/>
                    </a:lnTo>
                    <a:lnTo>
                      <a:pt x="1190" y="1068"/>
                    </a:lnTo>
                    <a:close/>
                    <a:moveTo>
                      <a:pt x="1213" y="1555"/>
                    </a:moveTo>
                    <a:lnTo>
                      <a:pt x="1215" y="1555"/>
                    </a:lnTo>
                    <a:lnTo>
                      <a:pt x="1215" y="1556"/>
                    </a:lnTo>
                    <a:lnTo>
                      <a:pt x="1213" y="1556"/>
                    </a:lnTo>
                    <a:lnTo>
                      <a:pt x="1213" y="1555"/>
                    </a:lnTo>
                    <a:close/>
                    <a:moveTo>
                      <a:pt x="1212" y="1555"/>
                    </a:moveTo>
                    <a:lnTo>
                      <a:pt x="1213" y="1555"/>
                    </a:lnTo>
                    <a:lnTo>
                      <a:pt x="1212" y="1555"/>
                    </a:lnTo>
                    <a:close/>
                    <a:moveTo>
                      <a:pt x="1212" y="1500"/>
                    </a:moveTo>
                    <a:lnTo>
                      <a:pt x="1212" y="1502"/>
                    </a:lnTo>
                    <a:lnTo>
                      <a:pt x="1212" y="1500"/>
                    </a:lnTo>
                    <a:close/>
                    <a:moveTo>
                      <a:pt x="1156" y="1250"/>
                    </a:moveTo>
                    <a:lnTo>
                      <a:pt x="1156" y="1252"/>
                    </a:lnTo>
                    <a:lnTo>
                      <a:pt x="1156" y="1250"/>
                    </a:lnTo>
                    <a:close/>
                    <a:moveTo>
                      <a:pt x="1205" y="1073"/>
                    </a:moveTo>
                    <a:lnTo>
                      <a:pt x="1207" y="1073"/>
                    </a:lnTo>
                    <a:lnTo>
                      <a:pt x="1207" y="1075"/>
                    </a:lnTo>
                    <a:lnTo>
                      <a:pt x="1205" y="1075"/>
                    </a:lnTo>
                    <a:lnTo>
                      <a:pt x="1205" y="1073"/>
                    </a:lnTo>
                    <a:close/>
                    <a:moveTo>
                      <a:pt x="1208" y="1082"/>
                    </a:moveTo>
                    <a:lnTo>
                      <a:pt x="1210" y="1082"/>
                    </a:lnTo>
                    <a:lnTo>
                      <a:pt x="1208" y="1082"/>
                    </a:lnTo>
                    <a:close/>
                    <a:moveTo>
                      <a:pt x="1169" y="1434"/>
                    </a:moveTo>
                    <a:lnTo>
                      <a:pt x="1171" y="1434"/>
                    </a:lnTo>
                    <a:lnTo>
                      <a:pt x="1171" y="1435"/>
                    </a:lnTo>
                    <a:lnTo>
                      <a:pt x="1169" y="1435"/>
                    </a:lnTo>
                    <a:lnTo>
                      <a:pt x="1169" y="1434"/>
                    </a:lnTo>
                    <a:close/>
                    <a:moveTo>
                      <a:pt x="1191" y="1114"/>
                    </a:moveTo>
                    <a:lnTo>
                      <a:pt x="1191" y="1116"/>
                    </a:lnTo>
                    <a:lnTo>
                      <a:pt x="1191" y="1114"/>
                    </a:lnTo>
                    <a:close/>
                    <a:moveTo>
                      <a:pt x="1178" y="1374"/>
                    </a:moveTo>
                    <a:lnTo>
                      <a:pt x="1178" y="1376"/>
                    </a:lnTo>
                    <a:lnTo>
                      <a:pt x="1178" y="1374"/>
                    </a:lnTo>
                    <a:close/>
                    <a:moveTo>
                      <a:pt x="1208" y="1075"/>
                    </a:moveTo>
                    <a:lnTo>
                      <a:pt x="1210" y="1075"/>
                    </a:lnTo>
                    <a:lnTo>
                      <a:pt x="1208" y="1075"/>
                    </a:lnTo>
                    <a:close/>
                    <a:moveTo>
                      <a:pt x="1205" y="1053"/>
                    </a:moveTo>
                    <a:lnTo>
                      <a:pt x="1205" y="1054"/>
                    </a:lnTo>
                    <a:lnTo>
                      <a:pt x="1205" y="1053"/>
                    </a:lnTo>
                    <a:close/>
                    <a:moveTo>
                      <a:pt x="1186" y="1383"/>
                    </a:moveTo>
                    <a:lnTo>
                      <a:pt x="1186" y="1384"/>
                    </a:lnTo>
                    <a:lnTo>
                      <a:pt x="1186" y="1383"/>
                    </a:lnTo>
                    <a:close/>
                    <a:moveTo>
                      <a:pt x="1169" y="1133"/>
                    </a:moveTo>
                    <a:lnTo>
                      <a:pt x="1171" y="1133"/>
                    </a:lnTo>
                    <a:lnTo>
                      <a:pt x="1171" y="1134"/>
                    </a:lnTo>
                    <a:lnTo>
                      <a:pt x="1169" y="1134"/>
                    </a:lnTo>
                    <a:lnTo>
                      <a:pt x="1169" y="1133"/>
                    </a:lnTo>
                    <a:close/>
                    <a:moveTo>
                      <a:pt x="1383" y="1628"/>
                    </a:moveTo>
                    <a:lnTo>
                      <a:pt x="1383" y="1629"/>
                    </a:lnTo>
                    <a:lnTo>
                      <a:pt x="1383" y="1628"/>
                    </a:lnTo>
                    <a:close/>
                    <a:moveTo>
                      <a:pt x="1232" y="1583"/>
                    </a:moveTo>
                    <a:lnTo>
                      <a:pt x="1234" y="1583"/>
                    </a:lnTo>
                    <a:lnTo>
                      <a:pt x="1232" y="1583"/>
                    </a:lnTo>
                    <a:close/>
                    <a:moveTo>
                      <a:pt x="1353" y="1682"/>
                    </a:moveTo>
                    <a:lnTo>
                      <a:pt x="1355" y="1682"/>
                    </a:lnTo>
                    <a:lnTo>
                      <a:pt x="1353" y="1682"/>
                    </a:lnTo>
                    <a:close/>
                    <a:moveTo>
                      <a:pt x="1185" y="1429"/>
                    </a:moveTo>
                    <a:lnTo>
                      <a:pt x="1185" y="1430"/>
                    </a:lnTo>
                    <a:lnTo>
                      <a:pt x="1185" y="1429"/>
                    </a:lnTo>
                    <a:close/>
                    <a:moveTo>
                      <a:pt x="1205" y="1054"/>
                    </a:moveTo>
                    <a:lnTo>
                      <a:pt x="1207" y="1054"/>
                    </a:lnTo>
                    <a:lnTo>
                      <a:pt x="1205" y="1054"/>
                    </a:lnTo>
                    <a:close/>
                    <a:moveTo>
                      <a:pt x="1283" y="1595"/>
                    </a:moveTo>
                    <a:lnTo>
                      <a:pt x="1283" y="1597"/>
                    </a:lnTo>
                    <a:lnTo>
                      <a:pt x="1283" y="1595"/>
                    </a:lnTo>
                    <a:close/>
                    <a:moveTo>
                      <a:pt x="1185" y="1429"/>
                    </a:moveTo>
                    <a:lnTo>
                      <a:pt x="1186" y="1429"/>
                    </a:lnTo>
                    <a:lnTo>
                      <a:pt x="1186" y="1430"/>
                    </a:lnTo>
                    <a:lnTo>
                      <a:pt x="1185" y="1430"/>
                    </a:lnTo>
                    <a:lnTo>
                      <a:pt x="1185" y="1429"/>
                    </a:lnTo>
                    <a:close/>
                    <a:moveTo>
                      <a:pt x="1220" y="1549"/>
                    </a:moveTo>
                    <a:lnTo>
                      <a:pt x="1220" y="1551"/>
                    </a:lnTo>
                    <a:lnTo>
                      <a:pt x="1220" y="1549"/>
                    </a:lnTo>
                    <a:close/>
                    <a:moveTo>
                      <a:pt x="1174" y="1116"/>
                    </a:moveTo>
                    <a:lnTo>
                      <a:pt x="1174" y="1117"/>
                    </a:lnTo>
                    <a:lnTo>
                      <a:pt x="1174" y="1116"/>
                    </a:lnTo>
                    <a:close/>
                    <a:moveTo>
                      <a:pt x="1314" y="1577"/>
                    </a:moveTo>
                    <a:lnTo>
                      <a:pt x="1315" y="1577"/>
                    </a:lnTo>
                    <a:lnTo>
                      <a:pt x="1314" y="1577"/>
                    </a:lnTo>
                    <a:close/>
                    <a:moveTo>
                      <a:pt x="1207" y="1507"/>
                    </a:moveTo>
                    <a:lnTo>
                      <a:pt x="1208" y="1507"/>
                    </a:lnTo>
                    <a:lnTo>
                      <a:pt x="1207" y="1507"/>
                    </a:lnTo>
                    <a:close/>
                    <a:moveTo>
                      <a:pt x="1380" y="1660"/>
                    </a:moveTo>
                    <a:lnTo>
                      <a:pt x="1380" y="1662"/>
                    </a:lnTo>
                    <a:lnTo>
                      <a:pt x="1380" y="1660"/>
                    </a:lnTo>
                    <a:close/>
                    <a:moveTo>
                      <a:pt x="1224" y="1572"/>
                    </a:moveTo>
                    <a:lnTo>
                      <a:pt x="1225" y="1572"/>
                    </a:lnTo>
                    <a:lnTo>
                      <a:pt x="1224" y="1572"/>
                    </a:lnTo>
                    <a:close/>
                    <a:moveTo>
                      <a:pt x="1331" y="1648"/>
                    </a:moveTo>
                    <a:lnTo>
                      <a:pt x="1332" y="1648"/>
                    </a:lnTo>
                    <a:lnTo>
                      <a:pt x="1331" y="1648"/>
                    </a:lnTo>
                    <a:close/>
                    <a:moveTo>
                      <a:pt x="1198" y="1549"/>
                    </a:moveTo>
                    <a:lnTo>
                      <a:pt x="1200" y="1549"/>
                    </a:lnTo>
                    <a:lnTo>
                      <a:pt x="1198" y="1549"/>
                    </a:lnTo>
                    <a:close/>
                    <a:moveTo>
                      <a:pt x="1174" y="1435"/>
                    </a:moveTo>
                    <a:lnTo>
                      <a:pt x="1174" y="1437"/>
                    </a:lnTo>
                    <a:lnTo>
                      <a:pt x="1174" y="1435"/>
                    </a:lnTo>
                    <a:close/>
                    <a:moveTo>
                      <a:pt x="1176" y="1255"/>
                    </a:moveTo>
                    <a:lnTo>
                      <a:pt x="1178" y="1255"/>
                    </a:lnTo>
                    <a:lnTo>
                      <a:pt x="1176" y="1255"/>
                    </a:lnTo>
                    <a:close/>
                    <a:moveTo>
                      <a:pt x="1156" y="1191"/>
                    </a:moveTo>
                    <a:lnTo>
                      <a:pt x="1157" y="1191"/>
                    </a:lnTo>
                    <a:lnTo>
                      <a:pt x="1156" y="1191"/>
                    </a:lnTo>
                    <a:close/>
                    <a:moveTo>
                      <a:pt x="1208" y="956"/>
                    </a:moveTo>
                    <a:lnTo>
                      <a:pt x="1210" y="956"/>
                    </a:lnTo>
                    <a:lnTo>
                      <a:pt x="1208" y="956"/>
                    </a:lnTo>
                    <a:close/>
                    <a:moveTo>
                      <a:pt x="1220" y="1563"/>
                    </a:moveTo>
                    <a:lnTo>
                      <a:pt x="1222" y="1563"/>
                    </a:lnTo>
                    <a:lnTo>
                      <a:pt x="1220" y="1563"/>
                    </a:lnTo>
                    <a:close/>
                    <a:moveTo>
                      <a:pt x="1207" y="949"/>
                    </a:moveTo>
                    <a:lnTo>
                      <a:pt x="1207" y="951"/>
                    </a:lnTo>
                    <a:lnTo>
                      <a:pt x="1207" y="949"/>
                    </a:lnTo>
                    <a:close/>
                    <a:moveTo>
                      <a:pt x="1220" y="1056"/>
                    </a:moveTo>
                    <a:lnTo>
                      <a:pt x="1222" y="1056"/>
                    </a:lnTo>
                    <a:lnTo>
                      <a:pt x="1222" y="1058"/>
                    </a:lnTo>
                    <a:lnTo>
                      <a:pt x="1220" y="1058"/>
                    </a:lnTo>
                    <a:lnTo>
                      <a:pt x="1220" y="1056"/>
                    </a:lnTo>
                    <a:close/>
                    <a:moveTo>
                      <a:pt x="1232" y="1575"/>
                    </a:moveTo>
                    <a:lnTo>
                      <a:pt x="1234" y="1575"/>
                    </a:lnTo>
                    <a:lnTo>
                      <a:pt x="1232" y="1575"/>
                    </a:lnTo>
                    <a:close/>
                    <a:moveTo>
                      <a:pt x="1378" y="1665"/>
                    </a:moveTo>
                    <a:lnTo>
                      <a:pt x="1378" y="1667"/>
                    </a:lnTo>
                    <a:lnTo>
                      <a:pt x="1378" y="1665"/>
                    </a:lnTo>
                    <a:close/>
                    <a:moveTo>
                      <a:pt x="1227" y="1556"/>
                    </a:moveTo>
                    <a:lnTo>
                      <a:pt x="1229" y="1556"/>
                    </a:lnTo>
                    <a:lnTo>
                      <a:pt x="1229" y="1558"/>
                    </a:lnTo>
                    <a:lnTo>
                      <a:pt x="1227" y="1558"/>
                    </a:lnTo>
                    <a:lnTo>
                      <a:pt x="1227" y="1556"/>
                    </a:lnTo>
                    <a:close/>
                    <a:moveTo>
                      <a:pt x="1229" y="1534"/>
                    </a:moveTo>
                    <a:lnTo>
                      <a:pt x="1229" y="1536"/>
                    </a:lnTo>
                    <a:lnTo>
                      <a:pt x="1229" y="1534"/>
                    </a:lnTo>
                    <a:close/>
                    <a:moveTo>
                      <a:pt x="1183" y="1461"/>
                    </a:moveTo>
                    <a:lnTo>
                      <a:pt x="1185" y="1461"/>
                    </a:lnTo>
                    <a:lnTo>
                      <a:pt x="1185" y="1463"/>
                    </a:lnTo>
                    <a:lnTo>
                      <a:pt x="1183" y="1463"/>
                    </a:lnTo>
                    <a:lnTo>
                      <a:pt x="1183" y="1461"/>
                    </a:lnTo>
                    <a:close/>
                    <a:moveTo>
                      <a:pt x="1183" y="1298"/>
                    </a:moveTo>
                    <a:lnTo>
                      <a:pt x="1183" y="1299"/>
                    </a:lnTo>
                    <a:lnTo>
                      <a:pt x="1183" y="1298"/>
                    </a:lnTo>
                    <a:close/>
                    <a:moveTo>
                      <a:pt x="1227" y="1522"/>
                    </a:moveTo>
                    <a:lnTo>
                      <a:pt x="1229" y="1522"/>
                    </a:lnTo>
                    <a:lnTo>
                      <a:pt x="1229" y="1524"/>
                    </a:lnTo>
                    <a:lnTo>
                      <a:pt x="1227" y="1524"/>
                    </a:lnTo>
                    <a:lnTo>
                      <a:pt x="1227" y="1522"/>
                    </a:lnTo>
                    <a:close/>
                    <a:moveTo>
                      <a:pt x="1203" y="1541"/>
                    </a:moveTo>
                    <a:lnTo>
                      <a:pt x="1205" y="1541"/>
                    </a:lnTo>
                    <a:lnTo>
                      <a:pt x="1203" y="1541"/>
                    </a:lnTo>
                    <a:close/>
                    <a:moveTo>
                      <a:pt x="1256" y="1524"/>
                    </a:moveTo>
                    <a:lnTo>
                      <a:pt x="1256" y="1526"/>
                    </a:lnTo>
                    <a:lnTo>
                      <a:pt x="1256" y="1524"/>
                    </a:lnTo>
                    <a:close/>
                    <a:moveTo>
                      <a:pt x="1307" y="1643"/>
                    </a:moveTo>
                    <a:lnTo>
                      <a:pt x="1307" y="1645"/>
                    </a:lnTo>
                    <a:lnTo>
                      <a:pt x="1307" y="1643"/>
                    </a:lnTo>
                    <a:close/>
                    <a:moveTo>
                      <a:pt x="1210" y="1502"/>
                    </a:moveTo>
                    <a:lnTo>
                      <a:pt x="1212" y="1502"/>
                    </a:lnTo>
                    <a:lnTo>
                      <a:pt x="1210" y="1502"/>
                    </a:lnTo>
                    <a:close/>
                    <a:moveTo>
                      <a:pt x="1179" y="1432"/>
                    </a:moveTo>
                    <a:lnTo>
                      <a:pt x="1179" y="1434"/>
                    </a:lnTo>
                    <a:lnTo>
                      <a:pt x="1179" y="1432"/>
                    </a:lnTo>
                    <a:close/>
                    <a:moveTo>
                      <a:pt x="1365" y="1665"/>
                    </a:moveTo>
                    <a:lnTo>
                      <a:pt x="1365" y="1667"/>
                    </a:lnTo>
                    <a:lnTo>
                      <a:pt x="1365" y="1665"/>
                    </a:lnTo>
                    <a:close/>
                    <a:moveTo>
                      <a:pt x="1234" y="1077"/>
                    </a:moveTo>
                    <a:lnTo>
                      <a:pt x="1234" y="1078"/>
                    </a:lnTo>
                    <a:lnTo>
                      <a:pt x="1234" y="1077"/>
                    </a:lnTo>
                    <a:close/>
                    <a:moveTo>
                      <a:pt x="1173" y="1466"/>
                    </a:moveTo>
                    <a:lnTo>
                      <a:pt x="1173" y="1468"/>
                    </a:lnTo>
                    <a:lnTo>
                      <a:pt x="1173" y="1466"/>
                    </a:lnTo>
                    <a:close/>
                    <a:moveTo>
                      <a:pt x="1220" y="1558"/>
                    </a:moveTo>
                    <a:lnTo>
                      <a:pt x="1220" y="1560"/>
                    </a:lnTo>
                    <a:lnTo>
                      <a:pt x="1220" y="1558"/>
                    </a:lnTo>
                    <a:close/>
                    <a:moveTo>
                      <a:pt x="1300" y="1618"/>
                    </a:moveTo>
                    <a:lnTo>
                      <a:pt x="1300" y="1619"/>
                    </a:lnTo>
                    <a:lnTo>
                      <a:pt x="1300" y="1618"/>
                    </a:lnTo>
                    <a:close/>
                    <a:moveTo>
                      <a:pt x="1230" y="1558"/>
                    </a:moveTo>
                    <a:lnTo>
                      <a:pt x="1232" y="1558"/>
                    </a:lnTo>
                    <a:lnTo>
                      <a:pt x="1230" y="1558"/>
                    </a:lnTo>
                    <a:close/>
                    <a:moveTo>
                      <a:pt x="1212" y="1257"/>
                    </a:moveTo>
                    <a:lnTo>
                      <a:pt x="1212" y="1259"/>
                    </a:lnTo>
                    <a:lnTo>
                      <a:pt x="1212" y="1257"/>
                    </a:lnTo>
                    <a:close/>
                    <a:moveTo>
                      <a:pt x="1210" y="1509"/>
                    </a:moveTo>
                    <a:lnTo>
                      <a:pt x="1212" y="1509"/>
                    </a:lnTo>
                    <a:lnTo>
                      <a:pt x="1210" y="1509"/>
                    </a:lnTo>
                    <a:close/>
                    <a:moveTo>
                      <a:pt x="1219" y="1568"/>
                    </a:moveTo>
                    <a:lnTo>
                      <a:pt x="1220" y="1568"/>
                    </a:lnTo>
                    <a:lnTo>
                      <a:pt x="1219" y="1568"/>
                    </a:lnTo>
                    <a:close/>
                    <a:moveTo>
                      <a:pt x="1186" y="1383"/>
                    </a:moveTo>
                    <a:lnTo>
                      <a:pt x="1188" y="1383"/>
                    </a:lnTo>
                    <a:lnTo>
                      <a:pt x="1186" y="1383"/>
                    </a:lnTo>
                    <a:close/>
                    <a:moveTo>
                      <a:pt x="1183" y="1420"/>
                    </a:moveTo>
                    <a:lnTo>
                      <a:pt x="1185" y="1420"/>
                    </a:lnTo>
                    <a:lnTo>
                      <a:pt x="1183" y="1420"/>
                    </a:lnTo>
                    <a:close/>
                    <a:moveTo>
                      <a:pt x="1200" y="1145"/>
                    </a:moveTo>
                    <a:lnTo>
                      <a:pt x="1200" y="1146"/>
                    </a:lnTo>
                    <a:lnTo>
                      <a:pt x="1200" y="1145"/>
                    </a:lnTo>
                    <a:close/>
                    <a:moveTo>
                      <a:pt x="1205" y="1505"/>
                    </a:moveTo>
                    <a:lnTo>
                      <a:pt x="1205" y="1507"/>
                    </a:lnTo>
                    <a:lnTo>
                      <a:pt x="1205" y="1505"/>
                    </a:lnTo>
                    <a:close/>
                    <a:moveTo>
                      <a:pt x="1232" y="1575"/>
                    </a:moveTo>
                    <a:lnTo>
                      <a:pt x="1234" y="1575"/>
                    </a:lnTo>
                    <a:lnTo>
                      <a:pt x="1232" y="1575"/>
                    </a:lnTo>
                    <a:close/>
                    <a:moveTo>
                      <a:pt x="1234" y="1453"/>
                    </a:moveTo>
                    <a:lnTo>
                      <a:pt x="1234" y="1454"/>
                    </a:lnTo>
                    <a:lnTo>
                      <a:pt x="1234" y="1453"/>
                    </a:lnTo>
                    <a:close/>
                    <a:moveTo>
                      <a:pt x="1242" y="1497"/>
                    </a:moveTo>
                    <a:lnTo>
                      <a:pt x="1244" y="1497"/>
                    </a:lnTo>
                    <a:lnTo>
                      <a:pt x="1244" y="1498"/>
                    </a:lnTo>
                    <a:lnTo>
                      <a:pt x="1242" y="1498"/>
                    </a:lnTo>
                    <a:lnTo>
                      <a:pt x="1242" y="1497"/>
                    </a:lnTo>
                    <a:close/>
                    <a:moveTo>
                      <a:pt x="1219" y="1505"/>
                    </a:moveTo>
                    <a:lnTo>
                      <a:pt x="1220" y="1505"/>
                    </a:lnTo>
                    <a:lnTo>
                      <a:pt x="1219" y="1505"/>
                    </a:lnTo>
                    <a:close/>
                    <a:moveTo>
                      <a:pt x="1191" y="1117"/>
                    </a:moveTo>
                    <a:lnTo>
                      <a:pt x="1191" y="1119"/>
                    </a:lnTo>
                    <a:lnTo>
                      <a:pt x="1191" y="1117"/>
                    </a:lnTo>
                    <a:close/>
                    <a:moveTo>
                      <a:pt x="1166" y="1361"/>
                    </a:moveTo>
                    <a:lnTo>
                      <a:pt x="1166" y="1362"/>
                    </a:lnTo>
                    <a:lnTo>
                      <a:pt x="1166" y="1361"/>
                    </a:lnTo>
                    <a:close/>
                    <a:moveTo>
                      <a:pt x="1147" y="1286"/>
                    </a:moveTo>
                    <a:lnTo>
                      <a:pt x="1149" y="1286"/>
                    </a:lnTo>
                    <a:lnTo>
                      <a:pt x="1147" y="1286"/>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9" name="Freeform 22">
                <a:extLst>
                  <a:ext uri="{FF2B5EF4-FFF2-40B4-BE49-F238E27FC236}">
                    <a16:creationId xmlns:a16="http://schemas.microsoft.com/office/drawing/2014/main" id="{ABB17541-DEE1-3AAC-CA02-947BFF781BB9}"/>
                  </a:ext>
                </a:extLst>
              </p:cNvPr>
              <p:cNvSpPr>
                <a:spLocks noEditPoints="1"/>
              </p:cNvSpPr>
              <p:nvPr/>
            </p:nvSpPr>
            <p:spPr bwMode="auto">
              <a:xfrm>
                <a:off x="5567851" y="2812604"/>
                <a:ext cx="147740" cy="176230"/>
              </a:xfrm>
              <a:custGeom>
                <a:avLst/>
                <a:gdLst>
                  <a:gd name="T0" fmla="*/ 304 w 503"/>
                  <a:gd name="T1" fmla="*/ 93 h 600"/>
                  <a:gd name="T2" fmla="*/ 290 w 503"/>
                  <a:gd name="T3" fmla="*/ 132 h 600"/>
                  <a:gd name="T4" fmla="*/ 301 w 503"/>
                  <a:gd name="T5" fmla="*/ 146 h 600"/>
                  <a:gd name="T6" fmla="*/ 312 w 503"/>
                  <a:gd name="T7" fmla="*/ 187 h 600"/>
                  <a:gd name="T8" fmla="*/ 326 w 503"/>
                  <a:gd name="T9" fmla="*/ 217 h 600"/>
                  <a:gd name="T10" fmla="*/ 365 w 503"/>
                  <a:gd name="T11" fmla="*/ 219 h 600"/>
                  <a:gd name="T12" fmla="*/ 420 w 503"/>
                  <a:gd name="T13" fmla="*/ 251 h 600"/>
                  <a:gd name="T14" fmla="*/ 464 w 503"/>
                  <a:gd name="T15" fmla="*/ 246 h 600"/>
                  <a:gd name="T16" fmla="*/ 476 w 503"/>
                  <a:gd name="T17" fmla="*/ 267 h 600"/>
                  <a:gd name="T18" fmla="*/ 469 w 503"/>
                  <a:gd name="T19" fmla="*/ 301 h 600"/>
                  <a:gd name="T20" fmla="*/ 482 w 503"/>
                  <a:gd name="T21" fmla="*/ 335 h 600"/>
                  <a:gd name="T22" fmla="*/ 482 w 503"/>
                  <a:gd name="T23" fmla="*/ 369 h 600"/>
                  <a:gd name="T24" fmla="*/ 499 w 503"/>
                  <a:gd name="T25" fmla="*/ 401 h 600"/>
                  <a:gd name="T26" fmla="*/ 493 w 503"/>
                  <a:gd name="T27" fmla="*/ 398 h 600"/>
                  <a:gd name="T28" fmla="*/ 469 w 503"/>
                  <a:gd name="T29" fmla="*/ 393 h 600"/>
                  <a:gd name="T30" fmla="*/ 457 w 503"/>
                  <a:gd name="T31" fmla="*/ 398 h 600"/>
                  <a:gd name="T32" fmla="*/ 401 w 503"/>
                  <a:gd name="T33" fmla="*/ 415 h 600"/>
                  <a:gd name="T34" fmla="*/ 426 w 503"/>
                  <a:gd name="T35" fmla="*/ 435 h 600"/>
                  <a:gd name="T36" fmla="*/ 397 w 503"/>
                  <a:gd name="T37" fmla="*/ 437 h 600"/>
                  <a:gd name="T38" fmla="*/ 411 w 503"/>
                  <a:gd name="T39" fmla="*/ 478 h 600"/>
                  <a:gd name="T40" fmla="*/ 411 w 503"/>
                  <a:gd name="T41" fmla="*/ 529 h 600"/>
                  <a:gd name="T42" fmla="*/ 375 w 503"/>
                  <a:gd name="T43" fmla="*/ 587 h 600"/>
                  <a:gd name="T44" fmla="*/ 386 w 503"/>
                  <a:gd name="T45" fmla="*/ 542 h 600"/>
                  <a:gd name="T46" fmla="*/ 358 w 503"/>
                  <a:gd name="T47" fmla="*/ 534 h 600"/>
                  <a:gd name="T48" fmla="*/ 336 w 503"/>
                  <a:gd name="T49" fmla="*/ 530 h 600"/>
                  <a:gd name="T50" fmla="*/ 309 w 503"/>
                  <a:gd name="T51" fmla="*/ 537 h 600"/>
                  <a:gd name="T52" fmla="*/ 292 w 503"/>
                  <a:gd name="T53" fmla="*/ 520 h 600"/>
                  <a:gd name="T54" fmla="*/ 275 w 503"/>
                  <a:gd name="T55" fmla="*/ 502 h 600"/>
                  <a:gd name="T56" fmla="*/ 253 w 503"/>
                  <a:gd name="T57" fmla="*/ 488 h 600"/>
                  <a:gd name="T58" fmla="*/ 238 w 503"/>
                  <a:gd name="T59" fmla="*/ 469 h 600"/>
                  <a:gd name="T60" fmla="*/ 207 w 503"/>
                  <a:gd name="T61" fmla="*/ 457 h 600"/>
                  <a:gd name="T62" fmla="*/ 175 w 503"/>
                  <a:gd name="T63" fmla="*/ 449 h 600"/>
                  <a:gd name="T64" fmla="*/ 144 w 503"/>
                  <a:gd name="T65" fmla="*/ 442 h 600"/>
                  <a:gd name="T66" fmla="*/ 120 w 503"/>
                  <a:gd name="T67" fmla="*/ 425 h 600"/>
                  <a:gd name="T68" fmla="*/ 91 w 503"/>
                  <a:gd name="T69" fmla="*/ 401 h 600"/>
                  <a:gd name="T70" fmla="*/ 107 w 503"/>
                  <a:gd name="T71" fmla="*/ 391 h 600"/>
                  <a:gd name="T72" fmla="*/ 110 w 503"/>
                  <a:gd name="T73" fmla="*/ 369 h 600"/>
                  <a:gd name="T74" fmla="*/ 120 w 503"/>
                  <a:gd name="T75" fmla="*/ 367 h 600"/>
                  <a:gd name="T76" fmla="*/ 136 w 503"/>
                  <a:gd name="T77" fmla="*/ 364 h 600"/>
                  <a:gd name="T78" fmla="*/ 141 w 503"/>
                  <a:gd name="T79" fmla="*/ 347 h 600"/>
                  <a:gd name="T80" fmla="*/ 154 w 503"/>
                  <a:gd name="T81" fmla="*/ 328 h 600"/>
                  <a:gd name="T82" fmla="*/ 149 w 503"/>
                  <a:gd name="T83" fmla="*/ 323 h 600"/>
                  <a:gd name="T84" fmla="*/ 149 w 503"/>
                  <a:gd name="T85" fmla="*/ 303 h 600"/>
                  <a:gd name="T86" fmla="*/ 142 w 503"/>
                  <a:gd name="T87" fmla="*/ 270 h 600"/>
                  <a:gd name="T88" fmla="*/ 146 w 503"/>
                  <a:gd name="T89" fmla="*/ 245 h 600"/>
                  <a:gd name="T90" fmla="*/ 136 w 503"/>
                  <a:gd name="T91" fmla="*/ 223 h 600"/>
                  <a:gd name="T92" fmla="*/ 141 w 503"/>
                  <a:gd name="T93" fmla="*/ 202 h 600"/>
                  <a:gd name="T94" fmla="*/ 148 w 503"/>
                  <a:gd name="T95" fmla="*/ 173 h 600"/>
                  <a:gd name="T96" fmla="*/ 161 w 503"/>
                  <a:gd name="T97" fmla="*/ 178 h 600"/>
                  <a:gd name="T98" fmla="*/ 168 w 503"/>
                  <a:gd name="T99" fmla="*/ 187 h 600"/>
                  <a:gd name="T100" fmla="*/ 180 w 503"/>
                  <a:gd name="T101" fmla="*/ 156 h 600"/>
                  <a:gd name="T102" fmla="*/ 207 w 503"/>
                  <a:gd name="T103" fmla="*/ 136 h 600"/>
                  <a:gd name="T104" fmla="*/ 209 w 503"/>
                  <a:gd name="T105" fmla="*/ 110 h 600"/>
                  <a:gd name="T106" fmla="*/ 212 w 503"/>
                  <a:gd name="T107" fmla="*/ 97 h 600"/>
                  <a:gd name="T108" fmla="*/ 243 w 503"/>
                  <a:gd name="T109" fmla="*/ 83 h 600"/>
                  <a:gd name="T110" fmla="*/ 267 w 503"/>
                  <a:gd name="T111" fmla="*/ 73 h 600"/>
                  <a:gd name="T112" fmla="*/ 304 w 503"/>
                  <a:gd name="T113" fmla="*/ 59 h 600"/>
                  <a:gd name="T114" fmla="*/ 333 w 503"/>
                  <a:gd name="T115" fmla="*/ 41 h 600"/>
                  <a:gd name="T116" fmla="*/ 340 w 503"/>
                  <a:gd name="T117" fmla="*/ 34 h 600"/>
                  <a:gd name="T118" fmla="*/ 350 w 503"/>
                  <a:gd name="T119" fmla="*/ 54 h 600"/>
                  <a:gd name="T120" fmla="*/ 158 w 503"/>
                  <a:gd name="T121" fmla="*/ 325 h 600"/>
                  <a:gd name="T122" fmla="*/ 100 w 503"/>
                  <a:gd name="T123" fmla="*/ 396 h 600"/>
                  <a:gd name="T124" fmla="*/ 142 w 503"/>
                  <a:gd name="T125" fmla="*/ 318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3" h="600">
                    <a:moveTo>
                      <a:pt x="350" y="54"/>
                    </a:moveTo>
                    <a:lnTo>
                      <a:pt x="346" y="56"/>
                    </a:lnTo>
                    <a:lnTo>
                      <a:pt x="341" y="58"/>
                    </a:lnTo>
                    <a:lnTo>
                      <a:pt x="336" y="59"/>
                    </a:lnTo>
                    <a:lnTo>
                      <a:pt x="329" y="61"/>
                    </a:lnTo>
                    <a:lnTo>
                      <a:pt x="329" y="63"/>
                    </a:lnTo>
                    <a:lnTo>
                      <a:pt x="328" y="64"/>
                    </a:lnTo>
                    <a:lnTo>
                      <a:pt x="328" y="66"/>
                    </a:lnTo>
                    <a:lnTo>
                      <a:pt x="326" y="68"/>
                    </a:lnTo>
                    <a:lnTo>
                      <a:pt x="326" y="69"/>
                    </a:lnTo>
                    <a:lnTo>
                      <a:pt x="324" y="69"/>
                    </a:lnTo>
                    <a:lnTo>
                      <a:pt x="324" y="71"/>
                    </a:lnTo>
                    <a:lnTo>
                      <a:pt x="323" y="75"/>
                    </a:lnTo>
                    <a:lnTo>
                      <a:pt x="321" y="78"/>
                    </a:lnTo>
                    <a:lnTo>
                      <a:pt x="319" y="78"/>
                    </a:lnTo>
                    <a:lnTo>
                      <a:pt x="318" y="78"/>
                    </a:lnTo>
                    <a:lnTo>
                      <a:pt x="316" y="78"/>
                    </a:lnTo>
                    <a:lnTo>
                      <a:pt x="314" y="78"/>
                    </a:lnTo>
                    <a:lnTo>
                      <a:pt x="314" y="80"/>
                    </a:lnTo>
                    <a:lnTo>
                      <a:pt x="314" y="78"/>
                    </a:lnTo>
                    <a:lnTo>
                      <a:pt x="312" y="80"/>
                    </a:lnTo>
                    <a:lnTo>
                      <a:pt x="312" y="81"/>
                    </a:lnTo>
                    <a:lnTo>
                      <a:pt x="311" y="83"/>
                    </a:lnTo>
                    <a:lnTo>
                      <a:pt x="311" y="85"/>
                    </a:lnTo>
                    <a:lnTo>
                      <a:pt x="309" y="86"/>
                    </a:lnTo>
                    <a:lnTo>
                      <a:pt x="307" y="86"/>
                    </a:lnTo>
                    <a:lnTo>
                      <a:pt x="306" y="88"/>
                    </a:lnTo>
                    <a:lnTo>
                      <a:pt x="306" y="90"/>
                    </a:lnTo>
                    <a:lnTo>
                      <a:pt x="306" y="92"/>
                    </a:lnTo>
                    <a:lnTo>
                      <a:pt x="304" y="92"/>
                    </a:lnTo>
                    <a:lnTo>
                      <a:pt x="304" y="93"/>
                    </a:lnTo>
                    <a:lnTo>
                      <a:pt x="304" y="95"/>
                    </a:lnTo>
                    <a:lnTo>
                      <a:pt x="304" y="97"/>
                    </a:lnTo>
                    <a:lnTo>
                      <a:pt x="302" y="97"/>
                    </a:lnTo>
                    <a:lnTo>
                      <a:pt x="301" y="98"/>
                    </a:lnTo>
                    <a:lnTo>
                      <a:pt x="301" y="100"/>
                    </a:lnTo>
                    <a:lnTo>
                      <a:pt x="301" y="102"/>
                    </a:lnTo>
                    <a:lnTo>
                      <a:pt x="299" y="102"/>
                    </a:lnTo>
                    <a:lnTo>
                      <a:pt x="299" y="103"/>
                    </a:lnTo>
                    <a:lnTo>
                      <a:pt x="299" y="105"/>
                    </a:lnTo>
                    <a:lnTo>
                      <a:pt x="299" y="107"/>
                    </a:lnTo>
                    <a:lnTo>
                      <a:pt x="299" y="109"/>
                    </a:lnTo>
                    <a:lnTo>
                      <a:pt x="299" y="110"/>
                    </a:lnTo>
                    <a:lnTo>
                      <a:pt x="299" y="112"/>
                    </a:lnTo>
                    <a:lnTo>
                      <a:pt x="297" y="112"/>
                    </a:lnTo>
                    <a:lnTo>
                      <a:pt x="299" y="114"/>
                    </a:lnTo>
                    <a:lnTo>
                      <a:pt x="297" y="114"/>
                    </a:lnTo>
                    <a:lnTo>
                      <a:pt x="297" y="115"/>
                    </a:lnTo>
                    <a:lnTo>
                      <a:pt x="297" y="117"/>
                    </a:lnTo>
                    <a:lnTo>
                      <a:pt x="295" y="117"/>
                    </a:lnTo>
                    <a:lnTo>
                      <a:pt x="295" y="119"/>
                    </a:lnTo>
                    <a:lnTo>
                      <a:pt x="295" y="120"/>
                    </a:lnTo>
                    <a:lnTo>
                      <a:pt x="295" y="122"/>
                    </a:lnTo>
                    <a:lnTo>
                      <a:pt x="297" y="122"/>
                    </a:lnTo>
                    <a:lnTo>
                      <a:pt x="297" y="124"/>
                    </a:lnTo>
                    <a:lnTo>
                      <a:pt x="295" y="124"/>
                    </a:lnTo>
                    <a:lnTo>
                      <a:pt x="295" y="126"/>
                    </a:lnTo>
                    <a:lnTo>
                      <a:pt x="294" y="127"/>
                    </a:lnTo>
                    <a:lnTo>
                      <a:pt x="294" y="129"/>
                    </a:lnTo>
                    <a:lnTo>
                      <a:pt x="292" y="129"/>
                    </a:lnTo>
                    <a:lnTo>
                      <a:pt x="292" y="131"/>
                    </a:lnTo>
                    <a:lnTo>
                      <a:pt x="290" y="132"/>
                    </a:lnTo>
                    <a:lnTo>
                      <a:pt x="290" y="134"/>
                    </a:lnTo>
                    <a:lnTo>
                      <a:pt x="289" y="134"/>
                    </a:lnTo>
                    <a:lnTo>
                      <a:pt x="289" y="136"/>
                    </a:lnTo>
                    <a:lnTo>
                      <a:pt x="289" y="138"/>
                    </a:lnTo>
                    <a:lnTo>
                      <a:pt x="287" y="138"/>
                    </a:lnTo>
                    <a:lnTo>
                      <a:pt x="287" y="139"/>
                    </a:lnTo>
                    <a:lnTo>
                      <a:pt x="285" y="141"/>
                    </a:lnTo>
                    <a:lnTo>
                      <a:pt x="285" y="143"/>
                    </a:lnTo>
                    <a:lnTo>
                      <a:pt x="284" y="143"/>
                    </a:lnTo>
                    <a:lnTo>
                      <a:pt x="284" y="144"/>
                    </a:lnTo>
                    <a:lnTo>
                      <a:pt x="284" y="146"/>
                    </a:lnTo>
                    <a:lnTo>
                      <a:pt x="285" y="146"/>
                    </a:lnTo>
                    <a:lnTo>
                      <a:pt x="287" y="146"/>
                    </a:lnTo>
                    <a:lnTo>
                      <a:pt x="289" y="146"/>
                    </a:lnTo>
                    <a:lnTo>
                      <a:pt x="290" y="144"/>
                    </a:lnTo>
                    <a:lnTo>
                      <a:pt x="292" y="144"/>
                    </a:lnTo>
                    <a:lnTo>
                      <a:pt x="292" y="143"/>
                    </a:lnTo>
                    <a:lnTo>
                      <a:pt x="294" y="143"/>
                    </a:lnTo>
                    <a:lnTo>
                      <a:pt x="295" y="141"/>
                    </a:lnTo>
                    <a:lnTo>
                      <a:pt x="295" y="143"/>
                    </a:lnTo>
                    <a:lnTo>
                      <a:pt x="295" y="144"/>
                    </a:lnTo>
                    <a:lnTo>
                      <a:pt x="295" y="146"/>
                    </a:lnTo>
                    <a:lnTo>
                      <a:pt x="297" y="146"/>
                    </a:lnTo>
                    <a:lnTo>
                      <a:pt x="295" y="146"/>
                    </a:lnTo>
                    <a:lnTo>
                      <a:pt x="295" y="148"/>
                    </a:lnTo>
                    <a:lnTo>
                      <a:pt x="297" y="148"/>
                    </a:lnTo>
                    <a:lnTo>
                      <a:pt x="297" y="149"/>
                    </a:lnTo>
                    <a:lnTo>
                      <a:pt x="297" y="148"/>
                    </a:lnTo>
                    <a:lnTo>
                      <a:pt x="299" y="148"/>
                    </a:lnTo>
                    <a:lnTo>
                      <a:pt x="301" y="148"/>
                    </a:lnTo>
                    <a:lnTo>
                      <a:pt x="301" y="146"/>
                    </a:lnTo>
                    <a:lnTo>
                      <a:pt x="301" y="148"/>
                    </a:lnTo>
                    <a:lnTo>
                      <a:pt x="302" y="148"/>
                    </a:lnTo>
                    <a:lnTo>
                      <a:pt x="302" y="149"/>
                    </a:lnTo>
                    <a:lnTo>
                      <a:pt x="304" y="151"/>
                    </a:lnTo>
                    <a:lnTo>
                      <a:pt x="304" y="153"/>
                    </a:lnTo>
                    <a:lnTo>
                      <a:pt x="304" y="155"/>
                    </a:lnTo>
                    <a:lnTo>
                      <a:pt x="306" y="160"/>
                    </a:lnTo>
                    <a:lnTo>
                      <a:pt x="306" y="163"/>
                    </a:lnTo>
                    <a:lnTo>
                      <a:pt x="307" y="165"/>
                    </a:lnTo>
                    <a:lnTo>
                      <a:pt x="307" y="166"/>
                    </a:lnTo>
                    <a:lnTo>
                      <a:pt x="309" y="166"/>
                    </a:lnTo>
                    <a:lnTo>
                      <a:pt x="309" y="168"/>
                    </a:lnTo>
                    <a:lnTo>
                      <a:pt x="311" y="168"/>
                    </a:lnTo>
                    <a:lnTo>
                      <a:pt x="312" y="170"/>
                    </a:lnTo>
                    <a:lnTo>
                      <a:pt x="312" y="172"/>
                    </a:lnTo>
                    <a:lnTo>
                      <a:pt x="314" y="173"/>
                    </a:lnTo>
                    <a:lnTo>
                      <a:pt x="316" y="173"/>
                    </a:lnTo>
                    <a:lnTo>
                      <a:pt x="316" y="175"/>
                    </a:lnTo>
                    <a:lnTo>
                      <a:pt x="316" y="177"/>
                    </a:lnTo>
                    <a:lnTo>
                      <a:pt x="316" y="178"/>
                    </a:lnTo>
                    <a:lnTo>
                      <a:pt x="316" y="180"/>
                    </a:lnTo>
                    <a:lnTo>
                      <a:pt x="318" y="180"/>
                    </a:lnTo>
                    <a:lnTo>
                      <a:pt x="316" y="180"/>
                    </a:lnTo>
                    <a:lnTo>
                      <a:pt x="316" y="182"/>
                    </a:lnTo>
                    <a:lnTo>
                      <a:pt x="316" y="183"/>
                    </a:lnTo>
                    <a:lnTo>
                      <a:pt x="318" y="183"/>
                    </a:lnTo>
                    <a:lnTo>
                      <a:pt x="318" y="185"/>
                    </a:lnTo>
                    <a:lnTo>
                      <a:pt x="316" y="185"/>
                    </a:lnTo>
                    <a:lnTo>
                      <a:pt x="314" y="185"/>
                    </a:lnTo>
                    <a:lnTo>
                      <a:pt x="314" y="187"/>
                    </a:lnTo>
                    <a:lnTo>
                      <a:pt x="312" y="187"/>
                    </a:lnTo>
                    <a:lnTo>
                      <a:pt x="312" y="189"/>
                    </a:lnTo>
                    <a:lnTo>
                      <a:pt x="312" y="190"/>
                    </a:lnTo>
                    <a:lnTo>
                      <a:pt x="314" y="190"/>
                    </a:lnTo>
                    <a:lnTo>
                      <a:pt x="314" y="192"/>
                    </a:lnTo>
                    <a:lnTo>
                      <a:pt x="312" y="194"/>
                    </a:lnTo>
                    <a:lnTo>
                      <a:pt x="312" y="195"/>
                    </a:lnTo>
                    <a:lnTo>
                      <a:pt x="312" y="197"/>
                    </a:lnTo>
                    <a:lnTo>
                      <a:pt x="312" y="199"/>
                    </a:lnTo>
                    <a:lnTo>
                      <a:pt x="312" y="200"/>
                    </a:lnTo>
                    <a:lnTo>
                      <a:pt x="314" y="200"/>
                    </a:lnTo>
                    <a:lnTo>
                      <a:pt x="314" y="202"/>
                    </a:lnTo>
                    <a:lnTo>
                      <a:pt x="312" y="202"/>
                    </a:lnTo>
                    <a:lnTo>
                      <a:pt x="312" y="204"/>
                    </a:lnTo>
                    <a:lnTo>
                      <a:pt x="314" y="204"/>
                    </a:lnTo>
                    <a:lnTo>
                      <a:pt x="314" y="206"/>
                    </a:lnTo>
                    <a:lnTo>
                      <a:pt x="316" y="206"/>
                    </a:lnTo>
                    <a:lnTo>
                      <a:pt x="316" y="207"/>
                    </a:lnTo>
                    <a:lnTo>
                      <a:pt x="318" y="206"/>
                    </a:lnTo>
                    <a:lnTo>
                      <a:pt x="318" y="207"/>
                    </a:lnTo>
                    <a:lnTo>
                      <a:pt x="319" y="207"/>
                    </a:lnTo>
                    <a:lnTo>
                      <a:pt x="321" y="207"/>
                    </a:lnTo>
                    <a:lnTo>
                      <a:pt x="321" y="206"/>
                    </a:lnTo>
                    <a:lnTo>
                      <a:pt x="323" y="207"/>
                    </a:lnTo>
                    <a:lnTo>
                      <a:pt x="323" y="209"/>
                    </a:lnTo>
                    <a:lnTo>
                      <a:pt x="324" y="209"/>
                    </a:lnTo>
                    <a:lnTo>
                      <a:pt x="323" y="209"/>
                    </a:lnTo>
                    <a:lnTo>
                      <a:pt x="323" y="211"/>
                    </a:lnTo>
                    <a:lnTo>
                      <a:pt x="323" y="212"/>
                    </a:lnTo>
                    <a:lnTo>
                      <a:pt x="324" y="212"/>
                    </a:lnTo>
                    <a:lnTo>
                      <a:pt x="324" y="214"/>
                    </a:lnTo>
                    <a:lnTo>
                      <a:pt x="326" y="217"/>
                    </a:lnTo>
                    <a:lnTo>
                      <a:pt x="328" y="219"/>
                    </a:lnTo>
                    <a:lnTo>
                      <a:pt x="329" y="219"/>
                    </a:lnTo>
                    <a:lnTo>
                      <a:pt x="331" y="219"/>
                    </a:lnTo>
                    <a:lnTo>
                      <a:pt x="333" y="219"/>
                    </a:lnTo>
                    <a:lnTo>
                      <a:pt x="335" y="219"/>
                    </a:lnTo>
                    <a:lnTo>
                      <a:pt x="335" y="217"/>
                    </a:lnTo>
                    <a:lnTo>
                      <a:pt x="336" y="217"/>
                    </a:lnTo>
                    <a:lnTo>
                      <a:pt x="338" y="217"/>
                    </a:lnTo>
                    <a:lnTo>
                      <a:pt x="338" y="219"/>
                    </a:lnTo>
                    <a:lnTo>
                      <a:pt x="340" y="219"/>
                    </a:lnTo>
                    <a:lnTo>
                      <a:pt x="341" y="217"/>
                    </a:lnTo>
                    <a:lnTo>
                      <a:pt x="341" y="219"/>
                    </a:lnTo>
                    <a:lnTo>
                      <a:pt x="343" y="217"/>
                    </a:lnTo>
                    <a:lnTo>
                      <a:pt x="343" y="219"/>
                    </a:lnTo>
                    <a:lnTo>
                      <a:pt x="345" y="219"/>
                    </a:lnTo>
                    <a:lnTo>
                      <a:pt x="346" y="219"/>
                    </a:lnTo>
                    <a:lnTo>
                      <a:pt x="348" y="219"/>
                    </a:lnTo>
                    <a:lnTo>
                      <a:pt x="350" y="219"/>
                    </a:lnTo>
                    <a:lnTo>
                      <a:pt x="352" y="219"/>
                    </a:lnTo>
                    <a:lnTo>
                      <a:pt x="353" y="219"/>
                    </a:lnTo>
                    <a:lnTo>
                      <a:pt x="355" y="219"/>
                    </a:lnTo>
                    <a:lnTo>
                      <a:pt x="357" y="219"/>
                    </a:lnTo>
                    <a:lnTo>
                      <a:pt x="358" y="219"/>
                    </a:lnTo>
                    <a:lnTo>
                      <a:pt x="358" y="221"/>
                    </a:lnTo>
                    <a:lnTo>
                      <a:pt x="360" y="221"/>
                    </a:lnTo>
                    <a:lnTo>
                      <a:pt x="362" y="221"/>
                    </a:lnTo>
                    <a:lnTo>
                      <a:pt x="363" y="221"/>
                    </a:lnTo>
                    <a:lnTo>
                      <a:pt x="363" y="219"/>
                    </a:lnTo>
                    <a:lnTo>
                      <a:pt x="365" y="219"/>
                    </a:lnTo>
                    <a:lnTo>
                      <a:pt x="365" y="217"/>
                    </a:lnTo>
                    <a:lnTo>
                      <a:pt x="365" y="219"/>
                    </a:lnTo>
                    <a:lnTo>
                      <a:pt x="367" y="217"/>
                    </a:lnTo>
                    <a:lnTo>
                      <a:pt x="369" y="217"/>
                    </a:lnTo>
                    <a:lnTo>
                      <a:pt x="370" y="217"/>
                    </a:lnTo>
                    <a:lnTo>
                      <a:pt x="370" y="216"/>
                    </a:lnTo>
                    <a:lnTo>
                      <a:pt x="372" y="217"/>
                    </a:lnTo>
                    <a:lnTo>
                      <a:pt x="374" y="216"/>
                    </a:lnTo>
                    <a:lnTo>
                      <a:pt x="374" y="217"/>
                    </a:lnTo>
                    <a:lnTo>
                      <a:pt x="375" y="217"/>
                    </a:lnTo>
                    <a:lnTo>
                      <a:pt x="377" y="217"/>
                    </a:lnTo>
                    <a:lnTo>
                      <a:pt x="379" y="217"/>
                    </a:lnTo>
                    <a:lnTo>
                      <a:pt x="379" y="219"/>
                    </a:lnTo>
                    <a:lnTo>
                      <a:pt x="380" y="219"/>
                    </a:lnTo>
                    <a:lnTo>
                      <a:pt x="382" y="219"/>
                    </a:lnTo>
                    <a:lnTo>
                      <a:pt x="382" y="221"/>
                    </a:lnTo>
                    <a:lnTo>
                      <a:pt x="384" y="221"/>
                    </a:lnTo>
                    <a:lnTo>
                      <a:pt x="384" y="223"/>
                    </a:lnTo>
                    <a:lnTo>
                      <a:pt x="386" y="223"/>
                    </a:lnTo>
                    <a:lnTo>
                      <a:pt x="387" y="223"/>
                    </a:lnTo>
                    <a:lnTo>
                      <a:pt x="387" y="221"/>
                    </a:lnTo>
                    <a:lnTo>
                      <a:pt x="389" y="221"/>
                    </a:lnTo>
                    <a:lnTo>
                      <a:pt x="391" y="221"/>
                    </a:lnTo>
                    <a:lnTo>
                      <a:pt x="392" y="221"/>
                    </a:lnTo>
                    <a:lnTo>
                      <a:pt x="394" y="223"/>
                    </a:lnTo>
                    <a:lnTo>
                      <a:pt x="397" y="228"/>
                    </a:lnTo>
                    <a:lnTo>
                      <a:pt x="404" y="236"/>
                    </a:lnTo>
                    <a:lnTo>
                      <a:pt x="411" y="243"/>
                    </a:lnTo>
                    <a:lnTo>
                      <a:pt x="411" y="245"/>
                    </a:lnTo>
                    <a:lnTo>
                      <a:pt x="416" y="250"/>
                    </a:lnTo>
                    <a:lnTo>
                      <a:pt x="418" y="250"/>
                    </a:lnTo>
                    <a:lnTo>
                      <a:pt x="420" y="250"/>
                    </a:lnTo>
                    <a:lnTo>
                      <a:pt x="420" y="251"/>
                    </a:lnTo>
                    <a:lnTo>
                      <a:pt x="421" y="251"/>
                    </a:lnTo>
                    <a:lnTo>
                      <a:pt x="423" y="250"/>
                    </a:lnTo>
                    <a:lnTo>
                      <a:pt x="425" y="248"/>
                    </a:lnTo>
                    <a:lnTo>
                      <a:pt x="426" y="248"/>
                    </a:lnTo>
                    <a:lnTo>
                      <a:pt x="426" y="246"/>
                    </a:lnTo>
                    <a:lnTo>
                      <a:pt x="428" y="246"/>
                    </a:lnTo>
                    <a:lnTo>
                      <a:pt x="430" y="246"/>
                    </a:lnTo>
                    <a:lnTo>
                      <a:pt x="430" y="248"/>
                    </a:lnTo>
                    <a:lnTo>
                      <a:pt x="431" y="246"/>
                    </a:lnTo>
                    <a:lnTo>
                      <a:pt x="431" y="248"/>
                    </a:lnTo>
                    <a:lnTo>
                      <a:pt x="433" y="248"/>
                    </a:lnTo>
                    <a:lnTo>
                      <a:pt x="435" y="248"/>
                    </a:lnTo>
                    <a:lnTo>
                      <a:pt x="437" y="248"/>
                    </a:lnTo>
                    <a:lnTo>
                      <a:pt x="438" y="248"/>
                    </a:lnTo>
                    <a:lnTo>
                      <a:pt x="440" y="248"/>
                    </a:lnTo>
                    <a:lnTo>
                      <a:pt x="440" y="250"/>
                    </a:lnTo>
                    <a:lnTo>
                      <a:pt x="442" y="250"/>
                    </a:lnTo>
                    <a:lnTo>
                      <a:pt x="443" y="248"/>
                    </a:lnTo>
                    <a:lnTo>
                      <a:pt x="445" y="248"/>
                    </a:lnTo>
                    <a:lnTo>
                      <a:pt x="447" y="248"/>
                    </a:lnTo>
                    <a:lnTo>
                      <a:pt x="448" y="248"/>
                    </a:lnTo>
                    <a:lnTo>
                      <a:pt x="450" y="248"/>
                    </a:lnTo>
                    <a:lnTo>
                      <a:pt x="452" y="248"/>
                    </a:lnTo>
                    <a:lnTo>
                      <a:pt x="454" y="248"/>
                    </a:lnTo>
                    <a:lnTo>
                      <a:pt x="455" y="248"/>
                    </a:lnTo>
                    <a:lnTo>
                      <a:pt x="455" y="246"/>
                    </a:lnTo>
                    <a:lnTo>
                      <a:pt x="457" y="246"/>
                    </a:lnTo>
                    <a:lnTo>
                      <a:pt x="459" y="246"/>
                    </a:lnTo>
                    <a:lnTo>
                      <a:pt x="460" y="246"/>
                    </a:lnTo>
                    <a:lnTo>
                      <a:pt x="462" y="246"/>
                    </a:lnTo>
                    <a:lnTo>
                      <a:pt x="464" y="246"/>
                    </a:lnTo>
                    <a:lnTo>
                      <a:pt x="465" y="246"/>
                    </a:lnTo>
                    <a:lnTo>
                      <a:pt x="467" y="245"/>
                    </a:lnTo>
                    <a:lnTo>
                      <a:pt x="469" y="243"/>
                    </a:lnTo>
                    <a:lnTo>
                      <a:pt x="471" y="243"/>
                    </a:lnTo>
                    <a:lnTo>
                      <a:pt x="472" y="243"/>
                    </a:lnTo>
                    <a:lnTo>
                      <a:pt x="472" y="245"/>
                    </a:lnTo>
                    <a:lnTo>
                      <a:pt x="472" y="243"/>
                    </a:lnTo>
                    <a:lnTo>
                      <a:pt x="474" y="243"/>
                    </a:lnTo>
                    <a:lnTo>
                      <a:pt x="474" y="245"/>
                    </a:lnTo>
                    <a:lnTo>
                      <a:pt x="476" y="245"/>
                    </a:lnTo>
                    <a:lnTo>
                      <a:pt x="477" y="245"/>
                    </a:lnTo>
                    <a:lnTo>
                      <a:pt x="479" y="245"/>
                    </a:lnTo>
                    <a:lnTo>
                      <a:pt x="481" y="246"/>
                    </a:lnTo>
                    <a:lnTo>
                      <a:pt x="482" y="246"/>
                    </a:lnTo>
                    <a:lnTo>
                      <a:pt x="482" y="248"/>
                    </a:lnTo>
                    <a:lnTo>
                      <a:pt x="481" y="248"/>
                    </a:lnTo>
                    <a:lnTo>
                      <a:pt x="481" y="250"/>
                    </a:lnTo>
                    <a:lnTo>
                      <a:pt x="482" y="251"/>
                    </a:lnTo>
                    <a:lnTo>
                      <a:pt x="482" y="253"/>
                    </a:lnTo>
                    <a:lnTo>
                      <a:pt x="484" y="253"/>
                    </a:lnTo>
                    <a:lnTo>
                      <a:pt x="484" y="255"/>
                    </a:lnTo>
                    <a:lnTo>
                      <a:pt x="482" y="255"/>
                    </a:lnTo>
                    <a:lnTo>
                      <a:pt x="481" y="257"/>
                    </a:lnTo>
                    <a:lnTo>
                      <a:pt x="479" y="257"/>
                    </a:lnTo>
                    <a:lnTo>
                      <a:pt x="479" y="258"/>
                    </a:lnTo>
                    <a:lnTo>
                      <a:pt x="477" y="258"/>
                    </a:lnTo>
                    <a:lnTo>
                      <a:pt x="477" y="260"/>
                    </a:lnTo>
                    <a:lnTo>
                      <a:pt x="477" y="262"/>
                    </a:lnTo>
                    <a:lnTo>
                      <a:pt x="476" y="263"/>
                    </a:lnTo>
                    <a:lnTo>
                      <a:pt x="476" y="265"/>
                    </a:lnTo>
                    <a:lnTo>
                      <a:pt x="476" y="267"/>
                    </a:lnTo>
                    <a:lnTo>
                      <a:pt x="477" y="267"/>
                    </a:lnTo>
                    <a:lnTo>
                      <a:pt x="477" y="268"/>
                    </a:lnTo>
                    <a:lnTo>
                      <a:pt x="477" y="270"/>
                    </a:lnTo>
                    <a:lnTo>
                      <a:pt x="476" y="270"/>
                    </a:lnTo>
                    <a:lnTo>
                      <a:pt x="476" y="272"/>
                    </a:lnTo>
                    <a:lnTo>
                      <a:pt x="474" y="274"/>
                    </a:lnTo>
                    <a:lnTo>
                      <a:pt x="472" y="274"/>
                    </a:lnTo>
                    <a:lnTo>
                      <a:pt x="472" y="275"/>
                    </a:lnTo>
                    <a:lnTo>
                      <a:pt x="471" y="275"/>
                    </a:lnTo>
                    <a:lnTo>
                      <a:pt x="471" y="277"/>
                    </a:lnTo>
                    <a:lnTo>
                      <a:pt x="469" y="277"/>
                    </a:lnTo>
                    <a:lnTo>
                      <a:pt x="469" y="279"/>
                    </a:lnTo>
                    <a:lnTo>
                      <a:pt x="471" y="279"/>
                    </a:lnTo>
                    <a:lnTo>
                      <a:pt x="469" y="280"/>
                    </a:lnTo>
                    <a:lnTo>
                      <a:pt x="469" y="282"/>
                    </a:lnTo>
                    <a:lnTo>
                      <a:pt x="469" y="284"/>
                    </a:lnTo>
                    <a:lnTo>
                      <a:pt x="471" y="285"/>
                    </a:lnTo>
                    <a:lnTo>
                      <a:pt x="469" y="285"/>
                    </a:lnTo>
                    <a:lnTo>
                      <a:pt x="471" y="285"/>
                    </a:lnTo>
                    <a:lnTo>
                      <a:pt x="471" y="287"/>
                    </a:lnTo>
                    <a:lnTo>
                      <a:pt x="471" y="289"/>
                    </a:lnTo>
                    <a:lnTo>
                      <a:pt x="469" y="289"/>
                    </a:lnTo>
                    <a:lnTo>
                      <a:pt x="469" y="291"/>
                    </a:lnTo>
                    <a:lnTo>
                      <a:pt x="469" y="292"/>
                    </a:lnTo>
                    <a:lnTo>
                      <a:pt x="469" y="294"/>
                    </a:lnTo>
                    <a:lnTo>
                      <a:pt x="469" y="296"/>
                    </a:lnTo>
                    <a:lnTo>
                      <a:pt x="471" y="296"/>
                    </a:lnTo>
                    <a:lnTo>
                      <a:pt x="471" y="297"/>
                    </a:lnTo>
                    <a:lnTo>
                      <a:pt x="469" y="297"/>
                    </a:lnTo>
                    <a:lnTo>
                      <a:pt x="469" y="299"/>
                    </a:lnTo>
                    <a:lnTo>
                      <a:pt x="469" y="301"/>
                    </a:lnTo>
                    <a:lnTo>
                      <a:pt x="469" y="303"/>
                    </a:lnTo>
                    <a:lnTo>
                      <a:pt x="469" y="304"/>
                    </a:lnTo>
                    <a:lnTo>
                      <a:pt x="471" y="304"/>
                    </a:lnTo>
                    <a:lnTo>
                      <a:pt x="471" y="306"/>
                    </a:lnTo>
                    <a:lnTo>
                      <a:pt x="471" y="308"/>
                    </a:lnTo>
                    <a:lnTo>
                      <a:pt x="472" y="308"/>
                    </a:lnTo>
                    <a:lnTo>
                      <a:pt x="471" y="308"/>
                    </a:lnTo>
                    <a:lnTo>
                      <a:pt x="471" y="309"/>
                    </a:lnTo>
                    <a:lnTo>
                      <a:pt x="472" y="309"/>
                    </a:lnTo>
                    <a:lnTo>
                      <a:pt x="472" y="311"/>
                    </a:lnTo>
                    <a:lnTo>
                      <a:pt x="471" y="309"/>
                    </a:lnTo>
                    <a:lnTo>
                      <a:pt x="471" y="311"/>
                    </a:lnTo>
                    <a:lnTo>
                      <a:pt x="471" y="313"/>
                    </a:lnTo>
                    <a:lnTo>
                      <a:pt x="471" y="314"/>
                    </a:lnTo>
                    <a:lnTo>
                      <a:pt x="471" y="316"/>
                    </a:lnTo>
                    <a:lnTo>
                      <a:pt x="472" y="316"/>
                    </a:lnTo>
                    <a:lnTo>
                      <a:pt x="472" y="318"/>
                    </a:lnTo>
                    <a:lnTo>
                      <a:pt x="474" y="320"/>
                    </a:lnTo>
                    <a:lnTo>
                      <a:pt x="474" y="321"/>
                    </a:lnTo>
                    <a:lnTo>
                      <a:pt x="474" y="323"/>
                    </a:lnTo>
                    <a:lnTo>
                      <a:pt x="474" y="325"/>
                    </a:lnTo>
                    <a:lnTo>
                      <a:pt x="476" y="325"/>
                    </a:lnTo>
                    <a:lnTo>
                      <a:pt x="476" y="326"/>
                    </a:lnTo>
                    <a:lnTo>
                      <a:pt x="476" y="328"/>
                    </a:lnTo>
                    <a:lnTo>
                      <a:pt x="476" y="330"/>
                    </a:lnTo>
                    <a:lnTo>
                      <a:pt x="477" y="330"/>
                    </a:lnTo>
                    <a:lnTo>
                      <a:pt x="479" y="330"/>
                    </a:lnTo>
                    <a:lnTo>
                      <a:pt x="481" y="330"/>
                    </a:lnTo>
                    <a:lnTo>
                      <a:pt x="481" y="331"/>
                    </a:lnTo>
                    <a:lnTo>
                      <a:pt x="482" y="333"/>
                    </a:lnTo>
                    <a:lnTo>
                      <a:pt x="482" y="335"/>
                    </a:lnTo>
                    <a:lnTo>
                      <a:pt x="482" y="337"/>
                    </a:lnTo>
                    <a:lnTo>
                      <a:pt x="484" y="337"/>
                    </a:lnTo>
                    <a:lnTo>
                      <a:pt x="484" y="338"/>
                    </a:lnTo>
                    <a:lnTo>
                      <a:pt x="484" y="340"/>
                    </a:lnTo>
                    <a:lnTo>
                      <a:pt x="486" y="340"/>
                    </a:lnTo>
                    <a:lnTo>
                      <a:pt x="486" y="342"/>
                    </a:lnTo>
                    <a:lnTo>
                      <a:pt x="488" y="342"/>
                    </a:lnTo>
                    <a:lnTo>
                      <a:pt x="488" y="343"/>
                    </a:lnTo>
                    <a:lnTo>
                      <a:pt x="486" y="343"/>
                    </a:lnTo>
                    <a:lnTo>
                      <a:pt x="486" y="345"/>
                    </a:lnTo>
                    <a:lnTo>
                      <a:pt x="484" y="345"/>
                    </a:lnTo>
                    <a:lnTo>
                      <a:pt x="484" y="347"/>
                    </a:lnTo>
                    <a:lnTo>
                      <a:pt x="482" y="347"/>
                    </a:lnTo>
                    <a:lnTo>
                      <a:pt x="481" y="350"/>
                    </a:lnTo>
                    <a:lnTo>
                      <a:pt x="477" y="352"/>
                    </a:lnTo>
                    <a:lnTo>
                      <a:pt x="474" y="355"/>
                    </a:lnTo>
                    <a:lnTo>
                      <a:pt x="471" y="359"/>
                    </a:lnTo>
                    <a:lnTo>
                      <a:pt x="469" y="360"/>
                    </a:lnTo>
                    <a:lnTo>
                      <a:pt x="469" y="362"/>
                    </a:lnTo>
                    <a:lnTo>
                      <a:pt x="471" y="360"/>
                    </a:lnTo>
                    <a:lnTo>
                      <a:pt x="471" y="362"/>
                    </a:lnTo>
                    <a:lnTo>
                      <a:pt x="472" y="360"/>
                    </a:lnTo>
                    <a:lnTo>
                      <a:pt x="472" y="362"/>
                    </a:lnTo>
                    <a:lnTo>
                      <a:pt x="474" y="362"/>
                    </a:lnTo>
                    <a:lnTo>
                      <a:pt x="476" y="362"/>
                    </a:lnTo>
                    <a:lnTo>
                      <a:pt x="477" y="362"/>
                    </a:lnTo>
                    <a:lnTo>
                      <a:pt x="477" y="364"/>
                    </a:lnTo>
                    <a:lnTo>
                      <a:pt x="479" y="365"/>
                    </a:lnTo>
                    <a:lnTo>
                      <a:pt x="479" y="367"/>
                    </a:lnTo>
                    <a:lnTo>
                      <a:pt x="481" y="367"/>
                    </a:lnTo>
                    <a:lnTo>
                      <a:pt x="482" y="369"/>
                    </a:lnTo>
                    <a:lnTo>
                      <a:pt x="484" y="369"/>
                    </a:lnTo>
                    <a:lnTo>
                      <a:pt x="484" y="371"/>
                    </a:lnTo>
                    <a:lnTo>
                      <a:pt x="486" y="371"/>
                    </a:lnTo>
                    <a:lnTo>
                      <a:pt x="486" y="372"/>
                    </a:lnTo>
                    <a:lnTo>
                      <a:pt x="488" y="374"/>
                    </a:lnTo>
                    <a:lnTo>
                      <a:pt x="489" y="374"/>
                    </a:lnTo>
                    <a:lnTo>
                      <a:pt x="489" y="376"/>
                    </a:lnTo>
                    <a:lnTo>
                      <a:pt x="491" y="376"/>
                    </a:lnTo>
                    <a:lnTo>
                      <a:pt x="491" y="377"/>
                    </a:lnTo>
                    <a:lnTo>
                      <a:pt x="491" y="379"/>
                    </a:lnTo>
                    <a:lnTo>
                      <a:pt x="491" y="381"/>
                    </a:lnTo>
                    <a:lnTo>
                      <a:pt x="489" y="381"/>
                    </a:lnTo>
                    <a:lnTo>
                      <a:pt x="491" y="381"/>
                    </a:lnTo>
                    <a:lnTo>
                      <a:pt x="491" y="382"/>
                    </a:lnTo>
                    <a:lnTo>
                      <a:pt x="491" y="384"/>
                    </a:lnTo>
                    <a:lnTo>
                      <a:pt x="493" y="384"/>
                    </a:lnTo>
                    <a:lnTo>
                      <a:pt x="493" y="386"/>
                    </a:lnTo>
                    <a:lnTo>
                      <a:pt x="493" y="384"/>
                    </a:lnTo>
                    <a:lnTo>
                      <a:pt x="494" y="386"/>
                    </a:lnTo>
                    <a:lnTo>
                      <a:pt x="494" y="388"/>
                    </a:lnTo>
                    <a:lnTo>
                      <a:pt x="494" y="389"/>
                    </a:lnTo>
                    <a:lnTo>
                      <a:pt x="493" y="389"/>
                    </a:lnTo>
                    <a:lnTo>
                      <a:pt x="494" y="391"/>
                    </a:lnTo>
                    <a:lnTo>
                      <a:pt x="496" y="393"/>
                    </a:lnTo>
                    <a:lnTo>
                      <a:pt x="496" y="394"/>
                    </a:lnTo>
                    <a:lnTo>
                      <a:pt x="496" y="396"/>
                    </a:lnTo>
                    <a:lnTo>
                      <a:pt x="496" y="398"/>
                    </a:lnTo>
                    <a:lnTo>
                      <a:pt x="498" y="398"/>
                    </a:lnTo>
                    <a:lnTo>
                      <a:pt x="498" y="399"/>
                    </a:lnTo>
                    <a:lnTo>
                      <a:pt x="498" y="401"/>
                    </a:lnTo>
                    <a:lnTo>
                      <a:pt x="499" y="401"/>
                    </a:lnTo>
                    <a:lnTo>
                      <a:pt x="499" y="403"/>
                    </a:lnTo>
                    <a:lnTo>
                      <a:pt x="499" y="405"/>
                    </a:lnTo>
                    <a:lnTo>
                      <a:pt x="499" y="406"/>
                    </a:lnTo>
                    <a:lnTo>
                      <a:pt x="501" y="406"/>
                    </a:lnTo>
                    <a:lnTo>
                      <a:pt x="501" y="408"/>
                    </a:lnTo>
                    <a:lnTo>
                      <a:pt x="501" y="410"/>
                    </a:lnTo>
                    <a:lnTo>
                      <a:pt x="503" y="410"/>
                    </a:lnTo>
                    <a:lnTo>
                      <a:pt x="503" y="411"/>
                    </a:lnTo>
                    <a:lnTo>
                      <a:pt x="503" y="413"/>
                    </a:lnTo>
                    <a:lnTo>
                      <a:pt x="501" y="413"/>
                    </a:lnTo>
                    <a:lnTo>
                      <a:pt x="501" y="415"/>
                    </a:lnTo>
                    <a:lnTo>
                      <a:pt x="503" y="415"/>
                    </a:lnTo>
                    <a:lnTo>
                      <a:pt x="501" y="416"/>
                    </a:lnTo>
                    <a:lnTo>
                      <a:pt x="496" y="416"/>
                    </a:lnTo>
                    <a:lnTo>
                      <a:pt x="494" y="418"/>
                    </a:lnTo>
                    <a:lnTo>
                      <a:pt x="494" y="416"/>
                    </a:lnTo>
                    <a:lnTo>
                      <a:pt x="494" y="415"/>
                    </a:lnTo>
                    <a:lnTo>
                      <a:pt x="494" y="413"/>
                    </a:lnTo>
                    <a:lnTo>
                      <a:pt x="493" y="413"/>
                    </a:lnTo>
                    <a:lnTo>
                      <a:pt x="493" y="411"/>
                    </a:lnTo>
                    <a:lnTo>
                      <a:pt x="494" y="411"/>
                    </a:lnTo>
                    <a:lnTo>
                      <a:pt x="494" y="410"/>
                    </a:lnTo>
                    <a:lnTo>
                      <a:pt x="494" y="408"/>
                    </a:lnTo>
                    <a:lnTo>
                      <a:pt x="494" y="406"/>
                    </a:lnTo>
                    <a:lnTo>
                      <a:pt x="493" y="406"/>
                    </a:lnTo>
                    <a:lnTo>
                      <a:pt x="493" y="405"/>
                    </a:lnTo>
                    <a:lnTo>
                      <a:pt x="494" y="403"/>
                    </a:lnTo>
                    <a:lnTo>
                      <a:pt x="493" y="403"/>
                    </a:lnTo>
                    <a:lnTo>
                      <a:pt x="493" y="401"/>
                    </a:lnTo>
                    <a:lnTo>
                      <a:pt x="493" y="399"/>
                    </a:lnTo>
                    <a:lnTo>
                      <a:pt x="493" y="398"/>
                    </a:lnTo>
                    <a:lnTo>
                      <a:pt x="493" y="396"/>
                    </a:lnTo>
                    <a:lnTo>
                      <a:pt x="493" y="394"/>
                    </a:lnTo>
                    <a:lnTo>
                      <a:pt x="491" y="394"/>
                    </a:lnTo>
                    <a:lnTo>
                      <a:pt x="489" y="394"/>
                    </a:lnTo>
                    <a:lnTo>
                      <a:pt x="488" y="393"/>
                    </a:lnTo>
                    <a:lnTo>
                      <a:pt x="488" y="391"/>
                    </a:lnTo>
                    <a:lnTo>
                      <a:pt x="486" y="391"/>
                    </a:lnTo>
                    <a:lnTo>
                      <a:pt x="486" y="389"/>
                    </a:lnTo>
                    <a:lnTo>
                      <a:pt x="486" y="388"/>
                    </a:lnTo>
                    <a:lnTo>
                      <a:pt x="486" y="386"/>
                    </a:lnTo>
                    <a:lnTo>
                      <a:pt x="486" y="384"/>
                    </a:lnTo>
                    <a:lnTo>
                      <a:pt x="484" y="384"/>
                    </a:lnTo>
                    <a:lnTo>
                      <a:pt x="484" y="382"/>
                    </a:lnTo>
                    <a:lnTo>
                      <a:pt x="486" y="382"/>
                    </a:lnTo>
                    <a:lnTo>
                      <a:pt x="484" y="382"/>
                    </a:lnTo>
                    <a:lnTo>
                      <a:pt x="484" y="381"/>
                    </a:lnTo>
                    <a:lnTo>
                      <a:pt x="482" y="382"/>
                    </a:lnTo>
                    <a:lnTo>
                      <a:pt x="482" y="384"/>
                    </a:lnTo>
                    <a:lnTo>
                      <a:pt x="481" y="384"/>
                    </a:lnTo>
                    <a:lnTo>
                      <a:pt x="481" y="386"/>
                    </a:lnTo>
                    <a:lnTo>
                      <a:pt x="479" y="386"/>
                    </a:lnTo>
                    <a:lnTo>
                      <a:pt x="479" y="388"/>
                    </a:lnTo>
                    <a:lnTo>
                      <a:pt x="477" y="388"/>
                    </a:lnTo>
                    <a:lnTo>
                      <a:pt x="476" y="388"/>
                    </a:lnTo>
                    <a:lnTo>
                      <a:pt x="474" y="388"/>
                    </a:lnTo>
                    <a:lnTo>
                      <a:pt x="472" y="388"/>
                    </a:lnTo>
                    <a:lnTo>
                      <a:pt x="472" y="389"/>
                    </a:lnTo>
                    <a:lnTo>
                      <a:pt x="471" y="389"/>
                    </a:lnTo>
                    <a:lnTo>
                      <a:pt x="471" y="391"/>
                    </a:lnTo>
                    <a:lnTo>
                      <a:pt x="469" y="391"/>
                    </a:lnTo>
                    <a:lnTo>
                      <a:pt x="469" y="393"/>
                    </a:lnTo>
                    <a:lnTo>
                      <a:pt x="467" y="394"/>
                    </a:lnTo>
                    <a:lnTo>
                      <a:pt x="467" y="396"/>
                    </a:lnTo>
                    <a:lnTo>
                      <a:pt x="465" y="396"/>
                    </a:lnTo>
                    <a:lnTo>
                      <a:pt x="465" y="394"/>
                    </a:lnTo>
                    <a:lnTo>
                      <a:pt x="464" y="394"/>
                    </a:lnTo>
                    <a:lnTo>
                      <a:pt x="464" y="393"/>
                    </a:lnTo>
                    <a:lnTo>
                      <a:pt x="462" y="393"/>
                    </a:lnTo>
                    <a:lnTo>
                      <a:pt x="460" y="393"/>
                    </a:lnTo>
                    <a:lnTo>
                      <a:pt x="460" y="391"/>
                    </a:lnTo>
                    <a:lnTo>
                      <a:pt x="459" y="391"/>
                    </a:lnTo>
                    <a:lnTo>
                      <a:pt x="459" y="389"/>
                    </a:lnTo>
                    <a:lnTo>
                      <a:pt x="459" y="391"/>
                    </a:lnTo>
                    <a:lnTo>
                      <a:pt x="457" y="391"/>
                    </a:lnTo>
                    <a:lnTo>
                      <a:pt x="457" y="389"/>
                    </a:lnTo>
                    <a:lnTo>
                      <a:pt x="457" y="388"/>
                    </a:lnTo>
                    <a:lnTo>
                      <a:pt x="457" y="389"/>
                    </a:lnTo>
                    <a:lnTo>
                      <a:pt x="457" y="391"/>
                    </a:lnTo>
                    <a:lnTo>
                      <a:pt x="455" y="391"/>
                    </a:lnTo>
                    <a:lnTo>
                      <a:pt x="455" y="393"/>
                    </a:lnTo>
                    <a:lnTo>
                      <a:pt x="455" y="394"/>
                    </a:lnTo>
                    <a:lnTo>
                      <a:pt x="454" y="394"/>
                    </a:lnTo>
                    <a:lnTo>
                      <a:pt x="455" y="394"/>
                    </a:lnTo>
                    <a:lnTo>
                      <a:pt x="454" y="394"/>
                    </a:lnTo>
                    <a:lnTo>
                      <a:pt x="455" y="396"/>
                    </a:lnTo>
                    <a:lnTo>
                      <a:pt x="455" y="394"/>
                    </a:lnTo>
                    <a:lnTo>
                      <a:pt x="455" y="396"/>
                    </a:lnTo>
                    <a:lnTo>
                      <a:pt x="455" y="394"/>
                    </a:lnTo>
                    <a:lnTo>
                      <a:pt x="455" y="396"/>
                    </a:lnTo>
                    <a:lnTo>
                      <a:pt x="455" y="398"/>
                    </a:lnTo>
                    <a:lnTo>
                      <a:pt x="455" y="396"/>
                    </a:lnTo>
                    <a:lnTo>
                      <a:pt x="457" y="398"/>
                    </a:lnTo>
                    <a:lnTo>
                      <a:pt x="457" y="396"/>
                    </a:lnTo>
                    <a:lnTo>
                      <a:pt x="457" y="398"/>
                    </a:lnTo>
                    <a:lnTo>
                      <a:pt x="459" y="398"/>
                    </a:lnTo>
                    <a:lnTo>
                      <a:pt x="445" y="398"/>
                    </a:lnTo>
                    <a:lnTo>
                      <a:pt x="435" y="398"/>
                    </a:lnTo>
                    <a:lnTo>
                      <a:pt x="430" y="398"/>
                    </a:lnTo>
                    <a:lnTo>
                      <a:pt x="425" y="398"/>
                    </a:lnTo>
                    <a:lnTo>
                      <a:pt x="420" y="398"/>
                    </a:lnTo>
                    <a:lnTo>
                      <a:pt x="416" y="398"/>
                    </a:lnTo>
                    <a:lnTo>
                      <a:pt x="414" y="398"/>
                    </a:lnTo>
                    <a:lnTo>
                      <a:pt x="413" y="398"/>
                    </a:lnTo>
                    <a:lnTo>
                      <a:pt x="413" y="396"/>
                    </a:lnTo>
                    <a:lnTo>
                      <a:pt x="411" y="398"/>
                    </a:lnTo>
                    <a:lnTo>
                      <a:pt x="409" y="398"/>
                    </a:lnTo>
                    <a:lnTo>
                      <a:pt x="409" y="399"/>
                    </a:lnTo>
                    <a:lnTo>
                      <a:pt x="408" y="398"/>
                    </a:lnTo>
                    <a:lnTo>
                      <a:pt x="408" y="399"/>
                    </a:lnTo>
                    <a:lnTo>
                      <a:pt x="408" y="398"/>
                    </a:lnTo>
                    <a:lnTo>
                      <a:pt x="408" y="399"/>
                    </a:lnTo>
                    <a:lnTo>
                      <a:pt x="408" y="398"/>
                    </a:lnTo>
                    <a:lnTo>
                      <a:pt x="406" y="398"/>
                    </a:lnTo>
                    <a:lnTo>
                      <a:pt x="404" y="398"/>
                    </a:lnTo>
                    <a:lnTo>
                      <a:pt x="404" y="399"/>
                    </a:lnTo>
                    <a:lnTo>
                      <a:pt x="403" y="399"/>
                    </a:lnTo>
                    <a:lnTo>
                      <a:pt x="401" y="399"/>
                    </a:lnTo>
                    <a:lnTo>
                      <a:pt x="401" y="401"/>
                    </a:lnTo>
                    <a:lnTo>
                      <a:pt x="401" y="405"/>
                    </a:lnTo>
                    <a:lnTo>
                      <a:pt x="401" y="408"/>
                    </a:lnTo>
                    <a:lnTo>
                      <a:pt x="401" y="411"/>
                    </a:lnTo>
                    <a:lnTo>
                      <a:pt x="401" y="413"/>
                    </a:lnTo>
                    <a:lnTo>
                      <a:pt x="401" y="415"/>
                    </a:lnTo>
                    <a:lnTo>
                      <a:pt x="401" y="418"/>
                    </a:lnTo>
                    <a:lnTo>
                      <a:pt x="401" y="420"/>
                    </a:lnTo>
                    <a:lnTo>
                      <a:pt x="403" y="420"/>
                    </a:lnTo>
                    <a:lnTo>
                      <a:pt x="403" y="422"/>
                    </a:lnTo>
                    <a:lnTo>
                      <a:pt x="403" y="420"/>
                    </a:lnTo>
                    <a:lnTo>
                      <a:pt x="404" y="420"/>
                    </a:lnTo>
                    <a:lnTo>
                      <a:pt x="406" y="420"/>
                    </a:lnTo>
                    <a:lnTo>
                      <a:pt x="408" y="420"/>
                    </a:lnTo>
                    <a:lnTo>
                      <a:pt x="409" y="420"/>
                    </a:lnTo>
                    <a:lnTo>
                      <a:pt x="411" y="420"/>
                    </a:lnTo>
                    <a:lnTo>
                      <a:pt x="413" y="420"/>
                    </a:lnTo>
                    <a:lnTo>
                      <a:pt x="414" y="420"/>
                    </a:lnTo>
                    <a:lnTo>
                      <a:pt x="416" y="422"/>
                    </a:lnTo>
                    <a:lnTo>
                      <a:pt x="418" y="420"/>
                    </a:lnTo>
                    <a:lnTo>
                      <a:pt x="420" y="420"/>
                    </a:lnTo>
                    <a:lnTo>
                      <a:pt x="420" y="422"/>
                    </a:lnTo>
                    <a:lnTo>
                      <a:pt x="421" y="422"/>
                    </a:lnTo>
                    <a:lnTo>
                      <a:pt x="423" y="422"/>
                    </a:lnTo>
                    <a:lnTo>
                      <a:pt x="423" y="423"/>
                    </a:lnTo>
                    <a:lnTo>
                      <a:pt x="423" y="425"/>
                    </a:lnTo>
                    <a:lnTo>
                      <a:pt x="425" y="425"/>
                    </a:lnTo>
                    <a:lnTo>
                      <a:pt x="423" y="425"/>
                    </a:lnTo>
                    <a:lnTo>
                      <a:pt x="423" y="427"/>
                    </a:lnTo>
                    <a:lnTo>
                      <a:pt x="425" y="427"/>
                    </a:lnTo>
                    <a:lnTo>
                      <a:pt x="425" y="428"/>
                    </a:lnTo>
                    <a:lnTo>
                      <a:pt x="425" y="430"/>
                    </a:lnTo>
                    <a:lnTo>
                      <a:pt x="425" y="432"/>
                    </a:lnTo>
                    <a:lnTo>
                      <a:pt x="423" y="432"/>
                    </a:lnTo>
                    <a:lnTo>
                      <a:pt x="425" y="433"/>
                    </a:lnTo>
                    <a:lnTo>
                      <a:pt x="426" y="433"/>
                    </a:lnTo>
                    <a:lnTo>
                      <a:pt x="426" y="435"/>
                    </a:lnTo>
                    <a:lnTo>
                      <a:pt x="425" y="435"/>
                    </a:lnTo>
                    <a:lnTo>
                      <a:pt x="423" y="435"/>
                    </a:lnTo>
                    <a:lnTo>
                      <a:pt x="423" y="437"/>
                    </a:lnTo>
                    <a:lnTo>
                      <a:pt x="421" y="437"/>
                    </a:lnTo>
                    <a:lnTo>
                      <a:pt x="420" y="437"/>
                    </a:lnTo>
                    <a:lnTo>
                      <a:pt x="420" y="435"/>
                    </a:lnTo>
                    <a:lnTo>
                      <a:pt x="418" y="435"/>
                    </a:lnTo>
                    <a:lnTo>
                      <a:pt x="418" y="437"/>
                    </a:lnTo>
                    <a:lnTo>
                      <a:pt x="418" y="435"/>
                    </a:lnTo>
                    <a:lnTo>
                      <a:pt x="416" y="435"/>
                    </a:lnTo>
                    <a:lnTo>
                      <a:pt x="416" y="433"/>
                    </a:lnTo>
                    <a:lnTo>
                      <a:pt x="414" y="432"/>
                    </a:lnTo>
                    <a:lnTo>
                      <a:pt x="413" y="432"/>
                    </a:lnTo>
                    <a:lnTo>
                      <a:pt x="413" y="433"/>
                    </a:lnTo>
                    <a:lnTo>
                      <a:pt x="411" y="433"/>
                    </a:lnTo>
                    <a:lnTo>
                      <a:pt x="411" y="435"/>
                    </a:lnTo>
                    <a:lnTo>
                      <a:pt x="409" y="435"/>
                    </a:lnTo>
                    <a:lnTo>
                      <a:pt x="409" y="437"/>
                    </a:lnTo>
                    <a:lnTo>
                      <a:pt x="409" y="435"/>
                    </a:lnTo>
                    <a:lnTo>
                      <a:pt x="408" y="435"/>
                    </a:lnTo>
                    <a:lnTo>
                      <a:pt x="408" y="433"/>
                    </a:lnTo>
                    <a:lnTo>
                      <a:pt x="406" y="435"/>
                    </a:lnTo>
                    <a:lnTo>
                      <a:pt x="406" y="437"/>
                    </a:lnTo>
                    <a:lnTo>
                      <a:pt x="404" y="435"/>
                    </a:lnTo>
                    <a:lnTo>
                      <a:pt x="404" y="437"/>
                    </a:lnTo>
                    <a:lnTo>
                      <a:pt x="403" y="437"/>
                    </a:lnTo>
                    <a:lnTo>
                      <a:pt x="401" y="437"/>
                    </a:lnTo>
                    <a:lnTo>
                      <a:pt x="399" y="437"/>
                    </a:lnTo>
                    <a:lnTo>
                      <a:pt x="399" y="439"/>
                    </a:lnTo>
                    <a:lnTo>
                      <a:pt x="397" y="439"/>
                    </a:lnTo>
                    <a:lnTo>
                      <a:pt x="397" y="437"/>
                    </a:lnTo>
                    <a:lnTo>
                      <a:pt x="396" y="437"/>
                    </a:lnTo>
                    <a:lnTo>
                      <a:pt x="396" y="439"/>
                    </a:lnTo>
                    <a:lnTo>
                      <a:pt x="394" y="439"/>
                    </a:lnTo>
                    <a:lnTo>
                      <a:pt x="394" y="440"/>
                    </a:lnTo>
                    <a:lnTo>
                      <a:pt x="394" y="444"/>
                    </a:lnTo>
                    <a:lnTo>
                      <a:pt x="394" y="445"/>
                    </a:lnTo>
                    <a:lnTo>
                      <a:pt x="394" y="447"/>
                    </a:lnTo>
                    <a:lnTo>
                      <a:pt x="394" y="449"/>
                    </a:lnTo>
                    <a:lnTo>
                      <a:pt x="394" y="451"/>
                    </a:lnTo>
                    <a:lnTo>
                      <a:pt x="394" y="454"/>
                    </a:lnTo>
                    <a:lnTo>
                      <a:pt x="394" y="457"/>
                    </a:lnTo>
                    <a:lnTo>
                      <a:pt x="394" y="461"/>
                    </a:lnTo>
                    <a:lnTo>
                      <a:pt x="396" y="461"/>
                    </a:lnTo>
                    <a:lnTo>
                      <a:pt x="396" y="462"/>
                    </a:lnTo>
                    <a:lnTo>
                      <a:pt x="396" y="464"/>
                    </a:lnTo>
                    <a:lnTo>
                      <a:pt x="397" y="466"/>
                    </a:lnTo>
                    <a:lnTo>
                      <a:pt x="397" y="468"/>
                    </a:lnTo>
                    <a:lnTo>
                      <a:pt x="399" y="468"/>
                    </a:lnTo>
                    <a:lnTo>
                      <a:pt x="399" y="469"/>
                    </a:lnTo>
                    <a:lnTo>
                      <a:pt x="401" y="468"/>
                    </a:lnTo>
                    <a:lnTo>
                      <a:pt x="403" y="469"/>
                    </a:lnTo>
                    <a:lnTo>
                      <a:pt x="403" y="471"/>
                    </a:lnTo>
                    <a:lnTo>
                      <a:pt x="404" y="471"/>
                    </a:lnTo>
                    <a:lnTo>
                      <a:pt x="406" y="473"/>
                    </a:lnTo>
                    <a:lnTo>
                      <a:pt x="408" y="473"/>
                    </a:lnTo>
                    <a:lnTo>
                      <a:pt x="408" y="474"/>
                    </a:lnTo>
                    <a:lnTo>
                      <a:pt x="409" y="473"/>
                    </a:lnTo>
                    <a:lnTo>
                      <a:pt x="409" y="474"/>
                    </a:lnTo>
                    <a:lnTo>
                      <a:pt x="409" y="476"/>
                    </a:lnTo>
                    <a:lnTo>
                      <a:pt x="409" y="478"/>
                    </a:lnTo>
                    <a:lnTo>
                      <a:pt x="411" y="478"/>
                    </a:lnTo>
                    <a:lnTo>
                      <a:pt x="411" y="479"/>
                    </a:lnTo>
                    <a:lnTo>
                      <a:pt x="409" y="479"/>
                    </a:lnTo>
                    <a:lnTo>
                      <a:pt x="409" y="481"/>
                    </a:lnTo>
                    <a:lnTo>
                      <a:pt x="409" y="483"/>
                    </a:lnTo>
                    <a:lnTo>
                      <a:pt x="411" y="483"/>
                    </a:lnTo>
                    <a:lnTo>
                      <a:pt x="409" y="483"/>
                    </a:lnTo>
                    <a:lnTo>
                      <a:pt x="411" y="485"/>
                    </a:lnTo>
                    <a:lnTo>
                      <a:pt x="411" y="486"/>
                    </a:lnTo>
                    <a:lnTo>
                      <a:pt x="413" y="486"/>
                    </a:lnTo>
                    <a:lnTo>
                      <a:pt x="413" y="488"/>
                    </a:lnTo>
                    <a:lnTo>
                      <a:pt x="413" y="490"/>
                    </a:lnTo>
                    <a:lnTo>
                      <a:pt x="413" y="488"/>
                    </a:lnTo>
                    <a:lnTo>
                      <a:pt x="414" y="490"/>
                    </a:lnTo>
                    <a:lnTo>
                      <a:pt x="416" y="491"/>
                    </a:lnTo>
                    <a:lnTo>
                      <a:pt x="414" y="491"/>
                    </a:lnTo>
                    <a:lnTo>
                      <a:pt x="416" y="491"/>
                    </a:lnTo>
                    <a:lnTo>
                      <a:pt x="416" y="493"/>
                    </a:lnTo>
                    <a:lnTo>
                      <a:pt x="416" y="495"/>
                    </a:lnTo>
                    <a:lnTo>
                      <a:pt x="416" y="496"/>
                    </a:lnTo>
                    <a:lnTo>
                      <a:pt x="416" y="498"/>
                    </a:lnTo>
                    <a:lnTo>
                      <a:pt x="416" y="500"/>
                    </a:lnTo>
                    <a:lnTo>
                      <a:pt x="416" y="502"/>
                    </a:lnTo>
                    <a:lnTo>
                      <a:pt x="416" y="503"/>
                    </a:lnTo>
                    <a:lnTo>
                      <a:pt x="414" y="505"/>
                    </a:lnTo>
                    <a:lnTo>
                      <a:pt x="416" y="505"/>
                    </a:lnTo>
                    <a:lnTo>
                      <a:pt x="416" y="507"/>
                    </a:lnTo>
                    <a:lnTo>
                      <a:pt x="414" y="507"/>
                    </a:lnTo>
                    <a:lnTo>
                      <a:pt x="414" y="508"/>
                    </a:lnTo>
                    <a:lnTo>
                      <a:pt x="413" y="517"/>
                    </a:lnTo>
                    <a:lnTo>
                      <a:pt x="413" y="524"/>
                    </a:lnTo>
                    <a:lnTo>
                      <a:pt x="411" y="529"/>
                    </a:lnTo>
                    <a:lnTo>
                      <a:pt x="409" y="534"/>
                    </a:lnTo>
                    <a:lnTo>
                      <a:pt x="409" y="539"/>
                    </a:lnTo>
                    <a:lnTo>
                      <a:pt x="406" y="554"/>
                    </a:lnTo>
                    <a:lnTo>
                      <a:pt x="406" y="558"/>
                    </a:lnTo>
                    <a:lnTo>
                      <a:pt x="403" y="581"/>
                    </a:lnTo>
                    <a:lnTo>
                      <a:pt x="401" y="590"/>
                    </a:lnTo>
                    <a:lnTo>
                      <a:pt x="399" y="600"/>
                    </a:lnTo>
                    <a:lnTo>
                      <a:pt x="397" y="600"/>
                    </a:lnTo>
                    <a:lnTo>
                      <a:pt x="397" y="598"/>
                    </a:lnTo>
                    <a:lnTo>
                      <a:pt x="396" y="598"/>
                    </a:lnTo>
                    <a:lnTo>
                      <a:pt x="396" y="597"/>
                    </a:lnTo>
                    <a:lnTo>
                      <a:pt x="394" y="597"/>
                    </a:lnTo>
                    <a:lnTo>
                      <a:pt x="394" y="595"/>
                    </a:lnTo>
                    <a:lnTo>
                      <a:pt x="392" y="593"/>
                    </a:lnTo>
                    <a:lnTo>
                      <a:pt x="391" y="593"/>
                    </a:lnTo>
                    <a:lnTo>
                      <a:pt x="391" y="592"/>
                    </a:lnTo>
                    <a:lnTo>
                      <a:pt x="391" y="590"/>
                    </a:lnTo>
                    <a:lnTo>
                      <a:pt x="389" y="590"/>
                    </a:lnTo>
                    <a:lnTo>
                      <a:pt x="389" y="588"/>
                    </a:lnTo>
                    <a:lnTo>
                      <a:pt x="387" y="588"/>
                    </a:lnTo>
                    <a:lnTo>
                      <a:pt x="387" y="587"/>
                    </a:lnTo>
                    <a:lnTo>
                      <a:pt x="386" y="587"/>
                    </a:lnTo>
                    <a:lnTo>
                      <a:pt x="386" y="585"/>
                    </a:lnTo>
                    <a:lnTo>
                      <a:pt x="384" y="585"/>
                    </a:lnTo>
                    <a:lnTo>
                      <a:pt x="384" y="587"/>
                    </a:lnTo>
                    <a:lnTo>
                      <a:pt x="382" y="587"/>
                    </a:lnTo>
                    <a:lnTo>
                      <a:pt x="380" y="587"/>
                    </a:lnTo>
                    <a:lnTo>
                      <a:pt x="380" y="588"/>
                    </a:lnTo>
                    <a:lnTo>
                      <a:pt x="379" y="588"/>
                    </a:lnTo>
                    <a:lnTo>
                      <a:pt x="377" y="587"/>
                    </a:lnTo>
                    <a:lnTo>
                      <a:pt x="375" y="587"/>
                    </a:lnTo>
                    <a:lnTo>
                      <a:pt x="374" y="587"/>
                    </a:lnTo>
                    <a:lnTo>
                      <a:pt x="374" y="585"/>
                    </a:lnTo>
                    <a:lnTo>
                      <a:pt x="372" y="585"/>
                    </a:lnTo>
                    <a:lnTo>
                      <a:pt x="374" y="581"/>
                    </a:lnTo>
                    <a:lnTo>
                      <a:pt x="375" y="581"/>
                    </a:lnTo>
                    <a:lnTo>
                      <a:pt x="377" y="576"/>
                    </a:lnTo>
                    <a:lnTo>
                      <a:pt x="379" y="573"/>
                    </a:lnTo>
                    <a:lnTo>
                      <a:pt x="380" y="573"/>
                    </a:lnTo>
                    <a:lnTo>
                      <a:pt x="382" y="570"/>
                    </a:lnTo>
                    <a:lnTo>
                      <a:pt x="384" y="566"/>
                    </a:lnTo>
                    <a:lnTo>
                      <a:pt x="386" y="564"/>
                    </a:lnTo>
                    <a:lnTo>
                      <a:pt x="386" y="563"/>
                    </a:lnTo>
                    <a:lnTo>
                      <a:pt x="387" y="561"/>
                    </a:lnTo>
                    <a:lnTo>
                      <a:pt x="391" y="556"/>
                    </a:lnTo>
                    <a:lnTo>
                      <a:pt x="392" y="554"/>
                    </a:lnTo>
                    <a:lnTo>
                      <a:pt x="394" y="551"/>
                    </a:lnTo>
                    <a:lnTo>
                      <a:pt x="394" y="549"/>
                    </a:lnTo>
                    <a:lnTo>
                      <a:pt x="394" y="547"/>
                    </a:lnTo>
                    <a:lnTo>
                      <a:pt x="394" y="546"/>
                    </a:lnTo>
                    <a:lnTo>
                      <a:pt x="392" y="547"/>
                    </a:lnTo>
                    <a:lnTo>
                      <a:pt x="391" y="547"/>
                    </a:lnTo>
                    <a:lnTo>
                      <a:pt x="391" y="546"/>
                    </a:lnTo>
                    <a:lnTo>
                      <a:pt x="389" y="546"/>
                    </a:lnTo>
                    <a:lnTo>
                      <a:pt x="389" y="547"/>
                    </a:lnTo>
                    <a:lnTo>
                      <a:pt x="389" y="546"/>
                    </a:lnTo>
                    <a:lnTo>
                      <a:pt x="389" y="544"/>
                    </a:lnTo>
                    <a:lnTo>
                      <a:pt x="387" y="542"/>
                    </a:lnTo>
                    <a:lnTo>
                      <a:pt x="386" y="544"/>
                    </a:lnTo>
                    <a:lnTo>
                      <a:pt x="384" y="544"/>
                    </a:lnTo>
                    <a:lnTo>
                      <a:pt x="384" y="542"/>
                    </a:lnTo>
                    <a:lnTo>
                      <a:pt x="386" y="542"/>
                    </a:lnTo>
                    <a:lnTo>
                      <a:pt x="386" y="541"/>
                    </a:lnTo>
                    <a:lnTo>
                      <a:pt x="384" y="541"/>
                    </a:lnTo>
                    <a:lnTo>
                      <a:pt x="382" y="542"/>
                    </a:lnTo>
                    <a:lnTo>
                      <a:pt x="380" y="542"/>
                    </a:lnTo>
                    <a:lnTo>
                      <a:pt x="380" y="541"/>
                    </a:lnTo>
                    <a:lnTo>
                      <a:pt x="380" y="539"/>
                    </a:lnTo>
                    <a:lnTo>
                      <a:pt x="380" y="541"/>
                    </a:lnTo>
                    <a:lnTo>
                      <a:pt x="379" y="541"/>
                    </a:lnTo>
                    <a:lnTo>
                      <a:pt x="379" y="539"/>
                    </a:lnTo>
                    <a:lnTo>
                      <a:pt x="377" y="539"/>
                    </a:lnTo>
                    <a:lnTo>
                      <a:pt x="377" y="541"/>
                    </a:lnTo>
                    <a:lnTo>
                      <a:pt x="375" y="541"/>
                    </a:lnTo>
                    <a:lnTo>
                      <a:pt x="375" y="539"/>
                    </a:lnTo>
                    <a:lnTo>
                      <a:pt x="375" y="537"/>
                    </a:lnTo>
                    <a:lnTo>
                      <a:pt x="374" y="539"/>
                    </a:lnTo>
                    <a:lnTo>
                      <a:pt x="374" y="537"/>
                    </a:lnTo>
                    <a:lnTo>
                      <a:pt x="374" y="536"/>
                    </a:lnTo>
                    <a:lnTo>
                      <a:pt x="372" y="536"/>
                    </a:lnTo>
                    <a:lnTo>
                      <a:pt x="370" y="536"/>
                    </a:lnTo>
                    <a:lnTo>
                      <a:pt x="370" y="534"/>
                    </a:lnTo>
                    <a:lnTo>
                      <a:pt x="369" y="534"/>
                    </a:lnTo>
                    <a:lnTo>
                      <a:pt x="367" y="534"/>
                    </a:lnTo>
                    <a:lnTo>
                      <a:pt x="367" y="532"/>
                    </a:lnTo>
                    <a:lnTo>
                      <a:pt x="365" y="532"/>
                    </a:lnTo>
                    <a:lnTo>
                      <a:pt x="363" y="532"/>
                    </a:lnTo>
                    <a:lnTo>
                      <a:pt x="362" y="532"/>
                    </a:lnTo>
                    <a:lnTo>
                      <a:pt x="362" y="534"/>
                    </a:lnTo>
                    <a:lnTo>
                      <a:pt x="363" y="534"/>
                    </a:lnTo>
                    <a:lnTo>
                      <a:pt x="362" y="534"/>
                    </a:lnTo>
                    <a:lnTo>
                      <a:pt x="360" y="534"/>
                    </a:lnTo>
                    <a:lnTo>
                      <a:pt x="358" y="534"/>
                    </a:lnTo>
                    <a:lnTo>
                      <a:pt x="358" y="536"/>
                    </a:lnTo>
                    <a:lnTo>
                      <a:pt x="357" y="536"/>
                    </a:lnTo>
                    <a:lnTo>
                      <a:pt x="357" y="537"/>
                    </a:lnTo>
                    <a:lnTo>
                      <a:pt x="355" y="537"/>
                    </a:lnTo>
                    <a:lnTo>
                      <a:pt x="355" y="536"/>
                    </a:lnTo>
                    <a:lnTo>
                      <a:pt x="353" y="536"/>
                    </a:lnTo>
                    <a:lnTo>
                      <a:pt x="353" y="537"/>
                    </a:lnTo>
                    <a:lnTo>
                      <a:pt x="353" y="536"/>
                    </a:lnTo>
                    <a:lnTo>
                      <a:pt x="352" y="536"/>
                    </a:lnTo>
                    <a:lnTo>
                      <a:pt x="352" y="537"/>
                    </a:lnTo>
                    <a:lnTo>
                      <a:pt x="350" y="537"/>
                    </a:lnTo>
                    <a:lnTo>
                      <a:pt x="350" y="539"/>
                    </a:lnTo>
                    <a:lnTo>
                      <a:pt x="348" y="537"/>
                    </a:lnTo>
                    <a:lnTo>
                      <a:pt x="350" y="537"/>
                    </a:lnTo>
                    <a:lnTo>
                      <a:pt x="350" y="536"/>
                    </a:lnTo>
                    <a:lnTo>
                      <a:pt x="348" y="536"/>
                    </a:lnTo>
                    <a:lnTo>
                      <a:pt x="348" y="534"/>
                    </a:lnTo>
                    <a:lnTo>
                      <a:pt x="346" y="534"/>
                    </a:lnTo>
                    <a:lnTo>
                      <a:pt x="346" y="536"/>
                    </a:lnTo>
                    <a:lnTo>
                      <a:pt x="345" y="536"/>
                    </a:lnTo>
                    <a:lnTo>
                      <a:pt x="345" y="534"/>
                    </a:lnTo>
                    <a:lnTo>
                      <a:pt x="345" y="532"/>
                    </a:lnTo>
                    <a:lnTo>
                      <a:pt x="343" y="532"/>
                    </a:lnTo>
                    <a:lnTo>
                      <a:pt x="341" y="532"/>
                    </a:lnTo>
                    <a:lnTo>
                      <a:pt x="341" y="530"/>
                    </a:lnTo>
                    <a:lnTo>
                      <a:pt x="340" y="530"/>
                    </a:lnTo>
                    <a:lnTo>
                      <a:pt x="340" y="532"/>
                    </a:lnTo>
                    <a:lnTo>
                      <a:pt x="338" y="532"/>
                    </a:lnTo>
                    <a:lnTo>
                      <a:pt x="338" y="530"/>
                    </a:lnTo>
                    <a:lnTo>
                      <a:pt x="338" y="529"/>
                    </a:lnTo>
                    <a:lnTo>
                      <a:pt x="336" y="530"/>
                    </a:lnTo>
                    <a:lnTo>
                      <a:pt x="335" y="532"/>
                    </a:lnTo>
                    <a:lnTo>
                      <a:pt x="335" y="530"/>
                    </a:lnTo>
                    <a:lnTo>
                      <a:pt x="335" y="532"/>
                    </a:lnTo>
                    <a:lnTo>
                      <a:pt x="333" y="532"/>
                    </a:lnTo>
                    <a:lnTo>
                      <a:pt x="333" y="534"/>
                    </a:lnTo>
                    <a:lnTo>
                      <a:pt x="333" y="536"/>
                    </a:lnTo>
                    <a:lnTo>
                      <a:pt x="331" y="536"/>
                    </a:lnTo>
                    <a:lnTo>
                      <a:pt x="331" y="537"/>
                    </a:lnTo>
                    <a:lnTo>
                      <a:pt x="329" y="537"/>
                    </a:lnTo>
                    <a:lnTo>
                      <a:pt x="328" y="537"/>
                    </a:lnTo>
                    <a:lnTo>
                      <a:pt x="328" y="536"/>
                    </a:lnTo>
                    <a:lnTo>
                      <a:pt x="326" y="536"/>
                    </a:lnTo>
                    <a:lnTo>
                      <a:pt x="326" y="537"/>
                    </a:lnTo>
                    <a:lnTo>
                      <a:pt x="324" y="537"/>
                    </a:lnTo>
                    <a:lnTo>
                      <a:pt x="324" y="539"/>
                    </a:lnTo>
                    <a:lnTo>
                      <a:pt x="324" y="541"/>
                    </a:lnTo>
                    <a:lnTo>
                      <a:pt x="323" y="541"/>
                    </a:lnTo>
                    <a:lnTo>
                      <a:pt x="323" y="539"/>
                    </a:lnTo>
                    <a:lnTo>
                      <a:pt x="321" y="539"/>
                    </a:lnTo>
                    <a:lnTo>
                      <a:pt x="319" y="539"/>
                    </a:lnTo>
                    <a:lnTo>
                      <a:pt x="319" y="541"/>
                    </a:lnTo>
                    <a:lnTo>
                      <a:pt x="319" y="539"/>
                    </a:lnTo>
                    <a:lnTo>
                      <a:pt x="319" y="541"/>
                    </a:lnTo>
                    <a:lnTo>
                      <a:pt x="318" y="541"/>
                    </a:lnTo>
                    <a:lnTo>
                      <a:pt x="316" y="541"/>
                    </a:lnTo>
                    <a:lnTo>
                      <a:pt x="316" y="539"/>
                    </a:lnTo>
                    <a:lnTo>
                      <a:pt x="314" y="539"/>
                    </a:lnTo>
                    <a:lnTo>
                      <a:pt x="312" y="539"/>
                    </a:lnTo>
                    <a:lnTo>
                      <a:pt x="311" y="539"/>
                    </a:lnTo>
                    <a:lnTo>
                      <a:pt x="311" y="537"/>
                    </a:lnTo>
                    <a:lnTo>
                      <a:pt x="309" y="537"/>
                    </a:lnTo>
                    <a:lnTo>
                      <a:pt x="307" y="537"/>
                    </a:lnTo>
                    <a:lnTo>
                      <a:pt x="307" y="539"/>
                    </a:lnTo>
                    <a:lnTo>
                      <a:pt x="306" y="539"/>
                    </a:lnTo>
                    <a:lnTo>
                      <a:pt x="304" y="537"/>
                    </a:lnTo>
                    <a:lnTo>
                      <a:pt x="304" y="539"/>
                    </a:lnTo>
                    <a:lnTo>
                      <a:pt x="304" y="537"/>
                    </a:lnTo>
                    <a:lnTo>
                      <a:pt x="302" y="537"/>
                    </a:lnTo>
                    <a:lnTo>
                      <a:pt x="302" y="539"/>
                    </a:lnTo>
                    <a:lnTo>
                      <a:pt x="301" y="539"/>
                    </a:lnTo>
                    <a:lnTo>
                      <a:pt x="299" y="539"/>
                    </a:lnTo>
                    <a:lnTo>
                      <a:pt x="297" y="539"/>
                    </a:lnTo>
                    <a:lnTo>
                      <a:pt x="297" y="537"/>
                    </a:lnTo>
                    <a:lnTo>
                      <a:pt x="295" y="537"/>
                    </a:lnTo>
                    <a:lnTo>
                      <a:pt x="295" y="536"/>
                    </a:lnTo>
                    <a:lnTo>
                      <a:pt x="295" y="537"/>
                    </a:lnTo>
                    <a:lnTo>
                      <a:pt x="294" y="536"/>
                    </a:lnTo>
                    <a:lnTo>
                      <a:pt x="292" y="537"/>
                    </a:lnTo>
                    <a:lnTo>
                      <a:pt x="292" y="536"/>
                    </a:lnTo>
                    <a:lnTo>
                      <a:pt x="290" y="536"/>
                    </a:lnTo>
                    <a:lnTo>
                      <a:pt x="290" y="534"/>
                    </a:lnTo>
                    <a:lnTo>
                      <a:pt x="289" y="532"/>
                    </a:lnTo>
                    <a:lnTo>
                      <a:pt x="289" y="530"/>
                    </a:lnTo>
                    <a:lnTo>
                      <a:pt x="290" y="530"/>
                    </a:lnTo>
                    <a:lnTo>
                      <a:pt x="290" y="529"/>
                    </a:lnTo>
                    <a:lnTo>
                      <a:pt x="292" y="529"/>
                    </a:lnTo>
                    <a:lnTo>
                      <a:pt x="292" y="527"/>
                    </a:lnTo>
                    <a:lnTo>
                      <a:pt x="292" y="525"/>
                    </a:lnTo>
                    <a:lnTo>
                      <a:pt x="290" y="525"/>
                    </a:lnTo>
                    <a:lnTo>
                      <a:pt x="290" y="524"/>
                    </a:lnTo>
                    <a:lnTo>
                      <a:pt x="290" y="522"/>
                    </a:lnTo>
                    <a:lnTo>
                      <a:pt x="292" y="520"/>
                    </a:lnTo>
                    <a:lnTo>
                      <a:pt x="290" y="520"/>
                    </a:lnTo>
                    <a:lnTo>
                      <a:pt x="290" y="519"/>
                    </a:lnTo>
                    <a:lnTo>
                      <a:pt x="289" y="517"/>
                    </a:lnTo>
                    <a:lnTo>
                      <a:pt x="287" y="515"/>
                    </a:lnTo>
                    <a:lnTo>
                      <a:pt x="287" y="517"/>
                    </a:lnTo>
                    <a:lnTo>
                      <a:pt x="287" y="519"/>
                    </a:lnTo>
                    <a:lnTo>
                      <a:pt x="287" y="517"/>
                    </a:lnTo>
                    <a:lnTo>
                      <a:pt x="285" y="517"/>
                    </a:lnTo>
                    <a:lnTo>
                      <a:pt x="285" y="519"/>
                    </a:lnTo>
                    <a:lnTo>
                      <a:pt x="284" y="519"/>
                    </a:lnTo>
                    <a:lnTo>
                      <a:pt x="284" y="517"/>
                    </a:lnTo>
                    <a:lnTo>
                      <a:pt x="282" y="517"/>
                    </a:lnTo>
                    <a:lnTo>
                      <a:pt x="280" y="517"/>
                    </a:lnTo>
                    <a:lnTo>
                      <a:pt x="280" y="515"/>
                    </a:lnTo>
                    <a:lnTo>
                      <a:pt x="278" y="515"/>
                    </a:lnTo>
                    <a:lnTo>
                      <a:pt x="277" y="515"/>
                    </a:lnTo>
                    <a:lnTo>
                      <a:pt x="277" y="513"/>
                    </a:lnTo>
                    <a:lnTo>
                      <a:pt x="278" y="513"/>
                    </a:lnTo>
                    <a:lnTo>
                      <a:pt x="278" y="512"/>
                    </a:lnTo>
                    <a:lnTo>
                      <a:pt x="278" y="510"/>
                    </a:lnTo>
                    <a:lnTo>
                      <a:pt x="280" y="510"/>
                    </a:lnTo>
                    <a:lnTo>
                      <a:pt x="278" y="510"/>
                    </a:lnTo>
                    <a:lnTo>
                      <a:pt x="278" y="508"/>
                    </a:lnTo>
                    <a:lnTo>
                      <a:pt x="278" y="507"/>
                    </a:lnTo>
                    <a:lnTo>
                      <a:pt x="277" y="507"/>
                    </a:lnTo>
                    <a:lnTo>
                      <a:pt x="277" y="505"/>
                    </a:lnTo>
                    <a:lnTo>
                      <a:pt x="275" y="505"/>
                    </a:lnTo>
                    <a:lnTo>
                      <a:pt x="277" y="505"/>
                    </a:lnTo>
                    <a:lnTo>
                      <a:pt x="277" y="503"/>
                    </a:lnTo>
                    <a:lnTo>
                      <a:pt x="275" y="503"/>
                    </a:lnTo>
                    <a:lnTo>
                      <a:pt x="275" y="502"/>
                    </a:lnTo>
                    <a:lnTo>
                      <a:pt x="273" y="500"/>
                    </a:lnTo>
                    <a:lnTo>
                      <a:pt x="272" y="498"/>
                    </a:lnTo>
                    <a:lnTo>
                      <a:pt x="272" y="500"/>
                    </a:lnTo>
                    <a:lnTo>
                      <a:pt x="270" y="498"/>
                    </a:lnTo>
                    <a:lnTo>
                      <a:pt x="270" y="500"/>
                    </a:lnTo>
                    <a:lnTo>
                      <a:pt x="268" y="500"/>
                    </a:lnTo>
                    <a:lnTo>
                      <a:pt x="268" y="498"/>
                    </a:lnTo>
                    <a:lnTo>
                      <a:pt x="268" y="500"/>
                    </a:lnTo>
                    <a:lnTo>
                      <a:pt x="267" y="498"/>
                    </a:lnTo>
                    <a:lnTo>
                      <a:pt x="265" y="498"/>
                    </a:lnTo>
                    <a:lnTo>
                      <a:pt x="265" y="496"/>
                    </a:lnTo>
                    <a:lnTo>
                      <a:pt x="265" y="495"/>
                    </a:lnTo>
                    <a:lnTo>
                      <a:pt x="263" y="495"/>
                    </a:lnTo>
                    <a:lnTo>
                      <a:pt x="263" y="493"/>
                    </a:lnTo>
                    <a:lnTo>
                      <a:pt x="261" y="493"/>
                    </a:lnTo>
                    <a:lnTo>
                      <a:pt x="261" y="495"/>
                    </a:lnTo>
                    <a:lnTo>
                      <a:pt x="261" y="493"/>
                    </a:lnTo>
                    <a:lnTo>
                      <a:pt x="260" y="493"/>
                    </a:lnTo>
                    <a:lnTo>
                      <a:pt x="260" y="491"/>
                    </a:lnTo>
                    <a:lnTo>
                      <a:pt x="261" y="491"/>
                    </a:lnTo>
                    <a:lnTo>
                      <a:pt x="260" y="491"/>
                    </a:lnTo>
                    <a:lnTo>
                      <a:pt x="260" y="493"/>
                    </a:lnTo>
                    <a:lnTo>
                      <a:pt x="258" y="493"/>
                    </a:lnTo>
                    <a:lnTo>
                      <a:pt x="258" y="491"/>
                    </a:lnTo>
                    <a:lnTo>
                      <a:pt x="256" y="491"/>
                    </a:lnTo>
                    <a:lnTo>
                      <a:pt x="255" y="491"/>
                    </a:lnTo>
                    <a:lnTo>
                      <a:pt x="253" y="491"/>
                    </a:lnTo>
                    <a:lnTo>
                      <a:pt x="253" y="490"/>
                    </a:lnTo>
                    <a:lnTo>
                      <a:pt x="251" y="490"/>
                    </a:lnTo>
                    <a:lnTo>
                      <a:pt x="253" y="490"/>
                    </a:lnTo>
                    <a:lnTo>
                      <a:pt x="253" y="488"/>
                    </a:lnTo>
                    <a:lnTo>
                      <a:pt x="251" y="488"/>
                    </a:lnTo>
                    <a:lnTo>
                      <a:pt x="251" y="486"/>
                    </a:lnTo>
                    <a:lnTo>
                      <a:pt x="251" y="488"/>
                    </a:lnTo>
                    <a:lnTo>
                      <a:pt x="251" y="486"/>
                    </a:lnTo>
                    <a:lnTo>
                      <a:pt x="253" y="486"/>
                    </a:lnTo>
                    <a:lnTo>
                      <a:pt x="251" y="486"/>
                    </a:lnTo>
                    <a:lnTo>
                      <a:pt x="253" y="485"/>
                    </a:lnTo>
                    <a:lnTo>
                      <a:pt x="251" y="485"/>
                    </a:lnTo>
                    <a:lnTo>
                      <a:pt x="251" y="483"/>
                    </a:lnTo>
                    <a:lnTo>
                      <a:pt x="250" y="483"/>
                    </a:lnTo>
                    <a:lnTo>
                      <a:pt x="250" y="481"/>
                    </a:lnTo>
                    <a:lnTo>
                      <a:pt x="248" y="481"/>
                    </a:lnTo>
                    <a:lnTo>
                      <a:pt x="250" y="481"/>
                    </a:lnTo>
                    <a:lnTo>
                      <a:pt x="250" y="479"/>
                    </a:lnTo>
                    <a:lnTo>
                      <a:pt x="248" y="479"/>
                    </a:lnTo>
                    <a:lnTo>
                      <a:pt x="250" y="478"/>
                    </a:lnTo>
                    <a:lnTo>
                      <a:pt x="248" y="478"/>
                    </a:lnTo>
                    <a:lnTo>
                      <a:pt x="248" y="476"/>
                    </a:lnTo>
                    <a:lnTo>
                      <a:pt x="248" y="474"/>
                    </a:lnTo>
                    <a:lnTo>
                      <a:pt x="248" y="476"/>
                    </a:lnTo>
                    <a:lnTo>
                      <a:pt x="246" y="476"/>
                    </a:lnTo>
                    <a:lnTo>
                      <a:pt x="246" y="474"/>
                    </a:lnTo>
                    <a:lnTo>
                      <a:pt x="248" y="474"/>
                    </a:lnTo>
                    <a:lnTo>
                      <a:pt x="246" y="474"/>
                    </a:lnTo>
                    <a:lnTo>
                      <a:pt x="246" y="473"/>
                    </a:lnTo>
                    <a:lnTo>
                      <a:pt x="244" y="473"/>
                    </a:lnTo>
                    <a:lnTo>
                      <a:pt x="243" y="473"/>
                    </a:lnTo>
                    <a:lnTo>
                      <a:pt x="243" y="471"/>
                    </a:lnTo>
                    <a:lnTo>
                      <a:pt x="241" y="469"/>
                    </a:lnTo>
                    <a:lnTo>
                      <a:pt x="239" y="469"/>
                    </a:lnTo>
                    <a:lnTo>
                      <a:pt x="238" y="469"/>
                    </a:lnTo>
                    <a:lnTo>
                      <a:pt x="238" y="468"/>
                    </a:lnTo>
                    <a:lnTo>
                      <a:pt x="238" y="469"/>
                    </a:lnTo>
                    <a:lnTo>
                      <a:pt x="236" y="469"/>
                    </a:lnTo>
                    <a:lnTo>
                      <a:pt x="236" y="468"/>
                    </a:lnTo>
                    <a:lnTo>
                      <a:pt x="236" y="466"/>
                    </a:lnTo>
                    <a:lnTo>
                      <a:pt x="236" y="464"/>
                    </a:lnTo>
                    <a:lnTo>
                      <a:pt x="234" y="464"/>
                    </a:lnTo>
                    <a:lnTo>
                      <a:pt x="234" y="462"/>
                    </a:lnTo>
                    <a:lnTo>
                      <a:pt x="234" y="464"/>
                    </a:lnTo>
                    <a:lnTo>
                      <a:pt x="233" y="464"/>
                    </a:lnTo>
                    <a:lnTo>
                      <a:pt x="231" y="466"/>
                    </a:lnTo>
                    <a:lnTo>
                      <a:pt x="231" y="464"/>
                    </a:lnTo>
                    <a:lnTo>
                      <a:pt x="229" y="464"/>
                    </a:lnTo>
                    <a:lnTo>
                      <a:pt x="229" y="462"/>
                    </a:lnTo>
                    <a:lnTo>
                      <a:pt x="227" y="462"/>
                    </a:lnTo>
                    <a:lnTo>
                      <a:pt x="226" y="461"/>
                    </a:lnTo>
                    <a:lnTo>
                      <a:pt x="224" y="459"/>
                    </a:lnTo>
                    <a:lnTo>
                      <a:pt x="222" y="459"/>
                    </a:lnTo>
                    <a:lnTo>
                      <a:pt x="221" y="459"/>
                    </a:lnTo>
                    <a:lnTo>
                      <a:pt x="221" y="457"/>
                    </a:lnTo>
                    <a:lnTo>
                      <a:pt x="221" y="459"/>
                    </a:lnTo>
                    <a:lnTo>
                      <a:pt x="219" y="461"/>
                    </a:lnTo>
                    <a:lnTo>
                      <a:pt x="217" y="461"/>
                    </a:lnTo>
                    <a:lnTo>
                      <a:pt x="216" y="461"/>
                    </a:lnTo>
                    <a:lnTo>
                      <a:pt x="214" y="461"/>
                    </a:lnTo>
                    <a:lnTo>
                      <a:pt x="214" y="459"/>
                    </a:lnTo>
                    <a:lnTo>
                      <a:pt x="212" y="459"/>
                    </a:lnTo>
                    <a:lnTo>
                      <a:pt x="210" y="459"/>
                    </a:lnTo>
                    <a:lnTo>
                      <a:pt x="210" y="457"/>
                    </a:lnTo>
                    <a:lnTo>
                      <a:pt x="209" y="457"/>
                    </a:lnTo>
                    <a:lnTo>
                      <a:pt x="207" y="457"/>
                    </a:lnTo>
                    <a:lnTo>
                      <a:pt x="207" y="456"/>
                    </a:lnTo>
                    <a:lnTo>
                      <a:pt x="205" y="456"/>
                    </a:lnTo>
                    <a:lnTo>
                      <a:pt x="204" y="456"/>
                    </a:lnTo>
                    <a:lnTo>
                      <a:pt x="202" y="456"/>
                    </a:lnTo>
                    <a:lnTo>
                      <a:pt x="200" y="456"/>
                    </a:lnTo>
                    <a:lnTo>
                      <a:pt x="200" y="454"/>
                    </a:lnTo>
                    <a:lnTo>
                      <a:pt x="199" y="454"/>
                    </a:lnTo>
                    <a:lnTo>
                      <a:pt x="199" y="452"/>
                    </a:lnTo>
                    <a:lnTo>
                      <a:pt x="197" y="452"/>
                    </a:lnTo>
                    <a:lnTo>
                      <a:pt x="197" y="451"/>
                    </a:lnTo>
                    <a:lnTo>
                      <a:pt x="195" y="451"/>
                    </a:lnTo>
                    <a:lnTo>
                      <a:pt x="195" y="449"/>
                    </a:lnTo>
                    <a:lnTo>
                      <a:pt x="193" y="449"/>
                    </a:lnTo>
                    <a:lnTo>
                      <a:pt x="193" y="447"/>
                    </a:lnTo>
                    <a:lnTo>
                      <a:pt x="192" y="447"/>
                    </a:lnTo>
                    <a:lnTo>
                      <a:pt x="192" y="445"/>
                    </a:lnTo>
                    <a:lnTo>
                      <a:pt x="190" y="445"/>
                    </a:lnTo>
                    <a:lnTo>
                      <a:pt x="190" y="444"/>
                    </a:lnTo>
                    <a:lnTo>
                      <a:pt x="188" y="444"/>
                    </a:lnTo>
                    <a:lnTo>
                      <a:pt x="187" y="444"/>
                    </a:lnTo>
                    <a:lnTo>
                      <a:pt x="185" y="444"/>
                    </a:lnTo>
                    <a:lnTo>
                      <a:pt x="185" y="442"/>
                    </a:lnTo>
                    <a:lnTo>
                      <a:pt x="183" y="442"/>
                    </a:lnTo>
                    <a:lnTo>
                      <a:pt x="183" y="444"/>
                    </a:lnTo>
                    <a:lnTo>
                      <a:pt x="182" y="444"/>
                    </a:lnTo>
                    <a:lnTo>
                      <a:pt x="180" y="444"/>
                    </a:lnTo>
                    <a:lnTo>
                      <a:pt x="180" y="445"/>
                    </a:lnTo>
                    <a:lnTo>
                      <a:pt x="180" y="449"/>
                    </a:lnTo>
                    <a:lnTo>
                      <a:pt x="178" y="449"/>
                    </a:lnTo>
                    <a:lnTo>
                      <a:pt x="176" y="449"/>
                    </a:lnTo>
                    <a:lnTo>
                      <a:pt x="175" y="449"/>
                    </a:lnTo>
                    <a:lnTo>
                      <a:pt x="173" y="449"/>
                    </a:lnTo>
                    <a:lnTo>
                      <a:pt x="171" y="449"/>
                    </a:lnTo>
                    <a:lnTo>
                      <a:pt x="171" y="447"/>
                    </a:lnTo>
                    <a:lnTo>
                      <a:pt x="170" y="447"/>
                    </a:lnTo>
                    <a:lnTo>
                      <a:pt x="168" y="447"/>
                    </a:lnTo>
                    <a:lnTo>
                      <a:pt x="168" y="449"/>
                    </a:lnTo>
                    <a:lnTo>
                      <a:pt x="166" y="447"/>
                    </a:lnTo>
                    <a:lnTo>
                      <a:pt x="166" y="449"/>
                    </a:lnTo>
                    <a:lnTo>
                      <a:pt x="166" y="447"/>
                    </a:lnTo>
                    <a:lnTo>
                      <a:pt x="166" y="449"/>
                    </a:lnTo>
                    <a:lnTo>
                      <a:pt x="165" y="449"/>
                    </a:lnTo>
                    <a:lnTo>
                      <a:pt x="163" y="449"/>
                    </a:lnTo>
                    <a:lnTo>
                      <a:pt x="163" y="447"/>
                    </a:lnTo>
                    <a:lnTo>
                      <a:pt x="161" y="447"/>
                    </a:lnTo>
                    <a:lnTo>
                      <a:pt x="159" y="447"/>
                    </a:lnTo>
                    <a:lnTo>
                      <a:pt x="158" y="447"/>
                    </a:lnTo>
                    <a:lnTo>
                      <a:pt x="158" y="445"/>
                    </a:lnTo>
                    <a:lnTo>
                      <a:pt x="156" y="445"/>
                    </a:lnTo>
                    <a:lnTo>
                      <a:pt x="156" y="444"/>
                    </a:lnTo>
                    <a:lnTo>
                      <a:pt x="154" y="444"/>
                    </a:lnTo>
                    <a:lnTo>
                      <a:pt x="153" y="444"/>
                    </a:lnTo>
                    <a:lnTo>
                      <a:pt x="153" y="445"/>
                    </a:lnTo>
                    <a:lnTo>
                      <a:pt x="153" y="444"/>
                    </a:lnTo>
                    <a:lnTo>
                      <a:pt x="151" y="445"/>
                    </a:lnTo>
                    <a:lnTo>
                      <a:pt x="151" y="444"/>
                    </a:lnTo>
                    <a:lnTo>
                      <a:pt x="151" y="445"/>
                    </a:lnTo>
                    <a:lnTo>
                      <a:pt x="149" y="444"/>
                    </a:lnTo>
                    <a:lnTo>
                      <a:pt x="148" y="444"/>
                    </a:lnTo>
                    <a:lnTo>
                      <a:pt x="146" y="444"/>
                    </a:lnTo>
                    <a:lnTo>
                      <a:pt x="146" y="442"/>
                    </a:lnTo>
                    <a:lnTo>
                      <a:pt x="144" y="442"/>
                    </a:lnTo>
                    <a:lnTo>
                      <a:pt x="142" y="444"/>
                    </a:lnTo>
                    <a:lnTo>
                      <a:pt x="142" y="442"/>
                    </a:lnTo>
                    <a:lnTo>
                      <a:pt x="142" y="440"/>
                    </a:lnTo>
                    <a:lnTo>
                      <a:pt x="142" y="439"/>
                    </a:lnTo>
                    <a:lnTo>
                      <a:pt x="142" y="437"/>
                    </a:lnTo>
                    <a:lnTo>
                      <a:pt x="144" y="437"/>
                    </a:lnTo>
                    <a:lnTo>
                      <a:pt x="144" y="435"/>
                    </a:lnTo>
                    <a:lnTo>
                      <a:pt x="142" y="435"/>
                    </a:lnTo>
                    <a:lnTo>
                      <a:pt x="141" y="435"/>
                    </a:lnTo>
                    <a:lnTo>
                      <a:pt x="141" y="433"/>
                    </a:lnTo>
                    <a:lnTo>
                      <a:pt x="139" y="433"/>
                    </a:lnTo>
                    <a:lnTo>
                      <a:pt x="137" y="433"/>
                    </a:lnTo>
                    <a:lnTo>
                      <a:pt x="137" y="432"/>
                    </a:lnTo>
                    <a:lnTo>
                      <a:pt x="136" y="432"/>
                    </a:lnTo>
                    <a:lnTo>
                      <a:pt x="137" y="432"/>
                    </a:lnTo>
                    <a:lnTo>
                      <a:pt x="137" y="430"/>
                    </a:lnTo>
                    <a:lnTo>
                      <a:pt x="137" y="428"/>
                    </a:lnTo>
                    <a:lnTo>
                      <a:pt x="136" y="428"/>
                    </a:lnTo>
                    <a:lnTo>
                      <a:pt x="134" y="428"/>
                    </a:lnTo>
                    <a:lnTo>
                      <a:pt x="132" y="428"/>
                    </a:lnTo>
                    <a:lnTo>
                      <a:pt x="132" y="430"/>
                    </a:lnTo>
                    <a:lnTo>
                      <a:pt x="131" y="430"/>
                    </a:lnTo>
                    <a:lnTo>
                      <a:pt x="129" y="430"/>
                    </a:lnTo>
                    <a:lnTo>
                      <a:pt x="129" y="428"/>
                    </a:lnTo>
                    <a:lnTo>
                      <a:pt x="127" y="428"/>
                    </a:lnTo>
                    <a:lnTo>
                      <a:pt x="125" y="428"/>
                    </a:lnTo>
                    <a:lnTo>
                      <a:pt x="125" y="427"/>
                    </a:lnTo>
                    <a:lnTo>
                      <a:pt x="124" y="427"/>
                    </a:lnTo>
                    <a:lnTo>
                      <a:pt x="122" y="427"/>
                    </a:lnTo>
                    <a:lnTo>
                      <a:pt x="122" y="425"/>
                    </a:lnTo>
                    <a:lnTo>
                      <a:pt x="120" y="425"/>
                    </a:lnTo>
                    <a:lnTo>
                      <a:pt x="119" y="425"/>
                    </a:lnTo>
                    <a:lnTo>
                      <a:pt x="120" y="423"/>
                    </a:lnTo>
                    <a:lnTo>
                      <a:pt x="119" y="423"/>
                    </a:lnTo>
                    <a:lnTo>
                      <a:pt x="119" y="422"/>
                    </a:lnTo>
                    <a:lnTo>
                      <a:pt x="117" y="422"/>
                    </a:lnTo>
                    <a:lnTo>
                      <a:pt x="117" y="420"/>
                    </a:lnTo>
                    <a:lnTo>
                      <a:pt x="117" y="418"/>
                    </a:lnTo>
                    <a:lnTo>
                      <a:pt x="115" y="416"/>
                    </a:lnTo>
                    <a:lnTo>
                      <a:pt x="114" y="416"/>
                    </a:lnTo>
                    <a:lnTo>
                      <a:pt x="114" y="418"/>
                    </a:lnTo>
                    <a:lnTo>
                      <a:pt x="112" y="418"/>
                    </a:lnTo>
                    <a:lnTo>
                      <a:pt x="112" y="416"/>
                    </a:lnTo>
                    <a:lnTo>
                      <a:pt x="110" y="416"/>
                    </a:lnTo>
                    <a:lnTo>
                      <a:pt x="108" y="416"/>
                    </a:lnTo>
                    <a:lnTo>
                      <a:pt x="108" y="415"/>
                    </a:lnTo>
                    <a:lnTo>
                      <a:pt x="107" y="415"/>
                    </a:lnTo>
                    <a:lnTo>
                      <a:pt x="105" y="415"/>
                    </a:lnTo>
                    <a:lnTo>
                      <a:pt x="105" y="413"/>
                    </a:lnTo>
                    <a:lnTo>
                      <a:pt x="103" y="413"/>
                    </a:lnTo>
                    <a:lnTo>
                      <a:pt x="103" y="411"/>
                    </a:lnTo>
                    <a:lnTo>
                      <a:pt x="102" y="411"/>
                    </a:lnTo>
                    <a:lnTo>
                      <a:pt x="102" y="410"/>
                    </a:lnTo>
                    <a:lnTo>
                      <a:pt x="100" y="410"/>
                    </a:lnTo>
                    <a:lnTo>
                      <a:pt x="98" y="408"/>
                    </a:lnTo>
                    <a:lnTo>
                      <a:pt x="98" y="406"/>
                    </a:lnTo>
                    <a:lnTo>
                      <a:pt x="97" y="406"/>
                    </a:lnTo>
                    <a:lnTo>
                      <a:pt x="97" y="405"/>
                    </a:lnTo>
                    <a:lnTo>
                      <a:pt x="95" y="405"/>
                    </a:lnTo>
                    <a:lnTo>
                      <a:pt x="95" y="403"/>
                    </a:lnTo>
                    <a:lnTo>
                      <a:pt x="93" y="403"/>
                    </a:lnTo>
                    <a:lnTo>
                      <a:pt x="91" y="401"/>
                    </a:lnTo>
                    <a:lnTo>
                      <a:pt x="93" y="401"/>
                    </a:lnTo>
                    <a:lnTo>
                      <a:pt x="91" y="401"/>
                    </a:lnTo>
                    <a:lnTo>
                      <a:pt x="93" y="401"/>
                    </a:lnTo>
                    <a:lnTo>
                      <a:pt x="93" y="399"/>
                    </a:lnTo>
                    <a:lnTo>
                      <a:pt x="95" y="399"/>
                    </a:lnTo>
                    <a:lnTo>
                      <a:pt x="95" y="398"/>
                    </a:lnTo>
                    <a:lnTo>
                      <a:pt x="97" y="398"/>
                    </a:lnTo>
                    <a:lnTo>
                      <a:pt x="97" y="396"/>
                    </a:lnTo>
                    <a:lnTo>
                      <a:pt x="98" y="396"/>
                    </a:lnTo>
                    <a:lnTo>
                      <a:pt x="98" y="394"/>
                    </a:lnTo>
                    <a:lnTo>
                      <a:pt x="98" y="396"/>
                    </a:lnTo>
                    <a:lnTo>
                      <a:pt x="100" y="396"/>
                    </a:lnTo>
                    <a:lnTo>
                      <a:pt x="102" y="396"/>
                    </a:lnTo>
                    <a:lnTo>
                      <a:pt x="102" y="398"/>
                    </a:lnTo>
                    <a:lnTo>
                      <a:pt x="102" y="396"/>
                    </a:lnTo>
                    <a:lnTo>
                      <a:pt x="103" y="398"/>
                    </a:lnTo>
                    <a:lnTo>
                      <a:pt x="103" y="396"/>
                    </a:lnTo>
                    <a:lnTo>
                      <a:pt x="103" y="398"/>
                    </a:lnTo>
                    <a:lnTo>
                      <a:pt x="103" y="396"/>
                    </a:lnTo>
                    <a:lnTo>
                      <a:pt x="105" y="396"/>
                    </a:lnTo>
                    <a:lnTo>
                      <a:pt x="107" y="396"/>
                    </a:lnTo>
                    <a:lnTo>
                      <a:pt x="105" y="396"/>
                    </a:lnTo>
                    <a:lnTo>
                      <a:pt x="107" y="398"/>
                    </a:lnTo>
                    <a:lnTo>
                      <a:pt x="107" y="396"/>
                    </a:lnTo>
                    <a:lnTo>
                      <a:pt x="108" y="396"/>
                    </a:lnTo>
                    <a:lnTo>
                      <a:pt x="108" y="394"/>
                    </a:lnTo>
                    <a:lnTo>
                      <a:pt x="108" y="393"/>
                    </a:lnTo>
                    <a:lnTo>
                      <a:pt x="107" y="393"/>
                    </a:lnTo>
                    <a:lnTo>
                      <a:pt x="107" y="391"/>
                    </a:lnTo>
                    <a:lnTo>
                      <a:pt x="105" y="391"/>
                    </a:lnTo>
                    <a:lnTo>
                      <a:pt x="107" y="391"/>
                    </a:lnTo>
                    <a:lnTo>
                      <a:pt x="105" y="389"/>
                    </a:lnTo>
                    <a:lnTo>
                      <a:pt x="103" y="391"/>
                    </a:lnTo>
                    <a:lnTo>
                      <a:pt x="103" y="389"/>
                    </a:lnTo>
                    <a:lnTo>
                      <a:pt x="103" y="388"/>
                    </a:lnTo>
                    <a:lnTo>
                      <a:pt x="103" y="386"/>
                    </a:lnTo>
                    <a:lnTo>
                      <a:pt x="102" y="386"/>
                    </a:lnTo>
                    <a:lnTo>
                      <a:pt x="102" y="384"/>
                    </a:lnTo>
                    <a:lnTo>
                      <a:pt x="102" y="382"/>
                    </a:lnTo>
                    <a:lnTo>
                      <a:pt x="103" y="382"/>
                    </a:lnTo>
                    <a:lnTo>
                      <a:pt x="103" y="381"/>
                    </a:lnTo>
                    <a:lnTo>
                      <a:pt x="105" y="381"/>
                    </a:lnTo>
                    <a:lnTo>
                      <a:pt x="103" y="381"/>
                    </a:lnTo>
                    <a:lnTo>
                      <a:pt x="103" y="379"/>
                    </a:lnTo>
                    <a:lnTo>
                      <a:pt x="105" y="379"/>
                    </a:lnTo>
                    <a:lnTo>
                      <a:pt x="105" y="377"/>
                    </a:lnTo>
                    <a:lnTo>
                      <a:pt x="105" y="376"/>
                    </a:lnTo>
                    <a:lnTo>
                      <a:pt x="107" y="376"/>
                    </a:lnTo>
                    <a:lnTo>
                      <a:pt x="107" y="374"/>
                    </a:lnTo>
                    <a:lnTo>
                      <a:pt x="108" y="374"/>
                    </a:lnTo>
                    <a:lnTo>
                      <a:pt x="107" y="374"/>
                    </a:lnTo>
                    <a:lnTo>
                      <a:pt x="108" y="374"/>
                    </a:lnTo>
                    <a:lnTo>
                      <a:pt x="107" y="374"/>
                    </a:lnTo>
                    <a:lnTo>
                      <a:pt x="108" y="372"/>
                    </a:lnTo>
                    <a:lnTo>
                      <a:pt x="110" y="374"/>
                    </a:lnTo>
                    <a:lnTo>
                      <a:pt x="110" y="372"/>
                    </a:lnTo>
                    <a:lnTo>
                      <a:pt x="108" y="372"/>
                    </a:lnTo>
                    <a:lnTo>
                      <a:pt x="110" y="371"/>
                    </a:lnTo>
                    <a:lnTo>
                      <a:pt x="112" y="372"/>
                    </a:lnTo>
                    <a:lnTo>
                      <a:pt x="112" y="371"/>
                    </a:lnTo>
                    <a:lnTo>
                      <a:pt x="110" y="371"/>
                    </a:lnTo>
                    <a:lnTo>
                      <a:pt x="110" y="369"/>
                    </a:lnTo>
                    <a:lnTo>
                      <a:pt x="112" y="369"/>
                    </a:lnTo>
                    <a:lnTo>
                      <a:pt x="112" y="371"/>
                    </a:lnTo>
                    <a:lnTo>
                      <a:pt x="114" y="371"/>
                    </a:lnTo>
                    <a:lnTo>
                      <a:pt x="114" y="372"/>
                    </a:lnTo>
                    <a:lnTo>
                      <a:pt x="114" y="371"/>
                    </a:lnTo>
                    <a:lnTo>
                      <a:pt x="115" y="371"/>
                    </a:lnTo>
                    <a:lnTo>
                      <a:pt x="114" y="371"/>
                    </a:lnTo>
                    <a:lnTo>
                      <a:pt x="114" y="369"/>
                    </a:lnTo>
                    <a:lnTo>
                      <a:pt x="114" y="367"/>
                    </a:lnTo>
                    <a:lnTo>
                      <a:pt x="115" y="367"/>
                    </a:lnTo>
                    <a:lnTo>
                      <a:pt x="115" y="369"/>
                    </a:lnTo>
                    <a:lnTo>
                      <a:pt x="115" y="371"/>
                    </a:lnTo>
                    <a:lnTo>
                      <a:pt x="117" y="371"/>
                    </a:lnTo>
                    <a:lnTo>
                      <a:pt x="115" y="369"/>
                    </a:lnTo>
                    <a:lnTo>
                      <a:pt x="117" y="371"/>
                    </a:lnTo>
                    <a:lnTo>
                      <a:pt x="119" y="372"/>
                    </a:lnTo>
                    <a:lnTo>
                      <a:pt x="119" y="371"/>
                    </a:lnTo>
                    <a:lnTo>
                      <a:pt x="117" y="371"/>
                    </a:lnTo>
                    <a:lnTo>
                      <a:pt x="117" y="369"/>
                    </a:lnTo>
                    <a:lnTo>
                      <a:pt x="115" y="367"/>
                    </a:lnTo>
                    <a:lnTo>
                      <a:pt x="117" y="367"/>
                    </a:lnTo>
                    <a:lnTo>
                      <a:pt x="119" y="367"/>
                    </a:lnTo>
                    <a:lnTo>
                      <a:pt x="119" y="369"/>
                    </a:lnTo>
                    <a:lnTo>
                      <a:pt x="120" y="369"/>
                    </a:lnTo>
                    <a:lnTo>
                      <a:pt x="120" y="367"/>
                    </a:lnTo>
                    <a:lnTo>
                      <a:pt x="119" y="367"/>
                    </a:lnTo>
                    <a:lnTo>
                      <a:pt x="120" y="367"/>
                    </a:lnTo>
                    <a:lnTo>
                      <a:pt x="120" y="365"/>
                    </a:lnTo>
                    <a:lnTo>
                      <a:pt x="122" y="365"/>
                    </a:lnTo>
                    <a:lnTo>
                      <a:pt x="122" y="367"/>
                    </a:lnTo>
                    <a:lnTo>
                      <a:pt x="120" y="367"/>
                    </a:lnTo>
                    <a:lnTo>
                      <a:pt x="120" y="369"/>
                    </a:lnTo>
                    <a:lnTo>
                      <a:pt x="120" y="371"/>
                    </a:lnTo>
                    <a:lnTo>
                      <a:pt x="122" y="371"/>
                    </a:lnTo>
                    <a:lnTo>
                      <a:pt x="122" y="369"/>
                    </a:lnTo>
                    <a:lnTo>
                      <a:pt x="122" y="367"/>
                    </a:lnTo>
                    <a:lnTo>
                      <a:pt x="122" y="369"/>
                    </a:lnTo>
                    <a:lnTo>
                      <a:pt x="124" y="369"/>
                    </a:lnTo>
                    <a:lnTo>
                      <a:pt x="122" y="369"/>
                    </a:lnTo>
                    <a:lnTo>
                      <a:pt x="122" y="367"/>
                    </a:lnTo>
                    <a:lnTo>
                      <a:pt x="124" y="367"/>
                    </a:lnTo>
                    <a:lnTo>
                      <a:pt x="124" y="369"/>
                    </a:lnTo>
                    <a:lnTo>
                      <a:pt x="125" y="367"/>
                    </a:lnTo>
                    <a:lnTo>
                      <a:pt x="127" y="367"/>
                    </a:lnTo>
                    <a:lnTo>
                      <a:pt x="129" y="369"/>
                    </a:lnTo>
                    <a:lnTo>
                      <a:pt x="129" y="367"/>
                    </a:lnTo>
                    <a:lnTo>
                      <a:pt x="129" y="369"/>
                    </a:lnTo>
                    <a:lnTo>
                      <a:pt x="129" y="367"/>
                    </a:lnTo>
                    <a:lnTo>
                      <a:pt x="129" y="365"/>
                    </a:lnTo>
                    <a:lnTo>
                      <a:pt x="131" y="365"/>
                    </a:lnTo>
                    <a:lnTo>
                      <a:pt x="131" y="367"/>
                    </a:lnTo>
                    <a:lnTo>
                      <a:pt x="131" y="365"/>
                    </a:lnTo>
                    <a:lnTo>
                      <a:pt x="132" y="365"/>
                    </a:lnTo>
                    <a:lnTo>
                      <a:pt x="132" y="367"/>
                    </a:lnTo>
                    <a:lnTo>
                      <a:pt x="134" y="367"/>
                    </a:lnTo>
                    <a:lnTo>
                      <a:pt x="134" y="365"/>
                    </a:lnTo>
                    <a:lnTo>
                      <a:pt x="132" y="365"/>
                    </a:lnTo>
                    <a:lnTo>
                      <a:pt x="132" y="364"/>
                    </a:lnTo>
                    <a:lnTo>
                      <a:pt x="134" y="364"/>
                    </a:lnTo>
                    <a:lnTo>
                      <a:pt x="136" y="364"/>
                    </a:lnTo>
                    <a:lnTo>
                      <a:pt x="136" y="362"/>
                    </a:lnTo>
                    <a:lnTo>
                      <a:pt x="136" y="364"/>
                    </a:lnTo>
                    <a:lnTo>
                      <a:pt x="136" y="362"/>
                    </a:lnTo>
                    <a:lnTo>
                      <a:pt x="134" y="362"/>
                    </a:lnTo>
                    <a:lnTo>
                      <a:pt x="136" y="362"/>
                    </a:lnTo>
                    <a:lnTo>
                      <a:pt x="136" y="360"/>
                    </a:lnTo>
                    <a:lnTo>
                      <a:pt x="137" y="360"/>
                    </a:lnTo>
                    <a:lnTo>
                      <a:pt x="137" y="359"/>
                    </a:lnTo>
                    <a:lnTo>
                      <a:pt x="136" y="359"/>
                    </a:lnTo>
                    <a:lnTo>
                      <a:pt x="137" y="359"/>
                    </a:lnTo>
                    <a:lnTo>
                      <a:pt x="137" y="357"/>
                    </a:lnTo>
                    <a:lnTo>
                      <a:pt x="137" y="359"/>
                    </a:lnTo>
                    <a:lnTo>
                      <a:pt x="137" y="357"/>
                    </a:lnTo>
                    <a:lnTo>
                      <a:pt x="137" y="355"/>
                    </a:lnTo>
                    <a:lnTo>
                      <a:pt x="136" y="357"/>
                    </a:lnTo>
                    <a:lnTo>
                      <a:pt x="137" y="355"/>
                    </a:lnTo>
                    <a:lnTo>
                      <a:pt x="137" y="354"/>
                    </a:lnTo>
                    <a:lnTo>
                      <a:pt x="137" y="355"/>
                    </a:lnTo>
                    <a:lnTo>
                      <a:pt x="137" y="354"/>
                    </a:lnTo>
                    <a:lnTo>
                      <a:pt x="139" y="354"/>
                    </a:lnTo>
                    <a:lnTo>
                      <a:pt x="139" y="352"/>
                    </a:lnTo>
                    <a:lnTo>
                      <a:pt x="141" y="350"/>
                    </a:lnTo>
                    <a:lnTo>
                      <a:pt x="141" y="352"/>
                    </a:lnTo>
                    <a:lnTo>
                      <a:pt x="141" y="350"/>
                    </a:lnTo>
                    <a:lnTo>
                      <a:pt x="141" y="348"/>
                    </a:lnTo>
                    <a:lnTo>
                      <a:pt x="142" y="348"/>
                    </a:lnTo>
                    <a:lnTo>
                      <a:pt x="144" y="348"/>
                    </a:lnTo>
                    <a:lnTo>
                      <a:pt x="142" y="348"/>
                    </a:lnTo>
                    <a:lnTo>
                      <a:pt x="144" y="348"/>
                    </a:lnTo>
                    <a:lnTo>
                      <a:pt x="142" y="348"/>
                    </a:lnTo>
                    <a:lnTo>
                      <a:pt x="142" y="347"/>
                    </a:lnTo>
                    <a:lnTo>
                      <a:pt x="142" y="348"/>
                    </a:lnTo>
                    <a:lnTo>
                      <a:pt x="141" y="347"/>
                    </a:lnTo>
                    <a:lnTo>
                      <a:pt x="142" y="347"/>
                    </a:lnTo>
                    <a:lnTo>
                      <a:pt x="142" y="345"/>
                    </a:lnTo>
                    <a:lnTo>
                      <a:pt x="144" y="345"/>
                    </a:lnTo>
                    <a:lnTo>
                      <a:pt x="144" y="343"/>
                    </a:lnTo>
                    <a:lnTo>
                      <a:pt x="146" y="343"/>
                    </a:lnTo>
                    <a:lnTo>
                      <a:pt x="146" y="342"/>
                    </a:lnTo>
                    <a:lnTo>
                      <a:pt x="148" y="342"/>
                    </a:lnTo>
                    <a:lnTo>
                      <a:pt x="148" y="340"/>
                    </a:lnTo>
                    <a:lnTo>
                      <a:pt x="148" y="342"/>
                    </a:lnTo>
                    <a:lnTo>
                      <a:pt x="149" y="342"/>
                    </a:lnTo>
                    <a:lnTo>
                      <a:pt x="149" y="340"/>
                    </a:lnTo>
                    <a:lnTo>
                      <a:pt x="148" y="340"/>
                    </a:lnTo>
                    <a:lnTo>
                      <a:pt x="148" y="338"/>
                    </a:lnTo>
                    <a:lnTo>
                      <a:pt x="149" y="338"/>
                    </a:lnTo>
                    <a:lnTo>
                      <a:pt x="151" y="338"/>
                    </a:lnTo>
                    <a:lnTo>
                      <a:pt x="149" y="338"/>
                    </a:lnTo>
                    <a:lnTo>
                      <a:pt x="151" y="338"/>
                    </a:lnTo>
                    <a:lnTo>
                      <a:pt x="149" y="338"/>
                    </a:lnTo>
                    <a:lnTo>
                      <a:pt x="149" y="337"/>
                    </a:lnTo>
                    <a:lnTo>
                      <a:pt x="151" y="337"/>
                    </a:lnTo>
                    <a:lnTo>
                      <a:pt x="153" y="337"/>
                    </a:lnTo>
                    <a:lnTo>
                      <a:pt x="153" y="335"/>
                    </a:lnTo>
                    <a:lnTo>
                      <a:pt x="154" y="333"/>
                    </a:lnTo>
                    <a:lnTo>
                      <a:pt x="154" y="331"/>
                    </a:lnTo>
                    <a:lnTo>
                      <a:pt x="153" y="331"/>
                    </a:lnTo>
                    <a:lnTo>
                      <a:pt x="153" y="330"/>
                    </a:lnTo>
                    <a:lnTo>
                      <a:pt x="154" y="330"/>
                    </a:lnTo>
                    <a:lnTo>
                      <a:pt x="156" y="330"/>
                    </a:lnTo>
                    <a:lnTo>
                      <a:pt x="154" y="330"/>
                    </a:lnTo>
                    <a:lnTo>
                      <a:pt x="156" y="328"/>
                    </a:lnTo>
                    <a:lnTo>
                      <a:pt x="154" y="328"/>
                    </a:lnTo>
                    <a:lnTo>
                      <a:pt x="156" y="328"/>
                    </a:lnTo>
                    <a:lnTo>
                      <a:pt x="156" y="326"/>
                    </a:lnTo>
                    <a:lnTo>
                      <a:pt x="158" y="326"/>
                    </a:lnTo>
                    <a:lnTo>
                      <a:pt x="158" y="325"/>
                    </a:lnTo>
                    <a:lnTo>
                      <a:pt x="159" y="326"/>
                    </a:lnTo>
                    <a:lnTo>
                      <a:pt x="158" y="325"/>
                    </a:lnTo>
                    <a:lnTo>
                      <a:pt x="156" y="325"/>
                    </a:lnTo>
                    <a:lnTo>
                      <a:pt x="156" y="326"/>
                    </a:lnTo>
                    <a:lnTo>
                      <a:pt x="154" y="326"/>
                    </a:lnTo>
                    <a:lnTo>
                      <a:pt x="154" y="328"/>
                    </a:lnTo>
                    <a:lnTo>
                      <a:pt x="153" y="326"/>
                    </a:lnTo>
                    <a:lnTo>
                      <a:pt x="153" y="328"/>
                    </a:lnTo>
                    <a:lnTo>
                      <a:pt x="151" y="328"/>
                    </a:lnTo>
                    <a:lnTo>
                      <a:pt x="151" y="326"/>
                    </a:lnTo>
                    <a:lnTo>
                      <a:pt x="149" y="326"/>
                    </a:lnTo>
                    <a:lnTo>
                      <a:pt x="151" y="326"/>
                    </a:lnTo>
                    <a:lnTo>
                      <a:pt x="151" y="325"/>
                    </a:lnTo>
                    <a:lnTo>
                      <a:pt x="149" y="325"/>
                    </a:lnTo>
                    <a:lnTo>
                      <a:pt x="149" y="323"/>
                    </a:lnTo>
                    <a:lnTo>
                      <a:pt x="151" y="323"/>
                    </a:lnTo>
                    <a:lnTo>
                      <a:pt x="153" y="323"/>
                    </a:lnTo>
                    <a:lnTo>
                      <a:pt x="151" y="321"/>
                    </a:lnTo>
                    <a:lnTo>
                      <a:pt x="153" y="323"/>
                    </a:lnTo>
                    <a:lnTo>
                      <a:pt x="153" y="321"/>
                    </a:lnTo>
                    <a:lnTo>
                      <a:pt x="153" y="320"/>
                    </a:lnTo>
                    <a:lnTo>
                      <a:pt x="154" y="320"/>
                    </a:lnTo>
                    <a:lnTo>
                      <a:pt x="153" y="320"/>
                    </a:lnTo>
                    <a:lnTo>
                      <a:pt x="151" y="320"/>
                    </a:lnTo>
                    <a:lnTo>
                      <a:pt x="149" y="320"/>
                    </a:lnTo>
                    <a:lnTo>
                      <a:pt x="149" y="321"/>
                    </a:lnTo>
                    <a:lnTo>
                      <a:pt x="149" y="323"/>
                    </a:lnTo>
                    <a:lnTo>
                      <a:pt x="148" y="325"/>
                    </a:lnTo>
                    <a:lnTo>
                      <a:pt x="148" y="323"/>
                    </a:lnTo>
                    <a:lnTo>
                      <a:pt x="148" y="321"/>
                    </a:lnTo>
                    <a:lnTo>
                      <a:pt x="146" y="323"/>
                    </a:lnTo>
                    <a:lnTo>
                      <a:pt x="146" y="321"/>
                    </a:lnTo>
                    <a:lnTo>
                      <a:pt x="146" y="320"/>
                    </a:lnTo>
                    <a:lnTo>
                      <a:pt x="144" y="320"/>
                    </a:lnTo>
                    <a:lnTo>
                      <a:pt x="142" y="318"/>
                    </a:lnTo>
                    <a:lnTo>
                      <a:pt x="144" y="318"/>
                    </a:lnTo>
                    <a:lnTo>
                      <a:pt x="144" y="316"/>
                    </a:lnTo>
                    <a:lnTo>
                      <a:pt x="146" y="316"/>
                    </a:lnTo>
                    <a:lnTo>
                      <a:pt x="144" y="316"/>
                    </a:lnTo>
                    <a:lnTo>
                      <a:pt x="142" y="316"/>
                    </a:lnTo>
                    <a:lnTo>
                      <a:pt x="142" y="318"/>
                    </a:lnTo>
                    <a:lnTo>
                      <a:pt x="142" y="316"/>
                    </a:lnTo>
                    <a:lnTo>
                      <a:pt x="142" y="314"/>
                    </a:lnTo>
                    <a:lnTo>
                      <a:pt x="142" y="313"/>
                    </a:lnTo>
                    <a:lnTo>
                      <a:pt x="142" y="311"/>
                    </a:lnTo>
                    <a:lnTo>
                      <a:pt x="144" y="311"/>
                    </a:lnTo>
                    <a:lnTo>
                      <a:pt x="142" y="311"/>
                    </a:lnTo>
                    <a:lnTo>
                      <a:pt x="144" y="313"/>
                    </a:lnTo>
                    <a:lnTo>
                      <a:pt x="142" y="313"/>
                    </a:lnTo>
                    <a:lnTo>
                      <a:pt x="144" y="313"/>
                    </a:lnTo>
                    <a:lnTo>
                      <a:pt x="146" y="313"/>
                    </a:lnTo>
                    <a:lnTo>
                      <a:pt x="146" y="311"/>
                    </a:lnTo>
                    <a:lnTo>
                      <a:pt x="146" y="309"/>
                    </a:lnTo>
                    <a:lnTo>
                      <a:pt x="148" y="309"/>
                    </a:lnTo>
                    <a:lnTo>
                      <a:pt x="148" y="308"/>
                    </a:lnTo>
                    <a:lnTo>
                      <a:pt x="148" y="306"/>
                    </a:lnTo>
                    <a:lnTo>
                      <a:pt x="149" y="304"/>
                    </a:lnTo>
                    <a:lnTo>
                      <a:pt x="149" y="303"/>
                    </a:lnTo>
                    <a:lnTo>
                      <a:pt x="149" y="301"/>
                    </a:lnTo>
                    <a:lnTo>
                      <a:pt x="149" y="299"/>
                    </a:lnTo>
                    <a:lnTo>
                      <a:pt x="149" y="297"/>
                    </a:lnTo>
                    <a:lnTo>
                      <a:pt x="149" y="296"/>
                    </a:lnTo>
                    <a:lnTo>
                      <a:pt x="149" y="297"/>
                    </a:lnTo>
                    <a:lnTo>
                      <a:pt x="151" y="297"/>
                    </a:lnTo>
                    <a:lnTo>
                      <a:pt x="149" y="296"/>
                    </a:lnTo>
                    <a:lnTo>
                      <a:pt x="148" y="296"/>
                    </a:lnTo>
                    <a:lnTo>
                      <a:pt x="149" y="294"/>
                    </a:lnTo>
                    <a:lnTo>
                      <a:pt x="148" y="294"/>
                    </a:lnTo>
                    <a:lnTo>
                      <a:pt x="148" y="292"/>
                    </a:lnTo>
                    <a:lnTo>
                      <a:pt x="148" y="291"/>
                    </a:lnTo>
                    <a:lnTo>
                      <a:pt x="148" y="289"/>
                    </a:lnTo>
                    <a:lnTo>
                      <a:pt x="148" y="287"/>
                    </a:lnTo>
                    <a:lnTo>
                      <a:pt x="148" y="285"/>
                    </a:lnTo>
                    <a:lnTo>
                      <a:pt x="148" y="284"/>
                    </a:lnTo>
                    <a:lnTo>
                      <a:pt x="148" y="282"/>
                    </a:lnTo>
                    <a:lnTo>
                      <a:pt x="148" y="284"/>
                    </a:lnTo>
                    <a:lnTo>
                      <a:pt x="148" y="282"/>
                    </a:lnTo>
                    <a:lnTo>
                      <a:pt x="146" y="282"/>
                    </a:lnTo>
                    <a:lnTo>
                      <a:pt x="148" y="280"/>
                    </a:lnTo>
                    <a:lnTo>
                      <a:pt x="148" y="279"/>
                    </a:lnTo>
                    <a:lnTo>
                      <a:pt x="148" y="277"/>
                    </a:lnTo>
                    <a:lnTo>
                      <a:pt x="146" y="277"/>
                    </a:lnTo>
                    <a:lnTo>
                      <a:pt x="148" y="275"/>
                    </a:lnTo>
                    <a:lnTo>
                      <a:pt x="146" y="275"/>
                    </a:lnTo>
                    <a:lnTo>
                      <a:pt x="146" y="274"/>
                    </a:lnTo>
                    <a:lnTo>
                      <a:pt x="146" y="272"/>
                    </a:lnTo>
                    <a:lnTo>
                      <a:pt x="144" y="272"/>
                    </a:lnTo>
                    <a:lnTo>
                      <a:pt x="142" y="272"/>
                    </a:lnTo>
                    <a:lnTo>
                      <a:pt x="142" y="270"/>
                    </a:lnTo>
                    <a:lnTo>
                      <a:pt x="142" y="268"/>
                    </a:lnTo>
                    <a:lnTo>
                      <a:pt x="144" y="267"/>
                    </a:lnTo>
                    <a:lnTo>
                      <a:pt x="146" y="267"/>
                    </a:lnTo>
                    <a:lnTo>
                      <a:pt x="148" y="267"/>
                    </a:lnTo>
                    <a:lnTo>
                      <a:pt x="149" y="267"/>
                    </a:lnTo>
                    <a:lnTo>
                      <a:pt x="149" y="265"/>
                    </a:lnTo>
                    <a:lnTo>
                      <a:pt x="151" y="265"/>
                    </a:lnTo>
                    <a:lnTo>
                      <a:pt x="151" y="263"/>
                    </a:lnTo>
                    <a:lnTo>
                      <a:pt x="151" y="262"/>
                    </a:lnTo>
                    <a:lnTo>
                      <a:pt x="153" y="262"/>
                    </a:lnTo>
                    <a:lnTo>
                      <a:pt x="151" y="262"/>
                    </a:lnTo>
                    <a:lnTo>
                      <a:pt x="151" y="260"/>
                    </a:lnTo>
                    <a:lnTo>
                      <a:pt x="151" y="258"/>
                    </a:lnTo>
                    <a:lnTo>
                      <a:pt x="151" y="260"/>
                    </a:lnTo>
                    <a:lnTo>
                      <a:pt x="149" y="258"/>
                    </a:lnTo>
                    <a:lnTo>
                      <a:pt x="149" y="257"/>
                    </a:lnTo>
                    <a:lnTo>
                      <a:pt x="149" y="255"/>
                    </a:lnTo>
                    <a:lnTo>
                      <a:pt x="149" y="253"/>
                    </a:lnTo>
                    <a:lnTo>
                      <a:pt x="148" y="253"/>
                    </a:lnTo>
                    <a:lnTo>
                      <a:pt x="148" y="251"/>
                    </a:lnTo>
                    <a:lnTo>
                      <a:pt x="148" y="253"/>
                    </a:lnTo>
                    <a:lnTo>
                      <a:pt x="148" y="251"/>
                    </a:lnTo>
                    <a:lnTo>
                      <a:pt x="146" y="251"/>
                    </a:lnTo>
                    <a:lnTo>
                      <a:pt x="146" y="250"/>
                    </a:lnTo>
                    <a:lnTo>
                      <a:pt x="144" y="250"/>
                    </a:lnTo>
                    <a:lnTo>
                      <a:pt x="144" y="248"/>
                    </a:lnTo>
                    <a:lnTo>
                      <a:pt x="144" y="246"/>
                    </a:lnTo>
                    <a:lnTo>
                      <a:pt x="144" y="245"/>
                    </a:lnTo>
                    <a:lnTo>
                      <a:pt x="144" y="243"/>
                    </a:lnTo>
                    <a:lnTo>
                      <a:pt x="144" y="245"/>
                    </a:lnTo>
                    <a:lnTo>
                      <a:pt x="146" y="245"/>
                    </a:lnTo>
                    <a:lnTo>
                      <a:pt x="146" y="246"/>
                    </a:lnTo>
                    <a:lnTo>
                      <a:pt x="146" y="245"/>
                    </a:lnTo>
                    <a:lnTo>
                      <a:pt x="148" y="245"/>
                    </a:lnTo>
                    <a:lnTo>
                      <a:pt x="148" y="243"/>
                    </a:lnTo>
                    <a:lnTo>
                      <a:pt x="148" y="241"/>
                    </a:lnTo>
                    <a:lnTo>
                      <a:pt x="146" y="241"/>
                    </a:lnTo>
                    <a:lnTo>
                      <a:pt x="148" y="240"/>
                    </a:lnTo>
                    <a:lnTo>
                      <a:pt x="148" y="241"/>
                    </a:lnTo>
                    <a:lnTo>
                      <a:pt x="148" y="240"/>
                    </a:lnTo>
                    <a:lnTo>
                      <a:pt x="148" y="238"/>
                    </a:lnTo>
                    <a:lnTo>
                      <a:pt x="148" y="236"/>
                    </a:lnTo>
                    <a:lnTo>
                      <a:pt x="149" y="236"/>
                    </a:lnTo>
                    <a:lnTo>
                      <a:pt x="149" y="234"/>
                    </a:lnTo>
                    <a:lnTo>
                      <a:pt x="148" y="234"/>
                    </a:lnTo>
                    <a:lnTo>
                      <a:pt x="148" y="233"/>
                    </a:lnTo>
                    <a:lnTo>
                      <a:pt x="146" y="233"/>
                    </a:lnTo>
                    <a:lnTo>
                      <a:pt x="146" y="231"/>
                    </a:lnTo>
                    <a:lnTo>
                      <a:pt x="146" y="229"/>
                    </a:lnTo>
                    <a:lnTo>
                      <a:pt x="144" y="229"/>
                    </a:lnTo>
                    <a:lnTo>
                      <a:pt x="142" y="231"/>
                    </a:lnTo>
                    <a:lnTo>
                      <a:pt x="142" y="229"/>
                    </a:lnTo>
                    <a:lnTo>
                      <a:pt x="141" y="229"/>
                    </a:lnTo>
                    <a:lnTo>
                      <a:pt x="141" y="228"/>
                    </a:lnTo>
                    <a:lnTo>
                      <a:pt x="141" y="226"/>
                    </a:lnTo>
                    <a:lnTo>
                      <a:pt x="139" y="226"/>
                    </a:lnTo>
                    <a:lnTo>
                      <a:pt x="139" y="224"/>
                    </a:lnTo>
                    <a:lnTo>
                      <a:pt x="137" y="224"/>
                    </a:lnTo>
                    <a:lnTo>
                      <a:pt x="137" y="226"/>
                    </a:lnTo>
                    <a:lnTo>
                      <a:pt x="136" y="226"/>
                    </a:lnTo>
                    <a:lnTo>
                      <a:pt x="136" y="224"/>
                    </a:lnTo>
                    <a:lnTo>
                      <a:pt x="136" y="223"/>
                    </a:lnTo>
                    <a:lnTo>
                      <a:pt x="137" y="223"/>
                    </a:lnTo>
                    <a:lnTo>
                      <a:pt x="136" y="223"/>
                    </a:lnTo>
                    <a:lnTo>
                      <a:pt x="137" y="221"/>
                    </a:lnTo>
                    <a:lnTo>
                      <a:pt x="137" y="219"/>
                    </a:lnTo>
                    <a:lnTo>
                      <a:pt x="136" y="217"/>
                    </a:lnTo>
                    <a:lnTo>
                      <a:pt x="134" y="217"/>
                    </a:lnTo>
                    <a:lnTo>
                      <a:pt x="134" y="216"/>
                    </a:lnTo>
                    <a:lnTo>
                      <a:pt x="134" y="214"/>
                    </a:lnTo>
                    <a:lnTo>
                      <a:pt x="132" y="216"/>
                    </a:lnTo>
                    <a:lnTo>
                      <a:pt x="132" y="214"/>
                    </a:lnTo>
                    <a:lnTo>
                      <a:pt x="131" y="214"/>
                    </a:lnTo>
                    <a:lnTo>
                      <a:pt x="131" y="212"/>
                    </a:lnTo>
                    <a:lnTo>
                      <a:pt x="131" y="209"/>
                    </a:lnTo>
                    <a:lnTo>
                      <a:pt x="131" y="207"/>
                    </a:lnTo>
                    <a:lnTo>
                      <a:pt x="132" y="204"/>
                    </a:lnTo>
                    <a:lnTo>
                      <a:pt x="134" y="204"/>
                    </a:lnTo>
                    <a:lnTo>
                      <a:pt x="136" y="204"/>
                    </a:lnTo>
                    <a:lnTo>
                      <a:pt x="136" y="202"/>
                    </a:lnTo>
                    <a:lnTo>
                      <a:pt x="136" y="200"/>
                    </a:lnTo>
                    <a:lnTo>
                      <a:pt x="136" y="199"/>
                    </a:lnTo>
                    <a:lnTo>
                      <a:pt x="134" y="199"/>
                    </a:lnTo>
                    <a:lnTo>
                      <a:pt x="136" y="199"/>
                    </a:lnTo>
                    <a:lnTo>
                      <a:pt x="134" y="197"/>
                    </a:lnTo>
                    <a:lnTo>
                      <a:pt x="136" y="197"/>
                    </a:lnTo>
                    <a:lnTo>
                      <a:pt x="136" y="195"/>
                    </a:lnTo>
                    <a:lnTo>
                      <a:pt x="136" y="197"/>
                    </a:lnTo>
                    <a:lnTo>
                      <a:pt x="137" y="197"/>
                    </a:lnTo>
                    <a:lnTo>
                      <a:pt x="139" y="199"/>
                    </a:lnTo>
                    <a:lnTo>
                      <a:pt x="139" y="200"/>
                    </a:lnTo>
                    <a:lnTo>
                      <a:pt x="139" y="202"/>
                    </a:lnTo>
                    <a:lnTo>
                      <a:pt x="141" y="202"/>
                    </a:lnTo>
                    <a:lnTo>
                      <a:pt x="142" y="202"/>
                    </a:lnTo>
                    <a:lnTo>
                      <a:pt x="142" y="200"/>
                    </a:lnTo>
                    <a:lnTo>
                      <a:pt x="144" y="200"/>
                    </a:lnTo>
                    <a:lnTo>
                      <a:pt x="144" y="199"/>
                    </a:lnTo>
                    <a:lnTo>
                      <a:pt x="144" y="197"/>
                    </a:lnTo>
                    <a:lnTo>
                      <a:pt x="146" y="197"/>
                    </a:lnTo>
                    <a:lnTo>
                      <a:pt x="146" y="195"/>
                    </a:lnTo>
                    <a:lnTo>
                      <a:pt x="146" y="194"/>
                    </a:lnTo>
                    <a:lnTo>
                      <a:pt x="148" y="194"/>
                    </a:lnTo>
                    <a:lnTo>
                      <a:pt x="146" y="194"/>
                    </a:lnTo>
                    <a:lnTo>
                      <a:pt x="148" y="194"/>
                    </a:lnTo>
                    <a:lnTo>
                      <a:pt x="149" y="194"/>
                    </a:lnTo>
                    <a:lnTo>
                      <a:pt x="148" y="192"/>
                    </a:lnTo>
                    <a:lnTo>
                      <a:pt x="148" y="190"/>
                    </a:lnTo>
                    <a:lnTo>
                      <a:pt x="149" y="190"/>
                    </a:lnTo>
                    <a:lnTo>
                      <a:pt x="149" y="189"/>
                    </a:lnTo>
                    <a:lnTo>
                      <a:pt x="151" y="189"/>
                    </a:lnTo>
                    <a:lnTo>
                      <a:pt x="153" y="189"/>
                    </a:lnTo>
                    <a:lnTo>
                      <a:pt x="154" y="189"/>
                    </a:lnTo>
                    <a:lnTo>
                      <a:pt x="154" y="187"/>
                    </a:lnTo>
                    <a:lnTo>
                      <a:pt x="156" y="187"/>
                    </a:lnTo>
                    <a:lnTo>
                      <a:pt x="154" y="187"/>
                    </a:lnTo>
                    <a:lnTo>
                      <a:pt x="153" y="185"/>
                    </a:lnTo>
                    <a:lnTo>
                      <a:pt x="153" y="183"/>
                    </a:lnTo>
                    <a:lnTo>
                      <a:pt x="153" y="182"/>
                    </a:lnTo>
                    <a:lnTo>
                      <a:pt x="151" y="180"/>
                    </a:lnTo>
                    <a:lnTo>
                      <a:pt x="151" y="178"/>
                    </a:lnTo>
                    <a:lnTo>
                      <a:pt x="151" y="177"/>
                    </a:lnTo>
                    <a:lnTo>
                      <a:pt x="149" y="177"/>
                    </a:lnTo>
                    <a:lnTo>
                      <a:pt x="148" y="175"/>
                    </a:lnTo>
                    <a:lnTo>
                      <a:pt x="148" y="173"/>
                    </a:lnTo>
                    <a:lnTo>
                      <a:pt x="148" y="172"/>
                    </a:lnTo>
                    <a:lnTo>
                      <a:pt x="146" y="170"/>
                    </a:lnTo>
                    <a:lnTo>
                      <a:pt x="144" y="170"/>
                    </a:lnTo>
                    <a:lnTo>
                      <a:pt x="144" y="168"/>
                    </a:lnTo>
                    <a:lnTo>
                      <a:pt x="146" y="168"/>
                    </a:lnTo>
                    <a:lnTo>
                      <a:pt x="146" y="166"/>
                    </a:lnTo>
                    <a:lnTo>
                      <a:pt x="144" y="166"/>
                    </a:lnTo>
                    <a:lnTo>
                      <a:pt x="146" y="166"/>
                    </a:lnTo>
                    <a:lnTo>
                      <a:pt x="146" y="165"/>
                    </a:lnTo>
                    <a:lnTo>
                      <a:pt x="146" y="163"/>
                    </a:lnTo>
                    <a:lnTo>
                      <a:pt x="148" y="163"/>
                    </a:lnTo>
                    <a:lnTo>
                      <a:pt x="148" y="165"/>
                    </a:lnTo>
                    <a:lnTo>
                      <a:pt x="148" y="163"/>
                    </a:lnTo>
                    <a:lnTo>
                      <a:pt x="149" y="165"/>
                    </a:lnTo>
                    <a:lnTo>
                      <a:pt x="149" y="166"/>
                    </a:lnTo>
                    <a:lnTo>
                      <a:pt x="151" y="166"/>
                    </a:lnTo>
                    <a:lnTo>
                      <a:pt x="151" y="168"/>
                    </a:lnTo>
                    <a:lnTo>
                      <a:pt x="151" y="170"/>
                    </a:lnTo>
                    <a:lnTo>
                      <a:pt x="153" y="170"/>
                    </a:lnTo>
                    <a:lnTo>
                      <a:pt x="154" y="172"/>
                    </a:lnTo>
                    <a:lnTo>
                      <a:pt x="156" y="172"/>
                    </a:lnTo>
                    <a:lnTo>
                      <a:pt x="156" y="173"/>
                    </a:lnTo>
                    <a:lnTo>
                      <a:pt x="158" y="175"/>
                    </a:lnTo>
                    <a:lnTo>
                      <a:pt x="158" y="177"/>
                    </a:lnTo>
                    <a:lnTo>
                      <a:pt x="159" y="177"/>
                    </a:lnTo>
                    <a:lnTo>
                      <a:pt x="161" y="177"/>
                    </a:lnTo>
                    <a:lnTo>
                      <a:pt x="161" y="178"/>
                    </a:lnTo>
                    <a:lnTo>
                      <a:pt x="161" y="180"/>
                    </a:lnTo>
                    <a:lnTo>
                      <a:pt x="163" y="180"/>
                    </a:lnTo>
                    <a:lnTo>
                      <a:pt x="163" y="178"/>
                    </a:lnTo>
                    <a:lnTo>
                      <a:pt x="161" y="178"/>
                    </a:lnTo>
                    <a:lnTo>
                      <a:pt x="163" y="178"/>
                    </a:lnTo>
                    <a:lnTo>
                      <a:pt x="163" y="180"/>
                    </a:lnTo>
                    <a:lnTo>
                      <a:pt x="163" y="178"/>
                    </a:lnTo>
                    <a:lnTo>
                      <a:pt x="163" y="180"/>
                    </a:lnTo>
                    <a:lnTo>
                      <a:pt x="161" y="180"/>
                    </a:lnTo>
                    <a:lnTo>
                      <a:pt x="161" y="182"/>
                    </a:lnTo>
                    <a:lnTo>
                      <a:pt x="163" y="182"/>
                    </a:lnTo>
                    <a:lnTo>
                      <a:pt x="163" y="183"/>
                    </a:lnTo>
                    <a:lnTo>
                      <a:pt x="163" y="182"/>
                    </a:lnTo>
                    <a:lnTo>
                      <a:pt x="165" y="182"/>
                    </a:lnTo>
                    <a:lnTo>
                      <a:pt x="163" y="182"/>
                    </a:lnTo>
                    <a:lnTo>
                      <a:pt x="165" y="182"/>
                    </a:lnTo>
                    <a:lnTo>
                      <a:pt x="166" y="182"/>
                    </a:lnTo>
                    <a:lnTo>
                      <a:pt x="165" y="182"/>
                    </a:lnTo>
                    <a:lnTo>
                      <a:pt x="165" y="183"/>
                    </a:lnTo>
                    <a:lnTo>
                      <a:pt x="166" y="183"/>
                    </a:lnTo>
                    <a:lnTo>
                      <a:pt x="165" y="183"/>
                    </a:lnTo>
                    <a:lnTo>
                      <a:pt x="166" y="183"/>
                    </a:lnTo>
                    <a:lnTo>
                      <a:pt x="166" y="185"/>
                    </a:lnTo>
                    <a:lnTo>
                      <a:pt x="165" y="183"/>
                    </a:lnTo>
                    <a:lnTo>
                      <a:pt x="165" y="185"/>
                    </a:lnTo>
                    <a:lnTo>
                      <a:pt x="166" y="185"/>
                    </a:lnTo>
                    <a:lnTo>
                      <a:pt x="165" y="185"/>
                    </a:lnTo>
                    <a:lnTo>
                      <a:pt x="165" y="183"/>
                    </a:lnTo>
                    <a:lnTo>
                      <a:pt x="163" y="185"/>
                    </a:lnTo>
                    <a:lnTo>
                      <a:pt x="163" y="187"/>
                    </a:lnTo>
                    <a:lnTo>
                      <a:pt x="163" y="189"/>
                    </a:lnTo>
                    <a:lnTo>
                      <a:pt x="165" y="189"/>
                    </a:lnTo>
                    <a:lnTo>
                      <a:pt x="166" y="189"/>
                    </a:lnTo>
                    <a:lnTo>
                      <a:pt x="168" y="189"/>
                    </a:lnTo>
                    <a:lnTo>
                      <a:pt x="168" y="187"/>
                    </a:lnTo>
                    <a:lnTo>
                      <a:pt x="170" y="187"/>
                    </a:lnTo>
                    <a:lnTo>
                      <a:pt x="168" y="185"/>
                    </a:lnTo>
                    <a:lnTo>
                      <a:pt x="170" y="185"/>
                    </a:lnTo>
                    <a:lnTo>
                      <a:pt x="170" y="183"/>
                    </a:lnTo>
                    <a:lnTo>
                      <a:pt x="168" y="183"/>
                    </a:lnTo>
                    <a:lnTo>
                      <a:pt x="168" y="182"/>
                    </a:lnTo>
                    <a:lnTo>
                      <a:pt x="168" y="180"/>
                    </a:lnTo>
                    <a:lnTo>
                      <a:pt x="168" y="178"/>
                    </a:lnTo>
                    <a:lnTo>
                      <a:pt x="168" y="177"/>
                    </a:lnTo>
                    <a:lnTo>
                      <a:pt x="168" y="175"/>
                    </a:lnTo>
                    <a:lnTo>
                      <a:pt x="168" y="173"/>
                    </a:lnTo>
                    <a:lnTo>
                      <a:pt x="168" y="172"/>
                    </a:lnTo>
                    <a:lnTo>
                      <a:pt x="166" y="172"/>
                    </a:lnTo>
                    <a:lnTo>
                      <a:pt x="166" y="170"/>
                    </a:lnTo>
                    <a:lnTo>
                      <a:pt x="166" y="168"/>
                    </a:lnTo>
                    <a:lnTo>
                      <a:pt x="165" y="168"/>
                    </a:lnTo>
                    <a:lnTo>
                      <a:pt x="163" y="168"/>
                    </a:lnTo>
                    <a:lnTo>
                      <a:pt x="163" y="166"/>
                    </a:lnTo>
                    <a:lnTo>
                      <a:pt x="165" y="165"/>
                    </a:lnTo>
                    <a:lnTo>
                      <a:pt x="166" y="165"/>
                    </a:lnTo>
                    <a:lnTo>
                      <a:pt x="168" y="165"/>
                    </a:lnTo>
                    <a:lnTo>
                      <a:pt x="170" y="163"/>
                    </a:lnTo>
                    <a:lnTo>
                      <a:pt x="171" y="163"/>
                    </a:lnTo>
                    <a:lnTo>
                      <a:pt x="173" y="163"/>
                    </a:lnTo>
                    <a:lnTo>
                      <a:pt x="171" y="161"/>
                    </a:lnTo>
                    <a:lnTo>
                      <a:pt x="173" y="161"/>
                    </a:lnTo>
                    <a:lnTo>
                      <a:pt x="175" y="160"/>
                    </a:lnTo>
                    <a:lnTo>
                      <a:pt x="176" y="160"/>
                    </a:lnTo>
                    <a:lnTo>
                      <a:pt x="176" y="158"/>
                    </a:lnTo>
                    <a:lnTo>
                      <a:pt x="178" y="158"/>
                    </a:lnTo>
                    <a:lnTo>
                      <a:pt x="180" y="156"/>
                    </a:lnTo>
                    <a:lnTo>
                      <a:pt x="180" y="155"/>
                    </a:lnTo>
                    <a:lnTo>
                      <a:pt x="182" y="155"/>
                    </a:lnTo>
                    <a:lnTo>
                      <a:pt x="183" y="155"/>
                    </a:lnTo>
                    <a:lnTo>
                      <a:pt x="183" y="153"/>
                    </a:lnTo>
                    <a:lnTo>
                      <a:pt x="185" y="153"/>
                    </a:lnTo>
                    <a:lnTo>
                      <a:pt x="185" y="151"/>
                    </a:lnTo>
                    <a:lnTo>
                      <a:pt x="185" y="149"/>
                    </a:lnTo>
                    <a:lnTo>
                      <a:pt x="187" y="149"/>
                    </a:lnTo>
                    <a:lnTo>
                      <a:pt x="187" y="148"/>
                    </a:lnTo>
                    <a:lnTo>
                      <a:pt x="188" y="146"/>
                    </a:lnTo>
                    <a:lnTo>
                      <a:pt x="188" y="144"/>
                    </a:lnTo>
                    <a:lnTo>
                      <a:pt x="188" y="143"/>
                    </a:lnTo>
                    <a:lnTo>
                      <a:pt x="190" y="143"/>
                    </a:lnTo>
                    <a:lnTo>
                      <a:pt x="190" y="141"/>
                    </a:lnTo>
                    <a:lnTo>
                      <a:pt x="192" y="139"/>
                    </a:lnTo>
                    <a:lnTo>
                      <a:pt x="193" y="139"/>
                    </a:lnTo>
                    <a:lnTo>
                      <a:pt x="195" y="139"/>
                    </a:lnTo>
                    <a:lnTo>
                      <a:pt x="195" y="138"/>
                    </a:lnTo>
                    <a:lnTo>
                      <a:pt x="195" y="136"/>
                    </a:lnTo>
                    <a:lnTo>
                      <a:pt x="195" y="138"/>
                    </a:lnTo>
                    <a:lnTo>
                      <a:pt x="195" y="136"/>
                    </a:lnTo>
                    <a:lnTo>
                      <a:pt x="197" y="136"/>
                    </a:lnTo>
                    <a:lnTo>
                      <a:pt x="197" y="138"/>
                    </a:lnTo>
                    <a:lnTo>
                      <a:pt x="199" y="138"/>
                    </a:lnTo>
                    <a:lnTo>
                      <a:pt x="200" y="138"/>
                    </a:lnTo>
                    <a:lnTo>
                      <a:pt x="199" y="138"/>
                    </a:lnTo>
                    <a:lnTo>
                      <a:pt x="200" y="138"/>
                    </a:lnTo>
                    <a:lnTo>
                      <a:pt x="202" y="138"/>
                    </a:lnTo>
                    <a:lnTo>
                      <a:pt x="204" y="138"/>
                    </a:lnTo>
                    <a:lnTo>
                      <a:pt x="205" y="138"/>
                    </a:lnTo>
                    <a:lnTo>
                      <a:pt x="207" y="136"/>
                    </a:lnTo>
                    <a:lnTo>
                      <a:pt x="207" y="134"/>
                    </a:lnTo>
                    <a:lnTo>
                      <a:pt x="209" y="132"/>
                    </a:lnTo>
                    <a:lnTo>
                      <a:pt x="209" y="131"/>
                    </a:lnTo>
                    <a:lnTo>
                      <a:pt x="207" y="129"/>
                    </a:lnTo>
                    <a:lnTo>
                      <a:pt x="207" y="127"/>
                    </a:lnTo>
                    <a:lnTo>
                      <a:pt x="205" y="127"/>
                    </a:lnTo>
                    <a:lnTo>
                      <a:pt x="204" y="127"/>
                    </a:lnTo>
                    <a:lnTo>
                      <a:pt x="205" y="127"/>
                    </a:lnTo>
                    <a:lnTo>
                      <a:pt x="205" y="126"/>
                    </a:lnTo>
                    <a:lnTo>
                      <a:pt x="207" y="124"/>
                    </a:lnTo>
                    <a:lnTo>
                      <a:pt x="207" y="122"/>
                    </a:lnTo>
                    <a:lnTo>
                      <a:pt x="207" y="120"/>
                    </a:lnTo>
                    <a:lnTo>
                      <a:pt x="207" y="119"/>
                    </a:lnTo>
                    <a:lnTo>
                      <a:pt x="209" y="119"/>
                    </a:lnTo>
                    <a:lnTo>
                      <a:pt x="207" y="117"/>
                    </a:lnTo>
                    <a:lnTo>
                      <a:pt x="209" y="117"/>
                    </a:lnTo>
                    <a:lnTo>
                      <a:pt x="209" y="115"/>
                    </a:lnTo>
                    <a:lnTo>
                      <a:pt x="209" y="114"/>
                    </a:lnTo>
                    <a:lnTo>
                      <a:pt x="207" y="114"/>
                    </a:lnTo>
                    <a:lnTo>
                      <a:pt x="209" y="114"/>
                    </a:lnTo>
                    <a:lnTo>
                      <a:pt x="209" y="112"/>
                    </a:lnTo>
                    <a:lnTo>
                      <a:pt x="210" y="112"/>
                    </a:lnTo>
                    <a:lnTo>
                      <a:pt x="209" y="112"/>
                    </a:lnTo>
                    <a:lnTo>
                      <a:pt x="209" y="110"/>
                    </a:lnTo>
                    <a:lnTo>
                      <a:pt x="209" y="112"/>
                    </a:lnTo>
                    <a:lnTo>
                      <a:pt x="210" y="112"/>
                    </a:lnTo>
                    <a:lnTo>
                      <a:pt x="210" y="110"/>
                    </a:lnTo>
                    <a:lnTo>
                      <a:pt x="209" y="110"/>
                    </a:lnTo>
                    <a:lnTo>
                      <a:pt x="210" y="109"/>
                    </a:lnTo>
                    <a:lnTo>
                      <a:pt x="209" y="109"/>
                    </a:lnTo>
                    <a:lnTo>
                      <a:pt x="209" y="110"/>
                    </a:lnTo>
                    <a:lnTo>
                      <a:pt x="207" y="110"/>
                    </a:lnTo>
                    <a:lnTo>
                      <a:pt x="205" y="112"/>
                    </a:lnTo>
                    <a:lnTo>
                      <a:pt x="205" y="110"/>
                    </a:lnTo>
                    <a:lnTo>
                      <a:pt x="205" y="112"/>
                    </a:lnTo>
                    <a:lnTo>
                      <a:pt x="204" y="114"/>
                    </a:lnTo>
                    <a:lnTo>
                      <a:pt x="204" y="112"/>
                    </a:lnTo>
                    <a:lnTo>
                      <a:pt x="205" y="112"/>
                    </a:lnTo>
                    <a:lnTo>
                      <a:pt x="205" y="110"/>
                    </a:lnTo>
                    <a:lnTo>
                      <a:pt x="207" y="110"/>
                    </a:lnTo>
                    <a:lnTo>
                      <a:pt x="207" y="109"/>
                    </a:lnTo>
                    <a:lnTo>
                      <a:pt x="207" y="110"/>
                    </a:lnTo>
                    <a:lnTo>
                      <a:pt x="207" y="109"/>
                    </a:lnTo>
                    <a:lnTo>
                      <a:pt x="207" y="107"/>
                    </a:lnTo>
                    <a:lnTo>
                      <a:pt x="209" y="107"/>
                    </a:lnTo>
                    <a:lnTo>
                      <a:pt x="207" y="109"/>
                    </a:lnTo>
                    <a:lnTo>
                      <a:pt x="209" y="109"/>
                    </a:lnTo>
                    <a:lnTo>
                      <a:pt x="210" y="107"/>
                    </a:lnTo>
                    <a:lnTo>
                      <a:pt x="210" y="105"/>
                    </a:lnTo>
                    <a:lnTo>
                      <a:pt x="210" y="103"/>
                    </a:lnTo>
                    <a:lnTo>
                      <a:pt x="209" y="103"/>
                    </a:lnTo>
                    <a:lnTo>
                      <a:pt x="210" y="103"/>
                    </a:lnTo>
                    <a:lnTo>
                      <a:pt x="209" y="103"/>
                    </a:lnTo>
                    <a:lnTo>
                      <a:pt x="209" y="102"/>
                    </a:lnTo>
                    <a:lnTo>
                      <a:pt x="210" y="102"/>
                    </a:lnTo>
                    <a:lnTo>
                      <a:pt x="210" y="103"/>
                    </a:lnTo>
                    <a:lnTo>
                      <a:pt x="212" y="103"/>
                    </a:lnTo>
                    <a:lnTo>
                      <a:pt x="210" y="102"/>
                    </a:lnTo>
                    <a:lnTo>
                      <a:pt x="212" y="100"/>
                    </a:lnTo>
                    <a:lnTo>
                      <a:pt x="210" y="100"/>
                    </a:lnTo>
                    <a:lnTo>
                      <a:pt x="210" y="98"/>
                    </a:lnTo>
                    <a:lnTo>
                      <a:pt x="212" y="97"/>
                    </a:lnTo>
                    <a:lnTo>
                      <a:pt x="212" y="95"/>
                    </a:lnTo>
                    <a:lnTo>
                      <a:pt x="214" y="95"/>
                    </a:lnTo>
                    <a:lnTo>
                      <a:pt x="214" y="93"/>
                    </a:lnTo>
                    <a:lnTo>
                      <a:pt x="216" y="93"/>
                    </a:lnTo>
                    <a:lnTo>
                      <a:pt x="217" y="93"/>
                    </a:lnTo>
                    <a:lnTo>
                      <a:pt x="219" y="93"/>
                    </a:lnTo>
                    <a:lnTo>
                      <a:pt x="219" y="92"/>
                    </a:lnTo>
                    <a:lnTo>
                      <a:pt x="219" y="90"/>
                    </a:lnTo>
                    <a:lnTo>
                      <a:pt x="221" y="90"/>
                    </a:lnTo>
                    <a:lnTo>
                      <a:pt x="221" y="88"/>
                    </a:lnTo>
                    <a:lnTo>
                      <a:pt x="222" y="88"/>
                    </a:lnTo>
                    <a:lnTo>
                      <a:pt x="224" y="88"/>
                    </a:lnTo>
                    <a:lnTo>
                      <a:pt x="224" y="86"/>
                    </a:lnTo>
                    <a:lnTo>
                      <a:pt x="226" y="86"/>
                    </a:lnTo>
                    <a:lnTo>
                      <a:pt x="226" y="85"/>
                    </a:lnTo>
                    <a:lnTo>
                      <a:pt x="227" y="85"/>
                    </a:lnTo>
                    <a:lnTo>
                      <a:pt x="227" y="83"/>
                    </a:lnTo>
                    <a:lnTo>
                      <a:pt x="229" y="83"/>
                    </a:lnTo>
                    <a:lnTo>
                      <a:pt x="227" y="83"/>
                    </a:lnTo>
                    <a:lnTo>
                      <a:pt x="229" y="83"/>
                    </a:lnTo>
                    <a:lnTo>
                      <a:pt x="231" y="81"/>
                    </a:lnTo>
                    <a:lnTo>
                      <a:pt x="233" y="81"/>
                    </a:lnTo>
                    <a:lnTo>
                      <a:pt x="233" y="80"/>
                    </a:lnTo>
                    <a:lnTo>
                      <a:pt x="234" y="80"/>
                    </a:lnTo>
                    <a:lnTo>
                      <a:pt x="236" y="80"/>
                    </a:lnTo>
                    <a:lnTo>
                      <a:pt x="236" y="81"/>
                    </a:lnTo>
                    <a:lnTo>
                      <a:pt x="238" y="81"/>
                    </a:lnTo>
                    <a:lnTo>
                      <a:pt x="239" y="81"/>
                    </a:lnTo>
                    <a:lnTo>
                      <a:pt x="239" y="83"/>
                    </a:lnTo>
                    <a:lnTo>
                      <a:pt x="241" y="83"/>
                    </a:lnTo>
                    <a:lnTo>
                      <a:pt x="243" y="83"/>
                    </a:lnTo>
                    <a:lnTo>
                      <a:pt x="244" y="83"/>
                    </a:lnTo>
                    <a:lnTo>
                      <a:pt x="246" y="83"/>
                    </a:lnTo>
                    <a:lnTo>
                      <a:pt x="248" y="83"/>
                    </a:lnTo>
                    <a:lnTo>
                      <a:pt x="250" y="83"/>
                    </a:lnTo>
                    <a:lnTo>
                      <a:pt x="251" y="83"/>
                    </a:lnTo>
                    <a:lnTo>
                      <a:pt x="253" y="83"/>
                    </a:lnTo>
                    <a:lnTo>
                      <a:pt x="253" y="81"/>
                    </a:lnTo>
                    <a:lnTo>
                      <a:pt x="255" y="81"/>
                    </a:lnTo>
                    <a:lnTo>
                      <a:pt x="255" y="80"/>
                    </a:lnTo>
                    <a:lnTo>
                      <a:pt x="253" y="80"/>
                    </a:lnTo>
                    <a:lnTo>
                      <a:pt x="253" y="78"/>
                    </a:lnTo>
                    <a:lnTo>
                      <a:pt x="253" y="76"/>
                    </a:lnTo>
                    <a:lnTo>
                      <a:pt x="253" y="75"/>
                    </a:lnTo>
                    <a:lnTo>
                      <a:pt x="255" y="75"/>
                    </a:lnTo>
                    <a:lnTo>
                      <a:pt x="253" y="75"/>
                    </a:lnTo>
                    <a:lnTo>
                      <a:pt x="255" y="75"/>
                    </a:lnTo>
                    <a:lnTo>
                      <a:pt x="255" y="73"/>
                    </a:lnTo>
                    <a:lnTo>
                      <a:pt x="256" y="73"/>
                    </a:lnTo>
                    <a:lnTo>
                      <a:pt x="256" y="71"/>
                    </a:lnTo>
                    <a:lnTo>
                      <a:pt x="256" y="73"/>
                    </a:lnTo>
                    <a:lnTo>
                      <a:pt x="256" y="71"/>
                    </a:lnTo>
                    <a:lnTo>
                      <a:pt x="258" y="73"/>
                    </a:lnTo>
                    <a:lnTo>
                      <a:pt x="258" y="71"/>
                    </a:lnTo>
                    <a:lnTo>
                      <a:pt x="258" y="73"/>
                    </a:lnTo>
                    <a:lnTo>
                      <a:pt x="258" y="71"/>
                    </a:lnTo>
                    <a:lnTo>
                      <a:pt x="260" y="71"/>
                    </a:lnTo>
                    <a:lnTo>
                      <a:pt x="261" y="71"/>
                    </a:lnTo>
                    <a:lnTo>
                      <a:pt x="263" y="71"/>
                    </a:lnTo>
                    <a:lnTo>
                      <a:pt x="263" y="73"/>
                    </a:lnTo>
                    <a:lnTo>
                      <a:pt x="265" y="73"/>
                    </a:lnTo>
                    <a:lnTo>
                      <a:pt x="267" y="73"/>
                    </a:lnTo>
                    <a:lnTo>
                      <a:pt x="267" y="75"/>
                    </a:lnTo>
                    <a:lnTo>
                      <a:pt x="268" y="75"/>
                    </a:lnTo>
                    <a:lnTo>
                      <a:pt x="270" y="75"/>
                    </a:lnTo>
                    <a:lnTo>
                      <a:pt x="272" y="75"/>
                    </a:lnTo>
                    <a:lnTo>
                      <a:pt x="273" y="75"/>
                    </a:lnTo>
                    <a:lnTo>
                      <a:pt x="275" y="75"/>
                    </a:lnTo>
                    <a:lnTo>
                      <a:pt x="277" y="75"/>
                    </a:lnTo>
                    <a:lnTo>
                      <a:pt x="278" y="75"/>
                    </a:lnTo>
                    <a:lnTo>
                      <a:pt x="280" y="75"/>
                    </a:lnTo>
                    <a:lnTo>
                      <a:pt x="282" y="75"/>
                    </a:lnTo>
                    <a:lnTo>
                      <a:pt x="284" y="75"/>
                    </a:lnTo>
                    <a:lnTo>
                      <a:pt x="284" y="73"/>
                    </a:lnTo>
                    <a:lnTo>
                      <a:pt x="285" y="73"/>
                    </a:lnTo>
                    <a:lnTo>
                      <a:pt x="287" y="73"/>
                    </a:lnTo>
                    <a:lnTo>
                      <a:pt x="287" y="71"/>
                    </a:lnTo>
                    <a:lnTo>
                      <a:pt x="289" y="71"/>
                    </a:lnTo>
                    <a:lnTo>
                      <a:pt x="289" y="69"/>
                    </a:lnTo>
                    <a:lnTo>
                      <a:pt x="290" y="69"/>
                    </a:lnTo>
                    <a:lnTo>
                      <a:pt x="292" y="69"/>
                    </a:lnTo>
                    <a:lnTo>
                      <a:pt x="292" y="68"/>
                    </a:lnTo>
                    <a:lnTo>
                      <a:pt x="294" y="66"/>
                    </a:lnTo>
                    <a:lnTo>
                      <a:pt x="295" y="66"/>
                    </a:lnTo>
                    <a:lnTo>
                      <a:pt x="295" y="64"/>
                    </a:lnTo>
                    <a:lnTo>
                      <a:pt x="297" y="64"/>
                    </a:lnTo>
                    <a:lnTo>
                      <a:pt x="299" y="64"/>
                    </a:lnTo>
                    <a:lnTo>
                      <a:pt x="299" y="63"/>
                    </a:lnTo>
                    <a:lnTo>
                      <a:pt x="301" y="63"/>
                    </a:lnTo>
                    <a:lnTo>
                      <a:pt x="301" y="61"/>
                    </a:lnTo>
                    <a:lnTo>
                      <a:pt x="302" y="61"/>
                    </a:lnTo>
                    <a:lnTo>
                      <a:pt x="302" y="59"/>
                    </a:lnTo>
                    <a:lnTo>
                      <a:pt x="304" y="59"/>
                    </a:lnTo>
                    <a:lnTo>
                      <a:pt x="306" y="59"/>
                    </a:lnTo>
                    <a:lnTo>
                      <a:pt x="307" y="58"/>
                    </a:lnTo>
                    <a:lnTo>
                      <a:pt x="309" y="58"/>
                    </a:lnTo>
                    <a:lnTo>
                      <a:pt x="311" y="58"/>
                    </a:lnTo>
                    <a:lnTo>
                      <a:pt x="311" y="56"/>
                    </a:lnTo>
                    <a:lnTo>
                      <a:pt x="312" y="56"/>
                    </a:lnTo>
                    <a:lnTo>
                      <a:pt x="314" y="56"/>
                    </a:lnTo>
                    <a:lnTo>
                      <a:pt x="316" y="56"/>
                    </a:lnTo>
                    <a:lnTo>
                      <a:pt x="316" y="54"/>
                    </a:lnTo>
                    <a:lnTo>
                      <a:pt x="318" y="54"/>
                    </a:lnTo>
                    <a:lnTo>
                      <a:pt x="319" y="54"/>
                    </a:lnTo>
                    <a:lnTo>
                      <a:pt x="319" y="52"/>
                    </a:lnTo>
                    <a:lnTo>
                      <a:pt x="321" y="52"/>
                    </a:lnTo>
                    <a:lnTo>
                      <a:pt x="321" y="51"/>
                    </a:lnTo>
                    <a:lnTo>
                      <a:pt x="323" y="49"/>
                    </a:lnTo>
                    <a:lnTo>
                      <a:pt x="323" y="47"/>
                    </a:lnTo>
                    <a:lnTo>
                      <a:pt x="324" y="46"/>
                    </a:lnTo>
                    <a:lnTo>
                      <a:pt x="324" y="44"/>
                    </a:lnTo>
                    <a:lnTo>
                      <a:pt x="324" y="42"/>
                    </a:lnTo>
                    <a:lnTo>
                      <a:pt x="323" y="42"/>
                    </a:lnTo>
                    <a:lnTo>
                      <a:pt x="323" y="41"/>
                    </a:lnTo>
                    <a:lnTo>
                      <a:pt x="324" y="41"/>
                    </a:lnTo>
                    <a:lnTo>
                      <a:pt x="326" y="41"/>
                    </a:lnTo>
                    <a:lnTo>
                      <a:pt x="328" y="41"/>
                    </a:lnTo>
                    <a:lnTo>
                      <a:pt x="329" y="41"/>
                    </a:lnTo>
                    <a:lnTo>
                      <a:pt x="329" y="42"/>
                    </a:lnTo>
                    <a:lnTo>
                      <a:pt x="329" y="44"/>
                    </a:lnTo>
                    <a:lnTo>
                      <a:pt x="331" y="44"/>
                    </a:lnTo>
                    <a:lnTo>
                      <a:pt x="331" y="42"/>
                    </a:lnTo>
                    <a:lnTo>
                      <a:pt x="333" y="42"/>
                    </a:lnTo>
                    <a:lnTo>
                      <a:pt x="333" y="41"/>
                    </a:lnTo>
                    <a:lnTo>
                      <a:pt x="333" y="39"/>
                    </a:lnTo>
                    <a:lnTo>
                      <a:pt x="333" y="41"/>
                    </a:lnTo>
                    <a:lnTo>
                      <a:pt x="333" y="39"/>
                    </a:lnTo>
                    <a:lnTo>
                      <a:pt x="331" y="39"/>
                    </a:lnTo>
                    <a:lnTo>
                      <a:pt x="333" y="39"/>
                    </a:lnTo>
                    <a:lnTo>
                      <a:pt x="331" y="39"/>
                    </a:lnTo>
                    <a:lnTo>
                      <a:pt x="329" y="39"/>
                    </a:lnTo>
                    <a:lnTo>
                      <a:pt x="331" y="39"/>
                    </a:lnTo>
                    <a:lnTo>
                      <a:pt x="333" y="37"/>
                    </a:lnTo>
                    <a:lnTo>
                      <a:pt x="333" y="35"/>
                    </a:lnTo>
                    <a:lnTo>
                      <a:pt x="335" y="37"/>
                    </a:lnTo>
                    <a:lnTo>
                      <a:pt x="335" y="35"/>
                    </a:lnTo>
                    <a:lnTo>
                      <a:pt x="335" y="37"/>
                    </a:lnTo>
                    <a:lnTo>
                      <a:pt x="336" y="39"/>
                    </a:lnTo>
                    <a:lnTo>
                      <a:pt x="336" y="37"/>
                    </a:lnTo>
                    <a:lnTo>
                      <a:pt x="338" y="37"/>
                    </a:lnTo>
                    <a:lnTo>
                      <a:pt x="338" y="35"/>
                    </a:lnTo>
                    <a:lnTo>
                      <a:pt x="336" y="35"/>
                    </a:lnTo>
                    <a:lnTo>
                      <a:pt x="338" y="35"/>
                    </a:lnTo>
                    <a:lnTo>
                      <a:pt x="338" y="34"/>
                    </a:lnTo>
                    <a:lnTo>
                      <a:pt x="338" y="35"/>
                    </a:lnTo>
                    <a:lnTo>
                      <a:pt x="340" y="35"/>
                    </a:lnTo>
                    <a:lnTo>
                      <a:pt x="338" y="35"/>
                    </a:lnTo>
                    <a:lnTo>
                      <a:pt x="340" y="35"/>
                    </a:lnTo>
                    <a:lnTo>
                      <a:pt x="341" y="35"/>
                    </a:lnTo>
                    <a:lnTo>
                      <a:pt x="341" y="34"/>
                    </a:lnTo>
                    <a:lnTo>
                      <a:pt x="340" y="34"/>
                    </a:lnTo>
                    <a:lnTo>
                      <a:pt x="341" y="34"/>
                    </a:lnTo>
                    <a:lnTo>
                      <a:pt x="340" y="34"/>
                    </a:lnTo>
                    <a:lnTo>
                      <a:pt x="338" y="34"/>
                    </a:lnTo>
                    <a:lnTo>
                      <a:pt x="340" y="34"/>
                    </a:lnTo>
                    <a:lnTo>
                      <a:pt x="340" y="32"/>
                    </a:lnTo>
                    <a:lnTo>
                      <a:pt x="341" y="34"/>
                    </a:lnTo>
                    <a:lnTo>
                      <a:pt x="343" y="34"/>
                    </a:lnTo>
                    <a:lnTo>
                      <a:pt x="345" y="34"/>
                    </a:lnTo>
                    <a:lnTo>
                      <a:pt x="346" y="34"/>
                    </a:lnTo>
                    <a:lnTo>
                      <a:pt x="346" y="35"/>
                    </a:lnTo>
                    <a:lnTo>
                      <a:pt x="348" y="35"/>
                    </a:lnTo>
                    <a:lnTo>
                      <a:pt x="350" y="35"/>
                    </a:lnTo>
                    <a:lnTo>
                      <a:pt x="352" y="35"/>
                    </a:lnTo>
                    <a:lnTo>
                      <a:pt x="352" y="37"/>
                    </a:lnTo>
                    <a:lnTo>
                      <a:pt x="352" y="35"/>
                    </a:lnTo>
                    <a:lnTo>
                      <a:pt x="352" y="37"/>
                    </a:lnTo>
                    <a:lnTo>
                      <a:pt x="353" y="37"/>
                    </a:lnTo>
                    <a:lnTo>
                      <a:pt x="355" y="37"/>
                    </a:lnTo>
                    <a:lnTo>
                      <a:pt x="355" y="39"/>
                    </a:lnTo>
                    <a:lnTo>
                      <a:pt x="355" y="41"/>
                    </a:lnTo>
                    <a:lnTo>
                      <a:pt x="357" y="41"/>
                    </a:lnTo>
                    <a:lnTo>
                      <a:pt x="357" y="42"/>
                    </a:lnTo>
                    <a:lnTo>
                      <a:pt x="357" y="44"/>
                    </a:lnTo>
                    <a:lnTo>
                      <a:pt x="358" y="44"/>
                    </a:lnTo>
                    <a:lnTo>
                      <a:pt x="358" y="46"/>
                    </a:lnTo>
                    <a:lnTo>
                      <a:pt x="358" y="47"/>
                    </a:lnTo>
                    <a:lnTo>
                      <a:pt x="358" y="49"/>
                    </a:lnTo>
                    <a:lnTo>
                      <a:pt x="357" y="49"/>
                    </a:lnTo>
                    <a:lnTo>
                      <a:pt x="355" y="49"/>
                    </a:lnTo>
                    <a:lnTo>
                      <a:pt x="355" y="51"/>
                    </a:lnTo>
                    <a:lnTo>
                      <a:pt x="353" y="51"/>
                    </a:lnTo>
                    <a:lnTo>
                      <a:pt x="353" y="52"/>
                    </a:lnTo>
                    <a:lnTo>
                      <a:pt x="352" y="52"/>
                    </a:lnTo>
                    <a:lnTo>
                      <a:pt x="352" y="54"/>
                    </a:lnTo>
                    <a:lnTo>
                      <a:pt x="350" y="54"/>
                    </a:lnTo>
                    <a:close/>
                    <a:moveTo>
                      <a:pt x="1" y="29"/>
                    </a:moveTo>
                    <a:lnTo>
                      <a:pt x="1" y="30"/>
                    </a:lnTo>
                    <a:lnTo>
                      <a:pt x="1" y="32"/>
                    </a:lnTo>
                    <a:lnTo>
                      <a:pt x="0" y="32"/>
                    </a:lnTo>
                    <a:lnTo>
                      <a:pt x="0" y="30"/>
                    </a:lnTo>
                    <a:lnTo>
                      <a:pt x="0" y="29"/>
                    </a:lnTo>
                    <a:lnTo>
                      <a:pt x="1" y="29"/>
                    </a:lnTo>
                    <a:close/>
                    <a:moveTo>
                      <a:pt x="12" y="1"/>
                    </a:moveTo>
                    <a:lnTo>
                      <a:pt x="13" y="1"/>
                    </a:lnTo>
                    <a:lnTo>
                      <a:pt x="13" y="3"/>
                    </a:lnTo>
                    <a:lnTo>
                      <a:pt x="12" y="3"/>
                    </a:lnTo>
                    <a:lnTo>
                      <a:pt x="12" y="1"/>
                    </a:lnTo>
                    <a:close/>
                    <a:moveTo>
                      <a:pt x="207" y="105"/>
                    </a:moveTo>
                    <a:lnTo>
                      <a:pt x="209" y="105"/>
                    </a:lnTo>
                    <a:lnTo>
                      <a:pt x="209" y="107"/>
                    </a:lnTo>
                    <a:lnTo>
                      <a:pt x="207" y="107"/>
                    </a:lnTo>
                    <a:lnTo>
                      <a:pt x="207" y="105"/>
                    </a:lnTo>
                    <a:close/>
                    <a:moveTo>
                      <a:pt x="119" y="355"/>
                    </a:moveTo>
                    <a:lnTo>
                      <a:pt x="120" y="355"/>
                    </a:lnTo>
                    <a:lnTo>
                      <a:pt x="120" y="357"/>
                    </a:lnTo>
                    <a:lnTo>
                      <a:pt x="119" y="357"/>
                    </a:lnTo>
                    <a:lnTo>
                      <a:pt x="119" y="355"/>
                    </a:lnTo>
                    <a:close/>
                    <a:moveTo>
                      <a:pt x="154" y="328"/>
                    </a:moveTo>
                    <a:lnTo>
                      <a:pt x="154" y="330"/>
                    </a:lnTo>
                    <a:lnTo>
                      <a:pt x="154" y="328"/>
                    </a:lnTo>
                    <a:close/>
                    <a:moveTo>
                      <a:pt x="100" y="394"/>
                    </a:moveTo>
                    <a:lnTo>
                      <a:pt x="102" y="394"/>
                    </a:lnTo>
                    <a:lnTo>
                      <a:pt x="102" y="396"/>
                    </a:lnTo>
                    <a:lnTo>
                      <a:pt x="100" y="396"/>
                    </a:lnTo>
                    <a:lnTo>
                      <a:pt x="100" y="394"/>
                    </a:lnTo>
                    <a:close/>
                    <a:moveTo>
                      <a:pt x="158" y="325"/>
                    </a:moveTo>
                    <a:lnTo>
                      <a:pt x="158" y="326"/>
                    </a:lnTo>
                    <a:lnTo>
                      <a:pt x="158" y="325"/>
                    </a:lnTo>
                    <a:close/>
                    <a:moveTo>
                      <a:pt x="93" y="403"/>
                    </a:moveTo>
                    <a:lnTo>
                      <a:pt x="95" y="403"/>
                    </a:lnTo>
                    <a:lnTo>
                      <a:pt x="95" y="405"/>
                    </a:lnTo>
                    <a:lnTo>
                      <a:pt x="93" y="405"/>
                    </a:lnTo>
                    <a:lnTo>
                      <a:pt x="93" y="403"/>
                    </a:lnTo>
                    <a:close/>
                    <a:moveTo>
                      <a:pt x="199" y="124"/>
                    </a:moveTo>
                    <a:lnTo>
                      <a:pt x="200" y="124"/>
                    </a:lnTo>
                    <a:lnTo>
                      <a:pt x="199" y="124"/>
                    </a:lnTo>
                    <a:close/>
                    <a:moveTo>
                      <a:pt x="187" y="138"/>
                    </a:moveTo>
                    <a:lnTo>
                      <a:pt x="188" y="138"/>
                    </a:lnTo>
                    <a:lnTo>
                      <a:pt x="188" y="139"/>
                    </a:lnTo>
                    <a:lnTo>
                      <a:pt x="187" y="139"/>
                    </a:lnTo>
                    <a:lnTo>
                      <a:pt x="187" y="138"/>
                    </a:lnTo>
                    <a:close/>
                    <a:moveTo>
                      <a:pt x="156" y="325"/>
                    </a:moveTo>
                    <a:lnTo>
                      <a:pt x="156" y="326"/>
                    </a:lnTo>
                    <a:lnTo>
                      <a:pt x="156" y="325"/>
                    </a:lnTo>
                    <a:close/>
                    <a:moveTo>
                      <a:pt x="202" y="110"/>
                    </a:moveTo>
                    <a:lnTo>
                      <a:pt x="204" y="110"/>
                    </a:lnTo>
                    <a:lnTo>
                      <a:pt x="204" y="112"/>
                    </a:lnTo>
                    <a:lnTo>
                      <a:pt x="202" y="112"/>
                    </a:lnTo>
                    <a:lnTo>
                      <a:pt x="202" y="110"/>
                    </a:lnTo>
                    <a:close/>
                    <a:moveTo>
                      <a:pt x="144" y="311"/>
                    </a:moveTo>
                    <a:lnTo>
                      <a:pt x="146" y="311"/>
                    </a:lnTo>
                    <a:lnTo>
                      <a:pt x="144" y="311"/>
                    </a:lnTo>
                    <a:close/>
                    <a:moveTo>
                      <a:pt x="210" y="100"/>
                    </a:moveTo>
                    <a:lnTo>
                      <a:pt x="210" y="102"/>
                    </a:lnTo>
                    <a:lnTo>
                      <a:pt x="210" y="100"/>
                    </a:lnTo>
                    <a:close/>
                    <a:moveTo>
                      <a:pt x="98" y="396"/>
                    </a:moveTo>
                    <a:lnTo>
                      <a:pt x="100" y="396"/>
                    </a:lnTo>
                    <a:lnTo>
                      <a:pt x="98" y="396"/>
                    </a:lnTo>
                    <a:close/>
                    <a:moveTo>
                      <a:pt x="209" y="103"/>
                    </a:moveTo>
                    <a:lnTo>
                      <a:pt x="210" y="103"/>
                    </a:lnTo>
                    <a:lnTo>
                      <a:pt x="209" y="103"/>
                    </a:lnTo>
                    <a:close/>
                    <a:moveTo>
                      <a:pt x="108" y="372"/>
                    </a:moveTo>
                    <a:lnTo>
                      <a:pt x="110" y="372"/>
                    </a:lnTo>
                    <a:lnTo>
                      <a:pt x="108" y="372"/>
                    </a:lnTo>
                    <a:close/>
                    <a:moveTo>
                      <a:pt x="105" y="377"/>
                    </a:moveTo>
                    <a:lnTo>
                      <a:pt x="105" y="379"/>
                    </a:lnTo>
                    <a:lnTo>
                      <a:pt x="105" y="377"/>
                    </a:lnTo>
                    <a:close/>
                    <a:moveTo>
                      <a:pt x="12" y="0"/>
                    </a:moveTo>
                    <a:lnTo>
                      <a:pt x="13" y="0"/>
                    </a:lnTo>
                    <a:lnTo>
                      <a:pt x="13" y="1"/>
                    </a:lnTo>
                    <a:lnTo>
                      <a:pt x="12" y="1"/>
                    </a:lnTo>
                    <a:lnTo>
                      <a:pt x="12" y="0"/>
                    </a:lnTo>
                    <a:close/>
                    <a:moveTo>
                      <a:pt x="146" y="311"/>
                    </a:moveTo>
                    <a:lnTo>
                      <a:pt x="146" y="313"/>
                    </a:lnTo>
                    <a:lnTo>
                      <a:pt x="146" y="311"/>
                    </a:lnTo>
                    <a:close/>
                    <a:moveTo>
                      <a:pt x="255" y="71"/>
                    </a:moveTo>
                    <a:lnTo>
                      <a:pt x="255" y="73"/>
                    </a:lnTo>
                    <a:lnTo>
                      <a:pt x="255" y="71"/>
                    </a:lnTo>
                    <a:close/>
                    <a:moveTo>
                      <a:pt x="148" y="308"/>
                    </a:moveTo>
                    <a:lnTo>
                      <a:pt x="148" y="309"/>
                    </a:lnTo>
                    <a:lnTo>
                      <a:pt x="148" y="308"/>
                    </a:lnTo>
                    <a:close/>
                    <a:moveTo>
                      <a:pt x="142" y="316"/>
                    </a:moveTo>
                    <a:lnTo>
                      <a:pt x="144" y="316"/>
                    </a:lnTo>
                    <a:lnTo>
                      <a:pt x="142" y="316"/>
                    </a:lnTo>
                    <a:close/>
                    <a:moveTo>
                      <a:pt x="142" y="316"/>
                    </a:moveTo>
                    <a:lnTo>
                      <a:pt x="144" y="316"/>
                    </a:lnTo>
                    <a:lnTo>
                      <a:pt x="144" y="318"/>
                    </a:lnTo>
                    <a:lnTo>
                      <a:pt x="142" y="318"/>
                    </a:lnTo>
                    <a:lnTo>
                      <a:pt x="142" y="316"/>
                    </a:lnTo>
                    <a:close/>
                    <a:moveTo>
                      <a:pt x="122" y="369"/>
                    </a:moveTo>
                    <a:lnTo>
                      <a:pt x="122" y="371"/>
                    </a:lnTo>
                    <a:lnTo>
                      <a:pt x="122" y="36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9" name="Freeform 25">
                <a:extLst>
                  <a:ext uri="{FF2B5EF4-FFF2-40B4-BE49-F238E27FC236}">
                    <a16:creationId xmlns:a16="http://schemas.microsoft.com/office/drawing/2014/main" id="{DB597224-442D-052D-EE50-E81C4E47BA4F}"/>
                  </a:ext>
                </a:extLst>
              </p:cNvPr>
              <p:cNvSpPr>
                <a:spLocks/>
              </p:cNvSpPr>
              <p:nvPr/>
            </p:nvSpPr>
            <p:spPr bwMode="auto">
              <a:xfrm>
                <a:off x="5692680" y="2822884"/>
                <a:ext cx="3819" cy="3526"/>
              </a:xfrm>
              <a:custGeom>
                <a:avLst/>
                <a:gdLst>
                  <a:gd name="T0" fmla="*/ 1 w 13"/>
                  <a:gd name="T1" fmla="*/ 0 h 12"/>
                  <a:gd name="T2" fmla="*/ 3 w 13"/>
                  <a:gd name="T3" fmla="*/ 2 h 12"/>
                  <a:gd name="T4" fmla="*/ 3 w 13"/>
                  <a:gd name="T5" fmla="*/ 4 h 12"/>
                  <a:gd name="T6" fmla="*/ 5 w 13"/>
                  <a:gd name="T7" fmla="*/ 6 h 12"/>
                  <a:gd name="T8" fmla="*/ 5 w 13"/>
                  <a:gd name="T9" fmla="*/ 7 h 12"/>
                  <a:gd name="T10" fmla="*/ 6 w 13"/>
                  <a:gd name="T11" fmla="*/ 7 h 12"/>
                  <a:gd name="T12" fmla="*/ 8 w 13"/>
                  <a:gd name="T13" fmla="*/ 7 h 12"/>
                  <a:gd name="T14" fmla="*/ 10 w 13"/>
                  <a:gd name="T15" fmla="*/ 7 h 12"/>
                  <a:gd name="T16" fmla="*/ 12 w 13"/>
                  <a:gd name="T17" fmla="*/ 9 h 12"/>
                  <a:gd name="T18" fmla="*/ 12 w 13"/>
                  <a:gd name="T19" fmla="*/ 11 h 12"/>
                  <a:gd name="T20" fmla="*/ 13 w 13"/>
                  <a:gd name="T21" fmla="*/ 11 h 12"/>
                  <a:gd name="T22" fmla="*/ 13 w 13"/>
                  <a:gd name="T23" fmla="*/ 12 h 12"/>
                  <a:gd name="T24" fmla="*/ 12 w 13"/>
                  <a:gd name="T25" fmla="*/ 12 h 12"/>
                  <a:gd name="T26" fmla="*/ 10 w 13"/>
                  <a:gd name="T27" fmla="*/ 12 h 12"/>
                  <a:gd name="T28" fmla="*/ 10 w 13"/>
                  <a:gd name="T29" fmla="*/ 11 h 12"/>
                  <a:gd name="T30" fmla="*/ 8 w 13"/>
                  <a:gd name="T31" fmla="*/ 11 h 12"/>
                  <a:gd name="T32" fmla="*/ 6 w 13"/>
                  <a:gd name="T33" fmla="*/ 11 h 12"/>
                  <a:gd name="T34" fmla="*/ 6 w 13"/>
                  <a:gd name="T35" fmla="*/ 9 h 12"/>
                  <a:gd name="T36" fmla="*/ 5 w 13"/>
                  <a:gd name="T37" fmla="*/ 9 h 12"/>
                  <a:gd name="T38" fmla="*/ 5 w 13"/>
                  <a:gd name="T39" fmla="*/ 7 h 12"/>
                  <a:gd name="T40" fmla="*/ 3 w 13"/>
                  <a:gd name="T41" fmla="*/ 7 h 12"/>
                  <a:gd name="T42" fmla="*/ 1 w 13"/>
                  <a:gd name="T43" fmla="*/ 7 h 12"/>
                  <a:gd name="T44" fmla="*/ 1 w 13"/>
                  <a:gd name="T45" fmla="*/ 6 h 12"/>
                  <a:gd name="T46" fmla="*/ 1 w 13"/>
                  <a:gd name="T47" fmla="*/ 4 h 12"/>
                  <a:gd name="T48" fmla="*/ 0 w 13"/>
                  <a:gd name="T49" fmla="*/ 4 h 12"/>
                  <a:gd name="T50" fmla="*/ 0 w 13"/>
                  <a:gd name="T51" fmla="*/ 2 h 12"/>
                  <a:gd name="T52" fmla="*/ 0 w 13"/>
                  <a:gd name="T53" fmla="*/ 0 h 12"/>
                  <a:gd name="T54" fmla="*/ 1 w 13"/>
                  <a:gd name="T5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 h="12">
                    <a:moveTo>
                      <a:pt x="1" y="0"/>
                    </a:moveTo>
                    <a:lnTo>
                      <a:pt x="3" y="2"/>
                    </a:lnTo>
                    <a:lnTo>
                      <a:pt x="3" y="4"/>
                    </a:lnTo>
                    <a:lnTo>
                      <a:pt x="5" y="6"/>
                    </a:lnTo>
                    <a:lnTo>
                      <a:pt x="5" y="7"/>
                    </a:lnTo>
                    <a:lnTo>
                      <a:pt x="6" y="7"/>
                    </a:lnTo>
                    <a:lnTo>
                      <a:pt x="8" y="7"/>
                    </a:lnTo>
                    <a:lnTo>
                      <a:pt x="10" y="7"/>
                    </a:lnTo>
                    <a:lnTo>
                      <a:pt x="12" y="9"/>
                    </a:lnTo>
                    <a:lnTo>
                      <a:pt x="12" y="11"/>
                    </a:lnTo>
                    <a:lnTo>
                      <a:pt x="13" y="11"/>
                    </a:lnTo>
                    <a:lnTo>
                      <a:pt x="13" y="12"/>
                    </a:lnTo>
                    <a:lnTo>
                      <a:pt x="12" y="12"/>
                    </a:lnTo>
                    <a:lnTo>
                      <a:pt x="10" y="12"/>
                    </a:lnTo>
                    <a:lnTo>
                      <a:pt x="10" y="11"/>
                    </a:lnTo>
                    <a:lnTo>
                      <a:pt x="8" y="11"/>
                    </a:lnTo>
                    <a:lnTo>
                      <a:pt x="6" y="11"/>
                    </a:lnTo>
                    <a:lnTo>
                      <a:pt x="6" y="9"/>
                    </a:lnTo>
                    <a:lnTo>
                      <a:pt x="5" y="9"/>
                    </a:lnTo>
                    <a:lnTo>
                      <a:pt x="5" y="7"/>
                    </a:lnTo>
                    <a:lnTo>
                      <a:pt x="3" y="7"/>
                    </a:lnTo>
                    <a:lnTo>
                      <a:pt x="1" y="7"/>
                    </a:lnTo>
                    <a:lnTo>
                      <a:pt x="1" y="6"/>
                    </a:lnTo>
                    <a:lnTo>
                      <a:pt x="1" y="4"/>
                    </a:lnTo>
                    <a:lnTo>
                      <a:pt x="0" y="4"/>
                    </a:lnTo>
                    <a:lnTo>
                      <a:pt x="0" y="2"/>
                    </a:lnTo>
                    <a:lnTo>
                      <a:pt x="0" y="0"/>
                    </a:lnTo>
                    <a:lnTo>
                      <a:pt x="1"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0" name="Freeform 28">
                <a:extLst>
                  <a:ext uri="{FF2B5EF4-FFF2-40B4-BE49-F238E27FC236}">
                    <a16:creationId xmlns:a16="http://schemas.microsoft.com/office/drawing/2014/main" id="{F5A9AA68-C170-F391-7866-4F1BE1AA6604}"/>
                  </a:ext>
                </a:extLst>
              </p:cNvPr>
              <p:cNvSpPr>
                <a:spLocks noEditPoints="1"/>
              </p:cNvSpPr>
              <p:nvPr/>
            </p:nvSpPr>
            <p:spPr bwMode="auto">
              <a:xfrm>
                <a:off x="5469451" y="2932442"/>
                <a:ext cx="163308" cy="64030"/>
              </a:xfrm>
              <a:custGeom>
                <a:avLst/>
                <a:gdLst>
                  <a:gd name="T0" fmla="*/ 549 w 556"/>
                  <a:gd name="T1" fmla="*/ 61 h 218"/>
                  <a:gd name="T2" fmla="*/ 554 w 556"/>
                  <a:gd name="T3" fmla="*/ 78 h 218"/>
                  <a:gd name="T4" fmla="*/ 540 w 556"/>
                  <a:gd name="T5" fmla="*/ 104 h 218"/>
                  <a:gd name="T6" fmla="*/ 489 w 556"/>
                  <a:gd name="T7" fmla="*/ 143 h 218"/>
                  <a:gd name="T8" fmla="*/ 454 w 556"/>
                  <a:gd name="T9" fmla="*/ 167 h 218"/>
                  <a:gd name="T10" fmla="*/ 447 w 556"/>
                  <a:gd name="T11" fmla="*/ 177 h 218"/>
                  <a:gd name="T12" fmla="*/ 440 w 556"/>
                  <a:gd name="T13" fmla="*/ 197 h 218"/>
                  <a:gd name="T14" fmla="*/ 428 w 556"/>
                  <a:gd name="T15" fmla="*/ 216 h 218"/>
                  <a:gd name="T16" fmla="*/ 409 w 556"/>
                  <a:gd name="T17" fmla="*/ 202 h 218"/>
                  <a:gd name="T18" fmla="*/ 387 w 556"/>
                  <a:gd name="T19" fmla="*/ 196 h 218"/>
                  <a:gd name="T20" fmla="*/ 382 w 556"/>
                  <a:gd name="T21" fmla="*/ 192 h 218"/>
                  <a:gd name="T22" fmla="*/ 389 w 556"/>
                  <a:gd name="T23" fmla="*/ 179 h 218"/>
                  <a:gd name="T24" fmla="*/ 392 w 556"/>
                  <a:gd name="T25" fmla="*/ 160 h 218"/>
                  <a:gd name="T26" fmla="*/ 401 w 556"/>
                  <a:gd name="T27" fmla="*/ 138 h 218"/>
                  <a:gd name="T28" fmla="*/ 399 w 556"/>
                  <a:gd name="T29" fmla="*/ 126 h 218"/>
                  <a:gd name="T30" fmla="*/ 398 w 556"/>
                  <a:gd name="T31" fmla="*/ 128 h 218"/>
                  <a:gd name="T32" fmla="*/ 389 w 556"/>
                  <a:gd name="T33" fmla="*/ 136 h 218"/>
                  <a:gd name="T34" fmla="*/ 370 w 556"/>
                  <a:gd name="T35" fmla="*/ 129 h 218"/>
                  <a:gd name="T36" fmla="*/ 369 w 556"/>
                  <a:gd name="T37" fmla="*/ 119 h 218"/>
                  <a:gd name="T38" fmla="*/ 369 w 556"/>
                  <a:gd name="T39" fmla="*/ 94 h 218"/>
                  <a:gd name="T40" fmla="*/ 374 w 556"/>
                  <a:gd name="T41" fmla="*/ 80 h 218"/>
                  <a:gd name="T42" fmla="*/ 379 w 556"/>
                  <a:gd name="T43" fmla="*/ 66 h 218"/>
                  <a:gd name="T44" fmla="*/ 391 w 556"/>
                  <a:gd name="T45" fmla="*/ 49 h 218"/>
                  <a:gd name="T46" fmla="*/ 394 w 556"/>
                  <a:gd name="T47" fmla="*/ 36 h 218"/>
                  <a:gd name="T48" fmla="*/ 398 w 556"/>
                  <a:gd name="T49" fmla="*/ 20 h 218"/>
                  <a:gd name="T50" fmla="*/ 425 w 556"/>
                  <a:gd name="T51" fmla="*/ 10 h 218"/>
                  <a:gd name="T52" fmla="*/ 435 w 556"/>
                  <a:gd name="T53" fmla="*/ 5 h 218"/>
                  <a:gd name="T54" fmla="*/ 447 w 556"/>
                  <a:gd name="T55" fmla="*/ 8 h 218"/>
                  <a:gd name="T56" fmla="*/ 464 w 556"/>
                  <a:gd name="T57" fmla="*/ 20 h 218"/>
                  <a:gd name="T58" fmla="*/ 477 w 556"/>
                  <a:gd name="T59" fmla="*/ 29 h 218"/>
                  <a:gd name="T60" fmla="*/ 493 w 556"/>
                  <a:gd name="T61" fmla="*/ 37 h 218"/>
                  <a:gd name="T62" fmla="*/ 513 w 556"/>
                  <a:gd name="T63" fmla="*/ 41 h 218"/>
                  <a:gd name="T64" fmla="*/ 532 w 556"/>
                  <a:gd name="T65" fmla="*/ 43 h 218"/>
                  <a:gd name="T66" fmla="*/ 554 w 556"/>
                  <a:gd name="T67" fmla="*/ 53 h 218"/>
                  <a:gd name="T68" fmla="*/ 24 w 556"/>
                  <a:gd name="T69" fmla="*/ 65 h 218"/>
                  <a:gd name="T70" fmla="*/ 25 w 556"/>
                  <a:gd name="T71" fmla="*/ 82 h 218"/>
                  <a:gd name="T72" fmla="*/ 5 w 556"/>
                  <a:gd name="T73" fmla="*/ 78 h 218"/>
                  <a:gd name="T74" fmla="*/ 15 w 556"/>
                  <a:gd name="T75" fmla="*/ 63 h 218"/>
                  <a:gd name="T76" fmla="*/ 5 w 556"/>
                  <a:gd name="T77" fmla="*/ 48 h 218"/>
                  <a:gd name="T78" fmla="*/ 44 w 556"/>
                  <a:gd name="T79" fmla="*/ 75 h 218"/>
                  <a:gd name="T80" fmla="*/ 46 w 556"/>
                  <a:gd name="T81" fmla="*/ 65 h 218"/>
                  <a:gd name="T82" fmla="*/ 389 w 556"/>
                  <a:gd name="T83" fmla="*/ 148 h 218"/>
                  <a:gd name="T84" fmla="*/ 8 w 556"/>
                  <a:gd name="T85" fmla="*/ 58 h 218"/>
                  <a:gd name="T86" fmla="*/ 7 w 556"/>
                  <a:gd name="T87" fmla="*/ 58 h 218"/>
                  <a:gd name="T88" fmla="*/ 30 w 556"/>
                  <a:gd name="T89" fmla="*/ 54 h 218"/>
                  <a:gd name="T90" fmla="*/ 71 w 556"/>
                  <a:gd name="T91" fmla="*/ 78 h 218"/>
                  <a:gd name="T92" fmla="*/ 41 w 556"/>
                  <a:gd name="T93" fmla="*/ 90 h 218"/>
                  <a:gd name="T94" fmla="*/ 399 w 556"/>
                  <a:gd name="T95" fmla="*/ 136 h 218"/>
                  <a:gd name="T96" fmla="*/ 391 w 556"/>
                  <a:gd name="T97" fmla="*/ 136 h 218"/>
                  <a:gd name="T98" fmla="*/ 403 w 556"/>
                  <a:gd name="T99" fmla="*/ 138 h 218"/>
                  <a:gd name="T100" fmla="*/ 428 w 556"/>
                  <a:gd name="T101" fmla="*/ 5 h 218"/>
                  <a:gd name="T102" fmla="*/ 66 w 556"/>
                  <a:gd name="T103" fmla="*/ 95 h 218"/>
                  <a:gd name="T104" fmla="*/ 391 w 556"/>
                  <a:gd name="T105" fmla="*/ 145 h 218"/>
                  <a:gd name="T106" fmla="*/ 394 w 556"/>
                  <a:gd name="T107" fmla="*/ 124 h 218"/>
                  <a:gd name="T108" fmla="*/ 394 w 556"/>
                  <a:gd name="T109" fmla="*/ 138 h 218"/>
                  <a:gd name="T110" fmla="*/ 392 w 556"/>
                  <a:gd name="T111" fmla="*/ 129 h 218"/>
                  <a:gd name="T112" fmla="*/ 387 w 556"/>
                  <a:gd name="T113" fmla="*/ 162 h 218"/>
                  <a:gd name="T114" fmla="*/ 392 w 556"/>
                  <a:gd name="T115" fmla="*/ 36 h 218"/>
                  <a:gd name="T116" fmla="*/ 394 w 556"/>
                  <a:gd name="T117" fmla="*/ 129 h 218"/>
                  <a:gd name="T118" fmla="*/ 396 w 556"/>
                  <a:gd name="T119" fmla="*/ 131 h 218"/>
                  <a:gd name="T120" fmla="*/ 399 w 556"/>
                  <a:gd name="T121" fmla="*/ 134 h 218"/>
                  <a:gd name="T122" fmla="*/ 387 w 556"/>
                  <a:gd name="T123" fmla="*/ 139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56" h="218">
                    <a:moveTo>
                      <a:pt x="554" y="53"/>
                    </a:moveTo>
                    <a:lnTo>
                      <a:pt x="552" y="54"/>
                    </a:lnTo>
                    <a:lnTo>
                      <a:pt x="551" y="54"/>
                    </a:lnTo>
                    <a:lnTo>
                      <a:pt x="549" y="54"/>
                    </a:lnTo>
                    <a:lnTo>
                      <a:pt x="547" y="54"/>
                    </a:lnTo>
                    <a:lnTo>
                      <a:pt x="547" y="53"/>
                    </a:lnTo>
                    <a:lnTo>
                      <a:pt x="545" y="53"/>
                    </a:lnTo>
                    <a:lnTo>
                      <a:pt x="544" y="53"/>
                    </a:lnTo>
                    <a:lnTo>
                      <a:pt x="542" y="53"/>
                    </a:lnTo>
                    <a:lnTo>
                      <a:pt x="542" y="54"/>
                    </a:lnTo>
                    <a:lnTo>
                      <a:pt x="544" y="54"/>
                    </a:lnTo>
                    <a:lnTo>
                      <a:pt x="544" y="56"/>
                    </a:lnTo>
                    <a:lnTo>
                      <a:pt x="545" y="56"/>
                    </a:lnTo>
                    <a:lnTo>
                      <a:pt x="547" y="58"/>
                    </a:lnTo>
                    <a:lnTo>
                      <a:pt x="545" y="58"/>
                    </a:lnTo>
                    <a:lnTo>
                      <a:pt x="547" y="58"/>
                    </a:lnTo>
                    <a:lnTo>
                      <a:pt x="547" y="60"/>
                    </a:lnTo>
                    <a:lnTo>
                      <a:pt x="547" y="61"/>
                    </a:lnTo>
                    <a:lnTo>
                      <a:pt x="549" y="61"/>
                    </a:lnTo>
                    <a:lnTo>
                      <a:pt x="549" y="63"/>
                    </a:lnTo>
                    <a:lnTo>
                      <a:pt x="551" y="65"/>
                    </a:lnTo>
                    <a:lnTo>
                      <a:pt x="552" y="65"/>
                    </a:lnTo>
                    <a:lnTo>
                      <a:pt x="552" y="66"/>
                    </a:lnTo>
                    <a:lnTo>
                      <a:pt x="554" y="66"/>
                    </a:lnTo>
                    <a:lnTo>
                      <a:pt x="554" y="68"/>
                    </a:lnTo>
                    <a:lnTo>
                      <a:pt x="556" y="68"/>
                    </a:lnTo>
                    <a:lnTo>
                      <a:pt x="554" y="68"/>
                    </a:lnTo>
                    <a:lnTo>
                      <a:pt x="554" y="70"/>
                    </a:lnTo>
                    <a:lnTo>
                      <a:pt x="556" y="70"/>
                    </a:lnTo>
                    <a:lnTo>
                      <a:pt x="554" y="71"/>
                    </a:lnTo>
                    <a:lnTo>
                      <a:pt x="554" y="70"/>
                    </a:lnTo>
                    <a:lnTo>
                      <a:pt x="554" y="71"/>
                    </a:lnTo>
                    <a:lnTo>
                      <a:pt x="554" y="70"/>
                    </a:lnTo>
                    <a:lnTo>
                      <a:pt x="554" y="71"/>
                    </a:lnTo>
                    <a:lnTo>
                      <a:pt x="554" y="73"/>
                    </a:lnTo>
                    <a:lnTo>
                      <a:pt x="554" y="75"/>
                    </a:lnTo>
                    <a:lnTo>
                      <a:pt x="554" y="77"/>
                    </a:lnTo>
                    <a:lnTo>
                      <a:pt x="554" y="78"/>
                    </a:lnTo>
                    <a:lnTo>
                      <a:pt x="556" y="78"/>
                    </a:lnTo>
                    <a:lnTo>
                      <a:pt x="556" y="80"/>
                    </a:lnTo>
                    <a:lnTo>
                      <a:pt x="554" y="80"/>
                    </a:lnTo>
                    <a:lnTo>
                      <a:pt x="556" y="82"/>
                    </a:lnTo>
                    <a:lnTo>
                      <a:pt x="554" y="82"/>
                    </a:lnTo>
                    <a:lnTo>
                      <a:pt x="552" y="82"/>
                    </a:lnTo>
                    <a:lnTo>
                      <a:pt x="551" y="82"/>
                    </a:lnTo>
                    <a:lnTo>
                      <a:pt x="551" y="80"/>
                    </a:lnTo>
                    <a:lnTo>
                      <a:pt x="549" y="80"/>
                    </a:lnTo>
                    <a:lnTo>
                      <a:pt x="549" y="82"/>
                    </a:lnTo>
                    <a:lnTo>
                      <a:pt x="547" y="88"/>
                    </a:lnTo>
                    <a:lnTo>
                      <a:pt x="547" y="90"/>
                    </a:lnTo>
                    <a:lnTo>
                      <a:pt x="545" y="97"/>
                    </a:lnTo>
                    <a:lnTo>
                      <a:pt x="544" y="99"/>
                    </a:lnTo>
                    <a:lnTo>
                      <a:pt x="544" y="100"/>
                    </a:lnTo>
                    <a:lnTo>
                      <a:pt x="544" y="102"/>
                    </a:lnTo>
                    <a:lnTo>
                      <a:pt x="542" y="100"/>
                    </a:lnTo>
                    <a:lnTo>
                      <a:pt x="542" y="102"/>
                    </a:lnTo>
                    <a:lnTo>
                      <a:pt x="540" y="104"/>
                    </a:lnTo>
                    <a:lnTo>
                      <a:pt x="539" y="107"/>
                    </a:lnTo>
                    <a:lnTo>
                      <a:pt x="535" y="109"/>
                    </a:lnTo>
                    <a:lnTo>
                      <a:pt x="535" y="111"/>
                    </a:lnTo>
                    <a:lnTo>
                      <a:pt x="532" y="114"/>
                    </a:lnTo>
                    <a:lnTo>
                      <a:pt x="528" y="119"/>
                    </a:lnTo>
                    <a:lnTo>
                      <a:pt x="527" y="121"/>
                    </a:lnTo>
                    <a:lnTo>
                      <a:pt x="527" y="122"/>
                    </a:lnTo>
                    <a:lnTo>
                      <a:pt x="523" y="124"/>
                    </a:lnTo>
                    <a:lnTo>
                      <a:pt x="518" y="128"/>
                    </a:lnTo>
                    <a:lnTo>
                      <a:pt x="515" y="129"/>
                    </a:lnTo>
                    <a:lnTo>
                      <a:pt x="513" y="131"/>
                    </a:lnTo>
                    <a:lnTo>
                      <a:pt x="511" y="134"/>
                    </a:lnTo>
                    <a:lnTo>
                      <a:pt x="510" y="134"/>
                    </a:lnTo>
                    <a:lnTo>
                      <a:pt x="508" y="136"/>
                    </a:lnTo>
                    <a:lnTo>
                      <a:pt x="506" y="136"/>
                    </a:lnTo>
                    <a:lnTo>
                      <a:pt x="505" y="138"/>
                    </a:lnTo>
                    <a:lnTo>
                      <a:pt x="503" y="138"/>
                    </a:lnTo>
                    <a:lnTo>
                      <a:pt x="501" y="138"/>
                    </a:lnTo>
                    <a:lnTo>
                      <a:pt x="489" y="143"/>
                    </a:lnTo>
                    <a:lnTo>
                      <a:pt x="476" y="148"/>
                    </a:lnTo>
                    <a:lnTo>
                      <a:pt x="471" y="148"/>
                    </a:lnTo>
                    <a:lnTo>
                      <a:pt x="467" y="150"/>
                    </a:lnTo>
                    <a:lnTo>
                      <a:pt x="464" y="153"/>
                    </a:lnTo>
                    <a:lnTo>
                      <a:pt x="462" y="153"/>
                    </a:lnTo>
                    <a:lnTo>
                      <a:pt x="462" y="155"/>
                    </a:lnTo>
                    <a:lnTo>
                      <a:pt x="460" y="155"/>
                    </a:lnTo>
                    <a:lnTo>
                      <a:pt x="460" y="156"/>
                    </a:lnTo>
                    <a:lnTo>
                      <a:pt x="459" y="156"/>
                    </a:lnTo>
                    <a:lnTo>
                      <a:pt x="459" y="158"/>
                    </a:lnTo>
                    <a:lnTo>
                      <a:pt x="457" y="160"/>
                    </a:lnTo>
                    <a:lnTo>
                      <a:pt x="457" y="162"/>
                    </a:lnTo>
                    <a:lnTo>
                      <a:pt x="455" y="162"/>
                    </a:lnTo>
                    <a:lnTo>
                      <a:pt x="455" y="163"/>
                    </a:lnTo>
                    <a:lnTo>
                      <a:pt x="455" y="165"/>
                    </a:lnTo>
                    <a:lnTo>
                      <a:pt x="457" y="165"/>
                    </a:lnTo>
                    <a:lnTo>
                      <a:pt x="457" y="167"/>
                    </a:lnTo>
                    <a:lnTo>
                      <a:pt x="455" y="167"/>
                    </a:lnTo>
                    <a:lnTo>
                      <a:pt x="454" y="167"/>
                    </a:lnTo>
                    <a:lnTo>
                      <a:pt x="454" y="165"/>
                    </a:lnTo>
                    <a:lnTo>
                      <a:pt x="454" y="163"/>
                    </a:lnTo>
                    <a:lnTo>
                      <a:pt x="452" y="163"/>
                    </a:lnTo>
                    <a:lnTo>
                      <a:pt x="450" y="163"/>
                    </a:lnTo>
                    <a:lnTo>
                      <a:pt x="449" y="163"/>
                    </a:lnTo>
                    <a:lnTo>
                      <a:pt x="450" y="163"/>
                    </a:lnTo>
                    <a:lnTo>
                      <a:pt x="449" y="163"/>
                    </a:lnTo>
                    <a:lnTo>
                      <a:pt x="450" y="165"/>
                    </a:lnTo>
                    <a:lnTo>
                      <a:pt x="449" y="165"/>
                    </a:lnTo>
                    <a:lnTo>
                      <a:pt x="449" y="167"/>
                    </a:lnTo>
                    <a:lnTo>
                      <a:pt x="449" y="168"/>
                    </a:lnTo>
                    <a:lnTo>
                      <a:pt x="449" y="170"/>
                    </a:lnTo>
                    <a:lnTo>
                      <a:pt x="449" y="172"/>
                    </a:lnTo>
                    <a:lnTo>
                      <a:pt x="447" y="172"/>
                    </a:lnTo>
                    <a:lnTo>
                      <a:pt x="449" y="172"/>
                    </a:lnTo>
                    <a:lnTo>
                      <a:pt x="449" y="173"/>
                    </a:lnTo>
                    <a:lnTo>
                      <a:pt x="447" y="173"/>
                    </a:lnTo>
                    <a:lnTo>
                      <a:pt x="447" y="175"/>
                    </a:lnTo>
                    <a:lnTo>
                      <a:pt x="447" y="177"/>
                    </a:lnTo>
                    <a:lnTo>
                      <a:pt x="447" y="179"/>
                    </a:lnTo>
                    <a:lnTo>
                      <a:pt x="445" y="179"/>
                    </a:lnTo>
                    <a:lnTo>
                      <a:pt x="445" y="180"/>
                    </a:lnTo>
                    <a:lnTo>
                      <a:pt x="445" y="182"/>
                    </a:lnTo>
                    <a:lnTo>
                      <a:pt x="443" y="182"/>
                    </a:lnTo>
                    <a:lnTo>
                      <a:pt x="443" y="184"/>
                    </a:lnTo>
                    <a:lnTo>
                      <a:pt x="442" y="184"/>
                    </a:lnTo>
                    <a:lnTo>
                      <a:pt x="442" y="185"/>
                    </a:lnTo>
                    <a:lnTo>
                      <a:pt x="443" y="185"/>
                    </a:lnTo>
                    <a:lnTo>
                      <a:pt x="443" y="187"/>
                    </a:lnTo>
                    <a:lnTo>
                      <a:pt x="442" y="187"/>
                    </a:lnTo>
                    <a:lnTo>
                      <a:pt x="442" y="189"/>
                    </a:lnTo>
                    <a:lnTo>
                      <a:pt x="442" y="190"/>
                    </a:lnTo>
                    <a:lnTo>
                      <a:pt x="440" y="190"/>
                    </a:lnTo>
                    <a:lnTo>
                      <a:pt x="440" y="192"/>
                    </a:lnTo>
                    <a:lnTo>
                      <a:pt x="442" y="192"/>
                    </a:lnTo>
                    <a:lnTo>
                      <a:pt x="440" y="194"/>
                    </a:lnTo>
                    <a:lnTo>
                      <a:pt x="440" y="196"/>
                    </a:lnTo>
                    <a:lnTo>
                      <a:pt x="440" y="197"/>
                    </a:lnTo>
                    <a:lnTo>
                      <a:pt x="442" y="199"/>
                    </a:lnTo>
                    <a:lnTo>
                      <a:pt x="440" y="199"/>
                    </a:lnTo>
                    <a:lnTo>
                      <a:pt x="440" y="201"/>
                    </a:lnTo>
                    <a:lnTo>
                      <a:pt x="438" y="202"/>
                    </a:lnTo>
                    <a:lnTo>
                      <a:pt x="438" y="204"/>
                    </a:lnTo>
                    <a:lnTo>
                      <a:pt x="437" y="206"/>
                    </a:lnTo>
                    <a:lnTo>
                      <a:pt x="435" y="206"/>
                    </a:lnTo>
                    <a:lnTo>
                      <a:pt x="433" y="206"/>
                    </a:lnTo>
                    <a:lnTo>
                      <a:pt x="432" y="208"/>
                    </a:lnTo>
                    <a:lnTo>
                      <a:pt x="432" y="209"/>
                    </a:lnTo>
                    <a:lnTo>
                      <a:pt x="432" y="211"/>
                    </a:lnTo>
                    <a:lnTo>
                      <a:pt x="430" y="211"/>
                    </a:lnTo>
                    <a:lnTo>
                      <a:pt x="432" y="211"/>
                    </a:lnTo>
                    <a:lnTo>
                      <a:pt x="432" y="213"/>
                    </a:lnTo>
                    <a:lnTo>
                      <a:pt x="430" y="213"/>
                    </a:lnTo>
                    <a:lnTo>
                      <a:pt x="432" y="214"/>
                    </a:lnTo>
                    <a:lnTo>
                      <a:pt x="430" y="214"/>
                    </a:lnTo>
                    <a:lnTo>
                      <a:pt x="428" y="214"/>
                    </a:lnTo>
                    <a:lnTo>
                      <a:pt x="428" y="216"/>
                    </a:lnTo>
                    <a:lnTo>
                      <a:pt x="428" y="218"/>
                    </a:lnTo>
                    <a:lnTo>
                      <a:pt x="426" y="218"/>
                    </a:lnTo>
                    <a:lnTo>
                      <a:pt x="425" y="218"/>
                    </a:lnTo>
                    <a:lnTo>
                      <a:pt x="423" y="218"/>
                    </a:lnTo>
                    <a:lnTo>
                      <a:pt x="423" y="216"/>
                    </a:lnTo>
                    <a:lnTo>
                      <a:pt x="421" y="216"/>
                    </a:lnTo>
                    <a:lnTo>
                      <a:pt x="420" y="216"/>
                    </a:lnTo>
                    <a:lnTo>
                      <a:pt x="418" y="216"/>
                    </a:lnTo>
                    <a:lnTo>
                      <a:pt x="418" y="214"/>
                    </a:lnTo>
                    <a:lnTo>
                      <a:pt x="416" y="214"/>
                    </a:lnTo>
                    <a:lnTo>
                      <a:pt x="415" y="213"/>
                    </a:lnTo>
                    <a:lnTo>
                      <a:pt x="413" y="211"/>
                    </a:lnTo>
                    <a:lnTo>
                      <a:pt x="413" y="209"/>
                    </a:lnTo>
                    <a:lnTo>
                      <a:pt x="413" y="208"/>
                    </a:lnTo>
                    <a:lnTo>
                      <a:pt x="411" y="206"/>
                    </a:lnTo>
                    <a:lnTo>
                      <a:pt x="411" y="204"/>
                    </a:lnTo>
                    <a:lnTo>
                      <a:pt x="411" y="202"/>
                    </a:lnTo>
                    <a:lnTo>
                      <a:pt x="409" y="201"/>
                    </a:lnTo>
                    <a:lnTo>
                      <a:pt x="409" y="202"/>
                    </a:lnTo>
                    <a:lnTo>
                      <a:pt x="409" y="201"/>
                    </a:lnTo>
                    <a:lnTo>
                      <a:pt x="408" y="201"/>
                    </a:lnTo>
                    <a:lnTo>
                      <a:pt x="408" y="199"/>
                    </a:lnTo>
                    <a:lnTo>
                      <a:pt x="406" y="199"/>
                    </a:lnTo>
                    <a:lnTo>
                      <a:pt x="404" y="199"/>
                    </a:lnTo>
                    <a:lnTo>
                      <a:pt x="404" y="201"/>
                    </a:lnTo>
                    <a:lnTo>
                      <a:pt x="403" y="201"/>
                    </a:lnTo>
                    <a:lnTo>
                      <a:pt x="401" y="201"/>
                    </a:lnTo>
                    <a:lnTo>
                      <a:pt x="399" y="201"/>
                    </a:lnTo>
                    <a:lnTo>
                      <a:pt x="399" y="199"/>
                    </a:lnTo>
                    <a:lnTo>
                      <a:pt x="398" y="197"/>
                    </a:lnTo>
                    <a:lnTo>
                      <a:pt x="396" y="197"/>
                    </a:lnTo>
                    <a:lnTo>
                      <a:pt x="394" y="197"/>
                    </a:lnTo>
                    <a:lnTo>
                      <a:pt x="392" y="196"/>
                    </a:lnTo>
                    <a:lnTo>
                      <a:pt x="392" y="194"/>
                    </a:lnTo>
                    <a:lnTo>
                      <a:pt x="391" y="194"/>
                    </a:lnTo>
                    <a:lnTo>
                      <a:pt x="389" y="194"/>
                    </a:lnTo>
                    <a:lnTo>
                      <a:pt x="387" y="194"/>
                    </a:lnTo>
                    <a:lnTo>
                      <a:pt x="387" y="196"/>
                    </a:lnTo>
                    <a:lnTo>
                      <a:pt x="386" y="196"/>
                    </a:lnTo>
                    <a:lnTo>
                      <a:pt x="386" y="197"/>
                    </a:lnTo>
                    <a:lnTo>
                      <a:pt x="384" y="197"/>
                    </a:lnTo>
                    <a:lnTo>
                      <a:pt x="384" y="199"/>
                    </a:lnTo>
                    <a:lnTo>
                      <a:pt x="382" y="199"/>
                    </a:lnTo>
                    <a:lnTo>
                      <a:pt x="382" y="201"/>
                    </a:lnTo>
                    <a:lnTo>
                      <a:pt x="381" y="201"/>
                    </a:lnTo>
                    <a:lnTo>
                      <a:pt x="379" y="199"/>
                    </a:lnTo>
                    <a:lnTo>
                      <a:pt x="379" y="201"/>
                    </a:lnTo>
                    <a:lnTo>
                      <a:pt x="379" y="199"/>
                    </a:lnTo>
                    <a:lnTo>
                      <a:pt x="379" y="197"/>
                    </a:lnTo>
                    <a:lnTo>
                      <a:pt x="379" y="196"/>
                    </a:lnTo>
                    <a:lnTo>
                      <a:pt x="381" y="196"/>
                    </a:lnTo>
                    <a:lnTo>
                      <a:pt x="381" y="194"/>
                    </a:lnTo>
                    <a:lnTo>
                      <a:pt x="382" y="192"/>
                    </a:lnTo>
                    <a:lnTo>
                      <a:pt x="382" y="190"/>
                    </a:lnTo>
                    <a:lnTo>
                      <a:pt x="384" y="190"/>
                    </a:lnTo>
                    <a:lnTo>
                      <a:pt x="382" y="190"/>
                    </a:lnTo>
                    <a:lnTo>
                      <a:pt x="382" y="192"/>
                    </a:lnTo>
                    <a:lnTo>
                      <a:pt x="381" y="190"/>
                    </a:lnTo>
                    <a:lnTo>
                      <a:pt x="381" y="192"/>
                    </a:lnTo>
                    <a:lnTo>
                      <a:pt x="379" y="190"/>
                    </a:lnTo>
                    <a:lnTo>
                      <a:pt x="379" y="189"/>
                    </a:lnTo>
                    <a:lnTo>
                      <a:pt x="377" y="189"/>
                    </a:lnTo>
                    <a:lnTo>
                      <a:pt x="379" y="187"/>
                    </a:lnTo>
                    <a:lnTo>
                      <a:pt x="377" y="187"/>
                    </a:lnTo>
                    <a:lnTo>
                      <a:pt x="377" y="185"/>
                    </a:lnTo>
                    <a:lnTo>
                      <a:pt x="379" y="185"/>
                    </a:lnTo>
                    <a:lnTo>
                      <a:pt x="379" y="184"/>
                    </a:lnTo>
                    <a:lnTo>
                      <a:pt x="381" y="184"/>
                    </a:lnTo>
                    <a:lnTo>
                      <a:pt x="382" y="184"/>
                    </a:lnTo>
                    <a:lnTo>
                      <a:pt x="384" y="185"/>
                    </a:lnTo>
                    <a:lnTo>
                      <a:pt x="384" y="184"/>
                    </a:lnTo>
                    <a:lnTo>
                      <a:pt x="386" y="184"/>
                    </a:lnTo>
                    <a:lnTo>
                      <a:pt x="386" y="182"/>
                    </a:lnTo>
                    <a:lnTo>
                      <a:pt x="387" y="182"/>
                    </a:lnTo>
                    <a:lnTo>
                      <a:pt x="389" y="180"/>
                    </a:lnTo>
                    <a:lnTo>
                      <a:pt x="389" y="179"/>
                    </a:lnTo>
                    <a:lnTo>
                      <a:pt x="389" y="177"/>
                    </a:lnTo>
                    <a:lnTo>
                      <a:pt x="387" y="177"/>
                    </a:lnTo>
                    <a:lnTo>
                      <a:pt x="387" y="175"/>
                    </a:lnTo>
                    <a:lnTo>
                      <a:pt x="387" y="173"/>
                    </a:lnTo>
                    <a:lnTo>
                      <a:pt x="387" y="172"/>
                    </a:lnTo>
                    <a:lnTo>
                      <a:pt x="387" y="170"/>
                    </a:lnTo>
                    <a:lnTo>
                      <a:pt x="386" y="170"/>
                    </a:lnTo>
                    <a:lnTo>
                      <a:pt x="387" y="168"/>
                    </a:lnTo>
                    <a:lnTo>
                      <a:pt x="386" y="168"/>
                    </a:lnTo>
                    <a:lnTo>
                      <a:pt x="386" y="167"/>
                    </a:lnTo>
                    <a:lnTo>
                      <a:pt x="386" y="165"/>
                    </a:lnTo>
                    <a:lnTo>
                      <a:pt x="387" y="165"/>
                    </a:lnTo>
                    <a:lnTo>
                      <a:pt x="389" y="165"/>
                    </a:lnTo>
                    <a:lnTo>
                      <a:pt x="391" y="165"/>
                    </a:lnTo>
                    <a:lnTo>
                      <a:pt x="392" y="163"/>
                    </a:lnTo>
                    <a:lnTo>
                      <a:pt x="392" y="162"/>
                    </a:lnTo>
                    <a:lnTo>
                      <a:pt x="392" y="163"/>
                    </a:lnTo>
                    <a:lnTo>
                      <a:pt x="392" y="162"/>
                    </a:lnTo>
                    <a:lnTo>
                      <a:pt x="392" y="160"/>
                    </a:lnTo>
                    <a:lnTo>
                      <a:pt x="394" y="160"/>
                    </a:lnTo>
                    <a:lnTo>
                      <a:pt x="394" y="158"/>
                    </a:lnTo>
                    <a:lnTo>
                      <a:pt x="394" y="156"/>
                    </a:lnTo>
                    <a:lnTo>
                      <a:pt x="396" y="156"/>
                    </a:lnTo>
                    <a:lnTo>
                      <a:pt x="398" y="155"/>
                    </a:lnTo>
                    <a:lnTo>
                      <a:pt x="398" y="153"/>
                    </a:lnTo>
                    <a:lnTo>
                      <a:pt x="398" y="151"/>
                    </a:lnTo>
                    <a:lnTo>
                      <a:pt x="398" y="153"/>
                    </a:lnTo>
                    <a:lnTo>
                      <a:pt x="398" y="151"/>
                    </a:lnTo>
                    <a:lnTo>
                      <a:pt x="399" y="151"/>
                    </a:lnTo>
                    <a:lnTo>
                      <a:pt x="399" y="150"/>
                    </a:lnTo>
                    <a:lnTo>
                      <a:pt x="399" y="148"/>
                    </a:lnTo>
                    <a:lnTo>
                      <a:pt x="399" y="146"/>
                    </a:lnTo>
                    <a:lnTo>
                      <a:pt x="399" y="145"/>
                    </a:lnTo>
                    <a:lnTo>
                      <a:pt x="399" y="143"/>
                    </a:lnTo>
                    <a:lnTo>
                      <a:pt x="401" y="143"/>
                    </a:lnTo>
                    <a:lnTo>
                      <a:pt x="401" y="141"/>
                    </a:lnTo>
                    <a:lnTo>
                      <a:pt x="401" y="139"/>
                    </a:lnTo>
                    <a:lnTo>
                      <a:pt x="401" y="138"/>
                    </a:lnTo>
                    <a:lnTo>
                      <a:pt x="403" y="138"/>
                    </a:lnTo>
                    <a:lnTo>
                      <a:pt x="403" y="136"/>
                    </a:lnTo>
                    <a:lnTo>
                      <a:pt x="403" y="134"/>
                    </a:lnTo>
                    <a:lnTo>
                      <a:pt x="403" y="133"/>
                    </a:lnTo>
                    <a:lnTo>
                      <a:pt x="403" y="134"/>
                    </a:lnTo>
                    <a:lnTo>
                      <a:pt x="403" y="133"/>
                    </a:lnTo>
                    <a:lnTo>
                      <a:pt x="401" y="134"/>
                    </a:lnTo>
                    <a:lnTo>
                      <a:pt x="401" y="133"/>
                    </a:lnTo>
                    <a:lnTo>
                      <a:pt x="401" y="131"/>
                    </a:lnTo>
                    <a:lnTo>
                      <a:pt x="399" y="131"/>
                    </a:lnTo>
                    <a:lnTo>
                      <a:pt x="399" y="129"/>
                    </a:lnTo>
                    <a:lnTo>
                      <a:pt x="399" y="128"/>
                    </a:lnTo>
                    <a:lnTo>
                      <a:pt x="399" y="126"/>
                    </a:lnTo>
                    <a:lnTo>
                      <a:pt x="399" y="124"/>
                    </a:lnTo>
                    <a:lnTo>
                      <a:pt x="399" y="122"/>
                    </a:lnTo>
                    <a:lnTo>
                      <a:pt x="398" y="122"/>
                    </a:lnTo>
                    <a:lnTo>
                      <a:pt x="398" y="124"/>
                    </a:lnTo>
                    <a:lnTo>
                      <a:pt x="398" y="126"/>
                    </a:lnTo>
                    <a:lnTo>
                      <a:pt x="399" y="126"/>
                    </a:lnTo>
                    <a:lnTo>
                      <a:pt x="399" y="128"/>
                    </a:lnTo>
                    <a:lnTo>
                      <a:pt x="399" y="129"/>
                    </a:lnTo>
                    <a:lnTo>
                      <a:pt x="399" y="131"/>
                    </a:lnTo>
                    <a:lnTo>
                      <a:pt x="398" y="131"/>
                    </a:lnTo>
                    <a:lnTo>
                      <a:pt x="398" y="133"/>
                    </a:lnTo>
                    <a:lnTo>
                      <a:pt x="398" y="134"/>
                    </a:lnTo>
                    <a:lnTo>
                      <a:pt x="398" y="136"/>
                    </a:lnTo>
                    <a:lnTo>
                      <a:pt x="396" y="136"/>
                    </a:lnTo>
                    <a:lnTo>
                      <a:pt x="396" y="134"/>
                    </a:lnTo>
                    <a:lnTo>
                      <a:pt x="394" y="134"/>
                    </a:lnTo>
                    <a:lnTo>
                      <a:pt x="396" y="134"/>
                    </a:lnTo>
                    <a:lnTo>
                      <a:pt x="396" y="133"/>
                    </a:lnTo>
                    <a:lnTo>
                      <a:pt x="398" y="133"/>
                    </a:lnTo>
                    <a:lnTo>
                      <a:pt x="398" y="131"/>
                    </a:lnTo>
                    <a:lnTo>
                      <a:pt x="398" y="129"/>
                    </a:lnTo>
                    <a:lnTo>
                      <a:pt x="396" y="129"/>
                    </a:lnTo>
                    <a:lnTo>
                      <a:pt x="398" y="128"/>
                    </a:lnTo>
                    <a:lnTo>
                      <a:pt x="396" y="128"/>
                    </a:lnTo>
                    <a:lnTo>
                      <a:pt x="398" y="128"/>
                    </a:lnTo>
                    <a:lnTo>
                      <a:pt x="396" y="126"/>
                    </a:lnTo>
                    <a:lnTo>
                      <a:pt x="398" y="126"/>
                    </a:lnTo>
                    <a:lnTo>
                      <a:pt x="396" y="126"/>
                    </a:lnTo>
                    <a:lnTo>
                      <a:pt x="396" y="124"/>
                    </a:lnTo>
                    <a:lnTo>
                      <a:pt x="394" y="124"/>
                    </a:lnTo>
                    <a:lnTo>
                      <a:pt x="394" y="126"/>
                    </a:lnTo>
                    <a:lnTo>
                      <a:pt x="394" y="128"/>
                    </a:lnTo>
                    <a:lnTo>
                      <a:pt x="396" y="128"/>
                    </a:lnTo>
                    <a:lnTo>
                      <a:pt x="394" y="128"/>
                    </a:lnTo>
                    <a:lnTo>
                      <a:pt x="392" y="128"/>
                    </a:lnTo>
                    <a:lnTo>
                      <a:pt x="392" y="129"/>
                    </a:lnTo>
                    <a:lnTo>
                      <a:pt x="391" y="129"/>
                    </a:lnTo>
                    <a:lnTo>
                      <a:pt x="391" y="131"/>
                    </a:lnTo>
                    <a:lnTo>
                      <a:pt x="391" y="133"/>
                    </a:lnTo>
                    <a:lnTo>
                      <a:pt x="391" y="134"/>
                    </a:lnTo>
                    <a:lnTo>
                      <a:pt x="389" y="134"/>
                    </a:lnTo>
                    <a:lnTo>
                      <a:pt x="389" y="136"/>
                    </a:lnTo>
                    <a:lnTo>
                      <a:pt x="387" y="134"/>
                    </a:lnTo>
                    <a:lnTo>
                      <a:pt x="389" y="136"/>
                    </a:lnTo>
                    <a:lnTo>
                      <a:pt x="387" y="136"/>
                    </a:lnTo>
                    <a:lnTo>
                      <a:pt x="386" y="138"/>
                    </a:lnTo>
                    <a:lnTo>
                      <a:pt x="384" y="138"/>
                    </a:lnTo>
                    <a:lnTo>
                      <a:pt x="386" y="138"/>
                    </a:lnTo>
                    <a:lnTo>
                      <a:pt x="386" y="139"/>
                    </a:lnTo>
                    <a:lnTo>
                      <a:pt x="386" y="141"/>
                    </a:lnTo>
                    <a:lnTo>
                      <a:pt x="384" y="141"/>
                    </a:lnTo>
                    <a:lnTo>
                      <a:pt x="382" y="139"/>
                    </a:lnTo>
                    <a:lnTo>
                      <a:pt x="381" y="139"/>
                    </a:lnTo>
                    <a:lnTo>
                      <a:pt x="381" y="138"/>
                    </a:lnTo>
                    <a:lnTo>
                      <a:pt x="379" y="138"/>
                    </a:lnTo>
                    <a:lnTo>
                      <a:pt x="377" y="138"/>
                    </a:lnTo>
                    <a:lnTo>
                      <a:pt x="377" y="136"/>
                    </a:lnTo>
                    <a:lnTo>
                      <a:pt x="376" y="134"/>
                    </a:lnTo>
                    <a:lnTo>
                      <a:pt x="376" y="133"/>
                    </a:lnTo>
                    <a:lnTo>
                      <a:pt x="374" y="133"/>
                    </a:lnTo>
                    <a:lnTo>
                      <a:pt x="372" y="131"/>
                    </a:lnTo>
                    <a:lnTo>
                      <a:pt x="370" y="131"/>
                    </a:lnTo>
                    <a:lnTo>
                      <a:pt x="370" y="129"/>
                    </a:lnTo>
                    <a:lnTo>
                      <a:pt x="369" y="129"/>
                    </a:lnTo>
                    <a:lnTo>
                      <a:pt x="367" y="129"/>
                    </a:lnTo>
                    <a:lnTo>
                      <a:pt x="365" y="128"/>
                    </a:lnTo>
                    <a:lnTo>
                      <a:pt x="364" y="128"/>
                    </a:lnTo>
                    <a:lnTo>
                      <a:pt x="364" y="126"/>
                    </a:lnTo>
                    <a:lnTo>
                      <a:pt x="362" y="126"/>
                    </a:lnTo>
                    <a:lnTo>
                      <a:pt x="362" y="124"/>
                    </a:lnTo>
                    <a:lnTo>
                      <a:pt x="360" y="124"/>
                    </a:lnTo>
                    <a:lnTo>
                      <a:pt x="360" y="122"/>
                    </a:lnTo>
                    <a:lnTo>
                      <a:pt x="360" y="124"/>
                    </a:lnTo>
                    <a:lnTo>
                      <a:pt x="362" y="122"/>
                    </a:lnTo>
                    <a:lnTo>
                      <a:pt x="362" y="124"/>
                    </a:lnTo>
                    <a:lnTo>
                      <a:pt x="364" y="124"/>
                    </a:lnTo>
                    <a:lnTo>
                      <a:pt x="364" y="122"/>
                    </a:lnTo>
                    <a:lnTo>
                      <a:pt x="365" y="122"/>
                    </a:lnTo>
                    <a:lnTo>
                      <a:pt x="367" y="122"/>
                    </a:lnTo>
                    <a:lnTo>
                      <a:pt x="367" y="121"/>
                    </a:lnTo>
                    <a:lnTo>
                      <a:pt x="369" y="121"/>
                    </a:lnTo>
                    <a:lnTo>
                      <a:pt x="369" y="119"/>
                    </a:lnTo>
                    <a:lnTo>
                      <a:pt x="369" y="117"/>
                    </a:lnTo>
                    <a:lnTo>
                      <a:pt x="369" y="116"/>
                    </a:lnTo>
                    <a:lnTo>
                      <a:pt x="369" y="114"/>
                    </a:lnTo>
                    <a:lnTo>
                      <a:pt x="369" y="112"/>
                    </a:lnTo>
                    <a:lnTo>
                      <a:pt x="369" y="111"/>
                    </a:lnTo>
                    <a:lnTo>
                      <a:pt x="369" y="109"/>
                    </a:lnTo>
                    <a:lnTo>
                      <a:pt x="367" y="109"/>
                    </a:lnTo>
                    <a:lnTo>
                      <a:pt x="367" y="107"/>
                    </a:lnTo>
                    <a:lnTo>
                      <a:pt x="367" y="105"/>
                    </a:lnTo>
                    <a:lnTo>
                      <a:pt x="365" y="105"/>
                    </a:lnTo>
                    <a:lnTo>
                      <a:pt x="365" y="104"/>
                    </a:lnTo>
                    <a:lnTo>
                      <a:pt x="365" y="102"/>
                    </a:lnTo>
                    <a:lnTo>
                      <a:pt x="367" y="102"/>
                    </a:lnTo>
                    <a:lnTo>
                      <a:pt x="367" y="100"/>
                    </a:lnTo>
                    <a:lnTo>
                      <a:pt x="367" y="99"/>
                    </a:lnTo>
                    <a:lnTo>
                      <a:pt x="369" y="99"/>
                    </a:lnTo>
                    <a:lnTo>
                      <a:pt x="369" y="97"/>
                    </a:lnTo>
                    <a:lnTo>
                      <a:pt x="369" y="95"/>
                    </a:lnTo>
                    <a:lnTo>
                      <a:pt x="369" y="94"/>
                    </a:lnTo>
                    <a:lnTo>
                      <a:pt x="367" y="92"/>
                    </a:lnTo>
                    <a:lnTo>
                      <a:pt x="367" y="90"/>
                    </a:lnTo>
                    <a:lnTo>
                      <a:pt x="365" y="90"/>
                    </a:lnTo>
                    <a:lnTo>
                      <a:pt x="365" y="88"/>
                    </a:lnTo>
                    <a:lnTo>
                      <a:pt x="364" y="88"/>
                    </a:lnTo>
                    <a:lnTo>
                      <a:pt x="364" y="87"/>
                    </a:lnTo>
                    <a:lnTo>
                      <a:pt x="364" y="85"/>
                    </a:lnTo>
                    <a:lnTo>
                      <a:pt x="364" y="83"/>
                    </a:lnTo>
                    <a:lnTo>
                      <a:pt x="365" y="83"/>
                    </a:lnTo>
                    <a:lnTo>
                      <a:pt x="365" y="82"/>
                    </a:lnTo>
                    <a:lnTo>
                      <a:pt x="367" y="82"/>
                    </a:lnTo>
                    <a:lnTo>
                      <a:pt x="369" y="80"/>
                    </a:lnTo>
                    <a:lnTo>
                      <a:pt x="369" y="82"/>
                    </a:lnTo>
                    <a:lnTo>
                      <a:pt x="370" y="82"/>
                    </a:lnTo>
                    <a:lnTo>
                      <a:pt x="370" y="80"/>
                    </a:lnTo>
                    <a:lnTo>
                      <a:pt x="372" y="80"/>
                    </a:lnTo>
                    <a:lnTo>
                      <a:pt x="372" y="82"/>
                    </a:lnTo>
                    <a:lnTo>
                      <a:pt x="372" y="80"/>
                    </a:lnTo>
                    <a:lnTo>
                      <a:pt x="374" y="80"/>
                    </a:lnTo>
                    <a:lnTo>
                      <a:pt x="376" y="80"/>
                    </a:lnTo>
                    <a:lnTo>
                      <a:pt x="376" y="78"/>
                    </a:lnTo>
                    <a:lnTo>
                      <a:pt x="376" y="77"/>
                    </a:lnTo>
                    <a:lnTo>
                      <a:pt x="376" y="75"/>
                    </a:lnTo>
                    <a:lnTo>
                      <a:pt x="377" y="75"/>
                    </a:lnTo>
                    <a:lnTo>
                      <a:pt x="377" y="73"/>
                    </a:lnTo>
                    <a:lnTo>
                      <a:pt x="377" y="71"/>
                    </a:lnTo>
                    <a:lnTo>
                      <a:pt x="377" y="70"/>
                    </a:lnTo>
                    <a:lnTo>
                      <a:pt x="379" y="70"/>
                    </a:lnTo>
                    <a:lnTo>
                      <a:pt x="381" y="71"/>
                    </a:lnTo>
                    <a:lnTo>
                      <a:pt x="382" y="71"/>
                    </a:lnTo>
                    <a:lnTo>
                      <a:pt x="384" y="71"/>
                    </a:lnTo>
                    <a:lnTo>
                      <a:pt x="382" y="71"/>
                    </a:lnTo>
                    <a:lnTo>
                      <a:pt x="382" y="70"/>
                    </a:lnTo>
                    <a:lnTo>
                      <a:pt x="381" y="71"/>
                    </a:lnTo>
                    <a:lnTo>
                      <a:pt x="381" y="70"/>
                    </a:lnTo>
                    <a:lnTo>
                      <a:pt x="381" y="68"/>
                    </a:lnTo>
                    <a:lnTo>
                      <a:pt x="379" y="68"/>
                    </a:lnTo>
                    <a:lnTo>
                      <a:pt x="379" y="66"/>
                    </a:lnTo>
                    <a:lnTo>
                      <a:pt x="379" y="65"/>
                    </a:lnTo>
                    <a:lnTo>
                      <a:pt x="377" y="65"/>
                    </a:lnTo>
                    <a:lnTo>
                      <a:pt x="377" y="63"/>
                    </a:lnTo>
                    <a:lnTo>
                      <a:pt x="377" y="61"/>
                    </a:lnTo>
                    <a:lnTo>
                      <a:pt x="379" y="61"/>
                    </a:lnTo>
                    <a:lnTo>
                      <a:pt x="379" y="60"/>
                    </a:lnTo>
                    <a:lnTo>
                      <a:pt x="381" y="60"/>
                    </a:lnTo>
                    <a:lnTo>
                      <a:pt x="381" y="58"/>
                    </a:lnTo>
                    <a:lnTo>
                      <a:pt x="381" y="56"/>
                    </a:lnTo>
                    <a:lnTo>
                      <a:pt x="382" y="56"/>
                    </a:lnTo>
                    <a:lnTo>
                      <a:pt x="382" y="54"/>
                    </a:lnTo>
                    <a:lnTo>
                      <a:pt x="384" y="54"/>
                    </a:lnTo>
                    <a:lnTo>
                      <a:pt x="386" y="54"/>
                    </a:lnTo>
                    <a:lnTo>
                      <a:pt x="386" y="53"/>
                    </a:lnTo>
                    <a:lnTo>
                      <a:pt x="387" y="53"/>
                    </a:lnTo>
                    <a:lnTo>
                      <a:pt x="387" y="51"/>
                    </a:lnTo>
                    <a:lnTo>
                      <a:pt x="389" y="51"/>
                    </a:lnTo>
                    <a:lnTo>
                      <a:pt x="389" y="49"/>
                    </a:lnTo>
                    <a:lnTo>
                      <a:pt x="391" y="49"/>
                    </a:lnTo>
                    <a:lnTo>
                      <a:pt x="391" y="48"/>
                    </a:lnTo>
                    <a:lnTo>
                      <a:pt x="392" y="46"/>
                    </a:lnTo>
                    <a:lnTo>
                      <a:pt x="392" y="44"/>
                    </a:lnTo>
                    <a:lnTo>
                      <a:pt x="392" y="43"/>
                    </a:lnTo>
                    <a:lnTo>
                      <a:pt x="392" y="41"/>
                    </a:lnTo>
                    <a:lnTo>
                      <a:pt x="392" y="39"/>
                    </a:lnTo>
                    <a:lnTo>
                      <a:pt x="392" y="37"/>
                    </a:lnTo>
                    <a:lnTo>
                      <a:pt x="392" y="36"/>
                    </a:lnTo>
                    <a:lnTo>
                      <a:pt x="392" y="37"/>
                    </a:lnTo>
                    <a:lnTo>
                      <a:pt x="394" y="37"/>
                    </a:lnTo>
                    <a:lnTo>
                      <a:pt x="394" y="39"/>
                    </a:lnTo>
                    <a:lnTo>
                      <a:pt x="394" y="41"/>
                    </a:lnTo>
                    <a:lnTo>
                      <a:pt x="394" y="43"/>
                    </a:lnTo>
                    <a:lnTo>
                      <a:pt x="396" y="43"/>
                    </a:lnTo>
                    <a:lnTo>
                      <a:pt x="396" y="41"/>
                    </a:lnTo>
                    <a:lnTo>
                      <a:pt x="396" y="39"/>
                    </a:lnTo>
                    <a:lnTo>
                      <a:pt x="394" y="39"/>
                    </a:lnTo>
                    <a:lnTo>
                      <a:pt x="394" y="37"/>
                    </a:lnTo>
                    <a:lnTo>
                      <a:pt x="394" y="36"/>
                    </a:lnTo>
                    <a:lnTo>
                      <a:pt x="392" y="36"/>
                    </a:lnTo>
                    <a:lnTo>
                      <a:pt x="392" y="34"/>
                    </a:lnTo>
                    <a:lnTo>
                      <a:pt x="392" y="32"/>
                    </a:lnTo>
                    <a:lnTo>
                      <a:pt x="394" y="31"/>
                    </a:lnTo>
                    <a:lnTo>
                      <a:pt x="394" y="29"/>
                    </a:lnTo>
                    <a:lnTo>
                      <a:pt x="392" y="29"/>
                    </a:lnTo>
                    <a:lnTo>
                      <a:pt x="392" y="27"/>
                    </a:lnTo>
                    <a:lnTo>
                      <a:pt x="391" y="27"/>
                    </a:lnTo>
                    <a:lnTo>
                      <a:pt x="391" y="25"/>
                    </a:lnTo>
                    <a:lnTo>
                      <a:pt x="391" y="24"/>
                    </a:lnTo>
                    <a:lnTo>
                      <a:pt x="391" y="22"/>
                    </a:lnTo>
                    <a:lnTo>
                      <a:pt x="392" y="22"/>
                    </a:lnTo>
                    <a:lnTo>
                      <a:pt x="392" y="20"/>
                    </a:lnTo>
                    <a:lnTo>
                      <a:pt x="394" y="22"/>
                    </a:lnTo>
                    <a:lnTo>
                      <a:pt x="394" y="20"/>
                    </a:lnTo>
                    <a:lnTo>
                      <a:pt x="396" y="20"/>
                    </a:lnTo>
                    <a:lnTo>
                      <a:pt x="398" y="20"/>
                    </a:lnTo>
                    <a:lnTo>
                      <a:pt x="398" y="19"/>
                    </a:lnTo>
                    <a:lnTo>
                      <a:pt x="398" y="20"/>
                    </a:lnTo>
                    <a:lnTo>
                      <a:pt x="399" y="19"/>
                    </a:lnTo>
                    <a:lnTo>
                      <a:pt x="401" y="19"/>
                    </a:lnTo>
                    <a:lnTo>
                      <a:pt x="401" y="17"/>
                    </a:lnTo>
                    <a:lnTo>
                      <a:pt x="403" y="17"/>
                    </a:lnTo>
                    <a:lnTo>
                      <a:pt x="404" y="15"/>
                    </a:lnTo>
                    <a:lnTo>
                      <a:pt x="406" y="15"/>
                    </a:lnTo>
                    <a:lnTo>
                      <a:pt x="408" y="15"/>
                    </a:lnTo>
                    <a:lnTo>
                      <a:pt x="409" y="15"/>
                    </a:lnTo>
                    <a:lnTo>
                      <a:pt x="411" y="14"/>
                    </a:lnTo>
                    <a:lnTo>
                      <a:pt x="413" y="14"/>
                    </a:lnTo>
                    <a:lnTo>
                      <a:pt x="413" y="12"/>
                    </a:lnTo>
                    <a:lnTo>
                      <a:pt x="415" y="12"/>
                    </a:lnTo>
                    <a:lnTo>
                      <a:pt x="416" y="12"/>
                    </a:lnTo>
                    <a:lnTo>
                      <a:pt x="418" y="12"/>
                    </a:lnTo>
                    <a:lnTo>
                      <a:pt x="420" y="12"/>
                    </a:lnTo>
                    <a:lnTo>
                      <a:pt x="421" y="12"/>
                    </a:lnTo>
                    <a:lnTo>
                      <a:pt x="423" y="12"/>
                    </a:lnTo>
                    <a:lnTo>
                      <a:pt x="423" y="10"/>
                    </a:lnTo>
                    <a:lnTo>
                      <a:pt x="425" y="10"/>
                    </a:lnTo>
                    <a:lnTo>
                      <a:pt x="425" y="8"/>
                    </a:lnTo>
                    <a:lnTo>
                      <a:pt x="426" y="7"/>
                    </a:lnTo>
                    <a:lnTo>
                      <a:pt x="426" y="8"/>
                    </a:lnTo>
                    <a:lnTo>
                      <a:pt x="428" y="10"/>
                    </a:lnTo>
                    <a:lnTo>
                      <a:pt x="428" y="12"/>
                    </a:lnTo>
                    <a:lnTo>
                      <a:pt x="428" y="10"/>
                    </a:lnTo>
                    <a:lnTo>
                      <a:pt x="430" y="10"/>
                    </a:lnTo>
                    <a:lnTo>
                      <a:pt x="428" y="10"/>
                    </a:lnTo>
                    <a:lnTo>
                      <a:pt x="430" y="10"/>
                    </a:lnTo>
                    <a:lnTo>
                      <a:pt x="430" y="8"/>
                    </a:lnTo>
                    <a:lnTo>
                      <a:pt x="428" y="8"/>
                    </a:lnTo>
                    <a:lnTo>
                      <a:pt x="430" y="8"/>
                    </a:lnTo>
                    <a:lnTo>
                      <a:pt x="428" y="8"/>
                    </a:lnTo>
                    <a:lnTo>
                      <a:pt x="428" y="7"/>
                    </a:lnTo>
                    <a:lnTo>
                      <a:pt x="430" y="7"/>
                    </a:lnTo>
                    <a:lnTo>
                      <a:pt x="432" y="7"/>
                    </a:lnTo>
                    <a:lnTo>
                      <a:pt x="432" y="5"/>
                    </a:lnTo>
                    <a:lnTo>
                      <a:pt x="433" y="5"/>
                    </a:lnTo>
                    <a:lnTo>
                      <a:pt x="435" y="5"/>
                    </a:lnTo>
                    <a:lnTo>
                      <a:pt x="433" y="5"/>
                    </a:lnTo>
                    <a:lnTo>
                      <a:pt x="432" y="5"/>
                    </a:lnTo>
                    <a:lnTo>
                      <a:pt x="432" y="3"/>
                    </a:lnTo>
                    <a:lnTo>
                      <a:pt x="433" y="2"/>
                    </a:lnTo>
                    <a:lnTo>
                      <a:pt x="433" y="3"/>
                    </a:lnTo>
                    <a:lnTo>
                      <a:pt x="433" y="2"/>
                    </a:lnTo>
                    <a:lnTo>
                      <a:pt x="433" y="0"/>
                    </a:lnTo>
                    <a:lnTo>
                      <a:pt x="435" y="2"/>
                    </a:lnTo>
                    <a:lnTo>
                      <a:pt x="437" y="2"/>
                    </a:lnTo>
                    <a:lnTo>
                      <a:pt x="437" y="3"/>
                    </a:lnTo>
                    <a:lnTo>
                      <a:pt x="438" y="3"/>
                    </a:lnTo>
                    <a:lnTo>
                      <a:pt x="438" y="5"/>
                    </a:lnTo>
                    <a:lnTo>
                      <a:pt x="440" y="5"/>
                    </a:lnTo>
                    <a:lnTo>
                      <a:pt x="440" y="7"/>
                    </a:lnTo>
                    <a:lnTo>
                      <a:pt x="442" y="7"/>
                    </a:lnTo>
                    <a:lnTo>
                      <a:pt x="443" y="7"/>
                    </a:lnTo>
                    <a:lnTo>
                      <a:pt x="443" y="8"/>
                    </a:lnTo>
                    <a:lnTo>
                      <a:pt x="445" y="8"/>
                    </a:lnTo>
                    <a:lnTo>
                      <a:pt x="447" y="8"/>
                    </a:lnTo>
                    <a:lnTo>
                      <a:pt x="447" y="10"/>
                    </a:lnTo>
                    <a:lnTo>
                      <a:pt x="449" y="10"/>
                    </a:lnTo>
                    <a:lnTo>
                      <a:pt x="449" y="8"/>
                    </a:lnTo>
                    <a:lnTo>
                      <a:pt x="450" y="8"/>
                    </a:lnTo>
                    <a:lnTo>
                      <a:pt x="452" y="10"/>
                    </a:lnTo>
                    <a:lnTo>
                      <a:pt x="452" y="12"/>
                    </a:lnTo>
                    <a:lnTo>
                      <a:pt x="452" y="14"/>
                    </a:lnTo>
                    <a:lnTo>
                      <a:pt x="454" y="14"/>
                    </a:lnTo>
                    <a:lnTo>
                      <a:pt x="454" y="15"/>
                    </a:lnTo>
                    <a:lnTo>
                      <a:pt x="455" y="15"/>
                    </a:lnTo>
                    <a:lnTo>
                      <a:pt x="454" y="17"/>
                    </a:lnTo>
                    <a:lnTo>
                      <a:pt x="455" y="17"/>
                    </a:lnTo>
                    <a:lnTo>
                      <a:pt x="457" y="17"/>
                    </a:lnTo>
                    <a:lnTo>
                      <a:pt x="457" y="19"/>
                    </a:lnTo>
                    <a:lnTo>
                      <a:pt x="459" y="19"/>
                    </a:lnTo>
                    <a:lnTo>
                      <a:pt x="460" y="19"/>
                    </a:lnTo>
                    <a:lnTo>
                      <a:pt x="460" y="20"/>
                    </a:lnTo>
                    <a:lnTo>
                      <a:pt x="462" y="20"/>
                    </a:lnTo>
                    <a:lnTo>
                      <a:pt x="464" y="20"/>
                    </a:lnTo>
                    <a:lnTo>
                      <a:pt x="464" y="22"/>
                    </a:lnTo>
                    <a:lnTo>
                      <a:pt x="466" y="22"/>
                    </a:lnTo>
                    <a:lnTo>
                      <a:pt x="467" y="22"/>
                    </a:lnTo>
                    <a:lnTo>
                      <a:pt x="467" y="20"/>
                    </a:lnTo>
                    <a:lnTo>
                      <a:pt x="469" y="20"/>
                    </a:lnTo>
                    <a:lnTo>
                      <a:pt x="471" y="20"/>
                    </a:lnTo>
                    <a:lnTo>
                      <a:pt x="472" y="20"/>
                    </a:lnTo>
                    <a:lnTo>
                      <a:pt x="472" y="22"/>
                    </a:lnTo>
                    <a:lnTo>
                      <a:pt x="472" y="24"/>
                    </a:lnTo>
                    <a:lnTo>
                      <a:pt x="471" y="24"/>
                    </a:lnTo>
                    <a:lnTo>
                      <a:pt x="472" y="24"/>
                    </a:lnTo>
                    <a:lnTo>
                      <a:pt x="472" y="25"/>
                    </a:lnTo>
                    <a:lnTo>
                      <a:pt x="474" y="25"/>
                    </a:lnTo>
                    <a:lnTo>
                      <a:pt x="476" y="25"/>
                    </a:lnTo>
                    <a:lnTo>
                      <a:pt x="476" y="27"/>
                    </a:lnTo>
                    <a:lnTo>
                      <a:pt x="477" y="27"/>
                    </a:lnTo>
                    <a:lnTo>
                      <a:pt x="479" y="27"/>
                    </a:lnTo>
                    <a:lnTo>
                      <a:pt x="479" y="29"/>
                    </a:lnTo>
                    <a:lnTo>
                      <a:pt x="477" y="29"/>
                    </a:lnTo>
                    <a:lnTo>
                      <a:pt x="477" y="31"/>
                    </a:lnTo>
                    <a:lnTo>
                      <a:pt x="477" y="32"/>
                    </a:lnTo>
                    <a:lnTo>
                      <a:pt x="477" y="34"/>
                    </a:lnTo>
                    <a:lnTo>
                      <a:pt x="477" y="36"/>
                    </a:lnTo>
                    <a:lnTo>
                      <a:pt x="479" y="34"/>
                    </a:lnTo>
                    <a:lnTo>
                      <a:pt x="481" y="34"/>
                    </a:lnTo>
                    <a:lnTo>
                      <a:pt x="481" y="36"/>
                    </a:lnTo>
                    <a:lnTo>
                      <a:pt x="483" y="36"/>
                    </a:lnTo>
                    <a:lnTo>
                      <a:pt x="484" y="36"/>
                    </a:lnTo>
                    <a:lnTo>
                      <a:pt x="486" y="37"/>
                    </a:lnTo>
                    <a:lnTo>
                      <a:pt x="486" y="36"/>
                    </a:lnTo>
                    <a:lnTo>
                      <a:pt x="486" y="37"/>
                    </a:lnTo>
                    <a:lnTo>
                      <a:pt x="488" y="36"/>
                    </a:lnTo>
                    <a:lnTo>
                      <a:pt x="488" y="37"/>
                    </a:lnTo>
                    <a:lnTo>
                      <a:pt x="488" y="36"/>
                    </a:lnTo>
                    <a:lnTo>
                      <a:pt x="489" y="36"/>
                    </a:lnTo>
                    <a:lnTo>
                      <a:pt x="491" y="36"/>
                    </a:lnTo>
                    <a:lnTo>
                      <a:pt x="491" y="37"/>
                    </a:lnTo>
                    <a:lnTo>
                      <a:pt x="493" y="37"/>
                    </a:lnTo>
                    <a:lnTo>
                      <a:pt x="493" y="39"/>
                    </a:lnTo>
                    <a:lnTo>
                      <a:pt x="494" y="39"/>
                    </a:lnTo>
                    <a:lnTo>
                      <a:pt x="496" y="39"/>
                    </a:lnTo>
                    <a:lnTo>
                      <a:pt x="498" y="39"/>
                    </a:lnTo>
                    <a:lnTo>
                      <a:pt x="498" y="41"/>
                    </a:lnTo>
                    <a:lnTo>
                      <a:pt x="500" y="41"/>
                    </a:lnTo>
                    <a:lnTo>
                      <a:pt x="501" y="41"/>
                    </a:lnTo>
                    <a:lnTo>
                      <a:pt x="501" y="39"/>
                    </a:lnTo>
                    <a:lnTo>
                      <a:pt x="501" y="41"/>
                    </a:lnTo>
                    <a:lnTo>
                      <a:pt x="501" y="39"/>
                    </a:lnTo>
                    <a:lnTo>
                      <a:pt x="503" y="41"/>
                    </a:lnTo>
                    <a:lnTo>
                      <a:pt x="503" y="39"/>
                    </a:lnTo>
                    <a:lnTo>
                      <a:pt x="505" y="39"/>
                    </a:lnTo>
                    <a:lnTo>
                      <a:pt x="506" y="39"/>
                    </a:lnTo>
                    <a:lnTo>
                      <a:pt x="506" y="41"/>
                    </a:lnTo>
                    <a:lnTo>
                      <a:pt x="508" y="41"/>
                    </a:lnTo>
                    <a:lnTo>
                      <a:pt x="510" y="41"/>
                    </a:lnTo>
                    <a:lnTo>
                      <a:pt x="511" y="41"/>
                    </a:lnTo>
                    <a:lnTo>
                      <a:pt x="513" y="41"/>
                    </a:lnTo>
                    <a:lnTo>
                      <a:pt x="515" y="41"/>
                    </a:lnTo>
                    <a:lnTo>
                      <a:pt x="515" y="37"/>
                    </a:lnTo>
                    <a:lnTo>
                      <a:pt x="515" y="36"/>
                    </a:lnTo>
                    <a:lnTo>
                      <a:pt x="517" y="36"/>
                    </a:lnTo>
                    <a:lnTo>
                      <a:pt x="518" y="36"/>
                    </a:lnTo>
                    <a:lnTo>
                      <a:pt x="518" y="34"/>
                    </a:lnTo>
                    <a:lnTo>
                      <a:pt x="520" y="34"/>
                    </a:lnTo>
                    <a:lnTo>
                      <a:pt x="520" y="36"/>
                    </a:lnTo>
                    <a:lnTo>
                      <a:pt x="522" y="36"/>
                    </a:lnTo>
                    <a:lnTo>
                      <a:pt x="523" y="36"/>
                    </a:lnTo>
                    <a:lnTo>
                      <a:pt x="525" y="36"/>
                    </a:lnTo>
                    <a:lnTo>
                      <a:pt x="525" y="37"/>
                    </a:lnTo>
                    <a:lnTo>
                      <a:pt x="527" y="37"/>
                    </a:lnTo>
                    <a:lnTo>
                      <a:pt x="527" y="39"/>
                    </a:lnTo>
                    <a:lnTo>
                      <a:pt x="528" y="39"/>
                    </a:lnTo>
                    <a:lnTo>
                      <a:pt x="528" y="41"/>
                    </a:lnTo>
                    <a:lnTo>
                      <a:pt x="530" y="41"/>
                    </a:lnTo>
                    <a:lnTo>
                      <a:pt x="530" y="43"/>
                    </a:lnTo>
                    <a:lnTo>
                      <a:pt x="532" y="43"/>
                    </a:lnTo>
                    <a:lnTo>
                      <a:pt x="532" y="44"/>
                    </a:lnTo>
                    <a:lnTo>
                      <a:pt x="534" y="44"/>
                    </a:lnTo>
                    <a:lnTo>
                      <a:pt x="534" y="46"/>
                    </a:lnTo>
                    <a:lnTo>
                      <a:pt x="535" y="46"/>
                    </a:lnTo>
                    <a:lnTo>
                      <a:pt x="535" y="48"/>
                    </a:lnTo>
                    <a:lnTo>
                      <a:pt x="537" y="48"/>
                    </a:lnTo>
                    <a:lnTo>
                      <a:pt x="539" y="48"/>
                    </a:lnTo>
                    <a:lnTo>
                      <a:pt x="540" y="48"/>
                    </a:lnTo>
                    <a:lnTo>
                      <a:pt x="542" y="48"/>
                    </a:lnTo>
                    <a:lnTo>
                      <a:pt x="542" y="49"/>
                    </a:lnTo>
                    <a:lnTo>
                      <a:pt x="544" y="49"/>
                    </a:lnTo>
                    <a:lnTo>
                      <a:pt x="545" y="49"/>
                    </a:lnTo>
                    <a:lnTo>
                      <a:pt x="545" y="51"/>
                    </a:lnTo>
                    <a:lnTo>
                      <a:pt x="547" y="51"/>
                    </a:lnTo>
                    <a:lnTo>
                      <a:pt x="549" y="51"/>
                    </a:lnTo>
                    <a:lnTo>
                      <a:pt x="549" y="53"/>
                    </a:lnTo>
                    <a:lnTo>
                      <a:pt x="551" y="53"/>
                    </a:lnTo>
                    <a:lnTo>
                      <a:pt x="552" y="53"/>
                    </a:lnTo>
                    <a:lnTo>
                      <a:pt x="554" y="53"/>
                    </a:lnTo>
                    <a:close/>
                    <a:moveTo>
                      <a:pt x="12" y="44"/>
                    </a:moveTo>
                    <a:lnTo>
                      <a:pt x="12" y="46"/>
                    </a:lnTo>
                    <a:lnTo>
                      <a:pt x="13" y="46"/>
                    </a:lnTo>
                    <a:lnTo>
                      <a:pt x="13" y="48"/>
                    </a:lnTo>
                    <a:lnTo>
                      <a:pt x="15" y="49"/>
                    </a:lnTo>
                    <a:lnTo>
                      <a:pt x="17" y="51"/>
                    </a:lnTo>
                    <a:lnTo>
                      <a:pt x="15" y="51"/>
                    </a:lnTo>
                    <a:lnTo>
                      <a:pt x="17" y="51"/>
                    </a:lnTo>
                    <a:lnTo>
                      <a:pt x="17" y="53"/>
                    </a:lnTo>
                    <a:lnTo>
                      <a:pt x="17" y="54"/>
                    </a:lnTo>
                    <a:lnTo>
                      <a:pt x="17" y="56"/>
                    </a:lnTo>
                    <a:lnTo>
                      <a:pt x="17" y="58"/>
                    </a:lnTo>
                    <a:lnTo>
                      <a:pt x="19" y="58"/>
                    </a:lnTo>
                    <a:lnTo>
                      <a:pt x="19" y="60"/>
                    </a:lnTo>
                    <a:lnTo>
                      <a:pt x="20" y="60"/>
                    </a:lnTo>
                    <a:lnTo>
                      <a:pt x="20" y="61"/>
                    </a:lnTo>
                    <a:lnTo>
                      <a:pt x="22" y="61"/>
                    </a:lnTo>
                    <a:lnTo>
                      <a:pt x="24" y="63"/>
                    </a:lnTo>
                    <a:lnTo>
                      <a:pt x="24" y="65"/>
                    </a:lnTo>
                    <a:lnTo>
                      <a:pt x="25" y="65"/>
                    </a:lnTo>
                    <a:lnTo>
                      <a:pt x="24" y="66"/>
                    </a:lnTo>
                    <a:lnTo>
                      <a:pt x="24" y="68"/>
                    </a:lnTo>
                    <a:lnTo>
                      <a:pt x="24" y="70"/>
                    </a:lnTo>
                    <a:lnTo>
                      <a:pt x="25" y="70"/>
                    </a:lnTo>
                    <a:lnTo>
                      <a:pt x="27" y="70"/>
                    </a:lnTo>
                    <a:lnTo>
                      <a:pt x="27" y="71"/>
                    </a:lnTo>
                    <a:lnTo>
                      <a:pt x="29" y="71"/>
                    </a:lnTo>
                    <a:lnTo>
                      <a:pt x="27" y="73"/>
                    </a:lnTo>
                    <a:lnTo>
                      <a:pt x="29" y="73"/>
                    </a:lnTo>
                    <a:lnTo>
                      <a:pt x="30" y="73"/>
                    </a:lnTo>
                    <a:lnTo>
                      <a:pt x="30" y="75"/>
                    </a:lnTo>
                    <a:lnTo>
                      <a:pt x="29" y="75"/>
                    </a:lnTo>
                    <a:lnTo>
                      <a:pt x="29" y="77"/>
                    </a:lnTo>
                    <a:lnTo>
                      <a:pt x="29" y="78"/>
                    </a:lnTo>
                    <a:lnTo>
                      <a:pt x="27" y="78"/>
                    </a:lnTo>
                    <a:lnTo>
                      <a:pt x="27" y="80"/>
                    </a:lnTo>
                    <a:lnTo>
                      <a:pt x="25" y="80"/>
                    </a:lnTo>
                    <a:lnTo>
                      <a:pt x="25" y="82"/>
                    </a:lnTo>
                    <a:lnTo>
                      <a:pt x="24" y="82"/>
                    </a:lnTo>
                    <a:lnTo>
                      <a:pt x="22" y="82"/>
                    </a:lnTo>
                    <a:lnTo>
                      <a:pt x="20" y="83"/>
                    </a:lnTo>
                    <a:lnTo>
                      <a:pt x="19" y="83"/>
                    </a:lnTo>
                    <a:lnTo>
                      <a:pt x="17" y="83"/>
                    </a:lnTo>
                    <a:lnTo>
                      <a:pt x="17" y="85"/>
                    </a:lnTo>
                    <a:lnTo>
                      <a:pt x="17" y="83"/>
                    </a:lnTo>
                    <a:lnTo>
                      <a:pt x="17" y="85"/>
                    </a:lnTo>
                    <a:lnTo>
                      <a:pt x="15" y="85"/>
                    </a:lnTo>
                    <a:lnTo>
                      <a:pt x="15" y="83"/>
                    </a:lnTo>
                    <a:lnTo>
                      <a:pt x="13" y="83"/>
                    </a:lnTo>
                    <a:lnTo>
                      <a:pt x="12" y="83"/>
                    </a:lnTo>
                    <a:lnTo>
                      <a:pt x="10" y="83"/>
                    </a:lnTo>
                    <a:lnTo>
                      <a:pt x="8" y="83"/>
                    </a:lnTo>
                    <a:lnTo>
                      <a:pt x="8" y="82"/>
                    </a:lnTo>
                    <a:lnTo>
                      <a:pt x="7" y="82"/>
                    </a:lnTo>
                    <a:lnTo>
                      <a:pt x="7" y="80"/>
                    </a:lnTo>
                    <a:lnTo>
                      <a:pt x="5" y="80"/>
                    </a:lnTo>
                    <a:lnTo>
                      <a:pt x="5" y="78"/>
                    </a:lnTo>
                    <a:lnTo>
                      <a:pt x="7" y="77"/>
                    </a:lnTo>
                    <a:lnTo>
                      <a:pt x="8" y="77"/>
                    </a:lnTo>
                    <a:lnTo>
                      <a:pt x="8" y="75"/>
                    </a:lnTo>
                    <a:lnTo>
                      <a:pt x="10" y="75"/>
                    </a:lnTo>
                    <a:lnTo>
                      <a:pt x="10" y="73"/>
                    </a:lnTo>
                    <a:lnTo>
                      <a:pt x="12" y="73"/>
                    </a:lnTo>
                    <a:lnTo>
                      <a:pt x="12" y="71"/>
                    </a:lnTo>
                    <a:lnTo>
                      <a:pt x="12" y="73"/>
                    </a:lnTo>
                    <a:lnTo>
                      <a:pt x="13" y="71"/>
                    </a:lnTo>
                    <a:lnTo>
                      <a:pt x="15" y="71"/>
                    </a:lnTo>
                    <a:lnTo>
                      <a:pt x="17" y="71"/>
                    </a:lnTo>
                    <a:lnTo>
                      <a:pt x="19" y="71"/>
                    </a:lnTo>
                    <a:lnTo>
                      <a:pt x="19" y="70"/>
                    </a:lnTo>
                    <a:lnTo>
                      <a:pt x="20" y="70"/>
                    </a:lnTo>
                    <a:lnTo>
                      <a:pt x="19" y="68"/>
                    </a:lnTo>
                    <a:lnTo>
                      <a:pt x="17" y="66"/>
                    </a:lnTo>
                    <a:lnTo>
                      <a:pt x="15" y="66"/>
                    </a:lnTo>
                    <a:lnTo>
                      <a:pt x="15" y="65"/>
                    </a:lnTo>
                    <a:lnTo>
                      <a:pt x="15" y="63"/>
                    </a:lnTo>
                    <a:lnTo>
                      <a:pt x="13" y="61"/>
                    </a:lnTo>
                    <a:lnTo>
                      <a:pt x="12" y="61"/>
                    </a:lnTo>
                    <a:lnTo>
                      <a:pt x="12" y="60"/>
                    </a:lnTo>
                    <a:lnTo>
                      <a:pt x="10" y="60"/>
                    </a:lnTo>
                    <a:lnTo>
                      <a:pt x="10" y="58"/>
                    </a:lnTo>
                    <a:lnTo>
                      <a:pt x="8" y="56"/>
                    </a:lnTo>
                    <a:lnTo>
                      <a:pt x="10" y="56"/>
                    </a:lnTo>
                    <a:lnTo>
                      <a:pt x="10" y="54"/>
                    </a:lnTo>
                    <a:lnTo>
                      <a:pt x="8" y="54"/>
                    </a:lnTo>
                    <a:lnTo>
                      <a:pt x="8" y="53"/>
                    </a:lnTo>
                    <a:lnTo>
                      <a:pt x="8" y="51"/>
                    </a:lnTo>
                    <a:lnTo>
                      <a:pt x="8" y="49"/>
                    </a:lnTo>
                    <a:lnTo>
                      <a:pt x="7" y="49"/>
                    </a:lnTo>
                    <a:lnTo>
                      <a:pt x="5" y="49"/>
                    </a:lnTo>
                    <a:lnTo>
                      <a:pt x="5" y="51"/>
                    </a:lnTo>
                    <a:lnTo>
                      <a:pt x="3" y="51"/>
                    </a:lnTo>
                    <a:lnTo>
                      <a:pt x="3" y="49"/>
                    </a:lnTo>
                    <a:lnTo>
                      <a:pt x="3" y="48"/>
                    </a:lnTo>
                    <a:lnTo>
                      <a:pt x="5" y="48"/>
                    </a:lnTo>
                    <a:lnTo>
                      <a:pt x="5" y="46"/>
                    </a:lnTo>
                    <a:lnTo>
                      <a:pt x="7" y="46"/>
                    </a:lnTo>
                    <a:lnTo>
                      <a:pt x="8" y="46"/>
                    </a:lnTo>
                    <a:lnTo>
                      <a:pt x="8" y="44"/>
                    </a:lnTo>
                    <a:lnTo>
                      <a:pt x="10" y="44"/>
                    </a:lnTo>
                    <a:lnTo>
                      <a:pt x="12" y="44"/>
                    </a:lnTo>
                    <a:close/>
                    <a:moveTo>
                      <a:pt x="47" y="66"/>
                    </a:moveTo>
                    <a:lnTo>
                      <a:pt x="49" y="66"/>
                    </a:lnTo>
                    <a:lnTo>
                      <a:pt x="49" y="68"/>
                    </a:lnTo>
                    <a:lnTo>
                      <a:pt x="51" y="68"/>
                    </a:lnTo>
                    <a:lnTo>
                      <a:pt x="51" y="70"/>
                    </a:lnTo>
                    <a:lnTo>
                      <a:pt x="49" y="71"/>
                    </a:lnTo>
                    <a:lnTo>
                      <a:pt x="51" y="71"/>
                    </a:lnTo>
                    <a:lnTo>
                      <a:pt x="49" y="71"/>
                    </a:lnTo>
                    <a:lnTo>
                      <a:pt x="49" y="73"/>
                    </a:lnTo>
                    <a:lnTo>
                      <a:pt x="47" y="75"/>
                    </a:lnTo>
                    <a:lnTo>
                      <a:pt x="46" y="73"/>
                    </a:lnTo>
                    <a:lnTo>
                      <a:pt x="46" y="75"/>
                    </a:lnTo>
                    <a:lnTo>
                      <a:pt x="44" y="75"/>
                    </a:lnTo>
                    <a:lnTo>
                      <a:pt x="42" y="75"/>
                    </a:lnTo>
                    <a:lnTo>
                      <a:pt x="41" y="75"/>
                    </a:lnTo>
                    <a:lnTo>
                      <a:pt x="41" y="73"/>
                    </a:lnTo>
                    <a:lnTo>
                      <a:pt x="39" y="73"/>
                    </a:lnTo>
                    <a:lnTo>
                      <a:pt x="39" y="71"/>
                    </a:lnTo>
                    <a:lnTo>
                      <a:pt x="37" y="71"/>
                    </a:lnTo>
                    <a:lnTo>
                      <a:pt x="39" y="71"/>
                    </a:lnTo>
                    <a:lnTo>
                      <a:pt x="37" y="71"/>
                    </a:lnTo>
                    <a:lnTo>
                      <a:pt x="37" y="70"/>
                    </a:lnTo>
                    <a:lnTo>
                      <a:pt x="39" y="70"/>
                    </a:lnTo>
                    <a:lnTo>
                      <a:pt x="37" y="70"/>
                    </a:lnTo>
                    <a:lnTo>
                      <a:pt x="39" y="68"/>
                    </a:lnTo>
                    <a:lnTo>
                      <a:pt x="39" y="66"/>
                    </a:lnTo>
                    <a:lnTo>
                      <a:pt x="41" y="66"/>
                    </a:lnTo>
                    <a:lnTo>
                      <a:pt x="42" y="66"/>
                    </a:lnTo>
                    <a:lnTo>
                      <a:pt x="44" y="66"/>
                    </a:lnTo>
                    <a:lnTo>
                      <a:pt x="46" y="65"/>
                    </a:lnTo>
                    <a:lnTo>
                      <a:pt x="46" y="66"/>
                    </a:lnTo>
                    <a:lnTo>
                      <a:pt x="46" y="65"/>
                    </a:lnTo>
                    <a:lnTo>
                      <a:pt x="46" y="66"/>
                    </a:lnTo>
                    <a:lnTo>
                      <a:pt x="47" y="65"/>
                    </a:lnTo>
                    <a:lnTo>
                      <a:pt x="47" y="66"/>
                    </a:lnTo>
                    <a:close/>
                    <a:moveTo>
                      <a:pt x="392" y="139"/>
                    </a:moveTo>
                    <a:lnTo>
                      <a:pt x="394" y="139"/>
                    </a:lnTo>
                    <a:lnTo>
                      <a:pt x="394" y="141"/>
                    </a:lnTo>
                    <a:lnTo>
                      <a:pt x="396" y="141"/>
                    </a:lnTo>
                    <a:lnTo>
                      <a:pt x="398" y="141"/>
                    </a:lnTo>
                    <a:lnTo>
                      <a:pt x="398" y="143"/>
                    </a:lnTo>
                    <a:lnTo>
                      <a:pt x="396" y="143"/>
                    </a:lnTo>
                    <a:lnTo>
                      <a:pt x="394" y="143"/>
                    </a:lnTo>
                    <a:lnTo>
                      <a:pt x="394" y="145"/>
                    </a:lnTo>
                    <a:lnTo>
                      <a:pt x="392" y="145"/>
                    </a:lnTo>
                    <a:lnTo>
                      <a:pt x="392" y="146"/>
                    </a:lnTo>
                    <a:lnTo>
                      <a:pt x="392" y="145"/>
                    </a:lnTo>
                    <a:lnTo>
                      <a:pt x="391" y="145"/>
                    </a:lnTo>
                    <a:lnTo>
                      <a:pt x="389" y="145"/>
                    </a:lnTo>
                    <a:lnTo>
                      <a:pt x="389" y="146"/>
                    </a:lnTo>
                    <a:lnTo>
                      <a:pt x="389" y="148"/>
                    </a:lnTo>
                    <a:lnTo>
                      <a:pt x="391" y="148"/>
                    </a:lnTo>
                    <a:lnTo>
                      <a:pt x="391" y="150"/>
                    </a:lnTo>
                    <a:lnTo>
                      <a:pt x="389" y="150"/>
                    </a:lnTo>
                    <a:lnTo>
                      <a:pt x="389" y="151"/>
                    </a:lnTo>
                    <a:lnTo>
                      <a:pt x="387" y="151"/>
                    </a:lnTo>
                    <a:lnTo>
                      <a:pt x="386" y="151"/>
                    </a:lnTo>
                    <a:lnTo>
                      <a:pt x="384" y="150"/>
                    </a:lnTo>
                    <a:lnTo>
                      <a:pt x="386" y="148"/>
                    </a:lnTo>
                    <a:lnTo>
                      <a:pt x="386" y="146"/>
                    </a:lnTo>
                    <a:lnTo>
                      <a:pt x="386" y="145"/>
                    </a:lnTo>
                    <a:lnTo>
                      <a:pt x="386" y="143"/>
                    </a:lnTo>
                    <a:lnTo>
                      <a:pt x="386" y="141"/>
                    </a:lnTo>
                    <a:lnTo>
                      <a:pt x="387" y="141"/>
                    </a:lnTo>
                    <a:lnTo>
                      <a:pt x="389" y="141"/>
                    </a:lnTo>
                    <a:lnTo>
                      <a:pt x="389" y="139"/>
                    </a:lnTo>
                    <a:lnTo>
                      <a:pt x="391" y="139"/>
                    </a:lnTo>
                    <a:lnTo>
                      <a:pt x="392" y="139"/>
                    </a:lnTo>
                    <a:close/>
                    <a:moveTo>
                      <a:pt x="7" y="58"/>
                    </a:moveTo>
                    <a:lnTo>
                      <a:pt x="8" y="58"/>
                    </a:lnTo>
                    <a:lnTo>
                      <a:pt x="8" y="60"/>
                    </a:lnTo>
                    <a:lnTo>
                      <a:pt x="10" y="60"/>
                    </a:lnTo>
                    <a:lnTo>
                      <a:pt x="10" y="61"/>
                    </a:lnTo>
                    <a:lnTo>
                      <a:pt x="10" y="63"/>
                    </a:lnTo>
                    <a:lnTo>
                      <a:pt x="10" y="65"/>
                    </a:lnTo>
                    <a:lnTo>
                      <a:pt x="8" y="65"/>
                    </a:lnTo>
                    <a:lnTo>
                      <a:pt x="8" y="66"/>
                    </a:lnTo>
                    <a:lnTo>
                      <a:pt x="7" y="66"/>
                    </a:lnTo>
                    <a:lnTo>
                      <a:pt x="5" y="66"/>
                    </a:lnTo>
                    <a:lnTo>
                      <a:pt x="3" y="65"/>
                    </a:lnTo>
                    <a:lnTo>
                      <a:pt x="2" y="65"/>
                    </a:lnTo>
                    <a:lnTo>
                      <a:pt x="2" y="63"/>
                    </a:lnTo>
                    <a:lnTo>
                      <a:pt x="0" y="63"/>
                    </a:lnTo>
                    <a:lnTo>
                      <a:pt x="0" y="61"/>
                    </a:lnTo>
                    <a:lnTo>
                      <a:pt x="0" y="60"/>
                    </a:lnTo>
                    <a:lnTo>
                      <a:pt x="2" y="60"/>
                    </a:lnTo>
                    <a:lnTo>
                      <a:pt x="3" y="60"/>
                    </a:lnTo>
                    <a:lnTo>
                      <a:pt x="5" y="58"/>
                    </a:lnTo>
                    <a:lnTo>
                      <a:pt x="7" y="58"/>
                    </a:lnTo>
                    <a:close/>
                    <a:moveTo>
                      <a:pt x="30" y="54"/>
                    </a:moveTo>
                    <a:lnTo>
                      <a:pt x="32" y="54"/>
                    </a:lnTo>
                    <a:lnTo>
                      <a:pt x="34" y="56"/>
                    </a:lnTo>
                    <a:lnTo>
                      <a:pt x="36" y="56"/>
                    </a:lnTo>
                    <a:lnTo>
                      <a:pt x="37" y="56"/>
                    </a:lnTo>
                    <a:lnTo>
                      <a:pt x="37" y="58"/>
                    </a:lnTo>
                    <a:lnTo>
                      <a:pt x="37" y="60"/>
                    </a:lnTo>
                    <a:lnTo>
                      <a:pt x="37" y="61"/>
                    </a:lnTo>
                    <a:lnTo>
                      <a:pt x="36" y="61"/>
                    </a:lnTo>
                    <a:lnTo>
                      <a:pt x="34" y="61"/>
                    </a:lnTo>
                    <a:lnTo>
                      <a:pt x="32" y="61"/>
                    </a:lnTo>
                    <a:lnTo>
                      <a:pt x="30" y="61"/>
                    </a:lnTo>
                    <a:lnTo>
                      <a:pt x="30" y="60"/>
                    </a:lnTo>
                    <a:lnTo>
                      <a:pt x="29" y="60"/>
                    </a:lnTo>
                    <a:lnTo>
                      <a:pt x="27" y="58"/>
                    </a:lnTo>
                    <a:lnTo>
                      <a:pt x="27" y="56"/>
                    </a:lnTo>
                    <a:lnTo>
                      <a:pt x="29" y="56"/>
                    </a:lnTo>
                    <a:lnTo>
                      <a:pt x="29" y="54"/>
                    </a:lnTo>
                    <a:lnTo>
                      <a:pt x="30" y="54"/>
                    </a:lnTo>
                    <a:close/>
                    <a:moveTo>
                      <a:pt x="78" y="71"/>
                    </a:moveTo>
                    <a:lnTo>
                      <a:pt x="80" y="71"/>
                    </a:lnTo>
                    <a:lnTo>
                      <a:pt x="80" y="73"/>
                    </a:lnTo>
                    <a:lnTo>
                      <a:pt x="81" y="73"/>
                    </a:lnTo>
                    <a:lnTo>
                      <a:pt x="81" y="71"/>
                    </a:lnTo>
                    <a:lnTo>
                      <a:pt x="81" y="73"/>
                    </a:lnTo>
                    <a:lnTo>
                      <a:pt x="81" y="75"/>
                    </a:lnTo>
                    <a:lnTo>
                      <a:pt x="80" y="75"/>
                    </a:lnTo>
                    <a:lnTo>
                      <a:pt x="80" y="77"/>
                    </a:lnTo>
                    <a:lnTo>
                      <a:pt x="78" y="77"/>
                    </a:lnTo>
                    <a:lnTo>
                      <a:pt x="78" y="78"/>
                    </a:lnTo>
                    <a:lnTo>
                      <a:pt x="76" y="80"/>
                    </a:lnTo>
                    <a:lnTo>
                      <a:pt x="75" y="80"/>
                    </a:lnTo>
                    <a:lnTo>
                      <a:pt x="73" y="80"/>
                    </a:lnTo>
                    <a:lnTo>
                      <a:pt x="73" y="82"/>
                    </a:lnTo>
                    <a:lnTo>
                      <a:pt x="71" y="82"/>
                    </a:lnTo>
                    <a:lnTo>
                      <a:pt x="70" y="80"/>
                    </a:lnTo>
                    <a:lnTo>
                      <a:pt x="70" y="78"/>
                    </a:lnTo>
                    <a:lnTo>
                      <a:pt x="71" y="78"/>
                    </a:lnTo>
                    <a:lnTo>
                      <a:pt x="71" y="77"/>
                    </a:lnTo>
                    <a:lnTo>
                      <a:pt x="73" y="77"/>
                    </a:lnTo>
                    <a:lnTo>
                      <a:pt x="75" y="77"/>
                    </a:lnTo>
                    <a:lnTo>
                      <a:pt x="75" y="75"/>
                    </a:lnTo>
                    <a:lnTo>
                      <a:pt x="75" y="73"/>
                    </a:lnTo>
                    <a:lnTo>
                      <a:pt x="76" y="73"/>
                    </a:lnTo>
                    <a:lnTo>
                      <a:pt x="78" y="73"/>
                    </a:lnTo>
                    <a:lnTo>
                      <a:pt x="78" y="71"/>
                    </a:lnTo>
                    <a:close/>
                    <a:moveTo>
                      <a:pt x="42" y="90"/>
                    </a:moveTo>
                    <a:lnTo>
                      <a:pt x="44" y="92"/>
                    </a:lnTo>
                    <a:lnTo>
                      <a:pt x="44" y="94"/>
                    </a:lnTo>
                    <a:lnTo>
                      <a:pt x="42" y="94"/>
                    </a:lnTo>
                    <a:lnTo>
                      <a:pt x="42" y="95"/>
                    </a:lnTo>
                    <a:lnTo>
                      <a:pt x="41" y="95"/>
                    </a:lnTo>
                    <a:lnTo>
                      <a:pt x="41" y="94"/>
                    </a:lnTo>
                    <a:lnTo>
                      <a:pt x="39" y="94"/>
                    </a:lnTo>
                    <a:lnTo>
                      <a:pt x="39" y="92"/>
                    </a:lnTo>
                    <a:lnTo>
                      <a:pt x="41" y="92"/>
                    </a:lnTo>
                    <a:lnTo>
                      <a:pt x="41" y="90"/>
                    </a:lnTo>
                    <a:lnTo>
                      <a:pt x="42" y="90"/>
                    </a:lnTo>
                    <a:close/>
                    <a:moveTo>
                      <a:pt x="41" y="36"/>
                    </a:moveTo>
                    <a:lnTo>
                      <a:pt x="42" y="37"/>
                    </a:lnTo>
                    <a:lnTo>
                      <a:pt x="42" y="39"/>
                    </a:lnTo>
                    <a:lnTo>
                      <a:pt x="41" y="39"/>
                    </a:lnTo>
                    <a:lnTo>
                      <a:pt x="39" y="39"/>
                    </a:lnTo>
                    <a:lnTo>
                      <a:pt x="39" y="37"/>
                    </a:lnTo>
                    <a:lnTo>
                      <a:pt x="37" y="37"/>
                    </a:lnTo>
                    <a:lnTo>
                      <a:pt x="39" y="36"/>
                    </a:lnTo>
                    <a:lnTo>
                      <a:pt x="41" y="36"/>
                    </a:lnTo>
                    <a:close/>
                    <a:moveTo>
                      <a:pt x="399" y="138"/>
                    </a:moveTo>
                    <a:lnTo>
                      <a:pt x="399" y="139"/>
                    </a:lnTo>
                    <a:lnTo>
                      <a:pt x="398" y="139"/>
                    </a:lnTo>
                    <a:lnTo>
                      <a:pt x="398" y="138"/>
                    </a:lnTo>
                    <a:lnTo>
                      <a:pt x="398" y="136"/>
                    </a:lnTo>
                    <a:lnTo>
                      <a:pt x="398" y="134"/>
                    </a:lnTo>
                    <a:lnTo>
                      <a:pt x="399" y="133"/>
                    </a:lnTo>
                    <a:lnTo>
                      <a:pt x="399" y="134"/>
                    </a:lnTo>
                    <a:lnTo>
                      <a:pt x="399" y="136"/>
                    </a:lnTo>
                    <a:lnTo>
                      <a:pt x="399" y="138"/>
                    </a:lnTo>
                    <a:close/>
                    <a:moveTo>
                      <a:pt x="432" y="3"/>
                    </a:moveTo>
                    <a:lnTo>
                      <a:pt x="432" y="5"/>
                    </a:lnTo>
                    <a:lnTo>
                      <a:pt x="432" y="7"/>
                    </a:lnTo>
                    <a:lnTo>
                      <a:pt x="430" y="7"/>
                    </a:lnTo>
                    <a:lnTo>
                      <a:pt x="428" y="7"/>
                    </a:lnTo>
                    <a:lnTo>
                      <a:pt x="430" y="5"/>
                    </a:lnTo>
                    <a:lnTo>
                      <a:pt x="428" y="5"/>
                    </a:lnTo>
                    <a:lnTo>
                      <a:pt x="428" y="3"/>
                    </a:lnTo>
                    <a:lnTo>
                      <a:pt x="430" y="3"/>
                    </a:lnTo>
                    <a:lnTo>
                      <a:pt x="430" y="2"/>
                    </a:lnTo>
                    <a:lnTo>
                      <a:pt x="432" y="2"/>
                    </a:lnTo>
                    <a:lnTo>
                      <a:pt x="432" y="3"/>
                    </a:lnTo>
                    <a:close/>
                    <a:moveTo>
                      <a:pt x="394" y="134"/>
                    </a:moveTo>
                    <a:lnTo>
                      <a:pt x="396" y="134"/>
                    </a:lnTo>
                    <a:lnTo>
                      <a:pt x="396" y="136"/>
                    </a:lnTo>
                    <a:lnTo>
                      <a:pt x="394" y="136"/>
                    </a:lnTo>
                    <a:lnTo>
                      <a:pt x="392" y="136"/>
                    </a:lnTo>
                    <a:lnTo>
                      <a:pt x="391" y="136"/>
                    </a:lnTo>
                    <a:lnTo>
                      <a:pt x="392" y="136"/>
                    </a:lnTo>
                    <a:lnTo>
                      <a:pt x="392" y="134"/>
                    </a:lnTo>
                    <a:lnTo>
                      <a:pt x="392" y="133"/>
                    </a:lnTo>
                    <a:lnTo>
                      <a:pt x="394" y="133"/>
                    </a:lnTo>
                    <a:lnTo>
                      <a:pt x="394" y="134"/>
                    </a:lnTo>
                    <a:close/>
                    <a:moveTo>
                      <a:pt x="391" y="162"/>
                    </a:moveTo>
                    <a:lnTo>
                      <a:pt x="391" y="163"/>
                    </a:lnTo>
                    <a:lnTo>
                      <a:pt x="391" y="165"/>
                    </a:lnTo>
                    <a:lnTo>
                      <a:pt x="391" y="163"/>
                    </a:lnTo>
                    <a:lnTo>
                      <a:pt x="389" y="163"/>
                    </a:lnTo>
                    <a:lnTo>
                      <a:pt x="389" y="165"/>
                    </a:lnTo>
                    <a:lnTo>
                      <a:pt x="387" y="163"/>
                    </a:lnTo>
                    <a:lnTo>
                      <a:pt x="386" y="162"/>
                    </a:lnTo>
                    <a:lnTo>
                      <a:pt x="387" y="162"/>
                    </a:lnTo>
                    <a:lnTo>
                      <a:pt x="387" y="163"/>
                    </a:lnTo>
                    <a:lnTo>
                      <a:pt x="389" y="163"/>
                    </a:lnTo>
                    <a:lnTo>
                      <a:pt x="389" y="162"/>
                    </a:lnTo>
                    <a:lnTo>
                      <a:pt x="391" y="162"/>
                    </a:lnTo>
                    <a:close/>
                    <a:moveTo>
                      <a:pt x="403" y="138"/>
                    </a:moveTo>
                    <a:lnTo>
                      <a:pt x="401" y="138"/>
                    </a:lnTo>
                    <a:lnTo>
                      <a:pt x="401" y="136"/>
                    </a:lnTo>
                    <a:lnTo>
                      <a:pt x="401" y="134"/>
                    </a:lnTo>
                    <a:lnTo>
                      <a:pt x="403" y="134"/>
                    </a:lnTo>
                    <a:lnTo>
                      <a:pt x="403" y="136"/>
                    </a:lnTo>
                    <a:lnTo>
                      <a:pt x="403" y="138"/>
                    </a:lnTo>
                    <a:close/>
                    <a:moveTo>
                      <a:pt x="428" y="7"/>
                    </a:moveTo>
                    <a:lnTo>
                      <a:pt x="428" y="8"/>
                    </a:lnTo>
                    <a:lnTo>
                      <a:pt x="430" y="8"/>
                    </a:lnTo>
                    <a:lnTo>
                      <a:pt x="428" y="8"/>
                    </a:lnTo>
                    <a:lnTo>
                      <a:pt x="430" y="8"/>
                    </a:lnTo>
                    <a:lnTo>
                      <a:pt x="430" y="10"/>
                    </a:lnTo>
                    <a:lnTo>
                      <a:pt x="428" y="10"/>
                    </a:lnTo>
                    <a:lnTo>
                      <a:pt x="430" y="10"/>
                    </a:lnTo>
                    <a:lnTo>
                      <a:pt x="428" y="10"/>
                    </a:lnTo>
                    <a:lnTo>
                      <a:pt x="428" y="8"/>
                    </a:lnTo>
                    <a:lnTo>
                      <a:pt x="426" y="8"/>
                    </a:lnTo>
                    <a:lnTo>
                      <a:pt x="426" y="7"/>
                    </a:lnTo>
                    <a:lnTo>
                      <a:pt x="428" y="5"/>
                    </a:lnTo>
                    <a:lnTo>
                      <a:pt x="428" y="7"/>
                    </a:lnTo>
                    <a:close/>
                    <a:moveTo>
                      <a:pt x="392" y="160"/>
                    </a:moveTo>
                    <a:lnTo>
                      <a:pt x="392" y="162"/>
                    </a:lnTo>
                    <a:lnTo>
                      <a:pt x="392" y="163"/>
                    </a:lnTo>
                    <a:lnTo>
                      <a:pt x="391" y="163"/>
                    </a:lnTo>
                    <a:lnTo>
                      <a:pt x="391" y="162"/>
                    </a:lnTo>
                    <a:lnTo>
                      <a:pt x="391" y="160"/>
                    </a:lnTo>
                    <a:lnTo>
                      <a:pt x="392" y="160"/>
                    </a:lnTo>
                    <a:close/>
                    <a:moveTo>
                      <a:pt x="66" y="95"/>
                    </a:moveTo>
                    <a:lnTo>
                      <a:pt x="68" y="94"/>
                    </a:lnTo>
                    <a:lnTo>
                      <a:pt x="68" y="95"/>
                    </a:lnTo>
                    <a:lnTo>
                      <a:pt x="70" y="95"/>
                    </a:lnTo>
                    <a:lnTo>
                      <a:pt x="70" y="97"/>
                    </a:lnTo>
                    <a:lnTo>
                      <a:pt x="68" y="97"/>
                    </a:lnTo>
                    <a:lnTo>
                      <a:pt x="66" y="95"/>
                    </a:lnTo>
                    <a:lnTo>
                      <a:pt x="64" y="95"/>
                    </a:lnTo>
                    <a:lnTo>
                      <a:pt x="66" y="95"/>
                    </a:lnTo>
                    <a:lnTo>
                      <a:pt x="66" y="94"/>
                    </a:lnTo>
                    <a:lnTo>
                      <a:pt x="66" y="95"/>
                    </a:lnTo>
                    <a:close/>
                    <a:moveTo>
                      <a:pt x="30" y="27"/>
                    </a:moveTo>
                    <a:lnTo>
                      <a:pt x="32" y="29"/>
                    </a:lnTo>
                    <a:lnTo>
                      <a:pt x="32" y="31"/>
                    </a:lnTo>
                    <a:lnTo>
                      <a:pt x="30" y="31"/>
                    </a:lnTo>
                    <a:lnTo>
                      <a:pt x="30" y="29"/>
                    </a:lnTo>
                    <a:lnTo>
                      <a:pt x="30" y="27"/>
                    </a:lnTo>
                    <a:close/>
                    <a:moveTo>
                      <a:pt x="394" y="131"/>
                    </a:moveTo>
                    <a:lnTo>
                      <a:pt x="396" y="131"/>
                    </a:lnTo>
                    <a:lnTo>
                      <a:pt x="396" y="133"/>
                    </a:lnTo>
                    <a:lnTo>
                      <a:pt x="396" y="134"/>
                    </a:lnTo>
                    <a:lnTo>
                      <a:pt x="394" y="133"/>
                    </a:lnTo>
                    <a:lnTo>
                      <a:pt x="392" y="133"/>
                    </a:lnTo>
                    <a:lnTo>
                      <a:pt x="392" y="131"/>
                    </a:lnTo>
                    <a:lnTo>
                      <a:pt x="394" y="131"/>
                    </a:lnTo>
                    <a:close/>
                    <a:moveTo>
                      <a:pt x="391" y="145"/>
                    </a:moveTo>
                    <a:lnTo>
                      <a:pt x="392" y="145"/>
                    </a:lnTo>
                    <a:lnTo>
                      <a:pt x="392" y="148"/>
                    </a:lnTo>
                    <a:lnTo>
                      <a:pt x="391" y="148"/>
                    </a:lnTo>
                    <a:lnTo>
                      <a:pt x="391" y="145"/>
                    </a:lnTo>
                    <a:close/>
                    <a:moveTo>
                      <a:pt x="401" y="134"/>
                    </a:moveTo>
                    <a:lnTo>
                      <a:pt x="399" y="134"/>
                    </a:lnTo>
                    <a:lnTo>
                      <a:pt x="399" y="133"/>
                    </a:lnTo>
                    <a:lnTo>
                      <a:pt x="399" y="131"/>
                    </a:lnTo>
                    <a:lnTo>
                      <a:pt x="401" y="131"/>
                    </a:lnTo>
                    <a:lnTo>
                      <a:pt x="401" y="133"/>
                    </a:lnTo>
                    <a:lnTo>
                      <a:pt x="401" y="134"/>
                    </a:lnTo>
                    <a:close/>
                    <a:moveTo>
                      <a:pt x="386" y="162"/>
                    </a:moveTo>
                    <a:lnTo>
                      <a:pt x="386" y="163"/>
                    </a:lnTo>
                    <a:lnTo>
                      <a:pt x="387" y="163"/>
                    </a:lnTo>
                    <a:lnTo>
                      <a:pt x="387" y="165"/>
                    </a:lnTo>
                    <a:lnTo>
                      <a:pt x="386" y="165"/>
                    </a:lnTo>
                    <a:lnTo>
                      <a:pt x="386" y="163"/>
                    </a:lnTo>
                    <a:lnTo>
                      <a:pt x="386" y="162"/>
                    </a:lnTo>
                    <a:close/>
                    <a:moveTo>
                      <a:pt x="394" y="124"/>
                    </a:moveTo>
                    <a:lnTo>
                      <a:pt x="396" y="124"/>
                    </a:lnTo>
                    <a:lnTo>
                      <a:pt x="396" y="128"/>
                    </a:lnTo>
                    <a:lnTo>
                      <a:pt x="394" y="128"/>
                    </a:lnTo>
                    <a:lnTo>
                      <a:pt x="394" y="124"/>
                    </a:lnTo>
                    <a:close/>
                    <a:moveTo>
                      <a:pt x="432" y="0"/>
                    </a:moveTo>
                    <a:lnTo>
                      <a:pt x="433" y="0"/>
                    </a:lnTo>
                    <a:lnTo>
                      <a:pt x="433" y="2"/>
                    </a:lnTo>
                    <a:lnTo>
                      <a:pt x="432" y="2"/>
                    </a:lnTo>
                    <a:lnTo>
                      <a:pt x="432" y="0"/>
                    </a:lnTo>
                    <a:close/>
                    <a:moveTo>
                      <a:pt x="391" y="156"/>
                    </a:moveTo>
                    <a:lnTo>
                      <a:pt x="394" y="156"/>
                    </a:lnTo>
                    <a:lnTo>
                      <a:pt x="394" y="160"/>
                    </a:lnTo>
                    <a:lnTo>
                      <a:pt x="391" y="160"/>
                    </a:lnTo>
                    <a:lnTo>
                      <a:pt x="391" y="156"/>
                    </a:lnTo>
                    <a:close/>
                    <a:moveTo>
                      <a:pt x="46" y="63"/>
                    </a:moveTo>
                    <a:lnTo>
                      <a:pt x="47" y="63"/>
                    </a:lnTo>
                    <a:lnTo>
                      <a:pt x="47" y="65"/>
                    </a:lnTo>
                    <a:lnTo>
                      <a:pt x="46" y="65"/>
                    </a:lnTo>
                    <a:lnTo>
                      <a:pt x="46" y="63"/>
                    </a:lnTo>
                    <a:close/>
                    <a:moveTo>
                      <a:pt x="53" y="77"/>
                    </a:moveTo>
                    <a:lnTo>
                      <a:pt x="56" y="77"/>
                    </a:lnTo>
                    <a:lnTo>
                      <a:pt x="53" y="77"/>
                    </a:lnTo>
                    <a:close/>
                    <a:moveTo>
                      <a:pt x="394" y="138"/>
                    </a:moveTo>
                    <a:lnTo>
                      <a:pt x="396" y="138"/>
                    </a:lnTo>
                    <a:lnTo>
                      <a:pt x="396" y="139"/>
                    </a:lnTo>
                    <a:lnTo>
                      <a:pt x="394" y="139"/>
                    </a:lnTo>
                    <a:lnTo>
                      <a:pt x="394" y="138"/>
                    </a:lnTo>
                    <a:close/>
                    <a:moveTo>
                      <a:pt x="398" y="122"/>
                    </a:moveTo>
                    <a:lnTo>
                      <a:pt x="399" y="122"/>
                    </a:lnTo>
                    <a:lnTo>
                      <a:pt x="399" y="124"/>
                    </a:lnTo>
                    <a:lnTo>
                      <a:pt x="398" y="124"/>
                    </a:lnTo>
                    <a:lnTo>
                      <a:pt x="398" y="122"/>
                    </a:lnTo>
                    <a:close/>
                    <a:moveTo>
                      <a:pt x="384" y="162"/>
                    </a:moveTo>
                    <a:lnTo>
                      <a:pt x="386" y="162"/>
                    </a:lnTo>
                    <a:lnTo>
                      <a:pt x="386" y="165"/>
                    </a:lnTo>
                    <a:lnTo>
                      <a:pt x="384" y="165"/>
                    </a:lnTo>
                    <a:lnTo>
                      <a:pt x="384" y="162"/>
                    </a:lnTo>
                    <a:close/>
                    <a:moveTo>
                      <a:pt x="394" y="131"/>
                    </a:moveTo>
                    <a:lnTo>
                      <a:pt x="396" y="131"/>
                    </a:lnTo>
                    <a:lnTo>
                      <a:pt x="394" y="131"/>
                    </a:lnTo>
                    <a:close/>
                    <a:moveTo>
                      <a:pt x="391" y="129"/>
                    </a:moveTo>
                    <a:lnTo>
                      <a:pt x="392" y="129"/>
                    </a:lnTo>
                    <a:lnTo>
                      <a:pt x="392" y="133"/>
                    </a:lnTo>
                    <a:lnTo>
                      <a:pt x="391" y="133"/>
                    </a:lnTo>
                    <a:lnTo>
                      <a:pt x="391" y="129"/>
                    </a:lnTo>
                    <a:close/>
                    <a:moveTo>
                      <a:pt x="34" y="68"/>
                    </a:moveTo>
                    <a:lnTo>
                      <a:pt x="34" y="70"/>
                    </a:lnTo>
                    <a:lnTo>
                      <a:pt x="34" y="68"/>
                    </a:lnTo>
                    <a:close/>
                    <a:moveTo>
                      <a:pt x="392" y="129"/>
                    </a:moveTo>
                    <a:lnTo>
                      <a:pt x="394" y="129"/>
                    </a:lnTo>
                    <a:lnTo>
                      <a:pt x="394" y="131"/>
                    </a:lnTo>
                    <a:lnTo>
                      <a:pt x="392" y="131"/>
                    </a:lnTo>
                    <a:lnTo>
                      <a:pt x="392" y="129"/>
                    </a:lnTo>
                    <a:close/>
                    <a:moveTo>
                      <a:pt x="396" y="128"/>
                    </a:moveTo>
                    <a:lnTo>
                      <a:pt x="396" y="129"/>
                    </a:lnTo>
                    <a:lnTo>
                      <a:pt x="396" y="128"/>
                    </a:lnTo>
                    <a:close/>
                    <a:moveTo>
                      <a:pt x="387" y="162"/>
                    </a:moveTo>
                    <a:lnTo>
                      <a:pt x="389" y="162"/>
                    </a:lnTo>
                    <a:lnTo>
                      <a:pt x="389" y="163"/>
                    </a:lnTo>
                    <a:lnTo>
                      <a:pt x="387" y="163"/>
                    </a:lnTo>
                    <a:lnTo>
                      <a:pt x="387" y="162"/>
                    </a:lnTo>
                    <a:close/>
                    <a:moveTo>
                      <a:pt x="396" y="131"/>
                    </a:moveTo>
                    <a:lnTo>
                      <a:pt x="398" y="131"/>
                    </a:lnTo>
                    <a:lnTo>
                      <a:pt x="398" y="133"/>
                    </a:lnTo>
                    <a:lnTo>
                      <a:pt x="396" y="133"/>
                    </a:lnTo>
                    <a:lnTo>
                      <a:pt x="396" y="131"/>
                    </a:lnTo>
                    <a:close/>
                    <a:moveTo>
                      <a:pt x="392" y="136"/>
                    </a:moveTo>
                    <a:lnTo>
                      <a:pt x="396" y="136"/>
                    </a:lnTo>
                    <a:lnTo>
                      <a:pt x="396" y="138"/>
                    </a:lnTo>
                    <a:lnTo>
                      <a:pt x="392" y="138"/>
                    </a:lnTo>
                    <a:lnTo>
                      <a:pt x="392" y="136"/>
                    </a:lnTo>
                    <a:close/>
                    <a:moveTo>
                      <a:pt x="58" y="37"/>
                    </a:moveTo>
                    <a:lnTo>
                      <a:pt x="58" y="39"/>
                    </a:lnTo>
                    <a:lnTo>
                      <a:pt x="58" y="37"/>
                    </a:lnTo>
                    <a:close/>
                    <a:moveTo>
                      <a:pt x="394" y="128"/>
                    </a:moveTo>
                    <a:lnTo>
                      <a:pt x="396" y="128"/>
                    </a:lnTo>
                    <a:lnTo>
                      <a:pt x="396" y="129"/>
                    </a:lnTo>
                    <a:lnTo>
                      <a:pt x="394" y="129"/>
                    </a:lnTo>
                    <a:lnTo>
                      <a:pt x="394" y="128"/>
                    </a:lnTo>
                    <a:close/>
                    <a:moveTo>
                      <a:pt x="392" y="36"/>
                    </a:moveTo>
                    <a:lnTo>
                      <a:pt x="394" y="36"/>
                    </a:lnTo>
                    <a:lnTo>
                      <a:pt x="392" y="36"/>
                    </a:lnTo>
                    <a:close/>
                    <a:moveTo>
                      <a:pt x="394" y="41"/>
                    </a:moveTo>
                    <a:lnTo>
                      <a:pt x="396" y="41"/>
                    </a:lnTo>
                    <a:lnTo>
                      <a:pt x="396" y="43"/>
                    </a:lnTo>
                    <a:lnTo>
                      <a:pt x="394" y="43"/>
                    </a:lnTo>
                    <a:lnTo>
                      <a:pt x="394" y="41"/>
                    </a:lnTo>
                    <a:close/>
                    <a:moveTo>
                      <a:pt x="392" y="136"/>
                    </a:moveTo>
                    <a:lnTo>
                      <a:pt x="392" y="138"/>
                    </a:lnTo>
                    <a:lnTo>
                      <a:pt x="392" y="136"/>
                    </a:lnTo>
                    <a:close/>
                    <a:moveTo>
                      <a:pt x="391" y="146"/>
                    </a:moveTo>
                    <a:lnTo>
                      <a:pt x="391" y="148"/>
                    </a:lnTo>
                    <a:lnTo>
                      <a:pt x="391" y="146"/>
                    </a:lnTo>
                    <a:close/>
                    <a:moveTo>
                      <a:pt x="396" y="129"/>
                    </a:moveTo>
                    <a:lnTo>
                      <a:pt x="398" y="129"/>
                    </a:lnTo>
                    <a:lnTo>
                      <a:pt x="398" y="131"/>
                    </a:lnTo>
                    <a:lnTo>
                      <a:pt x="396" y="131"/>
                    </a:lnTo>
                    <a:lnTo>
                      <a:pt x="396" y="129"/>
                    </a:lnTo>
                    <a:close/>
                    <a:moveTo>
                      <a:pt x="394" y="129"/>
                    </a:moveTo>
                    <a:lnTo>
                      <a:pt x="396" y="129"/>
                    </a:lnTo>
                    <a:lnTo>
                      <a:pt x="396" y="131"/>
                    </a:lnTo>
                    <a:lnTo>
                      <a:pt x="394" y="131"/>
                    </a:lnTo>
                    <a:lnTo>
                      <a:pt x="394" y="129"/>
                    </a:lnTo>
                    <a:close/>
                    <a:moveTo>
                      <a:pt x="391" y="146"/>
                    </a:moveTo>
                    <a:lnTo>
                      <a:pt x="391" y="148"/>
                    </a:lnTo>
                    <a:lnTo>
                      <a:pt x="391" y="146"/>
                    </a:lnTo>
                    <a:close/>
                    <a:moveTo>
                      <a:pt x="389" y="145"/>
                    </a:moveTo>
                    <a:lnTo>
                      <a:pt x="391" y="145"/>
                    </a:lnTo>
                    <a:lnTo>
                      <a:pt x="391" y="146"/>
                    </a:lnTo>
                    <a:lnTo>
                      <a:pt x="389" y="146"/>
                    </a:lnTo>
                    <a:lnTo>
                      <a:pt x="389" y="145"/>
                    </a:lnTo>
                    <a:close/>
                    <a:moveTo>
                      <a:pt x="357" y="92"/>
                    </a:moveTo>
                    <a:lnTo>
                      <a:pt x="359" y="92"/>
                    </a:lnTo>
                    <a:lnTo>
                      <a:pt x="357" y="92"/>
                    </a:lnTo>
                    <a:close/>
                    <a:moveTo>
                      <a:pt x="389" y="145"/>
                    </a:moveTo>
                    <a:lnTo>
                      <a:pt x="389" y="146"/>
                    </a:lnTo>
                    <a:lnTo>
                      <a:pt x="389" y="145"/>
                    </a:lnTo>
                    <a:close/>
                    <a:moveTo>
                      <a:pt x="396" y="131"/>
                    </a:moveTo>
                    <a:lnTo>
                      <a:pt x="398" y="131"/>
                    </a:lnTo>
                    <a:lnTo>
                      <a:pt x="396" y="131"/>
                    </a:lnTo>
                    <a:close/>
                    <a:moveTo>
                      <a:pt x="433" y="0"/>
                    </a:moveTo>
                    <a:lnTo>
                      <a:pt x="433" y="2"/>
                    </a:lnTo>
                    <a:lnTo>
                      <a:pt x="433" y="0"/>
                    </a:lnTo>
                    <a:close/>
                    <a:moveTo>
                      <a:pt x="391" y="34"/>
                    </a:moveTo>
                    <a:lnTo>
                      <a:pt x="392" y="34"/>
                    </a:lnTo>
                    <a:lnTo>
                      <a:pt x="391" y="34"/>
                    </a:lnTo>
                    <a:close/>
                    <a:moveTo>
                      <a:pt x="396" y="129"/>
                    </a:moveTo>
                    <a:lnTo>
                      <a:pt x="398" y="129"/>
                    </a:lnTo>
                    <a:lnTo>
                      <a:pt x="396" y="129"/>
                    </a:lnTo>
                    <a:close/>
                    <a:moveTo>
                      <a:pt x="391" y="134"/>
                    </a:moveTo>
                    <a:lnTo>
                      <a:pt x="392" y="134"/>
                    </a:lnTo>
                    <a:lnTo>
                      <a:pt x="392" y="136"/>
                    </a:lnTo>
                    <a:lnTo>
                      <a:pt x="391" y="136"/>
                    </a:lnTo>
                    <a:lnTo>
                      <a:pt x="391" y="134"/>
                    </a:lnTo>
                    <a:close/>
                    <a:moveTo>
                      <a:pt x="399" y="134"/>
                    </a:moveTo>
                    <a:lnTo>
                      <a:pt x="401" y="134"/>
                    </a:lnTo>
                    <a:lnTo>
                      <a:pt x="399" y="134"/>
                    </a:lnTo>
                    <a:close/>
                    <a:moveTo>
                      <a:pt x="428" y="8"/>
                    </a:moveTo>
                    <a:lnTo>
                      <a:pt x="428" y="10"/>
                    </a:lnTo>
                    <a:lnTo>
                      <a:pt x="428" y="8"/>
                    </a:lnTo>
                    <a:close/>
                    <a:moveTo>
                      <a:pt x="386" y="163"/>
                    </a:moveTo>
                    <a:lnTo>
                      <a:pt x="386" y="165"/>
                    </a:lnTo>
                    <a:lnTo>
                      <a:pt x="386" y="163"/>
                    </a:lnTo>
                    <a:close/>
                    <a:moveTo>
                      <a:pt x="46" y="61"/>
                    </a:moveTo>
                    <a:lnTo>
                      <a:pt x="47" y="61"/>
                    </a:lnTo>
                    <a:lnTo>
                      <a:pt x="47" y="63"/>
                    </a:lnTo>
                    <a:lnTo>
                      <a:pt x="46" y="63"/>
                    </a:lnTo>
                    <a:lnTo>
                      <a:pt x="46" y="61"/>
                    </a:lnTo>
                    <a:close/>
                    <a:moveTo>
                      <a:pt x="396" y="129"/>
                    </a:moveTo>
                    <a:lnTo>
                      <a:pt x="396" y="131"/>
                    </a:lnTo>
                    <a:lnTo>
                      <a:pt x="396" y="129"/>
                    </a:lnTo>
                    <a:close/>
                    <a:moveTo>
                      <a:pt x="433" y="0"/>
                    </a:moveTo>
                    <a:lnTo>
                      <a:pt x="433" y="2"/>
                    </a:lnTo>
                    <a:lnTo>
                      <a:pt x="433" y="0"/>
                    </a:lnTo>
                    <a:close/>
                    <a:moveTo>
                      <a:pt x="387" y="138"/>
                    </a:moveTo>
                    <a:lnTo>
                      <a:pt x="387" y="139"/>
                    </a:lnTo>
                    <a:lnTo>
                      <a:pt x="387" y="138"/>
                    </a:lnTo>
                    <a:close/>
                    <a:moveTo>
                      <a:pt x="396" y="128"/>
                    </a:moveTo>
                    <a:lnTo>
                      <a:pt x="396" y="129"/>
                    </a:lnTo>
                    <a:lnTo>
                      <a:pt x="396" y="128"/>
                    </a:lnTo>
                    <a:close/>
                    <a:moveTo>
                      <a:pt x="386" y="165"/>
                    </a:moveTo>
                    <a:lnTo>
                      <a:pt x="387" y="165"/>
                    </a:lnTo>
                    <a:lnTo>
                      <a:pt x="386" y="165"/>
                    </a:lnTo>
                    <a:close/>
                    <a:moveTo>
                      <a:pt x="384" y="163"/>
                    </a:moveTo>
                    <a:lnTo>
                      <a:pt x="386" y="163"/>
                    </a:lnTo>
                    <a:lnTo>
                      <a:pt x="384" y="16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5" name="Freeform 30">
                <a:extLst>
                  <a:ext uri="{FF2B5EF4-FFF2-40B4-BE49-F238E27FC236}">
                    <a16:creationId xmlns:a16="http://schemas.microsoft.com/office/drawing/2014/main" id="{41ACF91B-6F42-C8E4-FBF3-A3FE18193B8B}"/>
                  </a:ext>
                </a:extLst>
              </p:cNvPr>
              <p:cNvSpPr>
                <a:spLocks noEditPoints="1"/>
              </p:cNvSpPr>
              <p:nvPr/>
            </p:nvSpPr>
            <p:spPr bwMode="auto">
              <a:xfrm>
                <a:off x="5769926" y="3536912"/>
                <a:ext cx="36127" cy="23204"/>
              </a:xfrm>
              <a:custGeom>
                <a:avLst/>
                <a:gdLst>
                  <a:gd name="T0" fmla="*/ 102 w 123"/>
                  <a:gd name="T1" fmla="*/ 21 h 79"/>
                  <a:gd name="T2" fmla="*/ 92 w 123"/>
                  <a:gd name="T3" fmla="*/ 24 h 79"/>
                  <a:gd name="T4" fmla="*/ 102 w 123"/>
                  <a:gd name="T5" fmla="*/ 33 h 79"/>
                  <a:gd name="T6" fmla="*/ 107 w 123"/>
                  <a:gd name="T7" fmla="*/ 27 h 79"/>
                  <a:gd name="T8" fmla="*/ 117 w 123"/>
                  <a:gd name="T9" fmla="*/ 21 h 79"/>
                  <a:gd name="T10" fmla="*/ 112 w 123"/>
                  <a:gd name="T11" fmla="*/ 29 h 79"/>
                  <a:gd name="T12" fmla="*/ 116 w 123"/>
                  <a:gd name="T13" fmla="*/ 36 h 79"/>
                  <a:gd name="T14" fmla="*/ 114 w 123"/>
                  <a:gd name="T15" fmla="*/ 39 h 79"/>
                  <a:gd name="T16" fmla="*/ 106 w 123"/>
                  <a:gd name="T17" fmla="*/ 43 h 79"/>
                  <a:gd name="T18" fmla="*/ 97 w 123"/>
                  <a:gd name="T19" fmla="*/ 50 h 79"/>
                  <a:gd name="T20" fmla="*/ 80 w 123"/>
                  <a:gd name="T21" fmla="*/ 43 h 79"/>
                  <a:gd name="T22" fmla="*/ 87 w 123"/>
                  <a:gd name="T23" fmla="*/ 51 h 79"/>
                  <a:gd name="T24" fmla="*/ 87 w 123"/>
                  <a:gd name="T25" fmla="*/ 56 h 79"/>
                  <a:gd name="T26" fmla="*/ 68 w 123"/>
                  <a:gd name="T27" fmla="*/ 55 h 79"/>
                  <a:gd name="T28" fmla="*/ 77 w 123"/>
                  <a:gd name="T29" fmla="*/ 62 h 79"/>
                  <a:gd name="T30" fmla="*/ 66 w 123"/>
                  <a:gd name="T31" fmla="*/ 60 h 79"/>
                  <a:gd name="T32" fmla="*/ 66 w 123"/>
                  <a:gd name="T33" fmla="*/ 70 h 79"/>
                  <a:gd name="T34" fmla="*/ 58 w 123"/>
                  <a:gd name="T35" fmla="*/ 65 h 79"/>
                  <a:gd name="T36" fmla="*/ 61 w 123"/>
                  <a:gd name="T37" fmla="*/ 53 h 79"/>
                  <a:gd name="T38" fmla="*/ 65 w 123"/>
                  <a:gd name="T39" fmla="*/ 46 h 79"/>
                  <a:gd name="T40" fmla="*/ 78 w 123"/>
                  <a:gd name="T41" fmla="*/ 43 h 79"/>
                  <a:gd name="T42" fmla="*/ 75 w 123"/>
                  <a:gd name="T43" fmla="*/ 27 h 79"/>
                  <a:gd name="T44" fmla="*/ 77 w 123"/>
                  <a:gd name="T45" fmla="*/ 22 h 79"/>
                  <a:gd name="T46" fmla="*/ 70 w 123"/>
                  <a:gd name="T47" fmla="*/ 24 h 79"/>
                  <a:gd name="T48" fmla="*/ 66 w 123"/>
                  <a:gd name="T49" fmla="*/ 33 h 79"/>
                  <a:gd name="T50" fmla="*/ 55 w 123"/>
                  <a:gd name="T51" fmla="*/ 43 h 79"/>
                  <a:gd name="T52" fmla="*/ 41 w 123"/>
                  <a:gd name="T53" fmla="*/ 55 h 79"/>
                  <a:gd name="T54" fmla="*/ 38 w 123"/>
                  <a:gd name="T55" fmla="*/ 58 h 79"/>
                  <a:gd name="T56" fmla="*/ 31 w 123"/>
                  <a:gd name="T57" fmla="*/ 62 h 79"/>
                  <a:gd name="T58" fmla="*/ 22 w 123"/>
                  <a:gd name="T59" fmla="*/ 65 h 79"/>
                  <a:gd name="T60" fmla="*/ 21 w 123"/>
                  <a:gd name="T61" fmla="*/ 63 h 79"/>
                  <a:gd name="T62" fmla="*/ 19 w 123"/>
                  <a:gd name="T63" fmla="*/ 56 h 79"/>
                  <a:gd name="T64" fmla="*/ 22 w 123"/>
                  <a:gd name="T65" fmla="*/ 56 h 79"/>
                  <a:gd name="T66" fmla="*/ 29 w 123"/>
                  <a:gd name="T67" fmla="*/ 51 h 79"/>
                  <a:gd name="T68" fmla="*/ 32 w 123"/>
                  <a:gd name="T69" fmla="*/ 45 h 79"/>
                  <a:gd name="T70" fmla="*/ 36 w 123"/>
                  <a:gd name="T71" fmla="*/ 39 h 79"/>
                  <a:gd name="T72" fmla="*/ 34 w 123"/>
                  <a:gd name="T73" fmla="*/ 36 h 79"/>
                  <a:gd name="T74" fmla="*/ 34 w 123"/>
                  <a:gd name="T75" fmla="*/ 29 h 79"/>
                  <a:gd name="T76" fmla="*/ 24 w 123"/>
                  <a:gd name="T77" fmla="*/ 19 h 79"/>
                  <a:gd name="T78" fmla="*/ 43 w 123"/>
                  <a:gd name="T79" fmla="*/ 22 h 79"/>
                  <a:gd name="T80" fmla="*/ 51 w 123"/>
                  <a:gd name="T81" fmla="*/ 22 h 79"/>
                  <a:gd name="T82" fmla="*/ 63 w 123"/>
                  <a:gd name="T83" fmla="*/ 24 h 79"/>
                  <a:gd name="T84" fmla="*/ 15 w 123"/>
                  <a:gd name="T85" fmla="*/ 50 h 79"/>
                  <a:gd name="T86" fmla="*/ 14 w 123"/>
                  <a:gd name="T87" fmla="*/ 43 h 79"/>
                  <a:gd name="T88" fmla="*/ 43 w 123"/>
                  <a:gd name="T89" fmla="*/ 17 h 79"/>
                  <a:gd name="T90" fmla="*/ 34 w 123"/>
                  <a:gd name="T91" fmla="*/ 14 h 79"/>
                  <a:gd name="T92" fmla="*/ 55 w 123"/>
                  <a:gd name="T93" fmla="*/ 16 h 79"/>
                  <a:gd name="T94" fmla="*/ 99 w 123"/>
                  <a:gd name="T95" fmla="*/ 53 h 79"/>
                  <a:gd name="T96" fmla="*/ 48 w 123"/>
                  <a:gd name="T97" fmla="*/ 19 h 79"/>
                  <a:gd name="T98" fmla="*/ 55 w 123"/>
                  <a:gd name="T99" fmla="*/ 73 h 79"/>
                  <a:gd name="T100" fmla="*/ 4 w 123"/>
                  <a:gd name="T101" fmla="*/ 38 h 79"/>
                  <a:gd name="T102" fmla="*/ 53 w 123"/>
                  <a:gd name="T103" fmla="*/ 17 h 79"/>
                  <a:gd name="T104" fmla="*/ 58 w 123"/>
                  <a:gd name="T105" fmla="*/ 41 h 79"/>
                  <a:gd name="T106" fmla="*/ 56 w 123"/>
                  <a:gd name="T107" fmla="*/ 22 h 79"/>
                  <a:gd name="T108" fmla="*/ 60 w 123"/>
                  <a:gd name="T109" fmla="*/ 19 h 79"/>
                  <a:gd name="T110" fmla="*/ 17 w 123"/>
                  <a:gd name="T111" fmla="*/ 10 h 79"/>
                  <a:gd name="T112" fmla="*/ 17 w 123"/>
                  <a:gd name="T113" fmla="*/ 5 h 79"/>
                  <a:gd name="T114" fmla="*/ 17 w 123"/>
                  <a:gd name="T115" fmla="*/ 7 h 79"/>
                  <a:gd name="T116" fmla="*/ 21 w 123"/>
                  <a:gd name="T117" fmla="*/ 26 h 79"/>
                  <a:gd name="T118" fmla="*/ 17 w 123"/>
                  <a:gd name="T119" fmla="*/ 31 h 79"/>
                  <a:gd name="T120" fmla="*/ 41 w 123"/>
                  <a:gd name="T121" fmla="*/ 22 h 79"/>
                  <a:gd name="T122" fmla="*/ 29 w 123"/>
                  <a:gd name="T123" fmla="*/ 17 h 79"/>
                  <a:gd name="T124" fmla="*/ 55 w 123"/>
                  <a:gd name="T125" fmla="*/ 4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3" h="79">
                    <a:moveTo>
                      <a:pt x="80" y="12"/>
                    </a:moveTo>
                    <a:lnTo>
                      <a:pt x="82" y="12"/>
                    </a:lnTo>
                    <a:lnTo>
                      <a:pt x="82" y="14"/>
                    </a:lnTo>
                    <a:lnTo>
                      <a:pt x="83" y="14"/>
                    </a:lnTo>
                    <a:lnTo>
                      <a:pt x="83" y="16"/>
                    </a:lnTo>
                    <a:lnTo>
                      <a:pt x="85" y="16"/>
                    </a:lnTo>
                    <a:lnTo>
                      <a:pt x="87" y="16"/>
                    </a:lnTo>
                    <a:lnTo>
                      <a:pt x="87" y="17"/>
                    </a:lnTo>
                    <a:lnTo>
                      <a:pt x="89" y="17"/>
                    </a:lnTo>
                    <a:lnTo>
                      <a:pt x="90" y="17"/>
                    </a:lnTo>
                    <a:lnTo>
                      <a:pt x="92" y="17"/>
                    </a:lnTo>
                    <a:lnTo>
                      <a:pt x="92" y="19"/>
                    </a:lnTo>
                    <a:lnTo>
                      <a:pt x="94" y="19"/>
                    </a:lnTo>
                    <a:lnTo>
                      <a:pt x="94" y="17"/>
                    </a:lnTo>
                    <a:lnTo>
                      <a:pt x="92" y="19"/>
                    </a:lnTo>
                    <a:lnTo>
                      <a:pt x="92" y="17"/>
                    </a:lnTo>
                    <a:lnTo>
                      <a:pt x="94" y="16"/>
                    </a:lnTo>
                    <a:lnTo>
                      <a:pt x="95" y="16"/>
                    </a:lnTo>
                    <a:lnTo>
                      <a:pt x="97" y="16"/>
                    </a:lnTo>
                    <a:lnTo>
                      <a:pt x="97" y="17"/>
                    </a:lnTo>
                    <a:lnTo>
                      <a:pt x="99" y="17"/>
                    </a:lnTo>
                    <a:lnTo>
                      <a:pt x="100" y="17"/>
                    </a:lnTo>
                    <a:lnTo>
                      <a:pt x="100" y="19"/>
                    </a:lnTo>
                    <a:lnTo>
                      <a:pt x="102" y="19"/>
                    </a:lnTo>
                    <a:lnTo>
                      <a:pt x="102" y="21"/>
                    </a:lnTo>
                    <a:lnTo>
                      <a:pt x="100" y="21"/>
                    </a:lnTo>
                    <a:lnTo>
                      <a:pt x="102" y="21"/>
                    </a:lnTo>
                    <a:lnTo>
                      <a:pt x="102" y="22"/>
                    </a:lnTo>
                    <a:lnTo>
                      <a:pt x="100" y="22"/>
                    </a:lnTo>
                    <a:lnTo>
                      <a:pt x="102" y="22"/>
                    </a:lnTo>
                    <a:lnTo>
                      <a:pt x="102" y="24"/>
                    </a:lnTo>
                    <a:lnTo>
                      <a:pt x="100" y="24"/>
                    </a:lnTo>
                    <a:lnTo>
                      <a:pt x="100" y="22"/>
                    </a:lnTo>
                    <a:lnTo>
                      <a:pt x="100" y="24"/>
                    </a:lnTo>
                    <a:lnTo>
                      <a:pt x="99" y="24"/>
                    </a:lnTo>
                    <a:lnTo>
                      <a:pt x="97" y="24"/>
                    </a:lnTo>
                    <a:lnTo>
                      <a:pt x="97" y="22"/>
                    </a:lnTo>
                    <a:lnTo>
                      <a:pt x="97" y="21"/>
                    </a:lnTo>
                    <a:lnTo>
                      <a:pt x="97" y="22"/>
                    </a:lnTo>
                    <a:lnTo>
                      <a:pt x="95" y="22"/>
                    </a:lnTo>
                    <a:lnTo>
                      <a:pt x="95" y="21"/>
                    </a:lnTo>
                    <a:lnTo>
                      <a:pt x="97" y="21"/>
                    </a:lnTo>
                    <a:lnTo>
                      <a:pt x="95" y="21"/>
                    </a:lnTo>
                    <a:lnTo>
                      <a:pt x="95" y="22"/>
                    </a:lnTo>
                    <a:lnTo>
                      <a:pt x="94" y="22"/>
                    </a:lnTo>
                    <a:lnTo>
                      <a:pt x="94" y="24"/>
                    </a:lnTo>
                    <a:lnTo>
                      <a:pt x="94" y="22"/>
                    </a:lnTo>
                    <a:lnTo>
                      <a:pt x="95" y="22"/>
                    </a:lnTo>
                    <a:lnTo>
                      <a:pt x="94" y="24"/>
                    </a:lnTo>
                    <a:lnTo>
                      <a:pt x="92" y="24"/>
                    </a:lnTo>
                    <a:lnTo>
                      <a:pt x="94" y="24"/>
                    </a:lnTo>
                    <a:lnTo>
                      <a:pt x="95" y="22"/>
                    </a:lnTo>
                    <a:lnTo>
                      <a:pt x="95" y="24"/>
                    </a:lnTo>
                    <a:lnTo>
                      <a:pt x="95" y="22"/>
                    </a:lnTo>
                    <a:lnTo>
                      <a:pt x="97" y="24"/>
                    </a:lnTo>
                    <a:lnTo>
                      <a:pt x="95" y="24"/>
                    </a:lnTo>
                    <a:lnTo>
                      <a:pt x="95" y="26"/>
                    </a:lnTo>
                    <a:lnTo>
                      <a:pt x="95" y="27"/>
                    </a:lnTo>
                    <a:lnTo>
                      <a:pt x="95" y="26"/>
                    </a:lnTo>
                    <a:lnTo>
                      <a:pt x="97" y="24"/>
                    </a:lnTo>
                    <a:lnTo>
                      <a:pt x="97" y="26"/>
                    </a:lnTo>
                    <a:lnTo>
                      <a:pt x="99" y="26"/>
                    </a:lnTo>
                    <a:lnTo>
                      <a:pt x="99" y="24"/>
                    </a:lnTo>
                    <a:lnTo>
                      <a:pt x="99" y="26"/>
                    </a:lnTo>
                    <a:lnTo>
                      <a:pt x="99" y="27"/>
                    </a:lnTo>
                    <a:lnTo>
                      <a:pt x="99" y="29"/>
                    </a:lnTo>
                    <a:lnTo>
                      <a:pt x="100" y="27"/>
                    </a:lnTo>
                    <a:lnTo>
                      <a:pt x="100" y="29"/>
                    </a:lnTo>
                    <a:lnTo>
                      <a:pt x="100" y="31"/>
                    </a:lnTo>
                    <a:lnTo>
                      <a:pt x="100" y="29"/>
                    </a:lnTo>
                    <a:lnTo>
                      <a:pt x="102" y="31"/>
                    </a:lnTo>
                    <a:lnTo>
                      <a:pt x="102" y="29"/>
                    </a:lnTo>
                    <a:lnTo>
                      <a:pt x="104" y="29"/>
                    </a:lnTo>
                    <a:lnTo>
                      <a:pt x="104" y="31"/>
                    </a:lnTo>
                    <a:lnTo>
                      <a:pt x="102" y="33"/>
                    </a:lnTo>
                    <a:lnTo>
                      <a:pt x="104" y="33"/>
                    </a:lnTo>
                    <a:lnTo>
                      <a:pt x="106" y="33"/>
                    </a:lnTo>
                    <a:lnTo>
                      <a:pt x="104" y="33"/>
                    </a:lnTo>
                    <a:lnTo>
                      <a:pt x="104" y="34"/>
                    </a:lnTo>
                    <a:lnTo>
                      <a:pt x="106" y="34"/>
                    </a:lnTo>
                    <a:lnTo>
                      <a:pt x="104" y="34"/>
                    </a:lnTo>
                    <a:lnTo>
                      <a:pt x="106" y="34"/>
                    </a:lnTo>
                    <a:lnTo>
                      <a:pt x="106" y="33"/>
                    </a:lnTo>
                    <a:lnTo>
                      <a:pt x="106" y="34"/>
                    </a:lnTo>
                    <a:lnTo>
                      <a:pt x="106" y="36"/>
                    </a:lnTo>
                    <a:lnTo>
                      <a:pt x="106" y="34"/>
                    </a:lnTo>
                    <a:lnTo>
                      <a:pt x="107" y="34"/>
                    </a:lnTo>
                    <a:lnTo>
                      <a:pt x="106" y="34"/>
                    </a:lnTo>
                    <a:lnTo>
                      <a:pt x="106" y="33"/>
                    </a:lnTo>
                    <a:lnTo>
                      <a:pt x="104" y="33"/>
                    </a:lnTo>
                    <a:lnTo>
                      <a:pt x="106" y="31"/>
                    </a:lnTo>
                    <a:lnTo>
                      <a:pt x="107" y="33"/>
                    </a:lnTo>
                    <a:lnTo>
                      <a:pt x="109" y="33"/>
                    </a:lnTo>
                    <a:lnTo>
                      <a:pt x="107" y="33"/>
                    </a:lnTo>
                    <a:lnTo>
                      <a:pt x="106" y="31"/>
                    </a:lnTo>
                    <a:lnTo>
                      <a:pt x="107" y="31"/>
                    </a:lnTo>
                    <a:lnTo>
                      <a:pt x="106" y="31"/>
                    </a:lnTo>
                    <a:lnTo>
                      <a:pt x="104" y="29"/>
                    </a:lnTo>
                    <a:lnTo>
                      <a:pt x="106" y="29"/>
                    </a:lnTo>
                    <a:lnTo>
                      <a:pt x="107" y="27"/>
                    </a:lnTo>
                    <a:lnTo>
                      <a:pt x="106" y="27"/>
                    </a:lnTo>
                    <a:lnTo>
                      <a:pt x="106" y="29"/>
                    </a:lnTo>
                    <a:lnTo>
                      <a:pt x="104" y="29"/>
                    </a:lnTo>
                    <a:lnTo>
                      <a:pt x="104" y="27"/>
                    </a:lnTo>
                    <a:lnTo>
                      <a:pt x="104" y="26"/>
                    </a:lnTo>
                    <a:lnTo>
                      <a:pt x="102" y="27"/>
                    </a:lnTo>
                    <a:lnTo>
                      <a:pt x="100" y="27"/>
                    </a:lnTo>
                    <a:lnTo>
                      <a:pt x="100" y="26"/>
                    </a:lnTo>
                    <a:lnTo>
                      <a:pt x="102" y="26"/>
                    </a:lnTo>
                    <a:lnTo>
                      <a:pt x="100" y="26"/>
                    </a:lnTo>
                    <a:lnTo>
                      <a:pt x="102" y="26"/>
                    </a:lnTo>
                    <a:lnTo>
                      <a:pt x="102" y="24"/>
                    </a:lnTo>
                    <a:lnTo>
                      <a:pt x="104" y="22"/>
                    </a:lnTo>
                    <a:lnTo>
                      <a:pt x="104" y="21"/>
                    </a:lnTo>
                    <a:lnTo>
                      <a:pt x="106" y="21"/>
                    </a:lnTo>
                    <a:lnTo>
                      <a:pt x="107" y="21"/>
                    </a:lnTo>
                    <a:lnTo>
                      <a:pt x="109" y="21"/>
                    </a:lnTo>
                    <a:lnTo>
                      <a:pt x="111" y="21"/>
                    </a:lnTo>
                    <a:lnTo>
                      <a:pt x="111" y="19"/>
                    </a:lnTo>
                    <a:lnTo>
                      <a:pt x="111" y="21"/>
                    </a:lnTo>
                    <a:lnTo>
                      <a:pt x="112" y="21"/>
                    </a:lnTo>
                    <a:lnTo>
                      <a:pt x="114" y="19"/>
                    </a:lnTo>
                    <a:lnTo>
                      <a:pt x="116" y="19"/>
                    </a:lnTo>
                    <a:lnTo>
                      <a:pt x="116" y="21"/>
                    </a:lnTo>
                    <a:lnTo>
                      <a:pt x="117" y="21"/>
                    </a:lnTo>
                    <a:lnTo>
                      <a:pt x="117" y="22"/>
                    </a:lnTo>
                    <a:lnTo>
                      <a:pt x="119" y="24"/>
                    </a:lnTo>
                    <a:lnTo>
                      <a:pt x="119" y="26"/>
                    </a:lnTo>
                    <a:lnTo>
                      <a:pt x="121" y="26"/>
                    </a:lnTo>
                    <a:lnTo>
                      <a:pt x="121" y="27"/>
                    </a:lnTo>
                    <a:lnTo>
                      <a:pt x="123" y="27"/>
                    </a:lnTo>
                    <a:lnTo>
                      <a:pt x="121" y="27"/>
                    </a:lnTo>
                    <a:lnTo>
                      <a:pt x="119" y="27"/>
                    </a:lnTo>
                    <a:lnTo>
                      <a:pt x="117" y="26"/>
                    </a:lnTo>
                    <a:lnTo>
                      <a:pt x="119" y="26"/>
                    </a:lnTo>
                    <a:lnTo>
                      <a:pt x="117" y="26"/>
                    </a:lnTo>
                    <a:lnTo>
                      <a:pt x="117" y="27"/>
                    </a:lnTo>
                    <a:lnTo>
                      <a:pt x="119" y="27"/>
                    </a:lnTo>
                    <a:lnTo>
                      <a:pt x="121" y="27"/>
                    </a:lnTo>
                    <a:lnTo>
                      <a:pt x="121" y="29"/>
                    </a:lnTo>
                    <a:lnTo>
                      <a:pt x="119" y="29"/>
                    </a:lnTo>
                    <a:lnTo>
                      <a:pt x="117" y="29"/>
                    </a:lnTo>
                    <a:lnTo>
                      <a:pt x="116" y="29"/>
                    </a:lnTo>
                    <a:lnTo>
                      <a:pt x="114" y="29"/>
                    </a:lnTo>
                    <a:lnTo>
                      <a:pt x="114" y="27"/>
                    </a:lnTo>
                    <a:lnTo>
                      <a:pt x="112" y="27"/>
                    </a:lnTo>
                    <a:lnTo>
                      <a:pt x="112" y="26"/>
                    </a:lnTo>
                    <a:lnTo>
                      <a:pt x="111" y="26"/>
                    </a:lnTo>
                    <a:lnTo>
                      <a:pt x="112" y="27"/>
                    </a:lnTo>
                    <a:lnTo>
                      <a:pt x="112" y="29"/>
                    </a:lnTo>
                    <a:lnTo>
                      <a:pt x="111" y="27"/>
                    </a:lnTo>
                    <a:lnTo>
                      <a:pt x="109" y="27"/>
                    </a:lnTo>
                    <a:lnTo>
                      <a:pt x="111" y="29"/>
                    </a:lnTo>
                    <a:lnTo>
                      <a:pt x="109" y="27"/>
                    </a:lnTo>
                    <a:lnTo>
                      <a:pt x="109" y="29"/>
                    </a:lnTo>
                    <a:lnTo>
                      <a:pt x="107" y="29"/>
                    </a:lnTo>
                    <a:lnTo>
                      <a:pt x="109" y="29"/>
                    </a:lnTo>
                    <a:lnTo>
                      <a:pt x="109" y="31"/>
                    </a:lnTo>
                    <a:lnTo>
                      <a:pt x="111" y="31"/>
                    </a:lnTo>
                    <a:lnTo>
                      <a:pt x="109" y="31"/>
                    </a:lnTo>
                    <a:lnTo>
                      <a:pt x="111" y="31"/>
                    </a:lnTo>
                    <a:lnTo>
                      <a:pt x="112" y="31"/>
                    </a:lnTo>
                    <a:lnTo>
                      <a:pt x="114" y="31"/>
                    </a:lnTo>
                    <a:lnTo>
                      <a:pt x="116" y="33"/>
                    </a:lnTo>
                    <a:lnTo>
                      <a:pt x="117" y="33"/>
                    </a:lnTo>
                    <a:lnTo>
                      <a:pt x="119" y="33"/>
                    </a:lnTo>
                    <a:lnTo>
                      <a:pt x="121" y="33"/>
                    </a:lnTo>
                    <a:lnTo>
                      <a:pt x="121" y="34"/>
                    </a:lnTo>
                    <a:lnTo>
                      <a:pt x="123" y="34"/>
                    </a:lnTo>
                    <a:lnTo>
                      <a:pt x="121" y="34"/>
                    </a:lnTo>
                    <a:lnTo>
                      <a:pt x="121" y="36"/>
                    </a:lnTo>
                    <a:lnTo>
                      <a:pt x="119" y="34"/>
                    </a:lnTo>
                    <a:lnTo>
                      <a:pt x="119" y="36"/>
                    </a:lnTo>
                    <a:lnTo>
                      <a:pt x="117" y="36"/>
                    </a:lnTo>
                    <a:lnTo>
                      <a:pt x="116" y="36"/>
                    </a:lnTo>
                    <a:lnTo>
                      <a:pt x="116" y="34"/>
                    </a:lnTo>
                    <a:lnTo>
                      <a:pt x="114" y="34"/>
                    </a:lnTo>
                    <a:lnTo>
                      <a:pt x="116" y="34"/>
                    </a:lnTo>
                    <a:lnTo>
                      <a:pt x="116" y="36"/>
                    </a:lnTo>
                    <a:lnTo>
                      <a:pt x="117" y="36"/>
                    </a:lnTo>
                    <a:lnTo>
                      <a:pt x="116" y="36"/>
                    </a:lnTo>
                    <a:lnTo>
                      <a:pt x="117" y="36"/>
                    </a:lnTo>
                    <a:lnTo>
                      <a:pt x="119" y="36"/>
                    </a:lnTo>
                    <a:lnTo>
                      <a:pt x="117" y="36"/>
                    </a:lnTo>
                    <a:lnTo>
                      <a:pt x="116" y="36"/>
                    </a:lnTo>
                    <a:lnTo>
                      <a:pt x="117" y="38"/>
                    </a:lnTo>
                    <a:lnTo>
                      <a:pt x="119" y="38"/>
                    </a:lnTo>
                    <a:lnTo>
                      <a:pt x="119" y="36"/>
                    </a:lnTo>
                    <a:lnTo>
                      <a:pt x="121" y="36"/>
                    </a:lnTo>
                    <a:lnTo>
                      <a:pt x="123" y="36"/>
                    </a:lnTo>
                    <a:lnTo>
                      <a:pt x="123" y="38"/>
                    </a:lnTo>
                    <a:lnTo>
                      <a:pt x="121" y="38"/>
                    </a:lnTo>
                    <a:lnTo>
                      <a:pt x="119" y="38"/>
                    </a:lnTo>
                    <a:lnTo>
                      <a:pt x="119" y="39"/>
                    </a:lnTo>
                    <a:lnTo>
                      <a:pt x="119" y="38"/>
                    </a:lnTo>
                    <a:lnTo>
                      <a:pt x="117" y="39"/>
                    </a:lnTo>
                    <a:lnTo>
                      <a:pt x="116" y="39"/>
                    </a:lnTo>
                    <a:lnTo>
                      <a:pt x="114" y="39"/>
                    </a:lnTo>
                    <a:lnTo>
                      <a:pt x="112" y="39"/>
                    </a:lnTo>
                    <a:lnTo>
                      <a:pt x="114" y="39"/>
                    </a:lnTo>
                    <a:lnTo>
                      <a:pt x="116" y="39"/>
                    </a:lnTo>
                    <a:lnTo>
                      <a:pt x="117" y="39"/>
                    </a:lnTo>
                    <a:lnTo>
                      <a:pt x="119" y="39"/>
                    </a:lnTo>
                    <a:lnTo>
                      <a:pt x="117" y="39"/>
                    </a:lnTo>
                    <a:lnTo>
                      <a:pt x="116" y="39"/>
                    </a:lnTo>
                    <a:lnTo>
                      <a:pt x="114" y="41"/>
                    </a:lnTo>
                    <a:lnTo>
                      <a:pt x="112" y="41"/>
                    </a:lnTo>
                    <a:lnTo>
                      <a:pt x="111" y="41"/>
                    </a:lnTo>
                    <a:lnTo>
                      <a:pt x="109" y="41"/>
                    </a:lnTo>
                    <a:lnTo>
                      <a:pt x="107" y="41"/>
                    </a:lnTo>
                    <a:lnTo>
                      <a:pt x="109" y="39"/>
                    </a:lnTo>
                    <a:lnTo>
                      <a:pt x="107" y="39"/>
                    </a:lnTo>
                    <a:lnTo>
                      <a:pt x="107" y="41"/>
                    </a:lnTo>
                    <a:lnTo>
                      <a:pt x="106" y="41"/>
                    </a:lnTo>
                    <a:lnTo>
                      <a:pt x="104" y="39"/>
                    </a:lnTo>
                    <a:lnTo>
                      <a:pt x="104" y="41"/>
                    </a:lnTo>
                    <a:lnTo>
                      <a:pt x="104" y="39"/>
                    </a:lnTo>
                    <a:lnTo>
                      <a:pt x="104" y="41"/>
                    </a:lnTo>
                    <a:lnTo>
                      <a:pt x="106" y="41"/>
                    </a:lnTo>
                    <a:lnTo>
                      <a:pt x="107" y="41"/>
                    </a:lnTo>
                    <a:lnTo>
                      <a:pt x="106" y="43"/>
                    </a:lnTo>
                    <a:lnTo>
                      <a:pt x="107" y="41"/>
                    </a:lnTo>
                    <a:lnTo>
                      <a:pt x="109" y="43"/>
                    </a:lnTo>
                    <a:lnTo>
                      <a:pt x="107" y="43"/>
                    </a:lnTo>
                    <a:lnTo>
                      <a:pt x="106" y="43"/>
                    </a:lnTo>
                    <a:lnTo>
                      <a:pt x="104" y="43"/>
                    </a:lnTo>
                    <a:lnTo>
                      <a:pt x="104" y="45"/>
                    </a:lnTo>
                    <a:lnTo>
                      <a:pt x="102" y="45"/>
                    </a:lnTo>
                    <a:lnTo>
                      <a:pt x="100" y="45"/>
                    </a:lnTo>
                    <a:lnTo>
                      <a:pt x="102" y="45"/>
                    </a:lnTo>
                    <a:lnTo>
                      <a:pt x="104" y="45"/>
                    </a:lnTo>
                    <a:lnTo>
                      <a:pt x="104" y="43"/>
                    </a:lnTo>
                    <a:lnTo>
                      <a:pt x="106" y="43"/>
                    </a:lnTo>
                    <a:lnTo>
                      <a:pt x="106" y="45"/>
                    </a:lnTo>
                    <a:lnTo>
                      <a:pt x="107" y="45"/>
                    </a:lnTo>
                    <a:lnTo>
                      <a:pt x="106" y="45"/>
                    </a:lnTo>
                    <a:lnTo>
                      <a:pt x="106" y="46"/>
                    </a:lnTo>
                    <a:lnTo>
                      <a:pt x="104" y="46"/>
                    </a:lnTo>
                    <a:lnTo>
                      <a:pt x="106" y="46"/>
                    </a:lnTo>
                    <a:lnTo>
                      <a:pt x="104" y="46"/>
                    </a:lnTo>
                    <a:lnTo>
                      <a:pt x="102" y="46"/>
                    </a:lnTo>
                    <a:lnTo>
                      <a:pt x="102" y="48"/>
                    </a:lnTo>
                    <a:lnTo>
                      <a:pt x="104" y="48"/>
                    </a:lnTo>
                    <a:lnTo>
                      <a:pt x="102" y="48"/>
                    </a:lnTo>
                    <a:lnTo>
                      <a:pt x="100" y="48"/>
                    </a:lnTo>
                    <a:lnTo>
                      <a:pt x="100" y="50"/>
                    </a:lnTo>
                    <a:lnTo>
                      <a:pt x="99" y="50"/>
                    </a:lnTo>
                    <a:lnTo>
                      <a:pt x="100" y="50"/>
                    </a:lnTo>
                    <a:lnTo>
                      <a:pt x="99" y="50"/>
                    </a:lnTo>
                    <a:lnTo>
                      <a:pt x="97" y="50"/>
                    </a:lnTo>
                    <a:lnTo>
                      <a:pt x="97" y="48"/>
                    </a:lnTo>
                    <a:lnTo>
                      <a:pt x="99" y="50"/>
                    </a:lnTo>
                    <a:lnTo>
                      <a:pt x="100" y="50"/>
                    </a:lnTo>
                    <a:lnTo>
                      <a:pt x="99" y="48"/>
                    </a:lnTo>
                    <a:lnTo>
                      <a:pt x="100" y="48"/>
                    </a:lnTo>
                    <a:lnTo>
                      <a:pt x="99" y="48"/>
                    </a:lnTo>
                    <a:lnTo>
                      <a:pt x="97" y="48"/>
                    </a:lnTo>
                    <a:lnTo>
                      <a:pt x="95" y="48"/>
                    </a:lnTo>
                    <a:lnTo>
                      <a:pt x="94" y="48"/>
                    </a:lnTo>
                    <a:lnTo>
                      <a:pt x="94" y="50"/>
                    </a:lnTo>
                    <a:lnTo>
                      <a:pt x="94" y="48"/>
                    </a:lnTo>
                    <a:lnTo>
                      <a:pt x="92" y="48"/>
                    </a:lnTo>
                    <a:lnTo>
                      <a:pt x="90" y="48"/>
                    </a:lnTo>
                    <a:lnTo>
                      <a:pt x="92" y="48"/>
                    </a:lnTo>
                    <a:lnTo>
                      <a:pt x="90" y="48"/>
                    </a:lnTo>
                    <a:lnTo>
                      <a:pt x="89" y="48"/>
                    </a:lnTo>
                    <a:lnTo>
                      <a:pt x="87" y="48"/>
                    </a:lnTo>
                    <a:lnTo>
                      <a:pt x="85" y="46"/>
                    </a:lnTo>
                    <a:lnTo>
                      <a:pt x="83" y="45"/>
                    </a:lnTo>
                    <a:lnTo>
                      <a:pt x="83" y="46"/>
                    </a:lnTo>
                    <a:lnTo>
                      <a:pt x="85" y="46"/>
                    </a:lnTo>
                    <a:lnTo>
                      <a:pt x="83" y="46"/>
                    </a:lnTo>
                    <a:lnTo>
                      <a:pt x="82" y="45"/>
                    </a:lnTo>
                    <a:lnTo>
                      <a:pt x="82" y="43"/>
                    </a:lnTo>
                    <a:lnTo>
                      <a:pt x="80" y="43"/>
                    </a:lnTo>
                    <a:lnTo>
                      <a:pt x="82" y="43"/>
                    </a:lnTo>
                    <a:lnTo>
                      <a:pt x="80" y="45"/>
                    </a:lnTo>
                    <a:lnTo>
                      <a:pt x="80" y="46"/>
                    </a:lnTo>
                    <a:lnTo>
                      <a:pt x="78" y="46"/>
                    </a:lnTo>
                    <a:lnTo>
                      <a:pt x="77" y="46"/>
                    </a:lnTo>
                    <a:lnTo>
                      <a:pt x="77" y="45"/>
                    </a:lnTo>
                    <a:lnTo>
                      <a:pt x="75" y="45"/>
                    </a:lnTo>
                    <a:lnTo>
                      <a:pt x="77" y="46"/>
                    </a:lnTo>
                    <a:lnTo>
                      <a:pt x="75" y="48"/>
                    </a:lnTo>
                    <a:lnTo>
                      <a:pt x="77" y="46"/>
                    </a:lnTo>
                    <a:lnTo>
                      <a:pt x="78" y="46"/>
                    </a:lnTo>
                    <a:lnTo>
                      <a:pt x="78" y="48"/>
                    </a:lnTo>
                    <a:lnTo>
                      <a:pt x="80" y="46"/>
                    </a:lnTo>
                    <a:lnTo>
                      <a:pt x="82" y="46"/>
                    </a:lnTo>
                    <a:lnTo>
                      <a:pt x="82" y="48"/>
                    </a:lnTo>
                    <a:lnTo>
                      <a:pt x="83" y="48"/>
                    </a:lnTo>
                    <a:lnTo>
                      <a:pt x="85" y="50"/>
                    </a:lnTo>
                    <a:lnTo>
                      <a:pt x="87" y="50"/>
                    </a:lnTo>
                    <a:lnTo>
                      <a:pt x="87" y="51"/>
                    </a:lnTo>
                    <a:lnTo>
                      <a:pt x="85" y="50"/>
                    </a:lnTo>
                    <a:lnTo>
                      <a:pt x="83" y="50"/>
                    </a:lnTo>
                    <a:lnTo>
                      <a:pt x="85" y="50"/>
                    </a:lnTo>
                    <a:lnTo>
                      <a:pt x="85" y="51"/>
                    </a:lnTo>
                    <a:lnTo>
                      <a:pt x="85" y="50"/>
                    </a:lnTo>
                    <a:lnTo>
                      <a:pt x="87" y="51"/>
                    </a:lnTo>
                    <a:lnTo>
                      <a:pt x="87" y="53"/>
                    </a:lnTo>
                    <a:lnTo>
                      <a:pt x="87" y="51"/>
                    </a:lnTo>
                    <a:lnTo>
                      <a:pt x="89" y="51"/>
                    </a:lnTo>
                    <a:lnTo>
                      <a:pt x="90" y="51"/>
                    </a:lnTo>
                    <a:lnTo>
                      <a:pt x="90" y="53"/>
                    </a:lnTo>
                    <a:lnTo>
                      <a:pt x="90" y="51"/>
                    </a:lnTo>
                    <a:lnTo>
                      <a:pt x="92" y="53"/>
                    </a:lnTo>
                    <a:lnTo>
                      <a:pt x="92" y="51"/>
                    </a:lnTo>
                    <a:lnTo>
                      <a:pt x="92" y="53"/>
                    </a:lnTo>
                    <a:lnTo>
                      <a:pt x="94" y="53"/>
                    </a:lnTo>
                    <a:lnTo>
                      <a:pt x="92" y="55"/>
                    </a:lnTo>
                    <a:lnTo>
                      <a:pt x="94" y="55"/>
                    </a:lnTo>
                    <a:lnTo>
                      <a:pt x="92" y="55"/>
                    </a:lnTo>
                    <a:lnTo>
                      <a:pt x="90" y="55"/>
                    </a:lnTo>
                    <a:lnTo>
                      <a:pt x="92" y="56"/>
                    </a:lnTo>
                    <a:lnTo>
                      <a:pt x="90" y="56"/>
                    </a:lnTo>
                    <a:lnTo>
                      <a:pt x="90" y="58"/>
                    </a:lnTo>
                    <a:lnTo>
                      <a:pt x="92" y="58"/>
                    </a:lnTo>
                    <a:lnTo>
                      <a:pt x="92" y="60"/>
                    </a:lnTo>
                    <a:lnTo>
                      <a:pt x="90" y="62"/>
                    </a:lnTo>
                    <a:lnTo>
                      <a:pt x="90" y="60"/>
                    </a:lnTo>
                    <a:lnTo>
                      <a:pt x="90" y="58"/>
                    </a:lnTo>
                    <a:lnTo>
                      <a:pt x="89" y="58"/>
                    </a:lnTo>
                    <a:lnTo>
                      <a:pt x="89" y="56"/>
                    </a:lnTo>
                    <a:lnTo>
                      <a:pt x="87" y="56"/>
                    </a:lnTo>
                    <a:lnTo>
                      <a:pt x="85" y="56"/>
                    </a:lnTo>
                    <a:lnTo>
                      <a:pt x="83" y="56"/>
                    </a:lnTo>
                    <a:lnTo>
                      <a:pt x="83" y="58"/>
                    </a:lnTo>
                    <a:lnTo>
                      <a:pt x="82" y="58"/>
                    </a:lnTo>
                    <a:lnTo>
                      <a:pt x="82" y="60"/>
                    </a:lnTo>
                    <a:lnTo>
                      <a:pt x="82" y="58"/>
                    </a:lnTo>
                    <a:lnTo>
                      <a:pt x="82" y="56"/>
                    </a:lnTo>
                    <a:lnTo>
                      <a:pt x="80" y="58"/>
                    </a:lnTo>
                    <a:lnTo>
                      <a:pt x="80" y="60"/>
                    </a:lnTo>
                    <a:lnTo>
                      <a:pt x="80" y="58"/>
                    </a:lnTo>
                    <a:lnTo>
                      <a:pt x="80" y="56"/>
                    </a:lnTo>
                    <a:lnTo>
                      <a:pt x="78" y="56"/>
                    </a:lnTo>
                    <a:lnTo>
                      <a:pt x="78" y="55"/>
                    </a:lnTo>
                    <a:lnTo>
                      <a:pt x="78" y="56"/>
                    </a:lnTo>
                    <a:lnTo>
                      <a:pt x="77" y="56"/>
                    </a:lnTo>
                    <a:lnTo>
                      <a:pt x="77" y="55"/>
                    </a:lnTo>
                    <a:lnTo>
                      <a:pt x="75" y="55"/>
                    </a:lnTo>
                    <a:lnTo>
                      <a:pt x="75" y="53"/>
                    </a:lnTo>
                    <a:lnTo>
                      <a:pt x="73" y="53"/>
                    </a:lnTo>
                    <a:lnTo>
                      <a:pt x="75" y="53"/>
                    </a:lnTo>
                    <a:lnTo>
                      <a:pt x="73" y="55"/>
                    </a:lnTo>
                    <a:lnTo>
                      <a:pt x="72" y="55"/>
                    </a:lnTo>
                    <a:lnTo>
                      <a:pt x="72" y="53"/>
                    </a:lnTo>
                    <a:lnTo>
                      <a:pt x="70" y="55"/>
                    </a:lnTo>
                    <a:lnTo>
                      <a:pt x="68" y="55"/>
                    </a:lnTo>
                    <a:lnTo>
                      <a:pt x="70" y="55"/>
                    </a:lnTo>
                    <a:lnTo>
                      <a:pt x="72" y="55"/>
                    </a:lnTo>
                    <a:lnTo>
                      <a:pt x="73" y="55"/>
                    </a:lnTo>
                    <a:lnTo>
                      <a:pt x="73" y="56"/>
                    </a:lnTo>
                    <a:lnTo>
                      <a:pt x="72" y="56"/>
                    </a:lnTo>
                    <a:lnTo>
                      <a:pt x="73" y="56"/>
                    </a:lnTo>
                    <a:lnTo>
                      <a:pt x="73" y="58"/>
                    </a:lnTo>
                    <a:lnTo>
                      <a:pt x="75" y="56"/>
                    </a:lnTo>
                    <a:lnTo>
                      <a:pt x="75" y="58"/>
                    </a:lnTo>
                    <a:lnTo>
                      <a:pt x="77" y="58"/>
                    </a:lnTo>
                    <a:lnTo>
                      <a:pt x="75" y="58"/>
                    </a:lnTo>
                    <a:lnTo>
                      <a:pt x="73" y="60"/>
                    </a:lnTo>
                    <a:lnTo>
                      <a:pt x="75" y="60"/>
                    </a:lnTo>
                    <a:lnTo>
                      <a:pt x="77" y="60"/>
                    </a:lnTo>
                    <a:lnTo>
                      <a:pt x="77" y="62"/>
                    </a:lnTo>
                    <a:lnTo>
                      <a:pt x="75" y="60"/>
                    </a:lnTo>
                    <a:lnTo>
                      <a:pt x="75" y="62"/>
                    </a:lnTo>
                    <a:lnTo>
                      <a:pt x="73" y="62"/>
                    </a:lnTo>
                    <a:lnTo>
                      <a:pt x="75" y="62"/>
                    </a:lnTo>
                    <a:lnTo>
                      <a:pt x="75" y="63"/>
                    </a:lnTo>
                    <a:lnTo>
                      <a:pt x="75" y="62"/>
                    </a:lnTo>
                    <a:lnTo>
                      <a:pt x="77" y="62"/>
                    </a:lnTo>
                    <a:lnTo>
                      <a:pt x="75" y="63"/>
                    </a:lnTo>
                    <a:lnTo>
                      <a:pt x="77" y="63"/>
                    </a:lnTo>
                    <a:lnTo>
                      <a:pt x="77" y="62"/>
                    </a:lnTo>
                    <a:lnTo>
                      <a:pt x="78" y="62"/>
                    </a:lnTo>
                    <a:lnTo>
                      <a:pt x="78" y="63"/>
                    </a:lnTo>
                    <a:lnTo>
                      <a:pt x="77" y="63"/>
                    </a:lnTo>
                    <a:lnTo>
                      <a:pt x="78" y="63"/>
                    </a:lnTo>
                    <a:lnTo>
                      <a:pt x="77" y="63"/>
                    </a:lnTo>
                    <a:lnTo>
                      <a:pt x="77" y="65"/>
                    </a:lnTo>
                    <a:lnTo>
                      <a:pt x="78" y="65"/>
                    </a:lnTo>
                    <a:lnTo>
                      <a:pt x="78" y="67"/>
                    </a:lnTo>
                    <a:lnTo>
                      <a:pt x="78" y="68"/>
                    </a:lnTo>
                    <a:lnTo>
                      <a:pt x="77" y="67"/>
                    </a:lnTo>
                    <a:lnTo>
                      <a:pt x="75" y="67"/>
                    </a:lnTo>
                    <a:lnTo>
                      <a:pt x="75" y="65"/>
                    </a:lnTo>
                    <a:lnTo>
                      <a:pt x="73" y="65"/>
                    </a:lnTo>
                    <a:lnTo>
                      <a:pt x="72" y="67"/>
                    </a:lnTo>
                    <a:lnTo>
                      <a:pt x="72" y="65"/>
                    </a:lnTo>
                    <a:lnTo>
                      <a:pt x="72" y="63"/>
                    </a:lnTo>
                    <a:lnTo>
                      <a:pt x="70" y="63"/>
                    </a:lnTo>
                    <a:lnTo>
                      <a:pt x="68" y="63"/>
                    </a:lnTo>
                    <a:lnTo>
                      <a:pt x="70" y="63"/>
                    </a:lnTo>
                    <a:lnTo>
                      <a:pt x="70" y="62"/>
                    </a:lnTo>
                    <a:lnTo>
                      <a:pt x="68" y="63"/>
                    </a:lnTo>
                    <a:lnTo>
                      <a:pt x="68" y="62"/>
                    </a:lnTo>
                    <a:lnTo>
                      <a:pt x="68" y="63"/>
                    </a:lnTo>
                    <a:lnTo>
                      <a:pt x="68" y="62"/>
                    </a:lnTo>
                    <a:lnTo>
                      <a:pt x="66" y="60"/>
                    </a:lnTo>
                    <a:lnTo>
                      <a:pt x="66" y="62"/>
                    </a:lnTo>
                    <a:lnTo>
                      <a:pt x="66" y="60"/>
                    </a:lnTo>
                    <a:lnTo>
                      <a:pt x="66" y="62"/>
                    </a:lnTo>
                    <a:lnTo>
                      <a:pt x="66" y="63"/>
                    </a:lnTo>
                    <a:lnTo>
                      <a:pt x="65" y="63"/>
                    </a:lnTo>
                    <a:lnTo>
                      <a:pt x="65" y="62"/>
                    </a:lnTo>
                    <a:lnTo>
                      <a:pt x="63" y="63"/>
                    </a:lnTo>
                    <a:lnTo>
                      <a:pt x="65" y="63"/>
                    </a:lnTo>
                    <a:lnTo>
                      <a:pt x="66" y="63"/>
                    </a:lnTo>
                    <a:lnTo>
                      <a:pt x="66" y="65"/>
                    </a:lnTo>
                    <a:lnTo>
                      <a:pt x="65" y="63"/>
                    </a:lnTo>
                    <a:lnTo>
                      <a:pt x="65" y="65"/>
                    </a:lnTo>
                    <a:lnTo>
                      <a:pt x="65" y="67"/>
                    </a:lnTo>
                    <a:lnTo>
                      <a:pt x="65" y="65"/>
                    </a:lnTo>
                    <a:lnTo>
                      <a:pt x="66" y="65"/>
                    </a:lnTo>
                    <a:lnTo>
                      <a:pt x="65" y="67"/>
                    </a:lnTo>
                    <a:lnTo>
                      <a:pt x="66" y="65"/>
                    </a:lnTo>
                    <a:lnTo>
                      <a:pt x="68" y="65"/>
                    </a:lnTo>
                    <a:lnTo>
                      <a:pt x="68" y="67"/>
                    </a:lnTo>
                    <a:lnTo>
                      <a:pt x="66" y="67"/>
                    </a:lnTo>
                    <a:lnTo>
                      <a:pt x="68" y="67"/>
                    </a:lnTo>
                    <a:lnTo>
                      <a:pt x="68" y="68"/>
                    </a:lnTo>
                    <a:lnTo>
                      <a:pt x="66" y="68"/>
                    </a:lnTo>
                    <a:lnTo>
                      <a:pt x="65" y="70"/>
                    </a:lnTo>
                    <a:lnTo>
                      <a:pt x="66" y="70"/>
                    </a:lnTo>
                    <a:lnTo>
                      <a:pt x="66" y="68"/>
                    </a:lnTo>
                    <a:lnTo>
                      <a:pt x="68" y="68"/>
                    </a:lnTo>
                    <a:lnTo>
                      <a:pt x="68" y="70"/>
                    </a:lnTo>
                    <a:lnTo>
                      <a:pt x="66" y="70"/>
                    </a:lnTo>
                    <a:lnTo>
                      <a:pt x="66" y="72"/>
                    </a:lnTo>
                    <a:lnTo>
                      <a:pt x="68" y="72"/>
                    </a:lnTo>
                    <a:lnTo>
                      <a:pt x="68" y="73"/>
                    </a:lnTo>
                    <a:lnTo>
                      <a:pt x="70" y="72"/>
                    </a:lnTo>
                    <a:lnTo>
                      <a:pt x="70" y="73"/>
                    </a:lnTo>
                    <a:lnTo>
                      <a:pt x="68" y="73"/>
                    </a:lnTo>
                    <a:lnTo>
                      <a:pt x="66" y="73"/>
                    </a:lnTo>
                    <a:lnTo>
                      <a:pt x="66" y="72"/>
                    </a:lnTo>
                    <a:lnTo>
                      <a:pt x="65" y="72"/>
                    </a:lnTo>
                    <a:lnTo>
                      <a:pt x="65" y="70"/>
                    </a:lnTo>
                    <a:lnTo>
                      <a:pt x="63" y="70"/>
                    </a:lnTo>
                    <a:lnTo>
                      <a:pt x="63" y="72"/>
                    </a:lnTo>
                    <a:lnTo>
                      <a:pt x="63" y="70"/>
                    </a:lnTo>
                    <a:lnTo>
                      <a:pt x="63" y="68"/>
                    </a:lnTo>
                    <a:lnTo>
                      <a:pt x="63" y="67"/>
                    </a:lnTo>
                    <a:lnTo>
                      <a:pt x="61" y="68"/>
                    </a:lnTo>
                    <a:lnTo>
                      <a:pt x="60" y="68"/>
                    </a:lnTo>
                    <a:lnTo>
                      <a:pt x="60" y="67"/>
                    </a:lnTo>
                    <a:lnTo>
                      <a:pt x="61" y="65"/>
                    </a:lnTo>
                    <a:lnTo>
                      <a:pt x="60" y="65"/>
                    </a:lnTo>
                    <a:lnTo>
                      <a:pt x="58" y="65"/>
                    </a:lnTo>
                    <a:lnTo>
                      <a:pt x="58" y="63"/>
                    </a:lnTo>
                    <a:lnTo>
                      <a:pt x="56" y="62"/>
                    </a:lnTo>
                    <a:lnTo>
                      <a:pt x="55" y="62"/>
                    </a:lnTo>
                    <a:lnTo>
                      <a:pt x="56" y="60"/>
                    </a:lnTo>
                    <a:lnTo>
                      <a:pt x="55" y="60"/>
                    </a:lnTo>
                    <a:lnTo>
                      <a:pt x="56" y="60"/>
                    </a:lnTo>
                    <a:lnTo>
                      <a:pt x="58" y="60"/>
                    </a:lnTo>
                    <a:lnTo>
                      <a:pt x="58" y="62"/>
                    </a:lnTo>
                    <a:lnTo>
                      <a:pt x="60" y="60"/>
                    </a:lnTo>
                    <a:lnTo>
                      <a:pt x="58" y="60"/>
                    </a:lnTo>
                    <a:lnTo>
                      <a:pt x="58" y="58"/>
                    </a:lnTo>
                    <a:lnTo>
                      <a:pt x="60" y="60"/>
                    </a:lnTo>
                    <a:lnTo>
                      <a:pt x="60" y="58"/>
                    </a:lnTo>
                    <a:lnTo>
                      <a:pt x="61" y="58"/>
                    </a:lnTo>
                    <a:lnTo>
                      <a:pt x="60" y="56"/>
                    </a:lnTo>
                    <a:lnTo>
                      <a:pt x="58" y="56"/>
                    </a:lnTo>
                    <a:lnTo>
                      <a:pt x="60" y="55"/>
                    </a:lnTo>
                    <a:lnTo>
                      <a:pt x="58" y="55"/>
                    </a:lnTo>
                    <a:lnTo>
                      <a:pt x="60" y="53"/>
                    </a:lnTo>
                    <a:lnTo>
                      <a:pt x="60" y="55"/>
                    </a:lnTo>
                    <a:lnTo>
                      <a:pt x="61" y="55"/>
                    </a:lnTo>
                    <a:lnTo>
                      <a:pt x="60" y="53"/>
                    </a:lnTo>
                    <a:lnTo>
                      <a:pt x="58" y="53"/>
                    </a:lnTo>
                    <a:lnTo>
                      <a:pt x="60" y="53"/>
                    </a:lnTo>
                    <a:lnTo>
                      <a:pt x="61" y="53"/>
                    </a:lnTo>
                    <a:lnTo>
                      <a:pt x="61" y="51"/>
                    </a:lnTo>
                    <a:lnTo>
                      <a:pt x="61" y="53"/>
                    </a:lnTo>
                    <a:lnTo>
                      <a:pt x="61" y="51"/>
                    </a:lnTo>
                    <a:lnTo>
                      <a:pt x="60" y="51"/>
                    </a:lnTo>
                    <a:lnTo>
                      <a:pt x="58" y="51"/>
                    </a:lnTo>
                    <a:lnTo>
                      <a:pt x="60" y="51"/>
                    </a:lnTo>
                    <a:lnTo>
                      <a:pt x="60" y="50"/>
                    </a:lnTo>
                    <a:lnTo>
                      <a:pt x="60" y="48"/>
                    </a:lnTo>
                    <a:lnTo>
                      <a:pt x="60" y="50"/>
                    </a:lnTo>
                    <a:lnTo>
                      <a:pt x="61" y="50"/>
                    </a:lnTo>
                    <a:lnTo>
                      <a:pt x="61" y="51"/>
                    </a:lnTo>
                    <a:lnTo>
                      <a:pt x="63" y="50"/>
                    </a:lnTo>
                    <a:lnTo>
                      <a:pt x="61" y="50"/>
                    </a:lnTo>
                    <a:lnTo>
                      <a:pt x="61" y="48"/>
                    </a:lnTo>
                    <a:lnTo>
                      <a:pt x="61" y="46"/>
                    </a:lnTo>
                    <a:lnTo>
                      <a:pt x="61" y="48"/>
                    </a:lnTo>
                    <a:lnTo>
                      <a:pt x="63" y="48"/>
                    </a:lnTo>
                    <a:lnTo>
                      <a:pt x="65" y="48"/>
                    </a:lnTo>
                    <a:lnTo>
                      <a:pt x="63" y="48"/>
                    </a:lnTo>
                    <a:lnTo>
                      <a:pt x="65" y="46"/>
                    </a:lnTo>
                    <a:lnTo>
                      <a:pt x="63" y="46"/>
                    </a:lnTo>
                    <a:lnTo>
                      <a:pt x="61" y="46"/>
                    </a:lnTo>
                    <a:lnTo>
                      <a:pt x="63" y="45"/>
                    </a:lnTo>
                    <a:lnTo>
                      <a:pt x="65" y="45"/>
                    </a:lnTo>
                    <a:lnTo>
                      <a:pt x="65" y="46"/>
                    </a:lnTo>
                    <a:lnTo>
                      <a:pt x="65" y="45"/>
                    </a:lnTo>
                    <a:lnTo>
                      <a:pt x="66" y="43"/>
                    </a:lnTo>
                    <a:lnTo>
                      <a:pt x="65" y="45"/>
                    </a:lnTo>
                    <a:lnTo>
                      <a:pt x="66" y="45"/>
                    </a:lnTo>
                    <a:lnTo>
                      <a:pt x="66" y="46"/>
                    </a:lnTo>
                    <a:lnTo>
                      <a:pt x="66" y="45"/>
                    </a:lnTo>
                    <a:lnTo>
                      <a:pt x="68" y="45"/>
                    </a:lnTo>
                    <a:lnTo>
                      <a:pt x="68" y="43"/>
                    </a:lnTo>
                    <a:lnTo>
                      <a:pt x="70" y="43"/>
                    </a:lnTo>
                    <a:lnTo>
                      <a:pt x="70" y="41"/>
                    </a:lnTo>
                    <a:lnTo>
                      <a:pt x="70" y="39"/>
                    </a:lnTo>
                    <a:lnTo>
                      <a:pt x="72" y="41"/>
                    </a:lnTo>
                    <a:lnTo>
                      <a:pt x="72" y="39"/>
                    </a:lnTo>
                    <a:lnTo>
                      <a:pt x="72" y="38"/>
                    </a:lnTo>
                    <a:lnTo>
                      <a:pt x="72" y="39"/>
                    </a:lnTo>
                    <a:lnTo>
                      <a:pt x="72" y="41"/>
                    </a:lnTo>
                    <a:lnTo>
                      <a:pt x="72" y="39"/>
                    </a:lnTo>
                    <a:lnTo>
                      <a:pt x="73" y="39"/>
                    </a:lnTo>
                    <a:lnTo>
                      <a:pt x="75" y="38"/>
                    </a:lnTo>
                    <a:lnTo>
                      <a:pt x="77" y="38"/>
                    </a:lnTo>
                    <a:lnTo>
                      <a:pt x="78" y="38"/>
                    </a:lnTo>
                    <a:lnTo>
                      <a:pt x="78" y="39"/>
                    </a:lnTo>
                    <a:lnTo>
                      <a:pt x="78" y="41"/>
                    </a:lnTo>
                    <a:lnTo>
                      <a:pt x="77" y="43"/>
                    </a:lnTo>
                    <a:lnTo>
                      <a:pt x="78" y="43"/>
                    </a:lnTo>
                    <a:lnTo>
                      <a:pt x="78" y="45"/>
                    </a:lnTo>
                    <a:lnTo>
                      <a:pt x="80" y="43"/>
                    </a:lnTo>
                    <a:lnTo>
                      <a:pt x="82" y="41"/>
                    </a:lnTo>
                    <a:lnTo>
                      <a:pt x="80" y="41"/>
                    </a:lnTo>
                    <a:lnTo>
                      <a:pt x="80" y="43"/>
                    </a:lnTo>
                    <a:lnTo>
                      <a:pt x="80" y="41"/>
                    </a:lnTo>
                    <a:lnTo>
                      <a:pt x="80" y="39"/>
                    </a:lnTo>
                    <a:lnTo>
                      <a:pt x="80" y="38"/>
                    </a:lnTo>
                    <a:lnTo>
                      <a:pt x="78" y="38"/>
                    </a:lnTo>
                    <a:lnTo>
                      <a:pt x="78" y="36"/>
                    </a:lnTo>
                    <a:lnTo>
                      <a:pt x="80" y="36"/>
                    </a:lnTo>
                    <a:lnTo>
                      <a:pt x="78" y="36"/>
                    </a:lnTo>
                    <a:lnTo>
                      <a:pt x="78" y="34"/>
                    </a:lnTo>
                    <a:lnTo>
                      <a:pt x="80" y="36"/>
                    </a:lnTo>
                    <a:lnTo>
                      <a:pt x="78" y="34"/>
                    </a:lnTo>
                    <a:lnTo>
                      <a:pt x="77" y="34"/>
                    </a:lnTo>
                    <a:lnTo>
                      <a:pt x="77" y="33"/>
                    </a:lnTo>
                    <a:lnTo>
                      <a:pt x="75" y="33"/>
                    </a:lnTo>
                    <a:lnTo>
                      <a:pt x="73" y="33"/>
                    </a:lnTo>
                    <a:lnTo>
                      <a:pt x="73" y="31"/>
                    </a:lnTo>
                    <a:lnTo>
                      <a:pt x="75" y="31"/>
                    </a:lnTo>
                    <a:lnTo>
                      <a:pt x="75" y="29"/>
                    </a:lnTo>
                    <a:lnTo>
                      <a:pt x="75" y="27"/>
                    </a:lnTo>
                    <a:lnTo>
                      <a:pt x="75" y="26"/>
                    </a:lnTo>
                    <a:lnTo>
                      <a:pt x="75" y="27"/>
                    </a:lnTo>
                    <a:lnTo>
                      <a:pt x="77" y="27"/>
                    </a:lnTo>
                    <a:lnTo>
                      <a:pt x="77" y="29"/>
                    </a:lnTo>
                    <a:lnTo>
                      <a:pt x="77" y="31"/>
                    </a:lnTo>
                    <a:lnTo>
                      <a:pt x="78" y="31"/>
                    </a:lnTo>
                    <a:lnTo>
                      <a:pt x="78" y="33"/>
                    </a:lnTo>
                    <a:lnTo>
                      <a:pt x="78" y="31"/>
                    </a:lnTo>
                    <a:lnTo>
                      <a:pt x="78" y="29"/>
                    </a:lnTo>
                    <a:lnTo>
                      <a:pt x="77" y="27"/>
                    </a:lnTo>
                    <a:lnTo>
                      <a:pt x="78" y="27"/>
                    </a:lnTo>
                    <a:lnTo>
                      <a:pt x="80" y="27"/>
                    </a:lnTo>
                    <a:lnTo>
                      <a:pt x="82" y="27"/>
                    </a:lnTo>
                    <a:lnTo>
                      <a:pt x="82" y="29"/>
                    </a:lnTo>
                    <a:lnTo>
                      <a:pt x="82" y="27"/>
                    </a:lnTo>
                    <a:lnTo>
                      <a:pt x="83" y="27"/>
                    </a:lnTo>
                    <a:lnTo>
                      <a:pt x="85" y="27"/>
                    </a:lnTo>
                    <a:lnTo>
                      <a:pt x="83" y="27"/>
                    </a:lnTo>
                    <a:lnTo>
                      <a:pt x="82" y="27"/>
                    </a:lnTo>
                    <a:lnTo>
                      <a:pt x="80" y="27"/>
                    </a:lnTo>
                    <a:lnTo>
                      <a:pt x="78" y="26"/>
                    </a:lnTo>
                    <a:lnTo>
                      <a:pt x="77" y="26"/>
                    </a:lnTo>
                    <a:lnTo>
                      <a:pt x="77" y="24"/>
                    </a:lnTo>
                    <a:lnTo>
                      <a:pt x="75" y="26"/>
                    </a:lnTo>
                    <a:lnTo>
                      <a:pt x="75" y="24"/>
                    </a:lnTo>
                    <a:lnTo>
                      <a:pt x="75" y="22"/>
                    </a:lnTo>
                    <a:lnTo>
                      <a:pt x="77" y="22"/>
                    </a:lnTo>
                    <a:lnTo>
                      <a:pt x="78" y="22"/>
                    </a:lnTo>
                    <a:lnTo>
                      <a:pt x="80" y="22"/>
                    </a:lnTo>
                    <a:lnTo>
                      <a:pt x="80" y="24"/>
                    </a:lnTo>
                    <a:lnTo>
                      <a:pt x="80" y="22"/>
                    </a:lnTo>
                    <a:lnTo>
                      <a:pt x="78" y="22"/>
                    </a:lnTo>
                    <a:lnTo>
                      <a:pt x="80" y="22"/>
                    </a:lnTo>
                    <a:lnTo>
                      <a:pt x="80" y="21"/>
                    </a:lnTo>
                    <a:lnTo>
                      <a:pt x="82" y="21"/>
                    </a:lnTo>
                    <a:lnTo>
                      <a:pt x="83" y="21"/>
                    </a:lnTo>
                    <a:lnTo>
                      <a:pt x="83" y="19"/>
                    </a:lnTo>
                    <a:lnTo>
                      <a:pt x="83" y="17"/>
                    </a:lnTo>
                    <a:lnTo>
                      <a:pt x="82" y="17"/>
                    </a:lnTo>
                    <a:lnTo>
                      <a:pt x="82" y="16"/>
                    </a:lnTo>
                    <a:lnTo>
                      <a:pt x="82" y="14"/>
                    </a:lnTo>
                    <a:lnTo>
                      <a:pt x="80" y="14"/>
                    </a:lnTo>
                    <a:lnTo>
                      <a:pt x="82" y="14"/>
                    </a:lnTo>
                    <a:lnTo>
                      <a:pt x="80" y="12"/>
                    </a:lnTo>
                    <a:close/>
                    <a:moveTo>
                      <a:pt x="66" y="19"/>
                    </a:moveTo>
                    <a:lnTo>
                      <a:pt x="68" y="19"/>
                    </a:lnTo>
                    <a:lnTo>
                      <a:pt x="70" y="21"/>
                    </a:lnTo>
                    <a:lnTo>
                      <a:pt x="72" y="21"/>
                    </a:lnTo>
                    <a:lnTo>
                      <a:pt x="73" y="21"/>
                    </a:lnTo>
                    <a:lnTo>
                      <a:pt x="72" y="22"/>
                    </a:lnTo>
                    <a:lnTo>
                      <a:pt x="70" y="22"/>
                    </a:lnTo>
                    <a:lnTo>
                      <a:pt x="70" y="24"/>
                    </a:lnTo>
                    <a:lnTo>
                      <a:pt x="72" y="24"/>
                    </a:lnTo>
                    <a:lnTo>
                      <a:pt x="73" y="22"/>
                    </a:lnTo>
                    <a:lnTo>
                      <a:pt x="72" y="24"/>
                    </a:lnTo>
                    <a:lnTo>
                      <a:pt x="70" y="26"/>
                    </a:lnTo>
                    <a:lnTo>
                      <a:pt x="70" y="27"/>
                    </a:lnTo>
                    <a:lnTo>
                      <a:pt x="68" y="27"/>
                    </a:lnTo>
                    <a:lnTo>
                      <a:pt x="68" y="26"/>
                    </a:lnTo>
                    <a:lnTo>
                      <a:pt x="66" y="26"/>
                    </a:lnTo>
                    <a:lnTo>
                      <a:pt x="68" y="27"/>
                    </a:lnTo>
                    <a:lnTo>
                      <a:pt x="66" y="26"/>
                    </a:lnTo>
                    <a:lnTo>
                      <a:pt x="66" y="27"/>
                    </a:lnTo>
                    <a:lnTo>
                      <a:pt x="65" y="27"/>
                    </a:lnTo>
                    <a:lnTo>
                      <a:pt x="63" y="27"/>
                    </a:lnTo>
                    <a:lnTo>
                      <a:pt x="65" y="27"/>
                    </a:lnTo>
                    <a:lnTo>
                      <a:pt x="66" y="27"/>
                    </a:lnTo>
                    <a:lnTo>
                      <a:pt x="68" y="27"/>
                    </a:lnTo>
                    <a:lnTo>
                      <a:pt x="66" y="27"/>
                    </a:lnTo>
                    <a:lnTo>
                      <a:pt x="66" y="29"/>
                    </a:lnTo>
                    <a:lnTo>
                      <a:pt x="66" y="27"/>
                    </a:lnTo>
                    <a:lnTo>
                      <a:pt x="66" y="29"/>
                    </a:lnTo>
                    <a:lnTo>
                      <a:pt x="68" y="27"/>
                    </a:lnTo>
                    <a:lnTo>
                      <a:pt x="68" y="29"/>
                    </a:lnTo>
                    <a:lnTo>
                      <a:pt x="66" y="29"/>
                    </a:lnTo>
                    <a:lnTo>
                      <a:pt x="66" y="31"/>
                    </a:lnTo>
                    <a:lnTo>
                      <a:pt x="66" y="33"/>
                    </a:lnTo>
                    <a:lnTo>
                      <a:pt x="65" y="33"/>
                    </a:lnTo>
                    <a:lnTo>
                      <a:pt x="65" y="34"/>
                    </a:lnTo>
                    <a:lnTo>
                      <a:pt x="63" y="34"/>
                    </a:lnTo>
                    <a:lnTo>
                      <a:pt x="63" y="33"/>
                    </a:lnTo>
                    <a:lnTo>
                      <a:pt x="65" y="31"/>
                    </a:lnTo>
                    <a:lnTo>
                      <a:pt x="63" y="33"/>
                    </a:lnTo>
                    <a:lnTo>
                      <a:pt x="63" y="34"/>
                    </a:lnTo>
                    <a:lnTo>
                      <a:pt x="61" y="34"/>
                    </a:lnTo>
                    <a:lnTo>
                      <a:pt x="63" y="33"/>
                    </a:lnTo>
                    <a:lnTo>
                      <a:pt x="61" y="33"/>
                    </a:lnTo>
                    <a:lnTo>
                      <a:pt x="61" y="34"/>
                    </a:lnTo>
                    <a:lnTo>
                      <a:pt x="60" y="34"/>
                    </a:lnTo>
                    <a:lnTo>
                      <a:pt x="60" y="36"/>
                    </a:lnTo>
                    <a:lnTo>
                      <a:pt x="61" y="34"/>
                    </a:lnTo>
                    <a:lnTo>
                      <a:pt x="61" y="36"/>
                    </a:lnTo>
                    <a:lnTo>
                      <a:pt x="60" y="36"/>
                    </a:lnTo>
                    <a:lnTo>
                      <a:pt x="60" y="38"/>
                    </a:lnTo>
                    <a:lnTo>
                      <a:pt x="60" y="39"/>
                    </a:lnTo>
                    <a:lnTo>
                      <a:pt x="58" y="39"/>
                    </a:lnTo>
                    <a:lnTo>
                      <a:pt x="56" y="39"/>
                    </a:lnTo>
                    <a:lnTo>
                      <a:pt x="58" y="39"/>
                    </a:lnTo>
                    <a:lnTo>
                      <a:pt x="58" y="41"/>
                    </a:lnTo>
                    <a:lnTo>
                      <a:pt x="56" y="41"/>
                    </a:lnTo>
                    <a:lnTo>
                      <a:pt x="56" y="43"/>
                    </a:lnTo>
                    <a:lnTo>
                      <a:pt x="55" y="43"/>
                    </a:lnTo>
                    <a:lnTo>
                      <a:pt x="53" y="45"/>
                    </a:lnTo>
                    <a:lnTo>
                      <a:pt x="55" y="45"/>
                    </a:lnTo>
                    <a:lnTo>
                      <a:pt x="53" y="45"/>
                    </a:lnTo>
                    <a:lnTo>
                      <a:pt x="53" y="46"/>
                    </a:lnTo>
                    <a:lnTo>
                      <a:pt x="51" y="48"/>
                    </a:lnTo>
                    <a:lnTo>
                      <a:pt x="51" y="50"/>
                    </a:lnTo>
                    <a:lnTo>
                      <a:pt x="51" y="51"/>
                    </a:lnTo>
                    <a:lnTo>
                      <a:pt x="49" y="51"/>
                    </a:lnTo>
                    <a:lnTo>
                      <a:pt x="49" y="53"/>
                    </a:lnTo>
                    <a:lnTo>
                      <a:pt x="48" y="51"/>
                    </a:lnTo>
                    <a:lnTo>
                      <a:pt x="48" y="53"/>
                    </a:lnTo>
                    <a:lnTo>
                      <a:pt x="46" y="53"/>
                    </a:lnTo>
                    <a:lnTo>
                      <a:pt x="46" y="55"/>
                    </a:lnTo>
                    <a:lnTo>
                      <a:pt x="44" y="53"/>
                    </a:lnTo>
                    <a:lnTo>
                      <a:pt x="46" y="53"/>
                    </a:lnTo>
                    <a:lnTo>
                      <a:pt x="44" y="51"/>
                    </a:lnTo>
                    <a:lnTo>
                      <a:pt x="46" y="51"/>
                    </a:lnTo>
                    <a:lnTo>
                      <a:pt x="44" y="53"/>
                    </a:lnTo>
                    <a:lnTo>
                      <a:pt x="43" y="51"/>
                    </a:lnTo>
                    <a:lnTo>
                      <a:pt x="44" y="51"/>
                    </a:lnTo>
                    <a:lnTo>
                      <a:pt x="43" y="50"/>
                    </a:lnTo>
                    <a:lnTo>
                      <a:pt x="43" y="51"/>
                    </a:lnTo>
                    <a:lnTo>
                      <a:pt x="43" y="53"/>
                    </a:lnTo>
                    <a:lnTo>
                      <a:pt x="43" y="55"/>
                    </a:lnTo>
                    <a:lnTo>
                      <a:pt x="41" y="55"/>
                    </a:lnTo>
                    <a:lnTo>
                      <a:pt x="39" y="55"/>
                    </a:lnTo>
                    <a:lnTo>
                      <a:pt x="38" y="55"/>
                    </a:lnTo>
                    <a:lnTo>
                      <a:pt x="39" y="53"/>
                    </a:lnTo>
                    <a:lnTo>
                      <a:pt x="38" y="53"/>
                    </a:lnTo>
                    <a:lnTo>
                      <a:pt x="39" y="53"/>
                    </a:lnTo>
                    <a:lnTo>
                      <a:pt x="38" y="53"/>
                    </a:lnTo>
                    <a:lnTo>
                      <a:pt x="39" y="51"/>
                    </a:lnTo>
                    <a:lnTo>
                      <a:pt x="38" y="53"/>
                    </a:lnTo>
                    <a:lnTo>
                      <a:pt x="36" y="53"/>
                    </a:lnTo>
                    <a:lnTo>
                      <a:pt x="36" y="55"/>
                    </a:lnTo>
                    <a:lnTo>
                      <a:pt x="34" y="53"/>
                    </a:lnTo>
                    <a:lnTo>
                      <a:pt x="34" y="51"/>
                    </a:lnTo>
                    <a:lnTo>
                      <a:pt x="36" y="51"/>
                    </a:lnTo>
                    <a:lnTo>
                      <a:pt x="36" y="50"/>
                    </a:lnTo>
                    <a:lnTo>
                      <a:pt x="34" y="50"/>
                    </a:lnTo>
                    <a:lnTo>
                      <a:pt x="34" y="51"/>
                    </a:lnTo>
                    <a:lnTo>
                      <a:pt x="32" y="50"/>
                    </a:lnTo>
                    <a:lnTo>
                      <a:pt x="34" y="51"/>
                    </a:lnTo>
                    <a:lnTo>
                      <a:pt x="34" y="53"/>
                    </a:lnTo>
                    <a:lnTo>
                      <a:pt x="34" y="55"/>
                    </a:lnTo>
                    <a:lnTo>
                      <a:pt x="34" y="53"/>
                    </a:lnTo>
                    <a:lnTo>
                      <a:pt x="36" y="55"/>
                    </a:lnTo>
                    <a:lnTo>
                      <a:pt x="36" y="56"/>
                    </a:lnTo>
                    <a:lnTo>
                      <a:pt x="36" y="58"/>
                    </a:lnTo>
                    <a:lnTo>
                      <a:pt x="38" y="58"/>
                    </a:lnTo>
                    <a:lnTo>
                      <a:pt x="38" y="56"/>
                    </a:lnTo>
                    <a:lnTo>
                      <a:pt x="38" y="55"/>
                    </a:lnTo>
                    <a:lnTo>
                      <a:pt x="38" y="56"/>
                    </a:lnTo>
                    <a:lnTo>
                      <a:pt x="38" y="58"/>
                    </a:lnTo>
                    <a:lnTo>
                      <a:pt x="36" y="60"/>
                    </a:lnTo>
                    <a:lnTo>
                      <a:pt x="36" y="62"/>
                    </a:lnTo>
                    <a:lnTo>
                      <a:pt x="34" y="62"/>
                    </a:lnTo>
                    <a:lnTo>
                      <a:pt x="34" y="63"/>
                    </a:lnTo>
                    <a:lnTo>
                      <a:pt x="32" y="62"/>
                    </a:lnTo>
                    <a:lnTo>
                      <a:pt x="32" y="60"/>
                    </a:lnTo>
                    <a:lnTo>
                      <a:pt x="34" y="60"/>
                    </a:lnTo>
                    <a:lnTo>
                      <a:pt x="32" y="60"/>
                    </a:lnTo>
                    <a:lnTo>
                      <a:pt x="32" y="58"/>
                    </a:lnTo>
                    <a:lnTo>
                      <a:pt x="32" y="60"/>
                    </a:lnTo>
                    <a:lnTo>
                      <a:pt x="32" y="62"/>
                    </a:lnTo>
                    <a:lnTo>
                      <a:pt x="32" y="60"/>
                    </a:lnTo>
                    <a:lnTo>
                      <a:pt x="31" y="60"/>
                    </a:lnTo>
                    <a:lnTo>
                      <a:pt x="29" y="60"/>
                    </a:lnTo>
                    <a:lnTo>
                      <a:pt x="31" y="60"/>
                    </a:lnTo>
                    <a:lnTo>
                      <a:pt x="32" y="62"/>
                    </a:lnTo>
                    <a:lnTo>
                      <a:pt x="32" y="63"/>
                    </a:lnTo>
                    <a:lnTo>
                      <a:pt x="34" y="63"/>
                    </a:lnTo>
                    <a:lnTo>
                      <a:pt x="32" y="63"/>
                    </a:lnTo>
                    <a:lnTo>
                      <a:pt x="32" y="62"/>
                    </a:lnTo>
                    <a:lnTo>
                      <a:pt x="31" y="62"/>
                    </a:lnTo>
                    <a:lnTo>
                      <a:pt x="31" y="63"/>
                    </a:lnTo>
                    <a:lnTo>
                      <a:pt x="29" y="63"/>
                    </a:lnTo>
                    <a:lnTo>
                      <a:pt x="29" y="62"/>
                    </a:lnTo>
                    <a:lnTo>
                      <a:pt x="29" y="63"/>
                    </a:lnTo>
                    <a:lnTo>
                      <a:pt x="27" y="62"/>
                    </a:lnTo>
                    <a:lnTo>
                      <a:pt x="27" y="60"/>
                    </a:lnTo>
                    <a:lnTo>
                      <a:pt x="26" y="62"/>
                    </a:lnTo>
                    <a:lnTo>
                      <a:pt x="27" y="62"/>
                    </a:lnTo>
                    <a:lnTo>
                      <a:pt x="26" y="62"/>
                    </a:lnTo>
                    <a:lnTo>
                      <a:pt x="26" y="63"/>
                    </a:lnTo>
                    <a:lnTo>
                      <a:pt x="27" y="62"/>
                    </a:lnTo>
                    <a:lnTo>
                      <a:pt x="27" y="63"/>
                    </a:lnTo>
                    <a:lnTo>
                      <a:pt x="29" y="63"/>
                    </a:lnTo>
                    <a:lnTo>
                      <a:pt x="29" y="65"/>
                    </a:lnTo>
                    <a:lnTo>
                      <a:pt x="27" y="65"/>
                    </a:lnTo>
                    <a:lnTo>
                      <a:pt x="29" y="65"/>
                    </a:lnTo>
                    <a:lnTo>
                      <a:pt x="27" y="67"/>
                    </a:lnTo>
                    <a:lnTo>
                      <a:pt x="26" y="67"/>
                    </a:lnTo>
                    <a:lnTo>
                      <a:pt x="26" y="68"/>
                    </a:lnTo>
                    <a:lnTo>
                      <a:pt x="24" y="67"/>
                    </a:lnTo>
                    <a:lnTo>
                      <a:pt x="26" y="68"/>
                    </a:lnTo>
                    <a:lnTo>
                      <a:pt x="24" y="68"/>
                    </a:lnTo>
                    <a:lnTo>
                      <a:pt x="22" y="67"/>
                    </a:lnTo>
                    <a:lnTo>
                      <a:pt x="24" y="67"/>
                    </a:lnTo>
                    <a:lnTo>
                      <a:pt x="22" y="65"/>
                    </a:lnTo>
                    <a:lnTo>
                      <a:pt x="24" y="65"/>
                    </a:lnTo>
                    <a:lnTo>
                      <a:pt x="24" y="63"/>
                    </a:lnTo>
                    <a:lnTo>
                      <a:pt x="22" y="65"/>
                    </a:lnTo>
                    <a:lnTo>
                      <a:pt x="22" y="63"/>
                    </a:lnTo>
                    <a:lnTo>
                      <a:pt x="24" y="63"/>
                    </a:lnTo>
                    <a:lnTo>
                      <a:pt x="22" y="63"/>
                    </a:lnTo>
                    <a:lnTo>
                      <a:pt x="22" y="62"/>
                    </a:lnTo>
                    <a:lnTo>
                      <a:pt x="21" y="63"/>
                    </a:lnTo>
                    <a:lnTo>
                      <a:pt x="21" y="62"/>
                    </a:lnTo>
                    <a:lnTo>
                      <a:pt x="22" y="62"/>
                    </a:lnTo>
                    <a:lnTo>
                      <a:pt x="24" y="62"/>
                    </a:lnTo>
                    <a:lnTo>
                      <a:pt x="22" y="62"/>
                    </a:lnTo>
                    <a:lnTo>
                      <a:pt x="22" y="60"/>
                    </a:lnTo>
                    <a:lnTo>
                      <a:pt x="21" y="60"/>
                    </a:lnTo>
                    <a:lnTo>
                      <a:pt x="21" y="62"/>
                    </a:lnTo>
                    <a:lnTo>
                      <a:pt x="21" y="60"/>
                    </a:lnTo>
                    <a:lnTo>
                      <a:pt x="19" y="60"/>
                    </a:lnTo>
                    <a:lnTo>
                      <a:pt x="17" y="60"/>
                    </a:lnTo>
                    <a:lnTo>
                      <a:pt x="17" y="62"/>
                    </a:lnTo>
                    <a:lnTo>
                      <a:pt x="19" y="62"/>
                    </a:lnTo>
                    <a:lnTo>
                      <a:pt x="19" y="63"/>
                    </a:lnTo>
                    <a:lnTo>
                      <a:pt x="21" y="63"/>
                    </a:lnTo>
                    <a:lnTo>
                      <a:pt x="22" y="63"/>
                    </a:lnTo>
                    <a:lnTo>
                      <a:pt x="22" y="65"/>
                    </a:lnTo>
                    <a:lnTo>
                      <a:pt x="21" y="63"/>
                    </a:lnTo>
                    <a:lnTo>
                      <a:pt x="21" y="65"/>
                    </a:lnTo>
                    <a:lnTo>
                      <a:pt x="21" y="63"/>
                    </a:lnTo>
                    <a:lnTo>
                      <a:pt x="19" y="65"/>
                    </a:lnTo>
                    <a:lnTo>
                      <a:pt x="17" y="63"/>
                    </a:lnTo>
                    <a:lnTo>
                      <a:pt x="19" y="62"/>
                    </a:lnTo>
                    <a:lnTo>
                      <a:pt x="17" y="62"/>
                    </a:lnTo>
                    <a:lnTo>
                      <a:pt x="15" y="60"/>
                    </a:lnTo>
                    <a:lnTo>
                      <a:pt x="14" y="60"/>
                    </a:lnTo>
                    <a:lnTo>
                      <a:pt x="14" y="58"/>
                    </a:lnTo>
                    <a:lnTo>
                      <a:pt x="12" y="58"/>
                    </a:lnTo>
                    <a:lnTo>
                      <a:pt x="12" y="56"/>
                    </a:lnTo>
                    <a:lnTo>
                      <a:pt x="10" y="56"/>
                    </a:lnTo>
                    <a:lnTo>
                      <a:pt x="12" y="58"/>
                    </a:lnTo>
                    <a:lnTo>
                      <a:pt x="10" y="58"/>
                    </a:lnTo>
                    <a:lnTo>
                      <a:pt x="10" y="56"/>
                    </a:lnTo>
                    <a:lnTo>
                      <a:pt x="10" y="55"/>
                    </a:lnTo>
                    <a:lnTo>
                      <a:pt x="9" y="55"/>
                    </a:lnTo>
                    <a:lnTo>
                      <a:pt x="10" y="55"/>
                    </a:lnTo>
                    <a:lnTo>
                      <a:pt x="12" y="55"/>
                    </a:lnTo>
                    <a:lnTo>
                      <a:pt x="12" y="56"/>
                    </a:lnTo>
                    <a:lnTo>
                      <a:pt x="14" y="56"/>
                    </a:lnTo>
                    <a:lnTo>
                      <a:pt x="15" y="56"/>
                    </a:lnTo>
                    <a:lnTo>
                      <a:pt x="15" y="58"/>
                    </a:lnTo>
                    <a:lnTo>
                      <a:pt x="17" y="58"/>
                    </a:lnTo>
                    <a:lnTo>
                      <a:pt x="19" y="56"/>
                    </a:lnTo>
                    <a:lnTo>
                      <a:pt x="17" y="58"/>
                    </a:lnTo>
                    <a:lnTo>
                      <a:pt x="15" y="58"/>
                    </a:lnTo>
                    <a:lnTo>
                      <a:pt x="15" y="56"/>
                    </a:lnTo>
                    <a:lnTo>
                      <a:pt x="15" y="55"/>
                    </a:lnTo>
                    <a:lnTo>
                      <a:pt x="17" y="56"/>
                    </a:lnTo>
                    <a:lnTo>
                      <a:pt x="19" y="56"/>
                    </a:lnTo>
                    <a:lnTo>
                      <a:pt x="19" y="55"/>
                    </a:lnTo>
                    <a:lnTo>
                      <a:pt x="21" y="55"/>
                    </a:lnTo>
                    <a:lnTo>
                      <a:pt x="21" y="53"/>
                    </a:lnTo>
                    <a:lnTo>
                      <a:pt x="19" y="53"/>
                    </a:lnTo>
                    <a:lnTo>
                      <a:pt x="17" y="55"/>
                    </a:lnTo>
                    <a:lnTo>
                      <a:pt x="17" y="53"/>
                    </a:lnTo>
                    <a:lnTo>
                      <a:pt x="17" y="51"/>
                    </a:lnTo>
                    <a:lnTo>
                      <a:pt x="19" y="51"/>
                    </a:lnTo>
                    <a:lnTo>
                      <a:pt x="21" y="51"/>
                    </a:lnTo>
                    <a:lnTo>
                      <a:pt x="21" y="53"/>
                    </a:lnTo>
                    <a:lnTo>
                      <a:pt x="21" y="51"/>
                    </a:lnTo>
                    <a:lnTo>
                      <a:pt x="22" y="51"/>
                    </a:lnTo>
                    <a:lnTo>
                      <a:pt x="21" y="53"/>
                    </a:lnTo>
                    <a:lnTo>
                      <a:pt x="22" y="53"/>
                    </a:lnTo>
                    <a:lnTo>
                      <a:pt x="21" y="55"/>
                    </a:lnTo>
                    <a:lnTo>
                      <a:pt x="22" y="55"/>
                    </a:lnTo>
                    <a:lnTo>
                      <a:pt x="22" y="53"/>
                    </a:lnTo>
                    <a:lnTo>
                      <a:pt x="22" y="55"/>
                    </a:lnTo>
                    <a:lnTo>
                      <a:pt x="22" y="56"/>
                    </a:lnTo>
                    <a:lnTo>
                      <a:pt x="24" y="56"/>
                    </a:lnTo>
                    <a:lnTo>
                      <a:pt x="22" y="56"/>
                    </a:lnTo>
                    <a:lnTo>
                      <a:pt x="24" y="55"/>
                    </a:lnTo>
                    <a:lnTo>
                      <a:pt x="22" y="55"/>
                    </a:lnTo>
                    <a:lnTo>
                      <a:pt x="24" y="55"/>
                    </a:lnTo>
                    <a:lnTo>
                      <a:pt x="24" y="53"/>
                    </a:lnTo>
                    <a:lnTo>
                      <a:pt x="22" y="53"/>
                    </a:lnTo>
                    <a:lnTo>
                      <a:pt x="24" y="53"/>
                    </a:lnTo>
                    <a:lnTo>
                      <a:pt x="26" y="53"/>
                    </a:lnTo>
                    <a:lnTo>
                      <a:pt x="26" y="55"/>
                    </a:lnTo>
                    <a:lnTo>
                      <a:pt x="27" y="55"/>
                    </a:lnTo>
                    <a:lnTo>
                      <a:pt x="26" y="55"/>
                    </a:lnTo>
                    <a:lnTo>
                      <a:pt x="26" y="53"/>
                    </a:lnTo>
                    <a:lnTo>
                      <a:pt x="27" y="55"/>
                    </a:lnTo>
                    <a:lnTo>
                      <a:pt x="29" y="55"/>
                    </a:lnTo>
                    <a:lnTo>
                      <a:pt x="27" y="55"/>
                    </a:lnTo>
                    <a:lnTo>
                      <a:pt x="27" y="53"/>
                    </a:lnTo>
                    <a:lnTo>
                      <a:pt x="29" y="53"/>
                    </a:lnTo>
                    <a:lnTo>
                      <a:pt x="31" y="53"/>
                    </a:lnTo>
                    <a:lnTo>
                      <a:pt x="31" y="51"/>
                    </a:lnTo>
                    <a:lnTo>
                      <a:pt x="32" y="51"/>
                    </a:lnTo>
                    <a:lnTo>
                      <a:pt x="32" y="50"/>
                    </a:lnTo>
                    <a:lnTo>
                      <a:pt x="31" y="50"/>
                    </a:lnTo>
                    <a:lnTo>
                      <a:pt x="31" y="51"/>
                    </a:lnTo>
                    <a:lnTo>
                      <a:pt x="29" y="51"/>
                    </a:lnTo>
                    <a:lnTo>
                      <a:pt x="27" y="51"/>
                    </a:lnTo>
                    <a:lnTo>
                      <a:pt x="27" y="50"/>
                    </a:lnTo>
                    <a:lnTo>
                      <a:pt x="26" y="50"/>
                    </a:lnTo>
                    <a:lnTo>
                      <a:pt x="24" y="50"/>
                    </a:lnTo>
                    <a:lnTo>
                      <a:pt x="26" y="50"/>
                    </a:lnTo>
                    <a:lnTo>
                      <a:pt x="27" y="50"/>
                    </a:lnTo>
                    <a:lnTo>
                      <a:pt x="27" y="51"/>
                    </a:lnTo>
                    <a:lnTo>
                      <a:pt x="27" y="50"/>
                    </a:lnTo>
                    <a:lnTo>
                      <a:pt x="29" y="50"/>
                    </a:lnTo>
                    <a:lnTo>
                      <a:pt x="29" y="48"/>
                    </a:lnTo>
                    <a:lnTo>
                      <a:pt x="31" y="48"/>
                    </a:lnTo>
                    <a:lnTo>
                      <a:pt x="31" y="46"/>
                    </a:lnTo>
                    <a:lnTo>
                      <a:pt x="29" y="46"/>
                    </a:lnTo>
                    <a:lnTo>
                      <a:pt x="31" y="46"/>
                    </a:lnTo>
                    <a:lnTo>
                      <a:pt x="31" y="45"/>
                    </a:lnTo>
                    <a:lnTo>
                      <a:pt x="29" y="45"/>
                    </a:lnTo>
                    <a:lnTo>
                      <a:pt x="31" y="45"/>
                    </a:lnTo>
                    <a:lnTo>
                      <a:pt x="29" y="43"/>
                    </a:lnTo>
                    <a:lnTo>
                      <a:pt x="31" y="43"/>
                    </a:lnTo>
                    <a:lnTo>
                      <a:pt x="31" y="41"/>
                    </a:lnTo>
                    <a:lnTo>
                      <a:pt x="32" y="41"/>
                    </a:lnTo>
                    <a:lnTo>
                      <a:pt x="31" y="43"/>
                    </a:lnTo>
                    <a:lnTo>
                      <a:pt x="32" y="41"/>
                    </a:lnTo>
                    <a:lnTo>
                      <a:pt x="32" y="43"/>
                    </a:lnTo>
                    <a:lnTo>
                      <a:pt x="32" y="45"/>
                    </a:lnTo>
                    <a:lnTo>
                      <a:pt x="32" y="43"/>
                    </a:lnTo>
                    <a:lnTo>
                      <a:pt x="34" y="45"/>
                    </a:lnTo>
                    <a:lnTo>
                      <a:pt x="32" y="45"/>
                    </a:lnTo>
                    <a:lnTo>
                      <a:pt x="32" y="46"/>
                    </a:lnTo>
                    <a:lnTo>
                      <a:pt x="34" y="46"/>
                    </a:lnTo>
                    <a:lnTo>
                      <a:pt x="34" y="48"/>
                    </a:lnTo>
                    <a:lnTo>
                      <a:pt x="34" y="46"/>
                    </a:lnTo>
                    <a:lnTo>
                      <a:pt x="34" y="45"/>
                    </a:lnTo>
                    <a:lnTo>
                      <a:pt x="36" y="45"/>
                    </a:lnTo>
                    <a:lnTo>
                      <a:pt x="34" y="43"/>
                    </a:lnTo>
                    <a:lnTo>
                      <a:pt x="36" y="43"/>
                    </a:lnTo>
                    <a:lnTo>
                      <a:pt x="36" y="41"/>
                    </a:lnTo>
                    <a:lnTo>
                      <a:pt x="34" y="41"/>
                    </a:lnTo>
                    <a:lnTo>
                      <a:pt x="36" y="41"/>
                    </a:lnTo>
                    <a:lnTo>
                      <a:pt x="38" y="39"/>
                    </a:lnTo>
                    <a:lnTo>
                      <a:pt x="36" y="41"/>
                    </a:lnTo>
                    <a:lnTo>
                      <a:pt x="38" y="41"/>
                    </a:lnTo>
                    <a:lnTo>
                      <a:pt x="38" y="43"/>
                    </a:lnTo>
                    <a:lnTo>
                      <a:pt x="38" y="41"/>
                    </a:lnTo>
                    <a:lnTo>
                      <a:pt x="39" y="43"/>
                    </a:lnTo>
                    <a:lnTo>
                      <a:pt x="39" y="41"/>
                    </a:lnTo>
                    <a:lnTo>
                      <a:pt x="39" y="39"/>
                    </a:lnTo>
                    <a:lnTo>
                      <a:pt x="39" y="38"/>
                    </a:lnTo>
                    <a:lnTo>
                      <a:pt x="38" y="38"/>
                    </a:lnTo>
                    <a:lnTo>
                      <a:pt x="36" y="39"/>
                    </a:lnTo>
                    <a:lnTo>
                      <a:pt x="36" y="38"/>
                    </a:lnTo>
                    <a:lnTo>
                      <a:pt x="34" y="38"/>
                    </a:lnTo>
                    <a:lnTo>
                      <a:pt x="32" y="38"/>
                    </a:lnTo>
                    <a:lnTo>
                      <a:pt x="32" y="39"/>
                    </a:lnTo>
                    <a:lnTo>
                      <a:pt x="34" y="41"/>
                    </a:lnTo>
                    <a:lnTo>
                      <a:pt x="32" y="39"/>
                    </a:lnTo>
                    <a:lnTo>
                      <a:pt x="31" y="41"/>
                    </a:lnTo>
                    <a:lnTo>
                      <a:pt x="29" y="41"/>
                    </a:lnTo>
                    <a:lnTo>
                      <a:pt x="27" y="41"/>
                    </a:lnTo>
                    <a:lnTo>
                      <a:pt x="27" y="43"/>
                    </a:lnTo>
                    <a:lnTo>
                      <a:pt x="26" y="41"/>
                    </a:lnTo>
                    <a:lnTo>
                      <a:pt x="27" y="41"/>
                    </a:lnTo>
                    <a:lnTo>
                      <a:pt x="26" y="41"/>
                    </a:lnTo>
                    <a:lnTo>
                      <a:pt x="24" y="39"/>
                    </a:lnTo>
                    <a:lnTo>
                      <a:pt x="24" y="38"/>
                    </a:lnTo>
                    <a:lnTo>
                      <a:pt x="24" y="36"/>
                    </a:lnTo>
                    <a:lnTo>
                      <a:pt x="26" y="36"/>
                    </a:lnTo>
                    <a:lnTo>
                      <a:pt x="26" y="38"/>
                    </a:lnTo>
                    <a:lnTo>
                      <a:pt x="26" y="36"/>
                    </a:lnTo>
                    <a:lnTo>
                      <a:pt x="26" y="38"/>
                    </a:lnTo>
                    <a:lnTo>
                      <a:pt x="27" y="38"/>
                    </a:lnTo>
                    <a:lnTo>
                      <a:pt x="29" y="38"/>
                    </a:lnTo>
                    <a:lnTo>
                      <a:pt x="31" y="38"/>
                    </a:lnTo>
                    <a:lnTo>
                      <a:pt x="32" y="36"/>
                    </a:lnTo>
                    <a:lnTo>
                      <a:pt x="34" y="36"/>
                    </a:lnTo>
                    <a:lnTo>
                      <a:pt x="36" y="36"/>
                    </a:lnTo>
                    <a:lnTo>
                      <a:pt x="38" y="36"/>
                    </a:lnTo>
                    <a:lnTo>
                      <a:pt x="38" y="34"/>
                    </a:lnTo>
                    <a:lnTo>
                      <a:pt x="39" y="36"/>
                    </a:lnTo>
                    <a:lnTo>
                      <a:pt x="39" y="38"/>
                    </a:lnTo>
                    <a:lnTo>
                      <a:pt x="41" y="38"/>
                    </a:lnTo>
                    <a:lnTo>
                      <a:pt x="43" y="38"/>
                    </a:lnTo>
                    <a:lnTo>
                      <a:pt x="43" y="39"/>
                    </a:lnTo>
                    <a:lnTo>
                      <a:pt x="43" y="38"/>
                    </a:lnTo>
                    <a:lnTo>
                      <a:pt x="44" y="39"/>
                    </a:lnTo>
                    <a:lnTo>
                      <a:pt x="46" y="39"/>
                    </a:lnTo>
                    <a:lnTo>
                      <a:pt x="44" y="39"/>
                    </a:lnTo>
                    <a:lnTo>
                      <a:pt x="43" y="38"/>
                    </a:lnTo>
                    <a:lnTo>
                      <a:pt x="43" y="36"/>
                    </a:lnTo>
                    <a:lnTo>
                      <a:pt x="41" y="36"/>
                    </a:lnTo>
                    <a:lnTo>
                      <a:pt x="39" y="36"/>
                    </a:lnTo>
                    <a:lnTo>
                      <a:pt x="39" y="34"/>
                    </a:lnTo>
                    <a:lnTo>
                      <a:pt x="38" y="34"/>
                    </a:lnTo>
                    <a:lnTo>
                      <a:pt x="38" y="33"/>
                    </a:lnTo>
                    <a:lnTo>
                      <a:pt x="36" y="33"/>
                    </a:lnTo>
                    <a:lnTo>
                      <a:pt x="36" y="31"/>
                    </a:lnTo>
                    <a:lnTo>
                      <a:pt x="38" y="31"/>
                    </a:lnTo>
                    <a:lnTo>
                      <a:pt x="36" y="31"/>
                    </a:lnTo>
                    <a:lnTo>
                      <a:pt x="36" y="29"/>
                    </a:lnTo>
                    <a:lnTo>
                      <a:pt x="34" y="29"/>
                    </a:lnTo>
                    <a:lnTo>
                      <a:pt x="36" y="29"/>
                    </a:lnTo>
                    <a:lnTo>
                      <a:pt x="36" y="31"/>
                    </a:lnTo>
                    <a:lnTo>
                      <a:pt x="34" y="31"/>
                    </a:lnTo>
                    <a:lnTo>
                      <a:pt x="32" y="31"/>
                    </a:lnTo>
                    <a:lnTo>
                      <a:pt x="32" y="29"/>
                    </a:lnTo>
                    <a:lnTo>
                      <a:pt x="31" y="29"/>
                    </a:lnTo>
                    <a:lnTo>
                      <a:pt x="29" y="29"/>
                    </a:lnTo>
                    <a:lnTo>
                      <a:pt x="29" y="27"/>
                    </a:lnTo>
                    <a:lnTo>
                      <a:pt x="29" y="29"/>
                    </a:lnTo>
                    <a:lnTo>
                      <a:pt x="29" y="27"/>
                    </a:lnTo>
                    <a:lnTo>
                      <a:pt x="29" y="26"/>
                    </a:lnTo>
                    <a:lnTo>
                      <a:pt x="31" y="26"/>
                    </a:lnTo>
                    <a:lnTo>
                      <a:pt x="32" y="27"/>
                    </a:lnTo>
                    <a:lnTo>
                      <a:pt x="32" y="26"/>
                    </a:lnTo>
                    <a:lnTo>
                      <a:pt x="31" y="24"/>
                    </a:lnTo>
                    <a:lnTo>
                      <a:pt x="31" y="22"/>
                    </a:lnTo>
                    <a:lnTo>
                      <a:pt x="29" y="24"/>
                    </a:lnTo>
                    <a:lnTo>
                      <a:pt x="27" y="24"/>
                    </a:lnTo>
                    <a:lnTo>
                      <a:pt x="26" y="24"/>
                    </a:lnTo>
                    <a:lnTo>
                      <a:pt x="26" y="22"/>
                    </a:lnTo>
                    <a:lnTo>
                      <a:pt x="24" y="22"/>
                    </a:lnTo>
                    <a:lnTo>
                      <a:pt x="24" y="21"/>
                    </a:lnTo>
                    <a:lnTo>
                      <a:pt x="24" y="19"/>
                    </a:lnTo>
                    <a:lnTo>
                      <a:pt x="26" y="19"/>
                    </a:lnTo>
                    <a:lnTo>
                      <a:pt x="24" y="19"/>
                    </a:lnTo>
                    <a:lnTo>
                      <a:pt x="24" y="17"/>
                    </a:lnTo>
                    <a:lnTo>
                      <a:pt x="26" y="19"/>
                    </a:lnTo>
                    <a:lnTo>
                      <a:pt x="27" y="19"/>
                    </a:lnTo>
                    <a:lnTo>
                      <a:pt x="29" y="21"/>
                    </a:lnTo>
                    <a:lnTo>
                      <a:pt x="31" y="21"/>
                    </a:lnTo>
                    <a:lnTo>
                      <a:pt x="31" y="22"/>
                    </a:lnTo>
                    <a:lnTo>
                      <a:pt x="31" y="21"/>
                    </a:lnTo>
                    <a:lnTo>
                      <a:pt x="31" y="22"/>
                    </a:lnTo>
                    <a:lnTo>
                      <a:pt x="32" y="22"/>
                    </a:lnTo>
                    <a:lnTo>
                      <a:pt x="32" y="24"/>
                    </a:lnTo>
                    <a:lnTo>
                      <a:pt x="34" y="24"/>
                    </a:lnTo>
                    <a:lnTo>
                      <a:pt x="36" y="26"/>
                    </a:lnTo>
                    <a:lnTo>
                      <a:pt x="38" y="26"/>
                    </a:lnTo>
                    <a:lnTo>
                      <a:pt x="39" y="26"/>
                    </a:lnTo>
                    <a:lnTo>
                      <a:pt x="41" y="26"/>
                    </a:lnTo>
                    <a:lnTo>
                      <a:pt x="41" y="27"/>
                    </a:lnTo>
                    <a:lnTo>
                      <a:pt x="41" y="26"/>
                    </a:lnTo>
                    <a:lnTo>
                      <a:pt x="43" y="27"/>
                    </a:lnTo>
                    <a:lnTo>
                      <a:pt x="43" y="26"/>
                    </a:lnTo>
                    <a:lnTo>
                      <a:pt x="44" y="26"/>
                    </a:lnTo>
                    <a:lnTo>
                      <a:pt x="46" y="26"/>
                    </a:lnTo>
                    <a:lnTo>
                      <a:pt x="46" y="24"/>
                    </a:lnTo>
                    <a:lnTo>
                      <a:pt x="44" y="24"/>
                    </a:lnTo>
                    <a:lnTo>
                      <a:pt x="43" y="24"/>
                    </a:lnTo>
                    <a:lnTo>
                      <a:pt x="43" y="22"/>
                    </a:lnTo>
                    <a:lnTo>
                      <a:pt x="44" y="22"/>
                    </a:lnTo>
                    <a:lnTo>
                      <a:pt x="44" y="21"/>
                    </a:lnTo>
                    <a:lnTo>
                      <a:pt x="46" y="21"/>
                    </a:lnTo>
                    <a:lnTo>
                      <a:pt x="44" y="21"/>
                    </a:lnTo>
                    <a:lnTo>
                      <a:pt x="44" y="22"/>
                    </a:lnTo>
                    <a:lnTo>
                      <a:pt x="46" y="22"/>
                    </a:lnTo>
                    <a:lnTo>
                      <a:pt x="48" y="21"/>
                    </a:lnTo>
                    <a:lnTo>
                      <a:pt x="49" y="21"/>
                    </a:lnTo>
                    <a:lnTo>
                      <a:pt x="51" y="21"/>
                    </a:lnTo>
                    <a:lnTo>
                      <a:pt x="49" y="21"/>
                    </a:lnTo>
                    <a:lnTo>
                      <a:pt x="49" y="22"/>
                    </a:lnTo>
                    <a:lnTo>
                      <a:pt x="49" y="21"/>
                    </a:lnTo>
                    <a:lnTo>
                      <a:pt x="51" y="21"/>
                    </a:lnTo>
                    <a:lnTo>
                      <a:pt x="53" y="21"/>
                    </a:lnTo>
                    <a:lnTo>
                      <a:pt x="51" y="21"/>
                    </a:lnTo>
                    <a:lnTo>
                      <a:pt x="51" y="22"/>
                    </a:lnTo>
                    <a:lnTo>
                      <a:pt x="49" y="22"/>
                    </a:lnTo>
                    <a:lnTo>
                      <a:pt x="51" y="22"/>
                    </a:lnTo>
                    <a:lnTo>
                      <a:pt x="53" y="22"/>
                    </a:lnTo>
                    <a:lnTo>
                      <a:pt x="55" y="21"/>
                    </a:lnTo>
                    <a:lnTo>
                      <a:pt x="55" y="22"/>
                    </a:lnTo>
                    <a:lnTo>
                      <a:pt x="53" y="22"/>
                    </a:lnTo>
                    <a:lnTo>
                      <a:pt x="53" y="24"/>
                    </a:lnTo>
                    <a:lnTo>
                      <a:pt x="53" y="22"/>
                    </a:lnTo>
                    <a:lnTo>
                      <a:pt x="51" y="22"/>
                    </a:lnTo>
                    <a:lnTo>
                      <a:pt x="53" y="24"/>
                    </a:lnTo>
                    <a:lnTo>
                      <a:pt x="51" y="24"/>
                    </a:lnTo>
                    <a:lnTo>
                      <a:pt x="53" y="24"/>
                    </a:lnTo>
                    <a:lnTo>
                      <a:pt x="55" y="24"/>
                    </a:lnTo>
                    <a:lnTo>
                      <a:pt x="56" y="24"/>
                    </a:lnTo>
                    <a:lnTo>
                      <a:pt x="58" y="22"/>
                    </a:lnTo>
                    <a:lnTo>
                      <a:pt x="58" y="24"/>
                    </a:lnTo>
                    <a:lnTo>
                      <a:pt x="58" y="26"/>
                    </a:lnTo>
                    <a:lnTo>
                      <a:pt x="58" y="24"/>
                    </a:lnTo>
                    <a:lnTo>
                      <a:pt x="58" y="22"/>
                    </a:lnTo>
                    <a:lnTo>
                      <a:pt x="60" y="24"/>
                    </a:lnTo>
                    <a:lnTo>
                      <a:pt x="60" y="22"/>
                    </a:lnTo>
                    <a:lnTo>
                      <a:pt x="61" y="22"/>
                    </a:lnTo>
                    <a:lnTo>
                      <a:pt x="61" y="21"/>
                    </a:lnTo>
                    <a:lnTo>
                      <a:pt x="63" y="21"/>
                    </a:lnTo>
                    <a:lnTo>
                      <a:pt x="63" y="22"/>
                    </a:lnTo>
                    <a:lnTo>
                      <a:pt x="61" y="22"/>
                    </a:lnTo>
                    <a:lnTo>
                      <a:pt x="61" y="24"/>
                    </a:lnTo>
                    <a:lnTo>
                      <a:pt x="61" y="22"/>
                    </a:lnTo>
                    <a:lnTo>
                      <a:pt x="61" y="24"/>
                    </a:lnTo>
                    <a:lnTo>
                      <a:pt x="60" y="24"/>
                    </a:lnTo>
                    <a:lnTo>
                      <a:pt x="61" y="24"/>
                    </a:lnTo>
                    <a:lnTo>
                      <a:pt x="61" y="26"/>
                    </a:lnTo>
                    <a:lnTo>
                      <a:pt x="61" y="24"/>
                    </a:lnTo>
                    <a:lnTo>
                      <a:pt x="63" y="24"/>
                    </a:lnTo>
                    <a:lnTo>
                      <a:pt x="65" y="24"/>
                    </a:lnTo>
                    <a:lnTo>
                      <a:pt x="66" y="22"/>
                    </a:lnTo>
                    <a:lnTo>
                      <a:pt x="66" y="24"/>
                    </a:lnTo>
                    <a:lnTo>
                      <a:pt x="66" y="22"/>
                    </a:lnTo>
                    <a:lnTo>
                      <a:pt x="65" y="22"/>
                    </a:lnTo>
                    <a:lnTo>
                      <a:pt x="65" y="21"/>
                    </a:lnTo>
                    <a:lnTo>
                      <a:pt x="63" y="21"/>
                    </a:lnTo>
                    <a:lnTo>
                      <a:pt x="65" y="21"/>
                    </a:lnTo>
                    <a:lnTo>
                      <a:pt x="65" y="19"/>
                    </a:lnTo>
                    <a:lnTo>
                      <a:pt x="66" y="19"/>
                    </a:lnTo>
                    <a:lnTo>
                      <a:pt x="65" y="17"/>
                    </a:lnTo>
                    <a:lnTo>
                      <a:pt x="66" y="17"/>
                    </a:lnTo>
                    <a:lnTo>
                      <a:pt x="66" y="19"/>
                    </a:lnTo>
                    <a:close/>
                    <a:moveTo>
                      <a:pt x="17" y="41"/>
                    </a:moveTo>
                    <a:lnTo>
                      <a:pt x="17" y="43"/>
                    </a:lnTo>
                    <a:lnTo>
                      <a:pt x="17" y="45"/>
                    </a:lnTo>
                    <a:lnTo>
                      <a:pt x="15" y="45"/>
                    </a:lnTo>
                    <a:lnTo>
                      <a:pt x="15" y="46"/>
                    </a:lnTo>
                    <a:lnTo>
                      <a:pt x="15" y="48"/>
                    </a:lnTo>
                    <a:lnTo>
                      <a:pt x="17" y="48"/>
                    </a:lnTo>
                    <a:lnTo>
                      <a:pt x="15" y="48"/>
                    </a:lnTo>
                    <a:lnTo>
                      <a:pt x="15" y="50"/>
                    </a:lnTo>
                    <a:lnTo>
                      <a:pt x="17" y="48"/>
                    </a:lnTo>
                    <a:lnTo>
                      <a:pt x="17" y="50"/>
                    </a:lnTo>
                    <a:lnTo>
                      <a:pt x="15" y="50"/>
                    </a:lnTo>
                    <a:lnTo>
                      <a:pt x="14" y="50"/>
                    </a:lnTo>
                    <a:lnTo>
                      <a:pt x="15" y="51"/>
                    </a:lnTo>
                    <a:lnTo>
                      <a:pt x="14" y="51"/>
                    </a:lnTo>
                    <a:lnTo>
                      <a:pt x="12" y="53"/>
                    </a:lnTo>
                    <a:lnTo>
                      <a:pt x="10" y="51"/>
                    </a:lnTo>
                    <a:lnTo>
                      <a:pt x="10" y="50"/>
                    </a:lnTo>
                    <a:lnTo>
                      <a:pt x="9" y="50"/>
                    </a:lnTo>
                    <a:lnTo>
                      <a:pt x="9" y="48"/>
                    </a:lnTo>
                    <a:lnTo>
                      <a:pt x="7" y="48"/>
                    </a:lnTo>
                    <a:lnTo>
                      <a:pt x="9" y="48"/>
                    </a:lnTo>
                    <a:lnTo>
                      <a:pt x="7" y="48"/>
                    </a:lnTo>
                    <a:lnTo>
                      <a:pt x="7" y="46"/>
                    </a:lnTo>
                    <a:lnTo>
                      <a:pt x="9" y="46"/>
                    </a:lnTo>
                    <a:lnTo>
                      <a:pt x="7" y="46"/>
                    </a:lnTo>
                    <a:lnTo>
                      <a:pt x="7" y="45"/>
                    </a:lnTo>
                    <a:lnTo>
                      <a:pt x="7" y="46"/>
                    </a:lnTo>
                    <a:lnTo>
                      <a:pt x="7" y="45"/>
                    </a:lnTo>
                    <a:lnTo>
                      <a:pt x="9" y="43"/>
                    </a:lnTo>
                    <a:lnTo>
                      <a:pt x="9" y="45"/>
                    </a:lnTo>
                    <a:lnTo>
                      <a:pt x="10" y="45"/>
                    </a:lnTo>
                    <a:lnTo>
                      <a:pt x="10" y="43"/>
                    </a:lnTo>
                    <a:lnTo>
                      <a:pt x="12" y="43"/>
                    </a:lnTo>
                    <a:lnTo>
                      <a:pt x="12" y="41"/>
                    </a:lnTo>
                    <a:lnTo>
                      <a:pt x="12" y="43"/>
                    </a:lnTo>
                    <a:lnTo>
                      <a:pt x="14" y="43"/>
                    </a:lnTo>
                    <a:lnTo>
                      <a:pt x="14" y="45"/>
                    </a:lnTo>
                    <a:lnTo>
                      <a:pt x="12" y="45"/>
                    </a:lnTo>
                    <a:lnTo>
                      <a:pt x="12" y="46"/>
                    </a:lnTo>
                    <a:lnTo>
                      <a:pt x="10" y="46"/>
                    </a:lnTo>
                    <a:lnTo>
                      <a:pt x="10" y="48"/>
                    </a:lnTo>
                    <a:lnTo>
                      <a:pt x="12" y="46"/>
                    </a:lnTo>
                    <a:lnTo>
                      <a:pt x="14" y="46"/>
                    </a:lnTo>
                    <a:lnTo>
                      <a:pt x="14" y="45"/>
                    </a:lnTo>
                    <a:lnTo>
                      <a:pt x="14" y="46"/>
                    </a:lnTo>
                    <a:lnTo>
                      <a:pt x="15" y="45"/>
                    </a:lnTo>
                    <a:lnTo>
                      <a:pt x="15" y="46"/>
                    </a:lnTo>
                    <a:lnTo>
                      <a:pt x="15" y="45"/>
                    </a:lnTo>
                    <a:lnTo>
                      <a:pt x="15" y="43"/>
                    </a:lnTo>
                    <a:lnTo>
                      <a:pt x="15" y="41"/>
                    </a:lnTo>
                    <a:lnTo>
                      <a:pt x="17" y="41"/>
                    </a:lnTo>
                    <a:close/>
                    <a:moveTo>
                      <a:pt x="36" y="14"/>
                    </a:moveTo>
                    <a:lnTo>
                      <a:pt x="38" y="14"/>
                    </a:lnTo>
                    <a:lnTo>
                      <a:pt x="38" y="16"/>
                    </a:lnTo>
                    <a:lnTo>
                      <a:pt x="39" y="16"/>
                    </a:lnTo>
                    <a:lnTo>
                      <a:pt x="39" y="17"/>
                    </a:lnTo>
                    <a:lnTo>
                      <a:pt x="41" y="17"/>
                    </a:lnTo>
                    <a:lnTo>
                      <a:pt x="41" y="16"/>
                    </a:lnTo>
                    <a:lnTo>
                      <a:pt x="43" y="16"/>
                    </a:lnTo>
                    <a:lnTo>
                      <a:pt x="44" y="17"/>
                    </a:lnTo>
                    <a:lnTo>
                      <a:pt x="43" y="17"/>
                    </a:lnTo>
                    <a:lnTo>
                      <a:pt x="44" y="17"/>
                    </a:lnTo>
                    <a:lnTo>
                      <a:pt x="44" y="19"/>
                    </a:lnTo>
                    <a:lnTo>
                      <a:pt x="43" y="19"/>
                    </a:lnTo>
                    <a:lnTo>
                      <a:pt x="43" y="21"/>
                    </a:lnTo>
                    <a:lnTo>
                      <a:pt x="41" y="21"/>
                    </a:lnTo>
                    <a:lnTo>
                      <a:pt x="43" y="21"/>
                    </a:lnTo>
                    <a:lnTo>
                      <a:pt x="41" y="21"/>
                    </a:lnTo>
                    <a:lnTo>
                      <a:pt x="39" y="21"/>
                    </a:lnTo>
                    <a:lnTo>
                      <a:pt x="38" y="21"/>
                    </a:lnTo>
                    <a:lnTo>
                      <a:pt x="38" y="22"/>
                    </a:lnTo>
                    <a:lnTo>
                      <a:pt x="36" y="22"/>
                    </a:lnTo>
                    <a:lnTo>
                      <a:pt x="36" y="21"/>
                    </a:lnTo>
                    <a:lnTo>
                      <a:pt x="36" y="19"/>
                    </a:lnTo>
                    <a:lnTo>
                      <a:pt x="38" y="19"/>
                    </a:lnTo>
                    <a:lnTo>
                      <a:pt x="38" y="17"/>
                    </a:lnTo>
                    <a:lnTo>
                      <a:pt x="39" y="19"/>
                    </a:lnTo>
                    <a:lnTo>
                      <a:pt x="39" y="21"/>
                    </a:lnTo>
                    <a:lnTo>
                      <a:pt x="41" y="21"/>
                    </a:lnTo>
                    <a:lnTo>
                      <a:pt x="41" y="19"/>
                    </a:lnTo>
                    <a:lnTo>
                      <a:pt x="39" y="19"/>
                    </a:lnTo>
                    <a:lnTo>
                      <a:pt x="39" y="17"/>
                    </a:lnTo>
                    <a:lnTo>
                      <a:pt x="38" y="17"/>
                    </a:lnTo>
                    <a:lnTo>
                      <a:pt x="38" y="16"/>
                    </a:lnTo>
                    <a:lnTo>
                      <a:pt x="36" y="16"/>
                    </a:lnTo>
                    <a:lnTo>
                      <a:pt x="34" y="14"/>
                    </a:lnTo>
                    <a:lnTo>
                      <a:pt x="36" y="14"/>
                    </a:lnTo>
                    <a:close/>
                    <a:moveTo>
                      <a:pt x="55" y="14"/>
                    </a:moveTo>
                    <a:lnTo>
                      <a:pt x="56" y="14"/>
                    </a:lnTo>
                    <a:lnTo>
                      <a:pt x="58" y="14"/>
                    </a:lnTo>
                    <a:lnTo>
                      <a:pt x="60" y="14"/>
                    </a:lnTo>
                    <a:lnTo>
                      <a:pt x="60" y="16"/>
                    </a:lnTo>
                    <a:lnTo>
                      <a:pt x="61" y="16"/>
                    </a:lnTo>
                    <a:lnTo>
                      <a:pt x="61" y="14"/>
                    </a:lnTo>
                    <a:lnTo>
                      <a:pt x="61" y="16"/>
                    </a:lnTo>
                    <a:lnTo>
                      <a:pt x="63" y="14"/>
                    </a:lnTo>
                    <a:lnTo>
                      <a:pt x="63" y="16"/>
                    </a:lnTo>
                    <a:lnTo>
                      <a:pt x="65" y="16"/>
                    </a:lnTo>
                    <a:lnTo>
                      <a:pt x="65" y="17"/>
                    </a:lnTo>
                    <a:lnTo>
                      <a:pt x="63" y="17"/>
                    </a:lnTo>
                    <a:lnTo>
                      <a:pt x="63" y="16"/>
                    </a:lnTo>
                    <a:lnTo>
                      <a:pt x="63" y="17"/>
                    </a:lnTo>
                    <a:lnTo>
                      <a:pt x="65" y="19"/>
                    </a:lnTo>
                    <a:lnTo>
                      <a:pt x="63" y="17"/>
                    </a:lnTo>
                    <a:lnTo>
                      <a:pt x="61" y="19"/>
                    </a:lnTo>
                    <a:lnTo>
                      <a:pt x="61" y="17"/>
                    </a:lnTo>
                    <a:lnTo>
                      <a:pt x="61" y="19"/>
                    </a:lnTo>
                    <a:lnTo>
                      <a:pt x="60" y="17"/>
                    </a:lnTo>
                    <a:lnTo>
                      <a:pt x="58" y="16"/>
                    </a:lnTo>
                    <a:lnTo>
                      <a:pt x="56" y="16"/>
                    </a:lnTo>
                    <a:lnTo>
                      <a:pt x="55" y="16"/>
                    </a:lnTo>
                    <a:lnTo>
                      <a:pt x="53" y="16"/>
                    </a:lnTo>
                    <a:lnTo>
                      <a:pt x="53" y="14"/>
                    </a:lnTo>
                    <a:lnTo>
                      <a:pt x="51" y="14"/>
                    </a:lnTo>
                    <a:lnTo>
                      <a:pt x="53" y="14"/>
                    </a:lnTo>
                    <a:lnTo>
                      <a:pt x="55" y="12"/>
                    </a:lnTo>
                    <a:lnTo>
                      <a:pt x="55" y="14"/>
                    </a:lnTo>
                    <a:close/>
                    <a:moveTo>
                      <a:pt x="100" y="53"/>
                    </a:moveTo>
                    <a:lnTo>
                      <a:pt x="99" y="53"/>
                    </a:lnTo>
                    <a:lnTo>
                      <a:pt x="99" y="55"/>
                    </a:lnTo>
                    <a:lnTo>
                      <a:pt x="97" y="55"/>
                    </a:lnTo>
                    <a:lnTo>
                      <a:pt x="99" y="56"/>
                    </a:lnTo>
                    <a:lnTo>
                      <a:pt x="99" y="55"/>
                    </a:lnTo>
                    <a:lnTo>
                      <a:pt x="99" y="56"/>
                    </a:lnTo>
                    <a:lnTo>
                      <a:pt x="99" y="58"/>
                    </a:lnTo>
                    <a:lnTo>
                      <a:pt x="99" y="60"/>
                    </a:lnTo>
                    <a:lnTo>
                      <a:pt x="97" y="60"/>
                    </a:lnTo>
                    <a:lnTo>
                      <a:pt x="99" y="58"/>
                    </a:lnTo>
                    <a:lnTo>
                      <a:pt x="97" y="58"/>
                    </a:lnTo>
                    <a:lnTo>
                      <a:pt x="95" y="56"/>
                    </a:lnTo>
                    <a:lnTo>
                      <a:pt x="95" y="55"/>
                    </a:lnTo>
                    <a:lnTo>
                      <a:pt x="97" y="55"/>
                    </a:lnTo>
                    <a:lnTo>
                      <a:pt x="97" y="53"/>
                    </a:lnTo>
                    <a:lnTo>
                      <a:pt x="97" y="55"/>
                    </a:lnTo>
                    <a:lnTo>
                      <a:pt x="97" y="53"/>
                    </a:lnTo>
                    <a:lnTo>
                      <a:pt x="99" y="53"/>
                    </a:lnTo>
                    <a:lnTo>
                      <a:pt x="99" y="55"/>
                    </a:lnTo>
                    <a:lnTo>
                      <a:pt x="99" y="53"/>
                    </a:lnTo>
                    <a:lnTo>
                      <a:pt x="100" y="53"/>
                    </a:lnTo>
                    <a:close/>
                    <a:moveTo>
                      <a:pt x="53" y="63"/>
                    </a:moveTo>
                    <a:lnTo>
                      <a:pt x="55" y="63"/>
                    </a:lnTo>
                    <a:lnTo>
                      <a:pt x="56" y="63"/>
                    </a:lnTo>
                    <a:lnTo>
                      <a:pt x="56" y="65"/>
                    </a:lnTo>
                    <a:lnTo>
                      <a:pt x="56" y="67"/>
                    </a:lnTo>
                    <a:lnTo>
                      <a:pt x="56" y="68"/>
                    </a:lnTo>
                    <a:lnTo>
                      <a:pt x="55" y="68"/>
                    </a:lnTo>
                    <a:lnTo>
                      <a:pt x="55" y="70"/>
                    </a:lnTo>
                    <a:lnTo>
                      <a:pt x="55" y="68"/>
                    </a:lnTo>
                    <a:lnTo>
                      <a:pt x="55" y="67"/>
                    </a:lnTo>
                    <a:lnTo>
                      <a:pt x="55" y="65"/>
                    </a:lnTo>
                    <a:lnTo>
                      <a:pt x="55" y="67"/>
                    </a:lnTo>
                    <a:lnTo>
                      <a:pt x="55" y="65"/>
                    </a:lnTo>
                    <a:lnTo>
                      <a:pt x="55" y="63"/>
                    </a:lnTo>
                    <a:lnTo>
                      <a:pt x="53" y="63"/>
                    </a:lnTo>
                    <a:lnTo>
                      <a:pt x="53" y="62"/>
                    </a:lnTo>
                    <a:lnTo>
                      <a:pt x="53" y="63"/>
                    </a:lnTo>
                    <a:close/>
                    <a:moveTo>
                      <a:pt x="48" y="16"/>
                    </a:moveTo>
                    <a:lnTo>
                      <a:pt x="48" y="17"/>
                    </a:lnTo>
                    <a:lnTo>
                      <a:pt x="49" y="17"/>
                    </a:lnTo>
                    <a:lnTo>
                      <a:pt x="48" y="17"/>
                    </a:lnTo>
                    <a:lnTo>
                      <a:pt x="48" y="19"/>
                    </a:lnTo>
                    <a:lnTo>
                      <a:pt x="46" y="19"/>
                    </a:lnTo>
                    <a:lnTo>
                      <a:pt x="46" y="17"/>
                    </a:lnTo>
                    <a:lnTo>
                      <a:pt x="44" y="17"/>
                    </a:lnTo>
                    <a:lnTo>
                      <a:pt x="44" y="16"/>
                    </a:lnTo>
                    <a:lnTo>
                      <a:pt x="46" y="16"/>
                    </a:lnTo>
                    <a:lnTo>
                      <a:pt x="48" y="16"/>
                    </a:lnTo>
                    <a:close/>
                    <a:moveTo>
                      <a:pt x="5" y="45"/>
                    </a:moveTo>
                    <a:lnTo>
                      <a:pt x="4" y="45"/>
                    </a:lnTo>
                    <a:lnTo>
                      <a:pt x="4" y="46"/>
                    </a:lnTo>
                    <a:lnTo>
                      <a:pt x="5" y="46"/>
                    </a:lnTo>
                    <a:lnTo>
                      <a:pt x="4" y="48"/>
                    </a:lnTo>
                    <a:lnTo>
                      <a:pt x="4" y="46"/>
                    </a:lnTo>
                    <a:lnTo>
                      <a:pt x="2" y="46"/>
                    </a:lnTo>
                    <a:lnTo>
                      <a:pt x="2" y="45"/>
                    </a:lnTo>
                    <a:lnTo>
                      <a:pt x="0" y="45"/>
                    </a:lnTo>
                    <a:lnTo>
                      <a:pt x="2" y="45"/>
                    </a:lnTo>
                    <a:lnTo>
                      <a:pt x="2" y="43"/>
                    </a:lnTo>
                    <a:lnTo>
                      <a:pt x="2" y="45"/>
                    </a:lnTo>
                    <a:lnTo>
                      <a:pt x="4" y="45"/>
                    </a:lnTo>
                    <a:lnTo>
                      <a:pt x="4" y="43"/>
                    </a:lnTo>
                    <a:lnTo>
                      <a:pt x="5" y="43"/>
                    </a:lnTo>
                    <a:lnTo>
                      <a:pt x="5" y="45"/>
                    </a:lnTo>
                    <a:close/>
                    <a:moveTo>
                      <a:pt x="56" y="72"/>
                    </a:moveTo>
                    <a:lnTo>
                      <a:pt x="55" y="72"/>
                    </a:lnTo>
                    <a:lnTo>
                      <a:pt x="55" y="73"/>
                    </a:lnTo>
                    <a:lnTo>
                      <a:pt x="55" y="75"/>
                    </a:lnTo>
                    <a:lnTo>
                      <a:pt x="53" y="75"/>
                    </a:lnTo>
                    <a:lnTo>
                      <a:pt x="53" y="73"/>
                    </a:lnTo>
                    <a:lnTo>
                      <a:pt x="51" y="73"/>
                    </a:lnTo>
                    <a:lnTo>
                      <a:pt x="53" y="73"/>
                    </a:lnTo>
                    <a:lnTo>
                      <a:pt x="55" y="72"/>
                    </a:lnTo>
                    <a:lnTo>
                      <a:pt x="56" y="70"/>
                    </a:lnTo>
                    <a:lnTo>
                      <a:pt x="56" y="72"/>
                    </a:lnTo>
                    <a:close/>
                    <a:moveTo>
                      <a:pt x="85" y="63"/>
                    </a:moveTo>
                    <a:lnTo>
                      <a:pt x="85" y="65"/>
                    </a:lnTo>
                    <a:lnTo>
                      <a:pt x="83" y="67"/>
                    </a:lnTo>
                    <a:lnTo>
                      <a:pt x="82" y="67"/>
                    </a:lnTo>
                    <a:lnTo>
                      <a:pt x="80" y="67"/>
                    </a:lnTo>
                    <a:lnTo>
                      <a:pt x="82" y="67"/>
                    </a:lnTo>
                    <a:lnTo>
                      <a:pt x="82" y="65"/>
                    </a:lnTo>
                    <a:lnTo>
                      <a:pt x="83" y="67"/>
                    </a:lnTo>
                    <a:lnTo>
                      <a:pt x="85" y="65"/>
                    </a:lnTo>
                    <a:lnTo>
                      <a:pt x="83" y="65"/>
                    </a:lnTo>
                    <a:lnTo>
                      <a:pt x="85" y="65"/>
                    </a:lnTo>
                    <a:lnTo>
                      <a:pt x="83" y="63"/>
                    </a:lnTo>
                    <a:lnTo>
                      <a:pt x="85" y="63"/>
                    </a:lnTo>
                    <a:lnTo>
                      <a:pt x="85" y="62"/>
                    </a:lnTo>
                    <a:lnTo>
                      <a:pt x="85" y="63"/>
                    </a:lnTo>
                    <a:close/>
                    <a:moveTo>
                      <a:pt x="5" y="38"/>
                    </a:moveTo>
                    <a:lnTo>
                      <a:pt x="4" y="38"/>
                    </a:lnTo>
                    <a:lnTo>
                      <a:pt x="2" y="38"/>
                    </a:lnTo>
                    <a:lnTo>
                      <a:pt x="2" y="39"/>
                    </a:lnTo>
                    <a:lnTo>
                      <a:pt x="4" y="39"/>
                    </a:lnTo>
                    <a:lnTo>
                      <a:pt x="2" y="41"/>
                    </a:lnTo>
                    <a:lnTo>
                      <a:pt x="2" y="39"/>
                    </a:lnTo>
                    <a:lnTo>
                      <a:pt x="2" y="38"/>
                    </a:lnTo>
                    <a:lnTo>
                      <a:pt x="0" y="38"/>
                    </a:lnTo>
                    <a:lnTo>
                      <a:pt x="2" y="38"/>
                    </a:lnTo>
                    <a:lnTo>
                      <a:pt x="4" y="38"/>
                    </a:lnTo>
                    <a:lnTo>
                      <a:pt x="4" y="36"/>
                    </a:lnTo>
                    <a:lnTo>
                      <a:pt x="4" y="38"/>
                    </a:lnTo>
                    <a:lnTo>
                      <a:pt x="5" y="38"/>
                    </a:lnTo>
                    <a:close/>
                    <a:moveTo>
                      <a:pt x="55" y="17"/>
                    </a:moveTo>
                    <a:lnTo>
                      <a:pt x="55" y="19"/>
                    </a:lnTo>
                    <a:lnTo>
                      <a:pt x="56" y="19"/>
                    </a:lnTo>
                    <a:lnTo>
                      <a:pt x="58" y="19"/>
                    </a:lnTo>
                    <a:lnTo>
                      <a:pt x="56" y="19"/>
                    </a:lnTo>
                    <a:lnTo>
                      <a:pt x="55" y="19"/>
                    </a:lnTo>
                    <a:lnTo>
                      <a:pt x="55" y="21"/>
                    </a:lnTo>
                    <a:lnTo>
                      <a:pt x="53" y="19"/>
                    </a:lnTo>
                    <a:lnTo>
                      <a:pt x="55" y="19"/>
                    </a:lnTo>
                    <a:lnTo>
                      <a:pt x="53" y="19"/>
                    </a:lnTo>
                    <a:lnTo>
                      <a:pt x="51" y="19"/>
                    </a:lnTo>
                    <a:lnTo>
                      <a:pt x="53" y="19"/>
                    </a:lnTo>
                    <a:lnTo>
                      <a:pt x="53" y="17"/>
                    </a:lnTo>
                    <a:lnTo>
                      <a:pt x="55" y="19"/>
                    </a:lnTo>
                    <a:lnTo>
                      <a:pt x="53" y="17"/>
                    </a:lnTo>
                    <a:lnTo>
                      <a:pt x="55" y="17"/>
                    </a:lnTo>
                    <a:close/>
                    <a:moveTo>
                      <a:pt x="26" y="12"/>
                    </a:moveTo>
                    <a:lnTo>
                      <a:pt x="29" y="12"/>
                    </a:lnTo>
                    <a:lnTo>
                      <a:pt x="29" y="17"/>
                    </a:lnTo>
                    <a:lnTo>
                      <a:pt x="26" y="17"/>
                    </a:lnTo>
                    <a:lnTo>
                      <a:pt x="26" y="12"/>
                    </a:lnTo>
                    <a:close/>
                    <a:moveTo>
                      <a:pt x="17" y="53"/>
                    </a:moveTo>
                    <a:lnTo>
                      <a:pt x="17" y="55"/>
                    </a:lnTo>
                    <a:lnTo>
                      <a:pt x="15" y="55"/>
                    </a:lnTo>
                    <a:lnTo>
                      <a:pt x="14" y="53"/>
                    </a:lnTo>
                    <a:lnTo>
                      <a:pt x="15" y="53"/>
                    </a:lnTo>
                    <a:lnTo>
                      <a:pt x="15" y="51"/>
                    </a:lnTo>
                    <a:lnTo>
                      <a:pt x="17" y="53"/>
                    </a:lnTo>
                    <a:close/>
                    <a:moveTo>
                      <a:pt x="7" y="0"/>
                    </a:moveTo>
                    <a:lnTo>
                      <a:pt x="10" y="0"/>
                    </a:lnTo>
                    <a:lnTo>
                      <a:pt x="10" y="4"/>
                    </a:lnTo>
                    <a:lnTo>
                      <a:pt x="7" y="4"/>
                    </a:lnTo>
                    <a:lnTo>
                      <a:pt x="7" y="0"/>
                    </a:lnTo>
                    <a:close/>
                    <a:moveTo>
                      <a:pt x="58" y="41"/>
                    </a:moveTo>
                    <a:lnTo>
                      <a:pt x="61" y="41"/>
                    </a:lnTo>
                    <a:lnTo>
                      <a:pt x="61" y="43"/>
                    </a:lnTo>
                    <a:lnTo>
                      <a:pt x="58" y="43"/>
                    </a:lnTo>
                    <a:lnTo>
                      <a:pt x="58" y="41"/>
                    </a:lnTo>
                    <a:close/>
                    <a:moveTo>
                      <a:pt x="55" y="50"/>
                    </a:moveTo>
                    <a:lnTo>
                      <a:pt x="56" y="50"/>
                    </a:lnTo>
                    <a:lnTo>
                      <a:pt x="56" y="53"/>
                    </a:lnTo>
                    <a:lnTo>
                      <a:pt x="55" y="53"/>
                    </a:lnTo>
                    <a:lnTo>
                      <a:pt x="55" y="50"/>
                    </a:lnTo>
                    <a:close/>
                    <a:moveTo>
                      <a:pt x="21" y="17"/>
                    </a:moveTo>
                    <a:lnTo>
                      <a:pt x="24" y="17"/>
                    </a:lnTo>
                    <a:lnTo>
                      <a:pt x="24" y="21"/>
                    </a:lnTo>
                    <a:lnTo>
                      <a:pt x="21" y="21"/>
                    </a:lnTo>
                    <a:lnTo>
                      <a:pt x="21" y="17"/>
                    </a:lnTo>
                    <a:close/>
                    <a:moveTo>
                      <a:pt x="55" y="73"/>
                    </a:moveTo>
                    <a:lnTo>
                      <a:pt x="58" y="73"/>
                    </a:lnTo>
                    <a:lnTo>
                      <a:pt x="58" y="75"/>
                    </a:lnTo>
                    <a:lnTo>
                      <a:pt x="55" y="75"/>
                    </a:lnTo>
                    <a:lnTo>
                      <a:pt x="55" y="73"/>
                    </a:lnTo>
                    <a:close/>
                    <a:moveTo>
                      <a:pt x="78" y="79"/>
                    </a:moveTo>
                    <a:lnTo>
                      <a:pt x="77" y="77"/>
                    </a:lnTo>
                    <a:lnTo>
                      <a:pt x="77" y="79"/>
                    </a:lnTo>
                    <a:lnTo>
                      <a:pt x="75" y="79"/>
                    </a:lnTo>
                    <a:lnTo>
                      <a:pt x="75" y="77"/>
                    </a:lnTo>
                    <a:lnTo>
                      <a:pt x="77" y="77"/>
                    </a:lnTo>
                    <a:lnTo>
                      <a:pt x="78" y="79"/>
                    </a:lnTo>
                    <a:close/>
                    <a:moveTo>
                      <a:pt x="55" y="21"/>
                    </a:moveTo>
                    <a:lnTo>
                      <a:pt x="56" y="21"/>
                    </a:lnTo>
                    <a:lnTo>
                      <a:pt x="56" y="22"/>
                    </a:lnTo>
                    <a:lnTo>
                      <a:pt x="55" y="22"/>
                    </a:lnTo>
                    <a:lnTo>
                      <a:pt x="55" y="21"/>
                    </a:lnTo>
                    <a:close/>
                    <a:moveTo>
                      <a:pt x="4" y="0"/>
                    </a:moveTo>
                    <a:lnTo>
                      <a:pt x="7" y="0"/>
                    </a:lnTo>
                    <a:lnTo>
                      <a:pt x="7" y="2"/>
                    </a:lnTo>
                    <a:lnTo>
                      <a:pt x="4" y="2"/>
                    </a:lnTo>
                    <a:lnTo>
                      <a:pt x="4" y="0"/>
                    </a:lnTo>
                    <a:close/>
                    <a:moveTo>
                      <a:pt x="22" y="33"/>
                    </a:moveTo>
                    <a:lnTo>
                      <a:pt x="24" y="33"/>
                    </a:lnTo>
                    <a:lnTo>
                      <a:pt x="24" y="36"/>
                    </a:lnTo>
                    <a:lnTo>
                      <a:pt x="22" y="36"/>
                    </a:lnTo>
                    <a:lnTo>
                      <a:pt x="22" y="33"/>
                    </a:lnTo>
                    <a:close/>
                    <a:moveTo>
                      <a:pt x="19" y="31"/>
                    </a:moveTo>
                    <a:lnTo>
                      <a:pt x="21" y="31"/>
                    </a:lnTo>
                    <a:lnTo>
                      <a:pt x="19" y="31"/>
                    </a:lnTo>
                    <a:close/>
                    <a:moveTo>
                      <a:pt x="55" y="56"/>
                    </a:moveTo>
                    <a:lnTo>
                      <a:pt x="55" y="60"/>
                    </a:lnTo>
                    <a:lnTo>
                      <a:pt x="55" y="56"/>
                    </a:lnTo>
                    <a:close/>
                    <a:moveTo>
                      <a:pt x="55" y="17"/>
                    </a:moveTo>
                    <a:lnTo>
                      <a:pt x="58" y="17"/>
                    </a:lnTo>
                    <a:lnTo>
                      <a:pt x="58" y="19"/>
                    </a:lnTo>
                    <a:lnTo>
                      <a:pt x="55" y="19"/>
                    </a:lnTo>
                    <a:lnTo>
                      <a:pt x="55" y="17"/>
                    </a:lnTo>
                    <a:close/>
                    <a:moveTo>
                      <a:pt x="56" y="19"/>
                    </a:moveTo>
                    <a:lnTo>
                      <a:pt x="60" y="19"/>
                    </a:lnTo>
                    <a:lnTo>
                      <a:pt x="60" y="21"/>
                    </a:lnTo>
                    <a:lnTo>
                      <a:pt x="56" y="21"/>
                    </a:lnTo>
                    <a:lnTo>
                      <a:pt x="56" y="19"/>
                    </a:lnTo>
                    <a:close/>
                    <a:moveTo>
                      <a:pt x="49" y="12"/>
                    </a:moveTo>
                    <a:lnTo>
                      <a:pt x="51" y="12"/>
                    </a:lnTo>
                    <a:lnTo>
                      <a:pt x="51" y="14"/>
                    </a:lnTo>
                    <a:lnTo>
                      <a:pt x="49" y="14"/>
                    </a:lnTo>
                    <a:lnTo>
                      <a:pt x="49" y="12"/>
                    </a:lnTo>
                    <a:close/>
                    <a:moveTo>
                      <a:pt x="29" y="45"/>
                    </a:moveTo>
                    <a:lnTo>
                      <a:pt x="31" y="45"/>
                    </a:lnTo>
                    <a:lnTo>
                      <a:pt x="31" y="46"/>
                    </a:lnTo>
                    <a:lnTo>
                      <a:pt x="29" y="46"/>
                    </a:lnTo>
                    <a:lnTo>
                      <a:pt x="29" y="45"/>
                    </a:lnTo>
                    <a:close/>
                    <a:moveTo>
                      <a:pt x="58" y="21"/>
                    </a:moveTo>
                    <a:lnTo>
                      <a:pt x="60" y="21"/>
                    </a:lnTo>
                    <a:lnTo>
                      <a:pt x="60" y="22"/>
                    </a:lnTo>
                    <a:lnTo>
                      <a:pt x="58" y="22"/>
                    </a:lnTo>
                    <a:lnTo>
                      <a:pt x="58" y="21"/>
                    </a:lnTo>
                    <a:close/>
                    <a:moveTo>
                      <a:pt x="5" y="46"/>
                    </a:moveTo>
                    <a:lnTo>
                      <a:pt x="7" y="46"/>
                    </a:lnTo>
                    <a:lnTo>
                      <a:pt x="7" y="50"/>
                    </a:lnTo>
                    <a:lnTo>
                      <a:pt x="5" y="50"/>
                    </a:lnTo>
                    <a:lnTo>
                      <a:pt x="5" y="46"/>
                    </a:lnTo>
                    <a:close/>
                    <a:moveTo>
                      <a:pt x="14" y="10"/>
                    </a:moveTo>
                    <a:lnTo>
                      <a:pt x="17" y="10"/>
                    </a:lnTo>
                    <a:lnTo>
                      <a:pt x="14" y="10"/>
                    </a:lnTo>
                    <a:close/>
                    <a:moveTo>
                      <a:pt x="92" y="60"/>
                    </a:moveTo>
                    <a:lnTo>
                      <a:pt x="94" y="60"/>
                    </a:lnTo>
                    <a:lnTo>
                      <a:pt x="94" y="62"/>
                    </a:lnTo>
                    <a:lnTo>
                      <a:pt x="92" y="62"/>
                    </a:lnTo>
                    <a:lnTo>
                      <a:pt x="92" y="60"/>
                    </a:lnTo>
                    <a:close/>
                    <a:moveTo>
                      <a:pt x="95" y="53"/>
                    </a:moveTo>
                    <a:lnTo>
                      <a:pt x="99" y="53"/>
                    </a:lnTo>
                    <a:lnTo>
                      <a:pt x="95" y="53"/>
                    </a:lnTo>
                    <a:close/>
                    <a:moveTo>
                      <a:pt x="100" y="53"/>
                    </a:moveTo>
                    <a:lnTo>
                      <a:pt x="102" y="53"/>
                    </a:lnTo>
                    <a:lnTo>
                      <a:pt x="102" y="55"/>
                    </a:lnTo>
                    <a:lnTo>
                      <a:pt x="100" y="55"/>
                    </a:lnTo>
                    <a:lnTo>
                      <a:pt x="100" y="53"/>
                    </a:lnTo>
                    <a:close/>
                    <a:moveTo>
                      <a:pt x="111" y="29"/>
                    </a:moveTo>
                    <a:lnTo>
                      <a:pt x="112" y="29"/>
                    </a:lnTo>
                    <a:lnTo>
                      <a:pt x="112" y="31"/>
                    </a:lnTo>
                    <a:lnTo>
                      <a:pt x="111" y="31"/>
                    </a:lnTo>
                    <a:lnTo>
                      <a:pt x="111" y="29"/>
                    </a:lnTo>
                    <a:close/>
                    <a:moveTo>
                      <a:pt x="31" y="7"/>
                    </a:moveTo>
                    <a:lnTo>
                      <a:pt x="32" y="7"/>
                    </a:lnTo>
                    <a:lnTo>
                      <a:pt x="31" y="7"/>
                    </a:lnTo>
                    <a:close/>
                    <a:moveTo>
                      <a:pt x="15" y="4"/>
                    </a:moveTo>
                    <a:lnTo>
                      <a:pt x="17" y="4"/>
                    </a:lnTo>
                    <a:lnTo>
                      <a:pt x="17" y="5"/>
                    </a:lnTo>
                    <a:lnTo>
                      <a:pt x="15" y="5"/>
                    </a:lnTo>
                    <a:lnTo>
                      <a:pt x="15" y="4"/>
                    </a:lnTo>
                    <a:close/>
                    <a:moveTo>
                      <a:pt x="5" y="48"/>
                    </a:moveTo>
                    <a:lnTo>
                      <a:pt x="7" y="48"/>
                    </a:lnTo>
                    <a:lnTo>
                      <a:pt x="7" y="50"/>
                    </a:lnTo>
                    <a:lnTo>
                      <a:pt x="5" y="50"/>
                    </a:lnTo>
                    <a:lnTo>
                      <a:pt x="5" y="48"/>
                    </a:lnTo>
                    <a:close/>
                    <a:moveTo>
                      <a:pt x="31" y="33"/>
                    </a:moveTo>
                    <a:lnTo>
                      <a:pt x="32" y="33"/>
                    </a:lnTo>
                    <a:lnTo>
                      <a:pt x="32" y="34"/>
                    </a:lnTo>
                    <a:lnTo>
                      <a:pt x="31" y="34"/>
                    </a:lnTo>
                    <a:lnTo>
                      <a:pt x="31" y="33"/>
                    </a:lnTo>
                    <a:close/>
                    <a:moveTo>
                      <a:pt x="56" y="41"/>
                    </a:moveTo>
                    <a:lnTo>
                      <a:pt x="58" y="41"/>
                    </a:lnTo>
                    <a:lnTo>
                      <a:pt x="58" y="43"/>
                    </a:lnTo>
                    <a:lnTo>
                      <a:pt x="56" y="43"/>
                    </a:lnTo>
                    <a:lnTo>
                      <a:pt x="56" y="41"/>
                    </a:lnTo>
                    <a:close/>
                    <a:moveTo>
                      <a:pt x="49" y="19"/>
                    </a:moveTo>
                    <a:lnTo>
                      <a:pt x="51" y="19"/>
                    </a:lnTo>
                    <a:lnTo>
                      <a:pt x="51" y="21"/>
                    </a:lnTo>
                    <a:lnTo>
                      <a:pt x="49" y="21"/>
                    </a:lnTo>
                    <a:lnTo>
                      <a:pt x="49" y="19"/>
                    </a:lnTo>
                    <a:close/>
                    <a:moveTo>
                      <a:pt x="17" y="7"/>
                    </a:moveTo>
                    <a:lnTo>
                      <a:pt x="17" y="9"/>
                    </a:lnTo>
                    <a:lnTo>
                      <a:pt x="17" y="7"/>
                    </a:lnTo>
                    <a:close/>
                    <a:moveTo>
                      <a:pt x="58" y="46"/>
                    </a:moveTo>
                    <a:lnTo>
                      <a:pt x="60" y="46"/>
                    </a:lnTo>
                    <a:lnTo>
                      <a:pt x="60" y="48"/>
                    </a:lnTo>
                    <a:lnTo>
                      <a:pt x="58" y="48"/>
                    </a:lnTo>
                    <a:lnTo>
                      <a:pt x="58" y="46"/>
                    </a:lnTo>
                    <a:close/>
                    <a:moveTo>
                      <a:pt x="5" y="45"/>
                    </a:moveTo>
                    <a:lnTo>
                      <a:pt x="7" y="45"/>
                    </a:lnTo>
                    <a:lnTo>
                      <a:pt x="7" y="46"/>
                    </a:lnTo>
                    <a:lnTo>
                      <a:pt x="5" y="46"/>
                    </a:lnTo>
                    <a:lnTo>
                      <a:pt x="5" y="45"/>
                    </a:lnTo>
                    <a:close/>
                    <a:moveTo>
                      <a:pt x="95" y="48"/>
                    </a:moveTo>
                    <a:lnTo>
                      <a:pt x="95" y="50"/>
                    </a:lnTo>
                    <a:lnTo>
                      <a:pt x="95" y="48"/>
                    </a:lnTo>
                    <a:close/>
                    <a:moveTo>
                      <a:pt x="55" y="21"/>
                    </a:moveTo>
                    <a:lnTo>
                      <a:pt x="56" y="21"/>
                    </a:lnTo>
                    <a:lnTo>
                      <a:pt x="55" y="21"/>
                    </a:lnTo>
                    <a:close/>
                    <a:moveTo>
                      <a:pt x="31" y="65"/>
                    </a:moveTo>
                    <a:lnTo>
                      <a:pt x="32" y="65"/>
                    </a:lnTo>
                    <a:lnTo>
                      <a:pt x="32" y="67"/>
                    </a:lnTo>
                    <a:lnTo>
                      <a:pt x="31" y="67"/>
                    </a:lnTo>
                    <a:lnTo>
                      <a:pt x="31" y="65"/>
                    </a:lnTo>
                    <a:close/>
                    <a:moveTo>
                      <a:pt x="21" y="24"/>
                    </a:moveTo>
                    <a:lnTo>
                      <a:pt x="22" y="24"/>
                    </a:lnTo>
                    <a:lnTo>
                      <a:pt x="22" y="26"/>
                    </a:lnTo>
                    <a:lnTo>
                      <a:pt x="21" y="26"/>
                    </a:lnTo>
                    <a:lnTo>
                      <a:pt x="21" y="24"/>
                    </a:lnTo>
                    <a:close/>
                    <a:moveTo>
                      <a:pt x="10" y="41"/>
                    </a:moveTo>
                    <a:lnTo>
                      <a:pt x="10" y="43"/>
                    </a:lnTo>
                    <a:lnTo>
                      <a:pt x="10" y="41"/>
                    </a:lnTo>
                    <a:close/>
                    <a:moveTo>
                      <a:pt x="89" y="62"/>
                    </a:moveTo>
                    <a:lnTo>
                      <a:pt x="90" y="62"/>
                    </a:lnTo>
                    <a:lnTo>
                      <a:pt x="89" y="62"/>
                    </a:lnTo>
                    <a:close/>
                    <a:moveTo>
                      <a:pt x="106" y="43"/>
                    </a:moveTo>
                    <a:lnTo>
                      <a:pt x="107" y="43"/>
                    </a:lnTo>
                    <a:lnTo>
                      <a:pt x="106" y="43"/>
                    </a:lnTo>
                    <a:close/>
                    <a:moveTo>
                      <a:pt x="29" y="29"/>
                    </a:moveTo>
                    <a:lnTo>
                      <a:pt x="29" y="31"/>
                    </a:lnTo>
                    <a:lnTo>
                      <a:pt x="29" y="29"/>
                    </a:lnTo>
                    <a:close/>
                    <a:moveTo>
                      <a:pt x="78" y="62"/>
                    </a:moveTo>
                    <a:lnTo>
                      <a:pt x="80" y="62"/>
                    </a:lnTo>
                    <a:lnTo>
                      <a:pt x="78" y="62"/>
                    </a:lnTo>
                    <a:close/>
                    <a:moveTo>
                      <a:pt x="61" y="68"/>
                    </a:moveTo>
                    <a:lnTo>
                      <a:pt x="61" y="70"/>
                    </a:lnTo>
                    <a:lnTo>
                      <a:pt x="61" y="68"/>
                    </a:lnTo>
                    <a:close/>
                    <a:moveTo>
                      <a:pt x="97" y="51"/>
                    </a:moveTo>
                    <a:lnTo>
                      <a:pt x="99" y="51"/>
                    </a:lnTo>
                    <a:lnTo>
                      <a:pt x="97" y="51"/>
                    </a:lnTo>
                    <a:close/>
                    <a:moveTo>
                      <a:pt x="15" y="29"/>
                    </a:moveTo>
                    <a:lnTo>
                      <a:pt x="17" y="29"/>
                    </a:lnTo>
                    <a:lnTo>
                      <a:pt x="17" y="31"/>
                    </a:lnTo>
                    <a:lnTo>
                      <a:pt x="15" y="31"/>
                    </a:lnTo>
                    <a:lnTo>
                      <a:pt x="15" y="29"/>
                    </a:lnTo>
                    <a:close/>
                    <a:moveTo>
                      <a:pt x="111" y="43"/>
                    </a:moveTo>
                    <a:lnTo>
                      <a:pt x="112" y="43"/>
                    </a:lnTo>
                    <a:lnTo>
                      <a:pt x="111" y="43"/>
                    </a:lnTo>
                    <a:close/>
                    <a:moveTo>
                      <a:pt x="61" y="39"/>
                    </a:moveTo>
                    <a:lnTo>
                      <a:pt x="63" y="39"/>
                    </a:lnTo>
                    <a:lnTo>
                      <a:pt x="61" y="39"/>
                    </a:lnTo>
                    <a:close/>
                    <a:moveTo>
                      <a:pt x="48" y="10"/>
                    </a:moveTo>
                    <a:lnTo>
                      <a:pt x="49" y="10"/>
                    </a:lnTo>
                    <a:lnTo>
                      <a:pt x="49" y="12"/>
                    </a:lnTo>
                    <a:lnTo>
                      <a:pt x="48" y="12"/>
                    </a:lnTo>
                    <a:lnTo>
                      <a:pt x="48" y="10"/>
                    </a:lnTo>
                    <a:close/>
                    <a:moveTo>
                      <a:pt x="38" y="41"/>
                    </a:moveTo>
                    <a:lnTo>
                      <a:pt x="39" y="41"/>
                    </a:lnTo>
                    <a:lnTo>
                      <a:pt x="38" y="41"/>
                    </a:lnTo>
                    <a:close/>
                    <a:moveTo>
                      <a:pt x="56" y="48"/>
                    </a:moveTo>
                    <a:lnTo>
                      <a:pt x="58" y="48"/>
                    </a:lnTo>
                    <a:lnTo>
                      <a:pt x="56" y="48"/>
                    </a:lnTo>
                    <a:close/>
                    <a:moveTo>
                      <a:pt x="51" y="17"/>
                    </a:moveTo>
                    <a:lnTo>
                      <a:pt x="51" y="19"/>
                    </a:lnTo>
                    <a:lnTo>
                      <a:pt x="51" y="17"/>
                    </a:lnTo>
                    <a:close/>
                    <a:moveTo>
                      <a:pt x="41" y="22"/>
                    </a:moveTo>
                    <a:lnTo>
                      <a:pt x="43" y="22"/>
                    </a:lnTo>
                    <a:lnTo>
                      <a:pt x="41" y="22"/>
                    </a:lnTo>
                    <a:close/>
                    <a:moveTo>
                      <a:pt x="56" y="21"/>
                    </a:moveTo>
                    <a:lnTo>
                      <a:pt x="58" y="21"/>
                    </a:lnTo>
                    <a:lnTo>
                      <a:pt x="56" y="21"/>
                    </a:lnTo>
                    <a:close/>
                    <a:moveTo>
                      <a:pt x="49" y="19"/>
                    </a:moveTo>
                    <a:lnTo>
                      <a:pt x="49" y="21"/>
                    </a:lnTo>
                    <a:lnTo>
                      <a:pt x="49" y="19"/>
                    </a:lnTo>
                    <a:close/>
                    <a:moveTo>
                      <a:pt x="9" y="41"/>
                    </a:moveTo>
                    <a:lnTo>
                      <a:pt x="9" y="43"/>
                    </a:lnTo>
                    <a:lnTo>
                      <a:pt x="9" y="41"/>
                    </a:lnTo>
                    <a:close/>
                    <a:moveTo>
                      <a:pt x="14" y="63"/>
                    </a:moveTo>
                    <a:lnTo>
                      <a:pt x="15" y="63"/>
                    </a:lnTo>
                    <a:lnTo>
                      <a:pt x="14" y="63"/>
                    </a:lnTo>
                    <a:close/>
                    <a:moveTo>
                      <a:pt x="12" y="55"/>
                    </a:moveTo>
                    <a:lnTo>
                      <a:pt x="14" y="55"/>
                    </a:lnTo>
                    <a:lnTo>
                      <a:pt x="12" y="55"/>
                    </a:lnTo>
                    <a:close/>
                    <a:moveTo>
                      <a:pt x="58" y="51"/>
                    </a:moveTo>
                    <a:lnTo>
                      <a:pt x="58" y="53"/>
                    </a:lnTo>
                    <a:lnTo>
                      <a:pt x="58" y="51"/>
                    </a:lnTo>
                    <a:close/>
                    <a:moveTo>
                      <a:pt x="82" y="79"/>
                    </a:moveTo>
                    <a:lnTo>
                      <a:pt x="83" y="79"/>
                    </a:lnTo>
                    <a:lnTo>
                      <a:pt x="82" y="79"/>
                    </a:lnTo>
                    <a:close/>
                    <a:moveTo>
                      <a:pt x="29" y="67"/>
                    </a:moveTo>
                    <a:lnTo>
                      <a:pt x="31" y="67"/>
                    </a:lnTo>
                    <a:lnTo>
                      <a:pt x="29" y="67"/>
                    </a:lnTo>
                    <a:close/>
                    <a:moveTo>
                      <a:pt x="29" y="17"/>
                    </a:moveTo>
                    <a:lnTo>
                      <a:pt x="31" y="17"/>
                    </a:lnTo>
                    <a:lnTo>
                      <a:pt x="29" y="17"/>
                    </a:lnTo>
                    <a:close/>
                    <a:moveTo>
                      <a:pt x="4" y="34"/>
                    </a:moveTo>
                    <a:lnTo>
                      <a:pt x="4" y="36"/>
                    </a:lnTo>
                    <a:lnTo>
                      <a:pt x="4" y="34"/>
                    </a:lnTo>
                    <a:close/>
                    <a:moveTo>
                      <a:pt x="7" y="43"/>
                    </a:moveTo>
                    <a:lnTo>
                      <a:pt x="9" y="43"/>
                    </a:lnTo>
                    <a:lnTo>
                      <a:pt x="7" y="43"/>
                    </a:lnTo>
                    <a:close/>
                    <a:moveTo>
                      <a:pt x="90" y="51"/>
                    </a:moveTo>
                    <a:lnTo>
                      <a:pt x="92" y="51"/>
                    </a:lnTo>
                    <a:lnTo>
                      <a:pt x="90" y="51"/>
                    </a:lnTo>
                    <a:close/>
                    <a:moveTo>
                      <a:pt x="51" y="55"/>
                    </a:moveTo>
                    <a:lnTo>
                      <a:pt x="51" y="56"/>
                    </a:lnTo>
                    <a:lnTo>
                      <a:pt x="51" y="55"/>
                    </a:lnTo>
                    <a:close/>
                    <a:moveTo>
                      <a:pt x="22" y="63"/>
                    </a:moveTo>
                    <a:lnTo>
                      <a:pt x="22" y="65"/>
                    </a:lnTo>
                    <a:lnTo>
                      <a:pt x="22" y="63"/>
                    </a:lnTo>
                    <a:close/>
                    <a:moveTo>
                      <a:pt x="53" y="21"/>
                    </a:moveTo>
                    <a:lnTo>
                      <a:pt x="55" y="21"/>
                    </a:lnTo>
                    <a:lnTo>
                      <a:pt x="53" y="21"/>
                    </a:lnTo>
                    <a:close/>
                    <a:moveTo>
                      <a:pt x="87" y="51"/>
                    </a:moveTo>
                    <a:lnTo>
                      <a:pt x="89" y="51"/>
                    </a:lnTo>
                    <a:lnTo>
                      <a:pt x="87" y="51"/>
                    </a:lnTo>
                    <a:close/>
                    <a:moveTo>
                      <a:pt x="53" y="45"/>
                    </a:moveTo>
                    <a:lnTo>
                      <a:pt x="55" y="45"/>
                    </a:lnTo>
                    <a:lnTo>
                      <a:pt x="55" y="46"/>
                    </a:lnTo>
                    <a:lnTo>
                      <a:pt x="53" y="46"/>
                    </a:lnTo>
                    <a:lnTo>
                      <a:pt x="53" y="45"/>
                    </a:lnTo>
                    <a:close/>
                    <a:moveTo>
                      <a:pt x="87" y="48"/>
                    </a:moveTo>
                    <a:lnTo>
                      <a:pt x="87" y="50"/>
                    </a:lnTo>
                    <a:lnTo>
                      <a:pt x="87" y="4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6" name="Freeform 31">
                <a:extLst>
                  <a:ext uri="{FF2B5EF4-FFF2-40B4-BE49-F238E27FC236}">
                    <a16:creationId xmlns:a16="http://schemas.microsoft.com/office/drawing/2014/main" id="{24F8747F-DACF-ADF6-8DC0-67FCE93DA038}"/>
                  </a:ext>
                </a:extLst>
              </p:cNvPr>
              <p:cNvSpPr>
                <a:spLocks noEditPoints="1"/>
              </p:cNvSpPr>
              <p:nvPr/>
            </p:nvSpPr>
            <p:spPr bwMode="auto">
              <a:xfrm>
                <a:off x="5837483" y="2889558"/>
                <a:ext cx="28784" cy="36422"/>
              </a:xfrm>
              <a:custGeom>
                <a:avLst/>
                <a:gdLst>
                  <a:gd name="T0" fmla="*/ 95 w 98"/>
                  <a:gd name="T1" fmla="*/ 59 h 124"/>
                  <a:gd name="T2" fmla="*/ 90 w 98"/>
                  <a:gd name="T3" fmla="*/ 66 h 124"/>
                  <a:gd name="T4" fmla="*/ 86 w 98"/>
                  <a:gd name="T5" fmla="*/ 73 h 124"/>
                  <a:gd name="T6" fmla="*/ 83 w 98"/>
                  <a:gd name="T7" fmla="*/ 78 h 124"/>
                  <a:gd name="T8" fmla="*/ 80 w 98"/>
                  <a:gd name="T9" fmla="*/ 83 h 124"/>
                  <a:gd name="T10" fmla="*/ 76 w 98"/>
                  <a:gd name="T11" fmla="*/ 88 h 124"/>
                  <a:gd name="T12" fmla="*/ 73 w 98"/>
                  <a:gd name="T13" fmla="*/ 93 h 124"/>
                  <a:gd name="T14" fmla="*/ 71 w 98"/>
                  <a:gd name="T15" fmla="*/ 100 h 124"/>
                  <a:gd name="T16" fmla="*/ 68 w 98"/>
                  <a:gd name="T17" fmla="*/ 105 h 124"/>
                  <a:gd name="T18" fmla="*/ 66 w 98"/>
                  <a:gd name="T19" fmla="*/ 112 h 124"/>
                  <a:gd name="T20" fmla="*/ 64 w 98"/>
                  <a:gd name="T21" fmla="*/ 115 h 124"/>
                  <a:gd name="T22" fmla="*/ 57 w 98"/>
                  <a:gd name="T23" fmla="*/ 119 h 124"/>
                  <a:gd name="T24" fmla="*/ 52 w 98"/>
                  <a:gd name="T25" fmla="*/ 122 h 124"/>
                  <a:gd name="T26" fmla="*/ 47 w 98"/>
                  <a:gd name="T27" fmla="*/ 120 h 124"/>
                  <a:gd name="T28" fmla="*/ 42 w 98"/>
                  <a:gd name="T29" fmla="*/ 117 h 124"/>
                  <a:gd name="T30" fmla="*/ 34 w 98"/>
                  <a:gd name="T31" fmla="*/ 119 h 124"/>
                  <a:gd name="T32" fmla="*/ 27 w 98"/>
                  <a:gd name="T33" fmla="*/ 117 h 124"/>
                  <a:gd name="T34" fmla="*/ 25 w 98"/>
                  <a:gd name="T35" fmla="*/ 117 h 124"/>
                  <a:gd name="T36" fmla="*/ 20 w 98"/>
                  <a:gd name="T37" fmla="*/ 117 h 124"/>
                  <a:gd name="T38" fmla="*/ 15 w 98"/>
                  <a:gd name="T39" fmla="*/ 120 h 124"/>
                  <a:gd name="T40" fmla="*/ 12 w 98"/>
                  <a:gd name="T41" fmla="*/ 122 h 124"/>
                  <a:gd name="T42" fmla="*/ 5 w 98"/>
                  <a:gd name="T43" fmla="*/ 120 h 124"/>
                  <a:gd name="T44" fmla="*/ 0 w 98"/>
                  <a:gd name="T45" fmla="*/ 117 h 124"/>
                  <a:gd name="T46" fmla="*/ 3 w 98"/>
                  <a:gd name="T47" fmla="*/ 114 h 124"/>
                  <a:gd name="T48" fmla="*/ 6 w 98"/>
                  <a:gd name="T49" fmla="*/ 109 h 124"/>
                  <a:gd name="T50" fmla="*/ 10 w 98"/>
                  <a:gd name="T51" fmla="*/ 103 h 124"/>
                  <a:gd name="T52" fmla="*/ 12 w 98"/>
                  <a:gd name="T53" fmla="*/ 97 h 124"/>
                  <a:gd name="T54" fmla="*/ 12 w 98"/>
                  <a:gd name="T55" fmla="*/ 93 h 124"/>
                  <a:gd name="T56" fmla="*/ 12 w 98"/>
                  <a:gd name="T57" fmla="*/ 88 h 124"/>
                  <a:gd name="T58" fmla="*/ 15 w 98"/>
                  <a:gd name="T59" fmla="*/ 83 h 124"/>
                  <a:gd name="T60" fmla="*/ 18 w 98"/>
                  <a:gd name="T61" fmla="*/ 78 h 124"/>
                  <a:gd name="T62" fmla="*/ 17 w 98"/>
                  <a:gd name="T63" fmla="*/ 71 h 124"/>
                  <a:gd name="T64" fmla="*/ 15 w 98"/>
                  <a:gd name="T65" fmla="*/ 68 h 124"/>
                  <a:gd name="T66" fmla="*/ 10 w 98"/>
                  <a:gd name="T67" fmla="*/ 64 h 124"/>
                  <a:gd name="T68" fmla="*/ 6 w 98"/>
                  <a:gd name="T69" fmla="*/ 59 h 124"/>
                  <a:gd name="T70" fmla="*/ 6 w 98"/>
                  <a:gd name="T71" fmla="*/ 54 h 124"/>
                  <a:gd name="T72" fmla="*/ 5 w 98"/>
                  <a:gd name="T73" fmla="*/ 47 h 124"/>
                  <a:gd name="T74" fmla="*/ 3 w 98"/>
                  <a:gd name="T75" fmla="*/ 41 h 124"/>
                  <a:gd name="T76" fmla="*/ 3 w 98"/>
                  <a:gd name="T77" fmla="*/ 35 h 124"/>
                  <a:gd name="T78" fmla="*/ 3 w 98"/>
                  <a:gd name="T79" fmla="*/ 29 h 124"/>
                  <a:gd name="T80" fmla="*/ 6 w 98"/>
                  <a:gd name="T81" fmla="*/ 22 h 124"/>
                  <a:gd name="T82" fmla="*/ 10 w 98"/>
                  <a:gd name="T83" fmla="*/ 15 h 124"/>
                  <a:gd name="T84" fmla="*/ 15 w 98"/>
                  <a:gd name="T85" fmla="*/ 10 h 124"/>
                  <a:gd name="T86" fmla="*/ 18 w 98"/>
                  <a:gd name="T87" fmla="*/ 5 h 124"/>
                  <a:gd name="T88" fmla="*/ 22 w 98"/>
                  <a:gd name="T89" fmla="*/ 1 h 124"/>
                  <a:gd name="T90" fmla="*/ 29 w 98"/>
                  <a:gd name="T91" fmla="*/ 3 h 124"/>
                  <a:gd name="T92" fmla="*/ 34 w 98"/>
                  <a:gd name="T93" fmla="*/ 6 h 124"/>
                  <a:gd name="T94" fmla="*/ 40 w 98"/>
                  <a:gd name="T95" fmla="*/ 8 h 124"/>
                  <a:gd name="T96" fmla="*/ 44 w 98"/>
                  <a:gd name="T97" fmla="*/ 6 h 124"/>
                  <a:gd name="T98" fmla="*/ 51 w 98"/>
                  <a:gd name="T99" fmla="*/ 10 h 124"/>
                  <a:gd name="T100" fmla="*/ 56 w 98"/>
                  <a:gd name="T101" fmla="*/ 12 h 124"/>
                  <a:gd name="T102" fmla="*/ 59 w 98"/>
                  <a:gd name="T103" fmla="*/ 17 h 124"/>
                  <a:gd name="T104" fmla="*/ 66 w 98"/>
                  <a:gd name="T105" fmla="*/ 22 h 124"/>
                  <a:gd name="T106" fmla="*/ 71 w 98"/>
                  <a:gd name="T107" fmla="*/ 27 h 124"/>
                  <a:gd name="T108" fmla="*/ 74 w 98"/>
                  <a:gd name="T109" fmla="*/ 29 h 124"/>
                  <a:gd name="T110" fmla="*/ 76 w 98"/>
                  <a:gd name="T111" fmla="*/ 29 h 124"/>
                  <a:gd name="T112" fmla="*/ 80 w 98"/>
                  <a:gd name="T113" fmla="*/ 30 h 124"/>
                  <a:gd name="T114" fmla="*/ 85 w 98"/>
                  <a:gd name="T115" fmla="*/ 35 h 124"/>
                  <a:gd name="T116" fmla="*/ 88 w 98"/>
                  <a:gd name="T117" fmla="*/ 37 h 124"/>
                  <a:gd name="T118" fmla="*/ 93 w 98"/>
                  <a:gd name="T119" fmla="*/ 41 h 124"/>
                  <a:gd name="T120" fmla="*/ 95 w 98"/>
                  <a:gd name="T121" fmla="*/ 47 h 124"/>
                  <a:gd name="T122" fmla="*/ 97 w 98"/>
                  <a:gd name="T123" fmla="*/ 51 h 124"/>
                  <a:gd name="T124" fmla="*/ 22 w 98"/>
                  <a:gd name="T125"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8" h="124">
                    <a:moveTo>
                      <a:pt x="98" y="56"/>
                    </a:moveTo>
                    <a:lnTo>
                      <a:pt x="98" y="58"/>
                    </a:lnTo>
                    <a:lnTo>
                      <a:pt x="97" y="58"/>
                    </a:lnTo>
                    <a:lnTo>
                      <a:pt x="97" y="59"/>
                    </a:lnTo>
                    <a:lnTo>
                      <a:pt x="95" y="59"/>
                    </a:lnTo>
                    <a:lnTo>
                      <a:pt x="93" y="61"/>
                    </a:lnTo>
                    <a:lnTo>
                      <a:pt x="93" y="63"/>
                    </a:lnTo>
                    <a:lnTo>
                      <a:pt x="93" y="64"/>
                    </a:lnTo>
                    <a:lnTo>
                      <a:pt x="91" y="64"/>
                    </a:lnTo>
                    <a:lnTo>
                      <a:pt x="90" y="66"/>
                    </a:lnTo>
                    <a:lnTo>
                      <a:pt x="88" y="68"/>
                    </a:lnTo>
                    <a:lnTo>
                      <a:pt x="88" y="69"/>
                    </a:lnTo>
                    <a:lnTo>
                      <a:pt x="86" y="69"/>
                    </a:lnTo>
                    <a:lnTo>
                      <a:pt x="86" y="71"/>
                    </a:lnTo>
                    <a:lnTo>
                      <a:pt x="86" y="73"/>
                    </a:lnTo>
                    <a:lnTo>
                      <a:pt x="85" y="73"/>
                    </a:lnTo>
                    <a:lnTo>
                      <a:pt x="85" y="75"/>
                    </a:lnTo>
                    <a:lnTo>
                      <a:pt x="85" y="76"/>
                    </a:lnTo>
                    <a:lnTo>
                      <a:pt x="83" y="76"/>
                    </a:lnTo>
                    <a:lnTo>
                      <a:pt x="83" y="78"/>
                    </a:lnTo>
                    <a:lnTo>
                      <a:pt x="81" y="78"/>
                    </a:lnTo>
                    <a:lnTo>
                      <a:pt x="81" y="80"/>
                    </a:lnTo>
                    <a:lnTo>
                      <a:pt x="81" y="81"/>
                    </a:lnTo>
                    <a:lnTo>
                      <a:pt x="80" y="81"/>
                    </a:lnTo>
                    <a:lnTo>
                      <a:pt x="80" y="83"/>
                    </a:lnTo>
                    <a:lnTo>
                      <a:pt x="80" y="85"/>
                    </a:lnTo>
                    <a:lnTo>
                      <a:pt x="78" y="85"/>
                    </a:lnTo>
                    <a:lnTo>
                      <a:pt x="76" y="85"/>
                    </a:lnTo>
                    <a:lnTo>
                      <a:pt x="76" y="86"/>
                    </a:lnTo>
                    <a:lnTo>
                      <a:pt x="76" y="88"/>
                    </a:lnTo>
                    <a:lnTo>
                      <a:pt x="74" y="88"/>
                    </a:lnTo>
                    <a:lnTo>
                      <a:pt x="74" y="90"/>
                    </a:lnTo>
                    <a:lnTo>
                      <a:pt x="74" y="92"/>
                    </a:lnTo>
                    <a:lnTo>
                      <a:pt x="74" y="93"/>
                    </a:lnTo>
                    <a:lnTo>
                      <a:pt x="73" y="93"/>
                    </a:lnTo>
                    <a:lnTo>
                      <a:pt x="73" y="95"/>
                    </a:lnTo>
                    <a:lnTo>
                      <a:pt x="73" y="97"/>
                    </a:lnTo>
                    <a:lnTo>
                      <a:pt x="71" y="97"/>
                    </a:lnTo>
                    <a:lnTo>
                      <a:pt x="71" y="98"/>
                    </a:lnTo>
                    <a:lnTo>
                      <a:pt x="71" y="100"/>
                    </a:lnTo>
                    <a:lnTo>
                      <a:pt x="69" y="100"/>
                    </a:lnTo>
                    <a:lnTo>
                      <a:pt x="69" y="102"/>
                    </a:lnTo>
                    <a:lnTo>
                      <a:pt x="69" y="103"/>
                    </a:lnTo>
                    <a:lnTo>
                      <a:pt x="68" y="103"/>
                    </a:lnTo>
                    <a:lnTo>
                      <a:pt x="68" y="105"/>
                    </a:lnTo>
                    <a:lnTo>
                      <a:pt x="68" y="107"/>
                    </a:lnTo>
                    <a:lnTo>
                      <a:pt x="68" y="109"/>
                    </a:lnTo>
                    <a:lnTo>
                      <a:pt x="68" y="110"/>
                    </a:lnTo>
                    <a:lnTo>
                      <a:pt x="66" y="110"/>
                    </a:lnTo>
                    <a:lnTo>
                      <a:pt x="66" y="112"/>
                    </a:lnTo>
                    <a:lnTo>
                      <a:pt x="64" y="112"/>
                    </a:lnTo>
                    <a:lnTo>
                      <a:pt x="66" y="112"/>
                    </a:lnTo>
                    <a:lnTo>
                      <a:pt x="64" y="112"/>
                    </a:lnTo>
                    <a:lnTo>
                      <a:pt x="64" y="114"/>
                    </a:lnTo>
                    <a:lnTo>
                      <a:pt x="64" y="115"/>
                    </a:lnTo>
                    <a:lnTo>
                      <a:pt x="63" y="115"/>
                    </a:lnTo>
                    <a:lnTo>
                      <a:pt x="61" y="115"/>
                    </a:lnTo>
                    <a:lnTo>
                      <a:pt x="59" y="117"/>
                    </a:lnTo>
                    <a:lnTo>
                      <a:pt x="57" y="117"/>
                    </a:lnTo>
                    <a:lnTo>
                      <a:pt x="57" y="119"/>
                    </a:lnTo>
                    <a:lnTo>
                      <a:pt x="56" y="119"/>
                    </a:lnTo>
                    <a:lnTo>
                      <a:pt x="56" y="120"/>
                    </a:lnTo>
                    <a:lnTo>
                      <a:pt x="54" y="120"/>
                    </a:lnTo>
                    <a:lnTo>
                      <a:pt x="54" y="122"/>
                    </a:lnTo>
                    <a:lnTo>
                      <a:pt x="52" y="122"/>
                    </a:lnTo>
                    <a:lnTo>
                      <a:pt x="52" y="120"/>
                    </a:lnTo>
                    <a:lnTo>
                      <a:pt x="51" y="120"/>
                    </a:lnTo>
                    <a:lnTo>
                      <a:pt x="49" y="120"/>
                    </a:lnTo>
                    <a:lnTo>
                      <a:pt x="49" y="119"/>
                    </a:lnTo>
                    <a:lnTo>
                      <a:pt x="47" y="120"/>
                    </a:lnTo>
                    <a:lnTo>
                      <a:pt x="46" y="120"/>
                    </a:lnTo>
                    <a:lnTo>
                      <a:pt x="44" y="120"/>
                    </a:lnTo>
                    <a:lnTo>
                      <a:pt x="44" y="119"/>
                    </a:lnTo>
                    <a:lnTo>
                      <a:pt x="44" y="117"/>
                    </a:lnTo>
                    <a:lnTo>
                      <a:pt x="42" y="117"/>
                    </a:lnTo>
                    <a:lnTo>
                      <a:pt x="40" y="117"/>
                    </a:lnTo>
                    <a:lnTo>
                      <a:pt x="39" y="117"/>
                    </a:lnTo>
                    <a:lnTo>
                      <a:pt x="37" y="117"/>
                    </a:lnTo>
                    <a:lnTo>
                      <a:pt x="35" y="119"/>
                    </a:lnTo>
                    <a:lnTo>
                      <a:pt x="34" y="119"/>
                    </a:lnTo>
                    <a:lnTo>
                      <a:pt x="32" y="119"/>
                    </a:lnTo>
                    <a:lnTo>
                      <a:pt x="32" y="117"/>
                    </a:lnTo>
                    <a:lnTo>
                      <a:pt x="30" y="117"/>
                    </a:lnTo>
                    <a:lnTo>
                      <a:pt x="29" y="117"/>
                    </a:lnTo>
                    <a:lnTo>
                      <a:pt x="27" y="117"/>
                    </a:lnTo>
                    <a:lnTo>
                      <a:pt x="27" y="115"/>
                    </a:lnTo>
                    <a:lnTo>
                      <a:pt x="25" y="115"/>
                    </a:lnTo>
                    <a:lnTo>
                      <a:pt x="23" y="115"/>
                    </a:lnTo>
                    <a:lnTo>
                      <a:pt x="23" y="117"/>
                    </a:lnTo>
                    <a:lnTo>
                      <a:pt x="25" y="117"/>
                    </a:lnTo>
                    <a:lnTo>
                      <a:pt x="23" y="117"/>
                    </a:lnTo>
                    <a:lnTo>
                      <a:pt x="22" y="117"/>
                    </a:lnTo>
                    <a:lnTo>
                      <a:pt x="22" y="119"/>
                    </a:lnTo>
                    <a:lnTo>
                      <a:pt x="20" y="119"/>
                    </a:lnTo>
                    <a:lnTo>
                      <a:pt x="20" y="117"/>
                    </a:lnTo>
                    <a:lnTo>
                      <a:pt x="20" y="119"/>
                    </a:lnTo>
                    <a:lnTo>
                      <a:pt x="20" y="120"/>
                    </a:lnTo>
                    <a:lnTo>
                      <a:pt x="18" y="120"/>
                    </a:lnTo>
                    <a:lnTo>
                      <a:pt x="17" y="120"/>
                    </a:lnTo>
                    <a:lnTo>
                      <a:pt x="15" y="120"/>
                    </a:lnTo>
                    <a:lnTo>
                      <a:pt x="15" y="122"/>
                    </a:lnTo>
                    <a:lnTo>
                      <a:pt x="15" y="124"/>
                    </a:lnTo>
                    <a:lnTo>
                      <a:pt x="13" y="124"/>
                    </a:lnTo>
                    <a:lnTo>
                      <a:pt x="13" y="122"/>
                    </a:lnTo>
                    <a:lnTo>
                      <a:pt x="12" y="122"/>
                    </a:lnTo>
                    <a:lnTo>
                      <a:pt x="10" y="122"/>
                    </a:lnTo>
                    <a:lnTo>
                      <a:pt x="8" y="122"/>
                    </a:lnTo>
                    <a:lnTo>
                      <a:pt x="6" y="122"/>
                    </a:lnTo>
                    <a:lnTo>
                      <a:pt x="6" y="120"/>
                    </a:lnTo>
                    <a:lnTo>
                      <a:pt x="5" y="120"/>
                    </a:lnTo>
                    <a:lnTo>
                      <a:pt x="3" y="120"/>
                    </a:lnTo>
                    <a:lnTo>
                      <a:pt x="1" y="119"/>
                    </a:lnTo>
                    <a:lnTo>
                      <a:pt x="0" y="119"/>
                    </a:lnTo>
                    <a:lnTo>
                      <a:pt x="1" y="117"/>
                    </a:lnTo>
                    <a:lnTo>
                      <a:pt x="0" y="117"/>
                    </a:lnTo>
                    <a:lnTo>
                      <a:pt x="1" y="115"/>
                    </a:lnTo>
                    <a:lnTo>
                      <a:pt x="1" y="117"/>
                    </a:lnTo>
                    <a:lnTo>
                      <a:pt x="1" y="115"/>
                    </a:lnTo>
                    <a:lnTo>
                      <a:pt x="1" y="114"/>
                    </a:lnTo>
                    <a:lnTo>
                      <a:pt x="3" y="114"/>
                    </a:lnTo>
                    <a:lnTo>
                      <a:pt x="3" y="112"/>
                    </a:lnTo>
                    <a:lnTo>
                      <a:pt x="5" y="112"/>
                    </a:lnTo>
                    <a:lnTo>
                      <a:pt x="5" y="110"/>
                    </a:lnTo>
                    <a:lnTo>
                      <a:pt x="6" y="110"/>
                    </a:lnTo>
                    <a:lnTo>
                      <a:pt x="6" y="109"/>
                    </a:lnTo>
                    <a:lnTo>
                      <a:pt x="6" y="107"/>
                    </a:lnTo>
                    <a:lnTo>
                      <a:pt x="8" y="107"/>
                    </a:lnTo>
                    <a:lnTo>
                      <a:pt x="8" y="105"/>
                    </a:lnTo>
                    <a:lnTo>
                      <a:pt x="8" y="103"/>
                    </a:lnTo>
                    <a:lnTo>
                      <a:pt x="10" y="103"/>
                    </a:lnTo>
                    <a:lnTo>
                      <a:pt x="10" y="102"/>
                    </a:lnTo>
                    <a:lnTo>
                      <a:pt x="12" y="102"/>
                    </a:lnTo>
                    <a:lnTo>
                      <a:pt x="12" y="100"/>
                    </a:lnTo>
                    <a:lnTo>
                      <a:pt x="12" y="98"/>
                    </a:lnTo>
                    <a:lnTo>
                      <a:pt x="12" y="97"/>
                    </a:lnTo>
                    <a:lnTo>
                      <a:pt x="12" y="95"/>
                    </a:lnTo>
                    <a:lnTo>
                      <a:pt x="13" y="95"/>
                    </a:lnTo>
                    <a:lnTo>
                      <a:pt x="12" y="93"/>
                    </a:lnTo>
                    <a:lnTo>
                      <a:pt x="13" y="93"/>
                    </a:lnTo>
                    <a:lnTo>
                      <a:pt x="12" y="93"/>
                    </a:lnTo>
                    <a:lnTo>
                      <a:pt x="12" y="92"/>
                    </a:lnTo>
                    <a:lnTo>
                      <a:pt x="12" y="90"/>
                    </a:lnTo>
                    <a:lnTo>
                      <a:pt x="12" y="88"/>
                    </a:lnTo>
                    <a:lnTo>
                      <a:pt x="12" y="90"/>
                    </a:lnTo>
                    <a:lnTo>
                      <a:pt x="12" y="88"/>
                    </a:lnTo>
                    <a:lnTo>
                      <a:pt x="12" y="86"/>
                    </a:lnTo>
                    <a:lnTo>
                      <a:pt x="13" y="86"/>
                    </a:lnTo>
                    <a:lnTo>
                      <a:pt x="13" y="85"/>
                    </a:lnTo>
                    <a:lnTo>
                      <a:pt x="13" y="83"/>
                    </a:lnTo>
                    <a:lnTo>
                      <a:pt x="15" y="83"/>
                    </a:lnTo>
                    <a:lnTo>
                      <a:pt x="17" y="83"/>
                    </a:lnTo>
                    <a:lnTo>
                      <a:pt x="17" y="81"/>
                    </a:lnTo>
                    <a:lnTo>
                      <a:pt x="17" y="80"/>
                    </a:lnTo>
                    <a:lnTo>
                      <a:pt x="18" y="80"/>
                    </a:lnTo>
                    <a:lnTo>
                      <a:pt x="18" y="78"/>
                    </a:lnTo>
                    <a:lnTo>
                      <a:pt x="18" y="76"/>
                    </a:lnTo>
                    <a:lnTo>
                      <a:pt x="18" y="75"/>
                    </a:lnTo>
                    <a:lnTo>
                      <a:pt x="18" y="73"/>
                    </a:lnTo>
                    <a:lnTo>
                      <a:pt x="18" y="71"/>
                    </a:lnTo>
                    <a:lnTo>
                      <a:pt x="17" y="71"/>
                    </a:lnTo>
                    <a:lnTo>
                      <a:pt x="17" y="73"/>
                    </a:lnTo>
                    <a:lnTo>
                      <a:pt x="17" y="71"/>
                    </a:lnTo>
                    <a:lnTo>
                      <a:pt x="15" y="71"/>
                    </a:lnTo>
                    <a:lnTo>
                      <a:pt x="15" y="69"/>
                    </a:lnTo>
                    <a:lnTo>
                      <a:pt x="15" y="68"/>
                    </a:lnTo>
                    <a:lnTo>
                      <a:pt x="15" y="66"/>
                    </a:lnTo>
                    <a:lnTo>
                      <a:pt x="13" y="66"/>
                    </a:lnTo>
                    <a:lnTo>
                      <a:pt x="12" y="66"/>
                    </a:lnTo>
                    <a:lnTo>
                      <a:pt x="12" y="64"/>
                    </a:lnTo>
                    <a:lnTo>
                      <a:pt x="10" y="64"/>
                    </a:lnTo>
                    <a:lnTo>
                      <a:pt x="10" y="63"/>
                    </a:lnTo>
                    <a:lnTo>
                      <a:pt x="8" y="63"/>
                    </a:lnTo>
                    <a:lnTo>
                      <a:pt x="8" y="61"/>
                    </a:lnTo>
                    <a:lnTo>
                      <a:pt x="8" y="59"/>
                    </a:lnTo>
                    <a:lnTo>
                      <a:pt x="6" y="59"/>
                    </a:lnTo>
                    <a:lnTo>
                      <a:pt x="6" y="58"/>
                    </a:lnTo>
                    <a:lnTo>
                      <a:pt x="6" y="56"/>
                    </a:lnTo>
                    <a:lnTo>
                      <a:pt x="8" y="56"/>
                    </a:lnTo>
                    <a:lnTo>
                      <a:pt x="8" y="54"/>
                    </a:lnTo>
                    <a:lnTo>
                      <a:pt x="6" y="54"/>
                    </a:lnTo>
                    <a:lnTo>
                      <a:pt x="5" y="54"/>
                    </a:lnTo>
                    <a:lnTo>
                      <a:pt x="5" y="52"/>
                    </a:lnTo>
                    <a:lnTo>
                      <a:pt x="5" y="51"/>
                    </a:lnTo>
                    <a:lnTo>
                      <a:pt x="5" y="49"/>
                    </a:lnTo>
                    <a:lnTo>
                      <a:pt x="5" y="47"/>
                    </a:lnTo>
                    <a:lnTo>
                      <a:pt x="3" y="47"/>
                    </a:lnTo>
                    <a:lnTo>
                      <a:pt x="3" y="46"/>
                    </a:lnTo>
                    <a:lnTo>
                      <a:pt x="3" y="44"/>
                    </a:lnTo>
                    <a:lnTo>
                      <a:pt x="3" y="42"/>
                    </a:lnTo>
                    <a:lnTo>
                      <a:pt x="3" y="41"/>
                    </a:lnTo>
                    <a:lnTo>
                      <a:pt x="5" y="41"/>
                    </a:lnTo>
                    <a:lnTo>
                      <a:pt x="5" y="39"/>
                    </a:lnTo>
                    <a:lnTo>
                      <a:pt x="3" y="39"/>
                    </a:lnTo>
                    <a:lnTo>
                      <a:pt x="3" y="37"/>
                    </a:lnTo>
                    <a:lnTo>
                      <a:pt x="3" y="35"/>
                    </a:lnTo>
                    <a:lnTo>
                      <a:pt x="3" y="34"/>
                    </a:lnTo>
                    <a:lnTo>
                      <a:pt x="3" y="32"/>
                    </a:lnTo>
                    <a:lnTo>
                      <a:pt x="3" y="30"/>
                    </a:lnTo>
                    <a:lnTo>
                      <a:pt x="1" y="29"/>
                    </a:lnTo>
                    <a:lnTo>
                      <a:pt x="3" y="29"/>
                    </a:lnTo>
                    <a:lnTo>
                      <a:pt x="3" y="27"/>
                    </a:lnTo>
                    <a:lnTo>
                      <a:pt x="3" y="25"/>
                    </a:lnTo>
                    <a:lnTo>
                      <a:pt x="5" y="23"/>
                    </a:lnTo>
                    <a:lnTo>
                      <a:pt x="5" y="22"/>
                    </a:lnTo>
                    <a:lnTo>
                      <a:pt x="6" y="22"/>
                    </a:lnTo>
                    <a:lnTo>
                      <a:pt x="6" y="20"/>
                    </a:lnTo>
                    <a:lnTo>
                      <a:pt x="8" y="18"/>
                    </a:lnTo>
                    <a:lnTo>
                      <a:pt x="8" y="17"/>
                    </a:lnTo>
                    <a:lnTo>
                      <a:pt x="10" y="17"/>
                    </a:lnTo>
                    <a:lnTo>
                      <a:pt x="10" y="15"/>
                    </a:lnTo>
                    <a:lnTo>
                      <a:pt x="12" y="15"/>
                    </a:lnTo>
                    <a:lnTo>
                      <a:pt x="13" y="13"/>
                    </a:lnTo>
                    <a:lnTo>
                      <a:pt x="13" y="12"/>
                    </a:lnTo>
                    <a:lnTo>
                      <a:pt x="15" y="12"/>
                    </a:lnTo>
                    <a:lnTo>
                      <a:pt x="15" y="10"/>
                    </a:lnTo>
                    <a:lnTo>
                      <a:pt x="17" y="10"/>
                    </a:lnTo>
                    <a:lnTo>
                      <a:pt x="17" y="8"/>
                    </a:lnTo>
                    <a:lnTo>
                      <a:pt x="18" y="8"/>
                    </a:lnTo>
                    <a:lnTo>
                      <a:pt x="18" y="6"/>
                    </a:lnTo>
                    <a:lnTo>
                      <a:pt x="18" y="5"/>
                    </a:lnTo>
                    <a:lnTo>
                      <a:pt x="18" y="3"/>
                    </a:lnTo>
                    <a:lnTo>
                      <a:pt x="18" y="1"/>
                    </a:lnTo>
                    <a:lnTo>
                      <a:pt x="20" y="1"/>
                    </a:lnTo>
                    <a:lnTo>
                      <a:pt x="20" y="0"/>
                    </a:lnTo>
                    <a:lnTo>
                      <a:pt x="22" y="1"/>
                    </a:lnTo>
                    <a:lnTo>
                      <a:pt x="23" y="1"/>
                    </a:lnTo>
                    <a:lnTo>
                      <a:pt x="25" y="1"/>
                    </a:lnTo>
                    <a:lnTo>
                      <a:pt x="27" y="1"/>
                    </a:lnTo>
                    <a:lnTo>
                      <a:pt x="27" y="3"/>
                    </a:lnTo>
                    <a:lnTo>
                      <a:pt x="29" y="3"/>
                    </a:lnTo>
                    <a:lnTo>
                      <a:pt x="30" y="3"/>
                    </a:lnTo>
                    <a:lnTo>
                      <a:pt x="30" y="5"/>
                    </a:lnTo>
                    <a:lnTo>
                      <a:pt x="32" y="5"/>
                    </a:lnTo>
                    <a:lnTo>
                      <a:pt x="34" y="5"/>
                    </a:lnTo>
                    <a:lnTo>
                      <a:pt x="34" y="6"/>
                    </a:lnTo>
                    <a:lnTo>
                      <a:pt x="35" y="6"/>
                    </a:lnTo>
                    <a:lnTo>
                      <a:pt x="37" y="6"/>
                    </a:lnTo>
                    <a:lnTo>
                      <a:pt x="39" y="6"/>
                    </a:lnTo>
                    <a:lnTo>
                      <a:pt x="40" y="6"/>
                    </a:lnTo>
                    <a:lnTo>
                      <a:pt x="40" y="8"/>
                    </a:lnTo>
                    <a:lnTo>
                      <a:pt x="42" y="8"/>
                    </a:lnTo>
                    <a:lnTo>
                      <a:pt x="44" y="8"/>
                    </a:lnTo>
                    <a:lnTo>
                      <a:pt x="42" y="8"/>
                    </a:lnTo>
                    <a:lnTo>
                      <a:pt x="42" y="6"/>
                    </a:lnTo>
                    <a:lnTo>
                      <a:pt x="44" y="6"/>
                    </a:lnTo>
                    <a:lnTo>
                      <a:pt x="44" y="8"/>
                    </a:lnTo>
                    <a:lnTo>
                      <a:pt x="46" y="8"/>
                    </a:lnTo>
                    <a:lnTo>
                      <a:pt x="47" y="8"/>
                    </a:lnTo>
                    <a:lnTo>
                      <a:pt x="49" y="10"/>
                    </a:lnTo>
                    <a:lnTo>
                      <a:pt x="51" y="10"/>
                    </a:lnTo>
                    <a:lnTo>
                      <a:pt x="52" y="12"/>
                    </a:lnTo>
                    <a:lnTo>
                      <a:pt x="52" y="10"/>
                    </a:lnTo>
                    <a:lnTo>
                      <a:pt x="54" y="10"/>
                    </a:lnTo>
                    <a:lnTo>
                      <a:pt x="54" y="12"/>
                    </a:lnTo>
                    <a:lnTo>
                      <a:pt x="56" y="12"/>
                    </a:lnTo>
                    <a:lnTo>
                      <a:pt x="56" y="13"/>
                    </a:lnTo>
                    <a:lnTo>
                      <a:pt x="57" y="13"/>
                    </a:lnTo>
                    <a:lnTo>
                      <a:pt x="57" y="15"/>
                    </a:lnTo>
                    <a:lnTo>
                      <a:pt x="59" y="15"/>
                    </a:lnTo>
                    <a:lnTo>
                      <a:pt x="59" y="17"/>
                    </a:lnTo>
                    <a:lnTo>
                      <a:pt x="61" y="17"/>
                    </a:lnTo>
                    <a:lnTo>
                      <a:pt x="61" y="18"/>
                    </a:lnTo>
                    <a:lnTo>
                      <a:pt x="63" y="18"/>
                    </a:lnTo>
                    <a:lnTo>
                      <a:pt x="64" y="20"/>
                    </a:lnTo>
                    <a:lnTo>
                      <a:pt x="66" y="22"/>
                    </a:lnTo>
                    <a:lnTo>
                      <a:pt x="68" y="23"/>
                    </a:lnTo>
                    <a:lnTo>
                      <a:pt x="69" y="23"/>
                    </a:lnTo>
                    <a:lnTo>
                      <a:pt x="69" y="25"/>
                    </a:lnTo>
                    <a:lnTo>
                      <a:pt x="71" y="25"/>
                    </a:lnTo>
                    <a:lnTo>
                      <a:pt x="71" y="27"/>
                    </a:lnTo>
                    <a:lnTo>
                      <a:pt x="73" y="27"/>
                    </a:lnTo>
                    <a:lnTo>
                      <a:pt x="73" y="29"/>
                    </a:lnTo>
                    <a:lnTo>
                      <a:pt x="74" y="29"/>
                    </a:lnTo>
                    <a:lnTo>
                      <a:pt x="73" y="29"/>
                    </a:lnTo>
                    <a:lnTo>
                      <a:pt x="74" y="29"/>
                    </a:lnTo>
                    <a:lnTo>
                      <a:pt x="74" y="27"/>
                    </a:lnTo>
                    <a:lnTo>
                      <a:pt x="76" y="27"/>
                    </a:lnTo>
                    <a:lnTo>
                      <a:pt x="76" y="29"/>
                    </a:lnTo>
                    <a:lnTo>
                      <a:pt x="78" y="29"/>
                    </a:lnTo>
                    <a:lnTo>
                      <a:pt x="76" y="29"/>
                    </a:lnTo>
                    <a:lnTo>
                      <a:pt x="78" y="30"/>
                    </a:lnTo>
                    <a:lnTo>
                      <a:pt x="76" y="30"/>
                    </a:lnTo>
                    <a:lnTo>
                      <a:pt x="78" y="32"/>
                    </a:lnTo>
                    <a:lnTo>
                      <a:pt x="78" y="30"/>
                    </a:lnTo>
                    <a:lnTo>
                      <a:pt x="80" y="30"/>
                    </a:lnTo>
                    <a:lnTo>
                      <a:pt x="80" y="32"/>
                    </a:lnTo>
                    <a:lnTo>
                      <a:pt x="81" y="32"/>
                    </a:lnTo>
                    <a:lnTo>
                      <a:pt x="81" y="34"/>
                    </a:lnTo>
                    <a:lnTo>
                      <a:pt x="83" y="34"/>
                    </a:lnTo>
                    <a:lnTo>
                      <a:pt x="85" y="35"/>
                    </a:lnTo>
                    <a:lnTo>
                      <a:pt x="86" y="35"/>
                    </a:lnTo>
                    <a:lnTo>
                      <a:pt x="86" y="37"/>
                    </a:lnTo>
                    <a:lnTo>
                      <a:pt x="86" y="39"/>
                    </a:lnTo>
                    <a:lnTo>
                      <a:pt x="88" y="39"/>
                    </a:lnTo>
                    <a:lnTo>
                      <a:pt x="88" y="37"/>
                    </a:lnTo>
                    <a:lnTo>
                      <a:pt x="90" y="37"/>
                    </a:lnTo>
                    <a:lnTo>
                      <a:pt x="91" y="37"/>
                    </a:lnTo>
                    <a:lnTo>
                      <a:pt x="91" y="39"/>
                    </a:lnTo>
                    <a:lnTo>
                      <a:pt x="93" y="39"/>
                    </a:lnTo>
                    <a:lnTo>
                      <a:pt x="93" y="41"/>
                    </a:lnTo>
                    <a:lnTo>
                      <a:pt x="93" y="42"/>
                    </a:lnTo>
                    <a:lnTo>
                      <a:pt x="93" y="44"/>
                    </a:lnTo>
                    <a:lnTo>
                      <a:pt x="95" y="44"/>
                    </a:lnTo>
                    <a:lnTo>
                      <a:pt x="95" y="46"/>
                    </a:lnTo>
                    <a:lnTo>
                      <a:pt x="95" y="47"/>
                    </a:lnTo>
                    <a:lnTo>
                      <a:pt x="97" y="46"/>
                    </a:lnTo>
                    <a:lnTo>
                      <a:pt x="95" y="47"/>
                    </a:lnTo>
                    <a:lnTo>
                      <a:pt x="95" y="49"/>
                    </a:lnTo>
                    <a:lnTo>
                      <a:pt x="97" y="49"/>
                    </a:lnTo>
                    <a:lnTo>
                      <a:pt x="97" y="51"/>
                    </a:lnTo>
                    <a:lnTo>
                      <a:pt x="97" y="52"/>
                    </a:lnTo>
                    <a:lnTo>
                      <a:pt x="98" y="52"/>
                    </a:lnTo>
                    <a:lnTo>
                      <a:pt x="98" y="54"/>
                    </a:lnTo>
                    <a:lnTo>
                      <a:pt x="98" y="56"/>
                    </a:lnTo>
                    <a:close/>
                    <a:moveTo>
                      <a:pt x="22" y="0"/>
                    </a:moveTo>
                    <a:lnTo>
                      <a:pt x="23" y="0"/>
                    </a:lnTo>
                    <a:lnTo>
                      <a:pt x="23" y="1"/>
                    </a:lnTo>
                    <a:lnTo>
                      <a:pt x="22" y="1"/>
                    </a:lnTo>
                    <a:lnTo>
                      <a:pt x="22"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2" name="Freeform 32">
                <a:extLst>
                  <a:ext uri="{FF2B5EF4-FFF2-40B4-BE49-F238E27FC236}">
                    <a16:creationId xmlns:a16="http://schemas.microsoft.com/office/drawing/2014/main" id="{06672731-41A3-3FF1-75F2-190314A020FB}"/>
                  </a:ext>
                </a:extLst>
              </p:cNvPr>
              <p:cNvSpPr>
                <a:spLocks noEditPoints="1"/>
              </p:cNvSpPr>
              <p:nvPr/>
            </p:nvSpPr>
            <p:spPr bwMode="auto">
              <a:xfrm>
                <a:off x="5765520" y="2821415"/>
                <a:ext cx="3819" cy="5581"/>
              </a:xfrm>
              <a:custGeom>
                <a:avLst/>
                <a:gdLst>
                  <a:gd name="T0" fmla="*/ 5 w 13"/>
                  <a:gd name="T1" fmla="*/ 11 h 19"/>
                  <a:gd name="T2" fmla="*/ 7 w 13"/>
                  <a:gd name="T3" fmla="*/ 11 h 19"/>
                  <a:gd name="T4" fmla="*/ 7 w 13"/>
                  <a:gd name="T5" fmla="*/ 12 h 19"/>
                  <a:gd name="T6" fmla="*/ 7 w 13"/>
                  <a:gd name="T7" fmla="*/ 14 h 19"/>
                  <a:gd name="T8" fmla="*/ 7 w 13"/>
                  <a:gd name="T9" fmla="*/ 16 h 19"/>
                  <a:gd name="T10" fmla="*/ 5 w 13"/>
                  <a:gd name="T11" fmla="*/ 17 h 19"/>
                  <a:gd name="T12" fmla="*/ 3 w 13"/>
                  <a:gd name="T13" fmla="*/ 17 h 19"/>
                  <a:gd name="T14" fmla="*/ 3 w 13"/>
                  <a:gd name="T15" fmla="*/ 19 h 19"/>
                  <a:gd name="T16" fmla="*/ 3 w 13"/>
                  <a:gd name="T17" fmla="*/ 17 h 19"/>
                  <a:gd name="T18" fmla="*/ 3 w 13"/>
                  <a:gd name="T19" fmla="*/ 19 h 19"/>
                  <a:gd name="T20" fmla="*/ 3 w 13"/>
                  <a:gd name="T21" fmla="*/ 17 h 19"/>
                  <a:gd name="T22" fmla="*/ 3 w 13"/>
                  <a:gd name="T23" fmla="*/ 19 h 19"/>
                  <a:gd name="T24" fmla="*/ 2 w 13"/>
                  <a:gd name="T25" fmla="*/ 17 h 19"/>
                  <a:gd name="T26" fmla="*/ 2 w 13"/>
                  <a:gd name="T27" fmla="*/ 19 h 19"/>
                  <a:gd name="T28" fmla="*/ 0 w 13"/>
                  <a:gd name="T29" fmla="*/ 19 h 19"/>
                  <a:gd name="T30" fmla="*/ 2 w 13"/>
                  <a:gd name="T31" fmla="*/ 17 h 19"/>
                  <a:gd name="T32" fmla="*/ 2 w 13"/>
                  <a:gd name="T33" fmla="*/ 16 h 19"/>
                  <a:gd name="T34" fmla="*/ 2 w 13"/>
                  <a:gd name="T35" fmla="*/ 14 h 19"/>
                  <a:gd name="T36" fmla="*/ 3 w 13"/>
                  <a:gd name="T37" fmla="*/ 12 h 19"/>
                  <a:gd name="T38" fmla="*/ 3 w 13"/>
                  <a:gd name="T39" fmla="*/ 11 h 19"/>
                  <a:gd name="T40" fmla="*/ 5 w 13"/>
                  <a:gd name="T41" fmla="*/ 11 h 19"/>
                  <a:gd name="T42" fmla="*/ 10 w 13"/>
                  <a:gd name="T43" fmla="*/ 0 h 19"/>
                  <a:gd name="T44" fmla="*/ 13 w 13"/>
                  <a:gd name="T45" fmla="*/ 0 h 19"/>
                  <a:gd name="T46" fmla="*/ 13 w 13"/>
                  <a:gd name="T47" fmla="*/ 4 h 19"/>
                  <a:gd name="T48" fmla="*/ 10 w 13"/>
                  <a:gd name="T49" fmla="*/ 4 h 19"/>
                  <a:gd name="T50" fmla="*/ 10 w 13"/>
                  <a:gd name="T51" fmla="*/ 0 h 19"/>
                  <a:gd name="T52" fmla="*/ 7 w 13"/>
                  <a:gd name="T53" fmla="*/ 7 h 19"/>
                  <a:gd name="T54" fmla="*/ 7 w 13"/>
                  <a:gd name="T55" fmla="*/ 9 h 19"/>
                  <a:gd name="T56" fmla="*/ 7 w 13"/>
                  <a:gd name="T57" fmla="*/ 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 h="19">
                    <a:moveTo>
                      <a:pt x="5" y="11"/>
                    </a:moveTo>
                    <a:lnTo>
                      <a:pt x="7" y="11"/>
                    </a:lnTo>
                    <a:lnTo>
                      <a:pt x="7" y="12"/>
                    </a:lnTo>
                    <a:lnTo>
                      <a:pt x="7" y="14"/>
                    </a:lnTo>
                    <a:lnTo>
                      <a:pt x="7" y="16"/>
                    </a:lnTo>
                    <a:lnTo>
                      <a:pt x="5" y="17"/>
                    </a:lnTo>
                    <a:lnTo>
                      <a:pt x="3" y="17"/>
                    </a:lnTo>
                    <a:lnTo>
                      <a:pt x="3" y="19"/>
                    </a:lnTo>
                    <a:lnTo>
                      <a:pt x="3" y="17"/>
                    </a:lnTo>
                    <a:lnTo>
                      <a:pt x="3" y="19"/>
                    </a:lnTo>
                    <a:lnTo>
                      <a:pt x="3" y="17"/>
                    </a:lnTo>
                    <a:lnTo>
                      <a:pt x="3" y="19"/>
                    </a:lnTo>
                    <a:lnTo>
                      <a:pt x="2" y="17"/>
                    </a:lnTo>
                    <a:lnTo>
                      <a:pt x="2" y="19"/>
                    </a:lnTo>
                    <a:lnTo>
                      <a:pt x="0" y="19"/>
                    </a:lnTo>
                    <a:lnTo>
                      <a:pt x="2" y="17"/>
                    </a:lnTo>
                    <a:lnTo>
                      <a:pt x="2" y="16"/>
                    </a:lnTo>
                    <a:lnTo>
                      <a:pt x="2" y="14"/>
                    </a:lnTo>
                    <a:lnTo>
                      <a:pt x="3" y="12"/>
                    </a:lnTo>
                    <a:lnTo>
                      <a:pt x="3" y="11"/>
                    </a:lnTo>
                    <a:lnTo>
                      <a:pt x="5" y="11"/>
                    </a:lnTo>
                    <a:close/>
                    <a:moveTo>
                      <a:pt x="10" y="0"/>
                    </a:moveTo>
                    <a:lnTo>
                      <a:pt x="13" y="0"/>
                    </a:lnTo>
                    <a:lnTo>
                      <a:pt x="13" y="4"/>
                    </a:lnTo>
                    <a:lnTo>
                      <a:pt x="10" y="4"/>
                    </a:lnTo>
                    <a:lnTo>
                      <a:pt x="10" y="0"/>
                    </a:lnTo>
                    <a:close/>
                    <a:moveTo>
                      <a:pt x="7" y="7"/>
                    </a:moveTo>
                    <a:lnTo>
                      <a:pt x="7" y="9"/>
                    </a:lnTo>
                    <a:lnTo>
                      <a:pt x="7" y="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8" name="Freeform 35">
                <a:extLst>
                  <a:ext uri="{FF2B5EF4-FFF2-40B4-BE49-F238E27FC236}">
                    <a16:creationId xmlns:a16="http://schemas.microsoft.com/office/drawing/2014/main" id="{2C2C04CE-0F63-47A7-AC2F-3E7C6D314921}"/>
                  </a:ext>
                </a:extLst>
              </p:cNvPr>
              <p:cNvSpPr>
                <a:spLocks noEditPoints="1"/>
              </p:cNvSpPr>
              <p:nvPr/>
            </p:nvSpPr>
            <p:spPr bwMode="auto">
              <a:xfrm>
                <a:off x="5769340" y="2861949"/>
                <a:ext cx="42589" cy="72842"/>
              </a:xfrm>
              <a:custGeom>
                <a:avLst/>
                <a:gdLst>
                  <a:gd name="T0" fmla="*/ 140 w 145"/>
                  <a:gd name="T1" fmla="*/ 112 h 248"/>
                  <a:gd name="T2" fmla="*/ 138 w 145"/>
                  <a:gd name="T3" fmla="*/ 117 h 248"/>
                  <a:gd name="T4" fmla="*/ 128 w 145"/>
                  <a:gd name="T5" fmla="*/ 119 h 248"/>
                  <a:gd name="T6" fmla="*/ 118 w 145"/>
                  <a:gd name="T7" fmla="*/ 128 h 248"/>
                  <a:gd name="T8" fmla="*/ 116 w 145"/>
                  <a:gd name="T9" fmla="*/ 140 h 248"/>
                  <a:gd name="T10" fmla="*/ 114 w 145"/>
                  <a:gd name="T11" fmla="*/ 153 h 248"/>
                  <a:gd name="T12" fmla="*/ 123 w 145"/>
                  <a:gd name="T13" fmla="*/ 165 h 248"/>
                  <a:gd name="T14" fmla="*/ 128 w 145"/>
                  <a:gd name="T15" fmla="*/ 177 h 248"/>
                  <a:gd name="T16" fmla="*/ 133 w 145"/>
                  <a:gd name="T17" fmla="*/ 192 h 248"/>
                  <a:gd name="T18" fmla="*/ 128 w 145"/>
                  <a:gd name="T19" fmla="*/ 199 h 248"/>
                  <a:gd name="T20" fmla="*/ 119 w 145"/>
                  <a:gd name="T21" fmla="*/ 206 h 248"/>
                  <a:gd name="T22" fmla="*/ 118 w 145"/>
                  <a:gd name="T23" fmla="*/ 214 h 248"/>
                  <a:gd name="T24" fmla="*/ 118 w 145"/>
                  <a:gd name="T25" fmla="*/ 226 h 248"/>
                  <a:gd name="T26" fmla="*/ 106 w 145"/>
                  <a:gd name="T27" fmla="*/ 231 h 248"/>
                  <a:gd name="T28" fmla="*/ 99 w 145"/>
                  <a:gd name="T29" fmla="*/ 240 h 248"/>
                  <a:gd name="T30" fmla="*/ 94 w 145"/>
                  <a:gd name="T31" fmla="*/ 245 h 248"/>
                  <a:gd name="T32" fmla="*/ 84 w 145"/>
                  <a:gd name="T33" fmla="*/ 245 h 248"/>
                  <a:gd name="T34" fmla="*/ 70 w 145"/>
                  <a:gd name="T35" fmla="*/ 238 h 248"/>
                  <a:gd name="T36" fmla="*/ 62 w 145"/>
                  <a:gd name="T37" fmla="*/ 231 h 248"/>
                  <a:gd name="T38" fmla="*/ 57 w 145"/>
                  <a:gd name="T39" fmla="*/ 220 h 248"/>
                  <a:gd name="T40" fmla="*/ 51 w 145"/>
                  <a:gd name="T41" fmla="*/ 208 h 248"/>
                  <a:gd name="T42" fmla="*/ 48 w 145"/>
                  <a:gd name="T43" fmla="*/ 192 h 248"/>
                  <a:gd name="T44" fmla="*/ 51 w 145"/>
                  <a:gd name="T45" fmla="*/ 180 h 248"/>
                  <a:gd name="T46" fmla="*/ 53 w 145"/>
                  <a:gd name="T47" fmla="*/ 172 h 248"/>
                  <a:gd name="T48" fmla="*/ 58 w 145"/>
                  <a:gd name="T49" fmla="*/ 162 h 248"/>
                  <a:gd name="T50" fmla="*/ 60 w 145"/>
                  <a:gd name="T51" fmla="*/ 152 h 248"/>
                  <a:gd name="T52" fmla="*/ 57 w 145"/>
                  <a:gd name="T53" fmla="*/ 141 h 248"/>
                  <a:gd name="T54" fmla="*/ 46 w 145"/>
                  <a:gd name="T55" fmla="*/ 138 h 248"/>
                  <a:gd name="T56" fmla="*/ 46 w 145"/>
                  <a:gd name="T57" fmla="*/ 128 h 248"/>
                  <a:gd name="T58" fmla="*/ 43 w 145"/>
                  <a:gd name="T59" fmla="*/ 112 h 248"/>
                  <a:gd name="T60" fmla="*/ 31 w 145"/>
                  <a:gd name="T61" fmla="*/ 112 h 248"/>
                  <a:gd name="T62" fmla="*/ 0 w 145"/>
                  <a:gd name="T63" fmla="*/ 89 h 248"/>
                  <a:gd name="T64" fmla="*/ 9 w 145"/>
                  <a:gd name="T65" fmla="*/ 77 h 248"/>
                  <a:gd name="T66" fmla="*/ 7 w 145"/>
                  <a:gd name="T67" fmla="*/ 66 h 248"/>
                  <a:gd name="T68" fmla="*/ 16 w 145"/>
                  <a:gd name="T69" fmla="*/ 61 h 248"/>
                  <a:gd name="T70" fmla="*/ 24 w 145"/>
                  <a:gd name="T71" fmla="*/ 58 h 248"/>
                  <a:gd name="T72" fmla="*/ 36 w 145"/>
                  <a:gd name="T73" fmla="*/ 51 h 248"/>
                  <a:gd name="T74" fmla="*/ 29 w 145"/>
                  <a:gd name="T75" fmla="*/ 46 h 248"/>
                  <a:gd name="T76" fmla="*/ 26 w 145"/>
                  <a:gd name="T77" fmla="*/ 32 h 248"/>
                  <a:gd name="T78" fmla="*/ 38 w 145"/>
                  <a:gd name="T79" fmla="*/ 22 h 248"/>
                  <a:gd name="T80" fmla="*/ 50 w 145"/>
                  <a:gd name="T81" fmla="*/ 10 h 248"/>
                  <a:gd name="T82" fmla="*/ 53 w 145"/>
                  <a:gd name="T83" fmla="*/ 5 h 248"/>
                  <a:gd name="T84" fmla="*/ 63 w 145"/>
                  <a:gd name="T85" fmla="*/ 9 h 248"/>
                  <a:gd name="T86" fmla="*/ 79 w 145"/>
                  <a:gd name="T87" fmla="*/ 17 h 248"/>
                  <a:gd name="T88" fmla="*/ 91 w 145"/>
                  <a:gd name="T89" fmla="*/ 32 h 248"/>
                  <a:gd name="T90" fmla="*/ 99 w 145"/>
                  <a:gd name="T91" fmla="*/ 44 h 248"/>
                  <a:gd name="T92" fmla="*/ 96 w 145"/>
                  <a:gd name="T93" fmla="*/ 61 h 248"/>
                  <a:gd name="T94" fmla="*/ 94 w 145"/>
                  <a:gd name="T95" fmla="*/ 73 h 248"/>
                  <a:gd name="T96" fmla="*/ 97 w 145"/>
                  <a:gd name="T97" fmla="*/ 61 h 248"/>
                  <a:gd name="T98" fmla="*/ 111 w 145"/>
                  <a:gd name="T99" fmla="*/ 58 h 248"/>
                  <a:gd name="T100" fmla="*/ 125 w 145"/>
                  <a:gd name="T101" fmla="*/ 66 h 248"/>
                  <a:gd name="T102" fmla="*/ 135 w 145"/>
                  <a:gd name="T103" fmla="*/ 75 h 248"/>
                  <a:gd name="T104" fmla="*/ 145 w 145"/>
                  <a:gd name="T105" fmla="*/ 87 h 248"/>
                  <a:gd name="T106" fmla="*/ 99 w 145"/>
                  <a:gd name="T107" fmla="*/ 56 h 248"/>
                  <a:gd name="T108" fmla="*/ 102 w 145"/>
                  <a:gd name="T109" fmla="*/ 53 h 248"/>
                  <a:gd name="T110" fmla="*/ 101 w 145"/>
                  <a:gd name="T111" fmla="*/ 53 h 248"/>
                  <a:gd name="T112" fmla="*/ 99 w 145"/>
                  <a:gd name="T113" fmla="*/ 49 h 248"/>
                  <a:gd name="T114" fmla="*/ 97 w 145"/>
                  <a:gd name="T115" fmla="*/ 53 h 248"/>
                  <a:gd name="T116" fmla="*/ 97 w 145"/>
                  <a:gd name="T117" fmla="*/ 60 h 248"/>
                  <a:gd name="T118" fmla="*/ 94 w 145"/>
                  <a:gd name="T119" fmla="*/ 6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5" h="248">
                    <a:moveTo>
                      <a:pt x="143" y="97"/>
                    </a:moveTo>
                    <a:lnTo>
                      <a:pt x="143" y="99"/>
                    </a:lnTo>
                    <a:lnTo>
                      <a:pt x="142" y="100"/>
                    </a:lnTo>
                    <a:lnTo>
                      <a:pt x="142" y="102"/>
                    </a:lnTo>
                    <a:lnTo>
                      <a:pt x="140" y="104"/>
                    </a:lnTo>
                    <a:lnTo>
                      <a:pt x="140" y="106"/>
                    </a:lnTo>
                    <a:lnTo>
                      <a:pt x="140" y="107"/>
                    </a:lnTo>
                    <a:lnTo>
                      <a:pt x="138" y="107"/>
                    </a:lnTo>
                    <a:lnTo>
                      <a:pt x="138" y="109"/>
                    </a:lnTo>
                    <a:lnTo>
                      <a:pt x="140" y="109"/>
                    </a:lnTo>
                    <a:lnTo>
                      <a:pt x="140" y="111"/>
                    </a:lnTo>
                    <a:lnTo>
                      <a:pt x="140" y="112"/>
                    </a:lnTo>
                    <a:lnTo>
                      <a:pt x="140" y="111"/>
                    </a:lnTo>
                    <a:lnTo>
                      <a:pt x="142" y="111"/>
                    </a:lnTo>
                    <a:lnTo>
                      <a:pt x="142" y="112"/>
                    </a:lnTo>
                    <a:lnTo>
                      <a:pt x="143" y="112"/>
                    </a:lnTo>
                    <a:lnTo>
                      <a:pt x="143" y="114"/>
                    </a:lnTo>
                    <a:lnTo>
                      <a:pt x="142" y="114"/>
                    </a:lnTo>
                    <a:lnTo>
                      <a:pt x="142" y="116"/>
                    </a:lnTo>
                    <a:lnTo>
                      <a:pt x="142" y="114"/>
                    </a:lnTo>
                    <a:lnTo>
                      <a:pt x="140" y="114"/>
                    </a:lnTo>
                    <a:lnTo>
                      <a:pt x="138" y="114"/>
                    </a:lnTo>
                    <a:lnTo>
                      <a:pt x="138" y="116"/>
                    </a:lnTo>
                    <a:lnTo>
                      <a:pt x="138" y="117"/>
                    </a:lnTo>
                    <a:lnTo>
                      <a:pt x="140" y="117"/>
                    </a:lnTo>
                    <a:lnTo>
                      <a:pt x="140" y="119"/>
                    </a:lnTo>
                    <a:lnTo>
                      <a:pt x="138" y="119"/>
                    </a:lnTo>
                    <a:lnTo>
                      <a:pt x="136" y="119"/>
                    </a:lnTo>
                    <a:lnTo>
                      <a:pt x="135" y="119"/>
                    </a:lnTo>
                    <a:lnTo>
                      <a:pt x="135" y="121"/>
                    </a:lnTo>
                    <a:lnTo>
                      <a:pt x="135" y="119"/>
                    </a:lnTo>
                    <a:lnTo>
                      <a:pt x="133" y="119"/>
                    </a:lnTo>
                    <a:lnTo>
                      <a:pt x="133" y="121"/>
                    </a:lnTo>
                    <a:lnTo>
                      <a:pt x="131" y="119"/>
                    </a:lnTo>
                    <a:lnTo>
                      <a:pt x="130" y="119"/>
                    </a:lnTo>
                    <a:lnTo>
                      <a:pt x="128" y="119"/>
                    </a:lnTo>
                    <a:lnTo>
                      <a:pt x="128" y="121"/>
                    </a:lnTo>
                    <a:lnTo>
                      <a:pt x="126" y="119"/>
                    </a:lnTo>
                    <a:lnTo>
                      <a:pt x="125" y="119"/>
                    </a:lnTo>
                    <a:lnTo>
                      <a:pt x="125" y="121"/>
                    </a:lnTo>
                    <a:lnTo>
                      <a:pt x="123" y="121"/>
                    </a:lnTo>
                    <a:lnTo>
                      <a:pt x="123" y="123"/>
                    </a:lnTo>
                    <a:lnTo>
                      <a:pt x="121" y="123"/>
                    </a:lnTo>
                    <a:lnTo>
                      <a:pt x="119" y="123"/>
                    </a:lnTo>
                    <a:lnTo>
                      <a:pt x="119" y="124"/>
                    </a:lnTo>
                    <a:lnTo>
                      <a:pt x="118" y="124"/>
                    </a:lnTo>
                    <a:lnTo>
                      <a:pt x="118" y="126"/>
                    </a:lnTo>
                    <a:lnTo>
                      <a:pt x="118" y="128"/>
                    </a:lnTo>
                    <a:lnTo>
                      <a:pt x="119" y="128"/>
                    </a:lnTo>
                    <a:lnTo>
                      <a:pt x="119" y="129"/>
                    </a:lnTo>
                    <a:lnTo>
                      <a:pt x="121" y="129"/>
                    </a:lnTo>
                    <a:lnTo>
                      <a:pt x="121" y="131"/>
                    </a:lnTo>
                    <a:lnTo>
                      <a:pt x="121" y="133"/>
                    </a:lnTo>
                    <a:lnTo>
                      <a:pt x="119" y="133"/>
                    </a:lnTo>
                    <a:lnTo>
                      <a:pt x="119" y="135"/>
                    </a:lnTo>
                    <a:lnTo>
                      <a:pt x="119" y="136"/>
                    </a:lnTo>
                    <a:lnTo>
                      <a:pt x="118" y="136"/>
                    </a:lnTo>
                    <a:lnTo>
                      <a:pt x="118" y="138"/>
                    </a:lnTo>
                    <a:lnTo>
                      <a:pt x="118" y="140"/>
                    </a:lnTo>
                    <a:lnTo>
                      <a:pt x="116" y="140"/>
                    </a:lnTo>
                    <a:lnTo>
                      <a:pt x="116" y="141"/>
                    </a:lnTo>
                    <a:lnTo>
                      <a:pt x="118" y="141"/>
                    </a:lnTo>
                    <a:lnTo>
                      <a:pt x="118" y="143"/>
                    </a:lnTo>
                    <a:lnTo>
                      <a:pt x="116" y="143"/>
                    </a:lnTo>
                    <a:lnTo>
                      <a:pt x="116" y="145"/>
                    </a:lnTo>
                    <a:lnTo>
                      <a:pt x="114" y="145"/>
                    </a:lnTo>
                    <a:lnTo>
                      <a:pt x="114" y="146"/>
                    </a:lnTo>
                    <a:lnTo>
                      <a:pt x="114" y="148"/>
                    </a:lnTo>
                    <a:lnTo>
                      <a:pt x="113" y="148"/>
                    </a:lnTo>
                    <a:lnTo>
                      <a:pt x="114" y="150"/>
                    </a:lnTo>
                    <a:lnTo>
                      <a:pt x="114" y="152"/>
                    </a:lnTo>
                    <a:lnTo>
                      <a:pt x="114" y="153"/>
                    </a:lnTo>
                    <a:lnTo>
                      <a:pt x="114" y="155"/>
                    </a:lnTo>
                    <a:lnTo>
                      <a:pt x="116" y="155"/>
                    </a:lnTo>
                    <a:lnTo>
                      <a:pt x="116" y="157"/>
                    </a:lnTo>
                    <a:lnTo>
                      <a:pt x="118" y="157"/>
                    </a:lnTo>
                    <a:lnTo>
                      <a:pt x="118" y="158"/>
                    </a:lnTo>
                    <a:lnTo>
                      <a:pt x="119" y="158"/>
                    </a:lnTo>
                    <a:lnTo>
                      <a:pt x="119" y="160"/>
                    </a:lnTo>
                    <a:lnTo>
                      <a:pt x="119" y="162"/>
                    </a:lnTo>
                    <a:lnTo>
                      <a:pt x="121" y="162"/>
                    </a:lnTo>
                    <a:lnTo>
                      <a:pt x="121" y="163"/>
                    </a:lnTo>
                    <a:lnTo>
                      <a:pt x="121" y="165"/>
                    </a:lnTo>
                    <a:lnTo>
                      <a:pt x="123" y="165"/>
                    </a:lnTo>
                    <a:lnTo>
                      <a:pt x="123" y="167"/>
                    </a:lnTo>
                    <a:lnTo>
                      <a:pt x="125" y="167"/>
                    </a:lnTo>
                    <a:lnTo>
                      <a:pt x="125" y="169"/>
                    </a:lnTo>
                    <a:lnTo>
                      <a:pt x="126" y="169"/>
                    </a:lnTo>
                    <a:lnTo>
                      <a:pt x="128" y="169"/>
                    </a:lnTo>
                    <a:lnTo>
                      <a:pt x="128" y="170"/>
                    </a:lnTo>
                    <a:lnTo>
                      <a:pt x="126" y="170"/>
                    </a:lnTo>
                    <a:lnTo>
                      <a:pt x="126" y="172"/>
                    </a:lnTo>
                    <a:lnTo>
                      <a:pt x="126" y="174"/>
                    </a:lnTo>
                    <a:lnTo>
                      <a:pt x="126" y="175"/>
                    </a:lnTo>
                    <a:lnTo>
                      <a:pt x="128" y="175"/>
                    </a:lnTo>
                    <a:lnTo>
                      <a:pt x="128" y="177"/>
                    </a:lnTo>
                    <a:lnTo>
                      <a:pt x="130" y="177"/>
                    </a:lnTo>
                    <a:lnTo>
                      <a:pt x="128" y="179"/>
                    </a:lnTo>
                    <a:lnTo>
                      <a:pt x="128" y="180"/>
                    </a:lnTo>
                    <a:lnTo>
                      <a:pt x="128" y="182"/>
                    </a:lnTo>
                    <a:lnTo>
                      <a:pt x="128" y="184"/>
                    </a:lnTo>
                    <a:lnTo>
                      <a:pt x="130" y="184"/>
                    </a:lnTo>
                    <a:lnTo>
                      <a:pt x="130" y="186"/>
                    </a:lnTo>
                    <a:lnTo>
                      <a:pt x="131" y="187"/>
                    </a:lnTo>
                    <a:lnTo>
                      <a:pt x="133" y="187"/>
                    </a:lnTo>
                    <a:lnTo>
                      <a:pt x="133" y="189"/>
                    </a:lnTo>
                    <a:lnTo>
                      <a:pt x="133" y="191"/>
                    </a:lnTo>
                    <a:lnTo>
                      <a:pt x="133" y="192"/>
                    </a:lnTo>
                    <a:lnTo>
                      <a:pt x="133" y="191"/>
                    </a:lnTo>
                    <a:lnTo>
                      <a:pt x="133" y="192"/>
                    </a:lnTo>
                    <a:lnTo>
                      <a:pt x="135" y="191"/>
                    </a:lnTo>
                    <a:lnTo>
                      <a:pt x="135" y="192"/>
                    </a:lnTo>
                    <a:lnTo>
                      <a:pt x="135" y="194"/>
                    </a:lnTo>
                    <a:lnTo>
                      <a:pt x="135" y="196"/>
                    </a:lnTo>
                    <a:lnTo>
                      <a:pt x="133" y="196"/>
                    </a:lnTo>
                    <a:lnTo>
                      <a:pt x="133" y="197"/>
                    </a:lnTo>
                    <a:lnTo>
                      <a:pt x="131" y="197"/>
                    </a:lnTo>
                    <a:lnTo>
                      <a:pt x="130" y="197"/>
                    </a:lnTo>
                    <a:lnTo>
                      <a:pt x="130" y="199"/>
                    </a:lnTo>
                    <a:lnTo>
                      <a:pt x="128" y="199"/>
                    </a:lnTo>
                    <a:lnTo>
                      <a:pt x="128" y="197"/>
                    </a:lnTo>
                    <a:lnTo>
                      <a:pt x="128" y="199"/>
                    </a:lnTo>
                    <a:lnTo>
                      <a:pt x="128" y="201"/>
                    </a:lnTo>
                    <a:lnTo>
                      <a:pt x="126" y="199"/>
                    </a:lnTo>
                    <a:lnTo>
                      <a:pt x="126" y="201"/>
                    </a:lnTo>
                    <a:lnTo>
                      <a:pt x="125" y="201"/>
                    </a:lnTo>
                    <a:lnTo>
                      <a:pt x="123" y="201"/>
                    </a:lnTo>
                    <a:lnTo>
                      <a:pt x="123" y="203"/>
                    </a:lnTo>
                    <a:lnTo>
                      <a:pt x="123" y="204"/>
                    </a:lnTo>
                    <a:lnTo>
                      <a:pt x="123" y="206"/>
                    </a:lnTo>
                    <a:lnTo>
                      <a:pt x="121" y="206"/>
                    </a:lnTo>
                    <a:lnTo>
                      <a:pt x="119" y="206"/>
                    </a:lnTo>
                    <a:lnTo>
                      <a:pt x="119" y="208"/>
                    </a:lnTo>
                    <a:lnTo>
                      <a:pt x="118" y="208"/>
                    </a:lnTo>
                    <a:lnTo>
                      <a:pt x="118" y="209"/>
                    </a:lnTo>
                    <a:lnTo>
                      <a:pt x="119" y="209"/>
                    </a:lnTo>
                    <a:lnTo>
                      <a:pt x="119" y="208"/>
                    </a:lnTo>
                    <a:lnTo>
                      <a:pt x="121" y="209"/>
                    </a:lnTo>
                    <a:lnTo>
                      <a:pt x="119" y="209"/>
                    </a:lnTo>
                    <a:lnTo>
                      <a:pt x="119" y="211"/>
                    </a:lnTo>
                    <a:lnTo>
                      <a:pt x="118" y="211"/>
                    </a:lnTo>
                    <a:lnTo>
                      <a:pt x="119" y="213"/>
                    </a:lnTo>
                    <a:lnTo>
                      <a:pt x="118" y="213"/>
                    </a:lnTo>
                    <a:lnTo>
                      <a:pt x="118" y="214"/>
                    </a:lnTo>
                    <a:lnTo>
                      <a:pt x="118" y="216"/>
                    </a:lnTo>
                    <a:lnTo>
                      <a:pt x="119" y="216"/>
                    </a:lnTo>
                    <a:lnTo>
                      <a:pt x="118" y="218"/>
                    </a:lnTo>
                    <a:lnTo>
                      <a:pt x="119" y="218"/>
                    </a:lnTo>
                    <a:lnTo>
                      <a:pt x="118" y="218"/>
                    </a:lnTo>
                    <a:lnTo>
                      <a:pt x="118" y="220"/>
                    </a:lnTo>
                    <a:lnTo>
                      <a:pt x="119" y="220"/>
                    </a:lnTo>
                    <a:lnTo>
                      <a:pt x="118" y="220"/>
                    </a:lnTo>
                    <a:lnTo>
                      <a:pt x="118" y="221"/>
                    </a:lnTo>
                    <a:lnTo>
                      <a:pt x="118" y="223"/>
                    </a:lnTo>
                    <a:lnTo>
                      <a:pt x="118" y="225"/>
                    </a:lnTo>
                    <a:lnTo>
                      <a:pt x="118" y="226"/>
                    </a:lnTo>
                    <a:lnTo>
                      <a:pt x="118" y="228"/>
                    </a:lnTo>
                    <a:lnTo>
                      <a:pt x="116" y="228"/>
                    </a:lnTo>
                    <a:lnTo>
                      <a:pt x="114" y="228"/>
                    </a:lnTo>
                    <a:lnTo>
                      <a:pt x="113" y="228"/>
                    </a:lnTo>
                    <a:lnTo>
                      <a:pt x="111" y="228"/>
                    </a:lnTo>
                    <a:lnTo>
                      <a:pt x="109" y="228"/>
                    </a:lnTo>
                    <a:lnTo>
                      <a:pt x="108" y="228"/>
                    </a:lnTo>
                    <a:lnTo>
                      <a:pt x="108" y="230"/>
                    </a:lnTo>
                    <a:lnTo>
                      <a:pt x="108" y="228"/>
                    </a:lnTo>
                    <a:lnTo>
                      <a:pt x="108" y="230"/>
                    </a:lnTo>
                    <a:lnTo>
                      <a:pt x="108" y="231"/>
                    </a:lnTo>
                    <a:lnTo>
                      <a:pt x="106" y="231"/>
                    </a:lnTo>
                    <a:lnTo>
                      <a:pt x="106" y="233"/>
                    </a:lnTo>
                    <a:lnTo>
                      <a:pt x="104" y="233"/>
                    </a:lnTo>
                    <a:lnTo>
                      <a:pt x="104" y="235"/>
                    </a:lnTo>
                    <a:lnTo>
                      <a:pt x="104" y="237"/>
                    </a:lnTo>
                    <a:lnTo>
                      <a:pt x="102" y="237"/>
                    </a:lnTo>
                    <a:lnTo>
                      <a:pt x="102" y="238"/>
                    </a:lnTo>
                    <a:lnTo>
                      <a:pt x="102" y="240"/>
                    </a:lnTo>
                    <a:lnTo>
                      <a:pt x="101" y="238"/>
                    </a:lnTo>
                    <a:lnTo>
                      <a:pt x="101" y="240"/>
                    </a:lnTo>
                    <a:lnTo>
                      <a:pt x="99" y="240"/>
                    </a:lnTo>
                    <a:lnTo>
                      <a:pt x="97" y="240"/>
                    </a:lnTo>
                    <a:lnTo>
                      <a:pt x="99" y="240"/>
                    </a:lnTo>
                    <a:lnTo>
                      <a:pt x="97" y="242"/>
                    </a:lnTo>
                    <a:lnTo>
                      <a:pt x="99" y="242"/>
                    </a:lnTo>
                    <a:lnTo>
                      <a:pt x="99" y="243"/>
                    </a:lnTo>
                    <a:lnTo>
                      <a:pt x="99" y="245"/>
                    </a:lnTo>
                    <a:lnTo>
                      <a:pt x="99" y="247"/>
                    </a:lnTo>
                    <a:lnTo>
                      <a:pt x="97" y="245"/>
                    </a:lnTo>
                    <a:lnTo>
                      <a:pt x="97" y="247"/>
                    </a:lnTo>
                    <a:lnTo>
                      <a:pt x="97" y="245"/>
                    </a:lnTo>
                    <a:lnTo>
                      <a:pt x="96" y="245"/>
                    </a:lnTo>
                    <a:lnTo>
                      <a:pt x="96" y="247"/>
                    </a:lnTo>
                    <a:lnTo>
                      <a:pt x="96" y="245"/>
                    </a:lnTo>
                    <a:lnTo>
                      <a:pt x="94" y="245"/>
                    </a:lnTo>
                    <a:lnTo>
                      <a:pt x="92" y="245"/>
                    </a:lnTo>
                    <a:lnTo>
                      <a:pt x="91" y="245"/>
                    </a:lnTo>
                    <a:lnTo>
                      <a:pt x="91" y="247"/>
                    </a:lnTo>
                    <a:lnTo>
                      <a:pt x="91" y="248"/>
                    </a:lnTo>
                    <a:lnTo>
                      <a:pt x="89" y="248"/>
                    </a:lnTo>
                    <a:lnTo>
                      <a:pt x="87" y="248"/>
                    </a:lnTo>
                    <a:lnTo>
                      <a:pt x="85" y="248"/>
                    </a:lnTo>
                    <a:lnTo>
                      <a:pt x="85" y="247"/>
                    </a:lnTo>
                    <a:lnTo>
                      <a:pt x="84" y="247"/>
                    </a:lnTo>
                    <a:lnTo>
                      <a:pt x="85" y="247"/>
                    </a:lnTo>
                    <a:lnTo>
                      <a:pt x="85" y="245"/>
                    </a:lnTo>
                    <a:lnTo>
                      <a:pt x="84" y="245"/>
                    </a:lnTo>
                    <a:lnTo>
                      <a:pt x="82" y="245"/>
                    </a:lnTo>
                    <a:lnTo>
                      <a:pt x="82" y="243"/>
                    </a:lnTo>
                    <a:lnTo>
                      <a:pt x="80" y="243"/>
                    </a:lnTo>
                    <a:lnTo>
                      <a:pt x="79" y="243"/>
                    </a:lnTo>
                    <a:lnTo>
                      <a:pt x="77" y="243"/>
                    </a:lnTo>
                    <a:lnTo>
                      <a:pt x="75" y="243"/>
                    </a:lnTo>
                    <a:lnTo>
                      <a:pt x="75" y="242"/>
                    </a:lnTo>
                    <a:lnTo>
                      <a:pt x="74" y="242"/>
                    </a:lnTo>
                    <a:lnTo>
                      <a:pt x="72" y="242"/>
                    </a:lnTo>
                    <a:lnTo>
                      <a:pt x="72" y="240"/>
                    </a:lnTo>
                    <a:lnTo>
                      <a:pt x="70" y="240"/>
                    </a:lnTo>
                    <a:lnTo>
                      <a:pt x="70" y="238"/>
                    </a:lnTo>
                    <a:lnTo>
                      <a:pt x="68" y="238"/>
                    </a:lnTo>
                    <a:lnTo>
                      <a:pt x="68" y="237"/>
                    </a:lnTo>
                    <a:lnTo>
                      <a:pt x="67" y="237"/>
                    </a:lnTo>
                    <a:lnTo>
                      <a:pt x="67" y="235"/>
                    </a:lnTo>
                    <a:lnTo>
                      <a:pt x="65" y="235"/>
                    </a:lnTo>
                    <a:lnTo>
                      <a:pt x="65" y="233"/>
                    </a:lnTo>
                    <a:lnTo>
                      <a:pt x="65" y="231"/>
                    </a:lnTo>
                    <a:lnTo>
                      <a:pt x="65" y="233"/>
                    </a:lnTo>
                    <a:lnTo>
                      <a:pt x="63" y="231"/>
                    </a:lnTo>
                    <a:lnTo>
                      <a:pt x="63" y="230"/>
                    </a:lnTo>
                    <a:lnTo>
                      <a:pt x="62" y="230"/>
                    </a:lnTo>
                    <a:lnTo>
                      <a:pt x="62" y="231"/>
                    </a:lnTo>
                    <a:lnTo>
                      <a:pt x="60" y="231"/>
                    </a:lnTo>
                    <a:lnTo>
                      <a:pt x="60" y="230"/>
                    </a:lnTo>
                    <a:lnTo>
                      <a:pt x="58" y="230"/>
                    </a:lnTo>
                    <a:lnTo>
                      <a:pt x="58" y="228"/>
                    </a:lnTo>
                    <a:lnTo>
                      <a:pt x="60" y="228"/>
                    </a:lnTo>
                    <a:lnTo>
                      <a:pt x="60" y="226"/>
                    </a:lnTo>
                    <a:lnTo>
                      <a:pt x="58" y="226"/>
                    </a:lnTo>
                    <a:lnTo>
                      <a:pt x="57" y="226"/>
                    </a:lnTo>
                    <a:lnTo>
                      <a:pt x="57" y="225"/>
                    </a:lnTo>
                    <a:lnTo>
                      <a:pt x="57" y="223"/>
                    </a:lnTo>
                    <a:lnTo>
                      <a:pt x="57" y="221"/>
                    </a:lnTo>
                    <a:lnTo>
                      <a:pt x="57" y="220"/>
                    </a:lnTo>
                    <a:lnTo>
                      <a:pt x="57" y="218"/>
                    </a:lnTo>
                    <a:lnTo>
                      <a:pt x="57" y="216"/>
                    </a:lnTo>
                    <a:lnTo>
                      <a:pt x="57" y="214"/>
                    </a:lnTo>
                    <a:lnTo>
                      <a:pt x="57" y="213"/>
                    </a:lnTo>
                    <a:lnTo>
                      <a:pt x="57" y="211"/>
                    </a:lnTo>
                    <a:lnTo>
                      <a:pt x="55" y="211"/>
                    </a:lnTo>
                    <a:lnTo>
                      <a:pt x="53" y="211"/>
                    </a:lnTo>
                    <a:lnTo>
                      <a:pt x="53" y="209"/>
                    </a:lnTo>
                    <a:lnTo>
                      <a:pt x="53" y="211"/>
                    </a:lnTo>
                    <a:lnTo>
                      <a:pt x="53" y="209"/>
                    </a:lnTo>
                    <a:lnTo>
                      <a:pt x="51" y="209"/>
                    </a:lnTo>
                    <a:lnTo>
                      <a:pt x="51" y="208"/>
                    </a:lnTo>
                    <a:lnTo>
                      <a:pt x="51" y="206"/>
                    </a:lnTo>
                    <a:lnTo>
                      <a:pt x="51" y="204"/>
                    </a:lnTo>
                    <a:lnTo>
                      <a:pt x="50" y="204"/>
                    </a:lnTo>
                    <a:lnTo>
                      <a:pt x="50" y="203"/>
                    </a:lnTo>
                    <a:lnTo>
                      <a:pt x="50" y="201"/>
                    </a:lnTo>
                    <a:lnTo>
                      <a:pt x="48" y="201"/>
                    </a:lnTo>
                    <a:lnTo>
                      <a:pt x="50" y="201"/>
                    </a:lnTo>
                    <a:lnTo>
                      <a:pt x="48" y="199"/>
                    </a:lnTo>
                    <a:lnTo>
                      <a:pt x="48" y="197"/>
                    </a:lnTo>
                    <a:lnTo>
                      <a:pt x="48" y="196"/>
                    </a:lnTo>
                    <a:lnTo>
                      <a:pt x="48" y="194"/>
                    </a:lnTo>
                    <a:lnTo>
                      <a:pt x="48" y="192"/>
                    </a:lnTo>
                    <a:lnTo>
                      <a:pt x="48" y="191"/>
                    </a:lnTo>
                    <a:lnTo>
                      <a:pt x="48" y="189"/>
                    </a:lnTo>
                    <a:lnTo>
                      <a:pt x="50" y="189"/>
                    </a:lnTo>
                    <a:lnTo>
                      <a:pt x="50" y="187"/>
                    </a:lnTo>
                    <a:lnTo>
                      <a:pt x="50" y="186"/>
                    </a:lnTo>
                    <a:lnTo>
                      <a:pt x="50" y="184"/>
                    </a:lnTo>
                    <a:lnTo>
                      <a:pt x="51" y="184"/>
                    </a:lnTo>
                    <a:lnTo>
                      <a:pt x="50" y="184"/>
                    </a:lnTo>
                    <a:lnTo>
                      <a:pt x="51" y="182"/>
                    </a:lnTo>
                    <a:lnTo>
                      <a:pt x="50" y="182"/>
                    </a:lnTo>
                    <a:lnTo>
                      <a:pt x="51" y="182"/>
                    </a:lnTo>
                    <a:lnTo>
                      <a:pt x="51" y="180"/>
                    </a:lnTo>
                    <a:lnTo>
                      <a:pt x="51" y="179"/>
                    </a:lnTo>
                    <a:lnTo>
                      <a:pt x="53" y="179"/>
                    </a:lnTo>
                    <a:lnTo>
                      <a:pt x="53" y="177"/>
                    </a:lnTo>
                    <a:lnTo>
                      <a:pt x="53" y="175"/>
                    </a:lnTo>
                    <a:lnTo>
                      <a:pt x="55" y="175"/>
                    </a:lnTo>
                    <a:lnTo>
                      <a:pt x="55" y="174"/>
                    </a:lnTo>
                    <a:lnTo>
                      <a:pt x="53" y="174"/>
                    </a:lnTo>
                    <a:lnTo>
                      <a:pt x="55" y="174"/>
                    </a:lnTo>
                    <a:lnTo>
                      <a:pt x="53" y="174"/>
                    </a:lnTo>
                    <a:lnTo>
                      <a:pt x="53" y="172"/>
                    </a:lnTo>
                    <a:lnTo>
                      <a:pt x="55" y="172"/>
                    </a:lnTo>
                    <a:lnTo>
                      <a:pt x="53" y="172"/>
                    </a:lnTo>
                    <a:lnTo>
                      <a:pt x="55" y="170"/>
                    </a:lnTo>
                    <a:lnTo>
                      <a:pt x="53" y="170"/>
                    </a:lnTo>
                    <a:lnTo>
                      <a:pt x="53" y="169"/>
                    </a:lnTo>
                    <a:lnTo>
                      <a:pt x="51" y="169"/>
                    </a:lnTo>
                    <a:lnTo>
                      <a:pt x="53" y="169"/>
                    </a:lnTo>
                    <a:lnTo>
                      <a:pt x="51" y="169"/>
                    </a:lnTo>
                    <a:lnTo>
                      <a:pt x="53" y="169"/>
                    </a:lnTo>
                    <a:lnTo>
                      <a:pt x="53" y="167"/>
                    </a:lnTo>
                    <a:lnTo>
                      <a:pt x="55" y="167"/>
                    </a:lnTo>
                    <a:lnTo>
                      <a:pt x="57" y="165"/>
                    </a:lnTo>
                    <a:lnTo>
                      <a:pt x="58" y="163"/>
                    </a:lnTo>
                    <a:lnTo>
                      <a:pt x="58" y="162"/>
                    </a:lnTo>
                    <a:lnTo>
                      <a:pt x="60" y="162"/>
                    </a:lnTo>
                    <a:lnTo>
                      <a:pt x="60" y="160"/>
                    </a:lnTo>
                    <a:lnTo>
                      <a:pt x="60" y="162"/>
                    </a:lnTo>
                    <a:lnTo>
                      <a:pt x="60" y="160"/>
                    </a:lnTo>
                    <a:lnTo>
                      <a:pt x="62" y="160"/>
                    </a:lnTo>
                    <a:lnTo>
                      <a:pt x="62" y="158"/>
                    </a:lnTo>
                    <a:lnTo>
                      <a:pt x="62" y="157"/>
                    </a:lnTo>
                    <a:lnTo>
                      <a:pt x="63" y="157"/>
                    </a:lnTo>
                    <a:lnTo>
                      <a:pt x="63" y="155"/>
                    </a:lnTo>
                    <a:lnTo>
                      <a:pt x="62" y="155"/>
                    </a:lnTo>
                    <a:lnTo>
                      <a:pt x="62" y="153"/>
                    </a:lnTo>
                    <a:lnTo>
                      <a:pt x="60" y="152"/>
                    </a:lnTo>
                    <a:lnTo>
                      <a:pt x="60" y="150"/>
                    </a:lnTo>
                    <a:lnTo>
                      <a:pt x="60" y="148"/>
                    </a:lnTo>
                    <a:lnTo>
                      <a:pt x="58" y="148"/>
                    </a:lnTo>
                    <a:lnTo>
                      <a:pt x="57" y="148"/>
                    </a:lnTo>
                    <a:lnTo>
                      <a:pt x="57" y="146"/>
                    </a:lnTo>
                    <a:lnTo>
                      <a:pt x="57" y="145"/>
                    </a:lnTo>
                    <a:lnTo>
                      <a:pt x="58" y="145"/>
                    </a:lnTo>
                    <a:lnTo>
                      <a:pt x="57" y="145"/>
                    </a:lnTo>
                    <a:lnTo>
                      <a:pt x="57" y="143"/>
                    </a:lnTo>
                    <a:lnTo>
                      <a:pt x="58" y="143"/>
                    </a:lnTo>
                    <a:lnTo>
                      <a:pt x="58" y="141"/>
                    </a:lnTo>
                    <a:lnTo>
                      <a:pt x="57" y="141"/>
                    </a:lnTo>
                    <a:lnTo>
                      <a:pt x="57" y="140"/>
                    </a:lnTo>
                    <a:lnTo>
                      <a:pt x="55" y="138"/>
                    </a:lnTo>
                    <a:lnTo>
                      <a:pt x="53" y="138"/>
                    </a:lnTo>
                    <a:lnTo>
                      <a:pt x="51" y="138"/>
                    </a:lnTo>
                    <a:lnTo>
                      <a:pt x="53" y="138"/>
                    </a:lnTo>
                    <a:lnTo>
                      <a:pt x="51" y="138"/>
                    </a:lnTo>
                    <a:lnTo>
                      <a:pt x="50" y="138"/>
                    </a:lnTo>
                    <a:lnTo>
                      <a:pt x="50" y="136"/>
                    </a:lnTo>
                    <a:lnTo>
                      <a:pt x="48" y="136"/>
                    </a:lnTo>
                    <a:lnTo>
                      <a:pt x="48" y="138"/>
                    </a:lnTo>
                    <a:lnTo>
                      <a:pt x="48" y="136"/>
                    </a:lnTo>
                    <a:lnTo>
                      <a:pt x="46" y="138"/>
                    </a:lnTo>
                    <a:lnTo>
                      <a:pt x="46" y="136"/>
                    </a:lnTo>
                    <a:lnTo>
                      <a:pt x="45" y="136"/>
                    </a:lnTo>
                    <a:lnTo>
                      <a:pt x="46" y="136"/>
                    </a:lnTo>
                    <a:lnTo>
                      <a:pt x="45" y="136"/>
                    </a:lnTo>
                    <a:lnTo>
                      <a:pt x="43" y="136"/>
                    </a:lnTo>
                    <a:lnTo>
                      <a:pt x="43" y="135"/>
                    </a:lnTo>
                    <a:lnTo>
                      <a:pt x="43" y="133"/>
                    </a:lnTo>
                    <a:lnTo>
                      <a:pt x="45" y="133"/>
                    </a:lnTo>
                    <a:lnTo>
                      <a:pt x="45" y="131"/>
                    </a:lnTo>
                    <a:lnTo>
                      <a:pt x="46" y="131"/>
                    </a:lnTo>
                    <a:lnTo>
                      <a:pt x="46" y="129"/>
                    </a:lnTo>
                    <a:lnTo>
                      <a:pt x="46" y="128"/>
                    </a:lnTo>
                    <a:lnTo>
                      <a:pt x="46" y="126"/>
                    </a:lnTo>
                    <a:lnTo>
                      <a:pt x="48" y="124"/>
                    </a:lnTo>
                    <a:lnTo>
                      <a:pt x="48" y="123"/>
                    </a:lnTo>
                    <a:lnTo>
                      <a:pt x="48" y="121"/>
                    </a:lnTo>
                    <a:lnTo>
                      <a:pt x="48" y="119"/>
                    </a:lnTo>
                    <a:lnTo>
                      <a:pt x="48" y="117"/>
                    </a:lnTo>
                    <a:lnTo>
                      <a:pt x="46" y="117"/>
                    </a:lnTo>
                    <a:lnTo>
                      <a:pt x="46" y="116"/>
                    </a:lnTo>
                    <a:lnTo>
                      <a:pt x="45" y="116"/>
                    </a:lnTo>
                    <a:lnTo>
                      <a:pt x="45" y="114"/>
                    </a:lnTo>
                    <a:lnTo>
                      <a:pt x="45" y="112"/>
                    </a:lnTo>
                    <a:lnTo>
                      <a:pt x="43" y="112"/>
                    </a:lnTo>
                    <a:lnTo>
                      <a:pt x="43" y="111"/>
                    </a:lnTo>
                    <a:lnTo>
                      <a:pt x="43" y="112"/>
                    </a:lnTo>
                    <a:lnTo>
                      <a:pt x="41" y="112"/>
                    </a:lnTo>
                    <a:lnTo>
                      <a:pt x="41" y="111"/>
                    </a:lnTo>
                    <a:lnTo>
                      <a:pt x="40" y="111"/>
                    </a:lnTo>
                    <a:lnTo>
                      <a:pt x="38" y="112"/>
                    </a:lnTo>
                    <a:lnTo>
                      <a:pt x="36" y="112"/>
                    </a:lnTo>
                    <a:lnTo>
                      <a:pt x="34" y="112"/>
                    </a:lnTo>
                    <a:lnTo>
                      <a:pt x="33" y="112"/>
                    </a:lnTo>
                    <a:lnTo>
                      <a:pt x="33" y="114"/>
                    </a:lnTo>
                    <a:lnTo>
                      <a:pt x="33" y="112"/>
                    </a:lnTo>
                    <a:lnTo>
                      <a:pt x="31" y="112"/>
                    </a:lnTo>
                    <a:lnTo>
                      <a:pt x="29" y="112"/>
                    </a:lnTo>
                    <a:lnTo>
                      <a:pt x="28" y="112"/>
                    </a:lnTo>
                    <a:lnTo>
                      <a:pt x="26" y="112"/>
                    </a:lnTo>
                    <a:lnTo>
                      <a:pt x="24" y="112"/>
                    </a:lnTo>
                    <a:lnTo>
                      <a:pt x="23" y="112"/>
                    </a:lnTo>
                    <a:lnTo>
                      <a:pt x="21" y="111"/>
                    </a:lnTo>
                    <a:lnTo>
                      <a:pt x="19" y="109"/>
                    </a:lnTo>
                    <a:lnTo>
                      <a:pt x="12" y="102"/>
                    </a:lnTo>
                    <a:lnTo>
                      <a:pt x="11" y="97"/>
                    </a:lnTo>
                    <a:lnTo>
                      <a:pt x="7" y="95"/>
                    </a:lnTo>
                    <a:lnTo>
                      <a:pt x="2" y="90"/>
                    </a:lnTo>
                    <a:lnTo>
                      <a:pt x="0" y="89"/>
                    </a:lnTo>
                    <a:lnTo>
                      <a:pt x="0" y="87"/>
                    </a:lnTo>
                    <a:lnTo>
                      <a:pt x="2" y="87"/>
                    </a:lnTo>
                    <a:lnTo>
                      <a:pt x="2" y="85"/>
                    </a:lnTo>
                    <a:lnTo>
                      <a:pt x="4" y="85"/>
                    </a:lnTo>
                    <a:lnTo>
                      <a:pt x="4" y="83"/>
                    </a:lnTo>
                    <a:lnTo>
                      <a:pt x="6" y="82"/>
                    </a:lnTo>
                    <a:lnTo>
                      <a:pt x="7" y="82"/>
                    </a:lnTo>
                    <a:lnTo>
                      <a:pt x="7" y="80"/>
                    </a:lnTo>
                    <a:lnTo>
                      <a:pt x="9" y="80"/>
                    </a:lnTo>
                    <a:lnTo>
                      <a:pt x="11" y="78"/>
                    </a:lnTo>
                    <a:lnTo>
                      <a:pt x="9" y="78"/>
                    </a:lnTo>
                    <a:lnTo>
                      <a:pt x="9" y="77"/>
                    </a:lnTo>
                    <a:lnTo>
                      <a:pt x="11" y="77"/>
                    </a:lnTo>
                    <a:lnTo>
                      <a:pt x="9" y="77"/>
                    </a:lnTo>
                    <a:lnTo>
                      <a:pt x="9" y="75"/>
                    </a:lnTo>
                    <a:lnTo>
                      <a:pt x="7" y="75"/>
                    </a:lnTo>
                    <a:lnTo>
                      <a:pt x="9" y="75"/>
                    </a:lnTo>
                    <a:lnTo>
                      <a:pt x="9" y="73"/>
                    </a:lnTo>
                    <a:lnTo>
                      <a:pt x="9" y="72"/>
                    </a:lnTo>
                    <a:lnTo>
                      <a:pt x="9" y="70"/>
                    </a:lnTo>
                    <a:lnTo>
                      <a:pt x="7" y="70"/>
                    </a:lnTo>
                    <a:lnTo>
                      <a:pt x="9" y="68"/>
                    </a:lnTo>
                    <a:lnTo>
                      <a:pt x="7" y="68"/>
                    </a:lnTo>
                    <a:lnTo>
                      <a:pt x="7" y="66"/>
                    </a:lnTo>
                    <a:lnTo>
                      <a:pt x="6" y="66"/>
                    </a:lnTo>
                    <a:lnTo>
                      <a:pt x="7" y="66"/>
                    </a:lnTo>
                    <a:lnTo>
                      <a:pt x="6" y="66"/>
                    </a:lnTo>
                    <a:lnTo>
                      <a:pt x="7" y="66"/>
                    </a:lnTo>
                    <a:lnTo>
                      <a:pt x="7" y="65"/>
                    </a:lnTo>
                    <a:lnTo>
                      <a:pt x="7" y="63"/>
                    </a:lnTo>
                    <a:lnTo>
                      <a:pt x="9" y="63"/>
                    </a:lnTo>
                    <a:lnTo>
                      <a:pt x="9" y="61"/>
                    </a:lnTo>
                    <a:lnTo>
                      <a:pt x="11" y="61"/>
                    </a:lnTo>
                    <a:lnTo>
                      <a:pt x="12" y="61"/>
                    </a:lnTo>
                    <a:lnTo>
                      <a:pt x="14" y="61"/>
                    </a:lnTo>
                    <a:lnTo>
                      <a:pt x="16" y="61"/>
                    </a:lnTo>
                    <a:lnTo>
                      <a:pt x="17" y="60"/>
                    </a:lnTo>
                    <a:lnTo>
                      <a:pt x="16" y="60"/>
                    </a:lnTo>
                    <a:lnTo>
                      <a:pt x="16" y="58"/>
                    </a:lnTo>
                    <a:lnTo>
                      <a:pt x="17" y="58"/>
                    </a:lnTo>
                    <a:lnTo>
                      <a:pt x="17" y="60"/>
                    </a:lnTo>
                    <a:lnTo>
                      <a:pt x="19" y="60"/>
                    </a:lnTo>
                    <a:lnTo>
                      <a:pt x="21" y="60"/>
                    </a:lnTo>
                    <a:lnTo>
                      <a:pt x="21" y="58"/>
                    </a:lnTo>
                    <a:lnTo>
                      <a:pt x="21" y="60"/>
                    </a:lnTo>
                    <a:lnTo>
                      <a:pt x="23" y="60"/>
                    </a:lnTo>
                    <a:lnTo>
                      <a:pt x="24" y="60"/>
                    </a:lnTo>
                    <a:lnTo>
                      <a:pt x="24" y="58"/>
                    </a:lnTo>
                    <a:lnTo>
                      <a:pt x="26" y="58"/>
                    </a:lnTo>
                    <a:lnTo>
                      <a:pt x="28" y="58"/>
                    </a:lnTo>
                    <a:lnTo>
                      <a:pt x="28" y="56"/>
                    </a:lnTo>
                    <a:lnTo>
                      <a:pt x="29" y="56"/>
                    </a:lnTo>
                    <a:lnTo>
                      <a:pt x="31" y="56"/>
                    </a:lnTo>
                    <a:lnTo>
                      <a:pt x="31" y="55"/>
                    </a:lnTo>
                    <a:lnTo>
                      <a:pt x="33" y="55"/>
                    </a:lnTo>
                    <a:lnTo>
                      <a:pt x="34" y="53"/>
                    </a:lnTo>
                    <a:lnTo>
                      <a:pt x="34" y="55"/>
                    </a:lnTo>
                    <a:lnTo>
                      <a:pt x="34" y="53"/>
                    </a:lnTo>
                    <a:lnTo>
                      <a:pt x="36" y="53"/>
                    </a:lnTo>
                    <a:lnTo>
                      <a:pt x="36" y="51"/>
                    </a:lnTo>
                    <a:lnTo>
                      <a:pt x="36" y="49"/>
                    </a:lnTo>
                    <a:lnTo>
                      <a:pt x="36" y="48"/>
                    </a:lnTo>
                    <a:lnTo>
                      <a:pt x="36" y="46"/>
                    </a:lnTo>
                    <a:lnTo>
                      <a:pt x="34" y="46"/>
                    </a:lnTo>
                    <a:lnTo>
                      <a:pt x="33" y="46"/>
                    </a:lnTo>
                    <a:lnTo>
                      <a:pt x="33" y="44"/>
                    </a:lnTo>
                    <a:lnTo>
                      <a:pt x="33" y="46"/>
                    </a:lnTo>
                    <a:lnTo>
                      <a:pt x="31" y="44"/>
                    </a:lnTo>
                    <a:lnTo>
                      <a:pt x="31" y="46"/>
                    </a:lnTo>
                    <a:lnTo>
                      <a:pt x="29" y="46"/>
                    </a:lnTo>
                    <a:lnTo>
                      <a:pt x="29" y="48"/>
                    </a:lnTo>
                    <a:lnTo>
                      <a:pt x="29" y="46"/>
                    </a:lnTo>
                    <a:lnTo>
                      <a:pt x="28" y="46"/>
                    </a:lnTo>
                    <a:lnTo>
                      <a:pt x="28" y="44"/>
                    </a:lnTo>
                    <a:lnTo>
                      <a:pt x="26" y="44"/>
                    </a:lnTo>
                    <a:lnTo>
                      <a:pt x="26" y="43"/>
                    </a:lnTo>
                    <a:lnTo>
                      <a:pt x="28" y="43"/>
                    </a:lnTo>
                    <a:lnTo>
                      <a:pt x="28" y="41"/>
                    </a:lnTo>
                    <a:lnTo>
                      <a:pt x="28" y="39"/>
                    </a:lnTo>
                    <a:lnTo>
                      <a:pt x="26" y="39"/>
                    </a:lnTo>
                    <a:lnTo>
                      <a:pt x="26" y="38"/>
                    </a:lnTo>
                    <a:lnTo>
                      <a:pt x="26" y="36"/>
                    </a:lnTo>
                    <a:lnTo>
                      <a:pt x="26" y="34"/>
                    </a:lnTo>
                    <a:lnTo>
                      <a:pt x="26" y="32"/>
                    </a:lnTo>
                    <a:lnTo>
                      <a:pt x="26" y="31"/>
                    </a:lnTo>
                    <a:lnTo>
                      <a:pt x="28" y="31"/>
                    </a:lnTo>
                    <a:lnTo>
                      <a:pt x="28" y="29"/>
                    </a:lnTo>
                    <a:lnTo>
                      <a:pt x="28" y="27"/>
                    </a:lnTo>
                    <a:lnTo>
                      <a:pt x="29" y="26"/>
                    </a:lnTo>
                    <a:lnTo>
                      <a:pt x="29" y="24"/>
                    </a:lnTo>
                    <a:lnTo>
                      <a:pt x="31" y="24"/>
                    </a:lnTo>
                    <a:lnTo>
                      <a:pt x="33" y="24"/>
                    </a:lnTo>
                    <a:lnTo>
                      <a:pt x="34" y="24"/>
                    </a:lnTo>
                    <a:lnTo>
                      <a:pt x="36" y="24"/>
                    </a:lnTo>
                    <a:lnTo>
                      <a:pt x="36" y="22"/>
                    </a:lnTo>
                    <a:lnTo>
                      <a:pt x="38" y="22"/>
                    </a:lnTo>
                    <a:lnTo>
                      <a:pt x="40" y="21"/>
                    </a:lnTo>
                    <a:lnTo>
                      <a:pt x="40" y="19"/>
                    </a:lnTo>
                    <a:lnTo>
                      <a:pt x="41" y="19"/>
                    </a:lnTo>
                    <a:lnTo>
                      <a:pt x="43" y="19"/>
                    </a:lnTo>
                    <a:lnTo>
                      <a:pt x="43" y="17"/>
                    </a:lnTo>
                    <a:lnTo>
                      <a:pt x="45" y="17"/>
                    </a:lnTo>
                    <a:lnTo>
                      <a:pt x="46" y="17"/>
                    </a:lnTo>
                    <a:lnTo>
                      <a:pt x="46" y="15"/>
                    </a:lnTo>
                    <a:lnTo>
                      <a:pt x="48" y="15"/>
                    </a:lnTo>
                    <a:lnTo>
                      <a:pt x="48" y="14"/>
                    </a:lnTo>
                    <a:lnTo>
                      <a:pt x="48" y="12"/>
                    </a:lnTo>
                    <a:lnTo>
                      <a:pt x="50" y="10"/>
                    </a:lnTo>
                    <a:lnTo>
                      <a:pt x="53" y="10"/>
                    </a:lnTo>
                    <a:lnTo>
                      <a:pt x="53" y="9"/>
                    </a:lnTo>
                    <a:lnTo>
                      <a:pt x="55" y="9"/>
                    </a:lnTo>
                    <a:lnTo>
                      <a:pt x="53" y="7"/>
                    </a:lnTo>
                    <a:lnTo>
                      <a:pt x="51" y="4"/>
                    </a:lnTo>
                    <a:lnTo>
                      <a:pt x="50" y="2"/>
                    </a:lnTo>
                    <a:lnTo>
                      <a:pt x="48" y="0"/>
                    </a:lnTo>
                    <a:lnTo>
                      <a:pt x="50" y="0"/>
                    </a:lnTo>
                    <a:lnTo>
                      <a:pt x="50" y="2"/>
                    </a:lnTo>
                    <a:lnTo>
                      <a:pt x="51" y="2"/>
                    </a:lnTo>
                    <a:lnTo>
                      <a:pt x="51" y="4"/>
                    </a:lnTo>
                    <a:lnTo>
                      <a:pt x="53" y="5"/>
                    </a:lnTo>
                    <a:lnTo>
                      <a:pt x="55" y="5"/>
                    </a:lnTo>
                    <a:lnTo>
                      <a:pt x="57" y="5"/>
                    </a:lnTo>
                    <a:lnTo>
                      <a:pt x="55" y="5"/>
                    </a:lnTo>
                    <a:lnTo>
                      <a:pt x="55" y="4"/>
                    </a:lnTo>
                    <a:lnTo>
                      <a:pt x="57" y="4"/>
                    </a:lnTo>
                    <a:lnTo>
                      <a:pt x="57" y="5"/>
                    </a:lnTo>
                    <a:lnTo>
                      <a:pt x="58" y="5"/>
                    </a:lnTo>
                    <a:lnTo>
                      <a:pt x="60" y="5"/>
                    </a:lnTo>
                    <a:lnTo>
                      <a:pt x="60" y="7"/>
                    </a:lnTo>
                    <a:lnTo>
                      <a:pt x="62" y="7"/>
                    </a:lnTo>
                    <a:lnTo>
                      <a:pt x="62" y="9"/>
                    </a:lnTo>
                    <a:lnTo>
                      <a:pt x="63" y="9"/>
                    </a:lnTo>
                    <a:lnTo>
                      <a:pt x="65" y="9"/>
                    </a:lnTo>
                    <a:lnTo>
                      <a:pt x="65" y="10"/>
                    </a:lnTo>
                    <a:lnTo>
                      <a:pt x="67" y="10"/>
                    </a:lnTo>
                    <a:lnTo>
                      <a:pt x="68" y="10"/>
                    </a:lnTo>
                    <a:lnTo>
                      <a:pt x="68" y="12"/>
                    </a:lnTo>
                    <a:lnTo>
                      <a:pt x="70" y="12"/>
                    </a:lnTo>
                    <a:lnTo>
                      <a:pt x="72" y="14"/>
                    </a:lnTo>
                    <a:lnTo>
                      <a:pt x="74" y="14"/>
                    </a:lnTo>
                    <a:lnTo>
                      <a:pt x="75" y="15"/>
                    </a:lnTo>
                    <a:lnTo>
                      <a:pt x="77" y="15"/>
                    </a:lnTo>
                    <a:lnTo>
                      <a:pt x="77" y="17"/>
                    </a:lnTo>
                    <a:lnTo>
                      <a:pt x="79" y="17"/>
                    </a:lnTo>
                    <a:lnTo>
                      <a:pt x="79" y="19"/>
                    </a:lnTo>
                    <a:lnTo>
                      <a:pt x="80" y="21"/>
                    </a:lnTo>
                    <a:lnTo>
                      <a:pt x="82" y="21"/>
                    </a:lnTo>
                    <a:lnTo>
                      <a:pt x="82" y="22"/>
                    </a:lnTo>
                    <a:lnTo>
                      <a:pt x="84" y="24"/>
                    </a:lnTo>
                    <a:lnTo>
                      <a:pt x="85" y="26"/>
                    </a:lnTo>
                    <a:lnTo>
                      <a:pt x="87" y="27"/>
                    </a:lnTo>
                    <a:lnTo>
                      <a:pt x="89" y="27"/>
                    </a:lnTo>
                    <a:lnTo>
                      <a:pt x="89" y="29"/>
                    </a:lnTo>
                    <a:lnTo>
                      <a:pt x="89" y="31"/>
                    </a:lnTo>
                    <a:lnTo>
                      <a:pt x="91" y="31"/>
                    </a:lnTo>
                    <a:lnTo>
                      <a:pt x="91" y="32"/>
                    </a:lnTo>
                    <a:lnTo>
                      <a:pt x="91" y="31"/>
                    </a:lnTo>
                    <a:lnTo>
                      <a:pt x="92" y="31"/>
                    </a:lnTo>
                    <a:lnTo>
                      <a:pt x="92" y="32"/>
                    </a:lnTo>
                    <a:lnTo>
                      <a:pt x="94" y="32"/>
                    </a:lnTo>
                    <a:lnTo>
                      <a:pt x="94" y="34"/>
                    </a:lnTo>
                    <a:lnTo>
                      <a:pt x="96" y="36"/>
                    </a:lnTo>
                    <a:lnTo>
                      <a:pt x="97" y="38"/>
                    </a:lnTo>
                    <a:lnTo>
                      <a:pt x="97" y="39"/>
                    </a:lnTo>
                    <a:lnTo>
                      <a:pt x="99" y="39"/>
                    </a:lnTo>
                    <a:lnTo>
                      <a:pt x="99" y="41"/>
                    </a:lnTo>
                    <a:lnTo>
                      <a:pt x="99" y="43"/>
                    </a:lnTo>
                    <a:lnTo>
                      <a:pt x="99" y="44"/>
                    </a:lnTo>
                    <a:lnTo>
                      <a:pt x="99" y="46"/>
                    </a:lnTo>
                    <a:lnTo>
                      <a:pt x="99" y="48"/>
                    </a:lnTo>
                    <a:lnTo>
                      <a:pt x="99" y="49"/>
                    </a:lnTo>
                    <a:lnTo>
                      <a:pt x="99" y="51"/>
                    </a:lnTo>
                    <a:lnTo>
                      <a:pt x="99" y="53"/>
                    </a:lnTo>
                    <a:lnTo>
                      <a:pt x="97" y="53"/>
                    </a:lnTo>
                    <a:lnTo>
                      <a:pt x="97" y="55"/>
                    </a:lnTo>
                    <a:lnTo>
                      <a:pt x="96" y="55"/>
                    </a:lnTo>
                    <a:lnTo>
                      <a:pt x="96" y="56"/>
                    </a:lnTo>
                    <a:lnTo>
                      <a:pt x="96" y="58"/>
                    </a:lnTo>
                    <a:lnTo>
                      <a:pt x="96" y="60"/>
                    </a:lnTo>
                    <a:lnTo>
                      <a:pt x="96" y="61"/>
                    </a:lnTo>
                    <a:lnTo>
                      <a:pt x="94" y="61"/>
                    </a:lnTo>
                    <a:lnTo>
                      <a:pt x="94" y="63"/>
                    </a:lnTo>
                    <a:lnTo>
                      <a:pt x="94" y="65"/>
                    </a:lnTo>
                    <a:lnTo>
                      <a:pt x="94" y="66"/>
                    </a:lnTo>
                    <a:lnTo>
                      <a:pt x="94" y="68"/>
                    </a:lnTo>
                    <a:lnTo>
                      <a:pt x="94" y="70"/>
                    </a:lnTo>
                    <a:lnTo>
                      <a:pt x="94" y="72"/>
                    </a:lnTo>
                    <a:lnTo>
                      <a:pt x="92" y="72"/>
                    </a:lnTo>
                    <a:lnTo>
                      <a:pt x="92" y="73"/>
                    </a:lnTo>
                    <a:lnTo>
                      <a:pt x="91" y="73"/>
                    </a:lnTo>
                    <a:lnTo>
                      <a:pt x="92" y="73"/>
                    </a:lnTo>
                    <a:lnTo>
                      <a:pt x="94" y="73"/>
                    </a:lnTo>
                    <a:lnTo>
                      <a:pt x="94" y="72"/>
                    </a:lnTo>
                    <a:lnTo>
                      <a:pt x="94" y="73"/>
                    </a:lnTo>
                    <a:lnTo>
                      <a:pt x="96" y="75"/>
                    </a:lnTo>
                    <a:lnTo>
                      <a:pt x="96" y="73"/>
                    </a:lnTo>
                    <a:lnTo>
                      <a:pt x="96" y="72"/>
                    </a:lnTo>
                    <a:lnTo>
                      <a:pt x="96" y="70"/>
                    </a:lnTo>
                    <a:lnTo>
                      <a:pt x="96" y="68"/>
                    </a:lnTo>
                    <a:lnTo>
                      <a:pt x="96" y="66"/>
                    </a:lnTo>
                    <a:lnTo>
                      <a:pt x="96" y="65"/>
                    </a:lnTo>
                    <a:lnTo>
                      <a:pt x="96" y="63"/>
                    </a:lnTo>
                    <a:lnTo>
                      <a:pt x="97" y="63"/>
                    </a:lnTo>
                    <a:lnTo>
                      <a:pt x="97" y="61"/>
                    </a:lnTo>
                    <a:lnTo>
                      <a:pt x="97" y="60"/>
                    </a:lnTo>
                    <a:lnTo>
                      <a:pt x="99" y="60"/>
                    </a:lnTo>
                    <a:lnTo>
                      <a:pt x="99" y="58"/>
                    </a:lnTo>
                    <a:lnTo>
                      <a:pt x="101" y="58"/>
                    </a:lnTo>
                    <a:lnTo>
                      <a:pt x="101" y="56"/>
                    </a:lnTo>
                    <a:lnTo>
                      <a:pt x="102" y="56"/>
                    </a:lnTo>
                    <a:lnTo>
                      <a:pt x="104" y="56"/>
                    </a:lnTo>
                    <a:lnTo>
                      <a:pt x="106" y="56"/>
                    </a:lnTo>
                    <a:lnTo>
                      <a:pt x="108" y="56"/>
                    </a:lnTo>
                    <a:lnTo>
                      <a:pt x="108" y="58"/>
                    </a:lnTo>
                    <a:lnTo>
                      <a:pt x="109" y="58"/>
                    </a:lnTo>
                    <a:lnTo>
                      <a:pt x="111" y="58"/>
                    </a:lnTo>
                    <a:lnTo>
                      <a:pt x="113" y="58"/>
                    </a:lnTo>
                    <a:lnTo>
                      <a:pt x="114" y="58"/>
                    </a:lnTo>
                    <a:lnTo>
                      <a:pt x="114" y="60"/>
                    </a:lnTo>
                    <a:lnTo>
                      <a:pt x="116" y="60"/>
                    </a:lnTo>
                    <a:lnTo>
                      <a:pt x="116" y="61"/>
                    </a:lnTo>
                    <a:lnTo>
                      <a:pt x="118" y="61"/>
                    </a:lnTo>
                    <a:lnTo>
                      <a:pt x="119" y="61"/>
                    </a:lnTo>
                    <a:lnTo>
                      <a:pt x="119" y="63"/>
                    </a:lnTo>
                    <a:lnTo>
                      <a:pt x="121" y="63"/>
                    </a:lnTo>
                    <a:lnTo>
                      <a:pt x="121" y="65"/>
                    </a:lnTo>
                    <a:lnTo>
                      <a:pt x="123" y="66"/>
                    </a:lnTo>
                    <a:lnTo>
                      <a:pt x="125" y="66"/>
                    </a:lnTo>
                    <a:lnTo>
                      <a:pt x="125" y="68"/>
                    </a:lnTo>
                    <a:lnTo>
                      <a:pt x="126" y="68"/>
                    </a:lnTo>
                    <a:lnTo>
                      <a:pt x="126" y="70"/>
                    </a:lnTo>
                    <a:lnTo>
                      <a:pt x="128" y="70"/>
                    </a:lnTo>
                    <a:lnTo>
                      <a:pt x="128" y="72"/>
                    </a:lnTo>
                    <a:lnTo>
                      <a:pt x="130" y="72"/>
                    </a:lnTo>
                    <a:lnTo>
                      <a:pt x="130" y="73"/>
                    </a:lnTo>
                    <a:lnTo>
                      <a:pt x="130" y="75"/>
                    </a:lnTo>
                    <a:lnTo>
                      <a:pt x="131" y="77"/>
                    </a:lnTo>
                    <a:lnTo>
                      <a:pt x="131" y="75"/>
                    </a:lnTo>
                    <a:lnTo>
                      <a:pt x="133" y="75"/>
                    </a:lnTo>
                    <a:lnTo>
                      <a:pt x="135" y="75"/>
                    </a:lnTo>
                    <a:lnTo>
                      <a:pt x="136" y="75"/>
                    </a:lnTo>
                    <a:lnTo>
                      <a:pt x="136" y="77"/>
                    </a:lnTo>
                    <a:lnTo>
                      <a:pt x="138" y="77"/>
                    </a:lnTo>
                    <a:lnTo>
                      <a:pt x="140" y="78"/>
                    </a:lnTo>
                    <a:lnTo>
                      <a:pt x="142" y="80"/>
                    </a:lnTo>
                    <a:lnTo>
                      <a:pt x="142" y="82"/>
                    </a:lnTo>
                    <a:lnTo>
                      <a:pt x="143" y="82"/>
                    </a:lnTo>
                    <a:lnTo>
                      <a:pt x="143" y="83"/>
                    </a:lnTo>
                    <a:lnTo>
                      <a:pt x="143" y="85"/>
                    </a:lnTo>
                    <a:lnTo>
                      <a:pt x="145" y="87"/>
                    </a:lnTo>
                    <a:lnTo>
                      <a:pt x="143" y="87"/>
                    </a:lnTo>
                    <a:lnTo>
                      <a:pt x="145" y="87"/>
                    </a:lnTo>
                    <a:lnTo>
                      <a:pt x="145" y="89"/>
                    </a:lnTo>
                    <a:lnTo>
                      <a:pt x="145" y="90"/>
                    </a:lnTo>
                    <a:lnTo>
                      <a:pt x="143" y="90"/>
                    </a:lnTo>
                    <a:lnTo>
                      <a:pt x="143" y="92"/>
                    </a:lnTo>
                    <a:lnTo>
                      <a:pt x="143" y="94"/>
                    </a:lnTo>
                    <a:lnTo>
                      <a:pt x="143" y="95"/>
                    </a:lnTo>
                    <a:lnTo>
                      <a:pt x="143" y="97"/>
                    </a:lnTo>
                    <a:close/>
                    <a:moveTo>
                      <a:pt x="96" y="61"/>
                    </a:moveTo>
                    <a:lnTo>
                      <a:pt x="96" y="60"/>
                    </a:lnTo>
                    <a:lnTo>
                      <a:pt x="97" y="58"/>
                    </a:lnTo>
                    <a:lnTo>
                      <a:pt x="97" y="56"/>
                    </a:lnTo>
                    <a:lnTo>
                      <a:pt x="99" y="56"/>
                    </a:lnTo>
                    <a:lnTo>
                      <a:pt x="97" y="58"/>
                    </a:lnTo>
                    <a:lnTo>
                      <a:pt x="97" y="60"/>
                    </a:lnTo>
                    <a:lnTo>
                      <a:pt x="96" y="60"/>
                    </a:lnTo>
                    <a:lnTo>
                      <a:pt x="96" y="61"/>
                    </a:lnTo>
                    <a:close/>
                    <a:moveTo>
                      <a:pt x="97" y="56"/>
                    </a:moveTo>
                    <a:lnTo>
                      <a:pt x="97" y="55"/>
                    </a:lnTo>
                    <a:lnTo>
                      <a:pt x="99" y="55"/>
                    </a:lnTo>
                    <a:lnTo>
                      <a:pt x="99" y="53"/>
                    </a:lnTo>
                    <a:lnTo>
                      <a:pt x="101" y="53"/>
                    </a:lnTo>
                    <a:lnTo>
                      <a:pt x="101" y="51"/>
                    </a:lnTo>
                    <a:lnTo>
                      <a:pt x="101" y="53"/>
                    </a:lnTo>
                    <a:lnTo>
                      <a:pt x="102" y="53"/>
                    </a:lnTo>
                    <a:lnTo>
                      <a:pt x="101" y="53"/>
                    </a:lnTo>
                    <a:lnTo>
                      <a:pt x="99" y="55"/>
                    </a:lnTo>
                    <a:lnTo>
                      <a:pt x="97" y="56"/>
                    </a:lnTo>
                    <a:close/>
                    <a:moveTo>
                      <a:pt x="102" y="53"/>
                    </a:moveTo>
                    <a:lnTo>
                      <a:pt x="104" y="53"/>
                    </a:lnTo>
                    <a:lnTo>
                      <a:pt x="102" y="55"/>
                    </a:lnTo>
                    <a:lnTo>
                      <a:pt x="101" y="55"/>
                    </a:lnTo>
                    <a:lnTo>
                      <a:pt x="101" y="56"/>
                    </a:lnTo>
                    <a:lnTo>
                      <a:pt x="99" y="56"/>
                    </a:lnTo>
                    <a:lnTo>
                      <a:pt x="99" y="55"/>
                    </a:lnTo>
                    <a:lnTo>
                      <a:pt x="101" y="55"/>
                    </a:lnTo>
                    <a:lnTo>
                      <a:pt x="101" y="53"/>
                    </a:lnTo>
                    <a:lnTo>
                      <a:pt x="102" y="53"/>
                    </a:lnTo>
                    <a:close/>
                    <a:moveTo>
                      <a:pt x="96" y="58"/>
                    </a:moveTo>
                    <a:lnTo>
                      <a:pt x="96" y="56"/>
                    </a:lnTo>
                    <a:lnTo>
                      <a:pt x="97" y="55"/>
                    </a:lnTo>
                    <a:lnTo>
                      <a:pt x="99" y="55"/>
                    </a:lnTo>
                    <a:lnTo>
                      <a:pt x="97" y="55"/>
                    </a:lnTo>
                    <a:lnTo>
                      <a:pt x="97" y="56"/>
                    </a:lnTo>
                    <a:lnTo>
                      <a:pt x="96" y="56"/>
                    </a:lnTo>
                    <a:lnTo>
                      <a:pt x="96" y="58"/>
                    </a:lnTo>
                    <a:close/>
                    <a:moveTo>
                      <a:pt x="99" y="49"/>
                    </a:moveTo>
                    <a:lnTo>
                      <a:pt x="99" y="51"/>
                    </a:lnTo>
                    <a:lnTo>
                      <a:pt x="99" y="49"/>
                    </a:lnTo>
                    <a:close/>
                    <a:moveTo>
                      <a:pt x="97" y="60"/>
                    </a:moveTo>
                    <a:lnTo>
                      <a:pt x="97" y="61"/>
                    </a:lnTo>
                    <a:lnTo>
                      <a:pt x="97" y="60"/>
                    </a:lnTo>
                    <a:close/>
                    <a:moveTo>
                      <a:pt x="96" y="56"/>
                    </a:moveTo>
                    <a:lnTo>
                      <a:pt x="97" y="56"/>
                    </a:lnTo>
                    <a:lnTo>
                      <a:pt x="97" y="58"/>
                    </a:lnTo>
                    <a:lnTo>
                      <a:pt x="96" y="58"/>
                    </a:lnTo>
                    <a:lnTo>
                      <a:pt x="96" y="56"/>
                    </a:lnTo>
                    <a:close/>
                    <a:moveTo>
                      <a:pt x="96" y="58"/>
                    </a:moveTo>
                    <a:lnTo>
                      <a:pt x="96" y="60"/>
                    </a:lnTo>
                    <a:lnTo>
                      <a:pt x="96" y="58"/>
                    </a:lnTo>
                    <a:close/>
                    <a:moveTo>
                      <a:pt x="97" y="53"/>
                    </a:moveTo>
                    <a:lnTo>
                      <a:pt x="97" y="55"/>
                    </a:lnTo>
                    <a:lnTo>
                      <a:pt x="97" y="53"/>
                    </a:lnTo>
                    <a:close/>
                    <a:moveTo>
                      <a:pt x="96" y="61"/>
                    </a:moveTo>
                    <a:lnTo>
                      <a:pt x="97" y="61"/>
                    </a:lnTo>
                    <a:lnTo>
                      <a:pt x="96" y="61"/>
                    </a:lnTo>
                    <a:close/>
                    <a:moveTo>
                      <a:pt x="96" y="56"/>
                    </a:moveTo>
                    <a:lnTo>
                      <a:pt x="96" y="58"/>
                    </a:lnTo>
                    <a:lnTo>
                      <a:pt x="96" y="56"/>
                    </a:lnTo>
                    <a:close/>
                    <a:moveTo>
                      <a:pt x="96" y="63"/>
                    </a:moveTo>
                    <a:lnTo>
                      <a:pt x="96" y="65"/>
                    </a:lnTo>
                    <a:lnTo>
                      <a:pt x="96" y="63"/>
                    </a:lnTo>
                    <a:close/>
                    <a:moveTo>
                      <a:pt x="97" y="60"/>
                    </a:moveTo>
                    <a:lnTo>
                      <a:pt x="97" y="61"/>
                    </a:lnTo>
                    <a:lnTo>
                      <a:pt x="97" y="60"/>
                    </a:lnTo>
                    <a:close/>
                    <a:moveTo>
                      <a:pt x="96" y="73"/>
                    </a:moveTo>
                    <a:lnTo>
                      <a:pt x="96" y="75"/>
                    </a:lnTo>
                    <a:lnTo>
                      <a:pt x="96" y="73"/>
                    </a:lnTo>
                    <a:close/>
                    <a:moveTo>
                      <a:pt x="96" y="63"/>
                    </a:moveTo>
                    <a:lnTo>
                      <a:pt x="96" y="65"/>
                    </a:lnTo>
                    <a:lnTo>
                      <a:pt x="96" y="63"/>
                    </a:lnTo>
                    <a:close/>
                    <a:moveTo>
                      <a:pt x="94" y="61"/>
                    </a:moveTo>
                    <a:lnTo>
                      <a:pt x="96" y="61"/>
                    </a:lnTo>
                    <a:lnTo>
                      <a:pt x="96" y="63"/>
                    </a:lnTo>
                    <a:lnTo>
                      <a:pt x="94" y="63"/>
                    </a:lnTo>
                    <a:lnTo>
                      <a:pt x="94" y="61"/>
                    </a:lnTo>
                    <a:close/>
                    <a:moveTo>
                      <a:pt x="96" y="60"/>
                    </a:moveTo>
                    <a:lnTo>
                      <a:pt x="96" y="61"/>
                    </a:lnTo>
                    <a:lnTo>
                      <a:pt x="96" y="60"/>
                    </a:lnTo>
                    <a:close/>
                    <a:moveTo>
                      <a:pt x="96" y="58"/>
                    </a:moveTo>
                    <a:lnTo>
                      <a:pt x="96" y="60"/>
                    </a:lnTo>
                    <a:lnTo>
                      <a:pt x="96" y="58"/>
                    </a:lnTo>
                    <a:close/>
                    <a:moveTo>
                      <a:pt x="94" y="66"/>
                    </a:moveTo>
                    <a:lnTo>
                      <a:pt x="94" y="68"/>
                    </a:lnTo>
                    <a:lnTo>
                      <a:pt x="94" y="66"/>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9" name="Freeform 36">
                <a:extLst>
                  <a:ext uri="{FF2B5EF4-FFF2-40B4-BE49-F238E27FC236}">
                    <a16:creationId xmlns:a16="http://schemas.microsoft.com/office/drawing/2014/main" id="{EFEAD6DC-6A40-04FA-D7ED-5689BFD4B298}"/>
                  </a:ext>
                </a:extLst>
              </p:cNvPr>
              <p:cNvSpPr>
                <a:spLocks/>
              </p:cNvSpPr>
              <p:nvPr/>
            </p:nvSpPr>
            <p:spPr bwMode="auto">
              <a:xfrm>
                <a:off x="5799886" y="2913056"/>
                <a:ext cx="17917" cy="18798"/>
              </a:xfrm>
              <a:custGeom>
                <a:avLst/>
                <a:gdLst>
                  <a:gd name="T0" fmla="*/ 56 w 61"/>
                  <a:gd name="T1" fmla="*/ 49 h 64"/>
                  <a:gd name="T2" fmla="*/ 53 w 61"/>
                  <a:gd name="T3" fmla="*/ 51 h 64"/>
                  <a:gd name="T4" fmla="*/ 49 w 61"/>
                  <a:gd name="T5" fmla="*/ 51 h 64"/>
                  <a:gd name="T6" fmla="*/ 44 w 61"/>
                  <a:gd name="T7" fmla="*/ 51 h 64"/>
                  <a:gd name="T8" fmla="*/ 41 w 61"/>
                  <a:gd name="T9" fmla="*/ 47 h 64"/>
                  <a:gd name="T10" fmla="*/ 38 w 61"/>
                  <a:gd name="T11" fmla="*/ 47 h 64"/>
                  <a:gd name="T12" fmla="*/ 34 w 61"/>
                  <a:gd name="T13" fmla="*/ 47 h 64"/>
                  <a:gd name="T14" fmla="*/ 32 w 61"/>
                  <a:gd name="T15" fmla="*/ 49 h 64"/>
                  <a:gd name="T16" fmla="*/ 31 w 61"/>
                  <a:gd name="T17" fmla="*/ 52 h 64"/>
                  <a:gd name="T18" fmla="*/ 27 w 61"/>
                  <a:gd name="T19" fmla="*/ 57 h 64"/>
                  <a:gd name="T20" fmla="*/ 21 w 61"/>
                  <a:gd name="T21" fmla="*/ 57 h 64"/>
                  <a:gd name="T22" fmla="*/ 19 w 61"/>
                  <a:gd name="T23" fmla="*/ 57 h 64"/>
                  <a:gd name="T24" fmla="*/ 15 w 61"/>
                  <a:gd name="T25" fmla="*/ 59 h 64"/>
                  <a:gd name="T26" fmla="*/ 12 w 61"/>
                  <a:gd name="T27" fmla="*/ 59 h 64"/>
                  <a:gd name="T28" fmla="*/ 12 w 61"/>
                  <a:gd name="T29" fmla="*/ 63 h 64"/>
                  <a:gd name="T30" fmla="*/ 9 w 61"/>
                  <a:gd name="T31" fmla="*/ 64 h 64"/>
                  <a:gd name="T32" fmla="*/ 5 w 61"/>
                  <a:gd name="T33" fmla="*/ 63 h 64"/>
                  <a:gd name="T34" fmla="*/ 2 w 61"/>
                  <a:gd name="T35" fmla="*/ 63 h 64"/>
                  <a:gd name="T36" fmla="*/ 2 w 61"/>
                  <a:gd name="T37" fmla="*/ 59 h 64"/>
                  <a:gd name="T38" fmla="*/ 4 w 61"/>
                  <a:gd name="T39" fmla="*/ 54 h 64"/>
                  <a:gd name="T40" fmla="*/ 7 w 61"/>
                  <a:gd name="T41" fmla="*/ 54 h 64"/>
                  <a:gd name="T42" fmla="*/ 14 w 61"/>
                  <a:gd name="T43" fmla="*/ 54 h 64"/>
                  <a:gd name="T44" fmla="*/ 14 w 61"/>
                  <a:gd name="T45" fmla="*/ 47 h 64"/>
                  <a:gd name="T46" fmla="*/ 14 w 61"/>
                  <a:gd name="T47" fmla="*/ 44 h 64"/>
                  <a:gd name="T48" fmla="*/ 14 w 61"/>
                  <a:gd name="T49" fmla="*/ 42 h 64"/>
                  <a:gd name="T50" fmla="*/ 14 w 61"/>
                  <a:gd name="T51" fmla="*/ 37 h 64"/>
                  <a:gd name="T52" fmla="*/ 15 w 61"/>
                  <a:gd name="T53" fmla="*/ 34 h 64"/>
                  <a:gd name="T54" fmla="*/ 15 w 61"/>
                  <a:gd name="T55" fmla="*/ 34 h 64"/>
                  <a:gd name="T56" fmla="*/ 19 w 61"/>
                  <a:gd name="T57" fmla="*/ 30 h 64"/>
                  <a:gd name="T58" fmla="*/ 22 w 61"/>
                  <a:gd name="T59" fmla="*/ 27 h 64"/>
                  <a:gd name="T60" fmla="*/ 24 w 61"/>
                  <a:gd name="T61" fmla="*/ 23 h 64"/>
                  <a:gd name="T62" fmla="*/ 27 w 61"/>
                  <a:gd name="T63" fmla="*/ 23 h 64"/>
                  <a:gd name="T64" fmla="*/ 31 w 61"/>
                  <a:gd name="T65" fmla="*/ 20 h 64"/>
                  <a:gd name="T66" fmla="*/ 29 w 61"/>
                  <a:gd name="T67" fmla="*/ 17 h 64"/>
                  <a:gd name="T68" fmla="*/ 29 w 61"/>
                  <a:gd name="T69" fmla="*/ 13 h 64"/>
                  <a:gd name="T70" fmla="*/ 24 w 61"/>
                  <a:gd name="T71" fmla="*/ 10 h 64"/>
                  <a:gd name="T72" fmla="*/ 26 w 61"/>
                  <a:gd name="T73" fmla="*/ 3 h 64"/>
                  <a:gd name="T74" fmla="*/ 27 w 61"/>
                  <a:gd name="T75" fmla="*/ 1 h 64"/>
                  <a:gd name="T76" fmla="*/ 31 w 61"/>
                  <a:gd name="T77" fmla="*/ 1 h 64"/>
                  <a:gd name="T78" fmla="*/ 36 w 61"/>
                  <a:gd name="T79" fmla="*/ 1 h 64"/>
                  <a:gd name="T80" fmla="*/ 34 w 61"/>
                  <a:gd name="T81" fmla="*/ 3 h 64"/>
                  <a:gd name="T82" fmla="*/ 34 w 61"/>
                  <a:gd name="T83" fmla="*/ 8 h 64"/>
                  <a:gd name="T84" fmla="*/ 38 w 61"/>
                  <a:gd name="T85" fmla="*/ 8 h 64"/>
                  <a:gd name="T86" fmla="*/ 38 w 61"/>
                  <a:gd name="T87" fmla="*/ 12 h 64"/>
                  <a:gd name="T88" fmla="*/ 38 w 61"/>
                  <a:gd name="T89" fmla="*/ 15 h 64"/>
                  <a:gd name="T90" fmla="*/ 38 w 61"/>
                  <a:gd name="T91" fmla="*/ 18 h 64"/>
                  <a:gd name="T92" fmla="*/ 39 w 61"/>
                  <a:gd name="T93" fmla="*/ 20 h 64"/>
                  <a:gd name="T94" fmla="*/ 41 w 61"/>
                  <a:gd name="T95" fmla="*/ 22 h 64"/>
                  <a:gd name="T96" fmla="*/ 44 w 61"/>
                  <a:gd name="T97" fmla="*/ 27 h 64"/>
                  <a:gd name="T98" fmla="*/ 48 w 61"/>
                  <a:gd name="T99" fmla="*/ 30 h 64"/>
                  <a:gd name="T100" fmla="*/ 48 w 61"/>
                  <a:gd name="T101" fmla="*/ 34 h 64"/>
                  <a:gd name="T102" fmla="*/ 51 w 61"/>
                  <a:gd name="T103" fmla="*/ 39 h 64"/>
                  <a:gd name="T104" fmla="*/ 53 w 61"/>
                  <a:gd name="T105" fmla="*/ 44 h 64"/>
                  <a:gd name="T106" fmla="*/ 56 w 61"/>
                  <a:gd name="T107" fmla="*/ 47 h 64"/>
                  <a:gd name="T108" fmla="*/ 61 w 61"/>
                  <a:gd name="T109" fmla="*/ 4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 h="64">
                    <a:moveTo>
                      <a:pt x="61" y="49"/>
                    </a:moveTo>
                    <a:lnTo>
                      <a:pt x="60" y="51"/>
                    </a:lnTo>
                    <a:lnTo>
                      <a:pt x="58" y="49"/>
                    </a:lnTo>
                    <a:lnTo>
                      <a:pt x="56" y="49"/>
                    </a:lnTo>
                    <a:lnTo>
                      <a:pt x="56" y="51"/>
                    </a:lnTo>
                    <a:lnTo>
                      <a:pt x="55" y="51"/>
                    </a:lnTo>
                    <a:lnTo>
                      <a:pt x="55" y="49"/>
                    </a:lnTo>
                    <a:lnTo>
                      <a:pt x="53" y="51"/>
                    </a:lnTo>
                    <a:lnTo>
                      <a:pt x="53" y="52"/>
                    </a:lnTo>
                    <a:lnTo>
                      <a:pt x="51" y="52"/>
                    </a:lnTo>
                    <a:lnTo>
                      <a:pt x="51" y="51"/>
                    </a:lnTo>
                    <a:lnTo>
                      <a:pt x="49" y="51"/>
                    </a:lnTo>
                    <a:lnTo>
                      <a:pt x="48" y="51"/>
                    </a:lnTo>
                    <a:lnTo>
                      <a:pt x="48" y="49"/>
                    </a:lnTo>
                    <a:lnTo>
                      <a:pt x="46" y="51"/>
                    </a:lnTo>
                    <a:lnTo>
                      <a:pt x="44" y="51"/>
                    </a:lnTo>
                    <a:lnTo>
                      <a:pt x="44" y="49"/>
                    </a:lnTo>
                    <a:lnTo>
                      <a:pt x="43" y="49"/>
                    </a:lnTo>
                    <a:lnTo>
                      <a:pt x="43" y="47"/>
                    </a:lnTo>
                    <a:lnTo>
                      <a:pt x="41" y="47"/>
                    </a:lnTo>
                    <a:lnTo>
                      <a:pt x="41" y="46"/>
                    </a:lnTo>
                    <a:lnTo>
                      <a:pt x="41" y="47"/>
                    </a:lnTo>
                    <a:lnTo>
                      <a:pt x="39" y="47"/>
                    </a:lnTo>
                    <a:lnTo>
                      <a:pt x="38" y="47"/>
                    </a:lnTo>
                    <a:lnTo>
                      <a:pt x="38" y="49"/>
                    </a:lnTo>
                    <a:lnTo>
                      <a:pt x="36" y="49"/>
                    </a:lnTo>
                    <a:lnTo>
                      <a:pt x="36" y="47"/>
                    </a:lnTo>
                    <a:lnTo>
                      <a:pt x="34" y="47"/>
                    </a:lnTo>
                    <a:lnTo>
                      <a:pt x="32" y="47"/>
                    </a:lnTo>
                    <a:lnTo>
                      <a:pt x="32" y="49"/>
                    </a:lnTo>
                    <a:lnTo>
                      <a:pt x="32" y="51"/>
                    </a:lnTo>
                    <a:lnTo>
                      <a:pt x="32" y="49"/>
                    </a:lnTo>
                    <a:lnTo>
                      <a:pt x="31" y="51"/>
                    </a:lnTo>
                    <a:lnTo>
                      <a:pt x="31" y="52"/>
                    </a:lnTo>
                    <a:lnTo>
                      <a:pt x="29" y="52"/>
                    </a:lnTo>
                    <a:lnTo>
                      <a:pt x="31" y="52"/>
                    </a:lnTo>
                    <a:lnTo>
                      <a:pt x="29" y="54"/>
                    </a:lnTo>
                    <a:lnTo>
                      <a:pt x="27" y="54"/>
                    </a:lnTo>
                    <a:lnTo>
                      <a:pt x="27" y="56"/>
                    </a:lnTo>
                    <a:lnTo>
                      <a:pt x="27" y="57"/>
                    </a:lnTo>
                    <a:lnTo>
                      <a:pt x="26" y="57"/>
                    </a:lnTo>
                    <a:lnTo>
                      <a:pt x="24" y="57"/>
                    </a:lnTo>
                    <a:lnTo>
                      <a:pt x="22" y="57"/>
                    </a:lnTo>
                    <a:lnTo>
                      <a:pt x="21" y="57"/>
                    </a:lnTo>
                    <a:lnTo>
                      <a:pt x="21" y="56"/>
                    </a:lnTo>
                    <a:lnTo>
                      <a:pt x="21" y="57"/>
                    </a:lnTo>
                    <a:lnTo>
                      <a:pt x="21" y="56"/>
                    </a:lnTo>
                    <a:lnTo>
                      <a:pt x="19" y="57"/>
                    </a:lnTo>
                    <a:lnTo>
                      <a:pt x="19" y="56"/>
                    </a:lnTo>
                    <a:lnTo>
                      <a:pt x="19" y="57"/>
                    </a:lnTo>
                    <a:lnTo>
                      <a:pt x="17" y="57"/>
                    </a:lnTo>
                    <a:lnTo>
                      <a:pt x="15" y="59"/>
                    </a:lnTo>
                    <a:lnTo>
                      <a:pt x="15" y="57"/>
                    </a:lnTo>
                    <a:lnTo>
                      <a:pt x="15" y="59"/>
                    </a:lnTo>
                    <a:lnTo>
                      <a:pt x="14" y="59"/>
                    </a:lnTo>
                    <a:lnTo>
                      <a:pt x="12" y="59"/>
                    </a:lnTo>
                    <a:lnTo>
                      <a:pt x="10" y="59"/>
                    </a:lnTo>
                    <a:lnTo>
                      <a:pt x="12" y="59"/>
                    </a:lnTo>
                    <a:lnTo>
                      <a:pt x="12" y="61"/>
                    </a:lnTo>
                    <a:lnTo>
                      <a:pt x="12" y="63"/>
                    </a:lnTo>
                    <a:lnTo>
                      <a:pt x="10" y="63"/>
                    </a:lnTo>
                    <a:lnTo>
                      <a:pt x="10" y="64"/>
                    </a:lnTo>
                    <a:lnTo>
                      <a:pt x="9" y="63"/>
                    </a:lnTo>
                    <a:lnTo>
                      <a:pt x="9" y="64"/>
                    </a:lnTo>
                    <a:lnTo>
                      <a:pt x="7" y="64"/>
                    </a:lnTo>
                    <a:lnTo>
                      <a:pt x="5" y="64"/>
                    </a:lnTo>
                    <a:lnTo>
                      <a:pt x="7" y="64"/>
                    </a:lnTo>
                    <a:lnTo>
                      <a:pt x="5" y="63"/>
                    </a:lnTo>
                    <a:lnTo>
                      <a:pt x="4" y="63"/>
                    </a:lnTo>
                    <a:lnTo>
                      <a:pt x="2" y="63"/>
                    </a:lnTo>
                    <a:lnTo>
                      <a:pt x="2" y="61"/>
                    </a:lnTo>
                    <a:lnTo>
                      <a:pt x="2" y="63"/>
                    </a:lnTo>
                    <a:lnTo>
                      <a:pt x="0" y="63"/>
                    </a:lnTo>
                    <a:lnTo>
                      <a:pt x="0" y="61"/>
                    </a:lnTo>
                    <a:lnTo>
                      <a:pt x="0" y="59"/>
                    </a:lnTo>
                    <a:lnTo>
                      <a:pt x="2" y="59"/>
                    </a:lnTo>
                    <a:lnTo>
                      <a:pt x="2" y="57"/>
                    </a:lnTo>
                    <a:lnTo>
                      <a:pt x="4" y="57"/>
                    </a:lnTo>
                    <a:lnTo>
                      <a:pt x="4" y="56"/>
                    </a:lnTo>
                    <a:lnTo>
                      <a:pt x="4" y="54"/>
                    </a:lnTo>
                    <a:lnTo>
                      <a:pt x="4" y="56"/>
                    </a:lnTo>
                    <a:lnTo>
                      <a:pt x="4" y="54"/>
                    </a:lnTo>
                    <a:lnTo>
                      <a:pt x="5" y="54"/>
                    </a:lnTo>
                    <a:lnTo>
                      <a:pt x="7" y="54"/>
                    </a:lnTo>
                    <a:lnTo>
                      <a:pt x="9" y="54"/>
                    </a:lnTo>
                    <a:lnTo>
                      <a:pt x="10" y="54"/>
                    </a:lnTo>
                    <a:lnTo>
                      <a:pt x="12" y="54"/>
                    </a:lnTo>
                    <a:lnTo>
                      <a:pt x="14" y="54"/>
                    </a:lnTo>
                    <a:lnTo>
                      <a:pt x="14" y="52"/>
                    </a:lnTo>
                    <a:lnTo>
                      <a:pt x="14" y="51"/>
                    </a:lnTo>
                    <a:lnTo>
                      <a:pt x="14" y="49"/>
                    </a:lnTo>
                    <a:lnTo>
                      <a:pt x="14" y="47"/>
                    </a:lnTo>
                    <a:lnTo>
                      <a:pt x="14" y="46"/>
                    </a:lnTo>
                    <a:lnTo>
                      <a:pt x="15" y="46"/>
                    </a:lnTo>
                    <a:lnTo>
                      <a:pt x="14" y="46"/>
                    </a:lnTo>
                    <a:lnTo>
                      <a:pt x="14" y="44"/>
                    </a:lnTo>
                    <a:lnTo>
                      <a:pt x="15" y="44"/>
                    </a:lnTo>
                    <a:lnTo>
                      <a:pt x="14" y="44"/>
                    </a:lnTo>
                    <a:lnTo>
                      <a:pt x="15" y="42"/>
                    </a:lnTo>
                    <a:lnTo>
                      <a:pt x="14" y="42"/>
                    </a:lnTo>
                    <a:lnTo>
                      <a:pt x="14" y="40"/>
                    </a:lnTo>
                    <a:lnTo>
                      <a:pt x="14" y="39"/>
                    </a:lnTo>
                    <a:lnTo>
                      <a:pt x="15" y="39"/>
                    </a:lnTo>
                    <a:lnTo>
                      <a:pt x="14" y="37"/>
                    </a:lnTo>
                    <a:lnTo>
                      <a:pt x="15" y="37"/>
                    </a:lnTo>
                    <a:lnTo>
                      <a:pt x="15" y="35"/>
                    </a:lnTo>
                    <a:lnTo>
                      <a:pt x="17" y="35"/>
                    </a:lnTo>
                    <a:lnTo>
                      <a:pt x="15" y="34"/>
                    </a:lnTo>
                    <a:lnTo>
                      <a:pt x="15" y="35"/>
                    </a:lnTo>
                    <a:lnTo>
                      <a:pt x="14" y="35"/>
                    </a:lnTo>
                    <a:lnTo>
                      <a:pt x="14" y="34"/>
                    </a:lnTo>
                    <a:lnTo>
                      <a:pt x="15" y="34"/>
                    </a:lnTo>
                    <a:lnTo>
                      <a:pt x="15" y="32"/>
                    </a:lnTo>
                    <a:lnTo>
                      <a:pt x="17" y="32"/>
                    </a:lnTo>
                    <a:lnTo>
                      <a:pt x="19" y="32"/>
                    </a:lnTo>
                    <a:lnTo>
                      <a:pt x="19" y="30"/>
                    </a:lnTo>
                    <a:lnTo>
                      <a:pt x="19" y="29"/>
                    </a:lnTo>
                    <a:lnTo>
                      <a:pt x="19" y="27"/>
                    </a:lnTo>
                    <a:lnTo>
                      <a:pt x="21" y="27"/>
                    </a:lnTo>
                    <a:lnTo>
                      <a:pt x="22" y="27"/>
                    </a:lnTo>
                    <a:lnTo>
                      <a:pt x="22" y="25"/>
                    </a:lnTo>
                    <a:lnTo>
                      <a:pt x="24" y="27"/>
                    </a:lnTo>
                    <a:lnTo>
                      <a:pt x="24" y="25"/>
                    </a:lnTo>
                    <a:lnTo>
                      <a:pt x="24" y="23"/>
                    </a:lnTo>
                    <a:lnTo>
                      <a:pt x="24" y="25"/>
                    </a:lnTo>
                    <a:lnTo>
                      <a:pt x="26" y="25"/>
                    </a:lnTo>
                    <a:lnTo>
                      <a:pt x="26" y="23"/>
                    </a:lnTo>
                    <a:lnTo>
                      <a:pt x="27" y="23"/>
                    </a:lnTo>
                    <a:lnTo>
                      <a:pt x="29" y="23"/>
                    </a:lnTo>
                    <a:lnTo>
                      <a:pt x="29" y="22"/>
                    </a:lnTo>
                    <a:lnTo>
                      <a:pt x="31" y="22"/>
                    </a:lnTo>
                    <a:lnTo>
                      <a:pt x="31" y="20"/>
                    </a:lnTo>
                    <a:lnTo>
                      <a:pt x="31" y="18"/>
                    </a:lnTo>
                    <a:lnTo>
                      <a:pt x="31" y="17"/>
                    </a:lnTo>
                    <a:lnTo>
                      <a:pt x="29" y="18"/>
                    </a:lnTo>
                    <a:lnTo>
                      <a:pt x="29" y="17"/>
                    </a:lnTo>
                    <a:lnTo>
                      <a:pt x="29" y="18"/>
                    </a:lnTo>
                    <a:lnTo>
                      <a:pt x="29" y="17"/>
                    </a:lnTo>
                    <a:lnTo>
                      <a:pt x="29" y="15"/>
                    </a:lnTo>
                    <a:lnTo>
                      <a:pt x="29" y="13"/>
                    </a:lnTo>
                    <a:lnTo>
                      <a:pt x="27" y="13"/>
                    </a:lnTo>
                    <a:lnTo>
                      <a:pt x="26" y="12"/>
                    </a:lnTo>
                    <a:lnTo>
                      <a:pt x="26" y="10"/>
                    </a:lnTo>
                    <a:lnTo>
                      <a:pt x="24" y="10"/>
                    </a:lnTo>
                    <a:lnTo>
                      <a:pt x="24" y="8"/>
                    </a:lnTo>
                    <a:lnTo>
                      <a:pt x="24" y="6"/>
                    </a:lnTo>
                    <a:lnTo>
                      <a:pt x="24" y="5"/>
                    </a:lnTo>
                    <a:lnTo>
                      <a:pt x="26" y="3"/>
                    </a:lnTo>
                    <a:lnTo>
                      <a:pt x="24" y="3"/>
                    </a:lnTo>
                    <a:lnTo>
                      <a:pt x="24" y="1"/>
                    </a:lnTo>
                    <a:lnTo>
                      <a:pt x="26" y="1"/>
                    </a:lnTo>
                    <a:lnTo>
                      <a:pt x="27" y="1"/>
                    </a:lnTo>
                    <a:lnTo>
                      <a:pt x="29" y="1"/>
                    </a:lnTo>
                    <a:lnTo>
                      <a:pt x="31" y="1"/>
                    </a:lnTo>
                    <a:lnTo>
                      <a:pt x="31" y="0"/>
                    </a:lnTo>
                    <a:lnTo>
                      <a:pt x="31" y="1"/>
                    </a:lnTo>
                    <a:lnTo>
                      <a:pt x="32" y="1"/>
                    </a:lnTo>
                    <a:lnTo>
                      <a:pt x="34" y="1"/>
                    </a:lnTo>
                    <a:lnTo>
                      <a:pt x="34" y="0"/>
                    </a:lnTo>
                    <a:lnTo>
                      <a:pt x="36" y="1"/>
                    </a:lnTo>
                    <a:lnTo>
                      <a:pt x="34" y="1"/>
                    </a:lnTo>
                    <a:lnTo>
                      <a:pt x="36" y="1"/>
                    </a:lnTo>
                    <a:lnTo>
                      <a:pt x="36" y="3"/>
                    </a:lnTo>
                    <a:lnTo>
                      <a:pt x="34" y="3"/>
                    </a:lnTo>
                    <a:lnTo>
                      <a:pt x="36" y="5"/>
                    </a:lnTo>
                    <a:lnTo>
                      <a:pt x="36" y="6"/>
                    </a:lnTo>
                    <a:lnTo>
                      <a:pt x="34" y="6"/>
                    </a:lnTo>
                    <a:lnTo>
                      <a:pt x="34" y="8"/>
                    </a:lnTo>
                    <a:lnTo>
                      <a:pt x="36" y="8"/>
                    </a:lnTo>
                    <a:lnTo>
                      <a:pt x="36" y="10"/>
                    </a:lnTo>
                    <a:lnTo>
                      <a:pt x="36" y="8"/>
                    </a:lnTo>
                    <a:lnTo>
                      <a:pt x="38" y="8"/>
                    </a:lnTo>
                    <a:lnTo>
                      <a:pt x="38" y="10"/>
                    </a:lnTo>
                    <a:lnTo>
                      <a:pt x="36" y="10"/>
                    </a:lnTo>
                    <a:lnTo>
                      <a:pt x="38" y="10"/>
                    </a:lnTo>
                    <a:lnTo>
                      <a:pt x="38" y="12"/>
                    </a:lnTo>
                    <a:lnTo>
                      <a:pt x="39" y="12"/>
                    </a:lnTo>
                    <a:lnTo>
                      <a:pt x="39" y="13"/>
                    </a:lnTo>
                    <a:lnTo>
                      <a:pt x="38" y="13"/>
                    </a:lnTo>
                    <a:lnTo>
                      <a:pt x="38" y="15"/>
                    </a:lnTo>
                    <a:lnTo>
                      <a:pt x="39" y="15"/>
                    </a:lnTo>
                    <a:lnTo>
                      <a:pt x="39" y="17"/>
                    </a:lnTo>
                    <a:lnTo>
                      <a:pt x="38" y="17"/>
                    </a:lnTo>
                    <a:lnTo>
                      <a:pt x="38" y="18"/>
                    </a:lnTo>
                    <a:lnTo>
                      <a:pt x="39" y="18"/>
                    </a:lnTo>
                    <a:lnTo>
                      <a:pt x="38" y="18"/>
                    </a:lnTo>
                    <a:lnTo>
                      <a:pt x="38" y="20"/>
                    </a:lnTo>
                    <a:lnTo>
                      <a:pt x="39" y="20"/>
                    </a:lnTo>
                    <a:lnTo>
                      <a:pt x="41" y="20"/>
                    </a:lnTo>
                    <a:lnTo>
                      <a:pt x="41" y="22"/>
                    </a:lnTo>
                    <a:lnTo>
                      <a:pt x="43" y="22"/>
                    </a:lnTo>
                    <a:lnTo>
                      <a:pt x="41" y="22"/>
                    </a:lnTo>
                    <a:lnTo>
                      <a:pt x="43" y="23"/>
                    </a:lnTo>
                    <a:lnTo>
                      <a:pt x="43" y="25"/>
                    </a:lnTo>
                    <a:lnTo>
                      <a:pt x="44" y="25"/>
                    </a:lnTo>
                    <a:lnTo>
                      <a:pt x="44" y="27"/>
                    </a:lnTo>
                    <a:lnTo>
                      <a:pt x="44" y="29"/>
                    </a:lnTo>
                    <a:lnTo>
                      <a:pt x="46" y="29"/>
                    </a:lnTo>
                    <a:lnTo>
                      <a:pt x="46" y="30"/>
                    </a:lnTo>
                    <a:lnTo>
                      <a:pt x="48" y="30"/>
                    </a:lnTo>
                    <a:lnTo>
                      <a:pt x="48" y="32"/>
                    </a:lnTo>
                    <a:lnTo>
                      <a:pt x="46" y="32"/>
                    </a:lnTo>
                    <a:lnTo>
                      <a:pt x="48" y="32"/>
                    </a:lnTo>
                    <a:lnTo>
                      <a:pt x="48" y="34"/>
                    </a:lnTo>
                    <a:lnTo>
                      <a:pt x="48" y="35"/>
                    </a:lnTo>
                    <a:lnTo>
                      <a:pt x="49" y="35"/>
                    </a:lnTo>
                    <a:lnTo>
                      <a:pt x="49" y="37"/>
                    </a:lnTo>
                    <a:lnTo>
                      <a:pt x="51" y="39"/>
                    </a:lnTo>
                    <a:lnTo>
                      <a:pt x="51" y="40"/>
                    </a:lnTo>
                    <a:lnTo>
                      <a:pt x="53" y="40"/>
                    </a:lnTo>
                    <a:lnTo>
                      <a:pt x="53" y="42"/>
                    </a:lnTo>
                    <a:lnTo>
                      <a:pt x="53" y="44"/>
                    </a:lnTo>
                    <a:lnTo>
                      <a:pt x="55" y="44"/>
                    </a:lnTo>
                    <a:lnTo>
                      <a:pt x="55" y="46"/>
                    </a:lnTo>
                    <a:lnTo>
                      <a:pt x="56" y="46"/>
                    </a:lnTo>
                    <a:lnTo>
                      <a:pt x="56" y="47"/>
                    </a:lnTo>
                    <a:lnTo>
                      <a:pt x="58" y="47"/>
                    </a:lnTo>
                    <a:lnTo>
                      <a:pt x="60" y="47"/>
                    </a:lnTo>
                    <a:lnTo>
                      <a:pt x="61" y="47"/>
                    </a:lnTo>
                    <a:lnTo>
                      <a:pt x="61" y="4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38" name="Freeform 45">
                <a:extLst>
                  <a:ext uri="{FF2B5EF4-FFF2-40B4-BE49-F238E27FC236}">
                    <a16:creationId xmlns:a16="http://schemas.microsoft.com/office/drawing/2014/main" id="{FEA9E46C-7852-9660-BEAC-C0AF94303B46}"/>
                  </a:ext>
                </a:extLst>
              </p:cNvPr>
              <p:cNvSpPr>
                <a:spLocks/>
              </p:cNvSpPr>
              <p:nvPr/>
            </p:nvSpPr>
            <p:spPr bwMode="auto">
              <a:xfrm>
                <a:off x="5757004" y="3141861"/>
                <a:ext cx="83416" cy="89878"/>
              </a:xfrm>
              <a:custGeom>
                <a:avLst/>
                <a:gdLst>
                  <a:gd name="T0" fmla="*/ 155 w 284"/>
                  <a:gd name="T1" fmla="*/ 39 h 306"/>
                  <a:gd name="T2" fmla="*/ 158 w 284"/>
                  <a:gd name="T3" fmla="*/ 51 h 306"/>
                  <a:gd name="T4" fmla="*/ 161 w 284"/>
                  <a:gd name="T5" fmla="*/ 58 h 306"/>
                  <a:gd name="T6" fmla="*/ 161 w 284"/>
                  <a:gd name="T7" fmla="*/ 68 h 306"/>
                  <a:gd name="T8" fmla="*/ 160 w 284"/>
                  <a:gd name="T9" fmla="*/ 80 h 306"/>
                  <a:gd name="T10" fmla="*/ 158 w 284"/>
                  <a:gd name="T11" fmla="*/ 92 h 306"/>
                  <a:gd name="T12" fmla="*/ 158 w 284"/>
                  <a:gd name="T13" fmla="*/ 100 h 306"/>
                  <a:gd name="T14" fmla="*/ 167 w 284"/>
                  <a:gd name="T15" fmla="*/ 102 h 306"/>
                  <a:gd name="T16" fmla="*/ 178 w 284"/>
                  <a:gd name="T17" fmla="*/ 107 h 306"/>
                  <a:gd name="T18" fmla="*/ 189 w 284"/>
                  <a:gd name="T19" fmla="*/ 107 h 306"/>
                  <a:gd name="T20" fmla="*/ 201 w 284"/>
                  <a:gd name="T21" fmla="*/ 105 h 306"/>
                  <a:gd name="T22" fmla="*/ 207 w 284"/>
                  <a:gd name="T23" fmla="*/ 103 h 306"/>
                  <a:gd name="T24" fmla="*/ 216 w 284"/>
                  <a:gd name="T25" fmla="*/ 105 h 306"/>
                  <a:gd name="T26" fmla="*/ 226 w 284"/>
                  <a:gd name="T27" fmla="*/ 109 h 306"/>
                  <a:gd name="T28" fmla="*/ 235 w 284"/>
                  <a:gd name="T29" fmla="*/ 117 h 306"/>
                  <a:gd name="T30" fmla="*/ 236 w 284"/>
                  <a:gd name="T31" fmla="*/ 131 h 306"/>
                  <a:gd name="T32" fmla="*/ 240 w 284"/>
                  <a:gd name="T33" fmla="*/ 143 h 306"/>
                  <a:gd name="T34" fmla="*/ 241 w 284"/>
                  <a:gd name="T35" fmla="*/ 156 h 306"/>
                  <a:gd name="T36" fmla="*/ 243 w 284"/>
                  <a:gd name="T37" fmla="*/ 166 h 306"/>
                  <a:gd name="T38" fmla="*/ 253 w 284"/>
                  <a:gd name="T39" fmla="*/ 170 h 306"/>
                  <a:gd name="T40" fmla="*/ 263 w 284"/>
                  <a:gd name="T41" fmla="*/ 166 h 306"/>
                  <a:gd name="T42" fmla="*/ 277 w 284"/>
                  <a:gd name="T43" fmla="*/ 166 h 306"/>
                  <a:gd name="T44" fmla="*/ 282 w 284"/>
                  <a:gd name="T45" fmla="*/ 180 h 306"/>
                  <a:gd name="T46" fmla="*/ 282 w 284"/>
                  <a:gd name="T47" fmla="*/ 195 h 306"/>
                  <a:gd name="T48" fmla="*/ 277 w 284"/>
                  <a:gd name="T49" fmla="*/ 212 h 306"/>
                  <a:gd name="T50" fmla="*/ 272 w 284"/>
                  <a:gd name="T51" fmla="*/ 229 h 306"/>
                  <a:gd name="T52" fmla="*/ 272 w 284"/>
                  <a:gd name="T53" fmla="*/ 245 h 306"/>
                  <a:gd name="T54" fmla="*/ 270 w 284"/>
                  <a:gd name="T55" fmla="*/ 257 h 306"/>
                  <a:gd name="T56" fmla="*/ 265 w 284"/>
                  <a:gd name="T57" fmla="*/ 270 h 306"/>
                  <a:gd name="T58" fmla="*/ 253 w 284"/>
                  <a:gd name="T59" fmla="*/ 280 h 306"/>
                  <a:gd name="T60" fmla="*/ 240 w 284"/>
                  <a:gd name="T61" fmla="*/ 287 h 306"/>
                  <a:gd name="T62" fmla="*/ 236 w 284"/>
                  <a:gd name="T63" fmla="*/ 297 h 306"/>
                  <a:gd name="T64" fmla="*/ 223 w 284"/>
                  <a:gd name="T65" fmla="*/ 296 h 306"/>
                  <a:gd name="T66" fmla="*/ 212 w 284"/>
                  <a:gd name="T67" fmla="*/ 304 h 306"/>
                  <a:gd name="T68" fmla="*/ 199 w 284"/>
                  <a:gd name="T69" fmla="*/ 303 h 306"/>
                  <a:gd name="T70" fmla="*/ 185 w 284"/>
                  <a:gd name="T71" fmla="*/ 301 h 306"/>
                  <a:gd name="T72" fmla="*/ 170 w 284"/>
                  <a:gd name="T73" fmla="*/ 297 h 306"/>
                  <a:gd name="T74" fmla="*/ 153 w 284"/>
                  <a:gd name="T75" fmla="*/ 294 h 306"/>
                  <a:gd name="T76" fmla="*/ 136 w 284"/>
                  <a:gd name="T77" fmla="*/ 296 h 306"/>
                  <a:gd name="T78" fmla="*/ 139 w 284"/>
                  <a:gd name="T79" fmla="*/ 287 h 306"/>
                  <a:gd name="T80" fmla="*/ 144 w 284"/>
                  <a:gd name="T81" fmla="*/ 280 h 306"/>
                  <a:gd name="T82" fmla="*/ 151 w 284"/>
                  <a:gd name="T83" fmla="*/ 270 h 306"/>
                  <a:gd name="T84" fmla="*/ 151 w 284"/>
                  <a:gd name="T85" fmla="*/ 260 h 306"/>
                  <a:gd name="T86" fmla="*/ 156 w 284"/>
                  <a:gd name="T87" fmla="*/ 250 h 306"/>
                  <a:gd name="T88" fmla="*/ 163 w 284"/>
                  <a:gd name="T89" fmla="*/ 240 h 306"/>
                  <a:gd name="T90" fmla="*/ 168 w 284"/>
                  <a:gd name="T91" fmla="*/ 231 h 306"/>
                  <a:gd name="T92" fmla="*/ 167 w 284"/>
                  <a:gd name="T93" fmla="*/ 221 h 306"/>
                  <a:gd name="T94" fmla="*/ 161 w 284"/>
                  <a:gd name="T95" fmla="*/ 211 h 306"/>
                  <a:gd name="T96" fmla="*/ 153 w 284"/>
                  <a:gd name="T97" fmla="*/ 207 h 306"/>
                  <a:gd name="T98" fmla="*/ 143 w 284"/>
                  <a:gd name="T99" fmla="*/ 204 h 306"/>
                  <a:gd name="T100" fmla="*/ 129 w 284"/>
                  <a:gd name="T101" fmla="*/ 199 h 306"/>
                  <a:gd name="T102" fmla="*/ 114 w 284"/>
                  <a:gd name="T103" fmla="*/ 190 h 306"/>
                  <a:gd name="T104" fmla="*/ 83 w 284"/>
                  <a:gd name="T105" fmla="*/ 173 h 306"/>
                  <a:gd name="T106" fmla="*/ 68 w 284"/>
                  <a:gd name="T107" fmla="*/ 168 h 306"/>
                  <a:gd name="T108" fmla="*/ 54 w 284"/>
                  <a:gd name="T109" fmla="*/ 161 h 306"/>
                  <a:gd name="T110" fmla="*/ 46 w 284"/>
                  <a:gd name="T111" fmla="*/ 151 h 306"/>
                  <a:gd name="T112" fmla="*/ 34 w 284"/>
                  <a:gd name="T113" fmla="*/ 144 h 306"/>
                  <a:gd name="T114" fmla="*/ 22 w 284"/>
                  <a:gd name="T115" fmla="*/ 136 h 306"/>
                  <a:gd name="T116" fmla="*/ 14 w 284"/>
                  <a:gd name="T117" fmla="*/ 122 h 306"/>
                  <a:gd name="T118" fmla="*/ 10 w 284"/>
                  <a:gd name="T119" fmla="*/ 115 h 306"/>
                  <a:gd name="T120" fmla="*/ 0 w 284"/>
                  <a:gd name="T121" fmla="*/ 109 h 306"/>
                  <a:gd name="T122" fmla="*/ 25 w 284"/>
                  <a:gd name="T123" fmla="*/ 27 h 306"/>
                  <a:gd name="T124" fmla="*/ 151 w 284"/>
                  <a:gd name="T125" fmla="*/ 2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4" h="306">
                    <a:moveTo>
                      <a:pt x="151" y="32"/>
                    </a:moveTo>
                    <a:lnTo>
                      <a:pt x="153" y="32"/>
                    </a:lnTo>
                    <a:lnTo>
                      <a:pt x="153" y="34"/>
                    </a:lnTo>
                    <a:lnTo>
                      <a:pt x="151" y="34"/>
                    </a:lnTo>
                    <a:lnTo>
                      <a:pt x="151" y="35"/>
                    </a:lnTo>
                    <a:lnTo>
                      <a:pt x="153" y="35"/>
                    </a:lnTo>
                    <a:lnTo>
                      <a:pt x="153" y="34"/>
                    </a:lnTo>
                    <a:lnTo>
                      <a:pt x="155" y="35"/>
                    </a:lnTo>
                    <a:lnTo>
                      <a:pt x="153" y="37"/>
                    </a:lnTo>
                    <a:lnTo>
                      <a:pt x="155" y="37"/>
                    </a:lnTo>
                    <a:lnTo>
                      <a:pt x="155" y="39"/>
                    </a:lnTo>
                    <a:lnTo>
                      <a:pt x="156" y="41"/>
                    </a:lnTo>
                    <a:lnTo>
                      <a:pt x="158" y="41"/>
                    </a:lnTo>
                    <a:lnTo>
                      <a:pt x="158" y="42"/>
                    </a:lnTo>
                    <a:lnTo>
                      <a:pt x="156" y="42"/>
                    </a:lnTo>
                    <a:lnTo>
                      <a:pt x="156" y="44"/>
                    </a:lnTo>
                    <a:lnTo>
                      <a:pt x="156" y="46"/>
                    </a:lnTo>
                    <a:lnTo>
                      <a:pt x="158" y="46"/>
                    </a:lnTo>
                    <a:lnTo>
                      <a:pt x="156" y="47"/>
                    </a:lnTo>
                    <a:lnTo>
                      <a:pt x="158" y="47"/>
                    </a:lnTo>
                    <a:lnTo>
                      <a:pt x="158" y="49"/>
                    </a:lnTo>
                    <a:lnTo>
                      <a:pt x="158" y="51"/>
                    </a:lnTo>
                    <a:lnTo>
                      <a:pt x="160" y="51"/>
                    </a:lnTo>
                    <a:lnTo>
                      <a:pt x="160" y="49"/>
                    </a:lnTo>
                    <a:lnTo>
                      <a:pt x="160" y="51"/>
                    </a:lnTo>
                    <a:lnTo>
                      <a:pt x="161" y="51"/>
                    </a:lnTo>
                    <a:lnTo>
                      <a:pt x="161" y="52"/>
                    </a:lnTo>
                    <a:lnTo>
                      <a:pt x="160" y="52"/>
                    </a:lnTo>
                    <a:lnTo>
                      <a:pt x="158" y="54"/>
                    </a:lnTo>
                    <a:lnTo>
                      <a:pt x="160" y="54"/>
                    </a:lnTo>
                    <a:lnTo>
                      <a:pt x="161" y="54"/>
                    </a:lnTo>
                    <a:lnTo>
                      <a:pt x="161" y="56"/>
                    </a:lnTo>
                    <a:lnTo>
                      <a:pt x="161" y="58"/>
                    </a:lnTo>
                    <a:lnTo>
                      <a:pt x="160" y="58"/>
                    </a:lnTo>
                    <a:lnTo>
                      <a:pt x="161" y="58"/>
                    </a:lnTo>
                    <a:lnTo>
                      <a:pt x="161" y="59"/>
                    </a:lnTo>
                    <a:lnTo>
                      <a:pt x="163" y="59"/>
                    </a:lnTo>
                    <a:lnTo>
                      <a:pt x="163" y="61"/>
                    </a:lnTo>
                    <a:lnTo>
                      <a:pt x="163" y="63"/>
                    </a:lnTo>
                    <a:lnTo>
                      <a:pt x="161" y="63"/>
                    </a:lnTo>
                    <a:lnTo>
                      <a:pt x="161" y="64"/>
                    </a:lnTo>
                    <a:lnTo>
                      <a:pt x="163" y="64"/>
                    </a:lnTo>
                    <a:lnTo>
                      <a:pt x="161" y="66"/>
                    </a:lnTo>
                    <a:lnTo>
                      <a:pt x="161" y="68"/>
                    </a:lnTo>
                    <a:lnTo>
                      <a:pt x="163" y="68"/>
                    </a:lnTo>
                    <a:lnTo>
                      <a:pt x="163" y="69"/>
                    </a:lnTo>
                    <a:lnTo>
                      <a:pt x="161" y="69"/>
                    </a:lnTo>
                    <a:lnTo>
                      <a:pt x="161" y="71"/>
                    </a:lnTo>
                    <a:lnTo>
                      <a:pt x="160" y="71"/>
                    </a:lnTo>
                    <a:lnTo>
                      <a:pt x="161" y="73"/>
                    </a:lnTo>
                    <a:lnTo>
                      <a:pt x="161" y="75"/>
                    </a:lnTo>
                    <a:lnTo>
                      <a:pt x="161" y="76"/>
                    </a:lnTo>
                    <a:lnTo>
                      <a:pt x="160" y="76"/>
                    </a:lnTo>
                    <a:lnTo>
                      <a:pt x="160" y="78"/>
                    </a:lnTo>
                    <a:lnTo>
                      <a:pt x="160" y="80"/>
                    </a:lnTo>
                    <a:lnTo>
                      <a:pt x="158" y="80"/>
                    </a:lnTo>
                    <a:lnTo>
                      <a:pt x="158" y="81"/>
                    </a:lnTo>
                    <a:lnTo>
                      <a:pt x="160" y="81"/>
                    </a:lnTo>
                    <a:lnTo>
                      <a:pt x="160" y="83"/>
                    </a:lnTo>
                    <a:lnTo>
                      <a:pt x="160" y="85"/>
                    </a:lnTo>
                    <a:lnTo>
                      <a:pt x="160" y="86"/>
                    </a:lnTo>
                    <a:lnTo>
                      <a:pt x="161" y="86"/>
                    </a:lnTo>
                    <a:lnTo>
                      <a:pt x="160" y="88"/>
                    </a:lnTo>
                    <a:lnTo>
                      <a:pt x="160" y="90"/>
                    </a:lnTo>
                    <a:lnTo>
                      <a:pt x="160" y="92"/>
                    </a:lnTo>
                    <a:lnTo>
                      <a:pt x="158" y="92"/>
                    </a:lnTo>
                    <a:lnTo>
                      <a:pt x="158" y="93"/>
                    </a:lnTo>
                    <a:lnTo>
                      <a:pt x="160" y="93"/>
                    </a:lnTo>
                    <a:lnTo>
                      <a:pt x="160" y="95"/>
                    </a:lnTo>
                    <a:lnTo>
                      <a:pt x="160" y="97"/>
                    </a:lnTo>
                    <a:lnTo>
                      <a:pt x="158" y="97"/>
                    </a:lnTo>
                    <a:lnTo>
                      <a:pt x="158" y="98"/>
                    </a:lnTo>
                    <a:lnTo>
                      <a:pt x="156" y="98"/>
                    </a:lnTo>
                    <a:lnTo>
                      <a:pt x="156" y="100"/>
                    </a:lnTo>
                    <a:lnTo>
                      <a:pt x="158" y="100"/>
                    </a:lnTo>
                    <a:lnTo>
                      <a:pt x="158" y="102"/>
                    </a:lnTo>
                    <a:lnTo>
                      <a:pt x="158" y="100"/>
                    </a:lnTo>
                    <a:lnTo>
                      <a:pt x="160" y="100"/>
                    </a:lnTo>
                    <a:lnTo>
                      <a:pt x="160" y="102"/>
                    </a:lnTo>
                    <a:lnTo>
                      <a:pt x="161" y="102"/>
                    </a:lnTo>
                    <a:lnTo>
                      <a:pt x="161" y="103"/>
                    </a:lnTo>
                    <a:lnTo>
                      <a:pt x="161" y="102"/>
                    </a:lnTo>
                    <a:lnTo>
                      <a:pt x="163" y="102"/>
                    </a:lnTo>
                    <a:lnTo>
                      <a:pt x="163" y="103"/>
                    </a:lnTo>
                    <a:lnTo>
                      <a:pt x="165" y="102"/>
                    </a:lnTo>
                    <a:lnTo>
                      <a:pt x="165" y="103"/>
                    </a:lnTo>
                    <a:lnTo>
                      <a:pt x="167" y="103"/>
                    </a:lnTo>
                    <a:lnTo>
                      <a:pt x="167" y="102"/>
                    </a:lnTo>
                    <a:lnTo>
                      <a:pt x="168" y="102"/>
                    </a:lnTo>
                    <a:lnTo>
                      <a:pt x="170" y="102"/>
                    </a:lnTo>
                    <a:lnTo>
                      <a:pt x="170" y="103"/>
                    </a:lnTo>
                    <a:lnTo>
                      <a:pt x="172" y="103"/>
                    </a:lnTo>
                    <a:lnTo>
                      <a:pt x="173" y="105"/>
                    </a:lnTo>
                    <a:lnTo>
                      <a:pt x="173" y="103"/>
                    </a:lnTo>
                    <a:lnTo>
                      <a:pt x="173" y="105"/>
                    </a:lnTo>
                    <a:lnTo>
                      <a:pt x="175" y="105"/>
                    </a:lnTo>
                    <a:lnTo>
                      <a:pt x="177" y="105"/>
                    </a:lnTo>
                    <a:lnTo>
                      <a:pt x="178" y="105"/>
                    </a:lnTo>
                    <a:lnTo>
                      <a:pt x="178" y="107"/>
                    </a:lnTo>
                    <a:lnTo>
                      <a:pt x="178" y="105"/>
                    </a:lnTo>
                    <a:lnTo>
                      <a:pt x="180" y="107"/>
                    </a:lnTo>
                    <a:lnTo>
                      <a:pt x="182" y="105"/>
                    </a:lnTo>
                    <a:lnTo>
                      <a:pt x="182" y="107"/>
                    </a:lnTo>
                    <a:lnTo>
                      <a:pt x="184" y="107"/>
                    </a:lnTo>
                    <a:lnTo>
                      <a:pt x="184" y="105"/>
                    </a:lnTo>
                    <a:lnTo>
                      <a:pt x="185" y="105"/>
                    </a:lnTo>
                    <a:lnTo>
                      <a:pt x="185" y="107"/>
                    </a:lnTo>
                    <a:lnTo>
                      <a:pt x="187" y="105"/>
                    </a:lnTo>
                    <a:lnTo>
                      <a:pt x="187" y="107"/>
                    </a:lnTo>
                    <a:lnTo>
                      <a:pt x="189" y="107"/>
                    </a:lnTo>
                    <a:lnTo>
                      <a:pt x="190" y="107"/>
                    </a:lnTo>
                    <a:lnTo>
                      <a:pt x="190" y="105"/>
                    </a:lnTo>
                    <a:lnTo>
                      <a:pt x="192" y="107"/>
                    </a:lnTo>
                    <a:lnTo>
                      <a:pt x="194" y="107"/>
                    </a:lnTo>
                    <a:lnTo>
                      <a:pt x="195" y="107"/>
                    </a:lnTo>
                    <a:lnTo>
                      <a:pt x="195" y="109"/>
                    </a:lnTo>
                    <a:lnTo>
                      <a:pt x="197" y="109"/>
                    </a:lnTo>
                    <a:lnTo>
                      <a:pt x="197" y="107"/>
                    </a:lnTo>
                    <a:lnTo>
                      <a:pt x="199" y="107"/>
                    </a:lnTo>
                    <a:lnTo>
                      <a:pt x="201" y="107"/>
                    </a:lnTo>
                    <a:lnTo>
                      <a:pt x="201" y="105"/>
                    </a:lnTo>
                    <a:lnTo>
                      <a:pt x="202" y="105"/>
                    </a:lnTo>
                    <a:lnTo>
                      <a:pt x="202" y="107"/>
                    </a:lnTo>
                    <a:lnTo>
                      <a:pt x="204" y="107"/>
                    </a:lnTo>
                    <a:lnTo>
                      <a:pt x="202" y="107"/>
                    </a:lnTo>
                    <a:lnTo>
                      <a:pt x="204" y="107"/>
                    </a:lnTo>
                    <a:lnTo>
                      <a:pt x="204" y="105"/>
                    </a:lnTo>
                    <a:lnTo>
                      <a:pt x="206" y="105"/>
                    </a:lnTo>
                    <a:lnTo>
                      <a:pt x="206" y="103"/>
                    </a:lnTo>
                    <a:lnTo>
                      <a:pt x="207" y="103"/>
                    </a:lnTo>
                    <a:lnTo>
                      <a:pt x="206" y="103"/>
                    </a:lnTo>
                    <a:lnTo>
                      <a:pt x="207" y="103"/>
                    </a:lnTo>
                    <a:lnTo>
                      <a:pt x="207" y="102"/>
                    </a:lnTo>
                    <a:lnTo>
                      <a:pt x="209" y="102"/>
                    </a:lnTo>
                    <a:lnTo>
                      <a:pt x="209" y="100"/>
                    </a:lnTo>
                    <a:lnTo>
                      <a:pt x="211" y="102"/>
                    </a:lnTo>
                    <a:lnTo>
                      <a:pt x="211" y="100"/>
                    </a:lnTo>
                    <a:lnTo>
                      <a:pt x="211" y="102"/>
                    </a:lnTo>
                    <a:lnTo>
                      <a:pt x="212" y="102"/>
                    </a:lnTo>
                    <a:lnTo>
                      <a:pt x="212" y="103"/>
                    </a:lnTo>
                    <a:lnTo>
                      <a:pt x="212" y="105"/>
                    </a:lnTo>
                    <a:lnTo>
                      <a:pt x="214" y="105"/>
                    </a:lnTo>
                    <a:lnTo>
                      <a:pt x="216" y="105"/>
                    </a:lnTo>
                    <a:lnTo>
                      <a:pt x="216" y="107"/>
                    </a:lnTo>
                    <a:lnTo>
                      <a:pt x="218" y="107"/>
                    </a:lnTo>
                    <a:lnTo>
                      <a:pt x="218" y="109"/>
                    </a:lnTo>
                    <a:lnTo>
                      <a:pt x="218" y="107"/>
                    </a:lnTo>
                    <a:lnTo>
                      <a:pt x="219" y="109"/>
                    </a:lnTo>
                    <a:lnTo>
                      <a:pt x="221" y="109"/>
                    </a:lnTo>
                    <a:lnTo>
                      <a:pt x="221" y="107"/>
                    </a:lnTo>
                    <a:lnTo>
                      <a:pt x="221" y="109"/>
                    </a:lnTo>
                    <a:lnTo>
                      <a:pt x="223" y="109"/>
                    </a:lnTo>
                    <a:lnTo>
                      <a:pt x="224" y="109"/>
                    </a:lnTo>
                    <a:lnTo>
                      <a:pt x="226" y="109"/>
                    </a:lnTo>
                    <a:lnTo>
                      <a:pt x="228" y="109"/>
                    </a:lnTo>
                    <a:lnTo>
                      <a:pt x="229" y="109"/>
                    </a:lnTo>
                    <a:lnTo>
                      <a:pt x="231" y="110"/>
                    </a:lnTo>
                    <a:lnTo>
                      <a:pt x="231" y="112"/>
                    </a:lnTo>
                    <a:lnTo>
                      <a:pt x="233" y="112"/>
                    </a:lnTo>
                    <a:lnTo>
                      <a:pt x="233" y="114"/>
                    </a:lnTo>
                    <a:lnTo>
                      <a:pt x="235" y="114"/>
                    </a:lnTo>
                    <a:lnTo>
                      <a:pt x="233" y="114"/>
                    </a:lnTo>
                    <a:lnTo>
                      <a:pt x="233" y="115"/>
                    </a:lnTo>
                    <a:lnTo>
                      <a:pt x="233" y="117"/>
                    </a:lnTo>
                    <a:lnTo>
                      <a:pt x="235" y="117"/>
                    </a:lnTo>
                    <a:lnTo>
                      <a:pt x="235" y="119"/>
                    </a:lnTo>
                    <a:lnTo>
                      <a:pt x="236" y="119"/>
                    </a:lnTo>
                    <a:lnTo>
                      <a:pt x="236" y="121"/>
                    </a:lnTo>
                    <a:lnTo>
                      <a:pt x="238" y="121"/>
                    </a:lnTo>
                    <a:lnTo>
                      <a:pt x="238" y="122"/>
                    </a:lnTo>
                    <a:lnTo>
                      <a:pt x="238" y="124"/>
                    </a:lnTo>
                    <a:lnTo>
                      <a:pt x="238" y="126"/>
                    </a:lnTo>
                    <a:lnTo>
                      <a:pt x="236" y="126"/>
                    </a:lnTo>
                    <a:lnTo>
                      <a:pt x="236" y="127"/>
                    </a:lnTo>
                    <a:lnTo>
                      <a:pt x="236" y="129"/>
                    </a:lnTo>
                    <a:lnTo>
                      <a:pt x="236" y="131"/>
                    </a:lnTo>
                    <a:lnTo>
                      <a:pt x="236" y="132"/>
                    </a:lnTo>
                    <a:lnTo>
                      <a:pt x="238" y="134"/>
                    </a:lnTo>
                    <a:lnTo>
                      <a:pt x="236" y="136"/>
                    </a:lnTo>
                    <a:lnTo>
                      <a:pt x="238" y="136"/>
                    </a:lnTo>
                    <a:lnTo>
                      <a:pt x="238" y="138"/>
                    </a:lnTo>
                    <a:lnTo>
                      <a:pt x="238" y="139"/>
                    </a:lnTo>
                    <a:lnTo>
                      <a:pt x="240" y="139"/>
                    </a:lnTo>
                    <a:lnTo>
                      <a:pt x="240" y="141"/>
                    </a:lnTo>
                    <a:lnTo>
                      <a:pt x="241" y="141"/>
                    </a:lnTo>
                    <a:lnTo>
                      <a:pt x="241" y="143"/>
                    </a:lnTo>
                    <a:lnTo>
                      <a:pt x="240" y="143"/>
                    </a:lnTo>
                    <a:lnTo>
                      <a:pt x="240" y="144"/>
                    </a:lnTo>
                    <a:lnTo>
                      <a:pt x="241" y="144"/>
                    </a:lnTo>
                    <a:lnTo>
                      <a:pt x="240" y="144"/>
                    </a:lnTo>
                    <a:lnTo>
                      <a:pt x="240" y="146"/>
                    </a:lnTo>
                    <a:lnTo>
                      <a:pt x="241" y="148"/>
                    </a:lnTo>
                    <a:lnTo>
                      <a:pt x="241" y="149"/>
                    </a:lnTo>
                    <a:lnTo>
                      <a:pt x="240" y="151"/>
                    </a:lnTo>
                    <a:lnTo>
                      <a:pt x="240" y="153"/>
                    </a:lnTo>
                    <a:lnTo>
                      <a:pt x="240" y="155"/>
                    </a:lnTo>
                    <a:lnTo>
                      <a:pt x="241" y="155"/>
                    </a:lnTo>
                    <a:lnTo>
                      <a:pt x="241" y="156"/>
                    </a:lnTo>
                    <a:lnTo>
                      <a:pt x="240" y="156"/>
                    </a:lnTo>
                    <a:lnTo>
                      <a:pt x="240" y="158"/>
                    </a:lnTo>
                    <a:lnTo>
                      <a:pt x="241" y="158"/>
                    </a:lnTo>
                    <a:lnTo>
                      <a:pt x="243" y="158"/>
                    </a:lnTo>
                    <a:lnTo>
                      <a:pt x="243" y="160"/>
                    </a:lnTo>
                    <a:lnTo>
                      <a:pt x="243" y="161"/>
                    </a:lnTo>
                    <a:lnTo>
                      <a:pt x="243" y="163"/>
                    </a:lnTo>
                    <a:lnTo>
                      <a:pt x="245" y="163"/>
                    </a:lnTo>
                    <a:lnTo>
                      <a:pt x="243" y="163"/>
                    </a:lnTo>
                    <a:lnTo>
                      <a:pt x="243" y="165"/>
                    </a:lnTo>
                    <a:lnTo>
                      <a:pt x="243" y="166"/>
                    </a:lnTo>
                    <a:lnTo>
                      <a:pt x="243" y="168"/>
                    </a:lnTo>
                    <a:lnTo>
                      <a:pt x="245" y="168"/>
                    </a:lnTo>
                    <a:lnTo>
                      <a:pt x="245" y="170"/>
                    </a:lnTo>
                    <a:lnTo>
                      <a:pt x="246" y="170"/>
                    </a:lnTo>
                    <a:lnTo>
                      <a:pt x="246" y="172"/>
                    </a:lnTo>
                    <a:lnTo>
                      <a:pt x="248" y="170"/>
                    </a:lnTo>
                    <a:lnTo>
                      <a:pt x="250" y="170"/>
                    </a:lnTo>
                    <a:lnTo>
                      <a:pt x="250" y="172"/>
                    </a:lnTo>
                    <a:lnTo>
                      <a:pt x="252" y="172"/>
                    </a:lnTo>
                    <a:lnTo>
                      <a:pt x="253" y="172"/>
                    </a:lnTo>
                    <a:lnTo>
                      <a:pt x="253" y="170"/>
                    </a:lnTo>
                    <a:lnTo>
                      <a:pt x="253" y="172"/>
                    </a:lnTo>
                    <a:lnTo>
                      <a:pt x="255" y="170"/>
                    </a:lnTo>
                    <a:lnTo>
                      <a:pt x="257" y="170"/>
                    </a:lnTo>
                    <a:lnTo>
                      <a:pt x="257" y="172"/>
                    </a:lnTo>
                    <a:lnTo>
                      <a:pt x="257" y="170"/>
                    </a:lnTo>
                    <a:lnTo>
                      <a:pt x="258" y="170"/>
                    </a:lnTo>
                    <a:lnTo>
                      <a:pt x="260" y="170"/>
                    </a:lnTo>
                    <a:lnTo>
                      <a:pt x="262" y="170"/>
                    </a:lnTo>
                    <a:lnTo>
                      <a:pt x="262" y="168"/>
                    </a:lnTo>
                    <a:lnTo>
                      <a:pt x="263" y="168"/>
                    </a:lnTo>
                    <a:lnTo>
                      <a:pt x="263" y="166"/>
                    </a:lnTo>
                    <a:lnTo>
                      <a:pt x="265" y="166"/>
                    </a:lnTo>
                    <a:lnTo>
                      <a:pt x="267" y="166"/>
                    </a:lnTo>
                    <a:lnTo>
                      <a:pt x="269" y="166"/>
                    </a:lnTo>
                    <a:lnTo>
                      <a:pt x="269" y="165"/>
                    </a:lnTo>
                    <a:lnTo>
                      <a:pt x="270" y="165"/>
                    </a:lnTo>
                    <a:lnTo>
                      <a:pt x="272" y="165"/>
                    </a:lnTo>
                    <a:lnTo>
                      <a:pt x="272" y="166"/>
                    </a:lnTo>
                    <a:lnTo>
                      <a:pt x="272" y="165"/>
                    </a:lnTo>
                    <a:lnTo>
                      <a:pt x="274" y="166"/>
                    </a:lnTo>
                    <a:lnTo>
                      <a:pt x="275" y="166"/>
                    </a:lnTo>
                    <a:lnTo>
                      <a:pt x="277" y="166"/>
                    </a:lnTo>
                    <a:lnTo>
                      <a:pt x="277" y="168"/>
                    </a:lnTo>
                    <a:lnTo>
                      <a:pt x="279" y="170"/>
                    </a:lnTo>
                    <a:lnTo>
                      <a:pt x="280" y="172"/>
                    </a:lnTo>
                    <a:lnTo>
                      <a:pt x="282" y="172"/>
                    </a:lnTo>
                    <a:lnTo>
                      <a:pt x="282" y="173"/>
                    </a:lnTo>
                    <a:lnTo>
                      <a:pt x="282" y="175"/>
                    </a:lnTo>
                    <a:lnTo>
                      <a:pt x="280" y="175"/>
                    </a:lnTo>
                    <a:lnTo>
                      <a:pt x="280" y="177"/>
                    </a:lnTo>
                    <a:lnTo>
                      <a:pt x="280" y="178"/>
                    </a:lnTo>
                    <a:lnTo>
                      <a:pt x="280" y="180"/>
                    </a:lnTo>
                    <a:lnTo>
                      <a:pt x="282" y="180"/>
                    </a:lnTo>
                    <a:lnTo>
                      <a:pt x="282" y="182"/>
                    </a:lnTo>
                    <a:lnTo>
                      <a:pt x="284" y="183"/>
                    </a:lnTo>
                    <a:lnTo>
                      <a:pt x="284" y="185"/>
                    </a:lnTo>
                    <a:lnTo>
                      <a:pt x="282" y="187"/>
                    </a:lnTo>
                    <a:lnTo>
                      <a:pt x="282" y="189"/>
                    </a:lnTo>
                    <a:lnTo>
                      <a:pt x="280" y="189"/>
                    </a:lnTo>
                    <a:lnTo>
                      <a:pt x="280" y="190"/>
                    </a:lnTo>
                    <a:lnTo>
                      <a:pt x="280" y="192"/>
                    </a:lnTo>
                    <a:lnTo>
                      <a:pt x="282" y="192"/>
                    </a:lnTo>
                    <a:lnTo>
                      <a:pt x="282" y="194"/>
                    </a:lnTo>
                    <a:lnTo>
                      <a:pt x="282" y="195"/>
                    </a:lnTo>
                    <a:lnTo>
                      <a:pt x="280" y="195"/>
                    </a:lnTo>
                    <a:lnTo>
                      <a:pt x="280" y="197"/>
                    </a:lnTo>
                    <a:lnTo>
                      <a:pt x="280" y="199"/>
                    </a:lnTo>
                    <a:lnTo>
                      <a:pt x="279" y="200"/>
                    </a:lnTo>
                    <a:lnTo>
                      <a:pt x="279" y="202"/>
                    </a:lnTo>
                    <a:lnTo>
                      <a:pt x="279" y="204"/>
                    </a:lnTo>
                    <a:lnTo>
                      <a:pt x="277" y="206"/>
                    </a:lnTo>
                    <a:lnTo>
                      <a:pt x="277" y="207"/>
                    </a:lnTo>
                    <a:lnTo>
                      <a:pt x="277" y="209"/>
                    </a:lnTo>
                    <a:lnTo>
                      <a:pt x="277" y="211"/>
                    </a:lnTo>
                    <a:lnTo>
                      <a:pt x="277" y="212"/>
                    </a:lnTo>
                    <a:lnTo>
                      <a:pt x="277" y="214"/>
                    </a:lnTo>
                    <a:lnTo>
                      <a:pt x="277" y="216"/>
                    </a:lnTo>
                    <a:lnTo>
                      <a:pt x="275" y="217"/>
                    </a:lnTo>
                    <a:lnTo>
                      <a:pt x="275" y="219"/>
                    </a:lnTo>
                    <a:lnTo>
                      <a:pt x="274" y="221"/>
                    </a:lnTo>
                    <a:lnTo>
                      <a:pt x="274" y="223"/>
                    </a:lnTo>
                    <a:lnTo>
                      <a:pt x="272" y="223"/>
                    </a:lnTo>
                    <a:lnTo>
                      <a:pt x="272" y="224"/>
                    </a:lnTo>
                    <a:lnTo>
                      <a:pt x="272" y="226"/>
                    </a:lnTo>
                    <a:lnTo>
                      <a:pt x="272" y="228"/>
                    </a:lnTo>
                    <a:lnTo>
                      <a:pt x="272" y="229"/>
                    </a:lnTo>
                    <a:lnTo>
                      <a:pt x="272" y="231"/>
                    </a:lnTo>
                    <a:lnTo>
                      <a:pt x="272" y="233"/>
                    </a:lnTo>
                    <a:lnTo>
                      <a:pt x="270" y="233"/>
                    </a:lnTo>
                    <a:lnTo>
                      <a:pt x="270" y="234"/>
                    </a:lnTo>
                    <a:lnTo>
                      <a:pt x="270" y="236"/>
                    </a:lnTo>
                    <a:lnTo>
                      <a:pt x="270" y="238"/>
                    </a:lnTo>
                    <a:lnTo>
                      <a:pt x="272" y="238"/>
                    </a:lnTo>
                    <a:lnTo>
                      <a:pt x="272" y="240"/>
                    </a:lnTo>
                    <a:lnTo>
                      <a:pt x="272" y="241"/>
                    </a:lnTo>
                    <a:lnTo>
                      <a:pt x="272" y="243"/>
                    </a:lnTo>
                    <a:lnTo>
                      <a:pt x="272" y="245"/>
                    </a:lnTo>
                    <a:lnTo>
                      <a:pt x="270" y="245"/>
                    </a:lnTo>
                    <a:lnTo>
                      <a:pt x="269" y="246"/>
                    </a:lnTo>
                    <a:lnTo>
                      <a:pt x="270" y="248"/>
                    </a:lnTo>
                    <a:lnTo>
                      <a:pt x="270" y="250"/>
                    </a:lnTo>
                    <a:lnTo>
                      <a:pt x="270" y="251"/>
                    </a:lnTo>
                    <a:lnTo>
                      <a:pt x="270" y="253"/>
                    </a:lnTo>
                    <a:lnTo>
                      <a:pt x="272" y="253"/>
                    </a:lnTo>
                    <a:lnTo>
                      <a:pt x="272" y="255"/>
                    </a:lnTo>
                    <a:lnTo>
                      <a:pt x="270" y="255"/>
                    </a:lnTo>
                    <a:lnTo>
                      <a:pt x="269" y="255"/>
                    </a:lnTo>
                    <a:lnTo>
                      <a:pt x="270" y="257"/>
                    </a:lnTo>
                    <a:lnTo>
                      <a:pt x="270" y="258"/>
                    </a:lnTo>
                    <a:lnTo>
                      <a:pt x="269" y="258"/>
                    </a:lnTo>
                    <a:lnTo>
                      <a:pt x="269" y="260"/>
                    </a:lnTo>
                    <a:lnTo>
                      <a:pt x="269" y="262"/>
                    </a:lnTo>
                    <a:lnTo>
                      <a:pt x="269" y="263"/>
                    </a:lnTo>
                    <a:lnTo>
                      <a:pt x="267" y="263"/>
                    </a:lnTo>
                    <a:lnTo>
                      <a:pt x="267" y="265"/>
                    </a:lnTo>
                    <a:lnTo>
                      <a:pt x="265" y="265"/>
                    </a:lnTo>
                    <a:lnTo>
                      <a:pt x="265" y="267"/>
                    </a:lnTo>
                    <a:lnTo>
                      <a:pt x="265" y="268"/>
                    </a:lnTo>
                    <a:lnTo>
                      <a:pt x="265" y="270"/>
                    </a:lnTo>
                    <a:lnTo>
                      <a:pt x="263" y="272"/>
                    </a:lnTo>
                    <a:lnTo>
                      <a:pt x="263" y="270"/>
                    </a:lnTo>
                    <a:lnTo>
                      <a:pt x="262" y="270"/>
                    </a:lnTo>
                    <a:lnTo>
                      <a:pt x="260" y="272"/>
                    </a:lnTo>
                    <a:lnTo>
                      <a:pt x="260" y="274"/>
                    </a:lnTo>
                    <a:lnTo>
                      <a:pt x="260" y="275"/>
                    </a:lnTo>
                    <a:lnTo>
                      <a:pt x="258" y="275"/>
                    </a:lnTo>
                    <a:lnTo>
                      <a:pt x="257" y="275"/>
                    </a:lnTo>
                    <a:lnTo>
                      <a:pt x="255" y="277"/>
                    </a:lnTo>
                    <a:lnTo>
                      <a:pt x="253" y="279"/>
                    </a:lnTo>
                    <a:lnTo>
                      <a:pt x="253" y="280"/>
                    </a:lnTo>
                    <a:lnTo>
                      <a:pt x="253" y="282"/>
                    </a:lnTo>
                    <a:lnTo>
                      <a:pt x="252" y="282"/>
                    </a:lnTo>
                    <a:lnTo>
                      <a:pt x="250" y="280"/>
                    </a:lnTo>
                    <a:lnTo>
                      <a:pt x="248" y="282"/>
                    </a:lnTo>
                    <a:lnTo>
                      <a:pt x="246" y="282"/>
                    </a:lnTo>
                    <a:lnTo>
                      <a:pt x="245" y="284"/>
                    </a:lnTo>
                    <a:lnTo>
                      <a:pt x="243" y="284"/>
                    </a:lnTo>
                    <a:lnTo>
                      <a:pt x="243" y="286"/>
                    </a:lnTo>
                    <a:lnTo>
                      <a:pt x="243" y="287"/>
                    </a:lnTo>
                    <a:lnTo>
                      <a:pt x="241" y="287"/>
                    </a:lnTo>
                    <a:lnTo>
                      <a:pt x="240" y="287"/>
                    </a:lnTo>
                    <a:lnTo>
                      <a:pt x="240" y="289"/>
                    </a:lnTo>
                    <a:lnTo>
                      <a:pt x="240" y="291"/>
                    </a:lnTo>
                    <a:lnTo>
                      <a:pt x="238" y="289"/>
                    </a:lnTo>
                    <a:lnTo>
                      <a:pt x="238" y="291"/>
                    </a:lnTo>
                    <a:lnTo>
                      <a:pt x="238" y="292"/>
                    </a:lnTo>
                    <a:lnTo>
                      <a:pt x="240" y="292"/>
                    </a:lnTo>
                    <a:lnTo>
                      <a:pt x="240" y="294"/>
                    </a:lnTo>
                    <a:lnTo>
                      <a:pt x="238" y="294"/>
                    </a:lnTo>
                    <a:lnTo>
                      <a:pt x="238" y="296"/>
                    </a:lnTo>
                    <a:lnTo>
                      <a:pt x="238" y="297"/>
                    </a:lnTo>
                    <a:lnTo>
                      <a:pt x="236" y="297"/>
                    </a:lnTo>
                    <a:lnTo>
                      <a:pt x="235" y="297"/>
                    </a:lnTo>
                    <a:lnTo>
                      <a:pt x="235" y="299"/>
                    </a:lnTo>
                    <a:lnTo>
                      <a:pt x="233" y="301"/>
                    </a:lnTo>
                    <a:lnTo>
                      <a:pt x="231" y="301"/>
                    </a:lnTo>
                    <a:lnTo>
                      <a:pt x="231" y="299"/>
                    </a:lnTo>
                    <a:lnTo>
                      <a:pt x="229" y="299"/>
                    </a:lnTo>
                    <a:lnTo>
                      <a:pt x="229" y="297"/>
                    </a:lnTo>
                    <a:lnTo>
                      <a:pt x="228" y="296"/>
                    </a:lnTo>
                    <a:lnTo>
                      <a:pt x="226" y="297"/>
                    </a:lnTo>
                    <a:lnTo>
                      <a:pt x="224" y="296"/>
                    </a:lnTo>
                    <a:lnTo>
                      <a:pt x="223" y="296"/>
                    </a:lnTo>
                    <a:lnTo>
                      <a:pt x="221" y="296"/>
                    </a:lnTo>
                    <a:lnTo>
                      <a:pt x="219" y="296"/>
                    </a:lnTo>
                    <a:lnTo>
                      <a:pt x="218" y="297"/>
                    </a:lnTo>
                    <a:lnTo>
                      <a:pt x="218" y="299"/>
                    </a:lnTo>
                    <a:lnTo>
                      <a:pt x="216" y="299"/>
                    </a:lnTo>
                    <a:lnTo>
                      <a:pt x="214" y="299"/>
                    </a:lnTo>
                    <a:lnTo>
                      <a:pt x="214" y="301"/>
                    </a:lnTo>
                    <a:lnTo>
                      <a:pt x="216" y="301"/>
                    </a:lnTo>
                    <a:lnTo>
                      <a:pt x="214" y="303"/>
                    </a:lnTo>
                    <a:lnTo>
                      <a:pt x="214" y="304"/>
                    </a:lnTo>
                    <a:lnTo>
                      <a:pt x="212" y="304"/>
                    </a:lnTo>
                    <a:lnTo>
                      <a:pt x="212" y="306"/>
                    </a:lnTo>
                    <a:lnTo>
                      <a:pt x="209" y="304"/>
                    </a:lnTo>
                    <a:lnTo>
                      <a:pt x="209" y="303"/>
                    </a:lnTo>
                    <a:lnTo>
                      <a:pt x="207" y="303"/>
                    </a:lnTo>
                    <a:lnTo>
                      <a:pt x="207" y="301"/>
                    </a:lnTo>
                    <a:lnTo>
                      <a:pt x="206" y="301"/>
                    </a:lnTo>
                    <a:lnTo>
                      <a:pt x="204" y="301"/>
                    </a:lnTo>
                    <a:lnTo>
                      <a:pt x="202" y="301"/>
                    </a:lnTo>
                    <a:lnTo>
                      <a:pt x="201" y="301"/>
                    </a:lnTo>
                    <a:lnTo>
                      <a:pt x="201" y="303"/>
                    </a:lnTo>
                    <a:lnTo>
                      <a:pt x="199" y="303"/>
                    </a:lnTo>
                    <a:lnTo>
                      <a:pt x="197" y="301"/>
                    </a:lnTo>
                    <a:lnTo>
                      <a:pt x="195" y="301"/>
                    </a:lnTo>
                    <a:lnTo>
                      <a:pt x="195" y="299"/>
                    </a:lnTo>
                    <a:lnTo>
                      <a:pt x="194" y="299"/>
                    </a:lnTo>
                    <a:lnTo>
                      <a:pt x="192" y="299"/>
                    </a:lnTo>
                    <a:lnTo>
                      <a:pt x="192" y="301"/>
                    </a:lnTo>
                    <a:lnTo>
                      <a:pt x="190" y="301"/>
                    </a:lnTo>
                    <a:lnTo>
                      <a:pt x="190" y="303"/>
                    </a:lnTo>
                    <a:lnTo>
                      <a:pt x="189" y="303"/>
                    </a:lnTo>
                    <a:lnTo>
                      <a:pt x="187" y="303"/>
                    </a:lnTo>
                    <a:lnTo>
                      <a:pt x="185" y="301"/>
                    </a:lnTo>
                    <a:lnTo>
                      <a:pt x="184" y="301"/>
                    </a:lnTo>
                    <a:lnTo>
                      <a:pt x="182" y="301"/>
                    </a:lnTo>
                    <a:lnTo>
                      <a:pt x="180" y="299"/>
                    </a:lnTo>
                    <a:lnTo>
                      <a:pt x="178" y="299"/>
                    </a:lnTo>
                    <a:lnTo>
                      <a:pt x="177" y="299"/>
                    </a:lnTo>
                    <a:lnTo>
                      <a:pt x="177" y="301"/>
                    </a:lnTo>
                    <a:lnTo>
                      <a:pt x="175" y="301"/>
                    </a:lnTo>
                    <a:lnTo>
                      <a:pt x="173" y="301"/>
                    </a:lnTo>
                    <a:lnTo>
                      <a:pt x="173" y="299"/>
                    </a:lnTo>
                    <a:lnTo>
                      <a:pt x="172" y="299"/>
                    </a:lnTo>
                    <a:lnTo>
                      <a:pt x="170" y="297"/>
                    </a:lnTo>
                    <a:lnTo>
                      <a:pt x="168" y="297"/>
                    </a:lnTo>
                    <a:lnTo>
                      <a:pt x="168" y="296"/>
                    </a:lnTo>
                    <a:lnTo>
                      <a:pt x="167" y="296"/>
                    </a:lnTo>
                    <a:lnTo>
                      <a:pt x="165" y="296"/>
                    </a:lnTo>
                    <a:lnTo>
                      <a:pt x="163" y="296"/>
                    </a:lnTo>
                    <a:lnTo>
                      <a:pt x="161" y="294"/>
                    </a:lnTo>
                    <a:lnTo>
                      <a:pt x="160" y="294"/>
                    </a:lnTo>
                    <a:lnTo>
                      <a:pt x="158" y="294"/>
                    </a:lnTo>
                    <a:lnTo>
                      <a:pt x="156" y="294"/>
                    </a:lnTo>
                    <a:lnTo>
                      <a:pt x="155" y="294"/>
                    </a:lnTo>
                    <a:lnTo>
                      <a:pt x="153" y="294"/>
                    </a:lnTo>
                    <a:lnTo>
                      <a:pt x="151" y="294"/>
                    </a:lnTo>
                    <a:lnTo>
                      <a:pt x="150" y="294"/>
                    </a:lnTo>
                    <a:lnTo>
                      <a:pt x="148" y="294"/>
                    </a:lnTo>
                    <a:lnTo>
                      <a:pt x="146" y="294"/>
                    </a:lnTo>
                    <a:lnTo>
                      <a:pt x="144" y="294"/>
                    </a:lnTo>
                    <a:lnTo>
                      <a:pt x="143" y="294"/>
                    </a:lnTo>
                    <a:lnTo>
                      <a:pt x="141" y="294"/>
                    </a:lnTo>
                    <a:lnTo>
                      <a:pt x="139" y="294"/>
                    </a:lnTo>
                    <a:lnTo>
                      <a:pt x="138" y="294"/>
                    </a:lnTo>
                    <a:lnTo>
                      <a:pt x="138" y="296"/>
                    </a:lnTo>
                    <a:lnTo>
                      <a:pt x="136" y="296"/>
                    </a:lnTo>
                    <a:lnTo>
                      <a:pt x="136" y="294"/>
                    </a:lnTo>
                    <a:lnTo>
                      <a:pt x="138" y="294"/>
                    </a:lnTo>
                    <a:lnTo>
                      <a:pt x="138" y="292"/>
                    </a:lnTo>
                    <a:lnTo>
                      <a:pt x="136" y="292"/>
                    </a:lnTo>
                    <a:lnTo>
                      <a:pt x="136" y="291"/>
                    </a:lnTo>
                    <a:lnTo>
                      <a:pt x="134" y="291"/>
                    </a:lnTo>
                    <a:lnTo>
                      <a:pt x="134" y="289"/>
                    </a:lnTo>
                    <a:lnTo>
                      <a:pt x="136" y="289"/>
                    </a:lnTo>
                    <a:lnTo>
                      <a:pt x="136" y="287"/>
                    </a:lnTo>
                    <a:lnTo>
                      <a:pt x="138" y="287"/>
                    </a:lnTo>
                    <a:lnTo>
                      <a:pt x="139" y="287"/>
                    </a:lnTo>
                    <a:lnTo>
                      <a:pt x="138" y="287"/>
                    </a:lnTo>
                    <a:lnTo>
                      <a:pt x="139" y="286"/>
                    </a:lnTo>
                    <a:lnTo>
                      <a:pt x="138" y="286"/>
                    </a:lnTo>
                    <a:lnTo>
                      <a:pt x="139" y="286"/>
                    </a:lnTo>
                    <a:lnTo>
                      <a:pt x="141" y="286"/>
                    </a:lnTo>
                    <a:lnTo>
                      <a:pt x="139" y="284"/>
                    </a:lnTo>
                    <a:lnTo>
                      <a:pt x="141" y="284"/>
                    </a:lnTo>
                    <a:lnTo>
                      <a:pt x="141" y="282"/>
                    </a:lnTo>
                    <a:lnTo>
                      <a:pt x="141" y="280"/>
                    </a:lnTo>
                    <a:lnTo>
                      <a:pt x="143" y="280"/>
                    </a:lnTo>
                    <a:lnTo>
                      <a:pt x="144" y="280"/>
                    </a:lnTo>
                    <a:lnTo>
                      <a:pt x="144" y="279"/>
                    </a:lnTo>
                    <a:lnTo>
                      <a:pt x="146" y="279"/>
                    </a:lnTo>
                    <a:lnTo>
                      <a:pt x="146" y="277"/>
                    </a:lnTo>
                    <a:lnTo>
                      <a:pt x="146" y="275"/>
                    </a:lnTo>
                    <a:lnTo>
                      <a:pt x="148" y="275"/>
                    </a:lnTo>
                    <a:lnTo>
                      <a:pt x="148" y="274"/>
                    </a:lnTo>
                    <a:lnTo>
                      <a:pt x="150" y="274"/>
                    </a:lnTo>
                    <a:lnTo>
                      <a:pt x="148" y="272"/>
                    </a:lnTo>
                    <a:lnTo>
                      <a:pt x="148" y="270"/>
                    </a:lnTo>
                    <a:lnTo>
                      <a:pt x="150" y="270"/>
                    </a:lnTo>
                    <a:lnTo>
                      <a:pt x="151" y="270"/>
                    </a:lnTo>
                    <a:lnTo>
                      <a:pt x="150" y="268"/>
                    </a:lnTo>
                    <a:lnTo>
                      <a:pt x="151" y="268"/>
                    </a:lnTo>
                    <a:lnTo>
                      <a:pt x="151" y="267"/>
                    </a:lnTo>
                    <a:lnTo>
                      <a:pt x="150" y="267"/>
                    </a:lnTo>
                    <a:lnTo>
                      <a:pt x="150" y="265"/>
                    </a:lnTo>
                    <a:lnTo>
                      <a:pt x="150" y="263"/>
                    </a:lnTo>
                    <a:lnTo>
                      <a:pt x="151" y="263"/>
                    </a:lnTo>
                    <a:lnTo>
                      <a:pt x="151" y="262"/>
                    </a:lnTo>
                    <a:lnTo>
                      <a:pt x="150" y="262"/>
                    </a:lnTo>
                    <a:lnTo>
                      <a:pt x="150" y="260"/>
                    </a:lnTo>
                    <a:lnTo>
                      <a:pt x="151" y="260"/>
                    </a:lnTo>
                    <a:lnTo>
                      <a:pt x="151" y="258"/>
                    </a:lnTo>
                    <a:lnTo>
                      <a:pt x="151" y="257"/>
                    </a:lnTo>
                    <a:lnTo>
                      <a:pt x="151" y="255"/>
                    </a:lnTo>
                    <a:lnTo>
                      <a:pt x="153" y="255"/>
                    </a:lnTo>
                    <a:lnTo>
                      <a:pt x="153" y="253"/>
                    </a:lnTo>
                    <a:lnTo>
                      <a:pt x="151" y="253"/>
                    </a:lnTo>
                    <a:lnTo>
                      <a:pt x="153" y="253"/>
                    </a:lnTo>
                    <a:lnTo>
                      <a:pt x="153" y="251"/>
                    </a:lnTo>
                    <a:lnTo>
                      <a:pt x="155" y="251"/>
                    </a:lnTo>
                    <a:lnTo>
                      <a:pt x="155" y="250"/>
                    </a:lnTo>
                    <a:lnTo>
                      <a:pt x="156" y="250"/>
                    </a:lnTo>
                    <a:lnTo>
                      <a:pt x="158" y="250"/>
                    </a:lnTo>
                    <a:lnTo>
                      <a:pt x="158" y="248"/>
                    </a:lnTo>
                    <a:lnTo>
                      <a:pt x="160" y="248"/>
                    </a:lnTo>
                    <a:lnTo>
                      <a:pt x="160" y="246"/>
                    </a:lnTo>
                    <a:lnTo>
                      <a:pt x="161" y="246"/>
                    </a:lnTo>
                    <a:lnTo>
                      <a:pt x="161" y="245"/>
                    </a:lnTo>
                    <a:lnTo>
                      <a:pt x="161" y="243"/>
                    </a:lnTo>
                    <a:lnTo>
                      <a:pt x="163" y="243"/>
                    </a:lnTo>
                    <a:lnTo>
                      <a:pt x="161" y="241"/>
                    </a:lnTo>
                    <a:lnTo>
                      <a:pt x="161" y="240"/>
                    </a:lnTo>
                    <a:lnTo>
                      <a:pt x="163" y="240"/>
                    </a:lnTo>
                    <a:lnTo>
                      <a:pt x="165" y="240"/>
                    </a:lnTo>
                    <a:lnTo>
                      <a:pt x="165" y="238"/>
                    </a:lnTo>
                    <a:lnTo>
                      <a:pt x="163" y="238"/>
                    </a:lnTo>
                    <a:lnTo>
                      <a:pt x="163" y="236"/>
                    </a:lnTo>
                    <a:lnTo>
                      <a:pt x="165" y="236"/>
                    </a:lnTo>
                    <a:lnTo>
                      <a:pt x="167" y="236"/>
                    </a:lnTo>
                    <a:lnTo>
                      <a:pt x="167" y="234"/>
                    </a:lnTo>
                    <a:lnTo>
                      <a:pt x="165" y="234"/>
                    </a:lnTo>
                    <a:lnTo>
                      <a:pt x="167" y="233"/>
                    </a:lnTo>
                    <a:lnTo>
                      <a:pt x="168" y="233"/>
                    </a:lnTo>
                    <a:lnTo>
                      <a:pt x="168" y="231"/>
                    </a:lnTo>
                    <a:lnTo>
                      <a:pt x="170" y="231"/>
                    </a:lnTo>
                    <a:lnTo>
                      <a:pt x="170" y="229"/>
                    </a:lnTo>
                    <a:lnTo>
                      <a:pt x="172" y="229"/>
                    </a:lnTo>
                    <a:lnTo>
                      <a:pt x="172" y="228"/>
                    </a:lnTo>
                    <a:lnTo>
                      <a:pt x="172" y="226"/>
                    </a:lnTo>
                    <a:lnTo>
                      <a:pt x="172" y="224"/>
                    </a:lnTo>
                    <a:lnTo>
                      <a:pt x="172" y="223"/>
                    </a:lnTo>
                    <a:lnTo>
                      <a:pt x="170" y="223"/>
                    </a:lnTo>
                    <a:lnTo>
                      <a:pt x="168" y="223"/>
                    </a:lnTo>
                    <a:lnTo>
                      <a:pt x="168" y="221"/>
                    </a:lnTo>
                    <a:lnTo>
                      <a:pt x="167" y="221"/>
                    </a:lnTo>
                    <a:lnTo>
                      <a:pt x="167" y="219"/>
                    </a:lnTo>
                    <a:lnTo>
                      <a:pt x="168" y="219"/>
                    </a:lnTo>
                    <a:lnTo>
                      <a:pt x="167" y="219"/>
                    </a:lnTo>
                    <a:lnTo>
                      <a:pt x="167" y="217"/>
                    </a:lnTo>
                    <a:lnTo>
                      <a:pt x="165" y="216"/>
                    </a:lnTo>
                    <a:lnTo>
                      <a:pt x="167" y="216"/>
                    </a:lnTo>
                    <a:lnTo>
                      <a:pt x="165" y="216"/>
                    </a:lnTo>
                    <a:lnTo>
                      <a:pt x="165" y="214"/>
                    </a:lnTo>
                    <a:lnTo>
                      <a:pt x="163" y="214"/>
                    </a:lnTo>
                    <a:lnTo>
                      <a:pt x="163" y="212"/>
                    </a:lnTo>
                    <a:lnTo>
                      <a:pt x="161" y="211"/>
                    </a:lnTo>
                    <a:lnTo>
                      <a:pt x="160" y="211"/>
                    </a:lnTo>
                    <a:lnTo>
                      <a:pt x="158" y="211"/>
                    </a:lnTo>
                    <a:lnTo>
                      <a:pt x="156" y="209"/>
                    </a:lnTo>
                    <a:lnTo>
                      <a:pt x="156" y="211"/>
                    </a:lnTo>
                    <a:lnTo>
                      <a:pt x="156" y="209"/>
                    </a:lnTo>
                    <a:lnTo>
                      <a:pt x="156" y="211"/>
                    </a:lnTo>
                    <a:lnTo>
                      <a:pt x="156" y="209"/>
                    </a:lnTo>
                    <a:lnTo>
                      <a:pt x="155" y="211"/>
                    </a:lnTo>
                    <a:lnTo>
                      <a:pt x="155" y="209"/>
                    </a:lnTo>
                    <a:lnTo>
                      <a:pt x="153" y="209"/>
                    </a:lnTo>
                    <a:lnTo>
                      <a:pt x="153" y="207"/>
                    </a:lnTo>
                    <a:lnTo>
                      <a:pt x="151" y="207"/>
                    </a:lnTo>
                    <a:lnTo>
                      <a:pt x="150" y="206"/>
                    </a:lnTo>
                    <a:lnTo>
                      <a:pt x="148" y="206"/>
                    </a:lnTo>
                    <a:lnTo>
                      <a:pt x="148" y="207"/>
                    </a:lnTo>
                    <a:lnTo>
                      <a:pt x="146" y="207"/>
                    </a:lnTo>
                    <a:lnTo>
                      <a:pt x="146" y="209"/>
                    </a:lnTo>
                    <a:lnTo>
                      <a:pt x="146" y="207"/>
                    </a:lnTo>
                    <a:lnTo>
                      <a:pt x="144" y="207"/>
                    </a:lnTo>
                    <a:lnTo>
                      <a:pt x="144" y="206"/>
                    </a:lnTo>
                    <a:lnTo>
                      <a:pt x="143" y="206"/>
                    </a:lnTo>
                    <a:lnTo>
                      <a:pt x="143" y="204"/>
                    </a:lnTo>
                    <a:lnTo>
                      <a:pt x="141" y="204"/>
                    </a:lnTo>
                    <a:lnTo>
                      <a:pt x="141" y="202"/>
                    </a:lnTo>
                    <a:lnTo>
                      <a:pt x="139" y="202"/>
                    </a:lnTo>
                    <a:lnTo>
                      <a:pt x="138" y="202"/>
                    </a:lnTo>
                    <a:lnTo>
                      <a:pt x="136" y="202"/>
                    </a:lnTo>
                    <a:lnTo>
                      <a:pt x="134" y="202"/>
                    </a:lnTo>
                    <a:lnTo>
                      <a:pt x="134" y="200"/>
                    </a:lnTo>
                    <a:lnTo>
                      <a:pt x="133" y="200"/>
                    </a:lnTo>
                    <a:lnTo>
                      <a:pt x="131" y="200"/>
                    </a:lnTo>
                    <a:lnTo>
                      <a:pt x="129" y="200"/>
                    </a:lnTo>
                    <a:lnTo>
                      <a:pt x="129" y="199"/>
                    </a:lnTo>
                    <a:lnTo>
                      <a:pt x="127" y="199"/>
                    </a:lnTo>
                    <a:lnTo>
                      <a:pt x="127" y="197"/>
                    </a:lnTo>
                    <a:lnTo>
                      <a:pt x="126" y="197"/>
                    </a:lnTo>
                    <a:lnTo>
                      <a:pt x="124" y="195"/>
                    </a:lnTo>
                    <a:lnTo>
                      <a:pt x="122" y="195"/>
                    </a:lnTo>
                    <a:lnTo>
                      <a:pt x="121" y="194"/>
                    </a:lnTo>
                    <a:lnTo>
                      <a:pt x="119" y="194"/>
                    </a:lnTo>
                    <a:lnTo>
                      <a:pt x="117" y="192"/>
                    </a:lnTo>
                    <a:lnTo>
                      <a:pt x="116" y="192"/>
                    </a:lnTo>
                    <a:lnTo>
                      <a:pt x="116" y="190"/>
                    </a:lnTo>
                    <a:lnTo>
                      <a:pt x="114" y="190"/>
                    </a:lnTo>
                    <a:lnTo>
                      <a:pt x="112" y="189"/>
                    </a:lnTo>
                    <a:lnTo>
                      <a:pt x="110" y="187"/>
                    </a:lnTo>
                    <a:lnTo>
                      <a:pt x="109" y="187"/>
                    </a:lnTo>
                    <a:lnTo>
                      <a:pt x="109" y="185"/>
                    </a:lnTo>
                    <a:lnTo>
                      <a:pt x="107" y="183"/>
                    </a:lnTo>
                    <a:lnTo>
                      <a:pt x="104" y="182"/>
                    </a:lnTo>
                    <a:lnTo>
                      <a:pt x="97" y="177"/>
                    </a:lnTo>
                    <a:lnTo>
                      <a:pt x="88" y="172"/>
                    </a:lnTo>
                    <a:lnTo>
                      <a:pt x="87" y="172"/>
                    </a:lnTo>
                    <a:lnTo>
                      <a:pt x="85" y="173"/>
                    </a:lnTo>
                    <a:lnTo>
                      <a:pt x="83" y="173"/>
                    </a:lnTo>
                    <a:lnTo>
                      <a:pt x="82" y="173"/>
                    </a:lnTo>
                    <a:lnTo>
                      <a:pt x="80" y="173"/>
                    </a:lnTo>
                    <a:lnTo>
                      <a:pt x="78" y="172"/>
                    </a:lnTo>
                    <a:lnTo>
                      <a:pt x="76" y="172"/>
                    </a:lnTo>
                    <a:lnTo>
                      <a:pt x="76" y="170"/>
                    </a:lnTo>
                    <a:lnTo>
                      <a:pt x="75" y="170"/>
                    </a:lnTo>
                    <a:lnTo>
                      <a:pt x="73" y="170"/>
                    </a:lnTo>
                    <a:lnTo>
                      <a:pt x="71" y="170"/>
                    </a:lnTo>
                    <a:lnTo>
                      <a:pt x="70" y="170"/>
                    </a:lnTo>
                    <a:lnTo>
                      <a:pt x="70" y="168"/>
                    </a:lnTo>
                    <a:lnTo>
                      <a:pt x="68" y="168"/>
                    </a:lnTo>
                    <a:lnTo>
                      <a:pt x="66" y="168"/>
                    </a:lnTo>
                    <a:lnTo>
                      <a:pt x="66" y="166"/>
                    </a:lnTo>
                    <a:lnTo>
                      <a:pt x="65" y="166"/>
                    </a:lnTo>
                    <a:lnTo>
                      <a:pt x="63" y="166"/>
                    </a:lnTo>
                    <a:lnTo>
                      <a:pt x="61" y="166"/>
                    </a:lnTo>
                    <a:lnTo>
                      <a:pt x="59" y="165"/>
                    </a:lnTo>
                    <a:lnTo>
                      <a:pt x="58" y="163"/>
                    </a:lnTo>
                    <a:lnTo>
                      <a:pt x="58" y="165"/>
                    </a:lnTo>
                    <a:lnTo>
                      <a:pt x="56" y="165"/>
                    </a:lnTo>
                    <a:lnTo>
                      <a:pt x="56" y="163"/>
                    </a:lnTo>
                    <a:lnTo>
                      <a:pt x="54" y="161"/>
                    </a:lnTo>
                    <a:lnTo>
                      <a:pt x="54" y="160"/>
                    </a:lnTo>
                    <a:lnTo>
                      <a:pt x="53" y="160"/>
                    </a:lnTo>
                    <a:lnTo>
                      <a:pt x="53" y="158"/>
                    </a:lnTo>
                    <a:lnTo>
                      <a:pt x="53" y="156"/>
                    </a:lnTo>
                    <a:lnTo>
                      <a:pt x="51" y="156"/>
                    </a:lnTo>
                    <a:lnTo>
                      <a:pt x="51" y="155"/>
                    </a:lnTo>
                    <a:lnTo>
                      <a:pt x="49" y="155"/>
                    </a:lnTo>
                    <a:lnTo>
                      <a:pt x="48" y="155"/>
                    </a:lnTo>
                    <a:lnTo>
                      <a:pt x="48" y="153"/>
                    </a:lnTo>
                    <a:lnTo>
                      <a:pt x="46" y="153"/>
                    </a:lnTo>
                    <a:lnTo>
                      <a:pt x="46" y="151"/>
                    </a:lnTo>
                    <a:lnTo>
                      <a:pt x="44" y="151"/>
                    </a:lnTo>
                    <a:lnTo>
                      <a:pt x="42" y="151"/>
                    </a:lnTo>
                    <a:lnTo>
                      <a:pt x="41" y="151"/>
                    </a:lnTo>
                    <a:lnTo>
                      <a:pt x="41" y="149"/>
                    </a:lnTo>
                    <a:lnTo>
                      <a:pt x="39" y="149"/>
                    </a:lnTo>
                    <a:lnTo>
                      <a:pt x="39" y="148"/>
                    </a:lnTo>
                    <a:lnTo>
                      <a:pt x="37" y="148"/>
                    </a:lnTo>
                    <a:lnTo>
                      <a:pt x="37" y="146"/>
                    </a:lnTo>
                    <a:lnTo>
                      <a:pt x="36" y="146"/>
                    </a:lnTo>
                    <a:lnTo>
                      <a:pt x="36" y="144"/>
                    </a:lnTo>
                    <a:lnTo>
                      <a:pt x="34" y="144"/>
                    </a:lnTo>
                    <a:lnTo>
                      <a:pt x="32" y="144"/>
                    </a:lnTo>
                    <a:lnTo>
                      <a:pt x="32" y="143"/>
                    </a:lnTo>
                    <a:lnTo>
                      <a:pt x="31" y="143"/>
                    </a:lnTo>
                    <a:lnTo>
                      <a:pt x="31" y="141"/>
                    </a:lnTo>
                    <a:lnTo>
                      <a:pt x="29" y="141"/>
                    </a:lnTo>
                    <a:lnTo>
                      <a:pt x="29" y="139"/>
                    </a:lnTo>
                    <a:lnTo>
                      <a:pt x="27" y="139"/>
                    </a:lnTo>
                    <a:lnTo>
                      <a:pt x="27" y="138"/>
                    </a:lnTo>
                    <a:lnTo>
                      <a:pt x="25" y="138"/>
                    </a:lnTo>
                    <a:lnTo>
                      <a:pt x="24" y="136"/>
                    </a:lnTo>
                    <a:lnTo>
                      <a:pt x="22" y="136"/>
                    </a:lnTo>
                    <a:lnTo>
                      <a:pt x="22" y="134"/>
                    </a:lnTo>
                    <a:lnTo>
                      <a:pt x="20" y="134"/>
                    </a:lnTo>
                    <a:lnTo>
                      <a:pt x="20" y="132"/>
                    </a:lnTo>
                    <a:lnTo>
                      <a:pt x="19" y="131"/>
                    </a:lnTo>
                    <a:lnTo>
                      <a:pt x="19" y="129"/>
                    </a:lnTo>
                    <a:lnTo>
                      <a:pt x="17" y="127"/>
                    </a:lnTo>
                    <a:lnTo>
                      <a:pt x="15" y="126"/>
                    </a:lnTo>
                    <a:lnTo>
                      <a:pt x="15" y="124"/>
                    </a:lnTo>
                    <a:lnTo>
                      <a:pt x="15" y="122"/>
                    </a:lnTo>
                    <a:lnTo>
                      <a:pt x="15" y="121"/>
                    </a:lnTo>
                    <a:lnTo>
                      <a:pt x="14" y="122"/>
                    </a:lnTo>
                    <a:lnTo>
                      <a:pt x="14" y="121"/>
                    </a:lnTo>
                    <a:lnTo>
                      <a:pt x="14" y="119"/>
                    </a:lnTo>
                    <a:lnTo>
                      <a:pt x="15" y="119"/>
                    </a:lnTo>
                    <a:lnTo>
                      <a:pt x="14" y="119"/>
                    </a:lnTo>
                    <a:lnTo>
                      <a:pt x="15" y="117"/>
                    </a:lnTo>
                    <a:lnTo>
                      <a:pt x="14" y="117"/>
                    </a:lnTo>
                    <a:lnTo>
                      <a:pt x="12" y="117"/>
                    </a:lnTo>
                    <a:lnTo>
                      <a:pt x="12" y="115"/>
                    </a:lnTo>
                    <a:lnTo>
                      <a:pt x="10" y="115"/>
                    </a:lnTo>
                    <a:lnTo>
                      <a:pt x="12" y="115"/>
                    </a:lnTo>
                    <a:lnTo>
                      <a:pt x="10" y="115"/>
                    </a:lnTo>
                    <a:lnTo>
                      <a:pt x="10" y="114"/>
                    </a:lnTo>
                    <a:lnTo>
                      <a:pt x="10" y="115"/>
                    </a:lnTo>
                    <a:lnTo>
                      <a:pt x="10" y="114"/>
                    </a:lnTo>
                    <a:lnTo>
                      <a:pt x="8" y="114"/>
                    </a:lnTo>
                    <a:lnTo>
                      <a:pt x="7" y="114"/>
                    </a:lnTo>
                    <a:lnTo>
                      <a:pt x="7" y="112"/>
                    </a:lnTo>
                    <a:lnTo>
                      <a:pt x="5" y="112"/>
                    </a:lnTo>
                    <a:lnTo>
                      <a:pt x="3" y="112"/>
                    </a:lnTo>
                    <a:lnTo>
                      <a:pt x="3" y="110"/>
                    </a:lnTo>
                    <a:lnTo>
                      <a:pt x="2" y="109"/>
                    </a:lnTo>
                    <a:lnTo>
                      <a:pt x="0" y="109"/>
                    </a:lnTo>
                    <a:lnTo>
                      <a:pt x="2" y="109"/>
                    </a:lnTo>
                    <a:lnTo>
                      <a:pt x="2" y="107"/>
                    </a:lnTo>
                    <a:lnTo>
                      <a:pt x="0" y="107"/>
                    </a:lnTo>
                    <a:lnTo>
                      <a:pt x="3" y="95"/>
                    </a:lnTo>
                    <a:lnTo>
                      <a:pt x="7" y="86"/>
                    </a:lnTo>
                    <a:lnTo>
                      <a:pt x="14" y="64"/>
                    </a:lnTo>
                    <a:lnTo>
                      <a:pt x="14" y="61"/>
                    </a:lnTo>
                    <a:lnTo>
                      <a:pt x="14" y="46"/>
                    </a:lnTo>
                    <a:lnTo>
                      <a:pt x="15" y="42"/>
                    </a:lnTo>
                    <a:lnTo>
                      <a:pt x="25" y="29"/>
                    </a:lnTo>
                    <a:lnTo>
                      <a:pt x="25" y="27"/>
                    </a:lnTo>
                    <a:lnTo>
                      <a:pt x="31" y="13"/>
                    </a:lnTo>
                    <a:lnTo>
                      <a:pt x="32" y="13"/>
                    </a:lnTo>
                    <a:lnTo>
                      <a:pt x="70" y="7"/>
                    </a:lnTo>
                    <a:lnTo>
                      <a:pt x="90" y="0"/>
                    </a:lnTo>
                    <a:lnTo>
                      <a:pt x="122" y="0"/>
                    </a:lnTo>
                    <a:lnTo>
                      <a:pt x="139" y="12"/>
                    </a:lnTo>
                    <a:lnTo>
                      <a:pt x="143" y="13"/>
                    </a:lnTo>
                    <a:lnTo>
                      <a:pt x="151" y="20"/>
                    </a:lnTo>
                    <a:lnTo>
                      <a:pt x="150" y="22"/>
                    </a:lnTo>
                    <a:lnTo>
                      <a:pt x="151" y="22"/>
                    </a:lnTo>
                    <a:lnTo>
                      <a:pt x="151" y="24"/>
                    </a:lnTo>
                    <a:lnTo>
                      <a:pt x="150" y="24"/>
                    </a:lnTo>
                    <a:lnTo>
                      <a:pt x="151" y="24"/>
                    </a:lnTo>
                    <a:lnTo>
                      <a:pt x="151" y="25"/>
                    </a:lnTo>
                    <a:lnTo>
                      <a:pt x="151" y="27"/>
                    </a:lnTo>
                    <a:lnTo>
                      <a:pt x="151" y="29"/>
                    </a:lnTo>
                    <a:lnTo>
                      <a:pt x="153" y="29"/>
                    </a:lnTo>
                    <a:lnTo>
                      <a:pt x="153" y="30"/>
                    </a:lnTo>
                    <a:lnTo>
                      <a:pt x="151" y="30"/>
                    </a:lnTo>
                    <a:lnTo>
                      <a:pt x="151" y="3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41" name="Freeform 46">
                <a:extLst>
                  <a:ext uri="{FF2B5EF4-FFF2-40B4-BE49-F238E27FC236}">
                    <a16:creationId xmlns:a16="http://schemas.microsoft.com/office/drawing/2014/main" id="{12792B0A-5B7A-C755-177A-E86EA3952555}"/>
                  </a:ext>
                </a:extLst>
              </p:cNvPr>
              <p:cNvSpPr>
                <a:spLocks noEditPoints="1"/>
              </p:cNvSpPr>
              <p:nvPr/>
            </p:nvSpPr>
            <p:spPr bwMode="auto">
              <a:xfrm>
                <a:off x="5571662" y="2946832"/>
                <a:ext cx="126005" cy="185043"/>
              </a:xfrm>
              <a:custGeom>
                <a:avLst/>
                <a:gdLst>
                  <a:gd name="T0" fmla="*/ 367 w 429"/>
                  <a:gd name="T1" fmla="*/ 141 h 630"/>
                  <a:gd name="T2" fmla="*/ 347 w 429"/>
                  <a:gd name="T3" fmla="*/ 148 h 630"/>
                  <a:gd name="T4" fmla="*/ 323 w 429"/>
                  <a:gd name="T5" fmla="*/ 152 h 630"/>
                  <a:gd name="T6" fmla="*/ 299 w 429"/>
                  <a:gd name="T7" fmla="*/ 165 h 630"/>
                  <a:gd name="T8" fmla="*/ 284 w 429"/>
                  <a:gd name="T9" fmla="*/ 189 h 630"/>
                  <a:gd name="T10" fmla="*/ 276 w 429"/>
                  <a:gd name="T11" fmla="*/ 213 h 630"/>
                  <a:gd name="T12" fmla="*/ 259 w 429"/>
                  <a:gd name="T13" fmla="*/ 230 h 630"/>
                  <a:gd name="T14" fmla="*/ 259 w 429"/>
                  <a:gd name="T15" fmla="*/ 262 h 630"/>
                  <a:gd name="T16" fmla="*/ 272 w 429"/>
                  <a:gd name="T17" fmla="*/ 293 h 630"/>
                  <a:gd name="T18" fmla="*/ 294 w 429"/>
                  <a:gd name="T19" fmla="*/ 320 h 630"/>
                  <a:gd name="T20" fmla="*/ 310 w 429"/>
                  <a:gd name="T21" fmla="*/ 337 h 630"/>
                  <a:gd name="T22" fmla="*/ 357 w 429"/>
                  <a:gd name="T23" fmla="*/ 327 h 630"/>
                  <a:gd name="T24" fmla="*/ 364 w 429"/>
                  <a:gd name="T25" fmla="*/ 332 h 630"/>
                  <a:gd name="T26" fmla="*/ 376 w 429"/>
                  <a:gd name="T27" fmla="*/ 376 h 630"/>
                  <a:gd name="T28" fmla="*/ 408 w 429"/>
                  <a:gd name="T29" fmla="*/ 388 h 630"/>
                  <a:gd name="T30" fmla="*/ 427 w 429"/>
                  <a:gd name="T31" fmla="*/ 432 h 630"/>
                  <a:gd name="T32" fmla="*/ 420 w 429"/>
                  <a:gd name="T33" fmla="*/ 461 h 630"/>
                  <a:gd name="T34" fmla="*/ 417 w 429"/>
                  <a:gd name="T35" fmla="*/ 487 h 630"/>
                  <a:gd name="T36" fmla="*/ 408 w 429"/>
                  <a:gd name="T37" fmla="*/ 516 h 630"/>
                  <a:gd name="T38" fmla="*/ 413 w 429"/>
                  <a:gd name="T39" fmla="*/ 555 h 630"/>
                  <a:gd name="T40" fmla="*/ 403 w 429"/>
                  <a:gd name="T41" fmla="*/ 584 h 630"/>
                  <a:gd name="T42" fmla="*/ 388 w 429"/>
                  <a:gd name="T43" fmla="*/ 609 h 630"/>
                  <a:gd name="T44" fmla="*/ 366 w 429"/>
                  <a:gd name="T45" fmla="*/ 628 h 630"/>
                  <a:gd name="T46" fmla="*/ 339 w 429"/>
                  <a:gd name="T47" fmla="*/ 606 h 630"/>
                  <a:gd name="T48" fmla="*/ 313 w 429"/>
                  <a:gd name="T49" fmla="*/ 582 h 630"/>
                  <a:gd name="T50" fmla="*/ 281 w 429"/>
                  <a:gd name="T51" fmla="*/ 565 h 630"/>
                  <a:gd name="T52" fmla="*/ 248 w 429"/>
                  <a:gd name="T53" fmla="*/ 550 h 630"/>
                  <a:gd name="T54" fmla="*/ 216 w 429"/>
                  <a:gd name="T55" fmla="*/ 529 h 630"/>
                  <a:gd name="T56" fmla="*/ 194 w 429"/>
                  <a:gd name="T57" fmla="*/ 507 h 630"/>
                  <a:gd name="T58" fmla="*/ 172 w 429"/>
                  <a:gd name="T59" fmla="*/ 482 h 630"/>
                  <a:gd name="T60" fmla="*/ 172 w 429"/>
                  <a:gd name="T61" fmla="*/ 470 h 630"/>
                  <a:gd name="T62" fmla="*/ 160 w 429"/>
                  <a:gd name="T63" fmla="*/ 436 h 630"/>
                  <a:gd name="T64" fmla="*/ 141 w 429"/>
                  <a:gd name="T65" fmla="*/ 410 h 630"/>
                  <a:gd name="T66" fmla="*/ 126 w 429"/>
                  <a:gd name="T67" fmla="*/ 381 h 630"/>
                  <a:gd name="T68" fmla="*/ 112 w 429"/>
                  <a:gd name="T69" fmla="*/ 352 h 630"/>
                  <a:gd name="T70" fmla="*/ 99 w 429"/>
                  <a:gd name="T71" fmla="*/ 317 h 630"/>
                  <a:gd name="T72" fmla="*/ 87 w 429"/>
                  <a:gd name="T73" fmla="*/ 298 h 630"/>
                  <a:gd name="T74" fmla="*/ 67 w 429"/>
                  <a:gd name="T75" fmla="*/ 266 h 630"/>
                  <a:gd name="T76" fmla="*/ 46 w 429"/>
                  <a:gd name="T77" fmla="*/ 230 h 630"/>
                  <a:gd name="T78" fmla="*/ 9 w 429"/>
                  <a:gd name="T79" fmla="*/ 204 h 630"/>
                  <a:gd name="T80" fmla="*/ 5 w 429"/>
                  <a:gd name="T81" fmla="*/ 177 h 630"/>
                  <a:gd name="T82" fmla="*/ 4 w 429"/>
                  <a:gd name="T83" fmla="*/ 145 h 630"/>
                  <a:gd name="T84" fmla="*/ 31 w 429"/>
                  <a:gd name="T85" fmla="*/ 119 h 630"/>
                  <a:gd name="T86" fmla="*/ 29 w 429"/>
                  <a:gd name="T87" fmla="*/ 136 h 630"/>
                  <a:gd name="T88" fmla="*/ 39 w 429"/>
                  <a:gd name="T89" fmla="*/ 145 h 630"/>
                  <a:gd name="T90" fmla="*/ 70 w 429"/>
                  <a:gd name="T91" fmla="*/ 165 h 630"/>
                  <a:gd name="T92" fmla="*/ 92 w 429"/>
                  <a:gd name="T93" fmla="*/ 148 h 630"/>
                  <a:gd name="T94" fmla="*/ 101 w 429"/>
                  <a:gd name="T95" fmla="*/ 118 h 630"/>
                  <a:gd name="T96" fmla="*/ 128 w 429"/>
                  <a:gd name="T97" fmla="*/ 99 h 630"/>
                  <a:gd name="T98" fmla="*/ 199 w 429"/>
                  <a:gd name="T99" fmla="*/ 39 h 630"/>
                  <a:gd name="T100" fmla="*/ 203 w 429"/>
                  <a:gd name="T101" fmla="*/ 16 h 630"/>
                  <a:gd name="T102" fmla="*/ 216 w 429"/>
                  <a:gd name="T103" fmla="*/ 5 h 630"/>
                  <a:gd name="T104" fmla="*/ 235 w 429"/>
                  <a:gd name="T105" fmla="*/ 21 h 630"/>
                  <a:gd name="T106" fmla="*/ 248 w 429"/>
                  <a:gd name="T107" fmla="*/ 34 h 630"/>
                  <a:gd name="T108" fmla="*/ 265 w 429"/>
                  <a:gd name="T109" fmla="*/ 51 h 630"/>
                  <a:gd name="T110" fmla="*/ 279 w 429"/>
                  <a:gd name="T111" fmla="*/ 70 h 630"/>
                  <a:gd name="T112" fmla="*/ 298 w 429"/>
                  <a:gd name="T113" fmla="*/ 82 h 630"/>
                  <a:gd name="T114" fmla="*/ 322 w 429"/>
                  <a:gd name="T115" fmla="*/ 75 h 630"/>
                  <a:gd name="T116" fmla="*/ 342 w 429"/>
                  <a:gd name="T117" fmla="*/ 80 h 630"/>
                  <a:gd name="T118" fmla="*/ 367 w 429"/>
                  <a:gd name="T119" fmla="*/ 84 h 630"/>
                  <a:gd name="T120" fmla="*/ 371 w 429"/>
                  <a:gd name="T121" fmla="*/ 109 h 630"/>
                  <a:gd name="T122" fmla="*/ 381 w 429"/>
                  <a:gd name="T123" fmla="*/ 138 h 630"/>
                  <a:gd name="T124" fmla="*/ 36 w 429"/>
                  <a:gd name="T125" fmla="*/ 116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9" h="630">
                    <a:moveTo>
                      <a:pt x="384" y="143"/>
                    </a:moveTo>
                    <a:lnTo>
                      <a:pt x="384" y="145"/>
                    </a:lnTo>
                    <a:lnTo>
                      <a:pt x="384" y="147"/>
                    </a:lnTo>
                    <a:lnTo>
                      <a:pt x="384" y="148"/>
                    </a:lnTo>
                    <a:lnTo>
                      <a:pt x="383" y="148"/>
                    </a:lnTo>
                    <a:lnTo>
                      <a:pt x="381" y="147"/>
                    </a:lnTo>
                    <a:lnTo>
                      <a:pt x="381" y="145"/>
                    </a:lnTo>
                    <a:lnTo>
                      <a:pt x="379" y="145"/>
                    </a:lnTo>
                    <a:lnTo>
                      <a:pt x="379" y="143"/>
                    </a:lnTo>
                    <a:lnTo>
                      <a:pt x="379" y="145"/>
                    </a:lnTo>
                    <a:lnTo>
                      <a:pt x="378" y="145"/>
                    </a:lnTo>
                    <a:lnTo>
                      <a:pt x="378" y="147"/>
                    </a:lnTo>
                    <a:lnTo>
                      <a:pt x="376" y="147"/>
                    </a:lnTo>
                    <a:lnTo>
                      <a:pt x="376" y="145"/>
                    </a:lnTo>
                    <a:lnTo>
                      <a:pt x="376" y="147"/>
                    </a:lnTo>
                    <a:lnTo>
                      <a:pt x="374" y="145"/>
                    </a:lnTo>
                    <a:lnTo>
                      <a:pt x="373" y="143"/>
                    </a:lnTo>
                    <a:lnTo>
                      <a:pt x="374" y="143"/>
                    </a:lnTo>
                    <a:lnTo>
                      <a:pt x="374" y="141"/>
                    </a:lnTo>
                    <a:lnTo>
                      <a:pt x="373" y="140"/>
                    </a:lnTo>
                    <a:lnTo>
                      <a:pt x="373" y="141"/>
                    </a:lnTo>
                    <a:lnTo>
                      <a:pt x="371" y="141"/>
                    </a:lnTo>
                    <a:lnTo>
                      <a:pt x="371" y="140"/>
                    </a:lnTo>
                    <a:lnTo>
                      <a:pt x="369" y="140"/>
                    </a:lnTo>
                    <a:lnTo>
                      <a:pt x="367" y="140"/>
                    </a:lnTo>
                    <a:lnTo>
                      <a:pt x="369" y="140"/>
                    </a:lnTo>
                    <a:lnTo>
                      <a:pt x="367" y="140"/>
                    </a:lnTo>
                    <a:lnTo>
                      <a:pt x="367" y="141"/>
                    </a:lnTo>
                    <a:lnTo>
                      <a:pt x="367" y="140"/>
                    </a:lnTo>
                    <a:lnTo>
                      <a:pt x="367" y="141"/>
                    </a:lnTo>
                    <a:lnTo>
                      <a:pt x="366" y="141"/>
                    </a:lnTo>
                    <a:lnTo>
                      <a:pt x="366" y="140"/>
                    </a:lnTo>
                    <a:lnTo>
                      <a:pt x="364" y="140"/>
                    </a:lnTo>
                    <a:lnTo>
                      <a:pt x="366" y="140"/>
                    </a:lnTo>
                    <a:lnTo>
                      <a:pt x="364" y="141"/>
                    </a:lnTo>
                    <a:lnTo>
                      <a:pt x="362" y="141"/>
                    </a:lnTo>
                    <a:lnTo>
                      <a:pt x="362" y="140"/>
                    </a:lnTo>
                    <a:lnTo>
                      <a:pt x="361" y="140"/>
                    </a:lnTo>
                    <a:lnTo>
                      <a:pt x="361" y="141"/>
                    </a:lnTo>
                    <a:lnTo>
                      <a:pt x="359" y="141"/>
                    </a:lnTo>
                    <a:lnTo>
                      <a:pt x="357" y="140"/>
                    </a:lnTo>
                    <a:lnTo>
                      <a:pt x="357" y="141"/>
                    </a:lnTo>
                    <a:lnTo>
                      <a:pt x="356" y="141"/>
                    </a:lnTo>
                    <a:lnTo>
                      <a:pt x="356" y="143"/>
                    </a:lnTo>
                    <a:lnTo>
                      <a:pt x="354" y="143"/>
                    </a:lnTo>
                    <a:lnTo>
                      <a:pt x="354" y="145"/>
                    </a:lnTo>
                    <a:lnTo>
                      <a:pt x="354" y="147"/>
                    </a:lnTo>
                    <a:lnTo>
                      <a:pt x="352" y="147"/>
                    </a:lnTo>
                    <a:lnTo>
                      <a:pt x="352" y="148"/>
                    </a:lnTo>
                    <a:lnTo>
                      <a:pt x="350" y="148"/>
                    </a:lnTo>
                    <a:lnTo>
                      <a:pt x="350" y="147"/>
                    </a:lnTo>
                    <a:lnTo>
                      <a:pt x="349" y="147"/>
                    </a:lnTo>
                    <a:lnTo>
                      <a:pt x="350" y="147"/>
                    </a:lnTo>
                    <a:lnTo>
                      <a:pt x="350" y="148"/>
                    </a:lnTo>
                    <a:lnTo>
                      <a:pt x="349" y="148"/>
                    </a:lnTo>
                    <a:lnTo>
                      <a:pt x="347" y="148"/>
                    </a:lnTo>
                    <a:lnTo>
                      <a:pt x="345" y="148"/>
                    </a:lnTo>
                    <a:lnTo>
                      <a:pt x="344" y="148"/>
                    </a:lnTo>
                    <a:lnTo>
                      <a:pt x="344" y="150"/>
                    </a:lnTo>
                    <a:lnTo>
                      <a:pt x="342" y="148"/>
                    </a:lnTo>
                    <a:lnTo>
                      <a:pt x="340" y="148"/>
                    </a:lnTo>
                    <a:lnTo>
                      <a:pt x="340" y="150"/>
                    </a:lnTo>
                    <a:lnTo>
                      <a:pt x="339" y="150"/>
                    </a:lnTo>
                    <a:lnTo>
                      <a:pt x="339" y="148"/>
                    </a:lnTo>
                    <a:lnTo>
                      <a:pt x="339" y="150"/>
                    </a:lnTo>
                    <a:lnTo>
                      <a:pt x="337" y="150"/>
                    </a:lnTo>
                    <a:lnTo>
                      <a:pt x="335" y="150"/>
                    </a:lnTo>
                    <a:lnTo>
                      <a:pt x="335" y="152"/>
                    </a:lnTo>
                    <a:lnTo>
                      <a:pt x="335" y="150"/>
                    </a:lnTo>
                    <a:lnTo>
                      <a:pt x="333" y="150"/>
                    </a:lnTo>
                    <a:lnTo>
                      <a:pt x="332" y="150"/>
                    </a:lnTo>
                    <a:lnTo>
                      <a:pt x="333" y="152"/>
                    </a:lnTo>
                    <a:lnTo>
                      <a:pt x="332" y="152"/>
                    </a:lnTo>
                    <a:lnTo>
                      <a:pt x="332" y="150"/>
                    </a:lnTo>
                    <a:lnTo>
                      <a:pt x="332" y="152"/>
                    </a:lnTo>
                    <a:lnTo>
                      <a:pt x="330" y="152"/>
                    </a:lnTo>
                    <a:lnTo>
                      <a:pt x="330" y="153"/>
                    </a:lnTo>
                    <a:lnTo>
                      <a:pt x="328" y="153"/>
                    </a:lnTo>
                    <a:lnTo>
                      <a:pt x="328" y="152"/>
                    </a:lnTo>
                    <a:lnTo>
                      <a:pt x="327" y="152"/>
                    </a:lnTo>
                    <a:lnTo>
                      <a:pt x="325" y="152"/>
                    </a:lnTo>
                    <a:lnTo>
                      <a:pt x="323" y="152"/>
                    </a:lnTo>
                    <a:lnTo>
                      <a:pt x="325" y="152"/>
                    </a:lnTo>
                    <a:lnTo>
                      <a:pt x="323" y="152"/>
                    </a:lnTo>
                    <a:lnTo>
                      <a:pt x="322" y="152"/>
                    </a:lnTo>
                    <a:lnTo>
                      <a:pt x="320" y="152"/>
                    </a:lnTo>
                    <a:lnTo>
                      <a:pt x="320" y="153"/>
                    </a:lnTo>
                    <a:lnTo>
                      <a:pt x="320" y="152"/>
                    </a:lnTo>
                    <a:lnTo>
                      <a:pt x="318" y="152"/>
                    </a:lnTo>
                    <a:lnTo>
                      <a:pt x="320" y="153"/>
                    </a:lnTo>
                    <a:lnTo>
                      <a:pt x="318" y="153"/>
                    </a:lnTo>
                    <a:lnTo>
                      <a:pt x="318" y="155"/>
                    </a:lnTo>
                    <a:lnTo>
                      <a:pt x="316" y="155"/>
                    </a:lnTo>
                    <a:lnTo>
                      <a:pt x="316" y="157"/>
                    </a:lnTo>
                    <a:lnTo>
                      <a:pt x="315" y="157"/>
                    </a:lnTo>
                    <a:lnTo>
                      <a:pt x="313" y="157"/>
                    </a:lnTo>
                    <a:lnTo>
                      <a:pt x="313" y="159"/>
                    </a:lnTo>
                    <a:lnTo>
                      <a:pt x="311" y="159"/>
                    </a:lnTo>
                    <a:lnTo>
                      <a:pt x="311" y="160"/>
                    </a:lnTo>
                    <a:lnTo>
                      <a:pt x="311" y="159"/>
                    </a:lnTo>
                    <a:lnTo>
                      <a:pt x="310" y="160"/>
                    </a:lnTo>
                    <a:lnTo>
                      <a:pt x="308" y="160"/>
                    </a:lnTo>
                    <a:lnTo>
                      <a:pt x="308" y="162"/>
                    </a:lnTo>
                    <a:lnTo>
                      <a:pt x="306" y="160"/>
                    </a:lnTo>
                    <a:lnTo>
                      <a:pt x="308" y="162"/>
                    </a:lnTo>
                    <a:lnTo>
                      <a:pt x="306" y="162"/>
                    </a:lnTo>
                    <a:lnTo>
                      <a:pt x="305" y="162"/>
                    </a:lnTo>
                    <a:lnTo>
                      <a:pt x="303" y="162"/>
                    </a:lnTo>
                    <a:lnTo>
                      <a:pt x="303" y="164"/>
                    </a:lnTo>
                    <a:lnTo>
                      <a:pt x="303" y="165"/>
                    </a:lnTo>
                    <a:lnTo>
                      <a:pt x="301" y="165"/>
                    </a:lnTo>
                    <a:lnTo>
                      <a:pt x="299" y="165"/>
                    </a:lnTo>
                    <a:lnTo>
                      <a:pt x="301" y="165"/>
                    </a:lnTo>
                    <a:lnTo>
                      <a:pt x="299" y="167"/>
                    </a:lnTo>
                    <a:lnTo>
                      <a:pt x="298" y="167"/>
                    </a:lnTo>
                    <a:lnTo>
                      <a:pt x="296" y="169"/>
                    </a:lnTo>
                    <a:lnTo>
                      <a:pt x="294" y="169"/>
                    </a:lnTo>
                    <a:lnTo>
                      <a:pt x="296" y="169"/>
                    </a:lnTo>
                    <a:lnTo>
                      <a:pt x="294" y="169"/>
                    </a:lnTo>
                    <a:lnTo>
                      <a:pt x="296" y="170"/>
                    </a:lnTo>
                    <a:lnTo>
                      <a:pt x="294" y="170"/>
                    </a:lnTo>
                    <a:lnTo>
                      <a:pt x="293" y="170"/>
                    </a:lnTo>
                    <a:lnTo>
                      <a:pt x="291" y="170"/>
                    </a:lnTo>
                    <a:lnTo>
                      <a:pt x="291" y="172"/>
                    </a:lnTo>
                    <a:lnTo>
                      <a:pt x="289" y="172"/>
                    </a:lnTo>
                    <a:lnTo>
                      <a:pt x="288" y="172"/>
                    </a:lnTo>
                    <a:lnTo>
                      <a:pt x="288" y="174"/>
                    </a:lnTo>
                    <a:lnTo>
                      <a:pt x="286" y="174"/>
                    </a:lnTo>
                    <a:lnTo>
                      <a:pt x="286" y="176"/>
                    </a:lnTo>
                    <a:lnTo>
                      <a:pt x="286" y="177"/>
                    </a:lnTo>
                    <a:lnTo>
                      <a:pt x="286" y="179"/>
                    </a:lnTo>
                    <a:lnTo>
                      <a:pt x="286" y="181"/>
                    </a:lnTo>
                    <a:lnTo>
                      <a:pt x="286" y="182"/>
                    </a:lnTo>
                    <a:lnTo>
                      <a:pt x="284" y="182"/>
                    </a:lnTo>
                    <a:lnTo>
                      <a:pt x="284" y="184"/>
                    </a:lnTo>
                    <a:lnTo>
                      <a:pt x="284" y="186"/>
                    </a:lnTo>
                    <a:lnTo>
                      <a:pt x="282" y="186"/>
                    </a:lnTo>
                    <a:lnTo>
                      <a:pt x="284" y="186"/>
                    </a:lnTo>
                    <a:lnTo>
                      <a:pt x="284" y="187"/>
                    </a:lnTo>
                    <a:lnTo>
                      <a:pt x="284" y="189"/>
                    </a:lnTo>
                    <a:lnTo>
                      <a:pt x="282" y="189"/>
                    </a:lnTo>
                    <a:lnTo>
                      <a:pt x="282" y="191"/>
                    </a:lnTo>
                    <a:lnTo>
                      <a:pt x="284" y="191"/>
                    </a:lnTo>
                    <a:lnTo>
                      <a:pt x="282" y="191"/>
                    </a:lnTo>
                    <a:lnTo>
                      <a:pt x="282" y="193"/>
                    </a:lnTo>
                    <a:lnTo>
                      <a:pt x="282" y="194"/>
                    </a:lnTo>
                    <a:lnTo>
                      <a:pt x="281" y="194"/>
                    </a:lnTo>
                    <a:lnTo>
                      <a:pt x="281" y="196"/>
                    </a:lnTo>
                    <a:lnTo>
                      <a:pt x="279" y="196"/>
                    </a:lnTo>
                    <a:lnTo>
                      <a:pt x="279" y="198"/>
                    </a:lnTo>
                    <a:lnTo>
                      <a:pt x="277" y="198"/>
                    </a:lnTo>
                    <a:lnTo>
                      <a:pt x="277" y="199"/>
                    </a:lnTo>
                    <a:lnTo>
                      <a:pt x="276" y="199"/>
                    </a:lnTo>
                    <a:lnTo>
                      <a:pt x="276" y="201"/>
                    </a:lnTo>
                    <a:lnTo>
                      <a:pt x="276" y="203"/>
                    </a:lnTo>
                    <a:lnTo>
                      <a:pt x="274" y="203"/>
                    </a:lnTo>
                    <a:lnTo>
                      <a:pt x="276" y="204"/>
                    </a:lnTo>
                    <a:lnTo>
                      <a:pt x="274" y="203"/>
                    </a:lnTo>
                    <a:lnTo>
                      <a:pt x="274" y="204"/>
                    </a:lnTo>
                    <a:lnTo>
                      <a:pt x="274" y="206"/>
                    </a:lnTo>
                    <a:lnTo>
                      <a:pt x="274" y="208"/>
                    </a:lnTo>
                    <a:lnTo>
                      <a:pt x="274" y="210"/>
                    </a:lnTo>
                    <a:lnTo>
                      <a:pt x="276" y="210"/>
                    </a:lnTo>
                    <a:lnTo>
                      <a:pt x="274" y="210"/>
                    </a:lnTo>
                    <a:lnTo>
                      <a:pt x="276" y="210"/>
                    </a:lnTo>
                    <a:lnTo>
                      <a:pt x="276" y="211"/>
                    </a:lnTo>
                    <a:lnTo>
                      <a:pt x="277" y="213"/>
                    </a:lnTo>
                    <a:lnTo>
                      <a:pt x="276" y="213"/>
                    </a:lnTo>
                    <a:lnTo>
                      <a:pt x="277" y="213"/>
                    </a:lnTo>
                    <a:lnTo>
                      <a:pt x="277" y="215"/>
                    </a:lnTo>
                    <a:lnTo>
                      <a:pt x="277" y="216"/>
                    </a:lnTo>
                    <a:lnTo>
                      <a:pt x="279" y="216"/>
                    </a:lnTo>
                    <a:lnTo>
                      <a:pt x="277" y="218"/>
                    </a:lnTo>
                    <a:lnTo>
                      <a:pt x="279" y="218"/>
                    </a:lnTo>
                    <a:lnTo>
                      <a:pt x="277" y="218"/>
                    </a:lnTo>
                    <a:lnTo>
                      <a:pt x="277" y="220"/>
                    </a:lnTo>
                    <a:lnTo>
                      <a:pt x="277" y="221"/>
                    </a:lnTo>
                    <a:lnTo>
                      <a:pt x="276" y="220"/>
                    </a:lnTo>
                    <a:lnTo>
                      <a:pt x="276" y="221"/>
                    </a:lnTo>
                    <a:lnTo>
                      <a:pt x="276" y="223"/>
                    </a:lnTo>
                    <a:lnTo>
                      <a:pt x="274" y="221"/>
                    </a:lnTo>
                    <a:lnTo>
                      <a:pt x="274" y="223"/>
                    </a:lnTo>
                    <a:lnTo>
                      <a:pt x="272" y="223"/>
                    </a:lnTo>
                    <a:lnTo>
                      <a:pt x="271" y="223"/>
                    </a:lnTo>
                    <a:lnTo>
                      <a:pt x="269" y="223"/>
                    </a:lnTo>
                    <a:lnTo>
                      <a:pt x="269" y="225"/>
                    </a:lnTo>
                    <a:lnTo>
                      <a:pt x="267" y="225"/>
                    </a:lnTo>
                    <a:lnTo>
                      <a:pt x="265" y="225"/>
                    </a:lnTo>
                    <a:lnTo>
                      <a:pt x="265" y="227"/>
                    </a:lnTo>
                    <a:lnTo>
                      <a:pt x="265" y="225"/>
                    </a:lnTo>
                    <a:lnTo>
                      <a:pt x="264" y="227"/>
                    </a:lnTo>
                    <a:lnTo>
                      <a:pt x="264" y="228"/>
                    </a:lnTo>
                    <a:lnTo>
                      <a:pt x="262" y="228"/>
                    </a:lnTo>
                    <a:lnTo>
                      <a:pt x="260" y="228"/>
                    </a:lnTo>
                    <a:lnTo>
                      <a:pt x="260" y="230"/>
                    </a:lnTo>
                    <a:lnTo>
                      <a:pt x="259" y="230"/>
                    </a:lnTo>
                    <a:lnTo>
                      <a:pt x="259" y="232"/>
                    </a:lnTo>
                    <a:lnTo>
                      <a:pt x="257" y="232"/>
                    </a:lnTo>
                    <a:lnTo>
                      <a:pt x="257" y="233"/>
                    </a:lnTo>
                    <a:lnTo>
                      <a:pt x="257" y="235"/>
                    </a:lnTo>
                    <a:lnTo>
                      <a:pt x="257" y="237"/>
                    </a:lnTo>
                    <a:lnTo>
                      <a:pt x="257" y="238"/>
                    </a:lnTo>
                    <a:lnTo>
                      <a:pt x="255" y="240"/>
                    </a:lnTo>
                    <a:lnTo>
                      <a:pt x="257" y="244"/>
                    </a:lnTo>
                    <a:lnTo>
                      <a:pt x="259" y="245"/>
                    </a:lnTo>
                    <a:lnTo>
                      <a:pt x="259" y="247"/>
                    </a:lnTo>
                    <a:lnTo>
                      <a:pt x="257" y="247"/>
                    </a:lnTo>
                    <a:lnTo>
                      <a:pt x="257" y="249"/>
                    </a:lnTo>
                    <a:lnTo>
                      <a:pt x="255" y="249"/>
                    </a:lnTo>
                    <a:lnTo>
                      <a:pt x="254" y="249"/>
                    </a:lnTo>
                    <a:lnTo>
                      <a:pt x="252" y="250"/>
                    </a:lnTo>
                    <a:lnTo>
                      <a:pt x="250" y="249"/>
                    </a:lnTo>
                    <a:lnTo>
                      <a:pt x="250" y="252"/>
                    </a:lnTo>
                    <a:lnTo>
                      <a:pt x="250" y="254"/>
                    </a:lnTo>
                    <a:lnTo>
                      <a:pt x="250" y="255"/>
                    </a:lnTo>
                    <a:lnTo>
                      <a:pt x="248" y="255"/>
                    </a:lnTo>
                    <a:lnTo>
                      <a:pt x="250" y="257"/>
                    </a:lnTo>
                    <a:lnTo>
                      <a:pt x="252" y="259"/>
                    </a:lnTo>
                    <a:lnTo>
                      <a:pt x="254" y="259"/>
                    </a:lnTo>
                    <a:lnTo>
                      <a:pt x="254" y="261"/>
                    </a:lnTo>
                    <a:lnTo>
                      <a:pt x="255" y="261"/>
                    </a:lnTo>
                    <a:lnTo>
                      <a:pt x="255" y="262"/>
                    </a:lnTo>
                    <a:lnTo>
                      <a:pt x="257" y="262"/>
                    </a:lnTo>
                    <a:lnTo>
                      <a:pt x="259" y="262"/>
                    </a:lnTo>
                    <a:lnTo>
                      <a:pt x="259" y="264"/>
                    </a:lnTo>
                    <a:lnTo>
                      <a:pt x="259" y="266"/>
                    </a:lnTo>
                    <a:lnTo>
                      <a:pt x="257" y="267"/>
                    </a:lnTo>
                    <a:lnTo>
                      <a:pt x="257" y="266"/>
                    </a:lnTo>
                    <a:lnTo>
                      <a:pt x="257" y="267"/>
                    </a:lnTo>
                    <a:lnTo>
                      <a:pt x="255" y="267"/>
                    </a:lnTo>
                    <a:lnTo>
                      <a:pt x="257" y="267"/>
                    </a:lnTo>
                    <a:lnTo>
                      <a:pt x="257" y="269"/>
                    </a:lnTo>
                    <a:lnTo>
                      <a:pt x="259" y="269"/>
                    </a:lnTo>
                    <a:lnTo>
                      <a:pt x="259" y="271"/>
                    </a:lnTo>
                    <a:lnTo>
                      <a:pt x="260" y="271"/>
                    </a:lnTo>
                    <a:lnTo>
                      <a:pt x="260" y="272"/>
                    </a:lnTo>
                    <a:lnTo>
                      <a:pt x="262" y="274"/>
                    </a:lnTo>
                    <a:lnTo>
                      <a:pt x="262" y="276"/>
                    </a:lnTo>
                    <a:lnTo>
                      <a:pt x="262" y="278"/>
                    </a:lnTo>
                    <a:lnTo>
                      <a:pt x="264" y="279"/>
                    </a:lnTo>
                    <a:lnTo>
                      <a:pt x="264" y="281"/>
                    </a:lnTo>
                    <a:lnTo>
                      <a:pt x="264" y="283"/>
                    </a:lnTo>
                    <a:lnTo>
                      <a:pt x="265" y="284"/>
                    </a:lnTo>
                    <a:lnTo>
                      <a:pt x="267" y="284"/>
                    </a:lnTo>
                    <a:lnTo>
                      <a:pt x="269" y="284"/>
                    </a:lnTo>
                    <a:lnTo>
                      <a:pt x="269" y="286"/>
                    </a:lnTo>
                    <a:lnTo>
                      <a:pt x="269" y="288"/>
                    </a:lnTo>
                    <a:lnTo>
                      <a:pt x="271" y="288"/>
                    </a:lnTo>
                    <a:lnTo>
                      <a:pt x="271" y="289"/>
                    </a:lnTo>
                    <a:lnTo>
                      <a:pt x="271" y="291"/>
                    </a:lnTo>
                    <a:lnTo>
                      <a:pt x="271" y="293"/>
                    </a:lnTo>
                    <a:lnTo>
                      <a:pt x="272" y="293"/>
                    </a:lnTo>
                    <a:lnTo>
                      <a:pt x="272" y="295"/>
                    </a:lnTo>
                    <a:lnTo>
                      <a:pt x="274" y="295"/>
                    </a:lnTo>
                    <a:lnTo>
                      <a:pt x="276" y="295"/>
                    </a:lnTo>
                    <a:lnTo>
                      <a:pt x="277" y="295"/>
                    </a:lnTo>
                    <a:lnTo>
                      <a:pt x="277" y="296"/>
                    </a:lnTo>
                    <a:lnTo>
                      <a:pt x="277" y="298"/>
                    </a:lnTo>
                    <a:lnTo>
                      <a:pt x="279" y="300"/>
                    </a:lnTo>
                    <a:lnTo>
                      <a:pt x="281" y="301"/>
                    </a:lnTo>
                    <a:lnTo>
                      <a:pt x="282" y="303"/>
                    </a:lnTo>
                    <a:lnTo>
                      <a:pt x="282" y="305"/>
                    </a:lnTo>
                    <a:lnTo>
                      <a:pt x="284" y="305"/>
                    </a:lnTo>
                    <a:lnTo>
                      <a:pt x="284" y="307"/>
                    </a:lnTo>
                    <a:lnTo>
                      <a:pt x="284" y="308"/>
                    </a:lnTo>
                    <a:lnTo>
                      <a:pt x="284" y="310"/>
                    </a:lnTo>
                    <a:lnTo>
                      <a:pt x="282" y="310"/>
                    </a:lnTo>
                    <a:lnTo>
                      <a:pt x="281" y="312"/>
                    </a:lnTo>
                    <a:lnTo>
                      <a:pt x="282" y="312"/>
                    </a:lnTo>
                    <a:lnTo>
                      <a:pt x="281" y="313"/>
                    </a:lnTo>
                    <a:lnTo>
                      <a:pt x="279" y="313"/>
                    </a:lnTo>
                    <a:lnTo>
                      <a:pt x="279" y="315"/>
                    </a:lnTo>
                    <a:lnTo>
                      <a:pt x="277" y="317"/>
                    </a:lnTo>
                    <a:lnTo>
                      <a:pt x="276" y="317"/>
                    </a:lnTo>
                    <a:lnTo>
                      <a:pt x="276" y="318"/>
                    </a:lnTo>
                    <a:lnTo>
                      <a:pt x="284" y="318"/>
                    </a:lnTo>
                    <a:lnTo>
                      <a:pt x="291" y="318"/>
                    </a:lnTo>
                    <a:lnTo>
                      <a:pt x="291" y="320"/>
                    </a:lnTo>
                    <a:lnTo>
                      <a:pt x="293" y="320"/>
                    </a:lnTo>
                    <a:lnTo>
                      <a:pt x="294" y="320"/>
                    </a:lnTo>
                    <a:lnTo>
                      <a:pt x="296" y="320"/>
                    </a:lnTo>
                    <a:lnTo>
                      <a:pt x="296" y="322"/>
                    </a:lnTo>
                    <a:lnTo>
                      <a:pt x="298" y="322"/>
                    </a:lnTo>
                    <a:lnTo>
                      <a:pt x="299" y="322"/>
                    </a:lnTo>
                    <a:lnTo>
                      <a:pt x="301" y="322"/>
                    </a:lnTo>
                    <a:lnTo>
                      <a:pt x="303" y="322"/>
                    </a:lnTo>
                    <a:lnTo>
                      <a:pt x="305" y="322"/>
                    </a:lnTo>
                    <a:lnTo>
                      <a:pt x="305" y="324"/>
                    </a:lnTo>
                    <a:lnTo>
                      <a:pt x="306" y="324"/>
                    </a:lnTo>
                    <a:lnTo>
                      <a:pt x="306" y="325"/>
                    </a:lnTo>
                    <a:lnTo>
                      <a:pt x="306" y="327"/>
                    </a:lnTo>
                    <a:lnTo>
                      <a:pt x="308" y="327"/>
                    </a:lnTo>
                    <a:lnTo>
                      <a:pt x="306" y="327"/>
                    </a:lnTo>
                    <a:lnTo>
                      <a:pt x="308" y="327"/>
                    </a:lnTo>
                    <a:lnTo>
                      <a:pt x="308" y="329"/>
                    </a:lnTo>
                    <a:lnTo>
                      <a:pt x="306" y="329"/>
                    </a:lnTo>
                    <a:lnTo>
                      <a:pt x="308" y="330"/>
                    </a:lnTo>
                    <a:lnTo>
                      <a:pt x="306" y="330"/>
                    </a:lnTo>
                    <a:lnTo>
                      <a:pt x="308" y="330"/>
                    </a:lnTo>
                    <a:lnTo>
                      <a:pt x="308" y="332"/>
                    </a:lnTo>
                    <a:lnTo>
                      <a:pt x="310" y="332"/>
                    </a:lnTo>
                    <a:lnTo>
                      <a:pt x="311" y="332"/>
                    </a:lnTo>
                    <a:lnTo>
                      <a:pt x="310" y="334"/>
                    </a:lnTo>
                    <a:lnTo>
                      <a:pt x="311" y="334"/>
                    </a:lnTo>
                    <a:lnTo>
                      <a:pt x="310" y="334"/>
                    </a:lnTo>
                    <a:lnTo>
                      <a:pt x="311" y="335"/>
                    </a:lnTo>
                    <a:lnTo>
                      <a:pt x="310" y="335"/>
                    </a:lnTo>
                    <a:lnTo>
                      <a:pt x="310" y="337"/>
                    </a:lnTo>
                    <a:lnTo>
                      <a:pt x="311" y="339"/>
                    </a:lnTo>
                    <a:lnTo>
                      <a:pt x="310" y="339"/>
                    </a:lnTo>
                    <a:lnTo>
                      <a:pt x="315" y="339"/>
                    </a:lnTo>
                    <a:lnTo>
                      <a:pt x="318" y="339"/>
                    </a:lnTo>
                    <a:lnTo>
                      <a:pt x="322" y="339"/>
                    </a:lnTo>
                    <a:lnTo>
                      <a:pt x="325" y="339"/>
                    </a:lnTo>
                    <a:lnTo>
                      <a:pt x="328" y="339"/>
                    </a:lnTo>
                    <a:lnTo>
                      <a:pt x="332" y="339"/>
                    </a:lnTo>
                    <a:lnTo>
                      <a:pt x="333" y="339"/>
                    </a:lnTo>
                    <a:lnTo>
                      <a:pt x="337" y="339"/>
                    </a:lnTo>
                    <a:lnTo>
                      <a:pt x="339" y="339"/>
                    </a:lnTo>
                    <a:lnTo>
                      <a:pt x="340" y="339"/>
                    </a:lnTo>
                    <a:lnTo>
                      <a:pt x="342" y="339"/>
                    </a:lnTo>
                    <a:lnTo>
                      <a:pt x="342" y="337"/>
                    </a:lnTo>
                    <a:lnTo>
                      <a:pt x="344" y="337"/>
                    </a:lnTo>
                    <a:lnTo>
                      <a:pt x="344" y="335"/>
                    </a:lnTo>
                    <a:lnTo>
                      <a:pt x="345" y="335"/>
                    </a:lnTo>
                    <a:lnTo>
                      <a:pt x="345" y="334"/>
                    </a:lnTo>
                    <a:lnTo>
                      <a:pt x="347" y="334"/>
                    </a:lnTo>
                    <a:lnTo>
                      <a:pt x="349" y="334"/>
                    </a:lnTo>
                    <a:lnTo>
                      <a:pt x="350" y="334"/>
                    </a:lnTo>
                    <a:lnTo>
                      <a:pt x="350" y="332"/>
                    </a:lnTo>
                    <a:lnTo>
                      <a:pt x="350" y="330"/>
                    </a:lnTo>
                    <a:lnTo>
                      <a:pt x="352" y="330"/>
                    </a:lnTo>
                    <a:lnTo>
                      <a:pt x="354" y="329"/>
                    </a:lnTo>
                    <a:lnTo>
                      <a:pt x="354" y="327"/>
                    </a:lnTo>
                    <a:lnTo>
                      <a:pt x="356" y="327"/>
                    </a:lnTo>
                    <a:lnTo>
                      <a:pt x="357" y="327"/>
                    </a:lnTo>
                    <a:lnTo>
                      <a:pt x="357" y="325"/>
                    </a:lnTo>
                    <a:lnTo>
                      <a:pt x="357" y="324"/>
                    </a:lnTo>
                    <a:lnTo>
                      <a:pt x="359" y="325"/>
                    </a:lnTo>
                    <a:lnTo>
                      <a:pt x="359" y="324"/>
                    </a:lnTo>
                    <a:lnTo>
                      <a:pt x="361" y="324"/>
                    </a:lnTo>
                    <a:lnTo>
                      <a:pt x="361" y="322"/>
                    </a:lnTo>
                    <a:lnTo>
                      <a:pt x="362" y="322"/>
                    </a:lnTo>
                    <a:lnTo>
                      <a:pt x="362" y="320"/>
                    </a:lnTo>
                    <a:lnTo>
                      <a:pt x="364" y="320"/>
                    </a:lnTo>
                    <a:lnTo>
                      <a:pt x="366" y="320"/>
                    </a:lnTo>
                    <a:lnTo>
                      <a:pt x="366" y="322"/>
                    </a:lnTo>
                    <a:lnTo>
                      <a:pt x="366" y="324"/>
                    </a:lnTo>
                    <a:lnTo>
                      <a:pt x="364" y="324"/>
                    </a:lnTo>
                    <a:lnTo>
                      <a:pt x="366" y="324"/>
                    </a:lnTo>
                    <a:lnTo>
                      <a:pt x="364" y="324"/>
                    </a:lnTo>
                    <a:lnTo>
                      <a:pt x="364" y="325"/>
                    </a:lnTo>
                    <a:lnTo>
                      <a:pt x="364" y="324"/>
                    </a:lnTo>
                    <a:lnTo>
                      <a:pt x="364" y="325"/>
                    </a:lnTo>
                    <a:lnTo>
                      <a:pt x="364" y="324"/>
                    </a:lnTo>
                    <a:lnTo>
                      <a:pt x="362" y="324"/>
                    </a:lnTo>
                    <a:lnTo>
                      <a:pt x="364" y="325"/>
                    </a:lnTo>
                    <a:lnTo>
                      <a:pt x="362" y="325"/>
                    </a:lnTo>
                    <a:lnTo>
                      <a:pt x="364" y="327"/>
                    </a:lnTo>
                    <a:lnTo>
                      <a:pt x="364" y="329"/>
                    </a:lnTo>
                    <a:lnTo>
                      <a:pt x="366" y="329"/>
                    </a:lnTo>
                    <a:lnTo>
                      <a:pt x="366" y="330"/>
                    </a:lnTo>
                    <a:lnTo>
                      <a:pt x="366" y="332"/>
                    </a:lnTo>
                    <a:lnTo>
                      <a:pt x="364" y="332"/>
                    </a:lnTo>
                    <a:lnTo>
                      <a:pt x="362" y="332"/>
                    </a:lnTo>
                    <a:lnTo>
                      <a:pt x="362" y="334"/>
                    </a:lnTo>
                    <a:lnTo>
                      <a:pt x="362" y="335"/>
                    </a:lnTo>
                    <a:lnTo>
                      <a:pt x="362" y="339"/>
                    </a:lnTo>
                    <a:lnTo>
                      <a:pt x="362" y="341"/>
                    </a:lnTo>
                    <a:lnTo>
                      <a:pt x="362" y="342"/>
                    </a:lnTo>
                    <a:lnTo>
                      <a:pt x="362" y="344"/>
                    </a:lnTo>
                    <a:lnTo>
                      <a:pt x="362" y="346"/>
                    </a:lnTo>
                    <a:lnTo>
                      <a:pt x="362" y="347"/>
                    </a:lnTo>
                    <a:lnTo>
                      <a:pt x="362" y="351"/>
                    </a:lnTo>
                    <a:lnTo>
                      <a:pt x="362" y="352"/>
                    </a:lnTo>
                    <a:lnTo>
                      <a:pt x="362" y="354"/>
                    </a:lnTo>
                    <a:lnTo>
                      <a:pt x="362" y="356"/>
                    </a:lnTo>
                    <a:lnTo>
                      <a:pt x="362" y="359"/>
                    </a:lnTo>
                    <a:lnTo>
                      <a:pt x="362" y="361"/>
                    </a:lnTo>
                    <a:lnTo>
                      <a:pt x="362" y="364"/>
                    </a:lnTo>
                    <a:lnTo>
                      <a:pt x="362" y="373"/>
                    </a:lnTo>
                    <a:lnTo>
                      <a:pt x="366" y="371"/>
                    </a:lnTo>
                    <a:lnTo>
                      <a:pt x="367" y="373"/>
                    </a:lnTo>
                    <a:lnTo>
                      <a:pt x="369" y="375"/>
                    </a:lnTo>
                    <a:lnTo>
                      <a:pt x="371" y="375"/>
                    </a:lnTo>
                    <a:lnTo>
                      <a:pt x="371" y="376"/>
                    </a:lnTo>
                    <a:lnTo>
                      <a:pt x="373" y="376"/>
                    </a:lnTo>
                    <a:lnTo>
                      <a:pt x="374" y="376"/>
                    </a:lnTo>
                    <a:lnTo>
                      <a:pt x="374" y="375"/>
                    </a:lnTo>
                    <a:lnTo>
                      <a:pt x="376" y="376"/>
                    </a:lnTo>
                    <a:lnTo>
                      <a:pt x="376" y="375"/>
                    </a:lnTo>
                    <a:lnTo>
                      <a:pt x="376" y="376"/>
                    </a:lnTo>
                    <a:lnTo>
                      <a:pt x="378" y="375"/>
                    </a:lnTo>
                    <a:lnTo>
                      <a:pt x="379" y="375"/>
                    </a:lnTo>
                    <a:lnTo>
                      <a:pt x="379" y="373"/>
                    </a:lnTo>
                    <a:lnTo>
                      <a:pt x="381" y="373"/>
                    </a:lnTo>
                    <a:lnTo>
                      <a:pt x="383" y="373"/>
                    </a:lnTo>
                    <a:lnTo>
                      <a:pt x="383" y="371"/>
                    </a:lnTo>
                    <a:lnTo>
                      <a:pt x="384" y="373"/>
                    </a:lnTo>
                    <a:lnTo>
                      <a:pt x="384" y="371"/>
                    </a:lnTo>
                    <a:lnTo>
                      <a:pt x="386" y="371"/>
                    </a:lnTo>
                    <a:lnTo>
                      <a:pt x="388" y="371"/>
                    </a:lnTo>
                    <a:lnTo>
                      <a:pt x="390" y="371"/>
                    </a:lnTo>
                    <a:lnTo>
                      <a:pt x="391" y="371"/>
                    </a:lnTo>
                    <a:lnTo>
                      <a:pt x="391" y="373"/>
                    </a:lnTo>
                    <a:lnTo>
                      <a:pt x="393" y="373"/>
                    </a:lnTo>
                    <a:lnTo>
                      <a:pt x="395" y="373"/>
                    </a:lnTo>
                    <a:lnTo>
                      <a:pt x="396" y="373"/>
                    </a:lnTo>
                    <a:lnTo>
                      <a:pt x="396" y="371"/>
                    </a:lnTo>
                    <a:lnTo>
                      <a:pt x="396" y="373"/>
                    </a:lnTo>
                    <a:lnTo>
                      <a:pt x="396" y="371"/>
                    </a:lnTo>
                    <a:lnTo>
                      <a:pt x="398" y="371"/>
                    </a:lnTo>
                    <a:lnTo>
                      <a:pt x="398" y="373"/>
                    </a:lnTo>
                    <a:lnTo>
                      <a:pt x="400" y="375"/>
                    </a:lnTo>
                    <a:lnTo>
                      <a:pt x="401" y="378"/>
                    </a:lnTo>
                    <a:lnTo>
                      <a:pt x="401" y="380"/>
                    </a:lnTo>
                    <a:lnTo>
                      <a:pt x="403" y="381"/>
                    </a:lnTo>
                    <a:lnTo>
                      <a:pt x="405" y="383"/>
                    </a:lnTo>
                    <a:lnTo>
                      <a:pt x="407" y="385"/>
                    </a:lnTo>
                    <a:lnTo>
                      <a:pt x="408" y="388"/>
                    </a:lnTo>
                    <a:lnTo>
                      <a:pt x="408" y="390"/>
                    </a:lnTo>
                    <a:lnTo>
                      <a:pt x="410" y="390"/>
                    </a:lnTo>
                    <a:lnTo>
                      <a:pt x="410" y="393"/>
                    </a:lnTo>
                    <a:lnTo>
                      <a:pt x="413" y="395"/>
                    </a:lnTo>
                    <a:lnTo>
                      <a:pt x="413" y="397"/>
                    </a:lnTo>
                    <a:lnTo>
                      <a:pt x="415" y="398"/>
                    </a:lnTo>
                    <a:lnTo>
                      <a:pt x="415" y="402"/>
                    </a:lnTo>
                    <a:lnTo>
                      <a:pt x="417" y="403"/>
                    </a:lnTo>
                    <a:lnTo>
                      <a:pt x="418" y="405"/>
                    </a:lnTo>
                    <a:lnTo>
                      <a:pt x="418" y="407"/>
                    </a:lnTo>
                    <a:lnTo>
                      <a:pt x="420" y="409"/>
                    </a:lnTo>
                    <a:lnTo>
                      <a:pt x="420" y="410"/>
                    </a:lnTo>
                    <a:lnTo>
                      <a:pt x="422" y="414"/>
                    </a:lnTo>
                    <a:lnTo>
                      <a:pt x="424" y="415"/>
                    </a:lnTo>
                    <a:lnTo>
                      <a:pt x="427" y="422"/>
                    </a:lnTo>
                    <a:lnTo>
                      <a:pt x="429" y="426"/>
                    </a:lnTo>
                    <a:lnTo>
                      <a:pt x="429" y="427"/>
                    </a:lnTo>
                    <a:lnTo>
                      <a:pt x="429" y="426"/>
                    </a:lnTo>
                    <a:lnTo>
                      <a:pt x="427" y="426"/>
                    </a:lnTo>
                    <a:lnTo>
                      <a:pt x="429" y="426"/>
                    </a:lnTo>
                    <a:lnTo>
                      <a:pt x="429" y="427"/>
                    </a:lnTo>
                    <a:lnTo>
                      <a:pt x="427" y="427"/>
                    </a:lnTo>
                    <a:lnTo>
                      <a:pt x="427" y="429"/>
                    </a:lnTo>
                    <a:lnTo>
                      <a:pt x="425" y="429"/>
                    </a:lnTo>
                    <a:lnTo>
                      <a:pt x="425" y="431"/>
                    </a:lnTo>
                    <a:lnTo>
                      <a:pt x="427" y="432"/>
                    </a:lnTo>
                    <a:lnTo>
                      <a:pt x="425" y="432"/>
                    </a:lnTo>
                    <a:lnTo>
                      <a:pt x="427" y="432"/>
                    </a:lnTo>
                    <a:lnTo>
                      <a:pt x="425" y="432"/>
                    </a:lnTo>
                    <a:lnTo>
                      <a:pt x="427" y="432"/>
                    </a:lnTo>
                    <a:lnTo>
                      <a:pt x="425" y="432"/>
                    </a:lnTo>
                    <a:lnTo>
                      <a:pt x="425" y="434"/>
                    </a:lnTo>
                    <a:lnTo>
                      <a:pt x="424" y="434"/>
                    </a:lnTo>
                    <a:lnTo>
                      <a:pt x="424" y="436"/>
                    </a:lnTo>
                    <a:lnTo>
                      <a:pt x="422" y="436"/>
                    </a:lnTo>
                    <a:lnTo>
                      <a:pt x="424" y="437"/>
                    </a:lnTo>
                    <a:lnTo>
                      <a:pt x="422" y="437"/>
                    </a:lnTo>
                    <a:lnTo>
                      <a:pt x="422" y="439"/>
                    </a:lnTo>
                    <a:lnTo>
                      <a:pt x="422" y="441"/>
                    </a:lnTo>
                    <a:lnTo>
                      <a:pt x="420" y="441"/>
                    </a:lnTo>
                    <a:lnTo>
                      <a:pt x="422" y="443"/>
                    </a:lnTo>
                    <a:lnTo>
                      <a:pt x="422" y="441"/>
                    </a:lnTo>
                    <a:lnTo>
                      <a:pt x="422" y="443"/>
                    </a:lnTo>
                    <a:lnTo>
                      <a:pt x="422" y="444"/>
                    </a:lnTo>
                    <a:lnTo>
                      <a:pt x="422" y="446"/>
                    </a:lnTo>
                    <a:lnTo>
                      <a:pt x="422" y="448"/>
                    </a:lnTo>
                    <a:lnTo>
                      <a:pt x="422" y="449"/>
                    </a:lnTo>
                    <a:lnTo>
                      <a:pt x="422" y="451"/>
                    </a:lnTo>
                    <a:lnTo>
                      <a:pt x="422" y="453"/>
                    </a:lnTo>
                    <a:lnTo>
                      <a:pt x="422" y="454"/>
                    </a:lnTo>
                    <a:lnTo>
                      <a:pt x="420" y="454"/>
                    </a:lnTo>
                    <a:lnTo>
                      <a:pt x="422" y="454"/>
                    </a:lnTo>
                    <a:lnTo>
                      <a:pt x="420" y="456"/>
                    </a:lnTo>
                    <a:lnTo>
                      <a:pt x="420" y="458"/>
                    </a:lnTo>
                    <a:lnTo>
                      <a:pt x="420" y="460"/>
                    </a:lnTo>
                    <a:lnTo>
                      <a:pt x="420" y="461"/>
                    </a:lnTo>
                    <a:lnTo>
                      <a:pt x="418" y="461"/>
                    </a:lnTo>
                    <a:lnTo>
                      <a:pt x="418" y="463"/>
                    </a:lnTo>
                    <a:lnTo>
                      <a:pt x="418" y="465"/>
                    </a:lnTo>
                    <a:lnTo>
                      <a:pt x="417" y="465"/>
                    </a:lnTo>
                    <a:lnTo>
                      <a:pt x="415" y="465"/>
                    </a:lnTo>
                    <a:lnTo>
                      <a:pt x="415" y="466"/>
                    </a:lnTo>
                    <a:lnTo>
                      <a:pt x="415" y="468"/>
                    </a:lnTo>
                    <a:lnTo>
                      <a:pt x="417" y="468"/>
                    </a:lnTo>
                    <a:lnTo>
                      <a:pt x="417" y="470"/>
                    </a:lnTo>
                    <a:lnTo>
                      <a:pt x="417" y="472"/>
                    </a:lnTo>
                    <a:lnTo>
                      <a:pt x="417" y="473"/>
                    </a:lnTo>
                    <a:lnTo>
                      <a:pt x="418" y="473"/>
                    </a:lnTo>
                    <a:lnTo>
                      <a:pt x="417" y="475"/>
                    </a:lnTo>
                    <a:lnTo>
                      <a:pt x="418" y="475"/>
                    </a:lnTo>
                    <a:lnTo>
                      <a:pt x="418" y="477"/>
                    </a:lnTo>
                    <a:lnTo>
                      <a:pt x="418" y="478"/>
                    </a:lnTo>
                    <a:lnTo>
                      <a:pt x="420" y="478"/>
                    </a:lnTo>
                    <a:lnTo>
                      <a:pt x="420" y="480"/>
                    </a:lnTo>
                    <a:lnTo>
                      <a:pt x="422" y="480"/>
                    </a:lnTo>
                    <a:lnTo>
                      <a:pt x="422" y="482"/>
                    </a:lnTo>
                    <a:lnTo>
                      <a:pt x="422" y="483"/>
                    </a:lnTo>
                    <a:lnTo>
                      <a:pt x="422" y="485"/>
                    </a:lnTo>
                    <a:lnTo>
                      <a:pt x="424" y="485"/>
                    </a:lnTo>
                    <a:lnTo>
                      <a:pt x="422" y="485"/>
                    </a:lnTo>
                    <a:lnTo>
                      <a:pt x="420" y="485"/>
                    </a:lnTo>
                    <a:lnTo>
                      <a:pt x="418" y="485"/>
                    </a:lnTo>
                    <a:lnTo>
                      <a:pt x="417" y="485"/>
                    </a:lnTo>
                    <a:lnTo>
                      <a:pt x="417" y="487"/>
                    </a:lnTo>
                    <a:lnTo>
                      <a:pt x="417" y="489"/>
                    </a:lnTo>
                    <a:lnTo>
                      <a:pt x="417" y="490"/>
                    </a:lnTo>
                    <a:lnTo>
                      <a:pt x="417" y="492"/>
                    </a:lnTo>
                    <a:lnTo>
                      <a:pt x="415" y="492"/>
                    </a:lnTo>
                    <a:lnTo>
                      <a:pt x="415" y="494"/>
                    </a:lnTo>
                    <a:lnTo>
                      <a:pt x="413" y="494"/>
                    </a:lnTo>
                    <a:lnTo>
                      <a:pt x="413" y="495"/>
                    </a:lnTo>
                    <a:lnTo>
                      <a:pt x="412" y="495"/>
                    </a:lnTo>
                    <a:lnTo>
                      <a:pt x="412" y="497"/>
                    </a:lnTo>
                    <a:lnTo>
                      <a:pt x="412" y="499"/>
                    </a:lnTo>
                    <a:lnTo>
                      <a:pt x="410" y="497"/>
                    </a:lnTo>
                    <a:lnTo>
                      <a:pt x="410" y="499"/>
                    </a:lnTo>
                    <a:lnTo>
                      <a:pt x="410" y="500"/>
                    </a:lnTo>
                    <a:lnTo>
                      <a:pt x="408" y="500"/>
                    </a:lnTo>
                    <a:lnTo>
                      <a:pt x="408" y="502"/>
                    </a:lnTo>
                    <a:lnTo>
                      <a:pt x="410" y="504"/>
                    </a:lnTo>
                    <a:lnTo>
                      <a:pt x="408" y="504"/>
                    </a:lnTo>
                    <a:lnTo>
                      <a:pt x="407" y="504"/>
                    </a:lnTo>
                    <a:lnTo>
                      <a:pt x="407" y="506"/>
                    </a:lnTo>
                    <a:lnTo>
                      <a:pt x="405" y="506"/>
                    </a:lnTo>
                    <a:lnTo>
                      <a:pt x="405" y="507"/>
                    </a:lnTo>
                    <a:lnTo>
                      <a:pt x="405" y="509"/>
                    </a:lnTo>
                    <a:lnTo>
                      <a:pt x="405" y="511"/>
                    </a:lnTo>
                    <a:lnTo>
                      <a:pt x="405" y="512"/>
                    </a:lnTo>
                    <a:lnTo>
                      <a:pt x="407" y="512"/>
                    </a:lnTo>
                    <a:lnTo>
                      <a:pt x="407" y="514"/>
                    </a:lnTo>
                    <a:lnTo>
                      <a:pt x="407" y="516"/>
                    </a:lnTo>
                    <a:lnTo>
                      <a:pt x="408" y="516"/>
                    </a:lnTo>
                    <a:lnTo>
                      <a:pt x="408" y="517"/>
                    </a:lnTo>
                    <a:lnTo>
                      <a:pt x="408" y="516"/>
                    </a:lnTo>
                    <a:lnTo>
                      <a:pt x="410" y="517"/>
                    </a:lnTo>
                    <a:lnTo>
                      <a:pt x="412" y="519"/>
                    </a:lnTo>
                    <a:lnTo>
                      <a:pt x="412" y="521"/>
                    </a:lnTo>
                    <a:lnTo>
                      <a:pt x="413" y="521"/>
                    </a:lnTo>
                    <a:lnTo>
                      <a:pt x="412" y="521"/>
                    </a:lnTo>
                    <a:lnTo>
                      <a:pt x="412" y="523"/>
                    </a:lnTo>
                    <a:lnTo>
                      <a:pt x="412" y="521"/>
                    </a:lnTo>
                    <a:lnTo>
                      <a:pt x="412" y="523"/>
                    </a:lnTo>
                    <a:lnTo>
                      <a:pt x="410" y="523"/>
                    </a:lnTo>
                    <a:lnTo>
                      <a:pt x="410" y="524"/>
                    </a:lnTo>
                    <a:lnTo>
                      <a:pt x="408" y="526"/>
                    </a:lnTo>
                    <a:lnTo>
                      <a:pt x="408" y="528"/>
                    </a:lnTo>
                    <a:lnTo>
                      <a:pt x="410" y="528"/>
                    </a:lnTo>
                    <a:lnTo>
                      <a:pt x="408" y="528"/>
                    </a:lnTo>
                    <a:lnTo>
                      <a:pt x="408" y="529"/>
                    </a:lnTo>
                    <a:lnTo>
                      <a:pt x="407" y="528"/>
                    </a:lnTo>
                    <a:lnTo>
                      <a:pt x="407" y="529"/>
                    </a:lnTo>
                    <a:lnTo>
                      <a:pt x="407" y="531"/>
                    </a:lnTo>
                    <a:lnTo>
                      <a:pt x="403" y="534"/>
                    </a:lnTo>
                    <a:lnTo>
                      <a:pt x="405" y="538"/>
                    </a:lnTo>
                    <a:lnTo>
                      <a:pt x="405" y="540"/>
                    </a:lnTo>
                    <a:lnTo>
                      <a:pt x="407" y="543"/>
                    </a:lnTo>
                    <a:lnTo>
                      <a:pt x="407" y="548"/>
                    </a:lnTo>
                    <a:lnTo>
                      <a:pt x="408" y="553"/>
                    </a:lnTo>
                    <a:lnTo>
                      <a:pt x="410" y="553"/>
                    </a:lnTo>
                    <a:lnTo>
                      <a:pt x="413" y="555"/>
                    </a:lnTo>
                    <a:lnTo>
                      <a:pt x="415" y="555"/>
                    </a:lnTo>
                    <a:lnTo>
                      <a:pt x="417" y="555"/>
                    </a:lnTo>
                    <a:lnTo>
                      <a:pt x="418" y="555"/>
                    </a:lnTo>
                    <a:lnTo>
                      <a:pt x="420" y="557"/>
                    </a:lnTo>
                    <a:lnTo>
                      <a:pt x="422" y="557"/>
                    </a:lnTo>
                    <a:lnTo>
                      <a:pt x="424" y="558"/>
                    </a:lnTo>
                    <a:lnTo>
                      <a:pt x="424" y="560"/>
                    </a:lnTo>
                    <a:lnTo>
                      <a:pt x="418" y="563"/>
                    </a:lnTo>
                    <a:lnTo>
                      <a:pt x="417" y="563"/>
                    </a:lnTo>
                    <a:lnTo>
                      <a:pt x="417" y="565"/>
                    </a:lnTo>
                    <a:lnTo>
                      <a:pt x="415" y="567"/>
                    </a:lnTo>
                    <a:lnTo>
                      <a:pt x="415" y="568"/>
                    </a:lnTo>
                    <a:lnTo>
                      <a:pt x="417" y="568"/>
                    </a:lnTo>
                    <a:lnTo>
                      <a:pt x="417" y="570"/>
                    </a:lnTo>
                    <a:lnTo>
                      <a:pt x="417" y="572"/>
                    </a:lnTo>
                    <a:lnTo>
                      <a:pt x="415" y="572"/>
                    </a:lnTo>
                    <a:lnTo>
                      <a:pt x="413" y="572"/>
                    </a:lnTo>
                    <a:lnTo>
                      <a:pt x="412" y="574"/>
                    </a:lnTo>
                    <a:lnTo>
                      <a:pt x="412" y="575"/>
                    </a:lnTo>
                    <a:lnTo>
                      <a:pt x="410" y="575"/>
                    </a:lnTo>
                    <a:lnTo>
                      <a:pt x="410" y="577"/>
                    </a:lnTo>
                    <a:lnTo>
                      <a:pt x="408" y="577"/>
                    </a:lnTo>
                    <a:lnTo>
                      <a:pt x="408" y="579"/>
                    </a:lnTo>
                    <a:lnTo>
                      <a:pt x="407" y="579"/>
                    </a:lnTo>
                    <a:lnTo>
                      <a:pt x="407" y="580"/>
                    </a:lnTo>
                    <a:lnTo>
                      <a:pt x="407" y="582"/>
                    </a:lnTo>
                    <a:lnTo>
                      <a:pt x="405" y="582"/>
                    </a:lnTo>
                    <a:lnTo>
                      <a:pt x="403" y="584"/>
                    </a:lnTo>
                    <a:lnTo>
                      <a:pt x="405" y="584"/>
                    </a:lnTo>
                    <a:lnTo>
                      <a:pt x="405" y="585"/>
                    </a:lnTo>
                    <a:lnTo>
                      <a:pt x="403" y="585"/>
                    </a:lnTo>
                    <a:lnTo>
                      <a:pt x="403" y="587"/>
                    </a:lnTo>
                    <a:lnTo>
                      <a:pt x="401" y="587"/>
                    </a:lnTo>
                    <a:lnTo>
                      <a:pt x="401" y="585"/>
                    </a:lnTo>
                    <a:lnTo>
                      <a:pt x="400" y="587"/>
                    </a:lnTo>
                    <a:lnTo>
                      <a:pt x="400" y="589"/>
                    </a:lnTo>
                    <a:lnTo>
                      <a:pt x="398" y="589"/>
                    </a:lnTo>
                    <a:lnTo>
                      <a:pt x="398" y="591"/>
                    </a:lnTo>
                    <a:lnTo>
                      <a:pt x="396" y="591"/>
                    </a:lnTo>
                    <a:lnTo>
                      <a:pt x="396" y="592"/>
                    </a:lnTo>
                    <a:lnTo>
                      <a:pt x="395" y="592"/>
                    </a:lnTo>
                    <a:lnTo>
                      <a:pt x="396" y="592"/>
                    </a:lnTo>
                    <a:lnTo>
                      <a:pt x="398" y="592"/>
                    </a:lnTo>
                    <a:lnTo>
                      <a:pt x="400" y="596"/>
                    </a:lnTo>
                    <a:lnTo>
                      <a:pt x="401" y="596"/>
                    </a:lnTo>
                    <a:lnTo>
                      <a:pt x="401" y="597"/>
                    </a:lnTo>
                    <a:lnTo>
                      <a:pt x="401" y="599"/>
                    </a:lnTo>
                    <a:lnTo>
                      <a:pt x="401" y="601"/>
                    </a:lnTo>
                    <a:lnTo>
                      <a:pt x="398" y="602"/>
                    </a:lnTo>
                    <a:lnTo>
                      <a:pt x="396" y="604"/>
                    </a:lnTo>
                    <a:lnTo>
                      <a:pt x="395" y="606"/>
                    </a:lnTo>
                    <a:lnTo>
                      <a:pt x="393" y="606"/>
                    </a:lnTo>
                    <a:lnTo>
                      <a:pt x="391" y="606"/>
                    </a:lnTo>
                    <a:lnTo>
                      <a:pt x="390" y="606"/>
                    </a:lnTo>
                    <a:lnTo>
                      <a:pt x="390" y="608"/>
                    </a:lnTo>
                    <a:lnTo>
                      <a:pt x="388" y="609"/>
                    </a:lnTo>
                    <a:lnTo>
                      <a:pt x="390" y="609"/>
                    </a:lnTo>
                    <a:lnTo>
                      <a:pt x="390" y="611"/>
                    </a:lnTo>
                    <a:lnTo>
                      <a:pt x="390" y="613"/>
                    </a:lnTo>
                    <a:lnTo>
                      <a:pt x="391" y="613"/>
                    </a:lnTo>
                    <a:lnTo>
                      <a:pt x="390" y="614"/>
                    </a:lnTo>
                    <a:lnTo>
                      <a:pt x="391" y="614"/>
                    </a:lnTo>
                    <a:lnTo>
                      <a:pt x="391" y="616"/>
                    </a:lnTo>
                    <a:lnTo>
                      <a:pt x="391" y="618"/>
                    </a:lnTo>
                    <a:lnTo>
                      <a:pt x="391" y="619"/>
                    </a:lnTo>
                    <a:lnTo>
                      <a:pt x="391" y="621"/>
                    </a:lnTo>
                    <a:lnTo>
                      <a:pt x="391" y="623"/>
                    </a:lnTo>
                    <a:lnTo>
                      <a:pt x="390" y="623"/>
                    </a:lnTo>
                    <a:lnTo>
                      <a:pt x="388" y="625"/>
                    </a:lnTo>
                    <a:lnTo>
                      <a:pt x="386" y="625"/>
                    </a:lnTo>
                    <a:lnTo>
                      <a:pt x="386" y="626"/>
                    </a:lnTo>
                    <a:lnTo>
                      <a:pt x="384" y="626"/>
                    </a:lnTo>
                    <a:lnTo>
                      <a:pt x="383" y="626"/>
                    </a:lnTo>
                    <a:lnTo>
                      <a:pt x="383" y="628"/>
                    </a:lnTo>
                    <a:lnTo>
                      <a:pt x="381" y="628"/>
                    </a:lnTo>
                    <a:lnTo>
                      <a:pt x="379" y="630"/>
                    </a:lnTo>
                    <a:lnTo>
                      <a:pt x="378" y="630"/>
                    </a:lnTo>
                    <a:lnTo>
                      <a:pt x="376" y="630"/>
                    </a:lnTo>
                    <a:lnTo>
                      <a:pt x="374" y="630"/>
                    </a:lnTo>
                    <a:lnTo>
                      <a:pt x="373" y="630"/>
                    </a:lnTo>
                    <a:lnTo>
                      <a:pt x="371" y="630"/>
                    </a:lnTo>
                    <a:lnTo>
                      <a:pt x="369" y="630"/>
                    </a:lnTo>
                    <a:lnTo>
                      <a:pt x="367" y="628"/>
                    </a:lnTo>
                    <a:lnTo>
                      <a:pt x="366" y="628"/>
                    </a:lnTo>
                    <a:lnTo>
                      <a:pt x="366" y="626"/>
                    </a:lnTo>
                    <a:lnTo>
                      <a:pt x="364" y="626"/>
                    </a:lnTo>
                    <a:lnTo>
                      <a:pt x="362" y="625"/>
                    </a:lnTo>
                    <a:lnTo>
                      <a:pt x="361" y="625"/>
                    </a:lnTo>
                    <a:lnTo>
                      <a:pt x="361" y="623"/>
                    </a:lnTo>
                    <a:lnTo>
                      <a:pt x="359" y="623"/>
                    </a:lnTo>
                    <a:lnTo>
                      <a:pt x="359" y="621"/>
                    </a:lnTo>
                    <a:lnTo>
                      <a:pt x="357" y="621"/>
                    </a:lnTo>
                    <a:lnTo>
                      <a:pt x="357" y="619"/>
                    </a:lnTo>
                    <a:lnTo>
                      <a:pt x="356" y="619"/>
                    </a:lnTo>
                    <a:lnTo>
                      <a:pt x="354" y="619"/>
                    </a:lnTo>
                    <a:lnTo>
                      <a:pt x="354" y="618"/>
                    </a:lnTo>
                    <a:lnTo>
                      <a:pt x="354" y="616"/>
                    </a:lnTo>
                    <a:lnTo>
                      <a:pt x="352" y="616"/>
                    </a:lnTo>
                    <a:lnTo>
                      <a:pt x="350" y="614"/>
                    </a:lnTo>
                    <a:lnTo>
                      <a:pt x="349" y="614"/>
                    </a:lnTo>
                    <a:lnTo>
                      <a:pt x="347" y="614"/>
                    </a:lnTo>
                    <a:lnTo>
                      <a:pt x="347" y="613"/>
                    </a:lnTo>
                    <a:lnTo>
                      <a:pt x="347" y="614"/>
                    </a:lnTo>
                    <a:lnTo>
                      <a:pt x="347" y="613"/>
                    </a:lnTo>
                    <a:lnTo>
                      <a:pt x="345" y="613"/>
                    </a:lnTo>
                    <a:lnTo>
                      <a:pt x="345" y="611"/>
                    </a:lnTo>
                    <a:lnTo>
                      <a:pt x="344" y="611"/>
                    </a:lnTo>
                    <a:lnTo>
                      <a:pt x="342" y="609"/>
                    </a:lnTo>
                    <a:lnTo>
                      <a:pt x="339" y="608"/>
                    </a:lnTo>
                    <a:lnTo>
                      <a:pt x="337" y="608"/>
                    </a:lnTo>
                    <a:lnTo>
                      <a:pt x="337" y="606"/>
                    </a:lnTo>
                    <a:lnTo>
                      <a:pt x="339" y="606"/>
                    </a:lnTo>
                    <a:lnTo>
                      <a:pt x="339" y="604"/>
                    </a:lnTo>
                    <a:lnTo>
                      <a:pt x="337" y="604"/>
                    </a:lnTo>
                    <a:lnTo>
                      <a:pt x="337" y="602"/>
                    </a:lnTo>
                    <a:lnTo>
                      <a:pt x="337" y="601"/>
                    </a:lnTo>
                    <a:lnTo>
                      <a:pt x="337" y="599"/>
                    </a:lnTo>
                    <a:lnTo>
                      <a:pt x="337" y="597"/>
                    </a:lnTo>
                    <a:lnTo>
                      <a:pt x="337" y="596"/>
                    </a:lnTo>
                    <a:lnTo>
                      <a:pt x="335" y="596"/>
                    </a:lnTo>
                    <a:lnTo>
                      <a:pt x="335" y="594"/>
                    </a:lnTo>
                    <a:lnTo>
                      <a:pt x="333" y="594"/>
                    </a:lnTo>
                    <a:lnTo>
                      <a:pt x="333" y="592"/>
                    </a:lnTo>
                    <a:lnTo>
                      <a:pt x="332" y="592"/>
                    </a:lnTo>
                    <a:lnTo>
                      <a:pt x="330" y="592"/>
                    </a:lnTo>
                    <a:lnTo>
                      <a:pt x="330" y="591"/>
                    </a:lnTo>
                    <a:lnTo>
                      <a:pt x="328" y="591"/>
                    </a:lnTo>
                    <a:lnTo>
                      <a:pt x="327" y="591"/>
                    </a:lnTo>
                    <a:lnTo>
                      <a:pt x="325" y="591"/>
                    </a:lnTo>
                    <a:lnTo>
                      <a:pt x="325" y="589"/>
                    </a:lnTo>
                    <a:lnTo>
                      <a:pt x="323" y="589"/>
                    </a:lnTo>
                    <a:lnTo>
                      <a:pt x="322" y="589"/>
                    </a:lnTo>
                    <a:lnTo>
                      <a:pt x="320" y="587"/>
                    </a:lnTo>
                    <a:lnTo>
                      <a:pt x="318" y="587"/>
                    </a:lnTo>
                    <a:lnTo>
                      <a:pt x="318" y="585"/>
                    </a:lnTo>
                    <a:lnTo>
                      <a:pt x="316" y="584"/>
                    </a:lnTo>
                    <a:lnTo>
                      <a:pt x="315" y="584"/>
                    </a:lnTo>
                    <a:lnTo>
                      <a:pt x="313" y="584"/>
                    </a:lnTo>
                    <a:lnTo>
                      <a:pt x="311" y="584"/>
                    </a:lnTo>
                    <a:lnTo>
                      <a:pt x="313" y="582"/>
                    </a:lnTo>
                    <a:lnTo>
                      <a:pt x="311" y="582"/>
                    </a:lnTo>
                    <a:lnTo>
                      <a:pt x="311" y="580"/>
                    </a:lnTo>
                    <a:lnTo>
                      <a:pt x="310" y="580"/>
                    </a:lnTo>
                    <a:lnTo>
                      <a:pt x="310" y="579"/>
                    </a:lnTo>
                    <a:lnTo>
                      <a:pt x="308" y="579"/>
                    </a:lnTo>
                    <a:lnTo>
                      <a:pt x="306" y="579"/>
                    </a:lnTo>
                    <a:lnTo>
                      <a:pt x="306" y="577"/>
                    </a:lnTo>
                    <a:lnTo>
                      <a:pt x="305" y="575"/>
                    </a:lnTo>
                    <a:lnTo>
                      <a:pt x="305" y="574"/>
                    </a:lnTo>
                    <a:lnTo>
                      <a:pt x="303" y="574"/>
                    </a:lnTo>
                    <a:lnTo>
                      <a:pt x="301" y="574"/>
                    </a:lnTo>
                    <a:lnTo>
                      <a:pt x="301" y="572"/>
                    </a:lnTo>
                    <a:lnTo>
                      <a:pt x="299" y="572"/>
                    </a:lnTo>
                    <a:lnTo>
                      <a:pt x="298" y="572"/>
                    </a:lnTo>
                    <a:lnTo>
                      <a:pt x="296" y="572"/>
                    </a:lnTo>
                    <a:lnTo>
                      <a:pt x="296" y="570"/>
                    </a:lnTo>
                    <a:lnTo>
                      <a:pt x="294" y="570"/>
                    </a:lnTo>
                    <a:lnTo>
                      <a:pt x="293" y="570"/>
                    </a:lnTo>
                    <a:lnTo>
                      <a:pt x="291" y="570"/>
                    </a:lnTo>
                    <a:lnTo>
                      <a:pt x="289" y="570"/>
                    </a:lnTo>
                    <a:lnTo>
                      <a:pt x="289" y="568"/>
                    </a:lnTo>
                    <a:lnTo>
                      <a:pt x="288" y="568"/>
                    </a:lnTo>
                    <a:lnTo>
                      <a:pt x="288" y="567"/>
                    </a:lnTo>
                    <a:lnTo>
                      <a:pt x="286" y="567"/>
                    </a:lnTo>
                    <a:lnTo>
                      <a:pt x="286" y="565"/>
                    </a:lnTo>
                    <a:lnTo>
                      <a:pt x="284" y="565"/>
                    </a:lnTo>
                    <a:lnTo>
                      <a:pt x="282" y="565"/>
                    </a:lnTo>
                    <a:lnTo>
                      <a:pt x="281" y="565"/>
                    </a:lnTo>
                    <a:lnTo>
                      <a:pt x="279" y="565"/>
                    </a:lnTo>
                    <a:lnTo>
                      <a:pt x="279" y="563"/>
                    </a:lnTo>
                    <a:lnTo>
                      <a:pt x="277" y="563"/>
                    </a:lnTo>
                    <a:lnTo>
                      <a:pt x="277" y="562"/>
                    </a:lnTo>
                    <a:lnTo>
                      <a:pt x="276" y="562"/>
                    </a:lnTo>
                    <a:lnTo>
                      <a:pt x="274" y="562"/>
                    </a:lnTo>
                    <a:lnTo>
                      <a:pt x="272" y="562"/>
                    </a:lnTo>
                    <a:lnTo>
                      <a:pt x="272" y="560"/>
                    </a:lnTo>
                    <a:lnTo>
                      <a:pt x="271" y="560"/>
                    </a:lnTo>
                    <a:lnTo>
                      <a:pt x="271" y="558"/>
                    </a:lnTo>
                    <a:lnTo>
                      <a:pt x="269" y="558"/>
                    </a:lnTo>
                    <a:lnTo>
                      <a:pt x="267" y="558"/>
                    </a:lnTo>
                    <a:lnTo>
                      <a:pt x="267" y="557"/>
                    </a:lnTo>
                    <a:lnTo>
                      <a:pt x="265" y="557"/>
                    </a:lnTo>
                    <a:lnTo>
                      <a:pt x="264" y="557"/>
                    </a:lnTo>
                    <a:lnTo>
                      <a:pt x="262" y="557"/>
                    </a:lnTo>
                    <a:lnTo>
                      <a:pt x="260" y="555"/>
                    </a:lnTo>
                    <a:lnTo>
                      <a:pt x="259" y="555"/>
                    </a:lnTo>
                    <a:lnTo>
                      <a:pt x="259" y="557"/>
                    </a:lnTo>
                    <a:lnTo>
                      <a:pt x="259" y="555"/>
                    </a:lnTo>
                    <a:lnTo>
                      <a:pt x="257" y="555"/>
                    </a:lnTo>
                    <a:lnTo>
                      <a:pt x="257" y="553"/>
                    </a:lnTo>
                    <a:lnTo>
                      <a:pt x="255" y="553"/>
                    </a:lnTo>
                    <a:lnTo>
                      <a:pt x="254" y="553"/>
                    </a:lnTo>
                    <a:lnTo>
                      <a:pt x="254" y="551"/>
                    </a:lnTo>
                    <a:lnTo>
                      <a:pt x="252" y="551"/>
                    </a:lnTo>
                    <a:lnTo>
                      <a:pt x="250" y="550"/>
                    </a:lnTo>
                    <a:lnTo>
                      <a:pt x="248" y="550"/>
                    </a:lnTo>
                    <a:lnTo>
                      <a:pt x="248" y="548"/>
                    </a:lnTo>
                    <a:lnTo>
                      <a:pt x="247" y="548"/>
                    </a:lnTo>
                    <a:lnTo>
                      <a:pt x="247" y="546"/>
                    </a:lnTo>
                    <a:lnTo>
                      <a:pt x="245" y="545"/>
                    </a:lnTo>
                    <a:lnTo>
                      <a:pt x="243" y="545"/>
                    </a:lnTo>
                    <a:lnTo>
                      <a:pt x="242" y="543"/>
                    </a:lnTo>
                    <a:lnTo>
                      <a:pt x="240" y="543"/>
                    </a:lnTo>
                    <a:lnTo>
                      <a:pt x="240" y="541"/>
                    </a:lnTo>
                    <a:lnTo>
                      <a:pt x="238" y="541"/>
                    </a:lnTo>
                    <a:lnTo>
                      <a:pt x="237" y="541"/>
                    </a:lnTo>
                    <a:lnTo>
                      <a:pt x="235" y="541"/>
                    </a:lnTo>
                    <a:lnTo>
                      <a:pt x="233" y="541"/>
                    </a:lnTo>
                    <a:lnTo>
                      <a:pt x="233" y="540"/>
                    </a:lnTo>
                    <a:lnTo>
                      <a:pt x="233" y="538"/>
                    </a:lnTo>
                    <a:lnTo>
                      <a:pt x="231" y="538"/>
                    </a:lnTo>
                    <a:lnTo>
                      <a:pt x="230" y="536"/>
                    </a:lnTo>
                    <a:lnTo>
                      <a:pt x="228" y="536"/>
                    </a:lnTo>
                    <a:lnTo>
                      <a:pt x="226" y="536"/>
                    </a:lnTo>
                    <a:lnTo>
                      <a:pt x="226" y="534"/>
                    </a:lnTo>
                    <a:lnTo>
                      <a:pt x="225" y="534"/>
                    </a:lnTo>
                    <a:lnTo>
                      <a:pt x="223" y="534"/>
                    </a:lnTo>
                    <a:lnTo>
                      <a:pt x="223" y="533"/>
                    </a:lnTo>
                    <a:lnTo>
                      <a:pt x="221" y="533"/>
                    </a:lnTo>
                    <a:lnTo>
                      <a:pt x="220" y="533"/>
                    </a:lnTo>
                    <a:lnTo>
                      <a:pt x="220" y="531"/>
                    </a:lnTo>
                    <a:lnTo>
                      <a:pt x="218" y="531"/>
                    </a:lnTo>
                    <a:lnTo>
                      <a:pt x="218" y="529"/>
                    </a:lnTo>
                    <a:lnTo>
                      <a:pt x="216" y="529"/>
                    </a:lnTo>
                    <a:lnTo>
                      <a:pt x="214" y="529"/>
                    </a:lnTo>
                    <a:lnTo>
                      <a:pt x="213" y="528"/>
                    </a:lnTo>
                    <a:lnTo>
                      <a:pt x="211" y="528"/>
                    </a:lnTo>
                    <a:lnTo>
                      <a:pt x="211" y="526"/>
                    </a:lnTo>
                    <a:lnTo>
                      <a:pt x="209" y="526"/>
                    </a:lnTo>
                    <a:lnTo>
                      <a:pt x="208" y="526"/>
                    </a:lnTo>
                    <a:lnTo>
                      <a:pt x="208" y="524"/>
                    </a:lnTo>
                    <a:lnTo>
                      <a:pt x="209" y="524"/>
                    </a:lnTo>
                    <a:lnTo>
                      <a:pt x="209" y="523"/>
                    </a:lnTo>
                    <a:lnTo>
                      <a:pt x="208" y="523"/>
                    </a:lnTo>
                    <a:lnTo>
                      <a:pt x="206" y="523"/>
                    </a:lnTo>
                    <a:lnTo>
                      <a:pt x="206" y="521"/>
                    </a:lnTo>
                    <a:lnTo>
                      <a:pt x="208" y="521"/>
                    </a:lnTo>
                    <a:lnTo>
                      <a:pt x="208" y="519"/>
                    </a:lnTo>
                    <a:lnTo>
                      <a:pt x="206" y="519"/>
                    </a:lnTo>
                    <a:lnTo>
                      <a:pt x="206" y="517"/>
                    </a:lnTo>
                    <a:lnTo>
                      <a:pt x="204" y="517"/>
                    </a:lnTo>
                    <a:lnTo>
                      <a:pt x="203" y="517"/>
                    </a:lnTo>
                    <a:lnTo>
                      <a:pt x="201" y="516"/>
                    </a:lnTo>
                    <a:lnTo>
                      <a:pt x="201" y="514"/>
                    </a:lnTo>
                    <a:lnTo>
                      <a:pt x="199" y="514"/>
                    </a:lnTo>
                    <a:lnTo>
                      <a:pt x="199" y="512"/>
                    </a:lnTo>
                    <a:lnTo>
                      <a:pt x="197" y="512"/>
                    </a:lnTo>
                    <a:lnTo>
                      <a:pt x="197" y="511"/>
                    </a:lnTo>
                    <a:lnTo>
                      <a:pt x="197" y="509"/>
                    </a:lnTo>
                    <a:lnTo>
                      <a:pt x="196" y="509"/>
                    </a:lnTo>
                    <a:lnTo>
                      <a:pt x="196" y="507"/>
                    </a:lnTo>
                    <a:lnTo>
                      <a:pt x="194" y="507"/>
                    </a:lnTo>
                    <a:lnTo>
                      <a:pt x="192" y="506"/>
                    </a:lnTo>
                    <a:lnTo>
                      <a:pt x="191" y="506"/>
                    </a:lnTo>
                    <a:lnTo>
                      <a:pt x="189" y="506"/>
                    </a:lnTo>
                    <a:lnTo>
                      <a:pt x="189" y="504"/>
                    </a:lnTo>
                    <a:lnTo>
                      <a:pt x="187" y="504"/>
                    </a:lnTo>
                    <a:lnTo>
                      <a:pt x="187" y="502"/>
                    </a:lnTo>
                    <a:lnTo>
                      <a:pt x="186" y="502"/>
                    </a:lnTo>
                    <a:lnTo>
                      <a:pt x="186" y="500"/>
                    </a:lnTo>
                    <a:lnTo>
                      <a:pt x="184" y="500"/>
                    </a:lnTo>
                    <a:lnTo>
                      <a:pt x="184" y="499"/>
                    </a:lnTo>
                    <a:lnTo>
                      <a:pt x="184" y="497"/>
                    </a:lnTo>
                    <a:lnTo>
                      <a:pt x="182" y="497"/>
                    </a:lnTo>
                    <a:lnTo>
                      <a:pt x="182" y="495"/>
                    </a:lnTo>
                    <a:lnTo>
                      <a:pt x="182" y="494"/>
                    </a:lnTo>
                    <a:lnTo>
                      <a:pt x="180" y="494"/>
                    </a:lnTo>
                    <a:lnTo>
                      <a:pt x="180" y="492"/>
                    </a:lnTo>
                    <a:lnTo>
                      <a:pt x="179" y="492"/>
                    </a:lnTo>
                    <a:lnTo>
                      <a:pt x="179" y="490"/>
                    </a:lnTo>
                    <a:lnTo>
                      <a:pt x="177" y="490"/>
                    </a:lnTo>
                    <a:lnTo>
                      <a:pt x="175" y="490"/>
                    </a:lnTo>
                    <a:lnTo>
                      <a:pt x="175" y="489"/>
                    </a:lnTo>
                    <a:lnTo>
                      <a:pt x="177" y="489"/>
                    </a:lnTo>
                    <a:lnTo>
                      <a:pt x="177" y="487"/>
                    </a:lnTo>
                    <a:lnTo>
                      <a:pt x="175" y="485"/>
                    </a:lnTo>
                    <a:lnTo>
                      <a:pt x="174" y="485"/>
                    </a:lnTo>
                    <a:lnTo>
                      <a:pt x="174" y="483"/>
                    </a:lnTo>
                    <a:lnTo>
                      <a:pt x="172" y="483"/>
                    </a:lnTo>
                    <a:lnTo>
                      <a:pt x="172" y="482"/>
                    </a:lnTo>
                    <a:lnTo>
                      <a:pt x="172" y="483"/>
                    </a:lnTo>
                    <a:lnTo>
                      <a:pt x="172" y="485"/>
                    </a:lnTo>
                    <a:lnTo>
                      <a:pt x="172" y="483"/>
                    </a:lnTo>
                    <a:lnTo>
                      <a:pt x="170" y="483"/>
                    </a:lnTo>
                    <a:lnTo>
                      <a:pt x="172" y="483"/>
                    </a:lnTo>
                    <a:lnTo>
                      <a:pt x="170" y="482"/>
                    </a:lnTo>
                    <a:lnTo>
                      <a:pt x="172" y="482"/>
                    </a:lnTo>
                    <a:lnTo>
                      <a:pt x="170" y="480"/>
                    </a:lnTo>
                    <a:lnTo>
                      <a:pt x="172" y="480"/>
                    </a:lnTo>
                    <a:lnTo>
                      <a:pt x="172" y="478"/>
                    </a:lnTo>
                    <a:lnTo>
                      <a:pt x="170" y="477"/>
                    </a:lnTo>
                    <a:lnTo>
                      <a:pt x="172" y="477"/>
                    </a:lnTo>
                    <a:lnTo>
                      <a:pt x="172" y="475"/>
                    </a:lnTo>
                    <a:lnTo>
                      <a:pt x="170" y="475"/>
                    </a:lnTo>
                    <a:lnTo>
                      <a:pt x="172" y="475"/>
                    </a:lnTo>
                    <a:lnTo>
                      <a:pt x="170" y="473"/>
                    </a:lnTo>
                    <a:lnTo>
                      <a:pt x="170" y="475"/>
                    </a:lnTo>
                    <a:lnTo>
                      <a:pt x="169" y="475"/>
                    </a:lnTo>
                    <a:lnTo>
                      <a:pt x="167" y="475"/>
                    </a:lnTo>
                    <a:lnTo>
                      <a:pt x="167" y="473"/>
                    </a:lnTo>
                    <a:lnTo>
                      <a:pt x="169" y="472"/>
                    </a:lnTo>
                    <a:lnTo>
                      <a:pt x="169" y="470"/>
                    </a:lnTo>
                    <a:lnTo>
                      <a:pt x="170" y="470"/>
                    </a:lnTo>
                    <a:lnTo>
                      <a:pt x="170" y="472"/>
                    </a:lnTo>
                    <a:lnTo>
                      <a:pt x="172" y="472"/>
                    </a:lnTo>
                    <a:lnTo>
                      <a:pt x="172" y="473"/>
                    </a:lnTo>
                    <a:lnTo>
                      <a:pt x="172" y="472"/>
                    </a:lnTo>
                    <a:lnTo>
                      <a:pt x="172" y="470"/>
                    </a:lnTo>
                    <a:lnTo>
                      <a:pt x="174" y="468"/>
                    </a:lnTo>
                    <a:lnTo>
                      <a:pt x="174" y="466"/>
                    </a:lnTo>
                    <a:lnTo>
                      <a:pt x="174" y="465"/>
                    </a:lnTo>
                    <a:lnTo>
                      <a:pt x="174" y="463"/>
                    </a:lnTo>
                    <a:lnTo>
                      <a:pt x="174" y="461"/>
                    </a:lnTo>
                    <a:lnTo>
                      <a:pt x="174" y="460"/>
                    </a:lnTo>
                    <a:lnTo>
                      <a:pt x="174" y="458"/>
                    </a:lnTo>
                    <a:lnTo>
                      <a:pt x="174" y="456"/>
                    </a:lnTo>
                    <a:lnTo>
                      <a:pt x="174" y="454"/>
                    </a:lnTo>
                    <a:lnTo>
                      <a:pt x="172" y="454"/>
                    </a:lnTo>
                    <a:lnTo>
                      <a:pt x="172" y="453"/>
                    </a:lnTo>
                    <a:lnTo>
                      <a:pt x="170" y="453"/>
                    </a:lnTo>
                    <a:lnTo>
                      <a:pt x="170" y="451"/>
                    </a:lnTo>
                    <a:lnTo>
                      <a:pt x="169" y="449"/>
                    </a:lnTo>
                    <a:lnTo>
                      <a:pt x="169" y="448"/>
                    </a:lnTo>
                    <a:lnTo>
                      <a:pt x="167" y="448"/>
                    </a:lnTo>
                    <a:lnTo>
                      <a:pt x="167" y="446"/>
                    </a:lnTo>
                    <a:lnTo>
                      <a:pt x="165" y="446"/>
                    </a:lnTo>
                    <a:lnTo>
                      <a:pt x="165" y="444"/>
                    </a:lnTo>
                    <a:lnTo>
                      <a:pt x="163" y="444"/>
                    </a:lnTo>
                    <a:lnTo>
                      <a:pt x="165" y="443"/>
                    </a:lnTo>
                    <a:lnTo>
                      <a:pt x="163" y="443"/>
                    </a:lnTo>
                    <a:lnTo>
                      <a:pt x="163" y="441"/>
                    </a:lnTo>
                    <a:lnTo>
                      <a:pt x="163" y="439"/>
                    </a:lnTo>
                    <a:lnTo>
                      <a:pt x="163" y="437"/>
                    </a:lnTo>
                    <a:lnTo>
                      <a:pt x="162" y="437"/>
                    </a:lnTo>
                    <a:lnTo>
                      <a:pt x="162" y="436"/>
                    </a:lnTo>
                    <a:lnTo>
                      <a:pt x="160" y="436"/>
                    </a:lnTo>
                    <a:lnTo>
                      <a:pt x="160" y="434"/>
                    </a:lnTo>
                    <a:lnTo>
                      <a:pt x="160" y="432"/>
                    </a:lnTo>
                    <a:lnTo>
                      <a:pt x="158" y="432"/>
                    </a:lnTo>
                    <a:lnTo>
                      <a:pt x="158" y="431"/>
                    </a:lnTo>
                    <a:lnTo>
                      <a:pt x="158" y="429"/>
                    </a:lnTo>
                    <a:lnTo>
                      <a:pt x="157" y="429"/>
                    </a:lnTo>
                    <a:lnTo>
                      <a:pt x="157" y="427"/>
                    </a:lnTo>
                    <a:lnTo>
                      <a:pt x="155" y="427"/>
                    </a:lnTo>
                    <a:lnTo>
                      <a:pt x="155" y="426"/>
                    </a:lnTo>
                    <a:lnTo>
                      <a:pt x="153" y="426"/>
                    </a:lnTo>
                    <a:lnTo>
                      <a:pt x="153" y="424"/>
                    </a:lnTo>
                    <a:lnTo>
                      <a:pt x="155" y="424"/>
                    </a:lnTo>
                    <a:lnTo>
                      <a:pt x="155" y="422"/>
                    </a:lnTo>
                    <a:lnTo>
                      <a:pt x="153" y="422"/>
                    </a:lnTo>
                    <a:lnTo>
                      <a:pt x="153" y="420"/>
                    </a:lnTo>
                    <a:lnTo>
                      <a:pt x="153" y="419"/>
                    </a:lnTo>
                    <a:lnTo>
                      <a:pt x="152" y="419"/>
                    </a:lnTo>
                    <a:lnTo>
                      <a:pt x="150" y="417"/>
                    </a:lnTo>
                    <a:lnTo>
                      <a:pt x="148" y="417"/>
                    </a:lnTo>
                    <a:lnTo>
                      <a:pt x="148" y="415"/>
                    </a:lnTo>
                    <a:lnTo>
                      <a:pt x="146" y="415"/>
                    </a:lnTo>
                    <a:lnTo>
                      <a:pt x="146" y="414"/>
                    </a:lnTo>
                    <a:lnTo>
                      <a:pt x="146" y="412"/>
                    </a:lnTo>
                    <a:lnTo>
                      <a:pt x="145" y="412"/>
                    </a:lnTo>
                    <a:lnTo>
                      <a:pt x="143" y="410"/>
                    </a:lnTo>
                    <a:lnTo>
                      <a:pt x="141" y="410"/>
                    </a:lnTo>
                    <a:lnTo>
                      <a:pt x="141" y="409"/>
                    </a:lnTo>
                    <a:lnTo>
                      <a:pt x="141" y="410"/>
                    </a:lnTo>
                    <a:lnTo>
                      <a:pt x="141" y="409"/>
                    </a:lnTo>
                    <a:lnTo>
                      <a:pt x="143" y="409"/>
                    </a:lnTo>
                    <a:lnTo>
                      <a:pt x="143" y="407"/>
                    </a:lnTo>
                    <a:lnTo>
                      <a:pt x="143" y="405"/>
                    </a:lnTo>
                    <a:lnTo>
                      <a:pt x="141" y="405"/>
                    </a:lnTo>
                    <a:lnTo>
                      <a:pt x="141" y="403"/>
                    </a:lnTo>
                    <a:lnTo>
                      <a:pt x="141" y="402"/>
                    </a:lnTo>
                    <a:lnTo>
                      <a:pt x="141" y="400"/>
                    </a:lnTo>
                    <a:lnTo>
                      <a:pt x="140" y="400"/>
                    </a:lnTo>
                    <a:lnTo>
                      <a:pt x="141" y="400"/>
                    </a:lnTo>
                    <a:lnTo>
                      <a:pt x="141" y="398"/>
                    </a:lnTo>
                    <a:lnTo>
                      <a:pt x="140" y="398"/>
                    </a:lnTo>
                    <a:lnTo>
                      <a:pt x="140" y="397"/>
                    </a:lnTo>
                    <a:lnTo>
                      <a:pt x="140" y="395"/>
                    </a:lnTo>
                    <a:lnTo>
                      <a:pt x="138" y="395"/>
                    </a:lnTo>
                    <a:lnTo>
                      <a:pt x="138" y="393"/>
                    </a:lnTo>
                    <a:lnTo>
                      <a:pt x="136" y="392"/>
                    </a:lnTo>
                    <a:lnTo>
                      <a:pt x="136" y="390"/>
                    </a:lnTo>
                    <a:lnTo>
                      <a:pt x="135" y="390"/>
                    </a:lnTo>
                    <a:lnTo>
                      <a:pt x="133" y="388"/>
                    </a:lnTo>
                    <a:lnTo>
                      <a:pt x="129" y="386"/>
                    </a:lnTo>
                    <a:lnTo>
                      <a:pt x="128" y="385"/>
                    </a:lnTo>
                    <a:lnTo>
                      <a:pt x="126" y="385"/>
                    </a:lnTo>
                    <a:lnTo>
                      <a:pt x="124" y="385"/>
                    </a:lnTo>
                    <a:lnTo>
                      <a:pt x="124" y="383"/>
                    </a:lnTo>
                    <a:lnTo>
                      <a:pt x="126" y="383"/>
                    </a:lnTo>
                    <a:lnTo>
                      <a:pt x="124" y="383"/>
                    </a:lnTo>
                    <a:lnTo>
                      <a:pt x="126" y="381"/>
                    </a:lnTo>
                    <a:lnTo>
                      <a:pt x="124" y="381"/>
                    </a:lnTo>
                    <a:lnTo>
                      <a:pt x="126" y="381"/>
                    </a:lnTo>
                    <a:lnTo>
                      <a:pt x="128" y="380"/>
                    </a:lnTo>
                    <a:lnTo>
                      <a:pt x="126" y="380"/>
                    </a:lnTo>
                    <a:lnTo>
                      <a:pt x="126" y="378"/>
                    </a:lnTo>
                    <a:lnTo>
                      <a:pt x="126" y="376"/>
                    </a:lnTo>
                    <a:lnTo>
                      <a:pt x="126" y="375"/>
                    </a:lnTo>
                    <a:lnTo>
                      <a:pt x="124" y="375"/>
                    </a:lnTo>
                    <a:lnTo>
                      <a:pt x="124" y="373"/>
                    </a:lnTo>
                    <a:lnTo>
                      <a:pt x="124" y="371"/>
                    </a:lnTo>
                    <a:lnTo>
                      <a:pt x="124" y="369"/>
                    </a:lnTo>
                    <a:lnTo>
                      <a:pt x="123" y="369"/>
                    </a:lnTo>
                    <a:lnTo>
                      <a:pt x="123" y="368"/>
                    </a:lnTo>
                    <a:lnTo>
                      <a:pt x="121" y="368"/>
                    </a:lnTo>
                    <a:lnTo>
                      <a:pt x="123" y="366"/>
                    </a:lnTo>
                    <a:lnTo>
                      <a:pt x="121" y="366"/>
                    </a:lnTo>
                    <a:lnTo>
                      <a:pt x="121" y="364"/>
                    </a:lnTo>
                    <a:lnTo>
                      <a:pt x="119" y="364"/>
                    </a:lnTo>
                    <a:lnTo>
                      <a:pt x="119" y="363"/>
                    </a:lnTo>
                    <a:lnTo>
                      <a:pt x="118" y="363"/>
                    </a:lnTo>
                    <a:lnTo>
                      <a:pt x="118" y="361"/>
                    </a:lnTo>
                    <a:lnTo>
                      <a:pt x="118" y="359"/>
                    </a:lnTo>
                    <a:lnTo>
                      <a:pt x="116" y="359"/>
                    </a:lnTo>
                    <a:lnTo>
                      <a:pt x="116" y="358"/>
                    </a:lnTo>
                    <a:lnTo>
                      <a:pt x="114" y="356"/>
                    </a:lnTo>
                    <a:lnTo>
                      <a:pt x="114" y="354"/>
                    </a:lnTo>
                    <a:lnTo>
                      <a:pt x="112" y="354"/>
                    </a:lnTo>
                    <a:lnTo>
                      <a:pt x="112" y="352"/>
                    </a:lnTo>
                    <a:lnTo>
                      <a:pt x="112" y="351"/>
                    </a:lnTo>
                    <a:lnTo>
                      <a:pt x="111" y="351"/>
                    </a:lnTo>
                    <a:lnTo>
                      <a:pt x="111" y="349"/>
                    </a:lnTo>
                    <a:lnTo>
                      <a:pt x="111" y="347"/>
                    </a:lnTo>
                    <a:lnTo>
                      <a:pt x="109" y="346"/>
                    </a:lnTo>
                    <a:lnTo>
                      <a:pt x="107" y="344"/>
                    </a:lnTo>
                    <a:lnTo>
                      <a:pt x="107" y="342"/>
                    </a:lnTo>
                    <a:lnTo>
                      <a:pt x="107" y="341"/>
                    </a:lnTo>
                    <a:lnTo>
                      <a:pt x="107" y="339"/>
                    </a:lnTo>
                    <a:lnTo>
                      <a:pt x="106" y="339"/>
                    </a:lnTo>
                    <a:lnTo>
                      <a:pt x="106" y="337"/>
                    </a:lnTo>
                    <a:lnTo>
                      <a:pt x="106" y="335"/>
                    </a:lnTo>
                    <a:lnTo>
                      <a:pt x="106" y="334"/>
                    </a:lnTo>
                    <a:lnTo>
                      <a:pt x="106" y="332"/>
                    </a:lnTo>
                    <a:lnTo>
                      <a:pt x="104" y="330"/>
                    </a:lnTo>
                    <a:lnTo>
                      <a:pt x="104" y="329"/>
                    </a:lnTo>
                    <a:lnTo>
                      <a:pt x="102" y="329"/>
                    </a:lnTo>
                    <a:lnTo>
                      <a:pt x="102" y="327"/>
                    </a:lnTo>
                    <a:lnTo>
                      <a:pt x="101" y="327"/>
                    </a:lnTo>
                    <a:lnTo>
                      <a:pt x="101" y="325"/>
                    </a:lnTo>
                    <a:lnTo>
                      <a:pt x="101" y="324"/>
                    </a:lnTo>
                    <a:lnTo>
                      <a:pt x="101" y="322"/>
                    </a:lnTo>
                    <a:lnTo>
                      <a:pt x="99" y="322"/>
                    </a:lnTo>
                    <a:lnTo>
                      <a:pt x="101" y="322"/>
                    </a:lnTo>
                    <a:lnTo>
                      <a:pt x="101" y="320"/>
                    </a:lnTo>
                    <a:lnTo>
                      <a:pt x="99" y="320"/>
                    </a:lnTo>
                    <a:lnTo>
                      <a:pt x="99" y="318"/>
                    </a:lnTo>
                    <a:lnTo>
                      <a:pt x="99" y="317"/>
                    </a:lnTo>
                    <a:lnTo>
                      <a:pt x="97" y="317"/>
                    </a:lnTo>
                    <a:lnTo>
                      <a:pt x="97" y="315"/>
                    </a:lnTo>
                    <a:lnTo>
                      <a:pt x="95" y="315"/>
                    </a:lnTo>
                    <a:lnTo>
                      <a:pt x="95" y="313"/>
                    </a:lnTo>
                    <a:lnTo>
                      <a:pt x="97" y="313"/>
                    </a:lnTo>
                    <a:lnTo>
                      <a:pt x="97" y="312"/>
                    </a:lnTo>
                    <a:lnTo>
                      <a:pt x="95" y="312"/>
                    </a:lnTo>
                    <a:lnTo>
                      <a:pt x="94" y="312"/>
                    </a:lnTo>
                    <a:lnTo>
                      <a:pt x="94" y="313"/>
                    </a:lnTo>
                    <a:lnTo>
                      <a:pt x="94" y="312"/>
                    </a:lnTo>
                    <a:lnTo>
                      <a:pt x="92" y="312"/>
                    </a:lnTo>
                    <a:lnTo>
                      <a:pt x="92" y="310"/>
                    </a:lnTo>
                    <a:lnTo>
                      <a:pt x="94" y="312"/>
                    </a:lnTo>
                    <a:lnTo>
                      <a:pt x="94" y="310"/>
                    </a:lnTo>
                    <a:lnTo>
                      <a:pt x="94" y="312"/>
                    </a:lnTo>
                    <a:lnTo>
                      <a:pt x="94" y="310"/>
                    </a:lnTo>
                    <a:lnTo>
                      <a:pt x="94" y="308"/>
                    </a:lnTo>
                    <a:lnTo>
                      <a:pt x="92" y="308"/>
                    </a:lnTo>
                    <a:lnTo>
                      <a:pt x="92" y="307"/>
                    </a:lnTo>
                    <a:lnTo>
                      <a:pt x="92" y="305"/>
                    </a:lnTo>
                    <a:lnTo>
                      <a:pt x="90" y="305"/>
                    </a:lnTo>
                    <a:lnTo>
                      <a:pt x="92" y="305"/>
                    </a:lnTo>
                    <a:lnTo>
                      <a:pt x="92" y="303"/>
                    </a:lnTo>
                    <a:lnTo>
                      <a:pt x="90" y="301"/>
                    </a:lnTo>
                    <a:lnTo>
                      <a:pt x="90" y="300"/>
                    </a:lnTo>
                    <a:lnTo>
                      <a:pt x="89" y="300"/>
                    </a:lnTo>
                    <a:lnTo>
                      <a:pt x="89" y="298"/>
                    </a:lnTo>
                    <a:lnTo>
                      <a:pt x="87" y="298"/>
                    </a:lnTo>
                    <a:lnTo>
                      <a:pt x="87" y="296"/>
                    </a:lnTo>
                    <a:lnTo>
                      <a:pt x="89" y="296"/>
                    </a:lnTo>
                    <a:lnTo>
                      <a:pt x="89" y="295"/>
                    </a:lnTo>
                    <a:lnTo>
                      <a:pt x="89" y="293"/>
                    </a:lnTo>
                    <a:lnTo>
                      <a:pt x="87" y="291"/>
                    </a:lnTo>
                    <a:lnTo>
                      <a:pt x="87" y="289"/>
                    </a:lnTo>
                    <a:lnTo>
                      <a:pt x="85" y="289"/>
                    </a:lnTo>
                    <a:lnTo>
                      <a:pt x="85" y="288"/>
                    </a:lnTo>
                    <a:lnTo>
                      <a:pt x="84" y="288"/>
                    </a:lnTo>
                    <a:lnTo>
                      <a:pt x="82" y="286"/>
                    </a:lnTo>
                    <a:lnTo>
                      <a:pt x="84" y="284"/>
                    </a:lnTo>
                    <a:lnTo>
                      <a:pt x="84" y="283"/>
                    </a:lnTo>
                    <a:lnTo>
                      <a:pt x="82" y="283"/>
                    </a:lnTo>
                    <a:lnTo>
                      <a:pt x="82" y="281"/>
                    </a:lnTo>
                    <a:lnTo>
                      <a:pt x="80" y="281"/>
                    </a:lnTo>
                    <a:lnTo>
                      <a:pt x="80" y="279"/>
                    </a:lnTo>
                    <a:lnTo>
                      <a:pt x="80" y="278"/>
                    </a:lnTo>
                    <a:lnTo>
                      <a:pt x="78" y="278"/>
                    </a:lnTo>
                    <a:lnTo>
                      <a:pt x="78" y="276"/>
                    </a:lnTo>
                    <a:lnTo>
                      <a:pt x="77" y="276"/>
                    </a:lnTo>
                    <a:lnTo>
                      <a:pt x="77" y="274"/>
                    </a:lnTo>
                    <a:lnTo>
                      <a:pt x="75" y="274"/>
                    </a:lnTo>
                    <a:lnTo>
                      <a:pt x="75" y="272"/>
                    </a:lnTo>
                    <a:lnTo>
                      <a:pt x="73" y="271"/>
                    </a:lnTo>
                    <a:lnTo>
                      <a:pt x="72" y="271"/>
                    </a:lnTo>
                    <a:lnTo>
                      <a:pt x="70" y="269"/>
                    </a:lnTo>
                    <a:lnTo>
                      <a:pt x="68" y="267"/>
                    </a:lnTo>
                    <a:lnTo>
                      <a:pt x="67" y="266"/>
                    </a:lnTo>
                    <a:lnTo>
                      <a:pt x="67" y="264"/>
                    </a:lnTo>
                    <a:lnTo>
                      <a:pt x="65" y="262"/>
                    </a:lnTo>
                    <a:lnTo>
                      <a:pt x="63" y="261"/>
                    </a:lnTo>
                    <a:lnTo>
                      <a:pt x="65" y="261"/>
                    </a:lnTo>
                    <a:lnTo>
                      <a:pt x="65" y="259"/>
                    </a:lnTo>
                    <a:lnTo>
                      <a:pt x="63" y="257"/>
                    </a:lnTo>
                    <a:lnTo>
                      <a:pt x="63" y="255"/>
                    </a:lnTo>
                    <a:lnTo>
                      <a:pt x="61" y="255"/>
                    </a:lnTo>
                    <a:lnTo>
                      <a:pt x="61" y="254"/>
                    </a:lnTo>
                    <a:lnTo>
                      <a:pt x="60" y="254"/>
                    </a:lnTo>
                    <a:lnTo>
                      <a:pt x="60" y="252"/>
                    </a:lnTo>
                    <a:lnTo>
                      <a:pt x="60" y="250"/>
                    </a:lnTo>
                    <a:lnTo>
                      <a:pt x="60" y="249"/>
                    </a:lnTo>
                    <a:lnTo>
                      <a:pt x="60" y="247"/>
                    </a:lnTo>
                    <a:lnTo>
                      <a:pt x="58" y="245"/>
                    </a:lnTo>
                    <a:lnTo>
                      <a:pt x="56" y="244"/>
                    </a:lnTo>
                    <a:lnTo>
                      <a:pt x="56" y="242"/>
                    </a:lnTo>
                    <a:lnTo>
                      <a:pt x="56" y="240"/>
                    </a:lnTo>
                    <a:lnTo>
                      <a:pt x="55" y="240"/>
                    </a:lnTo>
                    <a:lnTo>
                      <a:pt x="55" y="238"/>
                    </a:lnTo>
                    <a:lnTo>
                      <a:pt x="53" y="237"/>
                    </a:lnTo>
                    <a:lnTo>
                      <a:pt x="51" y="235"/>
                    </a:lnTo>
                    <a:lnTo>
                      <a:pt x="50" y="235"/>
                    </a:lnTo>
                    <a:lnTo>
                      <a:pt x="50" y="233"/>
                    </a:lnTo>
                    <a:lnTo>
                      <a:pt x="48" y="233"/>
                    </a:lnTo>
                    <a:lnTo>
                      <a:pt x="48" y="232"/>
                    </a:lnTo>
                    <a:lnTo>
                      <a:pt x="48" y="230"/>
                    </a:lnTo>
                    <a:lnTo>
                      <a:pt x="46" y="230"/>
                    </a:lnTo>
                    <a:lnTo>
                      <a:pt x="46" y="228"/>
                    </a:lnTo>
                    <a:lnTo>
                      <a:pt x="44" y="227"/>
                    </a:lnTo>
                    <a:lnTo>
                      <a:pt x="43" y="227"/>
                    </a:lnTo>
                    <a:lnTo>
                      <a:pt x="41" y="225"/>
                    </a:lnTo>
                    <a:lnTo>
                      <a:pt x="41" y="223"/>
                    </a:lnTo>
                    <a:lnTo>
                      <a:pt x="39" y="223"/>
                    </a:lnTo>
                    <a:lnTo>
                      <a:pt x="38" y="223"/>
                    </a:lnTo>
                    <a:lnTo>
                      <a:pt x="38" y="221"/>
                    </a:lnTo>
                    <a:lnTo>
                      <a:pt x="36" y="221"/>
                    </a:lnTo>
                    <a:lnTo>
                      <a:pt x="34" y="220"/>
                    </a:lnTo>
                    <a:lnTo>
                      <a:pt x="33" y="220"/>
                    </a:lnTo>
                    <a:lnTo>
                      <a:pt x="31" y="218"/>
                    </a:lnTo>
                    <a:lnTo>
                      <a:pt x="29" y="218"/>
                    </a:lnTo>
                    <a:lnTo>
                      <a:pt x="28" y="216"/>
                    </a:lnTo>
                    <a:lnTo>
                      <a:pt x="26" y="216"/>
                    </a:lnTo>
                    <a:lnTo>
                      <a:pt x="24" y="216"/>
                    </a:lnTo>
                    <a:lnTo>
                      <a:pt x="24" y="215"/>
                    </a:lnTo>
                    <a:lnTo>
                      <a:pt x="22" y="215"/>
                    </a:lnTo>
                    <a:lnTo>
                      <a:pt x="21" y="213"/>
                    </a:lnTo>
                    <a:lnTo>
                      <a:pt x="19" y="213"/>
                    </a:lnTo>
                    <a:lnTo>
                      <a:pt x="17" y="211"/>
                    </a:lnTo>
                    <a:lnTo>
                      <a:pt x="16" y="210"/>
                    </a:lnTo>
                    <a:lnTo>
                      <a:pt x="14" y="210"/>
                    </a:lnTo>
                    <a:lnTo>
                      <a:pt x="14" y="208"/>
                    </a:lnTo>
                    <a:lnTo>
                      <a:pt x="12" y="208"/>
                    </a:lnTo>
                    <a:lnTo>
                      <a:pt x="11" y="206"/>
                    </a:lnTo>
                    <a:lnTo>
                      <a:pt x="9" y="206"/>
                    </a:lnTo>
                    <a:lnTo>
                      <a:pt x="9" y="204"/>
                    </a:lnTo>
                    <a:lnTo>
                      <a:pt x="7" y="204"/>
                    </a:lnTo>
                    <a:lnTo>
                      <a:pt x="7" y="203"/>
                    </a:lnTo>
                    <a:lnTo>
                      <a:pt x="7" y="201"/>
                    </a:lnTo>
                    <a:lnTo>
                      <a:pt x="7" y="199"/>
                    </a:lnTo>
                    <a:lnTo>
                      <a:pt x="7" y="198"/>
                    </a:lnTo>
                    <a:lnTo>
                      <a:pt x="9" y="198"/>
                    </a:lnTo>
                    <a:lnTo>
                      <a:pt x="9" y="196"/>
                    </a:lnTo>
                    <a:lnTo>
                      <a:pt x="11" y="196"/>
                    </a:lnTo>
                    <a:lnTo>
                      <a:pt x="11" y="198"/>
                    </a:lnTo>
                    <a:lnTo>
                      <a:pt x="12" y="198"/>
                    </a:lnTo>
                    <a:lnTo>
                      <a:pt x="14" y="198"/>
                    </a:lnTo>
                    <a:lnTo>
                      <a:pt x="16" y="198"/>
                    </a:lnTo>
                    <a:lnTo>
                      <a:pt x="16" y="196"/>
                    </a:lnTo>
                    <a:lnTo>
                      <a:pt x="17" y="194"/>
                    </a:lnTo>
                    <a:lnTo>
                      <a:pt x="17" y="193"/>
                    </a:lnTo>
                    <a:lnTo>
                      <a:pt x="17" y="191"/>
                    </a:lnTo>
                    <a:lnTo>
                      <a:pt x="17" y="189"/>
                    </a:lnTo>
                    <a:lnTo>
                      <a:pt x="16" y="189"/>
                    </a:lnTo>
                    <a:lnTo>
                      <a:pt x="16" y="187"/>
                    </a:lnTo>
                    <a:lnTo>
                      <a:pt x="16" y="186"/>
                    </a:lnTo>
                    <a:lnTo>
                      <a:pt x="14" y="184"/>
                    </a:lnTo>
                    <a:lnTo>
                      <a:pt x="12" y="182"/>
                    </a:lnTo>
                    <a:lnTo>
                      <a:pt x="11" y="181"/>
                    </a:lnTo>
                    <a:lnTo>
                      <a:pt x="11" y="179"/>
                    </a:lnTo>
                    <a:lnTo>
                      <a:pt x="9" y="179"/>
                    </a:lnTo>
                    <a:lnTo>
                      <a:pt x="7" y="179"/>
                    </a:lnTo>
                    <a:lnTo>
                      <a:pt x="7" y="177"/>
                    </a:lnTo>
                    <a:lnTo>
                      <a:pt x="5" y="177"/>
                    </a:lnTo>
                    <a:lnTo>
                      <a:pt x="5" y="176"/>
                    </a:lnTo>
                    <a:lnTo>
                      <a:pt x="7" y="176"/>
                    </a:lnTo>
                    <a:lnTo>
                      <a:pt x="7" y="174"/>
                    </a:lnTo>
                    <a:lnTo>
                      <a:pt x="5" y="174"/>
                    </a:lnTo>
                    <a:lnTo>
                      <a:pt x="7" y="174"/>
                    </a:lnTo>
                    <a:lnTo>
                      <a:pt x="7" y="172"/>
                    </a:lnTo>
                    <a:lnTo>
                      <a:pt x="5" y="172"/>
                    </a:lnTo>
                    <a:lnTo>
                      <a:pt x="7" y="172"/>
                    </a:lnTo>
                    <a:lnTo>
                      <a:pt x="9" y="172"/>
                    </a:lnTo>
                    <a:lnTo>
                      <a:pt x="11" y="170"/>
                    </a:lnTo>
                    <a:lnTo>
                      <a:pt x="11" y="169"/>
                    </a:lnTo>
                    <a:lnTo>
                      <a:pt x="9" y="169"/>
                    </a:lnTo>
                    <a:lnTo>
                      <a:pt x="9" y="167"/>
                    </a:lnTo>
                    <a:lnTo>
                      <a:pt x="7" y="165"/>
                    </a:lnTo>
                    <a:lnTo>
                      <a:pt x="5" y="164"/>
                    </a:lnTo>
                    <a:lnTo>
                      <a:pt x="5" y="162"/>
                    </a:lnTo>
                    <a:lnTo>
                      <a:pt x="4" y="162"/>
                    </a:lnTo>
                    <a:lnTo>
                      <a:pt x="2" y="159"/>
                    </a:lnTo>
                    <a:lnTo>
                      <a:pt x="0" y="159"/>
                    </a:lnTo>
                    <a:lnTo>
                      <a:pt x="2" y="157"/>
                    </a:lnTo>
                    <a:lnTo>
                      <a:pt x="2" y="155"/>
                    </a:lnTo>
                    <a:lnTo>
                      <a:pt x="2" y="153"/>
                    </a:lnTo>
                    <a:lnTo>
                      <a:pt x="2" y="152"/>
                    </a:lnTo>
                    <a:lnTo>
                      <a:pt x="2" y="150"/>
                    </a:lnTo>
                    <a:lnTo>
                      <a:pt x="4" y="150"/>
                    </a:lnTo>
                    <a:lnTo>
                      <a:pt x="4" y="148"/>
                    </a:lnTo>
                    <a:lnTo>
                      <a:pt x="4" y="147"/>
                    </a:lnTo>
                    <a:lnTo>
                      <a:pt x="4" y="145"/>
                    </a:lnTo>
                    <a:lnTo>
                      <a:pt x="4" y="143"/>
                    </a:lnTo>
                    <a:lnTo>
                      <a:pt x="5" y="143"/>
                    </a:lnTo>
                    <a:lnTo>
                      <a:pt x="7" y="141"/>
                    </a:lnTo>
                    <a:lnTo>
                      <a:pt x="9" y="140"/>
                    </a:lnTo>
                    <a:lnTo>
                      <a:pt x="9" y="138"/>
                    </a:lnTo>
                    <a:lnTo>
                      <a:pt x="11" y="138"/>
                    </a:lnTo>
                    <a:lnTo>
                      <a:pt x="11" y="136"/>
                    </a:lnTo>
                    <a:lnTo>
                      <a:pt x="12" y="136"/>
                    </a:lnTo>
                    <a:lnTo>
                      <a:pt x="12" y="135"/>
                    </a:lnTo>
                    <a:lnTo>
                      <a:pt x="14" y="133"/>
                    </a:lnTo>
                    <a:lnTo>
                      <a:pt x="16" y="131"/>
                    </a:lnTo>
                    <a:lnTo>
                      <a:pt x="17" y="131"/>
                    </a:lnTo>
                    <a:lnTo>
                      <a:pt x="17" y="130"/>
                    </a:lnTo>
                    <a:lnTo>
                      <a:pt x="19" y="128"/>
                    </a:lnTo>
                    <a:lnTo>
                      <a:pt x="19" y="126"/>
                    </a:lnTo>
                    <a:lnTo>
                      <a:pt x="21" y="126"/>
                    </a:lnTo>
                    <a:lnTo>
                      <a:pt x="21" y="124"/>
                    </a:lnTo>
                    <a:lnTo>
                      <a:pt x="22" y="124"/>
                    </a:lnTo>
                    <a:lnTo>
                      <a:pt x="24" y="124"/>
                    </a:lnTo>
                    <a:lnTo>
                      <a:pt x="24" y="123"/>
                    </a:lnTo>
                    <a:lnTo>
                      <a:pt x="26" y="123"/>
                    </a:lnTo>
                    <a:lnTo>
                      <a:pt x="28" y="121"/>
                    </a:lnTo>
                    <a:lnTo>
                      <a:pt x="28" y="119"/>
                    </a:lnTo>
                    <a:lnTo>
                      <a:pt x="29" y="119"/>
                    </a:lnTo>
                    <a:lnTo>
                      <a:pt x="29" y="118"/>
                    </a:lnTo>
                    <a:lnTo>
                      <a:pt x="31" y="118"/>
                    </a:lnTo>
                    <a:lnTo>
                      <a:pt x="33" y="118"/>
                    </a:lnTo>
                    <a:lnTo>
                      <a:pt x="31" y="119"/>
                    </a:lnTo>
                    <a:lnTo>
                      <a:pt x="33" y="118"/>
                    </a:lnTo>
                    <a:lnTo>
                      <a:pt x="34" y="118"/>
                    </a:lnTo>
                    <a:lnTo>
                      <a:pt x="34" y="116"/>
                    </a:lnTo>
                    <a:lnTo>
                      <a:pt x="36" y="114"/>
                    </a:lnTo>
                    <a:lnTo>
                      <a:pt x="36" y="116"/>
                    </a:lnTo>
                    <a:lnTo>
                      <a:pt x="38" y="116"/>
                    </a:lnTo>
                    <a:lnTo>
                      <a:pt x="38" y="118"/>
                    </a:lnTo>
                    <a:lnTo>
                      <a:pt x="38" y="119"/>
                    </a:lnTo>
                    <a:lnTo>
                      <a:pt x="39" y="119"/>
                    </a:lnTo>
                    <a:lnTo>
                      <a:pt x="38" y="121"/>
                    </a:lnTo>
                    <a:lnTo>
                      <a:pt x="39" y="121"/>
                    </a:lnTo>
                    <a:lnTo>
                      <a:pt x="39" y="123"/>
                    </a:lnTo>
                    <a:lnTo>
                      <a:pt x="39" y="124"/>
                    </a:lnTo>
                    <a:lnTo>
                      <a:pt x="39" y="126"/>
                    </a:lnTo>
                    <a:lnTo>
                      <a:pt x="39" y="128"/>
                    </a:lnTo>
                    <a:lnTo>
                      <a:pt x="41" y="128"/>
                    </a:lnTo>
                    <a:lnTo>
                      <a:pt x="41" y="130"/>
                    </a:lnTo>
                    <a:lnTo>
                      <a:pt x="41" y="131"/>
                    </a:lnTo>
                    <a:lnTo>
                      <a:pt x="39" y="133"/>
                    </a:lnTo>
                    <a:lnTo>
                      <a:pt x="38" y="133"/>
                    </a:lnTo>
                    <a:lnTo>
                      <a:pt x="38" y="135"/>
                    </a:lnTo>
                    <a:lnTo>
                      <a:pt x="36" y="135"/>
                    </a:lnTo>
                    <a:lnTo>
                      <a:pt x="36" y="136"/>
                    </a:lnTo>
                    <a:lnTo>
                      <a:pt x="34" y="135"/>
                    </a:lnTo>
                    <a:lnTo>
                      <a:pt x="33" y="135"/>
                    </a:lnTo>
                    <a:lnTo>
                      <a:pt x="31" y="135"/>
                    </a:lnTo>
                    <a:lnTo>
                      <a:pt x="31" y="136"/>
                    </a:lnTo>
                    <a:lnTo>
                      <a:pt x="29" y="136"/>
                    </a:lnTo>
                    <a:lnTo>
                      <a:pt x="29" y="138"/>
                    </a:lnTo>
                    <a:lnTo>
                      <a:pt x="31" y="138"/>
                    </a:lnTo>
                    <a:lnTo>
                      <a:pt x="29" y="140"/>
                    </a:lnTo>
                    <a:lnTo>
                      <a:pt x="31" y="140"/>
                    </a:lnTo>
                    <a:lnTo>
                      <a:pt x="31" y="141"/>
                    </a:lnTo>
                    <a:lnTo>
                      <a:pt x="33" y="143"/>
                    </a:lnTo>
                    <a:lnTo>
                      <a:pt x="33" y="141"/>
                    </a:lnTo>
                    <a:lnTo>
                      <a:pt x="34" y="143"/>
                    </a:lnTo>
                    <a:lnTo>
                      <a:pt x="34" y="141"/>
                    </a:lnTo>
                    <a:lnTo>
                      <a:pt x="36" y="141"/>
                    </a:lnTo>
                    <a:lnTo>
                      <a:pt x="34" y="141"/>
                    </a:lnTo>
                    <a:lnTo>
                      <a:pt x="34" y="143"/>
                    </a:lnTo>
                    <a:lnTo>
                      <a:pt x="33" y="145"/>
                    </a:lnTo>
                    <a:lnTo>
                      <a:pt x="33" y="147"/>
                    </a:lnTo>
                    <a:lnTo>
                      <a:pt x="31" y="147"/>
                    </a:lnTo>
                    <a:lnTo>
                      <a:pt x="31" y="148"/>
                    </a:lnTo>
                    <a:lnTo>
                      <a:pt x="31" y="150"/>
                    </a:lnTo>
                    <a:lnTo>
                      <a:pt x="31" y="152"/>
                    </a:lnTo>
                    <a:lnTo>
                      <a:pt x="31" y="150"/>
                    </a:lnTo>
                    <a:lnTo>
                      <a:pt x="33" y="152"/>
                    </a:lnTo>
                    <a:lnTo>
                      <a:pt x="34" y="152"/>
                    </a:lnTo>
                    <a:lnTo>
                      <a:pt x="34" y="150"/>
                    </a:lnTo>
                    <a:lnTo>
                      <a:pt x="36" y="150"/>
                    </a:lnTo>
                    <a:lnTo>
                      <a:pt x="36" y="148"/>
                    </a:lnTo>
                    <a:lnTo>
                      <a:pt x="38" y="148"/>
                    </a:lnTo>
                    <a:lnTo>
                      <a:pt x="38" y="147"/>
                    </a:lnTo>
                    <a:lnTo>
                      <a:pt x="39" y="147"/>
                    </a:lnTo>
                    <a:lnTo>
                      <a:pt x="39" y="145"/>
                    </a:lnTo>
                    <a:lnTo>
                      <a:pt x="41" y="145"/>
                    </a:lnTo>
                    <a:lnTo>
                      <a:pt x="43" y="145"/>
                    </a:lnTo>
                    <a:lnTo>
                      <a:pt x="44" y="145"/>
                    </a:lnTo>
                    <a:lnTo>
                      <a:pt x="44" y="147"/>
                    </a:lnTo>
                    <a:lnTo>
                      <a:pt x="46" y="148"/>
                    </a:lnTo>
                    <a:lnTo>
                      <a:pt x="48" y="148"/>
                    </a:lnTo>
                    <a:lnTo>
                      <a:pt x="50" y="148"/>
                    </a:lnTo>
                    <a:lnTo>
                      <a:pt x="51" y="150"/>
                    </a:lnTo>
                    <a:lnTo>
                      <a:pt x="51" y="152"/>
                    </a:lnTo>
                    <a:lnTo>
                      <a:pt x="53" y="152"/>
                    </a:lnTo>
                    <a:lnTo>
                      <a:pt x="55" y="152"/>
                    </a:lnTo>
                    <a:lnTo>
                      <a:pt x="56" y="152"/>
                    </a:lnTo>
                    <a:lnTo>
                      <a:pt x="56" y="150"/>
                    </a:lnTo>
                    <a:lnTo>
                      <a:pt x="58" y="150"/>
                    </a:lnTo>
                    <a:lnTo>
                      <a:pt x="60" y="150"/>
                    </a:lnTo>
                    <a:lnTo>
                      <a:pt x="60" y="152"/>
                    </a:lnTo>
                    <a:lnTo>
                      <a:pt x="61" y="152"/>
                    </a:lnTo>
                    <a:lnTo>
                      <a:pt x="61" y="153"/>
                    </a:lnTo>
                    <a:lnTo>
                      <a:pt x="61" y="152"/>
                    </a:lnTo>
                    <a:lnTo>
                      <a:pt x="63" y="153"/>
                    </a:lnTo>
                    <a:lnTo>
                      <a:pt x="63" y="155"/>
                    </a:lnTo>
                    <a:lnTo>
                      <a:pt x="63" y="157"/>
                    </a:lnTo>
                    <a:lnTo>
                      <a:pt x="65" y="159"/>
                    </a:lnTo>
                    <a:lnTo>
                      <a:pt x="65" y="160"/>
                    </a:lnTo>
                    <a:lnTo>
                      <a:pt x="65" y="162"/>
                    </a:lnTo>
                    <a:lnTo>
                      <a:pt x="67" y="164"/>
                    </a:lnTo>
                    <a:lnTo>
                      <a:pt x="68" y="165"/>
                    </a:lnTo>
                    <a:lnTo>
                      <a:pt x="70" y="165"/>
                    </a:lnTo>
                    <a:lnTo>
                      <a:pt x="70" y="167"/>
                    </a:lnTo>
                    <a:lnTo>
                      <a:pt x="72" y="167"/>
                    </a:lnTo>
                    <a:lnTo>
                      <a:pt x="73" y="167"/>
                    </a:lnTo>
                    <a:lnTo>
                      <a:pt x="75" y="167"/>
                    </a:lnTo>
                    <a:lnTo>
                      <a:pt x="75" y="169"/>
                    </a:lnTo>
                    <a:lnTo>
                      <a:pt x="77" y="169"/>
                    </a:lnTo>
                    <a:lnTo>
                      <a:pt x="78" y="169"/>
                    </a:lnTo>
                    <a:lnTo>
                      <a:pt x="80" y="169"/>
                    </a:lnTo>
                    <a:lnTo>
                      <a:pt x="80" y="167"/>
                    </a:lnTo>
                    <a:lnTo>
                      <a:pt x="80" y="165"/>
                    </a:lnTo>
                    <a:lnTo>
                      <a:pt x="82" y="165"/>
                    </a:lnTo>
                    <a:lnTo>
                      <a:pt x="84" y="165"/>
                    </a:lnTo>
                    <a:lnTo>
                      <a:pt x="82" y="164"/>
                    </a:lnTo>
                    <a:lnTo>
                      <a:pt x="84" y="164"/>
                    </a:lnTo>
                    <a:lnTo>
                      <a:pt x="84" y="162"/>
                    </a:lnTo>
                    <a:lnTo>
                      <a:pt x="82" y="162"/>
                    </a:lnTo>
                    <a:lnTo>
                      <a:pt x="84" y="162"/>
                    </a:lnTo>
                    <a:lnTo>
                      <a:pt x="84" y="160"/>
                    </a:lnTo>
                    <a:lnTo>
                      <a:pt x="84" y="159"/>
                    </a:lnTo>
                    <a:lnTo>
                      <a:pt x="85" y="157"/>
                    </a:lnTo>
                    <a:lnTo>
                      <a:pt x="87" y="157"/>
                    </a:lnTo>
                    <a:lnTo>
                      <a:pt x="89" y="157"/>
                    </a:lnTo>
                    <a:lnTo>
                      <a:pt x="90" y="155"/>
                    </a:lnTo>
                    <a:lnTo>
                      <a:pt x="90" y="153"/>
                    </a:lnTo>
                    <a:lnTo>
                      <a:pt x="92" y="152"/>
                    </a:lnTo>
                    <a:lnTo>
                      <a:pt x="92" y="150"/>
                    </a:lnTo>
                    <a:lnTo>
                      <a:pt x="94" y="150"/>
                    </a:lnTo>
                    <a:lnTo>
                      <a:pt x="92" y="148"/>
                    </a:lnTo>
                    <a:lnTo>
                      <a:pt x="92" y="147"/>
                    </a:lnTo>
                    <a:lnTo>
                      <a:pt x="92" y="145"/>
                    </a:lnTo>
                    <a:lnTo>
                      <a:pt x="94" y="143"/>
                    </a:lnTo>
                    <a:lnTo>
                      <a:pt x="92" y="143"/>
                    </a:lnTo>
                    <a:lnTo>
                      <a:pt x="92" y="141"/>
                    </a:lnTo>
                    <a:lnTo>
                      <a:pt x="94" y="141"/>
                    </a:lnTo>
                    <a:lnTo>
                      <a:pt x="94" y="140"/>
                    </a:lnTo>
                    <a:lnTo>
                      <a:pt x="94" y="138"/>
                    </a:lnTo>
                    <a:lnTo>
                      <a:pt x="95" y="138"/>
                    </a:lnTo>
                    <a:lnTo>
                      <a:pt x="95" y="136"/>
                    </a:lnTo>
                    <a:lnTo>
                      <a:pt x="94" y="136"/>
                    </a:lnTo>
                    <a:lnTo>
                      <a:pt x="94" y="135"/>
                    </a:lnTo>
                    <a:lnTo>
                      <a:pt x="95" y="135"/>
                    </a:lnTo>
                    <a:lnTo>
                      <a:pt x="95" y="133"/>
                    </a:lnTo>
                    <a:lnTo>
                      <a:pt x="97" y="133"/>
                    </a:lnTo>
                    <a:lnTo>
                      <a:pt x="97" y="131"/>
                    </a:lnTo>
                    <a:lnTo>
                      <a:pt x="97" y="130"/>
                    </a:lnTo>
                    <a:lnTo>
                      <a:pt x="99" y="130"/>
                    </a:lnTo>
                    <a:lnTo>
                      <a:pt x="99" y="128"/>
                    </a:lnTo>
                    <a:lnTo>
                      <a:pt x="99" y="126"/>
                    </a:lnTo>
                    <a:lnTo>
                      <a:pt x="99" y="124"/>
                    </a:lnTo>
                    <a:lnTo>
                      <a:pt x="101" y="124"/>
                    </a:lnTo>
                    <a:lnTo>
                      <a:pt x="101" y="123"/>
                    </a:lnTo>
                    <a:lnTo>
                      <a:pt x="99" y="123"/>
                    </a:lnTo>
                    <a:lnTo>
                      <a:pt x="101" y="123"/>
                    </a:lnTo>
                    <a:lnTo>
                      <a:pt x="101" y="121"/>
                    </a:lnTo>
                    <a:lnTo>
                      <a:pt x="101" y="119"/>
                    </a:lnTo>
                    <a:lnTo>
                      <a:pt x="101" y="118"/>
                    </a:lnTo>
                    <a:lnTo>
                      <a:pt x="101" y="116"/>
                    </a:lnTo>
                    <a:lnTo>
                      <a:pt x="102" y="116"/>
                    </a:lnTo>
                    <a:lnTo>
                      <a:pt x="101" y="114"/>
                    </a:lnTo>
                    <a:lnTo>
                      <a:pt x="102" y="114"/>
                    </a:lnTo>
                    <a:lnTo>
                      <a:pt x="101" y="114"/>
                    </a:lnTo>
                    <a:lnTo>
                      <a:pt x="102" y="114"/>
                    </a:lnTo>
                    <a:lnTo>
                      <a:pt x="104" y="114"/>
                    </a:lnTo>
                    <a:lnTo>
                      <a:pt x="106" y="114"/>
                    </a:lnTo>
                    <a:lnTo>
                      <a:pt x="106" y="116"/>
                    </a:lnTo>
                    <a:lnTo>
                      <a:pt x="106" y="118"/>
                    </a:lnTo>
                    <a:lnTo>
                      <a:pt x="107" y="118"/>
                    </a:lnTo>
                    <a:lnTo>
                      <a:pt x="109" y="118"/>
                    </a:lnTo>
                    <a:lnTo>
                      <a:pt x="109" y="116"/>
                    </a:lnTo>
                    <a:lnTo>
                      <a:pt x="107" y="116"/>
                    </a:lnTo>
                    <a:lnTo>
                      <a:pt x="107" y="114"/>
                    </a:lnTo>
                    <a:lnTo>
                      <a:pt x="107" y="113"/>
                    </a:lnTo>
                    <a:lnTo>
                      <a:pt x="109" y="113"/>
                    </a:lnTo>
                    <a:lnTo>
                      <a:pt x="109" y="111"/>
                    </a:lnTo>
                    <a:lnTo>
                      <a:pt x="111" y="109"/>
                    </a:lnTo>
                    <a:lnTo>
                      <a:pt x="111" y="107"/>
                    </a:lnTo>
                    <a:lnTo>
                      <a:pt x="112" y="107"/>
                    </a:lnTo>
                    <a:lnTo>
                      <a:pt x="112" y="106"/>
                    </a:lnTo>
                    <a:lnTo>
                      <a:pt x="114" y="106"/>
                    </a:lnTo>
                    <a:lnTo>
                      <a:pt x="114" y="104"/>
                    </a:lnTo>
                    <a:lnTo>
                      <a:pt x="116" y="104"/>
                    </a:lnTo>
                    <a:lnTo>
                      <a:pt x="119" y="101"/>
                    </a:lnTo>
                    <a:lnTo>
                      <a:pt x="123" y="99"/>
                    </a:lnTo>
                    <a:lnTo>
                      <a:pt x="128" y="99"/>
                    </a:lnTo>
                    <a:lnTo>
                      <a:pt x="141" y="94"/>
                    </a:lnTo>
                    <a:lnTo>
                      <a:pt x="153" y="89"/>
                    </a:lnTo>
                    <a:lnTo>
                      <a:pt x="155" y="89"/>
                    </a:lnTo>
                    <a:lnTo>
                      <a:pt x="157" y="89"/>
                    </a:lnTo>
                    <a:lnTo>
                      <a:pt x="158" y="87"/>
                    </a:lnTo>
                    <a:lnTo>
                      <a:pt x="160" y="87"/>
                    </a:lnTo>
                    <a:lnTo>
                      <a:pt x="162" y="85"/>
                    </a:lnTo>
                    <a:lnTo>
                      <a:pt x="163" y="85"/>
                    </a:lnTo>
                    <a:lnTo>
                      <a:pt x="165" y="82"/>
                    </a:lnTo>
                    <a:lnTo>
                      <a:pt x="167" y="80"/>
                    </a:lnTo>
                    <a:lnTo>
                      <a:pt x="170" y="79"/>
                    </a:lnTo>
                    <a:lnTo>
                      <a:pt x="175" y="75"/>
                    </a:lnTo>
                    <a:lnTo>
                      <a:pt x="179" y="73"/>
                    </a:lnTo>
                    <a:lnTo>
                      <a:pt x="179" y="72"/>
                    </a:lnTo>
                    <a:lnTo>
                      <a:pt x="180" y="70"/>
                    </a:lnTo>
                    <a:lnTo>
                      <a:pt x="184" y="65"/>
                    </a:lnTo>
                    <a:lnTo>
                      <a:pt x="187" y="62"/>
                    </a:lnTo>
                    <a:lnTo>
                      <a:pt x="187" y="60"/>
                    </a:lnTo>
                    <a:lnTo>
                      <a:pt x="191" y="58"/>
                    </a:lnTo>
                    <a:lnTo>
                      <a:pt x="192" y="55"/>
                    </a:lnTo>
                    <a:lnTo>
                      <a:pt x="194" y="53"/>
                    </a:lnTo>
                    <a:lnTo>
                      <a:pt x="194" y="51"/>
                    </a:lnTo>
                    <a:lnTo>
                      <a:pt x="196" y="53"/>
                    </a:lnTo>
                    <a:lnTo>
                      <a:pt x="196" y="51"/>
                    </a:lnTo>
                    <a:lnTo>
                      <a:pt x="196" y="50"/>
                    </a:lnTo>
                    <a:lnTo>
                      <a:pt x="197" y="48"/>
                    </a:lnTo>
                    <a:lnTo>
                      <a:pt x="199" y="41"/>
                    </a:lnTo>
                    <a:lnTo>
                      <a:pt x="199" y="39"/>
                    </a:lnTo>
                    <a:lnTo>
                      <a:pt x="201" y="33"/>
                    </a:lnTo>
                    <a:lnTo>
                      <a:pt x="201" y="31"/>
                    </a:lnTo>
                    <a:lnTo>
                      <a:pt x="203" y="31"/>
                    </a:lnTo>
                    <a:lnTo>
                      <a:pt x="203" y="33"/>
                    </a:lnTo>
                    <a:lnTo>
                      <a:pt x="204" y="33"/>
                    </a:lnTo>
                    <a:lnTo>
                      <a:pt x="206" y="33"/>
                    </a:lnTo>
                    <a:lnTo>
                      <a:pt x="208" y="33"/>
                    </a:lnTo>
                    <a:lnTo>
                      <a:pt x="206" y="31"/>
                    </a:lnTo>
                    <a:lnTo>
                      <a:pt x="208" y="31"/>
                    </a:lnTo>
                    <a:lnTo>
                      <a:pt x="208" y="29"/>
                    </a:lnTo>
                    <a:lnTo>
                      <a:pt x="206" y="29"/>
                    </a:lnTo>
                    <a:lnTo>
                      <a:pt x="206" y="28"/>
                    </a:lnTo>
                    <a:lnTo>
                      <a:pt x="206" y="26"/>
                    </a:lnTo>
                    <a:lnTo>
                      <a:pt x="206" y="24"/>
                    </a:lnTo>
                    <a:lnTo>
                      <a:pt x="206" y="22"/>
                    </a:lnTo>
                    <a:lnTo>
                      <a:pt x="206" y="21"/>
                    </a:lnTo>
                    <a:lnTo>
                      <a:pt x="206" y="22"/>
                    </a:lnTo>
                    <a:lnTo>
                      <a:pt x="206" y="21"/>
                    </a:lnTo>
                    <a:lnTo>
                      <a:pt x="206" y="22"/>
                    </a:lnTo>
                    <a:lnTo>
                      <a:pt x="208" y="21"/>
                    </a:lnTo>
                    <a:lnTo>
                      <a:pt x="206" y="21"/>
                    </a:lnTo>
                    <a:lnTo>
                      <a:pt x="206" y="19"/>
                    </a:lnTo>
                    <a:lnTo>
                      <a:pt x="208" y="19"/>
                    </a:lnTo>
                    <a:lnTo>
                      <a:pt x="206" y="19"/>
                    </a:lnTo>
                    <a:lnTo>
                      <a:pt x="206" y="17"/>
                    </a:lnTo>
                    <a:lnTo>
                      <a:pt x="204" y="17"/>
                    </a:lnTo>
                    <a:lnTo>
                      <a:pt x="204" y="16"/>
                    </a:lnTo>
                    <a:lnTo>
                      <a:pt x="203" y="16"/>
                    </a:lnTo>
                    <a:lnTo>
                      <a:pt x="201" y="14"/>
                    </a:lnTo>
                    <a:lnTo>
                      <a:pt x="201" y="12"/>
                    </a:lnTo>
                    <a:lnTo>
                      <a:pt x="199" y="12"/>
                    </a:lnTo>
                    <a:lnTo>
                      <a:pt x="199" y="11"/>
                    </a:lnTo>
                    <a:lnTo>
                      <a:pt x="199" y="9"/>
                    </a:lnTo>
                    <a:lnTo>
                      <a:pt x="197" y="9"/>
                    </a:lnTo>
                    <a:lnTo>
                      <a:pt x="199" y="9"/>
                    </a:lnTo>
                    <a:lnTo>
                      <a:pt x="197" y="7"/>
                    </a:lnTo>
                    <a:lnTo>
                      <a:pt x="196" y="7"/>
                    </a:lnTo>
                    <a:lnTo>
                      <a:pt x="196" y="5"/>
                    </a:lnTo>
                    <a:lnTo>
                      <a:pt x="194" y="5"/>
                    </a:lnTo>
                    <a:lnTo>
                      <a:pt x="194" y="4"/>
                    </a:lnTo>
                    <a:lnTo>
                      <a:pt x="196" y="4"/>
                    </a:lnTo>
                    <a:lnTo>
                      <a:pt x="197" y="4"/>
                    </a:lnTo>
                    <a:lnTo>
                      <a:pt x="199" y="4"/>
                    </a:lnTo>
                    <a:lnTo>
                      <a:pt x="199" y="5"/>
                    </a:lnTo>
                    <a:lnTo>
                      <a:pt x="201" y="5"/>
                    </a:lnTo>
                    <a:lnTo>
                      <a:pt x="203" y="5"/>
                    </a:lnTo>
                    <a:lnTo>
                      <a:pt x="204" y="5"/>
                    </a:lnTo>
                    <a:lnTo>
                      <a:pt x="206" y="4"/>
                    </a:lnTo>
                    <a:lnTo>
                      <a:pt x="208" y="2"/>
                    </a:lnTo>
                    <a:lnTo>
                      <a:pt x="208" y="0"/>
                    </a:lnTo>
                    <a:lnTo>
                      <a:pt x="208" y="2"/>
                    </a:lnTo>
                    <a:lnTo>
                      <a:pt x="209" y="2"/>
                    </a:lnTo>
                    <a:lnTo>
                      <a:pt x="211" y="2"/>
                    </a:lnTo>
                    <a:lnTo>
                      <a:pt x="213" y="4"/>
                    </a:lnTo>
                    <a:lnTo>
                      <a:pt x="214" y="5"/>
                    </a:lnTo>
                    <a:lnTo>
                      <a:pt x="216" y="5"/>
                    </a:lnTo>
                    <a:lnTo>
                      <a:pt x="216" y="7"/>
                    </a:lnTo>
                    <a:lnTo>
                      <a:pt x="218" y="7"/>
                    </a:lnTo>
                    <a:lnTo>
                      <a:pt x="218" y="9"/>
                    </a:lnTo>
                    <a:lnTo>
                      <a:pt x="220" y="7"/>
                    </a:lnTo>
                    <a:lnTo>
                      <a:pt x="221" y="7"/>
                    </a:lnTo>
                    <a:lnTo>
                      <a:pt x="221" y="5"/>
                    </a:lnTo>
                    <a:lnTo>
                      <a:pt x="221" y="7"/>
                    </a:lnTo>
                    <a:lnTo>
                      <a:pt x="223" y="7"/>
                    </a:lnTo>
                    <a:lnTo>
                      <a:pt x="223" y="9"/>
                    </a:lnTo>
                    <a:lnTo>
                      <a:pt x="223" y="11"/>
                    </a:lnTo>
                    <a:lnTo>
                      <a:pt x="223" y="12"/>
                    </a:lnTo>
                    <a:lnTo>
                      <a:pt x="225" y="12"/>
                    </a:lnTo>
                    <a:lnTo>
                      <a:pt x="225" y="11"/>
                    </a:lnTo>
                    <a:lnTo>
                      <a:pt x="225" y="12"/>
                    </a:lnTo>
                    <a:lnTo>
                      <a:pt x="226" y="12"/>
                    </a:lnTo>
                    <a:lnTo>
                      <a:pt x="228" y="12"/>
                    </a:lnTo>
                    <a:lnTo>
                      <a:pt x="230" y="14"/>
                    </a:lnTo>
                    <a:lnTo>
                      <a:pt x="230" y="16"/>
                    </a:lnTo>
                    <a:lnTo>
                      <a:pt x="231" y="16"/>
                    </a:lnTo>
                    <a:lnTo>
                      <a:pt x="233" y="16"/>
                    </a:lnTo>
                    <a:lnTo>
                      <a:pt x="233" y="17"/>
                    </a:lnTo>
                    <a:lnTo>
                      <a:pt x="235" y="17"/>
                    </a:lnTo>
                    <a:lnTo>
                      <a:pt x="233" y="17"/>
                    </a:lnTo>
                    <a:lnTo>
                      <a:pt x="233" y="19"/>
                    </a:lnTo>
                    <a:lnTo>
                      <a:pt x="235" y="19"/>
                    </a:lnTo>
                    <a:lnTo>
                      <a:pt x="235" y="17"/>
                    </a:lnTo>
                    <a:lnTo>
                      <a:pt x="235" y="19"/>
                    </a:lnTo>
                    <a:lnTo>
                      <a:pt x="235" y="21"/>
                    </a:lnTo>
                    <a:lnTo>
                      <a:pt x="237" y="21"/>
                    </a:lnTo>
                    <a:lnTo>
                      <a:pt x="235" y="22"/>
                    </a:lnTo>
                    <a:lnTo>
                      <a:pt x="237" y="22"/>
                    </a:lnTo>
                    <a:lnTo>
                      <a:pt x="237" y="24"/>
                    </a:lnTo>
                    <a:lnTo>
                      <a:pt x="235" y="24"/>
                    </a:lnTo>
                    <a:lnTo>
                      <a:pt x="237" y="24"/>
                    </a:lnTo>
                    <a:lnTo>
                      <a:pt x="237" y="26"/>
                    </a:lnTo>
                    <a:lnTo>
                      <a:pt x="238" y="26"/>
                    </a:lnTo>
                    <a:lnTo>
                      <a:pt x="238" y="28"/>
                    </a:lnTo>
                    <a:lnTo>
                      <a:pt x="240" y="28"/>
                    </a:lnTo>
                    <a:lnTo>
                      <a:pt x="238" y="29"/>
                    </a:lnTo>
                    <a:lnTo>
                      <a:pt x="240" y="29"/>
                    </a:lnTo>
                    <a:lnTo>
                      <a:pt x="238" y="29"/>
                    </a:lnTo>
                    <a:lnTo>
                      <a:pt x="238" y="31"/>
                    </a:lnTo>
                    <a:lnTo>
                      <a:pt x="238" y="29"/>
                    </a:lnTo>
                    <a:lnTo>
                      <a:pt x="238" y="31"/>
                    </a:lnTo>
                    <a:lnTo>
                      <a:pt x="240" y="31"/>
                    </a:lnTo>
                    <a:lnTo>
                      <a:pt x="240" y="33"/>
                    </a:lnTo>
                    <a:lnTo>
                      <a:pt x="238" y="33"/>
                    </a:lnTo>
                    <a:lnTo>
                      <a:pt x="240" y="33"/>
                    </a:lnTo>
                    <a:lnTo>
                      <a:pt x="240" y="34"/>
                    </a:lnTo>
                    <a:lnTo>
                      <a:pt x="242" y="34"/>
                    </a:lnTo>
                    <a:lnTo>
                      <a:pt x="243" y="34"/>
                    </a:lnTo>
                    <a:lnTo>
                      <a:pt x="245" y="34"/>
                    </a:lnTo>
                    <a:lnTo>
                      <a:pt x="245" y="36"/>
                    </a:lnTo>
                    <a:lnTo>
                      <a:pt x="247" y="36"/>
                    </a:lnTo>
                    <a:lnTo>
                      <a:pt x="247" y="34"/>
                    </a:lnTo>
                    <a:lnTo>
                      <a:pt x="248" y="34"/>
                    </a:lnTo>
                    <a:lnTo>
                      <a:pt x="247" y="34"/>
                    </a:lnTo>
                    <a:lnTo>
                      <a:pt x="247" y="36"/>
                    </a:lnTo>
                    <a:lnTo>
                      <a:pt x="248" y="36"/>
                    </a:lnTo>
                    <a:lnTo>
                      <a:pt x="248" y="38"/>
                    </a:lnTo>
                    <a:lnTo>
                      <a:pt x="248" y="36"/>
                    </a:lnTo>
                    <a:lnTo>
                      <a:pt x="250" y="36"/>
                    </a:lnTo>
                    <a:lnTo>
                      <a:pt x="250" y="38"/>
                    </a:lnTo>
                    <a:lnTo>
                      <a:pt x="252" y="38"/>
                    </a:lnTo>
                    <a:lnTo>
                      <a:pt x="252" y="39"/>
                    </a:lnTo>
                    <a:lnTo>
                      <a:pt x="252" y="41"/>
                    </a:lnTo>
                    <a:lnTo>
                      <a:pt x="254" y="41"/>
                    </a:lnTo>
                    <a:lnTo>
                      <a:pt x="255" y="43"/>
                    </a:lnTo>
                    <a:lnTo>
                      <a:pt x="255" y="41"/>
                    </a:lnTo>
                    <a:lnTo>
                      <a:pt x="255" y="43"/>
                    </a:lnTo>
                    <a:lnTo>
                      <a:pt x="257" y="43"/>
                    </a:lnTo>
                    <a:lnTo>
                      <a:pt x="257" y="41"/>
                    </a:lnTo>
                    <a:lnTo>
                      <a:pt x="259" y="43"/>
                    </a:lnTo>
                    <a:lnTo>
                      <a:pt x="259" y="41"/>
                    </a:lnTo>
                    <a:lnTo>
                      <a:pt x="260" y="43"/>
                    </a:lnTo>
                    <a:lnTo>
                      <a:pt x="262" y="45"/>
                    </a:lnTo>
                    <a:lnTo>
                      <a:pt x="262" y="46"/>
                    </a:lnTo>
                    <a:lnTo>
                      <a:pt x="264" y="46"/>
                    </a:lnTo>
                    <a:lnTo>
                      <a:pt x="264" y="48"/>
                    </a:lnTo>
                    <a:lnTo>
                      <a:pt x="262" y="48"/>
                    </a:lnTo>
                    <a:lnTo>
                      <a:pt x="264" y="48"/>
                    </a:lnTo>
                    <a:lnTo>
                      <a:pt x="264" y="50"/>
                    </a:lnTo>
                    <a:lnTo>
                      <a:pt x="265" y="50"/>
                    </a:lnTo>
                    <a:lnTo>
                      <a:pt x="265" y="51"/>
                    </a:lnTo>
                    <a:lnTo>
                      <a:pt x="265" y="53"/>
                    </a:lnTo>
                    <a:lnTo>
                      <a:pt x="267" y="53"/>
                    </a:lnTo>
                    <a:lnTo>
                      <a:pt x="265" y="53"/>
                    </a:lnTo>
                    <a:lnTo>
                      <a:pt x="265" y="55"/>
                    </a:lnTo>
                    <a:lnTo>
                      <a:pt x="265" y="56"/>
                    </a:lnTo>
                    <a:lnTo>
                      <a:pt x="264" y="56"/>
                    </a:lnTo>
                    <a:lnTo>
                      <a:pt x="264" y="58"/>
                    </a:lnTo>
                    <a:lnTo>
                      <a:pt x="265" y="58"/>
                    </a:lnTo>
                    <a:lnTo>
                      <a:pt x="267" y="58"/>
                    </a:lnTo>
                    <a:lnTo>
                      <a:pt x="267" y="60"/>
                    </a:lnTo>
                    <a:lnTo>
                      <a:pt x="269" y="60"/>
                    </a:lnTo>
                    <a:lnTo>
                      <a:pt x="271" y="60"/>
                    </a:lnTo>
                    <a:lnTo>
                      <a:pt x="271" y="62"/>
                    </a:lnTo>
                    <a:lnTo>
                      <a:pt x="272" y="62"/>
                    </a:lnTo>
                    <a:lnTo>
                      <a:pt x="272" y="60"/>
                    </a:lnTo>
                    <a:lnTo>
                      <a:pt x="274" y="60"/>
                    </a:lnTo>
                    <a:lnTo>
                      <a:pt x="274" y="62"/>
                    </a:lnTo>
                    <a:lnTo>
                      <a:pt x="274" y="60"/>
                    </a:lnTo>
                    <a:lnTo>
                      <a:pt x="274" y="58"/>
                    </a:lnTo>
                    <a:lnTo>
                      <a:pt x="276" y="60"/>
                    </a:lnTo>
                    <a:lnTo>
                      <a:pt x="277" y="62"/>
                    </a:lnTo>
                    <a:lnTo>
                      <a:pt x="277" y="63"/>
                    </a:lnTo>
                    <a:lnTo>
                      <a:pt x="279" y="63"/>
                    </a:lnTo>
                    <a:lnTo>
                      <a:pt x="277" y="65"/>
                    </a:lnTo>
                    <a:lnTo>
                      <a:pt x="277" y="67"/>
                    </a:lnTo>
                    <a:lnTo>
                      <a:pt x="277" y="68"/>
                    </a:lnTo>
                    <a:lnTo>
                      <a:pt x="279" y="68"/>
                    </a:lnTo>
                    <a:lnTo>
                      <a:pt x="279" y="70"/>
                    </a:lnTo>
                    <a:lnTo>
                      <a:pt x="279" y="72"/>
                    </a:lnTo>
                    <a:lnTo>
                      <a:pt x="277" y="72"/>
                    </a:lnTo>
                    <a:lnTo>
                      <a:pt x="277" y="73"/>
                    </a:lnTo>
                    <a:lnTo>
                      <a:pt x="276" y="73"/>
                    </a:lnTo>
                    <a:lnTo>
                      <a:pt x="276" y="75"/>
                    </a:lnTo>
                    <a:lnTo>
                      <a:pt x="277" y="77"/>
                    </a:lnTo>
                    <a:lnTo>
                      <a:pt x="277" y="79"/>
                    </a:lnTo>
                    <a:lnTo>
                      <a:pt x="279" y="79"/>
                    </a:lnTo>
                    <a:lnTo>
                      <a:pt x="279" y="80"/>
                    </a:lnTo>
                    <a:lnTo>
                      <a:pt x="281" y="79"/>
                    </a:lnTo>
                    <a:lnTo>
                      <a:pt x="282" y="80"/>
                    </a:lnTo>
                    <a:lnTo>
                      <a:pt x="282" y="79"/>
                    </a:lnTo>
                    <a:lnTo>
                      <a:pt x="282" y="80"/>
                    </a:lnTo>
                    <a:lnTo>
                      <a:pt x="284" y="80"/>
                    </a:lnTo>
                    <a:lnTo>
                      <a:pt x="284" y="82"/>
                    </a:lnTo>
                    <a:lnTo>
                      <a:pt x="286" y="82"/>
                    </a:lnTo>
                    <a:lnTo>
                      <a:pt x="288" y="82"/>
                    </a:lnTo>
                    <a:lnTo>
                      <a:pt x="289" y="82"/>
                    </a:lnTo>
                    <a:lnTo>
                      <a:pt x="289" y="80"/>
                    </a:lnTo>
                    <a:lnTo>
                      <a:pt x="291" y="80"/>
                    </a:lnTo>
                    <a:lnTo>
                      <a:pt x="291" y="82"/>
                    </a:lnTo>
                    <a:lnTo>
                      <a:pt x="291" y="80"/>
                    </a:lnTo>
                    <a:lnTo>
                      <a:pt x="293" y="82"/>
                    </a:lnTo>
                    <a:lnTo>
                      <a:pt x="294" y="82"/>
                    </a:lnTo>
                    <a:lnTo>
                      <a:pt x="294" y="80"/>
                    </a:lnTo>
                    <a:lnTo>
                      <a:pt x="296" y="80"/>
                    </a:lnTo>
                    <a:lnTo>
                      <a:pt x="298" y="80"/>
                    </a:lnTo>
                    <a:lnTo>
                      <a:pt x="298" y="82"/>
                    </a:lnTo>
                    <a:lnTo>
                      <a:pt x="299" y="82"/>
                    </a:lnTo>
                    <a:lnTo>
                      <a:pt x="301" y="82"/>
                    </a:lnTo>
                    <a:lnTo>
                      <a:pt x="303" y="82"/>
                    </a:lnTo>
                    <a:lnTo>
                      <a:pt x="303" y="84"/>
                    </a:lnTo>
                    <a:lnTo>
                      <a:pt x="305" y="84"/>
                    </a:lnTo>
                    <a:lnTo>
                      <a:pt x="306" y="84"/>
                    </a:lnTo>
                    <a:lnTo>
                      <a:pt x="306" y="82"/>
                    </a:lnTo>
                    <a:lnTo>
                      <a:pt x="306" y="84"/>
                    </a:lnTo>
                    <a:lnTo>
                      <a:pt x="306" y="82"/>
                    </a:lnTo>
                    <a:lnTo>
                      <a:pt x="308" y="82"/>
                    </a:lnTo>
                    <a:lnTo>
                      <a:pt x="310" y="82"/>
                    </a:lnTo>
                    <a:lnTo>
                      <a:pt x="310" y="84"/>
                    </a:lnTo>
                    <a:lnTo>
                      <a:pt x="311" y="84"/>
                    </a:lnTo>
                    <a:lnTo>
                      <a:pt x="311" y="82"/>
                    </a:lnTo>
                    <a:lnTo>
                      <a:pt x="311" y="80"/>
                    </a:lnTo>
                    <a:lnTo>
                      <a:pt x="313" y="80"/>
                    </a:lnTo>
                    <a:lnTo>
                      <a:pt x="313" y="79"/>
                    </a:lnTo>
                    <a:lnTo>
                      <a:pt x="315" y="79"/>
                    </a:lnTo>
                    <a:lnTo>
                      <a:pt x="315" y="80"/>
                    </a:lnTo>
                    <a:lnTo>
                      <a:pt x="316" y="80"/>
                    </a:lnTo>
                    <a:lnTo>
                      <a:pt x="318" y="80"/>
                    </a:lnTo>
                    <a:lnTo>
                      <a:pt x="318" y="79"/>
                    </a:lnTo>
                    <a:lnTo>
                      <a:pt x="320" y="79"/>
                    </a:lnTo>
                    <a:lnTo>
                      <a:pt x="320" y="77"/>
                    </a:lnTo>
                    <a:lnTo>
                      <a:pt x="320" y="75"/>
                    </a:lnTo>
                    <a:lnTo>
                      <a:pt x="322" y="75"/>
                    </a:lnTo>
                    <a:lnTo>
                      <a:pt x="322" y="73"/>
                    </a:lnTo>
                    <a:lnTo>
                      <a:pt x="322" y="75"/>
                    </a:lnTo>
                    <a:lnTo>
                      <a:pt x="323" y="73"/>
                    </a:lnTo>
                    <a:lnTo>
                      <a:pt x="325" y="72"/>
                    </a:lnTo>
                    <a:lnTo>
                      <a:pt x="325" y="73"/>
                    </a:lnTo>
                    <a:lnTo>
                      <a:pt x="325" y="75"/>
                    </a:lnTo>
                    <a:lnTo>
                      <a:pt x="327" y="75"/>
                    </a:lnTo>
                    <a:lnTo>
                      <a:pt x="327" y="73"/>
                    </a:lnTo>
                    <a:lnTo>
                      <a:pt x="328" y="73"/>
                    </a:lnTo>
                    <a:lnTo>
                      <a:pt x="328" y="75"/>
                    </a:lnTo>
                    <a:lnTo>
                      <a:pt x="330" y="75"/>
                    </a:lnTo>
                    <a:lnTo>
                      <a:pt x="332" y="75"/>
                    </a:lnTo>
                    <a:lnTo>
                      <a:pt x="332" y="77"/>
                    </a:lnTo>
                    <a:lnTo>
                      <a:pt x="332" y="79"/>
                    </a:lnTo>
                    <a:lnTo>
                      <a:pt x="333" y="79"/>
                    </a:lnTo>
                    <a:lnTo>
                      <a:pt x="333" y="77"/>
                    </a:lnTo>
                    <a:lnTo>
                      <a:pt x="335" y="77"/>
                    </a:lnTo>
                    <a:lnTo>
                      <a:pt x="335" y="79"/>
                    </a:lnTo>
                    <a:lnTo>
                      <a:pt x="337" y="79"/>
                    </a:lnTo>
                    <a:lnTo>
                      <a:pt x="337" y="80"/>
                    </a:lnTo>
                    <a:lnTo>
                      <a:pt x="335" y="80"/>
                    </a:lnTo>
                    <a:lnTo>
                      <a:pt x="337" y="82"/>
                    </a:lnTo>
                    <a:lnTo>
                      <a:pt x="337" y="80"/>
                    </a:lnTo>
                    <a:lnTo>
                      <a:pt x="339" y="80"/>
                    </a:lnTo>
                    <a:lnTo>
                      <a:pt x="339" y="79"/>
                    </a:lnTo>
                    <a:lnTo>
                      <a:pt x="340" y="79"/>
                    </a:lnTo>
                    <a:lnTo>
                      <a:pt x="340" y="80"/>
                    </a:lnTo>
                    <a:lnTo>
                      <a:pt x="340" y="79"/>
                    </a:lnTo>
                    <a:lnTo>
                      <a:pt x="342" y="79"/>
                    </a:lnTo>
                    <a:lnTo>
                      <a:pt x="342" y="80"/>
                    </a:lnTo>
                    <a:lnTo>
                      <a:pt x="344" y="80"/>
                    </a:lnTo>
                    <a:lnTo>
                      <a:pt x="344" y="79"/>
                    </a:lnTo>
                    <a:lnTo>
                      <a:pt x="345" y="79"/>
                    </a:lnTo>
                    <a:lnTo>
                      <a:pt x="345" y="77"/>
                    </a:lnTo>
                    <a:lnTo>
                      <a:pt x="347" y="77"/>
                    </a:lnTo>
                    <a:lnTo>
                      <a:pt x="349" y="77"/>
                    </a:lnTo>
                    <a:lnTo>
                      <a:pt x="350" y="77"/>
                    </a:lnTo>
                    <a:lnTo>
                      <a:pt x="349" y="77"/>
                    </a:lnTo>
                    <a:lnTo>
                      <a:pt x="349" y="75"/>
                    </a:lnTo>
                    <a:lnTo>
                      <a:pt x="350" y="75"/>
                    </a:lnTo>
                    <a:lnTo>
                      <a:pt x="352" y="75"/>
                    </a:lnTo>
                    <a:lnTo>
                      <a:pt x="354" y="75"/>
                    </a:lnTo>
                    <a:lnTo>
                      <a:pt x="354" y="77"/>
                    </a:lnTo>
                    <a:lnTo>
                      <a:pt x="356" y="77"/>
                    </a:lnTo>
                    <a:lnTo>
                      <a:pt x="357" y="77"/>
                    </a:lnTo>
                    <a:lnTo>
                      <a:pt x="357" y="79"/>
                    </a:lnTo>
                    <a:lnTo>
                      <a:pt x="359" y="79"/>
                    </a:lnTo>
                    <a:lnTo>
                      <a:pt x="361" y="79"/>
                    </a:lnTo>
                    <a:lnTo>
                      <a:pt x="361" y="80"/>
                    </a:lnTo>
                    <a:lnTo>
                      <a:pt x="361" y="82"/>
                    </a:lnTo>
                    <a:lnTo>
                      <a:pt x="362" y="80"/>
                    </a:lnTo>
                    <a:lnTo>
                      <a:pt x="362" y="82"/>
                    </a:lnTo>
                    <a:lnTo>
                      <a:pt x="362" y="84"/>
                    </a:lnTo>
                    <a:lnTo>
                      <a:pt x="364" y="84"/>
                    </a:lnTo>
                    <a:lnTo>
                      <a:pt x="364" y="82"/>
                    </a:lnTo>
                    <a:lnTo>
                      <a:pt x="366" y="82"/>
                    </a:lnTo>
                    <a:lnTo>
                      <a:pt x="366" y="84"/>
                    </a:lnTo>
                    <a:lnTo>
                      <a:pt x="367" y="84"/>
                    </a:lnTo>
                    <a:lnTo>
                      <a:pt x="367" y="82"/>
                    </a:lnTo>
                    <a:lnTo>
                      <a:pt x="367" y="84"/>
                    </a:lnTo>
                    <a:lnTo>
                      <a:pt x="367" y="85"/>
                    </a:lnTo>
                    <a:lnTo>
                      <a:pt x="369" y="85"/>
                    </a:lnTo>
                    <a:lnTo>
                      <a:pt x="371" y="84"/>
                    </a:lnTo>
                    <a:lnTo>
                      <a:pt x="373" y="84"/>
                    </a:lnTo>
                    <a:lnTo>
                      <a:pt x="373" y="85"/>
                    </a:lnTo>
                    <a:lnTo>
                      <a:pt x="371" y="85"/>
                    </a:lnTo>
                    <a:lnTo>
                      <a:pt x="371" y="87"/>
                    </a:lnTo>
                    <a:lnTo>
                      <a:pt x="373" y="87"/>
                    </a:lnTo>
                    <a:lnTo>
                      <a:pt x="374" y="85"/>
                    </a:lnTo>
                    <a:lnTo>
                      <a:pt x="376" y="87"/>
                    </a:lnTo>
                    <a:lnTo>
                      <a:pt x="376" y="89"/>
                    </a:lnTo>
                    <a:lnTo>
                      <a:pt x="376" y="90"/>
                    </a:lnTo>
                    <a:lnTo>
                      <a:pt x="376" y="89"/>
                    </a:lnTo>
                    <a:lnTo>
                      <a:pt x="378" y="89"/>
                    </a:lnTo>
                    <a:lnTo>
                      <a:pt x="378" y="90"/>
                    </a:lnTo>
                    <a:lnTo>
                      <a:pt x="379" y="90"/>
                    </a:lnTo>
                    <a:lnTo>
                      <a:pt x="381" y="89"/>
                    </a:lnTo>
                    <a:lnTo>
                      <a:pt x="381" y="90"/>
                    </a:lnTo>
                    <a:lnTo>
                      <a:pt x="381" y="92"/>
                    </a:lnTo>
                    <a:lnTo>
                      <a:pt x="381" y="94"/>
                    </a:lnTo>
                    <a:lnTo>
                      <a:pt x="379" y="97"/>
                    </a:lnTo>
                    <a:lnTo>
                      <a:pt x="378" y="99"/>
                    </a:lnTo>
                    <a:lnTo>
                      <a:pt x="374" y="104"/>
                    </a:lnTo>
                    <a:lnTo>
                      <a:pt x="373" y="106"/>
                    </a:lnTo>
                    <a:lnTo>
                      <a:pt x="373" y="107"/>
                    </a:lnTo>
                    <a:lnTo>
                      <a:pt x="371" y="109"/>
                    </a:lnTo>
                    <a:lnTo>
                      <a:pt x="369" y="113"/>
                    </a:lnTo>
                    <a:lnTo>
                      <a:pt x="367" y="116"/>
                    </a:lnTo>
                    <a:lnTo>
                      <a:pt x="366" y="116"/>
                    </a:lnTo>
                    <a:lnTo>
                      <a:pt x="364" y="119"/>
                    </a:lnTo>
                    <a:lnTo>
                      <a:pt x="362" y="124"/>
                    </a:lnTo>
                    <a:lnTo>
                      <a:pt x="361" y="124"/>
                    </a:lnTo>
                    <a:lnTo>
                      <a:pt x="359" y="128"/>
                    </a:lnTo>
                    <a:lnTo>
                      <a:pt x="361" y="128"/>
                    </a:lnTo>
                    <a:lnTo>
                      <a:pt x="361" y="130"/>
                    </a:lnTo>
                    <a:lnTo>
                      <a:pt x="362" y="130"/>
                    </a:lnTo>
                    <a:lnTo>
                      <a:pt x="364" y="130"/>
                    </a:lnTo>
                    <a:lnTo>
                      <a:pt x="366" y="131"/>
                    </a:lnTo>
                    <a:lnTo>
                      <a:pt x="367" y="131"/>
                    </a:lnTo>
                    <a:lnTo>
                      <a:pt x="367" y="130"/>
                    </a:lnTo>
                    <a:lnTo>
                      <a:pt x="369" y="130"/>
                    </a:lnTo>
                    <a:lnTo>
                      <a:pt x="371" y="130"/>
                    </a:lnTo>
                    <a:lnTo>
                      <a:pt x="371" y="128"/>
                    </a:lnTo>
                    <a:lnTo>
                      <a:pt x="373" y="128"/>
                    </a:lnTo>
                    <a:lnTo>
                      <a:pt x="373" y="130"/>
                    </a:lnTo>
                    <a:lnTo>
                      <a:pt x="374" y="130"/>
                    </a:lnTo>
                    <a:lnTo>
                      <a:pt x="374" y="131"/>
                    </a:lnTo>
                    <a:lnTo>
                      <a:pt x="376" y="131"/>
                    </a:lnTo>
                    <a:lnTo>
                      <a:pt x="376" y="133"/>
                    </a:lnTo>
                    <a:lnTo>
                      <a:pt x="378" y="133"/>
                    </a:lnTo>
                    <a:lnTo>
                      <a:pt x="378" y="135"/>
                    </a:lnTo>
                    <a:lnTo>
                      <a:pt x="378" y="136"/>
                    </a:lnTo>
                    <a:lnTo>
                      <a:pt x="379" y="136"/>
                    </a:lnTo>
                    <a:lnTo>
                      <a:pt x="381" y="138"/>
                    </a:lnTo>
                    <a:lnTo>
                      <a:pt x="381" y="140"/>
                    </a:lnTo>
                    <a:lnTo>
                      <a:pt x="383" y="140"/>
                    </a:lnTo>
                    <a:lnTo>
                      <a:pt x="383" y="141"/>
                    </a:lnTo>
                    <a:lnTo>
                      <a:pt x="384" y="141"/>
                    </a:lnTo>
                    <a:lnTo>
                      <a:pt x="384" y="143"/>
                    </a:lnTo>
                    <a:close/>
                    <a:moveTo>
                      <a:pt x="138" y="410"/>
                    </a:moveTo>
                    <a:lnTo>
                      <a:pt x="141" y="410"/>
                    </a:lnTo>
                    <a:lnTo>
                      <a:pt x="141" y="412"/>
                    </a:lnTo>
                    <a:lnTo>
                      <a:pt x="138" y="412"/>
                    </a:lnTo>
                    <a:lnTo>
                      <a:pt x="138" y="410"/>
                    </a:lnTo>
                    <a:close/>
                    <a:moveTo>
                      <a:pt x="16" y="216"/>
                    </a:moveTo>
                    <a:lnTo>
                      <a:pt x="17" y="216"/>
                    </a:lnTo>
                    <a:lnTo>
                      <a:pt x="17" y="220"/>
                    </a:lnTo>
                    <a:lnTo>
                      <a:pt x="16" y="220"/>
                    </a:lnTo>
                    <a:lnTo>
                      <a:pt x="16" y="216"/>
                    </a:lnTo>
                    <a:close/>
                    <a:moveTo>
                      <a:pt x="174" y="487"/>
                    </a:moveTo>
                    <a:lnTo>
                      <a:pt x="175" y="487"/>
                    </a:lnTo>
                    <a:lnTo>
                      <a:pt x="175" y="489"/>
                    </a:lnTo>
                    <a:lnTo>
                      <a:pt x="174" y="489"/>
                    </a:lnTo>
                    <a:lnTo>
                      <a:pt x="174" y="487"/>
                    </a:lnTo>
                    <a:close/>
                    <a:moveTo>
                      <a:pt x="165" y="472"/>
                    </a:moveTo>
                    <a:lnTo>
                      <a:pt x="167" y="472"/>
                    </a:lnTo>
                    <a:lnTo>
                      <a:pt x="167" y="473"/>
                    </a:lnTo>
                    <a:lnTo>
                      <a:pt x="165" y="473"/>
                    </a:lnTo>
                    <a:lnTo>
                      <a:pt x="165" y="472"/>
                    </a:lnTo>
                    <a:close/>
                    <a:moveTo>
                      <a:pt x="36" y="116"/>
                    </a:moveTo>
                    <a:lnTo>
                      <a:pt x="38" y="116"/>
                    </a:lnTo>
                    <a:lnTo>
                      <a:pt x="36" y="116"/>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4" name="Freeform 52">
                <a:extLst>
                  <a:ext uri="{FF2B5EF4-FFF2-40B4-BE49-F238E27FC236}">
                    <a16:creationId xmlns:a16="http://schemas.microsoft.com/office/drawing/2014/main" id="{1B66D035-6CE8-AE7C-64FF-C9A61FD464A2}"/>
                  </a:ext>
                </a:extLst>
              </p:cNvPr>
              <p:cNvSpPr>
                <a:spLocks noEditPoints="1"/>
              </p:cNvSpPr>
              <p:nvPr/>
            </p:nvSpPr>
            <p:spPr bwMode="auto">
              <a:xfrm>
                <a:off x="5769041" y="2812899"/>
                <a:ext cx="3526" cy="8224"/>
              </a:xfrm>
              <a:custGeom>
                <a:avLst/>
                <a:gdLst>
                  <a:gd name="T0" fmla="*/ 10 w 12"/>
                  <a:gd name="T1" fmla="*/ 0 h 28"/>
                  <a:gd name="T2" fmla="*/ 12 w 12"/>
                  <a:gd name="T3" fmla="*/ 2 h 28"/>
                  <a:gd name="T4" fmla="*/ 12 w 12"/>
                  <a:gd name="T5" fmla="*/ 4 h 28"/>
                  <a:gd name="T6" fmla="*/ 12 w 12"/>
                  <a:gd name="T7" fmla="*/ 6 h 28"/>
                  <a:gd name="T8" fmla="*/ 10 w 12"/>
                  <a:gd name="T9" fmla="*/ 6 h 28"/>
                  <a:gd name="T10" fmla="*/ 10 w 12"/>
                  <a:gd name="T11" fmla="*/ 7 h 28"/>
                  <a:gd name="T12" fmla="*/ 10 w 12"/>
                  <a:gd name="T13" fmla="*/ 9 h 28"/>
                  <a:gd name="T14" fmla="*/ 8 w 12"/>
                  <a:gd name="T15" fmla="*/ 9 h 28"/>
                  <a:gd name="T16" fmla="*/ 7 w 12"/>
                  <a:gd name="T17" fmla="*/ 9 h 28"/>
                  <a:gd name="T18" fmla="*/ 7 w 12"/>
                  <a:gd name="T19" fmla="*/ 7 h 28"/>
                  <a:gd name="T20" fmla="*/ 5 w 12"/>
                  <a:gd name="T21" fmla="*/ 6 h 28"/>
                  <a:gd name="T22" fmla="*/ 5 w 12"/>
                  <a:gd name="T23" fmla="*/ 4 h 28"/>
                  <a:gd name="T24" fmla="*/ 7 w 12"/>
                  <a:gd name="T25" fmla="*/ 4 h 28"/>
                  <a:gd name="T26" fmla="*/ 7 w 12"/>
                  <a:gd name="T27" fmla="*/ 2 h 28"/>
                  <a:gd name="T28" fmla="*/ 8 w 12"/>
                  <a:gd name="T29" fmla="*/ 0 h 28"/>
                  <a:gd name="T30" fmla="*/ 10 w 12"/>
                  <a:gd name="T31" fmla="*/ 0 h 28"/>
                  <a:gd name="T32" fmla="*/ 5 w 12"/>
                  <a:gd name="T33" fmla="*/ 11 h 28"/>
                  <a:gd name="T34" fmla="*/ 8 w 12"/>
                  <a:gd name="T35" fmla="*/ 11 h 28"/>
                  <a:gd name="T36" fmla="*/ 8 w 12"/>
                  <a:gd name="T37" fmla="*/ 14 h 28"/>
                  <a:gd name="T38" fmla="*/ 5 w 12"/>
                  <a:gd name="T39" fmla="*/ 14 h 28"/>
                  <a:gd name="T40" fmla="*/ 5 w 12"/>
                  <a:gd name="T41" fmla="*/ 11 h 28"/>
                  <a:gd name="T42" fmla="*/ 0 w 12"/>
                  <a:gd name="T43" fmla="*/ 26 h 28"/>
                  <a:gd name="T44" fmla="*/ 1 w 12"/>
                  <a:gd name="T45" fmla="*/ 26 h 28"/>
                  <a:gd name="T46" fmla="*/ 1 w 12"/>
                  <a:gd name="T47" fmla="*/ 28 h 28"/>
                  <a:gd name="T48" fmla="*/ 0 w 12"/>
                  <a:gd name="T49" fmla="*/ 28 h 28"/>
                  <a:gd name="T50" fmla="*/ 0 w 12"/>
                  <a:gd name="T51" fmla="*/ 26 h 28"/>
                  <a:gd name="T52" fmla="*/ 3 w 12"/>
                  <a:gd name="T53" fmla="*/ 23 h 28"/>
                  <a:gd name="T54" fmla="*/ 5 w 12"/>
                  <a:gd name="T55" fmla="*/ 23 h 28"/>
                  <a:gd name="T56" fmla="*/ 5 w 12"/>
                  <a:gd name="T57" fmla="*/ 24 h 28"/>
                  <a:gd name="T58" fmla="*/ 3 w 12"/>
                  <a:gd name="T59" fmla="*/ 24 h 28"/>
                  <a:gd name="T60" fmla="*/ 3 w 12"/>
                  <a:gd name="T61" fmla="*/ 23 h 28"/>
                  <a:gd name="T62" fmla="*/ 8 w 12"/>
                  <a:gd name="T63" fmla="*/ 17 h 28"/>
                  <a:gd name="T64" fmla="*/ 10 w 12"/>
                  <a:gd name="T65" fmla="*/ 17 h 28"/>
                  <a:gd name="T66" fmla="*/ 8 w 12"/>
                  <a:gd name="T67" fmla="*/ 17 h 28"/>
                  <a:gd name="T68" fmla="*/ 1 w 12"/>
                  <a:gd name="T69" fmla="*/ 24 h 28"/>
                  <a:gd name="T70" fmla="*/ 1 w 12"/>
                  <a:gd name="T71" fmla="*/ 26 h 28"/>
                  <a:gd name="T72" fmla="*/ 1 w 12"/>
                  <a:gd name="T73" fmla="*/ 24 h 28"/>
                  <a:gd name="T74" fmla="*/ 10 w 12"/>
                  <a:gd name="T75" fmla="*/ 14 h 28"/>
                  <a:gd name="T76" fmla="*/ 10 w 12"/>
                  <a:gd name="T77" fmla="*/ 16 h 28"/>
                  <a:gd name="T78" fmla="*/ 10 w 12"/>
                  <a:gd name="T79"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 h="28">
                    <a:moveTo>
                      <a:pt x="10" y="0"/>
                    </a:moveTo>
                    <a:lnTo>
                      <a:pt x="12" y="2"/>
                    </a:lnTo>
                    <a:lnTo>
                      <a:pt x="12" y="4"/>
                    </a:lnTo>
                    <a:lnTo>
                      <a:pt x="12" y="6"/>
                    </a:lnTo>
                    <a:lnTo>
                      <a:pt x="10" y="6"/>
                    </a:lnTo>
                    <a:lnTo>
                      <a:pt x="10" y="7"/>
                    </a:lnTo>
                    <a:lnTo>
                      <a:pt x="10" y="9"/>
                    </a:lnTo>
                    <a:lnTo>
                      <a:pt x="8" y="9"/>
                    </a:lnTo>
                    <a:lnTo>
                      <a:pt x="7" y="9"/>
                    </a:lnTo>
                    <a:lnTo>
                      <a:pt x="7" y="7"/>
                    </a:lnTo>
                    <a:lnTo>
                      <a:pt x="5" y="6"/>
                    </a:lnTo>
                    <a:lnTo>
                      <a:pt x="5" y="4"/>
                    </a:lnTo>
                    <a:lnTo>
                      <a:pt x="7" y="4"/>
                    </a:lnTo>
                    <a:lnTo>
                      <a:pt x="7" y="2"/>
                    </a:lnTo>
                    <a:lnTo>
                      <a:pt x="8" y="0"/>
                    </a:lnTo>
                    <a:lnTo>
                      <a:pt x="10" y="0"/>
                    </a:lnTo>
                    <a:close/>
                    <a:moveTo>
                      <a:pt x="5" y="11"/>
                    </a:moveTo>
                    <a:lnTo>
                      <a:pt x="8" y="11"/>
                    </a:lnTo>
                    <a:lnTo>
                      <a:pt x="8" y="14"/>
                    </a:lnTo>
                    <a:lnTo>
                      <a:pt x="5" y="14"/>
                    </a:lnTo>
                    <a:lnTo>
                      <a:pt x="5" y="11"/>
                    </a:lnTo>
                    <a:close/>
                    <a:moveTo>
                      <a:pt x="0" y="26"/>
                    </a:moveTo>
                    <a:lnTo>
                      <a:pt x="1" y="26"/>
                    </a:lnTo>
                    <a:lnTo>
                      <a:pt x="1" y="28"/>
                    </a:lnTo>
                    <a:lnTo>
                      <a:pt x="0" y="28"/>
                    </a:lnTo>
                    <a:lnTo>
                      <a:pt x="0" y="26"/>
                    </a:lnTo>
                    <a:close/>
                    <a:moveTo>
                      <a:pt x="3" y="23"/>
                    </a:moveTo>
                    <a:lnTo>
                      <a:pt x="5" y="23"/>
                    </a:lnTo>
                    <a:lnTo>
                      <a:pt x="5" y="24"/>
                    </a:lnTo>
                    <a:lnTo>
                      <a:pt x="3" y="24"/>
                    </a:lnTo>
                    <a:lnTo>
                      <a:pt x="3" y="23"/>
                    </a:lnTo>
                    <a:close/>
                    <a:moveTo>
                      <a:pt x="8" y="17"/>
                    </a:moveTo>
                    <a:lnTo>
                      <a:pt x="10" y="17"/>
                    </a:lnTo>
                    <a:lnTo>
                      <a:pt x="8" y="17"/>
                    </a:lnTo>
                    <a:close/>
                    <a:moveTo>
                      <a:pt x="1" y="24"/>
                    </a:moveTo>
                    <a:lnTo>
                      <a:pt x="1" y="26"/>
                    </a:lnTo>
                    <a:lnTo>
                      <a:pt x="1" y="24"/>
                    </a:lnTo>
                    <a:close/>
                    <a:moveTo>
                      <a:pt x="10" y="14"/>
                    </a:moveTo>
                    <a:lnTo>
                      <a:pt x="10" y="16"/>
                    </a:lnTo>
                    <a:lnTo>
                      <a:pt x="10" y="1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6" name="Freeform 54">
                <a:extLst>
                  <a:ext uri="{FF2B5EF4-FFF2-40B4-BE49-F238E27FC236}">
                    <a16:creationId xmlns:a16="http://schemas.microsoft.com/office/drawing/2014/main" id="{8890AFAC-519C-3C24-CD06-1EC964D53C98}"/>
                  </a:ext>
                </a:extLst>
              </p:cNvPr>
              <p:cNvSpPr>
                <a:spLocks noEditPoints="1"/>
              </p:cNvSpPr>
              <p:nvPr/>
            </p:nvSpPr>
            <p:spPr bwMode="auto">
              <a:xfrm>
                <a:off x="5802525" y="2886916"/>
                <a:ext cx="40239" cy="41415"/>
              </a:xfrm>
              <a:custGeom>
                <a:avLst/>
                <a:gdLst>
                  <a:gd name="T0" fmla="*/ 134 w 137"/>
                  <a:gd name="T1" fmla="*/ 19 h 141"/>
                  <a:gd name="T2" fmla="*/ 127 w 137"/>
                  <a:gd name="T3" fmla="*/ 27 h 141"/>
                  <a:gd name="T4" fmla="*/ 120 w 137"/>
                  <a:gd name="T5" fmla="*/ 38 h 141"/>
                  <a:gd name="T6" fmla="*/ 124 w 137"/>
                  <a:gd name="T7" fmla="*/ 50 h 141"/>
                  <a:gd name="T8" fmla="*/ 124 w 137"/>
                  <a:gd name="T9" fmla="*/ 60 h 141"/>
                  <a:gd name="T10" fmla="*/ 125 w 137"/>
                  <a:gd name="T11" fmla="*/ 68 h 141"/>
                  <a:gd name="T12" fmla="*/ 132 w 137"/>
                  <a:gd name="T13" fmla="*/ 75 h 141"/>
                  <a:gd name="T14" fmla="*/ 137 w 137"/>
                  <a:gd name="T15" fmla="*/ 80 h 141"/>
                  <a:gd name="T16" fmla="*/ 136 w 137"/>
                  <a:gd name="T17" fmla="*/ 92 h 141"/>
                  <a:gd name="T18" fmla="*/ 131 w 137"/>
                  <a:gd name="T19" fmla="*/ 97 h 141"/>
                  <a:gd name="T20" fmla="*/ 131 w 137"/>
                  <a:gd name="T21" fmla="*/ 106 h 141"/>
                  <a:gd name="T22" fmla="*/ 127 w 137"/>
                  <a:gd name="T23" fmla="*/ 116 h 141"/>
                  <a:gd name="T24" fmla="*/ 120 w 137"/>
                  <a:gd name="T25" fmla="*/ 123 h 141"/>
                  <a:gd name="T26" fmla="*/ 117 w 137"/>
                  <a:gd name="T27" fmla="*/ 126 h 141"/>
                  <a:gd name="T28" fmla="*/ 108 w 137"/>
                  <a:gd name="T29" fmla="*/ 121 h 141"/>
                  <a:gd name="T30" fmla="*/ 102 w 137"/>
                  <a:gd name="T31" fmla="*/ 118 h 141"/>
                  <a:gd name="T32" fmla="*/ 93 w 137"/>
                  <a:gd name="T33" fmla="*/ 119 h 141"/>
                  <a:gd name="T34" fmla="*/ 85 w 137"/>
                  <a:gd name="T35" fmla="*/ 121 h 141"/>
                  <a:gd name="T36" fmla="*/ 78 w 137"/>
                  <a:gd name="T37" fmla="*/ 121 h 141"/>
                  <a:gd name="T38" fmla="*/ 69 w 137"/>
                  <a:gd name="T39" fmla="*/ 119 h 141"/>
                  <a:gd name="T40" fmla="*/ 66 w 137"/>
                  <a:gd name="T41" fmla="*/ 124 h 141"/>
                  <a:gd name="T42" fmla="*/ 71 w 137"/>
                  <a:gd name="T43" fmla="*/ 131 h 141"/>
                  <a:gd name="T44" fmla="*/ 71 w 137"/>
                  <a:gd name="T45" fmla="*/ 141 h 141"/>
                  <a:gd name="T46" fmla="*/ 59 w 137"/>
                  <a:gd name="T47" fmla="*/ 138 h 141"/>
                  <a:gd name="T48" fmla="*/ 51 w 137"/>
                  <a:gd name="T49" fmla="*/ 136 h 141"/>
                  <a:gd name="T50" fmla="*/ 44 w 137"/>
                  <a:gd name="T51" fmla="*/ 129 h 141"/>
                  <a:gd name="T52" fmla="*/ 37 w 137"/>
                  <a:gd name="T53" fmla="*/ 121 h 141"/>
                  <a:gd name="T54" fmla="*/ 34 w 137"/>
                  <a:gd name="T55" fmla="*/ 114 h 141"/>
                  <a:gd name="T56" fmla="*/ 29 w 137"/>
                  <a:gd name="T57" fmla="*/ 107 h 141"/>
                  <a:gd name="T58" fmla="*/ 30 w 137"/>
                  <a:gd name="T59" fmla="*/ 102 h 141"/>
                  <a:gd name="T60" fmla="*/ 27 w 137"/>
                  <a:gd name="T61" fmla="*/ 99 h 141"/>
                  <a:gd name="T62" fmla="*/ 27 w 137"/>
                  <a:gd name="T63" fmla="*/ 90 h 141"/>
                  <a:gd name="T64" fmla="*/ 22 w 137"/>
                  <a:gd name="T65" fmla="*/ 90 h 141"/>
                  <a:gd name="T66" fmla="*/ 13 w 137"/>
                  <a:gd name="T67" fmla="*/ 85 h 141"/>
                  <a:gd name="T68" fmla="*/ 8 w 137"/>
                  <a:gd name="T69" fmla="*/ 80 h 141"/>
                  <a:gd name="T70" fmla="*/ 3 w 137"/>
                  <a:gd name="T71" fmla="*/ 72 h 141"/>
                  <a:gd name="T72" fmla="*/ 1 w 137"/>
                  <a:gd name="T73" fmla="*/ 61 h 141"/>
                  <a:gd name="T74" fmla="*/ 5 w 137"/>
                  <a:gd name="T75" fmla="*/ 55 h 141"/>
                  <a:gd name="T76" fmla="*/ 8 w 137"/>
                  <a:gd name="T77" fmla="*/ 44 h 141"/>
                  <a:gd name="T78" fmla="*/ 8 w 137"/>
                  <a:gd name="T79" fmla="*/ 38 h 141"/>
                  <a:gd name="T80" fmla="*/ 17 w 137"/>
                  <a:gd name="T81" fmla="*/ 34 h 141"/>
                  <a:gd name="T82" fmla="*/ 25 w 137"/>
                  <a:gd name="T83" fmla="*/ 34 h 141"/>
                  <a:gd name="T84" fmla="*/ 29 w 137"/>
                  <a:gd name="T85" fmla="*/ 31 h 141"/>
                  <a:gd name="T86" fmla="*/ 27 w 137"/>
                  <a:gd name="T87" fmla="*/ 26 h 141"/>
                  <a:gd name="T88" fmla="*/ 29 w 137"/>
                  <a:gd name="T89" fmla="*/ 15 h 141"/>
                  <a:gd name="T90" fmla="*/ 34 w 137"/>
                  <a:gd name="T91" fmla="*/ 4 h 141"/>
                  <a:gd name="T92" fmla="*/ 42 w 137"/>
                  <a:gd name="T93" fmla="*/ 2 h 141"/>
                  <a:gd name="T94" fmla="*/ 54 w 137"/>
                  <a:gd name="T95" fmla="*/ 4 h 141"/>
                  <a:gd name="T96" fmla="*/ 66 w 137"/>
                  <a:gd name="T97" fmla="*/ 7 h 141"/>
                  <a:gd name="T98" fmla="*/ 73 w 137"/>
                  <a:gd name="T99" fmla="*/ 2 h 141"/>
                  <a:gd name="T100" fmla="*/ 86 w 137"/>
                  <a:gd name="T101" fmla="*/ 2 h 141"/>
                  <a:gd name="T102" fmla="*/ 98 w 137"/>
                  <a:gd name="T103" fmla="*/ 4 h 141"/>
                  <a:gd name="T104" fmla="*/ 100 w 137"/>
                  <a:gd name="T105" fmla="*/ 2 h 141"/>
                  <a:gd name="T106" fmla="*/ 112 w 137"/>
                  <a:gd name="T107" fmla="*/ 2 h 141"/>
                  <a:gd name="T108" fmla="*/ 124 w 137"/>
                  <a:gd name="T109" fmla="*/ 4 h 141"/>
                  <a:gd name="T110" fmla="*/ 136 w 137"/>
                  <a:gd name="T111" fmla="*/ 5 h 141"/>
                  <a:gd name="T112" fmla="*/ 34 w 137"/>
                  <a:gd name="T113" fmla="*/ 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7" h="141">
                    <a:moveTo>
                      <a:pt x="137" y="10"/>
                    </a:moveTo>
                    <a:lnTo>
                      <a:pt x="137" y="12"/>
                    </a:lnTo>
                    <a:lnTo>
                      <a:pt x="137" y="14"/>
                    </a:lnTo>
                    <a:lnTo>
                      <a:pt x="137" y="15"/>
                    </a:lnTo>
                    <a:lnTo>
                      <a:pt x="137" y="17"/>
                    </a:lnTo>
                    <a:lnTo>
                      <a:pt x="136" y="17"/>
                    </a:lnTo>
                    <a:lnTo>
                      <a:pt x="136" y="19"/>
                    </a:lnTo>
                    <a:lnTo>
                      <a:pt x="134" y="19"/>
                    </a:lnTo>
                    <a:lnTo>
                      <a:pt x="134" y="21"/>
                    </a:lnTo>
                    <a:lnTo>
                      <a:pt x="132" y="21"/>
                    </a:lnTo>
                    <a:lnTo>
                      <a:pt x="132" y="22"/>
                    </a:lnTo>
                    <a:lnTo>
                      <a:pt x="131" y="24"/>
                    </a:lnTo>
                    <a:lnTo>
                      <a:pt x="129" y="24"/>
                    </a:lnTo>
                    <a:lnTo>
                      <a:pt x="129" y="26"/>
                    </a:lnTo>
                    <a:lnTo>
                      <a:pt x="127" y="26"/>
                    </a:lnTo>
                    <a:lnTo>
                      <a:pt x="127" y="27"/>
                    </a:lnTo>
                    <a:lnTo>
                      <a:pt x="125" y="29"/>
                    </a:lnTo>
                    <a:lnTo>
                      <a:pt x="125" y="31"/>
                    </a:lnTo>
                    <a:lnTo>
                      <a:pt x="124" y="31"/>
                    </a:lnTo>
                    <a:lnTo>
                      <a:pt x="124" y="32"/>
                    </a:lnTo>
                    <a:lnTo>
                      <a:pt x="122" y="34"/>
                    </a:lnTo>
                    <a:lnTo>
                      <a:pt x="122" y="36"/>
                    </a:lnTo>
                    <a:lnTo>
                      <a:pt x="122" y="38"/>
                    </a:lnTo>
                    <a:lnTo>
                      <a:pt x="120" y="38"/>
                    </a:lnTo>
                    <a:lnTo>
                      <a:pt x="122" y="39"/>
                    </a:lnTo>
                    <a:lnTo>
                      <a:pt x="122" y="41"/>
                    </a:lnTo>
                    <a:lnTo>
                      <a:pt x="122" y="43"/>
                    </a:lnTo>
                    <a:lnTo>
                      <a:pt x="122" y="44"/>
                    </a:lnTo>
                    <a:lnTo>
                      <a:pt x="122" y="46"/>
                    </a:lnTo>
                    <a:lnTo>
                      <a:pt x="122" y="48"/>
                    </a:lnTo>
                    <a:lnTo>
                      <a:pt x="124" y="48"/>
                    </a:lnTo>
                    <a:lnTo>
                      <a:pt x="124" y="50"/>
                    </a:lnTo>
                    <a:lnTo>
                      <a:pt x="122" y="50"/>
                    </a:lnTo>
                    <a:lnTo>
                      <a:pt x="122" y="51"/>
                    </a:lnTo>
                    <a:lnTo>
                      <a:pt x="122" y="53"/>
                    </a:lnTo>
                    <a:lnTo>
                      <a:pt x="122" y="55"/>
                    </a:lnTo>
                    <a:lnTo>
                      <a:pt x="122" y="56"/>
                    </a:lnTo>
                    <a:lnTo>
                      <a:pt x="124" y="56"/>
                    </a:lnTo>
                    <a:lnTo>
                      <a:pt x="124" y="58"/>
                    </a:lnTo>
                    <a:lnTo>
                      <a:pt x="124" y="60"/>
                    </a:lnTo>
                    <a:lnTo>
                      <a:pt x="124" y="61"/>
                    </a:lnTo>
                    <a:lnTo>
                      <a:pt x="124" y="63"/>
                    </a:lnTo>
                    <a:lnTo>
                      <a:pt x="125" y="63"/>
                    </a:lnTo>
                    <a:lnTo>
                      <a:pt x="127" y="63"/>
                    </a:lnTo>
                    <a:lnTo>
                      <a:pt x="127" y="65"/>
                    </a:lnTo>
                    <a:lnTo>
                      <a:pt x="125" y="65"/>
                    </a:lnTo>
                    <a:lnTo>
                      <a:pt x="125" y="67"/>
                    </a:lnTo>
                    <a:lnTo>
                      <a:pt x="125" y="68"/>
                    </a:lnTo>
                    <a:lnTo>
                      <a:pt x="127" y="68"/>
                    </a:lnTo>
                    <a:lnTo>
                      <a:pt x="127" y="70"/>
                    </a:lnTo>
                    <a:lnTo>
                      <a:pt x="127" y="72"/>
                    </a:lnTo>
                    <a:lnTo>
                      <a:pt x="129" y="72"/>
                    </a:lnTo>
                    <a:lnTo>
                      <a:pt x="129" y="73"/>
                    </a:lnTo>
                    <a:lnTo>
                      <a:pt x="131" y="73"/>
                    </a:lnTo>
                    <a:lnTo>
                      <a:pt x="131" y="75"/>
                    </a:lnTo>
                    <a:lnTo>
                      <a:pt x="132" y="75"/>
                    </a:lnTo>
                    <a:lnTo>
                      <a:pt x="134" y="75"/>
                    </a:lnTo>
                    <a:lnTo>
                      <a:pt x="134" y="77"/>
                    </a:lnTo>
                    <a:lnTo>
                      <a:pt x="134" y="78"/>
                    </a:lnTo>
                    <a:lnTo>
                      <a:pt x="134" y="80"/>
                    </a:lnTo>
                    <a:lnTo>
                      <a:pt x="136" y="80"/>
                    </a:lnTo>
                    <a:lnTo>
                      <a:pt x="136" y="82"/>
                    </a:lnTo>
                    <a:lnTo>
                      <a:pt x="136" y="80"/>
                    </a:lnTo>
                    <a:lnTo>
                      <a:pt x="137" y="80"/>
                    </a:lnTo>
                    <a:lnTo>
                      <a:pt x="137" y="82"/>
                    </a:lnTo>
                    <a:lnTo>
                      <a:pt x="137" y="84"/>
                    </a:lnTo>
                    <a:lnTo>
                      <a:pt x="137" y="85"/>
                    </a:lnTo>
                    <a:lnTo>
                      <a:pt x="137" y="87"/>
                    </a:lnTo>
                    <a:lnTo>
                      <a:pt x="137" y="89"/>
                    </a:lnTo>
                    <a:lnTo>
                      <a:pt x="136" y="89"/>
                    </a:lnTo>
                    <a:lnTo>
                      <a:pt x="136" y="90"/>
                    </a:lnTo>
                    <a:lnTo>
                      <a:pt x="136" y="92"/>
                    </a:lnTo>
                    <a:lnTo>
                      <a:pt x="134" y="92"/>
                    </a:lnTo>
                    <a:lnTo>
                      <a:pt x="132" y="92"/>
                    </a:lnTo>
                    <a:lnTo>
                      <a:pt x="132" y="94"/>
                    </a:lnTo>
                    <a:lnTo>
                      <a:pt x="132" y="95"/>
                    </a:lnTo>
                    <a:lnTo>
                      <a:pt x="131" y="95"/>
                    </a:lnTo>
                    <a:lnTo>
                      <a:pt x="131" y="97"/>
                    </a:lnTo>
                    <a:lnTo>
                      <a:pt x="131" y="99"/>
                    </a:lnTo>
                    <a:lnTo>
                      <a:pt x="131" y="97"/>
                    </a:lnTo>
                    <a:lnTo>
                      <a:pt x="131" y="99"/>
                    </a:lnTo>
                    <a:lnTo>
                      <a:pt x="131" y="101"/>
                    </a:lnTo>
                    <a:lnTo>
                      <a:pt x="131" y="102"/>
                    </a:lnTo>
                    <a:lnTo>
                      <a:pt x="132" y="102"/>
                    </a:lnTo>
                    <a:lnTo>
                      <a:pt x="131" y="102"/>
                    </a:lnTo>
                    <a:lnTo>
                      <a:pt x="132" y="104"/>
                    </a:lnTo>
                    <a:lnTo>
                      <a:pt x="131" y="104"/>
                    </a:lnTo>
                    <a:lnTo>
                      <a:pt x="131" y="106"/>
                    </a:lnTo>
                    <a:lnTo>
                      <a:pt x="131" y="107"/>
                    </a:lnTo>
                    <a:lnTo>
                      <a:pt x="131" y="109"/>
                    </a:lnTo>
                    <a:lnTo>
                      <a:pt x="131" y="111"/>
                    </a:lnTo>
                    <a:lnTo>
                      <a:pt x="129" y="111"/>
                    </a:lnTo>
                    <a:lnTo>
                      <a:pt x="129" y="112"/>
                    </a:lnTo>
                    <a:lnTo>
                      <a:pt x="127" y="112"/>
                    </a:lnTo>
                    <a:lnTo>
                      <a:pt x="127" y="114"/>
                    </a:lnTo>
                    <a:lnTo>
                      <a:pt x="127" y="116"/>
                    </a:lnTo>
                    <a:lnTo>
                      <a:pt x="125" y="116"/>
                    </a:lnTo>
                    <a:lnTo>
                      <a:pt x="125" y="118"/>
                    </a:lnTo>
                    <a:lnTo>
                      <a:pt x="125" y="119"/>
                    </a:lnTo>
                    <a:lnTo>
                      <a:pt x="124" y="119"/>
                    </a:lnTo>
                    <a:lnTo>
                      <a:pt x="124" y="121"/>
                    </a:lnTo>
                    <a:lnTo>
                      <a:pt x="122" y="121"/>
                    </a:lnTo>
                    <a:lnTo>
                      <a:pt x="122" y="123"/>
                    </a:lnTo>
                    <a:lnTo>
                      <a:pt x="120" y="123"/>
                    </a:lnTo>
                    <a:lnTo>
                      <a:pt x="120" y="124"/>
                    </a:lnTo>
                    <a:lnTo>
                      <a:pt x="120" y="126"/>
                    </a:lnTo>
                    <a:lnTo>
                      <a:pt x="120" y="124"/>
                    </a:lnTo>
                    <a:lnTo>
                      <a:pt x="119" y="126"/>
                    </a:lnTo>
                    <a:lnTo>
                      <a:pt x="120" y="126"/>
                    </a:lnTo>
                    <a:lnTo>
                      <a:pt x="119" y="128"/>
                    </a:lnTo>
                    <a:lnTo>
                      <a:pt x="119" y="126"/>
                    </a:lnTo>
                    <a:lnTo>
                      <a:pt x="117" y="126"/>
                    </a:lnTo>
                    <a:lnTo>
                      <a:pt x="117" y="124"/>
                    </a:lnTo>
                    <a:lnTo>
                      <a:pt x="115" y="124"/>
                    </a:lnTo>
                    <a:lnTo>
                      <a:pt x="114" y="124"/>
                    </a:lnTo>
                    <a:lnTo>
                      <a:pt x="114" y="123"/>
                    </a:lnTo>
                    <a:lnTo>
                      <a:pt x="114" y="121"/>
                    </a:lnTo>
                    <a:lnTo>
                      <a:pt x="112" y="121"/>
                    </a:lnTo>
                    <a:lnTo>
                      <a:pt x="110" y="121"/>
                    </a:lnTo>
                    <a:lnTo>
                      <a:pt x="108" y="121"/>
                    </a:lnTo>
                    <a:lnTo>
                      <a:pt x="107" y="121"/>
                    </a:lnTo>
                    <a:lnTo>
                      <a:pt x="107" y="119"/>
                    </a:lnTo>
                    <a:lnTo>
                      <a:pt x="105" y="119"/>
                    </a:lnTo>
                    <a:lnTo>
                      <a:pt x="105" y="118"/>
                    </a:lnTo>
                    <a:lnTo>
                      <a:pt x="105" y="116"/>
                    </a:lnTo>
                    <a:lnTo>
                      <a:pt x="103" y="116"/>
                    </a:lnTo>
                    <a:lnTo>
                      <a:pt x="103" y="118"/>
                    </a:lnTo>
                    <a:lnTo>
                      <a:pt x="102" y="118"/>
                    </a:lnTo>
                    <a:lnTo>
                      <a:pt x="100" y="118"/>
                    </a:lnTo>
                    <a:lnTo>
                      <a:pt x="100" y="119"/>
                    </a:lnTo>
                    <a:lnTo>
                      <a:pt x="100" y="118"/>
                    </a:lnTo>
                    <a:lnTo>
                      <a:pt x="98" y="118"/>
                    </a:lnTo>
                    <a:lnTo>
                      <a:pt x="97" y="118"/>
                    </a:lnTo>
                    <a:lnTo>
                      <a:pt x="97" y="119"/>
                    </a:lnTo>
                    <a:lnTo>
                      <a:pt x="95" y="119"/>
                    </a:lnTo>
                    <a:lnTo>
                      <a:pt x="93" y="119"/>
                    </a:lnTo>
                    <a:lnTo>
                      <a:pt x="91" y="119"/>
                    </a:lnTo>
                    <a:lnTo>
                      <a:pt x="91" y="121"/>
                    </a:lnTo>
                    <a:lnTo>
                      <a:pt x="91" y="123"/>
                    </a:lnTo>
                    <a:lnTo>
                      <a:pt x="90" y="123"/>
                    </a:lnTo>
                    <a:lnTo>
                      <a:pt x="90" y="121"/>
                    </a:lnTo>
                    <a:lnTo>
                      <a:pt x="88" y="121"/>
                    </a:lnTo>
                    <a:lnTo>
                      <a:pt x="86" y="121"/>
                    </a:lnTo>
                    <a:lnTo>
                      <a:pt x="85" y="121"/>
                    </a:lnTo>
                    <a:lnTo>
                      <a:pt x="85" y="123"/>
                    </a:lnTo>
                    <a:lnTo>
                      <a:pt x="85" y="121"/>
                    </a:lnTo>
                    <a:lnTo>
                      <a:pt x="83" y="121"/>
                    </a:lnTo>
                    <a:lnTo>
                      <a:pt x="83" y="123"/>
                    </a:lnTo>
                    <a:lnTo>
                      <a:pt x="81" y="123"/>
                    </a:lnTo>
                    <a:lnTo>
                      <a:pt x="80" y="123"/>
                    </a:lnTo>
                    <a:lnTo>
                      <a:pt x="78" y="123"/>
                    </a:lnTo>
                    <a:lnTo>
                      <a:pt x="78" y="121"/>
                    </a:lnTo>
                    <a:lnTo>
                      <a:pt x="76" y="121"/>
                    </a:lnTo>
                    <a:lnTo>
                      <a:pt x="74" y="121"/>
                    </a:lnTo>
                    <a:lnTo>
                      <a:pt x="74" y="119"/>
                    </a:lnTo>
                    <a:lnTo>
                      <a:pt x="73" y="119"/>
                    </a:lnTo>
                    <a:lnTo>
                      <a:pt x="73" y="118"/>
                    </a:lnTo>
                    <a:lnTo>
                      <a:pt x="71" y="118"/>
                    </a:lnTo>
                    <a:lnTo>
                      <a:pt x="71" y="119"/>
                    </a:lnTo>
                    <a:lnTo>
                      <a:pt x="69" y="119"/>
                    </a:lnTo>
                    <a:lnTo>
                      <a:pt x="71" y="119"/>
                    </a:lnTo>
                    <a:lnTo>
                      <a:pt x="69" y="119"/>
                    </a:lnTo>
                    <a:lnTo>
                      <a:pt x="69" y="121"/>
                    </a:lnTo>
                    <a:lnTo>
                      <a:pt x="69" y="123"/>
                    </a:lnTo>
                    <a:lnTo>
                      <a:pt x="68" y="124"/>
                    </a:lnTo>
                    <a:lnTo>
                      <a:pt x="69" y="124"/>
                    </a:lnTo>
                    <a:lnTo>
                      <a:pt x="68" y="124"/>
                    </a:lnTo>
                    <a:lnTo>
                      <a:pt x="66" y="124"/>
                    </a:lnTo>
                    <a:lnTo>
                      <a:pt x="66" y="126"/>
                    </a:lnTo>
                    <a:lnTo>
                      <a:pt x="64" y="128"/>
                    </a:lnTo>
                    <a:lnTo>
                      <a:pt x="66" y="128"/>
                    </a:lnTo>
                    <a:lnTo>
                      <a:pt x="68" y="128"/>
                    </a:lnTo>
                    <a:lnTo>
                      <a:pt x="68" y="129"/>
                    </a:lnTo>
                    <a:lnTo>
                      <a:pt x="68" y="131"/>
                    </a:lnTo>
                    <a:lnTo>
                      <a:pt x="69" y="131"/>
                    </a:lnTo>
                    <a:lnTo>
                      <a:pt x="71" y="131"/>
                    </a:lnTo>
                    <a:lnTo>
                      <a:pt x="71" y="133"/>
                    </a:lnTo>
                    <a:lnTo>
                      <a:pt x="73" y="133"/>
                    </a:lnTo>
                    <a:lnTo>
                      <a:pt x="73" y="135"/>
                    </a:lnTo>
                    <a:lnTo>
                      <a:pt x="73" y="136"/>
                    </a:lnTo>
                    <a:lnTo>
                      <a:pt x="71" y="136"/>
                    </a:lnTo>
                    <a:lnTo>
                      <a:pt x="73" y="138"/>
                    </a:lnTo>
                    <a:lnTo>
                      <a:pt x="73" y="140"/>
                    </a:lnTo>
                    <a:lnTo>
                      <a:pt x="71" y="141"/>
                    </a:lnTo>
                    <a:lnTo>
                      <a:pt x="69" y="141"/>
                    </a:lnTo>
                    <a:lnTo>
                      <a:pt x="68" y="141"/>
                    </a:lnTo>
                    <a:lnTo>
                      <a:pt x="66" y="141"/>
                    </a:lnTo>
                    <a:lnTo>
                      <a:pt x="64" y="140"/>
                    </a:lnTo>
                    <a:lnTo>
                      <a:pt x="63" y="140"/>
                    </a:lnTo>
                    <a:lnTo>
                      <a:pt x="61" y="140"/>
                    </a:lnTo>
                    <a:lnTo>
                      <a:pt x="59" y="140"/>
                    </a:lnTo>
                    <a:lnTo>
                      <a:pt x="59" y="138"/>
                    </a:lnTo>
                    <a:lnTo>
                      <a:pt x="57" y="138"/>
                    </a:lnTo>
                    <a:lnTo>
                      <a:pt x="56" y="138"/>
                    </a:lnTo>
                    <a:lnTo>
                      <a:pt x="56" y="140"/>
                    </a:lnTo>
                    <a:lnTo>
                      <a:pt x="56" y="138"/>
                    </a:lnTo>
                    <a:lnTo>
                      <a:pt x="54" y="138"/>
                    </a:lnTo>
                    <a:lnTo>
                      <a:pt x="52" y="138"/>
                    </a:lnTo>
                    <a:lnTo>
                      <a:pt x="52" y="136"/>
                    </a:lnTo>
                    <a:lnTo>
                      <a:pt x="51" y="136"/>
                    </a:lnTo>
                    <a:lnTo>
                      <a:pt x="49" y="136"/>
                    </a:lnTo>
                    <a:lnTo>
                      <a:pt x="47" y="136"/>
                    </a:lnTo>
                    <a:lnTo>
                      <a:pt x="47" y="135"/>
                    </a:lnTo>
                    <a:lnTo>
                      <a:pt x="46" y="135"/>
                    </a:lnTo>
                    <a:lnTo>
                      <a:pt x="46" y="133"/>
                    </a:lnTo>
                    <a:lnTo>
                      <a:pt x="44" y="133"/>
                    </a:lnTo>
                    <a:lnTo>
                      <a:pt x="44" y="131"/>
                    </a:lnTo>
                    <a:lnTo>
                      <a:pt x="44" y="129"/>
                    </a:lnTo>
                    <a:lnTo>
                      <a:pt x="42" y="129"/>
                    </a:lnTo>
                    <a:lnTo>
                      <a:pt x="42" y="128"/>
                    </a:lnTo>
                    <a:lnTo>
                      <a:pt x="40" y="126"/>
                    </a:lnTo>
                    <a:lnTo>
                      <a:pt x="40" y="124"/>
                    </a:lnTo>
                    <a:lnTo>
                      <a:pt x="39" y="124"/>
                    </a:lnTo>
                    <a:lnTo>
                      <a:pt x="39" y="123"/>
                    </a:lnTo>
                    <a:lnTo>
                      <a:pt x="39" y="121"/>
                    </a:lnTo>
                    <a:lnTo>
                      <a:pt x="37" y="121"/>
                    </a:lnTo>
                    <a:lnTo>
                      <a:pt x="39" y="121"/>
                    </a:lnTo>
                    <a:lnTo>
                      <a:pt x="39" y="119"/>
                    </a:lnTo>
                    <a:lnTo>
                      <a:pt x="37" y="119"/>
                    </a:lnTo>
                    <a:lnTo>
                      <a:pt x="37" y="118"/>
                    </a:lnTo>
                    <a:lnTo>
                      <a:pt x="35" y="118"/>
                    </a:lnTo>
                    <a:lnTo>
                      <a:pt x="35" y="116"/>
                    </a:lnTo>
                    <a:lnTo>
                      <a:pt x="35" y="114"/>
                    </a:lnTo>
                    <a:lnTo>
                      <a:pt x="34" y="114"/>
                    </a:lnTo>
                    <a:lnTo>
                      <a:pt x="34" y="112"/>
                    </a:lnTo>
                    <a:lnTo>
                      <a:pt x="32" y="111"/>
                    </a:lnTo>
                    <a:lnTo>
                      <a:pt x="34" y="111"/>
                    </a:lnTo>
                    <a:lnTo>
                      <a:pt x="32" y="111"/>
                    </a:lnTo>
                    <a:lnTo>
                      <a:pt x="32" y="109"/>
                    </a:lnTo>
                    <a:lnTo>
                      <a:pt x="30" y="109"/>
                    </a:lnTo>
                    <a:lnTo>
                      <a:pt x="29" y="109"/>
                    </a:lnTo>
                    <a:lnTo>
                      <a:pt x="29" y="107"/>
                    </a:lnTo>
                    <a:lnTo>
                      <a:pt x="30" y="107"/>
                    </a:lnTo>
                    <a:lnTo>
                      <a:pt x="29" y="107"/>
                    </a:lnTo>
                    <a:lnTo>
                      <a:pt x="29" y="106"/>
                    </a:lnTo>
                    <a:lnTo>
                      <a:pt x="30" y="106"/>
                    </a:lnTo>
                    <a:lnTo>
                      <a:pt x="30" y="104"/>
                    </a:lnTo>
                    <a:lnTo>
                      <a:pt x="29" y="104"/>
                    </a:lnTo>
                    <a:lnTo>
                      <a:pt x="29" y="102"/>
                    </a:lnTo>
                    <a:lnTo>
                      <a:pt x="30" y="102"/>
                    </a:lnTo>
                    <a:lnTo>
                      <a:pt x="30" y="101"/>
                    </a:lnTo>
                    <a:lnTo>
                      <a:pt x="29" y="101"/>
                    </a:lnTo>
                    <a:lnTo>
                      <a:pt x="29" y="99"/>
                    </a:lnTo>
                    <a:lnTo>
                      <a:pt x="27" y="99"/>
                    </a:lnTo>
                    <a:lnTo>
                      <a:pt x="29" y="99"/>
                    </a:lnTo>
                    <a:lnTo>
                      <a:pt x="29" y="97"/>
                    </a:lnTo>
                    <a:lnTo>
                      <a:pt x="27" y="97"/>
                    </a:lnTo>
                    <a:lnTo>
                      <a:pt x="27" y="99"/>
                    </a:lnTo>
                    <a:lnTo>
                      <a:pt x="27" y="97"/>
                    </a:lnTo>
                    <a:lnTo>
                      <a:pt x="25" y="97"/>
                    </a:lnTo>
                    <a:lnTo>
                      <a:pt x="25" y="95"/>
                    </a:lnTo>
                    <a:lnTo>
                      <a:pt x="27" y="95"/>
                    </a:lnTo>
                    <a:lnTo>
                      <a:pt x="27" y="94"/>
                    </a:lnTo>
                    <a:lnTo>
                      <a:pt x="25" y="92"/>
                    </a:lnTo>
                    <a:lnTo>
                      <a:pt x="27" y="92"/>
                    </a:lnTo>
                    <a:lnTo>
                      <a:pt x="27" y="90"/>
                    </a:lnTo>
                    <a:lnTo>
                      <a:pt x="25" y="90"/>
                    </a:lnTo>
                    <a:lnTo>
                      <a:pt x="27" y="90"/>
                    </a:lnTo>
                    <a:lnTo>
                      <a:pt x="25" y="89"/>
                    </a:lnTo>
                    <a:lnTo>
                      <a:pt x="25" y="90"/>
                    </a:lnTo>
                    <a:lnTo>
                      <a:pt x="23" y="90"/>
                    </a:lnTo>
                    <a:lnTo>
                      <a:pt x="22" y="90"/>
                    </a:lnTo>
                    <a:lnTo>
                      <a:pt x="22" y="89"/>
                    </a:lnTo>
                    <a:lnTo>
                      <a:pt x="22" y="90"/>
                    </a:lnTo>
                    <a:lnTo>
                      <a:pt x="20" y="90"/>
                    </a:lnTo>
                    <a:lnTo>
                      <a:pt x="18" y="90"/>
                    </a:lnTo>
                    <a:lnTo>
                      <a:pt x="17" y="90"/>
                    </a:lnTo>
                    <a:lnTo>
                      <a:pt x="15" y="90"/>
                    </a:lnTo>
                    <a:lnTo>
                      <a:pt x="13" y="90"/>
                    </a:lnTo>
                    <a:lnTo>
                      <a:pt x="13" y="89"/>
                    </a:lnTo>
                    <a:lnTo>
                      <a:pt x="13" y="87"/>
                    </a:lnTo>
                    <a:lnTo>
                      <a:pt x="13" y="85"/>
                    </a:lnTo>
                    <a:lnTo>
                      <a:pt x="15" y="85"/>
                    </a:lnTo>
                    <a:lnTo>
                      <a:pt x="15" y="84"/>
                    </a:lnTo>
                    <a:lnTo>
                      <a:pt x="13" y="84"/>
                    </a:lnTo>
                    <a:lnTo>
                      <a:pt x="12" y="84"/>
                    </a:lnTo>
                    <a:lnTo>
                      <a:pt x="12" y="82"/>
                    </a:lnTo>
                    <a:lnTo>
                      <a:pt x="10" y="82"/>
                    </a:lnTo>
                    <a:lnTo>
                      <a:pt x="10" y="80"/>
                    </a:lnTo>
                    <a:lnTo>
                      <a:pt x="8" y="80"/>
                    </a:lnTo>
                    <a:lnTo>
                      <a:pt x="8" y="78"/>
                    </a:lnTo>
                    <a:lnTo>
                      <a:pt x="8" y="77"/>
                    </a:lnTo>
                    <a:lnTo>
                      <a:pt x="6" y="77"/>
                    </a:lnTo>
                    <a:lnTo>
                      <a:pt x="6" y="75"/>
                    </a:lnTo>
                    <a:lnTo>
                      <a:pt x="6" y="73"/>
                    </a:lnTo>
                    <a:lnTo>
                      <a:pt x="5" y="73"/>
                    </a:lnTo>
                    <a:lnTo>
                      <a:pt x="5" y="72"/>
                    </a:lnTo>
                    <a:lnTo>
                      <a:pt x="3" y="72"/>
                    </a:lnTo>
                    <a:lnTo>
                      <a:pt x="3" y="70"/>
                    </a:lnTo>
                    <a:lnTo>
                      <a:pt x="1" y="70"/>
                    </a:lnTo>
                    <a:lnTo>
                      <a:pt x="1" y="68"/>
                    </a:lnTo>
                    <a:lnTo>
                      <a:pt x="1" y="67"/>
                    </a:lnTo>
                    <a:lnTo>
                      <a:pt x="1" y="65"/>
                    </a:lnTo>
                    <a:lnTo>
                      <a:pt x="0" y="63"/>
                    </a:lnTo>
                    <a:lnTo>
                      <a:pt x="1" y="63"/>
                    </a:lnTo>
                    <a:lnTo>
                      <a:pt x="1" y="61"/>
                    </a:lnTo>
                    <a:lnTo>
                      <a:pt x="1" y="60"/>
                    </a:lnTo>
                    <a:lnTo>
                      <a:pt x="3" y="60"/>
                    </a:lnTo>
                    <a:lnTo>
                      <a:pt x="3" y="58"/>
                    </a:lnTo>
                    <a:lnTo>
                      <a:pt x="5" y="58"/>
                    </a:lnTo>
                    <a:lnTo>
                      <a:pt x="5" y="56"/>
                    </a:lnTo>
                    <a:lnTo>
                      <a:pt x="3" y="56"/>
                    </a:lnTo>
                    <a:lnTo>
                      <a:pt x="3" y="55"/>
                    </a:lnTo>
                    <a:lnTo>
                      <a:pt x="5" y="55"/>
                    </a:lnTo>
                    <a:lnTo>
                      <a:pt x="5" y="53"/>
                    </a:lnTo>
                    <a:lnTo>
                      <a:pt x="5" y="51"/>
                    </a:lnTo>
                    <a:lnTo>
                      <a:pt x="6" y="51"/>
                    </a:lnTo>
                    <a:lnTo>
                      <a:pt x="6" y="50"/>
                    </a:lnTo>
                    <a:lnTo>
                      <a:pt x="6" y="48"/>
                    </a:lnTo>
                    <a:lnTo>
                      <a:pt x="8" y="48"/>
                    </a:lnTo>
                    <a:lnTo>
                      <a:pt x="8" y="46"/>
                    </a:lnTo>
                    <a:lnTo>
                      <a:pt x="8" y="44"/>
                    </a:lnTo>
                    <a:lnTo>
                      <a:pt x="6" y="44"/>
                    </a:lnTo>
                    <a:lnTo>
                      <a:pt x="6" y="43"/>
                    </a:lnTo>
                    <a:lnTo>
                      <a:pt x="5" y="43"/>
                    </a:lnTo>
                    <a:lnTo>
                      <a:pt x="5" y="41"/>
                    </a:lnTo>
                    <a:lnTo>
                      <a:pt x="5" y="39"/>
                    </a:lnTo>
                    <a:lnTo>
                      <a:pt x="6" y="39"/>
                    </a:lnTo>
                    <a:lnTo>
                      <a:pt x="6" y="38"/>
                    </a:lnTo>
                    <a:lnTo>
                      <a:pt x="8" y="38"/>
                    </a:lnTo>
                    <a:lnTo>
                      <a:pt x="10" y="38"/>
                    </a:lnTo>
                    <a:lnTo>
                      <a:pt x="10" y="36"/>
                    </a:lnTo>
                    <a:lnTo>
                      <a:pt x="12" y="36"/>
                    </a:lnTo>
                    <a:lnTo>
                      <a:pt x="12" y="34"/>
                    </a:lnTo>
                    <a:lnTo>
                      <a:pt x="13" y="34"/>
                    </a:lnTo>
                    <a:lnTo>
                      <a:pt x="15" y="36"/>
                    </a:lnTo>
                    <a:lnTo>
                      <a:pt x="15" y="34"/>
                    </a:lnTo>
                    <a:lnTo>
                      <a:pt x="17" y="34"/>
                    </a:lnTo>
                    <a:lnTo>
                      <a:pt x="18" y="34"/>
                    </a:lnTo>
                    <a:lnTo>
                      <a:pt x="20" y="36"/>
                    </a:lnTo>
                    <a:lnTo>
                      <a:pt x="20" y="34"/>
                    </a:lnTo>
                    <a:lnTo>
                      <a:pt x="22" y="34"/>
                    </a:lnTo>
                    <a:lnTo>
                      <a:pt x="22" y="36"/>
                    </a:lnTo>
                    <a:lnTo>
                      <a:pt x="22" y="34"/>
                    </a:lnTo>
                    <a:lnTo>
                      <a:pt x="23" y="34"/>
                    </a:lnTo>
                    <a:lnTo>
                      <a:pt x="25" y="34"/>
                    </a:lnTo>
                    <a:lnTo>
                      <a:pt x="27" y="34"/>
                    </a:lnTo>
                    <a:lnTo>
                      <a:pt x="27" y="32"/>
                    </a:lnTo>
                    <a:lnTo>
                      <a:pt x="25" y="32"/>
                    </a:lnTo>
                    <a:lnTo>
                      <a:pt x="25" y="31"/>
                    </a:lnTo>
                    <a:lnTo>
                      <a:pt x="25" y="29"/>
                    </a:lnTo>
                    <a:lnTo>
                      <a:pt x="27" y="29"/>
                    </a:lnTo>
                    <a:lnTo>
                      <a:pt x="29" y="29"/>
                    </a:lnTo>
                    <a:lnTo>
                      <a:pt x="29" y="31"/>
                    </a:lnTo>
                    <a:lnTo>
                      <a:pt x="29" y="29"/>
                    </a:lnTo>
                    <a:lnTo>
                      <a:pt x="30" y="29"/>
                    </a:lnTo>
                    <a:lnTo>
                      <a:pt x="30" y="27"/>
                    </a:lnTo>
                    <a:lnTo>
                      <a:pt x="29" y="27"/>
                    </a:lnTo>
                    <a:lnTo>
                      <a:pt x="29" y="26"/>
                    </a:lnTo>
                    <a:lnTo>
                      <a:pt x="27" y="26"/>
                    </a:lnTo>
                    <a:lnTo>
                      <a:pt x="27" y="27"/>
                    </a:lnTo>
                    <a:lnTo>
                      <a:pt x="27" y="26"/>
                    </a:lnTo>
                    <a:lnTo>
                      <a:pt x="27" y="24"/>
                    </a:lnTo>
                    <a:lnTo>
                      <a:pt x="25" y="24"/>
                    </a:lnTo>
                    <a:lnTo>
                      <a:pt x="25" y="22"/>
                    </a:lnTo>
                    <a:lnTo>
                      <a:pt x="27" y="22"/>
                    </a:lnTo>
                    <a:lnTo>
                      <a:pt x="27" y="21"/>
                    </a:lnTo>
                    <a:lnTo>
                      <a:pt x="27" y="19"/>
                    </a:lnTo>
                    <a:lnTo>
                      <a:pt x="29" y="17"/>
                    </a:lnTo>
                    <a:lnTo>
                      <a:pt x="29" y="15"/>
                    </a:lnTo>
                    <a:lnTo>
                      <a:pt x="30" y="14"/>
                    </a:lnTo>
                    <a:lnTo>
                      <a:pt x="30" y="12"/>
                    </a:lnTo>
                    <a:lnTo>
                      <a:pt x="32" y="12"/>
                    </a:lnTo>
                    <a:lnTo>
                      <a:pt x="32" y="10"/>
                    </a:lnTo>
                    <a:lnTo>
                      <a:pt x="32" y="9"/>
                    </a:lnTo>
                    <a:lnTo>
                      <a:pt x="32" y="7"/>
                    </a:lnTo>
                    <a:lnTo>
                      <a:pt x="34" y="5"/>
                    </a:lnTo>
                    <a:lnTo>
                      <a:pt x="34" y="4"/>
                    </a:lnTo>
                    <a:lnTo>
                      <a:pt x="34" y="2"/>
                    </a:lnTo>
                    <a:lnTo>
                      <a:pt x="35" y="2"/>
                    </a:lnTo>
                    <a:lnTo>
                      <a:pt x="37" y="2"/>
                    </a:lnTo>
                    <a:lnTo>
                      <a:pt x="37" y="0"/>
                    </a:lnTo>
                    <a:lnTo>
                      <a:pt x="39" y="0"/>
                    </a:lnTo>
                    <a:lnTo>
                      <a:pt x="39" y="2"/>
                    </a:lnTo>
                    <a:lnTo>
                      <a:pt x="40" y="2"/>
                    </a:lnTo>
                    <a:lnTo>
                      <a:pt x="42" y="2"/>
                    </a:lnTo>
                    <a:lnTo>
                      <a:pt x="44" y="2"/>
                    </a:lnTo>
                    <a:lnTo>
                      <a:pt x="46" y="2"/>
                    </a:lnTo>
                    <a:lnTo>
                      <a:pt x="47" y="2"/>
                    </a:lnTo>
                    <a:lnTo>
                      <a:pt x="49" y="2"/>
                    </a:lnTo>
                    <a:lnTo>
                      <a:pt x="49" y="4"/>
                    </a:lnTo>
                    <a:lnTo>
                      <a:pt x="51" y="4"/>
                    </a:lnTo>
                    <a:lnTo>
                      <a:pt x="52" y="4"/>
                    </a:lnTo>
                    <a:lnTo>
                      <a:pt x="54" y="4"/>
                    </a:lnTo>
                    <a:lnTo>
                      <a:pt x="56" y="4"/>
                    </a:lnTo>
                    <a:lnTo>
                      <a:pt x="57" y="4"/>
                    </a:lnTo>
                    <a:lnTo>
                      <a:pt x="59" y="5"/>
                    </a:lnTo>
                    <a:lnTo>
                      <a:pt x="61" y="5"/>
                    </a:lnTo>
                    <a:lnTo>
                      <a:pt x="63" y="5"/>
                    </a:lnTo>
                    <a:lnTo>
                      <a:pt x="64" y="5"/>
                    </a:lnTo>
                    <a:lnTo>
                      <a:pt x="66" y="5"/>
                    </a:lnTo>
                    <a:lnTo>
                      <a:pt x="66" y="7"/>
                    </a:lnTo>
                    <a:lnTo>
                      <a:pt x="68" y="7"/>
                    </a:lnTo>
                    <a:lnTo>
                      <a:pt x="69" y="7"/>
                    </a:lnTo>
                    <a:lnTo>
                      <a:pt x="71" y="7"/>
                    </a:lnTo>
                    <a:lnTo>
                      <a:pt x="73" y="7"/>
                    </a:lnTo>
                    <a:lnTo>
                      <a:pt x="71" y="5"/>
                    </a:lnTo>
                    <a:lnTo>
                      <a:pt x="71" y="4"/>
                    </a:lnTo>
                    <a:lnTo>
                      <a:pt x="73" y="4"/>
                    </a:lnTo>
                    <a:lnTo>
                      <a:pt x="73" y="2"/>
                    </a:lnTo>
                    <a:lnTo>
                      <a:pt x="74" y="2"/>
                    </a:lnTo>
                    <a:lnTo>
                      <a:pt x="76" y="2"/>
                    </a:lnTo>
                    <a:lnTo>
                      <a:pt x="78" y="2"/>
                    </a:lnTo>
                    <a:lnTo>
                      <a:pt x="80" y="2"/>
                    </a:lnTo>
                    <a:lnTo>
                      <a:pt x="81" y="2"/>
                    </a:lnTo>
                    <a:lnTo>
                      <a:pt x="83" y="0"/>
                    </a:lnTo>
                    <a:lnTo>
                      <a:pt x="85" y="2"/>
                    </a:lnTo>
                    <a:lnTo>
                      <a:pt x="86" y="2"/>
                    </a:lnTo>
                    <a:lnTo>
                      <a:pt x="88" y="2"/>
                    </a:lnTo>
                    <a:lnTo>
                      <a:pt x="90" y="2"/>
                    </a:lnTo>
                    <a:lnTo>
                      <a:pt x="91" y="2"/>
                    </a:lnTo>
                    <a:lnTo>
                      <a:pt x="93" y="2"/>
                    </a:lnTo>
                    <a:lnTo>
                      <a:pt x="93" y="4"/>
                    </a:lnTo>
                    <a:lnTo>
                      <a:pt x="95" y="4"/>
                    </a:lnTo>
                    <a:lnTo>
                      <a:pt x="97" y="4"/>
                    </a:lnTo>
                    <a:lnTo>
                      <a:pt x="98" y="4"/>
                    </a:lnTo>
                    <a:lnTo>
                      <a:pt x="100" y="5"/>
                    </a:lnTo>
                    <a:lnTo>
                      <a:pt x="102" y="5"/>
                    </a:lnTo>
                    <a:lnTo>
                      <a:pt x="103" y="5"/>
                    </a:lnTo>
                    <a:lnTo>
                      <a:pt x="102" y="4"/>
                    </a:lnTo>
                    <a:lnTo>
                      <a:pt x="100" y="4"/>
                    </a:lnTo>
                    <a:lnTo>
                      <a:pt x="98" y="4"/>
                    </a:lnTo>
                    <a:lnTo>
                      <a:pt x="98" y="2"/>
                    </a:lnTo>
                    <a:lnTo>
                      <a:pt x="100" y="2"/>
                    </a:lnTo>
                    <a:lnTo>
                      <a:pt x="102" y="2"/>
                    </a:lnTo>
                    <a:lnTo>
                      <a:pt x="103" y="0"/>
                    </a:lnTo>
                    <a:lnTo>
                      <a:pt x="103" y="2"/>
                    </a:lnTo>
                    <a:lnTo>
                      <a:pt x="105" y="2"/>
                    </a:lnTo>
                    <a:lnTo>
                      <a:pt x="107" y="2"/>
                    </a:lnTo>
                    <a:lnTo>
                      <a:pt x="108" y="2"/>
                    </a:lnTo>
                    <a:lnTo>
                      <a:pt x="110" y="2"/>
                    </a:lnTo>
                    <a:lnTo>
                      <a:pt x="112" y="2"/>
                    </a:lnTo>
                    <a:lnTo>
                      <a:pt x="114" y="2"/>
                    </a:lnTo>
                    <a:lnTo>
                      <a:pt x="115" y="2"/>
                    </a:lnTo>
                    <a:lnTo>
                      <a:pt x="117" y="2"/>
                    </a:lnTo>
                    <a:lnTo>
                      <a:pt x="119" y="2"/>
                    </a:lnTo>
                    <a:lnTo>
                      <a:pt x="120" y="2"/>
                    </a:lnTo>
                    <a:lnTo>
                      <a:pt x="120" y="4"/>
                    </a:lnTo>
                    <a:lnTo>
                      <a:pt x="122" y="4"/>
                    </a:lnTo>
                    <a:lnTo>
                      <a:pt x="124" y="4"/>
                    </a:lnTo>
                    <a:lnTo>
                      <a:pt x="125" y="4"/>
                    </a:lnTo>
                    <a:lnTo>
                      <a:pt x="127" y="4"/>
                    </a:lnTo>
                    <a:lnTo>
                      <a:pt x="129" y="4"/>
                    </a:lnTo>
                    <a:lnTo>
                      <a:pt x="129" y="5"/>
                    </a:lnTo>
                    <a:lnTo>
                      <a:pt x="131" y="5"/>
                    </a:lnTo>
                    <a:lnTo>
                      <a:pt x="132" y="5"/>
                    </a:lnTo>
                    <a:lnTo>
                      <a:pt x="134" y="5"/>
                    </a:lnTo>
                    <a:lnTo>
                      <a:pt x="136" y="5"/>
                    </a:lnTo>
                    <a:lnTo>
                      <a:pt x="136" y="7"/>
                    </a:lnTo>
                    <a:lnTo>
                      <a:pt x="137" y="7"/>
                    </a:lnTo>
                    <a:lnTo>
                      <a:pt x="137" y="9"/>
                    </a:lnTo>
                    <a:lnTo>
                      <a:pt x="137" y="10"/>
                    </a:lnTo>
                    <a:close/>
                    <a:moveTo>
                      <a:pt x="32" y="9"/>
                    </a:moveTo>
                    <a:lnTo>
                      <a:pt x="32" y="7"/>
                    </a:lnTo>
                    <a:lnTo>
                      <a:pt x="32" y="5"/>
                    </a:lnTo>
                    <a:lnTo>
                      <a:pt x="34" y="4"/>
                    </a:lnTo>
                    <a:lnTo>
                      <a:pt x="34" y="5"/>
                    </a:lnTo>
                    <a:lnTo>
                      <a:pt x="32" y="7"/>
                    </a:lnTo>
                    <a:lnTo>
                      <a:pt x="32" y="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7" name="Freeform 55">
                <a:extLst>
                  <a:ext uri="{FF2B5EF4-FFF2-40B4-BE49-F238E27FC236}">
                    <a16:creationId xmlns:a16="http://schemas.microsoft.com/office/drawing/2014/main" id="{058881AD-BEFA-0335-69BF-A8B5B4DEA6FC}"/>
                  </a:ext>
                </a:extLst>
              </p:cNvPr>
              <p:cNvSpPr>
                <a:spLocks noEditPoints="1"/>
              </p:cNvSpPr>
              <p:nvPr/>
            </p:nvSpPr>
            <p:spPr bwMode="auto">
              <a:xfrm>
                <a:off x="5764341" y="2833458"/>
                <a:ext cx="13512" cy="12925"/>
              </a:xfrm>
              <a:custGeom>
                <a:avLst/>
                <a:gdLst>
                  <a:gd name="T0" fmla="*/ 34 w 46"/>
                  <a:gd name="T1" fmla="*/ 17 h 44"/>
                  <a:gd name="T2" fmla="*/ 33 w 46"/>
                  <a:gd name="T3" fmla="*/ 21 h 44"/>
                  <a:gd name="T4" fmla="*/ 29 w 46"/>
                  <a:gd name="T5" fmla="*/ 22 h 44"/>
                  <a:gd name="T6" fmla="*/ 31 w 46"/>
                  <a:gd name="T7" fmla="*/ 26 h 44"/>
                  <a:gd name="T8" fmla="*/ 29 w 46"/>
                  <a:gd name="T9" fmla="*/ 29 h 44"/>
                  <a:gd name="T10" fmla="*/ 31 w 46"/>
                  <a:gd name="T11" fmla="*/ 32 h 44"/>
                  <a:gd name="T12" fmla="*/ 31 w 46"/>
                  <a:gd name="T13" fmla="*/ 36 h 44"/>
                  <a:gd name="T14" fmla="*/ 31 w 46"/>
                  <a:gd name="T15" fmla="*/ 41 h 44"/>
                  <a:gd name="T16" fmla="*/ 28 w 46"/>
                  <a:gd name="T17" fmla="*/ 43 h 44"/>
                  <a:gd name="T18" fmla="*/ 24 w 46"/>
                  <a:gd name="T19" fmla="*/ 44 h 44"/>
                  <a:gd name="T20" fmla="*/ 23 w 46"/>
                  <a:gd name="T21" fmla="*/ 44 h 44"/>
                  <a:gd name="T22" fmla="*/ 19 w 46"/>
                  <a:gd name="T23" fmla="*/ 44 h 44"/>
                  <a:gd name="T24" fmla="*/ 14 w 46"/>
                  <a:gd name="T25" fmla="*/ 44 h 44"/>
                  <a:gd name="T26" fmla="*/ 9 w 46"/>
                  <a:gd name="T27" fmla="*/ 44 h 44"/>
                  <a:gd name="T28" fmla="*/ 6 w 46"/>
                  <a:gd name="T29" fmla="*/ 43 h 44"/>
                  <a:gd name="T30" fmla="*/ 4 w 46"/>
                  <a:gd name="T31" fmla="*/ 43 h 44"/>
                  <a:gd name="T32" fmla="*/ 0 w 46"/>
                  <a:gd name="T33" fmla="*/ 44 h 44"/>
                  <a:gd name="T34" fmla="*/ 4 w 46"/>
                  <a:gd name="T35" fmla="*/ 43 h 44"/>
                  <a:gd name="T36" fmla="*/ 7 w 46"/>
                  <a:gd name="T37" fmla="*/ 41 h 44"/>
                  <a:gd name="T38" fmla="*/ 9 w 46"/>
                  <a:gd name="T39" fmla="*/ 38 h 44"/>
                  <a:gd name="T40" fmla="*/ 12 w 46"/>
                  <a:gd name="T41" fmla="*/ 38 h 44"/>
                  <a:gd name="T42" fmla="*/ 16 w 46"/>
                  <a:gd name="T43" fmla="*/ 36 h 44"/>
                  <a:gd name="T44" fmla="*/ 14 w 46"/>
                  <a:gd name="T45" fmla="*/ 32 h 44"/>
                  <a:gd name="T46" fmla="*/ 16 w 46"/>
                  <a:gd name="T47" fmla="*/ 27 h 44"/>
                  <a:gd name="T48" fmla="*/ 12 w 46"/>
                  <a:gd name="T49" fmla="*/ 24 h 44"/>
                  <a:gd name="T50" fmla="*/ 9 w 46"/>
                  <a:gd name="T51" fmla="*/ 24 h 44"/>
                  <a:gd name="T52" fmla="*/ 11 w 46"/>
                  <a:gd name="T53" fmla="*/ 21 h 44"/>
                  <a:gd name="T54" fmla="*/ 16 w 46"/>
                  <a:gd name="T55" fmla="*/ 19 h 44"/>
                  <a:gd name="T56" fmla="*/ 19 w 46"/>
                  <a:gd name="T57" fmla="*/ 19 h 44"/>
                  <a:gd name="T58" fmla="*/ 24 w 46"/>
                  <a:gd name="T59" fmla="*/ 19 h 44"/>
                  <a:gd name="T60" fmla="*/ 29 w 46"/>
                  <a:gd name="T61" fmla="*/ 17 h 44"/>
                  <a:gd name="T62" fmla="*/ 46 w 46"/>
                  <a:gd name="T63" fmla="*/ 2 h 44"/>
                  <a:gd name="T64" fmla="*/ 45 w 46"/>
                  <a:gd name="T65" fmla="*/ 5 h 44"/>
                  <a:gd name="T66" fmla="*/ 41 w 46"/>
                  <a:gd name="T67" fmla="*/ 7 h 44"/>
                  <a:gd name="T68" fmla="*/ 38 w 46"/>
                  <a:gd name="T69" fmla="*/ 7 h 44"/>
                  <a:gd name="T70" fmla="*/ 38 w 46"/>
                  <a:gd name="T71" fmla="*/ 7 h 44"/>
                  <a:gd name="T72" fmla="*/ 38 w 46"/>
                  <a:gd name="T73" fmla="*/ 4 h 44"/>
                  <a:gd name="T74" fmla="*/ 41 w 46"/>
                  <a:gd name="T75" fmla="*/ 2 h 44"/>
                  <a:gd name="T76" fmla="*/ 45 w 46"/>
                  <a:gd name="T77" fmla="*/ 0 h 44"/>
                  <a:gd name="T78" fmla="*/ 7 w 46"/>
                  <a:gd name="T79" fmla="*/ 22 h 44"/>
                  <a:gd name="T80" fmla="*/ 6 w 46"/>
                  <a:gd name="T81" fmla="*/ 22 h 44"/>
                  <a:gd name="T82" fmla="*/ 6 w 46"/>
                  <a:gd name="T83"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6" h="44">
                    <a:moveTo>
                      <a:pt x="31" y="17"/>
                    </a:moveTo>
                    <a:lnTo>
                      <a:pt x="33" y="17"/>
                    </a:lnTo>
                    <a:lnTo>
                      <a:pt x="34" y="17"/>
                    </a:lnTo>
                    <a:lnTo>
                      <a:pt x="34" y="19"/>
                    </a:lnTo>
                    <a:lnTo>
                      <a:pt x="33" y="19"/>
                    </a:lnTo>
                    <a:lnTo>
                      <a:pt x="33" y="21"/>
                    </a:lnTo>
                    <a:lnTo>
                      <a:pt x="31" y="21"/>
                    </a:lnTo>
                    <a:lnTo>
                      <a:pt x="31" y="22"/>
                    </a:lnTo>
                    <a:lnTo>
                      <a:pt x="29" y="22"/>
                    </a:lnTo>
                    <a:lnTo>
                      <a:pt x="29" y="24"/>
                    </a:lnTo>
                    <a:lnTo>
                      <a:pt x="29" y="26"/>
                    </a:lnTo>
                    <a:lnTo>
                      <a:pt x="31" y="26"/>
                    </a:lnTo>
                    <a:lnTo>
                      <a:pt x="31" y="27"/>
                    </a:lnTo>
                    <a:lnTo>
                      <a:pt x="31" y="29"/>
                    </a:lnTo>
                    <a:lnTo>
                      <a:pt x="29" y="29"/>
                    </a:lnTo>
                    <a:lnTo>
                      <a:pt x="29" y="31"/>
                    </a:lnTo>
                    <a:lnTo>
                      <a:pt x="29" y="32"/>
                    </a:lnTo>
                    <a:lnTo>
                      <a:pt x="31" y="32"/>
                    </a:lnTo>
                    <a:lnTo>
                      <a:pt x="31" y="34"/>
                    </a:lnTo>
                    <a:lnTo>
                      <a:pt x="33" y="34"/>
                    </a:lnTo>
                    <a:lnTo>
                      <a:pt x="31" y="36"/>
                    </a:lnTo>
                    <a:lnTo>
                      <a:pt x="31" y="38"/>
                    </a:lnTo>
                    <a:lnTo>
                      <a:pt x="31" y="39"/>
                    </a:lnTo>
                    <a:lnTo>
                      <a:pt x="31" y="41"/>
                    </a:lnTo>
                    <a:lnTo>
                      <a:pt x="29" y="41"/>
                    </a:lnTo>
                    <a:lnTo>
                      <a:pt x="29" y="43"/>
                    </a:lnTo>
                    <a:lnTo>
                      <a:pt x="28" y="43"/>
                    </a:lnTo>
                    <a:lnTo>
                      <a:pt x="26" y="43"/>
                    </a:lnTo>
                    <a:lnTo>
                      <a:pt x="26" y="44"/>
                    </a:lnTo>
                    <a:lnTo>
                      <a:pt x="24" y="44"/>
                    </a:lnTo>
                    <a:lnTo>
                      <a:pt x="23" y="44"/>
                    </a:lnTo>
                    <a:lnTo>
                      <a:pt x="23" y="43"/>
                    </a:lnTo>
                    <a:lnTo>
                      <a:pt x="23" y="44"/>
                    </a:lnTo>
                    <a:lnTo>
                      <a:pt x="21" y="43"/>
                    </a:lnTo>
                    <a:lnTo>
                      <a:pt x="21" y="44"/>
                    </a:lnTo>
                    <a:lnTo>
                      <a:pt x="19" y="44"/>
                    </a:lnTo>
                    <a:lnTo>
                      <a:pt x="17" y="44"/>
                    </a:lnTo>
                    <a:lnTo>
                      <a:pt x="16" y="44"/>
                    </a:lnTo>
                    <a:lnTo>
                      <a:pt x="14" y="44"/>
                    </a:lnTo>
                    <a:lnTo>
                      <a:pt x="12" y="44"/>
                    </a:lnTo>
                    <a:lnTo>
                      <a:pt x="11" y="44"/>
                    </a:lnTo>
                    <a:lnTo>
                      <a:pt x="9" y="44"/>
                    </a:lnTo>
                    <a:lnTo>
                      <a:pt x="7" y="44"/>
                    </a:lnTo>
                    <a:lnTo>
                      <a:pt x="7" y="43"/>
                    </a:lnTo>
                    <a:lnTo>
                      <a:pt x="6" y="43"/>
                    </a:lnTo>
                    <a:lnTo>
                      <a:pt x="6" y="44"/>
                    </a:lnTo>
                    <a:lnTo>
                      <a:pt x="4" y="44"/>
                    </a:lnTo>
                    <a:lnTo>
                      <a:pt x="4" y="43"/>
                    </a:lnTo>
                    <a:lnTo>
                      <a:pt x="4" y="44"/>
                    </a:lnTo>
                    <a:lnTo>
                      <a:pt x="2" y="44"/>
                    </a:lnTo>
                    <a:lnTo>
                      <a:pt x="0" y="44"/>
                    </a:lnTo>
                    <a:lnTo>
                      <a:pt x="0" y="43"/>
                    </a:lnTo>
                    <a:lnTo>
                      <a:pt x="2" y="43"/>
                    </a:lnTo>
                    <a:lnTo>
                      <a:pt x="4" y="43"/>
                    </a:lnTo>
                    <a:lnTo>
                      <a:pt x="4" y="41"/>
                    </a:lnTo>
                    <a:lnTo>
                      <a:pt x="6" y="41"/>
                    </a:lnTo>
                    <a:lnTo>
                      <a:pt x="7" y="41"/>
                    </a:lnTo>
                    <a:lnTo>
                      <a:pt x="7" y="39"/>
                    </a:lnTo>
                    <a:lnTo>
                      <a:pt x="9" y="39"/>
                    </a:lnTo>
                    <a:lnTo>
                      <a:pt x="9" y="38"/>
                    </a:lnTo>
                    <a:lnTo>
                      <a:pt x="11" y="38"/>
                    </a:lnTo>
                    <a:lnTo>
                      <a:pt x="12" y="39"/>
                    </a:lnTo>
                    <a:lnTo>
                      <a:pt x="12" y="38"/>
                    </a:lnTo>
                    <a:lnTo>
                      <a:pt x="14" y="38"/>
                    </a:lnTo>
                    <a:lnTo>
                      <a:pt x="16" y="38"/>
                    </a:lnTo>
                    <a:lnTo>
                      <a:pt x="16" y="36"/>
                    </a:lnTo>
                    <a:lnTo>
                      <a:pt x="16" y="34"/>
                    </a:lnTo>
                    <a:lnTo>
                      <a:pt x="14" y="34"/>
                    </a:lnTo>
                    <a:lnTo>
                      <a:pt x="14" y="32"/>
                    </a:lnTo>
                    <a:lnTo>
                      <a:pt x="14" y="31"/>
                    </a:lnTo>
                    <a:lnTo>
                      <a:pt x="16" y="29"/>
                    </a:lnTo>
                    <a:lnTo>
                      <a:pt x="16" y="27"/>
                    </a:lnTo>
                    <a:lnTo>
                      <a:pt x="14" y="26"/>
                    </a:lnTo>
                    <a:lnTo>
                      <a:pt x="14" y="24"/>
                    </a:lnTo>
                    <a:lnTo>
                      <a:pt x="12" y="24"/>
                    </a:lnTo>
                    <a:lnTo>
                      <a:pt x="11" y="22"/>
                    </a:lnTo>
                    <a:lnTo>
                      <a:pt x="11" y="24"/>
                    </a:lnTo>
                    <a:lnTo>
                      <a:pt x="9" y="24"/>
                    </a:lnTo>
                    <a:lnTo>
                      <a:pt x="9" y="22"/>
                    </a:lnTo>
                    <a:lnTo>
                      <a:pt x="9" y="21"/>
                    </a:lnTo>
                    <a:lnTo>
                      <a:pt x="11" y="21"/>
                    </a:lnTo>
                    <a:lnTo>
                      <a:pt x="12" y="21"/>
                    </a:lnTo>
                    <a:lnTo>
                      <a:pt x="14" y="21"/>
                    </a:lnTo>
                    <a:lnTo>
                      <a:pt x="16" y="19"/>
                    </a:lnTo>
                    <a:lnTo>
                      <a:pt x="16" y="21"/>
                    </a:lnTo>
                    <a:lnTo>
                      <a:pt x="17" y="19"/>
                    </a:lnTo>
                    <a:lnTo>
                      <a:pt x="19" y="19"/>
                    </a:lnTo>
                    <a:lnTo>
                      <a:pt x="21" y="19"/>
                    </a:lnTo>
                    <a:lnTo>
                      <a:pt x="23" y="19"/>
                    </a:lnTo>
                    <a:lnTo>
                      <a:pt x="24" y="19"/>
                    </a:lnTo>
                    <a:lnTo>
                      <a:pt x="26" y="19"/>
                    </a:lnTo>
                    <a:lnTo>
                      <a:pt x="28" y="19"/>
                    </a:lnTo>
                    <a:lnTo>
                      <a:pt x="29" y="17"/>
                    </a:lnTo>
                    <a:lnTo>
                      <a:pt x="31" y="17"/>
                    </a:lnTo>
                    <a:close/>
                    <a:moveTo>
                      <a:pt x="46" y="0"/>
                    </a:moveTo>
                    <a:lnTo>
                      <a:pt x="46" y="2"/>
                    </a:lnTo>
                    <a:lnTo>
                      <a:pt x="46" y="4"/>
                    </a:lnTo>
                    <a:lnTo>
                      <a:pt x="45" y="4"/>
                    </a:lnTo>
                    <a:lnTo>
                      <a:pt x="45" y="5"/>
                    </a:lnTo>
                    <a:lnTo>
                      <a:pt x="43" y="5"/>
                    </a:lnTo>
                    <a:lnTo>
                      <a:pt x="41" y="5"/>
                    </a:lnTo>
                    <a:lnTo>
                      <a:pt x="41" y="7"/>
                    </a:lnTo>
                    <a:lnTo>
                      <a:pt x="40" y="5"/>
                    </a:lnTo>
                    <a:lnTo>
                      <a:pt x="40" y="7"/>
                    </a:lnTo>
                    <a:lnTo>
                      <a:pt x="38" y="7"/>
                    </a:lnTo>
                    <a:lnTo>
                      <a:pt x="36" y="7"/>
                    </a:lnTo>
                    <a:lnTo>
                      <a:pt x="36" y="5"/>
                    </a:lnTo>
                    <a:lnTo>
                      <a:pt x="38" y="7"/>
                    </a:lnTo>
                    <a:lnTo>
                      <a:pt x="36" y="5"/>
                    </a:lnTo>
                    <a:lnTo>
                      <a:pt x="38" y="5"/>
                    </a:lnTo>
                    <a:lnTo>
                      <a:pt x="38" y="4"/>
                    </a:lnTo>
                    <a:lnTo>
                      <a:pt x="40" y="4"/>
                    </a:lnTo>
                    <a:lnTo>
                      <a:pt x="41" y="4"/>
                    </a:lnTo>
                    <a:lnTo>
                      <a:pt x="41" y="2"/>
                    </a:lnTo>
                    <a:lnTo>
                      <a:pt x="43" y="2"/>
                    </a:lnTo>
                    <a:lnTo>
                      <a:pt x="45" y="2"/>
                    </a:lnTo>
                    <a:lnTo>
                      <a:pt x="45" y="0"/>
                    </a:lnTo>
                    <a:lnTo>
                      <a:pt x="46" y="2"/>
                    </a:lnTo>
                    <a:lnTo>
                      <a:pt x="46" y="0"/>
                    </a:lnTo>
                    <a:close/>
                    <a:moveTo>
                      <a:pt x="7" y="22"/>
                    </a:moveTo>
                    <a:lnTo>
                      <a:pt x="9" y="22"/>
                    </a:lnTo>
                    <a:lnTo>
                      <a:pt x="7" y="22"/>
                    </a:lnTo>
                    <a:close/>
                    <a:moveTo>
                      <a:pt x="6" y="22"/>
                    </a:moveTo>
                    <a:lnTo>
                      <a:pt x="6" y="24"/>
                    </a:lnTo>
                    <a:lnTo>
                      <a:pt x="6" y="22"/>
                    </a:lnTo>
                    <a:close/>
                    <a:moveTo>
                      <a:pt x="6" y="22"/>
                    </a:moveTo>
                    <a:lnTo>
                      <a:pt x="7" y="22"/>
                    </a:lnTo>
                    <a:lnTo>
                      <a:pt x="6" y="2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9" name="Freeform 57">
                <a:extLst>
                  <a:ext uri="{FF2B5EF4-FFF2-40B4-BE49-F238E27FC236}">
                    <a16:creationId xmlns:a16="http://schemas.microsoft.com/office/drawing/2014/main" id="{77F6F645-CED9-0C71-FBF4-B8875F1EEAC5}"/>
                  </a:ext>
                </a:extLst>
              </p:cNvPr>
              <p:cNvSpPr>
                <a:spLocks noEditPoints="1"/>
              </p:cNvSpPr>
              <p:nvPr/>
            </p:nvSpPr>
            <p:spPr bwMode="auto">
              <a:xfrm>
                <a:off x="5798423" y="3260229"/>
                <a:ext cx="53457" cy="57570"/>
              </a:xfrm>
              <a:custGeom>
                <a:avLst/>
                <a:gdLst>
                  <a:gd name="T0" fmla="*/ 167 w 182"/>
                  <a:gd name="T1" fmla="*/ 153 h 196"/>
                  <a:gd name="T2" fmla="*/ 162 w 182"/>
                  <a:gd name="T3" fmla="*/ 163 h 196"/>
                  <a:gd name="T4" fmla="*/ 156 w 182"/>
                  <a:gd name="T5" fmla="*/ 172 h 196"/>
                  <a:gd name="T6" fmla="*/ 146 w 182"/>
                  <a:gd name="T7" fmla="*/ 182 h 196"/>
                  <a:gd name="T8" fmla="*/ 134 w 182"/>
                  <a:gd name="T9" fmla="*/ 187 h 196"/>
                  <a:gd name="T10" fmla="*/ 128 w 182"/>
                  <a:gd name="T11" fmla="*/ 190 h 196"/>
                  <a:gd name="T12" fmla="*/ 117 w 182"/>
                  <a:gd name="T13" fmla="*/ 192 h 196"/>
                  <a:gd name="T14" fmla="*/ 107 w 182"/>
                  <a:gd name="T15" fmla="*/ 192 h 196"/>
                  <a:gd name="T16" fmla="*/ 100 w 182"/>
                  <a:gd name="T17" fmla="*/ 187 h 196"/>
                  <a:gd name="T18" fmla="*/ 87 w 182"/>
                  <a:gd name="T19" fmla="*/ 189 h 196"/>
                  <a:gd name="T20" fmla="*/ 78 w 182"/>
                  <a:gd name="T21" fmla="*/ 192 h 196"/>
                  <a:gd name="T22" fmla="*/ 70 w 182"/>
                  <a:gd name="T23" fmla="*/ 189 h 196"/>
                  <a:gd name="T24" fmla="*/ 63 w 182"/>
                  <a:gd name="T25" fmla="*/ 185 h 196"/>
                  <a:gd name="T26" fmla="*/ 53 w 182"/>
                  <a:gd name="T27" fmla="*/ 180 h 196"/>
                  <a:gd name="T28" fmla="*/ 44 w 182"/>
                  <a:gd name="T29" fmla="*/ 173 h 196"/>
                  <a:gd name="T30" fmla="*/ 32 w 182"/>
                  <a:gd name="T31" fmla="*/ 173 h 196"/>
                  <a:gd name="T32" fmla="*/ 24 w 182"/>
                  <a:gd name="T33" fmla="*/ 173 h 196"/>
                  <a:gd name="T34" fmla="*/ 19 w 182"/>
                  <a:gd name="T35" fmla="*/ 168 h 196"/>
                  <a:gd name="T36" fmla="*/ 9 w 182"/>
                  <a:gd name="T37" fmla="*/ 161 h 196"/>
                  <a:gd name="T38" fmla="*/ 2 w 182"/>
                  <a:gd name="T39" fmla="*/ 151 h 196"/>
                  <a:gd name="T40" fmla="*/ 0 w 182"/>
                  <a:gd name="T41" fmla="*/ 134 h 196"/>
                  <a:gd name="T42" fmla="*/ 5 w 182"/>
                  <a:gd name="T43" fmla="*/ 119 h 196"/>
                  <a:gd name="T44" fmla="*/ 14 w 182"/>
                  <a:gd name="T45" fmla="*/ 112 h 196"/>
                  <a:gd name="T46" fmla="*/ 10 w 182"/>
                  <a:gd name="T47" fmla="*/ 100 h 196"/>
                  <a:gd name="T48" fmla="*/ 10 w 182"/>
                  <a:gd name="T49" fmla="*/ 90 h 196"/>
                  <a:gd name="T50" fmla="*/ 10 w 182"/>
                  <a:gd name="T51" fmla="*/ 82 h 196"/>
                  <a:gd name="T52" fmla="*/ 10 w 182"/>
                  <a:gd name="T53" fmla="*/ 70 h 196"/>
                  <a:gd name="T54" fmla="*/ 17 w 182"/>
                  <a:gd name="T55" fmla="*/ 56 h 196"/>
                  <a:gd name="T56" fmla="*/ 17 w 182"/>
                  <a:gd name="T57" fmla="*/ 48 h 196"/>
                  <a:gd name="T58" fmla="*/ 20 w 182"/>
                  <a:gd name="T59" fmla="*/ 36 h 196"/>
                  <a:gd name="T60" fmla="*/ 22 w 182"/>
                  <a:gd name="T61" fmla="*/ 25 h 196"/>
                  <a:gd name="T62" fmla="*/ 22 w 182"/>
                  <a:gd name="T63" fmla="*/ 13 h 196"/>
                  <a:gd name="T64" fmla="*/ 29 w 182"/>
                  <a:gd name="T65" fmla="*/ 5 h 196"/>
                  <a:gd name="T66" fmla="*/ 34 w 182"/>
                  <a:gd name="T67" fmla="*/ 7 h 196"/>
                  <a:gd name="T68" fmla="*/ 41 w 182"/>
                  <a:gd name="T69" fmla="*/ 7 h 196"/>
                  <a:gd name="T70" fmla="*/ 51 w 182"/>
                  <a:gd name="T71" fmla="*/ 0 h 196"/>
                  <a:gd name="T72" fmla="*/ 61 w 182"/>
                  <a:gd name="T73" fmla="*/ 5 h 196"/>
                  <a:gd name="T74" fmla="*/ 66 w 182"/>
                  <a:gd name="T75" fmla="*/ 10 h 196"/>
                  <a:gd name="T76" fmla="*/ 70 w 182"/>
                  <a:gd name="T77" fmla="*/ 15 h 196"/>
                  <a:gd name="T78" fmla="*/ 77 w 182"/>
                  <a:gd name="T79" fmla="*/ 19 h 196"/>
                  <a:gd name="T80" fmla="*/ 82 w 182"/>
                  <a:gd name="T81" fmla="*/ 25 h 196"/>
                  <a:gd name="T82" fmla="*/ 88 w 182"/>
                  <a:gd name="T83" fmla="*/ 36 h 196"/>
                  <a:gd name="T84" fmla="*/ 95 w 182"/>
                  <a:gd name="T85" fmla="*/ 34 h 196"/>
                  <a:gd name="T86" fmla="*/ 100 w 182"/>
                  <a:gd name="T87" fmla="*/ 32 h 196"/>
                  <a:gd name="T88" fmla="*/ 105 w 182"/>
                  <a:gd name="T89" fmla="*/ 39 h 196"/>
                  <a:gd name="T90" fmla="*/ 109 w 182"/>
                  <a:gd name="T91" fmla="*/ 46 h 196"/>
                  <a:gd name="T92" fmla="*/ 117 w 182"/>
                  <a:gd name="T93" fmla="*/ 48 h 196"/>
                  <a:gd name="T94" fmla="*/ 124 w 182"/>
                  <a:gd name="T95" fmla="*/ 53 h 196"/>
                  <a:gd name="T96" fmla="*/ 134 w 182"/>
                  <a:gd name="T97" fmla="*/ 56 h 196"/>
                  <a:gd name="T98" fmla="*/ 143 w 182"/>
                  <a:gd name="T99" fmla="*/ 68 h 196"/>
                  <a:gd name="T100" fmla="*/ 151 w 182"/>
                  <a:gd name="T101" fmla="*/ 71 h 196"/>
                  <a:gd name="T102" fmla="*/ 158 w 182"/>
                  <a:gd name="T103" fmla="*/ 78 h 196"/>
                  <a:gd name="T104" fmla="*/ 162 w 182"/>
                  <a:gd name="T105" fmla="*/ 85 h 196"/>
                  <a:gd name="T106" fmla="*/ 168 w 182"/>
                  <a:gd name="T107" fmla="*/ 93 h 196"/>
                  <a:gd name="T108" fmla="*/ 175 w 182"/>
                  <a:gd name="T109" fmla="*/ 99 h 196"/>
                  <a:gd name="T110" fmla="*/ 179 w 182"/>
                  <a:gd name="T111" fmla="*/ 105 h 196"/>
                  <a:gd name="T112" fmla="*/ 170 w 182"/>
                  <a:gd name="T113" fmla="*/ 119 h 196"/>
                  <a:gd name="T114" fmla="*/ 168 w 182"/>
                  <a:gd name="T115" fmla="*/ 129 h 196"/>
                  <a:gd name="T116" fmla="*/ 168 w 182"/>
                  <a:gd name="T117" fmla="*/ 143 h 196"/>
                  <a:gd name="T118" fmla="*/ 71 w 182"/>
                  <a:gd name="T119" fmla="*/ 187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2" h="196">
                    <a:moveTo>
                      <a:pt x="172" y="144"/>
                    </a:moveTo>
                    <a:lnTo>
                      <a:pt x="172" y="146"/>
                    </a:lnTo>
                    <a:lnTo>
                      <a:pt x="170" y="146"/>
                    </a:lnTo>
                    <a:lnTo>
                      <a:pt x="170" y="148"/>
                    </a:lnTo>
                    <a:lnTo>
                      <a:pt x="168" y="150"/>
                    </a:lnTo>
                    <a:lnTo>
                      <a:pt x="168" y="151"/>
                    </a:lnTo>
                    <a:lnTo>
                      <a:pt x="168" y="153"/>
                    </a:lnTo>
                    <a:lnTo>
                      <a:pt x="167" y="153"/>
                    </a:lnTo>
                    <a:lnTo>
                      <a:pt x="167" y="155"/>
                    </a:lnTo>
                    <a:lnTo>
                      <a:pt x="167" y="156"/>
                    </a:lnTo>
                    <a:lnTo>
                      <a:pt x="167" y="158"/>
                    </a:lnTo>
                    <a:lnTo>
                      <a:pt x="165" y="158"/>
                    </a:lnTo>
                    <a:lnTo>
                      <a:pt x="163" y="160"/>
                    </a:lnTo>
                    <a:lnTo>
                      <a:pt x="163" y="161"/>
                    </a:lnTo>
                    <a:lnTo>
                      <a:pt x="162" y="161"/>
                    </a:lnTo>
                    <a:lnTo>
                      <a:pt x="162" y="163"/>
                    </a:lnTo>
                    <a:lnTo>
                      <a:pt x="160" y="163"/>
                    </a:lnTo>
                    <a:lnTo>
                      <a:pt x="160" y="165"/>
                    </a:lnTo>
                    <a:lnTo>
                      <a:pt x="158" y="167"/>
                    </a:lnTo>
                    <a:lnTo>
                      <a:pt x="158" y="168"/>
                    </a:lnTo>
                    <a:lnTo>
                      <a:pt x="160" y="170"/>
                    </a:lnTo>
                    <a:lnTo>
                      <a:pt x="158" y="170"/>
                    </a:lnTo>
                    <a:lnTo>
                      <a:pt x="158" y="172"/>
                    </a:lnTo>
                    <a:lnTo>
                      <a:pt x="156" y="172"/>
                    </a:lnTo>
                    <a:lnTo>
                      <a:pt x="155" y="173"/>
                    </a:lnTo>
                    <a:lnTo>
                      <a:pt x="153" y="173"/>
                    </a:lnTo>
                    <a:lnTo>
                      <a:pt x="151" y="175"/>
                    </a:lnTo>
                    <a:lnTo>
                      <a:pt x="150" y="177"/>
                    </a:lnTo>
                    <a:lnTo>
                      <a:pt x="148" y="178"/>
                    </a:lnTo>
                    <a:lnTo>
                      <a:pt x="148" y="180"/>
                    </a:lnTo>
                    <a:lnTo>
                      <a:pt x="146" y="180"/>
                    </a:lnTo>
                    <a:lnTo>
                      <a:pt x="146" y="182"/>
                    </a:lnTo>
                    <a:lnTo>
                      <a:pt x="145" y="182"/>
                    </a:lnTo>
                    <a:lnTo>
                      <a:pt x="143" y="182"/>
                    </a:lnTo>
                    <a:lnTo>
                      <a:pt x="141" y="184"/>
                    </a:lnTo>
                    <a:lnTo>
                      <a:pt x="139" y="184"/>
                    </a:lnTo>
                    <a:lnTo>
                      <a:pt x="139" y="185"/>
                    </a:lnTo>
                    <a:lnTo>
                      <a:pt x="138" y="185"/>
                    </a:lnTo>
                    <a:lnTo>
                      <a:pt x="136" y="185"/>
                    </a:lnTo>
                    <a:lnTo>
                      <a:pt x="134" y="187"/>
                    </a:lnTo>
                    <a:lnTo>
                      <a:pt x="133" y="187"/>
                    </a:lnTo>
                    <a:lnTo>
                      <a:pt x="133" y="189"/>
                    </a:lnTo>
                    <a:lnTo>
                      <a:pt x="131" y="189"/>
                    </a:lnTo>
                    <a:lnTo>
                      <a:pt x="129" y="189"/>
                    </a:lnTo>
                    <a:lnTo>
                      <a:pt x="129" y="190"/>
                    </a:lnTo>
                    <a:lnTo>
                      <a:pt x="129" y="189"/>
                    </a:lnTo>
                    <a:lnTo>
                      <a:pt x="129" y="190"/>
                    </a:lnTo>
                    <a:lnTo>
                      <a:pt x="128" y="190"/>
                    </a:lnTo>
                    <a:lnTo>
                      <a:pt x="126" y="190"/>
                    </a:lnTo>
                    <a:lnTo>
                      <a:pt x="124" y="192"/>
                    </a:lnTo>
                    <a:lnTo>
                      <a:pt x="122" y="192"/>
                    </a:lnTo>
                    <a:lnTo>
                      <a:pt x="121" y="194"/>
                    </a:lnTo>
                    <a:lnTo>
                      <a:pt x="119" y="196"/>
                    </a:lnTo>
                    <a:lnTo>
                      <a:pt x="119" y="194"/>
                    </a:lnTo>
                    <a:lnTo>
                      <a:pt x="119" y="192"/>
                    </a:lnTo>
                    <a:lnTo>
                      <a:pt x="117" y="192"/>
                    </a:lnTo>
                    <a:lnTo>
                      <a:pt x="116" y="192"/>
                    </a:lnTo>
                    <a:lnTo>
                      <a:pt x="116" y="190"/>
                    </a:lnTo>
                    <a:lnTo>
                      <a:pt x="114" y="190"/>
                    </a:lnTo>
                    <a:lnTo>
                      <a:pt x="112" y="190"/>
                    </a:lnTo>
                    <a:lnTo>
                      <a:pt x="112" y="192"/>
                    </a:lnTo>
                    <a:lnTo>
                      <a:pt x="111" y="192"/>
                    </a:lnTo>
                    <a:lnTo>
                      <a:pt x="109" y="192"/>
                    </a:lnTo>
                    <a:lnTo>
                      <a:pt x="107" y="192"/>
                    </a:lnTo>
                    <a:lnTo>
                      <a:pt x="109" y="190"/>
                    </a:lnTo>
                    <a:lnTo>
                      <a:pt x="107" y="190"/>
                    </a:lnTo>
                    <a:lnTo>
                      <a:pt x="107" y="189"/>
                    </a:lnTo>
                    <a:lnTo>
                      <a:pt x="105" y="189"/>
                    </a:lnTo>
                    <a:lnTo>
                      <a:pt x="104" y="189"/>
                    </a:lnTo>
                    <a:lnTo>
                      <a:pt x="104" y="187"/>
                    </a:lnTo>
                    <a:lnTo>
                      <a:pt x="102" y="187"/>
                    </a:lnTo>
                    <a:lnTo>
                      <a:pt x="100" y="187"/>
                    </a:lnTo>
                    <a:lnTo>
                      <a:pt x="99" y="187"/>
                    </a:lnTo>
                    <a:lnTo>
                      <a:pt x="97" y="187"/>
                    </a:lnTo>
                    <a:lnTo>
                      <a:pt x="95" y="187"/>
                    </a:lnTo>
                    <a:lnTo>
                      <a:pt x="94" y="187"/>
                    </a:lnTo>
                    <a:lnTo>
                      <a:pt x="92" y="187"/>
                    </a:lnTo>
                    <a:lnTo>
                      <a:pt x="90" y="187"/>
                    </a:lnTo>
                    <a:lnTo>
                      <a:pt x="88" y="187"/>
                    </a:lnTo>
                    <a:lnTo>
                      <a:pt x="87" y="189"/>
                    </a:lnTo>
                    <a:lnTo>
                      <a:pt x="85" y="189"/>
                    </a:lnTo>
                    <a:lnTo>
                      <a:pt x="85" y="190"/>
                    </a:lnTo>
                    <a:lnTo>
                      <a:pt x="83" y="190"/>
                    </a:lnTo>
                    <a:lnTo>
                      <a:pt x="82" y="192"/>
                    </a:lnTo>
                    <a:lnTo>
                      <a:pt x="80" y="192"/>
                    </a:lnTo>
                    <a:lnTo>
                      <a:pt x="78" y="192"/>
                    </a:lnTo>
                    <a:lnTo>
                      <a:pt x="78" y="194"/>
                    </a:lnTo>
                    <a:lnTo>
                      <a:pt x="78" y="192"/>
                    </a:lnTo>
                    <a:lnTo>
                      <a:pt x="77" y="192"/>
                    </a:lnTo>
                    <a:lnTo>
                      <a:pt x="77" y="190"/>
                    </a:lnTo>
                    <a:lnTo>
                      <a:pt x="75" y="190"/>
                    </a:lnTo>
                    <a:lnTo>
                      <a:pt x="75" y="192"/>
                    </a:lnTo>
                    <a:lnTo>
                      <a:pt x="73" y="192"/>
                    </a:lnTo>
                    <a:lnTo>
                      <a:pt x="71" y="190"/>
                    </a:lnTo>
                    <a:lnTo>
                      <a:pt x="70" y="190"/>
                    </a:lnTo>
                    <a:lnTo>
                      <a:pt x="70" y="189"/>
                    </a:lnTo>
                    <a:lnTo>
                      <a:pt x="71" y="187"/>
                    </a:lnTo>
                    <a:lnTo>
                      <a:pt x="70" y="187"/>
                    </a:lnTo>
                    <a:lnTo>
                      <a:pt x="70" y="185"/>
                    </a:lnTo>
                    <a:lnTo>
                      <a:pt x="68" y="185"/>
                    </a:lnTo>
                    <a:lnTo>
                      <a:pt x="66" y="185"/>
                    </a:lnTo>
                    <a:lnTo>
                      <a:pt x="65" y="187"/>
                    </a:lnTo>
                    <a:lnTo>
                      <a:pt x="65" y="185"/>
                    </a:lnTo>
                    <a:lnTo>
                      <a:pt x="63" y="185"/>
                    </a:lnTo>
                    <a:lnTo>
                      <a:pt x="61" y="185"/>
                    </a:lnTo>
                    <a:lnTo>
                      <a:pt x="61" y="184"/>
                    </a:lnTo>
                    <a:lnTo>
                      <a:pt x="60" y="184"/>
                    </a:lnTo>
                    <a:lnTo>
                      <a:pt x="58" y="184"/>
                    </a:lnTo>
                    <a:lnTo>
                      <a:pt x="56" y="184"/>
                    </a:lnTo>
                    <a:lnTo>
                      <a:pt x="54" y="182"/>
                    </a:lnTo>
                    <a:lnTo>
                      <a:pt x="53" y="182"/>
                    </a:lnTo>
                    <a:lnTo>
                      <a:pt x="53" y="180"/>
                    </a:lnTo>
                    <a:lnTo>
                      <a:pt x="51" y="180"/>
                    </a:lnTo>
                    <a:lnTo>
                      <a:pt x="51" y="178"/>
                    </a:lnTo>
                    <a:lnTo>
                      <a:pt x="49" y="177"/>
                    </a:lnTo>
                    <a:lnTo>
                      <a:pt x="48" y="177"/>
                    </a:lnTo>
                    <a:lnTo>
                      <a:pt x="48" y="175"/>
                    </a:lnTo>
                    <a:lnTo>
                      <a:pt x="46" y="175"/>
                    </a:lnTo>
                    <a:lnTo>
                      <a:pt x="46" y="173"/>
                    </a:lnTo>
                    <a:lnTo>
                      <a:pt x="44" y="173"/>
                    </a:lnTo>
                    <a:lnTo>
                      <a:pt x="43" y="173"/>
                    </a:lnTo>
                    <a:lnTo>
                      <a:pt x="41" y="173"/>
                    </a:lnTo>
                    <a:lnTo>
                      <a:pt x="39" y="173"/>
                    </a:lnTo>
                    <a:lnTo>
                      <a:pt x="37" y="173"/>
                    </a:lnTo>
                    <a:lnTo>
                      <a:pt x="37" y="172"/>
                    </a:lnTo>
                    <a:lnTo>
                      <a:pt x="36" y="173"/>
                    </a:lnTo>
                    <a:lnTo>
                      <a:pt x="34" y="173"/>
                    </a:lnTo>
                    <a:lnTo>
                      <a:pt x="32" y="173"/>
                    </a:lnTo>
                    <a:lnTo>
                      <a:pt x="31" y="173"/>
                    </a:lnTo>
                    <a:lnTo>
                      <a:pt x="31" y="172"/>
                    </a:lnTo>
                    <a:lnTo>
                      <a:pt x="29" y="173"/>
                    </a:lnTo>
                    <a:lnTo>
                      <a:pt x="27" y="173"/>
                    </a:lnTo>
                    <a:lnTo>
                      <a:pt x="26" y="173"/>
                    </a:lnTo>
                    <a:lnTo>
                      <a:pt x="24" y="173"/>
                    </a:lnTo>
                    <a:lnTo>
                      <a:pt x="24" y="175"/>
                    </a:lnTo>
                    <a:lnTo>
                      <a:pt x="24" y="173"/>
                    </a:lnTo>
                    <a:lnTo>
                      <a:pt x="22" y="175"/>
                    </a:lnTo>
                    <a:lnTo>
                      <a:pt x="20" y="175"/>
                    </a:lnTo>
                    <a:lnTo>
                      <a:pt x="22" y="173"/>
                    </a:lnTo>
                    <a:lnTo>
                      <a:pt x="20" y="173"/>
                    </a:lnTo>
                    <a:lnTo>
                      <a:pt x="20" y="172"/>
                    </a:lnTo>
                    <a:lnTo>
                      <a:pt x="20" y="170"/>
                    </a:lnTo>
                    <a:lnTo>
                      <a:pt x="19" y="170"/>
                    </a:lnTo>
                    <a:lnTo>
                      <a:pt x="19" y="168"/>
                    </a:lnTo>
                    <a:lnTo>
                      <a:pt x="17" y="168"/>
                    </a:lnTo>
                    <a:lnTo>
                      <a:pt x="17" y="167"/>
                    </a:lnTo>
                    <a:lnTo>
                      <a:pt x="15" y="165"/>
                    </a:lnTo>
                    <a:lnTo>
                      <a:pt x="14" y="165"/>
                    </a:lnTo>
                    <a:lnTo>
                      <a:pt x="14" y="163"/>
                    </a:lnTo>
                    <a:lnTo>
                      <a:pt x="12" y="161"/>
                    </a:lnTo>
                    <a:lnTo>
                      <a:pt x="10" y="161"/>
                    </a:lnTo>
                    <a:lnTo>
                      <a:pt x="9" y="161"/>
                    </a:lnTo>
                    <a:lnTo>
                      <a:pt x="9" y="160"/>
                    </a:lnTo>
                    <a:lnTo>
                      <a:pt x="9" y="158"/>
                    </a:lnTo>
                    <a:lnTo>
                      <a:pt x="7" y="156"/>
                    </a:lnTo>
                    <a:lnTo>
                      <a:pt x="7" y="155"/>
                    </a:lnTo>
                    <a:lnTo>
                      <a:pt x="5" y="155"/>
                    </a:lnTo>
                    <a:lnTo>
                      <a:pt x="5" y="153"/>
                    </a:lnTo>
                    <a:lnTo>
                      <a:pt x="3" y="153"/>
                    </a:lnTo>
                    <a:lnTo>
                      <a:pt x="2" y="151"/>
                    </a:lnTo>
                    <a:lnTo>
                      <a:pt x="2" y="150"/>
                    </a:lnTo>
                    <a:lnTo>
                      <a:pt x="2" y="148"/>
                    </a:lnTo>
                    <a:lnTo>
                      <a:pt x="2" y="146"/>
                    </a:lnTo>
                    <a:lnTo>
                      <a:pt x="0" y="144"/>
                    </a:lnTo>
                    <a:lnTo>
                      <a:pt x="0" y="143"/>
                    </a:lnTo>
                    <a:lnTo>
                      <a:pt x="0" y="138"/>
                    </a:lnTo>
                    <a:lnTo>
                      <a:pt x="0" y="136"/>
                    </a:lnTo>
                    <a:lnTo>
                      <a:pt x="0" y="134"/>
                    </a:lnTo>
                    <a:lnTo>
                      <a:pt x="0" y="131"/>
                    </a:lnTo>
                    <a:lnTo>
                      <a:pt x="2" y="129"/>
                    </a:lnTo>
                    <a:lnTo>
                      <a:pt x="2" y="127"/>
                    </a:lnTo>
                    <a:lnTo>
                      <a:pt x="3" y="127"/>
                    </a:lnTo>
                    <a:lnTo>
                      <a:pt x="3" y="126"/>
                    </a:lnTo>
                    <a:lnTo>
                      <a:pt x="3" y="121"/>
                    </a:lnTo>
                    <a:lnTo>
                      <a:pt x="3" y="119"/>
                    </a:lnTo>
                    <a:lnTo>
                      <a:pt x="5" y="119"/>
                    </a:lnTo>
                    <a:lnTo>
                      <a:pt x="7" y="119"/>
                    </a:lnTo>
                    <a:lnTo>
                      <a:pt x="9" y="119"/>
                    </a:lnTo>
                    <a:lnTo>
                      <a:pt x="10" y="117"/>
                    </a:lnTo>
                    <a:lnTo>
                      <a:pt x="12" y="117"/>
                    </a:lnTo>
                    <a:lnTo>
                      <a:pt x="12" y="116"/>
                    </a:lnTo>
                    <a:lnTo>
                      <a:pt x="14" y="116"/>
                    </a:lnTo>
                    <a:lnTo>
                      <a:pt x="14" y="114"/>
                    </a:lnTo>
                    <a:lnTo>
                      <a:pt x="14" y="112"/>
                    </a:lnTo>
                    <a:lnTo>
                      <a:pt x="12" y="110"/>
                    </a:lnTo>
                    <a:lnTo>
                      <a:pt x="12" y="109"/>
                    </a:lnTo>
                    <a:lnTo>
                      <a:pt x="12" y="107"/>
                    </a:lnTo>
                    <a:lnTo>
                      <a:pt x="12" y="105"/>
                    </a:lnTo>
                    <a:lnTo>
                      <a:pt x="12" y="104"/>
                    </a:lnTo>
                    <a:lnTo>
                      <a:pt x="12" y="102"/>
                    </a:lnTo>
                    <a:lnTo>
                      <a:pt x="12" y="100"/>
                    </a:lnTo>
                    <a:lnTo>
                      <a:pt x="10" y="100"/>
                    </a:lnTo>
                    <a:lnTo>
                      <a:pt x="12" y="100"/>
                    </a:lnTo>
                    <a:lnTo>
                      <a:pt x="10" y="99"/>
                    </a:lnTo>
                    <a:lnTo>
                      <a:pt x="10" y="97"/>
                    </a:lnTo>
                    <a:lnTo>
                      <a:pt x="10" y="95"/>
                    </a:lnTo>
                    <a:lnTo>
                      <a:pt x="10" y="93"/>
                    </a:lnTo>
                    <a:lnTo>
                      <a:pt x="9" y="93"/>
                    </a:lnTo>
                    <a:lnTo>
                      <a:pt x="10" y="92"/>
                    </a:lnTo>
                    <a:lnTo>
                      <a:pt x="10" y="90"/>
                    </a:lnTo>
                    <a:lnTo>
                      <a:pt x="10" y="88"/>
                    </a:lnTo>
                    <a:lnTo>
                      <a:pt x="12" y="88"/>
                    </a:lnTo>
                    <a:lnTo>
                      <a:pt x="12" y="87"/>
                    </a:lnTo>
                    <a:lnTo>
                      <a:pt x="14" y="87"/>
                    </a:lnTo>
                    <a:lnTo>
                      <a:pt x="14" y="85"/>
                    </a:lnTo>
                    <a:lnTo>
                      <a:pt x="12" y="85"/>
                    </a:lnTo>
                    <a:lnTo>
                      <a:pt x="12" y="83"/>
                    </a:lnTo>
                    <a:lnTo>
                      <a:pt x="10" y="82"/>
                    </a:lnTo>
                    <a:lnTo>
                      <a:pt x="10" y="80"/>
                    </a:lnTo>
                    <a:lnTo>
                      <a:pt x="10" y="78"/>
                    </a:lnTo>
                    <a:lnTo>
                      <a:pt x="12" y="78"/>
                    </a:lnTo>
                    <a:lnTo>
                      <a:pt x="12" y="76"/>
                    </a:lnTo>
                    <a:lnTo>
                      <a:pt x="12" y="75"/>
                    </a:lnTo>
                    <a:lnTo>
                      <a:pt x="10" y="73"/>
                    </a:lnTo>
                    <a:lnTo>
                      <a:pt x="10" y="71"/>
                    </a:lnTo>
                    <a:lnTo>
                      <a:pt x="10" y="70"/>
                    </a:lnTo>
                    <a:lnTo>
                      <a:pt x="10" y="68"/>
                    </a:lnTo>
                    <a:lnTo>
                      <a:pt x="12" y="68"/>
                    </a:lnTo>
                    <a:lnTo>
                      <a:pt x="14" y="68"/>
                    </a:lnTo>
                    <a:lnTo>
                      <a:pt x="15" y="65"/>
                    </a:lnTo>
                    <a:lnTo>
                      <a:pt x="15" y="63"/>
                    </a:lnTo>
                    <a:lnTo>
                      <a:pt x="17" y="59"/>
                    </a:lnTo>
                    <a:lnTo>
                      <a:pt x="17" y="58"/>
                    </a:lnTo>
                    <a:lnTo>
                      <a:pt x="17" y="56"/>
                    </a:lnTo>
                    <a:lnTo>
                      <a:pt x="15" y="56"/>
                    </a:lnTo>
                    <a:lnTo>
                      <a:pt x="15" y="54"/>
                    </a:lnTo>
                    <a:lnTo>
                      <a:pt x="14" y="54"/>
                    </a:lnTo>
                    <a:lnTo>
                      <a:pt x="14" y="53"/>
                    </a:lnTo>
                    <a:lnTo>
                      <a:pt x="15" y="51"/>
                    </a:lnTo>
                    <a:lnTo>
                      <a:pt x="17" y="51"/>
                    </a:lnTo>
                    <a:lnTo>
                      <a:pt x="17" y="49"/>
                    </a:lnTo>
                    <a:lnTo>
                      <a:pt x="17" y="48"/>
                    </a:lnTo>
                    <a:lnTo>
                      <a:pt x="19" y="46"/>
                    </a:lnTo>
                    <a:lnTo>
                      <a:pt x="19" y="44"/>
                    </a:lnTo>
                    <a:lnTo>
                      <a:pt x="19" y="42"/>
                    </a:lnTo>
                    <a:lnTo>
                      <a:pt x="19" y="41"/>
                    </a:lnTo>
                    <a:lnTo>
                      <a:pt x="19" y="39"/>
                    </a:lnTo>
                    <a:lnTo>
                      <a:pt x="20" y="39"/>
                    </a:lnTo>
                    <a:lnTo>
                      <a:pt x="20" y="37"/>
                    </a:lnTo>
                    <a:lnTo>
                      <a:pt x="20" y="36"/>
                    </a:lnTo>
                    <a:lnTo>
                      <a:pt x="20" y="34"/>
                    </a:lnTo>
                    <a:lnTo>
                      <a:pt x="19" y="34"/>
                    </a:lnTo>
                    <a:lnTo>
                      <a:pt x="19" y="32"/>
                    </a:lnTo>
                    <a:lnTo>
                      <a:pt x="20" y="32"/>
                    </a:lnTo>
                    <a:lnTo>
                      <a:pt x="22" y="32"/>
                    </a:lnTo>
                    <a:lnTo>
                      <a:pt x="22" y="31"/>
                    </a:lnTo>
                    <a:lnTo>
                      <a:pt x="22" y="27"/>
                    </a:lnTo>
                    <a:lnTo>
                      <a:pt x="22" y="25"/>
                    </a:lnTo>
                    <a:lnTo>
                      <a:pt x="22" y="24"/>
                    </a:lnTo>
                    <a:lnTo>
                      <a:pt x="22" y="22"/>
                    </a:lnTo>
                    <a:lnTo>
                      <a:pt x="22" y="20"/>
                    </a:lnTo>
                    <a:lnTo>
                      <a:pt x="20" y="19"/>
                    </a:lnTo>
                    <a:lnTo>
                      <a:pt x="20" y="17"/>
                    </a:lnTo>
                    <a:lnTo>
                      <a:pt x="20" y="15"/>
                    </a:lnTo>
                    <a:lnTo>
                      <a:pt x="20" y="13"/>
                    </a:lnTo>
                    <a:lnTo>
                      <a:pt x="22" y="13"/>
                    </a:lnTo>
                    <a:lnTo>
                      <a:pt x="24" y="13"/>
                    </a:lnTo>
                    <a:lnTo>
                      <a:pt x="24" y="12"/>
                    </a:lnTo>
                    <a:lnTo>
                      <a:pt x="26" y="12"/>
                    </a:lnTo>
                    <a:lnTo>
                      <a:pt x="27" y="10"/>
                    </a:lnTo>
                    <a:lnTo>
                      <a:pt x="29" y="10"/>
                    </a:lnTo>
                    <a:lnTo>
                      <a:pt x="29" y="8"/>
                    </a:lnTo>
                    <a:lnTo>
                      <a:pt x="29" y="7"/>
                    </a:lnTo>
                    <a:lnTo>
                      <a:pt x="29" y="5"/>
                    </a:lnTo>
                    <a:lnTo>
                      <a:pt x="29" y="3"/>
                    </a:lnTo>
                    <a:lnTo>
                      <a:pt x="27" y="3"/>
                    </a:lnTo>
                    <a:lnTo>
                      <a:pt x="29" y="3"/>
                    </a:lnTo>
                    <a:lnTo>
                      <a:pt x="31" y="3"/>
                    </a:lnTo>
                    <a:lnTo>
                      <a:pt x="31" y="5"/>
                    </a:lnTo>
                    <a:lnTo>
                      <a:pt x="31" y="7"/>
                    </a:lnTo>
                    <a:lnTo>
                      <a:pt x="32" y="7"/>
                    </a:lnTo>
                    <a:lnTo>
                      <a:pt x="34" y="7"/>
                    </a:lnTo>
                    <a:lnTo>
                      <a:pt x="36" y="7"/>
                    </a:lnTo>
                    <a:lnTo>
                      <a:pt x="36" y="8"/>
                    </a:lnTo>
                    <a:lnTo>
                      <a:pt x="37" y="8"/>
                    </a:lnTo>
                    <a:lnTo>
                      <a:pt x="37" y="7"/>
                    </a:lnTo>
                    <a:lnTo>
                      <a:pt x="39" y="7"/>
                    </a:lnTo>
                    <a:lnTo>
                      <a:pt x="39" y="5"/>
                    </a:lnTo>
                    <a:lnTo>
                      <a:pt x="39" y="7"/>
                    </a:lnTo>
                    <a:lnTo>
                      <a:pt x="41" y="7"/>
                    </a:lnTo>
                    <a:lnTo>
                      <a:pt x="43" y="7"/>
                    </a:lnTo>
                    <a:lnTo>
                      <a:pt x="44" y="5"/>
                    </a:lnTo>
                    <a:lnTo>
                      <a:pt x="44" y="3"/>
                    </a:lnTo>
                    <a:lnTo>
                      <a:pt x="46" y="2"/>
                    </a:lnTo>
                    <a:lnTo>
                      <a:pt x="46" y="0"/>
                    </a:lnTo>
                    <a:lnTo>
                      <a:pt x="48" y="0"/>
                    </a:lnTo>
                    <a:lnTo>
                      <a:pt x="49" y="0"/>
                    </a:lnTo>
                    <a:lnTo>
                      <a:pt x="51" y="0"/>
                    </a:lnTo>
                    <a:lnTo>
                      <a:pt x="53" y="0"/>
                    </a:lnTo>
                    <a:lnTo>
                      <a:pt x="54" y="0"/>
                    </a:lnTo>
                    <a:lnTo>
                      <a:pt x="56" y="0"/>
                    </a:lnTo>
                    <a:lnTo>
                      <a:pt x="58" y="0"/>
                    </a:lnTo>
                    <a:lnTo>
                      <a:pt x="58" y="2"/>
                    </a:lnTo>
                    <a:lnTo>
                      <a:pt x="60" y="3"/>
                    </a:lnTo>
                    <a:lnTo>
                      <a:pt x="61" y="3"/>
                    </a:lnTo>
                    <a:lnTo>
                      <a:pt x="61" y="5"/>
                    </a:lnTo>
                    <a:lnTo>
                      <a:pt x="63" y="5"/>
                    </a:lnTo>
                    <a:lnTo>
                      <a:pt x="63" y="7"/>
                    </a:lnTo>
                    <a:lnTo>
                      <a:pt x="65" y="7"/>
                    </a:lnTo>
                    <a:lnTo>
                      <a:pt x="65" y="8"/>
                    </a:lnTo>
                    <a:lnTo>
                      <a:pt x="66" y="8"/>
                    </a:lnTo>
                    <a:lnTo>
                      <a:pt x="65" y="8"/>
                    </a:lnTo>
                    <a:lnTo>
                      <a:pt x="65" y="10"/>
                    </a:lnTo>
                    <a:lnTo>
                      <a:pt x="66" y="10"/>
                    </a:lnTo>
                    <a:lnTo>
                      <a:pt x="66" y="12"/>
                    </a:lnTo>
                    <a:lnTo>
                      <a:pt x="68" y="12"/>
                    </a:lnTo>
                    <a:lnTo>
                      <a:pt x="68" y="10"/>
                    </a:lnTo>
                    <a:lnTo>
                      <a:pt x="68" y="12"/>
                    </a:lnTo>
                    <a:lnTo>
                      <a:pt x="70" y="13"/>
                    </a:lnTo>
                    <a:lnTo>
                      <a:pt x="70" y="12"/>
                    </a:lnTo>
                    <a:lnTo>
                      <a:pt x="70" y="13"/>
                    </a:lnTo>
                    <a:lnTo>
                      <a:pt x="70" y="15"/>
                    </a:lnTo>
                    <a:lnTo>
                      <a:pt x="71" y="15"/>
                    </a:lnTo>
                    <a:lnTo>
                      <a:pt x="73" y="15"/>
                    </a:lnTo>
                    <a:lnTo>
                      <a:pt x="73" y="17"/>
                    </a:lnTo>
                    <a:lnTo>
                      <a:pt x="75" y="17"/>
                    </a:lnTo>
                    <a:lnTo>
                      <a:pt x="75" y="19"/>
                    </a:lnTo>
                    <a:lnTo>
                      <a:pt x="77" y="19"/>
                    </a:lnTo>
                    <a:lnTo>
                      <a:pt x="77" y="20"/>
                    </a:lnTo>
                    <a:lnTo>
                      <a:pt x="77" y="19"/>
                    </a:lnTo>
                    <a:lnTo>
                      <a:pt x="78" y="20"/>
                    </a:lnTo>
                    <a:lnTo>
                      <a:pt x="78" y="22"/>
                    </a:lnTo>
                    <a:lnTo>
                      <a:pt x="78" y="24"/>
                    </a:lnTo>
                    <a:lnTo>
                      <a:pt x="80" y="24"/>
                    </a:lnTo>
                    <a:lnTo>
                      <a:pt x="80" y="25"/>
                    </a:lnTo>
                    <a:lnTo>
                      <a:pt x="80" y="24"/>
                    </a:lnTo>
                    <a:lnTo>
                      <a:pt x="80" y="25"/>
                    </a:lnTo>
                    <a:lnTo>
                      <a:pt x="82" y="25"/>
                    </a:lnTo>
                    <a:lnTo>
                      <a:pt x="83" y="27"/>
                    </a:lnTo>
                    <a:lnTo>
                      <a:pt x="83" y="29"/>
                    </a:lnTo>
                    <a:lnTo>
                      <a:pt x="85" y="31"/>
                    </a:lnTo>
                    <a:lnTo>
                      <a:pt x="85" y="32"/>
                    </a:lnTo>
                    <a:lnTo>
                      <a:pt x="87" y="32"/>
                    </a:lnTo>
                    <a:lnTo>
                      <a:pt x="87" y="34"/>
                    </a:lnTo>
                    <a:lnTo>
                      <a:pt x="88" y="34"/>
                    </a:lnTo>
                    <a:lnTo>
                      <a:pt x="88" y="36"/>
                    </a:lnTo>
                    <a:lnTo>
                      <a:pt x="90" y="36"/>
                    </a:lnTo>
                    <a:lnTo>
                      <a:pt x="92" y="36"/>
                    </a:lnTo>
                    <a:lnTo>
                      <a:pt x="92" y="34"/>
                    </a:lnTo>
                    <a:lnTo>
                      <a:pt x="94" y="34"/>
                    </a:lnTo>
                    <a:lnTo>
                      <a:pt x="94" y="32"/>
                    </a:lnTo>
                    <a:lnTo>
                      <a:pt x="94" y="34"/>
                    </a:lnTo>
                    <a:lnTo>
                      <a:pt x="94" y="32"/>
                    </a:lnTo>
                    <a:lnTo>
                      <a:pt x="95" y="34"/>
                    </a:lnTo>
                    <a:lnTo>
                      <a:pt x="95" y="32"/>
                    </a:lnTo>
                    <a:lnTo>
                      <a:pt x="95" y="31"/>
                    </a:lnTo>
                    <a:lnTo>
                      <a:pt x="95" y="29"/>
                    </a:lnTo>
                    <a:lnTo>
                      <a:pt x="97" y="29"/>
                    </a:lnTo>
                    <a:lnTo>
                      <a:pt x="99" y="29"/>
                    </a:lnTo>
                    <a:lnTo>
                      <a:pt x="99" y="31"/>
                    </a:lnTo>
                    <a:lnTo>
                      <a:pt x="100" y="31"/>
                    </a:lnTo>
                    <a:lnTo>
                      <a:pt x="100" y="32"/>
                    </a:lnTo>
                    <a:lnTo>
                      <a:pt x="102" y="32"/>
                    </a:lnTo>
                    <a:lnTo>
                      <a:pt x="102" y="34"/>
                    </a:lnTo>
                    <a:lnTo>
                      <a:pt x="104" y="34"/>
                    </a:lnTo>
                    <a:lnTo>
                      <a:pt x="102" y="36"/>
                    </a:lnTo>
                    <a:lnTo>
                      <a:pt x="104" y="36"/>
                    </a:lnTo>
                    <a:lnTo>
                      <a:pt x="105" y="36"/>
                    </a:lnTo>
                    <a:lnTo>
                      <a:pt x="105" y="37"/>
                    </a:lnTo>
                    <a:lnTo>
                      <a:pt x="105" y="39"/>
                    </a:lnTo>
                    <a:lnTo>
                      <a:pt x="107" y="39"/>
                    </a:lnTo>
                    <a:lnTo>
                      <a:pt x="105" y="41"/>
                    </a:lnTo>
                    <a:lnTo>
                      <a:pt x="107" y="41"/>
                    </a:lnTo>
                    <a:lnTo>
                      <a:pt x="109" y="42"/>
                    </a:lnTo>
                    <a:lnTo>
                      <a:pt x="107" y="42"/>
                    </a:lnTo>
                    <a:lnTo>
                      <a:pt x="109" y="42"/>
                    </a:lnTo>
                    <a:lnTo>
                      <a:pt x="109" y="44"/>
                    </a:lnTo>
                    <a:lnTo>
                      <a:pt x="109" y="46"/>
                    </a:lnTo>
                    <a:lnTo>
                      <a:pt x="111" y="46"/>
                    </a:lnTo>
                    <a:lnTo>
                      <a:pt x="112" y="46"/>
                    </a:lnTo>
                    <a:lnTo>
                      <a:pt x="112" y="48"/>
                    </a:lnTo>
                    <a:lnTo>
                      <a:pt x="114" y="48"/>
                    </a:lnTo>
                    <a:lnTo>
                      <a:pt x="116" y="48"/>
                    </a:lnTo>
                    <a:lnTo>
                      <a:pt x="116" y="46"/>
                    </a:lnTo>
                    <a:lnTo>
                      <a:pt x="117" y="46"/>
                    </a:lnTo>
                    <a:lnTo>
                      <a:pt x="117" y="48"/>
                    </a:lnTo>
                    <a:lnTo>
                      <a:pt x="119" y="48"/>
                    </a:lnTo>
                    <a:lnTo>
                      <a:pt x="119" y="49"/>
                    </a:lnTo>
                    <a:lnTo>
                      <a:pt x="119" y="51"/>
                    </a:lnTo>
                    <a:lnTo>
                      <a:pt x="121" y="51"/>
                    </a:lnTo>
                    <a:lnTo>
                      <a:pt x="121" y="49"/>
                    </a:lnTo>
                    <a:lnTo>
                      <a:pt x="122" y="51"/>
                    </a:lnTo>
                    <a:lnTo>
                      <a:pt x="122" y="53"/>
                    </a:lnTo>
                    <a:lnTo>
                      <a:pt x="124" y="53"/>
                    </a:lnTo>
                    <a:lnTo>
                      <a:pt x="126" y="53"/>
                    </a:lnTo>
                    <a:lnTo>
                      <a:pt x="126" y="51"/>
                    </a:lnTo>
                    <a:lnTo>
                      <a:pt x="128" y="53"/>
                    </a:lnTo>
                    <a:lnTo>
                      <a:pt x="129" y="53"/>
                    </a:lnTo>
                    <a:lnTo>
                      <a:pt x="131" y="53"/>
                    </a:lnTo>
                    <a:lnTo>
                      <a:pt x="133" y="54"/>
                    </a:lnTo>
                    <a:lnTo>
                      <a:pt x="134" y="54"/>
                    </a:lnTo>
                    <a:lnTo>
                      <a:pt x="134" y="56"/>
                    </a:lnTo>
                    <a:lnTo>
                      <a:pt x="134" y="58"/>
                    </a:lnTo>
                    <a:lnTo>
                      <a:pt x="136" y="58"/>
                    </a:lnTo>
                    <a:lnTo>
                      <a:pt x="136" y="59"/>
                    </a:lnTo>
                    <a:lnTo>
                      <a:pt x="136" y="61"/>
                    </a:lnTo>
                    <a:lnTo>
                      <a:pt x="139" y="65"/>
                    </a:lnTo>
                    <a:lnTo>
                      <a:pt x="141" y="66"/>
                    </a:lnTo>
                    <a:lnTo>
                      <a:pt x="143" y="66"/>
                    </a:lnTo>
                    <a:lnTo>
                      <a:pt x="143" y="68"/>
                    </a:lnTo>
                    <a:lnTo>
                      <a:pt x="145" y="68"/>
                    </a:lnTo>
                    <a:lnTo>
                      <a:pt x="145" y="70"/>
                    </a:lnTo>
                    <a:lnTo>
                      <a:pt x="146" y="70"/>
                    </a:lnTo>
                    <a:lnTo>
                      <a:pt x="146" y="71"/>
                    </a:lnTo>
                    <a:lnTo>
                      <a:pt x="148" y="71"/>
                    </a:lnTo>
                    <a:lnTo>
                      <a:pt x="150" y="71"/>
                    </a:lnTo>
                    <a:lnTo>
                      <a:pt x="150" y="70"/>
                    </a:lnTo>
                    <a:lnTo>
                      <a:pt x="151" y="71"/>
                    </a:lnTo>
                    <a:lnTo>
                      <a:pt x="153" y="71"/>
                    </a:lnTo>
                    <a:lnTo>
                      <a:pt x="151" y="71"/>
                    </a:lnTo>
                    <a:lnTo>
                      <a:pt x="153" y="73"/>
                    </a:lnTo>
                    <a:lnTo>
                      <a:pt x="155" y="73"/>
                    </a:lnTo>
                    <a:lnTo>
                      <a:pt x="155" y="75"/>
                    </a:lnTo>
                    <a:lnTo>
                      <a:pt x="156" y="75"/>
                    </a:lnTo>
                    <a:lnTo>
                      <a:pt x="156" y="76"/>
                    </a:lnTo>
                    <a:lnTo>
                      <a:pt x="158" y="78"/>
                    </a:lnTo>
                    <a:lnTo>
                      <a:pt x="158" y="76"/>
                    </a:lnTo>
                    <a:lnTo>
                      <a:pt x="160" y="78"/>
                    </a:lnTo>
                    <a:lnTo>
                      <a:pt x="160" y="80"/>
                    </a:lnTo>
                    <a:lnTo>
                      <a:pt x="162" y="80"/>
                    </a:lnTo>
                    <a:lnTo>
                      <a:pt x="160" y="82"/>
                    </a:lnTo>
                    <a:lnTo>
                      <a:pt x="162" y="82"/>
                    </a:lnTo>
                    <a:lnTo>
                      <a:pt x="162" y="83"/>
                    </a:lnTo>
                    <a:lnTo>
                      <a:pt x="162" y="85"/>
                    </a:lnTo>
                    <a:lnTo>
                      <a:pt x="163" y="85"/>
                    </a:lnTo>
                    <a:lnTo>
                      <a:pt x="163" y="87"/>
                    </a:lnTo>
                    <a:lnTo>
                      <a:pt x="163" y="88"/>
                    </a:lnTo>
                    <a:lnTo>
                      <a:pt x="163" y="90"/>
                    </a:lnTo>
                    <a:lnTo>
                      <a:pt x="165" y="90"/>
                    </a:lnTo>
                    <a:lnTo>
                      <a:pt x="165" y="92"/>
                    </a:lnTo>
                    <a:lnTo>
                      <a:pt x="167" y="93"/>
                    </a:lnTo>
                    <a:lnTo>
                      <a:pt x="168" y="93"/>
                    </a:lnTo>
                    <a:lnTo>
                      <a:pt x="170" y="93"/>
                    </a:lnTo>
                    <a:lnTo>
                      <a:pt x="170" y="95"/>
                    </a:lnTo>
                    <a:lnTo>
                      <a:pt x="170" y="97"/>
                    </a:lnTo>
                    <a:lnTo>
                      <a:pt x="172" y="97"/>
                    </a:lnTo>
                    <a:lnTo>
                      <a:pt x="172" y="99"/>
                    </a:lnTo>
                    <a:lnTo>
                      <a:pt x="172" y="97"/>
                    </a:lnTo>
                    <a:lnTo>
                      <a:pt x="173" y="99"/>
                    </a:lnTo>
                    <a:lnTo>
                      <a:pt x="175" y="99"/>
                    </a:lnTo>
                    <a:lnTo>
                      <a:pt x="177" y="99"/>
                    </a:lnTo>
                    <a:lnTo>
                      <a:pt x="177" y="100"/>
                    </a:lnTo>
                    <a:lnTo>
                      <a:pt x="179" y="100"/>
                    </a:lnTo>
                    <a:lnTo>
                      <a:pt x="179" y="102"/>
                    </a:lnTo>
                    <a:lnTo>
                      <a:pt x="182" y="104"/>
                    </a:lnTo>
                    <a:lnTo>
                      <a:pt x="180" y="104"/>
                    </a:lnTo>
                    <a:lnTo>
                      <a:pt x="180" y="105"/>
                    </a:lnTo>
                    <a:lnTo>
                      <a:pt x="179" y="105"/>
                    </a:lnTo>
                    <a:lnTo>
                      <a:pt x="177" y="107"/>
                    </a:lnTo>
                    <a:lnTo>
                      <a:pt x="177" y="109"/>
                    </a:lnTo>
                    <a:lnTo>
                      <a:pt x="175" y="109"/>
                    </a:lnTo>
                    <a:lnTo>
                      <a:pt x="175" y="110"/>
                    </a:lnTo>
                    <a:lnTo>
                      <a:pt x="175" y="112"/>
                    </a:lnTo>
                    <a:lnTo>
                      <a:pt x="175" y="114"/>
                    </a:lnTo>
                    <a:lnTo>
                      <a:pt x="173" y="114"/>
                    </a:lnTo>
                    <a:lnTo>
                      <a:pt x="170" y="119"/>
                    </a:lnTo>
                    <a:lnTo>
                      <a:pt x="168" y="119"/>
                    </a:lnTo>
                    <a:lnTo>
                      <a:pt x="168" y="121"/>
                    </a:lnTo>
                    <a:lnTo>
                      <a:pt x="168" y="122"/>
                    </a:lnTo>
                    <a:lnTo>
                      <a:pt x="167" y="122"/>
                    </a:lnTo>
                    <a:lnTo>
                      <a:pt x="167" y="124"/>
                    </a:lnTo>
                    <a:lnTo>
                      <a:pt x="167" y="126"/>
                    </a:lnTo>
                    <a:lnTo>
                      <a:pt x="167" y="127"/>
                    </a:lnTo>
                    <a:lnTo>
                      <a:pt x="168" y="129"/>
                    </a:lnTo>
                    <a:lnTo>
                      <a:pt x="168" y="131"/>
                    </a:lnTo>
                    <a:lnTo>
                      <a:pt x="168" y="134"/>
                    </a:lnTo>
                    <a:lnTo>
                      <a:pt x="167" y="136"/>
                    </a:lnTo>
                    <a:lnTo>
                      <a:pt x="167" y="138"/>
                    </a:lnTo>
                    <a:lnTo>
                      <a:pt x="167" y="139"/>
                    </a:lnTo>
                    <a:lnTo>
                      <a:pt x="167" y="141"/>
                    </a:lnTo>
                    <a:lnTo>
                      <a:pt x="167" y="143"/>
                    </a:lnTo>
                    <a:lnTo>
                      <a:pt x="168" y="143"/>
                    </a:lnTo>
                    <a:lnTo>
                      <a:pt x="170" y="143"/>
                    </a:lnTo>
                    <a:lnTo>
                      <a:pt x="170" y="144"/>
                    </a:lnTo>
                    <a:lnTo>
                      <a:pt x="172" y="144"/>
                    </a:lnTo>
                    <a:close/>
                    <a:moveTo>
                      <a:pt x="3" y="153"/>
                    </a:moveTo>
                    <a:lnTo>
                      <a:pt x="3" y="155"/>
                    </a:lnTo>
                    <a:lnTo>
                      <a:pt x="3" y="153"/>
                    </a:lnTo>
                    <a:close/>
                    <a:moveTo>
                      <a:pt x="70" y="187"/>
                    </a:moveTo>
                    <a:lnTo>
                      <a:pt x="71" y="187"/>
                    </a:lnTo>
                    <a:lnTo>
                      <a:pt x="70" y="187"/>
                    </a:lnTo>
                    <a:close/>
                    <a:moveTo>
                      <a:pt x="5" y="156"/>
                    </a:moveTo>
                    <a:lnTo>
                      <a:pt x="5" y="158"/>
                    </a:lnTo>
                    <a:lnTo>
                      <a:pt x="5" y="156"/>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81" name="Freeform 59">
                <a:extLst>
                  <a:ext uri="{FF2B5EF4-FFF2-40B4-BE49-F238E27FC236}">
                    <a16:creationId xmlns:a16="http://schemas.microsoft.com/office/drawing/2014/main" id="{F09156C3-02AF-7424-2C52-BFDF736C2126}"/>
                  </a:ext>
                </a:extLst>
              </p:cNvPr>
              <p:cNvSpPr>
                <a:spLocks noEditPoints="1"/>
              </p:cNvSpPr>
              <p:nvPr/>
            </p:nvSpPr>
            <p:spPr bwMode="auto">
              <a:xfrm>
                <a:off x="5651260" y="2824952"/>
                <a:ext cx="134228" cy="115431"/>
              </a:xfrm>
              <a:custGeom>
                <a:avLst/>
                <a:gdLst>
                  <a:gd name="T0" fmla="*/ 428 w 457"/>
                  <a:gd name="T1" fmla="*/ 157 h 393"/>
                  <a:gd name="T2" fmla="*/ 433 w 457"/>
                  <a:gd name="T3" fmla="*/ 181 h 393"/>
                  <a:gd name="T4" fmla="*/ 409 w 457"/>
                  <a:gd name="T5" fmla="*/ 194 h 393"/>
                  <a:gd name="T6" fmla="*/ 426 w 457"/>
                  <a:gd name="T7" fmla="*/ 238 h 393"/>
                  <a:gd name="T8" fmla="*/ 408 w 457"/>
                  <a:gd name="T9" fmla="*/ 262 h 393"/>
                  <a:gd name="T10" fmla="*/ 380 w 457"/>
                  <a:gd name="T11" fmla="*/ 276 h 393"/>
                  <a:gd name="T12" fmla="*/ 357 w 457"/>
                  <a:gd name="T13" fmla="*/ 286 h 393"/>
                  <a:gd name="T14" fmla="*/ 333 w 457"/>
                  <a:gd name="T15" fmla="*/ 281 h 393"/>
                  <a:gd name="T16" fmla="*/ 311 w 457"/>
                  <a:gd name="T17" fmla="*/ 279 h 393"/>
                  <a:gd name="T18" fmla="*/ 292 w 457"/>
                  <a:gd name="T19" fmla="*/ 279 h 393"/>
                  <a:gd name="T20" fmla="*/ 312 w 457"/>
                  <a:gd name="T21" fmla="*/ 317 h 393"/>
                  <a:gd name="T22" fmla="*/ 336 w 457"/>
                  <a:gd name="T23" fmla="*/ 334 h 393"/>
                  <a:gd name="T24" fmla="*/ 312 w 457"/>
                  <a:gd name="T25" fmla="*/ 352 h 393"/>
                  <a:gd name="T26" fmla="*/ 292 w 457"/>
                  <a:gd name="T27" fmla="*/ 371 h 393"/>
                  <a:gd name="T28" fmla="*/ 270 w 457"/>
                  <a:gd name="T29" fmla="*/ 383 h 393"/>
                  <a:gd name="T30" fmla="*/ 249 w 457"/>
                  <a:gd name="T31" fmla="*/ 385 h 393"/>
                  <a:gd name="T32" fmla="*/ 212 w 457"/>
                  <a:gd name="T33" fmla="*/ 352 h 393"/>
                  <a:gd name="T34" fmla="*/ 192 w 457"/>
                  <a:gd name="T35" fmla="*/ 320 h 393"/>
                  <a:gd name="T36" fmla="*/ 192 w 457"/>
                  <a:gd name="T37" fmla="*/ 288 h 393"/>
                  <a:gd name="T38" fmla="*/ 185 w 457"/>
                  <a:gd name="T39" fmla="*/ 252 h 393"/>
                  <a:gd name="T40" fmla="*/ 195 w 457"/>
                  <a:gd name="T41" fmla="*/ 216 h 393"/>
                  <a:gd name="T42" fmla="*/ 171 w 457"/>
                  <a:gd name="T43" fmla="*/ 206 h 393"/>
                  <a:gd name="T44" fmla="*/ 120 w 457"/>
                  <a:gd name="T45" fmla="*/ 194 h 393"/>
                  <a:gd name="T46" fmla="*/ 76 w 457"/>
                  <a:gd name="T47" fmla="*/ 179 h 393"/>
                  <a:gd name="T48" fmla="*/ 40 w 457"/>
                  <a:gd name="T49" fmla="*/ 167 h 393"/>
                  <a:gd name="T50" fmla="*/ 32 w 457"/>
                  <a:gd name="T51" fmla="*/ 141 h 393"/>
                  <a:gd name="T52" fmla="*/ 11 w 457"/>
                  <a:gd name="T53" fmla="*/ 106 h 393"/>
                  <a:gd name="T54" fmla="*/ 11 w 457"/>
                  <a:gd name="T55" fmla="*/ 82 h 393"/>
                  <a:gd name="T56" fmla="*/ 25 w 457"/>
                  <a:gd name="T57" fmla="*/ 44 h 393"/>
                  <a:gd name="T58" fmla="*/ 64 w 457"/>
                  <a:gd name="T59" fmla="*/ 16 h 393"/>
                  <a:gd name="T60" fmla="*/ 57 w 457"/>
                  <a:gd name="T61" fmla="*/ 41 h 393"/>
                  <a:gd name="T62" fmla="*/ 49 w 457"/>
                  <a:gd name="T63" fmla="*/ 72 h 393"/>
                  <a:gd name="T64" fmla="*/ 47 w 457"/>
                  <a:gd name="T65" fmla="*/ 97 h 393"/>
                  <a:gd name="T66" fmla="*/ 62 w 457"/>
                  <a:gd name="T67" fmla="*/ 107 h 393"/>
                  <a:gd name="T68" fmla="*/ 71 w 457"/>
                  <a:gd name="T69" fmla="*/ 77 h 393"/>
                  <a:gd name="T70" fmla="*/ 62 w 457"/>
                  <a:gd name="T71" fmla="*/ 44 h 393"/>
                  <a:gd name="T72" fmla="*/ 96 w 457"/>
                  <a:gd name="T73" fmla="*/ 31 h 393"/>
                  <a:gd name="T74" fmla="*/ 113 w 457"/>
                  <a:gd name="T75" fmla="*/ 24 h 393"/>
                  <a:gd name="T76" fmla="*/ 105 w 457"/>
                  <a:gd name="T77" fmla="*/ 19 h 393"/>
                  <a:gd name="T78" fmla="*/ 119 w 457"/>
                  <a:gd name="T79" fmla="*/ 9 h 393"/>
                  <a:gd name="T80" fmla="*/ 153 w 457"/>
                  <a:gd name="T81" fmla="*/ 27 h 393"/>
                  <a:gd name="T82" fmla="*/ 170 w 457"/>
                  <a:gd name="T83" fmla="*/ 48 h 393"/>
                  <a:gd name="T84" fmla="*/ 200 w 457"/>
                  <a:gd name="T85" fmla="*/ 56 h 393"/>
                  <a:gd name="T86" fmla="*/ 244 w 457"/>
                  <a:gd name="T87" fmla="*/ 56 h 393"/>
                  <a:gd name="T88" fmla="*/ 282 w 457"/>
                  <a:gd name="T89" fmla="*/ 73 h 393"/>
                  <a:gd name="T90" fmla="*/ 307 w 457"/>
                  <a:gd name="T91" fmla="*/ 61 h 393"/>
                  <a:gd name="T92" fmla="*/ 311 w 457"/>
                  <a:gd name="T93" fmla="*/ 56 h 393"/>
                  <a:gd name="T94" fmla="*/ 329 w 457"/>
                  <a:gd name="T95" fmla="*/ 53 h 393"/>
                  <a:gd name="T96" fmla="*/ 370 w 457"/>
                  <a:gd name="T97" fmla="*/ 51 h 393"/>
                  <a:gd name="T98" fmla="*/ 363 w 457"/>
                  <a:gd name="T99" fmla="*/ 56 h 393"/>
                  <a:gd name="T100" fmla="*/ 370 w 457"/>
                  <a:gd name="T101" fmla="*/ 78 h 393"/>
                  <a:gd name="T102" fmla="*/ 399 w 457"/>
                  <a:gd name="T103" fmla="*/ 82 h 393"/>
                  <a:gd name="T104" fmla="*/ 419 w 457"/>
                  <a:gd name="T105" fmla="*/ 101 h 393"/>
                  <a:gd name="T106" fmla="*/ 423 w 457"/>
                  <a:gd name="T107" fmla="*/ 116 h 393"/>
                  <a:gd name="T108" fmla="*/ 436 w 457"/>
                  <a:gd name="T109" fmla="*/ 124 h 393"/>
                  <a:gd name="T110" fmla="*/ 311 w 457"/>
                  <a:gd name="T111" fmla="*/ 44 h 393"/>
                  <a:gd name="T112" fmla="*/ 309 w 457"/>
                  <a:gd name="T113" fmla="*/ 39 h 393"/>
                  <a:gd name="T114" fmla="*/ 295 w 457"/>
                  <a:gd name="T115" fmla="*/ 10 h 393"/>
                  <a:gd name="T116" fmla="*/ 226 w 457"/>
                  <a:gd name="T117" fmla="*/ 14 h 393"/>
                  <a:gd name="T118" fmla="*/ 221 w 457"/>
                  <a:gd name="T119" fmla="*/ 10 h 393"/>
                  <a:gd name="T120" fmla="*/ 302 w 457"/>
                  <a:gd name="T121" fmla="*/ 63 h 393"/>
                  <a:gd name="T122" fmla="*/ 190 w 457"/>
                  <a:gd name="T123" fmla="*/ 7 h 393"/>
                  <a:gd name="T124" fmla="*/ 219 w 457"/>
                  <a:gd name="T125"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7" h="393">
                    <a:moveTo>
                      <a:pt x="450" y="126"/>
                    </a:moveTo>
                    <a:lnTo>
                      <a:pt x="452" y="128"/>
                    </a:lnTo>
                    <a:lnTo>
                      <a:pt x="453" y="130"/>
                    </a:lnTo>
                    <a:lnTo>
                      <a:pt x="455" y="133"/>
                    </a:lnTo>
                    <a:lnTo>
                      <a:pt x="457" y="135"/>
                    </a:lnTo>
                    <a:lnTo>
                      <a:pt x="455" y="135"/>
                    </a:lnTo>
                    <a:lnTo>
                      <a:pt x="455" y="136"/>
                    </a:lnTo>
                    <a:lnTo>
                      <a:pt x="452" y="136"/>
                    </a:lnTo>
                    <a:lnTo>
                      <a:pt x="450" y="138"/>
                    </a:lnTo>
                    <a:lnTo>
                      <a:pt x="450" y="140"/>
                    </a:lnTo>
                    <a:lnTo>
                      <a:pt x="450" y="141"/>
                    </a:lnTo>
                    <a:lnTo>
                      <a:pt x="448" y="141"/>
                    </a:lnTo>
                    <a:lnTo>
                      <a:pt x="448" y="143"/>
                    </a:lnTo>
                    <a:lnTo>
                      <a:pt x="447" y="143"/>
                    </a:lnTo>
                    <a:lnTo>
                      <a:pt x="445" y="143"/>
                    </a:lnTo>
                    <a:lnTo>
                      <a:pt x="445" y="145"/>
                    </a:lnTo>
                    <a:lnTo>
                      <a:pt x="443" y="145"/>
                    </a:lnTo>
                    <a:lnTo>
                      <a:pt x="442" y="145"/>
                    </a:lnTo>
                    <a:lnTo>
                      <a:pt x="442" y="147"/>
                    </a:lnTo>
                    <a:lnTo>
                      <a:pt x="440" y="148"/>
                    </a:lnTo>
                    <a:lnTo>
                      <a:pt x="438" y="148"/>
                    </a:lnTo>
                    <a:lnTo>
                      <a:pt x="438" y="150"/>
                    </a:lnTo>
                    <a:lnTo>
                      <a:pt x="436" y="150"/>
                    </a:lnTo>
                    <a:lnTo>
                      <a:pt x="435" y="150"/>
                    </a:lnTo>
                    <a:lnTo>
                      <a:pt x="433" y="150"/>
                    </a:lnTo>
                    <a:lnTo>
                      <a:pt x="431" y="150"/>
                    </a:lnTo>
                    <a:lnTo>
                      <a:pt x="431" y="152"/>
                    </a:lnTo>
                    <a:lnTo>
                      <a:pt x="430" y="153"/>
                    </a:lnTo>
                    <a:lnTo>
                      <a:pt x="430" y="155"/>
                    </a:lnTo>
                    <a:lnTo>
                      <a:pt x="430" y="157"/>
                    </a:lnTo>
                    <a:lnTo>
                      <a:pt x="428" y="157"/>
                    </a:lnTo>
                    <a:lnTo>
                      <a:pt x="428" y="158"/>
                    </a:lnTo>
                    <a:lnTo>
                      <a:pt x="428" y="160"/>
                    </a:lnTo>
                    <a:lnTo>
                      <a:pt x="428" y="162"/>
                    </a:lnTo>
                    <a:lnTo>
                      <a:pt x="428" y="164"/>
                    </a:lnTo>
                    <a:lnTo>
                      <a:pt x="428" y="165"/>
                    </a:lnTo>
                    <a:lnTo>
                      <a:pt x="430" y="165"/>
                    </a:lnTo>
                    <a:lnTo>
                      <a:pt x="430" y="167"/>
                    </a:lnTo>
                    <a:lnTo>
                      <a:pt x="430" y="169"/>
                    </a:lnTo>
                    <a:lnTo>
                      <a:pt x="428" y="169"/>
                    </a:lnTo>
                    <a:lnTo>
                      <a:pt x="428" y="170"/>
                    </a:lnTo>
                    <a:lnTo>
                      <a:pt x="430" y="170"/>
                    </a:lnTo>
                    <a:lnTo>
                      <a:pt x="430" y="172"/>
                    </a:lnTo>
                    <a:lnTo>
                      <a:pt x="431" y="172"/>
                    </a:lnTo>
                    <a:lnTo>
                      <a:pt x="431" y="174"/>
                    </a:lnTo>
                    <a:lnTo>
                      <a:pt x="431" y="172"/>
                    </a:lnTo>
                    <a:lnTo>
                      <a:pt x="433" y="172"/>
                    </a:lnTo>
                    <a:lnTo>
                      <a:pt x="433" y="170"/>
                    </a:lnTo>
                    <a:lnTo>
                      <a:pt x="435" y="172"/>
                    </a:lnTo>
                    <a:lnTo>
                      <a:pt x="435" y="170"/>
                    </a:lnTo>
                    <a:lnTo>
                      <a:pt x="435" y="172"/>
                    </a:lnTo>
                    <a:lnTo>
                      <a:pt x="436" y="172"/>
                    </a:lnTo>
                    <a:lnTo>
                      <a:pt x="438" y="172"/>
                    </a:lnTo>
                    <a:lnTo>
                      <a:pt x="438" y="174"/>
                    </a:lnTo>
                    <a:lnTo>
                      <a:pt x="438" y="175"/>
                    </a:lnTo>
                    <a:lnTo>
                      <a:pt x="438" y="177"/>
                    </a:lnTo>
                    <a:lnTo>
                      <a:pt x="438" y="179"/>
                    </a:lnTo>
                    <a:lnTo>
                      <a:pt x="436" y="179"/>
                    </a:lnTo>
                    <a:lnTo>
                      <a:pt x="436" y="181"/>
                    </a:lnTo>
                    <a:lnTo>
                      <a:pt x="436" y="179"/>
                    </a:lnTo>
                    <a:lnTo>
                      <a:pt x="435" y="181"/>
                    </a:lnTo>
                    <a:lnTo>
                      <a:pt x="433" y="181"/>
                    </a:lnTo>
                    <a:lnTo>
                      <a:pt x="433" y="182"/>
                    </a:lnTo>
                    <a:lnTo>
                      <a:pt x="431" y="182"/>
                    </a:lnTo>
                    <a:lnTo>
                      <a:pt x="430" y="182"/>
                    </a:lnTo>
                    <a:lnTo>
                      <a:pt x="430" y="184"/>
                    </a:lnTo>
                    <a:lnTo>
                      <a:pt x="428" y="184"/>
                    </a:lnTo>
                    <a:lnTo>
                      <a:pt x="426" y="184"/>
                    </a:lnTo>
                    <a:lnTo>
                      <a:pt x="426" y="186"/>
                    </a:lnTo>
                    <a:lnTo>
                      <a:pt x="425" y="186"/>
                    </a:lnTo>
                    <a:lnTo>
                      <a:pt x="423" y="186"/>
                    </a:lnTo>
                    <a:lnTo>
                      <a:pt x="423" y="184"/>
                    </a:lnTo>
                    <a:lnTo>
                      <a:pt x="423" y="186"/>
                    </a:lnTo>
                    <a:lnTo>
                      <a:pt x="421" y="186"/>
                    </a:lnTo>
                    <a:lnTo>
                      <a:pt x="419" y="186"/>
                    </a:lnTo>
                    <a:lnTo>
                      <a:pt x="419" y="184"/>
                    </a:lnTo>
                    <a:lnTo>
                      <a:pt x="418" y="184"/>
                    </a:lnTo>
                    <a:lnTo>
                      <a:pt x="418" y="186"/>
                    </a:lnTo>
                    <a:lnTo>
                      <a:pt x="419" y="186"/>
                    </a:lnTo>
                    <a:lnTo>
                      <a:pt x="418" y="187"/>
                    </a:lnTo>
                    <a:lnTo>
                      <a:pt x="416" y="187"/>
                    </a:lnTo>
                    <a:lnTo>
                      <a:pt x="414" y="187"/>
                    </a:lnTo>
                    <a:lnTo>
                      <a:pt x="413" y="187"/>
                    </a:lnTo>
                    <a:lnTo>
                      <a:pt x="411" y="187"/>
                    </a:lnTo>
                    <a:lnTo>
                      <a:pt x="411" y="189"/>
                    </a:lnTo>
                    <a:lnTo>
                      <a:pt x="409" y="189"/>
                    </a:lnTo>
                    <a:lnTo>
                      <a:pt x="409" y="191"/>
                    </a:lnTo>
                    <a:lnTo>
                      <a:pt x="409" y="192"/>
                    </a:lnTo>
                    <a:lnTo>
                      <a:pt x="408" y="192"/>
                    </a:lnTo>
                    <a:lnTo>
                      <a:pt x="409" y="192"/>
                    </a:lnTo>
                    <a:lnTo>
                      <a:pt x="408" y="192"/>
                    </a:lnTo>
                    <a:lnTo>
                      <a:pt x="409" y="192"/>
                    </a:lnTo>
                    <a:lnTo>
                      <a:pt x="409" y="194"/>
                    </a:lnTo>
                    <a:lnTo>
                      <a:pt x="411" y="194"/>
                    </a:lnTo>
                    <a:lnTo>
                      <a:pt x="409" y="196"/>
                    </a:lnTo>
                    <a:lnTo>
                      <a:pt x="411" y="196"/>
                    </a:lnTo>
                    <a:lnTo>
                      <a:pt x="411" y="198"/>
                    </a:lnTo>
                    <a:lnTo>
                      <a:pt x="411" y="199"/>
                    </a:lnTo>
                    <a:lnTo>
                      <a:pt x="411" y="201"/>
                    </a:lnTo>
                    <a:lnTo>
                      <a:pt x="409" y="201"/>
                    </a:lnTo>
                    <a:lnTo>
                      <a:pt x="411" y="201"/>
                    </a:lnTo>
                    <a:lnTo>
                      <a:pt x="411" y="203"/>
                    </a:lnTo>
                    <a:lnTo>
                      <a:pt x="413" y="203"/>
                    </a:lnTo>
                    <a:lnTo>
                      <a:pt x="411" y="203"/>
                    </a:lnTo>
                    <a:lnTo>
                      <a:pt x="411" y="204"/>
                    </a:lnTo>
                    <a:lnTo>
                      <a:pt x="413" y="204"/>
                    </a:lnTo>
                    <a:lnTo>
                      <a:pt x="411" y="206"/>
                    </a:lnTo>
                    <a:lnTo>
                      <a:pt x="409" y="206"/>
                    </a:lnTo>
                    <a:lnTo>
                      <a:pt x="409" y="208"/>
                    </a:lnTo>
                    <a:lnTo>
                      <a:pt x="408" y="208"/>
                    </a:lnTo>
                    <a:lnTo>
                      <a:pt x="406" y="209"/>
                    </a:lnTo>
                    <a:lnTo>
                      <a:pt x="406" y="211"/>
                    </a:lnTo>
                    <a:lnTo>
                      <a:pt x="404" y="211"/>
                    </a:lnTo>
                    <a:lnTo>
                      <a:pt x="404" y="213"/>
                    </a:lnTo>
                    <a:lnTo>
                      <a:pt x="402" y="213"/>
                    </a:lnTo>
                    <a:lnTo>
                      <a:pt x="402" y="215"/>
                    </a:lnTo>
                    <a:lnTo>
                      <a:pt x="404" y="216"/>
                    </a:lnTo>
                    <a:lnTo>
                      <a:pt x="409" y="221"/>
                    </a:lnTo>
                    <a:lnTo>
                      <a:pt x="413" y="223"/>
                    </a:lnTo>
                    <a:lnTo>
                      <a:pt x="414" y="228"/>
                    </a:lnTo>
                    <a:lnTo>
                      <a:pt x="421" y="235"/>
                    </a:lnTo>
                    <a:lnTo>
                      <a:pt x="423" y="237"/>
                    </a:lnTo>
                    <a:lnTo>
                      <a:pt x="425" y="238"/>
                    </a:lnTo>
                    <a:lnTo>
                      <a:pt x="426" y="238"/>
                    </a:lnTo>
                    <a:lnTo>
                      <a:pt x="426" y="240"/>
                    </a:lnTo>
                    <a:lnTo>
                      <a:pt x="428" y="240"/>
                    </a:lnTo>
                    <a:lnTo>
                      <a:pt x="428" y="242"/>
                    </a:lnTo>
                    <a:lnTo>
                      <a:pt x="428" y="243"/>
                    </a:lnTo>
                    <a:lnTo>
                      <a:pt x="428" y="245"/>
                    </a:lnTo>
                    <a:lnTo>
                      <a:pt x="430" y="245"/>
                    </a:lnTo>
                    <a:lnTo>
                      <a:pt x="430" y="247"/>
                    </a:lnTo>
                    <a:lnTo>
                      <a:pt x="430" y="249"/>
                    </a:lnTo>
                    <a:lnTo>
                      <a:pt x="428" y="249"/>
                    </a:lnTo>
                    <a:lnTo>
                      <a:pt x="428" y="250"/>
                    </a:lnTo>
                    <a:lnTo>
                      <a:pt x="426" y="250"/>
                    </a:lnTo>
                    <a:lnTo>
                      <a:pt x="426" y="252"/>
                    </a:lnTo>
                    <a:lnTo>
                      <a:pt x="425" y="252"/>
                    </a:lnTo>
                    <a:lnTo>
                      <a:pt x="425" y="254"/>
                    </a:lnTo>
                    <a:lnTo>
                      <a:pt x="423" y="254"/>
                    </a:lnTo>
                    <a:lnTo>
                      <a:pt x="423" y="255"/>
                    </a:lnTo>
                    <a:lnTo>
                      <a:pt x="421" y="255"/>
                    </a:lnTo>
                    <a:lnTo>
                      <a:pt x="419" y="255"/>
                    </a:lnTo>
                    <a:lnTo>
                      <a:pt x="419" y="257"/>
                    </a:lnTo>
                    <a:lnTo>
                      <a:pt x="418" y="257"/>
                    </a:lnTo>
                    <a:lnTo>
                      <a:pt x="418" y="259"/>
                    </a:lnTo>
                    <a:lnTo>
                      <a:pt x="418" y="261"/>
                    </a:lnTo>
                    <a:lnTo>
                      <a:pt x="416" y="261"/>
                    </a:lnTo>
                    <a:lnTo>
                      <a:pt x="416" y="262"/>
                    </a:lnTo>
                    <a:lnTo>
                      <a:pt x="414" y="262"/>
                    </a:lnTo>
                    <a:lnTo>
                      <a:pt x="413" y="262"/>
                    </a:lnTo>
                    <a:lnTo>
                      <a:pt x="411" y="262"/>
                    </a:lnTo>
                    <a:lnTo>
                      <a:pt x="411" y="264"/>
                    </a:lnTo>
                    <a:lnTo>
                      <a:pt x="411" y="262"/>
                    </a:lnTo>
                    <a:lnTo>
                      <a:pt x="409" y="262"/>
                    </a:lnTo>
                    <a:lnTo>
                      <a:pt x="408" y="262"/>
                    </a:lnTo>
                    <a:lnTo>
                      <a:pt x="406" y="262"/>
                    </a:lnTo>
                    <a:lnTo>
                      <a:pt x="404" y="262"/>
                    </a:lnTo>
                    <a:lnTo>
                      <a:pt x="406" y="262"/>
                    </a:lnTo>
                    <a:lnTo>
                      <a:pt x="406" y="264"/>
                    </a:lnTo>
                    <a:lnTo>
                      <a:pt x="406" y="266"/>
                    </a:lnTo>
                    <a:lnTo>
                      <a:pt x="404" y="266"/>
                    </a:lnTo>
                    <a:lnTo>
                      <a:pt x="402" y="266"/>
                    </a:lnTo>
                    <a:lnTo>
                      <a:pt x="401" y="266"/>
                    </a:lnTo>
                    <a:lnTo>
                      <a:pt x="399" y="266"/>
                    </a:lnTo>
                    <a:lnTo>
                      <a:pt x="399" y="267"/>
                    </a:lnTo>
                    <a:lnTo>
                      <a:pt x="399" y="269"/>
                    </a:lnTo>
                    <a:lnTo>
                      <a:pt x="399" y="271"/>
                    </a:lnTo>
                    <a:lnTo>
                      <a:pt x="397" y="271"/>
                    </a:lnTo>
                    <a:lnTo>
                      <a:pt x="396" y="271"/>
                    </a:lnTo>
                    <a:lnTo>
                      <a:pt x="394" y="271"/>
                    </a:lnTo>
                    <a:lnTo>
                      <a:pt x="394" y="272"/>
                    </a:lnTo>
                    <a:lnTo>
                      <a:pt x="394" y="271"/>
                    </a:lnTo>
                    <a:lnTo>
                      <a:pt x="392" y="271"/>
                    </a:lnTo>
                    <a:lnTo>
                      <a:pt x="391" y="271"/>
                    </a:lnTo>
                    <a:lnTo>
                      <a:pt x="391" y="272"/>
                    </a:lnTo>
                    <a:lnTo>
                      <a:pt x="389" y="272"/>
                    </a:lnTo>
                    <a:lnTo>
                      <a:pt x="389" y="274"/>
                    </a:lnTo>
                    <a:lnTo>
                      <a:pt x="387" y="274"/>
                    </a:lnTo>
                    <a:lnTo>
                      <a:pt x="385" y="274"/>
                    </a:lnTo>
                    <a:lnTo>
                      <a:pt x="385" y="276"/>
                    </a:lnTo>
                    <a:lnTo>
                      <a:pt x="384" y="276"/>
                    </a:lnTo>
                    <a:lnTo>
                      <a:pt x="384" y="274"/>
                    </a:lnTo>
                    <a:lnTo>
                      <a:pt x="382" y="274"/>
                    </a:lnTo>
                    <a:lnTo>
                      <a:pt x="380" y="274"/>
                    </a:lnTo>
                    <a:lnTo>
                      <a:pt x="379" y="274"/>
                    </a:lnTo>
                    <a:lnTo>
                      <a:pt x="380" y="276"/>
                    </a:lnTo>
                    <a:lnTo>
                      <a:pt x="379" y="276"/>
                    </a:lnTo>
                    <a:lnTo>
                      <a:pt x="377" y="278"/>
                    </a:lnTo>
                    <a:lnTo>
                      <a:pt x="377" y="276"/>
                    </a:lnTo>
                    <a:lnTo>
                      <a:pt x="375" y="276"/>
                    </a:lnTo>
                    <a:lnTo>
                      <a:pt x="374" y="276"/>
                    </a:lnTo>
                    <a:lnTo>
                      <a:pt x="372" y="274"/>
                    </a:lnTo>
                    <a:lnTo>
                      <a:pt x="372" y="276"/>
                    </a:lnTo>
                    <a:lnTo>
                      <a:pt x="372" y="274"/>
                    </a:lnTo>
                    <a:lnTo>
                      <a:pt x="372" y="276"/>
                    </a:lnTo>
                    <a:lnTo>
                      <a:pt x="370" y="274"/>
                    </a:lnTo>
                    <a:lnTo>
                      <a:pt x="368" y="274"/>
                    </a:lnTo>
                    <a:lnTo>
                      <a:pt x="367" y="274"/>
                    </a:lnTo>
                    <a:lnTo>
                      <a:pt x="367" y="276"/>
                    </a:lnTo>
                    <a:lnTo>
                      <a:pt x="365" y="274"/>
                    </a:lnTo>
                    <a:lnTo>
                      <a:pt x="365" y="276"/>
                    </a:lnTo>
                    <a:lnTo>
                      <a:pt x="363" y="276"/>
                    </a:lnTo>
                    <a:lnTo>
                      <a:pt x="363" y="278"/>
                    </a:lnTo>
                    <a:lnTo>
                      <a:pt x="363" y="279"/>
                    </a:lnTo>
                    <a:lnTo>
                      <a:pt x="362" y="279"/>
                    </a:lnTo>
                    <a:lnTo>
                      <a:pt x="362" y="278"/>
                    </a:lnTo>
                    <a:lnTo>
                      <a:pt x="360" y="278"/>
                    </a:lnTo>
                    <a:lnTo>
                      <a:pt x="360" y="279"/>
                    </a:lnTo>
                    <a:lnTo>
                      <a:pt x="360" y="278"/>
                    </a:lnTo>
                    <a:lnTo>
                      <a:pt x="358" y="279"/>
                    </a:lnTo>
                    <a:lnTo>
                      <a:pt x="357" y="278"/>
                    </a:lnTo>
                    <a:lnTo>
                      <a:pt x="357" y="279"/>
                    </a:lnTo>
                    <a:lnTo>
                      <a:pt x="357" y="281"/>
                    </a:lnTo>
                    <a:lnTo>
                      <a:pt x="357" y="283"/>
                    </a:lnTo>
                    <a:lnTo>
                      <a:pt x="355" y="283"/>
                    </a:lnTo>
                    <a:lnTo>
                      <a:pt x="357" y="284"/>
                    </a:lnTo>
                    <a:lnTo>
                      <a:pt x="357" y="286"/>
                    </a:lnTo>
                    <a:lnTo>
                      <a:pt x="358" y="286"/>
                    </a:lnTo>
                    <a:lnTo>
                      <a:pt x="357" y="286"/>
                    </a:lnTo>
                    <a:lnTo>
                      <a:pt x="358" y="288"/>
                    </a:lnTo>
                    <a:lnTo>
                      <a:pt x="357" y="288"/>
                    </a:lnTo>
                    <a:lnTo>
                      <a:pt x="358" y="289"/>
                    </a:lnTo>
                    <a:lnTo>
                      <a:pt x="357" y="289"/>
                    </a:lnTo>
                    <a:lnTo>
                      <a:pt x="357" y="291"/>
                    </a:lnTo>
                    <a:lnTo>
                      <a:pt x="357" y="289"/>
                    </a:lnTo>
                    <a:lnTo>
                      <a:pt x="355" y="289"/>
                    </a:lnTo>
                    <a:lnTo>
                      <a:pt x="355" y="288"/>
                    </a:lnTo>
                    <a:lnTo>
                      <a:pt x="353" y="289"/>
                    </a:lnTo>
                    <a:lnTo>
                      <a:pt x="351" y="291"/>
                    </a:lnTo>
                    <a:lnTo>
                      <a:pt x="351" y="293"/>
                    </a:lnTo>
                    <a:lnTo>
                      <a:pt x="350" y="293"/>
                    </a:lnTo>
                    <a:lnTo>
                      <a:pt x="348" y="293"/>
                    </a:lnTo>
                    <a:lnTo>
                      <a:pt x="348" y="291"/>
                    </a:lnTo>
                    <a:lnTo>
                      <a:pt x="346" y="291"/>
                    </a:lnTo>
                    <a:lnTo>
                      <a:pt x="346" y="289"/>
                    </a:lnTo>
                    <a:lnTo>
                      <a:pt x="346" y="288"/>
                    </a:lnTo>
                    <a:lnTo>
                      <a:pt x="345" y="288"/>
                    </a:lnTo>
                    <a:lnTo>
                      <a:pt x="345" y="286"/>
                    </a:lnTo>
                    <a:lnTo>
                      <a:pt x="343" y="286"/>
                    </a:lnTo>
                    <a:lnTo>
                      <a:pt x="341" y="286"/>
                    </a:lnTo>
                    <a:lnTo>
                      <a:pt x="341" y="284"/>
                    </a:lnTo>
                    <a:lnTo>
                      <a:pt x="341" y="283"/>
                    </a:lnTo>
                    <a:lnTo>
                      <a:pt x="341" y="281"/>
                    </a:lnTo>
                    <a:lnTo>
                      <a:pt x="340" y="281"/>
                    </a:lnTo>
                    <a:lnTo>
                      <a:pt x="338" y="281"/>
                    </a:lnTo>
                    <a:lnTo>
                      <a:pt x="336" y="281"/>
                    </a:lnTo>
                    <a:lnTo>
                      <a:pt x="334" y="281"/>
                    </a:lnTo>
                    <a:lnTo>
                      <a:pt x="333" y="281"/>
                    </a:lnTo>
                    <a:lnTo>
                      <a:pt x="334" y="281"/>
                    </a:lnTo>
                    <a:lnTo>
                      <a:pt x="334" y="283"/>
                    </a:lnTo>
                    <a:lnTo>
                      <a:pt x="334" y="284"/>
                    </a:lnTo>
                    <a:lnTo>
                      <a:pt x="333" y="284"/>
                    </a:lnTo>
                    <a:lnTo>
                      <a:pt x="331" y="284"/>
                    </a:lnTo>
                    <a:lnTo>
                      <a:pt x="329" y="284"/>
                    </a:lnTo>
                    <a:lnTo>
                      <a:pt x="329" y="283"/>
                    </a:lnTo>
                    <a:lnTo>
                      <a:pt x="329" y="284"/>
                    </a:lnTo>
                    <a:lnTo>
                      <a:pt x="328" y="283"/>
                    </a:lnTo>
                    <a:lnTo>
                      <a:pt x="329" y="283"/>
                    </a:lnTo>
                    <a:lnTo>
                      <a:pt x="328" y="283"/>
                    </a:lnTo>
                    <a:lnTo>
                      <a:pt x="328" y="281"/>
                    </a:lnTo>
                    <a:lnTo>
                      <a:pt x="326" y="281"/>
                    </a:lnTo>
                    <a:lnTo>
                      <a:pt x="326" y="279"/>
                    </a:lnTo>
                    <a:lnTo>
                      <a:pt x="324" y="281"/>
                    </a:lnTo>
                    <a:lnTo>
                      <a:pt x="326" y="283"/>
                    </a:lnTo>
                    <a:lnTo>
                      <a:pt x="324" y="283"/>
                    </a:lnTo>
                    <a:lnTo>
                      <a:pt x="323" y="281"/>
                    </a:lnTo>
                    <a:lnTo>
                      <a:pt x="323" y="283"/>
                    </a:lnTo>
                    <a:lnTo>
                      <a:pt x="321" y="283"/>
                    </a:lnTo>
                    <a:lnTo>
                      <a:pt x="321" y="281"/>
                    </a:lnTo>
                    <a:lnTo>
                      <a:pt x="319" y="281"/>
                    </a:lnTo>
                    <a:lnTo>
                      <a:pt x="319" y="283"/>
                    </a:lnTo>
                    <a:lnTo>
                      <a:pt x="317" y="283"/>
                    </a:lnTo>
                    <a:lnTo>
                      <a:pt x="316" y="283"/>
                    </a:lnTo>
                    <a:lnTo>
                      <a:pt x="316" y="284"/>
                    </a:lnTo>
                    <a:lnTo>
                      <a:pt x="316" y="283"/>
                    </a:lnTo>
                    <a:lnTo>
                      <a:pt x="314" y="283"/>
                    </a:lnTo>
                    <a:lnTo>
                      <a:pt x="312" y="281"/>
                    </a:lnTo>
                    <a:lnTo>
                      <a:pt x="312" y="279"/>
                    </a:lnTo>
                    <a:lnTo>
                      <a:pt x="311" y="279"/>
                    </a:lnTo>
                    <a:lnTo>
                      <a:pt x="312" y="278"/>
                    </a:lnTo>
                    <a:lnTo>
                      <a:pt x="311" y="278"/>
                    </a:lnTo>
                    <a:lnTo>
                      <a:pt x="311" y="276"/>
                    </a:lnTo>
                    <a:lnTo>
                      <a:pt x="309" y="276"/>
                    </a:lnTo>
                    <a:lnTo>
                      <a:pt x="307" y="276"/>
                    </a:lnTo>
                    <a:lnTo>
                      <a:pt x="306" y="276"/>
                    </a:lnTo>
                    <a:lnTo>
                      <a:pt x="306" y="274"/>
                    </a:lnTo>
                    <a:lnTo>
                      <a:pt x="304" y="276"/>
                    </a:lnTo>
                    <a:lnTo>
                      <a:pt x="302" y="276"/>
                    </a:lnTo>
                    <a:lnTo>
                      <a:pt x="302" y="274"/>
                    </a:lnTo>
                    <a:lnTo>
                      <a:pt x="300" y="276"/>
                    </a:lnTo>
                    <a:lnTo>
                      <a:pt x="300" y="274"/>
                    </a:lnTo>
                    <a:lnTo>
                      <a:pt x="300" y="276"/>
                    </a:lnTo>
                    <a:lnTo>
                      <a:pt x="299" y="276"/>
                    </a:lnTo>
                    <a:lnTo>
                      <a:pt x="297" y="276"/>
                    </a:lnTo>
                    <a:lnTo>
                      <a:pt x="295" y="276"/>
                    </a:lnTo>
                    <a:lnTo>
                      <a:pt x="294" y="276"/>
                    </a:lnTo>
                    <a:lnTo>
                      <a:pt x="294" y="274"/>
                    </a:lnTo>
                    <a:lnTo>
                      <a:pt x="292" y="272"/>
                    </a:lnTo>
                    <a:lnTo>
                      <a:pt x="292" y="271"/>
                    </a:lnTo>
                    <a:lnTo>
                      <a:pt x="290" y="271"/>
                    </a:lnTo>
                    <a:lnTo>
                      <a:pt x="289" y="271"/>
                    </a:lnTo>
                    <a:lnTo>
                      <a:pt x="287" y="271"/>
                    </a:lnTo>
                    <a:lnTo>
                      <a:pt x="287" y="272"/>
                    </a:lnTo>
                    <a:lnTo>
                      <a:pt x="287" y="274"/>
                    </a:lnTo>
                    <a:lnTo>
                      <a:pt x="289" y="274"/>
                    </a:lnTo>
                    <a:lnTo>
                      <a:pt x="289" y="276"/>
                    </a:lnTo>
                    <a:lnTo>
                      <a:pt x="290" y="276"/>
                    </a:lnTo>
                    <a:lnTo>
                      <a:pt x="290" y="278"/>
                    </a:lnTo>
                    <a:lnTo>
                      <a:pt x="292" y="278"/>
                    </a:lnTo>
                    <a:lnTo>
                      <a:pt x="292" y="279"/>
                    </a:lnTo>
                    <a:lnTo>
                      <a:pt x="294" y="281"/>
                    </a:lnTo>
                    <a:lnTo>
                      <a:pt x="295" y="283"/>
                    </a:lnTo>
                    <a:lnTo>
                      <a:pt x="295" y="284"/>
                    </a:lnTo>
                    <a:lnTo>
                      <a:pt x="297" y="284"/>
                    </a:lnTo>
                    <a:lnTo>
                      <a:pt x="297" y="286"/>
                    </a:lnTo>
                    <a:lnTo>
                      <a:pt x="299" y="286"/>
                    </a:lnTo>
                    <a:lnTo>
                      <a:pt x="299" y="288"/>
                    </a:lnTo>
                    <a:lnTo>
                      <a:pt x="300" y="288"/>
                    </a:lnTo>
                    <a:lnTo>
                      <a:pt x="302" y="288"/>
                    </a:lnTo>
                    <a:lnTo>
                      <a:pt x="304" y="288"/>
                    </a:lnTo>
                    <a:lnTo>
                      <a:pt x="304" y="289"/>
                    </a:lnTo>
                    <a:lnTo>
                      <a:pt x="306" y="289"/>
                    </a:lnTo>
                    <a:lnTo>
                      <a:pt x="306" y="291"/>
                    </a:lnTo>
                    <a:lnTo>
                      <a:pt x="307" y="293"/>
                    </a:lnTo>
                    <a:lnTo>
                      <a:pt x="309" y="295"/>
                    </a:lnTo>
                    <a:lnTo>
                      <a:pt x="309" y="296"/>
                    </a:lnTo>
                    <a:lnTo>
                      <a:pt x="307" y="298"/>
                    </a:lnTo>
                    <a:lnTo>
                      <a:pt x="306" y="300"/>
                    </a:lnTo>
                    <a:lnTo>
                      <a:pt x="307" y="300"/>
                    </a:lnTo>
                    <a:lnTo>
                      <a:pt x="307" y="301"/>
                    </a:lnTo>
                    <a:lnTo>
                      <a:pt x="307" y="303"/>
                    </a:lnTo>
                    <a:lnTo>
                      <a:pt x="307" y="305"/>
                    </a:lnTo>
                    <a:lnTo>
                      <a:pt x="307" y="306"/>
                    </a:lnTo>
                    <a:lnTo>
                      <a:pt x="307" y="308"/>
                    </a:lnTo>
                    <a:lnTo>
                      <a:pt x="307" y="310"/>
                    </a:lnTo>
                    <a:lnTo>
                      <a:pt x="309" y="312"/>
                    </a:lnTo>
                    <a:lnTo>
                      <a:pt x="309" y="313"/>
                    </a:lnTo>
                    <a:lnTo>
                      <a:pt x="311" y="313"/>
                    </a:lnTo>
                    <a:lnTo>
                      <a:pt x="311" y="315"/>
                    </a:lnTo>
                    <a:lnTo>
                      <a:pt x="312" y="315"/>
                    </a:lnTo>
                    <a:lnTo>
                      <a:pt x="312" y="317"/>
                    </a:lnTo>
                    <a:lnTo>
                      <a:pt x="312" y="318"/>
                    </a:lnTo>
                    <a:lnTo>
                      <a:pt x="314" y="320"/>
                    </a:lnTo>
                    <a:lnTo>
                      <a:pt x="314" y="322"/>
                    </a:lnTo>
                    <a:lnTo>
                      <a:pt x="316" y="322"/>
                    </a:lnTo>
                    <a:lnTo>
                      <a:pt x="314" y="322"/>
                    </a:lnTo>
                    <a:lnTo>
                      <a:pt x="316" y="323"/>
                    </a:lnTo>
                    <a:lnTo>
                      <a:pt x="314" y="323"/>
                    </a:lnTo>
                    <a:lnTo>
                      <a:pt x="316" y="323"/>
                    </a:lnTo>
                    <a:lnTo>
                      <a:pt x="316" y="325"/>
                    </a:lnTo>
                    <a:lnTo>
                      <a:pt x="314" y="325"/>
                    </a:lnTo>
                    <a:lnTo>
                      <a:pt x="314" y="327"/>
                    </a:lnTo>
                    <a:lnTo>
                      <a:pt x="314" y="329"/>
                    </a:lnTo>
                    <a:lnTo>
                      <a:pt x="312" y="329"/>
                    </a:lnTo>
                    <a:lnTo>
                      <a:pt x="312" y="330"/>
                    </a:lnTo>
                    <a:lnTo>
                      <a:pt x="314" y="330"/>
                    </a:lnTo>
                    <a:lnTo>
                      <a:pt x="314" y="332"/>
                    </a:lnTo>
                    <a:lnTo>
                      <a:pt x="314" y="330"/>
                    </a:lnTo>
                    <a:lnTo>
                      <a:pt x="316" y="332"/>
                    </a:lnTo>
                    <a:lnTo>
                      <a:pt x="317" y="332"/>
                    </a:lnTo>
                    <a:lnTo>
                      <a:pt x="319" y="332"/>
                    </a:lnTo>
                    <a:lnTo>
                      <a:pt x="321" y="334"/>
                    </a:lnTo>
                    <a:lnTo>
                      <a:pt x="323" y="334"/>
                    </a:lnTo>
                    <a:lnTo>
                      <a:pt x="324" y="334"/>
                    </a:lnTo>
                    <a:lnTo>
                      <a:pt x="326" y="334"/>
                    </a:lnTo>
                    <a:lnTo>
                      <a:pt x="328" y="334"/>
                    </a:lnTo>
                    <a:lnTo>
                      <a:pt x="329" y="334"/>
                    </a:lnTo>
                    <a:lnTo>
                      <a:pt x="331" y="334"/>
                    </a:lnTo>
                    <a:lnTo>
                      <a:pt x="333" y="332"/>
                    </a:lnTo>
                    <a:lnTo>
                      <a:pt x="334" y="332"/>
                    </a:lnTo>
                    <a:lnTo>
                      <a:pt x="336" y="332"/>
                    </a:lnTo>
                    <a:lnTo>
                      <a:pt x="336" y="334"/>
                    </a:lnTo>
                    <a:lnTo>
                      <a:pt x="336" y="335"/>
                    </a:lnTo>
                    <a:lnTo>
                      <a:pt x="336" y="337"/>
                    </a:lnTo>
                    <a:lnTo>
                      <a:pt x="336" y="339"/>
                    </a:lnTo>
                    <a:lnTo>
                      <a:pt x="336" y="340"/>
                    </a:lnTo>
                    <a:lnTo>
                      <a:pt x="334" y="340"/>
                    </a:lnTo>
                    <a:lnTo>
                      <a:pt x="336" y="340"/>
                    </a:lnTo>
                    <a:lnTo>
                      <a:pt x="334" y="342"/>
                    </a:lnTo>
                    <a:lnTo>
                      <a:pt x="333" y="344"/>
                    </a:lnTo>
                    <a:lnTo>
                      <a:pt x="333" y="342"/>
                    </a:lnTo>
                    <a:lnTo>
                      <a:pt x="333" y="344"/>
                    </a:lnTo>
                    <a:lnTo>
                      <a:pt x="331" y="344"/>
                    </a:lnTo>
                    <a:lnTo>
                      <a:pt x="331" y="342"/>
                    </a:lnTo>
                    <a:lnTo>
                      <a:pt x="329" y="342"/>
                    </a:lnTo>
                    <a:lnTo>
                      <a:pt x="329" y="344"/>
                    </a:lnTo>
                    <a:lnTo>
                      <a:pt x="328" y="344"/>
                    </a:lnTo>
                    <a:lnTo>
                      <a:pt x="328" y="346"/>
                    </a:lnTo>
                    <a:lnTo>
                      <a:pt x="326" y="346"/>
                    </a:lnTo>
                    <a:lnTo>
                      <a:pt x="326" y="347"/>
                    </a:lnTo>
                    <a:lnTo>
                      <a:pt x="324" y="346"/>
                    </a:lnTo>
                    <a:lnTo>
                      <a:pt x="324" y="347"/>
                    </a:lnTo>
                    <a:lnTo>
                      <a:pt x="323" y="347"/>
                    </a:lnTo>
                    <a:lnTo>
                      <a:pt x="321" y="347"/>
                    </a:lnTo>
                    <a:lnTo>
                      <a:pt x="321" y="349"/>
                    </a:lnTo>
                    <a:lnTo>
                      <a:pt x="319" y="347"/>
                    </a:lnTo>
                    <a:lnTo>
                      <a:pt x="317" y="347"/>
                    </a:lnTo>
                    <a:lnTo>
                      <a:pt x="316" y="347"/>
                    </a:lnTo>
                    <a:lnTo>
                      <a:pt x="314" y="347"/>
                    </a:lnTo>
                    <a:lnTo>
                      <a:pt x="314" y="349"/>
                    </a:lnTo>
                    <a:lnTo>
                      <a:pt x="312" y="349"/>
                    </a:lnTo>
                    <a:lnTo>
                      <a:pt x="312" y="351"/>
                    </a:lnTo>
                    <a:lnTo>
                      <a:pt x="312" y="352"/>
                    </a:lnTo>
                    <a:lnTo>
                      <a:pt x="312" y="354"/>
                    </a:lnTo>
                    <a:lnTo>
                      <a:pt x="312" y="356"/>
                    </a:lnTo>
                    <a:lnTo>
                      <a:pt x="312" y="357"/>
                    </a:lnTo>
                    <a:lnTo>
                      <a:pt x="312" y="359"/>
                    </a:lnTo>
                    <a:lnTo>
                      <a:pt x="312" y="361"/>
                    </a:lnTo>
                    <a:lnTo>
                      <a:pt x="311" y="361"/>
                    </a:lnTo>
                    <a:lnTo>
                      <a:pt x="309" y="361"/>
                    </a:lnTo>
                    <a:lnTo>
                      <a:pt x="309" y="363"/>
                    </a:lnTo>
                    <a:lnTo>
                      <a:pt x="309" y="364"/>
                    </a:lnTo>
                    <a:lnTo>
                      <a:pt x="307" y="364"/>
                    </a:lnTo>
                    <a:lnTo>
                      <a:pt x="306" y="364"/>
                    </a:lnTo>
                    <a:lnTo>
                      <a:pt x="304" y="366"/>
                    </a:lnTo>
                    <a:lnTo>
                      <a:pt x="304" y="368"/>
                    </a:lnTo>
                    <a:lnTo>
                      <a:pt x="304" y="369"/>
                    </a:lnTo>
                    <a:lnTo>
                      <a:pt x="302" y="368"/>
                    </a:lnTo>
                    <a:lnTo>
                      <a:pt x="300" y="368"/>
                    </a:lnTo>
                    <a:lnTo>
                      <a:pt x="302" y="368"/>
                    </a:lnTo>
                    <a:lnTo>
                      <a:pt x="302" y="366"/>
                    </a:lnTo>
                    <a:lnTo>
                      <a:pt x="302" y="364"/>
                    </a:lnTo>
                    <a:lnTo>
                      <a:pt x="302" y="363"/>
                    </a:lnTo>
                    <a:lnTo>
                      <a:pt x="302" y="364"/>
                    </a:lnTo>
                    <a:lnTo>
                      <a:pt x="302" y="363"/>
                    </a:lnTo>
                    <a:lnTo>
                      <a:pt x="300" y="364"/>
                    </a:lnTo>
                    <a:lnTo>
                      <a:pt x="299" y="364"/>
                    </a:lnTo>
                    <a:lnTo>
                      <a:pt x="299" y="366"/>
                    </a:lnTo>
                    <a:lnTo>
                      <a:pt x="297" y="366"/>
                    </a:lnTo>
                    <a:lnTo>
                      <a:pt x="295" y="368"/>
                    </a:lnTo>
                    <a:lnTo>
                      <a:pt x="295" y="369"/>
                    </a:lnTo>
                    <a:lnTo>
                      <a:pt x="294" y="369"/>
                    </a:lnTo>
                    <a:lnTo>
                      <a:pt x="294" y="371"/>
                    </a:lnTo>
                    <a:lnTo>
                      <a:pt x="292" y="371"/>
                    </a:lnTo>
                    <a:lnTo>
                      <a:pt x="290" y="371"/>
                    </a:lnTo>
                    <a:lnTo>
                      <a:pt x="290" y="373"/>
                    </a:lnTo>
                    <a:lnTo>
                      <a:pt x="289" y="373"/>
                    </a:lnTo>
                    <a:lnTo>
                      <a:pt x="289" y="371"/>
                    </a:lnTo>
                    <a:lnTo>
                      <a:pt x="287" y="371"/>
                    </a:lnTo>
                    <a:lnTo>
                      <a:pt x="285" y="371"/>
                    </a:lnTo>
                    <a:lnTo>
                      <a:pt x="287" y="373"/>
                    </a:lnTo>
                    <a:lnTo>
                      <a:pt x="285" y="373"/>
                    </a:lnTo>
                    <a:lnTo>
                      <a:pt x="283" y="373"/>
                    </a:lnTo>
                    <a:lnTo>
                      <a:pt x="283" y="374"/>
                    </a:lnTo>
                    <a:lnTo>
                      <a:pt x="283" y="373"/>
                    </a:lnTo>
                    <a:lnTo>
                      <a:pt x="282" y="373"/>
                    </a:lnTo>
                    <a:lnTo>
                      <a:pt x="282" y="374"/>
                    </a:lnTo>
                    <a:lnTo>
                      <a:pt x="282" y="376"/>
                    </a:lnTo>
                    <a:lnTo>
                      <a:pt x="280" y="376"/>
                    </a:lnTo>
                    <a:lnTo>
                      <a:pt x="280" y="378"/>
                    </a:lnTo>
                    <a:lnTo>
                      <a:pt x="278" y="378"/>
                    </a:lnTo>
                    <a:lnTo>
                      <a:pt x="278" y="376"/>
                    </a:lnTo>
                    <a:lnTo>
                      <a:pt x="277" y="376"/>
                    </a:lnTo>
                    <a:lnTo>
                      <a:pt x="275" y="376"/>
                    </a:lnTo>
                    <a:lnTo>
                      <a:pt x="277" y="378"/>
                    </a:lnTo>
                    <a:lnTo>
                      <a:pt x="275" y="378"/>
                    </a:lnTo>
                    <a:lnTo>
                      <a:pt x="275" y="380"/>
                    </a:lnTo>
                    <a:lnTo>
                      <a:pt x="277" y="381"/>
                    </a:lnTo>
                    <a:lnTo>
                      <a:pt x="275" y="381"/>
                    </a:lnTo>
                    <a:lnTo>
                      <a:pt x="275" y="383"/>
                    </a:lnTo>
                    <a:lnTo>
                      <a:pt x="275" y="385"/>
                    </a:lnTo>
                    <a:lnTo>
                      <a:pt x="273" y="385"/>
                    </a:lnTo>
                    <a:lnTo>
                      <a:pt x="273" y="383"/>
                    </a:lnTo>
                    <a:lnTo>
                      <a:pt x="272" y="383"/>
                    </a:lnTo>
                    <a:lnTo>
                      <a:pt x="270" y="383"/>
                    </a:lnTo>
                    <a:lnTo>
                      <a:pt x="270" y="385"/>
                    </a:lnTo>
                    <a:lnTo>
                      <a:pt x="268" y="385"/>
                    </a:lnTo>
                    <a:lnTo>
                      <a:pt x="270" y="385"/>
                    </a:lnTo>
                    <a:lnTo>
                      <a:pt x="268" y="386"/>
                    </a:lnTo>
                    <a:lnTo>
                      <a:pt x="266" y="388"/>
                    </a:lnTo>
                    <a:lnTo>
                      <a:pt x="268" y="388"/>
                    </a:lnTo>
                    <a:lnTo>
                      <a:pt x="268" y="390"/>
                    </a:lnTo>
                    <a:lnTo>
                      <a:pt x="266" y="390"/>
                    </a:lnTo>
                    <a:lnTo>
                      <a:pt x="266" y="391"/>
                    </a:lnTo>
                    <a:lnTo>
                      <a:pt x="265" y="391"/>
                    </a:lnTo>
                    <a:lnTo>
                      <a:pt x="263" y="391"/>
                    </a:lnTo>
                    <a:lnTo>
                      <a:pt x="263" y="393"/>
                    </a:lnTo>
                    <a:lnTo>
                      <a:pt x="261" y="391"/>
                    </a:lnTo>
                    <a:lnTo>
                      <a:pt x="261" y="390"/>
                    </a:lnTo>
                    <a:lnTo>
                      <a:pt x="263" y="388"/>
                    </a:lnTo>
                    <a:lnTo>
                      <a:pt x="263" y="386"/>
                    </a:lnTo>
                    <a:lnTo>
                      <a:pt x="265" y="386"/>
                    </a:lnTo>
                    <a:lnTo>
                      <a:pt x="265" y="385"/>
                    </a:lnTo>
                    <a:lnTo>
                      <a:pt x="263" y="385"/>
                    </a:lnTo>
                    <a:lnTo>
                      <a:pt x="263" y="383"/>
                    </a:lnTo>
                    <a:lnTo>
                      <a:pt x="263" y="381"/>
                    </a:lnTo>
                    <a:lnTo>
                      <a:pt x="261" y="381"/>
                    </a:lnTo>
                    <a:lnTo>
                      <a:pt x="260" y="381"/>
                    </a:lnTo>
                    <a:lnTo>
                      <a:pt x="258" y="381"/>
                    </a:lnTo>
                    <a:lnTo>
                      <a:pt x="256" y="381"/>
                    </a:lnTo>
                    <a:lnTo>
                      <a:pt x="255" y="381"/>
                    </a:lnTo>
                    <a:lnTo>
                      <a:pt x="255" y="383"/>
                    </a:lnTo>
                    <a:lnTo>
                      <a:pt x="253" y="383"/>
                    </a:lnTo>
                    <a:lnTo>
                      <a:pt x="251" y="383"/>
                    </a:lnTo>
                    <a:lnTo>
                      <a:pt x="251" y="385"/>
                    </a:lnTo>
                    <a:lnTo>
                      <a:pt x="249" y="385"/>
                    </a:lnTo>
                    <a:lnTo>
                      <a:pt x="249" y="386"/>
                    </a:lnTo>
                    <a:lnTo>
                      <a:pt x="248" y="386"/>
                    </a:lnTo>
                    <a:lnTo>
                      <a:pt x="248" y="388"/>
                    </a:lnTo>
                    <a:lnTo>
                      <a:pt x="246" y="388"/>
                    </a:lnTo>
                    <a:lnTo>
                      <a:pt x="244" y="388"/>
                    </a:lnTo>
                    <a:lnTo>
                      <a:pt x="244" y="390"/>
                    </a:lnTo>
                    <a:lnTo>
                      <a:pt x="243" y="390"/>
                    </a:lnTo>
                    <a:lnTo>
                      <a:pt x="241" y="390"/>
                    </a:lnTo>
                    <a:lnTo>
                      <a:pt x="241" y="388"/>
                    </a:lnTo>
                    <a:lnTo>
                      <a:pt x="239" y="388"/>
                    </a:lnTo>
                    <a:lnTo>
                      <a:pt x="238" y="390"/>
                    </a:lnTo>
                    <a:lnTo>
                      <a:pt x="236" y="390"/>
                    </a:lnTo>
                    <a:lnTo>
                      <a:pt x="219" y="373"/>
                    </a:lnTo>
                    <a:lnTo>
                      <a:pt x="217" y="373"/>
                    </a:lnTo>
                    <a:lnTo>
                      <a:pt x="217" y="371"/>
                    </a:lnTo>
                    <a:lnTo>
                      <a:pt x="219" y="371"/>
                    </a:lnTo>
                    <a:lnTo>
                      <a:pt x="219" y="369"/>
                    </a:lnTo>
                    <a:lnTo>
                      <a:pt x="219" y="368"/>
                    </a:lnTo>
                    <a:lnTo>
                      <a:pt x="217" y="368"/>
                    </a:lnTo>
                    <a:lnTo>
                      <a:pt x="217" y="366"/>
                    </a:lnTo>
                    <a:lnTo>
                      <a:pt x="217" y="364"/>
                    </a:lnTo>
                    <a:lnTo>
                      <a:pt x="215" y="364"/>
                    </a:lnTo>
                    <a:lnTo>
                      <a:pt x="215" y="363"/>
                    </a:lnTo>
                    <a:lnTo>
                      <a:pt x="215" y="361"/>
                    </a:lnTo>
                    <a:lnTo>
                      <a:pt x="215" y="359"/>
                    </a:lnTo>
                    <a:lnTo>
                      <a:pt x="214" y="359"/>
                    </a:lnTo>
                    <a:lnTo>
                      <a:pt x="214" y="357"/>
                    </a:lnTo>
                    <a:lnTo>
                      <a:pt x="214" y="356"/>
                    </a:lnTo>
                    <a:lnTo>
                      <a:pt x="212" y="356"/>
                    </a:lnTo>
                    <a:lnTo>
                      <a:pt x="212" y="354"/>
                    </a:lnTo>
                    <a:lnTo>
                      <a:pt x="212" y="352"/>
                    </a:lnTo>
                    <a:lnTo>
                      <a:pt x="212" y="351"/>
                    </a:lnTo>
                    <a:lnTo>
                      <a:pt x="210" y="349"/>
                    </a:lnTo>
                    <a:lnTo>
                      <a:pt x="209" y="347"/>
                    </a:lnTo>
                    <a:lnTo>
                      <a:pt x="210" y="347"/>
                    </a:lnTo>
                    <a:lnTo>
                      <a:pt x="210" y="346"/>
                    </a:lnTo>
                    <a:lnTo>
                      <a:pt x="210" y="344"/>
                    </a:lnTo>
                    <a:lnTo>
                      <a:pt x="209" y="342"/>
                    </a:lnTo>
                    <a:lnTo>
                      <a:pt x="209" y="344"/>
                    </a:lnTo>
                    <a:lnTo>
                      <a:pt x="209" y="342"/>
                    </a:lnTo>
                    <a:lnTo>
                      <a:pt x="207" y="342"/>
                    </a:lnTo>
                    <a:lnTo>
                      <a:pt x="207" y="340"/>
                    </a:lnTo>
                    <a:lnTo>
                      <a:pt x="207" y="339"/>
                    </a:lnTo>
                    <a:lnTo>
                      <a:pt x="205" y="339"/>
                    </a:lnTo>
                    <a:lnTo>
                      <a:pt x="207" y="339"/>
                    </a:lnTo>
                    <a:lnTo>
                      <a:pt x="207" y="337"/>
                    </a:lnTo>
                    <a:lnTo>
                      <a:pt x="207" y="335"/>
                    </a:lnTo>
                    <a:lnTo>
                      <a:pt x="207" y="334"/>
                    </a:lnTo>
                    <a:lnTo>
                      <a:pt x="205" y="334"/>
                    </a:lnTo>
                    <a:lnTo>
                      <a:pt x="205" y="332"/>
                    </a:lnTo>
                    <a:lnTo>
                      <a:pt x="204" y="332"/>
                    </a:lnTo>
                    <a:lnTo>
                      <a:pt x="202" y="330"/>
                    </a:lnTo>
                    <a:lnTo>
                      <a:pt x="202" y="329"/>
                    </a:lnTo>
                    <a:lnTo>
                      <a:pt x="200" y="329"/>
                    </a:lnTo>
                    <a:lnTo>
                      <a:pt x="200" y="327"/>
                    </a:lnTo>
                    <a:lnTo>
                      <a:pt x="198" y="327"/>
                    </a:lnTo>
                    <a:lnTo>
                      <a:pt x="197" y="325"/>
                    </a:lnTo>
                    <a:lnTo>
                      <a:pt x="195" y="325"/>
                    </a:lnTo>
                    <a:lnTo>
                      <a:pt x="195" y="323"/>
                    </a:lnTo>
                    <a:lnTo>
                      <a:pt x="193" y="322"/>
                    </a:lnTo>
                    <a:lnTo>
                      <a:pt x="193" y="320"/>
                    </a:lnTo>
                    <a:lnTo>
                      <a:pt x="192" y="320"/>
                    </a:lnTo>
                    <a:lnTo>
                      <a:pt x="190" y="320"/>
                    </a:lnTo>
                    <a:lnTo>
                      <a:pt x="188" y="320"/>
                    </a:lnTo>
                    <a:lnTo>
                      <a:pt x="188" y="318"/>
                    </a:lnTo>
                    <a:lnTo>
                      <a:pt x="187" y="320"/>
                    </a:lnTo>
                    <a:lnTo>
                      <a:pt x="187" y="318"/>
                    </a:lnTo>
                    <a:lnTo>
                      <a:pt x="185" y="320"/>
                    </a:lnTo>
                    <a:lnTo>
                      <a:pt x="185" y="318"/>
                    </a:lnTo>
                    <a:lnTo>
                      <a:pt x="187" y="317"/>
                    </a:lnTo>
                    <a:lnTo>
                      <a:pt x="190" y="313"/>
                    </a:lnTo>
                    <a:lnTo>
                      <a:pt x="193" y="310"/>
                    </a:lnTo>
                    <a:lnTo>
                      <a:pt x="197" y="308"/>
                    </a:lnTo>
                    <a:lnTo>
                      <a:pt x="198" y="305"/>
                    </a:lnTo>
                    <a:lnTo>
                      <a:pt x="200" y="305"/>
                    </a:lnTo>
                    <a:lnTo>
                      <a:pt x="200" y="303"/>
                    </a:lnTo>
                    <a:lnTo>
                      <a:pt x="202" y="303"/>
                    </a:lnTo>
                    <a:lnTo>
                      <a:pt x="202" y="301"/>
                    </a:lnTo>
                    <a:lnTo>
                      <a:pt x="204" y="301"/>
                    </a:lnTo>
                    <a:lnTo>
                      <a:pt x="204" y="300"/>
                    </a:lnTo>
                    <a:lnTo>
                      <a:pt x="202" y="300"/>
                    </a:lnTo>
                    <a:lnTo>
                      <a:pt x="202" y="298"/>
                    </a:lnTo>
                    <a:lnTo>
                      <a:pt x="200" y="298"/>
                    </a:lnTo>
                    <a:lnTo>
                      <a:pt x="200" y="296"/>
                    </a:lnTo>
                    <a:lnTo>
                      <a:pt x="200" y="295"/>
                    </a:lnTo>
                    <a:lnTo>
                      <a:pt x="198" y="295"/>
                    </a:lnTo>
                    <a:lnTo>
                      <a:pt x="198" y="293"/>
                    </a:lnTo>
                    <a:lnTo>
                      <a:pt x="198" y="291"/>
                    </a:lnTo>
                    <a:lnTo>
                      <a:pt x="197" y="289"/>
                    </a:lnTo>
                    <a:lnTo>
                      <a:pt x="197" y="288"/>
                    </a:lnTo>
                    <a:lnTo>
                      <a:pt x="195" y="288"/>
                    </a:lnTo>
                    <a:lnTo>
                      <a:pt x="193" y="288"/>
                    </a:lnTo>
                    <a:lnTo>
                      <a:pt x="192" y="288"/>
                    </a:lnTo>
                    <a:lnTo>
                      <a:pt x="192" y="286"/>
                    </a:lnTo>
                    <a:lnTo>
                      <a:pt x="192" y="284"/>
                    </a:lnTo>
                    <a:lnTo>
                      <a:pt x="192" y="283"/>
                    </a:lnTo>
                    <a:lnTo>
                      <a:pt x="190" y="283"/>
                    </a:lnTo>
                    <a:lnTo>
                      <a:pt x="190" y="281"/>
                    </a:lnTo>
                    <a:lnTo>
                      <a:pt x="190" y="279"/>
                    </a:lnTo>
                    <a:lnTo>
                      <a:pt x="190" y="278"/>
                    </a:lnTo>
                    <a:lnTo>
                      <a:pt x="188" y="276"/>
                    </a:lnTo>
                    <a:lnTo>
                      <a:pt x="188" y="274"/>
                    </a:lnTo>
                    <a:lnTo>
                      <a:pt x="187" y="274"/>
                    </a:lnTo>
                    <a:lnTo>
                      <a:pt x="187" y="272"/>
                    </a:lnTo>
                    <a:lnTo>
                      <a:pt x="187" y="271"/>
                    </a:lnTo>
                    <a:lnTo>
                      <a:pt x="187" y="269"/>
                    </a:lnTo>
                    <a:lnTo>
                      <a:pt x="187" y="267"/>
                    </a:lnTo>
                    <a:lnTo>
                      <a:pt x="188" y="269"/>
                    </a:lnTo>
                    <a:lnTo>
                      <a:pt x="188" y="267"/>
                    </a:lnTo>
                    <a:lnTo>
                      <a:pt x="187" y="267"/>
                    </a:lnTo>
                    <a:lnTo>
                      <a:pt x="187" y="266"/>
                    </a:lnTo>
                    <a:lnTo>
                      <a:pt x="188" y="266"/>
                    </a:lnTo>
                    <a:lnTo>
                      <a:pt x="187" y="266"/>
                    </a:lnTo>
                    <a:lnTo>
                      <a:pt x="187" y="264"/>
                    </a:lnTo>
                    <a:lnTo>
                      <a:pt x="187" y="262"/>
                    </a:lnTo>
                    <a:lnTo>
                      <a:pt x="185" y="262"/>
                    </a:lnTo>
                    <a:lnTo>
                      <a:pt x="185" y="261"/>
                    </a:lnTo>
                    <a:lnTo>
                      <a:pt x="185" y="259"/>
                    </a:lnTo>
                    <a:lnTo>
                      <a:pt x="185" y="257"/>
                    </a:lnTo>
                    <a:lnTo>
                      <a:pt x="185" y="255"/>
                    </a:lnTo>
                    <a:lnTo>
                      <a:pt x="187" y="255"/>
                    </a:lnTo>
                    <a:lnTo>
                      <a:pt x="187" y="254"/>
                    </a:lnTo>
                    <a:lnTo>
                      <a:pt x="185" y="254"/>
                    </a:lnTo>
                    <a:lnTo>
                      <a:pt x="185" y="252"/>
                    </a:lnTo>
                    <a:lnTo>
                      <a:pt x="185" y="250"/>
                    </a:lnTo>
                    <a:lnTo>
                      <a:pt x="185" y="249"/>
                    </a:lnTo>
                    <a:lnTo>
                      <a:pt x="185" y="247"/>
                    </a:lnTo>
                    <a:lnTo>
                      <a:pt x="187" y="247"/>
                    </a:lnTo>
                    <a:lnTo>
                      <a:pt x="187" y="245"/>
                    </a:lnTo>
                    <a:lnTo>
                      <a:pt x="187" y="243"/>
                    </a:lnTo>
                    <a:lnTo>
                      <a:pt x="185" y="243"/>
                    </a:lnTo>
                    <a:lnTo>
                      <a:pt x="187" y="243"/>
                    </a:lnTo>
                    <a:lnTo>
                      <a:pt x="185" y="242"/>
                    </a:lnTo>
                    <a:lnTo>
                      <a:pt x="185" y="240"/>
                    </a:lnTo>
                    <a:lnTo>
                      <a:pt x="185" y="238"/>
                    </a:lnTo>
                    <a:lnTo>
                      <a:pt x="187" y="237"/>
                    </a:lnTo>
                    <a:lnTo>
                      <a:pt x="185" y="237"/>
                    </a:lnTo>
                    <a:lnTo>
                      <a:pt x="185" y="235"/>
                    </a:lnTo>
                    <a:lnTo>
                      <a:pt x="187" y="235"/>
                    </a:lnTo>
                    <a:lnTo>
                      <a:pt x="187" y="233"/>
                    </a:lnTo>
                    <a:lnTo>
                      <a:pt x="188" y="233"/>
                    </a:lnTo>
                    <a:lnTo>
                      <a:pt x="188" y="232"/>
                    </a:lnTo>
                    <a:lnTo>
                      <a:pt x="190" y="232"/>
                    </a:lnTo>
                    <a:lnTo>
                      <a:pt x="192" y="230"/>
                    </a:lnTo>
                    <a:lnTo>
                      <a:pt x="192" y="228"/>
                    </a:lnTo>
                    <a:lnTo>
                      <a:pt x="193" y="228"/>
                    </a:lnTo>
                    <a:lnTo>
                      <a:pt x="193" y="226"/>
                    </a:lnTo>
                    <a:lnTo>
                      <a:pt x="193" y="225"/>
                    </a:lnTo>
                    <a:lnTo>
                      <a:pt x="192" y="225"/>
                    </a:lnTo>
                    <a:lnTo>
                      <a:pt x="192" y="223"/>
                    </a:lnTo>
                    <a:lnTo>
                      <a:pt x="192" y="221"/>
                    </a:lnTo>
                    <a:lnTo>
                      <a:pt x="193" y="220"/>
                    </a:lnTo>
                    <a:lnTo>
                      <a:pt x="193" y="218"/>
                    </a:lnTo>
                    <a:lnTo>
                      <a:pt x="193" y="216"/>
                    </a:lnTo>
                    <a:lnTo>
                      <a:pt x="195" y="216"/>
                    </a:lnTo>
                    <a:lnTo>
                      <a:pt x="195" y="215"/>
                    </a:lnTo>
                    <a:lnTo>
                      <a:pt x="197" y="215"/>
                    </a:lnTo>
                    <a:lnTo>
                      <a:pt x="198" y="213"/>
                    </a:lnTo>
                    <a:lnTo>
                      <a:pt x="200" y="213"/>
                    </a:lnTo>
                    <a:lnTo>
                      <a:pt x="200" y="211"/>
                    </a:lnTo>
                    <a:lnTo>
                      <a:pt x="198" y="211"/>
                    </a:lnTo>
                    <a:lnTo>
                      <a:pt x="198" y="209"/>
                    </a:lnTo>
                    <a:lnTo>
                      <a:pt x="197" y="208"/>
                    </a:lnTo>
                    <a:lnTo>
                      <a:pt x="197" y="206"/>
                    </a:lnTo>
                    <a:lnTo>
                      <a:pt x="198" y="206"/>
                    </a:lnTo>
                    <a:lnTo>
                      <a:pt x="198" y="204"/>
                    </a:lnTo>
                    <a:lnTo>
                      <a:pt x="197" y="204"/>
                    </a:lnTo>
                    <a:lnTo>
                      <a:pt x="195" y="203"/>
                    </a:lnTo>
                    <a:lnTo>
                      <a:pt x="193" y="203"/>
                    </a:lnTo>
                    <a:lnTo>
                      <a:pt x="192" y="203"/>
                    </a:lnTo>
                    <a:lnTo>
                      <a:pt x="190" y="203"/>
                    </a:lnTo>
                    <a:lnTo>
                      <a:pt x="190" y="201"/>
                    </a:lnTo>
                    <a:lnTo>
                      <a:pt x="188" y="201"/>
                    </a:lnTo>
                    <a:lnTo>
                      <a:pt x="188" y="203"/>
                    </a:lnTo>
                    <a:lnTo>
                      <a:pt x="188" y="201"/>
                    </a:lnTo>
                    <a:lnTo>
                      <a:pt x="187" y="201"/>
                    </a:lnTo>
                    <a:lnTo>
                      <a:pt x="185" y="201"/>
                    </a:lnTo>
                    <a:lnTo>
                      <a:pt x="183" y="203"/>
                    </a:lnTo>
                    <a:lnTo>
                      <a:pt x="181" y="204"/>
                    </a:lnTo>
                    <a:lnTo>
                      <a:pt x="180" y="204"/>
                    </a:lnTo>
                    <a:lnTo>
                      <a:pt x="178" y="204"/>
                    </a:lnTo>
                    <a:lnTo>
                      <a:pt x="176" y="204"/>
                    </a:lnTo>
                    <a:lnTo>
                      <a:pt x="175" y="204"/>
                    </a:lnTo>
                    <a:lnTo>
                      <a:pt x="173" y="204"/>
                    </a:lnTo>
                    <a:lnTo>
                      <a:pt x="171" y="204"/>
                    </a:lnTo>
                    <a:lnTo>
                      <a:pt x="171" y="206"/>
                    </a:lnTo>
                    <a:lnTo>
                      <a:pt x="170" y="206"/>
                    </a:lnTo>
                    <a:lnTo>
                      <a:pt x="168" y="206"/>
                    </a:lnTo>
                    <a:lnTo>
                      <a:pt x="166" y="206"/>
                    </a:lnTo>
                    <a:lnTo>
                      <a:pt x="164" y="206"/>
                    </a:lnTo>
                    <a:lnTo>
                      <a:pt x="163" y="206"/>
                    </a:lnTo>
                    <a:lnTo>
                      <a:pt x="161" y="206"/>
                    </a:lnTo>
                    <a:lnTo>
                      <a:pt x="159" y="206"/>
                    </a:lnTo>
                    <a:lnTo>
                      <a:pt x="158" y="208"/>
                    </a:lnTo>
                    <a:lnTo>
                      <a:pt x="156" y="208"/>
                    </a:lnTo>
                    <a:lnTo>
                      <a:pt x="156" y="206"/>
                    </a:lnTo>
                    <a:lnTo>
                      <a:pt x="154" y="206"/>
                    </a:lnTo>
                    <a:lnTo>
                      <a:pt x="153" y="206"/>
                    </a:lnTo>
                    <a:lnTo>
                      <a:pt x="151" y="206"/>
                    </a:lnTo>
                    <a:lnTo>
                      <a:pt x="149" y="206"/>
                    </a:lnTo>
                    <a:lnTo>
                      <a:pt x="147" y="206"/>
                    </a:lnTo>
                    <a:lnTo>
                      <a:pt x="147" y="204"/>
                    </a:lnTo>
                    <a:lnTo>
                      <a:pt x="146" y="206"/>
                    </a:lnTo>
                    <a:lnTo>
                      <a:pt x="146" y="204"/>
                    </a:lnTo>
                    <a:lnTo>
                      <a:pt x="144" y="204"/>
                    </a:lnTo>
                    <a:lnTo>
                      <a:pt x="142" y="204"/>
                    </a:lnTo>
                    <a:lnTo>
                      <a:pt x="142" y="206"/>
                    </a:lnTo>
                    <a:lnTo>
                      <a:pt x="141" y="206"/>
                    </a:lnTo>
                    <a:lnTo>
                      <a:pt x="139" y="208"/>
                    </a:lnTo>
                    <a:lnTo>
                      <a:pt x="137" y="209"/>
                    </a:lnTo>
                    <a:lnTo>
                      <a:pt x="136" y="209"/>
                    </a:lnTo>
                    <a:lnTo>
                      <a:pt x="136" y="208"/>
                    </a:lnTo>
                    <a:lnTo>
                      <a:pt x="134" y="208"/>
                    </a:lnTo>
                    <a:lnTo>
                      <a:pt x="132" y="208"/>
                    </a:lnTo>
                    <a:lnTo>
                      <a:pt x="127" y="203"/>
                    </a:lnTo>
                    <a:lnTo>
                      <a:pt x="127" y="201"/>
                    </a:lnTo>
                    <a:lnTo>
                      <a:pt x="120" y="194"/>
                    </a:lnTo>
                    <a:lnTo>
                      <a:pt x="113" y="186"/>
                    </a:lnTo>
                    <a:lnTo>
                      <a:pt x="110" y="181"/>
                    </a:lnTo>
                    <a:lnTo>
                      <a:pt x="108" y="179"/>
                    </a:lnTo>
                    <a:lnTo>
                      <a:pt x="107" y="179"/>
                    </a:lnTo>
                    <a:lnTo>
                      <a:pt x="105" y="179"/>
                    </a:lnTo>
                    <a:lnTo>
                      <a:pt x="103" y="179"/>
                    </a:lnTo>
                    <a:lnTo>
                      <a:pt x="103" y="181"/>
                    </a:lnTo>
                    <a:lnTo>
                      <a:pt x="102" y="181"/>
                    </a:lnTo>
                    <a:lnTo>
                      <a:pt x="100" y="181"/>
                    </a:lnTo>
                    <a:lnTo>
                      <a:pt x="100" y="179"/>
                    </a:lnTo>
                    <a:lnTo>
                      <a:pt x="98" y="179"/>
                    </a:lnTo>
                    <a:lnTo>
                      <a:pt x="98" y="177"/>
                    </a:lnTo>
                    <a:lnTo>
                      <a:pt x="96" y="177"/>
                    </a:lnTo>
                    <a:lnTo>
                      <a:pt x="95" y="177"/>
                    </a:lnTo>
                    <a:lnTo>
                      <a:pt x="95" y="175"/>
                    </a:lnTo>
                    <a:lnTo>
                      <a:pt x="93" y="175"/>
                    </a:lnTo>
                    <a:lnTo>
                      <a:pt x="91" y="175"/>
                    </a:lnTo>
                    <a:lnTo>
                      <a:pt x="90" y="175"/>
                    </a:lnTo>
                    <a:lnTo>
                      <a:pt x="90" y="174"/>
                    </a:lnTo>
                    <a:lnTo>
                      <a:pt x="88" y="175"/>
                    </a:lnTo>
                    <a:lnTo>
                      <a:pt x="86" y="174"/>
                    </a:lnTo>
                    <a:lnTo>
                      <a:pt x="86" y="175"/>
                    </a:lnTo>
                    <a:lnTo>
                      <a:pt x="85" y="175"/>
                    </a:lnTo>
                    <a:lnTo>
                      <a:pt x="83" y="175"/>
                    </a:lnTo>
                    <a:lnTo>
                      <a:pt x="81" y="177"/>
                    </a:lnTo>
                    <a:lnTo>
                      <a:pt x="81" y="175"/>
                    </a:lnTo>
                    <a:lnTo>
                      <a:pt x="81" y="177"/>
                    </a:lnTo>
                    <a:lnTo>
                      <a:pt x="79" y="177"/>
                    </a:lnTo>
                    <a:lnTo>
                      <a:pt x="79" y="179"/>
                    </a:lnTo>
                    <a:lnTo>
                      <a:pt x="78" y="179"/>
                    </a:lnTo>
                    <a:lnTo>
                      <a:pt x="76" y="179"/>
                    </a:lnTo>
                    <a:lnTo>
                      <a:pt x="74" y="179"/>
                    </a:lnTo>
                    <a:lnTo>
                      <a:pt x="74" y="177"/>
                    </a:lnTo>
                    <a:lnTo>
                      <a:pt x="73" y="177"/>
                    </a:lnTo>
                    <a:lnTo>
                      <a:pt x="71" y="177"/>
                    </a:lnTo>
                    <a:lnTo>
                      <a:pt x="69" y="177"/>
                    </a:lnTo>
                    <a:lnTo>
                      <a:pt x="68" y="177"/>
                    </a:lnTo>
                    <a:lnTo>
                      <a:pt x="66" y="177"/>
                    </a:lnTo>
                    <a:lnTo>
                      <a:pt x="64" y="177"/>
                    </a:lnTo>
                    <a:lnTo>
                      <a:pt x="62" y="177"/>
                    </a:lnTo>
                    <a:lnTo>
                      <a:pt x="61" y="177"/>
                    </a:lnTo>
                    <a:lnTo>
                      <a:pt x="59" y="177"/>
                    </a:lnTo>
                    <a:lnTo>
                      <a:pt x="59" y="175"/>
                    </a:lnTo>
                    <a:lnTo>
                      <a:pt x="57" y="177"/>
                    </a:lnTo>
                    <a:lnTo>
                      <a:pt x="57" y="175"/>
                    </a:lnTo>
                    <a:lnTo>
                      <a:pt x="56" y="177"/>
                    </a:lnTo>
                    <a:lnTo>
                      <a:pt x="54" y="177"/>
                    </a:lnTo>
                    <a:lnTo>
                      <a:pt x="54" y="175"/>
                    </a:lnTo>
                    <a:lnTo>
                      <a:pt x="52" y="175"/>
                    </a:lnTo>
                    <a:lnTo>
                      <a:pt x="51" y="175"/>
                    </a:lnTo>
                    <a:lnTo>
                      <a:pt x="51" y="177"/>
                    </a:lnTo>
                    <a:lnTo>
                      <a:pt x="49" y="177"/>
                    </a:lnTo>
                    <a:lnTo>
                      <a:pt x="47" y="177"/>
                    </a:lnTo>
                    <a:lnTo>
                      <a:pt x="45" y="177"/>
                    </a:lnTo>
                    <a:lnTo>
                      <a:pt x="44" y="177"/>
                    </a:lnTo>
                    <a:lnTo>
                      <a:pt x="42" y="175"/>
                    </a:lnTo>
                    <a:lnTo>
                      <a:pt x="40" y="172"/>
                    </a:lnTo>
                    <a:lnTo>
                      <a:pt x="40" y="170"/>
                    </a:lnTo>
                    <a:lnTo>
                      <a:pt x="39" y="170"/>
                    </a:lnTo>
                    <a:lnTo>
                      <a:pt x="39" y="169"/>
                    </a:lnTo>
                    <a:lnTo>
                      <a:pt x="39" y="167"/>
                    </a:lnTo>
                    <a:lnTo>
                      <a:pt x="40" y="167"/>
                    </a:lnTo>
                    <a:lnTo>
                      <a:pt x="39" y="167"/>
                    </a:lnTo>
                    <a:lnTo>
                      <a:pt x="39" y="165"/>
                    </a:lnTo>
                    <a:lnTo>
                      <a:pt x="37" y="164"/>
                    </a:lnTo>
                    <a:lnTo>
                      <a:pt x="37" y="165"/>
                    </a:lnTo>
                    <a:lnTo>
                      <a:pt x="35" y="165"/>
                    </a:lnTo>
                    <a:lnTo>
                      <a:pt x="34" y="165"/>
                    </a:lnTo>
                    <a:lnTo>
                      <a:pt x="34" y="164"/>
                    </a:lnTo>
                    <a:lnTo>
                      <a:pt x="32" y="165"/>
                    </a:lnTo>
                    <a:lnTo>
                      <a:pt x="32" y="164"/>
                    </a:lnTo>
                    <a:lnTo>
                      <a:pt x="30" y="164"/>
                    </a:lnTo>
                    <a:lnTo>
                      <a:pt x="30" y="162"/>
                    </a:lnTo>
                    <a:lnTo>
                      <a:pt x="28" y="162"/>
                    </a:lnTo>
                    <a:lnTo>
                      <a:pt x="28" y="160"/>
                    </a:lnTo>
                    <a:lnTo>
                      <a:pt x="30" y="160"/>
                    </a:lnTo>
                    <a:lnTo>
                      <a:pt x="30" y="158"/>
                    </a:lnTo>
                    <a:lnTo>
                      <a:pt x="28" y="158"/>
                    </a:lnTo>
                    <a:lnTo>
                      <a:pt x="28" y="157"/>
                    </a:lnTo>
                    <a:lnTo>
                      <a:pt x="28" y="155"/>
                    </a:lnTo>
                    <a:lnTo>
                      <a:pt x="28" y="153"/>
                    </a:lnTo>
                    <a:lnTo>
                      <a:pt x="28" y="152"/>
                    </a:lnTo>
                    <a:lnTo>
                      <a:pt x="30" y="150"/>
                    </a:lnTo>
                    <a:lnTo>
                      <a:pt x="30" y="148"/>
                    </a:lnTo>
                    <a:lnTo>
                      <a:pt x="28" y="148"/>
                    </a:lnTo>
                    <a:lnTo>
                      <a:pt x="28" y="147"/>
                    </a:lnTo>
                    <a:lnTo>
                      <a:pt x="28" y="145"/>
                    </a:lnTo>
                    <a:lnTo>
                      <a:pt x="30" y="145"/>
                    </a:lnTo>
                    <a:lnTo>
                      <a:pt x="30" y="143"/>
                    </a:lnTo>
                    <a:lnTo>
                      <a:pt x="32" y="143"/>
                    </a:lnTo>
                    <a:lnTo>
                      <a:pt x="34" y="143"/>
                    </a:lnTo>
                    <a:lnTo>
                      <a:pt x="34" y="141"/>
                    </a:lnTo>
                    <a:lnTo>
                      <a:pt x="32" y="141"/>
                    </a:lnTo>
                    <a:lnTo>
                      <a:pt x="32" y="140"/>
                    </a:lnTo>
                    <a:lnTo>
                      <a:pt x="32" y="138"/>
                    </a:lnTo>
                    <a:lnTo>
                      <a:pt x="34" y="138"/>
                    </a:lnTo>
                    <a:lnTo>
                      <a:pt x="32" y="138"/>
                    </a:lnTo>
                    <a:lnTo>
                      <a:pt x="32" y="136"/>
                    </a:lnTo>
                    <a:lnTo>
                      <a:pt x="32" y="135"/>
                    </a:lnTo>
                    <a:lnTo>
                      <a:pt x="32" y="133"/>
                    </a:lnTo>
                    <a:lnTo>
                      <a:pt x="32" y="131"/>
                    </a:lnTo>
                    <a:lnTo>
                      <a:pt x="30" y="131"/>
                    </a:lnTo>
                    <a:lnTo>
                      <a:pt x="28" y="130"/>
                    </a:lnTo>
                    <a:lnTo>
                      <a:pt x="28" y="128"/>
                    </a:lnTo>
                    <a:lnTo>
                      <a:pt x="27" y="126"/>
                    </a:lnTo>
                    <a:lnTo>
                      <a:pt x="25" y="126"/>
                    </a:lnTo>
                    <a:lnTo>
                      <a:pt x="25" y="124"/>
                    </a:lnTo>
                    <a:lnTo>
                      <a:pt x="23" y="124"/>
                    </a:lnTo>
                    <a:lnTo>
                      <a:pt x="23" y="123"/>
                    </a:lnTo>
                    <a:lnTo>
                      <a:pt x="22" y="121"/>
                    </a:lnTo>
                    <a:lnTo>
                      <a:pt x="22" y="118"/>
                    </a:lnTo>
                    <a:lnTo>
                      <a:pt x="20" y="113"/>
                    </a:lnTo>
                    <a:lnTo>
                      <a:pt x="20" y="111"/>
                    </a:lnTo>
                    <a:lnTo>
                      <a:pt x="20" y="109"/>
                    </a:lnTo>
                    <a:lnTo>
                      <a:pt x="18" y="107"/>
                    </a:lnTo>
                    <a:lnTo>
                      <a:pt x="18" y="106"/>
                    </a:lnTo>
                    <a:lnTo>
                      <a:pt x="17" y="106"/>
                    </a:lnTo>
                    <a:lnTo>
                      <a:pt x="17" y="104"/>
                    </a:lnTo>
                    <a:lnTo>
                      <a:pt x="17" y="106"/>
                    </a:lnTo>
                    <a:lnTo>
                      <a:pt x="15" y="106"/>
                    </a:lnTo>
                    <a:lnTo>
                      <a:pt x="13" y="106"/>
                    </a:lnTo>
                    <a:lnTo>
                      <a:pt x="13" y="107"/>
                    </a:lnTo>
                    <a:lnTo>
                      <a:pt x="13" y="106"/>
                    </a:lnTo>
                    <a:lnTo>
                      <a:pt x="11" y="106"/>
                    </a:lnTo>
                    <a:lnTo>
                      <a:pt x="11" y="104"/>
                    </a:lnTo>
                    <a:lnTo>
                      <a:pt x="13" y="104"/>
                    </a:lnTo>
                    <a:lnTo>
                      <a:pt x="11" y="104"/>
                    </a:lnTo>
                    <a:lnTo>
                      <a:pt x="11" y="102"/>
                    </a:lnTo>
                    <a:lnTo>
                      <a:pt x="11" y="101"/>
                    </a:lnTo>
                    <a:lnTo>
                      <a:pt x="11" y="99"/>
                    </a:lnTo>
                    <a:lnTo>
                      <a:pt x="10" y="101"/>
                    </a:lnTo>
                    <a:lnTo>
                      <a:pt x="8" y="101"/>
                    </a:lnTo>
                    <a:lnTo>
                      <a:pt x="8" y="102"/>
                    </a:lnTo>
                    <a:lnTo>
                      <a:pt x="6" y="102"/>
                    </a:lnTo>
                    <a:lnTo>
                      <a:pt x="5" y="104"/>
                    </a:lnTo>
                    <a:lnTo>
                      <a:pt x="3" y="104"/>
                    </a:lnTo>
                    <a:lnTo>
                      <a:pt x="1" y="104"/>
                    </a:lnTo>
                    <a:lnTo>
                      <a:pt x="0" y="104"/>
                    </a:lnTo>
                    <a:lnTo>
                      <a:pt x="0" y="102"/>
                    </a:lnTo>
                    <a:lnTo>
                      <a:pt x="0" y="101"/>
                    </a:lnTo>
                    <a:lnTo>
                      <a:pt x="1" y="101"/>
                    </a:lnTo>
                    <a:lnTo>
                      <a:pt x="1" y="99"/>
                    </a:lnTo>
                    <a:lnTo>
                      <a:pt x="3" y="97"/>
                    </a:lnTo>
                    <a:lnTo>
                      <a:pt x="3" y="96"/>
                    </a:lnTo>
                    <a:lnTo>
                      <a:pt x="5" y="96"/>
                    </a:lnTo>
                    <a:lnTo>
                      <a:pt x="5" y="94"/>
                    </a:lnTo>
                    <a:lnTo>
                      <a:pt x="5" y="92"/>
                    </a:lnTo>
                    <a:lnTo>
                      <a:pt x="6" y="92"/>
                    </a:lnTo>
                    <a:lnTo>
                      <a:pt x="6" y="90"/>
                    </a:lnTo>
                    <a:lnTo>
                      <a:pt x="8" y="89"/>
                    </a:lnTo>
                    <a:lnTo>
                      <a:pt x="8" y="87"/>
                    </a:lnTo>
                    <a:lnTo>
                      <a:pt x="10" y="87"/>
                    </a:lnTo>
                    <a:lnTo>
                      <a:pt x="10" y="85"/>
                    </a:lnTo>
                    <a:lnTo>
                      <a:pt x="11" y="84"/>
                    </a:lnTo>
                    <a:lnTo>
                      <a:pt x="11" y="82"/>
                    </a:lnTo>
                    <a:lnTo>
                      <a:pt x="13" y="82"/>
                    </a:lnTo>
                    <a:lnTo>
                      <a:pt x="13" y="80"/>
                    </a:lnTo>
                    <a:lnTo>
                      <a:pt x="11" y="80"/>
                    </a:lnTo>
                    <a:lnTo>
                      <a:pt x="11" y="78"/>
                    </a:lnTo>
                    <a:lnTo>
                      <a:pt x="11" y="77"/>
                    </a:lnTo>
                    <a:lnTo>
                      <a:pt x="11" y="75"/>
                    </a:lnTo>
                    <a:lnTo>
                      <a:pt x="13" y="75"/>
                    </a:lnTo>
                    <a:lnTo>
                      <a:pt x="13" y="73"/>
                    </a:lnTo>
                    <a:lnTo>
                      <a:pt x="13" y="72"/>
                    </a:lnTo>
                    <a:lnTo>
                      <a:pt x="15" y="72"/>
                    </a:lnTo>
                    <a:lnTo>
                      <a:pt x="13" y="70"/>
                    </a:lnTo>
                    <a:lnTo>
                      <a:pt x="15" y="70"/>
                    </a:lnTo>
                    <a:lnTo>
                      <a:pt x="15" y="68"/>
                    </a:lnTo>
                    <a:lnTo>
                      <a:pt x="15" y="67"/>
                    </a:lnTo>
                    <a:lnTo>
                      <a:pt x="15" y="65"/>
                    </a:lnTo>
                    <a:lnTo>
                      <a:pt x="15" y="63"/>
                    </a:lnTo>
                    <a:lnTo>
                      <a:pt x="15" y="61"/>
                    </a:lnTo>
                    <a:lnTo>
                      <a:pt x="15" y="60"/>
                    </a:lnTo>
                    <a:lnTo>
                      <a:pt x="17" y="60"/>
                    </a:lnTo>
                    <a:lnTo>
                      <a:pt x="17" y="58"/>
                    </a:lnTo>
                    <a:lnTo>
                      <a:pt x="17" y="56"/>
                    </a:lnTo>
                    <a:lnTo>
                      <a:pt x="18" y="55"/>
                    </a:lnTo>
                    <a:lnTo>
                      <a:pt x="20" y="55"/>
                    </a:lnTo>
                    <a:lnTo>
                      <a:pt x="20" y="53"/>
                    </a:lnTo>
                    <a:lnTo>
                      <a:pt x="20" y="51"/>
                    </a:lnTo>
                    <a:lnTo>
                      <a:pt x="20" y="50"/>
                    </a:lnTo>
                    <a:lnTo>
                      <a:pt x="22" y="50"/>
                    </a:lnTo>
                    <a:lnTo>
                      <a:pt x="22" y="48"/>
                    </a:lnTo>
                    <a:lnTo>
                      <a:pt x="22" y="46"/>
                    </a:lnTo>
                    <a:lnTo>
                      <a:pt x="23" y="44"/>
                    </a:lnTo>
                    <a:lnTo>
                      <a:pt x="25" y="44"/>
                    </a:lnTo>
                    <a:lnTo>
                      <a:pt x="27" y="43"/>
                    </a:lnTo>
                    <a:lnTo>
                      <a:pt x="27" y="41"/>
                    </a:lnTo>
                    <a:lnTo>
                      <a:pt x="28" y="39"/>
                    </a:lnTo>
                    <a:lnTo>
                      <a:pt x="28" y="38"/>
                    </a:lnTo>
                    <a:lnTo>
                      <a:pt x="30" y="36"/>
                    </a:lnTo>
                    <a:lnTo>
                      <a:pt x="30" y="38"/>
                    </a:lnTo>
                    <a:lnTo>
                      <a:pt x="30" y="36"/>
                    </a:lnTo>
                    <a:lnTo>
                      <a:pt x="32" y="36"/>
                    </a:lnTo>
                    <a:lnTo>
                      <a:pt x="34" y="36"/>
                    </a:lnTo>
                    <a:lnTo>
                      <a:pt x="35" y="36"/>
                    </a:lnTo>
                    <a:lnTo>
                      <a:pt x="37" y="36"/>
                    </a:lnTo>
                    <a:lnTo>
                      <a:pt x="39" y="33"/>
                    </a:lnTo>
                    <a:lnTo>
                      <a:pt x="40" y="29"/>
                    </a:lnTo>
                    <a:lnTo>
                      <a:pt x="40" y="27"/>
                    </a:lnTo>
                    <a:lnTo>
                      <a:pt x="42" y="27"/>
                    </a:lnTo>
                    <a:lnTo>
                      <a:pt x="42" y="26"/>
                    </a:lnTo>
                    <a:lnTo>
                      <a:pt x="44" y="24"/>
                    </a:lnTo>
                    <a:lnTo>
                      <a:pt x="44" y="22"/>
                    </a:lnTo>
                    <a:lnTo>
                      <a:pt x="45" y="21"/>
                    </a:lnTo>
                    <a:lnTo>
                      <a:pt x="45" y="19"/>
                    </a:lnTo>
                    <a:lnTo>
                      <a:pt x="52" y="17"/>
                    </a:lnTo>
                    <a:lnTo>
                      <a:pt x="57" y="16"/>
                    </a:lnTo>
                    <a:lnTo>
                      <a:pt x="62" y="14"/>
                    </a:lnTo>
                    <a:lnTo>
                      <a:pt x="66" y="12"/>
                    </a:lnTo>
                    <a:lnTo>
                      <a:pt x="66" y="14"/>
                    </a:lnTo>
                    <a:lnTo>
                      <a:pt x="66" y="12"/>
                    </a:lnTo>
                    <a:lnTo>
                      <a:pt x="68" y="12"/>
                    </a:lnTo>
                    <a:lnTo>
                      <a:pt x="68" y="14"/>
                    </a:lnTo>
                    <a:lnTo>
                      <a:pt x="66" y="14"/>
                    </a:lnTo>
                    <a:lnTo>
                      <a:pt x="66" y="16"/>
                    </a:lnTo>
                    <a:lnTo>
                      <a:pt x="64" y="16"/>
                    </a:lnTo>
                    <a:lnTo>
                      <a:pt x="62" y="17"/>
                    </a:lnTo>
                    <a:lnTo>
                      <a:pt x="61" y="17"/>
                    </a:lnTo>
                    <a:lnTo>
                      <a:pt x="59" y="17"/>
                    </a:lnTo>
                    <a:lnTo>
                      <a:pt x="57" y="17"/>
                    </a:lnTo>
                    <a:lnTo>
                      <a:pt x="56" y="17"/>
                    </a:lnTo>
                    <a:lnTo>
                      <a:pt x="54" y="19"/>
                    </a:lnTo>
                    <a:lnTo>
                      <a:pt x="52" y="19"/>
                    </a:lnTo>
                    <a:lnTo>
                      <a:pt x="51" y="19"/>
                    </a:lnTo>
                    <a:lnTo>
                      <a:pt x="49" y="19"/>
                    </a:lnTo>
                    <a:lnTo>
                      <a:pt x="49" y="21"/>
                    </a:lnTo>
                    <a:lnTo>
                      <a:pt x="47" y="21"/>
                    </a:lnTo>
                    <a:lnTo>
                      <a:pt x="45" y="21"/>
                    </a:lnTo>
                    <a:lnTo>
                      <a:pt x="45" y="22"/>
                    </a:lnTo>
                    <a:lnTo>
                      <a:pt x="45" y="24"/>
                    </a:lnTo>
                    <a:lnTo>
                      <a:pt x="45" y="26"/>
                    </a:lnTo>
                    <a:lnTo>
                      <a:pt x="45" y="27"/>
                    </a:lnTo>
                    <a:lnTo>
                      <a:pt x="47" y="27"/>
                    </a:lnTo>
                    <a:lnTo>
                      <a:pt x="47" y="29"/>
                    </a:lnTo>
                    <a:lnTo>
                      <a:pt x="47" y="31"/>
                    </a:lnTo>
                    <a:lnTo>
                      <a:pt x="49" y="33"/>
                    </a:lnTo>
                    <a:lnTo>
                      <a:pt x="49" y="34"/>
                    </a:lnTo>
                    <a:lnTo>
                      <a:pt x="51" y="34"/>
                    </a:lnTo>
                    <a:lnTo>
                      <a:pt x="51" y="36"/>
                    </a:lnTo>
                    <a:lnTo>
                      <a:pt x="52" y="38"/>
                    </a:lnTo>
                    <a:lnTo>
                      <a:pt x="54" y="38"/>
                    </a:lnTo>
                    <a:lnTo>
                      <a:pt x="54" y="39"/>
                    </a:lnTo>
                    <a:lnTo>
                      <a:pt x="56" y="39"/>
                    </a:lnTo>
                    <a:lnTo>
                      <a:pt x="56" y="41"/>
                    </a:lnTo>
                    <a:lnTo>
                      <a:pt x="57" y="41"/>
                    </a:lnTo>
                    <a:lnTo>
                      <a:pt x="57" y="43"/>
                    </a:lnTo>
                    <a:lnTo>
                      <a:pt x="57" y="41"/>
                    </a:lnTo>
                    <a:lnTo>
                      <a:pt x="56" y="41"/>
                    </a:lnTo>
                    <a:lnTo>
                      <a:pt x="54" y="41"/>
                    </a:lnTo>
                    <a:lnTo>
                      <a:pt x="52" y="41"/>
                    </a:lnTo>
                    <a:lnTo>
                      <a:pt x="54" y="43"/>
                    </a:lnTo>
                    <a:lnTo>
                      <a:pt x="54" y="44"/>
                    </a:lnTo>
                    <a:lnTo>
                      <a:pt x="54" y="46"/>
                    </a:lnTo>
                    <a:lnTo>
                      <a:pt x="56" y="46"/>
                    </a:lnTo>
                    <a:lnTo>
                      <a:pt x="56" y="48"/>
                    </a:lnTo>
                    <a:lnTo>
                      <a:pt x="56" y="50"/>
                    </a:lnTo>
                    <a:lnTo>
                      <a:pt x="57" y="50"/>
                    </a:lnTo>
                    <a:lnTo>
                      <a:pt x="56" y="50"/>
                    </a:lnTo>
                    <a:lnTo>
                      <a:pt x="57" y="50"/>
                    </a:lnTo>
                    <a:lnTo>
                      <a:pt x="59" y="51"/>
                    </a:lnTo>
                    <a:lnTo>
                      <a:pt x="59" y="53"/>
                    </a:lnTo>
                    <a:lnTo>
                      <a:pt x="57" y="53"/>
                    </a:lnTo>
                    <a:lnTo>
                      <a:pt x="57" y="55"/>
                    </a:lnTo>
                    <a:lnTo>
                      <a:pt x="57" y="56"/>
                    </a:lnTo>
                    <a:lnTo>
                      <a:pt x="57" y="58"/>
                    </a:lnTo>
                    <a:lnTo>
                      <a:pt x="57" y="60"/>
                    </a:lnTo>
                    <a:lnTo>
                      <a:pt x="56" y="60"/>
                    </a:lnTo>
                    <a:lnTo>
                      <a:pt x="56" y="61"/>
                    </a:lnTo>
                    <a:lnTo>
                      <a:pt x="54" y="61"/>
                    </a:lnTo>
                    <a:lnTo>
                      <a:pt x="54" y="63"/>
                    </a:lnTo>
                    <a:lnTo>
                      <a:pt x="52" y="63"/>
                    </a:lnTo>
                    <a:lnTo>
                      <a:pt x="52" y="65"/>
                    </a:lnTo>
                    <a:lnTo>
                      <a:pt x="51" y="65"/>
                    </a:lnTo>
                    <a:lnTo>
                      <a:pt x="51" y="67"/>
                    </a:lnTo>
                    <a:lnTo>
                      <a:pt x="51" y="68"/>
                    </a:lnTo>
                    <a:lnTo>
                      <a:pt x="49" y="68"/>
                    </a:lnTo>
                    <a:lnTo>
                      <a:pt x="49" y="70"/>
                    </a:lnTo>
                    <a:lnTo>
                      <a:pt x="49" y="72"/>
                    </a:lnTo>
                    <a:lnTo>
                      <a:pt x="47" y="72"/>
                    </a:lnTo>
                    <a:lnTo>
                      <a:pt x="45" y="72"/>
                    </a:lnTo>
                    <a:lnTo>
                      <a:pt x="45" y="73"/>
                    </a:lnTo>
                    <a:lnTo>
                      <a:pt x="45" y="75"/>
                    </a:lnTo>
                    <a:lnTo>
                      <a:pt x="44" y="75"/>
                    </a:lnTo>
                    <a:lnTo>
                      <a:pt x="44" y="77"/>
                    </a:lnTo>
                    <a:lnTo>
                      <a:pt x="44" y="78"/>
                    </a:lnTo>
                    <a:lnTo>
                      <a:pt x="42" y="78"/>
                    </a:lnTo>
                    <a:lnTo>
                      <a:pt x="42" y="80"/>
                    </a:lnTo>
                    <a:lnTo>
                      <a:pt x="40" y="80"/>
                    </a:lnTo>
                    <a:lnTo>
                      <a:pt x="40" y="82"/>
                    </a:lnTo>
                    <a:lnTo>
                      <a:pt x="40" y="84"/>
                    </a:lnTo>
                    <a:lnTo>
                      <a:pt x="42" y="84"/>
                    </a:lnTo>
                    <a:lnTo>
                      <a:pt x="42" y="85"/>
                    </a:lnTo>
                    <a:lnTo>
                      <a:pt x="44" y="85"/>
                    </a:lnTo>
                    <a:lnTo>
                      <a:pt x="44" y="87"/>
                    </a:lnTo>
                    <a:lnTo>
                      <a:pt x="45" y="87"/>
                    </a:lnTo>
                    <a:lnTo>
                      <a:pt x="45" y="89"/>
                    </a:lnTo>
                    <a:lnTo>
                      <a:pt x="45" y="90"/>
                    </a:lnTo>
                    <a:lnTo>
                      <a:pt x="45" y="89"/>
                    </a:lnTo>
                    <a:lnTo>
                      <a:pt x="45" y="90"/>
                    </a:lnTo>
                    <a:lnTo>
                      <a:pt x="44" y="90"/>
                    </a:lnTo>
                    <a:lnTo>
                      <a:pt x="45" y="90"/>
                    </a:lnTo>
                    <a:lnTo>
                      <a:pt x="45" y="92"/>
                    </a:lnTo>
                    <a:lnTo>
                      <a:pt x="47" y="92"/>
                    </a:lnTo>
                    <a:lnTo>
                      <a:pt x="47" y="94"/>
                    </a:lnTo>
                    <a:lnTo>
                      <a:pt x="49" y="94"/>
                    </a:lnTo>
                    <a:lnTo>
                      <a:pt x="51" y="96"/>
                    </a:lnTo>
                    <a:lnTo>
                      <a:pt x="49" y="96"/>
                    </a:lnTo>
                    <a:lnTo>
                      <a:pt x="47" y="96"/>
                    </a:lnTo>
                    <a:lnTo>
                      <a:pt x="47" y="97"/>
                    </a:lnTo>
                    <a:lnTo>
                      <a:pt x="49" y="97"/>
                    </a:lnTo>
                    <a:lnTo>
                      <a:pt x="49" y="96"/>
                    </a:lnTo>
                    <a:lnTo>
                      <a:pt x="51" y="96"/>
                    </a:lnTo>
                    <a:lnTo>
                      <a:pt x="51" y="97"/>
                    </a:lnTo>
                    <a:lnTo>
                      <a:pt x="52" y="97"/>
                    </a:lnTo>
                    <a:lnTo>
                      <a:pt x="52" y="96"/>
                    </a:lnTo>
                    <a:lnTo>
                      <a:pt x="52" y="97"/>
                    </a:lnTo>
                    <a:lnTo>
                      <a:pt x="54" y="97"/>
                    </a:lnTo>
                    <a:lnTo>
                      <a:pt x="54" y="96"/>
                    </a:lnTo>
                    <a:lnTo>
                      <a:pt x="54" y="97"/>
                    </a:lnTo>
                    <a:lnTo>
                      <a:pt x="54" y="99"/>
                    </a:lnTo>
                    <a:lnTo>
                      <a:pt x="54" y="101"/>
                    </a:lnTo>
                    <a:lnTo>
                      <a:pt x="52" y="101"/>
                    </a:lnTo>
                    <a:lnTo>
                      <a:pt x="51" y="102"/>
                    </a:lnTo>
                    <a:lnTo>
                      <a:pt x="52" y="102"/>
                    </a:lnTo>
                    <a:lnTo>
                      <a:pt x="54" y="102"/>
                    </a:lnTo>
                    <a:lnTo>
                      <a:pt x="52" y="102"/>
                    </a:lnTo>
                    <a:lnTo>
                      <a:pt x="54" y="102"/>
                    </a:lnTo>
                    <a:lnTo>
                      <a:pt x="54" y="104"/>
                    </a:lnTo>
                    <a:lnTo>
                      <a:pt x="54" y="106"/>
                    </a:lnTo>
                    <a:lnTo>
                      <a:pt x="52" y="106"/>
                    </a:lnTo>
                    <a:lnTo>
                      <a:pt x="54" y="106"/>
                    </a:lnTo>
                    <a:lnTo>
                      <a:pt x="54" y="107"/>
                    </a:lnTo>
                    <a:lnTo>
                      <a:pt x="56" y="107"/>
                    </a:lnTo>
                    <a:lnTo>
                      <a:pt x="57" y="107"/>
                    </a:lnTo>
                    <a:lnTo>
                      <a:pt x="57" y="109"/>
                    </a:lnTo>
                    <a:lnTo>
                      <a:pt x="59" y="109"/>
                    </a:lnTo>
                    <a:lnTo>
                      <a:pt x="59" y="107"/>
                    </a:lnTo>
                    <a:lnTo>
                      <a:pt x="61" y="109"/>
                    </a:lnTo>
                    <a:lnTo>
                      <a:pt x="61" y="107"/>
                    </a:lnTo>
                    <a:lnTo>
                      <a:pt x="62" y="107"/>
                    </a:lnTo>
                    <a:lnTo>
                      <a:pt x="64" y="107"/>
                    </a:lnTo>
                    <a:lnTo>
                      <a:pt x="66" y="107"/>
                    </a:lnTo>
                    <a:lnTo>
                      <a:pt x="68" y="107"/>
                    </a:lnTo>
                    <a:lnTo>
                      <a:pt x="68" y="106"/>
                    </a:lnTo>
                    <a:lnTo>
                      <a:pt x="69" y="106"/>
                    </a:lnTo>
                    <a:lnTo>
                      <a:pt x="69" y="104"/>
                    </a:lnTo>
                    <a:lnTo>
                      <a:pt x="71" y="104"/>
                    </a:lnTo>
                    <a:lnTo>
                      <a:pt x="71" y="102"/>
                    </a:lnTo>
                    <a:lnTo>
                      <a:pt x="73" y="102"/>
                    </a:lnTo>
                    <a:lnTo>
                      <a:pt x="73" y="101"/>
                    </a:lnTo>
                    <a:lnTo>
                      <a:pt x="74" y="101"/>
                    </a:lnTo>
                    <a:lnTo>
                      <a:pt x="74" y="99"/>
                    </a:lnTo>
                    <a:lnTo>
                      <a:pt x="76" y="99"/>
                    </a:lnTo>
                    <a:lnTo>
                      <a:pt x="76" y="97"/>
                    </a:lnTo>
                    <a:lnTo>
                      <a:pt x="76" y="96"/>
                    </a:lnTo>
                    <a:lnTo>
                      <a:pt x="76" y="94"/>
                    </a:lnTo>
                    <a:lnTo>
                      <a:pt x="76" y="92"/>
                    </a:lnTo>
                    <a:lnTo>
                      <a:pt x="76" y="90"/>
                    </a:lnTo>
                    <a:lnTo>
                      <a:pt x="76" y="89"/>
                    </a:lnTo>
                    <a:lnTo>
                      <a:pt x="76" y="87"/>
                    </a:lnTo>
                    <a:lnTo>
                      <a:pt x="78" y="87"/>
                    </a:lnTo>
                    <a:lnTo>
                      <a:pt x="76" y="85"/>
                    </a:lnTo>
                    <a:lnTo>
                      <a:pt x="78" y="85"/>
                    </a:lnTo>
                    <a:lnTo>
                      <a:pt x="78" y="84"/>
                    </a:lnTo>
                    <a:lnTo>
                      <a:pt x="76" y="84"/>
                    </a:lnTo>
                    <a:lnTo>
                      <a:pt x="76" y="82"/>
                    </a:lnTo>
                    <a:lnTo>
                      <a:pt x="76" y="80"/>
                    </a:lnTo>
                    <a:lnTo>
                      <a:pt x="74" y="78"/>
                    </a:lnTo>
                    <a:lnTo>
                      <a:pt x="74" y="77"/>
                    </a:lnTo>
                    <a:lnTo>
                      <a:pt x="73" y="77"/>
                    </a:lnTo>
                    <a:lnTo>
                      <a:pt x="71" y="77"/>
                    </a:lnTo>
                    <a:lnTo>
                      <a:pt x="71" y="75"/>
                    </a:lnTo>
                    <a:lnTo>
                      <a:pt x="71" y="73"/>
                    </a:lnTo>
                    <a:lnTo>
                      <a:pt x="71" y="72"/>
                    </a:lnTo>
                    <a:lnTo>
                      <a:pt x="69" y="72"/>
                    </a:lnTo>
                    <a:lnTo>
                      <a:pt x="69" y="70"/>
                    </a:lnTo>
                    <a:lnTo>
                      <a:pt x="68" y="68"/>
                    </a:lnTo>
                    <a:lnTo>
                      <a:pt x="66" y="68"/>
                    </a:lnTo>
                    <a:lnTo>
                      <a:pt x="66" y="67"/>
                    </a:lnTo>
                    <a:lnTo>
                      <a:pt x="66" y="65"/>
                    </a:lnTo>
                    <a:lnTo>
                      <a:pt x="64" y="65"/>
                    </a:lnTo>
                    <a:lnTo>
                      <a:pt x="64" y="63"/>
                    </a:lnTo>
                    <a:lnTo>
                      <a:pt x="62" y="63"/>
                    </a:lnTo>
                    <a:lnTo>
                      <a:pt x="62" y="61"/>
                    </a:lnTo>
                    <a:lnTo>
                      <a:pt x="62" y="60"/>
                    </a:lnTo>
                    <a:lnTo>
                      <a:pt x="62" y="58"/>
                    </a:lnTo>
                    <a:lnTo>
                      <a:pt x="61" y="58"/>
                    </a:lnTo>
                    <a:lnTo>
                      <a:pt x="61" y="56"/>
                    </a:lnTo>
                    <a:lnTo>
                      <a:pt x="61" y="55"/>
                    </a:lnTo>
                    <a:lnTo>
                      <a:pt x="62" y="55"/>
                    </a:lnTo>
                    <a:lnTo>
                      <a:pt x="61" y="55"/>
                    </a:lnTo>
                    <a:lnTo>
                      <a:pt x="61" y="53"/>
                    </a:lnTo>
                    <a:lnTo>
                      <a:pt x="61" y="51"/>
                    </a:lnTo>
                    <a:lnTo>
                      <a:pt x="61" y="50"/>
                    </a:lnTo>
                    <a:lnTo>
                      <a:pt x="59" y="50"/>
                    </a:lnTo>
                    <a:lnTo>
                      <a:pt x="59" y="48"/>
                    </a:lnTo>
                    <a:lnTo>
                      <a:pt x="61" y="48"/>
                    </a:lnTo>
                    <a:lnTo>
                      <a:pt x="62" y="48"/>
                    </a:lnTo>
                    <a:lnTo>
                      <a:pt x="64" y="48"/>
                    </a:lnTo>
                    <a:lnTo>
                      <a:pt x="64" y="46"/>
                    </a:lnTo>
                    <a:lnTo>
                      <a:pt x="64" y="44"/>
                    </a:lnTo>
                    <a:lnTo>
                      <a:pt x="62" y="44"/>
                    </a:lnTo>
                    <a:lnTo>
                      <a:pt x="62" y="43"/>
                    </a:lnTo>
                    <a:lnTo>
                      <a:pt x="64" y="43"/>
                    </a:lnTo>
                    <a:lnTo>
                      <a:pt x="64" y="44"/>
                    </a:lnTo>
                    <a:lnTo>
                      <a:pt x="64" y="43"/>
                    </a:lnTo>
                    <a:lnTo>
                      <a:pt x="62" y="43"/>
                    </a:lnTo>
                    <a:lnTo>
                      <a:pt x="64" y="43"/>
                    </a:lnTo>
                    <a:lnTo>
                      <a:pt x="66" y="43"/>
                    </a:lnTo>
                    <a:lnTo>
                      <a:pt x="68" y="43"/>
                    </a:lnTo>
                    <a:lnTo>
                      <a:pt x="69" y="43"/>
                    </a:lnTo>
                    <a:lnTo>
                      <a:pt x="69" y="41"/>
                    </a:lnTo>
                    <a:lnTo>
                      <a:pt x="71" y="41"/>
                    </a:lnTo>
                    <a:lnTo>
                      <a:pt x="73" y="41"/>
                    </a:lnTo>
                    <a:lnTo>
                      <a:pt x="73" y="39"/>
                    </a:lnTo>
                    <a:lnTo>
                      <a:pt x="74" y="39"/>
                    </a:lnTo>
                    <a:lnTo>
                      <a:pt x="76" y="39"/>
                    </a:lnTo>
                    <a:lnTo>
                      <a:pt x="76" y="38"/>
                    </a:lnTo>
                    <a:lnTo>
                      <a:pt x="78" y="38"/>
                    </a:lnTo>
                    <a:lnTo>
                      <a:pt x="79" y="38"/>
                    </a:lnTo>
                    <a:lnTo>
                      <a:pt x="79" y="36"/>
                    </a:lnTo>
                    <a:lnTo>
                      <a:pt x="81" y="36"/>
                    </a:lnTo>
                    <a:lnTo>
                      <a:pt x="83" y="36"/>
                    </a:lnTo>
                    <a:lnTo>
                      <a:pt x="83" y="34"/>
                    </a:lnTo>
                    <a:lnTo>
                      <a:pt x="85" y="34"/>
                    </a:lnTo>
                    <a:lnTo>
                      <a:pt x="86" y="34"/>
                    </a:lnTo>
                    <a:lnTo>
                      <a:pt x="88" y="34"/>
                    </a:lnTo>
                    <a:lnTo>
                      <a:pt x="88" y="33"/>
                    </a:lnTo>
                    <a:lnTo>
                      <a:pt x="90" y="33"/>
                    </a:lnTo>
                    <a:lnTo>
                      <a:pt x="91" y="33"/>
                    </a:lnTo>
                    <a:lnTo>
                      <a:pt x="93" y="33"/>
                    </a:lnTo>
                    <a:lnTo>
                      <a:pt x="95" y="33"/>
                    </a:lnTo>
                    <a:lnTo>
                      <a:pt x="96" y="31"/>
                    </a:lnTo>
                    <a:lnTo>
                      <a:pt x="95" y="33"/>
                    </a:lnTo>
                    <a:lnTo>
                      <a:pt x="95" y="31"/>
                    </a:lnTo>
                    <a:lnTo>
                      <a:pt x="96" y="31"/>
                    </a:lnTo>
                    <a:lnTo>
                      <a:pt x="98" y="31"/>
                    </a:lnTo>
                    <a:lnTo>
                      <a:pt x="100" y="31"/>
                    </a:lnTo>
                    <a:lnTo>
                      <a:pt x="102" y="31"/>
                    </a:lnTo>
                    <a:lnTo>
                      <a:pt x="102" y="29"/>
                    </a:lnTo>
                    <a:lnTo>
                      <a:pt x="103" y="29"/>
                    </a:lnTo>
                    <a:lnTo>
                      <a:pt x="105" y="29"/>
                    </a:lnTo>
                    <a:lnTo>
                      <a:pt x="107" y="29"/>
                    </a:lnTo>
                    <a:lnTo>
                      <a:pt x="107" y="27"/>
                    </a:lnTo>
                    <a:lnTo>
                      <a:pt x="107" y="26"/>
                    </a:lnTo>
                    <a:lnTo>
                      <a:pt x="108" y="26"/>
                    </a:lnTo>
                    <a:lnTo>
                      <a:pt x="107" y="26"/>
                    </a:lnTo>
                    <a:lnTo>
                      <a:pt x="108" y="26"/>
                    </a:lnTo>
                    <a:lnTo>
                      <a:pt x="110" y="26"/>
                    </a:lnTo>
                    <a:lnTo>
                      <a:pt x="110" y="24"/>
                    </a:lnTo>
                    <a:lnTo>
                      <a:pt x="112" y="24"/>
                    </a:lnTo>
                    <a:lnTo>
                      <a:pt x="110" y="24"/>
                    </a:lnTo>
                    <a:lnTo>
                      <a:pt x="110" y="22"/>
                    </a:lnTo>
                    <a:lnTo>
                      <a:pt x="108" y="22"/>
                    </a:lnTo>
                    <a:lnTo>
                      <a:pt x="110" y="22"/>
                    </a:lnTo>
                    <a:lnTo>
                      <a:pt x="108" y="22"/>
                    </a:lnTo>
                    <a:lnTo>
                      <a:pt x="110" y="22"/>
                    </a:lnTo>
                    <a:lnTo>
                      <a:pt x="110" y="24"/>
                    </a:lnTo>
                    <a:lnTo>
                      <a:pt x="112" y="24"/>
                    </a:lnTo>
                    <a:lnTo>
                      <a:pt x="112" y="22"/>
                    </a:lnTo>
                    <a:lnTo>
                      <a:pt x="112" y="24"/>
                    </a:lnTo>
                    <a:lnTo>
                      <a:pt x="113" y="24"/>
                    </a:lnTo>
                    <a:lnTo>
                      <a:pt x="113" y="22"/>
                    </a:lnTo>
                    <a:lnTo>
                      <a:pt x="113" y="24"/>
                    </a:lnTo>
                    <a:lnTo>
                      <a:pt x="115" y="22"/>
                    </a:lnTo>
                    <a:lnTo>
                      <a:pt x="115" y="24"/>
                    </a:lnTo>
                    <a:lnTo>
                      <a:pt x="117" y="24"/>
                    </a:lnTo>
                    <a:lnTo>
                      <a:pt x="117" y="26"/>
                    </a:lnTo>
                    <a:lnTo>
                      <a:pt x="119" y="26"/>
                    </a:lnTo>
                    <a:lnTo>
                      <a:pt x="120" y="26"/>
                    </a:lnTo>
                    <a:lnTo>
                      <a:pt x="120" y="24"/>
                    </a:lnTo>
                    <a:lnTo>
                      <a:pt x="122" y="24"/>
                    </a:lnTo>
                    <a:lnTo>
                      <a:pt x="120" y="22"/>
                    </a:lnTo>
                    <a:lnTo>
                      <a:pt x="120" y="21"/>
                    </a:lnTo>
                    <a:lnTo>
                      <a:pt x="120" y="19"/>
                    </a:lnTo>
                    <a:lnTo>
                      <a:pt x="119" y="19"/>
                    </a:lnTo>
                    <a:lnTo>
                      <a:pt x="119" y="17"/>
                    </a:lnTo>
                    <a:lnTo>
                      <a:pt x="117" y="17"/>
                    </a:lnTo>
                    <a:lnTo>
                      <a:pt x="117" y="19"/>
                    </a:lnTo>
                    <a:lnTo>
                      <a:pt x="117" y="17"/>
                    </a:lnTo>
                    <a:lnTo>
                      <a:pt x="115" y="17"/>
                    </a:lnTo>
                    <a:lnTo>
                      <a:pt x="115" y="19"/>
                    </a:lnTo>
                    <a:lnTo>
                      <a:pt x="113" y="19"/>
                    </a:lnTo>
                    <a:lnTo>
                      <a:pt x="115" y="19"/>
                    </a:lnTo>
                    <a:lnTo>
                      <a:pt x="113" y="17"/>
                    </a:lnTo>
                    <a:lnTo>
                      <a:pt x="113" y="19"/>
                    </a:lnTo>
                    <a:lnTo>
                      <a:pt x="113" y="17"/>
                    </a:lnTo>
                    <a:lnTo>
                      <a:pt x="113" y="19"/>
                    </a:lnTo>
                    <a:lnTo>
                      <a:pt x="112" y="19"/>
                    </a:lnTo>
                    <a:lnTo>
                      <a:pt x="110" y="19"/>
                    </a:lnTo>
                    <a:lnTo>
                      <a:pt x="108" y="19"/>
                    </a:lnTo>
                    <a:lnTo>
                      <a:pt x="107" y="19"/>
                    </a:lnTo>
                    <a:lnTo>
                      <a:pt x="107" y="21"/>
                    </a:lnTo>
                    <a:lnTo>
                      <a:pt x="105" y="21"/>
                    </a:lnTo>
                    <a:lnTo>
                      <a:pt x="105" y="19"/>
                    </a:lnTo>
                    <a:lnTo>
                      <a:pt x="105" y="17"/>
                    </a:lnTo>
                    <a:lnTo>
                      <a:pt x="105" y="16"/>
                    </a:lnTo>
                    <a:lnTo>
                      <a:pt x="105" y="17"/>
                    </a:lnTo>
                    <a:lnTo>
                      <a:pt x="105" y="16"/>
                    </a:lnTo>
                    <a:lnTo>
                      <a:pt x="105" y="14"/>
                    </a:lnTo>
                    <a:lnTo>
                      <a:pt x="105" y="16"/>
                    </a:lnTo>
                    <a:lnTo>
                      <a:pt x="103" y="14"/>
                    </a:lnTo>
                    <a:lnTo>
                      <a:pt x="103" y="12"/>
                    </a:lnTo>
                    <a:lnTo>
                      <a:pt x="102" y="12"/>
                    </a:lnTo>
                    <a:lnTo>
                      <a:pt x="103" y="10"/>
                    </a:lnTo>
                    <a:lnTo>
                      <a:pt x="102" y="10"/>
                    </a:lnTo>
                    <a:lnTo>
                      <a:pt x="103" y="9"/>
                    </a:lnTo>
                    <a:lnTo>
                      <a:pt x="103" y="7"/>
                    </a:lnTo>
                    <a:lnTo>
                      <a:pt x="105" y="5"/>
                    </a:lnTo>
                    <a:lnTo>
                      <a:pt x="105" y="4"/>
                    </a:lnTo>
                    <a:lnTo>
                      <a:pt x="107" y="4"/>
                    </a:lnTo>
                    <a:lnTo>
                      <a:pt x="107" y="2"/>
                    </a:lnTo>
                    <a:lnTo>
                      <a:pt x="108" y="2"/>
                    </a:lnTo>
                    <a:lnTo>
                      <a:pt x="110" y="0"/>
                    </a:lnTo>
                    <a:lnTo>
                      <a:pt x="112" y="0"/>
                    </a:lnTo>
                    <a:lnTo>
                      <a:pt x="113" y="0"/>
                    </a:lnTo>
                    <a:lnTo>
                      <a:pt x="115" y="0"/>
                    </a:lnTo>
                    <a:lnTo>
                      <a:pt x="115" y="2"/>
                    </a:lnTo>
                    <a:lnTo>
                      <a:pt x="117" y="2"/>
                    </a:lnTo>
                    <a:lnTo>
                      <a:pt x="117" y="4"/>
                    </a:lnTo>
                    <a:lnTo>
                      <a:pt x="117" y="5"/>
                    </a:lnTo>
                    <a:lnTo>
                      <a:pt x="117" y="7"/>
                    </a:lnTo>
                    <a:lnTo>
                      <a:pt x="117" y="5"/>
                    </a:lnTo>
                    <a:lnTo>
                      <a:pt x="119" y="5"/>
                    </a:lnTo>
                    <a:lnTo>
                      <a:pt x="119" y="7"/>
                    </a:lnTo>
                    <a:lnTo>
                      <a:pt x="119" y="9"/>
                    </a:lnTo>
                    <a:lnTo>
                      <a:pt x="119" y="10"/>
                    </a:lnTo>
                    <a:lnTo>
                      <a:pt x="119" y="12"/>
                    </a:lnTo>
                    <a:lnTo>
                      <a:pt x="119" y="14"/>
                    </a:lnTo>
                    <a:lnTo>
                      <a:pt x="120" y="16"/>
                    </a:lnTo>
                    <a:lnTo>
                      <a:pt x="120" y="17"/>
                    </a:lnTo>
                    <a:lnTo>
                      <a:pt x="122" y="19"/>
                    </a:lnTo>
                    <a:lnTo>
                      <a:pt x="122" y="21"/>
                    </a:lnTo>
                    <a:lnTo>
                      <a:pt x="122" y="22"/>
                    </a:lnTo>
                    <a:lnTo>
                      <a:pt x="124" y="22"/>
                    </a:lnTo>
                    <a:lnTo>
                      <a:pt x="124" y="24"/>
                    </a:lnTo>
                    <a:lnTo>
                      <a:pt x="125" y="24"/>
                    </a:lnTo>
                    <a:lnTo>
                      <a:pt x="125" y="26"/>
                    </a:lnTo>
                    <a:lnTo>
                      <a:pt x="127" y="26"/>
                    </a:lnTo>
                    <a:lnTo>
                      <a:pt x="127" y="24"/>
                    </a:lnTo>
                    <a:lnTo>
                      <a:pt x="129" y="24"/>
                    </a:lnTo>
                    <a:lnTo>
                      <a:pt x="130" y="24"/>
                    </a:lnTo>
                    <a:lnTo>
                      <a:pt x="132" y="24"/>
                    </a:lnTo>
                    <a:lnTo>
                      <a:pt x="134" y="24"/>
                    </a:lnTo>
                    <a:lnTo>
                      <a:pt x="136" y="24"/>
                    </a:lnTo>
                    <a:lnTo>
                      <a:pt x="136" y="22"/>
                    </a:lnTo>
                    <a:lnTo>
                      <a:pt x="137" y="22"/>
                    </a:lnTo>
                    <a:lnTo>
                      <a:pt x="139" y="24"/>
                    </a:lnTo>
                    <a:lnTo>
                      <a:pt x="141" y="24"/>
                    </a:lnTo>
                    <a:lnTo>
                      <a:pt x="142" y="24"/>
                    </a:lnTo>
                    <a:lnTo>
                      <a:pt x="144" y="26"/>
                    </a:lnTo>
                    <a:lnTo>
                      <a:pt x="146" y="26"/>
                    </a:lnTo>
                    <a:lnTo>
                      <a:pt x="147" y="26"/>
                    </a:lnTo>
                    <a:lnTo>
                      <a:pt x="149" y="26"/>
                    </a:lnTo>
                    <a:lnTo>
                      <a:pt x="151" y="26"/>
                    </a:lnTo>
                    <a:lnTo>
                      <a:pt x="153" y="26"/>
                    </a:lnTo>
                    <a:lnTo>
                      <a:pt x="153" y="27"/>
                    </a:lnTo>
                    <a:lnTo>
                      <a:pt x="154" y="27"/>
                    </a:lnTo>
                    <a:lnTo>
                      <a:pt x="154" y="29"/>
                    </a:lnTo>
                    <a:lnTo>
                      <a:pt x="156" y="29"/>
                    </a:lnTo>
                    <a:lnTo>
                      <a:pt x="158" y="29"/>
                    </a:lnTo>
                    <a:lnTo>
                      <a:pt x="158" y="31"/>
                    </a:lnTo>
                    <a:lnTo>
                      <a:pt x="159" y="31"/>
                    </a:lnTo>
                    <a:lnTo>
                      <a:pt x="161" y="31"/>
                    </a:lnTo>
                    <a:lnTo>
                      <a:pt x="161" y="33"/>
                    </a:lnTo>
                    <a:lnTo>
                      <a:pt x="163" y="33"/>
                    </a:lnTo>
                    <a:lnTo>
                      <a:pt x="163" y="34"/>
                    </a:lnTo>
                    <a:lnTo>
                      <a:pt x="164" y="34"/>
                    </a:lnTo>
                    <a:lnTo>
                      <a:pt x="166" y="34"/>
                    </a:lnTo>
                    <a:lnTo>
                      <a:pt x="166" y="36"/>
                    </a:lnTo>
                    <a:lnTo>
                      <a:pt x="168" y="38"/>
                    </a:lnTo>
                    <a:lnTo>
                      <a:pt x="168" y="39"/>
                    </a:lnTo>
                    <a:lnTo>
                      <a:pt x="170" y="39"/>
                    </a:lnTo>
                    <a:lnTo>
                      <a:pt x="170" y="41"/>
                    </a:lnTo>
                    <a:lnTo>
                      <a:pt x="170" y="43"/>
                    </a:lnTo>
                    <a:lnTo>
                      <a:pt x="171" y="43"/>
                    </a:lnTo>
                    <a:lnTo>
                      <a:pt x="171" y="44"/>
                    </a:lnTo>
                    <a:lnTo>
                      <a:pt x="170" y="44"/>
                    </a:lnTo>
                    <a:lnTo>
                      <a:pt x="170" y="43"/>
                    </a:lnTo>
                    <a:lnTo>
                      <a:pt x="168" y="43"/>
                    </a:lnTo>
                    <a:lnTo>
                      <a:pt x="168" y="44"/>
                    </a:lnTo>
                    <a:lnTo>
                      <a:pt x="170" y="44"/>
                    </a:lnTo>
                    <a:lnTo>
                      <a:pt x="171" y="44"/>
                    </a:lnTo>
                    <a:lnTo>
                      <a:pt x="173" y="44"/>
                    </a:lnTo>
                    <a:lnTo>
                      <a:pt x="173" y="46"/>
                    </a:lnTo>
                    <a:lnTo>
                      <a:pt x="171" y="46"/>
                    </a:lnTo>
                    <a:lnTo>
                      <a:pt x="170" y="46"/>
                    </a:lnTo>
                    <a:lnTo>
                      <a:pt x="170" y="48"/>
                    </a:lnTo>
                    <a:lnTo>
                      <a:pt x="170" y="50"/>
                    </a:lnTo>
                    <a:lnTo>
                      <a:pt x="170" y="51"/>
                    </a:lnTo>
                    <a:lnTo>
                      <a:pt x="170" y="53"/>
                    </a:lnTo>
                    <a:lnTo>
                      <a:pt x="171" y="53"/>
                    </a:lnTo>
                    <a:lnTo>
                      <a:pt x="171" y="55"/>
                    </a:lnTo>
                    <a:lnTo>
                      <a:pt x="171" y="56"/>
                    </a:lnTo>
                    <a:lnTo>
                      <a:pt x="173" y="56"/>
                    </a:lnTo>
                    <a:lnTo>
                      <a:pt x="173" y="58"/>
                    </a:lnTo>
                    <a:lnTo>
                      <a:pt x="175" y="58"/>
                    </a:lnTo>
                    <a:lnTo>
                      <a:pt x="176" y="58"/>
                    </a:lnTo>
                    <a:lnTo>
                      <a:pt x="178" y="58"/>
                    </a:lnTo>
                    <a:lnTo>
                      <a:pt x="178" y="60"/>
                    </a:lnTo>
                    <a:lnTo>
                      <a:pt x="180" y="60"/>
                    </a:lnTo>
                    <a:lnTo>
                      <a:pt x="180" y="58"/>
                    </a:lnTo>
                    <a:lnTo>
                      <a:pt x="180" y="60"/>
                    </a:lnTo>
                    <a:lnTo>
                      <a:pt x="180" y="58"/>
                    </a:lnTo>
                    <a:lnTo>
                      <a:pt x="181" y="60"/>
                    </a:lnTo>
                    <a:lnTo>
                      <a:pt x="183" y="60"/>
                    </a:lnTo>
                    <a:lnTo>
                      <a:pt x="185" y="60"/>
                    </a:lnTo>
                    <a:lnTo>
                      <a:pt x="187" y="58"/>
                    </a:lnTo>
                    <a:lnTo>
                      <a:pt x="187" y="60"/>
                    </a:lnTo>
                    <a:lnTo>
                      <a:pt x="187" y="58"/>
                    </a:lnTo>
                    <a:lnTo>
                      <a:pt x="188" y="58"/>
                    </a:lnTo>
                    <a:lnTo>
                      <a:pt x="190" y="58"/>
                    </a:lnTo>
                    <a:lnTo>
                      <a:pt x="192" y="58"/>
                    </a:lnTo>
                    <a:lnTo>
                      <a:pt x="193" y="58"/>
                    </a:lnTo>
                    <a:lnTo>
                      <a:pt x="195" y="58"/>
                    </a:lnTo>
                    <a:lnTo>
                      <a:pt x="197" y="58"/>
                    </a:lnTo>
                    <a:lnTo>
                      <a:pt x="197" y="56"/>
                    </a:lnTo>
                    <a:lnTo>
                      <a:pt x="198" y="56"/>
                    </a:lnTo>
                    <a:lnTo>
                      <a:pt x="200" y="56"/>
                    </a:lnTo>
                    <a:lnTo>
                      <a:pt x="202" y="56"/>
                    </a:lnTo>
                    <a:lnTo>
                      <a:pt x="204" y="56"/>
                    </a:lnTo>
                    <a:lnTo>
                      <a:pt x="205" y="56"/>
                    </a:lnTo>
                    <a:lnTo>
                      <a:pt x="207" y="56"/>
                    </a:lnTo>
                    <a:lnTo>
                      <a:pt x="209" y="56"/>
                    </a:lnTo>
                    <a:lnTo>
                      <a:pt x="210" y="55"/>
                    </a:lnTo>
                    <a:lnTo>
                      <a:pt x="212" y="55"/>
                    </a:lnTo>
                    <a:lnTo>
                      <a:pt x="214" y="55"/>
                    </a:lnTo>
                    <a:lnTo>
                      <a:pt x="215" y="55"/>
                    </a:lnTo>
                    <a:lnTo>
                      <a:pt x="217" y="55"/>
                    </a:lnTo>
                    <a:lnTo>
                      <a:pt x="219" y="55"/>
                    </a:lnTo>
                    <a:lnTo>
                      <a:pt x="221" y="55"/>
                    </a:lnTo>
                    <a:lnTo>
                      <a:pt x="222" y="55"/>
                    </a:lnTo>
                    <a:lnTo>
                      <a:pt x="224" y="55"/>
                    </a:lnTo>
                    <a:lnTo>
                      <a:pt x="226" y="55"/>
                    </a:lnTo>
                    <a:lnTo>
                      <a:pt x="227" y="55"/>
                    </a:lnTo>
                    <a:lnTo>
                      <a:pt x="227" y="53"/>
                    </a:lnTo>
                    <a:lnTo>
                      <a:pt x="229" y="55"/>
                    </a:lnTo>
                    <a:lnTo>
                      <a:pt x="229" y="53"/>
                    </a:lnTo>
                    <a:lnTo>
                      <a:pt x="231" y="53"/>
                    </a:lnTo>
                    <a:lnTo>
                      <a:pt x="232" y="53"/>
                    </a:lnTo>
                    <a:lnTo>
                      <a:pt x="232" y="55"/>
                    </a:lnTo>
                    <a:lnTo>
                      <a:pt x="234" y="53"/>
                    </a:lnTo>
                    <a:lnTo>
                      <a:pt x="234" y="55"/>
                    </a:lnTo>
                    <a:lnTo>
                      <a:pt x="236" y="55"/>
                    </a:lnTo>
                    <a:lnTo>
                      <a:pt x="238" y="53"/>
                    </a:lnTo>
                    <a:lnTo>
                      <a:pt x="239" y="53"/>
                    </a:lnTo>
                    <a:lnTo>
                      <a:pt x="241" y="55"/>
                    </a:lnTo>
                    <a:lnTo>
                      <a:pt x="243" y="55"/>
                    </a:lnTo>
                    <a:lnTo>
                      <a:pt x="244" y="55"/>
                    </a:lnTo>
                    <a:lnTo>
                      <a:pt x="244" y="56"/>
                    </a:lnTo>
                    <a:lnTo>
                      <a:pt x="244" y="55"/>
                    </a:lnTo>
                    <a:lnTo>
                      <a:pt x="246" y="56"/>
                    </a:lnTo>
                    <a:lnTo>
                      <a:pt x="244" y="56"/>
                    </a:lnTo>
                    <a:lnTo>
                      <a:pt x="243" y="56"/>
                    </a:lnTo>
                    <a:lnTo>
                      <a:pt x="244" y="56"/>
                    </a:lnTo>
                    <a:lnTo>
                      <a:pt x="243" y="58"/>
                    </a:lnTo>
                    <a:lnTo>
                      <a:pt x="244" y="58"/>
                    </a:lnTo>
                    <a:lnTo>
                      <a:pt x="244" y="60"/>
                    </a:lnTo>
                    <a:lnTo>
                      <a:pt x="246" y="60"/>
                    </a:lnTo>
                    <a:lnTo>
                      <a:pt x="246" y="61"/>
                    </a:lnTo>
                    <a:lnTo>
                      <a:pt x="248" y="61"/>
                    </a:lnTo>
                    <a:lnTo>
                      <a:pt x="248" y="63"/>
                    </a:lnTo>
                    <a:lnTo>
                      <a:pt x="249" y="63"/>
                    </a:lnTo>
                    <a:lnTo>
                      <a:pt x="251" y="65"/>
                    </a:lnTo>
                    <a:lnTo>
                      <a:pt x="253" y="65"/>
                    </a:lnTo>
                    <a:lnTo>
                      <a:pt x="255" y="67"/>
                    </a:lnTo>
                    <a:lnTo>
                      <a:pt x="256" y="67"/>
                    </a:lnTo>
                    <a:lnTo>
                      <a:pt x="258" y="68"/>
                    </a:lnTo>
                    <a:lnTo>
                      <a:pt x="260" y="68"/>
                    </a:lnTo>
                    <a:lnTo>
                      <a:pt x="263" y="70"/>
                    </a:lnTo>
                    <a:lnTo>
                      <a:pt x="265" y="70"/>
                    </a:lnTo>
                    <a:lnTo>
                      <a:pt x="266" y="70"/>
                    </a:lnTo>
                    <a:lnTo>
                      <a:pt x="268" y="72"/>
                    </a:lnTo>
                    <a:lnTo>
                      <a:pt x="270" y="72"/>
                    </a:lnTo>
                    <a:lnTo>
                      <a:pt x="272" y="72"/>
                    </a:lnTo>
                    <a:lnTo>
                      <a:pt x="273" y="72"/>
                    </a:lnTo>
                    <a:lnTo>
                      <a:pt x="275" y="72"/>
                    </a:lnTo>
                    <a:lnTo>
                      <a:pt x="277" y="73"/>
                    </a:lnTo>
                    <a:lnTo>
                      <a:pt x="278" y="73"/>
                    </a:lnTo>
                    <a:lnTo>
                      <a:pt x="280" y="73"/>
                    </a:lnTo>
                    <a:lnTo>
                      <a:pt x="282" y="73"/>
                    </a:lnTo>
                    <a:lnTo>
                      <a:pt x="282" y="72"/>
                    </a:lnTo>
                    <a:lnTo>
                      <a:pt x="283" y="72"/>
                    </a:lnTo>
                    <a:lnTo>
                      <a:pt x="285" y="72"/>
                    </a:lnTo>
                    <a:lnTo>
                      <a:pt x="287" y="72"/>
                    </a:lnTo>
                    <a:lnTo>
                      <a:pt x="289" y="72"/>
                    </a:lnTo>
                    <a:lnTo>
                      <a:pt x="290" y="72"/>
                    </a:lnTo>
                    <a:lnTo>
                      <a:pt x="290" y="70"/>
                    </a:lnTo>
                    <a:lnTo>
                      <a:pt x="292" y="68"/>
                    </a:lnTo>
                    <a:lnTo>
                      <a:pt x="290" y="68"/>
                    </a:lnTo>
                    <a:lnTo>
                      <a:pt x="292" y="68"/>
                    </a:lnTo>
                    <a:lnTo>
                      <a:pt x="294" y="68"/>
                    </a:lnTo>
                    <a:lnTo>
                      <a:pt x="294" y="67"/>
                    </a:lnTo>
                    <a:lnTo>
                      <a:pt x="295" y="67"/>
                    </a:lnTo>
                    <a:lnTo>
                      <a:pt x="297" y="67"/>
                    </a:lnTo>
                    <a:lnTo>
                      <a:pt x="299" y="67"/>
                    </a:lnTo>
                    <a:lnTo>
                      <a:pt x="300" y="67"/>
                    </a:lnTo>
                    <a:lnTo>
                      <a:pt x="300" y="65"/>
                    </a:lnTo>
                    <a:lnTo>
                      <a:pt x="302" y="65"/>
                    </a:lnTo>
                    <a:lnTo>
                      <a:pt x="300" y="65"/>
                    </a:lnTo>
                    <a:lnTo>
                      <a:pt x="299" y="65"/>
                    </a:lnTo>
                    <a:lnTo>
                      <a:pt x="300" y="65"/>
                    </a:lnTo>
                    <a:lnTo>
                      <a:pt x="300" y="63"/>
                    </a:lnTo>
                    <a:lnTo>
                      <a:pt x="302" y="63"/>
                    </a:lnTo>
                    <a:lnTo>
                      <a:pt x="302" y="61"/>
                    </a:lnTo>
                    <a:lnTo>
                      <a:pt x="304" y="61"/>
                    </a:lnTo>
                    <a:lnTo>
                      <a:pt x="304" y="63"/>
                    </a:lnTo>
                    <a:lnTo>
                      <a:pt x="302" y="63"/>
                    </a:lnTo>
                    <a:lnTo>
                      <a:pt x="304" y="63"/>
                    </a:lnTo>
                    <a:lnTo>
                      <a:pt x="304" y="61"/>
                    </a:lnTo>
                    <a:lnTo>
                      <a:pt x="306" y="61"/>
                    </a:lnTo>
                    <a:lnTo>
                      <a:pt x="307" y="61"/>
                    </a:lnTo>
                    <a:lnTo>
                      <a:pt x="309" y="60"/>
                    </a:lnTo>
                    <a:lnTo>
                      <a:pt x="309" y="58"/>
                    </a:lnTo>
                    <a:lnTo>
                      <a:pt x="309" y="60"/>
                    </a:lnTo>
                    <a:lnTo>
                      <a:pt x="311" y="60"/>
                    </a:lnTo>
                    <a:lnTo>
                      <a:pt x="312" y="60"/>
                    </a:lnTo>
                    <a:lnTo>
                      <a:pt x="314" y="60"/>
                    </a:lnTo>
                    <a:lnTo>
                      <a:pt x="316" y="60"/>
                    </a:lnTo>
                    <a:lnTo>
                      <a:pt x="317" y="60"/>
                    </a:lnTo>
                    <a:lnTo>
                      <a:pt x="319" y="60"/>
                    </a:lnTo>
                    <a:lnTo>
                      <a:pt x="321" y="60"/>
                    </a:lnTo>
                    <a:lnTo>
                      <a:pt x="323" y="60"/>
                    </a:lnTo>
                    <a:lnTo>
                      <a:pt x="324" y="60"/>
                    </a:lnTo>
                    <a:lnTo>
                      <a:pt x="326" y="60"/>
                    </a:lnTo>
                    <a:lnTo>
                      <a:pt x="326" y="58"/>
                    </a:lnTo>
                    <a:lnTo>
                      <a:pt x="324" y="58"/>
                    </a:lnTo>
                    <a:lnTo>
                      <a:pt x="323" y="58"/>
                    </a:lnTo>
                    <a:lnTo>
                      <a:pt x="321" y="56"/>
                    </a:lnTo>
                    <a:lnTo>
                      <a:pt x="319" y="56"/>
                    </a:lnTo>
                    <a:lnTo>
                      <a:pt x="317" y="56"/>
                    </a:lnTo>
                    <a:lnTo>
                      <a:pt x="316" y="56"/>
                    </a:lnTo>
                    <a:lnTo>
                      <a:pt x="316" y="55"/>
                    </a:lnTo>
                    <a:lnTo>
                      <a:pt x="316" y="56"/>
                    </a:lnTo>
                    <a:lnTo>
                      <a:pt x="314" y="55"/>
                    </a:lnTo>
                    <a:lnTo>
                      <a:pt x="314" y="56"/>
                    </a:lnTo>
                    <a:lnTo>
                      <a:pt x="314" y="55"/>
                    </a:lnTo>
                    <a:lnTo>
                      <a:pt x="314" y="56"/>
                    </a:lnTo>
                    <a:lnTo>
                      <a:pt x="312" y="55"/>
                    </a:lnTo>
                    <a:lnTo>
                      <a:pt x="314" y="55"/>
                    </a:lnTo>
                    <a:lnTo>
                      <a:pt x="312" y="55"/>
                    </a:lnTo>
                    <a:lnTo>
                      <a:pt x="312" y="56"/>
                    </a:lnTo>
                    <a:lnTo>
                      <a:pt x="311" y="56"/>
                    </a:lnTo>
                    <a:lnTo>
                      <a:pt x="311" y="55"/>
                    </a:lnTo>
                    <a:lnTo>
                      <a:pt x="309" y="56"/>
                    </a:lnTo>
                    <a:lnTo>
                      <a:pt x="307" y="56"/>
                    </a:lnTo>
                    <a:lnTo>
                      <a:pt x="307" y="58"/>
                    </a:lnTo>
                    <a:lnTo>
                      <a:pt x="306" y="56"/>
                    </a:lnTo>
                    <a:lnTo>
                      <a:pt x="306" y="55"/>
                    </a:lnTo>
                    <a:lnTo>
                      <a:pt x="306" y="53"/>
                    </a:lnTo>
                    <a:lnTo>
                      <a:pt x="307" y="53"/>
                    </a:lnTo>
                    <a:lnTo>
                      <a:pt x="309" y="53"/>
                    </a:lnTo>
                    <a:lnTo>
                      <a:pt x="309" y="55"/>
                    </a:lnTo>
                    <a:lnTo>
                      <a:pt x="309" y="53"/>
                    </a:lnTo>
                    <a:lnTo>
                      <a:pt x="309" y="55"/>
                    </a:lnTo>
                    <a:lnTo>
                      <a:pt x="311" y="55"/>
                    </a:lnTo>
                    <a:lnTo>
                      <a:pt x="311" y="53"/>
                    </a:lnTo>
                    <a:lnTo>
                      <a:pt x="312" y="53"/>
                    </a:lnTo>
                    <a:lnTo>
                      <a:pt x="314" y="53"/>
                    </a:lnTo>
                    <a:lnTo>
                      <a:pt x="316" y="53"/>
                    </a:lnTo>
                    <a:lnTo>
                      <a:pt x="317" y="55"/>
                    </a:lnTo>
                    <a:lnTo>
                      <a:pt x="317" y="53"/>
                    </a:lnTo>
                    <a:lnTo>
                      <a:pt x="319" y="53"/>
                    </a:lnTo>
                    <a:lnTo>
                      <a:pt x="321" y="53"/>
                    </a:lnTo>
                    <a:lnTo>
                      <a:pt x="323" y="53"/>
                    </a:lnTo>
                    <a:lnTo>
                      <a:pt x="321" y="51"/>
                    </a:lnTo>
                    <a:lnTo>
                      <a:pt x="321" y="53"/>
                    </a:lnTo>
                    <a:lnTo>
                      <a:pt x="321" y="51"/>
                    </a:lnTo>
                    <a:lnTo>
                      <a:pt x="323" y="51"/>
                    </a:lnTo>
                    <a:lnTo>
                      <a:pt x="323" y="53"/>
                    </a:lnTo>
                    <a:lnTo>
                      <a:pt x="324" y="53"/>
                    </a:lnTo>
                    <a:lnTo>
                      <a:pt x="326" y="53"/>
                    </a:lnTo>
                    <a:lnTo>
                      <a:pt x="328" y="53"/>
                    </a:lnTo>
                    <a:lnTo>
                      <a:pt x="329" y="53"/>
                    </a:lnTo>
                    <a:lnTo>
                      <a:pt x="331" y="55"/>
                    </a:lnTo>
                    <a:lnTo>
                      <a:pt x="331" y="53"/>
                    </a:lnTo>
                    <a:lnTo>
                      <a:pt x="333" y="53"/>
                    </a:lnTo>
                    <a:lnTo>
                      <a:pt x="334" y="53"/>
                    </a:lnTo>
                    <a:lnTo>
                      <a:pt x="334" y="51"/>
                    </a:lnTo>
                    <a:lnTo>
                      <a:pt x="336" y="51"/>
                    </a:lnTo>
                    <a:lnTo>
                      <a:pt x="336" y="53"/>
                    </a:lnTo>
                    <a:lnTo>
                      <a:pt x="338" y="53"/>
                    </a:lnTo>
                    <a:lnTo>
                      <a:pt x="338" y="51"/>
                    </a:lnTo>
                    <a:lnTo>
                      <a:pt x="338" y="53"/>
                    </a:lnTo>
                    <a:lnTo>
                      <a:pt x="340" y="53"/>
                    </a:lnTo>
                    <a:lnTo>
                      <a:pt x="341" y="53"/>
                    </a:lnTo>
                    <a:lnTo>
                      <a:pt x="341" y="51"/>
                    </a:lnTo>
                    <a:lnTo>
                      <a:pt x="343" y="51"/>
                    </a:lnTo>
                    <a:lnTo>
                      <a:pt x="345" y="51"/>
                    </a:lnTo>
                    <a:lnTo>
                      <a:pt x="346" y="51"/>
                    </a:lnTo>
                    <a:lnTo>
                      <a:pt x="348" y="51"/>
                    </a:lnTo>
                    <a:lnTo>
                      <a:pt x="350" y="51"/>
                    </a:lnTo>
                    <a:lnTo>
                      <a:pt x="351" y="51"/>
                    </a:lnTo>
                    <a:lnTo>
                      <a:pt x="353" y="51"/>
                    </a:lnTo>
                    <a:lnTo>
                      <a:pt x="355" y="51"/>
                    </a:lnTo>
                    <a:lnTo>
                      <a:pt x="355" y="50"/>
                    </a:lnTo>
                    <a:lnTo>
                      <a:pt x="357" y="50"/>
                    </a:lnTo>
                    <a:lnTo>
                      <a:pt x="358" y="50"/>
                    </a:lnTo>
                    <a:lnTo>
                      <a:pt x="360" y="50"/>
                    </a:lnTo>
                    <a:lnTo>
                      <a:pt x="362" y="50"/>
                    </a:lnTo>
                    <a:lnTo>
                      <a:pt x="363" y="50"/>
                    </a:lnTo>
                    <a:lnTo>
                      <a:pt x="365" y="50"/>
                    </a:lnTo>
                    <a:lnTo>
                      <a:pt x="367" y="51"/>
                    </a:lnTo>
                    <a:lnTo>
                      <a:pt x="368" y="51"/>
                    </a:lnTo>
                    <a:lnTo>
                      <a:pt x="370" y="51"/>
                    </a:lnTo>
                    <a:lnTo>
                      <a:pt x="372" y="51"/>
                    </a:lnTo>
                    <a:lnTo>
                      <a:pt x="374" y="51"/>
                    </a:lnTo>
                    <a:lnTo>
                      <a:pt x="375" y="51"/>
                    </a:lnTo>
                    <a:lnTo>
                      <a:pt x="377" y="51"/>
                    </a:lnTo>
                    <a:lnTo>
                      <a:pt x="379" y="51"/>
                    </a:lnTo>
                    <a:lnTo>
                      <a:pt x="380" y="51"/>
                    </a:lnTo>
                    <a:lnTo>
                      <a:pt x="382" y="51"/>
                    </a:lnTo>
                    <a:lnTo>
                      <a:pt x="384" y="51"/>
                    </a:lnTo>
                    <a:lnTo>
                      <a:pt x="385" y="51"/>
                    </a:lnTo>
                    <a:lnTo>
                      <a:pt x="385" y="50"/>
                    </a:lnTo>
                    <a:lnTo>
                      <a:pt x="387" y="50"/>
                    </a:lnTo>
                    <a:lnTo>
                      <a:pt x="387" y="51"/>
                    </a:lnTo>
                    <a:lnTo>
                      <a:pt x="385" y="51"/>
                    </a:lnTo>
                    <a:lnTo>
                      <a:pt x="385" y="53"/>
                    </a:lnTo>
                    <a:lnTo>
                      <a:pt x="385" y="51"/>
                    </a:lnTo>
                    <a:lnTo>
                      <a:pt x="385" y="53"/>
                    </a:lnTo>
                    <a:lnTo>
                      <a:pt x="384" y="53"/>
                    </a:lnTo>
                    <a:lnTo>
                      <a:pt x="382" y="53"/>
                    </a:lnTo>
                    <a:lnTo>
                      <a:pt x="380" y="53"/>
                    </a:lnTo>
                    <a:lnTo>
                      <a:pt x="379" y="53"/>
                    </a:lnTo>
                    <a:lnTo>
                      <a:pt x="377" y="53"/>
                    </a:lnTo>
                    <a:lnTo>
                      <a:pt x="375" y="53"/>
                    </a:lnTo>
                    <a:lnTo>
                      <a:pt x="374" y="53"/>
                    </a:lnTo>
                    <a:lnTo>
                      <a:pt x="374" y="55"/>
                    </a:lnTo>
                    <a:lnTo>
                      <a:pt x="372" y="55"/>
                    </a:lnTo>
                    <a:lnTo>
                      <a:pt x="372" y="56"/>
                    </a:lnTo>
                    <a:lnTo>
                      <a:pt x="370" y="56"/>
                    </a:lnTo>
                    <a:lnTo>
                      <a:pt x="368" y="56"/>
                    </a:lnTo>
                    <a:lnTo>
                      <a:pt x="367" y="56"/>
                    </a:lnTo>
                    <a:lnTo>
                      <a:pt x="365" y="56"/>
                    </a:lnTo>
                    <a:lnTo>
                      <a:pt x="363" y="56"/>
                    </a:lnTo>
                    <a:lnTo>
                      <a:pt x="362" y="56"/>
                    </a:lnTo>
                    <a:lnTo>
                      <a:pt x="360" y="56"/>
                    </a:lnTo>
                    <a:lnTo>
                      <a:pt x="358" y="56"/>
                    </a:lnTo>
                    <a:lnTo>
                      <a:pt x="357" y="56"/>
                    </a:lnTo>
                    <a:lnTo>
                      <a:pt x="355" y="56"/>
                    </a:lnTo>
                    <a:lnTo>
                      <a:pt x="353" y="58"/>
                    </a:lnTo>
                    <a:lnTo>
                      <a:pt x="355" y="58"/>
                    </a:lnTo>
                    <a:lnTo>
                      <a:pt x="357" y="58"/>
                    </a:lnTo>
                    <a:lnTo>
                      <a:pt x="357" y="60"/>
                    </a:lnTo>
                    <a:lnTo>
                      <a:pt x="358" y="60"/>
                    </a:lnTo>
                    <a:lnTo>
                      <a:pt x="358" y="61"/>
                    </a:lnTo>
                    <a:lnTo>
                      <a:pt x="360" y="63"/>
                    </a:lnTo>
                    <a:lnTo>
                      <a:pt x="360" y="65"/>
                    </a:lnTo>
                    <a:lnTo>
                      <a:pt x="360" y="67"/>
                    </a:lnTo>
                    <a:lnTo>
                      <a:pt x="360" y="68"/>
                    </a:lnTo>
                    <a:lnTo>
                      <a:pt x="360" y="70"/>
                    </a:lnTo>
                    <a:lnTo>
                      <a:pt x="362" y="70"/>
                    </a:lnTo>
                    <a:lnTo>
                      <a:pt x="362" y="68"/>
                    </a:lnTo>
                    <a:lnTo>
                      <a:pt x="362" y="67"/>
                    </a:lnTo>
                    <a:lnTo>
                      <a:pt x="363" y="68"/>
                    </a:lnTo>
                    <a:lnTo>
                      <a:pt x="365" y="68"/>
                    </a:lnTo>
                    <a:lnTo>
                      <a:pt x="365" y="70"/>
                    </a:lnTo>
                    <a:lnTo>
                      <a:pt x="367" y="70"/>
                    </a:lnTo>
                    <a:lnTo>
                      <a:pt x="367" y="72"/>
                    </a:lnTo>
                    <a:lnTo>
                      <a:pt x="367" y="73"/>
                    </a:lnTo>
                    <a:lnTo>
                      <a:pt x="367" y="75"/>
                    </a:lnTo>
                    <a:lnTo>
                      <a:pt x="368" y="75"/>
                    </a:lnTo>
                    <a:lnTo>
                      <a:pt x="368" y="77"/>
                    </a:lnTo>
                    <a:lnTo>
                      <a:pt x="367" y="77"/>
                    </a:lnTo>
                    <a:lnTo>
                      <a:pt x="368" y="78"/>
                    </a:lnTo>
                    <a:lnTo>
                      <a:pt x="370" y="78"/>
                    </a:lnTo>
                    <a:lnTo>
                      <a:pt x="370" y="80"/>
                    </a:lnTo>
                    <a:lnTo>
                      <a:pt x="370" y="78"/>
                    </a:lnTo>
                    <a:lnTo>
                      <a:pt x="372" y="78"/>
                    </a:lnTo>
                    <a:lnTo>
                      <a:pt x="370" y="77"/>
                    </a:lnTo>
                    <a:lnTo>
                      <a:pt x="372" y="77"/>
                    </a:lnTo>
                    <a:lnTo>
                      <a:pt x="374" y="77"/>
                    </a:lnTo>
                    <a:lnTo>
                      <a:pt x="375" y="75"/>
                    </a:lnTo>
                    <a:lnTo>
                      <a:pt x="377" y="75"/>
                    </a:lnTo>
                    <a:lnTo>
                      <a:pt x="379" y="75"/>
                    </a:lnTo>
                    <a:lnTo>
                      <a:pt x="380" y="77"/>
                    </a:lnTo>
                    <a:lnTo>
                      <a:pt x="382" y="77"/>
                    </a:lnTo>
                    <a:lnTo>
                      <a:pt x="382" y="78"/>
                    </a:lnTo>
                    <a:lnTo>
                      <a:pt x="384" y="78"/>
                    </a:lnTo>
                    <a:lnTo>
                      <a:pt x="385" y="80"/>
                    </a:lnTo>
                    <a:lnTo>
                      <a:pt x="385" y="82"/>
                    </a:lnTo>
                    <a:lnTo>
                      <a:pt x="387" y="82"/>
                    </a:lnTo>
                    <a:lnTo>
                      <a:pt x="389" y="82"/>
                    </a:lnTo>
                    <a:lnTo>
                      <a:pt x="391" y="82"/>
                    </a:lnTo>
                    <a:lnTo>
                      <a:pt x="392" y="82"/>
                    </a:lnTo>
                    <a:lnTo>
                      <a:pt x="394" y="82"/>
                    </a:lnTo>
                    <a:lnTo>
                      <a:pt x="396" y="82"/>
                    </a:lnTo>
                    <a:lnTo>
                      <a:pt x="394" y="82"/>
                    </a:lnTo>
                    <a:lnTo>
                      <a:pt x="396" y="82"/>
                    </a:lnTo>
                    <a:lnTo>
                      <a:pt x="396" y="80"/>
                    </a:lnTo>
                    <a:lnTo>
                      <a:pt x="394" y="80"/>
                    </a:lnTo>
                    <a:lnTo>
                      <a:pt x="396" y="80"/>
                    </a:lnTo>
                    <a:lnTo>
                      <a:pt x="394" y="80"/>
                    </a:lnTo>
                    <a:lnTo>
                      <a:pt x="394" y="78"/>
                    </a:lnTo>
                    <a:lnTo>
                      <a:pt x="396" y="80"/>
                    </a:lnTo>
                    <a:lnTo>
                      <a:pt x="397" y="80"/>
                    </a:lnTo>
                    <a:lnTo>
                      <a:pt x="399" y="82"/>
                    </a:lnTo>
                    <a:lnTo>
                      <a:pt x="401" y="82"/>
                    </a:lnTo>
                    <a:lnTo>
                      <a:pt x="401" y="84"/>
                    </a:lnTo>
                    <a:lnTo>
                      <a:pt x="401" y="82"/>
                    </a:lnTo>
                    <a:lnTo>
                      <a:pt x="399" y="82"/>
                    </a:lnTo>
                    <a:lnTo>
                      <a:pt x="399" y="80"/>
                    </a:lnTo>
                    <a:lnTo>
                      <a:pt x="399" y="82"/>
                    </a:lnTo>
                    <a:lnTo>
                      <a:pt x="401" y="82"/>
                    </a:lnTo>
                    <a:lnTo>
                      <a:pt x="402" y="82"/>
                    </a:lnTo>
                    <a:lnTo>
                      <a:pt x="402" y="84"/>
                    </a:lnTo>
                    <a:lnTo>
                      <a:pt x="404" y="84"/>
                    </a:lnTo>
                    <a:lnTo>
                      <a:pt x="404" y="85"/>
                    </a:lnTo>
                    <a:lnTo>
                      <a:pt x="406" y="85"/>
                    </a:lnTo>
                    <a:lnTo>
                      <a:pt x="406" y="87"/>
                    </a:lnTo>
                    <a:lnTo>
                      <a:pt x="408" y="87"/>
                    </a:lnTo>
                    <a:lnTo>
                      <a:pt x="408" y="89"/>
                    </a:lnTo>
                    <a:lnTo>
                      <a:pt x="409" y="89"/>
                    </a:lnTo>
                    <a:lnTo>
                      <a:pt x="411" y="90"/>
                    </a:lnTo>
                    <a:lnTo>
                      <a:pt x="413" y="90"/>
                    </a:lnTo>
                    <a:lnTo>
                      <a:pt x="414" y="90"/>
                    </a:lnTo>
                    <a:lnTo>
                      <a:pt x="416" y="90"/>
                    </a:lnTo>
                    <a:lnTo>
                      <a:pt x="416" y="92"/>
                    </a:lnTo>
                    <a:lnTo>
                      <a:pt x="418" y="92"/>
                    </a:lnTo>
                    <a:lnTo>
                      <a:pt x="419" y="94"/>
                    </a:lnTo>
                    <a:lnTo>
                      <a:pt x="421" y="94"/>
                    </a:lnTo>
                    <a:lnTo>
                      <a:pt x="421" y="96"/>
                    </a:lnTo>
                    <a:lnTo>
                      <a:pt x="423" y="96"/>
                    </a:lnTo>
                    <a:lnTo>
                      <a:pt x="423" y="97"/>
                    </a:lnTo>
                    <a:lnTo>
                      <a:pt x="423" y="99"/>
                    </a:lnTo>
                    <a:lnTo>
                      <a:pt x="423" y="101"/>
                    </a:lnTo>
                    <a:lnTo>
                      <a:pt x="421" y="101"/>
                    </a:lnTo>
                    <a:lnTo>
                      <a:pt x="419" y="101"/>
                    </a:lnTo>
                    <a:lnTo>
                      <a:pt x="419" y="102"/>
                    </a:lnTo>
                    <a:lnTo>
                      <a:pt x="418" y="102"/>
                    </a:lnTo>
                    <a:lnTo>
                      <a:pt x="418" y="104"/>
                    </a:lnTo>
                    <a:lnTo>
                      <a:pt x="419" y="104"/>
                    </a:lnTo>
                    <a:lnTo>
                      <a:pt x="419" y="102"/>
                    </a:lnTo>
                    <a:lnTo>
                      <a:pt x="421" y="102"/>
                    </a:lnTo>
                    <a:lnTo>
                      <a:pt x="423" y="102"/>
                    </a:lnTo>
                    <a:lnTo>
                      <a:pt x="425" y="102"/>
                    </a:lnTo>
                    <a:lnTo>
                      <a:pt x="425" y="104"/>
                    </a:lnTo>
                    <a:lnTo>
                      <a:pt x="423" y="104"/>
                    </a:lnTo>
                    <a:lnTo>
                      <a:pt x="425" y="104"/>
                    </a:lnTo>
                    <a:lnTo>
                      <a:pt x="425" y="106"/>
                    </a:lnTo>
                    <a:lnTo>
                      <a:pt x="423" y="106"/>
                    </a:lnTo>
                    <a:lnTo>
                      <a:pt x="423" y="107"/>
                    </a:lnTo>
                    <a:lnTo>
                      <a:pt x="425" y="107"/>
                    </a:lnTo>
                    <a:lnTo>
                      <a:pt x="423" y="107"/>
                    </a:lnTo>
                    <a:lnTo>
                      <a:pt x="423" y="109"/>
                    </a:lnTo>
                    <a:lnTo>
                      <a:pt x="423" y="111"/>
                    </a:lnTo>
                    <a:lnTo>
                      <a:pt x="421" y="111"/>
                    </a:lnTo>
                    <a:lnTo>
                      <a:pt x="421" y="109"/>
                    </a:lnTo>
                    <a:lnTo>
                      <a:pt x="421" y="111"/>
                    </a:lnTo>
                    <a:lnTo>
                      <a:pt x="423" y="111"/>
                    </a:lnTo>
                    <a:lnTo>
                      <a:pt x="425" y="111"/>
                    </a:lnTo>
                    <a:lnTo>
                      <a:pt x="423" y="111"/>
                    </a:lnTo>
                    <a:lnTo>
                      <a:pt x="423" y="113"/>
                    </a:lnTo>
                    <a:lnTo>
                      <a:pt x="421" y="113"/>
                    </a:lnTo>
                    <a:lnTo>
                      <a:pt x="421" y="114"/>
                    </a:lnTo>
                    <a:lnTo>
                      <a:pt x="423" y="114"/>
                    </a:lnTo>
                    <a:lnTo>
                      <a:pt x="425" y="114"/>
                    </a:lnTo>
                    <a:lnTo>
                      <a:pt x="423" y="114"/>
                    </a:lnTo>
                    <a:lnTo>
                      <a:pt x="423" y="116"/>
                    </a:lnTo>
                    <a:lnTo>
                      <a:pt x="425" y="116"/>
                    </a:lnTo>
                    <a:lnTo>
                      <a:pt x="426" y="116"/>
                    </a:lnTo>
                    <a:lnTo>
                      <a:pt x="426" y="118"/>
                    </a:lnTo>
                    <a:lnTo>
                      <a:pt x="425" y="118"/>
                    </a:lnTo>
                    <a:lnTo>
                      <a:pt x="425" y="119"/>
                    </a:lnTo>
                    <a:lnTo>
                      <a:pt x="423" y="119"/>
                    </a:lnTo>
                    <a:lnTo>
                      <a:pt x="423" y="121"/>
                    </a:lnTo>
                    <a:lnTo>
                      <a:pt x="421" y="121"/>
                    </a:lnTo>
                    <a:lnTo>
                      <a:pt x="419" y="121"/>
                    </a:lnTo>
                    <a:lnTo>
                      <a:pt x="419" y="123"/>
                    </a:lnTo>
                    <a:lnTo>
                      <a:pt x="418" y="123"/>
                    </a:lnTo>
                    <a:lnTo>
                      <a:pt x="416" y="123"/>
                    </a:lnTo>
                    <a:lnTo>
                      <a:pt x="416" y="124"/>
                    </a:lnTo>
                    <a:lnTo>
                      <a:pt x="414" y="126"/>
                    </a:lnTo>
                    <a:lnTo>
                      <a:pt x="416" y="126"/>
                    </a:lnTo>
                    <a:lnTo>
                      <a:pt x="416" y="124"/>
                    </a:lnTo>
                    <a:lnTo>
                      <a:pt x="418" y="124"/>
                    </a:lnTo>
                    <a:lnTo>
                      <a:pt x="419" y="123"/>
                    </a:lnTo>
                    <a:lnTo>
                      <a:pt x="421" y="124"/>
                    </a:lnTo>
                    <a:lnTo>
                      <a:pt x="423" y="124"/>
                    </a:lnTo>
                    <a:lnTo>
                      <a:pt x="425" y="123"/>
                    </a:lnTo>
                    <a:lnTo>
                      <a:pt x="426" y="123"/>
                    </a:lnTo>
                    <a:lnTo>
                      <a:pt x="426" y="124"/>
                    </a:lnTo>
                    <a:lnTo>
                      <a:pt x="428" y="124"/>
                    </a:lnTo>
                    <a:lnTo>
                      <a:pt x="430" y="124"/>
                    </a:lnTo>
                    <a:lnTo>
                      <a:pt x="430" y="126"/>
                    </a:lnTo>
                    <a:lnTo>
                      <a:pt x="431" y="126"/>
                    </a:lnTo>
                    <a:lnTo>
                      <a:pt x="433" y="126"/>
                    </a:lnTo>
                    <a:lnTo>
                      <a:pt x="435" y="126"/>
                    </a:lnTo>
                    <a:lnTo>
                      <a:pt x="435" y="124"/>
                    </a:lnTo>
                    <a:lnTo>
                      <a:pt x="436" y="124"/>
                    </a:lnTo>
                    <a:lnTo>
                      <a:pt x="435" y="123"/>
                    </a:lnTo>
                    <a:lnTo>
                      <a:pt x="436" y="123"/>
                    </a:lnTo>
                    <a:lnTo>
                      <a:pt x="438" y="123"/>
                    </a:lnTo>
                    <a:lnTo>
                      <a:pt x="440" y="123"/>
                    </a:lnTo>
                    <a:lnTo>
                      <a:pt x="442" y="123"/>
                    </a:lnTo>
                    <a:lnTo>
                      <a:pt x="443" y="123"/>
                    </a:lnTo>
                    <a:lnTo>
                      <a:pt x="445" y="123"/>
                    </a:lnTo>
                    <a:lnTo>
                      <a:pt x="447" y="123"/>
                    </a:lnTo>
                    <a:lnTo>
                      <a:pt x="447" y="124"/>
                    </a:lnTo>
                    <a:lnTo>
                      <a:pt x="448" y="124"/>
                    </a:lnTo>
                    <a:lnTo>
                      <a:pt x="450" y="124"/>
                    </a:lnTo>
                    <a:lnTo>
                      <a:pt x="450" y="126"/>
                    </a:lnTo>
                    <a:close/>
                    <a:moveTo>
                      <a:pt x="321" y="38"/>
                    </a:moveTo>
                    <a:lnTo>
                      <a:pt x="321" y="39"/>
                    </a:lnTo>
                    <a:lnTo>
                      <a:pt x="321" y="41"/>
                    </a:lnTo>
                    <a:lnTo>
                      <a:pt x="323" y="41"/>
                    </a:lnTo>
                    <a:lnTo>
                      <a:pt x="321" y="41"/>
                    </a:lnTo>
                    <a:lnTo>
                      <a:pt x="321" y="43"/>
                    </a:lnTo>
                    <a:lnTo>
                      <a:pt x="319" y="43"/>
                    </a:lnTo>
                    <a:lnTo>
                      <a:pt x="319" y="44"/>
                    </a:lnTo>
                    <a:lnTo>
                      <a:pt x="317" y="44"/>
                    </a:lnTo>
                    <a:lnTo>
                      <a:pt x="316" y="43"/>
                    </a:lnTo>
                    <a:lnTo>
                      <a:pt x="317" y="44"/>
                    </a:lnTo>
                    <a:lnTo>
                      <a:pt x="316" y="44"/>
                    </a:lnTo>
                    <a:lnTo>
                      <a:pt x="317" y="44"/>
                    </a:lnTo>
                    <a:lnTo>
                      <a:pt x="316" y="44"/>
                    </a:lnTo>
                    <a:lnTo>
                      <a:pt x="314" y="44"/>
                    </a:lnTo>
                    <a:lnTo>
                      <a:pt x="314" y="46"/>
                    </a:lnTo>
                    <a:lnTo>
                      <a:pt x="312" y="46"/>
                    </a:lnTo>
                    <a:lnTo>
                      <a:pt x="312" y="44"/>
                    </a:lnTo>
                    <a:lnTo>
                      <a:pt x="311" y="44"/>
                    </a:lnTo>
                    <a:lnTo>
                      <a:pt x="311" y="43"/>
                    </a:lnTo>
                    <a:lnTo>
                      <a:pt x="311" y="44"/>
                    </a:lnTo>
                    <a:lnTo>
                      <a:pt x="311" y="43"/>
                    </a:lnTo>
                    <a:lnTo>
                      <a:pt x="309" y="43"/>
                    </a:lnTo>
                    <a:lnTo>
                      <a:pt x="309" y="41"/>
                    </a:lnTo>
                    <a:lnTo>
                      <a:pt x="311" y="41"/>
                    </a:lnTo>
                    <a:lnTo>
                      <a:pt x="311" y="43"/>
                    </a:lnTo>
                    <a:lnTo>
                      <a:pt x="311" y="41"/>
                    </a:lnTo>
                    <a:lnTo>
                      <a:pt x="311" y="43"/>
                    </a:lnTo>
                    <a:lnTo>
                      <a:pt x="312" y="41"/>
                    </a:lnTo>
                    <a:lnTo>
                      <a:pt x="314" y="43"/>
                    </a:lnTo>
                    <a:lnTo>
                      <a:pt x="314" y="41"/>
                    </a:lnTo>
                    <a:lnTo>
                      <a:pt x="312" y="41"/>
                    </a:lnTo>
                    <a:lnTo>
                      <a:pt x="311" y="41"/>
                    </a:lnTo>
                    <a:lnTo>
                      <a:pt x="309" y="41"/>
                    </a:lnTo>
                    <a:lnTo>
                      <a:pt x="309" y="43"/>
                    </a:lnTo>
                    <a:lnTo>
                      <a:pt x="307" y="43"/>
                    </a:lnTo>
                    <a:lnTo>
                      <a:pt x="306" y="43"/>
                    </a:lnTo>
                    <a:lnTo>
                      <a:pt x="304" y="43"/>
                    </a:lnTo>
                    <a:lnTo>
                      <a:pt x="302" y="43"/>
                    </a:lnTo>
                    <a:lnTo>
                      <a:pt x="300" y="43"/>
                    </a:lnTo>
                    <a:lnTo>
                      <a:pt x="300" y="41"/>
                    </a:lnTo>
                    <a:lnTo>
                      <a:pt x="302" y="41"/>
                    </a:lnTo>
                    <a:lnTo>
                      <a:pt x="302" y="39"/>
                    </a:lnTo>
                    <a:lnTo>
                      <a:pt x="304" y="39"/>
                    </a:lnTo>
                    <a:lnTo>
                      <a:pt x="306" y="39"/>
                    </a:lnTo>
                    <a:lnTo>
                      <a:pt x="307" y="38"/>
                    </a:lnTo>
                    <a:lnTo>
                      <a:pt x="309" y="38"/>
                    </a:lnTo>
                    <a:lnTo>
                      <a:pt x="309" y="39"/>
                    </a:lnTo>
                    <a:lnTo>
                      <a:pt x="307" y="39"/>
                    </a:lnTo>
                    <a:lnTo>
                      <a:pt x="309" y="39"/>
                    </a:lnTo>
                    <a:lnTo>
                      <a:pt x="309" y="41"/>
                    </a:lnTo>
                    <a:lnTo>
                      <a:pt x="311" y="41"/>
                    </a:lnTo>
                    <a:lnTo>
                      <a:pt x="312" y="41"/>
                    </a:lnTo>
                    <a:lnTo>
                      <a:pt x="314" y="41"/>
                    </a:lnTo>
                    <a:lnTo>
                      <a:pt x="314" y="39"/>
                    </a:lnTo>
                    <a:lnTo>
                      <a:pt x="316" y="39"/>
                    </a:lnTo>
                    <a:lnTo>
                      <a:pt x="316" y="38"/>
                    </a:lnTo>
                    <a:lnTo>
                      <a:pt x="317" y="38"/>
                    </a:lnTo>
                    <a:lnTo>
                      <a:pt x="317" y="36"/>
                    </a:lnTo>
                    <a:lnTo>
                      <a:pt x="319" y="36"/>
                    </a:lnTo>
                    <a:lnTo>
                      <a:pt x="319" y="34"/>
                    </a:lnTo>
                    <a:lnTo>
                      <a:pt x="319" y="36"/>
                    </a:lnTo>
                    <a:lnTo>
                      <a:pt x="321" y="36"/>
                    </a:lnTo>
                    <a:lnTo>
                      <a:pt x="321" y="38"/>
                    </a:lnTo>
                    <a:close/>
                    <a:moveTo>
                      <a:pt x="272" y="43"/>
                    </a:moveTo>
                    <a:lnTo>
                      <a:pt x="273" y="43"/>
                    </a:lnTo>
                    <a:lnTo>
                      <a:pt x="275" y="43"/>
                    </a:lnTo>
                    <a:lnTo>
                      <a:pt x="275" y="44"/>
                    </a:lnTo>
                    <a:lnTo>
                      <a:pt x="273" y="44"/>
                    </a:lnTo>
                    <a:lnTo>
                      <a:pt x="272" y="44"/>
                    </a:lnTo>
                    <a:lnTo>
                      <a:pt x="270" y="44"/>
                    </a:lnTo>
                    <a:lnTo>
                      <a:pt x="268" y="44"/>
                    </a:lnTo>
                    <a:lnTo>
                      <a:pt x="266" y="44"/>
                    </a:lnTo>
                    <a:lnTo>
                      <a:pt x="266" y="43"/>
                    </a:lnTo>
                    <a:lnTo>
                      <a:pt x="268" y="43"/>
                    </a:lnTo>
                    <a:lnTo>
                      <a:pt x="268" y="41"/>
                    </a:lnTo>
                    <a:lnTo>
                      <a:pt x="270" y="41"/>
                    </a:lnTo>
                    <a:lnTo>
                      <a:pt x="272" y="41"/>
                    </a:lnTo>
                    <a:lnTo>
                      <a:pt x="272" y="43"/>
                    </a:lnTo>
                    <a:close/>
                    <a:moveTo>
                      <a:pt x="294" y="10"/>
                    </a:moveTo>
                    <a:lnTo>
                      <a:pt x="295" y="10"/>
                    </a:lnTo>
                    <a:lnTo>
                      <a:pt x="295" y="14"/>
                    </a:lnTo>
                    <a:lnTo>
                      <a:pt x="294" y="14"/>
                    </a:lnTo>
                    <a:lnTo>
                      <a:pt x="294" y="10"/>
                    </a:lnTo>
                    <a:close/>
                    <a:moveTo>
                      <a:pt x="316" y="48"/>
                    </a:moveTo>
                    <a:lnTo>
                      <a:pt x="317" y="48"/>
                    </a:lnTo>
                    <a:lnTo>
                      <a:pt x="319" y="50"/>
                    </a:lnTo>
                    <a:lnTo>
                      <a:pt x="317" y="50"/>
                    </a:lnTo>
                    <a:lnTo>
                      <a:pt x="316" y="50"/>
                    </a:lnTo>
                    <a:lnTo>
                      <a:pt x="317" y="50"/>
                    </a:lnTo>
                    <a:lnTo>
                      <a:pt x="316" y="50"/>
                    </a:lnTo>
                    <a:lnTo>
                      <a:pt x="314" y="48"/>
                    </a:lnTo>
                    <a:lnTo>
                      <a:pt x="316" y="48"/>
                    </a:lnTo>
                    <a:close/>
                    <a:moveTo>
                      <a:pt x="244" y="14"/>
                    </a:moveTo>
                    <a:lnTo>
                      <a:pt x="243" y="14"/>
                    </a:lnTo>
                    <a:lnTo>
                      <a:pt x="241" y="14"/>
                    </a:lnTo>
                    <a:lnTo>
                      <a:pt x="241" y="12"/>
                    </a:lnTo>
                    <a:lnTo>
                      <a:pt x="243" y="12"/>
                    </a:lnTo>
                    <a:lnTo>
                      <a:pt x="244" y="14"/>
                    </a:lnTo>
                    <a:close/>
                    <a:moveTo>
                      <a:pt x="307" y="46"/>
                    </a:moveTo>
                    <a:lnTo>
                      <a:pt x="311" y="46"/>
                    </a:lnTo>
                    <a:lnTo>
                      <a:pt x="311" y="48"/>
                    </a:lnTo>
                    <a:lnTo>
                      <a:pt x="307" y="48"/>
                    </a:lnTo>
                    <a:lnTo>
                      <a:pt x="307" y="46"/>
                    </a:lnTo>
                    <a:close/>
                    <a:moveTo>
                      <a:pt x="227" y="14"/>
                    </a:moveTo>
                    <a:lnTo>
                      <a:pt x="227" y="16"/>
                    </a:lnTo>
                    <a:lnTo>
                      <a:pt x="226" y="16"/>
                    </a:lnTo>
                    <a:lnTo>
                      <a:pt x="224" y="16"/>
                    </a:lnTo>
                    <a:lnTo>
                      <a:pt x="224" y="14"/>
                    </a:lnTo>
                    <a:lnTo>
                      <a:pt x="224" y="16"/>
                    </a:lnTo>
                    <a:lnTo>
                      <a:pt x="226" y="16"/>
                    </a:lnTo>
                    <a:lnTo>
                      <a:pt x="226" y="14"/>
                    </a:lnTo>
                    <a:lnTo>
                      <a:pt x="227" y="14"/>
                    </a:lnTo>
                    <a:lnTo>
                      <a:pt x="226" y="12"/>
                    </a:lnTo>
                    <a:lnTo>
                      <a:pt x="227" y="14"/>
                    </a:lnTo>
                    <a:close/>
                    <a:moveTo>
                      <a:pt x="59" y="41"/>
                    </a:moveTo>
                    <a:lnTo>
                      <a:pt x="61" y="41"/>
                    </a:lnTo>
                    <a:lnTo>
                      <a:pt x="61" y="43"/>
                    </a:lnTo>
                    <a:lnTo>
                      <a:pt x="59" y="43"/>
                    </a:lnTo>
                    <a:lnTo>
                      <a:pt x="59" y="41"/>
                    </a:lnTo>
                    <a:close/>
                    <a:moveTo>
                      <a:pt x="292" y="65"/>
                    </a:moveTo>
                    <a:lnTo>
                      <a:pt x="294" y="65"/>
                    </a:lnTo>
                    <a:lnTo>
                      <a:pt x="294" y="67"/>
                    </a:lnTo>
                    <a:lnTo>
                      <a:pt x="292" y="67"/>
                    </a:lnTo>
                    <a:lnTo>
                      <a:pt x="292" y="65"/>
                    </a:lnTo>
                    <a:close/>
                    <a:moveTo>
                      <a:pt x="289" y="65"/>
                    </a:moveTo>
                    <a:lnTo>
                      <a:pt x="290" y="65"/>
                    </a:lnTo>
                    <a:lnTo>
                      <a:pt x="290" y="67"/>
                    </a:lnTo>
                    <a:lnTo>
                      <a:pt x="289" y="67"/>
                    </a:lnTo>
                    <a:lnTo>
                      <a:pt x="289" y="65"/>
                    </a:lnTo>
                    <a:close/>
                    <a:moveTo>
                      <a:pt x="57" y="41"/>
                    </a:moveTo>
                    <a:lnTo>
                      <a:pt x="57" y="43"/>
                    </a:lnTo>
                    <a:lnTo>
                      <a:pt x="57" y="41"/>
                    </a:lnTo>
                    <a:close/>
                    <a:moveTo>
                      <a:pt x="56" y="43"/>
                    </a:moveTo>
                    <a:lnTo>
                      <a:pt x="57" y="43"/>
                    </a:lnTo>
                    <a:lnTo>
                      <a:pt x="56" y="43"/>
                    </a:lnTo>
                    <a:close/>
                    <a:moveTo>
                      <a:pt x="300" y="61"/>
                    </a:moveTo>
                    <a:lnTo>
                      <a:pt x="300" y="63"/>
                    </a:lnTo>
                    <a:lnTo>
                      <a:pt x="300" y="61"/>
                    </a:lnTo>
                    <a:close/>
                    <a:moveTo>
                      <a:pt x="345" y="27"/>
                    </a:moveTo>
                    <a:lnTo>
                      <a:pt x="345" y="29"/>
                    </a:lnTo>
                    <a:lnTo>
                      <a:pt x="345" y="27"/>
                    </a:lnTo>
                    <a:close/>
                    <a:moveTo>
                      <a:pt x="221" y="10"/>
                    </a:moveTo>
                    <a:lnTo>
                      <a:pt x="221" y="12"/>
                    </a:lnTo>
                    <a:lnTo>
                      <a:pt x="222" y="12"/>
                    </a:lnTo>
                    <a:lnTo>
                      <a:pt x="224" y="10"/>
                    </a:lnTo>
                    <a:lnTo>
                      <a:pt x="224" y="12"/>
                    </a:lnTo>
                    <a:lnTo>
                      <a:pt x="222" y="12"/>
                    </a:lnTo>
                    <a:lnTo>
                      <a:pt x="221" y="12"/>
                    </a:lnTo>
                    <a:lnTo>
                      <a:pt x="221" y="10"/>
                    </a:lnTo>
                    <a:lnTo>
                      <a:pt x="219" y="10"/>
                    </a:lnTo>
                    <a:lnTo>
                      <a:pt x="221" y="10"/>
                    </a:lnTo>
                    <a:close/>
                    <a:moveTo>
                      <a:pt x="299" y="63"/>
                    </a:moveTo>
                    <a:lnTo>
                      <a:pt x="300" y="63"/>
                    </a:lnTo>
                    <a:lnTo>
                      <a:pt x="299" y="63"/>
                    </a:lnTo>
                    <a:close/>
                    <a:moveTo>
                      <a:pt x="170" y="46"/>
                    </a:moveTo>
                    <a:lnTo>
                      <a:pt x="170" y="48"/>
                    </a:lnTo>
                    <a:lnTo>
                      <a:pt x="170" y="46"/>
                    </a:lnTo>
                    <a:close/>
                    <a:moveTo>
                      <a:pt x="243" y="10"/>
                    </a:moveTo>
                    <a:lnTo>
                      <a:pt x="244" y="10"/>
                    </a:lnTo>
                    <a:lnTo>
                      <a:pt x="244" y="12"/>
                    </a:lnTo>
                    <a:lnTo>
                      <a:pt x="243" y="12"/>
                    </a:lnTo>
                    <a:lnTo>
                      <a:pt x="243" y="10"/>
                    </a:lnTo>
                    <a:close/>
                    <a:moveTo>
                      <a:pt x="282" y="70"/>
                    </a:moveTo>
                    <a:lnTo>
                      <a:pt x="283" y="70"/>
                    </a:lnTo>
                    <a:lnTo>
                      <a:pt x="282" y="70"/>
                    </a:lnTo>
                    <a:close/>
                    <a:moveTo>
                      <a:pt x="227" y="12"/>
                    </a:moveTo>
                    <a:lnTo>
                      <a:pt x="227" y="14"/>
                    </a:lnTo>
                    <a:lnTo>
                      <a:pt x="227" y="12"/>
                    </a:lnTo>
                    <a:close/>
                    <a:moveTo>
                      <a:pt x="224" y="9"/>
                    </a:moveTo>
                    <a:lnTo>
                      <a:pt x="226" y="9"/>
                    </a:lnTo>
                    <a:lnTo>
                      <a:pt x="224" y="9"/>
                    </a:lnTo>
                    <a:close/>
                    <a:moveTo>
                      <a:pt x="300" y="63"/>
                    </a:moveTo>
                    <a:lnTo>
                      <a:pt x="302" y="63"/>
                    </a:lnTo>
                    <a:lnTo>
                      <a:pt x="300" y="63"/>
                    </a:lnTo>
                    <a:close/>
                    <a:moveTo>
                      <a:pt x="226" y="10"/>
                    </a:moveTo>
                    <a:lnTo>
                      <a:pt x="227" y="10"/>
                    </a:lnTo>
                    <a:lnTo>
                      <a:pt x="227" y="12"/>
                    </a:lnTo>
                    <a:lnTo>
                      <a:pt x="226" y="12"/>
                    </a:lnTo>
                    <a:lnTo>
                      <a:pt x="226" y="10"/>
                    </a:lnTo>
                    <a:close/>
                    <a:moveTo>
                      <a:pt x="59" y="43"/>
                    </a:moveTo>
                    <a:lnTo>
                      <a:pt x="59" y="44"/>
                    </a:lnTo>
                    <a:lnTo>
                      <a:pt x="59" y="43"/>
                    </a:lnTo>
                    <a:close/>
                    <a:moveTo>
                      <a:pt x="170" y="46"/>
                    </a:moveTo>
                    <a:lnTo>
                      <a:pt x="171" y="46"/>
                    </a:lnTo>
                    <a:lnTo>
                      <a:pt x="171" y="48"/>
                    </a:lnTo>
                    <a:lnTo>
                      <a:pt x="170" y="48"/>
                    </a:lnTo>
                    <a:lnTo>
                      <a:pt x="170" y="46"/>
                    </a:lnTo>
                    <a:close/>
                    <a:moveTo>
                      <a:pt x="222" y="14"/>
                    </a:moveTo>
                    <a:lnTo>
                      <a:pt x="222" y="16"/>
                    </a:lnTo>
                    <a:lnTo>
                      <a:pt x="221" y="16"/>
                    </a:lnTo>
                    <a:lnTo>
                      <a:pt x="219" y="16"/>
                    </a:lnTo>
                    <a:lnTo>
                      <a:pt x="221" y="16"/>
                    </a:lnTo>
                    <a:lnTo>
                      <a:pt x="222" y="16"/>
                    </a:lnTo>
                    <a:lnTo>
                      <a:pt x="222" y="14"/>
                    </a:lnTo>
                    <a:close/>
                    <a:moveTo>
                      <a:pt x="295" y="67"/>
                    </a:moveTo>
                    <a:lnTo>
                      <a:pt x="297" y="67"/>
                    </a:lnTo>
                    <a:lnTo>
                      <a:pt x="295" y="67"/>
                    </a:lnTo>
                    <a:close/>
                    <a:moveTo>
                      <a:pt x="171" y="46"/>
                    </a:moveTo>
                    <a:lnTo>
                      <a:pt x="171" y="48"/>
                    </a:lnTo>
                    <a:lnTo>
                      <a:pt x="171" y="46"/>
                    </a:lnTo>
                    <a:close/>
                    <a:moveTo>
                      <a:pt x="61" y="43"/>
                    </a:moveTo>
                    <a:lnTo>
                      <a:pt x="62" y="43"/>
                    </a:lnTo>
                    <a:lnTo>
                      <a:pt x="61" y="43"/>
                    </a:lnTo>
                    <a:close/>
                    <a:moveTo>
                      <a:pt x="190" y="7"/>
                    </a:moveTo>
                    <a:lnTo>
                      <a:pt x="192" y="7"/>
                    </a:lnTo>
                    <a:lnTo>
                      <a:pt x="190" y="7"/>
                    </a:lnTo>
                    <a:close/>
                    <a:moveTo>
                      <a:pt x="294" y="65"/>
                    </a:moveTo>
                    <a:lnTo>
                      <a:pt x="295" y="65"/>
                    </a:lnTo>
                    <a:lnTo>
                      <a:pt x="294" y="65"/>
                    </a:lnTo>
                    <a:close/>
                    <a:moveTo>
                      <a:pt x="297" y="63"/>
                    </a:moveTo>
                    <a:lnTo>
                      <a:pt x="299" y="63"/>
                    </a:lnTo>
                    <a:lnTo>
                      <a:pt x="297" y="63"/>
                    </a:lnTo>
                    <a:close/>
                    <a:moveTo>
                      <a:pt x="224" y="10"/>
                    </a:moveTo>
                    <a:lnTo>
                      <a:pt x="224" y="12"/>
                    </a:lnTo>
                    <a:lnTo>
                      <a:pt x="224" y="10"/>
                    </a:lnTo>
                    <a:close/>
                    <a:moveTo>
                      <a:pt x="345" y="27"/>
                    </a:moveTo>
                    <a:lnTo>
                      <a:pt x="346" y="27"/>
                    </a:lnTo>
                    <a:lnTo>
                      <a:pt x="345" y="27"/>
                    </a:lnTo>
                    <a:close/>
                    <a:moveTo>
                      <a:pt x="170" y="46"/>
                    </a:moveTo>
                    <a:lnTo>
                      <a:pt x="170" y="48"/>
                    </a:lnTo>
                    <a:lnTo>
                      <a:pt x="170" y="46"/>
                    </a:lnTo>
                    <a:close/>
                    <a:moveTo>
                      <a:pt x="198" y="9"/>
                    </a:moveTo>
                    <a:lnTo>
                      <a:pt x="200" y="9"/>
                    </a:lnTo>
                    <a:lnTo>
                      <a:pt x="198" y="9"/>
                    </a:lnTo>
                    <a:close/>
                    <a:moveTo>
                      <a:pt x="170" y="46"/>
                    </a:moveTo>
                    <a:lnTo>
                      <a:pt x="171" y="46"/>
                    </a:lnTo>
                    <a:lnTo>
                      <a:pt x="170" y="46"/>
                    </a:lnTo>
                    <a:close/>
                    <a:moveTo>
                      <a:pt x="171" y="46"/>
                    </a:moveTo>
                    <a:lnTo>
                      <a:pt x="173" y="46"/>
                    </a:lnTo>
                    <a:lnTo>
                      <a:pt x="171" y="46"/>
                    </a:lnTo>
                    <a:close/>
                    <a:moveTo>
                      <a:pt x="226" y="7"/>
                    </a:moveTo>
                    <a:lnTo>
                      <a:pt x="226" y="9"/>
                    </a:lnTo>
                    <a:lnTo>
                      <a:pt x="226" y="7"/>
                    </a:lnTo>
                    <a:close/>
                    <a:moveTo>
                      <a:pt x="217" y="10"/>
                    </a:moveTo>
                    <a:lnTo>
                      <a:pt x="219" y="10"/>
                    </a:lnTo>
                    <a:lnTo>
                      <a:pt x="217" y="10"/>
                    </a:lnTo>
                    <a:close/>
                    <a:moveTo>
                      <a:pt x="272" y="44"/>
                    </a:moveTo>
                    <a:lnTo>
                      <a:pt x="273" y="44"/>
                    </a:lnTo>
                    <a:lnTo>
                      <a:pt x="272" y="4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 name="Oval 7">
                <a:extLst>
                  <a:ext uri="{FF2B5EF4-FFF2-40B4-BE49-F238E27FC236}">
                    <a16:creationId xmlns:a16="http://schemas.microsoft.com/office/drawing/2014/main" id="{8F930C40-5995-C619-16DF-F8884C1A0BD1}"/>
                  </a:ext>
                </a:extLst>
              </p:cNvPr>
              <p:cNvSpPr/>
              <p:nvPr/>
            </p:nvSpPr>
            <p:spPr>
              <a:xfrm>
                <a:off x="3957324" y="2842086"/>
                <a:ext cx="1229355" cy="620442"/>
              </a:xfrm>
              <a:prstGeom prst="ellipse">
                <a:avLst/>
              </a:prstGeom>
              <a:solidFill>
                <a:srgbClr val="F7F7F7"/>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3" name="Freeform 11">
                <a:extLst>
                  <a:ext uri="{FF2B5EF4-FFF2-40B4-BE49-F238E27FC236}">
                    <a16:creationId xmlns:a16="http://schemas.microsoft.com/office/drawing/2014/main" id="{A2A99C36-2651-C035-DFDA-65810CABCE61}"/>
                  </a:ext>
                </a:extLst>
              </p:cNvPr>
              <p:cNvSpPr>
                <a:spLocks noEditPoints="1"/>
              </p:cNvSpPr>
              <p:nvPr/>
            </p:nvSpPr>
            <p:spPr bwMode="auto">
              <a:xfrm>
                <a:off x="4461528" y="2878349"/>
                <a:ext cx="245999" cy="542076"/>
              </a:xfrm>
              <a:custGeom>
                <a:avLst/>
                <a:gdLst>
                  <a:gd name="T0" fmla="*/ 418 w 673"/>
                  <a:gd name="T1" fmla="*/ 65 h 1483"/>
                  <a:gd name="T2" fmla="*/ 512 w 673"/>
                  <a:gd name="T3" fmla="*/ 116 h 1483"/>
                  <a:gd name="T4" fmla="*/ 527 w 673"/>
                  <a:gd name="T5" fmla="*/ 158 h 1483"/>
                  <a:gd name="T6" fmla="*/ 513 w 673"/>
                  <a:gd name="T7" fmla="*/ 204 h 1483"/>
                  <a:gd name="T8" fmla="*/ 597 w 673"/>
                  <a:gd name="T9" fmla="*/ 206 h 1483"/>
                  <a:gd name="T10" fmla="*/ 641 w 673"/>
                  <a:gd name="T11" fmla="*/ 155 h 1483"/>
                  <a:gd name="T12" fmla="*/ 668 w 673"/>
                  <a:gd name="T13" fmla="*/ 155 h 1483"/>
                  <a:gd name="T14" fmla="*/ 658 w 673"/>
                  <a:gd name="T15" fmla="*/ 204 h 1483"/>
                  <a:gd name="T16" fmla="*/ 614 w 673"/>
                  <a:gd name="T17" fmla="*/ 233 h 1483"/>
                  <a:gd name="T18" fmla="*/ 566 w 673"/>
                  <a:gd name="T19" fmla="*/ 287 h 1483"/>
                  <a:gd name="T20" fmla="*/ 529 w 673"/>
                  <a:gd name="T21" fmla="*/ 357 h 1483"/>
                  <a:gd name="T22" fmla="*/ 512 w 673"/>
                  <a:gd name="T23" fmla="*/ 440 h 1483"/>
                  <a:gd name="T24" fmla="*/ 530 w 673"/>
                  <a:gd name="T25" fmla="*/ 502 h 1483"/>
                  <a:gd name="T26" fmla="*/ 566 w 673"/>
                  <a:gd name="T27" fmla="*/ 565 h 1483"/>
                  <a:gd name="T28" fmla="*/ 532 w 673"/>
                  <a:gd name="T29" fmla="*/ 648 h 1483"/>
                  <a:gd name="T30" fmla="*/ 430 w 673"/>
                  <a:gd name="T31" fmla="*/ 677 h 1483"/>
                  <a:gd name="T32" fmla="*/ 384 w 673"/>
                  <a:gd name="T33" fmla="*/ 691 h 1483"/>
                  <a:gd name="T34" fmla="*/ 376 w 673"/>
                  <a:gd name="T35" fmla="*/ 738 h 1483"/>
                  <a:gd name="T36" fmla="*/ 320 w 673"/>
                  <a:gd name="T37" fmla="*/ 767 h 1483"/>
                  <a:gd name="T38" fmla="*/ 286 w 673"/>
                  <a:gd name="T39" fmla="*/ 774 h 1483"/>
                  <a:gd name="T40" fmla="*/ 309 w 673"/>
                  <a:gd name="T41" fmla="*/ 832 h 1483"/>
                  <a:gd name="T42" fmla="*/ 330 w 673"/>
                  <a:gd name="T43" fmla="*/ 849 h 1483"/>
                  <a:gd name="T44" fmla="*/ 311 w 673"/>
                  <a:gd name="T45" fmla="*/ 856 h 1483"/>
                  <a:gd name="T46" fmla="*/ 281 w 673"/>
                  <a:gd name="T47" fmla="*/ 920 h 1483"/>
                  <a:gd name="T48" fmla="*/ 248 w 673"/>
                  <a:gd name="T49" fmla="*/ 952 h 1483"/>
                  <a:gd name="T50" fmla="*/ 202 w 673"/>
                  <a:gd name="T51" fmla="*/ 1002 h 1483"/>
                  <a:gd name="T52" fmla="*/ 265 w 673"/>
                  <a:gd name="T53" fmla="*/ 1065 h 1483"/>
                  <a:gd name="T54" fmla="*/ 235 w 673"/>
                  <a:gd name="T55" fmla="*/ 1121 h 1483"/>
                  <a:gd name="T56" fmla="*/ 192 w 673"/>
                  <a:gd name="T57" fmla="*/ 1203 h 1483"/>
                  <a:gd name="T58" fmla="*/ 155 w 673"/>
                  <a:gd name="T59" fmla="*/ 1279 h 1483"/>
                  <a:gd name="T60" fmla="*/ 56 w 673"/>
                  <a:gd name="T61" fmla="*/ 1308 h 1483"/>
                  <a:gd name="T62" fmla="*/ 43 w 673"/>
                  <a:gd name="T63" fmla="*/ 1242 h 1483"/>
                  <a:gd name="T64" fmla="*/ 2 w 673"/>
                  <a:gd name="T65" fmla="*/ 1201 h 1483"/>
                  <a:gd name="T66" fmla="*/ 36 w 673"/>
                  <a:gd name="T67" fmla="*/ 1131 h 1483"/>
                  <a:gd name="T68" fmla="*/ 43 w 673"/>
                  <a:gd name="T69" fmla="*/ 1072 h 1483"/>
                  <a:gd name="T70" fmla="*/ 60 w 673"/>
                  <a:gd name="T71" fmla="*/ 1009 h 1483"/>
                  <a:gd name="T72" fmla="*/ 66 w 673"/>
                  <a:gd name="T73" fmla="*/ 951 h 1483"/>
                  <a:gd name="T74" fmla="*/ 85 w 673"/>
                  <a:gd name="T75" fmla="*/ 929 h 1483"/>
                  <a:gd name="T76" fmla="*/ 68 w 673"/>
                  <a:gd name="T77" fmla="*/ 886 h 1483"/>
                  <a:gd name="T78" fmla="*/ 53 w 673"/>
                  <a:gd name="T79" fmla="*/ 830 h 1483"/>
                  <a:gd name="T80" fmla="*/ 58 w 673"/>
                  <a:gd name="T81" fmla="*/ 774 h 1483"/>
                  <a:gd name="T82" fmla="*/ 65 w 673"/>
                  <a:gd name="T83" fmla="*/ 716 h 1483"/>
                  <a:gd name="T84" fmla="*/ 90 w 673"/>
                  <a:gd name="T85" fmla="*/ 663 h 1483"/>
                  <a:gd name="T86" fmla="*/ 83 w 673"/>
                  <a:gd name="T87" fmla="*/ 597 h 1483"/>
                  <a:gd name="T88" fmla="*/ 107 w 673"/>
                  <a:gd name="T89" fmla="*/ 554 h 1483"/>
                  <a:gd name="T90" fmla="*/ 119 w 673"/>
                  <a:gd name="T91" fmla="*/ 486 h 1483"/>
                  <a:gd name="T92" fmla="*/ 121 w 673"/>
                  <a:gd name="T93" fmla="*/ 427 h 1483"/>
                  <a:gd name="T94" fmla="*/ 104 w 673"/>
                  <a:gd name="T95" fmla="*/ 354 h 1483"/>
                  <a:gd name="T96" fmla="*/ 126 w 673"/>
                  <a:gd name="T97" fmla="*/ 304 h 1483"/>
                  <a:gd name="T98" fmla="*/ 138 w 673"/>
                  <a:gd name="T99" fmla="*/ 243 h 1483"/>
                  <a:gd name="T100" fmla="*/ 175 w 673"/>
                  <a:gd name="T101" fmla="*/ 196 h 1483"/>
                  <a:gd name="T102" fmla="*/ 170 w 673"/>
                  <a:gd name="T103" fmla="*/ 110 h 1483"/>
                  <a:gd name="T104" fmla="*/ 253 w 673"/>
                  <a:gd name="T105" fmla="*/ 2 h 1483"/>
                  <a:gd name="T106" fmla="*/ 315 w 673"/>
                  <a:gd name="T107" fmla="*/ 32 h 1483"/>
                  <a:gd name="T108" fmla="*/ 180 w 673"/>
                  <a:gd name="T109" fmla="*/ 1362 h 1483"/>
                  <a:gd name="T110" fmla="*/ 213 w 673"/>
                  <a:gd name="T111" fmla="*/ 1425 h 1483"/>
                  <a:gd name="T112" fmla="*/ 282 w 673"/>
                  <a:gd name="T113" fmla="*/ 1466 h 1483"/>
                  <a:gd name="T114" fmla="*/ 223 w 673"/>
                  <a:gd name="T115" fmla="*/ 1475 h 1483"/>
                  <a:gd name="T116" fmla="*/ 320 w 673"/>
                  <a:gd name="T117" fmla="*/ 1465 h 1483"/>
                  <a:gd name="T118" fmla="*/ 301 w 673"/>
                  <a:gd name="T119" fmla="*/ 1466 h 1483"/>
                  <a:gd name="T120" fmla="*/ 206 w 673"/>
                  <a:gd name="T121" fmla="*/ 1473 h 1483"/>
                  <a:gd name="T122" fmla="*/ 269 w 673"/>
                  <a:gd name="T123" fmla="*/ 954 h 1483"/>
                  <a:gd name="T124" fmla="*/ 383 w 673"/>
                  <a:gd name="T125" fmla="*/ 721 h 1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73" h="1483">
                    <a:moveTo>
                      <a:pt x="369" y="17"/>
                    </a:moveTo>
                    <a:lnTo>
                      <a:pt x="371" y="17"/>
                    </a:lnTo>
                    <a:lnTo>
                      <a:pt x="371" y="19"/>
                    </a:lnTo>
                    <a:lnTo>
                      <a:pt x="369" y="19"/>
                    </a:lnTo>
                    <a:lnTo>
                      <a:pt x="371" y="19"/>
                    </a:lnTo>
                    <a:lnTo>
                      <a:pt x="372" y="20"/>
                    </a:lnTo>
                    <a:lnTo>
                      <a:pt x="372" y="22"/>
                    </a:lnTo>
                    <a:lnTo>
                      <a:pt x="374" y="22"/>
                    </a:lnTo>
                    <a:lnTo>
                      <a:pt x="376" y="22"/>
                    </a:lnTo>
                    <a:lnTo>
                      <a:pt x="376" y="24"/>
                    </a:lnTo>
                    <a:lnTo>
                      <a:pt x="377" y="24"/>
                    </a:lnTo>
                    <a:lnTo>
                      <a:pt x="379" y="24"/>
                    </a:lnTo>
                    <a:lnTo>
                      <a:pt x="379" y="25"/>
                    </a:lnTo>
                    <a:lnTo>
                      <a:pt x="379" y="24"/>
                    </a:lnTo>
                    <a:lnTo>
                      <a:pt x="379" y="25"/>
                    </a:lnTo>
                    <a:lnTo>
                      <a:pt x="381" y="25"/>
                    </a:lnTo>
                    <a:lnTo>
                      <a:pt x="379" y="25"/>
                    </a:lnTo>
                    <a:lnTo>
                      <a:pt x="381" y="25"/>
                    </a:lnTo>
                    <a:lnTo>
                      <a:pt x="381" y="27"/>
                    </a:lnTo>
                    <a:lnTo>
                      <a:pt x="383" y="27"/>
                    </a:lnTo>
                    <a:lnTo>
                      <a:pt x="384" y="27"/>
                    </a:lnTo>
                    <a:lnTo>
                      <a:pt x="383" y="29"/>
                    </a:lnTo>
                    <a:lnTo>
                      <a:pt x="384" y="29"/>
                    </a:lnTo>
                    <a:lnTo>
                      <a:pt x="383" y="29"/>
                    </a:lnTo>
                    <a:lnTo>
                      <a:pt x="383" y="31"/>
                    </a:lnTo>
                    <a:lnTo>
                      <a:pt x="383" y="32"/>
                    </a:lnTo>
                    <a:lnTo>
                      <a:pt x="384" y="31"/>
                    </a:lnTo>
                    <a:lnTo>
                      <a:pt x="384" y="32"/>
                    </a:lnTo>
                    <a:lnTo>
                      <a:pt x="384" y="34"/>
                    </a:lnTo>
                    <a:lnTo>
                      <a:pt x="384" y="36"/>
                    </a:lnTo>
                    <a:lnTo>
                      <a:pt x="386" y="37"/>
                    </a:lnTo>
                    <a:lnTo>
                      <a:pt x="388" y="39"/>
                    </a:lnTo>
                    <a:lnTo>
                      <a:pt x="388" y="41"/>
                    </a:lnTo>
                    <a:lnTo>
                      <a:pt x="389" y="42"/>
                    </a:lnTo>
                    <a:lnTo>
                      <a:pt x="389" y="44"/>
                    </a:lnTo>
                    <a:lnTo>
                      <a:pt x="391" y="44"/>
                    </a:lnTo>
                    <a:lnTo>
                      <a:pt x="391" y="46"/>
                    </a:lnTo>
                    <a:lnTo>
                      <a:pt x="393" y="46"/>
                    </a:lnTo>
                    <a:lnTo>
                      <a:pt x="394" y="48"/>
                    </a:lnTo>
                    <a:lnTo>
                      <a:pt x="396" y="48"/>
                    </a:lnTo>
                    <a:lnTo>
                      <a:pt x="396" y="49"/>
                    </a:lnTo>
                    <a:lnTo>
                      <a:pt x="398" y="49"/>
                    </a:lnTo>
                    <a:lnTo>
                      <a:pt x="398" y="51"/>
                    </a:lnTo>
                    <a:lnTo>
                      <a:pt x="400" y="51"/>
                    </a:lnTo>
                    <a:lnTo>
                      <a:pt x="400" y="53"/>
                    </a:lnTo>
                    <a:lnTo>
                      <a:pt x="401" y="53"/>
                    </a:lnTo>
                    <a:lnTo>
                      <a:pt x="401" y="54"/>
                    </a:lnTo>
                    <a:lnTo>
                      <a:pt x="403" y="54"/>
                    </a:lnTo>
                    <a:lnTo>
                      <a:pt x="405" y="54"/>
                    </a:lnTo>
                    <a:lnTo>
                      <a:pt x="405" y="56"/>
                    </a:lnTo>
                    <a:lnTo>
                      <a:pt x="406" y="56"/>
                    </a:lnTo>
                    <a:lnTo>
                      <a:pt x="406" y="58"/>
                    </a:lnTo>
                    <a:lnTo>
                      <a:pt x="408" y="58"/>
                    </a:lnTo>
                    <a:lnTo>
                      <a:pt x="408" y="59"/>
                    </a:lnTo>
                    <a:lnTo>
                      <a:pt x="410" y="59"/>
                    </a:lnTo>
                    <a:lnTo>
                      <a:pt x="410" y="61"/>
                    </a:lnTo>
                    <a:lnTo>
                      <a:pt x="411" y="61"/>
                    </a:lnTo>
                    <a:lnTo>
                      <a:pt x="413" y="61"/>
                    </a:lnTo>
                    <a:lnTo>
                      <a:pt x="415" y="61"/>
                    </a:lnTo>
                    <a:lnTo>
                      <a:pt x="415" y="63"/>
                    </a:lnTo>
                    <a:lnTo>
                      <a:pt x="417" y="63"/>
                    </a:lnTo>
                    <a:lnTo>
                      <a:pt x="417" y="65"/>
                    </a:lnTo>
                    <a:lnTo>
                      <a:pt x="418" y="65"/>
                    </a:lnTo>
                    <a:lnTo>
                      <a:pt x="420" y="65"/>
                    </a:lnTo>
                    <a:lnTo>
                      <a:pt x="420" y="66"/>
                    </a:lnTo>
                    <a:lnTo>
                      <a:pt x="422" y="66"/>
                    </a:lnTo>
                    <a:lnTo>
                      <a:pt x="422" y="68"/>
                    </a:lnTo>
                    <a:lnTo>
                      <a:pt x="422" y="70"/>
                    </a:lnTo>
                    <a:lnTo>
                      <a:pt x="423" y="70"/>
                    </a:lnTo>
                    <a:lnTo>
                      <a:pt x="423" y="71"/>
                    </a:lnTo>
                    <a:lnTo>
                      <a:pt x="425" y="73"/>
                    </a:lnTo>
                    <a:lnTo>
                      <a:pt x="425" y="75"/>
                    </a:lnTo>
                    <a:lnTo>
                      <a:pt x="427" y="75"/>
                    </a:lnTo>
                    <a:lnTo>
                      <a:pt x="427" y="73"/>
                    </a:lnTo>
                    <a:lnTo>
                      <a:pt x="428" y="75"/>
                    </a:lnTo>
                    <a:lnTo>
                      <a:pt x="430" y="76"/>
                    </a:lnTo>
                    <a:lnTo>
                      <a:pt x="432" y="76"/>
                    </a:lnTo>
                    <a:lnTo>
                      <a:pt x="434" y="76"/>
                    </a:lnTo>
                    <a:lnTo>
                      <a:pt x="435" y="76"/>
                    </a:lnTo>
                    <a:lnTo>
                      <a:pt x="435" y="78"/>
                    </a:lnTo>
                    <a:lnTo>
                      <a:pt x="437" y="78"/>
                    </a:lnTo>
                    <a:lnTo>
                      <a:pt x="439" y="78"/>
                    </a:lnTo>
                    <a:lnTo>
                      <a:pt x="439" y="80"/>
                    </a:lnTo>
                    <a:lnTo>
                      <a:pt x="440" y="80"/>
                    </a:lnTo>
                    <a:lnTo>
                      <a:pt x="442" y="80"/>
                    </a:lnTo>
                    <a:lnTo>
                      <a:pt x="444" y="80"/>
                    </a:lnTo>
                    <a:lnTo>
                      <a:pt x="445" y="80"/>
                    </a:lnTo>
                    <a:lnTo>
                      <a:pt x="445" y="82"/>
                    </a:lnTo>
                    <a:lnTo>
                      <a:pt x="447" y="82"/>
                    </a:lnTo>
                    <a:lnTo>
                      <a:pt x="449" y="83"/>
                    </a:lnTo>
                    <a:lnTo>
                      <a:pt x="451" y="83"/>
                    </a:lnTo>
                    <a:lnTo>
                      <a:pt x="452" y="83"/>
                    </a:lnTo>
                    <a:lnTo>
                      <a:pt x="454" y="83"/>
                    </a:lnTo>
                    <a:lnTo>
                      <a:pt x="456" y="82"/>
                    </a:lnTo>
                    <a:lnTo>
                      <a:pt x="457" y="82"/>
                    </a:lnTo>
                    <a:lnTo>
                      <a:pt x="466" y="87"/>
                    </a:lnTo>
                    <a:lnTo>
                      <a:pt x="473" y="92"/>
                    </a:lnTo>
                    <a:lnTo>
                      <a:pt x="476" y="93"/>
                    </a:lnTo>
                    <a:lnTo>
                      <a:pt x="478" y="95"/>
                    </a:lnTo>
                    <a:lnTo>
                      <a:pt x="478" y="97"/>
                    </a:lnTo>
                    <a:lnTo>
                      <a:pt x="479" y="97"/>
                    </a:lnTo>
                    <a:lnTo>
                      <a:pt x="481" y="99"/>
                    </a:lnTo>
                    <a:lnTo>
                      <a:pt x="483" y="100"/>
                    </a:lnTo>
                    <a:lnTo>
                      <a:pt x="485" y="100"/>
                    </a:lnTo>
                    <a:lnTo>
                      <a:pt x="485" y="102"/>
                    </a:lnTo>
                    <a:lnTo>
                      <a:pt x="486" y="102"/>
                    </a:lnTo>
                    <a:lnTo>
                      <a:pt x="488" y="104"/>
                    </a:lnTo>
                    <a:lnTo>
                      <a:pt x="490" y="104"/>
                    </a:lnTo>
                    <a:lnTo>
                      <a:pt x="491" y="105"/>
                    </a:lnTo>
                    <a:lnTo>
                      <a:pt x="493" y="105"/>
                    </a:lnTo>
                    <a:lnTo>
                      <a:pt x="495" y="107"/>
                    </a:lnTo>
                    <a:lnTo>
                      <a:pt x="496" y="107"/>
                    </a:lnTo>
                    <a:lnTo>
                      <a:pt x="496" y="109"/>
                    </a:lnTo>
                    <a:lnTo>
                      <a:pt x="498" y="109"/>
                    </a:lnTo>
                    <a:lnTo>
                      <a:pt x="498" y="110"/>
                    </a:lnTo>
                    <a:lnTo>
                      <a:pt x="500" y="110"/>
                    </a:lnTo>
                    <a:lnTo>
                      <a:pt x="502" y="110"/>
                    </a:lnTo>
                    <a:lnTo>
                      <a:pt x="503" y="110"/>
                    </a:lnTo>
                    <a:lnTo>
                      <a:pt x="503" y="112"/>
                    </a:lnTo>
                    <a:lnTo>
                      <a:pt x="505" y="112"/>
                    </a:lnTo>
                    <a:lnTo>
                      <a:pt x="507" y="112"/>
                    </a:lnTo>
                    <a:lnTo>
                      <a:pt x="508" y="112"/>
                    </a:lnTo>
                    <a:lnTo>
                      <a:pt x="510" y="112"/>
                    </a:lnTo>
                    <a:lnTo>
                      <a:pt x="510" y="114"/>
                    </a:lnTo>
                    <a:lnTo>
                      <a:pt x="512" y="114"/>
                    </a:lnTo>
                    <a:lnTo>
                      <a:pt x="512" y="116"/>
                    </a:lnTo>
                    <a:lnTo>
                      <a:pt x="513" y="116"/>
                    </a:lnTo>
                    <a:lnTo>
                      <a:pt x="513" y="117"/>
                    </a:lnTo>
                    <a:lnTo>
                      <a:pt x="515" y="117"/>
                    </a:lnTo>
                    <a:lnTo>
                      <a:pt x="515" y="119"/>
                    </a:lnTo>
                    <a:lnTo>
                      <a:pt x="515" y="117"/>
                    </a:lnTo>
                    <a:lnTo>
                      <a:pt x="517" y="117"/>
                    </a:lnTo>
                    <a:lnTo>
                      <a:pt x="517" y="116"/>
                    </a:lnTo>
                    <a:lnTo>
                      <a:pt x="519" y="116"/>
                    </a:lnTo>
                    <a:lnTo>
                      <a:pt x="520" y="117"/>
                    </a:lnTo>
                    <a:lnTo>
                      <a:pt x="522" y="117"/>
                    </a:lnTo>
                    <a:lnTo>
                      <a:pt x="522" y="119"/>
                    </a:lnTo>
                    <a:lnTo>
                      <a:pt x="524" y="119"/>
                    </a:lnTo>
                    <a:lnTo>
                      <a:pt x="524" y="121"/>
                    </a:lnTo>
                    <a:lnTo>
                      <a:pt x="525" y="119"/>
                    </a:lnTo>
                    <a:lnTo>
                      <a:pt x="525" y="121"/>
                    </a:lnTo>
                    <a:lnTo>
                      <a:pt x="525" y="119"/>
                    </a:lnTo>
                    <a:lnTo>
                      <a:pt x="525" y="121"/>
                    </a:lnTo>
                    <a:lnTo>
                      <a:pt x="525" y="119"/>
                    </a:lnTo>
                    <a:lnTo>
                      <a:pt x="527" y="121"/>
                    </a:lnTo>
                    <a:lnTo>
                      <a:pt x="529" y="121"/>
                    </a:lnTo>
                    <a:lnTo>
                      <a:pt x="530" y="121"/>
                    </a:lnTo>
                    <a:lnTo>
                      <a:pt x="532" y="122"/>
                    </a:lnTo>
                    <a:lnTo>
                      <a:pt x="532" y="124"/>
                    </a:lnTo>
                    <a:lnTo>
                      <a:pt x="534" y="124"/>
                    </a:lnTo>
                    <a:lnTo>
                      <a:pt x="534" y="126"/>
                    </a:lnTo>
                    <a:lnTo>
                      <a:pt x="536" y="126"/>
                    </a:lnTo>
                    <a:lnTo>
                      <a:pt x="534" y="126"/>
                    </a:lnTo>
                    <a:lnTo>
                      <a:pt x="536" y="127"/>
                    </a:lnTo>
                    <a:lnTo>
                      <a:pt x="536" y="129"/>
                    </a:lnTo>
                    <a:lnTo>
                      <a:pt x="537" y="129"/>
                    </a:lnTo>
                    <a:lnTo>
                      <a:pt x="536" y="129"/>
                    </a:lnTo>
                    <a:lnTo>
                      <a:pt x="536" y="131"/>
                    </a:lnTo>
                    <a:lnTo>
                      <a:pt x="537" y="131"/>
                    </a:lnTo>
                    <a:lnTo>
                      <a:pt x="537" y="133"/>
                    </a:lnTo>
                    <a:lnTo>
                      <a:pt x="539" y="133"/>
                    </a:lnTo>
                    <a:lnTo>
                      <a:pt x="541" y="133"/>
                    </a:lnTo>
                    <a:lnTo>
                      <a:pt x="541" y="134"/>
                    </a:lnTo>
                    <a:lnTo>
                      <a:pt x="541" y="136"/>
                    </a:lnTo>
                    <a:lnTo>
                      <a:pt x="541" y="138"/>
                    </a:lnTo>
                    <a:lnTo>
                      <a:pt x="541" y="139"/>
                    </a:lnTo>
                    <a:lnTo>
                      <a:pt x="539" y="139"/>
                    </a:lnTo>
                    <a:lnTo>
                      <a:pt x="539" y="141"/>
                    </a:lnTo>
                    <a:lnTo>
                      <a:pt x="537" y="141"/>
                    </a:lnTo>
                    <a:lnTo>
                      <a:pt x="537" y="143"/>
                    </a:lnTo>
                    <a:lnTo>
                      <a:pt x="536" y="143"/>
                    </a:lnTo>
                    <a:lnTo>
                      <a:pt x="534" y="144"/>
                    </a:lnTo>
                    <a:lnTo>
                      <a:pt x="536" y="144"/>
                    </a:lnTo>
                    <a:lnTo>
                      <a:pt x="536" y="146"/>
                    </a:lnTo>
                    <a:lnTo>
                      <a:pt x="534" y="146"/>
                    </a:lnTo>
                    <a:lnTo>
                      <a:pt x="532" y="146"/>
                    </a:lnTo>
                    <a:lnTo>
                      <a:pt x="532" y="148"/>
                    </a:lnTo>
                    <a:lnTo>
                      <a:pt x="534" y="148"/>
                    </a:lnTo>
                    <a:lnTo>
                      <a:pt x="534" y="150"/>
                    </a:lnTo>
                    <a:lnTo>
                      <a:pt x="532" y="150"/>
                    </a:lnTo>
                    <a:lnTo>
                      <a:pt x="530" y="150"/>
                    </a:lnTo>
                    <a:lnTo>
                      <a:pt x="530" y="151"/>
                    </a:lnTo>
                    <a:lnTo>
                      <a:pt x="532" y="153"/>
                    </a:lnTo>
                    <a:lnTo>
                      <a:pt x="530" y="153"/>
                    </a:lnTo>
                    <a:lnTo>
                      <a:pt x="530" y="155"/>
                    </a:lnTo>
                    <a:lnTo>
                      <a:pt x="530" y="156"/>
                    </a:lnTo>
                    <a:lnTo>
                      <a:pt x="529" y="156"/>
                    </a:lnTo>
                    <a:lnTo>
                      <a:pt x="529" y="158"/>
                    </a:lnTo>
                    <a:lnTo>
                      <a:pt x="527" y="158"/>
                    </a:lnTo>
                    <a:lnTo>
                      <a:pt x="527" y="160"/>
                    </a:lnTo>
                    <a:lnTo>
                      <a:pt x="525" y="160"/>
                    </a:lnTo>
                    <a:lnTo>
                      <a:pt x="524" y="160"/>
                    </a:lnTo>
                    <a:lnTo>
                      <a:pt x="524" y="161"/>
                    </a:lnTo>
                    <a:lnTo>
                      <a:pt x="522" y="161"/>
                    </a:lnTo>
                    <a:lnTo>
                      <a:pt x="522" y="163"/>
                    </a:lnTo>
                    <a:lnTo>
                      <a:pt x="520" y="163"/>
                    </a:lnTo>
                    <a:lnTo>
                      <a:pt x="522" y="163"/>
                    </a:lnTo>
                    <a:lnTo>
                      <a:pt x="522" y="165"/>
                    </a:lnTo>
                    <a:lnTo>
                      <a:pt x="520" y="165"/>
                    </a:lnTo>
                    <a:lnTo>
                      <a:pt x="520" y="167"/>
                    </a:lnTo>
                    <a:lnTo>
                      <a:pt x="520" y="168"/>
                    </a:lnTo>
                    <a:lnTo>
                      <a:pt x="520" y="170"/>
                    </a:lnTo>
                    <a:lnTo>
                      <a:pt x="519" y="170"/>
                    </a:lnTo>
                    <a:lnTo>
                      <a:pt x="519" y="172"/>
                    </a:lnTo>
                    <a:lnTo>
                      <a:pt x="520" y="172"/>
                    </a:lnTo>
                    <a:lnTo>
                      <a:pt x="520" y="173"/>
                    </a:lnTo>
                    <a:lnTo>
                      <a:pt x="519" y="173"/>
                    </a:lnTo>
                    <a:lnTo>
                      <a:pt x="519" y="175"/>
                    </a:lnTo>
                    <a:lnTo>
                      <a:pt x="519" y="177"/>
                    </a:lnTo>
                    <a:lnTo>
                      <a:pt x="520" y="177"/>
                    </a:lnTo>
                    <a:lnTo>
                      <a:pt x="520" y="178"/>
                    </a:lnTo>
                    <a:lnTo>
                      <a:pt x="519" y="178"/>
                    </a:lnTo>
                    <a:lnTo>
                      <a:pt x="520" y="180"/>
                    </a:lnTo>
                    <a:lnTo>
                      <a:pt x="519" y="180"/>
                    </a:lnTo>
                    <a:lnTo>
                      <a:pt x="517" y="180"/>
                    </a:lnTo>
                    <a:lnTo>
                      <a:pt x="517" y="182"/>
                    </a:lnTo>
                    <a:lnTo>
                      <a:pt x="519" y="184"/>
                    </a:lnTo>
                    <a:lnTo>
                      <a:pt x="517" y="184"/>
                    </a:lnTo>
                    <a:lnTo>
                      <a:pt x="517" y="185"/>
                    </a:lnTo>
                    <a:lnTo>
                      <a:pt x="515" y="185"/>
                    </a:lnTo>
                    <a:lnTo>
                      <a:pt x="515" y="187"/>
                    </a:lnTo>
                    <a:lnTo>
                      <a:pt x="515" y="189"/>
                    </a:lnTo>
                    <a:lnTo>
                      <a:pt x="513" y="189"/>
                    </a:lnTo>
                    <a:lnTo>
                      <a:pt x="513" y="190"/>
                    </a:lnTo>
                    <a:lnTo>
                      <a:pt x="512" y="190"/>
                    </a:lnTo>
                    <a:lnTo>
                      <a:pt x="510" y="190"/>
                    </a:lnTo>
                    <a:lnTo>
                      <a:pt x="510" y="192"/>
                    </a:lnTo>
                    <a:lnTo>
                      <a:pt x="510" y="194"/>
                    </a:lnTo>
                    <a:lnTo>
                      <a:pt x="508" y="194"/>
                    </a:lnTo>
                    <a:lnTo>
                      <a:pt x="510" y="196"/>
                    </a:lnTo>
                    <a:lnTo>
                      <a:pt x="508" y="196"/>
                    </a:lnTo>
                    <a:lnTo>
                      <a:pt x="507" y="196"/>
                    </a:lnTo>
                    <a:lnTo>
                      <a:pt x="508" y="196"/>
                    </a:lnTo>
                    <a:lnTo>
                      <a:pt x="507" y="197"/>
                    </a:lnTo>
                    <a:lnTo>
                      <a:pt x="508" y="197"/>
                    </a:lnTo>
                    <a:lnTo>
                      <a:pt x="507" y="197"/>
                    </a:lnTo>
                    <a:lnTo>
                      <a:pt x="505" y="197"/>
                    </a:lnTo>
                    <a:lnTo>
                      <a:pt x="505" y="199"/>
                    </a:lnTo>
                    <a:lnTo>
                      <a:pt x="503" y="199"/>
                    </a:lnTo>
                    <a:lnTo>
                      <a:pt x="503" y="201"/>
                    </a:lnTo>
                    <a:lnTo>
                      <a:pt x="505" y="201"/>
                    </a:lnTo>
                    <a:lnTo>
                      <a:pt x="505" y="202"/>
                    </a:lnTo>
                    <a:lnTo>
                      <a:pt x="507" y="202"/>
                    </a:lnTo>
                    <a:lnTo>
                      <a:pt x="507" y="204"/>
                    </a:lnTo>
                    <a:lnTo>
                      <a:pt x="505" y="204"/>
                    </a:lnTo>
                    <a:lnTo>
                      <a:pt x="505" y="206"/>
                    </a:lnTo>
                    <a:lnTo>
                      <a:pt x="507" y="206"/>
                    </a:lnTo>
                    <a:lnTo>
                      <a:pt x="507" y="204"/>
                    </a:lnTo>
                    <a:lnTo>
                      <a:pt x="508" y="204"/>
                    </a:lnTo>
                    <a:lnTo>
                      <a:pt x="510" y="204"/>
                    </a:lnTo>
                    <a:lnTo>
                      <a:pt x="512" y="204"/>
                    </a:lnTo>
                    <a:lnTo>
                      <a:pt x="513" y="204"/>
                    </a:lnTo>
                    <a:lnTo>
                      <a:pt x="515" y="204"/>
                    </a:lnTo>
                    <a:lnTo>
                      <a:pt x="517" y="204"/>
                    </a:lnTo>
                    <a:lnTo>
                      <a:pt x="519" y="204"/>
                    </a:lnTo>
                    <a:lnTo>
                      <a:pt x="520" y="204"/>
                    </a:lnTo>
                    <a:lnTo>
                      <a:pt x="522" y="204"/>
                    </a:lnTo>
                    <a:lnTo>
                      <a:pt x="524" y="204"/>
                    </a:lnTo>
                    <a:lnTo>
                      <a:pt x="525" y="204"/>
                    </a:lnTo>
                    <a:lnTo>
                      <a:pt x="527" y="204"/>
                    </a:lnTo>
                    <a:lnTo>
                      <a:pt x="529" y="204"/>
                    </a:lnTo>
                    <a:lnTo>
                      <a:pt x="530" y="204"/>
                    </a:lnTo>
                    <a:lnTo>
                      <a:pt x="532" y="206"/>
                    </a:lnTo>
                    <a:lnTo>
                      <a:pt x="534" y="206"/>
                    </a:lnTo>
                    <a:lnTo>
                      <a:pt x="536" y="206"/>
                    </a:lnTo>
                    <a:lnTo>
                      <a:pt x="537" y="206"/>
                    </a:lnTo>
                    <a:lnTo>
                      <a:pt x="537" y="207"/>
                    </a:lnTo>
                    <a:lnTo>
                      <a:pt x="539" y="207"/>
                    </a:lnTo>
                    <a:lnTo>
                      <a:pt x="541" y="209"/>
                    </a:lnTo>
                    <a:lnTo>
                      <a:pt x="542" y="209"/>
                    </a:lnTo>
                    <a:lnTo>
                      <a:pt x="542" y="211"/>
                    </a:lnTo>
                    <a:lnTo>
                      <a:pt x="544" y="211"/>
                    </a:lnTo>
                    <a:lnTo>
                      <a:pt x="546" y="211"/>
                    </a:lnTo>
                    <a:lnTo>
                      <a:pt x="546" y="209"/>
                    </a:lnTo>
                    <a:lnTo>
                      <a:pt x="547" y="209"/>
                    </a:lnTo>
                    <a:lnTo>
                      <a:pt x="549" y="209"/>
                    </a:lnTo>
                    <a:lnTo>
                      <a:pt x="551" y="211"/>
                    </a:lnTo>
                    <a:lnTo>
                      <a:pt x="553" y="211"/>
                    </a:lnTo>
                    <a:lnTo>
                      <a:pt x="554" y="211"/>
                    </a:lnTo>
                    <a:lnTo>
                      <a:pt x="556" y="213"/>
                    </a:lnTo>
                    <a:lnTo>
                      <a:pt x="558" y="213"/>
                    </a:lnTo>
                    <a:lnTo>
                      <a:pt x="559" y="213"/>
                    </a:lnTo>
                    <a:lnTo>
                      <a:pt x="559" y="211"/>
                    </a:lnTo>
                    <a:lnTo>
                      <a:pt x="561" y="211"/>
                    </a:lnTo>
                    <a:lnTo>
                      <a:pt x="561" y="209"/>
                    </a:lnTo>
                    <a:lnTo>
                      <a:pt x="563" y="209"/>
                    </a:lnTo>
                    <a:lnTo>
                      <a:pt x="564" y="209"/>
                    </a:lnTo>
                    <a:lnTo>
                      <a:pt x="564" y="211"/>
                    </a:lnTo>
                    <a:lnTo>
                      <a:pt x="566" y="211"/>
                    </a:lnTo>
                    <a:lnTo>
                      <a:pt x="568" y="213"/>
                    </a:lnTo>
                    <a:lnTo>
                      <a:pt x="570" y="213"/>
                    </a:lnTo>
                    <a:lnTo>
                      <a:pt x="570" y="211"/>
                    </a:lnTo>
                    <a:lnTo>
                      <a:pt x="571" y="211"/>
                    </a:lnTo>
                    <a:lnTo>
                      <a:pt x="573" y="211"/>
                    </a:lnTo>
                    <a:lnTo>
                      <a:pt x="575" y="211"/>
                    </a:lnTo>
                    <a:lnTo>
                      <a:pt x="576" y="211"/>
                    </a:lnTo>
                    <a:lnTo>
                      <a:pt x="576" y="213"/>
                    </a:lnTo>
                    <a:lnTo>
                      <a:pt x="578" y="213"/>
                    </a:lnTo>
                    <a:lnTo>
                      <a:pt x="578" y="214"/>
                    </a:lnTo>
                    <a:lnTo>
                      <a:pt x="581" y="216"/>
                    </a:lnTo>
                    <a:lnTo>
                      <a:pt x="581" y="214"/>
                    </a:lnTo>
                    <a:lnTo>
                      <a:pt x="583" y="214"/>
                    </a:lnTo>
                    <a:lnTo>
                      <a:pt x="583" y="213"/>
                    </a:lnTo>
                    <a:lnTo>
                      <a:pt x="585" y="211"/>
                    </a:lnTo>
                    <a:lnTo>
                      <a:pt x="583" y="211"/>
                    </a:lnTo>
                    <a:lnTo>
                      <a:pt x="583" y="209"/>
                    </a:lnTo>
                    <a:lnTo>
                      <a:pt x="585" y="209"/>
                    </a:lnTo>
                    <a:lnTo>
                      <a:pt x="587" y="209"/>
                    </a:lnTo>
                    <a:lnTo>
                      <a:pt x="587" y="207"/>
                    </a:lnTo>
                    <a:lnTo>
                      <a:pt x="588" y="206"/>
                    </a:lnTo>
                    <a:lnTo>
                      <a:pt x="590" y="206"/>
                    </a:lnTo>
                    <a:lnTo>
                      <a:pt x="592" y="206"/>
                    </a:lnTo>
                    <a:lnTo>
                      <a:pt x="593" y="206"/>
                    </a:lnTo>
                    <a:lnTo>
                      <a:pt x="595" y="207"/>
                    </a:lnTo>
                    <a:lnTo>
                      <a:pt x="597" y="206"/>
                    </a:lnTo>
                    <a:lnTo>
                      <a:pt x="598" y="207"/>
                    </a:lnTo>
                    <a:lnTo>
                      <a:pt x="598" y="209"/>
                    </a:lnTo>
                    <a:lnTo>
                      <a:pt x="600" y="209"/>
                    </a:lnTo>
                    <a:lnTo>
                      <a:pt x="600" y="211"/>
                    </a:lnTo>
                    <a:lnTo>
                      <a:pt x="602" y="211"/>
                    </a:lnTo>
                    <a:lnTo>
                      <a:pt x="604" y="209"/>
                    </a:lnTo>
                    <a:lnTo>
                      <a:pt x="604" y="207"/>
                    </a:lnTo>
                    <a:lnTo>
                      <a:pt x="605" y="207"/>
                    </a:lnTo>
                    <a:lnTo>
                      <a:pt x="607" y="207"/>
                    </a:lnTo>
                    <a:lnTo>
                      <a:pt x="607" y="206"/>
                    </a:lnTo>
                    <a:lnTo>
                      <a:pt x="607" y="204"/>
                    </a:lnTo>
                    <a:lnTo>
                      <a:pt x="609" y="204"/>
                    </a:lnTo>
                    <a:lnTo>
                      <a:pt x="609" y="202"/>
                    </a:lnTo>
                    <a:lnTo>
                      <a:pt x="607" y="202"/>
                    </a:lnTo>
                    <a:lnTo>
                      <a:pt x="607" y="201"/>
                    </a:lnTo>
                    <a:lnTo>
                      <a:pt x="607" y="199"/>
                    </a:lnTo>
                    <a:lnTo>
                      <a:pt x="609" y="201"/>
                    </a:lnTo>
                    <a:lnTo>
                      <a:pt x="609" y="199"/>
                    </a:lnTo>
                    <a:lnTo>
                      <a:pt x="609" y="197"/>
                    </a:lnTo>
                    <a:lnTo>
                      <a:pt x="610" y="197"/>
                    </a:lnTo>
                    <a:lnTo>
                      <a:pt x="612" y="197"/>
                    </a:lnTo>
                    <a:lnTo>
                      <a:pt x="612" y="196"/>
                    </a:lnTo>
                    <a:lnTo>
                      <a:pt x="612" y="194"/>
                    </a:lnTo>
                    <a:lnTo>
                      <a:pt x="614" y="194"/>
                    </a:lnTo>
                    <a:lnTo>
                      <a:pt x="615" y="192"/>
                    </a:lnTo>
                    <a:lnTo>
                      <a:pt x="617" y="192"/>
                    </a:lnTo>
                    <a:lnTo>
                      <a:pt x="619" y="190"/>
                    </a:lnTo>
                    <a:lnTo>
                      <a:pt x="621" y="192"/>
                    </a:lnTo>
                    <a:lnTo>
                      <a:pt x="622" y="192"/>
                    </a:lnTo>
                    <a:lnTo>
                      <a:pt x="622" y="190"/>
                    </a:lnTo>
                    <a:lnTo>
                      <a:pt x="622" y="189"/>
                    </a:lnTo>
                    <a:lnTo>
                      <a:pt x="624" y="187"/>
                    </a:lnTo>
                    <a:lnTo>
                      <a:pt x="626" y="185"/>
                    </a:lnTo>
                    <a:lnTo>
                      <a:pt x="627" y="185"/>
                    </a:lnTo>
                    <a:lnTo>
                      <a:pt x="629" y="185"/>
                    </a:lnTo>
                    <a:lnTo>
                      <a:pt x="629" y="184"/>
                    </a:lnTo>
                    <a:lnTo>
                      <a:pt x="629" y="182"/>
                    </a:lnTo>
                    <a:lnTo>
                      <a:pt x="631" y="180"/>
                    </a:lnTo>
                    <a:lnTo>
                      <a:pt x="632" y="180"/>
                    </a:lnTo>
                    <a:lnTo>
                      <a:pt x="632" y="182"/>
                    </a:lnTo>
                    <a:lnTo>
                      <a:pt x="634" y="180"/>
                    </a:lnTo>
                    <a:lnTo>
                      <a:pt x="634" y="178"/>
                    </a:lnTo>
                    <a:lnTo>
                      <a:pt x="634" y="177"/>
                    </a:lnTo>
                    <a:lnTo>
                      <a:pt x="634" y="175"/>
                    </a:lnTo>
                    <a:lnTo>
                      <a:pt x="636" y="175"/>
                    </a:lnTo>
                    <a:lnTo>
                      <a:pt x="636" y="173"/>
                    </a:lnTo>
                    <a:lnTo>
                      <a:pt x="638" y="173"/>
                    </a:lnTo>
                    <a:lnTo>
                      <a:pt x="638" y="172"/>
                    </a:lnTo>
                    <a:lnTo>
                      <a:pt x="638" y="170"/>
                    </a:lnTo>
                    <a:lnTo>
                      <a:pt x="638" y="168"/>
                    </a:lnTo>
                    <a:lnTo>
                      <a:pt x="639" y="168"/>
                    </a:lnTo>
                    <a:lnTo>
                      <a:pt x="639" y="167"/>
                    </a:lnTo>
                    <a:lnTo>
                      <a:pt x="638" y="165"/>
                    </a:lnTo>
                    <a:lnTo>
                      <a:pt x="639" y="165"/>
                    </a:lnTo>
                    <a:lnTo>
                      <a:pt x="641" y="165"/>
                    </a:lnTo>
                    <a:lnTo>
                      <a:pt x="641" y="163"/>
                    </a:lnTo>
                    <a:lnTo>
                      <a:pt x="639" y="163"/>
                    </a:lnTo>
                    <a:lnTo>
                      <a:pt x="639" y="161"/>
                    </a:lnTo>
                    <a:lnTo>
                      <a:pt x="639" y="160"/>
                    </a:lnTo>
                    <a:lnTo>
                      <a:pt x="639" y="158"/>
                    </a:lnTo>
                    <a:lnTo>
                      <a:pt x="638" y="156"/>
                    </a:lnTo>
                    <a:lnTo>
                      <a:pt x="639" y="155"/>
                    </a:lnTo>
                    <a:lnTo>
                      <a:pt x="641" y="155"/>
                    </a:lnTo>
                    <a:lnTo>
                      <a:pt x="641" y="153"/>
                    </a:lnTo>
                    <a:lnTo>
                      <a:pt x="641" y="151"/>
                    </a:lnTo>
                    <a:lnTo>
                      <a:pt x="641" y="150"/>
                    </a:lnTo>
                    <a:lnTo>
                      <a:pt x="641" y="148"/>
                    </a:lnTo>
                    <a:lnTo>
                      <a:pt x="639" y="148"/>
                    </a:lnTo>
                    <a:lnTo>
                      <a:pt x="639" y="146"/>
                    </a:lnTo>
                    <a:lnTo>
                      <a:pt x="639" y="144"/>
                    </a:lnTo>
                    <a:lnTo>
                      <a:pt x="639" y="143"/>
                    </a:lnTo>
                    <a:lnTo>
                      <a:pt x="641" y="143"/>
                    </a:lnTo>
                    <a:lnTo>
                      <a:pt x="641" y="141"/>
                    </a:lnTo>
                    <a:lnTo>
                      <a:pt x="643" y="141"/>
                    </a:lnTo>
                    <a:lnTo>
                      <a:pt x="643" y="139"/>
                    </a:lnTo>
                    <a:lnTo>
                      <a:pt x="643" y="141"/>
                    </a:lnTo>
                    <a:lnTo>
                      <a:pt x="644" y="141"/>
                    </a:lnTo>
                    <a:lnTo>
                      <a:pt x="646" y="143"/>
                    </a:lnTo>
                    <a:lnTo>
                      <a:pt x="646" y="144"/>
                    </a:lnTo>
                    <a:lnTo>
                      <a:pt x="648" y="144"/>
                    </a:lnTo>
                    <a:lnTo>
                      <a:pt x="646" y="143"/>
                    </a:lnTo>
                    <a:lnTo>
                      <a:pt x="648" y="143"/>
                    </a:lnTo>
                    <a:lnTo>
                      <a:pt x="648" y="141"/>
                    </a:lnTo>
                    <a:lnTo>
                      <a:pt x="649" y="141"/>
                    </a:lnTo>
                    <a:lnTo>
                      <a:pt x="649" y="139"/>
                    </a:lnTo>
                    <a:lnTo>
                      <a:pt x="651" y="139"/>
                    </a:lnTo>
                    <a:lnTo>
                      <a:pt x="653" y="141"/>
                    </a:lnTo>
                    <a:lnTo>
                      <a:pt x="653" y="139"/>
                    </a:lnTo>
                    <a:lnTo>
                      <a:pt x="655" y="139"/>
                    </a:lnTo>
                    <a:lnTo>
                      <a:pt x="655" y="138"/>
                    </a:lnTo>
                    <a:lnTo>
                      <a:pt x="656" y="138"/>
                    </a:lnTo>
                    <a:lnTo>
                      <a:pt x="658" y="136"/>
                    </a:lnTo>
                    <a:lnTo>
                      <a:pt x="658" y="138"/>
                    </a:lnTo>
                    <a:lnTo>
                      <a:pt x="658" y="139"/>
                    </a:lnTo>
                    <a:lnTo>
                      <a:pt x="656" y="139"/>
                    </a:lnTo>
                    <a:lnTo>
                      <a:pt x="658" y="141"/>
                    </a:lnTo>
                    <a:lnTo>
                      <a:pt x="658" y="139"/>
                    </a:lnTo>
                    <a:lnTo>
                      <a:pt x="660" y="139"/>
                    </a:lnTo>
                    <a:lnTo>
                      <a:pt x="661" y="139"/>
                    </a:lnTo>
                    <a:lnTo>
                      <a:pt x="661" y="141"/>
                    </a:lnTo>
                    <a:lnTo>
                      <a:pt x="663" y="141"/>
                    </a:lnTo>
                    <a:lnTo>
                      <a:pt x="661" y="141"/>
                    </a:lnTo>
                    <a:lnTo>
                      <a:pt x="663" y="141"/>
                    </a:lnTo>
                    <a:lnTo>
                      <a:pt x="663" y="143"/>
                    </a:lnTo>
                    <a:lnTo>
                      <a:pt x="663" y="141"/>
                    </a:lnTo>
                    <a:lnTo>
                      <a:pt x="665" y="141"/>
                    </a:lnTo>
                    <a:lnTo>
                      <a:pt x="665" y="143"/>
                    </a:lnTo>
                    <a:lnTo>
                      <a:pt x="665" y="141"/>
                    </a:lnTo>
                    <a:lnTo>
                      <a:pt x="665" y="143"/>
                    </a:lnTo>
                    <a:lnTo>
                      <a:pt x="666" y="143"/>
                    </a:lnTo>
                    <a:lnTo>
                      <a:pt x="666" y="144"/>
                    </a:lnTo>
                    <a:lnTo>
                      <a:pt x="665" y="144"/>
                    </a:lnTo>
                    <a:lnTo>
                      <a:pt x="666" y="144"/>
                    </a:lnTo>
                    <a:lnTo>
                      <a:pt x="665" y="144"/>
                    </a:lnTo>
                    <a:lnTo>
                      <a:pt x="666" y="144"/>
                    </a:lnTo>
                    <a:lnTo>
                      <a:pt x="666" y="146"/>
                    </a:lnTo>
                    <a:lnTo>
                      <a:pt x="666" y="148"/>
                    </a:lnTo>
                    <a:lnTo>
                      <a:pt x="668" y="150"/>
                    </a:lnTo>
                    <a:lnTo>
                      <a:pt x="666" y="150"/>
                    </a:lnTo>
                    <a:lnTo>
                      <a:pt x="666" y="151"/>
                    </a:lnTo>
                    <a:lnTo>
                      <a:pt x="668" y="151"/>
                    </a:lnTo>
                    <a:lnTo>
                      <a:pt x="666" y="153"/>
                    </a:lnTo>
                    <a:lnTo>
                      <a:pt x="668" y="153"/>
                    </a:lnTo>
                    <a:lnTo>
                      <a:pt x="666" y="153"/>
                    </a:lnTo>
                    <a:lnTo>
                      <a:pt x="666" y="155"/>
                    </a:lnTo>
                    <a:lnTo>
                      <a:pt x="668" y="155"/>
                    </a:lnTo>
                    <a:lnTo>
                      <a:pt x="668" y="156"/>
                    </a:lnTo>
                    <a:lnTo>
                      <a:pt x="670" y="158"/>
                    </a:lnTo>
                    <a:lnTo>
                      <a:pt x="670" y="160"/>
                    </a:lnTo>
                    <a:lnTo>
                      <a:pt x="672" y="161"/>
                    </a:lnTo>
                    <a:lnTo>
                      <a:pt x="673" y="163"/>
                    </a:lnTo>
                    <a:lnTo>
                      <a:pt x="673" y="165"/>
                    </a:lnTo>
                    <a:lnTo>
                      <a:pt x="673" y="167"/>
                    </a:lnTo>
                    <a:lnTo>
                      <a:pt x="673" y="168"/>
                    </a:lnTo>
                    <a:lnTo>
                      <a:pt x="672" y="168"/>
                    </a:lnTo>
                    <a:lnTo>
                      <a:pt x="672" y="170"/>
                    </a:lnTo>
                    <a:lnTo>
                      <a:pt x="672" y="172"/>
                    </a:lnTo>
                    <a:lnTo>
                      <a:pt x="672" y="173"/>
                    </a:lnTo>
                    <a:lnTo>
                      <a:pt x="672" y="175"/>
                    </a:lnTo>
                    <a:lnTo>
                      <a:pt x="670" y="175"/>
                    </a:lnTo>
                    <a:lnTo>
                      <a:pt x="672" y="175"/>
                    </a:lnTo>
                    <a:lnTo>
                      <a:pt x="670" y="177"/>
                    </a:lnTo>
                    <a:lnTo>
                      <a:pt x="672" y="177"/>
                    </a:lnTo>
                    <a:lnTo>
                      <a:pt x="670" y="177"/>
                    </a:lnTo>
                    <a:lnTo>
                      <a:pt x="670" y="178"/>
                    </a:lnTo>
                    <a:lnTo>
                      <a:pt x="670" y="180"/>
                    </a:lnTo>
                    <a:lnTo>
                      <a:pt x="672" y="180"/>
                    </a:lnTo>
                    <a:lnTo>
                      <a:pt x="670" y="182"/>
                    </a:lnTo>
                    <a:lnTo>
                      <a:pt x="672" y="182"/>
                    </a:lnTo>
                    <a:lnTo>
                      <a:pt x="670" y="182"/>
                    </a:lnTo>
                    <a:lnTo>
                      <a:pt x="670" y="184"/>
                    </a:lnTo>
                    <a:lnTo>
                      <a:pt x="670" y="182"/>
                    </a:lnTo>
                    <a:lnTo>
                      <a:pt x="670" y="184"/>
                    </a:lnTo>
                    <a:lnTo>
                      <a:pt x="672" y="184"/>
                    </a:lnTo>
                    <a:lnTo>
                      <a:pt x="670" y="185"/>
                    </a:lnTo>
                    <a:lnTo>
                      <a:pt x="672" y="185"/>
                    </a:lnTo>
                    <a:lnTo>
                      <a:pt x="672" y="187"/>
                    </a:lnTo>
                    <a:lnTo>
                      <a:pt x="673" y="189"/>
                    </a:lnTo>
                    <a:lnTo>
                      <a:pt x="672" y="189"/>
                    </a:lnTo>
                    <a:lnTo>
                      <a:pt x="672" y="190"/>
                    </a:lnTo>
                    <a:lnTo>
                      <a:pt x="672" y="192"/>
                    </a:lnTo>
                    <a:lnTo>
                      <a:pt x="672" y="190"/>
                    </a:lnTo>
                    <a:lnTo>
                      <a:pt x="672" y="192"/>
                    </a:lnTo>
                    <a:lnTo>
                      <a:pt x="670" y="192"/>
                    </a:lnTo>
                    <a:lnTo>
                      <a:pt x="672" y="194"/>
                    </a:lnTo>
                    <a:lnTo>
                      <a:pt x="670" y="194"/>
                    </a:lnTo>
                    <a:lnTo>
                      <a:pt x="670" y="196"/>
                    </a:lnTo>
                    <a:lnTo>
                      <a:pt x="668" y="194"/>
                    </a:lnTo>
                    <a:lnTo>
                      <a:pt x="668" y="196"/>
                    </a:lnTo>
                    <a:lnTo>
                      <a:pt x="670" y="196"/>
                    </a:lnTo>
                    <a:lnTo>
                      <a:pt x="668" y="196"/>
                    </a:lnTo>
                    <a:lnTo>
                      <a:pt x="668" y="197"/>
                    </a:lnTo>
                    <a:lnTo>
                      <a:pt x="668" y="196"/>
                    </a:lnTo>
                    <a:lnTo>
                      <a:pt x="668" y="197"/>
                    </a:lnTo>
                    <a:lnTo>
                      <a:pt x="668" y="199"/>
                    </a:lnTo>
                    <a:lnTo>
                      <a:pt x="666" y="199"/>
                    </a:lnTo>
                    <a:lnTo>
                      <a:pt x="668" y="199"/>
                    </a:lnTo>
                    <a:lnTo>
                      <a:pt x="666" y="199"/>
                    </a:lnTo>
                    <a:lnTo>
                      <a:pt x="666" y="201"/>
                    </a:lnTo>
                    <a:lnTo>
                      <a:pt x="666" y="199"/>
                    </a:lnTo>
                    <a:lnTo>
                      <a:pt x="665" y="199"/>
                    </a:lnTo>
                    <a:lnTo>
                      <a:pt x="665" y="201"/>
                    </a:lnTo>
                    <a:lnTo>
                      <a:pt x="663" y="199"/>
                    </a:lnTo>
                    <a:lnTo>
                      <a:pt x="663" y="201"/>
                    </a:lnTo>
                    <a:lnTo>
                      <a:pt x="661" y="201"/>
                    </a:lnTo>
                    <a:lnTo>
                      <a:pt x="661" y="202"/>
                    </a:lnTo>
                    <a:lnTo>
                      <a:pt x="660" y="202"/>
                    </a:lnTo>
                    <a:lnTo>
                      <a:pt x="660" y="204"/>
                    </a:lnTo>
                    <a:lnTo>
                      <a:pt x="658" y="204"/>
                    </a:lnTo>
                    <a:lnTo>
                      <a:pt x="658" y="206"/>
                    </a:lnTo>
                    <a:lnTo>
                      <a:pt x="656" y="206"/>
                    </a:lnTo>
                    <a:lnTo>
                      <a:pt x="656" y="204"/>
                    </a:lnTo>
                    <a:lnTo>
                      <a:pt x="655" y="204"/>
                    </a:lnTo>
                    <a:lnTo>
                      <a:pt x="655" y="206"/>
                    </a:lnTo>
                    <a:lnTo>
                      <a:pt x="655" y="207"/>
                    </a:lnTo>
                    <a:lnTo>
                      <a:pt x="653" y="209"/>
                    </a:lnTo>
                    <a:lnTo>
                      <a:pt x="653" y="211"/>
                    </a:lnTo>
                    <a:lnTo>
                      <a:pt x="651" y="211"/>
                    </a:lnTo>
                    <a:lnTo>
                      <a:pt x="651" y="209"/>
                    </a:lnTo>
                    <a:lnTo>
                      <a:pt x="649" y="209"/>
                    </a:lnTo>
                    <a:lnTo>
                      <a:pt x="649" y="211"/>
                    </a:lnTo>
                    <a:lnTo>
                      <a:pt x="648" y="211"/>
                    </a:lnTo>
                    <a:lnTo>
                      <a:pt x="648" y="209"/>
                    </a:lnTo>
                    <a:lnTo>
                      <a:pt x="646" y="209"/>
                    </a:lnTo>
                    <a:lnTo>
                      <a:pt x="646" y="211"/>
                    </a:lnTo>
                    <a:lnTo>
                      <a:pt x="646" y="213"/>
                    </a:lnTo>
                    <a:lnTo>
                      <a:pt x="644" y="213"/>
                    </a:lnTo>
                    <a:lnTo>
                      <a:pt x="643" y="213"/>
                    </a:lnTo>
                    <a:lnTo>
                      <a:pt x="643" y="211"/>
                    </a:lnTo>
                    <a:lnTo>
                      <a:pt x="641" y="211"/>
                    </a:lnTo>
                    <a:lnTo>
                      <a:pt x="641" y="213"/>
                    </a:lnTo>
                    <a:lnTo>
                      <a:pt x="641" y="214"/>
                    </a:lnTo>
                    <a:lnTo>
                      <a:pt x="639" y="214"/>
                    </a:lnTo>
                    <a:lnTo>
                      <a:pt x="639" y="213"/>
                    </a:lnTo>
                    <a:lnTo>
                      <a:pt x="638" y="213"/>
                    </a:lnTo>
                    <a:lnTo>
                      <a:pt x="638" y="214"/>
                    </a:lnTo>
                    <a:lnTo>
                      <a:pt x="639" y="214"/>
                    </a:lnTo>
                    <a:lnTo>
                      <a:pt x="638" y="216"/>
                    </a:lnTo>
                    <a:lnTo>
                      <a:pt x="638" y="214"/>
                    </a:lnTo>
                    <a:lnTo>
                      <a:pt x="636" y="214"/>
                    </a:lnTo>
                    <a:lnTo>
                      <a:pt x="636" y="216"/>
                    </a:lnTo>
                    <a:lnTo>
                      <a:pt x="634" y="216"/>
                    </a:lnTo>
                    <a:lnTo>
                      <a:pt x="634" y="214"/>
                    </a:lnTo>
                    <a:lnTo>
                      <a:pt x="632" y="216"/>
                    </a:lnTo>
                    <a:lnTo>
                      <a:pt x="632" y="218"/>
                    </a:lnTo>
                    <a:lnTo>
                      <a:pt x="631" y="218"/>
                    </a:lnTo>
                    <a:lnTo>
                      <a:pt x="631" y="219"/>
                    </a:lnTo>
                    <a:lnTo>
                      <a:pt x="631" y="221"/>
                    </a:lnTo>
                    <a:lnTo>
                      <a:pt x="631" y="223"/>
                    </a:lnTo>
                    <a:lnTo>
                      <a:pt x="629" y="223"/>
                    </a:lnTo>
                    <a:lnTo>
                      <a:pt x="627" y="223"/>
                    </a:lnTo>
                    <a:lnTo>
                      <a:pt x="627" y="224"/>
                    </a:lnTo>
                    <a:lnTo>
                      <a:pt x="626" y="223"/>
                    </a:lnTo>
                    <a:lnTo>
                      <a:pt x="624" y="223"/>
                    </a:lnTo>
                    <a:lnTo>
                      <a:pt x="624" y="224"/>
                    </a:lnTo>
                    <a:lnTo>
                      <a:pt x="626" y="224"/>
                    </a:lnTo>
                    <a:lnTo>
                      <a:pt x="627" y="224"/>
                    </a:lnTo>
                    <a:lnTo>
                      <a:pt x="626" y="226"/>
                    </a:lnTo>
                    <a:lnTo>
                      <a:pt x="624" y="226"/>
                    </a:lnTo>
                    <a:lnTo>
                      <a:pt x="624" y="228"/>
                    </a:lnTo>
                    <a:lnTo>
                      <a:pt x="622" y="228"/>
                    </a:lnTo>
                    <a:lnTo>
                      <a:pt x="622" y="226"/>
                    </a:lnTo>
                    <a:lnTo>
                      <a:pt x="621" y="226"/>
                    </a:lnTo>
                    <a:lnTo>
                      <a:pt x="621" y="228"/>
                    </a:lnTo>
                    <a:lnTo>
                      <a:pt x="619" y="228"/>
                    </a:lnTo>
                    <a:lnTo>
                      <a:pt x="619" y="230"/>
                    </a:lnTo>
                    <a:lnTo>
                      <a:pt x="617" y="228"/>
                    </a:lnTo>
                    <a:lnTo>
                      <a:pt x="615" y="230"/>
                    </a:lnTo>
                    <a:lnTo>
                      <a:pt x="615" y="231"/>
                    </a:lnTo>
                    <a:lnTo>
                      <a:pt x="614" y="231"/>
                    </a:lnTo>
                    <a:lnTo>
                      <a:pt x="615" y="233"/>
                    </a:lnTo>
                    <a:lnTo>
                      <a:pt x="614" y="233"/>
                    </a:lnTo>
                    <a:lnTo>
                      <a:pt x="612" y="235"/>
                    </a:lnTo>
                    <a:lnTo>
                      <a:pt x="610" y="235"/>
                    </a:lnTo>
                    <a:lnTo>
                      <a:pt x="610" y="236"/>
                    </a:lnTo>
                    <a:lnTo>
                      <a:pt x="609" y="236"/>
                    </a:lnTo>
                    <a:lnTo>
                      <a:pt x="609" y="238"/>
                    </a:lnTo>
                    <a:lnTo>
                      <a:pt x="607" y="238"/>
                    </a:lnTo>
                    <a:lnTo>
                      <a:pt x="607" y="236"/>
                    </a:lnTo>
                    <a:lnTo>
                      <a:pt x="607" y="238"/>
                    </a:lnTo>
                    <a:lnTo>
                      <a:pt x="605" y="238"/>
                    </a:lnTo>
                    <a:lnTo>
                      <a:pt x="605" y="240"/>
                    </a:lnTo>
                    <a:lnTo>
                      <a:pt x="604" y="240"/>
                    </a:lnTo>
                    <a:lnTo>
                      <a:pt x="602" y="240"/>
                    </a:lnTo>
                    <a:lnTo>
                      <a:pt x="602" y="241"/>
                    </a:lnTo>
                    <a:lnTo>
                      <a:pt x="602" y="243"/>
                    </a:lnTo>
                    <a:lnTo>
                      <a:pt x="604" y="243"/>
                    </a:lnTo>
                    <a:lnTo>
                      <a:pt x="605" y="243"/>
                    </a:lnTo>
                    <a:lnTo>
                      <a:pt x="605" y="245"/>
                    </a:lnTo>
                    <a:lnTo>
                      <a:pt x="604" y="247"/>
                    </a:lnTo>
                    <a:lnTo>
                      <a:pt x="604" y="248"/>
                    </a:lnTo>
                    <a:lnTo>
                      <a:pt x="604" y="247"/>
                    </a:lnTo>
                    <a:lnTo>
                      <a:pt x="602" y="245"/>
                    </a:lnTo>
                    <a:lnTo>
                      <a:pt x="600" y="245"/>
                    </a:lnTo>
                    <a:lnTo>
                      <a:pt x="598" y="245"/>
                    </a:lnTo>
                    <a:lnTo>
                      <a:pt x="597" y="247"/>
                    </a:lnTo>
                    <a:lnTo>
                      <a:pt x="597" y="248"/>
                    </a:lnTo>
                    <a:lnTo>
                      <a:pt x="598" y="250"/>
                    </a:lnTo>
                    <a:lnTo>
                      <a:pt x="597" y="250"/>
                    </a:lnTo>
                    <a:lnTo>
                      <a:pt x="595" y="250"/>
                    </a:lnTo>
                    <a:lnTo>
                      <a:pt x="593" y="250"/>
                    </a:lnTo>
                    <a:lnTo>
                      <a:pt x="593" y="252"/>
                    </a:lnTo>
                    <a:lnTo>
                      <a:pt x="593" y="253"/>
                    </a:lnTo>
                    <a:lnTo>
                      <a:pt x="593" y="255"/>
                    </a:lnTo>
                    <a:lnTo>
                      <a:pt x="592" y="255"/>
                    </a:lnTo>
                    <a:lnTo>
                      <a:pt x="592" y="257"/>
                    </a:lnTo>
                    <a:lnTo>
                      <a:pt x="590" y="257"/>
                    </a:lnTo>
                    <a:lnTo>
                      <a:pt x="590" y="258"/>
                    </a:lnTo>
                    <a:lnTo>
                      <a:pt x="588" y="258"/>
                    </a:lnTo>
                    <a:lnTo>
                      <a:pt x="588" y="260"/>
                    </a:lnTo>
                    <a:lnTo>
                      <a:pt x="587" y="262"/>
                    </a:lnTo>
                    <a:lnTo>
                      <a:pt x="585" y="262"/>
                    </a:lnTo>
                    <a:lnTo>
                      <a:pt x="583" y="262"/>
                    </a:lnTo>
                    <a:lnTo>
                      <a:pt x="583" y="264"/>
                    </a:lnTo>
                    <a:lnTo>
                      <a:pt x="583" y="265"/>
                    </a:lnTo>
                    <a:lnTo>
                      <a:pt x="583" y="267"/>
                    </a:lnTo>
                    <a:lnTo>
                      <a:pt x="581" y="267"/>
                    </a:lnTo>
                    <a:lnTo>
                      <a:pt x="581" y="269"/>
                    </a:lnTo>
                    <a:lnTo>
                      <a:pt x="580" y="269"/>
                    </a:lnTo>
                    <a:lnTo>
                      <a:pt x="580" y="270"/>
                    </a:lnTo>
                    <a:lnTo>
                      <a:pt x="580" y="272"/>
                    </a:lnTo>
                    <a:lnTo>
                      <a:pt x="580" y="274"/>
                    </a:lnTo>
                    <a:lnTo>
                      <a:pt x="576" y="274"/>
                    </a:lnTo>
                    <a:lnTo>
                      <a:pt x="575" y="274"/>
                    </a:lnTo>
                    <a:lnTo>
                      <a:pt x="575" y="275"/>
                    </a:lnTo>
                    <a:lnTo>
                      <a:pt x="573" y="275"/>
                    </a:lnTo>
                    <a:lnTo>
                      <a:pt x="573" y="277"/>
                    </a:lnTo>
                    <a:lnTo>
                      <a:pt x="571" y="277"/>
                    </a:lnTo>
                    <a:lnTo>
                      <a:pt x="571" y="279"/>
                    </a:lnTo>
                    <a:lnTo>
                      <a:pt x="571" y="281"/>
                    </a:lnTo>
                    <a:lnTo>
                      <a:pt x="570" y="284"/>
                    </a:lnTo>
                    <a:lnTo>
                      <a:pt x="568" y="284"/>
                    </a:lnTo>
                    <a:lnTo>
                      <a:pt x="568" y="286"/>
                    </a:lnTo>
                    <a:lnTo>
                      <a:pt x="568" y="287"/>
                    </a:lnTo>
                    <a:lnTo>
                      <a:pt x="566" y="287"/>
                    </a:lnTo>
                    <a:lnTo>
                      <a:pt x="566" y="289"/>
                    </a:lnTo>
                    <a:lnTo>
                      <a:pt x="564" y="289"/>
                    </a:lnTo>
                    <a:lnTo>
                      <a:pt x="564" y="291"/>
                    </a:lnTo>
                    <a:lnTo>
                      <a:pt x="563" y="291"/>
                    </a:lnTo>
                    <a:lnTo>
                      <a:pt x="563" y="292"/>
                    </a:lnTo>
                    <a:lnTo>
                      <a:pt x="561" y="292"/>
                    </a:lnTo>
                    <a:lnTo>
                      <a:pt x="561" y="294"/>
                    </a:lnTo>
                    <a:lnTo>
                      <a:pt x="561" y="296"/>
                    </a:lnTo>
                    <a:lnTo>
                      <a:pt x="559" y="296"/>
                    </a:lnTo>
                    <a:lnTo>
                      <a:pt x="559" y="298"/>
                    </a:lnTo>
                    <a:lnTo>
                      <a:pt x="558" y="298"/>
                    </a:lnTo>
                    <a:lnTo>
                      <a:pt x="558" y="299"/>
                    </a:lnTo>
                    <a:lnTo>
                      <a:pt x="556" y="299"/>
                    </a:lnTo>
                    <a:lnTo>
                      <a:pt x="554" y="301"/>
                    </a:lnTo>
                    <a:lnTo>
                      <a:pt x="553" y="299"/>
                    </a:lnTo>
                    <a:lnTo>
                      <a:pt x="553" y="301"/>
                    </a:lnTo>
                    <a:lnTo>
                      <a:pt x="551" y="301"/>
                    </a:lnTo>
                    <a:lnTo>
                      <a:pt x="549" y="303"/>
                    </a:lnTo>
                    <a:lnTo>
                      <a:pt x="549" y="304"/>
                    </a:lnTo>
                    <a:lnTo>
                      <a:pt x="549" y="306"/>
                    </a:lnTo>
                    <a:lnTo>
                      <a:pt x="549" y="308"/>
                    </a:lnTo>
                    <a:lnTo>
                      <a:pt x="549" y="309"/>
                    </a:lnTo>
                    <a:lnTo>
                      <a:pt x="547" y="309"/>
                    </a:lnTo>
                    <a:lnTo>
                      <a:pt x="546" y="309"/>
                    </a:lnTo>
                    <a:lnTo>
                      <a:pt x="546" y="311"/>
                    </a:lnTo>
                    <a:lnTo>
                      <a:pt x="544" y="311"/>
                    </a:lnTo>
                    <a:lnTo>
                      <a:pt x="544" y="313"/>
                    </a:lnTo>
                    <a:lnTo>
                      <a:pt x="542" y="315"/>
                    </a:lnTo>
                    <a:lnTo>
                      <a:pt x="541" y="316"/>
                    </a:lnTo>
                    <a:lnTo>
                      <a:pt x="539" y="316"/>
                    </a:lnTo>
                    <a:lnTo>
                      <a:pt x="537" y="316"/>
                    </a:lnTo>
                    <a:lnTo>
                      <a:pt x="539" y="316"/>
                    </a:lnTo>
                    <a:lnTo>
                      <a:pt x="539" y="318"/>
                    </a:lnTo>
                    <a:lnTo>
                      <a:pt x="539" y="320"/>
                    </a:lnTo>
                    <a:lnTo>
                      <a:pt x="539" y="321"/>
                    </a:lnTo>
                    <a:lnTo>
                      <a:pt x="539" y="323"/>
                    </a:lnTo>
                    <a:lnTo>
                      <a:pt x="537" y="323"/>
                    </a:lnTo>
                    <a:lnTo>
                      <a:pt x="536" y="325"/>
                    </a:lnTo>
                    <a:lnTo>
                      <a:pt x="534" y="325"/>
                    </a:lnTo>
                    <a:lnTo>
                      <a:pt x="534" y="326"/>
                    </a:lnTo>
                    <a:lnTo>
                      <a:pt x="532" y="326"/>
                    </a:lnTo>
                    <a:lnTo>
                      <a:pt x="530" y="326"/>
                    </a:lnTo>
                    <a:lnTo>
                      <a:pt x="530" y="328"/>
                    </a:lnTo>
                    <a:lnTo>
                      <a:pt x="530" y="330"/>
                    </a:lnTo>
                    <a:lnTo>
                      <a:pt x="530" y="332"/>
                    </a:lnTo>
                    <a:lnTo>
                      <a:pt x="532" y="333"/>
                    </a:lnTo>
                    <a:lnTo>
                      <a:pt x="532" y="335"/>
                    </a:lnTo>
                    <a:lnTo>
                      <a:pt x="532" y="337"/>
                    </a:lnTo>
                    <a:lnTo>
                      <a:pt x="532" y="338"/>
                    </a:lnTo>
                    <a:lnTo>
                      <a:pt x="532" y="340"/>
                    </a:lnTo>
                    <a:lnTo>
                      <a:pt x="532" y="344"/>
                    </a:lnTo>
                    <a:lnTo>
                      <a:pt x="532" y="345"/>
                    </a:lnTo>
                    <a:lnTo>
                      <a:pt x="530" y="345"/>
                    </a:lnTo>
                    <a:lnTo>
                      <a:pt x="529" y="345"/>
                    </a:lnTo>
                    <a:lnTo>
                      <a:pt x="529" y="347"/>
                    </a:lnTo>
                    <a:lnTo>
                      <a:pt x="530" y="347"/>
                    </a:lnTo>
                    <a:lnTo>
                      <a:pt x="530" y="349"/>
                    </a:lnTo>
                    <a:lnTo>
                      <a:pt x="530" y="350"/>
                    </a:lnTo>
                    <a:lnTo>
                      <a:pt x="530" y="352"/>
                    </a:lnTo>
                    <a:lnTo>
                      <a:pt x="529" y="352"/>
                    </a:lnTo>
                    <a:lnTo>
                      <a:pt x="529" y="354"/>
                    </a:lnTo>
                    <a:lnTo>
                      <a:pt x="529" y="355"/>
                    </a:lnTo>
                    <a:lnTo>
                      <a:pt x="529" y="357"/>
                    </a:lnTo>
                    <a:lnTo>
                      <a:pt x="529" y="359"/>
                    </a:lnTo>
                    <a:lnTo>
                      <a:pt x="527" y="361"/>
                    </a:lnTo>
                    <a:lnTo>
                      <a:pt x="527" y="362"/>
                    </a:lnTo>
                    <a:lnTo>
                      <a:pt x="527" y="364"/>
                    </a:lnTo>
                    <a:lnTo>
                      <a:pt x="525" y="364"/>
                    </a:lnTo>
                    <a:lnTo>
                      <a:pt x="524" y="366"/>
                    </a:lnTo>
                    <a:lnTo>
                      <a:pt x="524" y="367"/>
                    </a:lnTo>
                    <a:lnTo>
                      <a:pt x="525" y="367"/>
                    </a:lnTo>
                    <a:lnTo>
                      <a:pt x="525" y="369"/>
                    </a:lnTo>
                    <a:lnTo>
                      <a:pt x="527" y="369"/>
                    </a:lnTo>
                    <a:lnTo>
                      <a:pt x="527" y="371"/>
                    </a:lnTo>
                    <a:lnTo>
                      <a:pt x="527" y="372"/>
                    </a:lnTo>
                    <a:lnTo>
                      <a:pt x="525" y="376"/>
                    </a:lnTo>
                    <a:lnTo>
                      <a:pt x="525" y="378"/>
                    </a:lnTo>
                    <a:lnTo>
                      <a:pt x="524" y="381"/>
                    </a:lnTo>
                    <a:lnTo>
                      <a:pt x="522" y="381"/>
                    </a:lnTo>
                    <a:lnTo>
                      <a:pt x="520" y="381"/>
                    </a:lnTo>
                    <a:lnTo>
                      <a:pt x="520" y="383"/>
                    </a:lnTo>
                    <a:lnTo>
                      <a:pt x="520" y="384"/>
                    </a:lnTo>
                    <a:lnTo>
                      <a:pt x="520" y="386"/>
                    </a:lnTo>
                    <a:lnTo>
                      <a:pt x="522" y="388"/>
                    </a:lnTo>
                    <a:lnTo>
                      <a:pt x="522" y="389"/>
                    </a:lnTo>
                    <a:lnTo>
                      <a:pt x="522" y="391"/>
                    </a:lnTo>
                    <a:lnTo>
                      <a:pt x="520" y="391"/>
                    </a:lnTo>
                    <a:lnTo>
                      <a:pt x="520" y="393"/>
                    </a:lnTo>
                    <a:lnTo>
                      <a:pt x="520" y="395"/>
                    </a:lnTo>
                    <a:lnTo>
                      <a:pt x="522" y="396"/>
                    </a:lnTo>
                    <a:lnTo>
                      <a:pt x="522" y="398"/>
                    </a:lnTo>
                    <a:lnTo>
                      <a:pt x="524" y="398"/>
                    </a:lnTo>
                    <a:lnTo>
                      <a:pt x="524" y="400"/>
                    </a:lnTo>
                    <a:lnTo>
                      <a:pt x="522" y="400"/>
                    </a:lnTo>
                    <a:lnTo>
                      <a:pt x="522" y="401"/>
                    </a:lnTo>
                    <a:lnTo>
                      <a:pt x="520" y="401"/>
                    </a:lnTo>
                    <a:lnTo>
                      <a:pt x="520" y="403"/>
                    </a:lnTo>
                    <a:lnTo>
                      <a:pt x="520" y="405"/>
                    </a:lnTo>
                    <a:lnTo>
                      <a:pt x="519" y="406"/>
                    </a:lnTo>
                    <a:lnTo>
                      <a:pt x="520" y="406"/>
                    </a:lnTo>
                    <a:lnTo>
                      <a:pt x="520" y="408"/>
                    </a:lnTo>
                    <a:lnTo>
                      <a:pt x="520" y="410"/>
                    </a:lnTo>
                    <a:lnTo>
                      <a:pt x="520" y="412"/>
                    </a:lnTo>
                    <a:lnTo>
                      <a:pt x="522" y="413"/>
                    </a:lnTo>
                    <a:lnTo>
                      <a:pt x="520" y="413"/>
                    </a:lnTo>
                    <a:lnTo>
                      <a:pt x="522" y="413"/>
                    </a:lnTo>
                    <a:lnTo>
                      <a:pt x="522" y="415"/>
                    </a:lnTo>
                    <a:lnTo>
                      <a:pt x="522" y="417"/>
                    </a:lnTo>
                    <a:lnTo>
                      <a:pt x="522" y="418"/>
                    </a:lnTo>
                    <a:lnTo>
                      <a:pt x="522" y="420"/>
                    </a:lnTo>
                    <a:lnTo>
                      <a:pt x="522" y="422"/>
                    </a:lnTo>
                    <a:lnTo>
                      <a:pt x="522" y="423"/>
                    </a:lnTo>
                    <a:lnTo>
                      <a:pt x="524" y="425"/>
                    </a:lnTo>
                    <a:lnTo>
                      <a:pt x="524" y="427"/>
                    </a:lnTo>
                    <a:lnTo>
                      <a:pt x="524" y="429"/>
                    </a:lnTo>
                    <a:lnTo>
                      <a:pt x="522" y="429"/>
                    </a:lnTo>
                    <a:lnTo>
                      <a:pt x="522" y="430"/>
                    </a:lnTo>
                    <a:lnTo>
                      <a:pt x="520" y="430"/>
                    </a:lnTo>
                    <a:lnTo>
                      <a:pt x="519" y="432"/>
                    </a:lnTo>
                    <a:lnTo>
                      <a:pt x="517" y="432"/>
                    </a:lnTo>
                    <a:lnTo>
                      <a:pt x="515" y="432"/>
                    </a:lnTo>
                    <a:lnTo>
                      <a:pt x="513" y="432"/>
                    </a:lnTo>
                    <a:lnTo>
                      <a:pt x="513" y="434"/>
                    </a:lnTo>
                    <a:lnTo>
                      <a:pt x="513" y="439"/>
                    </a:lnTo>
                    <a:lnTo>
                      <a:pt x="513" y="440"/>
                    </a:lnTo>
                    <a:lnTo>
                      <a:pt x="512" y="440"/>
                    </a:lnTo>
                    <a:lnTo>
                      <a:pt x="512" y="442"/>
                    </a:lnTo>
                    <a:lnTo>
                      <a:pt x="510" y="444"/>
                    </a:lnTo>
                    <a:lnTo>
                      <a:pt x="510" y="447"/>
                    </a:lnTo>
                    <a:lnTo>
                      <a:pt x="510" y="449"/>
                    </a:lnTo>
                    <a:lnTo>
                      <a:pt x="510" y="451"/>
                    </a:lnTo>
                    <a:lnTo>
                      <a:pt x="510" y="456"/>
                    </a:lnTo>
                    <a:lnTo>
                      <a:pt x="510" y="457"/>
                    </a:lnTo>
                    <a:lnTo>
                      <a:pt x="512" y="459"/>
                    </a:lnTo>
                    <a:lnTo>
                      <a:pt x="512" y="461"/>
                    </a:lnTo>
                    <a:lnTo>
                      <a:pt x="512" y="463"/>
                    </a:lnTo>
                    <a:lnTo>
                      <a:pt x="512" y="464"/>
                    </a:lnTo>
                    <a:lnTo>
                      <a:pt x="512" y="466"/>
                    </a:lnTo>
                    <a:lnTo>
                      <a:pt x="512" y="468"/>
                    </a:lnTo>
                    <a:lnTo>
                      <a:pt x="513" y="469"/>
                    </a:lnTo>
                    <a:lnTo>
                      <a:pt x="515" y="469"/>
                    </a:lnTo>
                    <a:lnTo>
                      <a:pt x="513" y="469"/>
                    </a:lnTo>
                    <a:lnTo>
                      <a:pt x="513" y="471"/>
                    </a:lnTo>
                    <a:lnTo>
                      <a:pt x="513" y="473"/>
                    </a:lnTo>
                    <a:lnTo>
                      <a:pt x="513" y="474"/>
                    </a:lnTo>
                    <a:lnTo>
                      <a:pt x="513" y="476"/>
                    </a:lnTo>
                    <a:lnTo>
                      <a:pt x="513" y="478"/>
                    </a:lnTo>
                    <a:lnTo>
                      <a:pt x="512" y="480"/>
                    </a:lnTo>
                    <a:lnTo>
                      <a:pt x="510" y="480"/>
                    </a:lnTo>
                    <a:lnTo>
                      <a:pt x="510" y="481"/>
                    </a:lnTo>
                    <a:lnTo>
                      <a:pt x="512" y="481"/>
                    </a:lnTo>
                    <a:lnTo>
                      <a:pt x="512" y="483"/>
                    </a:lnTo>
                    <a:lnTo>
                      <a:pt x="512" y="485"/>
                    </a:lnTo>
                    <a:lnTo>
                      <a:pt x="510" y="483"/>
                    </a:lnTo>
                    <a:lnTo>
                      <a:pt x="510" y="485"/>
                    </a:lnTo>
                    <a:lnTo>
                      <a:pt x="510" y="486"/>
                    </a:lnTo>
                    <a:lnTo>
                      <a:pt x="508" y="486"/>
                    </a:lnTo>
                    <a:lnTo>
                      <a:pt x="508" y="485"/>
                    </a:lnTo>
                    <a:lnTo>
                      <a:pt x="507" y="485"/>
                    </a:lnTo>
                    <a:lnTo>
                      <a:pt x="507" y="486"/>
                    </a:lnTo>
                    <a:lnTo>
                      <a:pt x="508" y="486"/>
                    </a:lnTo>
                    <a:lnTo>
                      <a:pt x="510" y="486"/>
                    </a:lnTo>
                    <a:lnTo>
                      <a:pt x="510" y="488"/>
                    </a:lnTo>
                    <a:lnTo>
                      <a:pt x="510" y="490"/>
                    </a:lnTo>
                    <a:lnTo>
                      <a:pt x="512" y="490"/>
                    </a:lnTo>
                    <a:lnTo>
                      <a:pt x="510" y="490"/>
                    </a:lnTo>
                    <a:lnTo>
                      <a:pt x="512" y="490"/>
                    </a:lnTo>
                    <a:lnTo>
                      <a:pt x="512" y="491"/>
                    </a:lnTo>
                    <a:lnTo>
                      <a:pt x="513" y="491"/>
                    </a:lnTo>
                    <a:lnTo>
                      <a:pt x="513" y="493"/>
                    </a:lnTo>
                    <a:lnTo>
                      <a:pt x="515" y="495"/>
                    </a:lnTo>
                    <a:lnTo>
                      <a:pt x="515" y="493"/>
                    </a:lnTo>
                    <a:lnTo>
                      <a:pt x="515" y="495"/>
                    </a:lnTo>
                    <a:lnTo>
                      <a:pt x="517" y="495"/>
                    </a:lnTo>
                    <a:lnTo>
                      <a:pt x="517" y="497"/>
                    </a:lnTo>
                    <a:lnTo>
                      <a:pt x="519" y="497"/>
                    </a:lnTo>
                    <a:lnTo>
                      <a:pt x="519" y="498"/>
                    </a:lnTo>
                    <a:lnTo>
                      <a:pt x="520" y="498"/>
                    </a:lnTo>
                    <a:lnTo>
                      <a:pt x="522" y="498"/>
                    </a:lnTo>
                    <a:lnTo>
                      <a:pt x="524" y="498"/>
                    </a:lnTo>
                    <a:lnTo>
                      <a:pt x="524" y="500"/>
                    </a:lnTo>
                    <a:lnTo>
                      <a:pt x="525" y="500"/>
                    </a:lnTo>
                    <a:lnTo>
                      <a:pt x="527" y="500"/>
                    </a:lnTo>
                    <a:lnTo>
                      <a:pt x="527" y="502"/>
                    </a:lnTo>
                    <a:lnTo>
                      <a:pt x="529" y="502"/>
                    </a:lnTo>
                    <a:lnTo>
                      <a:pt x="529" y="503"/>
                    </a:lnTo>
                    <a:lnTo>
                      <a:pt x="529" y="502"/>
                    </a:lnTo>
                    <a:lnTo>
                      <a:pt x="530" y="503"/>
                    </a:lnTo>
                    <a:lnTo>
                      <a:pt x="530" y="502"/>
                    </a:lnTo>
                    <a:lnTo>
                      <a:pt x="532" y="503"/>
                    </a:lnTo>
                    <a:lnTo>
                      <a:pt x="534" y="505"/>
                    </a:lnTo>
                    <a:lnTo>
                      <a:pt x="536" y="505"/>
                    </a:lnTo>
                    <a:lnTo>
                      <a:pt x="536" y="507"/>
                    </a:lnTo>
                    <a:lnTo>
                      <a:pt x="537" y="507"/>
                    </a:lnTo>
                    <a:lnTo>
                      <a:pt x="539" y="507"/>
                    </a:lnTo>
                    <a:lnTo>
                      <a:pt x="539" y="509"/>
                    </a:lnTo>
                    <a:lnTo>
                      <a:pt x="541" y="509"/>
                    </a:lnTo>
                    <a:lnTo>
                      <a:pt x="542" y="510"/>
                    </a:lnTo>
                    <a:lnTo>
                      <a:pt x="544" y="510"/>
                    </a:lnTo>
                    <a:lnTo>
                      <a:pt x="544" y="512"/>
                    </a:lnTo>
                    <a:lnTo>
                      <a:pt x="546" y="512"/>
                    </a:lnTo>
                    <a:lnTo>
                      <a:pt x="546" y="514"/>
                    </a:lnTo>
                    <a:lnTo>
                      <a:pt x="547" y="514"/>
                    </a:lnTo>
                    <a:lnTo>
                      <a:pt x="547" y="515"/>
                    </a:lnTo>
                    <a:lnTo>
                      <a:pt x="549" y="515"/>
                    </a:lnTo>
                    <a:lnTo>
                      <a:pt x="549" y="517"/>
                    </a:lnTo>
                    <a:lnTo>
                      <a:pt x="551" y="517"/>
                    </a:lnTo>
                    <a:lnTo>
                      <a:pt x="551" y="519"/>
                    </a:lnTo>
                    <a:lnTo>
                      <a:pt x="553" y="520"/>
                    </a:lnTo>
                    <a:lnTo>
                      <a:pt x="553" y="522"/>
                    </a:lnTo>
                    <a:lnTo>
                      <a:pt x="554" y="522"/>
                    </a:lnTo>
                    <a:lnTo>
                      <a:pt x="554" y="524"/>
                    </a:lnTo>
                    <a:lnTo>
                      <a:pt x="554" y="526"/>
                    </a:lnTo>
                    <a:lnTo>
                      <a:pt x="556" y="526"/>
                    </a:lnTo>
                    <a:lnTo>
                      <a:pt x="556" y="527"/>
                    </a:lnTo>
                    <a:lnTo>
                      <a:pt x="556" y="529"/>
                    </a:lnTo>
                    <a:lnTo>
                      <a:pt x="554" y="529"/>
                    </a:lnTo>
                    <a:lnTo>
                      <a:pt x="554" y="531"/>
                    </a:lnTo>
                    <a:lnTo>
                      <a:pt x="553" y="531"/>
                    </a:lnTo>
                    <a:lnTo>
                      <a:pt x="553" y="532"/>
                    </a:lnTo>
                    <a:lnTo>
                      <a:pt x="551" y="534"/>
                    </a:lnTo>
                    <a:lnTo>
                      <a:pt x="551" y="536"/>
                    </a:lnTo>
                    <a:lnTo>
                      <a:pt x="549" y="537"/>
                    </a:lnTo>
                    <a:lnTo>
                      <a:pt x="549" y="539"/>
                    </a:lnTo>
                    <a:lnTo>
                      <a:pt x="547" y="539"/>
                    </a:lnTo>
                    <a:lnTo>
                      <a:pt x="549" y="539"/>
                    </a:lnTo>
                    <a:lnTo>
                      <a:pt x="547" y="539"/>
                    </a:lnTo>
                    <a:lnTo>
                      <a:pt x="547" y="541"/>
                    </a:lnTo>
                    <a:lnTo>
                      <a:pt x="547" y="543"/>
                    </a:lnTo>
                    <a:lnTo>
                      <a:pt x="547" y="544"/>
                    </a:lnTo>
                    <a:lnTo>
                      <a:pt x="547" y="546"/>
                    </a:lnTo>
                    <a:lnTo>
                      <a:pt x="547" y="548"/>
                    </a:lnTo>
                    <a:lnTo>
                      <a:pt x="547" y="549"/>
                    </a:lnTo>
                    <a:lnTo>
                      <a:pt x="547" y="551"/>
                    </a:lnTo>
                    <a:lnTo>
                      <a:pt x="549" y="551"/>
                    </a:lnTo>
                    <a:lnTo>
                      <a:pt x="549" y="553"/>
                    </a:lnTo>
                    <a:lnTo>
                      <a:pt x="549" y="554"/>
                    </a:lnTo>
                    <a:lnTo>
                      <a:pt x="551" y="554"/>
                    </a:lnTo>
                    <a:lnTo>
                      <a:pt x="551" y="556"/>
                    </a:lnTo>
                    <a:lnTo>
                      <a:pt x="551" y="558"/>
                    </a:lnTo>
                    <a:lnTo>
                      <a:pt x="553" y="558"/>
                    </a:lnTo>
                    <a:lnTo>
                      <a:pt x="553" y="560"/>
                    </a:lnTo>
                    <a:lnTo>
                      <a:pt x="554" y="560"/>
                    </a:lnTo>
                    <a:lnTo>
                      <a:pt x="554" y="561"/>
                    </a:lnTo>
                    <a:lnTo>
                      <a:pt x="556" y="561"/>
                    </a:lnTo>
                    <a:lnTo>
                      <a:pt x="556" y="563"/>
                    </a:lnTo>
                    <a:lnTo>
                      <a:pt x="558" y="563"/>
                    </a:lnTo>
                    <a:lnTo>
                      <a:pt x="559" y="565"/>
                    </a:lnTo>
                    <a:lnTo>
                      <a:pt x="561" y="565"/>
                    </a:lnTo>
                    <a:lnTo>
                      <a:pt x="563" y="565"/>
                    </a:lnTo>
                    <a:lnTo>
                      <a:pt x="564" y="565"/>
                    </a:lnTo>
                    <a:lnTo>
                      <a:pt x="566" y="565"/>
                    </a:lnTo>
                    <a:lnTo>
                      <a:pt x="568" y="565"/>
                    </a:lnTo>
                    <a:lnTo>
                      <a:pt x="568" y="563"/>
                    </a:lnTo>
                    <a:lnTo>
                      <a:pt x="570" y="563"/>
                    </a:lnTo>
                    <a:lnTo>
                      <a:pt x="570" y="565"/>
                    </a:lnTo>
                    <a:lnTo>
                      <a:pt x="570" y="566"/>
                    </a:lnTo>
                    <a:lnTo>
                      <a:pt x="570" y="568"/>
                    </a:lnTo>
                    <a:lnTo>
                      <a:pt x="571" y="571"/>
                    </a:lnTo>
                    <a:lnTo>
                      <a:pt x="571" y="573"/>
                    </a:lnTo>
                    <a:lnTo>
                      <a:pt x="571" y="575"/>
                    </a:lnTo>
                    <a:lnTo>
                      <a:pt x="571" y="577"/>
                    </a:lnTo>
                    <a:lnTo>
                      <a:pt x="571" y="578"/>
                    </a:lnTo>
                    <a:lnTo>
                      <a:pt x="571" y="580"/>
                    </a:lnTo>
                    <a:lnTo>
                      <a:pt x="571" y="582"/>
                    </a:lnTo>
                    <a:lnTo>
                      <a:pt x="571" y="583"/>
                    </a:lnTo>
                    <a:lnTo>
                      <a:pt x="571" y="585"/>
                    </a:lnTo>
                    <a:lnTo>
                      <a:pt x="571" y="587"/>
                    </a:lnTo>
                    <a:lnTo>
                      <a:pt x="571" y="588"/>
                    </a:lnTo>
                    <a:lnTo>
                      <a:pt x="570" y="590"/>
                    </a:lnTo>
                    <a:lnTo>
                      <a:pt x="568" y="592"/>
                    </a:lnTo>
                    <a:lnTo>
                      <a:pt x="568" y="594"/>
                    </a:lnTo>
                    <a:lnTo>
                      <a:pt x="566" y="595"/>
                    </a:lnTo>
                    <a:lnTo>
                      <a:pt x="566" y="597"/>
                    </a:lnTo>
                    <a:lnTo>
                      <a:pt x="564" y="599"/>
                    </a:lnTo>
                    <a:lnTo>
                      <a:pt x="563" y="600"/>
                    </a:lnTo>
                    <a:lnTo>
                      <a:pt x="563" y="602"/>
                    </a:lnTo>
                    <a:lnTo>
                      <a:pt x="561" y="604"/>
                    </a:lnTo>
                    <a:lnTo>
                      <a:pt x="561" y="605"/>
                    </a:lnTo>
                    <a:lnTo>
                      <a:pt x="559" y="605"/>
                    </a:lnTo>
                    <a:lnTo>
                      <a:pt x="559" y="607"/>
                    </a:lnTo>
                    <a:lnTo>
                      <a:pt x="558" y="609"/>
                    </a:lnTo>
                    <a:lnTo>
                      <a:pt x="558" y="611"/>
                    </a:lnTo>
                    <a:lnTo>
                      <a:pt x="558" y="612"/>
                    </a:lnTo>
                    <a:lnTo>
                      <a:pt x="556" y="612"/>
                    </a:lnTo>
                    <a:lnTo>
                      <a:pt x="556" y="614"/>
                    </a:lnTo>
                    <a:lnTo>
                      <a:pt x="554" y="614"/>
                    </a:lnTo>
                    <a:lnTo>
                      <a:pt x="554" y="616"/>
                    </a:lnTo>
                    <a:lnTo>
                      <a:pt x="553" y="617"/>
                    </a:lnTo>
                    <a:lnTo>
                      <a:pt x="551" y="619"/>
                    </a:lnTo>
                    <a:lnTo>
                      <a:pt x="549" y="621"/>
                    </a:lnTo>
                    <a:lnTo>
                      <a:pt x="547" y="622"/>
                    </a:lnTo>
                    <a:lnTo>
                      <a:pt x="546" y="624"/>
                    </a:lnTo>
                    <a:lnTo>
                      <a:pt x="546" y="626"/>
                    </a:lnTo>
                    <a:lnTo>
                      <a:pt x="544" y="626"/>
                    </a:lnTo>
                    <a:lnTo>
                      <a:pt x="544" y="628"/>
                    </a:lnTo>
                    <a:lnTo>
                      <a:pt x="542" y="629"/>
                    </a:lnTo>
                    <a:lnTo>
                      <a:pt x="542" y="631"/>
                    </a:lnTo>
                    <a:lnTo>
                      <a:pt x="542" y="633"/>
                    </a:lnTo>
                    <a:lnTo>
                      <a:pt x="542" y="634"/>
                    </a:lnTo>
                    <a:lnTo>
                      <a:pt x="542" y="636"/>
                    </a:lnTo>
                    <a:lnTo>
                      <a:pt x="542" y="638"/>
                    </a:lnTo>
                    <a:lnTo>
                      <a:pt x="542" y="636"/>
                    </a:lnTo>
                    <a:lnTo>
                      <a:pt x="542" y="638"/>
                    </a:lnTo>
                    <a:lnTo>
                      <a:pt x="542" y="639"/>
                    </a:lnTo>
                    <a:lnTo>
                      <a:pt x="541" y="639"/>
                    </a:lnTo>
                    <a:lnTo>
                      <a:pt x="539" y="641"/>
                    </a:lnTo>
                    <a:lnTo>
                      <a:pt x="539" y="643"/>
                    </a:lnTo>
                    <a:lnTo>
                      <a:pt x="537" y="643"/>
                    </a:lnTo>
                    <a:lnTo>
                      <a:pt x="537" y="645"/>
                    </a:lnTo>
                    <a:lnTo>
                      <a:pt x="536" y="645"/>
                    </a:lnTo>
                    <a:lnTo>
                      <a:pt x="534" y="645"/>
                    </a:lnTo>
                    <a:lnTo>
                      <a:pt x="534" y="646"/>
                    </a:lnTo>
                    <a:lnTo>
                      <a:pt x="532" y="646"/>
                    </a:lnTo>
                    <a:lnTo>
                      <a:pt x="532" y="648"/>
                    </a:lnTo>
                    <a:lnTo>
                      <a:pt x="530" y="648"/>
                    </a:lnTo>
                    <a:lnTo>
                      <a:pt x="529" y="648"/>
                    </a:lnTo>
                    <a:lnTo>
                      <a:pt x="527" y="650"/>
                    </a:lnTo>
                    <a:lnTo>
                      <a:pt x="525" y="650"/>
                    </a:lnTo>
                    <a:lnTo>
                      <a:pt x="525" y="651"/>
                    </a:lnTo>
                    <a:lnTo>
                      <a:pt x="524" y="651"/>
                    </a:lnTo>
                    <a:lnTo>
                      <a:pt x="522" y="653"/>
                    </a:lnTo>
                    <a:lnTo>
                      <a:pt x="520" y="653"/>
                    </a:lnTo>
                    <a:lnTo>
                      <a:pt x="519" y="655"/>
                    </a:lnTo>
                    <a:lnTo>
                      <a:pt x="517" y="655"/>
                    </a:lnTo>
                    <a:lnTo>
                      <a:pt x="515" y="655"/>
                    </a:lnTo>
                    <a:lnTo>
                      <a:pt x="515" y="656"/>
                    </a:lnTo>
                    <a:lnTo>
                      <a:pt x="513" y="656"/>
                    </a:lnTo>
                    <a:lnTo>
                      <a:pt x="512" y="656"/>
                    </a:lnTo>
                    <a:lnTo>
                      <a:pt x="510" y="658"/>
                    </a:lnTo>
                    <a:lnTo>
                      <a:pt x="508" y="658"/>
                    </a:lnTo>
                    <a:lnTo>
                      <a:pt x="507" y="658"/>
                    </a:lnTo>
                    <a:lnTo>
                      <a:pt x="507" y="660"/>
                    </a:lnTo>
                    <a:lnTo>
                      <a:pt x="505" y="660"/>
                    </a:lnTo>
                    <a:lnTo>
                      <a:pt x="503" y="660"/>
                    </a:lnTo>
                    <a:lnTo>
                      <a:pt x="502" y="660"/>
                    </a:lnTo>
                    <a:lnTo>
                      <a:pt x="500" y="662"/>
                    </a:lnTo>
                    <a:lnTo>
                      <a:pt x="498" y="662"/>
                    </a:lnTo>
                    <a:lnTo>
                      <a:pt x="496" y="663"/>
                    </a:lnTo>
                    <a:lnTo>
                      <a:pt x="495" y="663"/>
                    </a:lnTo>
                    <a:lnTo>
                      <a:pt x="493" y="663"/>
                    </a:lnTo>
                    <a:lnTo>
                      <a:pt x="491" y="665"/>
                    </a:lnTo>
                    <a:lnTo>
                      <a:pt x="490" y="665"/>
                    </a:lnTo>
                    <a:lnTo>
                      <a:pt x="488" y="665"/>
                    </a:lnTo>
                    <a:lnTo>
                      <a:pt x="486" y="665"/>
                    </a:lnTo>
                    <a:lnTo>
                      <a:pt x="485" y="667"/>
                    </a:lnTo>
                    <a:lnTo>
                      <a:pt x="483" y="667"/>
                    </a:lnTo>
                    <a:lnTo>
                      <a:pt x="481" y="667"/>
                    </a:lnTo>
                    <a:lnTo>
                      <a:pt x="479" y="667"/>
                    </a:lnTo>
                    <a:lnTo>
                      <a:pt x="479" y="668"/>
                    </a:lnTo>
                    <a:lnTo>
                      <a:pt x="478" y="668"/>
                    </a:lnTo>
                    <a:lnTo>
                      <a:pt x="476" y="668"/>
                    </a:lnTo>
                    <a:lnTo>
                      <a:pt x="474" y="668"/>
                    </a:lnTo>
                    <a:lnTo>
                      <a:pt x="473" y="668"/>
                    </a:lnTo>
                    <a:lnTo>
                      <a:pt x="471" y="668"/>
                    </a:lnTo>
                    <a:lnTo>
                      <a:pt x="469" y="670"/>
                    </a:lnTo>
                    <a:lnTo>
                      <a:pt x="468" y="670"/>
                    </a:lnTo>
                    <a:lnTo>
                      <a:pt x="466" y="670"/>
                    </a:lnTo>
                    <a:lnTo>
                      <a:pt x="464" y="672"/>
                    </a:lnTo>
                    <a:lnTo>
                      <a:pt x="462" y="672"/>
                    </a:lnTo>
                    <a:lnTo>
                      <a:pt x="461" y="672"/>
                    </a:lnTo>
                    <a:lnTo>
                      <a:pt x="459" y="672"/>
                    </a:lnTo>
                    <a:lnTo>
                      <a:pt x="457" y="672"/>
                    </a:lnTo>
                    <a:lnTo>
                      <a:pt x="456" y="672"/>
                    </a:lnTo>
                    <a:lnTo>
                      <a:pt x="454" y="672"/>
                    </a:lnTo>
                    <a:lnTo>
                      <a:pt x="454" y="674"/>
                    </a:lnTo>
                    <a:lnTo>
                      <a:pt x="452" y="674"/>
                    </a:lnTo>
                    <a:lnTo>
                      <a:pt x="449" y="674"/>
                    </a:lnTo>
                    <a:lnTo>
                      <a:pt x="447" y="674"/>
                    </a:lnTo>
                    <a:lnTo>
                      <a:pt x="445" y="675"/>
                    </a:lnTo>
                    <a:lnTo>
                      <a:pt x="444" y="675"/>
                    </a:lnTo>
                    <a:lnTo>
                      <a:pt x="442" y="675"/>
                    </a:lnTo>
                    <a:lnTo>
                      <a:pt x="440" y="675"/>
                    </a:lnTo>
                    <a:lnTo>
                      <a:pt x="439" y="675"/>
                    </a:lnTo>
                    <a:lnTo>
                      <a:pt x="435" y="677"/>
                    </a:lnTo>
                    <a:lnTo>
                      <a:pt x="434" y="677"/>
                    </a:lnTo>
                    <a:lnTo>
                      <a:pt x="432" y="677"/>
                    </a:lnTo>
                    <a:lnTo>
                      <a:pt x="430" y="677"/>
                    </a:lnTo>
                    <a:lnTo>
                      <a:pt x="428" y="677"/>
                    </a:lnTo>
                    <a:lnTo>
                      <a:pt x="427" y="677"/>
                    </a:lnTo>
                    <a:lnTo>
                      <a:pt x="425" y="677"/>
                    </a:lnTo>
                    <a:lnTo>
                      <a:pt x="423" y="679"/>
                    </a:lnTo>
                    <a:lnTo>
                      <a:pt x="422" y="679"/>
                    </a:lnTo>
                    <a:lnTo>
                      <a:pt x="420" y="679"/>
                    </a:lnTo>
                    <a:lnTo>
                      <a:pt x="418" y="679"/>
                    </a:lnTo>
                    <a:lnTo>
                      <a:pt x="417" y="679"/>
                    </a:lnTo>
                    <a:lnTo>
                      <a:pt x="415" y="679"/>
                    </a:lnTo>
                    <a:lnTo>
                      <a:pt x="411" y="679"/>
                    </a:lnTo>
                    <a:lnTo>
                      <a:pt x="410" y="679"/>
                    </a:lnTo>
                    <a:lnTo>
                      <a:pt x="408" y="679"/>
                    </a:lnTo>
                    <a:lnTo>
                      <a:pt x="406" y="679"/>
                    </a:lnTo>
                    <a:lnTo>
                      <a:pt x="405" y="679"/>
                    </a:lnTo>
                    <a:lnTo>
                      <a:pt x="403" y="679"/>
                    </a:lnTo>
                    <a:lnTo>
                      <a:pt x="401" y="677"/>
                    </a:lnTo>
                    <a:lnTo>
                      <a:pt x="400" y="677"/>
                    </a:lnTo>
                    <a:lnTo>
                      <a:pt x="398" y="679"/>
                    </a:lnTo>
                    <a:lnTo>
                      <a:pt x="396" y="677"/>
                    </a:lnTo>
                    <a:lnTo>
                      <a:pt x="394" y="677"/>
                    </a:lnTo>
                    <a:lnTo>
                      <a:pt x="393" y="677"/>
                    </a:lnTo>
                    <a:lnTo>
                      <a:pt x="393" y="675"/>
                    </a:lnTo>
                    <a:lnTo>
                      <a:pt x="391" y="675"/>
                    </a:lnTo>
                    <a:lnTo>
                      <a:pt x="389" y="675"/>
                    </a:lnTo>
                    <a:lnTo>
                      <a:pt x="389" y="674"/>
                    </a:lnTo>
                    <a:lnTo>
                      <a:pt x="388" y="674"/>
                    </a:lnTo>
                    <a:lnTo>
                      <a:pt x="388" y="672"/>
                    </a:lnTo>
                    <a:lnTo>
                      <a:pt x="386" y="670"/>
                    </a:lnTo>
                    <a:lnTo>
                      <a:pt x="384" y="670"/>
                    </a:lnTo>
                    <a:lnTo>
                      <a:pt x="383" y="668"/>
                    </a:lnTo>
                    <a:lnTo>
                      <a:pt x="383" y="670"/>
                    </a:lnTo>
                    <a:lnTo>
                      <a:pt x="381" y="668"/>
                    </a:lnTo>
                    <a:lnTo>
                      <a:pt x="379" y="668"/>
                    </a:lnTo>
                    <a:lnTo>
                      <a:pt x="381" y="668"/>
                    </a:lnTo>
                    <a:lnTo>
                      <a:pt x="381" y="670"/>
                    </a:lnTo>
                    <a:lnTo>
                      <a:pt x="379" y="670"/>
                    </a:lnTo>
                    <a:lnTo>
                      <a:pt x="379" y="672"/>
                    </a:lnTo>
                    <a:lnTo>
                      <a:pt x="381" y="670"/>
                    </a:lnTo>
                    <a:lnTo>
                      <a:pt x="381" y="672"/>
                    </a:lnTo>
                    <a:lnTo>
                      <a:pt x="383" y="672"/>
                    </a:lnTo>
                    <a:lnTo>
                      <a:pt x="381" y="672"/>
                    </a:lnTo>
                    <a:lnTo>
                      <a:pt x="379" y="672"/>
                    </a:lnTo>
                    <a:lnTo>
                      <a:pt x="379" y="674"/>
                    </a:lnTo>
                    <a:lnTo>
                      <a:pt x="381" y="674"/>
                    </a:lnTo>
                    <a:lnTo>
                      <a:pt x="379" y="675"/>
                    </a:lnTo>
                    <a:lnTo>
                      <a:pt x="379" y="677"/>
                    </a:lnTo>
                    <a:lnTo>
                      <a:pt x="381" y="677"/>
                    </a:lnTo>
                    <a:lnTo>
                      <a:pt x="383" y="677"/>
                    </a:lnTo>
                    <a:lnTo>
                      <a:pt x="384" y="677"/>
                    </a:lnTo>
                    <a:lnTo>
                      <a:pt x="386" y="679"/>
                    </a:lnTo>
                    <a:lnTo>
                      <a:pt x="384" y="679"/>
                    </a:lnTo>
                    <a:lnTo>
                      <a:pt x="383" y="680"/>
                    </a:lnTo>
                    <a:lnTo>
                      <a:pt x="381" y="680"/>
                    </a:lnTo>
                    <a:lnTo>
                      <a:pt x="381" y="682"/>
                    </a:lnTo>
                    <a:lnTo>
                      <a:pt x="381" y="684"/>
                    </a:lnTo>
                    <a:lnTo>
                      <a:pt x="381" y="685"/>
                    </a:lnTo>
                    <a:lnTo>
                      <a:pt x="381" y="687"/>
                    </a:lnTo>
                    <a:lnTo>
                      <a:pt x="381" y="689"/>
                    </a:lnTo>
                    <a:lnTo>
                      <a:pt x="383" y="689"/>
                    </a:lnTo>
                    <a:lnTo>
                      <a:pt x="381" y="689"/>
                    </a:lnTo>
                    <a:lnTo>
                      <a:pt x="381" y="691"/>
                    </a:lnTo>
                    <a:lnTo>
                      <a:pt x="383" y="691"/>
                    </a:lnTo>
                    <a:lnTo>
                      <a:pt x="384" y="691"/>
                    </a:lnTo>
                    <a:lnTo>
                      <a:pt x="386" y="691"/>
                    </a:lnTo>
                    <a:lnTo>
                      <a:pt x="388" y="691"/>
                    </a:lnTo>
                    <a:lnTo>
                      <a:pt x="388" y="692"/>
                    </a:lnTo>
                    <a:lnTo>
                      <a:pt x="389" y="692"/>
                    </a:lnTo>
                    <a:lnTo>
                      <a:pt x="389" y="694"/>
                    </a:lnTo>
                    <a:lnTo>
                      <a:pt x="391" y="694"/>
                    </a:lnTo>
                    <a:lnTo>
                      <a:pt x="391" y="696"/>
                    </a:lnTo>
                    <a:lnTo>
                      <a:pt x="391" y="697"/>
                    </a:lnTo>
                    <a:lnTo>
                      <a:pt x="389" y="696"/>
                    </a:lnTo>
                    <a:lnTo>
                      <a:pt x="388" y="696"/>
                    </a:lnTo>
                    <a:lnTo>
                      <a:pt x="388" y="694"/>
                    </a:lnTo>
                    <a:lnTo>
                      <a:pt x="386" y="694"/>
                    </a:lnTo>
                    <a:lnTo>
                      <a:pt x="386" y="692"/>
                    </a:lnTo>
                    <a:lnTo>
                      <a:pt x="384" y="691"/>
                    </a:lnTo>
                    <a:lnTo>
                      <a:pt x="384" y="692"/>
                    </a:lnTo>
                    <a:lnTo>
                      <a:pt x="384" y="691"/>
                    </a:lnTo>
                    <a:lnTo>
                      <a:pt x="383" y="692"/>
                    </a:lnTo>
                    <a:lnTo>
                      <a:pt x="384" y="692"/>
                    </a:lnTo>
                    <a:lnTo>
                      <a:pt x="384" y="694"/>
                    </a:lnTo>
                    <a:lnTo>
                      <a:pt x="386" y="694"/>
                    </a:lnTo>
                    <a:lnTo>
                      <a:pt x="386" y="696"/>
                    </a:lnTo>
                    <a:lnTo>
                      <a:pt x="388" y="696"/>
                    </a:lnTo>
                    <a:lnTo>
                      <a:pt x="388" y="697"/>
                    </a:lnTo>
                    <a:lnTo>
                      <a:pt x="389" y="697"/>
                    </a:lnTo>
                    <a:lnTo>
                      <a:pt x="389" y="699"/>
                    </a:lnTo>
                    <a:lnTo>
                      <a:pt x="389" y="701"/>
                    </a:lnTo>
                    <a:lnTo>
                      <a:pt x="389" y="702"/>
                    </a:lnTo>
                    <a:lnTo>
                      <a:pt x="388" y="702"/>
                    </a:lnTo>
                    <a:lnTo>
                      <a:pt x="388" y="704"/>
                    </a:lnTo>
                    <a:lnTo>
                      <a:pt x="388" y="706"/>
                    </a:lnTo>
                    <a:lnTo>
                      <a:pt x="388" y="708"/>
                    </a:lnTo>
                    <a:lnTo>
                      <a:pt x="388" y="709"/>
                    </a:lnTo>
                    <a:lnTo>
                      <a:pt x="388" y="711"/>
                    </a:lnTo>
                    <a:lnTo>
                      <a:pt x="388" y="713"/>
                    </a:lnTo>
                    <a:lnTo>
                      <a:pt x="388" y="714"/>
                    </a:lnTo>
                    <a:lnTo>
                      <a:pt x="388" y="716"/>
                    </a:lnTo>
                    <a:lnTo>
                      <a:pt x="388" y="718"/>
                    </a:lnTo>
                    <a:lnTo>
                      <a:pt x="386" y="718"/>
                    </a:lnTo>
                    <a:lnTo>
                      <a:pt x="386" y="716"/>
                    </a:lnTo>
                    <a:lnTo>
                      <a:pt x="384" y="716"/>
                    </a:lnTo>
                    <a:lnTo>
                      <a:pt x="384" y="718"/>
                    </a:lnTo>
                    <a:lnTo>
                      <a:pt x="383" y="718"/>
                    </a:lnTo>
                    <a:lnTo>
                      <a:pt x="383" y="716"/>
                    </a:lnTo>
                    <a:lnTo>
                      <a:pt x="381" y="716"/>
                    </a:lnTo>
                    <a:lnTo>
                      <a:pt x="381" y="718"/>
                    </a:lnTo>
                    <a:lnTo>
                      <a:pt x="381" y="719"/>
                    </a:lnTo>
                    <a:lnTo>
                      <a:pt x="381" y="721"/>
                    </a:lnTo>
                    <a:lnTo>
                      <a:pt x="381" y="723"/>
                    </a:lnTo>
                    <a:lnTo>
                      <a:pt x="379" y="723"/>
                    </a:lnTo>
                    <a:lnTo>
                      <a:pt x="379" y="725"/>
                    </a:lnTo>
                    <a:lnTo>
                      <a:pt x="379" y="726"/>
                    </a:lnTo>
                    <a:lnTo>
                      <a:pt x="379" y="728"/>
                    </a:lnTo>
                    <a:lnTo>
                      <a:pt x="381" y="728"/>
                    </a:lnTo>
                    <a:lnTo>
                      <a:pt x="381" y="730"/>
                    </a:lnTo>
                    <a:lnTo>
                      <a:pt x="379" y="730"/>
                    </a:lnTo>
                    <a:lnTo>
                      <a:pt x="379" y="731"/>
                    </a:lnTo>
                    <a:lnTo>
                      <a:pt x="377" y="731"/>
                    </a:lnTo>
                    <a:lnTo>
                      <a:pt x="377" y="733"/>
                    </a:lnTo>
                    <a:lnTo>
                      <a:pt x="376" y="733"/>
                    </a:lnTo>
                    <a:lnTo>
                      <a:pt x="376" y="735"/>
                    </a:lnTo>
                    <a:lnTo>
                      <a:pt x="374" y="735"/>
                    </a:lnTo>
                    <a:lnTo>
                      <a:pt x="374" y="736"/>
                    </a:lnTo>
                    <a:lnTo>
                      <a:pt x="376" y="738"/>
                    </a:lnTo>
                    <a:lnTo>
                      <a:pt x="376" y="740"/>
                    </a:lnTo>
                    <a:lnTo>
                      <a:pt x="376" y="742"/>
                    </a:lnTo>
                    <a:lnTo>
                      <a:pt x="377" y="742"/>
                    </a:lnTo>
                    <a:lnTo>
                      <a:pt x="377" y="743"/>
                    </a:lnTo>
                    <a:lnTo>
                      <a:pt x="379" y="743"/>
                    </a:lnTo>
                    <a:lnTo>
                      <a:pt x="381" y="745"/>
                    </a:lnTo>
                    <a:lnTo>
                      <a:pt x="383" y="747"/>
                    </a:lnTo>
                    <a:lnTo>
                      <a:pt x="384" y="747"/>
                    </a:lnTo>
                    <a:lnTo>
                      <a:pt x="384" y="748"/>
                    </a:lnTo>
                    <a:lnTo>
                      <a:pt x="386" y="748"/>
                    </a:lnTo>
                    <a:lnTo>
                      <a:pt x="386" y="750"/>
                    </a:lnTo>
                    <a:lnTo>
                      <a:pt x="384" y="752"/>
                    </a:lnTo>
                    <a:lnTo>
                      <a:pt x="383" y="753"/>
                    </a:lnTo>
                    <a:lnTo>
                      <a:pt x="383" y="755"/>
                    </a:lnTo>
                    <a:lnTo>
                      <a:pt x="383" y="757"/>
                    </a:lnTo>
                    <a:lnTo>
                      <a:pt x="381" y="759"/>
                    </a:lnTo>
                    <a:lnTo>
                      <a:pt x="381" y="760"/>
                    </a:lnTo>
                    <a:lnTo>
                      <a:pt x="379" y="762"/>
                    </a:lnTo>
                    <a:lnTo>
                      <a:pt x="377" y="762"/>
                    </a:lnTo>
                    <a:lnTo>
                      <a:pt x="377" y="764"/>
                    </a:lnTo>
                    <a:lnTo>
                      <a:pt x="376" y="764"/>
                    </a:lnTo>
                    <a:lnTo>
                      <a:pt x="374" y="764"/>
                    </a:lnTo>
                    <a:lnTo>
                      <a:pt x="372" y="764"/>
                    </a:lnTo>
                    <a:lnTo>
                      <a:pt x="372" y="765"/>
                    </a:lnTo>
                    <a:lnTo>
                      <a:pt x="371" y="765"/>
                    </a:lnTo>
                    <a:lnTo>
                      <a:pt x="369" y="767"/>
                    </a:lnTo>
                    <a:lnTo>
                      <a:pt x="367" y="767"/>
                    </a:lnTo>
                    <a:lnTo>
                      <a:pt x="367" y="769"/>
                    </a:lnTo>
                    <a:lnTo>
                      <a:pt x="366" y="769"/>
                    </a:lnTo>
                    <a:lnTo>
                      <a:pt x="366" y="767"/>
                    </a:lnTo>
                    <a:lnTo>
                      <a:pt x="364" y="767"/>
                    </a:lnTo>
                    <a:lnTo>
                      <a:pt x="364" y="769"/>
                    </a:lnTo>
                    <a:lnTo>
                      <a:pt x="362" y="769"/>
                    </a:lnTo>
                    <a:lnTo>
                      <a:pt x="362" y="770"/>
                    </a:lnTo>
                    <a:lnTo>
                      <a:pt x="360" y="770"/>
                    </a:lnTo>
                    <a:lnTo>
                      <a:pt x="359" y="770"/>
                    </a:lnTo>
                    <a:lnTo>
                      <a:pt x="357" y="772"/>
                    </a:lnTo>
                    <a:lnTo>
                      <a:pt x="355" y="772"/>
                    </a:lnTo>
                    <a:lnTo>
                      <a:pt x="355" y="774"/>
                    </a:lnTo>
                    <a:lnTo>
                      <a:pt x="354" y="774"/>
                    </a:lnTo>
                    <a:lnTo>
                      <a:pt x="352" y="774"/>
                    </a:lnTo>
                    <a:lnTo>
                      <a:pt x="350" y="774"/>
                    </a:lnTo>
                    <a:lnTo>
                      <a:pt x="349" y="774"/>
                    </a:lnTo>
                    <a:lnTo>
                      <a:pt x="347" y="774"/>
                    </a:lnTo>
                    <a:lnTo>
                      <a:pt x="345" y="774"/>
                    </a:lnTo>
                    <a:lnTo>
                      <a:pt x="343" y="774"/>
                    </a:lnTo>
                    <a:lnTo>
                      <a:pt x="342" y="774"/>
                    </a:lnTo>
                    <a:lnTo>
                      <a:pt x="340" y="774"/>
                    </a:lnTo>
                    <a:lnTo>
                      <a:pt x="338" y="774"/>
                    </a:lnTo>
                    <a:lnTo>
                      <a:pt x="337" y="774"/>
                    </a:lnTo>
                    <a:lnTo>
                      <a:pt x="335" y="774"/>
                    </a:lnTo>
                    <a:lnTo>
                      <a:pt x="333" y="774"/>
                    </a:lnTo>
                    <a:lnTo>
                      <a:pt x="332" y="774"/>
                    </a:lnTo>
                    <a:lnTo>
                      <a:pt x="330" y="774"/>
                    </a:lnTo>
                    <a:lnTo>
                      <a:pt x="330" y="772"/>
                    </a:lnTo>
                    <a:lnTo>
                      <a:pt x="328" y="772"/>
                    </a:lnTo>
                    <a:lnTo>
                      <a:pt x="326" y="772"/>
                    </a:lnTo>
                    <a:lnTo>
                      <a:pt x="326" y="770"/>
                    </a:lnTo>
                    <a:lnTo>
                      <a:pt x="325" y="769"/>
                    </a:lnTo>
                    <a:lnTo>
                      <a:pt x="323" y="769"/>
                    </a:lnTo>
                    <a:lnTo>
                      <a:pt x="321" y="769"/>
                    </a:lnTo>
                    <a:lnTo>
                      <a:pt x="321" y="767"/>
                    </a:lnTo>
                    <a:lnTo>
                      <a:pt x="320" y="767"/>
                    </a:lnTo>
                    <a:lnTo>
                      <a:pt x="321" y="767"/>
                    </a:lnTo>
                    <a:lnTo>
                      <a:pt x="321" y="765"/>
                    </a:lnTo>
                    <a:lnTo>
                      <a:pt x="320" y="765"/>
                    </a:lnTo>
                    <a:lnTo>
                      <a:pt x="320" y="767"/>
                    </a:lnTo>
                    <a:lnTo>
                      <a:pt x="318" y="767"/>
                    </a:lnTo>
                    <a:lnTo>
                      <a:pt x="316" y="767"/>
                    </a:lnTo>
                    <a:lnTo>
                      <a:pt x="315" y="765"/>
                    </a:lnTo>
                    <a:lnTo>
                      <a:pt x="313" y="765"/>
                    </a:lnTo>
                    <a:lnTo>
                      <a:pt x="313" y="764"/>
                    </a:lnTo>
                    <a:lnTo>
                      <a:pt x="311" y="764"/>
                    </a:lnTo>
                    <a:lnTo>
                      <a:pt x="309" y="762"/>
                    </a:lnTo>
                    <a:lnTo>
                      <a:pt x="308" y="762"/>
                    </a:lnTo>
                    <a:lnTo>
                      <a:pt x="306" y="760"/>
                    </a:lnTo>
                    <a:lnTo>
                      <a:pt x="304" y="760"/>
                    </a:lnTo>
                    <a:lnTo>
                      <a:pt x="303" y="760"/>
                    </a:lnTo>
                    <a:lnTo>
                      <a:pt x="301" y="759"/>
                    </a:lnTo>
                    <a:lnTo>
                      <a:pt x="299" y="759"/>
                    </a:lnTo>
                    <a:lnTo>
                      <a:pt x="298" y="759"/>
                    </a:lnTo>
                    <a:lnTo>
                      <a:pt x="296" y="759"/>
                    </a:lnTo>
                    <a:lnTo>
                      <a:pt x="294" y="759"/>
                    </a:lnTo>
                    <a:lnTo>
                      <a:pt x="292" y="759"/>
                    </a:lnTo>
                    <a:lnTo>
                      <a:pt x="294" y="757"/>
                    </a:lnTo>
                    <a:lnTo>
                      <a:pt x="296" y="757"/>
                    </a:lnTo>
                    <a:lnTo>
                      <a:pt x="298" y="757"/>
                    </a:lnTo>
                    <a:lnTo>
                      <a:pt x="298" y="759"/>
                    </a:lnTo>
                    <a:lnTo>
                      <a:pt x="299" y="757"/>
                    </a:lnTo>
                    <a:lnTo>
                      <a:pt x="298" y="757"/>
                    </a:lnTo>
                    <a:lnTo>
                      <a:pt x="299" y="757"/>
                    </a:lnTo>
                    <a:lnTo>
                      <a:pt x="298" y="757"/>
                    </a:lnTo>
                    <a:lnTo>
                      <a:pt x="296" y="757"/>
                    </a:lnTo>
                    <a:lnTo>
                      <a:pt x="298" y="755"/>
                    </a:lnTo>
                    <a:lnTo>
                      <a:pt x="296" y="755"/>
                    </a:lnTo>
                    <a:lnTo>
                      <a:pt x="298" y="755"/>
                    </a:lnTo>
                    <a:lnTo>
                      <a:pt x="296" y="755"/>
                    </a:lnTo>
                    <a:lnTo>
                      <a:pt x="296" y="753"/>
                    </a:lnTo>
                    <a:lnTo>
                      <a:pt x="294" y="753"/>
                    </a:lnTo>
                    <a:lnTo>
                      <a:pt x="292" y="753"/>
                    </a:lnTo>
                    <a:lnTo>
                      <a:pt x="291" y="753"/>
                    </a:lnTo>
                    <a:lnTo>
                      <a:pt x="292" y="753"/>
                    </a:lnTo>
                    <a:lnTo>
                      <a:pt x="291" y="753"/>
                    </a:lnTo>
                    <a:lnTo>
                      <a:pt x="291" y="755"/>
                    </a:lnTo>
                    <a:lnTo>
                      <a:pt x="292" y="753"/>
                    </a:lnTo>
                    <a:lnTo>
                      <a:pt x="292" y="755"/>
                    </a:lnTo>
                    <a:lnTo>
                      <a:pt x="294" y="755"/>
                    </a:lnTo>
                    <a:lnTo>
                      <a:pt x="292" y="755"/>
                    </a:lnTo>
                    <a:lnTo>
                      <a:pt x="291" y="755"/>
                    </a:lnTo>
                    <a:lnTo>
                      <a:pt x="289" y="755"/>
                    </a:lnTo>
                    <a:lnTo>
                      <a:pt x="289" y="757"/>
                    </a:lnTo>
                    <a:lnTo>
                      <a:pt x="287" y="757"/>
                    </a:lnTo>
                    <a:lnTo>
                      <a:pt x="287" y="759"/>
                    </a:lnTo>
                    <a:lnTo>
                      <a:pt x="286" y="759"/>
                    </a:lnTo>
                    <a:lnTo>
                      <a:pt x="286" y="760"/>
                    </a:lnTo>
                    <a:lnTo>
                      <a:pt x="286" y="762"/>
                    </a:lnTo>
                    <a:lnTo>
                      <a:pt x="284" y="764"/>
                    </a:lnTo>
                    <a:lnTo>
                      <a:pt x="284" y="765"/>
                    </a:lnTo>
                    <a:lnTo>
                      <a:pt x="284" y="767"/>
                    </a:lnTo>
                    <a:lnTo>
                      <a:pt x="284" y="769"/>
                    </a:lnTo>
                    <a:lnTo>
                      <a:pt x="284" y="770"/>
                    </a:lnTo>
                    <a:lnTo>
                      <a:pt x="286" y="770"/>
                    </a:lnTo>
                    <a:lnTo>
                      <a:pt x="286" y="772"/>
                    </a:lnTo>
                    <a:lnTo>
                      <a:pt x="286" y="774"/>
                    </a:lnTo>
                    <a:lnTo>
                      <a:pt x="284" y="774"/>
                    </a:lnTo>
                    <a:lnTo>
                      <a:pt x="286" y="774"/>
                    </a:lnTo>
                    <a:lnTo>
                      <a:pt x="286" y="776"/>
                    </a:lnTo>
                    <a:lnTo>
                      <a:pt x="286" y="777"/>
                    </a:lnTo>
                    <a:lnTo>
                      <a:pt x="286" y="779"/>
                    </a:lnTo>
                    <a:lnTo>
                      <a:pt x="286" y="781"/>
                    </a:lnTo>
                    <a:lnTo>
                      <a:pt x="287" y="781"/>
                    </a:lnTo>
                    <a:lnTo>
                      <a:pt x="287" y="782"/>
                    </a:lnTo>
                    <a:lnTo>
                      <a:pt x="287" y="784"/>
                    </a:lnTo>
                    <a:lnTo>
                      <a:pt x="287" y="786"/>
                    </a:lnTo>
                    <a:lnTo>
                      <a:pt x="289" y="787"/>
                    </a:lnTo>
                    <a:lnTo>
                      <a:pt x="291" y="789"/>
                    </a:lnTo>
                    <a:lnTo>
                      <a:pt x="291" y="791"/>
                    </a:lnTo>
                    <a:lnTo>
                      <a:pt x="289" y="791"/>
                    </a:lnTo>
                    <a:lnTo>
                      <a:pt x="291" y="793"/>
                    </a:lnTo>
                    <a:lnTo>
                      <a:pt x="289" y="793"/>
                    </a:lnTo>
                    <a:lnTo>
                      <a:pt x="289" y="794"/>
                    </a:lnTo>
                    <a:lnTo>
                      <a:pt x="289" y="796"/>
                    </a:lnTo>
                    <a:lnTo>
                      <a:pt x="289" y="798"/>
                    </a:lnTo>
                    <a:lnTo>
                      <a:pt x="289" y="799"/>
                    </a:lnTo>
                    <a:lnTo>
                      <a:pt x="289" y="801"/>
                    </a:lnTo>
                    <a:lnTo>
                      <a:pt x="291" y="801"/>
                    </a:lnTo>
                    <a:lnTo>
                      <a:pt x="289" y="801"/>
                    </a:lnTo>
                    <a:lnTo>
                      <a:pt x="289" y="803"/>
                    </a:lnTo>
                    <a:lnTo>
                      <a:pt x="289" y="804"/>
                    </a:lnTo>
                    <a:lnTo>
                      <a:pt x="289" y="806"/>
                    </a:lnTo>
                    <a:lnTo>
                      <a:pt x="287" y="806"/>
                    </a:lnTo>
                    <a:lnTo>
                      <a:pt x="287" y="808"/>
                    </a:lnTo>
                    <a:lnTo>
                      <a:pt x="287" y="810"/>
                    </a:lnTo>
                    <a:lnTo>
                      <a:pt x="287" y="811"/>
                    </a:lnTo>
                    <a:lnTo>
                      <a:pt x="287" y="813"/>
                    </a:lnTo>
                    <a:lnTo>
                      <a:pt x="289" y="815"/>
                    </a:lnTo>
                    <a:lnTo>
                      <a:pt x="289" y="816"/>
                    </a:lnTo>
                    <a:lnTo>
                      <a:pt x="291" y="816"/>
                    </a:lnTo>
                    <a:lnTo>
                      <a:pt x="291" y="818"/>
                    </a:lnTo>
                    <a:lnTo>
                      <a:pt x="292" y="818"/>
                    </a:lnTo>
                    <a:lnTo>
                      <a:pt x="292" y="820"/>
                    </a:lnTo>
                    <a:lnTo>
                      <a:pt x="294" y="820"/>
                    </a:lnTo>
                    <a:lnTo>
                      <a:pt x="296" y="820"/>
                    </a:lnTo>
                    <a:lnTo>
                      <a:pt x="298" y="820"/>
                    </a:lnTo>
                    <a:lnTo>
                      <a:pt x="298" y="822"/>
                    </a:lnTo>
                    <a:lnTo>
                      <a:pt x="299" y="822"/>
                    </a:lnTo>
                    <a:lnTo>
                      <a:pt x="301" y="822"/>
                    </a:lnTo>
                    <a:lnTo>
                      <a:pt x="303" y="822"/>
                    </a:lnTo>
                    <a:lnTo>
                      <a:pt x="304" y="822"/>
                    </a:lnTo>
                    <a:lnTo>
                      <a:pt x="306" y="822"/>
                    </a:lnTo>
                    <a:lnTo>
                      <a:pt x="306" y="823"/>
                    </a:lnTo>
                    <a:lnTo>
                      <a:pt x="306" y="822"/>
                    </a:lnTo>
                    <a:lnTo>
                      <a:pt x="308" y="823"/>
                    </a:lnTo>
                    <a:lnTo>
                      <a:pt x="306" y="823"/>
                    </a:lnTo>
                    <a:lnTo>
                      <a:pt x="306" y="825"/>
                    </a:lnTo>
                    <a:lnTo>
                      <a:pt x="304" y="825"/>
                    </a:lnTo>
                    <a:lnTo>
                      <a:pt x="304" y="827"/>
                    </a:lnTo>
                    <a:lnTo>
                      <a:pt x="304" y="828"/>
                    </a:lnTo>
                    <a:lnTo>
                      <a:pt x="303" y="830"/>
                    </a:lnTo>
                    <a:lnTo>
                      <a:pt x="303" y="832"/>
                    </a:lnTo>
                    <a:lnTo>
                      <a:pt x="304" y="832"/>
                    </a:lnTo>
                    <a:lnTo>
                      <a:pt x="304" y="830"/>
                    </a:lnTo>
                    <a:lnTo>
                      <a:pt x="304" y="832"/>
                    </a:lnTo>
                    <a:lnTo>
                      <a:pt x="306" y="830"/>
                    </a:lnTo>
                    <a:lnTo>
                      <a:pt x="306" y="832"/>
                    </a:lnTo>
                    <a:lnTo>
                      <a:pt x="308" y="832"/>
                    </a:lnTo>
                    <a:lnTo>
                      <a:pt x="308" y="830"/>
                    </a:lnTo>
                    <a:lnTo>
                      <a:pt x="308" y="832"/>
                    </a:lnTo>
                    <a:lnTo>
                      <a:pt x="309" y="832"/>
                    </a:lnTo>
                    <a:lnTo>
                      <a:pt x="311" y="832"/>
                    </a:lnTo>
                    <a:lnTo>
                      <a:pt x="311" y="830"/>
                    </a:lnTo>
                    <a:lnTo>
                      <a:pt x="311" y="832"/>
                    </a:lnTo>
                    <a:lnTo>
                      <a:pt x="313" y="830"/>
                    </a:lnTo>
                    <a:lnTo>
                      <a:pt x="315" y="830"/>
                    </a:lnTo>
                    <a:lnTo>
                      <a:pt x="316" y="830"/>
                    </a:lnTo>
                    <a:lnTo>
                      <a:pt x="318" y="830"/>
                    </a:lnTo>
                    <a:lnTo>
                      <a:pt x="320" y="832"/>
                    </a:lnTo>
                    <a:lnTo>
                      <a:pt x="320" y="830"/>
                    </a:lnTo>
                    <a:lnTo>
                      <a:pt x="321" y="830"/>
                    </a:lnTo>
                    <a:lnTo>
                      <a:pt x="321" y="828"/>
                    </a:lnTo>
                    <a:lnTo>
                      <a:pt x="323" y="828"/>
                    </a:lnTo>
                    <a:lnTo>
                      <a:pt x="321" y="827"/>
                    </a:lnTo>
                    <a:lnTo>
                      <a:pt x="323" y="827"/>
                    </a:lnTo>
                    <a:lnTo>
                      <a:pt x="321" y="825"/>
                    </a:lnTo>
                    <a:lnTo>
                      <a:pt x="321" y="823"/>
                    </a:lnTo>
                    <a:lnTo>
                      <a:pt x="320" y="823"/>
                    </a:lnTo>
                    <a:lnTo>
                      <a:pt x="318" y="823"/>
                    </a:lnTo>
                    <a:lnTo>
                      <a:pt x="316" y="823"/>
                    </a:lnTo>
                    <a:lnTo>
                      <a:pt x="316" y="822"/>
                    </a:lnTo>
                    <a:lnTo>
                      <a:pt x="315" y="823"/>
                    </a:lnTo>
                    <a:lnTo>
                      <a:pt x="313" y="823"/>
                    </a:lnTo>
                    <a:lnTo>
                      <a:pt x="311" y="823"/>
                    </a:lnTo>
                    <a:lnTo>
                      <a:pt x="311" y="822"/>
                    </a:lnTo>
                    <a:lnTo>
                      <a:pt x="313" y="822"/>
                    </a:lnTo>
                    <a:lnTo>
                      <a:pt x="316" y="822"/>
                    </a:lnTo>
                    <a:lnTo>
                      <a:pt x="318" y="820"/>
                    </a:lnTo>
                    <a:lnTo>
                      <a:pt x="320" y="820"/>
                    </a:lnTo>
                    <a:lnTo>
                      <a:pt x="321" y="820"/>
                    </a:lnTo>
                    <a:lnTo>
                      <a:pt x="323" y="820"/>
                    </a:lnTo>
                    <a:lnTo>
                      <a:pt x="323" y="818"/>
                    </a:lnTo>
                    <a:lnTo>
                      <a:pt x="325" y="818"/>
                    </a:lnTo>
                    <a:lnTo>
                      <a:pt x="325" y="816"/>
                    </a:lnTo>
                    <a:lnTo>
                      <a:pt x="326" y="816"/>
                    </a:lnTo>
                    <a:lnTo>
                      <a:pt x="328" y="816"/>
                    </a:lnTo>
                    <a:lnTo>
                      <a:pt x="328" y="815"/>
                    </a:lnTo>
                    <a:lnTo>
                      <a:pt x="330" y="815"/>
                    </a:lnTo>
                    <a:lnTo>
                      <a:pt x="332" y="815"/>
                    </a:lnTo>
                    <a:lnTo>
                      <a:pt x="333" y="816"/>
                    </a:lnTo>
                    <a:lnTo>
                      <a:pt x="333" y="818"/>
                    </a:lnTo>
                    <a:lnTo>
                      <a:pt x="333" y="820"/>
                    </a:lnTo>
                    <a:lnTo>
                      <a:pt x="335" y="822"/>
                    </a:lnTo>
                    <a:lnTo>
                      <a:pt x="335" y="823"/>
                    </a:lnTo>
                    <a:lnTo>
                      <a:pt x="337" y="825"/>
                    </a:lnTo>
                    <a:lnTo>
                      <a:pt x="337" y="827"/>
                    </a:lnTo>
                    <a:lnTo>
                      <a:pt x="337" y="828"/>
                    </a:lnTo>
                    <a:lnTo>
                      <a:pt x="337" y="830"/>
                    </a:lnTo>
                    <a:lnTo>
                      <a:pt x="337" y="832"/>
                    </a:lnTo>
                    <a:lnTo>
                      <a:pt x="337" y="833"/>
                    </a:lnTo>
                    <a:lnTo>
                      <a:pt x="337" y="835"/>
                    </a:lnTo>
                    <a:lnTo>
                      <a:pt x="337" y="837"/>
                    </a:lnTo>
                    <a:lnTo>
                      <a:pt x="338" y="837"/>
                    </a:lnTo>
                    <a:lnTo>
                      <a:pt x="338" y="839"/>
                    </a:lnTo>
                    <a:lnTo>
                      <a:pt x="338" y="840"/>
                    </a:lnTo>
                    <a:lnTo>
                      <a:pt x="337" y="840"/>
                    </a:lnTo>
                    <a:lnTo>
                      <a:pt x="337" y="842"/>
                    </a:lnTo>
                    <a:lnTo>
                      <a:pt x="337" y="844"/>
                    </a:lnTo>
                    <a:lnTo>
                      <a:pt x="337" y="845"/>
                    </a:lnTo>
                    <a:lnTo>
                      <a:pt x="337" y="847"/>
                    </a:lnTo>
                    <a:lnTo>
                      <a:pt x="335" y="847"/>
                    </a:lnTo>
                    <a:lnTo>
                      <a:pt x="333" y="849"/>
                    </a:lnTo>
                    <a:lnTo>
                      <a:pt x="332" y="849"/>
                    </a:lnTo>
                    <a:lnTo>
                      <a:pt x="330" y="849"/>
                    </a:lnTo>
                    <a:lnTo>
                      <a:pt x="328" y="849"/>
                    </a:lnTo>
                    <a:lnTo>
                      <a:pt x="328" y="850"/>
                    </a:lnTo>
                    <a:lnTo>
                      <a:pt x="326" y="850"/>
                    </a:lnTo>
                    <a:lnTo>
                      <a:pt x="325" y="850"/>
                    </a:lnTo>
                    <a:lnTo>
                      <a:pt x="323" y="850"/>
                    </a:lnTo>
                    <a:lnTo>
                      <a:pt x="321" y="850"/>
                    </a:lnTo>
                    <a:lnTo>
                      <a:pt x="321" y="852"/>
                    </a:lnTo>
                    <a:lnTo>
                      <a:pt x="320" y="852"/>
                    </a:lnTo>
                    <a:lnTo>
                      <a:pt x="318" y="850"/>
                    </a:lnTo>
                    <a:lnTo>
                      <a:pt x="316" y="849"/>
                    </a:lnTo>
                    <a:lnTo>
                      <a:pt x="316" y="847"/>
                    </a:lnTo>
                    <a:lnTo>
                      <a:pt x="315" y="847"/>
                    </a:lnTo>
                    <a:lnTo>
                      <a:pt x="315" y="845"/>
                    </a:lnTo>
                    <a:lnTo>
                      <a:pt x="316" y="844"/>
                    </a:lnTo>
                    <a:lnTo>
                      <a:pt x="315" y="842"/>
                    </a:lnTo>
                    <a:lnTo>
                      <a:pt x="316" y="842"/>
                    </a:lnTo>
                    <a:lnTo>
                      <a:pt x="316" y="840"/>
                    </a:lnTo>
                    <a:lnTo>
                      <a:pt x="315" y="840"/>
                    </a:lnTo>
                    <a:lnTo>
                      <a:pt x="315" y="839"/>
                    </a:lnTo>
                    <a:lnTo>
                      <a:pt x="313" y="839"/>
                    </a:lnTo>
                    <a:lnTo>
                      <a:pt x="313" y="837"/>
                    </a:lnTo>
                    <a:lnTo>
                      <a:pt x="311" y="837"/>
                    </a:lnTo>
                    <a:lnTo>
                      <a:pt x="311" y="835"/>
                    </a:lnTo>
                    <a:lnTo>
                      <a:pt x="309" y="835"/>
                    </a:lnTo>
                    <a:lnTo>
                      <a:pt x="308" y="835"/>
                    </a:lnTo>
                    <a:lnTo>
                      <a:pt x="306" y="835"/>
                    </a:lnTo>
                    <a:lnTo>
                      <a:pt x="306" y="833"/>
                    </a:lnTo>
                    <a:lnTo>
                      <a:pt x="304" y="833"/>
                    </a:lnTo>
                    <a:lnTo>
                      <a:pt x="303" y="835"/>
                    </a:lnTo>
                    <a:lnTo>
                      <a:pt x="301" y="835"/>
                    </a:lnTo>
                    <a:lnTo>
                      <a:pt x="299" y="835"/>
                    </a:lnTo>
                    <a:lnTo>
                      <a:pt x="299" y="837"/>
                    </a:lnTo>
                    <a:lnTo>
                      <a:pt x="298" y="837"/>
                    </a:lnTo>
                    <a:lnTo>
                      <a:pt x="298" y="839"/>
                    </a:lnTo>
                    <a:lnTo>
                      <a:pt x="296" y="839"/>
                    </a:lnTo>
                    <a:lnTo>
                      <a:pt x="296" y="840"/>
                    </a:lnTo>
                    <a:lnTo>
                      <a:pt x="294" y="840"/>
                    </a:lnTo>
                    <a:lnTo>
                      <a:pt x="292" y="840"/>
                    </a:lnTo>
                    <a:lnTo>
                      <a:pt x="291" y="840"/>
                    </a:lnTo>
                    <a:lnTo>
                      <a:pt x="291" y="842"/>
                    </a:lnTo>
                    <a:lnTo>
                      <a:pt x="291" y="844"/>
                    </a:lnTo>
                    <a:lnTo>
                      <a:pt x="289" y="844"/>
                    </a:lnTo>
                    <a:lnTo>
                      <a:pt x="289" y="845"/>
                    </a:lnTo>
                    <a:lnTo>
                      <a:pt x="289" y="847"/>
                    </a:lnTo>
                    <a:lnTo>
                      <a:pt x="291" y="847"/>
                    </a:lnTo>
                    <a:lnTo>
                      <a:pt x="291" y="849"/>
                    </a:lnTo>
                    <a:lnTo>
                      <a:pt x="291" y="847"/>
                    </a:lnTo>
                    <a:lnTo>
                      <a:pt x="292" y="847"/>
                    </a:lnTo>
                    <a:lnTo>
                      <a:pt x="292" y="849"/>
                    </a:lnTo>
                    <a:lnTo>
                      <a:pt x="294" y="849"/>
                    </a:lnTo>
                    <a:lnTo>
                      <a:pt x="294" y="850"/>
                    </a:lnTo>
                    <a:lnTo>
                      <a:pt x="296" y="850"/>
                    </a:lnTo>
                    <a:lnTo>
                      <a:pt x="298" y="850"/>
                    </a:lnTo>
                    <a:lnTo>
                      <a:pt x="299" y="852"/>
                    </a:lnTo>
                    <a:lnTo>
                      <a:pt x="301" y="852"/>
                    </a:lnTo>
                    <a:lnTo>
                      <a:pt x="301" y="854"/>
                    </a:lnTo>
                    <a:lnTo>
                      <a:pt x="303" y="854"/>
                    </a:lnTo>
                    <a:lnTo>
                      <a:pt x="304" y="854"/>
                    </a:lnTo>
                    <a:lnTo>
                      <a:pt x="306" y="854"/>
                    </a:lnTo>
                    <a:lnTo>
                      <a:pt x="306" y="856"/>
                    </a:lnTo>
                    <a:lnTo>
                      <a:pt x="308" y="856"/>
                    </a:lnTo>
                    <a:lnTo>
                      <a:pt x="309" y="856"/>
                    </a:lnTo>
                    <a:lnTo>
                      <a:pt x="311" y="856"/>
                    </a:lnTo>
                    <a:lnTo>
                      <a:pt x="313" y="854"/>
                    </a:lnTo>
                    <a:lnTo>
                      <a:pt x="313" y="856"/>
                    </a:lnTo>
                    <a:lnTo>
                      <a:pt x="313" y="857"/>
                    </a:lnTo>
                    <a:lnTo>
                      <a:pt x="311" y="857"/>
                    </a:lnTo>
                    <a:lnTo>
                      <a:pt x="311" y="859"/>
                    </a:lnTo>
                    <a:lnTo>
                      <a:pt x="309" y="859"/>
                    </a:lnTo>
                    <a:lnTo>
                      <a:pt x="309" y="861"/>
                    </a:lnTo>
                    <a:lnTo>
                      <a:pt x="308" y="861"/>
                    </a:lnTo>
                    <a:lnTo>
                      <a:pt x="306" y="861"/>
                    </a:lnTo>
                    <a:lnTo>
                      <a:pt x="304" y="862"/>
                    </a:lnTo>
                    <a:lnTo>
                      <a:pt x="303" y="862"/>
                    </a:lnTo>
                    <a:lnTo>
                      <a:pt x="301" y="864"/>
                    </a:lnTo>
                    <a:lnTo>
                      <a:pt x="298" y="864"/>
                    </a:lnTo>
                    <a:lnTo>
                      <a:pt x="294" y="866"/>
                    </a:lnTo>
                    <a:lnTo>
                      <a:pt x="294" y="867"/>
                    </a:lnTo>
                    <a:lnTo>
                      <a:pt x="291" y="869"/>
                    </a:lnTo>
                    <a:lnTo>
                      <a:pt x="289" y="871"/>
                    </a:lnTo>
                    <a:lnTo>
                      <a:pt x="289" y="873"/>
                    </a:lnTo>
                    <a:lnTo>
                      <a:pt x="287" y="874"/>
                    </a:lnTo>
                    <a:lnTo>
                      <a:pt x="289" y="874"/>
                    </a:lnTo>
                    <a:lnTo>
                      <a:pt x="289" y="876"/>
                    </a:lnTo>
                    <a:lnTo>
                      <a:pt x="287" y="876"/>
                    </a:lnTo>
                    <a:lnTo>
                      <a:pt x="287" y="878"/>
                    </a:lnTo>
                    <a:lnTo>
                      <a:pt x="286" y="878"/>
                    </a:lnTo>
                    <a:lnTo>
                      <a:pt x="286" y="879"/>
                    </a:lnTo>
                    <a:lnTo>
                      <a:pt x="284" y="879"/>
                    </a:lnTo>
                    <a:lnTo>
                      <a:pt x="284" y="881"/>
                    </a:lnTo>
                    <a:lnTo>
                      <a:pt x="284" y="883"/>
                    </a:lnTo>
                    <a:lnTo>
                      <a:pt x="282" y="883"/>
                    </a:lnTo>
                    <a:lnTo>
                      <a:pt x="282" y="884"/>
                    </a:lnTo>
                    <a:lnTo>
                      <a:pt x="281" y="884"/>
                    </a:lnTo>
                    <a:lnTo>
                      <a:pt x="281" y="886"/>
                    </a:lnTo>
                    <a:lnTo>
                      <a:pt x="279" y="886"/>
                    </a:lnTo>
                    <a:lnTo>
                      <a:pt x="279" y="888"/>
                    </a:lnTo>
                    <a:lnTo>
                      <a:pt x="279" y="890"/>
                    </a:lnTo>
                    <a:lnTo>
                      <a:pt x="279" y="891"/>
                    </a:lnTo>
                    <a:lnTo>
                      <a:pt x="279" y="893"/>
                    </a:lnTo>
                    <a:lnTo>
                      <a:pt x="279" y="895"/>
                    </a:lnTo>
                    <a:lnTo>
                      <a:pt x="279" y="896"/>
                    </a:lnTo>
                    <a:lnTo>
                      <a:pt x="279" y="898"/>
                    </a:lnTo>
                    <a:lnTo>
                      <a:pt x="279" y="900"/>
                    </a:lnTo>
                    <a:lnTo>
                      <a:pt x="281" y="900"/>
                    </a:lnTo>
                    <a:lnTo>
                      <a:pt x="281" y="901"/>
                    </a:lnTo>
                    <a:lnTo>
                      <a:pt x="281" y="903"/>
                    </a:lnTo>
                    <a:lnTo>
                      <a:pt x="282" y="903"/>
                    </a:lnTo>
                    <a:lnTo>
                      <a:pt x="281" y="903"/>
                    </a:lnTo>
                    <a:lnTo>
                      <a:pt x="282" y="905"/>
                    </a:lnTo>
                    <a:lnTo>
                      <a:pt x="282" y="907"/>
                    </a:lnTo>
                    <a:lnTo>
                      <a:pt x="284" y="905"/>
                    </a:lnTo>
                    <a:lnTo>
                      <a:pt x="282" y="907"/>
                    </a:lnTo>
                    <a:lnTo>
                      <a:pt x="282" y="908"/>
                    </a:lnTo>
                    <a:lnTo>
                      <a:pt x="282" y="910"/>
                    </a:lnTo>
                    <a:lnTo>
                      <a:pt x="282" y="912"/>
                    </a:lnTo>
                    <a:lnTo>
                      <a:pt x="281" y="910"/>
                    </a:lnTo>
                    <a:lnTo>
                      <a:pt x="281" y="912"/>
                    </a:lnTo>
                    <a:lnTo>
                      <a:pt x="279" y="912"/>
                    </a:lnTo>
                    <a:lnTo>
                      <a:pt x="279" y="913"/>
                    </a:lnTo>
                    <a:lnTo>
                      <a:pt x="279" y="915"/>
                    </a:lnTo>
                    <a:lnTo>
                      <a:pt x="281" y="915"/>
                    </a:lnTo>
                    <a:lnTo>
                      <a:pt x="281" y="917"/>
                    </a:lnTo>
                    <a:lnTo>
                      <a:pt x="281" y="918"/>
                    </a:lnTo>
                    <a:lnTo>
                      <a:pt x="282" y="918"/>
                    </a:lnTo>
                    <a:lnTo>
                      <a:pt x="281" y="920"/>
                    </a:lnTo>
                    <a:lnTo>
                      <a:pt x="282" y="920"/>
                    </a:lnTo>
                    <a:lnTo>
                      <a:pt x="282" y="922"/>
                    </a:lnTo>
                    <a:lnTo>
                      <a:pt x="281" y="922"/>
                    </a:lnTo>
                    <a:lnTo>
                      <a:pt x="281" y="924"/>
                    </a:lnTo>
                    <a:lnTo>
                      <a:pt x="279" y="924"/>
                    </a:lnTo>
                    <a:lnTo>
                      <a:pt x="279" y="925"/>
                    </a:lnTo>
                    <a:lnTo>
                      <a:pt x="279" y="927"/>
                    </a:lnTo>
                    <a:lnTo>
                      <a:pt x="281" y="927"/>
                    </a:lnTo>
                    <a:lnTo>
                      <a:pt x="281" y="929"/>
                    </a:lnTo>
                    <a:lnTo>
                      <a:pt x="279" y="929"/>
                    </a:lnTo>
                    <a:lnTo>
                      <a:pt x="277" y="929"/>
                    </a:lnTo>
                    <a:lnTo>
                      <a:pt x="277" y="930"/>
                    </a:lnTo>
                    <a:lnTo>
                      <a:pt x="277" y="932"/>
                    </a:lnTo>
                    <a:lnTo>
                      <a:pt x="277" y="930"/>
                    </a:lnTo>
                    <a:lnTo>
                      <a:pt x="277" y="932"/>
                    </a:lnTo>
                    <a:lnTo>
                      <a:pt x="275" y="930"/>
                    </a:lnTo>
                    <a:lnTo>
                      <a:pt x="274" y="930"/>
                    </a:lnTo>
                    <a:lnTo>
                      <a:pt x="274" y="932"/>
                    </a:lnTo>
                    <a:lnTo>
                      <a:pt x="272" y="932"/>
                    </a:lnTo>
                    <a:lnTo>
                      <a:pt x="272" y="934"/>
                    </a:lnTo>
                    <a:lnTo>
                      <a:pt x="270" y="934"/>
                    </a:lnTo>
                    <a:lnTo>
                      <a:pt x="269" y="935"/>
                    </a:lnTo>
                    <a:lnTo>
                      <a:pt x="267" y="937"/>
                    </a:lnTo>
                    <a:lnTo>
                      <a:pt x="267" y="939"/>
                    </a:lnTo>
                    <a:lnTo>
                      <a:pt x="267" y="941"/>
                    </a:lnTo>
                    <a:lnTo>
                      <a:pt x="267" y="942"/>
                    </a:lnTo>
                    <a:lnTo>
                      <a:pt x="265" y="942"/>
                    </a:lnTo>
                    <a:lnTo>
                      <a:pt x="265" y="944"/>
                    </a:lnTo>
                    <a:lnTo>
                      <a:pt x="265" y="946"/>
                    </a:lnTo>
                    <a:lnTo>
                      <a:pt x="267" y="946"/>
                    </a:lnTo>
                    <a:lnTo>
                      <a:pt x="269" y="946"/>
                    </a:lnTo>
                    <a:lnTo>
                      <a:pt x="270" y="947"/>
                    </a:lnTo>
                    <a:lnTo>
                      <a:pt x="270" y="946"/>
                    </a:lnTo>
                    <a:lnTo>
                      <a:pt x="270" y="947"/>
                    </a:lnTo>
                    <a:lnTo>
                      <a:pt x="272" y="947"/>
                    </a:lnTo>
                    <a:lnTo>
                      <a:pt x="272" y="949"/>
                    </a:lnTo>
                    <a:lnTo>
                      <a:pt x="270" y="949"/>
                    </a:lnTo>
                    <a:lnTo>
                      <a:pt x="270" y="951"/>
                    </a:lnTo>
                    <a:lnTo>
                      <a:pt x="269" y="951"/>
                    </a:lnTo>
                    <a:lnTo>
                      <a:pt x="269" y="952"/>
                    </a:lnTo>
                    <a:lnTo>
                      <a:pt x="270" y="952"/>
                    </a:lnTo>
                    <a:lnTo>
                      <a:pt x="269" y="952"/>
                    </a:lnTo>
                    <a:lnTo>
                      <a:pt x="269" y="954"/>
                    </a:lnTo>
                    <a:lnTo>
                      <a:pt x="269" y="952"/>
                    </a:lnTo>
                    <a:lnTo>
                      <a:pt x="267" y="952"/>
                    </a:lnTo>
                    <a:lnTo>
                      <a:pt x="267" y="954"/>
                    </a:lnTo>
                    <a:lnTo>
                      <a:pt x="265" y="952"/>
                    </a:lnTo>
                    <a:lnTo>
                      <a:pt x="264" y="952"/>
                    </a:lnTo>
                    <a:lnTo>
                      <a:pt x="262" y="952"/>
                    </a:lnTo>
                    <a:lnTo>
                      <a:pt x="264" y="952"/>
                    </a:lnTo>
                    <a:lnTo>
                      <a:pt x="262" y="952"/>
                    </a:lnTo>
                    <a:lnTo>
                      <a:pt x="262" y="951"/>
                    </a:lnTo>
                    <a:lnTo>
                      <a:pt x="260" y="951"/>
                    </a:lnTo>
                    <a:lnTo>
                      <a:pt x="260" y="952"/>
                    </a:lnTo>
                    <a:lnTo>
                      <a:pt x="258" y="952"/>
                    </a:lnTo>
                    <a:lnTo>
                      <a:pt x="258" y="954"/>
                    </a:lnTo>
                    <a:lnTo>
                      <a:pt x="257" y="954"/>
                    </a:lnTo>
                    <a:lnTo>
                      <a:pt x="257" y="952"/>
                    </a:lnTo>
                    <a:lnTo>
                      <a:pt x="255" y="951"/>
                    </a:lnTo>
                    <a:lnTo>
                      <a:pt x="253" y="951"/>
                    </a:lnTo>
                    <a:lnTo>
                      <a:pt x="252" y="951"/>
                    </a:lnTo>
                    <a:lnTo>
                      <a:pt x="250" y="951"/>
                    </a:lnTo>
                    <a:lnTo>
                      <a:pt x="248" y="952"/>
                    </a:lnTo>
                    <a:lnTo>
                      <a:pt x="247" y="954"/>
                    </a:lnTo>
                    <a:lnTo>
                      <a:pt x="245" y="954"/>
                    </a:lnTo>
                    <a:lnTo>
                      <a:pt x="245" y="952"/>
                    </a:lnTo>
                    <a:lnTo>
                      <a:pt x="243" y="954"/>
                    </a:lnTo>
                    <a:lnTo>
                      <a:pt x="245" y="954"/>
                    </a:lnTo>
                    <a:lnTo>
                      <a:pt x="243" y="954"/>
                    </a:lnTo>
                    <a:lnTo>
                      <a:pt x="241" y="954"/>
                    </a:lnTo>
                    <a:lnTo>
                      <a:pt x="240" y="954"/>
                    </a:lnTo>
                    <a:lnTo>
                      <a:pt x="240" y="956"/>
                    </a:lnTo>
                    <a:lnTo>
                      <a:pt x="238" y="958"/>
                    </a:lnTo>
                    <a:lnTo>
                      <a:pt x="238" y="959"/>
                    </a:lnTo>
                    <a:lnTo>
                      <a:pt x="240" y="958"/>
                    </a:lnTo>
                    <a:lnTo>
                      <a:pt x="240" y="959"/>
                    </a:lnTo>
                    <a:lnTo>
                      <a:pt x="238" y="959"/>
                    </a:lnTo>
                    <a:lnTo>
                      <a:pt x="238" y="958"/>
                    </a:lnTo>
                    <a:lnTo>
                      <a:pt x="236" y="958"/>
                    </a:lnTo>
                    <a:lnTo>
                      <a:pt x="236" y="959"/>
                    </a:lnTo>
                    <a:lnTo>
                      <a:pt x="238" y="959"/>
                    </a:lnTo>
                    <a:lnTo>
                      <a:pt x="238" y="961"/>
                    </a:lnTo>
                    <a:lnTo>
                      <a:pt x="238" y="963"/>
                    </a:lnTo>
                    <a:lnTo>
                      <a:pt x="238" y="961"/>
                    </a:lnTo>
                    <a:lnTo>
                      <a:pt x="236" y="961"/>
                    </a:lnTo>
                    <a:lnTo>
                      <a:pt x="235" y="961"/>
                    </a:lnTo>
                    <a:lnTo>
                      <a:pt x="233" y="961"/>
                    </a:lnTo>
                    <a:lnTo>
                      <a:pt x="233" y="963"/>
                    </a:lnTo>
                    <a:lnTo>
                      <a:pt x="231" y="963"/>
                    </a:lnTo>
                    <a:lnTo>
                      <a:pt x="230" y="963"/>
                    </a:lnTo>
                    <a:lnTo>
                      <a:pt x="228" y="963"/>
                    </a:lnTo>
                    <a:lnTo>
                      <a:pt x="226" y="963"/>
                    </a:lnTo>
                    <a:lnTo>
                      <a:pt x="224" y="964"/>
                    </a:lnTo>
                    <a:lnTo>
                      <a:pt x="223" y="966"/>
                    </a:lnTo>
                    <a:lnTo>
                      <a:pt x="221" y="966"/>
                    </a:lnTo>
                    <a:lnTo>
                      <a:pt x="221" y="968"/>
                    </a:lnTo>
                    <a:lnTo>
                      <a:pt x="219" y="969"/>
                    </a:lnTo>
                    <a:lnTo>
                      <a:pt x="218" y="971"/>
                    </a:lnTo>
                    <a:lnTo>
                      <a:pt x="218" y="973"/>
                    </a:lnTo>
                    <a:lnTo>
                      <a:pt x="216" y="975"/>
                    </a:lnTo>
                    <a:lnTo>
                      <a:pt x="214" y="976"/>
                    </a:lnTo>
                    <a:lnTo>
                      <a:pt x="214" y="978"/>
                    </a:lnTo>
                    <a:lnTo>
                      <a:pt x="213" y="978"/>
                    </a:lnTo>
                    <a:lnTo>
                      <a:pt x="213" y="980"/>
                    </a:lnTo>
                    <a:lnTo>
                      <a:pt x="211" y="980"/>
                    </a:lnTo>
                    <a:lnTo>
                      <a:pt x="211" y="981"/>
                    </a:lnTo>
                    <a:lnTo>
                      <a:pt x="211" y="983"/>
                    </a:lnTo>
                    <a:lnTo>
                      <a:pt x="211" y="985"/>
                    </a:lnTo>
                    <a:lnTo>
                      <a:pt x="211" y="987"/>
                    </a:lnTo>
                    <a:lnTo>
                      <a:pt x="209" y="987"/>
                    </a:lnTo>
                    <a:lnTo>
                      <a:pt x="211" y="988"/>
                    </a:lnTo>
                    <a:lnTo>
                      <a:pt x="209" y="988"/>
                    </a:lnTo>
                    <a:lnTo>
                      <a:pt x="211" y="990"/>
                    </a:lnTo>
                    <a:lnTo>
                      <a:pt x="209" y="990"/>
                    </a:lnTo>
                    <a:lnTo>
                      <a:pt x="207" y="990"/>
                    </a:lnTo>
                    <a:lnTo>
                      <a:pt x="207" y="992"/>
                    </a:lnTo>
                    <a:lnTo>
                      <a:pt x="206" y="992"/>
                    </a:lnTo>
                    <a:lnTo>
                      <a:pt x="207" y="993"/>
                    </a:lnTo>
                    <a:lnTo>
                      <a:pt x="206" y="993"/>
                    </a:lnTo>
                    <a:lnTo>
                      <a:pt x="206" y="995"/>
                    </a:lnTo>
                    <a:lnTo>
                      <a:pt x="204" y="995"/>
                    </a:lnTo>
                    <a:lnTo>
                      <a:pt x="204" y="997"/>
                    </a:lnTo>
                    <a:lnTo>
                      <a:pt x="204" y="998"/>
                    </a:lnTo>
                    <a:lnTo>
                      <a:pt x="202" y="998"/>
                    </a:lnTo>
                    <a:lnTo>
                      <a:pt x="202" y="1000"/>
                    </a:lnTo>
                    <a:lnTo>
                      <a:pt x="202" y="1002"/>
                    </a:lnTo>
                    <a:lnTo>
                      <a:pt x="201" y="1002"/>
                    </a:lnTo>
                    <a:lnTo>
                      <a:pt x="202" y="1002"/>
                    </a:lnTo>
                    <a:lnTo>
                      <a:pt x="201" y="1004"/>
                    </a:lnTo>
                    <a:lnTo>
                      <a:pt x="201" y="1005"/>
                    </a:lnTo>
                    <a:lnTo>
                      <a:pt x="201" y="1007"/>
                    </a:lnTo>
                    <a:lnTo>
                      <a:pt x="202" y="1009"/>
                    </a:lnTo>
                    <a:lnTo>
                      <a:pt x="202" y="1012"/>
                    </a:lnTo>
                    <a:lnTo>
                      <a:pt x="202" y="1014"/>
                    </a:lnTo>
                    <a:lnTo>
                      <a:pt x="202" y="1015"/>
                    </a:lnTo>
                    <a:lnTo>
                      <a:pt x="204" y="1017"/>
                    </a:lnTo>
                    <a:lnTo>
                      <a:pt x="204" y="1019"/>
                    </a:lnTo>
                    <a:lnTo>
                      <a:pt x="206" y="1021"/>
                    </a:lnTo>
                    <a:lnTo>
                      <a:pt x="206" y="1022"/>
                    </a:lnTo>
                    <a:lnTo>
                      <a:pt x="206" y="1024"/>
                    </a:lnTo>
                    <a:lnTo>
                      <a:pt x="207" y="1024"/>
                    </a:lnTo>
                    <a:lnTo>
                      <a:pt x="207" y="1027"/>
                    </a:lnTo>
                    <a:lnTo>
                      <a:pt x="209" y="1027"/>
                    </a:lnTo>
                    <a:lnTo>
                      <a:pt x="209" y="1029"/>
                    </a:lnTo>
                    <a:lnTo>
                      <a:pt x="211" y="1029"/>
                    </a:lnTo>
                    <a:lnTo>
                      <a:pt x="211" y="1031"/>
                    </a:lnTo>
                    <a:lnTo>
                      <a:pt x="213" y="1031"/>
                    </a:lnTo>
                    <a:lnTo>
                      <a:pt x="214" y="1031"/>
                    </a:lnTo>
                    <a:lnTo>
                      <a:pt x="214" y="1032"/>
                    </a:lnTo>
                    <a:lnTo>
                      <a:pt x="216" y="1032"/>
                    </a:lnTo>
                    <a:lnTo>
                      <a:pt x="218" y="1034"/>
                    </a:lnTo>
                    <a:lnTo>
                      <a:pt x="219" y="1036"/>
                    </a:lnTo>
                    <a:lnTo>
                      <a:pt x="219" y="1038"/>
                    </a:lnTo>
                    <a:lnTo>
                      <a:pt x="221" y="1038"/>
                    </a:lnTo>
                    <a:lnTo>
                      <a:pt x="221" y="1039"/>
                    </a:lnTo>
                    <a:lnTo>
                      <a:pt x="223" y="1041"/>
                    </a:lnTo>
                    <a:lnTo>
                      <a:pt x="224" y="1043"/>
                    </a:lnTo>
                    <a:lnTo>
                      <a:pt x="226" y="1044"/>
                    </a:lnTo>
                    <a:lnTo>
                      <a:pt x="228" y="1046"/>
                    </a:lnTo>
                    <a:lnTo>
                      <a:pt x="228" y="1048"/>
                    </a:lnTo>
                    <a:lnTo>
                      <a:pt x="230" y="1048"/>
                    </a:lnTo>
                    <a:lnTo>
                      <a:pt x="230" y="1049"/>
                    </a:lnTo>
                    <a:lnTo>
                      <a:pt x="231" y="1049"/>
                    </a:lnTo>
                    <a:lnTo>
                      <a:pt x="233" y="1049"/>
                    </a:lnTo>
                    <a:lnTo>
                      <a:pt x="235" y="1051"/>
                    </a:lnTo>
                    <a:lnTo>
                      <a:pt x="236" y="1051"/>
                    </a:lnTo>
                    <a:lnTo>
                      <a:pt x="238" y="1051"/>
                    </a:lnTo>
                    <a:lnTo>
                      <a:pt x="240" y="1051"/>
                    </a:lnTo>
                    <a:lnTo>
                      <a:pt x="241" y="1051"/>
                    </a:lnTo>
                    <a:lnTo>
                      <a:pt x="243" y="1051"/>
                    </a:lnTo>
                    <a:lnTo>
                      <a:pt x="245" y="1051"/>
                    </a:lnTo>
                    <a:lnTo>
                      <a:pt x="245" y="1053"/>
                    </a:lnTo>
                    <a:lnTo>
                      <a:pt x="247" y="1053"/>
                    </a:lnTo>
                    <a:lnTo>
                      <a:pt x="248" y="1053"/>
                    </a:lnTo>
                    <a:lnTo>
                      <a:pt x="250" y="1053"/>
                    </a:lnTo>
                    <a:lnTo>
                      <a:pt x="252" y="1053"/>
                    </a:lnTo>
                    <a:lnTo>
                      <a:pt x="253" y="1053"/>
                    </a:lnTo>
                    <a:lnTo>
                      <a:pt x="255" y="1053"/>
                    </a:lnTo>
                    <a:lnTo>
                      <a:pt x="257" y="1053"/>
                    </a:lnTo>
                    <a:lnTo>
                      <a:pt x="258" y="1053"/>
                    </a:lnTo>
                    <a:lnTo>
                      <a:pt x="260" y="1053"/>
                    </a:lnTo>
                    <a:lnTo>
                      <a:pt x="262" y="1055"/>
                    </a:lnTo>
                    <a:lnTo>
                      <a:pt x="262" y="1056"/>
                    </a:lnTo>
                    <a:lnTo>
                      <a:pt x="264" y="1056"/>
                    </a:lnTo>
                    <a:lnTo>
                      <a:pt x="265" y="1058"/>
                    </a:lnTo>
                    <a:lnTo>
                      <a:pt x="265" y="1060"/>
                    </a:lnTo>
                    <a:lnTo>
                      <a:pt x="265" y="1061"/>
                    </a:lnTo>
                    <a:lnTo>
                      <a:pt x="265" y="1063"/>
                    </a:lnTo>
                    <a:lnTo>
                      <a:pt x="265" y="1065"/>
                    </a:lnTo>
                    <a:lnTo>
                      <a:pt x="265" y="1066"/>
                    </a:lnTo>
                    <a:lnTo>
                      <a:pt x="265" y="1068"/>
                    </a:lnTo>
                    <a:lnTo>
                      <a:pt x="265" y="1070"/>
                    </a:lnTo>
                    <a:lnTo>
                      <a:pt x="265" y="1072"/>
                    </a:lnTo>
                    <a:lnTo>
                      <a:pt x="265" y="1073"/>
                    </a:lnTo>
                    <a:lnTo>
                      <a:pt x="265" y="1075"/>
                    </a:lnTo>
                    <a:lnTo>
                      <a:pt x="265" y="1077"/>
                    </a:lnTo>
                    <a:lnTo>
                      <a:pt x="264" y="1077"/>
                    </a:lnTo>
                    <a:lnTo>
                      <a:pt x="264" y="1078"/>
                    </a:lnTo>
                    <a:lnTo>
                      <a:pt x="264" y="1080"/>
                    </a:lnTo>
                    <a:lnTo>
                      <a:pt x="262" y="1082"/>
                    </a:lnTo>
                    <a:lnTo>
                      <a:pt x="262" y="1083"/>
                    </a:lnTo>
                    <a:lnTo>
                      <a:pt x="262" y="1085"/>
                    </a:lnTo>
                    <a:lnTo>
                      <a:pt x="260" y="1087"/>
                    </a:lnTo>
                    <a:lnTo>
                      <a:pt x="260" y="1089"/>
                    </a:lnTo>
                    <a:lnTo>
                      <a:pt x="260" y="1090"/>
                    </a:lnTo>
                    <a:lnTo>
                      <a:pt x="260" y="1092"/>
                    </a:lnTo>
                    <a:lnTo>
                      <a:pt x="262" y="1092"/>
                    </a:lnTo>
                    <a:lnTo>
                      <a:pt x="262" y="1094"/>
                    </a:lnTo>
                    <a:lnTo>
                      <a:pt x="264" y="1094"/>
                    </a:lnTo>
                    <a:lnTo>
                      <a:pt x="264" y="1095"/>
                    </a:lnTo>
                    <a:lnTo>
                      <a:pt x="262" y="1097"/>
                    </a:lnTo>
                    <a:lnTo>
                      <a:pt x="262" y="1095"/>
                    </a:lnTo>
                    <a:lnTo>
                      <a:pt x="260" y="1095"/>
                    </a:lnTo>
                    <a:lnTo>
                      <a:pt x="258" y="1095"/>
                    </a:lnTo>
                    <a:lnTo>
                      <a:pt x="258" y="1097"/>
                    </a:lnTo>
                    <a:lnTo>
                      <a:pt x="258" y="1099"/>
                    </a:lnTo>
                    <a:lnTo>
                      <a:pt x="258" y="1100"/>
                    </a:lnTo>
                    <a:lnTo>
                      <a:pt x="257" y="1100"/>
                    </a:lnTo>
                    <a:lnTo>
                      <a:pt x="257" y="1102"/>
                    </a:lnTo>
                    <a:lnTo>
                      <a:pt x="258" y="1102"/>
                    </a:lnTo>
                    <a:lnTo>
                      <a:pt x="260" y="1102"/>
                    </a:lnTo>
                    <a:lnTo>
                      <a:pt x="260" y="1104"/>
                    </a:lnTo>
                    <a:lnTo>
                      <a:pt x="258" y="1104"/>
                    </a:lnTo>
                    <a:lnTo>
                      <a:pt x="260" y="1104"/>
                    </a:lnTo>
                    <a:lnTo>
                      <a:pt x="258" y="1104"/>
                    </a:lnTo>
                    <a:lnTo>
                      <a:pt x="257" y="1104"/>
                    </a:lnTo>
                    <a:lnTo>
                      <a:pt x="255" y="1104"/>
                    </a:lnTo>
                    <a:lnTo>
                      <a:pt x="253" y="1104"/>
                    </a:lnTo>
                    <a:lnTo>
                      <a:pt x="252" y="1104"/>
                    </a:lnTo>
                    <a:lnTo>
                      <a:pt x="252" y="1106"/>
                    </a:lnTo>
                    <a:lnTo>
                      <a:pt x="252" y="1107"/>
                    </a:lnTo>
                    <a:lnTo>
                      <a:pt x="250" y="1107"/>
                    </a:lnTo>
                    <a:lnTo>
                      <a:pt x="252" y="1109"/>
                    </a:lnTo>
                    <a:lnTo>
                      <a:pt x="250" y="1109"/>
                    </a:lnTo>
                    <a:lnTo>
                      <a:pt x="248" y="1109"/>
                    </a:lnTo>
                    <a:lnTo>
                      <a:pt x="247" y="1111"/>
                    </a:lnTo>
                    <a:lnTo>
                      <a:pt x="247" y="1112"/>
                    </a:lnTo>
                    <a:lnTo>
                      <a:pt x="245" y="1112"/>
                    </a:lnTo>
                    <a:lnTo>
                      <a:pt x="245" y="1114"/>
                    </a:lnTo>
                    <a:lnTo>
                      <a:pt x="245" y="1116"/>
                    </a:lnTo>
                    <a:lnTo>
                      <a:pt x="245" y="1117"/>
                    </a:lnTo>
                    <a:lnTo>
                      <a:pt x="245" y="1116"/>
                    </a:lnTo>
                    <a:lnTo>
                      <a:pt x="245" y="1117"/>
                    </a:lnTo>
                    <a:lnTo>
                      <a:pt x="243" y="1116"/>
                    </a:lnTo>
                    <a:lnTo>
                      <a:pt x="241" y="1116"/>
                    </a:lnTo>
                    <a:lnTo>
                      <a:pt x="240" y="1117"/>
                    </a:lnTo>
                    <a:lnTo>
                      <a:pt x="240" y="1119"/>
                    </a:lnTo>
                    <a:lnTo>
                      <a:pt x="238" y="1119"/>
                    </a:lnTo>
                    <a:lnTo>
                      <a:pt x="238" y="1121"/>
                    </a:lnTo>
                    <a:lnTo>
                      <a:pt x="238" y="1119"/>
                    </a:lnTo>
                    <a:lnTo>
                      <a:pt x="236" y="1119"/>
                    </a:lnTo>
                    <a:lnTo>
                      <a:pt x="235" y="1121"/>
                    </a:lnTo>
                    <a:lnTo>
                      <a:pt x="233" y="1121"/>
                    </a:lnTo>
                    <a:lnTo>
                      <a:pt x="231" y="1123"/>
                    </a:lnTo>
                    <a:lnTo>
                      <a:pt x="230" y="1124"/>
                    </a:lnTo>
                    <a:lnTo>
                      <a:pt x="228" y="1124"/>
                    </a:lnTo>
                    <a:lnTo>
                      <a:pt x="228" y="1126"/>
                    </a:lnTo>
                    <a:lnTo>
                      <a:pt x="226" y="1128"/>
                    </a:lnTo>
                    <a:lnTo>
                      <a:pt x="226" y="1129"/>
                    </a:lnTo>
                    <a:lnTo>
                      <a:pt x="224" y="1129"/>
                    </a:lnTo>
                    <a:lnTo>
                      <a:pt x="223" y="1129"/>
                    </a:lnTo>
                    <a:lnTo>
                      <a:pt x="221" y="1131"/>
                    </a:lnTo>
                    <a:lnTo>
                      <a:pt x="219" y="1133"/>
                    </a:lnTo>
                    <a:lnTo>
                      <a:pt x="218" y="1133"/>
                    </a:lnTo>
                    <a:lnTo>
                      <a:pt x="218" y="1135"/>
                    </a:lnTo>
                    <a:lnTo>
                      <a:pt x="218" y="1136"/>
                    </a:lnTo>
                    <a:lnTo>
                      <a:pt x="218" y="1138"/>
                    </a:lnTo>
                    <a:lnTo>
                      <a:pt x="216" y="1138"/>
                    </a:lnTo>
                    <a:lnTo>
                      <a:pt x="216" y="1140"/>
                    </a:lnTo>
                    <a:lnTo>
                      <a:pt x="216" y="1141"/>
                    </a:lnTo>
                    <a:lnTo>
                      <a:pt x="214" y="1141"/>
                    </a:lnTo>
                    <a:lnTo>
                      <a:pt x="213" y="1143"/>
                    </a:lnTo>
                    <a:lnTo>
                      <a:pt x="211" y="1143"/>
                    </a:lnTo>
                    <a:lnTo>
                      <a:pt x="209" y="1145"/>
                    </a:lnTo>
                    <a:lnTo>
                      <a:pt x="206" y="1146"/>
                    </a:lnTo>
                    <a:lnTo>
                      <a:pt x="206" y="1148"/>
                    </a:lnTo>
                    <a:lnTo>
                      <a:pt x="204" y="1150"/>
                    </a:lnTo>
                    <a:lnTo>
                      <a:pt x="204" y="1152"/>
                    </a:lnTo>
                    <a:lnTo>
                      <a:pt x="202" y="1152"/>
                    </a:lnTo>
                    <a:lnTo>
                      <a:pt x="202" y="1155"/>
                    </a:lnTo>
                    <a:lnTo>
                      <a:pt x="201" y="1157"/>
                    </a:lnTo>
                    <a:lnTo>
                      <a:pt x="202" y="1158"/>
                    </a:lnTo>
                    <a:lnTo>
                      <a:pt x="201" y="1160"/>
                    </a:lnTo>
                    <a:lnTo>
                      <a:pt x="199" y="1162"/>
                    </a:lnTo>
                    <a:lnTo>
                      <a:pt x="201" y="1162"/>
                    </a:lnTo>
                    <a:lnTo>
                      <a:pt x="199" y="1162"/>
                    </a:lnTo>
                    <a:lnTo>
                      <a:pt x="201" y="1163"/>
                    </a:lnTo>
                    <a:lnTo>
                      <a:pt x="202" y="1162"/>
                    </a:lnTo>
                    <a:lnTo>
                      <a:pt x="202" y="1163"/>
                    </a:lnTo>
                    <a:lnTo>
                      <a:pt x="202" y="1165"/>
                    </a:lnTo>
                    <a:lnTo>
                      <a:pt x="202" y="1167"/>
                    </a:lnTo>
                    <a:lnTo>
                      <a:pt x="201" y="1167"/>
                    </a:lnTo>
                    <a:lnTo>
                      <a:pt x="201" y="1169"/>
                    </a:lnTo>
                    <a:lnTo>
                      <a:pt x="201" y="1170"/>
                    </a:lnTo>
                    <a:lnTo>
                      <a:pt x="201" y="1172"/>
                    </a:lnTo>
                    <a:lnTo>
                      <a:pt x="199" y="1174"/>
                    </a:lnTo>
                    <a:lnTo>
                      <a:pt x="199" y="1175"/>
                    </a:lnTo>
                    <a:lnTo>
                      <a:pt x="199" y="1177"/>
                    </a:lnTo>
                    <a:lnTo>
                      <a:pt x="199" y="1179"/>
                    </a:lnTo>
                    <a:lnTo>
                      <a:pt x="199" y="1180"/>
                    </a:lnTo>
                    <a:lnTo>
                      <a:pt x="199" y="1182"/>
                    </a:lnTo>
                    <a:lnTo>
                      <a:pt x="199" y="1184"/>
                    </a:lnTo>
                    <a:lnTo>
                      <a:pt x="199" y="1186"/>
                    </a:lnTo>
                    <a:lnTo>
                      <a:pt x="199" y="1187"/>
                    </a:lnTo>
                    <a:lnTo>
                      <a:pt x="197" y="1189"/>
                    </a:lnTo>
                    <a:lnTo>
                      <a:pt x="197" y="1191"/>
                    </a:lnTo>
                    <a:lnTo>
                      <a:pt x="197" y="1192"/>
                    </a:lnTo>
                    <a:lnTo>
                      <a:pt x="196" y="1194"/>
                    </a:lnTo>
                    <a:lnTo>
                      <a:pt x="196" y="1196"/>
                    </a:lnTo>
                    <a:lnTo>
                      <a:pt x="196" y="1197"/>
                    </a:lnTo>
                    <a:lnTo>
                      <a:pt x="194" y="1197"/>
                    </a:lnTo>
                    <a:lnTo>
                      <a:pt x="194" y="1199"/>
                    </a:lnTo>
                    <a:lnTo>
                      <a:pt x="194" y="1201"/>
                    </a:lnTo>
                    <a:lnTo>
                      <a:pt x="192" y="1201"/>
                    </a:lnTo>
                    <a:lnTo>
                      <a:pt x="192" y="1203"/>
                    </a:lnTo>
                    <a:lnTo>
                      <a:pt x="190" y="1203"/>
                    </a:lnTo>
                    <a:lnTo>
                      <a:pt x="189" y="1204"/>
                    </a:lnTo>
                    <a:lnTo>
                      <a:pt x="187" y="1204"/>
                    </a:lnTo>
                    <a:lnTo>
                      <a:pt x="187" y="1206"/>
                    </a:lnTo>
                    <a:lnTo>
                      <a:pt x="185" y="1206"/>
                    </a:lnTo>
                    <a:lnTo>
                      <a:pt x="184" y="1208"/>
                    </a:lnTo>
                    <a:lnTo>
                      <a:pt x="182" y="1208"/>
                    </a:lnTo>
                    <a:lnTo>
                      <a:pt x="180" y="1208"/>
                    </a:lnTo>
                    <a:lnTo>
                      <a:pt x="179" y="1208"/>
                    </a:lnTo>
                    <a:lnTo>
                      <a:pt x="177" y="1208"/>
                    </a:lnTo>
                    <a:lnTo>
                      <a:pt x="177" y="1209"/>
                    </a:lnTo>
                    <a:lnTo>
                      <a:pt x="177" y="1211"/>
                    </a:lnTo>
                    <a:lnTo>
                      <a:pt x="175" y="1211"/>
                    </a:lnTo>
                    <a:lnTo>
                      <a:pt x="173" y="1213"/>
                    </a:lnTo>
                    <a:lnTo>
                      <a:pt x="172" y="1213"/>
                    </a:lnTo>
                    <a:lnTo>
                      <a:pt x="170" y="1213"/>
                    </a:lnTo>
                    <a:lnTo>
                      <a:pt x="170" y="1214"/>
                    </a:lnTo>
                    <a:lnTo>
                      <a:pt x="168" y="1214"/>
                    </a:lnTo>
                    <a:lnTo>
                      <a:pt x="167" y="1214"/>
                    </a:lnTo>
                    <a:lnTo>
                      <a:pt x="167" y="1216"/>
                    </a:lnTo>
                    <a:lnTo>
                      <a:pt x="167" y="1214"/>
                    </a:lnTo>
                    <a:lnTo>
                      <a:pt x="167" y="1216"/>
                    </a:lnTo>
                    <a:lnTo>
                      <a:pt x="165" y="1216"/>
                    </a:lnTo>
                    <a:lnTo>
                      <a:pt x="163" y="1216"/>
                    </a:lnTo>
                    <a:lnTo>
                      <a:pt x="162" y="1218"/>
                    </a:lnTo>
                    <a:lnTo>
                      <a:pt x="160" y="1218"/>
                    </a:lnTo>
                    <a:lnTo>
                      <a:pt x="160" y="1220"/>
                    </a:lnTo>
                    <a:lnTo>
                      <a:pt x="158" y="1220"/>
                    </a:lnTo>
                    <a:lnTo>
                      <a:pt x="160" y="1221"/>
                    </a:lnTo>
                    <a:lnTo>
                      <a:pt x="158" y="1221"/>
                    </a:lnTo>
                    <a:lnTo>
                      <a:pt x="156" y="1223"/>
                    </a:lnTo>
                    <a:lnTo>
                      <a:pt x="156" y="1225"/>
                    </a:lnTo>
                    <a:lnTo>
                      <a:pt x="155" y="1225"/>
                    </a:lnTo>
                    <a:lnTo>
                      <a:pt x="155" y="1226"/>
                    </a:lnTo>
                    <a:lnTo>
                      <a:pt x="153" y="1228"/>
                    </a:lnTo>
                    <a:lnTo>
                      <a:pt x="153" y="1230"/>
                    </a:lnTo>
                    <a:lnTo>
                      <a:pt x="153" y="1231"/>
                    </a:lnTo>
                    <a:lnTo>
                      <a:pt x="153" y="1233"/>
                    </a:lnTo>
                    <a:lnTo>
                      <a:pt x="151" y="1233"/>
                    </a:lnTo>
                    <a:lnTo>
                      <a:pt x="151" y="1235"/>
                    </a:lnTo>
                    <a:lnTo>
                      <a:pt x="151" y="1237"/>
                    </a:lnTo>
                    <a:lnTo>
                      <a:pt x="151" y="1238"/>
                    </a:lnTo>
                    <a:lnTo>
                      <a:pt x="150" y="1240"/>
                    </a:lnTo>
                    <a:lnTo>
                      <a:pt x="150" y="1242"/>
                    </a:lnTo>
                    <a:lnTo>
                      <a:pt x="151" y="1243"/>
                    </a:lnTo>
                    <a:lnTo>
                      <a:pt x="151" y="1245"/>
                    </a:lnTo>
                    <a:lnTo>
                      <a:pt x="151" y="1247"/>
                    </a:lnTo>
                    <a:lnTo>
                      <a:pt x="151" y="1248"/>
                    </a:lnTo>
                    <a:lnTo>
                      <a:pt x="150" y="1250"/>
                    </a:lnTo>
                    <a:lnTo>
                      <a:pt x="148" y="1252"/>
                    </a:lnTo>
                    <a:lnTo>
                      <a:pt x="148" y="1254"/>
                    </a:lnTo>
                    <a:lnTo>
                      <a:pt x="150" y="1254"/>
                    </a:lnTo>
                    <a:lnTo>
                      <a:pt x="150" y="1255"/>
                    </a:lnTo>
                    <a:lnTo>
                      <a:pt x="150" y="1257"/>
                    </a:lnTo>
                    <a:lnTo>
                      <a:pt x="150" y="1259"/>
                    </a:lnTo>
                    <a:lnTo>
                      <a:pt x="151" y="1264"/>
                    </a:lnTo>
                    <a:lnTo>
                      <a:pt x="151" y="1265"/>
                    </a:lnTo>
                    <a:lnTo>
                      <a:pt x="153" y="1267"/>
                    </a:lnTo>
                    <a:lnTo>
                      <a:pt x="153" y="1269"/>
                    </a:lnTo>
                    <a:lnTo>
                      <a:pt x="153" y="1271"/>
                    </a:lnTo>
                    <a:lnTo>
                      <a:pt x="155" y="1274"/>
                    </a:lnTo>
                    <a:lnTo>
                      <a:pt x="155" y="1276"/>
                    </a:lnTo>
                    <a:lnTo>
                      <a:pt x="155" y="1279"/>
                    </a:lnTo>
                    <a:lnTo>
                      <a:pt x="156" y="1281"/>
                    </a:lnTo>
                    <a:lnTo>
                      <a:pt x="156" y="1282"/>
                    </a:lnTo>
                    <a:lnTo>
                      <a:pt x="156" y="1284"/>
                    </a:lnTo>
                    <a:lnTo>
                      <a:pt x="156" y="1286"/>
                    </a:lnTo>
                    <a:lnTo>
                      <a:pt x="155" y="1286"/>
                    </a:lnTo>
                    <a:lnTo>
                      <a:pt x="155" y="1288"/>
                    </a:lnTo>
                    <a:lnTo>
                      <a:pt x="156" y="1288"/>
                    </a:lnTo>
                    <a:lnTo>
                      <a:pt x="156" y="1289"/>
                    </a:lnTo>
                    <a:lnTo>
                      <a:pt x="156" y="1291"/>
                    </a:lnTo>
                    <a:lnTo>
                      <a:pt x="158" y="1293"/>
                    </a:lnTo>
                    <a:lnTo>
                      <a:pt x="160" y="1296"/>
                    </a:lnTo>
                    <a:lnTo>
                      <a:pt x="162" y="1300"/>
                    </a:lnTo>
                    <a:lnTo>
                      <a:pt x="163" y="1305"/>
                    </a:lnTo>
                    <a:lnTo>
                      <a:pt x="165" y="1308"/>
                    </a:lnTo>
                    <a:lnTo>
                      <a:pt x="167" y="1310"/>
                    </a:lnTo>
                    <a:lnTo>
                      <a:pt x="168" y="1315"/>
                    </a:lnTo>
                    <a:lnTo>
                      <a:pt x="170" y="1317"/>
                    </a:lnTo>
                    <a:lnTo>
                      <a:pt x="173" y="1322"/>
                    </a:lnTo>
                    <a:lnTo>
                      <a:pt x="175" y="1325"/>
                    </a:lnTo>
                    <a:lnTo>
                      <a:pt x="177" y="1325"/>
                    </a:lnTo>
                    <a:lnTo>
                      <a:pt x="177" y="1327"/>
                    </a:lnTo>
                    <a:lnTo>
                      <a:pt x="177" y="1328"/>
                    </a:lnTo>
                    <a:lnTo>
                      <a:pt x="175" y="1328"/>
                    </a:lnTo>
                    <a:lnTo>
                      <a:pt x="175" y="1330"/>
                    </a:lnTo>
                    <a:lnTo>
                      <a:pt x="175" y="1328"/>
                    </a:lnTo>
                    <a:lnTo>
                      <a:pt x="175" y="1327"/>
                    </a:lnTo>
                    <a:lnTo>
                      <a:pt x="173" y="1327"/>
                    </a:lnTo>
                    <a:lnTo>
                      <a:pt x="172" y="1327"/>
                    </a:lnTo>
                    <a:lnTo>
                      <a:pt x="170" y="1327"/>
                    </a:lnTo>
                    <a:lnTo>
                      <a:pt x="168" y="1327"/>
                    </a:lnTo>
                    <a:lnTo>
                      <a:pt x="168" y="1325"/>
                    </a:lnTo>
                    <a:lnTo>
                      <a:pt x="167" y="1325"/>
                    </a:lnTo>
                    <a:lnTo>
                      <a:pt x="165" y="1325"/>
                    </a:lnTo>
                    <a:lnTo>
                      <a:pt x="163" y="1325"/>
                    </a:lnTo>
                    <a:lnTo>
                      <a:pt x="163" y="1323"/>
                    </a:lnTo>
                    <a:lnTo>
                      <a:pt x="162" y="1323"/>
                    </a:lnTo>
                    <a:lnTo>
                      <a:pt x="158" y="1322"/>
                    </a:lnTo>
                    <a:lnTo>
                      <a:pt x="156" y="1322"/>
                    </a:lnTo>
                    <a:lnTo>
                      <a:pt x="155" y="1320"/>
                    </a:lnTo>
                    <a:lnTo>
                      <a:pt x="153" y="1320"/>
                    </a:lnTo>
                    <a:lnTo>
                      <a:pt x="151" y="1320"/>
                    </a:lnTo>
                    <a:lnTo>
                      <a:pt x="150" y="1318"/>
                    </a:lnTo>
                    <a:lnTo>
                      <a:pt x="148" y="1318"/>
                    </a:lnTo>
                    <a:lnTo>
                      <a:pt x="145" y="1318"/>
                    </a:lnTo>
                    <a:lnTo>
                      <a:pt x="141" y="1318"/>
                    </a:lnTo>
                    <a:lnTo>
                      <a:pt x="139" y="1317"/>
                    </a:lnTo>
                    <a:lnTo>
                      <a:pt x="138" y="1317"/>
                    </a:lnTo>
                    <a:lnTo>
                      <a:pt x="134" y="1315"/>
                    </a:lnTo>
                    <a:lnTo>
                      <a:pt x="131" y="1313"/>
                    </a:lnTo>
                    <a:lnTo>
                      <a:pt x="128" y="1313"/>
                    </a:lnTo>
                    <a:lnTo>
                      <a:pt x="126" y="1311"/>
                    </a:lnTo>
                    <a:lnTo>
                      <a:pt x="124" y="1310"/>
                    </a:lnTo>
                    <a:lnTo>
                      <a:pt x="121" y="1308"/>
                    </a:lnTo>
                    <a:lnTo>
                      <a:pt x="109" y="1310"/>
                    </a:lnTo>
                    <a:lnTo>
                      <a:pt x="104" y="1308"/>
                    </a:lnTo>
                    <a:lnTo>
                      <a:pt x="99" y="1310"/>
                    </a:lnTo>
                    <a:lnTo>
                      <a:pt x="92" y="1308"/>
                    </a:lnTo>
                    <a:lnTo>
                      <a:pt x="78" y="1310"/>
                    </a:lnTo>
                    <a:lnTo>
                      <a:pt x="75" y="1308"/>
                    </a:lnTo>
                    <a:lnTo>
                      <a:pt x="73" y="1308"/>
                    </a:lnTo>
                    <a:lnTo>
                      <a:pt x="65" y="1308"/>
                    </a:lnTo>
                    <a:lnTo>
                      <a:pt x="56" y="1310"/>
                    </a:lnTo>
                    <a:lnTo>
                      <a:pt x="56" y="1308"/>
                    </a:lnTo>
                    <a:lnTo>
                      <a:pt x="54" y="1308"/>
                    </a:lnTo>
                    <a:lnTo>
                      <a:pt x="53" y="1308"/>
                    </a:lnTo>
                    <a:lnTo>
                      <a:pt x="53" y="1306"/>
                    </a:lnTo>
                    <a:lnTo>
                      <a:pt x="54" y="1306"/>
                    </a:lnTo>
                    <a:lnTo>
                      <a:pt x="54" y="1305"/>
                    </a:lnTo>
                    <a:lnTo>
                      <a:pt x="56" y="1305"/>
                    </a:lnTo>
                    <a:lnTo>
                      <a:pt x="56" y="1303"/>
                    </a:lnTo>
                    <a:lnTo>
                      <a:pt x="54" y="1301"/>
                    </a:lnTo>
                    <a:lnTo>
                      <a:pt x="54" y="1300"/>
                    </a:lnTo>
                    <a:lnTo>
                      <a:pt x="53" y="1300"/>
                    </a:lnTo>
                    <a:lnTo>
                      <a:pt x="53" y="1298"/>
                    </a:lnTo>
                    <a:lnTo>
                      <a:pt x="51" y="1298"/>
                    </a:lnTo>
                    <a:lnTo>
                      <a:pt x="51" y="1296"/>
                    </a:lnTo>
                    <a:lnTo>
                      <a:pt x="49" y="1296"/>
                    </a:lnTo>
                    <a:lnTo>
                      <a:pt x="49" y="1294"/>
                    </a:lnTo>
                    <a:lnTo>
                      <a:pt x="48" y="1294"/>
                    </a:lnTo>
                    <a:lnTo>
                      <a:pt x="48" y="1293"/>
                    </a:lnTo>
                    <a:lnTo>
                      <a:pt x="46" y="1293"/>
                    </a:lnTo>
                    <a:lnTo>
                      <a:pt x="44" y="1293"/>
                    </a:lnTo>
                    <a:lnTo>
                      <a:pt x="44" y="1291"/>
                    </a:lnTo>
                    <a:lnTo>
                      <a:pt x="44" y="1289"/>
                    </a:lnTo>
                    <a:lnTo>
                      <a:pt x="43" y="1288"/>
                    </a:lnTo>
                    <a:lnTo>
                      <a:pt x="43" y="1286"/>
                    </a:lnTo>
                    <a:lnTo>
                      <a:pt x="41" y="1286"/>
                    </a:lnTo>
                    <a:lnTo>
                      <a:pt x="39" y="1286"/>
                    </a:lnTo>
                    <a:lnTo>
                      <a:pt x="39" y="1284"/>
                    </a:lnTo>
                    <a:lnTo>
                      <a:pt x="41" y="1282"/>
                    </a:lnTo>
                    <a:lnTo>
                      <a:pt x="39" y="1282"/>
                    </a:lnTo>
                    <a:lnTo>
                      <a:pt x="41" y="1282"/>
                    </a:lnTo>
                    <a:lnTo>
                      <a:pt x="43" y="1282"/>
                    </a:lnTo>
                    <a:lnTo>
                      <a:pt x="43" y="1281"/>
                    </a:lnTo>
                    <a:lnTo>
                      <a:pt x="43" y="1279"/>
                    </a:lnTo>
                    <a:lnTo>
                      <a:pt x="43" y="1277"/>
                    </a:lnTo>
                    <a:lnTo>
                      <a:pt x="43" y="1276"/>
                    </a:lnTo>
                    <a:lnTo>
                      <a:pt x="43" y="1274"/>
                    </a:lnTo>
                    <a:lnTo>
                      <a:pt x="41" y="1272"/>
                    </a:lnTo>
                    <a:lnTo>
                      <a:pt x="43" y="1272"/>
                    </a:lnTo>
                    <a:lnTo>
                      <a:pt x="43" y="1271"/>
                    </a:lnTo>
                    <a:lnTo>
                      <a:pt x="44" y="1271"/>
                    </a:lnTo>
                    <a:lnTo>
                      <a:pt x="44" y="1269"/>
                    </a:lnTo>
                    <a:lnTo>
                      <a:pt x="44" y="1267"/>
                    </a:lnTo>
                    <a:lnTo>
                      <a:pt x="44" y="1265"/>
                    </a:lnTo>
                    <a:lnTo>
                      <a:pt x="43" y="1265"/>
                    </a:lnTo>
                    <a:lnTo>
                      <a:pt x="41" y="1264"/>
                    </a:lnTo>
                    <a:lnTo>
                      <a:pt x="41" y="1262"/>
                    </a:lnTo>
                    <a:lnTo>
                      <a:pt x="41" y="1260"/>
                    </a:lnTo>
                    <a:lnTo>
                      <a:pt x="39" y="1260"/>
                    </a:lnTo>
                    <a:lnTo>
                      <a:pt x="41" y="1259"/>
                    </a:lnTo>
                    <a:lnTo>
                      <a:pt x="41" y="1257"/>
                    </a:lnTo>
                    <a:lnTo>
                      <a:pt x="41" y="1255"/>
                    </a:lnTo>
                    <a:lnTo>
                      <a:pt x="43" y="1255"/>
                    </a:lnTo>
                    <a:lnTo>
                      <a:pt x="43" y="1257"/>
                    </a:lnTo>
                    <a:lnTo>
                      <a:pt x="44" y="1257"/>
                    </a:lnTo>
                    <a:lnTo>
                      <a:pt x="44" y="1255"/>
                    </a:lnTo>
                    <a:lnTo>
                      <a:pt x="44" y="1254"/>
                    </a:lnTo>
                    <a:lnTo>
                      <a:pt x="44" y="1252"/>
                    </a:lnTo>
                    <a:lnTo>
                      <a:pt x="46" y="1250"/>
                    </a:lnTo>
                    <a:lnTo>
                      <a:pt x="46" y="1248"/>
                    </a:lnTo>
                    <a:lnTo>
                      <a:pt x="44" y="1247"/>
                    </a:lnTo>
                    <a:lnTo>
                      <a:pt x="44" y="1245"/>
                    </a:lnTo>
                    <a:lnTo>
                      <a:pt x="44" y="1243"/>
                    </a:lnTo>
                    <a:lnTo>
                      <a:pt x="43" y="1243"/>
                    </a:lnTo>
                    <a:lnTo>
                      <a:pt x="43" y="1242"/>
                    </a:lnTo>
                    <a:lnTo>
                      <a:pt x="43" y="1240"/>
                    </a:lnTo>
                    <a:lnTo>
                      <a:pt x="44" y="1238"/>
                    </a:lnTo>
                    <a:lnTo>
                      <a:pt x="44" y="1237"/>
                    </a:lnTo>
                    <a:lnTo>
                      <a:pt x="43" y="1237"/>
                    </a:lnTo>
                    <a:lnTo>
                      <a:pt x="43" y="1235"/>
                    </a:lnTo>
                    <a:lnTo>
                      <a:pt x="41" y="1235"/>
                    </a:lnTo>
                    <a:lnTo>
                      <a:pt x="39" y="1235"/>
                    </a:lnTo>
                    <a:lnTo>
                      <a:pt x="37" y="1233"/>
                    </a:lnTo>
                    <a:lnTo>
                      <a:pt x="36" y="1235"/>
                    </a:lnTo>
                    <a:lnTo>
                      <a:pt x="34" y="1235"/>
                    </a:lnTo>
                    <a:lnTo>
                      <a:pt x="34" y="1237"/>
                    </a:lnTo>
                    <a:lnTo>
                      <a:pt x="34" y="1238"/>
                    </a:lnTo>
                    <a:lnTo>
                      <a:pt x="32" y="1237"/>
                    </a:lnTo>
                    <a:lnTo>
                      <a:pt x="31" y="1235"/>
                    </a:lnTo>
                    <a:lnTo>
                      <a:pt x="31" y="1237"/>
                    </a:lnTo>
                    <a:lnTo>
                      <a:pt x="29" y="1235"/>
                    </a:lnTo>
                    <a:lnTo>
                      <a:pt x="27" y="1235"/>
                    </a:lnTo>
                    <a:lnTo>
                      <a:pt x="26" y="1237"/>
                    </a:lnTo>
                    <a:lnTo>
                      <a:pt x="24" y="1237"/>
                    </a:lnTo>
                    <a:lnTo>
                      <a:pt x="24" y="1238"/>
                    </a:lnTo>
                    <a:lnTo>
                      <a:pt x="22" y="1238"/>
                    </a:lnTo>
                    <a:lnTo>
                      <a:pt x="22" y="1240"/>
                    </a:lnTo>
                    <a:lnTo>
                      <a:pt x="20" y="1242"/>
                    </a:lnTo>
                    <a:lnTo>
                      <a:pt x="19" y="1242"/>
                    </a:lnTo>
                    <a:lnTo>
                      <a:pt x="17" y="1243"/>
                    </a:lnTo>
                    <a:lnTo>
                      <a:pt x="17" y="1242"/>
                    </a:lnTo>
                    <a:lnTo>
                      <a:pt x="15" y="1243"/>
                    </a:lnTo>
                    <a:lnTo>
                      <a:pt x="14" y="1245"/>
                    </a:lnTo>
                    <a:lnTo>
                      <a:pt x="12" y="1245"/>
                    </a:lnTo>
                    <a:lnTo>
                      <a:pt x="10" y="1245"/>
                    </a:lnTo>
                    <a:lnTo>
                      <a:pt x="10" y="1243"/>
                    </a:lnTo>
                    <a:lnTo>
                      <a:pt x="10" y="1242"/>
                    </a:lnTo>
                    <a:lnTo>
                      <a:pt x="10" y="1240"/>
                    </a:lnTo>
                    <a:lnTo>
                      <a:pt x="12" y="1240"/>
                    </a:lnTo>
                    <a:lnTo>
                      <a:pt x="14" y="1238"/>
                    </a:lnTo>
                    <a:lnTo>
                      <a:pt x="14" y="1237"/>
                    </a:lnTo>
                    <a:lnTo>
                      <a:pt x="12" y="1237"/>
                    </a:lnTo>
                    <a:lnTo>
                      <a:pt x="10" y="1235"/>
                    </a:lnTo>
                    <a:lnTo>
                      <a:pt x="10" y="1233"/>
                    </a:lnTo>
                    <a:lnTo>
                      <a:pt x="10" y="1231"/>
                    </a:lnTo>
                    <a:lnTo>
                      <a:pt x="9" y="1231"/>
                    </a:lnTo>
                    <a:lnTo>
                      <a:pt x="9" y="1230"/>
                    </a:lnTo>
                    <a:lnTo>
                      <a:pt x="7" y="1228"/>
                    </a:lnTo>
                    <a:lnTo>
                      <a:pt x="9" y="1228"/>
                    </a:lnTo>
                    <a:lnTo>
                      <a:pt x="7" y="1226"/>
                    </a:lnTo>
                    <a:lnTo>
                      <a:pt x="5" y="1226"/>
                    </a:lnTo>
                    <a:lnTo>
                      <a:pt x="7" y="1226"/>
                    </a:lnTo>
                    <a:lnTo>
                      <a:pt x="5" y="1225"/>
                    </a:lnTo>
                    <a:lnTo>
                      <a:pt x="3" y="1221"/>
                    </a:lnTo>
                    <a:lnTo>
                      <a:pt x="3" y="1220"/>
                    </a:lnTo>
                    <a:lnTo>
                      <a:pt x="3" y="1218"/>
                    </a:lnTo>
                    <a:lnTo>
                      <a:pt x="2" y="1218"/>
                    </a:lnTo>
                    <a:lnTo>
                      <a:pt x="2" y="1216"/>
                    </a:lnTo>
                    <a:lnTo>
                      <a:pt x="0" y="1214"/>
                    </a:lnTo>
                    <a:lnTo>
                      <a:pt x="2" y="1213"/>
                    </a:lnTo>
                    <a:lnTo>
                      <a:pt x="2" y="1211"/>
                    </a:lnTo>
                    <a:lnTo>
                      <a:pt x="2" y="1209"/>
                    </a:lnTo>
                    <a:lnTo>
                      <a:pt x="2" y="1208"/>
                    </a:lnTo>
                    <a:lnTo>
                      <a:pt x="3" y="1206"/>
                    </a:lnTo>
                    <a:lnTo>
                      <a:pt x="3" y="1204"/>
                    </a:lnTo>
                    <a:lnTo>
                      <a:pt x="2" y="1204"/>
                    </a:lnTo>
                    <a:lnTo>
                      <a:pt x="2" y="1203"/>
                    </a:lnTo>
                    <a:lnTo>
                      <a:pt x="2" y="1201"/>
                    </a:lnTo>
                    <a:lnTo>
                      <a:pt x="3" y="1199"/>
                    </a:lnTo>
                    <a:lnTo>
                      <a:pt x="2" y="1199"/>
                    </a:lnTo>
                    <a:lnTo>
                      <a:pt x="2" y="1197"/>
                    </a:lnTo>
                    <a:lnTo>
                      <a:pt x="2" y="1196"/>
                    </a:lnTo>
                    <a:lnTo>
                      <a:pt x="3" y="1196"/>
                    </a:lnTo>
                    <a:lnTo>
                      <a:pt x="3" y="1194"/>
                    </a:lnTo>
                    <a:lnTo>
                      <a:pt x="3" y="1192"/>
                    </a:lnTo>
                    <a:lnTo>
                      <a:pt x="5" y="1191"/>
                    </a:lnTo>
                    <a:lnTo>
                      <a:pt x="5" y="1189"/>
                    </a:lnTo>
                    <a:lnTo>
                      <a:pt x="3" y="1187"/>
                    </a:lnTo>
                    <a:lnTo>
                      <a:pt x="3" y="1186"/>
                    </a:lnTo>
                    <a:lnTo>
                      <a:pt x="3" y="1184"/>
                    </a:lnTo>
                    <a:lnTo>
                      <a:pt x="3" y="1182"/>
                    </a:lnTo>
                    <a:lnTo>
                      <a:pt x="5" y="1182"/>
                    </a:lnTo>
                    <a:lnTo>
                      <a:pt x="3" y="1180"/>
                    </a:lnTo>
                    <a:lnTo>
                      <a:pt x="3" y="1179"/>
                    </a:lnTo>
                    <a:lnTo>
                      <a:pt x="2" y="1179"/>
                    </a:lnTo>
                    <a:lnTo>
                      <a:pt x="2" y="1177"/>
                    </a:lnTo>
                    <a:lnTo>
                      <a:pt x="2" y="1175"/>
                    </a:lnTo>
                    <a:lnTo>
                      <a:pt x="3" y="1175"/>
                    </a:lnTo>
                    <a:lnTo>
                      <a:pt x="3" y="1174"/>
                    </a:lnTo>
                    <a:lnTo>
                      <a:pt x="3" y="1172"/>
                    </a:lnTo>
                    <a:lnTo>
                      <a:pt x="3" y="1170"/>
                    </a:lnTo>
                    <a:lnTo>
                      <a:pt x="5" y="1170"/>
                    </a:lnTo>
                    <a:lnTo>
                      <a:pt x="5" y="1169"/>
                    </a:lnTo>
                    <a:lnTo>
                      <a:pt x="5" y="1167"/>
                    </a:lnTo>
                    <a:lnTo>
                      <a:pt x="7" y="1165"/>
                    </a:lnTo>
                    <a:lnTo>
                      <a:pt x="5" y="1165"/>
                    </a:lnTo>
                    <a:lnTo>
                      <a:pt x="3" y="1163"/>
                    </a:lnTo>
                    <a:lnTo>
                      <a:pt x="3" y="1162"/>
                    </a:lnTo>
                    <a:lnTo>
                      <a:pt x="3" y="1160"/>
                    </a:lnTo>
                    <a:lnTo>
                      <a:pt x="17" y="1163"/>
                    </a:lnTo>
                    <a:lnTo>
                      <a:pt x="19" y="1163"/>
                    </a:lnTo>
                    <a:lnTo>
                      <a:pt x="17" y="1163"/>
                    </a:lnTo>
                    <a:lnTo>
                      <a:pt x="17" y="1162"/>
                    </a:lnTo>
                    <a:lnTo>
                      <a:pt x="17" y="1163"/>
                    </a:lnTo>
                    <a:lnTo>
                      <a:pt x="15" y="1163"/>
                    </a:lnTo>
                    <a:lnTo>
                      <a:pt x="15" y="1162"/>
                    </a:lnTo>
                    <a:lnTo>
                      <a:pt x="15" y="1160"/>
                    </a:lnTo>
                    <a:lnTo>
                      <a:pt x="15" y="1158"/>
                    </a:lnTo>
                    <a:lnTo>
                      <a:pt x="17" y="1157"/>
                    </a:lnTo>
                    <a:lnTo>
                      <a:pt x="19" y="1155"/>
                    </a:lnTo>
                    <a:lnTo>
                      <a:pt x="19" y="1153"/>
                    </a:lnTo>
                    <a:lnTo>
                      <a:pt x="20" y="1153"/>
                    </a:lnTo>
                    <a:lnTo>
                      <a:pt x="20" y="1152"/>
                    </a:lnTo>
                    <a:lnTo>
                      <a:pt x="20" y="1150"/>
                    </a:lnTo>
                    <a:lnTo>
                      <a:pt x="20" y="1148"/>
                    </a:lnTo>
                    <a:lnTo>
                      <a:pt x="22" y="1148"/>
                    </a:lnTo>
                    <a:lnTo>
                      <a:pt x="22" y="1146"/>
                    </a:lnTo>
                    <a:lnTo>
                      <a:pt x="24" y="1146"/>
                    </a:lnTo>
                    <a:lnTo>
                      <a:pt x="26" y="1148"/>
                    </a:lnTo>
                    <a:lnTo>
                      <a:pt x="27" y="1148"/>
                    </a:lnTo>
                    <a:lnTo>
                      <a:pt x="27" y="1146"/>
                    </a:lnTo>
                    <a:lnTo>
                      <a:pt x="29" y="1145"/>
                    </a:lnTo>
                    <a:lnTo>
                      <a:pt x="31" y="1145"/>
                    </a:lnTo>
                    <a:lnTo>
                      <a:pt x="31" y="1143"/>
                    </a:lnTo>
                    <a:lnTo>
                      <a:pt x="32" y="1141"/>
                    </a:lnTo>
                    <a:lnTo>
                      <a:pt x="34" y="1140"/>
                    </a:lnTo>
                    <a:lnTo>
                      <a:pt x="36" y="1140"/>
                    </a:lnTo>
                    <a:lnTo>
                      <a:pt x="36" y="1138"/>
                    </a:lnTo>
                    <a:lnTo>
                      <a:pt x="36" y="1136"/>
                    </a:lnTo>
                    <a:lnTo>
                      <a:pt x="36" y="1135"/>
                    </a:lnTo>
                    <a:lnTo>
                      <a:pt x="36" y="1131"/>
                    </a:lnTo>
                    <a:lnTo>
                      <a:pt x="34" y="1124"/>
                    </a:lnTo>
                    <a:lnTo>
                      <a:pt x="34" y="1123"/>
                    </a:lnTo>
                    <a:lnTo>
                      <a:pt x="36" y="1123"/>
                    </a:lnTo>
                    <a:lnTo>
                      <a:pt x="36" y="1124"/>
                    </a:lnTo>
                    <a:lnTo>
                      <a:pt x="37" y="1124"/>
                    </a:lnTo>
                    <a:lnTo>
                      <a:pt x="39" y="1124"/>
                    </a:lnTo>
                    <a:lnTo>
                      <a:pt x="41" y="1123"/>
                    </a:lnTo>
                    <a:lnTo>
                      <a:pt x="41" y="1121"/>
                    </a:lnTo>
                    <a:lnTo>
                      <a:pt x="39" y="1121"/>
                    </a:lnTo>
                    <a:lnTo>
                      <a:pt x="39" y="1119"/>
                    </a:lnTo>
                    <a:lnTo>
                      <a:pt x="41" y="1119"/>
                    </a:lnTo>
                    <a:lnTo>
                      <a:pt x="43" y="1117"/>
                    </a:lnTo>
                    <a:lnTo>
                      <a:pt x="41" y="1117"/>
                    </a:lnTo>
                    <a:lnTo>
                      <a:pt x="41" y="1116"/>
                    </a:lnTo>
                    <a:lnTo>
                      <a:pt x="43" y="1116"/>
                    </a:lnTo>
                    <a:lnTo>
                      <a:pt x="43" y="1117"/>
                    </a:lnTo>
                    <a:lnTo>
                      <a:pt x="43" y="1116"/>
                    </a:lnTo>
                    <a:lnTo>
                      <a:pt x="44" y="1117"/>
                    </a:lnTo>
                    <a:lnTo>
                      <a:pt x="44" y="1116"/>
                    </a:lnTo>
                    <a:lnTo>
                      <a:pt x="46" y="1116"/>
                    </a:lnTo>
                    <a:lnTo>
                      <a:pt x="46" y="1114"/>
                    </a:lnTo>
                    <a:lnTo>
                      <a:pt x="44" y="1112"/>
                    </a:lnTo>
                    <a:lnTo>
                      <a:pt x="44" y="1111"/>
                    </a:lnTo>
                    <a:lnTo>
                      <a:pt x="43" y="1111"/>
                    </a:lnTo>
                    <a:lnTo>
                      <a:pt x="43" y="1109"/>
                    </a:lnTo>
                    <a:lnTo>
                      <a:pt x="44" y="1109"/>
                    </a:lnTo>
                    <a:lnTo>
                      <a:pt x="43" y="1107"/>
                    </a:lnTo>
                    <a:lnTo>
                      <a:pt x="44" y="1106"/>
                    </a:lnTo>
                    <a:lnTo>
                      <a:pt x="43" y="1106"/>
                    </a:lnTo>
                    <a:lnTo>
                      <a:pt x="43" y="1104"/>
                    </a:lnTo>
                    <a:lnTo>
                      <a:pt x="41" y="1104"/>
                    </a:lnTo>
                    <a:lnTo>
                      <a:pt x="41" y="1102"/>
                    </a:lnTo>
                    <a:lnTo>
                      <a:pt x="39" y="1102"/>
                    </a:lnTo>
                    <a:lnTo>
                      <a:pt x="39" y="1100"/>
                    </a:lnTo>
                    <a:lnTo>
                      <a:pt x="39" y="1099"/>
                    </a:lnTo>
                    <a:lnTo>
                      <a:pt x="39" y="1097"/>
                    </a:lnTo>
                    <a:lnTo>
                      <a:pt x="37" y="1097"/>
                    </a:lnTo>
                    <a:lnTo>
                      <a:pt x="36" y="1095"/>
                    </a:lnTo>
                    <a:lnTo>
                      <a:pt x="36" y="1094"/>
                    </a:lnTo>
                    <a:lnTo>
                      <a:pt x="37" y="1094"/>
                    </a:lnTo>
                    <a:lnTo>
                      <a:pt x="37" y="1092"/>
                    </a:lnTo>
                    <a:lnTo>
                      <a:pt x="37" y="1090"/>
                    </a:lnTo>
                    <a:lnTo>
                      <a:pt x="37" y="1089"/>
                    </a:lnTo>
                    <a:lnTo>
                      <a:pt x="37" y="1087"/>
                    </a:lnTo>
                    <a:lnTo>
                      <a:pt x="36" y="1087"/>
                    </a:lnTo>
                    <a:lnTo>
                      <a:pt x="36" y="1085"/>
                    </a:lnTo>
                    <a:lnTo>
                      <a:pt x="37" y="1087"/>
                    </a:lnTo>
                    <a:lnTo>
                      <a:pt x="39" y="1087"/>
                    </a:lnTo>
                    <a:lnTo>
                      <a:pt x="41" y="1087"/>
                    </a:lnTo>
                    <a:lnTo>
                      <a:pt x="41" y="1085"/>
                    </a:lnTo>
                    <a:lnTo>
                      <a:pt x="39" y="1085"/>
                    </a:lnTo>
                    <a:lnTo>
                      <a:pt x="39" y="1083"/>
                    </a:lnTo>
                    <a:lnTo>
                      <a:pt x="39" y="1082"/>
                    </a:lnTo>
                    <a:lnTo>
                      <a:pt x="41" y="1082"/>
                    </a:lnTo>
                    <a:lnTo>
                      <a:pt x="41" y="1080"/>
                    </a:lnTo>
                    <a:lnTo>
                      <a:pt x="43" y="1080"/>
                    </a:lnTo>
                    <a:lnTo>
                      <a:pt x="43" y="1078"/>
                    </a:lnTo>
                    <a:lnTo>
                      <a:pt x="43" y="1077"/>
                    </a:lnTo>
                    <a:lnTo>
                      <a:pt x="43" y="1075"/>
                    </a:lnTo>
                    <a:lnTo>
                      <a:pt x="44" y="1075"/>
                    </a:lnTo>
                    <a:lnTo>
                      <a:pt x="44" y="1073"/>
                    </a:lnTo>
                    <a:lnTo>
                      <a:pt x="43" y="1073"/>
                    </a:lnTo>
                    <a:lnTo>
                      <a:pt x="43" y="1072"/>
                    </a:lnTo>
                    <a:lnTo>
                      <a:pt x="43" y="1073"/>
                    </a:lnTo>
                    <a:lnTo>
                      <a:pt x="43" y="1072"/>
                    </a:lnTo>
                    <a:lnTo>
                      <a:pt x="44" y="1072"/>
                    </a:lnTo>
                    <a:lnTo>
                      <a:pt x="44" y="1070"/>
                    </a:lnTo>
                    <a:lnTo>
                      <a:pt x="46" y="1070"/>
                    </a:lnTo>
                    <a:lnTo>
                      <a:pt x="46" y="1068"/>
                    </a:lnTo>
                    <a:lnTo>
                      <a:pt x="48" y="1070"/>
                    </a:lnTo>
                    <a:lnTo>
                      <a:pt x="48" y="1068"/>
                    </a:lnTo>
                    <a:lnTo>
                      <a:pt x="49" y="1066"/>
                    </a:lnTo>
                    <a:lnTo>
                      <a:pt x="49" y="1065"/>
                    </a:lnTo>
                    <a:lnTo>
                      <a:pt x="51" y="1065"/>
                    </a:lnTo>
                    <a:lnTo>
                      <a:pt x="53" y="1065"/>
                    </a:lnTo>
                    <a:lnTo>
                      <a:pt x="53" y="1063"/>
                    </a:lnTo>
                    <a:lnTo>
                      <a:pt x="54" y="1063"/>
                    </a:lnTo>
                    <a:lnTo>
                      <a:pt x="53" y="1061"/>
                    </a:lnTo>
                    <a:lnTo>
                      <a:pt x="54" y="1060"/>
                    </a:lnTo>
                    <a:lnTo>
                      <a:pt x="53" y="1058"/>
                    </a:lnTo>
                    <a:lnTo>
                      <a:pt x="54" y="1060"/>
                    </a:lnTo>
                    <a:lnTo>
                      <a:pt x="56" y="1060"/>
                    </a:lnTo>
                    <a:lnTo>
                      <a:pt x="58" y="1060"/>
                    </a:lnTo>
                    <a:lnTo>
                      <a:pt x="58" y="1058"/>
                    </a:lnTo>
                    <a:lnTo>
                      <a:pt x="58" y="1056"/>
                    </a:lnTo>
                    <a:lnTo>
                      <a:pt x="60" y="1056"/>
                    </a:lnTo>
                    <a:lnTo>
                      <a:pt x="58" y="1056"/>
                    </a:lnTo>
                    <a:lnTo>
                      <a:pt x="58" y="1055"/>
                    </a:lnTo>
                    <a:lnTo>
                      <a:pt x="56" y="1053"/>
                    </a:lnTo>
                    <a:lnTo>
                      <a:pt x="54" y="1053"/>
                    </a:lnTo>
                    <a:lnTo>
                      <a:pt x="56" y="1051"/>
                    </a:lnTo>
                    <a:lnTo>
                      <a:pt x="58" y="1049"/>
                    </a:lnTo>
                    <a:lnTo>
                      <a:pt x="58" y="1048"/>
                    </a:lnTo>
                    <a:lnTo>
                      <a:pt x="56" y="1048"/>
                    </a:lnTo>
                    <a:lnTo>
                      <a:pt x="54" y="1048"/>
                    </a:lnTo>
                    <a:lnTo>
                      <a:pt x="56" y="1046"/>
                    </a:lnTo>
                    <a:lnTo>
                      <a:pt x="54" y="1046"/>
                    </a:lnTo>
                    <a:lnTo>
                      <a:pt x="54" y="1044"/>
                    </a:lnTo>
                    <a:lnTo>
                      <a:pt x="54" y="1043"/>
                    </a:lnTo>
                    <a:lnTo>
                      <a:pt x="56" y="1043"/>
                    </a:lnTo>
                    <a:lnTo>
                      <a:pt x="56" y="1041"/>
                    </a:lnTo>
                    <a:lnTo>
                      <a:pt x="54" y="1039"/>
                    </a:lnTo>
                    <a:lnTo>
                      <a:pt x="56" y="1039"/>
                    </a:lnTo>
                    <a:lnTo>
                      <a:pt x="58" y="1039"/>
                    </a:lnTo>
                    <a:lnTo>
                      <a:pt x="60" y="1039"/>
                    </a:lnTo>
                    <a:lnTo>
                      <a:pt x="60" y="1038"/>
                    </a:lnTo>
                    <a:lnTo>
                      <a:pt x="61" y="1038"/>
                    </a:lnTo>
                    <a:lnTo>
                      <a:pt x="61" y="1036"/>
                    </a:lnTo>
                    <a:lnTo>
                      <a:pt x="63" y="1036"/>
                    </a:lnTo>
                    <a:lnTo>
                      <a:pt x="63" y="1034"/>
                    </a:lnTo>
                    <a:lnTo>
                      <a:pt x="65" y="1034"/>
                    </a:lnTo>
                    <a:lnTo>
                      <a:pt x="66" y="1032"/>
                    </a:lnTo>
                    <a:lnTo>
                      <a:pt x="65" y="1031"/>
                    </a:lnTo>
                    <a:lnTo>
                      <a:pt x="66" y="1031"/>
                    </a:lnTo>
                    <a:lnTo>
                      <a:pt x="65" y="1029"/>
                    </a:lnTo>
                    <a:lnTo>
                      <a:pt x="65" y="1027"/>
                    </a:lnTo>
                    <a:lnTo>
                      <a:pt x="65" y="1026"/>
                    </a:lnTo>
                    <a:lnTo>
                      <a:pt x="65" y="1024"/>
                    </a:lnTo>
                    <a:lnTo>
                      <a:pt x="63" y="1021"/>
                    </a:lnTo>
                    <a:lnTo>
                      <a:pt x="63" y="1017"/>
                    </a:lnTo>
                    <a:lnTo>
                      <a:pt x="63" y="1015"/>
                    </a:lnTo>
                    <a:lnTo>
                      <a:pt x="63" y="1014"/>
                    </a:lnTo>
                    <a:lnTo>
                      <a:pt x="63" y="1012"/>
                    </a:lnTo>
                    <a:lnTo>
                      <a:pt x="61" y="1010"/>
                    </a:lnTo>
                    <a:lnTo>
                      <a:pt x="61" y="1009"/>
                    </a:lnTo>
                    <a:lnTo>
                      <a:pt x="60" y="1009"/>
                    </a:lnTo>
                    <a:lnTo>
                      <a:pt x="58" y="1009"/>
                    </a:lnTo>
                    <a:lnTo>
                      <a:pt x="58" y="1007"/>
                    </a:lnTo>
                    <a:lnTo>
                      <a:pt x="56" y="1007"/>
                    </a:lnTo>
                    <a:lnTo>
                      <a:pt x="58" y="1005"/>
                    </a:lnTo>
                    <a:lnTo>
                      <a:pt x="60" y="1005"/>
                    </a:lnTo>
                    <a:lnTo>
                      <a:pt x="61" y="1005"/>
                    </a:lnTo>
                    <a:lnTo>
                      <a:pt x="61" y="1004"/>
                    </a:lnTo>
                    <a:lnTo>
                      <a:pt x="63" y="1004"/>
                    </a:lnTo>
                    <a:lnTo>
                      <a:pt x="65" y="1004"/>
                    </a:lnTo>
                    <a:lnTo>
                      <a:pt x="65" y="1002"/>
                    </a:lnTo>
                    <a:lnTo>
                      <a:pt x="65" y="1000"/>
                    </a:lnTo>
                    <a:lnTo>
                      <a:pt x="66" y="1000"/>
                    </a:lnTo>
                    <a:lnTo>
                      <a:pt x="66" y="998"/>
                    </a:lnTo>
                    <a:lnTo>
                      <a:pt x="66" y="997"/>
                    </a:lnTo>
                    <a:lnTo>
                      <a:pt x="66" y="995"/>
                    </a:lnTo>
                    <a:lnTo>
                      <a:pt x="65" y="993"/>
                    </a:lnTo>
                    <a:lnTo>
                      <a:pt x="63" y="993"/>
                    </a:lnTo>
                    <a:lnTo>
                      <a:pt x="63" y="992"/>
                    </a:lnTo>
                    <a:lnTo>
                      <a:pt x="63" y="993"/>
                    </a:lnTo>
                    <a:lnTo>
                      <a:pt x="61" y="992"/>
                    </a:lnTo>
                    <a:lnTo>
                      <a:pt x="63" y="990"/>
                    </a:lnTo>
                    <a:lnTo>
                      <a:pt x="61" y="990"/>
                    </a:lnTo>
                    <a:lnTo>
                      <a:pt x="61" y="988"/>
                    </a:lnTo>
                    <a:lnTo>
                      <a:pt x="61" y="987"/>
                    </a:lnTo>
                    <a:lnTo>
                      <a:pt x="61" y="985"/>
                    </a:lnTo>
                    <a:lnTo>
                      <a:pt x="61" y="983"/>
                    </a:lnTo>
                    <a:lnTo>
                      <a:pt x="61" y="981"/>
                    </a:lnTo>
                    <a:lnTo>
                      <a:pt x="63" y="980"/>
                    </a:lnTo>
                    <a:lnTo>
                      <a:pt x="61" y="980"/>
                    </a:lnTo>
                    <a:lnTo>
                      <a:pt x="61" y="978"/>
                    </a:lnTo>
                    <a:lnTo>
                      <a:pt x="63" y="978"/>
                    </a:lnTo>
                    <a:lnTo>
                      <a:pt x="63" y="976"/>
                    </a:lnTo>
                    <a:lnTo>
                      <a:pt x="65" y="976"/>
                    </a:lnTo>
                    <a:lnTo>
                      <a:pt x="66" y="976"/>
                    </a:lnTo>
                    <a:lnTo>
                      <a:pt x="68" y="976"/>
                    </a:lnTo>
                    <a:lnTo>
                      <a:pt x="70" y="976"/>
                    </a:lnTo>
                    <a:lnTo>
                      <a:pt x="70" y="975"/>
                    </a:lnTo>
                    <a:lnTo>
                      <a:pt x="71" y="975"/>
                    </a:lnTo>
                    <a:lnTo>
                      <a:pt x="70" y="973"/>
                    </a:lnTo>
                    <a:lnTo>
                      <a:pt x="70" y="971"/>
                    </a:lnTo>
                    <a:lnTo>
                      <a:pt x="70" y="969"/>
                    </a:lnTo>
                    <a:lnTo>
                      <a:pt x="71" y="969"/>
                    </a:lnTo>
                    <a:lnTo>
                      <a:pt x="73" y="969"/>
                    </a:lnTo>
                    <a:lnTo>
                      <a:pt x="73" y="968"/>
                    </a:lnTo>
                    <a:lnTo>
                      <a:pt x="75" y="968"/>
                    </a:lnTo>
                    <a:lnTo>
                      <a:pt x="77" y="968"/>
                    </a:lnTo>
                    <a:lnTo>
                      <a:pt x="77" y="966"/>
                    </a:lnTo>
                    <a:lnTo>
                      <a:pt x="77" y="964"/>
                    </a:lnTo>
                    <a:lnTo>
                      <a:pt x="75" y="964"/>
                    </a:lnTo>
                    <a:lnTo>
                      <a:pt x="77" y="963"/>
                    </a:lnTo>
                    <a:lnTo>
                      <a:pt x="75" y="963"/>
                    </a:lnTo>
                    <a:lnTo>
                      <a:pt x="75" y="961"/>
                    </a:lnTo>
                    <a:lnTo>
                      <a:pt x="73" y="961"/>
                    </a:lnTo>
                    <a:lnTo>
                      <a:pt x="73" y="959"/>
                    </a:lnTo>
                    <a:lnTo>
                      <a:pt x="71" y="958"/>
                    </a:lnTo>
                    <a:lnTo>
                      <a:pt x="71" y="956"/>
                    </a:lnTo>
                    <a:lnTo>
                      <a:pt x="70" y="956"/>
                    </a:lnTo>
                    <a:lnTo>
                      <a:pt x="70" y="954"/>
                    </a:lnTo>
                    <a:lnTo>
                      <a:pt x="68" y="952"/>
                    </a:lnTo>
                    <a:lnTo>
                      <a:pt x="68" y="951"/>
                    </a:lnTo>
                    <a:lnTo>
                      <a:pt x="70" y="951"/>
                    </a:lnTo>
                    <a:lnTo>
                      <a:pt x="68" y="951"/>
                    </a:lnTo>
                    <a:lnTo>
                      <a:pt x="66" y="951"/>
                    </a:lnTo>
                    <a:lnTo>
                      <a:pt x="66" y="949"/>
                    </a:lnTo>
                    <a:lnTo>
                      <a:pt x="65" y="951"/>
                    </a:lnTo>
                    <a:lnTo>
                      <a:pt x="65" y="949"/>
                    </a:lnTo>
                    <a:lnTo>
                      <a:pt x="63" y="949"/>
                    </a:lnTo>
                    <a:lnTo>
                      <a:pt x="61" y="947"/>
                    </a:lnTo>
                    <a:lnTo>
                      <a:pt x="61" y="949"/>
                    </a:lnTo>
                    <a:lnTo>
                      <a:pt x="60" y="947"/>
                    </a:lnTo>
                    <a:lnTo>
                      <a:pt x="58" y="947"/>
                    </a:lnTo>
                    <a:lnTo>
                      <a:pt x="58" y="949"/>
                    </a:lnTo>
                    <a:lnTo>
                      <a:pt x="56" y="949"/>
                    </a:lnTo>
                    <a:lnTo>
                      <a:pt x="56" y="947"/>
                    </a:lnTo>
                    <a:lnTo>
                      <a:pt x="54" y="947"/>
                    </a:lnTo>
                    <a:lnTo>
                      <a:pt x="53" y="946"/>
                    </a:lnTo>
                    <a:lnTo>
                      <a:pt x="53" y="947"/>
                    </a:lnTo>
                    <a:lnTo>
                      <a:pt x="53" y="946"/>
                    </a:lnTo>
                    <a:lnTo>
                      <a:pt x="51" y="946"/>
                    </a:lnTo>
                    <a:lnTo>
                      <a:pt x="53" y="944"/>
                    </a:lnTo>
                    <a:lnTo>
                      <a:pt x="51" y="944"/>
                    </a:lnTo>
                    <a:lnTo>
                      <a:pt x="53" y="944"/>
                    </a:lnTo>
                    <a:lnTo>
                      <a:pt x="53" y="942"/>
                    </a:lnTo>
                    <a:lnTo>
                      <a:pt x="51" y="942"/>
                    </a:lnTo>
                    <a:lnTo>
                      <a:pt x="51" y="941"/>
                    </a:lnTo>
                    <a:lnTo>
                      <a:pt x="51" y="939"/>
                    </a:lnTo>
                    <a:lnTo>
                      <a:pt x="53" y="941"/>
                    </a:lnTo>
                    <a:lnTo>
                      <a:pt x="54" y="941"/>
                    </a:lnTo>
                    <a:lnTo>
                      <a:pt x="56" y="941"/>
                    </a:lnTo>
                    <a:lnTo>
                      <a:pt x="56" y="942"/>
                    </a:lnTo>
                    <a:lnTo>
                      <a:pt x="56" y="941"/>
                    </a:lnTo>
                    <a:lnTo>
                      <a:pt x="58" y="941"/>
                    </a:lnTo>
                    <a:lnTo>
                      <a:pt x="58" y="942"/>
                    </a:lnTo>
                    <a:lnTo>
                      <a:pt x="60" y="941"/>
                    </a:lnTo>
                    <a:lnTo>
                      <a:pt x="60" y="942"/>
                    </a:lnTo>
                    <a:lnTo>
                      <a:pt x="60" y="941"/>
                    </a:lnTo>
                    <a:lnTo>
                      <a:pt x="61" y="939"/>
                    </a:lnTo>
                    <a:lnTo>
                      <a:pt x="61" y="941"/>
                    </a:lnTo>
                    <a:lnTo>
                      <a:pt x="63" y="941"/>
                    </a:lnTo>
                    <a:lnTo>
                      <a:pt x="65" y="941"/>
                    </a:lnTo>
                    <a:lnTo>
                      <a:pt x="66" y="941"/>
                    </a:lnTo>
                    <a:lnTo>
                      <a:pt x="68" y="941"/>
                    </a:lnTo>
                    <a:lnTo>
                      <a:pt x="68" y="939"/>
                    </a:lnTo>
                    <a:lnTo>
                      <a:pt x="68" y="941"/>
                    </a:lnTo>
                    <a:lnTo>
                      <a:pt x="70" y="939"/>
                    </a:lnTo>
                    <a:lnTo>
                      <a:pt x="71" y="939"/>
                    </a:lnTo>
                    <a:lnTo>
                      <a:pt x="73" y="939"/>
                    </a:lnTo>
                    <a:lnTo>
                      <a:pt x="73" y="941"/>
                    </a:lnTo>
                    <a:lnTo>
                      <a:pt x="75" y="941"/>
                    </a:lnTo>
                    <a:lnTo>
                      <a:pt x="75" y="942"/>
                    </a:lnTo>
                    <a:lnTo>
                      <a:pt x="77" y="942"/>
                    </a:lnTo>
                    <a:lnTo>
                      <a:pt x="78" y="942"/>
                    </a:lnTo>
                    <a:lnTo>
                      <a:pt x="78" y="941"/>
                    </a:lnTo>
                    <a:lnTo>
                      <a:pt x="80" y="941"/>
                    </a:lnTo>
                    <a:lnTo>
                      <a:pt x="80" y="939"/>
                    </a:lnTo>
                    <a:lnTo>
                      <a:pt x="80" y="937"/>
                    </a:lnTo>
                    <a:lnTo>
                      <a:pt x="82" y="935"/>
                    </a:lnTo>
                    <a:lnTo>
                      <a:pt x="80" y="935"/>
                    </a:lnTo>
                    <a:lnTo>
                      <a:pt x="80" y="934"/>
                    </a:lnTo>
                    <a:lnTo>
                      <a:pt x="82" y="932"/>
                    </a:lnTo>
                    <a:lnTo>
                      <a:pt x="80" y="932"/>
                    </a:lnTo>
                    <a:lnTo>
                      <a:pt x="82" y="932"/>
                    </a:lnTo>
                    <a:lnTo>
                      <a:pt x="83" y="932"/>
                    </a:lnTo>
                    <a:lnTo>
                      <a:pt x="85" y="932"/>
                    </a:lnTo>
                    <a:lnTo>
                      <a:pt x="83" y="930"/>
                    </a:lnTo>
                    <a:lnTo>
                      <a:pt x="85" y="929"/>
                    </a:lnTo>
                    <a:lnTo>
                      <a:pt x="83" y="929"/>
                    </a:lnTo>
                    <a:lnTo>
                      <a:pt x="82" y="927"/>
                    </a:lnTo>
                    <a:lnTo>
                      <a:pt x="83" y="927"/>
                    </a:lnTo>
                    <a:lnTo>
                      <a:pt x="83" y="925"/>
                    </a:lnTo>
                    <a:lnTo>
                      <a:pt x="82" y="925"/>
                    </a:lnTo>
                    <a:lnTo>
                      <a:pt x="80" y="924"/>
                    </a:lnTo>
                    <a:lnTo>
                      <a:pt x="80" y="925"/>
                    </a:lnTo>
                    <a:lnTo>
                      <a:pt x="80" y="924"/>
                    </a:lnTo>
                    <a:lnTo>
                      <a:pt x="78" y="924"/>
                    </a:lnTo>
                    <a:lnTo>
                      <a:pt x="77" y="924"/>
                    </a:lnTo>
                    <a:lnTo>
                      <a:pt x="75" y="924"/>
                    </a:lnTo>
                    <a:lnTo>
                      <a:pt x="75" y="922"/>
                    </a:lnTo>
                    <a:lnTo>
                      <a:pt x="73" y="922"/>
                    </a:lnTo>
                    <a:lnTo>
                      <a:pt x="71" y="922"/>
                    </a:lnTo>
                    <a:lnTo>
                      <a:pt x="71" y="924"/>
                    </a:lnTo>
                    <a:lnTo>
                      <a:pt x="70" y="922"/>
                    </a:lnTo>
                    <a:lnTo>
                      <a:pt x="70" y="924"/>
                    </a:lnTo>
                    <a:lnTo>
                      <a:pt x="68" y="924"/>
                    </a:lnTo>
                    <a:lnTo>
                      <a:pt x="66" y="922"/>
                    </a:lnTo>
                    <a:lnTo>
                      <a:pt x="66" y="924"/>
                    </a:lnTo>
                    <a:lnTo>
                      <a:pt x="65" y="924"/>
                    </a:lnTo>
                    <a:lnTo>
                      <a:pt x="65" y="922"/>
                    </a:lnTo>
                    <a:lnTo>
                      <a:pt x="63" y="922"/>
                    </a:lnTo>
                    <a:lnTo>
                      <a:pt x="63" y="924"/>
                    </a:lnTo>
                    <a:lnTo>
                      <a:pt x="61" y="924"/>
                    </a:lnTo>
                    <a:lnTo>
                      <a:pt x="60" y="924"/>
                    </a:lnTo>
                    <a:lnTo>
                      <a:pt x="60" y="922"/>
                    </a:lnTo>
                    <a:lnTo>
                      <a:pt x="60" y="920"/>
                    </a:lnTo>
                    <a:lnTo>
                      <a:pt x="61" y="920"/>
                    </a:lnTo>
                    <a:lnTo>
                      <a:pt x="61" y="918"/>
                    </a:lnTo>
                    <a:lnTo>
                      <a:pt x="60" y="917"/>
                    </a:lnTo>
                    <a:lnTo>
                      <a:pt x="60" y="915"/>
                    </a:lnTo>
                    <a:lnTo>
                      <a:pt x="61" y="913"/>
                    </a:lnTo>
                    <a:lnTo>
                      <a:pt x="60" y="913"/>
                    </a:lnTo>
                    <a:lnTo>
                      <a:pt x="60" y="912"/>
                    </a:lnTo>
                    <a:lnTo>
                      <a:pt x="58" y="910"/>
                    </a:lnTo>
                    <a:lnTo>
                      <a:pt x="60" y="910"/>
                    </a:lnTo>
                    <a:lnTo>
                      <a:pt x="61" y="910"/>
                    </a:lnTo>
                    <a:lnTo>
                      <a:pt x="63" y="908"/>
                    </a:lnTo>
                    <a:lnTo>
                      <a:pt x="63" y="907"/>
                    </a:lnTo>
                    <a:lnTo>
                      <a:pt x="63" y="905"/>
                    </a:lnTo>
                    <a:lnTo>
                      <a:pt x="65" y="905"/>
                    </a:lnTo>
                    <a:lnTo>
                      <a:pt x="65" y="903"/>
                    </a:lnTo>
                    <a:lnTo>
                      <a:pt x="65" y="901"/>
                    </a:lnTo>
                    <a:lnTo>
                      <a:pt x="66" y="901"/>
                    </a:lnTo>
                    <a:lnTo>
                      <a:pt x="65" y="900"/>
                    </a:lnTo>
                    <a:lnTo>
                      <a:pt x="63" y="900"/>
                    </a:lnTo>
                    <a:lnTo>
                      <a:pt x="63" y="898"/>
                    </a:lnTo>
                    <a:lnTo>
                      <a:pt x="63" y="896"/>
                    </a:lnTo>
                    <a:lnTo>
                      <a:pt x="61" y="896"/>
                    </a:lnTo>
                    <a:lnTo>
                      <a:pt x="63" y="896"/>
                    </a:lnTo>
                    <a:lnTo>
                      <a:pt x="61" y="896"/>
                    </a:lnTo>
                    <a:lnTo>
                      <a:pt x="63" y="895"/>
                    </a:lnTo>
                    <a:lnTo>
                      <a:pt x="61" y="895"/>
                    </a:lnTo>
                    <a:lnTo>
                      <a:pt x="63" y="893"/>
                    </a:lnTo>
                    <a:lnTo>
                      <a:pt x="65" y="891"/>
                    </a:lnTo>
                    <a:lnTo>
                      <a:pt x="65" y="890"/>
                    </a:lnTo>
                    <a:lnTo>
                      <a:pt x="66" y="890"/>
                    </a:lnTo>
                    <a:lnTo>
                      <a:pt x="68" y="890"/>
                    </a:lnTo>
                    <a:lnTo>
                      <a:pt x="66" y="890"/>
                    </a:lnTo>
                    <a:lnTo>
                      <a:pt x="68" y="890"/>
                    </a:lnTo>
                    <a:lnTo>
                      <a:pt x="68" y="888"/>
                    </a:lnTo>
                    <a:lnTo>
                      <a:pt x="68" y="886"/>
                    </a:lnTo>
                    <a:lnTo>
                      <a:pt x="66" y="886"/>
                    </a:lnTo>
                    <a:lnTo>
                      <a:pt x="65" y="886"/>
                    </a:lnTo>
                    <a:lnTo>
                      <a:pt x="63" y="886"/>
                    </a:lnTo>
                    <a:lnTo>
                      <a:pt x="63" y="884"/>
                    </a:lnTo>
                    <a:lnTo>
                      <a:pt x="61" y="884"/>
                    </a:lnTo>
                    <a:lnTo>
                      <a:pt x="61" y="883"/>
                    </a:lnTo>
                    <a:lnTo>
                      <a:pt x="60" y="883"/>
                    </a:lnTo>
                    <a:lnTo>
                      <a:pt x="58" y="883"/>
                    </a:lnTo>
                    <a:lnTo>
                      <a:pt x="58" y="881"/>
                    </a:lnTo>
                    <a:lnTo>
                      <a:pt x="60" y="879"/>
                    </a:lnTo>
                    <a:lnTo>
                      <a:pt x="58" y="879"/>
                    </a:lnTo>
                    <a:lnTo>
                      <a:pt x="58" y="878"/>
                    </a:lnTo>
                    <a:lnTo>
                      <a:pt x="58" y="879"/>
                    </a:lnTo>
                    <a:lnTo>
                      <a:pt x="56" y="879"/>
                    </a:lnTo>
                    <a:lnTo>
                      <a:pt x="56" y="878"/>
                    </a:lnTo>
                    <a:lnTo>
                      <a:pt x="56" y="876"/>
                    </a:lnTo>
                    <a:lnTo>
                      <a:pt x="58" y="874"/>
                    </a:lnTo>
                    <a:lnTo>
                      <a:pt x="58" y="873"/>
                    </a:lnTo>
                    <a:lnTo>
                      <a:pt x="56" y="873"/>
                    </a:lnTo>
                    <a:lnTo>
                      <a:pt x="58" y="873"/>
                    </a:lnTo>
                    <a:lnTo>
                      <a:pt x="60" y="873"/>
                    </a:lnTo>
                    <a:lnTo>
                      <a:pt x="61" y="873"/>
                    </a:lnTo>
                    <a:lnTo>
                      <a:pt x="61" y="871"/>
                    </a:lnTo>
                    <a:lnTo>
                      <a:pt x="61" y="873"/>
                    </a:lnTo>
                    <a:lnTo>
                      <a:pt x="63" y="873"/>
                    </a:lnTo>
                    <a:lnTo>
                      <a:pt x="63" y="871"/>
                    </a:lnTo>
                    <a:lnTo>
                      <a:pt x="63" y="869"/>
                    </a:lnTo>
                    <a:lnTo>
                      <a:pt x="61" y="867"/>
                    </a:lnTo>
                    <a:lnTo>
                      <a:pt x="63" y="867"/>
                    </a:lnTo>
                    <a:lnTo>
                      <a:pt x="63" y="866"/>
                    </a:lnTo>
                    <a:lnTo>
                      <a:pt x="61" y="866"/>
                    </a:lnTo>
                    <a:lnTo>
                      <a:pt x="61" y="864"/>
                    </a:lnTo>
                    <a:lnTo>
                      <a:pt x="60" y="864"/>
                    </a:lnTo>
                    <a:lnTo>
                      <a:pt x="58" y="864"/>
                    </a:lnTo>
                    <a:lnTo>
                      <a:pt x="58" y="862"/>
                    </a:lnTo>
                    <a:lnTo>
                      <a:pt x="56" y="862"/>
                    </a:lnTo>
                    <a:lnTo>
                      <a:pt x="56" y="861"/>
                    </a:lnTo>
                    <a:lnTo>
                      <a:pt x="54" y="859"/>
                    </a:lnTo>
                    <a:lnTo>
                      <a:pt x="53" y="859"/>
                    </a:lnTo>
                    <a:lnTo>
                      <a:pt x="53" y="857"/>
                    </a:lnTo>
                    <a:lnTo>
                      <a:pt x="51" y="857"/>
                    </a:lnTo>
                    <a:lnTo>
                      <a:pt x="51" y="856"/>
                    </a:lnTo>
                    <a:lnTo>
                      <a:pt x="49" y="854"/>
                    </a:lnTo>
                    <a:lnTo>
                      <a:pt x="49" y="852"/>
                    </a:lnTo>
                    <a:lnTo>
                      <a:pt x="49" y="850"/>
                    </a:lnTo>
                    <a:lnTo>
                      <a:pt x="49" y="849"/>
                    </a:lnTo>
                    <a:lnTo>
                      <a:pt x="48" y="849"/>
                    </a:lnTo>
                    <a:lnTo>
                      <a:pt x="49" y="849"/>
                    </a:lnTo>
                    <a:lnTo>
                      <a:pt x="49" y="847"/>
                    </a:lnTo>
                    <a:lnTo>
                      <a:pt x="49" y="845"/>
                    </a:lnTo>
                    <a:lnTo>
                      <a:pt x="49" y="844"/>
                    </a:lnTo>
                    <a:lnTo>
                      <a:pt x="48" y="844"/>
                    </a:lnTo>
                    <a:lnTo>
                      <a:pt x="48" y="842"/>
                    </a:lnTo>
                    <a:lnTo>
                      <a:pt x="49" y="842"/>
                    </a:lnTo>
                    <a:lnTo>
                      <a:pt x="49" y="840"/>
                    </a:lnTo>
                    <a:lnTo>
                      <a:pt x="49" y="839"/>
                    </a:lnTo>
                    <a:lnTo>
                      <a:pt x="51" y="839"/>
                    </a:lnTo>
                    <a:lnTo>
                      <a:pt x="51" y="837"/>
                    </a:lnTo>
                    <a:lnTo>
                      <a:pt x="53" y="837"/>
                    </a:lnTo>
                    <a:lnTo>
                      <a:pt x="53" y="835"/>
                    </a:lnTo>
                    <a:lnTo>
                      <a:pt x="53" y="833"/>
                    </a:lnTo>
                    <a:lnTo>
                      <a:pt x="53" y="832"/>
                    </a:lnTo>
                    <a:lnTo>
                      <a:pt x="53" y="830"/>
                    </a:lnTo>
                    <a:lnTo>
                      <a:pt x="51" y="830"/>
                    </a:lnTo>
                    <a:lnTo>
                      <a:pt x="51" y="828"/>
                    </a:lnTo>
                    <a:lnTo>
                      <a:pt x="49" y="830"/>
                    </a:lnTo>
                    <a:lnTo>
                      <a:pt x="49" y="828"/>
                    </a:lnTo>
                    <a:lnTo>
                      <a:pt x="49" y="827"/>
                    </a:lnTo>
                    <a:lnTo>
                      <a:pt x="49" y="825"/>
                    </a:lnTo>
                    <a:lnTo>
                      <a:pt x="48" y="823"/>
                    </a:lnTo>
                    <a:lnTo>
                      <a:pt x="49" y="823"/>
                    </a:lnTo>
                    <a:lnTo>
                      <a:pt x="48" y="822"/>
                    </a:lnTo>
                    <a:lnTo>
                      <a:pt x="48" y="820"/>
                    </a:lnTo>
                    <a:lnTo>
                      <a:pt x="48" y="818"/>
                    </a:lnTo>
                    <a:lnTo>
                      <a:pt x="49" y="818"/>
                    </a:lnTo>
                    <a:lnTo>
                      <a:pt x="51" y="818"/>
                    </a:lnTo>
                    <a:lnTo>
                      <a:pt x="51" y="816"/>
                    </a:lnTo>
                    <a:lnTo>
                      <a:pt x="53" y="816"/>
                    </a:lnTo>
                    <a:lnTo>
                      <a:pt x="53" y="818"/>
                    </a:lnTo>
                    <a:lnTo>
                      <a:pt x="54" y="818"/>
                    </a:lnTo>
                    <a:lnTo>
                      <a:pt x="56" y="820"/>
                    </a:lnTo>
                    <a:lnTo>
                      <a:pt x="58" y="820"/>
                    </a:lnTo>
                    <a:lnTo>
                      <a:pt x="58" y="818"/>
                    </a:lnTo>
                    <a:lnTo>
                      <a:pt x="60" y="818"/>
                    </a:lnTo>
                    <a:lnTo>
                      <a:pt x="60" y="820"/>
                    </a:lnTo>
                    <a:lnTo>
                      <a:pt x="60" y="818"/>
                    </a:lnTo>
                    <a:lnTo>
                      <a:pt x="61" y="818"/>
                    </a:lnTo>
                    <a:lnTo>
                      <a:pt x="63" y="818"/>
                    </a:lnTo>
                    <a:lnTo>
                      <a:pt x="63" y="816"/>
                    </a:lnTo>
                    <a:lnTo>
                      <a:pt x="63" y="815"/>
                    </a:lnTo>
                    <a:lnTo>
                      <a:pt x="63" y="813"/>
                    </a:lnTo>
                    <a:lnTo>
                      <a:pt x="61" y="813"/>
                    </a:lnTo>
                    <a:lnTo>
                      <a:pt x="61" y="811"/>
                    </a:lnTo>
                    <a:lnTo>
                      <a:pt x="61" y="810"/>
                    </a:lnTo>
                    <a:lnTo>
                      <a:pt x="61" y="808"/>
                    </a:lnTo>
                    <a:lnTo>
                      <a:pt x="61" y="806"/>
                    </a:lnTo>
                    <a:lnTo>
                      <a:pt x="61" y="804"/>
                    </a:lnTo>
                    <a:lnTo>
                      <a:pt x="61" y="803"/>
                    </a:lnTo>
                    <a:lnTo>
                      <a:pt x="61" y="801"/>
                    </a:lnTo>
                    <a:lnTo>
                      <a:pt x="61" y="799"/>
                    </a:lnTo>
                    <a:lnTo>
                      <a:pt x="60" y="799"/>
                    </a:lnTo>
                    <a:lnTo>
                      <a:pt x="61" y="798"/>
                    </a:lnTo>
                    <a:lnTo>
                      <a:pt x="60" y="798"/>
                    </a:lnTo>
                    <a:lnTo>
                      <a:pt x="60" y="796"/>
                    </a:lnTo>
                    <a:lnTo>
                      <a:pt x="58" y="796"/>
                    </a:lnTo>
                    <a:lnTo>
                      <a:pt x="58" y="794"/>
                    </a:lnTo>
                    <a:lnTo>
                      <a:pt x="58" y="793"/>
                    </a:lnTo>
                    <a:lnTo>
                      <a:pt x="60" y="793"/>
                    </a:lnTo>
                    <a:lnTo>
                      <a:pt x="60" y="791"/>
                    </a:lnTo>
                    <a:lnTo>
                      <a:pt x="60" y="789"/>
                    </a:lnTo>
                    <a:lnTo>
                      <a:pt x="60" y="787"/>
                    </a:lnTo>
                    <a:lnTo>
                      <a:pt x="60" y="786"/>
                    </a:lnTo>
                    <a:lnTo>
                      <a:pt x="58" y="786"/>
                    </a:lnTo>
                    <a:lnTo>
                      <a:pt x="58" y="784"/>
                    </a:lnTo>
                    <a:lnTo>
                      <a:pt x="58" y="782"/>
                    </a:lnTo>
                    <a:lnTo>
                      <a:pt x="56" y="782"/>
                    </a:lnTo>
                    <a:lnTo>
                      <a:pt x="58" y="782"/>
                    </a:lnTo>
                    <a:lnTo>
                      <a:pt x="58" y="781"/>
                    </a:lnTo>
                    <a:lnTo>
                      <a:pt x="58" y="779"/>
                    </a:lnTo>
                    <a:lnTo>
                      <a:pt x="58" y="777"/>
                    </a:lnTo>
                    <a:lnTo>
                      <a:pt x="60" y="779"/>
                    </a:lnTo>
                    <a:lnTo>
                      <a:pt x="58" y="777"/>
                    </a:lnTo>
                    <a:lnTo>
                      <a:pt x="60" y="777"/>
                    </a:lnTo>
                    <a:lnTo>
                      <a:pt x="58" y="777"/>
                    </a:lnTo>
                    <a:lnTo>
                      <a:pt x="58" y="776"/>
                    </a:lnTo>
                    <a:lnTo>
                      <a:pt x="58" y="774"/>
                    </a:lnTo>
                    <a:lnTo>
                      <a:pt x="60" y="774"/>
                    </a:lnTo>
                    <a:lnTo>
                      <a:pt x="60" y="772"/>
                    </a:lnTo>
                    <a:lnTo>
                      <a:pt x="60" y="770"/>
                    </a:lnTo>
                    <a:lnTo>
                      <a:pt x="60" y="769"/>
                    </a:lnTo>
                    <a:lnTo>
                      <a:pt x="58" y="769"/>
                    </a:lnTo>
                    <a:lnTo>
                      <a:pt x="58" y="767"/>
                    </a:lnTo>
                    <a:lnTo>
                      <a:pt x="58" y="765"/>
                    </a:lnTo>
                    <a:lnTo>
                      <a:pt x="56" y="765"/>
                    </a:lnTo>
                    <a:lnTo>
                      <a:pt x="58" y="765"/>
                    </a:lnTo>
                    <a:lnTo>
                      <a:pt x="58" y="764"/>
                    </a:lnTo>
                    <a:lnTo>
                      <a:pt x="58" y="762"/>
                    </a:lnTo>
                    <a:lnTo>
                      <a:pt x="58" y="760"/>
                    </a:lnTo>
                    <a:lnTo>
                      <a:pt x="58" y="762"/>
                    </a:lnTo>
                    <a:lnTo>
                      <a:pt x="58" y="760"/>
                    </a:lnTo>
                    <a:lnTo>
                      <a:pt x="56" y="760"/>
                    </a:lnTo>
                    <a:lnTo>
                      <a:pt x="56" y="759"/>
                    </a:lnTo>
                    <a:lnTo>
                      <a:pt x="56" y="757"/>
                    </a:lnTo>
                    <a:lnTo>
                      <a:pt x="56" y="755"/>
                    </a:lnTo>
                    <a:lnTo>
                      <a:pt x="54" y="755"/>
                    </a:lnTo>
                    <a:lnTo>
                      <a:pt x="54" y="753"/>
                    </a:lnTo>
                    <a:lnTo>
                      <a:pt x="56" y="753"/>
                    </a:lnTo>
                    <a:lnTo>
                      <a:pt x="58" y="752"/>
                    </a:lnTo>
                    <a:lnTo>
                      <a:pt x="58" y="750"/>
                    </a:lnTo>
                    <a:lnTo>
                      <a:pt x="60" y="750"/>
                    </a:lnTo>
                    <a:lnTo>
                      <a:pt x="60" y="748"/>
                    </a:lnTo>
                    <a:lnTo>
                      <a:pt x="58" y="748"/>
                    </a:lnTo>
                    <a:lnTo>
                      <a:pt x="58" y="747"/>
                    </a:lnTo>
                    <a:lnTo>
                      <a:pt x="60" y="745"/>
                    </a:lnTo>
                    <a:lnTo>
                      <a:pt x="58" y="745"/>
                    </a:lnTo>
                    <a:lnTo>
                      <a:pt x="60" y="743"/>
                    </a:lnTo>
                    <a:lnTo>
                      <a:pt x="60" y="742"/>
                    </a:lnTo>
                    <a:lnTo>
                      <a:pt x="61" y="740"/>
                    </a:lnTo>
                    <a:lnTo>
                      <a:pt x="61" y="742"/>
                    </a:lnTo>
                    <a:lnTo>
                      <a:pt x="61" y="740"/>
                    </a:lnTo>
                    <a:lnTo>
                      <a:pt x="63" y="742"/>
                    </a:lnTo>
                    <a:lnTo>
                      <a:pt x="65" y="740"/>
                    </a:lnTo>
                    <a:lnTo>
                      <a:pt x="65" y="738"/>
                    </a:lnTo>
                    <a:lnTo>
                      <a:pt x="65" y="736"/>
                    </a:lnTo>
                    <a:lnTo>
                      <a:pt x="65" y="735"/>
                    </a:lnTo>
                    <a:lnTo>
                      <a:pt x="63" y="735"/>
                    </a:lnTo>
                    <a:lnTo>
                      <a:pt x="61" y="735"/>
                    </a:lnTo>
                    <a:lnTo>
                      <a:pt x="60" y="733"/>
                    </a:lnTo>
                    <a:lnTo>
                      <a:pt x="61" y="733"/>
                    </a:lnTo>
                    <a:lnTo>
                      <a:pt x="60" y="733"/>
                    </a:lnTo>
                    <a:lnTo>
                      <a:pt x="60" y="731"/>
                    </a:lnTo>
                    <a:lnTo>
                      <a:pt x="61" y="730"/>
                    </a:lnTo>
                    <a:lnTo>
                      <a:pt x="60" y="730"/>
                    </a:lnTo>
                    <a:lnTo>
                      <a:pt x="60" y="728"/>
                    </a:lnTo>
                    <a:lnTo>
                      <a:pt x="61" y="728"/>
                    </a:lnTo>
                    <a:lnTo>
                      <a:pt x="60" y="726"/>
                    </a:lnTo>
                    <a:lnTo>
                      <a:pt x="61" y="726"/>
                    </a:lnTo>
                    <a:lnTo>
                      <a:pt x="63" y="726"/>
                    </a:lnTo>
                    <a:lnTo>
                      <a:pt x="65" y="728"/>
                    </a:lnTo>
                    <a:lnTo>
                      <a:pt x="65" y="726"/>
                    </a:lnTo>
                    <a:lnTo>
                      <a:pt x="65" y="725"/>
                    </a:lnTo>
                    <a:lnTo>
                      <a:pt x="65" y="723"/>
                    </a:lnTo>
                    <a:lnTo>
                      <a:pt x="65" y="721"/>
                    </a:lnTo>
                    <a:lnTo>
                      <a:pt x="66" y="721"/>
                    </a:lnTo>
                    <a:lnTo>
                      <a:pt x="66" y="719"/>
                    </a:lnTo>
                    <a:lnTo>
                      <a:pt x="68" y="719"/>
                    </a:lnTo>
                    <a:lnTo>
                      <a:pt x="68" y="718"/>
                    </a:lnTo>
                    <a:lnTo>
                      <a:pt x="66" y="716"/>
                    </a:lnTo>
                    <a:lnTo>
                      <a:pt x="65" y="716"/>
                    </a:lnTo>
                    <a:lnTo>
                      <a:pt x="65" y="714"/>
                    </a:lnTo>
                    <a:lnTo>
                      <a:pt x="65" y="713"/>
                    </a:lnTo>
                    <a:lnTo>
                      <a:pt x="65" y="711"/>
                    </a:lnTo>
                    <a:lnTo>
                      <a:pt x="63" y="711"/>
                    </a:lnTo>
                    <a:lnTo>
                      <a:pt x="63" y="709"/>
                    </a:lnTo>
                    <a:lnTo>
                      <a:pt x="65" y="709"/>
                    </a:lnTo>
                    <a:lnTo>
                      <a:pt x="63" y="709"/>
                    </a:lnTo>
                    <a:lnTo>
                      <a:pt x="65" y="709"/>
                    </a:lnTo>
                    <a:lnTo>
                      <a:pt x="65" y="708"/>
                    </a:lnTo>
                    <a:lnTo>
                      <a:pt x="63" y="706"/>
                    </a:lnTo>
                    <a:lnTo>
                      <a:pt x="65" y="706"/>
                    </a:lnTo>
                    <a:lnTo>
                      <a:pt x="65" y="704"/>
                    </a:lnTo>
                    <a:lnTo>
                      <a:pt x="65" y="702"/>
                    </a:lnTo>
                    <a:lnTo>
                      <a:pt x="65" y="704"/>
                    </a:lnTo>
                    <a:lnTo>
                      <a:pt x="66" y="704"/>
                    </a:lnTo>
                    <a:lnTo>
                      <a:pt x="66" y="706"/>
                    </a:lnTo>
                    <a:lnTo>
                      <a:pt x="68" y="706"/>
                    </a:lnTo>
                    <a:lnTo>
                      <a:pt x="70" y="706"/>
                    </a:lnTo>
                    <a:lnTo>
                      <a:pt x="71" y="706"/>
                    </a:lnTo>
                    <a:lnTo>
                      <a:pt x="71" y="704"/>
                    </a:lnTo>
                    <a:lnTo>
                      <a:pt x="71" y="702"/>
                    </a:lnTo>
                    <a:lnTo>
                      <a:pt x="70" y="702"/>
                    </a:lnTo>
                    <a:lnTo>
                      <a:pt x="70" y="701"/>
                    </a:lnTo>
                    <a:lnTo>
                      <a:pt x="71" y="699"/>
                    </a:lnTo>
                    <a:lnTo>
                      <a:pt x="71" y="697"/>
                    </a:lnTo>
                    <a:lnTo>
                      <a:pt x="73" y="697"/>
                    </a:lnTo>
                    <a:lnTo>
                      <a:pt x="71" y="697"/>
                    </a:lnTo>
                    <a:lnTo>
                      <a:pt x="73" y="696"/>
                    </a:lnTo>
                    <a:lnTo>
                      <a:pt x="71" y="696"/>
                    </a:lnTo>
                    <a:lnTo>
                      <a:pt x="71" y="694"/>
                    </a:lnTo>
                    <a:lnTo>
                      <a:pt x="73" y="694"/>
                    </a:lnTo>
                    <a:lnTo>
                      <a:pt x="75" y="694"/>
                    </a:lnTo>
                    <a:lnTo>
                      <a:pt x="75" y="692"/>
                    </a:lnTo>
                    <a:lnTo>
                      <a:pt x="75" y="691"/>
                    </a:lnTo>
                    <a:lnTo>
                      <a:pt x="75" y="689"/>
                    </a:lnTo>
                    <a:lnTo>
                      <a:pt x="75" y="687"/>
                    </a:lnTo>
                    <a:lnTo>
                      <a:pt x="73" y="685"/>
                    </a:lnTo>
                    <a:lnTo>
                      <a:pt x="73" y="684"/>
                    </a:lnTo>
                    <a:lnTo>
                      <a:pt x="73" y="682"/>
                    </a:lnTo>
                    <a:lnTo>
                      <a:pt x="73" y="680"/>
                    </a:lnTo>
                    <a:lnTo>
                      <a:pt x="75" y="680"/>
                    </a:lnTo>
                    <a:lnTo>
                      <a:pt x="73" y="680"/>
                    </a:lnTo>
                    <a:lnTo>
                      <a:pt x="73" y="679"/>
                    </a:lnTo>
                    <a:lnTo>
                      <a:pt x="73" y="677"/>
                    </a:lnTo>
                    <a:lnTo>
                      <a:pt x="73" y="675"/>
                    </a:lnTo>
                    <a:lnTo>
                      <a:pt x="75" y="675"/>
                    </a:lnTo>
                    <a:lnTo>
                      <a:pt x="75" y="674"/>
                    </a:lnTo>
                    <a:lnTo>
                      <a:pt x="77" y="674"/>
                    </a:lnTo>
                    <a:lnTo>
                      <a:pt x="78" y="672"/>
                    </a:lnTo>
                    <a:lnTo>
                      <a:pt x="78" y="670"/>
                    </a:lnTo>
                    <a:lnTo>
                      <a:pt x="80" y="670"/>
                    </a:lnTo>
                    <a:lnTo>
                      <a:pt x="82" y="670"/>
                    </a:lnTo>
                    <a:lnTo>
                      <a:pt x="83" y="670"/>
                    </a:lnTo>
                    <a:lnTo>
                      <a:pt x="83" y="668"/>
                    </a:lnTo>
                    <a:lnTo>
                      <a:pt x="85" y="668"/>
                    </a:lnTo>
                    <a:lnTo>
                      <a:pt x="87" y="668"/>
                    </a:lnTo>
                    <a:lnTo>
                      <a:pt x="88" y="668"/>
                    </a:lnTo>
                    <a:lnTo>
                      <a:pt x="90" y="668"/>
                    </a:lnTo>
                    <a:lnTo>
                      <a:pt x="90" y="667"/>
                    </a:lnTo>
                    <a:lnTo>
                      <a:pt x="92" y="667"/>
                    </a:lnTo>
                    <a:lnTo>
                      <a:pt x="92" y="665"/>
                    </a:lnTo>
                    <a:lnTo>
                      <a:pt x="90" y="665"/>
                    </a:lnTo>
                    <a:lnTo>
                      <a:pt x="90" y="663"/>
                    </a:lnTo>
                    <a:lnTo>
                      <a:pt x="92" y="663"/>
                    </a:lnTo>
                    <a:lnTo>
                      <a:pt x="92" y="662"/>
                    </a:lnTo>
                    <a:lnTo>
                      <a:pt x="94" y="662"/>
                    </a:lnTo>
                    <a:lnTo>
                      <a:pt x="94" y="660"/>
                    </a:lnTo>
                    <a:lnTo>
                      <a:pt x="94" y="658"/>
                    </a:lnTo>
                    <a:lnTo>
                      <a:pt x="92" y="658"/>
                    </a:lnTo>
                    <a:lnTo>
                      <a:pt x="92" y="656"/>
                    </a:lnTo>
                    <a:lnTo>
                      <a:pt x="90" y="656"/>
                    </a:lnTo>
                    <a:lnTo>
                      <a:pt x="90" y="655"/>
                    </a:lnTo>
                    <a:lnTo>
                      <a:pt x="88" y="655"/>
                    </a:lnTo>
                    <a:lnTo>
                      <a:pt x="88" y="653"/>
                    </a:lnTo>
                    <a:lnTo>
                      <a:pt x="88" y="651"/>
                    </a:lnTo>
                    <a:lnTo>
                      <a:pt x="87" y="650"/>
                    </a:lnTo>
                    <a:lnTo>
                      <a:pt x="88" y="650"/>
                    </a:lnTo>
                    <a:lnTo>
                      <a:pt x="87" y="650"/>
                    </a:lnTo>
                    <a:lnTo>
                      <a:pt x="87" y="648"/>
                    </a:lnTo>
                    <a:lnTo>
                      <a:pt x="87" y="646"/>
                    </a:lnTo>
                    <a:lnTo>
                      <a:pt x="87" y="645"/>
                    </a:lnTo>
                    <a:lnTo>
                      <a:pt x="88" y="645"/>
                    </a:lnTo>
                    <a:lnTo>
                      <a:pt x="88" y="643"/>
                    </a:lnTo>
                    <a:lnTo>
                      <a:pt x="87" y="641"/>
                    </a:lnTo>
                    <a:lnTo>
                      <a:pt x="85" y="639"/>
                    </a:lnTo>
                    <a:lnTo>
                      <a:pt x="87" y="639"/>
                    </a:lnTo>
                    <a:lnTo>
                      <a:pt x="88" y="639"/>
                    </a:lnTo>
                    <a:lnTo>
                      <a:pt x="87" y="639"/>
                    </a:lnTo>
                    <a:lnTo>
                      <a:pt x="87" y="638"/>
                    </a:lnTo>
                    <a:lnTo>
                      <a:pt x="85" y="638"/>
                    </a:lnTo>
                    <a:lnTo>
                      <a:pt x="85" y="636"/>
                    </a:lnTo>
                    <a:lnTo>
                      <a:pt x="85" y="634"/>
                    </a:lnTo>
                    <a:lnTo>
                      <a:pt x="83" y="633"/>
                    </a:lnTo>
                    <a:lnTo>
                      <a:pt x="83" y="631"/>
                    </a:lnTo>
                    <a:lnTo>
                      <a:pt x="83" y="629"/>
                    </a:lnTo>
                    <a:lnTo>
                      <a:pt x="82" y="629"/>
                    </a:lnTo>
                    <a:lnTo>
                      <a:pt x="82" y="628"/>
                    </a:lnTo>
                    <a:lnTo>
                      <a:pt x="83" y="628"/>
                    </a:lnTo>
                    <a:lnTo>
                      <a:pt x="82" y="628"/>
                    </a:lnTo>
                    <a:lnTo>
                      <a:pt x="82" y="626"/>
                    </a:lnTo>
                    <a:lnTo>
                      <a:pt x="82" y="624"/>
                    </a:lnTo>
                    <a:lnTo>
                      <a:pt x="82" y="622"/>
                    </a:lnTo>
                    <a:lnTo>
                      <a:pt x="80" y="622"/>
                    </a:lnTo>
                    <a:lnTo>
                      <a:pt x="80" y="621"/>
                    </a:lnTo>
                    <a:lnTo>
                      <a:pt x="82" y="619"/>
                    </a:lnTo>
                    <a:lnTo>
                      <a:pt x="83" y="617"/>
                    </a:lnTo>
                    <a:lnTo>
                      <a:pt x="83" y="616"/>
                    </a:lnTo>
                    <a:lnTo>
                      <a:pt x="82" y="616"/>
                    </a:lnTo>
                    <a:lnTo>
                      <a:pt x="83" y="616"/>
                    </a:lnTo>
                    <a:lnTo>
                      <a:pt x="83" y="614"/>
                    </a:lnTo>
                    <a:lnTo>
                      <a:pt x="83" y="612"/>
                    </a:lnTo>
                    <a:lnTo>
                      <a:pt x="83" y="611"/>
                    </a:lnTo>
                    <a:lnTo>
                      <a:pt x="82" y="609"/>
                    </a:lnTo>
                    <a:lnTo>
                      <a:pt x="80" y="609"/>
                    </a:lnTo>
                    <a:lnTo>
                      <a:pt x="82" y="607"/>
                    </a:lnTo>
                    <a:lnTo>
                      <a:pt x="80" y="607"/>
                    </a:lnTo>
                    <a:lnTo>
                      <a:pt x="80" y="605"/>
                    </a:lnTo>
                    <a:lnTo>
                      <a:pt x="80" y="604"/>
                    </a:lnTo>
                    <a:lnTo>
                      <a:pt x="82" y="604"/>
                    </a:lnTo>
                    <a:lnTo>
                      <a:pt x="82" y="602"/>
                    </a:lnTo>
                    <a:lnTo>
                      <a:pt x="83" y="602"/>
                    </a:lnTo>
                    <a:lnTo>
                      <a:pt x="83" y="600"/>
                    </a:lnTo>
                    <a:lnTo>
                      <a:pt x="83" y="599"/>
                    </a:lnTo>
                    <a:lnTo>
                      <a:pt x="85" y="599"/>
                    </a:lnTo>
                    <a:lnTo>
                      <a:pt x="85" y="597"/>
                    </a:lnTo>
                    <a:lnTo>
                      <a:pt x="83" y="597"/>
                    </a:lnTo>
                    <a:lnTo>
                      <a:pt x="83" y="595"/>
                    </a:lnTo>
                    <a:lnTo>
                      <a:pt x="83" y="594"/>
                    </a:lnTo>
                    <a:lnTo>
                      <a:pt x="82" y="594"/>
                    </a:lnTo>
                    <a:lnTo>
                      <a:pt x="82" y="592"/>
                    </a:lnTo>
                    <a:lnTo>
                      <a:pt x="80" y="592"/>
                    </a:lnTo>
                    <a:lnTo>
                      <a:pt x="82" y="592"/>
                    </a:lnTo>
                    <a:lnTo>
                      <a:pt x="83" y="592"/>
                    </a:lnTo>
                    <a:lnTo>
                      <a:pt x="83" y="590"/>
                    </a:lnTo>
                    <a:lnTo>
                      <a:pt x="85" y="590"/>
                    </a:lnTo>
                    <a:lnTo>
                      <a:pt x="83" y="590"/>
                    </a:lnTo>
                    <a:lnTo>
                      <a:pt x="82" y="588"/>
                    </a:lnTo>
                    <a:lnTo>
                      <a:pt x="83" y="588"/>
                    </a:lnTo>
                    <a:lnTo>
                      <a:pt x="83" y="587"/>
                    </a:lnTo>
                    <a:lnTo>
                      <a:pt x="82" y="587"/>
                    </a:lnTo>
                    <a:lnTo>
                      <a:pt x="82" y="585"/>
                    </a:lnTo>
                    <a:lnTo>
                      <a:pt x="83" y="585"/>
                    </a:lnTo>
                    <a:lnTo>
                      <a:pt x="83" y="583"/>
                    </a:lnTo>
                    <a:lnTo>
                      <a:pt x="83" y="582"/>
                    </a:lnTo>
                    <a:lnTo>
                      <a:pt x="83" y="580"/>
                    </a:lnTo>
                    <a:lnTo>
                      <a:pt x="83" y="578"/>
                    </a:lnTo>
                    <a:lnTo>
                      <a:pt x="85" y="578"/>
                    </a:lnTo>
                    <a:lnTo>
                      <a:pt x="85" y="580"/>
                    </a:lnTo>
                    <a:lnTo>
                      <a:pt x="87" y="580"/>
                    </a:lnTo>
                    <a:lnTo>
                      <a:pt x="87" y="578"/>
                    </a:lnTo>
                    <a:lnTo>
                      <a:pt x="87" y="577"/>
                    </a:lnTo>
                    <a:lnTo>
                      <a:pt x="85" y="577"/>
                    </a:lnTo>
                    <a:lnTo>
                      <a:pt x="87" y="575"/>
                    </a:lnTo>
                    <a:lnTo>
                      <a:pt x="85" y="575"/>
                    </a:lnTo>
                    <a:lnTo>
                      <a:pt x="87" y="573"/>
                    </a:lnTo>
                    <a:lnTo>
                      <a:pt x="85" y="573"/>
                    </a:lnTo>
                    <a:lnTo>
                      <a:pt x="87" y="571"/>
                    </a:lnTo>
                    <a:lnTo>
                      <a:pt x="87" y="570"/>
                    </a:lnTo>
                    <a:lnTo>
                      <a:pt x="87" y="571"/>
                    </a:lnTo>
                    <a:lnTo>
                      <a:pt x="88" y="571"/>
                    </a:lnTo>
                    <a:lnTo>
                      <a:pt x="90" y="571"/>
                    </a:lnTo>
                    <a:lnTo>
                      <a:pt x="90" y="570"/>
                    </a:lnTo>
                    <a:lnTo>
                      <a:pt x="92" y="570"/>
                    </a:lnTo>
                    <a:lnTo>
                      <a:pt x="92" y="568"/>
                    </a:lnTo>
                    <a:lnTo>
                      <a:pt x="92" y="566"/>
                    </a:lnTo>
                    <a:lnTo>
                      <a:pt x="92" y="568"/>
                    </a:lnTo>
                    <a:lnTo>
                      <a:pt x="94" y="568"/>
                    </a:lnTo>
                    <a:lnTo>
                      <a:pt x="94" y="566"/>
                    </a:lnTo>
                    <a:lnTo>
                      <a:pt x="94" y="568"/>
                    </a:lnTo>
                    <a:lnTo>
                      <a:pt x="95" y="568"/>
                    </a:lnTo>
                    <a:lnTo>
                      <a:pt x="97" y="568"/>
                    </a:lnTo>
                    <a:lnTo>
                      <a:pt x="99" y="568"/>
                    </a:lnTo>
                    <a:lnTo>
                      <a:pt x="99" y="566"/>
                    </a:lnTo>
                    <a:lnTo>
                      <a:pt x="97" y="566"/>
                    </a:lnTo>
                    <a:lnTo>
                      <a:pt x="97" y="565"/>
                    </a:lnTo>
                    <a:lnTo>
                      <a:pt x="99" y="563"/>
                    </a:lnTo>
                    <a:lnTo>
                      <a:pt x="97" y="561"/>
                    </a:lnTo>
                    <a:lnTo>
                      <a:pt x="99" y="561"/>
                    </a:lnTo>
                    <a:lnTo>
                      <a:pt x="100" y="561"/>
                    </a:lnTo>
                    <a:lnTo>
                      <a:pt x="100" y="560"/>
                    </a:lnTo>
                    <a:lnTo>
                      <a:pt x="100" y="558"/>
                    </a:lnTo>
                    <a:lnTo>
                      <a:pt x="102" y="558"/>
                    </a:lnTo>
                    <a:lnTo>
                      <a:pt x="102" y="556"/>
                    </a:lnTo>
                    <a:lnTo>
                      <a:pt x="104" y="556"/>
                    </a:lnTo>
                    <a:lnTo>
                      <a:pt x="104" y="558"/>
                    </a:lnTo>
                    <a:lnTo>
                      <a:pt x="105" y="558"/>
                    </a:lnTo>
                    <a:lnTo>
                      <a:pt x="107" y="558"/>
                    </a:lnTo>
                    <a:lnTo>
                      <a:pt x="107" y="556"/>
                    </a:lnTo>
                    <a:lnTo>
                      <a:pt x="107" y="554"/>
                    </a:lnTo>
                    <a:lnTo>
                      <a:pt x="107" y="553"/>
                    </a:lnTo>
                    <a:lnTo>
                      <a:pt x="109" y="553"/>
                    </a:lnTo>
                    <a:lnTo>
                      <a:pt x="109" y="551"/>
                    </a:lnTo>
                    <a:lnTo>
                      <a:pt x="109" y="549"/>
                    </a:lnTo>
                    <a:lnTo>
                      <a:pt x="107" y="549"/>
                    </a:lnTo>
                    <a:lnTo>
                      <a:pt x="109" y="548"/>
                    </a:lnTo>
                    <a:lnTo>
                      <a:pt x="107" y="548"/>
                    </a:lnTo>
                    <a:lnTo>
                      <a:pt x="107" y="546"/>
                    </a:lnTo>
                    <a:lnTo>
                      <a:pt x="107" y="544"/>
                    </a:lnTo>
                    <a:lnTo>
                      <a:pt x="109" y="544"/>
                    </a:lnTo>
                    <a:lnTo>
                      <a:pt x="111" y="544"/>
                    </a:lnTo>
                    <a:lnTo>
                      <a:pt x="111" y="543"/>
                    </a:lnTo>
                    <a:lnTo>
                      <a:pt x="109" y="543"/>
                    </a:lnTo>
                    <a:lnTo>
                      <a:pt x="109" y="541"/>
                    </a:lnTo>
                    <a:lnTo>
                      <a:pt x="109" y="539"/>
                    </a:lnTo>
                    <a:lnTo>
                      <a:pt x="109" y="537"/>
                    </a:lnTo>
                    <a:lnTo>
                      <a:pt x="107" y="537"/>
                    </a:lnTo>
                    <a:lnTo>
                      <a:pt x="107" y="536"/>
                    </a:lnTo>
                    <a:lnTo>
                      <a:pt x="109" y="534"/>
                    </a:lnTo>
                    <a:lnTo>
                      <a:pt x="107" y="532"/>
                    </a:lnTo>
                    <a:lnTo>
                      <a:pt x="107" y="531"/>
                    </a:lnTo>
                    <a:lnTo>
                      <a:pt x="109" y="531"/>
                    </a:lnTo>
                    <a:lnTo>
                      <a:pt x="107" y="529"/>
                    </a:lnTo>
                    <a:lnTo>
                      <a:pt x="105" y="529"/>
                    </a:lnTo>
                    <a:lnTo>
                      <a:pt x="107" y="527"/>
                    </a:lnTo>
                    <a:lnTo>
                      <a:pt x="105" y="527"/>
                    </a:lnTo>
                    <a:lnTo>
                      <a:pt x="107" y="526"/>
                    </a:lnTo>
                    <a:lnTo>
                      <a:pt x="105" y="526"/>
                    </a:lnTo>
                    <a:lnTo>
                      <a:pt x="107" y="524"/>
                    </a:lnTo>
                    <a:lnTo>
                      <a:pt x="107" y="522"/>
                    </a:lnTo>
                    <a:lnTo>
                      <a:pt x="105" y="522"/>
                    </a:lnTo>
                    <a:lnTo>
                      <a:pt x="104" y="522"/>
                    </a:lnTo>
                    <a:lnTo>
                      <a:pt x="102" y="522"/>
                    </a:lnTo>
                    <a:lnTo>
                      <a:pt x="102" y="520"/>
                    </a:lnTo>
                    <a:lnTo>
                      <a:pt x="102" y="519"/>
                    </a:lnTo>
                    <a:lnTo>
                      <a:pt x="102" y="517"/>
                    </a:lnTo>
                    <a:lnTo>
                      <a:pt x="104" y="517"/>
                    </a:lnTo>
                    <a:lnTo>
                      <a:pt x="105" y="517"/>
                    </a:lnTo>
                    <a:lnTo>
                      <a:pt x="107" y="517"/>
                    </a:lnTo>
                    <a:lnTo>
                      <a:pt x="109" y="517"/>
                    </a:lnTo>
                    <a:lnTo>
                      <a:pt x="109" y="515"/>
                    </a:lnTo>
                    <a:lnTo>
                      <a:pt x="109" y="514"/>
                    </a:lnTo>
                    <a:lnTo>
                      <a:pt x="109" y="512"/>
                    </a:lnTo>
                    <a:lnTo>
                      <a:pt x="109" y="510"/>
                    </a:lnTo>
                    <a:lnTo>
                      <a:pt x="109" y="509"/>
                    </a:lnTo>
                    <a:lnTo>
                      <a:pt x="111" y="509"/>
                    </a:lnTo>
                    <a:lnTo>
                      <a:pt x="111" y="507"/>
                    </a:lnTo>
                    <a:lnTo>
                      <a:pt x="111" y="505"/>
                    </a:lnTo>
                    <a:lnTo>
                      <a:pt x="112" y="503"/>
                    </a:lnTo>
                    <a:lnTo>
                      <a:pt x="112" y="502"/>
                    </a:lnTo>
                    <a:lnTo>
                      <a:pt x="112" y="500"/>
                    </a:lnTo>
                    <a:lnTo>
                      <a:pt x="111" y="500"/>
                    </a:lnTo>
                    <a:lnTo>
                      <a:pt x="111" y="498"/>
                    </a:lnTo>
                    <a:lnTo>
                      <a:pt x="112" y="498"/>
                    </a:lnTo>
                    <a:lnTo>
                      <a:pt x="112" y="497"/>
                    </a:lnTo>
                    <a:lnTo>
                      <a:pt x="114" y="497"/>
                    </a:lnTo>
                    <a:lnTo>
                      <a:pt x="114" y="495"/>
                    </a:lnTo>
                    <a:lnTo>
                      <a:pt x="114" y="493"/>
                    </a:lnTo>
                    <a:lnTo>
                      <a:pt x="116" y="491"/>
                    </a:lnTo>
                    <a:lnTo>
                      <a:pt x="116" y="490"/>
                    </a:lnTo>
                    <a:lnTo>
                      <a:pt x="117" y="488"/>
                    </a:lnTo>
                    <a:lnTo>
                      <a:pt x="119" y="488"/>
                    </a:lnTo>
                    <a:lnTo>
                      <a:pt x="119" y="486"/>
                    </a:lnTo>
                    <a:lnTo>
                      <a:pt x="121" y="485"/>
                    </a:lnTo>
                    <a:lnTo>
                      <a:pt x="121" y="483"/>
                    </a:lnTo>
                    <a:lnTo>
                      <a:pt x="121" y="481"/>
                    </a:lnTo>
                    <a:lnTo>
                      <a:pt x="121" y="480"/>
                    </a:lnTo>
                    <a:lnTo>
                      <a:pt x="122" y="480"/>
                    </a:lnTo>
                    <a:lnTo>
                      <a:pt x="122" y="478"/>
                    </a:lnTo>
                    <a:lnTo>
                      <a:pt x="122" y="480"/>
                    </a:lnTo>
                    <a:lnTo>
                      <a:pt x="124" y="480"/>
                    </a:lnTo>
                    <a:lnTo>
                      <a:pt x="126" y="480"/>
                    </a:lnTo>
                    <a:lnTo>
                      <a:pt x="126" y="478"/>
                    </a:lnTo>
                    <a:lnTo>
                      <a:pt x="128" y="478"/>
                    </a:lnTo>
                    <a:lnTo>
                      <a:pt x="128" y="476"/>
                    </a:lnTo>
                    <a:lnTo>
                      <a:pt x="128" y="474"/>
                    </a:lnTo>
                    <a:lnTo>
                      <a:pt x="126" y="474"/>
                    </a:lnTo>
                    <a:lnTo>
                      <a:pt x="126" y="473"/>
                    </a:lnTo>
                    <a:lnTo>
                      <a:pt x="128" y="471"/>
                    </a:lnTo>
                    <a:lnTo>
                      <a:pt x="126" y="471"/>
                    </a:lnTo>
                    <a:lnTo>
                      <a:pt x="126" y="469"/>
                    </a:lnTo>
                    <a:lnTo>
                      <a:pt x="128" y="469"/>
                    </a:lnTo>
                    <a:lnTo>
                      <a:pt x="126" y="468"/>
                    </a:lnTo>
                    <a:lnTo>
                      <a:pt x="126" y="466"/>
                    </a:lnTo>
                    <a:lnTo>
                      <a:pt x="126" y="468"/>
                    </a:lnTo>
                    <a:lnTo>
                      <a:pt x="124" y="466"/>
                    </a:lnTo>
                    <a:lnTo>
                      <a:pt x="124" y="464"/>
                    </a:lnTo>
                    <a:lnTo>
                      <a:pt x="126" y="464"/>
                    </a:lnTo>
                    <a:lnTo>
                      <a:pt x="126" y="463"/>
                    </a:lnTo>
                    <a:lnTo>
                      <a:pt x="124" y="463"/>
                    </a:lnTo>
                    <a:lnTo>
                      <a:pt x="124" y="461"/>
                    </a:lnTo>
                    <a:lnTo>
                      <a:pt x="124" y="459"/>
                    </a:lnTo>
                    <a:lnTo>
                      <a:pt x="124" y="457"/>
                    </a:lnTo>
                    <a:lnTo>
                      <a:pt x="126" y="457"/>
                    </a:lnTo>
                    <a:lnTo>
                      <a:pt x="126" y="456"/>
                    </a:lnTo>
                    <a:lnTo>
                      <a:pt x="126" y="454"/>
                    </a:lnTo>
                    <a:lnTo>
                      <a:pt x="126" y="452"/>
                    </a:lnTo>
                    <a:lnTo>
                      <a:pt x="126" y="451"/>
                    </a:lnTo>
                    <a:lnTo>
                      <a:pt x="126" y="449"/>
                    </a:lnTo>
                    <a:lnTo>
                      <a:pt x="128" y="449"/>
                    </a:lnTo>
                    <a:lnTo>
                      <a:pt x="128" y="447"/>
                    </a:lnTo>
                    <a:lnTo>
                      <a:pt x="128" y="446"/>
                    </a:lnTo>
                    <a:lnTo>
                      <a:pt x="128" y="444"/>
                    </a:lnTo>
                    <a:lnTo>
                      <a:pt x="129" y="444"/>
                    </a:lnTo>
                    <a:lnTo>
                      <a:pt x="129" y="442"/>
                    </a:lnTo>
                    <a:lnTo>
                      <a:pt x="129" y="440"/>
                    </a:lnTo>
                    <a:lnTo>
                      <a:pt x="128" y="440"/>
                    </a:lnTo>
                    <a:lnTo>
                      <a:pt x="128" y="439"/>
                    </a:lnTo>
                    <a:lnTo>
                      <a:pt x="126" y="439"/>
                    </a:lnTo>
                    <a:lnTo>
                      <a:pt x="124" y="439"/>
                    </a:lnTo>
                    <a:lnTo>
                      <a:pt x="124" y="437"/>
                    </a:lnTo>
                    <a:lnTo>
                      <a:pt x="124" y="439"/>
                    </a:lnTo>
                    <a:lnTo>
                      <a:pt x="122" y="439"/>
                    </a:lnTo>
                    <a:lnTo>
                      <a:pt x="122" y="440"/>
                    </a:lnTo>
                    <a:lnTo>
                      <a:pt x="121" y="440"/>
                    </a:lnTo>
                    <a:lnTo>
                      <a:pt x="121" y="439"/>
                    </a:lnTo>
                    <a:lnTo>
                      <a:pt x="121" y="437"/>
                    </a:lnTo>
                    <a:lnTo>
                      <a:pt x="119" y="437"/>
                    </a:lnTo>
                    <a:lnTo>
                      <a:pt x="119" y="435"/>
                    </a:lnTo>
                    <a:lnTo>
                      <a:pt x="119" y="434"/>
                    </a:lnTo>
                    <a:lnTo>
                      <a:pt x="119" y="432"/>
                    </a:lnTo>
                    <a:lnTo>
                      <a:pt x="119" y="430"/>
                    </a:lnTo>
                    <a:lnTo>
                      <a:pt x="117" y="430"/>
                    </a:lnTo>
                    <a:lnTo>
                      <a:pt x="119" y="429"/>
                    </a:lnTo>
                    <a:lnTo>
                      <a:pt x="121" y="429"/>
                    </a:lnTo>
                    <a:lnTo>
                      <a:pt x="121" y="427"/>
                    </a:lnTo>
                    <a:lnTo>
                      <a:pt x="122" y="427"/>
                    </a:lnTo>
                    <a:lnTo>
                      <a:pt x="121" y="427"/>
                    </a:lnTo>
                    <a:lnTo>
                      <a:pt x="121" y="425"/>
                    </a:lnTo>
                    <a:lnTo>
                      <a:pt x="121" y="423"/>
                    </a:lnTo>
                    <a:lnTo>
                      <a:pt x="119" y="422"/>
                    </a:lnTo>
                    <a:lnTo>
                      <a:pt x="119" y="420"/>
                    </a:lnTo>
                    <a:lnTo>
                      <a:pt x="117" y="420"/>
                    </a:lnTo>
                    <a:lnTo>
                      <a:pt x="117" y="418"/>
                    </a:lnTo>
                    <a:lnTo>
                      <a:pt x="117" y="417"/>
                    </a:lnTo>
                    <a:lnTo>
                      <a:pt x="116" y="417"/>
                    </a:lnTo>
                    <a:lnTo>
                      <a:pt x="116" y="415"/>
                    </a:lnTo>
                    <a:lnTo>
                      <a:pt x="116" y="413"/>
                    </a:lnTo>
                    <a:lnTo>
                      <a:pt x="116" y="412"/>
                    </a:lnTo>
                    <a:lnTo>
                      <a:pt x="117" y="410"/>
                    </a:lnTo>
                    <a:lnTo>
                      <a:pt x="117" y="408"/>
                    </a:lnTo>
                    <a:lnTo>
                      <a:pt x="116" y="408"/>
                    </a:lnTo>
                    <a:lnTo>
                      <a:pt x="117" y="406"/>
                    </a:lnTo>
                    <a:lnTo>
                      <a:pt x="116" y="406"/>
                    </a:lnTo>
                    <a:lnTo>
                      <a:pt x="114" y="405"/>
                    </a:lnTo>
                    <a:lnTo>
                      <a:pt x="114" y="403"/>
                    </a:lnTo>
                    <a:lnTo>
                      <a:pt x="114" y="401"/>
                    </a:lnTo>
                    <a:lnTo>
                      <a:pt x="114" y="400"/>
                    </a:lnTo>
                    <a:lnTo>
                      <a:pt x="112" y="400"/>
                    </a:lnTo>
                    <a:lnTo>
                      <a:pt x="111" y="398"/>
                    </a:lnTo>
                    <a:lnTo>
                      <a:pt x="111" y="396"/>
                    </a:lnTo>
                    <a:lnTo>
                      <a:pt x="111" y="395"/>
                    </a:lnTo>
                    <a:lnTo>
                      <a:pt x="111" y="393"/>
                    </a:lnTo>
                    <a:lnTo>
                      <a:pt x="111" y="391"/>
                    </a:lnTo>
                    <a:lnTo>
                      <a:pt x="109" y="391"/>
                    </a:lnTo>
                    <a:lnTo>
                      <a:pt x="111" y="391"/>
                    </a:lnTo>
                    <a:lnTo>
                      <a:pt x="109" y="389"/>
                    </a:lnTo>
                    <a:lnTo>
                      <a:pt x="109" y="388"/>
                    </a:lnTo>
                    <a:lnTo>
                      <a:pt x="111" y="389"/>
                    </a:lnTo>
                    <a:lnTo>
                      <a:pt x="112" y="389"/>
                    </a:lnTo>
                    <a:lnTo>
                      <a:pt x="112" y="388"/>
                    </a:lnTo>
                    <a:lnTo>
                      <a:pt x="114" y="386"/>
                    </a:lnTo>
                    <a:lnTo>
                      <a:pt x="114" y="384"/>
                    </a:lnTo>
                    <a:lnTo>
                      <a:pt x="112" y="384"/>
                    </a:lnTo>
                    <a:lnTo>
                      <a:pt x="112" y="383"/>
                    </a:lnTo>
                    <a:lnTo>
                      <a:pt x="111" y="383"/>
                    </a:lnTo>
                    <a:lnTo>
                      <a:pt x="109" y="383"/>
                    </a:lnTo>
                    <a:lnTo>
                      <a:pt x="107" y="383"/>
                    </a:lnTo>
                    <a:lnTo>
                      <a:pt x="105" y="381"/>
                    </a:lnTo>
                    <a:lnTo>
                      <a:pt x="105" y="379"/>
                    </a:lnTo>
                    <a:lnTo>
                      <a:pt x="105" y="378"/>
                    </a:lnTo>
                    <a:lnTo>
                      <a:pt x="105" y="376"/>
                    </a:lnTo>
                    <a:lnTo>
                      <a:pt x="105" y="374"/>
                    </a:lnTo>
                    <a:lnTo>
                      <a:pt x="104" y="374"/>
                    </a:lnTo>
                    <a:lnTo>
                      <a:pt x="104" y="372"/>
                    </a:lnTo>
                    <a:lnTo>
                      <a:pt x="102" y="372"/>
                    </a:lnTo>
                    <a:lnTo>
                      <a:pt x="102" y="371"/>
                    </a:lnTo>
                    <a:lnTo>
                      <a:pt x="102" y="369"/>
                    </a:lnTo>
                    <a:lnTo>
                      <a:pt x="102" y="367"/>
                    </a:lnTo>
                    <a:lnTo>
                      <a:pt x="102" y="366"/>
                    </a:lnTo>
                    <a:lnTo>
                      <a:pt x="102" y="364"/>
                    </a:lnTo>
                    <a:lnTo>
                      <a:pt x="104" y="364"/>
                    </a:lnTo>
                    <a:lnTo>
                      <a:pt x="104" y="362"/>
                    </a:lnTo>
                    <a:lnTo>
                      <a:pt x="104" y="361"/>
                    </a:lnTo>
                    <a:lnTo>
                      <a:pt x="102" y="361"/>
                    </a:lnTo>
                    <a:lnTo>
                      <a:pt x="104" y="359"/>
                    </a:lnTo>
                    <a:lnTo>
                      <a:pt x="104" y="357"/>
                    </a:lnTo>
                    <a:lnTo>
                      <a:pt x="104" y="355"/>
                    </a:lnTo>
                    <a:lnTo>
                      <a:pt x="104" y="354"/>
                    </a:lnTo>
                    <a:lnTo>
                      <a:pt x="104" y="352"/>
                    </a:lnTo>
                    <a:lnTo>
                      <a:pt x="105" y="352"/>
                    </a:lnTo>
                    <a:lnTo>
                      <a:pt x="105" y="350"/>
                    </a:lnTo>
                    <a:lnTo>
                      <a:pt x="105" y="352"/>
                    </a:lnTo>
                    <a:lnTo>
                      <a:pt x="107" y="352"/>
                    </a:lnTo>
                    <a:lnTo>
                      <a:pt x="107" y="354"/>
                    </a:lnTo>
                    <a:lnTo>
                      <a:pt x="107" y="355"/>
                    </a:lnTo>
                    <a:lnTo>
                      <a:pt x="109" y="354"/>
                    </a:lnTo>
                    <a:lnTo>
                      <a:pt x="109" y="352"/>
                    </a:lnTo>
                    <a:lnTo>
                      <a:pt x="109" y="350"/>
                    </a:lnTo>
                    <a:lnTo>
                      <a:pt x="111" y="350"/>
                    </a:lnTo>
                    <a:lnTo>
                      <a:pt x="112" y="350"/>
                    </a:lnTo>
                    <a:lnTo>
                      <a:pt x="112" y="349"/>
                    </a:lnTo>
                    <a:lnTo>
                      <a:pt x="111" y="349"/>
                    </a:lnTo>
                    <a:lnTo>
                      <a:pt x="111" y="347"/>
                    </a:lnTo>
                    <a:lnTo>
                      <a:pt x="111" y="345"/>
                    </a:lnTo>
                    <a:lnTo>
                      <a:pt x="111" y="344"/>
                    </a:lnTo>
                    <a:lnTo>
                      <a:pt x="111" y="342"/>
                    </a:lnTo>
                    <a:lnTo>
                      <a:pt x="112" y="342"/>
                    </a:lnTo>
                    <a:lnTo>
                      <a:pt x="112" y="340"/>
                    </a:lnTo>
                    <a:lnTo>
                      <a:pt x="112" y="338"/>
                    </a:lnTo>
                    <a:lnTo>
                      <a:pt x="112" y="337"/>
                    </a:lnTo>
                    <a:lnTo>
                      <a:pt x="112" y="335"/>
                    </a:lnTo>
                    <a:lnTo>
                      <a:pt x="114" y="335"/>
                    </a:lnTo>
                    <a:lnTo>
                      <a:pt x="112" y="335"/>
                    </a:lnTo>
                    <a:lnTo>
                      <a:pt x="112" y="333"/>
                    </a:lnTo>
                    <a:lnTo>
                      <a:pt x="114" y="333"/>
                    </a:lnTo>
                    <a:lnTo>
                      <a:pt x="114" y="332"/>
                    </a:lnTo>
                    <a:lnTo>
                      <a:pt x="114" y="330"/>
                    </a:lnTo>
                    <a:lnTo>
                      <a:pt x="116" y="328"/>
                    </a:lnTo>
                    <a:lnTo>
                      <a:pt x="114" y="328"/>
                    </a:lnTo>
                    <a:lnTo>
                      <a:pt x="116" y="328"/>
                    </a:lnTo>
                    <a:lnTo>
                      <a:pt x="116" y="326"/>
                    </a:lnTo>
                    <a:lnTo>
                      <a:pt x="117" y="326"/>
                    </a:lnTo>
                    <a:lnTo>
                      <a:pt x="117" y="325"/>
                    </a:lnTo>
                    <a:lnTo>
                      <a:pt x="116" y="323"/>
                    </a:lnTo>
                    <a:lnTo>
                      <a:pt x="117" y="321"/>
                    </a:lnTo>
                    <a:lnTo>
                      <a:pt x="117" y="323"/>
                    </a:lnTo>
                    <a:lnTo>
                      <a:pt x="119" y="323"/>
                    </a:lnTo>
                    <a:lnTo>
                      <a:pt x="119" y="325"/>
                    </a:lnTo>
                    <a:lnTo>
                      <a:pt x="121" y="325"/>
                    </a:lnTo>
                    <a:lnTo>
                      <a:pt x="121" y="323"/>
                    </a:lnTo>
                    <a:lnTo>
                      <a:pt x="122" y="323"/>
                    </a:lnTo>
                    <a:lnTo>
                      <a:pt x="124" y="323"/>
                    </a:lnTo>
                    <a:lnTo>
                      <a:pt x="124" y="321"/>
                    </a:lnTo>
                    <a:lnTo>
                      <a:pt x="124" y="320"/>
                    </a:lnTo>
                    <a:lnTo>
                      <a:pt x="126" y="320"/>
                    </a:lnTo>
                    <a:lnTo>
                      <a:pt x="126" y="318"/>
                    </a:lnTo>
                    <a:lnTo>
                      <a:pt x="126" y="316"/>
                    </a:lnTo>
                    <a:lnTo>
                      <a:pt x="126" y="318"/>
                    </a:lnTo>
                    <a:lnTo>
                      <a:pt x="128" y="318"/>
                    </a:lnTo>
                    <a:lnTo>
                      <a:pt x="128" y="316"/>
                    </a:lnTo>
                    <a:lnTo>
                      <a:pt x="128" y="315"/>
                    </a:lnTo>
                    <a:lnTo>
                      <a:pt x="126" y="315"/>
                    </a:lnTo>
                    <a:lnTo>
                      <a:pt x="126" y="313"/>
                    </a:lnTo>
                    <a:lnTo>
                      <a:pt x="124" y="313"/>
                    </a:lnTo>
                    <a:lnTo>
                      <a:pt x="122" y="313"/>
                    </a:lnTo>
                    <a:lnTo>
                      <a:pt x="122" y="311"/>
                    </a:lnTo>
                    <a:lnTo>
                      <a:pt x="124" y="311"/>
                    </a:lnTo>
                    <a:lnTo>
                      <a:pt x="124" y="309"/>
                    </a:lnTo>
                    <a:lnTo>
                      <a:pt x="124" y="308"/>
                    </a:lnTo>
                    <a:lnTo>
                      <a:pt x="124" y="306"/>
                    </a:lnTo>
                    <a:lnTo>
                      <a:pt x="126" y="304"/>
                    </a:lnTo>
                    <a:lnTo>
                      <a:pt x="124" y="304"/>
                    </a:lnTo>
                    <a:lnTo>
                      <a:pt x="126" y="303"/>
                    </a:lnTo>
                    <a:lnTo>
                      <a:pt x="124" y="303"/>
                    </a:lnTo>
                    <a:lnTo>
                      <a:pt x="124" y="301"/>
                    </a:lnTo>
                    <a:lnTo>
                      <a:pt x="124" y="299"/>
                    </a:lnTo>
                    <a:lnTo>
                      <a:pt x="126" y="299"/>
                    </a:lnTo>
                    <a:lnTo>
                      <a:pt x="126" y="298"/>
                    </a:lnTo>
                    <a:lnTo>
                      <a:pt x="124" y="298"/>
                    </a:lnTo>
                    <a:lnTo>
                      <a:pt x="124" y="296"/>
                    </a:lnTo>
                    <a:lnTo>
                      <a:pt x="122" y="296"/>
                    </a:lnTo>
                    <a:lnTo>
                      <a:pt x="122" y="294"/>
                    </a:lnTo>
                    <a:lnTo>
                      <a:pt x="124" y="294"/>
                    </a:lnTo>
                    <a:lnTo>
                      <a:pt x="122" y="294"/>
                    </a:lnTo>
                    <a:lnTo>
                      <a:pt x="124" y="292"/>
                    </a:lnTo>
                    <a:lnTo>
                      <a:pt x="122" y="292"/>
                    </a:lnTo>
                    <a:lnTo>
                      <a:pt x="124" y="291"/>
                    </a:lnTo>
                    <a:lnTo>
                      <a:pt x="122" y="291"/>
                    </a:lnTo>
                    <a:lnTo>
                      <a:pt x="122" y="289"/>
                    </a:lnTo>
                    <a:lnTo>
                      <a:pt x="122" y="287"/>
                    </a:lnTo>
                    <a:lnTo>
                      <a:pt x="122" y="286"/>
                    </a:lnTo>
                    <a:lnTo>
                      <a:pt x="121" y="286"/>
                    </a:lnTo>
                    <a:lnTo>
                      <a:pt x="121" y="284"/>
                    </a:lnTo>
                    <a:lnTo>
                      <a:pt x="121" y="282"/>
                    </a:lnTo>
                    <a:lnTo>
                      <a:pt x="121" y="281"/>
                    </a:lnTo>
                    <a:lnTo>
                      <a:pt x="122" y="281"/>
                    </a:lnTo>
                    <a:lnTo>
                      <a:pt x="122" y="279"/>
                    </a:lnTo>
                    <a:lnTo>
                      <a:pt x="122" y="277"/>
                    </a:lnTo>
                    <a:lnTo>
                      <a:pt x="124" y="277"/>
                    </a:lnTo>
                    <a:lnTo>
                      <a:pt x="124" y="275"/>
                    </a:lnTo>
                    <a:lnTo>
                      <a:pt x="126" y="275"/>
                    </a:lnTo>
                    <a:lnTo>
                      <a:pt x="128" y="275"/>
                    </a:lnTo>
                    <a:lnTo>
                      <a:pt x="128" y="274"/>
                    </a:lnTo>
                    <a:lnTo>
                      <a:pt x="129" y="274"/>
                    </a:lnTo>
                    <a:lnTo>
                      <a:pt x="128" y="274"/>
                    </a:lnTo>
                    <a:lnTo>
                      <a:pt x="128" y="272"/>
                    </a:lnTo>
                    <a:lnTo>
                      <a:pt x="129" y="272"/>
                    </a:lnTo>
                    <a:lnTo>
                      <a:pt x="128" y="270"/>
                    </a:lnTo>
                    <a:lnTo>
                      <a:pt x="129" y="270"/>
                    </a:lnTo>
                    <a:lnTo>
                      <a:pt x="129" y="269"/>
                    </a:lnTo>
                    <a:lnTo>
                      <a:pt x="129" y="267"/>
                    </a:lnTo>
                    <a:lnTo>
                      <a:pt x="129" y="265"/>
                    </a:lnTo>
                    <a:lnTo>
                      <a:pt x="129" y="264"/>
                    </a:lnTo>
                    <a:lnTo>
                      <a:pt x="131" y="264"/>
                    </a:lnTo>
                    <a:lnTo>
                      <a:pt x="131" y="262"/>
                    </a:lnTo>
                    <a:lnTo>
                      <a:pt x="131" y="260"/>
                    </a:lnTo>
                    <a:lnTo>
                      <a:pt x="131" y="258"/>
                    </a:lnTo>
                    <a:lnTo>
                      <a:pt x="131" y="257"/>
                    </a:lnTo>
                    <a:lnTo>
                      <a:pt x="131" y="255"/>
                    </a:lnTo>
                    <a:lnTo>
                      <a:pt x="133" y="255"/>
                    </a:lnTo>
                    <a:lnTo>
                      <a:pt x="131" y="253"/>
                    </a:lnTo>
                    <a:lnTo>
                      <a:pt x="133" y="253"/>
                    </a:lnTo>
                    <a:lnTo>
                      <a:pt x="133" y="252"/>
                    </a:lnTo>
                    <a:lnTo>
                      <a:pt x="133" y="250"/>
                    </a:lnTo>
                    <a:lnTo>
                      <a:pt x="133" y="248"/>
                    </a:lnTo>
                    <a:lnTo>
                      <a:pt x="134" y="248"/>
                    </a:lnTo>
                    <a:lnTo>
                      <a:pt x="133" y="248"/>
                    </a:lnTo>
                    <a:lnTo>
                      <a:pt x="133" y="247"/>
                    </a:lnTo>
                    <a:lnTo>
                      <a:pt x="134" y="247"/>
                    </a:lnTo>
                    <a:lnTo>
                      <a:pt x="136" y="247"/>
                    </a:lnTo>
                    <a:lnTo>
                      <a:pt x="134" y="245"/>
                    </a:lnTo>
                    <a:lnTo>
                      <a:pt x="136" y="245"/>
                    </a:lnTo>
                    <a:lnTo>
                      <a:pt x="138" y="245"/>
                    </a:lnTo>
                    <a:lnTo>
                      <a:pt x="138" y="243"/>
                    </a:lnTo>
                    <a:lnTo>
                      <a:pt x="138" y="241"/>
                    </a:lnTo>
                    <a:lnTo>
                      <a:pt x="139" y="241"/>
                    </a:lnTo>
                    <a:lnTo>
                      <a:pt x="139" y="240"/>
                    </a:lnTo>
                    <a:lnTo>
                      <a:pt x="139" y="238"/>
                    </a:lnTo>
                    <a:lnTo>
                      <a:pt x="141" y="240"/>
                    </a:lnTo>
                    <a:lnTo>
                      <a:pt x="143" y="240"/>
                    </a:lnTo>
                    <a:lnTo>
                      <a:pt x="143" y="238"/>
                    </a:lnTo>
                    <a:lnTo>
                      <a:pt x="145" y="236"/>
                    </a:lnTo>
                    <a:lnTo>
                      <a:pt x="145" y="235"/>
                    </a:lnTo>
                    <a:lnTo>
                      <a:pt x="146" y="233"/>
                    </a:lnTo>
                    <a:lnTo>
                      <a:pt x="146" y="231"/>
                    </a:lnTo>
                    <a:lnTo>
                      <a:pt x="148" y="230"/>
                    </a:lnTo>
                    <a:lnTo>
                      <a:pt x="150" y="231"/>
                    </a:lnTo>
                    <a:lnTo>
                      <a:pt x="150" y="230"/>
                    </a:lnTo>
                    <a:lnTo>
                      <a:pt x="150" y="228"/>
                    </a:lnTo>
                    <a:lnTo>
                      <a:pt x="151" y="228"/>
                    </a:lnTo>
                    <a:lnTo>
                      <a:pt x="151" y="226"/>
                    </a:lnTo>
                    <a:lnTo>
                      <a:pt x="151" y="224"/>
                    </a:lnTo>
                    <a:lnTo>
                      <a:pt x="151" y="223"/>
                    </a:lnTo>
                    <a:lnTo>
                      <a:pt x="151" y="221"/>
                    </a:lnTo>
                    <a:lnTo>
                      <a:pt x="153" y="221"/>
                    </a:lnTo>
                    <a:lnTo>
                      <a:pt x="153" y="219"/>
                    </a:lnTo>
                    <a:lnTo>
                      <a:pt x="153" y="218"/>
                    </a:lnTo>
                    <a:lnTo>
                      <a:pt x="153" y="216"/>
                    </a:lnTo>
                    <a:lnTo>
                      <a:pt x="155" y="216"/>
                    </a:lnTo>
                    <a:lnTo>
                      <a:pt x="156" y="214"/>
                    </a:lnTo>
                    <a:lnTo>
                      <a:pt x="155" y="214"/>
                    </a:lnTo>
                    <a:lnTo>
                      <a:pt x="156" y="214"/>
                    </a:lnTo>
                    <a:lnTo>
                      <a:pt x="156" y="213"/>
                    </a:lnTo>
                    <a:lnTo>
                      <a:pt x="156" y="211"/>
                    </a:lnTo>
                    <a:lnTo>
                      <a:pt x="155" y="211"/>
                    </a:lnTo>
                    <a:lnTo>
                      <a:pt x="156" y="211"/>
                    </a:lnTo>
                    <a:lnTo>
                      <a:pt x="156" y="209"/>
                    </a:lnTo>
                    <a:lnTo>
                      <a:pt x="156" y="211"/>
                    </a:lnTo>
                    <a:lnTo>
                      <a:pt x="158" y="209"/>
                    </a:lnTo>
                    <a:lnTo>
                      <a:pt x="156" y="209"/>
                    </a:lnTo>
                    <a:lnTo>
                      <a:pt x="158" y="209"/>
                    </a:lnTo>
                    <a:lnTo>
                      <a:pt x="158" y="207"/>
                    </a:lnTo>
                    <a:lnTo>
                      <a:pt x="158" y="206"/>
                    </a:lnTo>
                    <a:lnTo>
                      <a:pt x="160" y="206"/>
                    </a:lnTo>
                    <a:lnTo>
                      <a:pt x="160" y="204"/>
                    </a:lnTo>
                    <a:lnTo>
                      <a:pt x="162" y="204"/>
                    </a:lnTo>
                    <a:lnTo>
                      <a:pt x="160" y="204"/>
                    </a:lnTo>
                    <a:lnTo>
                      <a:pt x="160" y="202"/>
                    </a:lnTo>
                    <a:lnTo>
                      <a:pt x="160" y="201"/>
                    </a:lnTo>
                    <a:lnTo>
                      <a:pt x="160" y="199"/>
                    </a:lnTo>
                    <a:lnTo>
                      <a:pt x="162" y="199"/>
                    </a:lnTo>
                    <a:lnTo>
                      <a:pt x="162" y="197"/>
                    </a:lnTo>
                    <a:lnTo>
                      <a:pt x="163" y="197"/>
                    </a:lnTo>
                    <a:lnTo>
                      <a:pt x="165" y="197"/>
                    </a:lnTo>
                    <a:lnTo>
                      <a:pt x="167" y="197"/>
                    </a:lnTo>
                    <a:lnTo>
                      <a:pt x="167" y="199"/>
                    </a:lnTo>
                    <a:lnTo>
                      <a:pt x="168" y="201"/>
                    </a:lnTo>
                    <a:lnTo>
                      <a:pt x="168" y="199"/>
                    </a:lnTo>
                    <a:lnTo>
                      <a:pt x="170" y="201"/>
                    </a:lnTo>
                    <a:lnTo>
                      <a:pt x="170" y="199"/>
                    </a:lnTo>
                    <a:lnTo>
                      <a:pt x="170" y="197"/>
                    </a:lnTo>
                    <a:lnTo>
                      <a:pt x="172" y="199"/>
                    </a:lnTo>
                    <a:lnTo>
                      <a:pt x="173" y="197"/>
                    </a:lnTo>
                    <a:lnTo>
                      <a:pt x="172" y="196"/>
                    </a:lnTo>
                    <a:lnTo>
                      <a:pt x="173" y="197"/>
                    </a:lnTo>
                    <a:lnTo>
                      <a:pt x="173" y="196"/>
                    </a:lnTo>
                    <a:lnTo>
                      <a:pt x="175" y="196"/>
                    </a:lnTo>
                    <a:lnTo>
                      <a:pt x="177" y="196"/>
                    </a:lnTo>
                    <a:lnTo>
                      <a:pt x="179" y="196"/>
                    </a:lnTo>
                    <a:lnTo>
                      <a:pt x="179" y="194"/>
                    </a:lnTo>
                    <a:lnTo>
                      <a:pt x="179" y="192"/>
                    </a:lnTo>
                    <a:lnTo>
                      <a:pt x="179" y="190"/>
                    </a:lnTo>
                    <a:lnTo>
                      <a:pt x="180" y="190"/>
                    </a:lnTo>
                    <a:lnTo>
                      <a:pt x="179" y="190"/>
                    </a:lnTo>
                    <a:lnTo>
                      <a:pt x="179" y="189"/>
                    </a:lnTo>
                    <a:lnTo>
                      <a:pt x="177" y="187"/>
                    </a:lnTo>
                    <a:lnTo>
                      <a:pt x="177" y="185"/>
                    </a:lnTo>
                    <a:lnTo>
                      <a:pt x="175" y="185"/>
                    </a:lnTo>
                    <a:lnTo>
                      <a:pt x="173" y="182"/>
                    </a:lnTo>
                    <a:lnTo>
                      <a:pt x="173" y="180"/>
                    </a:lnTo>
                    <a:lnTo>
                      <a:pt x="172" y="180"/>
                    </a:lnTo>
                    <a:lnTo>
                      <a:pt x="172" y="178"/>
                    </a:lnTo>
                    <a:lnTo>
                      <a:pt x="170" y="177"/>
                    </a:lnTo>
                    <a:lnTo>
                      <a:pt x="170" y="175"/>
                    </a:lnTo>
                    <a:lnTo>
                      <a:pt x="168" y="173"/>
                    </a:lnTo>
                    <a:lnTo>
                      <a:pt x="168" y="172"/>
                    </a:lnTo>
                    <a:lnTo>
                      <a:pt x="170" y="170"/>
                    </a:lnTo>
                    <a:lnTo>
                      <a:pt x="170" y="167"/>
                    </a:lnTo>
                    <a:lnTo>
                      <a:pt x="172" y="165"/>
                    </a:lnTo>
                    <a:lnTo>
                      <a:pt x="173" y="163"/>
                    </a:lnTo>
                    <a:lnTo>
                      <a:pt x="175" y="163"/>
                    </a:lnTo>
                    <a:lnTo>
                      <a:pt x="175" y="160"/>
                    </a:lnTo>
                    <a:lnTo>
                      <a:pt x="175" y="156"/>
                    </a:lnTo>
                    <a:lnTo>
                      <a:pt x="175" y="155"/>
                    </a:lnTo>
                    <a:lnTo>
                      <a:pt x="173" y="151"/>
                    </a:lnTo>
                    <a:lnTo>
                      <a:pt x="173" y="146"/>
                    </a:lnTo>
                    <a:lnTo>
                      <a:pt x="172" y="144"/>
                    </a:lnTo>
                    <a:lnTo>
                      <a:pt x="172" y="143"/>
                    </a:lnTo>
                    <a:lnTo>
                      <a:pt x="170" y="143"/>
                    </a:lnTo>
                    <a:lnTo>
                      <a:pt x="170" y="141"/>
                    </a:lnTo>
                    <a:lnTo>
                      <a:pt x="172" y="139"/>
                    </a:lnTo>
                    <a:lnTo>
                      <a:pt x="170" y="139"/>
                    </a:lnTo>
                    <a:lnTo>
                      <a:pt x="170" y="138"/>
                    </a:lnTo>
                    <a:lnTo>
                      <a:pt x="170" y="136"/>
                    </a:lnTo>
                    <a:lnTo>
                      <a:pt x="168" y="134"/>
                    </a:lnTo>
                    <a:lnTo>
                      <a:pt x="170" y="134"/>
                    </a:lnTo>
                    <a:lnTo>
                      <a:pt x="170" y="133"/>
                    </a:lnTo>
                    <a:lnTo>
                      <a:pt x="172" y="133"/>
                    </a:lnTo>
                    <a:lnTo>
                      <a:pt x="172" y="131"/>
                    </a:lnTo>
                    <a:lnTo>
                      <a:pt x="170" y="131"/>
                    </a:lnTo>
                    <a:lnTo>
                      <a:pt x="170" y="129"/>
                    </a:lnTo>
                    <a:lnTo>
                      <a:pt x="170" y="127"/>
                    </a:lnTo>
                    <a:lnTo>
                      <a:pt x="172" y="127"/>
                    </a:lnTo>
                    <a:lnTo>
                      <a:pt x="172" y="126"/>
                    </a:lnTo>
                    <a:lnTo>
                      <a:pt x="172" y="124"/>
                    </a:lnTo>
                    <a:lnTo>
                      <a:pt x="173" y="122"/>
                    </a:lnTo>
                    <a:lnTo>
                      <a:pt x="175" y="122"/>
                    </a:lnTo>
                    <a:lnTo>
                      <a:pt x="175" y="124"/>
                    </a:lnTo>
                    <a:lnTo>
                      <a:pt x="175" y="122"/>
                    </a:lnTo>
                    <a:lnTo>
                      <a:pt x="177" y="122"/>
                    </a:lnTo>
                    <a:lnTo>
                      <a:pt x="177" y="121"/>
                    </a:lnTo>
                    <a:lnTo>
                      <a:pt x="177" y="119"/>
                    </a:lnTo>
                    <a:lnTo>
                      <a:pt x="175" y="119"/>
                    </a:lnTo>
                    <a:lnTo>
                      <a:pt x="175" y="117"/>
                    </a:lnTo>
                    <a:lnTo>
                      <a:pt x="173" y="117"/>
                    </a:lnTo>
                    <a:lnTo>
                      <a:pt x="173" y="116"/>
                    </a:lnTo>
                    <a:lnTo>
                      <a:pt x="173" y="114"/>
                    </a:lnTo>
                    <a:lnTo>
                      <a:pt x="172" y="114"/>
                    </a:lnTo>
                    <a:lnTo>
                      <a:pt x="170" y="112"/>
                    </a:lnTo>
                    <a:lnTo>
                      <a:pt x="170" y="110"/>
                    </a:lnTo>
                    <a:lnTo>
                      <a:pt x="170" y="109"/>
                    </a:lnTo>
                    <a:lnTo>
                      <a:pt x="170" y="107"/>
                    </a:lnTo>
                    <a:lnTo>
                      <a:pt x="172" y="107"/>
                    </a:lnTo>
                    <a:lnTo>
                      <a:pt x="172" y="105"/>
                    </a:lnTo>
                    <a:lnTo>
                      <a:pt x="172" y="104"/>
                    </a:lnTo>
                    <a:lnTo>
                      <a:pt x="173" y="104"/>
                    </a:lnTo>
                    <a:lnTo>
                      <a:pt x="173" y="102"/>
                    </a:lnTo>
                    <a:lnTo>
                      <a:pt x="175" y="102"/>
                    </a:lnTo>
                    <a:lnTo>
                      <a:pt x="175" y="100"/>
                    </a:lnTo>
                    <a:lnTo>
                      <a:pt x="175" y="99"/>
                    </a:lnTo>
                    <a:lnTo>
                      <a:pt x="177" y="99"/>
                    </a:lnTo>
                    <a:lnTo>
                      <a:pt x="177" y="100"/>
                    </a:lnTo>
                    <a:lnTo>
                      <a:pt x="179" y="99"/>
                    </a:lnTo>
                    <a:lnTo>
                      <a:pt x="179" y="97"/>
                    </a:lnTo>
                    <a:lnTo>
                      <a:pt x="180" y="97"/>
                    </a:lnTo>
                    <a:lnTo>
                      <a:pt x="180" y="95"/>
                    </a:lnTo>
                    <a:lnTo>
                      <a:pt x="187" y="93"/>
                    </a:lnTo>
                    <a:lnTo>
                      <a:pt x="189" y="92"/>
                    </a:lnTo>
                    <a:lnTo>
                      <a:pt x="190" y="92"/>
                    </a:lnTo>
                    <a:lnTo>
                      <a:pt x="199" y="88"/>
                    </a:lnTo>
                    <a:lnTo>
                      <a:pt x="206" y="85"/>
                    </a:lnTo>
                    <a:lnTo>
                      <a:pt x="211" y="83"/>
                    </a:lnTo>
                    <a:lnTo>
                      <a:pt x="214" y="73"/>
                    </a:lnTo>
                    <a:lnTo>
                      <a:pt x="214" y="71"/>
                    </a:lnTo>
                    <a:lnTo>
                      <a:pt x="218" y="61"/>
                    </a:lnTo>
                    <a:lnTo>
                      <a:pt x="219" y="54"/>
                    </a:lnTo>
                    <a:lnTo>
                      <a:pt x="219" y="53"/>
                    </a:lnTo>
                    <a:lnTo>
                      <a:pt x="223" y="44"/>
                    </a:lnTo>
                    <a:lnTo>
                      <a:pt x="219" y="41"/>
                    </a:lnTo>
                    <a:lnTo>
                      <a:pt x="216" y="37"/>
                    </a:lnTo>
                    <a:lnTo>
                      <a:pt x="218" y="34"/>
                    </a:lnTo>
                    <a:lnTo>
                      <a:pt x="223" y="32"/>
                    </a:lnTo>
                    <a:lnTo>
                      <a:pt x="223" y="31"/>
                    </a:lnTo>
                    <a:lnTo>
                      <a:pt x="221" y="31"/>
                    </a:lnTo>
                    <a:lnTo>
                      <a:pt x="221" y="29"/>
                    </a:lnTo>
                    <a:lnTo>
                      <a:pt x="221" y="27"/>
                    </a:lnTo>
                    <a:lnTo>
                      <a:pt x="223" y="27"/>
                    </a:lnTo>
                    <a:lnTo>
                      <a:pt x="224" y="25"/>
                    </a:lnTo>
                    <a:lnTo>
                      <a:pt x="226" y="25"/>
                    </a:lnTo>
                    <a:lnTo>
                      <a:pt x="230" y="24"/>
                    </a:lnTo>
                    <a:lnTo>
                      <a:pt x="230" y="22"/>
                    </a:lnTo>
                    <a:lnTo>
                      <a:pt x="230" y="20"/>
                    </a:lnTo>
                    <a:lnTo>
                      <a:pt x="231" y="20"/>
                    </a:lnTo>
                    <a:lnTo>
                      <a:pt x="231" y="19"/>
                    </a:lnTo>
                    <a:lnTo>
                      <a:pt x="231" y="17"/>
                    </a:lnTo>
                    <a:lnTo>
                      <a:pt x="233" y="15"/>
                    </a:lnTo>
                    <a:lnTo>
                      <a:pt x="235" y="15"/>
                    </a:lnTo>
                    <a:lnTo>
                      <a:pt x="241" y="13"/>
                    </a:lnTo>
                    <a:lnTo>
                      <a:pt x="245" y="12"/>
                    </a:lnTo>
                    <a:lnTo>
                      <a:pt x="247" y="12"/>
                    </a:lnTo>
                    <a:lnTo>
                      <a:pt x="247" y="10"/>
                    </a:lnTo>
                    <a:lnTo>
                      <a:pt x="247" y="8"/>
                    </a:lnTo>
                    <a:lnTo>
                      <a:pt x="247" y="7"/>
                    </a:lnTo>
                    <a:lnTo>
                      <a:pt x="247" y="5"/>
                    </a:lnTo>
                    <a:lnTo>
                      <a:pt x="248" y="5"/>
                    </a:lnTo>
                    <a:lnTo>
                      <a:pt x="247" y="5"/>
                    </a:lnTo>
                    <a:lnTo>
                      <a:pt x="248" y="5"/>
                    </a:lnTo>
                    <a:lnTo>
                      <a:pt x="248" y="3"/>
                    </a:lnTo>
                    <a:lnTo>
                      <a:pt x="248" y="2"/>
                    </a:lnTo>
                    <a:lnTo>
                      <a:pt x="248" y="0"/>
                    </a:lnTo>
                    <a:lnTo>
                      <a:pt x="250" y="0"/>
                    </a:lnTo>
                    <a:lnTo>
                      <a:pt x="252" y="2"/>
                    </a:lnTo>
                    <a:lnTo>
                      <a:pt x="253" y="2"/>
                    </a:lnTo>
                    <a:lnTo>
                      <a:pt x="255" y="3"/>
                    </a:lnTo>
                    <a:lnTo>
                      <a:pt x="255" y="5"/>
                    </a:lnTo>
                    <a:lnTo>
                      <a:pt x="257" y="5"/>
                    </a:lnTo>
                    <a:lnTo>
                      <a:pt x="258" y="5"/>
                    </a:lnTo>
                    <a:lnTo>
                      <a:pt x="260" y="8"/>
                    </a:lnTo>
                    <a:lnTo>
                      <a:pt x="262" y="10"/>
                    </a:lnTo>
                    <a:lnTo>
                      <a:pt x="264" y="10"/>
                    </a:lnTo>
                    <a:lnTo>
                      <a:pt x="264" y="12"/>
                    </a:lnTo>
                    <a:lnTo>
                      <a:pt x="265" y="12"/>
                    </a:lnTo>
                    <a:lnTo>
                      <a:pt x="267" y="12"/>
                    </a:lnTo>
                    <a:lnTo>
                      <a:pt x="269" y="12"/>
                    </a:lnTo>
                    <a:lnTo>
                      <a:pt x="270" y="12"/>
                    </a:lnTo>
                    <a:lnTo>
                      <a:pt x="270" y="10"/>
                    </a:lnTo>
                    <a:lnTo>
                      <a:pt x="274" y="12"/>
                    </a:lnTo>
                    <a:lnTo>
                      <a:pt x="275" y="12"/>
                    </a:lnTo>
                    <a:lnTo>
                      <a:pt x="277" y="12"/>
                    </a:lnTo>
                    <a:lnTo>
                      <a:pt x="281" y="12"/>
                    </a:lnTo>
                    <a:lnTo>
                      <a:pt x="281" y="10"/>
                    </a:lnTo>
                    <a:lnTo>
                      <a:pt x="281" y="12"/>
                    </a:lnTo>
                    <a:lnTo>
                      <a:pt x="284" y="10"/>
                    </a:lnTo>
                    <a:lnTo>
                      <a:pt x="287" y="10"/>
                    </a:lnTo>
                    <a:lnTo>
                      <a:pt x="289" y="10"/>
                    </a:lnTo>
                    <a:lnTo>
                      <a:pt x="291" y="10"/>
                    </a:lnTo>
                    <a:lnTo>
                      <a:pt x="291" y="12"/>
                    </a:lnTo>
                    <a:lnTo>
                      <a:pt x="292" y="12"/>
                    </a:lnTo>
                    <a:lnTo>
                      <a:pt x="294" y="12"/>
                    </a:lnTo>
                    <a:lnTo>
                      <a:pt x="296" y="13"/>
                    </a:lnTo>
                    <a:lnTo>
                      <a:pt x="298" y="13"/>
                    </a:lnTo>
                    <a:lnTo>
                      <a:pt x="299" y="15"/>
                    </a:lnTo>
                    <a:lnTo>
                      <a:pt x="301" y="15"/>
                    </a:lnTo>
                    <a:lnTo>
                      <a:pt x="303" y="15"/>
                    </a:lnTo>
                    <a:lnTo>
                      <a:pt x="304" y="17"/>
                    </a:lnTo>
                    <a:lnTo>
                      <a:pt x="306" y="17"/>
                    </a:lnTo>
                    <a:lnTo>
                      <a:pt x="306" y="19"/>
                    </a:lnTo>
                    <a:lnTo>
                      <a:pt x="304" y="20"/>
                    </a:lnTo>
                    <a:lnTo>
                      <a:pt x="304" y="22"/>
                    </a:lnTo>
                    <a:lnTo>
                      <a:pt x="306" y="22"/>
                    </a:lnTo>
                    <a:lnTo>
                      <a:pt x="306" y="24"/>
                    </a:lnTo>
                    <a:lnTo>
                      <a:pt x="308" y="24"/>
                    </a:lnTo>
                    <a:lnTo>
                      <a:pt x="308" y="25"/>
                    </a:lnTo>
                    <a:lnTo>
                      <a:pt x="309" y="25"/>
                    </a:lnTo>
                    <a:lnTo>
                      <a:pt x="308" y="27"/>
                    </a:lnTo>
                    <a:lnTo>
                      <a:pt x="309" y="27"/>
                    </a:lnTo>
                    <a:lnTo>
                      <a:pt x="309" y="29"/>
                    </a:lnTo>
                    <a:lnTo>
                      <a:pt x="309" y="31"/>
                    </a:lnTo>
                    <a:lnTo>
                      <a:pt x="309" y="32"/>
                    </a:lnTo>
                    <a:lnTo>
                      <a:pt x="311" y="32"/>
                    </a:lnTo>
                    <a:lnTo>
                      <a:pt x="311" y="34"/>
                    </a:lnTo>
                    <a:lnTo>
                      <a:pt x="309" y="34"/>
                    </a:lnTo>
                    <a:lnTo>
                      <a:pt x="311" y="34"/>
                    </a:lnTo>
                    <a:lnTo>
                      <a:pt x="313" y="36"/>
                    </a:lnTo>
                    <a:lnTo>
                      <a:pt x="313" y="37"/>
                    </a:lnTo>
                    <a:lnTo>
                      <a:pt x="311" y="37"/>
                    </a:lnTo>
                    <a:lnTo>
                      <a:pt x="313" y="37"/>
                    </a:lnTo>
                    <a:lnTo>
                      <a:pt x="313" y="39"/>
                    </a:lnTo>
                    <a:lnTo>
                      <a:pt x="313" y="41"/>
                    </a:lnTo>
                    <a:lnTo>
                      <a:pt x="313" y="39"/>
                    </a:lnTo>
                    <a:lnTo>
                      <a:pt x="315" y="39"/>
                    </a:lnTo>
                    <a:lnTo>
                      <a:pt x="313" y="39"/>
                    </a:lnTo>
                    <a:lnTo>
                      <a:pt x="315" y="37"/>
                    </a:lnTo>
                    <a:lnTo>
                      <a:pt x="315" y="36"/>
                    </a:lnTo>
                    <a:lnTo>
                      <a:pt x="315" y="34"/>
                    </a:lnTo>
                    <a:lnTo>
                      <a:pt x="315" y="32"/>
                    </a:lnTo>
                    <a:lnTo>
                      <a:pt x="315" y="31"/>
                    </a:lnTo>
                    <a:lnTo>
                      <a:pt x="316" y="31"/>
                    </a:lnTo>
                    <a:lnTo>
                      <a:pt x="316" y="29"/>
                    </a:lnTo>
                    <a:lnTo>
                      <a:pt x="315" y="29"/>
                    </a:lnTo>
                    <a:lnTo>
                      <a:pt x="316" y="29"/>
                    </a:lnTo>
                    <a:lnTo>
                      <a:pt x="316" y="27"/>
                    </a:lnTo>
                    <a:lnTo>
                      <a:pt x="316" y="25"/>
                    </a:lnTo>
                    <a:lnTo>
                      <a:pt x="318" y="25"/>
                    </a:lnTo>
                    <a:lnTo>
                      <a:pt x="318" y="24"/>
                    </a:lnTo>
                    <a:lnTo>
                      <a:pt x="320" y="24"/>
                    </a:lnTo>
                    <a:lnTo>
                      <a:pt x="320" y="22"/>
                    </a:lnTo>
                    <a:lnTo>
                      <a:pt x="320" y="20"/>
                    </a:lnTo>
                    <a:lnTo>
                      <a:pt x="321" y="19"/>
                    </a:lnTo>
                    <a:lnTo>
                      <a:pt x="321" y="17"/>
                    </a:lnTo>
                    <a:lnTo>
                      <a:pt x="323" y="17"/>
                    </a:lnTo>
                    <a:lnTo>
                      <a:pt x="323" y="15"/>
                    </a:lnTo>
                    <a:lnTo>
                      <a:pt x="323" y="13"/>
                    </a:lnTo>
                    <a:lnTo>
                      <a:pt x="325" y="12"/>
                    </a:lnTo>
                    <a:lnTo>
                      <a:pt x="323" y="12"/>
                    </a:lnTo>
                    <a:lnTo>
                      <a:pt x="325" y="12"/>
                    </a:lnTo>
                    <a:lnTo>
                      <a:pt x="325" y="10"/>
                    </a:lnTo>
                    <a:lnTo>
                      <a:pt x="325" y="8"/>
                    </a:lnTo>
                    <a:lnTo>
                      <a:pt x="326" y="8"/>
                    </a:lnTo>
                    <a:lnTo>
                      <a:pt x="332" y="8"/>
                    </a:lnTo>
                    <a:lnTo>
                      <a:pt x="333" y="8"/>
                    </a:lnTo>
                    <a:lnTo>
                      <a:pt x="335" y="8"/>
                    </a:lnTo>
                    <a:lnTo>
                      <a:pt x="335" y="10"/>
                    </a:lnTo>
                    <a:lnTo>
                      <a:pt x="335" y="8"/>
                    </a:lnTo>
                    <a:lnTo>
                      <a:pt x="354" y="8"/>
                    </a:lnTo>
                    <a:lnTo>
                      <a:pt x="364" y="8"/>
                    </a:lnTo>
                    <a:lnTo>
                      <a:pt x="364" y="10"/>
                    </a:lnTo>
                    <a:lnTo>
                      <a:pt x="364" y="12"/>
                    </a:lnTo>
                    <a:lnTo>
                      <a:pt x="364" y="13"/>
                    </a:lnTo>
                    <a:lnTo>
                      <a:pt x="366" y="13"/>
                    </a:lnTo>
                    <a:lnTo>
                      <a:pt x="367" y="13"/>
                    </a:lnTo>
                    <a:lnTo>
                      <a:pt x="367" y="15"/>
                    </a:lnTo>
                    <a:lnTo>
                      <a:pt x="369" y="15"/>
                    </a:lnTo>
                    <a:lnTo>
                      <a:pt x="369" y="17"/>
                    </a:lnTo>
                    <a:close/>
                    <a:moveTo>
                      <a:pt x="167" y="1473"/>
                    </a:moveTo>
                    <a:lnTo>
                      <a:pt x="167" y="1468"/>
                    </a:lnTo>
                    <a:lnTo>
                      <a:pt x="167" y="1456"/>
                    </a:lnTo>
                    <a:lnTo>
                      <a:pt x="167" y="1454"/>
                    </a:lnTo>
                    <a:lnTo>
                      <a:pt x="167" y="1453"/>
                    </a:lnTo>
                    <a:lnTo>
                      <a:pt x="167" y="1451"/>
                    </a:lnTo>
                    <a:lnTo>
                      <a:pt x="167" y="1444"/>
                    </a:lnTo>
                    <a:lnTo>
                      <a:pt x="167" y="1442"/>
                    </a:lnTo>
                    <a:lnTo>
                      <a:pt x="167" y="1429"/>
                    </a:lnTo>
                    <a:lnTo>
                      <a:pt x="167" y="1417"/>
                    </a:lnTo>
                    <a:lnTo>
                      <a:pt x="167" y="1410"/>
                    </a:lnTo>
                    <a:lnTo>
                      <a:pt x="168" y="1398"/>
                    </a:lnTo>
                    <a:lnTo>
                      <a:pt x="168" y="1386"/>
                    </a:lnTo>
                    <a:lnTo>
                      <a:pt x="168" y="1383"/>
                    </a:lnTo>
                    <a:lnTo>
                      <a:pt x="168" y="1378"/>
                    </a:lnTo>
                    <a:lnTo>
                      <a:pt x="168" y="1364"/>
                    </a:lnTo>
                    <a:lnTo>
                      <a:pt x="168" y="1347"/>
                    </a:lnTo>
                    <a:lnTo>
                      <a:pt x="168" y="1345"/>
                    </a:lnTo>
                    <a:lnTo>
                      <a:pt x="168" y="1347"/>
                    </a:lnTo>
                    <a:lnTo>
                      <a:pt x="170" y="1349"/>
                    </a:lnTo>
                    <a:lnTo>
                      <a:pt x="173" y="1352"/>
                    </a:lnTo>
                    <a:lnTo>
                      <a:pt x="175" y="1356"/>
                    </a:lnTo>
                    <a:lnTo>
                      <a:pt x="177" y="1359"/>
                    </a:lnTo>
                    <a:lnTo>
                      <a:pt x="179" y="1361"/>
                    </a:lnTo>
                    <a:lnTo>
                      <a:pt x="180" y="1362"/>
                    </a:lnTo>
                    <a:lnTo>
                      <a:pt x="180" y="1366"/>
                    </a:lnTo>
                    <a:lnTo>
                      <a:pt x="180" y="1368"/>
                    </a:lnTo>
                    <a:lnTo>
                      <a:pt x="182" y="1371"/>
                    </a:lnTo>
                    <a:lnTo>
                      <a:pt x="182" y="1373"/>
                    </a:lnTo>
                    <a:lnTo>
                      <a:pt x="182" y="1371"/>
                    </a:lnTo>
                    <a:lnTo>
                      <a:pt x="180" y="1369"/>
                    </a:lnTo>
                    <a:lnTo>
                      <a:pt x="180" y="1368"/>
                    </a:lnTo>
                    <a:lnTo>
                      <a:pt x="180" y="1366"/>
                    </a:lnTo>
                    <a:lnTo>
                      <a:pt x="179" y="1364"/>
                    </a:lnTo>
                    <a:lnTo>
                      <a:pt x="179" y="1366"/>
                    </a:lnTo>
                    <a:lnTo>
                      <a:pt x="177" y="1366"/>
                    </a:lnTo>
                    <a:lnTo>
                      <a:pt x="175" y="1366"/>
                    </a:lnTo>
                    <a:lnTo>
                      <a:pt x="175" y="1368"/>
                    </a:lnTo>
                    <a:lnTo>
                      <a:pt x="173" y="1369"/>
                    </a:lnTo>
                    <a:lnTo>
                      <a:pt x="172" y="1371"/>
                    </a:lnTo>
                    <a:lnTo>
                      <a:pt x="172" y="1373"/>
                    </a:lnTo>
                    <a:lnTo>
                      <a:pt x="170" y="1373"/>
                    </a:lnTo>
                    <a:lnTo>
                      <a:pt x="170" y="1374"/>
                    </a:lnTo>
                    <a:lnTo>
                      <a:pt x="170" y="1376"/>
                    </a:lnTo>
                    <a:lnTo>
                      <a:pt x="170" y="1378"/>
                    </a:lnTo>
                    <a:lnTo>
                      <a:pt x="172" y="1379"/>
                    </a:lnTo>
                    <a:lnTo>
                      <a:pt x="173" y="1381"/>
                    </a:lnTo>
                    <a:lnTo>
                      <a:pt x="175" y="1381"/>
                    </a:lnTo>
                    <a:lnTo>
                      <a:pt x="177" y="1381"/>
                    </a:lnTo>
                    <a:lnTo>
                      <a:pt x="177" y="1383"/>
                    </a:lnTo>
                    <a:lnTo>
                      <a:pt x="179" y="1383"/>
                    </a:lnTo>
                    <a:lnTo>
                      <a:pt x="180" y="1381"/>
                    </a:lnTo>
                    <a:lnTo>
                      <a:pt x="182" y="1381"/>
                    </a:lnTo>
                    <a:lnTo>
                      <a:pt x="182" y="1383"/>
                    </a:lnTo>
                    <a:lnTo>
                      <a:pt x="184" y="1383"/>
                    </a:lnTo>
                    <a:lnTo>
                      <a:pt x="185" y="1385"/>
                    </a:lnTo>
                    <a:lnTo>
                      <a:pt x="185" y="1386"/>
                    </a:lnTo>
                    <a:lnTo>
                      <a:pt x="185" y="1388"/>
                    </a:lnTo>
                    <a:lnTo>
                      <a:pt x="187" y="1390"/>
                    </a:lnTo>
                    <a:lnTo>
                      <a:pt x="187" y="1391"/>
                    </a:lnTo>
                    <a:lnTo>
                      <a:pt x="187" y="1393"/>
                    </a:lnTo>
                    <a:lnTo>
                      <a:pt x="189" y="1395"/>
                    </a:lnTo>
                    <a:lnTo>
                      <a:pt x="189" y="1396"/>
                    </a:lnTo>
                    <a:lnTo>
                      <a:pt x="189" y="1398"/>
                    </a:lnTo>
                    <a:lnTo>
                      <a:pt x="190" y="1398"/>
                    </a:lnTo>
                    <a:lnTo>
                      <a:pt x="190" y="1400"/>
                    </a:lnTo>
                    <a:lnTo>
                      <a:pt x="192" y="1402"/>
                    </a:lnTo>
                    <a:lnTo>
                      <a:pt x="194" y="1403"/>
                    </a:lnTo>
                    <a:lnTo>
                      <a:pt x="194" y="1405"/>
                    </a:lnTo>
                    <a:lnTo>
                      <a:pt x="196" y="1405"/>
                    </a:lnTo>
                    <a:lnTo>
                      <a:pt x="197" y="1407"/>
                    </a:lnTo>
                    <a:lnTo>
                      <a:pt x="199" y="1408"/>
                    </a:lnTo>
                    <a:lnTo>
                      <a:pt x="201" y="1410"/>
                    </a:lnTo>
                    <a:lnTo>
                      <a:pt x="202" y="1412"/>
                    </a:lnTo>
                    <a:lnTo>
                      <a:pt x="204" y="1412"/>
                    </a:lnTo>
                    <a:lnTo>
                      <a:pt x="202" y="1413"/>
                    </a:lnTo>
                    <a:lnTo>
                      <a:pt x="204" y="1415"/>
                    </a:lnTo>
                    <a:lnTo>
                      <a:pt x="204" y="1417"/>
                    </a:lnTo>
                    <a:lnTo>
                      <a:pt x="206" y="1417"/>
                    </a:lnTo>
                    <a:lnTo>
                      <a:pt x="206" y="1419"/>
                    </a:lnTo>
                    <a:lnTo>
                      <a:pt x="207" y="1419"/>
                    </a:lnTo>
                    <a:lnTo>
                      <a:pt x="207" y="1420"/>
                    </a:lnTo>
                    <a:lnTo>
                      <a:pt x="209" y="1420"/>
                    </a:lnTo>
                    <a:lnTo>
                      <a:pt x="209" y="1422"/>
                    </a:lnTo>
                    <a:lnTo>
                      <a:pt x="211" y="1422"/>
                    </a:lnTo>
                    <a:lnTo>
                      <a:pt x="211" y="1424"/>
                    </a:lnTo>
                    <a:lnTo>
                      <a:pt x="213" y="1424"/>
                    </a:lnTo>
                    <a:lnTo>
                      <a:pt x="213" y="1425"/>
                    </a:lnTo>
                    <a:lnTo>
                      <a:pt x="214" y="1425"/>
                    </a:lnTo>
                    <a:lnTo>
                      <a:pt x="216" y="1427"/>
                    </a:lnTo>
                    <a:lnTo>
                      <a:pt x="218" y="1427"/>
                    </a:lnTo>
                    <a:lnTo>
                      <a:pt x="218" y="1429"/>
                    </a:lnTo>
                    <a:lnTo>
                      <a:pt x="219" y="1429"/>
                    </a:lnTo>
                    <a:lnTo>
                      <a:pt x="221" y="1430"/>
                    </a:lnTo>
                    <a:lnTo>
                      <a:pt x="223" y="1430"/>
                    </a:lnTo>
                    <a:lnTo>
                      <a:pt x="224" y="1432"/>
                    </a:lnTo>
                    <a:lnTo>
                      <a:pt x="226" y="1434"/>
                    </a:lnTo>
                    <a:lnTo>
                      <a:pt x="228" y="1434"/>
                    </a:lnTo>
                    <a:lnTo>
                      <a:pt x="230" y="1436"/>
                    </a:lnTo>
                    <a:lnTo>
                      <a:pt x="231" y="1436"/>
                    </a:lnTo>
                    <a:lnTo>
                      <a:pt x="231" y="1437"/>
                    </a:lnTo>
                    <a:lnTo>
                      <a:pt x="233" y="1437"/>
                    </a:lnTo>
                    <a:lnTo>
                      <a:pt x="233" y="1439"/>
                    </a:lnTo>
                    <a:lnTo>
                      <a:pt x="233" y="1441"/>
                    </a:lnTo>
                    <a:lnTo>
                      <a:pt x="235" y="1441"/>
                    </a:lnTo>
                    <a:lnTo>
                      <a:pt x="235" y="1442"/>
                    </a:lnTo>
                    <a:lnTo>
                      <a:pt x="236" y="1442"/>
                    </a:lnTo>
                    <a:lnTo>
                      <a:pt x="236" y="1444"/>
                    </a:lnTo>
                    <a:lnTo>
                      <a:pt x="238" y="1444"/>
                    </a:lnTo>
                    <a:lnTo>
                      <a:pt x="238" y="1446"/>
                    </a:lnTo>
                    <a:lnTo>
                      <a:pt x="240" y="1447"/>
                    </a:lnTo>
                    <a:lnTo>
                      <a:pt x="240" y="1449"/>
                    </a:lnTo>
                    <a:lnTo>
                      <a:pt x="241" y="1449"/>
                    </a:lnTo>
                    <a:lnTo>
                      <a:pt x="243" y="1449"/>
                    </a:lnTo>
                    <a:lnTo>
                      <a:pt x="245" y="1451"/>
                    </a:lnTo>
                    <a:lnTo>
                      <a:pt x="247" y="1451"/>
                    </a:lnTo>
                    <a:lnTo>
                      <a:pt x="248" y="1453"/>
                    </a:lnTo>
                    <a:lnTo>
                      <a:pt x="250" y="1453"/>
                    </a:lnTo>
                    <a:lnTo>
                      <a:pt x="252" y="1454"/>
                    </a:lnTo>
                    <a:lnTo>
                      <a:pt x="253" y="1454"/>
                    </a:lnTo>
                    <a:lnTo>
                      <a:pt x="255" y="1454"/>
                    </a:lnTo>
                    <a:lnTo>
                      <a:pt x="257" y="1456"/>
                    </a:lnTo>
                    <a:lnTo>
                      <a:pt x="258" y="1456"/>
                    </a:lnTo>
                    <a:lnTo>
                      <a:pt x="260" y="1456"/>
                    </a:lnTo>
                    <a:lnTo>
                      <a:pt x="260" y="1458"/>
                    </a:lnTo>
                    <a:lnTo>
                      <a:pt x="262" y="1458"/>
                    </a:lnTo>
                    <a:lnTo>
                      <a:pt x="264" y="1459"/>
                    </a:lnTo>
                    <a:lnTo>
                      <a:pt x="265" y="1459"/>
                    </a:lnTo>
                    <a:lnTo>
                      <a:pt x="267" y="1459"/>
                    </a:lnTo>
                    <a:lnTo>
                      <a:pt x="269" y="1459"/>
                    </a:lnTo>
                    <a:lnTo>
                      <a:pt x="270" y="1459"/>
                    </a:lnTo>
                    <a:lnTo>
                      <a:pt x="272" y="1459"/>
                    </a:lnTo>
                    <a:lnTo>
                      <a:pt x="274" y="1459"/>
                    </a:lnTo>
                    <a:lnTo>
                      <a:pt x="275" y="1458"/>
                    </a:lnTo>
                    <a:lnTo>
                      <a:pt x="275" y="1459"/>
                    </a:lnTo>
                    <a:lnTo>
                      <a:pt x="275" y="1458"/>
                    </a:lnTo>
                    <a:lnTo>
                      <a:pt x="277" y="1458"/>
                    </a:lnTo>
                    <a:lnTo>
                      <a:pt x="279" y="1458"/>
                    </a:lnTo>
                    <a:lnTo>
                      <a:pt x="281" y="1458"/>
                    </a:lnTo>
                    <a:lnTo>
                      <a:pt x="282" y="1458"/>
                    </a:lnTo>
                    <a:lnTo>
                      <a:pt x="282" y="1459"/>
                    </a:lnTo>
                    <a:lnTo>
                      <a:pt x="282" y="1458"/>
                    </a:lnTo>
                    <a:lnTo>
                      <a:pt x="282" y="1459"/>
                    </a:lnTo>
                    <a:lnTo>
                      <a:pt x="284" y="1459"/>
                    </a:lnTo>
                    <a:lnTo>
                      <a:pt x="286" y="1459"/>
                    </a:lnTo>
                    <a:lnTo>
                      <a:pt x="284" y="1461"/>
                    </a:lnTo>
                    <a:lnTo>
                      <a:pt x="284" y="1463"/>
                    </a:lnTo>
                    <a:lnTo>
                      <a:pt x="284" y="1465"/>
                    </a:lnTo>
                    <a:lnTo>
                      <a:pt x="282" y="1465"/>
                    </a:lnTo>
                    <a:lnTo>
                      <a:pt x="284" y="1465"/>
                    </a:lnTo>
                    <a:lnTo>
                      <a:pt x="282" y="1466"/>
                    </a:lnTo>
                    <a:lnTo>
                      <a:pt x="282" y="1468"/>
                    </a:lnTo>
                    <a:lnTo>
                      <a:pt x="281" y="1468"/>
                    </a:lnTo>
                    <a:lnTo>
                      <a:pt x="282" y="1468"/>
                    </a:lnTo>
                    <a:lnTo>
                      <a:pt x="282" y="1470"/>
                    </a:lnTo>
                    <a:lnTo>
                      <a:pt x="281" y="1470"/>
                    </a:lnTo>
                    <a:lnTo>
                      <a:pt x="281" y="1471"/>
                    </a:lnTo>
                    <a:lnTo>
                      <a:pt x="279" y="1471"/>
                    </a:lnTo>
                    <a:lnTo>
                      <a:pt x="279" y="1473"/>
                    </a:lnTo>
                    <a:lnTo>
                      <a:pt x="279" y="1475"/>
                    </a:lnTo>
                    <a:lnTo>
                      <a:pt x="277" y="1476"/>
                    </a:lnTo>
                    <a:lnTo>
                      <a:pt x="275" y="1476"/>
                    </a:lnTo>
                    <a:lnTo>
                      <a:pt x="275" y="1475"/>
                    </a:lnTo>
                    <a:lnTo>
                      <a:pt x="275" y="1473"/>
                    </a:lnTo>
                    <a:lnTo>
                      <a:pt x="274" y="1473"/>
                    </a:lnTo>
                    <a:lnTo>
                      <a:pt x="274" y="1475"/>
                    </a:lnTo>
                    <a:lnTo>
                      <a:pt x="272" y="1476"/>
                    </a:lnTo>
                    <a:lnTo>
                      <a:pt x="270" y="1476"/>
                    </a:lnTo>
                    <a:lnTo>
                      <a:pt x="269" y="1476"/>
                    </a:lnTo>
                    <a:lnTo>
                      <a:pt x="269" y="1478"/>
                    </a:lnTo>
                    <a:lnTo>
                      <a:pt x="267" y="1478"/>
                    </a:lnTo>
                    <a:lnTo>
                      <a:pt x="265" y="1478"/>
                    </a:lnTo>
                    <a:lnTo>
                      <a:pt x="265" y="1476"/>
                    </a:lnTo>
                    <a:lnTo>
                      <a:pt x="265" y="1475"/>
                    </a:lnTo>
                    <a:lnTo>
                      <a:pt x="264" y="1473"/>
                    </a:lnTo>
                    <a:lnTo>
                      <a:pt x="264" y="1475"/>
                    </a:lnTo>
                    <a:lnTo>
                      <a:pt x="262" y="1475"/>
                    </a:lnTo>
                    <a:lnTo>
                      <a:pt x="262" y="1473"/>
                    </a:lnTo>
                    <a:lnTo>
                      <a:pt x="260" y="1473"/>
                    </a:lnTo>
                    <a:lnTo>
                      <a:pt x="258" y="1475"/>
                    </a:lnTo>
                    <a:lnTo>
                      <a:pt x="258" y="1473"/>
                    </a:lnTo>
                    <a:lnTo>
                      <a:pt x="257" y="1473"/>
                    </a:lnTo>
                    <a:lnTo>
                      <a:pt x="257" y="1475"/>
                    </a:lnTo>
                    <a:lnTo>
                      <a:pt x="258" y="1476"/>
                    </a:lnTo>
                    <a:lnTo>
                      <a:pt x="257" y="1478"/>
                    </a:lnTo>
                    <a:lnTo>
                      <a:pt x="255" y="1478"/>
                    </a:lnTo>
                    <a:lnTo>
                      <a:pt x="253" y="1478"/>
                    </a:lnTo>
                    <a:lnTo>
                      <a:pt x="252" y="1478"/>
                    </a:lnTo>
                    <a:lnTo>
                      <a:pt x="250" y="1478"/>
                    </a:lnTo>
                    <a:lnTo>
                      <a:pt x="250" y="1480"/>
                    </a:lnTo>
                    <a:lnTo>
                      <a:pt x="248" y="1478"/>
                    </a:lnTo>
                    <a:lnTo>
                      <a:pt x="247" y="1478"/>
                    </a:lnTo>
                    <a:lnTo>
                      <a:pt x="245" y="1478"/>
                    </a:lnTo>
                    <a:lnTo>
                      <a:pt x="245" y="1480"/>
                    </a:lnTo>
                    <a:lnTo>
                      <a:pt x="243" y="1480"/>
                    </a:lnTo>
                    <a:lnTo>
                      <a:pt x="245" y="1482"/>
                    </a:lnTo>
                    <a:lnTo>
                      <a:pt x="243" y="1482"/>
                    </a:lnTo>
                    <a:lnTo>
                      <a:pt x="241" y="1482"/>
                    </a:lnTo>
                    <a:lnTo>
                      <a:pt x="241" y="1483"/>
                    </a:lnTo>
                    <a:lnTo>
                      <a:pt x="240" y="1482"/>
                    </a:lnTo>
                    <a:lnTo>
                      <a:pt x="238" y="1483"/>
                    </a:lnTo>
                    <a:lnTo>
                      <a:pt x="238" y="1482"/>
                    </a:lnTo>
                    <a:lnTo>
                      <a:pt x="236" y="1482"/>
                    </a:lnTo>
                    <a:lnTo>
                      <a:pt x="235" y="1482"/>
                    </a:lnTo>
                    <a:lnTo>
                      <a:pt x="233" y="1480"/>
                    </a:lnTo>
                    <a:lnTo>
                      <a:pt x="231" y="1480"/>
                    </a:lnTo>
                    <a:lnTo>
                      <a:pt x="231" y="1478"/>
                    </a:lnTo>
                    <a:lnTo>
                      <a:pt x="231" y="1476"/>
                    </a:lnTo>
                    <a:lnTo>
                      <a:pt x="230" y="1476"/>
                    </a:lnTo>
                    <a:lnTo>
                      <a:pt x="228" y="1476"/>
                    </a:lnTo>
                    <a:lnTo>
                      <a:pt x="226" y="1476"/>
                    </a:lnTo>
                    <a:lnTo>
                      <a:pt x="224" y="1476"/>
                    </a:lnTo>
                    <a:lnTo>
                      <a:pt x="224" y="1475"/>
                    </a:lnTo>
                    <a:lnTo>
                      <a:pt x="223" y="1475"/>
                    </a:lnTo>
                    <a:lnTo>
                      <a:pt x="221" y="1475"/>
                    </a:lnTo>
                    <a:lnTo>
                      <a:pt x="219" y="1475"/>
                    </a:lnTo>
                    <a:lnTo>
                      <a:pt x="219" y="1473"/>
                    </a:lnTo>
                    <a:lnTo>
                      <a:pt x="218" y="1473"/>
                    </a:lnTo>
                    <a:lnTo>
                      <a:pt x="216" y="1473"/>
                    </a:lnTo>
                    <a:lnTo>
                      <a:pt x="214" y="1473"/>
                    </a:lnTo>
                    <a:lnTo>
                      <a:pt x="213" y="1473"/>
                    </a:lnTo>
                    <a:lnTo>
                      <a:pt x="213" y="1471"/>
                    </a:lnTo>
                    <a:lnTo>
                      <a:pt x="213" y="1473"/>
                    </a:lnTo>
                    <a:lnTo>
                      <a:pt x="213" y="1471"/>
                    </a:lnTo>
                    <a:lnTo>
                      <a:pt x="213" y="1473"/>
                    </a:lnTo>
                    <a:lnTo>
                      <a:pt x="211" y="1471"/>
                    </a:lnTo>
                    <a:lnTo>
                      <a:pt x="213" y="1473"/>
                    </a:lnTo>
                    <a:lnTo>
                      <a:pt x="211" y="1473"/>
                    </a:lnTo>
                    <a:lnTo>
                      <a:pt x="211" y="1471"/>
                    </a:lnTo>
                    <a:lnTo>
                      <a:pt x="209" y="1471"/>
                    </a:lnTo>
                    <a:lnTo>
                      <a:pt x="211" y="1473"/>
                    </a:lnTo>
                    <a:lnTo>
                      <a:pt x="209" y="1473"/>
                    </a:lnTo>
                    <a:lnTo>
                      <a:pt x="207" y="1473"/>
                    </a:lnTo>
                    <a:lnTo>
                      <a:pt x="207" y="1471"/>
                    </a:lnTo>
                    <a:lnTo>
                      <a:pt x="206" y="1471"/>
                    </a:lnTo>
                    <a:lnTo>
                      <a:pt x="204" y="1471"/>
                    </a:lnTo>
                    <a:lnTo>
                      <a:pt x="202" y="1471"/>
                    </a:lnTo>
                    <a:lnTo>
                      <a:pt x="202" y="1473"/>
                    </a:lnTo>
                    <a:lnTo>
                      <a:pt x="201" y="1473"/>
                    </a:lnTo>
                    <a:lnTo>
                      <a:pt x="199" y="1473"/>
                    </a:lnTo>
                    <a:lnTo>
                      <a:pt x="197" y="1473"/>
                    </a:lnTo>
                    <a:lnTo>
                      <a:pt x="196" y="1471"/>
                    </a:lnTo>
                    <a:lnTo>
                      <a:pt x="194" y="1471"/>
                    </a:lnTo>
                    <a:lnTo>
                      <a:pt x="192" y="1471"/>
                    </a:lnTo>
                    <a:lnTo>
                      <a:pt x="190" y="1471"/>
                    </a:lnTo>
                    <a:lnTo>
                      <a:pt x="189" y="1471"/>
                    </a:lnTo>
                    <a:lnTo>
                      <a:pt x="189" y="1470"/>
                    </a:lnTo>
                    <a:lnTo>
                      <a:pt x="187" y="1471"/>
                    </a:lnTo>
                    <a:lnTo>
                      <a:pt x="187" y="1470"/>
                    </a:lnTo>
                    <a:lnTo>
                      <a:pt x="185" y="1470"/>
                    </a:lnTo>
                    <a:lnTo>
                      <a:pt x="184" y="1470"/>
                    </a:lnTo>
                    <a:lnTo>
                      <a:pt x="182" y="1468"/>
                    </a:lnTo>
                    <a:lnTo>
                      <a:pt x="180" y="1468"/>
                    </a:lnTo>
                    <a:lnTo>
                      <a:pt x="179" y="1468"/>
                    </a:lnTo>
                    <a:lnTo>
                      <a:pt x="179" y="1470"/>
                    </a:lnTo>
                    <a:lnTo>
                      <a:pt x="180" y="1470"/>
                    </a:lnTo>
                    <a:lnTo>
                      <a:pt x="179" y="1470"/>
                    </a:lnTo>
                    <a:lnTo>
                      <a:pt x="177" y="1470"/>
                    </a:lnTo>
                    <a:lnTo>
                      <a:pt x="175" y="1471"/>
                    </a:lnTo>
                    <a:lnTo>
                      <a:pt x="173" y="1471"/>
                    </a:lnTo>
                    <a:lnTo>
                      <a:pt x="172" y="1470"/>
                    </a:lnTo>
                    <a:lnTo>
                      <a:pt x="172" y="1471"/>
                    </a:lnTo>
                    <a:lnTo>
                      <a:pt x="170" y="1471"/>
                    </a:lnTo>
                    <a:lnTo>
                      <a:pt x="172" y="1471"/>
                    </a:lnTo>
                    <a:lnTo>
                      <a:pt x="170" y="1473"/>
                    </a:lnTo>
                    <a:lnTo>
                      <a:pt x="168" y="1473"/>
                    </a:lnTo>
                    <a:lnTo>
                      <a:pt x="167" y="1473"/>
                    </a:lnTo>
                    <a:close/>
                    <a:moveTo>
                      <a:pt x="313" y="1465"/>
                    </a:moveTo>
                    <a:lnTo>
                      <a:pt x="315" y="1463"/>
                    </a:lnTo>
                    <a:lnTo>
                      <a:pt x="315" y="1465"/>
                    </a:lnTo>
                    <a:lnTo>
                      <a:pt x="316" y="1463"/>
                    </a:lnTo>
                    <a:lnTo>
                      <a:pt x="318" y="1465"/>
                    </a:lnTo>
                    <a:lnTo>
                      <a:pt x="318" y="1466"/>
                    </a:lnTo>
                    <a:lnTo>
                      <a:pt x="320" y="1465"/>
                    </a:lnTo>
                    <a:lnTo>
                      <a:pt x="318" y="1465"/>
                    </a:lnTo>
                    <a:lnTo>
                      <a:pt x="318" y="1463"/>
                    </a:lnTo>
                    <a:lnTo>
                      <a:pt x="320" y="1465"/>
                    </a:lnTo>
                    <a:lnTo>
                      <a:pt x="321" y="1465"/>
                    </a:lnTo>
                    <a:lnTo>
                      <a:pt x="321" y="1463"/>
                    </a:lnTo>
                    <a:lnTo>
                      <a:pt x="323" y="1465"/>
                    </a:lnTo>
                    <a:lnTo>
                      <a:pt x="321" y="1466"/>
                    </a:lnTo>
                    <a:lnTo>
                      <a:pt x="323" y="1466"/>
                    </a:lnTo>
                    <a:lnTo>
                      <a:pt x="323" y="1465"/>
                    </a:lnTo>
                    <a:lnTo>
                      <a:pt x="325" y="1465"/>
                    </a:lnTo>
                    <a:lnTo>
                      <a:pt x="326" y="1463"/>
                    </a:lnTo>
                    <a:lnTo>
                      <a:pt x="328" y="1463"/>
                    </a:lnTo>
                    <a:lnTo>
                      <a:pt x="328" y="1465"/>
                    </a:lnTo>
                    <a:lnTo>
                      <a:pt x="330" y="1463"/>
                    </a:lnTo>
                    <a:lnTo>
                      <a:pt x="330" y="1465"/>
                    </a:lnTo>
                    <a:lnTo>
                      <a:pt x="328" y="1466"/>
                    </a:lnTo>
                    <a:lnTo>
                      <a:pt x="328" y="1468"/>
                    </a:lnTo>
                    <a:lnTo>
                      <a:pt x="328" y="1466"/>
                    </a:lnTo>
                    <a:lnTo>
                      <a:pt x="326" y="1466"/>
                    </a:lnTo>
                    <a:lnTo>
                      <a:pt x="326" y="1468"/>
                    </a:lnTo>
                    <a:lnTo>
                      <a:pt x="325" y="1468"/>
                    </a:lnTo>
                    <a:lnTo>
                      <a:pt x="325" y="1466"/>
                    </a:lnTo>
                    <a:lnTo>
                      <a:pt x="323" y="1466"/>
                    </a:lnTo>
                    <a:lnTo>
                      <a:pt x="323" y="1468"/>
                    </a:lnTo>
                    <a:lnTo>
                      <a:pt x="321" y="1468"/>
                    </a:lnTo>
                    <a:lnTo>
                      <a:pt x="321" y="1466"/>
                    </a:lnTo>
                    <a:lnTo>
                      <a:pt x="321" y="1468"/>
                    </a:lnTo>
                    <a:lnTo>
                      <a:pt x="320" y="1468"/>
                    </a:lnTo>
                    <a:lnTo>
                      <a:pt x="320" y="1470"/>
                    </a:lnTo>
                    <a:lnTo>
                      <a:pt x="320" y="1468"/>
                    </a:lnTo>
                    <a:lnTo>
                      <a:pt x="318" y="1470"/>
                    </a:lnTo>
                    <a:lnTo>
                      <a:pt x="316" y="1470"/>
                    </a:lnTo>
                    <a:lnTo>
                      <a:pt x="316" y="1471"/>
                    </a:lnTo>
                    <a:lnTo>
                      <a:pt x="316" y="1470"/>
                    </a:lnTo>
                    <a:lnTo>
                      <a:pt x="316" y="1468"/>
                    </a:lnTo>
                    <a:lnTo>
                      <a:pt x="316" y="1466"/>
                    </a:lnTo>
                    <a:lnTo>
                      <a:pt x="315" y="1468"/>
                    </a:lnTo>
                    <a:lnTo>
                      <a:pt x="315" y="1466"/>
                    </a:lnTo>
                    <a:lnTo>
                      <a:pt x="313" y="1466"/>
                    </a:lnTo>
                    <a:lnTo>
                      <a:pt x="313" y="1468"/>
                    </a:lnTo>
                    <a:lnTo>
                      <a:pt x="313" y="1470"/>
                    </a:lnTo>
                    <a:lnTo>
                      <a:pt x="311" y="1470"/>
                    </a:lnTo>
                    <a:lnTo>
                      <a:pt x="309" y="1471"/>
                    </a:lnTo>
                    <a:lnTo>
                      <a:pt x="308" y="1471"/>
                    </a:lnTo>
                    <a:lnTo>
                      <a:pt x="308" y="1470"/>
                    </a:lnTo>
                    <a:lnTo>
                      <a:pt x="309" y="1470"/>
                    </a:lnTo>
                    <a:lnTo>
                      <a:pt x="308" y="1470"/>
                    </a:lnTo>
                    <a:lnTo>
                      <a:pt x="306" y="1471"/>
                    </a:lnTo>
                    <a:lnTo>
                      <a:pt x="306" y="1473"/>
                    </a:lnTo>
                    <a:lnTo>
                      <a:pt x="304" y="1473"/>
                    </a:lnTo>
                    <a:lnTo>
                      <a:pt x="303" y="1475"/>
                    </a:lnTo>
                    <a:lnTo>
                      <a:pt x="303" y="1473"/>
                    </a:lnTo>
                    <a:lnTo>
                      <a:pt x="301" y="1475"/>
                    </a:lnTo>
                    <a:lnTo>
                      <a:pt x="299" y="1475"/>
                    </a:lnTo>
                    <a:lnTo>
                      <a:pt x="299" y="1473"/>
                    </a:lnTo>
                    <a:lnTo>
                      <a:pt x="301" y="1473"/>
                    </a:lnTo>
                    <a:lnTo>
                      <a:pt x="303" y="1473"/>
                    </a:lnTo>
                    <a:lnTo>
                      <a:pt x="301" y="1471"/>
                    </a:lnTo>
                    <a:lnTo>
                      <a:pt x="301" y="1470"/>
                    </a:lnTo>
                    <a:lnTo>
                      <a:pt x="299" y="1471"/>
                    </a:lnTo>
                    <a:lnTo>
                      <a:pt x="298" y="1470"/>
                    </a:lnTo>
                    <a:lnTo>
                      <a:pt x="299" y="1470"/>
                    </a:lnTo>
                    <a:lnTo>
                      <a:pt x="299" y="1468"/>
                    </a:lnTo>
                    <a:lnTo>
                      <a:pt x="299" y="1466"/>
                    </a:lnTo>
                    <a:lnTo>
                      <a:pt x="301" y="1468"/>
                    </a:lnTo>
                    <a:lnTo>
                      <a:pt x="301" y="1466"/>
                    </a:lnTo>
                    <a:lnTo>
                      <a:pt x="303" y="1466"/>
                    </a:lnTo>
                    <a:lnTo>
                      <a:pt x="303" y="1468"/>
                    </a:lnTo>
                    <a:lnTo>
                      <a:pt x="304" y="1468"/>
                    </a:lnTo>
                    <a:lnTo>
                      <a:pt x="306" y="1468"/>
                    </a:lnTo>
                    <a:lnTo>
                      <a:pt x="306" y="1466"/>
                    </a:lnTo>
                    <a:lnTo>
                      <a:pt x="306" y="1465"/>
                    </a:lnTo>
                    <a:lnTo>
                      <a:pt x="306" y="1463"/>
                    </a:lnTo>
                    <a:lnTo>
                      <a:pt x="306" y="1465"/>
                    </a:lnTo>
                    <a:lnTo>
                      <a:pt x="308" y="1466"/>
                    </a:lnTo>
                    <a:lnTo>
                      <a:pt x="309" y="1465"/>
                    </a:lnTo>
                    <a:lnTo>
                      <a:pt x="309" y="1466"/>
                    </a:lnTo>
                    <a:lnTo>
                      <a:pt x="309" y="1465"/>
                    </a:lnTo>
                    <a:lnTo>
                      <a:pt x="311" y="1465"/>
                    </a:lnTo>
                    <a:lnTo>
                      <a:pt x="311" y="1466"/>
                    </a:lnTo>
                    <a:lnTo>
                      <a:pt x="311" y="1465"/>
                    </a:lnTo>
                    <a:lnTo>
                      <a:pt x="313" y="1463"/>
                    </a:lnTo>
                    <a:lnTo>
                      <a:pt x="313" y="1465"/>
                    </a:lnTo>
                    <a:close/>
                    <a:moveTo>
                      <a:pt x="391" y="682"/>
                    </a:moveTo>
                    <a:lnTo>
                      <a:pt x="393" y="682"/>
                    </a:lnTo>
                    <a:lnTo>
                      <a:pt x="394" y="682"/>
                    </a:lnTo>
                    <a:lnTo>
                      <a:pt x="394" y="684"/>
                    </a:lnTo>
                    <a:lnTo>
                      <a:pt x="396" y="684"/>
                    </a:lnTo>
                    <a:lnTo>
                      <a:pt x="396" y="685"/>
                    </a:lnTo>
                    <a:lnTo>
                      <a:pt x="396" y="687"/>
                    </a:lnTo>
                    <a:lnTo>
                      <a:pt x="396" y="689"/>
                    </a:lnTo>
                    <a:lnTo>
                      <a:pt x="394" y="689"/>
                    </a:lnTo>
                    <a:lnTo>
                      <a:pt x="394" y="687"/>
                    </a:lnTo>
                    <a:lnTo>
                      <a:pt x="393" y="687"/>
                    </a:lnTo>
                    <a:lnTo>
                      <a:pt x="391" y="687"/>
                    </a:lnTo>
                    <a:lnTo>
                      <a:pt x="391" y="685"/>
                    </a:lnTo>
                    <a:lnTo>
                      <a:pt x="389" y="685"/>
                    </a:lnTo>
                    <a:lnTo>
                      <a:pt x="389" y="684"/>
                    </a:lnTo>
                    <a:lnTo>
                      <a:pt x="388" y="684"/>
                    </a:lnTo>
                    <a:lnTo>
                      <a:pt x="388" y="682"/>
                    </a:lnTo>
                    <a:lnTo>
                      <a:pt x="389" y="682"/>
                    </a:lnTo>
                    <a:lnTo>
                      <a:pt x="391" y="682"/>
                    </a:lnTo>
                    <a:close/>
                    <a:moveTo>
                      <a:pt x="388" y="718"/>
                    </a:moveTo>
                    <a:lnTo>
                      <a:pt x="388" y="719"/>
                    </a:lnTo>
                    <a:lnTo>
                      <a:pt x="388" y="721"/>
                    </a:lnTo>
                    <a:lnTo>
                      <a:pt x="386" y="719"/>
                    </a:lnTo>
                    <a:lnTo>
                      <a:pt x="384" y="719"/>
                    </a:lnTo>
                    <a:lnTo>
                      <a:pt x="384" y="718"/>
                    </a:lnTo>
                    <a:lnTo>
                      <a:pt x="386" y="718"/>
                    </a:lnTo>
                    <a:lnTo>
                      <a:pt x="386" y="716"/>
                    </a:lnTo>
                    <a:lnTo>
                      <a:pt x="386" y="718"/>
                    </a:lnTo>
                    <a:lnTo>
                      <a:pt x="388" y="718"/>
                    </a:lnTo>
                    <a:close/>
                    <a:moveTo>
                      <a:pt x="386" y="742"/>
                    </a:moveTo>
                    <a:lnTo>
                      <a:pt x="386" y="743"/>
                    </a:lnTo>
                    <a:lnTo>
                      <a:pt x="386" y="745"/>
                    </a:lnTo>
                    <a:lnTo>
                      <a:pt x="386" y="747"/>
                    </a:lnTo>
                    <a:lnTo>
                      <a:pt x="384" y="745"/>
                    </a:lnTo>
                    <a:lnTo>
                      <a:pt x="383" y="745"/>
                    </a:lnTo>
                    <a:lnTo>
                      <a:pt x="384" y="743"/>
                    </a:lnTo>
                    <a:lnTo>
                      <a:pt x="384" y="742"/>
                    </a:lnTo>
                    <a:lnTo>
                      <a:pt x="386" y="742"/>
                    </a:lnTo>
                    <a:close/>
                    <a:moveTo>
                      <a:pt x="207" y="1473"/>
                    </a:moveTo>
                    <a:lnTo>
                      <a:pt x="209" y="1473"/>
                    </a:lnTo>
                    <a:lnTo>
                      <a:pt x="209" y="1475"/>
                    </a:lnTo>
                    <a:lnTo>
                      <a:pt x="207" y="1473"/>
                    </a:lnTo>
                    <a:lnTo>
                      <a:pt x="206" y="1475"/>
                    </a:lnTo>
                    <a:lnTo>
                      <a:pt x="204" y="1473"/>
                    </a:lnTo>
                    <a:lnTo>
                      <a:pt x="206" y="1471"/>
                    </a:lnTo>
                    <a:lnTo>
                      <a:pt x="206" y="1473"/>
                    </a:lnTo>
                    <a:lnTo>
                      <a:pt x="206" y="1471"/>
                    </a:lnTo>
                    <a:lnTo>
                      <a:pt x="207" y="1471"/>
                    </a:lnTo>
                    <a:lnTo>
                      <a:pt x="207" y="1473"/>
                    </a:lnTo>
                    <a:close/>
                    <a:moveTo>
                      <a:pt x="384" y="738"/>
                    </a:moveTo>
                    <a:lnTo>
                      <a:pt x="386" y="738"/>
                    </a:lnTo>
                    <a:lnTo>
                      <a:pt x="386" y="742"/>
                    </a:lnTo>
                    <a:lnTo>
                      <a:pt x="384" y="742"/>
                    </a:lnTo>
                    <a:lnTo>
                      <a:pt x="384" y="738"/>
                    </a:lnTo>
                    <a:close/>
                    <a:moveTo>
                      <a:pt x="386" y="687"/>
                    </a:moveTo>
                    <a:lnTo>
                      <a:pt x="389" y="687"/>
                    </a:lnTo>
                    <a:lnTo>
                      <a:pt x="389" y="689"/>
                    </a:lnTo>
                    <a:lnTo>
                      <a:pt x="386" y="689"/>
                    </a:lnTo>
                    <a:lnTo>
                      <a:pt x="386" y="687"/>
                    </a:lnTo>
                    <a:close/>
                    <a:moveTo>
                      <a:pt x="389" y="679"/>
                    </a:moveTo>
                    <a:lnTo>
                      <a:pt x="391" y="679"/>
                    </a:lnTo>
                    <a:lnTo>
                      <a:pt x="391" y="680"/>
                    </a:lnTo>
                    <a:lnTo>
                      <a:pt x="389" y="680"/>
                    </a:lnTo>
                    <a:lnTo>
                      <a:pt x="389" y="679"/>
                    </a:lnTo>
                    <a:close/>
                    <a:moveTo>
                      <a:pt x="381" y="672"/>
                    </a:moveTo>
                    <a:lnTo>
                      <a:pt x="383" y="672"/>
                    </a:lnTo>
                    <a:lnTo>
                      <a:pt x="383" y="675"/>
                    </a:lnTo>
                    <a:lnTo>
                      <a:pt x="381" y="675"/>
                    </a:lnTo>
                    <a:lnTo>
                      <a:pt x="381" y="672"/>
                    </a:lnTo>
                    <a:close/>
                    <a:moveTo>
                      <a:pt x="386" y="679"/>
                    </a:moveTo>
                    <a:lnTo>
                      <a:pt x="389" y="679"/>
                    </a:lnTo>
                    <a:lnTo>
                      <a:pt x="389" y="680"/>
                    </a:lnTo>
                    <a:lnTo>
                      <a:pt x="386" y="680"/>
                    </a:lnTo>
                    <a:lnTo>
                      <a:pt x="386" y="679"/>
                    </a:lnTo>
                    <a:close/>
                    <a:moveTo>
                      <a:pt x="386" y="728"/>
                    </a:moveTo>
                    <a:lnTo>
                      <a:pt x="388" y="728"/>
                    </a:lnTo>
                    <a:lnTo>
                      <a:pt x="388" y="731"/>
                    </a:lnTo>
                    <a:lnTo>
                      <a:pt x="386" y="731"/>
                    </a:lnTo>
                    <a:lnTo>
                      <a:pt x="386" y="728"/>
                    </a:lnTo>
                    <a:close/>
                    <a:moveTo>
                      <a:pt x="515" y="476"/>
                    </a:moveTo>
                    <a:lnTo>
                      <a:pt x="517" y="476"/>
                    </a:lnTo>
                    <a:lnTo>
                      <a:pt x="517" y="478"/>
                    </a:lnTo>
                    <a:lnTo>
                      <a:pt x="515" y="478"/>
                    </a:lnTo>
                    <a:lnTo>
                      <a:pt x="515" y="476"/>
                    </a:lnTo>
                    <a:close/>
                    <a:moveTo>
                      <a:pt x="386" y="677"/>
                    </a:moveTo>
                    <a:lnTo>
                      <a:pt x="388" y="677"/>
                    </a:lnTo>
                    <a:lnTo>
                      <a:pt x="388" y="679"/>
                    </a:lnTo>
                    <a:lnTo>
                      <a:pt x="386" y="679"/>
                    </a:lnTo>
                    <a:lnTo>
                      <a:pt x="386" y="677"/>
                    </a:lnTo>
                    <a:close/>
                    <a:moveTo>
                      <a:pt x="381" y="675"/>
                    </a:moveTo>
                    <a:lnTo>
                      <a:pt x="384" y="675"/>
                    </a:lnTo>
                    <a:lnTo>
                      <a:pt x="384" y="677"/>
                    </a:lnTo>
                    <a:lnTo>
                      <a:pt x="381" y="677"/>
                    </a:lnTo>
                    <a:lnTo>
                      <a:pt x="381" y="675"/>
                    </a:lnTo>
                    <a:close/>
                    <a:moveTo>
                      <a:pt x="255" y="956"/>
                    </a:moveTo>
                    <a:lnTo>
                      <a:pt x="257" y="956"/>
                    </a:lnTo>
                    <a:lnTo>
                      <a:pt x="255" y="956"/>
                    </a:lnTo>
                    <a:close/>
                    <a:moveTo>
                      <a:pt x="513" y="493"/>
                    </a:moveTo>
                    <a:lnTo>
                      <a:pt x="515" y="493"/>
                    </a:lnTo>
                    <a:lnTo>
                      <a:pt x="513" y="493"/>
                    </a:lnTo>
                    <a:close/>
                    <a:moveTo>
                      <a:pt x="318" y="1458"/>
                    </a:moveTo>
                    <a:lnTo>
                      <a:pt x="320" y="1458"/>
                    </a:lnTo>
                    <a:lnTo>
                      <a:pt x="320" y="1459"/>
                    </a:lnTo>
                    <a:lnTo>
                      <a:pt x="318" y="1459"/>
                    </a:lnTo>
                    <a:lnTo>
                      <a:pt x="318" y="1458"/>
                    </a:lnTo>
                    <a:close/>
                    <a:moveTo>
                      <a:pt x="269" y="952"/>
                    </a:moveTo>
                    <a:lnTo>
                      <a:pt x="270" y="952"/>
                    </a:lnTo>
                    <a:lnTo>
                      <a:pt x="270" y="954"/>
                    </a:lnTo>
                    <a:lnTo>
                      <a:pt x="269" y="954"/>
                    </a:lnTo>
                    <a:lnTo>
                      <a:pt x="269" y="952"/>
                    </a:lnTo>
                    <a:close/>
                    <a:moveTo>
                      <a:pt x="389" y="689"/>
                    </a:moveTo>
                    <a:lnTo>
                      <a:pt x="391" y="689"/>
                    </a:lnTo>
                    <a:lnTo>
                      <a:pt x="389" y="689"/>
                    </a:lnTo>
                    <a:close/>
                    <a:moveTo>
                      <a:pt x="383" y="718"/>
                    </a:moveTo>
                    <a:lnTo>
                      <a:pt x="384" y="718"/>
                    </a:lnTo>
                    <a:lnTo>
                      <a:pt x="384" y="719"/>
                    </a:lnTo>
                    <a:lnTo>
                      <a:pt x="383" y="719"/>
                    </a:lnTo>
                    <a:lnTo>
                      <a:pt x="383" y="718"/>
                    </a:lnTo>
                    <a:close/>
                    <a:moveTo>
                      <a:pt x="529" y="502"/>
                    </a:moveTo>
                    <a:lnTo>
                      <a:pt x="530" y="502"/>
                    </a:lnTo>
                    <a:lnTo>
                      <a:pt x="530" y="503"/>
                    </a:lnTo>
                    <a:lnTo>
                      <a:pt x="529" y="503"/>
                    </a:lnTo>
                    <a:lnTo>
                      <a:pt x="529" y="502"/>
                    </a:lnTo>
                    <a:close/>
                    <a:moveTo>
                      <a:pt x="515" y="474"/>
                    </a:moveTo>
                    <a:lnTo>
                      <a:pt x="515" y="476"/>
                    </a:lnTo>
                    <a:lnTo>
                      <a:pt x="515" y="474"/>
                    </a:lnTo>
                    <a:close/>
                    <a:moveTo>
                      <a:pt x="381" y="716"/>
                    </a:moveTo>
                    <a:lnTo>
                      <a:pt x="383" y="716"/>
                    </a:lnTo>
                    <a:lnTo>
                      <a:pt x="383" y="718"/>
                    </a:lnTo>
                    <a:lnTo>
                      <a:pt x="381" y="718"/>
                    </a:lnTo>
                    <a:lnTo>
                      <a:pt x="381" y="716"/>
                    </a:lnTo>
                    <a:close/>
                    <a:moveTo>
                      <a:pt x="383" y="674"/>
                    </a:moveTo>
                    <a:lnTo>
                      <a:pt x="384" y="674"/>
                    </a:lnTo>
                    <a:lnTo>
                      <a:pt x="384" y="675"/>
                    </a:lnTo>
                    <a:lnTo>
                      <a:pt x="383" y="675"/>
                    </a:lnTo>
                    <a:lnTo>
                      <a:pt x="383" y="674"/>
                    </a:lnTo>
                    <a:close/>
                    <a:moveTo>
                      <a:pt x="315" y="1459"/>
                    </a:moveTo>
                    <a:lnTo>
                      <a:pt x="315" y="1461"/>
                    </a:lnTo>
                    <a:lnTo>
                      <a:pt x="315" y="1459"/>
                    </a:lnTo>
                    <a:close/>
                    <a:moveTo>
                      <a:pt x="515" y="476"/>
                    </a:moveTo>
                    <a:lnTo>
                      <a:pt x="515" y="478"/>
                    </a:lnTo>
                    <a:lnTo>
                      <a:pt x="515" y="476"/>
                    </a:lnTo>
                    <a:close/>
                    <a:moveTo>
                      <a:pt x="517" y="474"/>
                    </a:moveTo>
                    <a:lnTo>
                      <a:pt x="519" y="474"/>
                    </a:lnTo>
                    <a:lnTo>
                      <a:pt x="519" y="476"/>
                    </a:lnTo>
                    <a:lnTo>
                      <a:pt x="517" y="476"/>
                    </a:lnTo>
                    <a:lnTo>
                      <a:pt x="517" y="474"/>
                    </a:lnTo>
                    <a:close/>
                    <a:moveTo>
                      <a:pt x="383" y="687"/>
                    </a:moveTo>
                    <a:lnTo>
                      <a:pt x="384" y="687"/>
                    </a:lnTo>
                    <a:lnTo>
                      <a:pt x="383" y="687"/>
                    </a:lnTo>
                    <a:close/>
                    <a:moveTo>
                      <a:pt x="257" y="956"/>
                    </a:moveTo>
                    <a:lnTo>
                      <a:pt x="258" y="956"/>
                    </a:lnTo>
                    <a:lnTo>
                      <a:pt x="258" y="958"/>
                    </a:lnTo>
                    <a:lnTo>
                      <a:pt x="257" y="958"/>
                    </a:lnTo>
                    <a:lnTo>
                      <a:pt x="257" y="956"/>
                    </a:lnTo>
                    <a:close/>
                    <a:moveTo>
                      <a:pt x="384" y="675"/>
                    </a:moveTo>
                    <a:lnTo>
                      <a:pt x="386" y="675"/>
                    </a:lnTo>
                    <a:lnTo>
                      <a:pt x="384" y="675"/>
                    </a:lnTo>
                    <a:close/>
                    <a:moveTo>
                      <a:pt x="386" y="723"/>
                    </a:moveTo>
                    <a:lnTo>
                      <a:pt x="388" y="723"/>
                    </a:lnTo>
                    <a:lnTo>
                      <a:pt x="388" y="725"/>
                    </a:lnTo>
                    <a:lnTo>
                      <a:pt x="386" y="725"/>
                    </a:lnTo>
                    <a:lnTo>
                      <a:pt x="386" y="723"/>
                    </a:lnTo>
                    <a:close/>
                    <a:moveTo>
                      <a:pt x="265" y="954"/>
                    </a:moveTo>
                    <a:lnTo>
                      <a:pt x="267" y="954"/>
                    </a:lnTo>
                    <a:lnTo>
                      <a:pt x="265" y="954"/>
                    </a:lnTo>
                    <a:close/>
                    <a:moveTo>
                      <a:pt x="381" y="721"/>
                    </a:moveTo>
                    <a:lnTo>
                      <a:pt x="383" y="721"/>
                    </a:lnTo>
                    <a:lnTo>
                      <a:pt x="381" y="721"/>
                    </a:lnTo>
                    <a:close/>
                    <a:moveTo>
                      <a:pt x="383" y="721"/>
                    </a:moveTo>
                    <a:lnTo>
                      <a:pt x="383" y="723"/>
                    </a:lnTo>
                    <a:lnTo>
                      <a:pt x="383" y="721"/>
                    </a:lnTo>
                    <a:close/>
                    <a:moveTo>
                      <a:pt x="274" y="951"/>
                    </a:moveTo>
                    <a:lnTo>
                      <a:pt x="274" y="952"/>
                    </a:lnTo>
                    <a:lnTo>
                      <a:pt x="274" y="951"/>
                    </a:lnTo>
                    <a:close/>
                    <a:moveTo>
                      <a:pt x="367" y="767"/>
                    </a:moveTo>
                    <a:lnTo>
                      <a:pt x="369" y="767"/>
                    </a:lnTo>
                    <a:lnTo>
                      <a:pt x="367" y="767"/>
                    </a:lnTo>
                    <a:close/>
                    <a:moveTo>
                      <a:pt x="517" y="474"/>
                    </a:moveTo>
                    <a:lnTo>
                      <a:pt x="519" y="474"/>
                    </a:lnTo>
                    <a:lnTo>
                      <a:pt x="517" y="474"/>
                    </a:lnTo>
                    <a:close/>
                    <a:moveTo>
                      <a:pt x="515" y="471"/>
                    </a:moveTo>
                    <a:lnTo>
                      <a:pt x="515" y="473"/>
                    </a:lnTo>
                    <a:lnTo>
                      <a:pt x="515" y="471"/>
                    </a:lnTo>
                    <a:close/>
                    <a:moveTo>
                      <a:pt x="513" y="476"/>
                    </a:moveTo>
                    <a:lnTo>
                      <a:pt x="515" y="476"/>
                    </a:lnTo>
                    <a:lnTo>
                      <a:pt x="513" y="476"/>
                    </a:lnTo>
                    <a:close/>
                    <a:moveTo>
                      <a:pt x="209" y="1473"/>
                    </a:moveTo>
                    <a:lnTo>
                      <a:pt x="209" y="1475"/>
                    </a:lnTo>
                    <a:lnTo>
                      <a:pt x="209" y="1473"/>
                    </a:lnTo>
                    <a:close/>
                    <a:moveTo>
                      <a:pt x="388" y="721"/>
                    </a:moveTo>
                    <a:lnTo>
                      <a:pt x="389" y="721"/>
                    </a:lnTo>
                    <a:lnTo>
                      <a:pt x="389" y="723"/>
                    </a:lnTo>
                    <a:lnTo>
                      <a:pt x="388" y="723"/>
                    </a:lnTo>
                    <a:lnTo>
                      <a:pt x="388" y="721"/>
                    </a:lnTo>
                    <a:close/>
                    <a:moveTo>
                      <a:pt x="384" y="677"/>
                    </a:moveTo>
                    <a:lnTo>
                      <a:pt x="386" y="677"/>
                    </a:lnTo>
                    <a:lnTo>
                      <a:pt x="384" y="677"/>
                    </a:lnTo>
                    <a:close/>
                    <a:moveTo>
                      <a:pt x="394" y="680"/>
                    </a:moveTo>
                    <a:lnTo>
                      <a:pt x="394" y="682"/>
                    </a:lnTo>
                    <a:lnTo>
                      <a:pt x="394" y="680"/>
                    </a:lnTo>
                    <a:close/>
                    <a:moveTo>
                      <a:pt x="512" y="464"/>
                    </a:moveTo>
                    <a:lnTo>
                      <a:pt x="512" y="466"/>
                    </a:lnTo>
                    <a:lnTo>
                      <a:pt x="512" y="464"/>
                    </a:lnTo>
                    <a:close/>
                  </a:path>
                </a:pathLst>
              </a:custGeom>
              <a:solidFill>
                <a:schemeClr val="accent1"/>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pic>
          <p:nvPicPr>
            <p:cNvPr id="178" name="Picture 177">
              <a:extLst>
                <a:ext uri="{FF2B5EF4-FFF2-40B4-BE49-F238E27FC236}">
                  <a16:creationId xmlns:a16="http://schemas.microsoft.com/office/drawing/2014/main" id="{8AC1A6BA-E89C-C46D-A8E7-5456D673C218}"/>
                </a:ext>
              </a:extLst>
            </p:cNvPr>
            <p:cNvPicPr>
              <a:picLocks/>
            </p:cNvPicPr>
            <p:nvPr/>
          </p:nvPicPr>
          <p:blipFill>
            <a:blip r:embed="rId64" cstate="screen">
              <a:extLst>
                <a:ext uri="{28A0092B-C50C-407E-A947-70E740481C1C}">
                  <a14:useLocalDpi xmlns:a14="http://schemas.microsoft.com/office/drawing/2010/main"/>
                </a:ext>
              </a:extLst>
            </a:blip>
            <a:stretch>
              <a:fillRect/>
            </a:stretch>
          </p:blipFill>
          <p:spPr>
            <a:xfrm>
              <a:off x="1615441" y="2584243"/>
              <a:ext cx="259080" cy="167383"/>
            </a:xfrm>
            <a:prstGeom prst="rect">
              <a:avLst/>
            </a:prstGeom>
            <a:ln>
              <a:solidFill>
                <a:srgbClr val="CCCCCC"/>
              </a:solidFill>
            </a:ln>
          </p:spPr>
        </p:pic>
      </p:grpSp>
      <p:pic>
        <p:nvPicPr>
          <p:cNvPr id="126" name="Picture 12">
            <a:extLst>
              <a:ext uri="{FF2B5EF4-FFF2-40B4-BE49-F238E27FC236}">
                <a16:creationId xmlns:a16="http://schemas.microsoft.com/office/drawing/2014/main" id="{A7A413B3-467F-E1D0-1288-763EE6F15658}"/>
              </a:ext>
            </a:extLst>
          </p:cNvPr>
          <p:cNvPicPr>
            <a:picLocks noChangeAspect="1" noChangeArrowheads="1"/>
          </p:cNvPicPr>
          <p:nvPr/>
        </p:nvPicPr>
        <p:blipFill rotWithShape="1">
          <a:blip r:embed="rId65" cstate="screen">
            <a:extLst>
              <a:ext uri="{28A0092B-C50C-407E-A947-70E740481C1C}">
                <a14:useLocalDpi xmlns:a14="http://schemas.microsoft.com/office/drawing/2010/main"/>
              </a:ext>
            </a:extLst>
          </a:blip>
          <a:srcRect/>
          <a:stretch/>
        </p:blipFill>
        <p:spPr bwMode="auto">
          <a:xfrm>
            <a:off x="7354066" y="2769265"/>
            <a:ext cx="316925" cy="223021"/>
          </a:xfrm>
          <a:prstGeom prst="rect">
            <a:avLst/>
          </a:prstGeom>
          <a:noFill/>
          <a:extLst>
            <a:ext uri="{909E8E84-426E-40DD-AFC4-6F175D3DCCD1}">
              <a14:hiddenFill xmlns:a14="http://schemas.microsoft.com/office/drawing/2010/main">
                <a:solidFill>
                  <a:srgbClr val="FFFFFF"/>
                </a:solidFill>
              </a14:hiddenFill>
            </a:ext>
          </a:extLst>
        </p:spPr>
      </p:pic>
      <p:sp>
        <p:nvSpPr>
          <p:cNvPr id="130" name="TextBox 129">
            <a:extLst>
              <a:ext uri="{FF2B5EF4-FFF2-40B4-BE49-F238E27FC236}">
                <a16:creationId xmlns:a16="http://schemas.microsoft.com/office/drawing/2014/main" id="{D0BB2261-EAA2-3306-88A2-F0DA9A57D63F}"/>
              </a:ext>
            </a:extLst>
          </p:cNvPr>
          <p:cNvSpPr txBox="1">
            <a:spLocks/>
          </p:cNvSpPr>
          <p:nvPr/>
        </p:nvSpPr>
        <p:spPr>
          <a:xfrm>
            <a:off x="7254089" y="1965306"/>
            <a:ext cx="4554013" cy="153888"/>
          </a:xfrm>
          <a:prstGeom prst="rect">
            <a:avLst/>
          </a:prstGeom>
          <a:noFill/>
          <a:ln w="9525">
            <a:noFill/>
            <a:miter lim="800000"/>
            <a:headEnd/>
            <a:tailEnd/>
          </a:ln>
          <a:effectLst/>
        </p:spPr>
        <p:txBody>
          <a:bodyPr vert="horz" wrap="square" lIns="0" tIns="0" rIns="0" bIns="0" numCol="1" anchor="ctr"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C9A319"/>
              </a:buClr>
              <a:buSzTx/>
              <a:buFontTx/>
              <a:buNone/>
              <a:tabLst/>
              <a:defRPr/>
            </a:pPr>
            <a:r>
              <a:rPr kumimoji="0" lang="en-CA" sz="10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Largest gold mines by production </a:t>
            </a:r>
          </a:p>
        </p:txBody>
      </p:sp>
      <p:cxnSp>
        <p:nvCxnSpPr>
          <p:cNvPr id="131" name="Straight Connector 130">
            <a:extLst>
              <a:ext uri="{FF2B5EF4-FFF2-40B4-BE49-F238E27FC236}">
                <a16:creationId xmlns:a16="http://schemas.microsoft.com/office/drawing/2014/main" id="{B2A7221F-7800-2E8A-564A-D9045C798C9B}"/>
              </a:ext>
            </a:extLst>
          </p:cNvPr>
          <p:cNvCxnSpPr>
            <a:cxnSpLocks/>
          </p:cNvCxnSpPr>
          <p:nvPr>
            <p:custDataLst>
              <p:tags r:id="rId48"/>
            </p:custDataLst>
          </p:nvPr>
        </p:nvCxnSpPr>
        <p:spPr>
          <a:xfrm>
            <a:off x="8710559" y="2342913"/>
            <a:ext cx="784899" cy="0"/>
          </a:xfrm>
          <a:prstGeom prst="line">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sp>
        <p:nvSpPr>
          <p:cNvPr id="134" name="TextBox 133">
            <a:extLst>
              <a:ext uri="{FF2B5EF4-FFF2-40B4-BE49-F238E27FC236}">
                <a16:creationId xmlns:a16="http://schemas.microsoft.com/office/drawing/2014/main" id="{1AD2FC4A-1CB9-3B0C-C046-ED32B7D2A30C}"/>
              </a:ext>
            </a:extLst>
          </p:cNvPr>
          <p:cNvSpPr txBox="1">
            <a:spLocks/>
          </p:cNvSpPr>
          <p:nvPr/>
        </p:nvSpPr>
        <p:spPr>
          <a:xfrm>
            <a:off x="8710559" y="2180814"/>
            <a:ext cx="401691" cy="1384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Mine</a:t>
            </a:r>
          </a:p>
        </p:txBody>
      </p:sp>
      <p:cxnSp>
        <p:nvCxnSpPr>
          <p:cNvPr id="137" name="Straight Connector 136">
            <a:extLst>
              <a:ext uri="{FF2B5EF4-FFF2-40B4-BE49-F238E27FC236}">
                <a16:creationId xmlns:a16="http://schemas.microsoft.com/office/drawing/2014/main" id="{13ED7353-7AA4-1951-B07D-A9E56CED8CBC}"/>
              </a:ext>
            </a:extLst>
          </p:cNvPr>
          <p:cNvCxnSpPr>
            <a:cxnSpLocks/>
          </p:cNvCxnSpPr>
          <p:nvPr>
            <p:custDataLst>
              <p:tags r:id="rId49"/>
            </p:custDataLst>
          </p:nvPr>
        </p:nvCxnSpPr>
        <p:spPr>
          <a:xfrm>
            <a:off x="9703779" y="2342913"/>
            <a:ext cx="797529" cy="0"/>
          </a:xfrm>
          <a:prstGeom prst="line">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sp>
        <p:nvSpPr>
          <p:cNvPr id="142" name="TextBox 141">
            <a:extLst>
              <a:ext uri="{FF2B5EF4-FFF2-40B4-BE49-F238E27FC236}">
                <a16:creationId xmlns:a16="http://schemas.microsoft.com/office/drawing/2014/main" id="{5C4B95AD-3B2D-B333-A244-AB3893B5E516}"/>
              </a:ext>
            </a:extLst>
          </p:cNvPr>
          <p:cNvSpPr txBox="1">
            <a:spLocks/>
          </p:cNvSpPr>
          <p:nvPr/>
        </p:nvSpPr>
        <p:spPr>
          <a:xfrm>
            <a:off x="9703779" y="2170289"/>
            <a:ext cx="797529" cy="1384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Output</a:t>
            </a: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oz / year</a:t>
            </a:r>
          </a:p>
        </p:txBody>
      </p:sp>
      <p:cxnSp>
        <p:nvCxnSpPr>
          <p:cNvPr id="145" name="Straight Connector 144">
            <a:extLst>
              <a:ext uri="{FF2B5EF4-FFF2-40B4-BE49-F238E27FC236}">
                <a16:creationId xmlns:a16="http://schemas.microsoft.com/office/drawing/2014/main" id="{9654AFEA-C88A-DD30-C6CE-EEF128AB4206}"/>
              </a:ext>
            </a:extLst>
          </p:cNvPr>
          <p:cNvCxnSpPr>
            <a:cxnSpLocks/>
          </p:cNvCxnSpPr>
          <p:nvPr>
            <p:custDataLst>
              <p:tags r:id="rId50"/>
            </p:custDataLst>
          </p:nvPr>
        </p:nvCxnSpPr>
        <p:spPr>
          <a:xfrm>
            <a:off x="10683198" y="2342913"/>
            <a:ext cx="1124902" cy="0"/>
          </a:xfrm>
          <a:prstGeom prst="line">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sp>
        <p:nvSpPr>
          <p:cNvPr id="148" name="TextBox 147">
            <a:extLst>
              <a:ext uri="{FF2B5EF4-FFF2-40B4-BE49-F238E27FC236}">
                <a16:creationId xmlns:a16="http://schemas.microsoft.com/office/drawing/2014/main" id="{8314FEAB-2F1E-C6BD-FF56-B59CECB8EB27}"/>
              </a:ext>
            </a:extLst>
          </p:cNvPr>
          <p:cNvSpPr txBox="1">
            <a:spLocks/>
          </p:cNvSpPr>
          <p:nvPr/>
        </p:nvSpPr>
        <p:spPr>
          <a:xfrm>
            <a:off x="10683198" y="2169305"/>
            <a:ext cx="1124902" cy="1384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Date of first production</a:t>
            </a:r>
          </a:p>
        </p:txBody>
      </p:sp>
      <p:cxnSp>
        <p:nvCxnSpPr>
          <p:cNvPr id="151" name="Straight Connector 150">
            <a:extLst>
              <a:ext uri="{FF2B5EF4-FFF2-40B4-BE49-F238E27FC236}">
                <a16:creationId xmlns:a16="http://schemas.microsoft.com/office/drawing/2014/main" id="{1CABFA81-B38F-8AF3-2843-3DE639BB276F}"/>
              </a:ext>
            </a:extLst>
          </p:cNvPr>
          <p:cNvCxnSpPr>
            <a:cxnSpLocks/>
          </p:cNvCxnSpPr>
          <p:nvPr>
            <p:custDataLst>
              <p:tags r:id="rId51"/>
            </p:custDataLst>
          </p:nvPr>
        </p:nvCxnSpPr>
        <p:spPr>
          <a:xfrm>
            <a:off x="7254089" y="2535215"/>
            <a:ext cx="4554013" cy="0"/>
          </a:xfrm>
          <a:prstGeom prst="line">
            <a:avLst/>
          </a:prstGeom>
          <a:ln w="6350">
            <a:solidFill>
              <a:srgbClr val="757575"/>
            </a:solidFill>
            <a:prstDash val="solid"/>
          </a:ln>
        </p:spPr>
        <p:style>
          <a:lnRef idx="1">
            <a:schemeClr val="accent1"/>
          </a:lnRef>
          <a:fillRef idx="0">
            <a:schemeClr val="accent1"/>
          </a:fillRef>
          <a:effectRef idx="0">
            <a:schemeClr val="accent1"/>
          </a:effectRef>
          <a:fontRef idx="minor">
            <a:schemeClr val="tx1"/>
          </a:fontRef>
        </p:style>
      </p:cxnSp>
      <p:sp>
        <p:nvSpPr>
          <p:cNvPr id="154" name="TextBox 153">
            <a:extLst>
              <a:ext uri="{FF2B5EF4-FFF2-40B4-BE49-F238E27FC236}">
                <a16:creationId xmlns:a16="http://schemas.microsoft.com/office/drawing/2014/main" id="{CF4F886C-BC42-BB0A-27DB-2107289EDDD8}"/>
              </a:ext>
            </a:extLst>
          </p:cNvPr>
          <p:cNvSpPr txBox="1">
            <a:spLocks/>
          </p:cNvSpPr>
          <p:nvPr/>
        </p:nvSpPr>
        <p:spPr>
          <a:xfrm>
            <a:off x="7254089" y="2188539"/>
            <a:ext cx="1248149" cy="1384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Company</a:t>
            </a:r>
          </a:p>
        </p:txBody>
      </p:sp>
      <p:cxnSp>
        <p:nvCxnSpPr>
          <p:cNvPr id="157" name="Straight Connector 156">
            <a:extLst>
              <a:ext uri="{FF2B5EF4-FFF2-40B4-BE49-F238E27FC236}">
                <a16:creationId xmlns:a16="http://schemas.microsoft.com/office/drawing/2014/main" id="{1ADAF864-3E80-1E11-42A8-6B4912D56AA9}"/>
              </a:ext>
            </a:extLst>
          </p:cNvPr>
          <p:cNvCxnSpPr>
            <a:cxnSpLocks/>
          </p:cNvCxnSpPr>
          <p:nvPr>
            <p:custDataLst>
              <p:tags r:id="rId52"/>
            </p:custDataLst>
          </p:nvPr>
        </p:nvCxnSpPr>
        <p:spPr>
          <a:xfrm>
            <a:off x="7254089" y="2342913"/>
            <a:ext cx="1248149" cy="0"/>
          </a:xfrm>
          <a:prstGeom prst="line">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sp>
        <p:nvSpPr>
          <p:cNvPr id="158" name="TextBox 157">
            <a:extLst>
              <a:ext uri="{FF2B5EF4-FFF2-40B4-BE49-F238E27FC236}">
                <a16:creationId xmlns:a16="http://schemas.microsoft.com/office/drawing/2014/main" id="{73ADCB57-D107-50CC-93BB-DFD4CD014303}"/>
              </a:ext>
            </a:extLst>
          </p:cNvPr>
          <p:cNvSpPr txBox="1">
            <a:spLocks/>
          </p:cNvSpPr>
          <p:nvPr/>
        </p:nvSpPr>
        <p:spPr>
          <a:xfrm>
            <a:off x="8712745" y="2797928"/>
            <a:ext cx="929456" cy="13013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Cerro Vanguardia</a:t>
            </a:r>
          </a:p>
        </p:txBody>
      </p:sp>
      <p:cxnSp>
        <p:nvCxnSpPr>
          <p:cNvPr id="161" name="Straight Connector 160">
            <a:extLst>
              <a:ext uri="{FF2B5EF4-FFF2-40B4-BE49-F238E27FC236}">
                <a16:creationId xmlns:a16="http://schemas.microsoft.com/office/drawing/2014/main" id="{08548342-93C5-927B-5D42-20CCF337A2FC}"/>
              </a:ext>
            </a:extLst>
          </p:cNvPr>
          <p:cNvCxnSpPr>
            <a:cxnSpLocks/>
          </p:cNvCxnSpPr>
          <p:nvPr>
            <p:custDataLst>
              <p:tags r:id="rId53"/>
            </p:custDataLst>
          </p:nvPr>
        </p:nvCxnSpPr>
        <p:spPr>
          <a:xfrm>
            <a:off x="7254089" y="2739191"/>
            <a:ext cx="4554013" cy="0"/>
          </a:xfrm>
          <a:prstGeom prst="line">
            <a:avLst/>
          </a:prstGeom>
          <a:ln w="6350">
            <a:solidFill>
              <a:srgbClr val="757575"/>
            </a:solidFill>
            <a:prstDash val="solid"/>
          </a:ln>
        </p:spPr>
        <p:style>
          <a:lnRef idx="1">
            <a:schemeClr val="accent1"/>
          </a:lnRef>
          <a:fillRef idx="0">
            <a:schemeClr val="accent1"/>
          </a:fillRef>
          <a:effectRef idx="0">
            <a:schemeClr val="accent1"/>
          </a:effectRef>
          <a:fontRef idx="minor">
            <a:schemeClr val="tx1"/>
          </a:fontRef>
        </p:style>
      </p:cxnSp>
      <p:sp>
        <p:nvSpPr>
          <p:cNvPr id="164" name="TextBox 163">
            <a:extLst>
              <a:ext uri="{FF2B5EF4-FFF2-40B4-BE49-F238E27FC236}">
                <a16:creationId xmlns:a16="http://schemas.microsoft.com/office/drawing/2014/main" id="{A1BB8427-7BFC-E68A-EEE2-A498420F8F9C}"/>
              </a:ext>
            </a:extLst>
          </p:cNvPr>
          <p:cNvSpPr txBox="1">
            <a:spLocks/>
          </p:cNvSpPr>
          <p:nvPr/>
        </p:nvSpPr>
        <p:spPr>
          <a:xfrm>
            <a:off x="9676871" y="2787649"/>
            <a:ext cx="796688" cy="13512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180</a:t>
            </a:r>
          </a:p>
        </p:txBody>
      </p:sp>
      <p:sp>
        <p:nvSpPr>
          <p:cNvPr id="167" name="Rectangle 166">
            <a:extLst>
              <a:ext uri="{FF2B5EF4-FFF2-40B4-BE49-F238E27FC236}">
                <a16:creationId xmlns:a16="http://schemas.microsoft.com/office/drawing/2014/main" id="{63A438F5-44CE-4E16-C3C0-18FE9BBCCBC2}"/>
              </a:ext>
            </a:extLst>
          </p:cNvPr>
          <p:cNvSpPr>
            <a:spLocks/>
          </p:cNvSpPr>
          <p:nvPr/>
        </p:nvSpPr>
        <p:spPr>
          <a:xfrm>
            <a:off x="7174991" y="2143006"/>
            <a:ext cx="4712207" cy="833697"/>
          </a:xfrm>
          <a:prstGeom prst="rect">
            <a:avLst/>
          </a:prstGeom>
          <a:no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CA" sz="1400" b="0" i="0" u="none" strike="noStrike" kern="1200" cap="none" spc="0" normalizeH="0" baseline="0" noProof="0" dirty="0" err="1">
              <a:ln>
                <a:noFill/>
              </a:ln>
              <a:solidFill>
                <a:srgbClr val="2A516C"/>
              </a:solidFill>
              <a:effectLst/>
              <a:uLnTx/>
              <a:uFillTx/>
              <a:latin typeface="Calibri" panose="020F0502020204030204" pitchFamily="34" charset="0"/>
              <a:ea typeface="ＭＳ Ｐゴシック"/>
              <a:cs typeface="Calibri" panose="020F0502020204030204" pitchFamily="34" charset="0"/>
            </a:endParaRPr>
          </a:p>
        </p:txBody>
      </p:sp>
      <p:sp>
        <p:nvSpPr>
          <p:cNvPr id="168" name="TextBox 167">
            <a:extLst>
              <a:ext uri="{FF2B5EF4-FFF2-40B4-BE49-F238E27FC236}">
                <a16:creationId xmlns:a16="http://schemas.microsoft.com/office/drawing/2014/main" id="{37AFDE70-4CBE-9AA7-F148-6D410C50F098}"/>
              </a:ext>
            </a:extLst>
          </p:cNvPr>
          <p:cNvSpPr txBox="1">
            <a:spLocks/>
          </p:cNvSpPr>
          <p:nvPr/>
        </p:nvSpPr>
        <p:spPr>
          <a:xfrm>
            <a:off x="10654522" y="2787493"/>
            <a:ext cx="1125550" cy="13512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1998</a:t>
            </a:r>
          </a:p>
        </p:txBody>
      </p:sp>
      <p:sp>
        <p:nvSpPr>
          <p:cNvPr id="169" name="TextBox 168">
            <a:extLst>
              <a:ext uri="{FF2B5EF4-FFF2-40B4-BE49-F238E27FC236}">
                <a16:creationId xmlns:a16="http://schemas.microsoft.com/office/drawing/2014/main" id="{9E4DF755-4761-6201-9FBF-8F67B07D7769}"/>
              </a:ext>
            </a:extLst>
          </p:cNvPr>
          <p:cNvSpPr txBox="1">
            <a:spLocks/>
          </p:cNvSpPr>
          <p:nvPr/>
        </p:nvSpPr>
        <p:spPr>
          <a:xfrm>
            <a:off x="8712745" y="2386475"/>
            <a:ext cx="784899" cy="13512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Veladero</a:t>
            </a:r>
          </a:p>
        </p:txBody>
      </p:sp>
      <p:sp>
        <p:nvSpPr>
          <p:cNvPr id="170" name="TextBox 169">
            <a:extLst>
              <a:ext uri="{FF2B5EF4-FFF2-40B4-BE49-F238E27FC236}">
                <a16:creationId xmlns:a16="http://schemas.microsoft.com/office/drawing/2014/main" id="{04FC41F2-59D9-6284-27ED-E92CD76E4A9B}"/>
              </a:ext>
            </a:extLst>
          </p:cNvPr>
          <p:cNvSpPr txBox="1">
            <a:spLocks/>
          </p:cNvSpPr>
          <p:nvPr/>
        </p:nvSpPr>
        <p:spPr>
          <a:xfrm>
            <a:off x="9676871" y="2386475"/>
            <a:ext cx="796688" cy="13512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448</a:t>
            </a:r>
          </a:p>
        </p:txBody>
      </p:sp>
      <p:sp>
        <p:nvSpPr>
          <p:cNvPr id="171" name="TextBox 170">
            <a:extLst>
              <a:ext uri="{FF2B5EF4-FFF2-40B4-BE49-F238E27FC236}">
                <a16:creationId xmlns:a16="http://schemas.microsoft.com/office/drawing/2014/main" id="{7F7CA83F-8EE9-60B4-2DD6-05679D2E7E98}"/>
              </a:ext>
            </a:extLst>
          </p:cNvPr>
          <p:cNvSpPr txBox="1">
            <a:spLocks/>
          </p:cNvSpPr>
          <p:nvPr/>
        </p:nvSpPr>
        <p:spPr>
          <a:xfrm>
            <a:off x="10654522" y="2386475"/>
            <a:ext cx="1125550" cy="13512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2005</a:t>
            </a:r>
          </a:p>
        </p:txBody>
      </p:sp>
      <p:pic>
        <p:nvPicPr>
          <p:cNvPr id="172" name="Picture 2">
            <a:extLst>
              <a:ext uri="{FF2B5EF4-FFF2-40B4-BE49-F238E27FC236}">
                <a16:creationId xmlns:a16="http://schemas.microsoft.com/office/drawing/2014/main" id="{F392D24D-449D-C5B7-F6FB-328C3AAA1B51}"/>
              </a:ext>
            </a:extLst>
          </p:cNvPr>
          <p:cNvPicPr>
            <a:picLocks noChangeAspect="1" noChangeArrowheads="1"/>
          </p:cNvPicPr>
          <p:nvPr/>
        </p:nvPicPr>
        <p:blipFill>
          <a:blip r:embed="rId66" cstate="screen">
            <a:extLst>
              <a:ext uri="{28A0092B-C50C-407E-A947-70E740481C1C}">
                <a14:useLocalDpi xmlns:a14="http://schemas.microsoft.com/office/drawing/2010/main"/>
              </a:ext>
            </a:extLst>
          </a:blip>
          <a:srcRect/>
          <a:stretch>
            <a:fillRect/>
          </a:stretch>
        </p:blipFill>
        <p:spPr bwMode="auto">
          <a:xfrm>
            <a:off x="7211772" y="2357481"/>
            <a:ext cx="878390" cy="174630"/>
          </a:xfrm>
          <a:prstGeom prst="rect">
            <a:avLst/>
          </a:prstGeom>
          <a:noFill/>
          <a:extLst>
            <a:ext uri="{909E8E84-426E-40DD-AFC4-6F175D3DCCD1}">
              <a14:hiddenFill xmlns:a14="http://schemas.microsoft.com/office/drawing/2010/main">
                <a:solidFill>
                  <a:srgbClr val="FFFFFF"/>
                </a:solidFill>
              </a14:hiddenFill>
            </a:ext>
          </a:extLst>
        </p:spPr>
      </p:pic>
      <p:sp>
        <p:nvSpPr>
          <p:cNvPr id="175" name="TextBox 174">
            <a:extLst>
              <a:ext uri="{FF2B5EF4-FFF2-40B4-BE49-F238E27FC236}">
                <a16:creationId xmlns:a16="http://schemas.microsoft.com/office/drawing/2014/main" id="{84D83D03-5DF4-9C2F-A2FD-F288145FEEC4}"/>
              </a:ext>
            </a:extLst>
          </p:cNvPr>
          <p:cNvSpPr txBox="1">
            <a:spLocks/>
          </p:cNvSpPr>
          <p:nvPr/>
        </p:nvSpPr>
        <p:spPr>
          <a:xfrm>
            <a:off x="8712745" y="2587564"/>
            <a:ext cx="664862" cy="12906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Cerro Negro</a:t>
            </a:r>
          </a:p>
        </p:txBody>
      </p:sp>
      <p:sp>
        <p:nvSpPr>
          <p:cNvPr id="182" name="TextBox 181">
            <a:extLst>
              <a:ext uri="{FF2B5EF4-FFF2-40B4-BE49-F238E27FC236}">
                <a16:creationId xmlns:a16="http://schemas.microsoft.com/office/drawing/2014/main" id="{B6127662-7DEB-CD98-8BDF-914E8D6A3896}"/>
              </a:ext>
            </a:extLst>
          </p:cNvPr>
          <p:cNvSpPr txBox="1">
            <a:spLocks/>
          </p:cNvSpPr>
          <p:nvPr/>
        </p:nvSpPr>
        <p:spPr>
          <a:xfrm>
            <a:off x="9676871" y="2587564"/>
            <a:ext cx="796688" cy="13512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430</a:t>
            </a:r>
          </a:p>
        </p:txBody>
      </p:sp>
      <p:sp>
        <p:nvSpPr>
          <p:cNvPr id="183" name="TextBox 182">
            <a:extLst>
              <a:ext uri="{FF2B5EF4-FFF2-40B4-BE49-F238E27FC236}">
                <a16:creationId xmlns:a16="http://schemas.microsoft.com/office/drawing/2014/main" id="{F64D4CC4-E175-5805-4A7D-6E935313C19E}"/>
              </a:ext>
            </a:extLst>
          </p:cNvPr>
          <p:cNvSpPr txBox="1">
            <a:spLocks/>
          </p:cNvSpPr>
          <p:nvPr/>
        </p:nvSpPr>
        <p:spPr>
          <a:xfrm>
            <a:off x="10654522" y="2587564"/>
            <a:ext cx="899848" cy="13715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2022</a:t>
            </a:r>
          </a:p>
        </p:txBody>
      </p:sp>
      <p:pic>
        <p:nvPicPr>
          <p:cNvPr id="184" name="Picture 10">
            <a:extLst>
              <a:ext uri="{FF2B5EF4-FFF2-40B4-BE49-F238E27FC236}">
                <a16:creationId xmlns:a16="http://schemas.microsoft.com/office/drawing/2014/main" id="{85A6E112-1360-78AD-4A0D-69CEA6F0DF78}"/>
              </a:ext>
            </a:extLst>
          </p:cNvPr>
          <p:cNvPicPr>
            <a:picLocks noChangeAspect="1" noChangeArrowheads="1"/>
          </p:cNvPicPr>
          <p:nvPr/>
        </p:nvPicPr>
        <p:blipFill rotWithShape="1">
          <a:blip r:embed="rId67" cstate="screen">
            <a:extLst>
              <a:ext uri="{28A0092B-C50C-407E-A947-70E740481C1C}">
                <a14:useLocalDpi xmlns:a14="http://schemas.microsoft.com/office/drawing/2010/main"/>
              </a:ext>
            </a:extLst>
          </a:blip>
          <a:srcRect l="13223" t="33704" r="11201" b="35957"/>
          <a:stretch/>
        </p:blipFill>
        <p:spPr bwMode="auto">
          <a:xfrm>
            <a:off x="7239802" y="2554449"/>
            <a:ext cx="796688" cy="1665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945535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 hidden="1">
            <a:extLst>
              <a:ext uri="{FF2B5EF4-FFF2-40B4-BE49-F238E27FC236}">
                <a16:creationId xmlns:a16="http://schemas.microsoft.com/office/drawing/2014/main" id="{578D55DE-3BB1-3BCB-BC1B-44EF337F1908}"/>
              </a:ext>
            </a:extLst>
          </p:cNvPr>
          <p:cNvGraphicFramePr>
            <a:graphicFrameLocks noChangeAspect="1"/>
          </p:cNvGraphicFramePr>
          <p:nvPr>
            <p:custDataLst>
              <p:tags r:id="rId1"/>
            </p:custDataLst>
            <p:extLst>
              <p:ext uri="{D42A27DB-BD31-4B8C-83A1-F6EECF244321}">
                <p14:modId xmlns:p14="http://schemas.microsoft.com/office/powerpoint/2010/main" val="4743586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0" imgW="395" imgH="396" progId="TCLayout.ActiveDocument.1">
                  <p:embed/>
                </p:oleObj>
              </mc:Choice>
              <mc:Fallback>
                <p:oleObj name="think-cell Slide" r:id="rId70" imgW="395" imgH="396" progId="TCLayout.ActiveDocument.1">
                  <p:embed/>
                  <p:pic>
                    <p:nvPicPr>
                      <p:cNvPr id="15" name="Object 1" hidden="1">
                        <a:extLst>
                          <a:ext uri="{FF2B5EF4-FFF2-40B4-BE49-F238E27FC236}">
                            <a16:creationId xmlns:a16="http://schemas.microsoft.com/office/drawing/2014/main" id="{578D55DE-3BB1-3BCB-BC1B-44EF337F1908}"/>
                          </a:ext>
                        </a:extLst>
                      </p:cNvPr>
                      <p:cNvPicPr/>
                      <p:nvPr/>
                    </p:nvPicPr>
                    <p:blipFill>
                      <a:blip r:embed="rId71"/>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idx="4294967295"/>
          </p:nvPr>
        </p:nvSpPr>
        <p:spPr>
          <a:xfrm>
            <a:off x="262527" y="236449"/>
            <a:ext cx="9166496" cy="830997"/>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ctr" anchorCtr="0">
            <a:spAutoFit/>
          </a:bodyPr>
          <a:lstStyle/>
          <a:p>
            <a:r>
              <a:rPr lang="en-CA" sz="2400" dirty="0"/>
              <a:t>Mexico is a top 10 gold mining producer, with presence of large global and local mining companies</a:t>
            </a:r>
          </a:p>
        </p:txBody>
      </p:sp>
      <p:sp>
        <p:nvSpPr>
          <p:cNvPr id="51" name="5. Source">
            <a:extLst>
              <a:ext uri="{FF2B5EF4-FFF2-40B4-BE49-F238E27FC236}">
                <a16:creationId xmlns:a16="http://schemas.microsoft.com/office/drawing/2014/main" id="{FEA89F67-585A-557F-A85D-1AAFAD031886}"/>
              </a:ext>
            </a:extLst>
          </p:cNvPr>
          <p:cNvSpPr txBox="1"/>
          <p:nvPr>
            <p:custDataLst>
              <p:tags r:id="rId2"/>
            </p:custDataLst>
          </p:nvPr>
        </p:nvSpPr>
        <p:spPr>
          <a:xfrm>
            <a:off x="346356"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ource: CIA World Factbook, KPMG, ICLG, World Bank WDI, IMF (WEO), Oxford Economics, </a:t>
            </a:r>
            <a:r>
              <a:rPr kumimoji="0" lang="en-US" sz="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MineSpans</a:t>
            </a: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en-US" sz="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Dentos</a:t>
            </a: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Global Mining Guide, </a:t>
            </a:r>
            <a:r>
              <a:rPr kumimoji="0" lang="en-US" sz="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Lexology</a:t>
            </a: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press search</a:t>
            </a:r>
          </a:p>
        </p:txBody>
      </p:sp>
      <p:cxnSp>
        <p:nvCxnSpPr>
          <p:cNvPr id="34" name="Straight Connector 33">
            <a:extLst>
              <a:ext uri="{FF2B5EF4-FFF2-40B4-BE49-F238E27FC236}">
                <a16:creationId xmlns:a16="http://schemas.microsoft.com/office/drawing/2014/main" id="{EB3C492B-2B23-BBB8-FD5D-B1EF650D1AA8}"/>
              </a:ext>
            </a:extLst>
          </p:cNvPr>
          <p:cNvCxnSpPr>
            <a:cxnSpLocks/>
          </p:cNvCxnSpPr>
          <p:nvPr>
            <p:custDataLst>
              <p:tags r:id="rId3"/>
            </p:custDataLst>
          </p:nvPr>
        </p:nvCxnSpPr>
        <p:spPr>
          <a:xfrm>
            <a:off x="346074" y="4187890"/>
            <a:ext cx="5524265" cy="0"/>
          </a:xfrm>
          <a:prstGeom prst="line">
            <a:avLst/>
          </a:prstGeom>
          <a:ln w="6350">
            <a:solidFill>
              <a:srgbClr val="757575"/>
            </a:solidFill>
            <a:prstDash val="soli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E48FF427-B204-0939-2F10-F61E62D6A4AB}"/>
              </a:ext>
            </a:extLst>
          </p:cNvPr>
          <p:cNvCxnSpPr>
            <a:cxnSpLocks/>
          </p:cNvCxnSpPr>
          <p:nvPr>
            <p:custDataLst>
              <p:tags r:id="rId4"/>
            </p:custDataLst>
          </p:nvPr>
        </p:nvCxnSpPr>
        <p:spPr>
          <a:xfrm>
            <a:off x="346074" y="3493865"/>
            <a:ext cx="5524265" cy="0"/>
          </a:xfrm>
          <a:prstGeom prst="line">
            <a:avLst/>
          </a:prstGeom>
          <a:ln w="6350">
            <a:solidFill>
              <a:srgbClr val="757575"/>
            </a:solidFill>
            <a:prstDash val="soli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64A3520-D2D9-CE31-EF86-4AF475BF887E}"/>
              </a:ext>
            </a:extLst>
          </p:cNvPr>
          <p:cNvCxnSpPr>
            <a:cxnSpLocks/>
          </p:cNvCxnSpPr>
          <p:nvPr>
            <p:custDataLst>
              <p:tags r:id="rId5"/>
            </p:custDataLst>
          </p:nvPr>
        </p:nvCxnSpPr>
        <p:spPr>
          <a:xfrm>
            <a:off x="6197600" y="3128633"/>
            <a:ext cx="5689601" cy="0"/>
          </a:xfrm>
          <a:prstGeom prst="line">
            <a:avLst/>
          </a:prstGeom>
          <a:ln w="6350">
            <a:solidFill>
              <a:srgbClr val="757575"/>
            </a:solidFill>
            <a:prstDash val="solid"/>
          </a:ln>
        </p:spPr>
        <p:style>
          <a:lnRef idx="1">
            <a:schemeClr val="accent1"/>
          </a:lnRef>
          <a:fillRef idx="0">
            <a:schemeClr val="accent1"/>
          </a:fillRef>
          <a:effectRef idx="0">
            <a:schemeClr val="accent1"/>
          </a:effectRef>
          <a:fontRef idx="minor">
            <a:schemeClr val="tx1"/>
          </a:fontRef>
        </p:style>
      </p:cxnSp>
      <p:sp>
        <p:nvSpPr>
          <p:cNvPr id="42" name="Rectangle 8">
            <a:extLst>
              <a:ext uri="{FF2B5EF4-FFF2-40B4-BE49-F238E27FC236}">
                <a16:creationId xmlns:a16="http://schemas.microsoft.com/office/drawing/2014/main" id="{EF0C4F77-5819-4FF8-28E6-3CC6E87DC0F5}"/>
              </a:ext>
            </a:extLst>
          </p:cNvPr>
          <p:cNvSpPr txBox="1">
            <a:spLocks/>
          </p:cNvSpPr>
          <p:nvPr>
            <p:custDataLst>
              <p:tags r:id="rId6"/>
            </p:custDataLst>
          </p:nvPr>
        </p:nvSpPr>
        <p:spPr>
          <a:xfrm>
            <a:off x="6197598" y="3188945"/>
            <a:ext cx="896621" cy="1801067"/>
          </a:xfrm>
          <a:prstGeom prst="rect">
            <a:avLst/>
          </a:prstGeom>
          <a:solidFill>
            <a:schemeClr val="accent1"/>
          </a:solidFill>
          <a:ln w="9525">
            <a:noFill/>
            <a:miter lim="800000"/>
            <a:headEnd/>
            <a:tailEnd/>
          </a:ln>
          <a:effectLst/>
        </p:spPr>
        <p:txBody>
          <a:bodyPr vert="horz" wrap="square" lIns="36576" tIns="76200" rIns="36576" bIns="76200" numCol="1" anchor="ctr" anchorCtr="0" compatLnSpc="1">
            <a:prstTxWarp prst="textNoShape">
              <a:avLst/>
            </a:prstTxWarp>
            <a:noAutofit/>
          </a:bodyPr>
          <a:lstStyle>
            <a:defPPr>
              <a:defRPr lang="en-US"/>
            </a:defPPr>
            <a:lvl1pPr marL="0" lvl="0" indent="0" defTabSz="913526" eaLnBrk="1" hangingPunct="1">
              <a:buClr>
                <a:schemeClr val="tx2"/>
              </a:buClr>
              <a:defRPr sz="1000" b="1"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Fiscal and regulatory terms relevant to gold industry</a:t>
            </a:r>
            <a:endParaRPr kumimoji="0" lang="en-CA"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endParaRPr>
          </a:p>
        </p:txBody>
      </p:sp>
      <p:sp>
        <p:nvSpPr>
          <p:cNvPr id="93" name="TextBox 92">
            <a:extLst>
              <a:ext uri="{FF2B5EF4-FFF2-40B4-BE49-F238E27FC236}">
                <a16:creationId xmlns:a16="http://schemas.microsoft.com/office/drawing/2014/main" id="{973EABFE-AA29-2CE1-B02E-CAAF3B875086}"/>
              </a:ext>
            </a:extLst>
          </p:cNvPr>
          <p:cNvSpPr txBox="1">
            <a:spLocks/>
          </p:cNvSpPr>
          <p:nvPr/>
        </p:nvSpPr>
        <p:spPr>
          <a:xfrm>
            <a:off x="7174991" y="3188945"/>
            <a:ext cx="4712209" cy="180106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Mining is regulated by the Mexican Mining Law and Article 27 of the Mexican Constitution; the primary regulatory agency is the Mexican Mining Bureau (</a:t>
            </a:r>
            <a:r>
              <a:rPr kumimoji="0" lang="en-US" sz="9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Dirección</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General de Minas), which operates under the Ministry of Economy</a:t>
            </a:r>
          </a:p>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In May 2023, a series of reforms were approved in mining legislation</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including </a:t>
            </a: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stricter rules for community consultation, restriction of  exploration rights to government agencies, the establishment of a public bidding process for granting the rights to mining concessions, shortening of mining concessions from 50 to 25 years</a:t>
            </a:r>
            <a:endPar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endParaRPr>
          </a:p>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The corporate income tax rate is generally 30 percent</a:t>
            </a:r>
          </a:p>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Other main taxes are: </a:t>
            </a:r>
            <a:r>
              <a:rPr kumimoji="0" lang="es-PE"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Mineral royalties: 0.5% </a:t>
            </a:r>
            <a:r>
              <a:rPr kumimoji="0" lang="es-PE" sz="9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of</a:t>
            </a:r>
            <a:r>
              <a:rPr kumimoji="0" lang="es-PE"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net </a:t>
            </a:r>
            <a:r>
              <a:rPr kumimoji="0" lang="es-PE" sz="9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revenues</a:t>
            </a:r>
            <a:r>
              <a:rPr kumimoji="0" lang="es-PE"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 7.5% </a:t>
            </a:r>
            <a:r>
              <a:rPr kumimoji="0" lang="es-PE" sz="9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of</a:t>
            </a:r>
            <a:r>
              <a:rPr kumimoji="0" lang="es-PE"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a:t>
            </a:r>
            <a:r>
              <a:rPr kumimoji="0" lang="es-PE" sz="9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profits</a:t>
            </a:r>
            <a:r>
              <a:rPr kumimoji="0" lang="es-PE"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deductible </a:t>
            </a:r>
            <a:r>
              <a:rPr kumimoji="0" lang="es-PE" sz="9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on</a:t>
            </a:r>
            <a:r>
              <a:rPr kumimoji="0" lang="es-PE"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a:t>
            </a:r>
            <a:r>
              <a:rPr kumimoji="0" lang="es-PE" sz="9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corporate</a:t>
            </a:r>
            <a:r>
              <a:rPr kumimoji="0" lang="es-PE"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a:t>
            </a:r>
            <a:r>
              <a:rPr kumimoji="0" lang="es-PE" sz="9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income</a:t>
            </a:r>
            <a:r>
              <a:rPr kumimoji="0" lang="es-PE"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a:t>
            </a:r>
            <a:r>
              <a:rPr kumimoji="0" lang="es-PE" sz="9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tax</a:t>
            </a:r>
            <a:r>
              <a:rPr kumimoji="0" lang="es-PE"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VAT: 16% </a:t>
            </a:r>
            <a:r>
              <a:rPr kumimoji="0" lang="es-PE" sz="9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on</a:t>
            </a:r>
            <a:r>
              <a:rPr kumimoji="0" lang="es-PE"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cash </a:t>
            </a:r>
            <a:r>
              <a:rPr kumimoji="0" lang="es-PE" sz="9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flow</a:t>
            </a:r>
            <a:r>
              <a:rPr kumimoji="0" lang="es-PE"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basis – </a:t>
            </a:r>
            <a:r>
              <a:rPr kumimoji="0" lang="es-PE" sz="9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exempted</a:t>
            </a:r>
            <a:r>
              <a:rPr kumimoji="0" lang="es-PE"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a:t>
            </a:r>
            <a:r>
              <a:rPr kumimoji="0" lang="es-PE" sz="9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from</a:t>
            </a:r>
            <a:r>
              <a:rPr kumimoji="0" lang="es-PE"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a:t>
            </a:r>
            <a:r>
              <a:rPr kumimoji="0" lang="es-PE" sz="9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exports</a:t>
            </a:r>
            <a:r>
              <a:rPr kumimoji="0" lang="es-PE"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Dividend tax of 10%; Local community contributions: 5% of profits; Mandatory Profit-sharing payment: 10% of annual adjusted taxable income to its employees</a:t>
            </a:r>
          </a:p>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endPar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endParaRPr>
          </a:p>
        </p:txBody>
      </p:sp>
      <p:grpSp>
        <p:nvGrpSpPr>
          <p:cNvPr id="77" name="Group 76">
            <a:extLst>
              <a:ext uri="{FF2B5EF4-FFF2-40B4-BE49-F238E27FC236}">
                <a16:creationId xmlns:a16="http://schemas.microsoft.com/office/drawing/2014/main" id="{EADAF5F9-4463-4BF1-72D2-6A8E12C5FD53}"/>
              </a:ext>
            </a:extLst>
          </p:cNvPr>
          <p:cNvGrpSpPr/>
          <p:nvPr/>
        </p:nvGrpSpPr>
        <p:grpSpPr>
          <a:xfrm>
            <a:off x="346075" y="3611595"/>
            <a:ext cx="5361781" cy="458565"/>
            <a:chOff x="346075" y="3738545"/>
            <a:chExt cx="5361781" cy="458565"/>
          </a:xfrm>
        </p:grpSpPr>
        <p:sp>
          <p:nvSpPr>
            <p:cNvPr id="33" name="Rectangle 8">
              <a:extLst>
                <a:ext uri="{FF2B5EF4-FFF2-40B4-BE49-F238E27FC236}">
                  <a16:creationId xmlns:a16="http://schemas.microsoft.com/office/drawing/2014/main" id="{CB027349-3B9C-8384-4834-48368D61E2E8}"/>
                </a:ext>
              </a:extLst>
            </p:cNvPr>
            <p:cNvSpPr txBox="1">
              <a:spLocks/>
            </p:cNvSpPr>
            <p:nvPr>
              <p:custDataLst>
                <p:tags r:id="rId67"/>
              </p:custDataLst>
            </p:nvPr>
          </p:nvSpPr>
          <p:spPr>
            <a:xfrm>
              <a:off x="346075" y="3738545"/>
              <a:ext cx="1194435" cy="458565"/>
            </a:xfrm>
            <a:prstGeom prst="rect">
              <a:avLst/>
            </a:prstGeom>
            <a:solidFill>
              <a:schemeClr val="accent1"/>
            </a:solidFill>
            <a:ln w="9525">
              <a:noFill/>
              <a:miter lim="800000"/>
              <a:headEnd/>
              <a:tailEnd/>
            </a:ln>
            <a:effectLst/>
          </p:spPr>
          <p:txBody>
            <a:bodyPr vert="horz" wrap="square" lIns="36576" tIns="76200" rIns="36576" bIns="76200" numCol="1" anchor="ctr" anchorCtr="0" compatLnSpc="1">
              <a:prstTxWarp prst="textNoShape">
                <a:avLst/>
              </a:prstTxWarp>
              <a:noAutofit/>
            </a:bodyPr>
            <a:lstStyle>
              <a:defPPr>
                <a:defRPr lang="en-US"/>
              </a:defPPr>
              <a:lvl1pPr marL="0" lvl="0" indent="0" defTabSz="913526" eaLnBrk="1" hangingPunct="1">
                <a:buClr>
                  <a:schemeClr val="tx2"/>
                </a:buClr>
                <a:defRPr sz="1000" b="1"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Comparable opera-</a:t>
              </a:r>
              <a:r>
                <a:rPr kumimoji="0" lang="en-US" sz="1000" b="1" i="0" u="none" strike="noStrike" kern="1200" cap="none" spc="0" normalizeH="0" baseline="0" noProof="0" dirty="0" err="1">
                  <a:ln>
                    <a:noFill/>
                  </a:ln>
                  <a:solidFill>
                    <a:srgbClr val="FFFFFF"/>
                  </a:solidFill>
                  <a:effectLst/>
                  <a:uLnTx/>
                  <a:uFillTx/>
                  <a:latin typeface="Calibri" panose="020F0502020204030204" pitchFamily="34" charset="0"/>
                  <a:ea typeface="ＭＳ Ｐゴシック"/>
                  <a:cs typeface="Calibri" panose="020F0502020204030204" pitchFamily="34" charset="0"/>
                </a:rPr>
                <a:t>tional</a:t>
              </a: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 environments</a:t>
              </a:r>
              <a:endParaRPr kumimoji="0" lang="en-CA"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endParaRPr>
            </a:p>
          </p:txBody>
        </p:sp>
        <p:sp>
          <p:nvSpPr>
            <p:cNvPr id="91" name="TextBox 90">
              <a:extLst>
                <a:ext uri="{FF2B5EF4-FFF2-40B4-BE49-F238E27FC236}">
                  <a16:creationId xmlns:a16="http://schemas.microsoft.com/office/drawing/2014/main" id="{BEE782B9-C50C-7145-E203-58E3D3C475B7}"/>
                </a:ext>
              </a:extLst>
            </p:cNvPr>
            <p:cNvSpPr txBox="1">
              <a:spLocks/>
            </p:cNvSpPr>
            <p:nvPr/>
          </p:nvSpPr>
          <p:spPr>
            <a:xfrm>
              <a:off x="1615440" y="3738546"/>
              <a:ext cx="4092416" cy="43587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Chile – presence of traditional mining hubs and long history of mining investments; increasing government footprint in lithium mining</a:t>
              </a:r>
            </a:p>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Chile/Peru – presence of copper-gold porphyric deposits</a:t>
              </a:r>
            </a:p>
          </p:txBody>
        </p:sp>
      </p:grpSp>
      <p:grpSp>
        <p:nvGrpSpPr>
          <p:cNvPr id="94" name="Group 93">
            <a:extLst>
              <a:ext uri="{FF2B5EF4-FFF2-40B4-BE49-F238E27FC236}">
                <a16:creationId xmlns:a16="http://schemas.microsoft.com/office/drawing/2014/main" id="{DCBDA35B-F5FC-1CAE-F237-0C1AFA7FCACC}"/>
              </a:ext>
            </a:extLst>
          </p:cNvPr>
          <p:cNvGrpSpPr/>
          <p:nvPr/>
        </p:nvGrpSpPr>
        <p:grpSpPr>
          <a:xfrm>
            <a:off x="346075" y="4305619"/>
            <a:ext cx="5477478" cy="708359"/>
            <a:chOff x="346075" y="4305619"/>
            <a:chExt cx="5477478" cy="708359"/>
          </a:xfrm>
        </p:grpSpPr>
        <p:sp>
          <p:nvSpPr>
            <p:cNvPr id="41" name="Rectangle 8">
              <a:extLst>
                <a:ext uri="{FF2B5EF4-FFF2-40B4-BE49-F238E27FC236}">
                  <a16:creationId xmlns:a16="http://schemas.microsoft.com/office/drawing/2014/main" id="{EA08B892-A175-5A1E-4459-FB7C21FBFBD3}"/>
                </a:ext>
              </a:extLst>
            </p:cNvPr>
            <p:cNvSpPr txBox="1">
              <a:spLocks/>
            </p:cNvSpPr>
            <p:nvPr>
              <p:custDataLst>
                <p:tags r:id="rId66"/>
              </p:custDataLst>
            </p:nvPr>
          </p:nvSpPr>
          <p:spPr>
            <a:xfrm>
              <a:off x="346075" y="4311060"/>
              <a:ext cx="1194435" cy="653314"/>
            </a:xfrm>
            <a:prstGeom prst="rect">
              <a:avLst/>
            </a:prstGeom>
            <a:solidFill>
              <a:schemeClr val="accent1"/>
            </a:solidFill>
            <a:ln w="9525">
              <a:noFill/>
              <a:miter lim="800000"/>
              <a:headEnd/>
              <a:tailEnd/>
            </a:ln>
            <a:effectLst/>
          </p:spPr>
          <p:txBody>
            <a:bodyPr vert="horz" wrap="square" lIns="36576" tIns="76200" rIns="36576" bIns="76200" numCol="1" anchor="ctr"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Other relevant factors</a:t>
              </a:r>
              <a:endParaRPr kumimoji="0" lang="en-CA"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endParaRPr>
            </a:p>
          </p:txBody>
        </p:sp>
        <p:sp>
          <p:nvSpPr>
            <p:cNvPr id="92" name="TextBox 91">
              <a:extLst>
                <a:ext uri="{FF2B5EF4-FFF2-40B4-BE49-F238E27FC236}">
                  <a16:creationId xmlns:a16="http://schemas.microsoft.com/office/drawing/2014/main" id="{234F2287-030E-8A2F-7325-FADEC940D7CA}"/>
                </a:ext>
              </a:extLst>
            </p:cNvPr>
            <p:cNvSpPr txBox="1">
              <a:spLocks/>
            </p:cNvSpPr>
            <p:nvPr/>
          </p:nvSpPr>
          <p:spPr>
            <a:xfrm>
              <a:off x="1615440" y="4305619"/>
              <a:ext cx="4208113" cy="70835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The Mexican government approved profound changes in the mining legislation in May 2023, causing companies to review investment decisions and juniors to leave operations in the country</a:t>
              </a:r>
            </a:p>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Mining labor unions are powerful in Mexico and have caused operational disruptions and strikes amid negotiations</a:t>
              </a:r>
            </a:p>
          </p:txBody>
        </p:sp>
      </p:grpSp>
      <p:cxnSp>
        <p:nvCxnSpPr>
          <p:cNvPr id="36" name="Straight Connector 35">
            <a:extLst>
              <a:ext uri="{FF2B5EF4-FFF2-40B4-BE49-F238E27FC236}">
                <a16:creationId xmlns:a16="http://schemas.microsoft.com/office/drawing/2014/main" id="{D80A1D05-FAF3-BED8-FD5C-2BE9D20B7596}"/>
              </a:ext>
            </a:extLst>
          </p:cNvPr>
          <p:cNvCxnSpPr>
            <a:cxnSpLocks/>
          </p:cNvCxnSpPr>
          <p:nvPr>
            <p:custDataLst>
              <p:tags r:id="rId7"/>
            </p:custDataLst>
          </p:nvPr>
        </p:nvCxnSpPr>
        <p:spPr>
          <a:xfrm>
            <a:off x="346074" y="2361255"/>
            <a:ext cx="5524265" cy="0"/>
          </a:xfrm>
          <a:prstGeom prst="line">
            <a:avLst/>
          </a:prstGeom>
          <a:ln w="6350">
            <a:solidFill>
              <a:srgbClr val="757575"/>
            </a:solidFill>
            <a:prstDash val="solid"/>
          </a:ln>
        </p:spPr>
        <p:style>
          <a:lnRef idx="1">
            <a:schemeClr val="accent1"/>
          </a:lnRef>
          <a:fillRef idx="0">
            <a:schemeClr val="accent1"/>
          </a:fillRef>
          <a:effectRef idx="0">
            <a:schemeClr val="accent1"/>
          </a:effectRef>
          <a:fontRef idx="minor">
            <a:schemeClr val="tx1"/>
          </a:fontRef>
        </p:style>
      </p:cxnSp>
      <p:grpSp>
        <p:nvGrpSpPr>
          <p:cNvPr id="64" name="Group 63">
            <a:extLst>
              <a:ext uri="{FF2B5EF4-FFF2-40B4-BE49-F238E27FC236}">
                <a16:creationId xmlns:a16="http://schemas.microsoft.com/office/drawing/2014/main" id="{53F1B78C-9A96-078A-68C0-675E88C09FE8}"/>
              </a:ext>
            </a:extLst>
          </p:cNvPr>
          <p:cNvGrpSpPr/>
          <p:nvPr/>
        </p:nvGrpSpPr>
        <p:grpSpPr>
          <a:xfrm>
            <a:off x="346075" y="1370013"/>
            <a:ext cx="5524265" cy="873512"/>
            <a:chOff x="346075" y="1370013"/>
            <a:chExt cx="5524265" cy="873512"/>
          </a:xfrm>
        </p:grpSpPr>
        <p:sp>
          <p:nvSpPr>
            <p:cNvPr id="46" name="Rectangle 8">
              <a:extLst>
                <a:ext uri="{FF2B5EF4-FFF2-40B4-BE49-F238E27FC236}">
                  <a16:creationId xmlns:a16="http://schemas.microsoft.com/office/drawing/2014/main" id="{DF62B165-B198-85FE-915A-1686D3ACAA0E}"/>
                </a:ext>
              </a:extLst>
            </p:cNvPr>
            <p:cNvSpPr txBox="1">
              <a:spLocks/>
            </p:cNvSpPr>
            <p:nvPr>
              <p:custDataLst>
                <p:tags r:id="rId65"/>
              </p:custDataLst>
            </p:nvPr>
          </p:nvSpPr>
          <p:spPr>
            <a:xfrm>
              <a:off x="346075" y="1370013"/>
              <a:ext cx="1194435" cy="873512"/>
            </a:xfrm>
            <a:prstGeom prst="rect">
              <a:avLst/>
            </a:prstGeom>
            <a:solidFill>
              <a:schemeClr val="accent1"/>
            </a:solidFill>
            <a:ln w="9525">
              <a:noFill/>
              <a:miter lim="800000"/>
              <a:headEnd/>
              <a:tailEnd/>
            </a:ln>
            <a:effectLst/>
          </p:spPr>
          <p:txBody>
            <a:bodyPr vert="horz" wrap="square" lIns="36576" tIns="76200" rIns="36576" bIns="76200" numCol="1" anchor="ctr"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Government overview and key stakeholders</a:t>
              </a:r>
              <a:endParaRPr kumimoji="0" lang="en-CA"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endParaRPr>
            </a:p>
          </p:txBody>
        </p:sp>
        <p:sp>
          <p:nvSpPr>
            <p:cNvPr id="132" name="TextBox 131">
              <a:extLst>
                <a:ext uri="{FF2B5EF4-FFF2-40B4-BE49-F238E27FC236}">
                  <a16:creationId xmlns:a16="http://schemas.microsoft.com/office/drawing/2014/main" id="{92FF2AEE-7746-7067-2EA0-26A153EB1600}"/>
                </a:ext>
              </a:extLst>
            </p:cNvPr>
            <p:cNvSpPr txBox="1">
              <a:spLocks/>
            </p:cNvSpPr>
            <p:nvPr/>
          </p:nvSpPr>
          <p:spPr>
            <a:xfrm>
              <a:off x="1615442" y="1515436"/>
              <a:ext cx="913446" cy="13652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Parliament type:</a:t>
              </a:r>
            </a:p>
          </p:txBody>
        </p:sp>
        <p:sp>
          <p:nvSpPr>
            <p:cNvPr id="133" name="TextBox 132">
              <a:extLst>
                <a:ext uri="{FF2B5EF4-FFF2-40B4-BE49-F238E27FC236}">
                  <a16:creationId xmlns:a16="http://schemas.microsoft.com/office/drawing/2014/main" id="{045FCAF2-5034-7D0C-CAC2-3B228E3769BA}"/>
                </a:ext>
              </a:extLst>
            </p:cNvPr>
            <p:cNvSpPr txBox="1">
              <a:spLocks/>
            </p:cNvSpPr>
            <p:nvPr/>
          </p:nvSpPr>
          <p:spPr>
            <a:xfrm>
              <a:off x="2600326" y="1515436"/>
              <a:ext cx="3270014"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Bicameral National Congress</a:t>
              </a:r>
              <a:endPar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endParaRPr>
            </a:p>
          </p:txBody>
        </p:sp>
        <p:sp>
          <p:nvSpPr>
            <p:cNvPr id="128" name="TextBox 127">
              <a:extLst>
                <a:ext uri="{FF2B5EF4-FFF2-40B4-BE49-F238E27FC236}">
                  <a16:creationId xmlns:a16="http://schemas.microsoft.com/office/drawing/2014/main" id="{08BB0351-7469-B33B-7341-A6C5B691B92D}"/>
                </a:ext>
              </a:extLst>
            </p:cNvPr>
            <p:cNvSpPr txBox="1">
              <a:spLocks/>
            </p:cNvSpPr>
            <p:nvPr/>
          </p:nvSpPr>
          <p:spPr>
            <a:xfrm>
              <a:off x="1615442" y="1370013"/>
              <a:ext cx="913446" cy="13652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Government type:</a:t>
              </a:r>
            </a:p>
          </p:txBody>
        </p:sp>
        <p:sp>
          <p:nvSpPr>
            <p:cNvPr id="129" name="TextBox 128">
              <a:extLst>
                <a:ext uri="{FF2B5EF4-FFF2-40B4-BE49-F238E27FC236}">
                  <a16:creationId xmlns:a16="http://schemas.microsoft.com/office/drawing/2014/main" id="{1591AFA9-25E4-06CF-CED4-57D391FB4D61}"/>
                </a:ext>
              </a:extLst>
            </p:cNvPr>
            <p:cNvSpPr txBox="1">
              <a:spLocks/>
            </p:cNvSpPr>
            <p:nvPr/>
          </p:nvSpPr>
          <p:spPr>
            <a:xfrm>
              <a:off x="2600326" y="1370013"/>
              <a:ext cx="3270014" cy="13652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Democracy</a:t>
              </a:r>
            </a:p>
          </p:txBody>
        </p:sp>
        <p:sp>
          <p:nvSpPr>
            <p:cNvPr id="135" name="TextBox 134">
              <a:extLst>
                <a:ext uri="{FF2B5EF4-FFF2-40B4-BE49-F238E27FC236}">
                  <a16:creationId xmlns:a16="http://schemas.microsoft.com/office/drawing/2014/main" id="{8FC8F185-8320-ED7C-8C9C-C417ECD7A218}"/>
                </a:ext>
              </a:extLst>
            </p:cNvPr>
            <p:cNvSpPr txBox="1">
              <a:spLocks/>
            </p:cNvSpPr>
            <p:nvPr/>
          </p:nvSpPr>
          <p:spPr>
            <a:xfrm>
              <a:off x="1615442" y="1662833"/>
              <a:ext cx="913446" cy="13493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President:</a:t>
              </a:r>
            </a:p>
          </p:txBody>
        </p:sp>
        <p:sp>
          <p:nvSpPr>
            <p:cNvPr id="136" name="TextBox 135">
              <a:extLst>
                <a:ext uri="{FF2B5EF4-FFF2-40B4-BE49-F238E27FC236}">
                  <a16:creationId xmlns:a16="http://schemas.microsoft.com/office/drawing/2014/main" id="{286FD3F8-A9FB-E0FA-11D2-E82BA030CF9B}"/>
                </a:ext>
              </a:extLst>
            </p:cNvPr>
            <p:cNvSpPr txBox="1">
              <a:spLocks/>
            </p:cNvSpPr>
            <p:nvPr/>
          </p:nvSpPr>
          <p:spPr>
            <a:xfrm>
              <a:off x="2600326" y="1662833"/>
              <a:ext cx="3270014" cy="138499"/>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s-PE"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Andrés Manuel López Obrador </a:t>
              </a:r>
              <a:r>
                <a:rPr kumimoji="0" lang="es-E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a:t>
              </a:r>
              <a:r>
                <a:rPr kumimoji="0" lang="es-ES" sz="9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since</a:t>
              </a:r>
              <a:r>
                <a:rPr kumimoji="0" lang="es-E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2018)</a:t>
              </a:r>
              <a:endPar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endParaRPr>
            </a:p>
          </p:txBody>
        </p:sp>
        <p:sp>
          <p:nvSpPr>
            <p:cNvPr id="139" name="TextBox 138">
              <a:extLst>
                <a:ext uri="{FF2B5EF4-FFF2-40B4-BE49-F238E27FC236}">
                  <a16:creationId xmlns:a16="http://schemas.microsoft.com/office/drawing/2014/main" id="{CC8673C0-B27B-4146-B381-90AA05457754}"/>
                </a:ext>
              </a:extLst>
            </p:cNvPr>
            <p:cNvSpPr txBox="1">
              <a:spLocks/>
            </p:cNvSpPr>
            <p:nvPr/>
          </p:nvSpPr>
          <p:spPr>
            <a:xfrm>
              <a:off x="1615442" y="1810230"/>
              <a:ext cx="913446"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Next election:</a:t>
              </a:r>
            </a:p>
          </p:txBody>
        </p:sp>
        <p:sp>
          <p:nvSpPr>
            <p:cNvPr id="140" name="TextBox 139">
              <a:extLst>
                <a:ext uri="{FF2B5EF4-FFF2-40B4-BE49-F238E27FC236}">
                  <a16:creationId xmlns:a16="http://schemas.microsoft.com/office/drawing/2014/main" id="{3ED62777-DDCE-5F21-D331-4AEE1668ECF3}"/>
                </a:ext>
              </a:extLst>
            </p:cNvPr>
            <p:cNvSpPr txBox="1">
              <a:spLocks/>
            </p:cNvSpPr>
            <p:nvPr/>
          </p:nvSpPr>
          <p:spPr>
            <a:xfrm>
              <a:off x="2600326" y="1810230"/>
              <a:ext cx="3270014"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2024</a:t>
              </a:r>
            </a:p>
          </p:txBody>
        </p:sp>
        <p:sp>
          <p:nvSpPr>
            <p:cNvPr id="143" name="TextBox 142">
              <a:extLst>
                <a:ext uri="{FF2B5EF4-FFF2-40B4-BE49-F238E27FC236}">
                  <a16:creationId xmlns:a16="http://schemas.microsoft.com/office/drawing/2014/main" id="{CA777830-90B0-AC47-B276-1B852CEBD625}"/>
                </a:ext>
              </a:extLst>
            </p:cNvPr>
            <p:cNvSpPr txBox="1">
              <a:spLocks/>
            </p:cNvSpPr>
            <p:nvPr/>
          </p:nvSpPr>
          <p:spPr>
            <a:xfrm>
              <a:off x="1615442" y="1957627"/>
              <a:ext cx="913446" cy="13493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Mining ministry:</a:t>
              </a:r>
            </a:p>
          </p:txBody>
        </p:sp>
        <p:sp>
          <p:nvSpPr>
            <p:cNvPr id="144" name="TextBox 143">
              <a:extLst>
                <a:ext uri="{FF2B5EF4-FFF2-40B4-BE49-F238E27FC236}">
                  <a16:creationId xmlns:a16="http://schemas.microsoft.com/office/drawing/2014/main" id="{0F6E1B82-5A40-B08E-4FCB-69D6C6C2E0A8}"/>
                </a:ext>
              </a:extLst>
            </p:cNvPr>
            <p:cNvSpPr txBox="1">
              <a:spLocks/>
            </p:cNvSpPr>
            <p:nvPr/>
          </p:nvSpPr>
          <p:spPr>
            <a:xfrm>
              <a:off x="2600326" y="1957627"/>
              <a:ext cx="3270014"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Ministry of Economy (General Mining Direction)</a:t>
              </a:r>
            </a:p>
          </p:txBody>
        </p:sp>
        <p:sp>
          <p:nvSpPr>
            <p:cNvPr id="146" name="TextBox 145">
              <a:extLst>
                <a:ext uri="{FF2B5EF4-FFF2-40B4-BE49-F238E27FC236}">
                  <a16:creationId xmlns:a16="http://schemas.microsoft.com/office/drawing/2014/main" id="{C9C2C543-5312-BA95-CE37-7BA9D157C26F}"/>
                </a:ext>
              </a:extLst>
            </p:cNvPr>
            <p:cNvSpPr txBox="1">
              <a:spLocks/>
            </p:cNvSpPr>
            <p:nvPr/>
          </p:nvSpPr>
          <p:spPr>
            <a:xfrm>
              <a:off x="1615442" y="2105026"/>
              <a:ext cx="913446" cy="13493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Affiliations:</a:t>
              </a:r>
            </a:p>
          </p:txBody>
        </p:sp>
        <p:sp>
          <p:nvSpPr>
            <p:cNvPr id="147" name="TextBox 146">
              <a:extLst>
                <a:ext uri="{FF2B5EF4-FFF2-40B4-BE49-F238E27FC236}">
                  <a16:creationId xmlns:a16="http://schemas.microsoft.com/office/drawing/2014/main" id="{7343889F-A382-98A9-7730-3C431ABAD8B5}"/>
                </a:ext>
              </a:extLst>
            </p:cNvPr>
            <p:cNvSpPr txBox="1">
              <a:spLocks/>
            </p:cNvSpPr>
            <p:nvPr/>
          </p:nvSpPr>
          <p:spPr>
            <a:xfrm>
              <a:off x="2600326" y="2105026"/>
              <a:ext cx="3270014"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FAO, CAN (observer), WTO, IFC, OAS, UN, </a:t>
              </a:r>
            </a:p>
          </p:txBody>
        </p:sp>
      </p:grpSp>
      <p:cxnSp>
        <p:nvCxnSpPr>
          <p:cNvPr id="112" name="Straight Connector 111">
            <a:extLst>
              <a:ext uri="{FF2B5EF4-FFF2-40B4-BE49-F238E27FC236}">
                <a16:creationId xmlns:a16="http://schemas.microsoft.com/office/drawing/2014/main" id="{5F66926C-576E-AABA-7FC9-3DE28A7C9518}"/>
              </a:ext>
            </a:extLst>
          </p:cNvPr>
          <p:cNvCxnSpPr>
            <a:cxnSpLocks/>
          </p:cNvCxnSpPr>
          <p:nvPr/>
        </p:nvCxnSpPr>
        <p:spPr>
          <a:xfrm>
            <a:off x="6033969" y="1370014"/>
            <a:ext cx="0" cy="4991101"/>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68" name="Group 67">
            <a:extLst>
              <a:ext uri="{FF2B5EF4-FFF2-40B4-BE49-F238E27FC236}">
                <a16:creationId xmlns:a16="http://schemas.microsoft.com/office/drawing/2014/main" id="{9B83B987-D70C-021A-7749-ACAC83E4AA0C}"/>
              </a:ext>
            </a:extLst>
          </p:cNvPr>
          <p:cNvGrpSpPr/>
          <p:nvPr/>
        </p:nvGrpSpPr>
        <p:grpSpPr>
          <a:xfrm>
            <a:off x="346075" y="2478985"/>
            <a:ext cx="5530248" cy="897150"/>
            <a:chOff x="346075" y="2722275"/>
            <a:chExt cx="5530248" cy="897150"/>
          </a:xfrm>
        </p:grpSpPr>
        <p:sp>
          <p:nvSpPr>
            <p:cNvPr id="43" name="Rectangle 8">
              <a:extLst>
                <a:ext uri="{FF2B5EF4-FFF2-40B4-BE49-F238E27FC236}">
                  <a16:creationId xmlns:a16="http://schemas.microsoft.com/office/drawing/2014/main" id="{F8D474FE-B311-2170-5018-2B21548A87C7}"/>
                </a:ext>
              </a:extLst>
            </p:cNvPr>
            <p:cNvSpPr txBox="1">
              <a:spLocks/>
            </p:cNvSpPr>
            <p:nvPr>
              <p:custDataLst>
                <p:tags r:id="rId64"/>
              </p:custDataLst>
            </p:nvPr>
          </p:nvSpPr>
          <p:spPr>
            <a:xfrm>
              <a:off x="346075" y="2734812"/>
              <a:ext cx="1194435" cy="884613"/>
            </a:xfrm>
            <a:prstGeom prst="rect">
              <a:avLst/>
            </a:prstGeom>
            <a:solidFill>
              <a:schemeClr val="accent1"/>
            </a:solidFill>
            <a:ln w="9525">
              <a:noFill/>
              <a:miter lim="800000"/>
              <a:headEnd/>
              <a:tailEnd/>
            </a:ln>
            <a:effectLst/>
          </p:spPr>
          <p:txBody>
            <a:bodyPr vert="horz" wrap="square" lIns="36576" tIns="76200" rIns="36576" bIns="76200" numCol="1" anchor="ctr"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Country overview</a:t>
              </a:r>
              <a:endParaRPr kumimoji="0" lang="en-CA"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endParaRPr>
            </a:p>
          </p:txBody>
        </p:sp>
        <p:grpSp>
          <p:nvGrpSpPr>
            <p:cNvPr id="117" name="Group 116">
              <a:extLst>
                <a:ext uri="{FF2B5EF4-FFF2-40B4-BE49-F238E27FC236}">
                  <a16:creationId xmlns:a16="http://schemas.microsoft.com/office/drawing/2014/main" id="{0D700741-E291-821A-8C10-BB317B1AF13D}"/>
                </a:ext>
              </a:extLst>
            </p:cNvPr>
            <p:cNvGrpSpPr/>
            <p:nvPr/>
          </p:nvGrpSpPr>
          <p:grpSpPr>
            <a:xfrm>
              <a:off x="1615442" y="2734812"/>
              <a:ext cx="4254898" cy="138499"/>
              <a:chOff x="1615442" y="2734812"/>
              <a:chExt cx="4254898" cy="138499"/>
            </a:xfrm>
          </p:grpSpPr>
          <p:sp>
            <p:nvSpPr>
              <p:cNvPr id="149" name="TextBox 148">
                <a:extLst>
                  <a:ext uri="{FF2B5EF4-FFF2-40B4-BE49-F238E27FC236}">
                    <a16:creationId xmlns:a16="http://schemas.microsoft.com/office/drawing/2014/main" id="{AE99F63B-9356-119E-2124-9025192EC592}"/>
                  </a:ext>
                </a:extLst>
              </p:cNvPr>
              <p:cNvSpPr txBox="1">
                <a:spLocks/>
              </p:cNvSpPr>
              <p:nvPr/>
            </p:nvSpPr>
            <p:spPr>
              <a:xfrm>
                <a:off x="1615442" y="2734812"/>
                <a:ext cx="913446" cy="13493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Population:</a:t>
                </a:r>
              </a:p>
            </p:txBody>
          </p:sp>
          <p:sp>
            <p:nvSpPr>
              <p:cNvPr id="150" name="TextBox 149">
                <a:extLst>
                  <a:ext uri="{FF2B5EF4-FFF2-40B4-BE49-F238E27FC236}">
                    <a16:creationId xmlns:a16="http://schemas.microsoft.com/office/drawing/2014/main" id="{AB7C5F20-D7EE-1CF5-FE7D-7AAB651A0DE7}"/>
                  </a:ext>
                </a:extLst>
              </p:cNvPr>
              <p:cNvSpPr txBox="1">
                <a:spLocks/>
              </p:cNvSpPr>
              <p:nvPr/>
            </p:nvSpPr>
            <p:spPr>
              <a:xfrm>
                <a:off x="2600326" y="2734812"/>
                <a:ext cx="3270014" cy="138499"/>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130 M</a:t>
                </a:r>
              </a:p>
            </p:txBody>
          </p:sp>
        </p:grpSp>
        <p:grpSp>
          <p:nvGrpSpPr>
            <p:cNvPr id="118" name="Group 117">
              <a:extLst>
                <a:ext uri="{FF2B5EF4-FFF2-40B4-BE49-F238E27FC236}">
                  <a16:creationId xmlns:a16="http://schemas.microsoft.com/office/drawing/2014/main" id="{75D92D83-F78D-2A33-183E-21E55BE40F5E}"/>
                </a:ext>
              </a:extLst>
            </p:cNvPr>
            <p:cNvGrpSpPr/>
            <p:nvPr/>
          </p:nvGrpSpPr>
          <p:grpSpPr>
            <a:xfrm>
              <a:off x="1615442" y="2884747"/>
              <a:ext cx="4254898" cy="134938"/>
              <a:chOff x="1615442" y="2884747"/>
              <a:chExt cx="4254898" cy="134938"/>
            </a:xfrm>
          </p:grpSpPr>
          <p:sp>
            <p:nvSpPr>
              <p:cNvPr id="152" name="TextBox 151">
                <a:extLst>
                  <a:ext uri="{FF2B5EF4-FFF2-40B4-BE49-F238E27FC236}">
                    <a16:creationId xmlns:a16="http://schemas.microsoft.com/office/drawing/2014/main" id="{313CD90E-654F-4BD9-14E0-95192A35D357}"/>
                  </a:ext>
                </a:extLst>
              </p:cNvPr>
              <p:cNvSpPr txBox="1">
                <a:spLocks/>
              </p:cNvSpPr>
              <p:nvPr/>
            </p:nvSpPr>
            <p:spPr>
              <a:xfrm>
                <a:off x="1615442" y="2884747"/>
                <a:ext cx="913446" cy="13493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Language:</a:t>
                </a:r>
              </a:p>
            </p:txBody>
          </p:sp>
          <p:sp>
            <p:nvSpPr>
              <p:cNvPr id="153" name="TextBox 152">
                <a:extLst>
                  <a:ext uri="{FF2B5EF4-FFF2-40B4-BE49-F238E27FC236}">
                    <a16:creationId xmlns:a16="http://schemas.microsoft.com/office/drawing/2014/main" id="{E254005B-DA49-EDF3-48A6-CCA356330855}"/>
                  </a:ext>
                </a:extLst>
              </p:cNvPr>
              <p:cNvSpPr txBox="1">
                <a:spLocks/>
              </p:cNvSpPr>
              <p:nvPr/>
            </p:nvSpPr>
            <p:spPr>
              <a:xfrm>
                <a:off x="2600326" y="2884747"/>
                <a:ext cx="3270014" cy="134938"/>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Spanish</a:t>
                </a:r>
              </a:p>
            </p:txBody>
          </p:sp>
        </p:grpSp>
        <p:grpSp>
          <p:nvGrpSpPr>
            <p:cNvPr id="119" name="Group 118">
              <a:extLst>
                <a:ext uri="{FF2B5EF4-FFF2-40B4-BE49-F238E27FC236}">
                  <a16:creationId xmlns:a16="http://schemas.microsoft.com/office/drawing/2014/main" id="{E3276519-0FBA-B8DD-DEB5-94D4112A275E}"/>
                </a:ext>
              </a:extLst>
            </p:cNvPr>
            <p:cNvGrpSpPr/>
            <p:nvPr/>
          </p:nvGrpSpPr>
          <p:grpSpPr>
            <a:xfrm>
              <a:off x="1615442" y="3031121"/>
              <a:ext cx="4254898" cy="138499"/>
              <a:chOff x="1615442" y="3031121"/>
              <a:chExt cx="4254898" cy="138499"/>
            </a:xfrm>
          </p:grpSpPr>
          <p:sp>
            <p:nvSpPr>
              <p:cNvPr id="155" name="TextBox 154">
                <a:extLst>
                  <a:ext uri="{FF2B5EF4-FFF2-40B4-BE49-F238E27FC236}">
                    <a16:creationId xmlns:a16="http://schemas.microsoft.com/office/drawing/2014/main" id="{E1CEF0DF-2075-199B-7D67-0C756649C778}"/>
                  </a:ext>
                </a:extLst>
              </p:cNvPr>
              <p:cNvSpPr txBox="1">
                <a:spLocks/>
              </p:cNvSpPr>
              <p:nvPr/>
            </p:nvSpPr>
            <p:spPr>
              <a:xfrm>
                <a:off x="1615442" y="3031121"/>
                <a:ext cx="913446" cy="13493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Currency:</a:t>
                </a:r>
              </a:p>
            </p:txBody>
          </p:sp>
          <p:sp>
            <p:nvSpPr>
              <p:cNvPr id="156" name="TextBox 155">
                <a:extLst>
                  <a:ext uri="{FF2B5EF4-FFF2-40B4-BE49-F238E27FC236}">
                    <a16:creationId xmlns:a16="http://schemas.microsoft.com/office/drawing/2014/main" id="{E8E68DDD-ED49-C541-1AE5-B7EEC7DC9112}"/>
                  </a:ext>
                </a:extLst>
              </p:cNvPr>
              <p:cNvSpPr txBox="1">
                <a:spLocks/>
              </p:cNvSpPr>
              <p:nvPr/>
            </p:nvSpPr>
            <p:spPr>
              <a:xfrm>
                <a:off x="2600326" y="3031121"/>
                <a:ext cx="3270014" cy="138499"/>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Mexican Pesos (MXN)</a:t>
                </a:r>
              </a:p>
            </p:txBody>
          </p:sp>
        </p:grpSp>
        <p:grpSp>
          <p:nvGrpSpPr>
            <p:cNvPr id="120" name="Group 119">
              <a:extLst>
                <a:ext uri="{FF2B5EF4-FFF2-40B4-BE49-F238E27FC236}">
                  <a16:creationId xmlns:a16="http://schemas.microsoft.com/office/drawing/2014/main" id="{35AFA302-D84E-EE58-CF86-DF61DA597128}"/>
                </a:ext>
              </a:extLst>
            </p:cNvPr>
            <p:cNvGrpSpPr/>
            <p:nvPr/>
          </p:nvGrpSpPr>
          <p:grpSpPr>
            <a:xfrm>
              <a:off x="1615442" y="3181056"/>
              <a:ext cx="4254898" cy="138499"/>
              <a:chOff x="1615442" y="3181056"/>
              <a:chExt cx="4254898" cy="138499"/>
            </a:xfrm>
          </p:grpSpPr>
          <p:sp>
            <p:nvSpPr>
              <p:cNvPr id="159" name="TextBox 158">
                <a:extLst>
                  <a:ext uri="{FF2B5EF4-FFF2-40B4-BE49-F238E27FC236}">
                    <a16:creationId xmlns:a16="http://schemas.microsoft.com/office/drawing/2014/main" id="{E77F8775-5EF5-5DA0-F571-01185669986D}"/>
                  </a:ext>
                </a:extLst>
              </p:cNvPr>
              <p:cNvSpPr txBox="1">
                <a:spLocks/>
              </p:cNvSpPr>
              <p:nvPr/>
            </p:nvSpPr>
            <p:spPr>
              <a:xfrm>
                <a:off x="1615442" y="3181056"/>
                <a:ext cx="913446"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Exchange rate:</a:t>
                </a:r>
              </a:p>
            </p:txBody>
          </p:sp>
          <p:sp>
            <p:nvSpPr>
              <p:cNvPr id="160" name="TextBox 159">
                <a:extLst>
                  <a:ext uri="{FF2B5EF4-FFF2-40B4-BE49-F238E27FC236}">
                    <a16:creationId xmlns:a16="http://schemas.microsoft.com/office/drawing/2014/main" id="{8D2084E0-1F0A-EA53-2101-573D4A0B7D35}"/>
                  </a:ext>
                </a:extLst>
              </p:cNvPr>
              <p:cNvSpPr txBox="1">
                <a:spLocks/>
              </p:cNvSpPr>
              <p:nvPr/>
            </p:nvSpPr>
            <p:spPr>
              <a:xfrm>
                <a:off x="2600326" y="3181056"/>
                <a:ext cx="3270014" cy="138499"/>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1 USD = 17.84 MXN</a:t>
                </a:r>
              </a:p>
            </p:txBody>
          </p:sp>
        </p:grpSp>
        <p:grpSp>
          <p:nvGrpSpPr>
            <p:cNvPr id="122" name="Group 121">
              <a:extLst>
                <a:ext uri="{FF2B5EF4-FFF2-40B4-BE49-F238E27FC236}">
                  <a16:creationId xmlns:a16="http://schemas.microsoft.com/office/drawing/2014/main" id="{1B8844CB-0FC0-9D73-DA72-21471BD615A7}"/>
                </a:ext>
              </a:extLst>
            </p:cNvPr>
            <p:cNvGrpSpPr/>
            <p:nvPr/>
          </p:nvGrpSpPr>
          <p:grpSpPr>
            <a:xfrm>
              <a:off x="1615442" y="3330991"/>
              <a:ext cx="4254898" cy="138499"/>
              <a:chOff x="1615442" y="3330991"/>
              <a:chExt cx="4254898" cy="138499"/>
            </a:xfrm>
          </p:grpSpPr>
          <p:sp>
            <p:nvSpPr>
              <p:cNvPr id="162" name="TextBox 161">
                <a:extLst>
                  <a:ext uri="{FF2B5EF4-FFF2-40B4-BE49-F238E27FC236}">
                    <a16:creationId xmlns:a16="http://schemas.microsoft.com/office/drawing/2014/main" id="{76B76856-C654-E263-B4BA-6F7F2F92C6D5}"/>
                  </a:ext>
                </a:extLst>
              </p:cNvPr>
              <p:cNvSpPr txBox="1">
                <a:spLocks/>
              </p:cNvSpPr>
              <p:nvPr/>
            </p:nvSpPr>
            <p:spPr>
              <a:xfrm>
                <a:off x="1615442" y="3330991"/>
                <a:ext cx="913446" cy="13652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Unemployment:</a:t>
                </a:r>
              </a:p>
            </p:txBody>
          </p:sp>
          <p:sp>
            <p:nvSpPr>
              <p:cNvPr id="163" name="TextBox 162">
                <a:extLst>
                  <a:ext uri="{FF2B5EF4-FFF2-40B4-BE49-F238E27FC236}">
                    <a16:creationId xmlns:a16="http://schemas.microsoft.com/office/drawing/2014/main" id="{5056F202-CE90-6AAF-63E3-548B804AE4F1}"/>
                  </a:ext>
                </a:extLst>
              </p:cNvPr>
              <p:cNvSpPr txBox="1">
                <a:spLocks/>
              </p:cNvSpPr>
              <p:nvPr/>
            </p:nvSpPr>
            <p:spPr>
              <a:xfrm>
                <a:off x="2600326" y="3330991"/>
                <a:ext cx="3270014" cy="138499"/>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2.9% (2023)</a:t>
                </a:r>
              </a:p>
            </p:txBody>
          </p:sp>
        </p:grpSp>
        <p:grpSp>
          <p:nvGrpSpPr>
            <p:cNvPr id="121" name="Group 120">
              <a:extLst>
                <a:ext uri="{FF2B5EF4-FFF2-40B4-BE49-F238E27FC236}">
                  <a16:creationId xmlns:a16="http://schemas.microsoft.com/office/drawing/2014/main" id="{6996271A-FA53-38D8-C9B4-8E1C1D06E063}"/>
                </a:ext>
              </a:extLst>
            </p:cNvPr>
            <p:cNvGrpSpPr/>
            <p:nvPr/>
          </p:nvGrpSpPr>
          <p:grpSpPr>
            <a:xfrm>
              <a:off x="1615442" y="3480926"/>
              <a:ext cx="4254898" cy="138499"/>
              <a:chOff x="1615442" y="3480926"/>
              <a:chExt cx="4254898" cy="138499"/>
            </a:xfrm>
          </p:grpSpPr>
          <p:sp>
            <p:nvSpPr>
              <p:cNvPr id="165" name="TextBox 164">
                <a:extLst>
                  <a:ext uri="{FF2B5EF4-FFF2-40B4-BE49-F238E27FC236}">
                    <a16:creationId xmlns:a16="http://schemas.microsoft.com/office/drawing/2014/main" id="{444C5EFD-7B02-49E1-5490-7F10EC8CD8AC}"/>
                  </a:ext>
                </a:extLst>
              </p:cNvPr>
              <p:cNvSpPr txBox="1">
                <a:spLocks/>
              </p:cNvSpPr>
              <p:nvPr/>
            </p:nvSpPr>
            <p:spPr>
              <a:xfrm>
                <a:off x="1615442" y="3480926"/>
                <a:ext cx="913446"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Inflation (CPI):</a:t>
                </a:r>
              </a:p>
            </p:txBody>
          </p:sp>
          <p:sp>
            <p:nvSpPr>
              <p:cNvPr id="166" name="TextBox 165">
                <a:extLst>
                  <a:ext uri="{FF2B5EF4-FFF2-40B4-BE49-F238E27FC236}">
                    <a16:creationId xmlns:a16="http://schemas.microsoft.com/office/drawing/2014/main" id="{0740A040-C3E7-6D3E-153A-B12C72258648}"/>
                  </a:ext>
                </a:extLst>
              </p:cNvPr>
              <p:cNvSpPr txBox="1">
                <a:spLocks/>
              </p:cNvSpPr>
              <p:nvPr/>
            </p:nvSpPr>
            <p:spPr>
              <a:xfrm>
                <a:off x="2600326" y="3480926"/>
                <a:ext cx="3270014" cy="138499"/>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3.8% (2022)</a:t>
                </a:r>
              </a:p>
            </p:txBody>
          </p:sp>
        </p:grpSp>
        <p:sp>
          <p:nvSpPr>
            <p:cNvPr id="16" name="Freeform: Shape 15">
              <a:extLst>
                <a:ext uri="{FF2B5EF4-FFF2-40B4-BE49-F238E27FC236}">
                  <a16:creationId xmlns:a16="http://schemas.microsoft.com/office/drawing/2014/main" id="{F9B5D8D3-C6A0-E8FB-9318-5C03935D715E}"/>
                </a:ext>
              </a:extLst>
            </p:cNvPr>
            <p:cNvSpPr/>
            <p:nvPr/>
          </p:nvSpPr>
          <p:spPr>
            <a:xfrm rot="21094193">
              <a:off x="4323590" y="2768147"/>
              <a:ext cx="922519" cy="599863"/>
            </a:xfrm>
            <a:custGeom>
              <a:avLst/>
              <a:gdLst>
                <a:gd name="connsiteX0" fmla="*/ 1013460 w 1018540"/>
                <a:gd name="connsiteY0" fmla="*/ 88900 h 624840"/>
                <a:gd name="connsiteX1" fmla="*/ 0 w 1018540"/>
                <a:gd name="connsiteY1" fmla="*/ 0 h 624840"/>
                <a:gd name="connsiteX2" fmla="*/ 0 w 1018540"/>
                <a:gd name="connsiteY2" fmla="*/ 624840 h 624840"/>
                <a:gd name="connsiteX3" fmla="*/ 1018540 w 1018540"/>
                <a:gd name="connsiteY3" fmla="*/ 147320 h 624840"/>
                <a:gd name="connsiteX4" fmla="*/ 1013460 w 1018540"/>
                <a:gd name="connsiteY4" fmla="*/ 88900 h 624840"/>
                <a:gd name="connsiteX0" fmla="*/ 1013460 w 1018540"/>
                <a:gd name="connsiteY0" fmla="*/ 88900 h 501015"/>
                <a:gd name="connsiteX1" fmla="*/ 0 w 1018540"/>
                <a:gd name="connsiteY1" fmla="*/ 0 h 501015"/>
                <a:gd name="connsiteX2" fmla="*/ 470535 w 1018540"/>
                <a:gd name="connsiteY2" fmla="*/ 501015 h 501015"/>
                <a:gd name="connsiteX3" fmla="*/ 1018540 w 1018540"/>
                <a:gd name="connsiteY3" fmla="*/ 147320 h 501015"/>
                <a:gd name="connsiteX4" fmla="*/ 1013460 w 1018540"/>
                <a:gd name="connsiteY4" fmla="*/ 88900 h 501015"/>
                <a:gd name="connsiteX0" fmla="*/ 691515 w 696595"/>
                <a:gd name="connsiteY0" fmla="*/ 41275 h 453390"/>
                <a:gd name="connsiteX1" fmla="*/ 0 w 696595"/>
                <a:gd name="connsiteY1" fmla="*/ 0 h 453390"/>
                <a:gd name="connsiteX2" fmla="*/ 148590 w 696595"/>
                <a:gd name="connsiteY2" fmla="*/ 453390 h 453390"/>
                <a:gd name="connsiteX3" fmla="*/ 696595 w 696595"/>
                <a:gd name="connsiteY3" fmla="*/ 99695 h 453390"/>
                <a:gd name="connsiteX4" fmla="*/ 691515 w 696595"/>
                <a:gd name="connsiteY4" fmla="*/ 41275 h 453390"/>
                <a:gd name="connsiteX0" fmla="*/ 691515 w 692785"/>
                <a:gd name="connsiteY0" fmla="*/ 41275 h 453390"/>
                <a:gd name="connsiteX1" fmla="*/ 0 w 692785"/>
                <a:gd name="connsiteY1" fmla="*/ 0 h 453390"/>
                <a:gd name="connsiteX2" fmla="*/ 148590 w 692785"/>
                <a:gd name="connsiteY2" fmla="*/ 453390 h 453390"/>
                <a:gd name="connsiteX3" fmla="*/ 692785 w 692785"/>
                <a:gd name="connsiteY3" fmla="*/ 76835 h 453390"/>
                <a:gd name="connsiteX4" fmla="*/ 691515 w 692785"/>
                <a:gd name="connsiteY4" fmla="*/ 41275 h 453390"/>
                <a:gd name="connsiteX0" fmla="*/ 874395 w 875665"/>
                <a:gd name="connsiteY0" fmla="*/ 79375 h 491490"/>
                <a:gd name="connsiteX1" fmla="*/ 0 w 875665"/>
                <a:gd name="connsiteY1" fmla="*/ 0 h 491490"/>
                <a:gd name="connsiteX2" fmla="*/ 331470 w 875665"/>
                <a:gd name="connsiteY2" fmla="*/ 491490 h 491490"/>
                <a:gd name="connsiteX3" fmla="*/ 875665 w 875665"/>
                <a:gd name="connsiteY3" fmla="*/ 114935 h 491490"/>
                <a:gd name="connsiteX4" fmla="*/ 874395 w 875665"/>
                <a:gd name="connsiteY4" fmla="*/ 79375 h 491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5665" h="491490">
                  <a:moveTo>
                    <a:pt x="874395" y="79375"/>
                  </a:moveTo>
                  <a:lnTo>
                    <a:pt x="0" y="0"/>
                  </a:lnTo>
                  <a:lnTo>
                    <a:pt x="331470" y="491490"/>
                  </a:lnTo>
                  <a:lnTo>
                    <a:pt x="875665" y="114935"/>
                  </a:lnTo>
                  <a:cubicBezTo>
                    <a:pt x="875242" y="103082"/>
                    <a:pt x="874818" y="91228"/>
                    <a:pt x="874395" y="79375"/>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Oval 7">
              <a:extLst>
                <a:ext uri="{FF2B5EF4-FFF2-40B4-BE49-F238E27FC236}">
                  <a16:creationId xmlns:a16="http://schemas.microsoft.com/office/drawing/2014/main" id="{8F930C40-5995-C619-16DF-F8884C1A0BD1}"/>
                </a:ext>
              </a:extLst>
            </p:cNvPr>
            <p:cNvSpPr/>
            <p:nvPr/>
          </p:nvSpPr>
          <p:spPr>
            <a:xfrm>
              <a:off x="3740224" y="2824621"/>
              <a:ext cx="1229355" cy="620442"/>
            </a:xfrm>
            <a:prstGeom prst="ellipse">
              <a:avLst/>
            </a:prstGeom>
            <a:solidFill>
              <a:srgbClr val="F7F7F7"/>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9" name="Picture 8">
              <a:extLst>
                <a:ext uri="{FF2B5EF4-FFF2-40B4-BE49-F238E27FC236}">
                  <a16:creationId xmlns:a16="http://schemas.microsoft.com/office/drawing/2014/main" id="{E1A4B3B8-D328-0C87-07BB-AED3D0D3666A}"/>
                </a:ext>
              </a:extLst>
            </p:cNvPr>
            <p:cNvPicPr>
              <a:picLocks/>
            </p:cNvPicPr>
            <p:nvPr/>
          </p:nvPicPr>
          <p:blipFill>
            <a:blip r:embed="rId72" cstate="screen">
              <a:extLst>
                <a:ext uri="{28A0092B-C50C-407E-A947-70E740481C1C}">
                  <a14:useLocalDpi xmlns:a14="http://schemas.microsoft.com/office/drawing/2010/main"/>
                </a:ext>
              </a:extLst>
            </a:blip>
            <a:stretch>
              <a:fillRect/>
            </a:stretch>
          </p:blipFill>
          <p:spPr>
            <a:xfrm>
              <a:off x="1615441" y="2734812"/>
              <a:ext cx="259080" cy="167383"/>
            </a:xfrm>
            <a:prstGeom prst="rect">
              <a:avLst/>
            </a:prstGeom>
            <a:ln>
              <a:solidFill>
                <a:srgbClr val="CCCCCC"/>
              </a:solidFill>
            </a:ln>
          </p:spPr>
        </p:pic>
        <p:grpSp>
          <p:nvGrpSpPr>
            <p:cNvPr id="10" name="Group 9">
              <a:extLst>
                <a:ext uri="{FF2B5EF4-FFF2-40B4-BE49-F238E27FC236}">
                  <a16:creationId xmlns:a16="http://schemas.microsoft.com/office/drawing/2014/main" id="{94E33947-DC8A-8545-877B-571AE7A85FB0}"/>
                </a:ext>
              </a:extLst>
            </p:cNvPr>
            <p:cNvGrpSpPr/>
            <p:nvPr/>
          </p:nvGrpSpPr>
          <p:grpSpPr>
            <a:xfrm>
              <a:off x="5135966" y="2722275"/>
              <a:ext cx="740357" cy="852949"/>
              <a:chOff x="3309938" y="596900"/>
              <a:chExt cx="4770437" cy="5495926"/>
            </a:xfrm>
          </p:grpSpPr>
          <p:sp>
            <p:nvSpPr>
              <p:cNvPr id="13" name="Freeform 9">
                <a:extLst>
                  <a:ext uri="{FF2B5EF4-FFF2-40B4-BE49-F238E27FC236}">
                    <a16:creationId xmlns:a16="http://schemas.microsoft.com/office/drawing/2014/main" id="{F894F01E-6378-F082-21BF-E8FBCF078489}"/>
                  </a:ext>
                </a:extLst>
              </p:cNvPr>
              <p:cNvSpPr>
                <a:spLocks noEditPoints="1"/>
              </p:cNvSpPr>
              <p:nvPr/>
            </p:nvSpPr>
            <p:spPr bwMode="auto">
              <a:xfrm>
                <a:off x="6262688" y="1455738"/>
                <a:ext cx="17462" cy="7938"/>
              </a:xfrm>
              <a:custGeom>
                <a:avLst/>
                <a:gdLst>
                  <a:gd name="T0" fmla="*/ 10 w 11"/>
                  <a:gd name="T1" fmla="*/ 2 h 5"/>
                  <a:gd name="T2" fmla="*/ 10 w 11"/>
                  <a:gd name="T3" fmla="*/ 3 h 5"/>
                  <a:gd name="T4" fmla="*/ 8 w 11"/>
                  <a:gd name="T5" fmla="*/ 3 h 5"/>
                  <a:gd name="T6" fmla="*/ 6 w 11"/>
                  <a:gd name="T7" fmla="*/ 3 h 5"/>
                  <a:gd name="T8" fmla="*/ 5 w 11"/>
                  <a:gd name="T9" fmla="*/ 5 h 5"/>
                  <a:gd name="T10" fmla="*/ 3 w 11"/>
                  <a:gd name="T11" fmla="*/ 5 h 5"/>
                  <a:gd name="T12" fmla="*/ 5 w 11"/>
                  <a:gd name="T13" fmla="*/ 3 h 5"/>
                  <a:gd name="T14" fmla="*/ 6 w 11"/>
                  <a:gd name="T15" fmla="*/ 3 h 5"/>
                  <a:gd name="T16" fmla="*/ 6 w 11"/>
                  <a:gd name="T17" fmla="*/ 2 h 5"/>
                  <a:gd name="T18" fmla="*/ 8 w 11"/>
                  <a:gd name="T19" fmla="*/ 2 h 5"/>
                  <a:gd name="T20" fmla="*/ 10 w 11"/>
                  <a:gd name="T21" fmla="*/ 2 h 5"/>
                  <a:gd name="T22" fmla="*/ 10 w 11"/>
                  <a:gd name="T23" fmla="*/ 0 h 5"/>
                  <a:gd name="T24" fmla="*/ 11 w 11"/>
                  <a:gd name="T25" fmla="*/ 0 h 5"/>
                  <a:gd name="T26" fmla="*/ 11 w 11"/>
                  <a:gd name="T27" fmla="*/ 2 h 5"/>
                  <a:gd name="T28" fmla="*/ 10 w 11"/>
                  <a:gd name="T29" fmla="*/ 2 h 5"/>
                  <a:gd name="T30" fmla="*/ 10 w 11"/>
                  <a:gd name="T31" fmla="*/ 0 h 5"/>
                  <a:gd name="T32" fmla="*/ 0 w 11"/>
                  <a:gd name="T33" fmla="*/ 0 h 5"/>
                  <a:gd name="T34" fmla="*/ 1 w 11"/>
                  <a:gd name="T35" fmla="*/ 0 h 5"/>
                  <a:gd name="T36" fmla="*/ 1 w 11"/>
                  <a:gd name="T37" fmla="*/ 2 h 5"/>
                  <a:gd name="T38" fmla="*/ 0 w 11"/>
                  <a:gd name="T39" fmla="*/ 2 h 5"/>
                  <a:gd name="T40" fmla="*/ 0 w 11"/>
                  <a:gd name="T4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 h="5">
                    <a:moveTo>
                      <a:pt x="10" y="2"/>
                    </a:moveTo>
                    <a:lnTo>
                      <a:pt x="10" y="3"/>
                    </a:lnTo>
                    <a:lnTo>
                      <a:pt x="8" y="3"/>
                    </a:lnTo>
                    <a:lnTo>
                      <a:pt x="6" y="3"/>
                    </a:lnTo>
                    <a:lnTo>
                      <a:pt x="5" y="5"/>
                    </a:lnTo>
                    <a:lnTo>
                      <a:pt x="3" y="5"/>
                    </a:lnTo>
                    <a:lnTo>
                      <a:pt x="5" y="3"/>
                    </a:lnTo>
                    <a:lnTo>
                      <a:pt x="6" y="3"/>
                    </a:lnTo>
                    <a:lnTo>
                      <a:pt x="6" y="2"/>
                    </a:lnTo>
                    <a:lnTo>
                      <a:pt x="8" y="2"/>
                    </a:lnTo>
                    <a:lnTo>
                      <a:pt x="10" y="2"/>
                    </a:lnTo>
                    <a:close/>
                    <a:moveTo>
                      <a:pt x="10" y="0"/>
                    </a:moveTo>
                    <a:lnTo>
                      <a:pt x="11" y="0"/>
                    </a:lnTo>
                    <a:lnTo>
                      <a:pt x="11" y="2"/>
                    </a:lnTo>
                    <a:lnTo>
                      <a:pt x="10" y="2"/>
                    </a:lnTo>
                    <a:lnTo>
                      <a:pt x="10" y="0"/>
                    </a:lnTo>
                    <a:close/>
                    <a:moveTo>
                      <a:pt x="0" y="0"/>
                    </a:moveTo>
                    <a:lnTo>
                      <a:pt x="1" y="0"/>
                    </a:lnTo>
                    <a:lnTo>
                      <a:pt x="1" y="2"/>
                    </a:lnTo>
                    <a:lnTo>
                      <a:pt x="0" y="2"/>
                    </a:lnTo>
                    <a:lnTo>
                      <a:pt x="0"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5" name="Freeform 10">
                <a:extLst>
                  <a:ext uri="{FF2B5EF4-FFF2-40B4-BE49-F238E27FC236}">
                    <a16:creationId xmlns:a16="http://schemas.microsoft.com/office/drawing/2014/main" id="{ED4ADDDC-68EB-F906-14F2-4DCCFD7C7EE4}"/>
                  </a:ext>
                </a:extLst>
              </p:cNvPr>
              <p:cNvSpPr>
                <a:spLocks noEditPoints="1"/>
              </p:cNvSpPr>
              <p:nvPr/>
            </p:nvSpPr>
            <p:spPr bwMode="auto">
              <a:xfrm>
                <a:off x="6334125" y="1487488"/>
                <a:ext cx="14287" cy="41275"/>
              </a:xfrm>
              <a:custGeom>
                <a:avLst/>
                <a:gdLst>
                  <a:gd name="T0" fmla="*/ 4 w 9"/>
                  <a:gd name="T1" fmla="*/ 21 h 26"/>
                  <a:gd name="T2" fmla="*/ 6 w 9"/>
                  <a:gd name="T3" fmla="*/ 21 h 26"/>
                  <a:gd name="T4" fmla="*/ 4 w 9"/>
                  <a:gd name="T5" fmla="*/ 22 h 26"/>
                  <a:gd name="T6" fmla="*/ 6 w 9"/>
                  <a:gd name="T7" fmla="*/ 22 h 26"/>
                  <a:gd name="T8" fmla="*/ 6 w 9"/>
                  <a:gd name="T9" fmla="*/ 21 h 26"/>
                  <a:gd name="T10" fmla="*/ 6 w 9"/>
                  <a:gd name="T11" fmla="*/ 22 h 26"/>
                  <a:gd name="T12" fmla="*/ 7 w 9"/>
                  <a:gd name="T13" fmla="*/ 22 h 26"/>
                  <a:gd name="T14" fmla="*/ 6 w 9"/>
                  <a:gd name="T15" fmla="*/ 22 h 26"/>
                  <a:gd name="T16" fmla="*/ 7 w 9"/>
                  <a:gd name="T17" fmla="*/ 22 h 26"/>
                  <a:gd name="T18" fmla="*/ 9 w 9"/>
                  <a:gd name="T19" fmla="*/ 22 h 26"/>
                  <a:gd name="T20" fmla="*/ 7 w 9"/>
                  <a:gd name="T21" fmla="*/ 22 h 26"/>
                  <a:gd name="T22" fmla="*/ 7 w 9"/>
                  <a:gd name="T23" fmla="*/ 24 h 26"/>
                  <a:gd name="T24" fmla="*/ 9 w 9"/>
                  <a:gd name="T25" fmla="*/ 24 h 26"/>
                  <a:gd name="T26" fmla="*/ 7 w 9"/>
                  <a:gd name="T27" fmla="*/ 26 h 26"/>
                  <a:gd name="T28" fmla="*/ 7 w 9"/>
                  <a:gd name="T29" fmla="*/ 24 h 26"/>
                  <a:gd name="T30" fmla="*/ 6 w 9"/>
                  <a:gd name="T31" fmla="*/ 24 h 26"/>
                  <a:gd name="T32" fmla="*/ 6 w 9"/>
                  <a:gd name="T33" fmla="*/ 26 h 26"/>
                  <a:gd name="T34" fmla="*/ 4 w 9"/>
                  <a:gd name="T35" fmla="*/ 26 h 26"/>
                  <a:gd name="T36" fmla="*/ 6 w 9"/>
                  <a:gd name="T37" fmla="*/ 26 h 26"/>
                  <a:gd name="T38" fmla="*/ 4 w 9"/>
                  <a:gd name="T39" fmla="*/ 26 h 26"/>
                  <a:gd name="T40" fmla="*/ 2 w 9"/>
                  <a:gd name="T41" fmla="*/ 26 h 26"/>
                  <a:gd name="T42" fmla="*/ 0 w 9"/>
                  <a:gd name="T43" fmla="*/ 26 h 26"/>
                  <a:gd name="T44" fmla="*/ 0 w 9"/>
                  <a:gd name="T45" fmla="*/ 24 h 26"/>
                  <a:gd name="T46" fmla="*/ 0 w 9"/>
                  <a:gd name="T47" fmla="*/ 22 h 26"/>
                  <a:gd name="T48" fmla="*/ 2 w 9"/>
                  <a:gd name="T49" fmla="*/ 22 h 26"/>
                  <a:gd name="T50" fmla="*/ 0 w 9"/>
                  <a:gd name="T51" fmla="*/ 22 h 26"/>
                  <a:gd name="T52" fmla="*/ 0 w 9"/>
                  <a:gd name="T53" fmla="*/ 21 h 26"/>
                  <a:gd name="T54" fmla="*/ 2 w 9"/>
                  <a:gd name="T55" fmla="*/ 22 h 26"/>
                  <a:gd name="T56" fmla="*/ 2 w 9"/>
                  <a:gd name="T57" fmla="*/ 21 h 26"/>
                  <a:gd name="T58" fmla="*/ 4 w 9"/>
                  <a:gd name="T59" fmla="*/ 21 h 26"/>
                  <a:gd name="T60" fmla="*/ 2 w 9"/>
                  <a:gd name="T61" fmla="*/ 0 h 26"/>
                  <a:gd name="T62" fmla="*/ 4 w 9"/>
                  <a:gd name="T63" fmla="*/ 2 h 26"/>
                  <a:gd name="T64" fmla="*/ 2 w 9"/>
                  <a:gd name="T65" fmla="*/ 2 h 26"/>
                  <a:gd name="T66" fmla="*/ 2 w 9"/>
                  <a:gd name="T67" fmla="*/ 0 h 26"/>
                  <a:gd name="T68" fmla="*/ 2 w 9"/>
                  <a:gd name="T69" fmla="*/ 2 h 26"/>
                  <a:gd name="T70" fmla="*/ 4 w 9"/>
                  <a:gd name="T71" fmla="*/ 2 h 26"/>
                  <a:gd name="T72" fmla="*/ 6 w 9"/>
                  <a:gd name="T73" fmla="*/ 2 h 26"/>
                  <a:gd name="T74" fmla="*/ 6 w 9"/>
                  <a:gd name="T75" fmla="*/ 4 h 26"/>
                  <a:gd name="T76" fmla="*/ 6 w 9"/>
                  <a:gd name="T77" fmla="*/ 5 h 26"/>
                  <a:gd name="T78" fmla="*/ 6 w 9"/>
                  <a:gd name="T79" fmla="*/ 7 h 26"/>
                  <a:gd name="T80" fmla="*/ 6 w 9"/>
                  <a:gd name="T81" fmla="*/ 5 h 26"/>
                  <a:gd name="T82" fmla="*/ 4 w 9"/>
                  <a:gd name="T83" fmla="*/ 5 h 26"/>
                  <a:gd name="T84" fmla="*/ 2 w 9"/>
                  <a:gd name="T85" fmla="*/ 5 h 26"/>
                  <a:gd name="T86" fmla="*/ 2 w 9"/>
                  <a:gd name="T87" fmla="*/ 4 h 26"/>
                  <a:gd name="T88" fmla="*/ 2 w 9"/>
                  <a:gd name="T89" fmla="*/ 2 h 26"/>
                  <a:gd name="T90" fmla="*/ 0 w 9"/>
                  <a:gd name="T91" fmla="*/ 2 h 26"/>
                  <a:gd name="T92" fmla="*/ 2 w 9"/>
                  <a:gd name="T93" fmla="*/ 0 h 26"/>
                  <a:gd name="T94" fmla="*/ 2 w 9"/>
                  <a:gd name="T95" fmla="*/ 2 h 26"/>
                  <a:gd name="T96" fmla="*/ 2 w 9"/>
                  <a:gd name="T97" fmla="*/ 0 h 26"/>
                  <a:gd name="T98" fmla="*/ 2 w 9"/>
                  <a:gd name="T99" fmla="*/ 2 h 26"/>
                  <a:gd name="T100" fmla="*/ 2 w 9"/>
                  <a:gd name="T101" fmla="*/ 4 h 26"/>
                  <a:gd name="T102" fmla="*/ 4 w 9"/>
                  <a:gd name="T103" fmla="*/ 4 h 26"/>
                  <a:gd name="T104" fmla="*/ 2 w 9"/>
                  <a:gd name="T105" fmla="*/ 2 h 26"/>
                  <a:gd name="T106" fmla="*/ 2 w 9"/>
                  <a:gd name="T107" fmla="*/ 0 h 26"/>
                  <a:gd name="T108" fmla="*/ 6 w 9"/>
                  <a:gd name="T109" fmla="*/ 21 h 26"/>
                  <a:gd name="T110" fmla="*/ 7 w 9"/>
                  <a:gd name="T111" fmla="*/ 21 h 26"/>
                  <a:gd name="T112" fmla="*/ 7 w 9"/>
                  <a:gd name="T113" fmla="*/ 22 h 26"/>
                  <a:gd name="T114" fmla="*/ 6 w 9"/>
                  <a:gd name="T115" fmla="*/ 22 h 26"/>
                  <a:gd name="T116" fmla="*/ 6 w 9"/>
                  <a:gd name="T117" fmla="*/ 2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 h="26">
                    <a:moveTo>
                      <a:pt x="4" y="21"/>
                    </a:moveTo>
                    <a:lnTo>
                      <a:pt x="6" y="21"/>
                    </a:lnTo>
                    <a:lnTo>
                      <a:pt x="4" y="22"/>
                    </a:lnTo>
                    <a:lnTo>
                      <a:pt x="6" y="22"/>
                    </a:lnTo>
                    <a:lnTo>
                      <a:pt x="6" y="21"/>
                    </a:lnTo>
                    <a:lnTo>
                      <a:pt x="6" y="22"/>
                    </a:lnTo>
                    <a:lnTo>
                      <a:pt x="7" y="22"/>
                    </a:lnTo>
                    <a:lnTo>
                      <a:pt x="6" y="22"/>
                    </a:lnTo>
                    <a:lnTo>
                      <a:pt x="7" y="22"/>
                    </a:lnTo>
                    <a:lnTo>
                      <a:pt x="9" y="22"/>
                    </a:lnTo>
                    <a:lnTo>
                      <a:pt x="7" y="22"/>
                    </a:lnTo>
                    <a:lnTo>
                      <a:pt x="7" y="24"/>
                    </a:lnTo>
                    <a:lnTo>
                      <a:pt x="9" y="24"/>
                    </a:lnTo>
                    <a:lnTo>
                      <a:pt x="7" y="26"/>
                    </a:lnTo>
                    <a:lnTo>
                      <a:pt x="7" y="24"/>
                    </a:lnTo>
                    <a:lnTo>
                      <a:pt x="6" y="24"/>
                    </a:lnTo>
                    <a:lnTo>
                      <a:pt x="6" y="26"/>
                    </a:lnTo>
                    <a:lnTo>
                      <a:pt x="4" y="26"/>
                    </a:lnTo>
                    <a:lnTo>
                      <a:pt x="6" y="26"/>
                    </a:lnTo>
                    <a:lnTo>
                      <a:pt x="4" y="26"/>
                    </a:lnTo>
                    <a:lnTo>
                      <a:pt x="2" y="26"/>
                    </a:lnTo>
                    <a:lnTo>
                      <a:pt x="0" y="26"/>
                    </a:lnTo>
                    <a:lnTo>
                      <a:pt x="0" y="24"/>
                    </a:lnTo>
                    <a:lnTo>
                      <a:pt x="0" y="22"/>
                    </a:lnTo>
                    <a:lnTo>
                      <a:pt x="2" y="22"/>
                    </a:lnTo>
                    <a:lnTo>
                      <a:pt x="0" y="22"/>
                    </a:lnTo>
                    <a:lnTo>
                      <a:pt x="0" y="21"/>
                    </a:lnTo>
                    <a:lnTo>
                      <a:pt x="2" y="22"/>
                    </a:lnTo>
                    <a:lnTo>
                      <a:pt x="2" y="21"/>
                    </a:lnTo>
                    <a:lnTo>
                      <a:pt x="4" y="21"/>
                    </a:lnTo>
                    <a:close/>
                    <a:moveTo>
                      <a:pt x="2" y="0"/>
                    </a:moveTo>
                    <a:lnTo>
                      <a:pt x="4" y="2"/>
                    </a:lnTo>
                    <a:lnTo>
                      <a:pt x="2" y="2"/>
                    </a:lnTo>
                    <a:lnTo>
                      <a:pt x="2" y="0"/>
                    </a:lnTo>
                    <a:lnTo>
                      <a:pt x="2" y="2"/>
                    </a:lnTo>
                    <a:lnTo>
                      <a:pt x="4" y="2"/>
                    </a:lnTo>
                    <a:lnTo>
                      <a:pt x="6" y="2"/>
                    </a:lnTo>
                    <a:lnTo>
                      <a:pt x="6" y="4"/>
                    </a:lnTo>
                    <a:lnTo>
                      <a:pt x="6" y="5"/>
                    </a:lnTo>
                    <a:lnTo>
                      <a:pt x="6" y="7"/>
                    </a:lnTo>
                    <a:lnTo>
                      <a:pt x="6" y="5"/>
                    </a:lnTo>
                    <a:lnTo>
                      <a:pt x="4" y="5"/>
                    </a:lnTo>
                    <a:lnTo>
                      <a:pt x="2" y="5"/>
                    </a:lnTo>
                    <a:lnTo>
                      <a:pt x="2" y="4"/>
                    </a:lnTo>
                    <a:lnTo>
                      <a:pt x="2" y="2"/>
                    </a:lnTo>
                    <a:lnTo>
                      <a:pt x="0" y="2"/>
                    </a:lnTo>
                    <a:lnTo>
                      <a:pt x="2" y="0"/>
                    </a:lnTo>
                    <a:lnTo>
                      <a:pt x="2" y="2"/>
                    </a:lnTo>
                    <a:lnTo>
                      <a:pt x="2" y="0"/>
                    </a:lnTo>
                    <a:lnTo>
                      <a:pt x="2" y="2"/>
                    </a:lnTo>
                    <a:lnTo>
                      <a:pt x="2" y="4"/>
                    </a:lnTo>
                    <a:lnTo>
                      <a:pt x="4" y="4"/>
                    </a:lnTo>
                    <a:lnTo>
                      <a:pt x="2" y="2"/>
                    </a:lnTo>
                    <a:lnTo>
                      <a:pt x="2" y="0"/>
                    </a:lnTo>
                    <a:close/>
                    <a:moveTo>
                      <a:pt x="6" y="21"/>
                    </a:moveTo>
                    <a:lnTo>
                      <a:pt x="7" y="21"/>
                    </a:lnTo>
                    <a:lnTo>
                      <a:pt x="7" y="22"/>
                    </a:lnTo>
                    <a:lnTo>
                      <a:pt x="6" y="22"/>
                    </a:lnTo>
                    <a:lnTo>
                      <a:pt x="6" y="21"/>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6" name="Freeform 11">
                <a:extLst>
                  <a:ext uri="{FF2B5EF4-FFF2-40B4-BE49-F238E27FC236}">
                    <a16:creationId xmlns:a16="http://schemas.microsoft.com/office/drawing/2014/main" id="{301F0920-13F6-D25C-CB2E-78F58DC63931}"/>
                  </a:ext>
                </a:extLst>
              </p:cNvPr>
              <p:cNvSpPr>
                <a:spLocks noEditPoints="1"/>
              </p:cNvSpPr>
              <p:nvPr/>
            </p:nvSpPr>
            <p:spPr bwMode="auto">
              <a:xfrm>
                <a:off x="5708650" y="3651250"/>
                <a:ext cx="1068387" cy="2354263"/>
              </a:xfrm>
              <a:custGeom>
                <a:avLst/>
                <a:gdLst>
                  <a:gd name="T0" fmla="*/ 418 w 673"/>
                  <a:gd name="T1" fmla="*/ 65 h 1483"/>
                  <a:gd name="T2" fmla="*/ 512 w 673"/>
                  <a:gd name="T3" fmla="*/ 116 h 1483"/>
                  <a:gd name="T4" fmla="*/ 527 w 673"/>
                  <a:gd name="T5" fmla="*/ 158 h 1483"/>
                  <a:gd name="T6" fmla="*/ 513 w 673"/>
                  <a:gd name="T7" fmla="*/ 204 h 1483"/>
                  <a:gd name="T8" fmla="*/ 597 w 673"/>
                  <a:gd name="T9" fmla="*/ 206 h 1483"/>
                  <a:gd name="T10" fmla="*/ 641 w 673"/>
                  <a:gd name="T11" fmla="*/ 155 h 1483"/>
                  <a:gd name="T12" fmla="*/ 668 w 673"/>
                  <a:gd name="T13" fmla="*/ 155 h 1483"/>
                  <a:gd name="T14" fmla="*/ 658 w 673"/>
                  <a:gd name="T15" fmla="*/ 204 h 1483"/>
                  <a:gd name="T16" fmla="*/ 614 w 673"/>
                  <a:gd name="T17" fmla="*/ 233 h 1483"/>
                  <a:gd name="T18" fmla="*/ 566 w 673"/>
                  <a:gd name="T19" fmla="*/ 287 h 1483"/>
                  <a:gd name="T20" fmla="*/ 529 w 673"/>
                  <a:gd name="T21" fmla="*/ 357 h 1483"/>
                  <a:gd name="T22" fmla="*/ 512 w 673"/>
                  <a:gd name="T23" fmla="*/ 440 h 1483"/>
                  <a:gd name="T24" fmla="*/ 530 w 673"/>
                  <a:gd name="T25" fmla="*/ 502 h 1483"/>
                  <a:gd name="T26" fmla="*/ 566 w 673"/>
                  <a:gd name="T27" fmla="*/ 565 h 1483"/>
                  <a:gd name="T28" fmla="*/ 532 w 673"/>
                  <a:gd name="T29" fmla="*/ 648 h 1483"/>
                  <a:gd name="T30" fmla="*/ 430 w 673"/>
                  <a:gd name="T31" fmla="*/ 677 h 1483"/>
                  <a:gd name="T32" fmla="*/ 384 w 673"/>
                  <a:gd name="T33" fmla="*/ 691 h 1483"/>
                  <a:gd name="T34" fmla="*/ 376 w 673"/>
                  <a:gd name="T35" fmla="*/ 738 h 1483"/>
                  <a:gd name="T36" fmla="*/ 320 w 673"/>
                  <a:gd name="T37" fmla="*/ 767 h 1483"/>
                  <a:gd name="T38" fmla="*/ 286 w 673"/>
                  <a:gd name="T39" fmla="*/ 774 h 1483"/>
                  <a:gd name="T40" fmla="*/ 309 w 673"/>
                  <a:gd name="T41" fmla="*/ 832 h 1483"/>
                  <a:gd name="T42" fmla="*/ 330 w 673"/>
                  <a:gd name="T43" fmla="*/ 849 h 1483"/>
                  <a:gd name="T44" fmla="*/ 311 w 673"/>
                  <a:gd name="T45" fmla="*/ 856 h 1483"/>
                  <a:gd name="T46" fmla="*/ 281 w 673"/>
                  <a:gd name="T47" fmla="*/ 920 h 1483"/>
                  <a:gd name="T48" fmla="*/ 248 w 673"/>
                  <a:gd name="T49" fmla="*/ 952 h 1483"/>
                  <a:gd name="T50" fmla="*/ 202 w 673"/>
                  <a:gd name="T51" fmla="*/ 1002 h 1483"/>
                  <a:gd name="T52" fmla="*/ 265 w 673"/>
                  <a:gd name="T53" fmla="*/ 1065 h 1483"/>
                  <a:gd name="T54" fmla="*/ 235 w 673"/>
                  <a:gd name="T55" fmla="*/ 1121 h 1483"/>
                  <a:gd name="T56" fmla="*/ 192 w 673"/>
                  <a:gd name="T57" fmla="*/ 1203 h 1483"/>
                  <a:gd name="T58" fmla="*/ 155 w 673"/>
                  <a:gd name="T59" fmla="*/ 1279 h 1483"/>
                  <a:gd name="T60" fmla="*/ 56 w 673"/>
                  <a:gd name="T61" fmla="*/ 1308 h 1483"/>
                  <a:gd name="T62" fmla="*/ 43 w 673"/>
                  <a:gd name="T63" fmla="*/ 1242 h 1483"/>
                  <a:gd name="T64" fmla="*/ 2 w 673"/>
                  <a:gd name="T65" fmla="*/ 1201 h 1483"/>
                  <a:gd name="T66" fmla="*/ 36 w 673"/>
                  <a:gd name="T67" fmla="*/ 1131 h 1483"/>
                  <a:gd name="T68" fmla="*/ 43 w 673"/>
                  <a:gd name="T69" fmla="*/ 1072 h 1483"/>
                  <a:gd name="T70" fmla="*/ 60 w 673"/>
                  <a:gd name="T71" fmla="*/ 1009 h 1483"/>
                  <a:gd name="T72" fmla="*/ 66 w 673"/>
                  <a:gd name="T73" fmla="*/ 951 h 1483"/>
                  <a:gd name="T74" fmla="*/ 85 w 673"/>
                  <a:gd name="T75" fmla="*/ 929 h 1483"/>
                  <a:gd name="T76" fmla="*/ 68 w 673"/>
                  <a:gd name="T77" fmla="*/ 886 h 1483"/>
                  <a:gd name="T78" fmla="*/ 53 w 673"/>
                  <a:gd name="T79" fmla="*/ 830 h 1483"/>
                  <a:gd name="T80" fmla="*/ 58 w 673"/>
                  <a:gd name="T81" fmla="*/ 774 h 1483"/>
                  <a:gd name="T82" fmla="*/ 65 w 673"/>
                  <a:gd name="T83" fmla="*/ 716 h 1483"/>
                  <a:gd name="T84" fmla="*/ 90 w 673"/>
                  <a:gd name="T85" fmla="*/ 663 h 1483"/>
                  <a:gd name="T86" fmla="*/ 83 w 673"/>
                  <a:gd name="T87" fmla="*/ 597 h 1483"/>
                  <a:gd name="T88" fmla="*/ 107 w 673"/>
                  <a:gd name="T89" fmla="*/ 554 h 1483"/>
                  <a:gd name="T90" fmla="*/ 119 w 673"/>
                  <a:gd name="T91" fmla="*/ 486 h 1483"/>
                  <a:gd name="T92" fmla="*/ 121 w 673"/>
                  <a:gd name="T93" fmla="*/ 427 h 1483"/>
                  <a:gd name="T94" fmla="*/ 104 w 673"/>
                  <a:gd name="T95" fmla="*/ 354 h 1483"/>
                  <a:gd name="T96" fmla="*/ 126 w 673"/>
                  <a:gd name="T97" fmla="*/ 304 h 1483"/>
                  <a:gd name="T98" fmla="*/ 138 w 673"/>
                  <a:gd name="T99" fmla="*/ 243 h 1483"/>
                  <a:gd name="T100" fmla="*/ 175 w 673"/>
                  <a:gd name="T101" fmla="*/ 196 h 1483"/>
                  <a:gd name="T102" fmla="*/ 170 w 673"/>
                  <a:gd name="T103" fmla="*/ 110 h 1483"/>
                  <a:gd name="T104" fmla="*/ 253 w 673"/>
                  <a:gd name="T105" fmla="*/ 2 h 1483"/>
                  <a:gd name="T106" fmla="*/ 315 w 673"/>
                  <a:gd name="T107" fmla="*/ 32 h 1483"/>
                  <a:gd name="T108" fmla="*/ 180 w 673"/>
                  <a:gd name="T109" fmla="*/ 1362 h 1483"/>
                  <a:gd name="T110" fmla="*/ 213 w 673"/>
                  <a:gd name="T111" fmla="*/ 1425 h 1483"/>
                  <a:gd name="T112" fmla="*/ 282 w 673"/>
                  <a:gd name="T113" fmla="*/ 1466 h 1483"/>
                  <a:gd name="T114" fmla="*/ 223 w 673"/>
                  <a:gd name="T115" fmla="*/ 1475 h 1483"/>
                  <a:gd name="T116" fmla="*/ 320 w 673"/>
                  <a:gd name="T117" fmla="*/ 1465 h 1483"/>
                  <a:gd name="T118" fmla="*/ 301 w 673"/>
                  <a:gd name="T119" fmla="*/ 1466 h 1483"/>
                  <a:gd name="T120" fmla="*/ 206 w 673"/>
                  <a:gd name="T121" fmla="*/ 1473 h 1483"/>
                  <a:gd name="T122" fmla="*/ 269 w 673"/>
                  <a:gd name="T123" fmla="*/ 954 h 1483"/>
                  <a:gd name="T124" fmla="*/ 383 w 673"/>
                  <a:gd name="T125" fmla="*/ 721 h 1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73" h="1483">
                    <a:moveTo>
                      <a:pt x="369" y="17"/>
                    </a:moveTo>
                    <a:lnTo>
                      <a:pt x="371" y="17"/>
                    </a:lnTo>
                    <a:lnTo>
                      <a:pt x="371" y="19"/>
                    </a:lnTo>
                    <a:lnTo>
                      <a:pt x="369" y="19"/>
                    </a:lnTo>
                    <a:lnTo>
                      <a:pt x="371" y="19"/>
                    </a:lnTo>
                    <a:lnTo>
                      <a:pt x="372" y="20"/>
                    </a:lnTo>
                    <a:lnTo>
                      <a:pt x="372" y="22"/>
                    </a:lnTo>
                    <a:lnTo>
                      <a:pt x="374" y="22"/>
                    </a:lnTo>
                    <a:lnTo>
                      <a:pt x="376" y="22"/>
                    </a:lnTo>
                    <a:lnTo>
                      <a:pt x="376" y="24"/>
                    </a:lnTo>
                    <a:lnTo>
                      <a:pt x="377" y="24"/>
                    </a:lnTo>
                    <a:lnTo>
                      <a:pt x="379" y="24"/>
                    </a:lnTo>
                    <a:lnTo>
                      <a:pt x="379" y="25"/>
                    </a:lnTo>
                    <a:lnTo>
                      <a:pt x="379" y="24"/>
                    </a:lnTo>
                    <a:lnTo>
                      <a:pt x="379" y="25"/>
                    </a:lnTo>
                    <a:lnTo>
                      <a:pt x="381" y="25"/>
                    </a:lnTo>
                    <a:lnTo>
                      <a:pt x="379" y="25"/>
                    </a:lnTo>
                    <a:lnTo>
                      <a:pt x="381" y="25"/>
                    </a:lnTo>
                    <a:lnTo>
                      <a:pt x="381" y="27"/>
                    </a:lnTo>
                    <a:lnTo>
                      <a:pt x="383" y="27"/>
                    </a:lnTo>
                    <a:lnTo>
                      <a:pt x="384" y="27"/>
                    </a:lnTo>
                    <a:lnTo>
                      <a:pt x="383" y="29"/>
                    </a:lnTo>
                    <a:lnTo>
                      <a:pt x="384" y="29"/>
                    </a:lnTo>
                    <a:lnTo>
                      <a:pt x="383" y="29"/>
                    </a:lnTo>
                    <a:lnTo>
                      <a:pt x="383" y="31"/>
                    </a:lnTo>
                    <a:lnTo>
                      <a:pt x="383" y="32"/>
                    </a:lnTo>
                    <a:lnTo>
                      <a:pt x="384" y="31"/>
                    </a:lnTo>
                    <a:lnTo>
                      <a:pt x="384" y="32"/>
                    </a:lnTo>
                    <a:lnTo>
                      <a:pt x="384" y="34"/>
                    </a:lnTo>
                    <a:lnTo>
                      <a:pt x="384" y="36"/>
                    </a:lnTo>
                    <a:lnTo>
                      <a:pt x="386" y="37"/>
                    </a:lnTo>
                    <a:lnTo>
                      <a:pt x="388" y="39"/>
                    </a:lnTo>
                    <a:lnTo>
                      <a:pt x="388" y="41"/>
                    </a:lnTo>
                    <a:lnTo>
                      <a:pt x="389" y="42"/>
                    </a:lnTo>
                    <a:lnTo>
                      <a:pt x="389" y="44"/>
                    </a:lnTo>
                    <a:lnTo>
                      <a:pt x="391" y="44"/>
                    </a:lnTo>
                    <a:lnTo>
                      <a:pt x="391" y="46"/>
                    </a:lnTo>
                    <a:lnTo>
                      <a:pt x="393" y="46"/>
                    </a:lnTo>
                    <a:lnTo>
                      <a:pt x="394" y="48"/>
                    </a:lnTo>
                    <a:lnTo>
                      <a:pt x="396" y="48"/>
                    </a:lnTo>
                    <a:lnTo>
                      <a:pt x="396" y="49"/>
                    </a:lnTo>
                    <a:lnTo>
                      <a:pt x="398" y="49"/>
                    </a:lnTo>
                    <a:lnTo>
                      <a:pt x="398" y="51"/>
                    </a:lnTo>
                    <a:lnTo>
                      <a:pt x="400" y="51"/>
                    </a:lnTo>
                    <a:lnTo>
                      <a:pt x="400" y="53"/>
                    </a:lnTo>
                    <a:lnTo>
                      <a:pt x="401" y="53"/>
                    </a:lnTo>
                    <a:lnTo>
                      <a:pt x="401" y="54"/>
                    </a:lnTo>
                    <a:lnTo>
                      <a:pt x="403" y="54"/>
                    </a:lnTo>
                    <a:lnTo>
                      <a:pt x="405" y="54"/>
                    </a:lnTo>
                    <a:lnTo>
                      <a:pt x="405" y="56"/>
                    </a:lnTo>
                    <a:lnTo>
                      <a:pt x="406" y="56"/>
                    </a:lnTo>
                    <a:lnTo>
                      <a:pt x="406" y="58"/>
                    </a:lnTo>
                    <a:lnTo>
                      <a:pt x="408" y="58"/>
                    </a:lnTo>
                    <a:lnTo>
                      <a:pt x="408" y="59"/>
                    </a:lnTo>
                    <a:lnTo>
                      <a:pt x="410" y="59"/>
                    </a:lnTo>
                    <a:lnTo>
                      <a:pt x="410" y="61"/>
                    </a:lnTo>
                    <a:lnTo>
                      <a:pt x="411" y="61"/>
                    </a:lnTo>
                    <a:lnTo>
                      <a:pt x="413" y="61"/>
                    </a:lnTo>
                    <a:lnTo>
                      <a:pt x="415" y="61"/>
                    </a:lnTo>
                    <a:lnTo>
                      <a:pt x="415" y="63"/>
                    </a:lnTo>
                    <a:lnTo>
                      <a:pt x="417" y="63"/>
                    </a:lnTo>
                    <a:lnTo>
                      <a:pt x="417" y="65"/>
                    </a:lnTo>
                    <a:lnTo>
                      <a:pt x="418" y="65"/>
                    </a:lnTo>
                    <a:lnTo>
                      <a:pt x="420" y="65"/>
                    </a:lnTo>
                    <a:lnTo>
                      <a:pt x="420" y="66"/>
                    </a:lnTo>
                    <a:lnTo>
                      <a:pt x="422" y="66"/>
                    </a:lnTo>
                    <a:lnTo>
                      <a:pt x="422" y="68"/>
                    </a:lnTo>
                    <a:lnTo>
                      <a:pt x="422" y="70"/>
                    </a:lnTo>
                    <a:lnTo>
                      <a:pt x="423" y="70"/>
                    </a:lnTo>
                    <a:lnTo>
                      <a:pt x="423" y="71"/>
                    </a:lnTo>
                    <a:lnTo>
                      <a:pt x="425" y="73"/>
                    </a:lnTo>
                    <a:lnTo>
                      <a:pt x="425" y="75"/>
                    </a:lnTo>
                    <a:lnTo>
                      <a:pt x="427" y="75"/>
                    </a:lnTo>
                    <a:lnTo>
                      <a:pt x="427" y="73"/>
                    </a:lnTo>
                    <a:lnTo>
                      <a:pt x="428" y="75"/>
                    </a:lnTo>
                    <a:lnTo>
                      <a:pt x="430" y="76"/>
                    </a:lnTo>
                    <a:lnTo>
                      <a:pt x="432" y="76"/>
                    </a:lnTo>
                    <a:lnTo>
                      <a:pt x="434" y="76"/>
                    </a:lnTo>
                    <a:lnTo>
                      <a:pt x="435" y="76"/>
                    </a:lnTo>
                    <a:lnTo>
                      <a:pt x="435" y="78"/>
                    </a:lnTo>
                    <a:lnTo>
                      <a:pt x="437" y="78"/>
                    </a:lnTo>
                    <a:lnTo>
                      <a:pt x="439" y="78"/>
                    </a:lnTo>
                    <a:lnTo>
                      <a:pt x="439" y="80"/>
                    </a:lnTo>
                    <a:lnTo>
                      <a:pt x="440" y="80"/>
                    </a:lnTo>
                    <a:lnTo>
                      <a:pt x="442" y="80"/>
                    </a:lnTo>
                    <a:lnTo>
                      <a:pt x="444" y="80"/>
                    </a:lnTo>
                    <a:lnTo>
                      <a:pt x="445" y="80"/>
                    </a:lnTo>
                    <a:lnTo>
                      <a:pt x="445" y="82"/>
                    </a:lnTo>
                    <a:lnTo>
                      <a:pt x="447" y="82"/>
                    </a:lnTo>
                    <a:lnTo>
                      <a:pt x="449" y="83"/>
                    </a:lnTo>
                    <a:lnTo>
                      <a:pt x="451" y="83"/>
                    </a:lnTo>
                    <a:lnTo>
                      <a:pt x="452" y="83"/>
                    </a:lnTo>
                    <a:lnTo>
                      <a:pt x="454" y="83"/>
                    </a:lnTo>
                    <a:lnTo>
                      <a:pt x="456" y="82"/>
                    </a:lnTo>
                    <a:lnTo>
                      <a:pt x="457" y="82"/>
                    </a:lnTo>
                    <a:lnTo>
                      <a:pt x="466" y="87"/>
                    </a:lnTo>
                    <a:lnTo>
                      <a:pt x="473" y="92"/>
                    </a:lnTo>
                    <a:lnTo>
                      <a:pt x="476" y="93"/>
                    </a:lnTo>
                    <a:lnTo>
                      <a:pt x="478" y="95"/>
                    </a:lnTo>
                    <a:lnTo>
                      <a:pt x="478" y="97"/>
                    </a:lnTo>
                    <a:lnTo>
                      <a:pt x="479" y="97"/>
                    </a:lnTo>
                    <a:lnTo>
                      <a:pt x="481" y="99"/>
                    </a:lnTo>
                    <a:lnTo>
                      <a:pt x="483" y="100"/>
                    </a:lnTo>
                    <a:lnTo>
                      <a:pt x="485" y="100"/>
                    </a:lnTo>
                    <a:lnTo>
                      <a:pt x="485" y="102"/>
                    </a:lnTo>
                    <a:lnTo>
                      <a:pt x="486" y="102"/>
                    </a:lnTo>
                    <a:lnTo>
                      <a:pt x="488" y="104"/>
                    </a:lnTo>
                    <a:lnTo>
                      <a:pt x="490" y="104"/>
                    </a:lnTo>
                    <a:lnTo>
                      <a:pt x="491" y="105"/>
                    </a:lnTo>
                    <a:lnTo>
                      <a:pt x="493" y="105"/>
                    </a:lnTo>
                    <a:lnTo>
                      <a:pt x="495" y="107"/>
                    </a:lnTo>
                    <a:lnTo>
                      <a:pt x="496" y="107"/>
                    </a:lnTo>
                    <a:lnTo>
                      <a:pt x="496" y="109"/>
                    </a:lnTo>
                    <a:lnTo>
                      <a:pt x="498" y="109"/>
                    </a:lnTo>
                    <a:lnTo>
                      <a:pt x="498" y="110"/>
                    </a:lnTo>
                    <a:lnTo>
                      <a:pt x="500" y="110"/>
                    </a:lnTo>
                    <a:lnTo>
                      <a:pt x="502" y="110"/>
                    </a:lnTo>
                    <a:lnTo>
                      <a:pt x="503" y="110"/>
                    </a:lnTo>
                    <a:lnTo>
                      <a:pt x="503" y="112"/>
                    </a:lnTo>
                    <a:lnTo>
                      <a:pt x="505" y="112"/>
                    </a:lnTo>
                    <a:lnTo>
                      <a:pt x="507" y="112"/>
                    </a:lnTo>
                    <a:lnTo>
                      <a:pt x="508" y="112"/>
                    </a:lnTo>
                    <a:lnTo>
                      <a:pt x="510" y="112"/>
                    </a:lnTo>
                    <a:lnTo>
                      <a:pt x="510" y="114"/>
                    </a:lnTo>
                    <a:lnTo>
                      <a:pt x="512" y="114"/>
                    </a:lnTo>
                    <a:lnTo>
                      <a:pt x="512" y="116"/>
                    </a:lnTo>
                    <a:lnTo>
                      <a:pt x="513" y="116"/>
                    </a:lnTo>
                    <a:lnTo>
                      <a:pt x="513" y="117"/>
                    </a:lnTo>
                    <a:lnTo>
                      <a:pt x="515" y="117"/>
                    </a:lnTo>
                    <a:lnTo>
                      <a:pt x="515" y="119"/>
                    </a:lnTo>
                    <a:lnTo>
                      <a:pt x="515" y="117"/>
                    </a:lnTo>
                    <a:lnTo>
                      <a:pt x="517" y="117"/>
                    </a:lnTo>
                    <a:lnTo>
                      <a:pt x="517" y="116"/>
                    </a:lnTo>
                    <a:lnTo>
                      <a:pt x="519" y="116"/>
                    </a:lnTo>
                    <a:lnTo>
                      <a:pt x="520" y="117"/>
                    </a:lnTo>
                    <a:lnTo>
                      <a:pt x="522" y="117"/>
                    </a:lnTo>
                    <a:lnTo>
                      <a:pt x="522" y="119"/>
                    </a:lnTo>
                    <a:lnTo>
                      <a:pt x="524" y="119"/>
                    </a:lnTo>
                    <a:lnTo>
                      <a:pt x="524" y="121"/>
                    </a:lnTo>
                    <a:lnTo>
                      <a:pt x="525" y="119"/>
                    </a:lnTo>
                    <a:lnTo>
                      <a:pt x="525" y="121"/>
                    </a:lnTo>
                    <a:lnTo>
                      <a:pt x="525" y="119"/>
                    </a:lnTo>
                    <a:lnTo>
                      <a:pt x="525" y="121"/>
                    </a:lnTo>
                    <a:lnTo>
                      <a:pt x="525" y="119"/>
                    </a:lnTo>
                    <a:lnTo>
                      <a:pt x="527" y="121"/>
                    </a:lnTo>
                    <a:lnTo>
                      <a:pt x="529" y="121"/>
                    </a:lnTo>
                    <a:lnTo>
                      <a:pt x="530" y="121"/>
                    </a:lnTo>
                    <a:lnTo>
                      <a:pt x="532" y="122"/>
                    </a:lnTo>
                    <a:lnTo>
                      <a:pt x="532" y="124"/>
                    </a:lnTo>
                    <a:lnTo>
                      <a:pt x="534" y="124"/>
                    </a:lnTo>
                    <a:lnTo>
                      <a:pt x="534" y="126"/>
                    </a:lnTo>
                    <a:lnTo>
                      <a:pt x="536" y="126"/>
                    </a:lnTo>
                    <a:lnTo>
                      <a:pt x="534" y="126"/>
                    </a:lnTo>
                    <a:lnTo>
                      <a:pt x="536" y="127"/>
                    </a:lnTo>
                    <a:lnTo>
                      <a:pt x="536" y="129"/>
                    </a:lnTo>
                    <a:lnTo>
                      <a:pt x="537" y="129"/>
                    </a:lnTo>
                    <a:lnTo>
                      <a:pt x="536" y="129"/>
                    </a:lnTo>
                    <a:lnTo>
                      <a:pt x="536" y="131"/>
                    </a:lnTo>
                    <a:lnTo>
                      <a:pt x="537" y="131"/>
                    </a:lnTo>
                    <a:lnTo>
                      <a:pt x="537" y="133"/>
                    </a:lnTo>
                    <a:lnTo>
                      <a:pt x="539" y="133"/>
                    </a:lnTo>
                    <a:lnTo>
                      <a:pt x="541" y="133"/>
                    </a:lnTo>
                    <a:lnTo>
                      <a:pt x="541" y="134"/>
                    </a:lnTo>
                    <a:lnTo>
                      <a:pt x="541" y="136"/>
                    </a:lnTo>
                    <a:lnTo>
                      <a:pt x="541" y="138"/>
                    </a:lnTo>
                    <a:lnTo>
                      <a:pt x="541" y="139"/>
                    </a:lnTo>
                    <a:lnTo>
                      <a:pt x="539" y="139"/>
                    </a:lnTo>
                    <a:lnTo>
                      <a:pt x="539" y="141"/>
                    </a:lnTo>
                    <a:lnTo>
                      <a:pt x="537" y="141"/>
                    </a:lnTo>
                    <a:lnTo>
                      <a:pt x="537" y="143"/>
                    </a:lnTo>
                    <a:lnTo>
                      <a:pt x="536" y="143"/>
                    </a:lnTo>
                    <a:lnTo>
                      <a:pt x="534" y="144"/>
                    </a:lnTo>
                    <a:lnTo>
                      <a:pt x="536" y="144"/>
                    </a:lnTo>
                    <a:lnTo>
                      <a:pt x="536" y="146"/>
                    </a:lnTo>
                    <a:lnTo>
                      <a:pt x="534" y="146"/>
                    </a:lnTo>
                    <a:lnTo>
                      <a:pt x="532" y="146"/>
                    </a:lnTo>
                    <a:lnTo>
                      <a:pt x="532" y="148"/>
                    </a:lnTo>
                    <a:lnTo>
                      <a:pt x="534" y="148"/>
                    </a:lnTo>
                    <a:lnTo>
                      <a:pt x="534" y="150"/>
                    </a:lnTo>
                    <a:lnTo>
                      <a:pt x="532" y="150"/>
                    </a:lnTo>
                    <a:lnTo>
                      <a:pt x="530" y="150"/>
                    </a:lnTo>
                    <a:lnTo>
                      <a:pt x="530" y="151"/>
                    </a:lnTo>
                    <a:lnTo>
                      <a:pt x="532" y="153"/>
                    </a:lnTo>
                    <a:lnTo>
                      <a:pt x="530" y="153"/>
                    </a:lnTo>
                    <a:lnTo>
                      <a:pt x="530" y="155"/>
                    </a:lnTo>
                    <a:lnTo>
                      <a:pt x="530" y="156"/>
                    </a:lnTo>
                    <a:lnTo>
                      <a:pt x="529" y="156"/>
                    </a:lnTo>
                    <a:lnTo>
                      <a:pt x="529" y="158"/>
                    </a:lnTo>
                    <a:lnTo>
                      <a:pt x="527" y="158"/>
                    </a:lnTo>
                    <a:lnTo>
                      <a:pt x="527" y="160"/>
                    </a:lnTo>
                    <a:lnTo>
                      <a:pt x="525" y="160"/>
                    </a:lnTo>
                    <a:lnTo>
                      <a:pt x="524" y="160"/>
                    </a:lnTo>
                    <a:lnTo>
                      <a:pt x="524" y="161"/>
                    </a:lnTo>
                    <a:lnTo>
                      <a:pt x="522" y="161"/>
                    </a:lnTo>
                    <a:lnTo>
                      <a:pt x="522" y="163"/>
                    </a:lnTo>
                    <a:lnTo>
                      <a:pt x="520" y="163"/>
                    </a:lnTo>
                    <a:lnTo>
                      <a:pt x="522" y="163"/>
                    </a:lnTo>
                    <a:lnTo>
                      <a:pt x="522" y="165"/>
                    </a:lnTo>
                    <a:lnTo>
                      <a:pt x="520" y="165"/>
                    </a:lnTo>
                    <a:lnTo>
                      <a:pt x="520" y="167"/>
                    </a:lnTo>
                    <a:lnTo>
                      <a:pt x="520" y="168"/>
                    </a:lnTo>
                    <a:lnTo>
                      <a:pt x="520" y="170"/>
                    </a:lnTo>
                    <a:lnTo>
                      <a:pt x="519" y="170"/>
                    </a:lnTo>
                    <a:lnTo>
                      <a:pt x="519" y="172"/>
                    </a:lnTo>
                    <a:lnTo>
                      <a:pt x="520" y="172"/>
                    </a:lnTo>
                    <a:lnTo>
                      <a:pt x="520" y="173"/>
                    </a:lnTo>
                    <a:lnTo>
                      <a:pt x="519" y="173"/>
                    </a:lnTo>
                    <a:lnTo>
                      <a:pt x="519" y="175"/>
                    </a:lnTo>
                    <a:lnTo>
                      <a:pt x="519" y="177"/>
                    </a:lnTo>
                    <a:lnTo>
                      <a:pt x="520" y="177"/>
                    </a:lnTo>
                    <a:lnTo>
                      <a:pt x="520" y="178"/>
                    </a:lnTo>
                    <a:lnTo>
                      <a:pt x="519" y="178"/>
                    </a:lnTo>
                    <a:lnTo>
                      <a:pt x="520" y="180"/>
                    </a:lnTo>
                    <a:lnTo>
                      <a:pt x="519" y="180"/>
                    </a:lnTo>
                    <a:lnTo>
                      <a:pt x="517" y="180"/>
                    </a:lnTo>
                    <a:lnTo>
                      <a:pt x="517" y="182"/>
                    </a:lnTo>
                    <a:lnTo>
                      <a:pt x="519" y="184"/>
                    </a:lnTo>
                    <a:lnTo>
                      <a:pt x="517" y="184"/>
                    </a:lnTo>
                    <a:lnTo>
                      <a:pt x="517" y="185"/>
                    </a:lnTo>
                    <a:lnTo>
                      <a:pt x="515" y="185"/>
                    </a:lnTo>
                    <a:lnTo>
                      <a:pt x="515" y="187"/>
                    </a:lnTo>
                    <a:lnTo>
                      <a:pt x="515" y="189"/>
                    </a:lnTo>
                    <a:lnTo>
                      <a:pt x="513" y="189"/>
                    </a:lnTo>
                    <a:lnTo>
                      <a:pt x="513" y="190"/>
                    </a:lnTo>
                    <a:lnTo>
                      <a:pt x="512" y="190"/>
                    </a:lnTo>
                    <a:lnTo>
                      <a:pt x="510" y="190"/>
                    </a:lnTo>
                    <a:lnTo>
                      <a:pt x="510" y="192"/>
                    </a:lnTo>
                    <a:lnTo>
                      <a:pt x="510" y="194"/>
                    </a:lnTo>
                    <a:lnTo>
                      <a:pt x="508" y="194"/>
                    </a:lnTo>
                    <a:lnTo>
                      <a:pt x="510" y="196"/>
                    </a:lnTo>
                    <a:lnTo>
                      <a:pt x="508" y="196"/>
                    </a:lnTo>
                    <a:lnTo>
                      <a:pt x="507" y="196"/>
                    </a:lnTo>
                    <a:lnTo>
                      <a:pt x="508" y="196"/>
                    </a:lnTo>
                    <a:lnTo>
                      <a:pt x="507" y="197"/>
                    </a:lnTo>
                    <a:lnTo>
                      <a:pt x="508" y="197"/>
                    </a:lnTo>
                    <a:lnTo>
                      <a:pt x="507" y="197"/>
                    </a:lnTo>
                    <a:lnTo>
                      <a:pt x="505" y="197"/>
                    </a:lnTo>
                    <a:lnTo>
                      <a:pt x="505" y="199"/>
                    </a:lnTo>
                    <a:lnTo>
                      <a:pt x="503" y="199"/>
                    </a:lnTo>
                    <a:lnTo>
                      <a:pt x="503" y="201"/>
                    </a:lnTo>
                    <a:lnTo>
                      <a:pt x="505" y="201"/>
                    </a:lnTo>
                    <a:lnTo>
                      <a:pt x="505" y="202"/>
                    </a:lnTo>
                    <a:lnTo>
                      <a:pt x="507" y="202"/>
                    </a:lnTo>
                    <a:lnTo>
                      <a:pt x="507" y="204"/>
                    </a:lnTo>
                    <a:lnTo>
                      <a:pt x="505" y="204"/>
                    </a:lnTo>
                    <a:lnTo>
                      <a:pt x="505" y="206"/>
                    </a:lnTo>
                    <a:lnTo>
                      <a:pt x="507" y="206"/>
                    </a:lnTo>
                    <a:lnTo>
                      <a:pt x="507" y="204"/>
                    </a:lnTo>
                    <a:lnTo>
                      <a:pt x="508" y="204"/>
                    </a:lnTo>
                    <a:lnTo>
                      <a:pt x="510" y="204"/>
                    </a:lnTo>
                    <a:lnTo>
                      <a:pt x="512" y="204"/>
                    </a:lnTo>
                    <a:lnTo>
                      <a:pt x="513" y="204"/>
                    </a:lnTo>
                    <a:lnTo>
                      <a:pt x="515" y="204"/>
                    </a:lnTo>
                    <a:lnTo>
                      <a:pt x="517" y="204"/>
                    </a:lnTo>
                    <a:lnTo>
                      <a:pt x="519" y="204"/>
                    </a:lnTo>
                    <a:lnTo>
                      <a:pt x="520" y="204"/>
                    </a:lnTo>
                    <a:lnTo>
                      <a:pt x="522" y="204"/>
                    </a:lnTo>
                    <a:lnTo>
                      <a:pt x="524" y="204"/>
                    </a:lnTo>
                    <a:lnTo>
                      <a:pt x="525" y="204"/>
                    </a:lnTo>
                    <a:lnTo>
                      <a:pt x="527" y="204"/>
                    </a:lnTo>
                    <a:lnTo>
                      <a:pt x="529" y="204"/>
                    </a:lnTo>
                    <a:lnTo>
                      <a:pt x="530" y="204"/>
                    </a:lnTo>
                    <a:lnTo>
                      <a:pt x="532" y="206"/>
                    </a:lnTo>
                    <a:lnTo>
                      <a:pt x="534" y="206"/>
                    </a:lnTo>
                    <a:lnTo>
                      <a:pt x="536" y="206"/>
                    </a:lnTo>
                    <a:lnTo>
                      <a:pt x="537" y="206"/>
                    </a:lnTo>
                    <a:lnTo>
                      <a:pt x="537" y="207"/>
                    </a:lnTo>
                    <a:lnTo>
                      <a:pt x="539" y="207"/>
                    </a:lnTo>
                    <a:lnTo>
                      <a:pt x="541" y="209"/>
                    </a:lnTo>
                    <a:lnTo>
                      <a:pt x="542" y="209"/>
                    </a:lnTo>
                    <a:lnTo>
                      <a:pt x="542" y="211"/>
                    </a:lnTo>
                    <a:lnTo>
                      <a:pt x="544" y="211"/>
                    </a:lnTo>
                    <a:lnTo>
                      <a:pt x="546" y="211"/>
                    </a:lnTo>
                    <a:lnTo>
                      <a:pt x="546" y="209"/>
                    </a:lnTo>
                    <a:lnTo>
                      <a:pt x="547" y="209"/>
                    </a:lnTo>
                    <a:lnTo>
                      <a:pt x="549" y="209"/>
                    </a:lnTo>
                    <a:lnTo>
                      <a:pt x="551" y="211"/>
                    </a:lnTo>
                    <a:lnTo>
                      <a:pt x="553" y="211"/>
                    </a:lnTo>
                    <a:lnTo>
                      <a:pt x="554" y="211"/>
                    </a:lnTo>
                    <a:lnTo>
                      <a:pt x="556" y="213"/>
                    </a:lnTo>
                    <a:lnTo>
                      <a:pt x="558" y="213"/>
                    </a:lnTo>
                    <a:lnTo>
                      <a:pt x="559" y="213"/>
                    </a:lnTo>
                    <a:lnTo>
                      <a:pt x="559" y="211"/>
                    </a:lnTo>
                    <a:lnTo>
                      <a:pt x="561" y="211"/>
                    </a:lnTo>
                    <a:lnTo>
                      <a:pt x="561" y="209"/>
                    </a:lnTo>
                    <a:lnTo>
                      <a:pt x="563" y="209"/>
                    </a:lnTo>
                    <a:lnTo>
                      <a:pt x="564" y="209"/>
                    </a:lnTo>
                    <a:lnTo>
                      <a:pt x="564" y="211"/>
                    </a:lnTo>
                    <a:lnTo>
                      <a:pt x="566" y="211"/>
                    </a:lnTo>
                    <a:lnTo>
                      <a:pt x="568" y="213"/>
                    </a:lnTo>
                    <a:lnTo>
                      <a:pt x="570" y="213"/>
                    </a:lnTo>
                    <a:lnTo>
                      <a:pt x="570" y="211"/>
                    </a:lnTo>
                    <a:lnTo>
                      <a:pt x="571" y="211"/>
                    </a:lnTo>
                    <a:lnTo>
                      <a:pt x="573" y="211"/>
                    </a:lnTo>
                    <a:lnTo>
                      <a:pt x="575" y="211"/>
                    </a:lnTo>
                    <a:lnTo>
                      <a:pt x="576" y="211"/>
                    </a:lnTo>
                    <a:lnTo>
                      <a:pt x="576" y="213"/>
                    </a:lnTo>
                    <a:lnTo>
                      <a:pt x="578" y="213"/>
                    </a:lnTo>
                    <a:lnTo>
                      <a:pt x="578" y="214"/>
                    </a:lnTo>
                    <a:lnTo>
                      <a:pt x="581" y="216"/>
                    </a:lnTo>
                    <a:lnTo>
                      <a:pt x="581" y="214"/>
                    </a:lnTo>
                    <a:lnTo>
                      <a:pt x="583" y="214"/>
                    </a:lnTo>
                    <a:lnTo>
                      <a:pt x="583" y="213"/>
                    </a:lnTo>
                    <a:lnTo>
                      <a:pt x="585" y="211"/>
                    </a:lnTo>
                    <a:lnTo>
                      <a:pt x="583" y="211"/>
                    </a:lnTo>
                    <a:lnTo>
                      <a:pt x="583" y="209"/>
                    </a:lnTo>
                    <a:lnTo>
                      <a:pt x="585" y="209"/>
                    </a:lnTo>
                    <a:lnTo>
                      <a:pt x="587" y="209"/>
                    </a:lnTo>
                    <a:lnTo>
                      <a:pt x="587" y="207"/>
                    </a:lnTo>
                    <a:lnTo>
                      <a:pt x="588" y="206"/>
                    </a:lnTo>
                    <a:lnTo>
                      <a:pt x="590" y="206"/>
                    </a:lnTo>
                    <a:lnTo>
                      <a:pt x="592" y="206"/>
                    </a:lnTo>
                    <a:lnTo>
                      <a:pt x="593" y="206"/>
                    </a:lnTo>
                    <a:lnTo>
                      <a:pt x="595" y="207"/>
                    </a:lnTo>
                    <a:lnTo>
                      <a:pt x="597" y="206"/>
                    </a:lnTo>
                    <a:lnTo>
                      <a:pt x="598" y="207"/>
                    </a:lnTo>
                    <a:lnTo>
                      <a:pt x="598" y="209"/>
                    </a:lnTo>
                    <a:lnTo>
                      <a:pt x="600" y="209"/>
                    </a:lnTo>
                    <a:lnTo>
                      <a:pt x="600" y="211"/>
                    </a:lnTo>
                    <a:lnTo>
                      <a:pt x="602" y="211"/>
                    </a:lnTo>
                    <a:lnTo>
                      <a:pt x="604" y="209"/>
                    </a:lnTo>
                    <a:lnTo>
                      <a:pt x="604" y="207"/>
                    </a:lnTo>
                    <a:lnTo>
                      <a:pt x="605" y="207"/>
                    </a:lnTo>
                    <a:lnTo>
                      <a:pt x="607" y="207"/>
                    </a:lnTo>
                    <a:lnTo>
                      <a:pt x="607" y="206"/>
                    </a:lnTo>
                    <a:lnTo>
                      <a:pt x="607" y="204"/>
                    </a:lnTo>
                    <a:lnTo>
                      <a:pt x="609" y="204"/>
                    </a:lnTo>
                    <a:lnTo>
                      <a:pt x="609" y="202"/>
                    </a:lnTo>
                    <a:lnTo>
                      <a:pt x="607" y="202"/>
                    </a:lnTo>
                    <a:lnTo>
                      <a:pt x="607" y="201"/>
                    </a:lnTo>
                    <a:lnTo>
                      <a:pt x="607" y="199"/>
                    </a:lnTo>
                    <a:lnTo>
                      <a:pt x="609" y="201"/>
                    </a:lnTo>
                    <a:lnTo>
                      <a:pt x="609" y="199"/>
                    </a:lnTo>
                    <a:lnTo>
                      <a:pt x="609" y="197"/>
                    </a:lnTo>
                    <a:lnTo>
                      <a:pt x="610" y="197"/>
                    </a:lnTo>
                    <a:lnTo>
                      <a:pt x="612" y="197"/>
                    </a:lnTo>
                    <a:lnTo>
                      <a:pt x="612" y="196"/>
                    </a:lnTo>
                    <a:lnTo>
                      <a:pt x="612" y="194"/>
                    </a:lnTo>
                    <a:lnTo>
                      <a:pt x="614" y="194"/>
                    </a:lnTo>
                    <a:lnTo>
                      <a:pt x="615" y="192"/>
                    </a:lnTo>
                    <a:lnTo>
                      <a:pt x="617" y="192"/>
                    </a:lnTo>
                    <a:lnTo>
                      <a:pt x="619" y="190"/>
                    </a:lnTo>
                    <a:lnTo>
                      <a:pt x="621" y="192"/>
                    </a:lnTo>
                    <a:lnTo>
                      <a:pt x="622" y="192"/>
                    </a:lnTo>
                    <a:lnTo>
                      <a:pt x="622" y="190"/>
                    </a:lnTo>
                    <a:lnTo>
                      <a:pt x="622" y="189"/>
                    </a:lnTo>
                    <a:lnTo>
                      <a:pt x="624" y="187"/>
                    </a:lnTo>
                    <a:lnTo>
                      <a:pt x="626" y="185"/>
                    </a:lnTo>
                    <a:lnTo>
                      <a:pt x="627" y="185"/>
                    </a:lnTo>
                    <a:lnTo>
                      <a:pt x="629" y="185"/>
                    </a:lnTo>
                    <a:lnTo>
                      <a:pt x="629" y="184"/>
                    </a:lnTo>
                    <a:lnTo>
                      <a:pt x="629" y="182"/>
                    </a:lnTo>
                    <a:lnTo>
                      <a:pt x="631" y="180"/>
                    </a:lnTo>
                    <a:lnTo>
                      <a:pt x="632" y="180"/>
                    </a:lnTo>
                    <a:lnTo>
                      <a:pt x="632" y="182"/>
                    </a:lnTo>
                    <a:lnTo>
                      <a:pt x="634" y="180"/>
                    </a:lnTo>
                    <a:lnTo>
                      <a:pt x="634" y="178"/>
                    </a:lnTo>
                    <a:lnTo>
                      <a:pt x="634" y="177"/>
                    </a:lnTo>
                    <a:lnTo>
                      <a:pt x="634" y="175"/>
                    </a:lnTo>
                    <a:lnTo>
                      <a:pt x="636" y="175"/>
                    </a:lnTo>
                    <a:lnTo>
                      <a:pt x="636" y="173"/>
                    </a:lnTo>
                    <a:lnTo>
                      <a:pt x="638" y="173"/>
                    </a:lnTo>
                    <a:lnTo>
                      <a:pt x="638" y="172"/>
                    </a:lnTo>
                    <a:lnTo>
                      <a:pt x="638" y="170"/>
                    </a:lnTo>
                    <a:lnTo>
                      <a:pt x="638" y="168"/>
                    </a:lnTo>
                    <a:lnTo>
                      <a:pt x="639" y="168"/>
                    </a:lnTo>
                    <a:lnTo>
                      <a:pt x="639" y="167"/>
                    </a:lnTo>
                    <a:lnTo>
                      <a:pt x="638" y="165"/>
                    </a:lnTo>
                    <a:lnTo>
                      <a:pt x="639" y="165"/>
                    </a:lnTo>
                    <a:lnTo>
                      <a:pt x="641" y="165"/>
                    </a:lnTo>
                    <a:lnTo>
                      <a:pt x="641" y="163"/>
                    </a:lnTo>
                    <a:lnTo>
                      <a:pt x="639" y="163"/>
                    </a:lnTo>
                    <a:lnTo>
                      <a:pt x="639" y="161"/>
                    </a:lnTo>
                    <a:lnTo>
                      <a:pt x="639" y="160"/>
                    </a:lnTo>
                    <a:lnTo>
                      <a:pt x="639" y="158"/>
                    </a:lnTo>
                    <a:lnTo>
                      <a:pt x="638" y="156"/>
                    </a:lnTo>
                    <a:lnTo>
                      <a:pt x="639" y="155"/>
                    </a:lnTo>
                    <a:lnTo>
                      <a:pt x="641" y="155"/>
                    </a:lnTo>
                    <a:lnTo>
                      <a:pt x="641" y="153"/>
                    </a:lnTo>
                    <a:lnTo>
                      <a:pt x="641" y="151"/>
                    </a:lnTo>
                    <a:lnTo>
                      <a:pt x="641" y="150"/>
                    </a:lnTo>
                    <a:lnTo>
                      <a:pt x="641" y="148"/>
                    </a:lnTo>
                    <a:lnTo>
                      <a:pt x="639" y="148"/>
                    </a:lnTo>
                    <a:lnTo>
                      <a:pt x="639" y="146"/>
                    </a:lnTo>
                    <a:lnTo>
                      <a:pt x="639" y="144"/>
                    </a:lnTo>
                    <a:lnTo>
                      <a:pt x="639" y="143"/>
                    </a:lnTo>
                    <a:lnTo>
                      <a:pt x="641" y="143"/>
                    </a:lnTo>
                    <a:lnTo>
                      <a:pt x="641" y="141"/>
                    </a:lnTo>
                    <a:lnTo>
                      <a:pt x="643" y="141"/>
                    </a:lnTo>
                    <a:lnTo>
                      <a:pt x="643" y="139"/>
                    </a:lnTo>
                    <a:lnTo>
                      <a:pt x="643" y="141"/>
                    </a:lnTo>
                    <a:lnTo>
                      <a:pt x="644" y="141"/>
                    </a:lnTo>
                    <a:lnTo>
                      <a:pt x="646" y="143"/>
                    </a:lnTo>
                    <a:lnTo>
                      <a:pt x="646" y="144"/>
                    </a:lnTo>
                    <a:lnTo>
                      <a:pt x="648" y="144"/>
                    </a:lnTo>
                    <a:lnTo>
                      <a:pt x="646" y="143"/>
                    </a:lnTo>
                    <a:lnTo>
                      <a:pt x="648" y="143"/>
                    </a:lnTo>
                    <a:lnTo>
                      <a:pt x="648" y="141"/>
                    </a:lnTo>
                    <a:lnTo>
                      <a:pt x="649" y="141"/>
                    </a:lnTo>
                    <a:lnTo>
                      <a:pt x="649" y="139"/>
                    </a:lnTo>
                    <a:lnTo>
                      <a:pt x="651" y="139"/>
                    </a:lnTo>
                    <a:lnTo>
                      <a:pt x="653" y="141"/>
                    </a:lnTo>
                    <a:lnTo>
                      <a:pt x="653" y="139"/>
                    </a:lnTo>
                    <a:lnTo>
                      <a:pt x="655" y="139"/>
                    </a:lnTo>
                    <a:lnTo>
                      <a:pt x="655" y="138"/>
                    </a:lnTo>
                    <a:lnTo>
                      <a:pt x="656" y="138"/>
                    </a:lnTo>
                    <a:lnTo>
                      <a:pt x="658" y="136"/>
                    </a:lnTo>
                    <a:lnTo>
                      <a:pt x="658" y="138"/>
                    </a:lnTo>
                    <a:lnTo>
                      <a:pt x="658" y="139"/>
                    </a:lnTo>
                    <a:lnTo>
                      <a:pt x="656" y="139"/>
                    </a:lnTo>
                    <a:lnTo>
                      <a:pt x="658" y="141"/>
                    </a:lnTo>
                    <a:lnTo>
                      <a:pt x="658" y="139"/>
                    </a:lnTo>
                    <a:lnTo>
                      <a:pt x="660" y="139"/>
                    </a:lnTo>
                    <a:lnTo>
                      <a:pt x="661" y="139"/>
                    </a:lnTo>
                    <a:lnTo>
                      <a:pt x="661" y="141"/>
                    </a:lnTo>
                    <a:lnTo>
                      <a:pt x="663" y="141"/>
                    </a:lnTo>
                    <a:lnTo>
                      <a:pt x="661" y="141"/>
                    </a:lnTo>
                    <a:lnTo>
                      <a:pt x="663" y="141"/>
                    </a:lnTo>
                    <a:lnTo>
                      <a:pt x="663" y="143"/>
                    </a:lnTo>
                    <a:lnTo>
                      <a:pt x="663" y="141"/>
                    </a:lnTo>
                    <a:lnTo>
                      <a:pt x="665" y="141"/>
                    </a:lnTo>
                    <a:lnTo>
                      <a:pt x="665" y="143"/>
                    </a:lnTo>
                    <a:lnTo>
                      <a:pt x="665" y="141"/>
                    </a:lnTo>
                    <a:lnTo>
                      <a:pt x="665" y="143"/>
                    </a:lnTo>
                    <a:lnTo>
                      <a:pt x="666" y="143"/>
                    </a:lnTo>
                    <a:lnTo>
                      <a:pt x="666" y="144"/>
                    </a:lnTo>
                    <a:lnTo>
                      <a:pt x="665" y="144"/>
                    </a:lnTo>
                    <a:lnTo>
                      <a:pt x="666" y="144"/>
                    </a:lnTo>
                    <a:lnTo>
                      <a:pt x="665" y="144"/>
                    </a:lnTo>
                    <a:lnTo>
                      <a:pt x="666" y="144"/>
                    </a:lnTo>
                    <a:lnTo>
                      <a:pt x="666" y="146"/>
                    </a:lnTo>
                    <a:lnTo>
                      <a:pt x="666" y="148"/>
                    </a:lnTo>
                    <a:lnTo>
                      <a:pt x="668" y="150"/>
                    </a:lnTo>
                    <a:lnTo>
                      <a:pt x="666" y="150"/>
                    </a:lnTo>
                    <a:lnTo>
                      <a:pt x="666" y="151"/>
                    </a:lnTo>
                    <a:lnTo>
                      <a:pt x="668" y="151"/>
                    </a:lnTo>
                    <a:lnTo>
                      <a:pt x="666" y="153"/>
                    </a:lnTo>
                    <a:lnTo>
                      <a:pt x="668" y="153"/>
                    </a:lnTo>
                    <a:lnTo>
                      <a:pt x="666" y="153"/>
                    </a:lnTo>
                    <a:lnTo>
                      <a:pt x="666" y="155"/>
                    </a:lnTo>
                    <a:lnTo>
                      <a:pt x="668" y="155"/>
                    </a:lnTo>
                    <a:lnTo>
                      <a:pt x="668" y="156"/>
                    </a:lnTo>
                    <a:lnTo>
                      <a:pt x="670" y="158"/>
                    </a:lnTo>
                    <a:lnTo>
                      <a:pt x="670" y="160"/>
                    </a:lnTo>
                    <a:lnTo>
                      <a:pt x="672" y="161"/>
                    </a:lnTo>
                    <a:lnTo>
                      <a:pt x="673" y="163"/>
                    </a:lnTo>
                    <a:lnTo>
                      <a:pt x="673" y="165"/>
                    </a:lnTo>
                    <a:lnTo>
                      <a:pt x="673" y="167"/>
                    </a:lnTo>
                    <a:lnTo>
                      <a:pt x="673" y="168"/>
                    </a:lnTo>
                    <a:lnTo>
                      <a:pt x="672" y="168"/>
                    </a:lnTo>
                    <a:lnTo>
                      <a:pt x="672" y="170"/>
                    </a:lnTo>
                    <a:lnTo>
                      <a:pt x="672" y="172"/>
                    </a:lnTo>
                    <a:lnTo>
                      <a:pt x="672" y="173"/>
                    </a:lnTo>
                    <a:lnTo>
                      <a:pt x="672" y="175"/>
                    </a:lnTo>
                    <a:lnTo>
                      <a:pt x="670" y="175"/>
                    </a:lnTo>
                    <a:lnTo>
                      <a:pt x="672" y="175"/>
                    </a:lnTo>
                    <a:lnTo>
                      <a:pt x="670" y="177"/>
                    </a:lnTo>
                    <a:lnTo>
                      <a:pt x="672" y="177"/>
                    </a:lnTo>
                    <a:lnTo>
                      <a:pt x="670" y="177"/>
                    </a:lnTo>
                    <a:lnTo>
                      <a:pt x="670" y="178"/>
                    </a:lnTo>
                    <a:lnTo>
                      <a:pt x="670" y="180"/>
                    </a:lnTo>
                    <a:lnTo>
                      <a:pt x="672" y="180"/>
                    </a:lnTo>
                    <a:lnTo>
                      <a:pt x="670" y="182"/>
                    </a:lnTo>
                    <a:lnTo>
                      <a:pt x="672" y="182"/>
                    </a:lnTo>
                    <a:lnTo>
                      <a:pt x="670" y="182"/>
                    </a:lnTo>
                    <a:lnTo>
                      <a:pt x="670" y="184"/>
                    </a:lnTo>
                    <a:lnTo>
                      <a:pt x="670" y="182"/>
                    </a:lnTo>
                    <a:lnTo>
                      <a:pt x="670" y="184"/>
                    </a:lnTo>
                    <a:lnTo>
                      <a:pt x="672" y="184"/>
                    </a:lnTo>
                    <a:lnTo>
                      <a:pt x="670" y="185"/>
                    </a:lnTo>
                    <a:lnTo>
                      <a:pt x="672" y="185"/>
                    </a:lnTo>
                    <a:lnTo>
                      <a:pt x="672" y="187"/>
                    </a:lnTo>
                    <a:lnTo>
                      <a:pt x="673" y="189"/>
                    </a:lnTo>
                    <a:lnTo>
                      <a:pt x="672" y="189"/>
                    </a:lnTo>
                    <a:lnTo>
                      <a:pt x="672" y="190"/>
                    </a:lnTo>
                    <a:lnTo>
                      <a:pt x="672" y="192"/>
                    </a:lnTo>
                    <a:lnTo>
                      <a:pt x="672" y="190"/>
                    </a:lnTo>
                    <a:lnTo>
                      <a:pt x="672" y="192"/>
                    </a:lnTo>
                    <a:lnTo>
                      <a:pt x="670" y="192"/>
                    </a:lnTo>
                    <a:lnTo>
                      <a:pt x="672" y="194"/>
                    </a:lnTo>
                    <a:lnTo>
                      <a:pt x="670" y="194"/>
                    </a:lnTo>
                    <a:lnTo>
                      <a:pt x="670" y="196"/>
                    </a:lnTo>
                    <a:lnTo>
                      <a:pt x="668" y="194"/>
                    </a:lnTo>
                    <a:lnTo>
                      <a:pt x="668" y="196"/>
                    </a:lnTo>
                    <a:lnTo>
                      <a:pt x="670" y="196"/>
                    </a:lnTo>
                    <a:lnTo>
                      <a:pt x="668" y="196"/>
                    </a:lnTo>
                    <a:lnTo>
                      <a:pt x="668" y="197"/>
                    </a:lnTo>
                    <a:lnTo>
                      <a:pt x="668" y="196"/>
                    </a:lnTo>
                    <a:lnTo>
                      <a:pt x="668" y="197"/>
                    </a:lnTo>
                    <a:lnTo>
                      <a:pt x="668" y="199"/>
                    </a:lnTo>
                    <a:lnTo>
                      <a:pt x="666" y="199"/>
                    </a:lnTo>
                    <a:lnTo>
                      <a:pt x="668" y="199"/>
                    </a:lnTo>
                    <a:lnTo>
                      <a:pt x="666" y="199"/>
                    </a:lnTo>
                    <a:lnTo>
                      <a:pt x="666" y="201"/>
                    </a:lnTo>
                    <a:lnTo>
                      <a:pt x="666" y="199"/>
                    </a:lnTo>
                    <a:lnTo>
                      <a:pt x="665" y="199"/>
                    </a:lnTo>
                    <a:lnTo>
                      <a:pt x="665" y="201"/>
                    </a:lnTo>
                    <a:lnTo>
                      <a:pt x="663" y="199"/>
                    </a:lnTo>
                    <a:lnTo>
                      <a:pt x="663" y="201"/>
                    </a:lnTo>
                    <a:lnTo>
                      <a:pt x="661" y="201"/>
                    </a:lnTo>
                    <a:lnTo>
                      <a:pt x="661" y="202"/>
                    </a:lnTo>
                    <a:lnTo>
                      <a:pt x="660" y="202"/>
                    </a:lnTo>
                    <a:lnTo>
                      <a:pt x="660" y="204"/>
                    </a:lnTo>
                    <a:lnTo>
                      <a:pt x="658" y="204"/>
                    </a:lnTo>
                    <a:lnTo>
                      <a:pt x="658" y="206"/>
                    </a:lnTo>
                    <a:lnTo>
                      <a:pt x="656" y="206"/>
                    </a:lnTo>
                    <a:lnTo>
                      <a:pt x="656" y="204"/>
                    </a:lnTo>
                    <a:lnTo>
                      <a:pt x="655" y="204"/>
                    </a:lnTo>
                    <a:lnTo>
                      <a:pt x="655" y="206"/>
                    </a:lnTo>
                    <a:lnTo>
                      <a:pt x="655" y="207"/>
                    </a:lnTo>
                    <a:lnTo>
                      <a:pt x="653" y="209"/>
                    </a:lnTo>
                    <a:lnTo>
                      <a:pt x="653" y="211"/>
                    </a:lnTo>
                    <a:lnTo>
                      <a:pt x="651" y="211"/>
                    </a:lnTo>
                    <a:lnTo>
                      <a:pt x="651" y="209"/>
                    </a:lnTo>
                    <a:lnTo>
                      <a:pt x="649" y="209"/>
                    </a:lnTo>
                    <a:lnTo>
                      <a:pt x="649" y="211"/>
                    </a:lnTo>
                    <a:lnTo>
                      <a:pt x="648" y="211"/>
                    </a:lnTo>
                    <a:lnTo>
                      <a:pt x="648" y="209"/>
                    </a:lnTo>
                    <a:lnTo>
                      <a:pt x="646" y="209"/>
                    </a:lnTo>
                    <a:lnTo>
                      <a:pt x="646" y="211"/>
                    </a:lnTo>
                    <a:lnTo>
                      <a:pt x="646" y="213"/>
                    </a:lnTo>
                    <a:lnTo>
                      <a:pt x="644" y="213"/>
                    </a:lnTo>
                    <a:lnTo>
                      <a:pt x="643" y="213"/>
                    </a:lnTo>
                    <a:lnTo>
                      <a:pt x="643" y="211"/>
                    </a:lnTo>
                    <a:lnTo>
                      <a:pt x="641" y="211"/>
                    </a:lnTo>
                    <a:lnTo>
                      <a:pt x="641" y="213"/>
                    </a:lnTo>
                    <a:lnTo>
                      <a:pt x="641" y="214"/>
                    </a:lnTo>
                    <a:lnTo>
                      <a:pt x="639" y="214"/>
                    </a:lnTo>
                    <a:lnTo>
                      <a:pt x="639" y="213"/>
                    </a:lnTo>
                    <a:lnTo>
                      <a:pt x="638" y="213"/>
                    </a:lnTo>
                    <a:lnTo>
                      <a:pt x="638" y="214"/>
                    </a:lnTo>
                    <a:lnTo>
                      <a:pt x="639" y="214"/>
                    </a:lnTo>
                    <a:lnTo>
                      <a:pt x="638" y="216"/>
                    </a:lnTo>
                    <a:lnTo>
                      <a:pt x="638" y="214"/>
                    </a:lnTo>
                    <a:lnTo>
                      <a:pt x="636" y="214"/>
                    </a:lnTo>
                    <a:lnTo>
                      <a:pt x="636" y="216"/>
                    </a:lnTo>
                    <a:lnTo>
                      <a:pt x="634" y="216"/>
                    </a:lnTo>
                    <a:lnTo>
                      <a:pt x="634" y="214"/>
                    </a:lnTo>
                    <a:lnTo>
                      <a:pt x="632" y="216"/>
                    </a:lnTo>
                    <a:lnTo>
                      <a:pt x="632" y="218"/>
                    </a:lnTo>
                    <a:lnTo>
                      <a:pt x="631" y="218"/>
                    </a:lnTo>
                    <a:lnTo>
                      <a:pt x="631" y="219"/>
                    </a:lnTo>
                    <a:lnTo>
                      <a:pt x="631" y="221"/>
                    </a:lnTo>
                    <a:lnTo>
                      <a:pt x="631" y="223"/>
                    </a:lnTo>
                    <a:lnTo>
                      <a:pt x="629" y="223"/>
                    </a:lnTo>
                    <a:lnTo>
                      <a:pt x="627" y="223"/>
                    </a:lnTo>
                    <a:lnTo>
                      <a:pt x="627" y="224"/>
                    </a:lnTo>
                    <a:lnTo>
                      <a:pt x="626" y="223"/>
                    </a:lnTo>
                    <a:lnTo>
                      <a:pt x="624" y="223"/>
                    </a:lnTo>
                    <a:lnTo>
                      <a:pt x="624" y="224"/>
                    </a:lnTo>
                    <a:lnTo>
                      <a:pt x="626" y="224"/>
                    </a:lnTo>
                    <a:lnTo>
                      <a:pt x="627" y="224"/>
                    </a:lnTo>
                    <a:lnTo>
                      <a:pt x="626" y="226"/>
                    </a:lnTo>
                    <a:lnTo>
                      <a:pt x="624" y="226"/>
                    </a:lnTo>
                    <a:lnTo>
                      <a:pt x="624" y="228"/>
                    </a:lnTo>
                    <a:lnTo>
                      <a:pt x="622" y="228"/>
                    </a:lnTo>
                    <a:lnTo>
                      <a:pt x="622" y="226"/>
                    </a:lnTo>
                    <a:lnTo>
                      <a:pt x="621" y="226"/>
                    </a:lnTo>
                    <a:lnTo>
                      <a:pt x="621" y="228"/>
                    </a:lnTo>
                    <a:lnTo>
                      <a:pt x="619" y="228"/>
                    </a:lnTo>
                    <a:lnTo>
                      <a:pt x="619" y="230"/>
                    </a:lnTo>
                    <a:lnTo>
                      <a:pt x="617" y="228"/>
                    </a:lnTo>
                    <a:lnTo>
                      <a:pt x="615" y="230"/>
                    </a:lnTo>
                    <a:lnTo>
                      <a:pt x="615" y="231"/>
                    </a:lnTo>
                    <a:lnTo>
                      <a:pt x="614" y="231"/>
                    </a:lnTo>
                    <a:lnTo>
                      <a:pt x="615" y="233"/>
                    </a:lnTo>
                    <a:lnTo>
                      <a:pt x="614" y="233"/>
                    </a:lnTo>
                    <a:lnTo>
                      <a:pt x="612" y="235"/>
                    </a:lnTo>
                    <a:lnTo>
                      <a:pt x="610" y="235"/>
                    </a:lnTo>
                    <a:lnTo>
                      <a:pt x="610" y="236"/>
                    </a:lnTo>
                    <a:lnTo>
                      <a:pt x="609" y="236"/>
                    </a:lnTo>
                    <a:lnTo>
                      <a:pt x="609" y="238"/>
                    </a:lnTo>
                    <a:lnTo>
                      <a:pt x="607" y="238"/>
                    </a:lnTo>
                    <a:lnTo>
                      <a:pt x="607" y="236"/>
                    </a:lnTo>
                    <a:lnTo>
                      <a:pt x="607" y="238"/>
                    </a:lnTo>
                    <a:lnTo>
                      <a:pt x="605" y="238"/>
                    </a:lnTo>
                    <a:lnTo>
                      <a:pt x="605" y="240"/>
                    </a:lnTo>
                    <a:lnTo>
                      <a:pt x="604" y="240"/>
                    </a:lnTo>
                    <a:lnTo>
                      <a:pt x="602" y="240"/>
                    </a:lnTo>
                    <a:lnTo>
                      <a:pt x="602" y="241"/>
                    </a:lnTo>
                    <a:lnTo>
                      <a:pt x="602" y="243"/>
                    </a:lnTo>
                    <a:lnTo>
                      <a:pt x="604" y="243"/>
                    </a:lnTo>
                    <a:lnTo>
                      <a:pt x="605" y="243"/>
                    </a:lnTo>
                    <a:lnTo>
                      <a:pt x="605" y="245"/>
                    </a:lnTo>
                    <a:lnTo>
                      <a:pt x="604" y="247"/>
                    </a:lnTo>
                    <a:lnTo>
                      <a:pt x="604" y="248"/>
                    </a:lnTo>
                    <a:lnTo>
                      <a:pt x="604" y="247"/>
                    </a:lnTo>
                    <a:lnTo>
                      <a:pt x="602" y="245"/>
                    </a:lnTo>
                    <a:lnTo>
                      <a:pt x="600" y="245"/>
                    </a:lnTo>
                    <a:lnTo>
                      <a:pt x="598" y="245"/>
                    </a:lnTo>
                    <a:lnTo>
                      <a:pt x="597" y="247"/>
                    </a:lnTo>
                    <a:lnTo>
                      <a:pt x="597" y="248"/>
                    </a:lnTo>
                    <a:lnTo>
                      <a:pt x="598" y="250"/>
                    </a:lnTo>
                    <a:lnTo>
                      <a:pt x="597" y="250"/>
                    </a:lnTo>
                    <a:lnTo>
                      <a:pt x="595" y="250"/>
                    </a:lnTo>
                    <a:lnTo>
                      <a:pt x="593" y="250"/>
                    </a:lnTo>
                    <a:lnTo>
                      <a:pt x="593" y="252"/>
                    </a:lnTo>
                    <a:lnTo>
                      <a:pt x="593" y="253"/>
                    </a:lnTo>
                    <a:lnTo>
                      <a:pt x="593" y="255"/>
                    </a:lnTo>
                    <a:lnTo>
                      <a:pt x="592" y="255"/>
                    </a:lnTo>
                    <a:lnTo>
                      <a:pt x="592" y="257"/>
                    </a:lnTo>
                    <a:lnTo>
                      <a:pt x="590" y="257"/>
                    </a:lnTo>
                    <a:lnTo>
                      <a:pt x="590" y="258"/>
                    </a:lnTo>
                    <a:lnTo>
                      <a:pt x="588" y="258"/>
                    </a:lnTo>
                    <a:lnTo>
                      <a:pt x="588" y="260"/>
                    </a:lnTo>
                    <a:lnTo>
                      <a:pt x="587" y="262"/>
                    </a:lnTo>
                    <a:lnTo>
                      <a:pt x="585" y="262"/>
                    </a:lnTo>
                    <a:lnTo>
                      <a:pt x="583" y="262"/>
                    </a:lnTo>
                    <a:lnTo>
                      <a:pt x="583" y="264"/>
                    </a:lnTo>
                    <a:lnTo>
                      <a:pt x="583" y="265"/>
                    </a:lnTo>
                    <a:lnTo>
                      <a:pt x="583" y="267"/>
                    </a:lnTo>
                    <a:lnTo>
                      <a:pt x="581" y="267"/>
                    </a:lnTo>
                    <a:lnTo>
                      <a:pt x="581" y="269"/>
                    </a:lnTo>
                    <a:lnTo>
                      <a:pt x="580" y="269"/>
                    </a:lnTo>
                    <a:lnTo>
                      <a:pt x="580" y="270"/>
                    </a:lnTo>
                    <a:lnTo>
                      <a:pt x="580" y="272"/>
                    </a:lnTo>
                    <a:lnTo>
                      <a:pt x="580" y="274"/>
                    </a:lnTo>
                    <a:lnTo>
                      <a:pt x="576" y="274"/>
                    </a:lnTo>
                    <a:lnTo>
                      <a:pt x="575" y="274"/>
                    </a:lnTo>
                    <a:lnTo>
                      <a:pt x="575" y="275"/>
                    </a:lnTo>
                    <a:lnTo>
                      <a:pt x="573" y="275"/>
                    </a:lnTo>
                    <a:lnTo>
                      <a:pt x="573" y="277"/>
                    </a:lnTo>
                    <a:lnTo>
                      <a:pt x="571" y="277"/>
                    </a:lnTo>
                    <a:lnTo>
                      <a:pt x="571" y="279"/>
                    </a:lnTo>
                    <a:lnTo>
                      <a:pt x="571" y="281"/>
                    </a:lnTo>
                    <a:lnTo>
                      <a:pt x="570" y="284"/>
                    </a:lnTo>
                    <a:lnTo>
                      <a:pt x="568" y="284"/>
                    </a:lnTo>
                    <a:lnTo>
                      <a:pt x="568" y="286"/>
                    </a:lnTo>
                    <a:lnTo>
                      <a:pt x="568" y="287"/>
                    </a:lnTo>
                    <a:lnTo>
                      <a:pt x="566" y="287"/>
                    </a:lnTo>
                    <a:lnTo>
                      <a:pt x="566" y="289"/>
                    </a:lnTo>
                    <a:lnTo>
                      <a:pt x="564" y="289"/>
                    </a:lnTo>
                    <a:lnTo>
                      <a:pt x="564" y="291"/>
                    </a:lnTo>
                    <a:lnTo>
                      <a:pt x="563" y="291"/>
                    </a:lnTo>
                    <a:lnTo>
                      <a:pt x="563" y="292"/>
                    </a:lnTo>
                    <a:lnTo>
                      <a:pt x="561" y="292"/>
                    </a:lnTo>
                    <a:lnTo>
                      <a:pt x="561" y="294"/>
                    </a:lnTo>
                    <a:lnTo>
                      <a:pt x="561" y="296"/>
                    </a:lnTo>
                    <a:lnTo>
                      <a:pt x="559" y="296"/>
                    </a:lnTo>
                    <a:lnTo>
                      <a:pt x="559" y="298"/>
                    </a:lnTo>
                    <a:lnTo>
                      <a:pt x="558" y="298"/>
                    </a:lnTo>
                    <a:lnTo>
                      <a:pt x="558" y="299"/>
                    </a:lnTo>
                    <a:lnTo>
                      <a:pt x="556" y="299"/>
                    </a:lnTo>
                    <a:lnTo>
                      <a:pt x="554" y="301"/>
                    </a:lnTo>
                    <a:lnTo>
                      <a:pt x="553" y="299"/>
                    </a:lnTo>
                    <a:lnTo>
                      <a:pt x="553" y="301"/>
                    </a:lnTo>
                    <a:lnTo>
                      <a:pt x="551" y="301"/>
                    </a:lnTo>
                    <a:lnTo>
                      <a:pt x="549" y="303"/>
                    </a:lnTo>
                    <a:lnTo>
                      <a:pt x="549" y="304"/>
                    </a:lnTo>
                    <a:lnTo>
                      <a:pt x="549" y="306"/>
                    </a:lnTo>
                    <a:lnTo>
                      <a:pt x="549" y="308"/>
                    </a:lnTo>
                    <a:lnTo>
                      <a:pt x="549" y="309"/>
                    </a:lnTo>
                    <a:lnTo>
                      <a:pt x="547" y="309"/>
                    </a:lnTo>
                    <a:lnTo>
                      <a:pt x="546" y="309"/>
                    </a:lnTo>
                    <a:lnTo>
                      <a:pt x="546" y="311"/>
                    </a:lnTo>
                    <a:lnTo>
                      <a:pt x="544" y="311"/>
                    </a:lnTo>
                    <a:lnTo>
                      <a:pt x="544" y="313"/>
                    </a:lnTo>
                    <a:lnTo>
                      <a:pt x="542" y="315"/>
                    </a:lnTo>
                    <a:lnTo>
                      <a:pt x="541" y="316"/>
                    </a:lnTo>
                    <a:lnTo>
                      <a:pt x="539" y="316"/>
                    </a:lnTo>
                    <a:lnTo>
                      <a:pt x="537" y="316"/>
                    </a:lnTo>
                    <a:lnTo>
                      <a:pt x="539" y="316"/>
                    </a:lnTo>
                    <a:lnTo>
                      <a:pt x="539" y="318"/>
                    </a:lnTo>
                    <a:lnTo>
                      <a:pt x="539" y="320"/>
                    </a:lnTo>
                    <a:lnTo>
                      <a:pt x="539" y="321"/>
                    </a:lnTo>
                    <a:lnTo>
                      <a:pt x="539" y="323"/>
                    </a:lnTo>
                    <a:lnTo>
                      <a:pt x="537" y="323"/>
                    </a:lnTo>
                    <a:lnTo>
                      <a:pt x="536" y="325"/>
                    </a:lnTo>
                    <a:lnTo>
                      <a:pt x="534" y="325"/>
                    </a:lnTo>
                    <a:lnTo>
                      <a:pt x="534" y="326"/>
                    </a:lnTo>
                    <a:lnTo>
                      <a:pt x="532" y="326"/>
                    </a:lnTo>
                    <a:lnTo>
                      <a:pt x="530" y="326"/>
                    </a:lnTo>
                    <a:lnTo>
                      <a:pt x="530" y="328"/>
                    </a:lnTo>
                    <a:lnTo>
                      <a:pt x="530" y="330"/>
                    </a:lnTo>
                    <a:lnTo>
                      <a:pt x="530" y="332"/>
                    </a:lnTo>
                    <a:lnTo>
                      <a:pt x="532" y="333"/>
                    </a:lnTo>
                    <a:lnTo>
                      <a:pt x="532" y="335"/>
                    </a:lnTo>
                    <a:lnTo>
                      <a:pt x="532" y="337"/>
                    </a:lnTo>
                    <a:lnTo>
                      <a:pt x="532" y="338"/>
                    </a:lnTo>
                    <a:lnTo>
                      <a:pt x="532" y="340"/>
                    </a:lnTo>
                    <a:lnTo>
                      <a:pt x="532" y="344"/>
                    </a:lnTo>
                    <a:lnTo>
                      <a:pt x="532" y="345"/>
                    </a:lnTo>
                    <a:lnTo>
                      <a:pt x="530" y="345"/>
                    </a:lnTo>
                    <a:lnTo>
                      <a:pt x="529" y="345"/>
                    </a:lnTo>
                    <a:lnTo>
                      <a:pt x="529" y="347"/>
                    </a:lnTo>
                    <a:lnTo>
                      <a:pt x="530" y="347"/>
                    </a:lnTo>
                    <a:lnTo>
                      <a:pt x="530" y="349"/>
                    </a:lnTo>
                    <a:lnTo>
                      <a:pt x="530" y="350"/>
                    </a:lnTo>
                    <a:lnTo>
                      <a:pt x="530" y="352"/>
                    </a:lnTo>
                    <a:lnTo>
                      <a:pt x="529" y="352"/>
                    </a:lnTo>
                    <a:lnTo>
                      <a:pt x="529" y="354"/>
                    </a:lnTo>
                    <a:lnTo>
                      <a:pt x="529" y="355"/>
                    </a:lnTo>
                    <a:lnTo>
                      <a:pt x="529" y="357"/>
                    </a:lnTo>
                    <a:lnTo>
                      <a:pt x="529" y="359"/>
                    </a:lnTo>
                    <a:lnTo>
                      <a:pt x="527" y="361"/>
                    </a:lnTo>
                    <a:lnTo>
                      <a:pt x="527" y="362"/>
                    </a:lnTo>
                    <a:lnTo>
                      <a:pt x="527" y="364"/>
                    </a:lnTo>
                    <a:lnTo>
                      <a:pt x="525" y="364"/>
                    </a:lnTo>
                    <a:lnTo>
                      <a:pt x="524" y="366"/>
                    </a:lnTo>
                    <a:lnTo>
                      <a:pt x="524" y="367"/>
                    </a:lnTo>
                    <a:lnTo>
                      <a:pt x="525" y="367"/>
                    </a:lnTo>
                    <a:lnTo>
                      <a:pt x="525" y="369"/>
                    </a:lnTo>
                    <a:lnTo>
                      <a:pt x="527" y="369"/>
                    </a:lnTo>
                    <a:lnTo>
                      <a:pt x="527" y="371"/>
                    </a:lnTo>
                    <a:lnTo>
                      <a:pt x="527" y="372"/>
                    </a:lnTo>
                    <a:lnTo>
                      <a:pt x="525" y="376"/>
                    </a:lnTo>
                    <a:lnTo>
                      <a:pt x="525" y="378"/>
                    </a:lnTo>
                    <a:lnTo>
                      <a:pt x="524" y="381"/>
                    </a:lnTo>
                    <a:lnTo>
                      <a:pt x="522" y="381"/>
                    </a:lnTo>
                    <a:lnTo>
                      <a:pt x="520" y="381"/>
                    </a:lnTo>
                    <a:lnTo>
                      <a:pt x="520" y="383"/>
                    </a:lnTo>
                    <a:lnTo>
                      <a:pt x="520" y="384"/>
                    </a:lnTo>
                    <a:lnTo>
                      <a:pt x="520" y="386"/>
                    </a:lnTo>
                    <a:lnTo>
                      <a:pt x="522" y="388"/>
                    </a:lnTo>
                    <a:lnTo>
                      <a:pt x="522" y="389"/>
                    </a:lnTo>
                    <a:lnTo>
                      <a:pt x="522" y="391"/>
                    </a:lnTo>
                    <a:lnTo>
                      <a:pt x="520" y="391"/>
                    </a:lnTo>
                    <a:lnTo>
                      <a:pt x="520" y="393"/>
                    </a:lnTo>
                    <a:lnTo>
                      <a:pt x="520" y="395"/>
                    </a:lnTo>
                    <a:lnTo>
                      <a:pt x="522" y="396"/>
                    </a:lnTo>
                    <a:lnTo>
                      <a:pt x="522" y="398"/>
                    </a:lnTo>
                    <a:lnTo>
                      <a:pt x="524" y="398"/>
                    </a:lnTo>
                    <a:lnTo>
                      <a:pt x="524" y="400"/>
                    </a:lnTo>
                    <a:lnTo>
                      <a:pt x="522" y="400"/>
                    </a:lnTo>
                    <a:lnTo>
                      <a:pt x="522" y="401"/>
                    </a:lnTo>
                    <a:lnTo>
                      <a:pt x="520" y="401"/>
                    </a:lnTo>
                    <a:lnTo>
                      <a:pt x="520" y="403"/>
                    </a:lnTo>
                    <a:lnTo>
                      <a:pt x="520" y="405"/>
                    </a:lnTo>
                    <a:lnTo>
                      <a:pt x="519" y="406"/>
                    </a:lnTo>
                    <a:lnTo>
                      <a:pt x="520" y="406"/>
                    </a:lnTo>
                    <a:lnTo>
                      <a:pt x="520" y="408"/>
                    </a:lnTo>
                    <a:lnTo>
                      <a:pt x="520" y="410"/>
                    </a:lnTo>
                    <a:lnTo>
                      <a:pt x="520" y="412"/>
                    </a:lnTo>
                    <a:lnTo>
                      <a:pt x="522" y="413"/>
                    </a:lnTo>
                    <a:lnTo>
                      <a:pt x="520" y="413"/>
                    </a:lnTo>
                    <a:lnTo>
                      <a:pt x="522" y="413"/>
                    </a:lnTo>
                    <a:lnTo>
                      <a:pt x="522" y="415"/>
                    </a:lnTo>
                    <a:lnTo>
                      <a:pt x="522" y="417"/>
                    </a:lnTo>
                    <a:lnTo>
                      <a:pt x="522" y="418"/>
                    </a:lnTo>
                    <a:lnTo>
                      <a:pt x="522" y="420"/>
                    </a:lnTo>
                    <a:lnTo>
                      <a:pt x="522" y="422"/>
                    </a:lnTo>
                    <a:lnTo>
                      <a:pt x="522" y="423"/>
                    </a:lnTo>
                    <a:lnTo>
                      <a:pt x="524" y="425"/>
                    </a:lnTo>
                    <a:lnTo>
                      <a:pt x="524" y="427"/>
                    </a:lnTo>
                    <a:lnTo>
                      <a:pt x="524" y="429"/>
                    </a:lnTo>
                    <a:lnTo>
                      <a:pt x="522" y="429"/>
                    </a:lnTo>
                    <a:lnTo>
                      <a:pt x="522" y="430"/>
                    </a:lnTo>
                    <a:lnTo>
                      <a:pt x="520" y="430"/>
                    </a:lnTo>
                    <a:lnTo>
                      <a:pt x="519" y="432"/>
                    </a:lnTo>
                    <a:lnTo>
                      <a:pt x="517" y="432"/>
                    </a:lnTo>
                    <a:lnTo>
                      <a:pt x="515" y="432"/>
                    </a:lnTo>
                    <a:lnTo>
                      <a:pt x="513" y="432"/>
                    </a:lnTo>
                    <a:lnTo>
                      <a:pt x="513" y="434"/>
                    </a:lnTo>
                    <a:lnTo>
                      <a:pt x="513" y="439"/>
                    </a:lnTo>
                    <a:lnTo>
                      <a:pt x="513" y="440"/>
                    </a:lnTo>
                    <a:lnTo>
                      <a:pt x="512" y="440"/>
                    </a:lnTo>
                    <a:lnTo>
                      <a:pt x="512" y="442"/>
                    </a:lnTo>
                    <a:lnTo>
                      <a:pt x="510" y="444"/>
                    </a:lnTo>
                    <a:lnTo>
                      <a:pt x="510" y="447"/>
                    </a:lnTo>
                    <a:lnTo>
                      <a:pt x="510" y="449"/>
                    </a:lnTo>
                    <a:lnTo>
                      <a:pt x="510" y="451"/>
                    </a:lnTo>
                    <a:lnTo>
                      <a:pt x="510" y="456"/>
                    </a:lnTo>
                    <a:lnTo>
                      <a:pt x="510" y="457"/>
                    </a:lnTo>
                    <a:lnTo>
                      <a:pt x="512" y="459"/>
                    </a:lnTo>
                    <a:lnTo>
                      <a:pt x="512" y="461"/>
                    </a:lnTo>
                    <a:lnTo>
                      <a:pt x="512" y="463"/>
                    </a:lnTo>
                    <a:lnTo>
                      <a:pt x="512" y="464"/>
                    </a:lnTo>
                    <a:lnTo>
                      <a:pt x="512" y="466"/>
                    </a:lnTo>
                    <a:lnTo>
                      <a:pt x="512" y="468"/>
                    </a:lnTo>
                    <a:lnTo>
                      <a:pt x="513" y="469"/>
                    </a:lnTo>
                    <a:lnTo>
                      <a:pt x="515" y="469"/>
                    </a:lnTo>
                    <a:lnTo>
                      <a:pt x="513" y="469"/>
                    </a:lnTo>
                    <a:lnTo>
                      <a:pt x="513" y="471"/>
                    </a:lnTo>
                    <a:lnTo>
                      <a:pt x="513" y="473"/>
                    </a:lnTo>
                    <a:lnTo>
                      <a:pt x="513" y="474"/>
                    </a:lnTo>
                    <a:lnTo>
                      <a:pt x="513" y="476"/>
                    </a:lnTo>
                    <a:lnTo>
                      <a:pt x="513" y="478"/>
                    </a:lnTo>
                    <a:lnTo>
                      <a:pt x="512" y="480"/>
                    </a:lnTo>
                    <a:lnTo>
                      <a:pt x="510" y="480"/>
                    </a:lnTo>
                    <a:lnTo>
                      <a:pt x="510" y="481"/>
                    </a:lnTo>
                    <a:lnTo>
                      <a:pt x="512" y="481"/>
                    </a:lnTo>
                    <a:lnTo>
                      <a:pt x="512" y="483"/>
                    </a:lnTo>
                    <a:lnTo>
                      <a:pt x="512" y="485"/>
                    </a:lnTo>
                    <a:lnTo>
                      <a:pt x="510" y="483"/>
                    </a:lnTo>
                    <a:lnTo>
                      <a:pt x="510" y="485"/>
                    </a:lnTo>
                    <a:lnTo>
                      <a:pt x="510" y="486"/>
                    </a:lnTo>
                    <a:lnTo>
                      <a:pt x="508" y="486"/>
                    </a:lnTo>
                    <a:lnTo>
                      <a:pt x="508" y="485"/>
                    </a:lnTo>
                    <a:lnTo>
                      <a:pt x="507" y="485"/>
                    </a:lnTo>
                    <a:lnTo>
                      <a:pt x="507" y="486"/>
                    </a:lnTo>
                    <a:lnTo>
                      <a:pt x="508" y="486"/>
                    </a:lnTo>
                    <a:lnTo>
                      <a:pt x="510" y="486"/>
                    </a:lnTo>
                    <a:lnTo>
                      <a:pt x="510" y="488"/>
                    </a:lnTo>
                    <a:lnTo>
                      <a:pt x="510" y="490"/>
                    </a:lnTo>
                    <a:lnTo>
                      <a:pt x="512" y="490"/>
                    </a:lnTo>
                    <a:lnTo>
                      <a:pt x="510" y="490"/>
                    </a:lnTo>
                    <a:lnTo>
                      <a:pt x="512" y="490"/>
                    </a:lnTo>
                    <a:lnTo>
                      <a:pt x="512" y="491"/>
                    </a:lnTo>
                    <a:lnTo>
                      <a:pt x="513" y="491"/>
                    </a:lnTo>
                    <a:lnTo>
                      <a:pt x="513" y="493"/>
                    </a:lnTo>
                    <a:lnTo>
                      <a:pt x="515" y="495"/>
                    </a:lnTo>
                    <a:lnTo>
                      <a:pt x="515" y="493"/>
                    </a:lnTo>
                    <a:lnTo>
                      <a:pt x="515" y="495"/>
                    </a:lnTo>
                    <a:lnTo>
                      <a:pt x="517" y="495"/>
                    </a:lnTo>
                    <a:lnTo>
                      <a:pt x="517" y="497"/>
                    </a:lnTo>
                    <a:lnTo>
                      <a:pt x="519" y="497"/>
                    </a:lnTo>
                    <a:lnTo>
                      <a:pt x="519" y="498"/>
                    </a:lnTo>
                    <a:lnTo>
                      <a:pt x="520" y="498"/>
                    </a:lnTo>
                    <a:lnTo>
                      <a:pt x="522" y="498"/>
                    </a:lnTo>
                    <a:lnTo>
                      <a:pt x="524" y="498"/>
                    </a:lnTo>
                    <a:lnTo>
                      <a:pt x="524" y="500"/>
                    </a:lnTo>
                    <a:lnTo>
                      <a:pt x="525" y="500"/>
                    </a:lnTo>
                    <a:lnTo>
                      <a:pt x="527" y="500"/>
                    </a:lnTo>
                    <a:lnTo>
                      <a:pt x="527" y="502"/>
                    </a:lnTo>
                    <a:lnTo>
                      <a:pt x="529" y="502"/>
                    </a:lnTo>
                    <a:lnTo>
                      <a:pt x="529" y="503"/>
                    </a:lnTo>
                    <a:lnTo>
                      <a:pt x="529" y="502"/>
                    </a:lnTo>
                    <a:lnTo>
                      <a:pt x="530" y="503"/>
                    </a:lnTo>
                    <a:lnTo>
                      <a:pt x="530" y="502"/>
                    </a:lnTo>
                    <a:lnTo>
                      <a:pt x="532" y="503"/>
                    </a:lnTo>
                    <a:lnTo>
                      <a:pt x="534" y="505"/>
                    </a:lnTo>
                    <a:lnTo>
                      <a:pt x="536" y="505"/>
                    </a:lnTo>
                    <a:lnTo>
                      <a:pt x="536" y="507"/>
                    </a:lnTo>
                    <a:lnTo>
                      <a:pt x="537" y="507"/>
                    </a:lnTo>
                    <a:lnTo>
                      <a:pt x="539" y="507"/>
                    </a:lnTo>
                    <a:lnTo>
                      <a:pt x="539" y="509"/>
                    </a:lnTo>
                    <a:lnTo>
                      <a:pt x="541" y="509"/>
                    </a:lnTo>
                    <a:lnTo>
                      <a:pt x="542" y="510"/>
                    </a:lnTo>
                    <a:lnTo>
                      <a:pt x="544" y="510"/>
                    </a:lnTo>
                    <a:lnTo>
                      <a:pt x="544" y="512"/>
                    </a:lnTo>
                    <a:lnTo>
                      <a:pt x="546" y="512"/>
                    </a:lnTo>
                    <a:lnTo>
                      <a:pt x="546" y="514"/>
                    </a:lnTo>
                    <a:lnTo>
                      <a:pt x="547" y="514"/>
                    </a:lnTo>
                    <a:lnTo>
                      <a:pt x="547" y="515"/>
                    </a:lnTo>
                    <a:lnTo>
                      <a:pt x="549" y="515"/>
                    </a:lnTo>
                    <a:lnTo>
                      <a:pt x="549" y="517"/>
                    </a:lnTo>
                    <a:lnTo>
                      <a:pt x="551" y="517"/>
                    </a:lnTo>
                    <a:lnTo>
                      <a:pt x="551" y="519"/>
                    </a:lnTo>
                    <a:lnTo>
                      <a:pt x="553" y="520"/>
                    </a:lnTo>
                    <a:lnTo>
                      <a:pt x="553" y="522"/>
                    </a:lnTo>
                    <a:lnTo>
                      <a:pt x="554" y="522"/>
                    </a:lnTo>
                    <a:lnTo>
                      <a:pt x="554" y="524"/>
                    </a:lnTo>
                    <a:lnTo>
                      <a:pt x="554" y="526"/>
                    </a:lnTo>
                    <a:lnTo>
                      <a:pt x="556" y="526"/>
                    </a:lnTo>
                    <a:lnTo>
                      <a:pt x="556" y="527"/>
                    </a:lnTo>
                    <a:lnTo>
                      <a:pt x="556" y="529"/>
                    </a:lnTo>
                    <a:lnTo>
                      <a:pt x="554" y="529"/>
                    </a:lnTo>
                    <a:lnTo>
                      <a:pt x="554" y="531"/>
                    </a:lnTo>
                    <a:lnTo>
                      <a:pt x="553" y="531"/>
                    </a:lnTo>
                    <a:lnTo>
                      <a:pt x="553" y="532"/>
                    </a:lnTo>
                    <a:lnTo>
                      <a:pt x="551" y="534"/>
                    </a:lnTo>
                    <a:lnTo>
                      <a:pt x="551" y="536"/>
                    </a:lnTo>
                    <a:lnTo>
                      <a:pt x="549" y="537"/>
                    </a:lnTo>
                    <a:lnTo>
                      <a:pt x="549" y="539"/>
                    </a:lnTo>
                    <a:lnTo>
                      <a:pt x="547" y="539"/>
                    </a:lnTo>
                    <a:lnTo>
                      <a:pt x="549" y="539"/>
                    </a:lnTo>
                    <a:lnTo>
                      <a:pt x="547" y="539"/>
                    </a:lnTo>
                    <a:lnTo>
                      <a:pt x="547" y="541"/>
                    </a:lnTo>
                    <a:lnTo>
                      <a:pt x="547" y="543"/>
                    </a:lnTo>
                    <a:lnTo>
                      <a:pt x="547" y="544"/>
                    </a:lnTo>
                    <a:lnTo>
                      <a:pt x="547" y="546"/>
                    </a:lnTo>
                    <a:lnTo>
                      <a:pt x="547" y="548"/>
                    </a:lnTo>
                    <a:lnTo>
                      <a:pt x="547" y="549"/>
                    </a:lnTo>
                    <a:lnTo>
                      <a:pt x="547" y="551"/>
                    </a:lnTo>
                    <a:lnTo>
                      <a:pt x="549" y="551"/>
                    </a:lnTo>
                    <a:lnTo>
                      <a:pt x="549" y="553"/>
                    </a:lnTo>
                    <a:lnTo>
                      <a:pt x="549" y="554"/>
                    </a:lnTo>
                    <a:lnTo>
                      <a:pt x="551" y="554"/>
                    </a:lnTo>
                    <a:lnTo>
                      <a:pt x="551" y="556"/>
                    </a:lnTo>
                    <a:lnTo>
                      <a:pt x="551" y="558"/>
                    </a:lnTo>
                    <a:lnTo>
                      <a:pt x="553" y="558"/>
                    </a:lnTo>
                    <a:lnTo>
                      <a:pt x="553" y="560"/>
                    </a:lnTo>
                    <a:lnTo>
                      <a:pt x="554" y="560"/>
                    </a:lnTo>
                    <a:lnTo>
                      <a:pt x="554" y="561"/>
                    </a:lnTo>
                    <a:lnTo>
                      <a:pt x="556" y="561"/>
                    </a:lnTo>
                    <a:lnTo>
                      <a:pt x="556" y="563"/>
                    </a:lnTo>
                    <a:lnTo>
                      <a:pt x="558" y="563"/>
                    </a:lnTo>
                    <a:lnTo>
                      <a:pt x="559" y="565"/>
                    </a:lnTo>
                    <a:lnTo>
                      <a:pt x="561" y="565"/>
                    </a:lnTo>
                    <a:lnTo>
                      <a:pt x="563" y="565"/>
                    </a:lnTo>
                    <a:lnTo>
                      <a:pt x="564" y="565"/>
                    </a:lnTo>
                    <a:lnTo>
                      <a:pt x="566" y="565"/>
                    </a:lnTo>
                    <a:lnTo>
                      <a:pt x="568" y="565"/>
                    </a:lnTo>
                    <a:lnTo>
                      <a:pt x="568" y="563"/>
                    </a:lnTo>
                    <a:lnTo>
                      <a:pt x="570" y="563"/>
                    </a:lnTo>
                    <a:lnTo>
                      <a:pt x="570" y="565"/>
                    </a:lnTo>
                    <a:lnTo>
                      <a:pt x="570" y="566"/>
                    </a:lnTo>
                    <a:lnTo>
                      <a:pt x="570" y="568"/>
                    </a:lnTo>
                    <a:lnTo>
                      <a:pt x="571" y="571"/>
                    </a:lnTo>
                    <a:lnTo>
                      <a:pt x="571" y="573"/>
                    </a:lnTo>
                    <a:lnTo>
                      <a:pt x="571" y="575"/>
                    </a:lnTo>
                    <a:lnTo>
                      <a:pt x="571" y="577"/>
                    </a:lnTo>
                    <a:lnTo>
                      <a:pt x="571" y="578"/>
                    </a:lnTo>
                    <a:lnTo>
                      <a:pt x="571" y="580"/>
                    </a:lnTo>
                    <a:lnTo>
                      <a:pt x="571" y="582"/>
                    </a:lnTo>
                    <a:lnTo>
                      <a:pt x="571" y="583"/>
                    </a:lnTo>
                    <a:lnTo>
                      <a:pt x="571" y="585"/>
                    </a:lnTo>
                    <a:lnTo>
                      <a:pt x="571" y="587"/>
                    </a:lnTo>
                    <a:lnTo>
                      <a:pt x="571" y="588"/>
                    </a:lnTo>
                    <a:lnTo>
                      <a:pt x="570" y="590"/>
                    </a:lnTo>
                    <a:lnTo>
                      <a:pt x="568" y="592"/>
                    </a:lnTo>
                    <a:lnTo>
                      <a:pt x="568" y="594"/>
                    </a:lnTo>
                    <a:lnTo>
                      <a:pt x="566" y="595"/>
                    </a:lnTo>
                    <a:lnTo>
                      <a:pt x="566" y="597"/>
                    </a:lnTo>
                    <a:lnTo>
                      <a:pt x="564" y="599"/>
                    </a:lnTo>
                    <a:lnTo>
                      <a:pt x="563" y="600"/>
                    </a:lnTo>
                    <a:lnTo>
                      <a:pt x="563" y="602"/>
                    </a:lnTo>
                    <a:lnTo>
                      <a:pt x="561" y="604"/>
                    </a:lnTo>
                    <a:lnTo>
                      <a:pt x="561" y="605"/>
                    </a:lnTo>
                    <a:lnTo>
                      <a:pt x="559" y="605"/>
                    </a:lnTo>
                    <a:lnTo>
                      <a:pt x="559" y="607"/>
                    </a:lnTo>
                    <a:lnTo>
                      <a:pt x="558" y="609"/>
                    </a:lnTo>
                    <a:lnTo>
                      <a:pt x="558" y="611"/>
                    </a:lnTo>
                    <a:lnTo>
                      <a:pt x="558" y="612"/>
                    </a:lnTo>
                    <a:lnTo>
                      <a:pt x="556" y="612"/>
                    </a:lnTo>
                    <a:lnTo>
                      <a:pt x="556" y="614"/>
                    </a:lnTo>
                    <a:lnTo>
                      <a:pt x="554" y="614"/>
                    </a:lnTo>
                    <a:lnTo>
                      <a:pt x="554" y="616"/>
                    </a:lnTo>
                    <a:lnTo>
                      <a:pt x="553" y="617"/>
                    </a:lnTo>
                    <a:lnTo>
                      <a:pt x="551" y="619"/>
                    </a:lnTo>
                    <a:lnTo>
                      <a:pt x="549" y="621"/>
                    </a:lnTo>
                    <a:lnTo>
                      <a:pt x="547" y="622"/>
                    </a:lnTo>
                    <a:lnTo>
                      <a:pt x="546" y="624"/>
                    </a:lnTo>
                    <a:lnTo>
                      <a:pt x="546" y="626"/>
                    </a:lnTo>
                    <a:lnTo>
                      <a:pt x="544" y="626"/>
                    </a:lnTo>
                    <a:lnTo>
                      <a:pt x="544" y="628"/>
                    </a:lnTo>
                    <a:lnTo>
                      <a:pt x="542" y="629"/>
                    </a:lnTo>
                    <a:lnTo>
                      <a:pt x="542" y="631"/>
                    </a:lnTo>
                    <a:lnTo>
                      <a:pt x="542" y="633"/>
                    </a:lnTo>
                    <a:lnTo>
                      <a:pt x="542" y="634"/>
                    </a:lnTo>
                    <a:lnTo>
                      <a:pt x="542" y="636"/>
                    </a:lnTo>
                    <a:lnTo>
                      <a:pt x="542" y="638"/>
                    </a:lnTo>
                    <a:lnTo>
                      <a:pt x="542" y="636"/>
                    </a:lnTo>
                    <a:lnTo>
                      <a:pt x="542" y="638"/>
                    </a:lnTo>
                    <a:lnTo>
                      <a:pt x="542" y="639"/>
                    </a:lnTo>
                    <a:lnTo>
                      <a:pt x="541" y="639"/>
                    </a:lnTo>
                    <a:lnTo>
                      <a:pt x="539" y="641"/>
                    </a:lnTo>
                    <a:lnTo>
                      <a:pt x="539" y="643"/>
                    </a:lnTo>
                    <a:lnTo>
                      <a:pt x="537" y="643"/>
                    </a:lnTo>
                    <a:lnTo>
                      <a:pt x="537" y="645"/>
                    </a:lnTo>
                    <a:lnTo>
                      <a:pt x="536" y="645"/>
                    </a:lnTo>
                    <a:lnTo>
                      <a:pt x="534" y="645"/>
                    </a:lnTo>
                    <a:lnTo>
                      <a:pt x="534" y="646"/>
                    </a:lnTo>
                    <a:lnTo>
                      <a:pt x="532" y="646"/>
                    </a:lnTo>
                    <a:lnTo>
                      <a:pt x="532" y="648"/>
                    </a:lnTo>
                    <a:lnTo>
                      <a:pt x="530" y="648"/>
                    </a:lnTo>
                    <a:lnTo>
                      <a:pt x="529" y="648"/>
                    </a:lnTo>
                    <a:lnTo>
                      <a:pt x="527" y="650"/>
                    </a:lnTo>
                    <a:lnTo>
                      <a:pt x="525" y="650"/>
                    </a:lnTo>
                    <a:lnTo>
                      <a:pt x="525" y="651"/>
                    </a:lnTo>
                    <a:lnTo>
                      <a:pt x="524" y="651"/>
                    </a:lnTo>
                    <a:lnTo>
                      <a:pt x="522" y="653"/>
                    </a:lnTo>
                    <a:lnTo>
                      <a:pt x="520" y="653"/>
                    </a:lnTo>
                    <a:lnTo>
                      <a:pt x="519" y="655"/>
                    </a:lnTo>
                    <a:lnTo>
                      <a:pt x="517" y="655"/>
                    </a:lnTo>
                    <a:lnTo>
                      <a:pt x="515" y="655"/>
                    </a:lnTo>
                    <a:lnTo>
                      <a:pt x="515" y="656"/>
                    </a:lnTo>
                    <a:lnTo>
                      <a:pt x="513" y="656"/>
                    </a:lnTo>
                    <a:lnTo>
                      <a:pt x="512" y="656"/>
                    </a:lnTo>
                    <a:lnTo>
                      <a:pt x="510" y="658"/>
                    </a:lnTo>
                    <a:lnTo>
                      <a:pt x="508" y="658"/>
                    </a:lnTo>
                    <a:lnTo>
                      <a:pt x="507" y="658"/>
                    </a:lnTo>
                    <a:lnTo>
                      <a:pt x="507" y="660"/>
                    </a:lnTo>
                    <a:lnTo>
                      <a:pt x="505" y="660"/>
                    </a:lnTo>
                    <a:lnTo>
                      <a:pt x="503" y="660"/>
                    </a:lnTo>
                    <a:lnTo>
                      <a:pt x="502" y="660"/>
                    </a:lnTo>
                    <a:lnTo>
                      <a:pt x="500" y="662"/>
                    </a:lnTo>
                    <a:lnTo>
                      <a:pt x="498" y="662"/>
                    </a:lnTo>
                    <a:lnTo>
                      <a:pt x="496" y="663"/>
                    </a:lnTo>
                    <a:lnTo>
                      <a:pt x="495" y="663"/>
                    </a:lnTo>
                    <a:lnTo>
                      <a:pt x="493" y="663"/>
                    </a:lnTo>
                    <a:lnTo>
                      <a:pt x="491" y="665"/>
                    </a:lnTo>
                    <a:lnTo>
                      <a:pt x="490" y="665"/>
                    </a:lnTo>
                    <a:lnTo>
                      <a:pt x="488" y="665"/>
                    </a:lnTo>
                    <a:lnTo>
                      <a:pt x="486" y="665"/>
                    </a:lnTo>
                    <a:lnTo>
                      <a:pt x="485" y="667"/>
                    </a:lnTo>
                    <a:lnTo>
                      <a:pt x="483" y="667"/>
                    </a:lnTo>
                    <a:lnTo>
                      <a:pt x="481" y="667"/>
                    </a:lnTo>
                    <a:lnTo>
                      <a:pt x="479" y="667"/>
                    </a:lnTo>
                    <a:lnTo>
                      <a:pt x="479" y="668"/>
                    </a:lnTo>
                    <a:lnTo>
                      <a:pt x="478" y="668"/>
                    </a:lnTo>
                    <a:lnTo>
                      <a:pt x="476" y="668"/>
                    </a:lnTo>
                    <a:lnTo>
                      <a:pt x="474" y="668"/>
                    </a:lnTo>
                    <a:lnTo>
                      <a:pt x="473" y="668"/>
                    </a:lnTo>
                    <a:lnTo>
                      <a:pt x="471" y="668"/>
                    </a:lnTo>
                    <a:lnTo>
                      <a:pt x="469" y="670"/>
                    </a:lnTo>
                    <a:lnTo>
                      <a:pt x="468" y="670"/>
                    </a:lnTo>
                    <a:lnTo>
                      <a:pt x="466" y="670"/>
                    </a:lnTo>
                    <a:lnTo>
                      <a:pt x="464" y="672"/>
                    </a:lnTo>
                    <a:lnTo>
                      <a:pt x="462" y="672"/>
                    </a:lnTo>
                    <a:lnTo>
                      <a:pt x="461" y="672"/>
                    </a:lnTo>
                    <a:lnTo>
                      <a:pt x="459" y="672"/>
                    </a:lnTo>
                    <a:lnTo>
                      <a:pt x="457" y="672"/>
                    </a:lnTo>
                    <a:lnTo>
                      <a:pt x="456" y="672"/>
                    </a:lnTo>
                    <a:lnTo>
                      <a:pt x="454" y="672"/>
                    </a:lnTo>
                    <a:lnTo>
                      <a:pt x="454" y="674"/>
                    </a:lnTo>
                    <a:lnTo>
                      <a:pt x="452" y="674"/>
                    </a:lnTo>
                    <a:lnTo>
                      <a:pt x="449" y="674"/>
                    </a:lnTo>
                    <a:lnTo>
                      <a:pt x="447" y="674"/>
                    </a:lnTo>
                    <a:lnTo>
                      <a:pt x="445" y="675"/>
                    </a:lnTo>
                    <a:lnTo>
                      <a:pt x="444" y="675"/>
                    </a:lnTo>
                    <a:lnTo>
                      <a:pt x="442" y="675"/>
                    </a:lnTo>
                    <a:lnTo>
                      <a:pt x="440" y="675"/>
                    </a:lnTo>
                    <a:lnTo>
                      <a:pt x="439" y="675"/>
                    </a:lnTo>
                    <a:lnTo>
                      <a:pt x="435" y="677"/>
                    </a:lnTo>
                    <a:lnTo>
                      <a:pt x="434" y="677"/>
                    </a:lnTo>
                    <a:lnTo>
                      <a:pt x="432" y="677"/>
                    </a:lnTo>
                    <a:lnTo>
                      <a:pt x="430" y="677"/>
                    </a:lnTo>
                    <a:lnTo>
                      <a:pt x="428" y="677"/>
                    </a:lnTo>
                    <a:lnTo>
                      <a:pt x="427" y="677"/>
                    </a:lnTo>
                    <a:lnTo>
                      <a:pt x="425" y="677"/>
                    </a:lnTo>
                    <a:lnTo>
                      <a:pt x="423" y="679"/>
                    </a:lnTo>
                    <a:lnTo>
                      <a:pt x="422" y="679"/>
                    </a:lnTo>
                    <a:lnTo>
                      <a:pt x="420" y="679"/>
                    </a:lnTo>
                    <a:lnTo>
                      <a:pt x="418" y="679"/>
                    </a:lnTo>
                    <a:lnTo>
                      <a:pt x="417" y="679"/>
                    </a:lnTo>
                    <a:lnTo>
                      <a:pt x="415" y="679"/>
                    </a:lnTo>
                    <a:lnTo>
                      <a:pt x="411" y="679"/>
                    </a:lnTo>
                    <a:lnTo>
                      <a:pt x="410" y="679"/>
                    </a:lnTo>
                    <a:lnTo>
                      <a:pt x="408" y="679"/>
                    </a:lnTo>
                    <a:lnTo>
                      <a:pt x="406" y="679"/>
                    </a:lnTo>
                    <a:lnTo>
                      <a:pt x="405" y="679"/>
                    </a:lnTo>
                    <a:lnTo>
                      <a:pt x="403" y="679"/>
                    </a:lnTo>
                    <a:lnTo>
                      <a:pt x="401" y="677"/>
                    </a:lnTo>
                    <a:lnTo>
                      <a:pt x="400" y="677"/>
                    </a:lnTo>
                    <a:lnTo>
                      <a:pt x="398" y="679"/>
                    </a:lnTo>
                    <a:lnTo>
                      <a:pt x="396" y="677"/>
                    </a:lnTo>
                    <a:lnTo>
                      <a:pt x="394" y="677"/>
                    </a:lnTo>
                    <a:lnTo>
                      <a:pt x="393" y="677"/>
                    </a:lnTo>
                    <a:lnTo>
                      <a:pt x="393" y="675"/>
                    </a:lnTo>
                    <a:lnTo>
                      <a:pt x="391" y="675"/>
                    </a:lnTo>
                    <a:lnTo>
                      <a:pt x="389" y="675"/>
                    </a:lnTo>
                    <a:lnTo>
                      <a:pt x="389" y="674"/>
                    </a:lnTo>
                    <a:lnTo>
                      <a:pt x="388" y="674"/>
                    </a:lnTo>
                    <a:lnTo>
                      <a:pt x="388" y="672"/>
                    </a:lnTo>
                    <a:lnTo>
                      <a:pt x="386" y="670"/>
                    </a:lnTo>
                    <a:lnTo>
                      <a:pt x="384" y="670"/>
                    </a:lnTo>
                    <a:lnTo>
                      <a:pt x="383" y="668"/>
                    </a:lnTo>
                    <a:lnTo>
                      <a:pt x="383" y="670"/>
                    </a:lnTo>
                    <a:lnTo>
                      <a:pt x="381" y="668"/>
                    </a:lnTo>
                    <a:lnTo>
                      <a:pt x="379" y="668"/>
                    </a:lnTo>
                    <a:lnTo>
                      <a:pt x="381" y="668"/>
                    </a:lnTo>
                    <a:lnTo>
                      <a:pt x="381" y="670"/>
                    </a:lnTo>
                    <a:lnTo>
                      <a:pt x="379" y="670"/>
                    </a:lnTo>
                    <a:lnTo>
                      <a:pt x="379" y="672"/>
                    </a:lnTo>
                    <a:lnTo>
                      <a:pt x="381" y="670"/>
                    </a:lnTo>
                    <a:lnTo>
                      <a:pt x="381" y="672"/>
                    </a:lnTo>
                    <a:lnTo>
                      <a:pt x="383" y="672"/>
                    </a:lnTo>
                    <a:lnTo>
                      <a:pt x="381" y="672"/>
                    </a:lnTo>
                    <a:lnTo>
                      <a:pt x="379" y="672"/>
                    </a:lnTo>
                    <a:lnTo>
                      <a:pt x="379" y="674"/>
                    </a:lnTo>
                    <a:lnTo>
                      <a:pt x="381" y="674"/>
                    </a:lnTo>
                    <a:lnTo>
                      <a:pt x="379" y="675"/>
                    </a:lnTo>
                    <a:lnTo>
                      <a:pt x="379" y="677"/>
                    </a:lnTo>
                    <a:lnTo>
                      <a:pt x="381" y="677"/>
                    </a:lnTo>
                    <a:lnTo>
                      <a:pt x="383" y="677"/>
                    </a:lnTo>
                    <a:lnTo>
                      <a:pt x="384" y="677"/>
                    </a:lnTo>
                    <a:lnTo>
                      <a:pt x="386" y="679"/>
                    </a:lnTo>
                    <a:lnTo>
                      <a:pt x="384" y="679"/>
                    </a:lnTo>
                    <a:lnTo>
                      <a:pt x="383" y="680"/>
                    </a:lnTo>
                    <a:lnTo>
                      <a:pt x="381" y="680"/>
                    </a:lnTo>
                    <a:lnTo>
                      <a:pt x="381" y="682"/>
                    </a:lnTo>
                    <a:lnTo>
                      <a:pt x="381" y="684"/>
                    </a:lnTo>
                    <a:lnTo>
                      <a:pt x="381" y="685"/>
                    </a:lnTo>
                    <a:lnTo>
                      <a:pt x="381" y="687"/>
                    </a:lnTo>
                    <a:lnTo>
                      <a:pt x="381" y="689"/>
                    </a:lnTo>
                    <a:lnTo>
                      <a:pt x="383" y="689"/>
                    </a:lnTo>
                    <a:lnTo>
                      <a:pt x="381" y="689"/>
                    </a:lnTo>
                    <a:lnTo>
                      <a:pt x="381" y="691"/>
                    </a:lnTo>
                    <a:lnTo>
                      <a:pt x="383" y="691"/>
                    </a:lnTo>
                    <a:lnTo>
                      <a:pt x="384" y="691"/>
                    </a:lnTo>
                    <a:lnTo>
                      <a:pt x="386" y="691"/>
                    </a:lnTo>
                    <a:lnTo>
                      <a:pt x="388" y="691"/>
                    </a:lnTo>
                    <a:lnTo>
                      <a:pt x="388" y="692"/>
                    </a:lnTo>
                    <a:lnTo>
                      <a:pt x="389" y="692"/>
                    </a:lnTo>
                    <a:lnTo>
                      <a:pt x="389" y="694"/>
                    </a:lnTo>
                    <a:lnTo>
                      <a:pt x="391" y="694"/>
                    </a:lnTo>
                    <a:lnTo>
                      <a:pt x="391" y="696"/>
                    </a:lnTo>
                    <a:lnTo>
                      <a:pt x="391" y="697"/>
                    </a:lnTo>
                    <a:lnTo>
                      <a:pt x="389" y="696"/>
                    </a:lnTo>
                    <a:lnTo>
                      <a:pt x="388" y="696"/>
                    </a:lnTo>
                    <a:lnTo>
                      <a:pt x="388" y="694"/>
                    </a:lnTo>
                    <a:lnTo>
                      <a:pt x="386" y="694"/>
                    </a:lnTo>
                    <a:lnTo>
                      <a:pt x="386" y="692"/>
                    </a:lnTo>
                    <a:lnTo>
                      <a:pt x="384" y="691"/>
                    </a:lnTo>
                    <a:lnTo>
                      <a:pt x="384" y="692"/>
                    </a:lnTo>
                    <a:lnTo>
                      <a:pt x="384" y="691"/>
                    </a:lnTo>
                    <a:lnTo>
                      <a:pt x="383" y="692"/>
                    </a:lnTo>
                    <a:lnTo>
                      <a:pt x="384" y="692"/>
                    </a:lnTo>
                    <a:lnTo>
                      <a:pt x="384" y="694"/>
                    </a:lnTo>
                    <a:lnTo>
                      <a:pt x="386" y="694"/>
                    </a:lnTo>
                    <a:lnTo>
                      <a:pt x="386" y="696"/>
                    </a:lnTo>
                    <a:lnTo>
                      <a:pt x="388" y="696"/>
                    </a:lnTo>
                    <a:lnTo>
                      <a:pt x="388" y="697"/>
                    </a:lnTo>
                    <a:lnTo>
                      <a:pt x="389" y="697"/>
                    </a:lnTo>
                    <a:lnTo>
                      <a:pt x="389" y="699"/>
                    </a:lnTo>
                    <a:lnTo>
                      <a:pt x="389" y="701"/>
                    </a:lnTo>
                    <a:lnTo>
                      <a:pt x="389" y="702"/>
                    </a:lnTo>
                    <a:lnTo>
                      <a:pt x="388" y="702"/>
                    </a:lnTo>
                    <a:lnTo>
                      <a:pt x="388" y="704"/>
                    </a:lnTo>
                    <a:lnTo>
                      <a:pt x="388" y="706"/>
                    </a:lnTo>
                    <a:lnTo>
                      <a:pt x="388" y="708"/>
                    </a:lnTo>
                    <a:lnTo>
                      <a:pt x="388" y="709"/>
                    </a:lnTo>
                    <a:lnTo>
                      <a:pt x="388" y="711"/>
                    </a:lnTo>
                    <a:lnTo>
                      <a:pt x="388" y="713"/>
                    </a:lnTo>
                    <a:lnTo>
                      <a:pt x="388" y="714"/>
                    </a:lnTo>
                    <a:lnTo>
                      <a:pt x="388" y="716"/>
                    </a:lnTo>
                    <a:lnTo>
                      <a:pt x="388" y="718"/>
                    </a:lnTo>
                    <a:lnTo>
                      <a:pt x="386" y="718"/>
                    </a:lnTo>
                    <a:lnTo>
                      <a:pt x="386" y="716"/>
                    </a:lnTo>
                    <a:lnTo>
                      <a:pt x="384" y="716"/>
                    </a:lnTo>
                    <a:lnTo>
                      <a:pt x="384" y="718"/>
                    </a:lnTo>
                    <a:lnTo>
                      <a:pt x="383" y="718"/>
                    </a:lnTo>
                    <a:lnTo>
                      <a:pt x="383" y="716"/>
                    </a:lnTo>
                    <a:lnTo>
                      <a:pt x="381" y="716"/>
                    </a:lnTo>
                    <a:lnTo>
                      <a:pt x="381" y="718"/>
                    </a:lnTo>
                    <a:lnTo>
                      <a:pt x="381" y="719"/>
                    </a:lnTo>
                    <a:lnTo>
                      <a:pt x="381" y="721"/>
                    </a:lnTo>
                    <a:lnTo>
                      <a:pt x="381" y="723"/>
                    </a:lnTo>
                    <a:lnTo>
                      <a:pt x="379" y="723"/>
                    </a:lnTo>
                    <a:lnTo>
                      <a:pt x="379" y="725"/>
                    </a:lnTo>
                    <a:lnTo>
                      <a:pt x="379" y="726"/>
                    </a:lnTo>
                    <a:lnTo>
                      <a:pt x="379" y="728"/>
                    </a:lnTo>
                    <a:lnTo>
                      <a:pt x="381" y="728"/>
                    </a:lnTo>
                    <a:lnTo>
                      <a:pt x="381" y="730"/>
                    </a:lnTo>
                    <a:lnTo>
                      <a:pt x="379" y="730"/>
                    </a:lnTo>
                    <a:lnTo>
                      <a:pt x="379" y="731"/>
                    </a:lnTo>
                    <a:lnTo>
                      <a:pt x="377" y="731"/>
                    </a:lnTo>
                    <a:lnTo>
                      <a:pt x="377" y="733"/>
                    </a:lnTo>
                    <a:lnTo>
                      <a:pt x="376" y="733"/>
                    </a:lnTo>
                    <a:lnTo>
                      <a:pt x="376" y="735"/>
                    </a:lnTo>
                    <a:lnTo>
                      <a:pt x="374" y="735"/>
                    </a:lnTo>
                    <a:lnTo>
                      <a:pt x="374" y="736"/>
                    </a:lnTo>
                    <a:lnTo>
                      <a:pt x="376" y="738"/>
                    </a:lnTo>
                    <a:lnTo>
                      <a:pt x="376" y="740"/>
                    </a:lnTo>
                    <a:lnTo>
                      <a:pt x="376" y="742"/>
                    </a:lnTo>
                    <a:lnTo>
                      <a:pt x="377" y="742"/>
                    </a:lnTo>
                    <a:lnTo>
                      <a:pt x="377" y="743"/>
                    </a:lnTo>
                    <a:lnTo>
                      <a:pt x="379" y="743"/>
                    </a:lnTo>
                    <a:lnTo>
                      <a:pt x="381" y="745"/>
                    </a:lnTo>
                    <a:lnTo>
                      <a:pt x="383" y="747"/>
                    </a:lnTo>
                    <a:lnTo>
                      <a:pt x="384" y="747"/>
                    </a:lnTo>
                    <a:lnTo>
                      <a:pt x="384" y="748"/>
                    </a:lnTo>
                    <a:lnTo>
                      <a:pt x="386" y="748"/>
                    </a:lnTo>
                    <a:lnTo>
                      <a:pt x="386" y="750"/>
                    </a:lnTo>
                    <a:lnTo>
                      <a:pt x="384" y="752"/>
                    </a:lnTo>
                    <a:lnTo>
                      <a:pt x="383" y="753"/>
                    </a:lnTo>
                    <a:lnTo>
                      <a:pt x="383" y="755"/>
                    </a:lnTo>
                    <a:lnTo>
                      <a:pt x="383" y="757"/>
                    </a:lnTo>
                    <a:lnTo>
                      <a:pt x="381" y="759"/>
                    </a:lnTo>
                    <a:lnTo>
                      <a:pt x="381" y="760"/>
                    </a:lnTo>
                    <a:lnTo>
                      <a:pt x="379" y="762"/>
                    </a:lnTo>
                    <a:lnTo>
                      <a:pt x="377" y="762"/>
                    </a:lnTo>
                    <a:lnTo>
                      <a:pt x="377" y="764"/>
                    </a:lnTo>
                    <a:lnTo>
                      <a:pt x="376" y="764"/>
                    </a:lnTo>
                    <a:lnTo>
                      <a:pt x="374" y="764"/>
                    </a:lnTo>
                    <a:lnTo>
                      <a:pt x="372" y="764"/>
                    </a:lnTo>
                    <a:lnTo>
                      <a:pt x="372" y="765"/>
                    </a:lnTo>
                    <a:lnTo>
                      <a:pt x="371" y="765"/>
                    </a:lnTo>
                    <a:lnTo>
                      <a:pt x="369" y="767"/>
                    </a:lnTo>
                    <a:lnTo>
                      <a:pt x="367" y="767"/>
                    </a:lnTo>
                    <a:lnTo>
                      <a:pt x="367" y="769"/>
                    </a:lnTo>
                    <a:lnTo>
                      <a:pt x="366" y="769"/>
                    </a:lnTo>
                    <a:lnTo>
                      <a:pt x="366" y="767"/>
                    </a:lnTo>
                    <a:lnTo>
                      <a:pt x="364" y="767"/>
                    </a:lnTo>
                    <a:lnTo>
                      <a:pt x="364" y="769"/>
                    </a:lnTo>
                    <a:lnTo>
                      <a:pt x="362" y="769"/>
                    </a:lnTo>
                    <a:lnTo>
                      <a:pt x="362" y="770"/>
                    </a:lnTo>
                    <a:lnTo>
                      <a:pt x="360" y="770"/>
                    </a:lnTo>
                    <a:lnTo>
                      <a:pt x="359" y="770"/>
                    </a:lnTo>
                    <a:lnTo>
                      <a:pt x="357" y="772"/>
                    </a:lnTo>
                    <a:lnTo>
                      <a:pt x="355" y="772"/>
                    </a:lnTo>
                    <a:lnTo>
                      <a:pt x="355" y="774"/>
                    </a:lnTo>
                    <a:lnTo>
                      <a:pt x="354" y="774"/>
                    </a:lnTo>
                    <a:lnTo>
                      <a:pt x="352" y="774"/>
                    </a:lnTo>
                    <a:lnTo>
                      <a:pt x="350" y="774"/>
                    </a:lnTo>
                    <a:lnTo>
                      <a:pt x="349" y="774"/>
                    </a:lnTo>
                    <a:lnTo>
                      <a:pt x="347" y="774"/>
                    </a:lnTo>
                    <a:lnTo>
                      <a:pt x="345" y="774"/>
                    </a:lnTo>
                    <a:lnTo>
                      <a:pt x="343" y="774"/>
                    </a:lnTo>
                    <a:lnTo>
                      <a:pt x="342" y="774"/>
                    </a:lnTo>
                    <a:lnTo>
                      <a:pt x="340" y="774"/>
                    </a:lnTo>
                    <a:lnTo>
                      <a:pt x="338" y="774"/>
                    </a:lnTo>
                    <a:lnTo>
                      <a:pt x="337" y="774"/>
                    </a:lnTo>
                    <a:lnTo>
                      <a:pt x="335" y="774"/>
                    </a:lnTo>
                    <a:lnTo>
                      <a:pt x="333" y="774"/>
                    </a:lnTo>
                    <a:lnTo>
                      <a:pt x="332" y="774"/>
                    </a:lnTo>
                    <a:lnTo>
                      <a:pt x="330" y="774"/>
                    </a:lnTo>
                    <a:lnTo>
                      <a:pt x="330" y="772"/>
                    </a:lnTo>
                    <a:lnTo>
                      <a:pt x="328" y="772"/>
                    </a:lnTo>
                    <a:lnTo>
                      <a:pt x="326" y="772"/>
                    </a:lnTo>
                    <a:lnTo>
                      <a:pt x="326" y="770"/>
                    </a:lnTo>
                    <a:lnTo>
                      <a:pt x="325" y="769"/>
                    </a:lnTo>
                    <a:lnTo>
                      <a:pt x="323" y="769"/>
                    </a:lnTo>
                    <a:lnTo>
                      <a:pt x="321" y="769"/>
                    </a:lnTo>
                    <a:lnTo>
                      <a:pt x="321" y="767"/>
                    </a:lnTo>
                    <a:lnTo>
                      <a:pt x="320" y="767"/>
                    </a:lnTo>
                    <a:lnTo>
                      <a:pt x="321" y="767"/>
                    </a:lnTo>
                    <a:lnTo>
                      <a:pt x="321" y="765"/>
                    </a:lnTo>
                    <a:lnTo>
                      <a:pt x="320" y="765"/>
                    </a:lnTo>
                    <a:lnTo>
                      <a:pt x="320" y="767"/>
                    </a:lnTo>
                    <a:lnTo>
                      <a:pt x="318" y="767"/>
                    </a:lnTo>
                    <a:lnTo>
                      <a:pt x="316" y="767"/>
                    </a:lnTo>
                    <a:lnTo>
                      <a:pt x="315" y="765"/>
                    </a:lnTo>
                    <a:lnTo>
                      <a:pt x="313" y="765"/>
                    </a:lnTo>
                    <a:lnTo>
                      <a:pt x="313" y="764"/>
                    </a:lnTo>
                    <a:lnTo>
                      <a:pt x="311" y="764"/>
                    </a:lnTo>
                    <a:lnTo>
                      <a:pt x="309" y="762"/>
                    </a:lnTo>
                    <a:lnTo>
                      <a:pt x="308" y="762"/>
                    </a:lnTo>
                    <a:lnTo>
                      <a:pt x="306" y="760"/>
                    </a:lnTo>
                    <a:lnTo>
                      <a:pt x="304" y="760"/>
                    </a:lnTo>
                    <a:lnTo>
                      <a:pt x="303" y="760"/>
                    </a:lnTo>
                    <a:lnTo>
                      <a:pt x="301" y="759"/>
                    </a:lnTo>
                    <a:lnTo>
                      <a:pt x="299" y="759"/>
                    </a:lnTo>
                    <a:lnTo>
                      <a:pt x="298" y="759"/>
                    </a:lnTo>
                    <a:lnTo>
                      <a:pt x="296" y="759"/>
                    </a:lnTo>
                    <a:lnTo>
                      <a:pt x="294" y="759"/>
                    </a:lnTo>
                    <a:lnTo>
                      <a:pt x="292" y="759"/>
                    </a:lnTo>
                    <a:lnTo>
                      <a:pt x="294" y="757"/>
                    </a:lnTo>
                    <a:lnTo>
                      <a:pt x="296" y="757"/>
                    </a:lnTo>
                    <a:lnTo>
                      <a:pt x="298" y="757"/>
                    </a:lnTo>
                    <a:lnTo>
                      <a:pt x="298" y="759"/>
                    </a:lnTo>
                    <a:lnTo>
                      <a:pt x="299" y="757"/>
                    </a:lnTo>
                    <a:lnTo>
                      <a:pt x="298" y="757"/>
                    </a:lnTo>
                    <a:lnTo>
                      <a:pt x="299" y="757"/>
                    </a:lnTo>
                    <a:lnTo>
                      <a:pt x="298" y="757"/>
                    </a:lnTo>
                    <a:lnTo>
                      <a:pt x="296" y="757"/>
                    </a:lnTo>
                    <a:lnTo>
                      <a:pt x="298" y="755"/>
                    </a:lnTo>
                    <a:lnTo>
                      <a:pt x="296" y="755"/>
                    </a:lnTo>
                    <a:lnTo>
                      <a:pt x="298" y="755"/>
                    </a:lnTo>
                    <a:lnTo>
                      <a:pt x="296" y="755"/>
                    </a:lnTo>
                    <a:lnTo>
                      <a:pt x="296" y="753"/>
                    </a:lnTo>
                    <a:lnTo>
                      <a:pt x="294" y="753"/>
                    </a:lnTo>
                    <a:lnTo>
                      <a:pt x="292" y="753"/>
                    </a:lnTo>
                    <a:lnTo>
                      <a:pt x="291" y="753"/>
                    </a:lnTo>
                    <a:lnTo>
                      <a:pt x="292" y="753"/>
                    </a:lnTo>
                    <a:lnTo>
                      <a:pt x="291" y="753"/>
                    </a:lnTo>
                    <a:lnTo>
                      <a:pt x="291" y="755"/>
                    </a:lnTo>
                    <a:lnTo>
                      <a:pt x="292" y="753"/>
                    </a:lnTo>
                    <a:lnTo>
                      <a:pt x="292" y="755"/>
                    </a:lnTo>
                    <a:lnTo>
                      <a:pt x="294" y="755"/>
                    </a:lnTo>
                    <a:lnTo>
                      <a:pt x="292" y="755"/>
                    </a:lnTo>
                    <a:lnTo>
                      <a:pt x="291" y="755"/>
                    </a:lnTo>
                    <a:lnTo>
                      <a:pt x="289" y="755"/>
                    </a:lnTo>
                    <a:lnTo>
                      <a:pt x="289" y="757"/>
                    </a:lnTo>
                    <a:lnTo>
                      <a:pt x="287" y="757"/>
                    </a:lnTo>
                    <a:lnTo>
                      <a:pt x="287" y="759"/>
                    </a:lnTo>
                    <a:lnTo>
                      <a:pt x="286" y="759"/>
                    </a:lnTo>
                    <a:lnTo>
                      <a:pt x="286" y="760"/>
                    </a:lnTo>
                    <a:lnTo>
                      <a:pt x="286" y="762"/>
                    </a:lnTo>
                    <a:lnTo>
                      <a:pt x="284" y="764"/>
                    </a:lnTo>
                    <a:lnTo>
                      <a:pt x="284" y="765"/>
                    </a:lnTo>
                    <a:lnTo>
                      <a:pt x="284" y="767"/>
                    </a:lnTo>
                    <a:lnTo>
                      <a:pt x="284" y="769"/>
                    </a:lnTo>
                    <a:lnTo>
                      <a:pt x="284" y="770"/>
                    </a:lnTo>
                    <a:lnTo>
                      <a:pt x="286" y="770"/>
                    </a:lnTo>
                    <a:lnTo>
                      <a:pt x="286" y="772"/>
                    </a:lnTo>
                    <a:lnTo>
                      <a:pt x="286" y="774"/>
                    </a:lnTo>
                    <a:lnTo>
                      <a:pt x="284" y="774"/>
                    </a:lnTo>
                    <a:lnTo>
                      <a:pt x="286" y="774"/>
                    </a:lnTo>
                    <a:lnTo>
                      <a:pt x="286" y="776"/>
                    </a:lnTo>
                    <a:lnTo>
                      <a:pt x="286" y="777"/>
                    </a:lnTo>
                    <a:lnTo>
                      <a:pt x="286" y="779"/>
                    </a:lnTo>
                    <a:lnTo>
                      <a:pt x="286" y="781"/>
                    </a:lnTo>
                    <a:lnTo>
                      <a:pt x="287" y="781"/>
                    </a:lnTo>
                    <a:lnTo>
                      <a:pt x="287" y="782"/>
                    </a:lnTo>
                    <a:lnTo>
                      <a:pt x="287" y="784"/>
                    </a:lnTo>
                    <a:lnTo>
                      <a:pt x="287" y="786"/>
                    </a:lnTo>
                    <a:lnTo>
                      <a:pt x="289" y="787"/>
                    </a:lnTo>
                    <a:lnTo>
                      <a:pt x="291" y="789"/>
                    </a:lnTo>
                    <a:lnTo>
                      <a:pt x="291" y="791"/>
                    </a:lnTo>
                    <a:lnTo>
                      <a:pt x="289" y="791"/>
                    </a:lnTo>
                    <a:lnTo>
                      <a:pt x="291" y="793"/>
                    </a:lnTo>
                    <a:lnTo>
                      <a:pt x="289" y="793"/>
                    </a:lnTo>
                    <a:lnTo>
                      <a:pt x="289" y="794"/>
                    </a:lnTo>
                    <a:lnTo>
                      <a:pt x="289" y="796"/>
                    </a:lnTo>
                    <a:lnTo>
                      <a:pt x="289" y="798"/>
                    </a:lnTo>
                    <a:lnTo>
                      <a:pt x="289" y="799"/>
                    </a:lnTo>
                    <a:lnTo>
                      <a:pt x="289" y="801"/>
                    </a:lnTo>
                    <a:lnTo>
                      <a:pt x="291" y="801"/>
                    </a:lnTo>
                    <a:lnTo>
                      <a:pt x="289" y="801"/>
                    </a:lnTo>
                    <a:lnTo>
                      <a:pt x="289" y="803"/>
                    </a:lnTo>
                    <a:lnTo>
                      <a:pt x="289" y="804"/>
                    </a:lnTo>
                    <a:lnTo>
                      <a:pt x="289" y="806"/>
                    </a:lnTo>
                    <a:lnTo>
                      <a:pt x="287" y="806"/>
                    </a:lnTo>
                    <a:lnTo>
                      <a:pt x="287" y="808"/>
                    </a:lnTo>
                    <a:lnTo>
                      <a:pt x="287" y="810"/>
                    </a:lnTo>
                    <a:lnTo>
                      <a:pt x="287" y="811"/>
                    </a:lnTo>
                    <a:lnTo>
                      <a:pt x="287" y="813"/>
                    </a:lnTo>
                    <a:lnTo>
                      <a:pt x="289" y="815"/>
                    </a:lnTo>
                    <a:lnTo>
                      <a:pt x="289" y="816"/>
                    </a:lnTo>
                    <a:lnTo>
                      <a:pt x="291" y="816"/>
                    </a:lnTo>
                    <a:lnTo>
                      <a:pt x="291" y="818"/>
                    </a:lnTo>
                    <a:lnTo>
                      <a:pt x="292" y="818"/>
                    </a:lnTo>
                    <a:lnTo>
                      <a:pt x="292" y="820"/>
                    </a:lnTo>
                    <a:lnTo>
                      <a:pt x="294" y="820"/>
                    </a:lnTo>
                    <a:lnTo>
                      <a:pt x="296" y="820"/>
                    </a:lnTo>
                    <a:lnTo>
                      <a:pt x="298" y="820"/>
                    </a:lnTo>
                    <a:lnTo>
                      <a:pt x="298" y="822"/>
                    </a:lnTo>
                    <a:lnTo>
                      <a:pt x="299" y="822"/>
                    </a:lnTo>
                    <a:lnTo>
                      <a:pt x="301" y="822"/>
                    </a:lnTo>
                    <a:lnTo>
                      <a:pt x="303" y="822"/>
                    </a:lnTo>
                    <a:lnTo>
                      <a:pt x="304" y="822"/>
                    </a:lnTo>
                    <a:lnTo>
                      <a:pt x="306" y="822"/>
                    </a:lnTo>
                    <a:lnTo>
                      <a:pt x="306" y="823"/>
                    </a:lnTo>
                    <a:lnTo>
                      <a:pt x="306" y="822"/>
                    </a:lnTo>
                    <a:lnTo>
                      <a:pt x="308" y="823"/>
                    </a:lnTo>
                    <a:lnTo>
                      <a:pt x="306" y="823"/>
                    </a:lnTo>
                    <a:lnTo>
                      <a:pt x="306" y="825"/>
                    </a:lnTo>
                    <a:lnTo>
                      <a:pt x="304" y="825"/>
                    </a:lnTo>
                    <a:lnTo>
                      <a:pt x="304" y="827"/>
                    </a:lnTo>
                    <a:lnTo>
                      <a:pt x="304" y="828"/>
                    </a:lnTo>
                    <a:lnTo>
                      <a:pt x="303" y="830"/>
                    </a:lnTo>
                    <a:lnTo>
                      <a:pt x="303" y="832"/>
                    </a:lnTo>
                    <a:lnTo>
                      <a:pt x="304" y="832"/>
                    </a:lnTo>
                    <a:lnTo>
                      <a:pt x="304" y="830"/>
                    </a:lnTo>
                    <a:lnTo>
                      <a:pt x="304" y="832"/>
                    </a:lnTo>
                    <a:lnTo>
                      <a:pt x="306" y="830"/>
                    </a:lnTo>
                    <a:lnTo>
                      <a:pt x="306" y="832"/>
                    </a:lnTo>
                    <a:lnTo>
                      <a:pt x="308" y="832"/>
                    </a:lnTo>
                    <a:lnTo>
                      <a:pt x="308" y="830"/>
                    </a:lnTo>
                    <a:lnTo>
                      <a:pt x="308" y="832"/>
                    </a:lnTo>
                    <a:lnTo>
                      <a:pt x="309" y="832"/>
                    </a:lnTo>
                    <a:lnTo>
                      <a:pt x="311" y="832"/>
                    </a:lnTo>
                    <a:lnTo>
                      <a:pt x="311" y="830"/>
                    </a:lnTo>
                    <a:lnTo>
                      <a:pt x="311" y="832"/>
                    </a:lnTo>
                    <a:lnTo>
                      <a:pt x="313" y="830"/>
                    </a:lnTo>
                    <a:lnTo>
                      <a:pt x="315" y="830"/>
                    </a:lnTo>
                    <a:lnTo>
                      <a:pt x="316" y="830"/>
                    </a:lnTo>
                    <a:lnTo>
                      <a:pt x="318" y="830"/>
                    </a:lnTo>
                    <a:lnTo>
                      <a:pt x="320" y="832"/>
                    </a:lnTo>
                    <a:lnTo>
                      <a:pt x="320" y="830"/>
                    </a:lnTo>
                    <a:lnTo>
                      <a:pt x="321" y="830"/>
                    </a:lnTo>
                    <a:lnTo>
                      <a:pt x="321" y="828"/>
                    </a:lnTo>
                    <a:lnTo>
                      <a:pt x="323" y="828"/>
                    </a:lnTo>
                    <a:lnTo>
                      <a:pt x="321" y="827"/>
                    </a:lnTo>
                    <a:lnTo>
                      <a:pt x="323" y="827"/>
                    </a:lnTo>
                    <a:lnTo>
                      <a:pt x="321" y="825"/>
                    </a:lnTo>
                    <a:lnTo>
                      <a:pt x="321" y="823"/>
                    </a:lnTo>
                    <a:lnTo>
                      <a:pt x="320" y="823"/>
                    </a:lnTo>
                    <a:lnTo>
                      <a:pt x="318" y="823"/>
                    </a:lnTo>
                    <a:lnTo>
                      <a:pt x="316" y="823"/>
                    </a:lnTo>
                    <a:lnTo>
                      <a:pt x="316" y="822"/>
                    </a:lnTo>
                    <a:lnTo>
                      <a:pt x="315" y="823"/>
                    </a:lnTo>
                    <a:lnTo>
                      <a:pt x="313" y="823"/>
                    </a:lnTo>
                    <a:lnTo>
                      <a:pt x="311" y="823"/>
                    </a:lnTo>
                    <a:lnTo>
                      <a:pt x="311" y="822"/>
                    </a:lnTo>
                    <a:lnTo>
                      <a:pt x="313" y="822"/>
                    </a:lnTo>
                    <a:lnTo>
                      <a:pt x="316" y="822"/>
                    </a:lnTo>
                    <a:lnTo>
                      <a:pt x="318" y="820"/>
                    </a:lnTo>
                    <a:lnTo>
                      <a:pt x="320" y="820"/>
                    </a:lnTo>
                    <a:lnTo>
                      <a:pt x="321" y="820"/>
                    </a:lnTo>
                    <a:lnTo>
                      <a:pt x="323" y="820"/>
                    </a:lnTo>
                    <a:lnTo>
                      <a:pt x="323" y="818"/>
                    </a:lnTo>
                    <a:lnTo>
                      <a:pt x="325" y="818"/>
                    </a:lnTo>
                    <a:lnTo>
                      <a:pt x="325" y="816"/>
                    </a:lnTo>
                    <a:lnTo>
                      <a:pt x="326" y="816"/>
                    </a:lnTo>
                    <a:lnTo>
                      <a:pt x="328" y="816"/>
                    </a:lnTo>
                    <a:lnTo>
                      <a:pt x="328" y="815"/>
                    </a:lnTo>
                    <a:lnTo>
                      <a:pt x="330" y="815"/>
                    </a:lnTo>
                    <a:lnTo>
                      <a:pt x="332" y="815"/>
                    </a:lnTo>
                    <a:lnTo>
                      <a:pt x="333" y="816"/>
                    </a:lnTo>
                    <a:lnTo>
                      <a:pt x="333" y="818"/>
                    </a:lnTo>
                    <a:lnTo>
                      <a:pt x="333" y="820"/>
                    </a:lnTo>
                    <a:lnTo>
                      <a:pt x="335" y="822"/>
                    </a:lnTo>
                    <a:lnTo>
                      <a:pt x="335" y="823"/>
                    </a:lnTo>
                    <a:lnTo>
                      <a:pt x="337" y="825"/>
                    </a:lnTo>
                    <a:lnTo>
                      <a:pt x="337" y="827"/>
                    </a:lnTo>
                    <a:lnTo>
                      <a:pt x="337" y="828"/>
                    </a:lnTo>
                    <a:lnTo>
                      <a:pt x="337" y="830"/>
                    </a:lnTo>
                    <a:lnTo>
                      <a:pt x="337" y="832"/>
                    </a:lnTo>
                    <a:lnTo>
                      <a:pt x="337" y="833"/>
                    </a:lnTo>
                    <a:lnTo>
                      <a:pt x="337" y="835"/>
                    </a:lnTo>
                    <a:lnTo>
                      <a:pt x="337" y="837"/>
                    </a:lnTo>
                    <a:lnTo>
                      <a:pt x="338" y="837"/>
                    </a:lnTo>
                    <a:lnTo>
                      <a:pt x="338" y="839"/>
                    </a:lnTo>
                    <a:lnTo>
                      <a:pt x="338" y="840"/>
                    </a:lnTo>
                    <a:lnTo>
                      <a:pt x="337" y="840"/>
                    </a:lnTo>
                    <a:lnTo>
                      <a:pt x="337" y="842"/>
                    </a:lnTo>
                    <a:lnTo>
                      <a:pt x="337" y="844"/>
                    </a:lnTo>
                    <a:lnTo>
                      <a:pt x="337" y="845"/>
                    </a:lnTo>
                    <a:lnTo>
                      <a:pt x="337" y="847"/>
                    </a:lnTo>
                    <a:lnTo>
                      <a:pt x="335" y="847"/>
                    </a:lnTo>
                    <a:lnTo>
                      <a:pt x="333" y="849"/>
                    </a:lnTo>
                    <a:lnTo>
                      <a:pt x="332" y="849"/>
                    </a:lnTo>
                    <a:lnTo>
                      <a:pt x="330" y="849"/>
                    </a:lnTo>
                    <a:lnTo>
                      <a:pt x="328" y="849"/>
                    </a:lnTo>
                    <a:lnTo>
                      <a:pt x="328" y="850"/>
                    </a:lnTo>
                    <a:lnTo>
                      <a:pt x="326" y="850"/>
                    </a:lnTo>
                    <a:lnTo>
                      <a:pt x="325" y="850"/>
                    </a:lnTo>
                    <a:lnTo>
                      <a:pt x="323" y="850"/>
                    </a:lnTo>
                    <a:lnTo>
                      <a:pt x="321" y="850"/>
                    </a:lnTo>
                    <a:lnTo>
                      <a:pt x="321" y="852"/>
                    </a:lnTo>
                    <a:lnTo>
                      <a:pt x="320" y="852"/>
                    </a:lnTo>
                    <a:lnTo>
                      <a:pt x="318" y="850"/>
                    </a:lnTo>
                    <a:lnTo>
                      <a:pt x="316" y="849"/>
                    </a:lnTo>
                    <a:lnTo>
                      <a:pt x="316" y="847"/>
                    </a:lnTo>
                    <a:lnTo>
                      <a:pt x="315" y="847"/>
                    </a:lnTo>
                    <a:lnTo>
                      <a:pt x="315" y="845"/>
                    </a:lnTo>
                    <a:lnTo>
                      <a:pt x="316" y="844"/>
                    </a:lnTo>
                    <a:lnTo>
                      <a:pt x="315" y="842"/>
                    </a:lnTo>
                    <a:lnTo>
                      <a:pt x="316" y="842"/>
                    </a:lnTo>
                    <a:lnTo>
                      <a:pt x="316" y="840"/>
                    </a:lnTo>
                    <a:lnTo>
                      <a:pt x="315" y="840"/>
                    </a:lnTo>
                    <a:lnTo>
                      <a:pt x="315" y="839"/>
                    </a:lnTo>
                    <a:lnTo>
                      <a:pt x="313" y="839"/>
                    </a:lnTo>
                    <a:lnTo>
                      <a:pt x="313" y="837"/>
                    </a:lnTo>
                    <a:lnTo>
                      <a:pt x="311" y="837"/>
                    </a:lnTo>
                    <a:lnTo>
                      <a:pt x="311" y="835"/>
                    </a:lnTo>
                    <a:lnTo>
                      <a:pt x="309" y="835"/>
                    </a:lnTo>
                    <a:lnTo>
                      <a:pt x="308" y="835"/>
                    </a:lnTo>
                    <a:lnTo>
                      <a:pt x="306" y="835"/>
                    </a:lnTo>
                    <a:lnTo>
                      <a:pt x="306" y="833"/>
                    </a:lnTo>
                    <a:lnTo>
                      <a:pt x="304" y="833"/>
                    </a:lnTo>
                    <a:lnTo>
                      <a:pt x="303" y="835"/>
                    </a:lnTo>
                    <a:lnTo>
                      <a:pt x="301" y="835"/>
                    </a:lnTo>
                    <a:lnTo>
                      <a:pt x="299" y="835"/>
                    </a:lnTo>
                    <a:lnTo>
                      <a:pt x="299" y="837"/>
                    </a:lnTo>
                    <a:lnTo>
                      <a:pt x="298" y="837"/>
                    </a:lnTo>
                    <a:lnTo>
                      <a:pt x="298" y="839"/>
                    </a:lnTo>
                    <a:lnTo>
                      <a:pt x="296" y="839"/>
                    </a:lnTo>
                    <a:lnTo>
                      <a:pt x="296" y="840"/>
                    </a:lnTo>
                    <a:lnTo>
                      <a:pt x="294" y="840"/>
                    </a:lnTo>
                    <a:lnTo>
                      <a:pt x="292" y="840"/>
                    </a:lnTo>
                    <a:lnTo>
                      <a:pt x="291" y="840"/>
                    </a:lnTo>
                    <a:lnTo>
                      <a:pt x="291" y="842"/>
                    </a:lnTo>
                    <a:lnTo>
                      <a:pt x="291" y="844"/>
                    </a:lnTo>
                    <a:lnTo>
                      <a:pt x="289" y="844"/>
                    </a:lnTo>
                    <a:lnTo>
                      <a:pt x="289" y="845"/>
                    </a:lnTo>
                    <a:lnTo>
                      <a:pt x="289" y="847"/>
                    </a:lnTo>
                    <a:lnTo>
                      <a:pt x="291" y="847"/>
                    </a:lnTo>
                    <a:lnTo>
                      <a:pt x="291" y="849"/>
                    </a:lnTo>
                    <a:lnTo>
                      <a:pt x="291" y="847"/>
                    </a:lnTo>
                    <a:lnTo>
                      <a:pt x="292" y="847"/>
                    </a:lnTo>
                    <a:lnTo>
                      <a:pt x="292" y="849"/>
                    </a:lnTo>
                    <a:lnTo>
                      <a:pt x="294" y="849"/>
                    </a:lnTo>
                    <a:lnTo>
                      <a:pt x="294" y="850"/>
                    </a:lnTo>
                    <a:lnTo>
                      <a:pt x="296" y="850"/>
                    </a:lnTo>
                    <a:lnTo>
                      <a:pt x="298" y="850"/>
                    </a:lnTo>
                    <a:lnTo>
                      <a:pt x="299" y="852"/>
                    </a:lnTo>
                    <a:lnTo>
                      <a:pt x="301" y="852"/>
                    </a:lnTo>
                    <a:lnTo>
                      <a:pt x="301" y="854"/>
                    </a:lnTo>
                    <a:lnTo>
                      <a:pt x="303" y="854"/>
                    </a:lnTo>
                    <a:lnTo>
                      <a:pt x="304" y="854"/>
                    </a:lnTo>
                    <a:lnTo>
                      <a:pt x="306" y="854"/>
                    </a:lnTo>
                    <a:lnTo>
                      <a:pt x="306" y="856"/>
                    </a:lnTo>
                    <a:lnTo>
                      <a:pt x="308" y="856"/>
                    </a:lnTo>
                    <a:lnTo>
                      <a:pt x="309" y="856"/>
                    </a:lnTo>
                    <a:lnTo>
                      <a:pt x="311" y="856"/>
                    </a:lnTo>
                    <a:lnTo>
                      <a:pt x="313" y="854"/>
                    </a:lnTo>
                    <a:lnTo>
                      <a:pt x="313" y="856"/>
                    </a:lnTo>
                    <a:lnTo>
                      <a:pt x="313" y="857"/>
                    </a:lnTo>
                    <a:lnTo>
                      <a:pt x="311" y="857"/>
                    </a:lnTo>
                    <a:lnTo>
                      <a:pt x="311" y="859"/>
                    </a:lnTo>
                    <a:lnTo>
                      <a:pt x="309" y="859"/>
                    </a:lnTo>
                    <a:lnTo>
                      <a:pt x="309" y="861"/>
                    </a:lnTo>
                    <a:lnTo>
                      <a:pt x="308" y="861"/>
                    </a:lnTo>
                    <a:lnTo>
                      <a:pt x="306" y="861"/>
                    </a:lnTo>
                    <a:lnTo>
                      <a:pt x="304" y="862"/>
                    </a:lnTo>
                    <a:lnTo>
                      <a:pt x="303" y="862"/>
                    </a:lnTo>
                    <a:lnTo>
                      <a:pt x="301" y="864"/>
                    </a:lnTo>
                    <a:lnTo>
                      <a:pt x="298" y="864"/>
                    </a:lnTo>
                    <a:lnTo>
                      <a:pt x="294" y="866"/>
                    </a:lnTo>
                    <a:lnTo>
                      <a:pt x="294" y="867"/>
                    </a:lnTo>
                    <a:lnTo>
                      <a:pt x="291" y="869"/>
                    </a:lnTo>
                    <a:lnTo>
                      <a:pt x="289" y="871"/>
                    </a:lnTo>
                    <a:lnTo>
                      <a:pt x="289" y="873"/>
                    </a:lnTo>
                    <a:lnTo>
                      <a:pt x="287" y="874"/>
                    </a:lnTo>
                    <a:lnTo>
                      <a:pt x="289" y="874"/>
                    </a:lnTo>
                    <a:lnTo>
                      <a:pt x="289" y="876"/>
                    </a:lnTo>
                    <a:lnTo>
                      <a:pt x="287" y="876"/>
                    </a:lnTo>
                    <a:lnTo>
                      <a:pt x="287" y="878"/>
                    </a:lnTo>
                    <a:lnTo>
                      <a:pt x="286" y="878"/>
                    </a:lnTo>
                    <a:lnTo>
                      <a:pt x="286" y="879"/>
                    </a:lnTo>
                    <a:lnTo>
                      <a:pt x="284" y="879"/>
                    </a:lnTo>
                    <a:lnTo>
                      <a:pt x="284" y="881"/>
                    </a:lnTo>
                    <a:lnTo>
                      <a:pt x="284" y="883"/>
                    </a:lnTo>
                    <a:lnTo>
                      <a:pt x="282" y="883"/>
                    </a:lnTo>
                    <a:lnTo>
                      <a:pt x="282" y="884"/>
                    </a:lnTo>
                    <a:lnTo>
                      <a:pt x="281" y="884"/>
                    </a:lnTo>
                    <a:lnTo>
                      <a:pt x="281" y="886"/>
                    </a:lnTo>
                    <a:lnTo>
                      <a:pt x="279" y="886"/>
                    </a:lnTo>
                    <a:lnTo>
                      <a:pt x="279" y="888"/>
                    </a:lnTo>
                    <a:lnTo>
                      <a:pt x="279" y="890"/>
                    </a:lnTo>
                    <a:lnTo>
                      <a:pt x="279" y="891"/>
                    </a:lnTo>
                    <a:lnTo>
                      <a:pt x="279" y="893"/>
                    </a:lnTo>
                    <a:lnTo>
                      <a:pt x="279" y="895"/>
                    </a:lnTo>
                    <a:lnTo>
                      <a:pt x="279" y="896"/>
                    </a:lnTo>
                    <a:lnTo>
                      <a:pt x="279" y="898"/>
                    </a:lnTo>
                    <a:lnTo>
                      <a:pt x="279" y="900"/>
                    </a:lnTo>
                    <a:lnTo>
                      <a:pt x="281" y="900"/>
                    </a:lnTo>
                    <a:lnTo>
                      <a:pt x="281" y="901"/>
                    </a:lnTo>
                    <a:lnTo>
                      <a:pt x="281" y="903"/>
                    </a:lnTo>
                    <a:lnTo>
                      <a:pt x="282" y="903"/>
                    </a:lnTo>
                    <a:lnTo>
                      <a:pt x="281" y="903"/>
                    </a:lnTo>
                    <a:lnTo>
                      <a:pt x="282" y="905"/>
                    </a:lnTo>
                    <a:lnTo>
                      <a:pt x="282" y="907"/>
                    </a:lnTo>
                    <a:lnTo>
                      <a:pt x="284" y="905"/>
                    </a:lnTo>
                    <a:lnTo>
                      <a:pt x="282" y="907"/>
                    </a:lnTo>
                    <a:lnTo>
                      <a:pt x="282" y="908"/>
                    </a:lnTo>
                    <a:lnTo>
                      <a:pt x="282" y="910"/>
                    </a:lnTo>
                    <a:lnTo>
                      <a:pt x="282" y="912"/>
                    </a:lnTo>
                    <a:lnTo>
                      <a:pt x="281" y="910"/>
                    </a:lnTo>
                    <a:lnTo>
                      <a:pt x="281" y="912"/>
                    </a:lnTo>
                    <a:lnTo>
                      <a:pt x="279" y="912"/>
                    </a:lnTo>
                    <a:lnTo>
                      <a:pt x="279" y="913"/>
                    </a:lnTo>
                    <a:lnTo>
                      <a:pt x="279" y="915"/>
                    </a:lnTo>
                    <a:lnTo>
                      <a:pt x="281" y="915"/>
                    </a:lnTo>
                    <a:lnTo>
                      <a:pt x="281" y="917"/>
                    </a:lnTo>
                    <a:lnTo>
                      <a:pt x="281" y="918"/>
                    </a:lnTo>
                    <a:lnTo>
                      <a:pt x="282" y="918"/>
                    </a:lnTo>
                    <a:lnTo>
                      <a:pt x="281" y="920"/>
                    </a:lnTo>
                    <a:lnTo>
                      <a:pt x="282" y="920"/>
                    </a:lnTo>
                    <a:lnTo>
                      <a:pt x="282" y="922"/>
                    </a:lnTo>
                    <a:lnTo>
                      <a:pt x="281" y="922"/>
                    </a:lnTo>
                    <a:lnTo>
                      <a:pt x="281" y="924"/>
                    </a:lnTo>
                    <a:lnTo>
                      <a:pt x="279" y="924"/>
                    </a:lnTo>
                    <a:lnTo>
                      <a:pt x="279" y="925"/>
                    </a:lnTo>
                    <a:lnTo>
                      <a:pt x="279" y="927"/>
                    </a:lnTo>
                    <a:lnTo>
                      <a:pt x="281" y="927"/>
                    </a:lnTo>
                    <a:lnTo>
                      <a:pt x="281" y="929"/>
                    </a:lnTo>
                    <a:lnTo>
                      <a:pt x="279" y="929"/>
                    </a:lnTo>
                    <a:lnTo>
                      <a:pt x="277" y="929"/>
                    </a:lnTo>
                    <a:lnTo>
                      <a:pt x="277" y="930"/>
                    </a:lnTo>
                    <a:lnTo>
                      <a:pt x="277" y="932"/>
                    </a:lnTo>
                    <a:lnTo>
                      <a:pt x="277" y="930"/>
                    </a:lnTo>
                    <a:lnTo>
                      <a:pt x="277" y="932"/>
                    </a:lnTo>
                    <a:lnTo>
                      <a:pt x="275" y="930"/>
                    </a:lnTo>
                    <a:lnTo>
                      <a:pt x="274" y="930"/>
                    </a:lnTo>
                    <a:lnTo>
                      <a:pt x="274" y="932"/>
                    </a:lnTo>
                    <a:lnTo>
                      <a:pt x="272" y="932"/>
                    </a:lnTo>
                    <a:lnTo>
                      <a:pt x="272" y="934"/>
                    </a:lnTo>
                    <a:lnTo>
                      <a:pt x="270" y="934"/>
                    </a:lnTo>
                    <a:lnTo>
                      <a:pt x="269" y="935"/>
                    </a:lnTo>
                    <a:lnTo>
                      <a:pt x="267" y="937"/>
                    </a:lnTo>
                    <a:lnTo>
                      <a:pt x="267" y="939"/>
                    </a:lnTo>
                    <a:lnTo>
                      <a:pt x="267" y="941"/>
                    </a:lnTo>
                    <a:lnTo>
                      <a:pt x="267" y="942"/>
                    </a:lnTo>
                    <a:lnTo>
                      <a:pt x="265" y="942"/>
                    </a:lnTo>
                    <a:lnTo>
                      <a:pt x="265" y="944"/>
                    </a:lnTo>
                    <a:lnTo>
                      <a:pt x="265" y="946"/>
                    </a:lnTo>
                    <a:lnTo>
                      <a:pt x="267" y="946"/>
                    </a:lnTo>
                    <a:lnTo>
                      <a:pt x="269" y="946"/>
                    </a:lnTo>
                    <a:lnTo>
                      <a:pt x="270" y="947"/>
                    </a:lnTo>
                    <a:lnTo>
                      <a:pt x="270" y="946"/>
                    </a:lnTo>
                    <a:lnTo>
                      <a:pt x="270" y="947"/>
                    </a:lnTo>
                    <a:lnTo>
                      <a:pt x="272" y="947"/>
                    </a:lnTo>
                    <a:lnTo>
                      <a:pt x="272" y="949"/>
                    </a:lnTo>
                    <a:lnTo>
                      <a:pt x="270" y="949"/>
                    </a:lnTo>
                    <a:lnTo>
                      <a:pt x="270" y="951"/>
                    </a:lnTo>
                    <a:lnTo>
                      <a:pt x="269" y="951"/>
                    </a:lnTo>
                    <a:lnTo>
                      <a:pt x="269" y="952"/>
                    </a:lnTo>
                    <a:lnTo>
                      <a:pt x="270" y="952"/>
                    </a:lnTo>
                    <a:lnTo>
                      <a:pt x="269" y="952"/>
                    </a:lnTo>
                    <a:lnTo>
                      <a:pt x="269" y="954"/>
                    </a:lnTo>
                    <a:lnTo>
                      <a:pt x="269" y="952"/>
                    </a:lnTo>
                    <a:lnTo>
                      <a:pt x="267" y="952"/>
                    </a:lnTo>
                    <a:lnTo>
                      <a:pt x="267" y="954"/>
                    </a:lnTo>
                    <a:lnTo>
                      <a:pt x="265" y="952"/>
                    </a:lnTo>
                    <a:lnTo>
                      <a:pt x="264" y="952"/>
                    </a:lnTo>
                    <a:lnTo>
                      <a:pt x="262" y="952"/>
                    </a:lnTo>
                    <a:lnTo>
                      <a:pt x="264" y="952"/>
                    </a:lnTo>
                    <a:lnTo>
                      <a:pt x="262" y="952"/>
                    </a:lnTo>
                    <a:lnTo>
                      <a:pt x="262" y="951"/>
                    </a:lnTo>
                    <a:lnTo>
                      <a:pt x="260" y="951"/>
                    </a:lnTo>
                    <a:lnTo>
                      <a:pt x="260" y="952"/>
                    </a:lnTo>
                    <a:lnTo>
                      <a:pt x="258" y="952"/>
                    </a:lnTo>
                    <a:lnTo>
                      <a:pt x="258" y="954"/>
                    </a:lnTo>
                    <a:lnTo>
                      <a:pt x="257" y="954"/>
                    </a:lnTo>
                    <a:lnTo>
                      <a:pt x="257" y="952"/>
                    </a:lnTo>
                    <a:lnTo>
                      <a:pt x="255" y="951"/>
                    </a:lnTo>
                    <a:lnTo>
                      <a:pt x="253" y="951"/>
                    </a:lnTo>
                    <a:lnTo>
                      <a:pt x="252" y="951"/>
                    </a:lnTo>
                    <a:lnTo>
                      <a:pt x="250" y="951"/>
                    </a:lnTo>
                    <a:lnTo>
                      <a:pt x="248" y="952"/>
                    </a:lnTo>
                    <a:lnTo>
                      <a:pt x="247" y="954"/>
                    </a:lnTo>
                    <a:lnTo>
                      <a:pt x="245" y="954"/>
                    </a:lnTo>
                    <a:lnTo>
                      <a:pt x="245" y="952"/>
                    </a:lnTo>
                    <a:lnTo>
                      <a:pt x="243" y="954"/>
                    </a:lnTo>
                    <a:lnTo>
                      <a:pt x="245" y="954"/>
                    </a:lnTo>
                    <a:lnTo>
                      <a:pt x="243" y="954"/>
                    </a:lnTo>
                    <a:lnTo>
                      <a:pt x="241" y="954"/>
                    </a:lnTo>
                    <a:lnTo>
                      <a:pt x="240" y="954"/>
                    </a:lnTo>
                    <a:lnTo>
                      <a:pt x="240" y="956"/>
                    </a:lnTo>
                    <a:lnTo>
                      <a:pt x="238" y="958"/>
                    </a:lnTo>
                    <a:lnTo>
                      <a:pt x="238" y="959"/>
                    </a:lnTo>
                    <a:lnTo>
                      <a:pt x="240" y="958"/>
                    </a:lnTo>
                    <a:lnTo>
                      <a:pt x="240" y="959"/>
                    </a:lnTo>
                    <a:lnTo>
                      <a:pt x="238" y="959"/>
                    </a:lnTo>
                    <a:lnTo>
                      <a:pt x="238" y="958"/>
                    </a:lnTo>
                    <a:lnTo>
                      <a:pt x="236" y="958"/>
                    </a:lnTo>
                    <a:lnTo>
                      <a:pt x="236" y="959"/>
                    </a:lnTo>
                    <a:lnTo>
                      <a:pt x="238" y="959"/>
                    </a:lnTo>
                    <a:lnTo>
                      <a:pt x="238" y="961"/>
                    </a:lnTo>
                    <a:lnTo>
                      <a:pt x="238" y="963"/>
                    </a:lnTo>
                    <a:lnTo>
                      <a:pt x="238" y="961"/>
                    </a:lnTo>
                    <a:lnTo>
                      <a:pt x="236" y="961"/>
                    </a:lnTo>
                    <a:lnTo>
                      <a:pt x="235" y="961"/>
                    </a:lnTo>
                    <a:lnTo>
                      <a:pt x="233" y="961"/>
                    </a:lnTo>
                    <a:lnTo>
                      <a:pt x="233" y="963"/>
                    </a:lnTo>
                    <a:lnTo>
                      <a:pt x="231" y="963"/>
                    </a:lnTo>
                    <a:lnTo>
                      <a:pt x="230" y="963"/>
                    </a:lnTo>
                    <a:lnTo>
                      <a:pt x="228" y="963"/>
                    </a:lnTo>
                    <a:lnTo>
                      <a:pt x="226" y="963"/>
                    </a:lnTo>
                    <a:lnTo>
                      <a:pt x="224" y="964"/>
                    </a:lnTo>
                    <a:lnTo>
                      <a:pt x="223" y="966"/>
                    </a:lnTo>
                    <a:lnTo>
                      <a:pt x="221" y="966"/>
                    </a:lnTo>
                    <a:lnTo>
                      <a:pt x="221" y="968"/>
                    </a:lnTo>
                    <a:lnTo>
                      <a:pt x="219" y="969"/>
                    </a:lnTo>
                    <a:lnTo>
                      <a:pt x="218" y="971"/>
                    </a:lnTo>
                    <a:lnTo>
                      <a:pt x="218" y="973"/>
                    </a:lnTo>
                    <a:lnTo>
                      <a:pt x="216" y="975"/>
                    </a:lnTo>
                    <a:lnTo>
                      <a:pt x="214" y="976"/>
                    </a:lnTo>
                    <a:lnTo>
                      <a:pt x="214" y="978"/>
                    </a:lnTo>
                    <a:lnTo>
                      <a:pt x="213" y="978"/>
                    </a:lnTo>
                    <a:lnTo>
                      <a:pt x="213" y="980"/>
                    </a:lnTo>
                    <a:lnTo>
                      <a:pt x="211" y="980"/>
                    </a:lnTo>
                    <a:lnTo>
                      <a:pt x="211" y="981"/>
                    </a:lnTo>
                    <a:lnTo>
                      <a:pt x="211" y="983"/>
                    </a:lnTo>
                    <a:lnTo>
                      <a:pt x="211" y="985"/>
                    </a:lnTo>
                    <a:lnTo>
                      <a:pt x="211" y="987"/>
                    </a:lnTo>
                    <a:lnTo>
                      <a:pt x="209" y="987"/>
                    </a:lnTo>
                    <a:lnTo>
                      <a:pt x="211" y="988"/>
                    </a:lnTo>
                    <a:lnTo>
                      <a:pt x="209" y="988"/>
                    </a:lnTo>
                    <a:lnTo>
                      <a:pt x="211" y="990"/>
                    </a:lnTo>
                    <a:lnTo>
                      <a:pt x="209" y="990"/>
                    </a:lnTo>
                    <a:lnTo>
                      <a:pt x="207" y="990"/>
                    </a:lnTo>
                    <a:lnTo>
                      <a:pt x="207" y="992"/>
                    </a:lnTo>
                    <a:lnTo>
                      <a:pt x="206" y="992"/>
                    </a:lnTo>
                    <a:lnTo>
                      <a:pt x="207" y="993"/>
                    </a:lnTo>
                    <a:lnTo>
                      <a:pt x="206" y="993"/>
                    </a:lnTo>
                    <a:lnTo>
                      <a:pt x="206" y="995"/>
                    </a:lnTo>
                    <a:lnTo>
                      <a:pt x="204" y="995"/>
                    </a:lnTo>
                    <a:lnTo>
                      <a:pt x="204" y="997"/>
                    </a:lnTo>
                    <a:lnTo>
                      <a:pt x="204" y="998"/>
                    </a:lnTo>
                    <a:lnTo>
                      <a:pt x="202" y="998"/>
                    </a:lnTo>
                    <a:lnTo>
                      <a:pt x="202" y="1000"/>
                    </a:lnTo>
                    <a:lnTo>
                      <a:pt x="202" y="1002"/>
                    </a:lnTo>
                    <a:lnTo>
                      <a:pt x="201" y="1002"/>
                    </a:lnTo>
                    <a:lnTo>
                      <a:pt x="202" y="1002"/>
                    </a:lnTo>
                    <a:lnTo>
                      <a:pt x="201" y="1004"/>
                    </a:lnTo>
                    <a:lnTo>
                      <a:pt x="201" y="1005"/>
                    </a:lnTo>
                    <a:lnTo>
                      <a:pt x="201" y="1007"/>
                    </a:lnTo>
                    <a:lnTo>
                      <a:pt x="202" y="1009"/>
                    </a:lnTo>
                    <a:lnTo>
                      <a:pt x="202" y="1012"/>
                    </a:lnTo>
                    <a:lnTo>
                      <a:pt x="202" y="1014"/>
                    </a:lnTo>
                    <a:lnTo>
                      <a:pt x="202" y="1015"/>
                    </a:lnTo>
                    <a:lnTo>
                      <a:pt x="204" y="1017"/>
                    </a:lnTo>
                    <a:lnTo>
                      <a:pt x="204" y="1019"/>
                    </a:lnTo>
                    <a:lnTo>
                      <a:pt x="206" y="1021"/>
                    </a:lnTo>
                    <a:lnTo>
                      <a:pt x="206" y="1022"/>
                    </a:lnTo>
                    <a:lnTo>
                      <a:pt x="206" y="1024"/>
                    </a:lnTo>
                    <a:lnTo>
                      <a:pt x="207" y="1024"/>
                    </a:lnTo>
                    <a:lnTo>
                      <a:pt x="207" y="1027"/>
                    </a:lnTo>
                    <a:lnTo>
                      <a:pt x="209" y="1027"/>
                    </a:lnTo>
                    <a:lnTo>
                      <a:pt x="209" y="1029"/>
                    </a:lnTo>
                    <a:lnTo>
                      <a:pt x="211" y="1029"/>
                    </a:lnTo>
                    <a:lnTo>
                      <a:pt x="211" y="1031"/>
                    </a:lnTo>
                    <a:lnTo>
                      <a:pt x="213" y="1031"/>
                    </a:lnTo>
                    <a:lnTo>
                      <a:pt x="214" y="1031"/>
                    </a:lnTo>
                    <a:lnTo>
                      <a:pt x="214" y="1032"/>
                    </a:lnTo>
                    <a:lnTo>
                      <a:pt x="216" y="1032"/>
                    </a:lnTo>
                    <a:lnTo>
                      <a:pt x="218" y="1034"/>
                    </a:lnTo>
                    <a:lnTo>
                      <a:pt x="219" y="1036"/>
                    </a:lnTo>
                    <a:lnTo>
                      <a:pt x="219" y="1038"/>
                    </a:lnTo>
                    <a:lnTo>
                      <a:pt x="221" y="1038"/>
                    </a:lnTo>
                    <a:lnTo>
                      <a:pt x="221" y="1039"/>
                    </a:lnTo>
                    <a:lnTo>
                      <a:pt x="223" y="1041"/>
                    </a:lnTo>
                    <a:lnTo>
                      <a:pt x="224" y="1043"/>
                    </a:lnTo>
                    <a:lnTo>
                      <a:pt x="226" y="1044"/>
                    </a:lnTo>
                    <a:lnTo>
                      <a:pt x="228" y="1046"/>
                    </a:lnTo>
                    <a:lnTo>
                      <a:pt x="228" y="1048"/>
                    </a:lnTo>
                    <a:lnTo>
                      <a:pt x="230" y="1048"/>
                    </a:lnTo>
                    <a:lnTo>
                      <a:pt x="230" y="1049"/>
                    </a:lnTo>
                    <a:lnTo>
                      <a:pt x="231" y="1049"/>
                    </a:lnTo>
                    <a:lnTo>
                      <a:pt x="233" y="1049"/>
                    </a:lnTo>
                    <a:lnTo>
                      <a:pt x="235" y="1051"/>
                    </a:lnTo>
                    <a:lnTo>
                      <a:pt x="236" y="1051"/>
                    </a:lnTo>
                    <a:lnTo>
                      <a:pt x="238" y="1051"/>
                    </a:lnTo>
                    <a:lnTo>
                      <a:pt x="240" y="1051"/>
                    </a:lnTo>
                    <a:lnTo>
                      <a:pt x="241" y="1051"/>
                    </a:lnTo>
                    <a:lnTo>
                      <a:pt x="243" y="1051"/>
                    </a:lnTo>
                    <a:lnTo>
                      <a:pt x="245" y="1051"/>
                    </a:lnTo>
                    <a:lnTo>
                      <a:pt x="245" y="1053"/>
                    </a:lnTo>
                    <a:lnTo>
                      <a:pt x="247" y="1053"/>
                    </a:lnTo>
                    <a:lnTo>
                      <a:pt x="248" y="1053"/>
                    </a:lnTo>
                    <a:lnTo>
                      <a:pt x="250" y="1053"/>
                    </a:lnTo>
                    <a:lnTo>
                      <a:pt x="252" y="1053"/>
                    </a:lnTo>
                    <a:lnTo>
                      <a:pt x="253" y="1053"/>
                    </a:lnTo>
                    <a:lnTo>
                      <a:pt x="255" y="1053"/>
                    </a:lnTo>
                    <a:lnTo>
                      <a:pt x="257" y="1053"/>
                    </a:lnTo>
                    <a:lnTo>
                      <a:pt x="258" y="1053"/>
                    </a:lnTo>
                    <a:lnTo>
                      <a:pt x="260" y="1053"/>
                    </a:lnTo>
                    <a:lnTo>
                      <a:pt x="262" y="1055"/>
                    </a:lnTo>
                    <a:lnTo>
                      <a:pt x="262" y="1056"/>
                    </a:lnTo>
                    <a:lnTo>
                      <a:pt x="264" y="1056"/>
                    </a:lnTo>
                    <a:lnTo>
                      <a:pt x="265" y="1058"/>
                    </a:lnTo>
                    <a:lnTo>
                      <a:pt x="265" y="1060"/>
                    </a:lnTo>
                    <a:lnTo>
                      <a:pt x="265" y="1061"/>
                    </a:lnTo>
                    <a:lnTo>
                      <a:pt x="265" y="1063"/>
                    </a:lnTo>
                    <a:lnTo>
                      <a:pt x="265" y="1065"/>
                    </a:lnTo>
                    <a:lnTo>
                      <a:pt x="265" y="1066"/>
                    </a:lnTo>
                    <a:lnTo>
                      <a:pt x="265" y="1068"/>
                    </a:lnTo>
                    <a:lnTo>
                      <a:pt x="265" y="1070"/>
                    </a:lnTo>
                    <a:lnTo>
                      <a:pt x="265" y="1072"/>
                    </a:lnTo>
                    <a:lnTo>
                      <a:pt x="265" y="1073"/>
                    </a:lnTo>
                    <a:lnTo>
                      <a:pt x="265" y="1075"/>
                    </a:lnTo>
                    <a:lnTo>
                      <a:pt x="265" y="1077"/>
                    </a:lnTo>
                    <a:lnTo>
                      <a:pt x="264" y="1077"/>
                    </a:lnTo>
                    <a:lnTo>
                      <a:pt x="264" y="1078"/>
                    </a:lnTo>
                    <a:lnTo>
                      <a:pt x="264" y="1080"/>
                    </a:lnTo>
                    <a:lnTo>
                      <a:pt x="262" y="1082"/>
                    </a:lnTo>
                    <a:lnTo>
                      <a:pt x="262" y="1083"/>
                    </a:lnTo>
                    <a:lnTo>
                      <a:pt x="262" y="1085"/>
                    </a:lnTo>
                    <a:lnTo>
                      <a:pt x="260" y="1087"/>
                    </a:lnTo>
                    <a:lnTo>
                      <a:pt x="260" y="1089"/>
                    </a:lnTo>
                    <a:lnTo>
                      <a:pt x="260" y="1090"/>
                    </a:lnTo>
                    <a:lnTo>
                      <a:pt x="260" y="1092"/>
                    </a:lnTo>
                    <a:lnTo>
                      <a:pt x="262" y="1092"/>
                    </a:lnTo>
                    <a:lnTo>
                      <a:pt x="262" y="1094"/>
                    </a:lnTo>
                    <a:lnTo>
                      <a:pt x="264" y="1094"/>
                    </a:lnTo>
                    <a:lnTo>
                      <a:pt x="264" y="1095"/>
                    </a:lnTo>
                    <a:lnTo>
                      <a:pt x="262" y="1097"/>
                    </a:lnTo>
                    <a:lnTo>
                      <a:pt x="262" y="1095"/>
                    </a:lnTo>
                    <a:lnTo>
                      <a:pt x="260" y="1095"/>
                    </a:lnTo>
                    <a:lnTo>
                      <a:pt x="258" y="1095"/>
                    </a:lnTo>
                    <a:lnTo>
                      <a:pt x="258" y="1097"/>
                    </a:lnTo>
                    <a:lnTo>
                      <a:pt x="258" y="1099"/>
                    </a:lnTo>
                    <a:lnTo>
                      <a:pt x="258" y="1100"/>
                    </a:lnTo>
                    <a:lnTo>
                      <a:pt x="257" y="1100"/>
                    </a:lnTo>
                    <a:lnTo>
                      <a:pt x="257" y="1102"/>
                    </a:lnTo>
                    <a:lnTo>
                      <a:pt x="258" y="1102"/>
                    </a:lnTo>
                    <a:lnTo>
                      <a:pt x="260" y="1102"/>
                    </a:lnTo>
                    <a:lnTo>
                      <a:pt x="260" y="1104"/>
                    </a:lnTo>
                    <a:lnTo>
                      <a:pt x="258" y="1104"/>
                    </a:lnTo>
                    <a:lnTo>
                      <a:pt x="260" y="1104"/>
                    </a:lnTo>
                    <a:lnTo>
                      <a:pt x="258" y="1104"/>
                    </a:lnTo>
                    <a:lnTo>
                      <a:pt x="257" y="1104"/>
                    </a:lnTo>
                    <a:lnTo>
                      <a:pt x="255" y="1104"/>
                    </a:lnTo>
                    <a:lnTo>
                      <a:pt x="253" y="1104"/>
                    </a:lnTo>
                    <a:lnTo>
                      <a:pt x="252" y="1104"/>
                    </a:lnTo>
                    <a:lnTo>
                      <a:pt x="252" y="1106"/>
                    </a:lnTo>
                    <a:lnTo>
                      <a:pt x="252" y="1107"/>
                    </a:lnTo>
                    <a:lnTo>
                      <a:pt x="250" y="1107"/>
                    </a:lnTo>
                    <a:lnTo>
                      <a:pt x="252" y="1109"/>
                    </a:lnTo>
                    <a:lnTo>
                      <a:pt x="250" y="1109"/>
                    </a:lnTo>
                    <a:lnTo>
                      <a:pt x="248" y="1109"/>
                    </a:lnTo>
                    <a:lnTo>
                      <a:pt x="247" y="1111"/>
                    </a:lnTo>
                    <a:lnTo>
                      <a:pt x="247" y="1112"/>
                    </a:lnTo>
                    <a:lnTo>
                      <a:pt x="245" y="1112"/>
                    </a:lnTo>
                    <a:lnTo>
                      <a:pt x="245" y="1114"/>
                    </a:lnTo>
                    <a:lnTo>
                      <a:pt x="245" y="1116"/>
                    </a:lnTo>
                    <a:lnTo>
                      <a:pt x="245" y="1117"/>
                    </a:lnTo>
                    <a:lnTo>
                      <a:pt x="245" y="1116"/>
                    </a:lnTo>
                    <a:lnTo>
                      <a:pt x="245" y="1117"/>
                    </a:lnTo>
                    <a:lnTo>
                      <a:pt x="243" y="1116"/>
                    </a:lnTo>
                    <a:lnTo>
                      <a:pt x="241" y="1116"/>
                    </a:lnTo>
                    <a:lnTo>
                      <a:pt x="240" y="1117"/>
                    </a:lnTo>
                    <a:lnTo>
                      <a:pt x="240" y="1119"/>
                    </a:lnTo>
                    <a:lnTo>
                      <a:pt x="238" y="1119"/>
                    </a:lnTo>
                    <a:lnTo>
                      <a:pt x="238" y="1121"/>
                    </a:lnTo>
                    <a:lnTo>
                      <a:pt x="238" y="1119"/>
                    </a:lnTo>
                    <a:lnTo>
                      <a:pt x="236" y="1119"/>
                    </a:lnTo>
                    <a:lnTo>
                      <a:pt x="235" y="1121"/>
                    </a:lnTo>
                    <a:lnTo>
                      <a:pt x="233" y="1121"/>
                    </a:lnTo>
                    <a:lnTo>
                      <a:pt x="231" y="1123"/>
                    </a:lnTo>
                    <a:lnTo>
                      <a:pt x="230" y="1124"/>
                    </a:lnTo>
                    <a:lnTo>
                      <a:pt x="228" y="1124"/>
                    </a:lnTo>
                    <a:lnTo>
                      <a:pt x="228" y="1126"/>
                    </a:lnTo>
                    <a:lnTo>
                      <a:pt x="226" y="1128"/>
                    </a:lnTo>
                    <a:lnTo>
                      <a:pt x="226" y="1129"/>
                    </a:lnTo>
                    <a:lnTo>
                      <a:pt x="224" y="1129"/>
                    </a:lnTo>
                    <a:lnTo>
                      <a:pt x="223" y="1129"/>
                    </a:lnTo>
                    <a:lnTo>
                      <a:pt x="221" y="1131"/>
                    </a:lnTo>
                    <a:lnTo>
                      <a:pt x="219" y="1133"/>
                    </a:lnTo>
                    <a:lnTo>
                      <a:pt x="218" y="1133"/>
                    </a:lnTo>
                    <a:lnTo>
                      <a:pt x="218" y="1135"/>
                    </a:lnTo>
                    <a:lnTo>
                      <a:pt x="218" y="1136"/>
                    </a:lnTo>
                    <a:lnTo>
                      <a:pt x="218" y="1138"/>
                    </a:lnTo>
                    <a:lnTo>
                      <a:pt x="216" y="1138"/>
                    </a:lnTo>
                    <a:lnTo>
                      <a:pt x="216" y="1140"/>
                    </a:lnTo>
                    <a:lnTo>
                      <a:pt x="216" y="1141"/>
                    </a:lnTo>
                    <a:lnTo>
                      <a:pt x="214" y="1141"/>
                    </a:lnTo>
                    <a:lnTo>
                      <a:pt x="213" y="1143"/>
                    </a:lnTo>
                    <a:lnTo>
                      <a:pt x="211" y="1143"/>
                    </a:lnTo>
                    <a:lnTo>
                      <a:pt x="209" y="1145"/>
                    </a:lnTo>
                    <a:lnTo>
                      <a:pt x="206" y="1146"/>
                    </a:lnTo>
                    <a:lnTo>
                      <a:pt x="206" y="1148"/>
                    </a:lnTo>
                    <a:lnTo>
                      <a:pt x="204" y="1150"/>
                    </a:lnTo>
                    <a:lnTo>
                      <a:pt x="204" y="1152"/>
                    </a:lnTo>
                    <a:lnTo>
                      <a:pt x="202" y="1152"/>
                    </a:lnTo>
                    <a:lnTo>
                      <a:pt x="202" y="1155"/>
                    </a:lnTo>
                    <a:lnTo>
                      <a:pt x="201" y="1157"/>
                    </a:lnTo>
                    <a:lnTo>
                      <a:pt x="202" y="1158"/>
                    </a:lnTo>
                    <a:lnTo>
                      <a:pt x="201" y="1160"/>
                    </a:lnTo>
                    <a:lnTo>
                      <a:pt x="199" y="1162"/>
                    </a:lnTo>
                    <a:lnTo>
                      <a:pt x="201" y="1162"/>
                    </a:lnTo>
                    <a:lnTo>
                      <a:pt x="199" y="1162"/>
                    </a:lnTo>
                    <a:lnTo>
                      <a:pt x="201" y="1163"/>
                    </a:lnTo>
                    <a:lnTo>
                      <a:pt x="202" y="1162"/>
                    </a:lnTo>
                    <a:lnTo>
                      <a:pt x="202" y="1163"/>
                    </a:lnTo>
                    <a:lnTo>
                      <a:pt x="202" y="1165"/>
                    </a:lnTo>
                    <a:lnTo>
                      <a:pt x="202" y="1167"/>
                    </a:lnTo>
                    <a:lnTo>
                      <a:pt x="201" y="1167"/>
                    </a:lnTo>
                    <a:lnTo>
                      <a:pt x="201" y="1169"/>
                    </a:lnTo>
                    <a:lnTo>
                      <a:pt x="201" y="1170"/>
                    </a:lnTo>
                    <a:lnTo>
                      <a:pt x="201" y="1172"/>
                    </a:lnTo>
                    <a:lnTo>
                      <a:pt x="199" y="1174"/>
                    </a:lnTo>
                    <a:lnTo>
                      <a:pt x="199" y="1175"/>
                    </a:lnTo>
                    <a:lnTo>
                      <a:pt x="199" y="1177"/>
                    </a:lnTo>
                    <a:lnTo>
                      <a:pt x="199" y="1179"/>
                    </a:lnTo>
                    <a:lnTo>
                      <a:pt x="199" y="1180"/>
                    </a:lnTo>
                    <a:lnTo>
                      <a:pt x="199" y="1182"/>
                    </a:lnTo>
                    <a:lnTo>
                      <a:pt x="199" y="1184"/>
                    </a:lnTo>
                    <a:lnTo>
                      <a:pt x="199" y="1186"/>
                    </a:lnTo>
                    <a:lnTo>
                      <a:pt x="199" y="1187"/>
                    </a:lnTo>
                    <a:lnTo>
                      <a:pt x="197" y="1189"/>
                    </a:lnTo>
                    <a:lnTo>
                      <a:pt x="197" y="1191"/>
                    </a:lnTo>
                    <a:lnTo>
                      <a:pt x="197" y="1192"/>
                    </a:lnTo>
                    <a:lnTo>
                      <a:pt x="196" y="1194"/>
                    </a:lnTo>
                    <a:lnTo>
                      <a:pt x="196" y="1196"/>
                    </a:lnTo>
                    <a:lnTo>
                      <a:pt x="196" y="1197"/>
                    </a:lnTo>
                    <a:lnTo>
                      <a:pt x="194" y="1197"/>
                    </a:lnTo>
                    <a:lnTo>
                      <a:pt x="194" y="1199"/>
                    </a:lnTo>
                    <a:lnTo>
                      <a:pt x="194" y="1201"/>
                    </a:lnTo>
                    <a:lnTo>
                      <a:pt x="192" y="1201"/>
                    </a:lnTo>
                    <a:lnTo>
                      <a:pt x="192" y="1203"/>
                    </a:lnTo>
                    <a:lnTo>
                      <a:pt x="190" y="1203"/>
                    </a:lnTo>
                    <a:lnTo>
                      <a:pt x="189" y="1204"/>
                    </a:lnTo>
                    <a:lnTo>
                      <a:pt x="187" y="1204"/>
                    </a:lnTo>
                    <a:lnTo>
                      <a:pt x="187" y="1206"/>
                    </a:lnTo>
                    <a:lnTo>
                      <a:pt x="185" y="1206"/>
                    </a:lnTo>
                    <a:lnTo>
                      <a:pt x="184" y="1208"/>
                    </a:lnTo>
                    <a:lnTo>
                      <a:pt x="182" y="1208"/>
                    </a:lnTo>
                    <a:lnTo>
                      <a:pt x="180" y="1208"/>
                    </a:lnTo>
                    <a:lnTo>
                      <a:pt x="179" y="1208"/>
                    </a:lnTo>
                    <a:lnTo>
                      <a:pt x="177" y="1208"/>
                    </a:lnTo>
                    <a:lnTo>
                      <a:pt x="177" y="1209"/>
                    </a:lnTo>
                    <a:lnTo>
                      <a:pt x="177" y="1211"/>
                    </a:lnTo>
                    <a:lnTo>
                      <a:pt x="175" y="1211"/>
                    </a:lnTo>
                    <a:lnTo>
                      <a:pt x="173" y="1213"/>
                    </a:lnTo>
                    <a:lnTo>
                      <a:pt x="172" y="1213"/>
                    </a:lnTo>
                    <a:lnTo>
                      <a:pt x="170" y="1213"/>
                    </a:lnTo>
                    <a:lnTo>
                      <a:pt x="170" y="1214"/>
                    </a:lnTo>
                    <a:lnTo>
                      <a:pt x="168" y="1214"/>
                    </a:lnTo>
                    <a:lnTo>
                      <a:pt x="167" y="1214"/>
                    </a:lnTo>
                    <a:lnTo>
                      <a:pt x="167" y="1216"/>
                    </a:lnTo>
                    <a:lnTo>
                      <a:pt x="167" y="1214"/>
                    </a:lnTo>
                    <a:lnTo>
                      <a:pt x="167" y="1216"/>
                    </a:lnTo>
                    <a:lnTo>
                      <a:pt x="165" y="1216"/>
                    </a:lnTo>
                    <a:lnTo>
                      <a:pt x="163" y="1216"/>
                    </a:lnTo>
                    <a:lnTo>
                      <a:pt x="162" y="1218"/>
                    </a:lnTo>
                    <a:lnTo>
                      <a:pt x="160" y="1218"/>
                    </a:lnTo>
                    <a:lnTo>
                      <a:pt x="160" y="1220"/>
                    </a:lnTo>
                    <a:lnTo>
                      <a:pt x="158" y="1220"/>
                    </a:lnTo>
                    <a:lnTo>
                      <a:pt x="160" y="1221"/>
                    </a:lnTo>
                    <a:lnTo>
                      <a:pt x="158" y="1221"/>
                    </a:lnTo>
                    <a:lnTo>
                      <a:pt x="156" y="1223"/>
                    </a:lnTo>
                    <a:lnTo>
                      <a:pt x="156" y="1225"/>
                    </a:lnTo>
                    <a:lnTo>
                      <a:pt x="155" y="1225"/>
                    </a:lnTo>
                    <a:lnTo>
                      <a:pt x="155" y="1226"/>
                    </a:lnTo>
                    <a:lnTo>
                      <a:pt x="153" y="1228"/>
                    </a:lnTo>
                    <a:lnTo>
                      <a:pt x="153" y="1230"/>
                    </a:lnTo>
                    <a:lnTo>
                      <a:pt x="153" y="1231"/>
                    </a:lnTo>
                    <a:lnTo>
                      <a:pt x="153" y="1233"/>
                    </a:lnTo>
                    <a:lnTo>
                      <a:pt x="151" y="1233"/>
                    </a:lnTo>
                    <a:lnTo>
                      <a:pt x="151" y="1235"/>
                    </a:lnTo>
                    <a:lnTo>
                      <a:pt x="151" y="1237"/>
                    </a:lnTo>
                    <a:lnTo>
                      <a:pt x="151" y="1238"/>
                    </a:lnTo>
                    <a:lnTo>
                      <a:pt x="150" y="1240"/>
                    </a:lnTo>
                    <a:lnTo>
                      <a:pt x="150" y="1242"/>
                    </a:lnTo>
                    <a:lnTo>
                      <a:pt x="151" y="1243"/>
                    </a:lnTo>
                    <a:lnTo>
                      <a:pt x="151" y="1245"/>
                    </a:lnTo>
                    <a:lnTo>
                      <a:pt x="151" y="1247"/>
                    </a:lnTo>
                    <a:lnTo>
                      <a:pt x="151" y="1248"/>
                    </a:lnTo>
                    <a:lnTo>
                      <a:pt x="150" y="1250"/>
                    </a:lnTo>
                    <a:lnTo>
                      <a:pt x="148" y="1252"/>
                    </a:lnTo>
                    <a:lnTo>
                      <a:pt x="148" y="1254"/>
                    </a:lnTo>
                    <a:lnTo>
                      <a:pt x="150" y="1254"/>
                    </a:lnTo>
                    <a:lnTo>
                      <a:pt x="150" y="1255"/>
                    </a:lnTo>
                    <a:lnTo>
                      <a:pt x="150" y="1257"/>
                    </a:lnTo>
                    <a:lnTo>
                      <a:pt x="150" y="1259"/>
                    </a:lnTo>
                    <a:lnTo>
                      <a:pt x="151" y="1264"/>
                    </a:lnTo>
                    <a:lnTo>
                      <a:pt x="151" y="1265"/>
                    </a:lnTo>
                    <a:lnTo>
                      <a:pt x="153" y="1267"/>
                    </a:lnTo>
                    <a:lnTo>
                      <a:pt x="153" y="1269"/>
                    </a:lnTo>
                    <a:lnTo>
                      <a:pt x="153" y="1271"/>
                    </a:lnTo>
                    <a:lnTo>
                      <a:pt x="155" y="1274"/>
                    </a:lnTo>
                    <a:lnTo>
                      <a:pt x="155" y="1276"/>
                    </a:lnTo>
                    <a:lnTo>
                      <a:pt x="155" y="1279"/>
                    </a:lnTo>
                    <a:lnTo>
                      <a:pt x="156" y="1281"/>
                    </a:lnTo>
                    <a:lnTo>
                      <a:pt x="156" y="1282"/>
                    </a:lnTo>
                    <a:lnTo>
                      <a:pt x="156" y="1284"/>
                    </a:lnTo>
                    <a:lnTo>
                      <a:pt x="156" y="1286"/>
                    </a:lnTo>
                    <a:lnTo>
                      <a:pt x="155" y="1286"/>
                    </a:lnTo>
                    <a:lnTo>
                      <a:pt x="155" y="1288"/>
                    </a:lnTo>
                    <a:lnTo>
                      <a:pt x="156" y="1288"/>
                    </a:lnTo>
                    <a:lnTo>
                      <a:pt x="156" y="1289"/>
                    </a:lnTo>
                    <a:lnTo>
                      <a:pt x="156" y="1291"/>
                    </a:lnTo>
                    <a:lnTo>
                      <a:pt x="158" y="1293"/>
                    </a:lnTo>
                    <a:lnTo>
                      <a:pt x="160" y="1296"/>
                    </a:lnTo>
                    <a:lnTo>
                      <a:pt x="162" y="1300"/>
                    </a:lnTo>
                    <a:lnTo>
                      <a:pt x="163" y="1305"/>
                    </a:lnTo>
                    <a:lnTo>
                      <a:pt x="165" y="1308"/>
                    </a:lnTo>
                    <a:lnTo>
                      <a:pt x="167" y="1310"/>
                    </a:lnTo>
                    <a:lnTo>
                      <a:pt x="168" y="1315"/>
                    </a:lnTo>
                    <a:lnTo>
                      <a:pt x="170" y="1317"/>
                    </a:lnTo>
                    <a:lnTo>
                      <a:pt x="173" y="1322"/>
                    </a:lnTo>
                    <a:lnTo>
                      <a:pt x="175" y="1325"/>
                    </a:lnTo>
                    <a:lnTo>
                      <a:pt x="177" y="1325"/>
                    </a:lnTo>
                    <a:lnTo>
                      <a:pt x="177" y="1327"/>
                    </a:lnTo>
                    <a:lnTo>
                      <a:pt x="177" y="1328"/>
                    </a:lnTo>
                    <a:lnTo>
                      <a:pt x="175" y="1328"/>
                    </a:lnTo>
                    <a:lnTo>
                      <a:pt x="175" y="1330"/>
                    </a:lnTo>
                    <a:lnTo>
                      <a:pt x="175" y="1328"/>
                    </a:lnTo>
                    <a:lnTo>
                      <a:pt x="175" y="1327"/>
                    </a:lnTo>
                    <a:lnTo>
                      <a:pt x="173" y="1327"/>
                    </a:lnTo>
                    <a:lnTo>
                      <a:pt x="172" y="1327"/>
                    </a:lnTo>
                    <a:lnTo>
                      <a:pt x="170" y="1327"/>
                    </a:lnTo>
                    <a:lnTo>
                      <a:pt x="168" y="1327"/>
                    </a:lnTo>
                    <a:lnTo>
                      <a:pt x="168" y="1325"/>
                    </a:lnTo>
                    <a:lnTo>
                      <a:pt x="167" y="1325"/>
                    </a:lnTo>
                    <a:lnTo>
                      <a:pt x="165" y="1325"/>
                    </a:lnTo>
                    <a:lnTo>
                      <a:pt x="163" y="1325"/>
                    </a:lnTo>
                    <a:lnTo>
                      <a:pt x="163" y="1323"/>
                    </a:lnTo>
                    <a:lnTo>
                      <a:pt x="162" y="1323"/>
                    </a:lnTo>
                    <a:lnTo>
                      <a:pt x="158" y="1322"/>
                    </a:lnTo>
                    <a:lnTo>
                      <a:pt x="156" y="1322"/>
                    </a:lnTo>
                    <a:lnTo>
                      <a:pt x="155" y="1320"/>
                    </a:lnTo>
                    <a:lnTo>
                      <a:pt x="153" y="1320"/>
                    </a:lnTo>
                    <a:lnTo>
                      <a:pt x="151" y="1320"/>
                    </a:lnTo>
                    <a:lnTo>
                      <a:pt x="150" y="1318"/>
                    </a:lnTo>
                    <a:lnTo>
                      <a:pt x="148" y="1318"/>
                    </a:lnTo>
                    <a:lnTo>
                      <a:pt x="145" y="1318"/>
                    </a:lnTo>
                    <a:lnTo>
                      <a:pt x="141" y="1318"/>
                    </a:lnTo>
                    <a:lnTo>
                      <a:pt x="139" y="1317"/>
                    </a:lnTo>
                    <a:lnTo>
                      <a:pt x="138" y="1317"/>
                    </a:lnTo>
                    <a:lnTo>
                      <a:pt x="134" y="1315"/>
                    </a:lnTo>
                    <a:lnTo>
                      <a:pt x="131" y="1313"/>
                    </a:lnTo>
                    <a:lnTo>
                      <a:pt x="128" y="1313"/>
                    </a:lnTo>
                    <a:lnTo>
                      <a:pt x="126" y="1311"/>
                    </a:lnTo>
                    <a:lnTo>
                      <a:pt x="124" y="1310"/>
                    </a:lnTo>
                    <a:lnTo>
                      <a:pt x="121" y="1308"/>
                    </a:lnTo>
                    <a:lnTo>
                      <a:pt x="109" y="1310"/>
                    </a:lnTo>
                    <a:lnTo>
                      <a:pt x="104" y="1308"/>
                    </a:lnTo>
                    <a:lnTo>
                      <a:pt x="99" y="1310"/>
                    </a:lnTo>
                    <a:lnTo>
                      <a:pt x="92" y="1308"/>
                    </a:lnTo>
                    <a:lnTo>
                      <a:pt x="78" y="1310"/>
                    </a:lnTo>
                    <a:lnTo>
                      <a:pt x="75" y="1308"/>
                    </a:lnTo>
                    <a:lnTo>
                      <a:pt x="73" y="1308"/>
                    </a:lnTo>
                    <a:lnTo>
                      <a:pt x="65" y="1308"/>
                    </a:lnTo>
                    <a:lnTo>
                      <a:pt x="56" y="1310"/>
                    </a:lnTo>
                    <a:lnTo>
                      <a:pt x="56" y="1308"/>
                    </a:lnTo>
                    <a:lnTo>
                      <a:pt x="54" y="1308"/>
                    </a:lnTo>
                    <a:lnTo>
                      <a:pt x="53" y="1308"/>
                    </a:lnTo>
                    <a:lnTo>
                      <a:pt x="53" y="1306"/>
                    </a:lnTo>
                    <a:lnTo>
                      <a:pt x="54" y="1306"/>
                    </a:lnTo>
                    <a:lnTo>
                      <a:pt x="54" y="1305"/>
                    </a:lnTo>
                    <a:lnTo>
                      <a:pt x="56" y="1305"/>
                    </a:lnTo>
                    <a:lnTo>
                      <a:pt x="56" y="1303"/>
                    </a:lnTo>
                    <a:lnTo>
                      <a:pt x="54" y="1301"/>
                    </a:lnTo>
                    <a:lnTo>
                      <a:pt x="54" y="1300"/>
                    </a:lnTo>
                    <a:lnTo>
                      <a:pt x="53" y="1300"/>
                    </a:lnTo>
                    <a:lnTo>
                      <a:pt x="53" y="1298"/>
                    </a:lnTo>
                    <a:lnTo>
                      <a:pt x="51" y="1298"/>
                    </a:lnTo>
                    <a:lnTo>
                      <a:pt x="51" y="1296"/>
                    </a:lnTo>
                    <a:lnTo>
                      <a:pt x="49" y="1296"/>
                    </a:lnTo>
                    <a:lnTo>
                      <a:pt x="49" y="1294"/>
                    </a:lnTo>
                    <a:lnTo>
                      <a:pt x="48" y="1294"/>
                    </a:lnTo>
                    <a:lnTo>
                      <a:pt x="48" y="1293"/>
                    </a:lnTo>
                    <a:lnTo>
                      <a:pt x="46" y="1293"/>
                    </a:lnTo>
                    <a:lnTo>
                      <a:pt x="44" y="1293"/>
                    </a:lnTo>
                    <a:lnTo>
                      <a:pt x="44" y="1291"/>
                    </a:lnTo>
                    <a:lnTo>
                      <a:pt x="44" y="1289"/>
                    </a:lnTo>
                    <a:lnTo>
                      <a:pt x="43" y="1288"/>
                    </a:lnTo>
                    <a:lnTo>
                      <a:pt x="43" y="1286"/>
                    </a:lnTo>
                    <a:lnTo>
                      <a:pt x="41" y="1286"/>
                    </a:lnTo>
                    <a:lnTo>
                      <a:pt x="39" y="1286"/>
                    </a:lnTo>
                    <a:lnTo>
                      <a:pt x="39" y="1284"/>
                    </a:lnTo>
                    <a:lnTo>
                      <a:pt x="41" y="1282"/>
                    </a:lnTo>
                    <a:lnTo>
                      <a:pt x="39" y="1282"/>
                    </a:lnTo>
                    <a:lnTo>
                      <a:pt x="41" y="1282"/>
                    </a:lnTo>
                    <a:lnTo>
                      <a:pt x="43" y="1282"/>
                    </a:lnTo>
                    <a:lnTo>
                      <a:pt x="43" y="1281"/>
                    </a:lnTo>
                    <a:lnTo>
                      <a:pt x="43" y="1279"/>
                    </a:lnTo>
                    <a:lnTo>
                      <a:pt x="43" y="1277"/>
                    </a:lnTo>
                    <a:lnTo>
                      <a:pt x="43" y="1276"/>
                    </a:lnTo>
                    <a:lnTo>
                      <a:pt x="43" y="1274"/>
                    </a:lnTo>
                    <a:lnTo>
                      <a:pt x="41" y="1272"/>
                    </a:lnTo>
                    <a:lnTo>
                      <a:pt x="43" y="1272"/>
                    </a:lnTo>
                    <a:lnTo>
                      <a:pt x="43" y="1271"/>
                    </a:lnTo>
                    <a:lnTo>
                      <a:pt x="44" y="1271"/>
                    </a:lnTo>
                    <a:lnTo>
                      <a:pt x="44" y="1269"/>
                    </a:lnTo>
                    <a:lnTo>
                      <a:pt x="44" y="1267"/>
                    </a:lnTo>
                    <a:lnTo>
                      <a:pt x="44" y="1265"/>
                    </a:lnTo>
                    <a:lnTo>
                      <a:pt x="43" y="1265"/>
                    </a:lnTo>
                    <a:lnTo>
                      <a:pt x="41" y="1264"/>
                    </a:lnTo>
                    <a:lnTo>
                      <a:pt x="41" y="1262"/>
                    </a:lnTo>
                    <a:lnTo>
                      <a:pt x="41" y="1260"/>
                    </a:lnTo>
                    <a:lnTo>
                      <a:pt x="39" y="1260"/>
                    </a:lnTo>
                    <a:lnTo>
                      <a:pt x="41" y="1259"/>
                    </a:lnTo>
                    <a:lnTo>
                      <a:pt x="41" y="1257"/>
                    </a:lnTo>
                    <a:lnTo>
                      <a:pt x="41" y="1255"/>
                    </a:lnTo>
                    <a:lnTo>
                      <a:pt x="43" y="1255"/>
                    </a:lnTo>
                    <a:lnTo>
                      <a:pt x="43" y="1257"/>
                    </a:lnTo>
                    <a:lnTo>
                      <a:pt x="44" y="1257"/>
                    </a:lnTo>
                    <a:lnTo>
                      <a:pt x="44" y="1255"/>
                    </a:lnTo>
                    <a:lnTo>
                      <a:pt x="44" y="1254"/>
                    </a:lnTo>
                    <a:lnTo>
                      <a:pt x="44" y="1252"/>
                    </a:lnTo>
                    <a:lnTo>
                      <a:pt x="46" y="1250"/>
                    </a:lnTo>
                    <a:lnTo>
                      <a:pt x="46" y="1248"/>
                    </a:lnTo>
                    <a:lnTo>
                      <a:pt x="44" y="1247"/>
                    </a:lnTo>
                    <a:lnTo>
                      <a:pt x="44" y="1245"/>
                    </a:lnTo>
                    <a:lnTo>
                      <a:pt x="44" y="1243"/>
                    </a:lnTo>
                    <a:lnTo>
                      <a:pt x="43" y="1243"/>
                    </a:lnTo>
                    <a:lnTo>
                      <a:pt x="43" y="1242"/>
                    </a:lnTo>
                    <a:lnTo>
                      <a:pt x="43" y="1240"/>
                    </a:lnTo>
                    <a:lnTo>
                      <a:pt x="44" y="1238"/>
                    </a:lnTo>
                    <a:lnTo>
                      <a:pt x="44" y="1237"/>
                    </a:lnTo>
                    <a:lnTo>
                      <a:pt x="43" y="1237"/>
                    </a:lnTo>
                    <a:lnTo>
                      <a:pt x="43" y="1235"/>
                    </a:lnTo>
                    <a:lnTo>
                      <a:pt x="41" y="1235"/>
                    </a:lnTo>
                    <a:lnTo>
                      <a:pt x="39" y="1235"/>
                    </a:lnTo>
                    <a:lnTo>
                      <a:pt x="37" y="1233"/>
                    </a:lnTo>
                    <a:lnTo>
                      <a:pt x="36" y="1235"/>
                    </a:lnTo>
                    <a:lnTo>
                      <a:pt x="34" y="1235"/>
                    </a:lnTo>
                    <a:lnTo>
                      <a:pt x="34" y="1237"/>
                    </a:lnTo>
                    <a:lnTo>
                      <a:pt x="34" y="1238"/>
                    </a:lnTo>
                    <a:lnTo>
                      <a:pt x="32" y="1237"/>
                    </a:lnTo>
                    <a:lnTo>
                      <a:pt x="31" y="1235"/>
                    </a:lnTo>
                    <a:lnTo>
                      <a:pt x="31" y="1237"/>
                    </a:lnTo>
                    <a:lnTo>
                      <a:pt x="29" y="1235"/>
                    </a:lnTo>
                    <a:lnTo>
                      <a:pt x="27" y="1235"/>
                    </a:lnTo>
                    <a:lnTo>
                      <a:pt x="26" y="1237"/>
                    </a:lnTo>
                    <a:lnTo>
                      <a:pt x="24" y="1237"/>
                    </a:lnTo>
                    <a:lnTo>
                      <a:pt x="24" y="1238"/>
                    </a:lnTo>
                    <a:lnTo>
                      <a:pt x="22" y="1238"/>
                    </a:lnTo>
                    <a:lnTo>
                      <a:pt x="22" y="1240"/>
                    </a:lnTo>
                    <a:lnTo>
                      <a:pt x="20" y="1242"/>
                    </a:lnTo>
                    <a:lnTo>
                      <a:pt x="19" y="1242"/>
                    </a:lnTo>
                    <a:lnTo>
                      <a:pt x="17" y="1243"/>
                    </a:lnTo>
                    <a:lnTo>
                      <a:pt x="17" y="1242"/>
                    </a:lnTo>
                    <a:lnTo>
                      <a:pt x="15" y="1243"/>
                    </a:lnTo>
                    <a:lnTo>
                      <a:pt x="14" y="1245"/>
                    </a:lnTo>
                    <a:lnTo>
                      <a:pt x="12" y="1245"/>
                    </a:lnTo>
                    <a:lnTo>
                      <a:pt x="10" y="1245"/>
                    </a:lnTo>
                    <a:lnTo>
                      <a:pt x="10" y="1243"/>
                    </a:lnTo>
                    <a:lnTo>
                      <a:pt x="10" y="1242"/>
                    </a:lnTo>
                    <a:lnTo>
                      <a:pt x="10" y="1240"/>
                    </a:lnTo>
                    <a:lnTo>
                      <a:pt x="12" y="1240"/>
                    </a:lnTo>
                    <a:lnTo>
                      <a:pt x="14" y="1238"/>
                    </a:lnTo>
                    <a:lnTo>
                      <a:pt x="14" y="1237"/>
                    </a:lnTo>
                    <a:lnTo>
                      <a:pt x="12" y="1237"/>
                    </a:lnTo>
                    <a:lnTo>
                      <a:pt x="10" y="1235"/>
                    </a:lnTo>
                    <a:lnTo>
                      <a:pt x="10" y="1233"/>
                    </a:lnTo>
                    <a:lnTo>
                      <a:pt x="10" y="1231"/>
                    </a:lnTo>
                    <a:lnTo>
                      <a:pt x="9" y="1231"/>
                    </a:lnTo>
                    <a:lnTo>
                      <a:pt x="9" y="1230"/>
                    </a:lnTo>
                    <a:lnTo>
                      <a:pt x="7" y="1228"/>
                    </a:lnTo>
                    <a:lnTo>
                      <a:pt x="9" y="1228"/>
                    </a:lnTo>
                    <a:lnTo>
                      <a:pt x="7" y="1226"/>
                    </a:lnTo>
                    <a:lnTo>
                      <a:pt x="5" y="1226"/>
                    </a:lnTo>
                    <a:lnTo>
                      <a:pt x="7" y="1226"/>
                    </a:lnTo>
                    <a:lnTo>
                      <a:pt x="5" y="1225"/>
                    </a:lnTo>
                    <a:lnTo>
                      <a:pt x="3" y="1221"/>
                    </a:lnTo>
                    <a:lnTo>
                      <a:pt x="3" y="1220"/>
                    </a:lnTo>
                    <a:lnTo>
                      <a:pt x="3" y="1218"/>
                    </a:lnTo>
                    <a:lnTo>
                      <a:pt x="2" y="1218"/>
                    </a:lnTo>
                    <a:lnTo>
                      <a:pt x="2" y="1216"/>
                    </a:lnTo>
                    <a:lnTo>
                      <a:pt x="0" y="1214"/>
                    </a:lnTo>
                    <a:lnTo>
                      <a:pt x="2" y="1213"/>
                    </a:lnTo>
                    <a:lnTo>
                      <a:pt x="2" y="1211"/>
                    </a:lnTo>
                    <a:lnTo>
                      <a:pt x="2" y="1209"/>
                    </a:lnTo>
                    <a:lnTo>
                      <a:pt x="2" y="1208"/>
                    </a:lnTo>
                    <a:lnTo>
                      <a:pt x="3" y="1206"/>
                    </a:lnTo>
                    <a:lnTo>
                      <a:pt x="3" y="1204"/>
                    </a:lnTo>
                    <a:lnTo>
                      <a:pt x="2" y="1204"/>
                    </a:lnTo>
                    <a:lnTo>
                      <a:pt x="2" y="1203"/>
                    </a:lnTo>
                    <a:lnTo>
                      <a:pt x="2" y="1201"/>
                    </a:lnTo>
                    <a:lnTo>
                      <a:pt x="3" y="1199"/>
                    </a:lnTo>
                    <a:lnTo>
                      <a:pt x="2" y="1199"/>
                    </a:lnTo>
                    <a:lnTo>
                      <a:pt x="2" y="1197"/>
                    </a:lnTo>
                    <a:lnTo>
                      <a:pt x="2" y="1196"/>
                    </a:lnTo>
                    <a:lnTo>
                      <a:pt x="3" y="1196"/>
                    </a:lnTo>
                    <a:lnTo>
                      <a:pt x="3" y="1194"/>
                    </a:lnTo>
                    <a:lnTo>
                      <a:pt x="3" y="1192"/>
                    </a:lnTo>
                    <a:lnTo>
                      <a:pt x="5" y="1191"/>
                    </a:lnTo>
                    <a:lnTo>
                      <a:pt x="5" y="1189"/>
                    </a:lnTo>
                    <a:lnTo>
                      <a:pt x="3" y="1187"/>
                    </a:lnTo>
                    <a:lnTo>
                      <a:pt x="3" y="1186"/>
                    </a:lnTo>
                    <a:lnTo>
                      <a:pt x="3" y="1184"/>
                    </a:lnTo>
                    <a:lnTo>
                      <a:pt x="3" y="1182"/>
                    </a:lnTo>
                    <a:lnTo>
                      <a:pt x="5" y="1182"/>
                    </a:lnTo>
                    <a:lnTo>
                      <a:pt x="3" y="1180"/>
                    </a:lnTo>
                    <a:lnTo>
                      <a:pt x="3" y="1179"/>
                    </a:lnTo>
                    <a:lnTo>
                      <a:pt x="2" y="1179"/>
                    </a:lnTo>
                    <a:lnTo>
                      <a:pt x="2" y="1177"/>
                    </a:lnTo>
                    <a:lnTo>
                      <a:pt x="2" y="1175"/>
                    </a:lnTo>
                    <a:lnTo>
                      <a:pt x="3" y="1175"/>
                    </a:lnTo>
                    <a:lnTo>
                      <a:pt x="3" y="1174"/>
                    </a:lnTo>
                    <a:lnTo>
                      <a:pt x="3" y="1172"/>
                    </a:lnTo>
                    <a:lnTo>
                      <a:pt x="3" y="1170"/>
                    </a:lnTo>
                    <a:lnTo>
                      <a:pt x="5" y="1170"/>
                    </a:lnTo>
                    <a:lnTo>
                      <a:pt x="5" y="1169"/>
                    </a:lnTo>
                    <a:lnTo>
                      <a:pt x="5" y="1167"/>
                    </a:lnTo>
                    <a:lnTo>
                      <a:pt x="7" y="1165"/>
                    </a:lnTo>
                    <a:lnTo>
                      <a:pt x="5" y="1165"/>
                    </a:lnTo>
                    <a:lnTo>
                      <a:pt x="3" y="1163"/>
                    </a:lnTo>
                    <a:lnTo>
                      <a:pt x="3" y="1162"/>
                    </a:lnTo>
                    <a:lnTo>
                      <a:pt x="3" y="1160"/>
                    </a:lnTo>
                    <a:lnTo>
                      <a:pt x="17" y="1163"/>
                    </a:lnTo>
                    <a:lnTo>
                      <a:pt x="19" y="1163"/>
                    </a:lnTo>
                    <a:lnTo>
                      <a:pt x="17" y="1163"/>
                    </a:lnTo>
                    <a:lnTo>
                      <a:pt x="17" y="1162"/>
                    </a:lnTo>
                    <a:lnTo>
                      <a:pt x="17" y="1163"/>
                    </a:lnTo>
                    <a:lnTo>
                      <a:pt x="15" y="1163"/>
                    </a:lnTo>
                    <a:lnTo>
                      <a:pt x="15" y="1162"/>
                    </a:lnTo>
                    <a:lnTo>
                      <a:pt x="15" y="1160"/>
                    </a:lnTo>
                    <a:lnTo>
                      <a:pt x="15" y="1158"/>
                    </a:lnTo>
                    <a:lnTo>
                      <a:pt x="17" y="1157"/>
                    </a:lnTo>
                    <a:lnTo>
                      <a:pt x="19" y="1155"/>
                    </a:lnTo>
                    <a:lnTo>
                      <a:pt x="19" y="1153"/>
                    </a:lnTo>
                    <a:lnTo>
                      <a:pt x="20" y="1153"/>
                    </a:lnTo>
                    <a:lnTo>
                      <a:pt x="20" y="1152"/>
                    </a:lnTo>
                    <a:lnTo>
                      <a:pt x="20" y="1150"/>
                    </a:lnTo>
                    <a:lnTo>
                      <a:pt x="20" y="1148"/>
                    </a:lnTo>
                    <a:lnTo>
                      <a:pt x="22" y="1148"/>
                    </a:lnTo>
                    <a:lnTo>
                      <a:pt x="22" y="1146"/>
                    </a:lnTo>
                    <a:lnTo>
                      <a:pt x="24" y="1146"/>
                    </a:lnTo>
                    <a:lnTo>
                      <a:pt x="26" y="1148"/>
                    </a:lnTo>
                    <a:lnTo>
                      <a:pt x="27" y="1148"/>
                    </a:lnTo>
                    <a:lnTo>
                      <a:pt x="27" y="1146"/>
                    </a:lnTo>
                    <a:lnTo>
                      <a:pt x="29" y="1145"/>
                    </a:lnTo>
                    <a:lnTo>
                      <a:pt x="31" y="1145"/>
                    </a:lnTo>
                    <a:lnTo>
                      <a:pt x="31" y="1143"/>
                    </a:lnTo>
                    <a:lnTo>
                      <a:pt x="32" y="1141"/>
                    </a:lnTo>
                    <a:lnTo>
                      <a:pt x="34" y="1140"/>
                    </a:lnTo>
                    <a:lnTo>
                      <a:pt x="36" y="1140"/>
                    </a:lnTo>
                    <a:lnTo>
                      <a:pt x="36" y="1138"/>
                    </a:lnTo>
                    <a:lnTo>
                      <a:pt x="36" y="1136"/>
                    </a:lnTo>
                    <a:lnTo>
                      <a:pt x="36" y="1135"/>
                    </a:lnTo>
                    <a:lnTo>
                      <a:pt x="36" y="1131"/>
                    </a:lnTo>
                    <a:lnTo>
                      <a:pt x="34" y="1124"/>
                    </a:lnTo>
                    <a:lnTo>
                      <a:pt x="34" y="1123"/>
                    </a:lnTo>
                    <a:lnTo>
                      <a:pt x="36" y="1123"/>
                    </a:lnTo>
                    <a:lnTo>
                      <a:pt x="36" y="1124"/>
                    </a:lnTo>
                    <a:lnTo>
                      <a:pt x="37" y="1124"/>
                    </a:lnTo>
                    <a:lnTo>
                      <a:pt x="39" y="1124"/>
                    </a:lnTo>
                    <a:lnTo>
                      <a:pt x="41" y="1123"/>
                    </a:lnTo>
                    <a:lnTo>
                      <a:pt x="41" y="1121"/>
                    </a:lnTo>
                    <a:lnTo>
                      <a:pt x="39" y="1121"/>
                    </a:lnTo>
                    <a:lnTo>
                      <a:pt x="39" y="1119"/>
                    </a:lnTo>
                    <a:lnTo>
                      <a:pt x="41" y="1119"/>
                    </a:lnTo>
                    <a:lnTo>
                      <a:pt x="43" y="1117"/>
                    </a:lnTo>
                    <a:lnTo>
                      <a:pt x="41" y="1117"/>
                    </a:lnTo>
                    <a:lnTo>
                      <a:pt x="41" y="1116"/>
                    </a:lnTo>
                    <a:lnTo>
                      <a:pt x="43" y="1116"/>
                    </a:lnTo>
                    <a:lnTo>
                      <a:pt x="43" y="1117"/>
                    </a:lnTo>
                    <a:lnTo>
                      <a:pt x="43" y="1116"/>
                    </a:lnTo>
                    <a:lnTo>
                      <a:pt x="44" y="1117"/>
                    </a:lnTo>
                    <a:lnTo>
                      <a:pt x="44" y="1116"/>
                    </a:lnTo>
                    <a:lnTo>
                      <a:pt x="46" y="1116"/>
                    </a:lnTo>
                    <a:lnTo>
                      <a:pt x="46" y="1114"/>
                    </a:lnTo>
                    <a:lnTo>
                      <a:pt x="44" y="1112"/>
                    </a:lnTo>
                    <a:lnTo>
                      <a:pt x="44" y="1111"/>
                    </a:lnTo>
                    <a:lnTo>
                      <a:pt x="43" y="1111"/>
                    </a:lnTo>
                    <a:lnTo>
                      <a:pt x="43" y="1109"/>
                    </a:lnTo>
                    <a:lnTo>
                      <a:pt x="44" y="1109"/>
                    </a:lnTo>
                    <a:lnTo>
                      <a:pt x="43" y="1107"/>
                    </a:lnTo>
                    <a:lnTo>
                      <a:pt x="44" y="1106"/>
                    </a:lnTo>
                    <a:lnTo>
                      <a:pt x="43" y="1106"/>
                    </a:lnTo>
                    <a:lnTo>
                      <a:pt x="43" y="1104"/>
                    </a:lnTo>
                    <a:lnTo>
                      <a:pt x="41" y="1104"/>
                    </a:lnTo>
                    <a:lnTo>
                      <a:pt x="41" y="1102"/>
                    </a:lnTo>
                    <a:lnTo>
                      <a:pt x="39" y="1102"/>
                    </a:lnTo>
                    <a:lnTo>
                      <a:pt x="39" y="1100"/>
                    </a:lnTo>
                    <a:lnTo>
                      <a:pt x="39" y="1099"/>
                    </a:lnTo>
                    <a:lnTo>
                      <a:pt x="39" y="1097"/>
                    </a:lnTo>
                    <a:lnTo>
                      <a:pt x="37" y="1097"/>
                    </a:lnTo>
                    <a:lnTo>
                      <a:pt x="36" y="1095"/>
                    </a:lnTo>
                    <a:lnTo>
                      <a:pt x="36" y="1094"/>
                    </a:lnTo>
                    <a:lnTo>
                      <a:pt x="37" y="1094"/>
                    </a:lnTo>
                    <a:lnTo>
                      <a:pt x="37" y="1092"/>
                    </a:lnTo>
                    <a:lnTo>
                      <a:pt x="37" y="1090"/>
                    </a:lnTo>
                    <a:lnTo>
                      <a:pt x="37" y="1089"/>
                    </a:lnTo>
                    <a:lnTo>
                      <a:pt x="37" y="1087"/>
                    </a:lnTo>
                    <a:lnTo>
                      <a:pt x="36" y="1087"/>
                    </a:lnTo>
                    <a:lnTo>
                      <a:pt x="36" y="1085"/>
                    </a:lnTo>
                    <a:lnTo>
                      <a:pt x="37" y="1087"/>
                    </a:lnTo>
                    <a:lnTo>
                      <a:pt x="39" y="1087"/>
                    </a:lnTo>
                    <a:lnTo>
                      <a:pt x="41" y="1087"/>
                    </a:lnTo>
                    <a:lnTo>
                      <a:pt x="41" y="1085"/>
                    </a:lnTo>
                    <a:lnTo>
                      <a:pt x="39" y="1085"/>
                    </a:lnTo>
                    <a:lnTo>
                      <a:pt x="39" y="1083"/>
                    </a:lnTo>
                    <a:lnTo>
                      <a:pt x="39" y="1082"/>
                    </a:lnTo>
                    <a:lnTo>
                      <a:pt x="41" y="1082"/>
                    </a:lnTo>
                    <a:lnTo>
                      <a:pt x="41" y="1080"/>
                    </a:lnTo>
                    <a:lnTo>
                      <a:pt x="43" y="1080"/>
                    </a:lnTo>
                    <a:lnTo>
                      <a:pt x="43" y="1078"/>
                    </a:lnTo>
                    <a:lnTo>
                      <a:pt x="43" y="1077"/>
                    </a:lnTo>
                    <a:lnTo>
                      <a:pt x="43" y="1075"/>
                    </a:lnTo>
                    <a:lnTo>
                      <a:pt x="44" y="1075"/>
                    </a:lnTo>
                    <a:lnTo>
                      <a:pt x="44" y="1073"/>
                    </a:lnTo>
                    <a:lnTo>
                      <a:pt x="43" y="1073"/>
                    </a:lnTo>
                    <a:lnTo>
                      <a:pt x="43" y="1072"/>
                    </a:lnTo>
                    <a:lnTo>
                      <a:pt x="43" y="1073"/>
                    </a:lnTo>
                    <a:lnTo>
                      <a:pt x="43" y="1072"/>
                    </a:lnTo>
                    <a:lnTo>
                      <a:pt x="44" y="1072"/>
                    </a:lnTo>
                    <a:lnTo>
                      <a:pt x="44" y="1070"/>
                    </a:lnTo>
                    <a:lnTo>
                      <a:pt x="46" y="1070"/>
                    </a:lnTo>
                    <a:lnTo>
                      <a:pt x="46" y="1068"/>
                    </a:lnTo>
                    <a:lnTo>
                      <a:pt x="48" y="1070"/>
                    </a:lnTo>
                    <a:lnTo>
                      <a:pt x="48" y="1068"/>
                    </a:lnTo>
                    <a:lnTo>
                      <a:pt x="49" y="1066"/>
                    </a:lnTo>
                    <a:lnTo>
                      <a:pt x="49" y="1065"/>
                    </a:lnTo>
                    <a:lnTo>
                      <a:pt x="51" y="1065"/>
                    </a:lnTo>
                    <a:lnTo>
                      <a:pt x="53" y="1065"/>
                    </a:lnTo>
                    <a:lnTo>
                      <a:pt x="53" y="1063"/>
                    </a:lnTo>
                    <a:lnTo>
                      <a:pt x="54" y="1063"/>
                    </a:lnTo>
                    <a:lnTo>
                      <a:pt x="53" y="1061"/>
                    </a:lnTo>
                    <a:lnTo>
                      <a:pt x="54" y="1060"/>
                    </a:lnTo>
                    <a:lnTo>
                      <a:pt x="53" y="1058"/>
                    </a:lnTo>
                    <a:lnTo>
                      <a:pt x="54" y="1060"/>
                    </a:lnTo>
                    <a:lnTo>
                      <a:pt x="56" y="1060"/>
                    </a:lnTo>
                    <a:lnTo>
                      <a:pt x="58" y="1060"/>
                    </a:lnTo>
                    <a:lnTo>
                      <a:pt x="58" y="1058"/>
                    </a:lnTo>
                    <a:lnTo>
                      <a:pt x="58" y="1056"/>
                    </a:lnTo>
                    <a:lnTo>
                      <a:pt x="60" y="1056"/>
                    </a:lnTo>
                    <a:lnTo>
                      <a:pt x="58" y="1056"/>
                    </a:lnTo>
                    <a:lnTo>
                      <a:pt x="58" y="1055"/>
                    </a:lnTo>
                    <a:lnTo>
                      <a:pt x="56" y="1053"/>
                    </a:lnTo>
                    <a:lnTo>
                      <a:pt x="54" y="1053"/>
                    </a:lnTo>
                    <a:lnTo>
                      <a:pt x="56" y="1051"/>
                    </a:lnTo>
                    <a:lnTo>
                      <a:pt x="58" y="1049"/>
                    </a:lnTo>
                    <a:lnTo>
                      <a:pt x="58" y="1048"/>
                    </a:lnTo>
                    <a:lnTo>
                      <a:pt x="56" y="1048"/>
                    </a:lnTo>
                    <a:lnTo>
                      <a:pt x="54" y="1048"/>
                    </a:lnTo>
                    <a:lnTo>
                      <a:pt x="56" y="1046"/>
                    </a:lnTo>
                    <a:lnTo>
                      <a:pt x="54" y="1046"/>
                    </a:lnTo>
                    <a:lnTo>
                      <a:pt x="54" y="1044"/>
                    </a:lnTo>
                    <a:lnTo>
                      <a:pt x="54" y="1043"/>
                    </a:lnTo>
                    <a:lnTo>
                      <a:pt x="56" y="1043"/>
                    </a:lnTo>
                    <a:lnTo>
                      <a:pt x="56" y="1041"/>
                    </a:lnTo>
                    <a:lnTo>
                      <a:pt x="54" y="1039"/>
                    </a:lnTo>
                    <a:lnTo>
                      <a:pt x="56" y="1039"/>
                    </a:lnTo>
                    <a:lnTo>
                      <a:pt x="58" y="1039"/>
                    </a:lnTo>
                    <a:lnTo>
                      <a:pt x="60" y="1039"/>
                    </a:lnTo>
                    <a:lnTo>
                      <a:pt x="60" y="1038"/>
                    </a:lnTo>
                    <a:lnTo>
                      <a:pt x="61" y="1038"/>
                    </a:lnTo>
                    <a:lnTo>
                      <a:pt x="61" y="1036"/>
                    </a:lnTo>
                    <a:lnTo>
                      <a:pt x="63" y="1036"/>
                    </a:lnTo>
                    <a:lnTo>
                      <a:pt x="63" y="1034"/>
                    </a:lnTo>
                    <a:lnTo>
                      <a:pt x="65" y="1034"/>
                    </a:lnTo>
                    <a:lnTo>
                      <a:pt x="66" y="1032"/>
                    </a:lnTo>
                    <a:lnTo>
                      <a:pt x="65" y="1031"/>
                    </a:lnTo>
                    <a:lnTo>
                      <a:pt x="66" y="1031"/>
                    </a:lnTo>
                    <a:lnTo>
                      <a:pt x="65" y="1029"/>
                    </a:lnTo>
                    <a:lnTo>
                      <a:pt x="65" y="1027"/>
                    </a:lnTo>
                    <a:lnTo>
                      <a:pt x="65" y="1026"/>
                    </a:lnTo>
                    <a:lnTo>
                      <a:pt x="65" y="1024"/>
                    </a:lnTo>
                    <a:lnTo>
                      <a:pt x="63" y="1021"/>
                    </a:lnTo>
                    <a:lnTo>
                      <a:pt x="63" y="1017"/>
                    </a:lnTo>
                    <a:lnTo>
                      <a:pt x="63" y="1015"/>
                    </a:lnTo>
                    <a:lnTo>
                      <a:pt x="63" y="1014"/>
                    </a:lnTo>
                    <a:lnTo>
                      <a:pt x="63" y="1012"/>
                    </a:lnTo>
                    <a:lnTo>
                      <a:pt x="61" y="1010"/>
                    </a:lnTo>
                    <a:lnTo>
                      <a:pt x="61" y="1009"/>
                    </a:lnTo>
                    <a:lnTo>
                      <a:pt x="60" y="1009"/>
                    </a:lnTo>
                    <a:lnTo>
                      <a:pt x="58" y="1009"/>
                    </a:lnTo>
                    <a:lnTo>
                      <a:pt x="58" y="1007"/>
                    </a:lnTo>
                    <a:lnTo>
                      <a:pt x="56" y="1007"/>
                    </a:lnTo>
                    <a:lnTo>
                      <a:pt x="58" y="1005"/>
                    </a:lnTo>
                    <a:lnTo>
                      <a:pt x="60" y="1005"/>
                    </a:lnTo>
                    <a:lnTo>
                      <a:pt x="61" y="1005"/>
                    </a:lnTo>
                    <a:lnTo>
                      <a:pt x="61" y="1004"/>
                    </a:lnTo>
                    <a:lnTo>
                      <a:pt x="63" y="1004"/>
                    </a:lnTo>
                    <a:lnTo>
                      <a:pt x="65" y="1004"/>
                    </a:lnTo>
                    <a:lnTo>
                      <a:pt x="65" y="1002"/>
                    </a:lnTo>
                    <a:lnTo>
                      <a:pt x="65" y="1000"/>
                    </a:lnTo>
                    <a:lnTo>
                      <a:pt x="66" y="1000"/>
                    </a:lnTo>
                    <a:lnTo>
                      <a:pt x="66" y="998"/>
                    </a:lnTo>
                    <a:lnTo>
                      <a:pt x="66" y="997"/>
                    </a:lnTo>
                    <a:lnTo>
                      <a:pt x="66" y="995"/>
                    </a:lnTo>
                    <a:lnTo>
                      <a:pt x="65" y="993"/>
                    </a:lnTo>
                    <a:lnTo>
                      <a:pt x="63" y="993"/>
                    </a:lnTo>
                    <a:lnTo>
                      <a:pt x="63" y="992"/>
                    </a:lnTo>
                    <a:lnTo>
                      <a:pt x="63" y="993"/>
                    </a:lnTo>
                    <a:lnTo>
                      <a:pt x="61" y="992"/>
                    </a:lnTo>
                    <a:lnTo>
                      <a:pt x="63" y="990"/>
                    </a:lnTo>
                    <a:lnTo>
                      <a:pt x="61" y="990"/>
                    </a:lnTo>
                    <a:lnTo>
                      <a:pt x="61" y="988"/>
                    </a:lnTo>
                    <a:lnTo>
                      <a:pt x="61" y="987"/>
                    </a:lnTo>
                    <a:lnTo>
                      <a:pt x="61" y="985"/>
                    </a:lnTo>
                    <a:lnTo>
                      <a:pt x="61" y="983"/>
                    </a:lnTo>
                    <a:lnTo>
                      <a:pt x="61" y="981"/>
                    </a:lnTo>
                    <a:lnTo>
                      <a:pt x="63" y="980"/>
                    </a:lnTo>
                    <a:lnTo>
                      <a:pt x="61" y="980"/>
                    </a:lnTo>
                    <a:lnTo>
                      <a:pt x="61" y="978"/>
                    </a:lnTo>
                    <a:lnTo>
                      <a:pt x="63" y="978"/>
                    </a:lnTo>
                    <a:lnTo>
                      <a:pt x="63" y="976"/>
                    </a:lnTo>
                    <a:lnTo>
                      <a:pt x="65" y="976"/>
                    </a:lnTo>
                    <a:lnTo>
                      <a:pt x="66" y="976"/>
                    </a:lnTo>
                    <a:lnTo>
                      <a:pt x="68" y="976"/>
                    </a:lnTo>
                    <a:lnTo>
                      <a:pt x="70" y="976"/>
                    </a:lnTo>
                    <a:lnTo>
                      <a:pt x="70" y="975"/>
                    </a:lnTo>
                    <a:lnTo>
                      <a:pt x="71" y="975"/>
                    </a:lnTo>
                    <a:lnTo>
                      <a:pt x="70" y="973"/>
                    </a:lnTo>
                    <a:lnTo>
                      <a:pt x="70" y="971"/>
                    </a:lnTo>
                    <a:lnTo>
                      <a:pt x="70" y="969"/>
                    </a:lnTo>
                    <a:lnTo>
                      <a:pt x="71" y="969"/>
                    </a:lnTo>
                    <a:lnTo>
                      <a:pt x="73" y="969"/>
                    </a:lnTo>
                    <a:lnTo>
                      <a:pt x="73" y="968"/>
                    </a:lnTo>
                    <a:lnTo>
                      <a:pt x="75" y="968"/>
                    </a:lnTo>
                    <a:lnTo>
                      <a:pt x="77" y="968"/>
                    </a:lnTo>
                    <a:lnTo>
                      <a:pt x="77" y="966"/>
                    </a:lnTo>
                    <a:lnTo>
                      <a:pt x="77" y="964"/>
                    </a:lnTo>
                    <a:lnTo>
                      <a:pt x="75" y="964"/>
                    </a:lnTo>
                    <a:lnTo>
                      <a:pt x="77" y="963"/>
                    </a:lnTo>
                    <a:lnTo>
                      <a:pt x="75" y="963"/>
                    </a:lnTo>
                    <a:lnTo>
                      <a:pt x="75" y="961"/>
                    </a:lnTo>
                    <a:lnTo>
                      <a:pt x="73" y="961"/>
                    </a:lnTo>
                    <a:lnTo>
                      <a:pt x="73" y="959"/>
                    </a:lnTo>
                    <a:lnTo>
                      <a:pt x="71" y="958"/>
                    </a:lnTo>
                    <a:lnTo>
                      <a:pt x="71" y="956"/>
                    </a:lnTo>
                    <a:lnTo>
                      <a:pt x="70" y="956"/>
                    </a:lnTo>
                    <a:lnTo>
                      <a:pt x="70" y="954"/>
                    </a:lnTo>
                    <a:lnTo>
                      <a:pt x="68" y="952"/>
                    </a:lnTo>
                    <a:lnTo>
                      <a:pt x="68" y="951"/>
                    </a:lnTo>
                    <a:lnTo>
                      <a:pt x="70" y="951"/>
                    </a:lnTo>
                    <a:lnTo>
                      <a:pt x="68" y="951"/>
                    </a:lnTo>
                    <a:lnTo>
                      <a:pt x="66" y="951"/>
                    </a:lnTo>
                    <a:lnTo>
                      <a:pt x="66" y="949"/>
                    </a:lnTo>
                    <a:lnTo>
                      <a:pt x="65" y="951"/>
                    </a:lnTo>
                    <a:lnTo>
                      <a:pt x="65" y="949"/>
                    </a:lnTo>
                    <a:lnTo>
                      <a:pt x="63" y="949"/>
                    </a:lnTo>
                    <a:lnTo>
                      <a:pt x="61" y="947"/>
                    </a:lnTo>
                    <a:lnTo>
                      <a:pt x="61" y="949"/>
                    </a:lnTo>
                    <a:lnTo>
                      <a:pt x="60" y="947"/>
                    </a:lnTo>
                    <a:lnTo>
                      <a:pt x="58" y="947"/>
                    </a:lnTo>
                    <a:lnTo>
                      <a:pt x="58" y="949"/>
                    </a:lnTo>
                    <a:lnTo>
                      <a:pt x="56" y="949"/>
                    </a:lnTo>
                    <a:lnTo>
                      <a:pt x="56" y="947"/>
                    </a:lnTo>
                    <a:lnTo>
                      <a:pt x="54" y="947"/>
                    </a:lnTo>
                    <a:lnTo>
                      <a:pt x="53" y="946"/>
                    </a:lnTo>
                    <a:lnTo>
                      <a:pt x="53" y="947"/>
                    </a:lnTo>
                    <a:lnTo>
                      <a:pt x="53" y="946"/>
                    </a:lnTo>
                    <a:lnTo>
                      <a:pt x="51" y="946"/>
                    </a:lnTo>
                    <a:lnTo>
                      <a:pt x="53" y="944"/>
                    </a:lnTo>
                    <a:lnTo>
                      <a:pt x="51" y="944"/>
                    </a:lnTo>
                    <a:lnTo>
                      <a:pt x="53" y="944"/>
                    </a:lnTo>
                    <a:lnTo>
                      <a:pt x="53" y="942"/>
                    </a:lnTo>
                    <a:lnTo>
                      <a:pt x="51" y="942"/>
                    </a:lnTo>
                    <a:lnTo>
                      <a:pt x="51" y="941"/>
                    </a:lnTo>
                    <a:lnTo>
                      <a:pt x="51" y="939"/>
                    </a:lnTo>
                    <a:lnTo>
                      <a:pt x="53" y="941"/>
                    </a:lnTo>
                    <a:lnTo>
                      <a:pt x="54" y="941"/>
                    </a:lnTo>
                    <a:lnTo>
                      <a:pt x="56" y="941"/>
                    </a:lnTo>
                    <a:lnTo>
                      <a:pt x="56" y="942"/>
                    </a:lnTo>
                    <a:lnTo>
                      <a:pt x="56" y="941"/>
                    </a:lnTo>
                    <a:lnTo>
                      <a:pt x="58" y="941"/>
                    </a:lnTo>
                    <a:lnTo>
                      <a:pt x="58" y="942"/>
                    </a:lnTo>
                    <a:lnTo>
                      <a:pt x="60" y="941"/>
                    </a:lnTo>
                    <a:lnTo>
                      <a:pt x="60" y="942"/>
                    </a:lnTo>
                    <a:lnTo>
                      <a:pt x="60" y="941"/>
                    </a:lnTo>
                    <a:lnTo>
                      <a:pt x="61" y="939"/>
                    </a:lnTo>
                    <a:lnTo>
                      <a:pt x="61" y="941"/>
                    </a:lnTo>
                    <a:lnTo>
                      <a:pt x="63" y="941"/>
                    </a:lnTo>
                    <a:lnTo>
                      <a:pt x="65" y="941"/>
                    </a:lnTo>
                    <a:lnTo>
                      <a:pt x="66" y="941"/>
                    </a:lnTo>
                    <a:lnTo>
                      <a:pt x="68" y="941"/>
                    </a:lnTo>
                    <a:lnTo>
                      <a:pt x="68" y="939"/>
                    </a:lnTo>
                    <a:lnTo>
                      <a:pt x="68" y="941"/>
                    </a:lnTo>
                    <a:lnTo>
                      <a:pt x="70" y="939"/>
                    </a:lnTo>
                    <a:lnTo>
                      <a:pt x="71" y="939"/>
                    </a:lnTo>
                    <a:lnTo>
                      <a:pt x="73" y="939"/>
                    </a:lnTo>
                    <a:lnTo>
                      <a:pt x="73" y="941"/>
                    </a:lnTo>
                    <a:lnTo>
                      <a:pt x="75" y="941"/>
                    </a:lnTo>
                    <a:lnTo>
                      <a:pt x="75" y="942"/>
                    </a:lnTo>
                    <a:lnTo>
                      <a:pt x="77" y="942"/>
                    </a:lnTo>
                    <a:lnTo>
                      <a:pt x="78" y="942"/>
                    </a:lnTo>
                    <a:lnTo>
                      <a:pt x="78" y="941"/>
                    </a:lnTo>
                    <a:lnTo>
                      <a:pt x="80" y="941"/>
                    </a:lnTo>
                    <a:lnTo>
                      <a:pt x="80" y="939"/>
                    </a:lnTo>
                    <a:lnTo>
                      <a:pt x="80" y="937"/>
                    </a:lnTo>
                    <a:lnTo>
                      <a:pt x="82" y="935"/>
                    </a:lnTo>
                    <a:lnTo>
                      <a:pt x="80" y="935"/>
                    </a:lnTo>
                    <a:lnTo>
                      <a:pt x="80" y="934"/>
                    </a:lnTo>
                    <a:lnTo>
                      <a:pt x="82" y="932"/>
                    </a:lnTo>
                    <a:lnTo>
                      <a:pt x="80" y="932"/>
                    </a:lnTo>
                    <a:lnTo>
                      <a:pt x="82" y="932"/>
                    </a:lnTo>
                    <a:lnTo>
                      <a:pt x="83" y="932"/>
                    </a:lnTo>
                    <a:lnTo>
                      <a:pt x="85" y="932"/>
                    </a:lnTo>
                    <a:lnTo>
                      <a:pt x="83" y="930"/>
                    </a:lnTo>
                    <a:lnTo>
                      <a:pt x="85" y="929"/>
                    </a:lnTo>
                    <a:lnTo>
                      <a:pt x="83" y="929"/>
                    </a:lnTo>
                    <a:lnTo>
                      <a:pt x="82" y="927"/>
                    </a:lnTo>
                    <a:lnTo>
                      <a:pt x="83" y="927"/>
                    </a:lnTo>
                    <a:lnTo>
                      <a:pt x="83" y="925"/>
                    </a:lnTo>
                    <a:lnTo>
                      <a:pt x="82" y="925"/>
                    </a:lnTo>
                    <a:lnTo>
                      <a:pt x="80" y="924"/>
                    </a:lnTo>
                    <a:lnTo>
                      <a:pt x="80" y="925"/>
                    </a:lnTo>
                    <a:lnTo>
                      <a:pt x="80" y="924"/>
                    </a:lnTo>
                    <a:lnTo>
                      <a:pt x="78" y="924"/>
                    </a:lnTo>
                    <a:lnTo>
                      <a:pt x="77" y="924"/>
                    </a:lnTo>
                    <a:lnTo>
                      <a:pt x="75" y="924"/>
                    </a:lnTo>
                    <a:lnTo>
                      <a:pt x="75" y="922"/>
                    </a:lnTo>
                    <a:lnTo>
                      <a:pt x="73" y="922"/>
                    </a:lnTo>
                    <a:lnTo>
                      <a:pt x="71" y="922"/>
                    </a:lnTo>
                    <a:lnTo>
                      <a:pt x="71" y="924"/>
                    </a:lnTo>
                    <a:lnTo>
                      <a:pt x="70" y="922"/>
                    </a:lnTo>
                    <a:lnTo>
                      <a:pt x="70" y="924"/>
                    </a:lnTo>
                    <a:lnTo>
                      <a:pt x="68" y="924"/>
                    </a:lnTo>
                    <a:lnTo>
                      <a:pt x="66" y="922"/>
                    </a:lnTo>
                    <a:lnTo>
                      <a:pt x="66" y="924"/>
                    </a:lnTo>
                    <a:lnTo>
                      <a:pt x="65" y="924"/>
                    </a:lnTo>
                    <a:lnTo>
                      <a:pt x="65" y="922"/>
                    </a:lnTo>
                    <a:lnTo>
                      <a:pt x="63" y="922"/>
                    </a:lnTo>
                    <a:lnTo>
                      <a:pt x="63" y="924"/>
                    </a:lnTo>
                    <a:lnTo>
                      <a:pt x="61" y="924"/>
                    </a:lnTo>
                    <a:lnTo>
                      <a:pt x="60" y="924"/>
                    </a:lnTo>
                    <a:lnTo>
                      <a:pt x="60" y="922"/>
                    </a:lnTo>
                    <a:lnTo>
                      <a:pt x="60" y="920"/>
                    </a:lnTo>
                    <a:lnTo>
                      <a:pt x="61" y="920"/>
                    </a:lnTo>
                    <a:lnTo>
                      <a:pt x="61" y="918"/>
                    </a:lnTo>
                    <a:lnTo>
                      <a:pt x="60" y="917"/>
                    </a:lnTo>
                    <a:lnTo>
                      <a:pt x="60" y="915"/>
                    </a:lnTo>
                    <a:lnTo>
                      <a:pt x="61" y="913"/>
                    </a:lnTo>
                    <a:lnTo>
                      <a:pt x="60" y="913"/>
                    </a:lnTo>
                    <a:lnTo>
                      <a:pt x="60" y="912"/>
                    </a:lnTo>
                    <a:lnTo>
                      <a:pt x="58" y="910"/>
                    </a:lnTo>
                    <a:lnTo>
                      <a:pt x="60" y="910"/>
                    </a:lnTo>
                    <a:lnTo>
                      <a:pt x="61" y="910"/>
                    </a:lnTo>
                    <a:lnTo>
                      <a:pt x="63" y="908"/>
                    </a:lnTo>
                    <a:lnTo>
                      <a:pt x="63" y="907"/>
                    </a:lnTo>
                    <a:lnTo>
                      <a:pt x="63" y="905"/>
                    </a:lnTo>
                    <a:lnTo>
                      <a:pt x="65" y="905"/>
                    </a:lnTo>
                    <a:lnTo>
                      <a:pt x="65" y="903"/>
                    </a:lnTo>
                    <a:lnTo>
                      <a:pt x="65" y="901"/>
                    </a:lnTo>
                    <a:lnTo>
                      <a:pt x="66" y="901"/>
                    </a:lnTo>
                    <a:lnTo>
                      <a:pt x="65" y="900"/>
                    </a:lnTo>
                    <a:lnTo>
                      <a:pt x="63" y="900"/>
                    </a:lnTo>
                    <a:lnTo>
                      <a:pt x="63" y="898"/>
                    </a:lnTo>
                    <a:lnTo>
                      <a:pt x="63" y="896"/>
                    </a:lnTo>
                    <a:lnTo>
                      <a:pt x="61" y="896"/>
                    </a:lnTo>
                    <a:lnTo>
                      <a:pt x="63" y="896"/>
                    </a:lnTo>
                    <a:lnTo>
                      <a:pt x="61" y="896"/>
                    </a:lnTo>
                    <a:lnTo>
                      <a:pt x="63" y="895"/>
                    </a:lnTo>
                    <a:lnTo>
                      <a:pt x="61" y="895"/>
                    </a:lnTo>
                    <a:lnTo>
                      <a:pt x="63" y="893"/>
                    </a:lnTo>
                    <a:lnTo>
                      <a:pt x="65" y="891"/>
                    </a:lnTo>
                    <a:lnTo>
                      <a:pt x="65" y="890"/>
                    </a:lnTo>
                    <a:lnTo>
                      <a:pt x="66" y="890"/>
                    </a:lnTo>
                    <a:lnTo>
                      <a:pt x="68" y="890"/>
                    </a:lnTo>
                    <a:lnTo>
                      <a:pt x="66" y="890"/>
                    </a:lnTo>
                    <a:lnTo>
                      <a:pt x="68" y="890"/>
                    </a:lnTo>
                    <a:lnTo>
                      <a:pt x="68" y="888"/>
                    </a:lnTo>
                    <a:lnTo>
                      <a:pt x="68" y="886"/>
                    </a:lnTo>
                    <a:lnTo>
                      <a:pt x="66" y="886"/>
                    </a:lnTo>
                    <a:lnTo>
                      <a:pt x="65" y="886"/>
                    </a:lnTo>
                    <a:lnTo>
                      <a:pt x="63" y="886"/>
                    </a:lnTo>
                    <a:lnTo>
                      <a:pt x="63" y="884"/>
                    </a:lnTo>
                    <a:lnTo>
                      <a:pt x="61" y="884"/>
                    </a:lnTo>
                    <a:lnTo>
                      <a:pt x="61" y="883"/>
                    </a:lnTo>
                    <a:lnTo>
                      <a:pt x="60" y="883"/>
                    </a:lnTo>
                    <a:lnTo>
                      <a:pt x="58" y="883"/>
                    </a:lnTo>
                    <a:lnTo>
                      <a:pt x="58" y="881"/>
                    </a:lnTo>
                    <a:lnTo>
                      <a:pt x="60" y="879"/>
                    </a:lnTo>
                    <a:lnTo>
                      <a:pt x="58" y="879"/>
                    </a:lnTo>
                    <a:lnTo>
                      <a:pt x="58" y="878"/>
                    </a:lnTo>
                    <a:lnTo>
                      <a:pt x="58" y="879"/>
                    </a:lnTo>
                    <a:lnTo>
                      <a:pt x="56" y="879"/>
                    </a:lnTo>
                    <a:lnTo>
                      <a:pt x="56" y="878"/>
                    </a:lnTo>
                    <a:lnTo>
                      <a:pt x="56" y="876"/>
                    </a:lnTo>
                    <a:lnTo>
                      <a:pt x="58" y="874"/>
                    </a:lnTo>
                    <a:lnTo>
                      <a:pt x="58" y="873"/>
                    </a:lnTo>
                    <a:lnTo>
                      <a:pt x="56" y="873"/>
                    </a:lnTo>
                    <a:lnTo>
                      <a:pt x="58" y="873"/>
                    </a:lnTo>
                    <a:lnTo>
                      <a:pt x="60" y="873"/>
                    </a:lnTo>
                    <a:lnTo>
                      <a:pt x="61" y="873"/>
                    </a:lnTo>
                    <a:lnTo>
                      <a:pt x="61" y="871"/>
                    </a:lnTo>
                    <a:lnTo>
                      <a:pt x="61" y="873"/>
                    </a:lnTo>
                    <a:lnTo>
                      <a:pt x="63" y="873"/>
                    </a:lnTo>
                    <a:lnTo>
                      <a:pt x="63" y="871"/>
                    </a:lnTo>
                    <a:lnTo>
                      <a:pt x="63" y="869"/>
                    </a:lnTo>
                    <a:lnTo>
                      <a:pt x="61" y="867"/>
                    </a:lnTo>
                    <a:lnTo>
                      <a:pt x="63" y="867"/>
                    </a:lnTo>
                    <a:lnTo>
                      <a:pt x="63" y="866"/>
                    </a:lnTo>
                    <a:lnTo>
                      <a:pt x="61" y="866"/>
                    </a:lnTo>
                    <a:lnTo>
                      <a:pt x="61" y="864"/>
                    </a:lnTo>
                    <a:lnTo>
                      <a:pt x="60" y="864"/>
                    </a:lnTo>
                    <a:lnTo>
                      <a:pt x="58" y="864"/>
                    </a:lnTo>
                    <a:lnTo>
                      <a:pt x="58" y="862"/>
                    </a:lnTo>
                    <a:lnTo>
                      <a:pt x="56" y="862"/>
                    </a:lnTo>
                    <a:lnTo>
                      <a:pt x="56" y="861"/>
                    </a:lnTo>
                    <a:lnTo>
                      <a:pt x="54" y="859"/>
                    </a:lnTo>
                    <a:lnTo>
                      <a:pt x="53" y="859"/>
                    </a:lnTo>
                    <a:lnTo>
                      <a:pt x="53" y="857"/>
                    </a:lnTo>
                    <a:lnTo>
                      <a:pt x="51" y="857"/>
                    </a:lnTo>
                    <a:lnTo>
                      <a:pt x="51" y="856"/>
                    </a:lnTo>
                    <a:lnTo>
                      <a:pt x="49" y="854"/>
                    </a:lnTo>
                    <a:lnTo>
                      <a:pt x="49" y="852"/>
                    </a:lnTo>
                    <a:lnTo>
                      <a:pt x="49" y="850"/>
                    </a:lnTo>
                    <a:lnTo>
                      <a:pt x="49" y="849"/>
                    </a:lnTo>
                    <a:lnTo>
                      <a:pt x="48" y="849"/>
                    </a:lnTo>
                    <a:lnTo>
                      <a:pt x="49" y="849"/>
                    </a:lnTo>
                    <a:lnTo>
                      <a:pt x="49" y="847"/>
                    </a:lnTo>
                    <a:lnTo>
                      <a:pt x="49" y="845"/>
                    </a:lnTo>
                    <a:lnTo>
                      <a:pt x="49" y="844"/>
                    </a:lnTo>
                    <a:lnTo>
                      <a:pt x="48" y="844"/>
                    </a:lnTo>
                    <a:lnTo>
                      <a:pt x="48" y="842"/>
                    </a:lnTo>
                    <a:lnTo>
                      <a:pt x="49" y="842"/>
                    </a:lnTo>
                    <a:lnTo>
                      <a:pt x="49" y="840"/>
                    </a:lnTo>
                    <a:lnTo>
                      <a:pt x="49" y="839"/>
                    </a:lnTo>
                    <a:lnTo>
                      <a:pt x="51" y="839"/>
                    </a:lnTo>
                    <a:lnTo>
                      <a:pt x="51" y="837"/>
                    </a:lnTo>
                    <a:lnTo>
                      <a:pt x="53" y="837"/>
                    </a:lnTo>
                    <a:lnTo>
                      <a:pt x="53" y="835"/>
                    </a:lnTo>
                    <a:lnTo>
                      <a:pt x="53" y="833"/>
                    </a:lnTo>
                    <a:lnTo>
                      <a:pt x="53" y="832"/>
                    </a:lnTo>
                    <a:lnTo>
                      <a:pt x="53" y="830"/>
                    </a:lnTo>
                    <a:lnTo>
                      <a:pt x="51" y="830"/>
                    </a:lnTo>
                    <a:lnTo>
                      <a:pt x="51" y="828"/>
                    </a:lnTo>
                    <a:lnTo>
                      <a:pt x="49" y="830"/>
                    </a:lnTo>
                    <a:lnTo>
                      <a:pt x="49" y="828"/>
                    </a:lnTo>
                    <a:lnTo>
                      <a:pt x="49" y="827"/>
                    </a:lnTo>
                    <a:lnTo>
                      <a:pt x="49" y="825"/>
                    </a:lnTo>
                    <a:lnTo>
                      <a:pt x="48" y="823"/>
                    </a:lnTo>
                    <a:lnTo>
                      <a:pt x="49" y="823"/>
                    </a:lnTo>
                    <a:lnTo>
                      <a:pt x="48" y="822"/>
                    </a:lnTo>
                    <a:lnTo>
                      <a:pt x="48" y="820"/>
                    </a:lnTo>
                    <a:lnTo>
                      <a:pt x="48" y="818"/>
                    </a:lnTo>
                    <a:lnTo>
                      <a:pt x="49" y="818"/>
                    </a:lnTo>
                    <a:lnTo>
                      <a:pt x="51" y="818"/>
                    </a:lnTo>
                    <a:lnTo>
                      <a:pt x="51" y="816"/>
                    </a:lnTo>
                    <a:lnTo>
                      <a:pt x="53" y="816"/>
                    </a:lnTo>
                    <a:lnTo>
                      <a:pt x="53" y="818"/>
                    </a:lnTo>
                    <a:lnTo>
                      <a:pt x="54" y="818"/>
                    </a:lnTo>
                    <a:lnTo>
                      <a:pt x="56" y="820"/>
                    </a:lnTo>
                    <a:lnTo>
                      <a:pt x="58" y="820"/>
                    </a:lnTo>
                    <a:lnTo>
                      <a:pt x="58" y="818"/>
                    </a:lnTo>
                    <a:lnTo>
                      <a:pt x="60" y="818"/>
                    </a:lnTo>
                    <a:lnTo>
                      <a:pt x="60" y="820"/>
                    </a:lnTo>
                    <a:lnTo>
                      <a:pt x="60" y="818"/>
                    </a:lnTo>
                    <a:lnTo>
                      <a:pt x="61" y="818"/>
                    </a:lnTo>
                    <a:lnTo>
                      <a:pt x="63" y="818"/>
                    </a:lnTo>
                    <a:lnTo>
                      <a:pt x="63" y="816"/>
                    </a:lnTo>
                    <a:lnTo>
                      <a:pt x="63" y="815"/>
                    </a:lnTo>
                    <a:lnTo>
                      <a:pt x="63" y="813"/>
                    </a:lnTo>
                    <a:lnTo>
                      <a:pt x="61" y="813"/>
                    </a:lnTo>
                    <a:lnTo>
                      <a:pt x="61" y="811"/>
                    </a:lnTo>
                    <a:lnTo>
                      <a:pt x="61" y="810"/>
                    </a:lnTo>
                    <a:lnTo>
                      <a:pt x="61" y="808"/>
                    </a:lnTo>
                    <a:lnTo>
                      <a:pt x="61" y="806"/>
                    </a:lnTo>
                    <a:lnTo>
                      <a:pt x="61" y="804"/>
                    </a:lnTo>
                    <a:lnTo>
                      <a:pt x="61" y="803"/>
                    </a:lnTo>
                    <a:lnTo>
                      <a:pt x="61" y="801"/>
                    </a:lnTo>
                    <a:lnTo>
                      <a:pt x="61" y="799"/>
                    </a:lnTo>
                    <a:lnTo>
                      <a:pt x="60" y="799"/>
                    </a:lnTo>
                    <a:lnTo>
                      <a:pt x="61" y="798"/>
                    </a:lnTo>
                    <a:lnTo>
                      <a:pt x="60" y="798"/>
                    </a:lnTo>
                    <a:lnTo>
                      <a:pt x="60" y="796"/>
                    </a:lnTo>
                    <a:lnTo>
                      <a:pt x="58" y="796"/>
                    </a:lnTo>
                    <a:lnTo>
                      <a:pt x="58" y="794"/>
                    </a:lnTo>
                    <a:lnTo>
                      <a:pt x="58" y="793"/>
                    </a:lnTo>
                    <a:lnTo>
                      <a:pt x="60" y="793"/>
                    </a:lnTo>
                    <a:lnTo>
                      <a:pt x="60" y="791"/>
                    </a:lnTo>
                    <a:lnTo>
                      <a:pt x="60" y="789"/>
                    </a:lnTo>
                    <a:lnTo>
                      <a:pt x="60" y="787"/>
                    </a:lnTo>
                    <a:lnTo>
                      <a:pt x="60" y="786"/>
                    </a:lnTo>
                    <a:lnTo>
                      <a:pt x="58" y="786"/>
                    </a:lnTo>
                    <a:lnTo>
                      <a:pt x="58" y="784"/>
                    </a:lnTo>
                    <a:lnTo>
                      <a:pt x="58" y="782"/>
                    </a:lnTo>
                    <a:lnTo>
                      <a:pt x="56" y="782"/>
                    </a:lnTo>
                    <a:lnTo>
                      <a:pt x="58" y="782"/>
                    </a:lnTo>
                    <a:lnTo>
                      <a:pt x="58" y="781"/>
                    </a:lnTo>
                    <a:lnTo>
                      <a:pt x="58" y="779"/>
                    </a:lnTo>
                    <a:lnTo>
                      <a:pt x="58" y="777"/>
                    </a:lnTo>
                    <a:lnTo>
                      <a:pt x="60" y="779"/>
                    </a:lnTo>
                    <a:lnTo>
                      <a:pt x="58" y="777"/>
                    </a:lnTo>
                    <a:lnTo>
                      <a:pt x="60" y="777"/>
                    </a:lnTo>
                    <a:lnTo>
                      <a:pt x="58" y="777"/>
                    </a:lnTo>
                    <a:lnTo>
                      <a:pt x="58" y="776"/>
                    </a:lnTo>
                    <a:lnTo>
                      <a:pt x="58" y="774"/>
                    </a:lnTo>
                    <a:lnTo>
                      <a:pt x="60" y="774"/>
                    </a:lnTo>
                    <a:lnTo>
                      <a:pt x="60" y="772"/>
                    </a:lnTo>
                    <a:lnTo>
                      <a:pt x="60" y="770"/>
                    </a:lnTo>
                    <a:lnTo>
                      <a:pt x="60" y="769"/>
                    </a:lnTo>
                    <a:lnTo>
                      <a:pt x="58" y="769"/>
                    </a:lnTo>
                    <a:lnTo>
                      <a:pt x="58" y="767"/>
                    </a:lnTo>
                    <a:lnTo>
                      <a:pt x="58" y="765"/>
                    </a:lnTo>
                    <a:lnTo>
                      <a:pt x="56" y="765"/>
                    </a:lnTo>
                    <a:lnTo>
                      <a:pt x="58" y="765"/>
                    </a:lnTo>
                    <a:lnTo>
                      <a:pt x="58" y="764"/>
                    </a:lnTo>
                    <a:lnTo>
                      <a:pt x="58" y="762"/>
                    </a:lnTo>
                    <a:lnTo>
                      <a:pt x="58" y="760"/>
                    </a:lnTo>
                    <a:lnTo>
                      <a:pt x="58" y="762"/>
                    </a:lnTo>
                    <a:lnTo>
                      <a:pt x="58" y="760"/>
                    </a:lnTo>
                    <a:lnTo>
                      <a:pt x="56" y="760"/>
                    </a:lnTo>
                    <a:lnTo>
                      <a:pt x="56" y="759"/>
                    </a:lnTo>
                    <a:lnTo>
                      <a:pt x="56" y="757"/>
                    </a:lnTo>
                    <a:lnTo>
                      <a:pt x="56" y="755"/>
                    </a:lnTo>
                    <a:lnTo>
                      <a:pt x="54" y="755"/>
                    </a:lnTo>
                    <a:lnTo>
                      <a:pt x="54" y="753"/>
                    </a:lnTo>
                    <a:lnTo>
                      <a:pt x="56" y="753"/>
                    </a:lnTo>
                    <a:lnTo>
                      <a:pt x="58" y="752"/>
                    </a:lnTo>
                    <a:lnTo>
                      <a:pt x="58" y="750"/>
                    </a:lnTo>
                    <a:lnTo>
                      <a:pt x="60" y="750"/>
                    </a:lnTo>
                    <a:lnTo>
                      <a:pt x="60" y="748"/>
                    </a:lnTo>
                    <a:lnTo>
                      <a:pt x="58" y="748"/>
                    </a:lnTo>
                    <a:lnTo>
                      <a:pt x="58" y="747"/>
                    </a:lnTo>
                    <a:lnTo>
                      <a:pt x="60" y="745"/>
                    </a:lnTo>
                    <a:lnTo>
                      <a:pt x="58" y="745"/>
                    </a:lnTo>
                    <a:lnTo>
                      <a:pt x="60" y="743"/>
                    </a:lnTo>
                    <a:lnTo>
                      <a:pt x="60" y="742"/>
                    </a:lnTo>
                    <a:lnTo>
                      <a:pt x="61" y="740"/>
                    </a:lnTo>
                    <a:lnTo>
                      <a:pt x="61" y="742"/>
                    </a:lnTo>
                    <a:lnTo>
                      <a:pt x="61" y="740"/>
                    </a:lnTo>
                    <a:lnTo>
                      <a:pt x="63" y="742"/>
                    </a:lnTo>
                    <a:lnTo>
                      <a:pt x="65" y="740"/>
                    </a:lnTo>
                    <a:lnTo>
                      <a:pt x="65" y="738"/>
                    </a:lnTo>
                    <a:lnTo>
                      <a:pt x="65" y="736"/>
                    </a:lnTo>
                    <a:lnTo>
                      <a:pt x="65" y="735"/>
                    </a:lnTo>
                    <a:lnTo>
                      <a:pt x="63" y="735"/>
                    </a:lnTo>
                    <a:lnTo>
                      <a:pt x="61" y="735"/>
                    </a:lnTo>
                    <a:lnTo>
                      <a:pt x="60" y="733"/>
                    </a:lnTo>
                    <a:lnTo>
                      <a:pt x="61" y="733"/>
                    </a:lnTo>
                    <a:lnTo>
                      <a:pt x="60" y="733"/>
                    </a:lnTo>
                    <a:lnTo>
                      <a:pt x="60" y="731"/>
                    </a:lnTo>
                    <a:lnTo>
                      <a:pt x="61" y="730"/>
                    </a:lnTo>
                    <a:lnTo>
                      <a:pt x="60" y="730"/>
                    </a:lnTo>
                    <a:lnTo>
                      <a:pt x="60" y="728"/>
                    </a:lnTo>
                    <a:lnTo>
                      <a:pt x="61" y="728"/>
                    </a:lnTo>
                    <a:lnTo>
                      <a:pt x="60" y="726"/>
                    </a:lnTo>
                    <a:lnTo>
                      <a:pt x="61" y="726"/>
                    </a:lnTo>
                    <a:lnTo>
                      <a:pt x="63" y="726"/>
                    </a:lnTo>
                    <a:lnTo>
                      <a:pt x="65" y="728"/>
                    </a:lnTo>
                    <a:lnTo>
                      <a:pt x="65" y="726"/>
                    </a:lnTo>
                    <a:lnTo>
                      <a:pt x="65" y="725"/>
                    </a:lnTo>
                    <a:lnTo>
                      <a:pt x="65" y="723"/>
                    </a:lnTo>
                    <a:lnTo>
                      <a:pt x="65" y="721"/>
                    </a:lnTo>
                    <a:lnTo>
                      <a:pt x="66" y="721"/>
                    </a:lnTo>
                    <a:lnTo>
                      <a:pt x="66" y="719"/>
                    </a:lnTo>
                    <a:lnTo>
                      <a:pt x="68" y="719"/>
                    </a:lnTo>
                    <a:lnTo>
                      <a:pt x="68" y="718"/>
                    </a:lnTo>
                    <a:lnTo>
                      <a:pt x="66" y="716"/>
                    </a:lnTo>
                    <a:lnTo>
                      <a:pt x="65" y="716"/>
                    </a:lnTo>
                    <a:lnTo>
                      <a:pt x="65" y="714"/>
                    </a:lnTo>
                    <a:lnTo>
                      <a:pt x="65" y="713"/>
                    </a:lnTo>
                    <a:lnTo>
                      <a:pt x="65" y="711"/>
                    </a:lnTo>
                    <a:lnTo>
                      <a:pt x="63" y="711"/>
                    </a:lnTo>
                    <a:lnTo>
                      <a:pt x="63" y="709"/>
                    </a:lnTo>
                    <a:lnTo>
                      <a:pt x="65" y="709"/>
                    </a:lnTo>
                    <a:lnTo>
                      <a:pt x="63" y="709"/>
                    </a:lnTo>
                    <a:lnTo>
                      <a:pt x="65" y="709"/>
                    </a:lnTo>
                    <a:lnTo>
                      <a:pt x="65" y="708"/>
                    </a:lnTo>
                    <a:lnTo>
                      <a:pt x="63" y="706"/>
                    </a:lnTo>
                    <a:lnTo>
                      <a:pt x="65" y="706"/>
                    </a:lnTo>
                    <a:lnTo>
                      <a:pt x="65" y="704"/>
                    </a:lnTo>
                    <a:lnTo>
                      <a:pt x="65" y="702"/>
                    </a:lnTo>
                    <a:lnTo>
                      <a:pt x="65" y="704"/>
                    </a:lnTo>
                    <a:lnTo>
                      <a:pt x="66" y="704"/>
                    </a:lnTo>
                    <a:lnTo>
                      <a:pt x="66" y="706"/>
                    </a:lnTo>
                    <a:lnTo>
                      <a:pt x="68" y="706"/>
                    </a:lnTo>
                    <a:lnTo>
                      <a:pt x="70" y="706"/>
                    </a:lnTo>
                    <a:lnTo>
                      <a:pt x="71" y="706"/>
                    </a:lnTo>
                    <a:lnTo>
                      <a:pt x="71" y="704"/>
                    </a:lnTo>
                    <a:lnTo>
                      <a:pt x="71" y="702"/>
                    </a:lnTo>
                    <a:lnTo>
                      <a:pt x="70" y="702"/>
                    </a:lnTo>
                    <a:lnTo>
                      <a:pt x="70" y="701"/>
                    </a:lnTo>
                    <a:lnTo>
                      <a:pt x="71" y="699"/>
                    </a:lnTo>
                    <a:lnTo>
                      <a:pt x="71" y="697"/>
                    </a:lnTo>
                    <a:lnTo>
                      <a:pt x="73" y="697"/>
                    </a:lnTo>
                    <a:lnTo>
                      <a:pt x="71" y="697"/>
                    </a:lnTo>
                    <a:lnTo>
                      <a:pt x="73" y="696"/>
                    </a:lnTo>
                    <a:lnTo>
                      <a:pt x="71" y="696"/>
                    </a:lnTo>
                    <a:lnTo>
                      <a:pt x="71" y="694"/>
                    </a:lnTo>
                    <a:lnTo>
                      <a:pt x="73" y="694"/>
                    </a:lnTo>
                    <a:lnTo>
                      <a:pt x="75" y="694"/>
                    </a:lnTo>
                    <a:lnTo>
                      <a:pt x="75" y="692"/>
                    </a:lnTo>
                    <a:lnTo>
                      <a:pt x="75" y="691"/>
                    </a:lnTo>
                    <a:lnTo>
                      <a:pt x="75" y="689"/>
                    </a:lnTo>
                    <a:lnTo>
                      <a:pt x="75" y="687"/>
                    </a:lnTo>
                    <a:lnTo>
                      <a:pt x="73" y="685"/>
                    </a:lnTo>
                    <a:lnTo>
                      <a:pt x="73" y="684"/>
                    </a:lnTo>
                    <a:lnTo>
                      <a:pt x="73" y="682"/>
                    </a:lnTo>
                    <a:lnTo>
                      <a:pt x="73" y="680"/>
                    </a:lnTo>
                    <a:lnTo>
                      <a:pt x="75" y="680"/>
                    </a:lnTo>
                    <a:lnTo>
                      <a:pt x="73" y="680"/>
                    </a:lnTo>
                    <a:lnTo>
                      <a:pt x="73" y="679"/>
                    </a:lnTo>
                    <a:lnTo>
                      <a:pt x="73" y="677"/>
                    </a:lnTo>
                    <a:lnTo>
                      <a:pt x="73" y="675"/>
                    </a:lnTo>
                    <a:lnTo>
                      <a:pt x="75" y="675"/>
                    </a:lnTo>
                    <a:lnTo>
                      <a:pt x="75" y="674"/>
                    </a:lnTo>
                    <a:lnTo>
                      <a:pt x="77" y="674"/>
                    </a:lnTo>
                    <a:lnTo>
                      <a:pt x="78" y="672"/>
                    </a:lnTo>
                    <a:lnTo>
                      <a:pt x="78" y="670"/>
                    </a:lnTo>
                    <a:lnTo>
                      <a:pt x="80" y="670"/>
                    </a:lnTo>
                    <a:lnTo>
                      <a:pt x="82" y="670"/>
                    </a:lnTo>
                    <a:lnTo>
                      <a:pt x="83" y="670"/>
                    </a:lnTo>
                    <a:lnTo>
                      <a:pt x="83" y="668"/>
                    </a:lnTo>
                    <a:lnTo>
                      <a:pt x="85" y="668"/>
                    </a:lnTo>
                    <a:lnTo>
                      <a:pt x="87" y="668"/>
                    </a:lnTo>
                    <a:lnTo>
                      <a:pt x="88" y="668"/>
                    </a:lnTo>
                    <a:lnTo>
                      <a:pt x="90" y="668"/>
                    </a:lnTo>
                    <a:lnTo>
                      <a:pt x="90" y="667"/>
                    </a:lnTo>
                    <a:lnTo>
                      <a:pt x="92" y="667"/>
                    </a:lnTo>
                    <a:lnTo>
                      <a:pt x="92" y="665"/>
                    </a:lnTo>
                    <a:lnTo>
                      <a:pt x="90" y="665"/>
                    </a:lnTo>
                    <a:lnTo>
                      <a:pt x="90" y="663"/>
                    </a:lnTo>
                    <a:lnTo>
                      <a:pt x="92" y="663"/>
                    </a:lnTo>
                    <a:lnTo>
                      <a:pt x="92" y="662"/>
                    </a:lnTo>
                    <a:lnTo>
                      <a:pt x="94" y="662"/>
                    </a:lnTo>
                    <a:lnTo>
                      <a:pt x="94" y="660"/>
                    </a:lnTo>
                    <a:lnTo>
                      <a:pt x="94" y="658"/>
                    </a:lnTo>
                    <a:lnTo>
                      <a:pt x="92" y="658"/>
                    </a:lnTo>
                    <a:lnTo>
                      <a:pt x="92" y="656"/>
                    </a:lnTo>
                    <a:lnTo>
                      <a:pt x="90" y="656"/>
                    </a:lnTo>
                    <a:lnTo>
                      <a:pt x="90" y="655"/>
                    </a:lnTo>
                    <a:lnTo>
                      <a:pt x="88" y="655"/>
                    </a:lnTo>
                    <a:lnTo>
                      <a:pt x="88" y="653"/>
                    </a:lnTo>
                    <a:lnTo>
                      <a:pt x="88" y="651"/>
                    </a:lnTo>
                    <a:lnTo>
                      <a:pt x="87" y="650"/>
                    </a:lnTo>
                    <a:lnTo>
                      <a:pt x="88" y="650"/>
                    </a:lnTo>
                    <a:lnTo>
                      <a:pt x="87" y="650"/>
                    </a:lnTo>
                    <a:lnTo>
                      <a:pt x="87" y="648"/>
                    </a:lnTo>
                    <a:lnTo>
                      <a:pt x="87" y="646"/>
                    </a:lnTo>
                    <a:lnTo>
                      <a:pt x="87" y="645"/>
                    </a:lnTo>
                    <a:lnTo>
                      <a:pt x="88" y="645"/>
                    </a:lnTo>
                    <a:lnTo>
                      <a:pt x="88" y="643"/>
                    </a:lnTo>
                    <a:lnTo>
                      <a:pt x="87" y="641"/>
                    </a:lnTo>
                    <a:lnTo>
                      <a:pt x="85" y="639"/>
                    </a:lnTo>
                    <a:lnTo>
                      <a:pt x="87" y="639"/>
                    </a:lnTo>
                    <a:lnTo>
                      <a:pt x="88" y="639"/>
                    </a:lnTo>
                    <a:lnTo>
                      <a:pt x="87" y="639"/>
                    </a:lnTo>
                    <a:lnTo>
                      <a:pt x="87" y="638"/>
                    </a:lnTo>
                    <a:lnTo>
                      <a:pt x="85" y="638"/>
                    </a:lnTo>
                    <a:lnTo>
                      <a:pt x="85" y="636"/>
                    </a:lnTo>
                    <a:lnTo>
                      <a:pt x="85" y="634"/>
                    </a:lnTo>
                    <a:lnTo>
                      <a:pt x="83" y="633"/>
                    </a:lnTo>
                    <a:lnTo>
                      <a:pt x="83" y="631"/>
                    </a:lnTo>
                    <a:lnTo>
                      <a:pt x="83" y="629"/>
                    </a:lnTo>
                    <a:lnTo>
                      <a:pt x="82" y="629"/>
                    </a:lnTo>
                    <a:lnTo>
                      <a:pt x="82" y="628"/>
                    </a:lnTo>
                    <a:lnTo>
                      <a:pt x="83" y="628"/>
                    </a:lnTo>
                    <a:lnTo>
                      <a:pt x="82" y="628"/>
                    </a:lnTo>
                    <a:lnTo>
                      <a:pt x="82" y="626"/>
                    </a:lnTo>
                    <a:lnTo>
                      <a:pt x="82" y="624"/>
                    </a:lnTo>
                    <a:lnTo>
                      <a:pt x="82" y="622"/>
                    </a:lnTo>
                    <a:lnTo>
                      <a:pt x="80" y="622"/>
                    </a:lnTo>
                    <a:lnTo>
                      <a:pt x="80" y="621"/>
                    </a:lnTo>
                    <a:lnTo>
                      <a:pt x="82" y="619"/>
                    </a:lnTo>
                    <a:lnTo>
                      <a:pt x="83" y="617"/>
                    </a:lnTo>
                    <a:lnTo>
                      <a:pt x="83" y="616"/>
                    </a:lnTo>
                    <a:lnTo>
                      <a:pt x="82" y="616"/>
                    </a:lnTo>
                    <a:lnTo>
                      <a:pt x="83" y="616"/>
                    </a:lnTo>
                    <a:lnTo>
                      <a:pt x="83" y="614"/>
                    </a:lnTo>
                    <a:lnTo>
                      <a:pt x="83" y="612"/>
                    </a:lnTo>
                    <a:lnTo>
                      <a:pt x="83" y="611"/>
                    </a:lnTo>
                    <a:lnTo>
                      <a:pt x="82" y="609"/>
                    </a:lnTo>
                    <a:lnTo>
                      <a:pt x="80" y="609"/>
                    </a:lnTo>
                    <a:lnTo>
                      <a:pt x="82" y="607"/>
                    </a:lnTo>
                    <a:lnTo>
                      <a:pt x="80" y="607"/>
                    </a:lnTo>
                    <a:lnTo>
                      <a:pt x="80" y="605"/>
                    </a:lnTo>
                    <a:lnTo>
                      <a:pt x="80" y="604"/>
                    </a:lnTo>
                    <a:lnTo>
                      <a:pt x="82" y="604"/>
                    </a:lnTo>
                    <a:lnTo>
                      <a:pt x="82" y="602"/>
                    </a:lnTo>
                    <a:lnTo>
                      <a:pt x="83" y="602"/>
                    </a:lnTo>
                    <a:lnTo>
                      <a:pt x="83" y="600"/>
                    </a:lnTo>
                    <a:lnTo>
                      <a:pt x="83" y="599"/>
                    </a:lnTo>
                    <a:lnTo>
                      <a:pt x="85" y="599"/>
                    </a:lnTo>
                    <a:lnTo>
                      <a:pt x="85" y="597"/>
                    </a:lnTo>
                    <a:lnTo>
                      <a:pt x="83" y="597"/>
                    </a:lnTo>
                    <a:lnTo>
                      <a:pt x="83" y="595"/>
                    </a:lnTo>
                    <a:lnTo>
                      <a:pt x="83" y="594"/>
                    </a:lnTo>
                    <a:lnTo>
                      <a:pt x="82" y="594"/>
                    </a:lnTo>
                    <a:lnTo>
                      <a:pt x="82" y="592"/>
                    </a:lnTo>
                    <a:lnTo>
                      <a:pt x="80" y="592"/>
                    </a:lnTo>
                    <a:lnTo>
                      <a:pt x="82" y="592"/>
                    </a:lnTo>
                    <a:lnTo>
                      <a:pt x="83" y="592"/>
                    </a:lnTo>
                    <a:lnTo>
                      <a:pt x="83" y="590"/>
                    </a:lnTo>
                    <a:lnTo>
                      <a:pt x="85" y="590"/>
                    </a:lnTo>
                    <a:lnTo>
                      <a:pt x="83" y="590"/>
                    </a:lnTo>
                    <a:lnTo>
                      <a:pt x="82" y="588"/>
                    </a:lnTo>
                    <a:lnTo>
                      <a:pt x="83" y="588"/>
                    </a:lnTo>
                    <a:lnTo>
                      <a:pt x="83" y="587"/>
                    </a:lnTo>
                    <a:lnTo>
                      <a:pt x="82" y="587"/>
                    </a:lnTo>
                    <a:lnTo>
                      <a:pt x="82" y="585"/>
                    </a:lnTo>
                    <a:lnTo>
                      <a:pt x="83" y="585"/>
                    </a:lnTo>
                    <a:lnTo>
                      <a:pt x="83" y="583"/>
                    </a:lnTo>
                    <a:lnTo>
                      <a:pt x="83" y="582"/>
                    </a:lnTo>
                    <a:lnTo>
                      <a:pt x="83" y="580"/>
                    </a:lnTo>
                    <a:lnTo>
                      <a:pt x="83" y="578"/>
                    </a:lnTo>
                    <a:lnTo>
                      <a:pt x="85" y="578"/>
                    </a:lnTo>
                    <a:lnTo>
                      <a:pt x="85" y="580"/>
                    </a:lnTo>
                    <a:lnTo>
                      <a:pt x="87" y="580"/>
                    </a:lnTo>
                    <a:lnTo>
                      <a:pt x="87" y="578"/>
                    </a:lnTo>
                    <a:lnTo>
                      <a:pt x="87" y="577"/>
                    </a:lnTo>
                    <a:lnTo>
                      <a:pt x="85" y="577"/>
                    </a:lnTo>
                    <a:lnTo>
                      <a:pt x="87" y="575"/>
                    </a:lnTo>
                    <a:lnTo>
                      <a:pt x="85" y="575"/>
                    </a:lnTo>
                    <a:lnTo>
                      <a:pt x="87" y="573"/>
                    </a:lnTo>
                    <a:lnTo>
                      <a:pt x="85" y="573"/>
                    </a:lnTo>
                    <a:lnTo>
                      <a:pt x="87" y="571"/>
                    </a:lnTo>
                    <a:lnTo>
                      <a:pt x="87" y="570"/>
                    </a:lnTo>
                    <a:lnTo>
                      <a:pt x="87" y="571"/>
                    </a:lnTo>
                    <a:lnTo>
                      <a:pt x="88" y="571"/>
                    </a:lnTo>
                    <a:lnTo>
                      <a:pt x="90" y="571"/>
                    </a:lnTo>
                    <a:lnTo>
                      <a:pt x="90" y="570"/>
                    </a:lnTo>
                    <a:lnTo>
                      <a:pt x="92" y="570"/>
                    </a:lnTo>
                    <a:lnTo>
                      <a:pt x="92" y="568"/>
                    </a:lnTo>
                    <a:lnTo>
                      <a:pt x="92" y="566"/>
                    </a:lnTo>
                    <a:lnTo>
                      <a:pt x="92" y="568"/>
                    </a:lnTo>
                    <a:lnTo>
                      <a:pt x="94" y="568"/>
                    </a:lnTo>
                    <a:lnTo>
                      <a:pt x="94" y="566"/>
                    </a:lnTo>
                    <a:lnTo>
                      <a:pt x="94" y="568"/>
                    </a:lnTo>
                    <a:lnTo>
                      <a:pt x="95" y="568"/>
                    </a:lnTo>
                    <a:lnTo>
                      <a:pt x="97" y="568"/>
                    </a:lnTo>
                    <a:lnTo>
                      <a:pt x="99" y="568"/>
                    </a:lnTo>
                    <a:lnTo>
                      <a:pt x="99" y="566"/>
                    </a:lnTo>
                    <a:lnTo>
                      <a:pt x="97" y="566"/>
                    </a:lnTo>
                    <a:lnTo>
                      <a:pt x="97" y="565"/>
                    </a:lnTo>
                    <a:lnTo>
                      <a:pt x="99" y="563"/>
                    </a:lnTo>
                    <a:lnTo>
                      <a:pt x="97" y="561"/>
                    </a:lnTo>
                    <a:lnTo>
                      <a:pt x="99" y="561"/>
                    </a:lnTo>
                    <a:lnTo>
                      <a:pt x="100" y="561"/>
                    </a:lnTo>
                    <a:lnTo>
                      <a:pt x="100" y="560"/>
                    </a:lnTo>
                    <a:lnTo>
                      <a:pt x="100" y="558"/>
                    </a:lnTo>
                    <a:lnTo>
                      <a:pt x="102" y="558"/>
                    </a:lnTo>
                    <a:lnTo>
                      <a:pt x="102" y="556"/>
                    </a:lnTo>
                    <a:lnTo>
                      <a:pt x="104" y="556"/>
                    </a:lnTo>
                    <a:lnTo>
                      <a:pt x="104" y="558"/>
                    </a:lnTo>
                    <a:lnTo>
                      <a:pt x="105" y="558"/>
                    </a:lnTo>
                    <a:lnTo>
                      <a:pt x="107" y="558"/>
                    </a:lnTo>
                    <a:lnTo>
                      <a:pt x="107" y="556"/>
                    </a:lnTo>
                    <a:lnTo>
                      <a:pt x="107" y="554"/>
                    </a:lnTo>
                    <a:lnTo>
                      <a:pt x="107" y="553"/>
                    </a:lnTo>
                    <a:lnTo>
                      <a:pt x="109" y="553"/>
                    </a:lnTo>
                    <a:lnTo>
                      <a:pt x="109" y="551"/>
                    </a:lnTo>
                    <a:lnTo>
                      <a:pt x="109" y="549"/>
                    </a:lnTo>
                    <a:lnTo>
                      <a:pt x="107" y="549"/>
                    </a:lnTo>
                    <a:lnTo>
                      <a:pt x="109" y="548"/>
                    </a:lnTo>
                    <a:lnTo>
                      <a:pt x="107" y="548"/>
                    </a:lnTo>
                    <a:lnTo>
                      <a:pt x="107" y="546"/>
                    </a:lnTo>
                    <a:lnTo>
                      <a:pt x="107" y="544"/>
                    </a:lnTo>
                    <a:lnTo>
                      <a:pt x="109" y="544"/>
                    </a:lnTo>
                    <a:lnTo>
                      <a:pt x="111" y="544"/>
                    </a:lnTo>
                    <a:lnTo>
                      <a:pt x="111" y="543"/>
                    </a:lnTo>
                    <a:lnTo>
                      <a:pt x="109" y="543"/>
                    </a:lnTo>
                    <a:lnTo>
                      <a:pt x="109" y="541"/>
                    </a:lnTo>
                    <a:lnTo>
                      <a:pt x="109" y="539"/>
                    </a:lnTo>
                    <a:lnTo>
                      <a:pt x="109" y="537"/>
                    </a:lnTo>
                    <a:lnTo>
                      <a:pt x="107" y="537"/>
                    </a:lnTo>
                    <a:lnTo>
                      <a:pt x="107" y="536"/>
                    </a:lnTo>
                    <a:lnTo>
                      <a:pt x="109" y="534"/>
                    </a:lnTo>
                    <a:lnTo>
                      <a:pt x="107" y="532"/>
                    </a:lnTo>
                    <a:lnTo>
                      <a:pt x="107" y="531"/>
                    </a:lnTo>
                    <a:lnTo>
                      <a:pt x="109" y="531"/>
                    </a:lnTo>
                    <a:lnTo>
                      <a:pt x="107" y="529"/>
                    </a:lnTo>
                    <a:lnTo>
                      <a:pt x="105" y="529"/>
                    </a:lnTo>
                    <a:lnTo>
                      <a:pt x="107" y="527"/>
                    </a:lnTo>
                    <a:lnTo>
                      <a:pt x="105" y="527"/>
                    </a:lnTo>
                    <a:lnTo>
                      <a:pt x="107" y="526"/>
                    </a:lnTo>
                    <a:lnTo>
                      <a:pt x="105" y="526"/>
                    </a:lnTo>
                    <a:lnTo>
                      <a:pt x="107" y="524"/>
                    </a:lnTo>
                    <a:lnTo>
                      <a:pt x="107" y="522"/>
                    </a:lnTo>
                    <a:lnTo>
                      <a:pt x="105" y="522"/>
                    </a:lnTo>
                    <a:lnTo>
                      <a:pt x="104" y="522"/>
                    </a:lnTo>
                    <a:lnTo>
                      <a:pt x="102" y="522"/>
                    </a:lnTo>
                    <a:lnTo>
                      <a:pt x="102" y="520"/>
                    </a:lnTo>
                    <a:lnTo>
                      <a:pt x="102" y="519"/>
                    </a:lnTo>
                    <a:lnTo>
                      <a:pt x="102" y="517"/>
                    </a:lnTo>
                    <a:lnTo>
                      <a:pt x="104" y="517"/>
                    </a:lnTo>
                    <a:lnTo>
                      <a:pt x="105" y="517"/>
                    </a:lnTo>
                    <a:lnTo>
                      <a:pt x="107" y="517"/>
                    </a:lnTo>
                    <a:lnTo>
                      <a:pt x="109" y="517"/>
                    </a:lnTo>
                    <a:lnTo>
                      <a:pt x="109" y="515"/>
                    </a:lnTo>
                    <a:lnTo>
                      <a:pt x="109" y="514"/>
                    </a:lnTo>
                    <a:lnTo>
                      <a:pt x="109" y="512"/>
                    </a:lnTo>
                    <a:lnTo>
                      <a:pt x="109" y="510"/>
                    </a:lnTo>
                    <a:lnTo>
                      <a:pt x="109" y="509"/>
                    </a:lnTo>
                    <a:lnTo>
                      <a:pt x="111" y="509"/>
                    </a:lnTo>
                    <a:lnTo>
                      <a:pt x="111" y="507"/>
                    </a:lnTo>
                    <a:lnTo>
                      <a:pt x="111" y="505"/>
                    </a:lnTo>
                    <a:lnTo>
                      <a:pt x="112" y="503"/>
                    </a:lnTo>
                    <a:lnTo>
                      <a:pt x="112" y="502"/>
                    </a:lnTo>
                    <a:lnTo>
                      <a:pt x="112" y="500"/>
                    </a:lnTo>
                    <a:lnTo>
                      <a:pt x="111" y="500"/>
                    </a:lnTo>
                    <a:lnTo>
                      <a:pt x="111" y="498"/>
                    </a:lnTo>
                    <a:lnTo>
                      <a:pt x="112" y="498"/>
                    </a:lnTo>
                    <a:lnTo>
                      <a:pt x="112" y="497"/>
                    </a:lnTo>
                    <a:lnTo>
                      <a:pt x="114" y="497"/>
                    </a:lnTo>
                    <a:lnTo>
                      <a:pt x="114" y="495"/>
                    </a:lnTo>
                    <a:lnTo>
                      <a:pt x="114" y="493"/>
                    </a:lnTo>
                    <a:lnTo>
                      <a:pt x="116" y="491"/>
                    </a:lnTo>
                    <a:lnTo>
                      <a:pt x="116" y="490"/>
                    </a:lnTo>
                    <a:lnTo>
                      <a:pt x="117" y="488"/>
                    </a:lnTo>
                    <a:lnTo>
                      <a:pt x="119" y="488"/>
                    </a:lnTo>
                    <a:lnTo>
                      <a:pt x="119" y="486"/>
                    </a:lnTo>
                    <a:lnTo>
                      <a:pt x="121" y="485"/>
                    </a:lnTo>
                    <a:lnTo>
                      <a:pt x="121" y="483"/>
                    </a:lnTo>
                    <a:lnTo>
                      <a:pt x="121" y="481"/>
                    </a:lnTo>
                    <a:lnTo>
                      <a:pt x="121" y="480"/>
                    </a:lnTo>
                    <a:lnTo>
                      <a:pt x="122" y="480"/>
                    </a:lnTo>
                    <a:lnTo>
                      <a:pt x="122" y="478"/>
                    </a:lnTo>
                    <a:lnTo>
                      <a:pt x="122" y="480"/>
                    </a:lnTo>
                    <a:lnTo>
                      <a:pt x="124" y="480"/>
                    </a:lnTo>
                    <a:lnTo>
                      <a:pt x="126" y="480"/>
                    </a:lnTo>
                    <a:lnTo>
                      <a:pt x="126" y="478"/>
                    </a:lnTo>
                    <a:lnTo>
                      <a:pt x="128" y="478"/>
                    </a:lnTo>
                    <a:lnTo>
                      <a:pt x="128" y="476"/>
                    </a:lnTo>
                    <a:lnTo>
                      <a:pt x="128" y="474"/>
                    </a:lnTo>
                    <a:lnTo>
                      <a:pt x="126" y="474"/>
                    </a:lnTo>
                    <a:lnTo>
                      <a:pt x="126" y="473"/>
                    </a:lnTo>
                    <a:lnTo>
                      <a:pt x="128" y="471"/>
                    </a:lnTo>
                    <a:lnTo>
                      <a:pt x="126" y="471"/>
                    </a:lnTo>
                    <a:lnTo>
                      <a:pt x="126" y="469"/>
                    </a:lnTo>
                    <a:lnTo>
                      <a:pt x="128" y="469"/>
                    </a:lnTo>
                    <a:lnTo>
                      <a:pt x="126" y="468"/>
                    </a:lnTo>
                    <a:lnTo>
                      <a:pt x="126" y="466"/>
                    </a:lnTo>
                    <a:lnTo>
                      <a:pt x="126" y="468"/>
                    </a:lnTo>
                    <a:lnTo>
                      <a:pt x="124" y="466"/>
                    </a:lnTo>
                    <a:lnTo>
                      <a:pt x="124" y="464"/>
                    </a:lnTo>
                    <a:lnTo>
                      <a:pt x="126" y="464"/>
                    </a:lnTo>
                    <a:lnTo>
                      <a:pt x="126" y="463"/>
                    </a:lnTo>
                    <a:lnTo>
                      <a:pt x="124" y="463"/>
                    </a:lnTo>
                    <a:lnTo>
                      <a:pt x="124" y="461"/>
                    </a:lnTo>
                    <a:lnTo>
                      <a:pt x="124" y="459"/>
                    </a:lnTo>
                    <a:lnTo>
                      <a:pt x="124" y="457"/>
                    </a:lnTo>
                    <a:lnTo>
                      <a:pt x="126" y="457"/>
                    </a:lnTo>
                    <a:lnTo>
                      <a:pt x="126" y="456"/>
                    </a:lnTo>
                    <a:lnTo>
                      <a:pt x="126" y="454"/>
                    </a:lnTo>
                    <a:lnTo>
                      <a:pt x="126" y="452"/>
                    </a:lnTo>
                    <a:lnTo>
                      <a:pt x="126" y="451"/>
                    </a:lnTo>
                    <a:lnTo>
                      <a:pt x="126" y="449"/>
                    </a:lnTo>
                    <a:lnTo>
                      <a:pt x="128" y="449"/>
                    </a:lnTo>
                    <a:lnTo>
                      <a:pt x="128" y="447"/>
                    </a:lnTo>
                    <a:lnTo>
                      <a:pt x="128" y="446"/>
                    </a:lnTo>
                    <a:lnTo>
                      <a:pt x="128" y="444"/>
                    </a:lnTo>
                    <a:lnTo>
                      <a:pt x="129" y="444"/>
                    </a:lnTo>
                    <a:lnTo>
                      <a:pt x="129" y="442"/>
                    </a:lnTo>
                    <a:lnTo>
                      <a:pt x="129" y="440"/>
                    </a:lnTo>
                    <a:lnTo>
                      <a:pt x="128" y="440"/>
                    </a:lnTo>
                    <a:lnTo>
                      <a:pt x="128" y="439"/>
                    </a:lnTo>
                    <a:lnTo>
                      <a:pt x="126" y="439"/>
                    </a:lnTo>
                    <a:lnTo>
                      <a:pt x="124" y="439"/>
                    </a:lnTo>
                    <a:lnTo>
                      <a:pt x="124" y="437"/>
                    </a:lnTo>
                    <a:lnTo>
                      <a:pt x="124" y="439"/>
                    </a:lnTo>
                    <a:lnTo>
                      <a:pt x="122" y="439"/>
                    </a:lnTo>
                    <a:lnTo>
                      <a:pt x="122" y="440"/>
                    </a:lnTo>
                    <a:lnTo>
                      <a:pt x="121" y="440"/>
                    </a:lnTo>
                    <a:lnTo>
                      <a:pt x="121" y="439"/>
                    </a:lnTo>
                    <a:lnTo>
                      <a:pt x="121" y="437"/>
                    </a:lnTo>
                    <a:lnTo>
                      <a:pt x="119" y="437"/>
                    </a:lnTo>
                    <a:lnTo>
                      <a:pt x="119" y="435"/>
                    </a:lnTo>
                    <a:lnTo>
                      <a:pt x="119" y="434"/>
                    </a:lnTo>
                    <a:lnTo>
                      <a:pt x="119" y="432"/>
                    </a:lnTo>
                    <a:lnTo>
                      <a:pt x="119" y="430"/>
                    </a:lnTo>
                    <a:lnTo>
                      <a:pt x="117" y="430"/>
                    </a:lnTo>
                    <a:lnTo>
                      <a:pt x="119" y="429"/>
                    </a:lnTo>
                    <a:lnTo>
                      <a:pt x="121" y="429"/>
                    </a:lnTo>
                    <a:lnTo>
                      <a:pt x="121" y="427"/>
                    </a:lnTo>
                    <a:lnTo>
                      <a:pt x="122" y="427"/>
                    </a:lnTo>
                    <a:lnTo>
                      <a:pt x="121" y="427"/>
                    </a:lnTo>
                    <a:lnTo>
                      <a:pt x="121" y="425"/>
                    </a:lnTo>
                    <a:lnTo>
                      <a:pt x="121" y="423"/>
                    </a:lnTo>
                    <a:lnTo>
                      <a:pt x="119" y="422"/>
                    </a:lnTo>
                    <a:lnTo>
                      <a:pt x="119" y="420"/>
                    </a:lnTo>
                    <a:lnTo>
                      <a:pt x="117" y="420"/>
                    </a:lnTo>
                    <a:lnTo>
                      <a:pt x="117" y="418"/>
                    </a:lnTo>
                    <a:lnTo>
                      <a:pt x="117" y="417"/>
                    </a:lnTo>
                    <a:lnTo>
                      <a:pt x="116" y="417"/>
                    </a:lnTo>
                    <a:lnTo>
                      <a:pt x="116" y="415"/>
                    </a:lnTo>
                    <a:lnTo>
                      <a:pt x="116" y="413"/>
                    </a:lnTo>
                    <a:lnTo>
                      <a:pt x="116" y="412"/>
                    </a:lnTo>
                    <a:lnTo>
                      <a:pt x="117" y="410"/>
                    </a:lnTo>
                    <a:lnTo>
                      <a:pt x="117" y="408"/>
                    </a:lnTo>
                    <a:lnTo>
                      <a:pt x="116" y="408"/>
                    </a:lnTo>
                    <a:lnTo>
                      <a:pt x="117" y="406"/>
                    </a:lnTo>
                    <a:lnTo>
                      <a:pt x="116" y="406"/>
                    </a:lnTo>
                    <a:lnTo>
                      <a:pt x="114" y="405"/>
                    </a:lnTo>
                    <a:lnTo>
                      <a:pt x="114" y="403"/>
                    </a:lnTo>
                    <a:lnTo>
                      <a:pt x="114" y="401"/>
                    </a:lnTo>
                    <a:lnTo>
                      <a:pt x="114" y="400"/>
                    </a:lnTo>
                    <a:lnTo>
                      <a:pt x="112" y="400"/>
                    </a:lnTo>
                    <a:lnTo>
                      <a:pt x="111" y="398"/>
                    </a:lnTo>
                    <a:lnTo>
                      <a:pt x="111" y="396"/>
                    </a:lnTo>
                    <a:lnTo>
                      <a:pt x="111" y="395"/>
                    </a:lnTo>
                    <a:lnTo>
                      <a:pt x="111" y="393"/>
                    </a:lnTo>
                    <a:lnTo>
                      <a:pt x="111" y="391"/>
                    </a:lnTo>
                    <a:lnTo>
                      <a:pt x="109" y="391"/>
                    </a:lnTo>
                    <a:lnTo>
                      <a:pt x="111" y="391"/>
                    </a:lnTo>
                    <a:lnTo>
                      <a:pt x="109" y="389"/>
                    </a:lnTo>
                    <a:lnTo>
                      <a:pt x="109" y="388"/>
                    </a:lnTo>
                    <a:lnTo>
                      <a:pt x="111" y="389"/>
                    </a:lnTo>
                    <a:lnTo>
                      <a:pt x="112" y="389"/>
                    </a:lnTo>
                    <a:lnTo>
                      <a:pt x="112" y="388"/>
                    </a:lnTo>
                    <a:lnTo>
                      <a:pt x="114" y="386"/>
                    </a:lnTo>
                    <a:lnTo>
                      <a:pt x="114" y="384"/>
                    </a:lnTo>
                    <a:lnTo>
                      <a:pt x="112" y="384"/>
                    </a:lnTo>
                    <a:lnTo>
                      <a:pt x="112" y="383"/>
                    </a:lnTo>
                    <a:lnTo>
                      <a:pt x="111" y="383"/>
                    </a:lnTo>
                    <a:lnTo>
                      <a:pt x="109" y="383"/>
                    </a:lnTo>
                    <a:lnTo>
                      <a:pt x="107" y="383"/>
                    </a:lnTo>
                    <a:lnTo>
                      <a:pt x="105" y="381"/>
                    </a:lnTo>
                    <a:lnTo>
                      <a:pt x="105" y="379"/>
                    </a:lnTo>
                    <a:lnTo>
                      <a:pt x="105" y="378"/>
                    </a:lnTo>
                    <a:lnTo>
                      <a:pt x="105" y="376"/>
                    </a:lnTo>
                    <a:lnTo>
                      <a:pt x="105" y="374"/>
                    </a:lnTo>
                    <a:lnTo>
                      <a:pt x="104" y="374"/>
                    </a:lnTo>
                    <a:lnTo>
                      <a:pt x="104" y="372"/>
                    </a:lnTo>
                    <a:lnTo>
                      <a:pt x="102" y="372"/>
                    </a:lnTo>
                    <a:lnTo>
                      <a:pt x="102" y="371"/>
                    </a:lnTo>
                    <a:lnTo>
                      <a:pt x="102" y="369"/>
                    </a:lnTo>
                    <a:lnTo>
                      <a:pt x="102" y="367"/>
                    </a:lnTo>
                    <a:lnTo>
                      <a:pt x="102" y="366"/>
                    </a:lnTo>
                    <a:lnTo>
                      <a:pt x="102" y="364"/>
                    </a:lnTo>
                    <a:lnTo>
                      <a:pt x="104" y="364"/>
                    </a:lnTo>
                    <a:lnTo>
                      <a:pt x="104" y="362"/>
                    </a:lnTo>
                    <a:lnTo>
                      <a:pt x="104" y="361"/>
                    </a:lnTo>
                    <a:lnTo>
                      <a:pt x="102" y="361"/>
                    </a:lnTo>
                    <a:lnTo>
                      <a:pt x="104" y="359"/>
                    </a:lnTo>
                    <a:lnTo>
                      <a:pt x="104" y="357"/>
                    </a:lnTo>
                    <a:lnTo>
                      <a:pt x="104" y="355"/>
                    </a:lnTo>
                    <a:lnTo>
                      <a:pt x="104" y="354"/>
                    </a:lnTo>
                    <a:lnTo>
                      <a:pt x="104" y="352"/>
                    </a:lnTo>
                    <a:lnTo>
                      <a:pt x="105" y="352"/>
                    </a:lnTo>
                    <a:lnTo>
                      <a:pt x="105" y="350"/>
                    </a:lnTo>
                    <a:lnTo>
                      <a:pt x="105" y="352"/>
                    </a:lnTo>
                    <a:lnTo>
                      <a:pt x="107" y="352"/>
                    </a:lnTo>
                    <a:lnTo>
                      <a:pt x="107" y="354"/>
                    </a:lnTo>
                    <a:lnTo>
                      <a:pt x="107" y="355"/>
                    </a:lnTo>
                    <a:lnTo>
                      <a:pt x="109" y="354"/>
                    </a:lnTo>
                    <a:lnTo>
                      <a:pt x="109" y="352"/>
                    </a:lnTo>
                    <a:lnTo>
                      <a:pt x="109" y="350"/>
                    </a:lnTo>
                    <a:lnTo>
                      <a:pt x="111" y="350"/>
                    </a:lnTo>
                    <a:lnTo>
                      <a:pt x="112" y="350"/>
                    </a:lnTo>
                    <a:lnTo>
                      <a:pt x="112" y="349"/>
                    </a:lnTo>
                    <a:lnTo>
                      <a:pt x="111" y="349"/>
                    </a:lnTo>
                    <a:lnTo>
                      <a:pt x="111" y="347"/>
                    </a:lnTo>
                    <a:lnTo>
                      <a:pt x="111" y="345"/>
                    </a:lnTo>
                    <a:lnTo>
                      <a:pt x="111" y="344"/>
                    </a:lnTo>
                    <a:lnTo>
                      <a:pt x="111" y="342"/>
                    </a:lnTo>
                    <a:lnTo>
                      <a:pt x="112" y="342"/>
                    </a:lnTo>
                    <a:lnTo>
                      <a:pt x="112" y="340"/>
                    </a:lnTo>
                    <a:lnTo>
                      <a:pt x="112" y="338"/>
                    </a:lnTo>
                    <a:lnTo>
                      <a:pt x="112" y="337"/>
                    </a:lnTo>
                    <a:lnTo>
                      <a:pt x="112" y="335"/>
                    </a:lnTo>
                    <a:lnTo>
                      <a:pt x="114" y="335"/>
                    </a:lnTo>
                    <a:lnTo>
                      <a:pt x="112" y="335"/>
                    </a:lnTo>
                    <a:lnTo>
                      <a:pt x="112" y="333"/>
                    </a:lnTo>
                    <a:lnTo>
                      <a:pt x="114" y="333"/>
                    </a:lnTo>
                    <a:lnTo>
                      <a:pt x="114" y="332"/>
                    </a:lnTo>
                    <a:lnTo>
                      <a:pt x="114" y="330"/>
                    </a:lnTo>
                    <a:lnTo>
                      <a:pt x="116" y="328"/>
                    </a:lnTo>
                    <a:lnTo>
                      <a:pt x="114" y="328"/>
                    </a:lnTo>
                    <a:lnTo>
                      <a:pt x="116" y="328"/>
                    </a:lnTo>
                    <a:lnTo>
                      <a:pt x="116" y="326"/>
                    </a:lnTo>
                    <a:lnTo>
                      <a:pt x="117" y="326"/>
                    </a:lnTo>
                    <a:lnTo>
                      <a:pt x="117" y="325"/>
                    </a:lnTo>
                    <a:lnTo>
                      <a:pt x="116" y="323"/>
                    </a:lnTo>
                    <a:lnTo>
                      <a:pt x="117" y="321"/>
                    </a:lnTo>
                    <a:lnTo>
                      <a:pt x="117" y="323"/>
                    </a:lnTo>
                    <a:lnTo>
                      <a:pt x="119" y="323"/>
                    </a:lnTo>
                    <a:lnTo>
                      <a:pt x="119" y="325"/>
                    </a:lnTo>
                    <a:lnTo>
                      <a:pt x="121" y="325"/>
                    </a:lnTo>
                    <a:lnTo>
                      <a:pt x="121" y="323"/>
                    </a:lnTo>
                    <a:lnTo>
                      <a:pt x="122" y="323"/>
                    </a:lnTo>
                    <a:lnTo>
                      <a:pt x="124" y="323"/>
                    </a:lnTo>
                    <a:lnTo>
                      <a:pt x="124" y="321"/>
                    </a:lnTo>
                    <a:lnTo>
                      <a:pt x="124" y="320"/>
                    </a:lnTo>
                    <a:lnTo>
                      <a:pt x="126" y="320"/>
                    </a:lnTo>
                    <a:lnTo>
                      <a:pt x="126" y="318"/>
                    </a:lnTo>
                    <a:lnTo>
                      <a:pt x="126" y="316"/>
                    </a:lnTo>
                    <a:lnTo>
                      <a:pt x="126" y="318"/>
                    </a:lnTo>
                    <a:lnTo>
                      <a:pt x="128" y="318"/>
                    </a:lnTo>
                    <a:lnTo>
                      <a:pt x="128" y="316"/>
                    </a:lnTo>
                    <a:lnTo>
                      <a:pt x="128" y="315"/>
                    </a:lnTo>
                    <a:lnTo>
                      <a:pt x="126" y="315"/>
                    </a:lnTo>
                    <a:lnTo>
                      <a:pt x="126" y="313"/>
                    </a:lnTo>
                    <a:lnTo>
                      <a:pt x="124" y="313"/>
                    </a:lnTo>
                    <a:lnTo>
                      <a:pt x="122" y="313"/>
                    </a:lnTo>
                    <a:lnTo>
                      <a:pt x="122" y="311"/>
                    </a:lnTo>
                    <a:lnTo>
                      <a:pt x="124" y="311"/>
                    </a:lnTo>
                    <a:lnTo>
                      <a:pt x="124" y="309"/>
                    </a:lnTo>
                    <a:lnTo>
                      <a:pt x="124" y="308"/>
                    </a:lnTo>
                    <a:lnTo>
                      <a:pt x="124" y="306"/>
                    </a:lnTo>
                    <a:lnTo>
                      <a:pt x="126" y="304"/>
                    </a:lnTo>
                    <a:lnTo>
                      <a:pt x="124" y="304"/>
                    </a:lnTo>
                    <a:lnTo>
                      <a:pt x="126" y="303"/>
                    </a:lnTo>
                    <a:lnTo>
                      <a:pt x="124" y="303"/>
                    </a:lnTo>
                    <a:lnTo>
                      <a:pt x="124" y="301"/>
                    </a:lnTo>
                    <a:lnTo>
                      <a:pt x="124" y="299"/>
                    </a:lnTo>
                    <a:lnTo>
                      <a:pt x="126" y="299"/>
                    </a:lnTo>
                    <a:lnTo>
                      <a:pt x="126" y="298"/>
                    </a:lnTo>
                    <a:lnTo>
                      <a:pt x="124" y="298"/>
                    </a:lnTo>
                    <a:lnTo>
                      <a:pt x="124" y="296"/>
                    </a:lnTo>
                    <a:lnTo>
                      <a:pt x="122" y="296"/>
                    </a:lnTo>
                    <a:lnTo>
                      <a:pt x="122" y="294"/>
                    </a:lnTo>
                    <a:lnTo>
                      <a:pt x="124" y="294"/>
                    </a:lnTo>
                    <a:lnTo>
                      <a:pt x="122" y="294"/>
                    </a:lnTo>
                    <a:lnTo>
                      <a:pt x="124" y="292"/>
                    </a:lnTo>
                    <a:lnTo>
                      <a:pt x="122" y="292"/>
                    </a:lnTo>
                    <a:lnTo>
                      <a:pt x="124" y="291"/>
                    </a:lnTo>
                    <a:lnTo>
                      <a:pt x="122" y="291"/>
                    </a:lnTo>
                    <a:lnTo>
                      <a:pt x="122" y="289"/>
                    </a:lnTo>
                    <a:lnTo>
                      <a:pt x="122" y="287"/>
                    </a:lnTo>
                    <a:lnTo>
                      <a:pt x="122" y="286"/>
                    </a:lnTo>
                    <a:lnTo>
                      <a:pt x="121" y="286"/>
                    </a:lnTo>
                    <a:lnTo>
                      <a:pt x="121" y="284"/>
                    </a:lnTo>
                    <a:lnTo>
                      <a:pt x="121" y="282"/>
                    </a:lnTo>
                    <a:lnTo>
                      <a:pt x="121" y="281"/>
                    </a:lnTo>
                    <a:lnTo>
                      <a:pt x="122" y="281"/>
                    </a:lnTo>
                    <a:lnTo>
                      <a:pt x="122" y="279"/>
                    </a:lnTo>
                    <a:lnTo>
                      <a:pt x="122" y="277"/>
                    </a:lnTo>
                    <a:lnTo>
                      <a:pt x="124" y="277"/>
                    </a:lnTo>
                    <a:lnTo>
                      <a:pt x="124" y="275"/>
                    </a:lnTo>
                    <a:lnTo>
                      <a:pt x="126" y="275"/>
                    </a:lnTo>
                    <a:lnTo>
                      <a:pt x="128" y="275"/>
                    </a:lnTo>
                    <a:lnTo>
                      <a:pt x="128" y="274"/>
                    </a:lnTo>
                    <a:lnTo>
                      <a:pt x="129" y="274"/>
                    </a:lnTo>
                    <a:lnTo>
                      <a:pt x="128" y="274"/>
                    </a:lnTo>
                    <a:lnTo>
                      <a:pt x="128" y="272"/>
                    </a:lnTo>
                    <a:lnTo>
                      <a:pt x="129" y="272"/>
                    </a:lnTo>
                    <a:lnTo>
                      <a:pt x="128" y="270"/>
                    </a:lnTo>
                    <a:lnTo>
                      <a:pt x="129" y="270"/>
                    </a:lnTo>
                    <a:lnTo>
                      <a:pt x="129" y="269"/>
                    </a:lnTo>
                    <a:lnTo>
                      <a:pt x="129" y="267"/>
                    </a:lnTo>
                    <a:lnTo>
                      <a:pt x="129" y="265"/>
                    </a:lnTo>
                    <a:lnTo>
                      <a:pt x="129" y="264"/>
                    </a:lnTo>
                    <a:lnTo>
                      <a:pt x="131" y="264"/>
                    </a:lnTo>
                    <a:lnTo>
                      <a:pt x="131" y="262"/>
                    </a:lnTo>
                    <a:lnTo>
                      <a:pt x="131" y="260"/>
                    </a:lnTo>
                    <a:lnTo>
                      <a:pt x="131" y="258"/>
                    </a:lnTo>
                    <a:lnTo>
                      <a:pt x="131" y="257"/>
                    </a:lnTo>
                    <a:lnTo>
                      <a:pt x="131" y="255"/>
                    </a:lnTo>
                    <a:lnTo>
                      <a:pt x="133" y="255"/>
                    </a:lnTo>
                    <a:lnTo>
                      <a:pt x="131" y="253"/>
                    </a:lnTo>
                    <a:lnTo>
                      <a:pt x="133" y="253"/>
                    </a:lnTo>
                    <a:lnTo>
                      <a:pt x="133" y="252"/>
                    </a:lnTo>
                    <a:lnTo>
                      <a:pt x="133" y="250"/>
                    </a:lnTo>
                    <a:lnTo>
                      <a:pt x="133" y="248"/>
                    </a:lnTo>
                    <a:lnTo>
                      <a:pt x="134" y="248"/>
                    </a:lnTo>
                    <a:lnTo>
                      <a:pt x="133" y="248"/>
                    </a:lnTo>
                    <a:lnTo>
                      <a:pt x="133" y="247"/>
                    </a:lnTo>
                    <a:lnTo>
                      <a:pt x="134" y="247"/>
                    </a:lnTo>
                    <a:lnTo>
                      <a:pt x="136" y="247"/>
                    </a:lnTo>
                    <a:lnTo>
                      <a:pt x="134" y="245"/>
                    </a:lnTo>
                    <a:lnTo>
                      <a:pt x="136" y="245"/>
                    </a:lnTo>
                    <a:lnTo>
                      <a:pt x="138" y="245"/>
                    </a:lnTo>
                    <a:lnTo>
                      <a:pt x="138" y="243"/>
                    </a:lnTo>
                    <a:lnTo>
                      <a:pt x="138" y="241"/>
                    </a:lnTo>
                    <a:lnTo>
                      <a:pt x="139" y="241"/>
                    </a:lnTo>
                    <a:lnTo>
                      <a:pt x="139" y="240"/>
                    </a:lnTo>
                    <a:lnTo>
                      <a:pt x="139" y="238"/>
                    </a:lnTo>
                    <a:lnTo>
                      <a:pt x="141" y="240"/>
                    </a:lnTo>
                    <a:lnTo>
                      <a:pt x="143" y="240"/>
                    </a:lnTo>
                    <a:lnTo>
                      <a:pt x="143" y="238"/>
                    </a:lnTo>
                    <a:lnTo>
                      <a:pt x="145" y="236"/>
                    </a:lnTo>
                    <a:lnTo>
                      <a:pt x="145" y="235"/>
                    </a:lnTo>
                    <a:lnTo>
                      <a:pt x="146" y="233"/>
                    </a:lnTo>
                    <a:lnTo>
                      <a:pt x="146" y="231"/>
                    </a:lnTo>
                    <a:lnTo>
                      <a:pt x="148" y="230"/>
                    </a:lnTo>
                    <a:lnTo>
                      <a:pt x="150" y="231"/>
                    </a:lnTo>
                    <a:lnTo>
                      <a:pt x="150" y="230"/>
                    </a:lnTo>
                    <a:lnTo>
                      <a:pt x="150" y="228"/>
                    </a:lnTo>
                    <a:lnTo>
                      <a:pt x="151" y="228"/>
                    </a:lnTo>
                    <a:lnTo>
                      <a:pt x="151" y="226"/>
                    </a:lnTo>
                    <a:lnTo>
                      <a:pt x="151" y="224"/>
                    </a:lnTo>
                    <a:lnTo>
                      <a:pt x="151" y="223"/>
                    </a:lnTo>
                    <a:lnTo>
                      <a:pt x="151" y="221"/>
                    </a:lnTo>
                    <a:lnTo>
                      <a:pt x="153" y="221"/>
                    </a:lnTo>
                    <a:lnTo>
                      <a:pt x="153" y="219"/>
                    </a:lnTo>
                    <a:lnTo>
                      <a:pt x="153" y="218"/>
                    </a:lnTo>
                    <a:lnTo>
                      <a:pt x="153" y="216"/>
                    </a:lnTo>
                    <a:lnTo>
                      <a:pt x="155" y="216"/>
                    </a:lnTo>
                    <a:lnTo>
                      <a:pt x="156" y="214"/>
                    </a:lnTo>
                    <a:lnTo>
                      <a:pt x="155" y="214"/>
                    </a:lnTo>
                    <a:lnTo>
                      <a:pt x="156" y="214"/>
                    </a:lnTo>
                    <a:lnTo>
                      <a:pt x="156" y="213"/>
                    </a:lnTo>
                    <a:lnTo>
                      <a:pt x="156" y="211"/>
                    </a:lnTo>
                    <a:lnTo>
                      <a:pt x="155" y="211"/>
                    </a:lnTo>
                    <a:lnTo>
                      <a:pt x="156" y="211"/>
                    </a:lnTo>
                    <a:lnTo>
                      <a:pt x="156" y="209"/>
                    </a:lnTo>
                    <a:lnTo>
                      <a:pt x="156" y="211"/>
                    </a:lnTo>
                    <a:lnTo>
                      <a:pt x="158" y="209"/>
                    </a:lnTo>
                    <a:lnTo>
                      <a:pt x="156" y="209"/>
                    </a:lnTo>
                    <a:lnTo>
                      <a:pt x="158" y="209"/>
                    </a:lnTo>
                    <a:lnTo>
                      <a:pt x="158" y="207"/>
                    </a:lnTo>
                    <a:lnTo>
                      <a:pt x="158" y="206"/>
                    </a:lnTo>
                    <a:lnTo>
                      <a:pt x="160" y="206"/>
                    </a:lnTo>
                    <a:lnTo>
                      <a:pt x="160" y="204"/>
                    </a:lnTo>
                    <a:lnTo>
                      <a:pt x="162" y="204"/>
                    </a:lnTo>
                    <a:lnTo>
                      <a:pt x="160" y="204"/>
                    </a:lnTo>
                    <a:lnTo>
                      <a:pt x="160" y="202"/>
                    </a:lnTo>
                    <a:lnTo>
                      <a:pt x="160" y="201"/>
                    </a:lnTo>
                    <a:lnTo>
                      <a:pt x="160" y="199"/>
                    </a:lnTo>
                    <a:lnTo>
                      <a:pt x="162" y="199"/>
                    </a:lnTo>
                    <a:lnTo>
                      <a:pt x="162" y="197"/>
                    </a:lnTo>
                    <a:lnTo>
                      <a:pt x="163" y="197"/>
                    </a:lnTo>
                    <a:lnTo>
                      <a:pt x="165" y="197"/>
                    </a:lnTo>
                    <a:lnTo>
                      <a:pt x="167" y="197"/>
                    </a:lnTo>
                    <a:lnTo>
                      <a:pt x="167" y="199"/>
                    </a:lnTo>
                    <a:lnTo>
                      <a:pt x="168" y="201"/>
                    </a:lnTo>
                    <a:lnTo>
                      <a:pt x="168" y="199"/>
                    </a:lnTo>
                    <a:lnTo>
                      <a:pt x="170" y="201"/>
                    </a:lnTo>
                    <a:lnTo>
                      <a:pt x="170" y="199"/>
                    </a:lnTo>
                    <a:lnTo>
                      <a:pt x="170" y="197"/>
                    </a:lnTo>
                    <a:lnTo>
                      <a:pt x="172" y="199"/>
                    </a:lnTo>
                    <a:lnTo>
                      <a:pt x="173" y="197"/>
                    </a:lnTo>
                    <a:lnTo>
                      <a:pt x="172" y="196"/>
                    </a:lnTo>
                    <a:lnTo>
                      <a:pt x="173" y="197"/>
                    </a:lnTo>
                    <a:lnTo>
                      <a:pt x="173" y="196"/>
                    </a:lnTo>
                    <a:lnTo>
                      <a:pt x="175" y="196"/>
                    </a:lnTo>
                    <a:lnTo>
                      <a:pt x="177" y="196"/>
                    </a:lnTo>
                    <a:lnTo>
                      <a:pt x="179" y="196"/>
                    </a:lnTo>
                    <a:lnTo>
                      <a:pt x="179" y="194"/>
                    </a:lnTo>
                    <a:lnTo>
                      <a:pt x="179" y="192"/>
                    </a:lnTo>
                    <a:lnTo>
                      <a:pt x="179" y="190"/>
                    </a:lnTo>
                    <a:lnTo>
                      <a:pt x="180" y="190"/>
                    </a:lnTo>
                    <a:lnTo>
                      <a:pt x="179" y="190"/>
                    </a:lnTo>
                    <a:lnTo>
                      <a:pt x="179" y="189"/>
                    </a:lnTo>
                    <a:lnTo>
                      <a:pt x="177" y="187"/>
                    </a:lnTo>
                    <a:lnTo>
                      <a:pt x="177" y="185"/>
                    </a:lnTo>
                    <a:lnTo>
                      <a:pt x="175" y="185"/>
                    </a:lnTo>
                    <a:lnTo>
                      <a:pt x="173" y="182"/>
                    </a:lnTo>
                    <a:lnTo>
                      <a:pt x="173" y="180"/>
                    </a:lnTo>
                    <a:lnTo>
                      <a:pt x="172" y="180"/>
                    </a:lnTo>
                    <a:lnTo>
                      <a:pt x="172" y="178"/>
                    </a:lnTo>
                    <a:lnTo>
                      <a:pt x="170" y="177"/>
                    </a:lnTo>
                    <a:lnTo>
                      <a:pt x="170" y="175"/>
                    </a:lnTo>
                    <a:lnTo>
                      <a:pt x="168" y="173"/>
                    </a:lnTo>
                    <a:lnTo>
                      <a:pt x="168" y="172"/>
                    </a:lnTo>
                    <a:lnTo>
                      <a:pt x="170" y="170"/>
                    </a:lnTo>
                    <a:lnTo>
                      <a:pt x="170" y="167"/>
                    </a:lnTo>
                    <a:lnTo>
                      <a:pt x="172" y="165"/>
                    </a:lnTo>
                    <a:lnTo>
                      <a:pt x="173" y="163"/>
                    </a:lnTo>
                    <a:lnTo>
                      <a:pt x="175" y="163"/>
                    </a:lnTo>
                    <a:lnTo>
                      <a:pt x="175" y="160"/>
                    </a:lnTo>
                    <a:lnTo>
                      <a:pt x="175" y="156"/>
                    </a:lnTo>
                    <a:lnTo>
                      <a:pt x="175" y="155"/>
                    </a:lnTo>
                    <a:lnTo>
                      <a:pt x="173" y="151"/>
                    </a:lnTo>
                    <a:lnTo>
                      <a:pt x="173" y="146"/>
                    </a:lnTo>
                    <a:lnTo>
                      <a:pt x="172" y="144"/>
                    </a:lnTo>
                    <a:lnTo>
                      <a:pt x="172" y="143"/>
                    </a:lnTo>
                    <a:lnTo>
                      <a:pt x="170" y="143"/>
                    </a:lnTo>
                    <a:lnTo>
                      <a:pt x="170" y="141"/>
                    </a:lnTo>
                    <a:lnTo>
                      <a:pt x="172" y="139"/>
                    </a:lnTo>
                    <a:lnTo>
                      <a:pt x="170" y="139"/>
                    </a:lnTo>
                    <a:lnTo>
                      <a:pt x="170" y="138"/>
                    </a:lnTo>
                    <a:lnTo>
                      <a:pt x="170" y="136"/>
                    </a:lnTo>
                    <a:lnTo>
                      <a:pt x="168" y="134"/>
                    </a:lnTo>
                    <a:lnTo>
                      <a:pt x="170" y="134"/>
                    </a:lnTo>
                    <a:lnTo>
                      <a:pt x="170" y="133"/>
                    </a:lnTo>
                    <a:lnTo>
                      <a:pt x="172" y="133"/>
                    </a:lnTo>
                    <a:lnTo>
                      <a:pt x="172" y="131"/>
                    </a:lnTo>
                    <a:lnTo>
                      <a:pt x="170" y="131"/>
                    </a:lnTo>
                    <a:lnTo>
                      <a:pt x="170" y="129"/>
                    </a:lnTo>
                    <a:lnTo>
                      <a:pt x="170" y="127"/>
                    </a:lnTo>
                    <a:lnTo>
                      <a:pt x="172" y="127"/>
                    </a:lnTo>
                    <a:lnTo>
                      <a:pt x="172" y="126"/>
                    </a:lnTo>
                    <a:lnTo>
                      <a:pt x="172" y="124"/>
                    </a:lnTo>
                    <a:lnTo>
                      <a:pt x="173" y="122"/>
                    </a:lnTo>
                    <a:lnTo>
                      <a:pt x="175" y="122"/>
                    </a:lnTo>
                    <a:lnTo>
                      <a:pt x="175" y="124"/>
                    </a:lnTo>
                    <a:lnTo>
                      <a:pt x="175" y="122"/>
                    </a:lnTo>
                    <a:lnTo>
                      <a:pt x="177" y="122"/>
                    </a:lnTo>
                    <a:lnTo>
                      <a:pt x="177" y="121"/>
                    </a:lnTo>
                    <a:lnTo>
                      <a:pt x="177" y="119"/>
                    </a:lnTo>
                    <a:lnTo>
                      <a:pt x="175" y="119"/>
                    </a:lnTo>
                    <a:lnTo>
                      <a:pt x="175" y="117"/>
                    </a:lnTo>
                    <a:lnTo>
                      <a:pt x="173" y="117"/>
                    </a:lnTo>
                    <a:lnTo>
                      <a:pt x="173" y="116"/>
                    </a:lnTo>
                    <a:lnTo>
                      <a:pt x="173" y="114"/>
                    </a:lnTo>
                    <a:lnTo>
                      <a:pt x="172" y="114"/>
                    </a:lnTo>
                    <a:lnTo>
                      <a:pt x="170" y="112"/>
                    </a:lnTo>
                    <a:lnTo>
                      <a:pt x="170" y="110"/>
                    </a:lnTo>
                    <a:lnTo>
                      <a:pt x="170" y="109"/>
                    </a:lnTo>
                    <a:lnTo>
                      <a:pt x="170" y="107"/>
                    </a:lnTo>
                    <a:lnTo>
                      <a:pt x="172" y="107"/>
                    </a:lnTo>
                    <a:lnTo>
                      <a:pt x="172" y="105"/>
                    </a:lnTo>
                    <a:lnTo>
                      <a:pt x="172" y="104"/>
                    </a:lnTo>
                    <a:lnTo>
                      <a:pt x="173" y="104"/>
                    </a:lnTo>
                    <a:lnTo>
                      <a:pt x="173" y="102"/>
                    </a:lnTo>
                    <a:lnTo>
                      <a:pt x="175" y="102"/>
                    </a:lnTo>
                    <a:lnTo>
                      <a:pt x="175" y="100"/>
                    </a:lnTo>
                    <a:lnTo>
                      <a:pt x="175" y="99"/>
                    </a:lnTo>
                    <a:lnTo>
                      <a:pt x="177" y="99"/>
                    </a:lnTo>
                    <a:lnTo>
                      <a:pt x="177" y="100"/>
                    </a:lnTo>
                    <a:lnTo>
                      <a:pt x="179" y="99"/>
                    </a:lnTo>
                    <a:lnTo>
                      <a:pt x="179" y="97"/>
                    </a:lnTo>
                    <a:lnTo>
                      <a:pt x="180" y="97"/>
                    </a:lnTo>
                    <a:lnTo>
                      <a:pt x="180" y="95"/>
                    </a:lnTo>
                    <a:lnTo>
                      <a:pt x="187" y="93"/>
                    </a:lnTo>
                    <a:lnTo>
                      <a:pt x="189" y="92"/>
                    </a:lnTo>
                    <a:lnTo>
                      <a:pt x="190" y="92"/>
                    </a:lnTo>
                    <a:lnTo>
                      <a:pt x="199" y="88"/>
                    </a:lnTo>
                    <a:lnTo>
                      <a:pt x="206" y="85"/>
                    </a:lnTo>
                    <a:lnTo>
                      <a:pt x="211" y="83"/>
                    </a:lnTo>
                    <a:lnTo>
                      <a:pt x="214" y="73"/>
                    </a:lnTo>
                    <a:lnTo>
                      <a:pt x="214" y="71"/>
                    </a:lnTo>
                    <a:lnTo>
                      <a:pt x="218" y="61"/>
                    </a:lnTo>
                    <a:lnTo>
                      <a:pt x="219" y="54"/>
                    </a:lnTo>
                    <a:lnTo>
                      <a:pt x="219" y="53"/>
                    </a:lnTo>
                    <a:lnTo>
                      <a:pt x="223" y="44"/>
                    </a:lnTo>
                    <a:lnTo>
                      <a:pt x="219" y="41"/>
                    </a:lnTo>
                    <a:lnTo>
                      <a:pt x="216" y="37"/>
                    </a:lnTo>
                    <a:lnTo>
                      <a:pt x="218" y="34"/>
                    </a:lnTo>
                    <a:lnTo>
                      <a:pt x="223" y="32"/>
                    </a:lnTo>
                    <a:lnTo>
                      <a:pt x="223" y="31"/>
                    </a:lnTo>
                    <a:lnTo>
                      <a:pt x="221" y="31"/>
                    </a:lnTo>
                    <a:lnTo>
                      <a:pt x="221" y="29"/>
                    </a:lnTo>
                    <a:lnTo>
                      <a:pt x="221" y="27"/>
                    </a:lnTo>
                    <a:lnTo>
                      <a:pt x="223" y="27"/>
                    </a:lnTo>
                    <a:lnTo>
                      <a:pt x="224" y="25"/>
                    </a:lnTo>
                    <a:lnTo>
                      <a:pt x="226" y="25"/>
                    </a:lnTo>
                    <a:lnTo>
                      <a:pt x="230" y="24"/>
                    </a:lnTo>
                    <a:lnTo>
                      <a:pt x="230" y="22"/>
                    </a:lnTo>
                    <a:lnTo>
                      <a:pt x="230" y="20"/>
                    </a:lnTo>
                    <a:lnTo>
                      <a:pt x="231" y="20"/>
                    </a:lnTo>
                    <a:lnTo>
                      <a:pt x="231" y="19"/>
                    </a:lnTo>
                    <a:lnTo>
                      <a:pt x="231" y="17"/>
                    </a:lnTo>
                    <a:lnTo>
                      <a:pt x="233" y="15"/>
                    </a:lnTo>
                    <a:lnTo>
                      <a:pt x="235" y="15"/>
                    </a:lnTo>
                    <a:lnTo>
                      <a:pt x="241" y="13"/>
                    </a:lnTo>
                    <a:lnTo>
                      <a:pt x="245" y="12"/>
                    </a:lnTo>
                    <a:lnTo>
                      <a:pt x="247" y="12"/>
                    </a:lnTo>
                    <a:lnTo>
                      <a:pt x="247" y="10"/>
                    </a:lnTo>
                    <a:lnTo>
                      <a:pt x="247" y="8"/>
                    </a:lnTo>
                    <a:lnTo>
                      <a:pt x="247" y="7"/>
                    </a:lnTo>
                    <a:lnTo>
                      <a:pt x="247" y="5"/>
                    </a:lnTo>
                    <a:lnTo>
                      <a:pt x="248" y="5"/>
                    </a:lnTo>
                    <a:lnTo>
                      <a:pt x="247" y="5"/>
                    </a:lnTo>
                    <a:lnTo>
                      <a:pt x="248" y="5"/>
                    </a:lnTo>
                    <a:lnTo>
                      <a:pt x="248" y="3"/>
                    </a:lnTo>
                    <a:lnTo>
                      <a:pt x="248" y="2"/>
                    </a:lnTo>
                    <a:lnTo>
                      <a:pt x="248" y="0"/>
                    </a:lnTo>
                    <a:lnTo>
                      <a:pt x="250" y="0"/>
                    </a:lnTo>
                    <a:lnTo>
                      <a:pt x="252" y="2"/>
                    </a:lnTo>
                    <a:lnTo>
                      <a:pt x="253" y="2"/>
                    </a:lnTo>
                    <a:lnTo>
                      <a:pt x="255" y="3"/>
                    </a:lnTo>
                    <a:lnTo>
                      <a:pt x="255" y="5"/>
                    </a:lnTo>
                    <a:lnTo>
                      <a:pt x="257" y="5"/>
                    </a:lnTo>
                    <a:lnTo>
                      <a:pt x="258" y="5"/>
                    </a:lnTo>
                    <a:lnTo>
                      <a:pt x="260" y="8"/>
                    </a:lnTo>
                    <a:lnTo>
                      <a:pt x="262" y="10"/>
                    </a:lnTo>
                    <a:lnTo>
                      <a:pt x="264" y="10"/>
                    </a:lnTo>
                    <a:lnTo>
                      <a:pt x="264" y="12"/>
                    </a:lnTo>
                    <a:lnTo>
                      <a:pt x="265" y="12"/>
                    </a:lnTo>
                    <a:lnTo>
                      <a:pt x="267" y="12"/>
                    </a:lnTo>
                    <a:lnTo>
                      <a:pt x="269" y="12"/>
                    </a:lnTo>
                    <a:lnTo>
                      <a:pt x="270" y="12"/>
                    </a:lnTo>
                    <a:lnTo>
                      <a:pt x="270" y="10"/>
                    </a:lnTo>
                    <a:lnTo>
                      <a:pt x="274" y="12"/>
                    </a:lnTo>
                    <a:lnTo>
                      <a:pt x="275" y="12"/>
                    </a:lnTo>
                    <a:lnTo>
                      <a:pt x="277" y="12"/>
                    </a:lnTo>
                    <a:lnTo>
                      <a:pt x="281" y="12"/>
                    </a:lnTo>
                    <a:lnTo>
                      <a:pt x="281" y="10"/>
                    </a:lnTo>
                    <a:lnTo>
                      <a:pt x="281" y="12"/>
                    </a:lnTo>
                    <a:lnTo>
                      <a:pt x="284" y="10"/>
                    </a:lnTo>
                    <a:lnTo>
                      <a:pt x="287" y="10"/>
                    </a:lnTo>
                    <a:lnTo>
                      <a:pt x="289" y="10"/>
                    </a:lnTo>
                    <a:lnTo>
                      <a:pt x="291" y="10"/>
                    </a:lnTo>
                    <a:lnTo>
                      <a:pt x="291" y="12"/>
                    </a:lnTo>
                    <a:lnTo>
                      <a:pt x="292" y="12"/>
                    </a:lnTo>
                    <a:lnTo>
                      <a:pt x="294" y="12"/>
                    </a:lnTo>
                    <a:lnTo>
                      <a:pt x="296" y="13"/>
                    </a:lnTo>
                    <a:lnTo>
                      <a:pt x="298" y="13"/>
                    </a:lnTo>
                    <a:lnTo>
                      <a:pt x="299" y="15"/>
                    </a:lnTo>
                    <a:lnTo>
                      <a:pt x="301" y="15"/>
                    </a:lnTo>
                    <a:lnTo>
                      <a:pt x="303" y="15"/>
                    </a:lnTo>
                    <a:lnTo>
                      <a:pt x="304" y="17"/>
                    </a:lnTo>
                    <a:lnTo>
                      <a:pt x="306" y="17"/>
                    </a:lnTo>
                    <a:lnTo>
                      <a:pt x="306" y="19"/>
                    </a:lnTo>
                    <a:lnTo>
                      <a:pt x="304" y="20"/>
                    </a:lnTo>
                    <a:lnTo>
                      <a:pt x="304" y="22"/>
                    </a:lnTo>
                    <a:lnTo>
                      <a:pt x="306" y="22"/>
                    </a:lnTo>
                    <a:lnTo>
                      <a:pt x="306" y="24"/>
                    </a:lnTo>
                    <a:lnTo>
                      <a:pt x="308" y="24"/>
                    </a:lnTo>
                    <a:lnTo>
                      <a:pt x="308" y="25"/>
                    </a:lnTo>
                    <a:lnTo>
                      <a:pt x="309" y="25"/>
                    </a:lnTo>
                    <a:lnTo>
                      <a:pt x="308" y="27"/>
                    </a:lnTo>
                    <a:lnTo>
                      <a:pt x="309" y="27"/>
                    </a:lnTo>
                    <a:lnTo>
                      <a:pt x="309" y="29"/>
                    </a:lnTo>
                    <a:lnTo>
                      <a:pt x="309" y="31"/>
                    </a:lnTo>
                    <a:lnTo>
                      <a:pt x="309" y="32"/>
                    </a:lnTo>
                    <a:lnTo>
                      <a:pt x="311" y="32"/>
                    </a:lnTo>
                    <a:lnTo>
                      <a:pt x="311" y="34"/>
                    </a:lnTo>
                    <a:lnTo>
                      <a:pt x="309" y="34"/>
                    </a:lnTo>
                    <a:lnTo>
                      <a:pt x="311" y="34"/>
                    </a:lnTo>
                    <a:lnTo>
                      <a:pt x="313" y="36"/>
                    </a:lnTo>
                    <a:lnTo>
                      <a:pt x="313" y="37"/>
                    </a:lnTo>
                    <a:lnTo>
                      <a:pt x="311" y="37"/>
                    </a:lnTo>
                    <a:lnTo>
                      <a:pt x="313" y="37"/>
                    </a:lnTo>
                    <a:lnTo>
                      <a:pt x="313" y="39"/>
                    </a:lnTo>
                    <a:lnTo>
                      <a:pt x="313" y="41"/>
                    </a:lnTo>
                    <a:lnTo>
                      <a:pt x="313" y="39"/>
                    </a:lnTo>
                    <a:lnTo>
                      <a:pt x="315" y="39"/>
                    </a:lnTo>
                    <a:lnTo>
                      <a:pt x="313" y="39"/>
                    </a:lnTo>
                    <a:lnTo>
                      <a:pt x="315" y="37"/>
                    </a:lnTo>
                    <a:lnTo>
                      <a:pt x="315" y="36"/>
                    </a:lnTo>
                    <a:lnTo>
                      <a:pt x="315" y="34"/>
                    </a:lnTo>
                    <a:lnTo>
                      <a:pt x="315" y="32"/>
                    </a:lnTo>
                    <a:lnTo>
                      <a:pt x="315" y="31"/>
                    </a:lnTo>
                    <a:lnTo>
                      <a:pt x="316" y="31"/>
                    </a:lnTo>
                    <a:lnTo>
                      <a:pt x="316" y="29"/>
                    </a:lnTo>
                    <a:lnTo>
                      <a:pt x="315" y="29"/>
                    </a:lnTo>
                    <a:lnTo>
                      <a:pt x="316" y="29"/>
                    </a:lnTo>
                    <a:lnTo>
                      <a:pt x="316" y="27"/>
                    </a:lnTo>
                    <a:lnTo>
                      <a:pt x="316" y="25"/>
                    </a:lnTo>
                    <a:lnTo>
                      <a:pt x="318" y="25"/>
                    </a:lnTo>
                    <a:lnTo>
                      <a:pt x="318" y="24"/>
                    </a:lnTo>
                    <a:lnTo>
                      <a:pt x="320" y="24"/>
                    </a:lnTo>
                    <a:lnTo>
                      <a:pt x="320" y="22"/>
                    </a:lnTo>
                    <a:lnTo>
                      <a:pt x="320" y="20"/>
                    </a:lnTo>
                    <a:lnTo>
                      <a:pt x="321" y="19"/>
                    </a:lnTo>
                    <a:lnTo>
                      <a:pt x="321" y="17"/>
                    </a:lnTo>
                    <a:lnTo>
                      <a:pt x="323" y="17"/>
                    </a:lnTo>
                    <a:lnTo>
                      <a:pt x="323" y="15"/>
                    </a:lnTo>
                    <a:lnTo>
                      <a:pt x="323" y="13"/>
                    </a:lnTo>
                    <a:lnTo>
                      <a:pt x="325" y="12"/>
                    </a:lnTo>
                    <a:lnTo>
                      <a:pt x="323" y="12"/>
                    </a:lnTo>
                    <a:lnTo>
                      <a:pt x="325" y="12"/>
                    </a:lnTo>
                    <a:lnTo>
                      <a:pt x="325" y="10"/>
                    </a:lnTo>
                    <a:lnTo>
                      <a:pt x="325" y="8"/>
                    </a:lnTo>
                    <a:lnTo>
                      <a:pt x="326" y="8"/>
                    </a:lnTo>
                    <a:lnTo>
                      <a:pt x="332" y="8"/>
                    </a:lnTo>
                    <a:lnTo>
                      <a:pt x="333" y="8"/>
                    </a:lnTo>
                    <a:lnTo>
                      <a:pt x="335" y="8"/>
                    </a:lnTo>
                    <a:lnTo>
                      <a:pt x="335" y="10"/>
                    </a:lnTo>
                    <a:lnTo>
                      <a:pt x="335" y="8"/>
                    </a:lnTo>
                    <a:lnTo>
                      <a:pt x="354" y="8"/>
                    </a:lnTo>
                    <a:lnTo>
                      <a:pt x="364" y="8"/>
                    </a:lnTo>
                    <a:lnTo>
                      <a:pt x="364" y="10"/>
                    </a:lnTo>
                    <a:lnTo>
                      <a:pt x="364" y="12"/>
                    </a:lnTo>
                    <a:lnTo>
                      <a:pt x="364" y="13"/>
                    </a:lnTo>
                    <a:lnTo>
                      <a:pt x="366" y="13"/>
                    </a:lnTo>
                    <a:lnTo>
                      <a:pt x="367" y="13"/>
                    </a:lnTo>
                    <a:lnTo>
                      <a:pt x="367" y="15"/>
                    </a:lnTo>
                    <a:lnTo>
                      <a:pt x="369" y="15"/>
                    </a:lnTo>
                    <a:lnTo>
                      <a:pt x="369" y="17"/>
                    </a:lnTo>
                    <a:close/>
                    <a:moveTo>
                      <a:pt x="167" y="1473"/>
                    </a:moveTo>
                    <a:lnTo>
                      <a:pt x="167" y="1468"/>
                    </a:lnTo>
                    <a:lnTo>
                      <a:pt x="167" y="1456"/>
                    </a:lnTo>
                    <a:lnTo>
                      <a:pt x="167" y="1454"/>
                    </a:lnTo>
                    <a:lnTo>
                      <a:pt x="167" y="1453"/>
                    </a:lnTo>
                    <a:lnTo>
                      <a:pt x="167" y="1451"/>
                    </a:lnTo>
                    <a:lnTo>
                      <a:pt x="167" y="1444"/>
                    </a:lnTo>
                    <a:lnTo>
                      <a:pt x="167" y="1442"/>
                    </a:lnTo>
                    <a:lnTo>
                      <a:pt x="167" y="1429"/>
                    </a:lnTo>
                    <a:lnTo>
                      <a:pt x="167" y="1417"/>
                    </a:lnTo>
                    <a:lnTo>
                      <a:pt x="167" y="1410"/>
                    </a:lnTo>
                    <a:lnTo>
                      <a:pt x="168" y="1398"/>
                    </a:lnTo>
                    <a:lnTo>
                      <a:pt x="168" y="1386"/>
                    </a:lnTo>
                    <a:lnTo>
                      <a:pt x="168" y="1383"/>
                    </a:lnTo>
                    <a:lnTo>
                      <a:pt x="168" y="1378"/>
                    </a:lnTo>
                    <a:lnTo>
                      <a:pt x="168" y="1364"/>
                    </a:lnTo>
                    <a:lnTo>
                      <a:pt x="168" y="1347"/>
                    </a:lnTo>
                    <a:lnTo>
                      <a:pt x="168" y="1345"/>
                    </a:lnTo>
                    <a:lnTo>
                      <a:pt x="168" y="1347"/>
                    </a:lnTo>
                    <a:lnTo>
                      <a:pt x="170" y="1349"/>
                    </a:lnTo>
                    <a:lnTo>
                      <a:pt x="173" y="1352"/>
                    </a:lnTo>
                    <a:lnTo>
                      <a:pt x="175" y="1356"/>
                    </a:lnTo>
                    <a:lnTo>
                      <a:pt x="177" y="1359"/>
                    </a:lnTo>
                    <a:lnTo>
                      <a:pt x="179" y="1361"/>
                    </a:lnTo>
                    <a:lnTo>
                      <a:pt x="180" y="1362"/>
                    </a:lnTo>
                    <a:lnTo>
                      <a:pt x="180" y="1366"/>
                    </a:lnTo>
                    <a:lnTo>
                      <a:pt x="180" y="1368"/>
                    </a:lnTo>
                    <a:lnTo>
                      <a:pt x="182" y="1371"/>
                    </a:lnTo>
                    <a:lnTo>
                      <a:pt x="182" y="1373"/>
                    </a:lnTo>
                    <a:lnTo>
                      <a:pt x="182" y="1371"/>
                    </a:lnTo>
                    <a:lnTo>
                      <a:pt x="180" y="1369"/>
                    </a:lnTo>
                    <a:lnTo>
                      <a:pt x="180" y="1368"/>
                    </a:lnTo>
                    <a:lnTo>
                      <a:pt x="180" y="1366"/>
                    </a:lnTo>
                    <a:lnTo>
                      <a:pt x="179" y="1364"/>
                    </a:lnTo>
                    <a:lnTo>
                      <a:pt x="179" y="1366"/>
                    </a:lnTo>
                    <a:lnTo>
                      <a:pt x="177" y="1366"/>
                    </a:lnTo>
                    <a:lnTo>
                      <a:pt x="175" y="1366"/>
                    </a:lnTo>
                    <a:lnTo>
                      <a:pt x="175" y="1368"/>
                    </a:lnTo>
                    <a:lnTo>
                      <a:pt x="173" y="1369"/>
                    </a:lnTo>
                    <a:lnTo>
                      <a:pt x="172" y="1371"/>
                    </a:lnTo>
                    <a:lnTo>
                      <a:pt x="172" y="1373"/>
                    </a:lnTo>
                    <a:lnTo>
                      <a:pt x="170" y="1373"/>
                    </a:lnTo>
                    <a:lnTo>
                      <a:pt x="170" y="1374"/>
                    </a:lnTo>
                    <a:lnTo>
                      <a:pt x="170" y="1376"/>
                    </a:lnTo>
                    <a:lnTo>
                      <a:pt x="170" y="1378"/>
                    </a:lnTo>
                    <a:lnTo>
                      <a:pt x="172" y="1379"/>
                    </a:lnTo>
                    <a:lnTo>
                      <a:pt x="173" y="1381"/>
                    </a:lnTo>
                    <a:lnTo>
                      <a:pt x="175" y="1381"/>
                    </a:lnTo>
                    <a:lnTo>
                      <a:pt x="177" y="1381"/>
                    </a:lnTo>
                    <a:lnTo>
                      <a:pt x="177" y="1383"/>
                    </a:lnTo>
                    <a:lnTo>
                      <a:pt x="179" y="1383"/>
                    </a:lnTo>
                    <a:lnTo>
                      <a:pt x="180" y="1381"/>
                    </a:lnTo>
                    <a:lnTo>
                      <a:pt x="182" y="1381"/>
                    </a:lnTo>
                    <a:lnTo>
                      <a:pt x="182" y="1383"/>
                    </a:lnTo>
                    <a:lnTo>
                      <a:pt x="184" y="1383"/>
                    </a:lnTo>
                    <a:lnTo>
                      <a:pt x="185" y="1385"/>
                    </a:lnTo>
                    <a:lnTo>
                      <a:pt x="185" y="1386"/>
                    </a:lnTo>
                    <a:lnTo>
                      <a:pt x="185" y="1388"/>
                    </a:lnTo>
                    <a:lnTo>
                      <a:pt x="187" y="1390"/>
                    </a:lnTo>
                    <a:lnTo>
                      <a:pt x="187" y="1391"/>
                    </a:lnTo>
                    <a:lnTo>
                      <a:pt x="187" y="1393"/>
                    </a:lnTo>
                    <a:lnTo>
                      <a:pt x="189" y="1395"/>
                    </a:lnTo>
                    <a:lnTo>
                      <a:pt x="189" y="1396"/>
                    </a:lnTo>
                    <a:lnTo>
                      <a:pt x="189" y="1398"/>
                    </a:lnTo>
                    <a:lnTo>
                      <a:pt x="190" y="1398"/>
                    </a:lnTo>
                    <a:lnTo>
                      <a:pt x="190" y="1400"/>
                    </a:lnTo>
                    <a:lnTo>
                      <a:pt x="192" y="1402"/>
                    </a:lnTo>
                    <a:lnTo>
                      <a:pt x="194" y="1403"/>
                    </a:lnTo>
                    <a:lnTo>
                      <a:pt x="194" y="1405"/>
                    </a:lnTo>
                    <a:lnTo>
                      <a:pt x="196" y="1405"/>
                    </a:lnTo>
                    <a:lnTo>
                      <a:pt x="197" y="1407"/>
                    </a:lnTo>
                    <a:lnTo>
                      <a:pt x="199" y="1408"/>
                    </a:lnTo>
                    <a:lnTo>
                      <a:pt x="201" y="1410"/>
                    </a:lnTo>
                    <a:lnTo>
                      <a:pt x="202" y="1412"/>
                    </a:lnTo>
                    <a:lnTo>
                      <a:pt x="204" y="1412"/>
                    </a:lnTo>
                    <a:lnTo>
                      <a:pt x="202" y="1413"/>
                    </a:lnTo>
                    <a:lnTo>
                      <a:pt x="204" y="1415"/>
                    </a:lnTo>
                    <a:lnTo>
                      <a:pt x="204" y="1417"/>
                    </a:lnTo>
                    <a:lnTo>
                      <a:pt x="206" y="1417"/>
                    </a:lnTo>
                    <a:lnTo>
                      <a:pt x="206" y="1419"/>
                    </a:lnTo>
                    <a:lnTo>
                      <a:pt x="207" y="1419"/>
                    </a:lnTo>
                    <a:lnTo>
                      <a:pt x="207" y="1420"/>
                    </a:lnTo>
                    <a:lnTo>
                      <a:pt x="209" y="1420"/>
                    </a:lnTo>
                    <a:lnTo>
                      <a:pt x="209" y="1422"/>
                    </a:lnTo>
                    <a:lnTo>
                      <a:pt x="211" y="1422"/>
                    </a:lnTo>
                    <a:lnTo>
                      <a:pt x="211" y="1424"/>
                    </a:lnTo>
                    <a:lnTo>
                      <a:pt x="213" y="1424"/>
                    </a:lnTo>
                    <a:lnTo>
                      <a:pt x="213" y="1425"/>
                    </a:lnTo>
                    <a:lnTo>
                      <a:pt x="214" y="1425"/>
                    </a:lnTo>
                    <a:lnTo>
                      <a:pt x="216" y="1427"/>
                    </a:lnTo>
                    <a:lnTo>
                      <a:pt x="218" y="1427"/>
                    </a:lnTo>
                    <a:lnTo>
                      <a:pt x="218" y="1429"/>
                    </a:lnTo>
                    <a:lnTo>
                      <a:pt x="219" y="1429"/>
                    </a:lnTo>
                    <a:lnTo>
                      <a:pt x="221" y="1430"/>
                    </a:lnTo>
                    <a:lnTo>
                      <a:pt x="223" y="1430"/>
                    </a:lnTo>
                    <a:lnTo>
                      <a:pt x="224" y="1432"/>
                    </a:lnTo>
                    <a:lnTo>
                      <a:pt x="226" y="1434"/>
                    </a:lnTo>
                    <a:lnTo>
                      <a:pt x="228" y="1434"/>
                    </a:lnTo>
                    <a:lnTo>
                      <a:pt x="230" y="1436"/>
                    </a:lnTo>
                    <a:lnTo>
                      <a:pt x="231" y="1436"/>
                    </a:lnTo>
                    <a:lnTo>
                      <a:pt x="231" y="1437"/>
                    </a:lnTo>
                    <a:lnTo>
                      <a:pt x="233" y="1437"/>
                    </a:lnTo>
                    <a:lnTo>
                      <a:pt x="233" y="1439"/>
                    </a:lnTo>
                    <a:lnTo>
                      <a:pt x="233" y="1441"/>
                    </a:lnTo>
                    <a:lnTo>
                      <a:pt x="235" y="1441"/>
                    </a:lnTo>
                    <a:lnTo>
                      <a:pt x="235" y="1442"/>
                    </a:lnTo>
                    <a:lnTo>
                      <a:pt x="236" y="1442"/>
                    </a:lnTo>
                    <a:lnTo>
                      <a:pt x="236" y="1444"/>
                    </a:lnTo>
                    <a:lnTo>
                      <a:pt x="238" y="1444"/>
                    </a:lnTo>
                    <a:lnTo>
                      <a:pt x="238" y="1446"/>
                    </a:lnTo>
                    <a:lnTo>
                      <a:pt x="240" y="1447"/>
                    </a:lnTo>
                    <a:lnTo>
                      <a:pt x="240" y="1449"/>
                    </a:lnTo>
                    <a:lnTo>
                      <a:pt x="241" y="1449"/>
                    </a:lnTo>
                    <a:lnTo>
                      <a:pt x="243" y="1449"/>
                    </a:lnTo>
                    <a:lnTo>
                      <a:pt x="245" y="1451"/>
                    </a:lnTo>
                    <a:lnTo>
                      <a:pt x="247" y="1451"/>
                    </a:lnTo>
                    <a:lnTo>
                      <a:pt x="248" y="1453"/>
                    </a:lnTo>
                    <a:lnTo>
                      <a:pt x="250" y="1453"/>
                    </a:lnTo>
                    <a:lnTo>
                      <a:pt x="252" y="1454"/>
                    </a:lnTo>
                    <a:lnTo>
                      <a:pt x="253" y="1454"/>
                    </a:lnTo>
                    <a:lnTo>
                      <a:pt x="255" y="1454"/>
                    </a:lnTo>
                    <a:lnTo>
                      <a:pt x="257" y="1456"/>
                    </a:lnTo>
                    <a:lnTo>
                      <a:pt x="258" y="1456"/>
                    </a:lnTo>
                    <a:lnTo>
                      <a:pt x="260" y="1456"/>
                    </a:lnTo>
                    <a:lnTo>
                      <a:pt x="260" y="1458"/>
                    </a:lnTo>
                    <a:lnTo>
                      <a:pt x="262" y="1458"/>
                    </a:lnTo>
                    <a:lnTo>
                      <a:pt x="264" y="1459"/>
                    </a:lnTo>
                    <a:lnTo>
                      <a:pt x="265" y="1459"/>
                    </a:lnTo>
                    <a:lnTo>
                      <a:pt x="267" y="1459"/>
                    </a:lnTo>
                    <a:lnTo>
                      <a:pt x="269" y="1459"/>
                    </a:lnTo>
                    <a:lnTo>
                      <a:pt x="270" y="1459"/>
                    </a:lnTo>
                    <a:lnTo>
                      <a:pt x="272" y="1459"/>
                    </a:lnTo>
                    <a:lnTo>
                      <a:pt x="274" y="1459"/>
                    </a:lnTo>
                    <a:lnTo>
                      <a:pt x="275" y="1458"/>
                    </a:lnTo>
                    <a:lnTo>
                      <a:pt x="275" y="1459"/>
                    </a:lnTo>
                    <a:lnTo>
                      <a:pt x="275" y="1458"/>
                    </a:lnTo>
                    <a:lnTo>
                      <a:pt x="277" y="1458"/>
                    </a:lnTo>
                    <a:lnTo>
                      <a:pt x="279" y="1458"/>
                    </a:lnTo>
                    <a:lnTo>
                      <a:pt x="281" y="1458"/>
                    </a:lnTo>
                    <a:lnTo>
                      <a:pt x="282" y="1458"/>
                    </a:lnTo>
                    <a:lnTo>
                      <a:pt x="282" y="1459"/>
                    </a:lnTo>
                    <a:lnTo>
                      <a:pt x="282" y="1458"/>
                    </a:lnTo>
                    <a:lnTo>
                      <a:pt x="282" y="1459"/>
                    </a:lnTo>
                    <a:lnTo>
                      <a:pt x="284" y="1459"/>
                    </a:lnTo>
                    <a:lnTo>
                      <a:pt x="286" y="1459"/>
                    </a:lnTo>
                    <a:lnTo>
                      <a:pt x="284" y="1461"/>
                    </a:lnTo>
                    <a:lnTo>
                      <a:pt x="284" y="1463"/>
                    </a:lnTo>
                    <a:lnTo>
                      <a:pt x="284" y="1465"/>
                    </a:lnTo>
                    <a:lnTo>
                      <a:pt x="282" y="1465"/>
                    </a:lnTo>
                    <a:lnTo>
                      <a:pt x="284" y="1465"/>
                    </a:lnTo>
                    <a:lnTo>
                      <a:pt x="282" y="1466"/>
                    </a:lnTo>
                    <a:lnTo>
                      <a:pt x="282" y="1468"/>
                    </a:lnTo>
                    <a:lnTo>
                      <a:pt x="281" y="1468"/>
                    </a:lnTo>
                    <a:lnTo>
                      <a:pt x="282" y="1468"/>
                    </a:lnTo>
                    <a:lnTo>
                      <a:pt x="282" y="1470"/>
                    </a:lnTo>
                    <a:lnTo>
                      <a:pt x="281" y="1470"/>
                    </a:lnTo>
                    <a:lnTo>
                      <a:pt x="281" y="1471"/>
                    </a:lnTo>
                    <a:lnTo>
                      <a:pt x="279" y="1471"/>
                    </a:lnTo>
                    <a:lnTo>
                      <a:pt x="279" y="1473"/>
                    </a:lnTo>
                    <a:lnTo>
                      <a:pt x="279" y="1475"/>
                    </a:lnTo>
                    <a:lnTo>
                      <a:pt x="277" y="1476"/>
                    </a:lnTo>
                    <a:lnTo>
                      <a:pt x="275" y="1476"/>
                    </a:lnTo>
                    <a:lnTo>
                      <a:pt x="275" y="1475"/>
                    </a:lnTo>
                    <a:lnTo>
                      <a:pt x="275" y="1473"/>
                    </a:lnTo>
                    <a:lnTo>
                      <a:pt x="274" y="1473"/>
                    </a:lnTo>
                    <a:lnTo>
                      <a:pt x="274" y="1475"/>
                    </a:lnTo>
                    <a:lnTo>
                      <a:pt x="272" y="1476"/>
                    </a:lnTo>
                    <a:lnTo>
                      <a:pt x="270" y="1476"/>
                    </a:lnTo>
                    <a:lnTo>
                      <a:pt x="269" y="1476"/>
                    </a:lnTo>
                    <a:lnTo>
                      <a:pt x="269" y="1478"/>
                    </a:lnTo>
                    <a:lnTo>
                      <a:pt x="267" y="1478"/>
                    </a:lnTo>
                    <a:lnTo>
                      <a:pt x="265" y="1478"/>
                    </a:lnTo>
                    <a:lnTo>
                      <a:pt x="265" y="1476"/>
                    </a:lnTo>
                    <a:lnTo>
                      <a:pt x="265" y="1475"/>
                    </a:lnTo>
                    <a:lnTo>
                      <a:pt x="264" y="1473"/>
                    </a:lnTo>
                    <a:lnTo>
                      <a:pt x="264" y="1475"/>
                    </a:lnTo>
                    <a:lnTo>
                      <a:pt x="262" y="1475"/>
                    </a:lnTo>
                    <a:lnTo>
                      <a:pt x="262" y="1473"/>
                    </a:lnTo>
                    <a:lnTo>
                      <a:pt x="260" y="1473"/>
                    </a:lnTo>
                    <a:lnTo>
                      <a:pt x="258" y="1475"/>
                    </a:lnTo>
                    <a:lnTo>
                      <a:pt x="258" y="1473"/>
                    </a:lnTo>
                    <a:lnTo>
                      <a:pt x="257" y="1473"/>
                    </a:lnTo>
                    <a:lnTo>
                      <a:pt x="257" y="1475"/>
                    </a:lnTo>
                    <a:lnTo>
                      <a:pt x="258" y="1476"/>
                    </a:lnTo>
                    <a:lnTo>
                      <a:pt x="257" y="1478"/>
                    </a:lnTo>
                    <a:lnTo>
                      <a:pt x="255" y="1478"/>
                    </a:lnTo>
                    <a:lnTo>
                      <a:pt x="253" y="1478"/>
                    </a:lnTo>
                    <a:lnTo>
                      <a:pt x="252" y="1478"/>
                    </a:lnTo>
                    <a:lnTo>
                      <a:pt x="250" y="1478"/>
                    </a:lnTo>
                    <a:lnTo>
                      <a:pt x="250" y="1480"/>
                    </a:lnTo>
                    <a:lnTo>
                      <a:pt x="248" y="1478"/>
                    </a:lnTo>
                    <a:lnTo>
                      <a:pt x="247" y="1478"/>
                    </a:lnTo>
                    <a:lnTo>
                      <a:pt x="245" y="1478"/>
                    </a:lnTo>
                    <a:lnTo>
                      <a:pt x="245" y="1480"/>
                    </a:lnTo>
                    <a:lnTo>
                      <a:pt x="243" y="1480"/>
                    </a:lnTo>
                    <a:lnTo>
                      <a:pt x="245" y="1482"/>
                    </a:lnTo>
                    <a:lnTo>
                      <a:pt x="243" y="1482"/>
                    </a:lnTo>
                    <a:lnTo>
                      <a:pt x="241" y="1482"/>
                    </a:lnTo>
                    <a:lnTo>
                      <a:pt x="241" y="1483"/>
                    </a:lnTo>
                    <a:lnTo>
                      <a:pt x="240" y="1482"/>
                    </a:lnTo>
                    <a:lnTo>
                      <a:pt x="238" y="1483"/>
                    </a:lnTo>
                    <a:lnTo>
                      <a:pt x="238" y="1482"/>
                    </a:lnTo>
                    <a:lnTo>
                      <a:pt x="236" y="1482"/>
                    </a:lnTo>
                    <a:lnTo>
                      <a:pt x="235" y="1482"/>
                    </a:lnTo>
                    <a:lnTo>
                      <a:pt x="233" y="1480"/>
                    </a:lnTo>
                    <a:lnTo>
                      <a:pt x="231" y="1480"/>
                    </a:lnTo>
                    <a:lnTo>
                      <a:pt x="231" y="1478"/>
                    </a:lnTo>
                    <a:lnTo>
                      <a:pt x="231" y="1476"/>
                    </a:lnTo>
                    <a:lnTo>
                      <a:pt x="230" y="1476"/>
                    </a:lnTo>
                    <a:lnTo>
                      <a:pt x="228" y="1476"/>
                    </a:lnTo>
                    <a:lnTo>
                      <a:pt x="226" y="1476"/>
                    </a:lnTo>
                    <a:lnTo>
                      <a:pt x="224" y="1476"/>
                    </a:lnTo>
                    <a:lnTo>
                      <a:pt x="224" y="1475"/>
                    </a:lnTo>
                    <a:lnTo>
                      <a:pt x="223" y="1475"/>
                    </a:lnTo>
                    <a:lnTo>
                      <a:pt x="221" y="1475"/>
                    </a:lnTo>
                    <a:lnTo>
                      <a:pt x="219" y="1475"/>
                    </a:lnTo>
                    <a:lnTo>
                      <a:pt x="219" y="1473"/>
                    </a:lnTo>
                    <a:lnTo>
                      <a:pt x="218" y="1473"/>
                    </a:lnTo>
                    <a:lnTo>
                      <a:pt x="216" y="1473"/>
                    </a:lnTo>
                    <a:lnTo>
                      <a:pt x="214" y="1473"/>
                    </a:lnTo>
                    <a:lnTo>
                      <a:pt x="213" y="1473"/>
                    </a:lnTo>
                    <a:lnTo>
                      <a:pt x="213" y="1471"/>
                    </a:lnTo>
                    <a:lnTo>
                      <a:pt x="213" y="1473"/>
                    </a:lnTo>
                    <a:lnTo>
                      <a:pt x="213" y="1471"/>
                    </a:lnTo>
                    <a:lnTo>
                      <a:pt x="213" y="1473"/>
                    </a:lnTo>
                    <a:lnTo>
                      <a:pt x="211" y="1471"/>
                    </a:lnTo>
                    <a:lnTo>
                      <a:pt x="213" y="1473"/>
                    </a:lnTo>
                    <a:lnTo>
                      <a:pt x="211" y="1473"/>
                    </a:lnTo>
                    <a:lnTo>
                      <a:pt x="211" y="1471"/>
                    </a:lnTo>
                    <a:lnTo>
                      <a:pt x="209" y="1471"/>
                    </a:lnTo>
                    <a:lnTo>
                      <a:pt x="211" y="1473"/>
                    </a:lnTo>
                    <a:lnTo>
                      <a:pt x="209" y="1473"/>
                    </a:lnTo>
                    <a:lnTo>
                      <a:pt x="207" y="1473"/>
                    </a:lnTo>
                    <a:lnTo>
                      <a:pt x="207" y="1471"/>
                    </a:lnTo>
                    <a:lnTo>
                      <a:pt x="206" y="1471"/>
                    </a:lnTo>
                    <a:lnTo>
                      <a:pt x="204" y="1471"/>
                    </a:lnTo>
                    <a:lnTo>
                      <a:pt x="202" y="1471"/>
                    </a:lnTo>
                    <a:lnTo>
                      <a:pt x="202" y="1473"/>
                    </a:lnTo>
                    <a:lnTo>
                      <a:pt x="201" y="1473"/>
                    </a:lnTo>
                    <a:lnTo>
                      <a:pt x="199" y="1473"/>
                    </a:lnTo>
                    <a:lnTo>
                      <a:pt x="197" y="1473"/>
                    </a:lnTo>
                    <a:lnTo>
                      <a:pt x="196" y="1471"/>
                    </a:lnTo>
                    <a:lnTo>
                      <a:pt x="194" y="1471"/>
                    </a:lnTo>
                    <a:lnTo>
                      <a:pt x="192" y="1471"/>
                    </a:lnTo>
                    <a:lnTo>
                      <a:pt x="190" y="1471"/>
                    </a:lnTo>
                    <a:lnTo>
                      <a:pt x="189" y="1471"/>
                    </a:lnTo>
                    <a:lnTo>
                      <a:pt x="189" y="1470"/>
                    </a:lnTo>
                    <a:lnTo>
                      <a:pt x="187" y="1471"/>
                    </a:lnTo>
                    <a:lnTo>
                      <a:pt x="187" y="1470"/>
                    </a:lnTo>
                    <a:lnTo>
                      <a:pt x="185" y="1470"/>
                    </a:lnTo>
                    <a:lnTo>
                      <a:pt x="184" y="1470"/>
                    </a:lnTo>
                    <a:lnTo>
                      <a:pt x="182" y="1468"/>
                    </a:lnTo>
                    <a:lnTo>
                      <a:pt x="180" y="1468"/>
                    </a:lnTo>
                    <a:lnTo>
                      <a:pt x="179" y="1468"/>
                    </a:lnTo>
                    <a:lnTo>
                      <a:pt x="179" y="1470"/>
                    </a:lnTo>
                    <a:lnTo>
                      <a:pt x="180" y="1470"/>
                    </a:lnTo>
                    <a:lnTo>
                      <a:pt x="179" y="1470"/>
                    </a:lnTo>
                    <a:lnTo>
                      <a:pt x="177" y="1470"/>
                    </a:lnTo>
                    <a:lnTo>
                      <a:pt x="175" y="1471"/>
                    </a:lnTo>
                    <a:lnTo>
                      <a:pt x="173" y="1471"/>
                    </a:lnTo>
                    <a:lnTo>
                      <a:pt x="172" y="1470"/>
                    </a:lnTo>
                    <a:lnTo>
                      <a:pt x="172" y="1471"/>
                    </a:lnTo>
                    <a:lnTo>
                      <a:pt x="170" y="1471"/>
                    </a:lnTo>
                    <a:lnTo>
                      <a:pt x="172" y="1471"/>
                    </a:lnTo>
                    <a:lnTo>
                      <a:pt x="170" y="1473"/>
                    </a:lnTo>
                    <a:lnTo>
                      <a:pt x="168" y="1473"/>
                    </a:lnTo>
                    <a:lnTo>
                      <a:pt x="167" y="1473"/>
                    </a:lnTo>
                    <a:close/>
                    <a:moveTo>
                      <a:pt x="313" y="1465"/>
                    </a:moveTo>
                    <a:lnTo>
                      <a:pt x="315" y="1463"/>
                    </a:lnTo>
                    <a:lnTo>
                      <a:pt x="315" y="1465"/>
                    </a:lnTo>
                    <a:lnTo>
                      <a:pt x="316" y="1463"/>
                    </a:lnTo>
                    <a:lnTo>
                      <a:pt x="318" y="1465"/>
                    </a:lnTo>
                    <a:lnTo>
                      <a:pt x="318" y="1466"/>
                    </a:lnTo>
                    <a:lnTo>
                      <a:pt x="320" y="1465"/>
                    </a:lnTo>
                    <a:lnTo>
                      <a:pt x="318" y="1465"/>
                    </a:lnTo>
                    <a:lnTo>
                      <a:pt x="318" y="1463"/>
                    </a:lnTo>
                    <a:lnTo>
                      <a:pt x="320" y="1465"/>
                    </a:lnTo>
                    <a:lnTo>
                      <a:pt x="321" y="1465"/>
                    </a:lnTo>
                    <a:lnTo>
                      <a:pt x="321" y="1463"/>
                    </a:lnTo>
                    <a:lnTo>
                      <a:pt x="323" y="1465"/>
                    </a:lnTo>
                    <a:lnTo>
                      <a:pt x="321" y="1466"/>
                    </a:lnTo>
                    <a:lnTo>
                      <a:pt x="323" y="1466"/>
                    </a:lnTo>
                    <a:lnTo>
                      <a:pt x="323" y="1465"/>
                    </a:lnTo>
                    <a:lnTo>
                      <a:pt x="325" y="1465"/>
                    </a:lnTo>
                    <a:lnTo>
                      <a:pt x="326" y="1463"/>
                    </a:lnTo>
                    <a:lnTo>
                      <a:pt x="328" y="1463"/>
                    </a:lnTo>
                    <a:lnTo>
                      <a:pt x="328" y="1465"/>
                    </a:lnTo>
                    <a:lnTo>
                      <a:pt x="330" y="1463"/>
                    </a:lnTo>
                    <a:lnTo>
                      <a:pt x="330" y="1465"/>
                    </a:lnTo>
                    <a:lnTo>
                      <a:pt x="328" y="1466"/>
                    </a:lnTo>
                    <a:lnTo>
                      <a:pt x="328" y="1468"/>
                    </a:lnTo>
                    <a:lnTo>
                      <a:pt x="328" y="1466"/>
                    </a:lnTo>
                    <a:lnTo>
                      <a:pt x="326" y="1466"/>
                    </a:lnTo>
                    <a:lnTo>
                      <a:pt x="326" y="1468"/>
                    </a:lnTo>
                    <a:lnTo>
                      <a:pt x="325" y="1468"/>
                    </a:lnTo>
                    <a:lnTo>
                      <a:pt x="325" y="1466"/>
                    </a:lnTo>
                    <a:lnTo>
                      <a:pt x="323" y="1466"/>
                    </a:lnTo>
                    <a:lnTo>
                      <a:pt x="323" y="1468"/>
                    </a:lnTo>
                    <a:lnTo>
                      <a:pt x="321" y="1468"/>
                    </a:lnTo>
                    <a:lnTo>
                      <a:pt x="321" y="1466"/>
                    </a:lnTo>
                    <a:lnTo>
                      <a:pt x="321" y="1468"/>
                    </a:lnTo>
                    <a:lnTo>
                      <a:pt x="320" y="1468"/>
                    </a:lnTo>
                    <a:lnTo>
                      <a:pt x="320" y="1470"/>
                    </a:lnTo>
                    <a:lnTo>
                      <a:pt x="320" y="1468"/>
                    </a:lnTo>
                    <a:lnTo>
                      <a:pt x="318" y="1470"/>
                    </a:lnTo>
                    <a:lnTo>
                      <a:pt x="316" y="1470"/>
                    </a:lnTo>
                    <a:lnTo>
                      <a:pt x="316" y="1471"/>
                    </a:lnTo>
                    <a:lnTo>
                      <a:pt x="316" y="1470"/>
                    </a:lnTo>
                    <a:lnTo>
                      <a:pt x="316" y="1468"/>
                    </a:lnTo>
                    <a:lnTo>
                      <a:pt x="316" y="1466"/>
                    </a:lnTo>
                    <a:lnTo>
                      <a:pt x="315" y="1468"/>
                    </a:lnTo>
                    <a:lnTo>
                      <a:pt x="315" y="1466"/>
                    </a:lnTo>
                    <a:lnTo>
                      <a:pt x="313" y="1466"/>
                    </a:lnTo>
                    <a:lnTo>
                      <a:pt x="313" y="1468"/>
                    </a:lnTo>
                    <a:lnTo>
                      <a:pt x="313" y="1470"/>
                    </a:lnTo>
                    <a:lnTo>
                      <a:pt x="311" y="1470"/>
                    </a:lnTo>
                    <a:lnTo>
                      <a:pt x="309" y="1471"/>
                    </a:lnTo>
                    <a:lnTo>
                      <a:pt x="308" y="1471"/>
                    </a:lnTo>
                    <a:lnTo>
                      <a:pt x="308" y="1470"/>
                    </a:lnTo>
                    <a:lnTo>
                      <a:pt x="309" y="1470"/>
                    </a:lnTo>
                    <a:lnTo>
                      <a:pt x="308" y="1470"/>
                    </a:lnTo>
                    <a:lnTo>
                      <a:pt x="306" y="1471"/>
                    </a:lnTo>
                    <a:lnTo>
                      <a:pt x="306" y="1473"/>
                    </a:lnTo>
                    <a:lnTo>
                      <a:pt x="304" y="1473"/>
                    </a:lnTo>
                    <a:lnTo>
                      <a:pt x="303" y="1475"/>
                    </a:lnTo>
                    <a:lnTo>
                      <a:pt x="303" y="1473"/>
                    </a:lnTo>
                    <a:lnTo>
                      <a:pt x="301" y="1475"/>
                    </a:lnTo>
                    <a:lnTo>
                      <a:pt x="299" y="1475"/>
                    </a:lnTo>
                    <a:lnTo>
                      <a:pt x="299" y="1473"/>
                    </a:lnTo>
                    <a:lnTo>
                      <a:pt x="301" y="1473"/>
                    </a:lnTo>
                    <a:lnTo>
                      <a:pt x="303" y="1473"/>
                    </a:lnTo>
                    <a:lnTo>
                      <a:pt x="301" y="1471"/>
                    </a:lnTo>
                    <a:lnTo>
                      <a:pt x="301" y="1470"/>
                    </a:lnTo>
                    <a:lnTo>
                      <a:pt x="299" y="1471"/>
                    </a:lnTo>
                    <a:lnTo>
                      <a:pt x="298" y="1470"/>
                    </a:lnTo>
                    <a:lnTo>
                      <a:pt x="299" y="1470"/>
                    </a:lnTo>
                    <a:lnTo>
                      <a:pt x="299" y="1468"/>
                    </a:lnTo>
                    <a:lnTo>
                      <a:pt x="299" y="1466"/>
                    </a:lnTo>
                    <a:lnTo>
                      <a:pt x="301" y="1468"/>
                    </a:lnTo>
                    <a:lnTo>
                      <a:pt x="301" y="1466"/>
                    </a:lnTo>
                    <a:lnTo>
                      <a:pt x="303" y="1466"/>
                    </a:lnTo>
                    <a:lnTo>
                      <a:pt x="303" y="1468"/>
                    </a:lnTo>
                    <a:lnTo>
                      <a:pt x="304" y="1468"/>
                    </a:lnTo>
                    <a:lnTo>
                      <a:pt x="306" y="1468"/>
                    </a:lnTo>
                    <a:lnTo>
                      <a:pt x="306" y="1466"/>
                    </a:lnTo>
                    <a:lnTo>
                      <a:pt x="306" y="1465"/>
                    </a:lnTo>
                    <a:lnTo>
                      <a:pt x="306" y="1463"/>
                    </a:lnTo>
                    <a:lnTo>
                      <a:pt x="306" y="1465"/>
                    </a:lnTo>
                    <a:lnTo>
                      <a:pt x="308" y="1466"/>
                    </a:lnTo>
                    <a:lnTo>
                      <a:pt x="309" y="1465"/>
                    </a:lnTo>
                    <a:lnTo>
                      <a:pt x="309" y="1466"/>
                    </a:lnTo>
                    <a:lnTo>
                      <a:pt x="309" y="1465"/>
                    </a:lnTo>
                    <a:lnTo>
                      <a:pt x="311" y="1465"/>
                    </a:lnTo>
                    <a:lnTo>
                      <a:pt x="311" y="1466"/>
                    </a:lnTo>
                    <a:lnTo>
                      <a:pt x="311" y="1465"/>
                    </a:lnTo>
                    <a:lnTo>
                      <a:pt x="313" y="1463"/>
                    </a:lnTo>
                    <a:lnTo>
                      <a:pt x="313" y="1465"/>
                    </a:lnTo>
                    <a:close/>
                    <a:moveTo>
                      <a:pt x="391" y="682"/>
                    </a:moveTo>
                    <a:lnTo>
                      <a:pt x="393" y="682"/>
                    </a:lnTo>
                    <a:lnTo>
                      <a:pt x="394" y="682"/>
                    </a:lnTo>
                    <a:lnTo>
                      <a:pt x="394" y="684"/>
                    </a:lnTo>
                    <a:lnTo>
                      <a:pt x="396" y="684"/>
                    </a:lnTo>
                    <a:lnTo>
                      <a:pt x="396" y="685"/>
                    </a:lnTo>
                    <a:lnTo>
                      <a:pt x="396" y="687"/>
                    </a:lnTo>
                    <a:lnTo>
                      <a:pt x="396" y="689"/>
                    </a:lnTo>
                    <a:lnTo>
                      <a:pt x="394" y="689"/>
                    </a:lnTo>
                    <a:lnTo>
                      <a:pt x="394" y="687"/>
                    </a:lnTo>
                    <a:lnTo>
                      <a:pt x="393" y="687"/>
                    </a:lnTo>
                    <a:lnTo>
                      <a:pt x="391" y="687"/>
                    </a:lnTo>
                    <a:lnTo>
                      <a:pt x="391" y="685"/>
                    </a:lnTo>
                    <a:lnTo>
                      <a:pt x="389" y="685"/>
                    </a:lnTo>
                    <a:lnTo>
                      <a:pt x="389" y="684"/>
                    </a:lnTo>
                    <a:lnTo>
                      <a:pt x="388" y="684"/>
                    </a:lnTo>
                    <a:lnTo>
                      <a:pt x="388" y="682"/>
                    </a:lnTo>
                    <a:lnTo>
                      <a:pt x="389" y="682"/>
                    </a:lnTo>
                    <a:lnTo>
                      <a:pt x="391" y="682"/>
                    </a:lnTo>
                    <a:close/>
                    <a:moveTo>
                      <a:pt x="388" y="718"/>
                    </a:moveTo>
                    <a:lnTo>
                      <a:pt x="388" y="719"/>
                    </a:lnTo>
                    <a:lnTo>
                      <a:pt x="388" y="721"/>
                    </a:lnTo>
                    <a:lnTo>
                      <a:pt x="386" y="719"/>
                    </a:lnTo>
                    <a:lnTo>
                      <a:pt x="384" y="719"/>
                    </a:lnTo>
                    <a:lnTo>
                      <a:pt x="384" y="718"/>
                    </a:lnTo>
                    <a:lnTo>
                      <a:pt x="386" y="718"/>
                    </a:lnTo>
                    <a:lnTo>
                      <a:pt x="386" y="716"/>
                    </a:lnTo>
                    <a:lnTo>
                      <a:pt x="386" y="718"/>
                    </a:lnTo>
                    <a:lnTo>
                      <a:pt x="388" y="718"/>
                    </a:lnTo>
                    <a:close/>
                    <a:moveTo>
                      <a:pt x="386" y="742"/>
                    </a:moveTo>
                    <a:lnTo>
                      <a:pt x="386" y="743"/>
                    </a:lnTo>
                    <a:lnTo>
                      <a:pt x="386" y="745"/>
                    </a:lnTo>
                    <a:lnTo>
                      <a:pt x="386" y="747"/>
                    </a:lnTo>
                    <a:lnTo>
                      <a:pt x="384" y="745"/>
                    </a:lnTo>
                    <a:lnTo>
                      <a:pt x="383" y="745"/>
                    </a:lnTo>
                    <a:lnTo>
                      <a:pt x="384" y="743"/>
                    </a:lnTo>
                    <a:lnTo>
                      <a:pt x="384" y="742"/>
                    </a:lnTo>
                    <a:lnTo>
                      <a:pt x="386" y="742"/>
                    </a:lnTo>
                    <a:close/>
                    <a:moveTo>
                      <a:pt x="207" y="1473"/>
                    </a:moveTo>
                    <a:lnTo>
                      <a:pt x="209" y="1473"/>
                    </a:lnTo>
                    <a:lnTo>
                      <a:pt x="209" y="1475"/>
                    </a:lnTo>
                    <a:lnTo>
                      <a:pt x="207" y="1473"/>
                    </a:lnTo>
                    <a:lnTo>
                      <a:pt x="206" y="1475"/>
                    </a:lnTo>
                    <a:lnTo>
                      <a:pt x="204" y="1473"/>
                    </a:lnTo>
                    <a:lnTo>
                      <a:pt x="206" y="1471"/>
                    </a:lnTo>
                    <a:lnTo>
                      <a:pt x="206" y="1473"/>
                    </a:lnTo>
                    <a:lnTo>
                      <a:pt x="206" y="1471"/>
                    </a:lnTo>
                    <a:lnTo>
                      <a:pt x="207" y="1471"/>
                    </a:lnTo>
                    <a:lnTo>
                      <a:pt x="207" y="1473"/>
                    </a:lnTo>
                    <a:close/>
                    <a:moveTo>
                      <a:pt x="384" y="738"/>
                    </a:moveTo>
                    <a:lnTo>
                      <a:pt x="386" y="738"/>
                    </a:lnTo>
                    <a:lnTo>
                      <a:pt x="386" y="742"/>
                    </a:lnTo>
                    <a:lnTo>
                      <a:pt x="384" y="742"/>
                    </a:lnTo>
                    <a:lnTo>
                      <a:pt x="384" y="738"/>
                    </a:lnTo>
                    <a:close/>
                    <a:moveTo>
                      <a:pt x="386" y="687"/>
                    </a:moveTo>
                    <a:lnTo>
                      <a:pt x="389" y="687"/>
                    </a:lnTo>
                    <a:lnTo>
                      <a:pt x="389" y="689"/>
                    </a:lnTo>
                    <a:lnTo>
                      <a:pt x="386" y="689"/>
                    </a:lnTo>
                    <a:lnTo>
                      <a:pt x="386" y="687"/>
                    </a:lnTo>
                    <a:close/>
                    <a:moveTo>
                      <a:pt x="389" y="679"/>
                    </a:moveTo>
                    <a:lnTo>
                      <a:pt x="391" y="679"/>
                    </a:lnTo>
                    <a:lnTo>
                      <a:pt x="391" y="680"/>
                    </a:lnTo>
                    <a:lnTo>
                      <a:pt x="389" y="680"/>
                    </a:lnTo>
                    <a:lnTo>
                      <a:pt x="389" y="679"/>
                    </a:lnTo>
                    <a:close/>
                    <a:moveTo>
                      <a:pt x="381" y="672"/>
                    </a:moveTo>
                    <a:lnTo>
                      <a:pt x="383" y="672"/>
                    </a:lnTo>
                    <a:lnTo>
                      <a:pt x="383" y="675"/>
                    </a:lnTo>
                    <a:lnTo>
                      <a:pt x="381" y="675"/>
                    </a:lnTo>
                    <a:lnTo>
                      <a:pt x="381" y="672"/>
                    </a:lnTo>
                    <a:close/>
                    <a:moveTo>
                      <a:pt x="386" y="679"/>
                    </a:moveTo>
                    <a:lnTo>
                      <a:pt x="389" y="679"/>
                    </a:lnTo>
                    <a:lnTo>
                      <a:pt x="389" y="680"/>
                    </a:lnTo>
                    <a:lnTo>
                      <a:pt x="386" y="680"/>
                    </a:lnTo>
                    <a:lnTo>
                      <a:pt x="386" y="679"/>
                    </a:lnTo>
                    <a:close/>
                    <a:moveTo>
                      <a:pt x="386" y="728"/>
                    </a:moveTo>
                    <a:lnTo>
                      <a:pt x="388" y="728"/>
                    </a:lnTo>
                    <a:lnTo>
                      <a:pt x="388" y="731"/>
                    </a:lnTo>
                    <a:lnTo>
                      <a:pt x="386" y="731"/>
                    </a:lnTo>
                    <a:lnTo>
                      <a:pt x="386" y="728"/>
                    </a:lnTo>
                    <a:close/>
                    <a:moveTo>
                      <a:pt x="515" y="476"/>
                    </a:moveTo>
                    <a:lnTo>
                      <a:pt x="517" y="476"/>
                    </a:lnTo>
                    <a:lnTo>
                      <a:pt x="517" y="478"/>
                    </a:lnTo>
                    <a:lnTo>
                      <a:pt x="515" y="478"/>
                    </a:lnTo>
                    <a:lnTo>
                      <a:pt x="515" y="476"/>
                    </a:lnTo>
                    <a:close/>
                    <a:moveTo>
                      <a:pt x="386" y="677"/>
                    </a:moveTo>
                    <a:lnTo>
                      <a:pt x="388" y="677"/>
                    </a:lnTo>
                    <a:lnTo>
                      <a:pt x="388" y="679"/>
                    </a:lnTo>
                    <a:lnTo>
                      <a:pt x="386" y="679"/>
                    </a:lnTo>
                    <a:lnTo>
                      <a:pt x="386" y="677"/>
                    </a:lnTo>
                    <a:close/>
                    <a:moveTo>
                      <a:pt x="381" y="675"/>
                    </a:moveTo>
                    <a:lnTo>
                      <a:pt x="384" y="675"/>
                    </a:lnTo>
                    <a:lnTo>
                      <a:pt x="384" y="677"/>
                    </a:lnTo>
                    <a:lnTo>
                      <a:pt x="381" y="677"/>
                    </a:lnTo>
                    <a:lnTo>
                      <a:pt x="381" y="675"/>
                    </a:lnTo>
                    <a:close/>
                    <a:moveTo>
                      <a:pt x="255" y="956"/>
                    </a:moveTo>
                    <a:lnTo>
                      <a:pt x="257" y="956"/>
                    </a:lnTo>
                    <a:lnTo>
                      <a:pt x="255" y="956"/>
                    </a:lnTo>
                    <a:close/>
                    <a:moveTo>
                      <a:pt x="513" y="493"/>
                    </a:moveTo>
                    <a:lnTo>
                      <a:pt x="515" y="493"/>
                    </a:lnTo>
                    <a:lnTo>
                      <a:pt x="513" y="493"/>
                    </a:lnTo>
                    <a:close/>
                    <a:moveTo>
                      <a:pt x="318" y="1458"/>
                    </a:moveTo>
                    <a:lnTo>
                      <a:pt x="320" y="1458"/>
                    </a:lnTo>
                    <a:lnTo>
                      <a:pt x="320" y="1459"/>
                    </a:lnTo>
                    <a:lnTo>
                      <a:pt x="318" y="1459"/>
                    </a:lnTo>
                    <a:lnTo>
                      <a:pt x="318" y="1458"/>
                    </a:lnTo>
                    <a:close/>
                    <a:moveTo>
                      <a:pt x="269" y="952"/>
                    </a:moveTo>
                    <a:lnTo>
                      <a:pt x="270" y="952"/>
                    </a:lnTo>
                    <a:lnTo>
                      <a:pt x="270" y="954"/>
                    </a:lnTo>
                    <a:lnTo>
                      <a:pt x="269" y="954"/>
                    </a:lnTo>
                    <a:lnTo>
                      <a:pt x="269" y="952"/>
                    </a:lnTo>
                    <a:close/>
                    <a:moveTo>
                      <a:pt x="389" y="689"/>
                    </a:moveTo>
                    <a:lnTo>
                      <a:pt x="391" y="689"/>
                    </a:lnTo>
                    <a:lnTo>
                      <a:pt x="389" y="689"/>
                    </a:lnTo>
                    <a:close/>
                    <a:moveTo>
                      <a:pt x="383" y="718"/>
                    </a:moveTo>
                    <a:lnTo>
                      <a:pt x="384" y="718"/>
                    </a:lnTo>
                    <a:lnTo>
                      <a:pt x="384" y="719"/>
                    </a:lnTo>
                    <a:lnTo>
                      <a:pt x="383" y="719"/>
                    </a:lnTo>
                    <a:lnTo>
                      <a:pt x="383" y="718"/>
                    </a:lnTo>
                    <a:close/>
                    <a:moveTo>
                      <a:pt x="529" y="502"/>
                    </a:moveTo>
                    <a:lnTo>
                      <a:pt x="530" y="502"/>
                    </a:lnTo>
                    <a:lnTo>
                      <a:pt x="530" y="503"/>
                    </a:lnTo>
                    <a:lnTo>
                      <a:pt x="529" y="503"/>
                    </a:lnTo>
                    <a:lnTo>
                      <a:pt x="529" y="502"/>
                    </a:lnTo>
                    <a:close/>
                    <a:moveTo>
                      <a:pt x="515" y="474"/>
                    </a:moveTo>
                    <a:lnTo>
                      <a:pt x="515" y="476"/>
                    </a:lnTo>
                    <a:lnTo>
                      <a:pt x="515" y="474"/>
                    </a:lnTo>
                    <a:close/>
                    <a:moveTo>
                      <a:pt x="381" y="716"/>
                    </a:moveTo>
                    <a:lnTo>
                      <a:pt x="383" y="716"/>
                    </a:lnTo>
                    <a:lnTo>
                      <a:pt x="383" y="718"/>
                    </a:lnTo>
                    <a:lnTo>
                      <a:pt x="381" y="718"/>
                    </a:lnTo>
                    <a:lnTo>
                      <a:pt x="381" y="716"/>
                    </a:lnTo>
                    <a:close/>
                    <a:moveTo>
                      <a:pt x="383" y="674"/>
                    </a:moveTo>
                    <a:lnTo>
                      <a:pt x="384" y="674"/>
                    </a:lnTo>
                    <a:lnTo>
                      <a:pt x="384" y="675"/>
                    </a:lnTo>
                    <a:lnTo>
                      <a:pt x="383" y="675"/>
                    </a:lnTo>
                    <a:lnTo>
                      <a:pt x="383" y="674"/>
                    </a:lnTo>
                    <a:close/>
                    <a:moveTo>
                      <a:pt x="315" y="1459"/>
                    </a:moveTo>
                    <a:lnTo>
                      <a:pt x="315" y="1461"/>
                    </a:lnTo>
                    <a:lnTo>
                      <a:pt x="315" y="1459"/>
                    </a:lnTo>
                    <a:close/>
                    <a:moveTo>
                      <a:pt x="515" y="476"/>
                    </a:moveTo>
                    <a:lnTo>
                      <a:pt x="515" y="478"/>
                    </a:lnTo>
                    <a:lnTo>
                      <a:pt x="515" y="476"/>
                    </a:lnTo>
                    <a:close/>
                    <a:moveTo>
                      <a:pt x="517" y="474"/>
                    </a:moveTo>
                    <a:lnTo>
                      <a:pt x="519" y="474"/>
                    </a:lnTo>
                    <a:lnTo>
                      <a:pt x="519" y="476"/>
                    </a:lnTo>
                    <a:lnTo>
                      <a:pt x="517" y="476"/>
                    </a:lnTo>
                    <a:lnTo>
                      <a:pt x="517" y="474"/>
                    </a:lnTo>
                    <a:close/>
                    <a:moveTo>
                      <a:pt x="383" y="687"/>
                    </a:moveTo>
                    <a:lnTo>
                      <a:pt x="384" y="687"/>
                    </a:lnTo>
                    <a:lnTo>
                      <a:pt x="383" y="687"/>
                    </a:lnTo>
                    <a:close/>
                    <a:moveTo>
                      <a:pt x="257" y="956"/>
                    </a:moveTo>
                    <a:lnTo>
                      <a:pt x="258" y="956"/>
                    </a:lnTo>
                    <a:lnTo>
                      <a:pt x="258" y="958"/>
                    </a:lnTo>
                    <a:lnTo>
                      <a:pt x="257" y="958"/>
                    </a:lnTo>
                    <a:lnTo>
                      <a:pt x="257" y="956"/>
                    </a:lnTo>
                    <a:close/>
                    <a:moveTo>
                      <a:pt x="384" y="675"/>
                    </a:moveTo>
                    <a:lnTo>
                      <a:pt x="386" y="675"/>
                    </a:lnTo>
                    <a:lnTo>
                      <a:pt x="384" y="675"/>
                    </a:lnTo>
                    <a:close/>
                    <a:moveTo>
                      <a:pt x="386" y="723"/>
                    </a:moveTo>
                    <a:lnTo>
                      <a:pt x="388" y="723"/>
                    </a:lnTo>
                    <a:lnTo>
                      <a:pt x="388" y="725"/>
                    </a:lnTo>
                    <a:lnTo>
                      <a:pt x="386" y="725"/>
                    </a:lnTo>
                    <a:lnTo>
                      <a:pt x="386" y="723"/>
                    </a:lnTo>
                    <a:close/>
                    <a:moveTo>
                      <a:pt x="265" y="954"/>
                    </a:moveTo>
                    <a:lnTo>
                      <a:pt x="267" y="954"/>
                    </a:lnTo>
                    <a:lnTo>
                      <a:pt x="265" y="954"/>
                    </a:lnTo>
                    <a:close/>
                    <a:moveTo>
                      <a:pt x="381" y="721"/>
                    </a:moveTo>
                    <a:lnTo>
                      <a:pt x="383" y="721"/>
                    </a:lnTo>
                    <a:lnTo>
                      <a:pt x="381" y="721"/>
                    </a:lnTo>
                    <a:close/>
                    <a:moveTo>
                      <a:pt x="383" y="721"/>
                    </a:moveTo>
                    <a:lnTo>
                      <a:pt x="383" y="723"/>
                    </a:lnTo>
                    <a:lnTo>
                      <a:pt x="383" y="721"/>
                    </a:lnTo>
                    <a:close/>
                    <a:moveTo>
                      <a:pt x="274" y="951"/>
                    </a:moveTo>
                    <a:lnTo>
                      <a:pt x="274" y="952"/>
                    </a:lnTo>
                    <a:lnTo>
                      <a:pt x="274" y="951"/>
                    </a:lnTo>
                    <a:close/>
                    <a:moveTo>
                      <a:pt x="367" y="767"/>
                    </a:moveTo>
                    <a:lnTo>
                      <a:pt x="369" y="767"/>
                    </a:lnTo>
                    <a:lnTo>
                      <a:pt x="367" y="767"/>
                    </a:lnTo>
                    <a:close/>
                    <a:moveTo>
                      <a:pt x="517" y="474"/>
                    </a:moveTo>
                    <a:lnTo>
                      <a:pt x="519" y="474"/>
                    </a:lnTo>
                    <a:lnTo>
                      <a:pt x="517" y="474"/>
                    </a:lnTo>
                    <a:close/>
                    <a:moveTo>
                      <a:pt x="515" y="471"/>
                    </a:moveTo>
                    <a:lnTo>
                      <a:pt x="515" y="473"/>
                    </a:lnTo>
                    <a:lnTo>
                      <a:pt x="515" y="471"/>
                    </a:lnTo>
                    <a:close/>
                    <a:moveTo>
                      <a:pt x="513" y="476"/>
                    </a:moveTo>
                    <a:lnTo>
                      <a:pt x="515" y="476"/>
                    </a:lnTo>
                    <a:lnTo>
                      <a:pt x="513" y="476"/>
                    </a:lnTo>
                    <a:close/>
                    <a:moveTo>
                      <a:pt x="209" y="1473"/>
                    </a:moveTo>
                    <a:lnTo>
                      <a:pt x="209" y="1475"/>
                    </a:lnTo>
                    <a:lnTo>
                      <a:pt x="209" y="1473"/>
                    </a:lnTo>
                    <a:close/>
                    <a:moveTo>
                      <a:pt x="388" y="721"/>
                    </a:moveTo>
                    <a:lnTo>
                      <a:pt x="389" y="721"/>
                    </a:lnTo>
                    <a:lnTo>
                      <a:pt x="389" y="723"/>
                    </a:lnTo>
                    <a:lnTo>
                      <a:pt x="388" y="723"/>
                    </a:lnTo>
                    <a:lnTo>
                      <a:pt x="388" y="721"/>
                    </a:lnTo>
                    <a:close/>
                    <a:moveTo>
                      <a:pt x="384" y="677"/>
                    </a:moveTo>
                    <a:lnTo>
                      <a:pt x="386" y="677"/>
                    </a:lnTo>
                    <a:lnTo>
                      <a:pt x="384" y="677"/>
                    </a:lnTo>
                    <a:close/>
                    <a:moveTo>
                      <a:pt x="394" y="680"/>
                    </a:moveTo>
                    <a:lnTo>
                      <a:pt x="394" y="682"/>
                    </a:lnTo>
                    <a:lnTo>
                      <a:pt x="394" y="680"/>
                    </a:lnTo>
                    <a:close/>
                    <a:moveTo>
                      <a:pt x="512" y="464"/>
                    </a:moveTo>
                    <a:lnTo>
                      <a:pt x="512" y="466"/>
                    </a:lnTo>
                    <a:lnTo>
                      <a:pt x="512" y="46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40" name="Freeform 12">
                <a:extLst>
                  <a:ext uri="{FF2B5EF4-FFF2-40B4-BE49-F238E27FC236}">
                    <a16:creationId xmlns:a16="http://schemas.microsoft.com/office/drawing/2014/main" id="{4AD5E11F-1203-A6EE-AC88-130216D5C3E8}"/>
                  </a:ext>
                </a:extLst>
              </p:cNvPr>
              <p:cNvSpPr>
                <a:spLocks noEditPoints="1"/>
              </p:cNvSpPr>
              <p:nvPr/>
            </p:nvSpPr>
            <p:spPr bwMode="auto">
              <a:xfrm>
                <a:off x="5897563" y="1771650"/>
                <a:ext cx="11112" cy="11113"/>
              </a:xfrm>
              <a:custGeom>
                <a:avLst/>
                <a:gdLst>
                  <a:gd name="T0" fmla="*/ 0 w 7"/>
                  <a:gd name="T1" fmla="*/ 0 h 7"/>
                  <a:gd name="T2" fmla="*/ 2 w 7"/>
                  <a:gd name="T3" fmla="*/ 0 h 7"/>
                  <a:gd name="T4" fmla="*/ 2 w 7"/>
                  <a:gd name="T5" fmla="*/ 2 h 7"/>
                  <a:gd name="T6" fmla="*/ 3 w 7"/>
                  <a:gd name="T7" fmla="*/ 2 h 7"/>
                  <a:gd name="T8" fmla="*/ 3 w 7"/>
                  <a:gd name="T9" fmla="*/ 3 h 7"/>
                  <a:gd name="T10" fmla="*/ 5 w 7"/>
                  <a:gd name="T11" fmla="*/ 3 h 7"/>
                  <a:gd name="T12" fmla="*/ 5 w 7"/>
                  <a:gd name="T13" fmla="*/ 5 h 7"/>
                  <a:gd name="T14" fmla="*/ 7 w 7"/>
                  <a:gd name="T15" fmla="*/ 5 h 7"/>
                  <a:gd name="T16" fmla="*/ 7 w 7"/>
                  <a:gd name="T17" fmla="*/ 7 h 7"/>
                  <a:gd name="T18" fmla="*/ 5 w 7"/>
                  <a:gd name="T19" fmla="*/ 7 h 7"/>
                  <a:gd name="T20" fmla="*/ 3 w 7"/>
                  <a:gd name="T21" fmla="*/ 7 h 7"/>
                  <a:gd name="T22" fmla="*/ 3 w 7"/>
                  <a:gd name="T23" fmla="*/ 5 h 7"/>
                  <a:gd name="T24" fmla="*/ 2 w 7"/>
                  <a:gd name="T25" fmla="*/ 5 h 7"/>
                  <a:gd name="T26" fmla="*/ 2 w 7"/>
                  <a:gd name="T27" fmla="*/ 3 h 7"/>
                  <a:gd name="T28" fmla="*/ 0 w 7"/>
                  <a:gd name="T29" fmla="*/ 3 h 7"/>
                  <a:gd name="T30" fmla="*/ 0 w 7"/>
                  <a:gd name="T31" fmla="*/ 2 h 7"/>
                  <a:gd name="T32" fmla="*/ 0 w 7"/>
                  <a:gd name="T33" fmla="*/ 0 h 7"/>
                  <a:gd name="T34" fmla="*/ 2 w 7"/>
                  <a:gd name="T35" fmla="*/ 5 h 7"/>
                  <a:gd name="T36" fmla="*/ 3 w 7"/>
                  <a:gd name="T37" fmla="*/ 5 h 7"/>
                  <a:gd name="T38" fmla="*/ 2 w 7"/>
                  <a:gd name="T3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 h="7">
                    <a:moveTo>
                      <a:pt x="0" y="0"/>
                    </a:moveTo>
                    <a:lnTo>
                      <a:pt x="2" y="0"/>
                    </a:lnTo>
                    <a:lnTo>
                      <a:pt x="2" y="2"/>
                    </a:lnTo>
                    <a:lnTo>
                      <a:pt x="3" y="2"/>
                    </a:lnTo>
                    <a:lnTo>
                      <a:pt x="3" y="3"/>
                    </a:lnTo>
                    <a:lnTo>
                      <a:pt x="5" y="3"/>
                    </a:lnTo>
                    <a:lnTo>
                      <a:pt x="5" y="5"/>
                    </a:lnTo>
                    <a:lnTo>
                      <a:pt x="7" y="5"/>
                    </a:lnTo>
                    <a:lnTo>
                      <a:pt x="7" y="7"/>
                    </a:lnTo>
                    <a:lnTo>
                      <a:pt x="5" y="7"/>
                    </a:lnTo>
                    <a:lnTo>
                      <a:pt x="3" y="7"/>
                    </a:lnTo>
                    <a:lnTo>
                      <a:pt x="3" y="5"/>
                    </a:lnTo>
                    <a:lnTo>
                      <a:pt x="2" y="5"/>
                    </a:lnTo>
                    <a:lnTo>
                      <a:pt x="2" y="3"/>
                    </a:lnTo>
                    <a:lnTo>
                      <a:pt x="0" y="3"/>
                    </a:lnTo>
                    <a:lnTo>
                      <a:pt x="0" y="2"/>
                    </a:lnTo>
                    <a:lnTo>
                      <a:pt x="0" y="0"/>
                    </a:lnTo>
                    <a:close/>
                    <a:moveTo>
                      <a:pt x="2" y="5"/>
                    </a:moveTo>
                    <a:lnTo>
                      <a:pt x="3" y="5"/>
                    </a:lnTo>
                    <a:lnTo>
                      <a:pt x="2" y="5"/>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44" name="Freeform 13">
                <a:extLst>
                  <a:ext uri="{FF2B5EF4-FFF2-40B4-BE49-F238E27FC236}">
                    <a16:creationId xmlns:a16="http://schemas.microsoft.com/office/drawing/2014/main" id="{11FBB9AE-44E1-F59F-E3BE-54CEA0950292}"/>
                  </a:ext>
                </a:extLst>
              </p:cNvPr>
              <p:cNvSpPr>
                <a:spLocks noEditPoints="1"/>
              </p:cNvSpPr>
              <p:nvPr/>
            </p:nvSpPr>
            <p:spPr bwMode="auto">
              <a:xfrm>
                <a:off x="5403850" y="935038"/>
                <a:ext cx="350837" cy="371475"/>
              </a:xfrm>
              <a:custGeom>
                <a:avLst/>
                <a:gdLst>
                  <a:gd name="T0" fmla="*/ 46 w 221"/>
                  <a:gd name="T1" fmla="*/ 85 h 234"/>
                  <a:gd name="T2" fmla="*/ 46 w 221"/>
                  <a:gd name="T3" fmla="*/ 108 h 234"/>
                  <a:gd name="T4" fmla="*/ 37 w 221"/>
                  <a:gd name="T5" fmla="*/ 105 h 234"/>
                  <a:gd name="T6" fmla="*/ 36 w 221"/>
                  <a:gd name="T7" fmla="*/ 90 h 234"/>
                  <a:gd name="T8" fmla="*/ 201 w 221"/>
                  <a:gd name="T9" fmla="*/ 233 h 234"/>
                  <a:gd name="T10" fmla="*/ 199 w 221"/>
                  <a:gd name="T11" fmla="*/ 224 h 234"/>
                  <a:gd name="T12" fmla="*/ 66 w 221"/>
                  <a:gd name="T13" fmla="*/ 22 h 234"/>
                  <a:gd name="T14" fmla="*/ 76 w 221"/>
                  <a:gd name="T15" fmla="*/ 34 h 234"/>
                  <a:gd name="T16" fmla="*/ 63 w 221"/>
                  <a:gd name="T17" fmla="*/ 46 h 234"/>
                  <a:gd name="T18" fmla="*/ 70 w 221"/>
                  <a:gd name="T19" fmla="*/ 34 h 234"/>
                  <a:gd name="T20" fmla="*/ 66 w 221"/>
                  <a:gd name="T21" fmla="*/ 22 h 234"/>
                  <a:gd name="T22" fmla="*/ 46 w 221"/>
                  <a:gd name="T23" fmla="*/ 13 h 234"/>
                  <a:gd name="T24" fmla="*/ 34 w 221"/>
                  <a:gd name="T25" fmla="*/ 22 h 234"/>
                  <a:gd name="T26" fmla="*/ 42 w 221"/>
                  <a:gd name="T27" fmla="*/ 22 h 234"/>
                  <a:gd name="T28" fmla="*/ 10 w 221"/>
                  <a:gd name="T29" fmla="*/ 22 h 234"/>
                  <a:gd name="T30" fmla="*/ 24 w 221"/>
                  <a:gd name="T31" fmla="*/ 20 h 234"/>
                  <a:gd name="T32" fmla="*/ 54 w 221"/>
                  <a:gd name="T33" fmla="*/ 132 h 234"/>
                  <a:gd name="T34" fmla="*/ 49 w 221"/>
                  <a:gd name="T35" fmla="*/ 127 h 234"/>
                  <a:gd name="T36" fmla="*/ 54 w 221"/>
                  <a:gd name="T37" fmla="*/ 110 h 234"/>
                  <a:gd name="T38" fmla="*/ 49 w 221"/>
                  <a:gd name="T39" fmla="*/ 120 h 234"/>
                  <a:gd name="T40" fmla="*/ 90 w 221"/>
                  <a:gd name="T41" fmla="*/ 68 h 234"/>
                  <a:gd name="T42" fmla="*/ 105 w 221"/>
                  <a:gd name="T43" fmla="*/ 95 h 234"/>
                  <a:gd name="T44" fmla="*/ 105 w 221"/>
                  <a:gd name="T45" fmla="*/ 80 h 234"/>
                  <a:gd name="T46" fmla="*/ 87 w 221"/>
                  <a:gd name="T47" fmla="*/ 64 h 234"/>
                  <a:gd name="T48" fmla="*/ 150 w 221"/>
                  <a:gd name="T49" fmla="*/ 163 h 234"/>
                  <a:gd name="T50" fmla="*/ 139 w 221"/>
                  <a:gd name="T51" fmla="*/ 148 h 234"/>
                  <a:gd name="T52" fmla="*/ 184 w 221"/>
                  <a:gd name="T53" fmla="*/ 173 h 234"/>
                  <a:gd name="T54" fmla="*/ 172 w 221"/>
                  <a:gd name="T55" fmla="*/ 185 h 234"/>
                  <a:gd name="T56" fmla="*/ 122 w 221"/>
                  <a:gd name="T57" fmla="*/ 98 h 234"/>
                  <a:gd name="T58" fmla="*/ 129 w 221"/>
                  <a:gd name="T59" fmla="*/ 114 h 234"/>
                  <a:gd name="T60" fmla="*/ 212 w 221"/>
                  <a:gd name="T61" fmla="*/ 180 h 234"/>
                  <a:gd name="T62" fmla="*/ 170 w 221"/>
                  <a:gd name="T63" fmla="*/ 165 h 234"/>
                  <a:gd name="T64" fmla="*/ 65 w 221"/>
                  <a:gd name="T65" fmla="*/ 85 h 234"/>
                  <a:gd name="T66" fmla="*/ 112 w 221"/>
                  <a:gd name="T67" fmla="*/ 136 h 234"/>
                  <a:gd name="T68" fmla="*/ 110 w 221"/>
                  <a:gd name="T69" fmla="*/ 132 h 234"/>
                  <a:gd name="T70" fmla="*/ 46 w 221"/>
                  <a:gd name="T71" fmla="*/ 114 h 234"/>
                  <a:gd name="T72" fmla="*/ 51 w 221"/>
                  <a:gd name="T73" fmla="*/ 108 h 234"/>
                  <a:gd name="T74" fmla="*/ 126 w 221"/>
                  <a:gd name="T75" fmla="*/ 142 h 234"/>
                  <a:gd name="T76" fmla="*/ 168 w 221"/>
                  <a:gd name="T77" fmla="*/ 170 h 234"/>
                  <a:gd name="T78" fmla="*/ 27 w 221"/>
                  <a:gd name="T79" fmla="*/ 97 h 234"/>
                  <a:gd name="T80" fmla="*/ 114 w 221"/>
                  <a:gd name="T81" fmla="*/ 100 h 234"/>
                  <a:gd name="T82" fmla="*/ 109 w 221"/>
                  <a:gd name="T83" fmla="*/ 132 h 234"/>
                  <a:gd name="T84" fmla="*/ 66 w 221"/>
                  <a:gd name="T85" fmla="*/ 34 h 234"/>
                  <a:gd name="T86" fmla="*/ 68 w 221"/>
                  <a:gd name="T87" fmla="*/ 29 h 234"/>
                  <a:gd name="T88" fmla="*/ 39 w 221"/>
                  <a:gd name="T89" fmla="*/ 74 h 234"/>
                  <a:gd name="T90" fmla="*/ 49 w 221"/>
                  <a:gd name="T91" fmla="*/ 69 h 234"/>
                  <a:gd name="T92" fmla="*/ 49 w 221"/>
                  <a:gd name="T93" fmla="*/ 129 h 234"/>
                  <a:gd name="T94" fmla="*/ 53 w 221"/>
                  <a:gd name="T95" fmla="*/ 64 h 234"/>
                  <a:gd name="T96" fmla="*/ 107 w 221"/>
                  <a:gd name="T97" fmla="*/ 81 h 234"/>
                  <a:gd name="T98" fmla="*/ 51 w 221"/>
                  <a:gd name="T99" fmla="*/ 108 h 234"/>
                  <a:gd name="T100" fmla="*/ 32 w 221"/>
                  <a:gd name="T101" fmla="*/ 0 h 234"/>
                  <a:gd name="T102" fmla="*/ 95 w 221"/>
                  <a:gd name="T103" fmla="*/ 115 h 234"/>
                  <a:gd name="T104" fmla="*/ 49 w 221"/>
                  <a:gd name="T105" fmla="*/ 23 h 234"/>
                  <a:gd name="T106" fmla="*/ 76 w 221"/>
                  <a:gd name="T107" fmla="*/ 27 h 234"/>
                  <a:gd name="T108" fmla="*/ 119 w 221"/>
                  <a:gd name="T109" fmla="*/ 183 h 234"/>
                  <a:gd name="T110" fmla="*/ 102 w 221"/>
                  <a:gd name="T111" fmla="*/ 124 h 234"/>
                  <a:gd name="T112" fmla="*/ 70 w 221"/>
                  <a:gd name="T113" fmla="*/ 30 h 234"/>
                  <a:gd name="T114" fmla="*/ 53 w 221"/>
                  <a:gd name="T115" fmla="*/ 134 h 234"/>
                  <a:gd name="T116" fmla="*/ 25 w 221"/>
                  <a:gd name="T117" fmla="*/ 17 h 234"/>
                  <a:gd name="T118" fmla="*/ 66 w 221"/>
                  <a:gd name="T119" fmla="*/ 18 h 234"/>
                  <a:gd name="T120" fmla="*/ 93 w 221"/>
                  <a:gd name="T121" fmla="*/ 115 h 234"/>
                  <a:gd name="T122" fmla="*/ 138 w 221"/>
                  <a:gd name="T123" fmla="*/ 149 h 234"/>
                  <a:gd name="T124" fmla="*/ 58 w 221"/>
                  <a:gd name="T125" fmla="*/ 1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1" h="234">
                    <a:moveTo>
                      <a:pt x="37" y="76"/>
                    </a:moveTo>
                    <a:lnTo>
                      <a:pt x="37" y="78"/>
                    </a:lnTo>
                    <a:lnTo>
                      <a:pt x="39" y="78"/>
                    </a:lnTo>
                    <a:lnTo>
                      <a:pt x="37" y="78"/>
                    </a:lnTo>
                    <a:lnTo>
                      <a:pt x="36" y="78"/>
                    </a:lnTo>
                    <a:lnTo>
                      <a:pt x="37" y="78"/>
                    </a:lnTo>
                    <a:lnTo>
                      <a:pt x="39" y="78"/>
                    </a:lnTo>
                    <a:lnTo>
                      <a:pt x="39" y="80"/>
                    </a:lnTo>
                    <a:lnTo>
                      <a:pt x="39" y="78"/>
                    </a:lnTo>
                    <a:lnTo>
                      <a:pt x="39" y="80"/>
                    </a:lnTo>
                    <a:lnTo>
                      <a:pt x="41" y="78"/>
                    </a:lnTo>
                    <a:lnTo>
                      <a:pt x="41" y="80"/>
                    </a:lnTo>
                    <a:lnTo>
                      <a:pt x="41" y="78"/>
                    </a:lnTo>
                    <a:lnTo>
                      <a:pt x="42" y="78"/>
                    </a:lnTo>
                    <a:lnTo>
                      <a:pt x="42" y="80"/>
                    </a:lnTo>
                    <a:lnTo>
                      <a:pt x="44" y="80"/>
                    </a:lnTo>
                    <a:lnTo>
                      <a:pt x="42" y="80"/>
                    </a:lnTo>
                    <a:lnTo>
                      <a:pt x="44" y="81"/>
                    </a:lnTo>
                    <a:lnTo>
                      <a:pt x="42" y="81"/>
                    </a:lnTo>
                    <a:lnTo>
                      <a:pt x="44" y="81"/>
                    </a:lnTo>
                    <a:lnTo>
                      <a:pt x="44" y="83"/>
                    </a:lnTo>
                    <a:lnTo>
                      <a:pt x="44" y="85"/>
                    </a:lnTo>
                    <a:lnTo>
                      <a:pt x="42" y="85"/>
                    </a:lnTo>
                    <a:lnTo>
                      <a:pt x="44" y="85"/>
                    </a:lnTo>
                    <a:lnTo>
                      <a:pt x="44" y="86"/>
                    </a:lnTo>
                    <a:lnTo>
                      <a:pt x="44" y="85"/>
                    </a:lnTo>
                    <a:lnTo>
                      <a:pt x="46" y="85"/>
                    </a:lnTo>
                    <a:lnTo>
                      <a:pt x="46" y="86"/>
                    </a:lnTo>
                    <a:lnTo>
                      <a:pt x="46" y="88"/>
                    </a:lnTo>
                    <a:lnTo>
                      <a:pt x="46" y="90"/>
                    </a:lnTo>
                    <a:lnTo>
                      <a:pt x="48" y="91"/>
                    </a:lnTo>
                    <a:lnTo>
                      <a:pt x="48" y="90"/>
                    </a:lnTo>
                    <a:lnTo>
                      <a:pt x="46" y="90"/>
                    </a:lnTo>
                    <a:lnTo>
                      <a:pt x="48" y="90"/>
                    </a:lnTo>
                    <a:lnTo>
                      <a:pt x="48" y="91"/>
                    </a:lnTo>
                    <a:lnTo>
                      <a:pt x="49" y="93"/>
                    </a:lnTo>
                    <a:lnTo>
                      <a:pt x="51" y="95"/>
                    </a:lnTo>
                    <a:lnTo>
                      <a:pt x="51" y="97"/>
                    </a:lnTo>
                    <a:lnTo>
                      <a:pt x="53" y="98"/>
                    </a:lnTo>
                    <a:lnTo>
                      <a:pt x="51" y="98"/>
                    </a:lnTo>
                    <a:lnTo>
                      <a:pt x="51" y="100"/>
                    </a:lnTo>
                    <a:lnTo>
                      <a:pt x="53" y="100"/>
                    </a:lnTo>
                    <a:lnTo>
                      <a:pt x="51" y="102"/>
                    </a:lnTo>
                    <a:lnTo>
                      <a:pt x="53" y="102"/>
                    </a:lnTo>
                    <a:lnTo>
                      <a:pt x="53" y="103"/>
                    </a:lnTo>
                    <a:lnTo>
                      <a:pt x="53" y="105"/>
                    </a:lnTo>
                    <a:lnTo>
                      <a:pt x="51" y="105"/>
                    </a:lnTo>
                    <a:lnTo>
                      <a:pt x="49" y="105"/>
                    </a:lnTo>
                    <a:lnTo>
                      <a:pt x="48" y="105"/>
                    </a:lnTo>
                    <a:lnTo>
                      <a:pt x="48" y="107"/>
                    </a:lnTo>
                    <a:lnTo>
                      <a:pt x="48" y="105"/>
                    </a:lnTo>
                    <a:lnTo>
                      <a:pt x="48" y="107"/>
                    </a:lnTo>
                    <a:lnTo>
                      <a:pt x="48" y="108"/>
                    </a:lnTo>
                    <a:lnTo>
                      <a:pt x="46" y="108"/>
                    </a:lnTo>
                    <a:lnTo>
                      <a:pt x="46" y="110"/>
                    </a:lnTo>
                    <a:lnTo>
                      <a:pt x="44" y="110"/>
                    </a:lnTo>
                    <a:lnTo>
                      <a:pt x="44" y="108"/>
                    </a:lnTo>
                    <a:lnTo>
                      <a:pt x="44" y="110"/>
                    </a:lnTo>
                    <a:lnTo>
                      <a:pt x="42" y="110"/>
                    </a:lnTo>
                    <a:lnTo>
                      <a:pt x="42" y="112"/>
                    </a:lnTo>
                    <a:lnTo>
                      <a:pt x="44" y="112"/>
                    </a:lnTo>
                    <a:lnTo>
                      <a:pt x="42" y="112"/>
                    </a:lnTo>
                    <a:lnTo>
                      <a:pt x="42" y="114"/>
                    </a:lnTo>
                    <a:lnTo>
                      <a:pt x="44" y="114"/>
                    </a:lnTo>
                    <a:lnTo>
                      <a:pt x="44" y="112"/>
                    </a:lnTo>
                    <a:lnTo>
                      <a:pt x="46" y="112"/>
                    </a:lnTo>
                    <a:lnTo>
                      <a:pt x="44" y="114"/>
                    </a:lnTo>
                    <a:lnTo>
                      <a:pt x="46" y="114"/>
                    </a:lnTo>
                    <a:lnTo>
                      <a:pt x="44" y="114"/>
                    </a:lnTo>
                    <a:lnTo>
                      <a:pt x="42" y="114"/>
                    </a:lnTo>
                    <a:lnTo>
                      <a:pt x="42" y="112"/>
                    </a:lnTo>
                    <a:lnTo>
                      <a:pt x="41" y="112"/>
                    </a:lnTo>
                    <a:lnTo>
                      <a:pt x="41" y="110"/>
                    </a:lnTo>
                    <a:lnTo>
                      <a:pt x="41" y="108"/>
                    </a:lnTo>
                    <a:lnTo>
                      <a:pt x="39" y="108"/>
                    </a:lnTo>
                    <a:lnTo>
                      <a:pt x="41" y="107"/>
                    </a:lnTo>
                    <a:lnTo>
                      <a:pt x="39" y="108"/>
                    </a:lnTo>
                    <a:lnTo>
                      <a:pt x="39" y="107"/>
                    </a:lnTo>
                    <a:lnTo>
                      <a:pt x="39" y="108"/>
                    </a:lnTo>
                    <a:lnTo>
                      <a:pt x="37" y="107"/>
                    </a:lnTo>
                    <a:lnTo>
                      <a:pt x="37" y="105"/>
                    </a:lnTo>
                    <a:lnTo>
                      <a:pt x="39" y="103"/>
                    </a:lnTo>
                    <a:lnTo>
                      <a:pt x="37" y="103"/>
                    </a:lnTo>
                    <a:lnTo>
                      <a:pt x="37" y="105"/>
                    </a:lnTo>
                    <a:lnTo>
                      <a:pt x="36" y="105"/>
                    </a:lnTo>
                    <a:lnTo>
                      <a:pt x="34" y="105"/>
                    </a:lnTo>
                    <a:lnTo>
                      <a:pt x="34" y="103"/>
                    </a:lnTo>
                    <a:lnTo>
                      <a:pt x="32" y="103"/>
                    </a:lnTo>
                    <a:lnTo>
                      <a:pt x="31" y="102"/>
                    </a:lnTo>
                    <a:lnTo>
                      <a:pt x="31" y="100"/>
                    </a:lnTo>
                    <a:lnTo>
                      <a:pt x="31" y="102"/>
                    </a:lnTo>
                    <a:lnTo>
                      <a:pt x="29" y="100"/>
                    </a:lnTo>
                    <a:lnTo>
                      <a:pt x="27" y="100"/>
                    </a:lnTo>
                    <a:lnTo>
                      <a:pt x="29" y="98"/>
                    </a:lnTo>
                    <a:lnTo>
                      <a:pt x="31" y="98"/>
                    </a:lnTo>
                    <a:lnTo>
                      <a:pt x="31" y="97"/>
                    </a:lnTo>
                    <a:lnTo>
                      <a:pt x="31" y="95"/>
                    </a:lnTo>
                    <a:lnTo>
                      <a:pt x="31" y="97"/>
                    </a:lnTo>
                    <a:lnTo>
                      <a:pt x="32" y="97"/>
                    </a:lnTo>
                    <a:lnTo>
                      <a:pt x="31" y="97"/>
                    </a:lnTo>
                    <a:lnTo>
                      <a:pt x="31" y="95"/>
                    </a:lnTo>
                    <a:lnTo>
                      <a:pt x="32" y="97"/>
                    </a:lnTo>
                    <a:lnTo>
                      <a:pt x="32" y="95"/>
                    </a:lnTo>
                    <a:lnTo>
                      <a:pt x="32" y="93"/>
                    </a:lnTo>
                    <a:lnTo>
                      <a:pt x="34" y="93"/>
                    </a:lnTo>
                    <a:lnTo>
                      <a:pt x="34" y="91"/>
                    </a:lnTo>
                    <a:lnTo>
                      <a:pt x="34" y="90"/>
                    </a:lnTo>
                    <a:lnTo>
                      <a:pt x="36" y="90"/>
                    </a:lnTo>
                    <a:lnTo>
                      <a:pt x="36" y="88"/>
                    </a:lnTo>
                    <a:lnTo>
                      <a:pt x="37" y="88"/>
                    </a:lnTo>
                    <a:lnTo>
                      <a:pt x="37" y="86"/>
                    </a:lnTo>
                    <a:lnTo>
                      <a:pt x="37" y="85"/>
                    </a:lnTo>
                    <a:lnTo>
                      <a:pt x="37" y="83"/>
                    </a:lnTo>
                    <a:lnTo>
                      <a:pt x="37" y="81"/>
                    </a:lnTo>
                    <a:lnTo>
                      <a:pt x="37" y="80"/>
                    </a:lnTo>
                    <a:lnTo>
                      <a:pt x="36" y="80"/>
                    </a:lnTo>
                    <a:lnTo>
                      <a:pt x="36" y="78"/>
                    </a:lnTo>
                    <a:lnTo>
                      <a:pt x="36" y="76"/>
                    </a:lnTo>
                    <a:lnTo>
                      <a:pt x="37" y="76"/>
                    </a:lnTo>
                    <a:close/>
                    <a:moveTo>
                      <a:pt x="212" y="219"/>
                    </a:moveTo>
                    <a:lnTo>
                      <a:pt x="212" y="221"/>
                    </a:lnTo>
                    <a:lnTo>
                      <a:pt x="211" y="222"/>
                    </a:lnTo>
                    <a:lnTo>
                      <a:pt x="211" y="224"/>
                    </a:lnTo>
                    <a:lnTo>
                      <a:pt x="211" y="226"/>
                    </a:lnTo>
                    <a:lnTo>
                      <a:pt x="209" y="228"/>
                    </a:lnTo>
                    <a:lnTo>
                      <a:pt x="209" y="229"/>
                    </a:lnTo>
                    <a:lnTo>
                      <a:pt x="207" y="229"/>
                    </a:lnTo>
                    <a:lnTo>
                      <a:pt x="207" y="231"/>
                    </a:lnTo>
                    <a:lnTo>
                      <a:pt x="207" y="233"/>
                    </a:lnTo>
                    <a:lnTo>
                      <a:pt x="206" y="233"/>
                    </a:lnTo>
                    <a:lnTo>
                      <a:pt x="204" y="233"/>
                    </a:lnTo>
                    <a:lnTo>
                      <a:pt x="202" y="233"/>
                    </a:lnTo>
                    <a:lnTo>
                      <a:pt x="201" y="233"/>
                    </a:lnTo>
                    <a:lnTo>
                      <a:pt x="202" y="233"/>
                    </a:lnTo>
                    <a:lnTo>
                      <a:pt x="201" y="233"/>
                    </a:lnTo>
                    <a:lnTo>
                      <a:pt x="199" y="233"/>
                    </a:lnTo>
                    <a:lnTo>
                      <a:pt x="199" y="234"/>
                    </a:lnTo>
                    <a:lnTo>
                      <a:pt x="197" y="234"/>
                    </a:lnTo>
                    <a:lnTo>
                      <a:pt x="197" y="233"/>
                    </a:lnTo>
                    <a:lnTo>
                      <a:pt x="197" y="234"/>
                    </a:lnTo>
                    <a:lnTo>
                      <a:pt x="195" y="234"/>
                    </a:lnTo>
                    <a:lnTo>
                      <a:pt x="194" y="233"/>
                    </a:lnTo>
                    <a:lnTo>
                      <a:pt x="192" y="233"/>
                    </a:lnTo>
                    <a:lnTo>
                      <a:pt x="190" y="233"/>
                    </a:lnTo>
                    <a:lnTo>
                      <a:pt x="190" y="234"/>
                    </a:lnTo>
                    <a:lnTo>
                      <a:pt x="189" y="234"/>
                    </a:lnTo>
                    <a:lnTo>
                      <a:pt x="189" y="233"/>
                    </a:lnTo>
                    <a:lnTo>
                      <a:pt x="189" y="231"/>
                    </a:lnTo>
                    <a:lnTo>
                      <a:pt x="190" y="231"/>
                    </a:lnTo>
                    <a:lnTo>
                      <a:pt x="190" y="229"/>
                    </a:lnTo>
                    <a:lnTo>
                      <a:pt x="190" y="228"/>
                    </a:lnTo>
                    <a:lnTo>
                      <a:pt x="189" y="228"/>
                    </a:lnTo>
                    <a:lnTo>
                      <a:pt x="190" y="228"/>
                    </a:lnTo>
                    <a:lnTo>
                      <a:pt x="192" y="228"/>
                    </a:lnTo>
                    <a:lnTo>
                      <a:pt x="194" y="228"/>
                    </a:lnTo>
                    <a:lnTo>
                      <a:pt x="194" y="226"/>
                    </a:lnTo>
                    <a:lnTo>
                      <a:pt x="195" y="226"/>
                    </a:lnTo>
                    <a:lnTo>
                      <a:pt x="194" y="226"/>
                    </a:lnTo>
                    <a:lnTo>
                      <a:pt x="194" y="224"/>
                    </a:lnTo>
                    <a:lnTo>
                      <a:pt x="195" y="224"/>
                    </a:lnTo>
                    <a:lnTo>
                      <a:pt x="197" y="224"/>
                    </a:lnTo>
                    <a:lnTo>
                      <a:pt x="199" y="224"/>
                    </a:lnTo>
                    <a:lnTo>
                      <a:pt x="199" y="222"/>
                    </a:lnTo>
                    <a:lnTo>
                      <a:pt x="199" y="224"/>
                    </a:lnTo>
                    <a:lnTo>
                      <a:pt x="201" y="224"/>
                    </a:lnTo>
                    <a:lnTo>
                      <a:pt x="201" y="226"/>
                    </a:lnTo>
                    <a:lnTo>
                      <a:pt x="202" y="226"/>
                    </a:lnTo>
                    <a:lnTo>
                      <a:pt x="204" y="226"/>
                    </a:lnTo>
                    <a:lnTo>
                      <a:pt x="206" y="226"/>
                    </a:lnTo>
                    <a:lnTo>
                      <a:pt x="207" y="224"/>
                    </a:lnTo>
                    <a:lnTo>
                      <a:pt x="207" y="222"/>
                    </a:lnTo>
                    <a:lnTo>
                      <a:pt x="209" y="222"/>
                    </a:lnTo>
                    <a:lnTo>
                      <a:pt x="209" y="221"/>
                    </a:lnTo>
                    <a:lnTo>
                      <a:pt x="209" y="219"/>
                    </a:lnTo>
                    <a:lnTo>
                      <a:pt x="211" y="219"/>
                    </a:lnTo>
                    <a:lnTo>
                      <a:pt x="212" y="219"/>
                    </a:lnTo>
                    <a:close/>
                    <a:moveTo>
                      <a:pt x="58" y="13"/>
                    </a:moveTo>
                    <a:lnTo>
                      <a:pt x="59" y="13"/>
                    </a:lnTo>
                    <a:lnTo>
                      <a:pt x="59" y="15"/>
                    </a:lnTo>
                    <a:lnTo>
                      <a:pt x="61" y="15"/>
                    </a:lnTo>
                    <a:lnTo>
                      <a:pt x="61" y="17"/>
                    </a:lnTo>
                    <a:lnTo>
                      <a:pt x="63" y="17"/>
                    </a:lnTo>
                    <a:lnTo>
                      <a:pt x="63" y="18"/>
                    </a:lnTo>
                    <a:lnTo>
                      <a:pt x="65" y="18"/>
                    </a:lnTo>
                    <a:lnTo>
                      <a:pt x="65" y="20"/>
                    </a:lnTo>
                    <a:lnTo>
                      <a:pt x="66" y="20"/>
                    </a:lnTo>
                    <a:lnTo>
                      <a:pt x="66" y="22"/>
                    </a:lnTo>
                    <a:lnTo>
                      <a:pt x="68" y="22"/>
                    </a:lnTo>
                    <a:lnTo>
                      <a:pt x="66" y="22"/>
                    </a:lnTo>
                    <a:lnTo>
                      <a:pt x="66" y="20"/>
                    </a:lnTo>
                    <a:lnTo>
                      <a:pt x="66" y="22"/>
                    </a:lnTo>
                    <a:lnTo>
                      <a:pt x="68" y="23"/>
                    </a:lnTo>
                    <a:lnTo>
                      <a:pt x="66" y="22"/>
                    </a:lnTo>
                    <a:lnTo>
                      <a:pt x="68" y="23"/>
                    </a:lnTo>
                    <a:lnTo>
                      <a:pt x="70" y="25"/>
                    </a:lnTo>
                    <a:lnTo>
                      <a:pt x="70" y="23"/>
                    </a:lnTo>
                    <a:lnTo>
                      <a:pt x="70" y="25"/>
                    </a:lnTo>
                    <a:lnTo>
                      <a:pt x="71" y="25"/>
                    </a:lnTo>
                    <a:lnTo>
                      <a:pt x="71" y="23"/>
                    </a:lnTo>
                    <a:lnTo>
                      <a:pt x="71" y="25"/>
                    </a:lnTo>
                    <a:lnTo>
                      <a:pt x="73" y="25"/>
                    </a:lnTo>
                    <a:lnTo>
                      <a:pt x="75" y="27"/>
                    </a:lnTo>
                    <a:lnTo>
                      <a:pt x="76" y="27"/>
                    </a:lnTo>
                    <a:lnTo>
                      <a:pt x="75" y="27"/>
                    </a:lnTo>
                    <a:lnTo>
                      <a:pt x="75" y="29"/>
                    </a:lnTo>
                    <a:lnTo>
                      <a:pt x="76" y="29"/>
                    </a:lnTo>
                    <a:lnTo>
                      <a:pt x="75" y="29"/>
                    </a:lnTo>
                    <a:lnTo>
                      <a:pt x="75" y="30"/>
                    </a:lnTo>
                    <a:lnTo>
                      <a:pt x="75" y="32"/>
                    </a:lnTo>
                    <a:lnTo>
                      <a:pt x="75" y="30"/>
                    </a:lnTo>
                    <a:lnTo>
                      <a:pt x="76" y="32"/>
                    </a:lnTo>
                    <a:lnTo>
                      <a:pt x="75" y="32"/>
                    </a:lnTo>
                    <a:lnTo>
                      <a:pt x="76" y="32"/>
                    </a:lnTo>
                    <a:lnTo>
                      <a:pt x="76" y="34"/>
                    </a:lnTo>
                    <a:lnTo>
                      <a:pt x="76" y="32"/>
                    </a:lnTo>
                    <a:lnTo>
                      <a:pt x="76" y="34"/>
                    </a:lnTo>
                    <a:lnTo>
                      <a:pt x="76" y="35"/>
                    </a:lnTo>
                    <a:lnTo>
                      <a:pt x="76" y="37"/>
                    </a:lnTo>
                    <a:lnTo>
                      <a:pt x="75" y="37"/>
                    </a:lnTo>
                    <a:lnTo>
                      <a:pt x="75" y="35"/>
                    </a:lnTo>
                    <a:lnTo>
                      <a:pt x="76" y="35"/>
                    </a:lnTo>
                    <a:lnTo>
                      <a:pt x="75" y="35"/>
                    </a:lnTo>
                    <a:lnTo>
                      <a:pt x="73" y="35"/>
                    </a:lnTo>
                    <a:lnTo>
                      <a:pt x="73" y="37"/>
                    </a:lnTo>
                    <a:lnTo>
                      <a:pt x="71" y="37"/>
                    </a:lnTo>
                    <a:lnTo>
                      <a:pt x="71" y="39"/>
                    </a:lnTo>
                    <a:lnTo>
                      <a:pt x="71" y="40"/>
                    </a:lnTo>
                    <a:lnTo>
                      <a:pt x="71" y="42"/>
                    </a:lnTo>
                    <a:lnTo>
                      <a:pt x="71" y="44"/>
                    </a:lnTo>
                    <a:lnTo>
                      <a:pt x="70" y="44"/>
                    </a:lnTo>
                    <a:lnTo>
                      <a:pt x="70" y="46"/>
                    </a:lnTo>
                    <a:lnTo>
                      <a:pt x="71" y="47"/>
                    </a:lnTo>
                    <a:lnTo>
                      <a:pt x="71" y="49"/>
                    </a:lnTo>
                    <a:lnTo>
                      <a:pt x="71" y="51"/>
                    </a:lnTo>
                    <a:lnTo>
                      <a:pt x="71" y="52"/>
                    </a:lnTo>
                    <a:lnTo>
                      <a:pt x="70" y="52"/>
                    </a:lnTo>
                    <a:lnTo>
                      <a:pt x="68" y="51"/>
                    </a:lnTo>
                    <a:lnTo>
                      <a:pt x="68" y="49"/>
                    </a:lnTo>
                    <a:lnTo>
                      <a:pt x="68" y="47"/>
                    </a:lnTo>
                    <a:lnTo>
                      <a:pt x="66" y="47"/>
                    </a:lnTo>
                    <a:lnTo>
                      <a:pt x="65" y="47"/>
                    </a:lnTo>
                    <a:lnTo>
                      <a:pt x="63" y="47"/>
                    </a:lnTo>
                    <a:lnTo>
                      <a:pt x="63" y="46"/>
                    </a:lnTo>
                    <a:lnTo>
                      <a:pt x="63" y="47"/>
                    </a:lnTo>
                    <a:lnTo>
                      <a:pt x="65" y="47"/>
                    </a:lnTo>
                    <a:lnTo>
                      <a:pt x="65" y="46"/>
                    </a:lnTo>
                    <a:lnTo>
                      <a:pt x="66" y="46"/>
                    </a:lnTo>
                    <a:lnTo>
                      <a:pt x="66" y="44"/>
                    </a:lnTo>
                    <a:lnTo>
                      <a:pt x="68" y="44"/>
                    </a:lnTo>
                    <a:lnTo>
                      <a:pt x="66" y="44"/>
                    </a:lnTo>
                    <a:lnTo>
                      <a:pt x="68" y="44"/>
                    </a:lnTo>
                    <a:lnTo>
                      <a:pt x="68" y="42"/>
                    </a:lnTo>
                    <a:lnTo>
                      <a:pt x="70" y="42"/>
                    </a:lnTo>
                    <a:lnTo>
                      <a:pt x="70" y="40"/>
                    </a:lnTo>
                    <a:lnTo>
                      <a:pt x="70" y="39"/>
                    </a:lnTo>
                    <a:lnTo>
                      <a:pt x="68" y="39"/>
                    </a:lnTo>
                    <a:lnTo>
                      <a:pt x="70" y="40"/>
                    </a:lnTo>
                    <a:lnTo>
                      <a:pt x="68" y="39"/>
                    </a:lnTo>
                    <a:lnTo>
                      <a:pt x="70" y="39"/>
                    </a:lnTo>
                    <a:lnTo>
                      <a:pt x="70" y="37"/>
                    </a:lnTo>
                    <a:lnTo>
                      <a:pt x="70" y="35"/>
                    </a:lnTo>
                    <a:lnTo>
                      <a:pt x="68" y="35"/>
                    </a:lnTo>
                    <a:lnTo>
                      <a:pt x="70" y="35"/>
                    </a:lnTo>
                    <a:lnTo>
                      <a:pt x="70" y="34"/>
                    </a:lnTo>
                    <a:lnTo>
                      <a:pt x="71" y="34"/>
                    </a:lnTo>
                    <a:lnTo>
                      <a:pt x="70" y="34"/>
                    </a:lnTo>
                    <a:lnTo>
                      <a:pt x="71" y="34"/>
                    </a:lnTo>
                    <a:lnTo>
                      <a:pt x="70" y="34"/>
                    </a:lnTo>
                    <a:lnTo>
                      <a:pt x="70" y="32"/>
                    </a:lnTo>
                    <a:lnTo>
                      <a:pt x="70" y="34"/>
                    </a:lnTo>
                    <a:lnTo>
                      <a:pt x="70" y="32"/>
                    </a:lnTo>
                    <a:lnTo>
                      <a:pt x="70" y="30"/>
                    </a:lnTo>
                    <a:lnTo>
                      <a:pt x="70" y="32"/>
                    </a:lnTo>
                    <a:lnTo>
                      <a:pt x="71" y="30"/>
                    </a:lnTo>
                    <a:lnTo>
                      <a:pt x="70" y="30"/>
                    </a:lnTo>
                    <a:lnTo>
                      <a:pt x="71" y="29"/>
                    </a:lnTo>
                    <a:lnTo>
                      <a:pt x="70" y="29"/>
                    </a:lnTo>
                    <a:lnTo>
                      <a:pt x="70" y="27"/>
                    </a:lnTo>
                    <a:lnTo>
                      <a:pt x="71" y="27"/>
                    </a:lnTo>
                    <a:lnTo>
                      <a:pt x="71" y="29"/>
                    </a:lnTo>
                    <a:lnTo>
                      <a:pt x="73" y="29"/>
                    </a:lnTo>
                    <a:lnTo>
                      <a:pt x="73" y="27"/>
                    </a:lnTo>
                    <a:lnTo>
                      <a:pt x="73" y="25"/>
                    </a:lnTo>
                    <a:lnTo>
                      <a:pt x="71" y="25"/>
                    </a:lnTo>
                    <a:lnTo>
                      <a:pt x="70" y="25"/>
                    </a:lnTo>
                    <a:lnTo>
                      <a:pt x="68" y="25"/>
                    </a:lnTo>
                    <a:lnTo>
                      <a:pt x="70" y="25"/>
                    </a:lnTo>
                    <a:lnTo>
                      <a:pt x="68" y="25"/>
                    </a:lnTo>
                    <a:lnTo>
                      <a:pt x="66" y="25"/>
                    </a:lnTo>
                    <a:lnTo>
                      <a:pt x="66" y="23"/>
                    </a:lnTo>
                    <a:lnTo>
                      <a:pt x="66" y="25"/>
                    </a:lnTo>
                    <a:lnTo>
                      <a:pt x="66" y="23"/>
                    </a:lnTo>
                    <a:lnTo>
                      <a:pt x="65" y="23"/>
                    </a:lnTo>
                    <a:lnTo>
                      <a:pt x="66" y="23"/>
                    </a:lnTo>
                    <a:lnTo>
                      <a:pt x="66" y="22"/>
                    </a:lnTo>
                    <a:lnTo>
                      <a:pt x="65" y="22"/>
                    </a:lnTo>
                    <a:lnTo>
                      <a:pt x="66" y="22"/>
                    </a:lnTo>
                    <a:lnTo>
                      <a:pt x="65" y="22"/>
                    </a:lnTo>
                    <a:lnTo>
                      <a:pt x="66" y="22"/>
                    </a:lnTo>
                    <a:lnTo>
                      <a:pt x="65" y="22"/>
                    </a:lnTo>
                    <a:lnTo>
                      <a:pt x="65" y="20"/>
                    </a:lnTo>
                    <a:lnTo>
                      <a:pt x="65" y="22"/>
                    </a:lnTo>
                    <a:lnTo>
                      <a:pt x="63" y="22"/>
                    </a:lnTo>
                    <a:lnTo>
                      <a:pt x="63" y="20"/>
                    </a:lnTo>
                    <a:lnTo>
                      <a:pt x="61" y="20"/>
                    </a:lnTo>
                    <a:lnTo>
                      <a:pt x="61" y="18"/>
                    </a:lnTo>
                    <a:lnTo>
                      <a:pt x="61" y="17"/>
                    </a:lnTo>
                    <a:lnTo>
                      <a:pt x="61" y="15"/>
                    </a:lnTo>
                    <a:lnTo>
                      <a:pt x="59" y="15"/>
                    </a:lnTo>
                    <a:lnTo>
                      <a:pt x="59" y="13"/>
                    </a:lnTo>
                    <a:lnTo>
                      <a:pt x="58" y="13"/>
                    </a:lnTo>
                    <a:lnTo>
                      <a:pt x="59" y="13"/>
                    </a:lnTo>
                    <a:lnTo>
                      <a:pt x="58" y="13"/>
                    </a:lnTo>
                    <a:lnTo>
                      <a:pt x="58" y="15"/>
                    </a:lnTo>
                    <a:lnTo>
                      <a:pt x="56" y="15"/>
                    </a:lnTo>
                    <a:lnTo>
                      <a:pt x="54" y="15"/>
                    </a:lnTo>
                    <a:lnTo>
                      <a:pt x="54" y="13"/>
                    </a:lnTo>
                    <a:lnTo>
                      <a:pt x="53" y="13"/>
                    </a:lnTo>
                    <a:lnTo>
                      <a:pt x="51" y="13"/>
                    </a:lnTo>
                    <a:lnTo>
                      <a:pt x="53" y="13"/>
                    </a:lnTo>
                    <a:lnTo>
                      <a:pt x="51" y="13"/>
                    </a:lnTo>
                    <a:lnTo>
                      <a:pt x="49" y="13"/>
                    </a:lnTo>
                    <a:lnTo>
                      <a:pt x="48" y="13"/>
                    </a:lnTo>
                    <a:lnTo>
                      <a:pt x="46" y="13"/>
                    </a:lnTo>
                    <a:lnTo>
                      <a:pt x="44" y="13"/>
                    </a:lnTo>
                    <a:lnTo>
                      <a:pt x="46" y="13"/>
                    </a:lnTo>
                    <a:lnTo>
                      <a:pt x="48" y="13"/>
                    </a:lnTo>
                    <a:lnTo>
                      <a:pt x="49" y="13"/>
                    </a:lnTo>
                    <a:lnTo>
                      <a:pt x="51" y="12"/>
                    </a:lnTo>
                    <a:lnTo>
                      <a:pt x="51" y="13"/>
                    </a:lnTo>
                    <a:lnTo>
                      <a:pt x="53" y="13"/>
                    </a:lnTo>
                    <a:lnTo>
                      <a:pt x="54" y="13"/>
                    </a:lnTo>
                    <a:lnTo>
                      <a:pt x="56" y="13"/>
                    </a:lnTo>
                    <a:lnTo>
                      <a:pt x="58" y="13"/>
                    </a:lnTo>
                    <a:lnTo>
                      <a:pt x="58" y="12"/>
                    </a:lnTo>
                    <a:lnTo>
                      <a:pt x="58" y="13"/>
                    </a:lnTo>
                    <a:close/>
                    <a:moveTo>
                      <a:pt x="24" y="17"/>
                    </a:moveTo>
                    <a:lnTo>
                      <a:pt x="25" y="17"/>
                    </a:lnTo>
                    <a:lnTo>
                      <a:pt x="24" y="18"/>
                    </a:lnTo>
                    <a:lnTo>
                      <a:pt x="25" y="18"/>
                    </a:lnTo>
                    <a:lnTo>
                      <a:pt x="24" y="18"/>
                    </a:lnTo>
                    <a:lnTo>
                      <a:pt x="25" y="20"/>
                    </a:lnTo>
                    <a:lnTo>
                      <a:pt x="24" y="20"/>
                    </a:lnTo>
                    <a:lnTo>
                      <a:pt x="25" y="20"/>
                    </a:lnTo>
                    <a:lnTo>
                      <a:pt x="27" y="20"/>
                    </a:lnTo>
                    <a:lnTo>
                      <a:pt x="29" y="20"/>
                    </a:lnTo>
                    <a:lnTo>
                      <a:pt x="31" y="22"/>
                    </a:lnTo>
                    <a:lnTo>
                      <a:pt x="31" y="20"/>
                    </a:lnTo>
                    <a:lnTo>
                      <a:pt x="31" y="22"/>
                    </a:lnTo>
                    <a:lnTo>
                      <a:pt x="32" y="22"/>
                    </a:lnTo>
                    <a:lnTo>
                      <a:pt x="34" y="22"/>
                    </a:lnTo>
                    <a:lnTo>
                      <a:pt x="34" y="20"/>
                    </a:lnTo>
                    <a:lnTo>
                      <a:pt x="36" y="20"/>
                    </a:lnTo>
                    <a:lnTo>
                      <a:pt x="37" y="22"/>
                    </a:lnTo>
                    <a:lnTo>
                      <a:pt x="36" y="20"/>
                    </a:lnTo>
                    <a:lnTo>
                      <a:pt x="37" y="20"/>
                    </a:lnTo>
                    <a:lnTo>
                      <a:pt x="39" y="20"/>
                    </a:lnTo>
                    <a:lnTo>
                      <a:pt x="39" y="22"/>
                    </a:lnTo>
                    <a:lnTo>
                      <a:pt x="39" y="20"/>
                    </a:lnTo>
                    <a:lnTo>
                      <a:pt x="41" y="20"/>
                    </a:lnTo>
                    <a:lnTo>
                      <a:pt x="42" y="20"/>
                    </a:lnTo>
                    <a:lnTo>
                      <a:pt x="44" y="20"/>
                    </a:lnTo>
                    <a:lnTo>
                      <a:pt x="46" y="20"/>
                    </a:lnTo>
                    <a:lnTo>
                      <a:pt x="46" y="18"/>
                    </a:lnTo>
                    <a:lnTo>
                      <a:pt x="46" y="20"/>
                    </a:lnTo>
                    <a:lnTo>
                      <a:pt x="46" y="22"/>
                    </a:lnTo>
                    <a:lnTo>
                      <a:pt x="48" y="22"/>
                    </a:lnTo>
                    <a:lnTo>
                      <a:pt x="48" y="23"/>
                    </a:lnTo>
                    <a:lnTo>
                      <a:pt x="46" y="23"/>
                    </a:lnTo>
                    <a:lnTo>
                      <a:pt x="48" y="23"/>
                    </a:lnTo>
                    <a:lnTo>
                      <a:pt x="48" y="22"/>
                    </a:lnTo>
                    <a:lnTo>
                      <a:pt x="48" y="23"/>
                    </a:lnTo>
                    <a:lnTo>
                      <a:pt x="46" y="23"/>
                    </a:lnTo>
                    <a:lnTo>
                      <a:pt x="48" y="22"/>
                    </a:lnTo>
                    <a:lnTo>
                      <a:pt x="46" y="22"/>
                    </a:lnTo>
                    <a:lnTo>
                      <a:pt x="46" y="23"/>
                    </a:lnTo>
                    <a:lnTo>
                      <a:pt x="44" y="22"/>
                    </a:lnTo>
                    <a:lnTo>
                      <a:pt x="42" y="22"/>
                    </a:lnTo>
                    <a:lnTo>
                      <a:pt x="41" y="22"/>
                    </a:lnTo>
                    <a:lnTo>
                      <a:pt x="41" y="23"/>
                    </a:lnTo>
                    <a:lnTo>
                      <a:pt x="39" y="23"/>
                    </a:lnTo>
                    <a:lnTo>
                      <a:pt x="37" y="23"/>
                    </a:lnTo>
                    <a:lnTo>
                      <a:pt x="36" y="23"/>
                    </a:lnTo>
                    <a:lnTo>
                      <a:pt x="34" y="23"/>
                    </a:lnTo>
                    <a:lnTo>
                      <a:pt x="32" y="23"/>
                    </a:lnTo>
                    <a:lnTo>
                      <a:pt x="31" y="23"/>
                    </a:lnTo>
                    <a:lnTo>
                      <a:pt x="29" y="25"/>
                    </a:lnTo>
                    <a:lnTo>
                      <a:pt x="27" y="25"/>
                    </a:lnTo>
                    <a:lnTo>
                      <a:pt x="25" y="25"/>
                    </a:lnTo>
                    <a:lnTo>
                      <a:pt x="24" y="27"/>
                    </a:lnTo>
                    <a:lnTo>
                      <a:pt x="22" y="27"/>
                    </a:lnTo>
                    <a:lnTo>
                      <a:pt x="20" y="29"/>
                    </a:lnTo>
                    <a:lnTo>
                      <a:pt x="19" y="29"/>
                    </a:lnTo>
                    <a:lnTo>
                      <a:pt x="17" y="29"/>
                    </a:lnTo>
                    <a:lnTo>
                      <a:pt x="17" y="27"/>
                    </a:lnTo>
                    <a:lnTo>
                      <a:pt x="19" y="27"/>
                    </a:lnTo>
                    <a:lnTo>
                      <a:pt x="17" y="27"/>
                    </a:lnTo>
                    <a:lnTo>
                      <a:pt x="15" y="27"/>
                    </a:lnTo>
                    <a:lnTo>
                      <a:pt x="14" y="25"/>
                    </a:lnTo>
                    <a:lnTo>
                      <a:pt x="14" y="23"/>
                    </a:lnTo>
                    <a:lnTo>
                      <a:pt x="12" y="23"/>
                    </a:lnTo>
                    <a:lnTo>
                      <a:pt x="12" y="22"/>
                    </a:lnTo>
                    <a:lnTo>
                      <a:pt x="10" y="22"/>
                    </a:lnTo>
                    <a:lnTo>
                      <a:pt x="10" y="20"/>
                    </a:lnTo>
                    <a:lnTo>
                      <a:pt x="10" y="22"/>
                    </a:lnTo>
                    <a:lnTo>
                      <a:pt x="12" y="22"/>
                    </a:lnTo>
                    <a:lnTo>
                      <a:pt x="14" y="22"/>
                    </a:lnTo>
                    <a:lnTo>
                      <a:pt x="14" y="23"/>
                    </a:lnTo>
                    <a:lnTo>
                      <a:pt x="15" y="23"/>
                    </a:lnTo>
                    <a:lnTo>
                      <a:pt x="15" y="25"/>
                    </a:lnTo>
                    <a:lnTo>
                      <a:pt x="17" y="27"/>
                    </a:lnTo>
                    <a:lnTo>
                      <a:pt x="15" y="25"/>
                    </a:lnTo>
                    <a:lnTo>
                      <a:pt x="17" y="25"/>
                    </a:lnTo>
                    <a:lnTo>
                      <a:pt x="19" y="25"/>
                    </a:lnTo>
                    <a:lnTo>
                      <a:pt x="17" y="25"/>
                    </a:lnTo>
                    <a:lnTo>
                      <a:pt x="19" y="25"/>
                    </a:lnTo>
                    <a:lnTo>
                      <a:pt x="19" y="27"/>
                    </a:lnTo>
                    <a:lnTo>
                      <a:pt x="17" y="27"/>
                    </a:lnTo>
                    <a:lnTo>
                      <a:pt x="17" y="25"/>
                    </a:lnTo>
                    <a:lnTo>
                      <a:pt x="17" y="27"/>
                    </a:lnTo>
                    <a:lnTo>
                      <a:pt x="19" y="27"/>
                    </a:lnTo>
                    <a:lnTo>
                      <a:pt x="19" y="25"/>
                    </a:lnTo>
                    <a:lnTo>
                      <a:pt x="20" y="25"/>
                    </a:lnTo>
                    <a:lnTo>
                      <a:pt x="20" y="23"/>
                    </a:lnTo>
                    <a:lnTo>
                      <a:pt x="22" y="23"/>
                    </a:lnTo>
                    <a:lnTo>
                      <a:pt x="22" y="25"/>
                    </a:lnTo>
                    <a:lnTo>
                      <a:pt x="22" y="23"/>
                    </a:lnTo>
                    <a:lnTo>
                      <a:pt x="22" y="22"/>
                    </a:lnTo>
                    <a:lnTo>
                      <a:pt x="24" y="22"/>
                    </a:lnTo>
                    <a:lnTo>
                      <a:pt x="24" y="20"/>
                    </a:lnTo>
                    <a:lnTo>
                      <a:pt x="22" y="20"/>
                    </a:lnTo>
                    <a:lnTo>
                      <a:pt x="24" y="20"/>
                    </a:lnTo>
                    <a:lnTo>
                      <a:pt x="24" y="18"/>
                    </a:lnTo>
                    <a:lnTo>
                      <a:pt x="24" y="17"/>
                    </a:lnTo>
                    <a:close/>
                    <a:moveTo>
                      <a:pt x="58" y="114"/>
                    </a:moveTo>
                    <a:lnTo>
                      <a:pt x="58" y="115"/>
                    </a:lnTo>
                    <a:lnTo>
                      <a:pt x="58" y="117"/>
                    </a:lnTo>
                    <a:lnTo>
                      <a:pt x="58" y="119"/>
                    </a:lnTo>
                    <a:lnTo>
                      <a:pt x="59" y="119"/>
                    </a:lnTo>
                    <a:lnTo>
                      <a:pt x="59" y="120"/>
                    </a:lnTo>
                    <a:lnTo>
                      <a:pt x="59" y="122"/>
                    </a:lnTo>
                    <a:lnTo>
                      <a:pt x="59" y="124"/>
                    </a:lnTo>
                    <a:lnTo>
                      <a:pt x="59" y="125"/>
                    </a:lnTo>
                    <a:lnTo>
                      <a:pt x="59" y="127"/>
                    </a:lnTo>
                    <a:lnTo>
                      <a:pt x="59" y="129"/>
                    </a:lnTo>
                    <a:lnTo>
                      <a:pt x="59" y="131"/>
                    </a:lnTo>
                    <a:lnTo>
                      <a:pt x="58" y="131"/>
                    </a:lnTo>
                    <a:lnTo>
                      <a:pt x="58" y="132"/>
                    </a:lnTo>
                    <a:lnTo>
                      <a:pt x="56" y="132"/>
                    </a:lnTo>
                    <a:lnTo>
                      <a:pt x="56" y="131"/>
                    </a:lnTo>
                    <a:lnTo>
                      <a:pt x="56" y="132"/>
                    </a:lnTo>
                    <a:lnTo>
                      <a:pt x="56" y="131"/>
                    </a:lnTo>
                    <a:lnTo>
                      <a:pt x="58" y="131"/>
                    </a:lnTo>
                    <a:lnTo>
                      <a:pt x="56" y="131"/>
                    </a:lnTo>
                    <a:lnTo>
                      <a:pt x="54" y="131"/>
                    </a:lnTo>
                    <a:lnTo>
                      <a:pt x="56" y="132"/>
                    </a:lnTo>
                    <a:lnTo>
                      <a:pt x="56" y="131"/>
                    </a:lnTo>
                    <a:lnTo>
                      <a:pt x="56" y="132"/>
                    </a:lnTo>
                    <a:lnTo>
                      <a:pt x="54" y="132"/>
                    </a:lnTo>
                    <a:lnTo>
                      <a:pt x="54" y="131"/>
                    </a:lnTo>
                    <a:lnTo>
                      <a:pt x="54" y="132"/>
                    </a:lnTo>
                    <a:lnTo>
                      <a:pt x="54" y="131"/>
                    </a:lnTo>
                    <a:lnTo>
                      <a:pt x="53" y="131"/>
                    </a:lnTo>
                    <a:lnTo>
                      <a:pt x="51" y="131"/>
                    </a:lnTo>
                    <a:lnTo>
                      <a:pt x="53" y="131"/>
                    </a:lnTo>
                    <a:lnTo>
                      <a:pt x="53" y="129"/>
                    </a:lnTo>
                    <a:lnTo>
                      <a:pt x="53" y="131"/>
                    </a:lnTo>
                    <a:lnTo>
                      <a:pt x="53" y="129"/>
                    </a:lnTo>
                    <a:lnTo>
                      <a:pt x="51" y="129"/>
                    </a:lnTo>
                    <a:lnTo>
                      <a:pt x="53" y="129"/>
                    </a:lnTo>
                    <a:lnTo>
                      <a:pt x="53" y="127"/>
                    </a:lnTo>
                    <a:lnTo>
                      <a:pt x="53" y="129"/>
                    </a:lnTo>
                    <a:lnTo>
                      <a:pt x="54" y="127"/>
                    </a:lnTo>
                    <a:lnTo>
                      <a:pt x="54" y="129"/>
                    </a:lnTo>
                    <a:lnTo>
                      <a:pt x="54" y="127"/>
                    </a:lnTo>
                    <a:lnTo>
                      <a:pt x="53" y="127"/>
                    </a:lnTo>
                    <a:lnTo>
                      <a:pt x="54" y="127"/>
                    </a:lnTo>
                    <a:lnTo>
                      <a:pt x="53" y="127"/>
                    </a:lnTo>
                    <a:lnTo>
                      <a:pt x="51" y="127"/>
                    </a:lnTo>
                    <a:lnTo>
                      <a:pt x="49" y="127"/>
                    </a:lnTo>
                    <a:lnTo>
                      <a:pt x="51" y="127"/>
                    </a:lnTo>
                    <a:lnTo>
                      <a:pt x="49" y="127"/>
                    </a:lnTo>
                    <a:lnTo>
                      <a:pt x="51" y="127"/>
                    </a:lnTo>
                    <a:lnTo>
                      <a:pt x="49" y="127"/>
                    </a:lnTo>
                    <a:lnTo>
                      <a:pt x="49" y="125"/>
                    </a:lnTo>
                    <a:lnTo>
                      <a:pt x="49" y="127"/>
                    </a:lnTo>
                    <a:lnTo>
                      <a:pt x="51" y="125"/>
                    </a:lnTo>
                    <a:lnTo>
                      <a:pt x="51" y="127"/>
                    </a:lnTo>
                    <a:lnTo>
                      <a:pt x="53" y="127"/>
                    </a:lnTo>
                    <a:lnTo>
                      <a:pt x="51" y="127"/>
                    </a:lnTo>
                    <a:lnTo>
                      <a:pt x="51" y="125"/>
                    </a:lnTo>
                    <a:lnTo>
                      <a:pt x="51" y="124"/>
                    </a:lnTo>
                    <a:lnTo>
                      <a:pt x="53" y="124"/>
                    </a:lnTo>
                    <a:lnTo>
                      <a:pt x="51" y="124"/>
                    </a:lnTo>
                    <a:lnTo>
                      <a:pt x="51" y="125"/>
                    </a:lnTo>
                    <a:lnTo>
                      <a:pt x="51" y="124"/>
                    </a:lnTo>
                    <a:lnTo>
                      <a:pt x="49" y="125"/>
                    </a:lnTo>
                    <a:lnTo>
                      <a:pt x="49" y="124"/>
                    </a:lnTo>
                    <a:lnTo>
                      <a:pt x="51" y="124"/>
                    </a:lnTo>
                    <a:lnTo>
                      <a:pt x="51" y="122"/>
                    </a:lnTo>
                    <a:lnTo>
                      <a:pt x="51" y="124"/>
                    </a:lnTo>
                    <a:lnTo>
                      <a:pt x="49" y="124"/>
                    </a:lnTo>
                    <a:lnTo>
                      <a:pt x="49" y="122"/>
                    </a:lnTo>
                    <a:lnTo>
                      <a:pt x="51" y="122"/>
                    </a:lnTo>
                    <a:lnTo>
                      <a:pt x="51" y="120"/>
                    </a:lnTo>
                    <a:lnTo>
                      <a:pt x="53" y="120"/>
                    </a:lnTo>
                    <a:lnTo>
                      <a:pt x="53" y="119"/>
                    </a:lnTo>
                    <a:lnTo>
                      <a:pt x="54" y="119"/>
                    </a:lnTo>
                    <a:lnTo>
                      <a:pt x="54" y="117"/>
                    </a:lnTo>
                    <a:lnTo>
                      <a:pt x="56" y="115"/>
                    </a:lnTo>
                    <a:lnTo>
                      <a:pt x="56" y="114"/>
                    </a:lnTo>
                    <a:lnTo>
                      <a:pt x="58" y="114"/>
                    </a:lnTo>
                    <a:close/>
                    <a:moveTo>
                      <a:pt x="54" y="110"/>
                    </a:moveTo>
                    <a:lnTo>
                      <a:pt x="54" y="112"/>
                    </a:lnTo>
                    <a:lnTo>
                      <a:pt x="56" y="112"/>
                    </a:lnTo>
                    <a:lnTo>
                      <a:pt x="56" y="114"/>
                    </a:lnTo>
                    <a:lnTo>
                      <a:pt x="54" y="114"/>
                    </a:lnTo>
                    <a:lnTo>
                      <a:pt x="53" y="115"/>
                    </a:lnTo>
                    <a:lnTo>
                      <a:pt x="51" y="115"/>
                    </a:lnTo>
                    <a:lnTo>
                      <a:pt x="53" y="115"/>
                    </a:lnTo>
                    <a:lnTo>
                      <a:pt x="53" y="117"/>
                    </a:lnTo>
                    <a:lnTo>
                      <a:pt x="51" y="115"/>
                    </a:lnTo>
                    <a:lnTo>
                      <a:pt x="51" y="117"/>
                    </a:lnTo>
                    <a:lnTo>
                      <a:pt x="51" y="115"/>
                    </a:lnTo>
                    <a:lnTo>
                      <a:pt x="49" y="117"/>
                    </a:lnTo>
                    <a:lnTo>
                      <a:pt x="51" y="117"/>
                    </a:lnTo>
                    <a:lnTo>
                      <a:pt x="53" y="117"/>
                    </a:lnTo>
                    <a:lnTo>
                      <a:pt x="53" y="115"/>
                    </a:lnTo>
                    <a:lnTo>
                      <a:pt x="54" y="115"/>
                    </a:lnTo>
                    <a:lnTo>
                      <a:pt x="54" y="117"/>
                    </a:lnTo>
                    <a:lnTo>
                      <a:pt x="53" y="117"/>
                    </a:lnTo>
                    <a:lnTo>
                      <a:pt x="54" y="117"/>
                    </a:lnTo>
                    <a:lnTo>
                      <a:pt x="53" y="117"/>
                    </a:lnTo>
                    <a:lnTo>
                      <a:pt x="53" y="119"/>
                    </a:lnTo>
                    <a:lnTo>
                      <a:pt x="53" y="120"/>
                    </a:lnTo>
                    <a:lnTo>
                      <a:pt x="51" y="119"/>
                    </a:lnTo>
                    <a:lnTo>
                      <a:pt x="51" y="120"/>
                    </a:lnTo>
                    <a:lnTo>
                      <a:pt x="49" y="120"/>
                    </a:lnTo>
                    <a:lnTo>
                      <a:pt x="51" y="120"/>
                    </a:lnTo>
                    <a:lnTo>
                      <a:pt x="49" y="120"/>
                    </a:lnTo>
                    <a:lnTo>
                      <a:pt x="51" y="120"/>
                    </a:lnTo>
                    <a:lnTo>
                      <a:pt x="49" y="122"/>
                    </a:lnTo>
                    <a:lnTo>
                      <a:pt x="49" y="120"/>
                    </a:lnTo>
                    <a:lnTo>
                      <a:pt x="48" y="120"/>
                    </a:lnTo>
                    <a:lnTo>
                      <a:pt x="48" y="119"/>
                    </a:lnTo>
                    <a:lnTo>
                      <a:pt x="46" y="119"/>
                    </a:lnTo>
                    <a:lnTo>
                      <a:pt x="48" y="119"/>
                    </a:lnTo>
                    <a:lnTo>
                      <a:pt x="48" y="117"/>
                    </a:lnTo>
                    <a:lnTo>
                      <a:pt x="46" y="117"/>
                    </a:lnTo>
                    <a:lnTo>
                      <a:pt x="48" y="117"/>
                    </a:lnTo>
                    <a:lnTo>
                      <a:pt x="48" y="115"/>
                    </a:lnTo>
                    <a:lnTo>
                      <a:pt x="49" y="115"/>
                    </a:lnTo>
                    <a:lnTo>
                      <a:pt x="49" y="114"/>
                    </a:lnTo>
                    <a:lnTo>
                      <a:pt x="49" y="112"/>
                    </a:lnTo>
                    <a:lnTo>
                      <a:pt x="51" y="112"/>
                    </a:lnTo>
                    <a:lnTo>
                      <a:pt x="53" y="112"/>
                    </a:lnTo>
                    <a:lnTo>
                      <a:pt x="53" y="110"/>
                    </a:lnTo>
                    <a:lnTo>
                      <a:pt x="54" y="110"/>
                    </a:lnTo>
                    <a:close/>
                    <a:moveTo>
                      <a:pt x="87" y="64"/>
                    </a:moveTo>
                    <a:lnTo>
                      <a:pt x="88" y="64"/>
                    </a:lnTo>
                    <a:lnTo>
                      <a:pt x="87" y="64"/>
                    </a:lnTo>
                    <a:lnTo>
                      <a:pt x="87" y="66"/>
                    </a:lnTo>
                    <a:lnTo>
                      <a:pt x="88" y="66"/>
                    </a:lnTo>
                    <a:lnTo>
                      <a:pt x="88" y="68"/>
                    </a:lnTo>
                    <a:lnTo>
                      <a:pt x="90" y="68"/>
                    </a:lnTo>
                    <a:lnTo>
                      <a:pt x="90" y="66"/>
                    </a:lnTo>
                    <a:lnTo>
                      <a:pt x="90" y="68"/>
                    </a:lnTo>
                    <a:lnTo>
                      <a:pt x="92" y="69"/>
                    </a:lnTo>
                    <a:lnTo>
                      <a:pt x="93" y="69"/>
                    </a:lnTo>
                    <a:lnTo>
                      <a:pt x="93" y="71"/>
                    </a:lnTo>
                    <a:lnTo>
                      <a:pt x="95" y="71"/>
                    </a:lnTo>
                    <a:lnTo>
                      <a:pt x="97" y="71"/>
                    </a:lnTo>
                    <a:lnTo>
                      <a:pt x="99" y="71"/>
                    </a:lnTo>
                    <a:lnTo>
                      <a:pt x="99" y="73"/>
                    </a:lnTo>
                    <a:lnTo>
                      <a:pt x="100" y="73"/>
                    </a:lnTo>
                    <a:lnTo>
                      <a:pt x="100" y="74"/>
                    </a:lnTo>
                    <a:lnTo>
                      <a:pt x="102" y="74"/>
                    </a:lnTo>
                    <a:lnTo>
                      <a:pt x="102" y="76"/>
                    </a:lnTo>
                    <a:lnTo>
                      <a:pt x="104" y="76"/>
                    </a:lnTo>
                    <a:lnTo>
                      <a:pt x="104" y="78"/>
                    </a:lnTo>
                    <a:lnTo>
                      <a:pt x="105" y="78"/>
                    </a:lnTo>
                    <a:lnTo>
                      <a:pt x="107" y="80"/>
                    </a:lnTo>
                    <a:lnTo>
                      <a:pt x="107" y="81"/>
                    </a:lnTo>
                    <a:lnTo>
                      <a:pt x="107" y="83"/>
                    </a:lnTo>
                    <a:lnTo>
                      <a:pt x="107" y="85"/>
                    </a:lnTo>
                    <a:lnTo>
                      <a:pt x="105" y="85"/>
                    </a:lnTo>
                    <a:lnTo>
                      <a:pt x="105" y="86"/>
                    </a:lnTo>
                    <a:lnTo>
                      <a:pt x="105" y="88"/>
                    </a:lnTo>
                    <a:lnTo>
                      <a:pt x="105" y="90"/>
                    </a:lnTo>
                    <a:lnTo>
                      <a:pt x="105" y="91"/>
                    </a:lnTo>
                    <a:lnTo>
                      <a:pt x="105" y="93"/>
                    </a:lnTo>
                    <a:lnTo>
                      <a:pt x="104" y="93"/>
                    </a:lnTo>
                    <a:lnTo>
                      <a:pt x="104" y="95"/>
                    </a:lnTo>
                    <a:lnTo>
                      <a:pt x="105" y="95"/>
                    </a:lnTo>
                    <a:lnTo>
                      <a:pt x="105" y="97"/>
                    </a:lnTo>
                    <a:lnTo>
                      <a:pt x="105" y="98"/>
                    </a:lnTo>
                    <a:lnTo>
                      <a:pt x="104" y="97"/>
                    </a:lnTo>
                    <a:lnTo>
                      <a:pt x="104" y="95"/>
                    </a:lnTo>
                    <a:lnTo>
                      <a:pt x="102" y="93"/>
                    </a:lnTo>
                    <a:lnTo>
                      <a:pt x="100" y="93"/>
                    </a:lnTo>
                    <a:lnTo>
                      <a:pt x="102" y="93"/>
                    </a:lnTo>
                    <a:lnTo>
                      <a:pt x="100" y="93"/>
                    </a:lnTo>
                    <a:lnTo>
                      <a:pt x="99" y="91"/>
                    </a:lnTo>
                    <a:lnTo>
                      <a:pt x="99" y="90"/>
                    </a:lnTo>
                    <a:lnTo>
                      <a:pt x="100" y="91"/>
                    </a:lnTo>
                    <a:lnTo>
                      <a:pt x="102" y="91"/>
                    </a:lnTo>
                    <a:lnTo>
                      <a:pt x="102" y="93"/>
                    </a:lnTo>
                    <a:lnTo>
                      <a:pt x="104" y="93"/>
                    </a:lnTo>
                    <a:lnTo>
                      <a:pt x="104" y="91"/>
                    </a:lnTo>
                    <a:lnTo>
                      <a:pt x="105" y="91"/>
                    </a:lnTo>
                    <a:lnTo>
                      <a:pt x="105" y="90"/>
                    </a:lnTo>
                    <a:lnTo>
                      <a:pt x="105" y="88"/>
                    </a:lnTo>
                    <a:lnTo>
                      <a:pt x="104" y="88"/>
                    </a:lnTo>
                    <a:lnTo>
                      <a:pt x="104" y="90"/>
                    </a:lnTo>
                    <a:lnTo>
                      <a:pt x="104" y="88"/>
                    </a:lnTo>
                    <a:lnTo>
                      <a:pt x="104" y="86"/>
                    </a:lnTo>
                    <a:lnTo>
                      <a:pt x="104" y="85"/>
                    </a:lnTo>
                    <a:lnTo>
                      <a:pt x="105" y="85"/>
                    </a:lnTo>
                    <a:lnTo>
                      <a:pt x="105" y="83"/>
                    </a:lnTo>
                    <a:lnTo>
                      <a:pt x="105" y="81"/>
                    </a:lnTo>
                    <a:lnTo>
                      <a:pt x="105" y="80"/>
                    </a:lnTo>
                    <a:lnTo>
                      <a:pt x="104" y="78"/>
                    </a:lnTo>
                    <a:lnTo>
                      <a:pt x="102" y="78"/>
                    </a:lnTo>
                    <a:lnTo>
                      <a:pt x="102" y="76"/>
                    </a:lnTo>
                    <a:lnTo>
                      <a:pt x="100" y="76"/>
                    </a:lnTo>
                    <a:lnTo>
                      <a:pt x="100" y="74"/>
                    </a:lnTo>
                    <a:lnTo>
                      <a:pt x="99" y="74"/>
                    </a:lnTo>
                    <a:lnTo>
                      <a:pt x="99" y="73"/>
                    </a:lnTo>
                    <a:lnTo>
                      <a:pt x="97" y="73"/>
                    </a:lnTo>
                    <a:lnTo>
                      <a:pt x="97" y="71"/>
                    </a:lnTo>
                    <a:lnTo>
                      <a:pt x="95" y="71"/>
                    </a:lnTo>
                    <a:lnTo>
                      <a:pt x="93" y="71"/>
                    </a:lnTo>
                    <a:lnTo>
                      <a:pt x="92" y="71"/>
                    </a:lnTo>
                    <a:lnTo>
                      <a:pt x="92" y="69"/>
                    </a:lnTo>
                    <a:lnTo>
                      <a:pt x="90" y="69"/>
                    </a:lnTo>
                    <a:lnTo>
                      <a:pt x="90" y="68"/>
                    </a:lnTo>
                    <a:lnTo>
                      <a:pt x="88" y="68"/>
                    </a:lnTo>
                    <a:lnTo>
                      <a:pt x="87" y="68"/>
                    </a:lnTo>
                    <a:lnTo>
                      <a:pt x="85" y="68"/>
                    </a:lnTo>
                    <a:lnTo>
                      <a:pt x="85" y="69"/>
                    </a:lnTo>
                    <a:lnTo>
                      <a:pt x="83" y="69"/>
                    </a:lnTo>
                    <a:lnTo>
                      <a:pt x="85" y="69"/>
                    </a:lnTo>
                    <a:lnTo>
                      <a:pt x="85" y="68"/>
                    </a:lnTo>
                    <a:lnTo>
                      <a:pt x="85" y="66"/>
                    </a:lnTo>
                    <a:lnTo>
                      <a:pt x="87" y="66"/>
                    </a:lnTo>
                    <a:lnTo>
                      <a:pt x="87" y="64"/>
                    </a:lnTo>
                    <a:lnTo>
                      <a:pt x="85" y="64"/>
                    </a:lnTo>
                    <a:lnTo>
                      <a:pt x="87" y="64"/>
                    </a:lnTo>
                    <a:lnTo>
                      <a:pt x="87" y="63"/>
                    </a:lnTo>
                    <a:lnTo>
                      <a:pt x="87" y="64"/>
                    </a:lnTo>
                    <a:close/>
                    <a:moveTo>
                      <a:pt x="134" y="134"/>
                    </a:moveTo>
                    <a:lnTo>
                      <a:pt x="136" y="136"/>
                    </a:lnTo>
                    <a:lnTo>
                      <a:pt x="136" y="137"/>
                    </a:lnTo>
                    <a:lnTo>
                      <a:pt x="138" y="137"/>
                    </a:lnTo>
                    <a:lnTo>
                      <a:pt x="138" y="139"/>
                    </a:lnTo>
                    <a:lnTo>
                      <a:pt x="138" y="141"/>
                    </a:lnTo>
                    <a:lnTo>
                      <a:pt x="138" y="142"/>
                    </a:lnTo>
                    <a:lnTo>
                      <a:pt x="139" y="142"/>
                    </a:lnTo>
                    <a:lnTo>
                      <a:pt x="139" y="144"/>
                    </a:lnTo>
                    <a:lnTo>
                      <a:pt x="141" y="146"/>
                    </a:lnTo>
                    <a:lnTo>
                      <a:pt x="141" y="148"/>
                    </a:lnTo>
                    <a:lnTo>
                      <a:pt x="141" y="149"/>
                    </a:lnTo>
                    <a:lnTo>
                      <a:pt x="141" y="151"/>
                    </a:lnTo>
                    <a:lnTo>
                      <a:pt x="143" y="153"/>
                    </a:lnTo>
                    <a:lnTo>
                      <a:pt x="143" y="154"/>
                    </a:lnTo>
                    <a:lnTo>
                      <a:pt x="144" y="154"/>
                    </a:lnTo>
                    <a:lnTo>
                      <a:pt x="146" y="154"/>
                    </a:lnTo>
                    <a:lnTo>
                      <a:pt x="148" y="156"/>
                    </a:lnTo>
                    <a:lnTo>
                      <a:pt x="148" y="158"/>
                    </a:lnTo>
                    <a:lnTo>
                      <a:pt x="150" y="158"/>
                    </a:lnTo>
                    <a:lnTo>
                      <a:pt x="150" y="160"/>
                    </a:lnTo>
                    <a:lnTo>
                      <a:pt x="150" y="161"/>
                    </a:lnTo>
                    <a:lnTo>
                      <a:pt x="150" y="163"/>
                    </a:lnTo>
                    <a:lnTo>
                      <a:pt x="150" y="165"/>
                    </a:lnTo>
                    <a:lnTo>
                      <a:pt x="150" y="163"/>
                    </a:lnTo>
                    <a:lnTo>
                      <a:pt x="148" y="163"/>
                    </a:lnTo>
                    <a:lnTo>
                      <a:pt x="148" y="161"/>
                    </a:lnTo>
                    <a:lnTo>
                      <a:pt x="148" y="160"/>
                    </a:lnTo>
                    <a:lnTo>
                      <a:pt x="146" y="158"/>
                    </a:lnTo>
                    <a:lnTo>
                      <a:pt x="146" y="156"/>
                    </a:lnTo>
                    <a:lnTo>
                      <a:pt x="144" y="156"/>
                    </a:lnTo>
                    <a:lnTo>
                      <a:pt x="143" y="156"/>
                    </a:lnTo>
                    <a:lnTo>
                      <a:pt x="141" y="154"/>
                    </a:lnTo>
                    <a:lnTo>
                      <a:pt x="139" y="154"/>
                    </a:lnTo>
                    <a:lnTo>
                      <a:pt x="139" y="153"/>
                    </a:lnTo>
                    <a:lnTo>
                      <a:pt x="138" y="153"/>
                    </a:lnTo>
                    <a:lnTo>
                      <a:pt x="136" y="153"/>
                    </a:lnTo>
                    <a:lnTo>
                      <a:pt x="138" y="153"/>
                    </a:lnTo>
                    <a:lnTo>
                      <a:pt x="139" y="153"/>
                    </a:lnTo>
                    <a:lnTo>
                      <a:pt x="139" y="154"/>
                    </a:lnTo>
                    <a:lnTo>
                      <a:pt x="141" y="154"/>
                    </a:lnTo>
                    <a:lnTo>
                      <a:pt x="143" y="154"/>
                    </a:lnTo>
                    <a:lnTo>
                      <a:pt x="143" y="156"/>
                    </a:lnTo>
                    <a:lnTo>
                      <a:pt x="143" y="154"/>
                    </a:lnTo>
                    <a:lnTo>
                      <a:pt x="143" y="153"/>
                    </a:lnTo>
                    <a:lnTo>
                      <a:pt x="141" y="153"/>
                    </a:lnTo>
                    <a:lnTo>
                      <a:pt x="139" y="151"/>
                    </a:lnTo>
                    <a:lnTo>
                      <a:pt x="141" y="151"/>
                    </a:lnTo>
                    <a:lnTo>
                      <a:pt x="139" y="149"/>
                    </a:lnTo>
                    <a:lnTo>
                      <a:pt x="141" y="149"/>
                    </a:lnTo>
                    <a:lnTo>
                      <a:pt x="141" y="148"/>
                    </a:lnTo>
                    <a:lnTo>
                      <a:pt x="139" y="148"/>
                    </a:lnTo>
                    <a:lnTo>
                      <a:pt x="141" y="146"/>
                    </a:lnTo>
                    <a:lnTo>
                      <a:pt x="139" y="144"/>
                    </a:lnTo>
                    <a:lnTo>
                      <a:pt x="139" y="146"/>
                    </a:lnTo>
                    <a:lnTo>
                      <a:pt x="139" y="144"/>
                    </a:lnTo>
                    <a:lnTo>
                      <a:pt x="138" y="144"/>
                    </a:lnTo>
                    <a:lnTo>
                      <a:pt x="138" y="142"/>
                    </a:lnTo>
                    <a:lnTo>
                      <a:pt x="136" y="142"/>
                    </a:lnTo>
                    <a:lnTo>
                      <a:pt x="138" y="141"/>
                    </a:lnTo>
                    <a:lnTo>
                      <a:pt x="136" y="141"/>
                    </a:lnTo>
                    <a:lnTo>
                      <a:pt x="136" y="139"/>
                    </a:lnTo>
                    <a:lnTo>
                      <a:pt x="136" y="137"/>
                    </a:lnTo>
                    <a:lnTo>
                      <a:pt x="134" y="137"/>
                    </a:lnTo>
                    <a:lnTo>
                      <a:pt x="136" y="137"/>
                    </a:lnTo>
                    <a:lnTo>
                      <a:pt x="134" y="137"/>
                    </a:lnTo>
                    <a:lnTo>
                      <a:pt x="134" y="136"/>
                    </a:lnTo>
                    <a:lnTo>
                      <a:pt x="133" y="136"/>
                    </a:lnTo>
                    <a:lnTo>
                      <a:pt x="134" y="134"/>
                    </a:lnTo>
                    <a:lnTo>
                      <a:pt x="133" y="136"/>
                    </a:lnTo>
                    <a:lnTo>
                      <a:pt x="133" y="134"/>
                    </a:lnTo>
                    <a:lnTo>
                      <a:pt x="133" y="132"/>
                    </a:lnTo>
                    <a:lnTo>
                      <a:pt x="134" y="134"/>
                    </a:lnTo>
                    <a:close/>
                    <a:moveTo>
                      <a:pt x="184" y="168"/>
                    </a:moveTo>
                    <a:lnTo>
                      <a:pt x="184" y="170"/>
                    </a:lnTo>
                    <a:lnTo>
                      <a:pt x="184" y="168"/>
                    </a:lnTo>
                    <a:lnTo>
                      <a:pt x="182" y="170"/>
                    </a:lnTo>
                    <a:lnTo>
                      <a:pt x="182" y="171"/>
                    </a:lnTo>
                    <a:lnTo>
                      <a:pt x="184" y="173"/>
                    </a:lnTo>
                    <a:lnTo>
                      <a:pt x="184" y="175"/>
                    </a:lnTo>
                    <a:lnTo>
                      <a:pt x="184" y="177"/>
                    </a:lnTo>
                    <a:lnTo>
                      <a:pt x="182" y="177"/>
                    </a:lnTo>
                    <a:lnTo>
                      <a:pt x="182" y="178"/>
                    </a:lnTo>
                    <a:lnTo>
                      <a:pt x="180" y="178"/>
                    </a:lnTo>
                    <a:lnTo>
                      <a:pt x="180" y="180"/>
                    </a:lnTo>
                    <a:lnTo>
                      <a:pt x="180" y="182"/>
                    </a:lnTo>
                    <a:lnTo>
                      <a:pt x="178" y="182"/>
                    </a:lnTo>
                    <a:lnTo>
                      <a:pt x="178" y="183"/>
                    </a:lnTo>
                    <a:lnTo>
                      <a:pt x="177" y="183"/>
                    </a:lnTo>
                    <a:lnTo>
                      <a:pt x="175" y="183"/>
                    </a:lnTo>
                    <a:lnTo>
                      <a:pt x="175" y="185"/>
                    </a:lnTo>
                    <a:lnTo>
                      <a:pt x="173" y="185"/>
                    </a:lnTo>
                    <a:lnTo>
                      <a:pt x="173" y="187"/>
                    </a:lnTo>
                    <a:lnTo>
                      <a:pt x="172" y="187"/>
                    </a:lnTo>
                    <a:lnTo>
                      <a:pt x="170" y="188"/>
                    </a:lnTo>
                    <a:lnTo>
                      <a:pt x="170" y="187"/>
                    </a:lnTo>
                    <a:lnTo>
                      <a:pt x="170" y="188"/>
                    </a:lnTo>
                    <a:lnTo>
                      <a:pt x="168" y="188"/>
                    </a:lnTo>
                    <a:lnTo>
                      <a:pt x="168" y="187"/>
                    </a:lnTo>
                    <a:lnTo>
                      <a:pt x="170" y="187"/>
                    </a:lnTo>
                    <a:lnTo>
                      <a:pt x="172" y="187"/>
                    </a:lnTo>
                    <a:lnTo>
                      <a:pt x="172" y="185"/>
                    </a:lnTo>
                    <a:lnTo>
                      <a:pt x="172" y="183"/>
                    </a:lnTo>
                    <a:lnTo>
                      <a:pt x="172" y="185"/>
                    </a:lnTo>
                    <a:lnTo>
                      <a:pt x="172" y="183"/>
                    </a:lnTo>
                    <a:lnTo>
                      <a:pt x="172" y="185"/>
                    </a:lnTo>
                    <a:lnTo>
                      <a:pt x="172" y="183"/>
                    </a:lnTo>
                    <a:lnTo>
                      <a:pt x="173" y="183"/>
                    </a:lnTo>
                    <a:lnTo>
                      <a:pt x="175" y="183"/>
                    </a:lnTo>
                    <a:lnTo>
                      <a:pt x="175" y="182"/>
                    </a:lnTo>
                    <a:lnTo>
                      <a:pt x="175" y="180"/>
                    </a:lnTo>
                    <a:lnTo>
                      <a:pt x="177" y="180"/>
                    </a:lnTo>
                    <a:lnTo>
                      <a:pt x="178" y="180"/>
                    </a:lnTo>
                    <a:lnTo>
                      <a:pt x="178" y="178"/>
                    </a:lnTo>
                    <a:lnTo>
                      <a:pt x="180" y="178"/>
                    </a:lnTo>
                    <a:lnTo>
                      <a:pt x="182" y="178"/>
                    </a:lnTo>
                    <a:lnTo>
                      <a:pt x="182" y="177"/>
                    </a:lnTo>
                    <a:lnTo>
                      <a:pt x="182" y="175"/>
                    </a:lnTo>
                    <a:lnTo>
                      <a:pt x="182" y="173"/>
                    </a:lnTo>
                    <a:lnTo>
                      <a:pt x="180" y="173"/>
                    </a:lnTo>
                    <a:lnTo>
                      <a:pt x="178" y="173"/>
                    </a:lnTo>
                    <a:lnTo>
                      <a:pt x="178" y="171"/>
                    </a:lnTo>
                    <a:lnTo>
                      <a:pt x="178" y="170"/>
                    </a:lnTo>
                    <a:lnTo>
                      <a:pt x="177" y="170"/>
                    </a:lnTo>
                    <a:lnTo>
                      <a:pt x="178" y="170"/>
                    </a:lnTo>
                    <a:lnTo>
                      <a:pt x="180" y="170"/>
                    </a:lnTo>
                    <a:lnTo>
                      <a:pt x="180" y="168"/>
                    </a:lnTo>
                    <a:lnTo>
                      <a:pt x="180" y="170"/>
                    </a:lnTo>
                    <a:lnTo>
                      <a:pt x="182" y="168"/>
                    </a:lnTo>
                    <a:lnTo>
                      <a:pt x="184" y="168"/>
                    </a:lnTo>
                    <a:close/>
                    <a:moveTo>
                      <a:pt x="121" y="97"/>
                    </a:moveTo>
                    <a:lnTo>
                      <a:pt x="122" y="97"/>
                    </a:lnTo>
                    <a:lnTo>
                      <a:pt x="122" y="98"/>
                    </a:lnTo>
                    <a:lnTo>
                      <a:pt x="124" y="98"/>
                    </a:lnTo>
                    <a:lnTo>
                      <a:pt x="124" y="100"/>
                    </a:lnTo>
                    <a:lnTo>
                      <a:pt x="124" y="102"/>
                    </a:lnTo>
                    <a:lnTo>
                      <a:pt x="126" y="102"/>
                    </a:lnTo>
                    <a:lnTo>
                      <a:pt x="126" y="103"/>
                    </a:lnTo>
                    <a:lnTo>
                      <a:pt x="126" y="105"/>
                    </a:lnTo>
                    <a:lnTo>
                      <a:pt x="127" y="105"/>
                    </a:lnTo>
                    <a:lnTo>
                      <a:pt x="127" y="107"/>
                    </a:lnTo>
                    <a:lnTo>
                      <a:pt x="129" y="108"/>
                    </a:lnTo>
                    <a:lnTo>
                      <a:pt x="131" y="108"/>
                    </a:lnTo>
                    <a:lnTo>
                      <a:pt x="131" y="110"/>
                    </a:lnTo>
                    <a:lnTo>
                      <a:pt x="133" y="112"/>
                    </a:lnTo>
                    <a:lnTo>
                      <a:pt x="133" y="114"/>
                    </a:lnTo>
                    <a:lnTo>
                      <a:pt x="134" y="114"/>
                    </a:lnTo>
                    <a:lnTo>
                      <a:pt x="134" y="115"/>
                    </a:lnTo>
                    <a:lnTo>
                      <a:pt x="134" y="117"/>
                    </a:lnTo>
                    <a:lnTo>
                      <a:pt x="134" y="115"/>
                    </a:lnTo>
                    <a:lnTo>
                      <a:pt x="133" y="115"/>
                    </a:lnTo>
                    <a:lnTo>
                      <a:pt x="131" y="115"/>
                    </a:lnTo>
                    <a:lnTo>
                      <a:pt x="131" y="117"/>
                    </a:lnTo>
                    <a:lnTo>
                      <a:pt x="131" y="115"/>
                    </a:lnTo>
                    <a:lnTo>
                      <a:pt x="129" y="117"/>
                    </a:lnTo>
                    <a:lnTo>
                      <a:pt x="127" y="117"/>
                    </a:lnTo>
                    <a:lnTo>
                      <a:pt x="126" y="115"/>
                    </a:lnTo>
                    <a:lnTo>
                      <a:pt x="127" y="115"/>
                    </a:lnTo>
                    <a:lnTo>
                      <a:pt x="129" y="115"/>
                    </a:lnTo>
                    <a:lnTo>
                      <a:pt x="129" y="114"/>
                    </a:lnTo>
                    <a:lnTo>
                      <a:pt x="131" y="114"/>
                    </a:lnTo>
                    <a:lnTo>
                      <a:pt x="131" y="112"/>
                    </a:lnTo>
                    <a:lnTo>
                      <a:pt x="131" y="114"/>
                    </a:lnTo>
                    <a:lnTo>
                      <a:pt x="131" y="112"/>
                    </a:lnTo>
                    <a:lnTo>
                      <a:pt x="131" y="110"/>
                    </a:lnTo>
                    <a:lnTo>
                      <a:pt x="129" y="110"/>
                    </a:lnTo>
                    <a:lnTo>
                      <a:pt x="129" y="108"/>
                    </a:lnTo>
                    <a:lnTo>
                      <a:pt x="127" y="108"/>
                    </a:lnTo>
                    <a:lnTo>
                      <a:pt x="127" y="107"/>
                    </a:lnTo>
                    <a:lnTo>
                      <a:pt x="126" y="107"/>
                    </a:lnTo>
                    <a:lnTo>
                      <a:pt x="126" y="105"/>
                    </a:lnTo>
                    <a:lnTo>
                      <a:pt x="126" y="103"/>
                    </a:lnTo>
                    <a:lnTo>
                      <a:pt x="124" y="102"/>
                    </a:lnTo>
                    <a:lnTo>
                      <a:pt x="122" y="102"/>
                    </a:lnTo>
                    <a:lnTo>
                      <a:pt x="122" y="100"/>
                    </a:lnTo>
                    <a:lnTo>
                      <a:pt x="122" y="98"/>
                    </a:lnTo>
                    <a:lnTo>
                      <a:pt x="121" y="98"/>
                    </a:lnTo>
                    <a:lnTo>
                      <a:pt x="119" y="98"/>
                    </a:lnTo>
                    <a:lnTo>
                      <a:pt x="119" y="97"/>
                    </a:lnTo>
                    <a:lnTo>
                      <a:pt x="121" y="97"/>
                    </a:lnTo>
                    <a:lnTo>
                      <a:pt x="121" y="95"/>
                    </a:lnTo>
                    <a:lnTo>
                      <a:pt x="121" y="97"/>
                    </a:lnTo>
                    <a:close/>
                    <a:moveTo>
                      <a:pt x="209" y="180"/>
                    </a:moveTo>
                    <a:lnTo>
                      <a:pt x="209" y="178"/>
                    </a:lnTo>
                    <a:lnTo>
                      <a:pt x="211" y="178"/>
                    </a:lnTo>
                    <a:lnTo>
                      <a:pt x="211" y="180"/>
                    </a:lnTo>
                    <a:lnTo>
                      <a:pt x="212" y="180"/>
                    </a:lnTo>
                    <a:lnTo>
                      <a:pt x="214" y="180"/>
                    </a:lnTo>
                    <a:lnTo>
                      <a:pt x="216" y="180"/>
                    </a:lnTo>
                    <a:lnTo>
                      <a:pt x="218" y="180"/>
                    </a:lnTo>
                    <a:lnTo>
                      <a:pt x="218" y="182"/>
                    </a:lnTo>
                    <a:lnTo>
                      <a:pt x="219" y="182"/>
                    </a:lnTo>
                    <a:lnTo>
                      <a:pt x="221" y="182"/>
                    </a:lnTo>
                    <a:lnTo>
                      <a:pt x="221" y="183"/>
                    </a:lnTo>
                    <a:lnTo>
                      <a:pt x="219" y="183"/>
                    </a:lnTo>
                    <a:lnTo>
                      <a:pt x="219" y="185"/>
                    </a:lnTo>
                    <a:lnTo>
                      <a:pt x="219" y="183"/>
                    </a:lnTo>
                    <a:lnTo>
                      <a:pt x="218" y="183"/>
                    </a:lnTo>
                    <a:lnTo>
                      <a:pt x="218" y="182"/>
                    </a:lnTo>
                    <a:lnTo>
                      <a:pt x="216" y="182"/>
                    </a:lnTo>
                    <a:lnTo>
                      <a:pt x="214" y="182"/>
                    </a:lnTo>
                    <a:lnTo>
                      <a:pt x="212" y="182"/>
                    </a:lnTo>
                    <a:lnTo>
                      <a:pt x="211" y="182"/>
                    </a:lnTo>
                    <a:lnTo>
                      <a:pt x="211" y="183"/>
                    </a:lnTo>
                    <a:lnTo>
                      <a:pt x="209" y="183"/>
                    </a:lnTo>
                    <a:lnTo>
                      <a:pt x="209" y="182"/>
                    </a:lnTo>
                    <a:lnTo>
                      <a:pt x="207" y="182"/>
                    </a:lnTo>
                    <a:lnTo>
                      <a:pt x="206" y="182"/>
                    </a:lnTo>
                    <a:lnTo>
                      <a:pt x="207" y="182"/>
                    </a:lnTo>
                    <a:lnTo>
                      <a:pt x="207" y="180"/>
                    </a:lnTo>
                    <a:lnTo>
                      <a:pt x="207" y="178"/>
                    </a:lnTo>
                    <a:lnTo>
                      <a:pt x="209" y="180"/>
                    </a:lnTo>
                    <a:close/>
                    <a:moveTo>
                      <a:pt x="168" y="165"/>
                    </a:moveTo>
                    <a:lnTo>
                      <a:pt x="170" y="165"/>
                    </a:lnTo>
                    <a:lnTo>
                      <a:pt x="170" y="166"/>
                    </a:lnTo>
                    <a:lnTo>
                      <a:pt x="172" y="166"/>
                    </a:lnTo>
                    <a:lnTo>
                      <a:pt x="172" y="168"/>
                    </a:lnTo>
                    <a:lnTo>
                      <a:pt x="173" y="168"/>
                    </a:lnTo>
                    <a:lnTo>
                      <a:pt x="175" y="168"/>
                    </a:lnTo>
                    <a:lnTo>
                      <a:pt x="177" y="168"/>
                    </a:lnTo>
                    <a:lnTo>
                      <a:pt x="178" y="168"/>
                    </a:lnTo>
                    <a:lnTo>
                      <a:pt x="177" y="168"/>
                    </a:lnTo>
                    <a:lnTo>
                      <a:pt x="177" y="170"/>
                    </a:lnTo>
                    <a:lnTo>
                      <a:pt x="175" y="170"/>
                    </a:lnTo>
                    <a:lnTo>
                      <a:pt x="175" y="171"/>
                    </a:lnTo>
                    <a:lnTo>
                      <a:pt x="175" y="170"/>
                    </a:lnTo>
                    <a:lnTo>
                      <a:pt x="173" y="170"/>
                    </a:lnTo>
                    <a:lnTo>
                      <a:pt x="172" y="170"/>
                    </a:lnTo>
                    <a:lnTo>
                      <a:pt x="170" y="170"/>
                    </a:lnTo>
                    <a:lnTo>
                      <a:pt x="170" y="168"/>
                    </a:lnTo>
                    <a:lnTo>
                      <a:pt x="170" y="170"/>
                    </a:lnTo>
                    <a:lnTo>
                      <a:pt x="168" y="170"/>
                    </a:lnTo>
                    <a:lnTo>
                      <a:pt x="168" y="168"/>
                    </a:lnTo>
                    <a:lnTo>
                      <a:pt x="168" y="166"/>
                    </a:lnTo>
                    <a:lnTo>
                      <a:pt x="167" y="166"/>
                    </a:lnTo>
                    <a:lnTo>
                      <a:pt x="167" y="165"/>
                    </a:lnTo>
                    <a:lnTo>
                      <a:pt x="168" y="165"/>
                    </a:lnTo>
                    <a:close/>
                    <a:moveTo>
                      <a:pt x="66" y="81"/>
                    </a:moveTo>
                    <a:lnTo>
                      <a:pt x="68" y="83"/>
                    </a:lnTo>
                    <a:lnTo>
                      <a:pt x="66" y="85"/>
                    </a:lnTo>
                    <a:lnTo>
                      <a:pt x="65" y="85"/>
                    </a:lnTo>
                    <a:lnTo>
                      <a:pt x="63" y="85"/>
                    </a:lnTo>
                    <a:lnTo>
                      <a:pt x="61" y="85"/>
                    </a:lnTo>
                    <a:lnTo>
                      <a:pt x="59" y="85"/>
                    </a:lnTo>
                    <a:lnTo>
                      <a:pt x="58" y="85"/>
                    </a:lnTo>
                    <a:lnTo>
                      <a:pt x="59" y="83"/>
                    </a:lnTo>
                    <a:lnTo>
                      <a:pt x="58" y="83"/>
                    </a:lnTo>
                    <a:lnTo>
                      <a:pt x="59" y="83"/>
                    </a:lnTo>
                    <a:lnTo>
                      <a:pt x="59" y="81"/>
                    </a:lnTo>
                    <a:lnTo>
                      <a:pt x="61" y="81"/>
                    </a:lnTo>
                    <a:lnTo>
                      <a:pt x="63" y="81"/>
                    </a:lnTo>
                    <a:lnTo>
                      <a:pt x="65" y="81"/>
                    </a:lnTo>
                    <a:lnTo>
                      <a:pt x="66" y="81"/>
                    </a:lnTo>
                    <a:close/>
                    <a:moveTo>
                      <a:pt x="163" y="117"/>
                    </a:moveTo>
                    <a:lnTo>
                      <a:pt x="163" y="119"/>
                    </a:lnTo>
                    <a:lnTo>
                      <a:pt x="163" y="120"/>
                    </a:lnTo>
                    <a:lnTo>
                      <a:pt x="163" y="122"/>
                    </a:lnTo>
                    <a:lnTo>
                      <a:pt x="161" y="122"/>
                    </a:lnTo>
                    <a:lnTo>
                      <a:pt x="161" y="124"/>
                    </a:lnTo>
                    <a:lnTo>
                      <a:pt x="160" y="124"/>
                    </a:lnTo>
                    <a:lnTo>
                      <a:pt x="160" y="122"/>
                    </a:lnTo>
                    <a:lnTo>
                      <a:pt x="160" y="120"/>
                    </a:lnTo>
                    <a:lnTo>
                      <a:pt x="160" y="119"/>
                    </a:lnTo>
                    <a:lnTo>
                      <a:pt x="161" y="117"/>
                    </a:lnTo>
                    <a:lnTo>
                      <a:pt x="163" y="117"/>
                    </a:lnTo>
                    <a:close/>
                    <a:moveTo>
                      <a:pt x="110" y="134"/>
                    </a:moveTo>
                    <a:lnTo>
                      <a:pt x="112" y="134"/>
                    </a:lnTo>
                    <a:lnTo>
                      <a:pt x="112" y="136"/>
                    </a:lnTo>
                    <a:lnTo>
                      <a:pt x="114" y="136"/>
                    </a:lnTo>
                    <a:lnTo>
                      <a:pt x="116" y="137"/>
                    </a:lnTo>
                    <a:lnTo>
                      <a:pt x="116" y="139"/>
                    </a:lnTo>
                    <a:lnTo>
                      <a:pt x="117" y="139"/>
                    </a:lnTo>
                    <a:lnTo>
                      <a:pt x="119" y="139"/>
                    </a:lnTo>
                    <a:lnTo>
                      <a:pt x="119" y="141"/>
                    </a:lnTo>
                    <a:lnTo>
                      <a:pt x="121" y="141"/>
                    </a:lnTo>
                    <a:lnTo>
                      <a:pt x="121" y="142"/>
                    </a:lnTo>
                    <a:lnTo>
                      <a:pt x="122" y="142"/>
                    </a:lnTo>
                    <a:lnTo>
                      <a:pt x="121" y="142"/>
                    </a:lnTo>
                    <a:lnTo>
                      <a:pt x="121" y="141"/>
                    </a:lnTo>
                    <a:lnTo>
                      <a:pt x="121" y="142"/>
                    </a:lnTo>
                    <a:lnTo>
                      <a:pt x="121" y="141"/>
                    </a:lnTo>
                    <a:lnTo>
                      <a:pt x="119" y="141"/>
                    </a:lnTo>
                    <a:lnTo>
                      <a:pt x="117" y="141"/>
                    </a:lnTo>
                    <a:lnTo>
                      <a:pt x="117" y="139"/>
                    </a:lnTo>
                    <a:lnTo>
                      <a:pt x="116" y="139"/>
                    </a:lnTo>
                    <a:lnTo>
                      <a:pt x="116" y="137"/>
                    </a:lnTo>
                    <a:lnTo>
                      <a:pt x="114" y="137"/>
                    </a:lnTo>
                    <a:lnTo>
                      <a:pt x="116" y="139"/>
                    </a:lnTo>
                    <a:lnTo>
                      <a:pt x="114" y="137"/>
                    </a:lnTo>
                    <a:lnTo>
                      <a:pt x="112" y="137"/>
                    </a:lnTo>
                    <a:lnTo>
                      <a:pt x="110" y="136"/>
                    </a:lnTo>
                    <a:lnTo>
                      <a:pt x="112" y="136"/>
                    </a:lnTo>
                    <a:lnTo>
                      <a:pt x="110" y="136"/>
                    </a:lnTo>
                    <a:lnTo>
                      <a:pt x="110" y="134"/>
                    </a:lnTo>
                    <a:lnTo>
                      <a:pt x="110" y="132"/>
                    </a:lnTo>
                    <a:lnTo>
                      <a:pt x="110" y="134"/>
                    </a:lnTo>
                    <a:close/>
                    <a:moveTo>
                      <a:pt x="214" y="212"/>
                    </a:moveTo>
                    <a:lnTo>
                      <a:pt x="214" y="214"/>
                    </a:lnTo>
                    <a:lnTo>
                      <a:pt x="212" y="214"/>
                    </a:lnTo>
                    <a:lnTo>
                      <a:pt x="212" y="216"/>
                    </a:lnTo>
                    <a:lnTo>
                      <a:pt x="211" y="216"/>
                    </a:lnTo>
                    <a:lnTo>
                      <a:pt x="211" y="214"/>
                    </a:lnTo>
                    <a:lnTo>
                      <a:pt x="209" y="214"/>
                    </a:lnTo>
                    <a:lnTo>
                      <a:pt x="209" y="212"/>
                    </a:lnTo>
                    <a:lnTo>
                      <a:pt x="211" y="212"/>
                    </a:lnTo>
                    <a:lnTo>
                      <a:pt x="212" y="211"/>
                    </a:lnTo>
                    <a:lnTo>
                      <a:pt x="214" y="212"/>
                    </a:lnTo>
                    <a:close/>
                    <a:moveTo>
                      <a:pt x="48" y="112"/>
                    </a:moveTo>
                    <a:lnTo>
                      <a:pt x="49" y="112"/>
                    </a:lnTo>
                    <a:lnTo>
                      <a:pt x="49" y="114"/>
                    </a:lnTo>
                    <a:lnTo>
                      <a:pt x="49" y="112"/>
                    </a:lnTo>
                    <a:lnTo>
                      <a:pt x="48" y="112"/>
                    </a:lnTo>
                    <a:lnTo>
                      <a:pt x="48" y="114"/>
                    </a:lnTo>
                    <a:lnTo>
                      <a:pt x="49" y="114"/>
                    </a:lnTo>
                    <a:lnTo>
                      <a:pt x="48" y="114"/>
                    </a:lnTo>
                    <a:lnTo>
                      <a:pt x="48" y="115"/>
                    </a:lnTo>
                    <a:lnTo>
                      <a:pt x="46" y="115"/>
                    </a:lnTo>
                    <a:lnTo>
                      <a:pt x="44" y="115"/>
                    </a:lnTo>
                    <a:lnTo>
                      <a:pt x="44" y="114"/>
                    </a:lnTo>
                    <a:lnTo>
                      <a:pt x="46" y="114"/>
                    </a:lnTo>
                    <a:lnTo>
                      <a:pt x="46" y="115"/>
                    </a:lnTo>
                    <a:lnTo>
                      <a:pt x="46" y="114"/>
                    </a:lnTo>
                    <a:lnTo>
                      <a:pt x="48" y="114"/>
                    </a:lnTo>
                    <a:lnTo>
                      <a:pt x="48" y="112"/>
                    </a:lnTo>
                    <a:lnTo>
                      <a:pt x="46" y="112"/>
                    </a:lnTo>
                    <a:lnTo>
                      <a:pt x="46" y="114"/>
                    </a:lnTo>
                    <a:lnTo>
                      <a:pt x="46" y="112"/>
                    </a:lnTo>
                    <a:lnTo>
                      <a:pt x="48" y="112"/>
                    </a:lnTo>
                    <a:close/>
                    <a:moveTo>
                      <a:pt x="150" y="132"/>
                    </a:moveTo>
                    <a:lnTo>
                      <a:pt x="151" y="132"/>
                    </a:lnTo>
                    <a:lnTo>
                      <a:pt x="151" y="134"/>
                    </a:lnTo>
                    <a:lnTo>
                      <a:pt x="150" y="136"/>
                    </a:lnTo>
                    <a:lnTo>
                      <a:pt x="150" y="134"/>
                    </a:lnTo>
                    <a:lnTo>
                      <a:pt x="148" y="134"/>
                    </a:lnTo>
                    <a:lnTo>
                      <a:pt x="146" y="134"/>
                    </a:lnTo>
                    <a:lnTo>
                      <a:pt x="148" y="132"/>
                    </a:lnTo>
                    <a:lnTo>
                      <a:pt x="150" y="132"/>
                    </a:lnTo>
                    <a:close/>
                    <a:moveTo>
                      <a:pt x="53" y="107"/>
                    </a:moveTo>
                    <a:lnTo>
                      <a:pt x="54" y="108"/>
                    </a:lnTo>
                    <a:lnTo>
                      <a:pt x="53" y="108"/>
                    </a:lnTo>
                    <a:lnTo>
                      <a:pt x="51" y="108"/>
                    </a:lnTo>
                    <a:lnTo>
                      <a:pt x="53" y="108"/>
                    </a:lnTo>
                    <a:lnTo>
                      <a:pt x="51" y="108"/>
                    </a:lnTo>
                    <a:lnTo>
                      <a:pt x="51" y="110"/>
                    </a:lnTo>
                    <a:lnTo>
                      <a:pt x="51" y="108"/>
                    </a:lnTo>
                    <a:lnTo>
                      <a:pt x="51" y="110"/>
                    </a:lnTo>
                    <a:lnTo>
                      <a:pt x="49" y="110"/>
                    </a:lnTo>
                    <a:lnTo>
                      <a:pt x="49" y="108"/>
                    </a:lnTo>
                    <a:lnTo>
                      <a:pt x="51" y="108"/>
                    </a:lnTo>
                    <a:lnTo>
                      <a:pt x="49" y="108"/>
                    </a:lnTo>
                    <a:lnTo>
                      <a:pt x="51" y="108"/>
                    </a:lnTo>
                    <a:lnTo>
                      <a:pt x="49" y="108"/>
                    </a:lnTo>
                    <a:lnTo>
                      <a:pt x="51" y="108"/>
                    </a:lnTo>
                    <a:lnTo>
                      <a:pt x="53" y="107"/>
                    </a:lnTo>
                    <a:lnTo>
                      <a:pt x="51" y="107"/>
                    </a:lnTo>
                    <a:lnTo>
                      <a:pt x="51" y="108"/>
                    </a:lnTo>
                    <a:lnTo>
                      <a:pt x="51" y="107"/>
                    </a:lnTo>
                    <a:lnTo>
                      <a:pt x="53" y="107"/>
                    </a:lnTo>
                    <a:lnTo>
                      <a:pt x="53" y="105"/>
                    </a:lnTo>
                    <a:lnTo>
                      <a:pt x="53" y="107"/>
                    </a:lnTo>
                    <a:close/>
                    <a:moveTo>
                      <a:pt x="189" y="154"/>
                    </a:moveTo>
                    <a:lnTo>
                      <a:pt x="190" y="154"/>
                    </a:lnTo>
                    <a:lnTo>
                      <a:pt x="189" y="154"/>
                    </a:lnTo>
                    <a:lnTo>
                      <a:pt x="189" y="156"/>
                    </a:lnTo>
                    <a:lnTo>
                      <a:pt x="187" y="156"/>
                    </a:lnTo>
                    <a:lnTo>
                      <a:pt x="185" y="156"/>
                    </a:lnTo>
                    <a:lnTo>
                      <a:pt x="185" y="154"/>
                    </a:lnTo>
                    <a:lnTo>
                      <a:pt x="184" y="154"/>
                    </a:lnTo>
                    <a:lnTo>
                      <a:pt x="185" y="154"/>
                    </a:lnTo>
                    <a:lnTo>
                      <a:pt x="187" y="154"/>
                    </a:lnTo>
                    <a:lnTo>
                      <a:pt x="189" y="154"/>
                    </a:lnTo>
                    <a:close/>
                    <a:moveTo>
                      <a:pt x="122" y="141"/>
                    </a:moveTo>
                    <a:lnTo>
                      <a:pt x="124" y="142"/>
                    </a:lnTo>
                    <a:lnTo>
                      <a:pt x="126" y="142"/>
                    </a:lnTo>
                    <a:lnTo>
                      <a:pt x="127" y="144"/>
                    </a:lnTo>
                    <a:lnTo>
                      <a:pt x="126" y="142"/>
                    </a:lnTo>
                    <a:lnTo>
                      <a:pt x="126" y="144"/>
                    </a:lnTo>
                    <a:lnTo>
                      <a:pt x="124" y="142"/>
                    </a:lnTo>
                    <a:lnTo>
                      <a:pt x="122" y="142"/>
                    </a:lnTo>
                    <a:lnTo>
                      <a:pt x="122" y="141"/>
                    </a:lnTo>
                    <a:lnTo>
                      <a:pt x="121" y="141"/>
                    </a:lnTo>
                    <a:lnTo>
                      <a:pt x="122" y="141"/>
                    </a:lnTo>
                    <a:close/>
                    <a:moveTo>
                      <a:pt x="48" y="56"/>
                    </a:moveTo>
                    <a:lnTo>
                      <a:pt x="49" y="56"/>
                    </a:lnTo>
                    <a:lnTo>
                      <a:pt x="49" y="57"/>
                    </a:lnTo>
                    <a:lnTo>
                      <a:pt x="49" y="59"/>
                    </a:lnTo>
                    <a:lnTo>
                      <a:pt x="49" y="57"/>
                    </a:lnTo>
                    <a:lnTo>
                      <a:pt x="48" y="57"/>
                    </a:lnTo>
                    <a:lnTo>
                      <a:pt x="48" y="56"/>
                    </a:lnTo>
                    <a:lnTo>
                      <a:pt x="48" y="54"/>
                    </a:lnTo>
                    <a:lnTo>
                      <a:pt x="46" y="54"/>
                    </a:lnTo>
                    <a:lnTo>
                      <a:pt x="48" y="56"/>
                    </a:lnTo>
                    <a:lnTo>
                      <a:pt x="48" y="54"/>
                    </a:lnTo>
                    <a:lnTo>
                      <a:pt x="48" y="56"/>
                    </a:lnTo>
                    <a:close/>
                    <a:moveTo>
                      <a:pt x="168" y="171"/>
                    </a:moveTo>
                    <a:lnTo>
                      <a:pt x="168" y="173"/>
                    </a:lnTo>
                    <a:lnTo>
                      <a:pt x="167" y="173"/>
                    </a:lnTo>
                    <a:lnTo>
                      <a:pt x="167" y="175"/>
                    </a:lnTo>
                    <a:lnTo>
                      <a:pt x="165" y="175"/>
                    </a:lnTo>
                    <a:lnTo>
                      <a:pt x="165" y="173"/>
                    </a:lnTo>
                    <a:lnTo>
                      <a:pt x="167" y="173"/>
                    </a:lnTo>
                    <a:lnTo>
                      <a:pt x="168" y="171"/>
                    </a:lnTo>
                    <a:lnTo>
                      <a:pt x="168" y="170"/>
                    </a:lnTo>
                    <a:lnTo>
                      <a:pt x="168" y="171"/>
                    </a:lnTo>
                    <a:close/>
                    <a:moveTo>
                      <a:pt x="46" y="23"/>
                    </a:moveTo>
                    <a:lnTo>
                      <a:pt x="49" y="23"/>
                    </a:lnTo>
                    <a:lnTo>
                      <a:pt x="49" y="25"/>
                    </a:lnTo>
                    <a:lnTo>
                      <a:pt x="46" y="25"/>
                    </a:lnTo>
                    <a:lnTo>
                      <a:pt x="46" y="23"/>
                    </a:lnTo>
                    <a:close/>
                    <a:moveTo>
                      <a:pt x="0" y="56"/>
                    </a:moveTo>
                    <a:lnTo>
                      <a:pt x="2" y="56"/>
                    </a:lnTo>
                    <a:lnTo>
                      <a:pt x="2" y="59"/>
                    </a:lnTo>
                    <a:lnTo>
                      <a:pt x="0" y="59"/>
                    </a:lnTo>
                    <a:lnTo>
                      <a:pt x="0" y="56"/>
                    </a:lnTo>
                    <a:close/>
                    <a:moveTo>
                      <a:pt x="58" y="34"/>
                    </a:moveTo>
                    <a:lnTo>
                      <a:pt x="59" y="34"/>
                    </a:lnTo>
                    <a:lnTo>
                      <a:pt x="59" y="37"/>
                    </a:lnTo>
                    <a:lnTo>
                      <a:pt x="58" y="37"/>
                    </a:lnTo>
                    <a:lnTo>
                      <a:pt x="58" y="34"/>
                    </a:lnTo>
                    <a:close/>
                    <a:moveTo>
                      <a:pt x="48" y="108"/>
                    </a:moveTo>
                    <a:lnTo>
                      <a:pt x="49" y="108"/>
                    </a:lnTo>
                    <a:lnTo>
                      <a:pt x="49" y="110"/>
                    </a:lnTo>
                    <a:lnTo>
                      <a:pt x="48" y="110"/>
                    </a:lnTo>
                    <a:lnTo>
                      <a:pt x="48" y="108"/>
                    </a:lnTo>
                    <a:close/>
                    <a:moveTo>
                      <a:pt x="53" y="114"/>
                    </a:moveTo>
                    <a:lnTo>
                      <a:pt x="56" y="114"/>
                    </a:lnTo>
                    <a:lnTo>
                      <a:pt x="56" y="115"/>
                    </a:lnTo>
                    <a:lnTo>
                      <a:pt x="53" y="115"/>
                    </a:lnTo>
                    <a:lnTo>
                      <a:pt x="53" y="114"/>
                    </a:lnTo>
                    <a:close/>
                    <a:moveTo>
                      <a:pt x="27" y="97"/>
                    </a:moveTo>
                    <a:lnTo>
                      <a:pt x="29" y="97"/>
                    </a:lnTo>
                    <a:lnTo>
                      <a:pt x="29" y="98"/>
                    </a:lnTo>
                    <a:lnTo>
                      <a:pt x="27" y="98"/>
                    </a:lnTo>
                    <a:lnTo>
                      <a:pt x="27" y="97"/>
                    </a:lnTo>
                    <a:close/>
                    <a:moveTo>
                      <a:pt x="97" y="119"/>
                    </a:moveTo>
                    <a:lnTo>
                      <a:pt x="99" y="119"/>
                    </a:lnTo>
                    <a:lnTo>
                      <a:pt x="99" y="120"/>
                    </a:lnTo>
                    <a:lnTo>
                      <a:pt x="99" y="122"/>
                    </a:lnTo>
                    <a:lnTo>
                      <a:pt x="100" y="122"/>
                    </a:lnTo>
                    <a:lnTo>
                      <a:pt x="99" y="122"/>
                    </a:lnTo>
                    <a:lnTo>
                      <a:pt x="99" y="120"/>
                    </a:lnTo>
                    <a:lnTo>
                      <a:pt x="99" y="119"/>
                    </a:lnTo>
                    <a:lnTo>
                      <a:pt x="97" y="119"/>
                    </a:lnTo>
                    <a:lnTo>
                      <a:pt x="97" y="117"/>
                    </a:lnTo>
                    <a:lnTo>
                      <a:pt x="97" y="119"/>
                    </a:lnTo>
                    <a:close/>
                    <a:moveTo>
                      <a:pt x="68" y="29"/>
                    </a:moveTo>
                    <a:lnTo>
                      <a:pt x="70" y="29"/>
                    </a:lnTo>
                    <a:lnTo>
                      <a:pt x="70" y="30"/>
                    </a:lnTo>
                    <a:lnTo>
                      <a:pt x="68" y="30"/>
                    </a:lnTo>
                    <a:lnTo>
                      <a:pt x="68" y="29"/>
                    </a:lnTo>
                    <a:close/>
                    <a:moveTo>
                      <a:pt x="119" y="187"/>
                    </a:moveTo>
                    <a:lnTo>
                      <a:pt x="121" y="187"/>
                    </a:lnTo>
                    <a:lnTo>
                      <a:pt x="121" y="188"/>
                    </a:lnTo>
                    <a:lnTo>
                      <a:pt x="119" y="188"/>
                    </a:lnTo>
                    <a:lnTo>
                      <a:pt x="119" y="187"/>
                    </a:lnTo>
                    <a:close/>
                    <a:moveTo>
                      <a:pt x="112" y="100"/>
                    </a:moveTo>
                    <a:lnTo>
                      <a:pt x="114" y="100"/>
                    </a:lnTo>
                    <a:lnTo>
                      <a:pt x="112" y="100"/>
                    </a:lnTo>
                    <a:close/>
                    <a:moveTo>
                      <a:pt x="48" y="25"/>
                    </a:moveTo>
                    <a:lnTo>
                      <a:pt x="49" y="25"/>
                    </a:lnTo>
                    <a:lnTo>
                      <a:pt x="49" y="27"/>
                    </a:lnTo>
                    <a:lnTo>
                      <a:pt x="48" y="27"/>
                    </a:lnTo>
                    <a:lnTo>
                      <a:pt x="48" y="25"/>
                    </a:lnTo>
                    <a:close/>
                    <a:moveTo>
                      <a:pt x="82" y="69"/>
                    </a:moveTo>
                    <a:lnTo>
                      <a:pt x="85" y="69"/>
                    </a:lnTo>
                    <a:lnTo>
                      <a:pt x="85" y="73"/>
                    </a:lnTo>
                    <a:lnTo>
                      <a:pt x="82" y="73"/>
                    </a:lnTo>
                    <a:lnTo>
                      <a:pt x="82" y="69"/>
                    </a:lnTo>
                    <a:close/>
                    <a:moveTo>
                      <a:pt x="46" y="23"/>
                    </a:moveTo>
                    <a:lnTo>
                      <a:pt x="49" y="23"/>
                    </a:lnTo>
                    <a:lnTo>
                      <a:pt x="46" y="23"/>
                    </a:lnTo>
                    <a:close/>
                    <a:moveTo>
                      <a:pt x="139" y="127"/>
                    </a:moveTo>
                    <a:lnTo>
                      <a:pt x="141" y="127"/>
                    </a:lnTo>
                    <a:lnTo>
                      <a:pt x="141" y="129"/>
                    </a:lnTo>
                    <a:lnTo>
                      <a:pt x="139" y="129"/>
                    </a:lnTo>
                    <a:lnTo>
                      <a:pt x="139" y="127"/>
                    </a:lnTo>
                    <a:close/>
                    <a:moveTo>
                      <a:pt x="190" y="173"/>
                    </a:moveTo>
                    <a:lnTo>
                      <a:pt x="192" y="173"/>
                    </a:lnTo>
                    <a:lnTo>
                      <a:pt x="192" y="175"/>
                    </a:lnTo>
                    <a:lnTo>
                      <a:pt x="190" y="175"/>
                    </a:lnTo>
                    <a:lnTo>
                      <a:pt x="190" y="173"/>
                    </a:lnTo>
                    <a:close/>
                    <a:moveTo>
                      <a:pt x="109" y="132"/>
                    </a:moveTo>
                    <a:lnTo>
                      <a:pt x="109" y="134"/>
                    </a:lnTo>
                    <a:lnTo>
                      <a:pt x="109" y="132"/>
                    </a:lnTo>
                    <a:close/>
                    <a:moveTo>
                      <a:pt x="46" y="68"/>
                    </a:moveTo>
                    <a:lnTo>
                      <a:pt x="49" y="68"/>
                    </a:lnTo>
                    <a:lnTo>
                      <a:pt x="49" y="69"/>
                    </a:lnTo>
                    <a:lnTo>
                      <a:pt x="46" y="69"/>
                    </a:lnTo>
                    <a:lnTo>
                      <a:pt x="46" y="68"/>
                    </a:lnTo>
                    <a:close/>
                    <a:moveTo>
                      <a:pt x="194" y="173"/>
                    </a:moveTo>
                    <a:lnTo>
                      <a:pt x="195" y="173"/>
                    </a:lnTo>
                    <a:lnTo>
                      <a:pt x="194" y="173"/>
                    </a:lnTo>
                    <a:close/>
                    <a:moveTo>
                      <a:pt x="53" y="132"/>
                    </a:moveTo>
                    <a:lnTo>
                      <a:pt x="53" y="134"/>
                    </a:lnTo>
                    <a:lnTo>
                      <a:pt x="53" y="132"/>
                    </a:lnTo>
                    <a:close/>
                    <a:moveTo>
                      <a:pt x="51" y="129"/>
                    </a:moveTo>
                    <a:lnTo>
                      <a:pt x="51" y="131"/>
                    </a:lnTo>
                    <a:lnTo>
                      <a:pt x="51" y="129"/>
                    </a:lnTo>
                    <a:close/>
                    <a:moveTo>
                      <a:pt x="49" y="125"/>
                    </a:moveTo>
                    <a:lnTo>
                      <a:pt x="51" y="125"/>
                    </a:lnTo>
                    <a:lnTo>
                      <a:pt x="49" y="125"/>
                    </a:lnTo>
                    <a:close/>
                    <a:moveTo>
                      <a:pt x="36" y="8"/>
                    </a:moveTo>
                    <a:lnTo>
                      <a:pt x="37" y="8"/>
                    </a:lnTo>
                    <a:lnTo>
                      <a:pt x="37" y="12"/>
                    </a:lnTo>
                    <a:lnTo>
                      <a:pt x="36" y="12"/>
                    </a:lnTo>
                    <a:lnTo>
                      <a:pt x="36" y="8"/>
                    </a:lnTo>
                    <a:close/>
                    <a:moveTo>
                      <a:pt x="66" y="34"/>
                    </a:moveTo>
                    <a:lnTo>
                      <a:pt x="68" y="34"/>
                    </a:lnTo>
                    <a:lnTo>
                      <a:pt x="68" y="35"/>
                    </a:lnTo>
                    <a:lnTo>
                      <a:pt x="66" y="35"/>
                    </a:lnTo>
                    <a:lnTo>
                      <a:pt x="66" y="34"/>
                    </a:lnTo>
                    <a:close/>
                    <a:moveTo>
                      <a:pt x="68" y="32"/>
                    </a:moveTo>
                    <a:lnTo>
                      <a:pt x="70" y="32"/>
                    </a:lnTo>
                    <a:lnTo>
                      <a:pt x="70" y="34"/>
                    </a:lnTo>
                    <a:lnTo>
                      <a:pt x="68" y="34"/>
                    </a:lnTo>
                    <a:lnTo>
                      <a:pt x="68" y="32"/>
                    </a:lnTo>
                    <a:close/>
                    <a:moveTo>
                      <a:pt x="71" y="20"/>
                    </a:moveTo>
                    <a:lnTo>
                      <a:pt x="75" y="20"/>
                    </a:lnTo>
                    <a:lnTo>
                      <a:pt x="75" y="22"/>
                    </a:lnTo>
                    <a:lnTo>
                      <a:pt x="71" y="22"/>
                    </a:lnTo>
                    <a:lnTo>
                      <a:pt x="71" y="20"/>
                    </a:lnTo>
                    <a:close/>
                    <a:moveTo>
                      <a:pt x="49" y="110"/>
                    </a:moveTo>
                    <a:lnTo>
                      <a:pt x="51" y="110"/>
                    </a:lnTo>
                    <a:lnTo>
                      <a:pt x="51" y="112"/>
                    </a:lnTo>
                    <a:lnTo>
                      <a:pt x="49" y="112"/>
                    </a:lnTo>
                    <a:lnTo>
                      <a:pt x="49" y="110"/>
                    </a:lnTo>
                    <a:close/>
                    <a:moveTo>
                      <a:pt x="66" y="29"/>
                    </a:moveTo>
                    <a:lnTo>
                      <a:pt x="68" y="29"/>
                    </a:lnTo>
                    <a:lnTo>
                      <a:pt x="66" y="29"/>
                    </a:lnTo>
                    <a:close/>
                    <a:moveTo>
                      <a:pt x="49" y="127"/>
                    </a:moveTo>
                    <a:lnTo>
                      <a:pt x="51" y="127"/>
                    </a:lnTo>
                    <a:lnTo>
                      <a:pt x="51" y="129"/>
                    </a:lnTo>
                    <a:lnTo>
                      <a:pt x="49" y="129"/>
                    </a:lnTo>
                    <a:lnTo>
                      <a:pt x="49" y="127"/>
                    </a:lnTo>
                    <a:close/>
                    <a:moveTo>
                      <a:pt x="68" y="27"/>
                    </a:moveTo>
                    <a:lnTo>
                      <a:pt x="70" y="27"/>
                    </a:lnTo>
                    <a:lnTo>
                      <a:pt x="70" y="29"/>
                    </a:lnTo>
                    <a:lnTo>
                      <a:pt x="68" y="29"/>
                    </a:lnTo>
                    <a:lnTo>
                      <a:pt x="68" y="27"/>
                    </a:lnTo>
                    <a:close/>
                    <a:moveTo>
                      <a:pt x="58" y="42"/>
                    </a:moveTo>
                    <a:lnTo>
                      <a:pt x="59" y="42"/>
                    </a:lnTo>
                    <a:lnTo>
                      <a:pt x="59" y="44"/>
                    </a:lnTo>
                    <a:lnTo>
                      <a:pt x="58" y="44"/>
                    </a:lnTo>
                    <a:lnTo>
                      <a:pt x="58" y="42"/>
                    </a:lnTo>
                    <a:close/>
                    <a:moveTo>
                      <a:pt x="117" y="180"/>
                    </a:moveTo>
                    <a:lnTo>
                      <a:pt x="117" y="182"/>
                    </a:lnTo>
                    <a:lnTo>
                      <a:pt x="117" y="180"/>
                    </a:lnTo>
                    <a:close/>
                    <a:moveTo>
                      <a:pt x="61" y="22"/>
                    </a:moveTo>
                    <a:lnTo>
                      <a:pt x="63" y="22"/>
                    </a:lnTo>
                    <a:lnTo>
                      <a:pt x="63" y="25"/>
                    </a:lnTo>
                    <a:lnTo>
                      <a:pt x="61" y="25"/>
                    </a:lnTo>
                    <a:lnTo>
                      <a:pt x="61" y="22"/>
                    </a:lnTo>
                    <a:close/>
                    <a:moveTo>
                      <a:pt x="83" y="100"/>
                    </a:moveTo>
                    <a:lnTo>
                      <a:pt x="85" y="100"/>
                    </a:lnTo>
                    <a:lnTo>
                      <a:pt x="85" y="102"/>
                    </a:lnTo>
                    <a:lnTo>
                      <a:pt x="83" y="102"/>
                    </a:lnTo>
                    <a:lnTo>
                      <a:pt x="83" y="100"/>
                    </a:lnTo>
                    <a:close/>
                    <a:moveTo>
                      <a:pt x="68" y="30"/>
                    </a:moveTo>
                    <a:lnTo>
                      <a:pt x="68" y="32"/>
                    </a:lnTo>
                    <a:lnTo>
                      <a:pt x="68" y="30"/>
                    </a:lnTo>
                    <a:close/>
                    <a:moveTo>
                      <a:pt x="83" y="64"/>
                    </a:moveTo>
                    <a:lnTo>
                      <a:pt x="85" y="64"/>
                    </a:lnTo>
                    <a:lnTo>
                      <a:pt x="83" y="64"/>
                    </a:lnTo>
                    <a:close/>
                    <a:moveTo>
                      <a:pt x="39" y="73"/>
                    </a:moveTo>
                    <a:lnTo>
                      <a:pt x="39" y="74"/>
                    </a:lnTo>
                    <a:lnTo>
                      <a:pt x="39" y="73"/>
                    </a:lnTo>
                    <a:close/>
                    <a:moveTo>
                      <a:pt x="78" y="25"/>
                    </a:moveTo>
                    <a:lnTo>
                      <a:pt x="78" y="29"/>
                    </a:lnTo>
                    <a:lnTo>
                      <a:pt x="78" y="25"/>
                    </a:lnTo>
                    <a:close/>
                    <a:moveTo>
                      <a:pt x="116" y="141"/>
                    </a:moveTo>
                    <a:lnTo>
                      <a:pt x="117" y="141"/>
                    </a:lnTo>
                    <a:lnTo>
                      <a:pt x="116" y="141"/>
                    </a:lnTo>
                    <a:close/>
                    <a:moveTo>
                      <a:pt x="51" y="117"/>
                    </a:moveTo>
                    <a:lnTo>
                      <a:pt x="53" y="117"/>
                    </a:lnTo>
                    <a:lnTo>
                      <a:pt x="51" y="117"/>
                    </a:lnTo>
                    <a:close/>
                    <a:moveTo>
                      <a:pt x="66" y="17"/>
                    </a:moveTo>
                    <a:lnTo>
                      <a:pt x="66" y="18"/>
                    </a:lnTo>
                    <a:lnTo>
                      <a:pt x="66" y="17"/>
                    </a:lnTo>
                    <a:close/>
                    <a:moveTo>
                      <a:pt x="68" y="30"/>
                    </a:moveTo>
                    <a:lnTo>
                      <a:pt x="70" y="30"/>
                    </a:lnTo>
                    <a:lnTo>
                      <a:pt x="70" y="32"/>
                    </a:lnTo>
                    <a:lnTo>
                      <a:pt x="68" y="32"/>
                    </a:lnTo>
                    <a:lnTo>
                      <a:pt x="68" y="30"/>
                    </a:lnTo>
                    <a:close/>
                    <a:moveTo>
                      <a:pt x="138" y="151"/>
                    </a:moveTo>
                    <a:lnTo>
                      <a:pt x="139" y="151"/>
                    </a:lnTo>
                    <a:lnTo>
                      <a:pt x="139" y="153"/>
                    </a:lnTo>
                    <a:lnTo>
                      <a:pt x="138" y="153"/>
                    </a:lnTo>
                    <a:lnTo>
                      <a:pt x="138" y="151"/>
                    </a:lnTo>
                    <a:close/>
                    <a:moveTo>
                      <a:pt x="49" y="68"/>
                    </a:moveTo>
                    <a:lnTo>
                      <a:pt x="51" y="68"/>
                    </a:lnTo>
                    <a:lnTo>
                      <a:pt x="51" y="69"/>
                    </a:lnTo>
                    <a:lnTo>
                      <a:pt x="49" y="69"/>
                    </a:lnTo>
                    <a:lnTo>
                      <a:pt x="49" y="68"/>
                    </a:lnTo>
                    <a:close/>
                    <a:moveTo>
                      <a:pt x="83" y="98"/>
                    </a:moveTo>
                    <a:lnTo>
                      <a:pt x="83" y="100"/>
                    </a:lnTo>
                    <a:lnTo>
                      <a:pt x="83" y="98"/>
                    </a:lnTo>
                    <a:close/>
                    <a:moveTo>
                      <a:pt x="49" y="105"/>
                    </a:moveTo>
                    <a:lnTo>
                      <a:pt x="51" y="105"/>
                    </a:lnTo>
                    <a:lnTo>
                      <a:pt x="49" y="105"/>
                    </a:lnTo>
                    <a:close/>
                    <a:moveTo>
                      <a:pt x="73" y="80"/>
                    </a:moveTo>
                    <a:lnTo>
                      <a:pt x="71" y="81"/>
                    </a:lnTo>
                    <a:lnTo>
                      <a:pt x="70" y="81"/>
                    </a:lnTo>
                    <a:lnTo>
                      <a:pt x="68" y="81"/>
                    </a:lnTo>
                    <a:lnTo>
                      <a:pt x="70" y="81"/>
                    </a:lnTo>
                    <a:lnTo>
                      <a:pt x="71" y="81"/>
                    </a:lnTo>
                    <a:lnTo>
                      <a:pt x="71" y="80"/>
                    </a:lnTo>
                    <a:lnTo>
                      <a:pt x="73" y="80"/>
                    </a:lnTo>
                    <a:lnTo>
                      <a:pt x="75" y="80"/>
                    </a:lnTo>
                    <a:lnTo>
                      <a:pt x="73" y="80"/>
                    </a:lnTo>
                    <a:close/>
                    <a:moveTo>
                      <a:pt x="65" y="81"/>
                    </a:moveTo>
                    <a:lnTo>
                      <a:pt x="68" y="81"/>
                    </a:lnTo>
                    <a:lnTo>
                      <a:pt x="65" y="81"/>
                    </a:lnTo>
                    <a:close/>
                    <a:moveTo>
                      <a:pt x="46" y="15"/>
                    </a:moveTo>
                    <a:lnTo>
                      <a:pt x="46" y="17"/>
                    </a:lnTo>
                    <a:lnTo>
                      <a:pt x="46" y="15"/>
                    </a:lnTo>
                    <a:close/>
                    <a:moveTo>
                      <a:pt x="49" y="127"/>
                    </a:moveTo>
                    <a:lnTo>
                      <a:pt x="51" y="127"/>
                    </a:lnTo>
                    <a:lnTo>
                      <a:pt x="51" y="129"/>
                    </a:lnTo>
                    <a:lnTo>
                      <a:pt x="49" y="129"/>
                    </a:lnTo>
                    <a:lnTo>
                      <a:pt x="49" y="127"/>
                    </a:lnTo>
                    <a:close/>
                    <a:moveTo>
                      <a:pt x="102" y="127"/>
                    </a:moveTo>
                    <a:lnTo>
                      <a:pt x="104" y="127"/>
                    </a:lnTo>
                    <a:lnTo>
                      <a:pt x="102" y="127"/>
                    </a:lnTo>
                    <a:close/>
                    <a:moveTo>
                      <a:pt x="107" y="129"/>
                    </a:moveTo>
                    <a:lnTo>
                      <a:pt x="109" y="129"/>
                    </a:lnTo>
                    <a:lnTo>
                      <a:pt x="109" y="131"/>
                    </a:lnTo>
                    <a:lnTo>
                      <a:pt x="107" y="131"/>
                    </a:lnTo>
                    <a:lnTo>
                      <a:pt x="107" y="129"/>
                    </a:lnTo>
                    <a:close/>
                    <a:moveTo>
                      <a:pt x="65" y="15"/>
                    </a:moveTo>
                    <a:lnTo>
                      <a:pt x="65" y="17"/>
                    </a:lnTo>
                    <a:lnTo>
                      <a:pt x="65" y="15"/>
                    </a:lnTo>
                    <a:close/>
                    <a:moveTo>
                      <a:pt x="46" y="110"/>
                    </a:moveTo>
                    <a:lnTo>
                      <a:pt x="48" y="110"/>
                    </a:lnTo>
                    <a:lnTo>
                      <a:pt x="46" y="110"/>
                    </a:lnTo>
                    <a:close/>
                    <a:moveTo>
                      <a:pt x="85" y="103"/>
                    </a:moveTo>
                    <a:lnTo>
                      <a:pt x="85" y="105"/>
                    </a:lnTo>
                    <a:lnTo>
                      <a:pt x="85" y="103"/>
                    </a:lnTo>
                    <a:close/>
                    <a:moveTo>
                      <a:pt x="121" y="188"/>
                    </a:moveTo>
                    <a:lnTo>
                      <a:pt x="121" y="190"/>
                    </a:lnTo>
                    <a:lnTo>
                      <a:pt x="121" y="188"/>
                    </a:lnTo>
                    <a:close/>
                    <a:moveTo>
                      <a:pt x="93" y="110"/>
                    </a:moveTo>
                    <a:lnTo>
                      <a:pt x="93" y="112"/>
                    </a:lnTo>
                    <a:lnTo>
                      <a:pt x="93" y="110"/>
                    </a:lnTo>
                    <a:close/>
                    <a:moveTo>
                      <a:pt x="53" y="64"/>
                    </a:moveTo>
                    <a:lnTo>
                      <a:pt x="53" y="68"/>
                    </a:lnTo>
                    <a:lnTo>
                      <a:pt x="53" y="64"/>
                    </a:lnTo>
                    <a:close/>
                    <a:moveTo>
                      <a:pt x="127" y="144"/>
                    </a:moveTo>
                    <a:lnTo>
                      <a:pt x="129" y="144"/>
                    </a:lnTo>
                    <a:lnTo>
                      <a:pt x="127" y="144"/>
                    </a:lnTo>
                    <a:close/>
                    <a:moveTo>
                      <a:pt x="53" y="119"/>
                    </a:moveTo>
                    <a:lnTo>
                      <a:pt x="54" y="119"/>
                    </a:lnTo>
                    <a:lnTo>
                      <a:pt x="53" y="119"/>
                    </a:lnTo>
                    <a:close/>
                    <a:moveTo>
                      <a:pt x="88" y="64"/>
                    </a:moveTo>
                    <a:lnTo>
                      <a:pt x="90" y="64"/>
                    </a:lnTo>
                    <a:lnTo>
                      <a:pt x="90" y="66"/>
                    </a:lnTo>
                    <a:lnTo>
                      <a:pt x="88" y="66"/>
                    </a:lnTo>
                    <a:lnTo>
                      <a:pt x="88" y="64"/>
                    </a:lnTo>
                    <a:close/>
                    <a:moveTo>
                      <a:pt x="22" y="20"/>
                    </a:moveTo>
                    <a:lnTo>
                      <a:pt x="24" y="20"/>
                    </a:lnTo>
                    <a:lnTo>
                      <a:pt x="22" y="20"/>
                    </a:lnTo>
                    <a:close/>
                    <a:moveTo>
                      <a:pt x="49" y="129"/>
                    </a:moveTo>
                    <a:lnTo>
                      <a:pt x="51" y="129"/>
                    </a:lnTo>
                    <a:lnTo>
                      <a:pt x="49" y="129"/>
                    </a:lnTo>
                    <a:close/>
                    <a:moveTo>
                      <a:pt x="70" y="25"/>
                    </a:moveTo>
                    <a:lnTo>
                      <a:pt x="70" y="27"/>
                    </a:lnTo>
                    <a:lnTo>
                      <a:pt x="70" y="25"/>
                    </a:lnTo>
                    <a:close/>
                    <a:moveTo>
                      <a:pt x="70" y="27"/>
                    </a:moveTo>
                    <a:lnTo>
                      <a:pt x="70" y="29"/>
                    </a:lnTo>
                    <a:lnTo>
                      <a:pt x="70" y="27"/>
                    </a:lnTo>
                    <a:close/>
                    <a:moveTo>
                      <a:pt x="51" y="110"/>
                    </a:moveTo>
                    <a:lnTo>
                      <a:pt x="53" y="110"/>
                    </a:lnTo>
                    <a:lnTo>
                      <a:pt x="51" y="110"/>
                    </a:lnTo>
                    <a:close/>
                    <a:moveTo>
                      <a:pt x="107" y="81"/>
                    </a:moveTo>
                    <a:lnTo>
                      <a:pt x="107" y="83"/>
                    </a:lnTo>
                    <a:lnTo>
                      <a:pt x="107" y="81"/>
                    </a:lnTo>
                    <a:close/>
                    <a:moveTo>
                      <a:pt x="119" y="185"/>
                    </a:moveTo>
                    <a:lnTo>
                      <a:pt x="119" y="187"/>
                    </a:lnTo>
                    <a:lnTo>
                      <a:pt x="119" y="185"/>
                    </a:lnTo>
                    <a:close/>
                    <a:moveTo>
                      <a:pt x="65" y="25"/>
                    </a:moveTo>
                    <a:lnTo>
                      <a:pt x="66" y="25"/>
                    </a:lnTo>
                    <a:lnTo>
                      <a:pt x="65" y="25"/>
                    </a:lnTo>
                    <a:close/>
                    <a:moveTo>
                      <a:pt x="105" y="129"/>
                    </a:moveTo>
                    <a:lnTo>
                      <a:pt x="107" y="129"/>
                    </a:lnTo>
                    <a:lnTo>
                      <a:pt x="107" y="131"/>
                    </a:lnTo>
                    <a:lnTo>
                      <a:pt x="105" y="131"/>
                    </a:lnTo>
                    <a:lnTo>
                      <a:pt x="105" y="129"/>
                    </a:lnTo>
                    <a:close/>
                    <a:moveTo>
                      <a:pt x="25" y="18"/>
                    </a:moveTo>
                    <a:lnTo>
                      <a:pt x="27" y="18"/>
                    </a:lnTo>
                    <a:lnTo>
                      <a:pt x="25" y="18"/>
                    </a:lnTo>
                    <a:close/>
                    <a:moveTo>
                      <a:pt x="54" y="10"/>
                    </a:moveTo>
                    <a:lnTo>
                      <a:pt x="56" y="10"/>
                    </a:lnTo>
                    <a:lnTo>
                      <a:pt x="54" y="10"/>
                    </a:lnTo>
                    <a:close/>
                    <a:moveTo>
                      <a:pt x="71" y="27"/>
                    </a:moveTo>
                    <a:lnTo>
                      <a:pt x="71" y="29"/>
                    </a:lnTo>
                    <a:lnTo>
                      <a:pt x="71" y="27"/>
                    </a:lnTo>
                    <a:close/>
                    <a:moveTo>
                      <a:pt x="51" y="108"/>
                    </a:moveTo>
                    <a:lnTo>
                      <a:pt x="53" y="108"/>
                    </a:lnTo>
                    <a:lnTo>
                      <a:pt x="53" y="110"/>
                    </a:lnTo>
                    <a:lnTo>
                      <a:pt x="51" y="110"/>
                    </a:lnTo>
                    <a:lnTo>
                      <a:pt x="51" y="108"/>
                    </a:lnTo>
                    <a:close/>
                    <a:moveTo>
                      <a:pt x="25" y="97"/>
                    </a:moveTo>
                    <a:lnTo>
                      <a:pt x="25" y="98"/>
                    </a:lnTo>
                    <a:lnTo>
                      <a:pt x="25" y="97"/>
                    </a:lnTo>
                    <a:close/>
                    <a:moveTo>
                      <a:pt x="102" y="125"/>
                    </a:moveTo>
                    <a:lnTo>
                      <a:pt x="104" y="125"/>
                    </a:lnTo>
                    <a:lnTo>
                      <a:pt x="104" y="127"/>
                    </a:lnTo>
                    <a:lnTo>
                      <a:pt x="102" y="127"/>
                    </a:lnTo>
                    <a:lnTo>
                      <a:pt x="102" y="125"/>
                    </a:lnTo>
                    <a:close/>
                    <a:moveTo>
                      <a:pt x="167" y="190"/>
                    </a:moveTo>
                    <a:lnTo>
                      <a:pt x="168" y="190"/>
                    </a:lnTo>
                    <a:lnTo>
                      <a:pt x="167" y="190"/>
                    </a:lnTo>
                    <a:close/>
                    <a:moveTo>
                      <a:pt x="76" y="29"/>
                    </a:moveTo>
                    <a:lnTo>
                      <a:pt x="78" y="29"/>
                    </a:lnTo>
                    <a:lnTo>
                      <a:pt x="78" y="32"/>
                    </a:lnTo>
                    <a:lnTo>
                      <a:pt x="76" y="32"/>
                    </a:lnTo>
                    <a:lnTo>
                      <a:pt x="76" y="29"/>
                    </a:lnTo>
                    <a:close/>
                    <a:moveTo>
                      <a:pt x="109" y="134"/>
                    </a:moveTo>
                    <a:lnTo>
                      <a:pt x="110" y="134"/>
                    </a:lnTo>
                    <a:lnTo>
                      <a:pt x="109" y="134"/>
                    </a:lnTo>
                    <a:close/>
                    <a:moveTo>
                      <a:pt x="66" y="32"/>
                    </a:moveTo>
                    <a:lnTo>
                      <a:pt x="68" y="32"/>
                    </a:lnTo>
                    <a:lnTo>
                      <a:pt x="68" y="34"/>
                    </a:lnTo>
                    <a:lnTo>
                      <a:pt x="66" y="34"/>
                    </a:lnTo>
                    <a:lnTo>
                      <a:pt x="66" y="32"/>
                    </a:lnTo>
                    <a:close/>
                    <a:moveTo>
                      <a:pt x="32" y="0"/>
                    </a:moveTo>
                    <a:lnTo>
                      <a:pt x="32" y="1"/>
                    </a:lnTo>
                    <a:lnTo>
                      <a:pt x="32" y="0"/>
                    </a:lnTo>
                    <a:close/>
                    <a:moveTo>
                      <a:pt x="116" y="177"/>
                    </a:moveTo>
                    <a:lnTo>
                      <a:pt x="116" y="178"/>
                    </a:lnTo>
                    <a:lnTo>
                      <a:pt x="116" y="177"/>
                    </a:lnTo>
                    <a:close/>
                    <a:moveTo>
                      <a:pt x="51" y="59"/>
                    </a:moveTo>
                    <a:lnTo>
                      <a:pt x="53" y="59"/>
                    </a:lnTo>
                    <a:lnTo>
                      <a:pt x="53" y="61"/>
                    </a:lnTo>
                    <a:lnTo>
                      <a:pt x="51" y="61"/>
                    </a:lnTo>
                    <a:lnTo>
                      <a:pt x="51" y="59"/>
                    </a:lnTo>
                    <a:close/>
                    <a:moveTo>
                      <a:pt x="15" y="22"/>
                    </a:moveTo>
                    <a:lnTo>
                      <a:pt x="17" y="22"/>
                    </a:lnTo>
                    <a:lnTo>
                      <a:pt x="17" y="23"/>
                    </a:lnTo>
                    <a:lnTo>
                      <a:pt x="15" y="23"/>
                    </a:lnTo>
                    <a:lnTo>
                      <a:pt x="15" y="22"/>
                    </a:lnTo>
                    <a:close/>
                    <a:moveTo>
                      <a:pt x="46" y="108"/>
                    </a:moveTo>
                    <a:lnTo>
                      <a:pt x="48" y="108"/>
                    </a:lnTo>
                    <a:lnTo>
                      <a:pt x="48" y="110"/>
                    </a:lnTo>
                    <a:lnTo>
                      <a:pt x="46" y="110"/>
                    </a:lnTo>
                    <a:lnTo>
                      <a:pt x="46" y="108"/>
                    </a:lnTo>
                    <a:close/>
                    <a:moveTo>
                      <a:pt x="90" y="108"/>
                    </a:moveTo>
                    <a:lnTo>
                      <a:pt x="92" y="108"/>
                    </a:lnTo>
                    <a:lnTo>
                      <a:pt x="90" y="108"/>
                    </a:lnTo>
                    <a:close/>
                    <a:moveTo>
                      <a:pt x="66" y="32"/>
                    </a:moveTo>
                    <a:lnTo>
                      <a:pt x="68" y="32"/>
                    </a:lnTo>
                    <a:lnTo>
                      <a:pt x="66" y="32"/>
                    </a:lnTo>
                    <a:close/>
                    <a:moveTo>
                      <a:pt x="95" y="115"/>
                    </a:moveTo>
                    <a:lnTo>
                      <a:pt x="97" y="115"/>
                    </a:lnTo>
                    <a:lnTo>
                      <a:pt x="95" y="115"/>
                    </a:lnTo>
                    <a:close/>
                    <a:moveTo>
                      <a:pt x="82" y="64"/>
                    </a:moveTo>
                    <a:lnTo>
                      <a:pt x="83" y="64"/>
                    </a:lnTo>
                    <a:lnTo>
                      <a:pt x="83" y="66"/>
                    </a:lnTo>
                    <a:lnTo>
                      <a:pt x="82" y="66"/>
                    </a:lnTo>
                    <a:lnTo>
                      <a:pt x="82" y="64"/>
                    </a:lnTo>
                    <a:close/>
                    <a:moveTo>
                      <a:pt x="46" y="13"/>
                    </a:moveTo>
                    <a:lnTo>
                      <a:pt x="48" y="13"/>
                    </a:lnTo>
                    <a:lnTo>
                      <a:pt x="48" y="15"/>
                    </a:lnTo>
                    <a:lnTo>
                      <a:pt x="46" y="15"/>
                    </a:lnTo>
                    <a:lnTo>
                      <a:pt x="46" y="13"/>
                    </a:lnTo>
                    <a:close/>
                    <a:moveTo>
                      <a:pt x="138" y="153"/>
                    </a:moveTo>
                    <a:lnTo>
                      <a:pt x="139" y="153"/>
                    </a:lnTo>
                    <a:lnTo>
                      <a:pt x="138" y="153"/>
                    </a:lnTo>
                    <a:close/>
                    <a:moveTo>
                      <a:pt x="15" y="22"/>
                    </a:moveTo>
                    <a:lnTo>
                      <a:pt x="15" y="23"/>
                    </a:lnTo>
                    <a:lnTo>
                      <a:pt x="15" y="22"/>
                    </a:lnTo>
                    <a:close/>
                    <a:moveTo>
                      <a:pt x="65" y="22"/>
                    </a:moveTo>
                    <a:lnTo>
                      <a:pt x="66" y="22"/>
                    </a:lnTo>
                    <a:lnTo>
                      <a:pt x="66" y="23"/>
                    </a:lnTo>
                    <a:lnTo>
                      <a:pt x="65" y="23"/>
                    </a:lnTo>
                    <a:lnTo>
                      <a:pt x="65" y="22"/>
                    </a:lnTo>
                    <a:close/>
                    <a:moveTo>
                      <a:pt x="58" y="37"/>
                    </a:moveTo>
                    <a:lnTo>
                      <a:pt x="58" y="39"/>
                    </a:lnTo>
                    <a:lnTo>
                      <a:pt x="58" y="37"/>
                    </a:lnTo>
                    <a:close/>
                    <a:moveTo>
                      <a:pt x="48" y="22"/>
                    </a:moveTo>
                    <a:lnTo>
                      <a:pt x="49" y="22"/>
                    </a:lnTo>
                    <a:lnTo>
                      <a:pt x="49" y="23"/>
                    </a:lnTo>
                    <a:lnTo>
                      <a:pt x="48" y="23"/>
                    </a:lnTo>
                    <a:lnTo>
                      <a:pt x="48" y="22"/>
                    </a:lnTo>
                    <a:close/>
                    <a:moveTo>
                      <a:pt x="59" y="17"/>
                    </a:moveTo>
                    <a:lnTo>
                      <a:pt x="61" y="17"/>
                    </a:lnTo>
                    <a:lnTo>
                      <a:pt x="59" y="17"/>
                    </a:lnTo>
                    <a:close/>
                    <a:moveTo>
                      <a:pt x="122" y="142"/>
                    </a:moveTo>
                    <a:lnTo>
                      <a:pt x="124" y="142"/>
                    </a:lnTo>
                    <a:lnTo>
                      <a:pt x="122" y="142"/>
                    </a:lnTo>
                    <a:close/>
                    <a:moveTo>
                      <a:pt x="182" y="170"/>
                    </a:moveTo>
                    <a:lnTo>
                      <a:pt x="182" y="171"/>
                    </a:lnTo>
                    <a:lnTo>
                      <a:pt x="182" y="170"/>
                    </a:lnTo>
                    <a:close/>
                    <a:moveTo>
                      <a:pt x="139" y="151"/>
                    </a:moveTo>
                    <a:lnTo>
                      <a:pt x="139" y="153"/>
                    </a:lnTo>
                    <a:lnTo>
                      <a:pt x="139" y="151"/>
                    </a:lnTo>
                    <a:close/>
                    <a:moveTo>
                      <a:pt x="90" y="107"/>
                    </a:moveTo>
                    <a:lnTo>
                      <a:pt x="90" y="108"/>
                    </a:lnTo>
                    <a:lnTo>
                      <a:pt x="90" y="107"/>
                    </a:lnTo>
                    <a:close/>
                    <a:moveTo>
                      <a:pt x="93" y="112"/>
                    </a:moveTo>
                    <a:lnTo>
                      <a:pt x="93" y="114"/>
                    </a:lnTo>
                    <a:lnTo>
                      <a:pt x="93" y="112"/>
                    </a:lnTo>
                    <a:close/>
                    <a:moveTo>
                      <a:pt x="39" y="5"/>
                    </a:moveTo>
                    <a:lnTo>
                      <a:pt x="41" y="5"/>
                    </a:lnTo>
                    <a:lnTo>
                      <a:pt x="39" y="5"/>
                    </a:lnTo>
                    <a:close/>
                    <a:moveTo>
                      <a:pt x="83" y="90"/>
                    </a:moveTo>
                    <a:lnTo>
                      <a:pt x="83" y="91"/>
                    </a:lnTo>
                    <a:lnTo>
                      <a:pt x="83" y="90"/>
                    </a:lnTo>
                    <a:close/>
                    <a:moveTo>
                      <a:pt x="76" y="27"/>
                    </a:moveTo>
                    <a:lnTo>
                      <a:pt x="78" y="27"/>
                    </a:lnTo>
                    <a:lnTo>
                      <a:pt x="78" y="29"/>
                    </a:lnTo>
                    <a:lnTo>
                      <a:pt x="76" y="29"/>
                    </a:lnTo>
                    <a:lnTo>
                      <a:pt x="76" y="27"/>
                    </a:lnTo>
                    <a:close/>
                    <a:moveTo>
                      <a:pt x="49" y="110"/>
                    </a:moveTo>
                    <a:lnTo>
                      <a:pt x="51" y="110"/>
                    </a:lnTo>
                    <a:lnTo>
                      <a:pt x="49" y="110"/>
                    </a:lnTo>
                    <a:close/>
                    <a:moveTo>
                      <a:pt x="68" y="30"/>
                    </a:moveTo>
                    <a:lnTo>
                      <a:pt x="70" y="30"/>
                    </a:lnTo>
                    <a:lnTo>
                      <a:pt x="68" y="30"/>
                    </a:lnTo>
                    <a:close/>
                    <a:moveTo>
                      <a:pt x="116" y="178"/>
                    </a:moveTo>
                    <a:lnTo>
                      <a:pt x="117" y="178"/>
                    </a:lnTo>
                    <a:lnTo>
                      <a:pt x="117" y="180"/>
                    </a:lnTo>
                    <a:lnTo>
                      <a:pt x="116" y="180"/>
                    </a:lnTo>
                    <a:lnTo>
                      <a:pt x="116" y="178"/>
                    </a:lnTo>
                    <a:close/>
                    <a:moveTo>
                      <a:pt x="75" y="22"/>
                    </a:moveTo>
                    <a:lnTo>
                      <a:pt x="75" y="23"/>
                    </a:lnTo>
                    <a:lnTo>
                      <a:pt x="75" y="22"/>
                    </a:lnTo>
                    <a:close/>
                    <a:moveTo>
                      <a:pt x="44" y="17"/>
                    </a:moveTo>
                    <a:lnTo>
                      <a:pt x="46" y="17"/>
                    </a:lnTo>
                    <a:lnTo>
                      <a:pt x="44" y="17"/>
                    </a:lnTo>
                    <a:close/>
                    <a:moveTo>
                      <a:pt x="46" y="15"/>
                    </a:moveTo>
                    <a:lnTo>
                      <a:pt x="46" y="17"/>
                    </a:lnTo>
                    <a:lnTo>
                      <a:pt x="46" y="15"/>
                    </a:lnTo>
                    <a:close/>
                    <a:moveTo>
                      <a:pt x="119" y="183"/>
                    </a:moveTo>
                    <a:lnTo>
                      <a:pt x="119" y="185"/>
                    </a:lnTo>
                    <a:lnTo>
                      <a:pt x="119" y="183"/>
                    </a:lnTo>
                    <a:close/>
                    <a:moveTo>
                      <a:pt x="65" y="27"/>
                    </a:moveTo>
                    <a:lnTo>
                      <a:pt x="66" y="27"/>
                    </a:lnTo>
                    <a:lnTo>
                      <a:pt x="65" y="27"/>
                    </a:lnTo>
                    <a:close/>
                    <a:moveTo>
                      <a:pt x="104" y="127"/>
                    </a:moveTo>
                    <a:lnTo>
                      <a:pt x="105" y="127"/>
                    </a:lnTo>
                    <a:lnTo>
                      <a:pt x="105" y="129"/>
                    </a:lnTo>
                    <a:lnTo>
                      <a:pt x="104" y="129"/>
                    </a:lnTo>
                    <a:lnTo>
                      <a:pt x="104" y="127"/>
                    </a:lnTo>
                    <a:close/>
                    <a:moveTo>
                      <a:pt x="0" y="63"/>
                    </a:moveTo>
                    <a:lnTo>
                      <a:pt x="0" y="64"/>
                    </a:lnTo>
                    <a:lnTo>
                      <a:pt x="0" y="63"/>
                    </a:lnTo>
                    <a:close/>
                    <a:moveTo>
                      <a:pt x="51" y="127"/>
                    </a:moveTo>
                    <a:lnTo>
                      <a:pt x="53" y="127"/>
                    </a:lnTo>
                    <a:lnTo>
                      <a:pt x="51" y="127"/>
                    </a:lnTo>
                    <a:close/>
                    <a:moveTo>
                      <a:pt x="49" y="125"/>
                    </a:moveTo>
                    <a:lnTo>
                      <a:pt x="51" y="125"/>
                    </a:lnTo>
                    <a:lnTo>
                      <a:pt x="49" y="125"/>
                    </a:lnTo>
                    <a:close/>
                    <a:moveTo>
                      <a:pt x="46" y="54"/>
                    </a:moveTo>
                    <a:lnTo>
                      <a:pt x="48" y="54"/>
                    </a:lnTo>
                    <a:lnTo>
                      <a:pt x="46" y="54"/>
                    </a:lnTo>
                    <a:close/>
                    <a:moveTo>
                      <a:pt x="76" y="23"/>
                    </a:moveTo>
                    <a:lnTo>
                      <a:pt x="76" y="25"/>
                    </a:lnTo>
                    <a:lnTo>
                      <a:pt x="76" y="23"/>
                    </a:lnTo>
                    <a:close/>
                    <a:moveTo>
                      <a:pt x="92" y="110"/>
                    </a:moveTo>
                    <a:lnTo>
                      <a:pt x="93" y="110"/>
                    </a:lnTo>
                    <a:lnTo>
                      <a:pt x="92" y="110"/>
                    </a:lnTo>
                    <a:close/>
                    <a:moveTo>
                      <a:pt x="102" y="124"/>
                    </a:moveTo>
                    <a:lnTo>
                      <a:pt x="102" y="125"/>
                    </a:lnTo>
                    <a:lnTo>
                      <a:pt x="102" y="124"/>
                    </a:lnTo>
                    <a:close/>
                    <a:moveTo>
                      <a:pt x="65" y="23"/>
                    </a:moveTo>
                    <a:lnTo>
                      <a:pt x="65" y="25"/>
                    </a:lnTo>
                    <a:lnTo>
                      <a:pt x="65" y="23"/>
                    </a:lnTo>
                    <a:close/>
                    <a:moveTo>
                      <a:pt x="65" y="23"/>
                    </a:moveTo>
                    <a:lnTo>
                      <a:pt x="65" y="25"/>
                    </a:lnTo>
                    <a:lnTo>
                      <a:pt x="65" y="23"/>
                    </a:lnTo>
                    <a:close/>
                    <a:moveTo>
                      <a:pt x="49" y="105"/>
                    </a:moveTo>
                    <a:lnTo>
                      <a:pt x="51" y="105"/>
                    </a:lnTo>
                    <a:lnTo>
                      <a:pt x="51" y="107"/>
                    </a:lnTo>
                    <a:lnTo>
                      <a:pt x="49" y="107"/>
                    </a:lnTo>
                    <a:lnTo>
                      <a:pt x="49" y="105"/>
                    </a:lnTo>
                    <a:close/>
                    <a:moveTo>
                      <a:pt x="95" y="114"/>
                    </a:moveTo>
                    <a:lnTo>
                      <a:pt x="95" y="115"/>
                    </a:lnTo>
                    <a:lnTo>
                      <a:pt x="95" y="114"/>
                    </a:lnTo>
                    <a:close/>
                    <a:moveTo>
                      <a:pt x="97" y="115"/>
                    </a:moveTo>
                    <a:lnTo>
                      <a:pt x="97" y="117"/>
                    </a:lnTo>
                    <a:lnTo>
                      <a:pt x="97" y="115"/>
                    </a:lnTo>
                    <a:close/>
                    <a:moveTo>
                      <a:pt x="48" y="110"/>
                    </a:moveTo>
                    <a:lnTo>
                      <a:pt x="48" y="112"/>
                    </a:lnTo>
                    <a:lnTo>
                      <a:pt x="48" y="110"/>
                    </a:lnTo>
                    <a:close/>
                    <a:moveTo>
                      <a:pt x="25" y="18"/>
                    </a:moveTo>
                    <a:lnTo>
                      <a:pt x="25" y="20"/>
                    </a:lnTo>
                    <a:lnTo>
                      <a:pt x="25" y="18"/>
                    </a:lnTo>
                    <a:close/>
                    <a:moveTo>
                      <a:pt x="70" y="29"/>
                    </a:moveTo>
                    <a:lnTo>
                      <a:pt x="70" y="30"/>
                    </a:lnTo>
                    <a:lnTo>
                      <a:pt x="70" y="29"/>
                    </a:lnTo>
                    <a:close/>
                    <a:moveTo>
                      <a:pt x="78" y="32"/>
                    </a:moveTo>
                    <a:lnTo>
                      <a:pt x="78" y="34"/>
                    </a:lnTo>
                    <a:lnTo>
                      <a:pt x="78" y="32"/>
                    </a:lnTo>
                    <a:close/>
                    <a:moveTo>
                      <a:pt x="83" y="102"/>
                    </a:moveTo>
                    <a:lnTo>
                      <a:pt x="85" y="102"/>
                    </a:lnTo>
                    <a:lnTo>
                      <a:pt x="83" y="102"/>
                    </a:lnTo>
                    <a:close/>
                    <a:moveTo>
                      <a:pt x="51" y="120"/>
                    </a:moveTo>
                    <a:lnTo>
                      <a:pt x="51" y="122"/>
                    </a:lnTo>
                    <a:lnTo>
                      <a:pt x="51" y="120"/>
                    </a:lnTo>
                    <a:close/>
                    <a:moveTo>
                      <a:pt x="136" y="151"/>
                    </a:moveTo>
                    <a:lnTo>
                      <a:pt x="138" y="151"/>
                    </a:lnTo>
                    <a:lnTo>
                      <a:pt x="138" y="153"/>
                    </a:lnTo>
                    <a:lnTo>
                      <a:pt x="136" y="153"/>
                    </a:lnTo>
                    <a:lnTo>
                      <a:pt x="136" y="151"/>
                    </a:lnTo>
                    <a:close/>
                    <a:moveTo>
                      <a:pt x="15" y="23"/>
                    </a:moveTo>
                    <a:lnTo>
                      <a:pt x="17" y="23"/>
                    </a:lnTo>
                    <a:lnTo>
                      <a:pt x="17" y="25"/>
                    </a:lnTo>
                    <a:lnTo>
                      <a:pt x="15" y="25"/>
                    </a:lnTo>
                    <a:lnTo>
                      <a:pt x="15" y="23"/>
                    </a:lnTo>
                    <a:close/>
                    <a:moveTo>
                      <a:pt x="66" y="29"/>
                    </a:moveTo>
                    <a:lnTo>
                      <a:pt x="68" y="29"/>
                    </a:lnTo>
                    <a:lnTo>
                      <a:pt x="66" y="29"/>
                    </a:lnTo>
                    <a:close/>
                    <a:moveTo>
                      <a:pt x="63" y="25"/>
                    </a:moveTo>
                    <a:lnTo>
                      <a:pt x="65" y="25"/>
                    </a:lnTo>
                    <a:lnTo>
                      <a:pt x="63" y="25"/>
                    </a:lnTo>
                    <a:close/>
                    <a:moveTo>
                      <a:pt x="53" y="134"/>
                    </a:moveTo>
                    <a:lnTo>
                      <a:pt x="54" y="134"/>
                    </a:lnTo>
                    <a:lnTo>
                      <a:pt x="53" y="134"/>
                    </a:lnTo>
                    <a:close/>
                    <a:moveTo>
                      <a:pt x="63" y="22"/>
                    </a:moveTo>
                    <a:lnTo>
                      <a:pt x="63" y="23"/>
                    </a:lnTo>
                    <a:lnTo>
                      <a:pt x="63" y="22"/>
                    </a:lnTo>
                    <a:close/>
                    <a:moveTo>
                      <a:pt x="46" y="15"/>
                    </a:moveTo>
                    <a:lnTo>
                      <a:pt x="46" y="17"/>
                    </a:lnTo>
                    <a:lnTo>
                      <a:pt x="46" y="15"/>
                    </a:lnTo>
                    <a:close/>
                    <a:moveTo>
                      <a:pt x="109" y="136"/>
                    </a:moveTo>
                    <a:lnTo>
                      <a:pt x="109" y="137"/>
                    </a:lnTo>
                    <a:lnTo>
                      <a:pt x="109" y="136"/>
                    </a:lnTo>
                    <a:close/>
                    <a:moveTo>
                      <a:pt x="88" y="64"/>
                    </a:moveTo>
                    <a:lnTo>
                      <a:pt x="90" y="64"/>
                    </a:lnTo>
                    <a:lnTo>
                      <a:pt x="88" y="64"/>
                    </a:lnTo>
                    <a:close/>
                    <a:moveTo>
                      <a:pt x="53" y="132"/>
                    </a:moveTo>
                    <a:lnTo>
                      <a:pt x="53" y="134"/>
                    </a:lnTo>
                    <a:lnTo>
                      <a:pt x="53" y="132"/>
                    </a:lnTo>
                    <a:close/>
                    <a:moveTo>
                      <a:pt x="58" y="12"/>
                    </a:moveTo>
                    <a:lnTo>
                      <a:pt x="59" y="12"/>
                    </a:lnTo>
                    <a:lnTo>
                      <a:pt x="58" y="12"/>
                    </a:lnTo>
                    <a:close/>
                    <a:moveTo>
                      <a:pt x="51" y="120"/>
                    </a:moveTo>
                    <a:lnTo>
                      <a:pt x="53" y="120"/>
                    </a:lnTo>
                    <a:lnTo>
                      <a:pt x="51" y="120"/>
                    </a:lnTo>
                    <a:close/>
                    <a:moveTo>
                      <a:pt x="100" y="122"/>
                    </a:moveTo>
                    <a:lnTo>
                      <a:pt x="100" y="124"/>
                    </a:lnTo>
                    <a:lnTo>
                      <a:pt x="100" y="122"/>
                    </a:lnTo>
                    <a:close/>
                    <a:moveTo>
                      <a:pt x="25" y="17"/>
                    </a:moveTo>
                    <a:lnTo>
                      <a:pt x="27" y="17"/>
                    </a:lnTo>
                    <a:lnTo>
                      <a:pt x="25" y="17"/>
                    </a:lnTo>
                    <a:close/>
                    <a:moveTo>
                      <a:pt x="68" y="20"/>
                    </a:moveTo>
                    <a:lnTo>
                      <a:pt x="70" y="20"/>
                    </a:lnTo>
                    <a:lnTo>
                      <a:pt x="68" y="20"/>
                    </a:lnTo>
                    <a:close/>
                    <a:moveTo>
                      <a:pt x="27" y="18"/>
                    </a:moveTo>
                    <a:lnTo>
                      <a:pt x="29" y="18"/>
                    </a:lnTo>
                    <a:lnTo>
                      <a:pt x="27" y="18"/>
                    </a:lnTo>
                    <a:close/>
                    <a:moveTo>
                      <a:pt x="49" y="12"/>
                    </a:moveTo>
                    <a:lnTo>
                      <a:pt x="51" y="12"/>
                    </a:lnTo>
                    <a:lnTo>
                      <a:pt x="49" y="12"/>
                    </a:lnTo>
                    <a:close/>
                    <a:moveTo>
                      <a:pt x="48" y="112"/>
                    </a:moveTo>
                    <a:lnTo>
                      <a:pt x="49" y="112"/>
                    </a:lnTo>
                    <a:lnTo>
                      <a:pt x="48" y="112"/>
                    </a:lnTo>
                    <a:close/>
                    <a:moveTo>
                      <a:pt x="34" y="18"/>
                    </a:moveTo>
                    <a:lnTo>
                      <a:pt x="34" y="20"/>
                    </a:lnTo>
                    <a:lnTo>
                      <a:pt x="34" y="18"/>
                    </a:lnTo>
                    <a:close/>
                    <a:moveTo>
                      <a:pt x="92" y="108"/>
                    </a:moveTo>
                    <a:lnTo>
                      <a:pt x="92" y="110"/>
                    </a:lnTo>
                    <a:lnTo>
                      <a:pt x="92" y="108"/>
                    </a:lnTo>
                    <a:close/>
                    <a:moveTo>
                      <a:pt x="75" y="32"/>
                    </a:moveTo>
                    <a:lnTo>
                      <a:pt x="76" y="32"/>
                    </a:lnTo>
                    <a:lnTo>
                      <a:pt x="75" y="32"/>
                    </a:lnTo>
                    <a:close/>
                    <a:moveTo>
                      <a:pt x="15" y="22"/>
                    </a:moveTo>
                    <a:lnTo>
                      <a:pt x="15" y="23"/>
                    </a:lnTo>
                    <a:lnTo>
                      <a:pt x="15" y="22"/>
                    </a:lnTo>
                    <a:close/>
                    <a:moveTo>
                      <a:pt x="66" y="18"/>
                    </a:moveTo>
                    <a:lnTo>
                      <a:pt x="68" y="18"/>
                    </a:lnTo>
                    <a:lnTo>
                      <a:pt x="66" y="18"/>
                    </a:lnTo>
                    <a:close/>
                    <a:moveTo>
                      <a:pt x="51" y="127"/>
                    </a:moveTo>
                    <a:lnTo>
                      <a:pt x="53" y="127"/>
                    </a:lnTo>
                    <a:lnTo>
                      <a:pt x="53" y="129"/>
                    </a:lnTo>
                    <a:lnTo>
                      <a:pt x="51" y="129"/>
                    </a:lnTo>
                    <a:lnTo>
                      <a:pt x="51" y="127"/>
                    </a:lnTo>
                    <a:close/>
                    <a:moveTo>
                      <a:pt x="44" y="54"/>
                    </a:moveTo>
                    <a:lnTo>
                      <a:pt x="46" y="54"/>
                    </a:lnTo>
                    <a:lnTo>
                      <a:pt x="44" y="54"/>
                    </a:lnTo>
                    <a:close/>
                    <a:moveTo>
                      <a:pt x="51" y="134"/>
                    </a:moveTo>
                    <a:lnTo>
                      <a:pt x="53" y="134"/>
                    </a:lnTo>
                    <a:lnTo>
                      <a:pt x="51" y="134"/>
                    </a:lnTo>
                    <a:close/>
                    <a:moveTo>
                      <a:pt x="49" y="66"/>
                    </a:moveTo>
                    <a:lnTo>
                      <a:pt x="51" y="66"/>
                    </a:lnTo>
                    <a:lnTo>
                      <a:pt x="49" y="66"/>
                    </a:lnTo>
                    <a:close/>
                    <a:moveTo>
                      <a:pt x="44" y="83"/>
                    </a:moveTo>
                    <a:lnTo>
                      <a:pt x="46" y="83"/>
                    </a:lnTo>
                    <a:lnTo>
                      <a:pt x="46" y="85"/>
                    </a:lnTo>
                    <a:lnTo>
                      <a:pt x="44" y="85"/>
                    </a:lnTo>
                    <a:lnTo>
                      <a:pt x="44" y="83"/>
                    </a:lnTo>
                    <a:close/>
                    <a:moveTo>
                      <a:pt x="49" y="57"/>
                    </a:moveTo>
                    <a:lnTo>
                      <a:pt x="49" y="59"/>
                    </a:lnTo>
                    <a:lnTo>
                      <a:pt x="49" y="57"/>
                    </a:lnTo>
                    <a:close/>
                    <a:moveTo>
                      <a:pt x="93" y="115"/>
                    </a:moveTo>
                    <a:lnTo>
                      <a:pt x="95" y="115"/>
                    </a:lnTo>
                    <a:lnTo>
                      <a:pt x="93" y="115"/>
                    </a:lnTo>
                    <a:close/>
                    <a:moveTo>
                      <a:pt x="119" y="139"/>
                    </a:moveTo>
                    <a:lnTo>
                      <a:pt x="121" y="139"/>
                    </a:lnTo>
                    <a:lnTo>
                      <a:pt x="119" y="139"/>
                    </a:lnTo>
                    <a:close/>
                    <a:moveTo>
                      <a:pt x="93" y="112"/>
                    </a:moveTo>
                    <a:lnTo>
                      <a:pt x="95" y="112"/>
                    </a:lnTo>
                    <a:lnTo>
                      <a:pt x="95" y="114"/>
                    </a:lnTo>
                    <a:lnTo>
                      <a:pt x="93" y="114"/>
                    </a:lnTo>
                    <a:lnTo>
                      <a:pt x="93" y="112"/>
                    </a:lnTo>
                    <a:close/>
                    <a:moveTo>
                      <a:pt x="25" y="15"/>
                    </a:moveTo>
                    <a:lnTo>
                      <a:pt x="25" y="17"/>
                    </a:lnTo>
                    <a:lnTo>
                      <a:pt x="25" y="15"/>
                    </a:lnTo>
                    <a:close/>
                    <a:moveTo>
                      <a:pt x="65" y="22"/>
                    </a:moveTo>
                    <a:lnTo>
                      <a:pt x="65" y="23"/>
                    </a:lnTo>
                    <a:lnTo>
                      <a:pt x="65" y="22"/>
                    </a:lnTo>
                    <a:close/>
                    <a:moveTo>
                      <a:pt x="46" y="15"/>
                    </a:moveTo>
                    <a:lnTo>
                      <a:pt x="46" y="17"/>
                    </a:lnTo>
                    <a:lnTo>
                      <a:pt x="46" y="15"/>
                    </a:lnTo>
                    <a:close/>
                    <a:moveTo>
                      <a:pt x="49" y="68"/>
                    </a:moveTo>
                    <a:lnTo>
                      <a:pt x="51" y="68"/>
                    </a:lnTo>
                    <a:lnTo>
                      <a:pt x="49" y="68"/>
                    </a:lnTo>
                    <a:close/>
                    <a:moveTo>
                      <a:pt x="117" y="141"/>
                    </a:moveTo>
                    <a:lnTo>
                      <a:pt x="119" y="141"/>
                    </a:lnTo>
                    <a:lnTo>
                      <a:pt x="119" y="142"/>
                    </a:lnTo>
                    <a:lnTo>
                      <a:pt x="117" y="142"/>
                    </a:lnTo>
                    <a:lnTo>
                      <a:pt x="117" y="141"/>
                    </a:lnTo>
                    <a:close/>
                    <a:moveTo>
                      <a:pt x="136" y="149"/>
                    </a:moveTo>
                    <a:lnTo>
                      <a:pt x="138" y="149"/>
                    </a:lnTo>
                    <a:lnTo>
                      <a:pt x="136" y="149"/>
                    </a:lnTo>
                    <a:close/>
                    <a:moveTo>
                      <a:pt x="138" y="151"/>
                    </a:moveTo>
                    <a:lnTo>
                      <a:pt x="139" y="151"/>
                    </a:lnTo>
                    <a:lnTo>
                      <a:pt x="138" y="151"/>
                    </a:lnTo>
                    <a:close/>
                    <a:moveTo>
                      <a:pt x="66" y="81"/>
                    </a:moveTo>
                    <a:lnTo>
                      <a:pt x="68" y="81"/>
                    </a:lnTo>
                    <a:lnTo>
                      <a:pt x="66" y="81"/>
                    </a:lnTo>
                    <a:close/>
                    <a:moveTo>
                      <a:pt x="51" y="132"/>
                    </a:moveTo>
                    <a:lnTo>
                      <a:pt x="51" y="134"/>
                    </a:lnTo>
                    <a:lnTo>
                      <a:pt x="51" y="132"/>
                    </a:lnTo>
                    <a:close/>
                    <a:moveTo>
                      <a:pt x="82" y="71"/>
                    </a:moveTo>
                    <a:lnTo>
                      <a:pt x="82" y="73"/>
                    </a:lnTo>
                    <a:lnTo>
                      <a:pt x="82" y="71"/>
                    </a:lnTo>
                    <a:close/>
                    <a:moveTo>
                      <a:pt x="92" y="108"/>
                    </a:moveTo>
                    <a:lnTo>
                      <a:pt x="92" y="110"/>
                    </a:lnTo>
                    <a:lnTo>
                      <a:pt x="92" y="108"/>
                    </a:lnTo>
                    <a:close/>
                    <a:moveTo>
                      <a:pt x="53" y="8"/>
                    </a:moveTo>
                    <a:lnTo>
                      <a:pt x="53" y="10"/>
                    </a:lnTo>
                    <a:lnTo>
                      <a:pt x="53" y="8"/>
                    </a:lnTo>
                    <a:close/>
                    <a:moveTo>
                      <a:pt x="116" y="142"/>
                    </a:moveTo>
                    <a:lnTo>
                      <a:pt x="117" y="142"/>
                    </a:lnTo>
                    <a:lnTo>
                      <a:pt x="116" y="142"/>
                    </a:lnTo>
                    <a:close/>
                    <a:moveTo>
                      <a:pt x="85" y="64"/>
                    </a:moveTo>
                    <a:lnTo>
                      <a:pt x="85" y="66"/>
                    </a:lnTo>
                    <a:lnTo>
                      <a:pt x="85" y="64"/>
                    </a:lnTo>
                    <a:close/>
                    <a:moveTo>
                      <a:pt x="56" y="12"/>
                    </a:moveTo>
                    <a:lnTo>
                      <a:pt x="58" y="12"/>
                    </a:lnTo>
                    <a:lnTo>
                      <a:pt x="56" y="1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45" name="Freeform 14">
                <a:extLst>
                  <a:ext uri="{FF2B5EF4-FFF2-40B4-BE49-F238E27FC236}">
                    <a16:creationId xmlns:a16="http://schemas.microsoft.com/office/drawing/2014/main" id="{359EFA11-FDD8-7B56-0574-3EBEA8ED44BD}"/>
                  </a:ext>
                </a:extLst>
              </p:cNvPr>
              <p:cNvSpPr>
                <a:spLocks/>
              </p:cNvSpPr>
              <p:nvPr/>
            </p:nvSpPr>
            <p:spPr bwMode="auto">
              <a:xfrm>
                <a:off x="6456363" y="1733550"/>
                <a:ext cx="11112" cy="14288"/>
              </a:xfrm>
              <a:custGeom>
                <a:avLst/>
                <a:gdLst>
                  <a:gd name="T0" fmla="*/ 2 w 7"/>
                  <a:gd name="T1" fmla="*/ 0 h 9"/>
                  <a:gd name="T2" fmla="*/ 2 w 7"/>
                  <a:gd name="T3" fmla="*/ 2 h 9"/>
                  <a:gd name="T4" fmla="*/ 3 w 7"/>
                  <a:gd name="T5" fmla="*/ 2 h 9"/>
                  <a:gd name="T6" fmla="*/ 3 w 7"/>
                  <a:gd name="T7" fmla="*/ 4 h 9"/>
                  <a:gd name="T8" fmla="*/ 5 w 7"/>
                  <a:gd name="T9" fmla="*/ 4 h 9"/>
                  <a:gd name="T10" fmla="*/ 5 w 7"/>
                  <a:gd name="T11" fmla="*/ 5 h 9"/>
                  <a:gd name="T12" fmla="*/ 7 w 7"/>
                  <a:gd name="T13" fmla="*/ 5 h 9"/>
                  <a:gd name="T14" fmla="*/ 7 w 7"/>
                  <a:gd name="T15" fmla="*/ 7 h 9"/>
                  <a:gd name="T16" fmla="*/ 7 w 7"/>
                  <a:gd name="T17" fmla="*/ 9 h 9"/>
                  <a:gd name="T18" fmla="*/ 5 w 7"/>
                  <a:gd name="T19" fmla="*/ 9 h 9"/>
                  <a:gd name="T20" fmla="*/ 3 w 7"/>
                  <a:gd name="T21" fmla="*/ 9 h 9"/>
                  <a:gd name="T22" fmla="*/ 2 w 7"/>
                  <a:gd name="T23" fmla="*/ 9 h 9"/>
                  <a:gd name="T24" fmla="*/ 0 w 7"/>
                  <a:gd name="T25" fmla="*/ 7 h 9"/>
                  <a:gd name="T26" fmla="*/ 0 w 7"/>
                  <a:gd name="T27" fmla="*/ 5 h 9"/>
                  <a:gd name="T28" fmla="*/ 0 w 7"/>
                  <a:gd name="T29" fmla="*/ 4 h 9"/>
                  <a:gd name="T30" fmla="*/ 0 w 7"/>
                  <a:gd name="T31" fmla="*/ 2 h 9"/>
                  <a:gd name="T32" fmla="*/ 0 w 7"/>
                  <a:gd name="T33" fmla="*/ 0 h 9"/>
                  <a:gd name="T34" fmla="*/ 2 w 7"/>
                  <a:gd name="T3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9">
                    <a:moveTo>
                      <a:pt x="2" y="0"/>
                    </a:moveTo>
                    <a:lnTo>
                      <a:pt x="2" y="2"/>
                    </a:lnTo>
                    <a:lnTo>
                      <a:pt x="3" y="2"/>
                    </a:lnTo>
                    <a:lnTo>
                      <a:pt x="3" y="4"/>
                    </a:lnTo>
                    <a:lnTo>
                      <a:pt x="5" y="4"/>
                    </a:lnTo>
                    <a:lnTo>
                      <a:pt x="5" y="5"/>
                    </a:lnTo>
                    <a:lnTo>
                      <a:pt x="7" y="5"/>
                    </a:lnTo>
                    <a:lnTo>
                      <a:pt x="7" y="7"/>
                    </a:lnTo>
                    <a:lnTo>
                      <a:pt x="7" y="9"/>
                    </a:lnTo>
                    <a:lnTo>
                      <a:pt x="5" y="9"/>
                    </a:lnTo>
                    <a:lnTo>
                      <a:pt x="3" y="9"/>
                    </a:lnTo>
                    <a:lnTo>
                      <a:pt x="2" y="9"/>
                    </a:lnTo>
                    <a:lnTo>
                      <a:pt x="0" y="7"/>
                    </a:lnTo>
                    <a:lnTo>
                      <a:pt x="0" y="5"/>
                    </a:lnTo>
                    <a:lnTo>
                      <a:pt x="0" y="4"/>
                    </a:lnTo>
                    <a:lnTo>
                      <a:pt x="0" y="2"/>
                    </a:lnTo>
                    <a:lnTo>
                      <a:pt x="0" y="0"/>
                    </a:lnTo>
                    <a:lnTo>
                      <a:pt x="2"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47" name="Freeform 15">
                <a:extLst>
                  <a:ext uri="{FF2B5EF4-FFF2-40B4-BE49-F238E27FC236}">
                    <a16:creationId xmlns:a16="http://schemas.microsoft.com/office/drawing/2014/main" id="{A1B382E3-C652-62D6-8805-4A8F9239E85F}"/>
                  </a:ext>
                </a:extLst>
              </p:cNvPr>
              <p:cNvSpPr>
                <a:spLocks noEditPoints="1"/>
              </p:cNvSpPr>
              <p:nvPr/>
            </p:nvSpPr>
            <p:spPr bwMode="auto">
              <a:xfrm>
                <a:off x="4872038" y="1444625"/>
                <a:ext cx="92075" cy="146050"/>
              </a:xfrm>
              <a:custGeom>
                <a:avLst/>
                <a:gdLst>
                  <a:gd name="T0" fmla="*/ 29 w 58"/>
                  <a:gd name="T1" fmla="*/ 5 h 92"/>
                  <a:gd name="T2" fmla="*/ 32 w 58"/>
                  <a:gd name="T3" fmla="*/ 5 h 92"/>
                  <a:gd name="T4" fmla="*/ 38 w 58"/>
                  <a:gd name="T5" fmla="*/ 10 h 92"/>
                  <a:gd name="T6" fmla="*/ 36 w 58"/>
                  <a:gd name="T7" fmla="*/ 19 h 92"/>
                  <a:gd name="T8" fmla="*/ 32 w 58"/>
                  <a:gd name="T9" fmla="*/ 26 h 92"/>
                  <a:gd name="T10" fmla="*/ 31 w 58"/>
                  <a:gd name="T11" fmla="*/ 34 h 92"/>
                  <a:gd name="T12" fmla="*/ 34 w 58"/>
                  <a:gd name="T13" fmla="*/ 36 h 92"/>
                  <a:gd name="T14" fmla="*/ 31 w 58"/>
                  <a:gd name="T15" fmla="*/ 44 h 92"/>
                  <a:gd name="T16" fmla="*/ 32 w 58"/>
                  <a:gd name="T17" fmla="*/ 53 h 92"/>
                  <a:gd name="T18" fmla="*/ 32 w 58"/>
                  <a:gd name="T19" fmla="*/ 60 h 92"/>
                  <a:gd name="T20" fmla="*/ 29 w 58"/>
                  <a:gd name="T21" fmla="*/ 66 h 92"/>
                  <a:gd name="T22" fmla="*/ 29 w 58"/>
                  <a:gd name="T23" fmla="*/ 66 h 92"/>
                  <a:gd name="T24" fmla="*/ 29 w 58"/>
                  <a:gd name="T25" fmla="*/ 70 h 92"/>
                  <a:gd name="T26" fmla="*/ 26 w 58"/>
                  <a:gd name="T27" fmla="*/ 73 h 92"/>
                  <a:gd name="T28" fmla="*/ 22 w 58"/>
                  <a:gd name="T29" fmla="*/ 78 h 92"/>
                  <a:gd name="T30" fmla="*/ 19 w 58"/>
                  <a:gd name="T31" fmla="*/ 80 h 92"/>
                  <a:gd name="T32" fmla="*/ 14 w 58"/>
                  <a:gd name="T33" fmla="*/ 85 h 92"/>
                  <a:gd name="T34" fmla="*/ 10 w 58"/>
                  <a:gd name="T35" fmla="*/ 90 h 92"/>
                  <a:gd name="T36" fmla="*/ 2 w 58"/>
                  <a:gd name="T37" fmla="*/ 92 h 92"/>
                  <a:gd name="T38" fmla="*/ 0 w 58"/>
                  <a:gd name="T39" fmla="*/ 83 h 92"/>
                  <a:gd name="T40" fmla="*/ 0 w 58"/>
                  <a:gd name="T41" fmla="*/ 73 h 92"/>
                  <a:gd name="T42" fmla="*/ 2 w 58"/>
                  <a:gd name="T43" fmla="*/ 58 h 92"/>
                  <a:gd name="T44" fmla="*/ 2 w 58"/>
                  <a:gd name="T45" fmla="*/ 44 h 92"/>
                  <a:gd name="T46" fmla="*/ 2 w 58"/>
                  <a:gd name="T47" fmla="*/ 22 h 92"/>
                  <a:gd name="T48" fmla="*/ 5 w 58"/>
                  <a:gd name="T49" fmla="*/ 17 h 92"/>
                  <a:gd name="T50" fmla="*/ 10 w 58"/>
                  <a:gd name="T51" fmla="*/ 22 h 92"/>
                  <a:gd name="T52" fmla="*/ 15 w 58"/>
                  <a:gd name="T53" fmla="*/ 17 h 92"/>
                  <a:gd name="T54" fmla="*/ 19 w 58"/>
                  <a:gd name="T55" fmla="*/ 10 h 92"/>
                  <a:gd name="T56" fmla="*/ 22 w 58"/>
                  <a:gd name="T57" fmla="*/ 4 h 92"/>
                  <a:gd name="T58" fmla="*/ 29 w 58"/>
                  <a:gd name="T59" fmla="*/ 0 h 92"/>
                  <a:gd name="T60" fmla="*/ 44 w 58"/>
                  <a:gd name="T61" fmla="*/ 17 h 92"/>
                  <a:gd name="T62" fmla="*/ 41 w 58"/>
                  <a:gd name="T63" fmla="*/ 22 h 92"/>
                  <a:gd name="T64" fmla="*/ 43 w 58"/>
                  <a:gd name="T65" fmla="*/ 19 h 92"/>
                  <a:gd name="T66" fmla="*/ 43 w 58"/>
                  <a:gd name="T67" fmla="*/ 14 h 92"/>
                  <a:gd name="T68" fmla="*/ 49 w 58"/>
                  <a:gd name="T69" fmla="*/ 36 h 92"/>
                  <a:gd name="T70" fmla="*/ 44 w 58"/>
                  <a:gd name="T71" fmla="*/ 41 h 92"/>
                  <a:gd name="T72" fmla="*/ 43 w 58"/>
                  <a:gd name="T73" fmla="*/ 41 h 92"/>
                  <a:gd name="T74" fmla="*/ 46 w 58"/>
                  <a:gd name="T75" fmla="*/ 36 h 92"/>
                  <a:gd name="T76" fmla="*/ 46 w 58"/>
                  <a:gd name="T77" fmla="*/ 34 h 92"/>
                  <a:gd name="T78" fmla="*/ 46 w 58"/>
                  <a:gd name="T79" fmla="*/ 39 h 92"/>
                  <a:gd name="T80" fmla="*/ 46 w 58"/>
                  <a:gd name="T81" fmla="*/ 41 h 92"/>
                  <a:gd name="T82" fmla="*/ 48 w 58"/>
                  <a:gd name="T83" fmla="*/ 38 h 92"/>
                  <a:gd name="T84" fmla="*/ 44 w 58"/>
                  <a:gd name="T85" fmla="*/ 44 h 92"/>
                  <a:gd name="T86" fmla="*/ 43 w 58"/>
                  <a:gd name="T87" fmla="*/ 46 h 92"/>
                  <a:gd name="T88" fmla="*/ 43 w 58"/>
                  <a:gd name="T89" fmla="*/ 46 h 92"/>
                  <a:gd name="T90" fmla="*/ 36 w 58"/>
                  <a:gd name="T91" fmla="*/ 31 h 92"/>
                  <a:gd name="T92" fmla="*/ 36 w 58"/>
                  <a:gd name="T93" fmla="*/ 29 h 92"/>
                  <a:gd name="T94" fmla="*/ 46 w 58"/>
                  <a:gd name="T95" fmla="*/ 46 h 92"/>
                  <a:gd name="T96" fmla="*/ 46 w 58"/>
                  <a:gd name="T97" fmla="*/ 43 h 92"/>
                  <a:gd name="T98" fmla="*/ 46 w 58"/>
                  <a:gd name="T99" fmla="*/ 44 h 92"/>
                  <a:gd name="T100" fmla="*/ 39 w 58"/>
                  <a:gd name="T101" fmla="*/ 26 h 92"/>
                  <a:gd name="T102" fmla="*/ 39 w 58"/>
                  <a:gd name="T103" fmla="*/ 49 h 92"/>
                  <a:gd name="T104" fmla="*/ 38 w 58"/>
                  <a:gd name="T105" fmla="*/ 43 h 92"/>
                  <a:gd name="T106" fmla="*/ 38 w 58"/>
                  <a:gd name="T107" fmla="*/ 22 h 92"/>
                  <a:gd name="T108" fmla="*/ 36 w 58"/>
                  <a:gd name="T109" fmla="*/ 36 h 92"/>
                  <a:gd name="T110" fmla="*/ 39 w 58"/>
                  <a:gd name="T111" fmla="*/ 31 h 92"/>
                  <a:gd name="T112" fmla="*/ 38 w 58"/>
                  <a:gd name="T113" fmla="*/ 56 h 92"/>
                  <a:gd name="T114" fmla="*/ 39 w 58"/>
                  <a:gd name="T115" fmla="*/ 27 h 92"/>
                  <a:gd name="T116" fmla="*/ 34 w 58"/>
                  <a:gd name="T117" fmla="*/ 41 h 92"/>
                  <a:gd name="T118" fmla="*/ 34 w 58"/>
                  <a:gd name="T119" fmla="*/ 32 h 92"/>
                  <a:gd name="T120" fmla="*/ 41 w 58"/>
                  <a:gd name="T121" fmla="*/ 15 h 92"/>
                  <a:gd name="T122" fmla="*/ 39 w 58"/>
                  <a:gd name="T123" fmla="*/ 34 h 92"/>
                  <a:gd name="T124" fmla="*/ 38 w 58"/>
                  <a:gd name="T125" fmla="*/ 3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 h="92">
                    <a:moveTo>
                      <a:pt x="31" y="0"/>
                    </a:moveTo>
                    <a:lnTo>
                      <a:pt x="31" y="2"/>
                    </a:lnTo>
                    <a:lnTo>
                      <a:pt x="29" y="4"/>
                    </a:lnTo>
                    <a:lnTo>
                      <a:pt x="27" y="4"/>
                    </a:lnTo>
                    <a:lnTo>
                      <a:pt x="27" y="5"/>
                    </a:lnTo>
                    <a:lnTo>
                      <a:pt x="29" y="5"/>
                    </a:lnTo>
                    <a:lnTo>
                      <a:pt x="31" y="5"/>
                    </a:lnTo>
                    <a:lnTo>
                      <a:pt x="29" y="5"/>
                    </a:lnTo>
                    <a:lnTo>
                      <a:pt x="29" y="7"/>
                    </a:lnTo>
                    <a:lnTo>
                      <a:pt x="29" y="5"/>
                    </a:lnTo>
                    <a:lnTo>
                      <a:pt x="31" y="5"/>
                    </a:lnTo>
                    <a:lnTo>
                      <a:pt x="32" y="5"/>
                    </a:lnTo>
                    <a:lnTo>
                      <a:pt x="34" y="5"/>
                    </a:lnTo>
                    <a:lnTo>
                      <a:pt x="36" y="5"/>
                    </a:lnTo>
                    <a:lnTo>
                      <a:pt x="38" y="5"/>
                    </a:lnTo>
                    <a:lnTo>
                      <a:pt x="38" y="7"/>
                    </a:lnTo>
                    <a:lnTo>
                      <a:pt x="38" y="9"/>
                    </a:lnTo>
                    <a:lnTo>
                      <a:pt x="38" y="10"/>
                    </a:lnTo>
                    <a:lnTo>
                      <a:pt x="38" y="12"/>
                    </a:lnTo>
                    <a:lnTo>
                      <a:pt x="38" y="14"/>
                    </a:lnTo>
                    <a:lnTo>
                      <a:pt x="38" y="15"/>
                    </a:lnTo>
                    <a:lnTo>
                      <a:pt x="36" y="15"/>
                    </a:lnTo>
                    <a:lnTo>
                      <a:pt x="36" y="17"/>
                    </a:lnTo>
                    <a:lnTo>
                      <a:pt x="36" y="19"/>
                    </a:lnTo>
                    <a:lnTo>
                      <a:pt x="34" y="19"/>
                    </a:lnTo>
                    <a:lnTo>
                      <a:pt x="34" y="21"/>
                    </a:lnTo>
                    <a:lnTo>
                      <a:pt x="34" y="22"/>
                    </a:lnTo>
                    <a:lnTo>
                      <a:pt x="34" y="24"/>
                    </a:lnTo>
                    <a:lnTo>
                      <a:pt x="34" y="26"/>
                    </a:lnTo>
                    <a:lnTo>
                      <a:pt x="32" y="26"/>
                    </a:lnTo>
                    <a:lnTo>
                      <a:pt x="32" y="27"/>
                    </a:lnTo>
                    <a:lnTo>
                      <a:pt x="32" y="29"/>
                    </a:lnTo>
                    <a:lnTo>
                      <a:pt x="32" y="31"/>
                    </a:lnTo>
                    <a:lnTo>
                      <a:pt x="31" y="31"/>
                    </a:lnTo>
                    <a:lnTo>
                      <a:pt x="31" y="32"/>
                    </a:lnTo>
                    <a:lnTo>
                      <a:pt x="31" y="34"/>
                    </a:lnTo>
                    <a:lnTo>
                      <a:pt x="31" y="32"/>
                    </a:lnTo>
                    <a:lnTo>
                      <a:pt x="31" y="34"/>
                    </a:lnTo>
                    <a:lnTo>
                      <a:pt x="31" y="32"/>
                    </a:lnTo>
                    <a:lnTo>
                      <a:pt x="32" y="34"/>
                    </a:lnTo>
                    <a:lnTo>
                      <a:pt x="34" y="34"/>
                    </a:lnTo>
                    <a:lnTo>
                      <a:pt x="34" y="36"/>
                    </a:lnTo>
                    <a:lnTo>
                      <a:pt x="32" y="36"/>
                    </a:lnTo>
                    <a:lnTo>
                      <a:pt x="32" y="38"/>
                    </a:lnTo>
                    <a:lnTo>
                      <a:pt x="32" y="39"/>
                    </a:lnTo>
                    <a:lnTo>
                      <a:pt x="31" y="41"/>
                    </a:lnTo>
                    <a:lnTo>
                      <a:pt x="31" y="43"/>
                    </a:lnTo>
                    <a:lnTo>
                      <a:pt x="31" y="44"/>
                    </a:lnTo>
                    <a:lnTo>
                      <a:pt x="31" y="46"/>
                    </a:lnTo>
                    <a:lnTo>
                      <a:pt x="31" y="48"/>
                    </a:lnTo>
                    <a:lnTo>
                      <a:pt x="31" y="49"/>
                    </a:lnTo>
                    <a:lnTo>
                      <a:pt x="31" y="51"/>
                    </a:lnTo>
                    <a:lnTo>
                      <a:pt x="32" y="51"/>
                    </a:lnTo>
                    <a:lnTo>
                      <a:pt x="32" y="53"/>
                    </a:lnTo>
                    <a:lnTo>
                      <a:pt x="34" y="55"/>
                    </a:lnTo>
                    <a:lnTo>
                      <a:pt x="32" y="55"/>
                    </a:lnTo>
                    <a:lnTo>
                      <a:pt x="32" y="56"/>
                    </a:lnTo>
                    <a:lnTo>
                      <a:pt x="31" y="56"/>
                    </a:lnTo>
                    <a:lnTo>
                      <a:pt x="31" y="58"/>
                    </a:lnTo>
                    <a:lnTo>
                      <a:pt x="32" y="60"/>
                    </a:lnTo>
                    <a:lnTo>
                      <a:pt x="31" y="60"/>
                    </a:lnTo>
                    <a:lnTo>
                      <a:pt x="31" y="61"/>
                    </a:lnTo>
                    <a:lnTo>
                      <a:pt x="31" y="63"/>
                    </a:lnTo>
                    <a:lnTo>
                      <a:pt x="31" y="65"/>
                    </a:lnTo>
                    <a:lnTo>
                      <a:pt x="31" y="66"/>
                    </a:lnTo>
                    <a:lnTo>
                      <a:pt x="29" y="66"/>
                    </a:lnTo>
                    <a:lnTo>
                      <a:pt x="29" y="68"/>
                    </a:lnTo>
                    <a:lnTo>
                      <a:pt x="29" y="70"/>
                    </a:lnTo>
                    <a:lnTo>
                      <a:pt x="27" y="70"/>
                    </a:lnTo>
                    <a:lnTo>
                      <a:pt x="29" y="70"/>
                    </a:lnTo>
                    <a:lnTo>
                      <a:pt x="29" y="68"/>
                    </a:lnTo>
                    <a:lnTo>
                      <a:pt x="29" y="66"/>
                    </a:lnTo>
                    <a:lnTo>
                      <a:pt x="31" y="65"/>
                    </a:lnTo>
                    <a:lnTo>
                      <a:pt x="29" y="65"/>
                    </a:lnTo>
                    <a:lnTo>
                      <a:pt x="29" y="66"/>
                    </a:lnTo>
                    <a:lnTo>
                      <a:pt x="29" y="68"/>
                    </a:lnTo>
                    <a:lnTo>
                      <a:pt x="27" y="68"/>
                    </a:lnTo>
                    <a:lnTo>
                      <a:pt x="29" y="70"/>
                    </a:lnTo>
                    <a:lnTo>
                      <a:pt x="27" y="70"/>
                    </a:lnTo>
                    <a:lnTo>
                      <a:pt x="27" y="68"/>
                    </a:lnTo>
                    <a:lnTo>
                      <a:pt x="27" y="70"/>
                    </a:lnTo>
                    <a:lnTo>
                      <a:pt x="27" y="72"/>
                    </a:lnTo>
                    <a:lnTo>
                      <a:pt x="27" y="73"/>
                    </a:lnTo>
                    <a:lnTo>
                      <a:pt x="26" y="73"/>
                    </a:lnTo>
                    <a:lnTo>
                      <a:pt x="26" y="75"/>
                    </a:lnTo>
                    <a:lnTo>
                      <a:pt x="26" y="73"/>
                    </a:lnTo>
                    <a:lnTo>
                      <a:pt x="24" y="75"/>
                    </a:lnTo>
                    <a:lnTo>
                      <a:pt x="24" y="77"/>
                    </a:lnTo>
                    <a:lnTo>
                      <a:pt x="22" y="77"/>
                    </a:lnTo>
                    <a:lnTo>
                      <a:pt x="22" y="78"/>
                    </a:lnTo>
                    <a:lnTo>
                      <a:pt x="21" y="80"/>
                    </a:lnTo>
                    <a:lnTo>
                      <a:pt x="21" y="78"/>
                    </a:lnTo>
                    <a:lnTo>
                      <a:pt x="21" y="80"/>
                    </a:lnTo>
                    <a:lnTo>
                      <a:pt x="21" y="78"/>
                    </a:lnTo>
                    <a:lnTo>
                      <a:pt x="19" y="78"/>
                    </a:lnTo>
                    <a:lnTo>
                      <a:pt x="19" y="80"/>
                    </a:lnTo>
                    <a:lnTo>
                      <a:pt x="17" y="80"/>
                    </a:lnTo>
                    <a:lnTo>
                      <a:pt x="15" y="80"/>
                    </a:lnTo>
                    <a:lnTo>
                      <a:pt x="15" y="82"/>
                    </a:lnTo>
                    <a:lnTo>
                      <a:pt x="15" y="83"/>
                    </a:lnTo>
                    <a:lnTo>
                      <a:pt x="14" y="83"/>
                    </a:lnTo>
                    <a:lnTo>
                      <a:pt x="14" y="85"/>
                    </a:lnTo>
                    <a:lnTo>
                      <a:pt x="12" y="85"/>
                    </a:lnTo>
                    <a:lnTo>
                      <a:pt x="12" y="87"/>
                    </a:lnTo>
                    <a:lnTo>
                      <a:pt x="10" y="89"/>
                    </a:lnTo>
                    <a:lnTo>
                      <a:pt x="9" y="89"/>
                    </a:lnTo>
                    <a:lnTo>
                      <a:pt x="9" y="90"/>
                    </a:lnTo>
                    <a:lnTo>
                      <a:pt x="10" y="90"/>
                    </a:lnTo>
                    <a:lnTo>
                      <a:pt x="10" y="92"/>
                    </a:lnTo>
                    <a:lnTo>
                      <a:pt x="9" y="92"/>
                    </a:lnTo>
                    <a:lnTo>
                      <a:pt x="7" y="92"/>
                    </a:lnTo>
                    <a:lnTo>
                      <a:pt x="5" y="92"/>
                    </a:lnTo>
                    <a:lnTo>
                      <a:pt x="4" y="92"/>
                    </a:lnTo>
                    <a:lnTo>
                      <a:pt x="2" y="92"/>
                    </a:lnTo>
                    <a:lnTo>
                      <a:pt x="0" y="92"/>
                    </a:lnTo>
                    <a:lnTo>
                      <a:pt x="0" y="90"/>
                    </a:lnTo>
                    <a:lnTo>
                      <a:pt x="0" y="89"/>
                    </a:lnTo>
                    <a:lnTo>
                      <a:pt x="0" y="87"/>
                    </a:lnTo>
                    <a:lnTo>
                      <a:pt x="0" y="85"/>
                    </a:lnTo>
                    <a:lnTo>
                      <a:pt x="0" y="83"/>
                    </a:lnTo>
                    <a:lnTo>
                      <a:pt x="0" y="82"/>
                    </a:lnTo>
                    <a:lnTo>
                      <a:pt x="0" y="80"/>
                    </a:lnTo>
                    <a:lnTo>
                      <a:pt x="0" y="78"/>
                    </a:lnTo>
                    <a:lnTo>
                      <a:pt x="0" y="77"/>
                    </a:lnTo>
                    <a:lnTo>
                      <a:pt x="0" y="75"/>
                    </a:lnTo>
                    <a:lnTo>
                      <a:pt x="0" y="73"/>
                    </a:lnTo>
                    <a:lnTo>
                      <a:pt x="0" y="72"/>
                    </a:lnTo>
                    <a:lnTo>
                      <a:pt x="0" y="70"/>
                    </a:lnTo>
                    <a:lnTo>
                      <a:pt x="2" y="65"/>
                    </a:lnTo>
                    <a:lnTo>
                      <a:pt x="2" y="63"/>
                    </a:lnTo>
                    <a:lnTo>
                      <a:pt x="2" y="60"/>
                    </a:lnTo>
                    <a:lnTo>
                      <a:pt x="2" y="58"/>
                    </a:lnTo>
                    <a:lnTo>
                      <a:pt x="2" y="55"/>
                    </a:lnTo>
                    <a:lnTo>
                      <a:pt x="2" y="53"/>
                    </a:lnTo>
                    <a:lnTo>
                      <a:pt x="2" y="51"/>
                    </a:lnTo>
                    <a:lnTo>
                      <a:pt x="2" y="49"/>
                    </a:lnTo>
                    <a:lnTo>
                      <a:pt x="2" y="48"/>
                    </a:lnTo>
                    <a:lnTo>
                      <a:pt x="2" y="44"/>
                    </a:lnTo>
                    <a:lnTo>
                      <a:pt x="2" y="43"/>
                    </a:lnTo>
                    <a:lnTo>
                      <a:pt x="2" y="41"/>
                    </a:lnTo>
                    <a:lnTo>
                      <a:pt x="2" y="39"/>
                    </a:lnTo>
                    <a:lnTo>
                      <a:pt x="2" y="38"/>
                    </a:lnTo>
                    <a:lnTo>
                      <a:pt x="2" y="24"/>
                    </a:lnTo>
                    <a:lnTo>
                      <a:pt x="2" y="22"/>
                    </a:lnTo>
                    <a:lnTo>
                      <a:pt x="2" y="21"/>
                    </a:lnTo>
                    <a:lnTo>
                      <a:pt x="2" y="19"/>
                    </a:lnTo>
                    <a:lnTo>
                      <a:pt x="4" y="19"/>
                    </a:lnTo>
                    <a:lnTo>
                      <a:pt x="5" y="17"/>
                    </a:lnTo>
                    <a:lnTo>
                      <a:pt x="5" y="19"/>
                    </a:lnTo>
                    <a:lnTo>
                      <a:pt x="5" y="17"/>
                    </a:lnTo>
                    <a:lnTo>
                      <a:pt x="7" y="17"/>
                    </a:lnTo>
                    <a:lnTo>
                      <a:pt x="7" y="19"/>
                    </a:lnTo>
                    <a:lnTo>
                      <a:pt x="9" y="19"/>
                    </a:lnTo>
                    <a:lnTo>
                      <a:pt x="9" y="21"/>
                    </a:lnTo>
                    <a:lnTo>
                      <a:pt x="10" y="21"/>
                    </a:lnTo>
                    <a:lnTo>
                      <a:pt x="10" y="22"/>
                    </a:lnTo>
                    <a:lnTo>
                      <a:pt x="12" y="22"/>
                    </a:lnTo>
                    <a:lnTo>
                      <a:pt x="12" y="21"/>
                    </a:lnTo>
                    <a:lnTo>
                      <a:pt x="12" y="19"/>
                    </a:lnTo>
                    <a:lnTo>
                      <a:pt x="14" y="19"/>
                    </a:lnTo>
                    <a:lnTo>
                      <a:pt x="14" y="17"/>
                    </a:lnTo>
                    <a:lnTo>
                      <a:pt x="15" y="17"/>
                    </a:lnTo>
                    <a:lnTo>
                      <a:pt x="15" y="15"/>
                    </a:lnTo>
                    <a:lnTo>
                      <a:pt x="17" y="15"/>
                    </a:lnTo>
                    <a:lnTo>
                      <a:pt x="17" y="14"/>
                    </a:lnTo>
                    <a:lnTo>
                      <a:pt x="17" y="12"/>
                    </a:lnTo>
                    <a:lnTo>
                      <a:pt x="17" y="10"/>
                    </a:lnTo>
                    <a:lnTo>
                      <a:pt x="19" y="10"/>
                    </a:lnTo>
                    <a:lnTo>
                      <a:pt x="21" y="10"/>
                    </a:lnTo>
                    <a:lnTo>
                      <a:pt x="21" y="9"/>
                    </a:lnTo>
                    <a:lnTo>
                      <a:pt x="21" y="7"/>
                    </a:lnTo>
                    <a:lnTo>
                      <a:pt x="22" y="7"/>
                    </a:lnTo>
                    <a:lnTo>
                      <a:pt x="22" y="5"/>
                    </a:lnTo>
                    <a:lnTo>
                      <a:pt x="22" y="4"/>
                    </a:lnTo>
                    <a:lnTo>
                      <a:pt x="22" y="2"/>
                    </a:lnTo>
                    <a:lnTo>
                      <a:pt x="24" y="2"/>
                    </a:lnTo>
                    <a:lnTo>
                      <a:pt x="24" y="0"/>
                    </a:lnTo>
                    <a:lnTo>
                      <a:pt x="26" y="0"/>
                    </a:lnTo>
                    <a:lnTo>
                      <a:pt x="27" y="0"/>
                    </a:lnTo>
                    <a:lnTo>
                      <a:pt x="29" y="0"/>
                    </a:lnTo>
                    <a:lnTo>
                      <a:pt x="31" y="0"/>
                    </a:lnTo>
                    <a:close/>
                    <a:moveTo>
                      <a:pt x="46" y="10"/>
                    </a:moveTo>
                    <a:lnTo>
                      <a:pt x="46" y="12"/>
                    </a:lnTo>
                    <a:lnTo>
                      <a:pt x="46" y="14"/>
                    </a:lnTo>
                    <a:lnTo>
                      <a:pt x="44" y="15"/>
                    </a:lnTo>
                    <a:lnTo>
                      <a:pt x="44" y="17"/>
                    </a:lnTo>
                    <a:lnTo>
                      <a:pt x="43" y="19"/>
                    </a:lnTo>
                    <a:lnTo>
                      <a:pt x="43" y="21"/>
                    </a:lnTo>
                    <a:lnTo>
                      <a:pt x="41" y="21"/>
                    </a:lnTo>
                    <a:lnTo>
                      <a:pt x="41" y="22"/>
                    </a:lnTo>
                    <a:lnTo>
                      <a:pt x="39" y="22"/>
                    </a:lnTo>
                    <a:lnTo>
                      <a:pt x="41" y="22"/>
                    </a:lnTo>
                    <a:lnTo>
                      <a:pt x="41" y="21"/>
                    </a:lnTo>
                    <a:lnTo>
                      <a:pt x="43" y="21"/>
                    </a:lnTo>
                    <a:lnTo>
                      <a:pt x="43" y="19"/>
                    </a:lnTo>
                    <a:lnTo>
                      <a:pt x="41" y="21"/>
                    </a:lnTo>
                    <a:lnTo>
                      <a:pt x="41" y="19"/>
                    </a:lnTo>
                    <a:lnTo>
                      <a:pt x="43" y="19"/>
                    </a:lnTo>
                    <a:lnTo>
                      <a:pt x="43" y="17"/>
                    </a:lnTo>
                    <a:lnTo>
                      <a:pt x="43" y="15"/>
                    </a:lnTo>
                    <a:lnTo>
                      <a:pt x="43" y="17"/>
                    </a:lnTo>
                    <a:lnTo>
                      <a:pt x="43" y="15"/>
                    </a:lnTo>
                    <a:lnTo>
                      <a:pt x="44" y="15"/>
                    </a:lnTo>
                    <a:lnTo>
                      <a:pt x="43" y="14"/>
                    </a:lnTo>
                    <a:lnTo>
                      <a:pt x="44" y="14"/>
                    </a:lnTo>
                    <a:lnTo>
                      <a:pt x="44" y="12"/>
                    </a:lnTo>
                    <a:lnTo>
                      <a:pt x="46" y="10"/>
                    </a:lnTo>
                    <a:close/>
                    <a:moveTo>
                      <a:pt x="48" y="34"/>
                    </a:moveTo>
                    <a:lnTo>
                      <a:pt x="48" y="36"/>
                    </a:lnTo>
                    <a:lnTo>
                      <a:pt x="49" y="36"/>
                    </a:lnTo>
                    <a:lnTo>
                      <a:pt x="48" y="36"/>
                    </a:lnTo>
                    <a:lnTo>
                      <a:pt x="48" y="38"/>
                    </a:lnTo>
                    <a:lnTo>
                      <a:pt x="46" y="38"/>
                    </a:lnTo>
                    <a:lnTo>
                      <a:pt x="44" y="38"/>
                    </a:lnTo>
                    <a:lnTo>
                      <a:pt x="44" y="39"/>
                    </a:lnTo>
                    <a:lnTo>
                      <a:pt x="44" y="41"/>
                    </a:lnTo>
                    <a:lnTo>
                      <a:pt x="43" y="41"/>
                    </a:lnTo>
                    <a:lnTo>
                      <a:pt x="44" y="43"/>
                    </a:lnTo>
                    <a:lnTo>
                      <a:pt x="43" y="43"/>
                    </a:lnTo>
                    <a:lnTo>
                      <a:pt x="44" y="43"/>
                    </a:lnTo>
                    <a:lnTo>
                      <a:pt x="43" y="43"/>
                    </a:lnTo>
                    <a:lnTo>
                      <a:pt x="43" y="41"/>
                    </a:lnTo>
                    <a:lnTo>
                      <a:pt x="44" y="41"/>
                    </a:lnTo>
                    <a:lnTo>
                      <a:pt x="43" y="41"/>
                    </a:lnTo>
                    <a:lnTo>
                      <a:pt x="43" y="39"/>
                    </a:lnTo>
                    <a:lnTo>
                      <a:pt x="44" y="39"/>
                    </a:lnTo>
                    <a:lnTo>
                      <a:pt x="44" y="38"/>
                    </a:lnTo>
                    <a:lnTo>
                      <a:pt x="46" y="36"/>
                    </a:lnTo>
                    <a:lnTo>
                      <a:pt x="44" y="38"/>
                    </a:lnTo>
                    <a:lnTo>
                      <a:pt x="46" y="38"/>
                    </a:lnTo>
                    <a:lnTo>
                      <a:pt x="46" y="36"/>
                    </a:lnTo>
                    <a:lnTo>
                      <a:pt x="48" y="36"/>
                    </a:lnTo>
                    <a:lnTo>
                      <a:pt x="48" y="34"/>
                    </a:lnTo>
                    <a:lnTo>
                      <a:pt x="46" y="34"/>
                    </a:lnTo>
                    <a:lnTo>
                      <a:pt x="48" y="36"/>
                    </a:lnTo>
                    <a:lnTo>
                      <a:pt x="46" y="36"/>
                    </a:lnTo>
                    <a:lnTo>
                      <a:pt x="46" y="34"/>
                    </a:lnTo>
                    <a:lnTo>
                      <a:pt x="48" y="34"/>
                    </a:lnTo>
                    <a:close/>
                    <a:moveTo>
                      <a:pt x="48" y="38"/>
                    </a:moveTo>
                    <a:lnTo>
                      <a:pt x="46" y="39"/>
                    </a:lnTo>
                    <a:lnTo>
                      <a:pt x="48" y="39"/>
                    </a:lnTo>
                    <a:lnTo>
                      <a:pt x="48" y="41"/>
                    </a:lnTo>
                    <a:lnTo>
                      <a:pt x="48" y="43"/>
                    </a:lnTo>
                    <a:lnTo>
                      <a:pt x="48" y="41"/>
                    </a:lnTo>
                    <a:lnTo>
                      <a:pt x="46" y="43"/>
                    </a:lnTo>
                    <a:lnTo>
                      <a:pt x="46" y="41"/>
                    </a:lnTo>
                    <a:lnTo>
                      <a:pt x="48" y="41"/>
                    </a:lnTo>
                    <a:lnTo>
                      <a:pt x="46" y="41"/>
                    </a:lnTo>
                    <a:lnTo>
                      <a:pt x="48" y="39"/>
                    </a:lnTo>
                    <a:lnTo>
                      <a:pt x="46" y="39"/>
                    </a:lnTo>
                    <a:lnTo>
                      <a:pt x="46" y="38"/>
                    </a:lnTo>
                    <a:lnTo>
                      <a:pt x="48" y="38"/>
                    </a:lnTo>
                    <a:close/>
                    <a:moveTo>
                      <a:pt x="38" y="34"/>
                    </a:moveTo>
                    <a:lnTo>
                      <a:pt x="39" y="34"/>
                    </a:lnTo>
                    <a:lnTo>
                      <a:pt x="39" y="38"/>
                    </a:lnTo>
                    <a:lnTo>
                      <a:pt x="38" y="38"/>
                    </a:lnTo>
                    <a:lnTo>
                      <a:pt x="38" y="34"/>
                    </a:lnTo>
                    <a:close/>
                    <a:moveTo>
                      <a:pt x="44" y="44"/>
                    </a:moveTo>
                    <a:lnTo>
                      <a:pt x="43" y="44"/>
                    </a:lnTo>
                    <a:lnTo>
                      <a:pt x="43" y="43"/>
                    </a:lnTo>
                    <a:lnTo>
                      <a:pt x="43" y="44"/>
                    </a:lnTo>
                    <a:lnTo>
                      <a:pt x="43" y="46"/>
                    </a:lnTo>
                    <a:lnTo>
                      <a:pt x="44" y="44"/>
                    </a:lnTo>
                    <a:lnTo>
                      <a:pt x="43" y="46"/>
                    </a:lnTo>
                    <a:lnTo>
                      <a:pt x="44" y="46"/>
                    </a:lnTo>
                    <a:lnTo>
                      <a:pt x="44" y="48"/>
                    </a:lnTo>
                    <a:lnTo>
                      <a:pt x="44" y="46"/>
                    </a:lnTo>
                    <a:lnTo>
                      <a:pt x="43" y="46"/>
                    </a:lnTo>
                    <a:lnTo>
                      <a:pt x="44" y="46"/>
                    </a:lnTo>
                    <a:lnTo>
                      <a:pt x="43" y="46"/>
                    </a:lnTo>
                    <a:lnTo>
                      <a:pt x="43" y="44"/>
                    </a:lnTo>
                    <a:lnTo>
                      <a:pt x="43" y="43"/>
                    </a:lnTo>
                    <a:lnTo>
                      <a:pt x="44" y="44"/>
                    </a:lnTo>
                    <a:close/>
                    <a:moveTo>
                      <a:pt x="38" y="29"/>
                    </a:moveTo>
                    <a:lnTo>
                      <a:pt x="36" y="29"/>
                    </a:lnTo>
                    <a:lnTo>
                      <a:pt x="36" y="31"/>
                    </a:lnTo>
                    <a:lnTo>
                      <a:pt x="36" y="29"/>
                    </a:lnTo>
                    <a:lnTo>
                      <a:pt x="34" y="31"/>
                    </a:lnTo>
                    <a:lnTo>
                      <a:pt x="36" y="29"/>
                    </a:lnTo>
                    <a:lnTo>
                      <a:pt x="36" y="31"/>
                    </a:lnTo>
                    <a:lnTo>
                      <a:pt x="34" y="31"/>
                    </a:lnTo>
                    <a:lnTo>
                      <a:pt x="36" y="29"/>
                    </a:lnTo>
                    <a:lnTo>
                      <a:pt x="38" y="29"/>
                    </a:lnTo>
                    <a:lnTo>
                      <a:pt x="38" y="27"/>
                    </a:lnTo>
                    <a:lnTo>
                      <a:pt x="38" y="29"/>
                    </a:lnTo>
                    <a:close/>
                    <a:moveTo>
                      <a:pt x="44" y="44"/>
                    </a:moveTo>
                    <a:lnTo>
                      <a:pt x="46" y="44"/>
                    </a:lnTo>
                    <a:lnTo>
                      <a:pt x="46" y="46"/>
                    </a:lnTo>
                    <a:lnTo>
                      <a:pt x="44" y="46"/>
                    </a:lnTo>
                    <a:lnTo>
                      <a:pt x="44" y="44"/>
                    </a:lnTo>
                    <a:close/>
                    <a:moveTo>
                      <a:pt x="38" y="31"/>
                    </a:moveTo>
                    <a:lnTo>
                      <a:pt x="38" y="32"/>
                    </a:lnTo>
                    <a:lnTo>
                      <a:pt x="38" y="31"/>
                    </a:lnTo>
                    <a:close/>
                    <a:moveTo>
                      <a:pt x="46" y="43"/>
                    </a:moveTo>
                    <a:lnTo>
                      <a:pt x="48" y="43"/>
                    </a:lnTo>
                    <a:lnTo>
                      <a:pt x="48" y="44"/>
                    </a:lnTo>
                    <a:lnTo>
                      <a:pt x="46" y="44"/>
                    </a:lnTo>
                    <a:lnTo>
                      <a:pt x="46" y="43"/>
                    </a:lnTo>
                    <a:close/>
                    <a:moveTo>
                      <a:pt x="46" y="43"/>
                    </a:moveTo>
                    <a:lnTo>
                      <a:pt x="46" y="44"/>
                    </a:lnTo>
                    <a:lnTo>
                      <a:pt x="46" y="43"/>
                    </a:lnTo>
                    <a:close/>
                    <a:moveTo>
                      <a:pt x="39" y="26"/>
                    </a:moveTo>
                    <a:lnTo>
                      <a:pt x="41" y="26"/>
                    </a:lnTo>
                    <a:lnTo>
                      <a:pt x="41" y="27"/>
                    </a:lnTo>
                    <a:lnTo>
                      <a:pt x="39" y="27"/>
                    </a:lnTo>
                    <a:lnTo>
                      <a:pt x="39" y="26"/>
                    </a:lnTo>
                    <a:close/>
                    <a:moveTo>
                      <a:pt x="56" y="38"/>
                    </a:moveTo>
                    <a:lnTo>
                      <a:pt x="58" y="38"/>
                    </a:lnTo>
                    <a:lnTo>
                      <a:pt x="56" y="38"/>
                    </a:lnTo>
                    <a:close/>
                    <a:moveTo>
                      <a:pt x="39" y="49"/>
                    </a:moveTo>
                    <a:lnTo>
                      <a:pt x="39" y="51"/>
                    </a:lnTo>
                    <a:lnTo>
                      <a:pt x="39" y="49"/>
                    </a:lnTo>
                    <a:close/>
                    <a:moveTo>
                      <a:pt x="41" y="14"/>
                    </a:moveTo>
                    <a:lnTo>
                      <a:pt x="43" y="14"/>
                    </a:lnTo>
                    <a:lnTo>
                      <a:pt x="43" y="15"/>
                    </a:lnTo>
                    <a:lnTo>
                      <a:pt x="41" y="15"/>
                    </a:lnTo>
                    <a:lnTo>
                      <a:pt x="41" y="14"/>
                    </a:lnTo>
                    <a:close/>
                    <a:moveTo>
                      <a:pt x="38" y="43"/>
                    </a:moveTo>
                    <a:lnTo>
                      <a:pt x="38" y="44"/>
                    </a:lnTo>
                    <a:lnTo>
                      <a:pt x="38" y="43"/>
                    </a:lnTo>
                    <a:close/>
                    <a:moveTo>
                      <a:pt x="38" y="39"/>
                    </a:moveTo>
                    <a:lnTo>
                      <a:pt x="39" y="39"/>
                    </a:lnTo>
                    <a:lnTo>
                      <a:pt x="38" y="39"/>
                    </a:lnTo>
                    <a:close/>
                    <a:moveTo>
                      <a:pt x="38" y="22"/>
                    </a:moveTo>
                    <a:lnTo>
                      <a:pt x="39" y="22"/>
                    </a:lnTo>
                    <a:lnTo>
                      <a:pt x="39" y="24"/>
                    </a:lnTo>
                    <a:lnTo>
                      <a:pt x="38" y="24"/>
                    </a:lnTo>
                    <a:lnTo>
                      <a:pt x="38" y="22"/>
                    </a:lnTo>
                    <a:close/>
                    <a:moveTo>
                      <a:pt x="36" y="34"/>
                    </a:moveTo>
                    <a:lnTo>
                      <a:pt x="36" y="36"/>
                    </a:lnTo>
                    <a:lnTo>
                      <a:pt x="36" y="34"/>
                    </a:lnTo>
                    <a:close/>
                    <a:moveTo>
                      <a:pt x="36" y="31"/>
                    </a:moveTo>
                    <a:lnTo>
                      <a:pt x="38" y="31"/>
                    </a:lnTo>
                    <a:lnTo>
                      <a:pt x="36" y="31"/>
                    </a:lnTo>
                    <a:close/>
                    <a:moveTo>
                      <a:pt x="38" y="31"/>
                    </a:moveTo>
                    <a:lnTo>
                      <a:pt x="39" y="31"/>
                    </a:lnTo>
                    <a:lnTo>
                      <a:pt x="39" y="32"/>
                    </a:lnTo>
                    <a:lnTo>
                      <a:pt x="38" y="32"/>
                    </a:lnTo>
                    <a:lnTo>
                      <a:pt x="38" y="31"/>
                    </a:lnTo>
                    <a:close/>
                    <a:moveTo>
                      <a:pt x="38" y="56"/>
                    </a:moveTo>
                    <a:lnTo>
                      <a:pt x="38" y="58"/>
                    </a:lnTo>
                    <a:lnTo>
                      <a:pt x="38" y="56"/>
                    </a:lnTo>
                    <a:close/>
                    <a:moveTo>
                      <a:pt x="38" y="38"/>
                    </a:moveTo>
                    <a:lnTo>
                      <a:pt x="39" y="38"/>
                    </a:lnTo>
                    <a:lnTo>
                      <a:pt x="39" y="39"/>
                    </a:lnTo>
                    <a:lnTo>
                      <a:pt x="38" y="39"/>
                    </a:lnTo>
                    <a:lnTo>
                      <a:pt x="38" y="38"/>
                    </a:lnTo>
                    <a:close/>
                    <a:moveTo>
                      <a:pt x="39" y="27"/>
                    </a:moveTo>
                    <a:lnTo>
                      <a:pt x="39" y="29"/>
                    </a:lnTo>
                    <a:lnTo>
                      <a:pt x="39" y="27"/>
                    </a:lnTo>
                    <a:close/>
                    <a:moveTo>
                      <a:pt x="19" y="80"/>
                    </a:moveTo>
                    <a:lnTo>
                      <a:pt x="19" y="82"/>
                    </a:lnTo>
                    <a:lnTo>
                      <a:pt x="19" y="80"/>
                    </a:lnTo>
                    <a:close/>
                    <a:moveTo>
                      <a:pt x="34" y="41"/>
                    </a:moveTo>
                    <a:lnTo>
                      <a:pt x="36" y="41"/>
                    </a:lnTo>
                    <a:lnTo>
                      <a:pt x="34" y="41"/>
                    </a:lnTo>
                    <a:close/>
                    <a:moveTo>
                      <a:pt x="38" y="32"/>
                    </a:moveTo>
                    <a:lnTo>
                      <a:pt x="39" y="32"/>
                    </a:lnTo>
                    <a:lnTo>
                      <a:pt x="38" y="32"/>
                    </a:lnTo>
                    <a:close/>
                    <a:moveTo>
                      <a:pt x="34" y="32"/>
                    </a:moveTo>
                    <a:lnTo>
                      <a:pt x="36" y="32"/>
                    </a:lnTo>
                    <a:lnTo>
                      <a:pt x="36" y="34"/>
                    </a:lnTo>
                    <a:lnTo>
                      <a:pt x="34" y="34"/>
                    </a:lnTo>
                    <a:lnTo>
                      <a:pt x="34" y="32"/>
                    </a:lnTo>
                    <a:close/>
                    <a:moveTo>
                      <a:pt x="39" y="15"/>
                    </a:moveTo>
                    <a:lnTo>
                      <a:pt x="41" y="15"/>
                    </a:lnTo>
                    <a:lnTo>
                      <a:pt x="41" y="17"/>
                    </a:lnTo>
                    <a:lnTo>
                      <a:pt x="39" y="17"/>
                    </a:lnTo>
                    <a:lnTo>
                      <a:pt x="39" y="15"/>
                    </a:lnTo>
                    <a:close/>
                    <a:moveTo>
                      <a:pt x="38" y="32"/>
                    </a:moveTo>
                    <a:lnTo>
                      <a:pt x="39" y="32"/>
                    </a:lnTo>
                    <a:lnTo>
                      <a:pt x="39" y="34"/>
                    </a:lnTo>
                    <a:lnTo>
                      <a:pt x="38" y="34"/>
                    </a:lnTo>
                    <a:lnTo>
                      <a:pt x="38" y="32"/>
                    </a:lnTo>
                    <a:close/>
                    <a:moveTo>
                      <a:pt x="38" y="44"/>
                    </a:moveTo>
                    <a:lnTo>
                      <a:pt x="38" y="46"/>
                    </a:lnTo>
                    <a:lnTo>
                      <a:pt x="38" y="44"/>
                    </a:lnTo>
                    <a:close/>
                    <a:moveTo>
                      <a:pt x="38" y="38"/>
                    </a:moveTo>
                    <a:lnTo>
                      <a:pt x="39" y="38"/>
                    </a:lnTo>
                    <a:lnTo>
                      <a:pt x="38" y="38"/>
                    </a:lnTo>
                    <a:close/>
                    <a:moveTo>
                      <a:pt x="38" y="56"/>
                    </a:moveTo>
                    <a:lnTo>
                      <a:pt x="38" y="58"/>
                    </a:lnTo>
                    <a:lnTo>
                      <a:pt x="38" y="56"/>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3" name="Freeform 16">
                <a:extLst>
                  <a:ext uri="{FF2B5EF4-FFF2-40B4-BE49-F238E27FC236}">
                    <a16:creationId xmlns:a16="http://schemas.microsoft.com/office/drawing/2014/main" id="{6288F829-D205-2F56-8CDC-EAA53A218127}"/>
                  </a:ext>
                </a:extLst>
              </p:cNvPr>
              <p:cNvSpPr>
                <a:spLocks/>
              </p:cNvSpPr>
              <p:nvPr/>
            </p:nvSpPr>
            <p:spPr bwMode="auto">
              <a:xfrm>
                <a:off x="5919788" y="2976563"/>
                <a:ext cx="652462" cy="739775"/>
              </a:xfrm>
              <a:custGeom>
                <a:avLst/>
                <a:gdLst>
                  <a:gd name="T0" fmla="*/ 306 w 411"/>
                  <a:gd name="T1" fmla="*/ 342 h 466"/>
                  <a:gd name="T2" fmla="*/ 231 w 411"/>
                  <a:gd name="T3" fmla="*/ 435 h 466"/>
                  <a:gd name="T4" fmla="*/ 188 w 411"/>
                  <a:gd name="T5" fmla="*/ 444 h 466"/>
                  <a:gd name="T6" fmla="*/ 182 w 411"/>
                  <a:gd name="T7" fmla="*/ 464 h 466"/>
                  <a:gd name="T8" fmla="*/ 175 w 411"/>
                  <a:gd name="T9" fmla="*/ 450 h 466"/>
                  <a:gd name="T10" fmla="*/ 156 w 411"/>
                  <a:gd name="T11" fmla="*/ 435 h 466"/>
                  <a:gd name="T12" fmla="*/ 125 w 411"/>
                  <a:gd name="T13" fmla="*/ 430 h 466"/>
                  <a:gd name="T14" fmla="*/ 112 w 411"/>
                  <a:gd name="T15" fmla="*/ 437 h 466"/>
                  <a:gd name="T16" fmla="*/ 85 w 411"/>
                  <a:gd name="T17" fmla="*/ 459 h 466"/>
                  <a:gd name="T18" fmla="*/ 59 w 411"/>
                  <a:gd name="T19" fmla="*/ 452 h 466"/>
                  <a:gd name="T20" fmla="*/ 54 w 411"/>
                  <a:gd name="T21" fmla="*/ 427 h 466"/>
                  <a:gd name="T22" fmla="*/ 42 w 411"/>
                  <a:gd name="T23" fmla="*/ 394 h 466"/>
                  <a:gd name="T24" fmla="*/ 32 w 411"/>
                  <a:gd name="T25" fmla="*/ 379 h 466"/>
                  <a:gd name="T26" fmla="*/ 37 w 411"/>
                  <a:gd name="T27" fmla="*/ 362 h 466"/>
                  <a:gd name="T28" fmla="*/ 37 w 411"/>
                  <a:gd name="T29" fmla="*/ 347 h 466"/>
                  <a:gd name="T30" fmla="*/ 29 w 411"/>
                  <a:gd name="T31" fmla="*/ 328 h 466"/>
                  <a:gd name="T32" fmla="*/ 22 w 411"/>
                  <a:gd name="T33" fmla="*/ 308 h 466"/>
                  <a:gd name="T34" fmla="*/ 18 w 411"/>
                  <a:gd name="T35" fmla="*/ 290 h 466"/>
                  <a:gd name="T36" fmla="*/ 6 w 411"/>
                  <a:gd name="T37" fmla="*/ 267 h 466"/>
                  <a:gd name="T38" fmla="*/ 10 w 411"/>
                  <a:gd name="T39" fmla="*/ 253 h 466"/>
                  <a:gd name="T40" fmla="*/ 22 w 411"/>
                  <a:gd name="T41" fmla="*/ 234 h 466"/>
                  <a:gd name="T42" fmla="*/ 12 w 411"/>
                  <a:gd name="T43" fmla="*/ 200 h 466"/>
                  <a:gd name="T44" fmla="*/ 13 w 411"/>
                  <a:gd name="T45" fmla="*/ 188 h 466"/>
                  <a:gd name="T46" fmla="*/ 15 w 411"/>
                  <a:gd name="T47" fmla="*/ 168 h 466"/>
                  <a:gd name="T48" fmla="*/ 27 w 411"/>
                  <a:gd name="T49" fmla="*/ 154 h 466"/>
                  <a:gd name="T50" fmla="*/ 23 w 411"/>
                  <a:gd name="T51" fmla="*/ 136 h 466"/>
                  <a:gd name="T52" fmla="*/ 27 w 411"/>
                  <a:gd name="T53" fmla="*/ 114 h 466"/>
                  <a:gd name="T54" fmla="*/ 32 w 411"/>
                  <a:gd name="T55" fmla="*/ 100 h 466"/>
                  <a:gd name="T56" fmla="*/ 18 w 411"/>
                  <a:gd name="T57" fmla="*/ 68 h 466"/>
                  <a:gd name="T58" fmla="*/ 6 w 411"/>
                  <a:gd name="T59" fmla="*/ 42 h 466"/>
                  <a:gd name="T60" fmla="*/ 23 w 411"/>
                  <a:gd name="T61" fmla="*/ 44 h 466"/>
                  <a:gd name="T62" fmla="*/ 39 w 411"/>
                  <a:gd name="T63" fmla="*/ 46 h 466"/>
                  <a:gd name="T64" fmla="*/ 54 w 411"/>
                  <a:gd name="T65" fmla="*/ 34 h 466"/>
                  <a:gd name="T66" fmla="*/ 71 w 411"/>
                  <a:gd name="T67" fmla="*/ 27 h 466"/>
                  <a:gd name="T68" fmla="*/ 86 w 411"/>
                  <a:gd name="T69" fmla="*/ 20 h 466"/>
                  <a:gd name="T70" fmla="*/ 103 w 411"/>
                  <a:gd name="T71" fmla="*/ 6 h 466"/>
                  <a:gd name="T72" fmla="*/ 120 w 411"/>
                  <a:gd name="T73" fmla="*/ 3 h 466"/>
                  <a:gd name="T74" fmla="*/ 132 w 411"/>
                  <a:gd name="T75" fmla="*/ 3 h 466"/>
                  <a:gd name="T76" fmla="*/ 141 w 411"/>
                  <a:gd name="T77" fmla="*/ 3 h 466"/>
                  <a:gd name="T78" fmla="*/ 148 w 411"/>
                  <a:gd name="T79" fmla="*/ 13 h 466"/>
                  <a:gd name="T80" fmla="*/ 146 w 411"/>
                  <a:gd name="T81" fmla="*/ 34 h 466"/>
                  <a:gd name="T82" fmla="*/ 146 w 411"/>
                  <a:gd name="T83" fmla="*/ 54 h 466"/>
                  <a:gd name="T84" fmla="*/ 154 w 411"/>
                  <a:gd name="T85" fmla="*/ 69 h 466"/>
                  <a:gd name="T86" fmla="*/ 166 w 411"/>
                  <a:gd name="T87" fmla="*/ 85 h 466"/>
                  <a:gd name="T88" fmla="*/ 175 w 411"/>
                  <a:gd name="T89" fmla="*/ 93 h 466"/>
                  <a:gd name="T90" fmla="*/ 193 w 411"/>
                  <a:gd name="T91" fmla="*/ 97 h 466"/>
                  <a:gd name="T92" fmla="*/ 212 w 411"/>
                  <a:gd name="T93" fmla="*/ 102 h 466"/>
                  <a:gd name="T94" fmla="*/ 226 w 411"/>
                  <a:gd name="T95" fmla="*/ 108 h 466"/>
                  <a:gd name="T96" fmla="*/ 241 w 411"/>
                  <a:gd name="T97" fmla="*/ 117 h 466"/>
                  <a:gd name="T98" fmla="*/ 255 w 411"/>
                  <a:gd name="T99" fmla="*/ 119 h 466"/>
                  <a:gd name="T100" fmla="*/ 268 w 411"/>
                  <a:gd name="T101" fmla="*/ 132 h 466"/>
                  <a:gd name="T102" fmla="*/ 285 w 411"/>
                  <a:gd name="T103" fmla="*/ 132 h 466"/>
                  <a:gd name="T104" fmla="*/ 301 w 411"/>
                  <a:gd name="T105" fmla="*/ 137 h 466"/>
                  <a:gd name="T106" fmla="*/ 309 w 411"/>
                  <a:gd name="T107" fmla="*/ 144 h 466"/>
                  <a:gd name="T108" fmla="*/ 312 w 411"/>
                  <a:gd name="T109" fmla="*/ 165 h 466"/>
                  <a:gd name="T110" fmla="*/ 306 w 411"/>
                  <a:gd name="T111" fmla="*/ 187 h 466"/>
                  <a:gd name="T112" fmla="*/ 343 w 411"/>
                  <a:gd name="T113" fmla="*/ 228 h 466"/>
                  <a:gd name="T114" fmla="*/ 380 w 411"/>
                  <a:gd name="T115" fmla="*/ 233 h 466"/>
                  <a:gd name="T116" fmla="*/ 379 w 411"/>
                  <a:gd name="T117" fmla="*/ 256 h 466"/>
                  <a:gd name="T118" fmla="*/ 396 w 411"/>
                  <a:gd name="T119" fmla="*/ 272 h 466"/>
                  <a:gd name="T120" fmla="*/ 408 w 411"/>
                  <a:gd name="T121" fmla="*/ 294 h 466"/>
                  <a:gd name="T122" fmla="*/ 403 w 411"/>
                  <a:gd name="T123" fmla="*/ 325 h 466"/>
                  <a:gd name="T124" fmla="*/ 392 w 411"/>
                  <a:gd name="T125" fmla="*/ 36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1" h="466">
                    <a:moveTo>
                      <a:pt x="387" y="367"/>
                    </a:moveTo>
                    <a:lnTo>
                      <a:pt x="387" y="365"/>
                    </a:lnTo>
                    <a:lnTo>
                      <a:pt x="389" y="365"/>
                    </a:lnTo>
                    <a:lnTo>
                      <a:pt x="389" y="364"/>
                    </a:lnTo>
                    <a:lnTo>
                      <a:pt x="387" y="364"/>
                    </a:lnTo>
                    <a:lnTo>
                      <a:pt x="387" y="362"/>
                    </a:lnTo>
                    <a:lnTo>
                      <a:pt x="387" y="360"/>
                    </a:lnTo>
                    <a:lnTo>
                      <a:pt x="387" y="359"/>
                    </a:lnTo>
                    <a:lnTo>
                      <a:pt x="386" y="359"/>
                    </a:lnTo>
                    <a:lnTo>
                      <a:pt x="387" y="359"/>
                    </a:lnTo>
                    <a:lnTo>
                      <a:pt x="387" y="357"/>
                    </a:lnTo>
                    <a:lnTo>
                      <a:pt x="386" y="357"/>
                    </a:lnTo>
                    <a:lnTo>
                      <a:pt x="387" y="355"/>
                    </a:lnTo>
                    <a:lnTo>
                      <a:pt x="379" y="348"/>
                    </a:lnTo>
                    <a:lnTo>
                      <a:pt x="375" y="347"/>
                    </a:lnTo>
                    <a:lnTo>
                      <a:pt x="358" y="335"/>
                    </a:lnTo>
                    <a:lnTo>
                      <a:pt x="326" y="335"/>
                    </a:lnTo>
                    <a:lnTo>
                      <a:pt x="306" y="342"/>
                    </a:lnTo>
                    <a:lnTo>
                      <a:pt x="268" y="348"/>
                    </a:lnTo>
                    <a:lnTo>
                      <a:pt x="267" y="348"/>
                    </a:lnTo>
                    <a:lnTo>
                      <a:pt x="261" y="362"/>
                    </a:lnTo>
                    <a:lnTo>
                      <a:pt x="261" y="364"/>
                    </a:lnTo>
                    <a:lnTo>
                      <a:pt x="251" y="377"/>
                    </a:lnTo>
                    <a:lnTo>
                      <a:pt x="250" y="381"/>
                    </a:lnTo>
                    <a:lnTo>
                      <a:pt x="250" y="396"/>
                    </a:lnTo>
                    <a:lnTo>
                      <a:pt x="250" y="399"/>
                    </a:lnTo>
                    <a:lnTo>
                      <a:pt x="243" y="421"/>
                    </a:lnTo>
                    <a:lnTo>
                      <a:pt x="239" y="430"/>
                    </a:lnTo>
                    <a:lnTo>
                      <a:pt x="236" y="442"/>
                    </a:lnTo>
                    <a:lnTo>
                      <a:pt x="236" y="440"/>
                    </a:lnTo>
                    <a:lnTo>
                      <a:pt x="234" y="440"/>
                    </a:lnTo>
                    <a:lnTo>
                      <a:pt x="234" y="438"/>
                    </a:lnTo>
                    <a:lnTo>
                      <a:pt x="233" y="438"/>
                    </a:lnTo>
                    <a:lnTo>
                      <a:pt x="231" y="438"/>
                    </a:lnTo>
                    <a:lnTo>
                      <a:pt x="231" y="437"/>
                    </a:lnTo>
                    <a:lnTo>
                      <a:pt x="231" y="435"/>
                    </a:lnTo>
                    <a:lnTo>
                      <a:pt x="231" y="433"/>
                    </a:lnTo>
                    <a:lnTo>
                      <a:pt x="221" y="433"/>
                    </a:lnTo>
                    <a:lnTo>
                      <a:pt x="202" y="433"/>
                    </a:lnTo>
                    <a:lnTo>
                      <a:pt x="202" y="435"/>
                    </a:lnTo>
                    <a:lnTo>
                      <a:pt x="202" y="433"/>
                    </a:lnTo>
                    <a:lnTo>
                      <a:pt x="200" y="433"/>
                    </a:lnTo>
                    <a:lnTo>
                      <a:pt x="199" y="433"/>
                    </a:lnTo>
                    <a:lnTo>
                      <a:pt x="193" y="433"/>
                    </a:lnTo>
                    <a:lnTo>
                      <a:pt x="192" y="433"/>
                    </a:lnTo>
                    <a:lnTo>
                      <a:pt x="192" y="435"/>
                    </a:lnTo>
                    <a:lnTo>
                      <a:pt x="192" y="437"/>
                    </a:lnTo>
                    <a:lnTo>
                      <a:pt x="190" y="437"/>
                    </a:lnTo>
                    <a:lnTo>
                      <a:pt x="192" y="437"/>
                    </a:lnTo>
                    <a:lnTo>
                      <a:pt x="190" y="438"/>
                    </a:lnTo>
                    <a:lnTo>
                      <a:pt x="190" y="440"/>
                    </a:lnTo>
                    <a:lnTo>
                      <a:pt x="190" y="442"/>
                    </a:lnTo>
                    <a:lnTo>
                      <a:pt x="188" y="442"/>
                    </a:lnTo>
                    <a:lnTo>
                      <a:pt x="188" y="444"/>
                    </a:lnTo>
                    <a:lnTo>
                      <a:pt x="187" y="445"/>
                    </a:lnTo>
                    <a:lnTo>
                      <a:pt x="187" y="447"/>
                    </a:lnTo>
                    <a:lnTo>
                      <a:pt x="187" y="449"/>
                    </a:lnTo>
                    <a:lnTo>
                      <a:pt x="185" y="449"/>
                    </a:lnTo>
                    <a:lnTo>
                      <a:pt x="185" y="450"/>
                    </a:lnTo>
                    <a:lnTo>
                      <a:pt x="183" y="450"/>
                    </a:lnTo>
                    <a:lnTo>
                      <a:pt x="183" y="452"/>
                    </a:lnTo>
                    <a:lnTo>
                      <a:pt x="183" y="454"/>
                    </a:lnTo>
                    <a:lnTo>
                      <a:pt x="182" y="454"/>
                    </a:lnTo>
                    <a:lnTo>
                      <a:pt x="183" y="454"/>
                    </a:lnTo>
                    <a:lnTo>
                      <a:pt x="183" y="456"/>
                    </a:lnTo>
                    <a:lnTo>
                      <a:pt x="182" y="456"/>
                    </a:lnTo>
                    <a:lnTo>
                      <a:pt x="182" y="457"/>
                    </a:lnTo>
                    <a:lnTo>
                      <a:pt x="182" y="459"/>
                    </a:lnTo>
                    <a:lnTo>
                      <a:pt x="182" y="461"/>
                    </a:lnTo>
                    <a:lnTo>
                      <a:pt x="182" y="462"/>
                    </a:lnTo>
                    <a:lnTo>
                      <a:pt x="180" y="464"/>
                    </a:lnTo>
                    <a:lnTo>
                      <a:pt x="182" y="464"/>
                    </a:lnTo>
                    <a:lnTo>
                      <a:pt x="180" y="464"/>
                    </a:lnTo>
                    <a:lnTo>
                      <a:pt x="180" y="466"/>
                    </a:lnTo>
                    <a:lnTo>
                      <a:pt x="180" y="464"/>
                    </a:lnTo>
                    <a:lnTo>
                      <a:pt x="180" y="462"/>
                    </a:lnTo>
                    <a:lnTo>
                      <a:pt x="178" y="462"/>
                    </a:lnTo>
                    <a:lnTo>
                      <a:pt x="180" y="462"/>
                    </a:lnTo>
                    <a:lnTo>
                      <a:pt x="180" y="461"/>
                    </a:lnTo>
                    <a:lnTo>
                      <a:pt x="178" y="459"/>
                    </a:lnTo>
                    <a:lnTo>
                      <a:pt x="176" y="459"/>
                    </a:lnTo>
                    <a:lnTo>
                      <a:pt x="178" y="459"/>
                    </a:lnTo>
                    <a:lnTo>
                      <a:pt x="178" y="457"/>
                    </a:lnTo>
                    <a:lnTo>
                      <a:pt x="176" y="457"/>
                    </a:lnTo>
                    <a:lnTo>
                      <a:pt x="176" y="456"/>
                    </a:lnTo>
                    <a:lnTo>
                      <a:pt x="176" y="454"/>
                    </a:lnTo>
                    <a:lnTo>
                      <a:pt x="176" y="452"/>
                    </a:lnTo>
                    <a:lnTo>
                      <a:pt x="175" y="452"/>
                    </a:lnTo>
                    <a:lnTo>
                      <a:pt x="176" y="450"/>
                    </a:lnTo>
                    <a:lnTo>
                      <a:pt x="175" y="450"/>
                    </a:lnTo>
                    <a:lnTo>
                      <a:pt x="175" y="449"/>
                    </a:lnTo>
                    <a:lnTo>
                      <a:pt x="173" y="449"/>
                    </a:lnTo>
                    <a:lnTo>
                      <a:pt x="173" y="447"/>
                    </a:lnTo>
                    <a:lnTo>
                      <a:pt x="171" y="447"/>
                    </a:lnTo>
                    <a:lnTo>
                      <a:pt x="171" y="445"/>
                    </a:lnTo>
                    <a:lnTo>
                      <a:pt x="173" y="444"/>
                    </a:lnTo>
                    <a:lnTo>
                      <a:pt x="173" y="442"/>
                    </a:lnTo>
                    <a:lnTo>
                      <a:pt x="171" y="442"/>
                    </a:lnTo>
                    <a:lnTo>
                      <a:pt x="170" y="440"/>
                    </a:lnTo>
                    <a:lnTo>
                      <a:pt x="168" y="440"/>
                    </a:lnTo>
                    <a:lnTo>
                      <a:pt x="166" y="440"/>
                    </a:lnTo>
                    <a:lnTo>
                      <a:pt x="165" y="438"/>
                    </a:lnTo>
                    <a:lnTo>
                      <a:pt x="163" y="438"/>
                    </a:lnTo>
                    <a:lnTo>
                      <a:pt x="161" y="437"/>
                    </a:lnTo>
                    <a:lnTo>
                      <a:pt x="159" y="437"/>
                    </a:lnTo>
                    <a:lnTo>
                      <a:pt x="158" y="437"/>
                    </a:lnTo>
                    <a:lnTo>
                      <a:pt x="158" y="435"/>
                    </a:lnTo>
                    <a:lnTo>
                      <a:pt x="156" y="435"/>
                    </a:lnTo>
                    <a:lnTo>
                      <a:pt x="154" y="435"/>
                    </a:lnTo>
                    <a:lnTo>
                      <a:pt x="151" y="435"/>
                    </a:lnTo>
                    <a:lnTo>
                      <a:pt x="148" y="437"/>
                    </a:lnTo>
                    <a:lnTo>
                      <a:pt x="148" y="435"/>
                    </a:lnTo>
                    <a:lnTo>
                      <a:pt x="148" y="437"/>
                    </a:lnTo>
                    <a:lnTo>
                      <a:pt x="144" y="437"/>
                    </a:lnTo>
                    <a:lnTo>
                      <a:pt x="142" y="437"/>
                    </a:lnTo>
                    <a:lnTo>
                      <a:pt x="141" y="437"/>
                    </a:lnTo>
                    <a:lnTo>
                      <a:pt x="137" y="435"/>
                    </a:lnTo>
                    <a:lnTo>
                      <a:pt x="137" y="437"/>
                    </a:lnTo>
                    <a:lnTo>
                      <a:pt x="136" y="437"/>
                    </a:lnTo>
                    <a:lnTo>
                      <a:pt x="134" y="437"/>
                    </a:lnTo>
                    <a:lnTo>
                      <a:pt x="132" y="437"/>
                    </a:lnTo>
                    <a:lnTo>
                      <a:pt x="131" y="437"/>
                    </a:lnTo>
                    <a:lnTo>
                      <a:pt x="131" y="435"/>
                    </a:lnTo>
                    <a:lnTo>
                      <a:pt x="129" y="435"/>
                    </a:lnTo>
                    <a:lnTo>
                      <a:pt x="127" y="433"/>
                    </a:lnTo>
                    <a:lnTo>
                      <a:pt x="125" y="430"/>
                    </a:lnTo>
                    <a:lnTo>
                      <a:pt x="124" y="430"/>
                    </a:lnTo>
                    <a:lnTo>
                      <a:pt x="122" y="430"/>
                    </a:lnTo>
                    <a:lnTo>
                      <a:pt x="122" y="428"/>
                    </a:lnTo>
                    <a:lnTo>
                      <a:pt x="120" y="427"/>
                    </a:lnTo>
                    <a:lnTo>
                      <a:pt x="119" y="427"/>
                    </a:lnTo>
                    <a:lnTo>
                      <a:pt x="117" y="425"/>
                    </a:lnTo>
                    <a:lnTo>
                      <a:pt x="115" y="425"/>
                    </a:lnTo>
                    <a:lnTo>
                      <a:pt x="115" y="427"/>
                    </a:lnTo>
                    <a:lnTo>
                      <a:pt x="115" y="428"/>
                    </a:lnTo>
                    <a:lnTo>
                      <a:pt x="115" y="430"/>
                    </a:lnTo>
                    <a:lnTo>
                      <a:pt x="114" y="430"/>
                    </a:lnTo>
                    <a:lnTo>
                      <a:pt x="115" y="430"/>
                    </a:lnTo>
                    <a:lnTo>
                      <a:pt x="114" y="430"/>
                    </a:lnTo>
                    <a:lnTo>
                      <a:pt x="114" y="432"/>
                    </a:lnTo>
                    <a:lnTo>
                      <a:pt x="114" y="433"/>
                    </a:lnTo>
                    <a:lnTo>
                      <a:pt x="114" y="435"/>
                    </a:lnTo>
                    <a:lnTo>
                      <a:pt x="114" y="437"/>
                    </a:lnTo>
                    <a:lnTo>
                      <a:pt x="112" y="437"/>
                    </a:lnTo>
                    <a:lnTo>
                      <a:pt x="108" y="438"/>
                    </a:lnTo>
                    <a:lnTo>
                      <a:pt x="102" y="440"/>
                    </a:lnTo>
                    <a:lnTo>
                      <a:pt x="100" y="440"/>
                    </a:lnTo>
                    <a:lnTo>
                      <a:pt x="98" y="442"/>
                    </a:lnTo>
                    <a:lnTo>
                      <a:pt x="98" y="444"/>
                    </a:lnTo>
                    <a:lnTo>
                      <a:pt x="98" y="445"/>
                    </a:lnTo>
                    <a:lnTo>
                      <a:pt x="97" y="445"/>
                    </a:lnTo>
                    <a:lnTo>
                      <a:pt x="97" y="447"/>
                    </a:lnTo>
                    <a:lnTo>
                      <a:pt x="97" y="449"/>
                    </a:lnTo>
                    <a:lnTo>
                      <a:pt x="93" y="450"/>
                    </a:lnTo>
                    <a:lnTo>
                      <a:pt x="91" y="450"/>
                    </a:lnTo>
                    <a:lnTo>
                      <a:pt x="90" y="452"/>
                    </a:lnTo>
                    <a:lnTo>
                      <a:pt x="88" y="452"/>
                    </a:lnTo>
                    <a:lnTo>
                      <a:pt x="88" y="454"/>
                    </a:lnTo>
                    <a:lnTo>
                      <a:pt x="88" y="456"/>
                    </a:lnTo>
                    <a:lnTo>
                      <a:pt x="90" y="456"/>
                    </a:lnTo>
                    <a:lnTo>
                      <a:pt x="90" y="457"/>
                    </a:lnTo>
                    <a:lnTo>
                      <a:pt x="85" y="459"/>
                    </a:lnTo>
                    <a:lnTo>
                      <a:pt x="83" y="462"/>
                    </a:lnTo>
                    <a:lnTo>
                      <a:pt x="73" y="466"/>
                    </a:lnTo>
                    <a:lnTo>
                      <a:pt x="71" y="466"/>
                    </a:lnTo>
                    <a:lnTo>
                      <a:pt x="63" y="464"/>
                    </a:lnTo>
                    <a:lnTo>
                      <a:pt x="61" y="464"/>
                    </a:lnTo>
                    <a:lnTo>
                      <a:pt x="59" y="464"/>
                    </a:lnTo>
                    <a:lnTo>
                      <a:pt x="59" y="462"/>
                    </a:lnTo>
                    <a:lnTo>
                      <a:pt x="61" y="461"/>
                    </a:lnTo>
                    <a:lnTo>
                      <a:pt x="59" y="461"/>
                    </a:lnTo>
                    <a:lnTo>
                      <a:pt x="61" y="461"/>
                    </a:lnTo>
                    <a:lnTo>
                      <a:pt x="59" y="459"/>
                    </a:lnTo>
                    <a:lnTo>
                      <a:pt x="61" y="457"/>
                    </a:lnTo>
                    <a:lnTo>
                      <a:pt x="59" y="457"/>
                    </a:lnTo>
                    <a:lnTo>
                      <a:pt x="59" y="456"/>
                    </a:lnTo>
                    <a:lnTo>
                      <a:pt x="61" y="456"/>
                    </a:lnTo>
                    <a:lnTo>
                      <a:pt x="61" y="454"/>
                    </a:lnTo>
                    <a:lnTo>
                      <a:pt x="61" y="452"/>
                    </a:lnTo>
                    <a:lnTo>
                      <a:pt x="59" y="452"/>
                    </a:lnTo>
                    <a:lnTo>
                      <a:pt x="59" y="450"/>
                    </a:lnTo>
                    <a:lnTo>
                      <a:pt x="59" y="449"/>
                    </a:lnTo>
                    <a:lnTo>
                      <a:pt x="59" y="447"/>
                    </a:lnTo>
                    <a:lnTo>
                      <a:pt x="57" y="447"/>
                    </a:lnTo>
                    <a:lnTo>
                      <a:pt x="57" y="445"/>
                    </a:lnTo>
                    <a:lnTo>
                      <a:pt x="57" y="444"/>
                    </a:lnTo>
                    <a:lnTo>
                      <a:pt x="59" y="442"/>
                    </a:lnTo>
                    <a:lnTo>
                      <a:pt x="57" y="442"/>
                    </a:lnTo>
                    <a:lnTo>
                      <a:pt x="59" y="440"/>
                    </a:lnTo>
                    <a:lnTo>
                      <a:pt x="57" y="440"/>
                    </a:lnTo>
                    <a:lnTo>
                      <a:pt x="57" y="438"/>
                    </a:lnTo>
                    <a:lnTo>
                      <a:pt x="57" y="437"/>
                    </a:lnTo>
                    <a:lnTo>
                      <a:pt x="57" y="435"/>
                    </a:lnTo>
                    <a:lnTo>
                      <a:pt x="56" y="435"/>
                    </a:lnTo>
                    <a:lnTo>
                      <a:pt x="56" y="433"/>
                    </a:lnTo>
                    <a:lnTo>
                      <a:pt x="54" y="433"/>
                    </a:lnTo>
                    <a:lnTo>
                      <a:pt x="54" y="432"/>
                    </a:lnTo>
                    <a:lnTo>
                      <a:pt x="54" y="427"/>
                    </a:lnTo>
                    <a:lnTo>
                      <a:pt x="54" y="425"/>
                    </a:lnTo>
                    <a:lnTo>
                      <a:pt x="52" y="423"/>
                    </a:lnTo>
                    <a:lnTo>
                      <a:pt x="52" y="421"/>
                    </a:lnTo>
                    <a:lnTo>
                      <a:pt x="51" y="420"/>
                    </a:lnTo>
                    <a:lnTo>
                      <a:pt x="49" y="418"/>
                    </a:lnTo>
                    <a:lnTo>
                      <a:pt x="49" y="416"/>
                    </a:lnTo>
                    <a:lnTo>
                      <a:pt x="49" y="415"/>
                    </a:lnTo>
                    <a:lnTo>
                      <a:pt x="49" y="413"/>
                    </a:lnTo>
                    <a:lnTo>
                      <a:pt x="49" y="410"/>
                    </a:lnTo>
                    <a:lnTo>
                      <a:pt x="49" y="408"/>
                    </a:lnTo>
                    <a:lnTo>
                      <a:pt x="49" y="406"/>
                    </a:lnTo>
                    <a:lnTo>
                      <a:pt x="46" y="401"/>
                    </a:lnTo>
                    <a:lnTo>
                      <a:pt x="46" y="399"/>
                    </a:lnTo>
                    <a:lnTo>
                      <a:pt x="46" y="398"/>
                    </a:lnTo>
                    <a:lnTo>
                      <a:pt x="44" y="398"/>
                    </a:lnTo>
                    <a:lnTo>
                      <a:pt x="44" y="396"/>
                    </a:lnTo>
                    <a:lnTo>
                      <a:pt x="42" y="396"/>
                    </a:lnTo>
                    <a:lnTo>
                      <a:pt x="42" y="394"/>
                    </a:lnTo>
                    <a:lnTo>
                      <a:pt x="40" y="394"/>
                    </a:lnTo>
                    <a:lnTo>
                      <a:pt x="39" y="394"/>
                    </a:lnTo>
                    <a:lnTo>
                      <a:pt x="37" y="393"/>
                    </a:lnTo>
                    <a:lnTo>
                      <a:pt x="37" y="391"/>
                    </a:lnTo>
                    <a:lnTo>
                      <a:pt x="37" y="389"/>
                    </a:lnTo>
                    <a:lnTo>
                      <a:pt x="37" y="387"/>
                    </a:lnTo>
                    <a:lnTo>
                      <a:pt x="37" y="386"/>
                    </a:lnTo>
                    <a:lnTo>
                      <a:pt x="39" y="386"/>
                    </a:lnTo>
                    <a:lnTo>
                      <a:pt x="39" y="384"/>
                    </a:lnTo>
                    <a:lnTo>
                      <a:pt x="40" y="384"/>
                    </a:lnTo>
                    <a:lnTo>
                      <a:pt x="40" y="382"/>
                    </a:lnTo>
                    <a:lnTo>
                      <a:pt x="39" y="382"/>
                    </a:lnTo>
                    <a:lnTo>
                      <a:pt x="39" y="381"/>
                    </a:lnTo>
                    <a:lnTo>
                      <a:pt x="37" y="381"/>
                    </a:lnTo>
                    <a:lnTo>
                      <a:pt x="35" y="381"/>
                    </a:lnTo>
                    <a:lnTo>
                      <a:pt x="35" y="379"/>
                    </a:lnTo>
                    <a:lnTo>
                      <a:pt x="34" y="379"/>
                    </a:lnTo>
                    <a:lnTo>
                      <a:pt x="32" y="379"/>
                    </a:lnTo>
                    <a:lnTo>
                      <a:pt x="32" y="377"/>
                    </a:lnTo>
                    <a:lnTo>
                      <a:pt x="30" y="377"/>
                    </a:lnTo>
                    <a:lnTo>
                      <a:pt x="30" y="376"/>
                    </a:lnTo>
                    <a:lnTo>
                      <a:pt x="30" y="374"/>
                    </a:lnTo>
                    <a:lnTo>
                      <a:pt x="32" y="374"/>
                    </a:lnTo>
                    <a:lnTo>
                      <a:pt x="34" y="374"/>
                    </a:lnTo>
                    <a:lnTo>
                      <a:pt x="34" y="372"/>
                    </a:lnTo>
                    <a:lnTo>
                      <a:pt x="34" y="370"/>
                    </a:lnTo>
                    <a:lnTo>
                      <a:pt x="32" y="370"/>
                    </a:lnTo>
                    <a:lnTo>
                      <a:pt x="32" y="369"/>
                    </a:lnTo>
                    <a:lnTo>
                      <a:pt x="32" y="367"/>
                    </a:lnTo>
                    <a:lnTo>
                      <a:pt x="32" y="365"/>
                    </a:lnTo>
                    <a:lnTo>
                      <a:pt x="30" y="365"/>
                    </a:lnTo>
                    <a:lnTo>
                      <a:pt x="30" y="364"/>
                    </a:lnTo>
                    <a:lnTo>
                      <a:pt x="32" y="364"/>
                    </a:lnTo>
                    <a:lnTo>
                      <a:pt x="34" y="362"/>
                    </a:lnTo>
                    <a:lnTo>
                      <a:pt x="35" y="362"/>
                    </a:lnTo>
                    <a:lnTo>
                      <a:pt x="37" y="362"/>
                    </a:lnTo>
                    <a:lnTo>
                      <a:pt x="37" y="360"/>
                    </a:lnTo>
                    <a:lnTo>
                      <a:pt x="37" y="359"/>
                    </a:lnTo>
                    <a:lnTo>
                      <a:pt x="39" y="359"/>
                    </a:lnTo>
                    <a:lnTo>
                      <a:pt x="39" y="357"/>
                    </a:lnTo>
                    <a:lnTo>
                      <a:pt x="37" y="357"/>
                    </a:lnTo>
                    <a:lnTo>
                      <a:pt x="37" y="355"/>
                    </a:lnTo>
                    <a:lnTo>
                      <a:pt x="39" y="355"/>
                    </a:lnTo>
                    <a:lnTo>
                      <a:pt x="37" y="355"/>
                    </a:lnTo>
                    <a:lnTo>
                      <a:pt x="35" y="355"/>
                    </a:lnTo>
                    <a:lnTo>
                      <a:pt x="35" y="353"/>
                    </a:lnTo>
                    <a:lnTo>
                      <a:pt x="34" y="352"/>
                    </a:lnTo>
                    <a:lnTo>
                      <a:pt x="32" y="352"/>
                    </a:lnTo>
                    <a:lnTo>
                      <a:pt x="32" y="350"/>
                    </a:lnTo>
                    <a:lnTo>
                      <a:pt x="34" y="350"/>
                    </a:lnTo>
                    <a:lnTo>
                      <a:pt x="35" y="350"/>
                    </a:lnTo>
                    <a:lnTo>
                      <a:pt x="35" y="348"/>
                    </a:lnTo>
                    <a:lnTo>
                      <a:pt x="35" y="347"/>
                    </a:lnTo>
                    <a:lnTo>
                      <a:pt x="37" y="347"/>
                    </a:lnTo>
                    <a:lnTo>
                      <a:pt x="37" y="345"/>
                    </a:lnTo>
                    <a:lnTo>
                      <a:pt x="39" y="345"/>
                    </a:lnTo>
                    <a:lnTo>
                      <a:pt x="39" y="343"/>
                    </a:lnTo>
                    <a:lnTo>
                      <a:pt x="40" y="342"/>
                    </a:lnTo>
                    <a:lnTo>
                      <a:pt x="40" y="340"/>
                    </a:lnTo>
                    <a:lnTo>
                      <a:pt x="40" y="338"/>
                    </a:lnTo>
                    <a:lnTo>
                      <a:pt x="39" y="338"/>
                    </a:lnTo>
                    <a:lnTo>
                      <a:pt x="39" y="336"/>
                    </a:lnTo>
                    <a:lnTo>
                      <a:pt x="37" y="335"/>
                    </a:lnTo>
                    <a:lnTo>
                      <a:pt x="35" y="335"/>
                    </a:lnTo>
                    <a:lnTo>
                      <a:pt x="35" y="333"/>
                    </a:lnTo>
                    <a:lnTo>
                      <a:pt x="34" y="333"/>
                    </a:lnTo>
                    <a:lnTo>
                      <a:pt x="34" y="331"/>
                    </a:lnTo>
                    <a:lnTo>
                      <a:pt x="32" y="331"/>
                    </a:lnTo>
                    <a:lnTo>
                      <a:pt x="32" y="330"/>
                    </a:lnTo>
                    <a:lnTo>
                      <a:pt x="30" y="330"/>
                    </a:lnTo>
                    <a:lnTo>
                      <a:pt x="30" y="328"/>
                    </a:lnTo>
                    <a:lnTo>
                      <a:pt x="29" y="328"/>
                    </a:lnTo>
                    <a:lnTo>
                      <a:pt x="27" y="326"/>
                    </a:lnTo>
                    <a:lnTo>
                      <a:pt x="25" y="326"/>
                    </a:lnTo>
                    <a:lnTo>
                      <a:pt x="25" y="325"/>
                    </a:lnTo>
                    <a:lnTo>
                      <a:pt x="25" y="323"/>
                    </a:lnTo>
                    <a:lnTo>
                      <a:pt x="23" y="323"/>
                    </a:lnTo>
                    <a:lnTo>
                      <a:pt x="23" y="321"/>
                    </a:lnTo>
                    <a:lnTo>
                      <a:pt x="25" y="321"/>
                    </a:lnTo>
                    <a:lnTo>
                      <a:pt x="25" y="319"/>
                    </a:lnTo>
                    <a:lnTo>
                      <a:pt x="23" y="318"/>
                    </a:lnTo>
                    <a:lnTo>
                      <a:pt x="23" y="316"/>
                    </a:lnTo>
                    <a:lnTo>
                      <a:pt x="23" y="314"/>
                    </a:lnTo>
                    <a:lnTo>
                      <a:pt x="22" y="314"/>
                    </a:lnTo>
                    <a:lnTo>
                      <a:pt x="22" y="313"/>
                    </a:lnTo>
                    <a:lnTo>
                      <a:pt x="22" y="311"/>
                    </a:lnTo>
                    <a:lnTo>
                      <a:pt x="20" y="311"/>
                    </a:lnTo>
                    <a:lnTo>
                      <a:pt x="22" y="311"/>
                    </a:lnTo>
                    <a:lnTo>
                      <a:pt x="22" y="309"/>
                    </a:lnTo>
                    <a:lnTo>
                      <a:pt x="22" y="308"/>
                    </a:lnTo>
                    <a:lnTo>
                      <a:pt x="22" y="306"/>
                    </a:lnTo>
                    <a:lnTo>
                      <a:pt x="22" y="304"/>
                    </a:lnTo>
                    <a:lnTo>
                      <a:pt x="20" y="304"/>
                    </a:lnTo>
                    <a:lnTo>
                      <a:pt x="20" y="302"/>
                    </a:lnTo>
                    <a:lnTo>
                      <a:pt x="20" y="301"/>
                    </a:lnTo>
                    <a:lnTo>
                      <a:pt x="20" y="299"/>
                    </a:lnTo>
                    <a:lnTo>
                      <a:pt x="20" y="297"/>
                    </a:lnTo>
                    <a:lnTo>
                      <a:pt x="18" y="297"/>
                    </a:lnTo>
                    <a:lnTo>
                      <a:pt x="18" y="296"/>
                    </a:lnTo>
                    <a:lnTo>
                      <a:pt x="17" y="296"/>
                    </a:lnTo>
                    <a:lnTo>
                      <a:pt x="17" y="294"/>
                    </a:lnTo>
                    <a:lnTo>
                      <a:pt x="18" y="294"/>
                    </a:lnTo>
                    <a:lnTo>
                      <a:pt x="18" y="292"/>
                    </a:lnTo>
                    <a:lnTo>
                      <a:pt x="20" y="292"/>
                    </a:lnTo>
                    <a:lnTo>
                      <a:pt x="18" y="292"/>
                    </a:lnTo>
                    <a:lnTo>
                      <a:pt x="20" y="292"/>
                    </a:lnTo>
                    <a:lnTo>
                      <a:pt x="20" y="290"/>
                    </a:lnTo>
                    <a:lnTo>
                      <a:pt x="18" y="290"/>
                    </a:lnTo>
                    <a:lnTo>
                      <a:pt x="18" y="289"/>
                    </a:lnTo>
                    <a:lnTo>
                      <a:pt x="17" y="289"/>
                    </a:lnTo>
                    <a:lnTo>
                      <a:pt x="15" y="289"/>
                    </a:lnTo>
                    <a:lnTo>
                      <a:pt x="13" y="289"/>
                    </a:lnTo>
                    <a:lnTo>
                      <a:pt x="13" y="287"/>
                    </a:lnTo>
                    <a:lnTo>
                      <a:pt x="12" y="287"/>
                    </a:lnTo>
                    <a:lnTo>
                      <a:pt x="12" y="285"/>
                    </a:lnTo>
                    <a:lnTo>
                      <a:pt x="12" y="284"/>
                    </a:lnTo>
                    <a:lnTo>
                      <a:pt x="12" y="282"/>
                    </a:lnTo>
                    <a:lnTo>
                      <a:pt x="12" y="280"/>
                    </a:lnTo>
                    <a:lnTo>
                      <a:pt x="10" y="280"/>
                    </a:lnTo>
                    <a:lnTo>
                      <a:pt x="10" y="279"/>
                    </a:lnTo>
                    <a:lnTo>
                      <a:pt x="8" y="277"/>
                    </a:lnTo>
                    <a:lnTo>
                      <a:pt x="6" y="275"/>
                    </a:lnTo>
                    <a:lnTo>
                      <a:pt x="6" y="272"/>
                    </a:lnTo>
                    <a:lnTo>
                      <a:pt x="6" y="270"/>
                    </a:lnTo>
                    <a:lnTo>
                      <a:pt x="6" y="268"/>
                    </a:lnTo>
                    <a:lnTo>
                      <a:pt x="6" y="267"/>
                    </a:lnTo>
                    <a:lnTo>
                      <a:pt x="5" y="267"/>
                    </a:lnTo>
                    <a:lnTo>
                      <a:pt x="3" y="263"/>
                    </a:lnTo>
                    <a:lnTo>
                      <a:pt x="1" y="263"/>
                    </a:lnTo>
                    <a:lnTo>
                      <a:pt x="0" y="263"/>
                    </a:lnTo>
                    <a:lnTo>
                      <a:pt x="1" y="263"/>
                    </a:lnTo>
                    <a:lnTo>
                      <a:pt x="1" y="262"/>
                    </a:lnTo>
                    <a:lnTo>
                      <a:pt x="3" y="262"/>
                    </a:lnTo>
                    <a:lnTo>
                      <a:pt x="3" y="260"/>
                    </a:lnTo>
                    <a:lnTo>
                      <a:pt x="5" y="260"/>
                    </a:lnTo>
                    <a:lnTo>
                      <a:pt x="5" y="258"/>
                    </a:lnTo>
                    <a:lnTo>
                      <a:pt x="6" y="256"/>
                    </a:lnTo>
                    <a:lnTo>
                      <a:pt x="6" y="258"/>
                    </a:lnTo>
                    <a:lnTo>
                      <a:pt x="8" y="258"/>
                    </a:lnTo>
                    <a:lnTo>
                      <a:pt x="8" y="256"/>
                    </a:lnTo>
                    <a:lnTo>
                      <a:pt x="10" y="256"/>
                    </a:lnTo>
                    <a:lnTo>
                      <a:pt x="10" y="255"/>
                    </a:lnTo>
                    <a:lnTo>
                      <a:pt x="8" y="255"/>
                    </a:lnTo>
                    <a:lnTo>
                      <a:pt x="10" y="253"/>
                    </a:lnTo>
                    <a:lnTo>
                      <a:pt x="12" y="253"/>
                    </a:lnTo>
                    <a:lnTo>
                      <a:pt x="12" y="251"/>
                    </a:lnTo>
                    <a:lnTo>
                      <a:pt x="12" y="250"/>
                    </a:lnTo>
                    <a:lnTo>
                      <a:pt x="13" y="250"/>
                    </a:lnTo>
                    <a:lnTo>
                      <a:pt x="13" y="248"/>
                    </a:lnTo>
                    <a:lnTo>
                      <a:pt x="15" y="248"/>
                    </a:lnTo>
                    <a:lnTo>
                      <a:pt x="15" y="246"/>
                    </a:lnTo>
                    <a:lnTo>
                      <a:pt x="17" y="246"/>
                    </a:lnTo>
                    <a:lnTo>
                      <a:pt x="17" y="245"/>
                    </a:lnTo>
                    <a:lnTo>
                      <a:pt x="18" y="243"/>
                    </a:lnTo>
                    <a:lnTo>
                      <a:pt x="20" y="243"/>
                    </a:lnTo>
                    <a:lnTo>
                      <a:pt x="22" y="243"/>
                    </a:lnTo>
                    <a:lnTo>
                      <a:pt x="22" y="241"/>
                    </a:lnTo>
                    <a:lnTo>
                      <a:pt x="22" y="239"/>
                    </a:lnTo>
                    <a:lnTo>
                      <a:pt x="20" y="239"/>
                    </a:lnTo>
                    <a:lnTo>
                      <a:pt x="20" y="238"/>
                    </a:lnTo>
                    <a:lnTo>
                      <a:pt x="22" y="236"/>
                    </a:lnTo>
                    <a:lnTo>
                      <a:pt x="22" y="234"/>
                    </a:lnTo>
                    <a:lnTo>
                      <a:pt x="23" y="234"/>
                    </a:lnTo>
                    <a:lnTo>
                      <a:pt x="29" y="231"/>
                    </a:lnTo>
                    <a:lnTo>
                      <a:pt x="29" y="229"/>
                    </a:lnTo>
                    <a:lnTo>
                      <a:pt x="27" y="228"/>
                    </a:lnTo>
                    <a:lnTo>
                      <a:pt x="25" y="228"/>
                    </a:lnTo>
                    <a:lnTo>
                      <a:pt x="23" y="226"/>
                    </a:lnTo>
                    <a:lnTo>
                      <a:pt x="22" y="226"/>
                    </a:lnTo>
                    <a:lnTo>
                      <a:pt x="20" y="226"/>
                    </a:lnTo>
                    <a:lnTo>
                      <a:pt x="18" y="226"/>
                    </a:lnTo>
                    <a:lnTo>
                      <a:pt x="15" y="224"/>
                    </a:lnTo>
                    <a:lnTo>
                      <a:pt x="13" y="224"/>
                    </a:lnTo>
                    <a:lnTo>
                      <a:pt x="12" y="219"/>
                    </a:lnTo>
                    <a:lnTo>
                      <a:pt x="12" y="214"/>
                    </a:lnTo>
                    <a:lnTo>
                      <a:pt x="10" y="211"/>
                    </a:lnTo>
                    <a:lnTo>
                      <a:pt x="10" y="209"/>
                    </a:lnTo>
                    <a:lnTo>
                      <a:pt x="8" y="205"/>
                    </a:lnTo>
                    <a:lnTo>
                      <a:pt x="12" y="202"/>
                    </a:lnTo>
                    <a:lnTo>
                      <a:pt x="12" y="200"/>
                    </a:lnTo>
                    <a:lnTo>
                      <a:pt x="12" y="199"/>
                    </a:lnTo>
                    <a:lnTo>
                      <a:pt x="13" y="200"/>
                    </a:lnTo>
                    <a:lnTo>
                      <a:pt x="13" y="199"/>
                    </a:lnTo>
                    <a:lnTo>
                      <a:pt x="15" y="199"/>
                    </a:lnTo>
                    <a:lnTo>
                      <a:pt x="13" y="199"/>
                    </a:lnTo>
                    <a:lnTo>
                      <a:pt x="13" y="197"/>
                    </a:lnTo>
                    <a:lnTo>
                      <a:pt x="15" y="195"/>
                    </a:lnTo>
                    <a:lnTo>
                      <a:pt x="15" y="194"/>
                    </a:lnTo>
                    <a:lnTo>
                      <a:pt x="17" y="194"/>
                    </a:lnTo>
                    <a:lnTo>
                      <a:pt x="17" y="192"/>
                    </a:lnTo>
                    <a:lnTo>
                      <a:pt x="17" y="194"/>
                    </a:lnTo>
                    <a:lnTo>
                      <a:pt x="17" y="192"/>
                    </a:lnTo>
                    <a:lnTo>
                      <a:pt x="18" y="192"/>
                    </a:lnTo>
                    <a:lnTo>
                      <a:pt x="17" y="192"/>
                    </a:lnTo>
                    <a:lnTo>
                      <a:pt x="17" y="190"/>
                    </a:lnTo>
                    <a:lnTo>
                      <a:pt x="15" y="188"/>
                    </a:lnTo>
                    <a:lnTo>
                      <a:pt x="13" y="187"/>
                    </a:lnTo>
                    <a:lnTo>
                      <a:pt x="13" y="188"/>
                    </a:lnTo>
                    <a:lnTo>
                      <a:pt x="13" y="187"/>
                    </a:lnTo>
                    <a:lnTo>
                      <a:pt x="12" y="187"/>
                    </a:lnTo>
                    <a:lnTo>
                      <a:pt x="12" y="185"/>
                    </a:lnTo>
                    <a:lnTo>
                      <a:pt x="12" y="183"/>
                    </a:lnTo>
                    <a:lnTo>
                      <a:pt x="10" y="183"/>
                    </a:lnTo>
                    <a:lnTo>
                      <a:pt x="10" y="182"/>
                    </a:lnTo>
                    <a:lnTo>
                      <a:pt x="10" y="180"/>
                    </a:lnTo>
                    <a:lnTo>
                      <a:pt x="10" y="178"/>
                    </a:lnTo>
                    <a:lnTo>
                      <a:pt x="10" y="177"/>
                    </a:lnTo>
                    <a:lnTo>
                      <a:pt x="12" y="177"/>
                    </a:lnTo>
                    <a:lnTo>
                      <a:pt x="12" y="175"/>
                    </a:lnTo>
                    <a:lnTo>
                      <a:pt x="13" y="175"/>
                    </a:lnTo>
                    <a:lnTo>
                      <a:pt x="15" y="175"/>
                    </a:lnTo>
                    <a:lnTo>
                      <a:pt x="13" y="173"/>
                    </a:lnTo>
                    <a:lnTo>
                      <a:pt x="13" y="171"/>
                    </a:lnTo>
                    <a:lnTo>
                      <a:pt x="15" y="171"/>
                    </a:lnTo>
                    <a:lnTo>
                      <a:pt x="15" y="170"/>
                    </a:lnTo>
                    <a:lnTo>
                      <a:pt x="15" y="168"/>
                    </a:lnTo>
                    <a:lnTo>
                      <a:pt x="17" y="170"/>
                    </a:lnTo>
                    <a:lnTo>
                      <a:pt x="17" y="168"/>
                    </a:lnTo>
                    <a:lnTo>
                      <a:pt x="17" y="166"/>
                    </a:lnTo>
                    <a:lnTo>
                      <a:pt x="18" y="166"/>
                    </a:lnTo>
                    <a:lnTo>
                      <a:pt x="18" y="165"/>
                    </a:lnTo>
                    <a:lnTo>
                      <a:pt x="20" y="165"/>
                    </a:lnTo>
                    <a:lnTo>
                      <a:pt x="20" y="163"/>
                    </a:lnTo>
                    <a:lnTo>
                      <a:pt x="22" y="163"/>
                    </a:lnTo>
                    <a:lnTo>
                      <a:pt x="22" y="161"/>
                    </a:lnTo>
                    <a:lnTo>
                      <a:pt x="22" y="160"/>
                    </a:lnTo>
                    <a:lnTo>
                      <a:pt x="22" y="158"/>
                    </a:lnTo>
                    <a:lnTo>
                      <a:pt x="22" y="156"/>
                    </a:lnTo>
                    <a:lnTo>
                      <a:pt x="23" y="156"/>
                    </a:lnTo>
                    <a:lnTo>
                      <a:pt x="25" y="156"/>
                    </a:lnTo>
                    <a:lnTo>
                      <a:pt x="27" y="156"/>
                    </a:lnTo>
                    <a:lnTo>
                      <a:pt x="29" y="156"/>
                    </a:lnTo>
                    <a:lnTo>
                      <a:pt x="27" y="156"/>
                    </a:lnTo>
                    <a:lnTo>
                      <a:pt x="27" y="154"/>
                    </a:lnTo>
                    <a:lnTo>
                      <a:pt x="27" y="153"/>
                    </a:lnTo>
                    <a:lnTo>
                      <a:pt x="27" y="151"/>
                    </a:lnTo>
                    <a:lnTo>
                      <a:pt x="25" y="151"/>
                    </a:lnTo>
                    <a:lnTo>
                      <a:pt x="25" y="149"/>
                    </a:lnTo>
                    <a:lnTo>
                      <a:pt x="23" y="149"/>
                    </a:lnTo>
                    <a:lnTo>
                      <a:pt x="23" y="148"/>
                    </a:lnTo>
                    <a:lnTo>
                      <a:pt x="23" y="146"/>
                    </a:lnTo>
                    <a:lnTo>
                      <a:pt x="22" y="146"/>
                    </a:lnTo>
                    <a:lnTo>
                      <a:pt x="23" y="144"/>
                    </a:lnTo>
                    <a:lnTo>
                      <a:pt x="22" y="144"/>
                    </a:lnTo>
                    <a:lnTo>
                      <a:pt x="22" y="143"/>
                    </a:lnTo>
                    <a:lnTo>
                      <a:pt x="22" y="141"/>
                    </a:lnTo>
                    <a:lnTo>
                      <a:pt x="22" y="139"/>
                    </a:lnTo>
                    <a:lnTo>
                      <a:pt x="20" y="139"/>
                    </a:lnTo>
                    <a:lnTo>
                      <a:pt x="20" y="137"/>
                    </a:lnTo>
                    <a:lnTo>
                      <a:pt x="20" y="136"/>
                    </a:lnTo>
                    <a:lnTo>
                      <a:pt x="22" y="136"/>
                    </a:lnTo>
                    <a:lnTo>
                      <a:pt x="23" y="136"/>
                    </a:lnTo>
                    <a:lnTo>
                      <a:pt x="23" y="134"/>
                    </a:lnTo>
                    <a:lnTo>
                      <a:pt x="23" y="132"/>
                    </a:lnTo>
                    <a:lnTo>
                      <a:pt x="25" y="132"/>
                    </a:lnTo>
                    <a:lnTo>
                      <a:pt x="25" y="131"/>
                    </a:lnTo>
                    <a:lnTo>
                      <a:pt x="25" y="129"/>
                    </a:lnTo>
                    <a:lnTo>
                      <a:pt x="25" y="127"/>
                    </a:lnTo>
                    <a:lnTo>
                      <a:pt x="27" y="125"/>
                    </a:lnTo>
                    <a:lnTo>
                      <a:pt x="25" y="125"/>
                    </a:lnTo>
                    <a:lnTo>
                      <a:pt x="27" y="125"/>
                    </a:lnTo>
                    <a:lnTo>
                      <a:pt x="27" y="124"/>
                    </a:lnTo>
                    <a:lnTo>
                      <a:pt x="27" y="122"/>
                    </a:lnTo>
                    <a:lnTo>
                      <a:pt x="27" y="120"/>
                    </a:lnTo>
                    <a:lnTo>
                      <a:pt x="27" y="119"/>
                    </a:lnTo>
                    <a:lnTo>
                      <a:pt x="27" y="117"/>
                    </a:lnTo>
                    <a:lnTo>
                      <a:pt x="27" y="115"/>
                    </a:lnTo>
                    <a:lnTo>
                      <a:pt x="27" y="114"/>
                    </a:lnTo>
                    <a:lnTo>
                      <a:pt x="27" y="112"/>
                    </a:lnTo>
                    <a:lnTo>
                      <a:pt x="27" y="114"/>
                    </a:lnTo>
                    <a:lnTo>
                      <a:pt x="25" y="112"/>
                    </a:lnTo>
                    <a:lnTo>
                      <a:pt x="27" y="112"/>
                    </a:lnTo>
                    <a:lnTo>
                      <a:pt x="27" y="110"/>
                    </a:lnTo>
                    <a:lnTo>
                      <a:pt x="27" y="108"/>
                    </a:lnTo>
                    <a:lnTo>
                      <a:pt x="29" y="108"/>
                    </a:lnTo>
                    <a:lnTo>
                      <a:pt x="27" y="107"/>
                    </a:lnTo>
                    <a:lnTo>
                      <a:pt x="29" y="107"/>
                    </a:lnTo>
                    <a:lnTo>
                      <a:pt x="29" y="105"/>
                    </a:lnTo>
                    <a:lnTo>
                      <a:pt x="30" y="105"/>
                    </a:lnTo>
                    <a:lnTo>
                      <a:pt x="30" y="103"/>
                    </a:lnTo>
                    <a:lnTo>
                      <a:pt x="32" y="103"/>
                    </a:lnTo>
                    <a:lnTo>
                      <a:pt x="30" y="103"/>
                    </a:lnTo>
                    <a:lnTo>
                      <a:pt x="32" y="103"/>
                    </a:lnTo>
                    <a:lnTo>
                      <a:pt x="30" y="103"/>
                    </a:lnTo>
                    <a:lnTo>
                      <a:pt x="32" y="103"/>
                    </a:lnTo>
                    <a:lnTo>
                      <a:pt x="30" y="102"/>
                    </a:lnTo>
                    <a:lnTo>
                      <a:pt x="30" y="100"/>
                    </a:lnTo>
                    <a:lnTo>
                      <a:pt x="32" y="100"/>
                    </a:lnTo>
                    <a:lnTo>
                      <a:pt x="32" y="98"/>
                    </a:lnTo>
                    <a:lnTo>
                      <a:pt x="34" y="98"/>
                    </a:lnTo>
                    <a:lnTo>
                      <a:pt x="34" y="97"/>
                    </a:lnTo>
                    <a:lnTo>
                      <a:pt x="32" y="97"/>
                    </a:lnTo>
                    <a:lnTo>
                      <a:pt x="34" y="97"/>
                    </a:lnTo>
                    <a:lnTo>
                      <a:pt x="34" y="98"/>
                    </a:lnTo>
                    <a:lnTo>
                      <a:pt x="34" y="97"/>
                    </a:lnTo>
                    <a:lnTo>
                      <a:pt x="32" y="93"/>
                    </a:lnTo>
                    <a:lnTo>
                      <a:pt x="29" y="86"/>
                    </a:lnTo>
                    <a:lnTo>
                      <a:pt x="27" y="85"/>
                    </a:lnTo>
                    <a:lnTo>
                      <a:pt x="25" y="81"/>
                    </a:lnTo>
                    <a:lnTo>
                      <a:pt x="25" y="80"/>
                    </a:lnTo>
                    <a:lnTo>
                      <a:pt x="23" y="78"/>
                    </a:lnTo>
                    <a:lnTo>
                      <a:pt x="23" y="76"/>
                    </a:lnTo>
                    <a:lnTo>
                      <a:pt x="22" y="74"/>
                    </a:lnTo>
                    <a:lnTo>
                      <a:pt x="20" y="73"/>
                    </a:lnTo>
                    <a:lnTo>
                      <a:pt x="20" y="69"/>
                    </a:lnTo>
                    <a:lnTo>
                      <a:pt x="18" y="68"/>
                    </a:lnTo>
                    <a:lnTo>
                      <a:pt x="18" y="66"/>
                    </a:lnTo>
                    <a:lnTo>
                      <a:pt x="15" y="64"/>
                    </a:lnTo>
                    <a:lnTo>
                      <a:pt x="15" y="61"/>
                    </a:lnTo>
                    <a:lnTo>
                      <a:pt x="13" y="61"/>
                    </a:lnTo>
                    <a:lnTo>
                      <a:pt x="13" y="59"/>
                    </a:lnTo>
                    <a:lnTo>
                      <a:pt x="12" y="56"/>
                    </a:lnTo>
                    <a:lnTo>
                      <a:pt x="10" y="54"/>
                    </a:lnTo>
                    <a:lnTo>
                      <a:pt x="8" y="52"/>
                    </a:lnTo>
                    <a:lnTo>
                      <a:pt x="6" y="51"/>
                    </a:lnTo>
                    <a:lnTo>
                      <a:pt x="6" y="49"/>
                    </a:lnTo>
                    <a:lnTo>
                      <a:pt x="5" y="46"/>
                    </a:lnTo>
                    <a:lnTo>
                      <a:pt x="3" y="44"/>
                    </a:lnTo>
                    <a:lnTo>
                      <a:pt x="3" y="42"/>
                    </a:lnTo>
                    <a:lnTo>
                      <a:pt x="3" y="44"/>
                    </a:lnTo>
                    <a:lnTo>
                      <a:pt x="3" y="42"/>
                    </a:lnTo>
                    <a:lnTo>
                      <a:pt x="5" y="42"/>
                    </a:lnTo>
                    <a:lnTo>
                      <a:pt x="6" y="44"/>
                    </a:lnTo>
                    <a:lnTo>
                      <a:pt x="6" y="42"/>
                    </a:lnTo>
                    <a:lnTo>
                      <a:pt x="8" y="42"/>
                    </a:lnTo>
                    <a:lnTo>
                      <a:pt x="10" y="44"/>
                    </a:lnTo>
                    <a:lnTo>
                      <a:pt x="10" y="42"/>
                    </a:lnTo>
                    <a:lnTo>
                      <a:pt x="10" y="44"/>
                    </a:lnTo>
                    <a:lnTo>
                      <a:pt x="12" y="42"/>
                    </a:lnTo>
                    <a:lnTo>
                      <a:pt x="13" y="42"/>
                    </a:lnTo>
                    <a:lnTo>
                      <a:pt x="13" y="44"/>
                    </a:lnTo>
                    <a:lnTo>
                      <a:pt x="13" y="42"/>
                    </a:lnTo>
                    <a:lnTo>
                      <a:pt x="15" y="42"/>
                    </a:lnTo>
                    <a:lnTo>
                      <a:pt x="15" y="44"/>
                    </a:lnTo>
                    <a:lnTo>
                      <a:pt x="15" y="42"/>
                    </a:lnTo>
                    <a:lnTo>
                      <a:pt x="17" y="44"/>
                    </a:lnTo>
                    <a:lnTo>
                      <a:pt x="18" y="44"/>
                    </a:lnTo>
                    <a:lnTo>
                      <a:pt x="20" y="44"/>
                    </a:lnTo>
                    <a:lnTo>
                      <a:pt x="22" y="44"/>
                    </a:lnTo>
                    <a:lnTo>
                      <a:pt x="22" y="46"/>
                    </a:lnTo>
                    <a:lnTo>
                      <a:pt x="22" y="44"/>
                    </a:lnTo>
                    <a:lnTo>
                      <a:pt x="23" y="44"/>
                    </a:lnTo>
                    <a:lnTo>
                      <a:pt x="23" y="46"/>
                    </a:lnTo>
                    <a:lnTo>
                      <a:pt x="25" y="46"/>
                    </a:lnTo>
                    <a:lnTo>
                      <a:pt x="27" y="46"/>
                    </a:lnTo>
                    <a:lnTo>
                      <a:pt x="25" y="46"/>
                    </a:lnTo>
                    <a:lnTo>
                      <a:pt x="27" y="46"/>
                    </a:lnTo>
                    <a:lnTo>
                      <a:pt x="27" y="44"/>
                    </a:lnTo>
                    <a:lnTo>
                      <a:pt x="29" y="46"/>
                    </a:lnTo>
                    <a:lnTo>
                      <a:pt x="29" y="44"/>
                    </a:lnTo>
                    <a:lnTo>
                      <a:pt x="29" y="46"/>
                    </a:lnTo>
                    <a:lnTo>
                      <a:pt x="30" y="44"/>
                    </a:lnTo>
                    <a:lnTo>
                      <a:pt x="30" y="46"/>
                    </a:lnTo>
                    <a:lnTo>
                      <a:pt x="30" y="47"/>
                    </a:lnTo>
                    <a:lnTo>
                      <a:pt x="32" y="49"/>
                    </a:lnTo>
                    <a:lnTo>
                      <a:pt x="32" y="51"/>
                    </a:lnTo>
                    <a:lnTo>
                      <a:pt x="37" y="49"/>
                    </a:lnTo>
                    <a:lnTo>
                      <a:pt x="37" y="47"/>
                    </a:lnTo>
                    <a:lnTo>
                      <a:pt x="39" y="47"/>
                    </a:lnTo>
                    <a:lnTo>
                      <a:pt x="39" y="46"/>
                    </a:lnTo>
                    <a:lnTo>
                      <a:pt x="40" y="47"/>
                    </a:lnTo>
                    <a:lnTo>
                      <a:pt x="40" y="46"/>
                    </a:lnTo>
                    <a:lnTo>
                      <a:pt x="42" y="46"/>
                    </a:lnTo>
                    <a:lnTo>
                      <a:pt x="42" y="47"/>
                    </a:lnTo>
                    <a:lnTo>
                      <a:pt x="42" y="46"/>
                    </a:lnTo>
                    <a:lnTo>
                      <a:pt x="44" y="46"/>
                    </a:lnTo>
                    <a:lnTo>
                      <a:pt x="46" y="46"/>
                    </a:lnTo>
                    <a:lnTo>
                      <a:pt x="46" y="44"/>
                    </a:lnTo>
                    <a:lnTo>
                      <a:pt x="47" y="44"/>
                    </a:lnTo>
                    <a:lnTo>
                      <a:pt x="47" y="42"/>
                    </a:lnTo>
                    <a:lnTo>
                      <a:pt x="49" y="42"/>
                    </a:lnTo>
                    <a:lnTo>
                      <a:pt x="49" y="40"/>
                    </a:lnTo>
                    <a:lnTo>
                      <a:pt x="51" y="39"/>
                    </a:lnTo>
                    <a:lnTo>
                      <a:pt x="51" y="37"/>
                    </a:lnTo>
                    <a:lnTo>
                      <a:pt x="52" y="37"/>
                    </a:lnTo>
                    <a:lnTo>
                      <a:pt x="52" y="35"/>
                    </a:lnTo>
                    <a:lnTo>
                      <a:pt x="52" y="34"/>
                    </a:lnTo>
                    <a:lnTo>
                      <a:pt x="54" y="34"/>
                    </a:lnTo>
                    <a:lnTo>
                      <a:pt x="56" y="32"/>
                    </a:lnTo>
                    <a:lnTo>
                      <a:pt x="56" y="34"/>
                    </a:lnTo>
                    <a:lnTo>
                      <a:pt x="57" y="32"/>
                    </a:lnTo>
                    <a:lnTo>
                      <a:pt x="57" y="34"/>
                    </a:lnTo>
                    <a:lnTo>
                      <a:pt x="59" y="32"/>
                    </a:lnTo>
                    <a:lnTo>
                      <a:pt x="61" y="32"/>
                    </a:lnTo>
                    <a:lnTo>
                      <a:pt x="63" y="34"/>
                    </a:lnTo>
                    <a:lnTo>
                      <a:pt x="64" y="34"/>
                    </a:lnTo>
                    <a:lnTo>
                      <a:pt x="64" y="35"/>
                    </a:lnTo>
                    <a:lnTo>
                      <a:pt x="66" y="35"/>
                    </a:lnTo>
                    <a:lnTo>
                      <a:pt x="66" y="34"/>
                    </a:lnTo>
                    <a:lnTo>
                      <a:pt x="66" y="32"/>
                    </a:lnTo>
                    <a:lnTo>
                      <a:pt x="66" y="30"/>
                    </a:lnTo>
                    <a:lnTo>
                      <a:pt x="68" y="32"/>
                    </a:lnTo>
                    <a:lnTo>
                      <a:pt x="68" y="30"/>
                    </a:lnTo>
                    <a:lnTo>
                      <a:pt x="69" y="30"/>
                    </a:lnTo>
                    <a:lnTo>
                      <a:pt x="69" y="29"/>
                    </a:lnTo>
                    <a:lnTo>
                      <a:pt x="71" y="27"/>
                    </a:lnTo>
                    <a:lnTo>
                      <a:pt x="73" y="27"/>
                    </a:lnTo>
                    <a:lnTo>
                      <a:pt x="74" y="25"/>
                    </a:lnTo>
                    <a:lnTo>
                      <a:pt x="74" y="27"/>
                    </a:lnTo>
                    <a:lnTo>
                      <a:pt x="74" y="25"/>
                    </a:lnTo>
                    <a:lnTo>
                      <a:pt x="76" y="25"/>
                    </a:lnTo>
                    <a:lnTo>
                      <a:pt x="76" y="23"/>
                    </a:lnTo>
                    <a:lnTo>
                      <a:pt x="74" y="23"/>
                    </a:lnTo>
                    <a:lnTo>
                      <a:pt x="76" y="23"/>
                    </a:lnTo>
                    <a:lnTo>
                      <a:pt x="78" y="23"/>
                    </a:lnTo>
                    <a:lnTo>
                      <a:pt x="80" y="23"/>
                    </a:lnTo>
                    <a:lnTo>
                      <a:pt x="80" y="22"/>
                    </a:lnTo>
                    <a:lnTo>
                      <a:pt x="78" y="22"/>
                    </a:lnTo>
                    <a:lnTo>
                      <a:pt x="80" y="22"/>
                    </a:lnTo>
                    <a:lnTo>
                      <a:pt x="81" y="22"/>
                    </a:lnTo>
                    <a:lnTo>
                      <a:pt x="83" y="22"/>
                    </a:lnTo>
                    <a:lnTo>
                      <a:pt x="85" y="22"/>
                    </a:lnTo>
                    <a:lnTo>
                      <a:pt x="85" y="20"/>
                    </a:lnTo>
                    <a:lnTo>
                      <a:pt x="86" y="20"/>
                    </a:lnTo>
                    <a:lnTo>
                      <a:pt x="88" y="20"/>
                    </a:lnTo>
                    <a:lnTo>
                      <a:pt x="90" y="18"/>
                    </a:lnTo>
                    <a:lnTo>
                      <a:pt x="90" y="17"/>
                    </a:lnTo>
                    <a:lnTo>
                      <a:pt x="91" y="17"/>
                    </a:lnTo>
                    <a:lnTo>
                      <a:pt x="91" y="15"/>
                    </a:lnTo>
                    <a:lnTo>
                      <a:pt x="93" y="15"/>
                    </a:lnTo>
                    <a:lnTo>
                      <a:pt x="91" y="15"/>
                    </a:lnTo>
                    <a:lnTo>
                      <a:pt x="93" y="15"/>
                    </a:lnTo>
                    <a:lnTo>
                      <a:pt x="93" y="13"/>
                    </a:lnTo>
                    <a:lnTo>
                      <a:pt x="95" y="13"/>
                    </a:lnTo>
                    <a:lnTo>
                      <a:pt x="95" y="12"/>
                    </a:lnTo>
                    <a:lnTo>
                      <a:pt x="97" y="12"/>
                    </a:lnTo>
                    <a:lnTo>
                      <a:pt x="98" y="10"/>
                    </a:lnTo>
                    <a:lnTo>
                      <a:pt x="100" y="10"/>
                    </a:lnTo>
                    <a:lnTo>
                      <a:pt x="100" y="8"/>
                    </a:lnTo>
                    <a:lnTo>
                      <a:pt x="102" y="8"/>
                    </a:lnTo>
                    <a:lnTo>
                      <a:pt x="102" y="6"/>
                    </a:lnTo>
                    <a:lnTo>
                      <a:pt x="103" y="6"/>
                    </a:lnTo>
                    <a:lnTo>
                      <a:pt x="105" y="6"/>
                    </a:lnTo>
                    <a:lnTo>
                      <a:pt x="107" y="6"/>
                    </a:lnTo>
                    <a:lnTo>
                      <a:pt x="108" y="6"/>
                    </a:lnTo>
                    <a:lnTo>
                      <a:pt x="110" y="6"/>
                    </a:lnTo>
                    <a:lnTo>
                      <a:pt x="108" y="6"/>
                    </a:lnTo>
                    <a:lnTo>
                      <a:pt x="110" y="6"/>
                    </a:lnTo>
                    <a:lnTo>
                      <a:pt x="112" y="6"/>
                    </a:lnTo>
                    <a:lnTo>
                      <a:pt x="112" y="5"/>
                    </a:lnTo>
                    <a:lnTo>
                      <a:pt x="114" y="5"/>
                    </a:lnTo>
                    <a:lnTo>
                      <a:pt x="115" y="5"/>
                    </a:lnTo>
                    <a:lnTo>
                      <a:pt x="115" y="3"/>
                    </a:lnTo>
                    <a:lnTo>
                      <a:pt x="115" y="5"/>
                    </a:lnTo>
                    <a:lnTo>
                      <a:pt x="117" y="5"/>
                    </a:lnTo>
                    <a:lnTo>
                      <a:pt x="117" y="3"/>
                    </a:lnTo>
                    <a:lnTo>
                      <a:pt x="119" y="3"/>
                    </a:lnTo>
                    <a:lnTo>
                      <a:pt x="120" y="3"/>
                    </a:lnTo>
                    <a:lnTo>
                      <a:pt x="120" y="5"/>
                    </a:lnTo>
                    <a:lnTo>
                      <a:pt x="120" y="3"/>
                    </a:lnTo>
                    <a:lnTo>
                      <a:pt x="122" y="3"/>
                    </a:lnTo>
                    <a:lnTo>
                      <a:pt x="122" y="5"/>
                    </a:lnTo>
                    <a:lnTo>
                      <a:pt x="122" y="3"/>
                    </a:lnTo>
                    <a:lnTo>
                      <a:pt x="124" y="3"/>
                    </a:lnTo>
                    <a:lnTo>
                      <a:pt x="125" y="3"/>
                    </a:lnTo>
                    <a:lnTo>
                      <a:pt x="125" y="1"/>
                    </a:lnTo>
                    <a:lnTo>
                      <a:pt x="125" y="3"/>
                    </a:lnTo>
                    <a:lnTo>
                      <a:pt x="125" y="1"/>
                    </a:lnTo>
                    <a:lnTo>
                      <a:pt x="127" y="3"/>
                    </a:lnTo>
                    <a:lnTo>
                      <a:pt x="127" y="1"/>
                    </a:lnTo>
                    <a:lnTo>
                      <a:pt x="127" y="3"/>
                    </a:lnTo>
                    <a:lnTo>
                      <a:pt x="129" y="3"/>
                    </a:lnTo>
                    <a:lnTo>
                      <a:pt x="129" y="1"/>
                    </a:lnTo>
                    <a:lnTo>
                      <a:pt x="131" y="1"/>
                    </a:lnTo>
                    <a:lnTo>
                      <a:pt x="129" y="3"/>
                    </a:lnTo>
                    <a:lnTo>
                      <a:pt x="131" y="3"/>
                    </a:lnTo>
                    <a:lnTo>
                      <a:pt x="131" y="1"/>
                    </a:lnTo>
                    <a:lnTo>
                      <a:pt x="132" y="3"/>
                    </a:lnTo>
                    <a:lnTo>
                      <a:pt x="132" y="1"/>
                    </a:lnTo>
                    <a:lnTo>
                      <a:pt x="134" y="1"/>
                    </a:lnTo>
                    <a:lnTo>
                      <a:pt x="134" y="3"/>
                    </a:lnTo>
                    <a:lnTo>
                      <a:pt x="132" y="3"/>
                    </a:lnTo>
                    <a:lnTo>
                      <a:pt x="134" y="3"/>
                    </a:lnTo>
                    <a:lnTo>
                      <a:pt x="132" y="3"/>
                    </a:lnTo>
                    <a:lnTo>
                      <a:pt x="134" y="5"/>
                    </a:lnTo>
                    <a:lnTo>
                      <a:pt x="134" y="3"/>
                    </a:lnTo>
                    <a:lnTo>
                      <a:pt x="136" y="3"/>
                    </a:lnTo>
                    <a:lnTo>
                      <a:pt x="136" y="5"/>
                    </a:lnTo>
                    <a:lnTo>
                      <a:pt x="136" y="3"/>
                    </a:lnTo>
                    <a:lnTo>
                      <a:pt x="136" y="5"/>
                    </a:lnTo>
                    <a:lnTo>
                      <a:pt x="137" y="5"/>
                    </a:lnTo>
                    <a:lnTo>
                      <a:pt x="139" y="5"/>
                    </a:lnTo>
                    <a:lnTo>
                      <a:pt x="137" y="5"/>
                    </a:lnTo>
                    <a:lnTo>
                      <a:pt x="137" y="3"/>
                    </a:lnTo>
                    <a:lnTo>
                      <a:pt x="139" y="3"/>
                    </a:lnTo>
                    <a:lnTo>
                      <a:pt x="141" y="3"/>
                    </a:lnTo>
                    <a:lnTo>
                      <a:pt x="141" y="1"/>
                    </a:lnTo>
                    <a:lnTo>
                      <a:pt x="141" y="0"/>
                    </a:lnTo>
                    <a:lnTo>
                      <a:pt x="141" y="1"/>
                    </a:lnTo>
                    <a:lnTo>
                      <a:pt x="141" y="0"/>
                    </a:lnTo>
                    <a:lnTo>
                      <a:pt x="142" y="0"/>
                    </a:lnTo>
                    <a:lnTo>
                      <a:pt x="144" y="0"/>
                    </a:lnTo>
                    <a:lnTo>
                      <a:pt x="144" y="1"/>
                    </a:lnTo>
                    <a:lnTo>
                      <a:pt x="146" y="1"/>
                    </a:lnTo>
                    <a:lnTo>
                      <a:pt x="146" y="3"/>
                    </a:lnTo>
                    <a:lnTo>
                      <a:pt x="146" y="5"/>
                    </a:lnTo>
                    <a:lnTo>
                      <a:pt x="148" y="5"/>
                    </a:lnTo>
                    <a:lnTo>
                      <a:pt x="148" y="6"/>
                    </a:lnTo>
                    <a:lnTo>
                      <a:pt x="146" y="6"/>
                    </a:lnTo>
                    <a:lnTo>
                      <a:pt x="146" y="8"/>
                    </a:lnTo>
                    <a:lnTo>
                      <a:pt x="146" y="10"/>
                    </a:lnTo>
                    <a:lnTo>
                      <a:pt x="146" y="12"/>
                    </a:lnTo>
                    <a:lnTo>
                      <a:pt x="146" y="13"/>
                    </a:lnTo>
                    <a:lnTo>
                      <a:pt x="148" y="13"/>
                    </a:lnTo>
                    <a:lnTo>
                      <a:pt x="148" y="15"/>
                    </a:lnTo>
                    <a:lnTo>
                      <a:pt x="146" y="17"/>
                    </a:lnTo>
                    <a:lnTo>
                      <a:pt x="148" y="17"/>
                    </a:lnTo>
                    <a:lnTo>
                      <a:pt x="148" y="18"/>
                    </a:lnTo>
                    <a:lnTo>
                      <a:pt x="146" y="18"/>
                    </a:lnTo>
                    <a:lnTo>
                      <a:pt x="146" y="20"/>
                    </a:lnTo>
                    <a:lnTo>
                      <a:pt x="146" y="22"/>
                    </a:lnTo>
                    <a:lnTo>
                      <a:pt x="144" y="22"/>
                    </a:lnTo>
                    <a:lnTo>
                      <a:pt x="144" y="23"/>
                    </a:lnTo>
                    <a:lnTo>
                      <a:pt x="144" y="25"/>
                    </a:lnTo>
                    <a:lnTo>
                      <a:pt x="144" y="27"/>
                    </a:lnTo>
                    <a:lnTo>
                      <a:pt x="142" y="27"/>
                    </a:lnTo>
                    <a:lnTo>
                      <a:pt x="142" y="29"/>
                    </a:lnTo>
                    <a:lnTo>
                      <a:pt x="144" y="29"/>
                    </a:lnTo>
                    <a:lnTo>
                      <a:pt x="144" y="30"/>
                    </a:lnTo>
                    <a:lnTo>
                      <a:pt x="142" y="30"/>
                    </a:lnTo>
                    <a:lnTo>
                      <a:pt x="144" y="32"/>
                    </a:lnTo>
                    <a:lnTo>
                      <a:pt x="146" y="34"/>
                    </a:lnTo>
                    <a:lnTo>
                      <a:pt x="146" y="35"/>
                    </a:lnTo>
                    <a:lnTo>
                      <a:pt x="146" y="37"/>
                    </a:lnTo>
                    <a:lnTo>
                      <a:pt x="146" y="39"/>
                    </a:lnTo>
                    <a:lnTo>
                      <a:pt x="148" y="39"/>
                    </a:lnTo>
                    <a:lnTo>
                      <a:pt x="148" y="40"/>
                    </a:lnTo>
                    <a:lnTo>
                      <a:pt x="148" y="42"/>
                    </a:lnTo>
                    <a:lnTo>
                      <a:pt x="148" y="44"/>
                    </a:lnTo>
                    <a:lnTo>
                      <a:pt x="149" y="44"/>
                    </a:lnTo>
                    <a:lnTo>
                      <a:pt x="148" y="46"/>
                    </a:lnTo>
                    <a:lnTo>
                      <a:pt x="148" y="47"/>
                    </a:lnTo>
                    <a:lnTo>
                      <a:pt x="146" y="49"/>
                    </a:lnTo>
                    <a:lnTo>
                      <a:pt x="144" y="49"/>
                    </a:lnTo>
                    <a:lnTo>
                      <a:pt x="144" y="51"/>
                    </a:lnTo>
                    <a:lnTo>
                      <a:pt x="146" y="51"/>
                    </a:lnTo>
                    <a:lnTo>
                      <a:pt x="146" y="52"/>
                    </a:lnTo>
                    <a:lnTo>
                      <a:pt x="144" y="52"/>
                    </a:lnTo>
                    <a:lnTo>
                      <a:pt x="144" y="54"/>
                    </a:lnTo>
                    <a:lnTo>
                      <a:pt x="146" y="54"/>
                    </a:lnTo>
                    <a:lnTo>
                      <a:pt x="146" y="56"/>
                    </a:lnTo>
                    <a:lnTo>
                      <a:pt x="148" y="56"/>
                    </a:lnTo>
                    <a:lnTo>
                      <a:pt x="146" y="56"/>
                    </a:lnTo>
                    <a:lnTo>
                      <a:pt x="146" y="57"/>
                    </a:lnTo>
                    <a:lnTo>
                      <a:pt x="146" y="59"/>
                    </a:lnTo>
                    <a:lnTo>
                      <a:pt x="146" y="61"/>
                    </a:lnTo>
                    <a:lnTo>
                      <a:pt x="148" y="63"/>
                    </a:lnTo>
                    <a:lnTo>
                      <a:pt x="149" y="63"/>
                    </a:lnTo>
                    <a:lnTo>
                      <a:pt x="149" y="64"/>
                    </a:lnTo>
                    <a:lnTo>
                      <a:pt x="149" y="66"/>
                    </a:lnTo>
                    <a:lnTo>
                      <a:pt x="149" y="68"/>
                    </a:lnTo>
                    <a:lnTo>
                      <a:pt x="148" y="69"/>
                    </a:lnTo>
                    <a:lnTo>
                      <a:pt x="149" y="69"/>
                    </a:lnTo>
                    <a:lnTo>
                      <a:pt x="149" y="71"/>
                    </a:lnTo>
                    <a:lnTo>
                      <a:pt x="151" y="71"/>
                    </a:lnTo>
                    <a:lnTo>
                      <a:pt x="151" y="69"/>
                    </a:lnTo>
                    <a:lnTo>
                      <a:pt x="153" y="69"/>
                    </a:lnTo>
                    <a:lnTo>
                      <a:pt x="154" y="69"/>
                    </a:lnTo>
                    <a:lnTo>
                      <a:pt x="154" y="71"/>
                    </a:lnTo>
                    <a:lnTo>
                      <a:pt x="154" y="73"/>
                    </a:lnTo>
                    <a:lnTo>
                      <a:pt x="154" y="74"/>
                    </a:lnTo>
                    <a:lnTo>
                      <a:pt x="156" y="74"/>
                    </a:lnTo>
                    <a:lnTo>
                      <a:pt x="156" y="76"/>
                    </a:lnTo>
                    <a:lnTo>
                      <a:pt x="156" y="78"/>
                    </a:lnTo>
                    <a:lnTo>
                      <a:pt x="156" y="80"/>
                    </a:lnTo>
                    <a:lnTo>
                      <a:pt x="158" y="80"/>
                    </a:lnTo>
                    <a:lnTo>
                      <a:pt x="159" y="80"/>
                    </a:lnTo>
                    <a:lnTo>
                      <a:pt x="161" y="80"/>
                    </a:lnTo>
                    <a:lnTo>
                      <a:pt x="163" y="80"/>
                    </a:lnTo>
                    <a:lnTo>
                      <a:pt x="163" y="81"/>
                    </a:lnTo>
                    <a:lnTo>
                      <a:pt x="163" y="83"/>
                    </a:lnTo>
                    <a:lnTo>
                      <a:pt x="163" y="81"/>
                    </a:lnTo>
                    <a:lnTo>
                      <a:pt x="165" y="81"/>
                    </a:lnTo>
                    <a:lnTo>
                      <a:pt x="165" y="83"/>
                    </a:lnTo>
                    <a:lnTo>
                      <a:pt x="165" y="85"/>
                    </a:lnTo>
                    <a:lnTo>
                      <a:pt x="166" y="85"/>
                    </a:lnTo>
                    <a:lnTo>
                      <a:pt x="166" y="83"/>
                    </a:lnTo>
                    <a:lnTo>
                      <a:pt x="166" y="81"/>
                    </a:lnTo>
                    <a:lnTo>
                      <a:pt x="166" y="83"/>
                    </a:lnTo>
                    <a:lnTo>
                      <a:pt x="168" y="83"/>
                    </a:lnTo>
                    <a:lnTo>
                      <a:pt x="166" y="83"/>
                    </a:lnTo>
                    <a:lnTo>
                      <a:pt x="166" y="85"/>
                    </a:lnTo>
                    <a:lnTo>
                      <a:pt x="168" y="86"/>
                    </a:lnTo>
                    <a:lnTo>
                      <a:pt x="170" y="86"/>
                    </a:lnTo>
                    <a:lnTo>
                      <a:pt x="171" y="86"/>
                    </a:lnTo>
                    <a:lnTo>
                      <a:pt x="171" y="88"/>
                    </a:lnTo>
                    <a:lnTo>
                      <a:pt x="173" y="88"/>
                    </a:lnTo>
                    <a:lnTo>
                      <a:pt x="173" y="86"/>
                    </a:lnTo>
                    <a:lnTo>
                      <a:pt x="173" y="88"/>
                    </a:lnTo>
                    <a:lnTo>
                      <a:pt x="175" y="88"/>
                    </a:lnTo>
                    <a:lnTo>
                      <a:pt x="175" y="90"/>
                    </a:lnTo>
                    <a:lnTo>
                      <a:pt x="173" y="91"/>
                    </a:lnTo>
                    <a:lnTo>
                      <a:pt x="175" y="91"/>
                    </a:lnTo>
                    <a:lnTo>
                      <a:pt x="175" y="93"/>
                    </a:lnTo>
                    <a:lnTo>
                      <a:pt x="176" y="93"/>
                    </a:lnTo>
                    <a:lnTo>
                      <a:pt x="176" y="95"/>
                    </a:lnTo>
                    <a:lnTo>
                      <a:pt x="178" y="95"/>
                    </a:lnTo>
                    <a:lnTo>
                      <a:pt x="180" y="95"/>
                    </a:lnTo>
                    <a:lnTo>
                      <a:pt x="182" y="95"/>
                    </a:lnTo>
                    <a:lnTo>
                      <a:pt x="180" y="97"/>
                    </a:lnTo>
                    <a:lnTo>
                      <a:pt x="182" y="97"/>
                    </a:lnTo>
                    <a:lnTo>
                      <a:pt x="182" y="95"/>
                    </a:lnTo>
                    <a:lnTo>
                      <a:pt x="183" y="95"/>
                    </a:lnTo>
                    <a:lnTo>
                      <a:pt x="185" y="95"/>
                    </a:lnTo>
                    <a:lnTo>
                      <a:pt x="185" y="97"/>
                    </a:lnTo>
                    <a:lnTo>
                      <a:pt x="187" y="97"/>
                    </a:lnTo>
                    <a:lnTo>
                      <a:pt x="187" y="95"/>
                    </a:lnTo>
                    <a:lnTo>
                      <a:pt x="187" y="97"/>
                    </a:lnTo>
                    <a:lnTo>
                      <a:pt x="188" y="97"/>
                    </a:lnTo>
                    <a:lnTo>
                      <a:pt x="190" y="97"/>
                    </a:lnTo>
                    <a:lnTo>
                      <a:pt x="192" y="97"/>
                    </a:lnTo>
                    <a:lnTo>
                      <a:pt x="193" y="97"/>
                    </a:lnTo>
                    <a:lnTo>
                      <a:pt x="195" y="95"/>
                    </a:lnTo>
                    <a:lnTo>
                      <a:pt x="197" y="95"/>
                    </a:lnTo>
                    <a:lnTo>
                      <a:pt x="199" y="93"/>
                    </a:lnTo>
                    <a:lnTo>
                      <a:pt x="199" y="95"/>
                    </a:lnTo>
                    <a:lnTo>
                      <a:pt x="200" y="95"/>
                    </a:lnTo>
                    <a:lnTo>
                      <a:pt x="202" y="95"/>
                    </a:lnTo>
                    <a:lnTo>
                      <a:pt x="204" y="95"/>
                    </a:lnTo>
                    <a:lnTo>
                      <a:pt x="204" y="97"/>
                    </a:lnTo>
                    <a:lnTo>
                      <a:pt x="205" y="97"/>
                    </a:lnTo>
                    <a:lnTo>
                      <a:pt x="207" y="97"/>
                    </a:lnTo>
                    <a:lnTo>
                      <a:pt x="207" y="98"/>
                    </a:lnTo>
                    <a:lnTo>
                      <a:pt x="209" y="98"/>
                    </a:lnTo>
                    <a:lnTo>
                      <a:pt x="210" y="98"/>
                    </a:lnTo>
                    <a:lnTo>
                      <a:pt x="210" y="100"/>
                    </a:lnTo>
                    <a:lnTo>
                      <a:pt x="209" y="100"/>
                    </a:lnTo>
                    <a:lnTo>
                      <a:pt x="210" y="100"/>
                    </a:lnTo>
                    <a:lnTo>
                      <a:pt x="210" y="102"/>
                    </a:lnTo>
                    <a:lnTo>
                      <a:pt x="212" y="102"/>
                    </a:lnTo>
                    <a:lnTo>
                      <a:pt x="214" y="102"/>
                    </a:lnTo>
                    <a:lnTo>
                      <a:pt x="214" y="103"/>
                    </a:lnTo>
                    <a:lnTo>
                      <a:pt x="216" y="103"/>
                    </a:lnTo>
                    <a:lnTo>
                      <a:pt x="217" y="103"/>
                    </a:lnTo>
                    <a:lnTo>
                      <a:pt x="216" y="102"/>
                    </a:lnTo>
                    <a:lnTo>
                      <a:pt x="217" y="102"/>
                    </a:lnTo>
                    <a:lnTo>
                      <a:pt x="217" y="100"/>
                    </a:lnTo>
                    <a:lnTo>
                      <a:pt x="219" y="102"/>
                    </a:lnTo>
                    <a:lnTo>
                      <a:pt x="219" y="100"/>
                    </a:lnTo>
                    <a:lnTo>
                      <a:pt x="219" y="102"/>
                    </a:lnTo>
                    <a:lnTo>
                      <a:pt x="221" y="102"/>
                    </a:lnTo>
                    <a:lnTo>
                      <a:pt x="221" y="103"/>
                    </a:lnTo>
                    <a:lnTo>
                      <a:pt x="222" y="103"/>
                    </a:lnTo>
                    <a:lnTo>
                      <a:pt x="222" y="105"/>
                    </a:lnTo>
                    <a:lnTo>
                      <a:pt x="224" y="105"/>
                    </a:lnTo>
                    <a:lnTo>
                      <a:pt x="224" y="107"/>
                    </a:lnTo>
                    <a:lnTo>
                      <a:pt x="224" y="108"/>
                    </a:lnTo>
                    <a:lnTo>
                      <a:pt x="226" y="108"/>
                    </a:lnTo>
                    <a:lnTo>
                      <a:pt x="227" y="108"/>
                    </a:lnTo>
                    <a:lnTo>
                      <a:pt x="227" y="110"/>
                    </a:lnTo>
                    <a:lnTo>
                      <a:pt x="229" y="110"/>
                    </a:lnTo>
                    <a:lnTo>
                      <a:pt x="229" y="112"/>
                    </a:lnTo>
                    <a:lnTo>
                      <a:pt x="231" y="112"/>
                    </a:lnTo>
                    <a:lnTo>
                      <a:pt x="231" y="114"/>
                    </a:lnTo>
                    <a:lnTo>
                      <a:pt x="233" y="114"/>
                    </a:lnTo>
                    <a:lnTo>
                      <a:pt x="234" y="115"/>
                    </a:lnTo>
                    <a:lnTo>
                      <a:pt x="234" y="114"/>
                    </a:lnTo>
                    <a:lnTo>
                      <a:pt x="236" y="114"/>
                    </a:lnTo>
                    <a:lnTo>
                      <a:pt x="236" y="112"/>
                    </a:lnTo>
                    <a:lnTo>
                      <a:pt x="236" y="114"/>
                    </a:lnTo>
                    <a:lnTo>
                      <a:pt x="238" y="114"/>
                    </a:lnTo>
                    <a:lnTo>
                      <a:pt x="238" y="115"/>
                    </a:lnTo>
                    <a:lnTo>
                      <a:pt x="239" y="115"/>
                    </a:lnTo>
                    <a:lnTo>
                      <a:pt x="239" y="117"/>
                    </a:lnTo>
                    <a:lnTo>
                      <a:pt x="241" y="115"/>
                    </a:lnTo>
                    <a:lnTo>
                      <a:pt x="241" y="117"/>
                    </a:lnTo>
                    <a:lnTo>
                      <a:pt x="243" y="117"/>
                    </a:lnTo>
                    <a:lnTo>
                      <a:pt x="243" y="115"/>
                    </a:lnTo>
                    <a:lnTo>
                      <a:pt x="243" y="117"/>
                    </a:lnTo>
                    <a:lnTo>
                      <a:pt x="244" y="117"/>
                    </a:lnTo>
                    <a:lnTo>
                      <a:pt x="244" y="119"/>
                    </a:lnTo>
                    <a:lnTo>
                      <a:pt x="244" y="117"/>
                    </a:lnTo>
                    <a:lnTo>
                      <a:pt x="244" y="119"/>
                    </a:lnTo>
                    <a:lnTo>
                      <a:pt x="246" y="119"/>
                    </a:lnTo>
                    <a:lnTo>
                      <a:pt x="248" y="119"/>
                    </a:lnTo>
                    <a:lnTo>
                      <a:pt x="250" y="119"/>
                    </a:lnTo>
                    <a:lnTo>
                      <a:pt x="250" y="117"/>
                    </a:lnTo>
                    <a:lnTo>
                      <a:pt x="251" y="117"/>
                    </a:lnTo>
                    <a:lnTo>
                      <a:pt x="251" y="119"/>
                    </a:lnTo>
                    <a:lnTo>
                      <a:pt x="253" y="119"/>
                    </a:lnTo>
                    <a:lnTo>
                      <a:pt x="251" y="117"/>
                    </a:lnTo>
                    <a:lnTo>
                      <a:pt x="253" y="117"/>
                    </a:lnTo>
                    <a:lnTo>
                      <a:pt x="253" y="119"/>
                    </a:lnTo>
                    <a:lnTo>
                      <a:pt x="255" y="119"/>
                    </a:lnTo>
                    <a:lnTo>
                      <a:pt x="255" y="120"/>
                    </a:lnTo>
                    <a:lnTo>
                      <a:pt x="255" y="122"/>
                    </a:lnTo>
                    <a:lnTo>
                      <a:pt x="255" y="124"/>
                    </a:lnTo>
                    <a:lnTo>
                      <a:pt x="256" y="124"/>
                    </a:lnTo>
                    <a:lnTo>
                      <a:pt x="256" y="125"/>
                    </a:lnTo>
                    <a:lnTo>
                      <a:pt x="258" y="125"/>
                    </a:lnTo>
                    <a:lnTo>
                      <a:pt x="258" y="127"/>
                    </a:lnTo>
                    <a:lnTo>
                      <a:pt x="258" y="125"/>
                    </a:lnTo>
                    <a:lnTo>
                      <a:pt x="260" y="127"/>
                    </a:lnTo>
                    <a:lnTo>
                      <a:pt x="260" y="129"/>
                    </a:lnTo>
                    <a:lnTo>
                      <a:pt x="260" y="127"/>
                    </a:lnTo>
                    <a:lnTo>
                      <a:pt x="261" y="129"/>
                    </a:lnTo>
                    <a:lnTo>
                      <a:pt x="261" y="131"/>
                    </a:lnTo>
                    <a:lnTo>
                      <a:pt x="263" y="131"/>
                    </a:lnTo>
                    <a:lnTo>
                      <a:pt x="263" y="132"/>
                    </a:lnTo>
                    <a:lnTo>
                      <a:pt x="265" y="132"/>
                    </a:lnTo>
                    <a:lnTo>
                      <a:pt x="267" y="132"/>
                    </a:lnTo>
                    <a:lnTo>
                      <a:pt x="268" y="132"/>
                    </a:lnTo>
                    <a:lnTo>
                      <a:pt x="268" y="131"/>
                    </a:lnTo>
                    <a:lnTo>
                      <a:pt x="270" y="131"/>
                    </a:lnTo>
                    <a:lnTo>
                      <a:pt x="270" y="132"/>
                    </a:lnTo>
                    <a:lnTo>
                      <a:pt x="270" y="131"/>
                    </a:lnTo>
                    <a:lnTo>
                      <a:pt x="272" y="132"/>
                    </a:lnTo>
                    <a:lnTo>
                      <a:pt x="272" y="131"/>
                    </a:lnTo>
                    <a:lnTo>
                      <a:pt x="273" y="132"/>
                    </a:lnTo>
                    <a:lnTo>
                      <a:pt x="275" y="132"/>
                    </a:lnTo>
                    <a:lnTo>
                      <a:pt x="277" y="132"/>
                    </a:lnTo>
                    <a:lnTo>
                      <a:pt x="278" y="132"/>
                    </a:lnTo>
                    <a:lnTo>
                      <a:pt x="280" y="132"/>
                    </a:lnTo>
                    <a:lnTo>
                      <a:pt x="280" y="131"/>
                    </a:lnTo>
                    <a:lnTo>
                      <a:pt x="282" y="131"/>
                    </a:lnTo>
                    <a:lnTo>
                      <a:pt x="284" y="131"/>
                    </a:lnTo>
                    <a:lnTo>
                      <a:pt x="284" y="132"/>
                    </a:lnTo>
                    <a:lnTo>
                      <a:pt x="285" y="132"/>
                    </a:lnTo>
                    <a:lnTo>
                      <a:pt x="285" y="131"/>
                    </a:lnTo>
                    <a:lnTo>
                      <a:pt x="285" y="132"/>
                    </a:lnTo>
                    <a:lnTo>
                      <a:pt x="287" y="132"/>
                    </a:lnTo>
                    <a:lnTo>
                      <a:pt x="287" y="131"/>
                    </a:lnTo>
                    <a:lnTo>
                      <a:pt x="287" y="132"/>
                    </a:lnTo>
                    <a:lnTo>
                      <a:pt x="289" y="132"/>
                    </a:lnTo>
                    <a:lnTo>
                      <a:pt x="289" y="131"/>
                    </a:lnTo>
                    <a:lnTo>
                      <a:pt x="290" y="131"/>
                    </a:lnTo>
                    <a:lnTo>
                      <a:pt x="290" y="132"/>
                    </a:lnTo>
                    <a:lnTo>
                      <a:pt x="290" y="131"/>
                    </a:lnTo>
                    <a:lnTo>
                      <a:pt x="292" y="131"/>
                    </a:lnTo>
                    <a:lnTo>
                      <a:pt x="292" y="132"/>
                    </a:lnTo>
                    <a:lnTo>
                      <a:pt x="294" y="132"/>
                    </a:lnTo>
                    <a:lnTo>
                      <a:pt x="295" y="132"/>
                    </a:lnTo>
                    <a:lnTo>
                      <a:pt x="295" y="134"/>
                    </a:lnTo>
                    <a:lnTo>
                      <a:pt x="295" y="136"/>
                    </a:lnTo>
                    <a:lnTo>
                      <a:pt x="297" y="136"/>
                    </a:lnTo>
                    <a:lnTo>
                      <a:pt x="299" y="136"/>
                    </a:lnTo>
                    <a:lnTo>
                      <a:pt x="299" y="137"/>
                    </a:lnTo>
                    <a:lnTo>
                      <a:pt x="301" y="137"/>
                    </a:lnTo>
                    <a:lnTo>
                      <a:pt x="302" y="137"/>
                    </a:lnTo>
                    <a:lnTo>
                      <a:pt x="302" y="139"/>
                    </a:lnTo>
                    <a:lnTo>
                      <a:pt x="302" y="137"/>
                    </a:lnTo>
                    <a:lnTo>
                      <a:pt x="302" y="139"/>
                    </a:lnTo>
                    <a:lnTo>
                      <a:pt x="304" y="139"/>
                    </a:lnTo>
                    <a:lnTo>
                      <a:pt x="306" y="139"/>
                    </a:lnTo>
                    <a:lnTo>
                      <a:pt x="307" y="141"/>
                    </a:lnTo>
                    <a:lnTo>
                      <a:pt x="309" y="141"/>
                    </a:lnTo>
                    <a:lnTo>
                      <a:pt x="311" y="141"/>
                    </a:lnTo>
                    <a:lnTo>
                      <a:pt x="309" y="143"/>
                    </a:lnTo>
                    <a:lnTo>
                      <a:pt x="311" y="143"/>
                    </a:lnTo>
                    <a:lnTo>
                      <a:pt x="309" y="143"/>
                    </a:lnTo>
                    <a:lnTo>
                      <a:pt x="311" y="143"/>
                    </a:lnTo>
                    <a:lnTo>
                      <a:pt x="309" y="143"/>
                    </a:lnTo>
                    <a:lnTo>
                      <a:pt x="309" y="144"/>
                    </a:lnTo>
                    <a:lnTo>
                      <a:pt x="309" y="143"/>
                    </a:lnTo>
                    <a:lnTo>
                      <a:pt x="311" y="144"/>
                    </a:lnTo>
                    <a:lnTo>
                      <a:pt x="309" y="144"/>
                    </a:lnTo>
                    <a:lnTo>
                      <a:pt x="311" y="144"/>
                    </a:lnTo>
                    <a:lnTo>
                      <a:pt x="311" y="146"/>
                    </a:lnTo>
                    <a:lnTo>
                      <a:pt x="311" y="148"/>
                    </a:lnTo>
                    <a:lnTo>
                      <a:pt x="312" y="148"/>
                    </a:lnTo>
                    <a:lnTo>
                      <a:pt x="312" y="149"/>
                    </a:lnTo>
                    <a:lnTo>
                      <a:pt x="311" y="149"/>
                    </a:lnTo>
                    <a:lnTo>
                      <a:pt x="311" y="151"/>
                    </a:lnTo>
                    <a:lnTo>
                      <a:pt x="309" y="151"/>
                    </a:lnTo>
                    <a:lnTo>
                      <a:pt x="309" y="153"/>
                    </a:lnTo>
                    <a:lnTo>
                      <a:pt x="309" y="154"/>
                    </a:lnTo>
                    <a:lnTo>
                      <a:pt x="309" y="156"/>
                    </a:lnTo>
                    <a:lnTo>
                      <a:pt x="311" y="156"/>
                    </a:lnTo>
                    <a:lnTo>
                      <a:pt x="311" y="158"/>
                    </a:lnTo>
                    <a:lnTo>
                      <a:pt x="311" y="160"/>
                    </a:lnTo>
                    <a:lnTo>
                      <a:pt x="311" y="161"/>
                    </a:lnTo>
                    <a:lnTo>
                      <a:pt x="312" y="161"/>
                    </a:lnTo>
                    <a:lnTo>
                      <a:pt x="312" y="163"/>
                    </a:lnTo>
                    <a:lnTo>
                      <a:pt x="312" y="165"/>
                    </a:lnTo>
                    <a:lnTo>
                      <a:pt x="314" y="165"/>
                    </a:lnTo>
                    <a:lnTo>
                      <a:pt x="314" y="166"/>
                    </a:lnTo>
                    <a:lnTo>
                      <a:pt x="314" y="168"/>
                    </a:lnTo>
                    <a:lnTo>
                      <a:pt x="314" y="170"/>
                    </a:lnTo>
                    <a:lnTo>
                      <a:pt x="316" y="170"/>
                    </a:lnTo>
                    <a:lnTo>
                      <a:pt x="316" y="171"/>
                    </a:lnTo>
                    <a:lnTo>
                      <a:pt x="318" y="173"/>
                    </a:lnTo>
                    <a:lnTo>
                      <a:pt x="318" y="175"/>
                    </a:lnTo>
                    <a:lnTo>
                      <a:pt x="318" y="177"/>
                    </a:lnTo>
                    <a:lnTo>
                      <a:pt x="318" y="180"/>
                    </a:lnTo>
                    <a:lnTo>
                      <a:pt x="318" y="182"/>
                    </a:lnTo>
                    <a:lnTo>
                      <a:pt x="318" y="183"/>
                    </a:lnTo>
                    <a:lnTo>
                      <a:pt x="318" y="187"/>
                    </a:lnTo>
                    <a:lnTo>
                      <a:pt x="316" y="187"/>
                    </a:lnTo>
                    <a:lnTo>
                      <a:pt x="314" y="187"/>
                    </a:lnTo>
                    <a:lnTo>
                      <a:pt x="311" y="187"/>
                    </a:lnTo>
                    <a:lnTo>
                      <a:pt x="309" y="187"/>
                    </a:lnTo>
                    <a:lnTo>
                      <a:pt x="306" y="187"/>
                    </a:lnTo>
                    <a:lnTo>
                      <a:pt x="309" y="190"/>
                    </a:lnTo>
                    <a:lnTo>
                      <a:pt x="314" y="195"/>
                    </a:lnTo>
                    <a:lnTo>
                      <a:pt x="316" y="199"/>
                    </a:lnTo>
                    <a:lnTo>
                      <a:pt x="318" y="200"/>
                    </a:lnTo>
                    <a:lnTo>
                      <a:pt x="318" y="202"/>
                    </a:lnTo>
                    <a:lnTo>
                      <a:pt x="318" y="204"/>
                    </a:lnTo>
                    <a:lnTo>
                      <a:pt x="319" y="221"/>
                    </a:lnTo>
                    <a:lnTo>
                      <a:pt x="319" y="224"/>
                    </a:lnTo>
                    <a:lnTo>
                      <a:pt x="319" y="228"/>
                    </a:lnTo>
                    <a:lnTo>
                      <a:pt x="321" y="228"/>
                    </a:lnTo>
                    <a:lnTo>
                      <a:pt x="323" y="228"/>
                    </a:lnTo>
                    <a:lnTo>
                      <a:pt x="324" y="228"/>
                    </a:lnTo>
                    <a:lnTo>
                      <a:pt x="326" y="228"/>
                    </a:lnTo>
                    <a:lnTo>
                      <a:pt x="329" y="228"/>
                    </a:lnTo>
                    <a:lnTo>
                      <a:pt x="331" y="228"/>
                    </a:lnTo>
                    <a:lnTo>
                      <a:pt x="335" y="228"/>
                    </a:lnTo>
                    <a:lnTo>
                      <a:pt x="341" y="228"/>
                    </a:lnTo>
                    <a:lnTo>
                      <a:pt x="343" y="228"/>
                    </a:lnTo>
                    <a:lnTo>
                      <a:pt x="345" y="228"/>
                    </a:lnTo>
                    <a:lnTo>
                      <a:pt x="348" y="228"/>
                    </a:lnTo>
                    <a:lnTo>
                      <a:pt x="352" y="229"/>
                    </a:lnTo>
                    <a:lnTo>
                      <a:pt x="353" y="229"/>
                    </a:lnTo>
                    <a:lnTo>
                      <a:pt x="355" y="229"/>
                    </a:lnTo>
                    <a:lnTo>
                      <a:pt x="360" y="229"/>
                    </a:lnTo>
                    <a:lnTo>
                      <a:pt x="367" y="229"/>
                    </a:lnTo>
                    <a:lnTo>
                      <a:pt x="369" y="229"/>
                    </a:lnTo>
                    <a:lnTo>
                      <a:pt x="370" y="229"/>
                    </a:lnTo>
                    <a:lnTo>
                      <a:pt x="375" y="229"/>
                    </a:lnTo>
                    <a:lnTo>
                      <a:pt x="379" y="229"/>
                    </a:lnTo>
                    <a:lnTo>
                      <a:pt x="380" y="229"/>
                    </a:lnTo>
                    <a:lnTo>
                      <a:pt x="380" y="228"/>
                    </a:lnTo>
                    <a:lnTo>
                      <a:pt x="382" y="228"/>
                    </a:lnTo>
                    <a:lnTo>
                      <a:pt x="382" y="229"/>
                    </a:lnTo>
                    <a:lnTo>
                      <a:pt x="382" y="231"/>
                    </a:lnTo>
                    <a:lnTo>
                      <a:pt x="382" y="233"/>
                    </a:lnTo>
                    <a:lnTo>
                      <a:pt x="380" y="233"/>
                    </a:lnTo>
                    <a:lnTo>
                      <a:pt x="380" y="234"/>
                    </a:lnTo>
                    <a:lnTo>
                      <a:pt x="382" y="234"/>
                    </a:lnTo>
                    <a:lnTo>
                      <a:pt x="382" y="236"/>
                    </a:lnTo>
                    <a:lnTo>
                      <a:pt x="380" y="238"/>
                    </a:lnTo>
                    <a:lnTo>
                      <a:pt x="379" y="238"/>
                    </a:lnTo>
                    <a:lnTo>
                      <a:pt x="379" y="239"/>
                    </a:lnTo>
                    <a:lnTo>
                      <a:pt x="379" y="241"/>
                    </a:lnTo>
                    <a:lnTo>
                      <a:pt x="377" y="241"/>
                    </a:lnTo>
                    <a:lnTo>
                      <a:pt x="377" y="243"/>
                    </a:lnTo>
                    <a:lnTo>
                      <a:pt x="377" y="245"/>
                    </a:lnTo>
                    <a:lnTo>
                      <a:pt x="377" y="246"/>
                    </a:lnTo>
                    <a:lnTo>
                      <a:pt x="377" y="248"/>
                    </a:lnTo>
                    <a:lnTo>
                      <a:pt x="377" y="250"/>
                    </a:lnTo>
                    <a:lnTo>
                      <a:pt x="377" y="251"/>
                    </a:lnTo>
                    <a:lnTo>
                      <a:pt x="377" y="253"/>
                    </a:lnTo>
                    <a:lnTo>
                      <a:pt x="379" y="253"/>
                    </a:lnTo>
                    <a:lnTo>
                      <a:pt x="379" y="255"/>
                    </a:lnTo>
                    <a:lnTo>
                      <a:pt x="379" y="256"/>
                    </a:lnTo>
                    <a:lnTo>
                      <a:pt x="380" y="256"/>
                    </a:lnTo>
                    <a:lnTo>
                      <a:pt x="380" y="258"/>
                    </a:lnTo>
                    <a:lnTo>
                      <a:pt x="380" y="260"/>
                    </a:lnTo>
                    <a:lnTo>
                      <a:pt x="380" y="262"/>
                    </a:lnTo>
                    <a:lnTo>
                      <a:pt x="382" y="262"/>
                    </a:lnTo>
                    <a:lnTo>
                      <a:pt x="382" y="263"/>
                    </a:lnTo>
                    <a:lnTo>
                      <a:pt x="384" y="263"/>
                    </a:lnTo>
                    <a:lnTo>
                      <a:pt x="384" y="265"/>
                    </a:lnTo>
                    <a:lnTo>
                      <a:pt x="384" y="267"/>
                    </a:lnTo>
                    <a:lnTo>
                      <a:pt x="386" y="267"/>
                    </a:lnTo>
                    <a:lnTo>
                      <a:pt x="387" y="267"/>
                    </a:lnTo>
                    <a:lnTo>
                      <a:pt x="389" y="268"/>
                    </a:lnTo>
                    <a:lnTo>
                      <a:pt x="389" y="270"/>
                    </a:lnTo>
                    <a:lnTo>
                      <a:pt x="391" y="270"/>
                    </a:lnTo>
                    <a:lnTo>
                      <a:pt x="392" y="270"/>
                    </a:lnTo>
                    <a:lnTo>
                      <a:pt x="392" y="272"/>
                    </a:lnTo>
                    <a:lnTo>
                      <a:pt x="394" y="272"/>
                    </a:lnTo>
                    <a:lnTo>
                      <a:pt x="396" y="272"/>
                    </a:lnTo>
                    <a:lnTo>
                      <a:pt x="396" y="270"/>
                    </a:lnTo>
                    <a:lnTo>
                      <a:pt x="397" y="270"/>
                    </a:lnTo>
                    <a:lnTo>
                      <a:pt x="399" y="272"/>
                    </a:lnTo>
                    <a:lnTo>
                      <a:pt x="401" y="273"/>
                    </a:lnTo>
                    <a:lnTo>
                      <a:pt x="403" y="273"/>
                    </a:lnTo>
                    <a:lnTo>
                      <a:pt x="401" y="273"/>
                    </a:lnTo>
                    <a:lnTo>
                      <a:pt x="401" y="275"/>
                    </a:lnTo>
                    <a:lnTo>
                      <a:pt x="401" y="277"/>
                    </a:lnTo>
                    <a:lnTo>
                      <a:pt x="401" y="279"/>
                    </a:lnTo>
                    <a:lnTo>
                      <a:pt x="403" y="279"/>
                    </a:lnTo>
                    <a:lnTo>
                      <a:pt x="403" y="280"/>
                    </a:lnTo>
                    <a:lnTo>
                      <a:pt x="404" y="282"/>
                    </a:lnTo>
                    <a:lnTo>
                      <a:pt x="404" y="284"/>
                    </a:lnTo>
                    <a:lnTo>
                      <a:pt x="403" y="284"/>
                    </a:lnTo>
                    <a:lnTo>
                      <a:pt x="406" y="289"/>
                    </a:lnTo>
                    <a:lnTo>
                      <a:pt x="406" y="290"/>
                    </a:lnTo>
                    <a:lnTo>
                      <a:pt x="408" y="292"/>
                    </a:lnTo>
                    <a:lnTo>
                      <a:pt x="408" y="294"/>
                    </a:lnTo>
                    <a:lnTo>
                      <a:pt x="409" y="296"/>
                    </a:lnTo>
                    <a:lnTo>
                      <a:pt x="411" y="296"/>
                    </a:lnTo>
                    <a:lnTo>
                      <a:pt x="411" y="297"/>
                    </a:lnTo>
                    <a:lnTo>
                      <a:pt x="409" y="297"/>
                    </a:lnTo>
                    <a:lnTo>
                      <a:pt x="408" y="297"/>
                    </a:lnTo>
                    <a:lnTo>
                      <a:pt x="408" y="299"/>
                    </a:lnTo>
                    <a:lnTo>
                      <a:pt x="408" y="301"/>
                    </a:lnTo>
                    <a:lnTo>
                      <a:pt x="406" y="308"/>
                    </a:lnTo>
                    <a:lnTo>
                      <a:pt x="404" y="309"/>
                    </a:lnTo>
                    <a:lnTo>
                      <a:pt x="404" y="313"/>
                    </a:lnTo>
                    <a:lnTo>
                      <a:pt x="403" y="314"/>
                    </a:lnTo>
                    <a:lnTo>
                      <a:pt x="403" y="316"/>
                    </a:lnTo>
                    <a:lnTo>
                      <a:pt x="403" y="318"/>
                    </a:lnTo>
                    <a:lnTo>
                      <a:pt x="401" y="319"/>
                    </a:lnTo>
                    <a:lnTo>
                      <a:pt x="401" y="321"/>
                    </a:lnTo>
                    <a:lnTo>
                      <a:pt x="403" y="321"/>
                    </a:lnTo>
                    <a:lnTo>
                      <a:pt x="403" y="323"/>
                    </a:lnTo>
                    <a:lnTo>
                      <a:pt x="403" y="325"/>
                    </a:lnTo>
                    <a:lnTo>
                      <a:pt x="404" y="325"/>
                    </a:lnTo>
                    <a:lnTo>
                      <a:pt x="403" y="325"/>
                    </a:lnTo>
                    <a:lnTo>
                      <a:pt x="403" y="326"/>
                    </a:lnTo>
                    <a:lnTo>
                      <a:pt x="401" y="326"/>
                    </a:lnTo>
                    <a:lnTo>
                      <a:pt x="399" y="330"/>
                    </a:lnTo>
                    <a:lnTo>
                      <a:pt x="397" y="331"/>
                    </a:lnTo>
                    <a:lnTo>
                      <a:pt x="397" y="333"/>
                    </a:lnTo>
                    <a:lnTo>
                      <a:pt x="397" y="335"/>
                    </a:lnTo>
                    <a:lnTo>
                      <a:pt x="394" y="342"/>
                    </a:lnTo>
                    <a:lnTo>
                      <a:pt x="391" y="348"/>
                    </a:lnTo>
                    <a:lnTo>
                      <a:pt x="389" y="352"/>
                    </a:lnTo>
                    <a:lnTo>
                      <a:pt x="394" y="355"/>
                    </a:lnTo>
                    <a:lnTo>
                      <a:pt x="397" y="359"/>
                    </a:lnTo>
                    <a:lnTo>
                      <a:pt x="397" y="360"/>
                    </a:lnTo>
                    <a:lnTo>
                      <a:pt x="397" y="362"/>
                    </a:lnTo>
                    <a:lnTo>
                      <a:pt x="396" y="362"/>
                    </a:lnTo>
                    <a:lnTo>
                      <a:pt x="394" y="362"/>
                    </a:lnTo>
                    <a:lnTo>
                      <a:pt x="392" y="362"/>
                    </a:lnTo>
                    <a:lnTo>
                      <a:pt x="392" y="364"/>
                    </a:lnTo>
                    <a:lnTo>
                      <a:pt x="391" y="364"/>
                    </a:lnTo>
                    <a:lnTo>
                      <a:pt x="391" y="365"/>
                    </a:lnTo>
                    <a:lnTo>
                      <a:pt x="389" y="365"/>
                    </a:lnTo>
                    <a:lnTo>
                      <a:pt x="387" y="36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8" name="Freeform 17">
                <a:extLst>
                  <a:ext uri="{FF2B5EF4-FFF2-40B4-BE49-F238E27FC236}">
                    <a16:creationId xmlns:a16="http://schemas.microsoft.com/office/drawing/2014/main" id="{EEC8161C-312F-1AF0-9A9B-96D4B19B29E8}"/>
                  </a:ext>
                </a:extLst>
              </p:cNvPr>
              <p:cNvSpPr>
                <a:spLocks noEditPoints="1"/>
              </p:cNvSpPr>
              <p:nvPr/>
            </p:nvSpPr>
            <p:spPr bwMode="auto">
              <a:xfrm>
                <a:off x="5986463" y="1493838"/>
                <a:ext cx="292100" cy="309563"/>
              </a:xfrm>
              <a:custGeom>
                <a:avLst/>
                <a:gdLst>
                  <a:gd name="T0" fmla="*/ 2 w 184"/>
                  <a:gd name="T1" fmla="*/ 187 h 195"/>
                  <a:gd name="T2" fmla="*/ 4 w 184"/>
                  <a:gd name="T3" fmla="*/ 187 h 195"/>
                  <a:gd name="T4" fmla="*/ 4 w 184"/>
                  <a:gd name="T5" fmla="*/ 189 h 195"/>
                  <a:gd name="T6" fmla="*/ 5 w 184"/>
                  <a:gd name="T7" fmla="*/ 189 h 195"/>
                  <a:gd name="T8" fmla="*/ 7 w 184"/>
                  <a:gd name="T9" fmla="*/ 189 h 195"/>
                  <a:gd name="T10" fmla="*/ 7 w 184"/>
                  <a:gd name="T11" fmla="*/ 190 h 195"/>
                  <a:gd name="T12" fmla="*/ 7 w 184"/>
                  <a:gd name="T13" fmla="*/ 192 h 195"/>
                  <a:gd name="T14" fmla="*/ 7 w 184"/>
                  <a:gd name="T15" fmla="*/ 194 h 195"/>
                  <a:gd name="T16" fmla="*/ 5 w 184"/>
                  <a:gd name="T17" fmla="*/ 192 h 195"/>
                  <a:gd name="T18" fmla="*/ 5 w 184"/>
                  <a:gd name="T19" fmla="*/ 194 h 195"/>
                  <a:gd name="T20" fmla="*/ 7 w 184"/>
                  <a:gd name="T21" fmla="*/ 195 h 195"/>
                  <a:gd name="T22" fmla="*/ 5 w 184"/>
                  <a:gd name="T23" fmla="*/ 195 h 195"/>
                  <a:gd name="T24" fmla="*/ 4 w 184"/>
                  <a:gd name="T25" fmla="*/ 195 h 195"/>
                  <a:gd name="T26" fmla="*/ 4 w 184"/>
                  <a:gd name="T27" fmla="*/ 194 h 195"/>
                  <a:gd name="T28" fmla="*/ 4 w 184"/>
                  <a:gd name="T29" fmla="*/ 192 h 195"/>
                  <a:gd name="T30" fmla="*/ 5 w 184"/>
                  <a:gd name="T31" fmla="*/ 192 h 195"/>
                  <a:gd name="T32" fmla="*/ 4 w 184"/>
                  <a:gd name="T33" fmla="*/ 192 h 195"/>
                  <a:gd name="T34" fmla="*/ 4 w 184"/>
                  <a:gd name="T35" fmla="*/ 190 h 195"/>
                  <a:gd name="T36" fmla="*/ 4 w 184"/>
                  <a:gd name="T37" fmla="*/ 189 h 195"/>
                  <a:gd name="T38" fmla="*/ 2 w 184"/>
                  <a:gd name="T39" fmla="*/ 189 h 195"/>
                  <a:gd name="T40" fmla="*/ 0 w 184"/>
                  <a:gd name="T41" fmla="*/ 189 h 195"/>
                  <a:gd name="T42" fmla="*/ 0 w 184"/>
                  <a:gd name="T43" fmla="*/ 187 h 195"/>
                  <a:gd name="T44" fmla="*/ 0 w 184"/>
                  <a:gd name="T45" fmla="*/ 185 h 195"/>
                  <a:gd name="T46" fmla="*/ 2 w 184"/>
                  <a:gd name="T47" fmla="*/ 187 h 195"/>
                  <a:gd name="T48" fmla="*/ 182 w 184"/>
                  <a:gd name="T49" fmla="*/ 3 h 195"/>
                  <a:gd name="T50" fmla="*/ 184 w 184"/>
                  <a:gd name="T51" fmla="*/ 3 h 195"/>
                  <a:gd name="T52" fmla="*/ 184 w 184"/>
                  <a:gd name="T53" fmla="*/ 5 h 195"/>
                  <a:gd name="T54" fmla="*/ 182 w 184"/>
                  <a:gd name="T55" fmla="*/ 5 h 195"/>
                  <a:gd name="T56" fmla="*/ 182 w 184"/>
                  <a:gd name="T57" fmla="*/ 3 h 195"/>
                  <a:gd name="T58" fmla="*/ 174 w 184"/>
                  <a:gd name="T59" fmla="*/ 0 h 195"/>
                  <a:gd name="T60" fmla="*/ 175 w 184"/>
                  <a:gd name="T61" fmla="*/ 0 h 195"/>
                  <a:gd name="T62" fmla="*/ 174 w 184"/>
                  <a:gd name="T63" fmla="*/ 0 h 195"/>
                  <a:gd name="T64" fmla="*/ 2 w 184"/>
                  <a:gd name="T65" fmla="*/ 190 h 195"/>
                  <a:gd name="T66" fmla="*/ 4 w 184"/>
                  <a:gd name="T67" fmla="*/ 190 h 195"/>
                  <a:gd name="T68" fmla="*/ 4 w 184"/>
                  <a:gd name="T69" fmla="*/ 192 h 195"/>
                  <a:gd name="T70" fmla="*/ 2 w 184"/>
                  <a:gd name="T71" fmla="*/ 192 h 195"/>
                  <a:gd name="T72" fmla="*/ 2 w 184"/>
                  <a:gd name="T73" fmla="*/ 19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4" h="195">
                    <a:moveTo>
                      <a:pt x="2" y="187"/>
                    </a:moveTo>
                    <a:lnTo>
                      <a:pt x="4" y="187"/>
                    </a:lnTo>
                    <a:lnTo>
                      <a:pt x="4" y="189"/>
                    </a:lnTo>
                    <a:lnTo>
                      <a:pt x="5" y="189"/>
                    </a:lnTo>
                    <a:lnTo>
                      <a:pt x="7" y="189"/>
                    </a:lnTo>
                    <a:lnTo>
                      <a:pt x="7" y="190"/>
                    </a:lnTo>
                    <a:lnTo>
                      <a:pt x="7" y="192"/>
                    </a:lnTo>
                    <a:lnTo>
                      <a:pt x="7" y="194"/>
                    </a:lnTo>
                    <a:lnTo>
                      <a:pt x="5" y="192"/>
                    </a:lnTo>
                    <a:lnTo>
                      <a:pt x="5" y="194"/>
                    </a:lnTo>
                    <a:lnTo>
                      <a:pt x="7" y="195"/>
                    </a:lnTo>
                    <a:lnTo>
                      <a:pt x="5" y="195"/>
                    </a:lnTo>
                    <a:lnTo>
                      <a:pt x="4" y="195"/>
                    </a:lnTo>
                    <a:lnTo>
                      <a:pt x="4" y="194"/>
                    </a:lnTo>
                    <a:lnTo>
                      <a:pt x="4" y="192"/>
                    </a:lnTo>
                    <a:lnTo>
                      <a:pt x="5" y="192"/>
                    </a:lnTo>
                    <a:lnTo>
                      <a:pt x="4" y="192"/>
                    </a:lnTo>
                    <a:lnTo>
                      <a:pt x="4" y="190"/>
                    </a:lnTo>
                    <a:lnTo>
                      <a:pt x="4" y="189"/>
                    </a:lnTo>
                    <a:lnTo>
                      <a:pt x="2" y="189"/>
                    </a:lnTo>
                    <a:lnTo>
                      <a:pt x="0" y="189"/>
                    </a:lnTo>
                    <a:lnTo>
                      <a:pt x="0" y="187"/>
                    </a:lnTo>
                    <a:lnTo>
                      <a:pt x="0" y="185"/>
                    </a:lnTo>
                    <a:lnTo>
                      <a:pt x="2" y="187"/>
                    </a:lnTo>
                    <a:close/>
                    <a:moveTo>
                      <a:pt x="182" y="3"/>
                    </a:moveTo>
                    <a:lnTo>
                      <a:pt x="184" y="3"/>
                    </a:lnTo>
                    <a:lnTo>
                      <a:pt x="184" y="5"/>
                    </a:lnTo>
                    <a:lnTo>
                      <a:pt x="182" y="5"/>
                    </a:lnTo>
                    <a:lnTo>
                      <a:pt x="182" y="3"/>
                    </a:lnTo>
                    <a:close/>
                    <a:moveTo>
                      <a:pt x="174" y="0"/>
                    </a:moveTo>
                    <a:lnTo>
                      <a:pt x="175" y="0"/>
                    </a:lnTo>
                    <a:lnTo>
                      <a:pt x="174" y="0"/>
                    </a:lnTo>
                    <a:close/>
                    <a:moveTo>
                      <a:pt x="2" y="190"/>
                    </a:moveTo>
                    <a:lnTo>
                      <a:pt x="4" y="190"/>
                    </a:lnTo>
                    <a:lnTo>
                      <a:pt x="4" y="192"/>
                    </a:lnTo>
                    <a:lnTo>
                      <a:pt x="2" y="192"/>
                    </a:lnTo>
                    <a:lnTo>
                      <a:pt x="2" y="19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9" name="Freeform 18">
                <a:extLst>
                  <a:ext uri="{FF2B5EF4-FFF2-40B4-BE49-F238E27FC236}">
                    <a16:creationId xmlns:a16="http://schemas.microsoft.com/office/drawing/2014/main" id="{2F0A1AFB-32CB-2285-A2B6-BE55A80AB11A}"/>
                  </a:ext>
                </a:extLst>
              </p:cNvPr>
              <p:cNvSpPr>
                <a:spLocks noEditPoints="1"/>
              </p:cNvSpPr>
              <p:nvPr/>
            </p:nvSpPr>
            <p:spPr bwMode="auto">
              <a:xfrm>
                <a:off x="5686425" y="2171700"/>
                <a:ext cx="2393950" cy="2205038"/>
              </a:xfrm>
              <a:custGeom>
                <a:avLst/>
                <a:gdLst>
                  <a:gd name="T0" fmla="*/ 84 w 1508"/>
                  <a:gd name="T1" fmla="*/ 517 h 1389"/>
                  <a:gd name="T2" fmla="*/ 6 w 1508"/>
                  <a:gd name="T3" fmla="*/ 437 h 1389"/>
                  <a:gd name="T4" fmla="*/ 45 w 1508"/>
                  <a:gd name="T5" fmla="*/ 348 h 1389"/>
                  <a:gd name="T6" fmla="*/ 119 w 1508"/>
                  <a:gd name="T7" fmla="*/ 318 h 1389"/>
                  <a:gd name="T8" fmla="*/ 138 w 1508"/>
                  <a:gd name="T9" fmla="*/ 158 h 1389"/>
                  <a:gd name="T10" fmla="*/ 194 w 1508"/>
                  <a:gd name="T11" fmla="*/ 117 h 1389"/>
                  <a:gd name="T12" fmla="*/ 286 w 1508"/>
                  <a:gd name="T13" fmla="*/ 144 h 1389"/>
                  <a:gd name="T14" fmla="*/ 349 w 1508"/>
                  <a:gd name="T15" fmla="*/ 109 h 1389"/>
                  <a:gd name="T16" fmla="*/ 323 w 1508"/>
                  <a:gd name="T17" fmla="*/ 39 h 1389"/>
                  <a:gd name="T18" fmla="*/ 395 w 1508"/>
                  <a:gd name="T19" fmla="*/ 39 h 1389"/>
                  <a:gd name="T20" fmla="*/ 473 w 1508"/>
                  <a:gd name="T21" fmla="*/ 10 h 1389"/>
                  <a:gd name="T22" fmla="*/ 475 w 1508"/>
                  <a:gd name="T23" fmla="*/ 93 h 1389"/>
                  <a:gd name="T24" fmla="*/ 539 w 1508"/>
                  <a:gd name="T25" fmla="*/ 126 h 1389"/>
                  <a:gd name="T26" fmla="*/ 609 w 1508"/>
                  <a:gd name="T27" fmla="*/ 93 h 1389"/>
                  <a:gd name="T28" fmla="*/ 708 w 1508"/>
                  <a:gd name="T29" fmla="*/ 103 h 1389"/>
                  <a:gd name="T30" fmla="*/ 764 w 1508"/>
                  <a:gd name="T31" fmla="*/ 30 h 1389"/>
                  <a:gd name="T32" fmla="*/ 813 w 1508"/>
                  <a:gd name="T33" fmla="*/ 120 h 1389"/>
                  <a:gd name="T34" fmla="*/ 786 w 1508"/>
                  <a:gd name="T35" fmla="*/ 183 h 1389"/>
                  <a:gd name="T36" fmla="*/ 854 w 1508"/>
                  <a:gd name="T37" fmla="*/ 187 h 1389"/>
                  <a:gd name="T38" fmla="*/ 861 w 1508"/>
                  <a:gd name="T39" fmla="*/ 223 h 1389"/>
                  <a:gd name="T40" fmla="*/ 896 w 1508"/>
                  <a:gd name="T41" fmla="*/ 199 h 1389"/>
                  <a:gd name="T42" fmla="*/ 924 w 1508"/>
                  <a:gd name="T43" fmla="*/ 211 h 1389"/>
                  <a:gd name="T44" fmla="*/ 949 w 1508"/>
                  <a:gd name="T45" fmla="*/ 219 h 1389"/>
                  <a:gd name="T46" fmla="*/ 969 w 1508"/>
                  <a:gd name="T47" fmla="*/ 234 h 1389"/>
                  <a:gd name="T48" fmla="*/ 988 w 1508"/>
                  <a:gd name="T49" fmla="*/ 258 h 1389"/>
                  <a:gd name="T50" fmla="*/ 1012 w 1508"/>
                  <a:gd name="T51" fmla="*/ 263 h 1389"/>
                  <a:gd name="T52" fmla="*/ 1049 w 1508"/>
                  <a:gd name="T53" fmla="*/ 262 h 1389"/>
                  <a:gd name="T54" fmla="*/ 1153 w 1508"/>
                  <a:gd name="T55" fmla="*/ 275 h 1389"/>
                  <a:gd name="T56" fmla="*/ 1264 w 1508"/>
                  <a:gd name="T57" fmla="*/ 350 h 1389"/>
                  <a:gd name="T58" fmla="*/ 1323 w 1508"/>
                  <a:gd name="T59" fmla="*/ 437 h 1389"/>
                  <a:gd name="T60" fmla="*/ 1258 w 1508"/>
                  <a:gd name="T61" fmla="*/ 539 h 1389"/>
                  <a:gd name="T62" fmla="*/ 1192 w 1508"/>
                  <a:gd name="T63" fmla="*/ 607 h 1389"/>
                  <a:gd name="T64" fmla="*/ 1180 w 1508"/>
                  <a:gd name="T65" fmla="*/ 672 h 1389"/>
                  <a:gd name="T66" fmla="*/ 1163 w 1508"/>
                  <a:gd name="T67" fmla="*/ 797 h 1389"/>
                  <a:gd name="T68" fmla="*/ 1117 w 1508"/>
                  <a:gd name="T69" fmla="*/ 908 h 1389"/>
                  <a:gd name="T70" fmla="*/ 1044 w 1508"/>
                  <a:gd name="T71" fmla="*/ 976 h 1389"/>
                  <a:gd name="T72" fmla="*/ 1002 w 1508"/>
                  <a:gd name="T73" fmla="*/ 974 h 1389"/>
                  <a:gd name="T74" fmla="*/ 949 w 1508"/>
                  <a:gd name="T75" fmla="*/ 1005 h 1389"/>
                  <a:gd name="T76" fmla="*/ 859 w 1508"/>
                  <a:gd name="T77" fmla="*/ 1085 h 1389"/>
                  <a:gd name="T78" fmla="*/ 856 w 1508"/>
                  <a:gd name="T79" fmla="*/ 1170 h 1389"/>
                  <a:gd name="T80" fmla="*/ 743 w 1508"/>
                  <a:gd name="T81" fmla="*/ 1320 h 1389"/>
                  <a:gd name="T82" fmla="*/ 687 w 1508"/>
                  <a:gd name="T83" fmla="*/ 1332 h 1389"/>
                  <a:gd name="T84" fmla="*/ 607 w 1508"/>
                  <a:gd name="T85" fmla="*/ 1272 h 1389"/>
                  <a:gd name="T86" fmla="*/ 585 w 1508"/>
                  <a:gd name="T87" fmla="*/ 1213 h 1389"/>
                  <a:gd name="T88" fmla="*/ 653 w 1508"/>
                  <a:gd name="T89" fmla="*/ 1146 h 1389"/>
                  <a:gd name="T90" fmla="*/ 680 w 1508"/>
                  <a:gd name="T91" fmla="*/ 1078 h 1389"/>
                  <a:gd name="T92" fmla="*/ 650 w 1508"/>
                  <a:gd name="T93" fmla="*/ 1008 h 1389"/>
                  <a:gd name="T94" fmla="*/ 594 w 1508"/>
                  <a:gd name="T95" fmla="*/ 944 h 1389"/>
                  <a:gd name="T96" fmla="*/ 546 w 1508"/>
                  <a:gd name="T97" fmla="*/ 905 h 1389"/>
                  <a:gd name="T98" fmla="*/ 543 w 1508"/>
                  <a:gd name="T99" fmla="*/ 779 h 1389"/>
                  <a:gd name="T100" fmla="*/ 456 w 1508"/>
                  <a:gd name="T101" fmla="*/ 663 h 1389"/>
                  <a:gd name="T102" fmla="*/ 391 w 1508"/>
                  <a:gd name="T103" fmla="*/ 624 h 1389"/>
                  <a:gd name="T104" fmla="*/ 312 w 1508"/>
                  <a:gd name="T105" fmla="*/ 588 h 1389"/>
                  <a:gd name="T106" fmla="*/ 281 w 1508"/>
                  <a:gd name="T107" fmla="*/ 510 h 1389"/>
                  <a:gd name="T108" fmla="*/ 203 w 1508"/>
                  <a:gd name="T109" fmla="*/ 539 h 1389"/>
                  <a:gd name="T110" fmla="*/ 930 w 1508"/>
                  <a:gd name="T111" fmla="*/ 209 h 1389"/>
                  <a:gd name="T112" fmla="*/ 781 w 1508"/>
                  <a:gd name="T113" fmla="*/ 177 h 1389"/>
                  <a:gd name="T114" fmla="*/ 818 w 1508"/>
                  <a:gd name="T115" fmla="*/ 173 h 1389"/>
                  <a:gd name="T116" fmla="*/ 793 w 1508"/>
                  <a:gd name="T117" fmla="*/ 168 h 1389"/>
                  <a:gd name="T118" fmla="*/ 990 w 1508"/>
                  <a:gd name="T119" fmla="*/ 285 h 1389"/>
                  <a:gd name="T120" fmla="*/ 986 w 1508"/>
                  <a:gd name="T121" fmla="*/ 228 h 1389"/>
                  <a:gd name="T122" fmla="*/ 1189 w 1508"/>
                  <a:gd name="T123" fmla="*/ 621 h 1389"/>
                  <a:gd name="T124" fmla="*/ 973 w 1508"/>
                  <a:gd name="T125" fmla="*/ 1007 h 1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08" h="1389">
                    <a:moveTo>
                      <a:pt x="150" y="549"/>
                    </a:moveTo>
                    <a:lnTo>
                      <a:pt x="148" y="549"/>
                    </a:lnTo>
                    <a:lnTo>
                      <a:pt x="148" y="551"/>
                    </a:lnTo>
                    <a:lnTo>
                      <a:pt x="148" y="549"/>
                    </a:lnTo>
                    <a:lnTo>
                      <a:pt x="148" y="551"/>
                    </a:lnTo>
                    <a:lnTo>
                      <a:pt x="147" y="551"/>
                    </a:lnTo>
                    <a:lnTo>
                      <a:pt x="145" y="551"/>
                    </a:lnTo>
                    <a:lnTo>
                      <a:pt x="143" y="551"/>
                    </a:lnTo>
                    <a:lnTo>
                      <a:pt x="143" y="549"/>
                    </a:lnTo>
                    <a:lnTo>
                      <a:pt x="142" y="549"/>
                    </a:lnTo>
                    <a:lnTo>
                      <a:pt x="140" y="549"/>
                    </a:lnTo>
                    <a:lnTo>
                      <a:pt x="138" y="549"/>
                    </a:lnTo>
                    <a:lnTo>
                      <a:pt x="136" y="549"/>
                    </a:lnTo>
                    <a:lnTo>
                      <a:pt x="136" y="551"/>
                    </a:lnTo>
                    <a:lnTo>
                      <a:pt x="135" y="549"/>
                    </a:lnTo>
                    <a:lnTo>
                      <a:pt x="135" y="551"/>
                    </a:lnTo>
                    <a:lnTo>
                      <a:pt x="133" y="551"/>
                    </a:lnTo>
                    <a:lnTo>
                      <a:pt x="131" y="551"/>
                    </a:lnTo>
                    <a:lnTo>
                      <a:pt x="131" y="553"/>
                    </a:lnTo>
                    <a:lnTo>
                      <a:pt x="130" y="553"/>
                    </a:lnTo>
                    <a:lnTo>
                      <a:pt x="128" y="554"/>
                    </a:lnTo>
                    <a:lnTo>
                      <a:pt x="128" y="553"/>
                    </a:lnTo>
                    <a:lnTo>
                      <a:pt x="128" y="554"/>
                    </a:lnTo>
                    <a:lnTo>
                      <a:pt x="126" y="553"/>
                    </a:lnTo>
                    <a:lnTo>
                      <a:pt x="126" y="554"/>
                    </a:lnTo>
                    <a:lnTo>
                      <a:pt x="125" y="554"/>
                    </a:lnTo>
                    <a:lnTo>
                      <a:pt x="123" y="554"/>
                    </a:lnTo>
                    <a:lnTo>
                      <a:pt x="123" y="553"/>
                    </a:lnTo>
                    <a:lnTo>
                      <a:pt x="121" y="553"/>
                    </a:lnTo>
                    <a:lnTo>
                      <a:pt x="119" y="551"/>
                    </a:lnTo>
                    <a:lnTo>
                      <a:pt x="118" y="549"/>
                    </a:lnTo>
                    <a:lnTo>
                      <a:pt x="114" y="551"/>
                    </a:lnTo>
                    <a:lnTo>
                      <a:pt x="114" y="542"/>
                    </a:lnTo>
                    <a:lnTo>
                      <a:pt x="114" y="539"/>
                    </a:lnTo>
                    <a:lnTo>
                      <a:pt x="114" y="537"/>
                    </a:lnTo>
                    <a:lnTo>
                      <a:pt x="114" y="534"/>
                    </a:lnTo>
                    <a:lnTo>
                      <a:pt x="114" y="532"/>
                    </a:lnTo>
                    <a:lnTo>
                      <a:pt x="114" y="530"/>
                    </a:lnTo>
                    <a:lnTo>
                      <a:pt x="114" y="529"/>
                    </a:lnTo>
                    <a:lnTo>
                      <a:pt x="114" y="525"/>
                    </a:lnTo>
                    <a:lnTo>
                      <a:pt x="114" y="524"/>
                    </a:lnTo>
                    <a:lnTo>
                      <a:pt x="114" y="522"/>
                    </a:lnTo>
                    <a:lnTo>
                      <a:pt x="114" y="520"/>
                    </a:lnTo>
                    <a:lnTo>
                      <a:pt x="114" y="519"/>
                    </a:lnTo>
                    <a:lnTo>
                      <a:pt x="114" y="517"/>
                    </a:lnTo>
                    <a:lnTo>
                      <a:pt x="114" y="513"/>
                    </a:lnTo>
                    <a:lnTo>
                      <a:pt x="114" y="512"/>
                    </a:lnTo>
                    <a:lnTo>
                      <a:pt x="114" y="510"/>
                    </a:lnTo>
                    <a:lnTo>
                      <a:pt x="116" y="510"/>
                    </a:lnTo>
                    <a:lnTo>
                      <a:pt x="118" y="510"/>
                    </a:lnTo>
                    <a:lnTo>
                      <a:pt x="118" y="508"/>
                    </a:lnTo>
                    <a:lnTo>
                      <a:pt x="118" y="507"/>
                    </a:lnTo>
                    <a:lnTo>
                      <a:pt x="116" y="507"/>
                    </a:lnTo>
                    <a:lnTo>
                      <a:pt x="116" y="505"/>
                    </a:lnTo>
                    <a:lnTo>
                      <a:pt x="114" y="503"/>
                    </a:lnTo>
                    <a:lnTo>
                      <a:pt x="116" y="503"/>
                    </a:lnTo>
                    <a:lnTo>
                      <a:pt x="114" y="502"/>
                    </a:lnTo>
                    <a:lnTo>
                      <a:pt x="116" y="502"/>
                    </a:lnTo>
                    <a:lnTo>
                      <a:pt x="116" y="503"/>
                    </a:lnTo>
                    <a:lnTo>
                      <a:pt x="116" y="502"/>
                    </a:lnTo>
                    <a:lnTo>
                      <a:pt x="116" y="503"/>
                    </a:lnTo>
                    <a:lnTo>
                      <a:pt x="116" y="502"/>
                    </a:lnTo>
                    <a:lnTo>
                      <a:pt x="118" y="502"/>
                    </a:lnTo>
                    <a:lnTo>
                      <a:pt x="116" y="502"/>
                    </a:lnTo>
                    <a:lnTo>
                      <a:pt x="118" y="502"/>
                    </a:lnTo>
                    <a:lnTo>
                      <a:pt x="118" y="500"/>
                    </a:lnTo>
                    <a:lnTo>
                      <a:pt x="118" y="498"/>
                    </a:lnTo>
                    <a:lnTo>
                      <a:pt x="116" y="498"/>
                    </a:lnTo>
                    <a:lnTo>
                      <a:pt x="114" y="498"/>
                    </a:lnTo>
                    <a:lnTo>
                      <a:pt x="114" y="500"/>
                    </a:lnTo>
                    <a:lnTo>
                      <a:pt x="113" y="500"/>
                    </a:lnTo>
                    <a:lnTo>
                      <a:pt x="113" y="502"/>
                    </a:lnTo>
                    <a:lnTo>
                      <a:pt x="111" y="502"/>
                    </a:lnTo>
                    <a:lnTo>
                      <a:pt x="111" y="503"/>
                    </a:lnTo>
                    <a:lnTo>
                      <a:pt x="109" y="502"/>
                    </a:lnTo>
                    <a:lnTo>
                      <a:pt x="109" y="503"/>
                    </a:lnTo>
                    <a:lnTo>
                      <a:pt x="109" y="505"/>
                    </a:lnTo>
                    <a:lnTo>
                      <a:pt x="108" y="505"/>
                    </a:lnTo>
                    <a:lnTo>
                      <a:pt x="106" y="505"/>
                    </a:lnTo>
                    <a:lnTo>
                      <a:pt x="106" y="507"/>
                    </a:lnTo>
                    <a:lnTo>
                      <a:pt x="104" y="508"/>
                    </a:lnTo>
                    <a:lnTo>
                      <a:pt x="102" y="508"/>
                    </a:lnTo>
                    <a:lnTo>
                      <a:pt x="102" y="510"/>
                    </a:lnTo>
                    <a:lnTo>
                      <a:pt x="102" y="512"/>
                    </a:lnTo>
                    <a:lnTo>
                      <a:pt x="101" y="512"/>
                    </a:lnTo>
                    <a:lnTo>
                      <a:pt x="99" y="512"/>
                    </a:lnTo>
                    <a:lnTo>
                      <a:pt x="97" y="512"/>
                    </a:lnTo>
                    <a:lnTo>
                      <a:pt x="97" y="513"/>
                    </a:lnTo>
                    <a:lnTo>
                      <a:pt x="96" y="513"/>
                    </a:lnTo>
                    <a:lnTo>
                      <a:pt x="96" y="515"/>
                    </a:lnTo>
                    <a:lnTo>
                      <a:pt x="94" y="515"/>
                    </a:lnTo>
                    <a:lnTo>
                      <a:pt x="94" y="517"/>
                    </a:lnTo>
                    <a:lnTo>
                      <a:pt x="92" y="517"/>
                    </a:lnTo>
                    <a:lnTo>
                      <a:pt x="91" y="517"/>
                    </a:lnTo>
                    <a:lnTo>
                      <a:pt x="89" y="517"/>
                    </a:lnTo>
                    <a:lnTo>
                      <a:pt x="85" y="517"/>
                    </a:lnTo>
                    <a:lnTo>
                      <a:pt x="84" y="517"/>
                    </a:lnTo>
                    <a:lnTo>
                      <a:pt x="80" y="517"/>
                    </a:lnTo>
                    <a:lnTo>
                      <a:pt x="77" y="517"/>
                    </a:lnTo>
                    <a:lnTo>
                      <a:pt x="74" y="517"/>
                    </a:lnTo>
                    <a:lnTo>
                      <a:pt x="70" y="517"/>
                    </a:lnTo>
                    <a:lnTo>
                      <a:pt x="67" y="517"/>
                    </a:lnTo>
                    <a:lnTo>
                      <a:pt x="62" y="517"/>
                    </a:lnTo>
                    <a:lnTo>
                      <a:pt x="63" y="517"/>
                    </a:lnTo>
                    <a:lnTo>
                      <a:pt x="62" y="515"/>
                    </a:lnTo>
                    <a:lnTo>
                      <a:pt x="62" y="513"/>
                    </a:lnTo>
                    <a:lnTo>
                      <a:pt x="63" y="513"/>
                    </a:lnTo>
                    <a:lnTo>
                      <a:pt x="62" y="512"/>
                    </a:lnTo>
                    <a:lnTo>
                      <a:pt x="63" y="512"/>
                    </a:lnTo>
                    <a:lnTo>
                      <a:pt x="62" y="512"/>
                    </a:lnTo>
                    <a:lnTo>
                      <a:pt x="63" y="510"/>
                    </a:lnTo>
                    <a:lnTo>
                      <a:pt x="62" y="510"/>
                    </a:lnTo>
                    <a:lnTo>
                      <a:pt x="60" y="510"/>
                    </a:lnTo>
                    <a:lnTo>
                      <a:pt x="60" y="508"/>
                    </a:lnTo>
                    <a:lnTo>
                      <a:pt x="58" y="508"/>
                    </a:lnTo>
                    <a:lnTo>
                      <a:pt x="60" y="508"/>
                    </a:lnTo>
                    <a:lnTo>
                      <a:pt x="58" y="507"/>
                    </a:lnTo>
                    <a:lnTo>
                      <a:pt x="60" y="507"/>
                    </a:lnTo>
                    <a:lnTo>
                      <a:pt x="60" y="505"/>
                    </a:lnTo>
                    <a:lnTo>
                      <a:pt x="58" y="505"/>
                    </a:lnTo>
                    <a:lnTo>
                      <a:pt x="60" y="505"/>
                    </a:lnTo>
                    <a:lnTo>
                      <a:pt x="58" y="505"/>
                    </a:lnTo>
                    <a:lnTo>
                      <a:pt x="58" y="503"/>
                    </a:lnTo>
                    <a:lnTo>
                      <a:pt x="58" y="502"/>
                    </a:lnTo>
                    <a:lnTo>
                      <a:pt x="57" y="502"/>
                    </a:lnTo>
                    <a:lnTo>
                      <a:pt x="57" y="500"/>
                    </a:lnTo>
                    <a:lnTo>
                      <a:pt x="55" y="500"/>
                    </a:lnTo>
                    <a:lnTo>
                      <a:pt x="53" y="500"/>
                    </a:lnTo>
                    <a:lnTo>
                      <a:pt x="51" y="500"/>
                    </a:lnTo>
                    <a:lnTo>
                      <a:pt x="50" y="500"/>
                    </a:lnTo>
                    <a:lnTo>
                      <a:pt x="48" y="500"/>
                    </a:lnTo>
                    <a:lnTo>
                      <a:pt x="48" y="498"/>
                    </a:lnTo>
                    <a:lnTo>
                      <a:pt x="46" y="498"/>
                    </a:lnTo>
                    <a:lnTo>
                      <a:pt x="45" y="498"/>
                    </a:lnTo>
                    <a:lnTo>
                      <a:pt x="43" y="498"/>
                    </a:lnTo>
                    <a:lnTo>
                      <a:pt x="43" y="496"/>
                    </a:lnTo>
                    <a:lnTo>
                      <a:pt x="36" y="496"/>
                    </a:lnTo>
                    <a:lnTo>
                      <a:pt x="28" y="496"/>
                    </a:lnTo>
                    <a:lnTo>
                      <a:pt x="28" y="495"/>
                    </a:lnTo>
                    <a:lnTo>
                      <a:pt x="29" y="495"/>
                    </a:lnTo>
                    <a:lnTo>
                      <a:pt x="31" y="493"/>
                    </a:lnTo>
                    <a:lnTo>
                      <a:pt x="31" y="491"/>
                    </a:lnTo>
                    <a:lnTo>
                      <a:pt x="33" y="491"/>
                    </a:lnTo>
                    <a:lnTo>
                      <a:pt x="34" y="490"/>
                    </a:lnTo>
                    <a:lnTo>
                      <a:pt x="33" y="490"/>
                    </a:lnTo>
                    <a:lnTo>
                      <a:pt x="34" y="488"/>
                    </a:lnTo>
                    <a:lnTo>
                      <a:pt x="36" y="488"/>
                    </a:lnTo>
                    <a:lnTo>
                      <a:pt x="36" y="486"/>
                    </a:lnTo>
                    <a:lnTo>
                      <a:pt x="36" y="485"/>
                    </a:lnTo>
                    <a:lnTo>
                      <a:pt x="36" y="483"/>
                    </a:lnTo>
                    <a:lnTo>
                      <a:pt x="34" y="483"/>
                    </a:lnTo>
                    <a:lnTo>
                      <a:pt x="34" y="481"/>
                    </a:lnTo>
                    <a:lnTo>
                      <a:pt x="33" y="479"/>
                    </a:lnTo>
                    <a:lnTo>
                      <a:pt x="31" y="478"/>
                    </a:lnTo>
                    <a:lnTo>
                      <a:pt x="29" y="476"/>
                    </a:lnTo>
                    <a:lnTo>
                      <a:pt x="29" y="474"/>
                    </a:lnTo>
                    <a:lnTo>
                      <a:pt x="29" y="473"/>
                    </a:lnTo>
                    <a:lnTo>
                      <a:pt x="28" y="473"/>
                    </a:lnTo>
                    <a:lnTo>
                      <a:pt x="26" y="473"/>
                    </a:lnTo>
                    <a:lnTo>
                      <a:pt x="24" y="473"/>
                    </a:lnTo>
                    <a:lnTo>
                      <a:pt x="24" y="471"/>
                    </a:lnTo>
                    <a:lnTo>
                      <a:pt x="23" y="471"/>
                    </a:lnTo>
                    <a:lnTo>
                      <a:pt x="23" y="469"/>
                    </a:lnTo>
                    <a:lnTo>
                      <a:pt x="23" y="467"/>
                    </a:lnTo>
                    <a:lnTo>
                      <a:pt x="23" y="466"/>
                    </a:lnTo>
                    <a:lnTo>
                      <a:pt x="21" y="466"/>
                    </a:lnTo>
                    <a:lnTo>
                      <a:pt x="21" y="464"/>
                    </a:lnTo>
                    <a:lnTo>
                      <a:pt x="21" y="462"/>
                    </a:lnTo>
                    <a:lnTo>
                      <a:pt x="19" y="462"/>
                    </a:lnTo>
                    <a:lnTo>
                      <a:pt x="17" y="462"/>
                    </a:lnTo>
                    <a:lnTo>
                      <a:pt x="16" y="461"/>
                    </a:lnTo>
                    <a:lnTo>
                      <a:pt x="16" y="459"/>
                    </a:lnTo>
                    <a:lnTo>
                      <a:pt x="16" y="457"/>
                    </a:lnTo>
                    <a:lnTo>
                      <a:pt x="14" y="456"/>
                    </a:lnTo>
                    <a:lnTo>
                      <a:pt x="14" y="454"/>
                    </a:lnTo>
                    <a:lnTo>
                      <a:pt x="14" y="452"/>
                    </a:lnTo>
                    <a:lnTo>
                      <a:pt x="12" y="450"/>
                    </a:lnTo>
                    <a:lnTo>
                      <a:pt x="12" y="449"/>
                    </a:lnTo>
                    <a:lnTo>
                      <a:pt x="11" y="449"/>
                    </a:lnTo>
                    <a:lnTo>
                      <a:pt x="11" y="447"/>
                    </a:lnTo>
                    <a:lnTo>
                      <a:pt x="9" y="447"/>
                    </a:lnTo>
                    <a:lnTo>
                      <a:pt x="9" y="445"/>
                    </a:lnTo>
                    <a:lnTo>
                      <a:pt x="7" y="445"/>
                    </a:lnTo>
                    <a:lnTo>
                      <a:pt x="9" y="445"/>
                    </a:lnTo>
                    <a:lnTo>
                      <a:pt x="9" y="444"/>
                    </a:lnTo>
                    <a:lnTo>
                      <a:pt x="9" y="445"/>
                    </a:lnTo>
                    <a:lnTo>
                      <a:pt x="11" y="444"/>
                    </a:lnTo>
                    <a:lnTo>
                      <a:pt x="11" y="442"/>
                    </a:lnTo>
                    <a:lnTo>
                      <a:pt x="11" y="440"/>
                    </a:lnTo>
                    <a:lnTo>
                      <a:pt x="9" y="440"/>
                    </a:lnTo>
                    <a:lnTo>
                      <a:pt x="7" y="440"/>
                    </a:lnTo>
                    <a:lnTo>
                      <a:pt x="7" y="439"/>
                    </a:lnTo>
                    <a:lnTo>
                      <a:pt x="6" y="439"/>
                    </a:lnTo>
                    <a:lnTo>
                      <a:pt x="6" y="437"/>
                    </a:lnTo>
                    <a:lnTo>
                      <a:pt x="4" y="437"/>
                    </a:lnTo>
                    <a:lnTo>
                      <a:pt x="2" y="435"/>
                    </a:lnTo>
                    <a:lnTo>
                      <a:pt x="0" y="433"/>
                    </a:lnTo>
                    <a:lnTo>
                      <a:pt x="2" y="433"/>
                    </a:lnTo>
                    <a:lnTo>
                      <a:pt x="2" y="432"/>
                    </a:lnTo>
                    <a:lnTo>
                      <a:pt x="2" y="430"/>
                    </a:lnTo>
                    <a:lnTo>
                      <a:pt x="2" y="427"/>
                    </a:lnTo>
                    <a:lnTo>
                      <a:pt x="4" y="428"/>
                    </a:lnTo>
                    <a:lnTo>
                      <a:pt x="6" y="427"/>
                    </a:lnTo>
                    <a:lnTo>
                      <a:pt x="7" y="427"/>
                    </a:lnTo>
                    <a:lnTo>
                      <a:pt x="9" y="427"/>
                    </a:lnTo>
                    <a:lnTo>
                      <a:pt x="9" y="425"/>
                    </a:lnTo>
                    <a:lnTo>
                      <a:pt x="11" y="425"/>
                    </a:lnTo>
                    <a:lnTo>
                      <a:pt x="11" y="423"/>
                    </a:lnTo>
                    <a:lnTo>
                      <a:pt x="9" y="422"/>
                    </a:lnTo>
                    <a:lnTo>
                      <a:pt x="7" y="418"/>
                    </a:lnTo>
                    <a:lnTo>
                      <a:pt x="9" y="416"/>
                    </a:lnTo>
                    <a:lnTo>
                      <a:pt x="9" y="415"/>
                    </a:lnTo>
                    <a:lnTo>
                      <a:pt x="9" y="413"/>
                    </a:lnTo>
                    <a:lnTo>
                      <a:pt x="9" y="411"/>
                    </a:lnTo>
                    <a:lnTo>
                      <a:pt x="9" y="410"/>
                    </a:lnTo>
                    <a:lnTo>
                      <a:pt x="11" y="410"/>
                    </a:lnTo>
                    <a:lnTo>
                      <a:pt x="11" y="408"/>
                    </a:lnTo>
                    <a:lnTo>
                      <a:pt x="12" y="408"/>
                    </a:lnTo>
                    <a:lnTo>
                      <a:pt x="12" y="406"/>
                    </a:lnTo>
                    <a:lnTo>
                      <a:pt x="14" y="406"/>
                    </a:lnTo>
                    <a:lnTo>
                      <a:pt x="16" y="406"/>
                    </a:lnTo>
                    <a:lnTo>
                      <a:pt x="16" y="405"/>
                    </a:lnTo>
                    <a:lnTo>
                      <a:pt x="17" y="403"/>
                    </a:lnTo>
                    <a:lnTo>
                      <a:pt x="17" y="405"/>
                    </a:lnTo>
                    <a:lnTo>
                      <a:pt x="17" y="403"/>
                    </a:lnTo>
                    <a:lnTo>
                      <a:pt x="19" y="403"/>
                    </a:lnTo>
                    <a:lnTo>
                      <a:pt x="21" y="403"/>
                    </a:lnTo>
                    <a:lnTo>
                      <a:pt x="21" y="401"/>
                    </a:lnTo>
                    <a:lnTo>
                      <a:pt x="23" y="401"/>
                    </a:lnTo>
                    <a:lnTo>
                      <a:pt x="24" y="401"/>
                    </a:lnTo>
                    <a:lnTo>
                      <a:pt x="26" y="401"/>
                    </a:lnTo>
                    <a:lnTo>
                      <a:pt x="26" y="399"/>
                    </a:lnTo>
                    <a:lnTo>
                      <a:pt x="28" y="401"/>
                    </a:lnTo>
                    <a:lnTo>
                      <a:pt x="28" y="399"/>
                    </a:lnTo>
                    <a:lnTo>
                      <a:pt x="28" y="398"/>
                    </a:lnTo>
                    <a:lnTo>
                      <a:pt x="29" y="399"/>
                    </a:lnTo>
                    <a:lnTo>
                      <a:pt x="29" y="398"/>
                    </a:lnTo>
                    <a:lnTo>
                      <a:pt x="29" y="396"/>
                    </a:lnTo>
                    <a:lnTo>
                      <a:pt x="31" y="396"/>
                    </a:lnTo>
                    <a:lnTo>
                      <a:pt x="29" y="396"/>
                    </a:lnTo>
                    <a:lnTo>
                      <a:pt x="31" y="394"/>
                    </a:lnTo>
                    <a:lnTo>
                      <a:pt x="29" y="394"/>
                    </a:lnTo>
                    <a:lnTo>
                      <a:pt x="29" y="393"/>
                    </a:lnTo>
                    <a:lnTo>
                      <a:pt x="29" y="391"/>
                    </a:lnTo>
                    <a:lnTo>
                      <a:pt x="28" y="391"/>
                    </a:lnTo>
                    <a:lnTo>
                      <a:pt x="29" y="391"/>
                    </a:lnTo>
                    <a:lnTo>
                      <a:pt x="28" y="389"/>
                    </a:lnTo>
                    <a:lnTo>
                      <a:pt x="28" y="388"/>
                    </a:lnTo>
                    <a:lnTo>
                      <a:pt x="26" y="388"/>
                    </a:lnTo>
                    <a:lnTo>
                      <a:pt x="28" y="388"/>
                    </a:lnTo>
                    <a:lnTo>
                      <a:pt x="26" y="388"/>
                    </a:lnTo>
                    <a:lnTo>
                      <a:pt x="26" y="386"/>
                    </a:lnTo>
                    <a:lnTo>
                      <a:pt x="26" y="384"/>
                    </a:lnTo>
                    <a:lnTo>
                      <a:pt x="26" y="382"/>
                    </a:lnTo>
                    <a:lnTo>
                      <a:pt x="26" y="381"/>
                    </a:lnTo>
                    <a:lnTo>
                      <a:pt x="28" y="382"/>
                    </a:lnTo>
                    <a:lnTo>
                      <a:pt x="26" y="381"/>
                    </a:lnTo>
                    <a:lnTo>
                      <a:pt x="28" y="381"/>
                    </a:lnTo>
                    <a:lnTo>
                      <a:pt x="28" y="379"/>
                    </a:lnTo>
                    <a:lnTo>
                      <a:pt x="28" y="377"/>
                    </a:lnTo>
                    <a:lnTo>
                      <a:pt x="29" y="377"/>
                    </a:lnTo>
                    <a:lnTo>
                      <a:pt x="29" y="376"/>
                    </a:lnTo>
                    <a:lnTo>
                      <a:pt x="31" y="376"/>
                    </a:lnTo>
                    <a:lnTo>
                      <a:pt x="31" y="374"/>
                    </a:lnTo>
                    <a:lnTo>
                      <a:pt x="33" y="374"/>
                    </a:lnTo>
                    <a:lnTo>
                      <a:pt x="33" y="372"/>
                    </a:lnTo>
                    <a:lnTo>
                      <a:pt x="34" y="372"/>
                    </a:lnTo>
                    <a:lnTo>
                      <a:pt x="34" y="371"/>
                    </a:lnTo>
                    <a:lnTo>
                      <a:pt x="34" y="369"/>
                    </a:lnTo>
                    <a:lnTo>
                      <a:pt x="36" y="369"/>
                    </a:lnTo>
                    <a:lnTo>
                      <a:pt x="34" y="369"/>
                    </a:lnTo>
                    <a:lnTo>
                      <a:pt x="34" y="367"/>
                    </a:lnTo>
                    <a:lnTo>
                      <a:pt x="36" y="367"/>
                    </a:lnTo>
                    <a:lnTo>
                      <a:pt x="36" y="365"/>
                    </a:lnTo>
                    <a:lnTo>
                      <a:pt x="36" y="364"/>
                    </a:lnTo>
                    <a:lnTo>
                      <a:pt x="34" y="364"/>
                    </a:lnTo>
                    <a:lnTo>
                      <a:pt x="36" y="364"/>
                    </a:lnTo>
                    <a:lnTo>
                      <a:pt x="36" y="362"/>
                    </a:lnTo>
                    <a:lnTo>
                      <a:pt x="36" y="360"/>
                    </a:lnTo>
                    <a:lnTo>
                      <a:pt x="38" y="360"/>
                    </a:lnTo>
                    <a:lnTo>
                      <a:pt x="38" y="359"/>
                    </a:lnTo>
                    <a:lnTo>
                      <a:pt x="38" y="357"/>
                    </a:lnTo>
                    <a:lnTo>
                      <a:pt x="38" y="355"/>
                    </a:lnTo>
                    <a:lnTo>
                      <a:pt x="38" y="354"/>
                    </a:lnTo>
                    <a:lnTo>
                      <a:pt x="38" y="352"/>
                    </a:lnTo>
                    <a:lnTo>
                      <a:pt x="40" y="352"/>
                    </a:lnTo>
                    <a:lnTo>
                      <a:pt x="40" y="350"/>
                    </a:lnTo>
                    <a:lnTo>
                      <a:pt x="41" y="350"/>
                    </a:lnTo>
                    <a:lnTo>
                      <a:pt x="43" y="350"/>
                    </a:lnTo>
                    <a:lnTo>
                      <a:pt x="43" y="348"/>
                    </a:lnTo>
                    <a:lnTo>
                      <a:pt x="45" y="348"/>
                    </a:lnTo>
                    <a:lnTo>
                      <a:pt x="46" y="348"/>
                    </a:lnTo>
                    <a:lnTo>
                      <a:pt x="48" y="348"/>
                    </a:lnTo>
                    <a:lnTo>
                      <a:pt x="46" y="347"/>
                    </a:lnTo>
                    <a:lnTo>
                      <a:pt x="48" y="347"/>
                    </a:lnTo>
                    <a:lnTo>
                      <a:pt x="46" y="347"/>
                    </a:lnTo>
                    <a:lnTo>
                      <a:pt x="48" y="347"/>
                    </a:lnTo>
                    <a:lnTo>
                      <a:pt x="50" y="345"/>
                    </a:lnTo>
                    <a:lnTo>
                      <a:pt x="51" y="345"/>
                    </a:lnTo>
                    <a:lnTo>
                      <a:pt x="53" y="343"/>
                    </a:lnTo>
                    <a:lnTo>
                      <a:pt x="51" y="343"/>
                    </a:lnTo>
                    <a:lnTo>
                      <a:pt x="53" y="343"/>
                    </a:lnTo>
                    <a:lnTo>
                      <a:pt x="55" y="343"/>
                    </a:lnTo>
                    <a:lnTo>
                      <a:pt x="55" y="342"/>
                    </a:lnTo>
                    <a:lnTo>
                      <a:pt x="55" y="340"/>
                    </a:lnTo>
                    <a:lnTo>
                      <a:pt x="57" y="340"/>
                    </a:lnTo>
                    <a:lnTo>
                      <a:pt x="58" y="340"/>
                    </a:lnTo>
                    <a:lnTo>
                      <a:pt x="60" y="340"/>
                    </a:lnTo>
                    <a:lnTo>
                      <a:pt x="58" y="338"/>
                    </a:lnTo>
                    <a:lnTo>
                      <a:pt x="60" y="340"/>
                    </a:lnTo>
                    <a:lnTo>
                      <a:pt x="60" y="338"/>
                    </a:lnTo>
                    <a:lnTo>
                      <a:pt x="62" y="338"/>
                    </a:lnTo>
                    <a:lnTo>
                      <a:pt x="63" y="337"/>
                    </a:lnTo>
                    <a:lnTo>
                      <a:pt x="63" y="338"/>
                    </a:lnTo>
                    <a:lnTo>
                      <a:pt x="63" y="337"/>
                    </a:lnTo>
                    <a:lnTo>
                      <a:pt x="65" y="337"/>
                    </a:lnTo>
                    <a:lnTo>
                      <a:pt x="65" y="335"/>
                    </a:lnTo>
                    <a:lnTo>
                      <a:pt x="67" y="335"/>
                    </a:lnTo>
                    <a:lnTo>
                      <a:pt x="68" y="335"/>
                    </a:lnTo>
                    <a:lnTo>
                      <a:pt x="68" y="333"/>
                    </a:lnTo>
                    <a:lnTo>
                      <a:pt x="70" y="333"/>
                    </a:lnTo>
                    <a:lnTo>
                      <a:pt x="70" y="331"/>
                    </a:lnTo>
                    <a:lnTo>
                      <a:pt x="72" y="331"/>
                    </a:lnTo>
                    <a:lnTo>
                      <a:pt x="70" y="330"/>
                    </a:lnTo>
                    <a:lnTo>
                      <a:pt x="72" y="330"/>
                    </a:lnTo>
                    <a:lnTo>
                      <a:pt x="72" y="331"/>
                    </a:lnTo>
                    <a:lnTo>
                      <a:pt x="72" y="330"/>
                    </a:lnTo>
                    <a:lnTo>
                      <a:pt x="74" y="330"/>
                    </a:lnTo>
                    <a:lnTo>
                      <a:pt x="75" y="330"/>
                    </a:lnTo>
                    <a:lnTo>
                      <a:pt x="77" y="330"/>
                    </a:lnTo>
                    <a:lnTo>
                      <a:pt x="75" y="330"/>
                    </a:lnTo>
                    <a:lnTo>
                      <a:pt x="77" y="330"/>
                    </a:lnTo>
                    <a:lnTo>
                      <a:pt x="79" y="330"/>
                    </a:lnTo>
                    <a:lnTo>
                      <a:pt x="80" y="330"/>
                    </a:lnTo>
                    <a:lnTo>
                      <a:pt x="80" y="331"/>
                    </a:lnTo>
                    <a:lnTo>
                      <a:pt x="82" y="331"/>
                    </a:lnTo>
                    <a:lnTo>
                      <a:pt x="82" y="330"/>
                    </a:lnTo>
                    <a:lnTo>
                      <a:pt x="84" y="330"/>
                    </a:lnTo>
                    <a:lnTo>
                      <a:pt x="84" y="328"/>
                    </a:lnTo>
                    <a:lnTo>
                      <a:pt x="84" y="330"/>
                    </a:lnTo>
                    <a:lnTo>
                      <a:pt x="85" y="330"/>
                    </a:lnTo>
                    <a:lnTo>
                      <a:pt x="84" y="328"/>
                    </a:lnTo>
                    <a:lnTo>
                      <a:pt x="85" y="328"/>
                    </a:lnTo>
                    <a:lnTo>
                      <a:pt x="87" y="328"/>
                    </a:lnTo>
                    <a:lnTo>
                      <a:pt x="87" y="330"/>
                    </a:lnTo>
                    <a:lnTo>
                      <a:pt x="87" y="328"/>
                    </a:lnTo>
                    <a:lnTo>
                      <a:pt x="89" y="328"/>
                    </a:lnTo>
                    <a:lnTo>
                      <a:pt x="91" y="328"/>
                    </a:lnTo>
                    <a:lnTo>
                      <a:pt x="91" y="326"/>
                    </a:lnTo>
                    <a:lnTo>
                      <a:pt x="91" y="328"/>
                    </a:lnTo>
                    <a:lnTo>
                      <a:pt x="92" y="328"/>
                    </a:lnTo>
                    <a:lnTo>
                      <a:pt x="92" y="326"/>
                    </a:lnTo>
                    <a:lnTo>
                      <a:pt x="94" y="326"/>
                    </a:lnTo>
                    <a:lnTo>
                      <a:pt x="96" y="328"/>
                    </a:lnTo>
                    <a:lnTo>
                      <a:pt x="96" y="326"/>
                    </a:lnTo>
                    <a:lnTo>
                      <a:pt x="97" y="326"/>
                    </a:lnTo>
                    <a:lnTo>
                      <a:pt x="99" y="326"/>
                    </a:lnTo>
                    <a:lnTo>
                      <a:pt x="101" y="326"/>
                    </a:lnTo>
                    <a:lnTo>
                      <a:pt x="102" y="326"/>
                    </a:lnTo>
                    <a:lnTo>
                      <a:pt x="102" y="325"/>
                    </a:lnTo>
                    <a:lnTo>
                      <a:pt x="101" y="325"/>
                    </a:lnTo>
                    <a:lnTo>
                      <a:pt x="102" y="325"/>
                    </a:lnTo>
                    <a:lnTo>
                      <a:pt x="102" y="326"/>
                    </a:lnTo>
                    <a:lnTo>
                      <a:pt x="104" y="326"/>
                    </a:lnTo>
                    <a:lnTo>
                      <a:pt x="104" y="325"/>
                    </a:lnTo>
                    <a:lnTo>
                      <a:pt x="106" y="325"/>
                    </a:lnTo>
                    <a:lnTo>
                      <a:pt x="106" y="323"/>
                    </a:lnTo>
                    <a:lnTo>
                      <a:pt x="106" y="321"/>
                    </a:lnTo>
                    <a:lnTo>
                      <a:pt x="108" y="321"/>
                    </a:lnTo>
                    <a:lnTo>
                      <a:pt x="108" y="319"/>
                    </a:lnTo>
                    <a:lnTo>
                      <a:pt x="109" y="319"/>
                    </a:lnTo>
                    <a:lnTo>
                      <a:pt x="109" y="318"/>
                    </a:lnTo>
                    <a:lnTo>
                      <a:pt x="111" y="319"/>
                    </a:lnTo>
                    <a:lnTo>
                      <a:pt x="113" y="319"/>
                    </a:lnTo>
                    <a:lnTo>
                      <a:pt x="113" y="318"/>
                    </a:lnTo>
                    <a:lnTo>
                      <a:pt x="114" y="318"/>
                    </a:lnTo>
                    <a:lnTo>
                      <a:pt x="114" y="319"/>
                    </a:lnTo>
                    <a:lnTo>
                      <a:pt x="116" y="319"/>
                    </a:lnTo>
                    <a:lnTo>
                      <a:pt x="118" y="318"/>
                    </a:lnTo>
                    <a:lnTo>
                      <a:pt x="116" y="318"/>
                    </a:lnTo>
                    <a:lnTo>
                      <a:pt x="118" y="318"/>
                    </a:lnTo>
                    <a:lnTo>
                      <a:pt x="118" y="319"/>
                    </a:lnTo>
                    <a:lnTo>
                      <a:pt x="119" y="319"/>
                    </a:lnTo>
                    <a:lnTo>
                      <a:pt x="119" y="318"/>
                    </a:lnTo>
                    <a:lnTo>
                      <a:pt x="119" y="319"/>
                    </a:lnTo>
                    <a:lnTo>
                      <a:pt x="119" y="318"/>
                    </a:lnTo>
                    <a:lnTo>
                      <a:pt x="121" y="318"/>
                    </a:lnTo>
                    <a:lnTo>
                      <a:pt x="119" y="318"/>
                    </a:lnTo>
                    <a:lnTo>
                      <a:pt x="121" y="318"/>
                    </a:lnTo>
                    <a:lnTo>
                      <a:pt x="123" y="318"/>
                    </a:lnTo>
                    <a:lnTo>
                      <a:pt x="123" y="319"/>
                    </a:lnTo>
                    <a:lnTo>
                      <a:pt x="125" y="319"/>
                    </a:lnTo>
                    <a:lnTo>
                      <a:pt x="125" y="318"/>
                    </a:lnTo>
                    <a:lnTo>
                      <a:pt x="126" y="319"/>
                    </a:lnTo>
                    <a:lnTo>
                      <a:pt x="126" y="321"/>
                    </a:lnTo>
                    <a:lnTo>
                      <a:pt x="125" y="321"/>
                    </a:lnTo>
                    <a:lnTo>
                      <a:pt x="126" y="323"/>
                    </a:lnTo>
                    <a:lnTo>
                      <a:pt x="128" y="325"/>
                    </a:lnTo>
                    <a:lnTo>
                      <a:pt x="128" y="323"/>
                    </a:lnTo>
                    <a:lnTo>
                      <a:pt x="128" y="325"/>
                    </a:lnTo>
                    <a:lnTo>
                      <a:pt x="130" y="325"/>
                    </a:lnTo>
                    <a:lnTo>
                      <a:pt x="130" y="323"/>
                    </a:lnTo>
                    <a:lnTo>
                      <a:pt x="131" y="323"/>
                    </a:lnTo>
                    <a:lnTo>
                      <a:pt x="131" y="321"/>
                    </a:lnTo>
                    <a:lnTo>
                      <a:pt x="131" y="323"/>
                    </a:lnTo>
                    <a:lnTo>
                      <a:pt x="133" y="323"/>
                    </a:lnTo>
                    <a:lnTo>
                      <a:pt x="133" y="325"/>
                    </a:lnTo>
                    <a:lnTo>
                      <a:pt x="135" y="326"/>
                    </a:lnTo>
                    <a:lnTo>
                      <a:pt x="136" y="326"/>
                    </a:lnTo>
                    <a:lnTo>
                      <a:pt x="136" y="325"/>
                    </a:lnTo>
                    <a:lnTo>
                      <a:pt x="136" y="323"/>
                    </a:lnTo>
                    <a:lnTo>
                      <a:pt x="136" y="321"/>
                    </a:lnTo>
                    <a:lnTo>
                      <a:pt x="138" y="321"/>
                    </a:lnTo>
                    <a:lnTo>
                      <a:pt x="140" y="311"/>
                    </a:lnTo>
                    <a:lnTo>
                      <a:pt x="142" y="302"/>
                    </a:lnTo>
                    <a:lnTo>
                      <a:pt x="145" y="279"/>
                    </a:lnTo>
                    <a:lnTo>
                      <a:pt x="145" y="275"/>
                    </a:lnTo>
                    <a:lnTo>
                      <a:pt x="148" y="260"/>
                    </a:lnTo>
                    <a:lnTo>
                      <a:pt x="148" y="255"/>
                    </a:lnTo>
                    <a:lnTo>
                      <a:pt x="150" y="250"/>
                    </a:lnTo>
                    <a:lnTo>
                      <a:pt x="152" y="245"/>
                    </a:lnTo>
                    <a:lnTo>
                      <a:pt x="152" y="238"/>
                    </a:lnTo>
                    <a:lnTo>
                      <a:pt x="153" y="229"/>
                    </a:lnTo>
                    <a:lnTo>
                      <a:pt x="153" y="228"/>
                    </a:lnTo>
                    <a:lnTo>
                      <a:pt x="155" y="228"/>
                    </a:lnTo>
                    <a:lnTo>
                      <a:pt x="155" y="226"/>
                    </a:lnTo>
                    <a:lnTo>
                      <a:pt x="153" y="226"/>
                    </a:lnTo>
                    <a:lnTo>
                      <a:pt x="155" y="224"/>
                    </a:lnTo>
                    <a:lnTo>
                      <a:pt x="155" y="223"/>
                    </a:lnTo>
                    <a:lnTo>
                      <a:pt x="155" y="221"/>
                    </a:lnTo>
                    <a:lnTo>
                      <a:pt x="155" y="219"/>
                    </a:lnTo>
                    <a:lnTo>
                      <a:pt x="155" y="217"/>
                    </a:lnTo>
                    <a:lnTo>
                      <a:pt x="155" y="216"/>
                    </a:lnTo>
                    <a:lnTo>
                      <a:pt x="155" y="214"/>
                    </a:lnTo>
                    <a:lnTo>
                      <a:pt x="155" y="212"/>
                    </a:lnTo>
                    <a:lnTo>
                      <a:pt x="153" y="212"/>
                    </a:lnTo>
                    <a:lnTo>
                      <a:pt x="155" y="212"/>
                    </a:lnTo>
                    <a:lnTo>
                      <a:pt x="153" y="211"/>
                    </a:lnTo>
                    <a:lnTo>
                      <a:pt x="152" y="209"/>
                    </a:lnTo>
                    <a:lnTo>
                      <a:pt x="152" y="211"/>
                    </a:lnTo>
                    <a:lnTo>
                      <a:pt x="152" y="209"/>
                    </a:lnTo>
                    <a:lnTo>
                      <a:pt x="152" y="207"/>
                    </a:lnTo>
                    <a:lnTo>
                      <a:pt x="150" y="207"/>
                    </a:lnTo>
                    <a:lnTo>
                      <a:pt x="150" y="206"/>
                    </a:lnTo>
                    <a:lnTo>
                      <a:pt x="148" y="204"/>
                    </a:lnTo>
                    <a:lnTo>
                      <a:pt x="150" y="204"/>
                    </a:lnTo>
                    <a:lnTo>
                      <a:pt x="148" y="204"/>
                    </a:lnTo>
                    <a:lnTo>
                      <a:pt x="148" y="202"/>
                    </a:lnTo>
                    <a:lnTo>
                      <a:pt x="148" y="200"/>
                    </a:lnTo>
                    <a:lnTo>
                      <a:pt x="150" y="200"/>
                    </a:lnTo>
                    <a:lnTo>
                      <a:pt x="150" y="199"/>
                    </a:lnTo>
                    <a:lnTo>
                      <a:pt x="148" y="199"/>
                    </a:lnTo>
                    <a:lnTo>
                      <a:pt x="148" y="197"/>
                    </a:lnTo>
                    <a:lnTo>
                      <a:pt x="148" y="195"/>
                    </a:lnTo>
                    <a:lnTo>
                      <a:pt x="148" y="194"/>
                    </a:lnTo>
                    <a:lnTo>
                      <a:pt x="147" y="195"/>
                    </a:lnTo>
                    <a:lnTo>
                      <a:pt x="147" y="194"/>
                    </a:lnTo>
                    <a:lnTo>
                      <a:pt x="145" y="194"/>
                    </a:lnTo>
                    <a:lnTo>
                      <a:pt x="143" y="192"/>
                    </a:lnTo>
                    <a:lnTo>
                      <a:pt x="142" y="192"/>
                    </a:lnTo>
                    <a:lnTo>
                      <a:pt x="142" y="190"/>
                    </a:lnTo>
                    <a:lnTo>
                      <a:pt x="140" y="189"/>
                    </a:lnTo>
                    <a:lnTo>
                      <a:pt x="138" y="190"/>
                    </a:lnTo>
                    <a:lnTo>
                      <a:pt x="138" y="189"/>
                    </a:lnTo>
                    <a:lnTo>
                      <a:pt x="136" y="189"/>
                    </a:lnTo>
                    <a:lnTo>
                      <a:pt x="136" y="187"/>
                    </a:lnTo>
                    <a:lnTo>
                      <a:pt x="135" y="185"/>
                    </a:lnTo>
                    <a:lnTo>
                      <a:pt x="135" y="183"/>
                    </a:lnTo>
                    <a:lnTo>
                      <a:pt x="135" y="182"/>
                    </a:lnTo>
                    <a:lnTo>
                      <a:pt x="133" y="182"/>
                    </a:lnTo>
                    <a:lnTo>
                      <a:pt x="133" y="178"/>
                    </a:lnTo>
                    <a:lnTo>
                      <a:pt x="133" y="175"/>
                    </a:lnTo>
                    <a:lnTo>
                      <a:pt x="133" y="172"/>
                    </a:lnTo>
                    <a:lnTo>
                      <a:pt x="133" y="170"/>
                    </a:lnTo>
                    <a:lnTo>
                      <a:pt x="133" y="168"/>
                    </a:lnTo>
                    <a:lnTo>
                      <a:pt x="133" y="166"/>
                    </a:lnTo>
                    <a:lnTo>
                      <a:pt x="133" y="165"/>
                    </a:lnTo>
                    <a:lnTo>
                      <a:pt x="133" y="161"/>
                    </a:lnTo>
                    <a:lnTo>
                      <a:pt x="133" y="160"/>
                    </a:lnTo>
                    <a:lnTo>
                      <a:pt x="135" y="160"/>
                    </a:lnTo>
                    <a:lnTo>
                      <a:pt x="135" y="158"/>
                    </a:lnTo>
                    <a:lnTo>
                      <a:pt x="136" y="158"/>
                    </a:lnTo>
                    <a:lnTo>
                      <a:pt x="136" y="160"/>
                    </a:lnTo>
                    <a:lnTo>
                      <a:pt x="138" y="160"/>
                    </a:lnTo>
                    <a:lnTo>
                      <a:pt x="138" y="158"/>
                    </a:lnTo>
                    <a:lnTo>
                      <a:pt x="140" y="158"/>
                    </a:lnTo>
                    <a:lnTo>
                      <a:pt x="142" y="158"/>
                    </a:lnTo>
                    <a:lnTo>
                      <a:pt x="143" y="158"/>
                    </a:lnTo>
                    <a:lnTo>
                      <a:pt x="143" y="156"/>
                    </a:lnTo>
                    <a:lnTo>
                      <a:pt x="145" y="158"/>
                    </a:lnTo>
                    <a:lnTo>
                      <a:pt x="145" y="156"/>
                    </a:lnTo>
                    <a:lnTo>
                      <a:pt x="147" y="154"/>
                    </a:lnTo>
                    <a:lnTo>
                      <a:pt x="147" y="156"/>
                    </a:lnTo>
                    <a:lnTo>
                      <a:pt x="148" y="156"/>
                    </a:lnTo>
                    <a:lnTo>
                      <a:pt x="148" y="158"/>
                    </a:lnTo>
                    <a:lnTo>
                      <a:pt x="148" y="156"/>
                    </a:lnTo>
                    <a:lnTo>
                      <a:pt x="150" y="156"/>
                    </a:lnTo>
                    <a:lnTo>
                      <a:pt x="150" y="154"/>
                    </a:lnTo>
                    <a:lnTo>
                      <a:pt x="152" y="154"/>
                    </a:lnTo>
                    <a:lnTo>
                      <a:pt x="152" y="153"/>
                    </a:lnTo>
                    <a:lnTo>
                      <a:pt x="153" y="153"/>
                    </a:lnTo>
                    <a:lnTo>
                      <a:pt x="155" y="154"/>
                    </a:lnTo>
                    <a:lnTo>
                      <a:pt x="155" y="156"/>
                    </a:lnTo>
                    <a:lnTo>
                      <a:pt x="157" y="156"/>
                    </a:lnTo>
                    <a:lnTo>
                      <a:pt x="157" y="158"/>
                    </a:lnTo>
                    <a:lnTo>
                      <a:pt x="157" y="156"/>
                    </a:lnTo>
                    <a:lnTo>
                      <a:pt x="159" y="156"/>
                    </a:lnTo>
                    <a:lnTo>
                      <a:pt x="159" y="158"/>
                    </a:lnTo>
                    <a:lnTo>
                      <a:pt x="160" y="158"/>
                    </a:lnTo>
                    <a:lnTo>
                      <a:pt x="162" y="158"/>
                    </a:lnTo>
                    <a:lnTo>
                      <a:pt x="162" y="156"/>
                    </a:lnTo>
                    <a:lnTo>
                      <a:pt x="164" y="156"/>
                    </a:lnTo>
                    <a:lnTo>
                      <a:pt x="165" y="156"/>
                    </a:lnTo>
                    <a:lnTo>
                      <a:pt x="165" y="154"/>
                    </a:lnTo>
                    <a:lnTo>
                      <a:pt x="164" y="154"/>
                    </a:lnTo>
                    <a:lnTo>
                      <a:pt x="162" y="153"/>
                    </a:lnTo>
                    <a:lnTo>
                      <a:pt x="164" y="153"/>
                    </a:lnTo>
                    <a:lnTo>
                      <a:pt x="164" y="151"/>
                    </a:lnTo>
                    <a:lnTo>
                      <a:pt x="164" y="149"/>
                    </a:lnTo>
                    <a:lnTo>
                      <a:pt x="164" y="148"/>
                    </a:lnTo>
                    <a:lnTo>
                      <a:pt x="162" y="148"/>
                    </a:lnTo>
                    <a:lnTo>
                      <a:pt x="162" y="146"/>
                    </a:lnTo>
                    <a:lnTo>
                      <a:pt x="164" y="146"/>
                    </a:lnTo>
                    <a:lnTo>
                      <a:pt x="162" y="146"/>
                    </a:lnTo>
                    <a:lnTo>
                      <a:pt x="162" y="144"/>
                    </a:lnTo>
                    <a:lnTo>
                      <a:pt x="162" y="143"/>
                    </a:lnTo>
                    <a:lnTo>
                      <a:pt x="160" y="143"/>
                    </a:lnTo>
                    <a:lnTo>
                      <a:pt x="159" y="143"/>
                    </a:lnTo>
                    <a:lnTo>
                      <a:pt x="159" y="141"/>
                    </a:lnTo>
                    <a:lnTo>
                      <a:pt x="157" y="141"/>
                    </a:lnTo>
                    <a:lnTo>
                      <a:pt x="155" y="143"/>
                    </a:lnTo>
                    <a:lnTo>
                      <a:pt x="153" y="141"/>
                    </a:lnTo>
                    <a:lnTo>
                      <a:pt x="152" y="141"/>
                    </a:lnTo>
                    <a:lnTo>
                      <a:pt x="150" y="141"/>
                    </a:lnTo>
                    <a:lnTo>
                      <a:pt x="148" y="141"/>
                    </a:lnTo>
                    <a:lnTo>
                      <a:pt x="147" y="141"/>
                    </a:lnTo>
                    <a:lnTo>
                      <a:pt x="145" y="141"/>
                    </a:lnTo>
                    <a:lnTo>
                      <a:pt x="143" y="141"/>
                    </a:lnTo>
                    <a:lnTo>
                      <a:pt x="142" y="141"/>
                    </a:lnTo>
                    <a:lnTo>
                      <a:pt x="142" y="143"/>
                    </a:lnTo>
                    <a:lnTo>
                      <a:pt x="142" y="141"/>
                    </a:lnTo>
                    <a:lnTo>
                      <a:pt x="140" y="141"/>
                    </a:lnTo>
                    <a:lnTo>
                      <a:pt x="140" y="139"/>
                    </a:lnTo>
                    <a:lnTo>
                      <a:pt x="140" y="136"/>
                    </a:lnTo>
                    <a:lnTo>
                      <a:pt x="140" y="134"/>
                    </a:lnTo>
                    <a:lnTo>
                      <a:pt x="140" y="132"/>
                    </a:lnTo>
                    <a:lnTo>
                      <a:pt x="140" y="129"/>
                    </a:lnTo>
                    <a:lnTo>
                      <a:pt x="140" y="126"/>
                    </a:lnTo>
                    <a:lnTo>
                      <a:pt x="140" y="122"/>
                    </a:lnTo>
                    <a:lnTo>
                      <a:pt x="140" y="120"/>
                    </a:lnTo>
                    <a:lnTo>
                      <a:pt x="142" y="120"/>
                    </a:lnTo>
                    <a:lnTo>
                      <a:pt x="143" y="120"/>
                    </a:lnTo>
                    <a:lnTo>
                      <a:pt x="143" y="119"/>
                    </a:lnTo>
                    <a:lnTo>
                      <a:pt x="145" y="119"/>
                    </a:lnTo>
                    <a:lnTo>
                      <a:pt x="147" y="119"/>
                    </a:lnTo>
                    <a:lnTo>
                      <a:pt x="147" y="120"/>
                    </a:lnTo>
                    <a:lnTo>
                      <a:pt x="147" y="119"/>
                    </a:lnTo>
                    <a:lnTo>
                      <a:pt x="147" y="120"/>
                    </a:lnTo>
                    <a:lnTo>
                      <a:pt x="147" y="119"/>
                    </a:lnTo>
                    <a:lnTo>
                      <a:pt x="148" y="120"/>
                    </a:lnTo>
                    <a:lnTo>
                      <a:pt x="148" y="119"/>
                    </a:lnTo>
                    <a:lnTo>
                      <a:pt x="150" y="119"/>
                    </a:lnTo>
                    <a:lnTo>
                      <a:pt x="152" y="117"/>
                    </a:lnTo>
                    <a:lnTo>
                      <a:pt x="152" y="119"/>
                    </a:lnTo>
                    <a:lnTo>
                      <a:pt x="153" y="119"/>
                    </a:lnTo>
                    <a:lnTo>
                      <a:pt x="155" y="119"/>
                    </a:lnTo>
                    <a:lnTo>
                      <a:pt x="159" y="119"/>
                    </a:lnTo>
                    <a:lnTo>
                      <a:pt x="164" y="119"/>
                    </a:lnTo>
                    <a:lnTo>
                      <a:pt x="169" y="119"/>
                    </a:lnTo>
                    <a:lnTo>
                      <a:pt x="174" y="119"/>
                    </a:lnTo>
                    <a:lnTo>
                      <a:pt x="184" y="119"/>
                    </a:lnTo>
                    <a:lnTo>
                      <a:pt x="198" y="119"/>
                    </a:lnTo>
                    <a:lnTo>
                      <a:pt x="196" y="119"/>
                    </a:lnTo>
                    <a:lnTo>
                      <a:pt x="196" y="117"/>
                    </a:lnTo>
                    <a:lnTo>
                      <a:pt x="196" y="119"/>
                    </a:lnTo>
                    <a:lnTo>
                      <a:pt x="194" y="117"/>
                    </a:lnTo>
                    <a:lnTo>
                      <a:pt x="194" y="119"/>
                    </a:lnTo>
                    <a:lnTo>
                      <a:pt x="194" y="117"/>
                    </a:lnTo>
                    <a:lnTo>
                      <a:pt x="194" y="115"/>
                    </a:lnTo>
                    <a:lnTo>
                      <a:pt x="194" y="117"/>
                    </a:lnTo>
                    <a:lnTo>
                      <a:pt x="194" y="115"/>
                    </a:lnTo>
                    <a:lnTo>
                      <a:pt x="194" y="117"/>
                    </a:lnTo>
                    <a:lnTo>
                      <a:pt x="193" y="115"/>
                    </a:lnTo>
                    <a:lnTo>
                      <a:pt x="194" y="115"/>
                    </a:lnTo>
                    <a:lnTo>
                      <a:pt x="193" y="115"/>
                    </a:lnTo>
                    <a:lnTo>
                      <a:pt x="194" y="115"/>
                    </a:lnTo>
                    <a:lnTo>
                      <a:pt x="194" y="114"/>
                    </a:lnTo>
                    <a:lnTo>
                      <a:pt x="194" y="112"/>
                    </a:lnTo>
                    <a:lnTo>
                      <a:pt x="196" y="112"/>
                    </a:lnTo>
                    <a:lnTo>
                      <a:pt x="196" y="110"/>
                    </a:lnTo>
                    <a:lnTo>
                      <a:pt x="196" y="109"/>
                    </a:lnTo>
                    <a:lnTo>
                      <a:pt x="196" y="110"/>
                    </a:lnTo>
                    <a:lnTo>
                      <a:pt x="196" y="112"/>
                    </a:lnTo>
                    <a:lnTo>
                      <a:pt x="198" y="112"/>
                    </a:lnTo>
                    <a:lnTo>
                      <a:pt x="198" y="110"/>
                    </a:lnTo>
                    <a:lnTo>
                      <a:pt x="198" y="112"/>
                    </a:lnTo>
                    <a:lnTo>
                      <a:pt x="199" y="112"/>
                    </a:lnTo>
                    <a:lnTo>
                      <a:pt x="199" y="114"/>
                    </a:lnTo>
                    <a:lnTo>
                      <a:pt x="201" y="114"/>
                    </a:lnTo>
                    <a:lnTo>
                      <a:pt x="203" y="114"/>
                    </a:lnTo>
                    <a:lnTo>
                      <a:pt x="203" y="115"/>
                    </a:lnTo>
                    <a:lnTo>
                      <a:pt x="204" y="115"/>
                    </a:lnTo>
                    <a:lnTo>
                      <a:pt x="204" y="117"/>
                    </a:lnTo>
                    <a:lnTo>
                      <a:pt x="206" y="117"/>
                    </a:lnTo>
                    <a:lnTo>
                      <a:pt x="206" y="115"/>
                    </a:lnTo>
                    <a:lnTo>
                      <a:pt x="208" y="114"/>
                    </a:lnTo>
                    <a:lnTo>
                      <a:pt x="208" y="112"/>
                    </a:lnTo>
                    <a:lnTo>
                      <a:pt x="210" y="112"/>
                    </a:lnTo>
                    <a:lnTo>
                      <a:pt x="210" y="110"/>
                    </a:lnTo>
                    <a:lnTo>
                      <a:pt x="211" y="110"/>
                    </a:lnTo>
                    <a:lnTo>
                      <a:pt x="211" y="109"/>
                    </a:lnTo>
                    <a:lnTo>
                      <a:pt x="213" y="109"/>
                    </a:lnTo>
                    <a:lnTo>
                      <a:pt x="215" y="109"/>
                    </a:lnTo>
                    <a:lnTo>
                      <a:pt x="216" y="109"/>
                    </a:lnTo>
                    <a:lnTo>
                      <a:pt x="218" y="109"/>
                    </a:lnTo>
                    <a:lnTo>
                      <a:pt x="218" y="107"/>
                    </a:lnTo>
                    <a:lnTo>
                      <a:pt x="220" y="107"/>
                    </a:lnTo>
                    <a:lnTo>
                      <a:pt x="220" y="105"/>
                    </a:lnTo>
                    <a:lnTo>
                      <a:pt x="221" y="105"/>
                    </a:lnTo>
                    <a:lnTo>
                      <a:pt x="221" y="103"/>
                    </a:lnTo>
                    <a:lnTo>
                      <a:pt x="223" y="102"/>
                    </a:lnTo>
                    <a:lnTo>
                      <a:pt x="223" y="103"/>
                    </a:lnTo>
                    <a:lnTo>
                      <a:pt x="225" y="103"/>
                    </a:lnTo>
                    <a:lnTo>
                      <a:pt x="223" y="103"/>
                    </a:lnTo>
                    <a:lnTo>
                      <a:pt x="223" y="105"/>
                    </a:lnTo>
                    <a:lnTo>
                      <a:pt x="225" y="105"/>
                    </a:lnTo>
                    <a:lnTo>
                      <a:pt x="225" y="107"/>
                    </a:lnTo>
                    <a:lnTo>
                      <a:pt x="225" y="109"/>
                    </a:lnTo>
                    <a:lnTo>
                      <a:pt x="225" y="110"/>
                    </a:lnTo>
                    <a:lnTo>
                      <a:pt x="225" y="112"/>
                    </a:lnTo>
                    <a:lnTo>
                      <a:pt x="227" y="112"/>
                    </a:lnTo>
                    <a:lnTo>
                      <a:pt x="227" y="114"/>
                    </a:lnTo>
                    <a:lnTo>
                      <a:pt x="228" y="115"/>
                    </a:lnTo>
                    <a:lnTo>
                      <a:pt x="230" y="115"/>
                    </a:lnTo>
                    <a:lnTo>
                      <a:pt x="232" y="115"/>
                    </a:lnTo>
                    <a:lnTo>
                      <a:pt x="232" y="117"/>
                    </a:lnTo>
                    <a:lnTo>
                      <a:pt x="232" y="119"/>
                    </a:lnTo>
                    <a:lnTo>
                      <a:pt x="232" y="120"/>
                    </a:lnTo>
                    <a:lnTo>
                      <a:pt x="232" y="122"/>
                    </a:lnTo>
                    <a:lnTo>
                      <a:pt x="232" y="124"/>
                    </a:lnTo>
                    <a:lnTo>
                      <a:pt x="233" y="124"/>
                    </a:lnTo>
                    <a:lnTo>
                      <a:pt x="232" y="126"/>
                    </a:lnTo>
                    <a:lnTo>
                      <a:pt x="232" y="127"/>
                    </a:lnTo>
                    <a:lnTo>
                      <a:pt x="233" y="127"/>
                    </a:lnTo>
                    <a:lnTo>
                      <a:pt x="233" y="129"/>
                    </a:lnTo>
                    <a:lnTo>
                      <a:pt x="233" y="131"/>
                    </a:lnTo>
                    <a:lnTo>
                      <a:pt x="233" y="132"/>
                    </a:lnTo>
                    <a:lnTo>
                      <a:pt x="232" y="132"/>
                    </a:lnTo>
                    <a:lnTo>
                      <a:pt x="232" y="134"/>
                    </a:lnTo>
                    <a:lnTo>
                      <a:pt x="233" y="134"/>
                    </a:lnTo>
                    <a:lnTo>
                      <a:pt x="233" y="136"/>
                    </a:lnTo>
                    <a:lnTo>
                      <a:pt x="233" y="137"/>
                    </a:lnTo>
                    <a:lnTo>
                      <a:pt x="233" y="139"/>
                    </a:lnTo>
                    <a:lnTo>
                      <a:pt x="235" y="137"/>
                    </a:lnTo>
                    <a:lnTo>
                      <a:pt x="240" y="137"/>
                    </a:lnTo>
                    <a:lnTo>
                      <a:pt x="242" y="136"/>
                    </a:lnTo>
                    <a:lnTo>
                      <a:pt x="259" y="153"/>
                    </a:lnTo>
                    <a:lnTo>
                      <a:pt x="261" y="153"/>
                    </a:lnTo>
                    <a:lnTo>
                      <a:pt x="262" y="151"/>
                    </a:lnTo>
                    <a:lnTo>
                      <a:pt x="264" y="151"/>
                    </a:lnTo>
                    <a:lnTo>
                      <a:pt x="264" y="153"/>
                    </a:lnTo>
                    <a:lnTo>
                      <a:pt x="266" y="153"/>
                    </a:lnTo>
                    <a:lnTo>
                      <a:pt x="267" y="153"/>
                    </a:lnTo>
                    <a:lnTo>
                      <a:pt x="267" y="151"/>
                    </a:lnTo>
                    <a:lnTo>
                      <a:pt x="269" y="151"/>
                    </a:lnTo>
                    <a:lnTo>
                      <a:pt x="271" y="151"/>
                    </a:lnTo>
                    <a:lnTo>
                      <a:pt x="271" y="149"/>
                    </a:lnTo>
                    <a:lnTo>
                      <a:pt x="272" y="149"/>
                    </a:lnTo>
                    <a:lnTo>
                      <a:pt x="272" y="148"/>
                    </a:lnTo>
                    <a:lnTo>
                      <a:pt x="274" y="148"/>
                    </a:lnTo>
                    <a:lnTo>
                      <a:pt x="274" y="146"/>
                    </a:lnTo>
                    <a:lnTo>
                      <a:pt x="276" y="146"/>
                    </a:lnTo>
                    <a:lnTo>
                      <a:pt x="278" y="146"/>
                    </a:lnTo>
                    <a:lnTo>
                      <a:pt x="278" y="144"/>
                    </a:lnTo>
                    <a:lnTo>
                      <a:pt x="279" y="144"/>
                    </a:lnTo>
                    <a:lnTo>
                      <a:pt x="281" y="144"/>
                    </a:lnTo>
                    <a:lnTo>
                      <a:pt x="283" y="144"/>
                    </a:lnTo>
                    <a:lnTo>
                      <a:pt x="284" y="144"/>
                    </a:lnTo>
                    <a:lnTo>
                      <a:pt x="286" y="144"/>
                    </a:lnTo>
                    <a:lnTo>
                      <a:pt x="286" y="146"/>
                    </a:lnTo>
                    <a:lnTo>
                      <a:pt x="286" y="148"/>
                    </a:lnTo>
                    <a:lnTo>
                      <a:pt x="288" y="148"/>
                    </a:lnTo>
                    <a:lnTo>
                      <a:pt x="288" y="149"/>
                    </a:lnTo>
                    <a:lnTo>
                      <a:pt x="286" y="149"/>
                    </a:lnTo>
                    <a:lnTo>
                      <a:pt x="286" y="151"/>
                    </a:lnTo>
                    <a:lnTo>
                      <a:pt x="284" y="153"/>
                    </a:lnTo>
                    <a:lnTo>
                      <a:pt x="284" y="154"/>
                    </a:lnTo>
                    <a:lnTo>
                      <a:pt x="286" y="156"/>
                    </a:lnTo>
                    <a:lnTo>
                      <a:pt x="286" y="154"/>
                    </a:lnTo>
                    <a:lnTo>
                      <a:pt x="288" y="154"/>
                    </a:lnTo>
                    <a:lnTo>
                      <a:pt x="289" y="154"/>
                    </a:lnTo>
                    <a:lnTo>
                      <a:pt x="289" y="153"/>
                    </a:lnTo>
                    <a:lnTo>
                      <a:pt x="291" y="153"/>
                    </a:lnTo>
                    <a:lnTo>
                      <a:pt x="291" y="151"/>
                    </a:lnTo>
                    <a:lnTo>
                      <a:pt x="289" y="151"/>
                    </a:lnTo>
                    <a:lnTo>
                      <a:pt x="291" y="149"/>
                    </a:lnTo>
                    <a:lnTo>
                      <a:pt x="293" y="148"/>
                    </a:lnTo>
                    <a:lnTo>
                      <a:pt x="291" y="148"/>
                    </a:lnTo>
                    <a:lnTo>
                      <a:pt x="293" y="148"/>
                    </a:lnTo>
                    <a:lnTo>
                      <a:pt x="293" y="146"/>
                    </a:lnTo>
                    <a:lnTo>
                      <a:pt x="295" y="146"/>
                    </a:lnTo>
                    <a:lnTo>
                      <a:pt x="296" y="146"/>
                    </a:lnTo>
                    <a:lnTo>
                      <a:pt x="296" y="148"/>
                    </a:lnTo>
                    <a:lnTo>
                      <a:pt x="298" y="148"/>
                    </a:lnTo>
                    <a:lnTo>
                      <a:pt x="298" y="146"/>
                    </a:lnTo>
                    <a:lnTo>
                      <a:pt x="298" y="144"/>
                    </a:lnTo>
                    <a:lnTo>
                      <a:pt x="300" y="144"/>
                    </a:lnTo>
                    <a:lnTo>
                      <a:pt x="298" y="143"/>
                    </a:lnTo>
                    <a:lnTo>
                      <a:pt x="298" y="141"/>
                    </a:lnTo>
                    <a:lnTo>
                      <a:pt x="300" y="141"/>
                    </a:lnTo>
                    <a:lnTo>
                      <a:pt x="298" y="139"/>
                    </a:lnTo>
                    <a:lnTo>
                      <a:pt x="300" y="139"/>
                    </a:lnTo>
                    <a:lnTo>
                      <a:pt x="301" y="139"/>
                    </a:lnTo>
                    <a:lnTo>
                      <a:pt x="301" y="141"/>
                    </a:lnTo>
                    <a:lnTo>
                      <a:pt x="303" y="141"/>
                    </a:lnTo>
                    <a:lnTo>
                      <a:pt x="303" y="139"/>
                    </a:lnTo>
                    <a:lnTo>
                      <a:pt x="305" y="139"/>
                    </a:lnTo>
                    <a:lnTo>
                      <a:pt x="305" y="137"/>
                    </a:lnTo>
                    <a:lnTo>
                      <a:pt x="305" y="136"/>
                    </a:lnTo>
                    <a:lnTo>
                      <a:pt x="306" y="136"/>
                    </a:lnTo>
                    <a:lnTo>
                      <a:pt x="306" y="137"/>
                    </a:lnTo>
                    <a:lnTo>
                      <a:pt x="306" y="136"/>
                    </a:lnTo>
                    <a:lnTo>
                      <a:pt x="308" y="136"/>
                    </a:lnTo>
                    <a:lnTo>
                      <a:pt x="310" y="136"/>
                    </a:lnTo>
                    <a:lnTo>
                      <a:pt x="308" y="134"/>
                    </a:lnTo>
                    <a:lnTo>
                      <a:pt x="310" y="134"/>
                    </a:lnTo>
                    <a:lnTo>
                      <a:pt x="312" y="134"/>
                    </a:lnTo>
                    <a:lnTo>
                      <a:pt x="312" y="136"/>
                    </a:lnTo>
                    <a:lnTo>
                      <a:pt x="313" y="136"/>
                    </a:lnTo>
                    <a:lnTo>
                      <a:pt x="313" y="134"/>
                    </a:lnTo>
                    <a:lnTo>
                      <a:pt x="315" y="134"/>
                    </a:lnTo>
                    <a:lnTo>
                      <a:pt x="317" y="134"/>
                    </a:lnTo>
                    <a:lnTo>
                      <a:pt x="317" y="132"/>
                    </a:lnTo>
                    <a:lnTo>
                      <a:pt x="318" y="132"/>
                    </a:lnTo>
                    <a:lnTo>
                      <a:pt x="318" y="131"/>
                    </a:lnTo>
                    <a:lnTo>
                      <a:pt x="320" y="129"/>
                    </a:lnTo>
                    <a:lnTo>
                      <a:pt x="322" y="129"/>
                    </a:lnTo>
                    <a:lnTo>
                      <a:pt x="322" y="127"/>
                    </a:lnTo>
                    <a:lnTo>
                      <a:pt x="323" y="127"/>
                    </a:lnTo>
                    <a:lnTo>
                      <a:pt x="325" y="126"/>
                    </a:lnTo>
                    <a:lnTo>
                      <a:pt x="325" y="127"/>
                    </a:lnTo>
                    <a:lnTo>
                      <a:pt x="325" y="126"/>
                    </a:lnTo>
                    <a:lnTo>
                      <a:pt x="325" y="127"/>
                    </a:lnTo>
                    <a:lnTo>
                      <a:pt x="325" y="129"/>
                    </a:lnTo>
                    <a:lnTo>
                      <a:pt x="325" y="131"/>
                    </a:lnTo>
                    <a:lnTo>
                      <a:pt x="323" y="131"/>
                    </a:lnTo>
                    <a:lnTo>
                      <a:pt x="325" y="131"/>
                    </a:lnTo>
                    <a:lnTo>
                      <a:pt x="327" y="132"/>
                    </a:lnTo>
                    <a:lnTo>
                      <a:pt x="327" y="131"/>
                    </a:lnTo>
                    <a:lnTo>
                      <a:pt x="327" y="129"/>
                    </a:lnTo>
                    <a:lnTo>
                      <a:pt x="329" y="127"/>
                    </a:lnTo>
                    <a:lnTo>
                      <a:pt x="330" y="127"/>
                    </a:lnTo>
                    <a:lnTo>
                      <a:pt x="332" y="127"/>
                    </a:lnTo>
                    <a:lnTo>
                      <a:pt x="332" y="126"/>
                    </a:lnTo>
                    <a:lnTo>
                      <a:pt x="332" y="124"/>
                    </a:lnTo>
                    <a:lnTo>
                      <a:pt x="334" y="124"/>
                    </a:lnTo>
                    <a:lnTo>
                      <a:pt x="335" y="124"/>
                    </a:lnTo>
                    <a:lnTo>
                      <a:pt x="335" y="122"/>
                    </a:lnTo>
                    <a:lnTo>
                      <a:pt x="335" y="120"/>
                    </a:lnTo>
                    <a:lnTo>
                      <a:pt x="335" y="119"/>
                    </a:lnTo>
                    <a:lnTo>
                      <a:pt x="335" y="117"/>
                    </a:lnTo>
                    <a:lnTo>
                      <a:pt x="335" y="115"/>
                    </a:lnTo>
                    <a:lnTo>
                      <a:pt x="335" y="114"/>
                    </a:lnTo>
                    <a:lnTo>
                      <a:pt x="335" y="112"/>
                    </a:lnTo>
                    <a:lnTo>
                      <a:pt x="337" y="112"/>
                    </a:lnTo>
                    <a:lnTo>
                      <a:pt x="337" y="110"/>
                    </a:lnTo>
                    <a:lnTo>
                      <a:pt x="339" y="110"/>
                    </a:lnTo>
                    <a:lnTo>
                      <a:pt x="340" y="110"/>
                    </a:lnTo>
                    <a:lnTo>
                      <a:pt x="342" y="110"/>
                    </a:lnTo>
                    <a:lnTo>
                      <a:pt x="344" y="112"/>
                    </a:lnTo>
                    <a:lnTo>
                      <a:pt x="344" y="110"/>
                    </a:lnTo>
                    <a:lnTo>
                      <a:pt x="346" y="110"/>
                    </a:lnTo>
                    <a:lnTo>
                      <a:pt x="347" y="110"/>
                    </a:lnTo>
                    <a:lnTo>
                      <a:pt x="347" y="109"/>
                    </a:lnTo>
                    <a:lnTo>
                      <a:pt x="349" y="110"/>
                    </a:lnTo>
                    <a:lnTo>
                      <a:pt x="349" y="109"/>
                    </a:lnTo>
                    <a:lnTo>
                      <a:pt x="351" y="109"/>
                    </a:lnTo>
                    <a:lnTo>
                      <a:pt x="351" y="107"/>
                    </a:lnTo>
                    <a:lnTo>
                      <a:pt x="352" y="107"/>
                    </a:lnTo>
                    <a:lnTo>
                      <a:pt x="352" y="105"/>
                    </a:lnTo>
                    <a:lnTo>
                      <a:pt x="354" y="105"/>
                    </a:lnTo>
                    <a:lnTo>
                      <a:pt x="354" y="107"/>
                    </a:lnTo>
                    <a:lnTo>
                      <a:pt x="356" y="107"/>
                    </a:lnTo>
                    <a:lnTo>
                      <a:pt x="356" y="105"/>
                    </a:lnTo>
                    <a:lnTo>
                      <a:pt x="356" y="107"/>
                    </a:lnTo>
                    <a:lnTo>
                      <a:pt x="357" y="105"/>
                    </a:lnTo>
                    <a:lnTo>
                      <a:pt x="359" y="103"/>
                    </a:lnTo>
                    <a:lnTo>
                      <a:pt x="357" y="103"/>
                    </a:lnTo>
                    <a:lnTo>
                      <a:pt x="359" y="103"/>
                    </a:lnTo>
                    <a:lnTo>
                      <a:pt x="359" y="102"/>
                    </a:lnTo>
                    <a:lnTo>
                      <a:pt x="359" y="100"/>
                    </a:lnTo>
                    <a:lnTo>
                      <a:pt x="359" y="98"/>
                    </a:lnTo>
                    <a:lnTo>
                      <a:pt x="359" y="97"/>
                    </a:lnTo>
                    <a:lnTo>
                      <a:pt x="359" y="95"/>
                    </a:lnTo>
                    <a:lnTo>
                      <a:pt x="357" y="95"/>
                    </a:lnTo>
                    <a:lnTo>
                      <a:pt x="356" y="95"/>
                    </a:lnTo>
                    <a:lnTo>
                      <a:pt x="354" y="97"/>
                    </a:lnTo>
                    <a:lnTo>
                      <a:pt x="352" y="97"/>
                    </a:lnTo>
                    <a:lnTo>
                      <a:pt x="351" y="97"/>
                    </a:lnTo>
                    <a:lnTo>
                      <a:pt x="349" y="97"/>
                    </a:lnTo>
                    <a:lnTo>
                      <a:pt x="347" y="97"/>
                    </a:lnTo>
                    <a:lnTo>
                      <a:pt x="346" y="97"/>
                    </a:lnTo>
                    <a:lnTo>
                      <a:pt x="344" y="97"/>
                    </a:lnTo>
                    <a:lnTo>
                      <a:pt x="342" y="95"/>
                    </a:lnTo>
                    <a:lnTo>
                      <a:pt x="340" y="95"/>
                    </a:lnTo>
                    <a:lnTo>
                      <a:pt x="339" y="95"/>
                    </a:lnTo>
                    <a:lnTo>
                      <a:pt x="337" y="93"/>
                    </a:lnTo>
                    <a:lnTo>
                      <a:pt x="337" y="95"/>
                    </a:lnTo>
                    <a:lnTo>
                      <a:pt x="337" y="93"/>
                    </a:lnTo>
                    <a:lnTo>
                      <a:pt x="335" y="93"/>
                    </a:lnTo>
                    <a:lnTo>
                      <a:pt x="335" y="92"/>
                    </a:lnTo>
                    <a:lnTo>
                      <a:pt x="337" y="92"/>
                    </a:lnTo>
                    <a:lnTo>
                      <a:pt x="337" y="90"/>
                    </a:lnTo>
                    <a:lnTo>
                      <a:pt x="337" y="88"/>
                    </a:lnTo>
                    <a:lnTo>
                      <a:pt x="339" y="88"/>
                    </a:lnTo>
                    <a:lnTo>
                      <a:pt x="339" y="86"/>
                    </a:lnTo>
                    <a:lnTo>
                      <a:pt x="337" y="86"/>
                    </a:lnTo>
                    <a:lnTo>
                      <a:pt x="339" y="86"/>
                    </a:lnTo>
                    <a:lnTo>
                      <a:pt x="337" y="85"/>
                    </a:lnTo>
                    <a:lnTo>
                      <a:pt x="339" y="85"/>
                    </a:lnTo>
                    <a:lnTo>
                      <a:pt x="337" y="85"/>
                    </a:lnTo>
                    <a:lnTo>
                      <a:pt x="337" y="83"/>
                    </a:lnTo>
                    <a:lnTo>
                      <a:pt x="335" y="81"/>
                    </a:lnTo>
                    <a:lnTo>
                      <a:pt x="335" y="80"/>
                    </a:lnTo>
                    <a:lnTo>
                      <a:pt x="335" y="78"/>
                    </a:lnTo>
                    <a:lnTo>
                      <a:pt x="334" y="78"/>
                    </a:lnTo>
                    <a:lnTo>
                      <a:pt x="334" y="76"/>
                    </a:lnTo>
                    <a:lnTo>
                      <a:pt x="332" y="76"/>
                    </a:lnTo>
                    <a:lnTo>
                      <a:pt x="332" y="75"/>
                    </a:lnTo>
                    <a:lnTo>
                      <a:pt x="330" y="73"/>
                    </a:lnTo>
                    <a:lnTo>
                      <a:pt x="330" y="71"/>
                    </a:lnTo>
                    <a:lnTo>
                      <a:pt x="330" y="69"/>
                    </a:lnTo>
                    <a:lnTo>
                      <a:pt x="330" y="68"/>
                    </a:lnTo>
                    <a:lnTo>
                      <a:pt x="330" y="66"/>
                    </a:lnTo>
                    <a:lnTo>
                      <a:pt x="330" y="64"/>
                    </a:lnTo>
                    <a:lnTo>
                      <a:pt x="330" y="63"/>
                    </a:lnTo>
                    <a:lnTo>
                      <a:pt x="329" y="63"/>
                    </a:lnTo>
                    <a:lnTo>
                      <a:pt x="330" y="61"/>
                    </a:lnTo>
                    <a:lnTo>
                      <a:pt x="332" y="59"/>
                    </a:lnTo>
                    <a:lnTo>
                      <a:pt x="332" y="58"/>
                    </a:lnTo>
                    <a:lnTo>
                      <a:pt x="330" y="56"/>
                    </a:lnTo>
                    <a:lnTo>
                      <a:pt x="329" y="54"/>
                    </a:lnTo>
                    <a:lnTo>
                      <a:pt x="329" y="52"/>
                    </a:lnTo>
                    <a:lnTo>
                      <a:pt x="327" y="52"/>
                    </a:lnTo>
                    <a:lnTo>
                      <a:pt x="327" y="51"/>
                    </a:lnTo>
                    <a:lnTo>
                      <a:pt x="325" y="51"/>
                    </a:lnTo>
                    <a:lnTo>
                      <a:pt x="323" y="51"/>
                    </a:lnTo>
                    <a:lnTo>
                      <a:pt x="322" y="51"/>
                    </a:lnTo>
                    <a:lnTo>
                      <a:pt x="322" y="49"/>
                    </a:lnTo>
                    <a:lnTo>
                      <a:pt x="320" y="49"/>
                    </a:lnTo>
                    <a:lnTo>
                      <a:pt x="320" y="47"/>
                    </a:lnTo>
                    <a:lnTo>
                      <a:pt x="318" y="47"/>
                    </a:lnTo>
                    <a:lnTo>
                      <a:pt x="318" y="46"/>
                    </a:lnTo>
                    <a:lnTo>
                      <a:pt x="317" y="44"/>
                    </a:lnTo>
                    <a:lnTo>
                      <a:pt x="315" y="42"/>
                    </a:lnTo>
                    <a:lnTo>
                      <a:pt x="315" y="41"/>
                    </a:lnTo>
                    <a:lnTo>
                      <a:pt x="313" y="41"/>
                    </a:lnTo>
                    <a:lnTo>
                      <a:pt x="313" y="39"/>
                    </a:lnTo>
                    <a:lnTo>
                      <a:pt x="312" y="39"/>
                    </a:lnTo>
                    <a:lnTo>
                      <a:pt x="312" y="37"/>
                    </a:lnTo>
                    <a:lnTo>
                      <a:pt x="310" y="37"/>
                    </a:lnTo>
                    <a:lnTo>
                      <a:pt x="310" y="35"/>
                    </a:lnTo>
                    <a:lnTo>
                      <a:pt x="310" y="34"/>
                    </a:lnTo>
                    <a:lnTo>
                      <a:pt x="312" y="34"/>
                    </a:lnTo>
                    <a:lnTo>
                      <a:pt x="313" y="34"/>
                    </a:lnTo>
                    <a:lnTo>
                      <a:pt x="315" y="34"/>
                    </a:lnTo>
                    <a:lnTo>
                      <a:pt x="315" y="35"/>
                    </a:lnTo>
                    <a:lnTo>
                      <a:pt x="317" y="37"/>
                    </a:lnTo>
                    <a:lnTo>
                      <a:pt x="317" y="39"/>
                    </a:lnTo>
                    <a:lnTo>
                      <a:pt x="318" y="39"/>
                    </a:lnTo>
                    <a:lnTo>
                      <a:pt x="320" y="39"/>
                    </a:lnTo>
                    <a:lnTo>
                      <a:pt x="322" y="39"/>
                    </a:lnTo>
                    <a:lnTo>
                      <a:pt x="323" y="39"/>
                    </a:lnTo>
                    <a:lnTo>
                      <a:pt x="323" y="37"/>
                    </a:lnTo>
                    <a:lnTo>
                      <a:pt x="323" y="39"/>
                    </a:lnTo>
                    <a:lnTo>
                      <a:pt x="325" y="37"/>
                    </a:lnTo>
                    <a:lnTo>
                      <a:pt x="325" y="39"/>
                    </a:lnTo>
                    <a:lnTo>
                      <a:pt x="327" y="39"/>
                    </a:lnTo>
                    <a:lnTo>
                      <a:pt x="329" y="37"/>
                    </a:lnTo>
                    <a:lnTo>
                      <a:pt x="329" y="39"/>
                    </a:lnTo>
                    <a:lnTo>
                      <a:pt x="330" y="39"/>
                    </a:lnTo>
                    <a:lnTo>
                      <a:pt x="332" y="39"/>
                    </a:lnTo>
                    <a:lnTo>
                      <a:pt x="334" y="39"/>
                    </a:lnTo>
                    <a:lnTo>
                      <a:pt x="334" y="41"/>
                    </a:lnTo>
                    <a:lnTo>
                      <a:pt x="335" y="41"/>
                    </a:lnTo>
                    <a:lnTo>
                      <a:pt x="334" y="42"/>
                    </a:lnTo>
                    <a:lnTo>
                      <a:pt x="335" y="42"/>
                    </a:lnTo>
                    <a:lnTo>
                      <a:pt x="335" y="44"/>
                    </a:lnTo>
                    <a:lnTo>
                      <a:pt x="337" y="46"/>
                    </a:lnTo>
                    <a:lnTo>
                      <a:pt x="339" y="46"/>
                    </a:lnTo>
                    <a:lnTo>
                      <a:pt x="339" y="47"/>
                    </a:lnTo>
                    <a:lnTo>
                      <a:pt x="339" y="46"/>
                    </a:lnTo>
                    <a:lnTo>
                      <a:pt x="340" y="46"/>
                    </a:lnTo>
                    <a:lnTo>
                      <a:pt x="342" y="46"/>
                    </a:lnTo>
                    <a:lnTo>
                      <a:pt x="342" y="44"/>
                    </a:lnTo>
                    <a:lnTo>
                      <a:pt x="344" y="44"/>
                    </a:lnTo>
                    <a:lnTo>
                      <a:pt x="344" y="46"/>
                    </a:lnTo>
                    <a:lnTo>
                      <a:pt x="346" y="46"/>
                    </a:lnTo>
                    <a:lnTo>
                      <a:pt x="346" y="44"/>
                    </a:lnTo>
                    <a:lnTo>
                      <a:pt x="347" y="46"/>
                    </a:lnTo>
                    <a:lnTo>
                      <a:pt x="349" y="46"/>
                    </a:lnTo>
                    <a:lnTo>
                      <a:pt x="347" y="44"/>
                    </a:lnTo>
                    <a:lnTo>
                      <a:pt x="349" y="42"/>
                    </a:lnTo>
                    <a:lnTo>
                      <a:pt x="349" y="44"/>
                    </a:lnTo>
                    <a:lnTo>
                      <a:pt x="351" y="44"/>
                    </a:lnTo>
                    <a:lnTo>
                      <a:pt x="351" y="46"/>
                    </a:lnTo>
                    <a:lnTo>
                      <a:pt x="352" y="46"/>
                    </a:lnTo>
                    <a:lnTo>
                      <a:pt x="351" y="46"/>
                    </a:lnTo>
                    <a:lnTo>
                      <a:pt x="352" y="47"/>
                    </a:lnTo>
                    <a:lnTo>
                      <a:pt x="352" y="46"/>
                    </a:lnTo>
                    <a:lnTo>
                      <a:pt x="352" y="47"/>
                    </a:lnTo>
                    <a:lnTo>
                      <a:pt x="354" y="47"/>
                    </a:lnTo>
                    <a:lnTo>
                      <a:pt x="356" y="47"/>
                    </a:lnTo>
                    <a:lnTo>
                      <a:pt x="357" y="47"/>
                    </a:lnTo>
                    <a:lnTo>
                      <a:pt x="357" y="46"/>
                    </a:lnTo>
                    <a:lnTo>
                      <a:pt x="357" y="44"/>
                    </a:lnTo>
                    <a:lnTo>
                      <a:pt x="356" y="44"/>
                    </a:lnTo>
                    <a:lnTo>
                      <a:pt x="357" y="44"/>
                    </a:lnTo>
                    <a:lnTo>
                      <a:pt x="359" y="44"/>
                    </a:lnTo>
                    <a:lnTo>
                      <a:pt x="361" y="44"/>
                    </a:lnTo>
                    <a:lnTo>
                      <a:pt x="363" y="44"/>
                    </a:lnTo>
                    <a:lnTo>
                      <a:pt x="364" y="44"/>
                    </a:lnTo>
                    <a:lnTo>
                      <a:pt x="364" y="46"/>
                    </a:lnTo>
                    <a:lnTo>
                      <a:pt x="364" y="47"/>
                    </a:lnTo>
                    <a:lnTo>
                      <a:pt x="364" y="49"/>
                    </a:lnTo>
                    <a:lnTo>
                      <a:pt x="366" y="49"/>
                    </a:lnTo>
                    <a:lnTo>
                      <a:pt x="368" y="49"/>
                    </a:lnTo>
                    <a:lnTo>
                      <a:pt x="368" y="51"/>
                    </a:lnTo>
                    <a:lnTo>
                      <a:pt x="369" y="51"/>
                    </a:lnTo>
                    <a:lnTo>
                      <a:pt x="369" y="52"/>
                    </a:lnTo>
                    <a:lnTo>
                      <a:pt x="369" y="54"/>
                    </a:lnTo>
                    <a:lnTo>
                      <a:pt x="371" y="54"/>
                    </a:lnTo>
                    <a:lnTo>
                      <a:pt x="371" y="56"/>
                    </a:lnTo>
                    <a:lnTo>
                      <a:pt x="373" y="56"/>
                    </a:lnTo>
                    <a:lnTo>
                      <a:pt x="374" y="56"/>
                    </a:lnTo>
                    <a:lnTo>
                      <a:pt x="374" y="54"/>
                    </a:lnTo>
                    <a:lnTo>
                      <a:pt x="376" y="52"/>
                    </a:lnTo>
                    <a:lnTo>
                      <a:pt x="378" y="51"/>
                    </a:lnTo>
                    <a:lnTo>
                      <a:pt x="378" y="52"/>
                    </a:lnTo>
                    <a:lnTo>
                      <a:pt x="380" y="52"/>
                    </a:lnTo>
                    <a:lnTo>
                      <a:pt x="380" y="54"/>
                    </a:lnTo>
                    <a:lnTo>
                      <a:pt x="380" y="52"/>
                    </a:lnTo>
                    <a:lnTo>
                      <a:pt x="381" y="52"/>
                    </a:lnTo>
                    <a:lnTo>
                      <a:pt x="380" y="51"/>
                    </a:lnTo>
                    <a:lnTo>
                      <a:pt x="381" y="51"/>
                    </a:lnTo>
                    <a:lnTo>
                      <a:pt x="380" y="49"/>
                    </a:lnTo>
                    <a:lnTo>
                      <a:pt x="381" y="49"/>
                    </a:lnTo>
                    <a:lnTo>
                      <a:pt x="380" y="49"/>
                    </a:lnTo>
                    <a:lnTo>
                      <a:pt x="380" y="47"/>
                    </a:lnTo>
                    <a:lnTo>
                      <a:pt x="378" y="46"/>
                    </a:lnTo>
                    <a:lnTo>
                      <a:pt x="380" y="46"/>
                    </a:lnTo>
                    <a:lnTo>
                      <a:pt x="380" y="44"/>
                    </a:lnTo>
                    <a:lnTo>
                      <a:pt x="380" y="42"/>
                    </a:lnTo>
                    <a:lnTo>
                      <a:pt x="380" y="41"/>
                    </a:lnTo>
                    <a:lnTo>
                      <a:pt x="381" y="42"/>
                    </a:lnTo>
                    <a:lnTo>
                      <a:pt x="383" y="41"/>
                    </a:lnTo>
                    <a:lnTo>
                      <a:pt x="383" y="42"/>
                    </a:lnTo>
                    <a:lnTo>
                      <a:pt x="383" y="41"/>
                    </a:lnTo>
                    <a:lnTo>
                      <a:pt x="385" y="41"/>
                    </a:lnTo>
                    <a:lnTo>
                      <a:pt x="385" y="42"/>
                    </a:lnTo>
                    <a:lnTo>
                      <a:pt x="386" y="42"/>
                    </a:lnTo>
                    <a:lnTo>
                      <a:pt x="386" y="41"/>
                    </a:lnTo>
                    <a:lnTo>
                      <a:pt x="386" y="39"/>
                    </a:lnTo>
                    <a:lnTo>
                      <a:pt x="388" y="39"/>
                    </a:lnTo>
                    <a:lnTo>
                      <a:pt x="388" y="37"/>
                    </a:lnTo>
                    <a:lnTo>
                      <a:pt x="390" y="39"/>
                    </a:lnTo>
                    <a:lnTo>
                      <a:pt x="390" y="37"/>
                    </a:lnTo>
                    <a:lnTo>
                      <a:pt x="391" y="37"/>
                    </a:lnTo>
                    <a:lnTo>
                      <a:pt x="393" y="37"/>
                    </a:lnTo>
                    <a:lnTo>
                      <a:pt x="395" y="39"/>
                    </a:lnTo>
                    <a:lnTo>
                      <a:pt x="395" y="37"/>
                    </a:lnTo>
                    <a:lnTo>
                      <a:pt x="395" y="39"/>
                    </a:lnTo>
                    <a:lnTo>
                      <a:pt x="395" y="37"/>
                    </a:lnTo>
                    <a:lnTo>
                      <a:pt x="397" y="39"/>
                    </a:lnTo>
                    <a:lnTo>
                      <a:pt x="398" y="39"/>
                    </a:lnTo>
                    <a:lnTo>
                      <a:pt x="400" y="39"/>
                    </a:lnTo>
                    <a:lnTo>
                      <a:pt x="400" y="41"/>
                    </a:lnTo>
                    <a:lnTo>
                      <a:pt x="402" y="39"/>
                    </a:lnTo>
                    <a:lnTo>
                      <a:pt x="403" y="39"/>
                    </a:lnTo>
                    <a:lnTo>
                      <a:pt x="402" y="37"/>
                    </a:lnTo>
                    <a:lnTo>
                      <a:pt x="403" y="37"/>
                    </a:lnTo>
                    <a:lnTo>
                      <a:pt x="405" y="37"/>
                    </a:lnTo>
                    <a:lnTo>
                      <a:pt x="407" y="37"/>
                    </a:lnTo>
                    <a:lnTo>
                      <a:pt x="407" y="39"/>
                    </a:lnTo>
                    <a:lnTo>
                      <a:pt x="408" y="39"/>
                    </a:lnTo>
                    <a:lnTo>
                      <a:pt x="408" y="37"/>
                    </a:lnTo>
                    <a:lnTo>
                      <a:pt x="410" y="37"/>
                    </a:lnTo>
                    <a:lnTo>
                      <a:pt x="412" y="37"/>
                    </a:lnTo>
                    <a:lnTo>
                      <a:pt x="412" y="35"/>
                    </a:lnTo>
                    <a:lnTo>
                      <a:pt x="414" y="35"/>
                    </a:lnTo>
                    <a:lnTo>
                      <a:pt x="414" y="34"/>
                    </a:lnTo>
                    <a:lnTo>
                      <a:pt x="415" y="34"/>
                    </a:lnTo>
                    <a:lnTo>
                      <a:pt x="417" y="34"/>
                    </a:lnTo>
                    <a:lnTo>
                      <a:pt x="417" y="35"/>
                    </a:lnTo>
                    <a:lnTo>
                      <a:pt x="417" y="34"/>
                    </a:lnTo>
                    <a:lnTo>
                      <a:pt x="419" y="34"/>
                    </a:lnTo>
                    <a:lnTo>
                      <a:pt x="420" y="34"/>
                    </a:lnTo>
                    <a:lnTo>
                      <a:pt x="422" y="34"/>
                    </a:lnTo>
                    <a:lnTo>
                      <a:pt x="422" y="32"/>
                    </a:lnTo>
                    <a:lnTo>
                      <a:pt x="422" y="30"/>
                    </a:lnTo>
                    <a:lnTo>
                      <a:pt x="422" y="29"/>
                    </a:lnTo>
                    <a:lnTo>
                      <a:pt x="424" y="29"/>
                    </a:lnTo>
                    <a:lnTo>
                      <a:pt x="425" y="29"/>
                    </a:lnTo>
                    <a:lnTo>
                      <a:pt x="427" y="29"/>
                    </a:lnTo>
                    <a:lnTo>
                      <a:pt x="429" y="29"/>
                    </a:lnTo>
                    <a:lnTo>
                      <a:pt x="429" y="27"/>
                    </a:lnTo>
                    <a:lnTo>
                      <a:pt x="429" y="25"/>
                    </a:lnTo>
                    <a:lnTo>
                      <a:pt x="427" y="25"/>
                    </a:lnTo>
                    <a:lnTo>
                      <a:pt x="429" y="25"/>
                    </a:lnTo>
                    <a:lnTo>
                      <a:pt x="431" y="25"/>
                    </a:lnTo>
                    <a:lnTo>
                      <a:pt x="432" y="25"/>
                    </a:lnTo>
                    <a:lnTo>
                      <a:pt x="434" y="25"/>
                    </a:lnTo>
                    <a:lnTo>
                      <a:pt x="434" y="27"/>
                    </a:lnTo>
                    <a:lnTo>
                      <a:pt x="434" y="25"/>
                    </a:lnTo>
                    <a:lnTo>
                      <a:pt x="436" y="25"/>
                    </a:lnTo>
                    <a:lnTo>
                      <a:pt x="437" y="25"/>
                    </a:lnTo>
                    <a:lnTo>
                      <a:pt x="439" y="25"/>
                    </a:lnTo>
                    <a:lnTo>
                      <a:pt x="439" y="24"/>
                    </a:lnTo>
                    <a:lnTo>
                      <a:pt x="441" y="24"/>
                    </a:lnTo>
                    <a:lnTo>
                      <a:pt x="441" y="22"/>
                    </a:lnTo>
                    <a:lnTo>
                      <a:pt x="441" y="20"/>
                    </a:lnTo>
                    <a:lnTo>
                      <a:pt x="442" y="20"/>
                    </a:lnTo>
                    <a:lnTo>
                      <a:pt x="442" y="18"/>
                    </a:lnTo>
                    <a:lnTo>
                      <a:pt x="444" y="18"/>
                    </a:lnTo>
                    <a:lnTo>
                      <a:pt x="446" y="18"/>
                    </a:lnTo>
                    <a:lnTo>
                      <a:pt x="446" y="17"/>
                    </a:lnTo>
                    <a:lnTo>
                      <a:pt x="448" y="17"/>
                    </a:lnTo>
                    <a:lnTo>
                      <a:pt x="448" y="15"/>
                    </a:lnTo>
                    <a:lnTo>
                      <a:pt x="449" y="15"/>
                    </a:lnTo>
                    <a:lnTo>
                      <a:pt x="449" y="13"/>
                    </a:lnTo>
                    <a:lnTo>
                      <a:pt x="451" y="13"/>
                    </a:lnTo>
                    <a:lnTo>
                      <a:pt x="451" y="12"/>
                    </a:lnTo>
                    <a:lnTo>
                      <a:pt x="453" y="12"/>
                    </a:lnTo>
                    <a:lnTo>
                      <a:pt x="453" y="10"/>
                    </a:lnTo>
                    <a:lnTo>
                      <a:pt x="453" y="8"/>
                    </a:lnTo>
                    <a:lnTo>
                      <a:pt x="451" y="8"/>
                    </a:lnTo>
                    <a:lnTo>
                      <a:pt x="451" y="6"/>
                    </a:lnTo>
                    <a:lnTo>
                      <a:pt x="451" y="5"/>
                    </a:lnTo>
                    <a:lnTo>
                      <a:pt x="451" y="3"/>
                    </a:lnTo>
                    <a:lnTo>
                      <a:pt x="449" y="3"/>
                    </a:lnTo>
                    <a:lnTo>
                      <a:pt x="449" y="1"/>
                    </a:lnTo>
                    <a:lnTo>
                      <a:pt x="448" y="1"/>
                    </a:lnTo>
                    <a:lnTo>
                      <a:pt x="449" y="1"/>
                    </a:lnTo>
                    <a:lnTo>
                      <a:pt x="451" y="1"/>
                    </a:lnTo>
                    <a:lnTo>
                      <a:pt x="453" y="1"/>
                    </a:lnTo>
                    <a:lnTo>
                      <a:pt x="454" y="1"/>
                    </a:lnTo>
                    <a:lnTo>
                      <a:pt x="456" y="1"/>
                    </a:lnTo>
                    <a:lnTo>
                      <a:pt x="458" y="1"/>
                    </a:lnTo>
                    <a:lnTo>
                      <a:pt x="458" y="3"/>
                    </a:lnTo>
                    <a:lnTo>
                      <a:pt x="458" y="1"/>
                    </a:lnTo>
                    <a:lnTo>
                      <a:pt x="459" y="1"/>
                    </a:lnTo>
                    <a:lnTo>
                      <a:pt x="461" y="1"/>
                    </a:lnTo>
                    <a:lnTo>
                      <a:pt x="463" y="1"/>
                    </a:lnTo>
                    <a:lnTo>
                      <a:pt x="465" y="0"/>
                    </a:lnTo>
                    <a:lnTo>
                      <a:pt x="466" y="0"/>
                    </a:lnTo>
                    <a:lnTo>
                      <a:pt x="466" y="1"/>
                    </a:lnTo>
                    <a:lnTo>
                      <a:pt x="468" y="1"/>
                    </a:lnTo>
                    <a:lnTo>
                      <a:pt x="468" y="0"/>
                    </a:lnTo>
                    <a:lnTo>
                      <a:pt x="468" y="1"/>
                    </a:lnTo>
                    <a:lnTo>
                      <a:pt x="470" y="1"/>
                    </a:lnTo>
                    <a:lnTo>
                      <a:pt x="470" y="3"/>
                    </a:lnTo>
                    <a:lnTo>
                      <a:pt x="470" y="5"/>
                    </a:lnTo>
                    <a:lnTo>
                      <a:pt x="471" y="5"/>
                    </a:lnTo>
                    <a:lnTo>
                      <a:pt x="471" y="6"/>
                    </a:lnTo>
                    <a:lnTo>
                      <a:pt x="473" y="6"/>
                    </a:lnTo>
                    <a:lnTo>
                      <a:pt x="473" y="8"/>
                    </a:lnTo>
                    <a:lnTo>
                      <a:pt x="473" y="10"/>
                    </a:lnTo>
                    <a:lnTo>
                      <a:pt x="473" y="12"/>
                    </a:lnTo>
                    <a:lnTo>
                      <a:pt x="473" y="13"/>
                    </a:lnTo>
                    <a:lnTo>
                      <a:pt x="471" y="15"/>
                    </a:lnTo>
                    <a:lnTo>
                      <a:pt x="471" y="17"/>
                    </a:lnTo>
                    <a:lnTo>
                      <a:pt x="471" y="18"/>
                    </a:lnTo>
                    <a:lnTo>
                      <a:pt x="471" y="20"/>
                    </a:lnTo>
                    <a:lnTo>
                      <a:pt x="470" y="20"/>
                    </a:lnTo>
                    <a:lnTo>
                      <a:pt x="470" y="22"/>
                    </a:lnTo>
                    <a:lnTo>
                      <a:pt x="468" y="22"/>
                    </a:lnTo>
                    <a:lnTo>
                      <a:pt x="468" y="24"/>
                    </a:lnTo>
                    <a:lnTo>
                      <a:pt x="468" y="25"/>
                    </a:lnTo>
                    <a:lnTo>
                      <a:pt x="470" y="25"/>
                    </a:lnTo>
                    <a:lnTo>
                      <a:pt x="471" y="25"/>
                    </a:lnTo>
                    <a:lnTo>
                      <a:pt x="470" y="25"/>
                    </a:lnTo>
                    <a:lnTo>
                      <a:pt x="471" y="25"/>
                    </a:lnTo>
                    <a:lnTo>
                      <a:pt x="471" y="27"/>
                    </a:lnTo>
                    <a:lnTo>
                      <a:pt x="473" y="25"/>
                    </a:lnTo>
                    <a:lnTo>
                      <a:pt x="473" y="27"/>
                    </a:lnTo>
                    <a:lnTo>
                      <a:pt x="473" y="25"/>
                    </a:lnTo>
                    <a:lnTo>
                      <a:pt x="475" y="25"/>
                    </a:lnTo>
                    <a:lnTo>
                      <a:pt x="475" y="27"/>
                    </a:lnTo>
                    <a:lnTo>
                      <a:pt x="476" y="27"/>
                    </a:lnTo>
                    <a:lnTo>
                      <a:pt x="478" y="27"/>
                    </a:lnTo>
                    <a:lnTo>
                      <a:pt x="476" y="27"/>
                    </a:lnTo>
                    <a:lnTo>
                      <a:pt x="478" y="27"/>
                    </a:lnTo>
                    <a:lnTo>
                      <a:pt x="480" y="27"/>
                    </a:lnTo>
                    <a:lnTo>
                      <a:pt x="482" y="29"/>
                    </a:lnTo>
                    <a:lnTo>
                      <a:pt x="482" y="30"/>
                    </a:lnTo>
                    <a:lnTo>
                      <a:pt x="483" y="30"/>
                    </a:lnTo>
                    <a:lnTo>
                      <a:pt x="483" y="32"/>
                    </a:lnTo>
                    <a:lnTo>
                      <a:pt x="482" y="32"/>
                    </a:lnTo>
                    <a:lnTo>
                      <a:pt x="482" y="34"/>
                    </a:lnTo>
                    <a:lnTo>
                      <a:pt x="483" y="34"/>
                    </a:lnTo>
                    <a:lnTo>
                      <a:pt x="482" y="34"/>
                    </a:lnTo>
                    <a:lnTo>
                      <a:pt x="482" y="35"/>
                    </a:lnTo>
                    <a:lnTo>
                      <a:pt x="482" y="37"/>
                    </a:lnTo>
                    <a:lnTo>
                      <a:pt x="483" y="37"/>
                    </a:lnTo>
                    <a:lnTo>
                      <a:pt x="485" y="37"/>
                    </a:lnTo>
                    <a:lnTo>
                      <a:pt x="485" y="39"/>
                    </a:lnTo>
                    <a:lnTo>
                      <a:pt x="485" y="41"/>
                    </a:lnTo>
                    <a:lnTo>
                      <a:pt x="487" y="42"/>
                    </a:lnTo>
                    <a:lnTo>
                      <a:pt x="487" y="44"/>
                    </a:lnTo>
                    <a:lnTo>
                      <a:pt x="488" y="44"/>
                    </a:lnTo>
                    <a:lnTo>
                      <a:pt x="488" y="46"/>
                    </a:lnTo>
                    <a:lnTo>
                      <a:pt x="487" y="46"/>
                    </a:lnTo>
                    <a:lnTo>
                      <a:pt x="487" y="47"/>
                    </a:lnTo>
                    <a:lnTo>
                      <a:pt x="487" y="49"/>
                    </a:lnTo>
                    <a:lnTo>
                      <a:pt x="485" y="49"/>
                    </a:lnTo>
                    <a:lnTo>
                      <a:pt x="485" y="51"/>
                    </a:lnTo>
                    <a:lnTo>
                      <a:pt x="485" y="49"/>
                    </a:lnTo>
                    <a:lnTo>
                      <a:pt x="485" y="51"/>
                    </a:lnTo>
                    <a:lnTo>
                      <a:pt x="483" y="51"/>
                    </a:lnTo>
                    <a:lnTo>
                      <a:pt x="483" y="52"/>
                    </a:lnTo>
                    <a:lnTo>
                      <a:pt x="482" y="54"/>
                    </a:lnTo>
                    <a:lnTo>
                      <a:pt x="480" y="56"/>
                    </a:lnTo>
                    <a:lnTo>
                      <a:pt x="478" y="56"/>
                    </a:lnTo>
                    <a:lnTo>
                      <a:pt x="478" y="58"/>
                    </a:lnTo>
                    <a:lnTo>
                      <a:pt x="476" y="58"/>
                    </a:lnTo>
                    <a:lnTo>
                      <a:pt x="478" y="58"/>
                    </a:lnTo>
                    <a:lnTo>
                      <a:pt x="476" y="58"/>
                    </a:lnTo>
                    <a:lnTo>
                      <a:pt x="478" y="58"/>
                    </a:lnTo>
                    <a:lnTo>
                      <a:pt x="478" y="59"/>
                    </a:lnTo>
                    <a:lnTo>
                      <a:pt x="480" y="59"/>
                    </a:lnTo>
                    <a:lnTo>
                      <a:pt x="478" y="61"/>
                    </a:lnTo>
                    <a:lnTo>
                      <a:pt x="480" y="61"/>
                    </a:lnTo>
                    <a:lnTo>
                      <a:pt x="478" y="61"/>
                    </a:lnTo>
                    <a:lnTo>
                      <a:pt x="478" y="63"/>
                    </a:lnTo>
                    <a:lnTo>
                      <a:pt x="480" y="63"/>
                    </a:lnTo>
                    <a:lnTo>
                      <a:pt x="478" y="63"/>
                    </a:lnTo>
                    <a:lnTo>
                      <a:pt x="480" y="63"/>
                    </a:lnTo>
                    <a:lnTo>
                      <a:pt x="480" y="64"/>
                    </a:lnTo>
                    <a:lnTo>
                      <a:pt x="478" y="64"/>
                    </a:lnTo>
                    <a:lnTo>
                      <a:pt x="478" y="66"/>
                    </a:lnTo>
                    <a:lnTo>
                      <a:pt x="478" y="68"/>
                    </a:lnTo>
                    <a:lnTo>
                      <a:pt x="476" y="68"/>
                    </a:lnTo>
                    <a:lnTo>
                      <a:pt x="476" y="69"/>
                    </a:lnTo>
                    <a:lnTo>
                      <a:pt x="476" y="71"/>
                    </a:lnTo>
                    <a:lnTo>
                      <a:pt x="475" y="71"/>
                    </a:lnTo>
                    <a:lnTo>
                      <a:pt x="476" y="71"/>
                    </a:lnTo>
                    <a:lnTo>
                      <a:pt x="475" y="73"/>
                    </a:lnTo>
                    <a:lnTo>
                      <a:pt x="476" y="73"/>
                    </a:lnTo>
                    <a:lnTo>
                      <a:pt x="475" y="73"/>
                    </a:lnTo>
                    <a:lnTo>
                      <a:pt x="475" y="75"/>
                    </a:lnTo>
                    <a:lnTo>
                      <a:pt x="475" y="76"/>
                    </a:lnTo>
                    <a:lnTo>
                      <a:pt x="475" y="78"/>
                    </a:lnTo>
                    <a:lnTo>
                      <a:pt x="473" y="78"/>
                    </a:lnTo>
                    <a:lnTo>
                      <a:pt x="473" y="80"/>
                    </a:lnTo>
                    <a:lnTo>
                      <a:pt x="473" y="81"/>
                    </a:lnTo>
                    <a:lnTo>
                      <a:pt x="473" y="83"/>
                    </a:lnTo>
                    <a:lnTo>
                      <a:pt x="473" y="85"/>
                    </a:lnTo>
                    <a:lnTo>
                      <a:pt x="473" y="86"/>
                    </a:lnTo>
                    <a:lnTo>
                      <a:pt x="473" y="88"/>
                    </a:lnTo>
                    <a:lnTo>
                      <a:pt x="475" y="90"/>
                    </a:lnTo>
                    <a:lnTo>
                      <a:pt x="473" y="90"/>
                    </a:lnTo>
                    <a:lnTo>
                      <a:pt x="475" y="90"/>
                    </a:lnTo>
                    <a:lnTo>
                      <a:pt x="475" y="92"/>
                    </a:lnTo>
                    <a:lnTo>
                      <a:pt x="475" y="93"/>
                    </a:lnTo>
                    <a:lnTo>
                      <a:pt x="476" y="93"/>
                    </a:lnTo>
                    <a:lnTo>
                      <a:pt x="476" y="95"/>
                    </a:lnTo>
                    <a:lnTo>
                      <a:pt x="476" y="97"/>
                    </a:lnTo>
                    <a:lnTo>
                      <a:pt x="476" y="98"/>
                    </a:lnTo>
                    <a:lnTo>
                      <a:pt x="478" y="98"/>
                    </a:lnTo>
                    <a:lnTo>
                      <a:pt x="478" y="100"/>
                    </a:lnTo>
                    <a:lnTo>
                      <a:pt x="478" y="98"/>
                    </a:lnTo>
                    <a:lnTo>
                      <a:pt x="478" y="100"/>
                    </a:lnTo>
                    <a:lnTo>
                      <a:pt x="480" y="100"/>
                    </a:lnTo>
                    <a:lnTo>
                      <a:pt x="482" y="100"/>
                    </a:lnTo>
                    <a:lnTo>
                      <a:pt x="482" y="102"/>
                    </a:lnTo>
                    <a:lnTo>
                      <a:pt x="482" y="103"/>
                    </a:lnTo>
                    <a:lnTo>
                      <a:pt x="482" y="105"/>
                    </a:lnTo>
                    <a:lnTo>
                      <a:pt x="482" y="107"/>
                    </a:lnTo>
                    <a:lnTo>
                      <a:pt x="482" y="109"/>
                    </a:lnTo>
                    <a:lnTo>
                      <a:pt x="482" y="110"/>
                    </a:lnTo>
                    <a:lnTo>
                      <a:pt x="482" y="112"/>
                    </a:lnTo>
                    <a:lnTo>
                      <a:pt x="482" y="114"/>
                    </a:lnTo>
                    <a:lnTo>
                      <a:pt x="482" y="115"/>
                    </a:lnTo>
                    <a:lnTo>
                      <a:pt x="483" y="115"/>
                    </a:lnTo>
                    <a:lnTo>
                      <a:pt x="485" y="115"/>
                    </a:lnTo>
                    <a:lnTo>
                      <a:pt x="485" y="117"/>
                    </a:lnTo>
                    <a:lnTo>
                      <a:pt x="483" y="117"/>
                    </a:lnTo>
                    <a:lnTo>
                      <a:pt x="483" y="119"/>
                    </a:lnTo>
                    <a:lnTo>
                      <a:pt x="485" y="119"/>
                    </a:lnTo>
                    <a:lnTo>
                      <a:pt x="485" y="120"/>
                    </a:lnTo>
                    <a:lnTo>
                      <a:pt x="487" y="120"/>
                    </a:lnTo>
                    <a:lnTo>
                      <a:pt x="487" y="119"/>
                    </a:lnTo>
                    <a:lnTo>
                      <a:pt x="488" y="119"/>
                    </a:lnTo>
                    <a:lnTo>
                      <a:pt x="488" y="120"/>
                    </a:lnTo>
                    <a:lnTo>
                      <a:pt x="490" y="122"/>
                    </a:lnTo>
                    <a:lnTo>
                      <a:pt x="490" y="120"/>
                    </a:lnTo>
                    <a:lnTo>
                      <a:pt x="490" y="122"/>
                    </a:lnTo>
                    <a:lnTo>
                      <a:pt x="490" y="124"/>
                    </a:lnTo>
                    <a:lnTo>
                      <a:pt x="492" y="124"/>
                    </a:lnTo>
                    <a:lnTo>
                      <a:pt x="492" y="126"/>
                    </a:lnTo>
                    <a:lnTo>
                      <a:pt x="493" y="126"/>
                    </a:lnTo>
                    <a:lnTo>
                      <a:pt x="493" y="127"/>
                    </a:lnTo>
                    <a:lnTo>
                      <a:pt x="495" y="127"/>
                    </a:lnTo>
                    <a:lnTo>
                      <a:pt x="495" y="129"/>
                    </a:lnTo>
                    <a:lnTo>
                      <a:pt x="497" y="129"/>
                    </a:lnTo>
                    <a:lnTo>
                      <a:pt x="497" y="131"/>
                    </a:lnTo>
                    <a:lnTo>
                      <a:pt x="499" y="131"/>
                    </a:lnTo>
                    <a:lnTo>
                      <a:pt x="500" y="131"/>
                    </a:lnTo>
                    <a:lnTo>
                      <a:pt x="500" y="132"/>
                    </a:lnTo>
                    <a:lnTo>
                      <a:pt x="502" y="132"/>
                    </a:lnTo>
                    <a:lnTo>
                      <a:pt x="504" y="132"/>
                    </a:lnTo>
                    <a:lnTo>
                      <a:pt x="505" y="132"/>
                    </a:lnTo>
                    <a:lnTo>
                      <a:pt x="507" y="132"/>
                    </a:lnTo>
                    <a:lnTo>
                      <a:pt x="507" y="134"/>
                    </a:lnTo>
                    <a:lnTo>
                      <a:pt x="509" y="134"/>
                    </a:lnTo>
                    <a:lnTo>
                      <a:pt x="510" y="134"/>
                    </a:lnTo>
                    <a:lnTo>
                      <a:pt x="510" y="136"/>
                    </a:lnTo>
                    <a:lnTo>
                      <a:pt x="509" y="136"/>
                    </a:lnTo>
                    <a:lnTo>
                      <a:pt x="510" y="136"/>
                    </a:lnTo>
                    <a:lnTo>
                      <a:pt x="510" y="137"/>
                    </a:lnTo>
                    <a:lnTo>
                      <a:pt x="512" y="137"/>
                    </a:lnTo>
                    <a:lnTo>
                      <a:pt x="514" y="137"/>
                    </a:lnTo>
                    <a:lnTo>
                      <a:pt x="516" y="137"/>
                    </a:lnTo>
                    <a:lnTo>
                      <a:pt x="516" y="136"/>
                    </a:lnTo>
                    <a:lnTo>
                      <a:pt x="516" y="134"/>
                    </a:lnTo>
                    <a:lnTo>
                      <a:pt x="517" y="134"/>
                    </a:lnTo>
                    <a:lnTo>
                      <a:pt x="519" y="134"/>
                    </a:lnTo>
                    <a:lnTo>
                      <a:pt x="521" y="134"/>
                    </a:lnTo>
                    <a:lnTo>
                      <a:pt x="521" y="136"/>
                    </a:lnTo>
                    <a:lnTo>
                      <a:pt x="521" y="134"/>
                    </a:lnTo>
                    <a:lnTo>
                      <a:pt x="522" y="134"/>
                    </a:lnTo>
                    <a:lnTo>
                      <a:pt x="522" y="136"/>
                    </a:lnTo>
                    <a:lnTo>
                      <a:pt x="522" y="134"/>
                    </a:lnTo>
                    <a:lnTo>
                      <a:pt x="524" y="136"/>
                    </a:lnTo>
                    <a:lnTo>
                      <a:pt x="524" y="134"/>
                    </a:lnTo>
                    <a:lnTo>
                      <a:pt x="524" y="132"/>
                    </a:lnTo>
                    <a:lnTo>
                      <a:pt x="524" y="131"/>
                    </a:lnTo>
                    <a:lnTo>
                      <a:pt x="522" y="131"/>
                    </a:lnTo>
                    <a:lnTo>
                      <a:pt x="524" y="129"/>
                    </a:lnTo>
                    <a:lnTo>
                      <a:pt x="522" y="129"/>
                    </a:lnTo>
                    <a:lnTo>
                      <a:pt x="524" y="129"/>
                    </a:lnTo>
                    <a:lnTo>
                      <a:pt x="526" y="129"/>
                    </a:lnTo>
                    <a:lnTo>
                      <a:pt x="526" y="127"/>
                    </a:lnTo>
                    <a:lnTo>
                      <a:pt x="527" y="129"/>
                    </a:lnTo>
                    <a:lnTo>
                      <a:pt x="527" y="127"/>
                    </a:lnTo>
                    <a:lnTo>
                      <a:pt x="527" y="126"/>
                    </a:lnTo>
                    <a:lnTo>
                      <a:pt x="529" y="126"/>
                    </a:lnTo>
                    <a:lnTo>
                      <a:pt x="529" y="124"/>
                    </a:lnTo>
                    <a:lnTo>
                      <a:pt x="529" y="126"/>
                    </a:lnTo>
                    <a:lnTo>
                      <a:pt x="531" y="126"/>
                    </a:lnTo>
                    <a:lnTo>
                      <a:pt x="531" y="124"/>
                    </a:lnTo>
                    <a:lnTo>
                      <a:pt x="531" y="126"/>
                    </a:lnTo>
                    <a:lnTo>
                      <a:pt x="533" y="126"/>
                    </a:lnTo>
                    <a:lnTo>
                      <a:pt x="534" y="126"/>
                    </a:lnTo>
                    <a:lnTo>
                      <a:pt x="536" y="127"/>
                    </a:lnTo>
                    <a:lnTo>
                      <a:pt x="534" y="127"/>
                    </a:lnTo>
                    <a:lnTo>
                      <a:pt x="536" y="127"/>
                    </a:lnTo>
                    <a:lnTo>
                      <a:pt x="538" y="127"/>
                    </a:lnTo>
                    <a:lnTo>
                      <a:pt x="538" y="126"/>
                    </a:lnTo>
                    <a:lnTo>
                      <a:pt x="539" y="127"/>
                    </a:lnTo>
                    <a:lnTo>
                      <a:pt x="539" y="126"/>
                    </a:lnTo>
                    <a:lnTo>
                      <a:pt x="541" y="126"/>
                    </a:lnTo>
                    <a:lnTo>
                      <a:pt x="541" y="124"/>
                    </a:lnTo>
                    <a:lnTo>
                      <a:pt x="541" y="122"/>
                    </a:lnTo>
                    <a:lnTo>
                      <a:pt x="539" y="122"/>
                    </a:lnTo>
                    <a:lnTo>
                      <a:pt x="541" y="122"/>
                    </a:lnTo>
                    <a:lnTo>
                      <a:pt x="543" y="122"/>
                    </a:lnTo>
                    <a:lnTo>
                      <a:pt x="544" y="122"/>
                    </a:lnTo>
                    <a:lnTo>
                      <a:pt x="544" y="120"/>
                    </a:lnTo>
                    <a:lnTo>
                      <a:pt x="544" y="122"/>
                    </a:lnTo>
                    <a:lnTo>
                      <a:pt x="546" y="120"/>
                    </a:lnTo>
                    <a:lnTo>
                      <a:pt x="548" y="120"/>
                    </a:lnTo>
                    <a:lnTo>
                      <a:pt x="548" y="119"/>
                    </a:lnTo>
                    <a:lnTo>
                      <a:pt x="548" y="120"/>
                    </a:lnTo>
                    <a:lnTo>
                      <a:pt x="550" y="119"/>
                    </a:lnTo>
                    <a:lnTo>
                      <a:pt x="550" y="120"/>
                    </a:lnTo>
                    <a:lnTo>
                      <a:pt x="550" y="119"/>
                    </a:lnTo>
                    <a:lnTo>
                      <a:pt x="550" y="120"/>
                    </a:lnTo>
                    <a:lnTo>
                      <a:pt x="551" y="120"/>
                    </a:lnTo>
                    <a:lnTo>
                      <a:pt x="553" y="120"/>
                    </a:lnTo>
                    <a:lnTo>
                      <a:pt x="555" y="120"/>
                    </a:lnTo>
                    <a:lnTo>
                      <a:pt x="556" y="120"/>
                    </a:lnTo>
                    <a:lnTo>
                      <a:pt x="556" y="119"/>
                    </a:lnTo>
                    <a:lnTo>
                      <a:pt x="556" y="117"/>
                    </a:lnTo>
                    <a:lnTo>
                      <a:pt x="558" y="117"/>
                    </a:lnTo>
                    <a:lnTo>
                      <a:pt x="560" y="115"/>
                    </a:lnTo>
                    <a:lnTo>
                      <a:pt x="558" y="115"/>
                    </a:lnTo>
                    <a:lnTo>
                      <a:pt x="560" y="115"/>
                    </a:lnTo>
                    <a:lnTo>
                      <a:pt x="560" y="114"/>
                    </a:lnTo>
                    <a:lnTo>
                      <a:pt x="561" y="112"/>
                    </a:lnTo>
                    <a:lnTo>
                      <a:pt x="561" y="114"/>
                    </a:lnTo>
                    <a:lnTo>
                      <a:pt x="561" y="112"/>
                    </a:lnTo>
                    <a:lnTo>
                      <a:pt x="561" y="110"/>
                    </a:lnTo>
                    <a:lnTo>
                      <a:pt x="563" y="110"/>
                    </a:lnTo>
                    <a:lnTo>
                      <a:pt x="565" y="110"/>
                    </a:lnTo>
                    <a:lnTo>
                      <a:pt x="565" y="112"/>
                    </a:lnTo>
                    <a:lnTo>
                      <a:pt x="567" y="112"/>
                    </a:lnTo>
                    <a:lnTo>
                      <a:pt x="567" y="110"/>
                    </a:lnTo>
                    <a:lnTo>
                      <a:pt x="568" y="110"/>
                    </a:lnTo>
                    <a:lnTo>
                      <a:pt x="570" y="110"/>
                    </a:lnTo>
                    <a:lnTo>
                      <a:pt x="570" y="109"/>
                    </a:lnTo>
                    <a:lnTo>
                      <a:pt x="570" y="110"/>
                    </a:lnTo>
                    <a:lnTo>
                      <a:pt x="572" y="110"/>
                    </a:lnTo>
                    <a:lnTo>
                      <a:pt x="572" y="112"/>
                    </a:lnTo>
                    <a:lnTo>
                      <a:pt x="573" y="112"/>
                    </a:lnTo>
                    <a:lnTo>
                      <a:pt x="573" y="114"/>
                    </a:lnTo>
                    <a:lnTo>
                      <a:pt x="575" y="114"/>
                    </a:lnTo>
                    <a:lnTo>
                      <a:pt x="577" y="112"/>
                    </a:lnTo>
                    <a:lnTo>
                      <a:pt x="577" y="114"/>
                    </a:lnTo>
                    <a:lnTo>
                      <a:pt x="578" y="114"/>
                    </a:lnTo>
                    <a:lnTo>
                      <a:pt x="580" y="114"/>
                    </a:lnTo>
                    <a:lnTo>
                      <a:pt x="580" y="115"/>
                    </a:lnTo>
                    <a:lnTo>
                      <a:pt x="582" y="115"/>
                    </a:lnTo>
                    <a:lnTo>
                      <a:pt x="582" y="114"/>
                    </a:lnTo>
                    <a:lnTo>
                      <a:pt x="584" y="112"/>
                    </a:lnTo>
                    <a:lnTo>
                      <a:pt x="584" y="114"/>
                    </a:lnTo>
                    <a:lnTo>
                      <a:pt x="585" y="114"/>
                    </a:lnTo>
                    <a:lnTo>
                      <a:pt x="585" y="112"/>
                    </a:lnTo>
                    <a:lnTo>
                      <a:pt x="587" y="112"/>
                    </a:lnTo>
                    <a:lnTo>
                      <a:pt x="589" y="114"/>
                    </a:lnTo>
                    <a:lnTo>
                      <a:pt x="590" y="112"/>
                    </a:lnTo>
                    <a:lnTo>
                      <a:pt x="592" y="112"/>
                    </a:lnTo>
                    <a:lnTo>
                      <a:pt x="594" y="112"/>
                    </a:lnTo>
                    <a:lnTo>
                      <a:pt x="594" y="114"/>
                    </a:lnTo>
                    <a:lnTo>
                      <a:pt x="594" y="112"/>
                    </a:lnTo>
                    <a:lnTo>
                      <a:pt x="595" y="112"/>
                    </a:lnTo>
                    <a:lnTo>
                      <a:pt x="597" y="112"/>
                    </a:lnTo>
                    <a:lnTo>
                      <a:pt x="597" y="114"/>
                    </a:lnTo>
                    <a:lnTo>
                      <a:pt x="599" y="114"/>
                    </a:lnTo>
                    <a:lnTo>
                      <a:pt x="601" y="114"/>
                    </a:lnTo>
                    <a:lnTo>
                      <a:pt x="602" y="114"/>
                    </a:lnTo>
                    <a:lnTo>
                      <a:pt x="604" y="115"/>
                    </a:lnTo>
                    <a:lnTo>
                      <a:pt x="606" y="115"/>
                    </a:lnTo>
                    <a:lnTo>
                      <a:pt x="607" y="115"/>
                    </a:lnTo>
                    <a:lnTo>
                      <a:pt x="609" y="115"/>
                    </a:lnTo>
                    <a:lnTo>
                      <a:pt x="611" y="114"/>
                    </a:lnTo>
                    <a:lnTo>
                      <a:pt x="611" y="112"/>
                    </a:lnTo>
                    <a:lnTo>
                      <a:pt x="609" y="110"/>
                    </a:lnTo>
                    <a:lnTo>
                      <a:pt x="611" y="110"/>
                    </a:lnTo>
                    <a:lnTo>
                      <a:pt x="611" y="109"/>
                    </a:lnTo>
                    <a:lnTo>
                      <a:pt x="611" y="107"/>
                    </a:lnTo>
                    <a:lnTo>
                      <a:pt x="609" y="107"/>
                    </a:lnTo>
                    <a:lnTo>
                      <a:pt x="609" y="105"/>
                    </a:lnTo>
                    <a:lnTo>
                      <a:pt x="607" y="105"/>
                    </a:lnTo>
                    <a:lnTo>
                      <a:pt x="606" y="105"/>
                    </a:lnTo>
                    <a:lnTo>
                      <a:pt x="606" y="103"/>
                    </a:lnTo>
                    <a:lnTo>
                      <a:pt x="606" y="102"/>
                    </a:lnTo>
                    <a:lnTo>
                      <a:pt x="604" y="102"/>
                    </a:lnTo>
                    <a:lnTo>
                      <a:pt x="602" y="102"/>
                    </a:lnTo>
                    <a:lnTo>
                      <a:pt x="604" y="100"/>
                    </a:lnTo>
                    <a:lnTo>
                      <a:pt x="604" y="98"/>
                    </a:lnTo>
                    <a:lnTo>
                      <a:pt x="606" y="98"/>
                    </a:lnTo>
                    <a:lnTo>
                      <a:pt x="607" y="98"/>
                    </a:lnTo>
                    <a:lnTo>
                      <a:pt x="606" y="98"/>
                    </a:lnTo>
                    <a:lnTo>
                      <a:pt x="607" y="97"/>
                    </a:lnTo>
                    <a:lnTo>
                      <a:pt x="607" y="95"/>
                    </a:lnTo>
                    <a:lnTo>
                      <a:pt x="607" y="93"/>
                    </a:lnTo>
                    <a:lnTo>
                      <a:pt x="609" y="93"/>
                    </a:lnTo>
                    <a:lnTo>
                      <a:pt x="607" y="93"/>
                    </a:lnTo>
                    <a:lnTo>
                      <a:pt x="609" y="93"/>
                    </a:lnTo>
                    <a:lnTo>
                      <a:pt x="609" y="92"/>
                    </a:lnTo>
                    <a:lnTo>
                      <a:pt x="611" y="92"/>
                    </a:lnTo>
                    <a:lnTo>
                      <a:pt x="611" y="93"/>
                    </a:lnTo>
                    <a:lnTo>
                      <a:pt x="612" y="93"/>
                    </a:lnTo>
                    <a:lnTo>
                      <a:pt x="612" y="95"/>
                    </a:lnTo>
                    <a:lnTo>
                      <a:pt x="614" y="95"/>
                    </a:lnTo>
                    <a:lnTo>
                      <a:pt x="616" y="95"/>
                    </a:lnTo>
                    <a:lnTo>
                      <a:pt x="616" y="97"/>
                    </a:lnTo>
                    <a:lnTo>
                      <a:pt x="618" y="97"/>
                    </a:lnTo>
                    <a:lnTo>
                      <a:pt x="619" y="97"/>
                    </a:lnTo>
                    <a:lnTo>
                      <a:pt x="621" y="97"/>
                    </a:lnTo>
                    <a:lnTo>
                      <a:pt x="621" y="95"/>
                    </a:lnTo>
                    <a:lnTo>
                      <a:pt x="623" y="95"/>
                    </a:lnTo>
                    <a:lnTo>
                      <a:pt x="623" y="97"/>
                    </a:lnTo>
                    <a:lnTo>
                      <a:pt x="623" y="95"/>
                    </a:lnTo>
                    <a:lnTo>
                      <a:pt x="624" y="95"/>
                    </a:lnTo>
                    <a:lnTo>
                      <a:pt x="626" y="95"/>
                    </a:lnTo>
                    <a:lnTo>
                      <a:pt x="628" y="95"/>
                    </a:lnTo>
                    <a:lnTo>
                      <a:pt x="628" y="97"/>
                    </a:lnTo>
                    <a:lnTo>
                      <a:pt x="629" y="97"/>
                    </a:lnTo>
                    <a:lnTo>
                      <a:pt x="629" y="95"/>
                    </a:lnTo>
                    <a:lnTo>
                      <a:pt x="629" y="93"/>
                    </a:lnTo>
                    <a:lnTo>
                      <a:pt x="631" y="93"/>
                    </a:lnTo>
                    <a:lnTo>
                      <a:pt x="633" y="93"/>
                    </a:lnTo>
                    <a:lnTo>
                      <a:pt x="635" y="93"/>
                    </a:lnTo>
                    <a:lnTo>
                      <a:pt x="635" y="92"/>
                    </a:lnTo>
                    <a:lnTo>
                      <a:pt x="636" y="92"/>
                    </a:lnTo>
                    <a:lnTo>
                      <a:pt x="638" y="92"/>
                    </a:lnTo>
                    <a:lnTo>
                      <a:pt x="638" y="93"/>
                    </a:lnTo>
                    <a:lnTo>
                      <a:pt x="638" y="92"/>
                    </a:lnTo>
                    <a:lnTo>
                      <a:pt x="640" y="92"/>
                    </a:lnTo>
                    <a:lnTo>
                      <a:pt x="641" y="92"/>
                    </a:lnTo>
                    <a:lnTo>
                      <a:pt x="641" y="90"/>
                    </a:lnTo>
                    <a:lnTo>
                      <a:pt x="643" y="90"/>
                    </a:lnTo>
                    <a:lnTo>
                      <a:pt x="643" y="92"/>
                    </a:lnTo>
                    <a:lnTo>
                      <a:pt x="643" y="93"/>
                    </a:lnTo>
                    <a:lnTo>
                      <a:pt x="645" y="93"/>
                    </a:lnTo>
                    <a:lnTo>
                      <a:pt x="645" y="95"/>
                    </a:lnTo>
                    <a:lnTo>
                      <a:pt x="646" y="95"/>
                    </a:lnTo>
                    <a:lnTo>
                      <a:pt x="648" y="95"/>
                    </a:lnTo>
                    <a:lnTo>
                      <a:pt x="650" y="95"/>
                    </a:lnTo>
                    <a:lnTo>
                      <a:pt x="652" y="95"/>
                    </a:lnTo>
                    <a:lnTo>
                      <a:pt x="652" y="97"/>
                    </a:lnTo>
                    <a:lnTo>
                      <a:pt x="652" y="98"/>
                    </a:lnTo>
                    <a:lnTo>
                      <a:pt x="653" y="98"/>
                    </a:lnTo>
                    <a:lnTo>
                      <a:pt x="655" y="98"/>
                    </a:lnTo>
                    <a:lnTo>
                      <a:pt x="655" y="100"/>
                    </a:lnTo>
                    <a:lnTo>
                      <a:pt x="657" y="100"/>
                    </a:lnTo>
                    <a:lnTo>
                      <a:pt x="657" y="102"/>
                    </a:lnTo>
                    <a:lnTo>
                      <a:pt x="658" y="102"/>
                    </a:lnTo>
                    <a:lnTo>
                      <a:pt x="660" y="103"/>
                    </a:lnTo>
                    <a:lnTo>
                      <a:pt x="662" y="103"/>
                    </a:lnTo>
                    <a:lnTo>
                      <a:pt x="663" y="103"/>
                    </a:lnTo>
                    <a:lnTo>
                      <a:pt x="663" y="105"/>
                    </a:lnTo>
                    <a:lnTo>
                      <a:pt x="665" y="105"/>
                    </a:lnTo>
                    <a:lnTo>
                      <a:pt x="667" y="105"/>
                    </a:lnTo>
                    <a:lnTo>
                      <a:pt x="669" y="105"/>
                    </a:lnTo>
                    <a:lnTo>
                      <a:pt x="670" y="105"/>
                    </a:lnTo>
                    <a:lnTo>
                      <a:pt x="670" y="107"/>
                    </a:lnTo>
                    <a:lnTo>
                      <a:pt x="672" y="107"/>
                    </a:lnTo>
                    <a:lnTo>
                      <a:pt x="672" y="105"/>
                    </a:lnTo>
                    <a:lnTo>
                      <a:pt x="672" y="103"/>
                    </a:lnTo>
                    <a:lnTo>
                      <a:pt x="674" y="103"/>
                    </a:lnTo>
                    <a:lnTo>
                      <a:pt x="675" y="103"/>
                    </a:lnTo>
                    <a:lnTo>
                      <a:pt x="677" y="103"/>
                    </a:lnTo>
                    <a:lnTo>
                      <a:pt x="677" y="102"/>
                    </a:lnTo>
                    <a:lnTo>
                      <a:pt x="677" y="100"/>
                    </a:lnTo>
                    <a:lnTo>
                      <a:pt x="677" y="102"/>
                    </a:lnTo>
                    <a:lnTo>
                      <a:pt x="679" y="102"/>
                    </a:lnTo>
                    <a:lnTo>
                      <a:pt x="679" y="100"/>
                    </a:lnTo>
                    <a:lnTo>
                      <a:pt x="680" y="100"/>
                    </a:lnTo>
                    <a:lnTo>
                      <a:pt x="682" y="100"/>
                    </a:lnTo>
                    <a:lnTo>
                      <a:pt x="680" y="100"/>
                    </a:lnTo>
                    <a:lnTo>
                      <a:pt x="680" y="98"/>
                    </a:lnTo>
                    <a:lnTo>
                      <a:pt x="682" y="98"/>
                    </a:lnTo>
                    <a:lnTo>
                      <a:pt x="684" y="98"/>
                    </a:lnTo>
                    <a:lnTo>
                      <a:pt x="684" y="100"/>
                    </a:lnTo>
                    <a:lnTo>
                      <a:pt x="686" y="100"/>
                    </a:lnTo>
                    <a:lnTo>
                      <a:pt x="687" y="100"/>
                    </a:lnTo>
                    <a:lnTo>
                      <a:pt x="689" y="100"/>
                    </a:lnTo>
                    <a:lnTo>
                      <a:pt x="689" y="102"/>
                    </a:lnTo>
                    <a:lnTo>
                      <a:pt x="691" y="102"/>
                    </a:lnTo>
                    <a:lnTo>
                      <a:pt x="692" y="102"/>
                    </a:lnTo>
                    <a:lnTo>
                      <a:pt x="694" y="100"/>
                    </a:lnTo>
                    <a:lnTo>
                      <a:pt x="696" y="100"/>
                    </a:lnTo>
                    <a:lnTo>
                      <a:pt x="697" y="100"/>
                    </a:lnTo>
                    <a:lnTo>
                      <a:pt x="699" y="100"/>
                    </a:lnTo>
                    <a:lnTo>
                      <a:pt x="701" y="100"/>
                    </a:lnTo>
                    <a:lnTo>
                      <a:pt x="701" y="102"/>
                    </a:lnTo>
                    <a:lnTo>
                      <a:pt x="701" y="103"/>
                    </a:lnTo>
                    <a:lnTo>
                      <a:pt x="703" y="103"/>
                    </a:lnTo>
                    <a:lnTo>
                      <a:pt x="704" y="103"/>
                    </a:lnTo>
                    <a:lnTo>
                      <a:pt x="706" y="102"/>
                    </a:lnTo>
                    <a:lnTo>
                      <a:pt x="706" y="103"/>
                    </a:lnTo>
                    <a:lnTo>
                      <a:pt x="708" y="103"/>
                    </a:lnTo>
                    <a:lnTo>
                      <a:pt x="709" y="103"/>
                    </a:lnTo>
                    <a:lnTo>
                      <a:pt x="709" y="105"/>
                    </a:lnTo>
                    <a:lnTo>
                      <a:pt x="711" y="105"/>
                    </a:lnTo>
                    <a:lnTo>
                      <a:pt x="711" y="103"/>
                    </a:lnTo>
                    <a:lnTo>
                      <a:pt x="713" y="103"/>
                    </a:lnTo>
                    <a:lnTo>
                      <a:pt x="713" y="102"/>
                    </a:lnTo>
                    <a:lnTo>
                      <a:pt x="714" y="102"/>
                    </a:lnTo>
                    <a:lnTo>
                      <a:pt x="714" y="100"/>
                    </a:lnTo>
                    <a:lnTo>
                      <a:pt x="716" y="100"/>
                    </a:lnTo>
                    <a:lnTo>
                      <a:pt x="718" y="98"/>
                    </a:lnTo>
                    <a:lnTo>
                      <a:pt x="720" y="98"/>
                    </a:lnTo>
                    <a:lnTo>
                      <a:pt x="721" y="98"/>
                    </a:lnTo>
                    <a:lnTo>
                      <a:pt x="721" y="97"/>
                    </a:lnTo>
                    <a:lnTo>
                      <a:pt x="721" y="95"/>
                    </a:lnTo>
                    <a:lnTo>
                      <a:pt x="723" y="95"/>
                    </a:lnTo>
                    <a:lnTo>
                      <a:pt x="721" y="95"/>
                    </a:lnTo>
                    <a:lnTo>
                      <a:pt x="723" y="95"/>
                    </a:lnTo>
                    <a:lnTo>
                      <a:pt x="723" y="93"/>
                    </a:lnTo>
                    <a:lnTo>
                      <a:pt x="725" y="93"/>
                    </a:lnTo>
                    <a:lnTo>
                      <a:pt x="725" y="92"/>
                    </a:lnTo>
                    <a:lnTo>
                      <a:pt x="725" y="90"/>
                    </a:lnTo>
                    <a:lnTo>
                      <a:pt x="725" y="88"/>
                    </a:lnTo>
                    <a:lnTo>
                      <a:pt x="725" y="86"/>
                    </a:lnTo>
                    <a:lnTo>
                      <a:pt x="726" y="86"/>
                    </a:lnTo>
                    <a:lnTo>
                      <a:pt x="726" y="85"/>
                    </a:lnTo>
                    <a:lnTo>
                      <a:pt x="726" y="83"/>
                    </a:lnTo>
                    <a:lnTo>
                      <a:pt x="728" y="83"/>
                    </a:lnTo>
                    <a:lnTo>
                      <a:pt x="728" y="81"/>
                    </a:lnTo>
                    <a:lnTo>
                      <a:pt x="728" y="80"/>
                    </a:lnTo>
                    <a:lnTo>
                      <a:pt x="730" y="80"/>
                    </a:lnTo>
                    <a:lnTo>
                      <a:pt x="730" y="78"/>
                    </a:lnTo>
                    <a:lnTo>
                      <a:pt x="730" y="76"/>
                    </a:lnTo>
                    <a:lnTo>
                      <a:pt x="731" y="76"/>
                    </a:lnTo>
                    <a:lnTo>
                      <a:pt x="731" y="75"/>
                    </a:lnTo>
                    <a:lnTo>
                      <a:pt x="731" y="73"/>
                    </a:lnTo>
                    <a:lnTo>
                      <a:pt x="731" y="71"/>
                    </a:lnTo>
                    <a:lnTo>
                      <a:pt x="733" y="71"/>
                    </a:lnTo>
                    <a:lnTo>
                      <a:pt x="733" y="69"/>
                    </a:lnTo>
                    <a:lnTo>
                      <a:pt x="733" y="68"/>
                    </a:lnTo>
                    <a:lnTo>
                      <a:pt x="735" y="68"/>
                    </a:lnTo>
                    <a:lnTo>
                      <a:pt x="737" y="68"/>
                    </a:lnTo>
                    <a:lnTo>
                      <a:pt x="737" y="66"/>
                    </a:lnTo>
                    <a:lnTo>
                      <a:pt x="737" y="64"/>
                    </a:lnTo>
                    <a:lnTo>
                      <a:pt x="738" y="64"/>
                    </a:lnTo>
                    <a:lnTo>
                      <a:pt x="738" y="63"/>
                    </a:lnTo>
                    <a:lnTo>
                      <a:pt x="738" y="61"/>
                    </a:lnTo>
                    <a:lnTo>
                      <a:pt x="740" y="61"/>
                    </a:lnTo>
                    <a:lnTo>
                      <a:pt x="740" y="59"/>
                    </a:lnTo>
                    <a:lnTo>
                      <a:pt x="742" y="59"/>
                    </a:lnTo>
                    <a:lnTo>
                      <a:pt x="742" y="58"/>
                    </a:lnTo>
                    <a:lnTo>
                      <a:pt x="742" y="56"/>
                    </a:lnTo>
                    <a:lnTo>
                      <a:pt x="743" y="56"/>
                    </a:lnTo>
                    <a:lnTo>
                      <a:pt x="743" y="54"/>
                    </a:lnTo>
                    <a:lnTo>
                      <a:pt x="743" y="52"/>
                    </a:lnTo>
                    <a:lnTo>
                      <a:pt x="745" y="52"/>
                    </a:lnTo>
                    <a:lnTo>
                      <a:pt x="745" y="51"/>
                    </a:lnTo>
                    <a:lnTo>
                      <a:pt x="747" y="49"/>
                    </a:lnTo>
                    <a:lnTo>
                      <a:pt x="748" y="47"/>
                    </a:lnTo>
                    <a:lnTo>
                      <a:pt x="750" y="47"/>
                    </a:lnTo>
                    <a:lnTo>
                      <a:pt x="750" y="46"/>
                    </a:lnTo>
                    <a:lnTo>
                      <a:pt x="750" y="44"/>
                    </a:lnTo>
                    <a:lnTo>
                      <a:pt x="752" y="42"/>
                    </a:lnTo>
                    <a:lnTo>
                      <a:pt x="754" y="42"/>
                    </a:lnTo>
                    <a:lnTo>
                      <a:pt x="754" y="41"/>
                    </a:lnTo>
                    <a:lnTo>
                      <a:pt x="755" y="41"/>
                    </a:lnTo>
                    <a:lnTo>
                      <a:pt x="755" y="39"/>
                    </a:lnTo>
                    <a:lnTo>
                      <a:pt x="755" y="37"/>
                    </a:lnTo>
                    <a:lnTo>
                      <a:pt x="757" y="37"/>
                    </a:lnTo>
                    <a:lnTo>
                      <a:pt x="755" y="35"/>
                    </a:lnTo>
                    <a:lnTo>
                      <a:pt x="757" y="35"/>
                    </a:lnTo>
                    <a:lnTo>
                      <a:pt x="757" y="34"/>
                    </a:lnTo>
                    <a:lnTo>
                      <a:pt x="757" y="35"/>
                    </a:lnTo>
                    <a:lnTo>
                      <a:pt x="759" y="37"/>
                    </a:lnTo>
                    <a:lnTo>
                      <a:pt x="759" y="39"/>
                    </a:lnTo>
                    <a:lnTo>
                      <a:pt x="759" y="41"/>
                    </a:lnTo>
                    <a:lnTo>
                      <a:pt x="760" y="41"/>
                    </a:lnTo>
                    <a:lnTo>
                      <a:pt x="760" y="42"/>
                    </a:lnTo>
                    <a:lnTo>
                      <a:pt x="760" y="44"/>
                    </a:lnTo>
                    <a:lnTo>
                      <a:pt x="762" y="44"/>
                    </a:lnTo>
                    <a:lnTo>
                      <a:pt x="760" y="44"/>
                    </a:lnTo>
                    <a:lnTo>
                      <a:pt x="760" y="42"/>
                    </a:lnTo>
                    <a:lnTo>
                      <a:pt x="760" y="41"/>
                    </a:lnTo>
                    <a:lnTo>
                      <a:pt x="760" y="39"/>
                    </a:lnTo>
                    <a:lnTo>
                      <a:pt x="759" y="39"/>
                    </a:lnTo>
                    <a:lnTo>
                      <a:pt x="759" y="37"/>
                    </a:lnTo>
                    <a:lnTo>
                      <a:pt x="759" y="35"/>
                    </a:lnTo>
                    <a:lnTo>
                      <a:pt x="759" y="34"/>
                    </a:lnTo>
                    <a:lnTo>
                      <a:pt x="757" y="34"/>
                    </a:lnTo>
                    <a:lnTo>
                      <a:pt x="757" y="32"/>
                    </a:lnTo>
                    <a:lnTo>
                      <a:pt x="757" y="30"/>
                    </a:lnTo>
                    <a:lnTo>
                      <a:pt x="757" y="29"/>
                    </a:lnTo>
                    <a:lnTo>
                      <a:pt x="759" y="29"/>
                    </a:lnTo>
                    <a:lnTo>
                      <a:pt x="759" y="27"/>
                    </a:lnTo>
                    <a:lnTo>
                      <a:pt x="760" y="29"/>
                    </a:lnTo>
                    <a:lnTo>
                      <a:pt x="762" y="29"/>
                    </a:lnTo>
                    <a:lnTo>
                      <a:pt x="762" y="30"/>
                    </a:lnTo>
                    <a:lnTo>
                      <a:pt x="764" y="30"/>
                    </a:lnTo>
                    <a:lnTo>
                      <a:pt x="764" y="32"/>
                    </a:lnTo>
                    <a:lnTo>
                      <a:pt x="765" y="32"/>
                    </a:lnTo>
                    <a:lnTo>
                      <a:pt x="765" y="34"/>
                    </a:lnTo>
                    <a:lnTo>
                      <a:pt x="767" y="34"/>
                    </a:lnTo>
                    <a:lnTo>
                      <a:pt x="767" y="35"/>
                    </a:lnTo>
                    <a:lnTo>
                      <a:pt x="769" y="37"/>
                    </a:lnTo>
                    <a:lnTo>
                      <a:pt x="769" y="39"/>
                    </a:lnTo>
                    <a:lnTo>
                      <a:pt x="771" y="39"/>
                    </a:lnTo>
                    <a:lnTo>
                      <a:pt x="771" y="41"/>
                    </a:lnTo>
                    <a:lnTo>
                      <a:pt x="771" y="42"/>
                    </a:lnTo>
                    <a:lnTo>
                      <a:pt x="771" y="44"/>
                    </a:lnTo>
                    <a:lnTo>
                      <a:pt x="771" y="46"/>
                    </a:lnTo>
                    <a:lnTo>
                      <a:pt x="771" y="47"/>
                    </a:lnTo>
                    <a:lnTo>
                      <a:pt x="771" y="49"/>
                    </a:lnTo>
                    <a:lnTo>
                      <a:pt x="771" y="51"/>
                    </a:lnTo>
                    <a:lnTo>
                      <a:pt x="771" y="52"/>
                    </a:lnTo>
                    <a:lnTo>
                      <a:pt x="769" y="54"/>
                    </a:lnTo>
                    <a:lnTo>
                      <a:pt x="771" y="52"/>
                    </a:lnTo>
                    <a:lnTo>
                      <a:pt x="771" y="51"/>
                    </a:lnTo>
                    <a:lnTo>
                      <a:pt x="771" y="49"/>
                    </a:lnTo>
                    <a:lnTo>
                      <a:pt x="771" y="47"/>
                    </a:lnTo>
                    <a:lnTo>
                      <a:pt x="772" y="47"/>
                    </a:lnTo>
                    <a:lnTo>
                      <a:pt x="772" y="46"/>
                    </a:lnTo>
                    <a:lnTo>
                      <a:pt x="774" y="46"/>
                    </a:lnTo>
                    <a:lnTo>
                      <a:pt x="774" y="47"/>
                    </a:lnTo>
                    <a:lnTo>
                      <a:pt x="774" y="49"/>
                    </a:lnTo>
                    <a:lnTo>
                      <a:pt x="774" y="51"/>
                    </a:lnTo>
                    <a:lnTo>
                      <a:pt x="774" y="52"/>
                    </a:lnTo>
                    <a:lnTo>
                      <a:pt x="774" y="54"/>
                    </a:lnTo>
                    <a:lnTo>
                      <a:pt x="774" y="56"/>
                    </a:lnTo>
                    <a:lnTo>
                      <a:pt x="774" y="58"/>
                    </a:lnTo>
                    <a:lnTo>
                      <a:pt x="774" y="59"/>
                    </a:lnTo>
                    <a:lnTo>
                      <a:pt x="774" y="61"/>
                    </a:lnTo>
                    <a:lnTo>
                      <a:pt x="772" y="61"/>
                    </a:lnTo>
                    <a:lnTo>
                      <a:pt x="774" y="63"/>
                    </a:lnTo>
                    <a:lnTo>
                      <a:pt x="774" y="64"/>
                    </a:lnTo>
                    <a:lnTo>
                      <a:pt x="774" y="66"/>
                    </a:lnTo>
                    <a:lnTo>
                      <a:pt x="774" y="68"/>
                    </a:lnTo>
                    <a:lnTo>
                      <a:pt x="776" y="68"/>
                    </a:lnTo>
                    <a:lnTo>
                      <a:pt x="776" y="69"/>
                    </a:lnTo>
                    <a:lnTo>
                      <a:pt x="776" y="71"/>
                    </a:lnTo>
                    <a:lnTo>
                      <a:pt x="776" y="73"/>
                    </a:lnTo>
                    <a:lnTo>
                      <a:pt x="776" y="75"/>
                    </a:lnTo>
                    <a:lnTo>
                      <a:pt x="776" y="76"/>
                    </a:lnTo>
                    <a:lnTo>
                      <a:pt x="777" y="76"/>
                    </a:lnTo>
                    <a:lnTo>
                      <a:pt x="777" y="78"/>
                    </a:lnTo>
                    <a:lnTo>
                      <a:pt x="777" y="80"/>
                    </a:lnTo>
                    <a:lnTo>
                      <a:pt x="779" y="81"/>
                    </a:lnTo>
                    <a:lnTo>
                      <a:pt x="777" y="81"/>
                    </a:lnTo>
                    <a:lnTo>
                      <a:pt x="779" y="83"/>
                    </a:lnTo>
                    <a:lnTo>
                      <a:pt x="779" y="85"/>
                    </a:lnTo>
                    <a:lnTo>
                      <a:pt x="781" y="85"/>
                    </a:lnTo>
                    <a:lnTo>
                      <a:pt x="781" y="86"/>
                    </a:lnTo>
                    <a:lnTo>
                      <a:pt x="781" y="88"/>
                    </a:lnTo>
                    <a:lnTo>
                      <a:pt x="782" y="88"/>
                    </a:lnTo>
                    <a:lnTo>
                      <a:pt x="782" y="90"/>
                    </a:lnTo>
                    <a:lnTo>
                      <a:pt x="782" y="92"/>
                    </a:lnTo>
                    <a:lnTo>
                      <a:pt x="782" y="93"/>
                    </a:lnTo>
                    <a:lnTo>
                      <a:pt x="781" y="93"/>
                    </a:lnTo>
                    <a:lnTo>
                      <a:pt x="782" y="93"/>
                    </a:lnTo>
                    <a:lnTo>
                      <a:pt x="784" y="93"/>
                    </a:lnTo>
                    <a:lnTo>
                      <a:pt x="784" y="95"/>
                    </a:lnTo>
                    <a:lnTo>
                      <a:pt x="784" y="97"/>
                    </a:lnTo>
                    <a:lnTo>
                      <a:pt x="784" y="98"/>
                    </a:lnTo>
                    <a:lnTo>
                      <a:pt x="786" y="98"/>
                    </a:lnTo>
                    <a:lnTo>
                      <a:pt x="786" y="100"/>
                    </a:lnTo>
                    <a:lnTo>
                      <a:pt x="786" y="102"/>
                    </a:lnTo>
                    <a:lnTo>
                      <a:pt x="786" y="103"/>
                    </a:lnTo>
                    <a:lnTo>
                      <a:pt x="788" y="103"/>
                    </a:lnTo>
                    <a:lnTo>
                      <a:pt x="788" y="105"/>
                    </a:lnTo>
                    <a:lnTo>
                      <a:pt x="786" y="105"/>
                    </a:lnTo>
                    <a:lnTo>
                      <a:pt x="786" y="107"/>
                    </a:lnTo>
                    <a:lnTo>
                      <a:pt x="784" y="107"/>
                    </a:lnTo>
                    <a:lnTo>
                      <a:pt x="786" y="107"/>
                    </a:lnTo>
                    <a:lnTo>
                      <a:pt x="788" y="105"/>
                    </a:lnTo>
                    <a:lnTo>
                      <a:pt x="788" y="107"/>
                    </a:lnTo>
                    <a:lnTo>
                      <a:pt x="789" y="107"/>
                    </a:lnTo>
                    <a:lnTo>
                      <a:pt x="791" y="109"/>
                    </a:lnTo>
                    <a:lnTo>
                      <a:pt x="789" y="109"/>
                    </a:lnTo>
                    <a:lnTo>
                      <a:pt x="789" y="110"/>
                    </a:lnTo>
                    <a:lnTo>
                      <a:pt x="791" y="110"/>
                    </a:lnTo>
                    <a:lnTo>
                      <a:pt x="791" y="112"/>
                    </a:lnTo>
                    <a:lnTo>
                      <a:pt x="793" y="112"/>
                    </a:lnTo>
                    <a:lnTo>
                      <a:pt x="793" y="114"/>
                    </a:lnTo>
                    <a:lnTo>
                      <a:pt x="794" y="115"/>
                    </a:lnTo>
                    <a:lnTo>
                      <a:pt x="794" y="117"/>
                    </a:lnTo>
                    <a:lnTo>
                      <a:pt x="796" y="117"/>
                    </a:lnTo>
                    <a:lnTo>
                      <a:pt x="798" y="117"/>
                    </a:lnTo>
                    <a:lnTo>
                      <a:pt x="799" y="117"/>
                    </a:lnTo>
                    <a:lnTo>
                      <a:pt x="801" y="117"/>
                    </a:lnTo>
                    <a:lnTo>
                      <a:pt x="803" y="117"/>
                    </a:lnTo>
                    <a:lnTo>
                      <a:pt x="805" y="117"/>
                    </a:lnTo>
                    <a:lnTo>
                      <a:pt x="806" y="117"/>
                    </a:lnTo>
                    <a:lnTo>
                      <a:pt x="808" y="117"/>
                    </a:lnTo>
                    <a:lnTo>
                      <a:pt x="810" y="119"/>
                    </a:lnTo>
                    <a:lnTo>
                      <a:pt x="811" y="119"/>
                    </a:lnTo>
                    <a:lnTo>
                      <a:pt x="813" y="120"/>
                    </a:lnTo>
                    <a:lnTo>
                      <a:pt x="813" y="122"/>
                    </a:lnTo>
                    <a:lnTo>
                      <a:pt x="813" y="124"/>
                    </a:lnTo>
                    <a:lnTo>
                      <a:pt x="813" y="126"/>
                    </a:lnTo>
                    <a:lnTo>
                      <a:pt x="813" y="127"/>
                    </a:lnTo>
                    <a:lnTo>
                      <a:pt x="815" y="127"/>
                    </a:lnTo>
                    <a:lnTo>
                      <a:pt x="815" y="129"/>
                    </a:lnTo>
                    <a:lnTo>
                      <a:pt x="815" y="131"/>
                    </a:lnTo>
                    <a:lnTo>
                      <a:pt x="815" y="132"/>
                    </a:lnTo>
                    <a:lnTo>
                      <a:pt x="813" y="134"/>
                    </a:lnTo>
                    <a:lnTo>
                      <a:pt x="813" y="136"/>
                    </a:lnTo>
                    <a:lnTo>
                      <a:pt x="811" y="136"/>
                    </a:lnTo>
                    <a:lnTo>
                      <a:pt x="810" y="136"/>
                    </a:lnTo>
                    <a:lnTo>
                      <a:pt x="808" y="136"/>
                    </a:lnTo>
                    <a:lnTo>
                      <a:pt x="806" y="136"/>
                    </a:lnTo>
                    <a:lnTo>
                      <a:pt x="806" y="137"/>
                    </a:lnTo>
                    <a:lnTo>
                      <a:pt x="806" y="136"/>
                    </a:lnTo>
                    <a:lnTo>
                      <a:pt x="806" y="134"/>
                    </a:lnTo>
                    <a:lnTo>
                      <a:pt x="806" y="132"/>
                    </a:lnTo>
                    <a:lnTo>
                      <a:pt x="805" y="132"/>
                    </a:lnTo>
                    <a:lnTo>
                      <a:pt x="803" y="132"/>
                    </a:lnTo>
                    <a:lnTo>
                      <a:pt x="801" y="132"/>
                    </a:lnTo>
                    <a:lnTo>
                      <a:pt x="801" y="134"/>
                    </a:lnTo>
                    <a:lnTo>
                      <a:pt x="803" y="132"/>
                    </a:lnTo>
                    <a:lnTo>
                      <a:pt x="805" y="132"/>
                    </a:lnTo>
                    <a:lnTo>
                      <a:pt x="806" y="132"/>
                    </a:lnTo>
                    <a:lnTo>
                      <a:pt x="806" y="134"/>
                    </a:lnTo>
                    <a:lnTo>
                      <a:pt x="805" y="136"/>
                    </a:lnTo>
                    <a:lnTo>
                      <a:pt x="805" y="137"/>
                    </a:lnTo>
                    <a:lnTo>
                      <a:pt x="806" y="137"/>
                    </a:lnTo>
                    <a:lnTo>
                      <a:pt x="808" y="137"/>
                    </a:lnTo>
                    <a:lnTo>
                      <a:pt x="810" y="137"/>
                    </a:lnTo>
                    <a:lnTo>
                      <a:pt x="811" y="137"/>
                    </a:lnTo>
                    <a:lnTo>
                      <a:pt x="811" y="136"/>
                    </a:lnTo>
                    <a:lnTo>
                      <a:pt x="813" y="136"/>
                    </a:lnTo>
                    <a:lnTo>
                      <a:pt x="813" y="137"/>
                    </a:lnTo>
                    <a:lnTo>
                      <a:pt x="815" y="137"/>
                    </a:lnTo>
                    <a:lnTo>
                      <a:pt x="815" y="139"/>
                    </a:lnTo>
                    <a:lnTo>
                      <a:pt x="813" y="139"/>
                    </a:lnTo>
                    <a:lnTo>
                      <a:pt x="813" y="141"/>
                    </a:lnTo>
                    <a:lnTo>
                      <a:pt x="811" y="141"/>
                    </a:lnTo>
                    <a:lnTo>
                      <a:pt x="810" y="143"/>
                    </a:lnTo>
                    <a:lnTo>
                      <a:pt x="808" y="143"/>
                    </a:lnTo>
                    <a:lnTo>
                      <a:pt x="808" y="144"/>
                    </a:lnTo>
                    <a:lnTo>
                      <a:pt x="806" y="144"/>
                    </a:lnTo>
                    <a:lnTo>
                      <a:pt x="806" y="146"/>
                    </a:lnTo>
                    <a:lnTo>
                      <a:pt x="805" y="146"/>
                    </a:lnTo>
                    <a:lnTo>
                      <a:pt x="805" y="148"/>
                    </a:lnTo>
                    <a:lnTo>
                      <a:pt x="803" y="148"/>
                    </a:lnTo>
                    <a:lnTo>
                      <a:pt x="801" y="148"/>
                    </a:lnTo>
                    <a:lnTo>
                      <a:pt x="801" y="149"/>
                    </a:lnTo>
                    <a:lnTo>
                      <a:pt x="799" y="149"/>
                    </a:lnTo>
                    <a:lnTo>
                      <a:pt x="799" y="151"/>
                    </a:lnTo>
                    <a:lnTo>
                      <a:pt x="799" y="153"/>
                    </a:lnTo>
                    <a:lnTo>
                      <a:pt x="798" y="153"/>
                    </a:lnTo>
                    <a:lnTo>
                      <a:pt x="798" y="154"/>
                    </a:lnTo>
                    <a:lnTo>
                      <a:pt x="796" y="154"/>
                    </a:lnTo>
                    <a:lnTo>
                      <a:pt x="794" y="156"/>
                    </a:lnTo>
                    <a:lnTo>
                      <a:pt x="794" y="158"/>
                    </a:lnTo>
                    <a:lnTo>
                      <a:pt x="793" y="158"/>
                    </a:lnTo>
                    <a:lnTo>
                      <a:pt x="793" y="160"/>
                    </a:lnTo>
                    <a:lnTo>
                      <a:pt x="793" y="161"/>
                    </a:lnTo>
                    <a:lnTo>
                      <a:pt x="791" y="161"/>
                    </a:lnTo>
                    <a:lnTo>
                      <a:pt x="791" y="163"/>
                    </a:lnTo>
                    <a:lnTo>
                      <a:pt x="791" y="165"/>
                    </a:lnTo>
                    <a:lnTo>
                      <a:pt x="789" y="165"/>
                    </a:lnTo>
                    <a:lnTo>
                      <a:pt x="789" y="166"/>
                    </a:lnTo>
                    <a:lnTo>
                      <a:pt x="788" y="166"/>
                    </a:lnTo>
                    <a:lnTo>
                      <a:pt x="788" y="168"/>
                    </a:lnTo>
                    <a:lnTo>
                      <a:pt x="786" y="168"/>
                    </a:lnTo>
                    <a:lnTo>
                      <a:pt x="786" y="170"/>
                    </a:lnTo>
                    <a:lnTo>
                      <a:pt x="784" y="170"/>
                    </a:lnTo>
                    <a:lnTo>
                      <a:pt x="784" y="172"/>
                    </a:lnTo>
                    <a:lnTo>
                      <a:pt x="782" y="172"/>
                    </a:lnTo>
                    <a:lnTo>
                      <a:pt x="781" y="172"/>
                    </a:lnTo>
                    <a:lnTo>
                      <a:pt x="779" y="172"/>
                    </a:lnTo>
                    <a:lnTo>
                      <a:pt x="779" y="173"/>
                    </a:lnTo>
                    <a:lnTo>
                      <a:pt x="777" y="173"/>
                    </a:lnTo>
                    <a:lnTo>
                      <a:pt x="776" y="175"/>
                    </a:lnTo>
                    <a:lnTo>
                      <a:pt x="776" y="177"/>
                    </a:lnTo>
                    <a:lnTo>
                      <a:pt x="774" y="177"/>
                    </a:lnTo>
                    <a:lnTo>
                      <a:pt x="774" y="178"/>
                    </a:lnTo>
                    <a:lnTo>
                      <a:pt x="774" y="180"/>
                    </a:lnTo>
                    <a:lnTo>
                      <a:pt x="777" y="182"/>
                    </a:lnTo>
                    <a:lnTo>
                      <a:pt x="777" y="180"/>
                    </a:lnTo>
                    <a:lnTo>
                      <a:pt x="779" y="180"/>
                    </a:lnTo>
                    <a:lnTo>
                      <a:pt x="781" y="180"/>
                    </a:lnTo>
                    <a:lnTo>
                      <a:pt x="782" y="180"/>
                    </a:lnTo>
                    <a:lnTo>
                      <a:pt x="782" y="178"/>
                    </a:lnTo>
                    <a:lnTo>
                      <a:pt x="784" y="178"/>
                    </a:lnTo>
                    <a:lnTo>
                      <a:pt x="786" y="178"/>
                    </a:lnTo>
                    <a:lnTo>
                      <a:pt x="788" y="178"/>
                    </a:lnTo>
                    <a:lnTo>
                      <a:pt x="788" y="180"/>
                    </a:lnTo>
                    <a:lnTo>
                      <a:pt x="789" y="180"/>
                    </a:lnTo>
                    <a:lnTo>
                      <a:pt x="789" y="182"/>
                    </a:lnTo>
                    <a:lnTo>
                      <a:pt x="788" y="182"/>
                    </a:lnTo>
                    <a:lnTo>
                      <a:pt x="788" y="183"/>
                    </a:lnTo>
                    <a:lnTo>
                      <a:pt x="786" y="183"/>
                    </a:lnTo>
                    <a:lnTo>
                      <a:pt x="784" y="185"/>
                    </a:lnTo>
                    <a:lnTo>
                      <a:pt x="782" y="185"/>
                    </a:lnTo>
                    <a:lnTo>
                      <a:pt x="782" y="187"/>
                    </a:lnTo>
                    <a:lnTo>
                      <a:pt x="781" y="187"/>
                    </a:lnTo>
                    <a:lnTo>
                      <a:pt x="779" y="189"/>
                    </a:lnTo>
                    <a:lnTo>
                      <a:pt x="777" y="190"/>
                    </a:lnTo>
                    <a:lnTo>
                      <a:pt x="776" y="190"/>
                    </a:lnTo>
                    <a:lnTo>
                      <a:pt x="777" y="192"/>
                    </a:lnTo>
                    <a:lnTo>
                      <a:pt x="777" y="190"/>
                    </a:lnTo>
                    <a:lnTo>
                      <a:pt x="779" y="190"/>
                    </a:lnTo>
                    <a:lnTo>
                      <a:pt x="781" y="190"/>
                    </a:lnTo>
                    <a:lnTo>
                      <a:pt x="782" y="190"/>
                    </a:lnTo>
                    <a:lnTo>
                      <a:pt x="782" y="192"/>
                    </a:lnTo>
                    <a:lnTo>
                      <a:pt x="782" y="190"/>
                    </a:lnTo>
                    <a:lnTo>
                      <a:pt x="784" y="190"/>
                    </a:lnTo>
                    <a:lnTo>
                      <a:pt x="784" y="192"/>
                    </a:lnTo>
                    <a:lnTo>
                      <a:pt x="784" y="194"/>
                    </a:lnTo>
                    <a:lnTo>
                      <a:pt x="782" y="194"/>
                    </a:lnTo>
                    <a:lnTo>
                      <a:pt x="782" y="195"/>
                    </a:lnTo>
                    <a:lnTo>
                      <a:pt x="781" y="195"/>
                    </a:lnTo>
                    <a:lnTo>
                      <a:pt x="779" y="195"/>
                    </a:lnTo>
                    <a:lnTo>
                      <a:pt x="779" y="197"/>
                    </a:lnTo>
                    <a:lnTo>
                      <a:pt x="777" y="197"/>
                    </a:lnTo>
                    <a:lnTo>
                      <a:pt x="776" y="197"/>
                    </a:lnTo>
                    <a:lnTo>
                      <a:pt x="776" y="199"/>
                    </a:lnTo>
                    <a:lnTo>
                      <a:pt x="776" y="200"/>
                    </a:lnTo>
                    <a:lnTo>
                      <a:pt x="774" y="200"/>
                    </a:lnTo>
                    <a:lnTo>
                      <a:pt x="776" y="200"/>
                    </a:lnTo>
                    <a:lnTo>
                      <a:pt x="777" y="199"/>
                    </a:lnTo>
                    <a:lnTo>
                      <a:pt x="779" y="197"/>
                    </a:lnTo>
                    <a:lnTo>
                      <a:pt x="781" y="197"/>
                    </a:lnTo>
                    <a:lnTo>
                      <a:pt x="782" y="197"/>
                    </a:lnTo>
                    <a:lnTo>
                      <a:pt x="782" y="199"/>
                    </a:lnTo>
                    <a:lnTo>
                      <a:pt x="782" y="200"/>
                    </a:lnTo>
                    <a:lnTo>
                      <a:pt x="782" y="202"/>
                    </a:lnTo>
                    <a:lnTo>
                      <a:pt x="782" y="204"/>
                    </a:lnTo>
                    <a:lnTo>
                      <a:pt x="784" y="204"/>
                    </a:lnTo>
                    <a:lnTo>
                      <a:pt x="784" y="202"/>
                    </a:lnTo>
                    <a:lnTo>
                      <a:pt x="784" y="200"/>
                    </a:lnTo>
                    <a:lnTo>
                      <a:pt x="784" y="199"/>
                    </a:lnTo>
                    <a:lnTo>
                      <a:pt x="784" y="197"/>
                    </a:lnTo>
                    <a:lnTo>
                      <a:pt x="786" y="197"/>
                    </a:lnTo>
                    <a:lnTo>
                      <a:pt x="786" y="195"/>
                    </a:lnTo>
                    <a:lnTo>
                      <a:pt x="786" y="194"/>
                    </a:lnTo>
                    <a:lnTo>
                      <a:pt x="786" y="192"/>
                    </a:lnTo>
                    <a:lnTo>
                      <a:pt x="786" y="190"/>
                    </a:lnTo>
                    <a:lnTo>
                      <a:pt x="788" y="190"/>
                    </a:lnTo>
                    <a:lnTo>
                      <a:pt x="788" y="189"/>
                    </a:lnTo>
                    <a:lnTo>
                      <a:pt x="788" y="187"/>
                    </a:lnTo>
                    <a:lnTo>
                      <a:pt x="789" y="187"/>
                    </a:lnTo>
                    <a:lnTo>
                      <a:pt x="789" y="185"/>
                    </a:lnTo>
                    <a:lnTo>
                      <a:pt x="791" y="185"/>
                    </a:lnTo>
                    <a:lnTo>
                      <a:pt x="791" y="183"/>
                    </a:lnTo>
                    <a:lnTo>
                      <a:pt x="793" y="183"/>
                    </a:lnTo>
                    <a:lnTo>
                      <a:pt x="794" y="183"/>
                    </a:lnTo>
                    <a:lnTo>
                      <a:pt x="794" y="182"/>
                    </a:lnTo>
                    <a:lnTo>
                      <a:pt x="796" y="182"/>
                    </a:lnTo>
                    <a:lnTo>
                      <a:pt x="798" y="182"/>
                    </a:lnTo>
                    <a:lnTo>
                      <a:pt x="799" y="182"/>
                    </a:lnTo>
                    <a:lnTo>
                      <a:pt x="801" y="182"/>
                    </a:lnTo>
                    <a:lnTo>
                      <a:pt x="803" y="182"/>
                    </a:lnTo>
                    <a:lnTo>
                      <a:pt x="805" y="182"/>
                    </a:lnTo>
                    <a:lnTo>
                      <a:pt x="806" y="182"/>
                    </a:lnTo>
                    <a:lnTo>
                      <a:pt x="806" y="183"/>
                    </a:lnTo>
                    <a:lnTo>
                      <a:pt x="808" y="183"/>
                    </a:lnTo>
                    <a:lnTo>
                      <a:pt x="810" y="183"/>
                    </a:lnTo>
                    <a:lnTo>
                      <a:pt x="811" y="183"/>
                    </a:lnTo>
                    <a:lnTo>
                      <a:pt x="813" y="183"/>
                    </a:lnTo>
                    <a:lnTo>
                      <a:pt x="815" y="183"/>
                    </a:lnTo>
                    <a:lnTo>
                      <a:pt x="815" y="185"/>
                    </a:lnTo>
                    <a:lnTo>
                      <a:pt x="816" y="185"/>
                    </a:lnTo>
                    <a:lnTo>
                      <a:pt x="818" y="185"/>
                    </a:lnTo>
                    <a:lnTo>
                      <a:pt x="820" y="185"/>
                    </a:lnTo>
                    <a:lnTo>
                      <a:pt x="822" y="185"/>
                    </a:lnTo>
                    <a:lnTo>
                      <a:pt x="823" y="187"/>
                    </a:lnTo>
                    <a:lnTo>
                      <a:pt x="823" y="185"/>
                    </a:lnTo>
                    <a:lnTo>
                      <a:pt x="825" y="185"/>
                    </a:lnTo>
                    <a:lnTo>
                      <a:pt x="827" y="185"/>
                    </a:lnTo>
                    <a:lnTo>
                      <a:pt x="828" y="185"/>
                    </a:lnTo>
                    <a:lnTo>
                      <a:pt x="830" y="185"/>
                    </a:lnTo>
                    <a:lnTo>
                      <a:pt x="830" y="183"/>
                    </a:lnTo>
                    <a:lnTo>
                      <a:pt x="832" y="183"/>
                    </a:lnTo>
                    <a:lnTo>
                      <a:pt x="833" y="183"/>
                    </a:lnTo>
                    <a:lnTo>
                      <a:pt x="835" y="183"/>
                    </a:lnTo>
                    <a:lnTo>
                      <a:pt x="837" y="183"/>
                    </a:lnTo>
                    <a:lnTo>
                      <a:pt x="837" y="182"/>
                    </a:lnTo>
                    <a:lnTo>
                      <a:pt x="839" y="183"/>
                    </a:lnTo>
                    <a:lnTo>
                      <a:pt x="840" y="183"/>
                    </a:lnTo>
                    <a:lnTo>
                      <a:pt x="842" y="183"/>
                    </a:lnTo>
                    <a:lnTo>
                      <a:pt x="844" y="183"/>
                    </a:lnTo>
                    <a:lnTo>
                      <a:pt x="845" y="185"/>
                    </a:lnTo>
                    <a:lnTo>
                      <a:pt x="847" y="185"/>
                    </a:lnTo>
                    <a:lnTo>
                      <a:pt x="849" y="185"/>
                    </a:lnTo>
                    <a:lnTo>
                      <a:pt x="850" y="185"/>
                    </a:lnTo>
                    <a:lnTo>
                      <a:pt x="852" y="185"/>
                    </a:lnTo>
                    <a:lnTo>
                      <a:pt x="852" y="187"/>
                    </a:lnTo>
                    <a:lnTo>
                      <a:pt x="854" y="187"/>
                    </a:lnTo>
                    <a:lnTo>
                      <a:pt x="856" y="187"/>
                    </a:lnTo>
                    <a:lnTo>
                      <a:pt x="856" y="185"/>
                    </a:lnTo>
                    <a:lnTo>
                      <a:pt x="857" y="185"/>
                    </a:lnTo>
                    <a:lnTo>
                      <a:pt x="859" y="185"/>
                    </a:lnTo>
                    <a:lnTo>
                      <a:pt x="861" y="185"/>
                    </a:lnTo>
                    <a:lnTo>
                      <a:pt x="861" y="187"/>
                    </a:lnTo>
                    <a:lnTo>
                      <a:pt x="861" y="185"/>
                    </a:lnTo>
                    <a:lnTo>
                      <a:pt x="862" y="185"/>
                    </a:lnTo>
                    <a:lnTo>
                      <a:pt x="864" y="187"/>
                    </a:lnTo>
                    <a:lnTo>
                      <a:pt x="866" y="187"/>
                    </a:lnTo>
                    <a:lnTo>
                      <a:pt x="866" y="189"/>
                    </a:lnTo>
                    <a:lnTo>
                      <a:pt x="864" y="189"/>
                    </a:lnTo>
                    <a:lnTo>
                      <a:pt x="864" y="190"/>
                    </a:lnTo>
                    <a:lnTo>
                      <a:pt x="864" y="192"/>
                    </a:lnTo>
                    <a:lnTo>
                      <a:pt x="862" y="192"/>
                    </a:lnTo>
                    <a:lnTo>
                      <a:pt x="862" y="194"/>
                    </a:lnTo>
                    <a:lnTo>
                      <a:pt x="862" y="195"/>
                    </a:lnTo>
                    <a:lnTo>
                      <a:pt x="862" y="197"/>
                    </a:lnTo>
                    <a:lnTo>
                      <a:pt x="862" y="199"/>
                    </a:lnTo>
                    <a:lnTo>
                      <a:pt x="861" y="199"/>
                    </a:lnTo>
                    <a:lnTo>
                      <a:pt x="862" y="199"/>
                    </a:lnTo>
                    <a:lnTo>
                      <a:pt x="861" y="200"/>
                    </a:lnTo>
                    <a:lnTo>
                      <a:pt x="862" y="200"/>
                    </a:lnTo>
                    <a:lnTo>
                      <a:pt x="861" y="200"/>
                    </a:lnTo>
                    <a:lnTo>
                      <a:pt x="861" y="202"/>
                    </a:lnTo>
                    <a:lnTo>
                      <a:pt x="861" y="204"/>
                    </a:lnTo>
                    <a:lnTo>
                      <a:pt x="861" y="206"/>
                    </a:lnTo>
                    <a:lnTo>
                      <a:pt x="861" y="207"/>
                    </a:lnTo>
                    <a:lnTo>
                      <a:pt x="861" y="209"/>
                    </a:lnTo>
                    <a:lnTo>
                      <a:pt x="859" y="209"/>
                    </a:lnTo>
                    <a:lnTo>
                      <a:pt x="857" y="211"/>
                    </a:lnTo>
                    <a:lnTo>
                      <a:pt x="856" y="212"/>
                    </a:lnTo>
                    <a:lnTo>
                      <a:pt x="857" y="212"/>
                    </a:lnTo>
                    <a:lnTo>
                      <a:pt x="857" y="214"/>
                    </a:lnTo>
                    <a:lnTo>
                      <a:pt x="856" y="214"/>
                    </a:lnTo>
                    <a:lnTo>
                      <a:pt x="856" y="216"/>
                    </a:lnTo>
                    <a:lnTo>
                      <a:pt x="854" y="216"/>
                    </a:lnTo>
                    <a:lnTo>
                      <a:pt x="854" y="217"/>
                    </a:lnTo>
                    <a:lnTo>
                      <a:pt x="852" y="217"/>
                    </a:lnTo>
                    <a:lnTo>
                      <a:pt x="852" y="219"/>
                    </a:lnTo>
                    <a:lnTo>
                      <a:pt x="852" y="221"/>
                    </a:lnTo>
                    <a:lnTo>
                      <a:pt x="850" y="221"/>
                    </a:lnTo>
                    <a:lnTo>
                      <a:pt x="850" y="223"/>
                    </a:lnTo>
                    <a:lnTo>
                      <a:pt x="850" y="224"/>
                    </a:lnTo>
                    <a:lnTo>
                      <a:pt x="850" y="226"/>
                    </a:lnTo>
                    <a:lnTo>
                      <a:pt x="850" y="228"/>
                    </a:lnTo>
                    <a:lnTo>
                      <a:pt x="849" y="228"/>
                    </a:lnTo>
                    <a:lnTo>
                      <a:pt x="847" y="228"/>
                    </a:lnTo>
                    <a:lnTo>
                      <a:pt x="847" y="229"/>
                    </a:lnTo>
                    <a:lnTo>
                      <a:pt x="847" y="231"/>
                    </a:lnTo>
                    <a:lnTo>
                      <a:pt x="847" y="233"/>
                    </a:lnTo>
                    <a:lnTo>
                      <a:pt x="847" y="234"/>
                    </a:lnTo>
                    <a:lnTo>
                      <a:pt x="845" y="234"/>
                    </a:lnTo>
                    <a:lnTo>
                      <a:pt x="845" y="236"/>
                    </a:lnTo>
                    <a:lnTo>
                      <a:pt x="847" y="236"/>
                    </a:lnTo>
                    <a:lnTo>
                      <a:pt x="845" y="238"/>
                    </a:lnTo>
                    <a:lnTo>
                      <a:pt x="844" y="238"/>
                    </a:lnTo>
                    <a:lnTo>
                      <a:pt x="844" y="240"/>
                    </a:lnTo>
                    <a:lnTo>
                      <a:pt x="842" y="241"/>
                    </a:lnTo>
                    <a:lnTo>
                      <a:pt x="842" y="240"/>
                    </a:lnTo>
                    <a:lnTo>
                      <a:pt x="842" y="241"/>
                    </a:lnTo>
                    <a:lnTo>
                      <a:pt x="844" y="240"/>
                    </a:lnTo>
                    <a:lnTo>
                      <a:pt x="845" y="240"/>
                    </a:lnTo>
                    <a:lnTo>
                      <a:pt x="845" y="238"/>
                    </a:lnTo>
                    <a:lnTo>
                      <a:pt x="847" y="238"/>
                    </a:lnTo>
                    <a:lnTo>
                      <a:pt x="847" y="236"/>
                    </a:lnTo>
                    <a:lnTo>
                      <a:pt x="849" y="236"/>
                    </a:lnTo>
                    <a:lnTo>
                      <a:pt x="849" y="234"/>
                    </a:lnTo>
                    <a:lnTo>
                      <a:pt x="849" y="233"/>
                    </a:lnTo>
                    <a:lnTo>
                      <a:pt x="850" y="233"/>
                    </a:lnTo>
                    <a:lnTo>
                      <a:pt x="850" y="231"/>
                    </a:lnTo>
                    <a:lnTo>
                      <a:pt x="852" y="231"/>
                    </a:lnTo>
                    <a:lnTo>
                      <a:pt x="852" y="229"/>
                    </a:lnTo>
                    <a:lnTo>
                      <a:pt x="854" y="229"/>
                    </a:lnTo>
                    <a:lnTo>
                      <a:pt x="854" y="228"/>
                    </a:lnTo>
                    <a:lnTo>
                      <a:pt x="854" y="226"/>
                    </a:lnTo>
                    <a:lnTo>
                      <a:pt x="856" y="226"/>
                    </a:lnTo>
                    <a:lnTo>
                      <a:pt x="856" y="224"/>
                    </a:lnTo>
                    <a:lnTo>
                      <a:pt x="857" y="224"/>
                    </a:lnTo>
                    <a:lnTo>
                      <a:pt x="857" y="223"/>
                    </a:lnTo>
                    <a:lnTo>
                      <a:pt x="859" y="223"/>
                    </a:lnTo>
                    <a:lnTo>
                      <a:pt x="859" y="224"/>
                    </a:lnTo>
                    <a:lnTo>
                      <a:pt x="861" y="224"/>
                    </a:lnTo>
                    <a:lnTo>
                      <a:pt x="861" y="226"/>
                    </a:lnTo>
                    <a:lnTo>
                      <a:pt x="859" y="226"/>
                    </a:lnTo>
                    <a:lnTo>
                      <a:pt x="859" y="228"/>
                    </a:lnTo>
                    <a:lnTo>
                      <a:pt x="861" y="228"/>
                    </a:lnTo>
                    <a:lnTo>
                      <a:pt x="861" y="229"/>
                    </a:lnTo>
                    <a:lnTo>
                      <a:pt x="861" y="228"/>
                    </a:lnTo>
                    <a:lnTo>
                      <a:pt x="862" y="228"/>
                    </a:lnTo>
                    <a:lnTo>
                      <a:pt x="864" y="228"/>
                    </a:lnTo>
                    <a:lnTo>
                      <a:pt x="862" y="228"/>
                    </a:lnTo>
                    <a:lnTo>
                      <a:pt x="861" y="228"/>
                    </a:lnTo>
                    <a:lnTo>
                      <a:pt x="861" y="226"/>
                    </a:lnTo>
                    <a:lnTo>
                      <a:pt x="861" y="224"/>
                    </a:lnTo>
                    <a:lnTo>
                      <a:pt x="862" y="224"/>
                    </a:lnTo>
                    <a:lnTo>
                      <a:pt x="861" y="223"/>
                    </a:lnTo>
                    <a:lnTo>
                      <a:pt x="861" y="221"/>
                    </a:lnTo>
                    <a:lnTo>
                      <a:pt x="862" y="221"/>
                    </a:lnTo>
                    <a:lnTo>
                      <a:pt x="862" y="219"/>
                    </a:lnTo>
                    <a:lnTo>
                      <a:pt x="864" y="219"/>
                    </a:lnTo>
                    <a:lnTo>
                      <a:pt x="862" y="217"/>
                    </a:lnTo>
                    <a:lnTo>
                      <a:pt x="862" y="216"/>
                    </a:lnTo>
                    <a:lnTo>
                      <a:pt x="864" y="216"/>
                    </a:lnTo>
                    <a:lnTo>
                      <a:pt x="864" y="214"/>
                    </a:lnTo>
                    <a:lnTo>
                      <a:pt x="864" y="216"/>
                    </a:lnTo>
                    <a:lnTo>
                      <a:pt x="864" y="214"/>
                    </a:lnTo>
                    <a:lnTo>
                      <a:pt x="866" y="214"/>
                    </a:lnTo>
                    <a:lnTo>
                      <a:pt x="867" y="214"/>
                    </a:lnTo>
                    <a:lnTo>
                      <a:pt x="866" y="214"/>
                    </a:lnTo>
                    <a:lnTo>
                      <a:pt x="867" y="216"/>
                    </a:lnTo>
                    <a:lnTo>
                      <a:pt x="867" y="214"/>
                    </a:lnTo>
                    <a:lnTo>
                      <a:pt x="867" y="212"/>
                    </a:lnTo>
                    <a:lnTo>
                      <a:pt x="867" y="211"/>
                    </a:lnTo>
                    <a:lnTo>
                      <a:pt x="867" y="209"/>
                    </a:lnTo>
                    <a:lnTo>
                      <a:pt x="869" y="209"/>
                    </a:lnTo>
                    <a:lnTo>
                      <a:pt x="869" y="207"/>
                    </a:lnTo>
                    <a:lnTo>
                      <a:pt x="871" y="206"/>
                    </a:lnTo>
                    <a:lnTo>
                      <a:pt x="873" y="206"/>
                    </a:lnTo>
                    <a:lnTo>
                      <a:pt x="873" y="207"/>
                    </a:lnTo>
                    <a:lnTo>
                      <a:pt x="873" y="206"/>
                    </a:lnTo>
                    <a:lnTo>
                      <a:pt x="873" y="204"/>
                    </a:lnTo>
                    <a:lnTo>
                      <a:pt x="874" y="204"/>
                    </a:lnTo>
                    <a:lnTo>
                      <a:pt x="874" y="202"/>
                    </a:lnTo>
                    <a:lnTo>
                      <a:pt x="876" y="200"/>
                    </a:lnTo>
                    <a:lnTo>
                      <a:pt x="878" y="200"/>
                    </a:lnTo>
                    <a:lnTo>
                      <a:pt x="878" y="202"/>
                    </a:lnTo>
                    <a:lnTo>
                      <a:pt x="878" y="200"/>
                    </a:lnTo>
                    <a:lnTo>
                      <a:pt x="878" y="202"/>
                    </a:lnTo>
                    <a:lnTo>
                      <a:pt x="878" y="200"/>
                    </a:lnTo>
                    <a:lnTo>
                      <a:pt x="879" y="202"/>
                    </a:lnTo>
                    <a:lnTo>
                      <a:pt x="879" y="204"/>
                    </a:lnTo>
                    <a:lnTo>
                      <a:pt x="879" y="202"/>
                    </a:lnTo>
                    <a:lnTo>
                      <a:pt x="879" y="200"/>
                    </a:lnTo>
                    <a:lnTo>
                      <a:pt x="879" y="199"/>
                    </a:lnTo>
                    <a:lnTo>
                      <a:pt x="881" y="199"/>
                    </a:lnTo>
                    <a:lnTo>
                      <a:pt x="881" y="197"/>
                    </a:lnTo>
                    <a:lnTo>
                      <a:pt x="883" y="197"/>
                    </a:lnTo>
                    <a:lnTo>
                      <a:pt x="883" y="199"/>
                    </a:lnTo>
                    <a:lnTo>
                      <a:pt x="883" y="200"/>
                    </a:lnTo>
                    <a:lnTo>
                      <a:pt x="883" y="202"/>
                    </a:lnTo>
                    <a:lnTo>
                      <a:pt x="883" y="200"/>
                    </a:lnTo>
                    <a:lnTo>
                      <a:pt x="884" y="200"/>
                    </a:lnTo>
                    <a:lnTo>
                      <a:pt x="884" y="199"/>
                    </a:lnTo>
                    <a:lnTo>
                      <a:pt x="883" y="199"/>
                    </a:lnTo>
                    <a:lnTo>
                      <a:pt x="884" y="199"/>
                    </a:lnTo>
                    <a:lnTo>
                      <a:pt x="884" y="197"/>
                    </a:lnTo>
                    <a:lnTo>
                      <a:pt x="884" y="199"/>
                    </a:lnTo>
                    <a:lnTo>
                      <a:pt x="884" y="197"/>
                    </a:lnTo>
                    <a:lnTo>
                      <a:pt x="884" y="199"/>
                    </a:lnTo>
                    <a:lnTo>
                      <a:pt x="886" y="199"/>
                    </a:lnTo>
                    <a:lnTo>
                      <a:pt x="884" y="199"/>
                    </a:lnTo>
                    <a:lnTo>
                      <a:pt x="886" y="199"/>
                    </a:lnTo>
                    <a:lnTo>
                      <a:pt x="888" y="200"/>
                    </a:lnTo>
                    <a:lnTo>
                      <a:pt x="888" y="199"/>
                    </a:lnTo>
                    <a:lnTo>
                      <a:pt x="886" y="199"/>
                    </a:lnTo>
                    <a:lnTo>
                      <a:pt x="886" y="197"/>
                    </a:lnTo>
                    <a:lnTo>
                      <a:pt x="886" y="195"/>
                    </a:lnTo>
                    <a:lnTo>
                      <a:pt x="888" y="195"/>
                    </a:lnTo>
                    <a:lnTo>
                      <a:pt x="888" y="197"/>
                    </a:lnTo>
                    <a:lnTo>
                      <a:pt x="888" y="199"/>
                    </a:lnTo>
                    <a:lnTo>
                      <a:pt x="888" y="197"/>
                    </a:lnTo>
                    <a:lnTo>
                      <a:pt x="890" y="197"/>
                    </a:lnTo>
                    <a:lnTo>
                      <a:pt x="890" y="199"/>
                    </a:lnTo>
                    <a:lnTo>
                      <a:pt x="890" y="200"/>
                    </a:lnTo>
                    <a:lnTo>
                      <a:pt x="890" y="202"/>
                    </a:lnTo>
                    <a:lnTo>
                      <a:pt x="890" y="200"/>
                    </a:lnTo>
                    <a:lnTo>
                      <a:pt x="890" y="202"/>
                    </a:lnTo>
                    <a:lnTo>
                      <a:pt x="888" y="202"/>
                    </a:lnTo>
                    <a:lnTo>
                      <a:pt x="886" y="202"/>
                    </a:lnTo>
                    <a:lnTo>
                      <a:pt x="886" y="204"/>
                    </a:lnTo>
                    <a:lnTo>
                      <a:pt x="888" y="204"/>
                    </a:lnTo>
                    <a:lnTo>
                      <a:pt x="888" y="202"/>
                    </a:lnTo>
                    <a:lnTo>
                      <a:pt x="890" y="202"/>
                    </a:lnTo>
                    <a:lnTo>
                      <a:pt x="891" y="202"/>
                    </a:lnTo>
                    <a:lnTo>
                      <a:pt x="891" y="200"/>
                    </a:lnTo>
                    <a:lnTo>
                      <a:pt x="891" y="199"/>
                    </a:lnTo>
                    <a:lnTo>
                      <a:pt x="893" y="199"/>
                    </a:lnTo>
                    <a:lnTo>
                      <a:pt x="891" y="199"/>
                    </a:lnTo>
                    <a:lnTo>
                      <a:pt x="891" y="197"/>
                    </a:lnTo>
                    <a:lnTo>
                      <a:pt x="893" y="197"/>
                    </a:lnTo>
                    <a:lnTo>
                      <a:pt x="893" y="199"/>
                    </a:lnTo>
                    <a:lnTo>
                      <a:pt x="893" y="200"/>
                    </a:lnTo>
                    <a:lnTo>
                      <a:pt x="895" y="200"/>
                    </a:lnTo>
                    <a:lnTo>
                      <a:pt x="895" y="202"/>
                    </a:lnTo>
                    <a:lnTo>
                      <a:pt x="895" y="204"/>
                    </a:lnTo>
                    <a:lnTo>
                      <a:pt x="896" y="204"/>
                    </a:lnTo>
                    <a:lnTo>
                      <a:pt x="898" y="204"/>
                    </a:lnTo>
                    <a:lnTo>
                      <a:pt x="898" y="206"/>
                    </a:lnTo>
                    <a:lnTo>
                      <a:pt x="898" y="204"/>
                    </a:lnTo>
                    <a:lnTo>
                      <a:pt x="896" y="202"/>
                    </a:lnTo>
                    <a:lnTo>
                      <a:pt x="896" y="200"/>
                    </a:lnTo>
                    <a:lnTo>
                      <a:pt x="895" y="200"/>
                    </a:lnTo>
                    <a:lnTo>
                      <a:pt x="896" y="199"/>
                    </a:lnTo>
                    <a:lnTo>
                      <a:pt x="895" y="199"/>
                    </a:lnTo>
                    <a:lnTo>
                      <a:pt x="896" y="199"/>
                    </a:lnTo>
                    <a:lnTo>
                      <a:pt x="895" y="199"/>
                    </a:lnTo>
                    <a:lnTo>
                      <a:pt x="895" y="197"/>
                    </a:lnTo>
                    <a:lnTo>
                      <a:pt x="896" y="197"/>
                    </a:lnTo>
                    <a:lnTo>
                      <a:pt x="898" y="197"/>
                    </a:lnTo>
                    <a:lnTo>
                      <a:pt x="898" y="199"/>
                    </a:lnTo>
                    <a:lnTo>
                      <a:pt x="896" y="199"/>
                    </a:lnTo>
                    <a:lnTo>
                      <a:pt x="898" y="199"/>
                    </a:lnTo>
                    <a:lnTo>
                      <a:pt x="896" y="199"/>
                    </a:lnTo>
                    <a:lnTo>
                      <a:pt x="896" y="200"/>
                    </a:lnTo>
                    <a:lnTo>
                      <a:pt x="898" y="199"/>
                    </a:lnTo>
                    <a:lnTo>
                      <a:pt x="898" y="200"/>
                    </a:lnTo>
                    <a:lnTo>
                      <a:pt x="898" y="199"/>
                    </a:lnTo>
                    <a:lnTo>
                      <a:pt x="900" y="199"/>
                    </a:lnTo>
                    <a:lnTo>
                      <a:pt x="898" y="199"/>
                    </a:lnTo>
                    <a:lnTo>
                      <a:pt x="900" y="199"/>
                    </a:lnTo>
                    <a:lnTo>
                      <a:pt x="901" y="197"/>
                    </a:lnTo>
                    <a:lnTo>
                      <a:pt x="901" y="199"/>
                    </a:lnTo>
                    <a:lnTo>
                      <a:pt x="901" y="200"/>
                    </a:lnTo>
                    <a:lnTo>
                      <a:pt x="901" y="199"/>
                    </a:lnTo>
                    <a:lnTo>
                      <a:pt x="903" y="200"/>
                    </a:lnTo>
                    <a:lnTo>
                      <a:pt x="903" y="199"/>
                    </a:lnTo>
                    <a:lnTo>
                      <a:pt x="905" y="199"/>
                    </a:lnTo>
                    <a:lnTo>
                      <a:pt x="905" y="200"/>
                    </a:lnTo>
                    <a:lnTo>
                      <a:pt x="903" y="200"/>
                    </a:lnTo>
                    <a:lnTo>
                      <a:pt x="903" y="202"/>
                    </a:lnTo>
                    <a:lnTo>
                      <a:pt x="905" y="202"/>
                    </a:lnTo>
                    <a:lnTo>
                      <a:pt x="905" y="200"/>
                    </a:lnTo>
                    <a:lnTo>
                      <a:pt x="907" y="200"/>
                    </a:lnTo>
                    <a:lnTo>
                      <a:pt x="907" y="202"/>
                    </a:lnTo>
                    <a:lnTo>
                      <a:pt x="905" y="202"/>
                    </a:lnTo>
                    <a:lnTo>
                      <a:pt x="905" y="204"/>
                    </a:lnTo>
                    <a:lnTo>
                      <a:pt x="907" y="204"/>
                    </a:lnTo>
                    <a:lnTo>
                      <a:pt x="907" y="206"/>
                    </a:lnTo>
                    <a:lnTo>
                      <a:pt x="907" y="204"/>
                    </a:lnTo>
                    <a:lnTo>
                      <a:pt x="907" y="202"/>
                    </a:lnTo>
                    <a:lnTo>
                      <a:pt x="907" y="204"/>
                    </a:lnTo>
                    <a:lnTo>
                      <a:pt x="907" y="202"/>
                    </a:lnTo>
                    <a:lnTo>
                      <a:pt x="908" y="202"/>
                    </a:lnTo>
                    <a:lnTo>
                      <a:pt x="907" y="200"/>
                    </a:lnTo>
                    <a:lnTo>
                      <a:pt x="908" y="200"/>
                    </a:lnTo>
                    <a:lnTo>
                      <a:pt x="908" y="202"/>
                    </a:lnTo>
                    <a:lnTo>
                      <a:pt x="908" y="204"/>
                    </a:lnTo>
                    <a:lnTo>
                      <a:pt x="908" y="206"/>
                    </a:lnTo>
                    <a:lnTo>
                      <a:pt x="910" y="204"/>
                    </a:lnTo>
                    <a:lnTo>
                      <a:pt x="910" y="206"/>
                    </a:lnTo>
                    <a:lnTo>
                      <a:pt x="908" y="206"/>
                    </a:lnTo>
                    <a:lnTo>
                      <a:pt x="908" y="207"/>
                    </a:lnTo>
                    <a:lnTo>
                      <a:pt x="908" y="206"/>
                    </a:lnTo>
                    <a:lnTo>
                      <a:pt x="910" y="206"/>
                    </a:lnTo>
                    <a:lnTo>
                      <a:pt x="912" y="206"/>
                    </a:lnTo>
                    <a:lnTo>
                      <a:pt x="910" y="206"/>
                    </a:lnTo>
                    <a:lnTo>
                      <a:pt x="910" y="204"/>
                    </a:lnTo>
                    <a:lnTo>
                      <a:pt x="912" y="204"/>
                    </a:lnTo>
                    <a:lnTo>
                      <a:pt x="912" y="202"/>
                    </a:lnTo>
                    <a:lnTo>
                      <a:pt x="913" y="202"/>
                    </a:lnTo>
                    <a:lnTo>
                      <a:pt x="913" y="204"/>
                    </a:lnTo>
                    <a:lnTo>
                      <a:pt x="912" y="204"/>
                    </a:lnTo>
                    <a:lnTo>
                      <a:pt x="913" y="204"/>
                    </a:lnTo>
                    <a:lnTo>
                      <a:pt x="913" y="206"/>
                    </a:lnTo>
                    <a:lnTo>
                      <a:pt x="913" y="207"/>
                    </a:lnTo>
                    <a:lnTo>
                      <a:pt x="915" y="207"/>
                    </a:lnTo>
                    <a:lnTo>
                      <a:pt x="915" y="206"/>
                    </a:lnTo>
                    <a:lnTo>
                      <a:pt x="915" y="204"/>
                    </a:lnTo>
                    <a:lnTo>
                      <a:pt x="917" y="204"/>
                    </a:lnTo>
                    <a:lnTo>
                      <a:pt x="917" y="202"/>
                    </a:lnTo>
                    <a:lnTo>
                      <a:pt x="917" y="204"/>
                    </a:lnTo>
                    <a:lnTo>
                      <a:pt x="917" y="206"/>
                    </a:lnTo>
                    <a:lnTo>
                      <a:pt x="917" y="207"/>
                    </a:lnTo>
                    <a:lnTo>
                      <a:pt x="918" y="206"/>
                    </a:lnTo>
                    <a:lnTo>
                      <a:pt x="918" y="207"/>
                    </a:lnTo>
                    <a:lnTo>
                      <a:pt x="917" y="207"/>
                    </a:lnTo>
                    <a:lnTo>
                      <a:pt x="918" y="209"/>
                    </a:lnTo>
                    <a:lnTo>
                      <a:pt x="918" y="207"/>
                    </a:lnTo>
                    <a:lnTo>
                      <a:pt x="918" y="206"/>
                    </a:lnTo>
                    <a:lnTo>
                      <a:pt x="920" y="206"/>
                    </a:lnTo>
                    <a:lnTo>
                      <a:pt x="920" y="207"/>
                    </a:lnTo>
                    <a:lnTo>
                      <a:pt x="920" y="209"/>
                    </a:lnTo>
                    <a:lnTo>
                      <a:pt x="922" y="209"/>
                    </a:lnTo>
                    <a:lnTo>
                      <a:pt x="920" y="207"/>
                    </a:lnTo>
                    <a:lnTo>
                      <a:pt x="922" y="207"/>
                    </a:lnTo>
                    <a:lnTo>
                      <a:pt x="922" y="206"/>
                    </a:lnTo>
                    <a:lnTo>
                      <a:pt x="922" y="207"/>
                    </a:lnTo>
                    <a:lnTo>
                      <a:pt x="924" y="207"/>
                    </a:lnTo>
                    <a:lnTo>
                      <a:pt x="922" y="206"/>
                    </a:lnTo>
                    <a:lnTo>
                      <a:pt x="924" y="206"/>
                    </a:lnTo>
                    <a:lnTo>
                      <a:pt x="922" y="204"/>
                    </a:lnTo>
                    <a:lnTo>
                      <a:pt x="924" y="204"/>
                    </a:lnTo>
                    <a:lnTo>
                      <a:pt x="924" y="206"/>
                    </a:lnTo>
                    <a:lnTo>
                      <a:pt x="925" y="206"/>
                    </a:lnTo>
                    <a:lnTo>
                      <a:pt x="925" y="207"/>
                    </a:lnTo>
                    <a:lnTo>
                      <a:pt x="924" y="207"/>
                    </a:lnTo>
                    <a:lnTo>
                      <a:pt x="925" y="207"/>
                    </a:lnTo>
                    <a:lnTo>
                      <a:pt x="924" y="207"/>
                    </a:lnTo>
                    <a:lnTo>
                      <a:pt x="924" y="209"/>
                    </a:lnTo>
                    <a:lnTo>
                      <a:pt x="924" y="211"/>
                    </a:lnTo>
                    <a:lnTo>
                      <a:pt x="922" y="211"/>
                    </a:lnTo>
                    <a:lnTo>
                      <a:pt x="920" y="211"/>
                    </a:lnTo>
                    <a:lnTo>
                      <a:pt x="922" y="211"/>
                    </a:lnTo>
                    <a:lnTo>
                      <a:pt x="924" y="211"/>
                    </a:lnTo>
                    <a:lnTo>
                      <a:pt x="925" y="211"/>
                    </a:lnTo>
                    <a:lnTo>
                      <a:pt x="927" y="211"/>
                    </a:lnTo>
                    <a:lnTo>
                      <a:pt x="927" y="209"/>
                    </a:lnTo>
                    <a:lnTo>
                      <a:pt x="927" y="211"/>
                    </a:lnTo>
                    <a:lnTo>
                      <a:pt x="929" y="209"/>
                    </a:lnTo>
                    <a:lnTo>
                      <a:pt x="929" y="207"/>
                    </a:lnTo>
                    <a:lnTo>
                      <a:pt x="929" y="209"/>
                    </a:lnTo>
                    <a:lnTo>
                      <a:pt x="930" y="207"/>
                    </a:lnTo>
                    <a:lnTo>
                      <a:pt x="932" y="207"/>
                    </a:lnTo>
                    <a:lnTo>
                      <a:pt x="930" y="207"/>
                    </a:lnTo>
                    <a:lnTo>
                      <a:pt x="930" y="209"/>
                    </a:lnTo>
                    <a:lnTo>
                      <a:pt x="929" y="209"/>
                    </a:lnTo>
                    <a:lnTo>
                      <a:pt x="929" y="211"/>
                    </a:lnTo>
                    <a:lnTo>
                      <a:pt x="930" y="212"/>
                    </a:lnTo>
                    <a:lnTo>
                      <a:pt x="929" y="212"/>
                    </a:lnTo>
                    <a:lnTo>
                      <a:pt x="930" y="212"/>
                    </a:lnTo>
                    <a:lnTo>
                      <a:pt x="932" y="212"/>
                    </a:lnTo>
                    <a:lnTo>
                      <a:pt x="930" y="212"/>
                    </a:lnTo>
                    <a:lnTo>
                      <a:pt x="932" y="212"/>
                    </a:lnTo>
                    <a:lnTo>
                      <a:pt x="932" y="211"/>
                    </a:lnTo>
                    <a:lnTo>
                      <a:pt x="932" y="212"/>
                    </a:lnTo>
                    <a:lnTo>
                      <a:pt x="934" y="212"/>
                    </a:lnTo>
                    <a:lnTo>
                      <a:pt x="934" y="214"/>
                    </a:lnTo>
                    <a:lnTo>
                      <a:pt x="934" y="212"/>
                    </a:lnTo>
                    <a:lnTo>
                      <a:pt x="935" y="212"/>
                    </a:lnTo>
                    <a:lnTo>
                      <a:pt x="935" y="214"/>
                    </a:lnTo>
                    <a:lnTo>
                      <a:pt x="935" y="212"/>
                    </a:lnTo>
                    <a:lnTo>
                      <a:pt x="935" y="211"/>
                    </a:lnTo>
                    <a:lnTo>
                      <a:pt x="937" y="209"/>
                    </a:lnTo>
                    <a:lnTo>
                      <a:pt x="935" y="209"/>
                    </a:lnTo>
                    <a:lnTo>
                      <a:pt x="937" y="209"/>
                    </a:lnTo>
                    <a:lnTo>
                      <a:pt x="937" y="207"/>
                    </a:lnTo>
                    <a:lnTo>
                      <a:pt x="939" y="207"/>
                    </a:lnTo>
                    <a:lnTo>
                      <a:pt x="939" y="209"/>
                    </a:lnTo>
                    <a:lnTo>
                      <a:pt x="939" y="211"/>
                    </a:lnTo>
                    <a:lnTo>
                      <a:pt x="937" y="211"/>
                    </a:lnTo>
                    <a:lnTo>
                      <a:pt x="937" y="212"/>
                    </a:lnTo>
                    <a:lnTo>
                      <a:pt x="939" y="212"/>
                    </a:lnTo>
                    <a:lnTo>
                      <a:pt x="939" y="214"/>
                    </a:lnTo>
                    <a:lnTo>
                      <a:pt x="937" y="214"/>
                    </a:lnTo>
                    <a:lnTo>
                      <a:pt x="937" y="216"/>
                    </a:lnTo>
                    <a:lnTo>
                      <a:pt x="937" y="217"/>
                    </a:lnTo>
                    <a:lnTo>
                      <a:pt x="935" y="217"/>
                    </a:lnTo>
                    <a:lnTo>
                      <a:pt x="937" y="217"/>
                    </a:lnTo>
                    <a:lnTo>
                      <a:pt x="937" y="216"/>
                    </a:lnTo>
                    <a:lnTo>
                      <a:pt x="939" y="214"/>
                    </a:lnTo>
                    <a:lnTo>
                      <a:pt x="939" y="212"/>
                    </a:lnTo>
                    <a:lnTo>
                      <a:pt x="941" y="212"/>
                    </a:lnTo>
                    <a:lnTo>
                      <a:pt x="941" y="214"/>
                    </a:lnTo>
                    <a:lnTo>
                      <a:pt x="939" y="214"/>
                    </a:lnTo>
                    <a:lnTo>
                      <a:pt x="939" y="216"/>
                    </a:lnTo>
                    <a:lnTo>
                      <a:pt x="939" y="214"/>
                    </a:lnTo>
                    <a:lnTo>
                      <a:pt x="941" y="214"/>
                    </a:lnTo>
                    <a:lnTo>
                      <a:pt x="941" y="216"/>
                    </a:lnTo>
                    <a:lnTo>
                      <a:pt x="941" y="214"/>
                    </a:lnTo>
                    <a:lnTo>
                      <a:pt x="942" y="212"/>
                    </a:lnTo>
                    <a:lnTo>
                      <a:pt x="942" y="214"/>
                    </a:lnTo>
                    <a:lnTo>
                      <a:pt x="942" y="212"/>
                    </a:lnTo>
                    <a:lnTo>
                      <a:pt x="942" y="214"/>
                    </a:lnTo>
                    <a:lnTo>
                      <a:pt x="942" y="216"/>
                    </a:lnTo>
                    <a:lnTo>
                      <a:pt x="944" y="216"/>
                    </a:lnTo>
                    <a:lnTo>
                      <a:pt x="942" y="216"/>
                    </a:lnTo>
                    <a:lnTo>
                      <a:pt x="942" y="217"/>
                    </a:lnTo>
                    <a:lnTo>
                      <a:pt x="942" y="219"/>
                    </a:lnTo>
                    <a:lnTo>
                      <a:pt x="941" y="219"/>
                    </a:lnTo>
                    <a:lnTo>
                      <a:pt x="942" y="219"/>
                    </a:lnTo>
                    <a:lnTo>
                      <a:pt x="942" y="217"/>
                    </a:lnTo>
                    <a:lnTo>
                      <a:pt x="942" y="216"/>
                    </a:lnTo>
                    <a:lnTo>
                      <a:pt x="944" y="216"/>
                    </a:lnTo>
                    <a:lnTo>
                      <a:pt x="944" y="217"/>
                    </a:lnTo>
                    <a:lnTo>
                      <a:pt x="944" y="216"/>
                    </a:lnTo>
                    <a:lnTo>
                      <a:pt x="944" y="214"/>
                    </a:lnTo>
                    <a:lnTo>
                      <a:pt x="946" y="214"/>
                    </a:lnTo>
                    <a:lnTo>
                      <a:pt x="946" y="216"/>
                    </a:lnTo>
                    <a:lnTo>
                      <a:pt x="947" y="216"/>
                    </a:lnTo>
                    <a:lnTo>
                      <a:pt x="946" y="216"/>
                    </a:lnTo>
                    <a:lnTo>
                      <a:pt x="946" y="217"/>
                    </a:lnTo>
                    <a:lnTo>
                      <a:pt x="944" y="217"/>
                    </a:lnTo>
                    <a:lnTo>
                      <a:pt x="946" y="217"/>
                    </a:lnTo>
                    <a:lnTo>
                      <a:pt x="947" y="219"/>
                    </a:lnTo>
                    <a:lnTo>
                      <a:pt x="946" y="219"/>
                    </a:lnTo>
                    <a:lnTo>
                      <a:pt x="947" y="219"/>
                    </a:lnTo>
                    <a:lnTo>
                      <a:pt x="947" y="217"/>
                    </a:lnTo>
                    <a:lnTo>
                      <a:pt x="947" y="216"/>
                    </a:lnTo>
                    <a:lnTo>
                      <a:pt x="949" y="216"/>
                    </a:lnTo>
                    <a:lnTo>
                      <a:pt x="949" y="214"/>
                    </a:lnTo>
                    <a:lnTo>
                      <a:pt x="951" y="214"/>
                    </a:lnTo>
                    <a:lnTo>
                      <a:pt x="951" y="216"/>
                    </a:lnTo>
                    <a:lnTo>
                      <a:pt x="949" y="216"/>
                    </a:lnTo>
                    <a:lnTo>
                      <a:pt x="949" y="217"/>
                    </a:lnTo>
                    <a:lnTo>
                      <a:pt x="947" y="217"/>
                    </a:lnTo>
                    <a:lnTo>
                      <a:pt x="949" y="217"/>
                    </a:lnTo>
                    <a:lnTo>
                      <a:pt x="949" y="219"/>
                    </a:lnTo>
                    <a:lnTo>
                      <a:pt x="951" y="219"/>
                    </a:lnTo>
                    <a:lnTo>
                      <a:pt x="949" y="219"/>
                    </a:lnTo>
                    <a:lnTo>
                      <a:pt x="951" y="219"/>
                    </a:lnTo>
                    <a:lnTo>
                      <a:pt x="949" y="219"/>
                    </a:lnTo>
                    <a:lnTo>
                      <a:pt x="949" y="221"/>
                    </a:lnTo>
                    <a:lnTo>
                      <a:pt x="951" y="221"/>
                    </a:lnTo>
                    <a:lnTo>
                      <a:pt x="951" y="219"/>
                    </a:lnTo>
                    <a:lnTo>
                      <a:pt x="951" y="217"/>
                    </a:lnTo>
                    <a:lnTo>
                      <a:pt x="952" y="217"/>
                    </a:lnTo>
                    <a:lnTo>
                      <a:pt x="951" y="219"/>
                    </a:lnTo>
                    <a:lnTo>
                      <a:pt x="952" y="219"/>
                    </a:lnTo>
                    <a:lnTo>
                      <a:pt x="951" y="219"/>
                    </a:lnTo>
                    <a:lnTo>
                      <a:pt x="951" y="221"/>
                    </a:lnTo>
                    <a:lnTo>
                      <a:pt x="952" y="219"/>
                    </a:lnTo>
                    <a:lnTo>
                      <a:pt x="952" y="217"/>
                    </a:lnTo>
                    <a:lnTo>
                      <a:pt x="954" y="217"/>
                    </a:lnTo>
                    <a:lnTo>
                      <a:pt x="954" y="216"/>
                    </a:lnTo>
                    <a:lnTo>
                      <a:pt x="956" y="216"/>
                    </a:lnTo>
                    <a:lnTo>
                      <a:pt x="956" y="217"/>
                    </a:lnTo>
                    <a:lnTo>
                      <a:pt x="954" y="217"/>
                    </a:lnTo>
                    <a:lnTo>
                      <a:pt x="954" y="219"/>
                    </a:lnTo>
                    <a:lnTo>
                      <a:pt x="954" y="221"/>
                    </a:lnTo>
                    <a:lnTo>
                      <a:pt x="956" y="221"/>
                    </a:lnTo>
                    <a:lnTo>
                      <a:pt x="954" y="223"/>
                    </a:lnTo>
                    <a:lnTo>
                      <a:pt x="956" y="223"/>
                    </a:lnTo>
                    <a:lnTo>
                      <a:pt x="956" y="224"/>
                    </a:lnTo>
                    <a:lnTo>
                      <a:pt x="954" y="224"/>
                    </a:lnTo>
                    <a:lnTo>
                      <a:pt x="956" y="224"/>
                    </a:lnTo>
                    <a:lnTo>
                      <a:pt x="956" y="226"/>
                    </a:lnTo>
                    <a:lnTo>
                      <a:pt x="956" y="224"/>
                    </a:lnTo>
                    <a:lnTo>
                      <a:pt x="958" y="224"/>
                    </a:lnTo>
                    <a:lnTo>
                      <a:pt x="958" y="223"/>
                    </a:lnTo>
                    <a:lnTo>
                      <a:pt x="958" y="221"/>
                    </a:lnTo>
                    <a:lnTo>
                      <a:pt x="959" y="221"/>
                    </a:lnTo>
                    <a:lnTo>
                      <a:pt x="959" y="223"/>
                    </a:lnTo>
                    <a:lnTo>
                      <a:pt x="959" y="221"/>
                    </a:lnTo>
                    <a:lnTo>
                      <a:pt x="959" y="223"/>
                    </a:lnTo>
                    <a:lnTo>
                      <a:pt x="961" y="223"/>
                    </a:lnTo>
                    <a:lnTo>
                      <a:pt x="961" y="224"/>
                    </a:lnTo>
                    <a:lnTo>
                      <a:pt x="961" y="226"/>
                    </a:lnTo>
                    <a:lnTo>
                      <a:pt x="959" y="224"/>
                    </a:lnTo>
                    <a:lnTo>
                      <a:pt x="959" y="226"/>
                    </a:lnTo>
                    <a:lnTo>
                      <a:pt x="959" y="224"/>
                    </a:lnTo>
                    <a:lnTo>
                      <a:pt x="961" y="226"/>
                    </a:lnTo>
                    <a:lnTo>
                      <a:pt x="961" y="224"/>
                    </a:lnTo>
                    <a:lnTo>
                      <a:pt x="963" y="224"/>
                    </a:lnTo>
                    <a:lnTo>
                      <a:pt x="963" y="223"/>
                    </a:lnTo>
                    <a:lnTo>
                      <a:pt x="963" y="224"/>
                    </a:lnTo>
                    <a:lnTo>
                      <a:pt x="963" y="223"/>
                    </a:lnTo>
                    <a:lnTo>
                      <a:pt x="964" y="223"/>
                    </a:lnTo>
                    <a:lnTo>
                      <a:pt x="964" y="221"/>
                    </a:lnTo>
                    <a:lnTo>
                      <a:pt x="966" y="223"/>
                    </a:lnTo>
                    <a:lnTo>
                      <a:pt x="964" y="223"/>
                    </a:lnTo>
                    <a:lnTo>
                      <a:pt x="964" y="224"/>
                    </a:lnTo>
                    <a:lnTo>
                      <a:pt x="963" y="224"/>
                    </a:lnTo>
                    <a:lnTo>
                      <a:pt x="963" y="226"/>
                    </a:lnTo>
                    <a:lnTo>
                      <a:pt x="963" y="228"/>
                    </a:lnTo>
                    <a:lnTo>
                      <a:pt x="964" y="228"/>
                    </a:lnTo>
                    <a:lnTo>
                      <a:pt x="963" y="228"/>
                    </a:lnTo>
                    <a:lnTo>
                      <a:pt x="964" y="228"/>
                    </a:lnTo>
                    <a:lnTo>
                      <a:pt x="964" y="226"/>
                    </a:lnTo>
                    <a:lnTo>
                      <a:pt x="966" y="226"/>
                    </a:lnTo>
                    <a:lnTo>
                      <a:pt x="966" y="224"/>
                    </a:lnTo>
                    <a:lnTo>
                      <a:pt x="968" y="223"/>
                    </a:lnTo>
                    <a:lnTo>
                      <a:pt x="966" y="223"/>
                    </a:lnTo>
                    <a:lnTo>
                      <a:pt x="968" y="223"/>
                    </a:lnTo>
                    <a:lnTo>
                      <a:pt x="969" y="223"/>
                    </a:lnTo>
                    <a:lnTo>
                      <a:pt x="968" y="223"/>
                    </a:lnTo>
                    <a:lnTo>
                      <a:pt x="969" y="224"/>
                    </a:lnTo>
                    <a:lnTo>
                      <a:pt x="968" y="224"/>
                    </a:lnTo>
                    <a:lnTo>
                      <a:pt x="969" y="224"/>
                    </a:lnTo>
                    <a:lnTo>
                      <a:pt x="969" y="226"/>
                    </a:lnTo>
                    <a:lnTo>
                      <a:pt x="968" y="226"/>
                    </a:lnTo>
                    <a:lnTo>
                      <a:pt x="968" y="228"/>
                    </a:lnTo>
                    <a:lnTo>
                      <a:pt x="966" y="228"/>
                    </a:lnTo>
                    <a:lnTo>
                      <a:pt x="968" y="228"/>
                    </a:lnTo>
                    <a:lnTo>
                      <a:pt x="969" y="228"/>
                    </a:lnTo>
                    <a:lnTo>
                      <a:pt x="968" y="229"/>
                    </a:lnTo>
                    <a:lnTo>
                      <a:pt x="968" y="231"/>
                    </a:lnTo>
                    <a:lnTo>
                      <a:pt x="968" y="233"/>
                    </a:lnTo>
                    <a:lnTo>
                      <a:pt x="968" y="234"/>
                    </a:lnTo>
                    <a:lnTo>
                      <a:pt x="966" y="234"/>
                    </a:lnTo>
                    <a:lnTo>
                      <a:pt x="966" y="236"/>
                    </a:lnTo>
                    <a:lnTo>
                      <a:pt x="968" y="236"/>
                    </a:lnTo>
                    <a:lnTo>
                      <a:pt x="969" y="236"/>
                    </a:lnTo>
                    <a:lnTo>
                      <a:pt x="969" y="238"/>
                    </a:lnTo>
                    <a:lnTo>
                      <a:pt x="971" y="238"/>
                    </a:lnTo>
                    <a:lnTo>
                      <a:pt x="971" y="240"/>
                    </a:lnTo>
                    <a:lnTo>
                      <a:pt x="971" y="241"/>
                    </a:lnTo>
                    <a:lnTo>
                      <a:pt x="973" y="241"/>
                    </a:lnTo>
                    <a:lnTo>
                      <a:pt x="973" y="240"/>
                    </a:lnTo>
                    <a:lnTo>
                      <a:pt x="971" y="241"/>
                    </a:lnTo>
                    <a:lnTo>
                      <a:pt x="971" y="240"/>
                    </a:lnTo>
                    <a:lnTo>
                      <a:pt x="971" y="238"/>
                    </a:lnTo>
                    <a:lnTo>
                      <a:pt x="971" y="236"/>
                    </a:lnTo>
                    <a:lnTo>
                      <a:pt x="969" y="236"/>
                    </a:lnTo>
                    <a:lnTo>
                      <a:pt x="969" y="234"/>
                    </a:lnTo>
                    <a:lnTo>
                      <a:pt x="971" y="234"/>
                    </a:lnTo>
                    <a:lnTo>
                      <a:pt x="971" y="233"/>
                    </a:lnTo>
                    <a:lnTo>
                      <a:pt x="971" y="231"/>
                    </a:lnTo>
                    <a:lnTo>
                      <a:pt x="971" y="229"/>
                    </a:lnTo>
                    <a:lnTo>
                      <a:pt x="973" y="229"/>
                    </a:lnTo>
                    <a:lnTo>
                      <a:pt x="973" y="228"/>
                    </a:lnTo>
                    <a:lnTo>
                      <a:pt x="973" y="229"/>
                    </a:lnTo>
                    <a:lnTo>
                      <a:pt x="973" y="228"/>
                    </a:lnTo>
                    <a:lnTo>
                      <a:pt x="975" y="228"/>
                    </a:lnTo>
                    <a:lnTo>
                      <a:pt x="975" y="229"/>
                    </a:lnTo>
                    <a:lnTo>
                      <a:pt x="975" y="228"/>
                    </a:lnTo>
                    <a:lnTo>
                      <a:pt x="976" y="228"/>
                    </a:lnTo>
                    <a:lnTo>
                      <a:pt x="978" y="228"/>
                    </a:lnTo>
                    <a:lnTo>
                      <a:pt x="980" y="229"/>
                    </a:lnTo>
                    <a:lnTo>
                      <a:pt x="978" y="229"/>
                    </a:lnTo>
                    <a:lnTo>
                      <a:pt x="980" y="229"/>
                    </a:lnTo>
                    <a:lnTo>
                      <a:pt x="980" y="231"/>
                    </a:lnTo>
                    <a:lnTo>
                      <a:pt x="978" y="231"/>
                    </a:lnTo>
                    <a:lnTo>
                      <a:pt x="980" y="231"/>
                    </a:lnTo>
                    <a:lnTo>
                      <a:pt x="981" y="231"/>
                    </a:lnTo>
                    <a:lnTo>
                      <a:pt x="981" y="229"/>
                    </a:lnTo>
                    <a:lnTo>
                      <a:pt x="980" y="229"/>
                    </a:lnTo>
                    <a:lnTo>
                      <a:pt x="980" y="228"/>
                    </a:lnTo>
                    <a:lnTo>
                      <a:pt x="981" y="228"/>
                    </a:lnTo>
                    <a:lnTo>
                      <a:pt x="983" y="226"/>
                    </a:lnTo>
                    <a:lnTo>
                      <a:pt x="985" y="226"/>
                    </a:lnTo>
                    <a:lnTo>
                      <a:pt x="985" y="228"/>
                    </a:lnTo>
                    <a:lnTo>
                      <a:pt x="983" y="228"/>
                    </a:lnTo>
                    <a:lnTo>
                      <a:pt x="983" y="229"/>
                    </a:lnTo>
                    <a:lnTo>
                      <a:pt x="981" y="229"/>
                    </a:lnTo>
                    <a:lnTo>
                      <a:pt x="981" y="231"/>
                    </a:lnTo>
                    <a:lnTo>
                      <a:pt x="981" y="233"/>
                    </a:lnTo>
                    <a:lnTo>
                      <a:pt x="983" y="233"/>
                    </a:lnTo>
                    <a:lnTo>
                      <a:pt x="985" y="233"/>
                    </a:lnTo>
                    <a:lnTo>
                      <a:pt x="985" y="231"/>
                    </a:lnTo>
                    <a:lnTo>
                      <a:pt x="986" y="231"/>
                    </a:lnTo>
                    <a:lnTo>
                      <a:pt x="986" y="233"/>
                    </a:lnTo>
                    <a:lnTo>
                      <a:pt x="986" y="231"/>
                    </a:lnTo>
                    <a:lnTo>
                      <a:pt x="988" y="231"/>
                    </a:lnTo>
                    <a:lnTo>
                      <a:pt x="988" y="233"/>
                    </a:lnTo>
                    <a:lnTo>
                      <a:pt x="988" y="231"/>
                    </a:lnTo>
                    <a:lnTo>
                      <a:pt x="990" y="231"/>
                    </a:lnTo>
                    <a:lnTo>
                      <a:pt x="992" y="233"/>
                    </a:lnTo>
                    <a:lnTo>
                      <a:pt x="990" y="234"/>
                    </a:lnTo>
                    <a:lnTo>
                      <a:pt x="990" y="233"/>
                    </a:lnTo>
                    <a:lnTo>
                      <a:pt x="988" y="233"/>
                    </a:lnTo>
                    <a:lnTo>
                      <a:pt x="988" y="234"/>
                    </a:lnTo>
                    <a:lnTo>
                      <a:pt x="986" y="234"/>
                    </a:lnTo>
                    <a:lnTo>
                      <a:pt x="986" y="236"/>
                    </a:lnTo>
                    <a:lnTo>
                      <a:pt x="988" y="236"/>
                    </a:lnTo>
                    <a:lnTo>
                      <a:pt x="990" y="236"/>
                    </a:lnTo>
                    <a:lnTo>
                      <a:pt x="988" y="236"/>
                    </a:lnTo>
                    <a:lnTo>
                      <a:pt x="988" y="238"/>
                    </a:lnTo>
                    <a:lnTo>
                      <a:pt x="986" y="238"/>
                    </a:lnTo>
                    <a:lnTo>
                      <a:pt x="988" y="238"/>
                    </a:lnTo>
                    <a:lnTo>
                      <a:pt x="990" y="238"/>
                    </a:lnTo>
                    <a:lnTo>
                      <a:pt x="992" y="238"/>
                    </a:lnTo>
                    <a:lnTo>
                      <a:pt x="990" y="236"/>
                    </a:lnTo>
                    <a:lnTo>
                      <a:pt x="992" y="236"/>
                    </a:lnTo>
                    <a:lnTo>
                      <a:pt x="993" y="236"/>
                    </a:lnTo>
                    <a:lnTo>
                      <a:pt x="992" y="236"/>
                    </a:lnTo>
                    <a:lnTo>
                      <a:pt x="992" y="238"/>
                    </a:lnTo>
                    <a:lnTo>
                      <a:pt x="993" y="238"/>
                    </a:lnTo>
                    <a:lnTo>
                      <a:pt x="992" y="238"/>
                    </a:lnTo>
                    <a:lnTo>
                      <a:pt x="993" y="240"/>
                    </a:lnTo>
                    <a:lnTo>
                      <a:pt x="993" y="238"/>
                    </a:lnTo>
                    <a:lnTo>
                      <a:pt x="993" y="240"/>
                    </a:lnTo>
                    <a:lnTo>
                      <a:pt x="995" y="240"/>
                    </a:lnTo>
                    <a:lnTo>
                      <a:pt x="995" y="241"/>
                    </a:lnTo>
                    <a:lnTo>
                      <a:pt x="993" y="241"/>
                    </a:lnTo>
                    <a:lnTo>
                      <a:pt x="995" y="241"/>
                    </a:lnTo>
                    <a:lnTo>
                      <a:pt x="997" y="243"/>
                    </a:lnTo>
                    <a:lnTo>
                      <a:pt x="997" y="245"/>
                    </a:lnTo>
                    <a:lnTo>
                      <a:pt x="995" y="245"/>
                    </a:lnTo>
                    <a:lnTo>
                      <a:pt x="997" y="245"/>
                    </a:lnTo>
                    <a:lnTo>
                      <a:pt x="995" y="246"/>
                    </a:lnTo>
                    <a:lnTo>
                      <a:pt x="993" y="246"/>
                    </a:lnTo>
                    <a:lnTo>
                      <a:pt x="995" y="246"/>
                    </a:lnTo>
                    <a:lnTo>
                      <a:pt x="997" y="246"/>
                    </a:lnTo>
                    <a:lnTo>
                      <a:pt x="995" y="248"/>
                    </a:lnTo>
                    <a:lnTo>
                      <a:pt x="993" y="248"/>
                    </a:lnTo>
                    <a:lnTo>
                      <a:pt x="993" y="250"/>
                    </a:lnTo>
                    <a:lnTo>
                      <a:pt x="993" y="251"/>
                    </a:lnTo>
                    <a:lnTo>
                      <a:pt x="992" y="251"/>
                    </a:lnTo>
                    <a:lnTo>
                      <a:pt x="992" y="253"/>
                    </a:lnTo>
                    <a:lnTo>
                      <a:pt x="990" y="253"/>
                    </a:lnTo>
                    <a:lnTo>
                      <a:pt x="990" y="255"/>
                    </a:lnTo>
                    <a:lnTo>
                      <a:pt x="990" y="253"/>
                    </a:lnTo>
                    <a:lnTo>
                      <a:pt x="990" y="255"/>
                    </a:lnTo>
                    <a:lnTo>
                      <a:pt x="988" y="255"/>
                    </a:lnTo>
                    <a:lnTo>
                      <a:pt x="986" y="255"/>
                    </a:lnTo>
                    <a:lnTo>
                      <a:pt x="988" y="255"/>
                    </a:lnTo>
                    <a:lnTo>
                      <a:pt x="990" y="255"/>
                    </a:lnTo>
                    <a:lnTo>
                      <a:pt x="992" y="255"/>
                    </a:lnTo>
                    <a:lnTo>
                      <a:pt x="990" y="257"/>
                    </a:lnTo>
                    <a:lnTo>
                      <a:pt x="990" y="258"/>
                    </a:lnTo>
                    <a:lnTo>
                      <a:pt x="988" y="258"/>
                    </a:lnTo>
                    <a:lnTo>
                      <a:pt x="990" y="258"/>
                    </a:lnTo>
                    <a:lnTo>
                      <a:pt x="992" y="258"/>
                    </a:lnTo>
                    <a:lnTo>
                      <a:pt x="990" y="257"/>
                    </a:lnTo>
                    <a:lnTo>
                      <a:pt x="992" y="257"/>
                    </a:lnTo>
                    <a:lnTo>
                      <a:pt x="992" y="255"/>
                    </a:lnTo>
                    <a:lnTo>
                      <a:pt x="993" y="253"/>
                    </a:lnTo>
                    <a:lnTo>
                      <a:pt x="995" y="253"/>
                    </a:lnTo>
                    <a:lnTo>
                      <a:pt x="993" y="253"/>
                    </a:lnTo>
                    <a:lnTo>
                      <a:pt x="995" y="251"/>
                    </a:lnTo>
                    <a:lnTo>
                      <a:pt x="995" y="250"/>
                    </a:lnTo>
                    <a:lnTo>
                      <a:pt x="997" y="250"/>
                    </a:lnTo>
                    <a:lnTo>
                      <a:pt x="998" y="251"/>
                    </a:lnTo>
                    <a:lnTo>
                      <a:pt x="1000" y="253"/>
                    </a:lnTo>
                    <a:lnTo>
                      <a:pt x="998" y="253"/>
                    </a:lnTo>
                    <a:lnTo>
                      <a:pt x="1000" y="253"/>
                    </a:lnTo>
                    <a:lnTo>
                      <a:pt x="1000" y="255"/>
                    </a:lnTo>
                    <a:lnTo>
                      <a:pt x="1000" y="257"/>
                    </a:lnTo>
                    <a:lnTo>
                      <a:pt x="1000" y="258"/>
                    </a:lnTo>
                    <a:lnTo>
                      <a:pt x="1000" y="260"/>
                    </a:lnTo>
                    <a:lnTo>
                      <a:pt x="998" y="260"/>
                    </a:lnTo>
                    <a:lnTo>
                      <a:pt x="997" y="260"/>
                    </a:lnTo>
                    <a:lnTo>
                      <a:pt x="997" y="258"/>
                    </a:lnTo>
                    <a:lnTo>
                      <a:pt x="995" y="258"/>
                    </a:lnTo>
                    <a:lnTo>
                      <a:pt x="997" y="258"/>
                    </a:lnTo>
                    <a:lnTo>
                      <a:pt x="997" y="260"/>
                    </a:lnTo>
                    <a:lnTo>
                      <a:pt x="995" y="260"/>
                    </a:lnTo>
                    <a:lnTo>
                      <a:pt x="995" y="262"/>
                    </a:lnTo>
                    <a:lnTo>
                      <a:pt x="997" y="262"/>
                    </a:lnTo>
                    <a:lnTo>
                      <a:pt x="995" y="262"/>
                    </a:lnTo>
                    <a:lnTo>
                      <a:pt x="995" y="263"/>
                    </a:lnTo>
                    <a:lnTo>
                      <a:pt x="993" y="263"/>
                    </a:lnTo>
                    <a:lnTo>
                      <a:pt x="993" y="265"/>
                    </a:lnTo>
                    <a:lnTo>
                      <a:pt x="993" y="263"/>
                    </a:lnTo>
                    <a:lnTo>
                      <a:pt x="995" y="263"/>
                    </a:lnTo>
                    <a:lnTo>
                      <a:pt x="995" y="265"/>
                    </a:lnTo>
                    <a:lnTo>
                      <a:pt x="993" y="265"/>
                    </a:lnTo>
                    <a:lnTo>
                      <a:pt x="993" y="267"/>
                    </a:lnTo>
                    <a:lnTo>
                      <a:pt x="993" y="268"/>
                    </a:lnTo>
                    <a:lnTo>
                      <a:pt x="992" y="268"/>
                    </a:lnTo>
                    <a:lnTo>
                      <a:pt x="992" y="270"/>
                    </a:lnTo>
                    <a:lnTo>
                      <a:pt x="992" y="272"/>
                    </a:lnTo>
                    <a:lnTo>
                      <a:pt x="992" y="274"/>
                    </a:lnTo>
                    <a:lnTo>
                      <a:pt x="992" y="275"/>
                    </a:lnTo>
                    <a:lnTo>
                      <a:pt x="990" y="275"/>
                    </a:lnTo>
                    <a:lnTo>
                      <a:pt x="990" y="277"/>
                    </a:lnTo>
                    <a:lnTo>
                      <a:pt x="990" y="279"/>
                    </a:lnTo>
                    <a:lnTo>
                      <a:pt x="992" y="280"/>
                    </a:lnTo>
                    <a:lnTo>
                      <a:pt x="992" y="282"/>
                    </a:lnTo>
                    <a:lnTo>
                      <a:pt x="990" y="282"/>
                    </a:lnTo>
                    <a:lnTo>
                      <a:pt x="990" y="284"/>
                    </a:lnTo>
                    <a:lnTo>
                      <a:pt x="988" y="284"/>
                    </a:lnTo>
                    <a:lnTo>
                      <a:pt x="988" y="285"/>
                    </a:lnTo>
                    <a:lnTo>
                      <a:pt x="986" y="285"/>
                    </a:lnTo>
                    <a:lnTo>
                      <a:pt x="986" y="287"/>
                    </a:lnTo>
                    <a:lnTo>
                      <a:pt x="986" y="289"/>
                    </a:lnTo>
                    <a:lnTo>
                      <a:pt x="986" y="291"/>
                    </a:lnTo>
                    <a:lnTo>
                      <a:pt x="988" y="291"/>
                    </a:lnTo>
                    <a:lnTo>
                      <a:pt x="988" y="289"/>
                    </a:lnTo>
                    <a:lnTo>
                      <a:pt x="986" y="287"/>
                    </a:lnTo>
                    <a:lnTo>
                      <a:pt x="988" y="287"/>
                    </a:lnTo>
                    <a:lnTo>
                      <a:pt x="988" y="285"/>
                    </a:lnTo>
                    <a:lnTo>
                      <a:pt x="990" y="285"/>
                    </a:lnTo>
                    <a:lnTo>
                      <a:pt x="992" y="285"/>
                    </a:lnTo>
                    <a:lnTo>
                      <a:pt x="992" y="284"/>
                    </a:lnTo>
                    <a:lnTo>
                      <a:pt x="995" y="282"/>
                    </a:lnTo>
                    <a:lnTo>
                      <a:pt x="995" y="280"/>
                    </a:lnTo>
                    <a:lnTo>
                      <a:pt x="997" y="280"/>
                    </a:lnTo>
                    <a:lnTo>
                      <a:pt x="997" y="279"/>
                    </a:lnTo>
                    <a:lnTo>
                      <a:pt x="998" y="279"/>
                    </a:lnTo>
                    <a:lnTo>
                      <a:pt x="998" y="277"/>
                    </a:lnTo>
                    <a:lnTo>
                      <a:pt x="998" y="275"/>
                    </a:lnTo>
                    <a:lnTo>
                      <a:pt x="998" y="274"/>
                    </a:lnTo>
                    <a:lnTo>
                      <a:pt x="998" y="272"/>
                    </a:lnTo>
                    <a:lnTo>
                      <a:pt x="1000" y="270"/>
                    </a:lnTo>
                    <a:lnTo>
                      <a:pt x="1000" y="268"/>
                    </a:lnTo>
                    <a:lnTo>
                      <a:pt x="1000" y="267"/>
                    </a:lnTo>
                    <a:lnTo>
                      <a:pt x="1000" y="265"/>
                    </a:lnTo>
                    <a:lnTo>
                      <a:pt x="1000" y="263"/>
                    </a:lnTo>
                    <a:lnTo>
                      <a:pt x="1002" y="263"/>
                    </a:lnTo>
                    <a:lnTo>
                      <a:pt x="1003" y="265"/>
                    </a:lnTo>
                    <a:lnTo>
                      <a:pt x="1003" y="263"/>
                    </a:lnTo>
                    <a:lnTo>
                      <a:pt x="1002" y="263"/>
                    </a:lnTo>
                    <a:lnTo>
                      <a:pt x="1003" y="263"/>
                    </a:lnTo>
                    <a:lnTo>
                      <a:pt x="1002" y="263"/>
                    </a:lnTo>
                    <a:lnTo>
                      <a:pt x="1002" y="262"/>
                    </a:lnTo>
                    <a:lnTo>
                      <a:pt x="1003" y="262"/>
                    </a:lnTo>
                    <a:lnTo>
                      <a:pt x="1005" y="262"/>
                    </a:lnTo>
                    <a:lnTo>
                      <a:pt x="1007" y="262"/>
                    </a:lnTo>
                    <a:lnTo>
                      <a:pt x="1007" y="260"/>
                    </a:lnTo>
                    <a:lnTo>
                      <a:pt x="1009" y="260"/>
                    </a:lnTo>
                    <a:lnTo>
                      <a:pt x="1010" y="260"/>
                    </a:lnTo>
                    <a:lnTo>
                      <a:pt x="1010" y="258"/>
                    </a:lnTo>
                    <a:lnTo>
                      <a:pt x="1012" y="260"/>
                    </a:lnTo>
                    <a:lnTo>
                      <a:pt x="1010" y="260"/>
                    </a:lnTo>
                    <a:lnTo>
                      <a:pt x="1010" y="262"/>
                    </a:lnTo>
                    <a:lnTo>
                      <a:pt x="1012" y="262"/>
                    </a:lnTo>
                    <a:lnTo>
                      <a:pt x="1012" y="263"/>
                    </a:lnTo>
                    <a:lnTo>
                      <a:pt x="1010" y="265"/>
                    </a:lnTo>
                    <a:lnTo>
                      <a:pt x="1009" y="265"/>
                    </a:lnTo>
                    <a:lnTo>
                      <a:pt x="1009" y="267"/>
                    </a:lnTo>
                    <a:lnTo>
                      <a:pt x="1009" y="268"/>
                    </a:lnTo>
                    <a:lnTo>
                      <a:pt x="1007" y="268"/>
                    </a:lnTo>
                    <a:lnTo>
                      <a:pt x="1005" y="268"/>
                    </a:lnTo>
                    <a:lnTo>
                      <a:pt x="1005" y="270"/>
                    </a:lnTo>
                    <a:lnTo>
                      <a:pt x="1003" y="270"/>
                    </a:lnTo>
                    <a:lnTo>
                      <a:pt x="1003" y="272"/>
                    </a:lnTo>
                    <a:lnTo>
                      <a:pt x="1002" y="272"/>
                    </a:lnTo>
                    <a:lnTo>
                      <a:pt x="1003" y="272"/>
                    </a:lnTo>
                    <a:lnTo>
                      <a:pt x="1003" y="274"/>
                    </a:lnTo>
                    <a:lnTo>
                      <a:pt x="1003" y="272"/>
                    </a:lnTo>
                    <a:lnTo>
                      <a:pt x="1005" y="272"/>
                    </a:lnTo>
                    <a:lnTo>
                      <a:pt x="1007" y="272"/>
                    </a:lnTo>
                    <a:lnTo>
                      <a:pt x="1007" y="274"/>
                    </a:lnTo>
                    <a:lnTo>
                      <a:pt x="1007" y="272"/>
                    </a:lnTo>
                    <a:lnTo>
                      <a:pt x="1009" y="272"/>
                    </a:lnTo>
                    <a:lnTo>
                      <a:pt x="1009" y="270"/>
                    </a:lnTo>
                    <a:lnTo>
                      <a:pt x="1010" y="272"/>
                    </a:lnTo>
                    <a:lnTo>
                      <a:pt x="1010" y="270"/>
                    </a:lnTo>
                    <a:lnTo>
                      <a:pt x="1010" y="272"/>
                    </a:lnTo>
                    <a:lnTo>
                      <a:pt x="1010" y="270"/>
                    </a:lnTo>
                    <a:lnTo>
                      <a:pt x="1012" y="268"/>
                    </a:lnTo>
                    <a:lnTo>
                      <a:pt x="1012" y="267"/>
                    </a:lnTo>
                    <a:lnTo>
                      <a:pt x="1014" y="267"/>
                    </a:lnTo>
                    <a:lnTo>
                      <a:pt x="1014" y="265"/>
                    </a:lnTo>
                    <a:lnTo>
                      <a:pt x="1015" y="265"/>
                    </a:lnTo>
                    <a:lnTo>
                      <a:pt x="1015" y="263"/>
                    </a:lnTo>
                    <a:lnTo>
                      <a:pt x="1017" y="265"/>
                    </a:lnTo>
                    <a:lnTo>
                      <a:pt x="1017" y="263"/>
                    </a:lnTo>
                    <a:lnTo>
                      <a:pt x="1019" y="263"/>
                    </a:lnTo>
                    <a:lnTo>
                      <a:pt x="1017" y="263"/>
                    </a:lnTo>
                    <a:lnTo>
                      <a:pt x="1019" y="262"/>
                    </a:lnTo>
                    <a:lnTo>
                      <a:pt x="1019" y="260"/>
                    </a:lnTo>
                    <a:lnTo>
                      <a:pt x="1019" y="258"/>
                    </a:lnTo>
                    <a:lnTo>
                      <a:pt x="1020" y="258"/>
                    </a:lnTo>
                    <a:lnTo>
                      <a:pt x="1019" y="260"/>
                    </a:lnTo>
                    <a:lnTo>
                      <a:pt x="1019" y="262"/>
                    </a:lnTo>
                    <a:lnTo>
                      <a:pt x="1019" y="260"/>
                    </a:lnTo>
                    <a:lnTo>
                      <a:pt x="1020" y="260"/>
                    </a:lnTo>
                    <a:lnTo>
                      <a:pt x="1022" y="258"/>
                    </a:lnTo>
                    <a:lnTo>
                      <a:pt x="1022" y="257"/>
                    </a:lnTo>
                    <a:lnTo>
                      <a:pt x="1022" y="255"/>
                    </a:lnTo>
                    <a:lnTo>
                      <a:pt x="1024" y="255"/>
                    </a:lnTo>
                    <a:lnTo>
                      <a:pt x="1026" y="255"/>
                    </a:lnTo>
                    <a:lnTo>
                      <a:pt x="1026" y="253"/>
                    </a:lnTo>
                    <a:lnTo>
                      <a:pt x="1026" y="255"/>
                    </a:lnTo>
                    <a:lnTo>
                      <a:pt x="1024" y="255"/>
                    </a:lnTo>
                    <a:lnTo>
                      <a:pt x="1024" y="257"/>
                    </a:lnTo>
                    <a:lnTo>
                      <a:pt x="1026" y="257"/>
                    </a:lnTo>
                    <a:lnTo>
                      <a:pt x="1026" y="258"/>
                    </a:lnTo>
                    <a:lnTo>
                      <a:pt x="1024" y="258"/>
                    </a:lnTo>
                    <a:lnTo>
                      <a:pt x="1024" y="260"/>
                    </a:lnTo>
                    <a:lnTo>
                      <a:pt x="1022" y="260"/>
                    </a:lnTo>
                    <a:lnTo>
                      <a:pt x="1020" y="260"/>
                    </a:lnTo>
                    <a:lnTo>
                      <a:pt x="1020" y="262"/>
                    </a:lnTo>
                    <a:lnTo>
                      <a:pt x="1020" y="263"/>
                    </a:lnTo>
                    <a:lnTo>
                      <a:pt x="1020" y="262"/>
                    </a:lnTo>
                    <a:lnTo>
                      <a:pt x="1022" y="262"/>
                    </a:lnTo>
                    <a:lnTo>
                      <a:pt x="1024" y="262"/>
                    </a:lnTo>
                    <a:lnTo>
                      <a:pt x="1022" y="262"/>
                    </a:lnTo>
                    <a:lnTo>
                      <a:pt x="1022" y="263"/>
                    </a:lnTo>
                    <a:lnTo>
                      <a:pt x="1024" y="263"/>
                    </a:lnTo>
                    <a:lnTo>
                      <a:pt x="1024" y="262"/>
                    </a:lnTo>
                    <a:lnTo>
                      <a:pt x="1026" y="262"/>
                    </a:lnTo>
                    <a:lnTo>
                      <a:pt x="1026" y="263"/>
                    </a:lnTo>
                    <a:lnTo>
                      <a:pt x="1026" y="262"/>
                    </a:lnTo>
                    <a:lnTo>
                      <a:pt x="1027" y="262"/>
                    </a:lnTo>
                    <a:lnTo>
                      <a:pt x="1026" y="262"/>
                    </a:lnTo>
                    <a:lnTo>
                      <a:pt x="1027" y="263"/>
                    </a:lnTo>
                    <a:lnTo>
                      <a:pt x="1027" y="262"/>
                    </a:lnTo>
                    <a:lnTo>
                      <a:pt x="1027" y="260"/>
                    </a:lnTo>
                    <a:lnTo>
                      <a:pt x="1029" y="260"/>
                    </a:lnTo>
                    <a:lnTo>
                      <a:pt x="1029" y="262"/>
                    </a:lnTo>
                    <a:lnTo>
                      <a:pt x="1031" y="262"/>
                    </a:lnTo>
                    <a:lnTo>
                      <a:pt x="1031" y="263"/>
                    </a:lnTo>
                    <a:lnTo>
                      <a:pt x="1031" y="262"/>
                    </a:lnTo>
                    <a:lnTo>
                      <a:pt x="1031" y="260"/>
                    </a:lnTo>
                    <a:lnTo>
                      <a:pt x="1032" y="260"/>
                    </a:lnTo>
                    <a:lnTo>
                      <a:pt x="1034" y="260"/>
                    </a:lnTo>
                    <a:lnTo>
                      <a:pt x="1032" y="260"/>
                    </a:lnTo>
                    <a:lnTo>
                      <a:pt x="1031" y="260"/>
                    </a:lnTo>
                    <a:lnTo>
                      <a:pt x="1031" y="258"/>
                    </a:lnTo>
                    <a:lnTo>
                      <a:pt x="1031" y="257"/>
                    </a:lnTo>
                    <a:lnTo>
                      <a:pt x="1032" y="257"/>
                    </a:lnTo>
                    <a:lnTo>
                      <a:pt x="1034" y="257"/>
                    </a:lnTo>
                    <a:lnTo>
                      <a:pt x="1036" y="257"/>
                    </a:lnTo>
                    <a:lnTo>
                      <a:pt x="1037" y="257"/>
                    </a:lnTo>
                    <a:lnTo>
                      <a:pt x="1039" y="258"/>
                    </a:lnTo>
                    <a:lnTo>
                      <a:pt x="1041" y="258"/>
                    </a:lnTo>
                    <a:lnTo>
                      <a:pt x="1043" y="258"/>
                    </a:lnTo>
                    <a:lnTo>
                      <a:pt x="1043" y="260"/>
                    </a:lnTo>
                    <a:lnTo>
                      <a:pt x="1044" y="260"/>
                    </a:lnTo>
                    <a:lnTo>
                      <a:pt x="1046" y="262"/>
                    </a:lnTo>
                    <a:lnTo>
                      <a:pt x="1048" y="262"/>
                    </a:lnTo>
                    <a:lnTo>
                      <a:pt x="1049" y="262"/>
                    </a:lnTo>
                    <a:lnTo>
                      <a:pt x="1049" y="263"/>
                    </a:lnTo>
                    <a:lnTo>
                      <a:pt x="1051" y="263"/>
                    </a:lnTo>
                    <a:lnTo>
                      <a:pt x="1053" y="263"/>
                    </a:lnTo>
                    <a:lnTo>
                      <a:pt x="1053" y="265"/>
                    </a:lnTo>
                    <a:lnTo>
                      <a:pt x="1054" y="265"/>
                    </a:lnTo>
                    <a:lnTo>
                      <a:pt x="1056" y="265"/>
                    </a:lnTo>
                    <a:lnTo>
                      <a:pt x="1058" y="267"/>
                    </a:lnTo>
                    <a:lnTo>
                      <a:pt x="1060" y="267"/>
                    </a:lnTo>
                    <a:lnTo>
                      <a:pt x="1061" y="268"/>
                    </a:lnTo>
                    <a:lnTo>
                      <a:pt x="1063" y="268"/>
                    </a:lnTo>
                    <a:lnTo>
                      <a:pt x="1065" y="268"/>
                    </a:lnTo>
                    <a:lnTo>
                      <a:pt x="1066" y="270"/>
                    </a:lnTo>
                    <a:lnTo>
                      <a:pt x="1068" y="270"/>
                    </a:lnTo>
                    <a:lnTo>
                      <a:pt x="1070" y="270"/>
                    </a:lnTo>
                    <a:lnTo>
                      <a:pt x="1071" y="270"/>
                    </a:lnTo>
                    <a:lnTo>
                      <a:pt x="1071" y="272"/>
                    </a:lnTo>
                    <a:lnTo>
                      <a:pt x="1073" y="274"/>
                    </a:lnTo>
                    <a:lnTo>
                      <a:pt x="1071" y="274"/>
                    </a:lnTo>
                    <a:lnTo>
                      <a:pt x="1073" y="274"/>
                    </a:lnTo>
                    <a:lnTo>
                      <a:pt x="1073" y="272"/>
                    </a:lnTo>
                    <a:lnTo>
                      <a:pt x="1073" y="274"/>
                    </a:lnTo>
                    <a:lnTo>
                      <a:pt x="1073" y="272"/>
                    </a:lnTo>
                    <a:lnTo>
                      <a:pt x="1073" y="274"/>
                    </a:lnTo>
                    <a:lnTo>
                      <a:pt x="1075" y="274"/>
                    </a:lnTo>
                    <a:lnTo>
                      <a:pt x="1075" y="272"/>
                    </a:lnTo>
                    <a:lnTo>
                      <a:pt x="1077" y="272"/>
                    </a:lnTo>
                    <a:lnTo>
                      <a:pt x="1075" y="272"/>
                    </a:lnTo>
                    <a:lnTo>
                      <a:pt x="1073" y="272"/>
                    </a:lnTo>
                    <a:lnTo>
                      <a:pt x="1075" y="272"/>
                    </a:lnTo>
                    <a:lnTo>
                      <a:pt x="1075" y="270"/>
                    </a:lnTo>
                    <a:lnTo>
                      <a:pt x="1077" y="272"/>
                    </a:lnTo>
                    <a:lnTo>
                      <a:pt x="1078" y="272"/>
                    </a:lnTo>
                    <a:lnTo>
                      <a:pt x="1078" y="274"/>
                    </a:lnTo>
                    <a:lnTo>
                      <a:pt x="1078" y="272"/>
                    </a:lnTo>
                    <a:lnTo>
                      <a:pt x="1080" y="272"/>
                    </a:lnTo>
                    <a:lnTo>
                      <a:pt x="1080" y="270"/>
                    </a:lnTo>
                    <a:lnTo>
                      <a:pt x="1082" y="270"/>
                    </a:lnTo>
                    <a:lnTo>
                      <a:pt x="1083" y="270"/>
                    </a:lnTo>
                    <a:lnTo>
                      <a:pt x="1085" y="270"/>
                    </a:lnTo>
                    <a:lnTo>
                      <a:pt x="1087" y="270"/>
                    </a:lnTo>
                    <a:lnTo>
                      <a:pt x="1085" y="272"/>
                    </a:lnTo>
                    <a:lnTo>
                      <a:pt x="1087" y="272"/>
                    </a:lnTo>
                    <a:lnTo>
                      <a:pt x="1087" y="270"/>
                    </a:lnTo>
                    <a:lnTo>
                      <a:pt x="1088" y="272"/>
                    </a:lnTo>
                    <a:lnTo>
                      <a:pt x="1090" y="272"/>
                    </a:lnTo>
                    <a:lnTo>
                      <a:pt x="1090" y="274"/>
                    </a:lnTo>
                    <a:lnTo>
                      <a:pt x="1092" y="274"/>
                    </a:lnTo>
                    <a:lnTo>
                      <a:pt x="1092" y="275"/>
                    </a:lnTo>
                    <a:lnTo>
                      <a:pt x="1094" y="275"/>
                    </a:lnTo>
                    <a:lnTo>
                      <a:pt x="1095" y="275"/>
                    </a:lnTo>
                    <a:lnTo>
                      <a:pt x="1095" y="277"/>
                    </a:lnTo>
                    <a:lnTo>
                      <a:pt x="1097" y="277"/>
                    </a:lnTo>
                    <a:lnTo>
                      <a:pt x="1097" y="275"/>
                    </a:lnTo>
                    <a:lnTo>
                      <a:pt x="1099" y="275"/>
                    </a:lnTo>
                    <a:lnTo>
                      <a:pt x="1099" y="277"/>
                    </a:lnTo>
                    <a:lnTo>
                      <a:pt x="1100" y="277"/>
                    </a:lnTo>
                    <a:lnTo>
                      <a:pt x="1100" y="275"/>
                    </a:lnTo>
                    <a:lnTo>
                      <a:pt x="1100" y="277"/>
                    </a:lnTo>
                    <a:lnTo>
                      <a:pt x="1102" y="277"/>
                    </a:lnTo>
                    <a:lnTo>
                      <a:pt x="1104" y="277"/>
                    </a:lnTo>
                    <a:lnTo>
                      <a:pt x="1104" y="275"/>
                    </a:lnTo>
                    <a:lnTo>
                      <a:pt x="1105" y="275"/>
                    </a:lnTo>
                    <a:lnTo>
                      <a:pt x="1107" y="275"/>
                    </a:lnTo>
                    <a:lnTo>
                      <a:pt x="1109" y="275"/>
                    </a:lnTo>
                    <a:lnTo>
                      <a:pt x="1111" y="275"/>
                    </a:lnTo>
                    <a:lnTo>
                      <a:pt x="1112" y="275"/>
                    </a:lnTo>
                    <a:lnTo>
                      <a:pt x="1114" y="275"/>
                    </a:lnTo>
                    <a:lnTo>
                      <a:pt x="1116" y="275"/>
                    </a:lnTo>
                    <a:lnTo>
                      <a:pt x="1117" y="275"/>
                    </a:lnTo>
                    <a:lnTo>
                      <a:pt x="1119" y="275"/>
                    </a:lnTo>
                    <a:lnTo>
                      <a:pt x="1121" y="275"/>
                    </a:lnTo>
                    <a:lnTo>
                      <a:pt x="1121" y="274"/>
                    </a:lnTo>
                    <a:lnTo>
                      <a:pt x="1122" y="274"/>
                    </a:lnTo>
                    <a:lnTo>
                      <a:pt x="1124" y="274"/>
                    </a:lnTo>
                    <a:lnTo>
                      <a:pt x="1126" y="274"/>
                    </a:lnTo>
                    <a:lnTo>
                      <a:pt x="1128" y="274"/>
                    </a:lnTo>
                    <a:lnTo>
                      <a:pt x="1129" y="274"/>
                    </a:lnTo>
                    <a:lnTo>
                      <a:pt x="1131" y="272"/>
                    </a:lnTo>
                    <a:lnTo>
                      <a:pt x="1133" y="272"/>
                    </a:lnTo>
                    <a:lnTo>
                      <a:pt x="1133" y="274"/>
                    </a:lnTo>
                    <a:lnTo>
                      <a:pt x="1134" y="274"/>
                    </a:lnTo>
                    <a:lnTo>
                      <a:pt x="1136" y="274"/>
                    </a:lnTo>
                    <a:lnTo>
                      <a:pt x="1136" y="272"/>
                    </a:lnTo>
                    <a:lnTo>
                      <a:pt x="1138" y="272"/>
                    </a:lnTo>
                    <a:lnTo>
                      <a:pt x="1138" y="274"/>
                    </a:lnTo>
                    <a:lnTo>
                      <a:pt x="1139" y="274"/>
                    </a:lnTo>
                    <a:lnTo>
                      <a:pt x="1141" y="274"/>
                    </a:lnTo>
                    <a:lnTo>
                      <a:pt x="1143" y="274"/>
                    </a:lnTo>
                    <a:lnTo>
                      <a:pt x="1145" y="274"/>
                    </a:lnTo>
                    <a:lnTo>
                      <a:pt x="1146" y="274"/>
                    </a:lnTo>
                    <a:lnTo>
                      <a:pt x="1148" y="274"/>
                    </a:lnTo>
                    <a:lnTo>
                      <a:pt x="1150" y="274"/>
                    </a:lnTo>
                    <a:lnTo>
                      <a:pt x="1150" y="275"/>
                    </a:lnTo>
                    <a:lnTo>
                      <a:pt x="1151" y="275"/>
                    </a:lnTo>
                    <a:lnTo>
                      <a:pt x="1150" y="275"/>
                    </a:lnTo>
                    <a:lnTo>
                      <a:pt x="1151" y="275"/>
                    </a:lnTo>
                    <a:lnTo>
                      <a:pt x="1153" y="275"/>
                    </a:lnTo>
                    <a:lnTo>
                      <a:pt x="1153" y="277"/>
                    </a:lnTo>
                    <a:lnTo>
                      <a:pt x="1155" y="277"/>
                    </a:lnTo>
                    <a:lnTo>
                      <a:pt x="1156" y="279"/>
                    </a:lnTo>
                    <a:lnTo>
                      <a:pt x="1158" y="279"/>
                    </a:lnTo>
                    <a:lnTo>
                      <a:pt x="1160" y="280"/>
                    </a:lnTo>
                    <a:lnTo>
                      <a:pt x="1162" y="280"/>
                    </a:lnTo>
                    <a:lnTo>
                      <a:pt x="1162" y="282"/>
                    </a:lnTo>
                    <a:lnTo>
                      <a:pt x="1163" y="282"/>
                    </a:lnTo>
                    <a:lnTo>
                      <a:pt x="1165" y="282"/>
                    </a:lnTo>
                    <a:lnTo>
                      <a:pt x="1165" y="284"/>
                    </a:lnTo>
                    <a:lnTo>
                      <a:pt x="1167" y="284"/>
                    </a:lnTo>
                    <a:lnTo>
                      <a:pt x="1168" y="285"/>
                    </a:lnTo>
                    <a:lnTo>
                      <a:pt x="1170" y="285"/>
                    </a:lnTo>
                    <a:lnTo>
                      <a:pt x="1172" y="285"/>
                    </a:lnTo>
                    <a:lnTo>
                      <a:pt x="1172" y="287"/>
                    </a:lnTo>
                    <a:lnTo>
                      <a:pt x="1173" y="287"/>
                    </a:lnTo>
                    <a:lnTo>
                      <a:pt x="1175" y="287"/>
                    </a:lnTo>
                    <a:lnTo>
                      <a:pt x="1175" y="289"/>
                    </a:lnTo>
                    <a:lnTo>
                      <a:pt x="1175" y="291"/>
                    </a:lnTo>
                    <a:lnTo>
                      <a:pt x="1177" y="291"/>
                    </a:lnTo>
                    <a:lnTo>
                      <a:pt x="1179" y="292"/>
                    </a:lnTo>
                    <a:lnTo>
                      <a:pt x="1180" y="294"/>
                    </a:lnTo>
                    <a:lnTo>
                      <a:pt x="1180" y="292"/>
                    </a:lnTo>
                    <a:lnTo>
                      <a:pt x="1182" y="292"/>
                    </a:lnTo>
                    <a:lnTo>
                      <a:pt x="1184" y="294"/>
                    </a:lnTo>
                    <a:lnTo>
                      <a:pt x="1184" y="296"/>
                    </a:lnTo>
                    <a:lnTo>
                      <a:pt x="1185" y="296"/>
                    </a:lnTo>
                    <a:lnTo>
                      <a:pt x="1185" y="297"/>
                    </a:lnTo>
                    <a:lnTo>
                      <a:pt x="1187" y="297"/>
                    </a:lnTo>
                    <a:lnTo>
                      <a:pt x="1189" y="297"/>
                    </a:lnTo>
                    <a:lnTo>
                      <a:pt x="1189" y="299"/>
                    </a:lnTo>
                    <a:lnTo>
                      <a:pt x="1190" y="301"/>
                    </a:lnTo>
                    <a:lnTo>
                      <a:pt x="1192" y="301"/>
                    </a:lnTo>
                    <a:lnTo>
                      <a:pt x="1192" y="302"/>
                    </a:lnTo>
                    <a:lnTo>
                      <a:pt x="1194" y="302"/>
                    </a:lnTo>
                    <a:lnTo>
                      <a:pt x="1196" y="302"/>
                    </a:lnTo>
                    <a:lnTo>
                      <a:pt x="1197" y="304"/>
                    </a:lnTo>
                    <a:lnTo>
                      <a:pt x="1199" y="304"/>
                    </a:lnTo>
                    <a:lnTo>
                      <a:pt x="1199" y="302"/>
                    </a:lnTo>
                    <a:lnTo>
                      <a:pt x="1199" y="304"/>
                    </a:lnTo>
                    <a:lnTo>
                      <a:pt x="1201" y="304"/>
                    </a:lnTo>
                    <a:lnTo>
                      <a:pt x="1201" y="306"/>
                    </a:lnTo>
                    <a:lnTo>
                      <a:pt x="1202" y="308"/>
                    </a:lnTo>
                    <a:lnTo>
                      <a:pt x="1202" y="309"/>
                    </a:lnTo>
                    <a:lnTo>
                      <a:pt x="1204" y="309"/>
                    </a:lnTo>
                    <a:lnTo>
                      <a:pt x="1204" y="311"/>
                    </a:lnTo>
                    <a:lnTo>
                      <a:pt x="1206" y="311"/>
                    </a:lnTo>
                    <a:lnTo>
                      <a:pt x="1207" y="313"/>
                    </a:lnTo>
                    <a:lnTo>
                      <a:pt x="1209" y="314"/>
                    </a:lnTo>
                    <a:lnTo>
                      <a:pt x="1209" y="316"/>
                    </a:lnTo>
                    <a:lnTo>
                      <a:pt x="1211" y="316"/>
                    </a:lnTo>
                    <a:lnTo>
                      <a:pt x="1211" y="318"/>
                    </a:lnTo>
                    <a:lnTo>
                      <a:pt x="1213" y="319"/>
                    </a:lnTo>
                    <a:lnTo>
                      <a:pt x="1214" y="321"/>
                    </a:lnTo>
                    <a:lnTo>
                      <a:pt x="1216" y="321"/>
                    </a:lnTo>
                    <a:lnTo>
                      <a:pt x="1216" y="323"/>
                    </a:lnTo>
                    <a:lnTo>
                      <a:pt x="1218" y="323"/>
                    </a:lnTo>
                    <a:lnTo>
                      <a:pt x="1218" y="325"/>
                    </a:lnTo>
                    <a:lnTo>
                      <a:pt x="1219" y="326"/>
                    </a:lnTo>
                    <a:lnTo>
                      <a:pt x="1221" y="326"/>
                    </a:lnTo>
                    <a:lnTo>
                      <a:pt x="1223" y="326"/>
                    </a:lnTo>
                    <a:lnTo>
                      <a:pt x="1223" y="328"/>
                    </a:lnTo>
                    <a:lnTo>
                      <a:pt x="1224" y="328"/>
                    </a:lnTo>
                    <a:lnTo>
                      <a:pt x="1224" y="330"/>
                    </a:lnTo>
                    <a:lnTo>
                      <a:pt x="1224" y="331"/>
                    </a:lnTo>
                    <a:lnTo>
                      <a:pt x="1226" y="331"/>
                    </a:lnTo>
                    <a:lnTo>
                      <a:pt x="1228" y="333"/>
                    </a:lnTo>
                    <a:lnTo>
                      <a:pt x="1230" y="335"/>
                    </a:lnTo>
                    <a:lnTo>
                      <a:pt x="1231" y="335"/>
                    </a:lnTo>
                    <a:lnTo>
                      <a:pt x="1233" y="335"/>
                    </a:lnTo>
                    <a:lnTo>
                      <a:pt x="1235" y="335"/>
                    </a:lnTo>
                    <a:lnTo>
                      <a:pt x="1235" y="337"/>
                    </a:lnTo>
                    <a:lnTo>
                      <a:pt x="1236" y="337"/>
                    </a:lnTo>
                    <a:lnTo>
                      <a:pt x="1238" y="337"/>
                    </a:lnTo>
                    <a:lnTo>
                      <a:pt x="1238" y="338"/>
                    </a:lnTo>
                    <a:lnTo>
                      <a:pt x="1240" y="338"/>
                    </a:lnTo>
                    <a:lnTo>
                      <a:pt x="1240" y="340"/>
                    </a:lnTo>
                    <a:lnTo>
                      <a:pt x="1240" y="342"/>
                    </a:lnTo>
                    <a:lnTo>
                      <a:pt x="1241" y="342"/>
                    </a:lnTo>
                    <a:lnTo>
                      <a:pt x="1241" y="343"/>
                    </a:lnTo>
                    <a:lnTo>
                      <a:pt x="1243" y="343"/>
                    </a:lnTo>
                    <a:lnTo>
                      <a:pt x="1243" y="345"/>
                    </a:lnTo>
                    <a:lnTo>
                      <a:pt x="1245" y="345"/>
                    </a:lnTo>
                    <a:lnTo>
                      <a:pt x="1247" y="345"/>
                    </a:lnTo>
                    <a:lnTo>
                      <a:pt x="1248" y="345"/>
                    </a:lnTo>
                    <a:lnTo>
                      <a:pt x="1250" y="345"/>
                    </a:lnTo>
                    <a:lnTo>
                      <a:pt x="1252" y="345"/>
                    </a:lnTo>
                    <a:lnTo>
                      <a:pt x="1253" y="345"/>
                    </a:lnTo>
                    <a:lnTo>
                      <a:pt x="1253" y="347"/>
                    </a:lnTo>
                    <a:lnTo>
                      <a:pt x="1255" y="347"/>
                    </a:lnTo>
                    <a:lnTo>
                      <a:pt x="1255" y="348"/>
                    </a:lnTo>
                    <a:lnTo>
                      <a:pt x="1257" y="348"/>
                    </a:lnTo>
                    <a:lnTo>
                      <a:pt x="1258" y="348"/>
                    </a:lnTo>
                    <a:lnTo>
                      <a:pt x="1258" y="350"/>
                    </a:lnTo>
                    <a:lnTo>
                      <a:pt x="1260" y="350"/>
                    </a:lnTo>
                    <a:lnTo>
                      <a:pt x="1262" y="350"/>
                    </a:lnTo>
                    <a:lnTo>
                      <a:pt x="1264" y="350"/>
                    </a:lnTo>
                    <a:lnTo>
                      <a:pt x="1262" y="350"/>
                    </a:lnTo>
                    <a:lnTo>
                      <a:pt x="1264" y="350"/>
                    </a:lnTo>
                    <a:lnTo>
                      <a:pt x="1265" y="350"/>
                    </a:lnTo>
                    <a:lnTo>
                      <a:pt x="1267" y="350"/>
                    </a:lnTo>
                    <a:lnTo>
                      <a:pt x="1267" y="348"/>
                    </a:lnTo>
                    <a:lnTo>
                      <a:pt x="1269" y="350"/>
                    </a:lnTo>
                    <a:lnTo>
                      <a:pt x="1270" y="350"/>
                    </a:lnTo>
                    <a:lnTo>
                      <a:pt x="1272" y="350"/>
                    </a:lnTo>
                    <a:lnTo>
                      <a:pt x="1274" y="350"/>
                    </a:lnTo>
                    <a:lnTo>
                      <a:pt x="1275" y="350"/>
                    </a:lnTo>
                    <a:lnTo>
                      <a:pt x="1277" y="350"/>
                    </a:lnTo>
                    <a:lnTo>
                      <a:pt x="1279" y="350"/>
                    </a:lnTo>
                    <a:lnTo>
                      <a:pt x="1281" y="348"/>
                    </a:lnTo>
                    <a:lnTo>
                      <a:pt x="1282" y="348"/>
                    </a:lnTo>
                    <a:lnTo>
                      <a:pt x="1284" y="348"/>
                    </a:lnTo>
                    <a:lnTo>
                      <a:pt x="1286" y="348"/>
                    </a:lnTo>
                    <a:lnTo>
                      <a:pt x="1287" y="348"/>
                    </a:lnTo>
                    <a:lnTo>
                      <a:pt x="1289" y="350"/>
                    </a:lnTo>
                    <a:lnTo>
                      <a:pt x="1291" y="350"/>
                    </a:lnTo>
                    <a:lnTo>
                      <a:pt x="1292" y="350"/>
                    </a:lnTo>
                    <a:lnTo>
                      <a:pt x="1294" y="350"/>
                    </a:lnTo>
                    <a:lnTo>
                      <a:pt x="1294" y="352"/>
                    </a:lnTo>
                    <a:lnTo>
                      <a:pt x="1296" y="350"/>
                    </a:lnTo>
                    <a:lnTo>
                      <a:pt x="1296" y="352"/>
                    </a:lnTo>
                    <a:lnTo>
                      <a:pt x="1298" y="352"/>
                    </a:lnTo>
                    <a:lnTo>
                      <a:pt x="1299" y="352"/>
                    </a:lnTo>
                    <a:lnTo>
                      <a:pt x="1301" y="352"/>
                    </a:lnTo>
                    <a:lnTo>
                      <a:pt x="1301" y="354"/>
                    </a:lnTo>
                    <a:lnTo>
                      <a:pt x="1303" y="354"/>
                    </a:lnTo>
                    <a:lnTo>
                      <a:pt x="1303" y="355"/>
                    </a:lnTo>
                    <a:lnTo>
                      <a:pt x="1304" y="357"/>
                    </a:lnTo>
                    <a:lnTo>
                      <a:pt x="1304" y="359"/>
                    </a:lnTo>
                    <a:lnTo>
                      <a:pt x="1306" y="360"/>
                    </a:lnTo>
                    <a:lnTo>
                      <a:pt x="1306" y="362"/>
                    </a:lnTo>
                    <a:lnTo>
                      <a:pt x="1308" y="364"/>
                    </a:lnTo>
                    <a:lnTo>
                      <a:pt x="1308" y="365"/>
                    </a:lnTo>
                    <a:lnTo>
                      <a:pt x="1308" y="367"/>
                    </a:lnTo>
                    <a:lnTo>
                      <a:pt x="1309" y="367"/>
                    </a:lnTo>
                    <a:lnTo>
                      <a:pt x="1309" y="369"/>
                    </a:lnTo>
                    <a:lnTo>
                      <a:pt x="1309" y="371"/>
                    </a:lnTo>
                    <a:lnTo>
                      <a:pt x="1309" y="372"/>
                    </a:lnTo>
                    <a:lnTo>
                      <a:pt x="1309" y="374"/>
                    </a:lnTo>
                    <a:lnTo>
                      <a:pt x="1311" y="374"/>
                    </a:lnTo>
                    <a:lnTo>
                      <a:pt x="1311" y="376"/>
                    </a:lnTo>
                    <a:lnTo>
                      <a:pt x="1311" y="377"/>
                    </a:lnTo>
                    <a:lnTo>
                      <a:pt x="1311" y="379"/>
                    </a:lnTo>
                    <a:lnTo>
                      <a:pt x="1313" y="379"/>
                    </a:lnTo>
                    <a:lnTo>
                      <a:pt x="1313" y="381"/>
                    </a:lnTo>
                    <a:lnTo>
                      <a:pt x="1313" y="382"/>
                    </a:lnTo>
                    <a:lnTo>
                      <a:pt x="1313" y="384"/>
                    </a:lnTo>
                    <a:lnTo>
                      <a:pt x="1313" y="386"/>
                    </a:lnTo>
                    <a:lnTo>
                      <a:pt x="1313" y="388"/>
                    </a:lnTo>
                    <a:lnTo>
                      <a:pt x="1315" y="388"/>
                    </a:lnTo>
                    <a:lnTo>
                      <a:pt x="1315" y="389"/>
                    </a:lnTo>
                    <a:lnTo>
                      <a:pt x="1315" y="391"/>
                    </a:lnTo>
                    <a:lnTo>
                      <a:pt x="1316" y="391"/>
                    </a:lnTo>
                    <a:lnTo>
                      <a:pt x="1315" y="391"/>
                    </a:lnTo>
                    <a:lnTo>
                      <a:pt x="1316" y="393"/>
                    </a:lnTo>
                    <a:lnTo>
                      <a:pt x="1316" y="394"/>
                    </a:lnTo>
                    <a:lnTo>
                      <a:pt x="1318" y="394"/>
                    </a:lnTo>
                    <a:lnTo>
                      <a:pt x="1318" y="396"/>
                    </a:lnTo>
                    <a:lnTo>
                      <a:pt x="1318" y="398"/>
                    </a:lnTo>
                    <a:lnTo>
                      <a:pt x="1318" y="399"/>
                    </a:lnTo>
                    <a:lnTo>
                      <a:pt x="1318" y="401"/>
                    </a:lnTo>
                    <a:lnTo>
                      <a:pt x="1318" y="403"/>
                    </a:lnTo>
                    <a:lnTo>
                      <a:pt x="1318" y="405"/>
                    </a:lnTo>
                    <a:lnTo>
                      <a:pt x="1320" y="405"/>
                    </a:lnTo>
                    <a:lnTo>
                      <a:pt x="1318" y="405"/>
                    </a:lnTo>
                    <a:lnTo>
                      <a:pt x="1320" y="405"/>
                    </a:lnTo>
                    <a:lnTo>
                      <a:pt x="1318" y="406"/>
                    </a:lnTo>
                    <a:lnTo>
                      <a:pt x="1320" y="406"/>
                    </a:lnTo>
                    <a:lnTo>
                      <a:pt x="1318" y="406"/>
                    </a:lnTo>
                    <a:lnTo>
                      <a:pt x="1320" y="406"/>
                    </a:lnTo>
                    <a:lnTo>
                      <a:pt x="1320" y="408"/>
                    </a:lnTo>
                    <a:lnTo>
                      <a:pt x="1320" y="410"/>
                    </a:lnTo>
                    <a:lnTo>
                      <a:pt x="1320" y="411"/>
                    </a:lnTo>
                    <a:lnTo>
                      <a:pt x="1321" y="411"/>
                    </a:lnTo>
                    <a:lnTo>
                      <a:pt x="1321" y="413"/>
                    </a:lnTo>
                    <a:lnTo>
                      <a:pt x="1323" y="413"/>
                    </a:lnTo>
                    <a:lnTo>
                      <a:pt x="1323" y="415"/>
                    </a:lnTo>
                    <a:lnTo>
                      <a:pt x="1323" y="416"/>
                    </a:lnTo>
                    <a:lnTo>
                      <a:pt x="1321" y="416"/>
                    </a:lnTo>
                    <a:lnTo>
                      <a:pt x="1323" y="418"/>
                    </a:lnTo>
                    <a:lnTo>
                      <a:pt x="1321" y="418"/>
                    </a:lnTo>
                    <a:lnTo>
                      <a:pt x="1323" y="418"/>
                    </a:lnTo>
                    <a:lnTo>
                      <a:pt x="1323" y="420"/>
                    </a:lnTo>
                    <a:lnTo>
                      <a:pt x="1323" y="422"/>
                    </a:lnTo>
                    <a:lnTo>
                      <a:pt x="1323" y="423"/>
                    </a:lnTo>
                    <a:lnTo>
                      <a:pt x="1323" y="425"/>
                    </a:lnTo>
                    <a:lnTo>
                      <a:pt x="1323" y="427"/>
                    </a:lnTo>
                    <a:lnTo>
                      <a:pt x="1323" y="428"/>
                    </a:lnTo>
                    <a:lnTo>
                      <a:pt x="1323" y="430"/>
                    </a:lnTo>
                    <a:lnTo>
                      <a:pt x="1323" y="432"/>
                    </a:lnTo>
                    <a:lnTo>
                      <a:pt x="1323" y="433"/>
                    </a:lnTo>
                    <a:lnTo>
                      <a:pt x="1321" y="433"/>
                    </a:lnTo>
                    <a:lnTo>
                      <a:pt x="1323" y="435"/>
                    </a:lnTo>
                    <a:lnTo>
                      <a:pt x="1323" y="437"/>
                    </a:lnTo>
                    <a:lnTo>
                      <a:pt x="1323" y="439"/>
                    </a:lnTo>
                    <a:lnTo>
                      <a:pt x="1321" y="439"/>
                    </a:lnTo>
                    <a:lnTo>
                      <a:pt x="1323" y="439"/>
                    </a:lnTo>
                    <a:lnTo>
                      <a:pt x="1321" y="439"/>
                    </a:lnTo>
                    <a:lnTo>
                      <a:pt x="1323" y="440"/>
                    </a:lnTo>
                    <a:lnTo>
                      <a:pt x="1321" y="442"/>
                    </a:lnTo>
                    <a:lnTo>
                      <a:pt x="1321" y="444"/>
                    </a:lnTo>
                    <a:lnTo>
                      <a:pt x="1323" y="445"/>
                    </a:lnTo>
                    <a:lnTo>
                      <a:pt x="1323" y="447"/>
                    </a:lnTo>
                    <a:lnTo>
                      <a:pt x="1321" y="449"/>
                    </a:lnTo>
                    <a:lnTo>
                      <a:pt x="1321" y="450"/>
                    </a:lnTo>
                    <a:lnTo>
                      <a:pt x="1320" y="452"/>
                    </a:lnTo>
                    <a:lnTo>
                      <a:pt x="1321" y="452"/>
                    </a:lnTo>
                    <a:lnTo>
                      <a:pt x="1320" y="452"/>
                    </a:lnTo>
                    <a:lnTo>
                      <a:pt x="1320" y="454"/>
                    </a:lnTo>
                    <a:lnTo>
                      <a:pt x="1320" y="456"/>
                    </a:lnTo>
                    <a:lnTo>
                      <a:pt x="1320" y="457"/>
                    </a:lnTo>
                    <a:lnTo>
                      <a:pt x="1318" y="457"/>
                    </a:lnTo>
                    <a:lnTo>
                      <a:pt x="1318" y="459"/>
                    </a:lnTo>
                    <a:lnTo>
                      <a:pt x="1318" y="461"/>
                    </a:lnTo>
                    <a:lnTo>
                      <a:pt x="1318" y="462"/>
                    </a:lnTo>
                    <a:lnTo>
                      <a:pt x="1318" y="464"/>
                    </a:lnTo>
                    <a:lnTo>
                      <a:pt x="1316" y="464"/>
                    </a:lnTo>
                    <a:lnTo>
                      <a:pt x="1316" y="466"/>
                    </a:lnTo>
                    <a:lnTo>
                      <a:pt x="1316" y="467"/>
                    </a:lnTo>
                    <a:lnTo>
                      <a:pt x="1315" y="469"/>
                    </a:lnTo>
                    <a:lnTo>
                      <a:pt x="1315" y="471"/>
                    </a:lnTo>
                    <a:lnTo>
                      <a:pt x="1315" y="473"/>
                    </a:lnTo>
                    <a:lnTo>
                      <a:pt x="1313" y="473"/>
                    </a:lnTo>
                    <a:lnTo>
                      <a:pt x="1315" y="473"/>
                    </a:lnTo>
                    <a:lnTo>
                      <a:pt x="1313" y="474"/>
                    </a:lnTo>
                    <a:lnTo>
                      <a:pt x="1313" y="476"/>
                    </a:lnTo>
                    <a:lnTo>
                      <a:pt x="1313" y="478"/>
                    </a:lnTo>
                    <a:lnTo>
                      <a:pt x="1311" y="478"/>
                    </a:lnTo>
                    <a:lnTo>
                      <a:pt x="1313" y="478"/>
                    </a:lnTo>
                    <a:lnTo>
                      <a:pt x="1311" y="479"/>
                    </a:lnTo>
                    <a:lnTo>
                      <a:pt x="1311" y="481"/>
                    </a:lnTo>
                    <a:lnTo>
                      <a:pt x="1311" y="483"/>
                    </a:lnTo>
                    <a:lnTo>
                      <a:pt x="1309" y="483"/>
                    </a:lnTo>
                    <a:lnTo>
                      <a:pt x="1309" y="485"/>
                    </a:lnTo>
                    <a:lnTo>
                      <a:pt x="1308" y="485"/>
                    </a:lnTo>
                    <a:lnTo>
                      <a:pt x="1308" y="486"/>
                    </a:lnTo>
                    <a:lnTo>
                      <a:pt x="1308" y="488"/>
                    </a:lnTo>
                    <a:lnTo>
                      <a:pt x="1306" y="488"/>
                    </a:lnTo>
                    <a:lnTo>
                      <a:pt x="1306" y="490"/>
                    </a:lnTo>
                    <a:lnTo>
                      <a:pt x="1306" y="491"/>
                    </a:lnTo>
                    <a:lnTo>
                      <a:pt x="1304" y="491"/>
                    </a:lnTo>
                    <a:lnTo>
                      <a:pt x="1304" y="493"/>
                    </a:lnTo>
                    <a:lnTo>
                      <a:pt x="1303" y="493"/>
                    </a:lnTo>
                    <a:lnTo>
                      <a:pt x="1303" y="495"/>
                    </a:lnTo>
                    <a:lnTo>
                      <a:pt x="1301" y="495"/>
                    </a:lnTo>
                    <a:lnTo>
                      <a:pt x="1301" y="496"/>
                    </a:lnTo>
                    <a:lnTo>
                      <a:pt x="1299" y="496"/>
                    </a:lnTo>
                    <a:lnTo>
                      <a:pt x="1299" y="498"/>
                    </a:lnTo>
                    <a:lnTo>
                      <a:pt x="1298" y="500"/>
                    </a:lnTo>
                    <a:lnTo>
                      <a:pt x="1296" y="500"/>
                    </a:lnTo>
                    <a:lnTo>
                      <a:pt x="1296" y="502"/>
                    </a:lnTo>
                    <a:lnTo>
                      <a:pt x="1294" y="502"/>
                    </a:lnTo>
                    <a:lnTo>
                      <a:pt x="1294" y="503"/>
                    </a:lnTo>
                    <a:lnTo>
                      <a:pt x="1292" y="505"/>
                    </a:lnTo>
                    <a:lnTo>
                      <a:pt x="1292" y="507"/>
                    </a:lnTo>
                    <a:lnTo>
                      <a:pt x="1291" y="507"/>
                    </a:lnTo>
                    <a:lnTo>
                      <a:pt x="1289" y="507"/>
                    </a:lnTo>
                    <a:lnTo>
                      <a:pt x="1289" y="508"/>
                    </a:lnTo>
                    <a:lnTo>
                      <a:pt x="1289" y="510"/>
                    </a:lnTo>
                    <a:lnTo>
                      <a:pt x="1287" y="510"/>
                    </a:lnTo>
                    <a:lnTo>
                      <a:pt x="1287" y="512"/>
                    </a:lnTo>
                    <a:lnTo>
                      <a:pt x="1286" y="512"/>
                    </a:lnTo>
                    <a:lnTo>
                      <a:pt x="1286" y="513"/>
                    </a:lnTo>
                    <a:lnTo>
                      <a:pt x="1284" y="513"/>
                    </a:lnTo>
                    <a:lnTo>
                      <a:pt x="1284" y="515"/>
                    </a:lnTo>
                    <a:lnTo>
                      <a:pt x="1284" y="517"/>
                    </a:lnTo>
                    <a:lnTo>
                      <a:pt x="1282" y="517"/>
                    </a:lnTo>
                    <a:lnTo>
                      <a:pt x="1282" y="519"/>
                    </a:lnTo>
                    <a:lnTo>
                      <a:pt x="1281" y="520"/>
                    </a:lnTo>
                    <a:lnTo>
                      <a:pt x="1279" y="520"/>
                    </a:lnTo>
                    <a:lnTo>
                      <a:pt x="1279" y="522"/>
                    </a:lnTo>
                    <a:lnTo>
                      <a:pt x="1279" y="524"/>
                    </a:lnTo>
                    <a:lnTo>
                      <a:pt x="1277" y="522"/>
                    </a:lnTo>
                    <a:lnTo>
                      <a:pt x="1277" y="524"/>
                    </a:lnTo>
                    <a:lnTo>
                      <a:pt x="1275" y="524"/>
                    </a:lnTo>
                    <a:lnTo>
                      <a:pt x="1275" y="525"/>
                    </a:lnTo>
                    <a:lnTo>
                      <a:pt x="1274" y="525"/>
                    </a:lnTo>
                    <a:lnTo>
                      <a:pt x="1274" y="527"/>
                    </a:lnTo>
                    <a:lnTo>
                      <a:pt x="1272" y="527"/>
                    </a:lnTo>
                    <a:lnTo>
                      <a:pt x="1272" y="529"/>
                    </a:lnTo>
                    <a:lnTo>
                      <a:pt x="1272" y="530"/>
                    </a:lnTo>
                    <a:lnTo>
                      <a:pt x="1270" y="532"/>
                    </a:lnTo>
                    <a:lnTo>
                      <a:pt x="1270" y="534"/>
                    </a:lnTo>
                    <a:lnTo>
                      <a:pt x="1269" y="534"/>
                    </a:lnTo>
                    <a:lnTo>
                      <a:pt x="1269" y="536"/>
                    </a:lnTo>
                    <a:lnTo>
                      <a:pt x="1267" y="536"/>
                    </a:lnTo>
                    <a:lnTo>
                      <a:pt x="1265" y="536"/>
                    </a:lnTo>
                    <a:lnTo>
                      <a:pt x="1264" y="537"/>
                    </a:lnTo>
                    <a:lnTo>
                      <a:pt x="1262" y="537"/>
                    </a:lnTo>
                    <a:lnTo>
                      <a:pt x="1260" y="539"/>
                    </a:lnTo>
                    <a:lnTo>
                      <a:pt x="1258" y="539"/>
                    </a:lnTo>
                    <a:lnTo>
                      <a:pt x="1258" y="541"/>
                    </a:lnTo>
                    <a:lnTo>
                      <a:pt x="1257" y="541"/>
                    </a:lnTo>
                    <a:lnTo>
                      <a:pt x="1255" y="541"/>
                    </a:lnTo>
                    <a:lnTo>
                      <a:pt x="1255" y="542"/>
                    </a:lnTo>
                    <a:lnTo>
                      <a:pt x="1253" y="542"/>
                    </a:lnTo>
                    <a:lnTo>
                      <a:pt x="1253" y="544"/>
                    </a:lnTo>
                    <a:lnTo>
                      <a:pt x="1252" y="546"/>
                    </a:lnTo>
                    <a:lnTo>
                      <a:pt x="1250" y="547"/>
                    </a:lnTo>
                    <a:lnTo>
                      <a:pt x="1248" y="549"/>
                    </a:lnTo>
                    <a:lnTo>
                      <a:pt x="1248" y="551"/>
                    </a:lnTo>
                    <a:lnTo>
                      <a:pt x="1248" y="549"/>
                    </a:lnTo>
                    <a:lnTo>
                      <a:pt x="1248" y="551"/>
                    </a:lnTo>
                    <a:lnTo>
                      <a:pt x="1247" y="551"/>
                    </a:lnTo>
                    <a:lnTo>
                      <a:pt x="1247" y="553"/>
                    </a:lnTo>
                    <a:lnTo>
                      <a:pt x="1245" y="554"/>
                    </a:lnTo>
                    <a:lnTo>
                      <a:pt x="1245" y="556"/>
                    </a:lnTo>
                    <a:lnTo>
                      <a:pt x="1243" y="556"/>
                    </a:lnTo>
                    <a:lnTo>
                      <a:pt x="1243" y="558"/>
                    </a:lnTo>
                    <a:lnTo>
                      <a:pt x="1243" y="559"/>
                    </a:lnTo>
                    <a:lnTo>
                      <a:pt x="1241" y="559"/>
                    </a:lnTo>
                    <a:lnTo>
                      <a:pt x="1241" y="561"/>
                    </a:lnTo>
                    <a:lnTo>
                      <a:pt x="1240" y="561"/>
                    </a:lnTo>
                    <a:lnTo>
                      <a:pt x="1240" y="563"/>
                    </a:lnTo>
                    <a:lnTo>
                      <a:pt x="1238" y="564"/>
                    </a:lnTo>
                    <a:lnTo>
                      <a:pt x="1238" y="566"/>
                    </a:lnTo>
                    <a:lnTo>
                      <a:pt x="1236" y="566"/>
                    </a:lnTo>
                    <a:lnTo>
                      <a:pt x="1238" y="568"/>
                    </a:lnTo>
                    <a:lnTo>
                      <a:pt x="1236" y="568"/>
                    </a:lnTo>
                    <a:lnTo>
                      <a:pt x="1236" y="570"/>
                    </a:lnTo>
                    <a:lnTo>
                      <a:pt x="1235" y="571"/>
                    </a:lnTo>
                    <a:lnTo>
                      <a:pt x="1233" y="573"/>
                    </a:lnTo>
                    <a:lnTo>
                      <a:pt x="1233" y="575"/>
                    </a:lnTo>
                    <a:lnTo>
                      <a:pt x="1233" y="576"/>
                    </a:lnTo>
                    <a:lnTo>
                      <a:pt x="1231" y="576"/>
                    </a:lnTo>
                    <a:lnTo>
                      <a:pt x="1231" y="578"/>
                    </a:lnTo>
                    <a:lnTo>
                      <a:pt x="1231" y="580"/>
                    </a:lnTo>
                    <a:lnTo>
                      <a:pt x="1230" y="581"/>
                    </a:lnTo>
                    <a:lnTo>
                      <a:pt x="1230" y="583"/>
                    </a:lnTo>
                    <a:lnTo>
                      <a:pt x="1228" y="585"/>
                    </a:lnTo>
                    <a:lnTo>
                      <a:pt x="1228" y="587"/>
                    </a:lnTo>
                    <a:lnTo>
                      <a:pt x="1226" y="588"/>
                    </a:lnTo>
                    <a:lnTo>
                      <a:pt x="1226" y="590"/>
                    </a:lnTo>
                    <a:lnTo>
                      <a:pt x="1224" y="592"/>
                    </a:lnTo>
                    <a:lnTo>
                      <a:pt x="1223" y="593"/>
                    </a:lnTo>
                    <a:lnTo>
                      <a:pt x="1223" y="595"/>
                    </a:lnTo>
                    <a:lnTo>
                      <a:pt x="1221" y="597"/>
                    </a:lnTo>
                    <a:lnTo>
                      <a:pt x="1221" y="598"/>
                    </a:lnTo>
                    <a:lnTo>
                      <a:pt x="1219" y="598"/>
                    </a:lnTo>
                    <a:lnTo>
                      <a:pt x="1219" y="600"/>
                    </a:lnTo>
                    <a:lnTo>
                      <a:pt x="1218" y="600"/>
                    </a:lnTo>
                    <a:lnTo>
                      <a:pt x="1218" y="602"/>
                    </a:lnTo>
                    <a:lnTo>
                      <a:pt x="1218" y="604"/>
                    </a:lnTo>
                    <a:lnTo>
                      <a:pt x="1216" y="604"/>
                    </a:lnTo>
                    <a:lnTo>
                      <a:pt x="1216" y="605"/>
                    </a:lnTo>
                    <a:lnTo>
                      <a:pt x="1214" y="607"/>
                    </a:lnTo>
                    <a:lnTo>
                      <a:pt x="1214" y="609"/>
                    </a:lnTo>
                    <a:lnTo>
                      <a:pt x="1213" y="609"/>
                    </a:lnTo>
                    <a:lnTo>
                      <a:pt x="1213" y="610"/>
                    </a:lnTo>
                    <a:lnTo>
                      <a:pt x="1211" y="610"/>
                    </a:lnTo>
                    <a:lnTo>
                      <a:pt x="1211" y="612"/>
                    </a:lnTo>
                    <a:lnTo>
                      <a:pt x="1209" y="612"/>
                    </a:lnTo>
                    <a:lnTo>
                      <a:pt x="1209" y="614"/>
                    </a:lnTo>
                    <a:lnTo>
                      <a:pt x="1207" y="614"/>
                    </a:lnTo>
                    <a:lnTo>
                      <a:pt x="1207" y="615"/>
                    </a:lnTo>
                    <a:lnTo>
                      <a:pt x="1206" y="615"/>
                    </a:lnTo>
                    <a:lnTo>
                      <a:pt x="1206" y="617"/>
                    </a:lnTo>
                    <a:lnTo>
                      <a:pt x="1204" y="617"/>
                    </a:lnTo>
                    <a:lnTo>
                      <a:pt x="1204" y="619"/>
                    </a:lnTo>
                    <a:lnTo>
                      <a:pt x="1202" y="619"/>
                    </a:lnTo>
                    <a:lnTo>
                      <a:pt x="1201" y="621"/>
                    </a:lnTo>
                    <a:lnTo>
                      <a:pt x="1199" y="621"/>
                    </a:lnTo>
                    <a:lnTo>
                      <a:pt x="1197" y="621"/>
                    </a:lnTo>
                    <a:lnTo>
                      <a:pt x="1199" y="619"/>
                    </a:lnTo>
                    <a:lnTo>
                      <a:pt x="1197" y="619"/>
                    </a:lnTo>
                    <a:lnTo>
                      <a:pt x="1199" y="617"/>
                    </a:lnTo>
                    <a:lnTo>
                      <a:pt x="1199" y="619"/>
                    </a:lnTo>
                    <a:lnTo>
                      <a:pt x="1199" y="617"/>
                    </a:lnTo>
                    <a:lnTo>
                      <a:pt x="1199" y="615"/>
                    </a:lnTo>
                    <a:lnTo>
                      <a:pt x="1199" y="614"/>
                    </a:lnTo>
                    <a:lnTo>
                      <a:pt x="1201" y="614"/>
                    </a:lnTo>
                    <a:lnTo>
                      <a:pt x="1201" y="612"/>
                    </a:lnTo>
                    <a:lnTo>
                      <a:pt x="1201" y="614"/>
                    </a:lnTo>
                    <a:lnTo>
                      <a:pt x="1201" y="612"/>
                    </a:lnTo>
                    <a:lnTo>
                      <a:pt x="1199" y="614"/>
                    </a:lnTo>
                    <a:lnTo>
                      <a:pt x="1199" y="612"/>
                    </a:lnTo>
                    <a:lnTo>
                      <a:pt x="1199" y="614"/>
                    </a:lnTo>
                    <a:lnTo>
                      <a:pt x="1199" y="612"/>
                    </a:lnTo>
                    <a:lnTo>
                      <a:pt x="1197" y="612"/>
                    </a:lnTo>
                    <a:lnTo>
                      <a:pt x="1197" y="610"/>
                    </a:lnTo>
                    <a:lnTo>
                      <a:pt x="1196" y="610"/>
                    </a:lnTo>
                    <a:lnTo>
                      <a:pt x="1196" y="612"/>
                    </a:lnTo>
                    <a:lnTo>
                      <a:pt x="1194" y="610"/>
                    </a:lnTo>
                    <a:lnTo>
                      <a:pt x="1194" y="609"/>
                    </a:lnTo>
                    <a:lnTo>
                      <a:pt x="1194" y="610"/>
                    </a:lnTo>
                    <a:lnTo>
                      <a:pt x="1194" y="609"/>
                    </a:lnTo>
                    <a:lnTo>
                      <a:pt x="1192" y="609"/>
                    </a:lnTo>
                    <a:lnTo>
                      <a:pt x="1192" y="607"/>
                    </a:lnTo>
                    <a:lnTo>
                      <a:pt x="1192" y="609"/>
                    </a:lnTo>
                    <a:lnTo>
                      <a:pt x="1190" y="609"/>
                    </a:lnTo>
                    <a:lnTo>
                      <a:pt x="1190" y="607"/>
                    </a:lnTo>
                    <a:lnTo>
                      <a:pt x="1190" y="609"/>
                    </a:lnTo>
                    <a:lnTo>
                      <a:pt x="1190" y="610"/>
                    </a:lnTo>
                    <a:lnTo>
                      <a:pt x="1190" y="612"/>
                    </a:lnTo>
                    <a:lnTo>
                      <a:pt x="1189" y="614"/>
                    </a:lnTo>
                    <a:lnTo>
                      <a:pt x="1189" y="615"/>
                    </a:lnTo>
                    <a:lnTo>
                      <a:pt x="1187" y="615"/>
                    </a:lnTo>
                    <a:lnTo>
                      <a:pt x="1187" y="614"/>
                    </a:lnTo>
                    <a:lnTo>
                      <a:pt x="1185" y="612"/>
                    </a:lnTo>
                    <a:lnTo>
                      <a:pt x="1185" y="610"/>
                    </a:lnTo>
                    <a:lnTo>
                      <a:pt x="1187" y="610"/>
                    </a:lnTo>
                    <a:lnTo>
                      <a:pt x="1187" y="609"/>
                    </a:lnTo>
                    <a:lnTo>
                      <a:pt x="1185" y="609"/>
                    </a:lnTo>
                    <a:lnTo>
                      <a:pt x="1187" y="609"/>
                    </a:lnTo>
                    <a:lnTo>
                      <a:pt x="1185" y="610"/>
                    </a:lnTo>
                    <a:lnTo>
                      <a:pt x="1185" y="609"/>
                    </a:lnTo>
                    <a:lnTo>
                      <a:pt x="1185" y="610"/>
                    </a:lnTo>
                    <a:lnTo>
                      <a:pt x="1184" y="612"/>
                    </a:lnTo>
                    <a:lnTo>
                      <a:pt x="1185" y="612"/>
                    </a:lnTo>
                    <a:lnTo>
                      <a:pt x="1185" y="614"/>
                    </a:lnTo>
                    <a:lnTo>
                      <a:pt x="1184" y="614"/>
                    </a:lnTo>
                    <a:lnTo>
                      <a:pt x="1185" y="614"/>
                    </a:lnTo>
                    <a:lnTo>
                      <a:pt x="1187" y="614"/>
                    </a:lnTo>
                    <a:lnTo>
                      <a:pt x="1185" y="614"/>
                    </a:lnTo>
                    <a:lnTo>
                      <a:pt x="1187" y="615"/>
                    </a:lnTo>
                    <a:lnTo>
                      <a:pt x="1189" y="615"/>
                    </a:lnTo>
                    <a:lnTo>
                      <a:pt x="1189" y="617"/>
                    </a:lnTo>
                    <a:lnTo>
                      <a:pt x="1190" y="615"/>
                    </a:lnTo>
                    <a:lnTo>
                      <a:pt x="1190" y="617"/>
                    </a:lnTo>
                    <a:lnTo>
                      <a:pt x="1189" y="617"/>
                    </a:lnTo>
                    <a:lnTo>
                      <a:pt x="1189" y="619"/>
                    </a:lnTo>
                    <a:lnTo>
                      <a:pt x="1189" y="621"/>
                    </a:lnTo>
                    <a:lnTo>
                      <a:pt x="1189" y="622"/>
                    </a:lnTo>
                    <a:lnTo>
                      <a:pt x="1190" y="622"/>
                    </a:lnTo>
                    <a:lnTo>
                      <a:pt x="1190" y="621"/>
                    </a:lnTo>
                    <a:lnTo>
                      <a:pt x="1192" y="621"/>
                    </a:lnTo>
                    <a:lnTo>
                      <a:pt x="1192" y="619"/>
                    </a:lnTo>
                    <a:lnTo>
                      <a:pt x="1192" y="617"/>
                    </a:lnTo>
                    <a:lnTo>
                      <a:pt x="1194" y="617"/>
                    </a:lnTo>
                    <a:lnTo>
                      <a:pt x="1194" y="619"/>
                    </a:lnTo>
                    <a:lnTo>
                      <a:pt x="1196" y="619"/>
                    </a:lnTo>
                    <a:lnTo>
                      <a:pt x="1194" y="621"/>
                    </a:lnTo>
                    <a:lnTo>
                      <a:pt x="1194" y="622"/>
                    </a:lnTo>
                    <a:lnTo>
                      <a:pt x="1192" y="622"/>
                    </a:lnTo>
                    <a:lnTo>
                      <a:pt x="1190" y="622"/>
                    </a:lnTo>
                    <a:lnTo>
                      <a:pt x="1190" y="624"/>
                    </a:lnTo>
                    <a:lnTo>
                      <a:pt x="1189" y="624"/>
                    </a:lnTo>
                    <a:lnTo>
                      <a:pt x="1189" y="626"/>
                    </a:lnTo>
                    <a:lnTo>
                      <a:pt x="1189" y="624"/>
                    </a:lnTo>
                    <a:lnTo>
                      <a:pt x="1187" y="624"/>
                    </a:lnTo>
                    <a:lnTo>
                      <a:pt x="1187" y="626"/>
                    </a:lnTo>
                    <a:lnTo>
                      <a:pt x="1189" y="626"/>
                    </a:lnTo>
                    <a:lnTo>
                      <a:pt x="1187" y="626"/>
                    </a:lnTo>
                    <a:lnTo>
                      <a:pt x="1187" y="627"/>
                    </a:lnTo>
                    <a:lnTo>
                      <a:pt x="1185" y="627"/>
                    </a:lnTo>
                    <a:lnTo>
                      <a:pt x="1184" y="629"/>
                    </a:lnTo>
                    <a:lnTo>
                      <a:pt x="1182" y="631"/>
                    </a:lnTo>
                    <a:lnTo>
                      <a:pt x="1182" y="632"/>
                    </a:lnTo>
                    <a:lnTo>
                      <a:pt x="1184" y="634"/>
                    </a:lnTo>
                    <a:lnTo>
                      <a:pt x="1185" y="634"/>
                    </a:lnTo>
                    <a:lnTo>
                      <a:pt x="1185" y="636"/>
                    </a:lnTo>
                    <a:lnTo>
                      <a:pt x="1185" y="638"/>
                    </a:lnTo>
                    <a:lnTo>
                      <a:pt x="1184" y="638"/>
                    </a:lnTo>
                    <a:lnTo>
                      <a:pt x="1185" y="638"/>
                    </a:lnTo>
                    <a:lnTo>
                      <a:pt x="1184" y="639"/>
                    </a:lnTo>
                    <a:lnTo>
                      <a:pt x="1184" y="641"/>
                    </a:lnTo>
                    <a:lnTo>
                      <a:pt x="1185" y="641"/>
                    </a:lnTo>
                    <a:lnTo>
                      <a:pt x="1185" y="643"/>
                    </a:lnTo>
                    <a:lnTo>
                      <a:pt x="1185" y="644"/>
                    </a:lnTo>
                    <a:lnTo>
                      <a:pt x="1184" y="644"/>
                    </a:lnTo>
                    <a:lnTo>
                      <a:pt x="1184" y="643"/>
                    </a:lnTo>
                    <a:lnTo>
                      <a:pt x="1184" y="644"/>
                    </a:lnTo>
                    <a:lnTo>
                      <a:pt x="1182" y="644"/>
                    </a:lnTo>
                    <a:lnTo>
                      <a:pt x="1182" y="646"/>
                    </a:lnTo>
                    <a:lnTo>
                      <a:pt x="1182" y="648"/>
                    </a:lnTo>
                    <a:lnTo>
                      <a:pt x="1182" y="650"/>
                    </a:lnTo>
                    <a:lnTo>
                      <a:pt x="1182" y="651"/>
                    </a:lnTo>
                    <a:lnTo>
                      <a:pt x="1180" y="651"/>
                    </a:lnTo>
                    <a:lnTo>
                      <a:pt x="1182" y="651"/>
                    </a:lnTo>
                    <a:lnTo>
                      <a:pt x="1182" y="653"/>
                    </a:lnTo>
                    <a:lnTo>
                      <a:pt x="1182" y="651"/>
                    </a:lnTo>
                    <a:lnTo>
                      <a:pt x="1184" y="651"/>
                    </a:lnTo>
                    <a:lnTo>
                      <a:pt x="1184" y="653"/>
                    </a:lnTo>
                    <a:lnTo>
                      <a:pt x="1184" y="655"/>
                    </a:lnTo>
                    <a:lnTo>
                      <a:pt x="1184" y="656"/>
                    </a:lnTo>
                    <a:lnTo>
                      <a:pt x="1184" y="658"/>
                    </a:lnTo>
                    <a:lnTo>
                      <a:pt x="1182" y="660"/>
                    </a:lnTo>
                    <a:lnTo>
                      <a:pt x="1182" y="661"/>
                    </a:lnTo>
                    <a:lnTo>
                      <a:pt x="1182" y="663"/>
                    </a:lnTo>
                    <a:lnTo>
                      <a:pt x="1182" y="665"/>
                    </a:lnTo>
                    <a:lnTo>
                      <a:pt x="1182" y="667"/>
                    </a:lnTo>
                    <a:lnTo>
                      <a:pt x="1182" y="668"/>
                    </a:lnTo>
                    <a:lnTo>
                      <a:pt x="1182" y="670"/>
                    </a:lnTo>
                    <a:lnTo>
                      <a:pt x="1180" y="670"/>
                    </a:lnTo>
                    <a:lnTo>
                      <a:pt x="1180" y="672"/>
                    </a:lnTo>
                    <a:lnTo>
                      <a:pt x="1180" y="673"/>
                    </a:lnTo>
                    <a:lnTo>
                      <a:pt x="1180" y="675"/>
                    </a:lnTo>
                    <a:lnTo>
                      <a:pt x="1180" y="677"/>
                    </a:lnTo>
                    <a:lnTo>
                      <a:pt x="1179" y="678"/>
                    </a:lnTo>
                    <a:lnTo>
                      <a:pt x="1179" y="680"/>
                    </a:lnTo>
                    <a:lnTo>
                      <a:pt x="1179" y="682"/>
                    </a:lnTo>
                    <a:lnTo>
                      <a:pt x="1180" y="682"/>
                    </a:lnTo>
                    <a:lnTo>
                      <a:pt x="1180" y="684"/>
                    </a:lnTo>
                    <a:lnTo>
                      <a:pt x="1180" y="682"/>
                    </a:lnTo>
                    <a:lnTo>
                      <a:pt x="1180" y="684"/>
                    </a:lnTo>
                    <a:lnTo>
                      <a:pt x="1180" y="685"/>
                    </a:lnTo>
                    <a:lnTo>
                      <a:pt x="1180" y="687"/>
                    </a:lnTo>
                    <a:lnTo>
                      <a:pt x="1180" y="689"/>
                    </a:lnTo>
                    <a:lnTo>
                      <a:pt x="1182" y="689"/>
                    </a:lnTo>
                    <a:lnTo>
                      <a:pt x="1182" y="690"/>
                    </a:lnTo>
                    <a:lnTo>
                      <a:pt x="1182" y="694"/>
                    </a:lnTo>
                    <a:lnTo>
                      <a:pt x="1182" y="695"/>
                    </a:lnTo>
                    <a:lnTo>
                      <a:pt x="1182" y="697"/>
                    </a:lnTo>
                    <a:lnTo>
                      <a:pt x="1182" y="699"/>
                    </a:lnTo>
                    <a:lnTo>
                      <a:pt x="1182" y="701"/>
                    </a:lnTo>
                    <a:lnTo>
                      <a:pt x="1182" y="702"/>
                    </a:lnTo>
                    <a:lnTo>
                      <a:pt x="1182" y="704"/>
                    </a:lnTo>
                    <a:lnTo>
                      <a:pt x="1184" y="706"/>
                    </a:lnTo>
                    <a:lnTo>
                      <a:pt x="1184" y="707"/>
                    </a:lnTo>
                    <a:lnTo>
                      <a:pt x="1184" y="709"/>
                    </a:lnTo>
                    <a:lnTo>
                      <a:pt x="1184" y="711"/>
                    </a:lnTo>
                    <a:lnTo>
                      <a:pt x="1184" y="712"/>
                    </a:lnTo>
                    <a:lnTo>
                      <a:pt x="1184" y="714"/>
                    </a:lnTo>
                    <a:lnTo>
                      <a:pt x="1184" y="716"/>
                    </a:lnTo>
                    <a:lnTo>
                      <a:pt x="1185" y="716"/>
                    </a:lnTo>
                    <a:lnTo>
                      <a:pt x="1185" y="718"/>
                    </a:lnTo>
                    <a:lnTo>
                      <a:pt x="1185" y="719"/>
                    </a:lnTo>
                    <a:lnTo>
                      <a:pt x="1187" y="719"/>
                    </a:lnTo>
                    <a:lnTo>
                      <a:pt x="1187" y="721"/>
                    </a:lnTo>
                    <a:lnTo>
                      <a:pt x="1185" y="721"/>
                    </a:lnTo>
                    <a:lnTo>
                      <a:pt x="1185" y="723"/>
                    </a:lnTo>
                    <a:lnTo>
                      <a:pt x="1185" y="724"/>
                    </a:lnTo>
                    <a:lnTo>
                      <a:pt x="1184" y="726"/>
                    </a:lnTo>
                    <a:lnTo>
                      <a:pt x="1184" y="728"/>
                    </a:lnTo>
                    <a:lnTo>
                      <a:pt x="1184" y="729"/>
                    </a:lnTo>
                    <a:lnTo>
                      <a:pt x="1184" y="731"/>
                    </a:lnTo>
                    <a:lnTo>
                      <a:pt x="1182" y="731"/>
                    </a:lnTo>
                    <a:lnTo>
                      <a:pt x="1182" y="733"/>
                    </a:lnTo>
                    <a:lnTo>
                      <a:pt x="1182" y="735"/>
                    </a:lnTo>
                    <a:lnTo>
                      <a:pt x="1180" y="735"/>
                    </a:lnTo>
                    <a:lnTo>
                      <a:pt x="1180" y="736"/>
                    </a:lnTo>
                    <a:lnTo>
                      <a:pt x="1182" y="736"/>
                    </a:lnTo>
                    <a:lnTo>
                      <a:pt x="1180" y="738"/>
                    </a:lnTo>
                    <a:lnTo>
                      <a:pt x="1182" y="738"/>
                    </a:lnTo>
                    <a:lnTo>
                      <a:pt x="1180" y="740"/>
                    </a:lnTo>
                    <a:lnTo>
                      <a:pt x="1180" y="741"/>
                    </a:lnTo>
                    <a:lnTo>
                      <a:pt x="1179" y="741"/>
                    </a:lnTo>
                    <a:lnTo>
                      <a:pt x="1180" y="741"/>
                    </a:lnTo>
                    <a:lnTo>
                      <a:pt x="1179" y="743"/>
                    </a:lnTo>
                    <a:lnTo>
                      <a:pt x="1179" y="745"/>
                    </a:lnTo>
                    <a:lnTo>
                      <a:pt x="1179" y="746"/>
                    </a:lnTo>
                    <a:lnTo>
                      <a:pt x="1179" y="748"/>
                    </a:lnTo>
                    <a:lnTo>
                      <a:pt x="1179" y="750"/>
                    </a:lnTo>
                    <a:lnTo>
                      <a:pt x="1177" y="750"/>
                    </a:lnTo>
                    <a:lnTo>
                      <a:pt x="1177" y="752"/>
                    </a:lnTo>
                    <a:lnTo>
                      <a:pt x="1177" y="753"/>
                    </a:lnTo>
                    <a:lnTo>
                      <a:pt x="1177" y="755"/>
                    </a:lnTo>
                    <a:lnTo>
                      <a:pt x="1177" y="757"/>
                    </a:lnTo>
                    <a:lnTo>
                      <a:pt x="1179" y="757"/>
                    </a:lnTo>
                    <a:lnTo>
                      <a:pt x="1177" y="757"/>
                    </a:lnTo>
                    <a:lnTo>
                      <a:pt x="1177" y="758"/>
                    </a:lnTo>
                    <a:lnTo>
                      <a:pt x="1177" y="760"/>
                    </a:lnTo>
                    <a:lnTo>
                      <a:pt x="1175" y="760"/>
                    </a:lnTo>
                    <a:lnTo>
                      <a:pt x="1175" y="762"/>
                    </a:lnTo>
                    <a:lnTo>
                      <a:pt x="1175" y="763"/>
                    </a:lnTo>
                    <a:lnTo>
                      <a:pt x="1175" y="765"/>
                    </a:lnTo>
                    <a:lnTo>
                      <a:pt x="1175" y="767"/>
                    </a:lnTo>
                    <a:lnTo>
                      <a:pt x="1173" y="769"/>
                    </a:lnTo>
                    <a:lnTo>
                      <a:pt x="1175" y="769"/>
                    </a:lnTo>
                    <a:lnTo>
                      <a:pt x="1173" y="770"/>
                    </a:lnTo>
                    <a:lnTo>
                      <a:pt x="1173" y="772"/>
                    </a:lnTo>
                    <a:lnTo>
                      <a:pt x="1175" y="774"/>
                    </a:lnTo>
                    <a:lnTo>
                      <a:pt x="1175" y="775"/>
                    </a:lnTo>
                    <a:lnTo>
                      <a:pt x="1175" y="777"/>
                    </a:lnTo>
                    <a:lnTo>
                      <a:pt x="1175" y="779"/>
                    </a:lnTo>
                    <a:lnTo>
                      <a:pt x="1175" y="780"/>
                    </a:lnTo>
                    <a:lnTo>
                      <a:pt x="1175" y="782"/>
                    </a:lnTo>
                    <a:lnTo>
                      <a:pt x="1175" y="784"/>
                    </a:lnTo>
                    <a:lnTo>
                      <a:pt x="1177" y="784"/>
                    </a:lnTo>
                    <a:lnTo>
                      <a:pt x="1177" y="786"/>
                    </a:lnTo>
                    <a:lnTo>
                      <a:pt x="1175" y="786"/>
                    </a:lnTo>
                    <a:lnTo>
                      <a:pt x="1175" y="787"/>
                    </a:lnTo>
                    <a:lnTo>
                      <a:pt x="1173" y="789"/>
                    </a:lnTo>
                    <a:lnTo>
                      <a:pt x="1173" y="791"/>
                    </a:lnTo>
                    <a:lnTo>
                      <a:pt x="1172" y="791"/>
                    </a:lnTo>
                    <a:lnTo>
                      <a:pt x="1172" y="792"/>
                    </a:lnTo>
                    <a:lnTo>
                      <a:pt x="1170" y="792"/>
                    </a:lnTo>
                    <a:lnTo>
                      <a:pt x="1168" y="792"/>
                    </a:lnTo>
                    <a:lnTo>
                      <a:pt x="1168" y="794"/>
                    </a:lnTo>
                    <a:lnTo>
                      <a:pt x="1167" y="794"/>
                    </a:lnTo>
                    <a:lnTo>
                      <a:pt x="1165" y="796"/>
                    </a:lnTo>
                    <a:lnTo>
                      <a:pt x="1163" y="797"/>
                    </a:lnTo>
                    <a:lnTo>
                      <a:pt x="1163" y="799"/>
                    </a:lnTo>
                    <a:lnTo>
                      <a:pt x="1162" y="801"/>
                    </a:lnTo>
                    <a:lnTo>
                      <a:pt x="1162" y="803"/>
                    </a:lnTo>
                    <a:lnTo>
                      <a:pt x="1160" y="804"/>
                    </a:lnTo>
                    <a:lnTo>
                      <a:pt x="1160" y="806"/>
                    </a:lnTo>
                    <a:lnTo>
                      <a:pt x="1160" y="808"/>
                    </a:lnTo>
                    <a:lnTo>
                      <a:pt x="1158" y="808"/>
                    </a:lnTo>
                    <a:lnTo>
                      <a:pt x="1158" y="809"/>
                    </a:lnTo>
                    <a:lnTo>
                      <a:pt x="1158" y="811"/>
                    </a:lnTo>
                    <a:lnTo>
                      <a:pt x="1158" y="813"/>
                    </a:lnTo>
                    <a:lnTo>
                      <a:pt x="1156" y="813"/>
                    </a:lnTo>
                    <a:lnTo>
                      <a:pt x="1156" y="815"/>
                    </a:lnTo>
                    <a:lnTo>
                      <a:pt x="1156" y="816"/>
                    </a:lnTo>
                    <a:lnTo>
                      <a:pt x="1156" y="818"/>
                    </a:lnTo>
                    <a:lnTo>
                      <a:pt x="1156" y="820"/>
                    </a:lnTo>
                    <a:lnTo>
                      <a:pt x="1156" y="821"/>
                    </a:lnTo>
                    <a:lnTo>
                      <a:pt x="1156" y="823"/>
                    </a:lnTo>
                    <a:lnTo>
                      <a:pt x="1156" y="825"/>
                    </a:lnTo>
                    <a:lnTo>
                      <a:pt x="1156" y="826"/>
                    </a:lnTo>
                    <a:lnTo>
                      <a:pt x="1156" y="828"/>
                    </a:lnTo>
                    <a:lnTo>
                      <a:pt x="1156" y="830"/>
                    </a:lnTo>
                    <a:lnTo>
                      <a:pt x="1156" y="832"/>
                    </a:lnTo>
                    <a:lnTo>
                      <a:pt x="1156" y="833"/>
                    </a:lnTo>
                    <a:lnTo>
                      <a:pt x="1156" y="835"/>
                    </a:lnTo>
                    <a:lnTo>
                      <a:pt x="1158" y="837"/>
                    </a:lnTo>
                    <a:lnTo>
                      <a:pt x="1158" y="838"/>
                    </a:lnTo>
                    <a:lnTo>
                      <a:pt x="1158" y="840"/>
                    </a:lnTo>
                    <a:lnTo>
                      <a:pt x="1158" y="842"/>
                    </a:lnTo>
                    <a:lnTo>
                      <a:pt x="1158" y="843"/>
                    </a:lnTo>
                    <a:lnTo>
                      <a:pt x="1158" y="845"/>
                    </a:lnTo>
                    <a:lnTo>
                      <a:pt x="1158" y="847"/>
                    </a:lnTo>
                    <a:lnTo>
                      <a:pt x="1156" y="849"/>
                    </a:lnTo>
                    <a:lnTo>
                      <a:pt x="1156" y="850"/>
                    </a:lnTo>
                    <a:lnTo>
                      <a:pt x="1156" y="852"/>
                    </a:lnTo>
                    <a:lnTo>
                      <a:pt x="1155" y="852"/>
                    </a:lnTo>
                    <a:lnTo>
                      <a:pt x="1155" y="854"/>
                    </a:lnTo>
                    <a:lnTo>
                      <a:pt x="1155" y="855"/>
                    </a:lnTo>
                    <a:lnTo>
                      <a:pt x="1153" y="855"/>
                    </a:lnTo>
                    <a:lnTo>
                      <a:pt x="1151" y="855"/>
                    </a:lnTo>
                    <a:lnTo>
                      <a:pt x="1150" y="857"/>
                    </a:lnTo>
                    <a:lnTo>
                      <a:pt x="1148" y="857"/>
                    </a:lnTo>
                    <a:lnTo>
                      <a:pt x="1148" y="859"/>
                    </a:lnTo>
                    <a:lnTo>
                      <a:pt x="1146" y="859"/>
                    </a:lnTo>
                    <a:lnTo>
                      <a:pt x="1146" y="860"/>
                    </a:lnTo>
                    <a:lnTo>
                      <a:pt x="1146" y="862"/>
                    </a:lnTo>
                    <a:lnTo>
                      <a:pt x="1145" y="862"/>
                    </a:lnTo>
                    <a:lnTo>
                      <a:pt x="1145" y="864"/>
                    </a:lnTo>
                    <a:lnTo>
                      <a:pt x="1145" y="866"/>
                    </a:lnTo>
                    <a:lnTo>
                      <a:pt x="1143" y="866"/>
                    </a:lnTo>
                    <a:lnTo>
                      <a:pt x="1143" y="867"/>
                    </a:lnTo>
                    <a:lnTo>
                      <a:pt x="1143" y="869"/>
                    </a:lnTo>
                    <a:lnTo>
                      <a:pt x="1141" y="869"/>
                    </a:lnTo>
                    <a:lnTo>
                      <a:pt x="1141" y="871"/>
                    </a:lnTo>
                    <a:lnTo>
                      <a:pt x="1141" y="872"/>
                    </a:lnTo>
                    <a:lnTo>
                      <a:pt x="1141" y="874"/>
                    </a:lnTo>
                    <a:lnTo>
                      <a:pt x="1141" y="876"/>
                    </a:lnTo>
                    <a:lnTo>
                      <a:pt x="1141" y="877"/>
                    </a:lnTo>
                    <a:lnTo>
                      <a:pt x="1139" y="877"/>
                    </a:lnTo>
                    <a:lnTo>
                      <a:pt x="1138" y="877"/>
                    </a:lnTo>
                    <a:lnTo>
                      <a:pt x="1138" y="879"/>
                    </a:lnTo>
                    <a:lnTo>
                      <a:pt x="1136" y="879"/>
                    </a:lnTo>
                    <a:lnTo>
                      <a:pt x="1138" y="879"/>
                    </a:lnTo>
                    <a:lnTo>
                      <a:pt x="1139" y="879"/>
                    </a:lnTo>
                    <a:lnTo>
                      <a:pt x="1138" y="879"/>
                    </a:lnTo>
                    <a:lnTo>
                      <a:pt x="1138" y="881"/>
                    </a:lnTo>
                    <a:lnTo>
                      <a:pt x="1138" y="883"/>
                    </a:lnTo>
                    <a:lnTo>
                      <a:pt x="1136" y="884"/>
                    </a:lnTo>
                    <a:lnTo>
                      <a:pt x="1136" y="886"/>
                    </a:lnTo>
                    <a:lnTo>
                      <a:pt x="1134" y="886"/>
                    </a:lnTo>
                    <a:lnTo>
                      <a:pt x="1134" y="888"/>
                    </a:lnTo>
                    <a:lnTo>
                      <a:pt x="1134" y="889"/>
                    </a:lnTo>
                    <a:lnTo>
                      <a:pt x="1133" y="889"/>
                    </a:lnTo>
                    <a:lnTo>
                      <a:pt x="1133" y="891"/>
                    </a:lnTo>
                    <a:lnTo>
                      <a:pt x="1133" y="889"/>
                    </a:lnTo>
                    <a:lnTo>
                      <a:pt x="1133" y="891"/>
                    </a:lnTo>
                    <a:lnTo>
                      <a:pt x="1131" y="891"/>
                    </a:lnTo>
                    <a:lnTo>
                      <a:pt x="1131" y="893"/>
                    </a:lnTo>
                    <a:lnTo>
                      <a:pt x="1129" y="893"/>
                    </a:lnTo>
                    <a:lnTo>
                      <a:pt x="1131" y="894"/>
                    </a:lnTo>
                    <a:lnTo>
                      <a:pt x="1129" y="894"/>
                    </a:lnTo>
                    <a:lnTo>
                      <a:pt x="1128" y="894"/>
                    </a:lnTo>
                    <a:lnTo>
                      <a:pt x="1129" y="896"/>
                    </a:lnTo>
                    <a:lnTo>
                      <a:pt x="1128" y="896"/>
                    </a:lnTo>
                    <a:lnTo>
                      <a:pt x="1128" y="898"/>
                    </a:lnTo>
                    <a:lnTo>
                      <a:pt x="1126" y="898"/>
                    </a:lnTo>
                    <a:lnTo>
                      <a:pt x="1126" y="896"/>
                    </a:lnTo>
                    <a:lnTo>
                      <a:pt x="1124" y="898"/>
                    </a:lnTo>
                    <a:lnTo>
                      <a:pt x="1122" y="898"/>
                    </a:lnTo>
                    <a:lnTo>
                      <a:pt x="1122" y="900"/>
                    </a:lnTo>
                    <a:lnTo>
                      <a:pt x="1121" y="900"/>
                    </a:lnTo>
                    <a:lnTo>
                      <a:pt x="1121" y="901"/>
                    </a:lnTo>
                    <a:lnTo>
                      <a:pt x="1121" y="903"/>
                    </a:lnTo>
                    <a:lnTo>
                      <a:pt x="1121" y="905"/>
                    </a:lnTo>
                    <a:lnTo>
                      <a:pt x="1119" y="905"/>
                    </a:lnTo>
                    <a:lnTo>
                      <a:pt x="1119" y="906"/>
                    </a:lnTo>
                    <a:lnTo>
                      <a:pt x="1119" y="908"/>
                    </a:lnTo>
                    <a:lnTo>
                      <a:pt x="1117" y="908"/>
                    </a:lnTo>
                    <a:lnTo>
                      <a:pt x="1117" y="910"/>
                    </a:lnTo>
                    <a:lnTo>
                      <a:pt x="1116" y="910"/>
                    </a:lnTo>
                    <a:lnTo>
                      <a:pt x="1116" y="911"/>
                    </a:lnTo>
                    <a:lnTo>
                      <a:pt x="1116" y="913"/>
                    </a:lnTo>
                    <a:lnTo>
                      <a:pt x="1116" y="915"/>
                    </a:lnTo>
                    <a:lnTo>
                      <a:pt x="1116" y="917"/>
                    </a:lnTo>
                    <a:lnTo>
                      <a:pt x="1114" y="918"/>
                    </a:lnTo>
                    <a:lnTo>
                      <a:pt x="1114" y="920"/>
                    </a:lnTo>
                    <a:lnTo>
                      <a:pt x="1112" y="920"/>
                    </a:lnTo>
                    <a:lnTo>
                      <a:pt x="1112" y="922"/>
                    </a:lnTo>
                    <a:lnTo>
                      <a:pt x="1112" y="923"/>
                    </a:lnTo>
                    <a:lnTo>
                      <a:pt x="1112" y="925"/>
                    </a:lnTo>
                    <a:lnTo>
                      <a:pt x="1114" y="925"/>
                    </a:lnTo>
                    <a:lnTo>
                      <a:pt x="1114" y="927"/>
                    </a:lnTo>
                    <a:lnTo>
                      <a:pt x="1114" y="928"/>
                    </a:lnTo>
                    <a:lnTo>
                      <a:pt x="1114" y="930"/>
                    </a:lnTo>
                    <a:lnTo>
                      <a:pt x="1114" y="932"/>
                    </a:lnTo>
                    <a:lnTo>
                      <a:pt x="1114" y="934"/>
                    </a:lnTo>
                    <a:lnTo>
                      <a:pt x="1114" y="935"/>
                    </a:lnTo>
                    <a:lnTo>
                      <a:pt x="1114" y="937"/>
                    </a:lnTo>
                    <a:lnTo>
                      <a:pt x="1116" y="937"/>
                    </a:lnTo>
                    <a:lnTo>
                      <a:pt x="1116" y="939"/>
                    </a:lnTo>
                    <a:lnTo>
                      <a:pt x="1114" y="939"/>
                    </a:lnTo>
                    <a:lnTo>
                      <a:pt x="1114" y="940"/>
                    </a:lnTo>
                    <a:lnTo>
                      <a:pt x="1112" y="940"/>
                    </a:lnTo>
                    <a:lnTo>
                      <a:pt x="1112" y="942"/>
                    </a:lnTo>
                    <a:lnTo>
                      <a:pt x="1111" y="942"/>
                    </a:lnTo>
                    <a:lnTo>
                      <a:pt x="1109" y="944"/>
                    </a:lnTo>
                    <a:lnTo>
                      <a:pt x="1107" y="944"/>
                    </a:lnTo>
                    <a:lnTo>
                      <a:pt x="1107" y="945"/>
                    </a:lnTo>
                    <a:lnTo>
                      <a:pt x="1105" y="945"/>
                    </a:lnTo>
                    <a:lnTo>
                      <a:pt x="1104" y="945"/>
                    </a:lnTo>
                    <a:lnTo>
                      <a:pt x="1102" y="945"/>
                    </a:lnTo>
                    <a:lnTo>
                      <a:pt x="1100" y="947"/>
                    </a:lnTo>
                    <a:lnTo>
                      <a:pt x="1099" y="947"/>
                    </a:lnTo>
                    <a:lnTo>
                      <a:pt x="1097" y="947"/>
                    </a:lnTo>
                    <a:lnTo>
                      <a:pt x="1095" y="949"/>
                    </a:lnTo>
                    <a:lnTo>
                      <a:pt x="1095" y="947"/>
                    </a:lnTo>
                    <a:lnTo>
                      <a:pt x="1095" y="949"/>
                    </a:lnTo>
                    <a:lnTo>
                      <a:pt x="1094" y="949"/>
                    </a:lnTo>
                    <a:lnTo>
                      <a:pt x="1092" y="951"/>
                    </a:lnTo>
                    <a:lnTo>
                      <a:pt x="1090" y="951"/>
                    </a:lnTo>
                    <a:lnTo>
                      <a:pt x="1090" y="952"/>
                    </a:lnTo>
                    <a:lnTo>
                      <a:pt x="1088" y="952"/>
                    </a:lnTo>
                    <a:lnTo>
                      <a:pt x="1088" y="954"/>
                    </a:lnTo>
                    <a:lnTo>
                      <a:pt x="1087" y="954"/>
                    </a:lnTo>
                    <a:lnTo>
                      <a:pt x="1087" y="956"/>
                    </a:lnTo>
                    <a:lnTo>
                      <a:pt x="1085" y="956"/>
                    </a:lnTo>
                    <a:lnTo>
                      <a:pt x="1085" y="957"/>
                    </a:lnTo>
                    <a:lnTo>
                      <a:pt x="1083" y="957"/>
                    </a:lnTo>
                    <a:lnTo>
                      <a:pt x="1083" y="959"/>
                    </a:lnTo>
                    <a:lnTo>
                      <a:pt x="1082" y="959"/>
                    </a:lnTo>
                    <a:lnTo>
                      <a:pt x="1082" y="961"/>
                    </a:lnTo>
                    <a:lnTo>
                      <a:pt x="1080" y="961"/>
                    </a:lnTo>
                    <a:lnTo>
                      <a:pt x="1080" y="963"/>
                    </a:lnTo>
                    <a:lnTo>
                      <a:pt x="1080" y="964"/>
                    </a:lnTo>
                    <a:lnTo>
                      <a:pt x="1080" y="966"/>
                    </a:lnTo>
                    <a:lnTo>
                      <a:pt x="1082" y="966"/>
                    </a:lnTo>
                    <a:lnTo>
                      <a:pt x="1082" y="968"/>
                    </a:lnTo>
                    <a:lnTo>
                      <a:pt x="1083" y="968"/>
                    </a:lnTo>
                    <a:lnTo>
                      <a:pt x="1085" y="966"/>
                    </a:lnTo>
                    <a:lnTo>
                      <a:pt x="1085" y="968"/>
                    </a:lnTo>
                    <a:lnTo>
                      <a:pt x="1083" y="968"/>
                    </a:lnTo>
                    <a:lnTo>
                      <a:pt x="1085" y="968"/>
                    </a:lnTo>
                    <a:lnTo>
                      <a:pt x="1083" y="968"/>
                    </a:lnTo>
                    <a:lnTo>
                      <a:pt x="1083" y="969"/>
                    </a:lnTo>
                    <a:lnTo>
                      <a:pt x="1082" y="969"/>
                    </a:lnTo>
                    <a:lnTo>
                      <a:pt x="1082" y="971"/>
                    </a:lnTo>
                    <a:lnTo>
                      <a:pt x="1080" y="971"/>
                    </a:lnTo>
                    <a:lnTo>
                      <a:pt x="1082" y="971"/>
                    </a:lnTo>
                    <a:lnTo>
                      <a:pt x="1080" y="973"/>
                    </a:lnTo>
                    <a:lnTo>
                      <a:pt x="1078" y="973"/>
                    </a:lnTo>
                    <a:lnTo>
                      <a:pt x="1080" y="974"/>
                    </a:lnTo>
                    <a:lnTo>
                      <a:pt x="1080" y="976"/>
                    </a:lnTo>
                    <a:lnTo>
                      <a:pt x="1078" y="974"/>
                    </a:lnTo>
                    <a:lnTo>
                      <a:pt x="1077" y="974"/>
                    </a:lnTo>
                    <a:lnTo>
                      <a:pt x="1075" y="974"/>
                    </a:lnTo>
                    <a:lnTo>
                      <a:pt x="1073" y="974"/>
                    </a:lnTo>
                    <a:lnTo>
                      <a:pt x="1071" y="974"/>
                    </a:lnTo>
                    <a:lnTo>
                      <a:pt x="1070" y="974"/>
                    </a:lnTo>
                    <a:lnTo>
                      <a:pt x="1068" y="974"/>
                    </a:lnTo>
                    <a:lnTo>
                      <a:pt x="1066" y="974"/>
                    </a:lnTo>
                    <a:lnTo>
                      <a:pt x="1065" y="974"/>
                    </a:lnTo>
                    <a:lnTo>
                      <a:pt x="1063" y="974"/>
                    </a:lnTo>
                    <a:lnTo>
                      <a:pt x="1061" y="974"/>
                    </a:lnTo>
                    <a:lnTo>
                      <a:pt x="1060" y="974"/>
                    </a:lnTo>
                    <a:lnTo>
                      <a:pt x="1058" y="974"/>
                    </a:lnTo>
                    <a:lnTo>
                      <a:pt x="1056" y="974"/>
                    </a:lnTo>
                    <a:lnTo>
                      <a:pt x="1054" y="974"/>
                    </a:lnTo>
                    <a:lnTo>
                      <a:pt x="1053" y="974"/>
                    </a:lnTo>
                    <a:lnTo>
                      <a:pt x="1051" y="974"/>
                    </a:lnTo>
                    <a:lnTo>
                      <a:pt x="1049" y="974"/>
                    </a:lnTo>
                    <a:lnTo>
                      <a:pt x="1049" y="976"/>
                    </a:lnTo>
                    <a:lnTo>
                      <a:pt x="1048" y="976"/>
                    </a:lnTo>
                    <a:lnTo>
                      <a:pt x="1046" y="974"/>
                    </a:lnTo>
                    <a:lnTo>
                      <a:pt x="1046" y="976"/>
                    </a:lnTo>
                    <a:lnTo>
                      <a:pt x="1044" y="976"/>
                    </a:lnTo>
                    <a:lnTo>
                      <a:pt x="1044" y="974"/>
                    </a:lnTo>
                    <a:lnTo>
                      <a:pt x="1043" y="974"/>
                    </a:lnTo>
                    <a:lnTo>
                      <a:pt x="1043" y="973"/>
                    </a:lnTo>
                    <a:lnTo>
                      <a:pt x="1043" y="974"/>
                    </a:lnTo>
                    <a:lnTo>
                      <a:pt x="1043" y="973"/>
                    </a:lnTo>
                    <a:lnTo>
                      <a:pt x="1043" y="971"/>
                    </a:lnTo>
                    <a:lnTo>
                      <a:pt x="1043" y="969"/>
                    </a:lnTo>
                    <a:lnTo>
                      <a:pt x="1044" y="969"/>
                    </a:lnTo>
                    <a:lnTo>
                      <a:pt x="1044" y="968"/>
                    </a:lnTo>
                    <a:lnTo>
                      <a:pt x="1046" y="968"/>
                    </a:lnTo>
                    <a:lnTo>
                      <a:pt x="1046" y="966"/>
                    </a:lnTo>
                    <a:lnTo>
                      <a:pt x="1044" y="964"/>
                    </a:lnTo>
                    <a:lnTo>
                      <a:pt x="1043" y="964"/>
                    </a:lnTo>
                    <a:lnTo>
                      <a:pt x="1043" y="966"/>
                    </a:lnTo>
                    <a:lnTo>
                      <a:pt x="1041" y="966"/>
                    </a:lnTo>
                    <a:lnTo>
                      <a:pt x="1039" y="966"/>
                    </a:lnTo>
                    <a:lnTo>
                      <a:pt x="1039" y="968"/>
                    </a:lnTo>
                    <a:lnTo>
                      <a:pt x="1039" y="966"/>
                    </a:lnTo>
                    <a:lnTo>
                      <a:pt x="1037" y="968"/>
                    </a:lnTo>
                    <a:lnTo>
                      <a:pt x="1037" y="969"/>
                    </a:lnTo>
                    <a:lnTo>
                      <a:pt x="1037" y="971"/>
                    </a:lnTo>
                    <a:lnTo>
                      <a:pt x="1039" y="971"/>
                    </a:lnTo>
                    <a:lnTo>
                      <a:pt x="1039" y="973"/>
                    </a:lnTo>
                    <a:lnTo>
                      <a:pt x="1041" y="973"/>
                    </a:lnTo>
                    <a:lnTo>
                      <a:pt x="1041" y="974"/>
                    </a:lnTo>
                    <a:lnTo>
                      <a:pt x="1041" y="976"/>
                    </a:lnTo>
                    <a:lnTo>
                      <a:pt x="1039" y="976"/>
                    </a:lnTo>
                    <a:lnTo>
                      <a:pt x="1037" y="976"/>
                    </a:lnTo>
                    <a:lnTo>
                      <a:pt x="1036" y="978"/>
                    </a:lnTo>
                    <a:lnTo>
                      <a:pt x="1036" y="976"/>
                    </a:lnTo>
                    <a:lnTo>
                      <a:pt x="1034" y="976"/>
                    </a:lnTo>
                    <a:lnTo>
                      <a:pt x="1032" y="976"/>
                    </a:lnTo>
                    <a:lnTo>
                      <a:pt x="1032" y="978"/>
                    </a:lnTo>
                    <a:lnTo>
                      <a:pt x="1031" y="978"/>
                    </a:lnTo>
                    <a:lnTo>
                      <a:pt x="1029" y="978"/>
                    </a:lnTo>
                    <a:lnTo>
                      <a:pt x="1027" y="978"/>
                    </a:lnTo>
                    <a:lnTo>
                      <a:pt x="1027" y="980"/>
                    </a:lnTo>
                    <a:lnTo>
                      <a:pt x="1027" y="978"/>
                    </a:lnTo>
                    <a:lnTo>
                      <a:pt x="1026" y="978"/>
                    </a:lnTo>
                    <a:lnTo>
                      <a:pt x="1024" y="978"/>
                    </a:lnTo>
                    <a:lnTo>
                      <a:pt x="1022" y="978"/>
                    </a:lnTo>
                    <a:lnTo>
                      <a:pt x="1020" y="978"/>
                    </a:lnTo>
                    <a:lnTo>
                      <a:pt x="1020" y="980"/>
                    </a:lnTo>
                    <a:lnTo>
                      <a:pt x="1019" y="980"/>
                    </a:lnTo>
                    <a:lnTo>
                      <a:pt x="1017" y="980"/>
                    </a:lnTo>
                    <a:lnTo>
                      <a:pt x="1015" y="980"/>
                    </a:lnTo>
                    <a:lnTo>
                      <a:pt x="1014" y="980"/>
                    </a:lnTo>
                    <a:lnTo>
                      <a:pt x="1012" y="980"/>
                    </a:lnTo>
                    <a:lnTo>
                      <a:pt x="1014" y="978"/>
                    </a:lnTo>
                    <a:lnTo>
                      <a:pt x="1015" y="978"/>
                    </a:lnTo>
                    <a:lnTo>
                      <a:pt x="1015" y="980"/>
                    </a:lnTo>
                    <a:lnTo>
                      <a:pt x="1017" y="980"/>
                    </a:lnTo>
                    <a:lnTo>
                      <a:pt x="1017" y="978"/>
                    </a:lnTo>
                    <a:lnTo>
                      <a:pt x="1015" y="978"/>
                    </a:lnTo>
                    <a:lnTo>
                      <a:pt x="1017" y="978"/>
                    </a:lnTo>
                    <a:lnTo>
                      <a:pt x="1019" y="978"/>
                    </a:lnTo>
                    <a:lnTo>
                      <a:pt x="1020" y="978"/>
                    </a:lnTo>
                    <a:lnTo>
                      <a:pt x="1022" y="978"/>
                    </a:lnTo>
                    <a:lnTo>
                      <a:pt x="1024" y="978"/>
                    </a:lnTo>
                    <a:lnTo>
                      <a:pt x="1026" y="978"/>
                    </a:lnTo>
                    <a:lnTo>
                      <a:pt x="1026" y="976"/>
                    </a:lnTo>
                    <a:lnTo>
                      <a:pt x="1024" y="976"/>
                    </a:lnTo>
                    <a:lnTo>
                      <a:pt x="1022" y="976"/>
                    </a:lnTo>
                    <a:lnTo>
                      <a:pt x="1022" y="974"/>
                    </a:lnTo>
                    <a:lnTo>
                      <a:pt x="1020" y="974"/>
                    </a:lnTo>
                    <a:lnTo>
                      <a:pt x="1020" y="973"/>
                    </a:lnTo>
                    <a:lnTo>
                      <a:pt x="1020" y="974"/>
                    </a:lnTo>
                    <a:lnTo>
                      <a:pt x="1020" y="973"/>
                    </a:lnTo>
                    <a:lnTo>
                      <a:pt x="1019" y="973"/>
                    </a:lnTo>
                    <a:lnTo>
                      <a:pt x="1019" y="974"/>
                    </a:lnTo>
                    <a:lnTo>
                      <a:pt x="1017" y="973"/>
                    </a:lnTo>
                    <a:lnTo>
                      <a:pt x="1019" y="973"/>
                    </a:lnTo>
                    <a:lnTo>
                      <a:pt x="1017" y="973"/>
                    </a:lnTo>
                    <a:lnTo>
                      <a:pt x="1015" y="974"/>
                    </a:lnTo>
                    <a:lnTo>
                      <a:pt x="1014" y="974"/>
                    </a:lnTo>
                    <a:lnTo>
                      <a:pt x="1012" y="974"/>
                    </a:lnTo>
                    <a:lnTo>
                      <a:pt x="1012" y="976"/>
                    </a:lnTo>
                    <a:lnTo>
                      <a:pt x="1010" y="976"/>
                    </a:lnTo>
                    <a:lnTo>
                      <a:pt x="1012" y="974"/>
                    </a:lnTo>
                    <a:lnTo>
                      <a:pt x="1010" y="974"/>
                    </a:lnTo>
                    <a:lnTo>
                      <a:pt x="1010" y="976"/>
                    </a:lnTo>
                    <a:lnTo>
                      <a:pt x="1009" y="978"/>
                    </a:lnTo>
                    <a:lnTo>
                      <a:pt x="1007" y="978"/>
                    </a:lnTo>
                    <a:lnTo>
                      <a:pt x="1005" y="978"/>
                    </a:lnTo>
                    <a:lnTo>
                      <a:pt x="1005" y="976"/>
                    </a:lnTo>
                    <a:lnTo>
                      <a:pt x="1003" y="976"/>
                    </a:lnTo>
                    <a:lnTo>
                      <a:pt x="1003" y="978"/>
                    </a:lnTo>
                    <a:lnTo>
                      <a:pt x="1002" y="976"/>
                    </a:lnTo>
                    <a:lnTo>
                      <a:pt x="1002" y="978"/>
                    </a:lnTo>
                    <a:lnTo>
                      <a:pt x="1000" y="978"/>
                    </a:lnTo>
                    <a:lnTo>
                      <a:pt x="1000" y="976"/>
                    </a:lnTo>
                    <a:lnTo>
                      <a:pt x="1002" y="976"/>
                    </a:lnTo>
                    <a:lnTo>
                      <a:pt x="1002" y="974"/>
                    </a:lnTo>
                    <a:lnTo>
                      <a:pt x="1003" y="974"/>
                    </a:lnTo>
                    <a:lnTo>
                      <a:pt x="1002" y="974"/>
                    </a:lnTo>
                    <a:lnTo>
                      <a:pt x="1000" y="974"/>
                    </a:lnTo>
                    <a:lnTo>
                      <a:pt x="1002" y="974"/>
                    </a:lnTo>
                    <a:lnTo>
                      <a:pt x="1000" y="974"/>
                    </a:lnTo>
                    <a:lnTo>
                      <a:pt x="1000" y="976"/>
                    </a:lnTo>
                    <a:lnTo>
                      <a:pt x="1000" y="974"/>
                    </a:lnTo>
                    <a:lnTo>
                      <a:pt x="998" y="974"/>
                    </a:lnTo>
                    <a:lnTo>
                      <a:pt x="998" y="976"/>
                    </a:lnTo>
                    <a:lnTo>
                      <a:pt x="998" y="978"/>
                    </a:lnTo>
                    <a:lnTo>
                      <a:pt x="997" y="976"/>
                    </a:lnTo>
                    <a:lnTo>
                      <a:pt x="997" y="978"/>
                    </a:lnTo>
                    <a:lnTo>
                      <a:pt x="995" y="978"/>
                    </a:lnTo>
                    <a:lnTo>
                      <a:pt x="993" y="978"/>
                    </a:lnTo>
                    <a:lnTo>
                      <a:pt x="993" y="980"/>
                    </a:lnTo>
                    <a:lnTo>
                      <a:pt x="993" y="978"/>
                    </a:lnTo>
                    <a:lnTo>
                      <a:pt x="992" y="978"/>
                    </a:lnTo>
                    <a:lnTo>
                      <a:pt x="990" y="978"/>
                    </a:lnTo>
                    <a:lnTo>
                      <a:pt x="990" y="980"/>
                    </a:lnTo>
                    <a:lnTo>
                      <a:pt x="990" y="981"/>
                    </a:lnTo>
                    <a:lnTo>
                      <a:pt x="988" y="983"/>
                    </a:lnTo>
                    <a:lnTo>
                      <a:pt x="990" y="983"/>
                    </a:lnTo>
                    <a:lnTo>
                      <a:pt x="988" y="983"/>
                    </a:lnTo>
                    <a:lnTo>
                      <a:pt x="988" y="985"/>
                    </a:lnTo>
                    <a:lnTo>
                      <a:pt x="990" y="985"/>
                    </a:lnTo>
                    <a:lnTo>
                      <a:pt x="992" y="983"/>
                    </a:lnTo>
                    <a:lnTo>
                      <a:pt x="992" y="985"/>
                    </a:lnTo>
                    <a:lnTo>
                      <a:pt x="990" y="985"/>
                    </a:lnTo>
                    <a:lnTo>
                      <a:pt x="990" y="986"/>
                    </a:lnTo>
                    <a:lnTo>
                      <a:pt x="990" y="985"/>
                    </a:lnTo>
                    <a:lnTo>
                      <a:pt x="992" y="985"/>
                    </a:lnTo>
                    <a:lnTo>
                      <a:pt x="992" y="986"/>
                    </a:lnTo>
                    <a:lnTo>
                      <a:pt x="990" y="986"/>
                    </a:lnTo>
                    <a:lnTo>
                      <a:pt x="992" y="988"/>
                    </a:lnTo>
                    <a:lnTo>
                      <a:pt x="992" y="986"/>
                    </a:lnTo>
                    <a:lnTo>
                      <a:pt x="993" y="985"/>
                    </a:lnTo>
                    <a:lnTo>
                      <a:pt x="993" y="986"/>
                    </a:lnTo>
                    <a:lnTo>
                      <a:pt x="995" y="986"/>
                    </a:lnTo>
                    <a:lnTo>
                      <a:pt x="995" y="988"/>
                    </a:lnTo>
                    <a:lnTo>
                      <a:pt x="995" y="986"/>
                    </a:lnTo>
                    <a:lnTo>
                      <a:pt x="995" y="988"/>
                    </a:lnTo>
                    <a:lnTo>
                      <a:pt x="993" y="988"/>
                    </a:lnTo>
                    <a:lnTo>
                      <a:pt x="993" y="990"/>
                    </a:lnTo>
                    <a:lnTo>
                      <a:pt x="992" y="990"/>
                    </a:lnTo>
                    <a:lnTo>
                      <a:pt x="992" y="988"/>
                    </a:lnTo>
                    <a:lnTo>
                      <a:pt x="992" y="990"/>
                    </a:lnTo>
                    <a:lnTo>
                      <a:pt x="992" y="988"/>
                    </a:lnTo>
                    <a:lnTo>
                      <a:pt x="990" y="990"/>
                    </a:lnTo>
                    <a:lnTo>
                      <a:pt x="990" y="988"/>
                    </a:lnTo>
                    <a:lnTo>
                      <a:pt x="990" y="990"/>
                    </a:lnTo>
                    <a:lnTo>
                      <a:pt x="990" y="988"/>
                    </a:lnTo>
                    <a:lnTo>
                      <a:pt x="988" y="990"/>
                    </a:lnTo>
                    <a:lnTo>
                      <a:pt x="986" y="990"/>
                    </a:lnTo>
                    <a:lnTo>
                      <a:pt x="985" y="990"/>
                    </a:lnTo>
                    <a:lnTo>
                      <a:pt x="985" y="991"/>
                    </a:lnTo>
                    <a:lnTo>
                      <a:pt x="985" y="990"/>
                    </a:lnTo>
                    <a:lnTo>
                      <a:pt x="983" y="990"/>
                    </a:lnTo>
                    <a:lnTo>
                      <a:pt x="981" y="988"/>
                    </a:lnTo>
                    <a:lnTo>
                      <a:pt x="981" y="990"/>
                    </a:lnTo>
                    <a:lnTo>
                      <a:pt x="980" y="990"/>
                    </a:lnTo>
                    <a:lnTo>
                      <a:pt x="980" y="991"/>
                    </a:lnTo>
                    <a:lnTo>
                      <a:pt x="978" y="991"/>
                    </a:lnTo>
                    <a:lnTo>
                      <a:pt x="976" y="991"/>
                    </a:lnTo>
                    <a:lnTo>
                      <a:pt x="976" y="993"/>
                    </a:lnTo>
                    <a:lnTo>
                      <a:pt x="978" y="993"/>
                    </a:lnTo>
                    <a:lnTo>
                      <a:pt x="976" y="993"/>
                    </a:lnTo>
                    <a:lnTo>
                      <a:pt x="976" y="995"/>
                    </a:lnTo>
                    <a:lnTo>
                      <a:pt x="975" y="995"/>
                    </a:lnTo>
                    <a:lnTo>
                      <a:pt x="975" y="997"/>
                    </a:lnTo>
                    <a:lnTo>
                      <a:pt x="975" y="995"/>
                    </a:lnTo>
                    <a:lnTo>
                      <a:pt x="973" y="995"/>
                    </a:lnTo>
                    <a:lnTo>
                      <a:pt x="973" y="997"/>
                    </a:lnTo>
                    <a:lnTo>
                      <a:pt x="973" y="995"/>
                    </a:lnTo>
                    <a:lnTo>
                      <a:pt x="971" y="995"/>
                    </a:lnTo>
                    <a:lnTo>
                      <a:pt x="971" y="997"/>
                    </a:lnTo>
                    <a:lnTo>
                      <a:pt x="971" y="998"/>
                    </a:lnTo>
                    <a:lnTo>
                      <a:pt x="969" y="998"/>
                    </a:lnTo>
                    <a:lnTo>
                      <a:pt x="969" y="997"/>
                    </a:lnTo>
                    <a:lnTo>
                      <a:pt x="968" y="998"/>
                    </a:lnTo>
                    <a:lnTo>
                      <a:pt x="968" y="1000"/>
                    </a:lnTo>
                    <a:lnTo>
                      <a:pt x="966" y="1000"/>
                    </a:lnTo>
                    <a:lnTo>
                      <a:pt x="964" y="1000"/>
                    </a:lnTo>
                    <a:lnTo>
                      <a:pt x="964" y="1002"/>
                    </a:lnTo>
                    <a:lnTo>
                      <a:pt x="964" y="1003"/>
                    </a:lnTo>
                    <a:lnTo>
                      <a:pt x="966" y="1003"/>
                    </a:lnTo>
                    <a:lnTo>
                      <a:pt x="964" y="1003"/>
                    </a:lnTo>
                    <a:lnTo>
                      <a:pt x="966" y="1005"/>
                    </a:lnTo>
                    <a:lnTo>
                      <a:pt x="966" y="1007"/>
                    </a:lnTo>
                    <a:lnTo>
                      <a:pt x="964" y="1007"/>
                    </a:lnTo>
                    <a:lnTo>
                      <a:pt x="963" y="1007"/>
                    </a:lnTo>
                    <a:lnTo>
                      <a:pt x="961" y="1007"/>
                    </a:lnTo>
                    <a:lnTo>
                      <a:pt x="959" y="1005"/>
                    </a:lnTo>
                    <a:lnTo>
                      <a:pt x="958" y="1005"/>
                    </a:lnTo>
                    <a:lnTo>
                      <a:pt x="958" y="1007"/>
                    </a:lnTo>
                    <a:lnTo>
                      <a:pt x="958" y="1005"/>
                    </a:lnTo>
                    <a:lnTo>
                      <a:pt x="956" y="1005"/>
                    </a:lnTo>
                    <a:lnTo>
                      <a:pt x="954" y="1005"/>
                    </a:lnTo>
                    <a:lnTo>
                      <a:pt x="952" y="1005"/>
                    </a:lnTo>
                    <a:lnTo>
                      <a:pt x="951" y="1003"/>
                    </a:lnTo>
                    <a:lnTo>
                      <a:pt x="951" y="1005"/>
                    </a:lnTo>
                    <a:lnTo>
                      <a:pt x="949" y="1005"/>
                    </a:lnTo>
                    <a:lnTo>
                      <a:pt x="947" y="1005"/>
                    </a:lnTo>
                    <a:lnTo>
                      <a:pt x="946" y="1005"/>
                    </a:lnTo>
                    <a:lnTo>
                      <a:pt x="944" y="1007"/>
                    </a:lnTo>
                    <a:lnTo>
                      <a:pt x="942" y="1007"/>
                    </a:lnTo>
                    <a:lnTo>
                      <a:pt x="941" y="1007"/>
                    </a:lnTo>
                    <a:lnTo>
                      <a:pt x="941" y="1008"/>
                    </a:lnTo>
                    <a:lnTo>
                      <a:pt x="941" y="1010"/>
                    </a:lnTo>
                    <a:lnTo>
                      <a:pt x="939" y="1010"/>
                    </a:lnTo>
                    <a:lnTo>
                      <a:pt x="941" y="1012"/>
                    </a:lnTo>
                    <a:lnTo>
                      <a:pt x="939" y="1012"/>
                    </a:lnTo>
                    <a:lnTo>
                      <a:pt x="939" y="1014"/>
                    </a:lnTo>
                    <a:lnTo>
                      <a:pt x="939" y="1012"/>
                    </a:lnTo>
                    <a:lnTo>
                      <a:pt x="937" y="1014"/>
                    </a:lnTo>
                    <a:lnTo>
                      <a:pt x="935" y="1014"/>
                    </a:lnTo>
                    <a:lnTo>
                      <a:pt x="935" y="1015"/>
                    </a:lnTo>
                    <a:lnTo>
                      <a:pt x="935" y="1014"/>
                    </a:lnTo>
                    <a:lnTo>
                      <a:pt x="934" y="1014"/>
                    </a:lnTo>
                    <a:lnTo>
                      <a:pt x="935" y="1014"/>
                    </a:lnTo>
                    <a:lnTo>
                      <a:pt x="934" y="1012"/>
                    </a:lnTo>
                    <a:lnTo>
                      <a:pt x="932" y="1012"/>
                    </a:lnTo>
                    <a:lnTo>
                      <a:pt x="932" y="1014"/>
                    </a:lnTo>
                    <a:lnTo>
                      <a:pt x="932" y="1015"/>
                    </a:lnTo>
                    <a:lnTo>
                      <a:pt x="932" y="1014"/>
                    </a:lnTo>
                    <a:lnTo>
                      <a:pt x="930" y="1014"/>
                    </a:lnTo>
                    <a:lnTo>
                      <a:pt x="929" y="1015"/>
                    </a:lnTo>
                    <a:lnTo>
                      <a:pt x="927" y="1015"/>
                    </a:lnTo>
                    <a:lnTo>
                      <a:pt x="925" y="1017"/>
                    </a:lnTo>
                    <a:lnTo>
                      <a:pt x="924" y="1017"/>
                    </a:lnTo>
                    <a:lnTo>
                      <a:pt x="922" y="1017"/>
                    </a:lnTo>
                    <a:lnTo>
                      <a:pt x="922" y="1019"/>
                    </a:lnTo>
                    <a:lnTo>
                      <a:pt x="920" y="1019"/>
                    </a:lnTo>
                    <a:lnTo>
                      <a:pt x="920" y="1020"/>
                    </a:lnTo>
                    <a:lnTo>
                      <a:pt x="918" y="1020"/>
                    </a:lnTo>
                    <a:lnTo>
                      <a:pt x="917" y="1020"/>
                    </a:lnTo>
                    <a:lnTo>
                      <a:pt x="917" y="1022"/>
                    </a:lnTo>
                    <a:lnTo>
                      <a:pt x="915" y="1022"/>
                    </a:lnTo>
                    <a:lnTo>
                      <a:pt x="913" y="1024"/>
                    </a:lnTo>
                    <a:lnTo>
                      <a:pt x="912" y="1025"/>
                    </a:lnTo>
                    <a:lnTo>
                      <a:pt x="912" y="1027"/>
                    </a:lnTo>
                    <a:lnTo>
                      <a:pt x="912" y="1029"/>
                    </a:lnTo>
                    <a:lnTo>
                      <a:pt x="910" y="1029"/>
                    </a:lnTo>
                    <a:lnTo>
                      <a:pt x="908" y="1031"/>
                    </a:lnTo>
                    <a:lnTo>
                      <a:pt x="907" y="1032"/>
                    </a:lnTo>
                    <a:lnTo>
                      <a:pt x="905" y="1032"/>
                    </a:lnTo>
                    <a:lnTo>
                      <a:pt x="905" y="1034"/>
                    </a:lnTo>
                    <a:lnTo>
                      <a:pt x="903" y="1034"/>
                    </a:lnTo>
                    <a:lnTo>
                      <a:pt x="901" y="1036"/>
                    </a:lnTo>
                    <a:lnTo>
                      <a:pt x="900" y="1036"/>
                    </a:lnTo>
                    <a:lnTo>
                      <a:pt x="900" y="1037"/>
                    </a:lnTo>
                    <a:lnTo>
                      <a:pt x="898" y="1037"/>
                    </a:lnTo>
                    <a:lnTo>
                      <a:pt x="896" y="1039"/>
                    </a:lnTo>
                    <a:lnTo>
                      <a:pt x="895" y="1039"/>
                    </a:lnTo>
                    <a:lnTo>
                      <a:pt x="895" y="1041"/>
                    </a:lnTo>
                    <a:lnTo>
                      <a:pt x="893" y="1041"/>
                    </a:lnTo>
                    <a:lnTo>
                      <a:pt x="891" y="1042"/>
                    </a:lnTo>
                    <a:lnTo>
                      <a:pt x="890" y="1042"/>
                    </a:lnTo>
                    <a:lnTo>
                      <a:pt x="890" y="1044"/>
                    </a:lnTo>
                    <a:lnTo>
                      <a:pt x="888" y="1044"/>
                    </a:lnTo>
                    <a:lnTo>
                      <a:pt x="888" y="1046"/>
                    </a:lnTo>
                    <a:lnTo>
                      <a:pt x="886" y="1046"/>
                    </a:lnTo>
                    <a:lnTo>
                      <a:pt x="884" y="1048"/>
                    </a:lnTo>
                    <a:lnTo>
                      <a:pt x="884" y="1049"/>
                    </a:lnTo>
                    <a:lnTo>
                      <a:pt x="883" y="1049"/>
                    </a:lnTo>
                    <a:lnTo>
                      <a:pt x="883" y="1051"/>
                    </a:lnTo>
                    <a:lnTo>
                      <a:pt x="881" y="1051"/>
                    </a:lnTo>
                    <a:lnTo>
                      <a:pt x="881" y="1053"/>
                    </a:lnTo>
                    <a:lnTo>
                      <a:pt x="881" y="1054"/>
                    </a:lnTo>
                    <a:lnTo>
                      <a:pt x="881" y="1056"/>
                    </a:lnTo>
                    <a:lnTo>
                      <a:pt x="879" y="1056"/>
                    </a:lnTo>
                    <a:lnTo>
                      <a:pt x="879" y="1058"/>
                    </a:lnTo>
                    <a:lnTo>
                      <a:pt x="878" y="1058"/>
                    </a:lnTo>
                    <a:lnTo>
                      <a:pt x="878" y="1059"/>
                    </a:lnTo>
                    <a:lnTo>
                      <a:pt x="876" y="1059"/>
                    </a:lnTo>
                    <a:lnTo>
                      <a:pt x="876" y="1061"/>
                    </a:lnTo>
                    <a:lnTo>
                      <a:pt x="874" y="1061"/>
                    </a:lnTo>
                    <a:lnTo>
                      <a:pt x="874" y="1063"/>
                    </a:lnTo>
                    <a:lnTo>
                      <a:pt x="873" y="1063"/>
                    </a:lnTo>
                    <a:lnTo>
                      <a:pt x="873" y="1065"/>
                    </a:lnTo>
                    <a:lnTo>
                      <a:pt x="871" y="1065"/>
                    </a:lnTo>
                    <a:lnTo>
                      <a:pt x="871" y="1066"/>
                    </a:lnTo>
                    <a:lnTo>
                      <a:pt x="871" y="1068"/>
                    </a:lnTo>
                    <a:lnTo>
                      <a:pt x="869" y="1068"/>
                    </a:lnTo>
                    <a:lnTo>
                      <a:pt x="867" y="1068"/>
                    </a:lnTo>
                    <a:lnTo>
                      <a:pt x="867" y="1070"/>
                    </a:lnTo>
                    <a:lnTo>
                      <a:pt x="867" y="1071"/>
                    </a:lnTo>
                    <a:lnTo>
                      <a:pt x="866" y="1071"/>
                    </a:lnTo>
                    <a:lnTo>
                      <a:pt x="866" y="1073"/>
                    </a:lnTo>
                    <a:lnTo>
                      <a:pt x="864" y="1073"/>
                    </a:lnTo>
                    <a:lnTo>
                      <a:pt x="862" y="1075"/>
                    </a:lnTo>
                    <a:lnTo>
                      <a:pt x="862" y="1076"/>
                    </a:lnTo>
                    <a:lnTo>
                      <a:pt x="861" y="1078"/>
                    </a:lnTo>
                    <a:lnTo>
                      <a:pt x="861" y="1080"/>
                    </a:lnTo>
                    <a:lnTo>
                      <a:pt x="859" y="1080"/>
                    </a:lnTo>
                    <a:lnTo>
                      <a:pt x="861" y="1082"/>
                    </a:lnTo>
                    <a:lnTo>
                      <a:pt x="859" y="1082"/>
                    </a:lnTo>
                    <a:lnTo>
                      <a:pt x="859" y="1083"/>
                    </a:lnTo>
                    <a:lnTo>
                      <a:pt x="859" y="1085"/>
                    </a:lnTo>
                    <a:lnTo>
                      <a:pt x="857" y="1085"/>
                    </a:lnTo>
                    <a:lnTo>
                      <a:pt x="857" y="1087"/>
                    </a:lnTo>
                    <a:lnTo>
                      <a:pt x="857" y="1088"/>
                    </a:lnTo>
                    <a:lnTo>
                      <a:pt x="857" y="1090"/>
                    </a:lnTo>
                    <a:lnTo>
                      <a:pt x="857" y="1092"/>
                    </a:lnTo>
                    <a:lnTo>
                      <a:pt x="857" y="1093"/>
                    </a:lnTo>
                    <a:lnTo>
                      <a:pt x="859" y="1093"/>
                    </a:lnTo>
                    <a:lnTo>
                      <a:pt x="861" y="1093"/>
                    </a:lnTo>
                    <a:lnTo>
                      <a:pt x="861" y="1095"/>
                    </a:lnTo>
                    <a:lnTo>
                      <a:pt x="861" y="1097"/>
                    </a:lnTo>
                    <a:lnTo>
                      <a:pt x="859" y="1099"/>
                    </a:lnTo>
                    <a:lnTo>
                      <a:pt x="859" y="1100"/>
                    </a:lnTo>
                    <a:lnTo>
                      <a:pt x="859" y="1102"/>
                    </a:lnTo>
                    <a:lnTo>
                      <a:pt x="857" y="1102"/>
                    </a:lnTo>
                    <a:lnTo>
                      <a:pt x="857" y="1104"/>
                    </a:lnTo>
                    <a:lnTo>
                      <a:pt x="857" y="1105"/>
                    </a:lnTo>
                    <a:lnTo>
                      <a:pt x="857" y="1107"/>
                    </a:lnTo>
                    <a:lnTo>
                      <a:pt x="856" y="1107"/>
                    </a:lnTo>
                    <a:lnTo>
                      <a:pt x="856" y="1109"/>
                    </a:lnTo>
                    <a:lnTo>
                      <a:pt x="856" y="1110"/>
                    </a:lnTo>
                    <a:lnTo>
                      <a:pt x="856" y="1112"/>
                    </a:lnTo>
                    <a:lnTo>
                      <a:pt x="854" y="1112"/>
                    </a:lnTo>
                    <a:lnTo>
                      <a:pt x="856" y="1112"/>
                    </a:lnTo>
                    <a:lnTo>
                      <a:pt x="854" y="1112"/>
                    </a:lnTo>
                    <a:lnTo>
                      <a:pt x="854" y="1114"/>
                    </a:lnTo>
                    <a:lnTo>
                      <a:pt x="856" y="1114"/>
                    </a:lnTo>
                    <a:lnTo>
                      <a:pt x="856" y="1116"/>
                    </a:lnTo>
                    <a:lnTo>
                      <a:pt x="856" y="1117"/>
                    </a:lnTo>
                    <a:lnTo>
                      <a:pt x="856" y="1116"/>
                    </a:lnTo>
                    <a:lnTo>
                      <a:pt x="857" y="1117"/>
                    </a:lnTo>
                    <a:lnTo>
                      <a:pt x="857" y="1119"/>
                    </a:lnTo>
                    <a:lnTo>
                      <a:pt x="856" y="1121"/>
                    </a:lnTo>
                    <a:lnTo>
                      <a:pt x="856" y="1122"/>
                    </a:lnTo>
                    <a:lnTo>
                      <a:pt x="857" y="1122"/>
                    </a:lnTo>
                    <a:lnTo>
                      <a:pt x="857" y="1124"/>
                    </a:lnTo>
                    <a:lnTo>
                      <a:pt x="856" y="1124"/>
                    </a:lnTo>
                    <a:lnTo>
                      <a:pt x="857" y="1126"/>
                    </a:lnTo>
                    <a:lnTo>
                      <a:pt x="859" y="1126"/>
                    </a:lnTo>
                    <a:lnTo>
                      <a:pt x="859" y="1128"/>
                    </a:lnTo>
                    <a:lnTo>
                      <a:pt x="857" y="1128"/>
                    </a:lnTo>
                    <a:lnTo>
                      <a:pt x="857" y="1129"/>
                    </a:lnTo>
                    <a:lnTo>
                      <a:pt x="857" y="1131"/>
                    </a:lnTo>
                    <a:lnTo>
                      <a:pt x="859" y="1131"/>
                    </a:lnTo>
                    <a:lnTo>
                      <a:pt x="861" y="1131"/>
                    </a:lnTo>
                    <a:lnTo>
                      <a:pt x="861" y="1129"/>
                    </a:lnTo>
                    <a:lnTo>
                      <a:pt x="861" y="1131"/>
                    </a:lnTo>
                    <a:lnTo>
                      <a:pt x="862" y="1131"/>
                    </a:lnTo>
                    <a:lnTo>
                      <a:pt x="861" y="1131"/>
                    </a:lnTo>
                    <a:lnTo>
                      <a:pt x="861" y="1133"/>
                    </a:lnTo>
                    <a:lnTo>
                      <a:pt x="862" y="1133"/>
                    </a:lnTo>
                    <a:lnTo>
                      <a:pt x="861" y="1134"/>
                    </a:lnTo>
                    <a:lnTo>
                      <a:pt x="861" y="1133"/>
                    </a:lnTo>
                    <a:lnTo>
                      <a:pt x="859" y="1133"/>
                    </a:lnTo>
                    <a:lnTo>
                      <a:pt x="857" y="1134"/>
                    </a:lnTo>
                    <a:lnTo>
                      <a:pt x="857" y="1136"/>
                    </a:lnTo>
                    <a:lnTo>
                      <a:pt x="857" y="1138"/>
                    </a:lnTo>
                    <a:lnTo>
                      <a:pt x="859" y="1138"/>
                    </a:lnTo>
                    <a:lnTo>
                      <a:pt x="859" y="1136"/>
                    </a:lnTo>
                    <a:lnTo>
                      <a:pt x="859" y="1138"/>
                    </a:lnTo>
                    <a:lnTo>
                      <a:pt x="861" y="1138"/>
                    </a:lnTo>
                    <a:lnTo>
                      <a:pt x="859" y="1139"/>
                    </a:lnTo>
                    <a:lnTo>
                      <a:pt x="861" y="1139"/>
                    </a:lnTo>
                    <a:lnTo>
                      <a:pt x="859" y="1139"/>
                    </a:lnTo>
                    <a:lnTo>
                      <a:pt x="859" y="1141"/>
                    </a:lnTo>
                    <a:lnTo>
                      <a:pt x="857" y="1141"/>
                    </a:lnTo>
                    <a:lnTo>
                      <a:pt x="857" y="1143"/>
                    </a:lnTo>
                    <a:lnTo>
                      <a:pt x="856" y="1143"/>
                    </a:lnTo>
                    <a:lnTo>
                      <a:pt x="856" y="1145"/>
                    </a:lnTo>
                    <a:lnTo>
                      <a:pt x="857" y="1145"/>
                    </a:lnTo>
                    <a:lnTo>
                      <a:pt x="857" y="1146"/>
                    </a:lnTo>
                    <a:lnTo>
                      <a:pt x="857" y="1148"/>
                    </a:lnTo>
                    <a:lnTo>
                      <a:pt x="859" y="1148"/>
                    </a:lnTo>
                    <a:lnTo>
                      <a:pt x="857" y="1150"/>
                    </a:lnTo>
                    <a:lnTo>
                      <a:pt x="857" y="1148"/>
                    </a:lnTo>
                    <a:lnTo>
                      <a:pt x="857" y="1150"/>
                    </a:lnTo>
                    <a:lnTo>
                      <a:pt x="856" y="1150"/>
                    </a:lnTo>
                    <a:lnTo>
                      <a:pt x="856" y="1151"/>
                    </a:lnTo>
                    <a:lnTo>
                      <a:pt x="857" y="1151"/>
                    </a:lnTo>
                    <a:lnTo>
                      <a:pt x="856" y="1151"/>
                    </a:lnTo>
                    <a:lnTo>
                      <a:pt x="856" y="1153"/>
                    </a:lnTo>
                    <a:lnTo>
                      <a:pt x="857" y="1155"/>
                    </a:lnTo>
                    <a:lnTo>
                      <a:pt x="856" y="1155"/>
                    </a:lnTo>
                    <a:lnTo>
                      <a:pt x="857" y="1155"/>
                    </a:lnTo>
                    <a:lnTo>
                      <a:pt x="857" y="1156"/>
                    </a:lnTo>
                    <a:lnTo>
                      <a:pt x="859" y="1158"/>
                    </a:lnTo>
                    <a:lnTo>
                      <a:pt x="857" y="1158"/>
                    </a:lnTo>
                    <a:lnTo>
                      <a:pt x="857" y="1160"/>
                    </a:lnTo>
                    <a:lnTo>
                      <a:pt x="859" y="1160"/>
                    </a:lnTo>
                    <a:lnTo>
                      <a:pt x="857" y="1160"/>
                    </a:lnTo>
                    <a:lnTo>
                      <a:pt x="857" y="1162"/>
                    </a:lnTo>
                    <a:lnTo>
                      <a:pt x="857" y="1163"/>
                    </a:lnTo>
                    <a:lnTo>
                      <a:pt x="857" y="1165"/>
                    </a:lnTo>
                    <a:lnTo>
                      <a:pt x="857" y="1167"/>
                    </a:lnTo>
                    <a:lnTo>
                      <a:pt x="856" y="1168"/>
                    </a:lnTo>
                    <a:lnTo>
                      <a:pt x="857" y="1168"/>
                    </a:lnTo>
                    <a:lnTo>
                      <a:pt x="856" y="1168"/>
                    </a:lnTo>
                    <a:lnTo>
                      <a:pt x="856" y="1170"/>
                    </a:lnTo>
                    <a:lnTo>
                      <a:pt x="856" y="1172"/>
                    </a:lnTo>
                    <a:lnTo>
                      <a:pt x="856" y="1173"/>
                    </a:lnTo>
                    <a:lnTo>
                      <a:pt x="854" y="1175"/>
                    </a:lnTo>
                    <a:lnTo>
                      <a:pt x="854" y="1177"/>
                    </a:lnTo>
                    <a:lnTo>
                      <a:pt x="852" y="1179"/>
                    </a:lnTo>
                    <a:lnTo>
                      <a:pt x="852" y="1180"/>
                    </a:lnTo>
                    <a:lnTo>
                      <a:pt x="852" y="1182"/>
                    </a:lnTo>
                    <a:lnTo>
                      <a:pt x="852" y="1184"/>
                    </a:lnTo>
                    <a:lnTo>
                      <a:pt x="852" y="1185"/>
                    </a:lnTo>
                    <a:lnTo>
                      <a:pt x="850" y="1185"/>
                    </a:lnTo>
                    <a:lnTo>
                      <a:pt x="850" y="1187"/>
                    </a:lnTo>
                    <a:lnTo>
                      <a:pt x="849" y="1187"/>
                    </a:lnTo>
                    <a:lnTo>
                      <a:pt x="847" y="1187"/>
                    </a:lnTo>
                    <a:lnTo>
                      <a:pt x="847" y="1189"/>
                    </a:lnTo>
                    <a:lnTo>
                      <a:pt x="845" y="1189"/>
                    </a:lnTo>
                    <a:lnTo>
                      <a:pt x="844" y="1190"/>
                    </a:lnTo>
                    <a:lnTo>
                      <a:pt x="840" y="1192"/>
                    </a:lnTo>
                    <a:lnTo>
                      <a:pt x="839" y="1194"/>
                    </a:lnTo>
                    <a:lnTo>
                      <a:pt x="837" y="1194"/>
                    </a:lnTo>
                    <a:lnTo>
                      <a:pt x="837" y="1196"/>
                    </a:lnTo>
                    <a:lnTo>
                      <a:pt x="833" y="1197"/>
                    </a:lnTo>
                    <a:lnTo>
                      <a:pt x="833" y="1199"/>
                    </a:lnTo>
                    <a:lnTo>
                      <a:pt x="832" y="1199"/>
                    </a:lnTo>
                    <a:lnTo>
                      <a:pt x="832" y="1201"/>
                    </a:lnTo>
                    <a:lnTo>
                      <a:pt x="828" y="1202"/>
                    </a:lnTo>
                    <a:lnTo>
                      <a:pt x="828" y="1204"/>
                    </a:lnTo>
                    <a:lnTo>
                      <a:pt x="827" y="1206"/>
                    </a:lnTo>
                    <a:lnTo>
                      <a:pt x="825" y="1207"/>
                    </a:lnTo>
                    <a:lnTo>
                      <a:pt x="823" y="1209"/>
                    </a:lnTo>
                    <a:lnTo>
                      <a:pt x="822" y="1211"/>
                    </a:lnTo>
                    <a:lnTo>
                      <a:pt x="822" y="1213"/>
                    </a:lnTo>
                    <a:lnTo>
                      <a:pt x="820" y="1213"/>
                    </a:lnTo>
                    <a:lnTo>
                      <a:pt x="820" y="1214"/>
                    </a:lnTo>
                    <a:lnTo>
                      <a:pt x="820" y="1216"/>
                    </a:lnTo>
                    <a:lnTo>
                      <a:pt x="818" y="1216"/>
                    </a:lnTo>
                    <a:lnTo>
                      <a:pt x="818" y="1218"/>
                    </a:lnTo>
                    <a:lnTo>
                      <a:pt x="816" y="1219"/>
                    </a:lnTo>
                    <a:lnTo>
                      <a:pt x="815" y="1221"/>
                    </a:lnTo>
                    <a:lnTo>
                      <a:pt x="815" y="1223"/>
                    </a:lnTo>
                    <a:lnTo>
                      <a:pt x="813" y="1224"/>
                    </a:lnTo>
                    <a:lnTo>
                      <a:pt x="813" y="1226"/>
                    </a:lnTo>
                    <a:lnTo>
                      <a:pt x="811" y="1228"/>
                    </a:lnTo>
                    <a:lnTo>
                      <a:pt x="810" y="1231"/>
                    </a:lnTo>
                    <a:lnTo>
                      <a:pt x="810" y="1233"/>
                    </a:lnTo>
                    <a:lnTo>
                      <a:pt x="808" y="1235"/>
                    </a:lnTo>
                    <a:lnTo>
                      <a:pt x="808" y="1236"/>
                    </a:lnTo>
                    <a:lnTo>
                      <a:pt x="806" y="1240"/>
                    </a:lnTo>
                    <a:lnTo>
                      <a:pt x="806" y="1241"/>
                    </a:lnTo>
                    <a:lnTo>
                      <a:pt x="805" y="1245"/>
                    </a:lnTo>
                    <a:lnTo>
                      <a:pt x="803" y="1250"/>
                    </a:lnTo>
                    <a:lnTo>
                      <a:pt x="801" y="1252"/>
                    </a:lnTo>
                    <a:lnTo>
                      <a:pt x="801" y="1253"/>
                    </a:lnTo>
                    <a:lnTo>
                      <a:pt x="799" y="1257"/>
                    </a:lnTo>
                    <a:lnTo>
                      <a:pt x="799" y="1258"/>
                    </a:lnTo>
                    <a:lnTo>
                      <a:pt x="799" y="1260"/>
                    </a:lnTo>
                    <a:lnTo>
                      <a:pt x="798" y="1262"/>
                    </a:lnTo>
                    <a:lnTo>
                      <a:pt x="798" y="1264"/>
                    </a:lnTo>
                    <a:lnTo>
                      <a:pt x="796" y="1267"/>
                    </a:lnTo>
                    <a:lnTo>
                      <a:pt x="794" y="1269"/>
                    </a:lnTo>
                    <a:lnTo>
                      <a:pt x="793" y="1270"/>
                    </a:lnTo>
                    <a:lnTo>
                      <a:pt x="793" y="1272"/>
                    </a:lnTo>
                    <a:lnTo>
                      <a:pt x="791" y="1272"/>
                    </a:lnTo>
                    <a:lnTo>
                      <a:pt x="791" y="1274"/>
                    </a:lnTo>
                    <a:lnTo>
                      <a:pt x="789" y="1276"/>
                    </a:lnTo>
                    <a:lnTo>
                      <a:pt x="789" y="1277"/>
                    </a:lnTo>
                    <a:lnTo>
                      <a:pt x="788" y="1279"/>
                    </a:lnTo>
                    <a:lnTo>
                      <a:pt x="786" y="1281"/>
                    </a:lnTo>
                    <a:lnTo>
                      <a:pt x="784" y="1284"/>
                    </a:lnTo>
                    <a:lnTo>
                      <a:pt x="784" y="1286"/>
                    </a:lnTo>
                    <a:lnTo>
                      <a:pt x="782" y="1286"/>
                    </a:lnTo>
                    <a:lnTo>
                      <a:pt x="782" y="1287"/>
                    </a:lnTo>
                    <a:lnTo>
                      <a:pt x="779" y="1289"/>
                    </a:lnTo>
                    <a:lnTo>
                      <a:pt x="779" y="1291"/>
                    </a:lnTo>
                    <a:lnTo>
                      <a:pt x="777" y="1293"/>
                    </a:lnTo>
                    <a:lnTo>
                      <a:pt x="776" y="1294"/>
                    </a:lnTo>
                    <a:lnTo>
                      <a:pt x="774" y="1294"/>
                    </a:lnTo>
                    <a:lnTo>
                      <a:pt x="774" y="1296"/>
                    </a:lnTo>
                    <a:lnTo>
                      <a:pt x="772" y="1298"/>
                    </a:lnTo>
                    <a:lnTo>
                      <a:pt x="771" y="1299"/>
                    </a:lnTo>
                    <a:lnTo>
                      <a:pt x="769" y="1301"/>
                    </a:lnTo>
                    <a:lnTo>
                      <a:pt x="769" y="1303"/>
                    </a:lnTo>
                    <a:lnTo>
                      <a:pt x="767" y="1303"/>
                    </a:lnTo>
                    <a:lnTo>
                      <a:pt x="765" y="1304"/>
                    </a:lnTo>
                    <a:lnTo>
                      <a:pt x="764" y="1306"/>
                    </a:lnTo>
                    <a:lnTo>
                      <a:pt x="762" y="1308"/>
                    </a:lnTo>
                    <a:lnTo>
                      <a:pt x="760" y="1308"/>
                    </a:lnTo>
                    <a:lnTo>
                      <a:pt x="759" y="1310"/>
                    </a:lnTo>
                    <a:lnTo>
                      <a:pt x="757" y="1311"/>
                    </a:lnTo>
                    <a:lnTo>
                      <a:pt x="755" y="1311"/>
                    </a:lnTo>
                    <a:lnTo>
                      <a:pt x="755" y="1313"/>
                    </a:lnTo>
                    <a:lnTo>
                      <a:pt x="754" y="1313"/>
                    </a:lnTo>
                    <a:lnTo>
                      <a:pt x="752" y="1315"/>
                    </a:lnTo>
                    <a:lnTo>
                      <a:pt x="750" y="1315"/>
                    </a:lnTo>
                    <a:lnTo>
                      <a:pt x="748" y="1316"/>
                    </a:lnTo>
                    <a:lnTo>
                      <a:pt x="747" y="1318"/>
                    </a:lnTo>
                    <a:lnTo>
                      <a:pt x="745" y="1320"/>
                    </a:lnTo>
                    <a:lnTo>
                      <a:pt x="743" y="1320"/>
                    </a:lnTo>
                    <a:lnTo>
                      <a:pt x="742" y="1323"/>
                    </a:lnTo>
                    <a:lnTo>
                      <a:pt x="742" y="1325"/>
                    </a:lnTo>
                    <a:lnTo>
                      <a:pt x="740" y="1325"/>
                    </a:lnTo>
                    <a:lnTo>
                      <a:pt x="740" y="1327"/>
                    </a:lnTo>
                    <a:lnTo>
                      <a:pt x="740" y="1325"/>
                    </a:lnTo>
                    <a:lnTo>
                      <a:pt x="740" y="1327"/>
                    </a:lnTo>
                    <a:lnTo>
                      <a:pt x="738" y="1327"/>
                    </a:lnTo>
                    <a:lnTo>
                      <a:pt x="737" y="1328"/>
                    </a:lnTo>
                    <a:lnTo>
                      <a:pt x="735" y="1330"/>
                    </a:lnTo>
                    <a:lnTo>
                      <a:pt x="733" y="1333"/>
                    </a:lnTo>
                    <a:lnTo>
                      <a:pt x="731" y="1335"/>
                    </a:lnTo>
                    <a:lnTo>
                      <a:pt x="731" y="1337"/>
                    </a:lnTo>
                    <a:lnTo>
                      <a:pt x="731" y="1338"/>
                    </a:lnTo>
                    <a:lnTo>
                      <a:pt x="730" y="1338"/>
                    </a:lnTo>
                    <a:lnTo>
                      <a:pt x="730" y="1342"/>
                    </a:lnTo>
                    <a:lnTo>
                      <a:pt x="730" y="1344"/>
                    </a:lnTo>
                    <a:lnTo>
                      <a:pt x="728" y="1344"/>
                    </a:lnTo>
                    <a:lnTo>
                      <a:pt x="728" y="1345"/>
                    </a:lnTo>
                    <a:lnTo>
                      <a:pt x="728" y="1347"/>
                    </a:lnTo>
                    <a:lnTo>
                      <a:pt x="728" y="1349"/>
                    </a:lnTo>
                    <a:lnTo>
                      <a:pt x="728" y="1350"/>
                    </a:lnTo>
                    <a:lnTo>
                      <a:pt x="726" y="1352"/>
                    </a:lnTo>
                    <a:lnTo>
                      <a:pt x="726" y="1354"/>
                    </a:lnTo>
                    <a:lnTo>
                      <a:pt x="726" y="1355"/>
                    </a:lnTo>
                    <a:lnTo>
                      <a:pt x="725" y="1355"/>
                    </a:lnTo>
                    <a:lnTo>
                      <a:pt x="725" y="1357"/>
                    </a:lnTo>
                    <a:lnTo>
                      <a:pt x="725" y="1359"/>
                    </a:lnTo>
                    <a:lnTo>
                      <a:pt x="723" y="1362"/>
                    </a:lnTo>
                    <a:lnTo>
                      <a:pt x="721" y="1364"/>
                    </a:lnTo>
                    <a:lnTo>
                      <a:pt x="721" y="1366"/>
                    </a:lnTo>
                    <a:lnTo>
                      <a:pt x="720" y="1366"/>
                    </a:lnTo>
                    <a:lnTo>
                      <a:pt x="720" y="1367"/>
                    </a:lnTo>
                    <a:lnTo>
                      <a:pt x="718" y="1369"/>
                    </a:lnTo>
                    <a:lnTo>
                      <a:pt x="716" y="1371"/>
                    </a:lnTo>
                    <a:lnTo>
                      <a:pt x="714" y="1372"/>
                    </a:lnTo>
                    <a:lnTo>
                      <a:pt x="713" y="1374"/>
                    </a:lnTo>
                    <a:lnTo>
                      <a:pt x="711" y="1376"/>
                    </a:lnTo>
                    <a:lnTo>
                      <a:pt x="709" y="1378"/>
                    </a:lnTo>
                    <a:lnTo>
                      <a:pt x="708" y="1379"/>
                    </a:lnTo>
                    <a:lnTo>
                      <a:pt x="706" y="1381"/>
                    </a:lnTo>
                    <a:lnTo>
                      <a:pt x="704" y="1383"/>
                    </a:lnTo>
                    <a:lnTo>
                      <a:pt x="704" y="1384"/>
                    </a:lnTo>
                    <a:lnTo>
                      <a:pt x="703" y="1384"/>
                    </a:lnTo>
                    <a:lnTo>
                      <a:pt x="701" y="1386"/>
                    </a:lnTo>
                    <a:lnTo>
                      <a:pt x="699" y="1388"/>
                    </a:lnTo>
                    <a:lnTo>
                      <a:pt x="697" y="1388"/>
                    </a:lnTo>
                    <a:lnTo>
                      <a:pt x="697" y="1389"/>
                    </a:lnTo>
                    <a:lnTo>
                      <a:pt x="696" y="1389"/>
                    </a:lnTo>
                    <a:lnTo>
                      <a:pt x="694" y="1389"/>
                    </a:lnTo>
                    <a:lnTo>
                      <a:pt x="694" y="1388"/>
                    </a:lnTo>
                    <a:lnTo>
                      <a:pt x="692" y="1388"/>
                    </a:lnTo>
                    <a:lnTo>
                      <a:pt x="691" y="1388"/>
                    </a:lnTo>
                    <a:lnTo>
                      <a:pt x="691" y="1386"/>
                    </a:lnTo>
                    <a:lnTo>
                      <a:pt x="691" y="1384"/>
                    </a:lnTo>
                    <a:lnTo>
                      <a:pt x="691" y="1383"/>
                    </a:lnTo>
                    <a:lnTo>
                      <a:pt x="691" y="1381"/>
                    </a:lnTo>
                    <a:lnTo>
                      <a:pt x="692" y="1379"/>
                    </a:lnTo>
                    <a:lnTo>
                      <a:pt x="692" y="1376"/>
                    </a:lnTo>
                    <a:lnTo>
                      <a:pt x="692" y="1374"/>
                    </a:lnTo>
                    <a:lnTo>
                      <a:pt x="691" y="1372"/>
                    </a:lnTo>
                    <a:lnTo>
                      <a:pt x="691" y="1371"/>
                    </a:lnTo>
                    <a:lnTo>
                      <a:pt x="691" y="1369"/>
                    </a:lnTo>
                    <a:lnTo>
                      <a:pt x="691" y="1367"/>
                    </a:lnTo>
                    <a:lnTo>
                      <a:pt x="692" y="1367"/>
                    </a:lnTo>
                    <a:lnTo>
                      <a:pt x="692" y="1366"/>
                    </a:lnTo>
                    <a:lnTo>
                      <a:pt x="692" y="1364"/>
                    </a:lnTo>
                    <a:lnTo>
                      <a:pt x="694" y="1364"/>
                    </a:lnTo>
                    <a:lnTo>
                      <a:pt x="697" y="1359"/>
                    </a:lnTo>
                    <a:lnTo>
                      <a:pt x="699" y="1359"/>
                    </a:lnTo>
                    <a:lnTo>
                      <a:pt x="699" y="1357"/>
                    </a:lnTo>
                    <a:lnTo>
                      <a:pt x="699" y="1355"/>
                    </a:lnTo>
                    <a:lnTo>
                      <a:pt x="699" y="1354"/>
                    </a:lnTo>
                    <a:lnTo>
                      <a:pt x="701" y="1354"/>
                    </a:lnTo>
                    <a:lnTo>
                      <a:pt x="701" y="1352"/>
                    </a:lnTo>
                    <a:lnTo>
                      <a:pt x="703" y="1350"/>
                    </a:lnTo>
                    <a:lnTo>
                      <a:pt x="704" y="1350"/>
                    </a:lnTo>
                    <a:lnTo>
                      <a:pt x="704" y="1349"/>
                    </a:lnTo>
                    <a:lnTo>
                      <a:pt x="706" y="1349"/>
                    </a:lnTo>
                    <a:lnTo>
                      <a:pt x="703" y="1347"/>
                    </a:lnTo>
                    <a:lnTo>
                      <a:pt x="703" y="1345"/>
                    </a:lnTo>
                    <a:lnTo>
                      <a:pt x="701" y="1345"/>
                    </a:lnTo>
                    <a:lnTo>
                      <a:pt x="701" y="1344"/>
                    </a:lnTo>
                    <a:lnTo>
                      <a:pt x="699" y="1344"/>
                    </a:lnTo>
                    <a:lnTo>
                      <a:pt x="697" y="1344"/>
                    </a:lnTo>
                    <a:lnTo>
                      <a:pt x="696" y="1342"/>
                    </a:lnTo>
                    <a:lnTo>
                      <a:pt x="696" y="1344"/>
                    </a:lnTo>
                    <a:lnTo>
                      <a:pt x="696" y="1342"/>
                    </a:lnTo>
                    <a:lnTo>
                      <a:pt x="694" y="1342"/>
                    </a:lnTo>
                    <a:lnTo>
                      <a:pt x="694" y="1340"/>
                    </a:lnTo>
                    <a:lnTo>
                      <a:pt x="694" y="1338"/>
                    </a:lnTo>
                    <a:lnTo>
                      <a:pt x="692" y="1338"/>
                    </a:lnTo>
                    <a:lnTo>
                      <a:pt x="691" y="1338"/>
                    </a:lnTo>
                    <a:lnTo>
                      <a:pt x="689" y="1337"/>
                    </a:lnTo>
                    <a:lnTo>
                      <a:pt x="689" y="1335"/>
                    </a:lnTo>
                    <a:lnTo>
                      <a:pt x="687" y="1335"/>
                    </a:lnTo>
                    <a:lnTo>
                      <a:pt x="687" y="1333"/>
                    </a:lnTo>
                    <a:lnTo>
                      <a:pt x="687" y="1332"/>
                    </a:lnTo>
                    <a:lnTo>
                      <a:pt x="687" y="1330"/>
                    </a:lnTo>
                    <a:lnTo>
                      <a:pt x="686" y="1330"/>
                    </a:lnTo>
                    <a:lnTo>
                      <a:pt x="686" y="1328"/>
                    </a:lnTo>
                    <a:lnTo>
                      <a:pt x="686" y="1327"/>
                    </a:lnTo>
                    <a:lnTo>
                      <a:pt x="684" y="1327"/>
                    </a:lnTo>
                    <a:lnTo>
                      <a:pt x="686" y="1325"/>
                    </a:lnTo>
                    <a:lnTo>
                      <a:pt x="684" y="1325"/>
                    </a:lnTo>
                    <a:lnTo>
                      <a:pt x="684" y="1323"/>
                    </a:lnTo>
                    <a:lnTo>
                      <a:pt x="682" y="1321"/>
                    </a:lnTo>
                    <a:lnTo>
                      <a:pt x="682" y="1323"/>
                    </a:lnTo>
                    <a:lnTo>
                      <a:pt x="680" y="1321"/>
                    </a:lnTo>
                    <a:lnTo>
                      <a:pt x="680" y="1320"/>
                    </a:lnTo>
                    <a:lnTo>
                      <a:pt x="679" y="1320"/>
                    </a:lnTo>
                    <a:lnTo>
                      <a:pt x="679" y="1318"/>
                    </a:lnTo>
                    <a:lnTo>
                      <a:pt x="677" y="1318"/>
                    </a:lnTo>
                    <a:lnTo>
                      <a:pt x="675" y="1316"/>
                    </a:lnTo>
                    <a:lnTo>
                      <a:pt x="677" y="1316"/>
                    </a:lnTo>
                    <a:lnTo>
                      <a:pt x="675" y="1316"/>
                    </a:lnTo>
                    <a:lnTo>
                      <a:pt x="674" y="1315"/>
                    </a:lnTo>
                    <a:lnTo>
                      <a:pt x="674" y="1316"/>
                    </a:lnTo>
                    <a:lnTo>
                      <a:pt x="672" y="1316"/>
                    </a:lnTo>
                    <a:lnTo>
                      <a:pt x="670" y="1316"/>
                    </a:lnTo>
                    <a:lnTo>
                      <a:pt x="670" y="1315"/>
                    </a:lnTo>
                    <a:lnTo>
                      <a:pt x="669" y="1315"/>
                    </a:lnTo>
                    <a:lnTo>
                      <a:pt x="669" y="1313"/>
                    </a:lnTo>
                    <a:lnTo>
                      <a:pt x="667" y="1313"/>
                    </a:lnTo>
                    <a:lnTo>
                      <a:pt x="667" y="1311"/>
                    </a:lnTo>
                    <a:lnTo>
                      <a:pt x="665" y="1311"/>
                    </a:lnTo>
                    <a:lnTo>
                      <a:pt x="663" y="1310"/>
                    </a:lnTo>
                    <a:lnTo>
                      <a:pt x="660" y="1306"/>
                    </a:lnTo>
                    <a:lnTo>
                      <a:pt x="660" y="1304"/>
                    </a:lnTo>
                    <a:lnTo>
                      <a:pt x="660" y="1303"/>
                    </a:lnTo>
                    <a:lnTo>
                      <a:pt x="658" y="1303"/>
                    </a:lnTo>
                    <a:lnTo>
                      <a:pt x="658" y="1301"/>
                    </a:lnTo>
                    <a:lnTo>
                      <a:pt x="658" y="1299"/>
                    </a:lnTo>
                    <a:lnTo>
                      <a:pt x="657" y="1299"/>
                    </a:lnTo>
                    <a:lnTo>
                      <a:pt x="655" y="1298"/>
                    </a:lnTo>
                    <a:lnTo>
                      <a:pt x="653" y="1298"/>
                    </a:lnTo>
                    <a:lnTo>
                      <a:pt x="652" y="1298"/>
                    </a:lnTo>
                    <a:lnTo>
                      <a:pt x="650" y="1296"/>
                    </a:lnTo>
                    <a:lnTo>
                      <a:pt x="650" y="1298"/>
                    </a:lnTo>
                    <a:lnTo>
                      <a:pt x="648" y="1298"/>
                    </a:lnTo>
                    <a:lnTo>
                      <a:pt x="646" y="1298"/>
                    </a:lnTo>
                    <a:lnTo>
                      <a:pt x="646" y="1296"/>
                    </a:lnTo>
                    <a:lnTo>
                      <a:pt x="645" y="1294"/>
                    </a:lnTo>
                    <a:lnTo>
                      <a:pt x="645" y="1296"/>
                    </a:lnTo>
                    <a:lnTo>
                      <a:pt x="643" y="1296"/>
                    </a:lnTo>
                    <a:lnTo>
                      <a:pt x="643" y="1294"/>
                    </a:lnTo>
                    <a:lnTo>
                      <a:pt x="643" y="1293"/>
                    </a:lnTo>
                    <a:lnTo>
                      <a:pt x="641" y="1293"/>
                    </a:lnTo>
                    <a:lnTo>
                      <a:pt x="641" y="1291"/>
                    </a:lnTo>
                    <a:lnTo>
                      <a:pt x="640" y="1291"/>
                    </a:lnTo>
                    <a:lnTo>
                      <a:pt x="640" y="1293"/>
                    </a:lnTo>
                    <a:lnTo>
                      <a:pt x="638" y="1293"/>
                    </a:lnTo>
                    <a:lnTo>
                      <a:pt x="636" y="1293"/>
                    </a:lnTo>
                    <a:lnTo>
                      <a:pt x="636" y="1291"/>
                    </a:lnTo>
                    <a:lnTo>
                      <a:pt x="635" y="1291"/>
                    </a:lnTo>
                    <a:lnTo>
                      <a:pt x="633" y="1291"/>
                    </a:lnTo>
                    <a:lnTo>
                      <a:pt x="633" y="1289"/>
                    </a:lnTo>
                    <a:lnTo>
                      <a:pt x="633" y="1287"/>
                    </a:lnTo>
                    <a:lnTo>
                      <a:pt x="631" y="1287"/>
                    </a:lnTo>
                    <a:lnTo>
                      <a:pt x="633" y="1287"/>
                    </a:lnTo>
                    <a:lnTo>
                      <a:pt x="631" y="1286"/>
                    </a:lnTo>
                    <a:lnTo>
                      <a:pt x="629" y="1286"/>
                    </a:lnTo>
                    <a:lnTo>
                      <a:pt x="631" y="1284"/>
                    </a:lnTo>
                    <a:lnTo>
                      <a:pt x="629" y="1284"/>
                    </a:lnTo>
                    <a:lnTo>
                      <a:pt x="629" y="1282"/>
                    </a:lnTo>
                    <a:lnTo>
                      <a:pt x="629" y="1281"/>
                    </a:lnTo>
                    <a:lnTo>
                      <a:pt x="628" y="1281"/>
                    </a:lnTo>
                    <a:lnTo>
                      <a:pt x="626" y="1281"/>
                    </a:lnTo>
                    <a:lnTo>
                      <a:pt x="628" y="1279"/>
                    </a:lnTo>
                    <a:lnTo>
                      <a:pt x="626" y="1279"/>
                    </a:lnTo>
                    <a:lnTo>
                      <a:pt x="626" y="1277"/>
                    </a:lnTo>
                    <a:lnTo>
                      <a:pt x="624" y="1277"/>
                    </a:lnTo>
                    <a:lnTo>
                      <a:pt x="624" y="1276"/>
                    </a:lnTo>
                    <a:lnTo>
                      <a:pt x="623" y="1276"/>
                    </a:lnTo>
                    <a:lnTo>
                      <a:pt x="623" y="1274"/>
                    </a:lnTo>
                    <a:lnTo>
                      <a:pt x="621" y="1274"/>
                    </a:lnTo>
                    <a:lnTo>
                      <a:pt x="619" y="1274"/>
                    </a:lnTo>
                    <a:lnTo>
                      <a:pt x="619" y="1276"/>
                    </a:lnTo>
                    <a:lnTo>
                      <a:pt x="619" y="1277"/>
                    </a:lnTo>
                    <a:lnTo>
                      <a:pt x="619" y="1279"/>
                    </a:lnTo>
                    <a:lnTo>
                      <a:pt x="618" y="1277"/>
                    </a:lnTo>
                    <a:lnTo>
                      <a:pt x="618" y="1279"/>
                    </a:lnTo>
                    <a:lnTo>
                      <a:pt x="618" y="1277"/>
                    </a:lnTo>
                    <a:lnTo>
                      <a:pt x="618" y="1279"/>
                    </a:lnTo>
                    <a:lnTo>
                      <a:pt x="616" y="1279"/>
                    </a:lnTo>
                    <a:lnTo>
                      <a:pt x="616" y="1281"/>
                    </a:lnTo>
                    <a:lnTo>
                      <a:pt x="614" y="1281"/>
                    </a:lnTo>
                    <a:lnTo>
                      <a:pt x="612" y="1281"/>
                    </a:lnTo>
                    <a:lnTo>
                      <a:pt x="612" y="1279"/>
                    </a:lnTo>
                    <a:lnTo>
                      <a:pt x="611" y="1279"/>
                    </a:lnTo>
                    <a:lnTo>
                      <a:pt x="611" y="1277"/>
                    </a:lnTo>
                    <a:lnTo>
                      <a:pt x="609" y="1277"/>
                    </a:lnTo>
                    <a:lnTo>
                      <a:pt x="609" y="1276"/>
                    </a:lnTo>
                    <a:lnTo>
                      <a:pt x="607" y="1274"/>
                    </a:lnTo>
                    <a:lnTo>
                      <a:pt x="607" y="1272"/>
                    </a:lnTo>
                    <a:lnTo>
                      <a:pt x="606" y="1270"/>
                    </a:lnTo>
                    <a:lnTo>
                      <a:pt x="604" y="1270"/>
                    </a:lnTo>
                    <a:lnTo>
                      <a:pt x="604" y="1269"/>
                    </a:lnTo>
                    <a:lnTo>
                      <a:pt x="604" y="1270"/>
                    </a:lnTo>
                    <a:lnTo>
                      <a:pt x="604" y="1269"/>
                    </a:lnTo>
                    <a:lnTo>
                      <a:pt x="602" y="1269"/>
                    </a:lnTo>
                    <a:lnTo>
                      <a:pt x="602" y="1267"/>
                    </a:lnTo>
                    <a:lnTo>
                      <a:pt x="602" y="1265"/>
                    </a:lnTo>
                    <a:lnTo>
                      <a:pt x="601" y="1264"/>
                    </a:lnTo>
                    <a:lnTo>
                      <a:pt x="601" y="1265"/>
                    </a:lnTo>
                    <a:lnTo>
                      <a:pt x="601" y="1264"/>
                    </a:lnTo>
                    <a:lnTo>
                      <a:pt x="599" y="1264"/>
                    </a:lnTo>
                    <a:lnTo>
                      <a:pt x="599" y="1262"/>
                    </a:lnTo>
                    <a:lnTo>
                      <a:pt x="597" y="1262"/>
                    </a:lnTo>
                    <a:lnTo>
                      <a:pt x="597" y="1260"/>
                    </a:lnTo>
                    <a:lnTo>
                      <a:pt x="595" y="1260"/>
                    </a:lnTo>
                    <a:lnTo>
                      <a:pt x="594" y="1260"/>
                    </a:lnTo>
                    <a:lnTo>
                      <a:pt x="594" y="1258"/>
                    </a:lnTo>
                    <a:lnTo>
                      <a:pt x="594" y="1257"/>
                    </a:lnTo>
                    <a:lnTo>
                      <a:pt x="594" y="1258"/>
                    </a:lnTo>
                    <a:lnTo>
                      <a:pt x="592" y="1257"/>
                    </a:lnTo>
                    <a:lnTo>
                      <a:pt x="592" y="1255"/>
                    </a:lnTo>
                    <a:lnTo>
                      <a:pt x="592" y="1257"/>
                    </a:lnTo>
                    <a:lnTo>
                      <a:pt x="590" y="1257"/>
                    </a:lnTo>
                    <a:lnTo>
                      <a:pt x="590" y="1255"/>
                    </a:lnTo>
                    <a:lnTo>
                      <a:pt x="589" y="1255"/>
                    </a:lnTo>
                    <a:lnTo>
                      <a:pt x="589" y="1253"/>
                    </a:lnTo>
                    <a:lnTo>
                      <a:pt x="590" y="1253"/>
                    </a:lnTo>
                    <a:lnTo>
                      <a:pt x="589" y="1253"/>
                    </a:lnTo>
                    <a:lnTo>
                      <a:pt x="589" y="1252"/>
                    </a:lnTo>
                    <a:lnTo>
                      <a:pt x="587" y="1252"/>
                    </a:lnTo>
                    <a:lnTo>
                      <a:pt x="587" y="1250"/>
                    </a:lnTo>
                    <a:lnTo>
                      <a:pt x="585" y="1250"/>
                    </a:lnTo>
                    <a:lnTo>
                      <a:pt x="585" y="1248"/>
                    </a:lnTo>
                    <a:lnTo>
                      <a:pt x="584" y="1248"/>
                    </a:lnTo>
                    <a:lnTo>
                      <a:pt x="582" y="1247"/>
                    </a:lnTo>
                    <a:lnTo>
                      <a:pt x="582" y="1245"/>
                    </a:lnTo>
                    <a:lnTo>
                      <a:pt x="580" y="1245"/>
                    </a:lnTo>
                    <a:lnTo>
                      <a:pt x="578" y="1245"/>
                    </a:lnTo>
                    <a:lnTo>
                      <a:pt x="577" y="1245"/>
                    </a:lnTo>
                    <a:lnTo>
                      <a:pt x="575" y="1245"/>
                    </a:lnTo>
                    <a:lnTo>
                      <a:pt x="573" y="1245"/>
                    </a:lnTo>
                    <a:lnTo>
                      <a:pt x="572" y="1245"/>
                    </a:lnTo>
                    <a:lnTo>
                      <a:pt x="570" y="1245"/>
                    </a:lnTo>
                    <a:lnTo>
                      <a:pt x="570" y="1247"/>
                    </a:lnTo>
                    <a:lnTo>
                      <a:pt x="568" y="1248"/>
                    </a:lnTo>
                    <a:lnTo>
                      <a:pt x="568" y="1250"/>
                    </a:lnTo>
                    <a:lnTo>
                      <a:pt x="567" y="1252"/>
                    </a:lnTo>
                    <a:lnTo>
                      <a:pt x="565" y="1252"/>
                    </a:lnTo>
                    <a:lnTo>
                      <a:pt x="563" y="1252"/>
                    </a:lnTo>
                    <a:lnTo>
                      <a:pt x="563" y="1250"/>
                    </a:lnTo>
                    <a:lnTo>
                      <a:pt x="563" y="1252"/>
                    </a:lnTo>
                    <a:lnTo>
                      <a:pt x="561" y="1252"/>
                    </a:lnTo>
                    <a:lnTo>
                      <a:pt x="561" y="1253"/>
                    </a:lnTo>
                    <a:lnTo>
                      <a:pt x="560" y="1253"/>
                    </a:lnTo>
                    <a:lnTo>
                      <a:pt x="560" y="1252"/>
                    </a:lnTo>
                    <a:lnTo>
                      <a:pt x="558" y="1252"/>
                    </a:lnTo>
                    <a:lnTo>
                      <a:pt x="556" y="1252"/>
                    </a:lnTo>
                    <a:lnTo>
                      <a:pt x="555" y="1252"/>
                    </a:lnTo>
                    <a:lnTo>
                      <a:pt x="555" y="1250"/>
                    </a:lnTo>
                    <a:lnTo>
                      <a:pt x="555" y="1248"/>
                    </a:lnTo>
                    <a:lnTo>
                      <a:pt x="553" y="1248"/>
                    </a:lnTo>
                    <a:lnTo>
                      <a:pt x="555" y="1248"/>
                    </a:lnTo>
                    <a:lnTo>
                      <a:pt x="556" y="1247"/>
                    </a:lnTo>
                    <a:lnTo>
                      <a:pt x="558" y="1245"/>
                    </a:lnTo>
                    <a:lnTo>
                      <a:pt x="558" y="1243"/>
                    </a:lnTo>
                    <a:lnTo>
                      <a:pt x="560" y="1243"/>
                    </a:lnTo>
                    <a:lnTo>
                      <a:pt x="560" y="1241"/>
                    </a:lnTo>
                    <a:lnTo>
                      <a:pt x="561" y="1241"/>
                    </a:lnTo>
                    <a:lnTo>
                      <a:pt x="563" y="1241"/>
                    </a:lnTo>
                    <a:lnTo>
                      <a:pt x="563" y="1240"/>
                    </a:lnTo>
                    <a:lnTo>
                      <a:pt x="563" y="1238"/>
                    </a:lnTo>
                    <a:lnTo>
                      <a:pt x="563" y="1236"/>
                    </a:lnTo>
                    <a:lnTo>
                      <a:pt x="563" y="1235"/>
                    </a:lnTo>
                    <a:lnTo>
                      <a:pt x="565" y="1233"/>
                    </a:lnTo>
                    <a:lnTo>
                      <a:pt x="567" y="1233"/>
                    </a:lnTo>
                    <a:lnTo>
                      <a:pt x="567" y="1231"/>
                    </a:lnTo>
                    <a:lnTo>
                      <a:pt x="568" y="1233"/>
                    </a:lnTo>
                    <a:lnTo>
                      <a:pt x="570" y="1231"/>
                    </a:lnTo>
                    <a:lnTo>
                      <a:pt x="572" y="1231"/>
                    </a:lnTo>
                    <a:lnTo>
                      <a:pt x="572" y="1230"/>
                    </a:lnTo>
                    <a:lnTo>
                      <a:pt x="573" y="1230"/>
                    </a:lnTo>
                    <a:lnTo>
                      <a:pt x="573" y="1228"/>
                    </a:lnTo>
                    <a:lnTo>
                      <a:pt x="575" y="1228"/>
                    </a:lnTo>
                    <a:lnTo>
                      <a:pt x="575" y="1226"/>
                    </a:lnTo>
                    <a:lnTo>
                      <a:pt x="575" y="1224"/>
                    </a:lnTo>
                    <a:lnTo>
                      <a:pt x="577" y="1224"/>
                    </a:lnTo>
                    <a:lnTo>
                      <a:pt x="577" y="1223"/>
                    </a:lnTo>
                    <a:lnTo>
                      <a:pt x="578" y="1223"/>
                    </a:lnTo>
                    <a:lnTo>
                      <a:pt x="578" y="1221"/>
                    </a:lnTo>
                    <a:lnTo>
                      <a:pt x="580" y="1221"/>
                    </a:lnTo>
                    <a:lnTo>
                      <a:pt x="580" y="1219"/>
                    </a:lnTo>
                    <a:lnTo>
                      <a:pt x="582" y="1219"/>
                    </a:lnTo>
                    <a:lnTo>
                      <a:pt x="582" y="1218"/>
                    </a:lnTo>
                    <a:lnTo>
                      <a:pt x="582" y="1216"/>
                    </a:lnTo>
                    <a:lnTo>
                      <a:pt x="584" y="1216"/>
                    </a:lnTo>
                    <a:lnTo>
                      <a:pt x="585" y="1213"/>
                    </a:lnTo>
                    <a:lnTo>
                      <a:pt x="585" y="1211"/>
                    </a:lnTo>
                    <a:lnTo>
                      <a:pt x="585" y="1209"/>
                    </a:lnTo>
                    <a:lnTo>
                      <a:pt x="587" y="1209"/>
                    </a:lnTo>
                    <a:lnTo>
                      <a:pt x="587" y="1207"/>
                    </a:lnTo>
                    <a:lnTo>
                      <a:pt x="589" y="1207"/>
                    </a:lnTo>
                    <a:lnTo>
                      <a:pt x="589" y="1206"/>
                    </a:lnTo>
                    <a:lnTo>
                      <a:pt x="590" y="1206"/>
                    </a:lnTo>
                    <a:lnTo>
                      <a:pt x="594" y="1206"/>
                    </a:lnTo>
                    <a:lnTo>
                      <a:pt x="594" y="1204"/>
                    </a:lnTo>
                    <a:lnTo>
                      <a:pt x="594" y="1202"/>
                    </a:lnTo>
                    <a:lnTo>
                      <a:pt x="594" y="1201"/>
                    </a:lnTo>
                    <a:lnTo>
                      <a:pt x="595" y="1201"/>
                    </a:lnTo>
                    <a:lnTo>
                      <a:pt x="595" y="1199"/>
                    </a:lnTo>
                    <a:lnTo>
                      <a:pt x="597" y="1199"/>
                    </a:lnTo>
                    <a:lnTo>
                      <a:pt x="597" y="1197"/>
                    </a:lnTo>
                    <a:lnTo>
                      <a:pt x="597" y="1196"/>
                    </a:lnTo>
                    <a:lnTo>
                      <a:pt x="597" y="1194"/>
                    </a:lnTo>
                    <a:lnTo>
                      <a:pt x="599" y="1194"/>
                    </a:lnTo>
                    <a:lnTo>
                      <a:pt x="601" y="1194"/>
                    </a:lnTo>
                    <a:lnTo>
                      <a:pt x="602" y="1192"/>
                    </a:lnTo>
                    <a:lnTo>
                      <a:pt x="602" y="1190"/>
                    </a:lnTo>
                    <a:lnTo>
                      <a:pt x="604" y="1190"/>
                    </a:lnTo>
                    <a:lnTo>
                      <a:pt x="604" y="1189"/>
                    </a:lnTo>
                    <a:lnTo>
                      <a:pt x="606" y="1189"/>
                    </a:lnTo>
                    <a:lnTo>
                      <a:pt x="606" y="1187"/>
                    </a:lnTo>
                    <a:lnTo>
                      <a:pt x="607" y="1187"/>
                    </a:lnTo>
                    <a:lnTo>
                      <a:pt x="607" y="1185"/>
                    </a:lnTo>
                    <a:lnTo>
                      <a:pt x="607" y="1184"/>
                    </a:lnTo>
                    <a:lnTo>
                      <a:pt x="607" y="1182"/>
                    </a:lnTo>
                    <a:lnTo>
                      <a:pt x="609" y="1182"/>
                    </a:lnTo>
                    <a:lnTo>
                      <a:pt x="611" y="1182"/>
                    </a:lnTo>
                    <a:lnTo>
                      <a:pt x="612" y="1182"/>
                    </a:lnTo>
                    <a:lnTo>
                      <a:pt x="611" y="1180"/>
                    </a:lnTo>
                    <a:lnTo>
                      <a:pt x="611" y="1179"/>
                    </a:lnTo>
                    <a:lnTo>
                      <a:pt x="612" y="1177"/>
                    </a:lnTo>
                    <a:lnTo>
                      <a:pt x="614" y="1177"/>
                    </a:lnTo>
                    <a:lnTo>
                      <a:pt x="616" y="1177"/>
                    </a:lnTo>
                    <a:lnTo>
                      <a:pt x="618" y="1179"/>
                    </a:lnTo>
                    <a:lnTo>
                      <a:pt x="618" y="1180"/>
                    </a:lnTo>
                    <a:lnTo>
                      <a:pt x="618" y="1179"/>
                    </a:lnTo>
                    <a:lnTo>
                      <a:pt x="619" y="1177"/>
                    </a:lnTo>
                    <a:lnTo>
                      <a:pt x="619" y="1175"/>
                    </a:lnTo>
                    <a:lnTo>
                      <a:pt x="618" y="1175"/>
                    </a:lnTo>
                    <a:lnTo>
                      <a:pt x="616" y="1175"/>
                    </a:lnTo>
                    <a:lnTo>
                      <a:pt x="616" y="1173"/>
                    </a:lnTo>
                    <a:lnTo>
                      <a:pt x="616" y="1172"/>
                    </a:lnTo>
                    <a:lnTo>
                      <a:pt x="618" y="1172"/>
                    </a:lnTo>
                    <a:lnTo>
                      <a:pt x="619" y="1172"/>
                    </a:lnTo>
                    <a:lnTo>
                      <a:pt x="619" y="1170"/>
                    </a:lnTo>
                    <a:lnTo>
                      <a:pt x="621" y="1170"/>
                    </a:lnTo>
                    <a:lnTo>
                      <a:pt x="621" y="1168"/>
                    </a:lnTo>
                    <a:lnTo>
                      <a:pt x="621" y="1170"/>
                    </a:lnTo>
                    <a:lnTo>
                      <a:pt x="623" y="1170"/>
                    </a:lnTo>
                    <a:lnTo>
                      <a:pt x="623" y="1168"/>
                    </a:lnTo>
                    <a:lnTo>
                      <a:pt x="624" y="1168"/>
                    </a:lnTo>
                    <a:lnTo>
                      <a:pt x="624" y="1167"/>
                    </a:lnTo>
                    <a:lnTo>
                      <a:pt x="626" y="1167"/>
                    </a:lnTo>
                    <a:lnTo>
                      <a:pt x="628" y="1165"/>
                    </a:lnTo>
                    <a:lnTo>
                      <a:pt x="629" y="1165"/>
                    </a:lnTo>
                    <a:lnTo>
                      <a:pt x="628" y="1163"/>
                    </a:lnTo>
                    <a:lnTo>
                      <a:pt x="629" y="1163"/>
                    </a:lnTo>
                    <a:lnTo>
                      <a:pt x="629" y="1162"/>
                    </a:lnTo>
                    <a:lnTo>
                      <a:pt x="631" y="1160"/>
                    </a:lnTo>
                    <a:lnTo>
                      <a:pt x="633" y="1162"/>
                    </a:lnTo>
                    <a:lnTo>
                      <a:pt x="633" y="1160"/>
                    </a:lnTo>
                    <a:lnTo>
                      <a:pt x="635" y="1160"/>
                    </a:lnTo>
                    <a:lnTo>
                      <a:pt x="635" y="1158"/>
                    </a:lnTo>
                    <a:lnTo>
                      <a:pt x="636" y="1158"/>
                    </a:lnTo>
                    <a:lnTo>
                      <a:pt x="636" y="1160"/>
                    </a:lnTo>
                    <a:lnTo>
                      <a:pt x="638" y="1160"/>
                    </a:lnTo>
                    <a:lnTo>
                      <a:pt x="638" y="1158"/>
                    </a:lnTo>
                    <a:lnTo>
                      <a:pt x="640" y="1158"/>
                    </a:lnTo>
                    <a:lnTo>
                      <a:pt x="641" y="1156"/>
                    </a:lnTo>
                    <a:lnTo>
                      <a:pt x="640" y="1156"/>
                    </a:lnTo>
                    <a:lnTo>
                      <a:pt x="638" y="1156"/>
                    </a:lnTo>
                    <a:lnTo>
                      <a:pt x="638" y="1155"/>
                    </a:lnTo>
                    <a:lnTo>
                      <a:pt x="640" y="1155"/>
                    </a:lnTo>
                    <a:lnTo>
                      <a:pt x="641" y="1156"/>
                    </a:lnTo>
                    <a:lnTo>
                      <a:pt x="641" y="1155"/>
                    </a:lnTo>
                    <a:lnTo>
                      <a:pt x="643" y="1155"/>
                    </a:lnTo>
                    <a:lnTo>
                      <a:pt x="645" y="1155"/>
                    </a:lnTo>
                    <a:lnTo>
                      <a:pt x="645" y="1153"/>
                    </a:lnTo>
                    <a:lnTo>
                      <a:pt x="645" y="1151"/>
                    </a:lnTo>
                    <a:lnTo>
                      <a:pt x="645" y="1150"/>
                    </a:lnTo>
                    <a:lnTo>
                      <a:pt x="646" y="1150"/>
                    </a:lnTo>
                    <a:lnTo>
                      <a:pt x="646" y="1148"/>
                    </a:lnTo>
                    <a:lnTo>
                      <a:pt x="648" y="1146"/>
                    </a:lnTo>
                    <a:lnTo>
                      <a:pt x="648" y="1148"/>
                    </a:lnTo>
                    <a:lnTo>
                      <a:pt x="650" y="1148"/>
                    </a:lnTo>
                    <a:lnTo>
                      <a:pt x="650" y="1146"/>
                    </a:lnTo>
                    <a:lnTo>
                      <a:pt x="652" y="1146"/>
                    </a:lnTo>
                    <a:lnTo>
                      <a:pt x="652" y="1148"/>
                    </a:lnTo>
                    <a:lnTo>
                      <a:pt x="653" y="1146"/>
                    </a:lnTo>
                    <a:lnTo>
                      <a:pt x="652" y="1146"/>
                    </a:lnTo>
                    <a:lnTo>
                      <a:pt x="652" y="1145"/>
                    </a:lnTo>
                    <a:lnTo>
                      <a:pt x="653" y="1145"/>
                    </a:lnTo>
                    <a:lnTo>
                      <a:pt x="653" y="1146"/>
                    </a:lnTo>
                    <a:lnTo>
                      <a:pt x="655" y="1146"/>
                    </a:lnTo>
                    <a:lnTo>
                      <a:pt x="655" y="1145"/>
                    </a:lnTo>
                    <a:lnTo>
                      <a:pt x="655" y="1143"/>
                    </a:lnTo>
                    <a:lnTo>
                      <a:pt x="657" y="1143"/>
                    </a:lnTo>
                    <a:lnTo>
                      <a:pt x="657" y="1145"/>
                    </a:lnTo>
                    <a:lnTo>
                      <a:pt x="658" y="1145"/>
                    </a:lnTo>
                    <a:lnTo>
                      <a:pt x="660" y="1145"/>
                    </a:lnTo>
                    <a:lnTo>
                      <a:pt x="660" y="1143"/>
                    </a:lnTo>
                    <a:lnTo>
                      <a:pt x="660" y="1141"/>
                    </a:lnTo>
                    <a:lnTo>
                      <a:pt x="662" y="1141"/>
                    </a:lnTo>
                    <a:lnTo>
                      <a:pt x="662" y="1143"/>
                    </a:lnTo>
                    <a:lnTo>
                      <a:pt x="663" y="1143"/>
                    </a:lnTo>
                    <a:lnTo>
                      <a:pt x="663" y="1141"/>
                    </a:lnTo>
                    <a:lnTo>
                      <a:pt x="665" y="1141"/>
                    </a:lnTo>
                    <a:lnTo>
                      <a:pt x="665" y="1143"/>
                    </a:lnTo>
                    <a:lnTo>
                      <a:pt x="667" y="1143"/>
                    </a:lnTo>
                    <a:lnTo>
                      <a:pt x="667" y="1141"/>
                    </a:lnTo>
                    <a:lnTo>
                      <a:pt x="669" y="1139"/>
                    </a:lnTo>
                    <a:lnTo>
                      <a:pt x="669" y="1138"/>
                    </a:lnTo>
                    <a:lnTo>
                      <a:pt x="669" y="1136"/>
                    </a:lnTo>
                    <a:lnTo>
                      <a:pt x="670" y="1136"/>
                    </a:lnTo>
                    <a:lnTo>
                      <a:pt x="670" y="1138"/>
                    </a:lnTo>
                    <a:lnTo>
                      <a:pt x="672" y="1138"/>
                    </a:lnTo>
                    <a:lnTo>
                      <a:pt x="672" y="1136"/>
                    </a:lnTo>
                    <a:lnTo>
                      <a:pt x="674" y="1136"/>
                    </a:lnTo>
                    <a:lnTo>
                      <a:pt x="674" y="1134"/>
                    </a:lnTo>
                    <a:lnTo>
                      <a:pt x="675" y="1134"/>
                    </a:lnTo>
                    <a:lnTo>
                      <a:pt x="675" y="1133"/>
                    </a:lnTo>
                    <a:lnTo>
                      <a:pt x="677" y="1133"/>
                    </a:lnTo>
                    <a:lnTo>
                      <a:pt x="677" y="1131"/>
                    </a:lnTo>
                    <a:lnTo>
                      <a:pt x="679" y="1133"/>
                    </a:lnTo>
                    <a:lnTo>
                      <a:pt x="679" y="1131"/>
                    </a:lnTo>
                    <a:lnTo>
                      <a:pt x="680" y="1131"/>
                    </a:lnTo>
                    <a:lnTo>
                      <a:pt x="680" y="1133"/>
                    </a:lnTo>
                    <a:lnTo>
                      <a:pt x="680" y="1131"/>
                    </a:lnTo>
                    <a:lnTo>
                      <a:pt x="682" y="1131"/>
                    </a:lnTo>
                    <a:lnTo>
                      <a:pt x="680" y="1131"/>
                    </a:lnTo>
                    <a:lnTo>
                      <a:pt x="682" y="1131"/>
                    </a:lnTo>
                    <a:lnTo>
                      <a:pt x="682" y="1129"/>
                    </a:lnTo>
                    <a:lnTo>
                      <a:pt x="682" y="1128"/>
                    </a:lnTo>
                    <a:lnTo>
                      <a:pt x="682" y="1129"/>
                    </a:lnTo>
                    <a:lnTo>
                      <a:pt x="682" y="1128"/>
                    </a:lnTo>
                    <a:lnTo>
                      <a:pt x="684" y="1128"/>
                    </a:lnTo>
                    <a:lnTo>
                      <a:pt x="682" y="1128"/>
                    </a:lnTo>
                    <a:lnTo>
                      <a:pt x="682" y="1126"/>
                    </a:lnTo>
                    <a:lnTo>
                      <a:pt x="684" y="1128"/>
                    </a:lnTo>
                    <a:lnTo>
                      <a:pt x="684" y="1126"/>
                    </a:lnTo>
                    <a:lnTo>
                      <a:pt x="686" y="1126"/>
                    </a:lnTo>
                    <a:lnTo>
                      <a:pt x="684" y="1124"/>
                    </a:lnTo>
                    <a:lnTo>
                      <a:pt x="686" y="1124"/>
                    </a:lnTo>
                    <a:lnTo>
                      <a:pt x="686" y="1122"/>
                    </a:lnTo>
                    <a:lnTo>
                      <a:pt x="686" y="1124"/>
                    </a:lnTo>
                    <a:lnTo>
                      <a:pt x="686" y="1122"/>
                    </a:lnTo>
                    <a:lnTo>
                      <a:pt x="686" y="1121"/>
                    </a:lnTo>
                    <a:lnTo>
                      <a:pt x="687" y="1121"/>
                    </a:lnTo>
                    <a:lnTo>
                      <a:pt x="686" y="1119"/>
                    </a:lnTo>
                    <a:lnTo>
                      <a:pt x="686" y="1117"/>
                    </a:lnTo>
                    <a:lnTo>
                      <a:pt x="684" y="1117"/>
                    </a:lnTo>
                    <a:lnTo>
                      <a:pt x="686" y="1116"/>
                    </a:lnTo>
                    <a:lnTo>
                      <a:pt x="684" y="1116"/>
                    </a:lnTo>
                    <a:lnTo>
                      <a:pt x="684" y="1114"/>
                    </a:lnTo>
                    <a:lnTo>
                      <a:pt x="684" y="1116"/>
                    </a:lnTo>
                    <a:lnTo>
                      <a:pt x="684" y="1114"/>
                    </a:lnTo>
                    <a:lnTo>
                      <a:pt x="686" y="1114"/>
                    </a:lnTo>
                    <a:lnTo>
                      <a:pt x="684" y="1114"/>
                    </a:lnTo>
                    <a:lnTo>
                      <a:pt x="686" y="1112"/>
                    </a:lnTo>
                    <a:lnTo>
                      <a:pt x="684" y="1112"/>
                    </a:lnTo>
                    <a:lnTo>
                      <a:pt x="684" y="1110"/>
                    </a:lnTo>
                    <a:lnTo>
                      <a:pt x="684" y="1109"/>
                    </a:lnTo>
                    <a:lnTo>
                      <a:pt x="686" y="1109"/>
                    </a:lnTo>
                    <a:lnTo>
                      <a:pt x="684" y="1109"/>
                    </a:lnTo>
                    <a:lnTo>
                      <a:pt x="686" y="1107"/>
                    </a:lnTo>
                    <a:lnTo>
                      <a:pt x="684" y="1107"/>
                    </a:lnTo>
                    <a:lnTo>
                      <a:pt x="686" y="1107"/>
                    </a:lnTo>
                    <a:lnTo>
                      <a:pt x="686" y="1105"/>
                    </a:lnTo>
                    <a:lnTo>
                      <a:pt x="686" y="1104"/>
                    </a:lnTo>
                    <a:lnTo>
                      <a:pt x="686" y="1102"/>
                    </a:lnTo>
                    <a:lnTo>
                      <a:pt x="686" y="1100"/>
                    </a:lnTo>
                    <a:lnTo>
                      <a:pt x="687" y="1100"/>
                    </a:lnTo>
                    <a:lnTo>
                      <a:pt x="687" y="1099"/>
                    </a:lnTo>
                    <a:lnTo>
                      <a:pt x="687" y="1097"/>
                    </a:lnTo>
                    <a:lnTo>
                      <a:pt x="687" y="1095"/>
                    </a:lnTo>
                    <a:lnTo>
                      <a:pt x="686" y="1093"/>
                    </a:lnTo>
                    <a:lnTo>
                      <a:pt x="684" y="1092"/>
                    </a:lnTo>
                    <a:lnTo>
                      <a:pt x="684" y="1090"/>
                    </a:lnTo>
                    <a:lnTo>
                      <a:pt x="682" y="1088"/>
                    </a:lnTo>
                    <a:lnTo>
                      <a:pt x="682" y="1087"/>
                    </a:lnTo>
                    <a:lnTo>
                      <a:pt x="680" y="1087"/>
                    </a:lnTo>
                    <a:lnTo>
                      <a:pt x="680" y="1085"/>
                    </a:lnTo>
                    <a:lnTo>
                      <a:pt x="682" y="1085"/>
                    </a:lnTo>
                    <a:lnTo>
                      <a:pt x="680" y="1085"/>
                    </a:lnTo>
                    <a:lnTo>
                      <a:pt x="682" y="1083"/>
                    </a:lnTo>
                    <a:lnTo>
                      <a:pt x="680" y="1083"/>
                    </a:lnTo>
                    <a:lnTo>
                      <a:pt x="680" y="1082"/>
                    </a:lnTo>
                    <a:lnTo>
                      <a:pt x="682" y="1082"/>
                    </a:lnTo>
                    <a:lnTo>
                      <a:pt x="680" y="1080"/>
                    </a:lnTo>
                    <a:lnTo>
                      <a:pt x="680" y="1078"/>
                    </a:lnTo>
                    <a:lnTo>
                      <a:pt x="680" y="1076"/>
                    </a:lnTo>
                    <a:lnTo>
                      <a:pt x="679" y="1076"/>
                    </a:lnTo>
                    <a:lnTo>
                      <a:pt x="680" y="1076"/>
                    </a:lnTo>
                    <a:lnTo>
                      <a:pt x="679" y="1076"/>
                    </a:lnTo>
                    <a:lnTo>
                      <a:pt x="680" y="1076"/>
                    </a:lnTo>
                    <a:lnTo>
                      <a:pt x="680" y="1075"/>
                    </a:lnTo>
                    <a:lnTo>
                      <a:pt x="679" y="1075"/>
                    </a:lnTo>
                    <a:lnTo>
                      <a:pt x="679" y="1073"/>
                    </a:lnTo>
                    <a:lnTo>
                      <a:pt x="679" y="1075"/>
                    </a:lnTo>
                    <a:lnTo>
                      <a:pt x="679" y="1073"/>
                    </a:lnTo>
                    <a:lnTo>
                      <a:pt x="677" y="1073"/>
                    </a:lnTo>
                    <a:lnTo>
                      <a:pt x="677" y="1075"/>
                    </a:lnTo>
                    <a:lnTo>
                      <a:pt x="677" y="1073"/>
                    </a:lnTo>
                    <a:lnTo>
                      <a:pt x="675" y="1073"/>
                    </a:lnTo>
                    <a:lnTo>
                      <a:pt x="677" y="1073"/>
                    </a:lnTo>
                    <a:lnTo>
                      <a:pt x="675" y="1073"/>
                    </a:lnTo>
                    <a:lnTo>
                      <a:pt x="675" y="1071"/>
                    </a:lnTo>
                    <a:lnTo>
                      <a:pt x="674" y="1071"/>
                    </a:lnTo>
                    <a:lnTo>
                      <a:pt x="672" y="1071"/>
                    </a:lnTo>
                    <a:lnTo>
                      <a:pt x="672" y="1073"/>
                    </a:lnTo>
                    <a:lnTo>
                      <a:pt x="670" y="1071"/>
                    </a:lnTo>
                    <a:lnTo>
                      <a:pt x="672" y="1071"/>
                    </a:lnTo>
                    <a:lnTo>
                      <a:pt x="672" y="1070"/>
                    </a:lnTo>
                    <a:lnTo>
                      <a:pt x="672" y="1068"/>
                    </a:lnTo>
                    <a:lnTo>
                      <a:pt x="670" y="1070"/>
                    </a:lnTo>
                    <a:lnTo>
                      <a:pt x="669" y="1070"/>
                    </a:lnTo>
                    <a:lnTo>
                      <a:pt x="669" y="1071"/>
                    </a:lnTo>
                    <a:lnTo>
                      <a:pt x="667" y="1071"/>
                    </a:lnTo>
                    <a:lnTo>
                      <a:pt x="667" y="1073"/>
                    </a:lnTo>
                    <a:lnTo>
                      <a:pt x="665" y="1071"/>
                    </a:lnTo>
                    <a:lnTo>
                      <a:pt x="663" y="1071"/>
                    </a:lnTo>
                    <a:lnTo>
                      <a:pt x="663" y="1073"/>
                    </a:lnTo>
                    <a:lnTo>
                      <a:pt x="662" y="1073"/>
                    </a:lnTo>
                    <a:lnTo>
                      <a:pt x="662" y="1075"/>
                    </a:lnTo>
                    <a:lnTo>
                      <a:pt x="660" y="1075"/>
                    </a:lnTo>
                    <a:lnTo>
                      <a:pt x="662" y="1076"/>
                    </a:lnTo>
                    <a:lnTo>
                      <a:pt x="660" y="1076"/>
                    </a:lnTo>
                    <a:lnTo>
                      <a:pt x="660" y="1075"/>
                    </a:lnTo>
                    <a:lnTo>
                      <a:pt x="658" y="1073"/>
                    </a:lnTo>
                    <a:lnTo>
                      <a:pt x="657" y="1073"/>
                    </a:lnTo>
                    <a:lnTo>
                      <a:pt x="657" y="1071"/>
                    </a:lnTo>
                    <a:lnTo>
                      <a:pt x="657" y="1073"/>
                    </a:lnTo>
                    <a:lnTo>
                      <a:pt x="655" y="1073"/>
                    </a:lnTo>
                    <a:lnTo>
                      <a:pt x="655" y="1071"/>
                    </a:lnTo>
                    <a:lnTo>
                      <a:pt x="655" y="1070"/>
                    </a:lnTo>
                    <a:lnTo>
                      <a:pt x="655" y="1068"/>
                    </a:lnTo>
                    <a:lnTo>
                      <a:pt x="655" y="1066"/>
                    </a:lnTo>
                    <a:lnTo>
                      <a:pt x="655" y="1065"/>
                    </a:lnTo>
                    <a:lnTo>
                      <a:pt x="657" y="1065"/>
                    </a:lnTo>
                    <a:lnTo>
                      <a:pt x="657" y="1063"/>
                    </a:lnTo>
                    <a:lnTo>
                      <a:pt x="658" y="1061"/>
                    </a:lnTo>
                    <a:lnTo>
                      <a:pt x="658" y="1059"/>
                    </a:lnTo>
                    <a:lnTo>
                      <a:pt x="660" y="1058"/>
                    </a:lnTo>
                    <a:lnTo>
                      <a:pt x="660" y="1056"/>
                    </a:lnTo>
                    <a:lnTo>
                      <a:pt x="660" y="1054"/>
                    </a:lnTo>
                    <a:lnTo>
                      <a:pt x="660" y="1053"/>
                    </a:lnTo>
                    <a:lnTo>
                      <a:pt x="660" y="1051"/>
                    </a:lnTo>
                    <a:lnTo>
                      <a:pt x="660" y="1049"/>
                    </a:lnTo>
                    <a:lnTo>
                      <a:pt x="660" y="1048"/>
                    </a:lnTo>
                    <a:lnTo>
                      <a:pt x="662" y="1046"/>
                    </a:lnTo>
                    <a:lnTo>
                      <a:pt x="662" y="1044"/>
                    </a:lnTo>
                    <a:lnTo>
                      <a:pt x="662" y="1042"/>
                    </a:lnTo>
                    <a:lnTo>
                      <a:pt x="663" y="1041"/>
                    </a:lnTo>
                    <a:lnTo>
                      <a:pt x="663" y="1039"/>
                    </a:lnTo>
                    <a:lnTo>
                      <a:pt x="663" y="1037"/>
                    </a:lnTo>
                    <a:lnTo>
                      <a:pt x="665" y="1037"/>
                    </a:lnTo>
                    <a:lnTo>
                      <a:pt x="665" y="1036"/>
                    </a:lnTo>
                    <a:lnTo>
                      <a:pt x="665" y="1034"/>
                    </a:lnTo>
                    <a:lnTo>
                      <a:pt x="663" y="1034"/>
                    </a:lnTo>
                    <a:lnTo>
                      <a:pt x="663" y="1032"/>
                    </a:lnTo>
                    <a:lnTo>
                      <a:pt x="663" y="1031"/>
                    </a:lnTo>
                    <a:lnTo>
                      <a:pt x="665" y="1031"/>
                    </a:lnTo>
                    <a:lnTo>
                      <a:pt x="665" y="1029"/>
                    </a:lnTo>
                    <a:lnTo>
                      <a:pt x="667" y="1027"/>
                    </a:lnTo>
                    <a:lnTo>
                      <a:pt x="667" y="1025"/>
                    </a:lnTo>
                    <a:lnTo>
                      <a:pt x="665" y="1024"/>
                    </a:lnTo>
                    <a:lnTo>
                      <a:pt x="665" y="1022"/>
                    </a:lnTo>
                    <a:lnTo>
                      <a:pt x="663" y="1022"/>
                    </a:lnTo>
                    <a:lnTo>
                      <a:pt x="663" y="1020"/>
                    </a:lnTo>
                    <a:lnTo>
                      <a:pt x="663" y="1019"/>
                    </a:lnTo>
                    <a:lnTo>
                      <a:pt x="663" y="1017"/>
                    </a:lnTo>
                    <a:lnTo>
                      <a:pt x="665" y="1017"/>
                    </a:lnTo>
                    <a:lnTo>
                      <a:pt x="665" y="1015"/>
                    </a:lnTo>
                    <a:lnTo>
                      <a:pt x="665" y="1014"/>
                    </a:lnTo>
                    <a:lnTo>
                      <a:pt x="663" y="1014"/>
                    </a:lnTo>
                    <a:lnTo>
                      <a:pt x="662" y="1012"/>
                    </a:lnTo>
                    <a:lnTo>
                      <a:pt x="660" y="1010"/>
                    </a:lnTo>
                    <a:lnTo>
                      <a:pt x="660" y="1008"/>
                    </a:lnTo>
                    <a:lnTo>
                      <a:pt x="658" y="1008"/>
                    </a:lnTo>
                    <a:lnTo>
                      <a:pt x="657" y="1008"/>
                    </a:lnTo>
                    <a:lnTo>
                      <a:pt x="655" y="1007"/>
                    </a:lnTo>
                    <a:lnTo>
                      <a:pt x="655" y="1008"/>
                    </a:lnTo>
                    <a:lnTo>
                      <a:pt x="655" y="1007"/>
                    </a:lnTo>
                    <a:lnTo>
                      <a:pt x="653" y="1007"/>
                    </a:lnTo>
                    <a:lnTo>
                      <a:pt x="652" y="1007"/>
                    </a:lnTo>
                    <a:lnTo>
                      <a:pt x="652" y="1008"/>
                    </a:lnTo>
                    <a:lnTo>
                      <a:pt x="650" y="1008"/>
                    </a:lnTo>
                    <a:lnTo>
                      <a:pt x="648" y="1008"/>
                    </a:lnTo>
                    <a:lnTo>
                      <a:pt x="646" y="1008"/>
                    </a:lnTo>
                    <a:lnTo>
                      <a:pt x="646" y="1010"/>
                    </a:lnTo>
                    <a:lnTo>
                      <a:pt x="645" y="1010"/>
                    </a:lnTo>
                    <a:lnTo>
                      <a:pt x="645" y="1012"/>
                    </a:lnTo>
                    <a:lnTo>
                      <a:pt x="643" y="1012"/>
                    </a:lnTo>
                    <a:lnTo>
                      <a:pt x="641" y="1012"/>
                    </a:lnTo>
                    <a:lnTo>
                      <a:pt x="640" y="1012"/>
                    </a:lnTo>
                    <a:lnTo>
                      <a:pt x="640" y="1014"/>
                    </a:lnTo>
                    <a:lnTo>
                      <a:pt x="640" y="1012"/>
                    </a:lnTo>
                    <a:lnTo>
                      <a:pt x="638" y="1012"/>
                    </a:lnTo>
                    <a:lnTo>
                      <a:pt x="636" y="1014"/>
                    </a:lnTo>
                    <a:lnTo>
                      <a:pt x="636" y="1012"/>
                    </a:lnTo>
                    <a:lnTo>
                      <a:pt x="636" y="1014"/>
                    </a:lnTo>
                    <a:lnTo>
                      <a:pt x="635" y="1014"/>
                    </a:lnTo>
                    <a:lnTo>
                      <a:pt x="633" y="1014"/>
                    </a:lnTo>
                    <a:lnTo>
                      <a:pt x="633" y="1012"/>
                    </a:lnTo>
                    <a:lnTo>
                      <a:pt x="631" y="1012"/>
                    </a:lnTo>
                    <a:lnTo>
                      <a:pt x="629" y="1014"/>
                    </a:lnTo>
                    <a:lnTo>
                      <a:pt x="629" y="1012"/>
                    </a:lnTo>
                    <a:lnTo>
                      <a:pt x="628" y="1012"/>
                    </a:lnTo>
                    <a:lnTo>
                      <a:pt x="628" y="1010"/>
                    </a:lnTo>
                    <a:lnTo>
                      <a:pt x="626" y="1010"/>
                    </a:lnTo>
                    <a:lnTo>
                      <a:pt x="626" y="1008"/>
                    </a:lnTo>
                    <a:lnTo>
                      <a:pt x="626" y="1007"/>
                    </a:lnTo>
                    <a:lnTo>
                      <a:pt x="626" y="1005"/>
                    </a:lnTo>
                    <a:lnTo>
                      <a:pt x="628" y="1005"/>
                    </a:lnTo>
                    <a:lnTo>
                      <a:pt x="626" y="1005"/>
                    </a:lnTo>
                    <a:lnTo>
                      <a:pt x="626" y="1003"/>
                    </a:lnTo>
                    <a:lnTo>
                      <a:pt x="626" y="1002"/>
                    </a:lnTo>
                    <a:lnTo>
                      <a:pt x="626" y="1000"/>
                    </a:lnTo>
                    <a:lnTo>
                      <a:pt x="624" y="1000"/>
                    </a:lnTo>
                    <a:lnTo>
                      <a:pt x="623" y="1000"/>
                    </a:lnTo>
                    <a:lnTo>
                      <a:pt x="623" y="998"/>
                    </a:lnTo>
                    <a:lnTo>
                      <a:pt x="624" y="998"/>
                    </a:lnTo>
                    <a:lnTo>
                      <a:pt x="624" y="997"/>
                    </a:lnTo>
                    <a:lnTo>
                      <a:pt x="623" y="997"/>
                    </a:lnTo>
                    <a:lnTo>
                      <a:pt x="623" y="995"/>
                    </a:lnTo>
                    <a:lnTo>
                      <a:pt x="623" y="993"/>
                    </a:lnTo>
                    <a:lnTo>
                      <a:pt x="624" y="991"/>
                    </a:lnTo>
                    <a:lnTo>
                      <a:pt x="624" y="990"/>
                    </a:lnTo>
                    <a:lnTo>
                      <a:pt x="623" y="988"/>
                    </a:lnTo>
                    <a:lnTo>
                      <a:pt x="623" y="986"/>
                    </a:lnTo>
                    <a:lnTo>
                      <a:pt x="624" y="986"/>
                    </a:lnTo>
                    <a:lnTo>
                      <a:pt x="623" y="986"/>
                    </a:lnTo>
                    <a:lnTo>
                      <a:pt x="623" y="985"/>
                    </a:lnTo>
                    <a:lnTo>
                      <a:pt x="624" y="985"/>
                    </a:lnTo>
                    <a:lnTo>
                      <a:pt x="624" y="983"/>
                    </a:lnTo>
                    <a:lnTo>
                      <a:pt x="623" y="983"/>
                    </a:lnTo>
                    <a:lnTo>
                      <a:pt x="623" y="981"/>
                    </a:lnTo>
                    <a:lnTo>
                      <a:pt x="621" y="981"/>
                    </a:lnTo>
                    <a:lnTo>
                      <a:pt x="621" y="980"/>
                    </a:lnTo>
                    <a:lnTo>
                      <a:pt x="621" y="978"/>
                    </a:lnTo>
                    <a:lnTo>
                      <a:pt x="619" y="978"/>
                    </a:lnTo>
                    <a:lnTo>
                      <a:pt x="621" y="976"/>
                    </a:lnTo>
                    <a:lnTo>
                      <a:pt x="619" y="974"/>
                    </a:lnTo>
                    <a:lnTo>
                      <a:pt x="619" y="973"/>
                    </a:lnTo>
                    <a:lnTo>
                      <a:pt x="619" y="971"/>
                    </a:lnTo>
                    <a:lnTo>
                      <a:pt x="619" y="969"/>
                    </a:lnTo>
                    <a:lnTo>
                      <a:pt x="619" y="968"/>
                    </a:lnTo>
                    <a:lnTo>
                      <a:pt x="621" y="968"/>
                    </a:lnTo>
                    <a:lnTo>
                      <a:pt x="621" y="966"/>
                    </a:lnTo>
                    <a:lnTo>
                      <a:pt x="621" y="964"/>
                    </a:lnTo>
                    <a:lnTo>
                      <a:pt x="621" y="963"/>
                    </a:lnTo>
                    <a:lnTo>
                      <a:pt x="619" y="963"/>
                    </a:lnTo>
                    <a:lnTo>
                      <a:pt x="619" y="961"/>
                    </a:lnTo>
                    <a:lnTo>
                      <a:pt x="618" y="961"/>
                    </a:lnTo>
                    <a:lnTo>
                      <a:pt x="618" y="959"/>
                    </a:lnTo>
                    <a:lnTo>
                      <a:pt x="616" y="959"/>
                    </a:lnTo>
                    <a:lnTo>
                      <a:pt x="616" y="957"/>
                    </a:lnTo>
                    <a:lnTo>
                      <a:pt x="616" y="956"/>
                    </a:lnTo>
                    <a:lnTo>
                      <a:pt x="618" y="956"/>
                    </a:lnTo>
                    <a:lnTo>
                      <a:pt x="616" y="956"/>
                    </a:lnTo>
                    <a:lnTo>
                      <a:pt x="616" y="954"/>
                    </a:lnTo>
                    <a:lnTo>
                      <a:pt x="614" y="954"/>
                    </a:lnTo>
                    <a:lnTo>
                      <a:pt x="614" y="952"/>
                    </a:lnTo>
                    <a:lnTo>
                      <a:pt x="612" y="951"/>
                    </a:lnTo>
                    <a:lnTo>
                      <a:pt x="611" y="951"/>
                    </a:lnTo>
                    <a:lnTo>
                      <a:pt x="609" y="951"/>
                    </a:lnTo>
                    <a:lnTo>
                      <a:pt x="607" y="951"/>
                    </a:lnTo>
                    <a:lnTo>
                      <a:pt x="606" y="951"/>
                    </a:lnTo>
                    <a:lnTo>
                      <a:pt x="604" y="951"/>
                    </a:lnTo>
                    <a:lnTo>
                      <a:pt x="604" y="949"/>
                    </a:lnTo>
                    <a:lnTo>
                      <a:pt x="604" y="951"/>
                    </a:lnTo>
                    <a:lnTo>
                      <a:pt x="602" y="951"/>
                    </a:lnTo>
                    <a:lnTo>
                      <a:pt x="601" y="949"/>
                    </a:lnTo>
                    <a:lnTo>
                      <a:pt x="601" y="951"/>
                    </a:lnTo>
                    <a:lnTo>
                      <a:pt x="601" y="949"/>
                    </a:lnTo>
                    <a:lnTo>
                      <a:pt x="599" y="949"/>
                    </a:lnTo>
                    <a:lnTo>
                      <a:pt x="599" y="947"/>
                    </a:lnTo>
                    <a:lnTo>
                      <a:pt x="597" y="947"/>
                    </a:lnTo>
                    <a:lnTo>
                      <a:pt x="595" y="947"/>
                    </a:lnTo>
                    <a:lnTo>
                      <a:pt x="595" y="945"/>
                    </a:lnTo>
                    <a:lnTo>
                      <a:pt x="595" y="944"/>
                    </a:lnTo>
                    <a:lnTo>
                      <a:pt x="594" y="944"/>
                    </a:lnTo>
                    <a:lnTo>
                      <a:pt x="594" y="942"/>
                    </a:lnTo>
                    <a:lnTo>
                      <a:pt x="594" y="944"/>
                    </a:lnTo>
                    <a:lnTo>
                      <a:pt x="592" y="942"/>
                    </a:lnTo>
                    <a:lnTo>
                      <a:pt x="592" y="944"/>
                    </a:lnTo>
                    <a:lnTo>
                      <a:pt x="590" y="944"/>
                    </a:lnTo>
                    <a:lnTo>
                      <a:pt x="590" y="945"/>
                    </a:lnTo>
                    <a:lnTo>
                      <a:pt x="589" y="945"/>
                    </a:lnTo>
                    <a:lnTo>
                      <a:pt x="590" y="945"/>
                    </a:lnTo>
                    <a:lnTo>
                      <a:pt x="589" y="945"/>
                    </a:lnTo>
                    <a:lnTo>
                      <a:pt x="589" y="947"/>
                    </a:lnTo>
                    <a:lnTo>
                      <a:pt x="587" y="947"/>
                    </a:lnTo>
                    <a:lnTo>
                      <a:pt x="587" y="949"/>
                    </a:lnTo>
                    <a:lnTo>
                      <a:pt x="585" y="949"/>
                    </a:lnTo>
                    <a:lnTo>
                      <a:pt x="587" y="949"/>
                    </a:lnTo>
                    <a:lnTo>
                      <a:pt x="585" y="949"/>
                    </a:lnTo>
                    <a:lnTo>
                      <a:pt x="585" y="947"/>
                    </a:lnTo>
                    <a:lnTo>
                      <a:pt x="584" y="947"/>
                    </a:lnTo>
                    <a:lnTo>
                      <a:pt x="584" y="949"/>
                    </a:lnTo>
                    <a:lnTo>
                      <a:pt x="582" y="949"/>
                    </a:lnTo>
                    <a:lnTo>
                      <a:pt x="580" y="949"/>
                    </a:lnTo>
                    <a:lnTo>
                      <a:pt x="580" y="951"/>
                    </a:lnTo>
                    <a:lnTo>
                      <a:pt x="578" y="951"/>
                    </a:lnTo>
                    <a:lnTo>
                      <a:pt x="578" y="949"/>
                    </a:lnTo>
                    <a:lnTo>
                      <a:pt x="577" y="949"/>
                    </a:lnTo>
                    <a:lnTo>
                      <a:pt x="575" y="949"/>
                    </a:lnTo>
                    <a:lnTo>
                      <a:pt x="573" y="947"/>
                    </a:lnTo>
                    <a:lnTo>
                      <a:pt x="573" y="949"/>
                    </a:lnTo>
                    <a:lnTo>
                      <a:pt x="572" y="949"/>
                    </a:lnTo>
                    <a:lnTo>
                      <a:pt x="570" y="949"/>
                    </a:lnTo>
                    <a:lnTo>
                      <a:pt x="570" y="947"/>
                    </a:lnTo>
                    <a:lnTo>
                      <a:pt x="568" y="949"/>
                    </a:lnTo>
                    <a:lnTo>
                      <a:pt x="568" y="947"/>
                    </a:lnTo>
                    <a:lnTo>
                      <a:pt x="567" y="947"/>
                    </a:lnTo>
                    <a:lnTo>
                      <a:pt x="567" y="949"/>
                    </a:lnTo>
                    <a:lnTo>
                      <a:pt x="565" y="949"/>
                    </a:lnTo>
                    <a:lnTo>
                      <a:pt x="565" y="947"/>
                    </a:lnTo>
                    <a:lnTo>
                      <a:pt x="563" y="949"/>
                    </a:lnTo>
                    <a:lnTo>
                      <a:pt x="561" y="947"/>
                    </a:lnTo>
                    <a:lnTo>
                      <a:pt x="561" y="949"/>
                    </a:lnTo>
                    <a:lnTo>
                      <a:pt x="561" y="947"/>
                    </a:lnTo>
                    <a:lnTo>
                      <a:pt x="560" y="947"/>
                    </a:lnTo>
                    <a:lnTo>
                      <a:pt x="558" y="947"/>
                    </a:lnTo>
                    <a:lnTo>
                      <a:pt x="556" y="947"/>
                    </a:lnTo>
                    <a:lnTo>
                      <a:pt x="556" y="945"/>
                    </a:lnTo>
                    <a:lnTo>
                      <a:pt x="556" y="947"/>
                    </a:lnTo>
                    <a:lnTo>
                      <a:pt x="555" y="945"/>
                    </a:lnTo>
                    <a:lnTo>
                      <a:pt x="553" y="945"/>
                    </a:lnTo>
                    <a:lnTo>
                      <a:pt x="553" y="944"/>
                    </a:lnTo>
                    <a:lnTo>
                      <a:pt x="551" y="944"/>
                    </a:lnTo>
                    <a:lnTo>
                      <a:pt x="550" y="944"/>
                    </a:lnTo>
                    <a:lnTo>
                      <a:pt x="550" y="945"/>
                    </a:lnTo>
                    <a:lnTo>
                      <a:pt x="548" y="945"/>
                    </a:lnTo>
                    <a:lnTo>
                      <a:pt x="548" y="944"/>
                    </a:lnTo>
                    <a:lnTo>
                      <a:pt x="546" y="945"/>
                    </a:lnTo>
                    <a:lnTo>
                      <a:pt x="546" y="944"/>
                    </a:lnTo>
                    <a:lnTo>
                      <a:pt x="544" y="944"/>
                    </a:lnTo>
                    <a:lnTo>
                      <a:pt x="544" y="945"/>
                    </a:lnTo>
                    <a:lnTo>
                      <a:pt x="544" y="944"/>
                    </a:lnTo>
                    <a:lnTo>
                      <a:pt x="543" y="944"/>
                    </a:lnTo>
                    <a:lnTo>
                      <a:pt x="543" y="942"/>
                    </a:lnTo>
                    <a:lnTo>
                      <a:pt x="541" y="942"/>
                    </a:lnTo>
                    <a:lnTo>
                      <a:pt x="541" y="944"/>
                    </a:lnTo>
                    <a:lnTo>
                      <a:pt x="541" y="942"/>
                    </a:lnTo>
                    <a:lnTo>
                      <a:pt x="539" y="942"/>
                    </a:lnTo>
                    <a:lnTo>
                      <a:pt x="539" y="940"/>
                    </a:lnTo>
                    <a:lnTo>
                      <a:pt x="541" y="940"/>
                    </a:lnTo>
                    <a:lnTo>
                      <a:pt x="541" y="939"/>
                    </a:lnTo>
                    <a:lnTo>
                      <a:pt x="543" y="939"/>
                    </a:lnTo>
                    <a:lnTo>
                      <a:pt x="543" y="937"/>
                    </a:lnTo>
                    <a:lnTo>
                      <a:pt x="543" y="935"/>
                    </a:lnTo>
                    <a:lnTo>
                      <a:pt x="541" y="935"/>
                    </a:lnTo>
                    <a:lnTo>
                      <a:pt x="541" y="934"/>
                    </a:lnTo>
                    <a:lnTo>
                      <a:pt x="543" y="934"/>
                    </a:lnTo>
                    <a:lnTo>
                      <a:pt x="543" y="932"/>
                    </a:lnTo>
                    <a:lnTo>
                      <a:pt x="543" y="930"/>
                    </a:lnTo>
                    <a:lnTo>
                      <a:pt x="544" y="928"/>
                    </a:lnTo>
                    <a:lnTo>
                      <a:pt x="543" y="928"/>
                    </a:lnTo>
                    <a:lnTo>
                      <a:pt x="543" y="927"/>
                    </a:lnTo>
                    <a:lnTo>
                      <a:pt x="543" y="925"/>
                    </a:lnTo>
                    <a:lnTo>
                      <a:pt x="543" y="923"/>
                    </a:lnTo>
                    <a:lnTo>
                      <a:pt x="541" y="923"/>
                    </a:lnTo>
                    <a:lnTo>
                      <a:pt x="541" y="922"/>
                    </a:lnTo>
                    <a:lnTo>
                      <a:pt x="543" y="922"/>
                    </a:lnTo>
                    <a:lnTo>
                      <a:pt x="543" y="920"/>
                    </a:lnTo>
                    <a:lnTo>
                      <a:pt x="543" y="918"/>
                    </a:lnTo>
                    <a:lnTo>
                      <a:pt x="544" y="918"/>
                    </a:lnTo>
                    <a:lnTo>
                      <a:pt x="544" y="917"/>
                    </a:lnTo>
                    <a:lnTo>
                      <a:pt x="544" y="915"/>
                    </a:lnTo>
                    <a:lnTo>
                      <a:pt x="543" y="913"/>
                    </a:lnTo>
                    <a:lnTo>
                      <a:pt x="544" y="913"/>
                    </a:lnTo>
                    <a:lnTo>
                      <a:pt x="544" y="911"/>
                    </a:lnTo>
                    <a:lnTo>
                      <a:pt x="546" y="911"/>
                    </a:lnTo>
                    <a:lnTo>
                      <a:pt x="546" y="910"/>
                    </a:lnTo>
                    <a:lnTo>
                      <a:pt x="544" y="910"/>
                    </a:lnTo>
                    <a:lnTo>
                      <a:pt x="544" y="908"/>
                    </a:lnTo>
                    <a:lnTo>
                      <a:pt x="546" y="906"/>
                    </a:lnTo>
                    <a:lnTo>
                      <a:pt x="544" y="906"/>
                    </a:lnTo>
                    <a:lnTo>
                      <a:pt x="544" y="905"/>
                    </a:lnTo>
                    <a:lnTo>
                      <a:pt x="546" y="905"/>
                    </a:lnTo>
                    <a:lnTo>
                      <a:pt x="546" y="903"/>
                    </a:lnTo>
                    <a:lnTo>
                      <a:pt x="546" y="901"/>
                    </a:lnTo>
                    <a:lnTo>
                      <a:pt x="544" y="901"/>
                    </a:lnTo>
                    <a:lnTo>
                      <a:pt x="544" y="900"/>
                    </a:lnTo>
                    <a:lnTo>
                      <a:pt x="543" y="900"/>
                    </a:lnTo>
                    <a:lnTo>
                      <a:pt x="544" y="900"/>
                    </a:lnTo>
                    <a:lnTo>
                      <a:pt x="544" y="898"/>
                    </a:lnTo>
                    <a:lnTo>
                      <a:pt x="544" y="896"/>
                    </a:lnTo>
                    <a:lnTo>
                      <a:pt x="543" y="896"/>
                    </a:lnTo>
                    <a:lnTo>
                      <a:pt x="541" y="896"/>
                    </a:lnTo>
                    <a:lnTo>
                      <a:pt x="543" y="894"/>
                    </a:lnTo>
                    <a:lnTo>
                      <a:pt x="544" y="894"/>
                    </a:lnTo>
                    <a:lnTo>
                      <a:pt x="544" y="893"/>
                    </a:lnTo>
                    <a:lnTo>
                      <a:pt x="543" y="893"/>
                    </a:lnTo>
                    <a:lnTo>
                      <a:pt x="543" y="891"/>
                    </a:lnTo>
                    <a:lnTo>
                      <a:pt x="543" y="893"/>
                    </a:lnTo>
                    <a:lnTo>
                      <a:pt x="541" y="893"/>
                    </a:lnTo>
                    <a:lnTo>
                      <a:pt x="541" y="891"/>
                    </a:lnTo>
                    <a:lnTo>
                      <a:pt x="541" y="889"/>
                    </a:lnTo>
                    <a:lnTo>
                      <a:pt x="539" y="889"/>
                    </a:lnTo>
                    <a:lnTo>
                      <a:pt x="541" y="888"/>
                    </a:lnTo>
                    <a:lnTo>
                      <a:pt x="539" y="888"/>
                    </a:lnTo>
                    <a:lnTo>
                      <a:pt x="539" y="886"/>
                    </a:lnTo>
                    <a:lnTo>
                      <a:pt x="539" y="884"/>
                    </a:lnTo>
                    <a:lnTo>
                      <a:pt x="541" y="884"/>
                    </a:lnTo>
                    <a:lnTo>
                      <a:pt x="541" y="883"/>
                    </a:lnTo>
                    <a:lnTo>
                      <a:pt x="539" y="883"/>
                    </a:lnTo>
                    <a:lnTo>
                      <a:pt x="538" y="881"/>
                    </a:lnTo>
                    <a:lnTo>
                      <a:pt x="538" y="879"/>
                    </a:lnTo>
                    <a:lnTo>
                      <a:pt x="536" y="879"/>
                    </a:lnTo>
                    <a:lnTo>
                      <a:pt x="538" y="877"/>
                    </a:lnTo>
                    <a:lnTo>
                      <a:pt x="536" y="876"/>
                    </a:lnTo>
                    <a:lnTo>
                      <a:pt x="536" y="877"/>
                    </a:lnTo>
                    <a:lnTo>
                      <a:pt x="534" y="877"/>
                    </a:lnTo>
                    <a:lnTo>
                      <a:pt x="534" y="876"/>
                    </a:lnTo>
                    <a:lnTo>
                      <a:pt x="536" y="876"/>
                    </a:lnTo>
                    <a:lnTo>
                      <a:pt x="536" y="874"/>
                    </a:lnTo>
                    <a:lnTo>
                      <a:pt x="534" y="874"/>
                    </a:lnTo>
                    <a:lnTo>
                      <a:pt x="536" y="872"/>
                    </a:lnTo>
                    <a:lnTo>
                      <a:pt x="538" y="872"/>
                    </a:lnTo>
                    <a:lnTo>
                      <a:pt x="538" y="871"/>
                    </a:lnTo>
                    <a:lnTo>
                      <a:pt x="539" y="871"/>
                    </a:lnTo>
                    <a:lnTo>
                      <a:pt x="539" y="869"/>
                    </a:lnTo>
                    <a:lnTo>
                      <a:pt x="541" y="869"/>
                    </a:lnTo>
                    <a:lnTo>
                      <a:pt x="543" y="869"/>
                    </a:lnTo>
                    <a:lnTo>
                      <a:pt x="544" y="869"/>
                    </a:lnTo>
                    <a:lnTo>
                      <a:pt x="544" y="867"/>
                    </a:lnTo>
                    <a:lnTo>
                      <a:pt x="544" y="866"/>
                    </a:lnTo>
                    <a:lnTo>
                      <a:pt x="541" y="862"/>
                    </a:lnTo>
                    <a:lnTo>
                      <a:pt x="536" y="859"/>
                    </a:lnTo>
                    <a:lnTo>
                      <a:pt x="538" y="855"/>
                    </a:lnTo>
                    <a:lnTo>
                      <a:pt x="541" y="849"/>
                    </a:lnTo>
                    <a:lnTo>
                      <a:pt x="544" y="842"/>
                    </a:lnTo>
                    <a:lnTo>
                      <a:pt x="544" y="840"/>
                    </a:lnTo>
                    <a:lnTo>
                      <a:pt x="544" y="838"/>
                    </a:lnTo>
                    <a:lnTo>
                      <a:pt x="546" y="837"/>
                    </a:lnTo>
                    <a:lnTo>
                      <a:pt x="548" y="833"/>
                    </a:lnTo>
                    <a:lnTo>
                      <a:pt x="550" y="833"/>
                    </a:lnTo>
                    <a:lnTo>
                      <a:pt x="550" y="832"/>
                    </a:lnTo>
                    <a:lnTo>
                      <a:pt x="551" y="832"/>
                    </a:lnTo>
                    <a:lnTo>
                      <a:pt x="550" y="832"/>
                    </a:lnTo>
                    <a:lnTo>
                      <a:pt x="550" y="830"/>
                    </a:lnTo>
                    <a:lnTo>
                      <a:pt x="550" y="828"/>
                    </a:lnTo>
                    <a:lnTo>
                      <a:pt x="548" y="828"/>
                    </a:lnTo>
                    <a:lnTo>
                      <a:pt x="548" y="826"/>
                    </a:lnTo>
                    <a:lnTo>
                      <a:pt x="550" y="825"/>
                    </a:lnTo>
                    <a:lnTo>
                      <a:pt x="550" y="823"/>
                    </a:lnTo>
                    <a:lnTo>
                      <a:pt x="550" y="821"/>
                    </a:lnTo>
                    <a:lnTo>
                      <a:pt x="551" y="820"/>
                    </a:lnTo>
                    <a:lnTo>
                      <a:pt x="551" y="816"/>
                    </a:lnTo>
                    <a:lnTo>
                      <a:pt x="553" y="815"/>
                    </a:lnTo>
                    <a:lnTo>
                      <a:pt x="555" y="808"/>
                    </a:lnTo>
                    <a:lnTo>
                      <a:pt x="555" y="806"/>
                    </a:lnTo>
                    <a:lnTo>
                      <a:pt x="555" y="804"/>
                    </a:lnTo>
                    <a:lnTo>
                      <a:pt x="556" y="804"/>
                    </a:lnTo>
                    <a:lnTo>
                      <a:pt x="558" y="804"/>
                    </a:lnTo>
                    <a:lnTo>
                      <a:pt x="558" y="803"/>
                    </a:lnTo>
                    <a:lnTo>
                      <a:pt x="556" y="803"/>
                    </a:lnTo>
                    <a:lnTo>
                      <a:pt x="555" y="801"/>
                    </a:lnTo>
                    <a:lnTo>
                      <a:pt x="555" y="799"/>
                    </a:lnTo>
                    <a:lnTo>
                      <a:pt x="553" y="797"/>
                    </a:lnTo>
                    <a:lnTo>
                      <a:pt x="553" y="796"/>
                    </a:lnTo>
                    <a:lnTo>
                      <a:pt x="550" y="791"/>
                    </a:lnTo>
                    <a:lnTo>
                      <a:pt x="551" y="791"/>
                    </a:lnTo>
                    <a:lnTo>
                      <a:pt x="551" y="789"/>
                    </a:lnTo>
                    <a:lnTo>
                      <a:pt x="550" y="787"/>
                    </a:lnTo>
                    <a:lnTo>
                      <a:pt x="550" y="786"/>
                    </a:lnTo>
                    <a:lnTo>
                      <a:pt x="548" y="786"/>
                    </a:lnTo>
                    <a:lnTo>
                      <a:pt x="548" y="784"/>
                    </a:lnTo>
                    <a:lnTo>
                      <a:pt x="548" y="782"/>
                    </a:lnTo>
                    <a:lnTo>
                      <a:pt x="548" y="780"/>
                    </a:lnTo>
                    <a:lnTo>
                      <a:pt x="550" y="780"/>
                    </a:lnTo>
                    <a:lnTo>
                      <a:pt x="548" y="780"/>
                    </a:lnTo>
                    <a:lnTo>
                      <a:pt x="546" y="779"/>
                    </a:lnTo>
                    <a:lnTo>
                      <a:pt x="544" y="777"/>
                    </a:lnTo>
                    <a:lnTo>
                      <a:pt x="543" y="777"/>
                    </a:lnTo>
                    <a:lnTo>
                      <a:pt x="543" y="779"/>
                    </a:lnTo>
                    <a:lnTo>
                      <a:pt x="541" y="779"/>
                    </a:lnTo>
                    <a:lnTo>
                      <a:pt x="539" y="779"/>
                    </a:lnTo>
                    <a:lnTo>
                      <a:pt x="539" y="777"/>
                    </a:lnTo>
                    <a:lnTo>
                      <a:pt x="538" y="777"/>
                    </a:lnTo>
                    <a:lnTo>
                      <a:pt x="536" y="777"/>
                    </a:lnTo>
                    <a:lnTo>
                      <a:pt x="536" y="775"/>
                    </a:lnTo>
                    <a:lnTo>
                      <a:pt x="534" y="774"/>
                    </a:lnTo>
                    <a:lnTo>
                      <a:pt x="533" y="774"/>
                    </a:lnTo>
                    <a:lnTo>
                      <a:pt x="531" y="774"/>
                    </a:lnTo>
                    <a:lnTo>
                      <a:pt x="531" y="772"/>
                    </a:lnTo>
                    <a:lnTo>
                      <a:pt x="531" y="770"/>
                    </a:lnTo>
                    <a:lnTo>
                      <a:pt x="529" y="770"/>
                    </a:lnTo>
                    <a:lnTo>
                      <a:pt x="529" y="769"/>
                    </a:lnTo>
                    <a:lnTo>
                      <a:pt x="527" y="769"/>
                    </a:lnTo>
                    <a:lnTo>
                      <a:pt x="527" y="767"/>
                    </a:lnTo>
                    <a:lnTo>
                      <a:pt x="527" y="765"/>
                    </a:lnTo>
                    <a:lnTo>
                      <a:pt x="527" y="763"/>
                    </a:lnTo>
                    <a:lnTo>
                      <a:pt x="526" y="763"/>
                    </a:lnTo>
                    <a:lnTo>
                      <a:pt x="526" y="762"/>
                    </a:lnTo>
                    <a:lnTo>
                      <a:pt x="526" y="760"/>
                    </a:lnTo>
                    <a:lnTo>
                      <a:pt x="524" y="760"/>
                    </a:lnTo>
                    <a:lnTo>
                      <a:pt x="524" y="758"/>
                    </a:lnTo>
                    <a:lnTo>
                      <a:pt x="524" y="757"/>
                    </a:lnTo>
                    <a:lnTo>
                      <a:pt x="524" y="755"/>
                    </a:lnTo>
                    <a:lnTo>
                      <a:pt x="524" y="753"/>
                    </a:lnTo>
                    <a:lnTo>
                      <a:pt x="524" y="752"/>
                    </a:lnTo>
                    <a:lnTo>
                      <a:pt x="524" y="750"/>
                    </a:lnTo>
                    <a:lnTo>
                      <a:pt x="524" y="748"/>
                    </a:lnTo>
                    <a:lnTo>
                      <a:pt x="526" y="748"/>
                    </a:lnTo>
                    <a:lnTo>
                      <a:pt x="526" y="746"/>
                    </a:lnTo>
                    <a:lnTo>
                      <a:pt x="526" y="745"/>
                    </a:lnTo>
                    <a:lnTo>
                      <a:pt x="527" y="745"/>
                    </a:lnTo>
                    <a:lnTo>
                      <a:pt x="529" y="743"/>
                    </a:lnTo>
                    <a:lnTo>
                      <a:pt x="529" y="741"/>
                    </a:lnTo>
                    <a:lnTo>
                      <a:pt x="527" y="741"/>
                    </a:lnTo>
                    <a:lnTo>
                      <a:pt x="527" y="740"/>
                    </a:lnTo>
                    <a:lnTo>
                      <a:pt x="529" y="740"/>
                    </a:lnTo>
                    <a:lnTo>
                      <a:pt x="529" y="738"/>
                    </a:lnTo>
                    <a:lnTo>
                      <a:pt x="529" y="736"/>
                    </a:lnTo>
                    <a:lnTo>
                      <a:pt x="529" y="735"/>
                    </a:lnTo>
                    <a:lnTo>
                      <a:pt x="527" y="735"/>
                    </a:lnTo>
                    <a:lnTo>
                      <a:pt x="527" y="736"/>
                    </a:lnTo>
                    <a:lnTo>
                      <a:pt x="526" y="736"/>
                    </a:lnTo>
                    <a:lnTo>
                      <a:pt x="522" y="736"/>
                    </a:lnTo>
                    <a:lnTo>
                      <a:pt x="517" y="736"/>
                    </a:lnTo>
                    <a:lnTo>
                      <a:pt x="516" y="736"/>
                    </a:lnTo>
                    <a:lnTo>
                      <a:pt x="514" y="736"/>
                    </a:lnTo>
                    <a:lnTo>
                      <a:pt x="507" y="736"/>
                    </a:lnTo>
                    <a:lnTo>
                      <a:pt x="502" y="736"/>
                    </a:lnTo>
                    <a:lnTo>
                      <a:pt x="500" y="736"/>
                    </a:lnTo>
                    <a:lnTo>
                      <a:pt x="499" y="736"/>
                    </a:lnTo>
                    <a:lnTo>
                      <a:pt x="495" y="735"/>
                    </a:lnTo>
                    <a:lnTo>
                      <a:pt x="492" y="735"/>
                    </a:lnTo>
                    <a:lnTo>
                      <a:pt x="490" y="735"/>
                    </a:lnTo>
                    <a:lnTo>
                      <a:pt x="488" y="735"/>
                    </a:lnTo>
                    <a:lnTo>
                      <a:pt x="482" y="735"/>
                    </a:lnTo>
                    <a:lnTo>
                      <a:pt x="478" y="735"/>
                    </a:lnTo>
                    <a:lnTo>
                      <a:pt x="476" y="735"/>
                    </a:lnTo>
                    <a:lnTo>
                      <a:pt x="473" y="735"/>
                    </a:lnTo>
                    <a:lnTo>
                      <a:pt x="471" y="735"/>
                    </a:lnTo>
                    <a:lnTo>
                      <a:pt x="470" y="735"/>
                    </a:lnTo>
                    <a:lnTo>
                      <a:pt x="468" y="735"/>
                    </a:lnTo>
                    <a:lnTo>
                      <a:pt x="466" y="735"/>
                    </a:lnTo>
                    <a:lnTo>
                      <a:pt x="466" y="731"/>
                    </a:lnTo>
                    <a:lnTo>
                      <a:pt x="466" y="728"/>
                    </a:lnTo>
                    <a:lnTo>
                      <a:pt x="465" y="711"/>
                    </a:lnTo>
                    <a:lnTo>
                      <a:pt x="465" y="709"/>
                    </a:lnTo>
                    <a:lnTo>
                      <a:pt x="465" y="707"/>
                    </a:lnTo>
                    <a:lnTo>
                      <a:pt x="463" y="706"/>
                    </a:lnTo>
                    <a:lnTo>
                      <a:pt x="461" y="702"/>
                    </a:lnTo>
                    <a:lnTo>
                      <a:pt x="456" y="697"/>
                    </a:lnTo>
                    <a:lnTo>
                      <a:pt x="453" y="694"/>
                    </a:lnTo>
                    <a:lnTo>
                      <a:pt x="456" y="694"/>
                    </a:lnTo>
                    <a:lnTo>
                      <a:pt x="458" y="694"/>
                    </a:lnTo>
                    <a:lnTo>
                      <a:pt x="461" y="694"/>
                    </a:lnTo>
                    <a:lnTo>
                      <a:pt x="463" y="694"/>
                    </a:lnTo>
                    <a:lnTo>
                      <a:pt x="465" y="694"/>
                    </a:lnTo>
                    <a:lnTo>
                      <a:pt x="465" y="690"/>
                    </a:lnTo>
                    <a:lnTo>
                      <a:pt x="465" y="689"/>
                    </a:lnTo>
                    <a:lnTo>
                      <a:pt x="465" y="687"/>
                    </a:lnTo>
                    <a:lnTo>
                      <a:pt x="465" y="684"/>
                    </a:lnTo>
                    <a:lnTo>
                      <a:pt x="465" y="682"/>
                    </a:lnTo>
                    <a:lnTo>
                      <a:pt x="465" y="680"/>
                    </a:lnTo>
                    <a:lnTo>
                      <a:pt x="463" y="678"/>
                    </a:lnTo>
                    <a:lnTo>
                      <a:pt x="463" y="677"/>
                    </a:lnTo>
                    <a:lnTo>
                      <a:pt x="461" y="677"/>
                    </a:lnTo>
                    <a:lnTo>
                      <a:pt x="461" y="675"/>
                    </a:lnTo>
                    <a:lnTo>
                      <a:pt x="461" y="673"/>
                    </a:lnTo>
                    <a:lnTo>
                      <a:pt x="461" y="672"/>
                    </a:lnTo>
                    <a:lnTo>
                      <a:pt x="459" y="672"/>
                    </a:lnTo>
                    <a:lnTo>
                      <a:pt x="459" y="670"/>
                    </a:lnTo>
                    <a:lnTo>
                      <a:pt x="459" y="668"/>
                    </a:lnTo>
                    <a:lnTo>
                      <a:pt x="458" y="668"/>
                    </a:lnTo>
                    <a:lnTo>
                      <a:pt x="458" y="667"/>
                    </a:lnTo>
                    <a:lnTo>
                      <a:pt x="458" y="665"/>
                    </a:lnTo>
                    <a:lnTo>
                      <a:pt x="458" y="663"/>
                    </a:lnTo>
                    <a:lnTo>
                      <a:pt x="456" y="663"/>
                    </a:lnTo>
                    <a:lnTo>
                      <a:pt x="456" y="661"/>
                    </a:lnTo>
                    <a:lnTo>
                      <a:pt x="456" y="660"/>
                    </a:lnTo>
                    <a:lnTo>
                      <a:pt x="456" y="658"/>
                    </a:lnTo>
                    <a:lnTo>
                      <a:pt x="458" y="658"/>
                    </a:lnTo>
                    <a:lnTo>
                      <a:pt x="458" y="656"/>
                    </a:lnTo>
                    <a:lnTo>
                      <a:pt x="459" y="656"/>
                    </a:lnTo>
                    <a:lnTo>
                      <a:pt x="459" y="655"/>
                    </a:lnTo>
                    <a:lnTo>
                      <a:pt x="458" y="655"/>
                    </a:lnTo>
                    <a:lnTo>
                      <a:pt x="458" y="653"/>
                    </a:lnTo>
                    <a:lnTo>
                      <a:pt x="458" y="651"/>
                    </a:lnTo>
                    <a:lnTo>
                      <a:pt x="456" y="651"/>
                    </a:lnTo>
                    <a:lnTo>
                      <a:pt x="458" y="651"/>
                    </a:lnTo>
                    <a:lnTo>
                      <a:pt x="456" y="650"/>
                    </a:lnTo>
                    <a:lnTo>
                      <a:pt x="456" y="651"/>
                    </a:lnTo>
                    <a:lnTo>
                      <a:pt x="456" y="650"/>
                    </a:lnTo>
                    <a:lnTo>
                      <a:pt x="458" y="650"/>
                    </a:lnTo>
                    <a:lnTo>
                      <a:pt x="456" y="650"/>
                    </a:lnTo>
                    <a:lnTo>
                      <a:pt x="458" y="650"/>
                    </a:lnTo>
                    <a:lnTo>
                      <a:pt x="456" y="650"/>
                    </a:lnTo>
                    <a:lnTo>
                      <a:pt x="458" y="648"/>
                    </a:lnTo>
                    <a:lnTo>
                      <a:pt x="456" y="648"/>
                    </a:lnTo>
                    <a:lnTo>
                      <a:pt x="454" y="648"/>
                    </a:lnTo>
                    <a:lnTo>
                      <a:pt x="453" y="646"/>
                    </a:lnTo>
                    <a:lnTo>
                      <a:pt x="451" y="646"/>
                    </a:lnTo>
                    <a:lnTo>
                      <a:pt x="449" y="646"/>
                    </a:lnTo>
                    <a:lnTo>
                      <a:pt x="449" y="644"/>
                    </a:lnTo>
                    <a:lnTo>
                      <a:pt x="449" y="646"/>
                    </a:lnTo>
                    <a:lnTo>
                      <a:pt x="449" y="644"/>
                    </a:lnTo>
                    <a:lnTo>
                      <a:pt x="448" y="644"/>
                    </a:lnTo>
                    <a:lnTo>
                      <a:pt x="446" y="644"/>
                    </a:lnTo>
                    <a:lnTo>
                      <a:pt x="446" y="643"/>
                    </a:lnTo>
                    <a:lnTo>
                      <a:pt x="444" y="643"/>
                    </a:lnTo>
                    <a:lnTo>
                      <a:pt x="442" y="643"/>
                    </a:lnTo>
                    <a:lnTo>
                      <a:pt x="442" y="641"/>
                    </a:lnTo>
                    <a:lnTo>
                      <a:pt x="442" y="639"/>
                    </a:lnTo>
                    <a:lnTo>
                      <a:pt x="441" y="639"/>
                    </a:lnTo>
                    <a:lnTo>
                      <a:pt x="439" y="639"/>
                    </a:lnTo>
                    <a:lnTo>
                      <a:pt x="439" y="638"/>
                    </a:lnTo>
                    <a:lnTo>
                      <a:pt x="437" y="638"/>
                    </a:lnTo>
                    <a:lnTo>
                      <a:pt x="437" y="639"/>
                    </a:lnTo>
                    <a:lnTo>
                      <a:pt x="437" y="638"/>
                    </a:lnTo>
                    <a:lnTo>
                      <a:pt x="436" y="638"/>
                    </a:lnTo>
                    <a:lnTo>
                      <a:pt x="436" y="639"/>
                    </a:lnTo>
                    <a:lnTo>
                      <a:pt x="434" y="639"/>
                    </a:lnTo>
                    <a:lnTo>
                      <a:pt x="434" y="638"/>
                    </a:lnTo>
                    <a:lnTo>
                      <a:pt x="434" y="639"/>
                    </a:lnTo>
                    <a:lnTo>
                      <a:pt x="432" y="639"/>
                    </a:lnTo>
                    <a:lnTo>
                      <a:pt x="432" y="638"/>
                    </a:lnTo>
                    <a:lnTo>
                      <a:pt x="432" y="639"/>
                    </a:lnTo>
                    <a:lnTo>
                      <a:pt x="431" y="639"/>
                    </a:lnTo>
                    <a:lnTo>
                      <a:pt x="431" y="638"/>
                    </a:lnTo>
                    <a:lnTo>
                      <a:pt x="429" y="638"/>
                    </a:lnTo>
                    <a:lnTo>
                      <a:pt x="427" y="638"/>
                    </a:lnTo>
                    <a:lnTo>
                      <a:pt x="427" y="639"/>
                    </a:lnTo>
                    <a:lnTo>
                      <a:pt x="425" y="639"/>
                    </a:lnTo>
                    <a:lnTo>
                      <a:pt x="424" y="639"/>
                    </a:lnTo>
                    <a:lnTo>
                      <a:pt x="422" y="639"/>
                    </a:lnTo>
                    <a:lnTo>
                      <a:pt x="420" y="639"/>
                    </a:lnTo>
                    <a:lnTo>
                      <a:pt x="419" y="638"/>
                    </a:lnTo>
                    <a:lnTo>
                      <a:pt x="419" y="639"/>
                    </a:lnTo>
                    <a:lnTo>
                      <a:pt x="417" y="638"/>
                    </a:lnTo>
                    <a:lnTo>
                      <a:pt x="417" y="639"/>
                    </a:lnTo>
                    <a:lnTo>
                      <a:pt x="417" y="638"/>
                    </a:lnTo>
                    <a:lnTo>
                      <a:pt x="415" y="638"/>
                    </a:lnTo>
                    <a:lnTo>
                      <a:pt x="415" y="639"/>
                    </a:lnTo>
                    <a:lnTo>
                      <a:pt x="414" y="639"/>
                    </a:lnTo>
                    <a:lnTo>
                      <a:pt x="412" y="639"/>
                    </a:lnTo>
                    <a:lnTo>
                      <a:pt x="410" y="639"/>
                    </a:lnTo>
                    <a:lnTo>
                      <a:pt x="410" y="638"/>
                    </a:lnTo>
                    <a:lnTo>
                      <a:pt x="408" y="638"/>
                    </a:lnTo>
                    <a:lnTo>
                      <a:pt x="408" y="636"/>
                    </a:lnTo>
                    <a:lnTo>
                      <a:pt x="407" y="634"/>
                    </a:lnTo>
                    <a:lnTo>
                      <a:pt x="407" y="636"/>
                    </a:lnTo>
                    <a:lnTo>
                      <a:pt x="407" y="634"/>
                    </a:lnTo>
                    <a:lnTo>
                      <a:pt x="405" y="632"/>
                    </a:lnTo>
                    <a:lnTo>
                      <a:pt x="405" y="634"/>
                    </a:lnTo>
                    <a:lnTo>
                      <a:pt x="405" y="632"/>
                    </a:lnTo>
                    <a:lnTo>
                      <a:pt x="403" y="632"/>
                    </a:lnTo>
                    <a:lnTo>
                      <a:pt x="403" y="631"/>
                    </a:lnTo>
                    <a:lnTo>
                      <a:pt x="402" y="631"/>
                    </a:lnTo>
                    <a:lnTo>
                      <a:pt x="402" y="629"/>
                    </a:lnTo>
                    <a:lnTo>
                      <a:pt x="402" y="627"/>
                    </a:lnTo>
                    <a:lnTo>
                      <a:pt x="402" y="626"/>
                    </a:lnTo>
                    <a:lnTo>
                      <a:pt x="400" y="626"/>
                    </a:lnTo>
                    <a:lnTo>
                      <a:pt x="400" y="624"/>
                    </a:lnTo>
                    <a:lnTo>
                      <a:pt x="398" y="624"/>
                    </a:lnTo>
                    <a:lnTo>
                      <a:pt x="400" y="626"/>
                    </a:lnTo>
                    <a:lnTo>
                      <a:pt x="398" y="626"/>
                    </a:lnTo>
                    <a:lnTo>
                      <a:pt x="398" y="624"/>
                    </a:lnTo>
                    <a:lnTo>
                      <a:pt x="397" y="624"/>
                    </a:lnTo>
                    <a:lnTo>
                      <a:pt x="397" y="626"/>
                    </a:lnTo>
                    <a:lnTo>
                      <a:pt x="395" y="626"/>
                    </a:lnTo>
                    <a:lnTo>
                      <a:pt x="393" y="626"/>
                    </a:lnTo>
                    <a:lnTo>
                      <a:pt x="391" y="626"/>
                    </a:lnTo>
                    <a:lnTo>
                      <a:pt x="391" y="624"/>
                    </a:lnTo>
                    <a:lnTo>
                      <a:pt x="391" y="626"/>
                    </a:lnTo>
                    <a:lnTo>
                      <a:pt x="391" y="624"/>
                    </a:lnTo>
                    <a:lnTo>
                      <a:pt x="390" y="624"/>
                    </a:lnTo>
                    <a:lnTo>
                      <a:pt x="390" y="622"/>
                    </a:lnTo>
                    <a:lnTo>
                      <a:pt x="390" y="624"/>
                    </a:lnTo>
                    <a:lnTo>
                      <a:pt x="388" y="624"/>
                    </a:lnTo>
                    <a:lnTo>
                      <a:pt x="388" y="622"/>
                    </a:lnTo>
                    <a:lnTo>
                      <a:pt x="386" y="624"/>
                    </a:lnTo>
                    <a:lnTo>
                      <a:pt x="386" y="622"/>
                    </a:lnTo>
                    <a:lnTo>
                      <a:pt x="385" y="622"/>
                    </a:lnTo>
                    <a:lnTo>
                      <a:pt x="385" y="621"/>
                    </a:lnTo>
                    <a:lnTo>
                      <a:pt x="383" y="621"/>
                    </a:lnTo>
                    <a:lnTo>
                      <a:pt x="383" y="619"/>
                    </a:lnTo>
                    <a:lnTo>
                      <a:pt x="383" y="621"/>
                    </a:lnTo>
                    <a:lnTo>
                      <a:pt x="381" y="621"/>
                    </a:lnTo>
                    <a:lnTo>
                      <a:pt x="381" y="622"/>
                    </a:lnTo>
                    <a:lnTo>
                      <a:pt x="380" y="621"/>
                    </a:lnTo>
                    <a:lnTo>
                      <a:pt x="378" y="621"/>
                    </a:lnTo>
                    <a:lnTo>
                      <a:pt x="378" y="619"/>
                    </a:lnTo>
                    <a:lnTo>
                      <a:pt x="376" y="619"/>
                    </a:lnTo>
                    <a:lnTo>
                      <a:pt x="376" y="617"/>
                    </a:lnTo>
                    <a:lnTo>
                      <a:pt x="374" y="617"/>
                    </a:lnTo>
                    <a:lnTo>
                      <a:pt x="374" y="615"/>
                    </a:lnTo>
                    <a:lnTo>
                      <a:pt x="373" y="615"/>
                    </a:lnTo>
                    <a:lnTo>
                      <a:pt x="371" y="615"/>
                    </a:lnTo>
                    <a:lnTo>
                      <a:pt x="371" y="614"/>
                    </a:lnTo>
                    <a:lnTo>
                      <a:pt x="371" y="612"/>
                    </a:lnTo>
                    <a:lnTo>
                      <a:pt x="369" y="612"/>
                    </a:lnTo>
                    <a:lnTo>
                      <a:pt x="369" y="610"/>
                    </a:lnTo>
                    <a:lnTo>
                      <a:pt x="368" y="610"/>
                    </a:lnTo>
                    <a:lnTo>
                      <a:pt x="368" y="609"/>
                    </a:lnTo>
                    <a:lnTo>
                      <a:pt x="366" y="609"/>
                    </a:lnTo>
                    <a:lnTo>
                      <a:pt x="366" y="607"/>
                    </a:lnTo>
                    <a:lnTo>
                      <a:pt x="366" y="609"/>
                    </a:lnTo>
                    <a:lnTo>
                      <a:pt x="364" y="607"/>
                    </a:lnTo>
                    <a:lnTo>
                      <a:pt x="364" y="609"/>
                    </a:lnTo>
                    <a:lnTo>
                      <a:pt x="363" y="609"/>
                    </a:lnTo>
                    <a:lnTo>
                      <a:pt x="364" y="610"/>
                    </a:lnTo>
                    <a:lnTo>
                      <a:pt x="363" y="610"/>
                    </a:lnTo>
                    <a:lnTo>
                      <a:pt x="361" y="610"/>
                    </a:lnTo>
                    <a:lnTo>
                      <a:pt x="361" y="609"/>
                    </a:lnTo>
                    <a:lnTo>
                      <a:pt x="359" y="609"/>
                    </a:lnTo>
                    <a:lnTo>
                      <a:pt x="357" y="609"/>
                    </a:lnTo>
                    <a:lnTo>
                      <a:pt x="357" y="607"/>
                    </a:lnTo>
                    <a:lnTo>
                      <a:pt x="356" y="607"/>
                    </a:lnTo>
                    <a:lnTo>
                      <a:pt x="357" y="607"/>
                    </a:lnTo>
                    <a:lnTo>
                      <a:pt x="357" y="605"/>
                    </a:lnTo>
                    <a:lnTo>
                      <a:pt x="356" y="605"/>
                    </a:lnTo>
                    <a:lnTo>
                      <a:pt x="354" y="605"/>
                    </a:lnTo>
                    <a:lnTo>
                      <a:pt x="354" y="604"/>
                    </a:lnTo>
                    <a:lnTo>
                      <a:pt x="352" y="604"/>
                    </a:lnTo>
                    <a:lnTo>
                      <a:pt x="351" y="604"/>
                    </a:lnTo>
                    <a:lnTo>
                      <a:pt x="351" y="602"/>
                    </a:lnTo>
                    <a:lnTo>
                      <a:pt x="349" y="602"/>
                    </a:lnTo>
                    <a:lnTo>
                      <a:pt x="347" y="602"/>
                    </a:lnTo>
                    <a:lnTo>
                      <a:pt x="346" y="602"/>
                    </a:lnTo>
                    <a:lnTo>
                      <a:pt x="346" y="600"/>
                    </a:lnTo>
                    <a:lnTo>
                      <a:pt x="344" y="602"/>
                    </a:lnTo>
                    <a:lnTo>
                      <a:pt x="342" y="602"/>
                    </a:lnTo>
                    <a:lnTo>
                      <a:pt x="340" y="604"/>
                    </a:lnTo>
                    <a:lnTo>
                      <a:pt x="339" y="604"/>
                    </a:lnTo>
                    <a:lnTo>
                      <a:pt x="337" y="604"/>
                    </a:lnTo>
                    <a:lnTo>
                      <a:pt x="335" y="604"/>
                    </a:lnTo>
                    <a:lnTo>
                      <a:pt x="334" y="604"/>
                    </a:lnTo>
                    <a:lnTo>
                      <a:pt x="334" y="602"/>
                    </a:lnTo>
                    <a:lnTo>
                      <a:pt x="334" y="604"/>
                    </a:lnTo>
                    <a:lnTo>
                      <a:pt x="332" y="604"/>
                    </a:lnTo>
                    <a:lnTo>
                      <a:pt x="332" y="602"/>
                    </a:lnTo>
                    <a:lnTo>
                      <a:pt x="330" y="602"/>
                    </a:lnTo>
                    <a:lnTo>
                      <a:pt x="329" y="602"/>
                    </a:lnTo>
                    <a:lnTo>
                      <a:pt x="329" y="604"/>
                    </a:lnTo>
                    <a:lnTo>
                      <a:pt x="327" y="604"/>
                    </a:lnTo>
                    <a:lnTo>
                      <a:pt x="329" y="602"/>
                    </a:lnTo>
                    <a:lnTo>
                      <a:pt x="327" y="602"/>
                    </a:lnTo>
                    <a:lnTo>
                      <a:pt x="325" y="602"/>
                    </a:lnTo>
                    <a:lnTo>
                      <a:pt x="323" y="602"/>
                    </a:lnTo>
                    <a:lnTo>
                      <a:pt x="323" y="600"/>
                    </a:lnTo>
                    <a:lnTo>
                      <a:pt x="322" y="600"/>
                    </a:lnTo>
                    <a:lnTo>
                      <a:pt x="322" y="598"/>
                    </a:lnTo>
                    <a:lnTo>
                      <a:pt x="320" y="598"/>
                    </a:lnTo>
                    <a:lnTo>
                      <a:pt x="322" y="597"/>
                    </a:lnTo>
                    <a:lnTo>
                      <a:pt x="322" y="595"/>
                    </a:lnTo>
                    <a:lnTo>
                      <a:pt x="320" y="595"/>
                    </a:lnTo>
                    <a:lnTo>
                      <a:pt x="320" y="593"/>
                    </a:lnTo>
                    <a:lnTo>
                      <a:pt x="320" y="595"/>
                    </a:lnTo>
                    <a:lnTo>
                      <a:pt x="318" y="595"/>
                    </a:lnTo>
                    <a:lnTo>
                      <a:pt x="318" y="593"/>
                    </a:lnTo>
                    <a:lnTo>
                      <a:pt x="317" y="593"/>
                    </a:lnTo>
                    <a:lnTo>
                      <a:pt x="315" y="593"/>
                    </a:lnTo>
                    <a:lnTo>
                      <a:pt x="313" y="592"/>
                    </a:lnTo>
                    <a:lnTo>
                      <a:pt x="313" y="590"/>
                    </a:lnTo>
                    <a:lnTo>
                      <a:pt x="315" y="590"/>
                    </a:lnTo>
                    <a:lnTo>
                      <a:pt x="313" y="590"/>
                    </a:lnTo>
                    <a:lnTo>
                      <a:pt x="313" y="588"/>
                    </a:lnTo>
                    <a:lnTo>
                      <a:pt x="313" y="590"/>
                    </a:lnTo>
                    <a:lnTo>
                      <a:pt x="313" y="592"/>
                    </a:lnTo>
                    <a:lnTo>
                      <a:pt x="312" y="592"/>
                    </a:lnTo>
                    <a:lnTo>
                      <a:pt x="312" y="590"/>
                    </a:lnTo>
                    <a:lnTo>
                      <a:pt x="312" y="588"/>
                    </a:lnTo>
                    <a:lnTo>
                      <a:pt x="310" y="588"/>
                    </a:lnTo>
                    <a:lnTo>
                      <a:pt x="310" y="590"/>
                    </a:lnTo>
                    <a:lnTo>
                      <a:pt x="310" y="588"/>
                    </a:lnTo>
                    <a:lnTo>
                      <a:pt x="310" y="587"/>
                    </a:lnTo>
                    <a:lnTo>
                      <a:pt x="308" y="587"/>
                    </a:lnTo>
                    <a:lnTo>
                      <a:pt x="306" y="587"/>
                    </a:lnTo>
                    <a:lnTo>
                      <a:pt x="305" y="587"/>
                    </a:lnTo>
                    <a:lnTo>
                      <a:pt x="303" y="587"/>
                    </a:lnTo>
                    <a:lnTo>
                      <a:pt x="303" y="585"/>
                    </a:lnTo>
                    <a:lnTo>
                      <a:pt x="303" y="583"/>
                    </a:lnTo>
                    <a:lnTo>
                      <a:pt x="303" y="581"/>
                    </a:lnTo>
                    <a:lnTo>
                      <a:pt x="301" y="581"/>
                    </a:lnTo>
                    <a:lnTo>
                      <a:pt x="301" y="580"/>
                    </a:lnTo>
                    <a:lnTo>
                      <a:pt x="301" y="578"/>
                    </a:lnTo>
                    <a:lnTo>
                      <a:pt x="301" y="576"/>
                    </a:lnTo>
                    <a:lnTo>
                      <a:pt x="300" y="576"/>
                    </a:lnTo>
                    <a:lnTo>
                      <a:pt x="298" y="576"/>
                    </a:lnTo>
                    <a:lnTo>
                      <a:pt x="298" y="578"/>
                    </a:lnTo>
                    <a:lnTo>
                      <a:pt x="296" y="578"/>
                    </a:lnTo>
                    <a:lnTo>
                      <a:pt x="296" y="576"/>
                    </a:lnTo>
                    <a:lnTo>
                      <a:pt x="295" y="576"/>
                    </a:lnTo>
                    <a:lnTo>
                      <a:pt x="296" y="575"/>
                    </a:lnTo>
                    <a:lnTo>
                      <a:pt x="296" y="573"/>
                    </a:lnTo>
                    <a:lnTo>
                      <a:pt x="296" y="571"/>
                    </a:lnTo>
                    <a:lnTo>
                      <a:pt x="296" y="570"/>
                    </a:lnTo>
                    <a:lnTo>
                      <a:pt x="295" y="570"/>
                    </a:lnTo>
                    <a:lnTo>
                      <a:pt x="293" y="568"/>
                    </a:lnTo>
                    <a:lnTo>
                      <a:pt x="293" y="566"/>
                    </a:lnTo>
                    <a:lnTo>
                      <a:pt x="293" y="564"/>
                    </a:lnTo>
                    <a:lnTo>
                      <a:pt x="293" y="563"/>
                    </a:lnTo>
                    <a:lnTo>
                      <a:pt x="295" y="563"/>
                    </a:lnTo>
                    <a:lnTo>
                      <a:pt x="293" y="563"/>
                    </a:lnTo>
                    <a:lnTo>
                      <a:pt x="293" y="561"/>
                    </a:lnTo>
                    <a:lnTo>
                      <a:pt x="291" y="561"/>
                    </a:lnTo>
                    <a:lnTo>
                      <a:pt x="291" y="559"/>
                    </a:lnTo>
                    <a:lnTo>
                      <a:pt x="293" y="559"/>
                    </a:lnTo>
                    <a:lnTo>
                      <a:pt x="293" y="558"/>
                    </a:lnTo>
                    <a:lnTo>
                      <a:pt x="291" y="558"/>
                    </a:lnTo>
                    <a:lnTo>
                      <a:pt x="291" y="556"/>
                    </a:lnTo>
                    <a:lnTo>
                      <a:pt x="293" y="556"/>
                    </a:lnTo>
                    <a:lnTo>
                      <a:pt x="295" y="554"/>
                    </a:lnTo>
                    <a:lnTo>
                      <a:pt x="295" y="553"/>
                    </a:lnTo>
                    <a:lnTo>
                      <a:pt x="296" y="551"/>
                    </a:lnTo>
                    <a:lnTo>
                      <a:pt x="295" y="551"/>
                    </a:lnTo>
                    <a:lnTo>
                      <a:pt x="295" y="549"/>
                    </a:lnTo>
                    <a:lnTo>
                      <a:pt x="295" y="547"/>
                    </a:lnTo>
                    <a:lnTo>
                      <a:pt x="295" y="546"/>
                    </a:lnTo>
                    <a:lnTo>
                      <a:pt x="293" y="546"/>
                    </a:lnTo>
                    <a:lnTo>
                      <a:pt x="293" y="544"/>
                    </a:lnTo>
                    <a:lnTo>
                      <a:pt x="293" y="542"/>
                    </a:lnTo>
                    <a:lnTo>
                      <a:pt x="293" y="541"/>
                    </a:lnTo>
                    <a:lnTo>
                      <a:pt x="291" y="539"/>
                    </a:lnTo>
                    <a:lnTo>
                      <a:pt x="289" y="537"/>
                    </a:lnTo>
                    <a:lnTo>
                      <a:pt x="291" y="537"/>
                    </a:lnTo>
                    <a:lnTo>
                      <a:pt x="291" y="536"/>
                    </a:lnTo>
                    <a:lnTo>
                      <a:pt x="289" y="536"/>
                    </a:lnTo>
                    <a:lnTo>
                      <a:pt x="289" y="534"/>
                    </a:lnTo>
                    <a:lnTo>
                      <a:pt x="291" y="534"/>
                    </a:lnTo>
                    <a:lnTo>
                      <a:pt x="291" y="532"/>
                    </a:lnTo>
                    <a:lnTo>
                      <a:pt x="291" y="530"/>
                    </a:lnTo>
                    <a:lnTo>
                      <a:pt x="291" y="529"/>
                    </a:lnTo>
                    <a:lnTo>
                      <a:pt x="293" y="529"/>
                    </a:lnTo>
                    <a:lnTo>
                      <a:pt x="293" y="527"/>
                    </a:lnTo>
                    <a:lnTo>
                      <a:pt x="293" y="525"/>
                    </a:lnTo>
                    <a:lnTo>
                      <a:pt x="295" y="525"/>
                    </a:lnTo>
                    <a:lnTo>
                      <a:pt x="295" y="524"/>
                    </a:lnTo>
                    <a:lnTo>
                      <a:pt x="293" y="524"/>
                    </a:lnTo>
                    <a:lnTo>
                      <a:pt x="295" y="522"/>
                    </a:lnTo>
                    <a:lnTo>
                      <a:pt x="295" y="520"/>
                    </a:lnTo>
                    <a:lnTo>
                      <a:pt x="293" y="520"/>
                    </a:lnTo>
                    <a:lnTo>
                      <a:pt x="293" y="519"/>
                    </a:lnTo>
                    <a:lnTo>
                      <a:pt x="293" y="517"/>
                    </a:lnTo>
                    <a:lnTo>
                      <a:pt x="293" y="515"/>
                    </a:lnTo>
                    <a:lnTo>
                      <a:pt x="293" y="513"/>
                    </a:lnTo>
                    <a:lnTo>
                      <a:pt x="295" y="513"/>
                    </a:lnTo>
                    <a:lnTo>
                      <a:pt x="295" y="512"/>
                    </a:lnTo>
                    <a:lnTo>
                      <a:pt x="293" y="512"/>
                    </a:lnTo>
                    <a:lnTo>
                      <a:pt x="293" y="510"/>
                    </a:lnTo>
                    <a:lnTo>
                      <a:pt x="293" y="508"/>
                    </a:lnTo>
                    <a:lnTo>
                      <a:pt x="291" y="508"/>
                    </a:lnTo>
                    <a:lnTo>
                      <a:pt x="291" y="507"/>
                    </a:lnTo>
                    <a:lnTo>
                      <a:pt x="289" y="507"/>
                    </a:lnTo>
                    <a:lnTo>
                      <a:pt x="288" y="507"/>
                    </a:lnTo>
                    <a:lnTo>
                      <a:pt x="288" y="508"/>
                    </a:lnTo>
                    <a:lnTo>
                      <a:pt x="288" y="507"/>
                    </a:lnTo>
                    <a:lnTo>
                      <a:pt x="288" y="508"/>
                    </a:lnTo>
                    <a:lnTo>
                      <a:pt x="288" y="510"/>
                    </a:lnTo>
                    <a:lnTo>
                      <a:pt x="286" y="510"/>
                    </a:lnTo>
                    <a:lnTo>
                      <a:pt x="284" y="510"/>
                    </a:lnTo>
                    <a:lnTo>
                      <a:pt x="284" y="512"/>
                    </a:lnTo>
                    <a:lnTo>
                      <a:pt x="286" y="512"/>
                    </a:lnTo>
                    <a:lnTo>
                      <a:pt x="284" y="512"/>
                    </a:lnTo>
                    <a:lnTo>
                      <a:pt x="283" y="512"/>
                    </a:lnTo>
                    <a:lnTo>
                      <a:pt x="283" y="510"/>
                    </a:lnTo>
                    <a:lnTo>
                      <a:pt x="283" y="512"/>
                    </a:lnTo>
                    <a:lnTo>
                      <a:pt x="283" y="510"/>
                    </a:lnTo>
                    <a:lnTo>
                      <a:pt x="281" y="510"/>
                    </a:lnTo>
                    <a:lnTo>
                      <a:pt x="281" y="512"/>
                    </a:lnTo>
                    <a:lnTo>
                      <a:pt x="279" y="510"/>
                    </a:lnTo>
                    <a:lnTo>
                      <a:pt x="281" y="510"/>
                    </a:lnTo>
                    <a:lnTo>
                      <a:pt x="279" y="510"/>
                    </a:lnTo>
                    <a:lnTo>
                      <a:pt x="281" y="510"/>
                    </a:lnTo>
                    <a:lnTo>
                      <a:pt x="281" y="508"/>
                    </a:lnTo>
                    <a:lnTo>
                      <a:pt x="279" y="508"/>
                    </a:lnTo>
                    <a:lnTo>
                      <a:pt x="279" y="510"/>
                    </a:lnTo>
                    <a:lnTo>
                      <a:pt x="278" y="508"/>
                    </a:lnTo>
                    <a:lnTo>
                      <a:pt x="278" y="510"/>
                    </a:lnTo>
                    <a:lnTo>
                      <a:pt x="276" y="510"/>
                    </a:lnTo>
                    <a:lnTo>
                      <a:pt x="278" y="508"/>
                    </a:lnTo>
                    <a:lnTo>
                      <a:pt x="276" y="508"/>
                    </a:lnTo>
                    <a:lnTo>
                      <a:pt x="276" y="510"/>
                    </a:lnTo>
                    <a:lnTo>
                      <a:pt x="274" y="510"/>
                    </a:lnTo>
                    <a:lnTo>
                      <a:pt x="274" y="508"/>
                    </a:lnTo>
                    <a:lnTo>
                      <a:pt x="274" y="510"/>
                    </a:lnTo>
                    <a:lnTo>
                      <a:pt x="272" y="508"/>
                    </a:lnTo>
                    <a:lnTo>
                      <a:pt x="272" y="510"/>
                    </a:lnTo>
                    <a:lnTo>
                      <a:pt x="272" y="508"/>
                    </a:lnTo>
                    <a:lnTo>
                      <a:pt x="272" y="510"/>
                    </a:lnTo>
                    <a:lnTo>
                      <a:pt x="271" y="510"/>
                    </a:lnTo>
                    <a:lnTo>
                      <a:pt x="269" y="510"/>
                    </a:lnTo>
                    <a:lnTo>
                      <a:pt x="269" y="512"/>
                    </a:lnTo>
                    <a:lnTo>
                      <a:pt x="269" y="510"/>
                    </a:lnTo>
                    <a:lnTo>
                      <a:pt x="267" y="510"/>
                    </a:lnTo>
                    <a:lnTo>
                      <a:pt x="267" y="512"/>
                    </a:lnTo>
                    <a:lnTo>
                      <a:pt x="267" y="510"/>
                    </a:lnTo>
                    <a:lnTo>
                      <a:pt x="266" y="510"/>
                    </a:lnTo>
                    <a:lnTo>
                      <a:pt x="264" y="510"/>
                    </a:lnTo>
                    <a:lnTo>
                      <a:pt x="264" y="512"/>
                    </a:lnTo>
                    <a:lnTo>
                      <a:pt x="262" y="512"/>
                    </a:lnTo>
                    <a:lnTo>
                      <a:pt x="262" y="510"/>
                    </a:lnTo>
                    <a:lnTo>
                      <a:pt x="262" y="512"/>
                    </a:lnTo>
                    <a:lnTo>
                      <a:pt x="261" y="512"/>
                    </a:lnTo>
                    <a:lnTo>
                      <a:pt x="259" y="512"/>
                    </a:lnTo>
                    <a:lnTo>
                      <a:pt x="259" y="513"/>
                    </a:lnTo>
                    <a:lnTo>
                      <a:pt x="257" y="513"/>
                    </a:lnTo>
                    <a:lnTo>
                      <a:pt x="255" y="513"/>
                    </a:lnTo>
                    <a:lnTo>
                      <a:pt x="257" y="513"/>
                    </a:lnTo>
                    <a:lnTo>
                      <a:pt x="255" y="513"/>
                    </a:lnTo>
                    <a:lnTo>
                      <a:pt x="254" y="513"/>
                    </a:lnTo>
                    <a:lnTo>
                      <a:pt x="252" y="513"/>
                    </a:lnTo>
                    <a:lnTo>
                      <a:pt x="250" y="513"/>
                    </a:lnTo>
                    <a:lnTo>
                      <a:pt x="249" y="513"/>
                    </a:lnTo>
                    <a:lnTo>
                      <a:pt x="249" y="515"/>
                    </a:lnTo>
                    <a:lnTo>
                      <a:pt x="247" y="515"/>
                    </a:lnTo>
                    <a:lnTo>
                      <a:pt x="247" y="517"/>
                    </a:lnTo>
                    <a:lnTo>
                      <a:pt x="245" y="517"/>
                    </a:lnTo>
                    <a:lnTo>
                      <a:pt x="244" y="519"/>
                    </a:lnTo>
                    <a:lnTo>
                      <a:pt x="242" y="519"/>
                    </a:lnTo>
                    <a:lnTo>
                      <a:pt x="242" y="520"/>
                    </a:lnTo>
                    <a:lnTo>
                      <a:pt x="240" y="520"/>
                    </a:lnTo>
                    <a:lnTo>
                      <a:pt x="240" y="522"/>
                    </a:lnTo>
                    <a:lnTo>
                      <a:pt x="238" y="522"/>
                    </a:lnTo>
                    <a:lnTo>
                      <a:pt x="240" y="522"/>
                    </a:lnTo>
                    <a:lnTo>
                      <a:pt x="238" y="522"/>
                    </a:lnTo>
                    <a:lnTo>
                      <a:pt x="238" y="524"/>
                    </a:lnTo>
                    <a:lnTo>
                      <a:pt x="237" y="524"/>
                    </a:lnTo>
                    <a:lnTo>
                      <a:pt x="237" y="525"/>
                    </a:lnTo>
                    <a:lnTo>
                      <a:pt x="235" y="527"/>
                    </a:lnTo>
                    <a:lnTo>
                      <a:pt x="233" y="527"/>
                    </a:lnTo>
                    <a:lnTo>
                      <a:pt x="232" y="527"/>
                    </a:lnTo>
                    <a:lnTo>
                      <a:pt x="232" y="529"/>
                    </a:lnTo>
                    <a:lnTo>
                      <a:pt x="230" y="529"/>
                    </a:lnTo>
                    <a:lnTo>
                      <a:pt x="228" y="529"/>
                    </a:lnTo>
                    <a:lnTo>
                      <a:pt x="227" y="529"/>
                    </a:lnTo>
                    <a:lnTo>
                      <a:pt x="225" y="529"/>
                    </a:lnTo>
                    <a:lnTo>
                      <a:pt x="227" y="529"/>
                    </a:lnTo>
                    <a:lnTo>
                      <a:pt x="227" y="530"/>
                    </a:lnTo>
                    <a:lnTo>
                      <a:pt x="225" y="530"/>
                    </a:lnTo>
                    <a:lnTo>
                      <a:pt x="223" y="530"/>
                    </a:lnTo>
                    <a:lnTo>
                      <a:pt x="221" y="530"/>
                    </a:lnTo>
                    <a:lnTo>
                      <a:pt x="223" y="530"/>
                    </a:lnTo>
                    <a:lnTo>
                      <a:pt x="223" y="532"/>
                    </a:lnTo>
                    <a:lnTo>
                      <a:pt x="221" y="532"/>
                    </a:lnTo>
                    <a:lnTo>
                      <a:pt x="221" y="534"/>
                    </a:lnTo>
                    <a:lnTo>
                      <a:pt x="221" y="532"/>
                    </a:lnTo>
                    <a:lnTo>
                      <a:pt x="220" y="534"/>
                    </a:lnTo>
                    <a:lnTo>
                      <a:pt x="218" y="534"/>
                    </a:lnTo>
                    <a:lnTo>
                      <a:pt x="216" y="536"/>
                    </a:lnTo>
                    <a:lnTo>
                      <a:pt x="216" y="537"/>
                    </a:lnTo>
                    <a:lnTo>
                      <a:pt x="215" y="537"/>
                    </a:lnTo>
                    <a:lnTo>
                      <a:pt x="215" y="539"/>
                    </a:lnTo>
                    <a:lnTo>
                      <a:pt x="213" y="537"/>
                    </a:lnTo>
                    <a:lnTo>
                      <a:pt x="213" y="539"/>
                    </a:lnTo>
                    <a:lnTo>
                      <a:pt x="213" y="541"/>
                    </a:lnTo>
                    <a:lnTo>
                      <a:pt x="213" y="542"/>
                    </a:lnTo>
                    <a:lnTo>
                      <a:pt x="211" y="542"/>
                    </a:lnTo>
                    <a:lnTo>
                      <a:pt x="211" y="541"/>
                    </a:lnTo>
                    <a:lnTo>
                      <a:pt x="210" y="541"/>
                    </a:lnTo>
                    <a:lnTo>
                      <a:pt x="208" y="539"/>
                    </a:lnTo>
                    <a:lnTo>
                      <a:pt x="206" y="539"/>
                    </a:lnTo>
                    <a:lnTo>
                      <a:pt x="204" y="541"/>
                    </a:lnTo>
                    <a:lnTo>
                      <a:pt x="204" y="539"/>
                    </a:lnTo>
                    <a:lnTo>
                      <a:pt x="203" y="541"/>
                    </a:lnTo>
                    <a:lnTo>
                      <a:pt x="203" y="539"/>
                    </a:lnTo>
                    <a:lnTo>
                      <a:pt x="201" y="541"/>
                    </a:lnTo>
                    <a:lnTo>
                      <a:pt x="199" y="541"/>
                    </a:lnTo>
                    <a:lnTo>
                      <a:pt x="199" y="542"/>
                    </a:lnTo>
                    <a:lnTo>
                      <a:pt x="199" y="544"/>
                    </a:lnTo>
                    <a:lnTo>
                      <a:pt x="198" y="544"/>
                    </a:lnTo>
                    <a:lnTo>
                      <a:pt x="198" y="546"/>
                    </a:lnTo>
                    <a:lnTo>
                      <a:pt x="196" y="547"/>
                    </a:lnTo>
                    <a:lnTo>
                      <a:pt x="196" y="549"/>
                    </a:lnTo>
                    <a:lnTo>
                      <a:pt x="194" y="549"/>
                    </a:lnTo>
                    <a:lnTo>
                      <a:pt x="194" y="551"/>
                    </a:lnTo>
                    <a:lnTo>
                      <a:pt x="193" y="551"/>
                    </a:lnTo>
                    <a:lnTo>
                      <a:pt x="193" y="553"/>
                    </a:lnTo>
                    <a:lnTo>
                      <a:pt x="191" y="553"/>
                    </a:lnTo>
                    <a:lnTo>
                      <a:pt x="189" y="553"/>
                    </a:lnTo>
                    <a:lnTo>
                      <a:pt x="189" y="554"/>
                    </a:lnTo>
                    <a:lnTo>
                      <a:pt x="189" y="553"/>
                    </a:lnTo>
                    <a:lnTo>
                      <a:pt x="187" y="553"/>
                    </a:lnTo>
                    <a:lnTo>
                      <a:pt x="187" y="554"/>
                    </a:lnTo>
                    <a:lnTo>
                      <a:pt x="186" y="553"/>
                    </a:lnTo>
                    <a:lnTo>
                      <a:pt x="186" y="554"/>
                    </a:lnTo>
                    <a:lnTo>
                      <a:pt x="184" y="554"/>
                    </a:lnTo>
                    <a:lnTo>
                      <a:pt x="184" y="556"/>
                    </a:lnTo>
                    <a:lnTo>
                      <a:pt x="179" y="558"/>
                    </a:lnTo>
                    <a:lnTo>
                      <a:pt x="179" y="556"/>
                    </a:lnTo>
                    <a:lnTo>
                      <a:pt x="177" y="554"/>
                    </a:lnTo>
                    <a:lnTo>
                      <a:pt x="177" y="553"/>
                    </a:lnTo>
                    <a:lnTo>
                      <a:pt x="177" y="551"/>
                    </a:lnTo>
                    <a:lnTo>
                      <a:pt x="176" y="553"/>
                    </a:lnTo>
                    <a:lnTo>
                      <a:pt x="176" y="551"/>
                    </a:lnTo>
                    <a:lnTo>
                      <a:pt x="176" y="553"/>
                    </a:lnTo>
                    <a:lnTo>
                      <a:pt x="174" y="551"/>
                    </a:lnTo>
                    <a:lnTo>
                      <a:pt x="174" y="553"/>
                    </a:lnTo>
                    <a:lnTo>
                      <a:pt x="172" y="553"/>
                    </a:lnTo>
                    <a:lnTo>
                      <a:pt x="174" y="553"/>
                    </a:lnTo>
                    <a:lnTo>
                      <a:pt x="172" y="553"/>
                    </a:lnTo>
                    <a:lnTo>
                      <a:pt x="170" y="553"/>
                    </a:lnTo>
                    <a:lnTo>
                      <a:pt x="170" y="551"/>
                    </a:lnTo>
                    <a:lnTo>
                      <a:pt x="169" y="551"/>
                    </a:lnTo>
                    <a:lnTo>
                      <a:pt x="169" y="553"/>
                    </a:lnTo>
                    <a:lnTo>
                      <a:pt x="169" y="551"/>
                    </a:lnTo>
                    <a:lnTo>
                      <a:pt x="167" y="551"/>
                    </a:lnTo>
                    <a:lnTo>
                      <a:pt x="165" y="551"/>
                    </a:lnTo>
                    <a:lnTo>
                      <a:pt x="164" y="551"/>
                    </a:lnTo>
                    <a:lnTo>
                      <a:pt x="162" y="549"/>
                    </a:lnTo>
                    <a:lnTo>
                      <a:pt x="162" y="551"/>
                    </a:lnTo>
                    <a:lnTo>
                      <a:pt x="162" y="549"/>
                    </a:lnTo>
                    <a:lnTo>
                      <a:pt x="160" y="549"/>
                    </a:lnTo>
                    <a:lnTo>
                      <a:pt x="160" y="551"/>
                    </a:lnTo>
                    <a:lnTo>
                      <a:pt x="160" y="549"/>
                    </a:lnTo>
                    <a:lnTo>
                      <a:pt x="159" y="549"/>
                    </a:lnTo>
                    <a:lnTo>
                      <a:pt x="157" y="551"/>
                    </a:lnTo>
                    <a:lnTo>
                      <a:pt x="157" y="549"/>
                    </a:lnTo>
                    <a:lnTo>
                      <a:pt x="157" y="551"/>
                    </a:lnTo>
                    <a:lnTo>
                      <a:pt x="155" y="549"/>
                    </a:lnTo>
                    <a:lnTo>
                      <a:pt x="153" y="549"/>
                    </a:lnTo>
                    <a:lnTo>
                      <a:pt x="153" y="551"/>
                    </a:lnTo>
                    <a:lnTo>
                      <a:pt x="152" y="549"/>
                    </a:lnTo>
                    <a:lnTo>
                      <a:pt x="150" y="549"/>
                    </a:lnTo>
                    <a:lnTo>
                      <a:pt x="150" y="551"/>
                    </a:lnTo>
                    <a:lnTo>
                      <a:pt x="150" y="549"/>
                    </a:lnTo>
                    <a:close/>
                    <a:moveTo>
                      <a:pt x="1401" y="308"/>
                    </a:moveTo>
                    <a:lnTo>
                      <a:pt x="1405" y="308"/>
                    </a:lnTo>
                    <a:lnTo>
                      <a:pt x="1405" y="309"/>
                    </a:lnTo>
                    <a:lnTo>
                      <a:pt x="1401" y="309"/>
                    </a:lnTo>
                    <a:lnTo>
                      <a:pt x="1401" y="308"/>
                    </a:lnTo>
                    <a:close/>
                    <a:moveTo>
                      <a:pt x="847" y="234"/>
                    </a:moveTo>
                    <a:lnTo>
                      <a:pt x="849" y="234"/>
                    </a:lnTo>
                    <a:lnTo>
                      <a:pt x="849" y="236"/>
                    </a:lnTo>
                    <a:lnTo>
                      <a:pt x="847" y="236"/>
                    </a:lnTo>
                    <a:lnTo>
                      <a:pt x="847" y="234"/>
                    </a:lnTo>
                    <a:close/>
                    <a:moveTo>
                      <a:pt x="847" y="231"/>
                    </a:moveTo>
                    <a:lnTo>
                      <a:pt x="849" y="231"/>
                    </a:lnTo>
                    <a:lnTo>
                      <a:pt x="847" y="231"/>
                    </a:lnTo>
                    <a:close/>
                    <a:moveTo>
                      <a:pt x="859" y="223"/>
                    </a:moveTo>
                    <a:lnTo>
                      <a:pt x="861" y="223"/>
                    </a:lnTo>
                    <a:lnTo>
                      <a:pt x="861" y="224"/>
                    </a:lnTo>
                    <a:lnTo>
                      <a:pt x="859" y="224"/>
                    </a:lnTo>
                    <a:lnTo>
                      <a:pt x="859" y="223"/>
                    </a:lnTo>
                    <a:close/>
                    <a:moveTo>
                      <a:pt x="859" y="221"/>
                    </a:moveTo>
                    <a:lnTo>
                      <a:pt x="861" y="221"/>
                    </a:lnTo>
                    <a:lnTo>
                      <a:pt x="861" y="223"/>
                    </a:lnTo>
                    <a:lnTo>
                      <a:pt x="859" y="223"/>
                    </a:lnTo>
                    <a:lnTo>
                      <a:pt x="859" y="221"/>
                    </a:lnTo>
                    <a:close/>
                    <a:moveTo>
                      <a:pt x="859" y="221"/>
                    </a:moveTo>
                    <a:lnTo>
                      <a:pt x="861" y="221"/>
                    </a:lnTo>
                    <a:lnTo>
                      <a:pt x="861" y="223"/>
                    </a:lnTo>
                    <a:lnTo>
                      <a:pt x="859" y="223"/>
                    </a:lnTo>
                    <a:lnTo>
                      <a:pt x="859" y="221"/>
                    </a:lnTo>
                    <a:close/>
                    <a:moveTo>
                      <a:pt x="861" y="219"/>
                    </a:moveTo>
                    <a:lnTo>
                      <a:pt x="861" y="221"/>
                    </a:lnTo>
                    <a:lnTo>
                      <a:pt x="861" y="219"/>
                    </a:lnTo>
                    <a:close/>
                    <a:moveTo>
                      <a:pt x="859" y="219"/>
                    </a:moveTo>
                    <a:lnTo>
                      <a:pt x="861" y="219"/>
                    </a:lnTo>
                    <a:lnTo>
                      <a:pt x="861" y="221"/>
                    </a:lnTo>
                    <a:lnTo>
                      <a:pt x="859" y="221"/>
                    </a:lnTo>
                    <a:lnTo>
                      <a:pt x="859" y="219"/>
                    </a:lnTo>
                    <a:close/>
                    <a:moveTo>
                      <a:pt x="930" y="209"/>
                    </a:moveTo>
                    <a:lnTo>
                      <a:pt x="932" y="209"/>
                    </a:lnTo>
                    <a:lnTo>
                      <a:pt x="932" y="211"/>
                    </a:lnTo>
                    <a:lnTo>
                      <a:pt x="930" y="211"/>
                    </a:lnTo>
                    <a:lnTo>
                      <a:pt x="930" y="209"/>
                    </a:lnTo>
                    <a:close/>
                    <a:moveTo>
                      <a:pt x="934" y="209"/>
                    </a:moveTo>
                    <a:lnTo>
                      <a:pt x="935" y="209"/>
                    </a:lnTo>
                    <a:lnTo>
                      <a:pt x="935" y="212"/>
                    </a:lnTo>
                    <a:lnTo>
                      <a:pt x="934" y="212"/>
                    </a:lnTo>
                    <a:lnTo>
                      <a:pt x="934" y="209"/>
                    </a:lnTo>
                    <a:close/>
                    <a:moveTo>
                      <a:pt x="920" y="204"/>
                    </a:moveTo>
                    <a:lnTo>
                      <a:pt x="922" y="204"/>
                    </a:lnTo>
                    <a:lnTo>
                      <a:pt x="920" y="204"/>
                    </a:lnTo>
                    <a:close/>
                    <a:moveTo>
                      <a:pt x="896" y="202"/>
                    </a:moveTo>
                    <a:lnTo>
                      <a:pt x="896" y="204"/>
                    </a:lnTo>
                    <a:lnTo>
                      <a:pt x="896" y="202"/>
                    </a:lnTo>
                    <a:close/>
                    <a:moveTo>
                      <a:pt x="878" y="200"/>
                    </a:moveTo>
                    <a:lnTo>
                      <a:pt x="878" y="202"/>
                    </a:lnTo>
                    <a:lnTo>
                      <a:pt x="878" y="200"/>
                    </a:lnTo>
                    <a:close/>
                    <a:moveTo>
                      <a:pt x="878" y="200"/>
                    </a:moveTo>
                    <a:lnTo>
                      <a:pt x="879" y="200"/>
                    </a:lnTo>
                    <a:lnTo>
                      <a:pt x="878" y="200"/>
                    </a:lnTo>
                    <a:close/>
                    <a:moveTo>
                      <a:pt x="883" y="199"/>
                    </a:moveTo>
                    <a:lnTo>
                      <a:pt x="884" y="199"/>
                    </a:lnTo>
                    <a:lnTo>
                      <a:pt x="884" y="200"/>
                    </a:lnTo>
                    <a:lnTo>
                      <a:pt x="883" y="200"/>
                    </a:lnTo>
                    <a:lnTo>
                      <a:pt x="883" y="199"/>
                    </a:lnTo>
                    <a:close/>
                    <a:moveTo>
                      <a:pt x="884" y="197"/>
                    </a:moveTo>
                    <a:lnTo>
                      <a:pt x="884" y="199"/>
                    </a:lnTo>
                    <a:lnTo>
                      <a:pt x="884" y="197"/>
                    </a:lnTo>
                    <a:close/>
                    <a:moveTo>
                      <a:pt x="784" y="190"/>
                    </a:moveTo>
                    <a:lnTo>
                      <a:pt x="782" y="190"/>
                    </a:lnTo>
                    <a:lnTo>
                      <a:pt x="781" y="190"/>
                    </a:lnTo>
                    <a:lnTo>
                      <a:pt x="779" y="190"/>
                    </a:lnTo>
                    <a:lnTo>
                      <a:pt x="779" y="189"/>
                    </a:lnTo>
                    <a:lnTo>
                      <a:pt x="781" y="189"/>
                    </a:lnTo>
                    <a:lnTo>
                      <a:pt x="782" y="187"/>
                    </a:lnTo>
                    <a:lnTo>
                      <a:pt x="784" y="187"/>
                    </a:lnTo>
                    <a:lnTo>
                      <a:pt x="784" y="185"/>
                    </a:lnTo>
                    <a:lnTo>
                      <a:pt x="784" y="187"/>
                    </a:lnTo>
                    <a:lnTo>
                      <a:pt x="784" y="189"/>
                    </a:lnTo>
                    <a:lnTo>
                      <a:pt x="784" y="190"/>
                    </a:lnTo>
                    <a:close/>
                    <a:moveTo>
                      <a:pt x="844" y="183"/>
                    </a:moveTo>
                    <a:lnTo>
                      <a:pt x="845" y="183"/>
                    </a:lnTo>
                    <a:lnTo>
                      <a:pt x="844" y="183"/>
                    </a:lnTo>
                    <a:close/>
                    <a:moveTo>
                      <a:pt x="793" y="183"/>
                    </a:moveTo>
                    <a:lnTo>
                      <a:pt x="794" y="183"/>
                    </a:lnTo>
                    <a:lnTo>
                      <a:pt x="793" y="183"/>
                    </a:lnTo>
                    <a:close/>
                    <a:moveTo>
                      <a:pt x="845" y="183"/>
                    </a:moveTo>
                    <a:lnTo>
                      <a:pt x="849" y="183"/>
                    </a:lnTo>
                    <a:lnTo>
                      <a:pt x="849" y="185"/>
                    </a:lnTo>
                    <a:lnTo>
                      <a:pt x="845" y="185"/>
                    </a:lnTo>
                    <a:lnTo>
                      <a:pt x="845" y="183"/>
                    </a:lnTo>
                    <a:close/>
                    <a:moveTo>
                      <a:pt x="839" y="182"/>
                    </a:moveTo>
                    <a:lnTo>
                      <a:pt x="840" y="182"/>
                    </a:lnTo>
                    <a:lnTo>
                      <a:pt x="840" y="183"/>
                    </a:lnTo>
                    <a:lnTo>
                      <a:pt x="839" y="183"/>
                    </a:lnTo>
                    <a:lnTo>
                      <a:pt x="839" y="182"/>
                    </a:lnTo>
                    <a:close/>
                    <a:moveTo>
                      <a:pt x="796" y="178"/>
                    </a:moveTo>
                    <a:lnTo>
                      <a:pt x="798" y="178"/>
                    </a:lnTo>
                    <a:lnTo>
                      <a:pt x="798" y="180"/>
                    </a:lnTo>
                    <a:lnTo>
                      <a:pt x="796" y="180"/>
                    </a:lnTo>
                    <a:lnTo>
                      <a:pt x="796" y="178"/>
                    </a:lnTo>
                    <a:close/>
                    <a:moveTo>
                      <a:pt x="789" y="178"/>
                    </a:moveTo>
                    <a:lnTo>
                      <a:pt x="791" y="178"/>
                    </a:lnTo>
                    <a:lnTo>
                      <a:pt x="791" y="180"/>
                    </a:lnTo>
                    <a:lnTo>
                      <a:pt x="789" y="180"/>
                    </a:lnTo>
                    <a:lnTo>
                      <a:pt x="789" y="178"/>
                    </a:lnTo>
                    <a:close/>
                    <a:moveTo>
                      <a:pt x="788" y="178"/>
                    </a:moveTo>
                    <a:lnTo>
                      <a:pt x="789" y="178"/>
                    </a:lnTo>
                    <a:lnTo>
                      <a:pt x="789" y="180"/>
                    </a:lnTo>
                    <a:lnTo>
                      <a:pt x="788" y="180"/>
                    </a:lnTo>
                    <a:lnTo>
                      <a:pt x="788" y="178"/>
                    </a:lnTo>
                    <a:close/>
                    <a:moveTo>
                      <a:pt x="789" y="178"/>
                    </a:moveTo>
                    <a:lnTo>
                      <a:pt x="791" y="178"/>
                    </a:lnTo>
                    <a:lnTo>
                      <a:pt x="789" y="178"/>
                    </a:lnTo>
                    <a:close/>
                    <a:moveTo>
                      <a:pt x="786" y="177"/>
                    </a:moveTo>
                    <a:lnTo>
                      <a:pt x="788" y="177"/>
                    </a:lnTo>
                    <a:lnTo>
                      <a:pt x="788" y="178"/>
                    </a:lnTo>
                    <a:lnTo>
                      <a:pt x="786" y="178"/>
                    </a:lnTo>
                    <a:lnTo>
                      <a:pt x="786" y="177"/>
                    </a:lnTo>
                    <a:close/>
                    <a:moveTo>
                      <a:pt x="779" y="177"/>
                    </a:moveTo>
                    <a:lnTo>
                      <a:pt x="781" y="177"/>
                    </a:lnTo>
                    <a:lnTo>
                      <a:pt x="779" y="177"/>
                    </a:lnTo>
                    <a:close/>
                    <a:moveTo>
                      <a:pt x="784" y="177"/>
                    </a:moveTo>
                    <a:lnTo>
                      <a:pt x="786" y="177"/>
                    </a:lnTo>
                    <a:lnTo>
                      <a:pt x="786" y="178"/>
                    </a:lnTo>
                    <a:lnTo>
                      <a:pt x="784" y="178"/>
                    </a:lnTo>
                    <a:lnTo>
                      <a:pt x="782" y="178"/>
                    </a:lnTo>
                    <a:lnTo>
                      <a:pt x="781" y="178"/>
                    </a:lnTo>
                    <a:lnTo>
                      <a:pt x="779" y="178"/>
                    </a:lnTo>
                    <a:lnTo>
                      <a:pt x="779" y="180"/>
                    </a:lnTo>
                    <a:lnTo>
                      <a:pt x="779" y="178"/>
                    </a:lnTo>
                    <a:lnTo>
                      <a:pt x="777" y="180"/>
                    </a:lnTo>
                    <a:lnTo>
                      <a:pt x="777" y="178"/>
                    </a:lnTo>
                    <a:lnTo>
                      <a:pt x="779" y="178"/>
                    </a:lnTo>
                    <a:lnTo>
                      <a:pt x="781" y="178"/>
                    </a:lnTo>
                    <a:lnTo>
                      <a:pt x="781" y="177"/>
                    </a:lnTo>
                    <a:lnTo>
                      <a:pt x="782" y="177"/>
                    </a:lnTo>
                    <a:lnTo>
                      <a:pt x="784" y="177"/>
                    </a:lnTo>
                    <a:close/>
                    <a:moveTo>
                      <a:pt x="825" y="175"/>
                    </a:moveTo>
                    <a:lnTo>
                      <a:pt x="827" y="175"/>
                    </a:lnTo>
                    <a:lnTo>
                      <a:pt x="828" y="175"/>
                    </a:lnTo>
                    <a:lnTo>
                      <a:pt x="830" y="175"/>
                    </a:lnTo>
                    <a:lnTo>
                      <a:pt x="830" y="177"/>
                    </a:lnTo>
                    <a:lnTo>
                      <a:pt x="832" y="177"/>
                    </a:lnTo>
                    <a:lnTo>
                      <a:pt x="830" y="177"/>
                    </a:lnTo>
                    <a:lnTo>
                      <a:pt x="832" y="177"/>
                    </a:lnTo>
                    <a:lnTo>
                      <a:pt x="832" y="178"/>
                    </a:lnTo>
                    <a:lnTo>
                      <a:pt x="832" y="180"/>
                    </a:lnTo>
                    <a:lnTo>
                      <a:pt x="830" y="180"/>
                    </a:lnTo>
                    <a:lnTo>
                      <a:pt x="828" y="182"/>
                    </a:lnTo>
                    <a:lnTo>
                      <a:pt x="827" y="182"/>
                    </a:lnTo>
                    <a:lnTo>
                      <a:pt x="825" y="182"/>
                    </a:lnTo>
                    <a:lnTo>
                      <a:pt x="823" y="182"/>
                    </a:lnTo>
                    <a:lnTo>
                      <a:pt x="822" y="182"/>
                    </a:lnTo>
                    <a:lnTo>
                      <a:pt x="822" y="183"/>
                    </a:lnTo>
                    <a:lnTo>
                      <a:pt x="820" y="182"/>
                    </a:lnTo>
                    <a:lnTo>
                      <a:pt x="818" y="182"/>
                    </a:lnTo>
                    <a:lnTo>
                      <a:pt x="816" y="182"/>
                    </a:lnTo>
                    <a:lnTo>
                      <a:pt x="816" y="180"/>
                    </a:lnTo>
                    <a:lnTo>
                      <a:pt x="816" y="178"/>
                    </a:lnTo>
                    <a:lnTo>
                      <a:pt x="818" y="178"/>
                    </a:lnTo>
                    <a:lnTo>
                      <a:pt x="820" y="178"/>
                    </a:lnTo>
                    <a:lnTo>
                      <a:pt x="820" y="177"/>
                    </a:lnTo>
                    <a:lnTo>
                      <a:pt x="822" y="177"/>
                    </a:lnTo>
                    <a:lnTo>
                      <a:pt x="823" y="175"/>
                    </a:lnTo>
                    <a:lnTo>
                      <a:pt x="825" y="175"/>
                    </a:lnTo>
                    <a:close/>
                    <a:moveTo>
                      <a:pt x="827" y="173"/>
                    </a:moveTo>
                    <a:lnTo>
                      <a:pt x="828" y="173"/>
                    </a:lnTo>
                    <a:lnTo>
                      <a:pt x="828" y="175"/>
                    </a:lnTo>
                    <a:lnTo>
                      <a:pt x="827" y="175"/>
                    </a:lnTo>
                    <a:lnTo>
                      <a:pt x="827" y="173"/>
                    </a:lnTo>
                    <a:close/>
                    <a:moveTo>
                      <a:pt x="818" y="173"/>
                    </a:moveTo>
                    <a:lnTo>
                      <a:pt x="820" y="173"/>
                    </a:lnTo>
                    <a:lnTo>
                      <a:pt x="820" y="175"/>
                    </a:lnTo>
                    <a:lnTo>
                      <a:pt x="818" y="175"/>
                    </a:lnTo>
                    <a:lnTo>
                      <a:pt x="818" y="173"/>
                    </a:lnTo>
                    <a:close/>
                    <a:moveTo>
                      <a:pt x="791" y="172"/>
                    </a:moveTo>
                    <a:lnTo>
                      <a:pt x="793" y="172"/>
                    </a:lnTo>
                    <a:lnTo>
                      <a:pt x="794" y="173"/>
                    </a:lnTo>
                    <a:lnTo>
                      <a:pt x="796" y="173"/>
                    </a:lnTo>
                    <a:lnTo>
                      <a:pt x="794" y="175"/>
                    </a:lnTo>
                    <a:lnTo>
                      <a:pt x="796" y="175"/>
                    </a:lnTo>
                    <a:lnTo>
                      <a:pt x="796" y="177"/>
                    </a:lnTo>
                    <a:lnTo>
                      <a:pt x="796" y="178"/>
                    </a:lnTo>
                    <a:lnTo>
                      <a:pt x="794" y="178"/>
                    </a:lnTo>
                    <a:lnTo>
                      <a:pt x="793" y="178"/>
                    </a:lnTo>
                    <a:lnTo>
                      <a:pt x="791" y="177"/>
                    </a:lnTo>
                    <a:lnTo>
                      <a:pt x="789" y="177"/>
                    </a:lnTo>
                    <a:lnTo>
                      <a:pt x="789" y="175"/>
                    </a:lnTo>
                    <a:lnTo>
                      <a:pt x="788" y="175"/>
                    </a:lnTo>
                    <a:lnTo>
                      <a:pt x="788" y="173"/>
                    </a:lnTo>
                    <a:lnTo>
                      <a:pt x="788" y="172"/>
                    </a:lnTo>
                    <a:lnTo>
                      <a:pt x="789" y="172"/>
                    </a:lnTo>
                    <a:lnTo>
                      <a:pt x="791" y="172"/>
                    </a:lnTo>
                    <a:close/>
                    <a:moveTo>
                      <a:pt x="788" y="172"/>
                    </a:moveTo>
                    <a:lnTo>
                      <a:pt x="789" y="172"/>
                    </a:lnTo>
                    <a:lnTo>
                      <a:pt x="788" y="172"/>
                    </a:lnTo>
                    <a:close/>
                    <a:moveTo>
                      <a:pt x="822" y="172"/>
                    </a:moveTo>
                    <a:lnTo>
                      <a:pt x="823" y="172"/>
                    </a:lnTo>
                    <a:lnTo>
                      <a:pt x="823" y="173"/>
                    </a:lnTo>
                    <a:lnTo>
                      <a:pt x="822" y="173"/>
                    </a:lnTo>
                    <a:lnTo>
                      <a:pt x="822" y="172"/>
                    </a:lnTo>
                    <a:close/>
                    <a:moveTo>
                      <a:pt x="789" y="172"/>
                    </a:moveTo>
                    <a:lnTo>
                      <a:pt x="791" y="172"/>
                    </a:lnTo>
                    <a:lnTo>
                      <a:pt x="789" y="172"/>
                    </a:lnTo>
                    <a:close/>
                    <a:moveTo>
                      <a:pt x="823" y="170"/>
                    </a:moveTo>
                    <a:lnTo>
                      <a:pt x="825" y="170"/>
                    </a:lnTo>
                    <a:lnTo>
                      <a:pt x="825" y="172"/>
                    </a:lnTo>
                    <a:lnTo>
                      <a:pt x="823" y="172"/>
                    </a:lnTo>
                    <a:lnTo>
                      <a:pt x="823" y="170"/>
                    </a:lnTo>
                    <a:close/>
                    <a:moveTo>
                      <a:pt x="806" y="168"/>
                    </a:moveTo>
                    <a:lnTo>
                      <a:pt x="806" y="170"/>
                    </a:lnTo>
                    <a:lnTo>
                      <a:pt x="805" y="170"/>
                    </a:lnTo>
                    <a:lnTo>
                      <a:pt x="803" y="170"/>
                    </a:lnTo>
                    <a:lnTo>
                      <a:pt x="803" y="168"/>
                    </a:lnTo>
                    <a:lnTo>
                      <a:pt x="805" y="168"/>
                    </a:lnTo>
                    <a:lnTo>
                      <a:pt x="805" y="166"/>
                    </a:lnTo>
                    <a:lnTo>
                      <a:pt x="806" y="166"/>
                    </a:lnTo>
                    <a:lnTo>
                      <a:pt x="808" y="166"/>
                    </a:lnTo>
                    <a:lnTo>
                      <a:pt x="808" y="168"/>
                    </a:lnTo>
                    <a:lnTo>
                      <a:pt x="806" y="168"/>
                    </a:lnTo>
                    <a:close/>
                    <a:moveTo>
                      <a:pt x="825" y="165"/>
                    </a:moveTo>
                    <a:lnTo>
                      <a:pt x="825" y="166"/>
                    </a:lnTo>
                    <a:lnTo>
                      <a:pt x="827" y="166"/>
                    </a:lnTo>
                    <a:lnTo>
                      <a:pt x="825" y="166"/>
                    </a:lnTo>
                    <a:lnTo>
                      <a:pt x="825" y="168"/>
                    </a:lnTo>
                    <a:lnTo>
                      <a:pt x="823" y="168"/>
                    </a:lnTo>
                    <a:lnTo>
                      <a:pt x="823" y="170"/>
                    </a:lnTo>
                    <a:lnTo>
                      <a:pt x="822" y="170"/>
                    </a:lnTo>
                    <a:lnTo>
                      <a:pt x="822" y="172"/>
                    </a:lnTo>
                    <a:lnTo>
                      <a:pt x="820" y="172"/>
                    </a:lnTo>
                    <a:lnTo>
                      <a:pt x="820" y="173"/>
                    </a:lnTo>
                    <a:lnTo>
                      <a:pt x="818" y="173"/>
                    </a:lnTo>
                    <a:lnTo>
                      <a:pt x="818" y="175"/>
                    </a:lnTo>
                    <a:lnTo>
                      <a:pt x="816" y="175"/>
                    </a:lnTo>
                    <a:lnTo>
                      <a:pt x="816" y="177"/>
                    </a:lnTo>
                    <a:lnTo>
                      <a:pt x="815" y="177"/>
                    </a:lnTo>
                    <a:lnTo>
                      <a:pt x="815" y="178"/>
                    </a:lnTo>
                    <a:lnTo>
                      <a:pt x="813" y="178"/>
                    </a:lnTo>
                    <a:lnTo>
                      <a:pt x="811" y="178"/>
                    </a:lnTo>
                    <a:lnTo>
                      <a:pt x="811" y="180"/>
                    </a:lnTo>
                    <a:lnTo>
                      <a:pt x="810" y="180"/>
                    </a:lnTo>
                    <a:lnTo>
                      <a:pt x="810" y="178"/>
                    </a:lnTo>
                    <a:lnTo>
                      <a:pt x="808" y="177"/>
                    </a:lnTo>
                    <a:lnTo>
                      <a:pt x="806" y="177"/>
                    </a:lnTo>
                    <a:lnTo>
                      <a:pt x="805" y="177"/>
                    </a:lnTo>
                    <a:lnTo>
                      <a:pt x="803" y="177"/>
                    </a:lnTo>
                    <a:lnTo>
                      <a:pt x="801" y="177"/>
                    </a:lnTo>
                    <a:lnTo>
                      <a:pt x="799" y="177"/>
                    </a:lnTo>
                    <a:lnTo>
                      <a:pt x="798" y="177"/>
                    </a:lnTo>
                    <a:lnTo>
                      <a:pt x="798" y="175"/>
                    </a:lnTo>
                    <a:lnTo>
                      <a:pt x="798" y="173"/>
                    </a:lnTo>
                    <a:lnTo>
                      <a:pt x="796" y="173"/>
                    </a:lnTo>
                    <a:lnTo>
                      <a:pt x="796" y="172"/>
                    </a:lnTo>
                    <a:lnTo>
                      <a:pt x="798" y="172"/>
                    </a:lnTo>
                    <a:lnTo>
                      <a:pt x="799" y="172"/>
                    </a:lnTo>
                    <a:lnTo>
                      <a:pt x="799" y="170"/>
                    </a:lnTo>
                    <a:lnTo>
                      <a:pt x="801" y="170"/>
                    </a:lnTo>
                    <a:lnTo>
                      <a:pt x="803" y="170"/>
                    </a:lnTo>
                    <a:lnTo>
                      <a:pt x="805" y="170"/>
                    </a:lnTo>
                    <a:lnTo>
                      <a:pt x="806" y="170"/>
                    </a:lnTo>
                    <a:lnTo>
                      <a:pt x="808" y="170"/>
                    </a:lnTo>
                    <a:lnTo>
                      <a:pt x="808" y="168"/>
                    </a:lnTo>
                    <a:lnTo>
                      <a:pt x="808" y="166"/>
                    </a:lnTo>
                    <a:lnTo>
                      <a:pt x="810" y="166"/>
                    </a:lnTo>
                    <a:lnTo>
                      <a:pt x="810" y="168"/>
                    </a:lnTo>
                    <a:lnTo>
                      <a:pt x="810" y="166"/>
                    </a:lnTo>
                    <a:lnTo>
                      <a:pt x="810" y="168"/>
                    </a:lnTo>
                    <a:lnTo>
                      <a:pt x="810" y="166"/>
                    </a:lnTo>
                    <a:lnTo>
                      <a:pt x="811" y="166"/>
                    </a:lnTo>
                    <a:lnTo>
                      <a:pt x="811" y="168"/>
                    </a:lnTo>
                    <a:lnTo>
                      <a:pt x="813" y="168"/>
                    </a:lnTo>
                    <a:lnTo>
                      <a:pt x="815" y="168"/>
                    </a:lnTo>
                    <a:lnTo>
                      <a:pt x="816" y="168"/>
                    </a:lnTo>
                    <a:lnTo>
                      <a:pt x="816" y="166"/>
                    </a:lnTo>
                    <a:lnTo>
                      <a:pt x="818" y="166"/>
                    </a:lnTo>
                    <a:lnTo>
                      <a:pt x="820" y="166"/>
                    </a:lnTo>
                    <a:lnTo>
                      <a:pt x="820" y="165"/>
                    </a:lnTo>
                    <a:lnTo>
                      <a:pt x="822" y="165"/>
                    </a:lnTo>
                    <a:lnTo>
                      <a:pt x="822" y="166"/>
                    </a:lnTo>
                    <a:lnTo>
                      <a:pt x="822" y="165"/>
                    </a:lnTo>
                    <a:lnTo>
                      <a:pt x="823" y="165"/>
                    </a:lnTo>
                    <a:lnTo>
                      <a:pt x="825" y="165"/>
                    </a:lnTo>
                    <a:close/>
                    <a:moveTo>
                      <a:pt x="803" y="156"/>
                    </a:moveTo>
                    <a:lnTo>
                      <a:pt x="805" y="156"/>
                    </a:lnTo>
                    <a:lnTo>
                      <a:pt x="803" y="156"/>
                    </a:lnTo>
                    <a:close/>
                    <a:moveTo>
                      <a:pt x="808" y="156"/>
                    </a:moveTo>
                    <a:lnTo>
                      <a:pt x="808" y="158"/>
                    </a:lnTo>
                    <a:lnTo>
                      <a:pt x="810" y="158"/>
                    </a:lnTo>
                    <a:lnTo>
                      <a:pt x="810" y="160"/>
                    </a:lnTo>
                    <a:lnTo>
                      <a:pt x="808" y="160"/>
                    </a:lnTo>
                    <a:lnTo>
                      <a:pt x="808" y="161"/>
                    </a:lnTo>
                    <a:lnTo>
                      <a:pt x="806" y="161"/>
                    </a:lnTo>
                    <a:lnTo>
                      <a:pt x="806" y="163"/>
                    </a:lnTo>
                    <a:lnTo>
                      <a:pt x="805" y="163"/>
                    </a:lnTo>
                    <a:lnTo>
                      <a:pt x="805" y="165"/>
                    </a:lnTo>
                    <a:lnTo>
                      <a:pt x="803" y="165"/>
                    </a:lnTo>
                    <a:lnTo>
                      <a:pt x="803" y="166"/>
                    </a:lnTo>
                    <a:lnTo>
                      <a:pt x="801" y="166"/>
                    </a:lnTo>
                    <a:lnTo>
                      <a:pt x="799" y="166"/>
                    </a:lnTo>
                    <a:lnTo>
                      <a:pt x="799" y="165"/>
                    </a:lnTo>
                    <a:lnTo>
                      <a:pt x="799" y="163"/>
                    </a:lnTo>
                    <a:lnTo>
                      <a:pt x="799" y="161"/>
                    </a:lnTo>
                    <a:lnTo>
                      <a:pt x="799" y="160"/>
                    </a:lnTo>
                    <a:lnTo>
                      <a:pt x="799" y="158"/>
                    </a:lnTo>
                    <a:lnTo>
                      <a:pt x="801" y="158"/>
                    </a:lnTo>
                    <a:lnTo>
                      <a:pt x="803" y="158"/>
                    </a:lnTo>
                    <a:lnTo>
                      <a:pt x="805" y="158"/>
                    </a:lnTo>
                    <a:lnTo>
                      <a:pt x="806" y="158"/>
                    </a:lnTo>
                    <a:lnTo>
                      <a:pt x="806" y="156"/>
                    </a:lnTo>
                    <a:lnTo>
                      <a:pt x="808" y="156"/>
                    </a:lnTo>
                    <a:close/>
                    <a:moveTo>
                      <a:pt x="799" y="156"/>
                    </a:moveTo>
                    <a:lnTo>
                      <a:pt x="801" y="158"/>
                    </a:lnTo>
                    <a:lnTo>
                      <a:pt x="799" y="158"/>
                    </a:lnTo>
                    <a:lnTo>
                      <a:pt x="799" y="160"/>
                    </a:lnTo>
                    <a:lnTo>
                      <a:pt x="799" y="161"/>
                    </a:lnTo>
                    <a:lnTo>
                      <a:pt x="799" y="163"/>
                    </a:lnTo>
                    <a:lnTo>
                      <a:pt x="799" y="165"/>
                    </a:lnTo>
                    <a:lnTo>
                      <a:pt x="799" y="166"/>
                    </a:lnTo>
                    <a:lnTo>
                      <a:pt x="799" y="168"/>
                    </a:lnTo>
                    <a:lnTo>
                      <a:pt x="799" y="170"/>
                    </a:lnTo>
                    <a:lnTo>
                      <a:pt x="798" y="170"/>
                    </a:lnTo>
                    <a:lnTo>
                      <a:pt x="796" y="170"/>
                    </a:lnTo>
                    <a:lnTo>
                      <a:pt x="796" y="172"/>
                    </a:lnTo>
                    <a:lnTo>
                      <a:pt x="796" y="173"/>
                    </a:lnTo>
                    <a:lnTo>
                      <a:pt x="794" y="172"/>
                    </a:lnTo>
                    <a:lnTo>
                      <a:pt x="793" y="172"/>
                    </a:lnTo>
                    <a:lnTo>
                      <a:pt x="793" y="170"/>
                    </a:lnTo>
                    <a:lnTo>
                      <a:pt x="791" y="170"/>
                    </a:lnTo>
                    <a:lnTo>
                      <a:pt x="793" y="168"/>
                    </a:lnTo>
                    <a:lnTo>
                      <a:pt x="794" y="168"/>
                    </a:lnTo>
                    <a:lnTo>
                      <a:pt x="796" y="165"/>
                    </a:lnTo>
                    <a:lnTo>
                      <a:pt x="796" y="163"/>
                    </a:lnTo>
                    <a:lnTo>
                      <a:pt x="796" y="161"/>
                    </a:lnTo>
                    <a:lnTo>
                      <a:pt x="796" y="160"/>
                    </a:lnTo>
                    <a:lnTo>
                      <a:pt x="796" y="158"/>
                    </a:lnTo>
                    <a:lnTo>
                      <a:pt x="798" y="158"/>
                    </a:lnTo>
                    <a:lnTo>
                      <a:pt x="798" y="156"/>
                    </a:lnTo>
                    <a:lnTo>
                      <a:pt x="799" y="156"/>
                    </a:lnTo>
                    <a:close/>
                    <a:moveTo>
                      <a:pt x="801" y="156"/>
                    </a:moveTo>
                    <a:lnTo>
                      <a:pt x="801" y="158"/>
                    </a:lnTo>
                    <a:lnTo>
                      <a:pt x="801" y="156"/>
                    </a:lnTo>
                    <a:close/>
                    <a:moveTo>
                      <a:pt x="789" y="166"/>
                    </a:moveTo>
                    <a:lnTo>
                      <a:pt x="791" y="166"/>
                    </a:lnTo>
                    <a:lnTo>
                      <a:pt x="791" y="168"/>
                    </a:lnTo>
                    <a:lnTo>
                      <a:pt x="789" y="168"/>
                    </a:lnTo>
                    <a:lnTo>
                      <a:pt x="789" y="166"/>
                    </a:lnTo>
                    <a:close/>
                    <a:moveTo>
                      <a:pt x="801" y="148"/>
                    </a:moveTo>
                    <a:lnTo>
                      <a:pt x="801" y="149"/>
                    </a:lnTo>
                    <a:lnTo>
                      <a:pt x="801" y="148"/>
                    </a:lnTo>
                    <a:close/>
                    <a:moveTo>
                      <a:pt x="810" y="148"/>
                    </a:moveTo>
                    <a:lnTo>
                      <a:pt x="811" y="148"/>
                    </a:lnTo>
                    <a:lnTo>
                      <a:pt x="810" y="148"/>
                    </a:lnTo>
                    <a:close/>
                    <a:moveTo>
                      <a:pt x="810" y="148"/>
                    </a:moveTo>
                    <a:lnTo>
                      <a:pt x="810" y="149"/>
                    </a:lnTo>
                    <a:lnTo>
                      <a:pt x="808" y="149"/>
                    </a:lnTo>
                    <a:lnTo>
                      <a:pt x="810" y="149"/>
                    </a:lnTo>
                    <a:lnTo>
                      <a:pt x="808" y="151"/>
                    </a:lnTo>
                    <a:lnTo>
                      <a:pt x="806" y="153"/>
                    </a:lnTo>
                    <a:lnTo>
                      <a:pt x="805" y="153"/>
                    </a:lnTo>
                    <a:lnTo>
                      <a:pt x="803" y="153"/>
                    </a:lnTo>
                    <a:lnTo>
                      <a:pt x="801" y="153"/>
                    </a:lnTo>
                    <a:lnTo>
                      <a:pt x="801" y="151"/>
                    </a:lnTo>
                    <a:lnTo>
                      <a:pt x="801" y="149"/>
                    </a:lnTo>
                    <a:lnTo>
                      <a:pt x="803" y="148"/>
                    </a:lnTo>
                    <a:lnTo>
                      <a:pt x="805" y="148"/>
                    </a:lnTo>
                    <a:lnTo>
                      <a:pt x="806" y="148"/>
                    </a:lnTo>
                    <a:lnTo>
                      <a:pt x="808" y="148"/>
                    </a:lnTo>
                    <a:lnTo>
                      <a:pt x="810" y="148"/>
                    </a:lnTo>
                    <a:close/>
                    <a:moveTo>
                      <a:pt x="806" y="146"/>
                    </a:moveTo>
                    <a:lnTo>
                      <a:pt x="810" y="146"/>
                    </a:lnTo>
                    <a:lnTo>
                      <a:pt x="810" y="148"/>
                    </a:lnTo>
                    <a:lnTo>
                      <a:pt x="806" y="148"/>
                    </a:lnTo>
                    <a:lnTo>
                      <a:pt x="806" y="146"/>
                    </a:lnTo>
                    <a:close/>
                    <a:moveTo>
                      <a:pt x="805" y="146"/>
                    </a:moveTo>
                    <a:lnTo>
                      <a:pt x="806" y="146"/>
                    </a:lnTo>
                    <a:lnTo>
                      <a:pt x="806" y="148"/>
                    </a:lnTo>
                    <a:lnTo>
                      <a:pt x="805" y="148"/>
                    </a:lnTo>
                    <a:lnTo>
                      <a:pt x="805" y="146"/>
                    </a:lnTo>
                    <a:close/>
                    <a:moveTo>
                      <a:pt x="813" y="141"/>
                    </a:moveTo>
                    <a:lnTo>
                      <a:pt x="813" y="143"/>
                    </a:lnTo>
                    <a:lnTo>
                      <a:pt x="813" y="144"/>
                    </a:lnTo>
                    <a:lnTo>
                      <a:pt x="811" y="146"/>
                    </a:lnTo>
                    <a:lnTo>
                      <a:pt x="810" y="146"/>
                    </a:lnTo>
                    <a:lnTo>
                      <a:pt x="808" y="146"/>
                    </a:lnTo>
                    <a:lnTo>
                      <a:pt x="806" y="146"/>
                    </a:lnTo>
                    <a:lnTo>
                      <a:pt x="806" y="144"/>
                    </a:lnTo>
                    <a:lnTo>
                      <a:pt x="808" y="144"/>
                    </a:lnTo>
                    <a:lnTo>
                      <a:pt x="808" y="143"/>
                    </a:lnTo>
                    <a:lnTo>
                      <a:pt x="810" y="143"/>
                    </a:lnTo>
                    <a:lnTo>
                      <a:pt x="811" y="143"/>
                    </a:lnTo>
                    <a:lnTo>
                      <a:pt x="811" y="141"/>
                    </a:lnTo>
                    <a:lnTo>
                      <a:pt x="813" y="141"/>
                    </a:lnTo>
                    <a:close/>
                    <a:moveTo>
                      <a:pt x="798" y="107"/>
                    </a:moveTo>
                    <a:lnTo>
                      <a:pt x="798" y="109"/>
                    </a:lnTo>
                    <a:lnTo>
                      <a:pt x="798" y="110"/>
                    </a:lnTo>
                    <a:lnTo>
                      <a:pt x="799" y="110"/>
                    </a:lnTo>
                    <a:lnTo>
                      <a:pt x="799" y="112"/>
                    </a:lnTo>
                    <a:lnTo>
                      <a:pt x="798" y="114"/>
                    </a:lnTo>
                    <a:lnTo>
                      <a:pt x="796" y="115"/>
                    </a:lnTo>
                    <a:lnTo>
                      <a:pt x="794" y="114"/>
                    </a:lnTo>
                    <a:lnTo>
                      <a:pt x="794" y="112"/>
                    </a:lnTo>
                    <a:lnTo>
                      <a:pt x="794" y="110"/>
                    </a:lnTo>
                    <a:lnTo>
                      <a:pt x="793" y="110"/>
                    </a:lnTo>
                    <a:lnTo>
                      <a:pt x="793" y="109"/>
                    </a:lnTo>
                    <a:lnTo>
                      <a:pt x="793" y="107"/>
                    </a:lnTo>
                    <a:lnTo>
                      <a:pt x="794" y="107"/>
                    </a:lnTo>
                    <a:lnTo>
                      <a:pt x="796" y="107"/>
                    </a:lnTo>
                    <a:lnTo>
                      <a:pt x="798" y="107"/>
                    </a:lnTo>
                    <a:close/>
                    <a:moveTo>
                      <a:pt x="786" y="105"/>
                    </a:moveTo>
                    <a:lnTo>
                      <a:pt x="786" y="107"/>
                    </a:lnTo>
                    <a:lnTo>
                      <a:pt x="786" y="105"/>
                    </a:lnTo>
                    <a:close/>
                    <a:moveTo>
                      <a:pt x="794" y="103"/>
                    </a:moveTo>
                    <a:lnTo>
                      <a:pt x="794" y="105"/>
                    </a:lnTo>
                    <a:lnTo>
                      <a:pt x="796" y="105"/>
                    </a:lnTo>
                    <a:lnTo>
                      <a:pt x="796" y="107"/>
                    </a:lnTo>
                    <a:lnTo>
                      <a:pt x="794" y="107"/>
                    </a:lnTo>
                    <a:lnTo>
                      <a:pt x="793" y="107"/>
                    </a:lnTo>
                    <a:lnTo>
                      <a:pt x="793" y="105"/>
                    </a:lnTo>
                    <a:lnTo>
                      <a:pt x="791" y="105"/>
                    </a:lnTo>
                    <a:lnTo>
                      <a:pt x="793" y="105"/>
                    </a:lnTo>
                    <a:lnTo>
                      <a:pt x="793" y="103"/>
                    </a:lnTo>
                    <a:lnTo>
                      <a:pt x="794" y="103"/>
                    </a:lnTo>
                    <a:close/>
                    <a:moveTo>
                      <a:pt x="990" y="284"/>
                    </a:moveTo>
                    <a:lnTo>
                      <a:pt x="992" y="284"/>
                    </a:lnTo>
                    <a:lnTo>
                      <a:pt x="992" y="285"/>
                    </a:lnTo>
                    <a:lnTo>
                      <a:pt x="990" y="285"/>
                    </a:lnTo>
                    <a:lnTo>
                      <a:pt x="990" y="284"/>
                    </a:lnTo>
                    <a:close/>
                    <a:moveTo>
                      <a:pt x="990" y="277"/>
                    </a:moveTo>
                    <a:lnTo>
                      <a:pt x="992" y="277"/>
                    </a:lnTo>
                    <a:lnTo>
                      <a:pt x="990" y="277"/>
                    </a:lnTo>
                    <a:close/>
                    <a:moveTo>
                      <a:pt x="1071" y="272"/>
                    </a:moveTo>
                    <a:lnTo>
                      <a:pt x="1073" y="272"/>
                    </a:lnTo>
                    <a:lnTo>
                      <a:pt x="1071" y="272"/>
                    </a:lnTo>
                    <a:close/>
                    <a:moveTo>
                      <a:pt x="997" y="270"/>
                    </a:moveTo>
                    <a:lnTo>
                      <a:pt x="997" y="272"/>
                    </a:lnTo>
                    <a:lnTo>
                      <a:pt x="997" y="274"/>
                    </a:lnTo>
                    <a:lnTo>
                      <a:pt x="997" y="275"/>
                    </a:lnTo>
                    <a:lnTo>
                      <a:pt x="997" y="277"/>
                    </a:lnTo>
                    <a:lnTo>
                      <a:pt x="997" y="279"/>
                    </a:lnTo>
                    <a:lnTo>
                      <a:pt x="995" y="279"/>
                    </a:lnTo>
                    <a:lnTo>
                      <a:pt x="995" y="280"/>
                    </a:lnTo>
                    <a:lnTo>
                      <a:pt x="993" y="280"/>
                    </a:lnTo>
                    <a:lnTo>
                      <a:pt x="992" y="279"/>
                    </a:lnTo>
                    <a:lnTo>
                      <a:pt x="992" y="277"/>
                    </a:lnTo>
                    <a:lnTo>
                      <a:pt x="993" y="275"/>
                    </a:lnTo>
                    <a:lnTo>
                      <a:pt x="993" y="274"/>
                    </a:lnTo>
                    <a:lnTo>
                      <a:pt x="993" y="272"/>
                    </a:lnTo>
                    <a:lnTo>
                      <a:pt x="995" y="272"/>
                    </a:lnTo>
                    <a:lnTo>
                      <a:pt x="995" y="270"/>
                    </a:lnTo>
                    <a:lnTo>
                      <a:pt x="997" y="270"/>
                    </a:lnTo>
                    <a:close/>
                    <a:moveTo>
                      <a:pt x="1073" y="270"/>
                    </a:moveTo>
                    <a:lnTo>
                      <a:pt x="1075" y="270"/>
                    </a:lnTo>
                    <a:lnTo>
                      <a:pt x="1077" y="270"/>
                    </a:lnTo>
                    <a:lnTo>
                      <a:pt x="1075" y="270"/>
                    </a:lnTo>
                    <a:lnTo>
                      <a:pt x="1075" y="272"/>
                    </a:lnTo>
                    <a:lnTo>
                      <a:pt x="1073" y="270"/>
                    </a:lnTo>
                    <a:lnTo>
                      <a:pt x="1071" y="270"/>
                    </a:lnTo>
                    <a:lnTo>
                      <a:pt x="1071" y="268"/>
                    </a:lnTo>
                    <a:lnTo>
                      <a:pt x="1073" y="268"/>
                    </a:lnTo>
                    <a:lnTo>
                      <a:pt x="1073" y="270"/>
                    </a:lnTo>
                    <a:close/>
                    <a:moveTo>
                      <a:pt x="1073" y="268"/>
                    </a:moveTo>
                    <a:lnTo>
                      <a:pt x="1075" y="268"/>
                    </a:lnTo>
                    <a:lnTo>
                      <a:pt x="1077" y="268"/>
                    </a:lnTo>
                    <a:lnTo>
                      <a:pt x="1078" y="268"/>
                    </a:lnTo>
                    <a:lnTo>
                      <a:pt x="1078" y="270"/>
                    </a:lnTo>
                    <a:lnTo>
                      <a:pt x="1080" y="270"/>
                    </a:lnTo>
                    <a:lnTo>
                      <a:pt x="1080" y="272"/>
                    </a:lnTo>
                    <a:lnTo>
                      <a:pt x="1078" y="272"/>
                    </a:lnTo>
                    <a:lnTo>
                      <a:pt x="1077" y="272"/>
                    </a:lnTo>
                    <a:lnTo>
                      <a:pt x="1077" y="270"/>
                    </a:lnTo>
                    <a:lnTo>
                      <a:pt x="1075" y="270"/>
                    </a:lnTo>
                    <a:lnTo>
                      <a:pt x="1073" y="268"/>
                    </a:lnTo>
                    <a:close/>
                    <a:moveTo>
                      <a:pt x="998" y="260"/>
                    </a:moveTo>
                    <a:lnTo>
                      <a:pt x="998" y="262"/>
                    </a:lnTo>
                    <a:lnTo>
                      <a:pt x="997" y="262"/>
                    </a:lnTo>
                    <a:lnTo>
                      <a:pt x="997" y="263"/>
                    </a:lnTo>
                    <a:lnTo>
                      <a:pt x="995" y="263"/>
                    </a:lnTo>
                    <a:lnTo>
                      <a:pt x="995" y="262"/>
                    </a:lnTo>
                    <a:lnTo>
                      <a:pt x="997" y="262"/>
                    </a:lnTo>
                    <a:lnTo>
                      <a:pt x="995" y="260"/>
                    </a:lnTo>
                    <a:lnTo>
                      <a:pt x="997" y="260"/>
                    </a:lnTo>
                    <a:lnTo>
                      <a:pt x="998" y="260"/>
                    </a:lnTo>
                    <a:close/>
                    <a:moveTo>
                      <a:pt x="1029" y="258"/>
                    </a:moveTo>
                    <a:lnTo>
                      <a:pt x="1029" y="260"/>
                    </a:lnTo>
                    <a:lnTo>
                      <a:pt x="1029" y="258"/>
                    </a:lnTo>
                    <a:close/>
                    <a:moveTo>
                      <a:pt x="1020" y="258"/>
                    </a:moveTo>
                    <a:lnTo>
                      <a:pt x="1020" y="260"/>
                    </a:lnTo>
                    <a:lnTo>
                      <a:pt x="1020" y="258"/>
                    </a:lnTo>
                    <a:close/>
                    <a:moveTo>
                      <a:pt x="1026" y="258"/>
                    </a:moveTo>
                    <a:lnTo>
                      <a:pt x="1029" y="258"/>
                    </a:lnTo>
                    <a:lnTo>
                      <a:pt x="1029" y="260"/>
                    </a:lnTo>
                    <a:lnTo>
                      <a:pt x="1026" y="260"/>
                    </a:lnTo>
                    <a:lnTo>
                      <a:pt x="1026" y="258"/>
                    </a:lnTo>
                    <a:close/>
                    <a:moveTo>
                      <a:pt x="1024" y="255"/>
                    </a:moveTo>
                    <a:lnTo>
                      <a:pt x="1026" y="255"/>
                    </a:lnTo>
                    <a:lnTo>
                      <a:pt x="1024" y="255"/>
                    </a:lnTo>
                    <a:close/>
                    <a:moveTo>
                      <a:pt x="1026" y="255"/>
                    </a:moveTo>
                    <a:lnTo>
                      <a:pt x="1027" y="255"/>
                    </a:lnTo>
                    <a:lnTo>
                      <a:pt x="1026" y="255"/>
                    </a:lnTo>
                    <a:close/>
                    <a:moveTo>
                      <a:pt x="986" y="234"/>
                    </a:moveTo>
                    <a:lnTo>
                      <a:pt x="988" y="234"/>
                    </a:lnTo>
                    <a:lnTo>
                      <a:pt x="986" y="234"/>
                    </a:lnTo>
                    <a:close/>
                    <a:moveTo>
                      <a:pt x="969" y="233"/>
                    </a:moveTo>
                    <a:lnTo>
                      <a:pt x="971" y="233"/>
                    </a:lnTo>
                    <a:lnTo>
                      <a:pt x="971" y="236"/>
                    </a:lnTo>
                    <a:lnTo>
                      <a:pt x="969" y="236"/>
                    </a:lnTo>
                    <a:lnTo>
                      <a:pt x="969" y="233"/>
                    </a:lnTo>
                    <a:close/>
                    <a:moveTo>
                      <a:pt x="969" y="233"/>
                    </a:moveTo>
                    <a:lnTo>
                      <a:pt x="968" y="234"/>
                    </a:lnTo>
                    <a:lnTo>
                      <a:pt x="969" y="234"/>
                    </a:lnTo>
                    <a:lnTo>
                      <a:pt x="969" y="236"/>
                    </a:lnTo>
                    <a:lnTo>
                      <a:pt x="968" y="236"/>
                    </a:lnTo>
                    <a:lnTo>
                      <a:pt x="968" y="234"/>
                    </a:lnTo>
                    <a:lnTo>
                      <a:pt x="968" y="233"/>
                    </a:lnTo>
                    <a:lnTo>
                      <a:pt x="969" y="231"/>
                    </a:lnTo>
                    <a:lnTo>
                      <a:pt x="969" y="233"/>
                    </a:lnTo>
                    <a:close/>
                    <a:moveTo>
                      <a:pt x="986" y="229"/>
                    </a:moveTo>
                    <a:lnTo>
                      <a:pt x="988" y="229"/>
                    </a:lnTo>
                    <a:lnTo>
                      <a:pt x="988" y="231"/>
                    </a:lnTo>
                    <a:lnTo>
                      <a:pt x="986" y="231"/>
                    </a:lnTo>
                    <a:lnTo>
                      <a:pt x="986" y="229"/>
                    </a:lnTo>
                    <a:close/>
                    <a:moveTo>
                      <a:pt x="985" y="228"/>
                    </a:moveTo>
                    <a:lnTo>
                      <a:pt x="986" y="228"/>
                    </a:lnTo>
                    <a:lnTo>
                      <a:pt x="986" y="231"/>
                    </a:lnTo>
                    <a:lnTo>
                      <a:pt x="985" y="231"/>
                    </a:lnTo>
                    <a:lnTo>
                      <a:pt x="985" y="228"/>
                    </a:lnTo>
                    <a:close/>
                    <a:moveTo>
                      <a:pt x="986" y="228"/>
                    </a:moveTo>
                    <a:lnTo>
                      <a:pt x="988" y="228"/>
                    </a:lnTo>
                    <a:lnTo>
                      <a:pt x="988" y="229"/>
                    </a:lnTo>
                    <a:lnTo>
                      <a:pt x="986" y="229"/>
                    </a:lnTo>
                    <a:lnTo>
                      <a:pt x="986" y="228"/>
                    </a:lnTo>
                    <a:close/>
                    <a:moveTo>
                      <a:pt x="976" y="226"/>
                    </a:moveTo>
                    <a:lnTo>
                      <a:pt x="976" y="228"/>
                    </a:lnTo>
                    <a:lnTo>
                      <a:pt x="976" y="226"/>
                    </a:lnTo>
                    <a:close/>
                    <a:moveTo>
                      <a:pt x="975" y="226"/>
                    </a:moveTo>
                    <a:lnTo>
                      <a:pt x="976" y="226"/>
                    </a:lnTo>
                    <a:lnTo>
                      <a:pt x="976" y="228"/>
                    </a:lnTo>
                    <a:lnTo>
                      <a:pt x="975" y="228"/>
                    </a:lnTo>
                    <a:lnTo>
                      <a:pt x="975" y="226"/>
                    </a:lnTo>
                    <a:close/>
                    <a:moveTo>
                      <a:pt x="964" y="226"/>
                    </a:moveTo>
                    <a:lnTo>
                      <a:pt x="966" y="226"/>
                    </a:lnTo>
                    <a:lnTo>
                      <a:pt x="964" y="226"/>
                    </a:lnTo>
                    <a:close/>
                    <a:moveTo>
                      <a:pt x="976" y="224"/>
                    </a:moveTo>
                    <a:lnTo>
                      <a:pt x="976" y="226"/>
                    </a:lnTo>
                    <a:lnTo>
                      <a:pt x="976" y="224"/>
                    </a:lnTo>
                    <a:close/>
                    <a:moveTo>
                      <a:pt x="975" y="224"/>
                    </a:moveTo>
                    <a:lnTo>
                      <a:pt x="976" y="224"/>
                    </a:lnTo>
                    <a:lnTo>
                      <a:pt x="976" y="226"/>
                    </a:lnTo>
                    <a:lnTo>
                      <a:pt x="975" y="226"/>
                    </a:lnTo>
                    <a:lnTo>
                      <a:pt x="975" y="224"/>
                    </a:lnTo>
                    <a:close/>
                    <a:moveTo>
                      <a:pt x="978" y="224"/>
                    </a:moveTo>
                    <a:lnTo>
                      <a:pt x="978" y="226"/>
                    </a:lnTo>
                    <a:lnTo>
                      <a:pt x="978" y="224"/>
                    </a:lnTo>
                    <a:close/>
                    <a:moveTo>
                      <a:pt x="983" y="223"/>
                    </a:moveTo>
                    <a:lnTo>
                      <a:pt x="983" y="224"/>
                    </a:lnTo>
                    <a:lnTo>
                      <a:pt x="983" y="223"/>
                    </a:lnTo>
                    <a:close/>
                    <a:moveTo>
                      <a:pt x="959" y="223"/>
                    </a:moveTo>
                    <a:lnTo>
                      <a:pt x="961" y="223"/>
                    </a:lnTo>
                    <a:lnTo>
                      <a:pt x="959" y="223"/>
                    </a:lnTo>
                    <a:close/>
                    <a:moveTo>
                      <a:pt x="959" y="221"/>
                    </a:moveTo>
                    <a:lnTo>
                      <a:pt x="961" y="221"/>
                    </a:lnTo>
                    <a:lnTo>
                      <a:pt x="961" y="223"/>
                    </a:lnTo>
                    <a:lnTo>
                      <a:pt x="959" y="223"/>
                    </a:lnTo>
                    <a:lnTo>
                      <a:pt x="959" y="221"/>
                    </a:lnTo>
                    <a:close/>
                    <a:moveTo>
                      <a:pt x="959" y="221"/>
                    </a:moveTo>
                    <a:lnTo>
                      <a:pt x="961" y="221"/>
                    </a:lnTo>
                    <a:lnTo>
                      <a:pt x="959" y="221"/>
                    </a:lnTo>
                    <a:close/>
                    <a:moveTo>
                      <a:pt x="980" y="221"/>
                    </a:moveTo>
                    <a:lnTo>
                      <a:pt x="981" y="221"/>
                    </a:lnTo>
                    <a:lnTo>
                      <a:pt x="983" y="221"/>
                    </a:lnTo>
                    <a:lnTo>
                      <a:pt x="983" y="223"/>
                    </a:lnTo>
                    <a:lnTo>
                      <a:pt x="983" y="221"/>
                    </a:lnTo>
                    <a:lnTo>
                      <a:pt x="983" y="223"/>
                    </a:lnTo>
                    <a:lnTo>
                      <a:pt x="981" y="223"/>
                    </a:lnTo>
                    <a:lnTo>
                      <a:pt x="981" y="224"/>
                    </a:lnTo>
                    <a:lnTo>
                      <a:pt x="980" y="224"/>
                    </a:lnTo>
                    <a:lnTo>
                      <a:pt x="980" y="226"/>
                    </a:lnTo>
                    <a:lnTo>
                      <a:pt x="978" y="224"/>
                    </a:lnTo>
                    <a:lnTo>
                      <a:pt x="978" y="223"/>
                    </a:lnTo>
                    <a:lnTo>
                      <a:pt x="980" y="223"/>
                    </a:lnTo>
                    <a:lnTo>
                      <a:pt x="980" y="221"/>
                    </a:lnTo>
                    <a:close/>
                    <a:moveTo>
                      <a:pt x="959" y="217"/>
                    </a:moveTo>
                    <a:lnTo>
                      <a:pt x="961" y="217"/>
                    </a:lnTo>
                    <a:lnTo>
                      <a:pt x="961" y="219"/>
                    </a:lnTo>
                    <a:lnTo>
                      <a:pt x="959" y="219"/>
                    </a:lnTo>
                    <a:lnTo>
                      <a:pt x="959" y="217"/>
                    </a:lnTo>
                    <a:close/>
                    <a:moveTo>
                      <a:pt x="956" y="217"/>
                    </a:moveTo>
                    <a:lnTo>
                      <a:pt x="956" y="221"/>
                    </a:lnTo>
                    <a:lnTo>
                      <a:pt x="956" y="217"/>
                    </a:lnTo>
                    <a:close/>
                    <a:moveTo>
                      <a:pt x="952" y="217"/>
                    </a:moveTo>
                    <a:lnTo>
                      <a:pt x="952" y="219"/>
                    </a:lnTo>
                    <a:lnTo>
                      <a:pt x="952" y="217"/>
                    </a:lnTo>
                    <a:close/>
                    <a:moveTo>
                      <a:pt x="944" y="216"/>
                    </a:moveTo>
                    <a:lnTo>
                      <a:pt x="947" y="216"/>
                    </a:lnTo>
                    <a:lnTo>
                      <a:pt x="947" y="217"/>
                    </a:lnTo>
                    <a:lnTo>
                      <a:pt x="944" y="217"/>
                    </a:lnTo>
                    <a:lnTo>
                      <a:pt x="944" y="216"/>
                    </a:lnTo>
                    <a:close/>
                    <a:moveTo>
                      <a:pt x="958" y="217"/>
                    </a:moveTo>
                    <a:lnTo>
                      <a:pt x="958" y="219"/>
                    </a:lnTo>
                    <a:lnTo>
                      <a:pt x="958" y="221"/>
                    </a:lnTo>
                    <a:lnTo>
                      <a:pt x="958" y="223"/>
                    </a:lnTo>
                    <a:lnTo>
                      <a:pt x="958" y="224"/>
                    </a:lnTo>
                    <a:lnTo>
                      <a:pt x="956" y="224"/>
                    </a:lnTo>
                    <a:lnTo>
                      <a:pt x="956" y="223"/>
                    </a:lnTo>
                    <a:lnTo>
                      <a:pt x="956" y="221"/>
                    </a:lnTo>
                    <a:lnTo>
                      <a:pt x="958" y="221"/>
                    </a:lnTo>
                    <a:lnTo>
                      <a:pt x="958" y="219"/>
                    </a:lnTo>
                    <a:lnTo>
                      <a:pt x="958" y="217"/>
                    </a:lnTo>
                    <a:lnTo>
                      <a:pt x="958" y="216"/>
                    </a:lnTo>
                    <a:lnTo>
                      <a:pt x="958" y="217"/>
                    </a:lnTo>
                    <a:close/>
                    <a:moveTo>
                      <a:pt x="951" y="216"/>
                    </a:moveTo>
                    <a:lnTo>
                      <a:pt x="952" y="216"/>
                    </a:lnTo>
                    <a:lnTo>
                      <a:pt x="952" y="217"/>
                    </a:lnTo>
                    <a:lnTo>
                      <a:pt x="951" y="217"/>
                    </a:lnTo>
                    <a:lnTo>
                      <a:pt x="951" y="216"/>
                    </a:lnTo>
                    <a:close/>
                    <a:moveTo>
                      <a:pt x="1189" y="621"/>
                    </a:moveTo>
                    <a:lnTo>
                      <a:pt x="1190" y="621"/>
                    </a:lnTo>
                    <a:lnTo>
                      <a:pt x="1190" y="622"/>
                    </a:lnTo>
                    <a:lnTo>
                      <a:pt x="1189" y="622"/>
                    </a:lnTo>
                    <a:lnTo>
                      <a:pt x="1189" y="621"/>
                    </a:lnTo>
                    <a:close/>
                    <a:moveTo>
                      <a:pt x="1189" y="621"/>
                    </a:moveTo>
                    <a:lnTo>
                      <a:pt x="1190" y="621"/>
                    </a:lnTo>
                    <a:lnTo>
                      <a:pt x="1189" y="621"/>
                    </a:lnTo>
                    <a:close/>
                    <a:moveTo>
                      <a:pt x="1194" y="612"/>
                    </a:moveTo>
                    <a:lnTo>
                      <a:pt x="1194" y="614"/>
                    </a:lnTo>
                    <a:lnTo>
                      <a:pt x="1194" y="612"/>
                    </a:lnTo>
                    <a:close/>
                    <a:moveTo>
                      <a:pt x="1197" y="612"/>
                    </a:moveTo>
                    <a:lnTo>
                      <a:pt x="1197" y="614"/>
                    </a:lnTo>
                    <a:lnTo>
                      <a:pt x="1197" y="612"/>
                    </a:lnTo>
                    <a:close/>
                    <a:moveTo>
                      <a:pt x="1194" y="612"/>
                    </a:moveTo>
                    <a:lnTo>
                      <a:pt x="1196" y="612"/>
                    </a:lnTo>
                    <a:lnTo>
                      <a:pt x="1194" y="612"/>
                    </a:lnTo>
                    <a:close/>
                    <a:moveTo>
                      <a:pt x="1190" y="609"/>
                    </a:moveTo>
                    <a:lnTo>
                      <a:pt x="1192" y="609"/>
                    </a:lnTo>
                    <a:lnTo>
                      <a:pt x="1192" y="610"/>
                    </a:lnTo>
                    <a:lnTo>
                      <a:pt x="1190" y="610"/>
                    </a:lnTo>
                    <a:lnTo>
                      <a:pt x="1190" y="609"/>
                    </a:lnTo>
                    <a:close/>
                    <a:moveTo>
                      <a:pt x="1507" y="884"/>
                    </a:moveTo>
                    <a:lnTo>
                      <a:pt x="1508" y="884"/>
                    </a:lnTo>
                    <a:lnTo>
                      <a:pt x="1508" y="886"/>
                    </a:lnTo>
                    <a:lnTo>
                      <a:pt x="1507" y="886"/>
                    </a:lnTo>
                    <a:lnTo>
                      <a:pt x="1507" y="884"/>
                    </a:lnTo>
                    <a:close/>
                    <a:moveTo>
                      <a:pt x="1007" y="985"/>
                    </a:moveTo>
                    <a:lnTo>
                      <a:pt x="1009" y="985"/>
                    </a:lnTo>
                    <a:lnTo>
                      <a:pt x="1007" y="985"/>
                    </a:lnTo>
                    <a:close/>
                    <a:moveTo>
                      <a:pt x="992" y="985"/>
                    </a:moveTo>
                    <a:lnTo>
                      <a:pt x="993" y="985"/>
                    </a:lnTo>
                    <a:lnTo>
                      <a:pt x="992" y="985"/>
                    </a:lnTo>
                    <a:close/>
                    <a:moveTo>
                      <a:pt x="990" y="981"/>
                    </a:moveTo>
                    <a:lnTo>
                      <a:pt x="990" y="983"/>
                    </a:lnTo>
                    <a:lnTo>
                      <a:pt x="990" y="981"/>
                    </a:lnTo>
                    <a:close/>
                    <a:moveTo>
                      <a:pt x="1005" y="980"/>
                    </a:moveTo>
                    <a:lnTo>
                      <a:pt x="1007" y="980"/>
                    </a:lnTo>
                    <a:lnTo>
                      <a:pt x="1005" y="980"/>
                    </a:lnTo>
                    <a:lnTo>
                      <a:pt x="1007" y="981"/>
                    </a:lnTo>
                    <a:lnTo>
                      <a:pt x="1009" y="981"/>
                    </a:lnTo>
                    <a:lnTo>
                      <a:pt x="1009" y="983"/>
                    </a:lnTo>
                    <a:lnTo>
                      <a:pt x="1009" y="981"/>
                    </a:lnTo>
                    <a:lnTo>
                      <a:pt x="1009" y="983"/>
                    </a:lnTo>
                    <a:lnTo>
                      <a:pt x="1010" y="983"/>
                    </a:lnTo>
                    <a:lnTo>
                      <a:pt x="1009" y="983"/>
                    </a:lnTo>
                    <a:lnTo>
                      <a:pt x="1007" y="983"/>
                    </a:lnTo>
                    <a:lnTo>
                      <a:pt x="1007" y="985"/>
                    </a:lnTo>
                    <a:lnTo>
                      <a:pt x="1005" y="983"/>
                    </a:lnTo>
                    <a:lnTo>
                      <a:pt x="1003" y="985"/>
                    </a:lnTo>
                    <a:lnTo>
                      <a:pt x="1003" y="983"/>
                    </a:lnTo>
                    <a:lnTo>
                      <a:pt x="1002" y="983"/>
                    </a:lnTo>
                    <a:lnTo>
                      <a:pt x="1002" y="985"/>
                    </a:lnTo>
                    <a:lnTo>
                      <a:pt x="1002" y="983"/>
                    </a:lnTo>
                    <a:lnTo>
                      <a:pt x="1000" y="983"/>
                    </a:lnTo>
                    <a:lnTo>
                      <a:pt x="1002" y="983"/>
                    </a:lnTo>
                    <a:lnTo>
                      <a:pt x="1002" y="981"/>
                    </a:lnTo>
                    <a:lnTo>
                      <a:pt x="1003" y="981"/>
                    </a:lnTo>
                    <a:lnTo>
                      <a:pt x="1005" y="981"/>
                    </a:lnTo>
                    <a:lnTo>
                      <a:pt x="1003" y="980"/>
                    </a:lnTo>
                    <a:lnTo>
                      <a:pt x="1005" y="980"/>
                    </a:lnTo>
                    <a:close/>
                    <a:moveTo>
                      <a:pt x="993" y="978"/>
                    </a:moveTo>
                    <a:lnTo>
                      <a:pt x="995" y="978"/>
                    </a:lnTo>
                    <a:lnTo>
                      <a:pt x="995" y="980"/>
                    </a:lnTo>
                    <a:lnTo>
                      <a:pt x="993" y="980"/>
                    </a:lnTo>
                    <a:lnTo>
                      <a:pt x="993" y="978"/>
                    </a:lnTo>
                    <a:close/>
                    <a:moveTo>
                      <a:pt x="995" y="978"/>
                    </a:moveTo>
                    <a:lnTo>
                      <a:pt x="997" y="978"/>
                    </a:lnTo>
                    <a:lnTo>
                      <a:pt x="995" y="978"/>
                    </a:lnTo>
                    <a:close/>
                    <a:moveTo>
                      <a:pt x="1000" y="978"/>
                    </a:moveTo>
                    <a:lnTo>
                      <a:pt x="1002" y="978"/>
                    </a:lnTo>
                    <a:lnTo>
                      <a:pt x="1002" y="980"/>
                    </a:lnTo>
                    <a:lnTo>
                      <a:pt x="1000" y="980"/>
                    </a:lnTo>
                    <a:lnTo>
                      <a:pt x="1000" y="978"/>
                    </a:lnTo>
                    <a:close/>
                    <a:moveTo>
                      <a:pt x="1010" y="976"/>
                    </a:moveTo>
                    <a:lnTo>
                      <a:pt x="1012" y="976"/>
                    </a:lnTo>
                    <a:lnTo>
                      <a:pt x="1010" y="976"/>
                    </a:lnTo>
                    <a:close/>
                    <a:moveTo>
                      <a:pt x="1080" y="976"/>
                    </a:moveTo>
                    <a:lnTo>
                      <a:pt x="1082" y="976"/>
                    </a:lnTo>
                    <a:lnTo>
                      <a:pt x="1080" y="976"/>
                    </a:lnTo>
                    <a:close/>
                    <a:moveTo>
                      <a:pt x="1015" y="974"/>
                    </a:moveTo>
                    <a:lnTo>
                      <a:pt x="1017" y="974"/>
                    </a:lnTo>
                    <a:lnTo>
                      <a:pt x="1015" y="974"/>
                    </a:lnTo>
                    <a:close/>
                    <a:moveTo>
                      <a:pt x="1041" y="968"/>
                    </a:moveTo>
                    <a:lnTo>
                      <a:pt x="1041" y="969"/>
                    </a:lnTo>
                    <a:lnTo>
                      <a:pt x="1041" y="971"/>
                    </a:lnTo>
                    <a:lnTo>
                      <a:pt x="1041" y="969"/>
                    </a:lnTo>
                    <a:lnTo>
                      <a:pt x="1039" y="969"/>
                    </a:lnTo>
                    <a:lnTo>
                      <a:pt x="1039" y="971"/>
                    </a:lnTo>
                    <a:lnTo>
                      <a:pt x="1037" y="969"/>
                    </a:lnTo>
                    <a:lnTo>
                      <a:pt x="1039" y="969"/>
                    </a:lnTo>
                    <a:lnTo>
                      <a:pt x="1039" y="968"/>
                    </a:lnTo>
                    <a:lnTo>
                      <a:pt x="1039" y="969"/>
                    </a:lnTo>
                    <a:lnTo>
                      <a:pt x="1041" y="969"/>
                    </a:lnTo>
                    <a:lnTo>
                      <a:pt x="1041" y="968"/>
                    </a:lnTo>
                    <a:close/>
                    <a:moveTo>
                      <a:pt x="1090" y="954"/>
                    </a:moveTo>
                    <a:lnTo>
                      <a:pt x="1090" y="956"/>
                    </a:lnTo>
                    <a:lnTo>
                      <a:pt x="1090" y="954"/>
                    </a:lnTo>
                    <a:close/>
                    <a:moveTo>
                      <a:pt x="973" y="1005"/>
                    </a:moveTo>
                    <a:lnTo>
                      <a:pt x="975" y="1005"/>
                    </a:lnTo>
                    <a:lnTo>
                      <a:pt x="975" y="1007"/>
                    </a:lnTo>
                    <a:lnTo>
                      <a:pt x="973" y="1007"/>
                    </a:lnTo>
                    <a:lnTo>
                      <a:pt x="973" y="1005"/>
                    </a:lnTo>
                    <a:close/>
                    <a:moveTo>
                      <a:pt x="978" y="1003"/>
                    </a:moveTo>
                    <a:lnTo>
                      <a:pt x="978" y="1005"/>
                    </a:lnTo>
                    <a:lnTo>
                      <a:pt x="978" y="1003"/>
                    </a:lnTo>
                    <a:close/>
                    <a:moveTo>
                      <a:pt x="968" y="1003"/>
                    </a:moveTo>
                    <a:lnTo>
                      <a:pt x="969" y="1003"/>
                    </a:lnTo>
                    <a:lnTo>
                      <a:pt x="971" y="1005"/>
                    </a:lnTo>
                    <a:lnTo>
                      <a:pt x="971" y="1007"/>
                    </a:lnTo>
                    <a:lnTo>
                      <a:pt x="969" y="1007"/>
                    </a:lnTo>
                    <a:lnTo>
                      <a:pt x="969" y="1008"/>
                    </a:lnTo>
                    <a:lnTo>
                      <a:pt x="971" y="1010"/>
                    </a:lnTo>
                    <a:lnTo>
                      <a:pt x="971" y="1008"/>
                    </a:lnTo>
                    <a:lnTo>
                      <a:pt x="971" y="1010"/>
                    </a:lnTo>
                    <a:lnTo>
                      <a:pt x="971" y="1012"/>
                    </a:lnTo>
                    <a:lnTo>
                      <a:pt x="969" y="1012"/>
                    </a:lnTo>
                    <a:lnTo>
                      <a:pt x="969" y="1010"/>
                    </a:lnTo>
                    <a:lnTo>
                      <a:pt x="968" y="1010"/>
                    </a:lnTo>
                    <a:lnTo>
                      <a:pt x="966" y="1010"/>
                    </a:lnTo>
                    <a:lnTo>
                      <a:pt x="964" y="1012"/>
                    </a:lnTo>
                    <a:lnTo>
                      <a:pt x="964" y="1010"/>
                    </a:lnTo>
                    <a:lnTo>
                      <a:pt x="963" y="1010"/>
                    </a:lnTo>
                    <a:lnTo>
                      <a:pt x="963" y="1008"/>
                    </a:lnTo>
                    <a:lnTo>
                      <a:pt x="964" y="1008"/>
                    </a:lnTo>
                    <a:lnTo>
                      <a:pt x="964" y="1007"/>
                    </a:lnTo>
                    <a:lnTo>
                      <a:pt x="966" y="1007"/>
                    </a:lnTo>
                    <a:lnTo>
                      <a:pt x="966" y="1005"/>
                    </a:lnTo>
                    <a:lnTo>
                      <a:pt x="968" y="1005"/>
                    </a:lnTo>
                    <a:lnTo>
                      <a:pt x="968" y="1003"/>
                    </a:lnTo>
                    <a:close/>
                    <a:moveTo>
                      <a:pt x="973" y="997"/>
                    </a:moveTo>
                    <a:lnTo>
                      <a:pt x="975" y="997"/>
                    </a:lnTo>
                    <a:lnTo>
                      <a:pt x="973" y="997"/>
                    </a:lnTo>
                    <a:close/>
                    <a:moveTo>
                      <a:pt x="976" y="997"/>
                    </a:moveTo>
                    <a:lnTo>
                      <a:pt x="978" y="997"/>
                    </a:lnTo>
                    <a:lnTo>
                      <a:pt x="976" y="997"/>
                    </a:lnTo>
                    <a:close/>
                    <a:moveTo>
                      <a:pt x="983" y="991"/>
                    </a:moveTo>
                    <a:lnTo>
                      <a:pt x="985" y="991"/>
                    </a:lnTo>
                    <a:lnTo>
                      <a:pt x="983" y="991"/>
                    </a:lnTo>
                    <a:close/>
                    <a:moveTo>
                      <a:pt x="861" y="1156"/>
                    </a:moveTo>
                    <a:lnTo>
                      <a:pt x="861" y="1158"/>
                    </a:lnTo>
                    <a:lnTo>
                      <a:pt x="861" y="1156"/>
                    </a:lnTo>
                    <a:close/>
                    <a:moveTo>
                      <a:pt x="864" y="1141"/>
                    </a:moveTo>
                    <a:lnTo>
                      <a:pt x="866" y="1143"/>
                    </a:lnTo>
                    <a:lnTo>
                      <a:pt x="866" y="1141"/>
                    </a:lnTo>
                    <a:lnTo>
                      <a:pt x="866" y="1143"/>
                    </a:lnTo>
                    <a:lnTo>
                      <a:pt x="866" y="1145"/>
                    </a:lnTo>
                    <a:lnTo>
                      <a:pt x="864" y="1145"/>
                    </a:lnTo>
                    <a:lnTo>
                      <a:pt x="864" y="1146"/>
                    </a:lnTo>
                    <a:lnTo>
                      <a:pt x="864" y="1148"/>
                    </a:lnTo>
                    <a:lnTo>
                      <a:pt x="862" y="1148"/>
                    </a:lnTo>
                    <a:lnTo>
                      <a:pt x="862" y="1150"/>
                    </a:lnTo>
                    <a:lnTo>
                      <a:pt x="862" y="1151"/>
                    </a:lnTo>
                    <a:lnTo>
                      <a:pt x="861" y="1151"/>
                    </a:lnTo>
                    <a:lnTo>
                      <a:pt x="861" y="1153"/>
                    </a:lnTo>
                    <a:lnTo>
                      <a:pt x="861" y="1155"/>
                    </a:lnTo>
                    <a:lnTo>
                      <a:pt x="862" y="1155"/>
                    </a:lnTo>
                    <a:lnTo>
                      <a:pt x="861" y="1155"/>
                    </a:lnTo>
                    <a:lnTo>
                      <a:pt x="861" y="1156"/>
                    </a:lnTo>
                    <a:lnTo>
                      <a:pt x="861" y="1155"/>
                    </a:lnTo>
                    <a:lnTo>
                      <a:pt x="859" y="1156"/>
                    </a:lnTo>
                    <a:lnTo>
                      <a:pt x="859" y="1155"/>
                    </a:lnTo>
                    <a:lnTo>
                      <a:pt x="859" y="1153"/>
                    </a:lnTo>
                    <a:lnTo>
                      <a:pt x="859" y="1151"/>
                    </a:lnTo>
                    <a:lnTo>
                      <a:pt x="859" y="1150"/>
                    </a:lnTo>
                    <a:lnTo>
                      <a:pt x="861" y="1150"/>
                    </a:lnTo>
                    <a:lnTo>
                      <a:pt x="859" y="1150"/>
                    </a:lnTo>
                    <a:lnTo>
                      <a:pt x="859" y="1148"/>
                    </a:lnTo>
                    <a:lnTo>
                      <a:pt x="861" y="1148"/>
                    </a:lnTo>
                    <a:lnTo>
                      <a:pt x="861" y="1146"/>
                    </a:lnTo>
                    <a:lnTo>
                      <a:pt x="861" y="1145"/>
                    </a:lnTo>
                    <a:lnTo>
                      <a:pt x="859" y="1145"/>
                    </a:lnTo>
                    <a:lnTo>
                      <a:pt x="859" y="1143"/>
                    </a:lnTo>
                    <a:lnTo>
                      <a:pt x="861" y="1143"/>
                    </a:lnTo>
                    <a:lnTo>
                      <a:pt x="859" y="1143"/>
                    </a:lnTo>
                    <a:lnTo>
                      <a:pt x="861" y="1143"/>
                    </a:lnTo>
                    <a:lnTo>
                      <a:pt x="861" y="1141"/>
                    </a:lnTo>
                    <a:lnTo>
                      <a:pt x="861" y="1143"/>
                    </a:lnTo>
                    <a:lnTo>
                      <a:pt x="862" y="1141"/>
                    </a:lnTo>
                    <a:lnTo>
                      <a:pt x="864" y="1141"/>
                    </a:lnTo>
                    <a:lnTo>
                      <a:pt x="862" y="1141"/>
                    </a:lnTo>
                    <a:lnTo>
                      <a:pt x="864" y="1139"/>
                    </a:lnTo>
                    <a:lnTo>
                      <a:pt x="864" y="1141"/>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0" name="Freeform 19">
                <a:extLst>
                  <a:ext uri="{FF2B5EF4-FFF2-40B4-BE49-F238E27FC236}">
                    <a16:creationId xmlns:a16="http://schemas.microsoft.com/office/drawing/2014/main" id="{14F3E044-B007-82AE-1A76-C9E6A5ED95B6}"/>
                  </a:ext>
                </a:extLst>
              </p:cNvPr>
              <p:cNvSpPr>
                <a:spLocks noEditPoints="1"/>
              </p:cNvSpPr>
              <p:nvPr/>
            </p:nvSpPr>
            <p:spPr bwMode="auto">
              <a:xfrm>
                <a:off x="6181725" y="1431925"/>
                <a:ext cx="26987" cy="23813"/>
              </a:xfrm>
              <a:custGeom>
                <a:avLst/>
                <a:gdLst>
                  <a:gd name="T0" fmla="*/ 6 w 17"/>
                  <a:gd name="T1" fmla="*/ 10 h 15"/>
                  <a:gd name="T2" fmla="*/ 6 w 17"/>
                  <a:gd name="T3" fmla="*/ 12 h 15"/>
                  <a:gd name="T4" fmla="*/ 5 w 17"/>
                  <a:gd name="T5" fmla="*/ 10 h 15"/>
                  <a:gd name="T6" fmla="*/ 5 w 17"/>
                  <a:gd name="T7" fmla="*/ 12 h 15"/>
                  <a:gd name="T8" fmla="*/ 3 w 17"/>
                  <a:gd name="T9" fmla="*/ 12 h 15"/>
                  <a:gd name="T10" fmla="*/ 1 w 17"/>
                  <a:gd name="T11" fmla="*/ 12 h 15"/>
                  <a:gd name="T12" fmla="*/ 3 w 17"/>
                  <a:gd name="T13" fmla="*/ 12 h 15"/>
                  <a:gd name="T14" fmla="*/ 3 w 17"/>
                  <a:gd name="T15" fmla="*/ 10 h 15"/>
                  <a:gd name="T16" fmla="*/ 5 w 17"/>
                  <a:gd name="T17" fmla="*/ 10 h 15"/>
                  <a:gd name="T18" fmla="*/ 6 w 17"/>
                  <a:gd name="T19" fmla="*/ 10 h 15"/>
                  <a:gd name="T20" fmla="*/ 15 w 17"/>
                  <a:gd name="T21" fmla="*/ 0 h 15"/>
                  <a:gd name="T22" fmla="*/ 17 w 17"/>
                  <a:gd name="T23" fmla="*/ 0 h 15"/>
                  <a:gd name="T24" fmla="*/ 17 w 17"/>
                  <a:gd name="T25" fmla="*/ 1 h 15"/>
                  <a:gd name="T26" fmla="*/ 15 w 17"/>
                  <a:gd name="T27" fmla="*/ 0 h 15"/>
                  <a:gd name="T28" fmla="*/ 13 w 17"/>
                  <a:gd name="T29" fmla="*/ 0 h 15"/>
                  <a:gd name="T30" fmla="*/ 11 w 17"/>
                  <a:gd name="T31" fmla="*/ 0 h 15"/>
                  <a:gd name="T32" fmla="*/ 13 w 17"/>
                  <a:gd name="T33" fmla="*/ 0 h 15"/>
                  <a:gd name="T34" fmla="*/ 15 w 17"/>
                  <a:gd name="T35" fmla="*/ 0 h 15"/>
                  <a:gd name="T36" fmla="*/ 13 w 17"/>
                  <a:gd name="T37" fmla="*/ 8 h 15"/>
                  <a:gd name="T38" fmla="*/ 15 w 17"/>
                  <a:gd name="T39" fmla="*/ 8 h 15"/>
                  <a:gd name="T40" fmla="*/ 13 w 17"/>
                  <a:gd name="T41" fmla="*/ 8 h 15"/>
                  <a:gd name="T42" fmla="*/ 13 w 17"/>
                  <a:gd name="T43" fmla="*/ 10 h 15"/>
                  <a:gd name="T44" fmla="*/ 11 w 17"/>
                  <a:gd name="T45" fmla="*/ 10 h 15"/>
                  <a:gd name="T46" fmla="*/ 11 w 17"/>
                  <a:gd name="T47" fmla="*/ 8 h 15"/>
                  <a:gd name="T48" fmla="*/ 13 w 17"/>
                  <a:gd name="T49" fmla="*/ 8 h 15"/>
                  <a:gd name="T50" fmla="*/ 0 w 17"/>
                  <a:gd name="T51" fmla="*/ 10 h 15"/>
                  <a:gd name="T52" fmla="*/ 1 w 17"/>
                  <a:gd name="T53" fmla="*/ 10 h 15"/>
                  <a:gd name="T54" fmla="*/ 0 w 17"/>
                  <a:gd name="T55" fmla="*/ 10 h 15"/>
                  <a:gd name="T56" fmla="*/ 5 w 17"/>
                  <a:gd name="T57" fmla="*/ 13 h 15"/>
                  <a:gd name="T58" fmla="*/ 6 w 17"/>
                  <a:gd name="T59" fmla="*/ 13 h 15"/>
                  <a:gd name="T60" fmla="*/ 5 w 17"/>
                  <a:gd name="T61" fmla="*/ 13 h 15"/>
                  <a:gd name="T62" fmla="*/ 6 w 17"/>
                  <a:gd name="T63" fmla="*/ 10 h 15"/>
                  <a:gd name="T64" fmla="*/ 8 w 17"/>
                  <a:gd name="T65" fmla="*/ 10 h 15"/>
                  <a:gd name="T66" fmla="*/ 6 w 17"/>
                  <a:gd name="T67" fmla="*/ 10 h 15"/>
                  <a:gd name="T68" fmla="*/ 8 w 17"/>
                  <a:gd name="T69" fmla="*/ 8 h 15"/>
                  <a:gd name="T70" fmla="*/ 8 w 17"/>
                  <a:gd name="T71" fmla="*/ 10 h 15"/>
                  <a:gd name="T72" fmla="*/ 8 w 17"/>
                  <a:gd name="T73" fmla="*/ 8 h 15"/>
                  <a:gd name="T74" fmla="*/ 6 w 17"/>
                  <a:gd name="T75" fmla="*/ 8 h 15"/>
                  <a:gd name="T76" fmla="*/ 6 w 17"/>
                  <a:gd name="T77" fmla="*/ 10 h 15"/>
                  <a:gd name="T78" fmla="*/ 6 w 17"/>
                  <a:gd name="T79" fmla="*/ 8 h 15"/>
                  <a:gd name="T80" fmla="*/ 5 w 17"/>
                  <a:gd name="T81" fmla="*/ 15 h 15"/>
                  <a:gd name="T82" fmla="*/ 6 w 17"/>
                  <a:gd name="T83" fmla="*/ 15 h 15"/>
                  <a:gd name="T84" fmla="*/ 5 w 17"/>
                  <a:gd name="T85" fmla="*/ 15 h 15"/>
                  <a:gd name="T86" fmla="*/ 8 w 17"/>
                  <a:gd name="T87" fmla="*/ 12 h 15"/>
                  <a:gd name="T88" fmla="*/ 8 w 17"/>
                  <a:gd name="T89" fmla="*/ 13 h 15"/>
                  <a:gd name="T90" fmla="*/ 8 w 17"/>
                  <a:gd name="T91" fmla="*/ 12 h 15"/>
                  <a:gd name="T92" fmla="*/ 0 w 17"/>
                  <a:gd name="T93" fmla="*/ 12 h 15"/>
                  <a:gd name="T94" fmla="*/ 1 w 17"/>
                  <a:gd name="T95" fmla="*/ 12 h 15"/>
                  <a:gd name="T96" fmla="*/ 0 w 17"/>
                  <a:gd name="T97" fmla="*/ 12 h 15"/>
                  <a:gd name="T98" fmla="*/ 8 w 17"/>
                  <a:gd name="T99" fmla="*/ 12 h 15"/>
                  <a:gd name="T100" fmla="*/ 8 w 17"/>
                  <a:gd name="T101" fmla="*/ 13 h 15"/>
                  <a:gd name="T102" fmla="*/ 8 w 17"/>
                  <a:gd name="T103" fmla="*/ 1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 h="15">
                    <a:moveTo>
                      <a:pt x="6" y="10"/>
                    </a:moveTo>
                    <a:lnTo>
                      <a:pt x="6" y="12"/>
                    </a:lnTo>
                    <a:lnTo>
                      <a:pt x="5" y="10"/>
                    </a:lnTo>
                    <a:lnTo>
                      <a:pt x="5" y="12"/>
                    </a:lnTo>
                    <a:lnTo>
                      <a:pt x="3" y="12"/>
                    </a:lnTo>
                    <a:lnTo>
                      <a:pt x="1" y="12"/>
                    </a:lnTo>
                    <a:lnTo>
                      <a:pt x="3" y="12"/>
                    </a:lnTo>
                    <a:lnTo>
                      <a:pt x="3" y="10"/>
                    </a:lnTo>
                    <a:lnTo>
                      <a:pt x="5" y="10"/>
                    </a:lnTo>
                    <a:lnTo>
                      <a:pt x="6" y="10"/>
                    </a:lnTo>
                    <a:close/>
                    <a:moveTo>
                      <a:pt x="15" y="0"/>
                    </a:moveTo>
                    <a:lnTo>
                      <a:pt x="17" y="0"/>
                    </a:lnTo>
                    <a:lnTo>
                      <a:pt x="17" y="1"/>
                    </a:lnTo>
                    <a:lnTo>
                      <a:pt x="15" y="0"/>
                    </a:lnTo>
                    <a:lnTo>
                      <a:pt x="13" y="0"/>
                    </a:lnTo>
                    <a:lnTo>
                      <a:pt x="11" y="0"/>
                    </a:lnTo>
                    <a:lnTo>
                      <a:pt x="13" y="0"/>
                    </a:lnTo>
                    <a:lnTo>
                      <a:pt x="15" y="0"/>
                    </a:lnTo>
                    <a:close/>
                    <a:moveTo>
                      <a:pt x="13" y="8"/>
                    </a:moveTo>
                    <a:lnTo>
                      <a:pt x="15" y="8"/>
                    </a:lnTo>
                    <a:lnTo>
                      <a:pt x="13" y="8"/>
                    </a:lnTo>
                    <a:lnTo>
                      <a:pt x="13" y="10"/>
                    </a:lnTo>
                    <a:lnTo>
                      <a:pt x="11" y="10"/>
                    </a:lnTo>
                    <a:lnTo>
                      <a:pt x="11" y="8"/>
                    </a:lnTo>
                    <a:lnTo>
                      <a:pt x="13" y="8"/>
                    </a:lnTo>
                    <a:close/>
                    <a:moveTo>
                      <a:pt x="0" y="10"/>
                    </a:moveTo>
                    <a:lnTo>
                      <a:pt x="1" y="10"/>
                    </a:lnTo>
                    <a:lnTo>
                      <a:pt x="0" y="10"/>
                    </a:lnTo>
                    <a:close/>
                    <a:moveTo>
                      <a:pt x="5" y="13"/>
                    </a:moveTo>
                    <a:lnTo>
                      <a:pt x="6" y="13"/>
                    </a:lnTo>
                    <a:lnTo>
                      <a:pt x="5" y="13"/>
                    </a:lnTo>
                    <a:close/>
                    <a:moveTo>
                      <a:pt x="6" y="10"/>
                    </a:moveTo>
                    <a:lnTo>
                      <a:pt x="8" y="10"/>
                    </a:lnTo>
                    <a:lnTo>
                      <a:pt x="6" y="10"/>
                    </a:lnTo>
                    <a:close/>
                    <a:moveTo>
                      <a:pt x="8" y="8"/>
                    </a:moveTo>
                    <a:lnTo>
                      <a:pt x="8" y="10"/>
                    </a:lnTo>
                    <a:lnTo>
                      <a:pt x="8" y="8"/>
                    </a:lnTo>
                    <a:close/>
                    <a:moveTo>
                      <a:pt x="6" y="8"/>
                    </a:moveTo>
                    <a:lnTo>
                      <a:pt x="6" y="10"/>
                    </a:lnTo>
                    <a:lnTo>
                      <a:pt x="6" y="8"/>
                    </a:lnTo>
                    <a:close/>
                    <a:moveTo>
                      <a:pt x="5" y="15"/>
                    </a:moveTo>
                    <a:lnTo>
                      <a:pt x="6" y="15"/>
                    </a:lnTo>
                    <a:lnTo>
                      <a:pt x="5" y="15"/>
                    </a:lnTo>
                    <a:close/>
                    <a:moveTo>
                      <a:pt x="8" y="12"/>
                    </a:moveTo>
                    <a:lnTo>
                      <a:pt x="8" y="13"/>
                    </a:lnTo>
                    <a:lnTo>
                      <a:pt x="8" y="12"/>
                    </a:lnTo>
                    <a:close/>
                    <a:moveTo>
                      <a:pt x="0" y="12"/>
                    </a:moveTo>
                    <a:lnTo>
                      <a:pt x="1" y="12"/>
                    </a:lnTo>
                    <a:lnTo>
                      <a:pt x="0" y="12"/>
                    </a:lnTo>
                    <a:close/>
                    <a:moveTo>
                      <a:pt x="8" y="12"/>
                    </a:moveTo>
                    <a:lnTo>
                      <a:pt x="8" y="13"/>
                    </a:lnTo>
                    <a:lnTo>
                      <a:pt x="8" y="1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3" name="Freeform 20">
                <a:extLst>
                  <a:ext uri="{FF2B5EF4-FFF2-40B4-BE49-F238E27FC236}">
                    <a16:creationId xmlns:a16="http://schemas.microsoft.com/office/drawing/2014/main" id="{B9176B82-29DD-A9CA-522C-B920A8E11447}"/>
                  </a:ext>
                </a:extLst>
              </p:cNvPr>
              <p:cNvSpPr>
                <a:spLocks noEditPoints="1"/>
              </p:cNvSpPr>
              <p:nvPr/>
            </p:nvSpPr>
            <p:spPr bwMode="auto">
              <a:xfrm>
                <a:off x="5291138" y="1371600"/>
                <a:ext cx="88900" cy="30163"/>
              </a:xfrm>
              <a:custGeom>
                <a:avLst/>
                <a:gdLst>
                  <a:gd name="T0" fmla="*/ 0 w 56"/>
                  <a:gd name="T1" fmla="*/ 14 h 19"/>
                  <a:gd name="T2" fmla="*/ 0 w 56"/>
                  <a:gd name="T3" fmla="*/ 15 h 19"/>
                  <a:gd name="T4" fmla="*/ 1 w 56"/>
                  <a:gd name="T5" fmla="*/ 15 h 19"/>
                  <a:gd name="T6" fmla="*/ 1 w 56"/>
                  <a:gd name="T7" fmla="*/ 17 h 19"/>
                  <a:gd name="T8" fmla="*/ 3 w 56"/>
                  <a:gd name="T9" fmla="*/ 17 h 19"/>
                  <a:gd name="T10" fmla="*/ 3 w 56"/>
                  <a:gd name="T11" fmla="*/ 15 h 19"/>
                  <a:gd name="T12" fmla="*/ 5 w 56"/>
                  <a:gd name="T13" fmla="*/ 17 h 19"/>
                  <a:gd name="T14" fmla="*/ 5 w 56"/>
                  <a:gd name="T15" fmla="*/ 15 h 19"/>
                  <a:gd name="T16" fmla="*/ 3 w 56"/>
                  <a:gd name="T17" fmla="*/ 15 h 19"/>
                  <a:gd name="T18" fmla="*/ 5 w 56"/>
                  <a:gd name="T19" fmla="*/ 15 h 19"/>
                  <a:gd name="T20" fmla="*/ 3 w 56"/>
                  <a:gd name="T21" fmla="*/ 15 h 19"/>
                  <a:gd name="T22" fmla="*/ 5 w 56"/>
                  <a:gd name="T23" fmla="*/ 15 h 19"/>
                  <a:gd name="T24" fmla="*/ 6 w 56"/>
                  <a:gd name="T25" fmla="*/ 15 h 19"/>
                  <a:gd name="T26" fmla="*/ 8 w 56"/>
                  <a:gd name="T27" fmla="*/ 15 h 19"/>
                  <a:gd name="T28" fmla="*/ 10 w 56"/>
                  <a:gd name="T29" fmla="*/ 15 h 19"/>
                  <a:gd name="T30" fmla="*/ 10 w 56"/>
                  <a:gd name="T31" fmla="*/ 17 h 19"/>
                  <a:gd name="T32" fmla="*/ 8 w 56"/>
                  <a:gd name="T33" fmla="*/ 17 h 19"/>
                  <a:gd name="T34" fmla="*/ 6 w 56"/>
                  <a:gd name="T35" fmla="*/ 17 h 19"/>
                  <a:gd name="T36" fmla="*/ 5 w 56"/>
                  <a:gd name="T37" fmla="*/ 17 h 19"/>
                  <a:gd name="T38" fmla="*/ 5 w 56"/>
                  <a:gd name="T39" fmla="*/ 19 h 19"/>
                  <a:gd name="T40" fmla="*/ 3 w 56"/>
                  <a:gd name="T41" fmla="*/ 19 h 19"/>
                  <a:gd name="T42" fmla="*/ 1 w 56"/>
                  <a:gd name="T43" fmla="*/ 19 h 19"/>
                  <a:gd name="T44" fmla="*/ 0 w 56"/>
                  <a:gd name="T45" fmla="*/ 19 h 19"/>
                  <a:gd name="T46" fmla="*/ 0 w 56"/>
                  <a:gd name="T47" fmla="*/ 17 h 19"/>
                  <a:gd name="T48" fmla="*/ 0 w 56"/>
                  <a:gd name="T49" fmla="*/ 15 h 19"/>
                  <a:gd name="T50" fmla="*/ 0 w 56"/>
                  <a:gd name="T51" fmla="*/ 14 h 19"/>
                  <a:gd name="T52" fmla="*/ 1 w 56"/>
                  <a:gd name="T53" fmla="*/ 14 h 19"/>
                  <a:gd name="T54" fmla="*/ 0 w 56"/>
                  <a:gd name="T55" fmla="*/ 14 h 19"/>
                  <a:gd name="T56" fmla="*/ 54 w 56"/>
                  <a:gd name="T57" fmla="*/ 2 h 19"/>
                  <a:gd name="T58" fmla="*/ 52 w 56"/>
                  <a:gd name="T59" fmla="*/ 4 h 19"/>
                  <a:gd name="T60" fmla="*/ 51 w 56"/>
                  <a:gd name="T61" fmla="*/ 4 h 19"/>
                  <a:gd name="T62" fmla="*/ 52 w 56"/>
                  <a:gd name="T63" fmla="*/ 2 h 19"/>
                  <a:gd name="T64" fmla="*/ 54 w 56"/>
                  <a:gd name="T65" fmla="*/ 2 h 19"/>
                  <a:gd name="T66" fmla="*/ 56 w 56"/>
                  <a:gd name="T67" fmla="*/ 2 h 19"/>
                  <a:gd name="T68" fmla="*/ 56 w 56"/>
                  <a:gd name="T69" fmla="*/ 0 h 19"/>
                  <a:gd name="T70" fmla="*/ 56 w 56"/>
                  <a:gd name="T71" fmla="*/ 2 h 19"/>
                  <a:gd name="T72" fmla="*/ 54 w 56"/>
                  <a:gd name="T73" fmla="*/ 2 h 19"/>
                  <a:gd name="T74" fmla="*/ 47 w 56"/>
                  <a:gd name="T75" fmla="*/ 4 h 19"/>
                  <a:gd name="T76" fmla="*/ 45 w 56"/>
                  <a:gd name="T77" fmla="*/ 4 h 19"/>
                  <a:gd name="T78" fmla="*/ 44 w 56"/>
                  <a:gd name="T79" fmla="*/ 5 h 19"/>
                  <a:gd name="T80" fmla="*/ 44 w 56"/>
                  <a:gd name="T81" fmla="*/ 4 h 19"/>
                  <a:gd name="T82" fmla="*/ 45 w 56"/>
                  <a:gd name="T83" fmla="*/ 4 h 19"/>
                  <a:gd name="T84" fmla="*/ 47 w 56"/>
                  <a:gd name="T85" fmla="*/ 4 h 19"/>
                  <a:gd name="T86" fmla="*/ 47 w 56"/>
                  <a:gd name="T87" fmla="*/ 2 h 19"/>
                  <a:gd name="T88" fmla="*/ 47 w 56"/>
                  <a:gd name="T89"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 h="19">
                    <a:moveTo>
                      <a:pt x="0" y="14"/>
                    </a:moveTo>
                    <a:lnTo>
                      <a:pt x="0" y="15"/>
                    </a:lnTo>
                    <a:lnTo>
                      <a:pt x="1" y="15"/>
                    </a:lnTo>
                    <a:lnTo>
                      <a:pt x="1" y="17"/>
                    </a:lnTo>
                    <a:lnTo>
                      <a:pt x="3" y="17"/>
                    </a:lnTo>
                    <a:lnTo>
                      <a:pt x="3" y="15"/>
                    </a:lnTo>
                    <a:lnTo>
                      <a:pt x="5" y="17"/>
                    </a:lnTo>
                    <a:lnTo>
                      <a:pt x="5" y="15"/>
                    </a:lnTo>
                    <a:lnTo>
                      <a:pt x="3" y="15"/>
                    </a:lnTo>
                    <a:lnTo>
                      <a:pt x="5" y="15"/>
                    </a:lnTo>
                    <a:lnTo>
                      <a:pt x="3" y="15"/>
                    </a:lnTo>
                    <a:lnTo>
                      <a:pt x="5" y="15"/>
                    </a:lnTo>
                    <a:lnTo>
                      <a:pt x="6" y="15"/>
                    </a:lnTo>
                    <a:lnTo>
                      <a:pt x="8" y="15"/>
                    </a:lnTo>
                    <a:lnTo>
                      <a:pt x="10" y="15"/>
                    </a:lnTo>
                    <a:lnTo>
                      <a:pt x="10" y="17"/>
                    </a:lnTo>
                    <a:lnTo>
                      <a:pt x="8" y="17"/>
                    </a:lnTo>
                    <a:lnTo>
                      <a:pt x="6" y="17"/>
                    </a:lnTo>
                    <a:lnTo>
                      <a:pt x="5" y="17"/>
                    </a:lnTo>
                    <a:lnTo>
                      <a:pt x="5" y="19"/>
                    </a:lnTo>
                    <a:lnTo>
                      <a:pt x="3" y="19"/>
                    </a:lnTo>
                    <a:lnTo>
                      <a:pt x="1" y="19"/>
                    </a:lnTo>
                    <a:lnTo>
                      <a:pt x="0" y="19"/>
                    </a:lnTo>
                    <a:lnTo>
                      <a:pt x="0" y="17"/>
                    </a:lnTo>
                    <a:lnTo>
                      <a:pt x="0" y="15"/>
                    </a:lnTo>
                    <a:lnTo>
                      <a:pt x="0" y="14"/>
                    </a:lnTo>
                    <a:lnTo>
                      <a:pt x="1" y="14"/>
                    </a:lnTo>
                    <a:lnTo>
                      <a:pt x="0" y="14"/>
                    </a:lnTo>
                    <a:close/>
                    <a:moveTo>
                      <a:pt x="54" y="2"/>
                    </a:moveTo>
                    <a:lnTo>
                      <a:pt x="52" y="4"/>
                    </a:lnTo>
                    <a:lnTo>
                      <a:pt x="51" y="4"/>
                    </a:lnTo>
                    <a:lnTo>
                      <a:pt x="52" y="2"/>
                    </a:lnTo>
                    <a:lnTo>
                      <a:pt x="54" y="2"/>
                    </a:lnTo>
                    <a:lnTo>
                      <a:pt x="56" y="2"/>
                    </a:lnTo>
                    <a:lnTo>
                      <a:pt x="56" y="0"/>
                    </a:lnTo>
                    <a:lnTo>
                      <a:pt x="56" y="2"/>
                    </a:lnTo>
                    <a:lnTo>
                      <a:pt x="54" y="2"/>
                    </a:lnTo>
                    <a:close/>
                    <a:moveTo>
                      <a:pt x="47" y="4"/>
                    </a:moveTo>
                    <a:lnTo>
                      <a:pt x="45" y="4"/>
                    </a:lnTo>
                    <a:lnTo>
                      <a:pt x="44" y="5"/>
                    </a:lnTo>
                    <a:lnTo>
                      <a:pt x="44" y="4"/>
                    </a:lnTo>
                    <a:lnTo>
                      <a:pt x="45" y="4"/>
                    </a:lnTo>
                    <a:lnTo>
                      <a:pt x="47" y="4"/>
                    </a:lnTo>
                    <a:lnTo>
                      <a:pt x="47" y="2"/>
                    </a:lnTo>
                    <a:lnTo>
                      <a:pt x="47" y="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9" name="Freeform 21">
                <a:extLst>
                  <a:ext uri="{FF2B5EF4-FFF2-40B4-BE49-F238E27FC236}">
                    <a16:creationId xmlns:a16="http://schemas.microsoft.com/office/drawing/2014/main" id="{D0CE2C89-E62E-B2FB-F88A-E93093F702CD}"/>
                  </a:ext>
                </a:extLst>
              </p:cNvPr>
              <p:cNvSpPr>
                <a:spLocks noEditPoints="1"/>
              </p:cNvSpPr>
              <p:nvPr/>
            </p:nvSpPr>
            <p:spPr bwMode="auto">
              <a:xfrm>
                <a:off x="3787775" y="3408363"/>
                <a:ext cx="2303462" cy="2684463"/>
              </a:xfrm>
              <a:custGeom>
                <a:avLst/>
                <a:gdLst>
                  <a:gd name="T0" fmla="*/ 1322 w 1451"/>
                  <a:gd name="T1" fmla="*/ 542 h 1691"/>
                  <a:gd name="T2" fmla="*/ 1283 w 1451"/>
                  <a:gd name="T3" fmla="*/ 838 h 1691"/>
                  <a:gd name="T4" fmla="*/ 1278 w 1451"/>
                  <a:gd name="T5" fmla="*/ 1092 h 1691"/>
                  <a:gd name="T6" fmla="*/ 1217 w 1451"/>
                  <a:gd name="T7" fmla="*/ 1381 h 1691"/>
                  <a:gd name="T8" fmla="*/ 1264 w 1451"/>
                  <a:gd name="T9" fmla="*/ 1556 h 1691"/>
                  <a:gd name="T10" fmla="*/ 1205 w 1451"/>
                  <a:gd name="T11" fmla="*/ 1514 h 1691"/>
                  <a:gd name="T12" fmla="*/ 1234 w 1451"/>
                  <a:gd name="T13" fmla="*/ 1488 h 1691"/>
                  <a:gd name="T14" fmla="*/ 1208 w 1451"/>
                  <a:gd name="T15" fmla="*/ 1446 h 1691"/>
                  <a:gd name="T16" fmla="*/ 1196 w 1451"/>
                  <a:gd name="T17" fmla="*/ 1384 h 1691"/>
                  <a:gd name="T18" fmla="*/ 1200 w 1451"/>
                  <a:gd name="T19" fmla="*/ 1320 h 1691"/>
                  <a:gd name="T20" fmla="*/ 1219 w 1451"/>
                  <a:gd name="T21" fmla="*/ 1260 h 1691"/>
                  <a:gd name="T22" fmla="*/ 1196 w 1451"/>
                  <a:gd name="T23" fmla="*/ 1208 h 1691"/>
                  <a:gd name="T24" fmla="*/ 1169 w 1451"/>
                  <a:gd name="T25" fmla="*/ 1153 h 1691"/>
                  <a:gd name="T26" fmla="*/ 1222 w 1451"/>
                  <a:gd name="T27" fmla="*/ 1134 h 1691"/>
                  <a:gd name="T28" fmla="*/ 1236 w 1451"/>
                  <a:gd name="T29" fmla="*/ 988 h 1691"/>
                  <a:gd name="T30" fmla="*/ 1219 w 1451"/>
                  <a:gd name="T31" fmla="*/ 871 h 1691"/>
                  <a:gd name="T32" fmla="*/ 1285 w 1451"/>
                  <a:gd name="T33" fmla="*/ 556 h 1691"/>
                  <a:gd name="T34" fmla="*/ 1312 w 1451"/>
                  <a:gd name="T35" fmla="*/ 212 h 1691"/>
                  <a:gd name="T36" fmla="*/ 1389 w 1451"/>
                  <a:gd name="T37" fmla="*/ 127 h 1691"/>
                  <a:gd name="T38" fmla="*/ 1287 w 1451"/>
                  <a:gd name="T39" fmla="*/ 1609 h 1691"/>
                  <a:gd name="T40" fmla="*/ 1321 w 1451"/>
                  <a:gd name="T41" fmla="*/ 1595 h 1691"/>
                  <a:gd name="T42" fmla="*/ 1338 w 1451"/>
                  <a:gd name="T43" fmla="*/ 1505 h 1691"/>
                  <a:gd name="T44" fmla="*/ 1174 w 1451"/>
                  <a:gd name="T45" fmla="*/ 1286 h 1691"/>
                  <a:gd name="T46" fmla="*/ 1164 w 1451"/>
                  <a:gd name="T47" fmla="*/ 1344 h 1691"/>
                  <a:gd name="T48" fmla="*/ 1173 w 1451"/>
                  <a:gd name="T49" fmla="*/ 1284 h 1691"/>
                  <a:gd name="T50" fmla="*/ 1251 w 1451"/>
                  <a:gd name="T51" fmla="*/ 1505 h 1691"/>
                  <a:gd name="T52" fmla="*/ 1355 w 1451"/>
                  <a:gd name="T53" fmla="*/ 1662 h 1691"/>
                  <a:gd name="T54" fmla="*/ 1247 w 1451"/>
                  <a:gd name="T55" fmla="*/ 1568 h 1691"/>
                  <a:gd name="T56" fmla="*/ 1402 w 1451"/>
                  <a:gd name="T57" fmla="*/ 1628 h 1691"/>
                  <a:gd name="T58" fmla="*/ 1300 w 1451"/>
                  <a:gd name="T59" fmla="*/ 1566 h 1691"/>
                  <a:gd name="T60" fmla="*/ 1174 w 1451"/>
                  <a:gd name="T61" fmla="*/ 1502 h 1691"/>
                  <a:gd name="T62" fmla="*/ 1156 w 1451"/>
                  <a:gd name="T63" fmla="*/ 1379 h 1691"/>
                  <a:gd name="T64" fmla="*/ 1156 w 1451"/>
                  <a:gd name="T65" fmla="*/ 1284 h 1691"/>
                  <a:gd name="T66" fmla="*/ 1179 w 1451"/>
                  <a:gd name="T67" fmla="*/ 1282 h 1691"/>
                  <a:gd name="T68" fmla="*/ 1312 w 1451"/>
                  <a:gd name="T69" fmla="*/ 1643 h 1691"/>
                  <a:gd name="T70" fmla="*/ 1169 w 1451"/>
                  <a:gd name="T71" fmla="*/ 1265 h 1691"/>
                  <a:gd name="T72" fmla="*/ 1152 w 1451"/>
                  <a:gd name="T73" fmla="*/ 1277 h 1691"/>
                  <a:gd name="T74" fmla="*/ 1168 w 1451"/>
                  <a:gd name="T75" fmla="*/ 1422 h 1691"/>
                  <a:gd name="T76" fmla="*/ 1196 w 1451"/>
                  <a:gd name="T77" fmla="*/ 1481 h 1691"/>
                  <a:gd name="T78" fmla="*/ 1208 w 1451"/>
                  <a:gd name="T79" fmla="*/ 1126 h 1691"/>
                  <a:gd name="T80" fmla="*/ 1193 w 1451"/>
                  <a:gd name="T81" fmla="*/ 1099 h 1691"/>
                  <a:gd name="T82" fmla="*/ 1292 w 1451"/>
                  <a:gd name="T83" fmla="*/ 1626 h 1691"/>
                  <a:gd name="T84" fmla="*/ 1207 w 1451"/>
                  <a:gd name="T85" fmla="*/ 1155 h 1691"/>
                  <a:gd name="T86" fmla="*/ 1190 w 1451"/>
                  <a:gd name="T87" fmla="*/ 1114 h 1691"/>
                  <a:gd name="T88" fmla="*/ 1173 w 1451"/>
                  <a:gd name="T89" fmla="*/ 1138 h 1691"/>
                  <a:gd name="T90" fmla="*/ 1326 w 1451"/>
                  <a:gd name="T91" fmla="*/ 1629 h 1691"/>
                  <a:gd name="T92" fmla="*/ 1164 w 1451"/>
                  <a:gd name="T93" fmla="*/ 1391 h 1691"/>
                  <a:gd name="T94" fmla="*/ 1173 w 1451"/>
                  <a:gd name="T95" fmla="*/ 1417 h 1691"/>
                  <a:gd name="T96" fmla="*/ 1229 w 1451"/>
                  <a:gd name="T97" fmla="*/ 952 h 1691"/>
                  <a:gd name="T98" fmla="*/ 1183 w 1451"/>
                  <a:gd name="T99" fmla="*/ 1075 h 1691"/>
                  <a:gd name="T100" fmla="*/ 1229 w 1451"/>
                  <a:gd name="T101" fmla="*/ 976 h 1691"/>
                  <a:gd name="T102" fmla="*/ 1378 w 1451"/>
                  <a:gd name="T103" fmla="*/ 1660 h 1691"/>
                  <a:gd name="T104" fmla="*/ 1208 w 1451"/>
                  <a:gd name="T105" fmla="*/ 1065 h 1691"/>
                  <a:gd name="T106" fmla="*/ 1229 w 1451"/>
                  <a:gd name="T107" fmla="*/ 1585 h 1691"/>
                  <a:gd name="T108" fmla="*/ 1336 w 1451"/>
                  <a:gd name="T109" fmla="*/ 1653 h 1691"/>
                  <a:gd name="T110" fmla="*/ 1185 w 1451"/>
                  <a:gd name="T111" fmla="*/ 1463 h 1691"/>
                  <a:gd name="T112" fmla="*/ 1171 w 1451"/>
                  <a:gd name="T113" fmla="*/ 1481 h 1691"/>
                  <a:gd name="T114" fmla="*/ 1215 w 1451"/>
                  <a:gd name="T115" fmla="*/ 1521 h 1691"/>
                  <a:gd name="T116" fmla="*/ 1159 w 1451"/>
                  <a:gd name="T117" fmla="*/ 1356 h 1691"/>
                  <a:gd name="T118" fmla="*/ 1251 w 1451"/>
                  <a:gd name="T119" fmla="*/ 1597 h 1691"/>
                  <a:gd name="T120" fmla="*/ 1232 w 1451"/>
                  <a:gd name="T121" fmla="*/ 1546 h 1691"/>
                  <a:gd name="T122" fmla="*/ 1281 w 1451"/>
                  <a:gd name="T123" fmla="*/ 1614 h 1691"/>
                  <a:gd name="T124" fmla="*/ 1168 w 1451"/>
                  <a:gd name="T125" fmla="*/ 1405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51" h="1691">
                    <a:moveTo>
                      <a:pt x="1426" y="190"/>
                    </a:moveTo>
                    <a:lnTo>
                      <a:pt x="1429" y="194"/>
                    </a:lnTo>
                    <a:lnTo>
                      <a:pt x="1433" y="197"/>
                    </a:lnTo>
                    <a:lnTo>
                      <a:pt x="1429" y="206"/>
                    </a:lnTo>
                    <a:lnTo>
                      <a:pt x="1429" y="207"/>
                    </a:lnTo>
                    <a:lnTo>
                      <a:pt x="1428" y="214"/>
                    </a:lnTo>
                    <a:lnTo>
                      <a:pt x="1424" y="224"/>
                    </a:lnTo>
                    <a:lnTo>
                      <a:pt x="1424" y="226"/>
                    </a:lnTo>
                    <a:lnTo>
                      <a:pt x="1421" y="236"/>
                    </a:lnTo>
                    <a:lnTo>
                      <a:pt x="1416" y="238"/>
                    </a:lnTo>
                    <a:lnTo>
                      <a:pt x="1409" y="241"/>
                    </a:lnTo>
                    <a:lnTo>
                      <a:pt x="1400" y="245"/>
                    </a:lnTo>
                    <a:lnTo>
                      <a:pt x="1399" y="245"/>
                    </a:lnTo>
                    <a:lnTo>
                      <a:pt x="1397" y="246"/>
                    </a:lnTo>
                    <a:lnTo>
                      <a:pt x="1390" y="248"/>
                    </a:lnTo>
                    <a:lnTo>
                      <a:pt x="1390" y="250"/>
                    </a:lnTo>
                    <a:lnTo>
                      <a:pt x="1389" y="250"/>
                    </a:lnTo>
                    <a:lnTo>
                      <a:pt x="1389" y="252"/>
                    </a:lnTo>
                    <a:lnTo>
                      <a:pt x="1387" y="253"/>
                    </a:lnTo>
                    <a:lnTo>
                      <a:pt x="1387" y="252"/>
                    </a:lnTo>
                    <a:lnTo>
                      <a:pt x="1385" y="252"/>
                    </a:lnTo>
                    <a:lnTo>
                      <a:pt x="1385" y="253"/>
                    </a:lnTo>
                    <a:lnTo>
                      <a:pt x="1385" y="255"/>
                    </a:lnTo>
                    <a:lnTo>
                      <a:pt x="1383" y="255"/>
                    </a:lnTo>
                    <a:lnTo>
                      <a:pt x="1383" y="257"/>
                    </a:lnTo>
                    <a:lnTo>
                      <a:pt x="1382" y="257"/>
                    </a:lnTo>
                    <a:lnTo>
                      <a:pt x="1382" y="258"/>
                    </a:lnTo>
                    <a:lnTo>
                      <a:pt x="1382" y="260"/>
                    </a:lnTo>
                    <a:lnTo>
                      <a:pt x="1380" y="260"/>
                    </a:lnTo>
                    <a:lnTo>
                      <a:pt x="1380" y="262"/>
                    </a:lnTo>
                    <a:lnTo>
                      <a:pt x="1380" y="263"/>
                    </a:lnTo>
                    <a:lnTo>
                      <a:pt x="1380" y="265"/>
                    </a:lnTo>
                    <a:lnTo>
                      <a:pt x="1382" y="267"/>
                    </a:lnTo>
                    <a:lnTo>
                      <a:pt x="1383" y="267"/>
                    </a:lnTo>
                    <a:lnTo>
                      <a:pt x="1383" y="269"/>
                    </a:lnTo>
                    <a:lnTo>
                      <a:pt x="1383" y="270"/>
                    </a:lnTo>
                    <a:lnTo>
                      <a:pt x="1385" y="270"/>
                    </a:lnTo>
                    <a:lnTo>
                      <a:pt x="1385" y="272"/>
                    </a:lnTo>
                    <a:lnTo>
                      <a:pt x="1387" y="272"/>
                    </a:lnTo>
                    <a:lnTo>
                      <a:pt x="1387" y="274"/>
                    </a:lnTo>
                    <a:lnTo>
                      <a:pt x="1387" y="275"/>
                    </a:lnTo>
                    <a:lnTo>
                      <a:pt x="1385" y="275"/>
                    </a:lnTo>
                    <a:lnTo>
                      <a:pt x="1385" y="277"/>
                    </a:lnTo>
                    <a:lnTo>
                      <a:pt x="1385" y="275"/>
                    </a:lnTo>
                    <a:lnTo>
                      <a:pt x="1383" y="275"/>
                    </a:lnTo>
                    <a:lnTo>
                      <a:pt x="1382" y="277"/>
                    </a:lnTo>
                    <a:lnTo>
                      <a:pt x="1382" y="279"/>
                    </a:lnTo>
                    <a:lnTo>
                      <a:pt x="1382" y="280"/>
                    </a:lnTo>
                    <a:lnTo>
                      <a:pt x="1380" y="280"/>
                    </a:lnTo>
                    <a:lnTo>
                      <a:pt x="1380" y="282"/>
                    </a:lnTo>
                    <a:lnTo>
                      <a:pt x="1380" y="284"/>
                    </a:lnTo>
                    <a:lnTo>
                      <a:pt x="1382" y="284"/>
                    </a:lnTo>
                    <a:lnTo>
                      <a:pt x="1382" y="286"/>
                    </a:lnTo>
                    <a:lnTo>
                      <a:pt x="1380" y="286"/>
                    </a:lnTo>
                    <a:lnTo>
                      <a:pt x="1380" y="287"/>
                    </a:lnTo>
                    <a:lnTo>
                      <a:pt x="1378" y="287"/>
                    </a:lnTo>
                    <a:lnTo>
                      <a:pt x="1380" y="289"/>
                    </a:lnTo>
                    <a:lnTo>
                      <a:pt x="1380" y="291"/>
                    </a:lnTo>
                    <a:lnTo>
                      <a:pt x="1380" y="292"/>
                    </a:lnTo>
                    <a:lnTo>
                      <a:pt x="1382" y="292"/>
                    </a:lnTo>
                    <a:lnTo>
                      <a:pt x="1380" y="294"/>
                    </a:lnTo>
                    <a:lnTo>
                      <a:pt x="1380" y="296"/>
                    </a:lnTo>
                    <a:lnTo>
                      <a:pt x="1382" y="296"/>
                    </a:lnTo>
                    <a:lnTo>
                      <a:pt x="1382" y="297"/>
                    </a:lnTo>
                    <a:lnTo>
                      <a:pt x="1383" y="299"/>
                    </a:lnTo>
                    <a:lnTo>
                      <a:pt x="1383" y="304"/>
                    </a:lnTo>
                    <a:lnTo>
                      <a:pt x="1385" y="308"/>
                    </a:lnTo>
                    <a:lnTo>
                      <a:pt x="1385" y="309"/>
                    </a:lnTo>
                    <a:lnTo>
                      <a:pt x="1385" y="313"/>
                    </a:lnTo>
                    <a:lnTo>
                      <a:pt x="1385" y="316"/>
                    </a:lnTo>
                    <a:lnTo>
                      <a:pt x="1383" y="316"/>
                    </a:lnTo>
                    <a:lnTo>
                      <a:pt x="1382" y="318"/>
                    </a:lnTo>
                    <a:lnTo>
                      <a:pt x="1380" y="320"/>
                    </a:lnTo>
                    <a:lnTo>
                      <a:pt x="1380" y="323"/>
                    </a:lnTo>
                    <a:lnTo>
                      <a:pt x="1378" y="325"/>
                    </a:lnTo>
                    <a:lnTo>
                      <a:pt x="1378" y="326"/>
                    </a:lnTo>
                    <a:lnTo>
                      <a:pt x="1380" y="328"/>
                    </a:lnTo>
                    <a:lnTo>
                      <a:pt x="1380" y="330"/>
                    </a:lnTo>
                    <a:lnTo>
                      <a:pt x="1382" y="331"/>
                    </a:lnTo>
                    <a:lnTo>
                      <a:pt x="1382" y="333"/>
                    </a:lnTo>
                    <a:lnTo>
                      <a:pt x="1383" y="333"/>
                    </a:lnTo>
                    <a:lnTo>
                      <a:pt x="1383" y="335"/>
                    </a:lnTo>
                    <a:lnTo>
                      <a:pt x="1385" y="338"/>
                    </a:lnTo>
                    <a:lnTo>
                      <a:pt x="1387" y="338"/>
                    </a:lnTo>
                    <a:lnTo>
                      <a:pt x="1387" y="340"/>
                    </a:lnTo>
                    <a:lnTo>
                      <a:pt x="1389" y="342"/>
                    </a:lnTo>
                    <a:lnTo>
                      <a:pt x="1389" y="343"/>
                    </a:lnTo>
                    <a:lnTo>
                      <a:pt x="1390" y="343"/>
                    </a:lnTo>
                    <a:lnTo>
                      <a:pt x="1389" y="343"/>
                    </a:lnTo>
                    <a:lnTo>
                      <a:pt x="1389" y="345"/>
                    </a:lnTo>
                    <a:lnTo>
                      <a:pt x="1389" y="347"/>
                    </a:lnTo>
                    <a:lnTo>
                      <a:pt x="1389" y="349"/>
                    </a:lnTo>
                    <a:lnTo>
                      <a:pt x="1387" y="349"/>
                    </a:lnTo>
                    <a:lnTo>
                      <a:pt x="1385" y="349"/>
                    </a:lnTo>
                    <a:lnTo>
                      <a:pt x="1383" y="349"/>
                    </a:lnTo>
                    <a:lnTo>
                      <a:pt x="1383" y="350"/>
                    </a:lnTo>
                    <a:lnTo>
                      <a:pt x="1382" y="349"/>
                    </a:lnTo>
                    <a:lnTo>
                      <a:pt x="1383" y="350"/>
                    </a:lnTo>
                    <a:lnTo>
                      <a:pt x="1382" y="352"/>
                    </a:lnTo>
                    <a:lnTo>
                      <a:pt x="1380" y="350"/>
                    </a:lnTo>
                    <a:lnTo>
                      <a:pt x="1380" y="352"/>
                    </a:lnTo>
                    <a:lnTo>
                      <a:pt x="1380" y="354"/>
                    </a:lnTo>
                    <a:lnTo>
                      <a:pt x="1378" y="352"/>
                    </a:lnTo>
                    <a:lnTo>
                      <a:pt x="1378" y="354"/>
                    </a:lnTo>
                    <a:lnTo>
                      <a:pt x="1377" y="352"/>
                    </a:lnTo>
                    <a:lnTo>
                      <a:pt x="1377" y="350"/>
                    </a:lnTo>
                    <a:lnTo>
                      <a:pt x="1375" y="350"/>
                    </a:lnTo>
                    <a:lnTo>
                      <a:pt x="1373" y="350"/>
                    </a:lnTo>
                    <a:lnTo>
                      <a:pt x="1372" y="350"/>
                    </a:lnTo>
                    <a:lnTo>
                      <a:pt x="1372" y="352"/>
                    </a:lnTo>
                    <a:lnTo>
                      <a:pt x="1370" y="352"/>
                    </a:lnTo>
                    <a:lnTo>
                      <a:pt x="1370" y="354"/>
                    </a:lnTo>
                    <a:lnTo>
                      <a:pt x="1370" y="355"/>
                    </a:lnTo>
                    <a:lnTo>
                      <a:pt x="1370" y="357"/>
                    </a:lnTo>
                    <a:lnTo>
                      <a:pt x="1372" y="357"/>
                    </a:lnTo>
                    <a:lnTo>
                      <a:pt x="1370" y="357"/>
                    </a:lnTo>
                    <a:lnTo>
                      <a:pt x="1370" y="359"/>
                    </a:lnTo>
                    <a:lnTo>
                      <a:pt x="1368" y="359"/>
                    </a:lnTo>
                    <a:lnTo>
                      <a:pt x="1368" y="360"/>
                    </a:lnTo>
                    <a:lnTo>
                      <a:pt x="1368" y="362"/>
                    </a:lnTo>
                    <a:lnTo>
                      <a:pt x="1366" y="362"/>
                    </a:lnTo>
                    <a:lnTo>
                      <a:pt x="1368" y="362"/>
                    </a:lnTo>
                    <a:lnTo>
                      <a:pt x="1366" y="364"/>
                    </a:lnTo>
                    <a:lnTo>
                      <a:pt x="1366" y="362"/>
                    </a:lnTo>
                    <a:lnTo>
                      <a:pt x="1366" y="364"/>
                    </a:lnTo>
                    <a:lnTo>
                      <a:pt x="1365" y="364"/>
                    </a:lnTo>
                    <a:lnTo>
                      <a:pt x="1366" y="364"/>
                    </a:lnTo>
                    <a:lnTo>
                      <a:pt x="1366" y="366"/>
                    </a:lnTo>
                    <a:lnTo>
                      <a:pt x="1366" y="367"/>
                    </a:lnTo>
                    <a:lnTo>
                      <a:pt x="1365" y="367"/>
                    </a:lnTo>
                    <a:lnTo>
                      <a:pt x="1366" y="367"/>
                    </a:lnTo>
                    <a:lnTo>
                      <a:pt x="1365" y="369"/>
                    </a:lnTo>
                    <a:lnTo>
                      <a:pt x="1363" y="369"/>
                    </a:lnTo>
                    <a:lnTo>
                      <a:pt x="1363" y="371"/>
                    </a:lnTo>
                    <a:lnTo>
                      <a:pt x="1363" y="372"/>
                    </a:lnTo>
                    <a:lnTo>
                      <a:pt x="1363" y="374"/>
                    </a:lnTo>
                    <a:lnTo>
                      <a:pt x="1361" y="374"/>
                    </a:lnTo>
                    <a:lnTo>
                      <a:pt x="1361" y="376"/>
                    </a:lnTo>
                    <a:lnTo>
                      <a:pt x="1361" y="377"/>
                    </a:lnTo>
                    <a:lnTo>
                      <a:pt x="1361" y="379"/>
                    </a:lnTo>
                    <a:lnTo>
                      <a:pt x="1361" y="381"/>
                    </a:lnTo>
                    <a:lnTo>
                      <a:pt x="1360" y="381"/>
                    </a:lnTo>
                    <a:lnTo>
                      <a:pt x="1360" y="383"/>
                    </a:lnTo>
                    <a:lnTo>
                      <a:pt x="1360" y="384"/>
                    </a:lnTo>
                    <a:lnTo>
                      <a:pt x="1358" y="383"/>
                    </a:lnTo>
                    <a:lnTo>
                      <a:pt x="1356" y="384"/>
                    </a:lnTo>
                    <a:lnTo>
                      <a:pt x="1356" y="386"/>
                    </a:lnTo>
                    <a:lnTo>
                      <a:pt x="1355" y="388"/>
                    </a:lnTo>
                    <a:lnTo>
                      <a:pt x="1355" y="389"/>
                    </a:lnTo>
                    <a:lnTo>
                      <a:pt x="1353" y="391"/>
                    </a:lnTo>
                    <a:lnTo>
                      <a:pt x="1353" y="393"/>
                    </a:lnTo>
                    <a:lnTo>
                      <a:pt x="1351" y="393"/>
                    </a:lnTo>
                    <a:lnTo>
                      <a:pt x="1349" y="391"/>
                    </a:lnTo>
                    <a:lnTo>
                      <a:pt x="1349" y="393"/>
                    </a:lnTo>
                    <a:lnTo>
                      <a:pt x="1349" y="394"/>
                    </a:lnTo>
                    <a:lnTo>
                      <a:pt x="1348" y="394"/>
                    </a:lnTo>
                    <a:lnTo>
                      <a:pt x="1348" y="396"/>
                    </a:lnTo>
                    <a:lnTo>
                      <a:pt x="1348" y="398"/>
                    </a:lnTo>
                    <a:lnTo>
                      <a:pt x="1346" y="398"/>
                    </a:lnTo>
                    <a:lnTo>
                      <a:pt x="1344" y="398"/>
                    </a:lnTo>
                    <a:lnTo>
                      <a:pt x="1346" y="400"/>
                    </a:lnTo>
                    <a:lnTo>
                      <a:pt x="1344" y="400"/>
                    </a:lnTo>
                    <a:lnTo>
                      <a:pt x="1343" y="400"/>
                    </a:lnTo>
                    <a:lnTo>
                      <a:pt x="1343" y="401"/>
                    </a:lnTo>
                    <a:lnTo>
                      <a:pt x="1344" y="401"/>
                    </a:lnTo>
                    <a:lnTo>
                      <a:pt x="1343" y="401"/>
                    </a:lnTo>
                    <a:lnTo>
                      <a:pt x="1343" y="403"/>
                    </a:lnTo>
                    <a:lnTo>
                      <a:pt x="1343" y="405"/>
                    </a:lnTo>
                    <a:lnTo>
                      <a:pt x="1343" y="406"/>
                    </a:lnTo>
                    <a:lnTo>
                      <a:pt x="1341" y="406"/>
                    </a:lnTo>
                    <a:lnTo>
                      <a:pt x="1343" y="408"/>
                    </a:lnTo>
                    <a:lnTo>
                      <a:pt x="1341" y="408"/>
                    </a:lnTo>
                    <a:lnTo>
                      <a:pt x="1341" y="410"/>
                    </a:lnTo>
                    <a:lnTo>
                      <a:pt x="1341" y="411"/>
                    </a:lnTo>
                    <a:lnTo>
                      <a:pt x="1341" y="413"/>
                    </a:lnTo>
                    <a:lnTo>
                      <a:pt x="1341" y="415"/>
                    </a:lnTo>
                    <a:lnTo>
                      <a:pt x="1341" y="417"/>
                    </a:lnTo>
                    <a:lnTo>
                      <a:pt x="1339" y="417"/>
                    </a:lnTo>
                    <a:lnTo>
                      <a:pt x="1339" y="418"/>
                    </a:lnTo>
                    <a:lnTo>
                      <a:pt x="1339" y="420"/>
                    </a:lnTo>
                    <a:lnTo>
                      <a:pt x="1339" y="422"/>
                    </a:lnTo>
                    <a:lnTo>
                      <a:pt x="1339" y="423"/>
                    </a:lnTo>
                    <a:lnTo>
                      <a:pt x="1338" y="423"/>
                    </a:lnTo>
                    <a:lnTo>
                      <a:pt x="1339" y="425"/>
                    </a:lnTo>
                    <a:lnTo>
                      <a:pt x="1338" y="425"/>
                    </a:lnTo>
                    <a:lnTo>
                      <a:pt x="1338" y="427"/>
                    </a:lnTo>
                    <a:lnTo>
                      <a:pt x="1339" y="427"/>
                    </a:lnTo>
                    <a:lnTo>
                      <a:pt x="1338" y="427"/>
                    </a:lnTo>
                    <a:lnTo>
                      <a:pt x="1338" y="428"/>
                    </a:lnTo>
                    <a:lnTo>
                      <a:pt x="1336" y="428"/>
                    </a:lnTo>
                    <a:lnTo>
                      <a:pt x="1334" y="428"/>
                    </a:lnTo>
                    <a:lnTo>
                      <a:pt x="1334" y="430"/>
                    </a:lnTo>
                    <a:lnTo>
                      <a:pt x="1332" y="430"/>
                    </a:lnTo>
                    <a:lnTo>
                      <a:pt x="1332" y="432"/>
                    </a:lnTo>
                    <a:lnTo>
                      <a:pt x="1332" y="434"/>
                    </a:lnTo>
                    <a:lnTo>
                      <a:pt x="1331" y="434"/>
                    </a:lnTo>
                    <a:lnTo>
                      <a:pt x="1331" y="435"/>
                    </a:lnTo>
                    <a:lnTo>
                      <a:pt x="1331" y="437"/>
                    </a:lnTo>
                    <a:lnTo>
                      <a:pt x="1331" y="439"/>
                    </a:lnTo>
                    <a:lnTo>
                      <a:pt x="1332" y="439"/>
                    </a:lnTo>
                    <a:lnTo>
                      <a:pt x="1332" y="440"/>
                    </a:lnTo>
                    <a:lnTo>
                      <a:pt x="1332" y="442"/>
                    </a:lnTo>
                    <a:lnTo>
                      <a:pt x="1332" y="444"/>
                    </a:lnTo>
                    <a:lnTo>
                      <a:pt x="1334" y="444"/>
                    </a:lnTo>
                    <a:lnTo>
                      <a:pt x="1332" y="445"/>
                    </a:lnTo>
                    <a:lnTo>
                      <a:pt x="1334" y="445"/>
                    </a:lnTo>
                    <a:lnTo>
                      <a:pt x="1332" y="447"/>
                    </a:lnTo>
                    <a:lnTo>
                      <a:pt x="1334" y="447"/>
                    </a:lnTo>
                    <a:lnTo>
                      <a:pt x="1332" y="447"/>
                    </a:lnTo>
                    <a:lnTo>
                      <a:pt x="1332" y="449"/>
                    </a:lnTo>
                    <a:lnTo>
                      <a:pt x="1334" y="449"/>
                    </a:lnTo>
                    <a:lnTo>
                      <a:pt x="1334" y="451"/>
                    </a:lnTo>
                    <a:lnTo>
                      <a:pt x="1336" y="451"/>
                    </a:lnTo>
                    <a:lnTo>
                      <a:pt x="1336" y="452"/>
                    </a:lnTo>
                    <a:lnTo>
                      <a:pt x="1334" y="452"/>
                    </a:lnTo>
                    <a:lnTo>
                      <a:pt x="1334" y="454"/>
                    </a:lnTo>
                    <a:lnTo>
                      <a:pt x="1334" y="456"/>
                    </a:lnTo>
                    <a:lnTo>
                      <a:pt x="1336" y="456"/>
                    </a:lnTo>
                    <a:lnTo>
                      <a:pt x="1334" y="457"/>
                    </a:lnTo>
                    <a:lnTo>
                      <a:pt x="1336" y="457"/>
                    </a:lnTo>
                    <a:lnTo>
                      <a:pt x="1334" y="459"/>
                    </a:lnTo>
                    <a:lnTo>
                      <a:pt x="1334" y="461"/>
                    </a:lnTo>
                    <a:lnTo>
                      <a:pt x="1334" y="462"/>
                    </a:lnTo>
                    <a:lnTo>
                      <a:pt x="1334" y="464"/>
                    </a:lnTo>
                    <a:lnTo>
                      <a:pt x="1332" y="464"/>
                    </a:lnTo>
                    <a:lnTo>
                      <a:pt x="1332" y="466"/>
                    </a:lnTo>
                    <a:lnTo>
                      <a:pt x="1334" y="466"/>
                    </a:lnTo>
                    <a:lnTo>
                      <a:pt x="1336" y="466"/>
                    </a:lnTo>
                    <a:lnTo>
                      <a:pt x="1336" y="468"/>
                    </a:lnTo>
                    <a:lnTo>
                      <a:pt x="1338" y="468"/>
                    </a:lnTo>
                    <a:lnTo>
                      <a:pt x="1338" y="469"/>
                    </a:lnTo>
                    <a:lnTo>
                      <a:pt x="1338" y="471"/>
                    </a:lnTo>
                    <a:lnTo>
                      <a:pt x="1336" y="471"/>
                    </a:lnTo>
                    <a:lnTo>
                      <a:pt x="1336" y="469"/>
                    </a:lnTo>
                    <a:lnTo>
                      <a:pt x="1336" y="471"/>
                    </a:lnTo>
                    <a:lnTo>
                      <a:pt x="1336" y="473"/>
                    </a:lnTo>
                    <a:lnTo>
                      <a:pt x="1334" y="473"/>
                    </a:lnTo>
                    <a:lnTo>
                      <a:pt x="1334" y="474"/>
                    </a:lnTo>
                    <a:lnTo>
                      <a:pt x="1334" y="476"/>
                    </a:lnTo>
                    <a:lnTo>
                      <a:pt x="1332" y="476"/>
                    </a:lnTo>
                    <a:lnTo>
                      <a:pt x="1331" y="476"/>
                    </a:lnTo>
                    <a:lnTo>
                      <a:pt x="1331" y="478"/>
                    </a:lnTo>
                    <a:lnTo>
                      <a:pt x="1329" y="478"/>
                    </a:lnTo>
                    <a:lnTo>
                      <a:pt x="1329" y="476"/>
                    </a:lnTo>
                    <a:lnTo>
                      <a:pt x="1327" y="476"/>
                    </a:lnTo>
                    <a:lnTo>
                      <a:pt x="1327" y="474"/>
                    </a:lnTo>
                    <a:lnTo>
                      <a:pt x="1326" y="476"/>
                    </a:lnTo>
                    <a:lnTo>
                      <a:pt x="1327" y="478"/>
                    </a:lnTo>
                    <a:lnTo>
                      <a:pt x="1327" y="479"/>
                    </a:lnTo>
                    <a:lnTo>
                      <a:pt x="1326" y="479"/>
                    </a:lnTo>
                    <a:lnTo>
                      <a:pt x="1326" y="481"/>
                    </a:lnTo>
                    <a:lnTo>
                      <a:pt x="1324" y="481"/>
                    </a:lnTo>
                    <a:lnTo>
                      <a:pt x="1326" y="481"/>
                    </a:lnTo>
                    <a:lnTo>
                      <a:pt x="1324" y="483"/>
                    </a:lnTo>
                    <a:lnTo>
                      <a:pt x="1324" y="485"/>
                    </a:lnTo>
                    <a:lnTo>
                      <a:pt x="1324" y="486"/>
                    </a:lnTo>
                    <a:lnTo>
                      <a:pt x="1322" y="486"/>
                    </a:lnTo>
                    <a:lnTo>
                      <a:pt x="1322" y="488"/>
                    </a:lnTo>
                    <a:lnTo>
                      <a:pt x="1324" y="488"/>
                    </a:lnTo>
                    <a:lnTo>
                      <a:pt x="1322" y="488"/>
                    </a:lnTo>
                    <a:lnTo>
                      <a:pt x="1322" y="490"/>
                    </a:lnTo>
                    <a:lnTo>
                      <a:pt x="1322" y="491"/>
                    </a:lnTo>
                    <a:lnTo>
                      <a:pt x="1322" y="493"/>
                    </a:lnTo>
                    <a:lnTo>
                      <a:pt x="1322" y="495"/>
                    </a:lnTo>
                    <a:lnTo>
                      <a:pt x="1321" y="495"/>
                    </a:lnTo>
                    <a:lnTo>
                      <a:pt x="1321" y="497"/>
                    </a:lnTo>
                    <a:lnTo>
                      <a:pt x="1321" y="498"/>
                    </a:lnTo>
                    <a:lnTo>
                      <a:pt x="1321" y="500"/>
                    </a:lnTo>
                    <a:lnTo>
                      <a:pt x="1321" y="502"/>
                    </a:lnTo>
                    <a:lnTo>
                      <a:pt x="1322" y="502"/>
                    </a:lnTo>
                    <a:lnTo>
                      <a:pt x="1322" y="503"/>
                    </a:lnTo>
                    <a:lnTo>
                      <a:pt x="1321" y="503"/>
                    </a:lnTo>
                    <a:lnTo>
                      <a:pt x="1319" y="503"/>
                    </a:lnTo>
                    <a:lnTo>
                      <a:pt x="1319" y="505"/>
                    </a:lnTo>
                    <a:lnTo>
                      <a:pt x="1319" y="507"/>
                    </a:lnTo>
                    <a:lnTo>
                      <a:pt x="1317" y="508"/>
                    </a:lnTo>
                    <a:lnTo>
                      <a:pt x="1317" y="507"/>
                    </a:lnTo>
                    <a:lnTo>
                      <a:pt x="1317" y="505"/>
                    </a:lnTo>
                    <a:lnTo>
                      <a:pt x="1315" y="505"/>
                    </a:lnTo>
                    <a:lnTo>
                      <a:pt x="1315" y="503"/>
                    </a:lnTo>
                    <a:lnTo>
                      <a:pt x="1315" y="505"/>
                    </a:lnTo>
                    <a:lnTo>
                      <a:pt x="1314" y="505"/>
                    </a:lnTo>
                    <a:lnTo>
                      <a:pt x="1314" y="507"/>
                    </a:lnTo>
                    <a:lnTo>
                      <a:pt x="1314" y="508"/>
                    </a:lnTo>
                    <a:lnTo>
                      <a:pt x="1314" y="510"/>
                    </a:lnTo>
                    <a:lnTo>
                      <a:pt x="1314" y="512"/>
                    </a:lnTo>
                    <a:lnTo>
                      <a:pt x="1312" y="514"/>
                    </a:lnTo>
                    <a:lnTo>
                      <a:pt x="1314" y="514"/>
                    </a:lnTo>
                    <a:lnTo>
                      <a:pt x="1314" y="515"/>
                    </a:lnTo>
                    <a:lnTo>
                      <a:pt x="1314" y="517"/>
                    </a:lnTo>
                    <a:lnTo>
                      <a:pt x="1312" y="517"/>
                    </a:lnTo>
                    <a:lnTo>
                      <a:pt x="1312" y="519"/>
                    </a:lnTo>
                    <a:lnTo>
                      <a:pt x="1312" y="520"/>
                    </a:lnTo>
                    <a:lnTo>
                      <a:pt x="1312" y="522"/>
                    </a:lnTo>
                    <a:lnTo>
                      <a:pt x="1312" y="524"/>
                    </a:lnTo>
                    <a:lnTo>
                      <a:pt x="1312" y="525"/>
                    </a:lnTo>
                    <a:lnTo>
                      <a:pt x="1314" y="525"/>
                    </a:lnTo>
                    <a:lnTo>
                      <a:pt x="1314" y="527"/>
                    </a:lnTo>
                    <a:lnTo>
                      <a:pt x="1315" y="527"/>
                    </a:lnTo>
                    <a:lnTo>
                      <a:pt x="1315" y="529"/>
                    </a:lnTo>
                    <a:lnTo>
                      <a:pt x="1315" y="531"/>
                    </a:lnTo>
                    <a:lnTo>
                      <a:pt x="1315" y="532"/>
                    </a:lnTo>
                    <a:lnTo>
                      <a:pt x="1315" y="534"/>
                    </a:lnTo>
                    <a:lnTo>
                      <a:pt x="1317" y="536"/>
                    </a:lnTo>
                    <a:lnTo>
                      <a:pt x="1319" y="536"/>
                    </a:lnTo>
                    <a:lnTo>
                      <a:pt x="1321" y="536"/>
                    </a:lnTo>
                    <a:lnTo>
                      <a:pt x="1322" y="536"/>
                    </a:lnTo>
                    <a:lnTo>
                      <a:pt x="1322" y="537"/>
                    </a:lnTo>
                    <a:lnTo>
                      <a:pt x="1324" y="537"/>
                    </a:lnTo>
                    <a:lnTo>
                      <a:pt x="1324" y="539"/>
                    </a:lnTo>
                    <a:lnTo>
                      <a:pt x="1322" y="541"/>
                    </a:lnTo>
                    <a:lnTo>
                      <a:pt x="1322" y="542"/>
                    </a:lnTo>
                    <a:lnTo>
                      <a:pt x="1321" y="542"/>
                    </a:lnTo>
                    <a:lnTo>
                      <a:pt x="1319" y="541"/>
                    </a:lnTo>
                    <a:lnTo>
                      <a:pt x="1319" y="542"/>
                    </a:lnTo>
                    <a:lnTo>
                      <a:pt x="1321" y="544"/>
                    </a:lnTo>
                    <a:lnTo>
                      <a:pt x="1319" y="544"/>
                    </a:lnTo>
                    <a:lnTo>
                      <a:pt x="1321" y="544"/>
                    </a:lnTo>
                    <a:lnTo>
                      <a:pt x="1321" y="546"/>
                    </a:lnTo>
                    <a:lnTo>
                      <a:pt x="1321" y="548"/>
                    </a:lnTo>
                    <a:lnTo>
                      <a:pt x="1321" y="549"/>
                    </a:lnTo>
                    <a:lnTo>
                      <a:pt x="1321" y="551"/>
                    </a:lnTo>
                    <a:lnTo>
                      <a:pt x="1322" y="553"/>
                    </a:lnTo>
                    <a:lnTo>
                      <a:pt x="1324" y="553"/>
                    </a:lnTo>
                    <a:lnTo>
                      <a:pt x="1324" y="554"/>
                    </a:lnTo>
                    <a:lnTo>
                      <a:pt x="1324" y="556"/>
                    </a:lnTo>
                    <a:lnTo>
                      <a:pt x="1324" y="558"/>
                    </a:lnTo>
                    <a:lnTo>
                      <a:pt x="1326" y="559"/>
                    </a:lnTo>
                    <a:lnTo>
                      <a:pt x="1327" y="559"/>
                    </a:lnTo>
                    <a:lnTo>
                      <a:pt x="1326" y="561"/>
                    </a:lnTo>
                    <a:lnTo>
                      <a:pt x="1327" y="561"/>
                    </a:lnTo>
                    <a:lnTo>
                      <a:pt x="1327" y="563"/>
                    </a:lnTo>
                    <a:lnTo>
                      <a:pt x="1326" y="565"/>
                    </a:lnTo>
                    <a:lnTo>
                      <a:pt x="1326" y="566"/>
                    </a:lnTo>
                    <a:lnTo>
                      <a:pt x="1326" y="568"/>
                    </a:lnTo>
                    <a:lnTo>
                      <a:pt x="1326" y="570"/>
                    </a:lnTo>
                    <a:lnTo>
                      <a:pt x="1327" y="570"/>
                    </a:lnTo>
                    <a:lnTo>
                      <a:pt x="1327" y="571"/>
                    </a:lnTo>
                    <a:lnTo>
                      <a:pt x="1327" y="573"/>
                    </a:lnTo>
                    <a:lnTo>
                      <a:pt x="1329" y="573"/>
                    </a:lnTo>
                    <a:lnTo>
                      <a:pt x="1329" y="575"/>
                    </a:lnTo>
                    <a:lnTo>
                      <a:pt x="1331" y="576"/>
                    </a:lnTo>
                    <a:lnTo>
                      <a:pt x="1331" y="578"/>
                    </a:lnTo>
                    <a:lnTo>
                      <a:pt x="1331" y="580"/>
                    </a:lnTo>
                    <a:lnTo>
                      <a:pt x="1332" y="580"/>
                    </a:lnTo>
                    <a:lnTo>
                      <a:pt x="1331" y="580"/>
                    </a:lnTo>
                    <a:lnTo>
                      <a:pt x="1331" y="582"/>
                    </a:lnTo>
                    <a:lnTo>
                      <a:pt x="1329" y="582"/>
                    </a:lnTo>
                    <a:lnTo>
                      <a:pt x="1327" y="583"/>
                    </a:lnTo>
                    <a:lnTo>
                      <a:pt x="1329" y="583"/>
                    </a:lnTo>
                    <a:lnTo>
                      <a:pt x="1329" y="585"/>
                    </a:lnTo>
                    <a:lnTo>
                      <a:pt x="1329" y="587"/>
                    </a:lnTo>
                    <a:lnTo>
                      <a:pt x="1329" y="588"/>
                    </a:lnTo>
                    <a:lnTo>
                      <a:pt x="1329" y="590"/>
                    </a:lnTo>
                    <a:lnTo>
                      <a:pt x="1331" y="590"/>
                    </a:lnTo>
                    <a:lnTo>
                      <a:pt x="1331" y="592"/>
                    </a:lnTo>
                    <a:lnTo>
                      <a:pt x="1331" y="593"/>
                    </a:lnTo>
                    <a:lnTo>
                      <a:pt x="1332" y="593"/>
                    </a:lnTo>
                    <a:lnTo>
                      <a:pt x="1332" y="592"/>
                    </a:lnTo>
                    <a:lnTo>
                      <a:pt x="1334" y="592"/>
                    </a:lnTo>
                    <a:lnTo>
                      <a:pt x="1334" y="590"/>
                    </a:lnTo>
                    <a:lnTo>
                      <a:pt x="1334" y="592"/>
                    </a:lnTo>
                    <a:lnTo>
                      <a:pt x="1336" y="592"/>
                    </a:lnTo>
                    <a:lnTo>
                      <a:pt x="1338" y="592"/>
                    </a:lnTo>
                    <a:lnTo>
                      <a:pt x="1338" y="593"/>
                    </a:lnTo>
                    <a:lnTo>
                      <a:pt x="1339" y="593"/>
                    </a:lnTo>
                    <a:lnTo>
                      <a:pt x="1339" y="595"/>
                    </a:lnTo>
                    <a:lnTo>
                      <a:pt x="1339" y="597"/>
                    </a:lnTo>
                    <a:lnTo>
                      <a:pt x="1338" y="597"/>
                    </a:lnTo>
                    <a:lnTo>
                      <a:pt x="1338" y="599"/>
                    </a:lnTo>
                    <a:lnTo>
                      <a:pt x="1338" y="600"/>
                    </a:lnTo>
                    <a:lnTo>
                      <a:pt x="1338" y="602"/>
                    </a:lnTo>
                    <a:lnTo>
                      <a:pt x="1336" y="602"/>
                    </a:lnTo>
                    <a:lnTo>
                      <a:pt x="1336" y="604"/>
                    </a:lnTo>
                    <a:lnTo>
                      <a:pt x="1336" y="605"/>
                    </a:lnTo>
                    <a:lnTo>
                      <a:pt x="1336" y="607"/>
                    </a:lnTo>
                    <a:lnTo>
                      <a:pt x="1336" y="609"/>
                    </a:lnTo>
                    <a:lnTo>
                      <a:pt x="1336" y="610"/>
                    </a:lnTo>
                    <a:lnTo>
                      <a:pt x="1334" y="610"/>
                    </a:lnTo>
                    <a:lnTo>
                      <a:pt x="1334" y="612"/>
                    </a:lnTo>
                    <a:lnTo>
                      <a:pt x="1334" y="614"/>
                    </a:lnTo>
                    <a:lnTo>
                      <a:pt x="1334" y="616"/>
                    </a:lnTo>
                    <a:lnTo>
                      <a:pt x="1336" y="616"/>
                    </a:lnTo>
                    <a:lnTo>
                      <a:pt x="1336" y="617"/>
                    </a:lnTo>
                    <a:lnTo>
                      <a:pt x="1334" y="617"/>
                    </a:lnTo>
                    <a:lnTo>
                      <a:pt x="1334" y="619"/>
                    </a:lnTo>
                    <a:lnTo>
                      <a:pt x="1336" y="621"/>
                    </a:lnTo>
                    <a:lnTo>
                      <a:pt x="1336" y="619"/>
                    </a:lnTo>
                    <a:lnTo>
                      <a:pt x="1336" y="621"/>
                    </a:lnTo>
                    <a:lnTo>
                      <a:pt x="1338" y="622"/>
                    </a:lnTo>
                    <a:lnTo>
                      <a:pt x="1336" y="622"/>
                    </a:lnTo>
                    <a:lnTo>
                      <a:pt x="1336" y="624"/>
                    </a:lnTo>
                    <a:lnTo>
                      <a:pt x="1338" y="624"/>
                    </a:lnTo>
                    <a:lnTo>
                      <a:pt x="1336" y="626"/>
                    </a:lnTo>
                    <a:lnTo>
                      <a:pt x="1336" y="627"/>
                    </a:lnTo>
                    <a:lnTo>
                      <a:pt x="1338" y="627"/>
                    </a:lnTo>
                    <a:lnTo>
                      <a:pt x="1338" y="629"/>
                    </a:lnTo>
                    <a:lnTo>
                      <a:pt x="1338" y="631"/>
                    </a:lnTo>
                    <a:lnTo>
                      <a:pt x="1336" y="631"/>
                    </a:lnTo>
                    <a:lnTo>
                      <a:pt x="1336" y="633"/>
                    </a:lnTo>
                    <a:lnTo>
                      <a:pt x="1334" y="633"/>
                    </a:lnTo>
                    <a:lnTo>
                      <a:pt x="1332" y="633"/>
                    </a:lnTo>
                    <a:lnTo>
                      <a:pt x="1332" y="631"/>
                    </a:lnTo>
                    <a:lnTo>
                      <a:pt x="1332" y="633"/>
                    </a:lnTo>
                    <a:lnTo>
                      <a:pt x="1331" y="633"/>
                    </a:lnTo>
                    <a:lnTo>
                      <a:pt x="1331" y="634"/>
                    </a:lnTo>
                    <a:lnTo>
                      <a:pt x="1331" y="636"/>
                    </a:lnTo>
                    <a:lnTo>
                      <a:pt x="1331" y="638"/>
                    </a:lnTo>
                    <a:lnTo>
                      <a:pt x="1329" y="639"/>
                    </a:lnTo>
                    <a:lnTo>
                      <a:pt x="1329" y="641"/>
                    </a:lnTo>
                    <a:lnTo>
                      <a:pt x="1327" y="641"/>
                    </a:lnTo>
                    <a:lnTo>
                      <a:pt x="1326" y="643"/>
                    </a:lnTo>
                    <a:lnTo>
                      <a:pt x="1326" y="644"/>
                    </a:lnTo>
                    <a:lnTo>
                      <a:pt x="1324" y="646"/>
                    </a:lnTo>
                    <a:lnTo>
                      <a:pt x="1324" y="648"/>
                    </a:lnTo>
                    <a:lnTo>
                      <a:pt x="1324" y="650"/>
                    </a:lnTo>
                    <a:lnTo>
                      <a:pt x="1322" y="650"/>
                    </a:lnTo>
                    <a:lnTo>
                      <a:pt x="1322" y="651"/>
                    </a:lnTo>
                    <a:lnTo>
                      <a:pt x="1321" y="651"/>
                    </a:lnTo>
                    <a:lnTo>
                      <a:pt x="1321" y="653"/>
                    </a:lnTo>
                    <a:lnTo>
                      <a:pt x="1322" y="653"/>
                    </a:lnTo>
                    <a:lnTo>
                      <a:pt x="1322" y="655"/>
                    </a:lnTo>
                    <a:lnTo>
                      <a:pt x="1322" y="656"/>
                    </a:lnTo>
                    <a:lnTo>
                      <a:pt x="1321" y="658"/>
                    </a:lnTo>
                    <a:lnTo>
                      <a:pt x="1321" y="660"/>
                    </a:lnTo>
                    <a:lnTo>
                      <a:pt x="1321" y="662"/>
                    </a:lnTo>
                    <a:lnTo>
                      <a:pt x="1319" y="662"/>
                    </a:lnTo>
                    <a:lnTo>
                      <a:pt x="1319" y="663"/>
                    </a:lnTo>
                    <a:lnTo>
                      <a:pt x="1319" y="665"/>
                    </a:lnTo>
                    <a:lnTo>
                      <a:pt x="1319" y="667"/>
                    </a:lnTo>
                    <a:lnTo>
                      <a:pt x="1319" y="668"/>
                    </a:lnTo>
                    <a:lnTo>
                      <a:pt x="1319" y="670"/>
                    </a:lnTo>
                    <a:lnTo>
                      <a:pt x="1317" y="670"/>
                    </a:lnTo>
                    <a:lnTo>
                      <a:pt x="1315" y="670"/>
                    </a:lnTo>
                    <a:lnTo>
                      <a:pt x="1314" y="670"/>
                    </a:lnTo>
                    <a:lnTo>
                      <a:pt x="1312" y="670"/>
                    </a:lnTo>
                    <a:lnTo>
                      <a:pt x="1312" y="672"/>
                    </a:lnTo>
                    <a:lnTo>
                      <a:pt x="1312" y="673"/>
                    </a:lnTo>
                    <a:lnTo>
                      <a:pt x="1312" y="675"/>
                    </a:lnTo>
                    <a:lnTo>
                      <a:pt x="1314" y="675"/>
                    </a:lnTo>
                    <a:lnTo>
                      <a:pt x="1315" y="675"/>
                    </a:lnTo>
                    <a:lnTo>
                      <a:pt x="1317" y="675"/>
                    </a:lnTo>
                    <a:lnTo>
                      <a:pt x="1317" y="677"/>
                    </a:lnTo>
                    <a:lnTo>
                      <a:pt x="1315" y="679"/>
                    </a:lnTo>
                    <a:lnTo>
                      <a:pt x="1317" y="679"/>
                    </a:lnTo>
                    <a:lnTo>
                      <a:pt x="1315" y="680"/>
                    </a:lnTo>
                    <a:lnTo>
                      <a:pt x="1317" y="680"/>
                    </a:lnTo>
                    <a:lnTo>
                      <a:pt x="1315" y="682"/>
                    </a:lnTo>
                    <a:lnTo>
                      <a:pt x="1317" y="682"/>
                    </a:lnTo>
                    <a:lnTo>
                      <a:pt x="1319" y="684"/>
                    </a:lnTo>
                    <a:lnTo>
                      <a:pt x="1317" y="684"/>
                    </a:lnTo>
                    <a:lnTo>
                      <a:pt x="1317" y="685"/>
                    </a:lnTo>
                    <a:lnTo>
                      <a:pt x="1319" y="687"/>
                    </a:lnTo>
                    <a:lnTo>
                      <a:pt x="1317" y="689"/>
                    </a:lnTo>
                    <a:lnTo>
                      <a:pt x="1317" y="690"/>
                    </a:lnTo>
                    <a:lnTo>
                      <a:pt x="1319" y="690"/>
                    </a:lnTo>
                    <a:lnTo>
                      <a:pt x="1319" y="692"/>
                    </a:lnTo>
                    <a:lnTo>
                      <a:pt x="1319" y="694"/>
                    </a:lnTo>
                    <a:lnTo>
                      <a:pt x="1319" y="696"/>
                    </a:lnTo>
                    <a:lnTo>
                      <a:pt x="1321" y="696"/>
                    </a:lnTo>
                    <a:lnTo>
                      <a:pt x="1321" y="697"/>
                    </a:lnTo>
                    <a:lnTo>
                      <a:pt x="1319" y="697"/>
                    </a:lnTo>
                    <a:lnTo>
                      <a:pt x="1317" y="697"/>
                    </a:lnTo>
                    <a:lnTo>
                      <a:pt x="1317" y="699"/>
                    </a:lnTo>
                    <a:lnTo>
                      <a:pt x="1317" y="701"/>
                    </a:lnTo>
                    <a:lnTo>
                      <a:pt x="1319" y="701"/>
                    </a:lnTo>
                    <a:lnTo>
                      <a:pt x="1317" y="702"/>
                    </a:lnTo>
                    <a:lnTo>
                      <a:pt x="1319" y="702"/>
                    </a:lnTo>
                    <a:lnTo>
                      <a:pt x="1319" y="704"/>
                    </a:lnTo>
                    <a:lnTo>
                      <a:pt x="1319" y="706"/>
                    </a:lnTo>
                    <a:lnTo>
                      <a:pt x="1317" y="706"/>
                    </a:lnTo>
                    <a:lnTo>
                      <a:pt x="1317" y="707"/>
                    </a:lnTo>
                    <a:lnTo>
                      <a:pt x="1317" y="709"/>
                    </a:lnTo>
                    <a:lnTo>
                      <a:pt x="1317" y="711"/>
                    </a:lnTo>
                    <a:lnTo>
                      <a:pt x="1315" y="711"/>
                    </a:lnTo>
                    <a:lnTo>
                      <a:pt x="1314" y="711"/>
                    </a:lnTo>
                    <a:lnTo>
                      <a:pt x="1314" y="709"/>
                    </a:lnTo>
                    <a:lnTo>
                      <a:pt x="1312" y="709"/>
                    </a:lnTo>
                    <a:lnTo>
                      <a:pt x="1312" y="711"/>
                    </a:lnTo>
                    <a:lnTo>
                      <a:pt x="1310" y="711"/>
                    </a:lnTo>
                    <a:lnTo>
                      <a:pt x="1310" y="713"/>
                    </a:lnTo>
                    <a:lnTo>
                      <a:pt x="1310" y="714"/>
                    </a:lnTo>
                    <a:lnTo>
                      <a:pt x="1309" y="714"/>
                    </a:lnTo>
                    <a:lnTo>
                      <a:pt x="1307" y="714"/>
                    </a:lnTo>
                    <a:lnTo>
                      <a:pt x="1309" y="716"/>
                    </a:lnTo>
                    <a:lnTo>
                      <a:pt x="1307" y="718"/>
                    </a:lnTo>
                    <a:lnTo>
                      <a:pt x="1307" y="719"/>
                    </a:lnTo>
                    <a:lnTo>
                      <a:pt x="1309" y="719"/>
                    </a:lnTo>
                    <a:lnTo>
                      <a:pt x="1309" y="721"/>
                    </a:lnTo>
                    <a:lnTo>
                      <a:pt x="1307" y="721"/>
                    </a:lnTo>
                    <a:lnTo>
                      <a:pt x="1305" y="721"/>
                    </a:lnTo>
                    <a:lnTo>
                      <a:pt x="1304" y="721"/>
                    </a:lnTo>
                    <a:lnTo>
                      <a:pt x="1304" y="719"/>
                    </a:lnTo>
                    <a:lnTo>
                      <a:pt x="1304" y="721"/>
                    </a:lnTo>
                    <a:lnTo>
                      <a:pt x="1302" y="721"/>
                    </a:lnTo>
                    <a:lnTo>
                      <a:pt x="1302" y="719"/>
                    </a:lnTo>
                    <a:lnTo>
                      <a:pt x="1302" y="721"/>
                    </a:lnTo>
                    <a:lnTo>
                      <a:pt x="1302" y="723"/>
                    </a:lnTo>
                    <a:lnTo>
                      <a:pt x="1300" y="723"/>
                    </a:lnTo>
                    <a:lnTo>
                      <a:pt x="1300" y="724"/>
                    </a:lnTo>
                    <a:lnTo>
                      <a:pt x="1298" y="724"/>
                    </a:lnTo>
                    <a:lnTo>
                      <a:pt x="1297" y="724"/>
                    </a:lnTo>
                    <a:lnTo>
                      <a:pt x="1297" y="723"/>
                    </a:lnTo>
                    <a:lnTo>
                      <a:pt x="1297" y="724"/>
                    </a:lnTo>
                    <a:lnTo>
                      <a:pt x="1295" y="726"/>
                    </a:lnTo>
                    <a:lnTo>
                      <a:pt x="1297" y="726"/>
                    </a:lnTo>
                    <a:lnTo>
                      <a:pt x="1295" y="728"/>
                    </a:lnTo>
                    <a:lnTo>
                      <a:pt x="1297" y="728"/>
                    </a:lnTo>
                    <a:lnTo>
                      <a:pt x="1295" y="730"/>
                    </a:lnTo>
                    <a:lnTo>
                      <a:pt x="1297" y="730"/>
                    </a:lnTo>
                    <a:lnTo>
                      <a:pt x="1297" y="731"/>
                    </a:lnTo>
                    <a:lnTo>
                      <a:pt x="1297" y="733"/>
                    </a:lnTo>
                    <a:lnTo>
                      <a:pt x="1295" y="733"/>
                    </a:lnTo>
                    <a:lnTo>
                      <a:pt x="1295" y="731"/>
                    </a:lnTo>
                    <a:lnTo>
                      <a:pt x="1293" y="731"/>
                    </a:lnTo>
                    <a:lnTo>
                      <a:pt x="1293" y="733"/>
                    </a:lnTo>
                    <a:lnTo>
                      <a:pt x="1293" y="735"/>
                    </a:lnTo>
                    <a:lnTo>
                      <a:pt x="1293" y="736"/>
                    </a:lnTo>
                    <a:lnTo>
                      <a:pt x="1293" y="738"/>
                    </a:lnTo>
                    <a:lnTo>
                      <a:pt x="1292" y="738"/>
                    </a:lnTo>
                    <a:lnTo>
                      <a:pt x="1292" y="740"/>
                    </a:lnTo>
                    <a:lnTo>
                      <a:pt x="1293" y="740"/>
                    </a:lnTo>
                    <a:lnTo>
                      <a:pt x="1293" y="741"/>
                    </a:lnTo>
                    <a:lnTo>
                      <a:pt x="1292" y="741"/>
                    </a:lnTo>
                    <a:lnTo>
                      <a:pt x="1293" y="743"/>
                    </a:lnTo>
                    <a:lnTo>
                      <a:pt x="1295" y="743"/>
                    </a:lnTo>
                    <a:lnTo>
                      <a:pt x="1293" y="743"/>
                    </a:lnTo>
                    <a:lnTo>
                      <a:pt x="1293" y="745"/>
                    </a:lnTo>
                    <a:lnTo>
                      <a:pt x="1292" y="745"/>
                    </a:lnTo>
                    <a:lnTo>
                      <a:pt x="1290" y="745"/>
                    </a:lnTo>
                    <a:lnTo>
                      <a:pt x="1292" y="745"/>
                    </a:lnTo>
                    <a:lnTo>
                      <a:pt x="1292" y="747"/>
                    </a:lnTo>
                    <a:lnTo>
                      <a:pt x="1293" y="747"/>
                    </a:lnTo>
                    <a:lnTo>
                      <a:pt x="1293" y="748"/>
                    </a:lnTo>
                    <a:lnTo>
                      <a:pt x="1293" y="750"/>
                    </a:lnTo>
                    <a:lnTo>
                      <a:pt x="1295" y="750"/>
                    </a:lnTo>
                    <a:lnTo>
                      <a:pt x="1295" y="752"/>
                    </a:lnTo>
                    <a:lnTo>
                      <a:pt x="1293" y="752"/>
                    </a:lnTo>
                    <a:lnTo>
                      <a:pt x="1293" y="753"/>
                    </a:lnTo>
                    <a:lnTo>
                      <a:pt x="1293" y="755"/>
                    </a:lnTo>
                    <a:lnTo>
                      <a:pt x="1292" y="755"/>
                    </a:lnTo>
                    <a:lnTo>
                      <a:pt x="1292" y="757"/>
                    </a:lnTo>
                    <a:lnTo>
                      <a:pt x="1290" y="757"/>
                    </a:lnTo>
                    <a:lnTo>
                      <a:pt x="1290" y="758"/>
                    </a:lnTo>
                    <a:lnTo>
                      <a:pt x="1290" y="760"/>
                    </a:lnTo>
                    <a:lnTo>
                      <a:pt x="1292" y="760"/>
                    </a:lnTo>
                    <a:lnTo>
                      <a:pt x="1290" y="762"/>
                    </a:lnTo>
                    <a:lnTo>
                      <a:pt x="1292" y="762"/>
                    </a:lnTo>
                    <a:lnTo>
                      <a:pt x="1293" y="764"/>
                    </a:lnTo>
                    <a:lnTo>
                      <a:pt x="1293" y="765"/>
                    </a:lnTo>
                    <a:lnTo>
                      <a:pt x="1293" y="767"/>
                    </a:lnTo>
                    <a:lnTo>
                      <a:pt x="1293" y="769"/>
                    </a:lnTo>
                    <a:lnTo>
                      <a:pt x="1292" y="769"/>
                    </a:lnTo>
                    <a:lnTo>
                      <a:pt x="1293" y="769"/>
                    </a:lnTo>
                    <a:lnTo>
                      <a:pt x="1293" y="770"/>
                    </a:lnTo>
                    <a:lnTo>
                      <a:pt x="1292" y="772"/>
                    </a:lnTo>
                    <a:lnTo>
                      <a:pt x="1290" y="774"/>
                    </a:lnTo>
                    <a:lnTo>
                      <a:pt x="1290" y="775"/>
                    </a:lnTo>
                    <a:lnTo>
                      <a:pt x="1292" y="775"/>
                    </a:lnTo>
                    <a:lnTo>
                      <a:pt x="1292" y="777"/>
                    </a:lnTo>
                    <a:lnTo>
                      <a:pt x="1292" y="779"/>
                    </a:lnTo>
                    <a:lnTo>
                      <a:pt x="1292" y="781"/>
                    </a:lnTo>
                    <a:lnTo>
                      <a:pt x="1293" y="781"/>
                    </a:lnTo>
                    <a:lnTo>
                      <a:pt x="1292" y="781"/>
                    </a:lnTo>
                    <a:lnTo>
                      <a:pt x="1292" y="782"/>
                    </a:lnTo>
                    <a:lnTo>
                      <a:pt x="1293" y="782"/>
                    </a:lnTo>
                    <a:lnTo>
                      <a:pt x="1293" y="784"/>
                    </a:lnTo>
                    <a:lnTo>
                      <a:pt x="1293" y="786"/>
                    </a:lnTo>
                    <a:lnTo>
                      <a:pt x="1295" y="787"/>
                    </a:lnTo>
                    <a:lnTo>
                      <a:pt x="1295" y="789"/>
                    </a:lnTo>
                    <a:lnTo>
                      <a:pt x="1295" y="791"/>
                    </a:lnTo>
                    <a:lnTo>
                      <a:pt x="1297" y="791"/>
                    </a:lnTo>
                    <a:lnTo>
                      <a:pt x="1297" y="792"/>
                    </a:lnTo>
                    <a:lnTo>
                      <a:pt x="1298" y="792"/>
                    </a:lnTo>
                    <a:lnTo>
                      <a:pt x="1297" y="792"/>
                    </a:lnTo>
                    <a:lnTo>
                      <a:pt x="1295" y="792"/>
                    </a:lnTo>
                    <a:lnTo>
                      <a:pt x="1297" y="794"/>
                    </a:lnTo>
                    <a:lnTo>
                      <a:pt x="1298" y="796"/>
                    </a:lnTo>
                    <a:lnTo>
                      <a:pt x="1298" y="798"/>
                    </a:lnTo>
                    <a:lnTo>
                      <a:pt x="1297" y="798"/>
                    </a:lnTo>
                    <a:lnTo>
                      <a:pt x="1297" y="799"/>
                    </a:lnTo>
                    <a:lnTo>
                      <a:pt x="1297" y="801"/>
                    </a:lnTo>
                    <a:lnTo>
                      <a:pt x="1297" y="803"/>
                    </a:lnTo>
                    <a:lnTo>
                      <a:pt x="1298" y="803"/>
                    </a:lnTo>
                    <a:lnTo>
                      <a:pt x="1297" y="803"/>
                    </a:lnTo>
                    <a:lnTo>
                      <a:pt x="1298" y="804"/>
                    </a:lnTo>
                    <a:lnTo>
                      <a:pt x="1298" y="806"/>
                    </a:lnTo>
                    <a:lnTo>
                      <a:pt x="1298" y="808"/>
                    </a:lnTo>
                    <a:lnTo>
                      <a:pt x="1300" y="808"/>
                    </a:lnTo>
                    <a:lnTo>
                      <a:pt x="1300" y="809"/>
                    </a:lnTo>
                    <a:lnTo>
                      <a:pt x="1302" y="809"/>
                    </a:lnTo>
                    <a:lnTo>
                      <a:pt x="1302" y="811"/>
                    </a:lnTo>
                    <a:lnTo>
                      <a:pt x="1304" y="811"/>
                    </a:lnTo>
                    <a:lnTo>
                      <a:pt x="1304" y="813"/>
                    </a:lnTo>
                    <a:lnTo>
                      <a:pt x="1304" y="815"/>
                    </a:lnTo>
                    <a:lnTo>
                      <a:pt x="1302" y="815"/>
                    </a:lnTo>
                    <a:lnTo>
                      <a:pt x="1302" y="816"/>
                    </a:lnTo>
                    <a:lnTo>
                      <a:pt x="1300" y="816"/>
                    </a:lnTo>
                    <a:lnTo>
                      <a:pt x="1300" y="818"/>
                    </a:lnTo>
                    <a:lnTo>
                      <a:pt x="1302" y="818"/>
                    </a:lnTo>
                    <a:lnTo>
                      <a:pt x="1302" y="820"/>
                    </a:lnTo>
                    <a:lnTo>
                      <a:pt x="1300" y="820"/>
                    </a:lnTo>
                    <a:lnTo>
                      <a:pt x="1300" y="821"/>
                    </a:lnTo>
                    <a:lnTo>
                      <a:pt x="1298" y="821"/>
                    </a:lnTo>
                    <a:lnTo>
                      <a:pt x="1297" y="821"/>
                    </a:lnTo>
                    <a:lnTo>
                      <a:pt x="1295" y="821"/>
                    </a:lnTo>
                    <a:lnTo>
                      <a:pt x="1293" y="821"/>
                    </a:lnTo>
                    <a:lnTo>
                      <a:pt x="1293" y="823"/>
                    </a:lnTo>
                    <a:lnTo>
                      <a:pt x="1292" y="823"/>
                    </a:lnTo>
                    <a:lnTo>
                      <a:pt x="1290" y="823"/>
                    </a:lnTo>
                    <a:lnTo>
                      <a:pt x="1288" y="823"/>
                    </a:lnTo>
                    <a:lnTo>
                      <a:pt x="1288" y="825"/>
                    </a:lnTo>
                    <a:lnTo>
                      <a:pt x="1287" y="827"/>
                    </a:lnTo>
                    <a:lnTo>
                      <a:pt x="1285" y="827"/>
                    </a:lnTo>
                    <a:lnTo>
                      <a:pt x="1285" y="828"/>
                    </a:lnTo>
                    <a:lnTo>
                      <a:pt x="1283" y="828"/>
                    </a:lnTo>
                    <a:lnTo>
                      <a:pt x="1283" y="830"/>
                    </a:lnTo>
                    <a:lnTo>
                      <a:pt x="1283" y="832"/>
                    </a:lnTo>
                    <a:lnTo>
                      <a:pt x="1283" y="833"/>
                    </a:lnTo>
                    <a:lnTo>
                      <a:pt x="1285" y="833"/>
                    </a:lnTo>
                    <a:lnTo>
                      <a:pt x="1283" y="833"/>
                    </a:lnTo>
                    <a:lnTo>
                      <a:pt x="1283" y="835"/>
                    </a:lnTo>
                    <a:lnTo>
                      <a:pt x="1283" y="837"/>
                    </a:lnTo>
                    <a:lnTo>
                      <a:pt x="1283" y="838"/>
                    </a:lnTo>
                    <a:lnTo>
                      <a:pt x="1285" y="840"/>
                    </a:lnTo>
                    <a:lnTo>
                      <a:pt x="1285" y="842"/>
                    </a:lnTo>
                    <a:lnTo>
                      <a:pt x="1285" y="844"/>
                    </a:lnTo>
                    <a:lnTo>
                      <a:pt x="1285" y="845"/>
                    </a:lnTo>
                    <a:lnTo>
                      <a:pt x="1285" y="847"/>
                    </a:lnTo>
                    <a:lnTo>
                      <a:pt x="1283" y="847"/>
                    </a:lnTo>
                    <a:lnTo>
                      <a:pt x="1281" y="847"/>
                    </a:lnTo>
                    <a:lnTo>
                      <a:pt x="1281" y="849"/>
                    </a:lnTo>
                    <a:lnTo>
                      <a:pt x="1283" y="849"/>
                    </a:lnTo>
                    <a:lnTo>
                      <a:pt x="1281" y="850"/>
                    </a:lnTo>
                    <a:lnTo>
                      <a:pt x="1283" y="850"/>
                    </a:lnTo>
                    <a:lnTo>
                      <a:pt x="1281" y="850"/>
                    </a:lnTo>
                    <a:lnTo>
                      <a:pt x="1281" y="852"/>
                    </a:lnTo>
                    <a:lnTo>
                      <a:pt x="1280" y="854"/>
                    </a:lnTo>
                    <a:lnTo>
                      <a:pt x="1280" y="855"/>
                    </a:lnTo>
                    <a:lnTo>
                      <a:pt x="1281" y="855"/>
                    </a:lnTo>
                    <a:lnTo>
                      <a:pt x="1281" y="857"/>
                    </a:lnTo>
                    <a:lnTo>
                      <a:pt x="1281" y="859"/>
                    </a:lnTo>
                    <a:lnTo>
                      <a:pt x="1280" y="859"/>
                    </a:lnTo>
                    <a:lnTo>
                      <a:pt x="1278" y="859"/>
                    </a:lnTo>
                    <a:lnTo>
                      <a:pt x="1276" y="859"/>
                    </a:lnTo>
                    <a:lnTo>
                      <a:pt x="1276" y="857"/>
                    </a:lnTo>
                    <a:lnTo>
                      <a:pt x="1275" y="857"/>
                    </a:lnTo>
                    <a:lnTo>
                      <a:pt x="1275" y="855"/>
                    </a:lnTo>
                    <a:lnTo>
                      <a:pt x="1275" y="857"/>
                    </a:lnTo>
                    <a:lnTo>
                      <a:pt x="1275" y="859"/>
                    </a:lnTo>
                    <a:lnTo>
                      <a:pt x="1273" y="859"/>
                    </a:lnTo>
                    <a:lnTo>
                      <a:pt x="1275" y="861"/>
                    </a:lnTo>
                    <a:lnTo>
                      <a:pt x="1275" y="862"/>
                    </a:lnTo>
                    <a:lnTo>
                      <a:pt x="1273" y="862"/>
                    </a:lnTo>
                    <a:lnTo>
                      <a:pt x="1275" y="862"/>
                    </a:lnTo>
                    <a:lnTo>
                      <a:pt x="1273" y="862"/>
                    </a:lnTo>
                    <a:lnTo>
                      <a:pt x="1273" y="864"/>
                    </a:lnTo>
                    <a:lnTo>
                      <a:pt x="1275" y="864"/>
                    </a:lnTo>
                    <a:lnTo>
                      <a:pt x="1275" y="866"/>
                    </a:lnTo>
                    <a:lnTo>
                      <a:pt x="1275" y="867"/>
                    </a:lnTo>
                    <a:lnTo>
                      <a:pt x="1275" y="869"/>
                    </a:lnTo>
                    <a:lnTo>
                      <a:pt x="1276" y="869"/>
                    </a:lnTo>
                    <a:lnTo>
                      <a:pt x="1278" y="871"/>
                    </a:lnTo>
                    <a:lnTo>
                      <a:pt x="1278" y="872"/>
                    </a:lnTo>
                    <a:lnTo>
                      <a:pt x="1276" y="872"/>
                    </a:lnTo>
                    <a:lnTo>
                      <a:pt x="1276" y="874"/>
                    </a:lnTo>
                    <a:lnTo>
                      <a:pt x="1275" y="874"/>
                    </a:lnTo>
                    <a:lnTo>
                      <a:pt x="1275" y="876"/>
                    </a:lnTo>
                    <a:lnTo>
                      <a:pt x="1275" y="878"/>
                    </a:lnTo>
                    <a:lnTo>
                      <a:pt x="1275" y="879"/>
                    </a:lnTo>
                    <a:lnTo>
                      <a:pt x="1275" y="881"/>
                    </a:lnTo>
                    <a:lnTo>
                      <a:pt x="1273" y="879"/>
                    </a:lnTo>
                    <a:lnTo>
                      <a:pt x="1271" y="879"/>
                    </a:lnTo>
                    <a:lnTo>
                      <a:pt x="1270" y="879"/>
                    </a:lnTo>
                    <a:lnTo>
                      <a:pt x="1271" y="881"/>
                    </a:lnTo>
                    <a:lnTo>
                      <a:pt x="1270" y="881"/>
                    </a:lnTo>
                    <a:lnTo>
                      <a:pt x="1270" y="883"/>
                    </a:lnTo>
                    <a:lnTo>
                      <a:pt x="1271" y="883"/>
                    </a:lnTo>
                    <a:lnTo>
                      <a:pt x="1270" y="884"/>
                    </a:lnTo>
                    <a:lnTo>
                      <a:pt x="1270" y="886"/>
                    </a:lnTo>
                    <a:lnTo>
                      <a:pt x="1271" y="886"/>
                    </a:lnTo>
                    <a:lnTo>
                      <a:pt x="1270" y="886"/>
                    </a:lnTo>
                    <a:lnTo>
                      <a:pt x="1271" y="888"/>
                    </a:lnTo>
                    <a:lnTo>
                      <a:pt x="1273" y="888"/>
                    </a:lnTo>
                    <a:lnTo>
                      <a:pt x="1275" y="888"/>
                    </a:lnTo>
                    <a:lnTo>
                      <a:pt x="1275" y="889"/>
                    </a:lnTo>
                    <a:lnTo>
                      <a:pt x="1275" y="891"/>
                    </a:lnTo>
                    <a:lnTo>
                      <a:pt x="1275" y="893"/>
                    </a:lnTo>
                    <a:lnTo>
                      <a:pt x="1273" y="895"/>
                    </a:lnTo>
                    <a:lnTo>
                      <a:pt x="1271" y="893"/>
                    </a:lnTo>
                    <a:lnTo>
                      <a:pt x="1271" y="895"/>
                    </a:lnTo>
                    <a:lnTo>
                      <a:pt x="1271" y="893"/>
                    </a:lnTo>
                    <a:lnTo>
                      <a:pt x="1270" y="895"/>
                    </a:lnTo>
                    <a:lnTo>
                      <a:pt x="1270" y="896"/>
                    </a:lnTo>
                    <a:lnTo>
                      <a:pt x="1268" y="898"/>
                    </a:lnTo>
                    <a:lnTo>
                      <a:pt x="1270" y="898"/>
                    </a:lnTo>
                    <a:lnTo>
                      <a:pt x="1268" y="900"/>
                    </a:lnTo>
                    <a:lnTo>
                      <a:pt x="1268" y="901"/>
                    </a:lnTo>
                    <a:lnTo>
                      <a:pt x="1270" y="901"/>
                    </a:lnTo>
                    <a:lnTo>
                      <a:pt x="1270" y="903"/>
                    </a:lnTo>
                    <a:lnTo>
                      <a:pt x="1268" y="903"/>
                    </a:lnTo>
                    <a:lnTo>
                      <a:pt x="1268" y="905"/>
                    </a:lnTo>
                    <a:lnTo>
                      <a:pt x="1266" y="906"/>
                    </a:lnTo>
                    <a:lnTo>
                      <a:pt x="1264" y="906"/>
                    </a:lnTo>
                    <a:lnTo>
                      <a:pt x="1264" y="908"/>
                    </a:lnTo>
                    <a:lnTo>
                      <a:pt x="1266" y="908"/>
                    </a:lnTo>
                    <a:lnTo>
                      <a:pt x="1266" y="910"/>
                    </a:lnTo>
                    <a:lnTo>
                      <a:pt x="1266" y="912"/>
                    </a:lnTo>
                    <a:lnTo>
                      <a:pt x="1266" y="913"/>
                    </a:lnTo>
                    <a:lnTo>
                      <a:pt x="1268" y="913"/>
                    </a:lnTo>
                    <a:lnTo>
                      <a:pt x="1268" y="915"/>
                    </a:lnTo>
                    <a:lnTo>
                      <a:pt x="1268" y="913"/>
                    </a:lnTo>
                    <a:lnTo>
                      <a:pt x="1268" y="915"/>
                    </a:lnTo>
                    <a:lnTo>
                      <a:pt x="1268" y="917"/>
                    </a:lnTo>
                    <a:lnTo>
                      <a:pt x="1268" y="918"/>
                    </a:lnTo>
                    <a:lnTo>
                      <a:pt x="1266" y="918"/>
                    </a:lnTo>
                    <a:lnTo>
                      <a:pt x="1268" y="918"/>
                    </a:lnTo>
                    <a:lnTo>
                      <a:pt x="1268" y="920"/>
                    </a:lnTo>
                    <a:lnTo>
                      <a:pt x="1268" y="922"/>
                    </a:lnTo>
                    <a:lnTo>
                      <a:pt x="1270" y="922"/>
                    </a:lnTo>
                    <a:lnTo>
                      <a:pt x="1270" y="923"/>
                    </a:lnTo>
                    <a:lnTo>
                      <a:pt x="1270" y="925"/>
                    </a:lnTo>
                    <a:lnTo>
                      <a:pt x="1270" y="927"/>
                    </a:lnTo>
                    <a:lnTo>
                      <a:pt x="1268" y="927"/>
                    </a:lnTo>
                    <a:lnTo>
                      <a:pt x="1268" y="929"/>
                    </a:lnTo>
                    <a:lnTo>
                      <a:pt x="1268" y="930"/>
                    </a:lnTo>
                    <a:lnTo>
                      <a:pt x="1270" y="930"/>
                    </a:lnTo>
                    <a:lnTo>
                      <a:pt x="1268" y="930"/>
                    </a:lnTo>
                    <a:lnTo>
                      <a:pt x="1270" y="932"/>
                    </a:lnTo>
                    <a:lnTo>
                      <a:pt x="1268" y="930"/>
                    </a:lnTo>
                    <a:lnTo>
                      <a:pt x="1268" y="932"/>
                    </a:lnTo>
                    <a:lnTo>
                      <a:pt x="1268" y="934"/>
                    </a:lnTo>
                    <a:lnTo>
                      <a:pt x="1268" y="935"/>
                    </a:lnTo>
                    <a:lnTo>
                      <a:pt x="1266" y="935"/>
                    </a:lnTo>
                    <a:lnTo>
                      <a:pt x="1268" y="935"/>
                    </a:lnTo>
                    <a:lnTo>
                      <a:pt x="1268" y="937"/>
                    </a:lnTo>
                    <a:lnTo>
                      <a:pt x="1268" y="939"/>
                    </a:lnTo>
                    <a:lnTo>
                      <a:pt x="1270" y="939"/>
                    </a:lnTo>
                    <a:lnTo>
                      <a:pt x="1270" y="940"/>
                    </a:lnTo>
                    <a:lnTo>
                      <a:pt x="1270" y="942"/>
                    </a:lnTo>
                    <a:lnTo>
                      <a:pt x="1270" y="944"/>
                    </a:lnTo>
                    <a:lnTo>
                      <a:pt x="1270" y="946"/>
                    </a:lnTo>
                    <a:lnTo>
                      <a:pt x="1268" y="946"/>
                    </a:lnTo>
                    <a:lnTo>
                      <a:pt x="1268" y="947"/>
                    </a:lnTo>
                    <a:lnTo>
                      <a:pt x="1268" y="949"/>
                    </a:lnTo>
                    <a:lnTo>
                      <a:pt x="1270" y="949"/>
                    </a:lnTo>
                    <a:lnTo>
                      <a:pt x="1270" y="951"/>
                    </a:lnTo>
                    <a:lnTo>
                      <a:pt x="1271" y="951"/>
                    </a:lnTo>
                    <a:lnTo>
                      <a:pt x="1270" y="952"/>
                    </a:lnTo>
                    <a:lnTo>
                      <a:pt x="1271" y="952"/>
                    </a:lnTo>
                    <a:lnTo>
                      <a:pt x="1271" y="954"/>
                    </a:lnTo>
                    <a:lnTo>
                      <a:pt x="1271" y="956"/>
                    </a:lnTo>
                    <a:lnTo>
                      <a:pt x="1271" y="957"/>
                    </a:lnTo>
                    <a:lnTo>
                      <a:pt x="1271" y="959"/>
                    </a:lnTo>
                    <a:lnTo>
                      <a:pt x="1271" y="961"/>
                    </a:lnTo>
                    <a:lnTo>
                      <a:pt x="1271" y="963"/>
                    </a:lnTo>
                    <a:lnTo>
                      <a:pt x="1271" y="964"/>
                    </a:lnTo>
                    <a:lnTo>
                      <a:pt x="1271" y="966"/>
                    </a:lnTo>
                    <a:lnTo>
                      <a:pt x="1273" y="966"/>
                    </a:lnTo>
                    <a:lnTo>
                      <a:pt x="1273" y="968"/>
                    </a:lnTo>
                    <a:lnTo>
                      <a:pt x="1273" y="969"/>
                    </a:lnTo>
                    <a:lnTo>
                      <a:pt x="1273" y="971"/>
                    </a:lnTo>
                    <a:lnTo>
                      <a:pt x="1271" y="971"/>
                    </a:lnTo>
                    <a:lnTo>
                      <a:pt x="1270" y="971"/>
                    </a:lnTo>
                    <a:lnTo>
                      <a:pt x="1270" y="973"/>
                    </a:lnTo>
                    <a:lnTo>
                      <a:pt x="1270" y="971"/>
                    </a:lnTo>
                    <a:lnTo>
                      <a:pt x="1268" y="971"/>
                    </a:lnTo>
                    <a:lnTo>
                      <a:pt x="1268" y="973"/>
                    </a:lnTo>
                    <a:lnTo>
                      <a:pt x="1266" y="973"/>
                    </a:lnTo>
                    <a:lnTo>
                      <a:pt x="1264" y="971"/>
                    </a:lnTo>
                    <a:lnTo>
                      <a:pt x="1263" y="971"/>
                    </a:lnTo>
                    <a:lnTo>
                      <a:pt x="1263" y="969"/>
                    </a:lnTo>
                    <a:lnTo>
                      <a:pt x="1261" y="969"/>
                    </a:lnTo>
                    <a:lnTo>
                      <a:pt x="1261" y="971"/>
                    </a:lnTo>
                    <a:lnTo>
                      <a:pt x="1259" y="971"/>
                    </a:lnTo>
                    <a:lnTo>
                      <a:pt x="1258" y="971"/>
                    </a:lnTo>
                    <a:lnTo>
                      <a:pt x="1258" y="973"/>
                    </a:lnTo>
                    <a:lnTo>
                      <a:pt x="1258" y="975"/>
                    </a:lnTo>
                    <a:lnTo>
                      <a:pt x="1259" y="976"/>
                    </a:lnTo>
                    <a:lnTo>
                      <a:pt x="1258" y="976"/>
                    </a:lnTo>
                    <a:lnTo>
                      <a:pt x="1259" y="978"/>
                    </a:lnTo>
                    <a:lnTo>
                      <a:pt x="1259" y="980"/>
                    </a:lnTo>
                    <a:lnTo>
                      <a:pt x="1259" y="981"/>
                    </a:lnTo>
                    <a:lnTo>
                      <a:pt x="1259" y="983"/>
                    </a:lnTo>
                    <a:lnTo>
                      <a:pt x="1261" y="981"/>
                    </a:lnTo>
                    <a:lnTo>
                      <a:pt x="1261" y="983"/>
                    </a:lnTo>
                    <a:lnTo>
                      <a:pt x="1263" y="983"/>
                    </a:lnTo>
                    <a:lnTo>
                      <a:pt x="1263" y="985"/>
                    </a:lnTo>
                    <a:lnTo>
                      <a:pt x="1263" y="986"/>
                    </a:lnTo>
                    <a:lnTo>
                      <a:pt x="1263" y="988"/>
                    </a:lnTo>
                    <a:lnTo>
                      <a:pt x="1263" y="990"/>
                    </a:lnTo>
                    <a:lnTo>
                      <a:pt x="1261" y="990"/>
                    </a:lnTo>
                    <a:lnTo>
                      <a:pt x="1261" y="992"/>
                    </a:lnTo>
                    <a:lnTo>
                      <a:pt x="1259" y="992"/>
                    </a:lnTo>
                    <a:lnTo>
                      <a:pt x="1259" y="993"/>
                    </a:lnTo>
                    <a:lnTo>
                      <a:pt x="1259" y="995"/>
                    </a:lnTo>
                    <a:lnTo>
                      <a:pt x="1258" y="995"/>
                    </a:lnTo>
                    <a:lnTo>
                      <a:pt x="1258" y="997"/>
                    </a:lnTo>
                    <a:lnTo>
                      <a:pt x="1259" y="997"/>
                    </a:lnTo>
                    <a:lnTo>
                      <a:pt x="1259" y="998"/>
                    </a:lnTo>
                    <a:lnTo>
                      <a:pt x="1259" y="1000"/>
                    </a:lnTo>
                    <a:lnTo>
                      <a:pt x="1259" y="1002"/>
                    </a:lnTo>
                    <a:lnTo>
                      <a:pt x="1258" y="1002"/>
                    </a:lnTo>
                    <a:lnTo>
                      <a:pt x="1259" y="1002"/>
                    </a:lnTo>
                    <a:lnTo>
                      <a:pt x="1259" y="1003"/>
                    </a:lnTo>
                    <a:lnTo>
                      <a:pt x="1259" y="1005"/>
                    </a:lnTo>
                    <a:lnTo>
                      <a:pt x="1259" y="1007"/>
                    </a:lnTo>
                    <a:lnTo>
                      <a:pt x="1261" y="1009"/>
                    </a:lnTo>
                    <a:lnTo>
                      <a:pt x="1261" y="1010"/>
                    </a:lnTo>
                    <a:lnTo>
                      <a:pt x="1263" y="1010"/>
                    </a:lnTo>
                    <a:lnTo>
                      <a:pt x="1263" y="1012"/>
                    </a:lnTo>
                    <a:lnTo>
                      <a:pt x="1264" y="1012"/>
                    </a:lnTo>
                    <a:lnTo>
                      <a:pt x="1266" y="1014"/>
                    </a:lnTo>
                    <a:lnTo>
                      <a:pt x="1266" y="1015"/>
                    </a:lnTo>
                    <a:lnTo>
                      <a:pt x="1268" y="1015"/>
                    </a:lnTo>
                    <a:lnTo>
                      <a:pt x="1268" y="1017"/>
                    </a:lnTo>
                    <a:lnTo>
                      <a:pt x="1270" y="1017"/>
                    </a:lnTo>
                    <a:lnTo>
                      <a:pt x="1271" y="1017"/>
                    </a:lnTo>
                    <a:lnTo>
                      <a:pt x="1271" y="1019"/>
                    </a:lnTo>
                    <a:lnTo>
                      <a:pt x="1273" y="1019"/>
                    </a:lnTo>
                    <a:lnTo>
                      <a:pt x="1273" y="1020"/>
                    </a:lnTo>
                    <a:lnTo>
                      <a:pt x="1271" y="1020"/>
                    </a:lnTo>
                    <a:lnTo>
                      <a:pt x="1273" y="1022"/>
                    </a:lnTo>
                    <a:lnTo>
                      <a:pt x="1273" y="1024"/>
                    </a:lnTo>
                    <a:lnTo>
                      <a:pt x="1273" y="1026"/>
                    </a:lnTo>
                    <a:lnTo>
                      <a:pt x="1271" y="1026"/>
                    </a:lnTo>
                    <a:lnTo>
                      <a:pt x="1271" y="1024"/>
                    </a:lnTo>
                    <a:lnTo>
                      <a:pt x="1271" y="1026"/>
                    </a:lnTo>
                    <a:lnTo>
                      <a:pt x="1270" y="1026"/>
                    </a:lnTo>
                    <a:lnTo>
                      <a:pt x="1268" y="1026"/>
                    </a:lnTo>
                    <a:lnTo>
                      <a:pt x="1266" y="1026"/>
                    </a:lnTo>
                    <a:lnTo>
                      <a:pt x="1268" y="1026"/>
                    </a:lnTo>
                    <a:lnTo>
                      <a:pt x="1268" y="1027"/>
                    </a:lnTo>
                    <a:lnTo>
                      <a:pt x="1266" y="1029"/>
                    </a:lnTo>
                    <a:lnTo>
                      <a:pt x="1266" y="1031"/>
                    </a:lnTo>
                    <a:lnTo>
                      <a:pt x="1266" y="1032"/>
                    </a:lnTo>
                    <a:lnTo>
                      <a:pt x="1268" y="1032"/>
                    </a:lnTo>
                    <a:lnTo>
                      <a:pt x="1268" y="1031"/>
                    </a:lnTo>
                    <a:lnTo>
                      <a:pt x="1268" y="1032"/>
                    </a:lnTo>
                    <a:lnTo>
                      <a:pt x="1270" y="1032"/>
                    </a:lnTo>
                    <a:lnTo>
                      <a:pt x="1268" y="1034"/>
                    </a:lnTo>
                    <a:lnTo>
                      <a:pt x="1268" y="1036"/>
                    </a:lnTo>
                    <a:lnTo>
                      <a:pt x="1270" y="1036"/>
                    </a:lnTo>
                    <a:lnTo>
                      <a:pt x="1271" y="1036"/>
                    </a:lnTo>
                    <a:lnTo>
                      <a:pt x="1271" y="1037"/>
                    </a:lnTo>
                    <a:lnTo>
                      <a:pt x="1273" y="1037"/>
                    </a:lnTo>
                    <a:lnTo>
                      <a:pt x="1273" y="1039"/>
                    </a:lnTo>
                    <a:lnTo>
                      <a:pt x="1275" y="1039"/>
                    </a:lnTo>
                    <a:lnTo>
                      <a:pt x="1276" y="1039"/>
                    </a:lnTo>
                    <a:lnTo>
                      <a:pt x="1278" y="1039"/>
                    </a:lnTo>
                    <a:lnTo>
                      <a:pt x="1278" y="1041"/>
                    </a:lnTo>
                    <a:lnTo>
                      <a:pt x="1278" y="1043"/>
                    </a:lnTo>
                    <a:lnTo>
                      <a:pt x="1276" y="1043"/>
                    </a:lnTo>
                    <a:lnTo>
                      <a:pt x="1278" y="1043"/>
                    </a:lnTo>
                    <a:lnTo>
                      <a:pt x="1276" y="1043"/>
                    </a:lnTo>
                    <a:lnTo>
                      <a:pt x="1275" y="1043"/>
                    </a:lnTo>
                    <a:lnTo>
                      <a:pt x="1275" y="1044"/>
                    </a:lnTo>
                    <a:lnTo>
                      <a:pt x="1273" y="1046"/>
                    </a:lnTo>
                    <a:lnTo>
                      <a:pt x="1271" y="1048"/>
                    </a:lnTo>
                    <a:lnTo>
                      <a:pt x="1273" y="1048"/>
                    </a:lnTo>
                    <a:lnTo>
                      <a:pt x="1271" y="1049"/>
                    </a:lnTo>
                    <a:lnTo>
                      <a:pt x="1273" y="1049"/>
                    </a:lnTo>
                    <a:lnTo>
                      <a:pt x="1271" y="1049"/>
                    </a:lnTo>
                    <a:lnTo>
                      <a:pt x="1273" y="1049"/>
                    </a:lnTo>
                    <a:lnTo>
                      <a:pt x="1273" y="1051"/>
                    </a:lnTo>
                    <a:lnTo>
                      <a:pt x="1273" y="1053"/>
                    </a:lnTo>
                    <a:lnTo>
                      <a:pt x="1275" y="1053"/>
                    </a:lnTo>
                    <a:lnTo>
                      <a:pt x="1276" y="1054"/>
                    </a:lnTo>
                    <a:lnTo>
                      <a:pt x="1275" y="1054"/>
                    </a:lnTo>
                    <a:lnTo>
                      <a:pt x="1275" y="1056"/>
                    </a:lnTo>
                    <a:lnTo>
                      <a:pt x="1275" y="1058"/>
                    </a:lnTo>
                    <a:lnTo>
                      <a:pt x="1273" y="1058"/>
                    </a:lnTo>
                    <a:lnTo>
                      <a:pt x="1273" y="1060"/>
                    </a:lnTo>
                    <a:lnTo>
                      <a:pt x="1273" y="1061"/>
                    </a:lnTo>
                    <a:lnTo>
                      <a:pt x="1271" y="1063"/>
                    </a:lnTo>
                    <a:lnTo>
                      <a:pt x="1270" y="1063"/>
                    </a:lnTo>
                    <a:lnTo>
                      <a:pt x="1268" y="1063"/>
                    </a:lnTo>
                    <a:lnTo>
                      <a:pt x="1270" y="1065"/>
                    </a:lnTo>
                    <a:lnTo>
                      <a:pt x="1270" y="1066"/>
                    </a:lnTo>
                    <a:lnTo>
                      <a:pt x="1271" y="1066"/>
                    </a:lnTo>
                    <a:lnTo>
                      <a:pt x="1270" y="1068"/>
                    </a:lnTo>
                    <a:lnTo>
                      <a:pt x="1270" y="1070"/>
                    </a:lnTo>
                    <a:lnTo>
                      <a:pt x="1271" y="1071"/>
                    </a:lnTo>
                    <a:lnTo>
                      <a:pt x="1271" y="1073"/>
                    </a:lnTo>
                    <a:lnTo>
                      <a:pt x="1270" y="1073"/>
                    </a:lnTo>
                    <a:lnTo>
                      <a:pt x="1270" y="1075"/>
                    </a:lnTo>
                    <a:lnTo>
                      <a:pt x="1270" y="1077"/>
                    </a:lnTo>
                    <a:lnTo>
                      <a:pt x="1271" y="1077"/>
                    </a:lnTo>
                    <a:lnTo>
                      <a:pt x="1273" y="1077"/>
                    </a:lnTo>
                    <a:lnTo>
                      <a:pt x="1273" y="1075"/>
                    </a:lnTo>
                    <a:lnTo>
                      <a:pt x="1275" y="1075"/>
                    </a:lnTo>
                    <a:lnTo>
                      <a:pt x="1275" y="1077"/>
                    </a:lnTo>
                    <a:lnTo>
                      <a:pt x="1276" y="1077"/>
                    </a:lnTo>
                    <a:lnTo>
                      <a:pt x="1276" y="1075"/>
                    </a:lnTo>
                    <a:lnTo>
                      <a:pt x="1278" y="1077"/>
                    </a:lnTo>
                    <a:lnTo>
                      <a:pt x="1280" y="1077"/>
                    </a:lnTo>
                    <a:lnTo>
                      <a:pt x="1280" y="1075"/>
                    </a:lnTo>
                    <a:lnTo>
                      <a:pt x="1281" y="1077"/>
                    </a:lnTo>
                    <a:lnTo>
                      <a:pt x="1281" y="1075"/>
                    </a:lnTo>
                    <a:lnTo>
                      <a:pt x="1283" y="1075"/>
                    </a:lnTo>
                    <a:lnTo>
                      <a:pt x="1285" y="1075"/>
                    </a:lnTo>
                    <a:lnTo>
                      <a:pt x="1285" y="1077"/>
                    </a:lnTo>
                    <a:lnTo>
                      <a:pt x="1287" y="1077"/>
                    </a:lnTo>
                    <a:lnTo>
                      <a:pt x="1288" y="1077"/>
                    </a:lnTo>
                    <a:lnTo>
                      <a:pt x="1290" y="1077"/>
                    </a:lnTo>
                    <a:lnTo>
                      <a:pt x="1290" y="1078"/>
                    </a:lnTo>
                    <a:lnTo>
                      <a:pt x="1290" y="1077"/>
                    </a:lnTo>
                    <a:lnTo>
                      <a:pt x="1292" y="1078"/>
                    </a:lnTo>
                    <a:lnTo>
                      <a:pt x="1293" y="1078"/>
                    </a:lnTo>
                    <a:lnTo>
                      <a:pt x="1293" y="1080"/>
                    </a:lnTo>
                    <a:lnTo>
                      <a:pt x="1292" y="1080"/>
                    </a:lnTo>
                    <a:lnTo>
                      <a:pt x="1293" y="1082"/>
                    </a:lnTo>
                    <a:lnTo>
                      <a:pt x="1295" y="1082"/>
                    </a:lnTo>
                    <a:lnTo>
                      <a:pt x="1293" y="1083"/>
                    </a:lnTo>
                    <a:lnTo>
                      <a:pt x="1295" y="1085"/>
                    </a:lnTo>
                    <a:lnTo>
                      <a:pt x="1293" y="1085"/>
                    </a:lnTo>
                    <a:lnTo>
                      <a:pt x="1292" y="1085"/>
                    </a:lnTo>
                    <a:lnTo>
                      <a:pt x="1290" y="1085"/>
                    </a:lnTo>
                    <a:lnTo>
                      <a:pt x="1292" y="1085"/>
                    </a:lnTo>
                    <a:lnTo>
                      <a:pt x="1290" y="1087"/>
                    </a:lnTo>
                    <a:lnTo>
                      <a:pt x="1290" y="1088"/>
                    </a:lnTo>
                    <a:lnTo>
                      <a:pt x="1292" y="1088"/>
                    </a:lnTo>
                    <a:lnTo>
                      <a:pt x="1290" y="1090"/>
                    </a:lnTo>
                    <a:lnTo>
                      <a:pt x="1290" y="1092"/>
                    </a:lnTo>
                    <a:lnTo>
                      <a:pt x="1290" y="1094"/>
                    </a:lnTo>
                    <a:lnTo>
                      <a:pt x="1288" y="1094"/>
                    </a:lnTo>
                    <a:lnTo>
                      <a:pt x="1288" y="1095"/>
                    </a:lnTo>
                    <a:lnTo>
                      <a:pt x="1287" y="1095"/>
                    </a:lnTo>
                    <a:lnTo>
                      <a:pt x="1285" y="1095"/>
                    </a:lnTo>
                    <a:lnTo>
                      <a:pt x="1285" y="1094"/>
                    </a:lnTo>
                    <a:lnTo>
                      <a:pt x="1283" y="1094"/>
                    </a:lnTo>
                    <a:lnTo>
                      <a:pt x="1283" y="1092"/>
                    </a:lnTo>
                    <a:lnTo>
                      <a:pt x="1281" y="1092"/>
                    </a:lnTo>
                    <a:lnTo>
                      <a:pt x="1280" y="1092"/>
                    </a:lnTo>
                    <a:lnTo>
                      <a:pt x="1278" y="1094"/>
                    </a:lnTo>
                    <a:lnTo>
                      <a:pt x="1278" y="1092"/>
                    </a:lnTo>
                    <a:lnTo>
                      <a:pt x="1278" y="1094"/>
                    </a:lnTo>
                    <a:lnTo>
                      <a:pt x="1276" y="1094"/>
                    </a:lnTo>
                    <a:lnTo>
                      <a:pt x="1275" y="1094"/>
                    </a:lnTo>
                    <a:lnTo>
                      <a:pt x="1273" y="1094"/>
                    </a:lnTo>
                    <a:lnTo>
                      <a:pt x="1271" y="1094"/>
                    </a:lnTo>
                    <a:lnTo>
                      <a:pt x="1271" y="1092"/>
                    </a:lnTo>
                    <a:lnTo>
                      <a:pt x="1270" y="1094"/>
                    </a:lnTo>
                    <a:lnTo>
                      <a:pt x="1270" y="1095"/>
                    </a:lnTo>
                    <a:lnTo>
                      <a:pt x="1270" y="1094"/>
                    </a:lnTo>
                    <a:lnTo>
                      <a:pt x="1268" y="1095"/>
                    </a:lnTo>
                    <a:lnTo>
                      <a:pt x="1268" y="1094"/>
                    </a:lnTo>
                    <a:lnTo>
                      <a:pt x="1266" y="1094"/>
                    </a:lnTo>
                    <a:lnTo>
                      <a:pt x="1266" y="1095"/>
                    </a:lnTo>
                    <a:lnTo>
                      <a:pt x="1266" y="1094"/>
                    </a:lnTo>
                    <a:lnTo>
                      <a:pt x="1264" y="1094"/>
                    </a:lnTo>
                    <a:lnTo>
                      <a:pt x="1263" y="1094"/>
                    </a:lnTo>
                    <a:lnTo>
                      <a:pt x="1261" y="1092"/>
                    </a:lnTo>
                    <a:lnTo>
                      <a:pt x="1261" y="1094"/>
                    </a:lnTo>
                    <a:lnTo>
                      <a:pt x="1261" y="1095"/>
                    </a:lnTo>
                    <a:lnTo>
                      <a:pt x="1263" y="1095"/>
                    </a:lnTo>
                    <a:lnTo>
                      <a:pt x="1263" y="1097"/>
                    </a:lnTo>
                    <a:lnTo>
                      <a:pt x="1261" y="1097"/>
                    </a:lnTo>
                    <a:lnTo>
                      <a:pt x="1263" y="1097"/>
                    </a:lnTo>
                    <a:lnTo>
                      <a:pt x="1261" y="1099"/>
                    </a:lnTo>
                    <a:lnTo>
                      <a:pt x="1263" y="1099"/>
                    </a:lnTo>
                    <a:lnTo>
                      <a:pt x="1263" y="1100"/>
                    </a:lnTo>
                    <a:lnTo>
                      <a:pt x="1263" y="1099"/>
                    </a:lnTo>
                    <a:lnTo>
                      <a:pt x="1264" y="1100"/>
                    </a:lnTo>
                    <a:lnTo>
                      <a:pt x="1266" y="1100"/>
                    </a:lnTo>
                    <a:lnTo>
                      <a:pt x="1266" y="1102"/>
                    </a:lnTo>
                    <a:lnTo>
                      <a:pt x="1268" y="1102"/>
                    </a:lnTo>
                    <a:lnTo>
                      <a:pt x="1268" y="1100"/>
                    </a:lnTo>
                    <a:lnTo>
                      <a:pt x="1270" y="1100"/>
                    </a:lnTo>
                    <a:lnTo>
                      <a:pt x="1271" y="1102"/>
                    </a:lnTo>
                    <a:lnTo>
                      <a:pt x="1271" y="1100"/>
                    </a:lnTo>
                    <a:lnTo>
                      <a:pt x="1273" y="1102"/>
                    </a:lnTo>
                    <a:lnTo>
                      <a:pt x="1275" y="1102"/>
                    </a:lnTo>
                    <a:lnTo>
                      <a:pt x="1275" y="1104"/>
                    </a:lnTo>
                    <a:lnTo>
                      <a:pt x="1276" y="1102"/>
                    </a:lnTo>
                    <a:lnTo>
                      <a:pt x="1276" y="1104"/>
                    </a:lnTo>
                    <a:lnTo>
                      <a:pt x="1278" y="1104"/>
                    </a:lnTo>
                    <a:lnTo>
                      <a:pt x="1280" y="1104"/>
                    </a:lnTo>
                    <a:lnTo>
                      <a:pt x="1278" y="1104"/>
                    </a:lnTo>
                    <a:lnTo>
                      <a:pt x="1278" y="1105"/>
                    </a:lnTo>
                    <a:lnTo>
                      <a:pt x="1280" y="1107"/>
                    </a:lnTo>
                    <a:lnTo>
                      <a:pt x="1280" y="1109"/>
                    </a:lnTo>
                    <a:lnTo>
                      <a:pt x="1281" y="1109"/>
                    </a:lnTo>
                    <a:lnTo>
                      <a:pt x="1281" y="1111"/>
                    </a:lnTo>
                    <a:lnTo>
                      <a:pt x="1283" y="1112"/>
                    </a:lnTo>
                    <a:lnTo>
                      <a:pt x="1283" y="1114"/>
                    </a:lnTo>
                    <a:lnTo>
                      <a:pt x="1285" y="1114"/>
                    </a:lnTo>
                    <a:lnTo>
                      <a:pt x="1285" y="1116"/>
                    </a:lnTo>
                    <a:lnTo>
                      <a:pt x="1287" y="1116"/>
                    </a:lnTo>
                    <a:lnTo>
                      <a:pt x="1285" y="1117"/>
                    </a:lnTo>
                    <a:lnTo>
                      <a:pt x="1287" y="1117"/>
                    </a:lnTo>
                    <a:lnTo>
                      <a:pt x="1287" y="1119"/>
                    </a:lnTo>
                    <a:lnTo>
                      <a:pt x="1287" y="1121"/>
                    </a:lnTo>
                    <a:lnTo>
                      <a:pt x="1285" y="1121"/>
                    </a:lnTo>
                    <a:lnTo>
                      <a:pt x="1283" y="1121"/>
                    </a:lnTo>
                    <a:lnTo>
                      <a:pt x="1283" y="1122"/>
                    </a:lnTo>
                    <a:lnTo>
                      <a:pt x="1281" y="1122"/>
                    </a:lnTo>
                    <a:lnTo>
                      <a:pt x="1280" y="1122"/>
                    </a:lnTo>
                    <a:lnTo>
                      <a:pt x="1280" y="1124"/>
                    </a:lnTo>
                    <a:lnTo>
                      <a:pt x="1280" y="1126"/>
                    </a:lnTo>
                    <a:lnTo>
                      <a:pt x="1281" y="1128"/>
                    </a:lnTo>
                    <a:lnTo>
                      <a:pt x="1280" y="1128"/>
                    </a:lnTo>
                    <a:lnTo>
                      <a:pt x="1280" y="1129"/>
                    </a:lnTo>
                    <a:lnTo>
                      <a:pt x="1278" y="1129"/>
                    </a:lnTo>
                    <a:lnTo>
                      <a:pt x="1276" y="1129"/>
                    </a:lnTo>
                    <a:lnTo>
                      <a:pt x="1275" y="1129"/>
                    </a:lnTo>
                    <a:lnTo>
                      <a:pt x="1273" y="1129"/>
                    </a:lnTo>
                    <a:lnTo>
                      <a:pt x="1273" y="1131"/>
                    </a:lnTo>
                    <a:lnTo>
                      <a:pt x="1271" y="1131"/>
                    </a:lnTo>
                    <a:lnTo>
                      <a:pt x="1271" y="1133"/>
                    </a:lnTo>
                    <a:lnTo>
                      <a:pt x="1273" y="1133"/>
                    </a:lnTo>
                    <a:lnTo>
                      <a:pt x="1271" y="1134"/>
                    </a:lnTo>
                    <a:lnTo>
                      <a:pt x="1271" y="1136"/>
                    </a:lnTo>
                    <a:lnTo>
                      <a:pt x="1271" y="1138"/>
                    </a:lnTo>
                    <a:lnTo>
                      <a:pt x="1271" y="1140"/>
                    </a:lnTo>
                    <a:lnTo>
                      <a:pt x="1271" y="1141"/>
                    </a:lnTo>
                    <a:lnTo>
                      <a:pt x="1271" y="1143"/>
                    </a:lnTo>
                    <a:lnTo>
                      <a:pt x="1273" y="1143"/>
                    </a:lnTo>
                    <a:lnTo>
                      <a:pt x="1271" y="1145"/>
                    </a:lnTo>
                    <a:lnTo>
                      <a:pt x="1273" y="1146"/>
                    </a:lnTo>
                    <a:lnTo>
                      <a:pt x="1273" y="1145"/>
                    </a:lnTo>
                    <a:lnTo>
                      <a:pt x="1273" y="1146"/>
                    </a:lnTo>
                    <a:lnTo>
                      <a:pt x="1275" y="1146"/>
                    </a:lnTo>
                    <a:lnTo>
                      <a:pt x="1276" y="1148"/>
                    </a:lnTo>
                    <a:lnTo>
                      <a:pt x="1276" y="1150"/>
                    </a:lnTo>
                    <a:lnTo>
                      <a:pt x="1276" y="1151"/>
                    </a:lnTo>
                    <a:lnTo>
                      <a:pt x="1276" y="1153"/>
                    </a:lnTo>
                    <a:lnTo>
                      <a:pt x="1275" y="1153"/>
                    </a:lnTo>
                    <a:lnTo>
                      <a:pt x="1275" y="1155"/>
                    </a:lnTo>
                    <a:lnTo>
                      <a:pt x="1275" y="1157"/>
                    </a:lnTo>
                    <a:lnTo>
                      <a:pt x="1273" y="1157"/>
                    </a:lnTo>
                    <a:lnTo>
                      <a:pt x="1271" y="1157"/>
                    </a:lnTo>
                    <a:lnTo>
                      <a:pt x="1271" y="1158"/>
                    </a:lnTo>
                    <a:lnTo>
                      <a:pt x="1270" y="1158"/>
                    </a:lnTo>
                    <a:lnTo>
                      <a:pt x="1268" y="1158"/>
                    </a:lnTo>
                    <a:lnTo>
                      <a:pt x="1266" y="1160"/>
                    </a:lnTo>
                    <a:lnTo>
                      <a:pt x="1268" y="1160"/>
                    </a:lnTo>
                    <a:lnTo>
                      <a:pt x="1268" y="1162"/>
                    </a:lnTo>
                    <a:lnTo>
                      <a:pt x="1270" y="1162"/>
                    </a:lnTo>
                    <a:lnTo>
                      <a:pt x="1271" y="1162"/>
                    </a:lnTo>
                    <a:lnTo>
                      <a:pt x="1271" y="1163"/>
                    </a:lnTo>
                    <a:lnTo>
                      <a:pt x="1273" y="1165"/>
                    </a:lnTo>
                    <a:lnTo>
                      <a:pt x="1273" y="1167"/>
                    </a:lnTo>
                    <a:lnTo>
                      <a:pt x="1273" y="1168"/>
                    </a:lnTo>
                    <a:lnTo>
                      <a:pt x="1273" y="1170"/>
                    </a:lnTo>
                    <a:lnTo>
                      <a:pt x="1273" y="1174"/>
                    </a:lnTo>
                    <a:lnTo>
                      <a:pt x="1275" y="1177"/>
                    </a:lnTo>
                    <a:lnTo>
                      <a:pt x="1275" y="1179"/>
                    </a:lnTo>
                    <a:lnTo>
                      <a:pt x="1275" y="1180"/>
                    </a:lnTo>
                    <a:lnTo>
                      <a:pt x="1275" y="1182"/>
                    </a:lnTo>
                    <a:lnTo>
                      <a:pt x="1276" y="1184"/>
                    </a:lnTo>
                    <a:lnTo>
                      <a:pt x="1275" y="1184"/>
                    </a:lnTo>
                    <a:lnTo>
                      <a:pt x="1276" y="1185"/>
                    </a:lnTo>
                    <a:lnTo>
                      <a:pt x="1275" y="1187"/>
                    </a:lnTo>
                    <a:lnTo>
                      <a:pt x="1273" y="1187"/>
                    </a:lnTo>
                    <a:lnTo>
                      <a:pt x="1273" y="1189"/>
                    </a:lnTo>
                    <a:lnTo>
                      <a:pt x="1271" y="1189"/>
                    </a:lnTo>
                    <a:lnTo>
                      <a:pt x="1271" y="1191"/>
                    </a:lnTo>
                    <a:lnTo>
                      <a:pt x="1270" y="1191"/>
                    </a:lnTo>
                    <a:lnTo>
                      <a:pt x="1270" y="1192"/>
                    </a:lnTo>
                    <a:lnTo>
                      <a:pt x="1268" y="1192"/>
                    </a:lnTo>
                    <a:lnTo>
                      <a:pt x="1266" y="1192"/>
                    </a:lnTo>
                    <a:lnTo>
                      <a:pt x="1264" y="1192"/>
                    </a:lnTo>
                    <a:lnTo>
                      <a:pt x="1266" y="1194"/>
                    </a:lnTo>
                    <a:lnTo>
                      <a:pt x="1266" y="1196"/>
                    </a:lnTo>
                    <a:lnTo>
                      <a:pt x="1264" y="1196"/>
                    </a:lnTo>
                    <a:lnTo>
                      <a:pt x="1264" y="1197"/>
                    </a:lnTo>
                    <a:lnTo>
                      <a:pt x="1264" y="1199"/>
                    </a:lnTo>
                    <a:lnTo>
                      <a:pt x="1266" y="1199"/>
                    </a:lnTo>
                    <a:lnTo>
                      <a:pt x="1264" y="1201"/>
                    </a:lnTo>
                    <a:lnTo>
                      <a:pt x="1266" y="1201"/>
                    </a:lnTo>
                    <a:lnTo>
                      <a:pt x="1268" y="1201"/>
                    </a:lnTo>
                    <a:lnTo>
                      <a:pt x="1268" y="1202"/>
                    </a:lnTo>
                    <a:lnTo>
                      <a:pt x="1266" y="1204"/>
                    </a:lnTo>
                    <a:lnTo>
                      <a:pt x="1264" y="1206"/>
                    </a:lnTo>
                    <a:lnTo>
                      <a:pt x="1266" y="1206"/>
                    </a:lnTo>
                    <a:lnTo>
                      <a:pt x="1268" y="1208"/>
                    </a:lnTo>
                    <a:lnTo>
                      <a:pt x="1268" y="1209"/>
                    </a:lnTo>
                    <a:lnTo>
                      <a:pt x="1270" y="1209"/>
                    </a:lnTo>
                    <a:lnTo>
                      <a:pt x="1268" y="1209"/>
                    </a:lnTo>
                    <a:lnTo>
                      <a:pt x="1268" y="1211"/>
                    </a:lnTo>
                    <a:lnTo>
                      <a:pt x="1268" y="1213"/>
                    </a:lnTo>
                    <a:lnTo>
                      <a:pt x="1266" y="1213"/>
                    </a:lnTo>
                    <a:lnTo>
                      <a:pt x="1264" y="1213"/>
                    </a:lnTo>
                    <a:lnTo>
                      <a:pt x="1263" y="1211"/>
                    </a:lnTo>
                    <a:lnTo>
                      <a:pt x="1264" y="1213"/>
                    </a:lnTo>
                    <a:lnTo>
                      <a:pt x="1263" y="1214"/>
                    </a:lnTo>
                    <a:lnTo>
                      <a:pt x="1264" y="1216"/>
                    </a:lnTo>
                    <a:lnTo>
                      <a:pt x="1263" y="1216"/>
                    </a:lnTo>
                    <a:lnTo>
                      <a:pt x="1263" y="1218"/>
                    </a:lnTo>
                    <a:lnTo>
                      <a:pt x="1261" y="1218"/>
                    </a:lnTo>
                    <a:lnTo>
                      <a:pt x="1259" y="1218"/>
                    </a:lnTo>
                    <a:lnTo>
                      <a:pt x="1259" y="1219"/>
                    </a:lnTo>
                    <a:lnTo>
                      <a:pt x="1258" y="1221"/>
                    </a:lnTo>
                    <a:lnTo>
                      <a:pt x="1258" y="1223"/>
                    </a:lnTo>
                    <a:lnTo>
                      <a:pt x="1256" y="1221"/>
                    </a:lnTo>
                    <a:lnTo>
                      <a:pt x="1256" y="1223"/>
                    </a:lnTo>
                    <a:lnTo>
                      <a:pt x="1254" y="1223"/>
                    </a:lnTo>
                    <a:lnTo>
                      <a:pt x="1254" y="1225"/>
                    </a:lnTo>
                    <a:lnTo>
                      <a:pt x="1253" y="1225"/>
                    </a:lnTo>
                    <a:lnTo>
                      <a:pt x="1253" y="1226"/>
                    </a:lnTo>
                    <a:lnTo>
                      <a:pt x="1253" y="1225"/>
                    </a:lnTo>
                    <a:lnTo>
                      <a:pt x="1253" y="1226"/>
                    </a:lnTo>
                    <a:lnTo>
                      <a:pt x="1254" y="1226"/>
                    </a:lnTo>
                    <a:lnTo>
                      <a:pt x="1254" y="1228"/>
                    </a:lnTo>
                    <a:lnTo>
                      <a:pt x="1253" y="1228"/>
                    </a:lnTo>
                    <a:lnTo>
                      <a:pt x="1253" y="1230"/>
                    </a:lnTo>
                    <a:lnTo>
                      <a:pt x="1253" y="1231"/>
                    </a:lnTo>
                    <a:lnTo>
                      <a:pt x="1253" y="1233"/>
                    </a:lnTo>
                    <a:lnTo>
                      <a:pt x="1251" y="1233"/>
                    </a:lnTo>
                    <a:lnTo>
                      <a:pt x="1251" y="1235"/>
                    </a:lnTo>
                    <a:lnTo>
                      <a:pt x="1249" y="1235"/>
                    </a:lnTo>
                    <a:lnTo>
                      <a:pt x="1249" y="1236"/>
                    </a:lnTo>
                    <a:lnTo>
                      <a:pt x="1249" y="1238"/>
                    </a:lnTo>
                    <a:lnTo>
                      <a:pt x="1251" y="1238"/>
                    </a:lnTo>
                    <a:lnTo>
                      <a:pt x="1251" y="1240"/>
                    </a:lnTo>
                    <a:lnTo>
                      <a:pt x="1249" y="1240"/>
                    </a:lnTo>
                    <a:lnTo>
                      <a:pt x="1247" y="1240"/>
                    </a:lnTo>
                    <a:lnTo>
                      <a:pt x="1246" y="1238"/>
                    </a:lnTo>
                    <a:lnTo>
                      <a:pt x="1246" y="1240"/>
                    </a:lnTo>
                    <a:lnTo>
                      <a:pt x="1247" y="1240"/>
                    </a:lnTo>
                    <a:lnTo>
                      <a:pt x="1247" y="1242"/>
                    </a:lnTo>
                    <a:lnTo>
                      <a:pt x="1247" y="1243"/>
                    </a:lnTo>
                    <a:lnTo>
                      <a:pt x="1247" y="1245"/>
                    </a:lnTo>
                    <a:lnTo>
                      <a:pt x="1247" y="1247"/>
                    </a:lnTo>
                    <a:lnTo>
                      <a:pt x="1246" y="1247"/>
                    </a:lnTo>
                    <a:lnTo>
                      <a:pt x="1246" y="1248"/>
                    </a:lnTo>
                    <a:lnTo>
                      <a:pt x="1247" y="1250"/>
                    </a:lnTo>
                    <a:lnTo>
                      <a:pt x="1249" y="1250"/>
                    </a:lnTo>
                    <a:lnTo>
                      <a:pt x="1249" y="1252"/>
                    </a:lnTo>
                    <a:lnTo>
                      <a:pt x="1249" y="1253"/>
                    </a:lnTo>
                    <a:lnTo>
                      <a:pt x="1249" y="1255"/>
                    </a:lnTo>
                    <a:lnTo>
                      <a:pt x="1251" y="1255"/>
                    </a:lnTo>
                    <a:lnTo>
                      <a:pt x="1251" y="1257"/>
                    </a:lnTo>
                    <a:lnTo>
                      <a:pt x="1253" y="1257"/>
                    </a:lnTo>
                    <a:lnTo>
                      <a:pt x="1253" y="1259"/>
                    </a:lnTo>
                    <a:lnTo>
                      <a:pt x="1254" y="1259"/>
                    </a:lnTo>
                    <a:lnTo>
                      <a:pt x="1253" y="1260"/>
                    </a:lnTo>
                    <a:lnTo>
                      <a:pt x="1254" y="1262"/>
                    </a:lnTo>
                    <a:lnTo>
                      <a:pt x="1253" y="1262"/>
                    </a:lnTo>
                    <a:lnTo>
                      <a:pt x="1253" y="1264"/>
                    </a:lnTo>
                    <a:lnTo>
                      <a:pt x="1254" y="1264"/>
                    </a:lnTo>
                    <a:lnTo>
                      <a:pt x="1254" y="1265"/>
                    </a:lnTo>
                    <a:lnTo>
                      <a:pt x="1256" y="1267"/>
                    </a:lnTo>
                    <a:lnTo>
                      <a:pt x="1256" y="1269"/>
                    </a:lnTo>
                    <a:lnTo>
                      <a:pt x="1254" y="1269"/>
                    </a:lnTo>
                    <a:lnTo>
                      <a:pt x="1254" y="1270"/>
                    </a:lnTo>
                    <a:lnTo>
                      <a:pt x="1253" y="1269"/>
                    </a:lnTo>
                    <a:lnTo>
                      <a:pt x="1253" y="1270"/>
                    </a:lnTo>
                    <a:lnTo>
                      <a:pt x="1253" y="1269"/>
                    </a:lnTo>
                    <a:lnTo>
                      <a:pt x="1251" y="1269"/>
                    </a:lnTo>
                    <a:lnTo>
                      <a:pt x="1251" y="1270"/>
                    </a:lnTo>
                    <a:lnTo>
                      <a:pt x="1253" y="1270"/>
                    </a:lnTo>
                    <a:lnTo>
                      <a:pt x="1251" y="1272"/>
                    </a:lnTo>
                    <a:lnTo>
                      <a:pt x="1249" y="1272"/>
                    </a:lnTo>
                    <a:lnTo>
                      <a:pt x="1249" y="1274"/>
                    </a:lnTo>
                    <a:lnTo>
                      <a:pt x="1251" y="1274"/>
                    </a:lnTo>
                    <a:lnTo>
                      <a:pt x="1251" y="1276"/>
                    </a:lnTo>
                    <a:lnTo>
                      <a:pt x="1249" y="1277"/>
                    </a:lnTo>
                    <a:lnTo>
                      <a:pt x="1247" y="1277"/>
                    </a:lnTo>
                    <a:lnTo>
                      <a:pt x="1246" y="1277"/>
                    </a:lnTo>
                    <a:lnTo>
                      <a:pt x="1246" y="1276"/>
                    </a:lnTo>
                    <a:lnTo>
                      <a:pt x="1244" y="1276"/>
                    </a:lnTo>
                    <a:lnTo>
                      <a:pt x="1244" y="1277"/>
                    </a:lnTo>
                    <a:lnTo>
                      <a:pt x="1246" y="1284"/>
                    </a:lnTo>
                    <a:lnTo>
                      <a:pt x="1246" y="1288"/>
                    </a:lnTo>
                    <a:lnTo>
                      <a:pt x="1246" y="1289"/>
                    </a:lnTo>
                    <a:lnTo>
                      <a:pt x="1246" y="1291"/>
                    </a:lnTo>
                    <a:lnTo>
                      <a:pt x="1246" y="1293"/>
                    </a:lnTo>
                    <a:lnTo>
                      <a:pt x="1244" y="1293"/>
                    </a:lnTo>
                    <a:lnTo>
                      <a:pt x="1242" y="1294"/>
                    </a:lnTo>
                    <a:lnTo>
                      <a:pt x="1241" y="1296"/>
                    </a:lnTo>
                    <a:lnTo>
                      <a:pt x="1241" y="1298"/>
                    </a:lnTo>
                    <a:lnTo>
                      <a:pt x="1239" y="1298"/>
                    </a:lnTo>
                    <a:lnTo>
                      <a:pt x="1237" y="1299"/>
                    </a:lnTo>
                    <a:lnTo>
                      <a:pt x="1237" y="1301"/>
                    </a:lnTo>
                    <a:lnTo>
                      <a:pt x="1236" y="1301"/>
                    </a:lnTo>
                    <a:lnTo>
                      <a:pt x="1234" y="1299"/>
                    </a:lnTo>
                    <a:lnTo>
                      <a:pt x="1232" y="1299"/>
                    </a:lnTo>
                    <a:lnTo>
                      <a:pt x="1232" y="1301"/>
                    </a:lnTo>
                    <a:lnTo>
                      <a:pt x="1230" y="1301"/>
                    </a:lnTo>
                    <a:lnTo>
                      <a:pt x="1230" y="1303"/>
                    </a:lnTo>
                    <a:lnTo>
                      <a:pt x="1230" y="1305"/>
                    </a:lnTo>
                    <a:lnTo>
                      <a:pt x="1230" y="1306"/>
                    </a:lnTo>
                    <a:lnTo>
                      <a:pt x="1229" y="1306"/>
                    </a:lnTo>
                    <a:lnTo>
                      <a:pt x="1229" y="1308"/>
                    </a:lnTo>
                    <a:lnTo>
                      <a:pt x="1227" y="1310"/>
                    </a:lnTo>
                    <a:lnTo>
                      <a:pt x="1225" y="1311"/>
                    </a:lnTo>
                    <a:lnTo>
                      <a:pt x="1225" y="1313"/>
                    </a:lnTo>
                    <a:lnTo>
                      <a:pt x="1225" y="1315"/>
                    </a:lnTo>
                    <a:lnTo>
                      <a:pt x="1225" y="1316"/>
                    </a:lnTo>
                    <a:lnTo>
                      <a:pt x="1227" y="1316"/>
                    </a:lnTo>
                    <a:lnTo>
                      <a:pt x="1227" y="1315"/>
                    </a:lnTo>
                    <a:lnTo>
                      <a:pt x="1227" y="1316"/>
                    </a:lnTo>
                    <a:lnTo>
                      <a:pt x="1229" y="1316"/>
                    </a:lnTo>
                    <a:lnTo>
                      <a:pt x="1227" y="1316"/>
                    </a:lnTo>
                    <a:lnTo>
                      <a:pt x="1213" y="1313"/>
                    </a:lnTo>
                    <a:lnTo>
                      <a:pt x="1213" y="1315"/>
                    </a:lnTo>
                    <a:lnTo>
                      <a:pt x="1213" y="1316"/>
                    </a:lnTo>
                    <a:lnTo>
                      <a:pt x="1215" y="1318"/>
                    </a:lnTo>
                    <a:lnTo>
                      <a:pt x="1217" y="1318"/>
                    </a:lnTo>
                    <a:lnTo>
                      <a:pt x="1215" y="1320"/>
                    </a:lnTo>
                    <a:lnTo>
                      <a:pt x="1215" y="1322"/>
                    </a:lnTo>
                    <a:lnTo>
                      <a:pt x="1215" y="1323"/>
                    </a:lnTo>
                    <a:lnTo>
                      <a:pt x="1213" y="1323"/>
                    </a:lnTo>
                    <a:lnTo>
                      <a:pt x="1213" y="1325"/>
                    </a:lnTo>
                    <a:lnTo>
                      <a:pt x="1213" y="1327"/>
                    </a:lnTo>
                    <a:lnTo>
                      <a:pt x="1213" y="1328"/>
                    </a:lnTo>
                    <a:lnTo>
                      <a:pt x="1212" y="1328"/>
                    </a:lnTo>
                    <a:lnTo>
                      <a:pt x="1212" y="1330"/>
                    </a:lnTo>
                    <a:lnTo>
                      <a:pt x="1212" y="1332"/>
                    </a:lnTo>
                    <a:lnTo>
                      <a:pt x="1213" y="1332"/>
                    </a:lnTo>
                    <a:lnTo>
                      <a:pt x="1213" y="1333"/>
                    </a:lnTo>
                    <a:lnTo>
                      <a:pt x="1215" y="1335"/>
                    </a:lnTo>
                    <a:lnTo>
                      <a:pt x="1213" y="1335"/>
                    </a:lnTo>
                    <a:lnTo>
                      <a:pt x="1213" y="1337"/>
                    </a:lnTo>
                    <a:lnTo>
                      <a:pt x="1213" y="1339"/>
                    </a:lnTo>
                    <a:lnTo>
                      <a:pt x="1213" y="1340"/>
                    </a:lnTo>
                    <a:lnTo>
                      <a:pt x="1215" y="1342"/>
                    </a:lnTo>
                    <a:lnTo>
                      <a:pt x="1215" y="1344"/>
                    </a:lnTo>
                    <a:lnTo>
                      <a:pt x="1213" y="1345"/>
                    </a:lnTo>
                    <a:lnTo>
                      <a:pt x="1213" y="1347"/>
                    </a:lnTo>
                    <a:lnTo>
                      <a:pt x="1213" y="1349"/>
                    </a:lnTo>
                    <a:lnTo>
                      <a:pt x="1212" y="1349"/>
                    </a:lnTo>
                    <a:lnTo>
                      <a:pt x="1212" y="1350"/>
                    </a:lnTo>
                    <a:lnTo>
                      <a:pt x="1212" y="1352"/>
                    </a:lnTo>
                    <a:lnTo>
                      <a:pt x="1213" y="1352"/>
                    </a:lnTo>
                    <a:lnTo>
                      <a:pt x="1212" y="1354"/>
                    </a:lnTo>
                    <a:lnTo>
                      <a:pt x="1212" y="1356"/>
                    </a:lnTo>
                    <a:lnTo>
                      <a:pt x="1212" y="1357"/>
                    </a:lnTo>
                    <a:lnTo>
                      <a:pt x="1213" y="1357"/>
                    </a:lnTo>
                    <a:lnTo>
                      <a:pt x="1213" y="1359"/>
                    </a:lnTo>
                    <a:lnTo>
                      <a:pt x="1212" y="1361"/>
                    </a:lnTo>
                    <a:lnTo>
                      <a:pt x="1212" y="1362"/>
                    </a:lnTo>
                    <a:lnTo>
                      <a:pt x="1212" y="1364"/>
                    </a:lnTo>
                    <a:lnTo>
                      <a:pt x="1212" y="1366"/>
                    </a:lnTo>
                    <a:lnTo>
                      <a:pt x="1210" y="1367"/>
                    </a:lnTo>
                    <a:lnTo>
                      <a:pt x="1212" y="1369"/>
                    </a:lnTo>
                    <a:lnTo>
                      <a:pt x="1212" y="1371"/>
                    </a:lnTo>
                    <a:lnTo>
                      <a:pt x="1213" y="1371"/>
                    </a:lnTo>
                    <a:lnTo>
                      <a:pt x="1213" y="1373"/>
                    </a:lnTo>
                    <a:lnTo>
                      <a:pt x="1213" y="1374"/>
                    </a:lnTo>
                    <a:lnTo>
                      <a:pt x="1215" y="1378"/>
                    </a:lnTo>
                    <a:lnTo>
                      <a:pt x="1217" y="1379"/>
                    </a:lnTo>
                    <a:lnTo>
                      <a:pt x="1215" y="1379"/>
                    </a:lnTo>
                    <a:lnTo>
                      <a:pt x="1217" y="1379"/>
                    </a:lnTo>
                    <a:lnTo>
                      <a:pt x="1219" y="1381"/>
                    </a:lnTo>
                    <a:lnTo>
                      <a:pt x="1217" y="1381"/>
                    </a:lnTo>
                    <a:lnTo>
                      <a:pt x="1219" y="1383"/>
                    </a:lnTo>
                    <a:lnTo>
                      <a:pt x="1219" y="1384"/>
                    </a:lnTo>
                    <a:lnTo>
                      <a:pt x="1220" y="1384"/>
                    </a:lnTo>
                    <a:lnTo>
                      <a:pt x="1220" y="1386"/>
                    </a:lnTo>
                    <a:lnTo>
                      <a:pt x="1220" y="1388"/>
                    </a:lnTo>
                    <a:lnTo>
                      <a:pt x="1222" y="1390"/>
                    </a:lnTo>
                    <a:lnTo>
                      <a:pt x="1224" y="1390"/>
                    </a:lnTo>
                    <a:lnTo>
                      <a:pt x="1224" y="1391"/>
                    </a:lnTo>
                    <a:lnTo>
                      <a:pt x="1222" y="1393"/>
                    </a:lnTo>
                    <a:lnTo>
                      <a:pt x="1220" y="1393"/>
                    </a:lnTo>
                    <a:lnTo>
                      <a:pt x="1220" y="1395"/>
                    </a:lnTo>
                    <a:lnTo>
                      <a:pt x="1220" y="1396"/>
                    </a:lnTo>
                    <a:lnTo>
                      <a:pt x="1220" y="1398"/>
                    </a:lnTo>
                    <a:lnTo>
                      <a:pt x="1222" y="1398"/>
                    </a:lnTo>
                    <a:lnTo>
                      <a:pt x="1224" y="1398"/>
                    </a:lnTo>
                    <a:lnTo>
                      <a:pt x="1225" y="1396"/>
                    </a:lnTo>
                    <a:lnTo>
                      <a:pt x="1227" y="1395"/>
                    </a:lnTo>
                    <a:lnTo>
                      <a:pt x="1227" y="1396"/>
                    </a:lnTo>
                    <a:lnTo>
                      <a:pt x="1229" y="1395"/>
                    </a:lnTo>
                    <a:lnTo>
                      <a:pt x="1230" y="1395"/>
                    </a:lnTo>
                    <a:lnTo>
                      <a:pt x="1232" y="1393"/>
                    </a:lnTo>
                    <a:lnTo>
                      <a:pt x="1232" y="1391"/>
                    </a:lnTo>
                    <a:lnTo>
                      <a:pt x="1234" y="1391"/>
                    </a:lnTo>
                    <a:lnTo>
                      <a:pt x="1234" y="1390"/>
                    </a:lnTo>
                    <a:lnTo>
                      <a:pt x="1236" y="1390"/>
                    </a:lnTo>
                    <a:lnTo>
                      <a:pt x="1237" y="1388"/>
                    </a:lnTo>
                    <a:lnTo>
                      <a:pt x="1239" y="1388"/>
                    </a:lnTo>
                    <a:lnTo>
                      <a:pt x="1241" y="1390"/>
                    </a:lnTo>
                    <a:lnTo>
                      <a:pt x="1241" y="1388"/>
                    </a:lnTo>
                    <a:lnTo>
                      <a:pt x="1242" y="1390"/>
                    </a:lnTo>
                    <a:lnTo>
                      <a:pt x="1244" y="1391"/>
                    </a:lnTo>
                    <a:lnTo>
                      <a:pt x="1244" y="1390"/>
                    </a:lnTo>
                    <a:lnTo>
                      <a:pt x="1244" y="1388"/>
                    </a:lnTo>
                    <a:lnTo>
                      <a:pt x="1246" y="1388"/>
                    </a:lnTo>
                    <a:lnTo>
                      <a:pt x="1247" y="1386"/>
                    </a:lnTo>
                    <a:lnTo>
                      <a:pt x="1249" y="1388"/>
                    </a:lnTo>
                    <a:lnTo>
                      <a:pt x="1251" y="1388"/>
                    </a:lnTo>
                    <a:lnTo>
                      <a:pt x="1253" y="1388"/>
                    </a:lnTo>
                    <a:lnTo>
                      <a:pt x="1253" y="1390"/>
                    </a:lnTo>
                    <a:lnTo>
                      <a:pt x="1254" y="1390"/>
                    </a:lnTo>
                    <a:lnTo>
                      <a:pt x="1254" y="1391"/>
                    </a:lnTo>
                    <a:lnTo>
                      <a:pt x="1253" y="1393"/>
                    </a:lnTo>
                    <a:lnTo>
                      <a:pt x="1253" y="1395"/>
                    </a:lnTo>
                    <a:lnTo>
                      <a:pt x="1253" y="1396"/>
                    </a:lnTo>
                    <a:lnTo>
                      <a:pt x="1254" y="1396"/>
                    </a:lnTo>
                    <a:lnTo>
                      <a:pt x="1254" y="1398"/>
                    </a:lnTo>
                    <a:lnTo>
                      <a:pt x="1254" y="1400"/>
                    </a:lnTo>
                    <a:lnTo>
                      <a:pt x="1256" y="1401"/>
                    </a:lnTo>
                    <a:lnTo>
                      <a:pt x="1256" y="1403"/>
                    </a:lnTo>
                    <a:lnTo>
                      <a:pt x="1254" y="1405"/>
                    </a:lnTo>
                    <a:lnTo>
                      <a:pt x="1254" y="1407"/>
                    </a:lnTo>
                    <a:lnTo>
                      <a:pt x="1254" y="1408"/>
                    </a:lnTo>
                    <a:lnTo>
                      <a:pt x="1254" y="1410"/>
                    </a:lnTo>
                    <a:lnTo>
                      <a:pt x="1253" y="1410"/>
                    </a:lnTo>
                    <a:lnTo>
                      <a:pt x="1253" y="1408"/>
                    </a:lnTo>
                    <a:lnTo>
                      <a:pt x="1251" y="1408"/>
                    </a:lnTo>
                    <a:lnTo>
                      <a:pt x="1251" y="1410"/>
                    </a:lnTo>
                    <a:lnTo>
                      <a:pt x="1251" y="1412"/>
                    </a:lnTo>
                    <a:lnTo>
                      <a:pt x="1249" y="1413"/>
                    </a:lnTo>
                    <a:lnTo>
                      <a:pt x="1251" y="1413"/>
                    </a:lnTo>
                    <a:lnTo>
                      <a:pt x="1251" y="1415"/>
                    </a:lnTo>
                    <a:lnTo>
                      <a:pt x="1251" y="1417"/>
                    </a:lnTo>
                    <a:lnTo>
                      <a:pt x="1253" y="1418"/>
                    </a:lnTo>
                    <a:lnTo>
                      <a:pt x="1254" y="1418"/>
                    </a:lnTo>
                    <a:lnTo>
                      <a:pt x="1254" y="1420"/>
                    </a:lnTo>
                    <a:lnTo>
                      <a:pt x="1254" y="1422"/>
                    </a:lnTo>
                    <a:lnTo>
                      <a:pt x="1254" y="1424"/>
                    </a:lnTo>
                    <a:lnTo>
                      <a:pt x="1253" y="1424"/>
                    </a:lnTo>
                    <a:lnTo>
                      <a:pt x="1253" y="1425"/>
                    </a:lnTo>
                    <a:lnTo>
                      <a:pt x="1251" y="1425"/>
                    </a:lnTo>
                    <a:lnTo>
                      <a:pt x="1253" y="1427"/>
                    </a:lnTo>
                    <a:lnTo>
                      <a:pt x="1253" y="1429"/>
                    </a:lnTo>
                    <a:lnTo>
                      <a:pt x="1253" y="1430"/>
                    </a:lnTo>
                    <a:lnTo>
                      <a:pt x="1253" y="1432"/>
                    </a:lnTo>
                    <a:lnTo>
                      <a:pt x="1253" y="1434"/>
                    </a:lnTo>
                    <a:lnTo>
                      <a:pt x="1253" y="1435"/>
                    </a:lnTo>
                    <a:lnTo>
                      <a:pt x="1251" y="1435"/>
                    </a:lnTo>
                    <a:lnTo>
                      <a:pt x="1249" y="1435"/>
                    </a:lnTo>
                    <a:lnTo>
                      <a:pt x="1251" y="1435"/>
                    </a:lnTo>
                    <a:lnTo>
                      <a:pt x="1249" y="1437"/>
                    </a:lnTo>
                    <a:lnTo>
                      <a:pt x="1249" y="1439"/>
                    </a:lnTo>
                    <a:lnTo>
                      <a:pt x="1251" y="1439"/>
                    </a:lnTo>
                    <a:lnTo>
                      <a:pt x="1253" y="1439"/>
                    </a:lnTo>
                    <a:lnTo>
                      <a:pt x="1253" y="1441"/>
                    </a:lnTo>
                    <a:lnTo>
                      <a:pt x="1254" y="1442"/>
                    </a:lnTo>
                    <a:lnTo>
                      <a:pt x="1254" y="1444"/>
                    </a:lnTo>
                    <a:lnTo>
                      <a:pt x="1254" y="1446"/>
                    </a:lnTo>
                    <a:lnTo>
                      <a:pt x="1256" y="1446"/>
                    </a:lnTo>
                    <a:lnTo>
                      <a:pt x="1258" y="1446"/>
                    </a:lnTo>
                    <a:lnTo>
                      <a:pt x="1258" y="1447"/>
                    </a:lnTo>
                    <a:lnTo>
                      <a:pt x="1259" y="1447"/>
                    </a:lnTo>
                    <a:lnTo>
                      <a:pt x="1259" y="1449"/>
                    </a:lnTo>
                    <a:lnTo>
                      <a:pt x="1261" y="1449"/>
                    </a:lnTo>
                    <a:lnTo>
                      <a:pt x="1261" y="1451"/>
                    </a:lnTo>
                    <a:lnTo>
                      <a:pt x="1263" y="1451"/>
                    </a:lnTo>
                    <a:lnTo>
                      <a:pt x="1263" y="1453"/>
                    </a:lnTo>
                    <a:lnTo>
                      <a:pt x="1264" y="1453"/>
                    </a:lnTo>
                    <a:lnTo>
                      <a:pt x="1264" y="1454"/>
                    </a:lnTo>
                    <a:lnTo>
                      <a:pt x="1266" y="1456"/>
                    </a:lnTo>
                    <a:lnTo>
                      <a:pt x="1266" y="1458"/>
                    </a:lnTo>
                    <a:lnTo>
                      <a:pt x="1264" y="1458"/>
                    </a:lnTo>
                    <a:lnTo>
                      <a:pt x="1264" y="1459"/>
                    </a:lnTo>
                    <a:lnTo>
                      <a:pt x="1263" y="1459"/>
                    </a:lnTo>
                    <a:lnTo>
                      <a:pt x="1263" y="1461"/>
                    </a:lnTo>
                    <a:lnTo>
                      <a:pt x="1264" y="1461"/>
                    </a:lnTo>
                    <a:lnTo>
                      <a:pt x="1266" y="1461"/>
                    </a:lnTo>
                    <a:lnTo>
                      <a:pt x="1266" y="1463"/>
                    </a:lnTo>
                    <a:lnTo>
                      <a:pt x="1275" y="1461"/>
                    </a:lnTo>
                    <a:lnTo>
                      <a:pt x="1283" y="1461"/>
                    </a:lnTo>
                    <a:lnTo>
                      <a:pt x="1285" y="1461"/>
                    </a:lnTo>
                    <a:lnTo>
                      <a:pt x="1288" y="1463"/>
                    </a:lnTo>
                    <a:lnTo>
                      <a:pt x="1302" y="1461"/>
                    </a:lnTo>
                    <a:lnTo>
                      <a:pt x="1309" y="1463"/>
                    </a:lnTo>
                    <a:lnTo>
                      <a:pt x="1314" y="1461"/>
                    </a:lnTo>
                    <a:lnTo>
                      <a:pt x="1319" y="1463"/>
                    </a:lnTo>
                    <a:lnTo>
                      <a:pt x="1331" y="1461"/>
                    </a:lnTo>
                    <a:lnTo>
                      <a:pt x="1334" y="1463"/>
                    </a:lnTo>
                    <a:lnTo>
                      <a:pt x="1336" y="1464"/>
                    </a:lnTo>
                    <a:lnTo>
                      <a:pt x="1338" y="1466"/>
                    </a:lnTo>
                    <a:lnTo>
                      <a:pt x="1341" y="1466"/>
                    </a:lnTo>
                    <a:lnTo>
                      <a:pt x="1344" y="1468"/>
                    </a:lnTo>
                    <a:lnTo>
                      <a:pt x="1348" y="1470"/>
                    </a:lnTo>
                    <a:lnTo>
                      <a:pt x="1349" y="1470"/>
                    </a:lnTo>
                    <a:lnTo>
                      <a:pt x="1351" y="1471"/>
                    </a:lnTo>
                    <a:lnTo>
                      <a:pt x="1355" y="1471"/>
                    </a:lnTo>
                    <a:lnTo>
                      <a:pt x="1358" y="1471"/>
                    </a:lnTo>
                    <a:lnTo>
                      <a:pt x="1360" y="1471"/>
                    </a:lnTo>
                    <a:lnTo>
                      <a:pt x="1361" y="1473"/>
                    </a:lnTo>
                    <a:lnTo>
                      <a:pt x="1363" y="1473"/>
                    </a:lnTo>
                    <a:lnTo>
                      <a:pt x="1365" y="1473"/>
                    </a:lnTo>
                    <a:lnTo>
                      <a:pt x="1366" y="1475"/>
                    </a:lnTo>
                    <a:lnTo>
                      <a:pt x="1368" y="1475"/>
                    </a:lnTo>
                    <a:lnTo>
                      <a:pt x="1372" y="1476"/>
                    </a:lnTo>
                    <a:lnTo>
                      <a:pt x="1373" y="1476"/>
                    </a:lnTo>
                    <a:lnTo>
                      <a:pt x="1373" y="1478"/>
                    </a:lnTo>
                    <a:lnTo>
                      <a:pt x="1375" y="1478"/>
                    </a:lnTo>
                    <a:lnTo>
                      <a:pt x="1377" y="1478"/>
                    </a:lnTo>
                    <a:lnTo>
                      <a:pt x="1378" y="1478"/>
                    </a:lnTo>
                    <a:lnTo>
                      <a:pt x="1378" y="1480"/>
                    </a:lnTo>
                    <a:lnTo>
                      <a:pt x="1380" y="1480"/>
                    </a:lnTo>
                    <a:lnTo>
                      <a:pt x="1382" y="1480"/>
                    </a:lnTo>
                    <a:lnTo>
                      <a:pt x="1383" y="1480"/>
                    </a:lnTo>
                    <a:lnTo>
                      <a:pt x="1385" y="1480"/>
                    </a:lnTo>
                    <a:lnTo>
                      <a:pt x="1385" y="1481"/>
                    </a:lnTo>
                    <a:lnTo>
                      <a:pt x="1385" y="1483"/>
                    </a:lnTo>
                    <a:lnTo>
                      <a:pt x="1383" y="1483"/>
                    </a:lnTo>
                    <a:lnTo>
                      <a:pt x="1383" y="1481"/>
                    </a:lnTo>
                    <a:lnTo>
                      <a:pt x="1382" y="1481"/>
                    </a:lnTo>
                    <a:lnTo>
                      <a:pt x="1382" y="1480"/>
                    </a:lnTo>
                    <a:lnTo>
                      <a:pt x="1380" y="1481"/>
                    </a:lnTo>
                    <a:lnTo>
                      <a:pt x="1378" y="1480"/>
                    </a:lnTo>
                    <a:lnTo>
                      <a:pt x="1377" y="1480"/>
                    </a:lnTo>
                    <a:lnTo>
                      <a:pt x="1375" y="1480"/>
                    </a:lnTo>
                    <a:lnTo>
                      <a:pt x="1373" y="1480"/>
                    </a:lnTo>
                    <a:lnTo>
                      <a:pt x="1373" y="1478"/>
                    </a:lnTo>
                    <a:lnTo>
                      <a:pt x="1372" y="1480"/>
                    </a:lnTo>
                    <a:lnTo>
                      <a:pt x="1372" y="1478"/>
                    </a:lnTo>
                    <a:lnTo>
                      <a:pt x="1370" y="1480"/>
                    </a:lnTo>
                    <a:lnTo>
                      <a:pt x="1368" y="1478"/>
                    </a:lnTo>
                    <a:lnTo>
                      <a:pt x="1366" y="1478"/>
                    </a:lnTo>
                    <a:lnTo>
                      <a:pt x="1365" y="1476"/>
                    </a:lnTo>
                    <a:lnTo>
                      <a:pt x="1363" y="1475"/>
                    </a:lnTo>
                    <a:lnTo>
                      <a:pt x="1361" y="1475"/>
                    </a:lnTo>
                    <a:lnTo>
                      <a:pt x="1361" y="1473"/>
                    </a:lnTo>
                    <a:lnTo>
                      <a:pt x="1360" y="1473"/>
                    </a:lnTo>
                    <a:lnTo>
                      <a:pt x="1358" y="1473"/>
                    </a:lnTo>
                    <a:lnTo>
                      <a:pt x="1356" y="1473"/>
                    </a:lnTo>
                    <a:lnTo>
                      <a:pt x="1356" y="1475"/>
                    </a:lnTo>
                    <a:lnTo>
                      <a:pt x="1355" y="1475"/>
                    </a:lnTo>
                    <a:lnTo>
                      <a:pt x="1353" y="1475"/>
                    </a:lnTo>
                    <a:lnTo>
                      <a:pt x="1353" y="1476"/>
                    </a:lnTo>
                    <a:lnTo>
                      <a:pt x="1351" y="1476"/>
                    </a:lnTo>
                    <a:lnTo>
                      <a:pt x="1349" y="1476"/>
                    </a:lnTo>
                    <a:lnTo>
                      <a:pt x="1349" y="1478"/>
                    </a:lnTo>
                    <a:lnTo>
                      <a:pt x="1349" y="1480"/>
                    </a:lnTo>
                    <a:lnTo>
                      <a:pt x="1348" y="1480"/>
                    </a:lnTo>
                    <a:lnTo>
                      <a:pt x="1349" y="1481"/>
                    </a:lnTo>
                    <a:lnTo>
                      <a:pt x="1348" y="1481"/>
                    </a:lnTo>
                    <a:lnTo>
                      <a:pt x="1349" y="1483"/>
                    </a:lnTo>
                    <a:lnTo>
                      <a:pt x="1348" y="1483"/>
                    </a:lnTo>
                    <a:lnTo>
                      <a:pt x="1346" y="1485"/>
                    </a:lnTo>
                    <a:lnTo>
                      <a:pt x="1346" y="1487"/>
                    </a:lnTo>
                    <a:lnTo>
                      <a:pt x="1346" y="1488"/>
                    </a:lnTo>
                    <a:lnTo>
                      <a:pt x="1344" y="1488"/>
                    </a:lnTo>
                    <a:lnTo>
                      <a:pt x="1344" y="1490"/>
                    </a:lnTo>
                    <a:lnTo>
                      <a:pt x="1343" y="1492"/>
                    </a:lnTo>
                    <a:lnTo>
                      <a:pt x="1341" y="1492"/>
                    </a:lnTo>
                    <a:lnTo>
                      <a:pt x="1339" y="1492"/>
                    </a:lnTo>
                    <a:lnTo>
                      <a:pt x="1338" y="1490"/>
                    </a:lnTo>
                    <a:lnTo>
                      <a:pt x="1338" y="1488"/>
                    </a:lnTo>
                    <a:lnTo>
                      <a:pt x="1336" y="1488"/>
                    </a:lnTo>
                    <a:lnTo>
                      <a:pt x="1336" y="1490"/>
                    </a:lnTo>
                    <a:lnTo>
                      <a:pt x="1334" y="1490"/>
                    </a:lnTo>
                    <a:lnTo>
                      <a:pt x="1332" y="1492"/>
                    </a:lnTo>
                    <a:lnTo>
                      <a:pt x="1331" y="1492"/>
                    </a:lnTo>
                    <a:lnTo>
                      <a:pt x="1331" y="1493"/>
                    </a:lnTo>
                    <a:lnTo>
                      <a:pt x="1329" y="1493"/>
                    </a:lnTo>
                    <a:lnTo>
                      <a:pt x="1327" y="1493"/>
                    </a:lnTo>
                    <a:lnTo>
                      <a:pt x="1326" y="1495"/>
                    </a:lnTo>
                    <a:lnTo>
                      <a:pt x="1324" y="1495"/>
                    </a:lnTo>
                    <a:lnTo>
                      <a:pt x="1324" y="1497"/>
                    </a:lnTo>
                    <a:lnTo>
                      <a:pt x="1324" y="1498"/>
                    </a:lnTo>
                    <a:lnTo>
                      <a:pt x="1324" y="1497"/>
                    </a:lnTo>
                    <a:lnTo>
                      <a:pt x="1322" y="1497"/>
                    </a:lnTo>
                    <a:lnTo>
                      <a:pt x="1321" y="1497"/>
                    </a:lnTo>
                    <a:lnTo>
                      <a:pt x="1321" y="1498"/>
                    </a:lnTo>
                    <a:lnTo>
                      <a:pt x="1319" y="1498"/>
                    </a:lnTo>
                    <a:lnTo>
                      <a:pt x="1317" y="1500"/>
                    </a:lnTo>
                    <a:lnTo>
                      <a:pt x="1315" y="1500"/>
                    </a:lnTo>
                    <a:lnTo>
                      <a:pt x="1314" y="1502"/>
                    </a:lnTo>
                    <a:lnTo>
                      <a:pt x="1312" y="1502"/>
                    </a:lnTo>
                    <a:lnTo>
                      <a:pt x="1312" y="1500"/>
                    </a:lnTo>
                    <a:lnTo>
                      <a:pt x="1314" y="1500"/>
                    </a:lnTo>
                    <a:lnTo>
                      <a:pt x="1314" y="1498"/>
                    </a:lnTo>
                    <a:lnTo>
                      <a:pt x="1312" y="1498"/>
                    </a:lnTo>
                    <a:lnTo>
                      <a:pt x="1312" y="1500"/>
                    </a:lnTo>
                    <a:lnTo>
                      <a:pt x="1310" y="1502"/>
                    </a:lnTo>
                    <a:lnTo>
                      <a:pt x="1310" y="1500"/>
                    </a:lnTo>
                    <a:lnTo>
                      <a:pt x="1309" y="1502"/>
                    </a:lnTo>
                    <a:lnTo>
                      <a:pt x="1307" y="1502"/>
                    </a:lnTo>
                    <a:lnTo>
                      <a:pt x="1309" y="1504"/>
                    </a:lnTo>
                    <a:lnTo>
                      <a:pt x="1307" y="1504"/>
                    </a:lnTo>
                    <a:lnTo>
                      <a:pt x="1307" y="1502"/>
                    </a:lnTo>
                    <a:lnTo>
                      <a:pt x="1305" y="1502"/>
                    </a:lnTo>
                    <a:lnTo>
                      <a:pt x="1305" y="1504"/>
                    </a:lnTo>
                    <a:lnTo>
                      <a:pt x="1304" y="1504"/>
                    </a:lnTo>
                    <a:lnTo>
                      <a:pt x="1304" y="1502"/>
                    </a:lnTo>
                    <a:lnTo>
                      <a:pt x="1302" y="1502"/>
                    </a:lnTo>
                    <a:lnTo>
                      <a:pt x="1304" y="1502"/>
                    </a:lnTo>
                    <a:lnTo>
                      <a:pt x="1302" y="1502"/>
                    </a:lnTo>
                    <a:lnTo>
                      <a:pt x="1302" y="1504"/>
                    </a:lnTo>
                    <a:lnTo>
                      <a:pt x="1304" y="1504"/>
                    </a:lnTo>
                    <a:lnTo>
                      <a:pt x="1305" y="1504"/>
                    </a:lnTo>
                    <a:lnTo>
                      <a:pt x="1304" y="1505"/>
                    </a:lnTo>
                    <a:lnTo>
                      <a:pt x="1305" y="1505"/>
                    </a:lnTo>
                    <a:lnTo>
                      <a:pt x="1307" y="1505"/>
                    </a:lnTo>
                    <a:lnTo>
                      <a:pt x="1305" y="1507"/>
                    </a:lnTo>
                    <a:lnTo>
                      <a:pt x="1304" y="1507"/>
                    </a:lnTo>
                    <a:lnTo>
                      <a:pt x="1304" y="1509"/>
                    </a:lnTo>
                    <a:lnTo>
                      <a:pt x="1304" y="1507"/>
                    </a:lnTo>
                    <a:lnTo>
                      <a:pt x="1304" y="1509"/>
                    </a:lnTo>
                    <a:lnTo>
                      <a:pt x="1304" y="1510"/>
                    </a:lnTo>
                    <a:lnTo>
                      <a:pt x="1304" y="1512"/>
                    </a:lnTo>
                    <a:lnTo>
                      <a:pt x="1302" y="1512"/>
                    </a:lnTo>
                    <a:lnTo>
                      <a:pt x="1302" y="1514"/>
                    </a:lnTo>
                    <a:lnTo>
                      <a:pt x="1304" y="1514"/>
                    </a:lnTo>
                    <a:lnTo>
                      <a:pt x="1305" y="1514"/>
                    </a:lnTo>
                    <a:lnTo>
                      <a:pt x="1304" y="1515"/>
                    </a:lnTo>
                    <a:lnTo>
                      <a:pt x="1304" y="1517"/>
                    </a:lnTo>
                    <a:lnTo>
                      <a:pt x="1304" y="1519"/>
                    </a:lnTo>
                    <a:lnTo>
                      <a:pt x="1304" y="1521"/>
                    </a:lnTo>
                    <a:lnTo>
                      <a:pt x="1302" y="1521"/>
                    </a:lnTo>
                    <a:lnTo>
                      <a:pt x="1302" y="1522"/>
                    </a:lnTo>
                    <a:lnTo>
                      <a:pt x="1302" y="1524"/>
                    </a:lnTo>
                    <a:lnTo>
                      <a:pt x="1302" y="1526"/>
                    </a:lnTo>
                    <a:lnTo>
                      <a:pt x="1302" y="1527"/>
                    </a:lnTo>
                    <a:lnTo>
                      <a:pt x="1300" y="1527"/>
                    </a:lnTo>
                    <a:lnTo>
                      <a:pt x="1300" y="1529"/>
                    </a:lnTo>
                    <a:lnTo>
                      <a:pt x="1300" y="1531"/>
                    </a:lnTo>
                    <a:lnTo>
                      <a:pt x="1298" y="1532"/>
                    </a:lnTo>
                    <a:lnTo>
                      <a:pt x="1300" y="1532"/>
                    </a:lnTo>
                    <a:lnTo>
                      <a:pt x="1300" y="1534"/>
                    </a:lnTo>
                    <a:lnTo>
                      <a:pt x="1300" y="1536"/>
                    </a:lnTo>
                    <a:lnTo>
                      <a:pt x="1298" y="1538"/>
                    </a:lnTo>
                    <a:lnTo>
                      <a:pt x="1298" y="1539"/>
                    </a:lnTo>
                    <a:lnTo>
                      <a:pt x="1298" y="1541"/>
                    </a:lnTo>
                    <a:lnTo>
                      <a:pt x="1298" y="1543"/>
                    </a:lnTo>
                    <a:lnTo>
                      <a:pt x="1298" y="1544"/>
                    </a:lnTo>
                    <a:lnTo>
                      <a:pt x="1298" y="1546"/>
                    </a:lnTo>
                    <a:lnTo>
                      <a:pt x="1300" y="1548"/>
                    </a:lnTo>
                    <a:lnTo>
                      <a:pt x="1300" y="1549"/>
                    </a:lnTo>
                    <a:lnTo>
                      <a:pt x="1300" y="1551"/>
                    </a:lnTo>
                    <a:lnTo>
                      <a:pt x="1300" y="1553"/>
                    </a:lnTo>
                    <a:lnTo>
                      <a:pt x="1298" y="1553"/>
                    </a:lnTo>
                    <a:lnTo>
                      <a:pt x="1300" y="1555"/>
                    </a:lnTo>
                    <a:lnTo>
                      <a:pt x="1298" y="1556"/>
                    </a:lnTo>
                    <a:lnTo>
                      <a:pt x="1298" y="1558"/>
                    </a:lnTo>
                    <a:lnTo>
                      <a:pt x="1298" y="1560"/>
                    </a:lnTo>
                    <a:lnTo>
                      <a:pt x="1298" y="1561"/>
                    </a:lnTo>
                    <a:lnTo>
                      <a:pt x="1297" y="1561"/>
                    </a:lnTo>
                    <a:lnTo>
                      <a:pt x="1297" y="1563"/>
                    </a:lnTo>
                    <a:lnTo>
                      <a:pt x="1295" y="1565"/>
                    </a:lnTo>
                    <a:lnTo>
                      <a:pt x="1295" y="1563"/>
                    </a:lnTo>
                    <a:lnTo>
                      <a:pt x="1295" y="1565"/>
                    </a:lnTo>
                    <a:lnTo>
                      <a:pt x="1293" y="1565"/>
                    </a:lnTo>
                    <a:lnTo>
                      <a:pt x="1292" y="1566"/>
                    </a:lnTo>
                    <a:lnTo>
                      <a:pt x="1290" y="1566"/>
                    </a:lnTo>
                    <a:lnTo>
                      <a:pt x="1290" y="1568"/>
                    </a:lnTo>
                    <a:lnTo>
                      <a:pt x="1288" y="1568"/>
                    </a:lnTo>
                    <a:lnTo>
                      <a:pt x="1287" y="1568"/>
                    </a:lnTo>
                    <a:lnTo>
                      <a:pt x="1287" y="1566"/>
                    </a:lnTo>
                    <a:lnTo>
                      <a:pt x="1285" y="1566"/>
                    </a:lnTo>
                    <a:lnTo>
                      <a:pt x="1283" y="1565"/>
                    </a:lnTo>
                    <a:lnTo>
                      <a:pt x="1281" y="1565"/>
                    </a:lnTo>
                    <a:lnTo>
                      <a:pt x="1280" y="1565"/>
                    </a:lnTo>
                    <a:lnTo>
                      <a:pt x="1280" y="1563"/>
                    </a:lnTo>
                    <a:lnTo>
                      <a:pt x="1278" y="1563"/>
                    </a:lnTo>
                    <a:lnTo>
                      <a:pt x="1276" y="1563"/>
                    </a:lnTo>
                    <a:lnTo>
                      <a:pt x="1275" y="1563"/>
                    </a:lnTo>
                    <a:lnTo>
                      <a:pt x="1273" y="1563"/>
                    </a:lnTo>
                    <a:lnTo>
                      <a:pt x="1273" y="1561"/>
                    </a:lnTo>
                    <a:lnTo>
                      <a:pt x="1271" y="1561"/>
                    </a:lnTo>
                    <a:lnTo>
                      <a:pt x="1271" y="1560"/>
                    </a:lnTo>
                    <a:lnTo>
                      <a:pt x="1270" y="1560"/>
                    </a:lnTo>
                    <a:lnTo>
                      <a:pt x="1268" y="1560"/>
                    </a:lnTo>
                    <a:lnTo>
                      <a:pt x="1268" y="1558"/>
                    </a:lnTo>
                    <a:lnTo>
                      <a:pt x="1266" y="1556"/>
                    </a:lnTo>
                    <a:lnTo>
                      <a:pt x="1268" y="1556"/>
                    </a:lnTo>
                    <a:lnTo>
                      <a:pt x="1266" y="1556"/>
                    </a:lnTo>
                    <a:lnTo>
                      <a:pt x="1266" y="1558"/>
                    </a:lnTo>
                    <a:lnTo>
                      <a:pt x="1264" y="1558"/>
                    </a:lnTo>
                    <a:lnTo>
                      <a:pt x="1264" y="1556"/>
                    </a:lnTo>
                    <a:lnTo>
                      <a:pt x="1263" y="1556"/>
                    </a:lnTo>
                    <a:lnTo>
                      <a:pt x="1263" y="1558"/>
                    </a:lnTo>
                    <a:lnTo>
                      <a:pt x="1263" y="1556"/>
                    </a:lnTo>
                    <a:lnTo>
                      <a:pt x="1261" y="1556"/>
                    </a:lnTo>
                    <a:lnTo>
                      <a:pt x="1259" y="1556"/>
                    </a:lnTo>
                    <a:lnTo>
                      <a:pt x="1259" y="1555"/>
                    </a:lnTo>
                    <a:lnTo>
                      <a:pt x="1258" y="1555"/>
                    </a:lnTo>
                    <a:lnTo>
                      <a:pt x="1258" y="1553"/>
                    </a:lnTo>
                    <a:lnTo>
                      <a:pt x="1256" y="1553"/>
                    </a:lnTo>
                    <a:lnTo>
                      <a:pt x="1256" y="1551"/>
                    </a:lnTo>
                    <a:lnTo>
                      <a:pt x="1254" y="1551"/>
                    </a:lnTo>
                    <a:lnTo>
                      <a:pt x="1254" y="1549"/>
                    </a:lnTo>
                    <a:lnTo>
                      <a:pt x="1253" y="1549"/>
                    </a:lnTo>
                    <a:lnTo>
                      <a:pt x="1253" y="1548"/>
                    </a:lnTo>
                    <a:lnTo>
                      <a:pt x="1251" y="1546"/>
                    </a:lnTo>
                    <a:lnTo>
                      <a:pt x="1251" y="1544"/>
                    </a:lnTo>
                    <a:lnTo>
                      <a:pt x="1251" y="1546"/>
                    </a:lnTo>
                    <a:lnTo>
                      <a:pt x="1249" y="1544"/>
                    </a:lnTo>
                    <a:lnTo>
                      <a:pt x="1249" y="1543"/>
                    </a:lnTo>
                    <a:lnTo>
                      <a:pt x="1249" y="1541"/>
                    </a:lnTo>
                    <a:lnTo>
                      <a:pt x="1247" y="1541"/>
                    </a:lnTo>
                    <a:lnTo>
                      <a:pt x="1247" y="1539"/>
                    </a:lnTo>
                    <a:lnTo>
                      <a:pt x="1247" y="1538"/>
                    </a:lnTo>
                    <a:lnTo>
                      <a:pt x="1249" y="1539"/>
                    </a:lnTo>
                    <a:lnTo>
                      <a:pt x="1249" y="1538"/>
                    </a:lnTo>
                    <a:lnTo>
                      <a:pt x="1249" y="1536"/>
                    </a:lnTo>
                    <a:lnTo>
                      <a:pt x="1249" y="1534"/>
                    </a:lnTo>
                    <a:lnTo>
                      <a:pt x="1251" y="1534"/>
                    </a:lnTo>
                    <a:lnTo>
                      <a:pt x="1251" y="1532"/>
                    </a:lnTo>
                    <a:lnTo>
                      <a:pt x="1253" y="1532"/>
                    </a:lnTo>
                    <a:lnTo>
                      <a:pt x="1254" y="1531"/>
                    </a:lnTo>
                    <a:lnTo>
                      <a:pt x="1256" y="1532"/>
                    </a:lnTo>
                    <a:lnTo>
                      <a:pt x="1258" y="1532"/>
                    </a:lnTo>
                    <a:lnTo>
                      <a:pt x="1259" y="1532"/>
                    </a:lnTo>
                    <a:lnTo>
                      <a:pt x="1259" y="1531"/>
                    </a:lnTo>
                    <a:lnTo>
                      <a:pt x="1259" y="1532"/>
                    </a:lnTo>
                    <a:lnTo>
                      <a:pt x="1259" y="1534"/>
                    </a:lnTo>
                    <a:lnTo>
                      <a:pt x="1261" y="1534"/>
                    </a:lnTo>
                    <a:lnTo>
                      <a:pt x="1259" y="1536"/>
                    </a:lnTo>
                    <a:lnTo>
                      <a:pt x="1261" y="1536"/>
                    </a:lnTo>
                    <a:lnTo>
                      <a:pt x="1261" y="1538"/>
                    </a:lnTo>
                    <a:lnTo>
                      <a:pt x="1259" y="1539"/>
                    </a:lnTo>
                    <a:lnTo>
                      <a:pt x="1259" y="1541"/>
                    </a:lnTo>
                    <a:lnTo>
                      <a:pt x="1258" y="1541"/>
                    </a:lnTo>
                    <a:lnTo>
                      <a:pt x="1256" y="1543"/>
                    </a:lnTo>
                    <a:lnTo>
                      <a:pt x="1254" y="1541"/>
                    </a:lnTo>
                    <a:lnTo>
                      <a:pt x="1256" y="1543"/>
                    </a:lnTo>
                    <a:lnTo>
                      <a:pt x="1258" y="1543"/>
                    </a:lnTo>
                    <a:lnTo>
                      <a:pt x="1259" y="1541"/>
                    </a:lnTo>
                    <a:lnTo>
                      <a:pt x="1261" y="1541"/>
                    </a:lnTo>
                    <a:lnTo>
                      <a:pt x="1261" y="1539"/>
                    </a:lnTo>
                    <a:lnTo>
                      <a:pt x="1263" y="1539"/>
                    </a:lnTo>
                    <a:lnTo>
                      <a:pt x="1263" y="1538"/>
                    </a:lnTo>
                    <a:lnTo>
                      <a:pt x="1263" y="1536"/>
                    </a:lnTo>
                    <a:lnTo>
                      <a:pt x="1263" y="1534"/>
                    </a:lnTo>
                    <a:lnTo>
                      <a:pt x="1263" y="1532"/>
                    </a:lnTo>
                    <a:lnTo>
                      <a:pt x="1263" y="1531"/>
                    </a:lnTo>
                    <a:lnTo>
                      <a:pt x="1264" y="1531"/>
                    </a:lnTo>
                    <a:lnTo>
                      <a:pt x="1266" y="1531"/>
                    </a:lnTo>
                    <a:lnTo>
                      <a:pt x="1268" y="1531"/>
                    </a:lnTo>
                    <a:lnTo>
                      <a:pt x="1270" y="1531"/>
                    </a:lnTo>
                    <a:lnTo>
                      <a:pt x="1270" y="1532"/>
                    </a:lnTo>
                    <a:lnTo>
                      <a:pt x="1270" y="1534"/>
                    </a:lnTo>
                    <a:lnTo>
                      <a:pt x="1270" y="1536"/>
                    </a:lnTo>
                    <a:lnTo>
                      <a:pt x="1270" y="1538"/>
                    </a:lnTo>
                    <a:lnTo>
                      <a:pt x="1270" y="1539"/>
                    </a:lnTo>
                    <a:lnTo>
                      <a:pt x="1271" y="1541"/>
                    </a:lnTo>
                    <a:lnTo>
                      <a:pt x="1271" y="1543"/>
                    </a:lnTo>
                    <a:lnTo>
                      <a:pt x="1271" y="1541"/>
                    </a:lnTo>
                    <a:lnTo>
                      <a:pt x="1270" y="1543"/>
                    </a:lnTo>
                    <a:lnTo>
                      <a:pt x="1270" y="1544"/>
                    </a:lnTo>
                    <a:lnTo>
                      <a:pt x="1268" y="1544"/>
                    </a:lnTo>
                    <a:lnTo>
                      <a:pt x="1266" y="1546"/>
                    </a:lnTo>
                    <a:lnTo>
                      <a:pt x="1264" y="1546"/>
                    </a:lnTo>
                    <a:lnTo>
                      <a:pt x="1264" y="1548"/>
                    </a:lnTo>
                    <a:lnTo>
                      <a:pt x="1263" y="1548"/>
                    </a:lnTo>
                    <a:lnTo>
                      <a:pt x="1261" y="1548"/>
                    </a:lnTo>
                    <a:lnTo>
                      <a:pt x="1263" y="1548"/>
                    </a:lnTo>
                    <a:lnTo>
                      <a:pt x="1264" y="1549"/>
                    </a:lnTo>
                    <a:lnTo>
                      <a:pt x="1266" y="1548"/>
                    </a:lnTo>
                    <a:lnTo>
                      <a:pt x="1268" y="1548"/>
                    </a:lnTo>
                    <a:lnTo>
                      <a:pt x="1270" y="1546"/>
                    </a:lnTo>
                    <a:lnTo>
                      <a:pt x="1271" y="1544"/>
                    </a:lnTo>
                    <a:lnTo>
                      <a:pt x="1273" y="1543"/>
                    </a:lnTo>
                    <a:lnTo>
                      <a:pt x="1271" y="1543"/>
                    </a:lnTo>
                    <a:lnTo>
                      <a:pt x="1271" y="1541"/>
                    </a:lnTo>
                    <a:lnTo>
                      <a:pt x="1271" y="1539"/>
                    </a:lnTo>
                    <a:lnTo>
                      <a:pt x="1273" y="1538"/>
                    </a:lnTo>
                    <a:lnTo>
                      <a:pt x="1271" y="1538"/>
                    </a:lnTo>
                    <a:lnTo>
                      <a:pt x="1271" y="1536"/>
                    </a:lnTo>
                    <a:lnTo>
                      <a:pt x="1271" y="1534"/>
                    </a:lnTo>
                    <a:lnTo>
                      <a:pt x="1273" y="1536"/>
                    </a:lnTo>
                    <a:lnTo>
                      <a:pt x="1271" y="1534"/>
                    </a:lnTo>
                    <a:lnTo>
                      <a:pt x="1271" y="1532"/>
                    </a:lnTo>
                    <a:lnTo>
                      <a:pt x="1273" y="1532"/>
                    </a:lnTo>
                    <a:lnTo>
                      <a:pt x="1273" y="1531"/>
                    </a:lnTo>
                    <a:lnTo>
                      <a:pt x="1273" y="1529"/>
                    </a:lnTo>
                    <a:lnTo>
                      <a:pt x="1275" y="1529"/>
                    </a:lnTo>
                    <a:lnTo>
                      <a:pt x="1276" y="1529"/>
                    </a:lnTo>
                    <a:lnTo>
                      <a:pt x="1278" y="1527"/>
                    </a:lnTo>
                    <a:lnTo>
                      <a:pt x="1280" y="1527"/>
                    </a:lnTo>
                    <a:lnTo>
                      <a:pt x="1280" y="1526"/>
                    </a:lnTo>
                    <a:lnTo>
                      <a:pt x="1281" y="1526"/>
                    </a:lnTo>
                    <a:lnTo>
                      <a:pt x="1283" y="1526"/>
                    </a:lnTo>
                    <a:lnTo>
                      <a:pt x="1285" y="1524"/>
                    </a:lnTo>
                    <a:lnTo>
                      <a:pt x="1287" y="1524"/>
                    </a:lnTo>
                    <a:lnTo>
                      <a:pt x="1287" y="1522"/>
                    </a:lnTo>
                    <a:lnTo>
                      <a:pt x="1287" y="1521"/>
                    </a:lnTo>
                    <a:lnTo>
                      <a:pt x="1288" y="1521"/>
                    </a:lnTo>
                    <a:lnTo>
                      <a:pt x="1288" y="1519"/>
                    </a:lnTo>
                    <a:lnTo>
                      <a:pt x="1290" y="1517"/>
                    </a:lnTo>
                    <a:lnTo>
                      <a:pt x="1290" y="1515"/>
                    </a:lnTo>
                    <a:lnTo>
                      <a:pt x="1292" y="1515"/>
                    </a:lnTo>
                    <a:lnTo>
                      <a:pt x="1292" y="1514"/>
                    </a:lnTo>
                    <a:lnTo>
                      <a:pt x="1293" y="1514"/>
                    </a:lnTo>
                    <a:lnTo>
                      <a:pt x="1293" y="1512"/>
                    </a:lnTo>
                    <a:lnTo>
                      <a:pt x="1293" y="1510"/>
                    </a:lnTo>
                    <a:lnTo>
                      <a:pt x="1293" y="1509"/>
                    </a:lnTo>
                    <a:lnTo>
                      <a:pt x="1293" y="1507"/>
                    </a:lnTo>
                    <a:lnTo>
                      <a:pt x="1292" y="1507"/>
                    </a:lnTo>
                    <a:lnTo>
                      <a:pt x="1290" y="1507"/>
                    </a:lnTo>
                    <a:lnTo>
                      <a:pt x="1290" y="1505"/>
                    </a:lnTo>
                    <a:lnTo>
                      <a:pt x="1288" y="1505"/>
                    </a:lnTo>
                    <a:lnTo>
                      <a:pt x="1287" y="1507"/>
                    </a:lnTo>
                    <a:lnTo>
                      <a:pt x="1285" y="1507"/>
                    </a:lnTo>
                    <a:lnTo>
                      <a:pt x="1285" y="1505"/>
                    </a:lnTo>
                    <a:lnTo>
                      <a:pt x="1285" y="1504"/>
                    </a:lnTo>
                    <a:lnTo>
                      <a:pt x="1285" y="1502"/>
                    </a:lnTo>
                    <a:lnTo>
                      <a:pt x="1283" y="1502"/>
                    </a:lnTo>
                    <a:lnTo>
                      <a:pt x="1283" y="1500"/>
                    </a:lnTo>
                    <a:lnTo>
                      <a:pt x="1281" y="1498"/>
                    </a:lnTo>
                    <a:lnTo>
                      <a:pt x="1281" y="1497"/>
                    </a:lnTo>
                    <a:lnTo>
                      <a:pt x="1280" y="1497"/>
                    </a:lnTo>
                    <a:lnTo>
                      <a:pt x="1280" y="1495"/>
                    </a:lnTo>
                    <a:lnTo>
                      <a:pt x="1280" y="1493"/>
                    </a:lnTo>
                    <a:lnTo>
                      <a:pt x="1278" y="1493"/>
                    </a:lnTo>
                    <a:lnTo>
                      <a:pt x="1276" y="1493"/>
                    </a:lnTo>
                    <a:lnTo>
                      <a:pt x="1275" y="1493"/>
                    </a:lnTo>
                    <a:lnTo>
                      <a:pt x="1273" y="1493"/>
                    </a:lnTo>
                    <a:lnTo>
                      <a:pt x="1271" y="1493"/>
                    </a:lnTo>
                    <a:lnTo>
                      <a:pt x="1270" y="1493"/>
                    </a:lnTo>
                    <a:lnTo>
                      <a:pt x="1270" y="1492"/>
                    </a:lnTo>
                    <a:lnTo>
                      <a:pt x="1268" y="1492"/>
                    </a:lnTo>
                    <a:lnTo>
                      <a:pt x="1266" y="1492"/>
                    </a:lnTo>
                    <a:lnTo>
                      <a:pt x="1264" y="1492"/>
                    </a:lnTo>
                    <a:lnTo>
                      <a:pt x="1264" y="1493"/>
                    </a:lnTo>
                    <a:lnTo>
                      <a:pt x="1263" y="1492"/>
                    </a:lnTo>
                    <a:lnTo>
                      <a:pt x="1263" y="1493"/>
                    </a:lnTo>
                    <a:lnTo>
                      <a:pt x="1263" y="1492"/>
                    </a:lnTo>
                    <a:lnTo>
                      <a:pt x="1263" y="1493"/>
                    </a:lnTo>
                    <a:lnTo>
                      <a:pt x="1261" y="1492"/>
                    </a:lnTo>
                    <a:lnTo>
                      <a:pt x="1259" y="1492"/>
                    </a:lnTo>
                    <a:lnTo>
                      <a:pt x="1261" y="1492"/>
                    </a:lnTo>
                    <a:lnTo>
                      <a:pt x="1259" y="1493"/>
                    </a:lnTo>
                    <a:lnTo>
                      <a:pt x="1259" y="1492"/>
                    </a:lnTo>
                    <a:lnTo>
                      <a:pt x="1259" y="1490"/>
                    </a:lnTo>
                    <a:lnTo>
                      <a:pt x="1259" y="1492"/>
                    </a:lnTo>
                    <a:lnTo>
                      <a:pt x="1258" y="1490"/>
                    </a:lnTo>
                    <a:lnTo>
                      <a:pt x="1258" y="1492"/>
                    </a:lnTo>
                    <a:lnTo>
                      <a:pt x="1256" y="1492"/>
                    </a:lnTo>
                    <a:lnTo>
                      <a:pt x="1254" y="1492"/>
                    </a:lnTo>
                    <a:lnTo>
                      <a:pt x="1253" y="1492"/>
                    </a:lnTo>
                    <a:lnTo>
                      <a:pt x="1253" y="1493"/>
                    </a:lnTo>
                    <a:lnTo>
                      <a:pt x="1251" y="1495"/>
                    </a:lnTo>
                    <a:lnTo>
                      <a:pt x="1249" y="1495"/>
                    </a:lnTo>
                    <a:lnTo>
                      <a:pt x="1249" y="1497"/>
                    </a:lnTo>
                    <a:lnTo>
                      <a:pt x="1251" y="1497"/>
                    </a:lnTo>
                    <a:lnTo>
                      <a:pt x="1249" y="1498"/>
                    </a:lnTo>
                    <a:lnTo>
                      <a:pt x="1247" y="1498"/>
                    </a:lnTo>
                    <a:lnTo>
                      <a:pt x="1247" y="1497"/>
                    </a:lnTo>
                    <a:lnTo>
                      <a:pt x="1246" y="1497"/>
                    </a:lnTo>
                    <a:lnTo>
                      <a:pt x="1244" y="1495"/>
                    </a:lnTo>
                    <a:lnTo>
                      <a:pt x="1246" y="1495"/>
                    </a:lnTo>
                    <a:lnTo>
                      <a:pt x="1246" y="1493"/>
                    </a:lnTo>
                    <a:lnTo>
                      <a:pt x="1247" y="1493"/>
                    </a:lnTo>
                    <a:lnTo>
                      <a:pt x="1247" y="1492"/>
                    </a:lnTo>
                    <a:lnTo>
                      <a:pt x="1249" y="1493"/>
                    </a:lnTo>
                    <a:lnTo>
                      <a:pt x="1251" y="1493"/>
                    </a:lnTo>
                    <a:lnTo>
                      <a:pt x="1251" y="1492"/>
                    </a:lnTo>
                    <a:lnTo>
                      <a:pt x="1251" y="1490"/>
                    </a:lnTo>
                    <a:lnTo>
                      <a:pt x="1249" y="1490"/>
                    </a:lnTo>
                    <a:lnTo>
                      <a:pt x="1249" y="1492"/>
                    </a:lnTo>
                    <a:lnTo>
                      <a:pt x="1247" y="1492"/>
                    </a:lnTo>
                    <a:lnTo>
                      <a:pt x="1246" y="1492"/>
                    </a:lnTo>
                    <a:lnTo>
                      <a:pt x="1246" y="1493"/>
                    </a:lnTo>
                    <a:lnTo>
                      <a:pt x="1244" y="1493"/>
                    </a:lnTo>
                    <a:lnTo>
                      <a:pt x="1244" y="1495"/>
                    </a:lnTo>
                    <a:lnTo>
                      <a:pt x="1242" y="1493"/>
                    </a:lnTo>
                    <a:lnTo>
                      <a:pt x="1242" y="1492"/>
                    </a:lnTo>
                    <a:lnTo>
                      <a:pt x="1244" y="1490"/>
                    </a:lnTo>
                    <a:lnTo>
                      <a:pt x="1242" y="1492"/>
                    </a:lnTo>
                    <a:lnTo>
                      <a:pt x="1241" y="1492"/>
                    </a:lnTo>
                    <a:lnTo>
                      <a:pt x="1241" y="1493"/>
                    </a:lnTo>
                    <a:lnTo>
                      <a:pt x="1239" y="1493"/>
                    </a:lnTo>
                    <a:lnTo>
                      <a:pt x="1237" y="1493"/>
                    </a:lnTo>
                    <a:lnTo>
                      <a:pt x="1236" y="1492"/>
                    </a:lnTo>
                    <a:lnTo>
                      <a:pt x="1234" y="1492"/>
                    </a:lnTo>
                    <a:lnTo>
                      <a:pt x="1236" y="1493"/>
                    </a:lnTo>
                    <a:lnTo>
                      <a:pt x="1234" y="1493"/>
                    </a:lnTo>
                    <a:lnTo>
                      <a:pt x="1236" y="1493"/>
                    </a:lnTo>
                    <a:lnTo>
                      <a:pt x="1234" y="1493"/>
                    </a:lnTo>
                    <a:lnTo>
                      <a:pt x="1234" y="1495"/>
                    </a:lnTo>
                    <a:lnTo>
                      <a:pt x="1236" y="1495"/>
                    </a:lnTo>
                    <a:lnTo>
                      <a:pt x="1234" y="1495"/>
                    </a:lnTo>
                    <a:lnTo>
                      <a:pt x="1232" y="1495"/>
                    </a:lnTo>
                    <a:lnTo>
                      <a:pt x="1234" y="1495"/>
                    </a:lnTo>
                    <a:lnTo>
                      <a:pt x="1234" y="1497"/>
                    </a:lnTo>
                    <a:lnTo>
                      <a:pt x="1234" y="1498"/>
                    </a:lnTo>
                    <a:lnTo>
                      <a:pt x="1234" y="1497"/>
                    </a:lnTo>
                    <a:lnTo>
                      <a:pt x="1236" y="1497"/>
                    </a:lnTo>
                    <a:lnTo>
                      <a:pt x="1236" y="1495"/>
                    </a:lnTo>
                    <a:lnTo>
                      <a:pt x="1237" y="1497"/>
                    </a:lnTo>
                    <a:lnTo>
                      <a:pt x="1236" y="1498"/>
                    </a:lnTo>
                    <a:lnTo>
                      <a:pt x="1237" y="1497"/>
                    </a:lnTo>
                    <a:lnTo>
                      <a:pt x="1239" y="1497"/>
                    </a:lnTo>
                    <a:lnTo>
                      <a:pt x="1237" y="1498"/>
                    </a:lnTo>
                    <a:lnTo>
                      <a:pt x="1239" y="1497"/>
                    </a:lnTo>
                    <a:lnTo>
                      <a:pt x="1239" y="1498"/>
                    </a:lnTo>
                    <a:lnTo>
                      <a:pt x="1241" y="1498"/>
                    </a:lnTo>
                    <a:lnTo>
                      <a:pt x="1241" y="1500"/>
                    </a:lnTo>
                    <a:lnTo>
                      <a:pt x="1239" y="1502"/>
                    </a:lnTo>
                    <a:lnTo>
                      <a:pt x="1239" y="1504"/>
                    </a:lnTo>
                    <a:lnTo>
                      <a:pt x="1237" y="1504"/>
                    </a:lnTo>
                    <a:lnTo>
                      <a:pt x="1236" y="1505"/>
                    </a:lnTo>
                    <a:lnTo>
                      <a:pt x="1236" y="1507"/>
                    </a:lnTo>
                    <a:lnTo>
                      <a:pt x="1234" y="1507"/>
                    </a:lnTo>
                    <a:lnTo>
                      <a:pt x="1232" y="1505"/>
                    </a:lnTo>
                    <a:lnTo>
                      <a:pt x="1232" y="1507"/>
                    </a:lnTo>
                    <a:lnTo>
                      <a:pt x="1232" y="1509"/>
                    </a:lnTo>
                    <a:lnTo>
                      <a:pt x="1230" y="1509"/>
                    </a:lnTo>
                    <a:lnTo>
                      <a:pt x="1229" y="1509"/>
                    </a:lnTo>
                    <a:lnTo>
                      <a:pt x="1229" y="1510"/>
                    </a:lnTo>
                    <a:lnTo>
                      <a:pt x="1230" y="1510"/>
                    </a:lnTo>
                    <a:lnTo>
                      <a:pt x="1230" y="1512"/>
                    </a:lnTo>
                    <a:lnTo>
                      <a:pt x="1232" y="1512"/>
                    </a:lnTo>
                    <a:lnTo>
                      <a:pt x="1230" y="1514"/>
                    </a:lnTo>
                    <a:lnTo>
                      <a:pt x="1232" y="1515"/>
                    </a:lnTo>
                    <a:lnTo>
                      <a:pt x="1230" y="1515"/>
                    </a:lnTo>
                    <a:lnTo>
                      <a:pt x="1232" y="1515"/>
                    </a:lnTo>
                    <a:lnTo>
                      <a:pt x="1232" y="1517"/>
                    </a:lnTo>
                    <a:lnTo>
                      <a:pt x="1230" y="1517"/>
                    </a:lnTo>
                    <a:lnTo>
                      <a:pt x="1230" y="1519"/>
                    </a:lnTo>
                    <a:lnTo>
                      <a:pt x="1232" y="1519"/>
                    </a:lnTo>
                    <a:lnTo>
                      <a:pt x="1230" y="1521"/>
                    </a:lnTo>
                    <a:lnTo>
                      <a:pt x="1230" y="1522"/>
                    </a:lnTo>
                    <a:lnTo>
                      <a:pt x="1229" y="1521"/>
                    </a:lnTo>
                    <a:lnTo>
                      <a:pt x="1229" y="1522"/>
                    </a:lnTo>
                    <a:lnTo>
                      <a:pt x="1227" y="1522"/>
                    </a:lnTo>
                    <a:lnTo>
                      <a:pt x="1227" y="1524"/>
                    </a:lnTo>
                    <a:lnTo>
                      <a:pt x="1225" y="1524"/>
                    </a:lnTo>
                    <a:lnTo>
                      <a:pt x="1225" y="1522"/>
                    </a:lnTo>
                    <a:lnTo>
                      <a:pt x="1224" y="1521"/>
                    </a:lnTo>
                    <a:lnTo>
                      <a:pt x="1225" y="1521"/>
                    </a:lnTo>
                    <a:lnTo>
                      <a:pt x="1225" y="1519"/>
                    </a:lnTo>
                    <a:lnTo>
                      <a:pt x="1224" y="1519"/>
                    </a:lnTo>
                    <a:lnTo>
                      <a:pt x="1224" y="1521"/>
                    </a:lnTo>
                    <a:lnTo>
                      <a:pt x="1224" y="1522"/>
                    </a:lnTo>
                    <a:lnTo>
                      <a:pt x="1224" y="1524"/>
                    </a:lnTo>
                    <a:lnTo>
                      <a:pt x="1222" y="1522"/>
                    </a:lnTo>
                    <a:lnTo>
                      <a:pt x="1220" y="1522"/>
                    </a:lnTo>
                    <a:lnTo>
                      <a:pt x="1219" y="1522"/>
                    </a:lnTo>
                    <a:lnTo>
                      <a:pt x="1219" y="1521"/>
                    </a:lnTo>
                    <a:lnTo>
                      <a:pt x="1217" y="1521"/>
                    </a:lnTo>
                    <a:lnTo>
                      <a:pt x="1219" y="1521"/>
                    </a:lnTo>
                    <a:lnTo>
                      <a:pt x="1217" y="1521"/>
                    </a:lnTo>
                    <a:lnTo>
                      <a:pt x="1215" y="1519"/>
                    </a:lnTo>
                    <a:lnTo>
                      <a:pt x="1217" y="1517"/>
                    </a:lnTo>
                    <a:lnTo>
                      <a:pt x="1219" y="1517"/>
                    </a:lnTo>
                    <a:lnTo>
                      <a:pt x="1219" y="1519"/>
                    </a:lnTo>
                    <a:lnTo>
                      <a:pt x="1220" y="1517"/>
                    </a:lnTo>
                    <a:lnTo>
                      <a:pt x="1219" y="1517"/>
                    </a:lnTo>
                    <a:lnTo>
                      <a:pt x="1217" y="1515"/>
                    </a:lnTo>
                    <a:lnTo>
                      <a:pt x="1219" y="1515"/>
                    </a:lnTo>
                    <a:lnTo>
                      <a:pt x="1220" y="1515"/>
                    </a:lnTo>
                    <a:lnTo>
                      <a:pt x="1222" y="1515"/>
                    </a:lnTo>
                    <a:lnTo>
                      <a:pt x="1222" y="1517"/>
                    </a:lnTo>
                    <a:lnTo>
                      <a:pt x="1222" y="1515"/>
                    </a:lnTo>
                    <a:lnTo>
                      <a:pt x="1220" y="1515"/>
                    </a:lnTo>
                    <a:lnTo>
                      <a:pt x="1222" y="1514"/>
                    </a:lnTo>
                    <a:lnTo>
                      <a:pt x="1222" y="1512"/>
                    </a:lnTo>
                    <a:lnTo>
                      <a:pt x="1224" y="1512"/>
                    </a:lnTo>
                    <a:lnTo>
                      <a:pt x="1224" y="1514"/>
                    </a:lnTo>
                    <a:lnTo>
                      <a:pt x="1225" y="1514"/>
                    </a:lnTo>
                    <a:lnTo>
                      <a:pt x="1224" y="1512"/>
                    </a:lnTo>
                    <a:lnTo>
                      <a:pt x="1222" y="1512"/>
                    </a:lnTo>
                    <a:lnTo>
                      <a:pt x="1222" y="1514"/>
                    </a:lnTo>
                    <a:lnTo>
                      <a:pt x="1220" y="1514"/>
                    </a:lnTo>
                    <a:lnTo>
                      <a:pt x="1220" y="1512"/>
                    </a:lnTo>
                    <a:lnTo>
                      <a:pt x="1219" y="1514"/>
                    </a:lnTo>
                    <a:lnTo>
                      <a:pt x="1219" y="1512"/>
                    </a:lnTo>
                    <a:lnTo>
                      <a:pt x="1219" y="1514"/>
                    </a:lnTo>
                    <a:lnTo>
                      <a:pt x="1219" y="1512"/>
                    </a:lnTo>
                    <a:lnTo>
                      <a:pt x="1217" y="1512"/>
                    </a:lnTo>
                    <a:lnTo>
                      <a:pt x="1219" y="1514"/>
                    </a:lnTo>
                    <a:lnTo>
                      <a:pt x="1217" y="1514"/>
                    </a:lnTo>
                    <a:lnTo>
                      <a:pt x="1219" y="1515"/>
                    </a:lnTo>
                    <a:lnTo>
                      <a:pt x="1217" y="1515"/>
                    </a:lnTo>
                    <a:lnTo>
                      <a:pt x="1215" y="1515"/>
                    </a:lnTo>
                    <a:lnTo>
                      <a:pt x="1213" y="1515"/>
                    </a:lnTo>
                    <a:lnTo>
                      <a:pt x="1213" y="1514"/>
                    </a:lnTo>
                    <a:lnTo>
                      <a:pt x="1215" y="1514"/>
                    </a:lnTo>
                    <a:lnTo>
                      <a:pt x="1217" y="1514"/>
                    </a:lnTo>
                    <a:lnTo>
                      <a:pt x="1215" y="1512"/>
                    </a:lnTo>
                    <a:lnTo>
                      <a:pt x="1213" y="1512"/>
                    </a:lnTo>
                    <a:lnTo>
                      <a:pt x="1215" y="1514"/>
                    </a:lnTo>
                    <a:lnTo>
                      <a:pt x="1213" y="1514"/>
                    </a:lnTo>
                    <a:lnTo>
                      <a:pt x="1213" y="1512"/>
                    </a:lnTo>
                    <a:lnTo>
                      <a:pt x="1212" y="1512"/>
                    </a:lnTo>
                    <a:lnTo>
                      <a:pt x="1210" y="1512"/>
                    </a:lnTo>
                    <a:lnTo>
                      <a:pt x="1208" y="1512"/>
                    </a:lnTo>
                    <a:lnTo>
                      <a:pt x="1207" y="1512"/>
                    </a:lnTo>
                    <a:lnTo>
                      <a:pt x="1205" y="1514"/>
                    </a:lnTo>
                    <a:lnTo>
                      <a:pt x="1203" y="1514"/>
                    </a:lnTo>
                    <a:lnTo>
                      <a:pt x="1203" y="1512"/>
                    </a:lnTo>
                    <a:lnTo>
                      <a:pt x="1205" y="1512"/>
                    </a:lnTo>
                    <a:lnTo>
                      <a:pt x="1205" y="1510"/>
                    </a:lnTo>
                    <a:lnTo>
                      <a:pt x="1207" y="1510"/>
                    </a:lnTo>
                    <a:lnTo>
                      <a:pt x="1208" y="1509"/>
                    </a:lnTo>
                    <a:lnTo>
                      <a:pt x="1208" y="1510"/>
                    </a:lnTo>
                    <a:lnTo>
                      <a:pt x="1210" y="1510"/>
                    </a:lnTo>
                    <a:lnTo>
                      <a:pt x="1208" y="1509"/>
                    </a:lnTo>
                    <a:lnTo>
                      <a:pt x="1210" y="1509"/>
                    </a:lnTo>
                    <a:lnTo>
                      <a:pt x="1212" y="1510"/>
                    </a:lnTo>
                    <a:lnTo>
                      <a:pt x="1212" y="1509"/>
                    </a:lnTo>
                    <a:lnTo>
                      <a:pt x="1212" y="1510"/>
                    </a:lnTo>
                    <a:lnTo>
                      <a:pt x="1213" y="1510"/>
                    </a:lnTo>
                    <a:lnTo>
                      <a:pt x="1215" y="1510"/>
                    </a:lnTo>
                    <a:lnTo>
                      <a:pt x="1215" y="1512"/>
                    </a:lnTo>
                    <a:lnTo>
                      <a:pt x="1217" y="1510"/>
                    </a:lnTo>
                    <a:lnTo>
                      <a:pt x="1217" y="1512"/>
                    </a:lnTo>
                    <a:lnTo>
                      <a:pt x="1219" y="1512"/>
                    </a:lnTo>
                    <a:lnTo>
                      <a:pt x="1219" y="1510"/>
                    </a:lnTo>
                    <a:lnTo>
                      <a:pt x="1217" y="1510"/>
                    </a:lnTo>
                    <a:lnTo>
                      <a:pt x="1215" y="1510"/>
                    </a:lnTo>
                    <a:lnTo>
                      <a:pt x="1213" y="1510"/>
                    </a:lnTo>
                    <a:lnTo>
                      <a:pt x="1212" y="1509"/>
                    </a:lnTo>
                    <a:lnTo>
                      <a:pt x="1213" y="1509"/>
                    </a:lnTo>
                    <a:lnTo>
                      <a:pt x="1213" y="1510"/>
                    </a:lnTo>
                    <a:lnTo>
                      <a:pt x="1213" y="1509"/>
                    </a:lnTo>
                    <a:lnTo>
                      <a:pt x="1212" y="1509"/>
                    </a:lnTo>
                    <a:lnTo>
                      <a:pt x="1213" y="1509"/>
                    </a:lnTo>
                    <a:lnTo>
                      <a:pt x="1212" y="1507"/>
                    </a:lnTo>
                    <a:lnTo>
                      <a:pt x="1210" y="1507"/>
                    </a:lnTo>
                    <a:lnTo>
                      <a:pt x="1212" y="1507"/>
                    </a:lnTo>
                    <a:lnTo>
                      <a:pt x="1212" y="1505"/>
                    </a:lnTo>
                    <a:lnTo>
                      <a:pt x="1213" y="1505"/>
                    </a:lnTo>
                    <a:lnTo>
                      <a:pt x="1213" y="1507"/>
                    </a:lnTo>
                    <a:lnTo>
                      <a:pt x="1215" y="1507"/>
                    </a:lnTo>
                    <a:lnTo>
                      <a:pt x="1215" y="1509"/>
                    </a:lnTo>
                    <a:lnTo>
                      <a:pt x="1213" y="1509"/>
                    </a:lnTo>
                    <a:lnTo>
                      <a:pt x="1215" y="1509"/>
                    </a:lnTo>
                    <a:lnTo>
                      <a:pt x="1215" y="1507"/>
                    </a:lnTo>
                    <a:lnTo>
                      <a:pt x="1217" y="1505"/>
                    </a:lnTo>
                    <a:lnTo>
                      <a:pt x="1219" y="1507"/>
                    </a:lnTo>
                    <a:lnTo>
                      <a:pt x="1217" y="1507"/>
                    </a:lnTo>
                    <a:lnTo>
                      <a:pt x="1217" y="1509"/>
                    </a:lnTo>
                    <a:lnTo>
                      <a:pt x="1219" y="1509"/>
                    </a:lnTo>
                    <a:lnTo>
                      <a:pt x="1219" y="1507"/>
                    </a:lnTo>
                    <a:lnTo>
                      <a:pt x="1220" y="1509"/>
                    </a:lnTo>
                    <a:lnTo>
                      <a:pt x="1219" y="1507"/>
                    </a:lnTo>
                    <a:lnTo>
                      <a:pt x="1220" y="1507"/>
                    </a:lnTo>
                    <a:lnTo>
                      <a:pt x="1222" y="1507"/>
                    </a:lnTo>
                    <a:lnTo>
                      <a:pt x="1222" y="1505"/>
                    </a:lnTo>
                    <a:lnTo>
                      <a:pt x="1222" y="1504"/>
                    </a:lnTo>
                    <a:lnTo>
                      <a:pt x="1220" y="1505"/>
                    </a:lnTo>
                    <a:lnTo>
                      <a:pt x="1220" y="1504"/>
                    </a:lnTo>
                    <a:lnTo>
                      <a:pt x="1220" y="1502"/>
                    </a:lnTo>
                    <a:lnTo>
                      <a:pt x="1220" y="1504"/>
                    </a:lnTo>
                    <a:lnTo>
                      <a:pt x="1222" y="1504"/>
                    </a:lnTo>
                    <a:lnTo>
                      <a:pt x="1220" y="1502"/>
                    </a:lnTo>
                    <a:lnTo>
                      <a:pt x="1222" y="1502"/>
                    </a:lnTo>
                    <a:lnTo>
                      <a:pt x="1222" y="1500"/>
                    </a:lnTo>
                    <a:lnTo>
                      <a:pt x="1220" y="1500"/>
                    </a:lnTo>
                    <a:lnTo>
                      <a:pt x="1219" y="1500"/>
                    </a:lnTo>
                    <a:lnTo>
                      <a:pt x="1219" y="1498"/>
                    </a:lnTo>
                    <a:lnTo>
                      <a:pt x="1219" y="1497"/>
                    </a:lnTo>
                    <a:lnTo>
                      <a:pt x="1220" y="1497"/>
                    </a:lnTo>
                    <a:lnTo>
                      <a:pt x="1219" y="1497"/>
                    </a:lnTo>
                    <a:lnTo>
                      <a:pt x="1219" y="1495"/>
                    </a:lnTo>
                    <a:lnTo>
                      <a:pt x="1217" y="1495"/>
                    </a:lnTo>
                    <a:lnTo>
                      <a:pt x="1217" y="1493"/>
                    </a:lnTo>
                    <a:lnTo>
                      <a:pt x="1217" y="1495"/>
                    </a:lnTo>
                    <a:lnTo>
                      <a:pt x="1219" y="1495"/>
                    </a:lnTo>
                    <a:lnTo>
                      <a:pt x="1217" y="1495"/>
                    </a:lnTo>
                    <a:lnTo>
                      <a:pt x="1219" y="1497"/>
                    </a:lnTo>
                    <a:lnTo>
                      <a:pt x="1219" y="1498"/>
                    </a:lnTo>
                    <a:lnTo>
                      <a:pt x="1217" y="1498"/>
                    </a:lnTo>
                    <a:lnTo>
                      <a:pt x="1217" y="1500"/>
                    </a:lnTo>
                    <a:lnTo>
                      <a:pt x="1217" y="1498"/>
                    </a:lnTo>
                    <a:lnTo>
                      <a:pt x="1215" y="1500"/>
                    </a:lnTo>
                    <a:lnTo>
                      <a:pt x="1215" y="1498"/>
                    </a:lnTo>
                    <a:lnTo>
                      <a:pt x="1215" y="1500"/>
                    </a:lnTo>
                    <a:lnTo>
                      <a:pt x="1215" y="1498"/>
                    </a:lnTo>
                    <a:lnTo>
                      <a:pt x="1215" y="1500"/>
                    </a:lnTo>
                    <a:lnTo>
                      <a:pt x="1213" y="1498"/>
                    </a:lnTo>
                    <a:lnTo>
                      <a:pt x="1213" y="1500"/>
                    </a:lnTo>
                    <a:lnTo>
                      <a:pt x="1212" y="1498"/>
                    </a:lnTo>
                    <a:lnTo>
                      <a:pt x="1212" y="1500"/>
                    </a:lnTo>
                    <a:lnTo>
                      <a:pt x="1213" y="1500"/>
                    </a:lnTo>
                    <a:lnTo>
                      <a:pt x="1213" y="1502"/>
                    </a:lnTo>
                    <a:lnTo>
                      <a:pt x="1213" y="1500"/>
                    </a:lnTo>
                    <a:lnTo>
                      <a:pt x="1212" y="1500"/>
                    </a:lnTo>
                    <a:lnTo>
                      <a:pt x="1212" y="1502"/>
                    </a:lnTo>
                    <a:lnTo>
                      <a:pt x="1210" y="1502"/>
                    </a:lnTo>
                    <a:lnTo>
                      <a:pt x="1212" y="1502"/>
                    </a:lnTo>
                    <a:lnTo>
                      <a:pt x="1210" y="1504"/>
                    </a:lnTo>
                    <a:lnTo>
                      <a:pt x="1210" y="1502"/>
                    </a:lnTo>
                    <a:lnTo>
                      <a:pt x="1210" y="1504"/>
                    </a:lnTo>
                    <a:lnTo>
                      <a:pt x="1210" y="1502"/>
                    </a:lnTo>
                    <a:lnTo>
                      <a:pt x="1208" y="1502"/>
                    </a:lnTo>
                    <a:lnTo>
                      <a:pt x="1208" y="1504"/>
                    </a:lnTo>
                    <a:lnTo>
                      <a:pt x="1208" y="1505"/>
                    </a:lnTo>
                    <a:lnTo>
                      <a:pt x="1207" y="1505"/>
                    </a:lnTo>
                    <a:lnTo>
                      <a:pt x="1208" y="1505"/>
                    </a:lnTo>
                    <a:lnTo>
                      <a:pt x="1207" y="1505"/>
                    </a:lnTo>
                    <a:lnTo>
                      <a:pt x="1207" y="1504"/>
                    </a:lnTo>
                    <a:lnTo>
                      <a:pt x="1208" y="1504"/>
                    </a:lnTo>
                    <a:lnTo>
                      <a:pt x="1207" y="1504"/>
                    </a:lnTo>
                    <a:lnTo>
                      <a:pt x="1205" y="1504"/>
                    </a:lnTo>
                    <a:lnTo>
                      <a:pt x="1207" y="1502"/>
                    </a:lnTo>
                    <a:lnTo>
                      <a:pt x="1208" y="1502"/>
                    </a:lnTo>
                    <a:lnTo>
                      <a:pt x="1208" y="1500"/>
                    </a:lnTo>
                    <a:lnTo>
                      <a:pt x="1208" y="1498"/>
                    </a:lnTo>
                    <a:lnTo>
                      <a:pt x="1208" y="1500"/>
                    </a:lnTo>
                    <a:lnTo>
                      <a:pt x="1210" y="1498"/>
                    </a:lnTo>
                    <a:lnTo>
                      <a:pt x="1208" y="1500"/>
                    </a:lnTo>
                    <a:lnTo>
                      <a:pt x="1210" y="1500"/>
                    </a:lnTo>
                    <a:lnTo>
                      <a:pt x="1210" y="1498"/>
                    </a:lnTo>
                    <a:lnTo>
                      <a:pt x="1212" y="1498"/>
                    </a:lnTo>
                    <a:lnTo>
                      <a:pt x="1210" y="1498"/>
                    </a:lnTo>
                    <a:lnTo>
                      <a:pt x="1208" y="1498"/>
                    </a:lnTo>
                    <a:lnTo>
                      <a:pt x="1208" y="1497"/>
                    </a:lnTo>
                    <a:lnTo>
                      <a:pt x="1207" y="1497"/>
                    </a:lnTo>
                    <a:lnTo>
                      <a:pt x="1208" y="1497"/>
                    </a:lnTo>
                    <a:lnTo>
                      <a:pt x="1207" y="1497"/>
                    </a:lnTo>
                    <a:lnTo>
                      <a:pt x="1208" y="1495"/>
                    </a:lnTo>
                    <a:lnTo>
                      <a:pt x="1210" y="1495"/>
                    </a:lnTo>
                    <a:lnTo>
                      <a:pt x="1208" y="1495"/>
                    </a:lnTo>
                    <a:lnTo>
                      <a:pt x="1210" y="1493"/>
                    </a:lnTo>
                    <a:lnTo>
                      <a:pt x="1210" y="1495"/>
                    </a:lnTo>
                    <a:lnTo>
                      <a:pt x="1212" y="1495"/>
                    </a:lnTo>
                    <a:lnTo>
                      <a:pt x="1210" y="1493"/>
                    </a:lnTo>
                    <a:lnTo>
                      <a:pt x="1208" y="1492"/>
                    </a:lnTo>
                    <a:lnTo>
                      <a:pt x="1210" y="1493"/>
                    </a:lnTo>
                    <a:lnTo>
                      <a:pt x="1212" y="1493"/>
                    </a:lnTo>
                    <a:lnTo>
                      <a:pt x="1212" y="1495"/>
                    </a:lnTo>
                    <a:lnTo>
                      <a:pt x="1212" y="1493"/>
                    </a:lnTo>
                    <a:lnTo>
                      <a:pt x="1212" y="1492"/>
                    </a:lnTo>
                    <a:lnTo>
                      <a:pt x="1210" y="1492"/>
                    </a:lnTo>
                    <a:lnTo>
                      <a:pt x="1212" y="1490"/>
                    </a:lnTo>
                    <a:lnTo>
                      <a:pt x="1212" y="1488"/>
                    </a:lnTo>
                    <a:lnTo>
                      <a:pt x="1212" y="1490"/>
                    </a:lnTo>
                    <a:lnTo>
                      <a:pt x="1213" y="1490"/>
                    </a:lnTo>
                    <a:lnTo>
                      <a:pt x="1215" y="1490"/>
                    </a:lnTo>
                    <a:lnTo>
                      <a:pt x="1215" y="1488"/>
                    </a:lnTo>
                    <a:lnTo>
                      <a:pt x="1213" y="1488"/>
                    </a:lnTo>
                    <a:lnTo>
                      <a:pt x="1212" y="1488"/>
                    </a:lnTo>
                    <a:lnTo>
                      <a:pt x="1212" y="1487"/>
                    </a:lnTo>
                    <a:lnTo>
                      <a:pt x="1213" y="1487"/>
                    </a:lnTo>
                    <a:lnTo>
                      <a:pt x="1213" y="1485"/>
                    </a:lnTo>
                    <a:lnTo>
                      <a:pt x="1212" y="1487"/>
                    </a:lnTo>
                    <a:lnTo>
                      <a:pt x="1212" y="1488"/>
                    </a:lnTo>
                    <a:lnTo>
                      <a:pt x="1210" y="1488"/>
                    </a:lnTo>
                    <a:lnTo>
                      <a:pt x="1210" y="1487"/>
                    </a:lnTo>
                    <a:lnTo>
                      <a:pt x="1208" y="1487"/>
                    </a:lnTo>
                    <a:lnTo>
                      <a:pt x="1208" y="1485"/>
                    </a:lnTo>
                    <a:lnTo>
                      <a:pt x="1208" y="1483"/>
                    </a:lnTo>
                    <a:lnTo>
                      <a:pt x="1210" y="1483"/>
                    </a:lnTo>
                    <a:lnTo>
                      <a:pt x="1210" y="1485"/>
                    </a:lnTo>
                    <a:lnTo>
                      <a:pt x="1212" y="1483"/>
                    </a:lnTo>
                    <a:lnTo>
                      <a:pt x="1210" y="1481"/>
                    </a:lnTo>
                    <a:lnTo>
                      <a:pt x="1212" y="1481"/>
                    </a:lnTo>
                    <a:lnTo>
                      <a:pt x="1210" y="1481"/>
                    </a:lnTo>
                    <a:lnTo>
                      <a:pt x="1212" y="1481"/>
                    </a:lnTo>
                    <a:lnTo>
                      <a:pt x="1212" y="1480"/>
                    </a:lnTo>
                    <a:lnTo>
                      <a:pt x="1210" y="1480"/>
                    </a:lnTo>
                    <a:lnTo>
                      <a:pt x="1210" y="1478"/>
                    </a:lnTo>
                    <a:lnTo>
                      <a:pt x="1210" y="1476"/>
                    </a:lnTo>
                    <a:lnTo>
                      <a:pt x="1212" y="1475"/>
                    </a:lnTo>
                    <a:lnTo>
                      <a:pt x="1212" y="1473"/>
                    </a:lnTo>
                    <a:lnTo>
                      <a:pt x="1210" y="1473"/>
                    </a:lnTo>
                    <a:lnTo>
                      <a:pt x="1210" y="1471"/>
                    </a:lnTo>
                    <a:lnTo>
                      <a:pt x="1208" y="1471"/>
                    </a:lnTo>
                    <a:lnTo>
                      <a:pt x="1208" y="1470"/>
                    </a:lnTo>
                    <a:lnTo>
                      <a:pt x="1207" y="1468"/>
                    </a:lnTo>
                    <a:lnTo>
                      <a:pt x="1207" y="1466"/>
                    </a:lnTo>
                    <a:lnTo>
                      <a:pt x="1205" y="1466"/>
                    </a:lnTo>
                    <a:lnTo>
                      <a:pt x="1205" y="1464"/>
                    </a:lnTo>
                    <a:lnTo>
                      <a:pt x="1207" y="1463"/>
                    </a:lnTo>
                    <a:lnTo>
                      <a:pt x="1208" y="1464"/>
                    </a:lnTo>
                    <a:lnTo>
                      <a:pt x="1207" y="1466"/>
                    </a:lnTo>
                    <a:lnTo>
                      <a:pt x="1208" y="1466"/>
                    </a:lnTo>
                    <a:lnTo>
                      <a:pt x="1208" y="1468"/>
                    </a:lnTo>
                    <a:lnTo>
                      <a:pt x="1210" y="1468"/>
                    </a:lnTo>
                    <a:lnTo>
                      <a:pt x="1210" y="1470"/>
                    </a:lnTo>
                    <a:lnTo>
                      <a:pt x="1210" y="1471"/>
                    </a:lnTo>
                    <a:lnTo>
                      <a:pt x="1210" y="1470"/>
                    </a:lnTo>
                    <a:lnTo>
                      <a:pt x="1212" y="1470"/>
                    </a:lnTo>
                    <a:lnTo>
                      <a:pt x="1212" y="1471"/>
                    </a:lnTo>
                    <a:lnTo>
                      <a:pt x="1212" y="1473"/>
                    </a:lnTo>
                    <a:lnTo>
                      <a:pt x="1213" y="1473"/>
                    </a:lnTo>
                    <a:lnTo>
                      <a:pt x="1213" y="1471"/>
                    </a:lnTo>
                    <a:lnTo>
                      <a:pt x="1213" y="1470"/>
                    </a:lnTo>
                    <a:lnTo>
                      <a:pt x="1212" y="1470"/>
                    </a:lnTo>
                    <a:lnTo>
                      <a:pt x="1213" y="1470"/>
                    </a:lnTo>
                    <a:lnTo>
                      <a:pt x="1215" y="1470"/>
                    </a:lnTo>
                    <a:lnTo>
                      <a:pt x="1217" y="1471"/>
                    </a:lnTo>
                    <a:lnTo>
                      <a:pt x="1217" y="1473"/>
                    </a:lnTo>
                    <a:lnTo>
                      <a:pt x="1219" y="1475"/>
                    </a:lnTo>
                    <a:lnTo>
                      <a:pt x="1219" y="1473"/>
                    </a:lnTo>
                    <a:lnTo>
                      <a:pt x="1220" y="1473"/>
                    </a:lnTo>
                    <a:lnTo>
                      <a:pt x="1222" y="1473"/>
                    </a:lnTo>
                    <a:lnTo>
                      <a:pt x="1222" y="1471"/>
                    </a:lnTo>
                    <a:lnTo>
                      <a:pt x="1222" y="1470"/>
                    </a:lnTo>
                    <a:lnTo>
                      <a:pt x="1222" y="1468"/>
                    </a:lnTo>
                    <a:lnTo>
                      <a:pt x="1224" y="1468"/>
                    </a:lnTo>
                    <a:lnTo>
                      <a:pt x="1225" y="1470"/>
                    </a:lnTo>
                    <a:lnTo>
                      <a:pt x="1225" y="1468"/>
                    </a:lnTo>
                    <a:lnTo>
                      <a:pt x="1227" y="1466"/>
                    </a:lnTo>
                    <a:lnTo>
                      <a:pt x="1229" y="1466"/>
                    </a:lnTo>
                    <a:lnTo>
                      <a:pt x="1230" y="1464"/>
                    </a:lnTo>
                    <a:lnTo>
                      <a:pt x="1230" y="1466"/>
                    </a:lnTo>
                    <a:lnTo>
                      <a:pt x="1229" y="1466"/>
                    </a:lnTo>
                    <a:lnTo>
                      <a:pt x="1229" y="1468"/>
                    </a:lnTo>
                    <a:lnTo>
                      <a:pt x="1230" y="1470"/>
                    </a:lnTo>
                    <a:lnTo>
                      <a:pt x="1229" y="1470"/>
                    </a:lnTo>
                    <a:lnTo>
                      <a:pt x="1227" y="1470"/>
                    </a:lnTo>
                    <a:lnTo>
                      <a:pt x="1229" y="1471"/>
                    </a:lnTo>
                    <a:lnTo>
                      <a:pt x="1227" y="1471"/>
                    </a:lnTo>
                    <a:lnTo>
                      <a:pt x="1227" y="1473"/>
                    </a:lnTo>
                    <a:lnTo>
                      <a:pt x="1227" y="1475"/>
                    </a:lnTo>
                    <a:lnTo>
                      <a:pt x="1225" y="1475"/>
                    </a:lnTo>
                    <a:lnTo>
                      <a:pt x="1227" y="1475"/>
                    </a:lnTo>
                    <a:lnTo>
                      <a:pt x="1227" y="1473"/>
                    </a:lnTo>
                    <a:lnTo>
                      <a:pt x="1229" y="1471"/>
                    </a:lnTo>
                    <a:lnTo>
                      <a:pt x="1230" y="1471"/>
                    </a:lnTo>
                    <a:lnTo>
                      <a:pt x="1230" y="1473"/>
                    </a:lnTo>
                    <a:lnTo>
                      <a:pt x="1232" y="1473"/>
                    </a:lnTo>
                    <a:lnTo>
                      <a:pt x="1232" y="1475"/>
                    </a:lnTo>
                    <a:lnTo>
                      <a:pt x="1232" y="1476"/>
                    </a:lnTo>
                    <a:lnTo>
                      <a:pt x="1230" y="1476"/>
                    </a:lnTo>
                    <a:lnTo>
                      <a:pt x="1230" y="1478"/>
                    </a:lnTo>
                    <a:lnTo>
                      <a:pt x="1232" y="1478"/>
                    </a:lnTo>
                    <a:lnTo>
                      <a:pt x="1234" y="1478"/>
                    </a:lnTo>
                    <a:lnTo>
                      <a:pt x="1232" y="1476"/>
                    </a:lnTo>
                    <a:lnTo>
                      <a:pt x="1234" y="1476"/>
                    </a:lnTo>
                    <a:lnTo>
                      <a:pt x="1234" y="1478"/>
                    </a:lnTo>
                    <a:lnTo>
                      <a:pt x="1234" y="1476"/>
                    </a:lnTo>
                    <a:lnTo>
                      <a:pt x="1234" y="1475"/>
                    </a:lnTo>
                    <a:lnTo>
                      <a:pt x="1234" y="1473"/>
                    </a:lnTo>
                    <a:lnTo>
                      <a:pt x="1236" y="1473"/>
                    </a:lnTo>
                    <a:lnTo>
                      <a:pt x="1236" y="1471"/>
                    </a:lnTo>
                    <a:lnTo>
                      <a:pt x="1236" y="1470"/>
                    </a:lnTo>
                    <a:lnTo>
                      <a:pt x="1236" y="1468"/>
                    </a:lnTo>
                    <a:lnTo>
                      <a:pt x="1237" y="1468"/>
                    </a:lnTo>
                    <a:lnTo>
                      <a:pt x="1236" y="1466"/>
                    </a:lnTo>
                    <a:lnTo>
                      <a:pt x="1237" y="1468"/>
                    </a:lnTo>
                    <a:lnTo>
                      <a:pt x="1237" y="1466"/>
                    </a:lnTo>
                    <a:lnTo>
                      <a:pt x="1239" y="1466"/>
                    </a:lnTo>
                    <a:lnTo>
                      <a:pt x="1237" y="1464"/>
                    </a:lnTo>
                    <a:lnTo>
                      <a:pt x="1237" y="1466"/>
                    </a:lnTo>
                    <a:lnTo>
                      <a:pt x="1236" y="1466"/>
                    </a:lnTo>
                    <a:lnTo>
                      <a:pt x="1236" y="1468"/>
                    </a:lnTo>
                    <a:lnTo>
                      <a:pt x="1234" y="1470"/>
                    </a:lnTo>
                    <a:lnTo>
                      <a:pt x="1234" y="1471"/>
                    </a:lnTo>
                    <a:lnTo>
                      <a:pt x="1234" y="1473"/>
                    </a:lnTo>
                    <a:lnTo>
                      <a:pt x="1232" y="1475"/>
                    </a:lnTo>
                    <a:lnTo>
                      <a:pt x="1232" y="1473"/>
                    </a:lnTo>
                    <a:lnTo>
                      <a:pt x="1232" y="1471"/>
                    </a:lnTo>
                    <a:lnTo>
                      <a:pt x="1230" y="1471"/>
                    </a:lnTo>
                    <a:lnTo>
                      <a:pt x="1230" y="1470"/>
                    </a:lnTo>
                    <a:lnTo>
                      <a:pt x="1230" y="1468"/>
                    </a:lnTo>
                    <a:lnTo>
                      <a:pt x="1230" y="1466"/>
                    </a:lnTo>
                    <a:lnTo>
                      <a:pt x="1232" y="1466"/>
                    </a:lnTo>
                    <a:lnTo>
                      <a:pt x="1230" y="1466"/>
                    </a:lnTo>
                    <a:lnTo>
                      <a:pt x="1232" y="1464"/>
                    </a:lnTo>
                    <a:lnTo>
                      <a:pt x="1232" y="1466"/>
                    </a:lnTo>
                    <a:lnTo>
                      <a:pt x="1234" y="1466"/>
                    </a:lnTo>
                    <a:lnTo>
                      <a:pt x="1234" y="1464"/>
                    </a:lnTo>
                    <a:lnTo>
                      <a:pt x="1234" y="1463"/>
                    </a:lnTo>
                    <a:lnTo>
                      <a:pt x="1234" y="1461"/>
                    </a:lnTo>
                    <a:lnTo>
                      <a:pt x="1234" y="1459"/>
                    </a:lnTo>
                    <a:lnTo>
                      <a:pt x="1236" y="1459"/>
                    </a:lnTo>
                    <a:lnTo>
                      <a:pt x="1237" y="1459"/>
                    </a:lnTo>
                    <a:lnTo>
                      <a:pt x="1239" y="1459"/>
                    </a:lnTo>
                    <a:lnTo>
                      <a:pt x="1239" y="1461"/>
                    </a:lnTo>
                    <a:lnTo>
                      <a:pt x="1239" y="1463"/>
                    </a:lnTo>
                    <a:lnTo>
                      <a:pt x="1239" y="1464"/>
                    </a:lnTo>
                    <a:lnTo>
                      <a:pt x="1239" y="1466"/>
                    </a:lnTo>
                    <a:lnTo>
                      <a:pt x="1241" y="1468"/>
                    </a:lnTo>
                    <a:lnTo>
                      <a:pt x="1241" y="1470"/>
                    </a:lnTo>
                    <a:lnTo>
                      <a:pt x="1242" y="1470"/>
                    </a:lnTo>
                    <a:lnTo>
                      <a:pt x="1242" y="1468"/>
                    </a:lnTo>
                    <a:lnTo>
                      <a:pt x="1244" y="1470"/>
                    </a:lnTo>
                    <a:lnTo>
                      <a:pt x="1244" y="1471"/>
                    </a:lnTo>
                    <a:lnTo>
                      <a:pt x="1244" y="1473"/>
                    </a:lnTo>
                    <a:lnTo>
                      <a:pt x="1246" y="1473"/>
                    </a:lnTo>
                    <a:lnTo>
                      <a:pt x="1246" y="1475"/>
                    </a:lnTo>
                    <a:lnTo>
                      <a:pt x="1244" y="1475"/>
                    </a:lnTo>
                    <a:lnTo>
                      <a:pt x="1244" y="1476"/>
                    </a:lnTo>
                    <a:lnTo>
                      <a:pt x="1244" y="1478"/>
                    </a:lnTo>
                    <a:lnTo>
                      <a:pt x="1244" y="1480"/>
                    </a:lnTo>
                    <a:lnTo>
                      <a:pt x="1244" y="1481"/>
                    </a:lnTo>
                    <a:lnTo>
                      <a:pt x="1242" y="1481"/>
                    </a:lnTo>
                    <a:lnTo>
                      <a:pt x="1244" y="1481"/>
                    </a:lnTo>
                    <a:lnTo>
                      <a:pt x="1242" y="1481"/>
                    </a:lnTo>
                    <a:lnTo>
                      <a:pt x="1242" y="1483"/>
                    </a:lnTo>
                    <a:lnTo>
                      <a:pt x="1242" y="1481"/>
                    </a:lnTo>
                    <a:lnTo>
                      <a:pt x="1242" y="1483"/>
                    </a:lnTo>
                    <a:lnTo>
                      <a:pt x="1241" y="1481"/>
                    </a:lnTo>
                    <a:lnTo>
                      <a:pt x="1239" y="1481"/>
                    </a:lnTo>
                    <a:lnTo>
                      <a:pt x="1239" y="1483"/>
                    </a:lnTo>
                    <a:lnTo>
                      <a:pt x="1239" y="1485"/>
                    </a:lnTo>
                    <a:lnTo>
                      <a:pt x="1237" y="1483"/>
                    </a:lnTo>
                    <a:lnTo>
                      <a:pt x="1237" y="1485"/>
                    </a:lnTo>
                    <a:lnTo>
                      <a:pt x="1236" y="1485"/>
                    </a:lnTo>
                    <a:lnTo>
                      <a:pt x="1236" y="1487"/>
                    </a:lnTo>
                    <a:lnTo>
                      <a:pt x="1234" y="1487"/>
                    </a:lnTo>
                    <a:lnTo>
                      <a:pt x="1234" y="1488"/>
                    </a:lnTo>
                    <a:lnTo>
                      <a:pt x="1232" y="1488"/>
                    </a:lnTo>
                    <a:lnTo>
                      <a:pt x="1230" y="1488"/>
                    </a:lnTo>
                    <a:lnTo>
                      <a:pt x="1230" y="1490"/>
                    </a:lnTo>
                    <a:lnTo>
                      <a:pt x="1232" y="1490"/>
                    </a:lnTo>
                    <a:lnTo>
                      <a:pt x="1234" y="1488"/>
                    </a:lnTo>
                    <a:lnTo>
                      <a:pt x="1236" y="1488"/>
                    </a:lnTo>
                    <a:lnTo>
                      <a:pt x="1236" y="1487"/>
                    </a:lnTo>
                    <a:lnTo>
                      <a:pt x="1237" y="1487"/>
                    </a:lnTo>
                    <a:lnTo>
                      <a:pt x="1239" y="1487"/>
                    </a:lnTo>
                    <a:lnTo>
                      <a:pt x="1241" y="1487"/>
                    </a:lnTo>
                    <a:lnTo>
                      <a:pt x="1242" y="1487"/>
                    </a:lnTo>
                    <a:lnTo>
                      <a:pt x="1241" y="1487"/>
                    </a:lnTo>
                    <a:lnTo>
                      <a:pt x="1242" y="1487"/>
                    </a:lnTo>
                    <a:lnTo>
                      <a:pt x="1241" y="1485"/>
                    </a:lnTo>
                    <a:lnTo>
                      <a:pt x="1242" y="1485"/>
                    </a:lnTo>
                    <a:lnTo>
                      <a:pt x="1242" y="1483"/>
                    </a:lnTo>
                    <a:lnTo>
                      <a:pt x="1242" y="1485"/>
                    </a:lnTo>
                    <a:lnTo>
                      <a:pt x="1244" y="1483"/>
                    </a:lnTo>
                    <a:lnTo>
                      <a:pt x="1244" y="1485"/>
                    </a:lnTo>
                    <a:lnTo>
                      <a:pt x="1244" y="1483"/>
                    </a:lnTo>
                    <a:lnTo>
                      <a:pt x="1246" y="1483"/>
                    </a:lnTo>
                    <a:lnTo>
                      <a:pt x="1246" y="1481"/>
                    </a:lnTo>
                    <a:lnTo>
                      <a:pt x="1246" y="1480"/>
                    </a:lnTo>
                    <a:lnTo>
                      <a:pt x="1247" y="1478"/>
                    </a:lnTo>
                    <a:lnTo>
                      <a:pt x="1246" y="1478"/>
                    </a:lnTo>
                    <a:lnTo>
                      <a:pt x="1246" y="1476"/>
                    </a:lnTo>
                    <a:lnTo>
                      <a:pt x="1247" y="1476"/>
                    </a:lnTo>
                    <a:lnTo>
                      <a:pt x="1247" y="1475"/>
                    </a:lnTo>
                    <a:lnTo>
                      <a:pt x="1247" y="1473"/>
                    </a:lnTo>
                    <a:lnTo>
                      <a:pt x="1246" y="1473"/>
                    </a:lnTo>
                    <a:lnTo>
                      <a:pt x="1246" y="1471"/>
                    </a:lnTo>
                    <a:lnTo>
                      <a:pt x="1244" y="1470"/>
                    </a:lnTo>
                    <a:lnTo>
                      <a:pt x="1244" y="1468"/>
                    </a:lnTo>
                    <a:lnTo>
                      <a:pt x="1242" y="1466"/>
                    </a:lnTo>
                    <a:lnTo>
                      <a:pt x="1242" y="1464"/>
                    </a:lnTo>
                    <a:lnTo>
                      <a:pt x="1241" y="1464"/>
                    </a:lnTo>
                    <a:lnTo>
                      <a:pt x="1241" y="1463"/>
                    </a:lnTo>
                    <a:lnTo>
                      <a:pt x="1241" y="1461"/>
                    </a:lnTo>
                    <a:lnTo>
                      <a:pt x="1241" y="1459"/>
                    </a:lnTo>
                    <a:lnTo>
                      <a:pt x="1242" y="1458"/>
                    </a:lnTo>
                    <a:lnTo>
                      <a:pt x="1244" y="1458"/>
                    </a:lnTo>
                    <a:lnTo>
                      <a:pt x="1242" y="1458"/>
                    </a:lnTo>
                    <a:lnTo>
                      <a:pt x="1244" y="1459"/>
                    </a:lnTo>
                    <a:lnTo>
                      <a:pt x="1244" y="1461"/>
                    </a:lnTo>
                    <a:lnTo>
                      <a:pt x="1244" y="1459"/>
                    </a:lnTo>
                    <a:lnTo>
                      <a:pt x="1244" y="1458"/>
                    </a:lnTo>
                    <a:lnTo>
                      <a:pt x="1246" y="1459"/>
                    </a:lnTo>
                    <a:lnTo>
                      <a:pt x="1247" y="1458"/>
                    </a:lnTo>
                    <a:lnTo>
                      <a:pt x="1249" y="1458"/>
                    </a:lnTo>
                    <a:lnTo>
                      <a:pt x="1247" y="1456"/>
                    </a:lnTo>
                    <a:lnTo>
                      <a:pt x="1247" y="1454"/>
                    </a:lnTo>
                    <a:lnTo>
                      <a:pt x="1246" y="1453"/>
                    </a:lnTo>
                    <a:lnTo>
                      <a:pt x="1247" y="1453"/>
                    </a:lnTo>
                    <a:lnTo>
                      <a:pt x="1247" y="1451"/>
                    </a:lnTo>
                    <a:lnTo>
                      <a:pt x="1249" y="1449"/>
                    </a:lnTo>
                    <a:lnTo>
                      <a:pt x="1247" y="1449"/>
                    </a:lnTo>
                    <a:lnTo>
                      <a:pt x="1247" y="1447"/>
                    </a:lnTo>
                    <a:lnTo>
                      <a:pt x="1246" y="1447"/>
                    </a:lnTo>
                    <a:lnTo>
                      <a:pt x="1247" y="1446"/>
                    </a:lnTo>
                    <a:lnTo>
                      <a:pt x="1246" y="1446"/>
                    </a:lnTo>
                    <a:lnTo>
                      <a:pt x="1244" y="1444"/>
                    </a:lnTo>
                    <a:lnTo>
                      <a:pt x="1242" y="1444"/>
                    </a:lnTo>
                    <a:lnTo>
                      <a:pt x="1242" y="1442"/>
                    </a:lnTo>
                    <a:lnTo>
                      <a:pt x="1242" y="1441"/>
                    </a:lnTo>
                    <a:lnTo>
                      <a:pt x="1241" y="1441"/>
                    </a:lnTo>
                    <a:lnTo>
                      <a:pt x="1241" y="1439"/>
                    </a:lnTo>
                    <a:lnTo>
                      <a:pt x="1241" y="1441"/>
                    </a:lnTo>
                    <a:lnTo>
                      <a:pt x="1242" y="1441"/>
                    </a:lnTo>
                    <a:lnTo>
                      <a:pt x="1241" y="1442"/>
                    </a:lnTo>
                    <a:lnTo>
                      <a:pt x="1241" y="1441"/>
                    </a:lnTo>
                    <a:lnTo>
                      <a:pt x="1241" y="1439"/>
                    </a:lnTo>
                    <a:lnTo>
                      <a:pt x="1239" y="1439"/>
                    </a:lnTo>
                    <a:lnTo>
                      <a:pt x="1241" y="1439"/>
                    </a:lnTo>
                    <a:lnTo>
                      <a:pt x="1239" y="1439"/>
                    </a:lnTo>
                    <a:lnTo>
                      <a:pt x="1239" y="1437"/>
                    </a:lnTo>
                    <a:lnTo>
                      <a:pt x="1237" y="1439"/>
                    </a:lnTo>
                    <a:lnTo>
                      <a:pt x="1237" y="1437"/>
                    </a:lnTo>
                    <a:lnTo>
                      <a:pt x="1236" y="1437"/>
                    </a:lnTo>
                    <a:lnTo>
                      <a:pt x="1234" y="1437"/>
                    </a:lnTo>
                    <a:lnTo>
                      <a:pt x="1232" y="1435"/>
                    </a:lnTo>
                    <a:lnTo>
                      <a:pt x="1232" y="1434"/>
                    </a:lnTo>
                    <a:lnTo>
                      <a:pt x="1230" y="1434"/>
                    </a:lnTo>
                    <a:lnTo>
                      <a:pt x="1229" y="1434"/>
                    </a:lnTo>
                    <a:lnTo>
                      <a:pt x="1227" y="1434"/>
                    </a:lnTo>
                    <a:lnTo>
                      <a:pt x="1227" y="1432"/>
                    </a:lnTo>
                    <a:lnTo>
                      <a:pt x="1227" y="1430"/>
                    </a:lnTo>
                    <a:lnTo>
                      <a:pt x="1225" y="1432"/>
                    </a:lnTo>
                    <a:lnTo>
                      <a:pt x="1224" y="1432"/>
                    </a:lnTo>
                    <a:lnTo>
                      <a:pt x="1224" y="1434"/>
                    </a:lnTo>
                    <a:lnTo>
                      <a:pt x="1222" y="1432"/>
                    </a:lnTo>
                    <a:lnTo>
                      <a:pt x="1222" y="1434"/>
                    </a:lnTo>
                    <a:lnTo>
                      <a:pt x="1222" y="1432"/>
                    </a:lnTo>
                    <a:lnTo>
                      <a:pt x="1220" y="1434"/>
                    </a:lnTo>
                    <a:lnTo>
                      <a:pt x="1222" y="1434"/>
                    </a:lnTo>
                    <a:lnTo>
                      <a:pt x="1222" y="1435"/>
                    </a:lnTo>
                    <a:lnTo>
                      <a:pt x="1224" y="1435"/>
                    </a:lnTo>
                    <a:lnTo>
                      <a:pt x="1224" y="1434"/>
                    </a:lnTo>
                    <a:lnTo>
                      <a:pt x="1225" y="1434"/>
                    </a:lnTo>
                    <a:lnTo>
                      <a:pt x="1227" y="1434"/>
                    </a:lnTo>
                    <a:lnTo>
                      <a:pt x="1229" y="1434"/>
                    </a:lnTo>
                    <a:lnTo>
                      <a:pt x="1229" y="1435"/>
                    </a:lnTo>
                    <a:lnTo>
                      <a:pt x="1229" y="1437"/>
                    </a:lnTo>
                    <a:lnTo>
                      <a:pt x="1227" y="1439"/>
                    </a:lnTo>
                    <a:lnTo>
                      <a:pt x="1225" y="1439"/>
                    </a:lnTo>
                    <a:lnTo>
                      <a:pt x="1225" y="1441"/>
                    </a:lnTo>
                    <a:lnTo>
                      <a:pt x="1227" y="1439"/>
                    </a:lnTo>
                    <a:lnTo>
                      <a:pt x="1229" y="1439"/>
                    </a:lnTo>
                    <a:lnTo>
                      <a:pt x="1229" y="1437"/>
                    </a:lnTo>
                    <a:lnTo>
                      <a:pt x="1229" y="1435"/>
                    </a:lnTo>
                    <a:lnTo>
                      <a:pt x="1230" y="1435"/>
                    </a:lnTo>
                    <a:lnTo>
                      <a:pt x="1232" y="1437"/>
                    </a:lnTo>
                    <a:lnTo>
                      <a:pt x="1232" y="1439"/>
                    </a:lnTo>
                    <a:lnTo>
                      <a:pt x="1234" y="1437"/>
                    </a:lnTo>
                    <a:lnTo>
                      <a:pt x="1234" y="1439"/>
                    </a:lnTo>
                    <a:lnTo>
                      <a:pt x="1236" y="1441"/>
                    </a:lnTo>
                    <a:lnTo>
                      <a:pt x="1236" y="1439"/>
                    </a:lnTo>
                    <a:lnTo>
                      <a:pt x="1237" y="1439"/>
                    </a:lnTo>
                    <a:lnTo>
                      <a:pt x="1237" y="1441"/>
                    </a:lnTo>
                    <a:lnTo>
                      <a:pt x="1239" y="1441"/>
                    </a:lnTo>
                    <a:lnTo>
                      <a:pt x="1239" y="1442"/>
                    </a:lnTo>
                    <a:lnTo>
                      <a:pt x="1241" y="1444"/>
                    </a:lnTo>
                    <a:lnTo>
                      <a:pt x="1241" y="1446"/>
                    </a:lnTo>
                    <a:lnTo>
                      <a:pt x="1242" y="1444"/>
                    </a:lnTo>
                    <a:lnTo>
                      <a:pt x="1242" y="1446"/>
                    </a:lnTo>
                    <a:lnTo>
                      <a:pt x="1244" y="1446"/>
                    </a:lnTo>
                    <a:lnTo>
                      <a:pt x="1246" y="1446"/>
                    </a:lnTo>
                    <a:lnTo>
                      <a:pt x="1246" y="1447"/>
                    </a:lnTo>
                    <a:lnTo>
                      <a:pt x="1246" y="1449"/>
                    </a:lnTo>
                    <a:lnTo>
                      <a:pt x="1244" y="1451"/>
                    </a:lnTo>
                    <a:lnTo>
                      <a:pt x="1244" y="1453"/>
                    </a:lnTo>
                    <a:lnTo>
                      <a:pt x="1242" y="1453"/>
                    </a:lnTo>
                    <a:lnTo>
                      <a:pt x="1241" y="1453"/>
                    </a:lnTo>
                    <a:lnTo>
                      <a:pt x="1239" y="1451"/>
                    </a:lnTo>
                    <a:lnTo>
                      <a:pt x="1239" y="1453"/>
                    </a:lnTo>
                    <a:lnTo>
                      <a:pt x="1239" y="1451"/>
                    </a:lnTo>
                    <a:lnTo>
                      <a:pt x="1237" y="1451"/>
                    </a:lnTo>
                    <a:lnTo>
                      <a:pt x="1237" y="1449"/>
                    </a:lnTo>
                    <a:lnTo>
                      <a:pt x="1236" y="1449"/>
                    </a:lnTo>
                    <a:lnTo>
                      <a:pt x="1234" y="1447"/>
                    </a:lnTo>
                    <a:lnTo>
                      <a:pt x="1234" y="1449"/>
                    </a:lnTo>
                    <a:lnTo>
                      <a:pt x="1232" y="1447"/>
                    </a:lnTo>
                    <a:lnTo>
                      <a:pt x="1232" y="1449"/>
                    </a:lnTo>
                    <a:lnTo>
                      <a:pt x="1230" y="1449"/>
                    </a:lnTo>
                    <a:lnTo>
                      <a:pt x="1230" y="1447"/>
                    </a:lnTo>
                    <a:lnTo>
                      <a:pt x="1230" y="1446"/>
                    </a:lnTo>
                    <a:lnTo>
                      <a:pt x="1229" y="1446"/>
                    </a:lnTo>
                    <a:lnTo>
                      <a:pt x="1227" y="1446"/>
                    </a:lnTo>
                    <a:lnTo>
                      <a:pt x="1227" y="1444"/>
                    </a:lnTo>
                    <a:lnTo>
                      <a:pt x="1227" y="1446"/>
                    </a:lnTo>
                    <a:lnTo>
                      <a:pt x="1225" y="1446"/>
                    </a:lnTo>
                    <a:lnTo>
                      <a:pt x="1225" y="1444"/>
                    </a:lnTo>
                    <a:lnTo>
                      <a:pt x="1224" y="1444"/>
                    </a:lnTo>
                    <a:lnTo>
                      <a:pt x="1224" y="1442"/>
                    </a:lnTo>
                    <a:lnTo>
                      <a:pt x="1224" y="1441"/>
                    </a:lnTo>
                    <a:lnTo>
                      <a:pt x="1222" y="1441"/>
                    </a:lnTo>
                    <a:lnTo>
                      <a:pt x="1220" y="1439"/>
                    </a:lnTo>
                    <a:lnTo>
                      <a:pt x="1220" y="1441"/>
                    </a:lnTo>
                    <a:lnTo>
                      <a:pt x="1222" y="1441"/>
                    </a:lnTo>
                    <a:lnTo>
                      <a:pt x="1222" y="1442"/>
                    </a:lnTo>
                    <a:lnTo>
                      <a:pt x="1222" y="1444"/>
                    </a:lnTo>
                    <a:lnTo>
                      <a:pt x="1220" y="1444"/>
                    </a:lnTo>
                    <a:lnTo>
                      <a:pt x="1220" y="1446"/>
                    </a:lnTo>
                    <a:lnTo>
                      <a:pt x="1222" y="1444"/>
                    </a:lnTo>
                    <a:lnTo>
                      <a:pt x="1224" y="1446"/>
                    </a:lnTo>
                    <a:lnTo>
                      <a:pt x="1225" y="1446"/>
                    </a:lnTo>
                    <a:lnTo>
                      <a:pt x="1227" y="1446"/>
                    </a:lnTo>
                    <a:lnTo>
                      <a:pt x="1229" y="1447"/>
                    </a:lnTo>
                    <a:lnTo>
                      <a:pt x="1229" y="1449"/>
                    </a:lnTo>
                    <a:lnTo>
                      <a:pt x="1230" y="1451"/>
                    </a:lnTo>
                    <a:lnTo>
                      <a:pt x="1229" y="1451"/>
                    </a:lnTo>
                    <a:lnTo>
                      <a:pt x="1229" y="1449"/>
                    </a:lnTo>
                    <a:lnTo>
                      <a:pt x="1227" y="1447"/>
                    </a:lnTo>
                    <a:lnTo>
                      <a:pt x="1225" y="1449"/>
                    </a:lnTo>
                    <a:lnTo>
                      <a:pt x="1224" y="1449"/>
                    </a:lnTo>
                    <a:lnTo>
                      <a:pt x="1225" y="1451"/>
                    </a:lnTo>
                    <a:lnTo>
                      <a:pt x="1225" y="1449"/>
                    </a:lnTo>
                    <a:lnTo>
                      <a:pt x="1227" y="1449"/>
                    </a:lnTo>
                    <a:lnTo>
                      <a:pt x="1229" y="1449"/>
                    </a:lnTo>
                    <a:lnTo>
                      <a:pt x="1229" y="1451"/>
                    </a:lnTo>
                    <a:lnTo>
                      <a:pt x="1229" y="1453"/>
                    </a:lnTo>
                    <a:lnTo>
                      <a:pt x="1227" y="1453"/>
                    </a:lnTo>
                    <a:lnTo>
                      <a:pt x="1227" y="1454"/>
                    </a:lnTo>
                    <a:lnTo>
                      <a:pt x="1225" y="1454"/>
                    </a:lnTo>
                    <a:lnTo>
                      <a:pt x="1225" y="1456"/>
                    </a:lnTo>
                    <a:lnTo>
                      <a:pt x="1224" y="1454"/>
                    </a:lnTo>
                    <a:lnTo>
                      <a:pt x="1224" y="1456"/>
                    </a:lnTo>
                    <a:lnTo>
                      <a:pt x="1224" y="1454"/>
                    </a:lnTo>
                    <a:lnTo>
                      <a:pt x="1222" y="1456"/>
                    </a:lnTo>
                    <a:lnTo>
                      <a:pt x="1224" y="1456"/>
                    </a:lnTo>
                    <a:lnTo>
                      <a:pt x="1225" y="1456"/>
                    </a:lnTo>
                    <a:lnTo>
                      <a:pt x="1227" y="1456"/>
                    </a:lnTo>
                    <a:lnTo>
                      <a:pt x="1227" y="1454"/>
                    </a:lnTo>
                    <a:lnTo>
                      <a:pt x="1229" y="1454"/>
                    </a:lnTo>
                    <a:lnTo>
                      <a:pt x="1229" y="1453"/>
                    </a:lnTo>
                    <a:lnTo>
                      <a:pt x="1230" y="1453"/>
                    </a:lnTo>
                    <a:lnTo>
                      <a:pt x="1230" y="1451"/>
                    </a:lnTo>
                    <a:lnTo>
                      <a:pt x="1232" y="1453"/>
                    </a:lnTo>
                    <a:lnTo>
                      <a:pt x="1232" y="1454"/>
                    </a:lnTo>
                    <a:lnTo>
                      <a:pt x="1232" y="1453"/>
                    </a:lnTo>
                    <a:lnTo>
                      <a:pt x="1232" y="1454"/>
                    </a:lnTo>
                    <a:lnTo>
                      <a:pt x="1232" y="1456"/>
                    </a:lnTo>
                    <a:lnTo>
                      <a:pt x="1230" y="1456"/>
                    </a:lnTo>
                    <a:lnTo>
                      <a:pt x="1229" y="1458"/>
                    </a:lnTo>
                    <a:lnTo>
                      <a:pt x="1227" y="1458"/>
                    </a:lnTo>
                    <a:lnTo>
                      <a:pt x="1225" y="1459"/>
                    </a:lnTo>
                    <a:lnTo>
                      <a:pt x="1225" y="1461"/>
                    </a:lnTo>
                    <a:lnTo>
                      <a:pt x="1225" y="1463"/>
                    </a:lnTo>
                    <a:lnTo>
                      <a:pt x="1225" y="1464"/>
                    </a:lnTo>
                    <a:lnTo>
                      <a:pt x="1225" y="1466"/>
                    </a:lnTo>
                    <a:lnTo>
                      <a:pt x="1225" y="1468"/>
                    </a:lnTo>
                    <a:lnTo>
                      <a:pt x="1224" y="1468"/>
                    </a:lnTo>
                    <a:lnTo>
                      <a:pt x="1222" y="1468"/>
                    </a:lnTo>
                    <a:lnTo>
                      <a:pt x="1222" y="1466"/>
                    </a:lnTo>
                    <a:lnTo>
                      <a:pt x="1222" y="1464"/>
                    </a:lnTo>
                    <a:lnTo>
                      <a:pt x="1222" y="1463"/>
                    </a:lnTo>
                    <a:lnTo>
                      <a:pt x="1222" y="1461"/>
                    </a:lnTo>
                    <a:lnTo>
                      <a:pt x="1220" y="1459"/>
                    </a:lnTo>
                    <a:lnTo>
                      <a:pt x="1222" y="1458"/>
                    </a:lnTo>
                    <a:lnTo>
                      <a:pt x="1220" y="1456"/>
                    </a:lnTo>
                    <a:lnTo>
                      <a:pt x="1220" y="1458"/>
                    </a:lnTo>
                    <a:lnTo>
                      <a:pt x="1220" y="1456"/>
                    </a:lnTo>
                    <a:lnTo>
                      <a:pt x="1222" y="1456"/>
                    </a:lnTo>
                    <a:lnTo>
                      <a:pt x="1220" y="1454"/>
                    </a:lnTo>
                    <a:lnTo>
                      <a:pt x="1220" y="1453"/>
                    </a:lnTo>
                    <a:lnTo>
                      <a:pt x="1220" y="1451"/>
                    </a:lnTo>
                    <a:lnTo>
                      <a:pt x="1220" y="1449"/>
                    </a:lnTo>
                    <a:lnTo>
                      <a:pt x="1219" y="1449"/>
                    </a:lnTo>
                    <a:lnTo>
                      <a:pt x="1219" y="1447"/>
                    </a:lnTo>
                    <a:lnTo>
                      <a:pt x="1219" y="1446"/>
                    </a:lnTo>
                    <a:lnTo>
                      <a:pt x="1217" y="1444"/>
                    </a:lnTo>
                    <a:lnTo>
                      <a:pt x="1217" y="1442"/>
                    </a:lnTo>
                    <a:lnTo>
                      <a:pt x="1217" y="1444"/>
                    </a:lnTo>
                    <a:lnTo>
                      <a:pt x="1217" y="1446"/>
                    </a:lnTo>
                    <a:lnTo>
                      <a:pt x="1219" y="1446"/>
                    </a:lnTo>
                    <a:lnTo>
                      <a:pt x="1219" y="1447"/>
                    </a:lnTo>
                    <a:lnTo>
                      <a:pt x="1219" y="1449"/>
                    </a:lnTo>
                    <a:lnTo>
                      <a:pt x="1219" y="1451"/>
                    </a:lnTo>
                    <a:lnTo>
                      <a:pt x="1219" y="1453"/>
                    </a:lnTo>
                    <a:lnTo>
                      <a:pt x="1220" y="1454"/>
                    </a:lnTo>
                    <a:lnTo>
                      <a:pt x="1219" y="1453"/>
                    </a:lnTo>
                    <a:lnTo>
                      <a:pt x="1219" y="1454"/>
                    </a:lnTo>
                    <a:lnTo>
                      <a:pt x="1220" y="1454"/>
                    </a:lnTo>
                    <a:lnTo>
                      <a:pt x="1219" y="1456"/>
                    </a:lnTo>
                    <a:lnTo>
                      <a:pt x="1220" y="1458"/>
                    </a:lnTo>
                    <a:lnTo>
                      <a:pt x="1220" y="1459"/>
                    </a:lnTo>
                    <a:lnTo>
                      <a:pt x="1220" y="1461"/>
                    </a:lnTo>
                    <a:lnTo>
                      <a:pt x="1220" y="1463"/>
                    </a:lnTo>
                    <a:lnTo>
                      <a:pt x="1220" y="1464"/>
                    </a:lnTo>
                    <a:lnTo>
                      <a:pt x="1220" y="1466"/>
                    </a:lnTo>
                    <a:lnTo>
                      <a:pt x="1222" y="1468"/>
                    </a:lnTo>
                    <a:lnTo>
                      <a:pt x="1220" y="1470"/>
                    </a:lnTo>
                    <a:lnTo>
                      <a:pt x="1220" y="1471"/>
                    </a:lnTo>
                    <a:lnTo>
                      <a:pt x="1219" y="1471"/>
                    </a:lnTo>
                    <a:lnTo>
                      <a:pt x="1219" y="1470"/>
                    </a:lnTo>
                    <a:lnTo>
                      <a:pt x="1217" y="1470"/>
                    </a:lnTo>
                    <a:lnTo>
                      <a:pt x="1217" y="1468"/>
                    </a:lnTo>
                    <a:lnTo>
                      <a:pt x="1215" y="1468"/>
                    </a:lnTo>
                    <a:lnTo>
                      <a:pt x="1215" y="1466"/>
                    </a:lnTo>
                    <a:lnTo>
                      <a:pt x="1213" y="1466"/>
                    </a:lnTo>
                    <a:lnTo>
                      <a:pt x="1212" y="1464"/>
                    </a:lnTo>
                    <a:lnTo>
                      <a:pt x="1212" y="1463"/>
                    </a:lnTo>
                    <a:lnTo>
                      <a:pt x="1210" y="1463"/>
                    </a:lnTo>
                    <a:lnTo>
                      <a:pt x="1212" y="1463"/>
                    </a:lnTo>
                    <a:lnTo>
                      <a:pt x="1210" y="1463"/>
                    </a:lnTo>
                    <a:lnTo>
                      <a:pt x="1210" y="1461"/>
                    </a:lnTo>
                    <a:lnTo>
                      <a:pt x="1210" y="1459"/>
                    </a:lnTo>
                    <a:lnTo>
                      <a:pt x="1210" y="1458"/>
                    </a:lnTo>
                    <a:lnTo>
                      <a:pt x="1212" y="1458"/>
                    </a:lnTo>
                    <a:lnTo>
                      <a:pt x="1210" y="1458"/>
                    </a:lnTo>
                    <a:lnTo>
                      <a:pt x="1210" y="1456"/>
                    </a:lnTo>
                    <a:lnTo>
                      <a:pt x="1208" y="1456"/>
                    </a:lnTo>
                    <a:lnTo>
                      <a:pt x="1208" y="1454"/>
                    </a:lnTo>
                    <a:lnTo>
                      <a:pt x="1208" y="1453"/>
                    </a:lnTo>
                    <a:lnTo>
                      <a:pt x="1208" y="1451"/>
                    </a:lnTo>
                    <a:lnTo>
                      <a:pt x="1210" y="1453"/>
                    </a:lnTo>
                    <a:lnTo>
                      <a:pt x="1210" y="1451"/>
                    </a:lnTo>
                    <a:lnTo>
                      <a:pt x="1210" y="1453"/>
                    </a:lnTo>
                    <a:lnTo>
                      <a:pt x="1210" y="1454"/>
                    </a:lnTo>
                    <a:lnTo>
                      <a:pt x="1212" y="1454"/>
                    </a:lnTo>
                    <a:lnTo>
                      <a:pt x="1212" y="1456"/>
                    </a:lnTo>
                    <a:lnTo>
                      <a:pt x="1213" y="1458"/>
                    </a:lnTo>
                    <a:lnTo>
                      <a:pt x="1213" y="1459"/>
                    </a:lnTo>
                    <a:lnTo>
                      <a:pt x="1212" y="1458"/>
                    </a:lnTo>
                    <a:lnTo>
                      <a:pt x="1212" y="1459"/>
                    </a:lnTo>
                    <a:lnTo>
                      <a:pt x="1213" y="1459"/>
                    </a:lnTo>
                    <a:lnTo>
                      <a:pt x="1215" y="1461"/>
                    </a:lnTo>
                    <a:lnTo>
                      <a:pt x="1215" y="1463"/>
                    </a:lnTo>
                    <a:lnTo>
                      <a:pt x="1217" y="1464"/>
                    </a:lnTo>
                    <a:lnTo>
                      <a:pt x="1217" y="1463"/>
                    </a:lnTo>
                    <a:lnTo>
                      <a:pt x="1215" y="1461"/>
                    </a:lnTo>
                    <a:lnTo>
                      <a:pt x="1215" y="1459"/>
                    </a:lnTo>
                    <a:lnTo>
                      <a:pt x="1215" y="1458"/>
                    </a:lnTo>
                    <a:lnTo>
                      <a:pt x="1213" y="1458"/>
                    </a:lnTo>
                    <a:lnTo>
                      <a:pt x="1215" y="1456"/>
                    </a:lnTo>
                    <a:lnTo>
                      <a:pt x="1213" y="1456"/>
                    </a:lnTo>
                    <a:lnTo>
                      <a:pt x="1213" y="1454"/>
                    </a:lnTo>
                    <a:lnTo>
                      <a:pt x="1212" y="1453"/>
                    </a:lnTo>
                    <a:lnTo>
                      <a:pt x="1212" y="1451"/>
                    </a:lnTo>
                    <a:lnTo>
                      <a:pt x="1213" y="1451"/>
                    </a:lnTo>
                    <a:lnTo>
                      <a:pt x="1212" y="1451"/>
                    </a:lnTo>
                    <a:lnTo>
                      <a:pt x="1212" y="1449"/>
                    </a:lnTo>
                    <a:lnTo>
                      <a:pt x="1210" y="1449"/>
                    </a:lnTo>
                    <a:lnTo>
                      <a:pt x="1210" y="1447"/>
                    </a:lnTo>
                    <a:lnTo>
                      <a:pt x="1212" y="1447"/>
                    </a:lnTo>
                    <a:lnTo>
                      <a:pt x="1213" y="1447"/>
                    </a:lnTo>
                    <a:lnTo>
                      <a:pt x="1213" y="1446"/>
                    </a:lnTo>
                    <a:lnTo>
                      <a:pt x="1215" y="1444"/>
                    </a:lnTo>
                    <a:lnTo>
                      <a:pt x="1213" y="1444"/>
                    </a:lnTo>
                    <a:lnTo>
                      <a:pt x="1213" y="1446"/>
                    </a:lnTo>
                    <a:lnTo>
                      <a:pt x="1212" y="1446"/>
                    </a:lnTo>
                    <a:lnTo>
                      <a:pt x="1212" y="1447"/>
                    </a:lnTo>
                    <a:lnTo>
                      <a:pt x="1212" y="1446"/>
                    </a:lnTo>
                    <a:lnTo>
                      <a:pt x="1212" y="1444"/>
                    </a:lnTo>
                    <a:lnTo>
                      <a:pt x="1212" y="1446"/>
                    </a:lnTo>
                    <a:lnTo>
                      <a:pt x="1210" y="1447"/>
                    </a:lnTo>
                    <a:lnTo>
                      <a:pt x="1210" y="1446"/>
                    </a:lnTo>
                    <a:lnTo>
                      <a:pt x="1208" y="1446"/>
                    </a:lnTo>
                    <a:lnTo>
                      <a:pt x="1208" y="1444"/>
                    </a:lnTo>
                    <a:lnTo>
                      <a:pt x="1208" y="1442"/>
                    </a:lnTo>
                    <a:lnTo>
                      <a:pt x="1208" y="1444"/>
                    </a:lnTo>
                    <a:lnTo>
                      <a:pt x="1208" y="1446"/>
                    </a:lnTo>
                    <a:lnTo>
                      <a:pt x="1208" y="1447"/>
                    </a:lnTo>
                    <a:lnTo>
                      <a:pt x="1207" y="1447"/>
                    </a:lnTo>
                    <a:lnTo>
                      <a:pt x="1207" y="1449"/>
                    </a:lnTo>
                    <a:lnTo>
                      <a:pt x="1207" y="1451"/>
                    </a:lnTo>
                    <a:lnTo>
                      <a:pt x="1205" y="1449"/>
                    </a:lnTo>
                    <a:lnTo>
                      <a:pt x="1205" y="1447"/>
                    </a:lnTo>
                    <a:lnTo>
                      <a:pt x="1205" y="1446"/>
                    </a:lnTo>
                    <a:lnTo>
                      <a:pt x="1203" y="1446"/>
                    </a:lnTo>
                    <a:lnTo>
                      <a:pt x="1203" y="1444"/>
                    </a:lnTo>
                    <a:lnTo>
                      <a:pt x="1202" y="1444"/>
                    </a:lnTo>
                    <a:lnTo>
                      <a:pt x="1203" y="1442"/>
                    </a:lnTo>
                    <a:lnTo>
                      <a:pt x="1205" y="1442"/>
                    </a:lnTo>
                    <a:lnTo>
                      <a:pt x="1203" y="1442"/>
                    </a:lnTo>
                    <a:lnTo>
                      <a:pt x="1202" y="1442"/>
                    </a:lnTo>
                    <a:lnTo>
                      <a:pt x="1200" y="1442"/>
                    </a:lnTo>
                    <a:lnTo>
                      <a:pt x="1200" y="1441"/>
                    </a:lnTo>
                    <a:lnTo>
                      <a:pt x="1198" y="1441"/>
                    </a:lnTo>
                    <a:lnTo>
                      <a:pt x="1200" y="1441"/>
                    </a:lnTo>
                    <a:lnTo>
                      <a:pt x="1200" y="1439"/>
                    </a:lnTo>
                    <a:lnTo>
                      <a:pt x="1202" y="1439"/>
                    </a:lnTo>
                    <a:lnTo>
                      <a:pt x="1203" y="1439"/>
                    </a:lnTo>
                    <a:lnTo>
                      <a:pt x="1202" y="1439"/>
                    </a:lnTo>
                    <a:lnTo>
                      <a:pt x="1202" y="1437"/>
                    </a:lnTo>
                    <a:lnTo>
                      <a:pt x="1203" y="1437"/>
                    </a:lnTo>
                    <a:lnTo>
                      <a:pt x="1202" y="1437"/>
                    </a:lnTo>
                    <a:lnTo>
                      <a:pt x="1203" y="1435"/>
                    </a:lnTo>
                    <a:lnTo>
                      <a:pt x="1202" y="1437"/>
                    </a:lnTo>
                    <a:lnTo>
                      <a:pt x="1202" y="1435"/>
                    </a:lnTo>
                    <a:lnTo>
                      <a:pt x="1200" y="1437"/>
                    </a:lnTo>
                    <a:lnTo>
                      <a:pt x="1200" y="1439"/>
                    </a:lnTo>
                    <a:lnTo>
                      <a:pt x="1200" y="1437"/>
                    </a:lnTo>
                    <a:lnTo>
                      <a:pt x="1200" y="1435"/>
                    </a:lnTo>
                    <a:lnTo>
                      <a:pt x="1198" y="1435"/>
                    </a:lnTo>
                    <a:lnTo>
                      <a:pt x="1200" y="1435"/>
                    </a:lnTo>
                    <a:lnTo>
                      <a:pt x="1198" y="1435"/>
                    </a:lnTo>
                    <a:lnTo>
                      <a:pt x="1198" y="1434"/>
                    </a:lnTo>
                    <a:lnTo>
                      <a:pt x="1198" y="1435"/>
                    </a:lnTo>
                    <a:lnTo>
                      <a:pt x="1198" y="1434"/>
                    </a:lnTo>
                    <a:lnTo>
                      <a:pt x="1196" y="1435"/>
                    </a:lnTo>
                    <a:lnTo>
                      <a:pt x="1196" y="1434"/>
                    </a:lnTo>
                    <a:lnTo>
                      <a:pt x="1198" y="1432"/>
                    </a:lnTo>
                    <a:lnTo>
                      <a:pt x="1198" y="1434"/>
                    </a:lnTo>
                    <a:lnTo>
                      <a:pt x="1198" y="1432"/>
                    </a:lnTo>
                    <a:lnTo>
                      <a:pt x="1200" y="1432"/>
                    </a:lnTo>
                    <a:lnTo>
                      <a:pt x="1198" y="1432"/>
                    </a:lnTo>
                    <a:lnTo>
                      <a:pt x="1198" y="1430"/>
                    </a:lnTo>
                    <a:lnTo>
                      <a:pt x="1200" y="1430"/>
                    </a:lnTo>
                    <a:lnTo>
                      <a:pt x="1198" y="1430"/>
                    </a:lnTo>
                    <a:lnTo>
                      <a:pt x="1198" y="1429"/>
                    </a:lnTo>
                    <a:lnTo>
                      <a:pt x="1200" y="1429"/>
                    </a:lnTo>
                    <a:lnTo>
                      <a:pt x="1200" y="1427"/>
                    </a:lnTo>
                    <a:lnTo>
                      <a:pt x="1200" y="1429"/>
                    </a:lnTo>
                    <a:lnTo>
                      <a:pt x="1202" y="1429"/>
                    </a:lnTo>
                    <a:lnTo>
                      <a:pt x="1203" y="1429"/>
                    </a:lnTo>
                    <a:lnTo>
                      <a:pt x="1203" y="1430"/>
                    </a:lnTo>
                    <a:lnTo>
                      <a:pt x="1203" y="1432"/>
                    </a:lnTo>
                    <a:lnTo>
                      <a:pt x="1205" y="1432"/>
                    </a:lnTo>
                    <a:lnTo>
                      <a:pt x="1205" y="1434"/>
                    </a:lnTo>
                    <a:lnTo>
                      <a:pt x="1205" y="1432"/>
                    </a:lnTo>
                    <a:lnTo>
                      <a:pt x="1205" y="1430"/>
                    </a:lnTo>
                    <a:lnTo>
                      <a:pt x="1205" y="1432"/>
                    </a:lnTo>
                    <a:lnTo>
                      <a:pt x="1207" y="1434"/>
                    </a:lnTo>
                    <a:lnTo>
                      <a:pt x="1207" y="1435"/>
                    </a:lnTo>
                    <a:lnTo>
                      <a:pt x="1208" y="1437"/>
                    </a:lnTo>
                    <a:lnTo>
                      <a:pt x="1208" y="1439"/>
                    </a:lnTo>
                    <a:lnTo>
                      <a:pt x="1208" y="1441"/>
                    </a:lnTo>
                    <a:lnTo>
                      <a:pt x="1208" y="1442"/>
                    </a:lnTo>
                    <a:lnTo>
                      <a:pt x="1210" y="1441"/>
                    </a:lnTo>
                    <a:lnTo>
                      <a:pt x="1208" y="1439"/>
                    </a:lnTo>
                    <a:lnTo>
                      <a:pt x="1208" y="1437"/>
                    </a:lnTo>
                    <a:lnTo>
                      <a:pt x="1208" y="1435"/>
                    </a:lnTo>
                    <a:lnTo>
                      <a:pt x="1207" y="1434"/>
                    </a:lnTo>
                    <a:lnTo>
                      <a:pt x="1207" y="1435"/>
                    </a:lnTo>
                    <a:lnTo>
                      <a:pt x="1208" y="1435"/>
                    </a:lnTo>
                    <a:lnTo>
                      <a:pt x="1210" y="1435"/>
                    </a:lnTo>
                    <a:lnTo>
                      <a:pt x="1210" y="1437"/>
                    </a:lnTo>
                    <a:lnTo>
                      <a:pt x="1210" y="1435"/>
                    </a:lnTo>
                    <a:lnTo>
                      <a:pt x="1208" y="1435"/>
                    </a:lnTo>
                    <a:lnTo>
                      <a:pt x="1208" y="1434"/>
                    </a:lnTo>
                    <a:lnTo>
                      <a:pt x="1208" y="1432"/>
                    </a:lnTo>
                    <a:lnTo>
                      <a:pt x="1210" y="1432"/>
                    </a:lnTo>
                    <a:lnTo>
                      <a:pt x="1212" y="1432"/>
                    </a:lnTo>
                    <a:lnTo>
                      <a:pt x="1210" y="1432"/>
                    </a:lnTo>
                    <a:lnTo>
                      <a:pt x="1208" y="1432"/>
                    </a:lnTo>
                    <a:lnTo>
                      <a:pt x="1207" y="1430"/>
                    </a:lnTo>
                    <a:lnTo>
                      <a:pt x="1207" y="1429"/>
                    </a:lnTo>
                    <a:lnTo>
                      <a:pt x="1207" y="1427"/>
                    </a:lnTo>
                    <a:lnTo>
                      <a:pt x="1207" y="1425"/>
                    </a:lnTo>
                    <a:lnTo>
                      <a:pt x="1207" y="1427"/>
                    </a:lnTo>
                    <a:lnTo>
                      <a:pt x="1207" y="1425"/>
                    </a:lnTo>
                    <a:lnTo>
                      <a:pt x="1207" y="1424"/>
                    </a:lnTo>
                    <a:lnTo>
                      <a:pt x="1205" y="1422"/>
                    </a:lnTo>
                    <a:lnTo>
                      <a:pt x="1203" y="1420"/>
                    </a:lnTo>
                    <a:lnTo>
                      <a:pt x="1203" y="1418"/>
                    </a:lnTo>
                    <a:lnTo>
                      <a:pt x="1205" y="1418"/>
                    </a:lnTo>
                    <a:lnTo>
                      <a:pt x="1207" y="1418"/>
                    </a:lnTo>
                    <a:lnTo>
                      <a:pt x="1207" y="1420"/>
                    </a:lnTo>
                    <a:lnTo>
                      <a:pt x="1207" y="1422"/>
                    </a:lnTo>
                    <a:lnTo>
                      <a:pt x="1208" y="1422"/>
                    </a:lnTo>
                    <a:lnTo>
                      <a:pt x="1207" y="1422"/>
                    </a:lnTo>
                    <a:lnTo>
                      <a:pt x="1207" y="1420"/>
                    </a:lnTo>
                    <a:lnTo>
                      <a:pt x="1207" y="1418"/>
                    </a:lnTo>
                    <a:lnTo>
                      <a:pt x="1208" y="1418"/>
                    </a:lnTo>
                    <a:lnTo>
                      <a:pt x="1207" y="1418"/>
                    </a:lnTo>
                    <a:lnTo>
                      <a:pt x="1207" y="1417"/>
                    </a:lnTo>
                    <a:lnTo>
                      <a:pt x="1207" y="1415"/>
                    </a:lnTo>
                    <a:lnTo>
                      <a:pt x="1207" y="1417"/>
                    </a:lnTo>
                    <a:lnTo>
                      <a:pt x="1205" y="1417"/>
                    </a:lnTo>
                    <a:lnTo>
                      <a:pt x="1205" y="1415"/>
                    </a:lnTo>
                    <a:lnTo>
                      <a:pt x="1203" y="1413"/>
                    </a:lnTo>
                    <a:lnTo>
                      <a:pt x="1203" y="1412"/>
                    </a:lnTo>
                    <a:lnTo>
                      <a:pt x="1202" y="1412"/>
                    </a:lnTo>
                    <a:lnTo>
                      <a:pt x="1203" y="1412"/>
                    </a:lnTo>
                    <a:lnTo>
                      <a:pt x="1203" y="1413"/>
                    </a:lnTo>
                    <a:lnTo>
                      <a:pt x="1203" y="1415"/>
                    </a:lnTo>
                    <a:lnTo>
                      <a:pt x="1205" y="1415"/>
                    </a:lnTo>
                    <a:lnTo>
                      <a:pt x="1205" y="1417"/>
                    </a:lnTo>
                    <a:lnTo>
                      <a:pt x="1205" y="1418"/>
                    </a:lnTo>
                    <a:lnTo>
                      <a:pt x="1203" y="1418"/>
                    </a:lnTo>
                    <a:lnTo>
                      <a:pt x="1202" y="1420"/>
                    </a:lnTo>
                    <a:lnTo>
                      <a:pt x="1200" y="1422"/>
                    </a:lnTo>
                    <a:lnTo>
                      <a:pt x="1198" y="1420"/>
                    </a:lnTo>
                    <a:lnTo>
                      <a:pt x="1198" y="1418"/>
                    </a:lnTo>
                    <a:lnTo>
                      <a:pt x="1198" y="1417"/>
                    </a:lnTo>
                    <a:lnTo>
                      <a:pt x="1198" y="1415"/>
                    </a:lnTo>
                    <a:lnTo>
                      <a:pt x="1196" y="1415"/>
                    </a:lnTo>
                    <a:lnTo>
                      <a:pt x="1196" y="1413"/>
                    </a:lnTo>
                    <a:lnTo>
                      <a:pt x="1196" y="1415"/>
                    </a:lnTo>
                    <a:lnTo>
                      <a:pt x="1196" y="1417"/>
                    </a:lnTo>
                    <a:lnTo>
                      <a:pt x="1196" y="1418"/>
                    </a:lnTo>
                    <a:lnTo>
                      <a:pt x="1195" y="1418"/>
                    </a:lnTo>
                    <a:lnTo>
                      <a:pt x="1193" y="1418"/>
                    </a:lnTo>
                    <a:lnTo>
                      <a:pt x="1191" y="1417"/>
                    </a:lnTo>
                    <a:lnTo>
                      <a:pt x="1193" y="1415"/>
                    </a:lnTo>
                    <a:lnTo>
                      <a:pt x="1191" y="1413"/>
                    </a:lnTo>
                    <a:lnTo>
                      <a:pt x="1193" y="1413"/>
                    </a:lnTo>
                    <a:lnTo>
                      <a:pt x="1191" y="1413"/>
                    </a:lnTo>
                    <a:lnTo>
                      <a:pt x="1191" y="1412"/>
                    </a:lnTo>
                    <a:lnTo>
                      <a:pt x="1191" y="1410"/>
                    </a:lnTo>
                    <a:lnTo>
                      <a:pt x="1191" y="1412"/>
                    </a:lnTo>
                    <a:lnTo>
                      <a:pt x="1191" y="1410"/>
                    </a:lnTo>
                    <a:lnTo>
                      <a:pt x="1193" y="1410"/>
                    </a:lnTo>
                    <a:lnTo>
                      <a:pt x="1193" y="1408"/>
                    </a:lnTo>
                    <a:lnTo>
                      <a:pt x="1195" y="1408"/>
                    </a:lnTo>
                    <a:lnTo>
                      <a:pt x="1195" y="1407"/>
                    </a:lnTo>
                    <a:lnTo>
                      <a:pt x="1193" y="1407"/>
                    </a:lnTo>
                    <a:lnTo>
                      <a:pt x="1195" y="1405"/>
                    </a:lnTo>
                    <a:lnTo>
                      <a:pt x="1193" y="1407"/>
                    </a:lnTo>
                    <a:lnTo>
                      <a:pt x="1193" y="1405"/>
                    </a:lnTo>
                    <a:lnTo>
                      <a:pt x="1193" y="1407"/>
                    </a:lnTo>
                    <a:lnTo>
                      <a:pt x="1191" y="1408"/>
                    </a:lnTo>
                    <a:lnTo>
                      <a:pt x="1193" y="1407"/>
                    </a:lnTo>
                    <a:lnTo>
                      <a:pt x="1191" y="1407"/>
                    </a:lnTo>
                    <a:lnTo>
                      <a:pt x="1191" y="1408"/>
                    </a:lnTo>
                    <a:lnTo>
                      <a:pt x="1191" y="1410"/>
                    </a:lnTo>
                    <a:lnTo>
                      <a:pt x="1190" y="1410"/>
                    </a:lnTo>
                    <a:lnTo>
                      <a:pt x="1190" y="1408"/>
                    </a:lnTo>
                    <a:lnTo>
                      <a:pt x="1188" y="1408"/>
                    </a:lnTo>
                    <a:lnTo>
                      <a:pt x="1190" y="1407"/>
                    </a:lnTo>
                    <a:lnTo>
                      <a:pt x="1188" y="1407"/>
                    </a:lnTo>
                    <a:lnTo>
                      <a:pt x="1188" y="1405"/>
                    </a:lnTo>
                    <a:lnTo>
                      <a:pt x="1188" y="1403"/>
                    </a:lnTo>
                    <a:lnTo>
                      <a:pt x="1190" y="1403"/>
                    </a:lnTo>
                    <a:lnTo>
                      <a:pt x="1190" y="1401"/>
                    </a:lnTo>
                    <a:lnTo>
                      <a:pt x="1191" y="1401"/>
                    </a:lnTo>
                    <a:lnTo>
                      <a:pt x="1193" y="1400"/>
                    </a:lnTo>
                    <a:lnTo>
                      <a:pt x="1195" y="1401"/>
                    </a:lnTo>
                    <a:lnTo>
                      <a:pt x="1196" y="1401"/>
                    </a:lnTo>
                    <a:lnTo>
                      <a:pt x="1198" y="1401"/>
                    </a:lnTo>
                    <a:lnTo>
                      <a:pt x="1198" y="1403"/>
                    </a:lnTo>
                    <a:lnTo>
                      <a:pt x="1198" y="1401"/>
                    </a:lnTo>
                    <a:lnTo>
                      <a:pt x="1200" y="1400"/>
                    </a:lnTo>
                    <a:lnTo>
                      <a:pt x="1202" y="1401"/>
                    </a:lnTo>
                    <a:lnTo>
                      <a:pt x="1202" y="1403"/>
                    </a:lnTo>
                    <a:lnTo>
                      <a:pt x="1200" y="1405"/>
                    </a:lnTo>
                    <a:lnTo>
                      <a:pt x="1202" y="1405"/>
                    </a:lnTo>
                    <a:lnTo>
                      <a:pt x="1203" y="1405"/>
                    </a:lnTo>
                    <a:lnTo>
                      <a:pt x="1205" y="1405"/>
                    </a:lnTo>
                    <a:lnTo>
                      <a:pt x="1207" y="1405"/>
                    </a:lnTo>
                    <a:lnTo>
                      <a:pt x="1207" y="1403"/>
                    </a:lnTo>
                    <a:lnTo>
                      <a:pt x="1205" y="1405"/>
                    </a:lnTo>
                    <a:lnTo>
                      <a:pt x="1203" y="1403"/>
                    </a:lnTo>
                    <a:lnTo>
                      <a:pt x="1203" y="1401"/>
                    </a:lnTo>
                    <a:lnTo>
                      <a:pt x="1202" y="1401"/>
                    </a:lnTo>
                    <a:lnTo>
                      <a:pt x="1202" y="1400"/>
                    </a:lnTo>
                    <a:lnTo>
                      <a:pt x="1200" y="1400"/>
                    </a:lnTo>
                    <a:lnTo>
                      <a:pt x="1200" y="1398"/>
                    </a:lnTo>
                    <a:lnTo>
                      <a:pt x="1202" y="1398"/>
                    </a:lnTo>
                    <a:lnTo>
                      <a:pt x="1202" y="1396"/>
                    </a:lnTo>
                    <a:lnTo>
                      <a:pt x="1203" y="1396"/>
                    </a:lnTo>
                    <a:lnTo>
                      <a:pt x="1203" y="1398"/>
                    </a:lnTo>
                    <a:lnTo>
                      <a:pt x="1205" y="1398"/>
                    </a:lnTo>
                    <a:lnTo>
                      <a:pt x="1203" y="1398"/>
                    </a:lnTo>
                    <a:lnTo>
                      <a:pt x="1203" y="1396"/>
                    </a:lnTo>
                    <a:lnTo>
                      <a:pt x="1203" y="1395"/>
                    </a:lnTo>
                    <a:lnTo>
                      <a:pt x="1203" y="1393"/>
                    </a:lnTo>
                    <a:lnTo>
                      <a:pt x="1203" y="1391"/>
                    </a:lnTo>
                    <a:lnTo>
                      <a:pt x="1203" y="1390"/>
                    </a:lnTo>
                    <a:lnTo>
                      <a:pt x="1205" y="1390"/>
                    </a:lnTo>
                    <a:lnTo>
                      <a:pt x="1207" y="1390"/>
                    </a:lnTo>
                    <a:lnTo>
                      <a:pt x="1208" y="1388"/>
                    </a:lnTo>
                    <a:lnTo>
                      <a:pt x="1210" y="1390"/>
                    </a:lnTo>
                    <a:lnTo>
                      <a:pt x="1212" y="1390"/>
                    </a:lnTo>
                    <a:lnTo>
                      <a:pt x="1213" y="1391"/>
                    </a:lnTo>
                    <a:lnTo>
                      <a:pt x="1213" y="1390"/>
                    </a:lnTo>
                    <a:lnTo>
                      <a:pt x="1212" y="1390"/>
                    </a:lnTo>
                    <a:lnTo>
                      <a:pt x="1210" y="1388"/>
                    </a:lnTo>
                    <a:lnTo>
                      <a:pt x="1212" y="1388"/>
                    </a:lnTo>
                    <a:lnTo>
                      <a:pt x="1210" y="1386"/>
                    </a:lnTo>
                    <a:lnTo>
                      <a:pt x="1210" y="1388"/>
                    </a:lnTo>
                    <a:lnTo>
                      <a:pt x="1210" y="1386"/>
                    </a:lnTo>
                    <a:lnTo>
                      <a:pt x="1208" y="1388"/>
                    </a:lnTo>
                    <a:lnTo>
                      <a:pt x="1208" y="1386"/>
                    </a:lnTo>
                    <a:lnTo>
                      <a:pt x="1207" y="1386"/>
                    </a:lnTo>
                    <a:lnTo>
                      <a:pt x="1207" y="1384"/>
                    </a:lnTo>
                    <a:lnTo>
                      <a:pt x="1205" y="1384"/>
                    </a:lnTo>
                    <a:lnTo>
                      <a:pt x="1205" y="1383"/>
                    </a:lnTo>
                    <a:lnTo>
                      <a:pt x="1205" y="1381"/>
                    </a:lnTo>
                    <a:lnTo>
                      <a:pt x="1207" y="1381"/>
                    </a:lnTo>
                    <a:lnTo>
                      <a:pt x="1208" y="1381"/>
                    </a:lnTo>
                    <a:lnTo>
                      <a:pt x="1210" y="1381"/>
                    </a:lnTo>
                    <a:lnTo>
                      <a:pt x="1210" y="1379"/>
                    </a:lnTo>
                    <a:lnTo>
                      <a:pt x="1210" y="1378"/>
                    </a:lnTo>
                    <a:lnTo>
                      <a:pt x="1212" y="1378"/>
                    </a:lnTo>
                    <a:lnTo>
                      <a:pt x="1210" y="1376"/>
                    </a:lnTo>
                    <a:lnTo>
                      <a:pt x="1212" y="1376"/>
                    </a:lnTo>
                    <a:lnTo>
                      <a:pt x="1212" y="1374"/>
                    </a:lnTo>
                    <a:lnTo>
                      <a:pt x="1210" y="1374"/>
                    </a:lnTo>
                    <a:lnTo>
                      <a:pt x="1210" y="1376"/>
                    </a:lnTo>
                    <a:lnTo>
                      <a:pt x="1210" y="1378"/>
                    </a:lnTo>
                    <a:lnTo>
                      <a:pt x="1208" y="1379"/>
                    </a:lnTo>
                    <a:lnTo>
                      <a:pt x="1208" y="1381"/>
                    </a:lnTo>
                    <a:lnTo>
                      <a:pt x="1208" y="1379"/>
                    </a:lnTo>
                    <a:lnTo>
                      <a:pt x="1207" y="1381"/>
                    </a:lnTo>
                    <a:lnTo>
                      <a:pt x="1205" y="1381"/>
                    </a:lnTo>
                    <a:lnTo>
                      <a:pt x="1203" y="1383"/>
                    </a:lnTo>
                    <a:lnTo>
                      <a:pt x="1203" y="1384"/>
                    </a:lnTo>
                    <a:lnTo>
                      <a:pt x="1203" y="1386"/>
                    </a:lnTo>
                    <a:lnTo>
                      <a:pt x="1203" y="1388"/>
                    </a:lnTo>
                    <a:lnTo>
                      <a:pt x="1203" y="1390"/>
                    </a:lnTo>
                    <a:lnTo>
                      <a:pt x="1202" y="1391"/>
                    </a:lnTo>
                    <a:lnTo>
                      <a:pt x="1202" y="1393"/>
                    </a:lnTo>
                    <a:lnTo>
                      <a:pt x="1203" y="1393"/>
                    </a:lnTo>
                    <a:lnTo>
                      <a:pt x="1202" y="1395"/>
                    </a:lnTo>
                    <a:lnTo>
                      <a:pt x="1202" y="1396"/>
                    </a:lnTo>
                    <a:lnTo>
                      <a:pt x="1200" y="1396"/>
                    </a:lnTo>
                    <a:lnTo>
                      <a:pt x="1200" y="1398"/>
                    </a:lnTo>
                    <a:lnTo>
                      <a:pt x="1198" y="1400"/>
                    </a:lnTo>
                    <a:lnTo>
                      <a:pt x="1196" y="1400"/>
                    </a:lnTo>
                    <a:lnTo>
                      <a:pt x="1196" y="1398"/>
                    </a:lnTo>
                    <a:lnTo>
                      <a:pt x="1195" y="1400"/>
                    </a:lnTo>
                    <a:lnTo>
                      <a:pt x="1195" y="1398"/>
                    </a:lnTo>
                    <a:lnTo>
                      <a:pt x="1193" y="1396"/>
                    </a:lnTo>
                    <a:lnTo>
                      <a:pt x="1193" y="1395"/>
                    </a:lnTo>
                    <a:lnTo>
                      <a:pt x="1191" y="1395"/>
                    </a:lnTo>
                    <a:lnTo>
                      <a:pt x="1193" y="1395"/>
                    </a:lnTo>
                    <a:lnTo>
                      <a:pt x="1193" y="1393"/>
                    </a:lnTo>
                    <a:lnTo>
                      <a:pt x="1195" y="1393"/>
                    </a:lnTo>
                    <a:lnTo>
                      <a:pt x="1195" y="1391"/>
                    </a:lnTo>
                    <a:lnTo>
                      <a:pt x="1193" y="1391"/>
                    </a:lnTo>
                    <a:lnTo>
                      <a:pt x="1191" y="1391"/>
                    </a:lnTo>
                    <a:lnTo>
                      <a:pt x="1193" y="1391"/>
                    </a:lnTo>
                    <a:lnTo>
                      <a:pt x="1191" y="1393"/>
                    </a:lnTo>
                    <a:lnTo>
                      <a:pt x="1193" y="1395"/>
                    </a:lnTo>
                    <a:lnTo>
                      <a:pt x="1191" y="1395"/>
                    </a:lnTo>
                    <a:lnTo>
                      <a:pt x="1193" y="1395"/>
                    </a:lnTo>
                    <a:lnTo>
                      <a:pt x="1191" y="1393"/>
                    </a:lnTo>
                    <a:lnTo>
                      <a:pt x="1191" y="1391"/>
                    </a:lnTo>
                    <a:lnTo>
                      <a:pt x="1191" y="1390"/>
                    </a:lnTo>
                    <a:lnTo>
                      <a:pt x="1190" y="1390"/>
                    </a:lnTo>
                    <a:lnTo>
                      <a:pt x="1190" y="1388"/>
                    </a:lnTo>
                    <a:lnTo>
                      <a:pt x="1188" y="1386"/>
                    </a:lnTo>
                    <a:lnTo>
                      <a:pt x="1188" y="1384"/>
                    </a:lnTo>
                    <a:lnTo>
                      <a:pt x="1190" y="1384"/>
                    </a:lnTo>
                    <a:lnTo>
                      <a:pt x="1191" y="1383"/>
                    </a:lnTo>
                    <a:lnTo>
                      <a:pt x="1191" y="1384"/>
                    </a:lnTo>
                    <a:lnTo>
                      <a:pt x="1193" y="1384"/>
                    </a:lnTo>
                    <a:lnTo>
                      <a:pt x="1193" y="1386"/>
                    </a:lnTo>
                    <a:lnTo>
                      <a:pt x="1193" y="1384"/>
                    </a:lnTo>
                    <a:lnTo>
                      <a:pt x="1191" y="1384"/>
                    </a:lnTo>
                    <a:lnTo>
                      <a:pt x="1191" y="1383"/>
                    </a:lnTo>
                    <a:lnTo>
                      <a:pt x="1190" y="1383"/>
                    </a:lnTo>
                    <a:lnTo>
                      <a:pt x="1191" y="1383"/>
                    </a:lnTo>
                    <a:lnTo>
                      <a:pt x="1190" y="1384"/>
                    </a:lnTo>
                    <a:lnTo>
                      <a:pt x="1188" y="1384"/>
                    </a:lnTo>
                    <a:lnTo>
                      <a:pt x="1188" y="1383"/>
                    </a:lnTo>
                    <a:lnTo>
                      <a:pt x="1186" y="1381"/>
                    </a:lnTo>
                    <a:lnTo>
                      <a:pt x="1186" y="1379"/>
                    </a:lnTo>
                    <a:lnTo>
                      <a:pt x="1188" y="1379"/>
                    </a:lnTo>
                    <a:lnTo>
                      <a:pt x="1190" y="1379"/>
                    </a:lnTo>
                    <a:lnTo>
                      <a:pt x="1191" y="1381"/>
                    </a:lnTo>
                    <a:lnTo>
                      <a:pt x="1190" y="1381"/>
                    </a:lnTo>
                    <a:lnTo>
                      <a:pt x="1191" y="1383"/>
                    </a:lnTo>
                    <a:lnTo>
                      <a:pt x="1191" y="1381"/>
                    </a:lnTo>
                    <a:lnTo>
                      <a:pt x="1193" y="1383"/>
                    </a:lnTo>
                    <a:lnTo>
                      <a:pt x="1193" y="1381"/>
                    </a:lnTo>
                    <a:lnTo>
                      <a:pt x="1191" y="1381"/>
                    </a:lnTo>
                    <a:lnTo>
                      <a:pt x="1191" y="1379"/>
                    </a:lnTo>
                    <a:lnTo>
                      <a:pt x="1191" y="1381"/>
                    </a:lnTo>
                    <a:lnTo>
                      <a:pt x="1191" y="1379"/>
                    </a:lnTo>
                    <a:lnTo>
                      <a:pt x="1191" y="1381"/>
                    </a:lnTo>
                    <a:lnTo>
                      <a:pt x="1193" y="1381"/>
                    </a:lnTo>
                    <a:lnTo>
                      <a:pt x="1195" y="1381"/>
                    </a:lnTo>
                    <a:lnTo>
                      <a:pt x="1195" y="1383"/>
                    </a:lnTo>
                    <a:lnTo>
                      <a:pt x="1196" y="1383"/>
                    </a:lnTo>
                    <a:lnTo>
                      <a:pt x="1196" y="1384"/>
                    </a:lnTo>
                    <a:lnTo>
                      <a:pt x="1196" y="1386"/>
                    </a:lnTo>
                    <a:lnTo>
                      <a:pt x="1196" y="1384"/>
                    </a:lnTo>
                    <a:lnTo>
                      <a:pt x="1196" y="1383"/>
                    </a:lnTo>
                    <a:lnTo>
                      <a:pt x="1198" y="1383"/>
                    </a:lnTo>
                    <a:lnTo>
                      <a:pt x="1200" y="1383"/>
                    </a:lnTo>
                    <a:lnTo>
                      <a:pt x="1200" y="1384"/>
                    </a:lnTo>
                    <a:lnTo>
                      <a:pt x="1202" y="1384"/>
                    </a:lnTo>
                    <a:lnTo>
                      <a:pt x="1200" y="1383"/>
                    </a:lnTo>
                    <a:lnTo>
                      <a:pt x="1198" y="1383"/>
                    </a:lnTo>
                    <a:lnTo>
                      <a:pt x="1196" y="1383"/>
                    </a:lnTo>
                    <a:lnTo>
                      <a:pt x="1196" y="1381"/>
                    </a:lnTo>
                    <a:lnTo>
                      <a:pt x="1195" y="1381"/>
                    </a:lnTo>
                    <a:lnTo>
                      <a:pt x="1196" y="1379"/>
                    </a:lnTo>
                    <a:lnTo>
                      <a:pt x="1195" y="1379"/>
                    </a:lnTo>
                    <a:lnTo>
                      <a:pt x="1195" y="1381"/>
                    </a:lnTo>
                    <a:lnTo>
                      <a:pt x="1195" y="1379"/>
                    </a:lnTo>
                    <a:lnTo>
                      <a:pt x="1193" y="1379"/>
                    </a:lnTo>
                    <a:lnTo>
                      <a:pt x="1191" y="1378"/>
                    </a:lnTo>
                    <a:lnTo>
                      <a:pt x="1191" y="1376"/>
                    </a:lnTo>
                    <a:lnTo>
                      <a:pt x="1193" y="1376"/>
                    </a:lnTo>
                    <a:lnTo>
                      <a:pt x="1195" y="1374"/>
                    </a:lnTo>
                    <a:lnTo>
                      <a:pt x="1196" y="1374"/>
                    </a:lnTo>
                    <a:lnTo>
                      <a:pt x="1198" y="1374"/>
                    </a:lnTo>
                    <a:lnTo>
                      <a:pt x="1196" y="1374"/>
                    </a:lnTo>
                    <a:lnTo>
                      <a:pt x="1195" y="1374"/>
                    </a:lnTo>
                    <a:lnTo>
                      <a:pt x="1193" y="1374"/>
                    </a:lnTo>
                    <a:lnTo>
                      <a:pt x="1193" y="1376"/>
                    </a:lnTo>
                    <a:lnTo>
                      <a:pt x="1191" y="1376"/>
                    </a:lnTo>
                    <a:lnTo>
                      <a:pt x="1190" y="1378"/>
                    </a:lnTo>
                    <a:lnTo>
                      <a:pt x="1190" y="1376"/>
                    </a:lnTo>
                    <a:lnTo>
                      <a:pt x="1188" y="1378"/>
                    </a:lnTo>
                    <a:lnTo>
                      <a:pt x="1190" y="1378"/>
                    </a:lnTo>
                    <a:lnTo>
                      <a:pt x="1188" y="1378"/>
                    </a:lnTo>
                    <a:lnTo>
                      <a:pt x="1186" y="1378"/>
                    </a:lnTo>
                    <a:lnTo>
                      <a:pt x="1188" y="1376"/>
                    </a:lnTo>
                    <a:lnTo>
                      <a:pt x="1186" y="1376"/>
                    </a:lnTo>
                    <a:lnTo>
                      <a:pt x="1186" y="1378"/>
                    </a:lnTo>
                    <a:lnTo>
                      <a:pt x="1185" y="1376"/>
                    </a:lnTo>
                    <a:lnTo>
                      <a:pt x="1186" y="1374"/>
                    </a:lnTo>
                    <a:lnTo>
                      <a:pt x="1186" y="1373"/>
                    </a:lnTo>
                    <a:lnTo>
                      <a:pt x="1188" y="1373"/>
                    </a:lnTo>
                    <a:lnTo>
                      <a:pt x="1188" y="1371"/>
                    </a:lnTo>
                    <a:lnTo>
                      <a:pt x="1186" y="1371"/>
                    </a:lnTo>
                    <a:lnTo>
                      <a:pt x="1188" y="1371"/>
                    </a:lnTo>
                    <a:lnTo>
                      <a:pt x="1186" y="1371"/>
                    </a:lnTo>
                    <a:lnTo>
                      <a:pt x="1188" y="1369"/>
                    </a:lnTo>
                    <a:lnTo>
                      <a:pt x="1186" y="1367"/>
                    </a:lnTo>
                    <a:lnTo>
                      <a:pt x="1186" y="1369"/>
                    </a:lnTo>
                    <a:lnTo>
                      <a:pt x="1186" y="1367"/>
                    </a:lnTo>
                    <a:lnTo>
                      <a:pt x="1186" y="1369"/>
                    </a:lnTo>
                    <a:lnTo>
                      <a:pt x="1186" y="1371"/>
                    </a:lnTo>
                    <a:lnTo>
                      <a:pt x="1185" y="1371"/>
                    </a:lnTo>
                    <a:lnTo>
                      <a:pt x="1185" y="1373"/>
                    </a:lnTo>
                    <a:lnTo>
                      <a:pt x="1185" y="1374"/>
                    </a:lnTo>
                    <a:lnTo>
                      <a:pt x="1183" y="1374"/>
                    </a:lnTo>
                    <a:lnTo>
                      <a:pt x="1185" y="1374"/>
                    </a:lnTo>
                    <a:lnTo>
                      <a:pt x="1185" y="1376"/>
                    </a:lnTo>
                    <a:lnTo>
                      <a:pt x="1183" y="1374"/>
                    </a:lnTo>
                    <a:lnTo>
                      <a:pt x="1181" y="1374"/>
                    </a:lnTo>
                    <a:lnTo>
                      <a:pt x="1179" y="1373"/>
                    </a:lnTo>
                    <a:lnTo>
                      <a:pt x="1181" y="1373"/>
                    </a:lnTo>
                    <a:lnTo>
                      <a:pt x="1181" y="1371"/>
                    </a:lnTo>
                    <a:lnTo>
                      <a:pt x="1181" y="1373"/>
                    </a:lnTo>
                    <a:lnTo>
                      <a:pt x="1179" y="1373"/>
                    </a:lnTo>
                    <a:lnTo>
                      <a:pt x="1179" y="1371"/>
                    </a:lnTo>
                    <a:lnTo>
                      <a:pt x="1178" y="1371"/>
                    </a:lnTo>
                    <a:lnTo>
                      <a:pt x="1178" y="1369"/>
                    </a:lnTo>
                    <a:lnTo>
                      <a:pt x="1179" y="1369"/>
                    </a:lnTo>
                    <a:lnTo>
                      <a:pt x="1181" y="1369"/>
                    </a:lnTo>
                    <a:lnTo>
                      <a:pt x="1179" y="1369"/>
                    </a:lnTo>
                    <a:lnTo>
                      <a:pt x="1178" y="1369"/>
                    </a:lnTo>
                    <a:lnTo>
                      <a:pt x="1178" y="1367"/>
                    </a:lnTo>
                    <a:lnTo>
                      <a:pt x="1178" y="1366"/>
                    </a:lnTo>
                    <a:lnTo>
                      <a:pt x="1178" y="1367"/>
                    </a:lnTo>
                    <a:lnTo>
                      <a:pt x="1176" y="1367"/>
                    </a:lnTo>
                    <a:lnTo>
                      <a:pt x="1174" y="1367"/>
                    </a:lnTo>
                    <a:lnTo>
                      <a:pt x="1176" y="1366"/>
                    </a:lnTo>
                    <a:lnTo>
                      <a:pt x="1176" y="1364"/>
                    </a:lnTo>
                    <a:lnTo>
                      <a:pt x="1178" y="1364"/>
                    </a:lnTo>
                    <a:lnTo>
                      <a:pt x="1176" y="1364"/>
                    </a:lnTo>
                    <a:lnTo>
                      <a:pt x="1176" y="1366"/>
                    </a:lnTo>
                    <a:lnTo>
                      <a:pt x="1174" y="1366"/>
                    </a:lnTo>
                    <a:lnTo>
                      <a:pt x="1173" y="1366"/>
                    </a:lnTo>
                    <a:lnTo>
                      <a:pt x="1173" y="1364"/>
                    </a:lnTo>
                    <a:lnTo>
                      <a:pt x="1173" y="1362"/>
                    </a:lnTo>
                    <a:lnTo>
                      <a:pt x="1174" y="1362"/>
                    </a:lnTo>
                    <a:lnTo>
                      <a:pt x="1174" y="1361"/>
                    </a:lnTo>
                    <a:lnTo>
                      <a:pt x="1176" y="1361"/>
                    </a:lnTo>
                    <a:lnTo>
                      <a:pt x="1178" y="1359"/>
                    </a:lnTo>
                    <a:lnTo>
                      <a:pt x="1179" y="1361"/>
                    </a:lnTo>
                    <a:lnTo>
                      <a:pt x="1178" y="1362"/>
                    </a:lnTo>
                    <a:lnTo>
                      <a:pt x="1179" y="1362"/>
                    </a:lnTo>
                    <a:lnTo>
                      <a:pt x="1179" y="1361"/>
                    </a:lnTo>
                    <a:lnTo>
                      <a:pt x="1178" y="1359"/>
                    </a:lnTo>
                    <a:lnTo>
                      <a:pt x="1179" y="1359"/>
                    </a:lnTo>
                    <a:lnTo>
                      <a:pt x="1178" y="1359"/>
                    </a:lnTo>
                    <a:lnTo>
                      <a:pt x="1179" y="1359"/>
                    </a:lnTo>
                    <a:lnTo>
                      <a:pt x="1181" y="1359"/>
                    </a:lnTo>
                    <a:lnTo>
                      <a:pt x="1181" y="1361"/>
                    </a:lnTo>
                    <a:lnTo>
                      <a:pt x="1181" y="1359"/>
                    </a:lnTo>
                    <a:lnTo>
                      <a:pt x="1183" y="1359"/>
                    </a:lnTo>
                    <a:lnTo>
                      <a:pt x="1183" y="1361"/>
                    </a:lnTo>
                    <a:lnTo>
                      <a:pt x="1183" y="1359"/>
                    </a:lnTo>
                    <a:lnTo>
                      <a:pt x="1181" y="1359"/>
                    </a:lnTo>
                    <a:lnTo>
                      <a:pt x="1179" y="1357"/>
                    </a:lnTo>
                    <a:lnTo>
                      <a:pt x="1179" y="1359"/>
                    </a:lnTo>
                    <a:lnTo>
                      <a:pt x="1178" y="1359"/>
                    </a:lnTo>
                    <a:lnTo>
                      <a:pt x="1176" y="1359"/>
                    </a:lnTo>
                    <a:lnTo>
                      <a:pt x="1176" y="1361"/>
                    </a:lnTo>
                    <a:lnTo>
                      <a:pt x="1176" y="1359"/>
                    </a:lnTo>
                    <a:lnTo>
                      <a:pt x="1178" y="1359"/>
                    </a:lnTo>
                    <a:lnTo>
                      <a:pt x="1178" y="1357"/>
                    </a:lnTo>
                    <a:lnTo>
                      <a:pt x="1179" y="1357"/>
                    </a:lnTo>
                    <a:lnTo>
                      <a:pt x="1181" y="1356"/>
                    </a:lnTo>
                    <a:lnTo>
                      <a:pt x="1183" y="1357"/>
                    </a:lnTo>
                    <a:lnTo>
                      <a:pt x="1185" y="1357"/>
                    </a:lnTo>
                    <a:lnTo>
                      <a:pt x="1185" y="1359"/>
                    </a:lnTo>
                    <a:lnTo>
                      <a:pt x="1183" y="1359"/>
                    </a:lnTo>
                    <a:lnTo>
                      <a:pt x="1185" y="1359"/>
                    </a:lnTo>
                    <a:lnTo>
                      <a:pt x="1185" y="1361"/>
                    </a:lnTo>
                    <a:lnTo>
                      <a:pt x="1185" y="1359"/>
                    </a:lnTo>
                    <a:lnTo>
                      <a:pt x="1186" y="1359"/>
                    </a:lnTo>
                    <a:lnTo>
                      <a:pt x="1186" y="1361"/>
                    </a:lnTo>
                    <a:lnTo>
                      <a:pt x="1188" y="1361"/>
                    </a:lnTo>
                    <a:lnTo>
                      <a:pt x="1188" y="1362"/>
                    </a:lnTo>
                    <a:lnTo>
                      <a:pt x="1186" y="1362"/>
                    </a:lnTo>
                    <a:lnTo>
                      <a:pt x="1186" y="1364"/>
                    </a:lnTo>
                    <a:lnTo>
                      <a:pt x="1185" y="1364"/>
                    </a:lnTo>
                    <a:lnTo>
                      <a:pt x="1186" y="1364"/>
                    </a:lnTo>
                    <a:lnTo>
                      <a:pt x="1188" y="1362"/>
                    </a:lnTo>
                    <a:lnTo>
                      <a:pt x="1188" y="1364"/>
                    </a:lnTo>
                    <a:lnTo>
                      <a:pt x="1188" y="1366"/>
                    </a:lnTo>
                    <a:lnTo>
                      <a:pt x="1190" y="1366"/>
                    </a:lnTo>
                    <a:lnTo>
                      <a:pt x="1190" y="1367"/>
                    </a:lnTo>
                    <a:lnTo>
                      <a:pt x="1191" y="1369"/>
                    </a:lnTo>
                    <a:lnTo>
                      <a:pt x="1191" y="1367"/>
                    </a:lnTo>
                    <a:lnTo>
                      <a:pt x="1193" y="1366"/>
                    </a:lnTo>
                    <a:lnTo>
                      <a:pt x="1193" y="1367"/>
                    </a:lnTo>
                    <a:lnTo>
                      <a:pt x="1193" y="1366"/>
                    </a:lnTo>
                    <a:lnTo>
                      <a:pt x="1195" y="1367"/>
                    </a:lnTo>
                    <a:lnTo>
                      <a:pt x="1196" y="1367"/>
                    </a:lnTo>
                    <a:lnTo>
                      <a:pt x="1196" y="1369"/>
                    </a:lnTo>
                    <a:lnTo>
                      <a:pt x="1198" y="1369"/>
                    </a:lnTo>
                    <a:lnTo>
                      <a:pt x="1196" y="1367"/>
                    </a:lnTo>
                    <a:lnTo>
                      <a:pt x="1195" y="1367"/>
                    </a:lnTo>
                    <a:lnTo>
                      <a:pt x="1195" y="1366"/>
                    </a:lnTo>
                    <a:lnTo>
                      <a:pt x="1196" y="1366"/>
                    </a:lnTo>
                    <a:lnTo>
                      <a:pt x="1195" y="1366"/>
                    </a:lnTo>
                    <a:lnTo>
                      <a:pt x="1195" y="1364"/>
                    </a:lnTo>
                    <a:lnTo>
                      <a:pt x="1193" y="1364"/>
                    </a:lnTo>
                    <a:lnTo>
                      <a:pt x="1193" y="1366"/>
                    </a:lnTo>
                    <a:lnTo>
                      <a:pt x="1191" y="1366"/>
                    </a:lnTo>
                    <a:lnTo>
                      <a:pt x="1191" y="1364"/>
                    </a:lnTo>
                    <a:lnTo>
                      <a:pt x="1190" y="1364"/>
                    </a:lnTo>
                    <a:lnTo>
                      <a:pt x="1190" y="1362"/>
                    </a:lnTo>
                    <a:lnTo>
                      <a:pt x="1190" y="1361"/>
                    </a:lnTo>
                    <a:lnTo>
                      <a:pt x="1188" y="1361"/>
                    </a:lnTo>
                    <a:lnTo>
                      <a:pt x="1188" y="1359"/>
                    </a:lnTo>
                    <a:lnTo>
                      <a:pt x="1186" y="1359"/>
                    </a:lnTo>
                    <a:lnTo>
                      <a:pt x="1186" y="1357"/>
                    </a:lnTo>
                    <a:lnTo>
                      <a:pt x="1186" y="1356"/>
                    </a:lnTo>
                    <a:lnTo>
                      <a:pt x="1185" y="1356"/>
                    </a:lnTo>
                    <a:lnTo>
                      <a:pt x="1185" y="1354"/>
                    </a:lnTo>
                    <a:lnTo>
                      <a:pt x="1185" y="1352"/>
                    </a:lnTo>
                    <a:lnTo>
                      <a:pt x="1186" y="1350"/>
                    </a:lnTo>
                    <a:lnTo>
                      <a:pt x="1186" y="1352"/>
                    </a:lnTo>
                    <a:lnTo>
                      <a:pt x="1186" y="1354"/>
                    </a:lnTo>
                    <a:lnTo>
                      <a:pt x="1186" y="1352"/>
                    </a:lnTo>
                    <a:lnTo>
                      <a:pt x="1188" y="1352"/>
                    </a:lnTo>
                    <a:lnTo>
                      <a:pt x="1190" y="1352"/>
                    </a:lnTo>
                    <a:lnTo>
                      <a:pt x="1190" y="1354"/>
                    </a:lnTo>
                    <a:lnTo>
                      <a:pt x="1191" y="1354"/>
                    </a:lnTo>
                    <a:lnTo>
                      <a:pt x="1193" y="1356"/>
                    </a:lnTo>
                    <a:lnTo>
                      <a:pt x="1193" y="1354"/>
                    </a:lnTo>
                    <a:lnTo>
                      <a:pt x="1195" y="1356"/>
                    </a:lnTo>
                    <a:lnTo>
                      <a:pt x="1195" y="1357"/>
                    </a:lnTo>
                    <a:lnTo>
                      <a:pt x="1195" y="1356"/>
                    </a:lnTo>
                    <a:lnTo>
                      <a:pt x="1195" y="1357"/>
                    </a:lnTo>
                    <a:lnTo>
                      <a:pt x="1196" y="1356"/>
                    </a:lnTo>
                    <a:lnTo>
                      <a:pt x="1196" y="1354"/>
                    </a:lnTo>
                    <a:lnTo>
                      <a:pt x="1196" y="1352"/>
                    </a:lnTo>
                    <a:lnTo>
                      <a:pt x="1198" y="1352"/>
                    </a:lnTo>
                    <a:lnTo>
                      <a:pt x="1198" y="1350"/>
                    </a:lnTo>
                    <a:lnTo>
                      <a:pt x="1200" y="1350"/>
                    </a:lnTo>
                    <a:lnTo>
                      <a:pt x="1202" y="1350"/>
                    </a:lnTo>
                    <a:lnTo>
                      <a:pt x="1200" y="1350"/>
                    </a:lnTo>
                    <a:lnTo>
                      <a:pt x="1200" y="1349"/>
                    </a:lnTo>
                    <a:lnTo>
                      <a:pt x="1200" y="1347"/>
                    </a:lnTo>
                    <a:lnTo>
                      <a:pt x="1202" y="1347"/>
                    </a:lnTo>
                    <a:lnTo>
                      <a:pt x="1202" y="1345"/>
                    </a:lnTo>
                    <a:lnTo>
                      <a:pt x="1203" y="1345"/>
                    </a:lnTo>
                    <a:lnTo>
                      <a:pt x="1202" y="1345"/>
                    </a:lnTo>
                    <a:lnTo>
                      <a:pt x="1202" y="1347"/>
                    </a:lnTo>
                    <a:lnTo>
                      <a:pt x="1200" y="1347"/>
                    </a:lnTo>
                    <a:lnTo>
                      <a:pt x="1200" y="1349"/>
                    </a:lnTo>
                    <a:lnTo>
                      <a:pt x="1200" y="1350"/>
                    </a:lnTo>
                    <a:lnTo>
                      <a:pt x="1198" y="1350"/>
                    </a:lnTo>
                    <a:lnTo>
                      <a:pt x="1196" y="1350"/>
                    </a:lnTo>
                    <a:lnTo>
                      <a:pt x="1196" y="1352"/>
                    </a:lnTo>
                    <a:lnTo>
                      <a:pt x="1195" y="1354"/>
                    </a:lnTo>
                    <a:lnTo>
                      <a:pt x="1193" y="1352"/>
                    </a:lnTo>
                    <a:lnTo>
                      <a:pt x="1191" y="1350"/>
                    </a:lnTo>
                    <a:lnTo>
                      <a:pt x="1191" y="1349"/>
                    </a:lnTo>
                    <a:lnTo>
                      <a:pt x="1190" y="1350"/>
                    </a:lnTo>
                    <a:lnTo>
                      <a:pt x="1190" y="1349"/>
                    </a:lnTo>
                    <a:lnTo>
                      <a:pt x="1190" y="1350"/>
                    </a:lnTo>
                    <a:lnTo>
                      <a:pt x="1188" y="1350"/>
                    </a:lnTo>
                    <a:lnTo>
                      <a:pt x="1190" y="1350"/>
                    </a:lnTo>
                    <a:lnTo>
                      <a:pt x="1188" y="1349"/>
                    </a:lnTo>
                    <a:lnTo>
                      <a:pt x="1186" y="1350"/>
                    </a:lnTo>
                    <a:lnTo>
                      <a:pt x="1186" y="1349"/>
                    </a:lnTo>
                    <a:lnTo>
                      <a:pt x="1185" y="1349"/>
                    </a:lnTo>
                    <a:lnTo>
                      <a:pt x="1186" y="1347"/>
                    </a:lnTo>
                    <a:lnTo>
                      <a:pt x="1185" y="1347"/>
                    </a:lnTo>
                    <a:lnTo>
                      <a:pt x="1185" y="1345"/>
                    </a:lnTo>
                    <a:lnTo>
                      <a:pt x="1185" y="1344"/>
                    </a:lnTo>
                    <a:lnTo>
                      <a:pt x="1186" y="1344"/>
                    </a:lnTo>
                    <a:lnTo>
                      <a:pt x="1188" y="1344"/>
                    </a:lnTo>
                    <a:lnTo>
                      <a:pt x="1188" y="1342"/>
                    </a:lnTo>
                    <a:lnTo>
                      <a:pt x="1190" y="1342"/>
                    </a:lnTo>
                    <a:lnTo>
                      <a:pt x="1191" y="1342"/>
                    </a:lnTo>
                    <a:lnTo>
                      <a:pt x="1193" y="1342"/>
                    </a:lnTo>
                    <a:lnTo>
                      <a:pt x="1195" y="1340"/>
                    </a:lnTo>
                    <a:lnTo>
                      <a:pt x="1195" y="1342"/>
                    </a:lnTo>
                    <a:lnTo>
                      <a:pt x="1195" y="1340"/>
                    </a:lnTo>
                    <a:lnTo>
                      <a:pt x="1193" y="1340"/>
                    </a:lnTo>
                    <a:lnTo>
                      <a:pt x="1191" y="1340"/>
                    </a:lnTo>
                    <a:lnTo>
                      <a:pt x="1190" y="1340"/>
                    </a:lnTo>
                    <a:lnTo>
                      <a:pt x="1188" y="1340"/>
                    </a:lnTo>
                    <a:lnTo>
                      <a:pt x="1188" y="1342"/>
                    </a:lnTo>
                    <a:lnTo>
                      <a:pt x="1186" y="1342"/>
                    </a:lnTo>
                    <a:lnTo>
                      <a:pt x="1186" y="1340"/>
                    </a:lnTo>
                    <a:lnTo>
                      <a:pt x="1186" y="1339"/>
                    </a:lnTo>
                    <a:lnTo>
                      <a:pt x="1186" y="1337"/>
                    </a:lnTo>
                    <a:lnTo>
                      <a:pt x="1186" y="1335"/>
                    </a:lnTo>
                    <a:lnTo>
                      <a:pt x="1188" y="1333"/>
                    </a:lnTo>
                    <a:lnTo>
                      <a:pt x="1188" y="1335"/>
                    </a:lnTo>
                    <a:lnTo>
                      <a:pt x="1188" y="1333"/>
                    </a:lnTo>
                    <a:lnTo>
                      <a:pt x="1190" y="1332"/>
                    </a:lnTo>
                    <a:lnTo>
                      <a:pt x="1191" y="1332"/>
                    </a:lnTo>
                    <a:lnTo>
                      <a:pt x="1191" y="1333"/>
                    </a:lnTo>
                    <a:lnTo>
                      <a:pt x="1191" y="1332"/>
                    </a:lnTo>
                    <a:lnTo>
                      <a:pt x="1193" y="1332"/>
                    </a:lnTo>
                    <a:lnTo>
                      <a:pt x="1193" y="1330"/>
                    </a:lnTo>
                    <a:lnTo>
                      <a:pt x="1195" y="1330"/>
                    </a:lnTo>
                    <a:lnTo>
                      <a:pt x="1196" y="1332"/>
                    </a:lnTo>
                    <a:lnTo>
                      <a:pt x="1196" y="1333"/>
                    </a:lnTo>
                    <a:lnTo>
                      <a:pt x="1196" y="1335"/>
                    </a:lnTo>
                    <a:lnTo>
                      <a:pt x="1195" y="1335"/>
                    </a:lnTo>
                    <a:lnTo>
                      <a:pt x="1195" y="1337"/>
                    </a:lnTo>
                    <a:lnTo>
                      <a:pt x="1196" y="1335"/>
                    </a:lnTo>
                    <a:lnTo>
                      <a:pt x="1196" y="1333"/>
                    </a:lnTo>
                    <a:lnTo>
                      <a:pt x="1198" y="1332"/>
                    </a:lnTo>
                    <a:lnTo>
                      <a:pt x="1200" y="1332"/>
                    </a:lnTo>
                    <a:lnTo>
                      <a:pt x="1200" y="1333"/>
                    </a:lnTo>
                    <a:lnTo>
                      <a:pt x="1200" y="1335"/>
                    </a:lnTo>
                    <a:lnTo>
                      <a:pt x="1202" y="1335"/>
                    </a:lnTo>
                    <a:lnTo>
                      <a:pt x="1202" y="1337"/>
                    </a:lnTo>
                    <a:lnTo>
                      <a:pt x="1203" y="1337"/>
                    </a:lnTo>
                    <a:lnTo>
                      <a:pt x="1203" y="1339"/>
                    </a:lnTo>
                    <a:lnTo>
                      <a:pt x="1203" y="1340"/>
                    </a:lnTo>
                    <a:lnTo>
                      <a:pt x="1203" y="1339"/>
                    </a:lnTo>
                    <a:lnTo>
                      <a:pt x="1205" y="1339"/>
                    </a:lnTo>
                    <a:lnTo>
                      <a:pt x="1203" y="1339"/>
                    </a:lnTo>
                    <a:lnTo>
                      <a:pt x="1203" y="1337"/>
                    </a:lnTo>
                    <a:lnTo>
                      <a:pt x="1205" y="1337"/>
                    </a:lnTo>
                    <a:lnTo>
                      <a:pt x="1205" y="1339"/>
                    </a:lnTo>
                    <a:lnTo>
                      <a:pt x="1205" y="1340"/>
                    </a:lnTo>
                    <a:lnTo>
                      <a:pt x="1207" y="1340"/>
                    </a:lnTo>
                    <a:lnTo>
                      <a:pt x="1207" y="1342"/>
                    </a:lnTo>
                    <a:lnTo>
                      <a:pt x="1207" y="1340"/>
                    </a:lnTo>
                    <a:lnTo>
                      <a:pt x="1208" y="1340"/>
                    </a:lnTo>
                    <a:lnTo>
                      <a:pt x="1207" y="1340"/>
                    </a:lnTo>
                    <a:lnTo>
                      <a:pt x="1207" y="1339"/>
                    </a:lnTo>
                    <a:lnTo>
                      <a:pt x="1205" y="1339"/>
                    </a:lnTo>
                    <a:lnTo>
                      <a:pt x="1205" y="1337"/>
                    </a:lnTo>
                    <a:lnTo>
                      <a:pt x="1203" y="1335"/>
                    </a:lnTo>
                    <a:lnTo>
                      <a:pt x="1202" y="1335"/>
                    </a:lnTo>
                    <a:lnTo>
                      <a:pt x="1202" y="1333"/>
                    </a:lnTo>
                    <a:lnTo>
                      <a:pt x="1202" y="1332"/>
                    </a:lnTo>
                    <a:lnTo>
                      <a:pt x="1202" y="1330"/>
                    </a:lnTo>
                    <a:lnTo>
                      <a:pt x="1200" y="1330"/>
                    </a:lnTo>
                    <a:lnTo>
                      <a:pt x="1198" y="1330"/>
                    </a:lnTo>
                    <a:lnTo>
                      <a:pt x="1196" y="1330"/>
                    </a:lnTo>
                    <a:lnTo>
                      <a:pt x="1195" y="1328"/>
                    </a:lnTo>
                    <a:lnTo>
                      <a:pt x="1195" y="1330"/>
                    </a:lnTo>
                    <a:lnTo>
                      <a:pt x="1193" y="1328"/>
                    </a:lnTo>
                    <a:lnTo>
                      <a:pt x="1193" y="1327"/>
                    </a:lnTo>
                    <a:lnTo>
                      <a:pt x="1195" y="1327"/>
                    </a:lnTo>
                    <a:lnTo>
                      <a:pt x="1195" y="1325"/>
                    </a:lnTo>
                    <a:lnTo>
                      <a:pt x="1193" y="1325"/>
                    </a:lnTo>
                    <a:lnTo>
                      <a:pt x="1193" y="1323"/>
                    </a:lnTo>
                    <a:lnTo>
                      <a:pt x="1195" y="1323"/>
                    </a:lnTo>
                    <a:lnTo>
                      <a:pt x="1195" y="1322"/>
                    </a:lnTo>
                    <a:lnTo>
                      <a:pt x="1195" y="1320"/>
                    </a:lnTo>
                    <a:lnTo>
                      <a:pt x="1195" y="1318"/>
                    </a:lnTo>
                    <a:lnTo>
                      <a:pt x="1195" y="1316"/>
                    </a:lnTo>
                    <a:lnTo>
                      <a:pt x="1196" y="1316"/>
                    </a:lnTo>
                    <a:lnTo>
                      <a:pt x="1198" y="1316"/>
                    </a:lnTo>
                    <a:lnTo>
                      <a:pt x="1198" y="1318"/>
                    </a:lnTo>
                    <a:lnTo>
                      <a:pt x="1198" y="1320"/>
                    </a:lnTo>
                    <a:lnTo>
                      <a:pt x="1200" y="1320"/>
                    </a:lnTo>
                    <a:lnTo>
                      <a:pt x="1202" y="1320"/>
                    </a:lnTo>
                    <a:lnTo>
                      <a:pt x="1203" y="1320"/>
                    </a:lnTo>
                    <a:lnTo>
                      <a:pt x="1203" y="1322"/>
                    </a:lnTo>
                    <a:lnTo>
                      <a:pt x="1203" y="1323"/>
                    </a:lnTo>
                    <a:lnTo>
                      <a:pt x="1205" y="1323"/>
                    </a:lnTo>
                    <a:lnTo>
                      <a:pt x="1203" y="1323"/>
                    </a:lnTo>
                    <a:lnTo>
                      <a:pt x="1203" y="1322"/>
                    </a:lnTo>
                    <a:lnTo>
                      <a:pt x="1203" y="1320"/>
                    </a:lnTo>
                    <a:lnTo>
                      <a:pt x="1203" y="1322"/>
                    </a:lnTo>
                    <a:lnTo>
                      <a:pt x="1203" y="1320"/>
                    </a:lnTo>
                    <a:lnTo>
                      <a:pt x="1202" y="1320"/>
                    </a:lnTo>
                    <a:lnTo>
                      <a:pt x="1200" y="1320"/>
                    </a:lnTo>
                    <a:lnTo>
                      <a:pt x="1200" y="1318"/>
                    </a:lnTo>
                    <a:lnTo>
                      <a:pt x="1200" y="1316"/>
                    </a:lnTo>
                    <a:lnTo>
                      <a:pt x="1198" y="1316"/>
                    </a:lnTo>
                    <a:lnTo>
                      <a:pt x="1200" y="1318"/>
                    </a:lnTo>
                    <a:lnTo>
                      <a:pt x="1198" y="1318"/>
                    </a:lnTo>
                    <a:lnTo>
                      <a:pt x="1198" y="1316"/>
                    </a:lnTo>
                    <a:lnTo>
                      <a:pt x="1198" y="1315"/>
                    </a:lnTo>
                    <a:lnTo>
                      <a:pt x="1196" y="1315"/>
                    </a:lnTo>
                    <a:lnTo>
                      <a:pt x="1196" y="1313"/>
                    </a:lnTo>
                    <a:lnTo>
                      <a:pt x="1195" y="1313"/>
                    </a:lnTo>
                    <a:lnTo>
                      <a:pt x="1195" y="1315"/>
                    </a:lnTo>
                    <a:lnTo>
                      <a:pt x="1193" y="1315"/>
                    </a:lnTo>
                    <a:lnTo>
                      <a:pt x="1193" y="1313"/>
                    </a:lnTo>
                    <a:lnTo>
                      <a:pt x="1191" y="1313"/>
                    </a:lnTo>
                    <a:lnTo>
                      <a:pt x="1193" y="1315"/>
                    </a:lnTo>
                    <a:lnTo>
                      <a:pt x="1193" y="1316"/>
                    </a:lnTo>
                    <a:lnTo>
                      <a:pt x="1193" y="1318"/>
                    </a:lnTo>
                    <a:lnTo>
                      <a:pt x="1193" y="1320"/>
                    </a:lnTo>
                    <a:lnTo>
                      <a:pt x="1193" y="1322"/>
                    </a:lnTo>
                    <a:lnTo>
                      <a:pt x="1191" y="1322"/>
                    </a:lnTo>
                    <a:lnTo>
                      <a:pt x="1191" y="1323"/>
                    </a:lnTo>
                    <a:lnTo>
                      <a:pt x="1191" y="1325"/>
                    </a:lnTo>
                    <a:lnTo>
                      <a:pt x="1191" y="1327"/>
                    </a:lnTo>
                    <a:lnTo>
                      <a:pt x="1191" y="1328"/>
                    </a:lnTo>
                    <a:lnTo>
                      <a:pt x="1191" y="1330"/>
                    </a:lnTo>
                    <a:lnTo>
                      <a:pt x="1190" y="1330"/>
                    </a:lnTo>
                    <a:lnTo>
                      <a:pt x="1188" y="1330"/>
                    </a:lnTo>
                    <a:lnTo>
                      <a:pt x="1188" y="1328"/>
                    </a:lnTo>
                    <a:lnTo>
                      <a:pt x="1186" y="1327"/>
                    </a:lnTo>
                    <a:lnTo>
                      <a:pt x="1186" y="1325"/>
                    </a:lnTo>
                    <a:lnTo>
                      <a:pt x="1186" y="1323"/>
                    </a:lnTo>
                    <a:lnTo>
                      <a:pt x="1186" y="1325"/>
                    </a:lnTo>
                    <a:lnTo>
                      <a:pt x="1185" y="1325"/>
                    </a:lnTo>
                    <a:lnTo>
                      <a:pt x="1185" y="1323"/>
                    </a:lnTo>
                    <a:lnTo>
                      <a:pt x="1183" y="1323"/>
                    </a:lnTo>
                    <a:lnTo>
                      <a:pt x="1183" y="1322"/>
                    </a:lnTo>
                    <a:lnTo>
                      <a:pt x="1183" y="1323"/>
                    </a:lnTo>
                    <a:lnTo>
                      <a:pt x="1183" y="1322"/>
                    </a:lnTo>
                    <a:lnTo>
                      <a:pt x="1183" y="1320"/>
                    </a:lnTo>
                    <a:lnTo>
                      <a:pt x="1185" y="1320"/>
                    </a:lnTo>
                    <a:lnTo>
                      <a:pt x="1185" y="1318"/>
                    </a:lnTo>
                    <a:lnTo>
                      <a:pt x="1185" y="1316"/>
                    </a:lnTo>
                    <a:lnTo>
                      <a:pt x="1185" y="1315"/>
                    </a:lnTo>
                    <a:lnTo>
                      <a:pt x="1185" y="1313"/>
                    </a:lnTo>
                    <a:lnTo>
                      <a:pt x="1185" y="1311"/>
                    </a:lnTo>
                    <a:lnTo>
                      <a:pt x="1186" y="1311"/>
                    </a:lnTo>
                    <a:lnTo>
                      <a:pt x="1185" y="1311"/>
                    </a:lnTo>
                    <a:lnTo>
                      <a:pt x="1185" y="1310"/>
                    </a:lnTo>
                    <a:lnTo>
                      <a:pt x="1185" y="1308"/>
                    </a:lnTo>
                    <a:lnTo>
                      <a:pt x="1185" y="1306"/>
                    </a:lnTo>
                    <a:lnTo>
                      <a:pt x="1185" y="1305"/>
                    </a:lnTo>
                    <a:lnTo>
                      <a:pt x="1183" y="1306"/>
                    </a:lnTo>
                    <a:lnTo>
                      <a:pt x="1183" y="1308"/>
                    </a:lnTo>
                    <a:lnTo>
                      <a:pt x="1183" y="1306"/>
                    </a:lnTo>
                    <a:lnTo>
                      <a:pt x="1183" y="1305"/>
                    </a:lnTo>
                    <a:lnTo>
                      <a:pt x="1181" y="1303"/>
                    </a:lnTo>
                    <a:lnTo>
                      <a:pt x="1183" y="1303"/>
                    </a:lnTo>
                    <a:lnTo>
                      <a:pt x="1183" y="1301"/>
                    </a:lnTo>
                    <a:lnTo>
                      <a:pt x="1183" y="1303"/>
                    </a:lnTo>
                    <a:lnTo>
                      <a:pt x="1185" y="1301"/>
                    </a:lnTo>
                    <a:lnTo>
                      <a:pt x="1185" y="1299"/>
                    </a:lnTo>
                    <a:lnTo>
                      <a:pt x="1183" y="1299"/>
                    </a:lnTo>
                    <a:lnTo>
                      <a:pt x="1183" y="1298"/>
                    </a:lnTo>
                    <a:lnTo>
                      <a:pt x="1185" y="1299"/>
                    </a:lnTo>
                    <a:lnTo>
                      <a:pt x="1185" y="1298"/>
                    </a:lnTo>
                    <a:lnTo>
                      <a:pt x="1186" y="1299"/>
                    </a:lnTo>
                    <a:lnTo>
                      <a:pt x="1185" y="1298"/>
                    </a:lnTo>
                    <a:lnTo>
                      <a:pt x="1183" y="1298"/>
                    </a:lnTo>
                    <a:lnTo>
                      <a:pt x="1183" y="1296"/>
                    </a:lnTo>
                    <a:lnTo>
                      <a:pt x="1185" y="1296"/>
                    </a:lnTo>
                    <a:lnTo>
                      <a:pt x="1183" y="1296"/>
                    </a:lnTo>
                    <a:lnTo>
                      <a:pt x="1183" y="1294"/>
                    </a:lnTo>
                    <a:lnTo>
                      <a:pt x="1183" y="1293"/>
                    </a:lnTo>
                    <a:lnTo>
                      <a:pt x="1183" y="1291"/>
                    </a:lnTo>
                    <a:lnTo>
                      <a:pt x="1185" y="1291"/>
                    </a:lnTo>
                    <a:lnTo>
                      <a:pt x="1185" y="1289"/>
                    </a:lnTo>
                    <a:lnTo>
                      <a:pt x="1185" y="1288"/>
                    </a:lnTo>
                    <a:lnTo>
                      <a:pt x="1186" y="1288"/>
                    </a:lnTo>
                    <a:lnTo>
                      <a:pt x="1186" y="1289"/>
                    </a:lnTo>
                    <a:lnTo>
                      <a:pt x="1186" y="1288"/>
                    </a:lnTo>
                    <a:lnTo>
                      <a:pt x="1186" y="1289"/>
                    </a:lnTo>
                    <a:lnTo>
                      <a:pt x="1188" y="1289"/>
                    </a:lnTo>
                    <a:lnTo>
                      <a:pt x="1190" y="1289"/>
                    </a:lnTo>
                    <a:lnTo>
                      <a:pt x="1190" y="1288"/>
                    </a:lnTo>
                    <a:lnTo>
                      <a:pt x="1191" y="1288"/>
                    </a:lnTo>
                    <a:lnTo>
                      <a:pt x="1193" y="1288"/>
                    </a:lnTo>
                    <a:lnTo>
                      <a:pt x="1195" y="1289"/>
                    </a:lnTo>
                    <a:lnTo>
                      <a:pt x="1196" y="1288"/>
                    </a:lnTo>
                    <a:lnTo>
                      <a:pt x="1196" y="1289"/>
                    </a:lnTo>
                    <a:lnTo>
                      <a:pt x="1198" y="1288"/>
                    </a:lnTo>
                    <a:lnTo>
                      <a:pt x="1196" y="1288"/>
                    </a:lnTo>
                    <a:lnTo>
                      <a:pt x="1195" y="1288"/>
                    </a:lnTo>
                    <a:lnTo>
                      <a:pt x="1193" y="1288"/>
                    </a:lnTo>
                    <a:lnTo>
                      <a:pt x="1191" y="1286"/>
                    </a:lnTo>
                    <a:lnTo>
                      <a:pt x="1190" y="1288"/>
                    </a:lnTo>
                    <a:lnTo>
                      <a:pt x="1188" y="1288"/>
                    </a:lnTo>
                    <a:lnTo>
                      <a:pt x="1186" y="1288"/>
                    </a:lnTo>
                    <a:lnTo>
                      <a:pt x="1188" y="1286"/>
                    </a:lnTo>
                    <a:lnTo>
                      <a:pt x="1190" y="1286"/>
                    </a:lnTo>
                    <a:lnTo>
                      <a:pt x="1190" y="1284"/>
                    </a:lnTo>
                    <a:lnTo>
                      <a:pt x="1190" y="1286"/>
                    </a:lnTo>
                    <a:lnTo>
                      <a:pt x="1188" y="1286"/>
                    </a:lnTo>
                    <a:lnTo>
                      <a:pt x="1188" y="1284"/>
                    </a:lnTo>
                    <a:lnTo>
                      <a:pt x="1188" y="1286"/>
                    </a:lnTo>
                    <a:lnTo>
                      <a:pt x="1186" y="1286"/>
                    </a:lnTo>
                    <a:lnTo>
                      <a:pt x="1186" y="1284"/>
                    </a:lnTo>
                    <a:lnTo>
                      <a:pt x="1185" y="1286"/>
                    </a:lnTo>
                    <a:lnTo>
                      <a:pt x="1185" y="1284"/>
                    </a:lnTo>
                    <a:lnTo>
                      <a:pt x="1186" y="1284"/>
                    </a:lnTo>
                    <a:lnTo>
                      <a:pt x="1185" y="1282"/>
                    </a:lnTo>
                    <a:lnTo>
                      <a:pt x="1185" y="1281"/>
                    </a:lnTo>
                    <a:lnTo>
                      <a:pt x="1186" y="1281"/>
                    </a:lnTo>
                    <a:lnTo>
                      <a:pt x="1186" y="1279"/>
                    </a:lnTo>
                    <a:lnTo>
                      <a:pt x="1188" y="1279"/>
                    </a:lnTo>
                    <a:lnTo>
                      <a:pt x="1188" y="1277"/>
                    </a:lnTo>
                    <a:lnTo>
                      <a:pt x="1190" y="1279"/>
                    </a:lnTo>
                    <a:lnTo>
                      <a:pt x="1188" y="1277"/>
                    </a:lnTo>
                    <a:lnTo>
                      <a:pt x="1190" y="1277"/>
                    </a:lnTo>
                    <a:lnTo>
                      <a:pt x="1190" y="1276"/>
                    </a:lnTo>
                    <a:lnTo>
                      <a:pt x="1191" y="1276"/>
                    </a:lnTo>
                    <a:lnTo>
                      <a:pt x="1193" y="1276"/>
                    </a:lnTo>
                    <a:lnTo>
                      <a:pt x="1193" y="1277"/>
                    </a:lnTo>
                    <a:lnTo>
                      <a:pt x="1195" y="1277"/>
                    </a:lnTo>
                    <a:lnTo>
                      <a:pt x="1195" y="1279"/>
                    </a:lnTo>
                    <a:lnTo>
                      <a:pt x="1196" y="1279"/>
                    </a:lnTo>
                    <a:lnTo>
                      <a:pt x="1198" y="1281"/>
                    </a:lnTo>
                    <a:lnTo>
                      <a:pt x="1200" y="1282"/>
                    </a:lnTo>
                    <a:lnTo>
                      <a:pt x="1200" y="1281"/>
                    </a:lnTo>
                    <a:lnTo>
                      <a:pt x="1200" y="1279"/>
                    </a:lnTo>
                    <a:lnTo>
                      <a:pt x="1198" y="1279"/>
                    </a:lnTo>
                    <a:lnTo>
                      <a:pt x="1196" y="1279"/>
                    </a:lnTo>
                    <a:lnTo>
                      <a:pt x="1196" y="1277"/>
                    </a:lnTo>
                    <a:lnTo>
                      <a:pt x="1196" y="1276"/>
                    </a:lnTo>
                    <a:lnTo>
                      <a:pt x="1196" y="1274"/>
                    </a:lnTo>
                    <a:lnTo>
                      <a:pt x="1198" y="1272"/>
                    </a:lnTo>
                    <a:lnTo>
                      <a:pt x="1200" y="1274"/>
                    </a:lnTo>
                    <a:lnTo>
                      <a:pt x="1200" y="1272"/>
                    </a:lnTo>
                    <a:lnTo>
                      <a:pt x="1202" y="1272"/>
                    </a:lnTo>
                    <a:lnTo>
                      <a:pt x="1200" y="1272"/>
                    </a:lnTo>
                    <a:lnTo>
                      <a:pt x="1198" y="1272"/>
                    </a:lnTo>
                    <a:lnTo>
                      <a:pt x="1196" y="1272"/>
                    </a:lnTo>
                    <a:lnTo>
                      <a:pt x="1196" y="1270"/>
                    </a:lnTo>
                    <a:lnTo>
                      <a:pt x="1195" y="1270"/>
                    </a:lnTo>
                    <a:lnTo>
                      <a:pt x="1193" y="1270"/>
                    </a:lnTo>
                    <a:lnTo>
                      <a:pt x="1193" y="1269"/>
                    </a:lnTo>
                    <a:lnTo>
                      <a:pt x="1191" y="1269"/>
                    </a:lnTo>
                    <a:lnTo>
                      <a:pt x="1190" y="1269"/>
                    </a:lnTo>
                    <a:lnTo>
                      <a:pt x="1191" y="1267"/>
                    </a:lnTo>
                    <a:lnTo>
                      <a:pt x="1193" y="1267"/>
                    </a:lnTo>
                    <a:lnTo>
                      <a:pt x="1195" y="1267"/>
                    </a:lnTo>
                    <a:lnTo>
                      <a:pt x="1196" y="1267"/>
                    </a:lnTo>
                    <a:lnTo>
                      <a:pt x="1198" y="1267"/>
                    </a:lnTo>
                    <a:lnTo>
                      <a:pt x="1200" y="1267"/>
                    </a:lnTo>
                    <a:lnTo>
                      <a:pt x="1198" y="1267"/>
                    </a:lnTo>
                    <a:lnTo>
                      <a:pt x="1196" y="1267"/>
                    </a:lnTo>
                    <a:lnTo>
                      <a:pt x="1195" y="1267"/>
                    </a:lnTo>
                    <a:lnTo>
                      <a:pt x="1193" y="1267"/>
                    </a:lnTo>
                    <a:lnTo>
                      <a:pt x="1191" y="1267"/>
                    </a:lnTo>
                    <a:lnTo>
                      <a:pt x="1190" y="1267"/>
                    </a:lnTo>
                    <a:lnTo>
                      <a:pt x="1190" y="1269"/>
                    </a:lnTo>
                    <a:lnTo>
                      <a:pt x="1188" y="1269"/>
                    </a:lnTo>
                    <a:lnTo>
                      <a:pt x="1188" y="1267"/>
                    </a:lnTo>
                    <a:lnTo>
                      <a:pt x="1190" y="1267"/>
                    </a:lnTo>
                    <a:lnTo>
                      <a:pt x="1190" y="1265"/>
                    </a:lnTo>
                    <a:lnTo>
                      <a:pt x="1188" y="1264"/>
                    </a:lnTo>
                    <a:lnTo>
                      <a:pt x="1188" y="1265"/>
                    </a:lnTo>
                    <a:lnTo>
                      <a:pt x="1188" y="1264"/>
                    </a:lnTo>
                    <a:lnTo>
                      <a:pt x="1188" y="1262"/>
                    </a:lnTo>
                    <a:lnTo>
                      <a:pt x="1186" y="1262"/>
                    </a:lnTo>
                    <a:lnTo>
                      <a:pt x="1185" y="1262"/>
                    </a:lnTo>
                    <a:lnTo>
                      <a:pt x="1185" y="1260"/>
                    </a:lnTo>
                    <a:lnTo>
                      <a:pt x="1183" y="1260"/>
                    </a:lnTo>
                    <a:lnTo>
                      <a:pt x="1183" y="1259"/>
                    </a:lnTo>
                    <a:lnTo>
                      <a:pt x="1181" y="1259"/>
                    </a:lnTo>
                    <a:lnTo>
                      <a:pt x="1181" y="1257"/>
                    </a:lnTo>
                    <a:lnTo>
                      <a:pt x="1181" y="1255"/>
                    </a:lnTo>
                    <a:lnTo>
                      <a:pt x="1183" y="1255"/>
                    </a:lnTo>
                    <a:lnTo>
                      <a:pt x="1183" y="1253"/>
                    </a:lnTo>
                    <a:lnTo>
                      <a:pt x="1183" y="1255"/>
                    </a:lnTo>
                    <a:lnTo>
                      <a:pt x="1183" y="1253"/>
                    </a:lnTo>
                    <a:lnTo>
                      <a:pt x="1183" y="1252"/>
                    </a:lnTo>
                    <a:lnTo>
                      <a:pt x="1185" y="1252"/>
                    </a:lnTo>
                    <a:lnTo>
                      <a:pt x="1183" y="1252"/>
                    </a:lnTo>
                    <a:lnTo>
                      <a:pt x="1183" y="1253"/>
                    </a:lnTo>
                    <a:lnTo>
                      <a:pt x="1181" y="1253"/>
                    </a:lnTo>
                    <a:lnTo>
                      <a:pt x="1181" y="1255"/>
                    </a:lnTo>
                    <a:lnTo>
                      <a:pt x="1179" y="1255"/>
                    </a:lnTo>
                    <a:lnTo>
                      <a:pt x="1181" y="1255"/>
                    </a:lnTo>
                    <a:lnTo>
                      <a:pt x="1181" y="1253"/>
                    </a:lnTo>
                    <a:lnTo>
                      <a:pt x="1181" y="1255"/>
                    </a:lnTo>
                    <a:lnTo>
                      <a:pt x="1179" y="1255"/>
                    </a:lnTo>
                    <a:lnTo>
                      <a:pt x="1178" y="1257"/>
                    </a:lnTo>
                    <a:lnTo>
                      <a:pt x="1178" y="1255"/>
                    </a:lnTo>
                    <a:lnTo>
                      <a:pt x="1176" y="1255"/>
                    </a:lnTo>
                    <a:lnTo>
                      <a:pt x="1176" y="1253"/>
                    </a:lnTo>
                    <a:lnTo>
                      <a:pt x="1176" y="1255"/>
                    </a:lnTo>
                    <a:lnTo>
                      <a:pt x="1176" y="1253"/>
                    </a:lnTo>
                    <a:lnTo>
                      <a:pt x="1176" y="1252"/>
                    </a:lnTo>
                    <a:lnTo>
                      <a:pt x="1176" y="1250"/>
                    </a:lnTo>
                    <a:lnTo>
                      <a:pt x="1178" y="1250"/>
                    </a:lnTo>
                    <a:lnTo>
                      <a:pt x="1179" y="1248"/>
                    </a:lnTo>
                    <a:lnTo>
                      <a:pt x="1181" y="1248"/>
                    </a:lnTo>
                    <a:lnTo>
                      <a:pt x="1183" y="1250"/>
                    </a:lnTo>
                    <a:lnTo>
                      <a:pt x="1185" y="1250"/>
                    </a:lnTo>
                    <a:lnTo>
                      <a:pt x="1186" y="1252"/>
                    </a:lnTo>
                    <a:lnTo>
                      <a:pt x="1186" y="1253"/>
                    </a:lnTo>
                    <a:lnTo>
                      <a:pt x="1186" y="1252"/>
                    </a:lnTo>
                    <a:lnTo>
                      <a:pt x="1186" y="1253"/>
                    </a:lnTo>
                    <a:lnTo>
                      <a:pt x="1188" y="1255"/>
                    </a:lnTo>
                    <a:lnTo>
                      <a:pt x="1188" y="1257"/>
                    </a:lnTo>
                    <a:lnTo>
                      <a:pt x="1190" y="1259"/>
                    </a:lnTo>
                    <a:lnTo>
                      <a:pt x="1190" y="1260"/>
                    </a:lnTo>
                    <a:lnTo>
                      <a:pt x="1190" y="1262"/>
                    </a:lnTo>
                    <a:lnTo>
                      <a:pt x="1188" y="1262"/>
                    </a:lnTo>
                    <a:lnTo>
                      <a:pt x="1190" y="1262"/>
                    </a:lnTo>
                    <a:lnTo>
                      <a:pt x="1188" y="1264"/>
                    </a:lnTo>
                    <a:lnTo>
                      <a:pt x="1190" y="1264"/>
                    </a:lnTo>
                    <a:lnTo>
                      <a:pt x="1190" y="1262"/>
                    </a:lnTo>
                    <a:lnTo>
                      <a:pt x="1190" y="1260"/>
                    </a:lnTo>
                    <a:lnTo>
                      <a:pt x="1191" y="1262"/>
                    </a:lnTo>
                    <a:lnTo>
                      <a:pt x="1191" y="1264"/>
                    </a:lnTo>
                    <a:lnTo>
                      <a:pt x="1193" y="1262"/>
                    </a:lnTo>
                    <a:lnTo>
                      <a:pt x="1195" y="1262"/>
                    </a:lnTo>
                    <a:lnTo>
                      <a:pt x="1193" y="1262"/>
                    </a:lnTo>
                    <a:lnTo>
                      <a:pt x="1191" y="1264"/>
                    </a:lnTo>
                    <a:lnTo>
                      <a:pt x="1191" y="1262"/>
                    </a:lnTo>
                    <a:lnTo>
                      <a:pt x="1191" y="1260"/>
                    </a:lnTo>
                    <a:lnTo>
                      <a:pt x="1190" y="1260"/>
                    </a:lnTo>
                    <a:lnTo>
                      <a:pt x="1190" y="1259"/>
                    </a:lnTo>
                    <a:lnTo>
                      <a:pt x="1191" y="1259"/>
                    </a:lnTo>
                    <a:lnTo>
                      <a:pt x="1190" y="1259"/>
                    </a:lnTo>
                    <a:lnTo>
                      <a:pt x="1190" y="1257"/>
                    </a:lnTo>
                    <a:lnTo>
                      <a:pt x="1188" y="1255"/>
                    </a:lnTo>
                    <a:lnTo>
                      <a:pt x="1188" y="1253"/>
                    </a:lnTo>
                    <a:lnTo>
                      <a:pt x="1188" y="1252"/>
                    </a:lnTo>
                    <a:lnTo>
                      <a:pt x="1190" y="1252"/>
                    </a:lnTo>
                    <a:lnTo>
                      <a:pt x="1190" y="1250"/>
                    </a:lnTo>
                    <a:lnTo>
                      <a:pt x="1191" y="1250"/>
                    </a:lnTo>
                    <a:lnTo>
                      <a:pt x="1191" y="1252"/>
                    </a:lnTo>
                    <a:lnTo>
                      <a:pt x="1191" y="1253"/>
                    </a:lnTo>
                    <a:lnTo>
                      <a:pt x="1193" y="1253"/>
                    </a:lnTo>
                    <a:lnTo>
                      <a:pt x="1193" y="1255"/>
                    </a:lnTo>
                    <a:lnTo>
                      <a:pt x="1191" y="1253"/>
                    </a:lnTo>
                    <a:lnTo>
                      <a:pt x="1191" y="1252"/>
                    </a:lnTo>
                    <a:lnTo>
                      <a:pt x="1191" y="1250"/>
                    </a:lnTo>
                    <a:lnTo>
                      <a:pt x="1193" y="1250"/>
                    </a:lnTo>
                    <a:lnTo>
                      <a:pt x="1193" y="1252"/>
                    </a:lnTo>
                    <a:lnTo>
                      <a:pt x="1193" y="1250"/>
                    </a:lnTo>
                    <a:lnTo>
                      <a:pt x="1195" y="1250"/>
                    </a:lnTo>
                    <a:lnTo>
                      <a:pt x="1196" y="1250"/>
                    </a:lnTo>
                    <a:lnTo>
                      <a:pt x="1196" y="1252"/>
                    </a:lnTo>
                    <a:lnTo>
                      <a:pt x="1195" y="1252"/>
                    </a:lnTo>
                    <a:lnTo>
                      <a:pt x="1196" y="1252"/>
                    </a:lnTo>
                    <a:lnTo>
                      <a:pt x="1196" y="1253"/>
                    </a:lnTo>
                    <a:lnTo>
                      <a:pt x="1196" y="1252"/>
                    </a:lnTo>
                    <a:lnTo>
                      <a:pt x="1198" y="1252"/>
                    </a:lnTo>
                    <a:lnTo>
                      <a:pt x="1198" y="1253"/>
                    </a:lnTo>
                    <a:lnTo>
                      <a:pt x="1200" y="1253"/>
                    </a:lnTo>
                    <a:lnTo>
                      <a:pt x="1202" y="1252"/>
                    </a:lnTo>
                    <a:lnTo>
                      <a:pt x="1202" y="1253"/>
                    </a:lnTo>
                    <a:lnTo>
                      <a:pt x="1202" y="1252"/>
                    </a:lnTo>
                    <a:lnTo>
                      <a:pt x="1202" y="1253"/>
                    </a:lnTo>
                    <a:lnTo>
                      <a:pt x="1203" y="1253"/>
                    </a:lnTo>
                    <a:lnTo>
                      <a:pt x="1203" y="1255"/>
                    </a:lnTo>
                    <a:lnTo>
                      <a:pt x="1202" y="1255"/>
                    </a:lnTo>
                    <a:lnTo>
                      <a:pt x="1203" y="1257"/>
                    </a:lnTo>
                    <a:lnTo>
                      <a:pt x="1202" y="1257"/>
                    </a:lnTo>
                    <a:lnTo>
                      <a:pt x="1203" y="1257"/>
                    </a:lnTo>
                    <a:lnTo>
                      <a:pt x="1203" y="1255"/>
                    </a:lnTo>
                    <a:lnTo>
                      <a:pt x="1203" y="1253"/>
                    </a:lnTo>
                    <a:lnTo>
                      <a:pt x="1205" y="1253"/>
                    </a:lnTo>
                    <a:lnTo>
                      <a:pt x="1207" y="1253"/>
                    </a:lnTo>
                    <a:lnTo>
                      <a:pt x="1207" y="1255"/>
                    </a:lnTo>
                    <a:lnTo>
                      <a:pt x="1205" y="1255"/>
                    </a:lnTo>
                    <a:lnTo>
                      <a:pt x="1205" y="1257"/>
                    </a:lnTo>
                    <a:lnTo>
                      <a:pt x="1205" y="1259"/>
                    </a:lnTo>
                    <a:lnTo>
                      <a:pt x="1205" y="1257"/>
                    </a:lnTo>
                    <a:lnTo>
                      <a:pt x="1207" y="1255"/>
                    </a:lnTo>
                    <a:lnTo>
                      <a:pt x="1208" y="1257"/>
                    </a:lnTo>
                    <a:lnTo>
                      <a:pt x="1210" y="1257"/>
                    </a:lnTo>
                    <a:lnTo>
                      <a:pt x="1210" y="1259"/>
                    </a:lnTo>
                    <a:lnTo>
                      <a:pt x="1210" y="1257"/>
                    </a:lnTo>
                    <a:lnTo>
                      <a:pt x="1212" y="1259"/>
                    </a:lnTo>
                    <a:lnTo>
                      <a:pt x="1212" y="1260"/>
                    </a:lnTo>
                    <a:lnTo>
                      <a:pt x="1212" y="1262"/>
                    </a:lnTo>
                    <a:lnTo>
                      <a:pt x="1210" y="1262"/>
                    </a:lnTo>
                    <a:lnTo>
                      <a:pt x="1210" y="1264"/>
                    </a:lnTo>
                    <a:lnTo>
                      <a:pt x="1212" y="1262"/>
                    </a:lnTo>
                    <a:lnTo>
                      <a:pt x="1212" y="1260"/>
                    </a:lnTo>
                    <a:lnTo>
                      <a:pt x="1212" y="1262"/>
                    </a:lnTo>
                    <a:lnTo>
                      <a:pt x="1212" y="1264"/>
                    </a:lnTo>
                    <a:lnTo>
                      <a:pt x="1213" y="1264"/>
                    </a:lnTo>
                    <a:lnTo>
                      <a:pt x="1215" y="1264"/>
                    </a:lnTo>
                    <a:lnTo>
                      <a:pt x="1213" y="1262"/>
                    </a:lnTo>
                    <a:lnTo>
                      <a:pt x="1215" y="1260"/>
                    </a:lnTo>
                    <a:lnTo>
                      <a:pt x="1217" y="1260"/>
                    </a:lnTo>
                    <a:lnTo>
                      <a:pt x="1217" y="1262"/>
                    </a:lnTo>
                    <a:lnTo>
                      <a:pt x="1219" y="1262"/>
                    </a:lnTo>
                    <a:lnTo>
                      <a:pt x="1220" y="1262"/>
                    </a:lnTo>
                    <a:lnTo>
                      <a:pt x="1220" y="1260"/>
                    </a:lnTo>
                    <a:lnTo>
                      <a:pt x="1222" y="1260"/>
                    </a:lnTo>
                    <a:lnTo>
                      <a:pt x="1222" y="1259"/>
                    </a:lnTo>
                    <a:lnTo>
                      <a:pt x="1222" y="1257"/>
                    </a:lnTo>
                    <a:lnTo>
                      <a:pt x="1222" y="1255"/>
                    </a:lnTo>
                    <a:lnTo>
                      <a:pt x="1222" y="1253"/>
                    </a:lnTo>
                    <a:lnTo>
                      <a:pt x="1222" y="1252"/>
                    </a:lnTo>
                    <a:lnTo>
                      <a:pt x="1222" y="1253"/>
                    </a:lnTo>
                    <a:lnTo>
                      <a:pt x="1222" y="1255"/>
                    </a:lnTo>
                    <a:lnTo>
                      <a:pt x="1222" y="1257"/>
                    </a:lnTo>
                    <a:lnTo>
                      <a:pt x="1222" y="1259"/>
                    </a:lnTo>
                    <a:lnTo>
                      <a:pt x="1220" y="1260"/>
                    </a:lnTo>
                    <a:lnTo>
                      <a:pt x="1219" y="1260"/>
                    </a:lnTo>
                    <a:lnTo>
                      <a:pt x="1219" y="1259"/>
                    </a:lnTo>
                    <a:lnTo>
                      <a:pt x="1217" y="1259"/>
                    </a:lnTo>
                    <a:lnTo>
                      <a:pt x="1215" y="1259"/>
                    </a:lnTo>
                    <a:lnTo>
                      <a:pt x="1215" y="1257"/>
                    </a:lnTo>
                    <a:lnTo>
                      <a:pt x="1213" y="1255"/>
                    </a:lnTo>
                    <a:lnTo>
                      <a:pt x="1212" y="1255"/>
                    </a:lnTo>
                    <a:lnTo>
                      <a:pt x="1212" y="1253"/>
                    </a:lnTo>
                    <a:lnTo>
                      <a:pt x="1212" y="1252"/>
                    </a:lnTo>
                    <a:lnTo>
                      <a:pt x="1213" y="1252"/>
                    </a:lnTo>
                    <a:lnTo>
                      <a:pt x="1213" y="1250"/>
                    </a:lnTo>
                    <a:lnTo>
                      <a:pt x="1212" y="1250"/>
                    </a:lnTo>
                    <a:lnTo>
                      <a:pt x="1212" y="1252"/>
                    </a:lnTo>
                    <a:lnTo>
                      <a:pt x="1210" y="1252"/>
                    </a:lnTo>
                    <a:lnTo>
                      <a:pt x="1210" y="1250"/>
                    </a:lnTo>
                    <a:lnTo>
                      <a:pt x="1208" y="1248"/>
                    </a:lnTo>
                    <a:lnTo>
                      <a:pt x="1210" y="1248"/>
                    </a:lnTo>
                    <a:lnTo>
                      <a:pt x="1210" y="1247"/>
                    </a:lnTo>
                    <a:lnTo>
                      <a:pt x="1208" y="1247"/>
                    </a:lnTo>
                    <a:lnTo>
                      <a:pt x="1210" y="1245"/>
                    </a:lnTo>
                    <a:lnTo>
                      <a:pt x="1212" y="1245"/>
                    </a:lnTo>
                    <a:lnTo>
                      <a:pt x="1213" y="1245"/>
                    </a:lnTo>
                    <a:lnTo>
                      <a:pt x="1213" y="1247"/>
                    </a:lnTo>
                    <a:lnTo>
                      <a:pt x="1213" y="1248"/>
                    </a:lnTo>
                    <a:lnTo>
                      <a:pt x="1215" y="1248"/>
                    </a:lnTo>
                    <a:lnTo>
                      <a:pt x="1215" y="1250"/>
                    </a:lnTo>
                    <a:lnTo>
                      <a:pt x="1217" y="1250"/>
                    </a:lnTo>
                    <a:lnTo>
                      <a:pt x="1219" y="1250"/>
                    </a:lnTo>
                    <a:lnTo>
                      <a:pt x="1220" y="1248"/>
                    </a:lnTo>
                    <a:lnTo>
                      <a:pt x="1220" y="1250"/>
                    </a:lnTo>
                    <a:lnTo>
                      <a:pt x="1222" y="1250"/>
                    </a:lnTo>
                    <a:lnTo>
                      <a:pt x="1224" y="1250"/>
                    </a:lnTo>
                    <a:lnTo>
                      <a:pt x="1222" y="1248"/>
                    </a:lnTo>
                    <a:lnTo>
                      <a:pt x="1220" y="1248"/>
                    </a:lnTo>
                    <a:lnTo>
                      <a:pt x="1219" y="1248"/>
                    </a:lnTo>
                    <a:lnTo>
                      <a:pt x="1217" y="1248"/>
                    </a:lnTo>
                    <a:lnTo>
                      <a:pt x="1215" y="1248"/>
                    </a:lnTo>
                    <a:lnTo>
                      <a:pt x="1213" y="1248"/>
                    </a:lnTo>
                    <a:lnTo>
                      <a:pt x="1213" y="1247"/>
                    </a:lnTo>
                    <a:lnTo>
                      <a:pt x="1215" y="1247"/>
                    </a:lnTo>
                    <a:lnTo>
                      <a:pt x="1213" y="1245"/>
                    </a:lnTo>
                    <a:lnTo>
                      <a:pt x="1215" y="1245"/>
                    </a:lnTo>
                    <a:lnTo>
                      <a:pt x="1215" y="1243"/>
                    </a:lnTo>
                    <a:lnTo>
                      <a:pt x="1215" y="1245"/>
                    </a:lnTo>
                    <a:lnTo>
                      <a:pt x="1213" y="1245"/>
                    </a:lnTo>
                    <a:lnTo>
                      <a:pt x="1213" y="1243"/>
                    </a:lnTo>
                    <a:lnTo>
                      <a:pt x="1212" y="1243"/>
                    </a:lnTo>
                    <a:lnTo>
                      <a:pt x="1212" y="1242"/>
                    </a:lnTo>
                    <a:lnTo>
                      <a:pt x="1210" y="1242"/>
                    </a:lnTo>
                    <a:lnTo>
                      <a:pt x="1212" y="1242"/>
                    </a:lnTo>
                    <a:lnTo>
                      <a:pt x="1212" y="1240"/>
                    </a:lnTo>
                    <a:lnTo>
                      <a:pt x="1210" y="1240"/>
                    </a:lnTo>
                    <a:lnTo>
                      <a:pt x="1208" y="1240"/>
                    </a:lnTo>
                    <a:lnTo>
                      <a:pt x="1207" y="1240"/>
                    </a:lnTo>
                    <a:lnTo>
                      <a:pt x="1207" y="1238"/>
                    </a:lnTo>
                    <a:lnTo>
                      <a:pt x="1207" y="1236"/>
                    </a:lnTo>
                    <a:lnTo>
                      <a:pt x="1207" y="1235"/>
                    </a:lnTo>
                    <a:lnTo>
                      <a:pt x="1208" y="1233"/>
                    </a:lnTo>
                    <a:lnTo>
                      <a:pt x="1210" y="1231"/>
                    </a:lnTo>
                    <a:lnTo>
                      <a:pt x="1208" y="1231"/>
                    </a:lnTo>
                    <a:lnTo>
                      <a:pt x="1208" y="1233"/>
                    </a:lnTo>
                    <a:lnTo>
                      <a:pt x="1207" y="1233"/>
                    </a:lnTo>
                    <a:lnTo>
                      <a:pt x="1208" y="1233"/>
                    </a:lnTo>
                    <a:lnTo>
                      <a:pt x="1207" y="1233"/>
                    </a:lnTo>
                    <a:lnTo>
                      <a:pt x="1207" y="1235"/>
                    </a:lnTo>
                    <a:lnTo>
                      <a:pt x="1205" y="1235"/>
                    </a:lnTo>
                    <a:lnTo>
                      <a:pt x="1205" y="1236"/>
                    </a:lnTo>
                    <a:lnTo>
                      <a:pt x="1205" y="1238"/>
                    </a:lnTo>
                    <a:lnTo>
                      <a:pt x="1207" y="1238"/>
                    </a:lnTo>
                    <a:lnTo>
                      <a:pt x="1207" y="1240"/>
                    </a:lnTo>
                    <a:lnTo>
                      <a:pt x="1205" y="1240"/>
                    </a:lnTo>
                    <a:lnTo>
                      <a:pt x="1205" y="1242"/>
                    </a:lnTo>
                    <a:lnTo>
                      <a:pt x="1203" y="1242"/>
                    </a:lnTo>
                    <a:lnTo>
                      <a:pt x="1202" y="1242"/>
                    </a:lnTo>
                    <a:lnTo>
                      <a:pt x="1202" y="1243"/>
                    </a:lnTo>
                    <a:lnTo>
                      <a:pt x="1200" y="1243"/>
                    </a:lnTo>
                    <a:lnTo>
                      <a:pt x="1200" y="1242"/>
                    </a:lnTo>
                    <a:lnTo>
                      <a:pt x="1198" y="1242"/>
                    </a:lnTo>
                    <a:lnTo>
                      <a:pt x="1196" y="1242"/>
                    </a:lnTo>
                    <a:lnTo>
                      <a:pt x="1196" y="1240"/>
                    </a:lnTo>
                    <a:lnTo>
                      <a:pt x="1196" y="1238"/>
                    </a:lnTo>
                    <a:lnTo>
                      <a:pt x="1195" y="1240"/>
                    </a:lnTo>
                    <a:lnTo>
                      <a:pt x="1193" y="1240"/>
                    </a:lnTo>
                    <a:lnTo>
                      <a:pt x="1191" y="1240"/>
                    </a:lnTo>
                    <a:lnTo>
                      <a:pt x="1190" y="1240"/>
                    </a:lnTo>
                    <a:lnTo>
                      <a:pt x="1188" y="1240"/>
                    </a:lnTo>
                    <a:lnTo>
                      <a:pt x="1186" y="1240"/>
                    </a:lnTo>
                    <a:lnTo>
                      <a:pt x="1185" y="1240"/>
                    </a:lnTo>
                    <a:lnTo>
                      <a:pt x="1185" y="1238"/>
                    </a:lnTo>
                    <a:lnTo>
                      <a:pt x="1186" y="1238"/>
                    </a:lnTo>
                    <a:lnTo>
                      <a:pt x="1186" y="1240"/>
                    </a:lnTo>
                    <a:lnTo>
                      <a:pt x="1188" y="1240"/>
                    </a:lnTo>
                    <a:lnTo>
                      <a:pt x="1186" y="1238"/>
                    </a:lnTo>
                    <a:lnTo>
                      <a:pt x="1185" y="1238"/>
                    </a:lnTo>
                    <a:lnTo>
                      <a:pt x="1183" y="1238"/>
                    </a:lnTo>
                    <a:lnTo>
                      <a:pt x="1181" y="1238"/>
                    </a:lnTo>
                    <a:lnTo>
                      <a:pt x="1181" y="1240"/>
                    </a:lnTo>
                    <a:lnTo>
                      <a:pt x="1179" y="1240"/>
                    </a:lnTo>
                    <a:lnTo>
                      <a:pt x="1179" y="1238"/>
                    </a:lnTo>
                    <a:lnTo>
                      <a:pt x="1181" y="1238"/>
                    </a:lnTo>
                    <a:lnTo>
                      <a:pt x="1179" y="1238"/>
                    </a:lnTo>
                    <a:lnTo>
                      <a:pt x="1179" y="1240"/>
                    </a:lnTo>
                    <a:lnTo>
                      <a:pt x="1178" y="1240"/>
                    </a:lnTo>
                    <a:lnTo>
                      <a:pt x="1176" y="1240"/>
                    </a:lnTo>
                    <a:lnTo>
                      <a:pt x="1174" y="1238"/>
                    </a:lnTo>
                    <a:lnTo>
                      <a:pt x="1176" y="1238"/>
                    </a:lnTo>
                    <a:lnTo>
                      <a:pt x="1176" y="1236"/>
                    </a:lnTo>
                    <a:lnTo>
                      <a:pt x="1178" y="1236"/>
                    </a:lnTo>
                    <a:lnTo>
                      <a:pt x="1176" y="1236"/>
                    </a:lnTo>
                    <a:lnTo>
                      <a:pt x="1176" y="1238"/>
                    </a:lnTo>
                    <a:lnTo>
                      <a:pt x="1174" y="1238"/>
                    </a:lnTo>
                    <a:lnTo>
                      <a:pt x="1173" y="1238"/>
                    </a:lnTo>
                    <a:lnTo>
                      <a:pt x="1173" y="1236"/>
                    </a:lnTo>
                    <a:lnTo>
                      <a:pt x="1174" y="1235"/>
                    </a:lnTo>
                    <a:lnTo>
                      <a:pt x="1174" y="1233"/>
                    </a:lnTo>
                    <a:lnTo>
                      <a:pt x="1176" y="1233"/>
                    </a:lnTo>
                    <a:lnTo>
                      <a:pt x="1176" y="1231"/>
                    </a:lnTo>
                    <a:lnTo>
                      <a:pt x="1178" y="1233"/>
                    </a:lnTo>
                    <a:lnTo>
                      <a:pt x="1178" y="1231"/>
                    </a:lnTo>
                    <a:lnTo>
                      <a:pt x="1178" y="1233"/>
                    </a:lnTo>
                    <a:lnTo>
                      <a:pt x="1178" y="1231"/>
                    </a:lnTo>
                    <a:lnTo>
                      <a:pt x="1176" y="1231"/>
                    </a:lnTo>
                    <a:lnTo>
                      <a:pt x="1176" y="1230"/>
                    </a:lnTo>
                    <a:lnTo>
                      <a:pt x="1178" y="1230"/>
                    </a:lnTo>
                    <a:lnTo>
                      <a:pt x="1178" y="1228"/>
                    </a:lnTo>
                    <a:lnTo>
                      <a:pt x="1179" y="1228"/>
                    </a:lnTo>
                    <a:lnTo>
                      <a:pt x="1181" y="1228"/>
                    </a:lnTo>
                    <a:lnTo>
                      <a:pt x="1179" y="1230"/>
                    </a:lnTo>
                    <a:lnTo>
                      <a:pt x="1181" y="1230"/>
                    </a:lnTo>
                    <a:lnTo>
                      <a:pt x="1181" y="1231"/>
                    </a:lnTo>
                    <a:lnTo>
                      <a:pt x="1181" y="1230"/>
                    </a:lnTo>
                    <a:lnTo>
                      <a:pt x="1181" y="1228"/>
                    </a:lnTo>
                    <a:lnTo>
                      <a:pt x="1183" y="1228"/>
                    </a:lnTo>
                    <a:lnTo>
                      <a:pt x="1185" y="1228"/>
                    </a:lnTo>
                    <a:lnTo>
                      <a:pt x="1185" y="1230"/>
                    </a:lnTo>
                    <a:lnTo>
                      <a:pt x="1185" y="1231"/>
                    </a:lnTo>
                    <a:lnTo>
                      <a:pt x="1185" y="1230"/>
                    </a:lnTo>
                    <a:lnTo>
                      <a:pt x="1186" y="1231"/>
                    </a:lnTo>
                    <a:lnTo>
                      <a:pt x="1186" y="1233"/>
                    </a:lnTo>
                    <a:lnTo>
                      <a:pt x="1185" y="1233"/>
                    </a:lnTo>
                    <a:lnTo>
                      <a:pt x="1185" y="1235"/>
                    </a:lnTo>
                    <a:lnTo>
                      <a:pt x="1185" y="1233"/>
                    </a:lnTo>
                    <a:lnTo>
                      <a:pt x="1185" y="1231"/>
                    </a:lnTo>
                    <a:lnTo>
                      <a:pt x="1185" y="1233"/>
                    </a:lnTo>
                    <a:lnTo>
                      <a:pt x="1183" y="1233"/>
                    </a:lnTo>
                    <a:lnTo>
                      <a:pt x="1183" y="1235"/>
                    </a:lnTo>
                    <a:lnTo>
                      <a:pt x="1181" y="1235"/>
                    </a:lnTo>
                    <a:lnTo>
                      <a:pt x="1179" y="1235"/>
                    </a:lnTo>
                    <a:lnTo>
                      <a:pt x="1179" y="1233"/>
                    </a:lnTo>
                    <a:lnTo>
                      <a:pt x="1178" y="1233"/>
                    </a:lnTo>
                    <a:lnTo>
                      <a:pt x="1179" y="1233"/>
                    </a:lnTo>
                    <a:lnTo>
                      <a:pt x="1178" y="1235"/>
                    </a:lnTo>
                    <a:lnTo>
                      <a:pt x="1179" y="1235"/>
                    </a:lnTo>
                    <a:lnTo>
                      <a:pt x="1179" y="1236"/>
                    </a:lnTo>
                    <a:lnTo>
                      <a:pt x="1181" y="1235"/>
                    </a:lnTo>
                    <a:lnTo>
                      <a:pt x="1183" y="1235"/>
                    </a:lnTo>
                    <a:lnTo>
                      <a:pt x="1185" y="1235"/>
                    </a:lnTo>
                    <a:lnTo>
                      <a:pt x="1186" y="1233"/>
                    </a:lnTo>
                    <a:lnTo>
                      <a:pt x="1186" y="1235"/>
                    </a:lnTo>
                    <a:lnTo>
                      <a:pt x="1186" y="1233"/>
                    </a:lnTo>
                    <a:lnTo>
                      <a:pt x="1188" y="1235"/>
                    </a:lnTo>
                    <a:lnTo>
                      <a:pt x="1186" y="1235"/>
                    </a:lnTo>
                    <a:lnTo>
                      <a:pt x="1186" y="1236"/>
                    </a:lnTo>
                    <a:lnTo>
                      <a:pt x="1188" y="1236"/>
                    </a:lnTo>
                    <a:lnTo>
                      <a:pt x="1188" y="1238"/>
                    </a:lnTo>
                    <a:lnTo>
                      <a:pt x="1190" y="1238"/>
                    </a:lnTo>
                    <a:lnTo>
                      <a:pt x="1191" y="1238"/>
                    </a:lnTo>
                    <a:lnTo>
                      <a:pt x="1191" y="1240"/>
                    </a:lnTo>
                    <a:lnTo>
                      <a:pt x="1191" y="1238"/>
                    </a:lnTo>
                    <a:lnTo>
                      <a:pt x="1193" y="1238"/>
                    </a:lnTo>
                    <a:lnTo>
                      <a:pt x="1195" y="1238"/>
                    </a:lnTo>
                    <a:lnTo>
                      <a:pt x="1193" y="1238"/>
                    </a:lnTo>
                    <a:lnTo>
                      <a:pt x="1191" y="1238"/>
                    </a:lnTo>
                    <a:lnTo>
                      <a:pt x="1190" y="1238"/>
                    </a:lnTo>
                    <a:lnTo>
                      <a:pt x="1190" y="1236"/>
                    </a:lnTo>
                    <a:lnTo>
                      <a:pt x="1188" y="1236"/>
                    </a:lnTo>
                    <a:lnTo>
                      <a:pt x="1188" y="1235"/>
                    </a:lnTo>
                    <a:lnTo>
                      <a:pt x="1188" y="1233"/>
                    </a:lnTo>
                    <a:lnTo>
                      <a:pt x="1190" y="1233"/>
                    </a:lnTo>
                    <a:lnTo>
                      <a:pt x="1191" y="1233"/>
                    </a:lnTo>
                    <a:lnTo>
                      <a:pt x="1193" y="1235"/>
                    </a:lnTo>
                    <a:lnTo>
                      <a:pt x="1195" y="1235"/>
                    </a:lnTo>
                    <a:lnTo>
                      <a:pt x="1193" y="1233"/>
                    </a:lnTo>
                    <a:lnTo>
                      <a:pt x="1195" y="1233"/>
                    </a:lnTo>
                    <a:lnTo>
                      <a:pt x="1193" y="1233"/>
                    </a:lnTo>
                    <a:lnTo>
                      <a:pt x="1191" y="1233"/>
                    </a:lnTo>
                    <a:lnTo>
                      <a:pt x="1190" y="1233"/>
                    </a:lnTo>
                    <a:lnTo>
                      <a:pt x="1188" y="1233"/>
                    </a:lnTo>
                    <a:lnTo>
                      <a:pt x="1190" y="1233"/>
                    </a:lnTo>
                    <a:lnTo>
                      <a:pt x="1188" y="1233"/>
                    </a:lnTo>
                    <a:lnTo>
                      <a:pt x="1188" y="1231"/>
                    </a:lnTo>
                    <a:lnTo>
                      <a:pt x="1190" y="1231"/>
                    </a:lnTo>
                    <a:lnTo>
                      <a:pt x="1191" y="1231"/>
                    </a:lnTo>
                    <a:lnTo>
                      <a:pt x="1193" y="1231"/>
                    </a:lnTo>
                    <a:lnTo>
                      <a:pt x="1195" y="1231"/>
                    </a:lnTo>
                    <a:lnTo>
                      <a:pt x="1196" y="1231"/>
                    </a:lnTo>
                    <a:lnTo>
                      <a:pt x="1198" y="1231"/>
                    </a:lnTo>
                    <a:lnTo>
                      <a:pt x="1198" y="1230"/>
                    </a:lnTo>
                    <a:lnTo>
                      <a:pt x="1198" y="1231"/>
                    </a:lnTo>
                    <a:lnTo>
                      <a:pt x="1196" y="1231"/>
                    </a:lnTo>
                    <a:lnTo>
                      <a:pt x="1195" y="1231"/>
                    </a:lnTo>
                    <a:lnTo>
                      <a:pt x="1193" y="1231"/>
                    </a:lnTo>
                    <a:lnTo>
                      <a:pt x="1193" y="1230"/>
                    </a:lnTo>
                    <a:lnTo>
                      <a:pt x="1195" y="1230"/>
                    </a:lnTo>
                    <a:lnTo>
                      <a:pt x="1195" y="1228"/>
                    </a:lnTo>
                    <a:lnTo>
                      <a:pt x="1196" y="1228"/>
                    </a:lnTo>
                    <a:lnTo>
                      <a:pt x="1198" y="1226"/>
                    </a:lnTo>
                    <a:lnTo>
                      <a:pt x="1200" y="1226"/>
                    </a:lnTo>
                    <a:lnTo>
                      <a:pt x="1198" y="1226"/>
                    </a:lnTo>
                    <a:lnTo>
                      <a:pt x="1196" y="1226"/>
                    </a:lnTo>
                    <a:lnTo>
                      <a:pt x="1195" y="1226"/>
                    </a:lnTo>
                    <a:lnTo>
                      <a:pt x="1195" y="1228"/>
                    </a:lnTo>
                    <a:lnTo>
                      <a:pt x="1193" y="1230"/>
                    </a:lnTo>
                    <a:lnTo>
                      <a:pt x="1191" y="1230"/>
                    </a:lnTo>
                    <a:lnTo>
                      <a:pt x="1190" y="1230"/>
                    </a:lnTo>
                    <a:lnTo>
                      <a:pt x="1188" y="1230"/>
                    </a:lnTo>
                    <a:lnTo>
                      <a:pt x="1188" y="1231"/>
                    </a:lnTo>
                    <a:lnTo>
                      <a:pt x="1186" y="1231"/>
                    </a:lnTo>
                    <a:lnTo>
                      <a:pt x="1186" y="1230"/>
                    </a:lnTo>
                    <a:lnTo>
                      <a:pt x="1186" y="1228"/>
                    </a:lnTo>
                    <a:lnTo>
                      <a:pt x="1186" y="1226"/>
                    </a:lnTo>
                    <a:lnTo>
                      <a:pt x="1188" y="1226"/>
                    </a:lnTo>
                    <a:lnTo>
                      <a:pt x="1190" y="1226"/>
                    </a:lnTo>
                    <a:lnTo>
                      <a:pt x="1191" y="1226"/>
                    </a:lnTo>
                    <a:lnTo>
                      <a:pt x="1193" y="1225"/>
                    </a:lnTo>
                    <a:lnTo>
                      <a:pt x="1195" y="1225"/>
                    </a:lnTo>
                    <a:lnTo>
                      <a:pt x="1195" y="1223"/>
                    </a:lnTo>
                    <a:lnTo>
                      <a:pt x="1193" y="1223"/>
                    </a:lnTo>
                    <a:lnTo>
                      <a:pt x="1193" y="1225"/>
                    </a:lnTo>
                    <a:lnTo>
                      <a:pt x="1191" y="1225"/>
                    </a:lnTo>
                    <a:lnTo>
                      <a:pt x="1191" y="1226"/>
                    </a:lnTo>
                    <a:lnTo>
                      <a:pt x="1190" y="1225"/>
                    </a:lnTo>
                    <a:lnTo>
                      <a:pt x="1190" y="1226"/>
                    </a:lnTo>
                    <a:lnTo>
                      <a:pt x="1188" y="1226"/>
                    </a:lnTo>
                    <a:lnTo>
                      <a:pt x="1186" y="1226"/>
                    </a:lnTo>
                    <a:lnTo>
                      <a:pt x="1185" y="1226"/>
                    </a:lnTo>
                    <a:lnTo>
                      <a:pt x="1183" y="1226"/>
                    </a:lnTo>
                    <a:lnTo>
                      <a:pt x="1185" y="1226"/>
                    </a:lnTo>
                    <a:lnTo>
                      <a:pt x="1185" y="1228"/>
                    </a:lnTo>
                    <a:lnTo>
                      <a:pt x="1186" y="1226"/>
                    </a:lnTo>
                    <a:lnTo>
                      <a:pt x="1186" y="1228"/>
                    </a:lnTo>
                    <a:lnTo>
                      <a:pt x="1185" y="1228"/>
                    </a:lnTo>
                    <a:lnTo>
                      <a:pt x="1183" y="1226"/>
                    </a:lnTo>
                    <a:lnTo>
                      <a:pt x="1181" y="1225"/>
                    </a:lnTo>
                    <a:lnTo>
                      <a:pt x="1183" y="1225"/>
                    </a:lnTo>
                    <a:lnTo>
                      <a:pt x="1183" y="1223"/>
                    </a:lnTo>
                    <a:lnTo>
                      <a:pt x="1183" y="1225"/>
                    </a:lnTo>
                    <a:lnTo>
                      <a:pt x="1185" y="1223"/>
                    </a:lnTo>
                    <a:lnTo>
                      <a:pt x="1185" y="1225"/>
                    </a:lnTo>
                    <a:lnTo>
                      <a:pt x="1186" y="1225"/>
                    </a:lnTo>
                    <a:lnTo>
                      <a:pt x="1186" y="1223"/>
                    </a:lnTo>
                    <a:lnTo>
                      <a:pt x="1188" y="1223"/>
                    </a:lnTo>
                    <a:lnTo>
                      <a:pt x="1188" y="1221"/>
                    </a:lnTo>
                    <a:lnTo>
                      <a:pt x="1188" y="1223"/>
                    </a:lnTo>
                    <a:lnTo>
                      <a:pt x="1186" y="1223"/>
                    </a:lnTo>
                    <a:lnTo>
                      <a:pt x="1185" y="1223"/>
                    </a:lnTo>
                    <a:lnTo>
                      <a:pt x="1183" y="1223"/>
                    </a:lnTo>
                    <a:lnTo>
                      <a:pt x="1183" y="1221"/>
                    </a:lnTo>
                    <a:lnTo>
                      <a:pt x="1181" y="1223"/>
                    </a:lnTo>
                    <a:lnTo>
                      <a:pt x="1181" y="1225"/>
                    </a:lnTo>
                    <a:lnTo>
                      <a:pt x="1179" y="1223"/>
                    </a:lnTo>
                    <a:lnTo>
                      <a:pt x="1181" y="1223"/>
                    </a:lnTo>
                    <a:lnTo>
                      <a:pt x="1179" y="1223"/>
                    </a:lnTo>
                    <a:lnTo>
                      <a:pt x="1179" y="1221"/>
                    </a:lnTo>
                    <a:lnTo>
                      <a:pt x="1181" y="1221"/>
                    </a:lnTo>
                    <a:lnTo>
                      <a:pt x="1181" y="1219"/>
                    </a:lnTo>
                    <a:lnTo>
                      <a:pt x="1181" y="1218"/>
                    </a:lnTo>
                    <a:lnTo>
                      <a:pt x="1183" y="1218"/>
                    </a:lnTo>
                    <a:lnTo>
                      <a:pt x="1183" y="1216"/>
                    </a:lnTo>
                    <a:lnTo>
                      <a:pt x="1185" y="1216"/>
                    </a:lnTo>
                    <a:lnTo>
                      <a:pt x="1185" y="1214"/>
                    </a:lnTo>
                    <a:lnTo>
                      <a:pt x="1186" y="1214"/>
                    </a:lnTo>
                    <a:lnTo>
                      <a:pt x="1186" y="1213"/>
                    </a:lnTo>
                    <a:lnTo>
                      <a:pt x="1186" y="1211"/>
                    </a:lnTo>
                    <a:lnTo>
                      <a:pt x="1188" y="1211"/>
                    </a:lnTo>
                    <a:lnTo>
                      <a:pt x="1188" y="1213"/>
                    </a:lnTo>
                    <a:lnTo>
                      <a:pt x="1190" y="1213"/>
                    </a:lnTo>
                    <a:lnTo>
                      <a:pt x="1188" y="1213"/>
                    </a:lnTo>
                    <a:lnTo>
                      <a:pt x="1188" y="1211"/>
                    </a:lnTo>
                    <a:lnTo>
                      <a:pt x="1190" y="1211"/>
                    </a:lnTo>
                    <a:lnTo>
                      <a:pt x="1190" y="1213"/>
                    </a:lnTo>
                    <a:lnTo>
                      <a:pt x="1190" y="1214"/>
                    </a:lnTo>
                    <a:lnTo>
                      <a:pt x="1190" y="1216"/>
                    </a:lnTo>
                    <a:lnTo>
                      <a:pt x="1190" y="1218"/>
                    </a:lnTo>
                    <a:lnTo>
                      <a:pt x="1190" y="1219"/>
                    </a:lnTo>
                    <a:lnTo>
                      <a:pt x="1191" y="1219"/>
                    </a:lnTo>
                    <a:lnTo>
                      <a:pt x="1190" y="1218"/>
                    </a:lnTo>
                    <a:lnTo>
                      <a:pt x="1190" y="1216"/>
                    </a:lnTo>
                    <a:lnTo>
                      <a:pt x="1191" y="1214"/>
                    </a:lnTo>
                    <a:lnTo>
                      <a:pt x="1190" y="1213"/>
                    </a:lnTo>
                    <a:lnTo>
                      <a:pt x="1191" y="1211"/>
                    </a:lnTo>
                    <a:lnTo>
                      <a:pt x="1190" y="1213"/>
                    </a:lnTo>
                    <a:lnTo>
                      <a:pt x="1190" y="1211"/>
                    </a:lnTo>
                    <a:lnTo>
                      <a:pt x="1191" y="1211"/>
                    </a:lnTo>
                    <a:lnTo>
                      <a:pt x="1193" y="1211"/>
                    </a:lnTo>
                    <a:lnTo>
                      <a:pt x="1193" y="1213"/>
                    </a:lnTo>
                    <a:lnTo>
                      <a:pt x="1193" y="1214"/>
                    </a:lnTo>
                    <a:lnTo>
                      <a:pt x="1195" y="1214"/>
                    </a:lnTo>
                    <a:lnTo>
                      <a:pt x="1193" y="1214"/>
                    </a:lnTo>
                    <a:lnTo>
                      <a:pt x="1193" y="1213"/>
                    </a:lnTo>
                    <a:lnTo>
                      <a:pt x="1193" y="1211"/>
                    </a:lnTo>
                    <a:lnTo>
                      <a:pt x="1195" y="1211"/>
                    </a:lnTo>
                    <a:lnTo>
                      <a:pt x="1195" y="1209"/>
                    </a:lnTo>
                    <a:lnTo>
                      <a:pt x="1196" y="1209"/>
                    </a:lnTo>
                    <a:lnTo>
                      <a:pt x="1195" y="1211"/>
                    </a:lnTo>
                    <a:lnTo>
                      <a:pt x="1196" y="1211"/>
                    </a:lnTo>
                    <a:lnTo>
                      <a:pt x="1195" y="1213"/>
                    </a:lnTo>
                    <a:lnTo>
                      <a:pt x="1196" y="1213"/>
                    </a:lnTo>
                    <a:lnTo>
                      <a:pt x="1196" y="1211"/>
                    </a:lnTo>
                    <a:lnTo>
                      <a:pt x="1196" y="1209"/>
                    </a:lnTo>
                    <a:lnTo>
                      <a:pt x="1196" y="1208"/>
                    </a:lnTo>
                    <a:lnTo>
                      <a:pt x="1196" y="1206"/>
                    </a:lnTo>
                    <a:lnTo>
                      <a:pt x="1196" y="1208"/>
                    </a:lnTo>
                    <a:lnTo>
                      <a:pt x="1195" y="1208"/>
                    </a:lnTo>
                    <a:lnTo>
                      <a:pt x="1195" y="1209"/>
                    </a:lnTo>
                    <a:lnTo>
                      <a:pt x="1193" y="1209"/>
                    </a:lnTo>
                    <a:lnTo>
                      <a:pt x="1191" y="1209"/>
                    </a:lnTo>
                    <a:lnTo>
                      <a:pt x="1191" y="1208"/>
                    </a:lnTo>
                    <a:lnTo>
                      <a:pt x="1190" y="1208"/>
                    </a:lnTo>
                    <a:lnTo>
                      <a:pt x="1190" y="1206"/>
                    </a:lnTo>
                    <a:lnTo>
                      <a:pt x="1190" y="1204"/>
                    </a:lnTo>
                    <a:lnTo>
                      <a:pt x="1191" y="1202"/>
                    </a:lnTo>
                    <a:lnTo>
                      <a:pt x="1191" y="1201"/>
                    </a:lnTo>
                    <a:lnTo>
                      <a:pt x="1193" y="1201"/>
                    </a:lnTo>
                    <a:lnTo>
                      <a:pt x="1193" y="1202"/>
                    </a:lnTo>
                    <a:lnTo>
                      <a:pt x="1195" y="1202"/>
                    </a:lnTo>
                    <a:lnTo>
                      <a:pt x="1195" y="1204"/>
                    </a:lnTo>
                    <a:lnTo>
                      <a:pt x="1195" y="1202"/>
                    </a:lnTo>
                    <a:lnTo>
                      <a:pt x="1195" y="1201"/>
                    </a:lnTo>
                    <a:lnTo>
                      <a:pt x="1196" y="1199"/>
                    </a:lnTo>
                    <a:lnTo>
                      <a:pt x="1195" y="1199"/>
                    </a:lnTo>
                    <a:lnTo>
                      <a:pt x="1195" y="1201"/>
                    </a:lnTo>
                    <a:lnTo>
                      <a:pt x="1193" y="1199"/>
                    </a:lnTo>
                    <a:lnTo>
                      <a:pt x="1191" y="1197"/>
                    </a:lnTo>
                    <a:lnTo>
                      <a:pt x="1191" y="1196"/>
                    </a:lnTo>
                    <a:lnTo>
                      <a:pt x="1190" y="1196"/>
                    </a:lnTo>
                    <a:lnTo>
                      <a:pt x="1191" y="1194"/>
                    </a:lnTo>
                    <a:lnTo>
                      <a:pt x="1190" y="1194"/>
                    </a:lnTo>
                    <a:lnTo>
                      <a:pt x="1188" y="1192"/>
                    </a:lnTo>
                    <a:lnTo>
                      <a:pt x="1186" y="1191"/>
                    </a:lnTo>
                    <a:lnTo>
                      <a:pt x="1185" y="1191"/>
                    </a:lnTo>
                    <a:lnTo>
                      <a:pt x="1186" y="1191"/>
                    </a:lnTo>
                    <a:lnTo>
                      <a:pt x="1188" y="1192"/>
                    </a:lnTo>
                    <a:lnTo>
                      <a:pt x="1190" y="1191"/>
                    </a:lnTo>
                    <a:lnTo>
                      <a:pt x="1188" y="1191"/>
                    </a:lnTo>
                    <a:lnTo>
                      <a:pt x="1188" y="1189"/>
                    </a:lnTo>
                    <a:lnTo>
                      <a:pt x="1186" y="1191"/>
                    </a:lnTo>
                    <a:lnTo>
                      <a:pt x="1186" y="1189"/>
                    </a:lnTo>
                    <a:lnTo>
                      <a:pt x="1186" y="1191"/>
                    </a:lnTo>
                    <a:lnTo>
                      <a:pt x="1185" y="1189"/>
                    </a:lnTo>
                    <a:lnTo>
                      <a:pt x="1183" y="1189"/>
                    </a:lnTo>
                    <a:lnTo>
                      <a:pt x="1181" y="1189"/>
                    </a:lnTo>
                    <a:lnTo>
                      <a:pt x="1179" y="1189"/>
                    </a:lnTo>
                    <a:lnTo>
                      <a:pt x="1181" y="1187"/>
                    </a:lnTo>
                    <a:lnTo>
                      <a:pt x="1179" y="1187"/>
                    </a:lnTo>
                    <a:lnTo>
                      <a:pt x="1178" y="1187"/>
                    </a:lnTo>
                    <a:lnTo>
                      <a:pt x="1178" y="1189"/>
                    </a:lnTo>
                    <a:lnTo>
                      <a:pt x="1179" y="1189"/>
                    </a:lnTo>
                    <a:lnTo>
                      <a:pt x="1181" y="1189"/>
                    </a:lnTo>
                    <a:lnTo>
                      <a:pt x="1181" y="1191"/>
                    </a:lnTo>
                    <a:lnTo>
                      <a:pt x="1179" y="1191"/>
                    </a:lnTo>
                    <a:lnTo>
                      <a:pt x="1178" y="1191"/>
                    </a:lnTo>
                    <a:lnTo>
                      <a:pt x="1176" y="1191"/>
                    </a:lnTo>
                    <a:lnTo>
                      <a:pt x="1176" y="1192"/>
                    </a:lnTo>
                    <a:lnTo>
                      <a:pt x="1176" y="1194"/>
                    </a:lnTo>
                    <a:lnTo>
                      <a:pt x="1174" y="1194"/>
                    </a:lnTo>
                    <a:lnTo>
                      <a:pt x="1174" y="1192"/>
                    </a:lnTo>
                    <a:lnTo>
                      <a:pt x="1173" y="1192"/>
                    </a:lnTo>
                    <a:lnTo>
                      <a:pt x="1174" y="1192"/>
                    </a:lnTo>
                    <a:lnTo>
                      <a:pt x="1174" y="1194"/>
                    </a:lnTo>
                    <a:lnTo>
                      <a:pt x="1176" y="1194"/>
                    </a:lnTo>
                    <a:lnTo>
                      <a:pt x="1178" y="1194"/>
                    </a:lnTo>
                    <a:lnTo>
                      <a:pt x="1179" y="1192"/>
                    </a:lnTo>
                    <a:lnTo>
                      <a:pt x="1181" y="1194"/>
                    </a:lnTo>
                    <a:lnTo>
                      <a:pt x="1183" y="1194"/>
                    </a:lnTo>
                    <a:lnTo>
                      <a:pt x="1183" y="1196"/>
                    </a:lnTo>
                    <a:lnTo>
                      <a:pt x="1183" y="1197"/>
                    </a:lnTo>
                    <a:lnTo>
                      <a:pt x="1183" y="1196"/>
                    </a:lnTo>
                    <a:lnTo>
                      <a:pt x="1181" y="1196"/>
                    </a:lnTo>
                    <a:lnTo>
                      <a:pt x="1179" y="1196"/>
                    </a:lnTo>
                    <a:lnTo>
                      <a:pt x="1178" y="1196"/>
                    </a:lnTo>
                    <a:lnTo>
                      <a:pt x="1176" y="1194"/>
                    </a:lnTo>
                    <a:lnTo>
                      <a:pt x="1176" y="1196"/>
                    </a:lnTo>
                    <a:lnTo>
                      <a:pt x="1174" y="1196"/>
                    </a:lnTo>
                    <a:lnTo>
                      <a:pt x="1174" y="1194"/>
                    </a:lnTo>
                    <a:lnTo>
                      <a:pt x="1173" y="1192"/>
                    </a:lnTo>
                    <a:lnTo>
                      <a:pt x="1171" y="1192"/>
                    </a:lnTo>
                    <a:lnTo>
                      <a:pt x="1171" y="1191"/>
                    </a:lnTo>
                    <a:lnTo>
                      <a:pt x="1169" y="1191"/>
                    </a:lnTo>
                    <a:lnTo>
                      <a:pt x="1171" y="1191"/>
                    </a:lnTo>
                    <a:lnTo>
                      <a:pt x="1171" y="1189"/>
                    </a:lnTo>
                    <a:lnTo>
                      <a:pt x="1171" y="1191"/>
                    </a:lnTo>
                    <a:lnTo>
                      <a:pt x="1169" y="1191"/>
                    </a:lnTo>
                    <a:lnTo>
                      <a:pt x="1169" y="1192"/>
                    </a:lnTo>
                    <a:lnTo>
                      <a:pt x="1168" y="1191"/>
                    </a:lnTo>
                    <a:lnTo>
                      <a:pt x="1166" y="1191"/>
                    </a:lnTo>
                    <a:lnTo>
                      <a:pt x="1166" y="1189"/>
                    </a:lnTo>
                    <a:lnTo>
                      <a:pt x="1164" y="1189"/>
                    </a:lnTo>
                    <a:lnTo>
                      <a:pt x="1164" y="1187"/>
                    </a:lnTo>
                    <a:lnTo>
                      <a:pt x="1162" y="1187"/>
                    </a:lnTo>
                    <a:lnTo>
                      <a:pt x="1162" y="1185"/>
                    </a:lnTo>
                    <a:lnTo>
                      <a:pt x="1161" y="1185"/>
                    </a:lnTo>
                    <a:lnTo>
                      <a:pt x="1161" y="1184"/>
                    </a:lnTo>
                    <a:lnTo>
                      <a:pt x="1161" y="1182"/>
                    </a:lnTo>
                    <a:lnTo>
                      <a:pt x="1162" y="1182"/>
                    </a:lnTo>
                    <a:lnTo>
                      <a:pt x="1162" y="1180"/>
                    </a:lnTo>
                    <a:lnTo>
                      <a:pt x="1164" y="1179"/>
                    </a:lnTo>
                    <a:lnTo>
                      <a:pt x="1166" y="1177"/>
                    </a:lnTo>
                    <a:lnTo>
                      <a:pt x="1166" y="1175"/>
                    </a:lnTo>
                    <a:lnTo>
                      <a:pt x="1166" y="1174"/>
                    </a:lnTo>
                    <a:lnTo>
                      <a:pt x="1164" y="1174"/>
                    </a:lnTo>
                    <a:lnTo>
                      <a:pt x="1164" y="1175"/>
                    </a:lnTo>
                    <a:lnTo>
                      <a:pt x="1164" y="1177"/>
                    </a:lnTo>
                    <a:lnTo>
                      <a:pt x="1162" y="1177"/>
                    </a:lnTo>
                    <a:lnTo>
                      <a:pt x="1162" y="1179"/>
                    </a:lnTo>
                    <a:lnTo>
                      <a:pt x="1162" y="1177"/>
                    </a:lnTo>
                    <a:lnTo>
                      <a:pt x="1162" y="1179"/>
                    </a:lnTo>
                    <a:lnTo>
                      <a:pt x="1162" y="1177"/>
                    </a:lnTo>
                    <a:lnTo>
                      <a:pt x="1162" y="1179"/>
                    </a:lnTo>
                    <a:lnTo>
                      <a:pt x="1162" y="1180"/>
                    </a:lnTo>
                    <a:lnTo>
                      <a:pt x="1161" y="1180"/>
                    </a:lnTo>
                    <a:lnTo>
                      <a:pt x="1161" y="1182"/>
                    </a:lnTo>
                    <a:lnTo>
                      <a:pt x="1159" y="1182"/>
                    </a:lnTo>
                    <a:lnTo>
                      <a:pt x="1157" y="1184"/>
                    </a:lnTo>
                    <a:lnTo>
                      <a:pt x="1157" y="1182"/>
                    </a:lnTo>
                    <a:lnTo>
                      <a:pt x="1156" y="1180"/>
                    </a:lnTo>
                    <a:lnTo>
                      <a:pt x="1157" y="1182"/>
                    </a:lnTo>
                    <a:lnTo>
                      <a:pt x="1156" y="1182"/>
                    </a:lnTo>
                    <a:lnTo>
                      <a:pt x="1157" y="1182"/>
                    </a:lnTo>
                    <a:lnTo>
                      <a:pt x="1156" y="1184"/>
                    </a:lnTo>
                    <a:lnTo>
                      <a:pt x="1154" y="1184"/>
                    </a:lnTo>
                    <a:lnTo>
                      <a:pt x="1152" y="1184"/>
                    </a:lnTo>
                    <a:lnTo>
                      <a:pt x="1152" y="1185"/>
                    </a:lnTo>
                    <a:lnTo>
                      <a:pt x="1152" y="1184"/>
                    </a:lnTo>
                    <a:lnTo>
                      <a:pt x="1151" y="1185"/>
                    </a:lnTo>
                    <a:lnTo>
                      <a:pt x="1152" y="1185"/>
                    </a:lnTo>
                    <a:lnTo>
                      <a:pt x="1151" y="1185"/>
                    </a:lnTo>
                    <a:lnTo>
                      <a:pt x="1151" y="1184"/>
                    </a:lnTo>
                    <a:lnTo>
                      <a:pt x="1149" y="1184"/>
                    </a:lnTo>
                    <a:lnTo>
                      <a:pt x="1149" y="1185"/>
                    </a:lnTo>
                    <a:lnTo>
                      <a:pt x="1147" y="1185"/>
                    </a:lnTo>
                    <a:lnTo>
                      <a:pt x="1145" y="1187"/>
                    </a:lnTo>
                    <a:lnTo>
                      <a:pt x="1144" y="1187"/>
                    </a:lnTo>
                    <a:lnTo>
                      <a:pt x="1145" y="1187"/>
                    </a:lnTo>
                    <a:lnTo>
                      <a:pt x="1145" y="1189"/>
                    </a:lnTo>
                    <a:lnTo>
                      <a:pt x="1144" y="1189"/>
                    </a:lnTo>
                    <a:lnTo>
                      <a:pt x="1144" y="1191"/>
                    </a:lnTo>
                    <a:lnTo>
                      <a:pt x="1144" y="1192"/>
                    </a:lnTo>
                    <a:lnTo>
                      <a:pt x="1144" y="1191"/>
                    </a:lnTo>
                    <a:lnTo>
                      <a:pt x="1145" y="1191"/>
                    </a:lnTo>
                    <a:lnTo>
                      <a:pt x="1145" y="1189"/>
                    </a:lnTo>
                    <a:lnTo>
                      <a:pt x="1147" y="1187"/>
                    </a:lnTo>
                    <a:lnTo>
                      <a:pt x="1147" y="1189"/>
                    </a:lnTo>
                    <a:lnTo>
                      <a:pt x="1149" y="1187"/>
                    </a:lnTo>
                    <a:lnTo>
                      <a:pt x="1151" y="1187"/>
                    </a:lnTo>
                    <a:lnTo>
                      <a:pt x="1152" y="1189"/>
                    </a:lnTo>
                    <a:lnTo>
                      <a:pt x="1151" y="1189"/>
                    </a:lnTo>
                    <a:lnTo>
                      <a:pt x="1149" y="1189"/>
                    </a:lnTo>
                    <a:lnTo>
                      <a:pt x="1151" y="1189"/>
                    </a:lnTo>
                    <a:lnTo>
                      <a:pt x="1149" y="1191"/>
                    </a:lnTo>
                    <a:lnTo>
                      <a:pt x="1149" y="1192"/>
                    </a:lnTo>
                    <a:lnTo>
                      <a:pt x="1151" y="1191"/>
                    </a:lnTo>
                    <a:lnTo>
                      <a:pt x="1151" y="1192"/>
                    </a:lnTo>
                    <a:lnTo>
                      <a:pt x="1151" y="1191"/>
                    </a:lnTo>
                    <a:lnTo>
                      <a:pt x="1152" y="1191"/>
                    </a:lnTo>
                    <a:lnTo>
                      <a:pt x="1152" y="1192"/>
                    </a:lnTo>
                    <a:lnTo>
                      <a:pt x="1152" y="1194"/>
                    </a:lnTo>
                    <a:lnTo>
                      <a:pt x="1151" y="1194"/>
                    </a:lnTo>
                    <a:lnTo>
                      <a:pt x="1151" y="1196"/>
                    </a:lnTo>
                    <a:lnTo>
                      <a:pt x="1149" y="1196"/>
                    </a:lnTo>
                    <a:lnTo>
                      <a:pt x="1151" y="1196"/>
                    </a:lnTo>
                    <a:lnTo>
                      <a:pt x="1151" y="1194"/>
                    </a:lnTo>
                    <a:lnTo>
                      <a:pt x="1152" y="1194"/>
                    </a:lnTo>
                    <a:lnTo>
                      <a:pt x="1154" y="1196"/>
                    </a:lnTo>
                    <a:lnTo>
                      <a:pt x="1152" y="1194"/>
                    </a:lnTo>
                    <a:lnTo>
                      <a:pt x="1154" y="1194"/>
                    </a:lnTo>
                    <a:lnTo>
                      <a:pt x="1152" y="1194"/>
                    </a:lnTo>
                    <a:lnTo>
                      <a:pt x="1152" y="1192"/>
                    </a:lnTo>
                    <a:lnTo>
                      <a:pt x="1154" y="1194"/>
                    </a:lnTo>
                    <a:lnTo>
                      <a:pt x="1154" y="1196"/>
                    </a:lnTo>
                    <a:lnTo>
                      <a:pt x="1154" y="1197"/>
                    </a:lnTo>
                    <a:lnTo>
                      <a:pt x="1152" y="1197"/>
                    </a:lnTo>
                    <a:lnTo>
                      <a:pt x="1152" y="1199"/>
                    </a:lnTo>
                    <a:lnTo>
                      <a:pt x="1151" y="1199"/>
                    </a:lnTo>
                    <a:lnTo>
                      <a:pt x="1149" y="1199"/>
                    </a:lnTo>
                    <a:lnTo>
                      <a:pt x="1147" y="1201"/>
                    </a:lnTo>
                    <a:lnTo>
                      <a:pt x="1147" y="1199"/>
                    </a:lnTo>
                    <a:lnTo>
                      <a:pt x="1145" y="1199"/>
                    </a:lnTo>
                    <a:lnTo>
                      <a:pt x="1145" y="1197"/>
                    </a:lnTo>
                    <a:lnTo>
                      <a:pt x="1144" y="1197"/>
                    </a:lnTo>
                    <a:lnTo>
                      <a:pt x="1144" y="1196"/>
                    </a:lnTo>
                    <a:lnTo>
                      <a:pt x="1142" y="1194"/>
                    </a:lnTo>
                    <a:lnTo>
                      <a:pt x="1142" y="1192"/>
                    </a:lnTo>
                    <a:lnTo>
                      <a:pt x="1140" y="1192"/>
                    </a:lnTo>
                    <a:lnTo>
                      <a:pt x="1140" y="1191"/>
                    </a:lnTo>
                    <a:lnTo>
                      <a:pt x="1142" y="1191"/>
                    </a:lnTo>
                    <a:lnTo>
                      <a:pt x="1140" y="1189"/>
                    </a:lnTo>
                    <a:lnTo>
                      <a:pt x="1140" y="1187"/>
                    </a:lnTo>
                    <a:lnTo>
                      <a:pt x="1140" y="1185"/>
                    </a:lnTo>
                    <a:lnTo>
                      <a:pt x="1142" y="1185"/>
                    </a:lnTo>
                    <a:lnTo>
                      <a:pt x="1142" y="1184"/>
                    </a:lnTo>
                    <a:lnTo>
                      <a:pt x="1142" y="1182"/>
                    </a:lnTo>
                    <a:lnTo>
                      <a:pt x="1144" y="1182"/>
                    </a:lnTo>
                    <a:lnTo>
                      <a:pt x="1144" y="1180"/>
                    </a:lnTo>
                    <a:lnTo>
                      <a:pt x="1144" y="1182"/>
                    </a:lnTo>
                    <a:lnTo>
                      <a:pt x="1144" y="1180"/>
                    </a:lnTo>
                    <a:lnTo>
                      <a:pt x="1145" y="1182"/>
                    </a:lnTo>
                    <a:lnTo>
                      <a:pt x="1147" y="1182"/>
                    </a:lnTo>
                    <a:lnTo>
                      <a:pt x="1147" y="1184"/>
                    </a:lnTo>
                    <a:lnTo>
                      <a:pt x="1147" y="1182"/>
                    </a:lnTo>
                    <a:lnTo>
                      <a:pt x="1145" y="1182"/>
                    </a:lnTo>
                    <a:lnTo>
                      <a:pt x="1145" y="1180"/>
                    </a:lnTo>
                    <a:lnTo>
                      <a:pt x="1147" y="1180"/>
                    </a:lnTo>
                    <a:lnTo>
                      <a:pt x="1149" y="1182"/>
                    </a:lnTo>
                    <a:lnTo>
                      <a:pt x="1149" y="1180"/>
                    </a:lnTo>
                    <a:lnTo>
                      <a:pt x="1147" y="1180"/>
                    </a:lnTo>
                    <a:lnTo>
                      <a:pt x="1147" y="1179"/>
                    </a:lnTo>
                    <a:lnTo>
                      <a:pt x="1145" y="1179"/>
                    </a:lnTo>
                    <a:lnTo>
                      <a:pt x="1147" y="1179"/>
                    </a:lnTo>
                    <a:lnTo>
                      <a:pt x="1147" y="1177"/>
                    </a:lnTo>
                    <a:lnTo>
                      <a:pt x="1147" y="1179"/>
                    </a:lnTo>
                    <a:lnTo>
                      <a:pt x="1149" y="1179"/>
                    </a:lnTo>
                    <a:lnTo>
                      <a:pt x="1149" y="1177"/>
                    </a:lnTo>
                    <a:lnTo>
                      <a:pt x="1149" y="1179"/>
                    </a:lnTo>
                    <a:lnTo>
                      <a:pt x="1149" y="1177"/>
                    </a:lnTo>
                    <a:lnTo>
                      <a:pt x="1151" y="1177"/>
                    </a:lnTo>
                    <a:lnTo>
                      <a:pt x="1152" y="1177"/>
                    </a:lnTo>
                    <a:lnTo>
                      <a:pt x="1151" y="1175"/>
                    </a:lnTo>
                    <a:lnTo>
                      <a:pt x="1151" y="1174"/>
                    </a:lnTo>
                    <a:lnTo>
                      <a:pt x="1151" y="1175"/>
                    </a:lnTo>
                    <a:lnTo>
                      <a:pt x="1152" y="1175"/>
                    </a:lnTo>
                    <a:lnTo>
                      <a:pt x="1151" y="1174"/>
                    </a:lnTo>
                    <a:lnTo>
                      <a:pt x="1152" y="1174"/>
                    </a:lnTo>
                    <a:lnTo>
                      <a:pt x="1152" y="1172"/>
                    </a:lnTo>
                    <a:lnTo>
                      <a:pt x="1154" y="1172"/>
                    </a:lnTo>
                    <a:lnTo>
                      <a:pt x="1156" y="1170"/>
                    </a:lnTo>
                    <a:lnTo>
                      <a:pt x="1157" y="1172"/>
                    </a:lnTo>
                    <a:lnTo>
                      <a:pt x="1156" y="1170"/>
                    </a:lnTo>
                    <a:lnTo>
                      <a:pt x="1157" y="1170"/>
                    </a:lnTo>
                    <a:lnTo>
                      <a:pt x="1157" y="1168"/>
                    </a:lnTo>
                    <a:lnTo>
                      <a:pt x="1157" y="1167"/>
                    </a:lnTo>
                    <a:lnTo>
                      <a:pt x="1157" y="1168"/>
                    </a:lnTo>
                    <a:lnTo>
                      <a:pt x="1159" y="1168"/>
                    </a:lnTo>
                    <a:lnTo>
                      <a:pt x="1159" y="1170"/>
                    </a:lnTo>
                    <a:lnTo>
                      <a:pt x="1161" y="1170"/>
                    </a:lnTo>
                    <a:lnTo>
                      <a:pt x="1162" y="1170"/>
                    </a:lnTo>
                    <a:lnTo>
                      <a:pt x="1164" y="1170"/>
                    </a:lnTo>
                    <a:lnTo>
                      <a:pt x="1166" y="1170"/>
                    </a:lnTo>
                    <a:lnTo>
                      <a:pt x="1168" y="1170"/>
                    </a:lnTo>
                    <a:lnTo>
                      <a:pt x="1166" y="1170"/>
                    </a:lnTo>
                    <a:lnTo>
                      <a:pt x="1164" y="1170"/>
                    </a:lnTo>
                    <a:lnTo>
                      <a:pt x="1162" y="1170"/>
                    </a:lnTo>
                    <a:lnTo>
                      <a:pt x="1161" y="1170"/>
                    </a:lnTo>
                    <a:lnTo>
                      <a:pt x="1161" y="1168"/>
                    </a:lnTo>
                    <a:lnTo>
                      <a:pt x="1159" y="1168"/>
                    </a:lnTo>
                    <a:lnTo>
                      <a:pt x="1159" y="1167"/>
                    </a:lnTo>
                    <a:lnTo>
                      <a:pt x="1161" y="1167"/>
                    </a:lnTo>
                    <a:lnTo>
                      <a:pt x="1162" y="1167"/>
                    </a:lnTo>
                    <a:lnTo>
                      <a:pt x="1161" y="1167"/>
                    </a:lnTo>
                    <a:lnTo>
                      <a:pt x="1161" y="1165"/>
                    </a:lnTo>
                    <a:lnTo>
                      <a:pt x="1161" y="1163"/>
                    </a:lnTo>
                    <a:lnTo>
                      <a:pt x="1162" y="1163"/>
                    </a:lnTo>
                    <a:lnTo>
                      <a:pt x="1164" y="1163"/>
                    </a:lnTo>
                    <a:lnTo>
                      <a:pt x="1164" y="1165"/>
                    </a:lnTo>
                    <a:lnTo>
                      <a:pt x="1166" y="1165"/>
                    </a:lnTo>
                    <a:lnTo>
                      <a:pt x="1166" y="1167"/>
                    </a:lnTo>
                    <a:lnTo>
                      <a:pt x="1168" y="1167"/>
                    </a:lnTo>
                    <a:lnTo>
                      <a:pt x="1166" y="1165"/>
                    </a:lnTo>
                    <a:lnTo>
                      <a:pt x="1166" y="1163"/>
                    </a:lnTo>
                    <a:lnTo>
                      <a:pt x="1166" y="1162"/>
                    </a:lnTo>
                    <a:lnTo>
                      <a:pt x="1168" y="1162"/>
                    </a:lnTo>
                    <a:lnTo>
                      <a:pt x="1168" y="1160"/>
                    </a:lnTo>
                    <a:lnTo>
                      <a:pt x="1169" y="1160"/>
                    </a:lnTo>
                    <a:lnTo>
                      <a:pt x="1169" y="1162"/>
                    </a:lnTo>
                    <a:lnTo>
                      <a:pt x="1169" y="1160"/>
                    </a:lnTo>
                    <a:lnTo>
                      <a:pt x="1169" y="1162"/>
                    </a:lnTo>
                    <a:lnTo>
                      <a:pt x="1171" y="1162"/>
                    </a:lnTo>
                    <a:lnTo>
                      <a:pt x="1171" y="1163"/>
                    </a:lnTo>
                    <a:lnTo>
                      <a:pt x="1171" y="1162"/>
                    </a:lnTo>
                    <a:lnTo>
                      <a:pt x="1173" y="1162"/>
                    </a:lnTo>
                    <a:lnTo>
                      <a:pt x="1174" y="1162"/>
                    </a:lnTo>
                    <a:lnTo>
                      <a:pt x="1173" y="1160"/>
                    </a:lnTo>
                    <a:lnTo>
                      <a:pt x="1173" y="1162"/>
                    </a:lnTo>
                    <a:lnTo>
                      <a:pt x="1171" y="1162"/>
                    </a:lnTo>
                    <a:lnTo>
                      <a:pt x="1171" y="1160"/>
                    </a:lnTo>
                    <a:lnTo>
                      <a:pt x="1171" y="1158"/>
                    </a:lnTo>
                    <a:lnTo>
                      <a:pt x="1171" y="1157"/>
                    </a:lnTo>
                    <a:lnTo>
                      <a:pt x="1171" y="1155"/>
                    </a:lnTo>
                    <a:lnTo>
                      <a:pt x="1173" y="1155"/>
                    </a:lnTo>
                    <a:lnTo>
                      <a:pt x="1174" y="1155"/>
                    </a:lnTo>
                    <a:lnTo>
                      <a:pt x="1176" y="1155"/>
                    </a:lnTo>
                    <a:lnTo>
                      <a:pt x="1178" y="1155"/>
                    </a:lnTo>
                    <a:lnTo>
                      <a:pt x="1176" y="1153"/>
                    </a:lnTo>
                    <a:lnTo>
                      <a:pt x="1176" y="1155"/>
                    </a:lnTo>
                    <a:lnTo>
                      <a:pt x="1174" y="1155"/>
                    </a:lnTo>
                    <a:lnTo>
                      <a:pt x="1173" y="1155"/>
                    </a:lnTo>
                    <a:lnTo>
                      <a:pt x="1173" y="1153"/>
                    </a:lnTo>
                    <a:lnTo>
                      <a:pt x="1174" y="1153"/>
                    </a:lnTo>
                    <a:lnTo>
                      <a:pt x="1173" y="1151"/>
                    </a:lnTo>
                    <a:lnTo>
                      <a:pt x="1173" y="1150"/>
                    </a:lnTo>
                    <a:lnTo>
                      <a:pt x="1174" y="1148"/>
                    </a:lnTo>
                    <a:lnTo>
                      <a:pt x="1173" y="1148"/>
                    </a:lnTo>
                    <a:lnTo>
                      <a:pt x="1173" y="1150"/>
                    </a:lnTo>
                    <a:lnTo>
                      <a:pt x="1173" y="1151"/>
                    </a:lnTo>
                    <a:lnTo>
                      <a:pt x="1171" y="1151"/>
                    </a:lnTo>
                    <a:lnTo>
                      <a:pt x="1173" y="1151"/>
                    </a:lnTo>
                    <a:lnTo>
                      <a:pt x="1173" y="1153"/>
                    </a:lnTo>
                    <a:lnTo>
                      <a:pt x="1171" y="1153"/>
                    </a:lnTo>
                    <a:lnTo>
                      <a:pt x="1171" y="1155"/>
                    </a:lnTo>
                    <a:lnTo>
                      <a:pt x="1169" y="1155"/>
                    </a:lnTo>
                    <a:lnTo>
                      <a:pt x="1168" y="1155"/>
                    </a:lnTo>
                    <a:lnTo>
                      <a:pt x="1168" y="1157"/>
                    </a:lnTo>
                    <a:lnTo>
                      <a:pt x="1168" y="1158"/>
                    </a:lnTo>
                    <a:lnTo>
                      <a:pt x="1166" y="1158"/>
                    </a:lnTo>
                    <a:lnTo>
                      <a:pt x="1164" y="1158"/>
                    </a:lnTo>
                    <a:lnTo>
                      <a:pt x="1162" y="1158"/>
                    </a:lnTo>
                    <a:lnTo>
                      <a:pt x="1161" y="1157"/>
                    </a:lnTo>
                    <a:lnTo>
                      <a:pt x="1161" y="1155"/>
                    </a:lnTo>
                    <a:lnTo>
                      <a:pt x="1162" y="1155"/>
                    </a:lnTo>
                    <a:lnTo>
                      <a:pt x="1162" y="1153"/>
                    </a:lnTo>
                    <a:lnTo>
                      <a:pt x="1164" y="1155"/>
                    </a:lnTo>
                    <a:lnTo>
                      <a:pt x="1164" y="1153"/>
                    </a:lnTo>
                    <a:lnTo>
                      <a:pt x="1166" y="1153"/>
                    </a:lnTo>
                    <a:lnTo>
                      <a:pt x="1168" y="1153"/>
                    </a:lnTo>
                    <a:lnTo>
                      <a:pt x="1169" y="1153"/>
                    </a:lnTo>
                    <a:lnTo>
                      <a:pt x="1168" y="1153"/>
                    </a:lnTo>
                    <a:lnTo>
                      <a:pt x="1166" y="1151"/>
                    </a:lnTo>
                    <a:lnTo>
                      <a:pt x="1168" y="1153"/>
                    </a:lnTo>
                    <a:lnTo>
                      <a:pt x="1166" y="1153"/>
                    </a:lnTo>
                    <a:lnTo>
                      <a:pt x="1164" y="1153"/>
                    </a:lnTo>
                    <a:lnTo>
                      <a:pt x="1162" y="1153"/>
                    </a:lnTo>
                    <a:lnTo>
                      <a:pt x="1161" y="1151"/>
                    </a:lnTo>
                    <a:lnTo>
                      <a:pt x="1162" y="1151"/>
                    </a:lnTo>
                    <a:lnTo>
                      <a:pt x="1164" y="1151"/>
                    </a:lnTo>
                    <a:lnTo>
                      <a:pt x="1164" y="1150"/>
                    </a:lnTo>
                    <a:lnTo>
                      <a:pt x="1166" y="1151"/>
                    </a:lnTo>
                    <a:lnTo>
                      <a:pt x="1164" y="1150"/>
                    </a:lnTo>
                    <a:lnTo>
                      <a:pt x="1162" y="1151"/>
                    </a:lnTo>
                    <a:lnTo>
                      <a:pt x="1161" y="1151"/>
                    </a:lnTo>
                    <a:lnTo>
                      <a:pt x="1161" y="1150"/>
                    </a:lnTo>
                    <a:lnTo>
                      <a:pt x="1161" y="1148"/>
                    </a:lnTo>
                    <a:lnTo>
                      <a:pt x="1159" y="1148"/>
                    </a:lnTo>
                    <a:lnTo>
                      <a:pt x="1161" y="1146"/>
                    </a:lnTo>
                    <a:lnTo>
                      <a:pt x="1162" y="1146"/>
                    </a:lnTo>
                    <a:lnTo>
                      <a:pt x="1164" y="1146"/>
                    </a:lnTo>
                    <a:lnTo>
                      <a:pt x="1164" y="1148"/>
                    </a:lnTo>
                    <a:lnTo>
                      <a:pt x="1164" y="1146"/>
                    </a:lnTo>
                    <a:lnTo>
                      <a:pt x="1164" y="1148"/>
                    </a:lnTo>
                    <a:lnTo>
                      <a:pt x="1166" y="1148"/>
                    </a:lnTo>
                    <a:lnTo>
                      <a:pt x="1168" y="1148"/>
                    </a:lnTo>
                    <a:lnTo>
                      <a:pt x="1168" y="1150"/>
                    </a:lnTo>
                    <a:lnTo>
                      <a:pt x="1169" y="1150"/>
                    </a:lnTo>
                    <a:lnTo>
                      <a:pt x="1168" y="1150"/>
                    </a:lnTo>
                    <a:lnTo>
                      <a:pt x="1168" y="1148"/>
                    </a:lnTo>
                    <a:lnTo>
                      <a:pt x="1166" y="1148"/>
                    </a:lnTo>
                    <a:lnTo>
                      <a:pt x="1164" y="1146"/>
                    </a:lnTo>
                    <a:lnTo>
                      <a:pt x="1166" y="1146"/>
                    </a:lnTo>
                    <a:lnTo>
                      <a:pt x="1168" y="1146"/>
                    </a:lnTo>
                    <a:lnTo>
                      <a:pt x="1168" y="1148"/>
                    </a:lnTo>
                    <a:lnTo>
                      <a:pt x="1168" y="1146"/>
                    </a:lnTo>
                    <a:lnTo>
                      <a:pt x="1169" y="1146"/>
                    </a:lnTo>
                    <a:lnTo>
                      <a:pt x="1168" y="1146"/>
                    </a:lnTo>
                    <a:lnTo>
                      <a:pt x="1169" y="1146"/>
                    </a:lnTo>
                    <a:lnTo>
                      <a:pt x="1171" y="1146"/>
                    </a:lnTo>
                    <a:lnTo>
                      <a:pt x="1169" y="1146"/>
                    </a:lnTo>
                    <a:lnTo>
                      <a:pt x="1169" y="1145"/>
                    </a:lnTo>
                    <a:lnTo>
                      <a:pt x="1171" y="1145"/>
                    </a:lnTo>
                    <a:lnTo>
                      <a:pt x="1173" y="1143"/>
                    </a:lnTo>
                    <a:lnTo>
                      <a:pt x="1173" y="1145"/>
                    </a:lnTo>
                    <a:lnTo>
                      <a:pt x="1174" y="1145"/>
                    </a:lnTo>
                    <a:lnTo>
                      <a:pt x="1173" y="1146"/>
                    </a:lnTo>
                    <a:lnTo>
                      <a:pt x="1173" y="1148"/>
                    </a:lnTo>
                    <a:lnTo>
                      <a:pt x="1174" y="1146"/>
                    </a:lnTo>
                    <a:lnTo>
                      <a:pt x="1174" y="1145"/>
                    </a:lnTo>
                    <a:lnTo>
                      <a:pt x="1176" y="1145"/>
                    </a:lnTo>
                    <a:lnTo>
                      <a:pt x="1178" y="1145"/>
                    </a:lnTo>
                    <a:lnTo>
                      <a:pt x="1178" y="1146"/>
                    </a:lnTo>
                    <a:lnTo>
                      <a:pt x="1176" y="1146"/>
                    </a:lnTo>
                    <a:lnTo>
                      <a:pt x="1178" y="1146"/>
                    </a:lnTo>
                    <a:lnTo>
                      <a:pt x="1178" y="1145"/>
                    </a:lnTo>
                    <a:lnTo>
                      <a:pt x="1179" y="1145"/>
                    </a:lnTo>
                    <a:lnTo>
                      <a:pt x="1179" y="1146"/>
                    </a:lnTo>
                    <a:lnTo>
                      <a:pt x="1179" y="1148"/>
                    </a:lnTo>
                    <a:lnTo>
                      <a:pt x="1178" y="1148"/>
                    </a:lnTo>
                    <a:lnTo>
                      <a:pt x="1179" y="1148"/>
                    </a:lnTo>
                    <a:lnTo>
                      <a:pt x="1181" y="1148"/>
                    </a:lnTo>
                    <a:lnTo>
                      <a:pt x="1179" y="1150"/>
                    </a:lnTo>
                    <a:lnTo>
                      <a:pt x="1181" y="1150"/>
                    </a:lnTo>
                    <a:lnTo>
                      <a:pt x="1181" y="1148"/>
                    </a:lnTo>
                    <a:lnTo>
                      <a:pt x="1183" y="1150"/>
                    </a:lnTo>
                    <a:lnTo>
                      <a:pt x="1181" y="1151"/>
                    </a:lnTo>
                    <a:lnTo>
                      <a:pt x="1181" y="1153"/>
                    </a:lnTo>
                    <a:lnTo>
                      <a:pt x="1181" y="1155"/>
                    </a:lnTo>
                    <a:lnTo>
                      <a:pt x="1183" y="1155"/>
                    </a:lnTo>
                    <a:lnTo>
                      <a:pt x="1183" y="1153"/>
                    </a:lnTo>
                    <a:lnTo>
                      <a:pt x="1183" y="1151"/>
                    </a:lnTo>
                    <a:lnTo>
                      <a:pt x="1183" y="1153"/>
                    </a:lnTo>
                    <a:lnTo>
                      <a:pt x="1183" y="1151"/>
                    </a:lnTo>
                    <a:lnTo>
                      <a:pt x="1183" y="1150"/>
                    </a:lnTo>
                    <a:lnTo>
                      <a:pt x="1185" y="1150"/>
                    </a:lnTo>
                    <a:lnTo>
                      <a:pt x="1185" y="1151"/>
                    </a:lnTo>
                    <a:lnTo>
                      <a:pt x="1185" y="1150"/>
                    </a:lnTo>
                    <a:lnTo>
                      <a:pt x="1183" y="1150"/>
                    </a:lnTo>
                    <a:lnTo>
                      <a:pt x="1183" y="1148"/>
                    </a:lnTo>
                    <a:lnTo>
                      <a:pt x="1181" y="1148"/>
                    </a:lnTo>
                    <a:lnTo>
                      <a:pt x="1181" y="1146"/>
                    </a:lnTo>
                    <a:lnTo>
                      <a:pt x="1181" y="1145"/>
                    </a:lnTo>
                    <a:lnTo>
                      <a:pt x="1183" y="1145"/>
                    </a:lnTo>
                    <a:lnTo>
                      <a:pt x="1183" y="1146"/>
                    </a:lnTo>
                    <a:lnTo>
                      <a:pt x="1183" y="1145"/>
                    </a:lnTo>
                    <a:lnTo>
                      <a:pt x="1181" y="1145"/>
                    </a:lnTo>
                    <a:lnTo>
                      <a:pt x="1181" y="1143"/>
                    </a:lnTo>
                    <a:lnTo>
                      <a:pt x="1183" y="1145"/>
                    </a:lnTo>
                    <a:lnTo>
                      <a:pt x="1183" y="1143"/>
                    </a:lnTo>
                    <a:lnTo>
                      <a:pt x="1185" y="1143"/>
                    </a:lnTo>
                    <a:lnTo>
                      <a:pt x="1186" y="1145"/>
                    </a:lnTo>
                    <a:lnTo>
                      <a:pt x="1186" y="1143"/>
                    </a:lnTo>
                    <a:lnTo>
                      <a:pt x="1186" y="1145"/>
                    </a:lnTo>
                    <a:lnTo>
                      <a:pt x="1186" y="1146"/>
                    </a:lnTo>
                    <a:lnTo>
                      <a:pt x="1188" y="1146"/>
                    </a:lnTo>
                    <a:lnTo>
                      <a:pt x="1186" y="1146"/>
                    </a:lnTo>
                    <a:lnTo>
                      <a:pt x="1188" y="1145"/>
                    </a:lnTo>
                    <a:lnTo>
                      <a:pt x="1190" y="1143"/>
                    </a:lnTo>
                    <a:lnTo>
                      <a:pt x="1191" y="1143"/>
                    </a:lnTo>
                    <a:lnTo>
                      <a:pt x="1193" y="1143"/>
                    </a:lnTo>
                    <a:lnTo>
                      <a:pt x="1193" y="1145"/>
                    </a:lnTo>
                    <a:lnTo>
                      <a:pt x="1195" y="1145"/>
                    </a:lnTo>
                    <a:lnTo>
                      <a:pt x="1193" y="1145"/>
                    </a:lnTo>
                    <a:lnTo>
                      <a:pt x="1193" y="1143"/>
                    </a:lnTo>
                    <a:lnTo>
                      <a:pt x="1195" y="1145"/>
                    </a:lnTo>
                    <a:lnTo>
                      <a:pt x="1195" y="1146"/>
                    </a:lnTo>
                    <a:lnTo>
                      <a:pt x="1193" y="1146"/>
                    </a:lnTo>
                    <a:lnTo>
                      <a:pt x="1191" y="1146"/>
                    </a:lnTo>
                    <a:lnTo>
                      <a:pt x="1190" y="1146"/>
                    </a:lnTo>
                    <a:lnTo>
                      <a:pt x="1190" y="1148"/>
                    </a:lnTo>
                    <a:lnTo>
                      <a:pt x="1188" y="1148"/>
                    </a:lnTo>
                    <a:lnTo>
                      <a:pt x="1190" y="1148"/>
                    </a:lnTo>
                    <a:lnTo>
                      <a:pt x="1191" y="1148"/>
                    </a:lnTo>
                    <a:lnTo>
                      <a:pt x="1193" y="1148"/>
                    </a:lnTo>
                    <a:lnTo>
                      <a:pt x="1193" y="1150"/>
                    </a:lnTo>
                    <a:lnTo>
                      <a:pt x="1191" y="1150"/>
                    </a:lnTo>
                    <a:lnTo>
                      <a:pt x="1193" y="1150"/>
                    </a:lnTo>
                    <a:lnTo>
                      <a:pt x="1193" y="1148"/>
                    </a:lnTo>
                    <a:lnTo>
                      <a:pt x="1195" y="1148"/>
                    </a:lnTo>
                    <a:lnTo>
                      <a:pt x="1196" y="1150"/>
                    </a:lnTo>
                    <a:lnTo>
                      <a:pt x="1196" y="1151"/>
                    </a:lnTo>
                    <a:lnTo>
                      <a:pt x="1195" y="1151"/>
                    </a:lnTo>
                    <a:lnTo>
                      <a:pt x="1195" y="1153"/>
                    </a:lnTo>
                    <a:lnTo>
                      <a:pt x="1193" y="1153"/>
                    </a:lnTo>
                    <a:lnTo>
                      <a:pt x="1191" y="1153"/>
                    </a:lnTo>
                    <a:lnTo>
                      <a:pt x="1190" y="1153"/>
                    </a:lnTo>
                    <a:lnTo>
                      <a:pt x="1188" y="1155"/>
                    </a:lnTo>
                    <a:lnTo>
                      <a:pt x="1186" y="1153"/>
                    </a:lnTo>
                    <a:lnTo>
                      <a:pt x="1186" y="1155"/>
                    </a:lnTo>
                    <a:lnTo>
                      <a:pt x="1188" y="1155"/>
                    </a:lnTo>
                    <a:lnTo>
                      <a:pt x="1190" y="1155"/>
                    </a:lnTo>
                    <a:lnTo>
                      <a:pt x="1191" y="1153"/>
                    </a:lnTo>
                    <a:lnTo>
                      <a:pt x="1193" y="1153"/>
                    </a:lnTo>
                    <a:lnTo>
                      <a:pt x="1195" y="1153"/>
                    </a:lnTo>
                    <a:lnTo>
                      <a:pt x="1195" y="1155"/>
                    </a:lnTo>
                    <a:lnTo>
                      <a:pt x="1195" y="1157"/>
                    </a:lnTo>
                    <a:lnTo>
                      <a:pt x="1195" y="1158"/>
                    </a:lnTo>
                    <a:lnTo>
                      <a:pt x="1193" y="1158"/>
                    </a:lnTo>
                    <a:lnTo>
                      <a:pt x="1191" y="1160"/>
                    </a:lnTo>
                    <a:lnTo>
                      <a:pt x="1191" y="1158"/>
                    </a:lnTo>
                    <a:lnTo>
                      <a:pt x="1190" y="1158"/>
                    </a:lnTo>
                    <a:lnTo>
                      <a:pt x="1190" y="1160"/>
                    </a:lnTo>
                    <a:lnTo>
                      <a:pt x="1188" y="1160"/>
                    </a:lnTo>
                    <a:lnTo>
                      <a:pt x="1186" y="1160"/>
                    </a:lnTo>
                    <a:lnTo>
                      <a:pt x="1186" y="1158"/>
                    </a:lnTo>
                    <a:lnTo>
                      <a:pt x="1186" y="1160"/>
                    </a:lnTo>
                    <a:lnTo>
                      <a:pt x="1185" y="1158"/>
                    </a:lnTo>
                    <a:lnTo>
                      <a:pt x="1186" y="1160"/>
                    </a:lnTo>
                    <a:lnTo>
                      <a:pt x="1188" y="1160"/>
                    </a:lnTo>
                    <a:lnTo>
                      <a:pt x="1190" y="1160"/>
                    </a:lnTo>
                    <a:lnTo>
                      <a:pt x="1191" y="1160"/>
                    </a:lnTo>
                    <a:lnTo>
                      <a:pt x="1193" y="1160"/>
                    </a:lnTo>
                    <a:lnTo>
                      <a:pt x="1193" y="1158"/>
                    </a:lnTo>
                    <a:lnTo>
                      <a:pt x="1195" y="1158"/>
                    </a:lnTo>
                    <a:lnTo>
                      <a:pt x="1196" y="1157"/>
                    </a:lnTo>
                    <a:lnTo>
                      <a:pt x="1195" y="1157"/>
                    </a:lnTo>
                    <a:lnTo>
                      <a:pt x="1195" y="1155"/>
                    </a:lnTo>
                    <a:lnTo>
                      <a:pt x="1195" y="1153"/>
                    </a:lnTo>
                    <a:lnTo>
                      <a:pt x="1195" y="1151"/>
                    </a:lnTo>
                    <a:lnTo>
                      <a:pt x="1196" y="1151"/>
                    </a:lnTo>
                    <a:lnTo>
                      <a:pt x="1196" y="1153"/>
                    </a:lnTo>
                    <a:lnTo>
                      <a:pt x="1198" y="1153"/>
                    </a:lnTo>
                    <a:lnTo>
                      <a:pt x="1198" y="1155"/>
                    </a:lnTo>
                    <a:lnTo>
                      <a:pt x="1198" y="1157"/>
                    </a:lnTo>
                    <a:lnTo>
                      <a:pt x="1198" y="1158"/>
                    </a:lnTo>
                    <a:lnTo>
                      <a:pt x="1196" y="1160"/>
                    </a:lnTo>
                    <a:lnTo>
                      <a:pt x="1195" y="1160"/>
                    </a:lnTo>
                    <a:lnTo>
                      <a:pt x="1195" y="1162"/>
                    </a:lnTo>
                    <a:lnTo>
                      <a:pt x="1193" y="1162"/>
                    </a:lnTo>
                    <a:lnTo>
                      <a:pt x="1191" y="1163"/>
                    </a:lnTo>
                    <a:lnTo>
                      <a:pt x="1190" y="1163"/>
                    </a:lnTo>
                    <a:lnTo>
                      <a:pt x="1188" y="1163"/>
                    </a:lnTo>
                    <a:lnTo>
                      <a:pt x="1188" y="1165"/>
                    </a:lnTo>
                    <a:lnTo>
                      <a:pt x="1186" y="1165"/>
                    </a:lnTo>
                    <a:lnTo>
                      <a:pt x="1185" y="1163"/>
                    </a:lnTo>
                    <a:lnTo>
                      <a:pt x="1183" y="1163"/>
                    </a:lnTo>
                    <a:lnTo>
                      <a:pt x="1181" y="1162"/>
                    </a:lnTo>
                    <a:lnTo>
                      <a:pt x="1183" y="1162"/>
                    </a:lnTo>
                    <a:lnTo>
                      <a:pt x="1181" y="1160"/>
                    </a:lnTo>
                    <a:lnTo>
                      <a:pt x="1181" y="1162"/>
                    </a:lnTo>
                    <a:lnTo>
                      <a:pt x="1181" y="1163"/>
                    </a:lnTo>
                    <a:lnTo>
                      <a:pt x="1183" y="1163"/>
                    </a:lnTo>
                    <a:lnTo>
                      <a:pt x="1185" y="1165"/>
                    </a:lnTo>
                    <a:lnTo>
                      <a:pt x="1186" y="1165"/>
                    </a:lnTo>
                    <a:lnTo>
                      <a:pt x="1188" y="1165"/>
                    </a:lnTo>
                    <a:lnTo>
                      <a:pt x="1190" y="1165"/>
                    </a:lnTo>
                    <a:lnTo>
                      <a:pt x="1190" y="1163"/>
                    </a:lnTo>
                    <a:lnTo>
                      <a:pt x="1191" y="1163"/>
                    </a:lnTo>
                    <a:lnTo>
                      <a:pt x="1193" y="1163"/>
                    </a:lnTo>
                    <a:lnTo>
                      <a:pt x="1195" y="1162"/>
                    </a:lnTo>
                    <a:lnTo>
                      <a:pt x="1196" y="1162"/>
                    </a:lnTo>
                    <a:lnTo>
                      <a:pt x="1196" y="1163"/>
                    </a:lnTo>
                    <a:lnTo>
                      <a:pt x="1195" y="1163"/>
                    </a:lnTo>
                    <a:lnTo>
                      <a:pt x="1196" y="1163"/>
                    </a:lnTo>
                    <a:lnTo>
                      <a:pt x="1196" y="1165"/>
                    </a:lnTo>
                    <a:lnTo>
                      <a:pt x="1196" y="1163"/>
                    </a:lnTo>
                    <a:lnTo>
                      <a:pt x="1196" y="1162"/>
                    </a:lnTo>
                    <a:lnTo>
                      <a:pt x="1198" y="1162"/>
                    </a:lnTo>
                    <a:lnTo>
                      <a:pt x="1198" y="1160"/>
                    </a:lnTo>
                    <a:lnTo>
                      <a:pt x="1200" y="1160"/>
                    </a:lnTo>
                    <a:lnTo>
                      <a:pt x="1202" y="1158"/>
                    </a:lnTo>
                    <a:lnTo>
                      <a:pt x="1202" y="1160"/>
                    </a:lnTo>
                    <a:lnTo>
                      <a:pt x="1202" y="1162"/>
                    </a:lnTo>
                    <a:lnTo>
                      <a:pt x="1203" y="1162"/>
                    </a:lnTo>
                    <a:lnTo>
                      <a:pt x="1203" y="1163"/>
                    </a:lnTo>
                    <a:lnTo>
                      <a:pt x="1205" y="1163"/>
                    </a:lnTo>
                    <a:lnTo>
                      <a:pt x="1205" y="1165"/>
                    </a:lnTo>
                    <a:lnTo>
                      <a:pt x="1205" y="1167"/>
                    </a:lnTo>
                    <a:lnTo>
                      <a:pt x="1205" y="1168"/>
                    </a:lnTo>
                    <a:lnTo>
                      <a:pt x="1205" y="1170"/>
                    </a:lnTo>
                    <a:lnTo>
                      <a:pt x="1203" y="1170"/>
                    </a:lnTo>
                    <a:lnTo>
                      <a:pt x="1203" y="1172"/>
                    </a:lnTo>
                    <a:lnTo>
                      <a:pt x="1203" y="1174"/>
                    </a:lnTo>
                    <a:lnTo>
                      <a:pt x="1202" y="1174"/>
                    </a:lnTo>
                    <a:lnTo>
                      <a:pt x="1202" y="1175"/>
                    </a:lnTo>
                    <a:lnTo>
                      <a:pt x="1200" y="1175"/>
                    </a:lnTo>
                    <a:lnTo>
                      <a:pt x="1202" y="1177"/>
                    </a:lnTo>
                    <a:lnTo>
                      <a:pt x="1202" y="1179"/>
                    </a:lnTo>
                    <a:lnTo>
                      <a:pt x="1202" y="1177"/>
                    </a:lnTo>
                    <a:lnTo>
                      <a:pt x="1200" y="1177"/>
                    </a:lnTo>
                    <a:lnTo>
                      <a:pt x="1200" y="1179"/>
                    </a:lnTo>
                    <a:lnTo>
                      <a:pt x="1198" y="1179"/>
                    </a:lnTo>
                    <a:lnTo>
                      <a:pt x="1200" y="1179"/>
                    </a:lnTo>
                    <a:lnTo>
                      <a:pt x="1200" y="1180"/>
                    </a:lnTo>
                    <a:lnTo>
                      <a:pt x="1202" y="1180"/>
                    </a:lnTo>
                    <a:lnTo>
                      <a:pt x="1202" y="1182"/>
                    </a:lnTo>
                    <a:lnTo>
                      <a:pt x="1203" y="1180"/>
                    </a:lnTo>
                    <a:lnTo>
                      <a:pt x="1203" y="1179"/>
                    </a:lnTo>
                    <a:lnTo>
                      <a:pt x="1203" y="1177"/>
                    </a:lnTo>
                    <a:lnTo>
                      <a:pt x="1205" y="1177"/>
                    </a:lnTo>
                    <a:lnTo>
                      <a:pt x="1205" y="1175"/>
                    </a:lnTo>
                    <a:lnTo>
                      <a:pt x="1205" y="1174"/>
                    </a:lnTo>
                    <a:lnTo>
                      <a:pt x="1205" y="1172"/>
                    </a:lnTo>
                    <a:lnTo>
                      <a:pt x="1207" y="1172"/>
                    </a:lnTo>
                    <a:lnTo>
                      <a:pt x="1208" y="1170"/>
                    </a:lnTo>
                    <a:lnTo>
                      <a:pt x="1208" y="1168"/>
                    </a:lnTo>
                    <a:lnTo>
                      <a:pt x="1210" y="1168"/>
                    </a:lnTo>
                    <a:lnTo>
                      <a:pt x="1210" y="1167"/>
                    </a:lnTo>
                    <a:lnTo>
                      <a:pt x="1212" y="1167"/>
                    </a:lnTo>
                    <a:lnTo>
                      <a:pt x="1213" y="1167"/>
                    </a:lnTo>
                    <a:lnTo>
                      <a:pt x="1215" y="1167"/>
                    </a:lnTo>
                    <a:lnTo>
                      <a:pt x="1213" y="1167"/>
                    </a:lnTo>
                    <a:lnTo>
                      <a:pt x="1212" y="1167"/>
                    </a:lnTo>
                    <a:lnTo>
                      <a:pt x="1212" y="1165"/>
                    </a:lnTo>
                    <a:lnTo>
                      <a:pt x="1212" y="1163"/>
                    </a:lnTo>
                    <a:lnTo>
                      <a:pt x="1212" y="1162"/>
                    </a:lnTo>
                    <a:lnTo>
                      <a:pt x="1213" y="1162"/>
                    </a:lnTo>
                    <a:lnTo>
                      <a:pt x="1213" y="1160"/>
                    </a:lnTo>
                    <a:lnTo>
                      <a:pt x="1215" y="1160"/>
                    </a:lnTo>
                    <a:lnTo>
                      <a:pt x="1213" y="1160"/>
                    </a:lnTo>
                    <a:lnTo>
                      <a:pt x="1213" y="1158"/>
                    </a:lnTo>
                    <a:lnTo>
                      <a:pt x="1215" y="1158"/>
                    </a:lnTo>
                    <a:lnTo>
                      <a:pt x="1215" y="1157"/>
                    </a:lnTo>
                    <a:lnTo>
                      <a:pt x="1217" y="1157"/>
                    </a:lnTo>
                    <a:lnTo>
                      <a:pt x="1217" y="1155"/>
                    </a:lnTo>
                    <a:lnTo>
                      <a:pt x="1219" y="1155"/>
                    </a:lnTo>
                    <a:lnTo>
                      <a:pt x="1219" y="1153"/>
                    </a:lnTo>
                    <a:lnTo>
                      <a:pt x="1217" y="1153"/>
                    </a:lnTo>
                    <a:lnTo>
                      <a:pt x="1215" y="1155"/>
                    </a:lnTo>
                    <a:lnTo>
                      <a:pt x="1215" y="1157"/>
                    </a:lnTo>
                    <a:lnTo>
                      <a:pt x="1213" y="1157"/>
                    </a:lnTo>
                    <a:lnTo>
                      <a:pt x="1213" y="1158"/>
                    </a:lnTo>
                    <a:lnTo>
                      <a:pt x="1212" y="1160"/>
                    </a:lnTo>
                    <a:lnTo>
                      <a:pt x="1212" y="1162"/>
                    </a:lnTo>
                    <a:lnTo>
                      <a:pt x="1210" y="1163"/>
                    </a:lnTo>
                    <a:lnTo>
                      <a:pt x="1212" y="1162"/>
                    </a:lnTo>
                    <a:lnTo>
                      <a:pt x="1212" y="1163"/>
                    </a:lnTo>
                    <a:lnTo>
                      <a:pt x="1210" y="1163"/>
                    </a:lnTo>
                    <a:lnTo>
                      <a:pt x="1210" y="1165"/>
                    </a:lnTo>
                    <a:lnTo>
                      <a:pt x="1208" y="1167"/>
                    </a:lnTo>
                    <a:lnTo>
                      <a:pt x="1208" y="1168"/>
                    </a:lnTo>
                    <a:lnTo>
                      <a:pt x="1207" y="1168"/>
                    </a:lnTo>
                    <a:lnTo>
                      <a:pt x="1208" y="1168"/>
                    </a:lnTo>
                    <a:lnTo>
                      <a:pt x="1207" y="1168"/>
                    </a:lnTo>
                    <a:lnTo>
                      <a:pt x="1208" y="1167"/>
                    </a:lnTo>
                    <a:lnTo>
                      <a:pt x="1208" y="1165"/>
                    </a:lnTo>
                    <a:lnTo>
                      <a:pt x="1208" y="1163"/>
                    </a:lnTo>
                    <a:lnTo>
                      <a:pt x="1210" y="1163"/>
                    </a:lnTo>
                    <a:lnTo>
                      <a:pt x="1208" y="1163"/>
                    </a:lnTo>
                    <a:lnTo>
                      <a:pt x="1208" y="1162"/>
                    </a:lnTo>
                    <a:lnTo>
                      <a:pt x="1208" y="1160"/>
                    </a:lnTo>
                    <a:lnTo>
                      <a:pt x="1208" y="1158"/>
                    </a:lnTo>
                    <a:lnTo>
                      <a:pt x="1210" y="1158"/>
                    </a:lnTo>
                    <a:lnTo>
                      <a:pt x="1210" y="1157"/>
                    </a:lnTo>
                    <a:lnTo>
                      <a:pt x="1210" y="1155"/>
                    </a:lnTo>
                    <a:lnTo>
                      <a:pt x="1208" y="1153"/>
                    </a:lnTo>
                    <a:lnTo>
                      <a:pt x="1210" y="1153"/>
                    </a:lnTo>
                    <a:lnTo>
                      <a:pt x="1208" y="1151"/>
                    </a:lnTo>
                    <a:lnTo>
                      <a:pt x="1210" y="1151"/>
                    </a:lnTo>
                    <a:lnTo>
                      <a:pt x="1210" y="1150"/>
                    </a:lnTo>
                    <a:lnTo>
                      <a:pt x="1212" y="1150"/>
                    </a:lnTo>
                    <a:lnTo>
                      <a:pt x="1210" y="1150"/>
                    </a:lnTo>
                    <a:lnTo>
                      <a:pt x="1210" y="1148"/>
                    </a:lnTo>
                    <a:lnTo>
                      <a:pt x="1212" y="1146"/>
                    </a:lnTo>
                    <a:lnTo>
                      <a:pt x="1213" y="1146"/>
                    </a:lnTo>
                    <a:lnTo>
                      <a:pt x="1212" y="1145"/>
                    </a:lnTo>
                    <a:lnTo>
                      <a:pt x="1213" y="1143"/>
                    </a:lnTo>
                    <a:lnTo>
                      <a:pt x="1213" y="1141"/>
                    </a:lnTo>
                    <a:lnTo>
                      <a:pt x="1215" y="1141"/>
                    </a:lnTo>
                    <a:lnTo>
                      <a:pt x="1215" y="1140"/>
                    </a:lnTo>
                    <a:lnTo>
                      <a:pt x="1217" y="1138"/>
                    </a:lnTo>
                    <a:lnTo>
                      <a:pt x="1219" y="1138"/>
                    </a:lnTo>
                    <a:lnTo>
                      <a:pt x="1220" y="1138"/>
                    </a:lnTo>
                    <a:lnTo>
                      <a:pt x="1220" y="1136"/>
                    </a:lnTo>
                    <a:lnTo>
                      <a:pt x="1222" y="1138"/>
                    </a:lnTo>
                    <a:lnTo>
                      <a:pt x="1222" y="1136"/>
                    </a:lnTo>
                    <a:lnTo>
                      <a:pt x="1222" y="1138"/>
                    </a:lnTo>
                    <a:lnTo>
                      <a:pt x="1224" y="1138"/>
                    </a:lnTo>
                    <a:lnTo>
                      <a:pt x="1225" y="1136"/>
                    </a:lnTo>
                    <a:lnTo>
                      <a:pt x="1224" y="1136"/>
                    </a:lnTo>
                    <a:lnTo>
                      <a:pt x="1224" y="1134"/>
                    </a:lnTo>
                    <a:lnTo>
                      <a:pt x="1222" y="1134"/>
                    </a:lnTo>
                    <a:lnTo>
                      <a:pt x="1222" y="1136"/>
                    </a:lnTo>
                    <a:lnTo>
                      <a:pt x="1220" y="1136"/>
                    </a:lnTo>
                    <a:lnTo>
                      <a:pt x="1220" y="1134"/>
                    </a:lnTo>
                    <a:lnTo>
                      <a:pt x="1220" y="1133"/>
                    </a:lnTo>
                    <a:lnTo>
                      <a:pt x="1222" y="1133"/>
                    </a:lnTo>
                    <a:lnTo>
                      <a:pt x="1220" y="1133"/>
                    </a:lnTo>
                    <a:lnTo>
                      <a:pt x="1220" y="1134"/>
                    </a:lnTo>
                    <a:lnTo>
                      <a:pt x="1219" y="1134"/>
                    </a:lnTo>
                    <a:lnTo>
                      <a:pt x="1217" y="1136"/>
                    </a:lnTo>
                    <a:lnTo>
                      <a:pt x="1217" y="1138"/>
                    </a:lnTo>
                    <a:lnTo>
                      <a:pt x="1215" y="1138"/>
                    </a:lnTo>
                    <a:lnTo>
                      <a:pt x="1215" y="1140"/>
                    </a:lnTo>
                    <a:lnTo>
                      <a:pt x="1213" y="1140"/>
                    </a:lnTo>
                    <a:lnTo>
                      <a:pt x="1213" y="1141"/>
                    </a:lnTo>
                    <a:lnTo>
                      <a:pt x="1212" y="1141"/>
                    </a:lnTo>
                    <a:lnTo>
                      <a:pt x="1212" y="1140"/>
                    </a:lnTo>
                    <a:lnTo>
                      <a:pt x="1212" y="1138"/>
                    </a:lnTo>
                    <a:lnTo>
                      <a:pt x="1212" y="1136"/>
                    </a:lnTo>
                    <a:lnTo>
                      <a:pt x="1212" y="1134"/>
                    </a:lnTo>
                    <a:lnTo>
                      <a:pt x="1212" y="1133"/>
                    </a:lnTo>
                    <a:lnTo>
                      <a:pt x="1213" y="1133"/>
                    </a:lnTo>
                    <a:lnTo>
                      <a:pt x="1213" y="1131"/>
                    </a:lnTo>
                    <a:lnTo>
                      <a:pt x="1213" y="1129"/>
                    </a:lnTo>
                    <a:lnTo>
                      <a:pt x="1213" y="1128"/>
                    </a:lnTo>
                    <a:lnTo>
                      <a:pt x="1213" y="1126"/>
                    </a:lnTo>
                    <a:lnTo>
                      <a:pt x="1215" y="1124"/>
                    </a:lnTo>
                    <a:lnTo>
                      <a:pt x="1217" y="1124"/>
                    </a:lnTo>
                    <a:lnTo>
                      <a:pt x="1217" y="1126"/>
                    </a:lnTo>
                    <a:lnTo>
                      <a:pt x="1217" y="1128"/>
                    </a:lnTo>
                    <a:lnTo>
                      <a:pt x="1217" y="1126"/>
                    </a:lnTo>
                    <a:lnTo>
                      <a:pt x="1217" y="1124"/>
                    </a:lnTo>
                    <a:lnTo>
                      <a:pt x="1217" y="1122"/>
                    </a:lnTo>
                    <a:lnTo>
                      <a:pt x="1219" y="1122"/>
                    </a:lnTo>
                    <a:lnTo>
                      <a:pt x="1219" y="1121"/>
                    </a:lnTo>
                    <a:lnTo>
                      <a:pt x="1219" y="1122"/>
                    </a:lnTo>
                    <a:lnTo>
                      <a:pt x="1220" y="1124"/>
                    </a:lnTo>
                    <a:lnTo>
                      <a:pt x="1220" y="1122"/>
                    </a:lnTo>
                    <a:lnTo>
                      <a:pt x="1220" y="1121"/>
                    </a:lnTo>
                    <a:lnTo>
                      <a:pt x="1219" y="1121"/>
                    </a:lnTo>
                    <a:lnTo>
                      <a:pt x="1220" y="1121"/>
                    </a:lnTo>
                    <a:lnTo>
                      <a:pt x="1220" y="1119"/>
                    </a:lnTo>
                    <a:lnTo>
                      <a:pt x="1222" y="1119"/>
                    </a:lnTo>
                    <a:lnTo>
                      <a:pt x="1224" y="1119"/>
                    </a:lnTo>
                    <a:lnTo>
                      <a:pt x="1225" y="1119"/>
                    </a:lnTo>
                    <a:lnTo>
                      <a:pt x="1225" y="1121"/>
                    </a:lnTo>
                    <a:lnTo>
                      <a:pt x="1225" y="1122"/>
                    </a:lnTo>
                    <a:lnTo>
                      <a:pt x="1227" y="1122"/>
                    </a:lnTo>
                    <a:lnTo>
                      <a:pt x="1227" y="1124"/>
                    </a:lnTo>
                    <a:lnTo>
                      <a:pt x="1229" y="1124"/>
                    </a:lnTo>
                    <a:lnTo>
                      <a:pt x="1230" y="1126"/>
                    </a:lnTo>
                    <a:lnTo>
                      <a:pt x="1232" y="1126"/>
                    </a:lnTo>
                    <a:lnTo>
                      <a:pt x="1234" y="1126"/>
                    </a:lnTo>
                    <a:lnTo>
                      <a:pt x="1234" y="1128"/>
                    </a:lnTo>
                    <a:lnTo>
                      <a:pt x="1234" y="1126"/>
                    </a:lnTo>
                    <a:lnTo>
                      <a:pt x="1234" y="1128"/>
                    </a:lnTo>
                    <a:lnTo>
                      <a:pt x="1236" y="1126"/>
                    </a:lnTo>
                    <a:lnTo>
                      <a:pt x="1236" y="1128"/>
                    </a:lnTo>
                    <a:lnTo>
                      <a:pt x="1236" y="1126"/>
                    </a:lnTo>
                    <a:lnTo>
                      <a:pt x="1237" y="1126"/>
                    </a:lnTo>
                    <a:lnTo>
                      <a:pt x="1236" y="1126"/>
                    </a:lnTo>
                    <a:lnTo>
                      <a:pt x="1237" y="1126"/>
                    </a:lnTo>
                    <a:lnTo>
                      <a:pt x="1237" y="1124"/>
                    </a:lnTo>
                    <a:lnTo>
                      <a:pt x="1236" y="1124"/>
                    </a:lnTo>
                    <a:lnTo>
                      <a:pt x="1237" y="1122"/>
                    </a:lnTo>
                    <a:lnTo>
                      <a:pt x="1236" y="1122"/>
                    </a:lnTo>
                    <a:lnTo>
                      <a:pt x="1234" y="1122"/>
                    </a:lnTo>
                    <a:lnTo>
                      <a:pt x="1234" y="1124"/>
                    </a:lnTo>
                    <a:lnTo>
                      <a:pt x="1232" y="1124"/>
                    </a:lnTo>
                    <a:lnTo>
                      <a:pt x="1230" y="1124"/>
                    </a:lnTo>
                    <a:lnTo>
                      <a:pt x="1230" y="1122"/>
                    </a:lnTo>
                    <a:lnTo>
                      <a:pt x="1229" y="1122"/>
                    </a:lnTo>
                    <a:lnTo>
                      <a:pt x="1229" y="1121"/>
                    </a:lnTo>
                    <a:lnTo>
                      <a:pt x="1227" y="1121"/>
                    </a:lnTo>
                    <a:lnTo>
                      <a:pt x="1227" y="1119"/>
                    </a:lnTo>
                    <a:lnTo>
                      <a:pt x="1225" y="1117"/>
                    </a:lnTo>
                    <a:lnTo>
                      <a:pt x="1224" y="1117"/>
                    </a:lnTo>
                    <a:lnTo>
                      <a:pt x="1224" y="1116"/>
                    </a:lnTo>
                    <a:lnTo>
                      <a:pt x="1222" y="1116"/>
                    </a:lnTo>
                    <a:lnTo>
                      <a:pt x="1220" y="1116"/>
                    </a:lnTo>
                    <a:lnTo>
                      <a:pt x="1220" y="1117"/>
                    </a:lnTo>
                    <a:lnTo>
                      <a:pt x="1219" y="1117"/>
                    </a:lnTo>
                    <a:lnTo>
                      <a:pt x="1219" y="1119"/>
                    </a:lnTo>
                    <a:lnTo>
                      <a:pt x="1219" y="1117"/>
                    </a:lnTo>
                    <a:lnTo>
                      <a:pt x="1217" y="1117"/>
                    </a:lnTo>
                    <a:lnTo>
                      <a:pt x="1215" y="1117"/>
                    </a:lnTo>
                    <a:lnTo>
                      <a:pt x="1213" y="1116"/>
                    </a:lnTo>
                    <a:lnTo>
                      <a:pt x="1213" y="1114"/>
                    </a:lnTo>
                    <a:lnTo>
                      <a:pt x="1215" y="1116"/>
                    </a:lnTo>
                    <a:lnTo>
                      <a:pt x="1215" y="1117"/>
                    </a:lnTo>
                    <a:lnTo>
                      <a:pt x="1215" y="1116"/>
                    </a:lnTo>
                    <a:lnTo>
                      <a:pt x="1215" y="1114"/>
                    </a:lnTo>
                    <a:lnTo>
                      <a:pt x="1217" y="1114"/>
                    </a:lnTo>
                    <a:lnTo>
                      <a:pt x="1219" y="1114"/>
                    </a:lnTo>
                    <a:lnTo>
                      <a:pt x="1220" y="1114"/>
                    </a:lnTo>
                    <a:lnTo>
                      <a:pt x="1220" y="1112"/>
                    </a:lnTo>
                    <a:lnTo>
                      <a:pt x="1219" y="1112"/>
                    </a:lnTo>
                    <a:lnTo>
                      <a:pt x="1220" y="1112"/>
                    </a:lnTo>
                    <a:lnTo>
                      <a:pt x="1220" y="1111"/>
                    </a:lnTo>
                    <a:lnTo>
                      <a:pt x="1220" y="1109"/>
                    </a:lnTo>
                    <a:lnTo>
                      <a:pt x="1219" y="1109"/>
                    </a:lnTo>
                    <a:lnTo>
                      <a:pt x="1220" y="1109"/>
                    </a:lnTo>
                    <a:lnTo>
                      <a:pt x="1220" y="1107"/>
                    </a:lnTo>
                    <a:lnTo>
                      <a:pt x="1220" y="1109"/>
                    </a:lnTo>
                    <a:lnTo>
                      <a:pt x="1219" y="1109"/>
                    </a:lnTo>
                    <a:lnTo>
                      <a:pt x="1219" y="1107"/>
                    </a:lnTo>
                    <a:lnTo>
                      <a:pt x="1217" y="1107"/>
                    </a:lnTo>
                    <a:lnTo>
                      <a:pt x="1217" y="1105"/>
                    </a:lnTo>
                    <a:lnTo>
                      <a:pt x="1217" y="1104"/>
                    </a:lnTo>
                    <a:lnTo>
                      <a:pt x="1217" y="1102"/>
                    </a:lnTo>
                    <a:lnTo>
                      <a:pt x="1219" y="1102"/>
                    </a:lnTo>
                    <a:lnTo>
                      <a:pt x="1220" y="1102"/>
                    </a:lnTo>
                    <a:lnTo>
                      <a:pt x="1222" y="1102"/>
                    </a:lnTo>
                    <a:lnTo>
                      <a:pt x="1224" y="1102"/>
                    </a:lnTo>
                    <a:lnTo>
                      <a:pt x="1225" y="1100"/>
                    </a:lnTo>
                    <a:lnTo>
                      <a:pt x="1227" y="1102"/>
                    </a:lnTo>
                    <a:lnTo>
                      <a:pt x="1227" y="1100"/>
                    </a:lnTo>
                    <a:lnTo>
                      <a:pt x="1229" y="1100"/>
                    </a:lnTo>
                    <a:lnTo>
                      <a:pt x="1229" y="1099"/>
                    </a:lnTo>
                    <a:lnTo>
                      <a:pt x="1230" y="1099"/>
                    </a:lnTo>
                    <a:lnTo>
                      <a:pt x="1230" y="1097"/>
                    </a:lnTo>
                    <a:lnTo>
                      <a:pt x="1232" y="1097"/>
                    </a:lnTo>
                    <a:lnTo>
                      <a:pt x="1232" y="1099"/>
                    </a:lnTo>
                    <a:lnTo>
                      <a:pt x="1232" y="1097"/>
                    </a:lnTo>
                    <a:lnTo>
                      <a:pt x="1234" y="1097"/>
                    </a:lnTo>
                    <a:lnTo>
                      <a:pt x="1236" y="1095"/>
                    </a:lnTo>
                    <a:lnTo>
                      <a:pt x="1237" y="1094"/>
                    </a:lnTo>
                    <a:lnTo>
                      <a:pt x="1239" y="1092"/>
                    </a:lnTo>
                    <a:lnTo>
                      <a:pt x="1241" y="1092"/>
                    </a:lnTo>
                    <a:lnTo>
                      <a:pt x="1241" y="1090"/>
                    </a:lnTo>
                    <a:lnTo>
                      <a:pt x="1239" y="1088"/>
                    </a:lnTo>
                    <a:lnTo>
                      <a:pt x="1241" y="1087"/>
                    </a:lnTo>
                    <a:lnTo>
                      <a:pt x="1241" y="1085"/>
                    </a:lnTo>
                    <a:lnTo>
                      <a:pt x="1241" y="1083"/>
                    </a:lnTo>
                    <a:lnTo>
                      <a:pt x="1242" y="1082"/>
                    </a:lnTo>
                    <a:lnTo>
                      <a:pt x="1244" y="1082"/>
                    </a:lnTo>
                    <a:lnTo>
                      <a:pt x="1244" y="1080"/>
                    </a:lnTo>
                    <a:lnTo>
                      <a:pt x="1244" y="1082"/>
                    </a:lnTo>
                    <a:lnTo>
                      <a:pt x="1246" y="1082"/>
                    </a:lnTo>
                    <a:lnTo>
                      <a:pt x="1244" y="1080"/>
                    </a:lnTo>
                    <a:lnTo>
                      <a:pt x="1244" y="1078"/>
                    </a:lnTo>
                    <a:lnTo>
                      <a:pt x="1244" y="1077"/>
                    </a:lnTo>
                    <a:lnTo>
                      <a:pt x="1244" y="1075"/>
                    </a:lnTo>
                    <a:lnTo>
                      <a:pt x="1244" y="1073"/>
                    </a:lnTo>
                    <a:lnTo>
                      <a:pt x="1246" y="1071"/>
                    </a:lnTo>
                    <a:lnTo>
                      <a:pt x="1244" y="1071"/>
                    </a:lnTo>
                    <a:lnTo>
                      <a:pt x="1244" y="1073"/>
                    </a:lnTo>
                    <a:lnTo>
                      <a:pt x="1244" y="1075"/>
                    </a:lnTo>
                    <a:lnTo>
                      <a:pt x="1242" y="1077"/>
                    </a:lnTo>
                    <a:lnTo>
                      <a:pt x="1242" y="1078"/>
                    </a:lnTo>
                    <a:lnTo>
                      <a:pt x="1242" y="1080"/>
                    </a:lnTo>
                    <a:lnTo>
                      <a:pt x="1241" y="1080"/>
                    </a:lnTo>
                    <a:lnTo>
                      <a:pt x="1241" y="1082"/>
                    </a:lnTo>
                    <a:lnTo>
                      <a:pt x="1241" y="1080"/>
                    </a:lnTo>
                    <a:lnTo>
                      <a:pt x="1239" y="1080"/>
                    </a:lnTo>
                    <a:lnTo>
                      <a:pt x="1239" y="1078"/>
                    </a:lnTo>
                    <a:lnTo>
                      <a:pt x="1241" y="1078"/>
                    </a:lnTo>
                    <a:lnTo>
                      <a:pt x="1239" y="1078"/>
                    </a:lnTo>
                    <a:lnTo>
                      <a:pt x="1237" y="1078"/>
                    </a:lnTo>
                    <a:lnTo>
                      <a:pt x="1237" y="1077"/>
                    </a:lnTo>
                    <a:lnTo>
                      <a:pt x="1237" y="1075"/>
                    </a:lnTo>
                    <a:lnTo>
                      <a:pt x="1236" y="1075"/>
                    </a:lnTo>
                    <a:lnTo>
                      <a:pt x="1234" y="1075"/>
                    </a:lnTo>
                    <a:lnTo>
                      <a:pt x="1232" y="1073"/>
                    </a:lnTo>
                    <a:lnTo>
                      <a:pt x="1234" y="1073"/>
                    </a:lnTo>
                    <a:lnTo>
                      <a:pt x="1234" y="1071"/>
                    </a:lnTo>
                    <a:lnTo>
                      <a:pt x="1236" y="1071"/>
                    </a:lnTo>
                    <a:lnTo>
                      <a:pt x="1234" y="1071"/>
                    </a:lnTo>
                    <a:lnTo>
                      <a:pt x="1232" y="1071"/>
                    </a:lnTo>
                    <a:lnTo>
                      <a:pt x="1230" y="1071"/>
                    </a:lnTo>
                    <a:lnTo>
                      <a:pt x="1230" y="1070"/>
                    </a:lnTo>
                    <a:lnTo>
                      <a:pt x="1229" y="1070"/>
                    </a:lnTo>
                    <a:lnTo>
                      <a:pt x="1229" y="1068"/>
                    </a:lnTo>
                    <a:lnTo>
                      <a:pt x="1227" y="1068"/>
                    </a:lnTo>
                    <a:lnTo>
                      <a:pt x="1227" y="1070"/>
                    </a:lnTo>
                    <a:lnTo>
                      <a:pt x="1225" y="1070"/>
                    </a:lnTo>
                    <a:lnTo>
                      <a:pt x="1225" y="1068"/>
                    </a:lnTo>
                    <a:lnTo>
                      <a:pt x="1224" y="1068"/>
                    </a:lnTo>
                    <a:lnTo>
                      <a:pt x="1224" y="1066"/>
                    </a:lnTo>
                    <a:lnTo>
                      <a:pt x="1225" y="1066"/>
                    </a:lnTo>
                    <a:lnTo>
                      <a:pt x="1225" y="1068"/>
                    </a:lnTo>
                    <a:lnTo>
                      <a:pt x="1227" y="1068"/>
                    </a:lnTo>
                    <a:lnTo>
                      <a:pt x="1225" y="1066"/>
                    </a:lnTo>
                    <a:lnTo>
                      <a:pt x="1227" y="1066"/>
                    </a:lnTo>
                    <a:lnTo>
                      <a:pt x="1227" y="1065"/>
                    </a:lnTo>
                    <a:lnTo>
                      <a:pt x="1227" y="1066"/>
                    </a:lnTo>
                    <a:lnTo>
                      <a:pt x="1225" y="1065"/>
                    </a:lnTo>
                    <a:lnTo>
                      <a:pt x="1227" y="1065"/>
                    </a:lnTo>
                    <a:lnTo>
                      <a:pt x="1227" y="1063"/>
                    </a:lnTo>
                    <a:lnTo>
                      <a:pt x="1225" y="1063"/>
                    </a:lnTo>
                    <a:lnTo>
                      <a:pt x="1225" y="1065"/>
                    </a:lnTo>
                    <a:lnTo>
                      <a:pt x="1225" y="1066"/>
                    </a:lnTo>
                    <a:lnTo>
                      <a:pt x="1224" y="1066"/>
                    </a:lnTo>
                    <a:lnTo>
                      <a:pt x="1222" y="1066"/>
                    </a:lnTo>
                    <a:lnTo>
                      <a:pt x="1222" y="1065"/>
                    </a:lnTo>
                    <a:lnTo>
                      <a:pt x="1222" y="1066"/>
                    </a:lnTo>
                    <a:lnTo>
                      <a:pt x="1220" y="1066"/>
                    </a:lnTo>
                    <a:lnTo>
                      <a:pt x="1220" y="1065"/>
                    </a:lnTo>
                    <a:lnTo>
                      <a:pt x="1222" y="1065"/>
                    </a:lnTo>
                    <a:lnTo>
                      <a:pt x="1220" y="1065"/>
                    </a:lnTo>
                    <a:lnTo>
                      <a:pt x="1220" y="1063"/>
                    </a:lnTo>
                    <a:lnTo>
                      <a:pt x="1222" y="1061"/>
                    </a:lnTo>
                    <a:lnTo>
                      <a:pt x="1222" y="1063"/>
                    </a:lnTo>
                    <a:lnTo>
                      <a:pt x="1224" y="1065"/>
                    </a:lnTo>
                    <a:lnTo>
                      <a:pt x="1224" y="1063"/>
                    </a:lnTo>
                    <a:lnTo>
                      <a:pt x="1222" y="1061"/>
                    </a:lnTo>
                    <a:lnTo>
                      <a:pt x="1224" y="1060"/>
                    </a:lnTo>
                    <a:lnTo>
                      <a:pt x="1225" y="1060"/>
                    </a:lnTo>
                    <a:lnTo>
                      <a:pt x="1225" y="1061"/>
                    </a:lnTo>
                    <a:lnTo>
                      <a:pt x="1227" y="1061"/>
                    </a:lnTo>
                    <a:lnTo>
                      <a:pt x="1227" y="1060"/>
                    </a:lnTo>
                    <a:lnTo>
                      <a:pt x="1225" y="1060"/>
                    </a:lnTo>
                    <a:lnTo>
                      <a:pt x="1225" y="1058"/>
                    </a:lnTo>
                    <a:lnTo>
                      <a:pt x="1225" y="1056"/>
                    </a:lnTo>
                    <a:lnTo>
                      <a:pt x="1227" y="1056"/>
                    </a:lnTo>
                    <a:lnTo>
                      <a:pt x="1227" y="1054"/>
                    </a:lnTo>
                    <a:lnTo>
                      <a:pt x="1229" y="1054"/>
                    </a:lnTo>
                    <a:lnTo>
                      <a:pt x="1229" y="1053"/>
                    </a:lnTo>
                    <a:lnTo>
                      <a:pt x="1229" y="1051"/>
                    </a:lnTo>
                    <a:lnTo>
                      <a:pt x="1229" y="1049"/>
                    </a:lnTo>
                    <a:lnTo>
                      <a:pt x="1230" y="1049"/>
                    </a:lnTo>
                    <a:lnTo>
                      <a:pt x="1230" y="1048"/>
                    </a:lnTo>
                    <a:lnTo>
                      <a:pt x="1230" y="1046"/>
                    </a:lnTo>
                    <a:lnTo>
                      <a:pt x="1232" y="1046"/>
                    </a:lnTo>
                    <a:lnTo>
                      <a:pt x="1232" y="1048"/>
                    </a:lnTo>
                    <a:lnTo>
                      <a:pt x="1234" y="1048"/>
                    </a:lnTo>
                    <a:lnTo>
                      <a:pt x="1236" y="1048"/>
                    </a:lnTo>
                    <a:lnTo>
                      <a:pt x="1236" y="1049"/>
                    </a:lnTo>
                    <a:lnTo>
                      <a:pt x="1237" y="1048"/>
                    </a:lnTo>
                    <a:lnTo>
                      <a:pt x="1237" y="1049"/>
                    </a:lnTo>
                    <a:lnTo>
                      <a:pt x="1239" y="1049"/>
                    </a:lnTo>
                    <a:lnTo>
                      <a:pt x="1237" y="1049"/>
                    </a:lnTo>
                    <a:lnTo>
                      <a:pt x="1237" y="1048"/>
                    </a:lnTo>
                    <a:lnTo>
                      <a:pt x="1236" y="1048"/>
                    </a:lnTo>
                    <a:lnTo>
                      <a:pt x="1236" y="1046"/>
                    </a:lnTo>
                    <a:lnTo>
                      <a:pt x="1236" y="1044"/>
                    </a:lnTo>
                    <a:lnTo>
                      <a:pt x="1236" y="1043"/>
                    </a:lnTo>
                    <a:lnTo>
                      <a:pt x="1237" y="1043"/>
                    </a:lnTo>
                    <a:lnTo>
                      <a:pt x="1236" y="1043"/>
                    </a:lnTo>
                    <a:lnTo>
                      <a:pt x="1236" y="1041"/>
                    </a:lnTo>
                    <a:lnTo>
                      <a:pt x="1236" y="1043"/>
                    </a:lnTo>
                    <a:lnTo>
                      <a:pt x="1236" y="1044"/>
                    </a:lnTo>
                    <a:lnTo>
                      <a:pt x="1236" y="1046"/>
                    </a:lnTo>
                    <a:lnTo>
                      <a:pt x="1234" y="1046"/>
                    </a:lnTo>
                    <a:lnTo>
                      <a:pt x="1232" y="1046"/>
                    </a:lnTo>
                    <a:lnTo>
                      <a:pt x="1232" y="1048"/>
                    </a:lnTo>
                    <a:lnTo>
                      <a:pt x="1232" y="1046"/>
                    </a:lnTo>
                    <a:lnTo>
                      <a:pt x="1230" y="1046"/>
                    </a:lnTo>
                    <a:lnTo>
                      <a:pt x="1230" y="1044"/>
                    </a:lnTo>
                    <a:lnTo>
                      <a:pt x="1229" y="1044"/>
                    </a:lnTo>
                    <a:lnTo>
                      <a:pt x="1229" y="1043"/>
                    </a:lnTo>
                    <a:lnTo>
                      <a:pt x="1230" y="1043"/>
                    </a:lnTo>
                    <a:lnTo>
                      <a:pt x="1232" y="1041"/>
                    </a:lnTo>
                    <a:lnTo>
                      <a:pt x="1232" y="1039"/>
                    </a:lnTo>
                    <a:lnTo>
                      <a:pt x="1234" y="1039"/>
                    </a:lnTo>
                    <a:lnTo>
                      <a:pt x="1234" y="1037"/>
                    </a:lnTo>
                    <a:lnTo>
                      <a:pt x="1232" y="1039"/>
                    </a:lnTo>
                    <a:lnTo>
                      <a:pt x="1232" y="1037"/>
                    </a:lnTo>
                    <a:lnTo>
                      <a:pt x="1232" y="1039"/>
                    </a:lnTo>
                    <a:lnTo>
                      <a:pt x="1230" y="1037"/>
                    </a:lnTo>
                    <a:lnTo>
                      <a:pt x="1229" y="1037"/>
                    </a:lnTo>
                    <a:lnTo>
                      <a:pt x="1229" y="1036"/>
                    </a:lnTo>
                    <a:lnTo>
                      <a:pt x="1229" y="1034"/>
                    </a:lnTo>
                    <a:lnTo>
                      <a:pt x="1227" y="1032"/>
                    </a:lnTo>
                    <a:lnTo>
                      <a:pt x="1227" y="1031"/>
                    </a:lnTo>
                    <a:lnTo>
                      <a:pt x="1229" y="1029"/>
                    </a:lnTo>
                    <a:lnTo>
                      <a:pt x="1229" y="1027"/>
                    </a:lnTo>
                    <a:lnTo>
                      <a:pt x="1227" y="1027"/>
                    </a:lnTo>
                    <a:lnTo>
                      <a:pt x="1227" y="1026"/>
                    </a:lnTo>
                    <a:lnTo>
                      <a:pt x="1229" y="1026"/>
                    </a:lnTo>
                    <a:lnTo>
                      <a:pt x="1229" y="1024"/>
                    </a:lnTo>
                    <a:lnTo>
                      <a:pt x="1230" y="1024"/>
                    </a:lnTo>
                    <a:lnTo>
                      <a:pt x="1230" y="1022"/>
                    </a:lnTo>
                    <a:lnTo>
                      <a:pt x="1232" y="1022"/>
                    </a:lnTo>
                    <a:lnTo>
                      <a:pt x="1234" y="1022"/>
                    </a:lnTo>
                    <a:lnTo>
                      <a:pt x="1234" y="1020"/>
                    </a:lnTo>
                    <a:lnTo>
                      <a:pt x="1234" y="1019"/>
                    </a:lnTo>
                    <a:lnTo>
                      <a:pt x="1234" y="1017"/>
                    </a:lnTo>
                    <a:lnTo>
                      <a:pt x="1232" y="1017"/>
                    </a:lnTo>
                    <a:lnTo>
                      <a:pt x="1232" y="1015"/>
                    </a:lnTo>
                    <a:lnTo>
                      <a:pt x="1234" y="1015"/>
                    </a:lnTo>
                    <a:lnTo>
                      <a:pt x="1234" y="1014"/>
                    </a:lnTo>
                    <a:lnTo>
                      <a:pt x="1234" y="1012"/>
                    </a:lnTo>
                    <a:lnTo>
                      <a:pt x="1236" y="1012"/>
                    </a:lnTo>
                    <a:lnTo>
                      <a:pt x="1237" y="1012"/>
                    </a:lnTo>
                    <a:lnTo>
                      <a:pt x="1237" y="1014"/>
                    </a:lnTo>
                    <a:lnTo>
                      <a:pt x="1239" y="1014"/>
                    </a:lnTo>
                    <a:lnTo>
                      <a:pt x="1239" y="1012"/>
                    </a:lnTo>
                    <a:lnTo>
                      <a:pt x="1239" y="1010"/>
                    </a:lnTo>
                    <a:lnTo>
                      <a:pt x="1237" y="1010"/>
                    </a:lnTo>
                    <a:lnTo>
                      <a:pt x="1239" y="1010"/>
                    </a:lnTo>
                    <a:lnTo>
                      <a:pt x="1237" y="1010"/>
                    </a:lnTo>
                    <a:lnTo>
                      <a:pt x="1237" y="1009"/>
                    </a:lnTo>
                    <a:lnTo>
                      <a:pt x="1236" y="1009"/>
                    </a:lnTo>
                    <a:lnTo>
                      <a:pt x="1237" y="1007"/>
                    </a:lnTo>
                    <a:lnTo>
                      <a:pt x="1237" y="1009"/>
                    </a:lnTo>
                    <a:lnTo>
                      <a:pt x="1239" y="1009"/>
                    </a:lnTo>
                    <a:lnTo>
                      <a:pt x="1239" y="1007"/>
                    </a:lnTo>
                    <a:lnTo>
                      <a:pt x="1239" y="1005"/>
                    </a:lnTo>
                    <a:lnTo>
                      <a:pt x="1237" y="1005"/>
                    </a:lnTo>
                    <a:lnTo>
                      <a:pt x="1237" y="1003"/>
                    </a:lnTo>
                    <a:lnTo>
                      <a:pt x="1236" y="1003"/>
                    </a:lnTo>
                    <a:lnTo>
                      <a:pt x="1236" y="1002"/>
                    </a:lnTo>
                    <a:lnTo>
                      <a:pt x="1236" y="1000"/>
                    </a:lnTo>
                    <a:lnTo>
                      <a:pt x="1236" y="998"/>
                    </a:lnTo>
                    <a:lnTo>
                      <a:pt x="1236" y="997"/>
                    </a:lnTo>
                    <a:lnTo>
                      <a:pt x="1237" y="997"/>
                    </a:lnTo>
                    <a:lnTo>
                      <a:pt x="1237" y="995"/>
                    </a:lnTo>
                    <a:lnTo>
                      <a:pt x="1236" y="995"/>
                    </a:lnTo>
                    <a:lnTo>
                      <a:pt x="1236" y="993"/>
                    </a:lnTo>
                    <a:lnTo>
                      <a:pt x="1236" y="992"/>
                    </a:lnTo>
                    <a:lnTo>
                      <a:pt x="1236" y="990"/>
                    </a:lnTo>
                    <a:lnTo>
                      <a:pt x="1236" y="988"/>
                    </a:lnTo>
                    <a:lnTo>
                      <a:pt x="1237" y="988"/>
                    </a:lnTo>
                    <a:lnTo>
                      <a:pt x="1239" y="988"/>
                    </a:lnTo>
                    <a:lnTo>
                      <a:pt x="1241" y="988"/>
                    </a:lnTo>
                    <a:lnTo>
                      <a:pt x="1242" y="990"/>
                    </a:lnTo>
                    <a:lnTo>
                      <a:pt x="1244" y="990"/>
                    </a:lnTo>
                    <a:lnTo>
                      <a:pt x="1244" y="992"/>
                    </a:lnTo>
                    <a:lnTo>
                      <a:pt x="1246" y="992"/>
                    </a:lnTo>
                    <a:lnTo>
                      <a:pt x="1247" y="992"/>
                    </a:lnTo>
                    <a:lnTo>
                      <a:pt x="1247" y="990"/>
                    </a:lnTo>
                    <a:lnTo>
                      <a:pt x="1246" y="992"/>
                    </a:lnTo>
                    <a:lnTo>
                      <a:pt x="1246" y="990"/>
                    </a:lnTo>
                    <a:lnTo>
                      <a:pt x="1244" y="990"/>
                    </a:lnTo>
                    <a:lnTo>
                      <a:pt x="1244" y="988"/>
                    </a:lnTo>
                    <a:lnTo>
                      <a:pt x="1242" y="988"/>
                    </a:lnTo>
                    <a:lnTo>
                      <a:pt x="1242" y="986"/>
                    </a:lnTo>
                    <a:lnTo>
                      <a:pt x="1241" y="986"/>
                    </a:lnTo>
                    <a:lnTo>
                      <a:pt x="1241" y="985"/>
                    </a:lnTo>
                    <a:lnTo>
                      <a:pt x="1241" y="983"/>
                    </a:lnTo>
                    <a:lnTo>
                      <a:pt x="1239" y="983"/>
                    </a:lnTo>
                    <a:lnTo>
                      <a:pt x="1237" y="981"/>
                    </a:lnTo>
                    <a:lnTo>
                      <a:pt x="1237" y="980"/>
                    </a:lnTo>
                    <a:lnTo>
                      <a:pt x="1237" y="978"/>
                    </a:lnTo>
                    <a:lnTo>
                      <a:pt x="1237" y="980"/>
                    </a:lnTo>
                    <a:lnTo>
                      <a:pt x="1236" y="980"/>
                    </a:lnTo>
                    <a:lnTo>
                      <a:pt x="1236" y="978"/>
                    </a:lnTo>
                    <a:lnTo>
                      <a:pt x="1237" y="978"/>
                    </a:lnTo>
                    <a:lnTo>
                      <a:pt x="1237" y="976"/>
                    </a:lnTo>
                    <a:lnTo>
                      <a:pt x="1239" y="976"/>
                    </a:lnTo>
                    <a:lnTo>
                      <a:pt x="1239" y="975"/>
                    </a:lnTo>
                    <a:lnTo>
                      <a:pt x="1241" y="975"/>
                    </a:lnTo>
                    <a:lnTo>
                      <a:pt x="1242" y="975"/>
                    </a:lnTo>
                    <a:lnTo>
                      <a:pt x="1244" y="975"/>
                    </a:lnTo>
                    <a:lnTo>
                      <a:pt x="1244" y="973"/>
                    </a:lnTo>
                    <a:lnTo>
                      <a:pt x="1244" y="975"/>
                    </a:lnTo>
                    <a:lnTo>
                      <a:pt x="1246" y="975"/>
                    </a:lnTo>
                    <a:lnTo>
                      <a:pt x="1246" y="976"/>
                    </a:lnTo>
                    <a:lnTo>
                      <a:pt x="1246" y="978"/>
                    </a:lnTo>
                    <a:lnTo>
                      <a:pt x="1246" y="980"/>
                    </a:lnTo>
                    <a:lnTo>
                      <a:pt x="1247" y="981"/>
                    </a:lnTo>
                    <a:lnTo>
                      <a:pt x="1247" y="983"/>
                    </a:lnTo>
                    <a:lnTo>
                      <a:pt x="1249" y="983"/>
                    </a:lnTo>
                    <a:lnTo>
                      <a:pt x="1249" y="985"/>
                    </a:lnTo>
                    <a:lnTo>
                      <a:pt x="1249" y="986"/>
                    </a:lnTo>
                    <a:lnTo>
                      <a:pt x="1249" y="988"/>
                    </a:lnTo>
                    <a:lnTo>
                      <a:pt x="1249" y="986"/>
                    </a:lnTo>
                    <a:lnTo>
                      <a:pt x="1251" y="986"/>
                    </a:lnTo>
                    <a:lnTo>
                      <a:pt x="1249" y="986"/>
                    </a:lnTo>
                    <a:lnTo>
                      <a:pt x="1249" y="985"/>
                    </a:lnTo>
                    <a:lnTo>
                      <a:pt x="1249" y="983"/>
                    </a:lnTo>
                    <a:lnTo>
                      <a:pt x="1249" y="981"/>
                    </a:lnTo>
                    <a:lnTo>
                      <a:pt x="1249" y="980"/>
                    </a:lnTo>
                    <a:lnTo>
                      <a:pt x="1247" y="980"/>
                    </a:lnTo>
                    <a:lnTo>
                      <a:pt x="1247" y="978"/>
                    </a:lnTo>
                    <a:lnTo>
                      <a:pt x="1249" y="976"/>
                    </a:lnTo>
                    <a:lnTo>
                      <a:pt x="1251" y="976"/>
                    </a:lnTo>
                    <a:lnTo>
                      <a:pt x="1249" y="976"/>
                    </a:lnTo>
                    <a:lnTo>
                      <a:pt x="1249" y="975"/>
                    </a:lnTo>
                    <a:lnTo>
                      <a:pt x="1247" y="975"/>
                    </a:lnTo>
                    <a:lnTo>
                      <a:pt x="1249" y="973"/>
                    </a:lnTo>
                    <a:lnTo>
                      <a:pt x="1251" y="973"/>
                    </a:lnTo>
                    <a:lnTo>
                      <a:pt x="1253" y="973"/>
                    </a:lnTo>
                    <a:lnTo>
                      <a:pt x="1251" y="973"/>
                    </a:lnTo>
                    <a:lnTo>
                      <a:pt x="1251" y="971"/>
                    </a:lnTo>
                    <a:lnTo>
                      <a:pt x="1251" y="973"/>
                    </a:lnTo>
                    <a:lnTo>
                      <a:pt x="1249" y="973"/>
                    </a:lnTo>
                    <a:lnTo>
                      <a:pt x="1247" y="971"/>
                    </a:lnTo>
                    <a:lnTo>
                      <a:pt x="1247" y="969"/>
                    </a:lnTo>
                    <a:lnTo>
                      <a:pt x="1249" y="969"/>
                    </a:lnTo>
                    <a:lnTo>
                      <a:pt x="1247" y="968"/>
                    </a:lnTo>
                    <a:lnTo>
                      <a:pt x="1249" y="968"/>
                    </a:lnTo>
                    <a:lnTo>
                      <a:pt x="1249" y="966"/>
                    </a:lnTo>
                    <a:lnTo>
                      <a:pt x="1249" y="964"/>
                    </a:lnTo>
                    <a:lnTo>
                      <a:pt x="1247" y="963"/>
                    </a:lnTo>
                    <a:lnTo>
                      <a:pt x="1246" y="964"/>
                    </a:lnTo>
                    <a:lnTo>
                      <a:pt x="1246" y="966"/>
                    </a:lnTo>
                    <a:lnTo>
                      <a:pt x="1244" y="966"/>
                    </a:lnTo>
                    <a:lnTo>
                      <a:pt x="1244" y="964"/>
                    </a:lnTo>
                    <a:lnTo>
                      <a:pt x="1244" y="966"/>
                    </a:lnTo>
                    <a:lnTo>
                      <a:pt x="1242" y="966"/>
                    </a:lnTo>
                    <a:lnTo>
                      <a:pt x="1242" y="964"/>
                    </a:lnTo>
                    <a:lnTo>
                      <a:pt x="1241" y="964"/>
                    </a:lnTo>
                    <a:lnTo>
                      <a:pt x="1241" y="966"/>
                    </a:lnTo>
                    <a:lnTo>
                      <a:pt x="1239" y="964"/>
                    </a:lnTo>
                    <a:lnTo>
                      <a:pt x="1237" y="964"/>
                    </a:lnTo>
                    <a:lnTo>
                      <a:pt x="1236" y="963"/>
                    </a:lnTo>
                    <a:lnTo>
                      <a:pt x="1237" y="963"/>
                    </a:lnTo>
                    <a:lnTo>
                      <a:pt x="1236" y="961"/>
                    </a:lnTo>
                    <a:lnTo>
                      <a:pt x="1234" y="961"/>
                    </a:lnTo>
                    <a:lnTo>
                      <a:pt x="1236" y="961"/>
                    </a:lnTo>
                    <a:lnTo>
                      <a:pt x="1236" y="959"/>
                    </a:lnTo>
                    <a:lnTo>
                      <a:pt x="1237" y="959"/>
                    </a:lnTo>
                    <a:lnTo>
                      <a:pt x="1237" y="957"/>
                    </a:lnTo>
                    <a:lnTo>
                      <a:pt x="1237" y="956"/>
                    </a:lnTo>
                    <a:lnTo>
                      <a:pt x="1239" y="956"/>
                    </a:lnTo>
                    <a:lnTo>
                      <a:pt x="1241" y="956"/>
                    </a:lnTo>
                    <a:lnTo>
                      <a:pt x="1241" y="954"/>
                    </a:lnTo>
                    <a:lnTo>
                      <a:pt x="1242" y="952"/>
                    </a:lnTo>
                    <a:lnTo>
                      <a:pt x="1244" y="952"/>
                    </a:lnTo>
                    <a:lnTo>
                      <a:pt x="1246" y="952"/>
                    </a:lnTo>
                    <a:lnTo>
                      <a:pt x="1247" y="952"/>
                    </a:lnTo>
                    <a:lnTo>
                      <a:pt x="1249" y="952"/>
                    </a:lnTo>
                    <a:lnTo>
                      <a:pt x="1249" y="951"/>
                    </a:lnTo>
                    <a:lnTo>
                      <a:pt x="1251" y="951"/>
                    </a:lnTo>
                    <a:lnTo>
                      <a:pt x="1253" y="949"/>
                    </a:lnTo>
                    <a:lnTo>
                      <a:pt x="1253" y="947"/>
                    </a:lnTo>
                    <a:lnTo>
                      <a:pt x="1253" y="946"/>
                    </a:lnTo>
                    <a:lnTo>
                      <a:pt x="1253" y="944"/>
                    </a:lnTo>
                    <a:lnTo>
                      <a:pt x="1254" y="944"/>
                    </a:lnTo>
                    <a:lnTo>
                      <a:pt x="1254" y="942"/>
                    </a:lnTo>
                    <a:lnTo>
                      <a:pt x="1253" y="942"/>
                    </a:lnTo>
                    <a:lnTo>
                      <a:pt x="1253" y="940"/>
                    </a:lnTo>
                    <a:lnTo>
                      <a:pt x="1254" y="939"/>
                    </a:lnTo>
                    <a:lnTo>
                      <a:pt x="1254" y="937"/>
                    </a:lnTo>
                    <a:lnTo>
                      <a:pt x="1253" y="937"/>
                    </a:lnTo>
                    <a:lnTo>
                      <a:pt x="1253" y="939"/>
                    </a:lnTo>
                    <a:lnTo>
                      <a:pt x="1253" y="937"/>
                    </a:lnTo>
                    <a:lnTo>
                      <a:pt x="1254" y="939"/>
                    </a:lnTo>
                    <a:lnTo>
                      <a:pt x="1253" y="939"/>
                    </a:lnTo>
                    <a:lnTo>
                      <a:pt x="1253" y="940"/>
                    </a:lnTo>
                    <a:lnTo>
                      <a:pt x="1253" y="942"/>
                    </a:lnTo>
                    <a:lnTo>
                      <a:pt x="1253" y="944"/>
                    </a:lnTo>
                    <a:lnTo>
                      <a:pt x="1253" y="946"/>
                    </a:lnTo>
                    <a:lnTo>
                      <a:pt x="1253" y="947"/>
                    </a:lnTo>
                    <a:lnTo>
                      <a:pt x="1251" y="947"/>
                    </a:lnTo>
                    <a:lnTo>
                      <a:pt x="1251" y="949"/>
                    </a:lnTo>
                    <a:lnTo>
                      <a:pt x="1249" y="949"/>
                    </a:lnTo>
                    <a:lnTo>
                      <a:pt x="1249" y="951"/>
                    </a:lnTo>
                    <a:lnTo>
                      <a:pt x="1249" y="949"/>
                    </a:lnTo>
                    <a:lnTo>
                      <a:pt x="1247" y="951"/>
                    </a:lnTo>
                    <a:lnTo>
                      <a:pt x="1246" y="951"/>
                    </a:lnTo>
                    <a:lnTo>
                      <a:pt x="1244" y="952"/>
                    </a:lnTo>
                    <a:lnTo>
                      <a:pt x="1244" y="951"/>
                    </a:lnTo>
                    <a:lnTo>
                      <a:pt x="1242" y="951"/>
                    </a:lnTo>
                    <a:lnTo>
                      <a:pt x="1241" y="949"/>
                    </a:lnTo>
                    <a:lnTo>
                      <a:pt x="1241" y="947"/>
                    </a:lnTo>
                    <a:lnTo>
                      <a:pt x="1241" y="946"/>
                    </a:lnTo>
                    <a:lnTo>
                      <a:pt x="1239" y="946"/>
                    </a:lnTo>
                    <a:lnTo>
                      <a:pt x="1239" y="944"/>
                    </a:lnTo>
                    <a:lnTo>
                      <a:pt x="1237" y="944"/>
                    </a:lnTo>
                    <a:lnTo>
                      <a:pt x="1237" y="942"/>
                    </a:lnTo>
                    <a:lnTo>
                      <a:pt x="1236" y="942"/>
                    </a:lnTo>
                    <a:lnTo>
                      <a:pt x="1234" y="942"/>
                    </a:lnTo>
                    <a:lnTo>
                      <a:pt x="1232" y="940"/>
                    </a:lnTo>
                    <a:lnTo>
                      <a:pt x="1230" y="942"/>
                    </a:lnTo>
                    <a:lnTo>
                      <a:pt x="1229" y="942"/>
                    </a:lnTo>
                    <a:lnTo>
                      <a:pt x="1229" y="944"/>
                    </a:lnTo>
                    <a:lnTo>
                      <a:pt x="1229" y="946"/>
                    </a:lnTo>
                    <a:lnTo>
                      <a:pt x="1227" y="946"/>
                    </a:lnTo>
                    <a:lnTo>
                      <a:pt x="1227" y="947"/>
                    </a:lnTo>
                    <a:lnTo>
                      <a:pt x="1229" y="949"/>
                    </a:lnTo>
                    <a:lnTo>
                      <a:pt x="1227" y="949"/>
                    </a:lnTo>
                    <a:lnTo>
                      <a:pt x="1229" y="951"/>
                    </a:lnTo>
                    <a:lnTo>
                      <a:pt x="1229" y="952"/>
                    </a:lnTo>
                    <a:lnTo>
                      <a:pt x="1227" y="951"/>
                    </a:lnTo>
                    <a:lnTo>
                      <a:pt x="1227" y="952"/>
                    </a:lnTo>
                    <a:lnTo>
                      <a:pt x="1225" y="954"/>
                    </a:lnTo>
                    <a:lnTo>
                      <a:pt x="1225" y="952"/>
                    </a:lnTo>
                    <a:lnTo>
                      <a:pt x="1225" y="951"/>
                    </a:lnTo>
                    <a:lnTo>
                      <a:pt x="1225" y="952"/>
                    </a:lnTo>
                    <a:lnTo>
                      <a:pt x="1224" y="952"/>
                    </a:lnTo>
                    <a:lnTo>
                      <a:pt x="1225" y="954"/>
                    </a:lnTo>
                    <a:lnTo>
                      <a:pt x="1224" y="954"/>
                    </a:lnTo>
                    <a:lnTo>
                      <a:pt x="1225" y="954"/>
                    </a:lnTo>
                    <a:lnTo>
                      <a:pt x="1225" y="956"/>
                    </a:lnTo>
                    <a:lnTo>
                      <a:pt x="1224" y="954"/>
                    </a:lnTo>
                    <a:lnTo>
                      <a:pt x="1224" y="956"/>
                    </a:lnTo>
                    <a:lnTo>
                      <a:pt x="1222" y="956"/>
                    </a:lnTo>
                    <a:lnTo>
                      <a:pt x="1222" y="954"/>
                    </a:lnTo>
                    <a:lnTo>
                      <a:pt x="1222" y="952"/>
                    </a:lnTo>
                    <a:lnTo>
                      <a:pt x="1224" y="952"/>
                    </a:lnTo>
                    <a:lnTo>
                      <a:pt x="1224" y="954"/>
                    </a:lnTo>
                    <a:lnTo>
                      <a:pt x="1224" y="952"/>
                    </a:lnTo>
                    <a:lnTo>
                      <a:pt x="1222" y="952"/>
                    </a:lnTo>
                    <a:lnTo>
                      <a:pt x="1222" y="954"/>
                    </a:lnTo>
                    <a:lnTo>
                      <a:pt x="1222" y="956"/>
                    </a:lnTo>
                    <a:lnTo>
                      <a:pt x="1220" y="954"/>
                    </a:lnTo>
                    <a:lnTo>
                      <a:pt x="1219" y="954"/>
                    </a:lnTo>
                    <a:lnTo>
                      <a:pt x="1217" y="954"/>
                    </a:lnTo>
                    <a:lnTo>
                      <a:pt x="1219" y="956"/>
                    </a:lnTo>
                    <a:lnTo>
                      <a:pt x="1217" y="956"/>
                    </a:lnTo>
                    <a:lnTo>
                      <a:pt x="1215" y="954"/>
                    </a:lnTo>
                    <a:lnTo>
                      <a:pt x="1215" y="956"/>
                    </a:lnTo>
                    <a:lnTo>
                      <a:pt x="1213" y="956"/>
                    </a:lnTo>
                    <a:lnTo>
                      <a:pt x="1212" y="954"/>
                    </a:lnTo>
                    <a:lnTo>
                      <a:pt x="1210" y="954"/>
                    </a:lnTo>
                    <a:lnTo>
                      <a:pt x="1208" y="954"/>
                    </a:lnTo>
                    <a:lnTo>
                      <a:pt x="1207" y="954"/>
                    </a:lnTo>
                    <a:lnTo>
                      <a:pt x="1207" y="952"/>
                    </a:lnTo>
                    <a:lnTo>
                      <a:pt x="1207" y="954"/>
                    </a:lnTo>
                    <a:lnTo>
                      <a:pt x="1205" y="952"/>
                    </a:lnTo>
                    <a:lnTo>
                      <a:pt x="1207" y="952"/>
                    </a:lnTo>
                    <a:lnTo>
                      <a:pt x="1207" y="951"/>
                    </a:lnTo>
                    <a:lnTo>
                      <a:pt x="1207" y="949"/>
                    </a:lnTo>
                    <a:lnTo>
                      <a:pt x="1207" y="947"/>
                    </a:lnTo>
                    <a:lnTo>
                      <a:pt x="1207" y="949"/>
                    </a:lnTo>
                    <a:lnTo>
                      <a:pt x="1208" y="949"/>
                    </a:lnTo>
                    <a:lnTo>
                      <a:pt x="1207" y="949"/>
                    </a:lnTo>
                    <a:lnTo>
                      <a:pt x="1207" y="951"/>
                    </a:lnTo>
                    <a:lnTo>
                      <a:pt x="1208" y="949"/>
                    </a:lnTo>
                    <a:lnTo>
                      <a:pt x="1207" y="949"/>
                    </a:lnTo>
                    <a:lnTo>
                      <a:pt x="1208" y="947"/>
                    </a:lnTo>
                    <a:lnTo>
                      <a:pt x="1210" y="947"/>
                    </a:lnTo>
                    <a:lnTo>
                      <a:pt x="1210" y="949"/>
                    </a:lnTo>
                    <a:lnTo>
                      <a:pt x="1212" y="949"/>
                    </a:lnTo>
                    <a:lnTo>
                      <a:pt x="1210" y="947"/>
                    </a:lnTo>
                    <a:lnTo>
                      <a:pt x="1212" y="947"/>
                    </a:lnTo>
                    <a:lnTo>
                      <a:pt x="1210" y="947"/>
                    </a:lnTo>
                    <a:lnTo>
                      <a:pt x="1212" y="947"/>
                    </a:lnTo>
                    <a:lnTo>
                      <a:pt x="1213" y="947"/>
                    </a:lnTo>
                    <a:lnTo>
                      <a:pt x="1212" y="947"/>
                    </a:lnTo>
                    <a:lnTo>
                      <a:pt x="1213" y="946"/>
                    </a:lnTo>
                    <a:lnTo>
                      <a:pt x="1213" y="944"/>
                    </a:lnTo>
                    <a:lnTo>
                      <a:pt x="1215" y="942"/>
                    </a:lnTo>
                    <a:lnTo>
                      <a:pt x="1217" y="942"/>
                    </a:lnTo>
                    <a:lnTo>
                      <a:pt x="1219" y="942"/>
                    </a:lnTo>
                    <a:lnTo>
                      <a:pt x="1217" y="942"/>
                    </a:lnTo>
                    <a:lnTo>
                      <a:pt x="1215" y="942"/>
                    </a:lnTo>
                    <a:lnTo>
                      <a:pt x="1213" y="942"/>
                    </a:lnTo>
                    <a:lnTo>
                      <a:pt x="1213" y="944"/>
                    </a:lnTo>
                    <a:lnTo>
                      <a:pt x="1212" y="946"/>
                    </a:lnTo>
                    <a:lnTo>
                      <a:pt x="1210" y="946"/>
                    </a:lnTo>
                    <a:lnTo>
                      <a:pt x="1210" y="947"/>
                    </a:lnTo>
                    <a:lnTo>
                      <a:pt x="1208" y="946"/>
                    </a:lnTo>
                    <a:lnTo>
                      <a:pt x="1208" y="944"/>
                    </a:lnTo>
                    <a:lnTo>
                      <a:pt x="1210" y="944"/>
                    </a:lnTo>
                    <a:lnTo>
                      <a:pt x="1208" y="944"/>
                    </a:lnTo>
                    <a:lnTo>
                      <a:pt x="1207" y="942"/>
                    </a:lnTo>
                    <a:lnTo>
                      <a:pt x="1207" y="944"/>
                    </a:lnTo>
                    <a:lnTo>
                      <a:pt x="1207" y="946"/>
                    </a:lnTo>
                    <a:lnTo>
                      <a:pt x="1208" y="946"/>
                    </a:lnTo>
                    <a:lnTo>
                      <a:pt x="1207" y="947"/>
                    </a:lnTo>
                    <a:lnTo>
                      <a:pt x="1207" y="946"/>
                    </a:lnTo>
                    <a:lnTo>
                      <a:pt x="1205" y="946"/>
                    </a:lnTo>
                    <a:lnTo>
                      <a:pt x="1205" y="944"/>
                    </a:lnTo>
                    <a:lnTo>
                      <a:pt x="1203" y="944"/>
                    </a:lnTo>
                    <a:lnTo>
                      <a:pt x="1203" y="946"/>
                    </a:lnTo>
                    <a:lnTo>
                      <a:pt x="1203" y="944"/>
                    </a:lnTo>
                    <a:lnTo>
                      <a:pt x="1203" y="942"/>
                    </a:lnTo>
                    <a:lnTo>
                      <a:pt x="1202" y="942"/>
                    </a:lnTo>
                    <a:lnTo>
                      <a:pt x="1202" y="940"/>
                    </a:lnTo>
                    <a:lnTo>
                      <a:pt x="1202" y="939"/>
                    </a:lnTo>
                    <a:lnTo>
                      <a:pt x="1202" y="937"/>
                    </a:lnTo>
                    <a:lnTo>
                      <a:pt x="1202" y="935"/>
                    </a:lnTo>
                    <a:lnTo>
                      <a:pt x="1202" y="934"/>
                    </a:lnTo>
                    <a:lnTo>
                      <a:pt x="1202" y="932"/>
                    </a:lnTo>
                    <a:lnTo>
                      <a:pt x="1202" y="930"/>
                    </a:lnTo>
                    <a:lnTo>
                      <a:pt x="1200" y="930"/>
                    </a:lnTo>
                    <a:lnTo>
                      <a:pt x="1200" y="929"/>
                    </a:lnTo>
                    <a:lnTo>
                      <a:pt x="1200" y="927"/>
                    </a:lnTo>
                    <a:lnTo>
                      <a:pt x="1198" y="925"/>
                    </a:lnTo>
                    <a:lnTo>
                      <a:pt x="1200" y="925"/>
                    </a:lnTo>
                    <a:lnTo>
                      <a:pt x="1198" y="925"/>
                    </a:lnTo>
                    <a:lnTo>
                      <a:pt x="1198" y="923"/>
                    </a:lnTo>
                    <a:lnTo>
                      <a:pt x="1198" y="922"/>
                    </a:lnTo>
                    <a:lnTo>
                      <a:pt x="1198" y="920"/>
                    </a:lnTo>
                    <a:lnTo>
                      <a:pt x="1198" y="918"/>
                    </a:lnTo>
                    <a:lnTo>
                      <a:pt x="1200" y="917"/>
                    </a:lnTo>
                    <a:lnTo>
                      <a:pt x="1202" y="917"/>
                    </a:lnTo>
                    <a:lnTo>
                      <a:pt x="1202" y="915"/>
                    </a:lnTo>
                    <a:lnTo>
                      <a:pt x="1200" y="915"/>
                    </a:lnTo>
                    <a:lnTo>
                      <a:pt x="1200" y="913"/>
                    </a:lnTo>
                    <a:lnTo>
                      <a:pt x="1200" y="912"/>
                    </a:lnTo>
                    <a:lnTo>
                      <a:pt x="1202" y="912"/>
                    </a:lnTo>
                    <a:lnTo>
                      <a:pt x="1200" y="912"/>
                    </a:lnTo>
                    <a:lnTo>
                      <a:pt x="1202" y="910"/>
                    </a:lnTo>
                    <a:lnTo>
                      <a:pt x="1202" y="908"/>
                    </a:lnTo>
                    <a:lnTo>
                      <a:pt x="1202" y="906"/>
                    </a:lnTo>
                    <a:lnTo>
                      <a:pt x="1203" y="906"/>
                    </a:lnTo>
                    <a:lnTo>
                      <a:pt x="1202" y="905"/>
                    </a:lnTo>
                    <a:lnTo>
                      <a:pt x="1203" y="905"/>
                    </a:lnTo>
                    <a:lnTo>
                      <a:pt x="1203" y="903"/>
                    </a:lnTo>
                    <a:lnTo>
                      <a:pt x="1205" y="903"/>
                    </a:lnTo>
                    <a:lnTo>
                      <a:pt x="1205" y="901"/>
                    </a:lnTo>
                    <a:lnTo>
                      <a:pt x="1205" y="900"/>
                    </a:lnTo>
                    <a:lnTo>
                      <a:pt x="1207" y="898"/>
                    </a:lnTo>
                    <a:lnTo>
                      <a:pt x="1205" y="898"/>
                    </a:lnTo>
                    <a:lnTo>
                      <a:pt x="1205" y="896"/>
                    </a:lnTo>
                    <a:lnTo>
                      <a:pt x="1203" y="896"/>
                    </a:lnTo>
                    <a:lnTo>
                      <a:pt x="1203" y="895"/>
                    </a:lnTo>
                    <a:lnTo>
                      <a:pt x="1205" y="895"/>
                    </a:lnTo>
                    <a:lnTo>
                      <a:pt x="1205" y="893"/>
                    </a:lnTo>
                    <a:lnTo>
                      <a:pt x="1205" y="891"/>
                    </a:lnTo>
                    <a:lnTo>
                      <a:pt x="1205" y="889"/>
                    </a:lnTo>
                    <a:lnTo>
                      <a:pt x="1205" y="888"/>
                    </a:lnTo>
                    <a:lnTo>
                      <a:pt x="1205" y="886"/>
                    </a:lnTo>
                    <a:lnTo>
                      <a:pt x="1207" y="886"/>
                    </a:lnTo>
                    <a:lnTo>
                      <a:pt x="1205" y="886"/>
                    </a:lnTo>
                    <a:lnTo>
                      <a:pt x="1207" y="884"/>
                    </a:lnTo>
                    <a:lnTo>
                      <a:pt x="1205" y="884"/>
                    </a:lnTo>
                    <a:lnTo>
                      <a:pt x="1207" y="884"/>
                    </a:lnTo>
                    <a:lnTo>
                      <a:pt x="1207" y="883"/>
                    </a:lnTo>
                    <a:lnTo>
                      <a:pt x="1208" y="883"/>
                    </a:lnTo>
                    <a:lnTo>
                      <a:pt x="1208" y="881"/>
                    </a:lnTo>
                    <a:lnTo>
                      <a:pt x="1208" y="879"/>
                    </a:lnTo>
                    <a:lnTo>
                      <a:pt x="1208" y="878"/>
                    </a:lnTo>
                    <a:lnTo>
                      <a:pt x="1207" y="878"/>
                    </a:lnTo>
                    <a:lnTo>
                      <a:pt x="1207" y="876"/>
                    </a:lnTo>
                    <a:lnTo>
                      <a:pt x="1207" y="874"/>
                    </a:lnTo>
                    <a:lnTo>
                      <a:pt x="1208" y="872"/>
                    </a:lnTo>
                    <a:lnTo>
                      <a:pt x="1210" y="872"/>
                    </a:lnTo>
                    <a:lnTo>
                      <a:pt x="1212" y="872"/>
                    </a:lnTo>
                    <a:lnTo>
                      <a:pt x="1212" y="871"/>
                    </a:lnTo>
                    <a:lnTo>
                      <a:pt x="1213" y="871"/>
                    </a:lnTo>
                    <a:lnTo>
                      <a:pt x="1213" y="869"/>
                    </a:lnTo>
                    <a:lnTo>
                      <a:pt x="1215" y="869"/>
                    </a:lnTo>
                    <a:lnTo>
                      <a:pt x="1215" y="871"/>
                    </a:lnTo>
                    <a:lnTo>
                      <a:pt x="1217" y="871"/>
                    </a:lnTo>
                    <a:lnTo>
                      <a:pt x="1217" y="872"/>
                    </a:lnTo>
                    <a:lnTo>
                      <a:pt x="1217" y="871"/>
                    </a:lnTo>
                    <a:lnTo>
                      <a:pt x="1217" y="872"/>
                    </a:lnTo>
                    <a:lnTo>
                      <a:pt x="1217" y="871"/>
                    </a:lnTo>
                    <a:lnTo>
                      <a:pt x="1219" y="871"/>
                    </a:lnTo>
                    <a:lnTo>
                      <a:pt x="1217" y="871"/>
                    </a:lnTo>
                    <a:lnTo>
                      <a:pt x="1217" y="869"/>
                    </a:lnTo>
                    <a:lnTo>
                      <a:pt x="1219" y="869"/>
                    </a:lnTo>
                    <a:lnTo>
                      <a:pt x="1220" y="869"/>
                    </a:lnTo>
                    <a:lnTo>
                      <a:pt x="1222" y="869"/>
                    </a:lnTo>
                    <a:lnTo>
                      <a:pt x="1220" y="867"/>
                    </a:lnTo>
                    <a:lnTo>
                      <a:pt x="1220" y="869"/>
                    </a:lnTo>
                    <a:lnTo>
                      <a:pt x="1219" y="869"/>
                    </a:lnTo>
                    <a:lnTo>
                      <a:pt x="1217" y="869"/>
                    </a:lnTo>
                    <a:lnTo>
                      <a:pt x="1217" y="867"/>
                    </a:lnTo>
                    <a:lnTo>
                      <a:pt x="1217" y="866"/>
                    </a:lnTo>
                    <a:lnTo>
                      <a:pt x="1217" y="864"/>
                    </a:lnTo>
                    <a:lnTo>
                      <a:pt x="1217" y="862"/>
                    </a:lnTo>
                    <a:lnTo>
                      <a:pt x="1217" y="861"/>
                    </a:lnTo>
                    <a:lnTo>
                      <a:pt x="1219" y="861"/>
                    </a:lnTo>
                    <a:lnTo>
                      <a:pt x="1219" y="859"/>
                    </a:lnTo>
                    <a:lnTo>
                      <a:pt x="1220" y="859"/>
                    </a:lnTo>
                    <a:lnTo>
                      <a:pt x="1220" y="857"/>
                    </a:lnTo>
                    <a:lnTo>
                      <a:pt x="1220" y="855"/>
                    </a:lnTo>
                    <a:lnTo>
                      <a:pt x="1222" y="855"/>
                    </a:lnTo>
                    <a:lnTo>
                      <a:pt x="1222" y="854"/>
                    </a:lnTo>
                    <a:lnTo>
                      <a:pt x="1222" y="852"/>
                    </a:lnTo>
                    <a:lnTo>
                      <a:pt x="1220" y="852"/>
                    </a:lnTo>
                    <a:lnTo>
                      <a:pt x="1220" y="850"/>
                    </a:lnTo>
                    <a:lnTo>
                      <a:pt x="1222" y="850"/>
                    </a:lnTo>
                    <a:lnTo>
                      <a:pt x="1224" y="850"/>
                    </a:lnTo>
                    <a:lnTo>
                      <a:pt x="1222" y="850"/>
                    </a:lnTo>
                    <a:lnTo>
                      <a:pt x="1222" y="849"/>
                    </a:lnTo>
                    <a:lnTo>
                      <a:pt x="1224" y="849"/>
                    </a:lnTo>
                    <a:lnTo>
                      <a:pt x="1222" y="849"/>
                    </a:lnTo>
                    <a:lnTo>
                      <a:pt x="1224" y="849"/>
                    </a:lnTo>
                    <a:lnTo>
                      <a:pt x="1224" y="847"/>
                    </a:lnTo>
                    <a:lnTo>
                      <a:pt x="1222" y="845"/>
                    </a:lnTo>
                    <a:lnTo>
                      <a:pt x="1222" y="844"/>
                    </a:lnTo>
                    <a:lnTo>
                      <a:pt x="1222" y="842"/>
                    </a:lnTo>
                    <a:lnTo>
                      <a:pt x="1222" y="840"/>
                    </a:lnTo>
                    <a:lnTo>
                      <a:pt x="1222" y="838"/>
                    </a:lnTo>
                    <a:lnTo>
                      <a:pt x="1220" y="838"/>
                    </a:lnTo>
                    <a:lnTo>
                      <a:pt x="1220" y="837"/>
                    </a:lnTo>
                    <a:lnTo>
                      <a:pt x="1220" y="835"/>
                    </a:lnTo>
                    <a:lnTo>
                      <a:pt x="1220" y="833"/>
                    </a:lnTo>
                    <a:lnTo>
                      <a:pt x="1219" y="832"/>
                    </a:lnTo>
                    <a:lnTo>
                      <a:pt x="1219" y="830"/>
                    </a:lnTo>
                    <a:lnTo>
                      <a:pt x="1219" y="828"/>
                    </a:lnTo>
                    <a:lnTo>
                      <a:pt x="1219" y="827"/>
                    </a:lnTo>
                    <a:lnTo>
                      <a:pt x="1217" y="827"/>
                    </a:lnTo>
                    <a:lnTo>
                      <a:pt x="1217" y="825"/>
                    </a:lnTo>
                    <a:lnTo>
                      <a:pt x="1217" y="823"/>
                    </a:lnTo>
                    <a:lnTo>
                      <a:pt x="1217" y="821"/>
                    </a:lnTo>
                    <a:lnTo>
                      <a:pt x="1215" y="821"/>
                    </a:lnTo>
                    <a:lnTo>
                      <a:pt x="1217" y="820"/>
                    </a:lnTo>
                    <a:lnTo>
                      <a:pt x="1215" y="820"/>
                    </a:lnTo>
                    <a:lnTo>
                      <a:pt x="1215" y="821"/>
                    </a:lnTo>
                    <a:lnTo>
                      <a:pt x="1217" y="821"/>
                    </a:lnTo>
                    <a:lnTo>
                      <a:pt x="1215" y="821"/>
                    </a:lnTo>
                    <a:lnTo>
                      <a:pt x="1215" y="820"/>
                    </a:lnTo>
                    <a:lnTo>
                      <a:pt x="1213" y="818"/>
                    </a:lnTo>
                    <a:lnTo>
                      <a:pt x="1213" y="816"/>
                    </a:lnTo>
                    <a:lnTo>
                      <a:pt x="1213" y="815"/>
                    </a:lnTo>
                    <a:lnTo>
                      <a:pt x="1213" y="813"/>
                    </a:lnTo>
                    <a:lnTo>
                      <a:pt x="1213" y="811"/>
                    </a:lnTo>
                    <a:lnTo>
                      <a:pt x="1212" y="809"/>
                    </a:lnTo>
                    <a:lnTo>
                      <a:pt x="1213" y="809"/>
                    </a:lnTo>
                    <a:lnTo>
                      <a:pt x="1212" y="809"/>
                    </a:lnTo>
                    <a:lnTo>
                      <a:pt x="1212" y="808"/>
                    </a:lnTo>
                    <a:lnTo>
                      <a:pt x="1212" y="806"/>
                    </a:lnTo>
                    <a:lnTo>
                      <a:pt x="1212" y="804"/>
                    </a:lnTo>
                    <a:lnTo>
                      <a:pt x="1213" y="804"/>
                    </a:lnTo>
                    <a:lnTo>
                      <a:pt x="1213" y="803"/>
                    </a:lnTo>
                    <a:lnTo>
                      <a:pt x="1213" y="801"/>
                    </a:lnTo>
                    <a:lnTo>
                      <a:pt x="1213" y="799"/>
                    </a:lnTo>
                    <a:lnTo>
                      <a:pt x="1213" y="798"/>
                    </a:lnTo>
                    <a:lnTo>
                      <a:pt x="1215" y="798"/>
                    </a:lnTo>
                    <a:lnTo>
                      <a:pt x="1215" y="796"/>
                    </a:lnTo>
                    <a:lnTo>
                      <a:pt x="1215" y="794"/>
                    </a:lnTo>
                    <a:lnTo>
                      <a:pt x="1215" y="792"/>
                    </a:lnTo>
                    <a:lnTo>
                      <a:pt x="1215" y="791"/>
                    </a:lnTo>
                    <a:lnTo>
                      <a:pt x="1213" y="789"/>
                    </a:lnTo>
                    <a:lnTo>
                      <a:pt x="1213" y="787"/>
                    </a:lnTo>
                    <a:lnTo>
                      <a:pt x="1213" y="786"/>
                    </a:lnTo>
                    <a:lnTo>
                      <a:pt x="1212" y="784"/>
                    </a:lnTo>
                    <a:lnTo>
                      <a:pt x="1212" y="782"/>
                    </a:lnTo>
                    <a:lnTo>
                      <a:pt x="1210" y="781"/>
                    </a:lnTo>
                    <a:lnTo>
                      <a:pt x="1210" y="779"/>
                    </a:lnTo>
                    <a:lnTo>
                      <a:pt x="1208" y="779"/>
                    </a:lnTo>
                    <a:lnTo>
                      <a:pt x="1208" y="777"/>
                    </a:lnTo>
                    <a:lnTo>
                      <a:pt x="1207" y="775"/>
                    </a:lnTo>
                    <a:lnTo>
                      <a:pt x="1208" y="775"/>
                    </a:lnTo>
                    <a:lnTo>
                      <a:pt x="1208" y="774"/>
                    </a:lnTo>
                    <a:lnTo>
                      <a:pt x="1207" y="774"/>
                    </a:lnTo>
                    <a:lnTo>
                      <a:pt x="1207" y="772"/>
                    </a:lnTo>
                    <a:lnTo>
                      <a:pt x="1207" y="770"/>
                    </a:lnTo>
                    <a:lnTo>
                      <a:pt x="1208" y="772"/>
                    </a:lnTo>
                    <a:lnTo>
                      <a:pt x="1208" y="770"/>
                    </a:lnTo>
                    <a:lnTo>
                      <a:pt x="1208" y="769"/>
                    </a:lnTo>
                    <a:lnTo>
                      <a:pt x="1210" y="769"/>
                    </a:lnTo>
                    <a:lnTo>
                      <a:pt x="1210" y="767"/>
                    </a:lnTo>
                    <a:lnTo>
                      <a:pt x="1210" y="765"/>
                    </a:lnTo>
                    <a:lnTo>
                      <a:pt x="1210" y="764"/>
                    </a:lnTo>
                    <a:lnTo>
                      <a:pt x="1210" y="765"/>
                    </a:lnTo>
                    <a:lnTo>
                      <a:pt x="1210" y="764"/>
                    </a:lnTo>
                    <a:lnTo>
                      <a:pt x="1210" y="762"/>
                    </a:lnTo>
                    <a:lnTo>
                      <a:pt x="1208" y="762"/>
                    </a:lnTo>
                    <a:lnTo>
                      <a:pt x="1207" y="760"/>
                    </a:lnTo>
                    <a:lnTo>
                      <a:pt x="1207" y="762"/>
                    </a:lnTo>
                    <a:lnTo>
                      <a:pt x="1207" y="760"/>
                    </a:lnTo>
                    <a:lnTo>
                      <a:pt x="1208" y="758"/>
                    </a:lnTo>
                    <a:lnTo>
                      <a:pt x="1207" y="758"/>
                    </a:lnTo>
                    <a:lnTo>
                      <a:pt x="1208" y="757"/>
                    </a:lnTo>
                    <a:lnTo>
                      <a:pt x="1208" y="755"/>
                    </a:lnTo>
                    <a:lnTo>
                      <a:pt x="1208" y="753"/>
                    </a:lnTo>
                    <a:lnTo>
                      <a:pt x="1210" y="752"/>
                    </a:lnTo>
                    <a:lnTo>
                      <a:pt x="1212" y="753"/>
                    </a:lnTo>
                    <a:lnTo>
                      <a:pt x="1210" y="753"/>
                    </a:lnTo>
                    <a:lnTo>
                      <a:pt x="1212" y="755"/>
                    </a:lnTo>
                    <a:lnTo>
                      <a:pt x="1213" y="755"/>
                    </a:lnTo>
                    <a:lnTo>
                      <a:pt x="1213" y="753"/>
                    </a:lnTo>
                    <a:lnTo>
                      <a:pt x="1213" y="755"/>
                    </a:lnTo>
                    <a:lnTo>
                      <a:pt x="1215" y="755"/>
                    </a:lnTo>
                    <a:lnTo>
                      <a:pt x="1215" y="757"/>
                    </a:lnTo>
                    <a:lnTo>
                      <a:pt x="1215" y="755"/>
                    </a:lnTo>
                    <a:lnTo>
                      <a:pt x="1217" y="755"/>
                    </a:lnTo>
                    <a:lnTo>
                      <a:pt x="1219" y="755"/>
                    </a:lnTo>
                    <a:lnTo>
                      <a:pt x="1220" y="755"/>
                    </a:lnTo>
                    <a:lnTo>
                      <a:pt x="1222" y="755"/>
                    </a:lnTo>
                    <a:lnTo>
                      <a:pt x="1222" y="753"/>
                    </a:lnTo>
                    <a:lnTo>
                      <a:pt x="1224" y="753"/>
                    </a:lnTo>
                    <a:lnTo>
                      <a:pt x="1224" y="752"/>
                    </a:lnTo>
                    <a:lnTo>
                      <a:pt x="1225" y="750"/>
                    </a:lnTo>
                    <a:lnTo>
                      <a:pt x="1224" y="750"/>
                    </a:lnTo>
                    <a:lnTo>
                      <a:pt x="1224" y="748"/>
                    </a:lnTo>
                    <a:lnTo>
                      <a:pt x="1225" y="748"/>
                    </a:lnTo>
                    <a:lnTo>
                      <a:pt x="1225" y="747"/>
                    </a:lnTo>
                    <a:lnTo>
                      <a:pt x="1224" y="747"/>
                    </a:lnTo>
                    <a:lnTo>
                      <a:pt x="1224" y="745"/>
                    </a:lnTo>
                    <a:lnTo>
                      <a:pt x="1224" y="743"/>
                    </a:lnTo>
                    <a:lnTo>
                      <a:pt x="1225" y="743"/>
                    </a:lnTo>
                    <a:lnTo>
                      <a:pt x="1225" y="741"/>
                    </a:lnTo>
                    <a:lnTo>
                      <a:pt x="1225" y="740"/>
                    </a:lnTo>
                    <a:lnTo>
                      <a:pt x="1225" y="738"/>
                    </a:lnTo>
                    <a:lnTo>
                      <a:pt x="1227" y="738"/>
                    </a:lnTo>
                    <a:lnTo>
                      <a:pt x="1227" y="740"/>
                    </a:lnTo>
                    <a:lnTo>
                      <a:pt x="1229" y="738"/>
                    </a:lnTo>
                    <a:lnTo>
                      <a:pt x="1227" y="738"/>
                    </a:lnTo>
                    <a:lnTo>
                      <a:pt x="1225" y="738"/>
                    </a:lnTo>
                    <a:lnTo>
                      <a:pt x="1224" y="738"/>
                    </a:lnTo>
                    <a:lnTo>
                      <a:pt x="1224" y="736"/>
                    </a:lnTo>
                    <a:lnTo>
                      <a:pt x="1222" y="736"/>
                    </a:lnTo>
                    <a:lnTo>
                      <a:pt x="1224" y="736"/>
                    </a:lnTo>
                    <a:lnTo>
                      <a:pt x="1224" y="735"/>
                    </a:lnTo>
                    <a:lnTo>
                      <a:pt x="1224" y="736"/>
                    </a:lnTo>
                    <a:lnTo>
                      <a:pt x="1225" y="735"/>
                    </a:lnTo>
                    <a:lnTo>
                      <a:pt x="1225" y="733"/>
                    </a:lnTo>
                    <a:lnTo>
                      <a:pt x="1225" y="731"/>
                    </a:lnTo>
                    <a:lnTo>
                      <a:pt x="1225" y="730"/>
                    </a:lnTo>
                    <a:lnTo>
                      <a:pt x="1227" y="730"/>
                    </a:lnTo>
                    <a:lnTo>
                      <a:pt x="1227" y="731"/>
                    </a:lnTo>
                    <a:lnTo>
                      <a:pt x="1227" y="733"/>
                    </a:lnTo>
                    <a:lnTo>
                      <a:pt x="1225" y="733"/>
                    </a:lnTo>
                    <a:lnTo>
                      <a:pt x="1227" y="735"/>
                    </a:lnTo>
                    <a:lnTo>
                      <a:pt x="1229" y="735"/>
                    </a:lnTo>
                    <a:lnTo>
                      <a:pt x="1230" y="735"/>
                    </a:lnTo>
                    <a:lnTo>
                      <a:pt x="1230" y="733"/>
                    </a:lnTo>
                    <a:lnTo>
                      <a:pt x="1230" y="731"/>
                    </a:lnTo>
                    <a:lnTo>
                      <a:pt x="1232" y="730"/>
                    </a:lnTo>
                    <a:lnTo>
                      <a:pt x="1230" y="730"/>
                    </a:lnTo>
                    <a:lnTo>
                      <a:pt x="1230" y="728"/>
                    </a:lnTo>
                    <a:lnTo>
                      <a:pt x="1230" y="726"/>
                    </a:lnTo>
                    <a:lnTo>
                      <a:pt x="1232" y="726"/>
                    </a:lnTo>
                    <a:lnTo>
                      <a:pt x="1232" y="724"/>
                    </a:lnTo>
                    <a:lnTo>
                      <a:pt x="1234" y="724"/>
                    </a:lnTo>
                    <a:lnTo>
                      <a:pt x="1232" y="724"/>
                    </a:lnTo>
                    <a:lnTo>
                      <a:pt x="1232" y="723"/>
                    </a:lnTo>
                    <a:lnTo>
                      <a:pt x="1234" y="723"/>
                    </a:lnTo>
                    <a:lnTo>
                      <a:pt x="1234" y="721"/>
                    </a:lnTo>
                    <a:lnTo>
                      <a:pt x="1234" y="719"/>
                    </a:lnTo>
                    <a:lnTo>
                      <a:pt x="1236" y="718"/>
                    </a:lnTo>
                    <a:lnTo>
                      <a:pt x="1236" y="716"/>
                    </a:lnTo>
                    <a:lnTo>
                      <a:pt x="1236" y="714"/>
                    </a:lnTo>
                    <a:lnTo>
                      <a:pt x="1236" y="713"/>
                    </a:lnTo>
                    <a:lnTo>
                      <a:pt x="1236" y="711"/>
                    </a:lnTo>
                    <a:lnTo>
                      <a:pt x="1237" y="711"/>
                    </a:lnTo>
                    <a:lnTo>
                      <a:pt x="1237" y="709"/>
                    </a:lnTo>
                    <a:lnTo>
                      <a:pt x="1236" y="707"/>
                    </a:lnTo>
                    <a:lnTo>
                      <a:pt x="1237" y="707"/>
                    </a:lnTo>
                    <a:lnTo>
                      <a:pt x="1237" y="706"/>
                    </a:lnTo>
                    <a:lnTo>
                      <a:pt x="1237" y="704"/>
                    </a:lnTo>
                    <a:lnTo>
                      <a:pt x="1237" y="702"/>
                    </a:lnTo>
                    <a:lnTo>
                      <a:pt x="1239" y="702"/>
                    </a:lnTo>
                    <a:lnTo>
                      <a:pt x="1239" y="701"/>
                    </a:lnTo>
                    <a:lnTo>
                      <a:pt x="1241" y="701"/>
                    </a:lnTo>
                    <a:lnTo>
                      <a:pt x="1241" y="699"/>
                    </a:lnTo>
                    <a:lnTo>
                      <a:pt x="1242" y="697"/>
                    </a:lnTo>
                    <a:lnTo>
                      <a:pt x="1244" y="696"/>
                    </a:lnTo>
                    <a:lnTo>
                      <a:pt x="1244" y="694"/>
                    </a:lnTo>
                    <a:lnTo>
                      <a:pt x="1244" y="692"/>
                    </a:lnTo>
                    <a:lnTo>
                      <a:pt x="1244" y="690"/>
                    </a:lnTo>
                    <a:lnTo>
                      <a:pt x="1244" y="689"/>
                    </a:lnTo>
                    <a:lnTo>
                      <a:pt x="1242" y="689"/>
                    </a:lnTo>
                    <a:lnTo>
                      <a:pt x="1242" y="687"/>
                    </a:lnTo>
                    <a:lnTo>
                      <a:pt x="1242" y="685"/>
                    </a:lnTo>
                    <a:lnTo>
                      <a:pt x="1244" y="685"/>
                    </a:lnTo>
                    <a:lnTo>
                      <a:pt x="1244" y="684"/>
                    </a:lnTo>
                    <a:lnTo>
                      <a:pt x="1246" y="684"/>
                    </a:lnTo>
                    <a:lnTo>
                      <a:pt x="1246" y="682"/>
                    </a:lnTo>
                    <a:lnTo>
                      <a:pt x="1247" y="682"/>
                    </a:lnTo>
                    <a:lnTo>
                      <a:pt x="1247" y="680"/>
                    </a:lnTo>
                    <a:lnTo>
                      <a:pt x="1247" y="679"/>
                    </a:lnTo>
                    <a:lnTo>
                      <a:pt x="1247" y="677"/>
                    </a:lnTo>
                    <a:lnTo>
                      <a:pt x="1249" y="677"/>
                    </a:lnTo>
                    <a:lnTo>
                      <a:pt x="1249" y="675"/>
                    </a:lnTo>
                    <a:lnTo>
                      <a:pt x="1251" y="675"/>
                    </a:lnTo>
                    <a:lnTo>
                      <a:pt x="1251" y="673"/>
                    </a:lnTo>
                    <a:lnTo>
                      <a:pt x="1251" y="672"/>
                    </a:lnTo>
                    <a:lnTo>
                      <a:pt x="1251" y="670"/>
                    </a:lnTo>
                    <a:lnTo>
                      <a:pt x="1253" y="670"/>
                    </a:lnTo>
                    <a:lnTo>
                      <a:pt x="1254" y="668"/>
                    </a:lnTo>
                    <a:lnTo>
                      <a:pt x="1256" y="668"/>
                    </a:lnTo>
                    <a:lnTo>
                      <a:pt x="1256" y="667"/>
                    </a:lnTo>
                    <a:lnTo>
                      <a:pt x="1258" y="667"/>
                    </a:lnTo>
                    <a:lnTo>
                      <a:pt x="1258" y="665"/>
                    </a:lnTo>
                    <a:lnTo>
                      <a:pt x="1258" y="663"/>
                    </a:lnTo>
                    <a:lnTo>
                      <a:pt x="1258" y="662"/>
                    </a:lnTo>
                    <a:lnTo>
                      <a:pt x="1258" y="660"/>
                    </a:lnTo>
                    <a:lnTo>
                      <a:pt x="1258" y="658"/>
                    </a:lnTo>
                    <a:lnTo>
                      <a:pt x="1258" y="656"/>
                    </a:lnTo>
                    <a:lnTo>
                      <a:pt x="1259" y="656"/>
                    </a:lnTo>
                    <a:lnTo>
                      <a:pt x="1259" y="655"/>
                    </a:lnTo>
                    <a:lnTo>
                      <a:pt x="1259" y="653"/>
                    </a:lnTo>
                    <a:lnTo>
                      <a:pt x="1261" y="651"/>
                    </a:lnTo>
                    <a:lnTo>
                      <a:pt x="1261" y="650"/>
                    </a:lnTo>
                    <a:lnTo>
                      <a:pt x="1263" y="650"/>
                    </a:lnTo>
                    <a:lnTo>
                      <a:pt x="1263" y="648"/>
                    </a:lnTo>
                    <a:lnTo>
                      <a:pt x="1263" y="646"/>
                    </a:lnTo>
                    <a:lnTo>
                      <a:pt x="1263" y="644"/>
                    </a:lnTo>
                    <a:lnTo>
                      <a:pt x="1263" y="643"/>
                    </a:lnTo>
                    <a:lnTo>
                      <a:pt x="1263" y="641"/>
                    </a:lnTo>
                    <a:lnTo>
                      <a:pt x="1263" y="639"/>
                    </a:lnTo>
                    <a:lnTo>
                      <a:pt x="1263" y="638"/>
                    </a:lnTo>
                    <a:lnTo>
                      <a:pt x="1263" y="636"/>
                    </a:lnTo>
                    <a:lnTo>
                      <a:pt x="1264" y="636"/>
                    </a:lnTo>
                    <a:lnTo>
                      <a:pt x="1264" y="634"/>
                    </a:lnTo>
                    <a:lnTo>
                      <a:pt x="1264" y="633"/>
                    </a:lnTo>
                    <a:lnTo>
                      <a:pt x="1264" y="631"/>
                    </a:lnTo>
                    <a:lnTo>
                      <a:pt x="1264" y="629"/>
                    </a:lnTo>
                    <a:lnTo>
                      <a:pt x="1264" y="627"/>
                    </a:lnTo>
                    <a:lnTo>
                      <a:pt x="1263" y="627"/>
                    </a:lnTo>
                    <a:lnTo>
                      <a:pt x="1264" y="627"/>
                    </a:lnTo>
                    <a:lnTo>
                      <a:pt x="1263" y="626"/>
                    </a:lnTo>
                    <a:lnTo>
                      <a:pt x="1264" y="626"/>
                    </a:lnTo>
                    <a:lnTo>
                      <a:pt x="1266" y="624"/>
                    </a:lnTo>
                    <a:lnTo>
                      <a:pt x="1266" y="622"/>
                    </a:lnTo>
                    <a:lnTo>
                      <a:pt x="1268" y="621"/>
                    </a:lnTo>
                    <a:lnTo>
                      <a:pt x="1268" y="619"/>
                    </a:lnTo>
                    <a:lnTo>
                      <a:pt x="1270" y="617"/>
                    </a:lnTo>
                    <a:lnTo>
                      <a:pt x="1270" y="616"/>
                    </a:lnTo>
                    <a:lnTo>
                      <a:pt x="1270" y="614"/>
                    </a:lnTo>
                    <a:lnTo>
                      <a:pt x="1271" y="612"/>
                    </a:lnTo>
                    <a:lnTo>
                      <a:pt x="1273" y="612"/>
                    </a:lnTo>
                    <a:lnTo>
                      <a:pt x="1273" y="610"/>
                    </a:lnTo>
                    <a:lnTo>
                      <a:pt x="1275" y="610"/>
                    </a:lnTo>
                    <a:lnTo>
                      <a:pt x="1275" y="609"/>
                    </a:lnTo>
                    <a:lnTo>
                      <a:pt x="1276" y="609"/>
                    </a:lnTo>
                    <a:lnTo>
                      <a:pt x="1276" y="607"/>
                    </a:lnTo>
                    <a:lnTo>
                      <a:pt x="1276" y="605"/>
                    </a:lnTo>
                    <a:lnTo>
                      <a:pt x="1276" y="604"/>
                    </a:lnTo>
                    <a:lnTo>
                      <a:pt x="1276" y="602"/>
                    </a:lnTo>
                    <a:lnTo>
                      <a:pt x="1276" y="600"/>
                    </a:lnTo>
                    <a:lnTo>
                      <a:pt x="1275" y="599"/>
                    </a:lnTo>
                    <a:lnTo>
                      <a:pt x="1273" y="599"/>
                    </a:lnTo>
                    <a:lnTo>
                      <a:pt x="1275" y="597"/>
                    </a:lnTo>
                    <a:lnTo>
                      <a:pt x="1273" y="597"/>
                    </a:lnTo>
                    <a:lnTo>
                      <a:pt x="1275" y="597"/>
                    </a:lnTo>
                    <a:lnTo>
                      <a:pt x="1275" y="595"/>
                    </a:lnTo>
                    <a:lnTo>
                      <a:pt x="1276" y="593"/>
                    </a:lnTo>
                    <a:lnTo>
                      <a:pt x="1275" y="593"/>
                    </a:lnTo>
                    <a:lnTo>
                      <a:pt x="1275" y="592"/>
                    </a:lnTo>
                    <a:lnTo>
                      <a:pt x="1275" y="590"/>
                    </a:lnTo>
                    <a:lnTo>
                      <a:pt x="1275" y="588"/>
                    </a:lnTo>
                    <a:lnTo>
                      <a:pt x="1273" y="588"/>
                    </a:lnTo>
                    <a:lnTo>
                      <a:pt x="1275" y="588"/>
                    </a:lnTo>
                    <a:lnTo>
                      <a:pt x="1275" y="587"/>
                    </a:lnTo>
                    <a:lnTo>
                      <a:pt x="1273" y="587"/>
                    </a:lnTo>
                    <a:lnTo>
                      <a:pt x="1273" y="585"/>
                    </a:lnTo>
                    <a:lnTo>
                      <a:pt x="1275" y="585"/>
                    </a:lnTo>
                    <a:lnTo>
                      <a:pt x="1275" y="583"/>
                    </a:lnTo>
                    <a:lnTo>
                      <a:pt x="1275" y="582"/>
                    </a:lnTo>
                    <a:lnTo>
                      <a:pt x="1276" y="582"/>
                    </a:lnTo>
                    <a:lnTo>
                      <a:pt x="1278" y="582"/>
                    </a:lnTo>
                    <a:lnTo>
                      <a:pt x="1280" y="580"/>
                    </a:lnTo>
                    <a:lnTo>
                      <a:pt x="1280" y="578"/>
                    </a:lnTo>
                    <a:lnTo>
                      <a:pt x="1278" y="578"/>
                    </a:lnTo>
                    <a:lnTo>
                      <a:pt x="1280" y="578"/>
                    </a:lnTo>
                    <a:lnTo>
                      <a:pt x="1280" y="576"/>
                    </a:lnTo>
                    <a:lnTo>
                      <a:pt x="1280" y="575"/>
                    </a:lnTo>
                    <a:lnTo>
                      <a:pt x="1280" y="573"/>
                    </a:lnTo>
                    <a:lnTo>
                      <a:pt x="1280" y="571"/>
                    </a:lnTo>
                    <a:lnTo>
                      <a:pt x="1281" y="571"/>
                    </a:lnTo>
                    <a:lnTo>
                      <a:pt x="1281" y="570"/>
                    </a:lnTo>
                    <a:lnTo>
                      <a:pt x="1280" y="570"/>
                    </a:lnTo>
                    <a:lnTo>
                      <a:pt x="1281" y="570"/>
                    </a:lnTo>
                    <a:lnTo>
                      <a:pt x="1281" y="568"/>
                    </a:lnTo>
                    <a:lnTo>
                      <a:pt x="1283" y="568"/>
                    </a:lnTo>
                    <a:lnTo>
                      <a:pt x="1283" y="566"/>
                    </a:lnTo>
                    <a:lnTo>
                      <a:pt x="1283" y="565"/>
                    </a:lnTo>
                    <a:lnTo>
                      <a:pt x="1281" y="565"/>
                    </a:lnTo>
                    <a:lnTo>
                      <a:pt x="1281" y="563"/>
                    </a:lnTo>
                    <a:lnTo>
                      <a:pt x="1281" y="561"/>
                    </a:lnTo>
                    <a:lnTo>
                      <a:pt x="1283" y="561"/>
                    </a:lnTo>
                    <a:lnTo>
                      <a:pt x="1283" y="559"/>
                    </a:lnTo>
                    <a:lnTo>
                      <a:pt x="1283" y="558"/>
                    </a:lnTo>
                    <a:lnTo>
                      <a:pt x="1285" y="556"/>
                    </a:lnTo>
                    <a:lnTo>
                      <a:pt x="1283" y="556"/>
                    </a:lnTo>
                    <a:lnTo>
                      <a:pt x="1283" y="554"/>
                    </a:lnTo>
                    <a:lnTo>
                      <a:pt x="1281" y="554"/>
                    </a:lnTo>
                    <a:lnTo>
                      <a:pt x="1281" y="553"/>
                    </a:lnTo>
                    <a:lnTo>
                      <a:pt x="1281" y="551"/>
                    </a:lnTo>
                    <a:lnTo>
                      <a:pt x="1280" y="549"/>
                    </a:lnTo>
                    <a:lnTo>
                      <a:pt x="1280" y="548"/>
                    </a:lnTo>
                    <a:lnTo>
                      <a:pt x="1280" y="546"/>
                    </a:lnTo>
                    <a:lnTo>
                      <a:pt x="1280" y="544"/>
                    </a:lnTo>
                    <a:lnTo>
                      <a:pt x="1280" y="542"/>
                    </a:lnTo>
                    <a:lnTo>
                      <a:pt x="1280" y="541"/>
                    </a:lnTo>
                    <a:lnTo>
                      <a:pt x="1280" y="539"/>
                    </a:lnTo>
                    <a:lnTo>
                      <a:pt x="1281" y="539"/>
                    </a:lnTo>
                    <a:lnTo>
                      <a:pt x="1280" y="539"/>
                    </a:lnTo>
                    <a:lnTo>
                      <a:pt x="1280" y="537"/>
                    </a:lnTo>
                    <a:lnTo>
                      <a:pt x="1281" y="536"/>
                    </a:lnTo>
                    <a:lnTo>
                      <a:pt x="1280" y="536"/>
                    </a:lnTo>
                    <a:lnTo>
                      <a:pt x="1280" y="534"/>
                    </a:lnTo>
                    <a:lnTo>
                      <a:pt x="1278" y="536"/>
                    </a:lnTo>
                    <a:lnTo>
                      <a:pt x="1278" y="534"/>
                    </a:lnTo>
                    <a:lnTo>
                      <a:pt x="1280" y="534"/>
                    </a:lnTo>
                    <a:lnTo>
                      <a:pt x="1280" y="532"/>
                    </a:lnTo>
                    <a:lnTo>
                      <a:pt x="1280" y="531"/>
                    </a:lnTo>
                    <a:lnTo>
                      <a:pt x="1280" y="529"/>
                    </a:lnTo>
                    <a:lnTo>
                      <a:pt x="1278" y="527"/>
                    </a:lnTo>
                    <a:lnTo>
                      <a:pt x="1278" y="525"/>
                    </a:lnTo>
                    <a:lnTo>
                      <a:pt x="1278" y="524"/>
                    </a:lnTo>
                    <a:lnTo>
                      <a:pt x="1278" y="522"/>
                    </a:lnTo>
                    <a:lnTo>
                      <a:pt x="1278" y="520"/>
                    </a:lnTo>
                    <a:lnTo>
                      <a:pt x="1278" y="519"/>
                    </a:lnTo>
                    <a:lnTo>
                      <a:pt x="1278" y="517"/>
                    </a:lnTo>
                    <a:lnTo>
                      <a:pt x="1276" y="517"/>
                    </a:lnTo>
                    <a:lnTo>
                      <a:pt x="1276" y="515"/>
                    </a:lnTo>
                    <a:lnTo>
                      <a:pt x="1276" y="514"/>
                    </a:lnTo>
                    <a:lnTo>
                      <a:pt x="1276" y="512"/>
                    </a:lnTo>
                    <a:lnTo>
                      <a:pt x="1276" y="510"/>
                    </a:lnTo>
                    <a:lnTo>
                      <a:pt x="1275" y="508"/>
                    </a:lnTo>
                    <a:lnTo>
                      <a:pt x="1276" y="508"/>
                    </a:lnTo>
                    <a:lnTo>
                      <a:pt x="1275" y="508"/>
                    </a:lnTo>
                    <a:lnTo>
                      <a:pt x="1275" y="507"/>
                    </a:lnTo>
                    <a:lnTo>
                      <a:pt x="1275" y="505"/>
                    </a:lnTo>
                    <a:lnTo>
                      <a:pt x="1276" y="505"/>
                    </a:lnTo>
                    <a:lnTo>
                      <a:pt x="1275" y="505"/>
                    </a:lnTo>
                    <a:lnTo>
                      <a:pt x="1275" y="503"/>
                    </a:lnTo>
                    <a:lnTo>
                      <a:pt x="1275" y="502"/>
                    </a:lnTo>
                    <a:lnTo>
                      <a:pt x="1276" y="502"/>
                    </a:lnTo>
                    <a:lnTo>
                      <a:pt x="1275" y="500"/>
                    </a:lnTo>
                    <a:lnTo>
                      <a:pt x="1276" y="500"/>
                    </a:lnTo>
                    <a:lnTo>
                      <a:pt x="1275" y="500"/>
                    </a:lnTo>
                    <a:lnTo>
                      <a:pt x="1275" y="498"/>
                    </a:lnTo>
                    <a:lnTo>
                      <a:pt x="1275" y="497"/>
                    </a:lnTo>
                    <a:lnTo>
                      <a:pt x="1275" y="495"/>
                    </a:lnTo>
                    <a:lnTo>
                      <a:pt x="1275" y="493"/>
                    </a:lnTo>
                    <a:lnTo>
                      <a:pt x="1273" y="493"/>
                    </a:lnTo>
                    <a:lnTo>
                      <a:pt x="1273" y="491"/>
                    </a:lnTo>
                    <a:lnTo>
                      <a:pt x="1275" y="490"/>
                    </a:lnTo>
                    <a:lnTo>
                      <a:pt x="1273" y="490"/>
                    </a:lnTo>
                    <a:lnTo>
                      <a:pt x="1275" y="490"/>
                    </a:lnTo>
                    <a:lnTo>
                      <a:pt x="1275" y="488"/>
                    </a:lnTo>
                    <a:lnTo>
                      <a:pt x="1273" y="488"/>
                    </a:lnTo>
                    <a:lnTo>
                      <a:pt x="1273" y="486"/>
                    </a:lnTo>
                    <a:lnTo>
                      <a:pt x="1273" y="485"/>
                    </a:lnTo>
                    <a:lnTo>
                      <a:pt x="1273" y="483"/>
                    </a:lnTo>
                    <a:lnTo>
                      <a:pt x="1275" y="483"/>
                    </a:lnTo>
                    <a:lnTo>
                      <a:pt x="1275" y="481"/>
                    </a:lnTo>
                    <a:lnTo>
                      <a:pt x="1275" y="479"/>
                    </a:lnTo>
                    <a:lnTo>
                      <a:pt x="1275" y="478"/>
                    </a:lnTo>
                    <a:lnTo>
                      <a:pt x="1275" y="476"/>
                    </a:lnTo>
                    <a:lnTo>
                      <a:pt x="1275" y="474"/>
                    </a:lnTo>
                    <a:lnTo>
                      <a:pt x="1275" y="473"/>
                    </a:lnTo>
                    <a:lnTo>
                      <a:pt x="1276" y="473"/>
                    </a:lnTo>
                    <a:lnTo>
                      <a:pt x="1276" y="471"/>
                    </a:lnTo>
                    <a:lnTo>
                      <a:pt x="1276" y="473"/>
                    </a:lnTo>
                    <a:lnTo>
                      <a:pt x="1278" y="474"/>
                    </a:lnTo>
                    <a:lnTo>
                      <a:pt x="1278" y="473"/>
                    </a:lnTo>
                    <a:lnTo>
                      <a:pt x="1280" y="473"/>
                    </a:lnTo>
                    <a:lnTo>
                      <a:pt x="1281" y="473"/>
                    </a:lnTo>
                    <a:lnTo>
                      <a:pt x="1280" y="471"/>
                    </a:lnTo>
                    <a:lnTo>
                      <a:pt x="1281" y="471"/>
                    </a:lnTo>
                    <a:lnTo>
                      <a:pt x="1281" y="469"/>
                    </a:lnTo>
                    <a:lnTo>
                      <a:pt x="1283" y="468"/>
                    </a:lnTo>
                    <a:lnTo>
                      <a:pt x="1283" y="469"/>
                    </a:lnTo>
                    <a:lnTo>
                      <a:pt x="1285" y="469"/>
                    </a:lnTo>
                    <a:lnTo>
                      <a:pt x="1285" y="468"/>
                    </a:lnTo>
                    <a:lnTo>
                      <a:pt x="1285" y="466"/>
                    </a:lnTo>
                    <a:lnTo>
                      <a:pt x="1285" y="464"/>
                    </a:lnTo>
                    <a:lnTo>
                      <a:pt x="1285" y="462"/>
                    </a:lnTo>
                    <a:lnTo>
                      <a:pt x="1283" y="462"/>
                    </a:lnTo>
                    <a:lnTo>
                      <a:pt x="1285" y="461"/>
                    </a:lnTo>
                    <a:lnTo>
                      <a:pt x="1285" y="459"/>
                    </a:lnTo>
                    <a:lnTo>
                      <a:pt x="1287" y="459"/>
                    </a:lnTo>
                    <a:lnTo>
                      <a:pt x="1287" y="461"/>
                    </a:lnTo>
                    <a:lnTo>
                      <a:pt x="1287" y="459"/>
                    </a:lnTo>
                    <a:lnTo>
                      <a:pt x="1288" y="459"/>
                    </a:lnTo>
                    <a:lnTo>
                      <a:pt x="1288" y="457"/>
                    </a:lnTo>
                    <a:lnTo>
                      <a:pt x="1288" y="456"/>
                    </a:lnTo>
                    <a:lnTo>
                      <a:pt x="1287" y="454"/>
                    </a:lnTo>
                    <a:lnTo>
                      <a:pt x="1287" y="452"/>
                    </a:lnTo>
                    <a:lnTo>
                      <a:pt x="1287" y="451"/>
                    </a:lnTo>
                    <a:lnTo>
                      <a:pt x="1287" y="449"/>
                    </a:lnTo>
                    <a:lnTo>
                      <a:pt x="1287" y="447"/>
                    </a:lnTo>
                    <a:lnTo>
                      <a:pt x="1288" y="447"/>
                    </a:lnTo>
                    <a:lnTo>
                      <a:pt x="1288" y="445"/>
                    </a:lnTo>
                    <a:lnTo>
                      <a:pt x="1287" y="445"/>
                    </a:lnTo>
                    <a:lnTo>
                      <a:pt x="1287" y="444"/>
                    </a:lnTo>
                    <a:lnTo>
                      <a:pt x="1287" y="442"/>
                    </a:lnTo>
                    <a:lnTo>
                      <a:pt x="1287" y="440"/>
                    </a:lnTo>
                    <a:lnTo>
                      <a:pt x="1287" y="439"/>
                    </a:lnTo>
                    <a:lnTo>
                      <a:pt x="1287" y="437"/>
                    </a:lnTo>
                    <a:lnTo>
                      <a:pt x="1287" y="435"/>
                    </a:lnTo>
                    <a:lnTo>
                      <a:pt x="1285" y="435"/>
                    </a:lnTo>
                    <a:lnTo>
                      <a:pt x="1285" y="434"/>
                    </a:lnTo>
                    <a:lnTo>
                      <a:pt x="1283" y="434"/>
                    </a:lnTo>
                    <a:lnTo>
                      <a:pt x="1281" y="432"/>
                    </a:lnTo>
                    <a:lnTo>
                      <a:pt x="1281" y="430"/>
                    </a:lnTo>
                    <a:lnTo>
                      <a:pt x="1280" y="428"/>
                    </a:lnTo>
                    <a:lnTo>
                      <a:pt x="1281" y="428"/>
                    </a:lnTo>
                    <a:lnTo>
                      <a:pt x="1281" y="427"/>
                    </a:lnTo>
                    <a:lnTo>
                      <a:pt x="1280" y="427"/>
                    </a:lnTo>
                    <a:lnTo>
                      <a:pt x="1281" y="425"/>
                    </a:lnTo>
                    <a:lnTo>
                      <a:pt x="1280" y="423"/>
                    </a:lnTo>
                    <a:lnTo>
                      <a:pt x="1281" y="423"/>
                    </a:lnTo>
                    <a:lnTo>
                      <a:pt x="1281" y="422"/>
                    </a:lnTo>
                    <a:lnTo>
                      <a:pt x="1280" y="422"/>
                    </a:lnTo>
                    <a:lnTo>
                      <a:pt x="1280" y="420"/>
                    </a:lnTo>
                    <a:lnTo>
                      <a:pt x="1280" y="418"/>
                    </a:lnTo>
                    <a:lnTo>
                      <a:pt x="1281" y="418"/>
                    </a:lnTo>
                    <a:lnTo>
                      <a:pt x="1281" y="417"/>
                    </a:lnTo>
                    <a:lnTo>
                      <a:pt x="1283" y="417"/>
                    </a:lnTo>
                    <a:lnTo>
                      <a:pt x="1285" y="415"/>
                    </a:lnTo>
                    <a:lnTo>
                      <a:pt x="1285" y="413"/>
                    </a:lnTo>
                    <a:lnTo>
                      <a:pt x="1287" y="411"/>
                    </a:lnTo>
                    <a:lnTo>
                      <a:pt x="1288" y="411"/>
                    </a:lnTo>
                    <a:lnTo>
                      <a:pt x="1288" y="410"/>
                    </a:lnTo>
                    <a:lnTo>
                      <a:pt x="1288" y="408"/>
                    </a:lnTo>
                    <a:lnTo>
                      <a:pt x="1287" y="408"/>
                    </a:lnTo>
                    <a:lnTo>
                      <a:pt x="1287" y="406"/>
                    </a:lnTo>
                    <a:lnTo>
                      <a:pt x="1288" y="406"/>
                    </a:lnTo>
                    <a:lnTo>
                      <a:pt x="1288" y="405"/>
                    </a:lnTo>
                    <a:lnTo>
                      <a:pt x="1288" y="403"/>
                    </a:lnTo>
                    <a:lnTo>
                      <a:pt x="1290" y="403"/>
                    </a:lnTo>
                    <a:lnTo>
                      <a:pt x="1290" y="401"/>
                    </a:lnTo>
                    <a:lnTo>
                      <a:pt x="1292" y="400"/>
                    </a:lnTo>
                    <a:lnTo>
                      <a:pt x="1292" y="398"/>
                    </a:lnTo>
                    <a:lnTo>
                      <a:pt x="1292" y="396"/>
                    </a:lnTo>
                    <a:lnTo>
                      <a:pt x="1290" y="396"/>
                    </a:lnTo>
                    <a:lnTo>
                      <a:pt x="1292" y="396"/>
                    </a:lnTo>
                    <a:lnTo>
                      <a:pt x="1292" y="394"/>
                    </a:lnTo>
                    <a:lnTo>
                      <a:pt x="1292" y="393"/>
                    </a:lnTo>
                    <a:lnTo>
                      <a:pt x="1292" y="391"/>
                    </a:lnTo>
                    <a:lnTo>
                      <a:pt x="1292" y="389"/>
                    </a:lnTo>
                    <a:lnTo>
                      <a:pt x="1292" y="388"/>
                    </a:lnTo>
                    <a:lnTo>
                      <a:pt x="1293" y="388"/>
                    </a:lnTo>
                    <a:lnTo>
                      <a:pt x="1292" y="386"/>
                    </a:lnTo>
                    <a:lnTo>
                      <a:pt x="1293" y="386"/>
                    </a:lnTo>
                    <a:lnTo>
                      <a:pt x="1292" y="386"/>
                    </a:lnTo>
                    <a:lnTo>
                      <a:pt x="1293" y="386"/>
                    </a:lnTo>
                    <a:lnTo>
                      <a:pt x="1292" y="384"/>
                    </a:lnTo>
                    <a:lnTo>
                      <a:pt x="1293" y="384"/>
                    </a:lnTo>
                    <a:lnTo>
                      <a:pt x="1292" y="384"/>
                    </a:lnTo>
                    <a:lnTo>
                      <a:pt x="1293" y="383"/>
                    </a:lnTo>
                    <a:lnTo>
                      <a:pt x="1293" y="381"/>
                    </a:lnTo>
                    <a:lnTo>
                      <a:pt x="1293" y="379"/>
                    </a:lnTo>
                    <a:lnTo>
                      <a:pt x="1295" y="377"/>
                    </a:lnTo>
                    <a:lnTo>
                      <a:pt x="1295" y="376"/>
                    </a:lnTo>
                    <a:lnTo>
                      <a:pt x="1295" y="374"/>
                    </a:lnTo>
                    <a:lnTo>
                      <a:pt x="1297" y="374"/>
                    </a:lnTo>
                    <a:lnTo>
                      <a:pt x="1297" y="372"/>
                    </a:lnTo>
                    <a:lnTo>
                      <a:pt x="1298" y="372"/>
                    </a:lnTo>
                    <a:lnTo>
                      <a:pt x="1300" y="372"/>
                    </a:lnTo>
                    <a:lnTo>
                      <a:pt x="1300" y="371"/>
                    </a:lnTo>
                    <a:lnTo>
                      <a:pt x="1300" y="369"/>
                    </a:lnTo>
                    <a:lnTo>
                      <a:pt x="1300" y="367"/>
                    </a:lnTo>
                    <a:lnTo>
                      <a:pt x="1302" y="367"/>
                    </a:lnTo>
                    <a:lnTo>
                      <a:pt x="1302" y="366"/>
                    </a:lnTo>
                    <a:lnTo>
                      <a:pt x="1300" y="366"/>
                    </a:lnTo>
                    <a:lnTo>
                      <a:pt x="1302" y="366"/>
                    </a:lnTo>
                    <a:lnTo>
                      <a:pt x="1300" y="364"/>
                    </a:lnTo>
                    <a:lnTo>
                      <a:pt x="1300" y="362"/>
                    </a:lnTo>
                    <a:lnTo>
                      <a:pt x="1298" y="360"/>
                    </a:lnTo>
                    <a:lnTo>
                      <a:pt x="1300" y="359"/>
                    </a:lnTo>
                    <a:lnTo>
                      <a:pt x="1300" y="357"/>
                    </a:lnTo>
                    <a:lnTo>
                      <a:pt x="1298" y="357"/>
                    </a:lnTo>
                    <a:lnTo>
                      <a:pt x="1298" y="355"/>
                    </a:lnTo>
                    <a:lnTo>
                      <a:pt x="1298" y="354"/>
                    </a:lnTo>
                    <a:lnTo>
                      <a:pt x="1298" y="352"/>
                    </a:lnTo>
                    <a:lnTo>
                      <a:pt x="1300" y="350"/>
                    </a:lnTo>
                    <a:lnTo>
                      <a:pt x="1300" y="352"/>
                    </a:lnTo>
                    <a:lnTo>
                      <a:pt x="1302" y="352"/>
                    </a:lnTo>
                    <a:lnTo>
                      <a:pt x="1302" y="350"/>
                    </a:lnTo>
                    <a:lnTo>
                      <a:pt x="1304" y="350"/>
                    </a:lnTo>
                    <a:lnTo>
                      <a:pt x="1302" y="349"/>
                    </a:lnTo>
                    <a:lnTo>
                      <a:pt x="1304" y="349"/>
                    </a:lnTo>
                    <a:lnTo>
                      <a:pt x="1304" y="347"/>
                    </a:lnTo>
                    <a:lnTo>
                      <a:pt x="1305" y="347"/>
                    </a:lnTo>
                    <a:lnTo>
                      <a:pt x="1305" y="345"/>
                    </a:lnTo>
                    <a:lnTo>
                      <a:pt x="1304" y="345"/>
                    </a:lnTo>
                    <a:lnTo>
                      <a:pt x="1304" y="343"/>
                    </a:lnTo>
                    <a:lnTo>
                      <a:pt x="1304" y="342"/>
                    </a:lnTo>
                    <a:lnTo>
                      <a:pt x="1304" y="340"/>
                    </a:lnTo>
                    <a:lnTo>
                      <a:pt x="1305" y="338"/>
                    </a:lnTo>
                    <a:lnTo>
                      <a:pt x="1307" y="337"/>
                    </a:lnTo>
                    <a:lnTo>
                      <a:pt x="1305" y="337"/>
                    </a:lnTo>
                    <a:lnTo>
                      <a:pt x="1305" y="335"/>
                    </a:lnTo>
                    <a:lnTo>
                      <a:pt x="1307" y="335"/>
                    </a:lnTo>
                    <a:lnTo>
                      <a:pt x="1307" y="333"/>
                    </a:lnTo>
                    <a:lnTo>
                      <a:pt x="1307" y="331"/>
                    </a:lnTo>
                    <a:lnTo>
                      <a:pt x="1307" y="330"/>
                    </a:lnTo>
                    <a:lnTo>
                      <a:pt x="1309" y="330"/>
                    </a:lnTo>
                    <a:lnTo>
                      <a:pt x="1307" y="330"/>
                    </a:lnTo>
                    <a:lnTo>
                      <a:pt x="1307" y="328"/>
                    </a:lnTo>
                    <a:lnTo>
                      <a:pt x="1309" y="326"/>
                    </a:lnTo>
                    <a:lnTo>
                      <a:pt x="1309" y="325"/>
                    </a:lnTo>
                    <a:lnTo>
                      <a:pt x="1307" y="325"/>
                    </a:lnTo>
                    <a:lnTo>
                      <a:pt x="1307" y="323"/>
                    </a:lnTo>
                    <a:lnTo>
                      <a:pt x="1309" y="323"/>
                    </a:lnTo>
                    <a:lnTo>
                      <a:pt x="1310" y="323"/>
                    </a:lnTo>
                    <a:lnTo>
                      <a:pt x="1310" y="321"/>
                    </a:lnTo>
                    <a:lnTo>
                      <a:pt x="1310" y="320"/>
                    </a:lnTo>
                    <a:lnTo>
                      <a:pt x="1309" y="320"/>
                    </a:lnTo>
                    <a:lnTo>
                      <a:pt x="1309" y="318"/>
                    </a:lnTo>
                    <a:lnTo>
                      <a:pt x="1309" y="316"/>
                    </a:lnTo>
                    <a:lnTo>
                      <a:pt x="1309" y="314"/>
                    </a:lnTo>
                    <a:lnTo>
                      <a:pt x="1309" y="313"/>
                    </a:lnTo>
                    <a:lnTo>
                      <a:pt x="1309" y="311"/>
                    </a:lnTo>
                    <a:lnTo>
                      <a:pt x="1310" y="311"/>
                    </a:lnTo>
                    <a:lnTo>
                      <a:pt x="1310" y="309"/>
                    </a:lnTo>
                    <a:lnTo>
                      <a:pt x="1310" y="308"/>
                    </a:lnTo>
                    <a:lnTo>
                      <a:pt x="1309" y="306"/>
                    </a:lnTo>
                    <a:lnTo>
                      <a:pt x="1309" y="304"/>
                    </a:lnTo>
                    <a:lnTo>
                      <a:pt x="1307" y="304"/>
                    </a:lnTo>
                    <a:lnTo>
                      <a:pt x="1307" y="303"/>
                    </a:lnTo>
                    <a:lnTo>
                      <a:pt x="1307" y="301"/>
                    </a:lnTo>
                    <a:lnTo>
                      <a:pt x="1307" y="299"/>
                    </a:lnTo>
                    <a:lnTo>
                      <a:pt x="1309" y="299"/>
                    </a:lnTo>
                    <a:lnTo>
                      <a:pt x="1307" y="297"/>
                    </a:lnTo>
                    <a:lnTo>
                      <a:pt x="1309" y="297"/>
                    </a:lnTo>
                    <a:lnTo>
                      <a:pt x="1309" y="296"/>
                    </a:lnTo>
                    <a:lnTo>
                      <a:pt x="1310" y="296"/>
                    </a:lnTo>
                    <a:lnTo>
                      <a:pt x="1310" y="294"/>
                    </a:lnTo>
                    <a:lnTo>
                      <a:pt x="1309" y="294"/>
                    </a:lnTo>
                    <a:lnTo>
                      <a:pt x="1310" y="294"/>
                    </a:lnTo>
                    <a:lnTo>
                      <a:pt x="1310" y="292"/>
                    </a:lnTo>
                    <a:lnTo>
                      <a:pt x="1309" y="291"/>
                    </a:lnTo>
                    <a:lnTo>
                      <a:pt x="1310" y="291"/>
                    </a:lnTo>
                    <a:lnTo>
                      <a:pt x="1312" y="291"/>
                    </a:lnTo>
                    <a:lnTo>
                      <a:pt x="1312" y="289"/>
                    </a:lnTo>
                    <a:lnTo>
                      <a:pt x="1314" y="289"/>
                    </a:lnTo>
                    <a:lnTo>
                      <a:pt x="1314" y="287"/>
                    </a:lnTo>
                    <a:lnTo>
                      <a:pt x="1314" y="286"/>
                    </a:lnTo>
                    <a:lnTo>
                      <a:pt x="1315" y="287"/>
                    </a:lnTo>
                    <a:lnTo>
                      <a:pt x="1315" y="286"/>
                    </a:lnTo>
                    <a:lnTo>
                      <a:pt x="1315" y="284"/>
                    </a:lnTo>
                    <a:lnTo>
                      <a:pt x="1315" y="282"/>
                    </a:lnTo>
                    <a:lnTo>
                      <a:pt x="1317" y="282"/>
                    </a:lnTo>
                    <a:lnTo>
                      <a:pt x="1317" y="280"/>
                    </a:lnTo>
                    <a:lnTo>
                      <a:pt x="1317" y="279"/>
                    </a:lnTo>
                    <a:lnTo>
                      <a:pt x="1315" y="277"/>
                    </a:lnTo>
                    <a:lnTo>
                      <a:pt x="1315" y="275"/>
                    </a:lnTo>
                    <a:lnTo>
                      <a:pt x="1314" y="275"/>
                    </a:lnTo>
                    <a:lnTo>
                      <a:pt x="1315" y="274"/>
                    </a:lnTo>
                    <a:lnTo>
                      <a:pt x="1315" y="272"/>
                    </a:lnTo>
                    <a:lnTo>
                      <a:pt x="1315" y="270"/>
                    </a:lnTo>
                    <a:lnTo>
                      <a:pt x="1314" y="269"/>
                    </a:lnTo>
                    <a:lnTo>
                      <a:pt x="1314" y="267"/>
                    </a:lnTo>
                    <a:lnTo>
                      <a:pt x="1314" y="265"/>
                    </a:lnTo>
                    <a:lnTo>
                      <a:pt x="1312" y="265"/>
                    </a:lnTo>
                    <a:lnTo>
                      <a:pt x="1314" y="265"/>
                    </a:lnTo>
                    <a:lnTo>
                      <a:pt x="1312" y="265"/>
                    </a:lnTo>
                    <a:lnTo>
                      <a:pt x="1312" y="263"/>
                    </a:lnTo>
                    <a:lnTo>
                      <a:pt x="1312" y="262"/>
                    </a:lnTo>
                    <a:lnTo>
                      <a:pt x="1312" y="260"/>
                    </a:lnTo>
                    <a:lnTo>
                      <a:pt x="1312" y="258"/>
                    </a:lnTo>
                    <a:lnTo>
                      <a:pt x="1312" y="257"/>
                    </a:lnTo>
                    <a:lnTo>
                      <a:pt x="1312" y="255"/>
                    </a:lnTo>
                    <a:lnTo>
                      <a:pt x="1312" y="253"/>
                    </a:lnTo>
                    <a:lnTo>
                      <a:pt x="1312" y="252"/>
                    </a:lnTo>
                    <a:lnTo>
                      <a:pt x="1312" y="250"/>
                    </a:lnTo>
                    <a:lnTo>
                      <a:pt x="1314" y="250"/>
                    </a:lnTo>
                    <a:lnTo>
                      <a:pt x="1312" y="248"/>
                    </a:lnTo>
                    <a:lnTo>
                      <a:pt x="1314" y="248"/>
                    </a:lnTo>
                    <a:lnTo>
                      <a:pt x="1312" y="246"/>
                    </a:lnTo>
                    <a:lnTo>
                      <a:pt x="1314" y="246"/>
                    </a:lnTo>
                    <a:lnTo>
                      <a:pt x="1314" y="245"/>
                    </a:lnTo>
                    <a:lnTo>
                      <a:pt x="1314" y="243"/>
                    </a:lnTo>
                    <a:lnTo>
                      <a:pt x="1314" y="241"/>
                    </a:lnTo>
                    <a:lnTo>
                      <a:pt x="1314" y="240"/>
                    </a:lnTo>
                    <a:lnTo>
                      <a:pt x="1314" y="238"/>
                    </a:lnTo>
                    <a:lnTo>
                      <a:pt x="1314" y="236"/>
                    </a:lnTo>
                    <a:lnTo>
                      <a:pt x="1314" y="235"/>
                    </a:lnTo>
                    <a:lnTo>
                      <a:pt x="1314" y="233"/>
                    </a:lnTo>
                    <a:lnTo>
                      <a:pt x="1314" y="231"/>
                    </a:lnTo>
                    <a:lnTo>
                      <a:pt x="1314" y="229"/>
                    </a:lnTo>
                    <a:lnTo>
                      <a:pt x="1314" y="228"/>
                    </a:lnTo>
                    <a:lnTo>
                      <a:pt x="1314" y="226"/>
                    </a:lnTo>
                    <a:lnTo>
                      <a:pt x="1315" y="226"/>
                    </a:lnTo>
                    <a:lnTo>
                      <a:pt x="1315" y="224"/>
                    </a:lnTo>
                    <a:lnTo>
                      <a:pt x="1317" y="224"/>
                    </a:lnTo>
                    <a:lnTo>
                      <a:pt x="1317" y="223"/>
                    </a:lnTo>
                    <a:lnTo>
                      <a:pt x="1317" y="221"/>
                    </a:lnTo>
                    <a:lnTo>
                      <a:pt x="1317" y="219"/>
                    </a:lnTo>
                    <a:lnTo>
                      <a:pt x="1317" y="218"/>
                    </a:lnTo>
                    <a:lnTo>
                      <a:pt x="1317" y="216"/>
                    </a:lnTo>
                    <a:lnTo>
                      <a:pt x="1315" y="216"/>
                    </a:lnTo>
                    <a:lnTo>
                      <a:pt x="1315" y="214"/>
                    </a:lnTo>
                    <a:lnTo>
                      <a:pt x="1314" y="214"/>
                    </a:lnTo>
                    <a:lnTo>
                      <a:pt x="1314" y="216"/>
                    </a:lnTo>
                    <a:lnTo>
                      <a:pt x="1312" y="218"/>
                    </a:lnTo>
                    <a:lnTo>
                      <a:pt x="1312" y="216"/>
                    </a:lnTo>
                    <a:lnTo>
                      <a:pt x="1310" y="216"/>
                    </a:lnTo>
                    <a:lnTo>
                      <a:pt x="1310" y="214"/>
                    </a:lnTo>
                    <a:lnTo>
                      <a:pt x="1312" y="212"/>
                    </a:lnTo>
                    <a:lnTo>
                      <a:pt x="1310" y="212"/>
                    </a:lnTo>
                    <a:lnTo>
                      <a:pt x="1310" y="211"/>
                    </a:lnTo>
                    <a:lnTo>
                      <a:pt x="1312" y="209"/>
                    </a:lnTo>
                    <a:lnTo>
                      <a:pt x="1310" y="209"/>
                    </a:lnTo>
                    <a:lnTo>
                      <a:pt x="1310" y="207"/>
                    </a:lnTo>
                    <a:lnTo>
                      <a:pt x="1310" y="206"/>
                    </a:lnTo>
                    <a:lnTo>
                      <a:pt x="1312" y="206"/>
                    </a:lnTo>
                    <a:lnTo>
                      <a:pt x="1312" y="204"/>
                    </a:lnTo>
                    <a:lnTo>
                      <a:pt x="1312" y="202"/>
                    </a:lnTo>
                    <a:lnTo>
                      <a:pt x="1312" y="201"/>
                    </a:lnTo>
                    <a:lnTo>
                      <a:pt x="1312" y="199"/>
                    </a:lnTo>
                    <a:lnTo>
                      <a:pt x="1314" y="199"/>
                    </a:lnTo>
                    <a:lnTo>
                      <a:pt x="1314" y="201"/>
                    </a:lnTo>
                    <a:lnTo>
                      <a:pt x="1315" y="201"/>
                    </a:lnTo>
                    <a:lnTo>
                      <a:pt x="1317" y="201"/>
                    </a:lnTo>
                    <a:lnTo>
                      <a:pt x="1319" y="201"/>
                    </a:lnTo>
                    <a:lnTo>
                      <a:pt x="1319" y="199"/>
                    </a:lnTo>
                    <a:lnTo>
                      <a:pt x="1321" y="197"/>
                    </a:lnTo>
                    <a:lnTo>
                      <a:pt x="1321" y="195"/>
                    </a:lnTo>
                    <a:lnTo>
                      <a:pt x="1321" y="194"/>
                    </a:lnTo>
                    <a:lnTo>
                      <a:pt x="1322" y="194"/>
                    </a:lnTo>
                    <a:lnTo>
                      <a:pt x="1321" y="192"/>
                    </a:lnTo>
                    <a:lnTo>
                      <a:pt x="1321" y="190"/>
                    </a:lnTo>
                    <a:lnTo>
                      <a:pt x="1321" y="189"/>
                    </a:lnTo>
                    <a:lnTo>
                      <a:pt x="1322" y="187"/>
                    </a:lnTo>
                    <a:lnTo>
                      <a:pt x="1322" y="185"/>
                    </a:lnTo>
                    <a:lnTo>
                      <a:pt x="1322" y="184"/>
                    </a:lnTo>
                    <a:lnTo>
                      <a:pt x="1322" y="182"/>
                    </a:lnTo>
                    <a:lnTo>
                      <a:pt x="1322" y="180"/>
                    </a:lnTo>
                    <a:lnTo>
                      <a:pt x="1324" y="178"/>
                    </a:lnTo>
                    <a:lnTo>
                      <a:pt x="1322" y="178"/>
                    </a:lnTo>
                    <a:lnTo>
                      <a:pt x="1322" y="177"/>
                    </a:lnTo>
                    <a:lnTo>
                      <a:pt x="1322" y="175"/>
                    </a:lnTo>
                    <a:lnTo>
                      <a:pt x="1322" y="173"/>
                    </a:lnTo>
                    <a:lnTo>
                      <a:pt x="1324" y="172"/>
                    </a:lnTo>
                    <a:lnTo>
                      <a:pt x="1322" y="172"/>
                    </a:lnTo>
                    <a:lnTo>
                      <a:pt x="1324" y="170"/>
                    </a:lnTo>
                    <a:lnTo>
                      <a:pt x="1324" y="168"/>
                    </a:lnTo>
                    <a:lnTo>
                      <a:pt x="1324" y="166"/>
                    </a:lnTo>
                    <a:lnTo>
                      <a:pt x="1324" y="165"/>
                    </a:lnTo>
                    <a:lnTo>
                      <a:pt x="1324" y="163"/>
                    </a:lnTo>
                    <a:lnTo>
                      <a:pt x="1326" y="163"/>
                    </a:lnTo>
                    <a:lnTo>
                      <a:pt x="1324" y="163"/>
                    </a:lnTo>
                    <a:lnTo>
                      <a:pt x="1324" y="161"/>
                    </a:lnTo>
                    <a:lnTo>
                      <a:pt x="1326" y="161"/>
                    </a:lnTo>
                    <a:lnTo>
                      <a:pt x="1326" y="160"/>
                    </a:lnTo>
                    <a:lnTo>
                      <a:pt x="1326" y="158"/>
                    </a:lnTo>
                    <a:lnTo>
                      <a:pt x="1326" y="156"/>
                    </a:lnTo>
                    <a:lnTo>
                      <a:pt x="1326" y="155"/>
                    </a:lnTo>
                    <a:lnTo>
                      <a:pt x="1326" y="153"/>
                    </a:lnTo>
                    <a:lnTo>
                      <a:pt x="1326" y="151"/>
                    </a:lnTo>
                    <a:lnTo>
                      <a:pt x="1326" y="149"/>
                    </a:lnTo>
                    <a:lnTo>
                      <a:pt x="1326" y="148"/>
                    </a:lnTo>
                    <a:lnTo>
                      <a:pt x="1327" y="148"/>
                    </a:lnTo>
                    <a:lnTo>
                      <a:pt x="1327" y="146"/>
                    </a:lnTo>
                    <a:lnTo>
                      <a:pt x="1327" y="144"/>
                    </a:lnTo>
                    <a:lnTo>
                      <a:pt x="1329" y="144"/>
                    </a:lnTo>
                    <a:lnTo>
                      <a:pt x="1329" y="143"/>
                    </a:lnTo>
                    <a:lnTo>
                      <a:pt x="1329" y="141"/>
                    </a:lnTo>
                    <a:lnTo>
                      <a:pt x="1329" y="139"/>
                    </a:lnTo>
                    <a:lnTo>
                      <a:pt x="1329" y="138"/>
                    </a:lnTo>
                    <a:lnTo>
                      <a:pt x="1327" y="138"/>
                    </a:lnTo>
                    <a:lnTo>
                      <a:pt x="1329" y="136"/>
                    </a:lnTo>
                    <a:lnTo>
                      <a:pt x="1329" y="134"/>
                    </a:lnTo>
                    <a:lnTo>
                      <a:pt x="1329" y="132"/>
                    </a:lnTo>
                    <a:lnTo>
                      <a:pt x="1327" y="132"/>
                    </a:lnTo>
                    <a:lnTo>
                      <a:pt x="1327" y="131"/>
                    </a:lnTo>
                    <a:lnTo>
                      <a:pt x="1327" y="129"/>
                    </a:lnTo>
                    <a:lnTo>
                      <a:pt x="1327" y="127"/>
                    </a:lnTo>
                    <a:lnTo>
                      <a:pt x="1326" y="127"/>
                    </a:lnTo>
                    <a:lnTo>
                      <a:pt x="1326" y="126"/>
                    </a:lnTo>
                    <a:lnTo>
                      <a:pt x="1326" y="124"/>
                    </a:lnTo>
                    <a:lnTo>
                      <a:pt x="1327" y="122"/>
                    </a:lnTo>
                    <a:lnTo>
                      <a:pt x="1326" y="121"/>
                    </a:lnTo>
                    <a:lnTo>
                      <a:pt x="1327" y="121"/>
                    </a:lnTo>
                    <a:lnTo>
                      <a:pt x="1326" y="121"/>
                    </a:lnTo>
                    <a:lnTo>
                      <a:pt x="1326" y="119"/>
                    </a:lnTo>
                    <a:lnTo>
                      <a:pt x="1324" y="117"/>
                    </a:lnTo>
                    <a:lnTo>
                      <a:pt x="1326" y="117"/>
                    </a:lnTo>
                    <a:lnTo>
                      <a:pt x="1324" y="117"/>
                    </a:lnTo>
                    <a:lnTo>
                      <a:pt x="1324" y="115"/>
                    </a:lnTo>
                    <a:lnTo>
                      <a:pt x="1326" y="115"/>
                    </a:lnTo>
                    <a:lnTo>
                      <a:pt x="1324" y="115"/>
                    </a:lnTo>
                    <a:lnTo>
                      <a:pt x="1324" y="114"/>
                    </a:lnTo>
                    <a:lnTo>
                      <a:pt x="1326" y="114"/>
                    </a:lnTo>
                    <a:lnTo>
                      <a:pt x="1324" y="114"/>
                    </a:lnTo>
                    <a:lnTo>
                      <a:pt x="1326" y="112"/>
                    </a:lnTo>
                    <a:lnTo>
                      <a:pt x="1324" y="110"/>
                    </a:lnTo>
                    <a:lnTo>
                      <a:pt x="1324" y="109"/>
                    </a:lnTo>
                    <a:lnTo>
                      <a:pt x="1324" y="107"/>
                    </a:lnTo>
                    <a:lnTo>
                      <a:pt x="1326" y="107"/>
                    </a:lnTo>
                    <a:lnTo>
                      <a:pt x="1326" y="105"/>
                    </a:lnTo>
                    <a:lnTo>
                      <a:pt x="1326" y="104"/>
                    </a:lnTo>
                    <a:lnTo>
                      <a:pt x="1326" y="102"/>
                    </a:lnTo>
                    <a:lnTo>
                      <a:pt x="1326" y="100"/>
                    </a:lnTo>
                    <a:lnTo>
                      <a:pt x="1327" y="100"/>
                    </a:lnTo>
                    <a:lnTo>
                      <a:pt x="1327" y="98"/>
                    </a:lnTo>
                    <a:lnTo>
                      <a:pt x="1326" y="97"/>
                    </a:lnTo>
                    <a:lnTo>
                      <a:pt x="1327" y="95"/>
                    </a:lnTo>
                    <a:lnTo>
                      <a:pt x="1326" y="95"/>
                    </a:lnTo>
                    <a:lnTo>
                      <a:pt x="1326" y="93"/>
                    </a:lnTo>
                    <a:lnTo>
                      <a:pt x="1327" y="93"/>
                    </a:lnTo>
                    <a:lnTo>
                      <a:pt x="1327" y="92"/>
                    </a:lnTo>
                    <a:lnTo>
                      <a:pt x="1327" y="90"/>
                    </a:lnTo>
                    <a:lnTo>
                      <a:pt x="1327" y="88"/>
                    </a:lnTo>
                    <a:lnTo>
                      <a:pt x="1327" y="87"/>
                    </a:lnTo>
                    <a:lnTo>
                      <a:pt x="1326" y="87"/>
                    </a:lnTo>
                    <a:lnTo>
                      <a:pt x="1327" y="87"/>
                    </a:lnTo>
                    <a:lnTo>
                      <a:pt x="1326" y="85"/>
                    </a:lnTo>
                    <a:lnTo>
                      <a:pt x="1327" y="85"/>
                    </a:lnTo>
                    <a:lnTo>
                      <a:pt x="1327" y="83"/>
                    </a:lnTo>
                    <a:lnTo>
                      <a:pt x="1326" y="83"/>
                    </a:lnTo>
                    <a:lnTo>
                      <a:pt x="1326" y="81"/>
                    </a:lnTo>
                    <a:lnTo>
                      <a:pt x="1326" y="80"/>
                    </a:lnTo>
                    <a:lnTo>
                      <a:pt x="1326" y="78"/>
                    </a:lnTo>
                    <a:lnTo>
                      <a:pt x="1326" y="76"/>
                    </a:lnTo>
                    <a:lnTo>
                      <a:pt x="1324" y="75"/>
                    </a:lnTo>
                    <a:lnTo>
                      <a:pt x="1324" y="73"/>
                    </a:lnTo>
                    <a:lnTo>
                      <a:pt x="1324" y="71"/>
                    </a:lnTo>
                    <a:lnTo>
                      <a:pt x="1324" y="70"/>
                    </a:lnTo>
                    <a:lnTo>
                      <a:pt x="1324" y="68"/>
                    </a:lnTo>
                    <a:lnTo>
                      <a:pt x="1324" y="66"/>
                    </a:lnTo>
                    <a:lnTo>
                      <a:pt x="1322" y="66"/>
                    </a:lnTo>
                    <a:lnTo>
                      <a:pt x="1322" y="64"/>
                    </a:lnTo>
                    <a:lnTo>
                      <a:pt x="1322" y="63"/>
                    </a:lnTo>
                    <a:lnTo>
                      <a:pt x="1322" y="61"/>
                    </a:lnTo>
                    <a:lnTo>
                      <a:pt x="1322" y="59"/>
                    </a:lnTo>
                    <a:lnTo>
                      <a:pt x="1322" y="58"/>
                    </a:lnTo>
                    <a:lnTo>
                      <a:pt x="1322" y="56"/>
                    </a:lnTo>
                    <a:lnTo>
                      <a:pt x="1321" y="56"/>
                    </a:lnTo>
                    <a:lnTo>
                      <a:pt x="1321" y="54"/>
                    </a:lnTo>
                    <a:lnTo>
                      <a:pt x="1321" y="53"/>
                    </a:lnTo>
                    <a:lnTo>
                      <a:pt x="1321" y="51"/>
                    </a:lnTo>
                    <a:lnTo>
                      <a:pt x="1321" y="49"/>
                    </a:lnTo>
                    <a:lnTo>
                      <a:pt x="1321" y="47"/>
                    </a:lnTo>
                    <a:lnTo>
                      <a:pt x="1319" y="47"/>
                    </a:lnTo>
                    <a:lnTo>
                      <a:pt x="1319" y="46"/>
                    </a:lnTo>
                    <a:lnTo>
                      <a:pt x="1319" y="44"/>
                    </a:lnTo>
                    <a:lnTo>
                      <a:pt x="1321" y="44"/>
                    </a:lnTo>
                    <a:lnTo>
                      <a:pt x="1319" y="42"/>
                    </a:lnTo>
                    <a:lnTo>
                      <a:pt x="1321" y="42"/>
                    </a:lnTo>
                    <a:lnTo>
                      <a:pt x="1321" y="41"/>
                    </a:lnTo>
                    <a:lnTo>
                      <a:pt x="1319" y="41"/>
                    </a:lnTo>
                    <a:lnTo>
                      <a:pt x="1321" y="39"/>
                    </a:lnTo>
                    <a:lnTo>
                      <a:pt x="1321" y="37"/>
                    </a:lnTo>
                    <a:lnTo>
                      <a:pt x="1321" y="36"/>
                    </a:lnTo>
                    <a:lnTo>
                      <a:pt x="1321" y="34"/>
                    </a:lnTo>
                    <a:lnTo>
                      <a:pt x="1321" y="32"/>
                    </a:lnTo>
                    <a:lnTo>
                      <a:pt x="1321" y="30"/>
                    </a:lnTo>
                    <a:lnTo>
                      <a:pt x="1319" y="30"/>
                    </a:lnTo>
                    <a:lnTo>
                      <a:pt x="1319" y="29"/>
                    </a:lnTo>
                    <a:lnTo>
                      <a:pt x="1321" y="29"/>
                    </a:lnTo>
                    <a:lnTo>
                      <a:pt x="1322" y="29"/>
                    </a:lnTo>
                    <a:lnTo>
                      <a:pt x="1324" y="29"/>
                    </a:lnTo>
                    <a:lnTo>
                      <a:pt x="1326" y="29"/>
                    </a:lnTo>
                    <a:lnTo>
                      <a:pt x="1327" y="29"/>
                    </a:lnTo>
                    <a:lnTo>
                      <a:pt x="1329" y="27"/>
                    </a:lnTo>
                    <a:lnTo>
                      <a:pt x="1331" y="27"/>
                    </a:lnTo>
                    <a:lnTo>
                      <a:pt x="1331" y="25"/>
                    </a:lnTo>
                    <a:lnTo>
                      <a:pt x="1332" y="25"/>
                    </a:lnTo>
                    <a:lnTo>
                      <a:pt x="1334" y="25"/>
                    </a:lnTo>
                    <a:lnTo>
                      <a:pt x="1334" y="24"/>
                    </a:lnTo>
                    <a:lnTo>
                      <a:pt x="1336" y="24"/>
                    </a:lnTo>
                    <a:lnTo>
                      <a:pt x="1338" y="22"/>
                    </a:lnTo>
                    <a:lnTo>
                      <a:pt x="1339" y="22"/>
                    </a:lnTo>
                    <a:lnTo>
                      <a:pt x="1339" y="20"/>
                    </a:lnTo>
                    <a:lnTo>
                      <a:pt x="1339" y="18"/>
                    </a:lnTo>
                    <a:lnTo>
                      <a:pt x="1339" y="17"/>
                    </a:lnTo>
                    <a:lnTo>
                      <a:pt x="1339" y="15"/>
                    </a:lnTo>
                    <a:lnTo>
                      <a:pt x="1339" y="13"/>
                    </a:lnTo>
                    <a:lnTo>
                      <a:pt x="1338" y="13"/>
                    </a:lnTo>
                    <a:lnTo>
                      <a:pt x="1339" y="12"/>
                    </a:lnTo>
                    <a:lnTo>
                      <a:pt x="1338" y="12"/>
                    </a:lnTo>
                    <a:lnTo>
                      <a:pt x="1338" y="10"/>
                    </a:lnTo>
                    <a:lnTo>
                      <a:pt x="1338" y="8"/>
                    </a:lnTo>
                    <a:lnTo>
                      <a:pt x="1336" y="8"/>
                    </a:lnTo>
                    <a:lnTo>
                      <a:pt x="1338" y="7"/>
                    </a:lnTo>
                    <a:lnTo>
                      <a:pt x="1338" y="5"/>
                    </a:lnTo>
                    <a:lnTo>
                      <a:pt x="1339" y="5"/>
                    </a:lnTo>
                    <a:lnTo>
                      <a:pt x="1341" y="5"/>
                    </a:lnTo>
                    <a:lnTo>
                      <a:pt x="1343" y="5"/>
                    </a:lnTo>
                    <a:lnTo>
                      <a:pt x="1344" y="3"/>
                    </a:lnTo>
                    <a:lnTo>
                      <a:pt x="1346" y="1"/>
                    </a:lnTo>
                    <a:lnTo>
                      <a:pt x="1349" y="0"/>
                    </a:lnTo>
                    <a:lnTo>
                      <a:pt x="1349" y="3"/>
                    </a:lnTo>
                    <a:lnTo>
                      <a:pt x="1351" y="5"/>
                    </a:lnTo>
                    <a:lnTo>
                      <a:pt x="1353" y="7"/>
                    </a:lnTo>
                    <a:lnTo>
                      <a:pt x="1353" y="8"/>
                    </a:lnTo>
                    <a:lnTo>
                      <a:pt x="1355" y="8"/>
                    </a:lnTo>
                    <a:lnTo>
                      <a:pt x="1355" y="10"/>
                    </a:lnTo>
                    <a:lnTo>
                      <a:pt x="1355" y="12"/>
                    </a:lnTo>
                    <a:lnTo>
                      <a:pt x="1355" y="13"/>
                    </a:lnTo>
                    <a:lnTo>
                      <a:pt x="1355" y="15"/>
                    </a:lnTo>
                    <a:lnTo>
                      <a:pt x="1356" y="15"/>
                    </a:lnTo>
                    <a:lnTo>
                      <a:pt x="1356" y="17"/>
                    </a:lnTo>
                    <a:lnTo>
                      <a:pt x="1358" y="17"/>
                    </a:lnTo>
                    <a:lnTo>
                      <a:pt x="1360" y="17"/>
                    </a:lnTo>
                    <a:lnTo>
                      <a:pt x="1361" y="17"/>
                    </a:lnTo>
                    <a:lnTo>
                      <a:pt x="1361" y="18"/>
                    </a:lnTo>
                    <a:lnTo>
                      <a:pt x="1363" y="18"/>
                    </a:lnTo>
                    <a:lnTo>
                      <a:pt x="1363" y="20"/>
                    </a:lnTo>
                    <a:lnTo>
                      <a:pt x="1361" y="20"/>
                    </a:lnTo>
                    <a:lnTo>
                      <a:pt x="1363" y="20"/>
                    </a:lnTo>
                    <a:lnTo>
                      <a:pt x="1361" y="20"/>
                    </a:lnTo>
                    <a:lnTo>
                      <a:pt x="1361" y="22"/>
                    </a:lnTo>
                    <a:lnTo>
                      <a:pt x="1360" y="22"/>
                    </a:lnTo>
                    <a:lnTo>
                      <a:pt x="1360" y="24"/>
                    </a:lnTo>
                    <a:lnTo>
                      <a:pt x="1361" y="24"/>
                    </a:lnTo>
                    <a:lnTo>
                      <a:pt x="1361" y="25"/>
                    </a:lnTo>
                    <a:lnTo>
                      <a:pt x="1363" y="25"/>
                    </a:lnTo>
                    <a:lnTo>
                      <a:pt x="1363" y="27"/>
                    </a:lnTo>
                    <a:lnTo>
                      <a:pt x="1363" y="29"/>
                    </a:lnTo>
                    <a:lnTo>
                      <a:pt x="1363" y="30"/>
                    </a:lnTo>
                    <a:lnTo>
                      <a:pt x="1363" y="32"/>
                    </a:lnTo>
                    <a:lnTo>
                      <a:pt x="1365" y="32"/>
                    </a:lnTo>
                    <a:lnTo>
                      <a:pt x="1365" y="34"/>
                    </a:lnTo>
                    <a:lnTo>
                      <a:pt x="1365" y="36"/>
                    </a:lnTo>
                    <a:lnTo>
                      <a:pt x="1365" y="37"/>
                    </a:lnTo>
                    <a:lnTo>
                      <a:pt x="1365" y="39"/>
                    </a:lnTo>
                    <a:lnTo>
                      <a:pt x="1363" y="39"/>
                    </a:lnTo>
                    <a:lnTo>
                      <a:pt x="1365" y="39"/>
                    </a:lnTo>
                    <a:lnTo>
                      <a:pt x="1365" y="41"/>
                    </a:lnTo>
                    <a:lnTo>
                      <a:pt x="1365" y="42"/>
                    </a:lnTo>
                    <a:lnTo>
                      <a:pt x="1366" y="42"/>
                    </a:lnTo>
                    <a:lnTo>
                      <a:pt x="1366" y="44"/>
                    </a:lnTo>
                    <a:lnTo>
                      <a:pt x="1366" y="46"/>
                    </a:lnTo>
                    <a:lnTo>
                      <a:pt x="1368" y="47"/>
                    </a:lnTo>
                    <a:lnTo>
                      <a:pt x="1368" y="49"/>
                    </a:lnTo>
                    <a:lnTo>
                      <a:pt x="1366" y="49"/>
                    </a:lnTo>
                    <a:lnTo>
                      <a:pt x="1366" y="51"/>
                    </a:lnTo>
                    <a:lnTo>
                      <a:pt x="1368" y="51"/>
                    </a:lnTo>
                    <a:lnTo>
                      <a:pt x="1368" y="53"/>
                    </a:lnTo>
                    <a:lnTo>
                      <a:pt x="1368" y="54"/>
                    </a:lnTo>
                    <a:lnTo>
                      <a:pt x="1370" y="54"/>
                    </a:lnTo>
                    <a:lnTo>
                      <a:pt x="1372" y="56"/>
                    </a:lnTo>
                    <a:lnTo>
                      <a:pt x="1373" y="56"/>
                    </a:lnTo>
                    <a:lnTo>
                      <a:pt x="1373" y="58"/>
                    </a:lnTo>
                    <a:lnTo>
                      <a:pt x="1375" y="58"/>
                    </a:lnTo>
                    <a:lnTo>
                      <a:pt x="1375" y="59"/>
                    </a:lnTo>
                    <a:lnTo>
                      <a:pt x="1377" y="59"/>
                    </a:lnTo>
                    <a:lnTo>
                      <a:pt x="1377" y="61"/>
                    </a:lnTo>
                    <a:lnTo>
                      <a:pt x="1378" y="61"/>
                    </a:lnTo>
                    <a:lnTo>
                      <a:pt x="1378" y="63"/>
                    </a:lnTo>
                    <a:lnTo>
                      <a:pt x="1380" y="63"/>
                    </a:lnTo>
                    <a:lnTo>
                      <a:pt x="1382" y="64"/>
                    </a:lnTo>
                    <a:lnTo>
                      <a:pt x="1382" y="66"/>
                    </a:lnTo>
                    <a:lnTo>
                      <a:pt x="1383" y="66"/>
                    </a:lnTo>
                    <a:lnTo>
                      <a:pt x="1383" y="68"/>
                    </a:lnTo>
                    <a:lnTo>
                      <a:pt x="1383" y="70"/>
                    </a:lnTo>
                    <a:lnTo>
                      <a:pt x="1382" y="71"/>
                    </a:lnTo>
                    <a:lnTo>
                      <a:pt x="1382" y="73"/>
                    </a:lnTo>
                    <a:lnTo>
                      <a:pt x="1380" y="73"/>
                    </a:lnTo>
                    <a:lnTo>
                      <a:pt x="1380" y="75"/>
                    </a:lnTo>
                    <a:lnTo>
                      <a:pt x="1378" y="75"/>
                    </a:lnTo>
                    <a:lnTo>
                      <a:pt x="1378" y="76"/>
                    </a:lnTo>
                    <a:lnTo>
                      <a:pt x="1378" y="78"/>
                    </a:lnTo>
                    <a:lnTo>
                      <a:pt x="1377" y="78"/>
                    </a:lnTo>
                    <a:lnTo>
                      <a:pt x="1375" y="78"/>
                    </a:lnTo>
                    <a:lnTo>
                      <a:pt x="1375" y="80"/>
                    </a:lnTo>
                    <a:lnTo>
                      <a:pt x="1377" y="80"/>
                    </a:lnTo>
                    <a:lnTo>
                      <a:pt x="1378" y="81"/>
                    </a:lnTo>
                    <a:lnTo>
                      <a:pt x="1378" y="83"/>
                    </a:lnTo>
                    <a:lnTo>
                      <a:pt x="1380" y="83"/>
                    </a:lnTo>
                    <a:lnTo>
                      <a:pt x="1382" y="83"/>
                    </a:lnTo>
                    <a:lnTo>
                      <a:pt x="1380" y="83"/>
                    </a:lnTo>
                    <a:lnTo>
                      <a:pt x="1380" y="85"/>
                    </a:lnTo>
                    <a:lnTo>
                      <a:pt x="1382" y="85"/>
                    </a:lnTo>
                    <a:lnTo>
                      <a:pt x="1382" y="87"/>
                    </a:lnTo>
                    <a:lnTo>
                      <a:pt x="1380" y="87"/>
                    </a:lnTo>
                    <a:lnTo>
                      <a:pt x="1380" y="88"/>
                    </a:lnTo>
                    <a:lnTo>
                      <a:pt x="1380" y="90"/>
                    </a:lnTo>
                    <a:lnTo>
                      <a:pt x="1378" y="90"/>
                    </a:lnTo>
                    <a:lnTo>
                      <a:pt x="1377" y="90"/>
                    </a:lnTo>
                    <a:lnTo>
                      <a:pt x="1375" y="92"/>
                    </a:lnTo>
                    <a:lnTo>
                      <a:pt x="1373" y="92"/>
                    </a:lnTo>
                    <a:lnTo>
                      <a:pt x="1373" y="93"/>
                    </a:lnTo>
                    <a:lnTo>
                      <a:pt x="1375" y="93"/>
                    </a:lnTo>
                    <a:lnTo>
                      <a:pt x="1375" y="95"/>
                    </a:lnTo>
                    <a:lnTo>
                      <a:pt x="1375" y="97"/>
                    </a:lnTo>
                    <a:lnTo>
                      <a:pt x="1375" y="98"/>
                    </a:lnTo>
                    <a:lnTo>
                      <a:pt x="1377" y="98"/>
                    </a:lnTo>
                    <a:lnTo>
                      <a:pt x="1377" y="100"/>
                    </a:lnTo>
                    <a:lnTo>
                      <a:pt x="1377" y="102"/>
                    </a:lnTo>
                    <a:lnTo>
                      <a:pt x="1375" y="102"/>
                    </a:lnTo>
                    <a:lnTo>
                      <a:pt x="1373" y="102"/>
                    </a:lnTo>
                    <a:lnTo>
                      <a:pt x="1373" y="104"/>
                    </a:lnTo>
                    <a:lnTo>
                      <a:pt x="1373" y="105"/>
                    </a:lnTo>
                    <a:lnTo>
                      <a:pt x="1375" y="105"/>
                    </a:lnTo>
                    <a:lnTo>
                      <a:pt x="1375" y="107"/>
                    </a:lnTo>
                    <a:lnTo>
                      <a:pt x="1377" y="107"/>
                    </a:lnTo>
                    <a:lnTo>
                      <a:pt x="1378" y="107"/>
                    </a:lnTo>
                    <a:lnTo>
                      <a:pt x="1378" y="109"/>
                    </a:lnTo>
                    <a:lnTo>
                      <a:pt x="1380" y="109"/>
                    </a:lnTo>
                    <a:lnTo>
                      <a:pt x="1382" y="109"/>
                    </a:lnTo>
                    <a:lnTo>
                      <a:pt x="1382" y="110"/>
                    </a:lnTo>
                    <a:lnTo>
                      <a:pt x="1383" y="110"/>
                    </a:lnTo>
                    <a:lnTo>
                      <a:pt x="1383" y="112"/>
                    </a:lnTo>
                    <a:lnTo>
                      <a:pt x="1382" y="112"/>
                    </a:lnTo>
                    <a:lnTo>
                      <a:pt x="1382" y="114"/>
                    </a:lnTo>
                    <a:lnTo>
                      <a:pt x="1380" y="114"/>
                    </a:lnTo>
                    <a:lnTo>
                      <a:pt x="1380" y="115"/>
                    </a:lnTo>
                    <a:lnTo>
                      <a:pt x="1380" y="117"/>
                    </a:lnTo>
                    <a:lnTo>
                      <a:pt x="1380" y="119"/>
                    </a:lnTo>
                    <a:lnTo>
                      <a:pt x="1380" y="121"/>
                    </a:lnTo>
                    <a:lnTo>
                      <a:pt x="1382" y="122"/>
                    </a:lnTo>
                    <a:lnTo>
                      <a:pt x="1383" y="122"/>
                    </a:lnTo>
                    <a:lnTo>
                      <a:pt x="1385" y="122"/>
                    </a:lnTo>
                    <a:lnTo>
                      <a:pt x="1385" y="124"/>
                    </a:lnTo>
                    <a:lnTo>
                      <a:pt x="1387" y="124"/>
                    </a:lnTo>
                    <a:lnTo>
                      <a:pt x="1387" y="126"/>
                    </a:lnTo>
                    <a:lnTo>
                      <a:pt x="1389" y="126"/>
                    </a:lnTo>
                    <a:lnTo>
                      <a:pt x="1389" y="127"/>
                    </a:lnTo>
                    <a:lnTo>
                      <a:pt x="1389" y="129"/>
                    </a:lnTo>
                    <a:lnTo>
                      <a:pt x="1392" y="134"/>
                    </a:lnTo>
                    <a:lnTo>
                      <a:pt x="1392" y="136"/>
                    </a:lnTo>
                    <a:lnTo>
                      <a:pt x="1392" y="138"/>
                    </a:lnTo>
                    <a:lnTo>
                      <a:pt x="1392" y="141"/>
                    </a:lnTo>
                    <a:lnTo>
                      <a:pt x="1392" y="143"/>
                    </a:lnTo>
                    <a:lnTo>
                      <a:pt x="1392" y="144"/>
                    </a:lnTo>
                    <a:lnTo>
                      <a:pt x="1392" y="146"/>
                    </a:lnTo>
                    <a:lnTo>
                      <a:pt x="1394" y="148"/>
                    </a:lnTo>
                    <a:lnTo>
                      <a:pt x="1395" y="149"/>
                    </a:lnTo>
                    <a:lnTo>
                      <a:pt x="1395" y="151"/>
                    </a:lnTo>
                    <a:lnTo>
                      <a:pt x="1397" y="153"/>
                    </a:lnTo>
                    <a:lnTo>
                      <a:pt x="1397" y="155"/>
                    </a:lnTo>
                    <a:lnTo>
                      <a:pt x="1397" y="160"/>
                    </a:lnTo>
                    <a:lnTo>
                      <a:pt x="1397" y="161"/>
                    </a:lnTo>
                    <a:lnTo>
                      <a:pt x="1399" y="161"/>
                    </a:lnTo>
                    <a:lnTo>
                      <a:pt x="1399" y="163"/>
                    </a:lnTo>
                    <a:lnTo>
                      <a:pt x="1400" y="163"/>
                    </a:lnTo>
                    <a:lnTo>
                      <a:pt x="1400" y="165"/>
                    </a:lnTo>
                    <a:lnTo>
                      <a:pt x="1400" y="166"/>
                    </a:lnTo>
                    <a:lnTo>
                      <a:pt x="1400" y="168"/>
                    </a:lnTo>
                    <a:lnTo>
                      <a:pt x="1402" y="168"/>
                    </a:lnTo>
                    <a:lnTo>
                      <a:pt x="1400" y="170"/>
                    </a:lnTo>
                    <a:lnTo>
                      <a:pt x="1402" y="170"/>
                    </a:lnTo>
                    <a:lnTo>
                      <a:pt x="1400" y="172"/>
                    </a:lnTo>
                    <a:lnTo>
                      <a:pt x="1400" y="173"/>
                    </a:lnTo>
                    <a:lnTo>
                      <a:pt x="1400" y="175"/>
                    </a:lnTo>
                    <a:lnTo>
                      <a:pt x="1402" y="175"/>
                    </a:lnTo>
                    <a:lnTo>
                      <a:pt x="1402" y="177"/>
                    </a:lnTo>
                    <a:lnTo>
                      <a:pt x="1402" y="178"/>
                    </a:lnTo>
                    <a:lnTo>
                      <a:pt x="1402" y="180"/>
                    </a:lnTo>
                    <a:lnTo>
                      <a:pt x="1404" y="180"/>
                    </a:lnTo>
                    <a:lnTo>
                      <a:pt x="1404" y="182"/>
                    </a:lnTo>
                    <a:lnTo>
                      <a:pt x="1404" y="184"/>
                    </a:lnTo>
                    <a:lnTo>
                      <a:pt x="1402" y="184"/>
                    </a:lnTo>
                    <a:lnTo>
                      <a:pt x="1402" y="185"/>
                    </a:lnTo>
                    <a:lnTo>
                      <a:pt x="1404" y="185"/>
                    </a:lnTo>
                    <a:lnTo>
                      <a:pt x="1402" y="187"/>
                    </a:lnTo>
                    <a:lnTo>
                      <a:pt x="1404" y="189"/>
                    </a:lnTo>
                    <a:lnTo>
                      <a:pt x="1402" y="189"/>
                    </a:lnTo>
                    <a:lnTo>
                      <a:pt x="1404" y="189"/>
                    </a:lnTo>
                    <a:lnTo>
                      <a:pt x="1402" y="190"/>
                    </a:lnTo>
                    <a:lnTo>
                      <a:pt x="1402" y="192"/>
                    </a:lnTo>
                    <a:lnTo>
                      <a:pt x="1404" y="192"/>
                    </a:lnTo>
                    <a:lnTo>
                      <a:pt x="1406" y="192"/>
                    </a:lnTo>
                    <a:lnTo>
                      <a:pt x="1414" y="194"/>
                    </a:lnTo>
                    <a:lnTo>
                      <a:pt x="1416" y="194"/>
                    </a:lnTo>
                    <a:lnTo>
                      <a:pt x="1426" y="190"/>
                    </a:lnTo>
                    <a:close/>
                    <a:moveTo>
                      <a:pt x="1378" y="1498"/>
                    </a:moveTo>
                    <a:lnTo>
                      <a:pt x="1378" y="1500"/>
                    </a:lnTo>
                    <a:lnTo>
                      <a:pt x="1378" y="1517"/>
                    </a:lnTo>
                    <a:lnTo>
                      <a:pt x="1378" y="1531"/>
                    </a:lnTo>
                    <a:lnTo>
                      <a:pt x="1378" y="1536"/>
                    </a:lnTo>
                    <a:lnTo>
                      <a:pt x="1378" y="1539"/>
                    </a:lnTo>
                    <a:lnTo>
                      <a:pt x="1378" y="1551"/>
                    </a:lnTo>
                    <a:lnTo>
                      <a:pt x="1377" y="1563"/>
                    </a:lnTo>
                    <a:lnTo>
                      <a:pt x="1377" y="1570"/>
                    </a:lnTo>
                    <a:lnTo>
                      <a:pt x="1377" y="1582"/>
                    </a:lnTo>
                    <a:lnTo>
                      <a:pt x="1377" y="1595"/>
                    </a:lnTo>
                    <a:lnTo>
                      <a:pt x="1377" y="1597"/>
                    </a:lnTo>
                    <a:lnTo>
                      <a:pt x="1377" y="1604"/>
                    </a:lnTo>
                    <a:lnTo>
                      <a:pt x="1377" y="1606"/>
                    </a:lnTo>
                    <a:lnTo>
                      <a:pt x="1377" y="1607"/>
                    </a:lnTo>
                    <a:lnTo>
                      <a:pt x="1377" y="1609"/>
                    </a:lnTo>
                    <a:lnTo>
                      <a:pt x="1377" y="1621"/>
                    </a:lnTo>
                    <a:lnTo>
                      <a:pt x="1377" y="1626"/>
                    </a:lnTo>
                    <a:lnTo>
                      <a:pt x="1375" y="1624"/>
                    </a:lnTo>
                    <a:lnTo>
                      <a:pt x="1373" y="1623"/>
                    </a:lnTo>
                    <a:lnTo>
                      <a:pt x="1372" y="1623"/>
                    </a:lnTo>
                    <a:lnTo>
                      <a:pt x="1372" y="1624"/>
                    </a:lnTo>
                    <a:lnTo>
                      <a:pt x="1373" y="1624"/>
                    </a:lnTo>
                    <a:lnTo>
                      <a:pt x="1373" y="1626"/>
                    </a:lnTo>
                    <a:lnTo>
                      <a:pt x="1375" y="1626"/>
                    </a:lnTo>
                    <a:lnTo>
                      <a:pt x="1375" y="1628"/>
                    </a:lnTo>
                    <a:lnTo>
                      <a:pt x="1373" y="1628"/>
                    </a:lnTo>
                    <a:lnTo>
                      <a:pt x="1372" y="1629"/>
                    </a:lnTo>
                    <a:lnTo>
                      <a:pt x="1370" y="1629"/>
                    </a:lnTo>
                    <a:lnTo>
                      <a:pt x="1368" y="1629"/>
                    </a:lnTo>
                    <a:lnTo>
                      <a:pt x="1366" y="1629"/>
                    </a:lnTo>
                    <a:lnTo>
                      <a:pt x="1365" y="1629"/>
                    </a:lnTo>
                    <a:lnTo>
                      <a:pt x="1365" y="1631"/>
                    </a:lnTo>
                    <a:lnTo>
                      <a:pt x="1363" y="1629"/>
                    </a:lnTo>
                    <a:lnTo>
                      <a:pt x="1361" y="1629"/>
                    </a:lnTo>
                    <a:lnTo>
                      <a:pt x="1360" y="1629"/>
                    </a:lnTo>
                    <a:lnTo>
                      <a:pt x="1358" y="1628"/>
                    </a:lnTo>
                    <a:lnTo>
                      <a:pt x="1356" y="1628"/>
                    </a:lnTo>
                    <a:lnTo>
                      <a:pt x="1355" y="1628"/>
                    </a:lnTo>
                    <a:lnTo>
                      <a:pt x="1353" y="1628"/>
                    </a:lnTo>
                    <a:lnTo>
                      <a:pt x="1351" y="1626"/>
                    </a:lnTo>
                    <a:lnTo>
                      <a:pt x="1349" y="1626"/>
                    </a:lnTo>
                    <a:lnTo>
                      <a:pt x="1348" y="1626"/>
                    </a:lnTo>
                    <a:lnTo>
                      <a:pt x="1348" y="1624"/>
                    </a:lnTo>
                    <a:lnTo>
                      <a:pt x="1346" y="1624"/>
                    </a:lnTo>
                    <a:lnTo>
                      <a:pt x="1344" y="1624"/>
                    </a:lnTo>
                    <a:lnTo>
                      <a:pt x="1343" y="1623"/>
                    </a:lnTo>
                    <a:lnTo>
                      <a:pt x="1343" y="1621"/>
                    </a:lnTo>
                    <a:lnTo>
                      <a:pt x="1344" y="1619"/>
                    </a:lnTo>
                    <a:lnTo>
                      <a:pt x="1344" y="1621"/>
                    </a:lnTo>
                    <a:lnTo>
                      <a:pt x="1344" y="1619"/>
                    </a:lnTo>
                    <a:lnTo>
                      <a:pt x="1344" y="1618"/>
                    </a:lnTo>
                    <a:lnTo>
                      <a:pt x="1344" y="1616"/>
                    </a:lnTo>
                    <a:lnTo>
                      <a:pt x="1344" y="1618"/>
                    </a:lnTo>
                    <a:lnTo>
                      <a:pt x="1344" y="1619"/>
                    </a:lnTo>
                    <a:lnTo>
                      <a:pt x="1343" y="1621"/>
                    </a:lnTo>
                    <a:lnTo>
                      <a:pt x="1343" y="1619"/>
                    </a:lnTo>
                    <a:lnTo>
                      <a:pt x="1343" y="1618"/>
                    </a:lnTo>
                    <a:lnTo>
                      <a:pt x="1341" y="1616"/>
                    </a:lnTo>
                    <a:lnTo>
                      <a:pt x="1341" y="1614"/>
                    </a:lnTo>
                    <a:lnTo>
                      <a:pt x="1341" y="1616"/>
                    </a:lnTo>
                    <a:lnTo>
                      <a:pt x="1341" y="1618"/>
                    </a:lnTo>
                    <a:lnTo>
                      <a:pt x="1343" y="1619"/>
                    </a:lnTo>
                    <a:lnTo>
                      <a:pt x="1341" y="1619"/>
                    </a:lnTo>
                    <a:lnTo>
                      <a:pt x="1341" y="1621"/>
                    </a:lnTo>
                    <a:lnTo>
                      <a:pt x="1343" y="1621"/>
                    </a:lnTo>
                    <a:lnTo>
                      <a:pt x="1343" y="1619"/>
                    </a:lnTo>
                    <a:lnTo>
                      <a:pt x="1343" y="1621"/>
                    </a:lnTo>
                    <a:lnTo>
                      <a:pt x="1343" y="1623"/>
                    </a:lnTo>
                    <a:lnTo>
                      <a:pt x="1341" y="1623"/>
                    </a:lnTo>
                    <a:lnTo>
                      <a:pt x="1339" y="1623"/>
                    </a:lnTo>
                    <a:lnTo>
                      <a:pt x="1339" y="1621"/>
                    </a:lnTo>
                    <a:lnTo>
                      <a:pt x="1339" y="1619"/>
                    </a:lnTo>
                    <a:lnTo>
                      <a:pt x="1341" y="1619"/>
                    </a:lnTo>
                    <a:lnTo>
                      <a:pt x="1341" y="1618"/>
                    </a:lnTo>
                    <a:lnTo>
                      <a:pt x="1339" y="1618"/>
                    </a:lnTo>
                    <a:lnTo>
                      <a:pt x="1339" y="1616"/>
                    </a:lnTo>
                    <a:lnTo>
                      <a:pt x="1339" y="1618"/>
                    </a:lnTo>
                    <a:lnTo>
                      <a:pt x="1341" y="1619"/>
                    </a:lnTo>
                    <a:lnTo>
                      <a:pt x="1339" y="1619"/>
                    </a:lnTo>
                    <a:lnTo>
                      <a:pt x="1339" y="1621"/>
                    </a:lnTo>
                    <a:lnTo>
                      <a:pt x="1339" y="1623"/>
                    </a:lnTo>
                    <a:lnTo>
                      <a:pt x="1338" y="1623"/>
                    </a:lnTo>
                    <a:lnTo>
                      <a:pt x="1336" y="1623"/>
                    </a:lnTo>
                    <a:lnTo>
                      <a:pt x="1334" y="1623"/>
                    </a:lnTo>
                    <a:lnTo>
                      <a:pt x="1332" y="1623"/>
                    </a:lnTo>
                    <a:lnTo>
                      <a:pt x="1332" y="1621"/>
                    </a:lnTo>
                    <a:lnTo>
                      <a:pt x="1332" y="1619"/>
                    </a:lnTo>
                    <a:lnTo>
                      <a:pt x="1332" y="1618"/>
                    </a:lnTo>
                    <a:lnTo>
                      <a:pt x="1332" y="1616"/>
                    </a:lnTo>
                    <a:lnTo>
                      <a:pt x="1332" y="1618"/>
                    </a:lnTo>
                    <a:lnTo>
                      <a:pt x="1332" y="1619"/>
                    </a:lnTo>
                    <a:lnTo>
                      <a:pt x="1332" y="1621"/>
                    </a:lnTo>
                    <a:lnTo>
                      <a:pt x="1332" y="1623"/>
                    </a:lnTo>
                    <a:lnTo>
                      <a:pt x="1332" y="1624"/>
                    </a:lnTo>
                    <a:lnTo>
                      <a:pt x="1331" y="1624"/>
                    </a:lnTo>
                    <a:lnTo>
                      <a:pt x="1329" y="1624"/>
                    </a:lnTo>
                    <a:lnTo>
                      <a:pt x="1327" y="1624"/>
                    </a:lnTo>
                    <a:lnTo>
                      <a:pt x="1329" y="1623"/>
                    </a:lnTo>
                    <a:lnTo>
                      <a:pt x="1329" y="1621"/>
                    </a:lnTo>
                    <a:lnTo>
                      <a:pt x="1327" y="1623"/>
                    </a:lnTo>
                    <a:lnTo>
                      <a:pt x="1327" y="1621"/>
                    </a:lnTo>
                    <a:lnTo>
                      <a:pt x="1327" y="1623"/>
                    </a:lnTo>
                    <a:lnTo>
                      <a:pt x="1326" y="1624"/>
                    </a:lnTo>
                    <a:lnTo>
                      <a:pt x="1324" y="1624"/>
                    </a:lnTo>
                    <a:lnTo>
                      <a:pt x="1324" y="1623"/>
                    </a:lnTo>
                    <a:lnTo>
                      <a:pt x="1324" y="1624"/>
                    </a:lnTo>
                    <a:lnTo>
                      <a:pt x="1326" y="1624"/>
                    </a:lnTo>
                    <a:lnTo>
                      <a:pt x="1324" y="1624"/>
                    </a:lnTo>
                    <a:lnTo>
                      <a:pt x="1322" y="1624"/>
                    </a:lnTo>
                    <a:lnTo>
                      <a:pt x="1321" y="1624"/>
                    </a:lnTo>
                    <a:lnTo>
                      <a:pt x="1321" y="1623"/>
                    </a:lnTo>
                    <a:lnTo>
                      <a:pt x="1321" y="1621"/>
                    </a:lnTo>
                    <a:lnTo>
                      <a:pt x="1321" y="1619"/>
                    </a:lnTo>
                    <a:lnTo>
                      <a:pt x="1322" y="1618"/>
                    </a:lnTo>
                    <a:lnTo>
                      <a:pt x="1324" y="1616"/>
                    </a:lnTo>
                    <a:lnTo>
                      <a:pt x="1326" y="1614"/>
                    </a:lnTo>
                    <a:lnTo>
                      <a:pt x="1324" y="1614"/>
                    </a:lnTo>
                    <a:lnTo>
                      <a:pt x="1322" y="1614"/>
                    </a:lnTo>
                    <a:lnTo>
                      <a:pt x="1322" y="1616"/>
                    </a:lnTo>
                    <a:lnTo>
                      <a:pt x="1322" y="1618"/>
                    </a:lnTo>
                    <a:lnTo>
                      <a:pt x="1321" y="1618"/>
                    </a:lnTo>
                    <a:lnTo>
                      <a:pt x="1321" y="1619"/>
                    </a:lnTo>
                    <a:lnTo>
                      <a:pt x="1321" y="1621"/>
                    </a:lnTo>
                    <a:lnTo>
                      <a:pt x="1319" y="1623"/>
                    </a:lnTo>
                    <a:lnTo>
                      <a:pt x="1319" y="1624"/>
                    </a:lnTo>
                    <a:lnTo>
                      <a:pt x="1319" y="1623"/>
                    </a:lnTo>
                    <a:lnTo>
                      <a:pt x="1317" y="1623"/>
                    </a:lnTo>
                    <a:lnTo>
                      <a:pt x="1315" y="1621"/>
                    </a:lnTo>
                    <a:lnTo>
                      <a:pt x="1314" y="1621"/>
                    </a:lnTo>
                    <a:lnTo>
                      <a:pt x="1312" y="1621"/>
                    </a:lnTo>
                    <a:lnTo>
                      <a:pt x="1312" y="1619"/>
                    </a:lnTo>
                    <a:lnTo>
                      <a:pt x="1310" y="1619"/>
                    </a:lnTo>
                    <a:lnTo>
                      <a:pt x="1312" y="1619"/>
                    </a:lnTo>
                    <a:lnTo>
                      <a:pt x="1310" y="1619"/>
                    </a:lnTo>
                    <a:lnTo>
                      <a:pt x="1310" y="1621"/>
                    </a:lnTo>
                    <a:lnTo>
                      <a:pt x="1309" y="1621"/>
                    </a:lnTo>
                    <a:lnTo>
                      <a:pt x="1309" y="1623"/>
                    </a:lnTo>
                    <a:lnTo>
                      <a:pt x="1307" y="1621"/>
                    </a:lnTo>
                    <a:lnTo>
                      <a:pt x="1307" y="1623"/>
                    </a:lnTo>
                    <a:lnTo>
                      <a:pt x="1307" y="1624"/>
                    </a:lnTo>
                    <a:lnTo>
                      <a:pt x="1307" y="1623"/>
                    </a:lnTo>
                    <a:lnTo>
                      <a:pt x="1305" y="1623"/>
                    </a:lnTo>
                    <a:lnTo>
                      <a:pt x="1304" y="1623"/>
                    </a:lnTo>
                    <a:lnTo>
                      <a:pt x="1302" y="1623"/>
                    </a:lnTo>
                    <a:lnTo>
                      <a:pt x="1304" y="1621"/>
                    </a:lnTo>
                    <a:lnTo>
                      <a:pt x="1304" y="1619"/>
                    </a:lnTo>
                    <a:lnTo>
                      <a:pt x="1304" y="1621"/>
                    </a:lnTo>
                    <a:lnTo>
                      <a:pt x="1304" y="1619"/>
                    </a:lnTo>
                    <a:lnTo>
                      <a:pt x="1305" y="1619"/>
                    </a:lnTo>
                    <a:lnTo>
                      <a:pt x="1307" y="1619"/>
                    </a:lnTo>
                    <a:lnTo>
                      <a:pt x="1309" y="1618"/>
                    </a:lnTo>
                    <a:lnTo>
                      <a:pt x="1310" y="1618"/>
                    </a:lnTo>
                    <a:lnTo>
                      <a:pt x="1310" y="1616"/>
                    </a:lnTo>
                    <a:lnTo>
                      <a:pt x="1312" y="1616"/>
                    </a:lnTo>
                    <a:lnTo>
                      <a:pt x="1314" y="1616"/>
                    </a:lnTo>
                    <a:lnTo>
                      <a:pt x="1314" y="1614"/>
                    </a:lnTo>
                    <a:lnTo>
                      <a:pt x="1315" y="1614"/>
                    </a:lnTo>
                    <a:lnTo>
                      <a:pt x="1315" y="1612"/>
                    </a:lnTo>
                    <a:lnTo>
                      <a:pt x="1317" y="1612"/>
                    </a:lnTo>
                    <a:lnTo>
                      <a:pt x="1317" y="1611"/>
                    </a:lnTo>
                    <a:lnTo>
                      <a:pt x="1315" y="1611"/>
                    </a:lnTo>
                    <a:lnTo>
                      <a:pt x="1314" y="1611"/>
                    </a:lnTo>
                    <a:lnTo>
                      <a:pt x="1312" y="1611"/>
                    </a:lnTo>
                    <a:lnTo>
                      <a:pt x="1312" y="1612"/>
                    </a:lnTo>
                    <a:lnTo>
                      <a:pt x="1310" y="1614"/>
                    </a:lnTo>
                    <a:lnTo>
                      <a:pt x="1312" y="1614"/>
                    </a:lnTo>
                    <a:lnTo>
                      <a:pt x="1312" y="1616"/>
                    </a:lnTo>
                    <a:lnTo>
                      <a:pt x="1310" y="1616"/>
                    </a:lnTo>
                    <a:lnTo>
                      <a:pt x="1309" y="1616"/>
                    </a:lnTo>
                    <a:lnTo>
                      <a:pt x="1309" y="1618"/>
                    </a:lnTo>
                    <a:lnTo>
                      <a:pt x="1307" y="1618"/>
                    </a:lnTo>
                    <a:lnTo>
                      <a:pt x="1307" y="1616"/>
                    </a:lnTo>
                    <a:lnTo>
                      <a:pt x="1305" y="1616"/>
                    </a:lnTo>
                    <a:lnTo>
                      <a:pt x="1305" y="1618"/>
                    </a:lnTo>
                    <a:lnTo>
                      <a:pt x="1304" y="1618"/>
                    </a:lnTo>
                    <a:lnTo>
                      <a:pt x="1305" y="1618"/>
                    </a:lnTo>
                    <a:lnTo>
                      <a:pt x="1304" y="1619"/>
                    </a:lnTo>
                    <a:lnTo>
                      <a:pt x="1304" y="1618"/>
                    </a:lnTo>
                    <a:lnTo>
                      <a:pt x="1302" y="1619"/>
                    </a:lnTo>
                    <a:lnTo>
                      <a:pt x="1302" y="1618"/>
                    </a:lnTo>
                    <a:lnTo>
                      <a:pt x="1300" y="1618"/>
                    </a:lnTo>
                    <a:lnTo>
                      <a:pt x="1298" y="1618"/>
                    </a:lnTo>
                    <a:lnTo>
                      <a:pt x="1300" y="1618"/>
                    </a:lnTo>
                    <a:lnTo>
                      <a:pt x="1300" y="1616"/>
                    </a:lnTo>
                    <a:lnTo>
                      <a:pt x="1302" y="1616"/>
                    </a:lnTo>
                    <a:lnTo>
                      <a:pt x="1304" y="1614"/>
                    </a:lnTo>
                    <a:lnTo>
                      <a:pt x="1305" y="1614"/>
                    </a:lnTo>
                    <a:lnTo>
                      <a:pt x="1304" y="1614"/>
                    </a:lnTo>
                    <a:lnTo>
                      <a:pt x="1302" y="1614"/>
                    </a:lnTo>
                    <a:lnTo>
                      <a:pt x="1302" y="1612"/>
                    </a:lnTo>
                    <a:lnTo>
                      <a:pt x="1300" y="1612"/>
                    </a:lnTo>
                    <a:lnTo>
                      <a:pt x="1300" y="1614"/>
                    </a:lnTo>
                    <a:lnTo>
                      <a:pt x="1298" y="1614"/>
                    </a:lnTo>
                    <a:lnTo>
                      <a:pt x="1300" y="1614"/>
                    </a:lnTo>
                    <a:lnTo>
                      <a:pt x="1300" y="1616"/>
                    </a:lnTo>
                    <a:lnTo>
                      <a:pt x="1298" y="1618"/>
                    </a:lnTo>
                    <a:lnTo>
                      <a:pt x="1298" y="1619"/>
                    </a:lnTo>
                    <a:lnTo>
                      <a:pt x="1297" y="1619"/>
                    </a:lnTo>
                    <a:lnTo>
                      <a:pt x="1295" y="1618"/>
                    </a:lnTo>
                    <a:lnTo>
                      <a:pt x="1297" y="1618"/>
                    </a:lnTo>
                    <a:lnTo>
                      <a:pt x="1297" y="1616"/>
                    </a:lnTo>
                    <a:lnTo>
                      <a:pt x="1298" y="1616"/>
                    </a:lnTo>
                    <a:lnTo>
                      <a:pt x="1298" y="1614"/>
                    </a:lnTo>
                    <a:lnTo>
                      <a:pt x="1300" y="1614"/>
                    </a:lnTo>
                    <a:lnTo>
                      <a:pt x="1298" y="1614"/>
                    </a:lnTo>
                    <a:lnTo>
                      <a:pt x="1297" y="1614"/>
                    </a:lnTo>
                    <a:lnTo>
                      <a:pt x="1297" y="1616"/>
                    </a:lnTo>
                    <a:lnTo>
                      <a:pt x="1297" y="1614"/>
                    </a:lnTo>
                    <a:lnTo>
                      <a:pt x="1298" y="1614"/>
                    </a:lnTo>
                    <a:lnTo>
                      <a:pt x="1298" y="1612"/>
                    </a:lnTo>
                    <a:lnTo>
                      <a:pt x="1297" y="1612"/>
                    </a:lnTo>
                    <a:lnTo>
                      <a:pt x="1298" y="1612"/>
                    </a:lnTo>
                    <a:lnTo>
                      <a:pt x="1298" y="1611"/>
                    </a:lnTo>
                    <a:lnTo>
                      <a:pt x="1300" y="1611"/>
                    </a:lnTo>
                    <a:lnTo>
                      <a:pt x="1298" y="1611"/>
                    </a:lnTo>
                    <a:lnTo>
                      <a:pt x="1297" y="1611"/>
                    </a:lnTo>
                    <a:lnTo>
                      <a:pt x="1297" y="1609"/>
                    </a:lnTo>
                    <a:lnTo>
                      <a:pt x="1295" y="1609"/>
                    </a:lnTo>
                    <a:lnTo>
                      <a:pt x="1297" y="1611"/>
                    </a:lnTo>
                    <a:lnTo>
                      <a:pt x="1295" y="1612"/>
                    </a:lnTo>
                    <a:lnTo>
                      <a:pt x="1295" y="1611"/>
                    </a:lnTo>
                    <a:lnTo>
                      <a:pt x="1293" y="1612"/>
                    </a:lnTo>
                    <a:lnTo>
                      <a:pt x="1293" y="1614"/>
                    </a:lnTo>
                    <a:lnTo>
                      <a:pt x="1292" y="1614"/>
                    </a:lnTo>
                    <a:lnTo>
                      <a:pt x="1290" y="1614"/>
                    </a:lnTo>
                    <a:lnTo>
                      <a:pt x="1292" y="1614"/>
                    </a:lnTo>
                    <a:lnTo>
                      <a:pt x="1290" y="1612"/>
                    </a:lnTo>
                    <a:lnTo>
                      <a:pt x="1288" y="1614"/>
                    </a:lnTo>
                    <a:lnTo>
                      <a:pt x="1288" y="1612"/>
                    </a:lnTo>
                    <a:lnTo>
                      <a:pt x="1287" y="1612"/>
                    </a:lnTo>
                    <a:lnTo>
                      <a:pt x="1287" y="1611"/>
                    </a:lnTo>
                    <a:lnTo>
                      <a:pt x="1288" y="1611"/>
                    </a:lnTo>
                    <a:lnTo>
                      <a:pt x="1290" y="1612"/>
                    </a:lnTo>
                    <a:lnTo>
                      <a:pt x="1290" y="1611"/>
                    </a:lnTo>
                    <a:lnTo>
                      <a:pt x="1292" y="1611"/>
                    </a:lnTo>
                    <a:lnTo>
                      <a:pt x="1293" y="1611"/>
                    </a:lnTo>
                    <a:lnTo>
                      <a:pt x="1292" y="1611"/>
                    </a:lnTo>
                    <a:lnTo>
                      <a:pt x="1290" y="1611"/>
                    </a:lnTo>
                    <a:lnTo>
                      <a:pt x="1288" y="1609"/>
                    </a:lnTo>
                    <a:lnTo>
                      <a:pt x="1288" y="1607"/>
                    </a:lnTo>
                    <a:lnTo>
                      <a:pt x="1290" y="1607"/>
                    </a:lnTo>
                    <a:lnTo>
                      <a:pt x="1292" y="1607"/>
                    </a:lnTo>
                    <a:lnTo>
                      <a:pt x="1290" y="1607"/>
                    </a:lnTo>
                    <a:lnTo>
                      <a:pt x="1288" y="1607"/>
                    </a:lnTo>
                    <a:lnTo>
                      <a:pt x="1290" y="1606"/>
                    </a:lnTo>
                    <a:lnTo>
                      <a:pt x="1288" y="1606"/>
                    </a:lnTo>
                    <a:lnTo>
                      <a:pt x="1290" y="1604"/>
                    </a:lnTo>
                    <a:lnTo>
                      <a:pt x="1288" y="1606"/>
                    </a:lnTo>
                    <a:lnTo>
                      <a:pt x="1288" y="1607"/>
                    </a:lnTo>
                    <a:lnTo>
                      <a:pt x="1287" y="1607"/>
                    </a:lnTo>
                    <a:lnTo>
                      <a:pt x="1287" y="1606"/>
                    </a:lnTo>
                    <a:lnTo>
                      <a:pt x="1287" y="1604"/>
                    </a:lnTo>
                    <a:lnTo>
                      <a:pt x="1287" y="1606"/>
                    </a:lnTo>
                    <a:lnTo>
                      <a:pt x="1287" y="1607"/>
                    </a:lnTo>
                    <a:lnTo>
                      <a:pt x="1285" y="1606"/>
                    </a:lnTo>
                    <a:lnTo>
                      <a:pt x="1283" y="1604"/>
                    </a:lnTo>
                    <a:lnTo>
                      <a:pt x="1285" y="1606"/>
                    </a:lnTo>
                    <a:lnTo>
                      <a:pt x="1285" y="1607"/>
                    </a:lnTo>
                    <a:lnTo>
                      <a:pt x="1283" y="1606"/>
                    </a:lnTo>
                    <a:lnTo>
                      <a:pt x="1283" y="1607"/>
                    </a:lnTo>
                    <a:lnTo>
                      <a:pt x="1285" y="1607"/>
                    </a:lnTo>
                    <a:lnTo>
                      <a:pt x="1287" y="1607"/>
                    </a:lnTo>
                    <a:lnTo>
                      <a:pt x="1287" y="1609"/>
                    </a:lnTo>
                    <a:lnTo>
                      <a:pt x="1287" y="1611"/>
                    </a:lnTo>
                    <a:lnTo>
                      <a:pt x="1285" y="1609"/>
                    </a:lnTo>
                    <a:lnTo>
                      <a:pt x="1287" y="1609"/>
                    </a:lnTo>
                    <a:lnTo>
                      <a:pt x="1285" y="1609"/>
                    </a:lnTo>
                    <a:lnTo>
                      <a:pt x="1283" y="1609"/>
                    </a:lnTo>
                    <a:lnTo>
                      <a:pt x="1285" y="1609"/>
                    </a:lnTo>
                    <a:lnTo>
                      <a:pt x="1285" y="1611"/>
                    </a:lnTo>
                    <a:lnTo>
                      <a:pt x="1285" y="1612"/>
                    </a:lnTo>
                    <a:lnTo>
                      <a:pt x="1283" y="1612"/>
                    </a:lnTo>
                    <a:lnTo>
                      <a:pt x="1283" y="1611"/>
                    </a:lnTo>
                    <a:lnTo>
                      <a:pt x="1281" y="1611"/>
                    </a:lnTo>
                    <a:lnTo>
                      <a:pt x="1283" y="1612"/>
                    </a:lnTo>
                    <a:lnTo>
                      <a:pt x="1281" y="1612"/>
                    </a:lnTo>
                    <a:lnTo>
                      <a:pt x="1281" y="1614"/>
                    </a:lnTo>
                    <a:lnTo>
                      <a:pt x="1280" y="1614"/>
                    </a:lnTo>
                    <a:lnTo>
                      <a:pt x="1280" y="1612"/>
                    </a:lnTo>
                    <a:lnTo>
                      <a:pt x="1280" y="1611"/>
                    </a:lnTo>
                    <a:lnTo>
                      <a:pt x="1280" y="1609"/>
                    </a:lnTo>
                    <a:lnTo>
                      <a:pt x="1281" y="1609"/>
                    </a:lnTo>
                    <a:lnTo>
                      <a:pt x="1281" y="1607"/>
                    </a:lnTo>
                    <a:lnTo>
                      <a:pt x="1280" y="1609"/>
                    </a:lnTo>
                    <a:lnTo>
                      <a:pt x="1280" y="1611"/>
                    </a:lnTo>
                    <a:lnTo>
                      <a:pt x="1280" y="1612"/>
                    </a:lnTo>
                    <a:lnTo>
                      <a:pt x="1280" y="1611"/>
                    </a:lnTo>
                    <a:lnTo>
                      <a:pt x="1278" y="1612"/>
                    </a:lnTo>
                    <a:lnTo>
                      <a:pt x="1278" y="1611"/>
                    </a:lnTo>
                    <a:lnTo>
                      <a:pt x="1278" y="1609"/>
                    </a:lnTo>
                    <a:lnTo>
                      <a:pt x="1278" y="1611"/>
                    </a:lnTo>
                    <a:lnTo>
                      <a:pt x="1276" y="1611"/>
                    </a:lnTo>
                    <a:lnTo>
                      <a:pt x="1276" y="1609"/>
                    </a:lnTo>
                    <a:lnTo>
                      <a:pt x="1278" y="1609"/>
                    </a:lnTo>
                    <a:lnTo>
                      <a:pt x="1278" y="1607"/>
                    </a:lnTo>
                    <a:lnTo>
                      <a:pt x="1278" y="1609"/>
                    </a:lnTo>
                    <a:lnTo>
                      <a:pt x="1276" y="1607"/>
                    </a:lnTo>
                    <a:lnTo>
                      <a:pt x="1276" y="1609"/>
                    </a:lnTo>
                    <a:lnTo>
                      <a:pt x="1275" y="1611"/>
                    </a:lnTo>
                    <a:lnTo>
                      <a:pt x="1276" y="1611"/>
                    </a:lnTo>
                    <a:lnTo>
                      <a:pt x="1275" y="1612"/>
                    </a:lnTo>
                    <a:lnTo>
                      <a:pt x="1275" y="1611"/>
                    </a:lnTo>
                    <a:lnTo>
                      <a:pt x="1275" y="1609"/>
                    </a:lnTo>
                    <a:lnTo>
                      <a:pt x="1276" y="1609"/>
                    </a:lnTo>
                    <a:lnTo>
                      <a:pt x="1276" y="1607"/>
                    </a:lnTo>
                    <a:lnTo>
                      <a:pt x="1275" y="1609"/>
                    </a:lnTo>
                    <a:lnTo>
                      <a:pt x="1273" y="1609"/>
                    </a:lnTo>
                    <a:lnTo>
                      <a:pt x="1271" y="1607"/>
                    </a:lnTo>
                    <a:lnTo>
                      <a:pt x="1273" y="1609"/>
                    </a:lnTo>
                    <a:lnTo>
                      <a:pt x="1271" y="1611"/>
                    </a:lnTo>
                    <a:lnTo>
                      <a:pt x="1271" y="1609"/>
                    </a:lnTo>
                    <a:lnTo>
                      <a:pt x="1270" y="1607"/>
                    </a:lnTo>
                    <a:lnTo>
                      <a:pt x="1270" y="1609"/>
                    </a:lnTo>
                    <a:lnTo>
                      <a:pt x="1271" y="1611"/>
                    </a:lnTo>
                    <a:lnTo>
                      <a:pt x="1270" y="1611"/>
                    </a:lnTo>
                    <a:lnTo>
                      <a:pt x="1268" y="1611"/>
                    </a:lnTo>
                    <a:lnTo>
                      <a:pt x="1266" y="1611"/>
                    </a:lnTo>
                    <a:lnTo>
                      <a:pt x="1264" y="1609"/>
                    </a:lnTo>
                    <a:lnTo>
                      <a:pt x="1266" y="1609"/>
                    </a:lnTo>
                    <a:lnTo>
                      <a:pt x="1268" y="1609"/>
                    </a:lnTo>
                    <a:lnTo>
                      <a:pt x="1268" y="1607"/>
                    </a:lnTo>
                    <a:lnTo>
                      <a:pt x="1266" y="1607"/>
                    </a:lnTo>
                    <a:lnTo>
                      <a:pt x="1266" y="1606"/>
                    </a:lnTo>
                    <a:lnTo>
                      <a:pt x="1264" y="1607"/>
                    </a:lnTo>
                    <a:lnTo>
                      <a:pt x="1264" y="1606"/>
                    </a:lnTo>
                    <a:lnTo>
                      <a:pt x="1264" y="1604"/>
                    </a:lnTo>
                    <a:lnTo>
                      <a:pt x="1263" y="1604"/>
                    </a:lnTo>
                    <a:lnTo>
                      <a:pt x="1264" y="1602"/>
                    </a:lnTo>
                    <a:lnTo>
                      <a:pt x="1264" y="1604"/>
                    </a:lnTo>
                    <a:lnTo>
                      <a:pt x="1266" y="1606"/>
                    </a:lnTo>
                    <a:lnTo>
                      <a:pt x="1264" y="1604"/>
                    </a:lnTo>
                    <a:lnTo>
                      <a:pt x="1264" y="1602"/>
                    </a:lnTo>
                    <a:lnTo>
                      <a:pt x="1266" y="1604"/>
                    </a:lnTo>
                    <a:lnTo>
                      <a:pt x="1264" y="1602"/>
                    </a:lnTo>
                    <a:lnTo>
                      <a:pt x="1264" y="1600"/>
                    </a:lnTo>
                    <a:lnTo>
                      <a:pt x="1266" y="1600"/>
                    </a:lnTo>
                    <a:lnTo>
                      <a:pt x="1268" y="1600"/>
                    </a:lnTo>
                    <a:lnTo>
                      <a:pt x="1268" y="1602"/>
                    </a:lnTo>
                    <a:lnTo>
                      <a:pt x="1268" y="1604"/>
                    </a:lnTo>
                    <a:lnTo>
                      <a:pt x="1268" y="1602"/>
                    </a:lnTo>
                    <a:lnTo>
                      <a:pt x="1268" y="1600"/>
                    </a:lnTo>
                    <a:lnTo>
                      <a:pt x="1270" y="1602"/>
                    </a:lnTo>
                    <a:lnTo>
                      <a:pt x="1270" y="1604"/>
                    </a:lnTo>
                    <a:lnTo>
                      <a:pt x="1270" y="1606"/>
                    </a:lnTo>
                    <a:lnTo>
                      <a:pt x="1271" y="1606"/>
                    </a:lnTo>
                    <a:lnTo>
                      <a:pt x="1273" y="1606"/>
                    </a:lnTo>
                    <a:lnTo>
                      <a:pt x="1275" y="1607"/>
                    </a:lnTo>
                    <a:lnTo>
                      <a:pt x="1275" y="1606"/>
                    </a:lnTo>
                    <a:lnTo>
                      <a:pt x="1273" y="1606"/>
                    </a:lnTo>
                    <a:lnTo>
                      <a:pt x="1275" y="1606"/>
                    </a:lnTo>
                    <a:lnTo>
                      <a:pt x="1273" y="1604"/>
                    </a:lnTo>
                    <a:lnTo>
                      <a:pt x="1271" y="1602"/>
                    </a:lnTo>
                    <a:lnTo>
                      <a:pt x="1273" y="1602"/>
                    </a:lnTo>
                    <a:lnTo>
                      <a:pt x="1275" y="1604"/>
                    </a:lnTo>
                    <a:lnTo>
                      <a:pt x="1276" y="1604"/>
                    </a:lnTo>
                    <a:lnTo>
                      <a:pt x="1276" y="1606"/>
                    </a:lnTo>
                    <a:lnTo>
                      <a:pt x="1276" y="1604"/>
                    </a:lnTo>
                    <a:lnTo>
                      <a:pt x="1278" y="1606"/>
                    </a:lnTo>
                    <a:lnTo>
                      <a:pt x="1280" y="1606"/>
                    </a:lnTo>
                    <a:lnTo>
                      <a:pt x="1278" y="1604"/>
                    </a:lnTo>
                    <a:lnTo>
                      <a:pt x="1276" y="1604"/>
                    </a:lnTo>
                    <a:lnTo>
                      <a:pt x="1275" y="1604"/>
                    </a:lnTo>
                    <a:lnTo>
                      <a:pt x="1276" y="1602"/>
                    </a:lnTo>
                    <a:lnTo>
                      <a:pt x="1275" y="1602"/>
                    </a:lnTo>
                    <a:lnTo>
                      <a:pt x="1273" y="1602"/>
                    </a:lnTo>
                    <a:lnTo>
                      <a:pt x="1275" y="1600"/>
                    </a:lnTo>
                    <a:lnTo>
                      <a:pt x="1273" y="1600"/>
                    </a:lnTo>
                    <a:lnTo>
                      <a:pt x="1271" y="1600"/>
                    </a:lnTo>
                    <a:lnTo>
                      <a:pt x="1270" y="1600"/>
                    </a:lnTo>
                    <a:lnTo>
                      <a:pt x="1268" y="1600"/>
                    </a:lnTo>
                    <a:lnTo>
                      <a:pt x="1268" y="1599"/>
                    </a:lnTo>
                    <a:lnTo>
                      <a:pt x="1270" y="1599"/>
                    </a:lnTo>
                    <a:lnTo>
                      <a:pt x="1271" y="1600"/>
                    </a:lnTo>
                    <a:lnTo>
                      <a:pt x="1270" y="1599"/>
                    </a:lnTo>
                    <a:lnTo>
                      <a:pt x="1271" y="1599"/>
                    </a:lnTo>
                    <a:lnTo>
                      <a:pt x="1270" y="1599"/>
                    </a:lnTo>
                    <a:lnTo>
                      <a:pt x="1270" y="1597"/>
                    </a:lnTo>
                    <a:lnTo>
                      <a:pt x="1271" y="1599"/>
                    </a:lnTo>
                    <a:lnTo>
                      <a:pt x="1270" y="1597"/>
                    </a:lnTo>
                    <a:lnTo>
                      <a:pt x="1271" y="1597"/>
                    </a:lnTo>
                    <a:lnTo>
                      <a:pt x="1273" y="1597"/>
                    </a:lnTo>
                    <a:lnTo>
                      <a:pt x="1273" y="1599"/>
                    </a:lnTo>
                    <a:lnTo>
                      <a:pt x="1275" y="1599"/>
                    </a:lnTo>
                    <a:lnTo>
                      <a:pt x="1275" y="1600"/>
                    </a:lnTo>
                    <a:lnTo>
                      <a:pt x="1276" y="1600"/>
                    </a:lnTo>
                    <a:lnTo>
                      <a:pt x="1276" y="1602"/>
                    </a:lnTo>
                    <a:lnTo>
                      <a:pt x="1278" y="1602"/>
                    </a:lnTo>
                    <a:lnTo>
                      <a:pt x="1278" y="1604"/>
                    </a:lnTo>
                    <a:lnTo>
                      <a:pt x="1280" y="1604"/>
                    </a:lnTo>
                    <a:lnTo>
                      <a:pt x="1280" y="1602"/>
                    </a:lnTo>
                    <a:lnTo>
                      <a:pt x="1278" y="1602"/>
                    </a:lnTo>
                    <a:lnTo>
                      <a:pt x="1280" y="1602"/>
                    </a:lnTo>
                    <a:lnTo>
                      <a:pt x="1281" y="1602"/>
                    </a:lnTo>
                    <a:lnTo>
                      <a:pt x="1280" y="1602"/>
                    </a:lnTo>
                    <a:lnTo>
                      <a:pt x="1278" y="1600"/>
                    </a:lnTo>
                    <a:lnTo>
                      <a:pt x="1276" y="1600"/>
                    </a:lnTo>
                    <a:lnTo>
                      <a:pt x="1278" y="1600"/>
                    </a:lnTo>
                    <a:lnTo>
                      <a:pt x="1278" y="1599"/>
                    </a:lnTo>
                    <a:lnTo>
                      <a:pt x="1276" y="1597"/>
                    </a:lnTo>
                    <a:lnTo>
                      <a:pt x="1278" y="1597"/>
                    </a:lnTo>
                    <a:lnTo>
                      <a:pt x="1278" y="1599"/>
                    </a:lnTo>
                    <a:lnTo>
                      <a:pt x="1280" y="1599"/>
                    </a:lnTo>
                    <a:lnTo>
                      <a:pt x="1280" y="1597"/>
                    </a:lnTo>
                    <a:lnTo>
                      <a:pt x="1280" y="1599"/>
                    </a:lnTo>
                    <a:lnTo>
                      <a:pt x="1278" y="1597"/>
                    </a:lnTo>
                    <a:lnTo>
                      <a:pt x="1280" y="1597"/>
                    </a:lnTo>
                    <a:lnTo>
                      <a:pt x="1280" y="1599"/>
                    </a:lnTo>
                    <a:lnTo>
                      <a:pt x="1281" y="1599"/>
                    </a:lnTo>
                    <a:lnTo>
                      <a:pt x="1283" y="1599"/>
                    </a:lnTo>
                    <a:lnTo>
                      <a:pt x="1281" y="1599"/>
                    </a:lnTo>
                    <a:lnTo>
                      <a:pt x="1283" y="1599"/>
                    </a:lnTo>
                    <a:lnTo>
                      <a:pt x="1285" y="1599"/>
                    </a:lnTo>
                    <a:lnTo>
                      <a:pt x="1285" y="1600"/>
                    </a:lnTo>
                    <a:lnTo>
                      <a:pt x="1285" y="1599"/>
                    </a:lnTo>
                    <a:lnTo>
                      <a:pt x="1287" y="1599"/>
                    </a:lnTo>
                    <a:lnTo>
                      <a:pt x="1285" y="1599"/>
                    </a:lnTo>
                    <a:lnTo>
                      <a:pt x="1283" y="1599"/>
                    </a:lnTo>
                    <a:lnTo>
                      <a:pt x="1283" y="1597"/>
                    </a:lnTo>
                    <a:lnTo>
                      <a:pt x="1285" y="1597"/>
                    </a:lnTo>
                    <a:lnTo>
                      <a:pt x="1283" y="1595"/>
                    </a:lnTo>
                    <a:lnTo>
                      <a:pt x="1285" y="1597"/>
                    </a:lnTo>
                    <a:lnTo>
                      <a:pt x="1285" y="1595"/>
                    </a:lnTo>
                    <a:lnTo>
                      <a:pt x="1287" y="1595"/>
                    </a:lnTo>
                    <a:lnTo>
                      <a:pt x="1287" y="1597"/>
                    </a:lnTo>
                    <a:lnTo>
                      <a:pt x="1288" y="1597"/>
                    </a:lnTo>
                    <a:lnTo>
                      <a:pt x="1290" y="1599"/>
                    </a:lnTo>
                    <a:lnTo>
                      <a:pt x="1292" y="1599"/>
                    </a:lnTo>
                    <a:lnTo>
                      <a:pt x="1290" y="1599"/>
                    </a:lnTo>
                    <a:lnTo>
                      <a:pt x="1290" y="1600"/>
                    </a:lnTo>
                    <a:lnTo>
                      <a:pt x="1292" y="1600"/>
                    </a:lnTo>
                    <a:lnTo>
                      <a:pt x="1292" y="1599"/>
                    </a:lnTo>
                    <a:lnTo>
                      <a:pt x="1293" y="1599"/>
                    </a:lnTo>
                    <a:lnTo>
                      <a:pt x="1292" y="1600"/>
                    </a:lnTo>
                    <a:lnTo>
                      <a:pt x="1293" y="1600"/>
                    </a:lnTo>
                    <a:lnTo>
                      <a:pt x="1293" y="1602"/>
                    </a:lnTo>
                    <a:lnTo>
                      <a:pt x="1293" y="1600"/>
                    </a:lnTo>
                    <a:lnTo>
                      <a:pt x="1293" y="1599"/>
                    </a:lnTo>
                    <a:lnTo>
                      <a:pt x="1295" y="1600"/>
                    </a:lnTo>
                    <a:lnTo>
                      <a:pt x="1297" y="1600"/>
                    </a:lnTo>
                    <a:lnTo>
                      <a:pt x="1298" y="1600"/>
                    </a:lnTo>
                    <a:lnTo>
                      <a:pt x="1298" y="1602"/>
                    </a:lnTo>
                    <a:lnTo>
                      <a:pt x="1298" y="1604"/>
                    </a:lnTo>
                    <a:lnTo>
                      <a:pt x="1300" y="1604"/>
                    </a:lnTo>
                    <a:lnTo>
                      <a:pt x="1300" y="1602"/>
                    </a:lnTo>
                    <a:lnTo>
                      <a:pt x="1300" y="1600"/>
                    </a:lnTo>
                    <a:lnTo>
                      <a:pt x="1298" y="1600"/>
                    </a:lnTo>
                    <a:lnTo>
                      <a:pt x="1300" y="1599"/>
                    </a:lnTo>
                    <a:lnTo>
                      <a:pt x="1300" y="1597"/>
                    </a:lnTo>
                    <a:lnTo>
                      <a:pt x="1300" y="1595"/>
                    </a:lnTo>
                    <a:lnTo>
                      <a:pt x="1300" y="1594"/>
                    </a:lnTo>
                    <a:lnTo>
                      <a:pt x="1302" y="1595"/>
                    </a:lnTo>
                    <a:lnTo>
                      <a:pt x="1302" y="1594"/>
                    </a:lnTo>
                    <a:lnTo>
                      <a:pt x="1304" y="1594"/>
                    </a:lnTo>
                    <a:lnTo>
                      <a:pt x="1305" y="1594"/>
                    </a:lnTo>
                    <a:lnTo>
                      <a:pt x="1307" y="1594"/>
                    </a:lnTo>
                    <a:lnTo>
                      <a:pt x="1307" y="1595"/>
                    </a:lnTo>
                    <a:lnTo>
                      <a:pt x="1307" y="1594"/>
                    </a:lnTo>
                    <a:lnTo>
                      <a:pt x="1309" y="1595"/>
                    </a:lnTo>
                    <a:lnTo>
                      <a:pt x="1309" y="1594"/>
                    </a:lnTo>
                    <a:lnTo>
                      <a:pt x="1310" y="1594"/>
                    </a:lnTo>
                    <a:lnTo>
                      <a:pt x="1312" y="1594"/>
                    </a:lnTo>
                    <a:lnTo>
                      <a:pt x="1312" y="1595"/>
                    </a:lnTo>
                    <a:lnTo>
                      <a:pt x="1310" y="1595"/>
                    </a:lnTo>
                    <a:lnTo>
                      <a:pt x="1310" y="1597"/>
                    </a:lnTo>
                    <a:lnTo>
                      <a:pt x="1309" y="1597"/>
                    </a:lnTo>
                    <a:lnTo>
                      <a:pt x="1309" y="1599"/>
                    </a:lnTo>
                    <a:lnTo>
                      <a:pt x="1307" y="1599"/>
                    </a:lnTo>
                    <a:lnTo>
                      <a:pt x="1307" y="1600"/>
                    </a:lnTo>
                    <a:lnTo>
                      <a:pt x="1309" y="1600"/>
                    </a:lnTo>
                    <a:lnTo>
                      <a:pt x="1307" y="1602"/>
                    </a:lnTo>
                    <a:lnTo>
                      <a:pt x="1307" y="1604"/>
                    </a:lnTo>
                    <a:lnTo>
                      <a:pt x="1305" y="1606"/>
                    </a:lnTo>
                    <a:lnTo>
                      <a:pt x="1305" y="1607"/>
                    </a:lnTo>
                    <a:lnTo>
                      <a:pt x="1305" y="1609"/>
                    </a:lnTo>
                    <a:lnTo>
                      <a:pt x="1305" y="1611"/>
                    </a:lnTo>
                    <a:lnTo>
                      <a:pt x="1305" y="1609"/>
                    </a:lnTo>
                    <a:lnTo>
                      <a:pt x="1307" y="1609"/>
                    </a:lnTo>
                    <a:lnTo>
                      <a:pt x="1307" y="1607"/>
                    </a:lnTo>
                    <a:lnTo>
                      <a:pt x="1307" y="1606"/>
                    </a:lnTo>
                    <a:lnTo>
                      <a:pt x="1309" y="1607"/>
                    </a:lnTo>
                    <a:lnTo>
                      <a:pt x="1309" y="1609"/>
                    </a:lnTo>
                    <a:lnTo>
                      <a:pt x="1310" y="1609"/>
                    </a:lnTo>
                    <a:lnTo>
                      <a:pt x="1309" y="1607"/>
                    </a:lnTo>
                    <a:lnTo>
                      <a:pt x="1307" y="1606"/>
                    </a:lnTo>
                    <a:lnTo>
                      <a:pt x="1309" y="1604"/>
                    </a:lnTo>
                    <a:lnTo>
                      <a:pt x="1309" y="1602"/>
                    </a:lnTo>
                    <a:lnTo>
                      <a:pt x="1309" y="1600"/>
                    </a:lnTo>
                    <a:lnTo>
                      <a:pt x="1310" y="1600"/>
                    </a:lnTo>
                    <a:lnTo>
                      <a:pt x="1310" y="1599"/>
                    </a:lnTo>
                    <a:lnTo>
                      <a:pt x="1312" y="1599"/>
                    </a:lnTo>
                    <a:lnTo>
                      <a:pt x="1312" y="1597"/>
                    </a:lnTo>
                    <a:lnTo>
                      <a:pt x="1314" y="1599"/>
                    </a:lnTo>
                    <a:lnTo>
                      <a:pt x="1315" y="1600"/>
                    </a:lnTo>
                    <a:lnTo>
                      <a:pt x="1317" y="1602"/>
                    </a:lnTo>
                    <a:lnTo>
                      <a:pt x="1315" y="1602"/>
                    </a:lnTo>
                    <a:lnTo>
                      <a:pt x="1317" y="1602"/>
                    </a:lnTo>
                    <a:lnTo>
                      <a:pt x="1319" y="1602"/>
                    </a:lnTo>
                    <a:lnTo>
                      <a:pt x="1319" y="1604"/>
                    </a:lnTo>
                    <a:lnTo>
                      <a:pt x="1321" y="1604"/>
                    </a:lnTo>
                    <a:lnTo>
                      <a:pt x="1319" y="1604"/>
                    </a:lnTo>
                    <a:lnTo>
                      <a:pt x="1321" y="1604"/>
                    </a:lnTo>
                    <a:lnTo>
                      <a:pt x="1321" y="1606"/>
                    </a:lnTo>
                    <a:lnTo>
                      <a:pt x="1322" y="1607"/>
                    </a:lnTo>
                    <a:lnTo>
                      <a:pt x="1324" y="1607"/>
                    </a:lnTo>
                    <a:lnTo>
                      <a:pt x="1324" y="1609"/>
                    </a:lnTo>
                    <a:lnTo>
                      <a:pt x="1324" y="1607"/>
                    </a:lnTo>
                    <a:lnTo>
                      <a:pt x="1326" y="1609"/>
                    </a:lnTo>
                    <a:lnTo>
                      <a:pt x="1324" y="1607"/>
                    </a:lnTo>
                    <a:lnTo>
                      <a:pt x="1322" y="1607"/>
                    </a:lnTo>
                    <a:lnTo>
                      <a:pt x="1322" y="1606"/>
                    </a:lnTo>
                    <a:lnTo>
                      <a:pt x="1321" y="1606"/>
                    </a:lnTo>
                    <a:lnTo>
                      <a:pt x="1321" y="1604"/>
                    </a:lnTo>
                    <a:lnTo>
                      <a:pt x="1322" y="1604"/>
                    </a:lnTo>
                    <a:lnTo>
                      <a:pt x="1324" y="1604"/>
                    </a:lnTo>
                    <a:lnTo>
                      <a:pt x="1326" y="1606"/>
                    </a:lnTo>
                    <a:lnTo>
                      <a:pt x="1327" y="1607"/>
                    </a:lnTo>
                    <a:lnTo>
                      <a:pt x="1327" y="1606"/>
                    </a:lnTo>
                    <a:lnTo>
                      <a:pt x="1326" y="1606"/>
                    </a:lnTo>
                    <a:lnTo>
                      <a:pt x="1324" y="1604"/>
                    </a:lnTo>
                    <a:lnTo>
                      <a:pt x="1326" y="1604"/>
                    </a:lnTo>
                    <a:lnTo>
                      <a:pt x="1324" y="1604"/>
                    </a:lnTo>
                    <a:lnTo>
                      <a:pt x="1322" y="1602"/>
                    </a:lnTo>
                    <a:lnTo>
                      <a:pt x="1321" y="1602"/>
                    </a:lnTo>
                    <a:lnTo>
                      <a:pt x="1319" y="1600"/>
                    </a:lnTo>
                    <a:lnTo>
                      <a:pt x="1317" y="1600"/>
                    </a:lnTo>
                    <a:lnTo>
                      <a:pt x="1317" y="1599"/>
                    </a:lnTo>
                    <a:lnTo>
                      <a:pt x="1315" y="1599"/>
                    </a:lnTo>
                    <a:lnTo>
                      <a:pt x="1317" y="1597"/>
                    </a:lnTo>
                    <a:lnTo>
                      <a:pt x="1315" y="1597"/>
                    </a:lnTo>
                    <a:lnTo>
                      <a:pt x="1314" y="1597"/>
                    </a:lnTo>
                    <a:lnTo>
                      <a:pt x="1314" y="1595"/>
                    </a:lnTo>
                    <a:lnTo>
                      <a:pt x="1315" y="1594"/>
                    </a:lnTo>
                    <a:lnTo>
                      <a:pt x="1314" y="1594"/>
                    </a:lnTo>
                    <a:lnTo>
                      <a:pt x="1314" y="1592"/>
                    </a:lnTo>
                    <a:lnTo>
                      <a:pt x="1312" y="1590"/>
                    </a:lnTo>
                    <a:lnTo>
                      <a:pt x="1310" y="1590"/>
                    </a:lnTo>
                    <a:lnTo>
                      <a:pt x="1309" y="1590"/>
                    </a:lnTo>
                    <a:lnTo>
                      <a:pt x="1307" y="1590"/>
                    </a:lnTo>
                    <a:lnTo>
                      <a:pt x="1305" y="1590"/>
                    </a:lnTo>
                    <a:lnTo>
                      <a:pt x="1304" y="1590"/>
                    </a:lnTo>
                    <a:lnTo>
                      <a:pt x="1304" y="1589"/>
                    </a:lnTo>
                    <a:lnTo>
                      <a:pt x="1302" y="1589"/>
                    </a:lnTo>
                    <a:lnTo>
                      <a:pt x="1302" y="1587"/>
                    </a:lnTo>
                    <a:lnTo>
                      <a:pt x="1300" y="1585"/>
                    </a:lnTo>
                    <a:lnTo>
                      <a:pt x="1302" y="1585"/>
                    </a:lnTo>
                    <a:lnTo>
                      <a:pt x="1300" y="1583"/>
                    </a:lnTo>
                    <a:lnTo>
                      <a:pt x="1302" y="1583"/>
                    </a:lnTo>
                    <a:lnTo>
                      <a:pt x="1302" y="1585"/>
                    </a:lnTo>
                    <a:lnTo>
                      <a:pt x="1304" y="1585"/>
                    </a:lnTo>
                    <a:lnTo>
                      <a:pt x="1302" y="1585"/>
                    </a:lnTo>
                    <a:lnTo>
                      <a:pt x="1302" y="1583"/>
                    </a:lnTo>
                    <a:lnTo>
                      <a:pt x="1300" y="1582"/>
                    </a:lnTo>
                    <a:lnTo>
                      <a:pt x="1300" y="1580"/>
                    </a:lnTo>
                    <a:lnTo>
                      <a:pt x="1300" y="1582"/>
                    </a:lnTo>
                    <a:lnTo>
                      <a:pt x="1302" y="1582"/>
                    </a:lnTo>
                    <a:lnTo>
                      <a:pt x="1304" y="1582"/>
                    </a:lnTo>
                    <a:lnTo>
                      <a:pt x="1304" y="1583"/>
                    </a:lnTo>
                    <a:lnTo>
                      <a:pt x="1305" y="1583"/>
                    </a:lnTo>
                    <a:lnTo>
                      <a:pt x="1305" y="1585"/>
                    </a:lnTo>
                    <a:lnTo>
                      <a:pt x="1307" y="1585"/>
                    </a:lnTo>
                    <a:lnTo>
                      <a:pt x="1309" y="1585"/>
                    </a:lnTo>
                    <a:lnTo>
                      <a:pt x="1309" y="1587"/>
                    </a:lnTo>
                    <a:lnTo>
                      <a:pt x="1310" y="1589"/>
                    </a:lnTo>
                    <a:lnTo>
                      <a:pt x="1312" y="1589"/>
                    </a:lnTo>
                    <a:lnTo>
                      <a:pt x="1314" y="1589"/>
                    </a:lnTo>
                    <a:lnTo>
                      <a:pt x="1314" y="1590"/>
                    </a:lnTo>
                    <a:lnTo>
                      <a:pt x="1315" y="1590"/>
                    </a:lnTo>
                    <a:lnTo>
                      <a:pt x="1317" y="1590"/>
                    </a:lnTo>
                    <a:lnTo>
                      <a:pt x="1317" y="1592"/>
                    </a:lnTo>
                    <a:lnTo>
                      <a:pt x="1319" y="1592"/>
                    </a:lnTo>
                    <a:lnTo>
                      <a:pt x="1321" y="1592"/>
                    </a:lnTo>
                    <a:lnTo>
                      <a:pt x="1321" y="1594"/>
                    </a:lnTo>
                    <a:lnTo>
                      <a:pt x="1322" y="1594"/>
                    </a:lnTo>
                    <a:lnTo>
                      <a:pt x="1322" y="1595"/>
                    </a:lnTo>
                    <a:lnTo>
                      <a:pt x="1321" y="1595"/>
                    </a:lnTo>
                    <a:lnTo>
                      <a:pt x="1322" y="1595"/>
                    </a:lnTo>
                    <a:lnTo>
                      <a:pt x="1324" y="1595"/>
                    </a:lnTo>
                    <a:lnTo>
                      <a:pt x="1324" y="1597"/>
                    </a:lnTo>
                    <a:lnTo>
                      <a:pt x="1326" y="1599"/>
                    </a:lnTo>
                    <a:lnTo>
                      <a:pt x="1327" y="1599"/>
                    </a:lnTo>
                    <a:lnTo>
                      <a:pt x="1327" y="1597"/>
                    </a:lnTo>
                    <a:lnTo>
                      <a:pt x="1326" y="1597"/>
                    </a:lnTo>
                    <a:lnTo>
                      <a:pt x="1327" y="1597"/>
                    </a:lnTo>
                    <a:lnTo>
                      <a:pt x="1326" y="1597"/>
                    </a:lnTo>
                    <a:lnTo>
                      <a:pt x="1327" y="1595"/>
                    </a:lnTo>
                    <a:lnTo>
                      <a:pt x="1329" y="1595"/>
                    </a:lnTo>
                    <a:lnTo>
                      <a:pt x="1329" y="1597"/>
                    </a:lnTo>
                    <a:lnTo>
                      <a:pt x="1331" y="1597"/>
                    </a:lnTo>
                    <a:lnTo>
                      <a:pt x="1329" y="1595"/>
                    </a:lnTo>
                    <a:lnTo>
                      <a:pt x="1327" y="1595"/>
                    </a:lnTo>
                    <a:lnTo>
                      <a:pt x="1326" y="1595"/>
                    </a:lnTo>
                    <a:lnTo>
                      <a:pt x="1326" y="1594"/>
                    </a:lnTo>
                    <a:lnTo>
                      <a:pt x="1324" y="1594"/>
                    </a:lnTo>
                    <a:lnTo>
                      <a:pt x="1324" y="1592"/>
                    </a:lnTo>
                    <a:lnTo>
                      <a:pt x="1326" y="1592"/>
                    </a:lnTo>
                    <a:lnTo>
                      <a:pt x="1327" y="1592"/>
                    </a:lnTo>
                    <a:lnTo>
                      <a:pt x="1327" y="1590"/>
                    </a:lnTo>
                    <a:lnTo>
                      <a:pt x="1327" y="1589"/>
                    </a:lnTo>
                    <a:lnTo>
                      <a:pt x="1329" y="1589"/>
                    </a:lnTo>
                    <a:lnTo>
                      <a:pt x="1331" y="1589"/>
                    </a:lnTo>
                    <a:lnTo>
                      <a:pt x="1332" y="1590"/>
                    </a:lnTo>
                    <a:lnTo>
                      <a:pt x="1332" y="1592"/>
                    </a:lnTo>
                    <a:lnTo>
                      <a:pt x="1334" y="1592"/>
                    </a:lnTo>
                    <a:lnTo>
                      <a:pt x="1332" y="1592"/>
                    </a:lnTo>
                    <a:lnTo>
                      <a:pt x="1332" y="1594"/>
                    </a:lnTo>
                    <a:lnTo>
                      <a:pt x="1334" y="1595"/>
                    </a:lnTo>
                    <a:lnTo>
                      <a:pt x="1332" y="1595"/>
                    </a:lnTo>
                    <a:lnTo>
                      <a:pt x="1332" y="1597"/>
                    </a:lnTo>
                    <a:lnTo>
                      <a:pt x="1334" y="1595"/>
                    </a:lnTo>
                    <a:lnTo>
                      <a:pt x="1334" y="1597"/>
                    </a:lnTo>
                    <a:lnTo>
                      <a:pt x="1336" y="1597"/>
                    </a:lnTo>
                    <a:lnTo>
                      <a:pt x="1336" y="1599"/>
                    </a:lnTo>
                    <a:lnTo>
                      <a:pt x="1334" y="1599"/>
                    </a:lnTo>
                    <a:lnTo>
                      <a:pt x="1336" y="1599"/>
                    </a:lnTo>
                    <a:lnTo>
                      <a:pt x="1338" y="1600"/>
                    </a:lnTo>
                    <a:lnTo>
                      <a:pt x="1336" y="1600"/>
                    </a:lnTo>
                    <a:lnTo>
                      <a:pt x="1336" y="1602"/>
                    </a:lnTo>
                    <a:lnTo>
                      <a:pt x="1334" y="1604"/>
                    </a:lnTo>
                    <a:lnTo>
                      <a:pt x="1336" y="1604"/>
                    </a:lnTo>
                    <a:lnTo>
                      <a:pt x="1336" y="1602"/>
                    </a:lnTo>
                    <a:lnTo>
                      <a:pt x="1338" y="1602"/>
                    </a:lnTo>
                    <a:lnTo>
                      <a:pt x="1338" y="1600"/>
                    </a:lnTo>
                    <a:lnTo>
                      <a:pt x="1338" y="1602"/>
                    </a:lnTo>
                    <a:lnTo>
                      <a:pt x="1339" y="1602"/>
                    </a:lnTo>
                    <a:lnTo>
                      <a:pt x="1339" y="1604"/>
                    </a:lnTo>
                    <a:lnTo>
                      <a:pt x="1339" y="1606"/>
                    </a:lnTo>
                    <a:lnTo>
                      <a:pt x="1338" y="1606"/>
                    </a:lnTo>
                    <a:lnTo>
                      <a:pt x="1338" y="1607"/>
                    </a:lnTo>
                    <a:lnTo>
                      <a:pt x="1338" y="1606"/>
                    </a:lnTo>
                    <a:lnTo>
                      <a:pt x="1339" y="1606"/>
                    </a:lnTo>
                    <a:lnTo>
                      <a:pt x="1339" y="1607"/>
                    </a:lnTo>
                    <a:lnTo>
                      <a:pt x="1341" y="1607"/>
                    </a:lnTo>
                    <a:lnTo>
                      <a:pt x="1339" y="1607"/>
                    </a:lnTo>
                    <a:lnTo>
                      <a:pt x="1339" y="1609"/>
                    </a:lnTo>
                    <a:lnTo>
                      <a:pt x="1341" y="1607"/>
                    </a:lnTo>
                    <a:lnTo>
                      <a:pt x="1339" y="1606"/>
                    </a:lnTo>
                    <a:lnTo>
                      <a:pt x="1341" y="1604"/>
                    </a:lnTo>
                    <a:lnTo>
                      <a:pt x="1341" y="1602"/>
                    </a:lnTo>
                    <a:lnTo>
                      <a:pt x="1339" y="1600"/>
                    </a:lnTo>
                    <a:lnTo>
                      <a:pt x="1339" y="1599"/>
                    </a:lnTo>
                    <a:lnTo>
                      <a:pt x="1338" y="1599"/>
                    </a:lnTo>
                    <a:lnTo>
                      <a:pt x="1338" y="1597"/>
                    </a:lnTo>
                    <a:lnTo>
                      <a:pt x="1338" y="1595"/>
                    </a:lnTo>
                    <a:lnTo>
                      <a:pt x="1338" y="1594"/>
                    </a:lnTo>
                    <a:lnTo>
                      <a:pt x="1336" y="1594"/>
                    </a:lnTo>
                    <a:lnTo>
                      <a:pt x="1336" y="1592"/>
                    </a:lnTo>
                    <a:lnTo>
                      <a:pt x="1336" y="1590"/>
                    </a:lnTo>
                    <a:lnTo>
                      <a:pt x="1338" y="1590"/>
                    </a:lnTo>
                    <a:lnTo>
                      <a:pt x="1339" y="1592"/>
                    </a:lnTo>
                    <a:lnTo>
                      <a:pt x="1341" y="1592"/>
                    </a:lnTo>
                    <a:lnTo>
                      <a:pt x="1341" y="1594"/>
                    </a:lnTo>
                    <a:lnTo>
                      <a:pt x="1343" y="1594"/>
                    </a:lnTo>
                    <a:lnTo>
                      <a:pt x="1344" y="1594"/>
                    </a:lnTo>
                    <a:lnTo>
                      <a:pt x="1344" y="1595"/>
                    </a:lnTo>
                    <a:lnTo>
                      <a:pt x="1343" y="1597"/>
                    </a:lnTo>
                    <a:lnTo>
                      <a:pt x="1344" y="1597"/>
                    </a:lnTo>
                    <a:lnTo>
                      <a:pt x="1344" y="1599"/>
                    </a:lnTo>
                    <a:lnTo>
                      <a:pt x="1343" y="1600"/>
                    </a:lnTo>
                    <a:lnTo>
                      <a:pt x="1344" y="1602"/>
                    </a:lnTo>
                    <a:lnTo>
                      <a:pt x="1346" y="1602"/>
                    </a:lnTo>
                    <a:lnTo>
                      <a:pt x="1344" y="1600"/>
                    </a:lnTo>
                    <a:lnTo>
                      <a:pt x="1344" y="1599"/>
                    </a:lnTo>
                    <a:lnTo>
                      <a:pt x="1346" y="1599"/>
                    </a:lnTo>
                    <a:lnTo>
                      <a:pt x="1344" y="1597"/>
                    </a:lnTo>
                    <a:lnTo>
                      <a:pt x="1346" y="1599"/>
                    </a:lnTo>
                    <a:lnTo>
                      <a:pt x="1348" y="1600"/>
                    </a:lnTo>
                    <a:lnTo>
                      <a:pt x="1348" y="1599"/>
                    </a:lnTo>
                    <a:lnTo>
                      <a:pt x="1346" y="1599"/>
                    </a:lnTo>
                    <a:lnTo>
                      <a:pt x="1348" y="1599"/>
                    </a:lnTo>
                    <a:lnTo>
                      <a:pt x="1346" y="1597"/>
                    </a:lnTo>
                    <a:lnTo>
                      <a:pt x="1346" y="1595"/>
                    </a:lnTo>
                    <a:lnTo>
                      <a:pt x="1346" y="1594"/>
                    </a:lnTo>
                    <a:lnTo>
                      <a:pt x="1348" y="1594"/>
                    </a:lnTo>
                    <a:lnTo>
                      <a:pt x="1349" y="1594"/>
                    </a:lnTo>
                    <a:lnTo>
                      <a:pt x="1349" y="1595"/>
                    </a:lnTo>
                    <a:lnTo>
                      <a:pt x="1351" y="1595"/>
                    </a:lnTo>
                    <a:lnTo>
                      <a:pt x="1351" y="1597"/>
                    </a:lnTo>
                    <a:lnTo>
                      <a:pt x="1353" y="1597"/>
                    </a:lnTo>
                    <a:lnTo>
                      <a:pt x="1355" y="1599"/>
                    </a:lnTo>
                    <a:lnTo>
                      <a:pt x="1356" y="1599"/>
                    </a:lnTo>
                    <a:lnTo>
                      <a:pt x="1356" y="1600"/>
                    </a:lnTo>
                    <a:lnTo>
                      <a:pt x="1358" y="1600"/>
                    </a:lnTo>
                    <a:lnTo>
                      <a:pt x="1358" y="1602"/>
                    </a:lnTo>
                    <a:lnTo>
                      <a:pt x="1356" y="1602"/>
                    </a:lnTo>
                    <a:lnTo>
                      <a:pt x="1356" y="1604"/>
                    </a:lnTo>
                    <a:lnTo>
                      <a:pt x="1355" y="1606"/>
                    </a:lnTo>
                    <a:lnTo>
                      <a:pt x="1355" y="1607"/>
                    </a:lnTo>
                    <a:lnTo>
                      <a:pt x="1353" y="1607"/>
                    </a:lnTo>
                    <a:lnTo>
                      <a:pt x="1353" y="1609"/>
                    </a:lnTo>
                    <a:lnTo>
                      <a:pt x="1351" y="1609"/>
                    </a:lnTo>
                    <a:lnTo>
                      <a:pt x="1353" y="1611"/>
                    </a:lnTo>
                    <a:lnTo>
                      <a:pt x="1351" y="1611"/>
                    </a:lnTo>
                    <a:lnTo>
                      <a:pt x="1351" y="1612"/>
                    </a:lnTo>
                    <a:lnTo>
                      <a:pt x="1349" y="1612"/>
                    </a:lnTo>
                    <a:lnTo>
                      <a:pt x="1348" y="1612"/>
                    </a:lnTo>
                    <a:lnTo>
                      <a:pt x="1349" y="1614"/>
                    </a:lnTo>
                    <a:lnTo>
                      <a:pt x="1351" y="1612"/>
                    </a:lnTo>
                    <a:lnTo>
                      <a:pt x="1353" y="1612"/>
                    </a:lnTo>
                    <a:lnTo>
                      <a:pt x="1353" y="1614"/>
                    </a:lnTo>
                    <a:lnTo>
                      <a:pt x="1353" y="1616"/>
                    </a:lnTo>
                    <a:lnTo>
                      <a:pt x="1353" y="1614"/>
                    </a:lnTo>
                    <a:lnTo>
                      <a:pt x="1353" y="1612"/>
                    </a:lnTo>
                    <a:lnTo>
                      <a:pt x="1353" y="1611"/>
                    </a:lnTo>
                    <a:lnTo>
                      <a:pt x="1355" y="1611"/>
                    </a:lnTo>
                    <a:lnTo>
                      <a:pt x="1355" y="1609"/>
                    </a:lnTo>
                    <a:lnTo>
                      <a:pt x="1355" y="1607"/>
                    </a:lnTo>
                    <a:lnTo>
                      <a:pt x="1356" y="1606"/>
                    </a:lnTo>
                    <a:lnTo>
                      <a:pt x="1358" y="1606"/>
                    </a:lnTo>
                    <a:lnTo>
                      <a:pt x="1358" y="1604"/>
                    </a:lnTo>
                    <a:lnTo>
                      <a:pt x="1358" y="1606"/>
                    </a:lnTo>
                    <a:lnTo>
                      <a:pt x="1360" y="1607"/>
                    </a:lnTo>
                    <a:lnTo>
                      <a:pt x="1361" y="1607"/>
                    </a:lnTo>
                    <a:lnTo>
                      <a:pt x="1360" y="1606"/>
                    </a:lnTo>
                    <a:lnTo>
                      <a:pt x="1360" y="1604"/>
                    </a:lnTo>
                    <a:lnTo>
                      <a:pt x="1360" y="1602"/>
                    </a:lnTo>
                    <a:lnTo>
                      <a:pt x="1361" y="1600"/>
                    </a:lnTo>
                    <a:lnTo>
                      <a:pt x="1363" y="1600"/>
                    </a:lnTo>
                    <a:lnTo>
                      <a:pt x="1365" y="1600"/>
                    </a:lnTo>
                    <a:lnTo>
                      <a:pt x="1365" y="1602"/>
                    </a:lnTo>
                    <a:lnTo>
                      <a:pt x="1366" y="1602"/>
                    </a:lnTo>
                    <a:lnTo>
                      <a:pt x="1365" y="1600"/>
                    </a:lnTo>
                    <a:lnTo>
                      <a:pt x="1366" y="1600"/>
                    </a:lnTo>
                    <a:lnTo>
                      <a:pt x="1365" y="1599"/>
                    </a:lnTo>
                    <a:lnTo>
                      <a:pt x="1363" y="1599"/>
                    </a:lnTo>
                    <a:lnTo>
                      <a:pt x="1363" y="1597"/>
                    </a:lnTo>
                    <a:lnTo>
                      <a:pt x="1361" y="1597"/>
                    </a:lnTo>
                    <a:lnTo>
                      <a:pt x="1360" y="1597"/>
                    </a:lnTo>
                    <a:lnTo>
                      <a:pt x="1360" y="1595"/>
                    </a:lnTo>
                    <a:lnTo>
                      <a:pt x="1358" y="1595"/>
                    </a:lnTo>
                    <a:lnTo>
                      <a:pt x="1358" y="1594"/>
                    </a:lnTo>
                    <a:lnTo>
                      <a:pt x="1356" y="1594"/>
                    </a:lnTo>
                    <a:lnTo>
                      <a:pt x="1355" y="1592"/>
                    </a:lnTo>
                    <a:lnTo>
                      <a:pt x="1353" y="1592"/>
                    </a:lnTo>
                    <a:lnTo>
                      <a:pt x="1351" y="1592"/>
                    </a:lnTo>
                    <a:lnTo>
                      <a:pt x="1351" y="1590"/>
                    </a:lnTo>
                    <a:lnTo>
                      <a:pt x="1349" y="1590"/>
                    </a:lnTo>
                    <a:lnTo>
                      <a:pt x="1348" y="1590"/>
                    </a:lnTo>
                    <a:lnTo>
                      <a:pt x="1348" y="1589"/>
                    </a:lnTo>
                    <a:lnTo>
                      <a:pt x="1346" y="1589"/>
                    </a:lnTo>
                    <a:lnTo>
                      <a:pt x="1344" y="1587"/>
                    </a:lnTo>
                    <a:lnTo>
                      <a:pt x="1343" y="1587"/>
                    </a:lnTo>
                    <a:lnTo>
                      <a:pt x="1341" y="1587"/>
                    </a:lnTo>
                    <a:lnTo>
                      <a:pt x="1341" y="1585"/>
                    </a:lnTo>
                    <a:lnTo>
                      <a:pt x="1339" y="1585"/>
                    </a:lnTo>
                    <a:lnTo>
                      <a:pt x="1338" y="1585"/>
                    </a:lnTo>
                    <a:lnTo>
                      <a:pt x="1336" y="1583"/>
                    </a:lnTo>
                    <a:lnTo>
                      <a:pt x="1334" y="1583"/>
                    </a:lnTo>
                    <a:lnTo>
                      <a:pt x="1334" y="1582"/>
                    </a:lnTo>
                    <a:lnTo>
                      <a:pt x="1332" y="1582"/>
                    </a:lnTo>
                    <a:lnTo>
                      <a:pt x="1331" y="1580"/>
                    </a:lnTo>
                    <a:lnTo>
                      <a:pt x="1329" y="1580"/>
                    </a:lnTo>
                    <a:lnTo>
                      <a:pt x="1331" y="1580"/>
                    </a:lnTo>
                    <a:lnTo>
                      <a:pt x="1331" y="1578"/>
                    </a:lnTo>
                    <a:lnTo>
                      <a:pt x="1329" y="1578"/>
                    </a:lnTo>
                    <a:lnTo>
                      <a:pt x="1329" y="1577"/>
                    </a:lnTo>
                    <a:lnTo>
                      <a:pt x="1329" y="1575"/>
                    </a:lnTo>
                    <a:lnTo>
                      <a:pt x="1329" y="1573"/>
                    </a:lnTo>
                    <a:lnTo>
                      <a:pt x="1327" y="1573"/>
                    </a:lnTo>
                    <a:lnTo>
                      <a:pt x="1327" y="1572"/>
                    </a:lnTo>
                    <a:lnTo>
                      <a:pt x="1327" y="1570"/>
                    </a:lnTo>
                    <a:lnTo>
                      <a:pt x="1327" y="1568"/>
                    </a:lnTo>
                    <a:lnTo>
                      <a:pt x="1326" y="1568"/>
                    </a:lnTo>
                    <a:lnTo>
                      <a:pt x="1326" y="1566"/>
                    </a:lnTo>
                    <a:lnTo>
                      <a:pt x="1326" y="1565"/>
                    </a:lnTo>
                    <a:lnTo>
                      <a:pt x="1326" y="1563"/>
                    </a:lnTo>
                    <a:lnTo>
                      <a:pt x="1326" y="1561"/>
                    </a:lnTo>
                    <a:lnTo>
                      <a:pt x="1326" y="1560"/>
                    </a:lnTo>
                    <a:lnTo>
                      <a:pt x="1327" y="1560"/>
                    </a:lnTo>
                    <a:lnTo>
                      <a:pt x="1329" y="1558"/>
                    </a:lnTo>
                    <a:lnTo>
                      <a:pt x="1331" y="1558"/>
                    </a:lnTo>
                    <a:lnTo>
                      <a:pt x="1332" y="1558"/>
                    </a:lnTo>
                    <a:lnTo>
                      <a:pt x="1334" y="1556"/>
                    </a:lnTo>
                    <a:lnTo>
                      <a:pt x="1334" y="1555"/>
                    </a:lnTo>
                    <a:lnTo>
                      <a:pt x="1336" y="1555"/>
                    </a:lnTo>
                    <a:lnTo>
                      <a:pt x="1338" y="1555"/>
                    </a:lnTo>
                    <a:lnTo>
                      <a:pt x="1339" y="1555"/>
                    </a:lnTo>
                    <a:lnTo>
                      <a:pt x="1341" y="1555"/>
                    </a:lnTo>
                    <a:lnTo>
                      <a:pt x="1343" y="1555"/>
                    </a:lnTo>
                    <a:lnTo>
                      <a:pt x="1343" y="1553"/>
                    </a:lnTo>
                    <a:lnTo>
                      <a:pt x="1344" y="1553"/>
                    </a:lnTo>
                    <a:lnTo>
                      <a:pt x="1344" y="1551"/>
                    </a:lnTo>
                    <a:lnTo>
                      <a:pt x="1346" y="1551"/>
                    </a:lnTo>
                    <a:lnTo>
                      <a:pt x="1348" y="1549"/>
                    </a:lnTo>
                    <a:lnTo>
                      <a:pt x="1349" y="1549"/>
                    </a:lnTo>
                    <a:lnTo>
                      <a:pt x="1349" y="1548"/>
                    </a:lnTo>
                    <a:lnTo>
                      <a:pt x="1351" y="1548"/>
                    </a:lnTo>
                    <a:lnTo>
                      <a:pt x="1353" y="1548"/>
                    </a:lnTo>
                    <a:lnTo>
                      <a:pt x="1353" y="1546"/>
                    </a:lnTo>
                    <a:lnTo>
                      <a:pt x="1355" y="1546"/>
                    </a:lnTo>
                    <a:lnTo>
                      <a:pt x="1355" y="1544"/>
                    </a:lnTo>
                    <a:lnTo>
                      <a:pt x="1355" y="1543"/>
                    </a:lnTo>
                    <a:lnTo>
                      <a:pt x="1355" y="1541"/>
                    </a:lnTo>
                    <a:lnTo>
                      <a:pt x="1355" y="1539"/>
                    </a:lnTo>
                    <a:lnTo>
                      <a:pt x="1353" y="1539"/>
                    </a:lnTo>
                    <a:lnTo>
                      <a:pt x="1353" y="1538"/>
                    </a:lnTo>
                    <a:lnTo>
                      <a:pt x="1351" y="1538"/>
                    </a:lnTo>
                    <a:lnTo>
                      <a:pt x="1349" y="1538"/>
                    </a:lnTo>
                    <a:lnTo>
                      <a:pt x="1348" y="1538"/>
                    </a:lnTo>
                    <a:lnTo>
                      <a:pt x="1346" y="1538"/>
                    </a:lnTo>
                    <a:lnTo>
                      <a:pt x="1344" y="1538"/>
                    </a:lnTo>
                    <a:lnTo>
                      <a:pt x="1343" y="1538"/>
                    </a:lnTo>
                    <a:lnTo>
                      <a:pt x="1341" y="1538"/>
                    </a:lnTo>
                    <a:lnTo>
                      <a:pt x="1339" y="1538"/>
                    </a:lnTo>
                    <a:lnTo>
                      <a:pt x="1338" y="1539"/>
                    </a:lnTo>
                    <a:lnTo>
                      <a:pt x="1336" y="1539"/>
                    </a:lnTo>
                    <a:lnTo>
                      <a:pt x="1334" y="1539"/>
                    </a:lnTo>
                    <a:lnTo>
                      <a:pt x="1332" y="1539"/>
                    </a:lnTo>
                    <a:lnTo>
                      <a:pt x="1331" y="1541"/>
                    </a:lnTo>
                    <a:lnTo>
                      <a:pt x="1329" y="1541"/>
                    </a:lnTo>
                    <a:lnTo>
                      <a:pt x="1329" y="1543"/>
                    </a:lnTo>
                    <a:lnTo>
                      <a:pt x="1327" y="1543"/>
                    </a:lnTo>
                    <a:lnTo>
                      <a:pt x="1326" y="1543"/>
                    </a:lnTo>
                    <a:lnTo>
                      <a:pt x="1326" y="1544"/>
                    </a:lnTo>
                    <a:lnTo>
                      <a:pt x="1324" y="1544"/>
                    </a:lnTo>
                    <a:lnTo>
                      <a:pt x="1322" y="1544"/>
                    </a:lnTo>
                    <a:lnTo>
                      <a:pt x="1322" y="1543"/>
                    </a:lnTo>
                    <a:lnTo>
                      <a:pt x="1321" y="1543"/>
                    </a:lnTo>
                    <a:lnTo>
                      <a:pt x="1321" y="1541"/>
                    </a:lnTo>
                    <a:lnTo>
                      <a:pt x="1321" y="1539"/>
                    </a:lnTo>
                    <a:lnTo>
                      <a:pt x="1319" y="1539"/>
                    </a:lnTo>
                    <a:lnTo>
                      <a:pt x="1317" y="1539"/>
                    </a:lnTo>
                    <a:lnTo>
                      <a:pt x="1315" y="1539"/>
                    </a:lnTo>
                    <a:lnTo>
                      <a:pt x="1315" y="1538"/>
                    </a:lnTo>
                    <a:lnTo>
                      <a:pt x="1315" y="1536"/>
                    </a:lnTo>
                    <a:lnTo>
                      <a:pt x="1317" y="1534"/>
                    </a:lnTo>
                    <a:lnTo>
                      <a:pt x="1319" y="1534"/>
                    </a:lnTo>
                    <a:lnTo>
                      <a:pt x="1317" y="1534"/>
                    </a:lnTo>
                    <a:lnTo>
                      <a:pt x="1315" y="1536"/>
                    </a:lnTo>
                    <a:lnTo>
                      <a:pt x="1315" y="1534"/>
                    </a:lnTo>
                    <a:lnTo>
                      <a:pt x="1315" y="1532"/>
                    </a:lnTo>
                    <a:lnTo>
                      <a:pt x="1315" y="1531"/>
                    </a:lnTo>
                    <a:lnTo>
                      <a:pt x="1315" y="1529"/>
                    </a:lnTo>
                    <a:lnTo>
                      <a:pt x="1317" y="1527"/>
                    </a:lnTo>
                    <a:lnTo>
                      <a:pt x="1317" y="1526"/>
                    </a:lnTo>
                    <a:lnTo>
                      <a:pt x="1317" y="1524"/>
                    </a:lnTo>
                    <a:lnTo>
                      <a:pt x="1315" y="1524"/>
                    </a:lnTo>
                    <a:lnTo>
                      <a:pt x="1317" y="1522"/>
                    </a:lnTo>
                    <a:lnTo>
                      <a:pt x="1317" y="1521"/>
                    </a:lnTo>
                    <a:lnTo>
                      <a:pt x="1317" y="1519"/>
                    </a:lnTo>
                    <a:lnTo>
                      <a:pt x="1317" y="1517"/>
                    </a:lnTo>
                    <a:lnTo>
                      <a:pt x="1319" y="1517"/>
                    </a:lnTo>
                    <a:lnTo>
                      <a:pt x="1319" y="1515"/>
                    </a:lnTo>
                    <a:lnTo>
                      <a:pt x="1321" y="1515"/>
                    </a:lnTo>
                    <a:lnTo>
                      <a:pt x="1321" y="1517"/>
                    </a:lnTo>
                    <a:lnTo>
                      <a:pt x="1319" y="1517"/>
                    </a:lnTo>
                    <a:lnTo>
                      <a:pt x="1321" y="1519"/>
                    </a:lnTo>
                    <a:lnTo>
                      <a:pt x="1321" y="1521"/>
                    </a:lnTo>
                    <a:lnTo>
                      <a:pt x="1319" y="1521"/>
                    </a:lnTo>
                    <a:lnTo>
                      <a:pt x="1321" y="1521"/>
                    </a:lnTo>
                    <a:lnTo>
                      <a:pt x="1322" y="1521"/>
                    </a:lnTo>
                    <a:lnTo>
                      <a:pt x="1324" y="1521"/>
                    </a:lnTo>
                    <a:lnTo>
                      <a:pt x="1324" y="1519"/>
                    </a:lnTo>
                    <a:lnTo>
                      <a:pt x="1326" y="1519"/>
                    </a:lnTo>
                    <a:lnTo>
                      <a:pt x="1327" y="1519"/>
                    </a:lnTo>
                    <a:lnTo>
                      <a:pt x="1327" y="1517"/>
                    </a:lnTo>
                    <a:lnTo>
                      <a:pt x="1327" y="1515"/>
                    </a:lnTo>
                    <a:lnTo>
                      <a:pt x="1329" y="1514"/>
                    </a:lnTo>
                    <a:lnTo>
                      <a:pt x="1327" y="1512"/>
                    </a:lnTo>
                    <a:lnTo>
                      <a:pt x="1327" y="1510"/>
                    </a:lnTo>
                    <a:lnTo>
                      <a:pt x="1326" y="1512"/>
                    </a:lnTo>
                    <a:lnTo>
                      <a:pt x="1326" y="1510"/>
                    </a:lnTo>
                    <a:lnTo>
                      <a:pt x="1324" y="1510"/>
                    </a:lnTo>
                    <a:lnTo>
                      <a:pt x="1322" y="1510"/>
                    </a:lnTo>
                    <a:lnTo>
                      <a:pt x="1322" y="1512"/>
                    </a:lnTo>
                    <a:lnTo>
                      <a:pt x="1321" y="1512"/>
                    </a:lnTo>
                    <a:lnTo>
                      <a:pt x="1322" y="1510"/>
                    </a:lnTo>
                    <a:lnTo>
                      <a:pt x="1322" y="1509"/>
                    </a:lnTo>
                    <a:lnTo>
                      <a:pt x="1322" y="1507"/>
                    </a:lnTo>
                    <a:lnTo>
                      <a:pt x="1321" y="1505"/>
                    </a:lnTo>
                    <a:lnTo>
                      <a:pt x="1319" y="1505"/>
                    </a:lnTo>
                    <a:lnTo>
                      <a:pt x="1317" y="1505"/>
                    </a:lnTo>
                    <a:lnTo>
                      <a:pt x="1317" y="1504"/>
                    </a:lnTo>
                    <a:lnTo>
                      <a:pt x="1319" y="1504"/>
                    </a:lnTo>
                    <a:lnTo>
                      <a:pt x="1321" y="1504"/>
                    </a:lnTo>
                    <a:lnTo>
                      <a:pt x="1322" y="1504"/>
                    </a:lnTo>
                    <a:lnTo>
                      <a:pt x="1324" y="1504"/>
                    </a:lnTo>
                    <a:lnTo>
                      <a:pt x="1326" y="1502"/>
                    </a:lnTo>
                    <a:lnTo>
                      <a:pt x="1327" y="1502"/>
                    </a:lnTo>
                    <a:lnTo>
                      <a:pt x="1327" y="1504"/>
                    </a:lnTo>
                    <a:lnTo>
                      <a:pt x="1329" y="1505"/>
                    </a:lnTo>
                    <a:lnTo>
                      <a:pt x="1329" y="1507"/>
                    </a:lnTo>
                    <a:lnTo>
                      <a:pt x="1331" y="1509"/>
                    </a:lnTo>
                    <a:lnTo>
                      <a:pt x="1332" y="1509"/>
                    </a:lnTo>
                    <a:lnTo>
                      <a:pt x="1334" y="1509"/>
                    </a:lnTo>
                    <a:lnTo>
                      <a:pt x="1336" y="1507"/>
                    </a:lnTo>
                    <a:lnTo>
                      <a:pt x="1336" y="1505"/>
                    </a:lnTo>
                    <a:lnTo>
                      <a:pt x="1338" y="1505"/>
                    </a:lnTo>
                    <a:lnTo>
                      <a:pt x="1339" y="1505"/>
                    </a:lnTo>
                    <a:lnTo>
                      <a:pt x="1341" y="1504"/>
                    </a:lnTo>
                    <a:lnTo>
                      <a:pt x="1343" y="1502"/>
                    </a:lnTo>
                    <a:lnTo>
                      <a:pt x="1343" y="1500"/>
                    </a:lnTo>
                    <a:lnTo>
                      <a:pt x="1344" y="1498"/>
                    </a:lnTo>
                    <a:lnTo>
                      <a:pt x="1344" y="1497"/>
                    </a:lnTo>
                    <a:lnTo>
                      <a:pt x="1344" y="1495"/>
                    </a:lnTo>
                    <a:lnTo>
                      <a:pt x="1344" y="1493"/>
                    </a:lnTo>
                    <a:lnTo>
                      <a:pt x="1344" y="1492"/>
                    </a:lnTo>
                    <a:lnTo>
                      <a:pt x="1346" y="1492"/>
                    </a:lnTo>
                    <a:lnTo>
                      <a:pt x="1346" y="1490"/>
                    </a:lnTo>
                    <a:lnTo>
                      <a:pt x="1348" y="1490"/>
                    </a:lnTo>
                    <a:lnTo>
                      <a:pt x="1349" y="1488"/>
                    </a:lnTo>
                    <a:lnTo>
                      <a:pt x="1348" y="1488"/>
                    </a:lnTo>
                    <a:lnTo>
                      <a:pt x="1349" y="1488"/>
                    </a:lnTo>
                    <a:lnTo>
                      <a:pt x="1348" y="1488"/>
                    </a:lnTo>
                    <a:lnTo>
                      <a:pt x="1349" y="1488"/>
                    </a:lnTo>
                    <a:lnTo>
                      <a:pt x="1351" y="1487"/>
                    </a:lnTo>
                    <a:lnTo>
                      <a:pt x="1353" y="1488"/>
                    </a:lnTo>
                    <a:lnTo>
                      <a:pt x="1353" y="1490"/>
                    </a:lnTo>
                    <a:lnTo>
                      <a:pt x="1355" y="1492"/>
                    </a:lnTo>
                    <a:lnTo>
                      <a:pt x="1355" y="1493"/>
                    </a:lnTo>
                    <a:lnTo>
                      <a:pt x="1355" y="1495"/>
                    </a:lnTo>
                    <a:lnTo>
                      <a:pt x="1356" y="1497"/>
                    </a:lnTo>
                    <a:lnTo>
                      <a:pt x="1356" y="1498"/>
                    </a:lnTo>
                    <a:lnTo>
                      <a:pt x="1358" y="1498"/>
                    </a:lnTo>
                    <a:lnTo>
                      <a:pt x="1360" y="1500"/>
                    </a:lnTo>
                    <a:lnTo>
                      <a:pt x="1361" y="1500"/>
                    </a:lnTo>
                    <a:lnTo>
                      <a:pt x="1363" y="1500"/>
                    </a:lnTo>
                    <a:lnTo>
                      <a:pt x="1363" y="1498"/>
                    </a:lnTo>
                    <a:lnTo>
                      <a:pt x="1365" y="1498"/>
                    </a:lnTo>
                    <a:lnTo>
                      <a:pt x="1366" y="1498"/>
                    </a:lnTo>
                    <a:lnTo>
                      <a:pt x="1368" y="1497"/>
                    </a:lnTo>
                    <a:lnTo>
                      <a:pt x="1370" y="1497"/>
                    </a:lnTo>
                    <a:lnTo>
                      <a:pt x="1372" y="1497"/>
                    </a:lnTo>
                    <a:lnTo>
                      <a:pt x="1372" y="1495"/>
                    </a:lnTo>
                    <a:lnTo>
                      <a:pt x="1373" y="1495"/>
                    </a:lnTo>
                    <a:lnTo>
                      <a:pt x="1373" y="1493"/>
                    </a:lnTo>
                    <a:lnTo>
                      <a:pt x="1373" y="1492"/>
                    </a:lnTo>
                    <a:lnTo>
                      <a:pt x="1373" y="1493"/>
                    </a:lnTo>
                    <a:lnTo>
                      <a:pt x="1375" y="1493"/>
                    </a:lnTo>
                    <a:lnTo>
                      <a:pt x="1375" y="1495"/>
                    </a:lnTo>
                    <a:lnTo>
                      <a:pt x="1377" y="1497"/>
                    </a:lnTo>
                    <a:lnTo>
                      <a:pt x="1378" y="1497"/>
                    </a:lnTo>
                    <a:lnTo>
                      <a:pt x="1378" y="1498"/>
                    </a:lnTo>
                    <a:close/>
                    <a:moveTo>
                      <a:pt x="1200" y="954"/>
                    </a:moveTo>
                    <a:lnTo>
                      <a:pt x="1200" y="956"/>
                    </a:lnTo>
                    <a:lnTo>
                      <a:pt x="1202" y="957"/>
                    </a:lnTo>
                    <a:lnTo>
                      <a:pt x="1200" y="957"/>
                    </a:lnTo>
                    <a:lnTo>
                      <a:pt x="1198" y="957"/>
                    </a:lnTo>
                    <a:lnTo>
                      <a:pt x="1198" y="956"/>
                    </a:lnTo>
                    <a:lnTo>
                      <a:pt x="1196" y="957"/>
                    </a:lnTo>
                    <a:lnTo>
                      <a:pt x="1196" y="956"/>
                    </a:lnTo>
                    <a:lnTo>
                      <a:pt x="1196" y="957"/>
                    </a:lnTo>
                    <a:lnTo>
                      <a:pt x="1198" y="957"/>
                    </a:lnTo>
                    <a:lnTo>
                      <a:pt x="1198" y="959"/>
                    </a:lnTo>
                    <a:lnTo>
                      <a:pt x="1200" y="959"/>
                    </a:lnTo>
                    <a:lnTo>
                      <a:pt x="1202" y="959"/>
                    </a:lnTo>
                    <a:lnTo>
                      <a:pt x="1202" y="957"/>
                    </a:lnTo>
                    <a:lnTo>
                      <a:pt x="1203" y="957"/>
                    </a:lnTo>
                    <a:lnTo>
                      <a:pt x="1203" y="959"/>
                    </a:lnTo>
                    <a:lnTo>
                      <a:pt x="1205" y="961"/>
                    </a:lnTo>
                    <a:lnTo>
                      <a:pt x="1203" y="963"/>
                    </a:lnTo>
                    <a:lnTo>
                      <a:pt x="1205" y="963"/>
                    </a:lnTo>
                    <a:lnTo>
                      <a:pt x="1205" y="961"/>
                    </a:lnTo>
                    <a:lnTo>
                      <a:pt x="1205" y="963"/>
                    </a:lnTo>
                    <a:lnTo>
                      <a:pt x="1205" y="961"/>
                    </a:lnTo>
                    <a:lnTo>
                      <a:pt x="1207" y="961"/>
                    </a:lnTo>
                    <a:lnTo>
                      <a:pt x="1205" y="961"/>
                    </a:lnTo>
                    <a:lnTo>
                      <a:pt x="1205" y="959"/>
                    </a:lnTo>
                    <a:lnTo>
                      <a:pt x="1203" y="959"/>
                    </a:lnTo>
                    <a:lnTo>
                      <a:pt x="1205" y="959"/>
                    </a:lnTo>
                    <a:lnTo>
                      <a:pt x="1205" y="957"/>
                    </a:lnTo>
                    <a:lnTo>
                      <a:pt x="1207" y="957"/>
                    </a:lnTo>
                    <a:lnTo>
                      <a:pt x="1207" y="956"/>
                    </a:lnTo>
                    <a:lnTo>
                      <a:pt x="1208" y="956"/>
                    </a:lnTo>
                    <a:lnTo>
                      <a:pt x="1208" y="957"/>
                    </a:lnTo>
                    <a:lnTo>
                      <a:pt x="1210" y="956"/>
                    </a:lnTo>
                    <a:lnTo>
                      <a:pt x="1212" y="956"/>
                    </a:lnTo>
                    <a:lnTo>
                      <a:pt x="1212" y="957"/>
                    </a:lnTo>
                    <a:lnTo>
                      <a:pt x="1213" y="957"/>
                    </a:lnTo>
                    <a:lnTo>
                      <a:pt x="1213" y="959"/>
                    </a:lnTo>
                    <a:lnTo>
                      <a:pt x="1212" y="959"/>
                    </a:lnTo>
                    <a:lnTo>
                      <a:pt x="1213" y="959"/>
                    </a:lnTo>
                    <a:lnTo>
                      <a:pt x="1213" y="961"/>
                    </a:lnTo>
                    <a:lnTo>
                      <a:pt x="1213" y="959"/>
                    </a:lnTo>
                    <a:lnTo>
                      <a:pt x="1212" y="959"/>
                    </a:lnTo>
                    <a:lnTo>
                      <a:pt x="1212" y="961"/>
                    </a:lnTo>
                    <a:lnTo>
                      <a:pt x="1213" y="961"/>
                    </a:lnTo>
                    <a:lnTo>
                      <a:pt x="1212" y="961"/>
                    </a:lnTo>
                    <a:lnTo>
                      <a:pt x="1212" y="963"/>
                    </a:lnTo>
                    <a:lnTo>
                      <a:pt x="1213" y="963"/>
                    </a:lnTo>
                    <a:lnTo>
                      <a:pt x="1213" y="964"/>
                    </a:lnTo>
                    <a:lnTo>
                      <a:pt x="1213" y="966"/>
                    </a:lnTo>
                    <a:lnTo>
                      <a:pt x="1215" y="966"/>
                    </a:lnTo>
                    <a:lnTo>
                      <a:pt x="1215" y="968"/>
                    </a:lnTo>
                    <a:lnTo>
                      <a:pt x="1215" y="969"/>
                    </a:lnTo>
                    <a:lnTo>
                      <a:pt x="1215" y="971"/>
                    </a:lnTo>
                    <a:lnTo>
                      <a:pt x="1213" y="969"/>
                    </a:lnTo>
                    <a:lnTo>
                      <a:pt x="1213" y="971"/>
                    </a:lnTo>
                    <a:lnTo>
                      <a:pt x="1215" y="973"/>
                    </a:lnTo>
                    <a:lnTo>
                      <a:pt x="1217" y="975"/>
                    </a:lnTo>
                    <a:lnTo>
                      <a:pt x="1219" y="975"/>
                    </a:lnTo>
                    <a:lnTo>
                      <a:pt x="1219" y="976"/>
                    </a:lnTo>
                    <a:lnTo>
                      <a:pt x="1217" y="976"/>
                    </a:lnTo>
                    <a:lnTo>
                      <a:pt x="1219" y="976"/>
                    </a:lnTo>
                    <a:lnTo>
                      <a:pt x="1219" y="978"/>
                    </a:lnTo>
                    <a:lnTo>
                      <a:pt x="1219" y="980"/>
                    </a:lnTo>
                    <a:lnTo>
                      <a:pt x="1217" y="980"/>
                    </a:lnTo>
                    <a:lnTo>
                      <a:pt x="1215" y="980"/>
                    </a:lnTo>
                    <a:lnTo>
                      <a:pt x="1215" y="978"/>
                    </a:lnTo>
                    <a:lnTo>
                      <a:pt x="1215" y="980"/>
                    </a:lnTo>
                    <a:lnTo>
                      <a:pt x="1213" y="980"/>
                    </a:lnTo>
                    <a:lnTo>
                      <a:pt x="1212" y="980"/>
                    </a:lnTo>
                    <a:lnTo>
                      <a:pt x="1210" y="981"/>
                    </a:lnTo>
                    <a:lnTo>
                      <a:pt x="1208" y="981"/>
                    </a:lnTo>
                    <a:lnTo>
                      <a:pt x="1207" y="983"/>
                    </a:lnTo>
                    <a:lnTo>
                      <a:pt x="1208" y="983"/>
                    </a:lnTo>
                    <a:lnTo>
                      <a:pt x="1208" y="985"/>
                    </a:lnTo>
                    <a:lnTo>
                      <a:pt x="1208" y="986"/>
                    </a:lnTo>
                    <a:lnTo>
                      <a:pt x="1207" y="986"/>
                    </a:lnTo>
                    <a:lnTo>
                      <a:pt x="1208" y="988"/>
                    </a:lnTo>
                    <a:lnTo>
                      <a:pt x="1210" y="988"/>
                    </a:lnTo>
                    <a:lnTo>
                      <a:pt x="1210" y="990"/>
                    </a:lnTo>
                    <a:lnTo>
                      <a:pt x="1208" y="988"/>
                    </a:lnTo>
                    <a:lnTo>
                      <a:pt x="1208" y="990"/>
                    </a:lnTo>
                    <a:lnTo>
                      <a:pt x="1207" y="990"/>
                    </a:lnTo>
                    <a:lnTo>
                      <a:pt x="1205" y="990"/>
                    </a:lnTo>
                    <a:lnTo>
                      <a:pt x="1205" y="988"/>
                    </a:lnTo>
                    <a:lnTo>
                      <a:pt x="1203" y="988"/>
                    </a:lnTo>
                    <a:lnTo>
                      <a:pt x="1205" y="988"/>
                    </a:lnTo>
                    <a:lnTo>
                      <a:pt x="1205" y="986"/>
                    </a:lnTo>
                    <a:lnTo>
                      <a:pt x="1205" y="985"/>
                    </a:lnTo>
                    <a:lnTo>
                      <a:pt x="1205" y="986"/>
                    </a:lnTo>
                    <a:lnTo>
                      <a:pt x="1203" y="986"/>
                    </a:lnTo>
                    <a:lnTo>
                      <a:pt x="1203" y="988"/>
                    </a:lnTo>
                    <a:lnTo>
                      <a:pt x="1203" y="990"/>
                    </a:lnTo>
                    <a:lnTo>
                      <a:pt x="1205" y="990"/>
                    </a:lnTo>
                    <a:lnTo>
                      <a:pt x="1205" y="992"/>
                    </a:lnTo>
                    <a:lnTo>
                      <a:pt x="1203" y="992"/>
                    </a:lnTo>
                    <a:lnTo>
                      <a:pt x="1203" y="993"/>
                    </a:lnTo>
                    <a:lnTo>
                      <a:pt x="1205" y="993"/>
                    </a:lnTo>
                    <a:lnTo>
                      <a:pt x="1205" y="995"/>
                    </a:lnTo>
                    <a:lnTo>
                      <a:pt x="1207" y="995"/>
                    </a:lnTo>
                    <a:lnTo>
                      <a:pt x="1208" y="995"/>
                    </a:lnTo>
                    <a:lnTo>
                      <a:pt x="1207" y="995"/>
                    </a:lnTo>
                    <a:lnTo>
                      <a:pt x="1207" y="997"/>
                    </a:lnTo>
                    <a:lnTo>
                      <a:pt x="1208" y="997"/>
                    </a:lnTo>
                    <a:lnTo>
                      <a:pt x="1208" y="998"/>
                    </a:lnTo>
                    <a:lnTo>
                      <a:pt x="1210" y="998"/>
                    </a:lnTo>
                    <a:lnTo>
                      <a:pt x="1210" y="1000"/>
                    </a:lnTo>
                    <a:lnTo>
                      <a:pt x="1212" y="998"/>
                    </a:lnTo>
                    <a:lnTo>
                      <a:pt x="1212" y="1000"/>
                    </a:lnTo>
                    <a:lnTo>
                      <a:pt x="1213" y="1000"/>
                    </a:lnTo>
                    <a:lnTo>
                      <a:pt x="1213" y="1002"/>
                    </a:lnTo>
                    <a:lnTo>
                      <a:pt x="1213" y="1003"/>
                    </a:lnTo>
                    <a:lnTo>
                      <a:pt x="1215" y="1005"/>
                    </a:lnTo>
                    <a:lnTo>
                      <a:pt x="1213" y="1005"/>
                    </a:lnTo>
                    <a:lnTo>
                      <a:pt x="1213" y="1007"/>
                    </a:lnTo>
                    <a:lnTo>
                      <a:pt x="1213" y="1005"/>
                    </a:lnTo>
                    <a:lnTo>
                      <a:pt x="1213" y="1003"/>
                    </a:lnTo>
                    <a:lnTo>
                      <a:pt x="1213" y="1005"/>
                    </a:lnTo>
                    <a:lnTo>
                      <a:pt x="1212" y="1005"/>
                    </a:lnTo>
                    <a:lnTo>
                      <a:pt x="1210" y="1005"/>
                    </a:lnTo>
                    <a:lnTo>
                      <a:pt x="1210" y="1003"/>
                    </a:lnTo>
                    <a:lnTo>
                      <a:pt x="1210" y="1002"/>
                    </a:lnTo>
                    <a:lnTo>
                      <a:pt x="1208" y="1002"/>
                    </a:lnTo>
                    <a:lnTo>
                      <a:pt x="1210" y="1003"/>
                    </a:lnTo>
                    <a:lnTo>
                      <a:pt x="1208" y="1003"/>
                    </a:lnTo>
                    <a:lnTo>
                      <a:pt x="1210" y="1003"/>
                    </a:lnTo>
                    <a:lnTo>
                      <a:pt x="1210" y="1005"/>
                    </a:lnTo>
                    <a:lnTo>
                      <a:pt x="1208" y="1005"/>
                    </a:lnTo>
                    <a:lnTo>
                      <a:pt x="1208" y="1003"/>
                    </a:lnTo>
                    <a:lnTo>
                      <a:pt x="1207" y="1003"/>
                    </a:lnTo>
                    <a:lnTo>
                      <a:pt x="1205" y="1003"/>
                    </a:lnTo>
                    <a:lnTo>
                      <a:pt x="1205" y="1005"/>
                    </a:lnTo>
                    <a:lnTo>
                      <a:pt x="1207" y="1005"/>
                    </a:lnTo>
                    <a:lnTo>
                      <a:pt x="1208" y="1005"/>
                    </a:lnTo>
                    <a:lnTo>
                      <a:pt x="1208" y="1007"/>
                    </a:lnTo>
                    <a:lnTo>
                      <a:pt x="1208" y="1009"/>
                    </a:lnTo>
                    <a:lnTo>
                      <a:pt x="1210" y="1009"/>
                    </a:lnTo>
                    <a:lnTo>
                      <a:pt x="1212" y="1009"/>
                    </a:lnTo>
                    <a:lnTo>
                      <a:pt x="1212" y="1010"/>
                    </a:lnTo>
                    <a:lnTo>
                      <a:pt x="1212" y="1012"/>
                    </a:lnTo>
                    <a:lnTo>
                      <a:pt x="1213" y="1014"/>
                    </a:lnTo>
                    <a:lnTo>
                      <a:pt x="1212" y="1014"/>
                    </a:lnTo>
                    <a:lnTo>
                      <a:pt x="1212" y="1012"/>
                    </a:lnTo>
                    <a:lnTo>
                      <a:pt x="1210" y="1012"/>
                    </a:lnTo>
                    <a:lnTo>
                      <a:pt x="1208" y="1012"/>
                    </a:lnTo>
                    <a:lnTo>
                      <a:pt x="1208" y="1014"/>
                    </a:lnTo>
                    <a:lnTo>
                      <a:pt x="1210" y="1014"/>
                    </a:lnTo>
                    <a:lnTo>
                      <a:pt x="1212" y="1014"/>
                    </a:lnTo>
                    <a:lnTo>
                      <a:pt x="1213" y="1014"/>
                    </a:lnTo>
                    <a:lnTo>
                      <a:pt x="1213" y="1015"/>
                    </a:lnTo>
                    <a:lnTo>
                      <a:pt x="1213" y="1017"/>
                    </a:lnTo>
                    <a:lnTo>
                      <a:pt x="1212" y="1015"/>
                    </a:lnTo>
                    <a:lnTo>
                      <a:pt x="1210" y="1015"/>
                    </a:lnTo>
                    <a:lnTo>
                      <a:pt x="1208" y="1015"/>
                    </a:lnTo>
                    <a:lnTo>
                      <a:pt x="1208" y="1017"/>
                    </a:lnTo>
                    <a:lnTo>
                      <a:pt x="1207" y="1017"/>
                    </a:lnTo>
                    <a:lnTo>
                      <a:pt x="1207" y="1015"/>
                    </a:lnTo>
                    <a:lnTo>
                      <a:pt x="1205" y="1015"/>
                    </a:lnTo>
                    <a:lnTo>
                      <a:pt x="1205" y="1017"/>
                    </a:lnTo>
                    <a:lnTo>
                      <a:pt x="1205" y="1019"/>
                    </a:lnTo>
                    <a:lnTo>
                      <a:pt x="1205" y="1020"/>
                    </a:lnTo>
                    <a:lnTo>
                      <a:pt x="1205" y="1022"/>
                    </a:lnTo>
                    <a:lnTo>
                      <a:pt x="1207" y="1022"/>
                    </a:lnTo>
                    <a:lnTo>
                      <a:pt x="1207" y="1024"/>
                    </a:lnTo>
                    <a:lnTo>
                      <a:pt x="1208" y="1024"/>
                    </a:lnTo>
                    <a:lnTo>
                      <a:pt x="1208" y="1026"/>
                    </a:lnTo>
                    <a:lnTo>
                      <a:pt x="1207" y="1026"/>
                    </a:lnTo>
                    <a:lnTo>
                      <a:pt x="1205" y="1026"/>
                    </a:lnTo>
                    <a:lnTo>
                      <a:pt x="1203" y="1026"/>
                    </a:lnTo>
                    <a:lnTo>
                      <a:pt x="1203" y="1024"/>
                    </a:lnTo>
                    <a:lnTo>
                      <a:pt x="1202" y="1024"/>
                    </a:lnTo>
                    <a:lnTo>
                      <a:pt x="1200" y="1024"/>
                    </a:lnTo>
                    <a:lnTo>
                      <a:pt x="1202" y="1024"/>
                    </a:lnTo>
                    <a:lnTo>
                      <a:pt x="1203" y="1026"/>
                    </a:lnTo>
                    <a:lnTo>
                      <a:pt x="1203" y="1027"/>
                    </a:lnTo>
                    <a:lnTo>
                      <a:pt x="1203" y="1029"/>
                    </a:lnTo>
                    <a:lnTo>
                      <a:pt x="1202" y="1029"/>
                    </a:lnTo>
                    <a:lnTo>
                      <a:pt x="1202" y="1027"/>
                    </a:lnTo>
                    <a:lnTo>
                      <a:pt x="1203" y="1029"/>
                    </a:lnTo>
                    <a:lnTo>
                      <a:pt x="1202" y="1031"/>
                    </a:lnTo>
                    <a:lnTo>
                      <a:pt x="1200" y="1031"/>
                    </a:lnTo>
                    <a:lnTo>
                      <a:pt x="1200" y="1029"/>
                    </a:lnTo>
                    <a:lnTo>
                      <a:pt x="1198" y="1027"/>
                    </a:lnTo>
                    <a:lnTo>
                      <a:pt x="1196" y="1027"/>
                    </a:lnTo>
                    <a:lnTo>
                      <a:pt x="1196" y="1029"/>
                    </a:lnTo>
                    <a:lnTo>
                      <a:pt x="1196" y="1027"/>
                    </a:lnTo>
                    <a:lnTo>
                      <a:pt x="1195" y="1027"/>
                    </a:lnTo>
                    <a:lnTo>
                      <a:pt x="1195" y="1026"/>
                    </a:lnTo>
                    <a:lnTo>
                      <a:pt x="1193" y="1026"/>
                    </a:lnTo>
                    <a:lnTo>
                      <a:pt x="1193" y="1027"/>
                    </a:lnTo>
                    <a:lnTo>
                      <a:pt x="1195" y="1027"/>
                    </a:lnTo>
                    <a:lnTo>
                      <a:pt x="1193" y="1027"/>
                    </a:lnTo>
                    <a:lnTo>
                      <a:pt x="1193" y="1029"/>
                    </a:lnTo>
                    <a:lnTo>
                      <a:pt x="1191" y="1027"/>
                    </a:lnTo>
                    <a:lnTo>
                      <a:pt x="1193" y="1027"/>
                    </a:lnTo>
                    <a:lnTo>
                      <a:pt x="1191" y="1026"/>
                    </a:lnTo>
                    <a:lnTo>
                      <a:pt x="1191" y="1024"/>
                    </a:lnTo>
                    <a:lnTo>
                      <a:pt x="1191" y="1026"/>
                    </a:lnTo>
                    <a:lnTo>
                      <a:pt x="1191" y="1027"/>
                    </a:lnTo>
                    <a:lnTo>
                      <a:pt x="1190" y="1026"/>
                    </a:lnTo>
                    <a:lnTo>
                      <a:pt x="1190" y="1027"/>
                    </a:lnTo>
                    <a:lnTo>
                      <a:pt x="1188" y="1026"/>
                    </a:lnTo>
                    <a:lnTo>
                      <a:pt x="1186" y="1026"/>
                    </a:lnTo>
                    <a:lnTo>
                      <a:pt x="1186" y="1024"/>
                    </a:lnTo>
                    <a:lnTo>
                      <a:pt x="1185" y="1024"/>
                    </a:lnTo>
                    <a:lnTo>
                      <a:pt x="1183" y="1024"/>
                    </a:lnTo>
                    <a:lnTo>
                      <a:pt x="1183" y="1022"/>
                    </a:lnTo>
                    <a:lnTo>
                      <a:pt x="1183" y="1020"/>
                    </a:lnTo>
                    <a:lnTo>
                      <a:pt x="1185" y="1019"/>
                    </a:lnTo>
                    <a:lnTo>
                      <a:pt x="1185" y="1017"/>
                    </a:lnTo>
                    <a:lnTo>
                      <a:pt x="1186" y="1017"/>
                    </a:lnTo>
                    <a:lnTo>
                      <a:pt x="1186" y="1015"/>
                    </a:lnTo>
                    <a:lnTo>
                      <a:pt x="1185" y="1015"/>
                    </a:lnTo>
                    <a:lnTo>
                      <a:pt x="1186" y="1015"/>
                    </a:lnTo>
                    <a:lnTo>
                      <a:pt x="1185" y="1015"/>
                    </a:lnTo>
                    <a:lnTo>
                      <a:pt x="1185" y="1014"/>
                    </a:lnTo>
                    <a:lnTo>
                      <a:pt x="1186" y="1014"/>
                    </a:lnTo>
                    <a:lnTo>
                      <a:pt x="1188" y="1012"/>
                    </a:lnTo>
                    <a:lnTo>
                      <a:pt x="1188" y="1010"/>
                    </a:lnTo>
                    <a:lnTo>
                      <a:pt x="1190" y="1009"/>
                    </a:lnTo>
                    <a:lnTo>
                      <a:pt x="1190" y="1007"/>
                    </a:lnTo>
                    <a:lnTo>
                      <a:pt x="1188" y="1007"/>
                    </a:lnTo>
                    <a:lnTo>
                      <a:pt x="1190" y="1007"/>
                    </a:lnTo>
                    <a:lnTo>
                      <a:pt x="1190" y="1005"/>
                    </a:lnTo>
                    <a:lnTo>
                      <a:pt x="1191" y="1005"/>
                    </a:lnTo>
                    <a:lnTo>
                      <a:pt x="1191" y="1003"/>
                    </a:lnTo>
                    <a:lnTo>
                      <a:pt x="1191" y="1002"/>
                    </a:lnTo>
                    <a:lnTo>
                      <a:pt x="1191" y="1000"/>
                    </a:lnTo>
                    <a:lnTo>
                      <a:pt x="1191" y="998"/>
                    </a:lnTo>
                    <a:lnTo>
                      <a:pt x="1191" y="997"/>
                    </a:lnTo>
                    <a:lnTo>
                      <a:pt x="1191" y="995"/>
                    </a:lnTo>
                    <a:lnTo>
                      <a:pt x="1191" y="993"/>
                    </a:lnTo>
                    <a:lnTo>
                      <a:pt x="1193" y="993"/>
                    </a:lnTo>
                    <a:lnTo>
                      <a:pt x="1191" y="993"/>
                    </a:lnTo>
                    <a:lnTo>
                      <a:pt x="1191" y="992"/>
                    </a:lnTo>
                    <a:lnTo>
                      <a:pt x="1191" y="990"/>
                    </a:lnTo>
                    <a:lnTo>
                      <a:pt x="1190" y="988"/>
                    </a:lnTo>
                    <a:lnTo>
                      <a:pt x="1190" y="986"/>
                    </a:lnTo>
                    <a:lnTo>
                      <a:pt x="1190" y="985"/>
                    </a:lnTo>
                    <a:lnTo>
                      <a:pt x="1190" y="983"/>
                    </a:lnTo>
                    <a:lnTo>
                      <a:pt x="1191" y="983"/>
                    </a:lnTo>
                    <a:lnTo>
                      <a:pt x="1191" y="981"/>
                    </a:lnTo>
                    <a:lnTo>
                      <a:pt x="1191" y="980"/>
                    </a:lnTo>
                    <a:lnTo>
                      <a:pt x="1191" y="978"/>
                    </a:lnTo>
                    <a:lnTo>
                      <a:pt x="1190" y="976"/>
                    </a:lnTo>
                    <a:lnTo>
                      <a:pt x="1191" y="976"/>
                    </a:lnTo>
                    <a:lnTo>
                      <a:pt x="1191" y="975"/>
                    </a:lnTo>
                    <a:lnTo>
                      <a:pt x="1191" y="973"/>
                    </a:lnTo>
                    <a:lnTo>
                      <a:pt x="1193" y="973"/>
                    </a:lnTo>
                    <a:lnTo>
                      <a:pt x="1193" y="971"/>
                    </a:lnTo>
                    <a:lnTo>
                      <a:pt x="1195" y="971"/>
                    </a:lnTo>
                    <a:lnTo>
                      <a:pt x="1195" y="969"/>
                    </a:lnTo>
                    <a:lnTo>
                      <a:pt x="1195" y="968"/>
                    </a:lnTo>
                    <a:lnTo>
                      <a:pt x="1195" y="966"/>
                    </a:lnTo>
                    <a:lnTo>
                      <a:pt x="1195" y="964"/>
                    </a:lnTo>
                    <a:lnTo>
                      <a:pt x="1195" y="963"/>
                    </a:lnTo>
                    <a:lnTo>
                      <a:pt x="1195" y="961"/>
                    </a:lnTo>
                    <a:lnTo>
                      <a:pt x="1196" y="961"/>
                    </a:lnTo>
                    <a:lnTo>
                      <a:pt x="1196" y="959"/>
                    </a:lnTo>
                    <a:lnTo>
                      <a:pt x="1195" y="959"/>
                    </a:lnTo>
                    <a:lnTo>
                      <a:pt x="1195" y="957"/>
                    </a:lnTo>
                    <a:lnTo>
                      <a:pt x="1195" y="956"/>
                    </a:lnTo>
                    <a:lnTo>
                      <a:pt x="1195" y="954"/>
                    </a:lnTo>
                    <a:lnTo>
                      <a:pt x="1196" y="954"/>
                    </a:lnTo>
                    <a:lnTo>
                      <a:pt x="1196" y="956"/>
                    </a:lnTo>
                    <a:lnTo>
                      <a:pt x="1198" y="956"/>
                    </a:lnTo>
                    <a:lnTo>
                      <a:pt x="1200" y="954"/>
                    </a:lnTo>
                    <a:close/>
                    <a:moveTo>
                      <a:pt x="1174" y="1286"/>
                    </a:moveTo>
                    <a:lnTo>
                      <a:pt x="1176" y="1286"/>
                    </a:lnTo>
                    <a:lnTo>
                      <a:pt x="1176" y="1288"/>
                    </a:lnTo>
                    <a:lnTo>
                      <a:pt x="1174" y="1289"/>
                    </a:lnTo>
                    <a:lnTo>
                      <a:pt x="1176" y="1289"/>
                    </a:lnTo>
                    <a:lnTo>
                      <a:pt x="1176" y="1288"/>
                    </a:lnTo>
                    <a:lnTo>
                      <a:pt x="1178" y="1289"/>
                    </a:lnTo>
                    <a:lnTo>
                      <a:pt x="1176" y="1289"/>
                    </a:lnTo>
                    <a:lnTo>
                      <a:pt x="1176" y="1291"/>
                    </a:lnTo>
                    <a:lnTo>
                      <a:pt x="1176" y="1293"/>
                    </a:lnTo>
                    <a:lnTo>
                      <a:pt x="1178" y="1293"/>
                    </a:lnTo>
                    <a:lnTo>
                      <a:pt x="1176" y="1294"/>
                    </a:lnTo>
                    <a:lnTo>
                      <a:pt x="1174" y="1296"/>
                    </a:lnTo>
                    <a:lnTo>
                      <a:pt x="1176" y="1296"/>
                    </a:lnTo>
                    <a:lnTo>
                      <a:pt x="1176" y="1294"/>
                    </a:lnTo>
                    <a:lnTo>
                      <a:pt x="1178" y="1294"/>
                    </a:lnTo>
                    <a:lnTo>
                      <a:pt x="1178" y="1293"/>
                    </a:lnTo>
                    <a:lnTo>
                      <a:pt x="1178" y="1291"/>
                    </a:lnTo>
                    <a:lnTo>
                      <a:pt x="1178" y="1289"/>
                    </a:lnTo>
                    <a:lnTo>
                      <a:pt x="1178" y="1288"/>
                    </a:lnTo>
                    <a:lnTo>
                      <a:pt x="1179" y="1288"/>
                    </a:lnTo>
                    <a:lnTo>
                      <a:pt x="1181" y="1288"/>
                    </a:lnTo>
                    <a:lnTo>
                      <a:pt x="1181" y="1289"/>
                    </a:lnTo>
                    <a:lnTo>
                      <a:pt x="1181" y="1291"/>
                    </a:lnTo>
                    <a:lnTo>
                      <a:pt x="1181" y="1293"/>
                    </a:lnTo>
                    <a:lnTo>
                      <a:pt x="1181" y="1294"/>
                    </a:lnTo>
                    <a:lnTo>
                      <a:pt x="1181" y="1296"/>
                    </a:lnTo>
                    <a:lnTo>
                      <a:pt x="1179" y="1296"/>
                    </a:lnTo>
                    <a:lnTo>
                      <a:pt x="1179" y="1298"/>
                    </a:lnTo>
                    <a:lnTo>
                      <a:pt x="1178" y="1298"/>
                    </a:lnTo>
                    <a:lnTo>
                      <a:pt x="1178" y="1299"/>
                    </a:lnTo>
                    <a:lnTo>
                      <a:pt x="1176" y="1299"/>
                    </a:lnTo>
                    <a:lnTo>
                      <a:pt x="1178" y="1299"/>
                    </a:lnTo>
                    <a:lnTo>
                      <a:pt x="1178" y="1298"/>
                    </a:lnTo>
                    <a:lnTo>
                      <a:pt x="1179" y="1298"/>
                    </a:lnTo>
                    <a:lnTo>
                      <a:pt x="1179" y="1296"/>
                    </a:lnTo>
                    <a:lnTo>
                      <a:pt x="1181" y="1296"/>
                    </a:lnTo>
                    <a:lnTo>
                      <a:pt x="1181" y="1298"/>
                    </a:lnTo>
                    <a:lnTo>
                      <a:pt x="1181" y="1299"/>
                    </a:lnTo>
                    <a:lnTo>
                      <a:pt x="1183" y="1299"/>
                    </a:lnTo>
                    <a:lnTo>
                      <a:pt x="1183" y="1301"/>
                    </a:lnTo>
                    <a:lnTo>
                      <a:pt x="1181" y="1301"/>
                    </a:lnTo>
                    <a:lnTo>
                      <a:pt x="1181" y="1303"/>
                    </a:lnTo>
                    <a:lnTo>
                      <a:pt x="1179" y="1303"/>
                    </a:lnTo>
                    <a:lnTo>
                      <a:pt x="1181" y="1303"/>
                    </a:lnTo>
                    <a:lnTo>
                      <a:pt x="1181" y="1305"/>
                    </a:lnTo>
                    <a:lnTo>
                      <a:pt x="1181" y="1306"/>
                    </a:lnTo>
                    <a:lnTo>
                      <a:pt x="1183" y="1308"/>
                    </a:lnTo>
                    <a:lnTo>
                      <a:pt x="1183" y="1310"/>
                    </a:lnTo>
                    <a:lnTo>
                      <a:pt x="1183" y="1308"/>
                    </a:lnTo>
                    <a:lnTo>
                      <a:pt x="1181" y="1310"/>
                    </a:lnTo>
                    <a:lnTo>
                      <a:pt x="1183" y="1311"/>
                    </a:lnTo>
                    <a:lnTo>
                      <a:pt x="1183" y="1313"/>
                    </a:lnTo>
                    <a:lnTo>
                      <a:pt x="1183" y="1315"/>
                    </a:lnTo>
                    <a:lnTo>
                      <a:pt x="1183" y="1316"/>
                    </a:lnTo>
                    <a:lnTo>
                      <a:pt x="1183" y="1318"/>
                    </a:lnTo>
                    <a:lnTo>
                      <a:pt x="1183" y="1320"/>
                    </a:lnTo>
                    <a:lnTo>
                      <a:pt x="1181" y="1320"/>
                    </a:lnTo>
                    <a:lnTo>
                      <a:pt x="1181" y="1322"/>
                    </a:lnTo>
                    <a:lnTo>
                      <a:pt x="1183" y="1322"/>
                    </a:lnTo>
                    <a:lnTo>
                      <a:pt x="1183" y="1323"/>
                    </a:lnTo>
                    <a:lnTo>
                      <a:pt x="1181" y="1323"/>
                    </a:lnTo>
                    <a:lnTo>
                      <a:pt x="1181" y="1325"/>
                    </a:lnTo>
                    <a:lnTo>
                      <a:pt x="1181" y="1327"/>
                    </a:lnTo>
                    <a:lnTo>
                      <a:pt x="1181" y="1328"/>
                    </a:lnTo>
                    <a:lnTo>
                      <a:pt x="1179" y="1328"/>
                    </a:lnTo>
                    <a:lnTo>
                      <a:pt x="1178" y="1328"/>
                    </a:lnTo>
                    <a:lnTo>
                      <a:pt x="1179" y="1328"/>
                    </a:lnTo>
                    <a:lnTo>
                      <a:pt x="1179" y="1330"/>
                    </a:lnTo>
                    <a:lnTo>
                      <a:pt x="1179" y="1328"/>
                    </a:lnTo>
                    <a:lnTo>
                      <a:pt x="1179" y="1330"/>
                    </a:lnTo>
                    <a:lnTo>
                      <a:pt x="1181" y="1332"/>
                    </a:lnTo>
                    <a:lnTo>
                      <a:pt x="1181" y="1333"/>
                    </a:lnTo>
                    <a:lnTo>
                      <a:pt x="1179" y="1335"/>
                    </a:lnTo>
                    <a:lnTo>
                      <a:pt x="1179" y="1333"/>
                    </a:lnTo>
                    <a:lnTo>
                      <a:pt x="1178" y="1335"/>
                    </a:lnTo>
                    <a:lnTo>
                      <a:pt x="1178" y="1337"/>
                    </a:lnTo>
                    <a:lnTo>
                      <a:pt x="1179" y="1337"/>
                    </a:lnTo>
                    <a:lnTo>
                      <a:pt x="1178" y="1339"/>
                    </a:lnTo>
                    <a:lnTo>
                      <a:pt x="1176" y="1337"/>
                    </a:lnTo>
                    <a:lnTo>
                      <a:pt x="1178" y="1339"/>
                    </a:lnTo>
                    <a:lnTo>
                      <a:pt x="1179" y="1339"/>
                    </a:lnTo>
                    <a:lnTo>
                      <a:pt x="1179" y="1337"/>
                    </a:lnTo>
                    <a:lnTo>
                      <a:pt x="1179" y="1335"/>
                    </a:lnTo>
                    <a:lnTo>
                      <a:pt x="1181" y="1335"/>
                    </a:lnTo>
                    <a:lnTo>
                      <a:pt x="1183" y="1337"/>
                    </a:lnTo>
                    <a:lnTo>
                      <a:pt x="1183" y="1339"/>
                    </a:lnTo>
                    <a:lnTo>
                      <a:pt x="1183" y="1340"/>
                    </a:lnTo>
                    <a:lnTo>
                      <a:pt x="1183" y="1342"/>
                    </a:lnTo>
                    <a:lnTo>
                      <a:pt x="1181" y="1342"/>
                    </a:lnTo>
                    <a:lnTo>
                      <a:pt x="1181" y="1340"/>
                    </a:lnTo>
                    <a:lnTo>
                      <a:pt x="1179" y="1340"/>
                    </a:lnTo>
                    <a:lnTo>
                      <a:pt x="1179" y="1342"/>
                    </a:lnTo>
                    <a:lnTo>
                      <a:pt x="1181" y="1342"/>
                    </a:lnTo>
                    <a:lnTo>
                      <a:pt x="1181" y="1344"/>
                    </a:lnTo>
                    <a:lnTo>
                      <a:pt x="1183" y="1344"/>
                    </a:lnTo>
                    <a:lnTo>
                      <a:pt x="1183" y="1345"/>
                    </a:lnTo>
                    <a:lnTo>
                      <a:pt x="1183" y="1347"/>
                    </a:lnTo>
                    <a:lnTo>
                      <a:pt x="1183" y="1349"/>
                    </a:lnTo>
                    <a:lnTo>
                      <a:pt x="1181" y="1350"/>
                    </a:lnTo>
                    <a:lnTo>
                      <a:pt x="1181" y="1349"/>
                    </a:lnTo>
                    <a:lnTo>
                      <a:pt x="1181" y="1347"/>
                    </a:lnTo>
                    <a:lnTo>
                      <a:pt x="1179" y="1347"/>
                    </a:lnTo>
                    <a:lnTo>
                      <a:pt x="1181" y="1347"/>
                    </a:lnTo>
                    <a:lnTo>
                      <a:pt x="1181" y="1349"/>
                    </a:lnTo>
                    <a:lnTo>
                      <a:pt x="1181" y="1350"/>
                    </a:lnTo>
                    <a:lnTo>
                      <a:pt x="1181" y="1352"/>
                    </a:lnTo>
                    <a:lnTo>
                      <a:pt x="1179" y="1352"/>
                    </a:lnTo>
                    <a:lnTo>
                      <a:pt x="1181" y="1352"/>
                    </a:lnTo>
                    <a:lnTo>
                      <a:pt x="1179" y="1354"/>
                    </a:lnTo>
                    <a:lnTo>
                      <a:pt x="1178" y="1352"/>
                    </a:lnTo>
                    <a:lnTo>
                      <a:pt x="1178" y="1350"/>
                    </a:lnTo>
                    <a:lnTo>
                      <a:pt x="1176" y="1350"/>
                    </a:lnTo>
                    <a:lnTo>
                      <a:pt x="1176" y="1349"/>
                    </a:lnTo>
                    <a:lnTo>
                      <a:pt x="1176" y="1347"/>
                    </a:lnTo>
                    <a:lnTo>
                      <a:pt x="1174" y="1349"/>
                    </a:lnTo>
                    <a:lnTo>
                      <a:pt x="1176" y="1349"/>
                    </a:lnTo>
                    <a:lnTo>
                      <a:pt x="1176" y="1350"/>
                    </a:lnTo>
                    <a:lnTo>
                      <a:pt x="1178" y="1352"/>
                    </a:lnTo>
                    <a:lnTo>
                      <a:pt x="1179" y="1354"/>
                    </a:lnTo>
                    <a:lnTo>
                      <a:pt x="1178" y="1354"/>
                    </a:lnTo>
                    <a:lnTo>
                      <a:pt x="1178" y="1356"/>
                    </a:lnTo>
                    <a:lnTo>
                      <a:pt x="1176" y="1356"/>
                    </a:lnTo>
                    <a:lnTo>
                      <a:pt x="1176" y="1357"/>
                    </a:lnTo>
                    <a:lnTo>
                      <a:pt x="1174" y="1357"/>
                    </a:lnTo>
                    <a:lnTo>
                      <a:pt x="1174" y="1356"/>
                    </a:lnTo>
                    <a:lnTo>
                      <a:pt x="1174" y="1357"/>
                    </a:lnTo>
                    <a:lnTo>
                      <a:pt x="1173" y="1357"/>
                    </a:lnTo>
                    <a:lnTo>
                      <a:pt x="1173" y="1356"/>
                    </a:lnTo>
                    <a:lnTo>
                      <a:pt x="1174" y="1356"/>
                    </a:lnTo>
                    <a:lnTo>
                      <a:pt x="1174" y="1354"/>
                    </a:lnTo>
                    <a:lnTo>
                      <a:pt x="1174" y="1356"/>
                    </a:lnTo>
                    <a:lnTo>
                      <a:pt x="1173" y="1356"/>
                    </a:lnTo>
                    <a:lnTo>
                      <a:pt x="1173" y="1357"/>
                    </a:lnTo>
                    <a:lnTo>
                      <a:pt x="1173" y="1356"/>
                    </a:lnTo>
                    <a:lnTo>
                      <a:pt x="1173" y="1357"/>
                    </a:lnTo>
                    <a:lnTo>
                      <a:pt x="1171" y="1357"/>
                    </a:lnTo>
                    <a:lnTo>
                      <a:pt x="1169" y="1357"/>
                    </a:lnTo>
                    <a:lnTo>
                      <a:pt x="1168" y="1357"/>
                    </a:lnTo>
                    <a:lnTo>
                      <a:pt x="1169" y="1356"/>
                    </a:lnTo>
                    <a:lnTo>
                      <a:pt x="1168" y="1357"/>
                    </a:lnTo>
                    <a:lnTo>
                      <a:pt x="1168" y="1356"/>
                    </a:lnTo>
                    <a:lnTo>
                      <a:pt x="1166" y="1354"/>
                    </a:lnTo>
                    <a:lnTo>
                      <a:pt x="1168" y="1354"/>
                    </a:lnTo>
                    <a:lnTo>
                      <a:pt x="1168" y="1352"/>
                    </a:lnTo>
                    <a:lnTo>
                      <a:pt x="1169" y="1352"/>
                    </a:lnTo>
                    <a:lnTo>
                      <a:pt x="1171" y="1350"/>
                    </a:lnTo>
                    <a:lnTo>
                      <a:pt x="1173" y="1350"/>
                    </a:lnTo>
                    <a:lnTo>
                      <a:pt x="1174" y="1350"/>
                    </a:lnTo>
                    <a:lnTo>
                      <a:pt x="1174" y="1352"/>
                    </a:lnTo>
                    <a:lnTo>
                      <a:pt x="1176" y="1352"/>
                    </a:lnTo>
                    <a:lnTo>
                      <a:pt x="1174" y="1350"/>
                    </a:lnTo>
                    <a:lnTo>
                      <a:pt x="1173" y="1350"/>
                    </a:lnTo>
                    <a:lnTo>
                      <a:pt x="1173" y="1349"/>
                    </a:lnTo>
                    <a:lnTo>
                      <a:pt x="1171" y="1350"/>
                    </a:lnTo>
                    <a:lnTo>
                      <a:pt x="1169" y="1350"/>
                    </a:lnTo>
                    <a:lnTo>
                      <a:pt x="1168" y="1352"/>
                    </a:lnTo>
                    <a:lnTo>
                      <a:pt x="1166" y="1354"/>
                    </a:lnTo>
                    <a:lnTo>
                      <a:pt x="1168" y="1352"/>
                    </a:lnTo>
                    <a:lnTo>
                      <a:pt x="1166" y="1352"/>
                    </a:lnTo>
                    <a:lnTo>
                      <a:pt x="1166" y="1350"/>
                    </a:lnTo>
                    <a:lnTo>
                      <a:pt x="1166" y="1349"/>
                    </a:lnTo>
                    <a:lnTo>
                      <a:pt x="1168" y="1349"/>
                    </a:lnTo>
                    <a:lnTo>
                      <a:pt x="1166" y="1347"/>
                    </a:lnTo>
                    <a:lnTo>
                      <a:pt x="1168" y="1347"/>
                    </a:lnTo>
                    <a:lnTo>
                      <a:pt x="1166" y="1345"/>
                    </a:lnTo>
                    <a:lnTo>
                      <a:pt x="1168" y="1345"/>
                    </a:lnTo>
                    <a:lnTo>
                      <a:pt x="1168" y="1347"/>
                    </a:lnTo>
                    <a:lnTo>
                      <a:pt x="1169" y="1347"/>
                    </a:lnTo>
                    <a:lnTo>
                      <a:pt x="1169" y="1349"/>
                    </a:lnTo>
                    <a:lnTo>
                      <a:pt x="1171" y="1347"/>
                    </a:lnTo>
                    <a:lnTo>
                      <a:pt x="1173" y="1347"/>
                    </a:lnTo>
                    <a:lnTo>
                      <a:pt x="1173" y="1345"/>
                    </a:lnTo>
                    <a:lnTo>
                      <a:pt x="1174" y="1345"/>
                    </a:lnTo>
                    <a:lnTo>
                      <a:pt x="1176" y="1344"/>
                    </a:lnTo>
                    <a:lnTo>
                      <a:pt x="1174" y="1345"/>
                    </a:lnTo>
                    <a:lnTo>
                      <a:pt x="1173" y="1345"/>
                    </a:lnTo>
                    <a:lnTo>
                      <a:pt x="1171" y="1347"/>
                    </a:lnTo>
                    <a:lnTo>
                      <a:pt x="1169" y="1347"/>
                    </a:lnTo>
                    <a:lnTo>
                      <a:pt x="1168" y="1345"/>
                    </a:lnTo>
                    <a:lnTo>
                      <a:pt x="1169" y="1345"/>
                    </a:lnTo>
                    <a:lnTo>
                      <a:pt x="1169" y="1344"/>
                    </a:lnTo>
                    <a:lnTo>
                      <a:pt x="1169" y="1342"/>
                    </a:lnTo>
                    <a:lnTo>
                      <a:pt x="1171" y="1342"/>
                    </a:lnTo>
                    <a:lnTo>
                      <a:pt x="1173" y="1342"/>
                    </a:lnTo>
                    <a:lnTo>
                      <a:pt x="1171" y="1342"/>
                    </a:lnTo>
                    <a:lnTo>
                      <a:pt x="1171" y="1340"/>
                    </a:lnTo>
                    <a:lnTo>
                      <a:pt x="1173" y="1340"/>
                    </a:lnTo>
                    <a:lnTo>
                      <a:pt x="1171" y="1340"/>
                    </a:lnTo>
                    <a:lnTo>
                      <a:pt x="1171" y="1342"/>
                    </a:lnTo>
                    <a:lnTo>
                      <a:pt x="1169" y="1342"/>
                    </a:lnTo>
                    <a:lnTo>
                      <a:pt x="1169" y="1344"/>
                    </a:lnTo>
                    <a:lnTo>
                      <a:pt x="1168" y="1345"/>
                    </a:lnTo>
                    <a:lnTo>
                      <a:pt x="1168" y="1344"/>
                    </a:lnTo>
                    <a:lnTo>
                      <a:pt x="1166" y="1344"/>
                    </a:lnTo>
                    <a:lnTo>
                      <a:pt x="1166" y="1342"/>
                    </a:lnTo>
                    <a:lnTo>
                      <a:pt x="1166" y="1340"/>
                    </a:lnTo>
                    <a:lnTo>
                      <a:pt x="1168" y="1340"/>
                    </a:lnTo>
                    <a:lnTo>
                      <a:pt x="1166" y="1339"/>
                    </a:lnTo>
                    <a:lnTo>
                      <a:pt x="1166" y="1337"/>
                    </a:lnTo>
                    <a:lnTo>
                      <a:pt x="1168" y="1337"/>
                    </a:lnTo>
                    <a:lnTo>
                      <a:pt x="1166" y="1335"/>
                    </a:lnTo>
                    <a:lnTo>
                      <a:pt x="1166" y="1333"/>
                    </a:lnTo>
                    <a:lnTo>
                      <a:pt x="1168" y="1333"/>
                    </a:lnTo>
                    <a:lnTo>
                      <a:pt x="1169" y="1333"/>
                    </a:lnTo>
                    <a:lnTo>
                      <a:pt x="1169" y="1335"/>
                    </a:lnTo>
                    <a:lnTo>
                      <a:pt x="1171" y="1335"/>
                    </a:lnTo>
                    <a:lnTo>
                      <a:pt x="1173" y="1335"/>
                    </a:lnTo>
                    <a:lnTo>
                      <a:pt x="1171" y="1335"/>
                    </a:lnTo>
                    <a:lnTo>
                      <a:pt x="1171" y="1333"/>
                    </a:lnTo>
                    <a:lnTo>
                      <a:pt x="1171" y="1332"/>
                    </a:lnTo>
                    <a:lnTo>
                      <a:pt x="1173" y="1332"/>
                    </a:lnTo>
                    <a:lnTo>
                      <a:pt x="1171" y="1330"/>
                    </a:lnTo>
                    <a:lnTo>
                      <a:pt x="1171" y="1332"/>
                    </a:lnTo>
                    <a:lnTo>
                      <a:pt x="1171" y="1333"/>
                    </a:lnTo>
                    <a:lnTo>
                      <a:pt x="1169" y="1333"/>
                    </a:lnTo>
                    <a:lnTo>
                      <a:pt x="1168" y="1333"/>
                    </a:lnTo>
                    <a:lnTo>
                      <a:pt x="1168" y="1332"/>
                    </a:lnTo>
                    <a:lnTo>
                      <a:pt x="1166" y="1332"/>
                    </a:lnTo>
                    <a:lnTo>
                      <a:pt x="1168" y="1332"/>
                    </a:lnTo>
                    <a:lnTo>
                      <a:pt x="1168" y="1330"/>
                    </a:lnTo>
                    <a:lnTo>
                      <a:pt x="1168" y="1328"/>
                    </a:lnTo>
                    <a:lnTo>
                      <a:pt x="1169" y="1328"/>
                    </a:lnTo>
                    <a:lnTo>
                      <a:pt x="1171" y="1327"/>
                    </a:lnTo>
                    <a:lnTo>
                      <a:pt x="1173" y="1325"/>
                    </a:lnTo>
                    <a:lnTo>
                      <a:pt x="1174" y="1325"/>
                    </a:lnTo>
                    <a:lnTo>
                      <a:pt x="1176" y="1325"/>
                    </a:lnTo>
                    <a:lnTo>
                      <a:pt x="1174" y="1323"/>
                    </a:lnTo>
                    <a:lnTo>
                      <a:pt x="1173" y="1325"/>
                    </a:lnTo>
                    <a:lnTo>
                      <a:pt x="1173" y="1323"/>
                    </a:lnTo>
                    <a:lnTo>
                      <a:pt x="1173" y="1322"/>
                    </a:lnTo>
                    <a:lnTo>
                      <a:pt x="1174" y="1322"/>
                    </a:lnTo>
                    <a:lnTo>
                      <a:pt x="1176" y="1320"/>
                    </a:lnTo>
                    <a:lnTo>
                      <a:pt x="1176" y="1318"/>
                    </a:lnTo>
                    <a:lnTo>
                      <a:pt x="1176" y="1320"/>
                    </a:lnTo>
                    <a:lnTo>
                      <a:pt x="1174" y="1320"/>
                    </a:lnTo>
                    <a:lnTo>
                      <a:pt x="1174" y="1322"/>
                    </a:lnTo>
                    <a:lnTo>
                      <a:pt x="1173" y="1322"/>
                    </a:lnTo>
                    <a:lnTo>
                      <a:pt x="1173" y="1323"/>
                    </a:lnTo>
                    <a:lnTo>
                      <a:pt x="1173" y="1322"/>
                    </a:lnTo>
                    <a:lnTo>
                      <a:pt x="1171" y="1322"/>
                    </a:lnTo>
                    <a:lnTo>
                      <a:pt x="1169" y="1320"/>
                    </a:lnTo>
                    <a:lnTo>
                      <a:pt x="1171" y="1322"/>
                    </a:lnTo>
                    <a:lnTo>
                      <a:pt x="1171" y="1323"/>
                    </a:lnTo>
                    <a:lnTo>
                      <a:pt x="1173" y="1323"/>
                    </a:lnTo>
                    <a:lnTo>
                      <a:pt x="1171" y="1325"/>
                    </a:lnTo>
                    <a:lnTo>
                      <a:pt x="1169" y="1327"/>
                    </a:lnTo>
                    <a:lnTo>
                      <a:pt x="1168" y="1327"/>
                    </a:lnTo>
                    <a:lnTo>
                      <a:pt x="1168" y="1328"/>
                    </a:lnTo>
                    <a:lnTo>
                      <a:pt x="1168" y="1327"/>
                    </a:lnTo>
                    <a:lnTo>
                      <a:pt x="1168" y="1325"/>
                    </a:lnTo>
                    <a:lnTo>
                      <a:pt x="1168" y="1323"/>
                    </a:lnTo>
                    <a:lnTo>
                      <a:pt x="1168" y="1325"/>
                    </a:lnTo>
                    <a:lnTo>
                      <a:pt x="1168" y="1327"/>
                    </a:lnTo>
                    <a:lnTo>
                      <a:pt x="1168" y="1328"/>
                    </a:lnTo>
                    <a:lnTo>
                      <a:pt x="1166" y="1330"/>
                    </a:lnTo>
                    <a:lnTo>
                      <a:pt x="1164" y="1330"/>
                    </a:lnTo>
                    <a:lnTo>
                      <a:pt x="1164" y="1328"/>
                    </a:lnTo>
                    <a:lnTo>
                      <a:pt x="1166" y="1327"/>
                    </a:lnTo>
                    <a:lnTo>
                      <a:pt x="1164" y="1327"/>
                    </a:lnTo>
                    <a:lnTo>
                      <a:pt x="1164" y="1325"/>
                    </a:lnTo>
                    <a:lnTo>
                      <a:pt x="1164" y="1327"/>
                    </a:lnTo>
                    <a:lnTo>
                      <a:pt x="1164" y="1328"/>
                    </a:lnTo>
                    <a:lnTo>
                      <a:pt x="1162" y="1327"/>
                    </a:lnTo>
                    <a:lnTo>
                      <a:pt x="1162" y="1328"/>
                    </a:lnTo>
                    <a:lnTo>
                      <a:pt x="1164" y="1328"/>
                    </a:lnTo>
                    <a:lnTo>
                      <a:pt x="1164" y="1330"/>
                    </a:lnTo>
                    <a:lnTo>
                      <a:pt x="1162" y="1330"/>
                    </a:lnTo>
                    <a:lnTo>
                      <a:pt x="1162" y="1328"/>
                    </a:lnTo>
                    <a:lnTo>
                      <a:pt x="1162" y="1330"/>
                    </a:lnTo>
                    <a:lnTo>
                      <a:pt x="1164" y="1332"/>
                    </a:lnTo>
                    <a:lnTo>
                      <a:pt x="1162" y="1332"/>
                    </a:lnTo>
                    <a:lnTo>
                      <a:pt x="1164" y="1332"/>
                    </a:lnTo>
                    <a:lnTo>
                      <a:pt x="1164" y="1333"/>
                    </a:lnTo>
                    <a:lnTo>
                      <a:pt x="1162" y="1333"/>
                    </a:lnTo>
                    <a:lnTo>
                      <a:pt x="1162" y="1332"/>
                    </a:lnTo>
                    <a:lnTo>
                      <a:pt x="1161" y="1332"/>
                    </a:lnTo>
                    <a:lnTo>
                      <a:pt x="1161" y="1330"/>
                    </a:lnTo>
                    <a:lnTo>
                      <a:pt x="1159" y="1330"/>
                    </a:lnTo>
                    <a:lnTo>
                      <a:pt x="1161" y="1332"/>
                    </a:lnTo>
                    <a:lnTo>
                      <a:pt x="1162" y="1333"/>
                    </a:lnTo>
                    <a:lnTo>
                      <a:pt x="1164" y="1333"/>
                    </a:lnTo>
                    <a:lnTo>
                      <a:pt x="1162" y="1335"/>
                    </a:lnTo>
                    <a:lnTo>
                      <a:pt x="1162" y="1337"/>
                    </a:lnTo>
                    <a:lnTo>
                      <a:pt x="1162" y="1339"/>
                    </a:lnTo>
                    <a:lnTo>
                      <a:pt x="1162" y="1337"/>
                    </a:lnTo>
                    <a:lnTo>
                      <a:pt x="1164" y="1337"/>
                    </a:lnTo>
                    <a:lnTo>
                      <a:pt x="1164" y="1335"/>
                    </a:lnTo>
                    <a:lnTo>
                      <a:pt x="1164" y="1333"/>
                    </a:lnTo>
                    <a:lnTo>
                      <a:pt x="1164" y="1335"/>
                    </a:lnTo>
                    <a:lnTo>
                      <a:pt x="1166" y="1335"/>
                    </a:lnTo>
                    <a:lnTo>
                      <a:pt x="1164" y="1335"/>
                    </a:lnTo>
                    <a:lnTo>
                      <a:pt x="1164" y="1337"/>
                    </a:lnTo>
                    <a:lnTo>
                      <a:pt x="1164" y="1339"/>
                    </a:lnTo>
                    <a:lnTo>
                      <a:pt x="1162" y="1340"/>
                    </a:lnTo>
                    <a:lnTo>
                      <a:pt x="1162" y="1339"/>
                    </a:lnTo>
                    <a:lnTo>
                      <a:pt x="1162" y="1340"/>
                    </a:lnTo>
                    <a:lnTo>
                      <a:pt x="1162" y="1342"/>
                    </a:lnTo>
                    <a:lnTo>
                      <a:pt x="1162" y="1344"/>
                    </a:lnTo>
                    <a:lnTo>
                      <a:pt x="1162" y="1342"/>
                    </a:lnTo>
                    <a:lnTo>
                      <a:pt x="1162" y="1340"/>
                    </a:lnTo>
                    <a:lnTo>
                      <a:pt x="1164" y="1340"/>
                    </a:lnTo>
                    <a:lnTo>
                      <a:pt x="1164" y="1339"/>
                    </a:lnTo>
                    <a:lnTo>
                      <a:pt x="1164" y="1340"/>
                    </a:lnTo>
                    <a:lnTo>
                      <a:pt x="1164" y="1342"/>
                    </a:lnTo>
                    <a:lnTo>
                      <a:pt x="1164" y="1340"/>
                    </a:lnTo>
                    <a:lnTo>
                      <a:pt x="1166" y="1342"/>
                    </a:lnTo>
                    <a:lnTo>
                      <a:pt x="1166" y="1344"/>
                    </a:lnTo>
                    <a:lnTo>
                      <a:pt x="1164" y="1344"/>
                    </a:lnTo>
                    <a:lnTo>
                      <a:pt x="1166" y="1344"/>
                    </a:lnTo>
                    <a:lnTo>
                      <a:pt x="1164" y="1344"/>
                    </a:lnTo>
                    <a:lnTo>
                      <a:pt x="1164" y="1345"/>
                    </a:lnTo>
                    <a:lnTo>
                      <a:pt x="1164" y="1344"/>
                    </a:lnTo>
                    <a:lnTo>
                      <a:pt x="1164" y="1345"/>
                    </a:lnTo>
                    <a:lnTo>
                      <a:pt x="1164" y="1347"/>
                    </a:lnTo>
                    <a:lnTo>
                      <a:pt x="1162" y="1347"/>
                    </a:lnTo>
                    <a:lnTo>
                      <a:pt x="1164" y="1347"/>
                    </a:lnTo>
                    <a:lnTo>
                      <a:pt x="1162" y="1349"/>
                    </a:lnTo>
                    <a:lnTo>
                      <a:pt x="1161" y="1349"/>
                    </a:lnTo>
                    <a:lnTo>
                      <a:pt x="1161" y="1347"/>
                    </a:lnTo>
                    <a:lnTo>
                      <a:pt x="1161" y="1345"/>
                    </a:lnTo>
                    <a:lnTo>
                      <a:pt x="1161" y="1347"/>
                    </a:lnTo>
                    <a:lnTo>
                      <a:pt x="1159" y="1347"/>
                    </a:lnTo>
                    <a:lnTo>
                      <a:pt x="1157" y="1345"/>
                    </a:lnTo>
                    <a:lnTo>
                      <a:pt x="1157" y="1344"/>
                    </a:lnTo>
                    <a:lnTo>
                      <a:pt x="1157" y="1342"/>
                    </a:lnTo>
                    <a:lnTo>
                      <a:pt x="1159" y="1342"/>
                    </a:lnTo>
                    <a:lnTo>
                      <a:pt x="1157" y="1342"/>
                    </a:lnTo>
                    <a:lnTo>
                      <a:pt x="1156" y="1342"/>
                    </a:lnTo>
                    <a:lnTo>
                      <a:pt x="1156" y="1340"/>
                    </a:lnTo>
                    <a:lnTo>
                      <a:pt x="1156" y="1339"/>
                    </a:lnTo>
                    <a:lnTo>
                      <a:pt x="1154" y="1339"/>
                    </a:lnTo>
                    <a:lnTo>
                      <a:pt x="1156" y="1339"/>
                    </a:lnTo>
                    <a:lnTo>
                      <a:pt x="1157" y="1337"/>
                    </a:lnTo>
                    <a:lnTo>
                      <a:pt x="1156" y="1337"/>
                    </a:lnTo>
                    <a:lnTo>
                      <a:pt x="1154" y="1337"/>
                    </a:lnTo>
                    <a:lnTo>
                      <a:pt x="1156" y="1337"/>
                    </a:lnTo>
                    <a:lnTo>
                      <a:pt x="1154" y="1337"/>
                    </a:lnTo>
                    <a:lnTo>
                      <a:pt x="1154" y="1335"/>
                    </a:lnTo>
                    <a:lnTo>
                      <a:pt x="1156" y="1337"/>
                    </a:lnTo>
                    <a:lnTo>
                      <a:pt x="1157" y="1337"/>
                    </a:lnTo>
                    <a:lnTo>
                      <a:pt x="1157" y="1335"/>
                    </a:lnTo>
                    <a:lnTo>
                      <a:pt x="1157" y="1337"/>
                    </a:lnTo>
                    <a:lnTo>
                      <a:pt x="1156" y="1337"/>
                    </a:lnTo>
                    <a:lnTo>
                      <a:pt x="1156" y="1335"/>
                    </a:lnTo>
                    <a:lnTo>
                      <a:pt x="1154" y="1335"/>
                    </a:lnTo>
                    <a:lnTo>
                      <a:pt x="1156" y="1335"/>
                    </a:lnTo>
                    <a:lnTo>
                      <a:pt x="1156" y="1333"/>
                    </a:lnTo>
                    <a:lnTo>
                      <a:pt x="1157" y="1333"/>
                    </a:lnTo>
                    <a:lnTo>
                      <a:pt x="1157" y="1332"/>
                    </a:lnTo>
                    <a:lnTo>
                      <a:pt x="1157" y="1333"/>
                    </a:lnTo>
                    <a:lnTo>
                      <a:pt x="1156" y="1333"/>
                    </a:lnTo>
                    <a:lnTo>
                      <a:pt x="1156" y="1335"/>
                    </a:lnTo>
                    <a:lnTo>
                      <a:pt x="1154" y="1335"/>
                    </a:lnTo>
                    <a:lnTo>
                      <a:pt x="1152" y="1335"/>
                    </a:lnTo>
                    <a:lnTo>
                      <a:pt x="1152" y="1333"/>
                    </a:lnTo>
                    <a:lnTo>
                      <a:pt x="1154" y="1333"/>
                    </a:lnTo>
                    <a:lnTo>
                      <a:pt x="1154" y="1332"/>
                    </a:lnTo>
                    <a:lnTo>
                      <a:pt x="1156" y="1332"/>
                    </a:lnTo>
                    <a:lnTo>
                      <a:pt x="1157" y="1332"/>
                    </a:lnTo>
                    <a:lnTo>
                      <a:pt x="1156" y="1332"/>
                    </a:lnTo>
                    <a:lnTo>
                      <a:pt x="1156" y="1330"/>
                    </a:lnTo>
                    <a:lnTo>
                      <a:pt x="1157" y="1330"/>
                    </a:lnTo>
                    <a:lnTo>
                      <a:pt x="1157" y="1328"/>
                    </a:lnTo>
                    <a:lnTo>
                      <a:pt x="1157" y="1330"/>
                    </a:lnTo>
                    <a:lnTo>
                      <a:pt x="1157" y="1328"/>
                    </a:lnTo>
                    <a:lnTo>
                      <a:pt x="1156" y="1330"/>
                    </a:lnTo>
                    <a:lnTo>
                      <a:pt x="1154" y="1330"/>
                    </a:lnTo>
                    <a:lnTo>
                      <a:pt x="1154" y="1332"/>
                    </a:lnTo>
                    <a:lnTo>
                      <a:pt x="1154" y="1330"/>
                    </a:lnTo>
                    <a:lnTo>
                      <a:pt x="1152" y="1330"/>
                    </a:lnTo>
                    <a:lnTo>
                      <a:pt x="1152" y="1328"/>
                    </a:lnTo>
                    <a:lnTo>
                      <a:pt x="1154" y="1328"/>
                    </a:lnTo>
                    <a:lnTo>
                      <a:pt x="1156" y="1327"/>
                    </a:lnTo>
                    <a:lnTo>
                      <a:pt x="1154" y="1327"/>
                    </a:lnTo>
                    <a:lnTo>
                      <a:pt x="1156" y="1327"/>
                    </a:lnTo>
                    <a:lnTo>
                      <a:pt x="1156" y="1325"/>
                    </a:lnTo>
                    <a:lnTo>
                      <a:pt x="1156" y="1327"/>
                    </a:lnTo>
                    <a:lnTo>
                      <a:pt x="1154" y="1327"/>
                    </a:lnTo>
                    <a:lnTo>
                      <a:pt x="1154" y="1328"/>
                    </a:lnTo>
                    <a:lnTo>
                      <a:pt x="1152" y="1328"/>
                    </a:lnTo>
                    <a:lnTo>
                      <a:pt x="1152" y="1330"/>
                    </a:lnTo>
                    <a:lnTo>
                      <a:pt x="1152" y="1328"/>
                    </a:lnTo>
                    <a:lnTo>
                      <a:pt x="1151" y="1327"/>
                    </a:lnTo>
                    <a:lnTo>
                      <a:pt x="1152" y="1325"/>
                    </a:lnTo>
                    <a:lnTo>
                      <a:pt x="1151" y="1325"/>
                    </a:lnTo>
                    <a:lnTo>
                      <a:pt x="1151" y="1327"/>
                    </a:lnTo>
                    <a:lnTo>
                      <a:pt x="1152" y="1325"/>
                    </a:lnTo>
                    <a:lnTo>
                      <a:pt x="1151" y="1327"/>
                    </a:lnTo>
                    <a:lnTo>
                      <a:pt x="1149" y="1328"/>
                    </a:lnTo>
                    <a:lnTo>
                      <a:pt x="1149" y="1327"/>
                    </a:lnTo>
                    <a:lnTo>
                      <a:pt x="1151" y="1325"/>
                    </a:lnTo>
                    <a:lnTo>
                      <a:pt x="1152" y="1323"/>
                    </a:lnTo>
                    <a:lnTo>
                      <a:pt x="1151" y="1323"/>
                    </a:lnTo>
                    <a:lnTo>
                      <a:pt x="1151" y="1325"/>
                    </a:lnTo>
                    <a:lnTo>
                      <a:pt x="1149" y="1325"/>
                    </a:lnTo>
                    <a:lnTo>
                      <a:pt x="1149" y="1323"/>
                    </a:lnTo>
                    <a:lnTo>
                      <a:pt x="1147" y="1323"/>
                    </a:lnTo>
                    <a:lnTo>
                      <a:pt x="1147" y="1322"/>
                    </a:lnTo>
                    <a:lnTo>
                      <a:pt x="1149" y="1320"/>
                    </a:lnTo>
                    <a:lnTo>
                      <a:pt x="1147" y="1320"/>
                    </a:lnTo>
                    <a:lnTo>
                      <a:pt x="1147" y="1318"/>
                    </a:lnTo>
                    <a:lnTo>
                      <a:pt x="1147" y="1316"/>
                    </a:lnTo>
                    <a:lnTo>
                      <a:pt x="1149" y="1316"/>
                    </a:lnTo>
                    <a:lnTo>
                      <a:pt x="1151" y="1315"/>
                    </a:lnTo>
                    <a:lnTo>
                      <a:pt x="1151" y="1316"/>
                    </a:lnTo>
                    <a:lnTo>
                      <a:pt x="1152" y="1315"/>
                    </a:lnTo>
                    <a:lnTo>
                      <a:pt x="1152" y="1316"/>
                    </a:lnTo>
                    <a:lnTo>
                      <a:pt x="1151" y="1316"/>
                    </a:lnTo>
                    <a:lnTo>
                      <a:pt x="1151" y="1318"/>
                    </a:lnTo>
                    <a:lnTo>
                      <a:pt x="1149" y="1318"/>
                    </a:lnTo>
                    <a:lnTo>
                      <a:pt x="1149" y="1320"/>
                    </a:lnTo>
                    <a:lnTo>
                      <a:pt x="1149" y="1318"/>
                    </a:lnTo>
                    <a:lnTo>
                      <a:pt x="1151" y="1318"/>
                    </a:lnTo>
                    <a:lnTo>
                      <a:pt x="1152" y="1316"/>
                    </a:lnTo>
                    <a:lnTo>
                      <a:pt x="1152" y="1318"/>
                    </a:lnTo>
                    <a:lnTo>
                      <a:pt x="1151" y="1318"/>
                    </a:lnTo>
                    <a:lnTo>
                      <a:pt x="1152" y="1318"/>
                    </a:lnTo>
                    <a:lnTo>
                      <a:pt x="1152" y="1320"/>
                    </a:lnTo>
                    <a:lnTo>
                      <a:pt x="1152" y="1322"/>
                    </a:lnTo>
                    <a:lnTo>
                      <a:pt x="1154" y="1322"/>
                    </a:lnTo>
                    <a:lnTo>
                      <a:pt x="1154" y="1323"/>
                    </a:lnTo>
                    <a:lnTo>
                      <a:pt x="1156" y="1325"/>
                    </a:lnTo>
                    <a:lnTo>
                      <a:pt x="1157" y="1325"/>
                    </a:lnTo>
                    <a:lnTo>
                      <a:pt x="1157" y="1327"/>
                    </a:lnTo>
                    <a:lnTo>
                      <a:pt x="1159" y="1327"/>
                    </a:lnTo>
                    <a:lnTo>
                      <a:pt x="1157" y="1327"/>
                    </a:lnTo>
                    <a:lnTo>
                      <a:pt x="1157" y="1325"/>
                    </a:lnTo>
                    <a:lnTo>
                      <a:pt x="1156" y="1325"/>
                    </a:lnTo>
                    <a:lnTo>
                      <a:pt x="1156" y="1323"/>
                    </a:lnTo>
                    <a:lnTo>
                      <a:pt x="1156" y="1325"/>
                    </a:lnTo>
                    <a:lnTo>
                      <a:pt x="1157" y="1323"/>
                    </a:lnTo>
                    <a:lnTo>
                      <a:pt x="1159" y="1323"/>
                    </a:lnTo>
                    <a:lnTo>
                      <a:pt x="1159" y="1325"/>
                    </a:lnTo>
                    <a:lnTo>
                      <a:pt x="1161" y="1323"/>
                    </a:lnTo>
                    <a:lnTo>
                      <a:pt x="1162" y="1323"/>
                    </a:lnTo>
                    <a:lnTo>
                      <a:pt x="1164" y="1323"/>
                    </a:lnTo>
                    <a:lnTo>
                      <a:pt x="1162" y="1323"/>
                    </a:lnTo>
                    <a:lnTo>
                      <a:pt x="1161" y="1323"/>
                    </a:lnTo>
                    <a:lnTo>
                      <a:pt x="1159" y="1323"/>
                    </a:lnTo>
                    <a:lnTo>
                      <a:pt x="1157" y="1323"/>
                    </a:lnTo>
                    <a:lnTo>
                      <a:pt x="1156" y="1323"/>
                    </a:lnTo>
                    <a:lnTo>
                      <a:pt x="1157" y="1323"/>
                    </a:lnTo>
                    <a:lnTo>
                      <a:pt x="1156" y="1323"/>
                    </a:lnTo>
                    <a:lnTo>
                      <a:pt x="1156" y="1322"/>
                    </a:lnTo>
                    <a:lnTo>
                      <a:pt x="1154" y="1322"/>
                    </a:lnTo>
                    <a:lnTo>
                      <a:pt x="1156" y="1322"/>
                    </a:lnTo>
                    <a:lnTo>
                      <a:pt x="1154" y="1322"/>
                    </a:lnTo>
                    <a:lnTo>
                      <a:pt x="1154" y="1320"/>
                    </a:lnTo>
                    <a:lnTo>
                      <a:pt x="1154" y="1318"/>
                    </a:lnTo>
                    <a:lnTo>
                      <a:pt x="1156" y="1320"/>
                    </a:lnTo>
                    <a:lnTo>
                      <a:pt x="1154" y="1318"/>
                    </a:lnTo>
                    <a:lnTo>
                      <a:pt x="1152" y="1318"/>
                    </a:lnTo>
                    <a:lnTo>
                      <a:pt x="1152" y="1316"/>
                    </a:lnTo>
                    <a:lnTo>
                      <a:pt x="1154" y="1316"/>
                    </a:lnTo>
                    <a:lnTo>
                      <a:pt x="1154" y="1315"/>
                    </a:lnTo>
                    <a:lnTo>
                      <a:pt x="1152" y="1315"/>
                    </a:lnTo>
                    <a:lnTo>
                      <a:pt x="1154" y="1315"/>
                    </a:lnTo>
                    <a:lnTo>
                      <a:pt x="1156" y="1315"/>
                    </a:lnTo>
                    <a:lnTo>
                      <a:pt x="1156" y="1316"/>
                    </a:lnTo>
                    <a:lnTo>
                      <a:pt x="1156" y="1315"/>
                    </a:lnTo>
                    <a:lnTo>
                      <a:pt x="1156" y="1316"/>
                    </a:lnTo>
                    <a:lnTo>
                      <a:pt x="1157" y="1316"/>
                    </a:lnTo>
                    <a:lnTo>
                      <a:pt x="1156" y="1316"/>
                    </a:lnTo>
                    <a:lnTo>
                      <a:pt x="1157" y="1316"/>
                    </a:lnTo>
                    <a:lnTo>
                      <a:pt x="1157" y="1318"/>
                    </a:lnTo>
                    <a:lnTo>
                      <a:pt x="1157" y="1320"/>
                    </a:lnTo>
                    <a:lnTo>
                      <a:pt x="1159" y="1320"/>
                    </a:lnTo>
                    <a:lnTo>
                      <a:pt x="1157" y="1320"/>
                    </a:lnTo>
                    <a:lnTo>
                      <a:pt x="1159" y="1320"/>
                    </a:lnTo>
                    <a:lnTo>
                      <a:pt x="1159" y="1322"/>
                    </a:lnTo>
                    <a:lnTo>
                      <a:pt x="1159" y="1320"/>
                    </a:lnTo>
                    <a:lnTo>
                      <a:pt x="1161" y="1320"/>
                    </a:lnTo>
                    <a:lnTo>
                      <a:pt x="1162" y="1320"/>
                    </a:lnTo>
                    <a:lnTo>
                      <a:pt x="1161" y="1320"/>
                    </a:lnTo>
                    <a:lnTo>
                      <a:pt x="1159" y="1320"/>
                    </a:lnTo>
                    <a:lnTo>
                      <a:pt x="1157" y="1318"/>
                    </a:lnTo>
                    <a:lnTo>
                      <a:pt x="1159" y="1318"/>
                    </a:lnTo>
                    <a:lnTo>
                      <a:pt x="1159" y="1316"/>
                    </a:lnTo>
                    <a:lnTo>
                      <a:pt x="1157" y="1318"/>
                    </a:lnTo>
                    <a:lnTo>
                      <a:pt x="1157" y="1316"/>
                    </a:lnTo>
                    <a:lnTo>
                      <a:pt x="1157" y="1315"/>
                    </a:lnTo>
                    <a:lnTo>
                      <a:pt x="1157" y="1316"/>
                    </a:lnTo>
                    <a:lnTo>
                      <a:pt x="1159" y="1316"/>
                    </a:lnTo>
                    <a:lnTo>
                      <a:pt x="1161" y="1318"/>
                    </a:lnTo>
                    <a:lnTo>
                      <a:pt x="1161" y="1320"/>
                    </a:lnTo>
                    <a:lnTo>
                      <a:pt x="1162" y="1320"/>
                    </a:lnTo>
                    <a:lnTo>
                      <a:pt x="1161" y="1318"/>
                    </a:lnTo>
                    <a:lnTo>
                      <a:pt x="1159" y="1316"/>
                    </a:lnTo>
                    <a:lnTo>
                      <a:pt x="1161" y="1316"/>
                    </a:lnTo>
                    <a:lnTo>
                      <a:pt x="1159" y="1316"/>
                    </a:lnTo>
                    <a:lnTo>
                      <a:pt x="1159" y="1315"/>
                    </a:lnTo>
                    <a:lnTo>
                      <a:pt x="1161" y="1315"/>
                    </a:lnTo>
                    <a:lnTo>
                      <a:pt x="1161" y="1316"/>
                    </a:lnTo>
                    <a:lnTo>
                      <a:pt x="1161" y="1315"/>
                    </a:lnTo>
                    <a:lnTo>
                      <a:pt x="1162" y="1316"/>
                    </a:lnTo>
                    <a:lnTo>
                      <a:pt x="1164" y="1316"/>
                    </a:lnTo>
                    <a:lnTo>
                      <a:pt x="1164" y="1318"/>
                    </a:lnTo>
                    <a:lnTo>
                      <a:pt x="1164" y="1316"/>
                    </a:lnTo>
                    <a:lnTo>
                      <a:pt x="1162" y="1316"/>
                    </a:lnTo>
                    <a:lnTo>
                      <a:pt x="1162" y="1315"/>
                    </a:lnTo>
                    <a:lnTo>
                      <a:pt x="1164" y="1315"/>
                    </a:lnTo>
                    <a:lnTo>
                      <a:pt x="1162" y="1315"/>
                    </a:lnTo>
                    <a:lnTo>
                      <a:pt x="1161" y="1315"/>
                    </a:lnTo>
                    <a:lnTo>
                      <a:pt x="1161" y="1313"/>
                    </a:lnTo>
                    <a:lnTo>
                      <a:pt x="1162" y="1313"/>
                    </a:lnTo>
                    <a:lnTo>
                      <a:pt x="1162" y="1315"/>
                    </a:lnTo>
                    <a:lnTo>
                      <a:pt x="1162" y="1313"/>
                    </a:lnTo>
                    <a:lnTo>
                      <a:pt x="1161" y="1313"/>
                    </a:lnTo>
                    <a:lnTo>
                      <a:pt x="1161" y="1311"/>
                    </a:lnTo>
                    <a:lnTo>
                      <a:pt x="1162" y="1313"/>
                    </a:lnTo>
                    <a:lnTo>
                      <a:pt x="1162" y="1315"/>
                    </a:lnTo>
                    <a:lnTo>
                      <a:pt x="1164" y="1315"/>
                    </a:lnTo>
                    <a:lnTo>
                      <a:pt x="1164" y="1316"/>
                    </a:lnTo>
                    <a:lnTo>
                      <a:pt x="1166" y="1318"/>
                    </a:lnTo>
                    <a:lnTo>
                      <a:pt x="1168" y="1318"/>
                    </a:lnTo>
                    <a:lnTo>
                      <a:pt x="1168" y="1320"/>
                    </a:lnTo>
                    <a:lnTo>
                      <a:pt x="1166" y="1322"/>
                    </a:lnTo>
                    <a:lnTo>
                      <a:pt x="1168" y="1322"/>
                    </a:lnTo>
                    <a:lnTo>
                      <a:pt x="1168" y="1320"/>
                    </a:lnTo>
                    <a:lnTo>
                      <a:pt x="1168" y="1318"/>
                    </a:lnTo>
                    <a:lnTo>
                      <a:pt x="1168" y="1316"/>
                    </a:lnTo>
                    <a:lnTo>
                      <a:pt x="1168" y="1315"/>
                    </a:lnTo>
                    <a:lnTo>
                      <a:pt x="1168" y="1313"/>
                    </a:lnTo>
                    <a:lnTo>
                      <a:pt x="1169" y="1313"/>
                    </a:lnTo>
                    <a:lnTo>
                      <a:pt x="1169" y="1315"/>
                    </a:lnTo>
                    <a:lnTo>
                      <a:pt x="1169" y="1313"/>
                    </a:lnTo>
                    <a:lnTo>
                      <a:pt x="1168" y="1313"/>
                    </a:lnTo>
                    <a:lnTo>
                      <a:pt x="1168" y="1311"/>
                    </a:lnTo>
                    <a:lnTo>
                      <a:pt x="1169" y="1311"/>
                    </a:lnTo>
                    <a:lnTo>
                      <a:pt x="1171" y="1311"/>
                    </a:lnTo>
                    <a:lnTo>
                      <a:pt x="1171" y="1313"/>
                    </a:lnTo>
                    <a:lnTo>
                      <a:pt x="1171" y="1311"/>
                    </a:lnTo>
                    <a:lnTo>
                      <a:pt x="1169" y="1311"/>
                    </a:lnTo>
                    <a:lnTo>
                      <a:pt x="1169" y="1310"/>
                    </a:lnTo>
                    <a:lnTo>
                      <a:pt x="1169" y="1308"/>
                    </a:lnTo>
                    <a:lnTo>
                      <a:pt x="1169" y="1306"/>
                    </a:lnTo>
                    <a:lnTo>
                      <a:pt x="1171" y="1306"/>
                    </a:lnTo>
                    <a:lnTo>
                      <a:pt x="1169" y="1306"/>
                    </a:lnTo>
                    <a:lnTo>
                      <a:pt x="1169" y="1305"/>
                    </a:lnTo>
                    <a:lnTo>
                      <a:pt x="1168" y="1305"/>
                    </a:lnTo>
                    <a:lnTo>
                      <a:pt x="1168" y="1303"/>
                    </a:lnTo>
                    <a:lnTo>
                      <a:pt x="1166" y="1303"/>
                    </a:lnTo>
                    <a:lnTo>
                      <a:pt x="1166" y="1301"/>
                    </a:lnTo>
                    <a:lnTo>
                      <a:pt x="1168" y="1301"/>
                    </a:lnTo>
                    <a:lnTo>
                      <a:pt x="1169" y="1301"/>
                    </a:lnTo>
                    <a:lnTo>
                      <a:pt x="1169" y="1299"/>
                    </a:lnTo>
                    <a:lnTo>
                      <a:pt x="1169" y="1301"/>
                    </a:lnTo>
                    <a:lnTo>
                      <a:pt x="1171" y="1301"/>
                    </a:lnTo>
                    <a:lnTo>
                      <a:pt x="1171" y="1303"/>
                    </a:lnTo>
                    <a:lnTo>
                      <a:pt x="1173" y="1303"/>
                    </a:lnTo>
                    <a:lnTo>
                      <a:pt x="1173" y="1305"/>
                    </a:lnTo>
                    <a:lnTo>
                      <a:pt x="1171" y="1303"/>
                    </a:lnTo>
                    <a:lnTo>
                      <a:pt x="1171" y="1301"/>
                    </a:lnTo>
                    <a:lnTo>
                      <a:pt x="1169" y="1299"/>
                    </a:lnTo>
                    <a:lnTo>
                      <a:pt x="1171" y="1299"/>
                    </a:lnTo>
                    <a:lnTo>
                      <a:pt x="1171" y="1298"/>
                    </a:lnTo>
                    <a:lnTo>
                      <a:pt x="1171" y="1299"/>
                    </a:lnTo>
                    <a:lnTo>
                      <a:pt x="1169" y="1299"/>
                    </a:lnTo>
                    <a:lnTo>
                      <a:pt x="1168" y="1299"/>
                    </a:lnTo>
                    <a:lnTo>
                      <a:pt x="1168" y="1301"/>
                    </a:lnTo>
                    <a:lnTo>
                      <a:pt x="1166" y="1301"/>
                    </a:lnTo>
                    <a:lnTo>
                      <a:pt x="1164" y="1301"/>
                    </a:lnTo>
                    <a:lnTo>
                      <a:pt x="1164" y="1299"/>
                    </a:lnTo>
                    <a:lnTo>
                      <a:pt x="1166" y="1299"/>
                    </a:lnTo>
                    <a:lnTo>
                      <a:pt x="1168" y="1299"/>
                    </a:lnTo>
                    <a:lnTo>
                      <a:pt x="1166" y="1299"/>
                    </a:lnTo>
                    <a:lnTo>
                      <a:pt x="1164" y="1299"/>
                    </a:lnTo>
                    <a:lnTo>
                      <a:pt x="1164" y="1298"/>
                    </a:lnTo>
                    <a:lnTo>
                      <a:pt x="1166" y="1298"/>
                    </a:lnTo>
                    <a:lnTo>
                      <a:pt x="1168" y="1298"/>
                    </a:lnTo>
                    <a:lnTo>
                      <a:pt x="1169" y="1296"/>
                    </a:lnTo>
                    <a:lnTo>
                      <a:pt x="1168" y="1296"/>
                    </a:lnTo>
                    <a:lnTo>
                      <a:pt x="1168" y="1298"/>
                    </a:lnTo>
                    <a:lnTo>
                      <a:pt x="1168" y="1296"/>
                    </a:lnTo>
                    <a:lnTo>
                      <a:pt x="1168" y="1298"/>
                    </a:lnTo>
                    <a:lnTo>
                      <a:pt x="1166" y="1298"/>
                    </a:lnTo>
                    <a:lnTo>
                      <a:pt x="1164" y="1298"/>
                    </a:lnTo>
                    <a:lnTo>
                      <a:pt x="1162" y="1296"/>
                    </a:lnTo>
                    <a:lnTo>
                      <a:pt x="1164" y="1296"/>
                    </a:lnTo>
                    <a:lnTo>
                      <a:pt x="1166" y="1294"/>
                    </a:lnTo>
                    <a:lnTo>
                      <a:pt x="1168" y="1294"/>
                    </a:lnTo>
                    <a:lnTo>
                      <a:pt x="1169" y="1294"/>
                    </a:lnTo>
                    <a:lnTo>
                      <a:pt x="1168" y="1294"/>
                    </a:lnTo>
                    <a:lnTo>
                      <a:pt x="1169" y="1293"/>
                    </a:lnTo>
                    <a:lnTo>
                      <a:pt x="1168" y="1293"/>
                    </a:lnTo>
                    <a:lnTo>
                      <a:pt x="1168" y="1294"/>
                    </a:lnTo>
                    <a:lnTo>
                      <a:pt x="1166" y="1294"/>
                    </a:lnTo>
                    <a:lnTo>
                      <a:pt x="1164" y="1296"/>
                    </a:lnTo>
                    <a:lnTo>
                      <a:pt x="1162" y="1296"/>
                    </a:lnTo>
                    <a:lnTo>
                      <a:pt x="1162" y="1294"/>
                    </a:lnTo>
                    <a:lnTo>
                      <a:pt x="1162" y="1293"/>
                    </a:lnTo>
                    <a:lnTo>
                      <a:pt x="1162" y="1291"/>
                    </a:lnTo>
                    <a:lnTo>
                      <a:pt x="1164" y="1291"/>
                    </a:lnTo>
                    <a:lnTo>
                      <a:pt x="1164" y="1293"/>
                    </a:lnTo>
                    <a:lnTo>
                      <a:pt x="1166" y="1293"/>
                    </a:lnTo>
                    <a:lnTo>
                      <a:pt x="1168" y="1294"/>
                    </a:lnTo>
                    <a:lnTo>
                      <a:pt x="1168" y="1293"/>
                    </a:lnTo>
                    <a:lnTo>
                      <a:pt x="1166" y="1293"/>
                    </a:lnTo>
                    <a:lnTo>
                      <a:pt x="1164" y="1291"/>
                    </a:lnTo>
                    <a:lnTo>
                      <a:pt x="1166" y="1291"/>
                    </a:lnTo>
                    <a:lnTo>
                      <a:pt x="1166" y="1289"/>
                    </a:lnTo>
                    <a:lnTo>
                      <a:pt x="1164" y="1291"/>
                    </a:lnTo>
                    <a:lnTo>
                      <a:pt x="1162" y="1289"/>
                    </a:lnTo>
                    <a:lnTo>
                      <a:pt x="1164" y="1289"/>
                    </a:lnTo>
                    <a:lnTo>
                      <a:pt x="1166" y="1289"/>
                    </a:lnTo>
                    <a:lnTo>
                      <a:pt x="1168" y="1288"/>
                    </a:lnTo>
                    <a:lnTo>
                      <a:pt x="1168" y="1289"/>
                    </a:lnTo>
                    <a:lnTo>
                      <a:pt x="1168" y="1288"/>
                    </a:lnTo>
                    <a:lnTo>
                      <a:pt x="1169" y="1288"/>
                    </a:lnTo>
                    <a:lnTo>
                      <a:pt x="1168" y="1288"/>
                    </a:lnTo>
                    <a:lnTo>
                      <a:pt x="1169" y="1286"/>
                    </a:lnTo>
                    <a:lnTo>
                      <a:pt x="1169" y="1288"/>
                    </a:lnTo>
                    <a:lnTo>
                      <a:pt x="1169" y="1286"/>
                    </a:lnTo>
                    <a:lnTo>
                      <a:pt x="1171" y="1286"/>
                    </a:lnTo>
                    <a:lnTo>
                      <a:pt x="1171" y="1288"/>
                    </a:lnTo>
                    <a:lnTo>
                      <a:pt x="1171" y="1289"/>
                    </a:lnTo>
                    <a:lnTo>
                      <a:pt x="1169" y="1288"/>
                    </a:lnTo>
                    <a:lnTo>
                      <a:pt x="1169" y="1289"/>
                    </a:lnTo>
                    <a:lnTo>
                      <a:pt x="1171" y="1291"/>
                    </a:lnTo>
                    <a:lnTo>
                      <a:pt x="1171" y="1289"/>
                    </a:lnTo>
                    <a:lnTo>
                      <a:pt x="1171" y="1288"/>
                    </a:lnTo>
                    <a:lnTo>
                      <a:pt x="1171" y="1286"/>
                    </a:lnTo>
                    <a:lnTo>
                      <a:pt x="1173" y="1286"/>
                    </a:lnTo>
                    <a:lnTo>
                      <a:pt x="1173" y="1284"/>
                    </a:lnTo>
                    <a:lnTo>
                      <a:pt x="1174" y="1286"/>
                    </a:lnTo>
                    <a:close/>
                    <a:moveTo>
                      <a:pt x="1264" y="1498"/>
                    </a:moveTo>
                    <a:lnTo>
                      <a:pt x="1266" y="1498"/>
                    </a:lnTo>
                    <a:lnTo>
                      <a:pt x="1266" y="1500"/>
                    </a:lnTo>
                    <a:lnTo>
                      <a:pt x="1268" y="1500"/>
                    </a:lnTo>
                    <a:lnTo>
                      <a:pt x="1270" y="1500"/>
                    </a:lnTo>
                    <a:lnTo>
                      <a:pt x="1271" y="1500"/>
                    </a:lnTo>
                    <a:lnTo>
                      <a:pt x="1273" y="1500"/>
                    </a:lnTo>
                    <a:lnTo>
                      <a:pt x="1275" y="1500"/>
                    </a:lnTo>
                    <a:lnTo>
                      <a:pt x="1276" y="1500"/>
                    </a:lnTo>
                    <a:lnTo>
                      <a:pt x="1278" y="1498"/>
                    </a:lnTo>
                    <a:lnTo>
                      <a:pt x="1280" y="1498"/>
                    </a:lnTo>
                    <a:lnTo>
                      <a:pt x="1281" y="1497"/>
                    </a:lnTo>
                    <a:lnTo>
                      <a:pt x="1281" y="1498"/>
                    </a:lnTo>
                    <a:lnTo>
                      <a:pt x="1281" y="1500"/>
                    </a:lnTo>
                    <a:lnTo>
                      <a:pt x="1283" y="1500"/>
                    </a:lnTo>
                    <a:lnTo>
                      <a:pt x="1283" y="1502"/>
                    </a:lnTo>
                    <a:lnTo>
                      <a:pt x="1285" y="1502"/>
                    </a:lnTo>
                    <a:lnTo>
                      <a:pt x="1283" y="1504"/>
                    </a:lnTo>
                    <a:lnTo>
                      <a:pt x="1285" y="1505"/>
                    </a:lnTo>
                    <a:lnTo>
                      <a:pt x="1283" y="1507"/>
                    </a:lnTo>
                    <a:lnTo>
                      <a:pt x="1285" y="1505"/>
                    </a:lnTo>
                    <a:lnTo>
                      <a:pt x="1285" y="1507"/>
                    </a:lnTo>
                    <a:lnTo>
                      <a:pt x="1283" y="1507"/>
                    </a:lnTo>
                    <a:lnTo>
                      <a:pt x="1283" y="1509"/>
                    </a:lnTo>
                    <a:lnTo>
                      <a:pt x="1281" y="1509"/>
                    </a:lnTo>
                    <a:lnTo>
                      <a:pt x="1280" y="1509"/>
                    </a:lnTo>
                    <a:lnTo>
                      <a:pt x="1278" y="1510"/>
                    </a:lnTo>
                    <a:lnTo>
                      <a:pt x="1276" y="1510"/>
                    </a:lnTo>
                    <a:lnTo>
                      <a:pt x="1276" y="1512"/>
                    </a:lnTo>
                    <a:lnTo>
                      <a:pt x="1275" y="1512"/>
                    </a:lnTo>
                    <a:lnTo>
                      <a:pt x="1275" y="1514"/>
                    </a:lnTo>
                    <a:lnTo>
                      <a:pt x="1273" y="1514"/>
                    </a:lnTo>
                    <a:lnTo>
                      <a:pt x="1271" y="1515"/>
                    </a:lnTo>
                    <a:lnTo>
                      <a:pt x="1270" y="1515"/>
                    </a:lnTo>
                    <a:lnTo>
                      <a:pt x="1270" y="1517"/>
                    </a:lnTo>
                    <a:lnTo>
                      <a:pt x="1268" y="1517"/>
                    </a:lnTo>
                    <a:lnTo>
                      <a:pt x="1266" y="1517"/>
                    </a:lnTo>
                    <a:lnTo>
                      <a:pt x="1266" y="1519"/>
                    </a:lnTo>
                    <a:lnTo>
                      <a:pt x="1266" y="1521"/>
                    </a:lnTo>
                    <a:lnTo>
                      <a:pt x="1264" y="1521"/>
                    </a:lnTo>
                    <a:lnTo>
                      <a:pt x="1264" y="1522"/>
                    </a:lnTo>
                    <a:lnTo>
                      <a:pt x="1263" y="1524"/>
                    </a:lnTo>
                    <a:lnTo>
                      <a:pt x="1263" y="1526"/>
                    </a:lnTo>
                    <a:lnTo>
                      <a:pt x="1261" y="1524"/>
                    </a:lnTo>
                    <a:lnTo>
                      <a:pt x="1261" y="1526"/>
                    </a:lnTo>
                    <a:lnTo>
                      <a:pt x="1259" y="1526"/>
                    </a:lnTo>
                    <a:lnTo>
                      <a:pt x="1259" y="1524"/>
                    </a:lnTo>
                    <a:lnTo>
                      <a:pt x="1258" y="1524"/>
                    </a:lnTo>
                    <a:lnTo>
                      <a:pt x="1258" y="1522"/>
                    </a:lnTo>
                    <a:lnTo>
                      <a:pt x="1256" y="1521"/>
                    </a:lnTo>
                    <a:lnTo>
                      <a:pt x="1254" y="1521"/>
                    </a:lnTo>
                    <a:lnTo>
                      <a:pt x="1253" y="1519"/>
                    </a:lnTo>
                    <a:lnTo>
                      <a:pt x="1251" y="1519"/>
                    </a:lnTo>
                    <a:lnTo>
                      <a:pt x="1253" y="1521"/>
                    </a:lnTo>
                    <a:lnTo>
                      <a:pt x="1254" y="1521"/>
                    </a:lnTo>
                    <a:lnTo>
                      <a:pt x="1254" y="1522"/>
                    </a:lnTo>
                    <a:lnTo>
                      <a:pt x="1256" y="1522"/>
                    </a:lnTo>
                    <a:lnTo>
                      <a:pt x="1254" y="1522"/>
                    </a:lnTo>
                    <a:lnTo>
                      <a:pt x="1256" y="1524"/>
                    </a:lnTo>
                    <a:lnTo>
                      <a:pt x="1254" y="1524"/>
                    </a:lnTo>
                    <a:lnTo>
                      <a:pt x="1254" y="1522"/>
                    </a:lnTo>
                    <a:lnTo>
                      <a:pt x="1253" y="1522"/>
                    </a:lnTo>
                    <a:lnTo>
                      <a:pt x="1253" y="1521"/>
                    </a:lnTo>
                    <a:lnTo>
                      <a:pt x="1251" y="1521"/>
                    </a:lnTo>
                    <a:lnTo>
                      <a:pt x="1251" y="1522"/>
                    </a:lnTo>
                    <a:lnTo>
                      <a:pt x="1251" y="1521"/>
                    </a:lnTo>
                    <a:lnTo>
                      <a:pt x="1249" y="1521"/>
                    </a:lnTo>
                    <a:lnTo>
                      <a:pt x="1247" y="1521"/>
                    </a:lnTo>
                    <a:lnTo>
                      <a:pt x="1247" y="1522"/>
                    </a:lnTo>
                    <a:lnTo>
                      <a:pt x="1247" y="1521"/>
                    </a:lnTo>
                    <a:lnTo>
                      <a:pt x="1246" y="1522"/>
                    </a:lnTo>
                    <a:lnTo>
                      <a:pt x="1244" y="1522"/>
                    </a:lnTo>
                    <a:lnTo>
                      <a:pt x="1246" y="1522"/>
                    </a:lnTo>
                    <a:lnTo>
                      <a:pt x="1247" y="1522"/>
                    </a:lnTo>
                    <a:lnTo>
                      <a:pt x="1249" y="1522"/>
                    </a:lnTo>
                    <a:lnTo>
                      <a:pt x="1251" y="1522"/>
                    </a:lnTo>
                    <a:lnTo>
                      <a:pt x="1253" y="1524"/>
                    </a:lnTo>
                    <a:lnTo>
                      <a:pt x="1253" y="1526"/>
                    </a:lnTo>
                    <a:lnTo>
                      <a:pt x="1254" y="1526"/>
                    </a:lnTo>
                    <a:lnTo>
                      <a:pt x="1256" y="1526"/>
                    </a:lnTo>
                    <a:lnTo>
                      <a:pt x="1256" y="1527"/>
                    </a:lnTo>
                    <a:lnTo>
                      <a:pt x="1258" y="1529"/>
                    </a:lnTo>
                    <a:lnTo>
                      <a:pt x="1256" y="1529"/>
                    </a:lnTo>
                    <a:lnTo>
                      <a:pt x="1254" y="1529"/>
                    </a:lnTo>
                    <a:lnTo>
                      <a:pt x="1253" y="1529"/>
                    </a:lnTo>
                    <a:lnTo>
                      <a:pt x="1251" y="1529"/>
                    </a:lnTo>
                    <a:lnTo>
                      <a:pt x="1251" y="1527"/>
                    </a:lnTo>
                    <a:lnTo>
                      <a:pt x="1251" y="1529"/>
                    </a:lnTo>
                    <a:lnTo>
                      <a:pt x="1253" y="1529"/>
                    </a:lnTo>
                    <a:lnTo>
                      <a:pt x="1253" y="1531"/>
                    </a:lnTo>
                    <a:lnTo>
                      <a:pt x="1251" y="1531"/>
                    </a:lnTo>
                    <a:lnTo>
                      <a:pt x="1249" y="1531"/>
                    </a:lnTo>
                    <a:lnTo>
                      <a:pt x="1249" y="1529"/>
                    </a:lnTo>
                    <a:lnTo>
                      <a:pt x="1249" y="1527"/>
                    </a:lnTo>
                    <a:lnTo>
                      <a:pt x="1249" y="1529"/>
                    </a:lnTo>
                    <a:lnTo>
                      <a:pt x="1247" y="1529"/>
                    </a:lnTo>
                    <a:lnTo>
                      <a:pt x="1246" y="1527"/>
                    </a:lnTo>
                    <a:lnTo>
                      <a:pt x="1246" y="1529"/>
                    </a:lnTo>
                    <a:lnTo>
                      <a:pt x="1247" y="1529"/>
                    </a:lnTo>
                    <a:lnTo>
                      <a:pt x="1249" y="1531"/>
                    </a:lnTo>
                    <a:lnTo>
                      <a:pt x="1247" y="1531"/>
                    </a:lnTo>
                    <a:lnTo>
                      <a:pt x="1246" y="1529"/>
                    </a:lnTo>
                    <a:lnTo>
                      <a:pt x="1244" y="1529"/>
                    </a:lnTo>
                    <a:lnTo>
                      <a:pt x="1242" y="1529"/>
                    </a:lnTo>
                    <a:lnTo>
                      <a:pt x="1244" y="1529"/>
                    </a:lnTo>
                    <a:lnTo>
                      <a:pt x="1246" y="1531"/>
                    </a:lnTo>
                    <a:lnTo>
                      <a:pt x="1247" y="1531"/>
                    </a:lnTo>
                    <a:lnTo>
                      <a:pt x="1247" y="1532"/>
                    </a:lnTo>
                    <a:lnTo>
                      <a:pt x="1249" y="1531"/>
                    </a:lnTo>
                    <a:lnTo>
                      <a:pt x="1249" y="1532"/>
                    </a:lnTo>
                    <a:lnTo>
                      <a:pt x="1247" y="1532"/>
                    </a:lnTo>
                    <a:lnTo>
                      <a:pt x="1249" y="1534"/>
                    </a:lnTo>
                    <a:lnTo>
                      <a:pt x="1247" y="1534"/>
                    </a:lnTo>
                    <a:lnTo>
                      <a:pt x="1246" y="1534"/>
                    </a:lnTo>
                    <a:lnTo>
                      <a:pt x="1246" y="1532"/>
                    </a:lnTo>
                    <a:lnTo>
                      <a:pt x="1246" y="1534"/>
                    </a:lnTo>
                    <a:lnTo>
                      <a:pt x="1246" y="1536"/>
                    </a:lnTo>
                    <a:lnTo>
                      <a:pt x="1246" y="1538"/>
                    </a:lnTo>
                    <a:lnTo>
                      <a:pt x="1246" y="1539"/>
                    </a:lnTo>
                    <a:lnTo>
                      <a:pt x="1244" y="1539"/>
                    </a:lnTo>
                    <a:lnTo>
                      <a:pt x="1242" y="1539"/>
                    </a:lnTo>
                    <a:lnTo>
                      <a:pt x="1242" y="1538"/>
                    </a:lnTo>
                    <a:lnTo>
                      <a:pt x="1241" y="1538"/>
                    </a:lnTo>
                    <a:lnTo>
                      <a:pt x="1242" y="1538"/>
                    </a:lnTo>
                    <a:lnTo>
                      <a:pt x="1242" y="1539"/>
                    </a:lnTo>
                    <a:lnTo>
                      <a:pt x="1244" y="1539"/>
                    </a:lnTo>
                    <a:lnTo>
                      <a:pt x="1244" y="1541"/>
                    </a:lnTo>
                    <a:lnTo>
                      <a:pt x="1242" y="1543"/>
                    </a:lnTo>
                    <a:lnTo>
                      <a:pt x="1244" y="1541"/>
                    </a:lnTo>
                    <a:lnTo>
                      <a:pt x="1246" y="1539"/>
                    </a:lnTo>
                    <a:lnTo>
                      <a:pt x="1246" y="1541"/>
                    </a:lnTo>
                    <a:lnTo>
                      <a:pt x="1247" y="1541"/>
                    </a:lnTo>
                    <a:lnTo>
                      <a:pt x="1247" y="1543"/>
                    </a:lnTo>
                    <a:lnTo>
                      <a:pt x="1249" y="1544"/>
                    </a:lnTo>
                    <a:lnTo>
                      <a:pt x="1249" y="1546"/>
                    </a:lnTo>
                    <a:lnTo>
                      <a:pt x="1251" y="1546"/>
                    </a:lnTo>
                    <a:lnTo>
                      <a:pt x="1251" y="1548"/>
                    </a:lnTo>
                    <a:lnTo>
                      <a:pt x="1249" y="1548"/>
                    </a:lnTo>
                    <a:lnTo>
                      <a:pt x="1247" y="1548"/>
                    </a:lnTo>
                    <a:lnTo>
                      <a:pt x="1246" y="1548"/>
                    </a:lnTo>
                    <a:lnTo>
                      <a:pt x="1244" y="1548"/>
                    </a:lnTo>
                    <a:lnTo>
                      <a:pt x="1246" y="1548"/>
                    </a:lnTo>
                    <a:lnTo>
                      <a:pt x="1246" y="1546"/>
                    </a:lnTo>
                    <a:lnTo>
                      <a:pt x="1244" y="1546"/>
                    </a:lnTo>
                    <a:lnTo>
                      <a:pt x="1242" y="1546"/>
                    </a:lnTo>
                    <a:lnTo>
                      <a:pt x="1242" y="1544"/>
                    </a:lnTo>
                    <a:lnTo>
                      <a:pt x="1244" y="1544"/>
                    </a:lnTo>
                    <a:lnTo>
                      <a:pt x="1242" y="1543"/>
                    </a:lnTo>
                    <a:lnTo>
                      <a:pt x="1242" y="1544"/>
                    </a:lnTo>
                    <a:lnTo>
                      <a:pt x="1241" y="1544"/>
                    </a:lnTo>
                    <a:lnTo>
                      <a:pt x="1239" y="1543"/>
                    </a:lnTo>
                    <a:lnTo>
                      <a:pt x="1237" y="1541"/>
                    </a:lnTo>
                    <a:lnTo>
                      <a:pt x="1237" y="1539"/>
                    </a:lnTo>
                    <a:lnTo>
                      <a:pt x="1237" y="1541"/>
                    </a:lnTo>
                    <a:lnTo>
                      <a:pt x="1237" y="1543"/>
                    </a:lnTo>
                    <a:lnTo>
                      <a:pt x="1236" y="1541"/>
                    </a:lnTo>
                    <a:lnTo>
                      <a:pt x="1237" y="1539"/>
                    </a:lnTo>
                    <a:lnTo>
                      <a:pt x="1236" y="1539"/>
                    </a:lnTo>
                    <a:lnTo>
                      <a:pt x="1234" y="1539"/>
                    </a:lnTo>
                    <a:lnTo>
                      <a:pt x="1232" y="1539"/>
                    </a:lnTo>
                    <a:lnTo>
                      <a:pt x="1234" y="1538"/>
                    </a:lnTo>
                    <a:lnTo>
                      <a:pt x="1232" y="1538"/>
                    </a:lnTo>
                    <a:lnTo>
                      <a:pt x="1230" y="1538"/>
                    </a:lnTo>
                    <a:lnTo>
                      <a:pt x="1230" y="1536"/>
                    </a:lnTo>
                    <a:lnTo>
                      <a:pt x="1230" y="1534"/>
                    </a:lnTo>
                    <a:lnTo>
                      <a:pt x="1229" y="1534"/>
                    </a:lnTo>
                    <a:lnTo>
                      <a:pt x="1229" y="1532"/>
                    </a:lnTo>
                    <a:lnTo>
                      <a:pt x="1229" y="1534"/>
                    </a:lnTo>
                    <a:lnTo>
                      <a:pt x="1227" y="1534"/>
                    </a:lnTo>
                    <a:lnTo>
                      <a:pt x="1227" y="1532"/>
                    </a:lnTo>
                    <a:lnTo>
                      <a:pt x="1225" y="1534"/>
                    </a:lnTo>
                    <a:lnTo>
                      <a:pt x="1225" y="1532"/>
                    </a:lnTo>
                    <a:lnTo>
                      <a:pt x="1224" y="1532"/>
                    </a:lnTo>
                    <a:lnTo>
                      <a:pt x="1225" y="1531"/>
                    </a:lnTo>
                    <a:lnTo>
                      <a:pt x="1224" y="1532"/>
                    </a:lnTo>
                    <a:lnTo>
                      <a:pt x="1222" y="1531"/>
                    </a:lnTo>
                    <a:lnTo>
                      <a:pt x="1222" y="1529"/>
                    </a:lnTo>
                    <a:lnTo>
                      <a:pt x="1222" y="1531"/>
                    </a:lnTo>
                    <a:lnTo>
                      <a:pt x="1224" y="1529"/>
                    </a:lnTo>
                    <a:lnTo>
                      <a:pt x="1222" y="1529"/>
                    </a:lnTo>
                    <a:lnTo>
                      <a:pt x="1222" y="1527"/>
                    </a:lnTo>
                    <a:lnTo>
                      <a:pt x="1220" y="1527"/>
                    </a:lnTo>
                    <a:lnTo>
                      <a:pt x="1220" y="1526"/>
                    </a:lnTo>
                    <a:lnTo>
                      <a:pt x="1222" y="1527"/>
                    </a:lnTo>
                    <a:lnTo>
                      <a:pt x="1224" y="1527"/>
                    </a:lnTo>
                    <a:lnTo>
                      <a:pt x="1225" y="1527"/>
                    </a:lnTo>
                    <a:lnTo>
                      <a:pt x="1225" y="1529"/>
                    </a:lnTo>
                    <a:lnTo>
                      <a:pt x="1225" y="1527"/>
                    </a:lnTo>
                    <a:lnTo>
                      <a:pt x="1227" y="1527"/>
                    </a:lnTo>
                    <a:lnTo>
                      <a:pt x="1229" y="1527"/>
                    </a:lnTo>
                    <a:lnTo>
                      <a:pt x="1229" y="1529"/>
                    </a:lnTo>
                    <a:lnTo>
                      <a:pt x="1229" y="1527"/>
                    </a:lnTo>
                    <a:lnTo>
                      <a:pt x="1230" y="1527"/>
                    </a:lnTo>
                    <a:lnTo>
                      <a:pt x="1230" y="1529"/>
                    </a:lnTo>
                    <a:lnTo>
                      <a:pt x="1232" y="1527"/>
                    </a:lnTo>
                    <a:lnTo>
                      <a:pt x="1230" y="1527"/>
                    </a:lnTo>
                    <a:lnTo>
                      <a:pt x="1232" y="1527"/>
                    </a:lnTo>
                    <a:lnTo>
                      <a:pt x="1230" y="1527"/>
                    </a:lnTo>
                    <a:lnTo>
                      <a:pt x="1232" y="1527"/>
                    </a:lnTo>
                    <a:lnTo>
                      <a:pt x="1234" y="1527"/>
                    </a:lnTo>
                    <a:lnTo>
                      <a:pt x="1232" y="1529"/>
                    </a:lnTo>
                    <a:lnTo>
                      <a:pt x="1234" y="1529"/>
                    </a:lnTo>
                    <a:lnTo>
                      <a:pt x="1236" y="1529"/>
                    </a:lnTo>
                    <a:lnTo>
                      <a:pt x="1236" y="1531"/>
                    </a:lnTo>
                    <a:lnTo>
                      <a:pt x="1236" y="1529"/>
                    </a:lnTo>
                    <a:lnTo>
                      <a:pt x="1237" y="1531"/>
                    </a:lnTo>
                    <a:lnTo>
                      <a:pt x="1239" y="1531"/>
                    </a:lnTo>
                    <a:lnTo>
                      <a:pt x="1239" y="1532"/>
                    </a:lnTo>
                    <a:lnTo>
                      <a:pt x="1237" y="1532"/>
                    </a:lnTo>
                    <a:lnTo>
                      <a:pt x="1239" y="1532"/>
                    </a:lnTo>
                    <a:lnTo>
                      <a:pt x="1237" y="1534"/>
                    </a:lnTo>
                    <a:lnTo>
                      <a:pt x="1239" y="1534"/>
                    </a:lnTo>
                    <a:lnTo>
                      <a:pt x="1237" y="1534"/>
                    </a:lnTo>
                    <a:lnTo>
                      <a:pt x="1239" y="1534"/>
                    </a:lnTo>
                    <a:lnTo>
                      <a:pt x="1239" y="1532"/>
                    </a:lnTo>
                    <a:lnTo>
                      <a:pt x="1241" y="1532"/>
                    </a:lnTo>
                    <a:lnTo>
                      <a:pt x="1239" y="1531"/>
                    </a:lnTo>
                    <a:lnTo>
                      <a:pt x="1237" y="1531"/>
                    </a:lnTo>
                    <a:lnTo>
                      <a:pt x="1237" y="1529"/>
                    </a:lnTo>
                    <a:lnTo>
                      <a:pt x="1236" y="1529"/>
                    </a:lnTo>
                    <a:lnTo>
                      <a:pt x="1236" y="1527"/>
                    </a:lnTo>
                    <a:lnTo>
                      <a:pt x="1236" y="1529"/>
                    </a:lnTo>
                    <a:lnTo>
                      <a:pt x="1236" y="1527"/>
                    </a:lnTo>
                    <a:lnTo>
                      <a:pt x="1237" y="1527"/>
                    </a:lnTo>
                    <a:lnTo>
                      <a:pt x="1239" y="1529"/>
                    </a:lnTo>
                    <a:lnTo>
                      <a:pt x="1239" y="1527"/>
                    </a:lnTo>
                    <a:lnTo>
                      <a:pt x="1237" y="1527"/>
                    </a:lnTo>
                    <a:lnTo>
                      <a:pt x="1237" y="1526"/>
                    </a:lnTo>
                    <a:lnTo>
                      <a:pt x="1239" y="1526"/>
                    </a:lnTo>
                    <a:lnTo>
                      <a:pt x="1241" y="1527"/>
                    </a:lnTo>
                    <a:lnTo>
                      <a:pt x="1239" y="1526"/>
                    </a:lnTo>
                    <a:lnTo>
                      <a:pt x="1241" y="1526"/>
                    </a:lnTo>
                    <a:lnTo>
                      <a:pt x="1241" y="1527"/>
                    </a:lnTo>
                    <a:lnTo>
                      <a:pt x="1241" y="1526"/>
                    </a:lnTo>
                    <a:lnTo>
                      <a:pt x="1239" y="1526"/>
                    </a:lnTo>
                    <a:lnTo>
                      <a:pt x="1241" y="1526"/>
                    </a:lnTo>
                    <a:lnTo>
                      <a:pt x="1239" y="1526"/>
                    </a:lnTo>
                    <a:lnTo>
                      <a:pt x="1239" y="1524"/>
                    </a:lnTo>
                    <a:lnTo>
                      <a:pt x="1239" y="1526"/>
                    </a:lnTo>
                    <a:lnTo>
                      <a:pt x="1237" y="1526"/>
                    </a:lnTo>
                    <a:lnTo>
                      <a:pt x="1237" y="1524"/>
                    </a:lnTo>
                    <a:lnTo>
                      <a:pt x="1236" y="1526"/>
                    </a:lnTo>
                    <a:lnTo>
                      <a:pt x="1234" y="1526"/>
                    </a:lnTo>
                    <a:lnTo>
                      <a:pt x="1232" y="1524"/>
                    </a:lnTo>
                    <a:lnTo>
                      <a:pt x="1230" y="1524"/>
                    </a:lnTo>
                    <a:lnTo>
                      <a:pt x="1232" y="1522"/>
                    </a:lnTo>
                    <a:lnTo>
                      <a:pt x="1232" y="1524"/>
                    </a:lnTo>
                    <a:lnTo>
                      <a:pt x="1232" y="1522"/>
                    </a:lnTo>
                    <a:lnTo>
                      <a:pt x="1234" y="1522"/>
                    </a:lnTo>
                    <a:lnTo>
                      <a:pt x="1234" y="1521"/>
                    </a:lnTo>
                    <a:lnTo>
                      <a:pt x="1236" y="1521"/>
                    </a:lnTo>
                    <a:lnTo>
                      <a:pt x="1236" y="1519"/>
                    </a:lnTo>
                    <a:lnTo>
                      <a:pt x="1234" y="1519"/>
                    </a:lnTo>
                    <a:lnTo>
                      <a:pt x="1234" y="1521"/>
                    </a:lnTo>
                    <a:lnTo>
                      <a:pt x="1232" y="1521"/>
                    </a:lnTo>
                    <a:lnTo>
                      <a:pt x="1232" y="1519"/>
                    </a:lnTo>
                    <a:lnTo>
                      <a:pt x="1232" y="1517"/>
                    </a:lnTo>
                    <a:lnTo>
                      <a:pt x="1232" y="1515"/>
                    </a:lnTo>
                    <a:lnTo>
                      <a:pt x="1230" y="1514"/>
                    </a:lnTo>
                    <a:lnTo>
                      <a:pt x="1232" y="1514"/>
                    </a:lnTo>
                    <a:lnTo>
                      <a:pt x="1232" y="1512"/>
                    </a:lnTo>
                    <a:lnTo>
                      <a:pt x="1234" y="1512"/>
                    </a:lnTo>
                    <a:lnTo>
                      <a:pt x="1232" y="1512"/>
                    </a:lnTo>
                    <a:lnTo>
                      <a:pt x="1232" y="1510"/>
                    </a:lnTo>
                    <a:lnTo>
                      <a:pt x="1230" y="1510"/>
                    </a:lnTo>
                    <a:lnTo>
                      <a:pt x="1230" y="1509"/>
                    </a:lnTo>
                    <a:lnTo>
                      <a:pt x="1232" y="1509"/>
                    </a:lnTo>
                    <a:lnTo>
                      <a:pt x="1234" y="1509"/>
                    </a:lnTo>
                    <a:lnTo>
                      <a:pt x="1236" y="1507"/>
                    </a:lnTo>
                    <a:lnTo>
                      <a:pt x="1236" y="1505"/>
                    </a:lnTo>
                    <a:lnTo>
                      <a:pt x="1237" y="1505"/>
                    </a:lnTo>
                    <a:lnTo>
                      <a:pt x="1237" y="1507"/>
                    </a:lnTo>
                    <a:lnTo>
                      <a:pt x="1236" y="1507"/>
                    </a:lnTo>
                    <a:lnTo>
                      <a:pt x="1237" y="1507"/>
                    </a:lnTo>
                    <a:lnTo>
                      <a:pt x="1239" y="1505"/>
                    </a:lnTo>
                    <a:lnTo>
                      <a:pt x="1239" y="1504"/>
                    </a:lnTo>
                    <a:lnTo>
                      <a:pt x="1241" y="1502"/>
                    </a:lnTo>
                    <a:lnTo>
                      <a:pt x="1242" y="1502"/>
                    </a:lnTo>
                    <a:lnTo>
                      <a:pt x="1242" y="1504"/>
                    </a:lnTo>
                    <a:lnTo>
                      <a:pt x="1244" y="1505"/>
                    </a:lnTo>
                    <a:lnTo>
                      <a:pt x="1242" y="1505"/>
                    </a:lnTo>
                    <a:lnTo>
                      <a:pt x="1242" y="1507"/>
                    </a:lnTo>
                    <a:lnTo>
                      <a:pt x="1241" y="1509"/>
                    </a:lnTo>
                    <a:lnTo>
                      <a:pt x="1239" y="1510"/>
                    </a:lnTo>
                    <a:lnTo>
                      <a:pt x="1239" y="1512"/>
                    </a:lnTo>
                    <a:lnTo>
                      <a:pt x="1241" y="1512"/>
                    </a:lnTo>
                    <a:lnTo>
                      <a:pt x="1241" y="1510"/>
                    </a:lnTo>
                    <a:lnTo>
                      <a:pt x="1241" y="1509"/>
                    </a:lnTo>
                    <a:lnTo>
                      <a:pt x="1242" y="1509"/>
                    </a:lnTo>
                    <a:lnTo>
                      <a:pt x="1242" y="1507"/>
                    </a:lnTo>
                    <a:lnTo>
                      <a:pt x="1244" y="1507"/>
                    </a:lnTo>
                    <a:lnTo>
                      <a:pt x="1246" y="1507"/>
                    </a:lnTo>
                    <a:lnTo>
                      <a:pt x="1244" y="1509"/>
                    </a:lnTo>
                    <a:lnTo>
                      <a:pt x="1242" y="1509"/>
                    </a:lnTo>
                    <a:lnTo>
                      <a:pt x="1242" y="1510"/>
                    </a:lnTo>
                    <a:lnTo>
                      <a:pt x="1244" y="1509"/>
                    </a:lnTo>
                    <a:lnTo>
                      <a:pt x="1246" y="1507"/>
                    </a:lnTo>
                    <a:lnTo>
                      <a:pt x="1246" y="1509"/>
                    </a:lnTo>
                    <a:lnTo>
                      <a:pt x="1244" y="1509"/>
                    </a:lnTo>
                    <a:lnTo>
                      <a:pt x="1244" y="1510"/>
                    </a:lnTo>
                    <a:lnTo>
                      <a:pt x="1244" y="1509"/>
                    </a:lnTo>
                    <a:lnTo>
                      <a:pt x="1246" y="1509"/>
                    </a:lnTo>
                    <a:lnTo>
                      <a:pt x="1247" y="1507"/>
                    </a:lnTo>
                    <a:lnTo>
                      <a:pt x="1247" y="1509"/>
                    </a:lnTo>
                    <a:lnTo>
                      <a:pt x="1247" y="1507"/>
                    </a:lnTo>
                    <a:lnTo>
                      <a:pt x="1247" y="1509"/>
                    </a:lnTo>
                    <a:lnTo>
                      <a:pt x="1249" y="1510"/>
                    </a:lnTo>
                    <a:lnTo>
                      <a:pt x="1249" y="1509"/>
                    </a:lnTo>
                    <a:lnTo>
                      <a:pt x="1249" y="1507"/>
                    </a:lnTo>
                    <a:lnTo>
                      <a:pt x="1251" y="1507"/>
                    </a:lnTo>
                    <a:lnTo>
                      <a:pt x="1251" y="1505"/>
                    </a:lnTo>
                    <a:lnTo>
                      <a:pt x="1253" y="1505"/>
                    </a:lnTo>
                    <a:lnTo>
                      <a:pt x="1254" y="1504"/>
                    </a:lnTo>
                    <a:lnTo>
                      <a:pt x="1254" y="1502"/>
                    </a:lnTo>
                    <a:lnTo>
                      <a:pt x="1256" y="1502"/>
                    </a:lnTo>
                    <a:lnTo>
                      <a:pt x="1258" y="1500"/>
                    </a:lnTo>
                    <a:lnTo>
                      <a:pt x="1258" y="1498"/>
                    </a:lnTo>
                    <a:lnTo>
                      <a:pt x="1259" y="1498"/>
                    </a:lnTo>
                    <a:lnTo>
                      <a:pt x="1261" y="1498"/>
                    </a:lnTo>
                    <a:lnTo>
                      <a:pt x="1263" y="1500"/>
                    </a:lnTo>
                    <a:lnTo>
                      <a:pt x="1263" y="1498"/>
                    </a:lnTo>
                    <a:lnTo>
                      <a:pt x="1264" y="1497"/>
                    </a:lnTo>
                    <a:lnTo>
                      <a:pt x="1264" y="1498"/>
                    </a:lnTo>
                    <a:close/>
                    <a:moveTo>
                      <a:pt x="1382" y="1628"/>
                    </a:moveTo>
                    <a:lnTo>
                      <a:pt x="1383" y="1629"/>
                    </a:lnTo>
                    <a:lnTo>
                      <a:pt x="1385" y="1629"/>
                    </a:lnTo>
                    <a:lnTo>
                      <a:pt x="1385" y="1631"/>
                    </a:lnTo>
                    <a:lnTo>
                      <a:pt x="1387" y="1631"/>
                    </a:lnTo>
                    <a:lnTo>
                      <a:pt x="1387" y="1633"/>
                    </a:lnTo>
                    <a:lnTo>
                      <a:pt x="1389" y="1635"/>
                    </a:lnTo>
                    <a:lnTo>
                      <a:pt x="1389" y="1636"/>
                    </a:lnTo>
                    <a:lnTo>
                      <a:pt x="1387" y="1636"/>
                    </a:lnTo>
                    <a:lnTo>
                      <a:pt x="1385" y="1636"/>
                    </a:lnTo>
                    <a:lnTo>
                      <a:pt x="1385" y="1635"/>
                    </a:lnTo>
                    <a:lnTo>
                      <a:pt x="1383" y="1635"/>
                    </a:lnTo>
                    <a:lnTo>
                      <a:pt x="1385" y="1636"/>
                    </a:lnTo>
                    <a:lnTo>
                      <a:pt x="1385" y="1638"/>
                    </a:lnTo>
                    <a:lnTo>
                      <a:pt x="1383" y="1640"/>
                    </a:lnTo>
                    <a:lnTo>
                      <a:pt x="1382" y="1640"/>
                    </a:lnTo>
                    <a:lnTo>
                      <a:pt x="1380" y="1638"/>
                    </a:lnTo>
                    <a:lnTo>
                      <a:pt x="1378" y="1638"/>
                    </a:lnTo>
                    <a:lnTo>
                      <a:pt x="1380" y="1638"/>
                    </a:lnTo>
                    <a:lnTo>
                      <a:pt x="1380" y="1640"/>
                    </a:lnTo>
                    <a:lnTo>
                      <a:pt x="1380" y="1641"/>
                    </a:lnTo>
                    <a:lnTo>
                      <a:pt x="1378" y="1641"/>
                    </a:lnTo>
                    <a:lnTo>
                      <a:pt x="1377" y="1641"/>
                    </a:lnTo>
                    <a:lnTo>
                      <a:pt x="1375" y="1641"/>
                    </a:lnTo>
                    <a:lnTo>
                      <a:pt x="1373" y="1641"/>
                    </a:lnTo>
                    <a:lnTo>
                      <a:pt x="1373" y="1640"/>
                    </a:lnTo>
                    <a:lnTo>
                      <a:pt x="1372" y="1640"/>
                    </a:lnTo>
                    <a:lnTo>
                      <a:pt x="1370" y="1640"/>
                    </a:lnTo>
                    <a:lnTo>
                      <a:pt x="1370" y="1638"/>
                    </a:lnTo>
                    <a:lnTo>
                      <a:pt x="1368" y="1638"/>
                    </a:lnTo>
                    <a:lnTo>
                      <a:pt x="1368" y="1636"/>
                    </a:lnTo>
                    <a:lnTo>
                      <a:pt x="1366" y="1636"/>
                    </a:lnTo>
                    <a:lnTo>
                      <a:pt x="1365" y="1635"/>
                    </a:lnTo>
                    <a:lnTo>
                      <a:pt x="1363" y="1636"/>
                    </a:lnTo>
                    <a:lnTo>
                      <a:pt x="1365" y="1636"/>
                    </a:lnTo>
                    <a:lnTo>
                      <a:pt x="1366" y="1636"/>
                    </a:lnTo>
                    <a:lnTo>
                      <a:pt x="1366" y="1638"/>
                    </a:lnTo>
                    <a:lnTo>
                      <a:pt x="1366" y="1640"/>
                    </a:lnTo>
                    <a:lnTo>
                      <a:pt x="1368" y="1640"/>
                    </a:lnTo>
                    <a:lnTo>
                      <a:pt x="1370" y="1640"/>
                    </a:lnTo>
                    <a:lnTo>
                      <a:pt x="1370" y="1641"/>
                    </a:lnTo>
                    <a:lnTo>
                      <a:pt x="1372" y="1641"/>
                    </a:lnTo>
                    <a:lnTo>
                      <a:pt x="1372" y="1643"/>
                    </a:lnTo>
                    <a:lnTo>
                      <a:pt x="1372" y="1641"/>
                    </a:lnTo>
                    <a:lnTo>
                      <a:pt x="1372" y="1643"/>
                    </a:lnTo>
                    <a:lnTo>
                      <a:pt x="1373" y="1643"/>
                    </a:lnTo>
                    <a:lnTo>
                      <a:pt x="1375" y="1643"/>
                    </a:lnTo>
                    <a:lnTo>
                      <a:pt x="1375" y="1641"/>
                    </a:lnTo>
                    <a:lnTo>
                      <a:pt x="1377" y="1643"/>
                    </a:lnTo>
                    <a:lnTo>
                      <a:pt x="1378" y="1643"/>
                    </a:lnTo>
                    <a:lnTo>
                      <a:pt x="1380" y="1643"/>
                    </a:lnTo>
                    <a:lnTo>
                      <a:pt x="1382" y="1643"/>
                    </a:lnTo>
                    <a:lnTo>
                      <a:pt x="1383" y="1643"/>
                    </a:lnTo>
                    <a:lnTo>
                      <a:pt x="1385" y="1643"/>
                    </a:lnTo>
                    <a:lnTo>
                      <a:pt x="1387" y="1643"/>
                    </a:lnTo>
                    <a:lnTo>
                      <a:pt x="1387" y="1645"/>
                    </a:lnTo>
                    <a:lnTo>
                      <a:pt x="1389" y="1645"/>
                    </a:lnTo>
                    <a:lnTo>
                      <a:pt x="1390" y="1645"/>
                    </a:lnTo>
                    <a:lnTo>
                      <a:pt x="1390" y="1646"/>
                    </a:lnTo>
                    <a:lnTo>
                      <a:pt x="1389" y="1646"/>
                    </a:lnTo>
                    <a:lnTo>
                      <a:pt x="1387" y="1646"/>
                    </a:lnTo>
                    <a:lnTo>
                      <a:pt x="1389" y="1646"/>
                    </a:lnTo>
                    <a:lnTo>
                      <a:pt x="1390" y="1646"/>
                    </a:lnTo>
                    <a:lnTo>
                      <a:pt x="1392" y="1648"/>
                    </a:lnTo>
                    <a:lnTo>
                      <a:pt x="1394" y="1648"/>
                    </a:lnTo>
                    <a:lnTo>
                      <a:pt x="1394" y="1650"/>
                    </a:lnTo>
                    <a:lnTo>
                      <a:pt x="1392" y="1650"/>
                    </a:lnTo>
                    <a:lnTo>
                      <a:pt x="1390" y="1650"/>
                    </a:lnTo>
                    <a:lnTo>
                      <a:pt x="1389" y="1650"/>
                    </a:lnTo>
                    <a:lnTo>
                      <a:pt x="1387" y="1650"/>
                    </a:lnTo>
                    <a:lnTo>
                      <a:pt x="1385" y="1650"/>
                    </a:lnTo>
                    <a:lnTo>
                      <a:pt x="1383" y="1650"/>
                    </a:lnTo>
                    <a:lnTo>
                      <a:pt x="1382" y="1650"/>
                    </a:lnTo>
                    <a:lnTo>
                      <a:pt x="1383" y="1650"/>
                    </a:lnTo>
                    <a:lnTo>
                      <a:pt x="1383" y="1652"/>
                    </a:lnTo>
                    <a:lnTo>
                      <a:pt x="1382" y="1652"/>
                    </a:lnTo>
                    <a:lnTo>
                      <a:pt x="1380" y="1652"/>
                    </a:lnTo>
                    <a:lnTo>
                      <a:pt x="1378" y="1650"/>
                    </a:lnTo>
                    <a:lnTo>
                      <a:pt x="1378" y="1648"/>
                    </a:lnTo>
                    <a:lnTo>
                      <a:pt x="1377" y="1648"/>
                    </a:lnTo>
                    <a:lnTo>
                      <a:pt x="1375" y="1648"/>
                    </a:lnTo>
                    <a:lnTo>
                      <a:pt x="1377" y="1648"/>
                    </a:lnTo>
                    <a:lnTo>
                      <a:pt x="1378" y="1650"/>
                    </a:lnTo>
                    <a:lnTo>
                      <a:pt x="1377" y="1650"/>
                    </a:lnTo>
                    <a:lnTo>
                      <a:pt x="1378" y="1650"/>
                    </a:lnTo>
                    <a:lnTo>
                      <a:pt x="1378" y="1652"/>
                    </a:lnTo>
                    <a:lnTo>
                      <a:pt x="1378" y="1653"/>
                    </a:lnTo>
                    <a:lnTo>
                      <a:pt x="1380" y="1652"/>
                    </a:lnTo>
                    <a:lnTo>
                      <a:pt x="1382" y="1652"/>
                    </a:lnTo>
                    <a:lnTo>
                      <a:pt x="1380" y="1653"/>
                    </a:lnTo>
                    <a:lnTo>
                      <a:pt x="1380" y="1655"/>
                    </a:lnTo>
                    <a:lnTo>
                      <a:pt x="1382" y="1653"/>
                    </a:lnTo>
                    <a:lnTo>
                      <a:pt x="1383" y="1653"/>
                    </a:lnTo>
                    <a:lnTo>
                      <a:pt x="1385" y="1653"/>
                    </a:lnTo>
                    <a:lnTo>
                      <a:pt x="1387" y="1653"/>
                    </a:lnTo>
                    <a:lnTo>
                      <a:pt x="1389" y="1653"/>
                    </a:lnTo>
                    <a:lnTo>
                      <a:pt x="1389" y="1655"/>
                    </a:lnTo>
                    <a:lnTo>
                      <a:pt x="1390" y="1655"/>
                    </a:lnTo>
                    <a:lnTo>
                      <a:pt x="1389" y="1655"/>
                    </a:lnTo>
                    <a:lnTo>
                      <a:pt x="1389" y="1657"/>
                    </a:lnTo>
                    <a:lnTo>
                      <a:pt x="1390" y="1655"/>
                    </a:lnTo>
                    <a:lnTo>
                      <a:pt x="1392" y="1657"/>
                    </a:lnTo>
                    <a:lnTo>
                      <a:pt x="1392" y="1655"/>
                    </a:lnTo>
                    <a:lnTo>
                      <a:pt x="1394" y="1655"/>
                    </a:lnTo>
                    <a:lnTo>
                      <a:pt x="1395" y="1657"/>
                    </a:lnTo>
                    <a:lnTo>
                      <a:pt x="1394" y="1658"/>
                    </a:lnTo>
                    <a:lnTo>
                      <a:pt x="1394" y="1660"/>
                    </a:lnTo>
                    <a:lnTo>
                      <a:pt x="1395" y="1660"/>
                    </a:lnTo>
                    <a:lnTo>
                      <a:pt x="1397" y="1660"/>
                    </a:lnTo>
                    <a:lnTo>
                      <a:pt x="1399" y="1660"/>
                    </a:lnTo>
                    <a:lnTo>
                      <a:pt x="1397" y="1662"/>
                    </a:lnTo>
                    <a:lnTo>
                      <a:pt x="1395" y="1663"/>
                    </a:lnTo>
                    <a:lnTo>
                      <a:pt x="1397" y="1663"/>
                    </a:lnTo>
                    <a:lnTo>
                      <a:pt x="1397" y="1665"/>
                    </a:lnTo>
                    <a:lnTo>
                      <a:pt x="1397" y="1667"/>
                    </a:lnTo>
                    <a:lnTo>
                      <a:pt x="1399" y="1667"/>
                    </a:lnTo>
                    <a:lnTo>
                      <a:pt x="1399" y="1669"/>
                    </a:lnTo>
                    <a:lnTo>
                      <a:pt x="1399" y="1670"/>
                    </a:lnTo>
                    <a:lnTo>
                      <a:pt x="1397" y="1670"/>
                    </a:lnTo>
                    <a:lnTo>
                      <a:pt x="1399" y="1672"/>
                    </a:lnTo>
                    <a:lnTo>
                      <a:pt x="1397" y="1674"/>
                    </a:lnTo>
                    <a:lnTo>
                      <a:pt x="1397" y="1675"/>
                    </a:lnTo>
                    <a:lnTo>
                      <a:pt x="1395" y="1674"/>
                    </a:lnTo>
                    <a:lnTo>
                      <a:pt x="1395" y="1672"/>
                    </a:lnTo>
                    <a:lnTo>
                      <a:pt x="1394" y="1672"/>
                    </a:lnTo>
                    <a:lnTo>
                      <a:pt x="1395" y="1670"/>
                    </a:lnTo>
                    <a:lnTo>
                      <a:pt x="1394" y="1670"/>
                    </a:lnTo>
                    <a:lnTo>
                      <a:pt x="1394" y="1669"/>
                    </a:lnTo>
                    <a:lnTo>
                      <a:pt x="1394" y="1667"/>
                    </a:lnTo>
                    <a:lnTo>
                      <a:pt x="1394" y="1669"/>
                    </a:lnTo>
                    <a:lnTo>
                      <a:pt x="1392" y="1669"/>
                    </a:lnTo>
                    <a:lnTo>
                      <a:pt x="1392" y="1670"/>
                    </a:lnTo>
                    <a:lnTo>
                      <a:pt x="1392" y="1669"/>
                    </a:lnTo>
                    <a:lnTo>
                      <a:pt x="1390" y="1670"/>
                    </a:lnTo>
                    <a:lnTo>
                      <a:pt x="1389" y="1669"/>
                    </a:lnTo>
                    <a:lnTo>
                      <a:pt x="1390" y="1667"/>
                    </a:lnTo>
                    <a:lnTo>
                      <a:pt x="1390" y="1665"/>
                    </a:lnTo>
                    <a:lnTo>
                      <a:pt x="1392" y="1665"/>
                    </a:lnTo>
                    <a:lnTo>
                      <a:pt x="1392" y="1663"/>
                    </a:lnTo>
                    <a:lnTo>
                      <a:pt x="1390" y="1663"/>
                    </a:lnTo>
                    <a:lnTo>
                      <a:pt x="1389" y="1663"/>
                    </a:lnTo>
                    <a:lnTo>
                      <a:pt x="1389" y="1662"/>
                    </a:lnTo>
                    <a:lnTo>
                      <a:pt x="1389" y="1660"/>
                    </a:lnTo>
                    <a:lnTo>
                      <a:pt x="1387" y="1662"/>
                    </a:lnTo>
                    <a:lnTo>
                      <a:pt x="1389" y="1660"/>
                    </a:lnTo>
                    <a:lnTo>
                      <a:pt x="1387" y="1660"/>
                    </a:lnTo>
                    <a:lnTo>
                      <a:pt x="1387" y="1662"/>
                    </a:lnTo>
                    <a:lnTo>
                      <a:pt x="1385" y="1662"/>
                    </a:lnTo>
                    <a:lnTo>
                      <a:pt x="1383" y="1660"/>
                    </a:lnTo>
                    <a:lnTo>
                      <a:pt x="1383" y="1662"/>
                    </a:lnTo>
                    <a:lnTo>
                      <a:pt x="1382" y="1660"/>
                    </a:lnTo>
                    <a:lnTo>
                      <a:pt x="1380" y="1660"/>
                    </a:lnTo>
                    <a:lnTo>
                      <a:pt x="1382" y="1658"/>
                    </a:lnTo>
                    <a:lnTo>
                      <a:pt x="1382" y="1657"/>
                    </a:lnTo>
                    <a:lnTo>
                      <a:pt x="1380" y="1657"/>
                    </a:lnTo>
                    <a:lnTo>
                      <a:pt x="1380" y="1658"/>
                    </a:lnTo>
                    <a:lnTo>
                      <a:pt x="1380" y="1657"/>
                    </a:lnTo>
                    <a:lnTo>
                      <a:pt x="1378" y="1657"/>
                    </a:lnTo>
                    <a:lnTo>
                      <a:pt x="1380" y="1658"/>
                    </a:lnTo>
                    <a:lnTo>
                      <a:pt x="1378" y="1658"/>
                    </a:lnTo>
                    <a:lnTo>
                      <a:pt x="1380" y="1660"/>
                    </a:lnTo>
                    <a:lnTo>
                      <a:pt x="1378" y="1658"/>
                    </a:lnTo>
                    <a:lnTo>
                      <a:pt x="1378" y="1660"/>
                    </a:lnTo>
                    <a:lnTo>
                      <a:pt x="1377" y="1660"/>
                    </a:lnTo>
                    <a:lnTo>
                      <a:pt x="1375" y="1660"/>
                    </a:lnTo>
                    <a:lnTo>
                      <a:pt x="1375" y="1658"/>
                    </a:lnTo>
                    <a:lnTo>
                      <a:pt x="1373" y="1658"/>
                    </a:lnTo>
                    <a:lnTo>
                      <a:pt x="1373" y="1660"/>
                    </a:lnTo>
                    <a:lnTo>
                      <a:pt x="1372" y="1660"/>
                    </a:lnTo>
                    <a:lnTo>
                      <a:pt x="1373" y="1660"/>
                    </a:lnTo>
                    <a:lnTo>
                      <a:pt x="1375" y="1662"/>
                    </a:lnTo>
                    <a:lnTo>
                      <a:pt x="1373" y="1662"/>
                    </a:lnTo>
                    <a:lnTo>
                      <a:pt x="1373" y="1663"/>
                    </a:lnTo>
                    <a:lnTo>
                      <a:pt x="1372" y="1662"/>
                    </a:lnTo>
                    <a:lnTo>
                      <a:pt x="1370" y="1662"/>
                    </a:lnTo>
                    <a:lnTo>
                      <a:pt x="1370" y="1660"/>
                    </a:lnTo>
                    <a:lnTo>
                      <a:pt x="1368" y="1660"/>
                    </a:lnTo>
                    <a:lnTo>
                      <a:pt x="1368" y="1658"/>
                    </a:lnTo>
                    <a:lnTo>
                      <a:pt x="1366" y="1658"/>
                    </a:lnTo>
                    <a:lnTo>
                      <a:pt x="1368" y="1658"/>
                    </a:lnTo>
                    <a:lnTo>
                      <a:pt x="1368" y="1657"/>
                    </a:lnTo>
                    <a:lnTo>
                      <a:pt x="1370" y="1655"/>
                    </a:lnTo>
                    <a:lnTo>
                      <a:pt x="1372" y="1655"/>
                    </a:lnTo>
                    <a:lnTo>
                      <a:pt x="1373" y="1655"/>
                    </a:lnTo>
                    <a:lnTo>
                      <a:pt x="1373" y="1657"/>
                    </a:lnTo>
                    <a:lnTo>
                      <a:pt x="1373" y="1655"/>
                    </a:lnTo>
                    <a:lnTo>
                      <a:pt x="1372" y="1655"/>
                    </a:lnTo>
                    <a:lnTo>
                      <a:pt x="1370" y="1655"/>
                    </a:lnTo>
                    <a:lnTo>
                      <a:pt x="1368" y="1657"/>
                    </a:lnTo>
                    <a:lnTo>
                      <a:pt x="1366" y="1657"/>
                    </a:lnTo>
                    <a:lnTo>
                      <a:pt x="1368" y="1655"/>
                    </a:lnTo>
                    <a:lnTo>
                      <a:pt x="1368" y="1653"/>
                    </a:lnTo>
                    <a:lnTo>
                      <a:pt x="1370" y="1653"/>
                    </a:lnTo>
                    <a:lnTo>
                      <a:pt x="1368" y="1653"/>
                    </a:lnTo>
                    <a:lnTo>
                      <a:pt x="1370" y="1653"/>
                    </a:lnTo>
                    <a:lnTo>
                      <a:pt x="1370" y="1652"/>
                    </a:lnTo>
                    <a:lnTo>
                      <a:pt x="1370" y="1650"/>
                    </a:lnTo>
                    <a:lnTo>
                      <a:pt x="1370" y="1648"/>
                    </a:lnTo>
                    <a:lnTo>
                      <a:pt x="1372" y="1648"/>
                    </a:lnTo>
                    <a:lnTo>
                      <a:pt x="1372" y="1646"/>
                    </a:lnTo>
                    <a:lnTo>
                      <a:pt x="1370" y="1646"/>
                    </a:lnTo>
                    <a:lnTo>
                      <a:pt x="1372" y="1645"/>
                    </a:lnTo>
                    <a:lnTo>
                      <a:pt x="1373" y="1643"/>
                    </a:lnTo>
                    <a:lnTo>
                      <a:pt x="1372" y="1643"/>
                    </a:lnTo>
                    <a:lnTo>
                      <a:pt x="1372" y="1645"/>
                    </a:lnTo>
                    <a:lnTo>
                      <a:pt x="1370" y="1645"/>
                    </a:lnTo>
                    <a:lnTo>
                      <a:pt x="1370" y="1646"/>
                    </a:lnTo>
                    <a:lnTo>
                      <a:pt x="1370" y="1645"/>
                    </a:lnTo>
                    <a:lnTo>
                      <a:pt x="1368" y="1646"/>
                    </a:lnTo>
                    <a:lnTo>
                      <a:pt x="1368" y="1645"/>
                    </a:lnTo>
                    <a:lnTo>
                      <a:pt x="1368" y="1646"/>
                    </a:lnTo>
                    <a:lnTo>
                      <a:pt x="1366" y="1646"/>
                    </a:lnTo>
                    <a:lnTo>
                      <a:pt x="1368" y="1646"/>
                    </a:lnTo>
                    <a:lnTo>
                      <a:pt x="1366" y="1648"/>
                    </a:lnTo>
                    <a:lnTo>
                      <a:pt x="1366" y="1650"/>
                    </a:lnTo>
                    <a:lnTo>
                      <a:pt x="1366" y="1648"/>
                    </a:lnTo>
                    <a:lnTo>
                      <a:pt x="1365" y="1650"/>
                    </a:lnTo>
                    <a:lnTo>
                      <a:pt x="1365" y="1648"/>
                    </a:lnTo>
                    <a:lnTo>
                      <a:pt x="1363" y="1648"/>
                    </a:lnTo>
                    <a:lnTo>
                      <a:pt x="1363" y="1646"/>
                    </a:lnTo>
                    <a:lnTo>
                      <a:pt x="1361" y="1645"/>
                    </a:lnTo>
                    <a:lnTo>
                      <a:pt x="1361" y="1643"/>
                    </a:lnTo>
                    <a:lnTo>
                      <a:pt x="1361" y="1645"/>
                    </a:lnTo>
                    <a:lnTo>
                      <a:pt x="1361" y="1646"/>
                    </a:lnTo>
                    <a:lnTo>
                      <a:pt x="1363" y="1648"/>
                    </a:lnTo>
                    <a:lnTo>
                      <a:pt x="1361" y="1648"/>
                    </a:lnTo>
                    <a:lnTo>
                      <a:pt x="1360" y="1646"/>
                    </a:lnTo>
                    <a:lnTo>
                      <a:pt x="1360" y="1648"/>
                    </a:lnTo>
                    <a:lnTo>
                      <a:pt x="1360" y="1646"/>
                    </a:lnTo>
                    <a:lnTo>
                      <a:pt x="1358" y="1646"/>
                    </a:lnTo>
                    <a:lnTo>
                      <a:pt x="1360" y="1646"/>
                    </a:lnTo>
                    <a:lnTo>
                      <a:pt x="1358" y="1646"/>
                    </a:lnTo>
                    <a:lnTo>
                      <a:pt x="1358" y="1645"/>
                    </a:lnTo>
                    <a:lnTo>
                      <a:pt x="1358" y="1643"/>
                    </a:lnTo>
                    <a:lnTo>
                      <a:pt x="1356" y="1645"/>
                    </a:lnTo>
                    <a:lnTo>
                      <a:pt x="1356" y="1646"/>
                    </a:lnTo>
                    <a:lnTo>
                      <a:pt x="1358" y="1646"/>
                    </a:lnTo>
                    <a:lnTo>
                      <a:pt x="1358" y="1648"/>
                    </a:lnTo>
                    <a:lnTo>
                      <a:pt x="1356" y="1648"/>
                    </a:lnTo>
                    <a:lnTo>
                      <a:pt x="1356" y="1646"/>
                    </a:lnTo>
                    <a:lnTo>
                      <a:pt x="1356" y="1648"/>
                    </a:lnTo>
                    <a:lnTo>
                      <a:pt x="1355" y="1646"/>
                    </a:lnTo>
                    <a:lnTo>
                      <a:pt x="1355" y="1648"/>
                    </a:lnTo>
                    <a:lnTo>
                      <a:pt x="1356" y="1648"/>
                    </a:lnTo>
                    <a:lnTo>
                      <a:pt x="1358" y="1648"/>
                    </a:lnTo>
                    <a:lnTo>
                      <a:pt x="1358" y="1650"/>
                    </a:lnTo>
                    <a:lnTo>
                      <a:pt x="1356" y="1650"/>
                    </a:lnTo>
                    <a:lnTo>
                      <a:pt x="1356" y="1652"/>
                    </a:lnTo>
                    <a:lnTo>
                      <a:pt x="1355" y="1650"/>
                    </a:lnTo>
                    <a:lnTo>
                      <a:pt x="1353" y="1650"/>
                    </a:lnTo>
                    <a:lnTo>
                      <a:pt x="1355" y="1650"/>
                    </a:lnTo>
                    <a:lnTo>
                      <a:pt x="1353" y="1650"/>
                    </a:lnTo>
                    <a:lnTo>
                      <a:pt x="1351" y="1650"/>
                    </a:lnTo>
                    <a:lnTo>
                      <a:pt x="1353" y="1650"/>
                    </a:lnTo>
                    <a:lnTo>
                      <a:pt x="1351" y="1648"/>
                    </a:lnTo>
                    <a:lnTo>
                      <a:pt x="1351" y="1650"/>
                    </a:lnTo>
                    <a:lnTo>
                      <a:pt x="1351" y="1652"/>
                    </a:lnTo>
                    <a:lnTo>
                      <a:pt x="1351" y="1650"/>
                    </a:lnTo>
                    <a:lnTo>
                      <a:pt x="1353" y="1650"/>
                    </a:lnTo>
                    <a:lnTo>
                      <a:pt x="1355" y="1652"/>
                    </a:lnTo>
                    <a:lnTo>
                      <a:pt x="1356" y="1652"/>
                    </a:lnTo>
                    <a:lnTo>
                      <a:pt x="1355" y="1652"/>
                    </a:lnTo>
                    <a:lnTo>
                      <a:pt x="1355" y="1653"/>
                    </a:lnTo>
                    <a:lnTo>
                      <a:pt x="1356" y="1653"/>
                    </a:lnTo>
                    <a:lnTo>
                      <a:pt x="1356" y="1655"/>
                    </a:lnTo>
                    <a:lnTo>
                      <a:pt x="1356" y="1657"/>
                    </a:lnTo>
                    <a:lnTo>
                      <a:pt x="1358" y="1655"/>
                    </a:lnTo>
                    <a:lnTo>
                      <a:pt x="1358" y="1657"/>
                    </a:lnTo>
                    <a:lnTo>
                      <a:pt x="1360" y="1658"/>
                    </a:lnTo>
                    <a:lnTo>
                      <a:pt x="1358" y="1658"/>
                    </a:lnTo>
                    <a:lnTo>
                      <a:pt x="1356" y="1658"/>
                    </a:lnTo>
                    <a:lnTo>
                      <a:pt x="1356" y="1660"/>
                    </a:lnTo>
                    <a:lnTo>
                      <a:pt x="1358" y="1658"/>
                    </a:lnTo>
                    <a:lnTo>
                      <a:pt x="1358" y="1660"/>
                    </a:lnTo>
                    <a:lnTo>
                      <a:pt x="1356" y="1660"/>
                    </a:lnTo>
                    <a:lnTo>
                      <a:pt x="1358" y="1660"/>
                    </a:lnTo>
                    <a:lnTo>
                      <a:pt x="1360" y="1660"/>
                    </a:lnTo>
                    <a:lnTo>
                      <a:pt x="1358" y="1662"/>
                    </a:lnTo>
                    <a:lnTo>
                      <a:pt x="1360" y="1660"/>
                    </a:lnTo>
                    <a:lnTo>
                      <a:pt x="1360" y="1662"/>
                    </a:lnTo>
                    <a:lnTo>
                      <a:pt x="1360" y="1660"/>
                    </a:lnTo>
                    <a:lnTo>
                      <a:pt x="1361" y="1660"/>
                    </a:lnTo>
                    <a:lnTo>
                      <a:pt x="1363" y="1660"/>
                    </a:lnTo>
                    <a:lnTo>
                      <a:pt x="1363" y="1662"/>
                    </a:lnTo>
                    <a:lnTo>
                      <a:pt x="1361" y="1660"/>
                    </a:lnTo>
                    <a:lnTo>
                      <a:pt x="1360" y="1660"/>
                    </a:lnTo>
                    <a:lnTo>
                      <a:pt x="1361" y="1662"/>
                    </a:lnTo>
                    <a:lnTo>
                      <a:pt x="1360" y="1662"/>
                    </a:lnTo>
                    <a:lnTo>
                      <a:pt x="1361" y="1662"/>
                    </a:lnTo>
                    <a:lnTo>
                      <a:pt x="1363" y="1662"/>
                    </a:lnTo>
                    <a:lnTo>
                      <a:pt x="1361" y="1663"/>
                    </a:lnTo>
                    <a:lnTo>
                      <a:pt x="1360" y="1663"/>
                    </a:lnTo>
                    <a:lnTo>
                      <a:pt x="1360" y="1662"/>
                    </a:lnTo>
                    <a:lnTo>
                      <a:pt x="1360" y="1663"/>
                    </a:lnTo>
                    <a:lnTo>
                      <a:pt x="1360" y="1662"/>
                    </a:lnTo>
                    <a:lnTo>
                      <a:pt x="1358" y="1662"/>
                    </a:lnTo>
                    <a:lnTo>
                      <a:pt x="1358" y="1663"/>
                    </a:lnTo>
                    <a:lnTo>
                      <a:pt x="1356" y="1663"/>
                    </a:lnTo>
                    <a:lnTo>
                      <a:pt x="1355" y="1663"/>
                    </a:lnTo>
                    <a:lnTo>
                      <a:pt x="1355" y="1662"/>
                    </a:lnTo>
                    <a:lnTo>
                      <a:pt x="1355" y="1660"/>
                    </a:lnTo>
                    <a:lnTo>
                      <a:pt x="1355" y="1658"/>
                    </a:lnTo>
                    <a:lnTo>
                      <a:pt x="1355" y="1660"/>
                    </a:lnTo>
                    <a:lnTo>
                      <a:pt x="1353" y="1660"/>
                    </a:lnTo>
                    <a:lnTo>
                      <a:pt x="1355" y="1660"/>
                    </a:lnTo>
                    <a:lnTo>
                      <a:pt x="1355" y="1662"/>
                    </a:lnTo>
                    <a:lnTo>
                      <a:pt x="1353" y="1662"/>
                    </a:lnTo>
                    <a:lnTo>
                      <a:pt x="1355" y="1662"/>
                    </a:lnTo>
                    <a:lnTo>
                      <a:pt x="1353" y="1662"/>
                    </a:lnTo>
                    <a:lnTo>
                      <a:pt x="1353" y="1663"/>
                    </a:lnTo>
                    <a:lnTo>
                      <a:pt x="1353" y="1665"/>
                    </a:lnTo>
                    <a:lnTo>
                      <a:pt x="1351" y="1663"/>
                    </a:lnTo>
                    <a:lnTo>
                      <a:pt x="1353" y="1662"/>
                    </a:lnTo>
                    <a:lnTo>
                      <a:pt x="1351" y="1660"/>
                    </a:lnTo>
                    <a:lnTo>
                      <a:pt x="1351" y="1658"/>
                    </a:lnTo>
                    <a:lnTo>
                      <a:pt x="1349" y="1658"/>
                    </a:lnTo>
                    <a:lnTo>
                      <a:pt x="1349" y="1657"/>
                    </a:lnTo>
                    <a:lnTo>
                      <a:pt x="1351" y="1657"/>
                    </a:lnTo>
                    <a:lnTo>
                      <a:pt x="1353" y="1657"/>
                    </a:lnTo>
                    <a:lnTo>
                      <a:pt x="1351" y="1657"/>
                    </a:lnTo>
                    <a:lnTo>
                      <a:pt x="1349" y="1657"/>
                    </a:lnTo>
                    <a:lnTo>
                      <a:pt x="1349" y="1655"/>
                    </a:lnTo>
                    <a:lnTo>
                      <a:pt x="1351" y="1655"/>
                    </a:lnTo>
                    <a:lnTo>
                      <a:pt x="1349" y="1655"/>
                    </a:lnTo>
                    <a:lnTo>
                      <a:pt x="1348" y="1657"/>
                    </a:lnTo>
                    <a:lnTo>
                      <a:pt x="1346" y="1657"/>
                    </a:lnTo>
                    <a:lnTo>
                      <a:pt x="1344" y="1657"/>
                    </a:lnTo>
                    <a:lnTo>
                      <a:pt x="1344" y="1655"/>
                    </a:lnTo>
                    <a:lnTo>
                      <a:pt x="1346" y="1655"/>
                    </a:lnTo>
                    <a:lnTo>
                      <a:pt x="1348" y="1653"/>
                    </a:lnTo>
                    <a:lnTo>
                      <a:pt x="1346" y="1655"/>
                    </a:lnTo>
                    <a:lnTo>
                      <a:pt x="1346" y="1653"/>
                    </a:lnTo>
                    <a:lnTo>
                      <a:pt x="1344" y="1653"/>
                    </a:lnTo>
                    <a:lnTo>
                      <a:pt x="1344" y="1655"/>
                    </a:lnTo>
                    <a:lnTo>
                      <a:pt x="1343" y="1655"/>
                    </a:lnTo>
                    <a:lnTo>
                      <a:pt x="1343" y="1653"/>
                    </a:lnTo>
                    <a:lnTo>
                      <a:pt x="1344" y="1653"/>
                    </a:lnTo>
                    <a:lnTo>
                      <a:pt x="1344" y="1652"/>
                    </a:lnTo>
                    <a:lnTo>
                      <a:pt x="1343" y="1653"/>
                    </a:lnTo>
                    <a:lnTo>
                      <a:pt x="1341" y="1653"/>
                    </a:lnTo>
                    <a:lnTo>
                      <a:pt x="1339" y="1653"/>
                    </a:lnTo>
                    <a:lnTo>
                      <a:pt x="1338" y="1653"/>
                    </a:lnTo>
                    <a:lnTo>
                      <a:pt x="1339" y="1653"/>
                    </a:lnTo>
                    <a:lnTo>
                      <a:pt x="1339" y="1652"/>
                    </a:lnTo>
                    <a:lnTo>
                      <a:pt x="1341" y="1652"/>
                    </a:lnTo>
                    <a:lnTo>
                      <a:pt x="1339" y="1650"/>
                    </a:lnTo>
                    <a:lnTo>
                      <a:pt x="1341" y="1650"/>
                    </a:lnTo>
                    <a:lnTo>
                      <a:pt x="1343" y="1650"/>
                    </a:lnTo>
                    <a:lnTo>
                      <a:pt x="1344" y="1650"/>
                    </a:lnTo>
                    <a:lnTo>
                      <a:pt x="1346" y="1650"/>
                    </a:lnTo>
                    <a:lnTo>
                      <a:pt x="1348" y="1650"/>
                    </a:lnTo>
                    <a:lnTo>
                      <a:pt x="1346" y="1650"/>
                    </a:lnTo>
                    <a:lnTo>
                      <a:pt x="1344" y="1650"/>
                    </a:lnTo>
                    <a:lnTo>
                      <a:pt x="1343" y="1650"/>
                    </a:lnTo>
                    <a:lnTo>
                      <a:pt x="1344" y="1650"/>
                    </a:lnTo>
                    <a:lnTo>
                      <a:pt x="1344" y="1648"/>
                    </a:lnTo>
                    <a:lnTo>
                      <a:pt x="1343" y="1650"/>
                    </a:lnTo>
                    <a:lnTo>
                      <a:pt x="1343" y="1648"/>
                    </a:lnTo>
                    <a:lnTo>
                      <a:pt x="1344" y="1646"/>
                    </a:lnTo>
                    <a:lnTo>
                      <a:pt x="1346" y="1646"/>
                    </a:lnTo>
                    <a:lnTo>
                      <a:pt x="1348" y="1646"/>
                    </a:lnTo>
                    <a:lnTo>
                      <a:pt x="1348" y="1645"/>
                    </a:lnTo>
                    <a:lnTo>
                      <a:pt x="1349" y="1645"/>
                    </a:lnTo>
                    <a:lnTo>
                      <a:pt x="1349" y="1643"/>
                    </a:lnTo>
                    <a:lnTo>
                      <a:pt x="1348" y="1645"/>
                    </a:lnTo>
                    <a:lnTo>
                      <a:pt x="1346" y="1645"/>
                    </a:lnTo>
                    <a:lnTo>
                      <a:pt x="1344" y="1646"/>
                    </a:lnTo>
                    <a:lnTo>
                      <a:pt x="1343" y="1646"/>
                    </a:lnTo>
                    <a:lnTo>
                      <a:pt x="1343" y="1648"/>
                    </a:lnTo>
                    <a:lnTo>
                      <a:pt x="1341" y="1648"/>
                    </a:lnTo>
                    <a:lnTo>
                      <a:pt x="1339" y="1648"/>
                    </a:lnTo>
                    <a:lnTo>
                      <a:pt x="1339" y="1650"/>
                    </a:lnTo>
                    <a:lnTo>
                      <a:pt x="1338" y="1650"/>
                    </a:lnTo>
                    <a:lnTo>
                      <a:pt x="1336" y="1650"/>
                    </a:lnTo>
                    <a:lnTo>
                      <a:pt x="1334" y="1650"/>
                    </a:lnTo>
                    <a:lnTo>
                      <a:pt x="1336" y="1648"/>
                    </a:lnTo>
                    <a:lnTo>
                      <a:pt x="1334" y="1648"/>
                    </a:lnTo>
                    <a:lnTo>
                      <a:pt x="1332" y="1648"/>
                    </a:lnTo>
                    <a:lnTo>
                      <a:pt x="1332" y="1646"/>
                    </a:lnTo>
                    <a:lnTo>
                      <a:pt x="1334" y="1648"/>
                    </a:lnTo>
                    <a:lnTo>
                      <a:pt x="1336" y="1646"/>
                    </a:lnTo>
                    <a:lnTo>
                      <a:pt x="1334" y="1645"/>
                    </a:lnTo>
                    <a:lnTo>
                      <a:pt x="1332" y="1645"/>
                    </a:lnTo>
                    <a:lnTo>
                      <a:pt x="1331" y="1645"/>
                    </a:lnTo>
                    <a:lnTo>
                      <a:pt x="1332" y="1645"/>
                    </a:lnTo>
                    <a:lnTo>
                      <a:pt x="1334" y="1645"/>
                    </a:lnTo>
                    <a:lnTo>
                      <a:pt x="1336" y="1645"/>
                    </a:lnTo>
                    <a:lnTo>
                      <a:pt x="1338" y="1645"/>
                    </a:lnTo>
                    <a:lnTo>
                      <a:pt x="1336" y="1643"/>
                    </a:lnTo>
                    <a:lnTo>
                      <a:pt x="1336" y="1645"/>
                    </a:lnTo>
                    <a:lnTo>
                      <a:pt x="1334" y="1645"/>
                    </a:lnTo>
                    <a:lnTo>
                      <a:pt x="1332" y="1643"/>
                    </a:lnTo>
                    <a:lnTo>
                      <a:pt x="1334" y="1643"/>
                    </a:lnTo>
                    <a:lnTo>
                      <a:pt x="1332" y="1643"/>
                    </a:lnTo>
                    <a:lnTo>
                      <a:pt x="1331" y="1643"/>
                    </a:lnTo>
                    <a:lnTo>
                      <a:pt x="1331" y="1641"/>
                    </a:lnTo>
                    <a:lnTo>
                      <a:pt x="1331" y="1640"/>
                    </a:lnTo>
                    <a:lnTo>
                      <a:pt x="1332" y="1640"/>
                    </a:lnTo>
                    <a:lnTo>
                      <a:pt x="1332" y="1641"/>
                    </a:lnTo>
                    <a:lnTo>
                      <a:pt x="1334" y="1641"/>
                    </a:lnTo>
                    <a:lnTo>
                      <a:pt x="1332" y="1641"/>
                    </a:lnTo>
                    <a:lnTo>
                      <a:pt x="1332" y="1640"/>
                    </a:lnTo>
                    <a:lnTo>
                      <a:pt x="1334" y="1640"/>
                    </a:lnTo>
                    <a:lnTo>
                      <a:pt x="1334" y="1638"/>
                    </a:lnTo>
                    <a:lnTo>
                      <a:pt x="1336" y="1638"/>
                    </a:lnTo>
                    <a:lnTo>
                      <a:pt x="1338" y="1638"/>
                    </a:lnTo>
                    <a:lnTo>
                      <a:pt x="1339" y="1638"/>
                    </a:lnTo>
                    <a:lnTo>
                      <a:pt x="1339" y="1636"/>
                    </a:lnTo>
                    <a:lnTo>
                      <a:pt x="1341" y="1636"/>
                    </a:lnTo>
                    <a:lnTo>
                      <a:pt x="1343" y="1636"/>
                    </a:lnTo>
                    <a:lnTo>
                      <a:pt x="1343" y="1638"/>
                    </a:lnTo>
                    <a:lnTo>
                      <a:pt x="1343" y="1636"/>
                    </a:lnTo>
                    <a:lnTo>
                      <a:pt x="1344" y="1636"/>
                    </a:lnTo>
                    <a:lnTo>
                      <a:pt x="1346" y="1636"/>
                    </a:lnTo>
                    <a:lnTo>
                      <a:pt x="1346" y="1638"/>
                    </a:lnTo>
                    <a:lnTo>
                      <a:pt x="1346" y="1640"/>
                    </a:lnTo>
                    <a:lnTo>
                      <a:pt x="1348" y="1640"/>
                    </a:lnTo>
                    <a:lnTo>
                      <a:pt x="1346" y="1640"/>
                    </a:lnTo>
                    <a:lnTo>
                      <a:pt x="1348" y="1641"/>
                    </a:lnTo>
                    <a:lnTo>
                      <a:pt x="1348" y="1643"/>
                    </a:lnTo>
                    <a:lnTo>
                      <a:pt x="1346" y="1643"/>
                    </a:lnTo>
                    <a:lnTo>
                      <a:pt x="1348" y="1641"/>
                    </a:lnTo>
                    <a:lnTo>
                      <a:pt x="1348" y="1640"/>
                    </a:lnTo>
                    <a:lnTo>
                      <a:pt x="1348" y="1638"/>
                    </a:lnTo>
                    <a:lnTo>
                      <a:pt x="1346" y="1638"/>
                    </a:lnTo>
                    <a:lnTo>
                      <a:pt x="1348" y="1638"/>
                    </a:lnTo>
                    <a:lnTo>
                      <a:pt x="1346" y="1636"/>
                    </a:lnTo>
                    <a:lnTo>
                      <a:pt x="1346" y="1635"/>
                    </a:lnTo>
                    <a:lnTo>
                      <a:pt x="1348" y="1635"/>
                    </a:lnTo>
                    <a:lnTo>
                      <a:pt x="1349" y="1635"/>
                    </a:lnTo>
                    <a:lnTo>
                      <a:pt x="1351" y="1635"/>
                    </a:lnTo>
                    <a:lnTo>
                      <a:pt x="1351" y="1636"/>
                    </a:lnTo>
                    <a:lnTo>
                      <a:pt x="1349" y="1636"/>
                    </a:lnTo>
                    <a:lnTo>
                      <a:pt x="1351" y="1636"/>
                    </a:lnTo>
                    <a:lnTo>
                      <a:pt x="1353" y="1636"/>
                    </a:lnTo>
                    <a:lnTo>
                      <a:pt x="1355" y="1636"/>
                    </a:lnTo>
                    <a:lnTo>
                      <a:pt x="1353" y="1636"/>
                    </a:lnTo>
                    <a:lnTo>
                      <a:pt x="1353" y="1635"/>
                    </a:lnTo>
                    <a:lnTo>
                      <a:pt x="1353" y="1633"/>
                    </a:lnTo>
                    <a:lnTo>
                      <a:pt x="1355" y="1633"/>
                    </a:lnTo>
                    <a:lnTo>
                      <a:pt x="1356" y="1633"/>
                    </a:lnTo>
                    <a:lnTo>
                      <a:pt x="1358" y="1633"/>
                    </a:lnTo>
                    <a:lnTo>
                      <a:pt x="1358" y="1635"/>
                    </a:lnTo>
                    <a:lnTo>
                      <a:pt x="1360" y="1635"/>
                    </a:lnTo>
                    <a:lnTo>
                      <a:pt x="1358" y="1635"/>
                    </a:lnTo>
                    <a:lnTo>
                      <a:pt x="1358" y="1633"/>
                    </a:lnTo>
                    <a:lnTo>
                      <a:pt x="1360" y="1633"/>
                    </a:lnTo>
                    <a:lnTo>
                      <a:pt x="1361" y="1631"/>
                    </a:lnTo>
                    <a:lnTo>
                      <a:pt x="1361" y="1633"/>
                    </a:lnTo>
                    <a:lnTo>
                      <a:pt x="1363" y="1631"/>
                    </a:lnTo>
                    <a:lnTo>
                      <a:pt x="1363" y="1633"/>
                    </a:lnTo>
                    <a:lnTo>
                      <a:pt x="1365" y="1633"/>
                    </a:lnTo>
                    <a:lnTo>
                      <a:pt x="1365" y="1631"/>
                    </a:lnTo>
                    <a:lnTo>
                      <a:pt x="1366" y="1631"/>
                    </a:lnTo>
                    <a:lnTo>
                      <a:pt x="1368" y="1631"/>
                    </a:lnTo>
                    <a:lnTo>
                      <a:pt x="1370" y="1631"/>
                    </a:lnTo>
                    <a:lnTo>
                      <a:pt x="1372" y="1631"/>
                    </a:lnTo>
                    <a:lnTo>
                      <a:pt x="1373" y="1631"/>
                    </a:lnTo>
                    <a:lnTo>
                      <a:pt x="1373" y="1629"/>
                    </a:lnTo>
                    <a:lnTo>
                      <a:pt x="1375" y="1629"/>
                    </a:lnTo>
                    <a:lnTo>
                      <a:pt x="1377" y="1629"/>
                    </a:lnTo>
                    <a:lnTo>
                      <a:pt x="1378" y="1629"/>
                    </a:lnTo>
                    <a:lnTo>
                      <a:pt x="1380" y="1628"/>
                    </a:lnTo>
                    <a:lnTo>
                      <a:pt x="1382" y="1628"/>
                    </a:lnTo>
                    <a:close/>
                    <a:moveTo>
                      <a:pt x="1229" y="1539"/>
                    </a:moveTo>
                    <a:lnTo>
                      <a:pt x="1230" y="1539"/>
                    </a:lnTo>
                    <a:lnTo>
                      <a:pt x="1229" y="1541"/>
                    </a:lnTo>
                    <a:lnTo>
                      <a:pt x="1229" y="1543"/>
                    </a:lnTo>
                    <a:lnTo>
                      <a:pt x="1229" y="1541"/>
                    </a:lnTo>
                    <a:lnTo>
                      <a:pt x="1230" y="1541"/>
                    </a:lnTo>
                    <a:lnTo>
                      <a:pt x="1230" y="1543"/>
                    </a:lnTo>
                    <a:lnTo>
                      <a:pt x="1229" y="1544"/>
                    </a:lnTo>
                    <a:lnTo>
                      <a:pt x="1230" y="1544"/>
                    </a:lnTo>
                    <a:lnTo>
                      <a:pt x="1230" y="1546"/>
                    </a:lnTo>
                    <a:lnTo>
                      <a:pt x="1230" y="1544"/>
                    </a:lnTo>
                    <a:lnTo>
                      <a:pt x="1230" y="1543"/>
                    </a:lnTo>
                    <a:lnTo>
                      <a:pt x="1230" y="1541"/>
                    </a:lnTo>
                    <a:lnTo>
                      <a:pt x="1230" y="1539"/>
                    </a:lnTo>
                    <a:lnTo>
                      <a:pt x="1230" y="1541"/>
                    </a:lnTo>
                    <a:lnTo>
                      <a:pt x="1232" y="1541"/>
                    </a:lnTo>
                    <a:lnTo>
                      <a:pt x="1232" y="1543"/>
                    </a:lnTo>
                    <a:lnTo>
                      <a:pt x="1232" y="1541"/>
                    </a:lnTo>
                    <a:lnTo>
                      <a:pt x="1234" y="1543"/>
                    </a:lnTo>
                    <a:lnTo>
                      <a:pt x="1232" y="1543"/>
                    </a:lnTo>
                    <a:lnTo>
                      <a:pt x="1234" y="1543"/>
                    </a:lnTo>
                    <a:lnTo>
                      <a:pt x="1234" y="1544"/>
                    </a:lnTo>
                    <a:lnTo>
                      <a:pt x="1232" y="1544"/>
                    </a:lnTo>
                    <a:lnTo>
                      <a:pt x="1232" y="1546"/>
                    </a:lnTo>
                    <a:lnTo>
                      <a:pt x="1232" y="1548"/>
                    </a:lnTo>
                    <a:lnTo>
                      <a:pt x="1234" y="1546"/>
                    </a:lnTo>
                    <a:lnTo>
                      <a:pt x="1232" y="1546"/>
                    </a:lnTo>
                    <a:lnTo>
                      <a:pt x="1234" y="1544"/>
                    </a:lnTo>
                    <a:lnTo>
                      <a:pt x="1234" y="1546"/>
                    </a:lnTo>
                    <a:lnTo>
                      <a:pt x="1236" y="1546"/>
                    </a:lnTo>
                    <a:lnTo>
                      <a:pt x="1234" y="1548"/>
                    </a:lnTo>
                    <a:lnTo>
                      <a:pt x="1232" y="1548"/>
                    </a:lnTo>
                    <a:lnTo>
                      <a:pt x="1234" y="1548"/>
                    </a:lnTo>
                    <a:lnTo>
                      <a:pt x="1236" y="1548"/>
                    </a:lnTo>
                    <a:lnTo>
                      <a:pt x="1234" y="1548"/>
                    </a:lnTo>
                    <a:lnTo>
                      <a:pt x="1234" y="1549"/>
                    </a:lnTo>
                    <a:lnTo>
                      <a:pt x="1236" y="1549"/>
                    </a:lnTo>
                    <a:lnTo>
                      <a:pt x="1234" y="1551"/>
                    </a:lnTo>
                    <a:lnTo>
                      <a:pt x="1234" y="1553"/>
                    </a:lnTo>
                    <a:lnTo>
                      <a:pt x="1234" y="1555"/>
                    </a:lnTo>
                    <a:lnTo>
                      <a:pt x="1236" y="1555"/>
                    </a:lnTo>
                    <a:lnTo>
                      <a:pt x="1236" y="1553"/>
                    </a:lnTo>
                    <a:lnTo>
                      <a:pt x="1234" y="1553"/>
                    </a:lnTo>
                    <a:lnTo>
                      <a:pt x="1236" y="1551"/>
                    </a:lnTo>
                    <a:lnTo>
                      <a:pt x="1236" y="1549"/>
                    </a:lnTo>
                    <a:lnTo>
                      <a:pt x="1237" y="1549"/>
                    </a:lnTo>
                    <a:lnTo>
                      <a:pt x="1236" y="1548"/>
                    </a:lnTo>
                    <a:lnTo>
                      <a:pt x="1236" y="1546"/>
                    </a:lnTo>
                    <a:lnTo>
                      <a:pt x="1236" y="1544"/>
                    </a:lnTo>
                    <a:lnTo>
                      <a:pt x="1234" y="1543"/>
                    </a:lnTo>
                    <a:lnTo>
                      <a:pt x="1236" y="1543"/>
                    </a:lnTo>
                    <a:lnTo>
                      <a:pt x="1237" y="1544"/>
                    </a:lnTo>
                    <a:lnTo>
                      <a:pt x="1237" y="1546"/>
                    </a:lnTo>
                    <a:lnTo>
                      <a:pt x="1239" y="1546"/>
                    </a:lnTo>
                    <a:lnTo>
                      <a:pt x="1239" y="1548"/>
                    </a:lnTo>
                    <a:lnTo>
                      <a:pt x="1239" y="1549"/>
                    </a:lnTo>
                    <a:lnTo>
                      <a:pt x="1241" y="1551"/>
                    </a:lnTo>
                    <a:lnTo>
                      <a:pt x="1239" y="1551"/>
                    </a:lnTo>
                    <a:lnTo>
                      <a:pt x="1239" y="1553"/>
                    </a:lnTo>
                    <a:lnTo>
                      <a:pt x="1241" y="1551"/>
                    </a:lnTo>
                    <a:lnTo>
                      <a:pt x="1241" y="1553"/>
                    </a:lnTo>
                    <a:lnTo>
                      <a:pt x="1241" y="1555"/>
                    </a:lnTo>
                    <a:lnTo>
                      <a:pt x="1242" y="1553"/>
                    </a:lnTo>
                    <a:lnTo>
                      <a:pt x="1242" y="1551"/>
                    </a:lnTo>
                    <a:lnTo>
                      <a:pt x="1242" y="1549"/>
                    </a:lnTo>
                    <a:lnTo>
                      <a:pt x="1241" y="1549"/>
                    </a:lnTo>
                    <a:lnTo>
                      <a:pt x="1241" y="1548"/>
                    </a:lnTo>
                    <a:lnTo>
                      <a:pt x="1242" y="1548"/>
                    </a:lnTo>
                    <a:lnTo>
                      <a:pt x="1242" y="1549"/>
                    </a:lnTo>
                    <a:lnTo>
                      <a:pt x="1242" y="1548"/>
                    </a:lnTo>
                    <a:lnTo>
                      <a:pt x="1244" y="1549"/>
                    </a:lnTo>
                    <a:lnTo>
                      <a:pt x="1246" y="1549"/>
                    </a:lnTo>
                    <a:lnTo>
                      <a:pt x="1247" y="1549"/>
                    </a:lnTo>
                    <a:lnTo>
                      <a:pt x="1247" y="1551"/>
                    </a:lnTo>
                    <a:lnTo>
                      <a:pt x="1249" y="1551"/>
                    </a:lnTo>
                    <a:lnTo>
                      <a:pt x="1247" y="1553"/>
                    </a:lnTo>
                    <a:lnTo>
                      <a:pt x="1249" y="1553"/>
                    </a:lnTo>
                    <a:lnTo>
                      <a:pt x="1249" y="1551"/>
                    </a:lnTo>
                    <a:lnTo>
                      <a:pt x="1249" y="1553"/>
                    </a:lnTo>
                    <a:lnTo>
                      <a:pt x="1251" y="1553"/>
                    </a:lnTo>
                    <a:lnTo>
                      <a:pt x="1249" y="1555"/>
                    </a:lnTo>
                    <a:lnTo>
                      <a:pt x="1247" y="1555"/>
                    </a:lnTo>
                    <a:lnTo>
                      <a:pt x="1246" y="1555"/>
                    </a:lnTo>
                    <a:lnTo>
                      <a:pt x="1244" y="1555"/>
                    </a:lnTo>
                    <a:lnTo>
                      <a:pt x="1242" y="1555"/>
                    </a:lnTo>
                    <a:lnTo>
                      <a:pt x="1242" y="1556"/>
                    </a:lnTo>
                    <a:lnTo>
                      <a:pt x="1242" y="1558"/>
                    </a:lnTo>
                    <a:lnTo>
                      <a:pt x="1244" y="1558"/>
                    </a:lnTo>
                    <a:lnTo>
                      <a:pt x="1242" y="1558"/>
                    </a:lnTo>
                    <a:lnTo>
                      <a:pt x="1244" y="1558"/>
                    </a:lnTo>
                    <a:lnTo>
                      <a:pt x="1246" y="1558"/>
                    </a:lnTo>
                    <a:lnTo>
                      <a:pt x="1244" y="1558"/>
                    </a:lnTo>
                    <a:lnTo>
                      <a:pt x="1242" y="1558"/>
                    </a:lnTo>
                    <a:lnTo>
                      <a:pt x="1244" y="1556"/>
                    </a:lnTo>
                    <a:lnTo>
                      <a:pt x="1246" y="1556"/>
                    </a:lnTo>
                    <a:lnTo>
                      <a:pt x="1247" y="1555"/>
                    </a:lnTo>
                    <a:lnTo>
                      <a:pt x="1247" y="1556"/>
                    </a:lnTo>
                    <a:lnTo>
                      <a:pt x="1249" y="1556"/>
                    </a:lnTo>
                    <a:lnTo>
                      <a:pt x="1247" y="1556"/>
                    </a:lnTo>
                    <a:lnTo>
                      <a:pt x="1249" y="1556"/>
                    </a:lnTo>
                    <a:lnTo>
                      <a:pt x="1249" y="1558"/>
                    </a:lnTo>
                    <a:lnTo>
                      <a:pt x="1247" y="1558"/>
                    </a:lnTo>
                    <a:lnTo>
                      <a:pt x="1249" y="1558"/>
                    </a:lnTo>
                    <a:lnTo>
                      <a:pt x="1247" y="1558"/>
                    </a:lnTo>
                    <a:lnTo>
                      <a:pt x="1247" y="1560"/>
                    </a:lnTo>
                    <a:lnTo>
                      <a:pt x="1249" y="1560"/>
                    </a:lnTo>
                    <a:lnTo>
                      <a:pt x="1249" y="1558"/>
                    </a:lnTo>
                    <a:lnTo>
                      <a:pt x="1249" y="1556"/>
                    </a:lnTo>
                    <a:lnTo>
                      <a:pt x="1251" y="1556"/>
                    </a:lnTo>
                    <a:lnTo>
                      <a:pt x="1253" y="1556"/>
                    </a:lnTo>
                    <a:lnTo>
                      <a:pt x="1251" y="1558"/>
                    </a:lnTo>
                    <a:lnTo>
                      <a:pt x="1253" y="1558"/>
                    </a:lnTo>
                    <a:lnTo>
                      <a:pt x="1253" y="1556"/>
                    </a:lnTo>
                    <a:lnTo>
                      <a:pt x="1254" y="1558"/>
                    </a:lnTo>
                    <a:lnTo>
                      <a:pt x="1256" y="1558"/>
                    </a:lnTo>
                    <a:lnTo>
                      <a:pt x="1254" y="1560"/>
                    </a:lnTo>
                    <a:lnTo>
                      <a:pt x="1253" y="1560"/>
                    </a:lnTo>
                    <a:lnTo>
                      <a:pt x="1254" y="1560"/>
                    </a:lnTo>
                    <a:lnTo>
                      <a:pt x="1256" y="1560"/>
                    </a:lnTo>
                    <a:lnTo>
                      <a:pt x="1258" y="1560"/>
                    </a:lnTo>
                    <a:lnTo>
                      <a:pt x="1258" y="1561"/>
                    </a:lnTo>
                    <a:lnTo>
                      <a:pt x="1259" y="1563"/>
                    </a:lnTo>
                    <a:lnTo>
                      <a:pt x="1258" y="1563"/>
                    </a:lnTo>
                    <a:lnTo>
                      <a:pt x="1256" y="1563"/>
                    </a:lnTo>
                    <a:lnTo>
                      <a:pt x="1254" y="1563"/>
                    </a:lnTo>
                    <a:lnTo>
                      <a:pt x="1256" y="1563"/>
                    </a:lnTo>
                    <a:lnTo>
                      <a:pt x="1258" y="1565"/>
                    </a:lnTo>
                    <a:lnTo>
                      <a:pt x="1256" y="1565"/>
                    </a:lnTo>
                    <a:lnTo>
                      <a:pt x="1256" y="1566"/>
                    </a:lnTo>
                    <a:lnTo>
                      <a:pt x="1254" y="1566"/>
                    </a:lnTo>
                    <a:lnTo>
                      <a:pt x="1253" y="1565"/>
                    </a:lnTo>
                    <a:lnTo>
                      <a:pt x="1251" y="1563"/>
                    </a:lnTo>
                    <a:lnTo>
                      <a:pt x="1251" y="1565"/>
                    </a:lnTo>
                    <a:lnTo>
                      <a:pt x="1249" y="1565"/>
                    </a:lnTo>
                    <a:lnTo>
                      <a:pt x="1247" y="1565"/>
                    </a:lnTo>
                    <a:lnTo>
                      <a:pt x="1249" y="1565"/>
                    </a:lnTo>
                    <a:lnTo>
                      <a:pt x="1251" y="1565"/>
                    </a:lnTo>
                    <a:lnTo>
                      <a:pt x="1253" y="1565"/>
                    </a:lnTo>
                    <a:lnTo>
                      <a:pt x="1251" y="1566"/>
                    </a:lnTo>
                    <a:lnTo>
                      <a:pt x="1253" y="1566"/>
                    </a:lnTo>
                    <a:lnTo>
                      <a:pt x="1253" y="1568"/>
                    </a:lnTo>
                    <a:lnTo>
                      <a:pt x="1253" y="1570"/>
                    </a:lnTo>
                    <a:lnTo>
                      <a:pt x="1251" y="1570"/>
                    </a:lnTo>
                    <a:lnTo>
                      <a:pt x="1251" y="1568"/>
                    </a:lnTo>
                    <a:lnTo>
                      <a:pt x="1251" y="1570"/>
                    </a:lnTo>
                    <a:lnTo>
                      <a:pt x="1251" y="1568"/>
                    </a:lnTo>
                    <a:lnTo>
                      <a:pt x="1249" y="1568"/>
                    </a:lnTo>
                    <a:lnTo>
                      <a:pt x="1247" y="1568"/>
                    </a:lnTo>
                    <a:lnTo>
                      <a:pt x="1249" y="1568"/>
                    </a:lnTo>
                    <a:lnTo>
                      <a:pt x="1249" y="1570"/>
                    </a:lnTo>
                    <a:lnTo>
                      <a:pt x="1251" y="1570"/>
                    </a:lnTo>
                    <a:lnTo>
                      <a:pt x="1251" y="1572"/>
                    </a:lnTo>
                    <a:lnTo>
                      <a:pt x="1249" y="1572"/>
                    </a:lnTo>
                    <a:lnTo>
                      <a:pt x="1247" y="1572"/>
                    </a:lnTo>
                    <a:lnTo>
                      <a:pt x="1249" y="1572"/>
                    </a:lnTo>
                    <a:lnTo>
                      <a:pt x="1251" y="1573"/>
                    </a:lnTo>
                    <a:lnTo>
                      <a:pt x="1251" y="1575"/>
                    </a:lnTo>
                    <a:lnTo>
                      <a:pt x="1251" y="1573"/>
                    </a:lnTo>
                    <a:lnTo>
                      <a:pt x="1253" y="1575"/>
                    </a:lnTo>
                    <a:lnTo>
                      <a:pt x="1253" y="1577"/>
                    </a:lnTo>
                    <a:lnTo>
                      <a:pt x="1251" y="1577"/>
                    </a:lnTo>
                    <a:lnTo>
                      <a:pt x="1249" y="1577"/>
                    </a:lnTo>
                    <a:lnTo>
                      <a:pt x="1249" y="1578"/>
                    </a:lnTo>
                    <a:lnTo>
                      <a:pt x="1247" y="1578"/>
                    </a:lnTo>
                    <a:lnTo>
                      <a:pt x="1247" y="1577"/>
                    </a:lnTo>
                    <a:lnTo>
                      <a:pt x="1247" y="1575"/>
                    </a:lnTo>
                    <a:lnTo>
                      <a:pt x="1246" y="1575"/>
                    </a:lnTo>
                    <a:lnTo>
                      <a:pt x="1247" y="1575"/>
                    </a:lnTo>
                    <a:lnTo>
                      <a:pt x="1247" y="1573"/>
                    </a:lnTo>
                    <a:lnTo>
                      <a:pt x="1247" y="1572"/>
                    </a:lnTo>
                    <a:lnTo>
                      <a:pt x="1247" y="1573"/>
                    </a:lnTo>
                    <a:lnTo>
                      <a:pt x="1247" y="1575"/>
                    </a:lnTo>
                    <a:lnTo>
                      <a:pt x="1246" y="1575"/>
                    </a:lnTo>
                    <a:lnTo>
                      <a:pt x="1246" y="1573"/>
                    </a:lnTo>
                    <a:lnTo>
                      <a:pt x="1244" y="1575"/>
                    </a:lnTo>
                    <a:lnTo>
                      <a:pt x="1246" y="1575"/>
                    </a:lnTo>
                    <a:lnTo>
                      <a:pt x="1244" y="1575"/>
                    </a:lnTo>
                    <a:lnTo>
                      <a:pt x="1244" y="1577"/>
                    </a:lnTo>
                    <a:lnTo>
                      <a:pt x="1246" y="1577"/>
                    </a:lnTo>
                    <a:lnTo>
                      <a:pt x="1246" y="1578"/>
                    </a:lnTo>
                    <a:lnTo>
                      <a:pt x="1246" y="1580"/>
                    </a:lnTo>
                    <a:lnTo>
                      <a:pt x="1246" y="1578"/>
                    </a:lnTo>
                    <a:lnTo>
                      <a:pt x="1246" y="1580"/>
                    </a:lnTo>
                    <a:lnTo>
                      <a:pt x="1244" y="1580"/>
                    </a:lnTo>
                    <a:lnTo>
                      <a:pt x="1244" y="1578"/>
                    </a:lnTo>
                    <a:lnTo>
                      <a:pt x="1242" y="1580"/>
                    </a:lnTo>
                    <a:lnTo>
                      <a:pt x="1242" y="1578"/>
                    </a:lnTo>
                    <a:lnTo>
                      <a:pt x="1242" y="1580"/>
                    </a:lnTo>
                    <a:lnTo>
                      <a:pt x="1242" y="1578"/>
                    </a:lnTo>
                    <a:lnTo>
                      <a:pt x="1244" y="1577"/>
                    </a:lnTo>
                    <a:lnTo>
                      <a:pt x="1242" y="1577"/>
                    </a:lnTo>
                    <a:lnTo>
                      <a:pt x="1242" y="1578"/>
                    </a:lnTo>
                    <a:lnTo>
                      <a:pt x="1241" y="1580"/>
                    </a:lnTo>
                    <a:lnTo>
                      <a:pt x="1241" y="1578"/>
                    </a:lnTo>
                    <a:lnTo>
                      <a:pt x="1242" y="1577"/>
                    </a:lnTo>
                    <a:lnTo>
                      <a:pt x="1242" y="1575"/>
                    </a:lnTo>
                    <a:lnTo>
                      <a:pt x="1242" y="1577"/>
                    </a:lnTo>
                    <a:lnTo>
                      <a:pt x="1241" y="1578"/>
                    </a:lnTo>
                    <a:lnTo>
                      <a:pt x="1241" y="1580"/>
                    </a:lnTo>
                    <a:lnTo>
                      <a:pt x="1239" y="1578"/>
                    </a:lnTo>
                    <a:lnTo>
                      <a:pt x="1239" y="1580"/>
                    </a:lnTo>
                    <a:lnTo>
                      <a:pt x="1241" y="1580"/>
                    </a:lnTo>
                    <a:lnTo>
                      <a:pt x="1239" y="1582"/>
                    </a:lnTo>
                    <a:lnTo>
                      <a:pt x="1237" y="1580"/>
                    </a:lnTo>
                    <a:lnTo>
                      <a:pt x="1237" y="1582"/>
                    </a:lnTo>
                    <a:lnTo>
                      <a:pt x="1237" y="1580"/>
                    </a:lnTo>
                    <a:lnTo>
                      <a:pt x="1236" y="1580"/>
                    </a:lnTo>
                    <a:lnTo>
                      <a:pt x="1237" y="1580"/>
                    </a:lnTo>
                    <a:lnTo>
                      <a:pt x="1236" y="1580"/>
                    </a:lnTo>
                    <a:lnTo>
                      <a:pt x="1236" y="1582"/>
                    </a:lnTo>
                    <a:lnTo>
                      <a:pt x="1234" y="1582"/>
                    </a:lnTo>
                    <a:lnTo>
                      <a:pt x="1232" y="1582"/>
                    </a:lnTo>
                    <a:lnTo>
                      <a:pt x="1230" y="1582"/>
                    </a:lnTo>
                    <a:lnTo>
                      <a:pt x="1232" y="1580"/>
                    </a:lnTo>
                    <a:lnTo>
                      <a:pt x="1232" y="1582"/>
                    </a:lnTo>
                    <a:lnTo>
                      <a:pt x="1232" y="1580"/>
                    </a:lnTo>
                    <a:lnTo>
                      <a:pt x="1234" y="1580"/>
                    </a:lnTo>
                    <a:lnTo>
                      <a:pt x="1232" y="1580"/>
                    </a:lnTo>
                    <a:lnTo>
                      <a:pt x="1234" y="1580"/>
                    </a:lnTo>
                    <a:lnTo>
                      <a:pt x="1234" y="1578"/>
                    </a:lnTo>
                    <a:lnTo>
                      <a:pt x="1232" y="1580"/>
                    </a:lnTo>
                    <a:lnTo>
                      <a:pt x="1232" y="1578"/>
                    </a:lnTo>
                    <a:lnTo>
                      <a:pt x="1232" y="1580"/>
                    </a:lnTo>
                    <a:lnTo>
                      <a:pt x="1230" y="1580"/>
                    </a:lnTo>
                    <a:lnTo>
                      <a:pt x="1229" y="1580"/>
                    </a:lnTo>
                    <a:lnTo>
                      <a:pt x="1227" y="1578"/>
                    </a:lnTo>
                    <a:lnTo>
                      <a:pt x="1229" y="1578"/>
                    </a:lnTo>
                    <a:lnTo>
                      <a:pt x="1230" y="1578"/>
                    </a:lnTo>
                    <a:lnTo>
                      <a:pt x="1232" y="1578"/>
                    </a:lnTo>
                    <a:lnTo>
                      <a:pt x="1234" y="1578"/>
                    </a:lnTo>
                    <a:lnTo>
                      <a:pt x="1236" y="1578"/>
                    </a:lnTo>
                    <a:lnTo>
                      <a:pt x="1237" y="1580"/>
                    </a:lnTo>
                    <a:lnTo>
                      <a:pt x="1237" y="1578"/>
                    </a:lnTo>
                    <a:lnTo>
                      <a:pt x="1236" y="1578"/>
                    </a:lnTo>
                    <a:lnTo>
                      <a:pt x="1234" y="1578"/>
                    </a:lnTo>
                    <a:lnTo>
                      <a:pt x="1234" y="1577"/>
                    </a:lnTo>
                    <a:lnTo>
                      <a:pt x="1232" y="1578"/>
                    </a:lnTo>
                    <a:lnTo>
                      <a:pt x="1232" y="1577"/>
                    </a:lnTo>
                    <a:lnTo>
                      <a:pt x="1230" y="1578"/>
                    </a:lnTo>
                    <a:lnTo>
                      <a:pt x="1232" y="1577"/>
                    </a:lnTo>
                    <a:lnTo>
                      <a:pt x="1230" y="1575"/>
                    </a:lnTo>
                    <a:lnTo>
                      <a:pt x="1232" y="1577"/>
                    </a:lnTo>
                    <a:lnTo>
                      <a:pt x="1234" y="1577"/>
                    </a:lnTo>
                    <a:lnTo>
                      <a:pt x="1236" y="1577"/>
                    </a:lnTo>
                    <a:lnTo>
                      <a:pt x="1234" y="1577"/>
                    </a:lnTo>
                    <a:lnTo>
                      <a:pt x="1236" y="1577"/>
                    </a:lnTo>
                    <a:lnTo>
                      <a:pt x="1237" y="1577"/>
                    </a:lnTo>
                    <a:lnTo>
                      <a:pt x="1237" y="1578"/>
                    </a:lnTo>
                    <a:lnTo>
                      <a:pt x="1239" y="1578"/>
                    </a:lnTo>
                    <a:lnTo>
                      <a:pt x="1237" y="1577"/>
                    </a:lnTo>
                    <a:lnTo>
                      <a:pt x="1239" y="1577"/>
                    </a:lnTo>
                    <a:lnTo>
                      <a:pt x="1237" y="1577"/>
                    </a:lnTo>
                    <a:lnTo>
                      <a:pt x="1236" y="1577"/>
                    </a:lnTo>
                    <a:lnTo>
                      <a:pt x="1237" y="1575"/>
                    </a:lnTo>
                    <a:lnTo>
                      <a:pt x="1236" y="1575"/>
                    </a:lnTo>
                    <a:lnTo>
                      <a:pt x="1234" y="1575"/>
                    </a:lnTo>
                    <a:lnTo>
                      <a:pt x="1236" y="1575"/>
                    </a:lnTo>
                    <a:lnTo>
                      <a:pt x="1237" y="1575"/>
                    </a:lnTo>
                    <a:lnTo>
                      <a:pt x="1237" y="1573"/>
                    </a:lnTo>
                    <a:lnTo>
                      <a:pt x="1236" y="1575"/>
                    </a:lnTo>
                    <a:lnTo>
                      <a:pt x="1237" y="1573"/>
                    </a:lnTo>
                    <a:lnTo>
                      <a:pt x="1236" y="1573"/>
                    </a:lnTo>
                    <a:lnTo>
                      <a:pt x="1234" y="1573"/>
                    </a:lnTo>
                    <a:lnTo>
                      <a:pt x="1236" y="1572"/>
                    </a:lnTo>
                    <a:lnTo>
                      <a:pt x="1237" y="1572"/>
                    </a:lnTo>
                    <a:lnTo>
                      <a:pt x="1239" y="1572"/>
                    </a:lnTo>
                    <a:lnTo>
                      <a:pt x="1239" y="1573"/>
                    </a:lnTo>
                    <a:lnTo>
                      <a:pt x="1241" y="1573"/>
                    </a:lnTo>
                    <a:lnTo>
                      <a:pt x="1239" y="1573"/>
                    </a:lnTo>
                    <a:lnTo>
                      <a:pt x="1239" y="1572"/>
                    </a:lnTo>
                    <a:lnTo>
                      <a:pt x="1237" y="1572"/>
                    </a:lnTo>
                    <a:lnTo>
                      <a:pt x="1237" y="1570"/>
                    </a:lnTo>
                    <a:lnTo>
                      <a:pt x="1237" y="1572"/>
                    </a:lnTo>
                    <a:lnTo>
                      <a:pt x="1237" y="1570"/>
                    </a:lnTo>
                    <a:lnTo>
                      <a:pt x="1239" y="1568"/>
                    </a:lnTo>
                    <a:lnTo>
                      <a:pt x="1241" y="1568"/>
                    </a:lnTo>
                    <a:lnTo>
                      <a:pt x="1242" y="1568"/>
                    </a:lnTo>
                    <a:lnTo>
                      <a:pt x="1242" y="1566"/>
                    </a:lnTo>
                    <a:lnTo>
                      <a:pt x="1241" y="1566"/>
                    </a:lnTo>
                    <a:lnTo>
                      <a:pt x="1241" y="1568"/>
                    </a:lnTo>
                    <a:lnTo>
                      <a:pt x="1241" y="1566"/>
                    </a:lnTo>
                    <a:lnTo>
                      <a:pt x="1239" y="1566"/>
                    </a:lnTo>
                    <a:lnTo>
                      <a:pt x="1241" y="1566"/>
                    </a:lnTo>
                    <a:lnTo>
                      <a:pt x="1239" y="1566"/>
                    </a:lnTo>
                    <a:lnTo>
                      <a:pt x="1239" y="1568"/>
                    </a:lnTo>
                    <a:lnTo>
                      <a:pt x="1237" y="1568"/>
                    </a:lnTo>
                    <a:lnTo>
                      <a:pt x="1237" y="1570"/>
                    </a:lnTo>
                    <a:lnTo>
                      <a:pt x="1237" y="1568"/>
                    </a:lnTo>
                    <a:lnTo>
                      <a:pt x="1237" y="1566"/>
                    </a:lnTo>
                    <a:lnTo>
                      <a:pt x="1239" y="1566"/>
                    </a:lnTo>
                    <a:lnTo>
                      <a:pt x="1239" y="1565"/>
                    </a:lnTo>
                    <a:lnTo>
                      <a:pt x="1237" y="1566"/>
                    </a:lnTo>
                    <a:lnTo>
                      <a:pt x="1236" y="1568"/>
                    </a:lnTo>
                    <a:lnTo>
                      <a:pt x="1237" y="1568"/>
                    </a:lnTo>
                    <a:lnTo>
                      <a:pt x="1236" y="1568"/>
                    </a:lnTo>
                    <a:lnTo>
                      <a:pt x="1237" y="1570"/>
                    </a:lnTo>
                    <a:lnTo>
                      <a:pt x="1236" y="1570"/>
                    </a:lnTo>
                    <a:lnTo>
                      <a:pt x="1236" y="1572"/>
                    </a:lnTo>
                    <a:lnTo>
                      <a:pt x="1234" y="1572"/>
                    </a:lnTo>
                    <a:lnTo>
                      <a:pt x="1232" y="1572"/>
                    </a:lnTo>
                    <a:lnTo>
                      <a:pt x="1234" y="1572"/>
                    </a:lnTo>
                    <a:lnTo>
                      <a:pt x="1232" y="1572"/>
                    </a:lnTo>
                    <a:lnTo>
                      <a:pt x="1232" y="1570"/>
                    </a:lnTo>
                    <a:lnTo>
                      <a:pt x="1234" y="1570"/>
                    </a:lnTo>
                    <a:lnTo>
                      <a:pt x="1236" y="1570"/>
                    </a:lnTo>
                    <a:lnTo>
                      <a:pt x="1234" y="1570"/>
                    </a:lnTo>
                    <a:lnTo>
                      <a:pt x="1234" y="1568"/>
                    </a:lnTo>
                    <a:lnTo>
                      <a:pt x="1236" y="1568"/>
                    </a:lnTo>
                    <a:lnTo>
                      <a:pt x="1236" y="1566"/>
                    </a:lnTo>
                    <a:lnTo>
                      <a:pt x="1236" y="1565"/>
                    </a:lnTo>
                    <a:lnTo>
                      <a:pt x="1236" y="1563"/>
                    </a:lnTo>
                    <a:lnTo>
                      <a:pt x="1237" y="1563"/>
                    </a:lnTo>
                    <a:lnTo>
                      <a:pt x="1237" y="1561"/>
                    </a:lnTo>
                    <a:lnTo>
                      <a:pt x="1239" y="1561"/>
                    </a:lnTo>
                    <a:lnTo>
                      <a:pt x="1239" y="1560"/>
                    </a:lnTo>
                    <a:lnTo>
                      <a:pt x="1237" y="1561"/>
                    </a:lnTo>
                    <a:lnTo>
                      <a:pt x="1237" y="1563"/>
                    </a:lnTo>
                    <a:lnTo>
                      <a:pt x="1236" y="1561"/>
                    </a:lnTo>
                    <a:lnTo>
                      <a:pt x="1236" y="1563"/>
                    </a:lnTo>
                    <a:lnTo>
                      <a:pt x="1234" y="1563"/>
                    </a:lnTo>
                    <a:lnTo>
                      <a:pt x="1236" y="1563"/>
                    </a:lnTo>
                    <a:lnTo>
                      <a:pt x="1236" y="1565"/>
                    </a:lnTo>
                    <a:lnTo>
                      <a:pt x="1236" y="1566"/>
                    </a:lnTo>
                    <a:lnTo>
                      <a:pt x="1234" y="1566"/>
                    </a:lnTo>
                    <a:lnTo>
                      <a:pt x="1234" y="1568"/>
                    </a:lnTo>
                    <a:lnTo>
                      <a:pt x="1232" y="1568"/>
                    </a:lnTo>
                    <a:lnTo>
                      <a:pt x="1230" y="1568"/>
                    </a:lnTo>
                    <a:lnTo>
                      <a:pt x="1232" y="1568"/>
                    </a:lnTo>
                    <a:lnTo>
                      <a:pt x="1232" y="1566"/>
                    </a:lnTo>
                    <a:lnTo>
                      <a:pt x="1230" y="1568"/>
                    </a:lnTo>
                    <a:lnTo>
                      <a:pt x="1229" y="1568"/>
                    </a:lnTo>
                    <a:lnTo>
                      <a:pt x="1229" y="1566"/>
                    </a:lnTo>
                    <a:lnTo>
                      <a:pt x="1230" y="1566"/>
                    </a:lnTo>
                    <a:lnTo>
                      <a:pt x="1229" y="1565"/>
                    </a:lnTo>
                    <a:lnTo>
                      <a:pt x="1230" y="1565"/>
                    </a:lnTo>
                    <a:lnTo>
                      <a:pt x="1232" y="1565"/>
                    </a:lnTo>
                    <a:lnTo>
                      <a:pt x="1234" y="1565"/>
                    </a:lnTo>
                    <a:lnTo>
                      <a:pt x="1232" y="1565"/>
                    </a:lnTo>
                    <a:lnTo>
                      <a:pt x="1230" y="1565"/>
                    </a:lnTo>
                    <a:lnTo>
                      <a:pt x="1229" y="1565"/>
                    </a:lnTo>
                    <a:lnTo>
                      <a:pt x="1230" y="1563"/>
                    </a:lnTo>
                    <a:lnTo>
                      <a:pt x="1229" y="1563"/>
                    </a:lnTo>
                    <a:lnTo>
                      <a:pt x="1229" y="1565"/>
                    </a:lnTo>
                    <a:lnTo>
                      <a:pt x="1229" y="1563"/>
                    </a:lnTo>
                    <a:lnTo>
                      <a:pt x="1230" y="1563"/>
                    </a:lnTo>
                    <a:lnTo>
                      <a:pt x="1232" y="1563"/>
                    </a:lnTo>
                    <a:lnTo>
                      <a:pt x="1230" y="1563"/>
                    </a:lnTo>
                    <a:lnTo>
                      <a:pt x="1230" y="1561"/>
                    </a:lnTo>
                    <a:lnTo>
                      <a:pt x="1232" y="1561"/>
                    </a:lnTo>
                    <a:lnTo>
                      <a:pt x="1234" y="1561"/>
                    </a:lnTo>
                    <a:lnTo>
                      <a:pt x="1234" y="1560"/>
                    </a:lnTo>
                    <a:lnTo>
                      <a:pt x="1236" y="1560"/>
                    </a:lnTo>
                    <a:lnTo>
                      <a:pt x="1237" y="1560"/>
                    </a:lnTo>
                    <a:lnTo>
                      <a:pt x="1236" y="1560"/>
                    </a:lnTo>
                    <a:lnTo>
                      <a:pt x="1236" y="1558"/>
                    </a:lnTo>
                    <a:lnTo>
                      <a:pt x="1236" y="1556"/>
                    </a:lnTo>
                    <a:lnTo>
                      <a:pt x="1236" y="1558"/>
                    </a:lnTo>
                    <a:lnTo>
                      <a:pt x="1234" y="1558"/>
                    </a:lnTo>
                    <a:lnTo>
                      <a:pt x="1236" y="1558"/>
                    </a:lnTo>
                    <a:lnTo>
                      <a:pt x="1234" y="1560"/>
                    </a:lnTo>
                    <a:lnTo>
                      <a:pt x="1234" y="1558"/>
                    </a:lnTo>
                    <a:lnTo>
                      <a:pt x="1232" y="1558"/>
                    </a:lnTo>
                    <a:lnTo>
                      <a:pt x="1230" y="1558"/>
                    </a:lnTo>
                    <a:lnTo>
                      <a:pt x="1230" y="1556"/>
                    </a:lnTo>
                    <a:lnTo>
                      <a:pt x="1229" y="1558"/>
                    </a:lnTo>
                    <a:lnTo>
                      <a:pt x="1229" y="1556"/>
                    </a:lnTo>
                    <a:lnTo>
                      <a:pt x="1227" y="1556"/>
                    </a:lnTo>
                    <a:lnTo>
                      <a:pt x="1225" y="1556"/>
                    </a:lnTo>
                    <a:lnTo>
                      <a:pt x="1224" y="1556"/>
                    </a:lnTo>
                    <a:lnTo>
                      <a:pt x="1225" y="1556"/>
                    </a:lnTo>
                    <a:lnTo>
                      <a:pt x="1225" y="1555"/>
                    </a:lnTo>
                    <a:lnTo>
                      <a:pt x="1227" y="1555"/>
                    </a:lnTo>
                    <a:lnTo>
                      <a:pt x="1229" y="1556"/>
                    </a:lnTo>
                    <a:lnTo>
                      <a:pt x="1229" y="1555"/>
                    </a:lnTo>
                    <a:lnTo>
                      <a:pt x="1230" y="1555"/>
                    </a:lnTo>
                    <a:lnTo>
                      <a:pt x="1232" y="1555"/>
                    </a:lnTo>
                    <a:lnTo>
                      <a:pt x="1232" y="1553"/>
                    </a:lnTo>
                    <a:lnTo>
                      <a:pt x="1230" y="1551"/>
                    </a:lnTo>
                    <a:lnTo>
                      <a:pt x="1230" y="1553"/>
                    </a:lnTo>
                    <a:lnTo>
                      <a:pt x="1230" y="1555"/>
                    </a:lnTo>
                    <a:lnTo>
                      <a:pt x="1230" y="1553"/>
                    </a:lnTo>
                    <a:lnTo>
                      <a:pt x="1229" y="1555"/>
                    </a:lnTo>
                    <a:lnTo>
                      <a:pt x="1227" y="1553"/>
                    </a:lnTo>
                    <a:lnTo>
                      <a:pt x="1227" y="1555"/>
                    </a:lnTo>
                    <a:lnTo>
                      <a:pt x="1227" y="1553"/>
                    </a:lnTo>
                    <a:lnTo>
                      <a:pt x="1229" y="1553"/>
                    </a:lnTo>
                    <a:lnTo>
                      <a:pt x="1229" y="1551"/>
                    </a:lnTo>
                    <a:lnTo>
                      <a:pt x="1230" y="1551"/>
                    </a:lnTo>
                    <a:lnTo>
                      <a:pt x="1230" y="1549"/>
                    </a:lnTo>
                    <a:lnTo>
                      <a:pt x="1229" y="1549"/>
                    </a:lnTo>
                    <a:lnTo>
                      <a:pt x="1229" y="1551"/>
                    </a:lnTo>
                    <a:lnTo>
                      <a:pt x="1227" y="1549"/>
                    </a:lnTo>
                    <a:lnTo>
                      <a:pt x="1227" y="1551"/>
                    </a:lnTo>
                    <a:lnTo>
                      <a:pt x="1229" y="1551"/>
                    </a:lnTo>
                    <a:lnTo>
                      <a:pt x="1227" y="1551"/>
                    </a:lnTo>
                    <a:lnTo>
                      <a:pt x="1227" y="1553"/>
                    </a:lnTo>
                    <a:lnTo>
                      <a:pt x="1227" y="1555"/>
                    </a:lnTo>
                    <a:lnTo>
                      <a:pt x="1225" y="1553"/>
                    </a:lnTo>
                    <a:lnTo>
                      <a:pt x="1224" y="1555"/>
                    </a:lnTo>
                    <a:lnTo>
                      <a:pt x="1224" y="1553"/>
                    </a:lnTo>
                    <a:lnTo>
                      <a:pt x="1225" y="1551"/>
                    </a:lnTo>
                    <a:lnTo>
                      <a:pt x="1225" y="1553"/>
                    </a:lnTo>
                    <a:lnTo>
                      <a:pt x="1224" y="1553"/>
                    </a:lnTo>
                    <a:lnTo>
                      <a:pt x="1222" y="1553"/>
                    </a:lnTo>
                    <a:lnTo>
                      <a:pt x="1220" y="1553"/>
                    </a:lnTo>
                    <a:lnTo>
                      <a:pt x="1222" y="1551"/>
                    </a:lnTo>
                    <a:lnTo>
                      <a:pt x="1220" y="1551"/>
                    </a:lnTo>
                    <a:lnTo>
                      <a:pt x="1222" y="1551"/>
                    </a:lnTo>
                    <a:lnTo>
                      <a:pt x="1220" y="1551"/>
                    </a:lnTo>
                    <a:lnTo>
                      <a:pt x="1222" y="1551"/>
                    </a:lnTo>
                    <a:lnTo>
                      <a:pt x="1222" y="1549"/>
                    </a:lnTo>
                    <a:lnTo>
                      <a:pt x="1224" y="1549"/>
                    </a:lnTo>
                    <a:lnTo>
                      <a:pt x="1222" y="1549"/>
                    </a:lnTo>
                    <a:lnTo>
                      <a:pt x="1220" y="1549"/>
                    </a:lnTo>
                    <a:lnTo>
                      <a:pt x="1222" y="1549"/>
                    </a:lnTo>
                    <a:lnTo>
                      <a:pt x="1220" y="1549"/>
                    </a:lnTo>
                    <a:lnTo>
                      <a:pt x="1219" y="1549"/>
                    </a:lnTo>
                    <a:lnTo>
                      <a:pt x="1219" y="1548"/>
                    </a:lnTo>
                    <a:lnTo>
                      <a:pt x="1217" y="1548"/>
                    </a:lnTo>
                    <a:lnTo>
                      <a:pt x="1217" y="1546"/>
                    </a:lnTo>
                    <a:lnTo>
                      <a:pt x="1217" y="1544"/>
                    </a:lnTo>
                    <a:lnTo>
                      <a:pt x="1215" y="1544"/>
                    </a:lnTo>
                    <a:lnTo>
                      <a:pt x="1215" y="1543"/>
                    </a:lnTo>
                    <a:lnTo>
                      <a:pt x="1217" y="1544"/>
                    </a:lnTo>
                    <a:lnTo>
                      <a:pt x="1219" y="1544"/>
                    </a:lnTo>
                    <a:lnTo>
                      <a:pt x="1220" y="1544"/>
                    </a:lnTo>
                    <a:lnTo>
                      <a:pt x="1220" y="1546"/>
                    </a:lnTo>
                    <a:lnTo>
                      <a:pt x="1222" y="1544"/>
                    </a:lnTo>
                    <a:lnTo>
                      <a:pt x="1222" y="1546"/>
                    </a:lnTo>
                    <a:lnTo>
                      <a:pt x="1222" y="1548"/>
                    </a:lnTo>
                    <a:lnTo>
                      <a:pt x="1222" y="1546"/>
                    </a:lnTo>
                    <a:lnTo>
                      <a:pt x="1224" y="1546"/>
                    </a:lnTo>
                    <a:lnTo>
                      <a:pt x="1222" y="1546"/>
                    </a:lnTo>
                    <a:lnTo>
                      <a:pt x="1224" y="1544"/>
                    </a:lnTo>
                    <a:lnTo>
                      <a:pt x="1224" y="1546"/>
                    </a:lnTo>
                    <a:lnTo>
                      <a:pt x="1225" y="1544"/>
                    </a:lnTo>
                    <a:lnTo>
                      <a:pt x="1225" y="1546"/>
                    </a:lnTo>
                    <a:lnTo>
                      <a:pt x="1227" y="1546"/>
                    </a:lnTo>
                    <a:lnTo>
                      <a:pt x="1227" y="1548"/>
                    </a:lnTo>
                    <a:lnTo>
                      <a:pt x="1227" y="1546"/>
                    </a:lnTo>
                    <a:lnTo>
                      <a:pt x="1229" y="1548"/>
                    </a:lnTo>
                    <a:lnTo>
                      <a:pt x="1229" y="1546"/>
                    </a:lnTo>
                    <a:lnTo>
                      <a:pt x="1227" y="1546"/>
                    </a:lnTo>
                    <a:lnTo>
                      <a:pt x="1225" y="1546"/>
                    </a:lnTo>
                    <a:lnTo>
                      <a:pt x="1225" y="1544"/>
                    </a:lnTo>
                    <a:lnTo>
                      <a:pt x="1225" y="1543"/>
                    </a:lnTo>
                    <a:lnTo>
                      <a:pt x="1227" y="1543"/>
                    </a:lnTo>
                    <a:lnTo>
                      <a:pt x="1225" y="1543"/>
                    </a:lnTo>
                    <a:lnTo>
                      <a:pt x="1227" y="1543"/>
                    </a:lnTo>
                    <a:lnTo>
                      <a:pt x="1225" y="1543"/>
                    </a:lnTo>
                    <a:lnTo>
                      <a:pt x="1225" y="1541"/>
                    </a:lnTo>
                    <a:lnTo>
                      <a:pt x="1224" y="1541"/>
                    </a:lnTo>
                    <a:lnTo>
                      <a:pt x="1225" y="1541"/>
                    </a:lnTo>
                    <a:lnTo>
                      <a:pt x="1224" y="1539"/>
                    </a:lnTo>
                    <a:lnTo>
                      <a:pt x="1225" y="1539"/>
                    </a:lnTo>
                    <a:lnTo>
                      <a:pt x="1227" y="1539"/>
                    </a:lnTo>
                    <a:lnTo>
                      <a:pt x="1229" y="1539"/>
                    </a:lnTo>
                    <a:close/>
                    <a:moveTo>
                      <a:pt x="1400" y="1626"/>
                    </a:moveTo>
                    <a:lnTo>
                      <a:pt x="1402" y="1626"/>
                    </a:lnTo>
                    <a:lnTo>
                      <a:pt x="1402" y="1628"/>
                    </a:lnTo>
                    <a:lnTo>
                      <a:pt x="1404" y="1626"/>
                    </a:lnTo>
                    <a:lnTo>
                      <a:pt x="1404" y="1628"/>
                    </a:lnTo>
                    <a:lnTo>
                      <a:pt x="1406" y="1628"/>
                    </a:lnTo>
                    <a:lnTo>
                      <a:pt x="1407" y="1628"/>
                    </a:lnTo>
                    <a:lnTo>
                      <a:pt x="1409" y="1628"/>
                    </a:lnTo>
                    <a:lnTo>
                      <a:pt x="1407" y="1628"/>
                    </a:lnTo>
                    <a:lnTo>
                      <a:pt x="1409" y="1629"/>
                    </a:lnTo>
                    <a:lnTo>
                      <a:pt x="1409" y="1628"/>
                    </a:lnTo>
                    <a:lnTo>
                      <a:pt x="1411" y="1629"/>
                    </a:lnTo>
                    <a:lnTo>
                      <a:pt x="1411" y="1628"/>
                    </a:lnTo>
                    <a:lnTo>
                      <a:pt x="1412" y="1628"/>
                    </a:lnTo>
                    <a:lnTo>
                      <a:pt x="1414" y="1628"/>
                    </a:lnTo>
                    <a:lnTo>
                      <a:pt x="1416" y="1628"/>
                    </a:lnTo>
                    <a:lnTo>
                      <a:pt x="1416" y="1629"/>
                    </a:lnTo>
                    <a:lnTo>
                      <a:pt x="1417" y="1628"/>
                    </a:lnTo>
                    <a:lnTo>
                      <a:pt x="1419" y="1628"/>
                    </a:lnTo>
                    <a:lnTo>
                      <a:pt x="1421" y="1628"/>
                    </a:lnTo>
                    <a:lnTo>
                      <a:pt x="1423" y="1628"/>
                    </a:lnTo>
                    <a:lnTo>
                      <a:pt x="1423" y="1629"/>
                    </a:lnTo>
                    <a:lnTo>
                      <a:pt x="1424" y="1629"/>
                    </a:lnTo>
                    <a:lnTo>
                      <a:pt x="1426" y="1629"/>
                    </a:lnTo>
                    <a:lnTo>
                      <a:pt x="1428" y="1631"/>
                    </a:lnTo>
                    <a:lnTo>
                      <a:pt x="1428" y="1633"/>
                    </a:lnTo>
                    <a:lnTo>
                      <a:pt x="1429" y="1635"/>
                    </a:lnTo>
                    <a:lnTo>
                      <a:pt x="1429" y="1636"/>
                    </a:lnTo>
                    <a:lnTo>
                      <a:pt x="1429" y="1638"/>
                    </a:lnTo>
                    <a:lnTo>
                      <a:pt x="1431" y="1638"/>
                    </a:lnTo>
                    <a:lnTo>
                      <a:pt x="1431" y="1640"/>
                    </a:lnTo>
                    <a:lnTo>
                      <a:pt x="1431" y="1641"/>
                    </a:lnTo>
                    <a:lnTo>
                      <a:pt x="1429" y="1643"/>
                    </a:lnTo>
                    <a:lnTo>
                      <a:pt x="1429" y="1645"/>
                    </a:lnTo>
                    <a:lnTo>
                      <a:pt x="1428" y="1646"/>
                    </a:lnTo>
                    <a:lnTo>
                      <a:pt x="1426" y="1648"/>
                    </a:lnTo>
                    <a:lnTo>
                      <a:pt x="1426" y="1650"/>
                    </a:lnTo>
                    <a:lnTo>
                      <a:pt x="1424" y="1650"/>
                    </a:lnTo>
                    <a:lnTo>
                      <a:pt x="1424" y="1652"/>
                    </a:lnTo>
                    <a:lnTo>
                      <a:pt x="1423" y="1652"/>
                    </a:lnTo>
                    <a:lnTo>
                      <a:pt x="1421" y="1652"/>
                    </a:lnTo>
                    <a:lnTo>
                      <a:pt x="1419" y="1652"/>
                    </a:lnTo>
                    <a:lnTo>
                      <a:pt x="1417" y="1652"/>
                    </a:lnTo>
                    <a:lnTo>
                      <a:pt x="1417" y="1650"/>
                    </a:lnTo>
                    <a:lnTo>
                      <a:pt x="1417" y="1648"/>
                    </a:lnTo>
                    <a:lnTo>
                      <a:pt x="1417" y="1646"/>
                    </a:lnTo>
                    <a:lnTo>
                      <a:pt x="1419" y="1645"/>
                    </a:lnTo>
                    <a:lnTo>
                      <a:pt x="1417" y="1643"/>
                    </a:lnTo>
                    <a:lnTo>
                      <a:pt x="1416" y="1643"/>
                    </a:lnTo>
                    <a:lnTo>
                      <a:pt x="1414" y="1643"/>
                    </a:lnTo>
                    <a:lnTo>
                      <a:pt x="1412" y="1645"/>
                    </a:lnTo>
                    <a:lnTo>
                      <a:pt x="1411" y="1646"/>
                    </a:lnTo>
                    <a:lnTo>
                      <a:pt x="1412" y="1648"/>
                    </a:lnTo>
                    <a:lnTo>
                      <a:pt x="1411" y="1648"/>
                    </a:lnTo>
                    <a:lnTo>
                      <a:pt x="1409" y="1648"/>
                    </a:lnTo>
                    <a:lnTo>
                      <a:pt x="1407" y="1646"/>
                    </a:lnTo>
                    <a:lnTo>
                      <a:pt x="1407" y="1648"/>
                    </a:lnTo>
                    <a:lnTo>
                      <a:pt x="1406" y="1648"/>
                    </a:lnTo>
                    <a:lnTo>
                      <a:pt x="1404" y="1648"/>
                    </a:lnTo>
                    <a:lnTo>
                      <a:pt x="1402" y="1646"/>
                    </a:lnTo>
                    <a:lnTo>
                      <a:pt x="1404" y="1646"/>
                    </a:lnTo>
                    <a:lnTo>
                      <a:pt x="1402" y="1645"/>
                    </a:lnTo>
                    <a:lnTo>
                      <a:pt x="1404" y="1645"/>
                    </a:lnTo>
                    <a:lnTo>
                      <a:pt x="1404" y="1646"/>
                    </a:lnTo>
                    <a:lnTo>
                      <a:pt x="1406" y="1646"/>
                    </a:lnTo>
                    <a:lnTo>
                      <a:pt x="1407" y="1646"/>
                    </a:lnTo>
                    <a:lnTo>
                      <a:pt x="1406" y="1645"/>
                    </a:lnTo>
                    <a:lnTo>
                      <a:pt x="1404" y="1645"/>
                    </a:lnTo>
                    <a:lnTo>
                      <a:pt x="1404" y="1643"/>
                    </a:lnTo>
                    <a:lnTo>
                      <a:pt x="1402" y="1645"/>
                    </a:lnTo>
                    <a:lnTo>
                      <a:pt x="1402" y="1643"/>
                    </a:lnTo>
                    <a:lnTo>
                      <a:pt x="1400" y="1643"/>
                    </a:lnTo>
                    <a:lnTo>
                      <a:pt x="1400" y="1645"/>
                    </a:lnTo>
                    <a:lnTo>
                      <a:pt x="1399" y="1646"/>
                    </a:lnTo>
                    <a:lnTo>
                      <a:pt x="1399" y="1645"/>
                    </a:lnTo>
                    <a:lnTo>
                      <a:pt x="1399" y="1646"/>
                    </a:lnTo>
                    <a:lnTo>
                      <a:pt x="1397" y="1646"/>
                    </a:lnTo>
                    <a:lnTo>
                      <a:pt x="1395" y="1645"/>
                    </a:lnTo>
                    <a:lnTo>
                      <a:pt x="1394" y="1645"/>
                    </a:lnTo>
                    <a:lnTo>
                      <a:pt x="1394" y="1643"/>
                    </a:lnTo>
                    <a:lnTo>
                      <a:pt x="1395" y="1643"/>
                    </a:lnTo>
                    <a:lnTo>
                      <a:pt x="1397" y="1643"/>
                    </a:lnTo>
                    <a:lnTo>
                      <a:pt x="1395" y="1643"/>
                    </a:lnTo>
                    <a:lnTo>
                      <a:pt x="1394" y="1641"/>
                    </a:lnTo>
                    <a:lnTo>
                      <a:pt x="1394" y="1640"/>
                    </a:lnTo>
                    <a:lnTo>
                      <a:pt x="1394" y="1638"/>
                    </a:lnTo>
                    <a:lnTo>
                      <a:pt x="1394" y="1636"/>
                    </a:lnTo>
                    <a:lnTo>
                      <a:pt x="1394" y="1635"/>
                    </a:lnTo>
                    <a:lnTo>
                      <a:pt x="1394" y="1633"/>
                    </a:lnTo>
                    <a:lnTo>
                      <a:pt x="1392" y="1633"/>
                    </a:lnTo>
                    <a:lnTo>
                      <a:pt x="1394" y="1631"/>
                    </a:lnTo>
                    <a:lnTo>
                      <a:pt x="1392" y="1633"/>
                    </a:lnTo>
                    <a:lnTo>
                      <a:pt x="1392" y="1631"/>
                    </a:lnTo>
                    <a:lnTo>
                      <a:pt x="1392" y="1633"/>
                    </a:lnTo>
                    <a:lnTo>
                      <a:pt x="1390" y="1633"/>
                    </a:lnTo>
                    <a:lnTo>
                      <a:pt x="1389" y="1633"/>
                    </a:lnTo>
                    <a:lnTo>
                      <a:pt x="1387" y="1631"/>
                    </a:lnTo>
                    <a:lnTo>
                      <a:pt x="1387" y="1629"/>
                    </a:lnTo>
                    <a:lnTo>
                      <a:pt x="1385" y="1629"/>
                    </a:lnTo>
                    <a:lnTo>
                      <a:pt x="1387" y="1628"/>
                    </a:lnTo>
                    <a:lnTo>
                      <a:pt x="1389" y="1628"/>
                    </a:lnTo>
                    <a:lnTo>
                      <a:pt x="1390" y="1628"/>
                    </a:lnTo>
                    <a:lnTo>
                      <a:pt x="1392" y="1628"/>
                    </a:lnTo>
                    <a:lnTo>
                      <a:pt x="1390" y="1626"/>
                    </a:lnTo>
                    <a:lnTo>
                      <a:pt x="1392" y="1626"/>
                    </a:lnTo>
                    <a:lnTo>
                      <a:pt x="1394" y="1626"/>
                    </a:lnTo>
                    <a:lnTo>
                      <a:pt x="1395" y="1626"/>
                    </a:lnTo>
                    <a:lnTo>
                      <a:pt x="1397" y="1626"/>
                    </a:lnTo>
                    <a:lnTo>
                      <a:pt x="1399" y="1626"/>
                    </a:lnTo>
                    <a:lnTo>
                      <a:pt x="1400" y="1626"/>
                    </a:lnTo>
                    <a:close/>
                    <a:moveTo>
                      <a:pt x="1232" y="1075"/>
                    </a:moveTo>
                    <a:lnTo>
                      <a:pt x="1232" y="1077"/>
                    </a:lnTo>
                    <a:lnTo>
                      <a:pt x="1234" y="1077"/>
                    </a:lnTo>
                    <a:lnTo>
                      <a:pt x="1234" y="1078"/>
                    </a:lnTo>
                    <a:lnTo>
                      <a:pt x="1232" y="1080"/>
                    </a:lnTo>
                    <a:lnTo>
                      <a:pt x="1230" y="1082"/>
                    </a:lnTo>
                    <a:lnTo>
                      <a:pt x="1232" y="1082"/>
                    </a:lnTo>
                    <a:lnTo>
                      <a:pt x="1230" y="1082"/>
                    </a:lnTo>
                    <a:lnTo>
                      <a:pt x="1230" y="1083"/>
                    </a:lnTo>
                    <a:lnTo>
                      <a:pt x="1232" y="1082"/>
                    </a:lnTo>
                    <a:lnTo>
                      <a:pt x="1232" y="1080"/>
                    </a:lnTo>
                    <a:lnTo>
                      <a:pt x="1234" y="1080"/>
                    </a:lnTo>
                    <a:lnTo>
                      <a:pt x="1234" y="1078"/>
                    </a:lnTo>
                    <a:lnTo>
                      <a:pt x="1234" y="1077"/>
                    </a:lnTo>
                    <a:lnTo>
                      <a:pt x="1236" y="1078"/>
                    </a:lnTo>
                    <a:lnTo>
                      <a:pt x="1237" y="1078"/>
                    </a:lnTo>
                    <a:lnTo>
                      <a:pt x="1237" y="1080"/>
                    </a:lnTo>
                    <a:lnTo>
                      <a:pt x="1239" y="1080"/>
                    </a:lnTo>
                    <a:lnTo>
                      <a:pt x="1239" y="1082"/>
                    </a:lnTo>
                    <a:lnTo>
                      <a:pt x="1241" y="1082"/>
                    </a:lnTo>
                    <a:lnTo>
                      <a:pt x="1241" y="1083"/>
                    </a:lnTo>
                    <a:lnTo>
                      <a:pt x="1239" y="1083"/>
                    </a:lnTo>
                    <a:lnTo>
                      <a:pt x="1239" y="1085"/>
                    </a:lnTo>
                    <a:lnTo>
                      <a:pt x="1237" y="1087"/>
                    </a:lnTo>
                    <a:lnTo>
                      <a:pt x="1236" y="1087"/>
                    </a:lnTo>
                    <a:lnTo>
                      <a:pt x="1234" y="1087"/>
                    </a:lnTo>
                    <a:lnTo>
                      <a:pt x="1232" y="1085"/>
                    </a:lnTo>
                    <a:lnTo>
                      <a:pt x="1230" y="1085"/>
                    </a:lnTo>
                    <a:lnTo>
                      <a:pt x="1232" y="1085"/>
                    </a:lnTo>
                    <a:lnTo>
                      <a:pt x="1230" y="1085"/>
                    </a:lnTo>
                    <a:lnTo>
                      <a:pt x="1232" y="1085"/>
                    </a:lnTo>
                    <a:lnTo>
                      <a:pt x="1230" y="1087"/>
                    </a:lnTo>
                    <a:lnTo>
                      <a:pt x="1232" y="1087"/>
                    </a:lnTo>
                    <a:lnTo>
                      <a:pt x="1234" y="1087"/>
                    </a:lnTo>
                    <a:lnTo>
                      <a:pt x="1234" y="1088"/>
                    </a:lnTo>
                    <a:lnTo>
                      <a:pt x="1236" y="1088"/>
                    </a:lnTo>
                    <a:lnTo>
                      <a:pt x="1237" y="1088"/>
                    </a:lnTo>
                    <a:lnTo>
                      <a:pt x="1237" y="1090"/>
                    </a:lnTo>
                    <a:lnTo>
                      <a:pt x="1236" y="1090"/>
                    </a:lnTo>
                    <a:lnTo>
                      <a:pt x="1236" y="1092"/>
                    </a:lnTo>
                    <a:lnTo>
                      <a:pt x="1234" y="1094"/>
                    </a:lnTo>
                    <a:lnTo>
                      <a:pt x="1234" y="1092"/>
                    </a:lnTo>
                    <a:lnTo>
                      <a:pt x="1234" y="1094"/>
                    </a:lnTo>
                    <a:lnTo>
                      <a:pt x="1232" y="1094"/>
                    </a:lnTo>
                    <a:lnTo>
                      <a:pt x="1230" y="1095"/>
                    </a:lnTo>
                    <a:lnTo>
                      <a:pt x="1230" y="1097"/>
                    </a:lnTo>
                    <a:lnTo>
                      <a:pt x="1229" y="1097"/>
                    </a:lnTo>
                    <a:lnTo>
                      <a:pt x="1229" y="1099"/>
                    </a:lnTo>
                    <a:lnTo>
                      <a:pt x="1227" y="1099"/>
                    </a:lnTo>
                    <a:lnTo>
                      <a:pt x="1227" y="1100"/>
                    </a:lnTo>
                    <a:lnTo>
                      <a:pt x="1225" y="1100"/>
                    </a:lnTo>
                    <a:lnTo>
                      <a:pt x="1224" y="1100"/>
                    </a:lnTo>
                    <a:lnTo>
                      <a:pt x="1224" y="1102"/>
                    </a:lnTo>
                    <a:lnTo>
                      <a:pt x="1222" y="1100"/>
                    </a:lnTo>
                    <a:lnTo>
                      <a:pt x="1220" y="1100"/>
                    </a:lnTo>
                    <a:lnTo>
                      <a:pt x="1220" y="1099"/>
                    </a:lnTo>
                    <a:lnTo>
                      <a:pt x="1220" y="1100"/>
                    </a:lnTo>
                    <a:lnTo>
                      <a:pt x="1220" y="1099"/>
                    </a:lnTo>
                    <a:lnTo>
                      <a:pt x="1219" y="1099"/>
                    </a:lnTo>
                    <a:lnTo>
                      <a:pt x="1219" y="1097"/>
                    </a:lnTo>
                    <a:lnTo>
                      <a:pt x="1217" y="1097"/>
                    </a:lnTo>
                    <a:lnTo>
                      <a:pt x="1217" y="1095"/>
                    </a:lnTo>
                    <a:lnTo>
                      <a:pt x="1219" y="1095"/>
                    </a:lnTo>
                    <a:lnTo>
                      <a:pt x="1220" y="1095"/>
                    </a:lnTo>
                    <a:lnTo>
                      <a:pt x="1220" y="1094"/>
                    </a:lnTo>
                    <a:lnTo>
                      <a:pt x="1222" y="1095"/>
                    </a:lnTo>
                    <a:lnTo>
                      <a:pt x="1224" y="1095"/>
                    </a:lnTo>
                    <a:lnTo>
                      <a:pt x="1222" y="1094"/>
                    </a:lnTo>
                    <a:lnTo>
                      <a:pt x="1220" y="1092"/>
                    </a:lnTo>
                    <a:lnTo>
                      <a:pt x="1222" y="1092"/>
                    </a:lnTo>
                    <a:lnTo>
                      <a:pt x="1220" y="1092"/>
                    </a:lnTo>
                    <a:lnTo>
                      <a:pt x="1220" y="1094"/>
                    </a:lnTo>
                    <a:lnTo>
                      <a:pt x="1219" y="1094"/>
                    </a:lnTo>
                    <a:lnTo>
                      <a:pt x="1219" y="1095"/>
                    </a:lnTo>
                    <a:lnTo>
                      <a:pt x="1217" y="1094"/>
                    </a:lnTo>
                    <a:lnTo>
                      <a:pt x="1217" y="1092"/>
                    </a:lnTo>
                    <a:lnTo>
                      <a:pt x="1219" y="1092"/>
                    </a:lnTo>
                    <a:lnTo>
                      <a:pt x="1217" y="1092"/>
                    </a:lnTo>
                    <a:lnTo>
                      <a:pt x="1215" y="1092"/>
                    </a:lnTo>
                    <a:lnTo>
                      <a:pt x="1215" y="1090"/>
                    </a:lnTo>
                    <a:lnTo>
                      <a:pt x="1215" y="1088"/>
                    </a:lnTo>
                    <a:lnTo>
                      <a:pt x="1215" y="1087"/>
                    </a:lnTo>
                    <a:lnTo>
                      <a:pt x="1215" y="1088"/>
                    </a:lnTo>
                    <a:lnTo>
                      <a:pt x="1215" y="1087"/>
                    </a:lnTo>
                    <a:lnTo>
                      <a:pt x="1215" y="1085"/>
                    </a:lnTo>
                    <a:lnTo>
                      <a:pt x="1217" y="1085"/>
                    </a:lnTo>
                    <a:lnTo>
                      <a:pt x="1217" y="1083"/>
                    </a:lnTo>
                    <a:lnTo>
                      <a:pt x="1217" y="1085"/>
                    </a:lnTo>
                    <a:lnTo>
                      <a:pt x="1219" y="1085"/>
                    </a:lnTo>
                    <a:lnTo>
                      <a:pt x="1217" y="1085"/>
                    </a:lnTo>
                    <a:lnTo>
                      <a:pt x="1219" y="1085"/>
                    </a:lnTo>
                    <a:lnTo>
                      <a:pt x="1219" y="1087"/>
                    </a:lnTo>
                    <a:lnTo>
                      <a:pt x="1219" y="1085"/>
                    </a:lnTo>
                    <a:lnTo>
                      <a:pt x="1220" y="1085"/>
                    </a:lnTo>
                    <a:lnTo>
                      <a:pt x="1220" y="1087"/>
                    </a:lnTo>
                    <a:lnTo>
                      <a:pt x="1222" y="1087"/>
                    </a:lnTo>
                    <a:lnTo>
                      <a:pt x="1224" y="1087"/>
                    </a:lnTo>
                    <a:lnTo>
                      <a:pt x="1222" y="1085"/>
                    </a:lnTo>
                    <a:lnTo>
                      <a:pt x="1220" y="1085"/>
                    </a:lnTo>
                    <a:lnTo>
                      <a:pt x="1222" y="1085"/>
                    </a:lnTo>
                    <a:lnTo>
                      <a:pt x="1220" y="1083"/>
                    </a:lnTo>
                    <a:lnTo>
                      <a:pt x="1222" y="1083"/>
                    </a:lnTo>
                    <a:lnTo>
                      <a:pt x="1222" y="1082"/>
                    </a:lnTo>
                    <a:lnTo>
                      <a:pt x="1222" y="1083"/>
                    </a:lnTo>
                    <a:lnTo>
                      <a:pt x="1224" y="1083"/>
                    </a:lnTo>
                    <a:lnTo>
                      <a:pt x="1225" y="1083"/>
                    </a:lnTo>
                    <a:lnTo>
                      <a:pt x="1225" y="1085"/>
                    </a:lnTo>
                    <a:lnTo>
                      <a:pt x="1225" y="1083"/>
                    </a:lnTo>
                    <a:lnTo>
                      <a:pt x="1225" y="1082"/>
                    </a:lnTo>
                    <a:lnTo>
                      <a:pt x="1224" y="1082"/>
                    </a:lnTo>
                    <a:lnTo>
                      <a:pt x="1222" y="1082"/>
                    </a:lnTo>
                    <a:lnTo>
                      <a:pt x="1222" y="1080"/>
                    </a:lnTo>
                    <a:lnTo>
                      <a:pt x="1222" y="1078"/>
                    </a:lnTo>
                    <a:lnTo>
                      <a:pt x="1222" y="1077"/>
                    </a:lnTo>
                    <a:lnTo>
                      <a:pt x="1224" y="1077"/>
                    </a:lnTo>
                    <a:lnTo>
                      <a:pt x="1225" y="1077"/>
                    </a:lnTo>
                    <a:lnTo>
                      <a:pt x="1225" y="1078"/>
                    </a:lnTo>
                    <a:lnTo>
                      <a:pt x="1225" y="1077"/>
                    </a:lnTo>
                    <a:lnTo>
                      <a:pt x="1227" y="1077"/>
                    </a:lnTo>
                    <a:lnTo>
                      <a:pt x="1227" y="1075"/>
                    </a:lnTo>
                    <a:lnTo>
                      <a:pt x="1229" y="1075"/>
                    </a:lnTo>
                    <a:lnTo>
                      <a:pt x="1230" y="1075"/>
                    </a:lnTo>
                    <a:lnTo>
                      <a:pt x="1232" y="1075"/>
                    </a:lnTo>
                    <a:close/>
                    <a:moveTo>
                      <a:pt x="1315" y="1549"/>
                    </a:moveTo>
                    <a:lnTo>
                      <a:pt x="1315" y="1551"/>
                    </a:lnTo>
                    <a:lnTo>
                      <a:pt x="1315" y="1553"/>
                    </a:lnTo>
                    <a:lnTo>
                      <a:pt x="1315" y="1555"/>
                    </a:lnTo>
                    <a:lnTo>
                      <a:pt x="1315" y="1556"/>
                    </a:lnTo>
                    <a:lnTo>
                      <a:pt x="1315" y="1558"/>
                    </a:lnTo>
                    <a:lnTo>
                      <a:pt x="1315" y="1560"/>
                    </a:lnTo>
                    <a:lnTo>
                      <a:pt x="1315" y="1561"/>
                    </a:lnTo>
                    <a:lnTo>
                      <a:pt x="1317" y="1563"/>
                    </a:lnTo>
                    <a:lnTo>
                      <a:pt x="1315" y="1563"/>
                    </a:lnTo>
                    <a:lnTo>
                      <a:pt x="1317" y="1565"/>
                    </a:lnTo>
                    <a:lnTo>
                      <a:pt x="1315" y="1565"/>
                    </a:lnTo>
                    <a:lnTo>
                      <a:pt x="1317" y="1566"/>
                    </a:lnTo>
                    <a:lnTo>
                      <a:pt x="1315" y="1566"/>
                    </a:lnTo>
                    <a:lnTo>
                      <a:pt x="1315" y="1568"/>
                    </a:lnTo>
                    <a:lnTo>
                      <a:pt x="1317" y="1570"/>
                    </a:lnTo>
                    <a:lnTo>
                      <a:pt x="1319" y="1572"/>
                    </a:lnTo>
                    <a:lnTo>
                      <a:pt x="1319" y="1573"/>
                    </a:lnTo>
                    <a:lnTo>
                      <a:pt x="1321" y="1575"/>
                    </a:lnTo>
                    <a:lnTo>
                      <a:pt x="1319" y="1577"/>
                    </a:lnTo>
                    <a:lnTo>
                      <a:pt x="1317" y="1577"/>
                    </a:lnTo>
                    <a:lnTo>
                      <a:pt x="1317" y="1578"/>
                    </a:lnTo>
                    <a:lnTo>
                      <a:pt x="1315" y="1577"/>
                    </a:lnTo>
                    <a:lnTo>
                      <a:pt x="1314" y="1575"/>
                    </a:lnTo>
                    <a:lnTo>
                      <a:pt x="1312" y="1573"/>
                    </a:lnTo>
                    <a:lnTo>
                      <a:pt x="1310" y="1572"/>
                    </a:lnTo>
                    <a:lnTo>
                      <a:pt x="1309" y="1570"/>
                    </a:lnTo>
                    <a:lnTo>
                      <a:pt x="1309" y="1572"/>
                    </a:lnTo>
                    <a:lnTo>
                      <a:pt x="1309" y="1573"/>
                    </a:lnTo>
                    <a:lnTo>
                      <a:pt x="1310" y="1573"/>
                    </a:lnTo>
                    <a:lnTo>
                      <a:pt x="1310" y="1575"/>
                    </a:lnTo>
                    <a:lnTo>
                      <a:pt x="1312" y="1575"/>
                    </a:lnTo>
                    <a:lnTo>
                      <a:pt x="1312" y="1577"/>
                    </a:lnTo>
                    <a:lnTo>
                      <a:pt x="1312" y="1578"/>
                    </a:lnTo>
                    <a:lnTo>
                      <a:pt x="1312" y="1580"/>
                    </a:lnTo>
                    <a:lnTo>
                      <a:pt x="1312" y="1582"/>
                    </a:lnTo>
                    <a:lnTo>
                      <a:pt x="1314" y="1582"/>
                    </a:lnTo>
                    <a:lnTo>
                      <a:pt x="1314" y="1583"/>
                    </a:lnTo>
                    <a:lnTo>
                      <a:pt x="1314" y="1582"/>
                    </a:lnTo>
                    <a:lnTo>
                      <a:pt x="1315" y="1582"/>
                    </a:lnTo>
                    <a:lnTo>
                      <a:pt x="1315" y="1583"/>
                    </a:lnTo>
                    <a:lnTo>
                      <a:pt x="1317" y="1583"/>
                    </a:lnTo>
                    <a:lnTo>
                      <a:pt x="1317" y="1585"/>
                    </a:lnTo>
                    <a:lnTo>
                      <a:pt x="1319" y="1585"/>
                    </a:lnTo>
                    <a:lnTo>
                      <a:pt x="1321" y="1585"/>
                    </a:lnTo>
                    <a:lnTo>
                      <a:pt x="1322" y="1585"/>
                    </a:lnTo>
                    <a:lnTo>
                      <a:pt x="1321" y="1585"/>
                    </a:lnTo>
                    <a:lnTo>
                      <a:pt x="1322" y="1587"/>
                    </a:lnTo>
                    <a:lnTo>
                      <a:pt x="1321" y="1589"/>
                    </a:lnTo>
                    <a:lnTo>
                      <a:pt x="1322" y="1587"/>
                    </a:lnTo>
                    <a:lnTo>
                      <a:pt x="1324" y="1587"/>
                    </a:lnTo>
                    <a:lnTo>
                      <a:pt x="1324" y="1589"/>
                    </a:lnTo>
                    <a:lnTo>
                      <a:pt x="1322" y="1590"/>
                    </a:lnTo>
                    <a:lnTo>
                      <a:pt x="1321" y="1590"/>
                    </a:lnTo>
                    <a:lnTo>
                      <a:pt x="1319" y="1590"/>
                    </a:lnTo>
                    <a:lnTo>
                      <a:pt x="1317" y="1589"/>
                    </a:lnTo>
                    <a:lnTo>
                      <a:pt x="1315" y="1589"/>
                    </a:lnTo>
                    <a:lnTo>
                      <a:pt x="1314" y="1587"/>
                    </a:lnTo>
                    <a:lnTo>
                      <a:pt x="1315" y="1589"/>
                    </a:lnTo>
                    <a:lnTo>
                      <a:pt x="1314" y="1589"/>
                    </a:lnTo>
                    <a:lnTo>
                      <a:pt x="1312" y="1587"/>
                    </a:lnTo>
                    <a:lnTo>
                      <a:pt x="1310" y="1587"/>
                    </a:lnTo>
                    <a:lnTo>
                      <a:pt x="1309" y="1585"/>
                    </a:lnTo>
                    <a:lnTo>
                      <a:pt x="1307" y="1585"/>
                    </a:lnTo>
                    <a:lnTo>
                      <a:pt x="1305" y="1583"/>
                    </a:lnTo>
                    <a:lnTo>
                      <a:pt x="1305" y="1582"/>
                    </a:lnTo>
                    <a:lnTo>
                      <a:pt x="1304" y="1582"/>
                    </a:lnTo>
                    <a:lnTo>
                      <a:pt x="1304" y="1580"/>
                    </a:lnTo>
                    <a:lnTo>
                      <a:pt x="1305" y="1580"/>
                    </a:lnTo>
                    <a:lnTo>
                      <a:pt x="1304" y="1580"/>
                    </a:lnTo>
                    <a:lnTo>
                      <a:pt x="1302" y="1578"/>
                    </a:lnTo>
                    <a:lnTo>
                      <a:pt x="1302" y="1577"/>
                    </a:lnTo>
                    <a:lnTo>
                      <a:pt x="1302" y="1575"/>
                    </a:lnTo>
                    <a:lnTo>
                      <a:pt x="1302" y="1573"/>
                    </a:lnTo>
                    <a:lnTo>
                      <a:pt x="1302" y="1572"/>
                    </a:lnTo>
                    <a:lnTo>
                      <a:pt x="1300" y="1570"/>
                    </a:lnTo>
                    <a:lnTo>
                      <a:pt x="1302" y="1570"/>
                    </a:lnTo>
                    <a:lnTo>
                      <a:pt x="1304" y="1570"/>
                    </a:lnTo>
                    <a:lnTo>
                      <a:pt x="1302" y="1570"/>
                    </a:lnTo>
                    <a:lnTo>
                      <a:pt x="1302" y="1568"/>
                    </a:lnTo>
                    <a:lnTo>
                      <a:pt x="1300" y="1568"/>
                    </a:lnTo>
                    <a:lnTo>
                      <a:pt x="1300" y="1566"/>
                    </a:lnTo>
                    <a:lnTo>
                      <a:pt x="1302" y="1566"/>
                    </a:lnTo>
                    <a:lnTo>
                      <a:pt x="1302" y="1565"/>
                    </a:lnTo>
                    <a:lnTo>
                      <a:pt x="1304" y="1565"/>
                    </a:lnTo>
                    <a:lnTo>
                      <a:pt x="1305" y="1565"/>
                    </a:lnTo>
                    <a:lnTo>
                      <a:pt x="1307" y="1565"/>
                    </a:lnTo>
                    <a:lnTo>
                      <a:pt x="1309" y="1565"/>
                    </a:lnTo>
                    <a:lnTo>
                      <a:pt x="1309" y="1566"/>
                    </a:lnTo>
                    <a:lnTo>
                      <a:pt x="1310" y="1566"/>
                    </a:lnTo>
                    <a:lnTo>
                      <a:pt x="1310" y="1565"/>
                    </a:lnTo>
                    <a:lnTo>
                      <a:pt x="1310" y="1563"/>
                    </a:lnTo>
                    <a:lnTo>
                      <a:pt x="1309" y="1563"/>
                    </a:lnTo>
                    <a:lnTo>
                      <a:pt x="1307" y="1561"/>
                    </a:lnTo>
                    <a:lnTo>
                      <a:pt x="1307" y="1560"/>
                    </a:lnTo>
                    <a:lnTo>
                      <a:pt x="1307" y="1558"/>
                    </a:lnTo>
                    <a:lnTo>
                      <a:pt x="1307" y="1556"/>
                    </a:lnTo>
                    <a:lnTo>
                      <a:pt x="1309" y="1556"/>
                    </a:lnTo>
                    <a:lnTo>
                      <a:pt x="1310" y="1555"/>
                    </a:lnTo>
                    <a:lnTo>
                      <a:pt x="1312" y="1553"/>
                    </a:lnTo>
                    <a:lnTo>
                      <a:pt x="1312" y="1551"/>
                    </a:lnTo>
                    <a:lnTo>
                      <a:pt x="1312" y="1549"/>
                    </a:lnTo>
                    <a:lnTo>
                      <a:pt x="1314" y="1549"/>
                    </a:lnTo>
                    <a:lnTo>
                      <a:pt x="1315" y="1549"/>
                    </a:lnTo>
                    <a:close/>
                    <a:moveTo>
                      <a:pt x="1174" y="1502"/>
                    </a:moveTo>
                    <a:lnTo>
                      <a:pt x="1174" y="1504"/>
                    </a:lnTo>
                    <a:lnTo>
                      <a:pt x="1176" y="1504"/>
                    </a:lnTo>
                    <a:lnTo>
                      <a:pt x="1174" y="1504"/>
                    </a:lnTo>
                    <a:lnTo>
                      <a:pt x="1176" y="1505"/>
                    </a:lnTo>
                    <a:lnTo>
                      <a:pt x="1178" y="1505"/>
                    </a:lnTo>
                    <a:lnTo>
                      <a:pt x="1178" y="1507"/>
                    </a:lnTo>
                    <a:lnTo>
                      <a:pt x="1179" y="1507"/>
                    </a:lnTo>
                    <a:lnTo>
                      <a:pt x="1179" y="1505"/>
                    </a:lnTo>
                    <a:lnTo>
                      <a:pt x="1179" y="1507"/>
                    </a:lnTo>
                    <a:lnTo>
                      <a:pt x="1181" y="1507"/>
                    </a:lnTo>
                    <a:lnTo>
                      <a:pt x="1181" y="1509"/>
                    </a:lnTo>
                    <a:lnTo>
                      <a:pt x="1179" y="1509"/>
                    </a:lnTo>
                    <a:lnTo>
                      <a:pt x="1181" y="1509"/>
                    </a:lnTo>
                    <a:lnTo>
                      <a:pt x="1181" y="1510"/>
                    </a:lnTo>
                    <a:lnTo>
                      <a:pt x="1179" y="1510"/>
                    </a:lnTo>
                    <a:lnTo>
                      <a:pt x="1181" y="1510"/>
                    </a:lnTo>
                    <a:lnTo>
                      <a:pt x="1183" y="1510"/>
                    </a:lnTo>
                    <a:lnTo>
                      <a:pt x="1183" y="1512"/>
                    </a:lnTo>
                    <a:lnTo>
                      <a:pt x="1183" y="1510"/>
                    </a:lnTo>
                    <a:lnTo>
                      <a:pt x="1185" y="1510"/>
                    </a:lnTo>
                    <a:lnTo>
                      <a:pt x="1183" y="1512"/>
                    </a:lnTo>
                    <a:lnTo>
                      <a:pt x="1183" y="1514"/>
                    </a:lnTo>
                    <a:lnTo>
                      <a:pt x="1185" y="1514"/>
                    </a:lnTo>
                    <a:lnTo>
                      <a:pt x="1185" y="1515"/>
                    </a:lnTo>
                    <a:lnTo>
                      <a:pt x="1186" y="1515"/>
                    </a:lnTo>
                    <a:lnTo>
                      <a:pt x="1185" y="1515"/>
                    </a:lnTo>
                    <a:lnTo>
                      <a:pt x="1185" y="1514"/>
                    </a:lnTo>
                    <a:lnTo>
                      <a:pt x="1186" y="1514"/>
                    </a:lnTo>
                    <a:lnTo>
                      <a:pt x="1186" y="1512"/>
                    </a:lnTo>
                    <a:lnTo>
                      <a:pt x="1186" y="1514"/>
                    </a:lnTo>
                    <a:lnTo>
                      <a:pt x="1186" y="1515"/>
                    </a:lnTo>
                    <a:lnTo>
                      <a:pt x="1188" y="1515"/>
                    </a:lnTo>
                    <a:lnTo>
                      <a:pt x="1186" y="1517"/>
                    </a:lnTo>
                    <a:lnTo>
                      <a:pt x="1188" y="1515"/>
                    </a:lnTo>
                    <a:lnTo>
                      <a:pt x="1188" y="1514"/>
                    </a:lnTo>
                    <a:lnTo>
                      <a:pt x="1188" y="1515"/>
                    </a:lnTo>
                    <a:lnTo>
                      <a:pt x="1190" y="1515"/>
                    </a:lnTo>
                    <a:lnTo>
                      <a:pt x="1190" y="1517"/>
                    </a:lnTo>
                    <a:lnTo>
                      <a:pt x="1190" y="1515"/>
                    </a:lnTo>
                    <a:lnTo>
                      <a:pt x="1191" y="1517"/>
                    </a:lnTo>
                    <a:lnTo>
                      <a:pt x="1190" y="1517"/>
                    </a:lnTo>
                    <a:lnTo>
                      <a:pt x="1191" y="1517"/>
                    </a:lnTo>
                    <a:lnTo>
                      <a:pt x="1193" y="1519"/>
                    </a:lnTo>
                    <a:lnTo>
                      <a:pt x="1193" y="1517"/>
                    </a:lnTo>
                    <a:lnTo>
                      <a:pt x="1193" y="1515"/>
                    </a:lnTo>
                    <a:lnTo>
                      <a:pt x="1191" y="1515"/>
                    </a:lnTo>
                    <a:lnTo>
                      <a:pt x="1191" y="1514"/>
                    </a:lnTo>
                    <a:lnTo>
                      <a:pt x="1193" y="1514"/>
                    </a:lnTo>
                    <a:lnTo>
                      <a:pt x="1193" y="1515"/>
                    </a:lnTo>
                    <a:lnTo>
                      <a:pt x="1195" y="1515"/>
                    </a:lnTo>
                    <a:lnTo>
                      <a:pt x="1193" y="1515"/>
                    </a:lnTo>
                    <a:lnTo>
                      <a:pt x="1195" y="1517"/>
                    </a:lnTo>
                    <a:lnTo>
                      <a:pt x="1196" y="1517"/>
                    </a:lnTo>
                    <a:lnTo>
                      <a:pt x="1195" y="1517"/>
                    </a:lnTo>
                    <a:lnTo>
                      <a:pt x="1196" y="1517"/>
                    </a:lnTo>
                    <a:lnTo>
                      <a:pt x="1198" y="1517"/>
                    </a:lnTo>
                    <a:lnTo>
                      <a:pt x="1198" y="1519"/>
                    </a:lnTo>
                    <a:lnTo>
                      <a:pt x="1196" y="1517"/>
                    </a:lnTo>
                    <a:lnTo>
                      <a:pt x="1198" y="1519"/>
                    </a:lnTo>
                    <a:lnTo>
                      <a:pt x="1196" y="1519"/>
                    </a:lnTo>
                    <a:lnTo>
                      <a:pt x="1198" y="1519"/>
                    </a:lnTo>
                    <a:lnTo>
                      <a:pt x="1198" y="1521"/>
                    </a:lnTo>
                    <a:lnTo>
                      <a:pt x="1200" y="1521"/>
                    </a:lnTo>
                    <a:lnTo>
                      <a:pt x="1198" y="1521"/>
                    </a:lnTo>
                    <a:lnTo>
                      <a:pt x="1200" y="1521"/>
                    </a:lnTo>
                    <a:lnTo>
                      <a:pt x="1198" y="1519"/>
                    </a:lnTo>
                    <a:lnTo>
                      <a:pt x="1200" y="1519"/>
                    </a:lnTo>
                    <a:lnTo>
                      <a:pt x="1202" y="1519"/>
                    </a:lnTo>
                    <a:lnTo>
                      <a:pt x="1202" y="1521"/>
                    </a:lnTo>
                    <a:lnTo>
                      <a:pt x="1203" y="1522"/>
                    </a:lnTo>
                    <a:lnTo>
                      <a:pt x="1202" y="1521"/>
                    </a:lnTo>
                    <a:lnTo>
                      <a:pt x="1202" y="1519"/>
                    </a:lnTo>
                    <a:lnTo>
                      <a:pt x="1203" y="1521"/>
                    </a:lnTo>
                    <a:lnTo>
                      <a:pt x="1205" y="1522"/>
                    </a:lnTo>
                    <a:lnTo>
                      <a:pt x="1205" y="1521"/>
                    </a:lnTo>
                    <a:lnTo>
                      <a:pt x="1205" y="1522"/>
                    </a:lnTo>
                    <a:lnTo>
                      <a:pt x="1207" y="1522"/>
                    </a:lnTo>
                    <a:lnTo>
                      <a:pt x="1205" y="1522"/>
                    </a:lnTo>
                    <a:lnTo>
                      <a:pt x="1207" y="1522"/>
                    </a:lnTo>
                    <a:lnTo>
                      <a:pt x="1207" y="1524"/>
                    </a:lnTo>
                    <a:lnTo>
                      <a:pt x="1208" y="1524"/>
                    </a:lnTo>
                    <a:lnTo>
                      <a:pt x="1207" y="1524"/>
                    </a:lnTo>
                    <a:lnTo>
                      <a:pt x="1208" y="1524"/>
                    </a:lnTo>
                    <a:lnTo>
                      <a:pt x="1208" y="1526"/>
                    </a:lnTo>
                    <a:lnTo>
                      <a:pt x="1208" y="1527"/>
                    </a:lnTo>
                    <a:lnTo>
                      <a:pt x="1208" y="1526"/>
                    </a:lnTo>
                    <a:lnTo>
                      <a:pt x="1210" y="1526"/>
                    </a:lnTo>
                    <a:lnTo>
                      <a:pt x="1208" y="1526"/>
                    </a:lnTo>
                    <a:lnTo>
                      <a:pt x="1208" y="1524"/>
                    </a:lnTo>
                    <a:lnTo>
                      <a:pt x="1208" y="1522"/>
                    </a:lnTo>
                    <a:lnTo>
                      <a:pt x="1210" y="1522"/>
                    </a:lnTo>
                    <a:lnTo>
                      <a:pt x="1208" y="1522"/>
                    </a:lnTo>
                    <a:lnTo>
                      <a:pt x="1210" y="1524"/>
                    </a:lnTo>
                    <a:lnTo>
                      <a:pt x="1212" y="1524"/>
                    </a:lnTo>
                    <a:lnTo>
                      <a:pt x="1212" y="1526"/>
                    </a:lnTo>
                    <a:lnTo>
                      <a:pt x="1212" y="1527"/>
                    </a:lnTo>
                    <a:lnTo>
                      <a:pt x="1210" y="1527"/>
                    </a:lnTo>
                    <a:lnTo>
                      <a:pt x="1212" y="1529"/>
                    </a:lnTo>
                    <a:lnTo>
                      <a:pt x="1212" y="1531"/>
                    </a:lnTo>
                    <a:lnTo>
                      <a:pt x="1212" y="1532"/>
                    </a:lnTo>
                    <a:lnTo>
                      <a:pt x="1213" y="1532"/>
                    </a:lnTo>
                    <a:lnTo>
                      <a:pt x="1213" y="1534"/>
                    </a:lnTo>
                    <a:lnTo>
                      <a:pt x="1213" y="1532"/>
                    </a:lnTo>
                    <a:lnTo>
                      <a:pt x="1213" y="1531"/>
                    </a:lnTo>
                    <a:lnTo>
                      <a:pt x="1215" y="1531"/>
                    </a:lnTo>
                    <a:lnTo>
                      <a:pt x="1213" y="1531"/>
                    </a:lnTo>
                    <a:lnTo>
                      <a:pt x="1215" y="1529"/>
                    </a:lnTo>
                    <a:lnTo>
                      <a:pt x="1213" y="1531"/>
                    </a:lnTo>
                    <a:lnTo>
                      <a:pt x="1213" y="1529"/>
                    </a:lnTo>
                    <a:lnTo>
                      <a:pt x="1213" y="1527"/>
                    </a:lnTo>
                    <a:lnTo>
                      <a:pt x="1212" y="1527"/>
                    </a:lnTo>
                    <a:lnTo>
                      <a:pt x="1213" y="1527"/>
                    </a:lnTo>
                    <a:lnTo>
                      <a:pt x="1213" y="1526"/>
                    </a:lnTo>
                    <a:lnTo>
                      <a:pt x="1215" y="1526"/>
                    </a:lnTo>
                    <a:lnTo>
                      <a:pt x="1215" y="1527"/>
                    </a:lnTo>
                    <a:lnTo>
                      <a:pt x="1217" y="1527"/>
                    </a:lnTo>
                    <a:lnTo>
                      <a:pt x="1215" y="1527"/>
                    </a:lnTo>
                    <a:lnTo>
                      <a:pt x="1217" y="1527"/>
                    </a:lnTo>
                    <a:lnTo>
                      <a:pt x="1217" y="1529"/>
                    </a:lnTo>
                    <a:lnTo>
                      <a:pt x="1217" y="1527"/>
                    </a:lnTo>
                    <a:lnTo>
                      <a:pt x="1217" y="1529"/>
                    </a:lnTo>
                    <a:lnTo>
                      <a:pt x="1215" y="1529"/>
                    </a:lnTo>
                    <a:lnTo>
                      <a:pt x="1217" y="1529"/>
                    </a:lnTo>
                    <a:lnTo>
                      <a:pt x="1215" y="1529"/>
                    </a:lnTo>
                    <a:lnTo>
                      <a:pt x="1217" y="1529"/>
                    </a:lnTo>
                    <a:lnTo>
                      <a:pt x="1219" y="1529"/>
                    </a:lnTo>
                    <a:lnTo>
                      <a:pt x="1217" y="1529"/>
                    </a:lnTo>
                    <a:lnTo>
                      <a:pt x="1219" y="1529"/>
                    </a:lnTo>
                    <a:lnTo>
                      <a:pt x="1219" y="1531"/>
                    </a:lnTo>
                    <a:lnTo>
                      <a:pt x="1220" y="1531"/>
                    </a:lnTo>
                    <a:lnTo>
                      <a:pt x="1219" y="1531"/>
                    </a:lnTo>
                    <a:lnTo>
                      <a:pt x="1219" y="1532"/>
                    </a:lnTo>
                    <a:lnTo>
                      <a:pt x="1217" y="1532"/>
                    </a:lnTo>
                    <a:lnTo>
                      <a:pt x="1219" y="1532"/>
                    </a:lnTo>
                    <a:lnTo>
                      <a:pt x="1217" y="1532"/>
                    </a:lnTo>
                    <a:lnTo>
                      <a:pt x="1219" y="1532"/>
                    </a:lnTo>
                    <a:lnTo>
                      <a:pt x="1220" y="1532"/>
                    </a:lnTo>
                    <a:lnTo>
                      <a:pt x="1220" y="1534"/>
                    </a:lnTo>
                    <a:lnTo>
                      <a:pt x="1222" y="1534"/>
                    </a:lnTo>
                    <a:lnTo>
                      <a:pt x="1224" y="1534"/>
                    </a:lnTo>
                    <a:lnTo>
                      <a:pt x="1224" y="1536"/>
                    </a:lnTo>
                    <a:lnTo>
                      <a:pt x="1222" y="1536"/>
                    </a:lnTo>
                    <a:lnTo>
                      <a:pt x="1224" y="1536"/>
                    </a:lnTo>
                    <a:lnTo>
                      <a:pt x="1225" y="1536"/>
                    </a:lnTo>
                    <a:lnTo>
                      <a:pt x="1225" y="1538"/>
                    </a:lnTo>
                    <a:lnTo>
                      <a:pt x="1227" y="1538"/>
                    </a:lnTo>
                    <a:lnTo>
                      <a:pt x="1225" y="1539"/>
                    </a:lnTo>
                    <a:lnTo>
                      <a:pt x="1225" y="1538"/>
                    </a:lnTo>
                    <a:lnTo>
                      <a:pt x="1224" y="1539"/>
                    </a:lnTo>
                    <a:lnTo>
                      <a:pt x="1222" y="1539"/>
                    </a:lnTo>
                    <a:lnTo>
                      <a:pt x="1222" y="1538"/>
                    </a:lnTo>
                    <a:lnTo>
                      <a:pt x="1222" y="1539"/>
                    </a:lnTo>
                    <a:lnTo>
                      <a:pt x="1220" y="1539"/>
                    </a:lnTo>
                    <a:lnTo>
                      <a:pt x="1220" y="1538"/>
                    </a:lnTo>
                    <a:lnTo>
                      <a:pt x="1219" y="1538"/>
                    </a:lnTo>
                    <a:lnTo>
                      <a:pt x="1217" y="1536"/>
                    </a:lnTo>
                    <a:lnTo>
                      <a:pt x="1219" y="1536"/>
                    </a:lnTo>
                    <a:lnTo>
                      <a:pt x="1217" y="1536"/>
                    </a:lnTo>
                    <a:lnTo>
                      <a:pt x="1215" y="1536"/>
                    </a:lnTo>
                    <a:lnTo>
                      <a:pt x="1215" y="1538"/>
                    </a:lnTo>
                    <a:lnTo>
                      <a:pt x="1215" y="1536"/>
                    </a:lnTo>
                    <a:lnTo>
                      <a:pt x="1213" y="1538"/>
                    </a:lnTo>
                    <a:lnTo>
                      <a:pt x="1212" y="1538"/>
                    </a:lnTo>
                    <a:lnTo>
                      <a:pt x="1210" y="1538"/>
                    </a:lnTo>
                    <a:lnTo>
                      <a:pt x="1210" y="1536"/>
                    </a:lnTo>
                    <a:lnTo>
                      <a:pt x="1208" y="1534"/>
                    </a:lnTo>
                    <a:lnTo>
                      <a:pt x="1210" y="1534"/>
                    </a:lnTo>
                    <a:lnTo>
                      <a:pt x="1212" y="1534"/>
                    </a:lnTo>
                    <a:lnTo>
                      <a:pt x="1212" y="1536"/>
                    </a:lnTo>
                    <a:lnTo>
                      <a:pt x="1212" y="1534"/>
                    </a:lnTo>
                    <a:lnTo>
                      <a:pt x="1213" y="1536"/>
                    </a:lnTo>
                    <a:lnTo>
                      <a:pt x="1213" y="1534"/>
                    </a:lnTo>
                    <a:lnTo>
                      <a:pt x="1212" y="1534"/>
                    </a:lnTo>
                    <a:lnTo>
                      <a:pt x="1210" y="1534"/>
                    </a:lnTo>
                    <a:lnTo>
                      <a:pt x="1210" y="1532"/>
                    </a:lnTo>
                    <a:lnTo>
                      <a:pt x="1210" y="1531"/>
                    </a:lnTo>
                    <a:lnTo>
                      <a:pt x="1212" y="1531"/>
                    </a:lnTo>
                    <a:lnTo>
                      <a:pt x="1210" y="1531"/>
                    </a:lnTo>
                    <a:lnTo>
                      <a:pt x="1210" y="1529"/>
                    </a:lnTo>
                    <a:lnTo>
                      <a:pt x="1210" y="1531"/>
                    </a:lnTo>
                    <a:lnTo>
                      <a:pt x="1210" y="1529"/>
                    </a:lnTo>
                    <a:lnTo>
                      <a:pt x="1208" y="1527"/>
                    </a:lnTo>
                    <a:lnTo>
                      <a:pt x="1208" y="1529"/>
                    </a:lnTo>
                    <a:lnTo>
                      <a:pt x="1208" y="1531"/>
                    </a:lnTo>
                    <a:lnTo>
                      <a:pt x="1208" y="1529"/>
                    </a:lnTo>
                    <a:lnTo>
                      <a:pt x="1207" y="1529"/>
                    </a:lnTo>
                    <a:lnTo>
                      <a:pt x="1207" y="1527"/>
                    </a:lnTo>
                    <a:lnTo>
                      <a:pt x="1207" y="1526"/>
                    </a:lnTo>
                    <a:lnTo>
                      <a:pt x="1205" y="1526"/>
                    </a:lnTo>
                    <a:lnTo>
                      <a:pt x="1207" y="1527"/>
                    </a:lnTo>
                    <a:lnTo>
                      <a:pt x="1205" y="1527"/>
                    </a:lnTo>
                    <a:lnTo>
                      <a:pt x="1205" y="1529"/>
                    </a:lnTo>
                    <a:lnTo>
                      <a:pt x="1205" y="1527"/>
                    </a:lnTo>
                    <a:lnTo>
                      <a:pt x="1207" y="1527"/>
                    </a:lnTo>
                    <a:lnTo>
                      <a:pt x="1205" y="1527"/>
                    </a:lnTo>
                    <a:lnTo>
                      <a:pt x="1203" y="1527"/>
                    </a:lnTo>
                    <a:lnTo>
                      <a:pt x="1203" y="1526"/>
                    </a:lnTo>
                    <a:lnTo>
                      <a:pt x="1203" y="1524"/>
                    </a:lnTo>
                    <a:lnTo>
                      <a:pt x="1202" y="1524"/>
                    </a:lnTo>
                    <a:lnTo>
                      <a:pt x="1203" y="1526"/>
                    </a:lnTo>
                    <a:lnTo>
                      <a:pt x="1203" y="1527"/>
                    </a:lnTo>
                    <a:lnTo>
                      <a:pt x="1203" y="1526"/>
                    </a:lnTo>
                    <a:lnTo>
                      <a:pt x="1202" y="1526"/>
                    </a:lnTo>
                    <a:lnTo>
                      <a:pt x="1202" y="1524"/>
                    </a:lnTo>
                    <a:lnTo>
                      <a:pt x="1202" y="1522"/>
                    </a:lnTo>
                    <a:lnTo>
                      <a:pt x="1200" y="1522"/>
                    </a:lnTo>
                    <a:lnTo>
                      <a:pt x="1200" y="1521"/>
                    </a:lnTo>
                    <a:lnTo>
                      <a:pt x="1200" y="1522"/>
                    </a:lnTo>
                    <a:lnTo>
                      <a:pt x="1200" y="1524"/>
                    </a:lnTo>
                    <a:lnTo>
                      <a:pt x="1198" y="1522"/>
                    </a:lnTo>
                    <a:lnTo>
                      <a:pt x="1196" y="1524"/>
                    </a:lnTo>
                    <a:lnTo>
                      <a:pt x="1196" y="1522"/>
                    </a:lnTo>
                    <a:lnTo>
                      <a:pt x="1195" y="1522"/>
                    </a:lnTo>
                    <a:lnTo>
                      <a:pt x="1195" y="1521"/>
                    </a:lnTo>
                    <a:lnTo>
                      <a:pt x="1195" y="1522"/>
                    </a:lnTo>
                    <a:lnTo>
                      <a:pt x="1193" y="1521"/>
                    </a:lnTo>
                    <a:lnTo>
                      <a:pt x="1195" y="1522"/>
                    </a:lnTo>
                    <a:lnTo>
                      <a:pt x="1196" y="1524"/>
                    </a:lnTo>
                    <a:lnTo>
                      <a:pt x="1195" y="1524"/>
                    </a:lnTo>
                    <a:lnTo>
                      <a:pt x="1193" y="1526"/>
                    </a:lnTo>
                    <a:lnTo>
                      <a:pt x="1195" y="1524"/>
                    </a:lnTo>
                    <a:lnTo>
                      <a:pt x="1193" y="1524"/>
                    </a:lnTo>
                    <a:lnTo>
                      <a:pt x="1193" y="1522"/>
                    </a:lnTo>
                    <a:lnTo>
                      <a:pt x="1193" y="1524"/>
                    </a:lnTo>
                    <a:lnTo>
                      <a:pt x="1191" y="1522"/>
                    </a:lnTo>
                    <a:lnTo>
                      <a:pt x="1191" y="1524"/>
                    </a:lnTo>
                    <a:lnTo>
                      <a:pt x="1191" y="1522"/>
                    </a:lnTo>
                    <a:lnTo>
                      <a:pt x="1190" y="1522"/>
                    </a:lnTo>
                    <a:lnTo>
                      <a:pt x="1191" y="1524"/>
                    </a:lnTo>
                    <a:lnTo>
                      <a:pt x="1190" y="1524"/>
                    </a:lnTo>
                    <a:lnTo>
                      <a:pt x="1190" y="1522"/>
                    </a:lnTo>
                    <a:lnTo>
                      <a:pt x="1188" y="1521"/>
                    </a:lnTo>
                    <a:lnTo>
                      <a:pt x="1190" y="1521"/>
                    </a:lnTo>
                    <a:lnTo>
                      <a:pt x="1188" y="1519"/>
                    </a:lnTo>
                    <a:lnTo>
                      <a:pt x="1188" y="1521"/>
                    </a:lnTo>
                    <a:lnTo>
                      <a:pt x="1190" y="1522"/>
                    </a:lnTo>
                    <a:lnTo>
                      <a:pt x="1188" y="1524"/>
                    </a:lnTo>
                    <a:lnTo>
                      <a:pt x="1188" y="1526"/>
                    </a:lnTo>
                    <a:lnTo>
                      <a:pt x="1188" y="1524"/>
                    </a:lnTo>
                    <a:lnTo>
                      <a:pt x="1188" y="1522"/>
                    </a:lnTo>
                    <a:lnTo>
                      <a:pt x="1188" y="1524"/>
                    </a:lnTo>
                    <a:lnTo>
                      <a:pt x="1186" y="1524"/>
                    </a:lnTo>
                    <a:lnTo>
                      <a:pt x="1185" y="1524"/>
                    </a:lnTo>
                    <a:lnTo>
                      <a:pt x="1185" y="1522"/>
                    </a:lnTo>
                    <a:lnTo>
                      <a:pt x="1186" y="1522"/>
                    </a:lnTo>
                    <a:lnTo>
                      <a:pt x="1186" y="1521"/>
                    </a:lnTo>
                    <a:lnTo>
                      <a:pt x="1185" y="1521"/>
                    </a:lnTo>
                    <a:lnTo>
                      <a:pt x="1185" y="1519"/>
                    </a:lnTo>
                    <a:lnTo>
                      <a:pt x="1185" y="1521"/>
                    </a:lnTo>
                    <a:lnTo>
                      <a:pt x="1185" y="1522"/>
                    </a:lnTo>
                    <a:lnTo>
                      <a:pt x="1185" y="1521"/>
                    </a:lnTo>
                    <a:lnTo>
                      <a:pt x="1183" y="1521"/>
                    </a:lnTo>
                    <a:lnTo>
                      <a:pt x="1183" y="1519"/>
                    </a:lnTo>
                    <a:lnTo>
                      <a:pt x="1183" y="1517"/>
                    </a:lnTo>
                    <a:lnTo>
                      <a:pt x="1181" y="1517"/>
                    </a:lnTo>
                    <a:lnTo>
                      <a:pt x="1181" y="1515"/>
                    </a:lnTo>
                    <a:lnTo>
                      <a:pt x="1181" y="1517"/>
                    </a:lnTo>
                    <a:lnTo>
                      <a:pt x="1179" y="1517"/>
                    </a:lnTo>
                    <a:lnTo>
                      <a:pt x="1181" y="1515"/>
                    </a:lnTo>
                    <a:lnTo>
                      <a:pt x="1179" y="1517"/>
                    </a:lnTo>
                    <a:lnTo>
                      <a:pt x="1179" y="1515"/>
                    </a:lnTo>
                    <a:lnTo>
                      <a:pt x="1179" y="1514"/>
                    </a:lnTo>
                    <a:lnTo>
                      <a:pt x="1179" y="1512"/>
                    </a:lnTo>
                    <a:lnTo>
                      <a:pt x="1179" y="1514"/>
                    </a:lnTo>
                    <a:lnTo>
                      <a:pt x="1179" y="1515"/>
                    </a:lnTo>
                    <a:lnTo>
                      <a:pt x="1179" y="1514"/>
                    </a:lnTo>
                    <a:lnTo>
                      <a:pt x="1178" y="1515"/>
                    </a:lnTo>
                    <a:lnTo>
                      <a:pt x="1176" y="1515"/>
                    </a:lnTo>
                    <a:lnTo>
                      <a:pt x="1176" y="1514"/>
                    </a:lnTo>
                    <a:lnTo>
                      <a:pt x="1176" y="1512"/>
                    </a:lnTo>
                    <a:lnTo>
                      <a:pt x="1176" y="1510"/>
                    </a:lnTo>
                    <a:lnTo>
                      <a:pt x="1174" y="1510"/>
                    </a:lnTo>
                    <a:lnTo>
                      <a:pt x="1174" y="1509"/>
                    </a:lnTo>
                    <a:lnTo>
                      <a:pt x="1176" y="1509"/>
                    </a:lnTo>
                    <a:lnTo>
                      <a:pt x="1176" y="1510"/>
                    </a:lnTo>
                    <a:lnTo>
                      <a:pt x="1178" y="1510"/>
                    </a:lnTo>
                    <a:lnTo>
                      <a:pt x="1176" y="1510"/>
                    </a:lnTo>
                    <a:lnTo>
                      <a:pt x="1176" y="1509"/>
                    </a:lnTo>
                    <a:lnTo>
                      <a:pt x="1174" y="1509"/>
                    </a:lnTo>
                    <a:lnTo>
                      <a:pt x="1173" y="1507"/>
                    </a:lnTo>
                    <a:lnTo>
                      <a:pt x="1174" y="1507"/>
                    </a:lnTo>
                    <a:lnTo>
                      <a:pt x="1176" y="1507"/>
                    </a:lnTo>
                    <a:lnTo>
                      <a:pt x="1174" y="1507"/>
                    </a:lnTo>
                    <a:lnTo>
                      <a:pt x="1173" y="1505"/>
                    </a:lnTo>
                    <a:lnTo>
                      <a:pt x="1173" y="1504"/>
                    </a:lnTo>
                    <a:lnTo>
                      <a:pt x="1171" y="1502"/>
                    </a:lnTo>
                    <a:lnTo>
                      <a:pt x="1173" y="1504"/>
                    </a:lnTo>
                    <a:lnTo>
                      <a:pt x="1173" y="1502"/>
                    </a:lnTo>
                    <a:lnTo>
                      <a:pt x="1174" y="1502"/>
                    </a:lnTo>
                    <a:close/>
                    <a:moveTo>
                      <a:pt x="1278" y="1572"/>
                    </a:moveTo>
                    <a:lnTo>
                      <a:pt x="1276" y="1572"/>
                    </a:lnTo>
                    <a:lnTo>
                      <a:pt x="1278" y="1572"/>
                    </a:lnTo>
                    <a:lnTo>
                      <a:pt x="1280" y="1572"/>
                    </a:lnTo>
                    <a:lnTo>
                      <a:pt x="1280" y="1573"/>
                    </a:lnTo>
                    <a:lnTo>
                      <a:pt x="1280" y="1572"/>
                    </a:lnTo>
                    <a:lnTo>
                      <a:pt x="1281" y="1573"/>
                    </a:lnTo>
                    <a:lnTo>
                      <a:pt x="1280" y="1575"/>
                    </a:lnTo>
                    <a:lnTo>
                      <a:pt x="1281" y="1573"/>
                    </a:lnTo>
                    <a:lnTo>
                      <a:pt x="1280" y="1572"/>
                    </a:lnTo>
                    <a:lnTo>
                      <a:pt x="1281" y="1572"/>
                    </a:lnTo>
                    <a:lnTo>
                      <a:pt x="1283" y="1572"/>
                    </a:lnTo>
                    <a:lnTo>
                      <a:pt x="1283" y="1573"/>
                    </a:lnTo>
                    <a:lnTo>
                      <a:pt x="1281" y="1573"/>
                    </a:lnTo>
                    <a:lnTo>
                      <a:pt x="1283" y="1575"/>
                    </a:lnTo>
                    <a:lnTo>
                      <a:pt x="1283" y="1573"/>
                    </a:lnTo>
                    <a:lnTo>
                      <a:pt x="1283" y="1575"/>
                    </a:lnTo>
                    <a:lnTo>
                      <a:pt x="1285" y="1577"/>
                    </a:lnTo>
                    <a:lnTo>
                      <a:pt x="1283" y="1577"/>
                    </a:lnTo>
                    <a:lnTo>
                      <a:pt x="1285" y="1577"/>
                    </a:lnTo>
                    <a:lnTo>
                      <a:pt x="1285" y="1578"/>
                    </a:lnTo>
                    <a:lnTo>
                      <a:pt x="1283" y="1578"/>
                    </a:lnTo>
                    <a:lnTo>
                      <a:pt x="1283" y="1580"/>
                    </a:lnTo>
                    <a:lnTo>
                      <a:pt x="1285" y="1578"/>
                    </a:lnTo>
                    <a:lnTo>
                      <a:pt x="1285" y="1577"/>
                    </a:lnTo>
                    <a:lnTo>
                      <a:pt x="1285" y="1575"/>
                    </a:lnTo>
                    <a:lnTo>
                      <a:pt x="1285" y="1573"/>
                    </a:lnTo>
                    <a:lnTo>
                      <a:pt x="1285" y="1572"/>
                    </a:lnTo>
                    <a:lnTo>
                      <a:pt x="1287" y="1573"/>
                    </a:lnTo>
                    <a:lnTo>
                      <a:pt x="1288" y="1573"/>
                    </a:lnTo>
                    <a:lnTo>
                      <a:pt x="1288" y="1575"/>
                    </a:lnTo>
                    <a:lnTo>
                      <a:pt x="1288" y="1577"/>
                    </a:lnTo>
                    <a:lnTo>
                      <a:pt x="1288" y="1578"/>
                    </a:lnTo>
                    <a:lnTo>
                      <a:pt x="1290" y="1580"/>
                    </a:lnTo>
                    <a:lnTo>
                      <a:pt x="1288" y="1580"/>
                    </a:lnTo>
                    <a:lnTo>
                      <a:pt x="1287" y="1580"/>
                    </a:lnTo>
                    <a:lnTo>
                      <a:pt x="1288" y="1580"/>
                    </a:lnTo>
                    <a:lnTo>
                      <a:pt x="1290" y="1580"/>
                    </a:lnTo>
                    <a:lnTo>
                      <a:pt x="1290" y="1582"/>
                    </a:lnTo>
                    <a:lnTo>
                      <a:pt x="1290" y="1580"/>
                    </a:lnTo>
                    <a:lnTo>
                      <a:pt x="1290" y="1582"/>
                    </a:lnTo>
                    <a:lnTo>
                      <a:pt x="1290" y="1583"/>
                    </a:lnTo>
                    <a:lnTo>
                      <a:pt x="1290" y="1585"/>
                    </a:lnTo>
                    <a:lnTo>
                      <a:pt x="1292" y="1585"/>
                    </a:lnTo>
                    <a:lnTo>
                      <a:pt x="1292" y="1583"/>
                    </a:lnTo>
                    <a:lnTo>
                      <a:pt x="1292" y="1582"/>
                    </a:lnTo>
                    <a:lnTo>
                      <a:pt x="1292" y="1580"/>
                    </a:lnTo>
                    <a:lnTo>
                      <a:pt x="1293" y="1578"/>
                    </a:lnTo>
                    <a:lnTo>
                      <a:pt x="1293" y="1580"/>
                    </a:lnTo>
                    <a:lnTo>
                      <a:pt x="1293" y="1582"/>
                    </a:lnTo>
                    <a:lnTo>
                      <a:pt x="1292" y="1582"/>
                    </a:lnTo>
                    <a:lnTo>
                      <a:pt x="1293" y="1583"/>
                    </a:lnTo>
                    <a:lnTo>
                      <a:pt x="1293" y="1582"/>
                    </a:lnTo>
                    <a:lnTo>
                      <a:pt x="1293" y="1580"/>
                    </a:lnTo>
                    <a:lnTo>
                      <a:pt x="1293" y="1578"/>
                    </a:lnTo>
                    <a:lnTo>
                      <a:pt x="1295" y="1578"/>
                    </a:lnTo>
                    <a:lnTo>
                      <a:pt x="1295" y="1577"/>
                    </a:lnTo>
                    <a:lnTo>
                      <a:pt x="1295" y="1578"/>
                    </a:lnTo>
                    <a:lnTo>
                      <a:pt x="1297" y="1578"/>
                    </a:lnTo>
                    <a:lnTo>
                      <a:pt x="1297" y="1580"/>
                    </a:lnTo>
                    <a:lnTo>
                      <a:pt x="1298" y="1580"/>
                    </a:lnTo>
                    <a:lnTo>
                      <a:pt x="1298" y="1582"/>
                    </a:lnTo>
                    <a:lnTo>
                      <a:pt x="1297" y="1582"/>
                    </a:lnTo>
                    <a:lnTo>
                      <a:pt x="1298" y="1582"/>
                    </a:lnTo>
                    <a:lnTo>
                      <a:pt x="1297" y="1583"/>
                    </a:lnTo>
                    <a:lnTo>
                      <a:pt x="1297" y="1585"/>
                    </a:lnTo>
                    <a:lnTo>
                      <a:pt x="1295" y="1585"/>
                    </a:lnTo>
                    <a:lnTo>
                      <a:pt x="1295" y="1587"/>
                    </a:lnTo>
                    <a:lnTo>
                      <a:pt x="1297" y="1587"/>
                    </a:lnTo>
                    <a:lnTo>
                      <a:pt x="1297" y="1585"/>
                    </a:lnTo>
                    <a:lnTo>
                      <a:pt x="1297" y="1583"/>
                    </a:lnTo>
                    <a:lnTo>
                      <a:pt x="1298" y="1583"/>
                    </a:lnTo>
                    <a:lnTo>
                      <a:pt x="1298" y="1585"/>
                    </a:lnTo>
                    <a:lnTo>
                      <a:pt x="1298" y="1587"/>
                    </a:lnTo>
                    <a:lnTo>
                      <a:pt x="1298" y="1589"/>
                    </a:lnTo>
                    <a:lnTo>
                      <a:pt x="1297" y="1589"/>
                    </a:lnTo>
                    <a:lnTo>
                      <a:pt x="1298" y="1590"/>
                    </a:lnTo>
                    <a:lnTo>
                      <a:pt x="1298" y="1592"/>
                    </a:lnTo>
                    <a:lnTo>
                      <a:pt x="1297" y="1592"/>
                    </a:lnTo>
                    <a:lnTo>
                      <a:pt x="1295" y="1592"/>
                    </a:lnTo>
                    <a:lnTo>
                      <a:pt x="1297" y="1592"/>
                    </a:lnTo>
                    <a:lnTo>
                      <a:pt x="1297" y="1594"/>
                    </a:lnTo>
                    <a:lnTo>
                      <a:pt x="1295" y="1594"/>
                    </a:lnTo>
                    <a:lnTo>
                      <a:pt x="1293" y="1594"/>
                    </a:lnTo>
                    <a:lnTo>
                      <a:pt x="1293" y="1592"/>
                    </a:lnTo>
                    <a:lnTo>
                      <a:pt x="1292" y="1592"/>
                    </a:lnTo>
                    <a:lnTo>
                      <a:pt x="1293" y="1594"/>
                    </a:lnTo>
                    <a:lnTo>
                      <a:pt x="1295" y="1594"/>
                    </a:lnTo>
                    <a:lnTo>
                      <a:pt x="1295" y="1595"/>
                    </a:lnTo>
                    <a:lnTo>
                      <a:pt x="1293" y="1595"/>
                    </a:lnTo>
                    <a:lnTo>
                      <a:pt x="1295" y="1597"/>
                    </a:lnTo>
                    <a:lnTo>
                      <a:pt x="1293" y="1597"/>
                    </a:lnTo>
                    <a:lnTo>
                      <a:pt x="1292" y="1597"/>
                    </a:lnTo>
                    <a:lnTo>
                      <a:pt x="1292" y="1595"/>
                    </a:lnTo>
                    <a:lnTo>
                      <a:pt x="1292" y="1594"/>
                    </a:lnTo>
                    <a:lnTo>
                      <a:pt x="1292" y="1595"/>
                    </a:lnTo>
                    <a:lnTo>
                      <a:pt x="1290" y="1595"/>
                    </a:lnTo>
                    <a:lnTo>
                      <a:pt x="1290" y="1594"/>
                    </a:lnTo>
                    <a:lnTo>
                      <a:pt x="1288" y="1594"/>
                    </a:lnTo>
                    <a:lnTo>
                      <a:pt x="1287" y="1594"/>
                    </a:lnTo>
                    <a:lnTo>
                      <a:pt x="1287" y="1592"/>
                    </a:lnTo>
                    <a:lnTo>
                      <a:pt x="1285" y="1592"/>
                    </a:lnTo>
                    <a:lnTo>
                      <a:pt x="1285" y="1590"/>
                    </a:lnTo>
                    <a:lnTo>
                      <a:pt x="1287" y="1590"/>
                    </a:lnTo>
                    <a:lnTo>
                      <a:pt x="1288" y="1590"/>
                    </a:lnTo>
                    <a:lnTo>
                      <a:pt x="1290" y="1590"/>
                    </a:lnTo>
                    <a:lnTo>
                      <a:pt x="1290" y="1589"/>
                    </a:lnTo>
                    <a:lnTo>
                      <a:pt x="1292" y="1589"/>
                    </a:lnTo>
                    <a:lnTo>
                      <a:pt x="1290" y="1589"/>
                    </a:lnTo>
                    <a:lnTo>
                      <a:pt x="1290" y="1587"/>
                    </a:lnTo>
                    <a:lnTo>
                      <a:pt x="1290" y="1589"/>
                    </a:lnTo>
                    <a:lnTo>
                      <a:pt x="1288" y="1589"/>
                    </a:lnTo>
                    <a:lnTo>
                      <a:pt x="1287" y="1589"/>
                    </a:lnTo>
                    <a:lnTo>
                      <a:pt x="1287" y="1590"/>
                    </a:lnTo>
                    <a:lnTo>
                      <a:pt x="1287" y="1589"/>
                    </a:lnTo>
                    <a:lnTo>
                      <a:pt x="1287" y="1587"/>
                    </a:lnTo>
                    <a:lnTo>
                      <a:pt x="1287" y="1589"/>
                    </a:lnTo>
                    <a:lnTo>
                      <a:pt x="1285" y="1589"/>
                    </a:lnTo>
                    <a:lnTo>
                      <a:pt x="1283" y="1589"/>
                    </a:lnTo>
                    <a:lnTo>
                      <a:pt x="1283" y="1587"/>
                    </a:lnTo>
                    <a:lnTo>
                      <a:pt x="1281" y="1585"/>
                    </a:lnTo>
                    <a:lnTo>
                      <a:pt x="1283" y="1585"/>
                    </a:lnTo>
                    <a:lnTo>
                      <a:pt x="1283" y="1583"/>
                    </a:lnTo>
                    <a:lnTo>
                      <a:pt x="1283" y="1585"/>
                    </a:lnTo>
                    <a:lnTo>
                      <a:pt x="1283" y="1583"/>
                    </a:lnTo>
                    <a:lnTo>
                      <a:pt x="1285" y="1583"/>
                    </a:lnTo>
                    <a:lnTo>
                      <a:pt x="1285" y="1582"/>
                    </a:lnTo>
                    <a:lnTo>
                      <a:pt x="1285" y="1583"/>
                    </a:lnTo>
                    <a:lnTo>
                      <a:pt x="1283" y="1583"/>
                    </a:lnTo>
                    <a:lnTo>
                      <a:pt x="1283" y="1582"/>
                    </a:lnTo>
                    <a:lnTo>
                      <a:pt x="1285" y="1582"/>
                    </a:lnTo>
                    <a:lnTo>
                      <a:pt x="1285" y="1580"/>
                    </a:lnTo>
                    <a:lnTo>
                      <a:pt x="1283" y="1580"/>
                    </a:lnTo>
                    <a:lnTo>
                      <a:pt x="1283" y="1582"/>
                    </a:lnTo>
                    <a:lnTo>
                      <a:pt x="1283" y="1583"/>
                    </a:lnTo>
                    <a:lnTo>
                      <a:pt x="1281" y="1582"/>
                    </a:lnTo>
                    <a:lnTo>
                      <a:pt x="1280" y="1582"/>
                    </a:lnTo>
                    <a:lnTo>
                      <a:pt x="1281" y="1582"/>
                    </a:lnTo>
                    <a:lnTo>
                      <a:pt x="1281" y="1583"/>
                    </a:lnTo>
                    <a:lnTo>
                      <a:pt x="1281" y="1585"/>
                    </a:lnTo>
                    <a:lnTo>
                      <a:pt x="1280" y="1585"/>
                    </a:lnTo>
                    <a:lnTo>
                      <a:pt x="1281" y="1585"/>
                    </a:lnTo>
                    <a:lnTo>
                      <a:pt x="1280" y="1585"/>
                    </a:lnTo>
                    <a:lnTo>
                      <a:pt x="1281" y="1587"/>
                    </a:lnTo>
                    <a:lnTo>
                      <a:pt x="1281" y="1589"/>
                    </a:lnTo>
                    <a:lnTo>
                      <a:pt x="1281" y="1587"/>
                    </a:lnTo>
                    <a:lnTo>
                      <a:pt x="1283" y="1589"/>
                    </a:lnTo>
                    <a:lnTo>
                      <a:pt x="1285" y="1589"/>
                    </a:lnTo>
                    <a:lnTo>
                      <a:pt x="1285" y="1590"/>
                    </a:lnTo>
                    <a:lnTo>
                      <a:pt x="1283" y="1590"/>
                    </a:lnTo>
                    <a:lnTo>
                      <a:pt x="1283" y="1592"/>
                    </a:lnTo>
                    <a:lnTo>
                      <a:pt x="1285" y="1594"/>
                    </a:lnTo>
                    <a:lnTo>
                      <a:pt x="1283" y="1594"/>
                    </a:lnTo>
                    <a:lnTo>
                      <a:pt x="1281" y="1594"/>
                    </a:lnTo>
                    <a:lnTo>
                      <a:pt x="1280" y="1592"/>
                    </a:lnTo>
                    <a:lnTo>
                      <a:pt x="1281" y="1592"/>
                    </a:lnTo>
                    <a:lnTo>
                      <a:pt x="1280" y="1590"/>
                    </a:lnTo>
                    <a:lnTo>
                      <a:pt x="1280" y="1589"/>
                    </a:lnTo>
                    <a:lnTo>
                      <a:pt x="1281" y="1589"/>
                    </a:lnTo>
                    <a:lnTo>
                      <a:pt x="1280" y="1587"/>
                    </a:lnTo>
                    <a:lnTo>
                      <a:pt x="1281" y="1587"/>
                    </a:lnTo>
                    <a:lnTo>
                      <a:pt x="1280" y="1587"/>
                    </a:lnTo>
                    <a:lnTo>
                      <a:pt x="1280" y="1589"/>
                    </a:lnTo>
                    <a:lnTo>
                      <a:pt x="1280" y="1590"/>
                    </a:lnTo>
                    <a:lnTo>
                      <a:pt x="1278" y="1590"/>
                    </a:lnTo>
                    <a:lnTo>
                      <a:pt x="1278" y="1589"/>
                    </a:lnTo>
                    <a:lnTo>
                      <a:pt x="1278" y="1587"/>
                    </a:lnTo>
                    <a:lnTo>
                      <a:pt x="1278" y="1585"/>
                    </a:lnTo>
                    <a:lnTo>
                      <a:pt x="1280" y="1585"/>
                    </a:lnTo>
                    <a:lnTo>
                      <a:pt x="1278" y="1585"/>
                    </a:lnTo>
                    <a:lnTo>
                      <a:pt x="1278" y="1587"/>
                    </a:lnTo>
                    <a:lnTo>
                      <a:pt x="1276" y="1587"/>
                    </a:lnTo>
                    <a:lnTo>
                      <a:pt x="1278" y="1589"/>
                    </a:lnTo>
                    <a:lnTo>
                      <a:pt x="1276" y="1589"/>
                    </a:lnTo>
                    <a:lnTo>
                      <a:pt x="1275" y="1587"/>
                    </a:lnTo>
                    <a:lnTo>
                      <a:pt x="1275" y="1585"/>
                    </a:lnTo>
                    <a:lnTo>
                      <a:pt x="1275" y="1583"/>
                    </a:lnTo>
                    <a:lnTo>
                      <a:pt x="1273" y="1583"/>
                    </a:lnTo>
                    <a:lnTo>
                      <a:pt x="1275" y="1582"/>
                    </a:lnTo>
                    <a:lnTo>
                      <a:pt x="1276" y="1582"/>
                    </a:lnTo>
                    <a:lnTo>
                      <a:pt x="1276" y="1580"/>
                    </a:lnTo>
                    <a:lnTo>
                      <a:pt x="1278" y="1580"/>
                    </a:lnTo>
                    <a:lnTo>
                      <a:pt x="1278" y="1578"/>
                    </a:lnTo>
                    <a:lnTo>
                      <a:pt x="1278" y="1580"/>
                    </a:lnTo>
                    <a:lnTo>
                      <a:pt x="1276" y="1578"/>
                    </a:lnTo>
                    <a:lnTo>
                      <a:pt x="1276" y="1577"/>
                    </a:lnTo>
                    <a:lnTo>
                      <a:pt x="1275" y="1575"/>
                    </a:lnTo>
                    <a:lnTo>
                      <a:pt x="1276" y="1575"/>
                    </a:lnTo>
                    <a:lnTo>
                      <a:pt x="1275" y="1573"/>
                    </a:lnTo>
                    <a:lnTo>
                      <a:pt x="1276" y="1573"/>
                    </a:lnTo>
                    <a:lnTo>
                      <a:pt x="1276" y="1572"/>
                    </a:lnTo>
                    <a:lnTo>
                      <a:pt x="1278" y="1570"/>
                    </a:lnTo>
                    <a:lnTo>
                      <a:pt x="1278" y="1572"/>
                    </a:lnTo>
                    <a:close/>
                    <a:moveTo>
                      <a:pt x="1152" y="1354"/>
                    </a:moveTo>
                    <a:lnTo>
                      <a:pt x="1154" y="1354"/>
                    </a:lnTo>
                    <a:lnTo>
                      <a:pt x="1152" y="1356"/>
                    </a:lnTo>
                    <a:lnTo>
                      <a:pt x="1152" y="1357"/>
                    </a:lnTo>
                    <a:lnTo>
                      <a:pt x="1152" y="1356"/>
                    </a:lnTo>
                    <a:lnTo>
                      <a:pt x="1154" y="1356"/>
                    </a:lnTo>
                    <a:lnTo>
                      <a:pt x="1154" y="1357"/>
                    </a:lnTo>
                    <a:lnTo>
                      <a:pt x="1152" y="1357"/>
                    </a:lnTo>
                    <a:lnTo>
                      <a:pt x="1154" y="1359"/>
                    </a:lnTo>
                    <a:lnTo>
                      <a:pt x="1154" y="1357"/>
                    </a:lnTo>
                    <a:lnTo>
                      <a:pt x="1154" y="1356"/>
                    </a:lnTo>
                    <a:lnTo>
                      <a:pt x="1156" y="1356"/>
                    </a:lnTo>
                    <a:lnTo>
                      <a:pt x="1157" y="1356"/>
                    </a:lnTo>
                    <a:lnTo>
                      <a:pt x="1159" y="1356"/>
                    </a:lnTo>
                    <a:lnTo>
                      <a:pt x="1159" y="1357"/>
                    </a:lnTo>
                    <a:lnTo>
                      <a:pt x="1159" y="1359"/>
                    </a:lnTo>
                    <a:lnTo>
                      <a:pt x="1157" y="1359"/>
                    </a:lnTo>
                    <a:lnTo>
                      <a:pt x="1157" y="1361"/>
                    </a:lnTo>
                    <a:lnTo>
                      <a:pt x="1159" y="1359"/>
                    </a:lnTo>
                    <a:lnTo>
                      <a:pt x="1161" y="1359"/>
                    </a:lnTo>
                    <a:lnTo>
                      <a:pt x="1159" y="1359"/>
                    </a:lnTo>
                    <a:lnTo>
                      <a:pt x="1161" y="1359"/>
                    </a:lnTo>
                    <a:lnTo>
                      <a:pt x="1161" y="1361"/>
                    </a:lnTo>
                    <a:lnTo>
                      <a:pt x="1161" y="1362"/>
                    </a:lnTo>
                    <a:lnTo>
                      <a:pt x="1162" y="1362"/>
                    </a:lnTo>
                    <a:lnTo>
                      <a:pt x="1161" y="1361"/>
                    </a:lnTo>
                    <a:lnTo>
                      <a:pt x="1162" y="1359"/>
                    </a:lnTo>
                    <a:lnTo>
                      <a:pt x="1162" y="1357"/>
                    </a:lnTo>
                    <a:lnTo>
                      <a:pt x="1164" y="1357"/>
                    </a:lnTo>
                    <a:lnTo>
                      <a:pt x="1164" y="1359"/>
                    </a:lnTo>
                    <a:lnTo>
                      <a:pt x="1164" y="1361"/>
                    </a:lnTo>
                    <a:lnTo>
                      <a:pt x="1162" y="1362"/>
                    </a:lnTo>
                    <a:lnTo>
                      <a:pt x="1164" y="1361"/>
                    </a:lnTo>
                    <a:lnTo>
                      <a:pt x="1164" y="1362"/>
                    </a:lnTo>
                    <a:lnTo>
                      <a:pt x="1164" y="1361"/>
                    </a:lnTo>
                    <a:lnTo>
                      <a:pt x="1166" y="1361"/>
                    </a:lnTo>
                    <a:lnTo>
                      <a:pt x="1166" y="1362"/>
                    </a:lnTo>
                    <a:lnTo>
                      <a:pt x="1168" y="1362"/>
                    </a:lnTo>
                    <a:lnTo>
                      <a:pt x="1168" y="1364"/>
                    </a:lnTo>
                    <a:lnTo>
                      <a:pt x="1168" y="1362"/>
                    </a:lnTo>
                    <a:lnTo>
                      <a:pt x="1166" y="1361"/>
                    </a:lnTo>
                    <a:lnTo>
                      <a:pt x="1168" y="1362"/>
                    </a:lnTo>
                    <a:lnTo>
                      <a:pt x="1169" y="1362"/>
                    </a:lnTo>
                    <a:lnTo>
                      <a:pt x="1168" y="1362"/>
                    </a:lnTo>
                    <a:lnTo>
                      <a:pt x="1166" y="1361"/>
                    </a:lnTo>
                    <a:lnTo>
                      <a:pt x="1168" y="1361"/>
                    </a:lnTo>
                    <a:lnTo>
                      <a:pt x="1166" y="1359"/>
                    </a:lnTo>
                    <a:lnTo>
                      <a:pt x="1168" y="1361"/>
                    </a:lnTo>
                    <a:lnTo>
                      <a:pt x="1169" y="1361"/>
                    </a:lnTo>
                    <a:lnTo>
                      <a:pt x="1171" y="1362"/>
                    </a:lnTo>
                    <a:lnTo>
                      <a:pt x="1169" y="1362"/>
                    </a:lnTo>
                    <a:lnTo>
                      <a:pt x="1171" y="1364"/>
                    </a:lnTo>
                    <a:lnTo>
                      <a:pt x="1169" y="1364"/>
                    </a:lnTo>
                    <a:lnTo>
                      <a:pt x="1168" y="1364"/>
                    </a:lnTo>
                    <a:lnTo>
                      <a:pt x="1169" y="1364"/>
                    </a:lnTo>
                    <a:lnTo>
                      <a:pt x="1168" y="1364"/>
                    </a:lnTo>
                    <a:lnTo>
                      <a:pt x="1169" y="1364"/>
                    </a:lnTo>
                    <a:lnTo>
                      <a:pt x="1168" y="1364"/>
                    </a:lnTo>
                    <a:lnTo>
                      <a:pt x="1166" y="1364"/>
                    </a:lnTo>
                    <a:lnTo>
                      <a:pt x="1168" y="1364"/>
                    </a:lnTo>
                    <a:lnTo>
                      <a:pt x="1169" y="1366"/>
                    </a:lnTo>
                    <a:lnTo>
                      <a:pt x="1168" y="1367"/>
                    </a:lnTo>
                    <a:lnTo>
                      <a:pt x="1168" y="1366"/>
                    </a:lnTo>
                    <a:lnTo>
                      <a:pt x="1166" y="1366"/>
                    </a:lnTo>
                    <a:lnTo>
                      <a:pt x="1166" y="1367"/>
                    </a:lnTo>
                    <a:lnTo>
                      <a:pt x="1168" y="1367"/>
                    </a:lnTo>
                    <a:lnTo>
                      <a:pt x="1166" y="1367"/>
                    </a:lnTo>
                    <a:lnTo>
                      <a:pt x="1166" y="1366"/>
                    </a:lnTo>
                    <a:lnTo>
                      <a:pt x="1164" y="1366"/>
                    </a:lnTo>
                    <a:lnTo>
                      <a:pt x="1162" y="1367"/>
                    </a:lnTo>
                    <a:lnTo>
                      <a:pt x="1164" y="1366"/>
                    </a:lnTo>
                    <a:lnTo>
                      <a:pt x="1164" y="1367"/>
                    </a:lnTo>
                    <a:lnTo>
                      <a:pt x="1164" y="1369"/>
                    </a:lnTo>
                    <a:lnTo>
                      <a:pt x="1162" y="1369"/>
                    </a:lnTo>
                    <a:lnTo>
                      <a:pt x="1162" y="1371"/>
                    </a:lnTo>
                    <a:lnTo>
                      <a:pt x="1161" y="1371"/>
                    </a:lnTo>
                    <a:lnTo>
                      <a:pt x="1161" y="1373"/>
                    </a:lnTo>
                    <a:lnTo>
                      <a:pt x="1159" y="1371"/>
                    </a:lnTo>
                    <a:lnTo>
                      <a:pt x="1161" y="1373"/>
                    </a:lnTo>
                    <a:lnTo>
                      <a:pt x="1159" y="1373"/>
                    </a:lnTo>
                    <a:lnTo>
                      <a:pt x="1159" y="1374"/>
                    </a:lnTo>
                    <a:lnTo>
                      <a:pt x="1157" y="1373"/>
                    </a:lnTo>
                    <a:lnTo>
                      <a:pt x="1157" y="1374"/>
                    </a:lnTo>
                    <a:lnTo>
                      <a:pt x="1157" y="1376"/>
                    </a:lnTo>
                    <a:lnTo>
                      <a:pt x="1156" y="1378"/>
                    </a:lnTo>
                    <a:lnTo>
                      <a:pt x="1157" y="1376"/>
                    </a:lnTo>
                    <a:lnTo>
                      <a:pt x="1159" y="1376"/>
                    </a:lnTo>
                    <a:lnTo>
                      <a:pt x="1161" y="1376"/>
                    </a:lnTo>
                    <a:lnTo>
                      <a:pt x="1159" y="1376"/>
                    </a:lnTo>
                    <a:lnTo>
                      <a:pt x="1159" y="1374"/>
                    </a:lnTo>
                    <a:lnTo>
                      <a:pt x="1157" y="1374"/>
                    </a:lnTo>
                    <a:lnTo>
                      <a:pt x="1159" y="1374"/>
                    </a:lnTo>
                    <a:lnTo>
                      <a:pt x="1159" y="1373"/>
                    </a:lnTo>
                    <a:lnTo>
                      <a:pt x="1161" y="1373"/>
                    </a:lnTo>
                    <a:lnTo>
                      <a:pt x="1161" y="1371"/>
                    </a:lnTo>
                    <a:lnTo>
                      <a:pt x="1162" y="1371"/>
                    </a:lnTo>
                    <a:lnTo>
                      <a:pt x="1162" y="1369"/>
                    </a:lnTo>
                    <a:lnTo>
                      <a:pt x="1164" y="1369"/>
                    </a:lnTo>
                    <a:lnTo>
                      <a:pt x="1166" y="1369"/>
                    </a:lnTo>
                    <a:lnTo>
                      <a:pt x="1166" y="1371"/>
                    </a:lnTo>
                    <a:lnTo>
                      <a:pt x="1166" y="1373"/>
                    </a:lnTo>
                    <a:lnTo>
                      <a:pt x="1166" y="1374"/>
                    </a:lnTo>
                    <a:lnTo>
                      <a:pt x="1164" y="1373"/>
                    </a:lnTo>
                    <a:lnTo>
                      <a:pt x="1164" y="1374"/>
                    </a:lnTo>
                    <a:lnTo>
                      <a:pt x="1162" y="1373"/>
                    </a:lnTo>
                    <a:lnTo>
                      <a:pt x="1162" y="1374"/>
                    </a:lnTo>
                    <a:lnTo>
                      <a:pt x="1161" y="1374"/>
                    </a:lnTo>
                    <a:lnTo>
                      <a:pt x="1162" y="1374"/>
                    </a:lnTo>
                    <a:lnTo>
                      <a:pt x="1164" y="1374"/>
                    </a:lnTo>
                    <a:lnTo>
                      <a:pt x="1164" y="1376"/>
                    </a:lnTo>
                    <a:lnTo>
                      <a:pt x="1162" y="1374"/>
                    </a:lnTo>
                    <a:lnTo>
                      <a:pt x="1164" y="1376"/>
                    </a:lnTo>
                    <a:lnTo>
                      <a:pt x="1162" y="1376"/>
                    </a:lnTo>
                    <a:lnTo>
                      <a:pt x="1161" y="1376"/>
                    </a:lnTo>
                    <a:lnTo>
                      <a:pt x="1159" y="1376"/>
                    </a:lnTo>
                    <a:lnTo>
                      <a:pt x="1159" y="1378"/>
                    </a:lnTo>
                    <a:lnTo>
                      <a:pt x="1157" y="1378"/>
                    </a:lnTo>
                    <a:lnTo>
                      <a:pt x="1157" y="1379"/>
                    </a:lnTo>
                    <a:lnTo>
                      <a:pt x="1156" y="1379"/>
                    </a:lnTo>
                    <a:lnTo>
                      <a:pt x="1156" y="1378"/>
                    </a:lnTo>
                    <a:lnTo>
                      <a:pt x="1154" y="1379"/>
                    </a:lnTo>
                    <a:lnTo>
                      <a:pt x="1154" y="1378"/>
                    </a:lnTo>
                    <a:lnTo>
                      <a:pt x="1154" y="1379"/>
                    </a:lnTo>
                    <a:lnTo>
                      <a:pt x="1154" y="1378"/>
                    </a:lnTo>
                    <a:lnTo>
                      <a:pt x="1152" y="1378"/>
                    </a:lnTo>
                    <a:lnTo>
                      <a:pt x="1151" y="1378"/>
                    </a:lnTo>
                    <a:lnTo>
                      <a:pt x="1152" y="1378"/>
                    </a:lnTo>
                    <a:lnTo>
                      <a:pt x="1152" y="1376"/>
                    </a:lnTo>
                    <a:lnTo>
                      <a:pt x="1152" y="1374"/>
                    </a:lnTo>
                    <a:lnTo>
                      <a:pt x="1154" y="1374"/>
                    </a:lnTo>
                    <a:lnTo>
                      <a:pt x="1152" y="1374"/>
                    </a:lnTo>
                    <a:lnTo>
                      <a:pt x="1154" y="1374"/>
                    </a:lnTo>
                    <a:lnTo>
                      <a:pt x="1154" y="1373"/>
                    </a:lnTo>
                    <a:lnTo>
                      <a:pt x="1156" y="1373"/>
                    </a:lnTo>
                    <a:lnTo>
                      <a:pt x="1156" y="1371"/>
                    </a:lnTo>
                    <a:lnTo>
                      <a:pt x="1156" y="1369"/>
                    </a:lnTo>
                    <a:lnTo>
                      <a:pt x="1156" y="1371"/>
                    </a:lnTo>
                    <a:lnTo>
                      <a:pt x="1156" y="1373"/>
                    </a:lnTo>
                    <a:lnTo>
                      <a:pt x="1154" y="1373"/>
                    </a:lnTo>
                    <a:lnTo>
                      <a:pt x="1152" y="1373"/>
                    </a:lnTo>
                    <a:lnTo>
                      <a:pt x="1152" y="1374"/>
                    </a:lnTo>
                    <a:lnTo>
                      <a:pt x="1152" y="1373"/>
                    </a:lnTo>
                    <a:lnTo>
                      <a:pt x="1154" y="1373"/>
                    </a:lnTo>
                    <a:lnTo>
                      <a:pt x="1154" y="1371"/>
                    </a:lnTo>
                    <a:lnTo>
                      <a:pt x="1152" y="1371"/>
                    </a:lnTo>
                    <a:lnTo>
                      <a:pt x="1151" y="1373"/>
                    </a:lnTo>
                    <a:lnTo>
                      <a:pt x="1151" y="1374"/>
                    </a:lnTo>
                    <a:lnTo>
                      <a:pt x="1149" y="1374"/>
                    </a:lnTo>
                    <a:lnTo>
                      <a:pt x="1149" y="1376"/>
                    </a:lnTo>
                    <a:lnTo>
                      <a:pt x="1149" y="1378"/>
                    </a:lnTo>
                    <a:lnTo>
                      <a:pt x="1147" y="1378"/>
                    </a:lnTo>
                    <a:lnTo>
                      <a:pt x="1145" y="1376"/>
                    </a:lnTo>
                    <a:lnTo>
                      <a:pt x="1147" y="1376"/>
                    </a:lnTo>
                    <a:lnTo>
                      <a:pt x="1149" y="1374"/>
                    </a:lnTo>
                    <a:lnTo>
                      <a:pt x="1149" y="1373"/>
                    </a:lnTo>
                    <a:lnTo>
                      <a:pt x="1149" y="1374"/>
                    </a:lnTo>
                    <a:lnTo>
                      <a:pt x="1147" y="1374"/>
                    </a:lnTo>
                    <a:lnTo>
                      <a:pt x="1147" y="1373"/>
                    </a:lnTo>
                    <a:lnTo>
                      <a:pt x="1147" y="1371"/>
                    </a:lnTo>
                    <a:lnTo>
                      <a:pt x="1147" y="1369"/>
                    </a:lnTo>
                    <a:lnTo>
                      <a:pt x="1149" y="1369"/>
                    </a:lnTo>
                    <a:lnTo>
                      <a:pt x="1149" y="1367"/>
                    </a:lnTo>
                    <a:lnTo>
                      <a:pt x="1147" y="1367"/>
                    </a:lnTo>
                    <a:lnTo>
                      <a:pt x="1149" y="1366"/>
                    </a:lnTo>
                    <a:lnTo>
                      <a:pt x="1147" y="1366"/>
                    </a:lnTo>
                    <a:lnTo>
                      <a:pt x="1149" y="1366"/>
                    </a:lnTo>
                    <a:lnTo>
                      <a:pt x="1149" y="1364"/>
                    </a:lnTo>
                    <a:lnTo>
                      <a:pt x="1149" y="1362"/>
                    </a:lnTo>
                    <a:lnTo>
                      <a:pt x="1151" y="1362"/>
                    </a:lnTo>
                    <a:lnTo>
                      <a:pt x="1152" y="1362"/>
                    </a:lnTo>
                    <a:lnTo>
                      <a:pt x="1152" y="1364"/>
                    </a:lnTo>
                    <a:lnTo>
                      <a:pt x="1154" y="1364"/>
                    </a:lnTo>
                    <a:lnTo>
                      <a:pt x="1154" y="1366"/>
                    </a:lnTo>
                    <a:lnTo>
                      <a:pt x="1152" y="1366"/>
                    </a:lnTo>
                    <a:lnTo>
                      <a:pt x="1151" y="1364"/>
                    </a:lnTo>
                    <a:lnTo>
                      <a:pt x="1151" y="1366"/>
                    </a:lnTo>
                    <a:lnTo>
                      <a:pt x="1152" y="1366"/>
                    </a:lnTo>
                    <a:lnTo>
                      <a:pt x="1154" y="1366"/>
                    </a:lnTo>
                    <a:lnTo>
                      <a:pt x="1154" y="1367"/>
                    </a:lnTo>
                    <a:lnTo>
                      <a:pt x="1156" y="1367"/>
                    </a:lnTo>
                    <a:lnTo>
                      <a:pt x="1156" y="1369"/>
                    </a:lnTo>
                    <a:lnTo>
                      <a:pt x="1157" y="1367"/>
                    </a:lnTo>
                    <a:lnTo>
                      <a:pt x="1157" y="1366"/>
                    </a:lnTo>
                    <a:lnTo>
                      <a:pt x="1157" y="1364"/>
                    </a:lnTo>
                    <a:lnTo>
                      <a:pt x="1159" y="1362"/>
                    </a:lnTo>
                    <a:lnTo>
                      <a:pt x="1159" y="1361"/>
                    </a:lnTo>
                    <a:lnTo>
                      <a:pt x="1159" y="1362"/>
                    </a:lnTo>
                    <a:lnTo>
                      <a:pt x="1157" y="1362"/>
                    </a:lnTo>
                    <a:lnTo>
                      <a:pt x="1159" y="1362"/>
                    </a:lnTo>
                    <a:lnTo>
                      <a:pt x="1157" y="1364"/>
                    </a:lnTo>
                    <a:lnTo>
                      <a:pt x="1156" y="1362"/>
                    </a:lnTo>
                    <a:lnTo>
                      <a:pt x="1154" y="1362"/>
                    </a:lnTo>
                    <a:lnTo>
                      <a:pt x="1154" y="1361"/>
                    </a:lnTo>
                    <a:lnTo>
                      <a:pt x="1152" y="1362"/>
                    </a:lnTo>
                    <a:lnTo>
                      <a:pt x="1152" y="1361"/>
                    </a:lnTo>
                    <a:lnTo>
                      <a:pt x="1152" y="1362"/>
                    </a:lnTo>
                    <a:lnTo>
                      <a:pt x="1151" y="1361"/>
                    </a:lnTo>
                    <a:lnTo>
                      <a:pt x="1151" y="1359"/>
                    </a:lnTo>
                    <a:lnTo>
                      <a:pt x="1149" y="1359"/>
                    </a:lnTo>
                    <a:lnTo>
                      <a:pt x="1149" y="1357"/>
                    </a:lnTo>
                    <a:lnTo>
                      <a:pt x="1149" y="1356"/>
                    </a:lnTo>
                    <a:lnTo>
                      <a:pt x="1151" y="1356"/>
                    </a:lnTo>
                    <a:lnTo>
                      <a:pt x="1151" y="1354"/>
                    </a:lnTo>
                    <a:lnTo>
                      <a:pt x="1151" y="1356"/>
                    </a:lnTo>
                    <a:lnTo>
                      <a:pt x="1151" y="1357"/>
                    </a:lnTo>
                    <a:lnTo>
                      <a:pt x="1151" y="1356"/>
                    </a:lnTo>
                    <a:lnTo>
                      <a:pt x="1151" y="1354"/>
                    </a:lnTo>
                    <a:lnTo>
                      <a:pt x="1152" y="1354"/>
                    </a:lnTo>
                    <a:close/>
                    <a:moveTo>
                      <a:pt x="1266" y="1565"/>
                    </a:moveTo>
                    <a:lnTo>
                      <a:pt x="1268" y="1566"/>
                    </a:lnTo>
                    <a:lnTo>
                      <a:pt x="1270" y="1568"/>
                    </a:lnTo>
                    <a:lnTo>
                      <a:pt x="1270" y="1570"/>
                    </a:lnTo>
                    <a:lnTo>
                      <a:pt x="1270" y="1572"/>
                    </a:lnTo>
                    <a:lnTo>
                      <a:pt x="1270" y="1573"/>
                    </a:lnTo>
                    <a:lnTo>
                      <a:pt x="1270" y="1572"/>
                    </a:lnTo>
                    <a:lnTo>
                      <a:pt x="1270" y="1570"/>
                    </a:lnTo>
                    <a:lnTo>
                      <a:pt x="1271" y="1570"/>
                    </a:lnTo>
                    <a:lnTo>
                      <a:pt x="1271" y="1568"/>
                    </a:lnTo>
                    <a:lnTo>
                      <a:pt x="1273" y="1568"/>
                    </a:lnTo>
                    <a:lnTo>
                      <a:pt x="1271" y="1570"/>
                    </a:lnTo>
                    <a:lnTo>
                      <a:pt x="1273" y="1568"/>
                    </a:lnTo>
                    <a:lnTo>
                      <a:pt x="1275" y="1570"/>
                    </a:lnTo>
                    <a:lnTo>
                      <a:pt x="1276" y="1570"/>
                    </a:lnTo>
                    <a:lnTo>
                      <a:pt x="1275" y="1572"/>
                    </a:lnTo>
                    <a:lnTo>
                      <a:pt x="1275" y="1573"/>
                    </a:lnTo>
                    <a:lnTo>
                      <a:pt x="1273" y="1573"/>
                    </a:lnTo>
                    <a:lnTo>
                      <a:pt x="1275" y="1575"/>
                    </a:lnTo>
                    <a:lnTo>
                      <a:pt x="1275" y="1577"/>
                    </a:lnTo>
                    <a:lnTo>
                      <a:pt x="1273" y="1577"/>
                    </a:lnTo>
                    <a:lnTo>
                      <a:pt x="1271" y="1577"/>
                    </a:lnTo>
                    <a:lnTo>
                      <a:pt x="1273" y="1577"/>
                    </a:lnTo>
                    <a:lnTo>
                      <a:pt x="1273" y="1578"/>
                    </a:lnTo>
                    <a:lnTo>
                      <a:pt x="1273" y="1580"/>
                    </a:lnTo>
                    <a:lnTo>
                      <a:pt x="1273" y="1578"/>
                    </a:lnTo>
                    <a:lnTo>
                      <a:pt x="1275" y="1578"/>
                    </a:lnTo>
                    <a:lnTo>
                      <a:pt x="1275" y="1577"/>
                    </a:lnTo>
                    <a:lnTo>
                      <a:pt x="1276" y="1578"/>
                    </a:lnTo>
                    <a:lnTo>
                      <a:pt x="1276" y="1580"/>
                    </a:lnTo>
                    <a:lnTo>
                      <a:pt x="1275" y="1582"/>
                    </a:lnTo>
                    <a:lnTo>
                      <a:pt x="1275" y="1580"/>
                    </a:lnTo>
                    <a:lnTo>
                      <a:pt x="1275" y="1582"/>
                    </a:lnTo>
                    <a:lnTo>
                      <a:pt x="1273" y="1582"/>
                    </a:lnTo>
                    <a:lnTo>
                      <a:pt x="1273" y="1583"/>
                    </a:lnTo>
                    <a:lnTo>
                      <a:pt x="1273" y="1582"/>
                    </a:lnTo>
                    <a:lnTo>
                      <a:pt x="1273" y="1583"/>
                    </a:lnTo>
                    <a:lnTo>
                      <a:pt x="1271" y="1583"/>
                    </a:lnTo>
                    <a:lnTo>
                      <a:pt x="1271" y="1582"/>
                    </a:lnTo>
                    <a:lnTo>
                      <a:pt x="1271" y="1583"/>
                    </a:lnTo>
                    <a:lnTo>
                      <a:pt x="1270" y="1582"/>
                    </a:lnTo>
                    <a:lnTo>
                      <a:pt x="1270" y="1580"/>
                    </a:lnTo>
                    <a:lnTo>
                      <a:pt x="1268" y="1580"/>
                    </a:lnTo>
                    <a:lnTo>
                      <a:pt x="1270" y="1578"/>
                    </a:lnTo>
                    <a:lnTo>
                      <a:pt x="1268" y="1580"/>
                    </a:lnTo>
                    <a:lnTo>
                      <a:pt x="1268" y="1578"/>
                    </a:lnTo>
                    <a:lnTo>
                      <a:pt x="1266" y="1577"/>
                    </a:lnTo>
                    <a:lnTo>
                      <a:pt x="1266" y="1575"/>
                    </a:lnTo>
                    <a:lnTo>
                      <a:pt x="1266" y="1577"/>
                    </a:lnTo>
                    <a:lnTo>
                      <a:pt x="1266" y="1578"/>
                    </a:lnTo>
                    <a:lnTo>
                      <a:pt x="1266" y="1580"/>
                    </a:lnTo>
                    <a:lnTo>
                      <a:pt x="1268" y="1580"/>
                    </a:lnTo>
                    <a:lnTo>
                      <a:pt x="1266" y="1582"/>
                    </a:lnTo>
                    <a:lnTo>
                      <a:pt x="1268" y="1582"/>
                    </a:lnTo>
                    <a:lnTo>
                      <a:pt x="1268" y="1583"/>
                    </a:lnTo>
                    <a:lnTo>
                      <a:pt x="1270" y="1582"/>
                    </a:lnTo>
                    <a:lnTo>
                      <a:pt x="1270" y="1583"/>
                    </a:lnTo>
                    <a:lnTo>
                      <a:pt x="1271" y="1583"/>
                    </a:lnTo>
                    <a:lnTo>
                      <a:pt x="1271" y="1585"/>
                    </a:lnTo>
                    <a:lnTo>
                      <a:pt x="1271" y="1587"/>
                    </a:lnTo>
                    <a:lnTo>
                      <a:pt x="1271" y="1585"/>
                    </a:lnTo>
                    <a:lnTo>
                      <a:pt x="1271" y="1587"/>
                    </a:lnTo>
                    <a:lnTo>
                      <a:pt x="1273" y="1587"/>
                    </a:lnTo>
                    <a:lnTo>
                      <a:pt x="1273" y="1589"/>
                    </a:lnTo>
                    <a:lnTo>
                      <a:pt x="1273" y="1590"/>
                    </a:lnTo>
                    <a:lnTo>
                      <a:pt x="1271" y="1590"/>
                    </a:lnTo>
                    <a:lnTo>
                      <a:pt x="1271" y="1589"/>
                    </a:lnTo>
                    <a:lnTo>
                      <a:pt x="1270" y="1589"/>
                    </a:lnTo>
                    <a:lnTo>
                      <a:pt x="1268" y="1589"/>
                    </a:lnTo>
                    <a:lnTo>
                      <a:pt x="1270" y="1589"/>
                    </a:lnTo>
                    <a:lnTo>
                      <a:pt x="1270" y="1590"/>
                    </a:lnTo>
                    <a:lnTo>
                      <a:pt x="1268" y="1590"/>
                    </a:lnTo>
                    <a:lnTo>
                      <a:pt x="1270" y="1590"/>
                    </a:lnTo>
                    <a:lnTo>
                      <a:pt x="1270" y="1592"/>
                    </a:lnTo>
                    <a:lnTo>
                      <a:pt x="1268" y="1592"/>
                    </a:lnTo>
                    <a:lnTo>
                      <a:pt x="1270" y="1592"/>
                    </a:lnTo>
                    <a:lnTo>
                      <a:pt x="1270" y="1594"/>
                    </a:lnTo>
                    <a:lnTo>
                      <a:pt x="1271" y="1594"/>
                    </a:lnTo>
                    <a:lnTo>
                      <a:pt x="1270" y="1594"/>
                    </a:lnTo>
                    <a:lnTo>
                      <a:pt x="1268" y="1594"/>
                    </a:lnTo>
                    <a:lnTo>
                      <a:pt x="1266" y="1594"/>
                    </a:lnTo>
                    <a:lnTo>
                      <a:pt x="1266" y="1592"/>
                    </a:lnTo>
                    <a:lnTo>
                      <a:pt x="1266" y="1594"/>
                    </a:lnTo>
                    <a:lnTo>
                      <a:pt x="1264" y="1594"/>
                    </a:lnTo>
                    <a:lnTo>
                      <a:pt x="1264" y="1592"/>
                    </a:lnTo>
                    <a:lnTo>
                      <a:pt x="1266" y="1592"/>
                    </a:lnTo>
                    <a:lnTo>
                      <a:pt x="1266" y="1590"/>
                    </a:lnTo>
                    <a:lnTo>
                      <a:pt x="1266" y="1589"/>
                    </a:lnTo>
                    <a:lnTo>
                      <a:pt x="1268" y="1589"/>
                    </a:lnTo>
                    <a:lnTo>
                      <a:pt x="1268" y="1587"/>
                    </a:lnTo>
                    <a:lnTo>
                      <a:pt x="1268" y="1589"/>
                    </a:lnTo>
                    <a:lnTo>
                      <a:pt x="1266" y="1587"/>
                    </a:lnTo>
                    <a:lnTo>
                      <a:pt x="1266" y="1589"/>
                    </a:lnTo>
                    <a:lnTo>
                      <a:pt x="1264" y="1587"/>
                    </a:lnTo>
                    <a:lnTo>
                      <a:pt x="1263" y="1587"/>
                    </a:lnTo>
                    <a:lnTo>
                      <a:pt x="1264" y="1587"/>
                    </a:lnTo>
                    <a:lnTo>
                      <a:pt x="1263" y="1587"/>
                    </a:lnTo>
                    <a:lnTo>
                      <a:pt x="1264" y="1587"/>
                    </a:lnTo>
                    <a:lnTo>
                      <a:pt x="1263" y="1585"/>
                    </a:lnTo>
                    <a:lnTo>
                      <a:pt x="1263" y="1587"/>
                    </a:lnTo>
                    <a:lnTo>
                      <a:pt x="1263" y="1585"/>
                    </a:lnTo>
                    <a:lnTo>
                      <a:pt x="1261" y="1585"/>
                    </a:lnTo>
                    <a:lnTo>
                      <a:pt x="1261" y="1583"/>
                    </a:lnTo>
                    <a:lnTo>
                      <a:pt x="1259" y="1583"/>
                    </a:lnTo>
                    <a:lnTo>
                      <a:pt x="1259" y="1582"/>
                    </a:lnTo>
                    <a:lnTo>
                      <a:pt x="1261" y="1583"/>
                    </a:lnTo>
                    <a:lnTo>
                      <a:pt x="1261" y="1582"/>
                    </a:lnTo>
                    <a:lnTo>
                      <a:pt x="1263" y="1583"/>
                    </a:lnTo>
                    <a:lnTo>
                      <a:pt x="1263" y="1582"/>
                    </a:lnTo>
                    <a:lnTo>
                      <a:pt x="1261" y="1582"/>
                    </a:lnTo>
                    <a:lnTo>
                      <a:pt x="1259" y="1582"/>
                    </a:lnTo>
                    <a:lnTo>
                      <a:pt x="1258" y="1580"/>
                    </a:lnTo>
                    <a:lnTo>
                      <a:pt x="1259" y="1580"/>
                    </a:lnTo>
                    <a:lnTo>
                      <a:pt x="1261" y="1580"/>
                    </a:lnTo>
                    <a:lnTo>
                      <a:pt x="1263" y="1580"/>
                    </a:lnTo>
                    <a:lnTo>
                      <a:pt x="1261" y="1580"/>
                    </a:lnTo>
                    <a:lnTo>
                      <a:pt x="1259" y="1578"/>
                    </a:lnTo>
                    <a:lnTo>
                      <a:pt x="1259" y="1577"/>
                    </a:lnTo>
                    <a:lnTo>
                      <a:pt x="1259" y="1578"/>
                    </a:lnTo>
                    <a:lnTo>
                      <a:pt x="1258" y="1578"/>
                    </a:lnTo>
                    <a:lnTo>
                      <a:pt x="1258" y="1580"/>
                    </a:lnTo>
                    <a:lnTo>
                      <a:pt x="1256" y="1580"/>
                    </a:lnTo>
                    <a:lnTo>
                      <a:pt x="1256" y="1578"/>
                    </a:lnTo>
                    <a:lnTo>
                      <a:pt x="1254" y="1577"/>
                    </a:lnTo>
                    <a:lnTo>
                      <a:pt x="1256" y="1577"/>
                    </a:lnTo>
                    <a:lnTo>
                      <a:pt x="1256" y="1575"/>
                    </a:lnTo>
                    <a:lnTo>
                      <a:pt x="1258" y="1573"/>
                    </a:lnTo>
                    <a:lnTo>
                      <a:pt x="1258" y="1572"/>
                    </a:lnTo>
                    <a:lnTo>
                      <a:pt x="1258" y="1573"/>
                    </a:lnTo>
                    <a:lnTo>
                      <a:pt x="1256" y="1573"/>
                    </a:lnTo>
                    <a:lnTo>
                      <a:pt x="1254" y="1575"/>
                    </a:lnTo>
                    <a:lnTo>
                      <a:pt x="1254" y="1573"/>
                    </a:lnTo>
                    <a:lnTo>
                      <a:pt x="1254" y="1572"/>
                    </a:lnTo>
                    <a:lnTo>
                      <a:pt x="1254" y="1570"/>
                    </a:lnTo>
                    <a:lnTo>
                      <a:pt x="1256" y="1568"/>
                    </a:lnTo>
                    <a:lnTo>
                      <a:pt x="1256" y="1570"/>
                    </a:lnTo>
                    <a:lnTo>
                      <a:pt x="1258" y="1570"/>
                    </a:lnTo>
                    <a:lnTo>
                      <a:pt x="1259" y="1570"/>
                    </a:lnTo>
                    <a:lnTo>
                      <a:pt x="1259" y="1572"/>
                    </a:lnTo>
                    <a:lnTo>
                      <a:pt x="1259" y="1573"/>
                    </a:lnTo>
                    <a:lnTo>
                      <a:pt x="1261" y="1573"/>
                    </a:lnTo>
                    <a:lnTo>
                      <a:pt x="1263" y="1573"/>
                    </a:lnTo>
                    <a:lnTo>
                      <a:pt x="1261" y="1573"/>
                    </a:lnTo>
                    <a:lnTo>
                      <a:pt x="1261" y="1572"/>
                    </a:lnTo>
                    <a:lnTo>
                      <a:pt x="1259" y="1570"/>
                    </a:lnTo>
                    <a:lnTo>
                      <a:pt x="1261" y="1570"/>
                    </a:lnTo>
                    <a:lnTo>
                      <a:pt x="1261" y="1572"/>
                    </a:lnTo>
                    <a:lnTo>
                      <a:pt x="1263" y="1572"/>
                    </a:lnTo>
                    <a:lnTo>
                      <a:pt x="1261" y="1572"/>
                    </a:lnTo>
                    <a:lnTo>
                      <a:pt x="1261" y="1570"/>
                    </a:lnTo>
                    <a:lnTo>
                      <a:pt x="1263" y="1570"/>
                    </a:lnTo>
                    <a:lnTo>
                      <a:pt x="1263" y="1568"/>
                    </a:lnTo>
                    <a:lnTo>
                      <a:pt x="1263" y="1570"/>
                    </a:lnTo>
                    <a:lnTo>
                      <a:pt x="1264" y="1568"/>
                    </a:lnTo>
                    <a:lnTo>
                      <a:pt x="1266" y="1568"/>
                    </a:lnTo>
                    <a:lnTo>
                      <a:pt x="1264" y="1566"/>
                    </a:lnTo>
                    <a:lnTo>
                      <a:pt x="1266" y="1565"/>
                    </a:lnTo>
                    <a:close/>
                    <a:moveTo>
                      <a:pt x="1152" y="1252"/>
                    </a:moveTo>
                    <a:lnTo>
                      <a:pt x="1154" y="1253"/>
                    </a:lnTo>
                    <a:lnTo>
                      <a:pt x="1152" y="1255"/>
                    </a:lnTo>
                    <a:lnTo>
                      <a:pt x="1154" y="1255"/>
                    </a:lnTo>
                    <a:lnTo>
                      <a:pt x="1152" y="1255"/>
                    </a:lnTo>
                    <a:lnTo>
                      <a:pt x="1151" y="1255"/>
                    </a:lnTo>
                    <a:lnTo>
                      <a:pt x="1152" y="1255"/>
                    </a:lnTo>
                    <a:lnTo>
                      <a:pt x="1152" y="1257"/>
                    </a:lnTo>
                    <a:lnTo>
                      <a:pt x="1152" y="1259"/>
                    </a:lnTo>
                    <a:lnTo>
                      <a:pt x="1152" y="1257"/>
                    </a:lnTo>
                    <a:lnTo>
                      <a:pt x="1152" y="1255"/>
                    </a:lnTo>
                    <a:lnTo>
                      <a:pt x="1154" y="1255"/>
                    </a:lnTo>
                    <a:lnTo>
                      <a:pt x="1154" y="1257"/>
                    </a:lnTo>
                    <a:lnTo>
                      <a:pt x="1152" y="1259"/>
                    </a:lnTo>
                    <a:lnTo>
                      <a:pt x="1152" y="1260"/>
                    </a:lnTo>
                    <a:lnTo>
                      <a:pt x="1152" y="1259"/>
                    </a:lnTo>
                    <a:lnTo>
                      <a:pt x="1154" y="1259"/>
                    </a:lnTo>
                    <a:lnTo>
                      <a:pt x="1156" y="1259"/>
                    </a:lnTo>
                    <a:lnTo>
                      <a:pt x="1154" y="1259"/>
                    </a:lnTo>
                    <a:lnTo>
                      <a:pt x="1154" y="1260"/>
                    </a:lnTo>
                    <a:lnTo>
                      <a:pt x="1156" y="1260"/>
                    </a:lnTo>
                    <a:lnTo>
                      <a:pt x="1156" y="1262"/>
                    </a:lnTo>
                    <a:lnTo>
                      <a:pt x="1154" y="1262"/>
                    </a:lnTo>
                    <a:lnTo>
                      <a:pt x="1154" y="1264"/>
                    </a:lnTo>
                    <a:lnTo>
                      <a:pt x="1156" y="1262"/>
                    </a:lnTo>
                    <a:lnTo>
                      <a:pt x="1156" y="1264"/>
                    </a:lnTo>
                    <a:lnTo>
                      <a:pt x="1157" y="1264"/>
                    </a:lnTo>
                    <a:lnTo>
                      <a:pt x="1157" y="1265"/>
                    </a:lnTo>
                    <a:lnTo>
                      <a:pt x="1156" y="1265"/>
                    </a:lnTo>
                    <a:lnTo>
                      <a:pt x="1156" y="1267"/>
                    </a:lnTo>
                    <a:lnTo>
                      <a:pt x="1157" y="1265"/>
                    </a:lnTo>
                    <a:lnTo>
                      <a:pt x="1157" y="1267"/>
                    </a:lnTo>
                    <a:lnTo>
                      <a:pt x="1157" y="1269"/>
                    </a:lnTo>
                    <a:lnTo>
                      <a:pt x="1159" y="1269"/>
                    </a:lnTo>
                    <a:lnTo>
                      <a:pt x="1159" y="1270"/>
                    </a:lnTo>
                    <a:lnTo>
                      <a:pt x="1159" y="1272"/>
                    </a:lnTo>
                    <a:lnTo>
                      <a:pt x="1157" y="1272"/>
                    </a:lnTo>
                    <a:lnTo>
                      <a:pt x="1159" y="1272"/>
                    </a:lnTo>
                    <a:lnTo>
                      <a:pt x="1157" y="1272"/>
                    </a:lnTo>
                    <a:lnTo>
                      <a:pt x="1157" y="1274"/>
                    </a:lnTo>
                    <a:lnTo>
                      <a:pt x="1159" y="1272"/>
                    </a:lnTo>
                    <a:lnTo>
                      <a:pt x="1159" y="1270"/>
                    </a:lnTo>
                    <a:lnTo>
                      <a:pt x="1161" y="1272"/>
                    </a:lnTo>
                    <a:lnTo>
                      <a:pt x="1161" y="1274"/>
                    </a:lnTo>
                    <a:lnTo>
                      <a:pt x="1162" y="1274"/>
                    </a:lnTo>
                    <a:lnTo>
                      <a:pt x="1161" y="1276"/>
                    </a:lnTo>
                    <a:lnTo>
                      <a:pt x="1161" y="1274"/>
                    </a:lnTo>
                    <a:lnTo>
                      <a:pt x="1161" y="1276"/>
                    </a:lnTo>
                    <a:lnTo>
                      <a:pt x="1159" y="1276"/>
                    </a:lnTo>
                    <a:lnTo>
                      <a:pt x="1161" y="1276"/>
                    </a:lnTo>
                    <a:lnTo>
                      <a:pt x="1159" y="1277"/>
                    </a:lnTo>
                    <a:lnTo>
                      <a:pt x="1161" y="1276"/>
                    </a:lnTo>
                    <a:lnTo>
                      <a:pt x="1162" y="1276"/>
                    </a:lnTo>
                    <a:lnTo>
                      <a:pt x="1162" y="1277"/>
                    </a:lnTo>
                    <a:lnTo>
                      <a:pt x="1161" y="1277"/>
                    </a:lnTo>
                    <a:lnTo>
                      <a:pt x="1162" y="1279"/>
                    </a:lnTo>
                    <a:lnTo>
                      <a:pt x="1162" y="1281"/>
                    </a:lnTo>
                    <a:lnTo>
                      <a:pt x="1162" y="1282"/>
                    </a:lnTo>
                    <a:lnTo>
                      <a:pt x="1161" y="1282"/>
                    </a:lnTo>
                    <a:lnTo>
                      <a:pt x="1159" y="1284"/>
                    </a:lnTo>
                    <a:lnTo>
                      <a:pt x="1161" y="1284"/>
                    </a:lnTo>
                    <a:lnTo>
                      <a:pt x="1159" y="1284"/>
                    </a:lnTo>
                    <a:lnTo>
                      <a:pt x="1159" y="1286"/>
                    </a:lnTo>
                    <a:lnTo>
                      <a:pt x="1157" y="1286"/>
                    </a:lnTo>
                    <a:lnTo>
                      <a:pt x="1156" y="1286"/>
                    </a:lnTo>
                    <a:lnTo>
                      <a:pt x="1156" y="1284"/>
                    </a:lnTo>
                    <a:lnTo>
                      <a:pt x="1157" y="1284"/>
                    </a:lnTo>
                    <a:lnTo>
                      <a:pt x="1156" y="1284"/>
                    </a:lnTo>
                    <a:lnTo>
                      <a:pt x="1157" y="1282"/>
                    </a:lnTo>
                    <a:lnTo>
                      <a:pt x="1159" y="1282"/>
                    </a:lnTo>
                    <a:lnTo>
                      <a:pt x="1157" y="1282"/>
                    </a:lnTo>
                    <a:lnTo>
                      <a:pt x="1156" y="1284"/>
                    </a:lnTo>
                    <a:lnTo>
                      <a:pt x="1156" y="1282"/>
                    </a:lnTo>
                    <a:lnTo>
                      <a:pt x="1156" y="1281"/>
                    </a:lnTo>
                    <a:lnTo>
                      <a:pt x="1157" y="1281"/>
                    </a:lnTo>
                    <a:lnTo>
                      <a:pt x="1156" y="1281"/>
                    </a:lnTo>
                    <a:lnTo>
                      <a:pt x="1154" y="1281"/>
                    </a:lnTo>
                    <a:lnTo>
                      <a:pt x="1156" y="1279"/>
                    </a:lnTo>
                    <a:lnTo>
                      <a:pt x="1154" y="1279"/>
                    </a:lnTo>
                    <a:lnTo>
                      <a:pt x="1154" y="1277"/>
                    </a:lnTo>
                    <a:lnTo>
                      <a:pt x="1156" y="1277"/>
                    </a:lnTo>
                    <a:lnTo>
                      <a:pt x="1154" y="1277"/>
                    </a:lnTo>
                    <a:lnTo>
                      <a:pt x="1154" y="1276"/>
                    </a:lnTo>
                    <a:lnTo>
                      <a:pt x="1154" y="1274"/>
                    </a:lnTo>
                    <a:lnTo>
                      <a:pt x="1156" y="1274"/>
                    </a:lnTo>
                    <a:lnTo>
                      <a:pt x="1156" y="1272"/>
                    </a:lnTo>
                    <a:lnTo>
                      <a:pt x="1157" y="1272"/>
                    </a:lnTo>
                    <a:lnTo>
                      <a:pt x="1156" y="1270"/>
                    </a:lnTo>
                    <a:lnTo>
                      <a:pt x="1156" y="1272"/>
                    </a:lnTo>
                    <a:lnTo>
                      <a:pt x="1154" y="1272"/>
                    </a:lnTo>
                    <a:lnTo>
                      <a:pt x="1154" y="1270"/>
                    </a:lnTo>
                    <a:lnTo>
                      <a:pt x="1154" y="1272"/>
                    </a:lnTo>
                    <a:lnTo>
                      <a:pt x="1154" y="1270"/>
                    </a:lnTo>
                    <a:lnTo>
                      <a:pt x="1154" y="1269"/>
                    </a:lnTo>
                    <a:lnTo>
                      <a:pt x="1156" y="1269"/>
                    </a:lnTo>
                    <a:lnTo>
                      <a:pt x="1156" y="1267"/>
                    </a:lnTo>
                    <a:lnTo>
                      <a:pt x="1156" y="1269"/>
                    </a:lnTo>
                    <a:lnTo>
                      <a:pt x="1154" y="1269"/>
                    </a:lnTo>
                    <a:lnTo>
                      <a:pt x="1152" y="1270"/>
                    </a:lnTo>
                    <a:lnTo>
                      <a:pt x="1151" y="1272"/>
                    </a:lnTo>
                    <a:lnTo>
                      <a:pt x="1151" y="1270"/>
                    </a:lnTo>
                    <a:lnTo>
                      <a:pt x="1151" y="1272"/>
                    </a:lnTo>
                    <a:lnTo>
                      <a:pt x="1149" y="1272"/>
                    </a:lnTo>
                    <a:lnTo>
                      <a:pt x="1147" y="1272"/>
                    </a:lnTo>
                    <a:lnTo>
                      <a:pt x="1149" y="1272"/>
                    </a:lnTo>
                    <a:lnTo>
                      <a:pt x="1147" y="1272"/>
                    </a:lnTo>
                    <a:lnTo>
                      <a:pt x="1145" y="1270"/>
                    </a:lnTo>
                    <a:lnTo>
                      <a:pt x="1145" y="1269"/>
                    </a:lnTo>
                    <a:lnTo>
                      <a:pt x="1147" y="1269"/>
                    </a:lnTo>
                    <a:lnTo>
                      <a:pt x="1149" y="1269"/>
                    </a:lnTo>
                    <a:lnTo>
                      <a:pt x="1151" y="1269"/>
                    </a:lnTo>
                    <a:lnTo>
                      <a:pt x="1152" y="1269"/>
                    </a:lnTo>
                    <a:lnTo>
                      <a:pt x="1152" y="1267"/>
                    </a:lnTo>
                    <a:lnTo>
                      <a:pt x="1151" y="1269"/>
                    </a:lnTo>
                    <a:lnTo>
                      <a:pt x="1151" y="1267"/>
                    </a:lnTo>
                    <a:lnTo>
                      <a:pt x="1152" y="1267"/>
                    </a:lnTo>
                    <a:lnTo>
                      <a:pt x="1152" y="1265"/>
                    </a:lnTo>
                    <a:lnTo>
                      <a:pt x="1151" y="1267"/>
                    </a:lnTo>
                    <a:lnTo>
                      <a:pt x="1151" y="1265"/>
                    </a:lnTo>
                    <a:lnTo>
                      <a:pt x="1152" y="1264"/>
                    </a:lnTo>
                    <a:lnTo>
                      <a:pt x="1152" y="1262"/>
                    </a:lnTo>
                    <a:lnTo>
                      <a:pt x="1151" y="1264"/>
                    </a:lnTo>
                    <a:lnTo>
                      <a:pt x="1151" y="1265"/>
                    </a:lnTo>
                    <a:lnTo>
                      <a:pt x="1151" y="1267"/>
                    </a:lnTo>
                    <a:lnTo>
                      <a:pt x="1149" y="1267"/>
                    </a:lnTo>
                    <a:lnTo>
                      <a:pt x="1151" y="1269"/>
                    </a:lnTo>
                    <a:lnTo>
                      <a:pt x="1149" y="1269"/>
                    </a:lnTo>
                    <a:lnTo>
                      <a:pt x="1149" y="1267"/>
                    </a:lnTo>
                    <a:lnTo>
                      <a:pt x="1149" y="1269"/>
                    </a:lnTo>
                    <a:lnTo>
                      <a:pt x="1147" y="1269"/>
                    </a:lnTo>
                    <a:lnTo>
                      <a:pt x="1147" y="1267"/>
                    </a:lnTo>
                    <a:lnTo>
                      <a:pt x="1149" y="1267"/>
                    </a:lnTo>
                    <a:lnTo>
                      <a:pt x="1149" y="1265"/>
                    </a:lnTo>
                    <a:lnTo>
                      <a:pt x="1149" y="1264"/>
                    </a:lnTo>
                    <a:lnTo>
                      <a:pt x="1151" y="1262"/>
                    </a:lnTo>
                    <a:lnTo>
                      <a:pt x="1149" y="1264"/>
                    </a:lnTo>
                    <a:lnTo>
                      <a:pt x="1149" y="1262"/>
                    </a:lnTo>
                    <a:lnTo>
                      <a:pt x="1151" y="1262"/>
                    </a:lnTo>
                    <a:lnTo>
                      <a:pt x="1151" y="1260"/>
                    </a:lnTo>
                    <a:lnTo>
                      <a:pt x="1149" y="1262"/>
                    </a:lnTo>
                    <a:lnTo>
                      <a:pt x="1149" y="1264"/>
                    </a:lnTo>
                    <a:lnTo>
                      <a:pt x="1147" y="1264"/>
                    </a:lnTo>
                    <a:lnTo>
                      <a:pt x="1145" y="1262"/>
                    </a:lnTo>
                    <a:lnTo>
                      <a:pt x="1147" y="1262"/>
                    </a:lnTo>
                    <a:lnTo>
                      <a:pt x="1147" y="1260"/>
                    </a:lnTo>
                    <a:lnTo>
                      <a:pt x="1145" y="1260"/>
                    </a:lnTo>
                    <a:lnTo>
                      <a:pt x="1145" y="1259"/>
                    </a:lnTo>
                    <a:lnTo>
                      <a:pt x="1144" y="1257"/>
                    </a:lnTo>
                    <a:lnTo>
                      <a:pt x="1145" y="1255"/>
                    </a:lnTo>
                    <a:lnTo>
                      <a:pt x="1147" y="1255"/>
                    </a:lnTo>
                    <a:lnTo>
                      <a:pt x="1147" y="1253"/>
                    </a:lnTo>
                    <a:lnTo>
                      <a:pt x="1147" y="1255"/>
                    </a:lnTo>
                    <a:lnTo>
                      <a:pt x="1147" y="1253"/>
                    </a:lnTo>
                    <a:lnTo>
                      <a:pt x="1149" y="1255"/>
                    </a:lnTo>
                    <a:lnTo>
                      <a:pt x="1149" y="1253"/>
                    </a:lnTo>
                    <a:lnTo>
                      <a:pt x="1149" y="1255"/>
                    </a:lnTo>
                    <a:lnTo>
                      <a:pt x="1149" y="1253"/>
                    </a:lnTo>
                    <a:lnTo>
                      <a:pt x="1149" y="1255"/>
                    </a:lnTo>
                    <a:lnTo>
                      <a:pt x="1149" y="1253"/>
                    </a:lnTo>
                    <a:lnTo>
                      <a:pt x="1151" y="1253"/>
                    </a:lnTo>
                    <a:lnTo>
                      <a:pt x="1149" y="1255"/>
                    </a:lnTo>
                    <a:lnTo>
                      <a:pt x="1149" y="1257"/>
                    </a:lnTo>
                    <a:lnTo>
                      <a:pt x="1149" y="1255"/>
                    </a:lnTo>
                    <a:lnTo>
                      <a:pt x="1151" y="1255"/>
                    </a:lnTo>
                    <a:lnTo>
                      <a:pt x="1151" y="1253"/>
                    </a:lnTo>
                    <a:lnTo>
                      <a:pt x="1151" y="1252"/>
                    </a:lnTo>
                    <a:lnTo>
                      <a:pt x="1152" y="1252"/>
                    </a:lnTo>
                    <a:close/>
                    <a:moveTo>
                      <a:pt x="1176" y="1393"/>
                    </a:moveTo>
                    <a:lnTo>
                      <a:pt x="1176" y="1395"/>
                    </a:lnTo>
                    <a:lnTo>
                      <a:pt x="1176" y="1393"/>
                    </a:lnTo>
                    <a:lnTo>
                      <a:pt x="1178" y="1393"/>
                    </a:lnTo>
                    <a:lnTo>
                      <a:pt x="1178" y="1395"/>
                    </a:lnTo>
                    <a:lnTo>
                      <a:pt x="1179" y="1393"/>
                    </a:lnTo>
                    <a:lnTo>
                      <a:pt x="1179" y="1395"/>
                    </a:lnTo>
                    <a:lnTo>
                      <a:pt x="1181" y="1395"/>
                    </a:lnTo>
                    <a:lnTo>
                      <a:pt x="1181" y="1396"/>
                    </a:lnTo>
                    <a:lnTo>
                      <a:pt x="1181" y="1395"/>
                    </a:lnTo>
                    <a:lnTo>
                      <a:pt x="1183" y="1396"/>
                    </a:lnTo>
                    <a:lnTo>
                      <a:pt x="1181" y="1398"/>
                    </a:lnTo>
                    <a:lnTo>
                      <a:pt x="1181" y="1396"/>
                    </a:lnTo>
                    <a:lnTo>
                      <a:pt x="1181" y="1398"/>
                    </a:lnTo>
                    <a:lnTo>
                      <a:pt x="1181" y="1400"/>
                    </a:lnTo>
                    <a:lnTo>
                      <a:pt x="1179" y="1400"/>
                    </a:lnTo>
                    <a:lnTo>
                      <a:pt x="1181" y="1400"/>
                    </a:lnTo>
                    <a:lnTo>
                      <a:pt x="1181" y="1398"/>
                    </a:lnTo>
                    <a:lnTo>
                      <a:pt x="1183" y="1398"/>
                    </a:lnTo>
                    <a:lnTo>
                      <a:pt x="1183" y="1400"/>
                    </a:lnTo>
                    <a:lnTo>
                      <a:pt x="1183" y="1401"/>
                    </a:lnTo>
                    <a:lnTo>
                      <a:pt x="1183" y="1403"/>
                    </a:lnTo>
                    <a:lnTo>
                      <a:pt x="1181" y="1403"/>
                    </a:lnTo>
                    <a:lnTo>
                      <a:pt x="1183" y="1403"/>
                    </a:lnTo>
                    <a:lnTo>
                      <a:pt x="1183" y="1405"/>
                    </a:lnTo>
                    <a:lnTo>
                      <a:pt x="1183" y="1403"/>
                    </a:lnTo>
                    <a:lnTo>
                      <a:pt x="1183" y="1405"/>
                    </a:lnTo>
                    <a:lnTo>
                      <a:pt x="1183" y="1403"/>
                    </a:lnTo>
                    <a:lnTo>
                      <a:pt x="1183" y="1405"/>
                    </a:lnTo>
                    <a:lnTo>
                      <a:pt x="1183" y="1407"/>
                    </a:lnTo>
                    <a:lnTo>
                      <a:pt x="1183" y="1405"/>
                    </a:lnTo>
                    <a:lnTo>
                      <a:pt x="1185" y="1407"/>
                    </a:lnTo>
                    <a:lnTo>
                      <a:pt x="1185" y="1408"/>
                    </a:lnTo>
                    <a:lnTo>
                      <a:pt x="1185" y="1410"/>
                    </a:lnTo>
                    <a:lnTo>
                      <a:pt x="1185" y="1412"/>
                    </a:lnTo>
                    <a:lnTo>
                      <a:pt x="1183" y="1410"/>
                    </a:lnTo>
                    <a:lnTo>
                      <a:pt x="1185" y="1412"/>
                    </a:lnTo>
                    <a:lnTo>
                      <a:pt x="1183" y="1412"/>
                    </a:lnTo>
                    <a:lnTo>
                      <a:pt x="1183" y="1410"/>
                    </a:lnTo>
                    <a:lnTo>
                      <a:pt x="1181" y="1408"/>
                    </a:lnTo>
                    <a:lnTo>
                      <a:pt x="1181" y="1407"/>
                    </a:lnTo>
                    <a:lnTo>
                      <a:pt x="1179" y="1407"/>
                    </a:lnTo>
                    <a:lnTo>
                      <a:pt x="1179" y="1408"/>
                    </a:lnTo>
                    <a:lnTo>
                      <a:pt x="1181" y="1408"/>
                    </a:lnTo>
                    <a:lnTo>
                      <a:pt x="1181" y="1410"/>
                    </a:lnTo>
                    <a:lnTo>
                      <a:pt x="1181" y="1412"/>
                    </a:lnTo>
                    <a:lnTo>
                      <a:pt x="1179" y="1412"/>
                    </a:lnTo>
                    <a:lnTo>
                      <a:pt x="1179" y="1410"/>
                    </a:lnTo>
                    <a:lnTo>
                      <a:pt x="1179" y="1412"/>
                    </a:lnTo>
                    <a:lnTo>
                      <a:pt x="1181" y="1412"/>
                    </a:lnTo>
                    <a:lnTo>
                      <a:pt x="1181" y="1413"/>
                    </a:lnTo>
                    <a:lnTo>
                      <a:pt x="1183" y="1413"/>
                    </a:lnTo>
                    <a:lnTo>
                      <a:pt x="1185" y="1415"/>
                    </a:lnTo>
                    <a:lnTo>
                      <a:pt x="1185" y="1417"/>
                    </a:lnTo>
                    <a:lnTo>
                      <a:pt x="1185" y="1418"/>
                    </a:lnTo>
                    <a:lnTo>
                      <a:pt x="1183" y="1418"/>
                    </a:lnTo>
                    <a:lnTo>
                      <a:pt x="1183" y="1417"/>
                    </a:lnTo>
                    <a:lnTo>
                      <a:pt x="1181" y="1417"/>
                    </a:lnTo>
                    <a:lnTo>
                      <a:pt x="1183" y="1418"/>
                    </a:lnTo>
                    <a:lnTo>
                      <a:pt x="1183" y="1420"/>
                    </a:lnTo>
                    <a:lnTo>
                      <a:pt x="1183" y="1418"/>
                    </a:lnTo>
                    <a:lnTo>
                      <a:pt x="1181" y="1418"/>
                    </a:lnTo>
                    <a:lnTo>
                      <a:pt x="1181" y="1417"/>
                    </a:lnTo>
                    <a:lnTo>
                      <a:pt x="1179" y="1418"/>
                    </a:lnTo>
                    <a:lnTo>
                      <a:pt x="1181" y="1418"/>
                    </a:lnTo>
                    <a:lnTo>
                      <a:pt x="1183" y="1420"/>
                    </a:lnTo>
                    <a:lnTo>
                      <a:pt x="1183" y="1422"/>
                    </a:lnTo>
                    <a:lnTo>
                      <a:pt x="1181" y="1422"/>
                    </a:lnTo>
                    <a:lnTo>
                      <a:pt x="1181" y="1420"/>
                    </a:lnTo>
                    <a:lnTo>
                      <a:pt x="1181" y="1418"/>
                    </a:lnTo>
                    <a:lnTo>
                      <a:pt x="1179" y="1420"/>
                    </a:lnTo>
                    <a:lnTo>
                      <a:pt x="1179" y="1418"/>
                    </a:lnTo>
                    <a:lnTo>
                      <a:pt x="1178" y="1420"/>
                    </a:lnTo>
                    <a:lnTo>
                      <a:pt x="1178" y="1418"/>
                    </a:lnTo>
                    <a:lnTo>
                      <a:pt x="1179" y="1418"/>
                    </a:lnTo>
                    <a:lnTo>
                      <a:pt x="1179" y="1417"/>
                    </a:lnTo>
                    <a:lnTo>
                      <a:pt x="1178" y="1417"/>
                    </a:lnTo>
                    <a:lnTo>
                      <a:pt x="1178" y="1415"/>
                    </a:lnTo>
                    <a:lnTo>
                      <a:pt x="1176" y="1413"/>
                    </a:lnTo>
                    <a:lnTo>
                      <a:pt x="1178" y="1412"/>
                    </a:lnTo>
                    <a:lnTo>
                      <a:pt x="1176" y="1412"/>
                    </a:lnTo>
                    <a:lnTo>
                      <a:pt x="1176" y="1410"/>
                    </a:lnTo>
                    <a:lnTo>
                      <a:pt x="1178" y="1410"/>
                    </a:lnTo>
                    <a:lnTo>
                      <a:pt x="1179" y="1410"/>
                    </a:lnTo>
                    <a:lnTo>
                      <a:pt x="1179" y="1408"/>
                    </a:lnTo>
                    <a:lnTo>
                      <a:pt x="1179" y="1410"/>
                    </a:lnTo>
                    <a:lnTo>
                      <a:pt x="1178" y="1410"/>
                    </a:lnTo>
                    <a:lnTo>
                      <a:pt x="1176" y="1410"/>
                    </a:lnTo>
                    <a:lnTo>
                      <a:pt x="1176" y="1408"/>
                    </a:lnTo>
                    <a:lnTo>
                      <a:pt x="1176" y="1410"/>
                    </a:lnTo>
                    <a:lnTo>
                      <a:pt x="1176" y="1412"/>
                    </a:lnTo>
                    <a:lnTo>
                      <a:pt x="1174" y="1413"/>
                    </a:lnTo>
                    <a:lnTo>
                      <a:pt x="1174" y="1412"/>
                    </a:lnTo>
                    <a:lnTo>
                      <a:pt x="1174" y="1413"/>
                    </a:lnTo>
                    <a:lnTo>
                      <a:pt x="1173" y="1413"/>
                    </a:lnTo>
                    <a:lnTo>
                      <a:pt x="1171" y="1413"/>
                    </a:lnTo>
                    <a:lnTo>
                      <a:pt x="1173" y="1412"/>
                    </a:lnTo>
                    <a:lnTo>
                      <a:pt x="1171" y="1412"/>
                    </a:lnTo>
                    <a:lnTo>
                      <a:pt x="1173" y="1412"/>
                    </a:lnTo>
                    <a:lnTo>
                      <a:pt x="1173" y="1410"/>
                    </a:lnTo>
                    <a:lnTo>
                      <a:pt x="1171" y="1410"/>
                    </a:lnTo>
                    <a:lnTo>
                      <a:pt x="1173" y="1410"/>
                    </a:lnTo>
                    <a:lnTo>
                      <a:pt x="1174" y="1410"/>
                    </a:lnTo>
                    <a:lnTo>
                      <a:pt x="1174" y="1408"/>
                    </a:lnTo>
                    <a:lnTo>
                      <a:pt x="1176" y="1408"/>
                    </a:lnTo>
                    <a:lnTo>
                      <a:pt x="1176" y="1407"/>
                    </a:lnTo>
                    <a:lnTo>
                      <a:pt x="1176" y="1405"/>
                    </a:lnTo>
                    <a:lnTo>
                      <a:pt x="1176" y="1407"/>
                    </a:lnTo>
                    <a:lnTo>
                      <a:pt x="1174" y="1407"/>
                    </a:lnTo>
                    <a:lnTo>
                      <a:pt x="1174" y="1408"/>
                    </a:lnTo>
                    <a:lnTo>
                      <a:pt x="1173" y="1408"/>
                    </a:lnTo>
                    <a:lnTo>
                      <a:pt x="1171" y="1408"/>
                    </a:lnTo>
                    <a:lnTo>
                      <a:pt x="1171" y="1407"/>
                    </a:lnTo>
                    <a:lnTo>
                      <a:pt x="1171" y="1408"/>
                    </a:lnTo>
                    <a:lnTo>
                      <a:pt x="1169" y="1408"/>
                    </a:lnTo>
                    <a:lnTo>
                      <a:pt x="1171" y="1408"/>
                    </a:lnTo>
                    <a:lnTo>
                      <a:pt x="1171" y="1410"/>
                    </a:lnTo>
                    <a:lnTo>
                      <a:pt x="1169" y="1412"/>
                    </a:lnTo>
                    <a:lnTo>
                      <a:pt x="1168" y="1412"/>
                    </a:lnTo>
                    <a:lnTo>
                      <a:pt x="1169" y="1410"/>
                    </a:lnTo>
                    <a:lnTo>
                      <a:pt x="1168" y="1410"/>
                    </a:lnTo>
                    <a:lnTo>
                      <a:pt x="1168" y="1412"/>
                    </a:lnTo>
                    <a:lnTo>
                      <a:pt x="1166" y="1410"/>
                    </a:lnTo>
                    <a:lnTo>
                      <a:pt x="1168" y="1410"/>
                    </a:lnTo>
                    <a:lnTo>
                      <a:pt x="1168" y="1408"/>
                    </a:lnTo>
                    <a:lnTo>
                      <a:pt x="1169" y="1407"/>
                    </a:lnTo>
                    <a:lnTo>
                      <a:pt x="1168" y="1407"/>
                    </a:lnTo>
                    <a:lnTo>
                      <a:pt x="1169" y="1407"/>
                    </a:lnTo>
                    <a:lnTo>
                      <a:pt x="1171" y="1407"/>
                    </a:lnTo>
                    <a:lnTo>
                      <a:pt x="1169" y="1407"/>
                    </a:lnTo>
                    <a:lnTo>
                      <a:pt x="1168" y="1407"/>
                    </a:lnTo>
                    <a:lnTo>
                      <a:pt x="1166" y="1407"/>
                    </a:lnTo>
                    <a:lnTo>
                      <a:pt x="1168" y="1405"/>
                    </a:lnTo>
                    <a:lnTo>
                      <a:pt x="1169" y="1405"/>
                    </a:lnTo>
                    <a:lnTo>
                      <a:pt x="1168" y="1405"/>
                    </a:lnTo>
                    <a:lnTo>
                      <a:pt x="1166" y="1405"/>
                    </a:lnTo>
                    <a:lnTo>
                      <a:pt x="1166" y="1407"/>
                    </a:lnTo>
                    <a:lnTo>
                      <a:pt x="1164" y="1407"/>
                    </a:lnTo>
                    <a:lnTo>
                      <a:pt x="1164" y="1405"/>
                    </a:lnTo>
                    <a:lnTo>
                      <a:pt x="1164" y="1403"/>
                    </a:lnTo>
                    <a:lnTo>
                      <a:pt x="1166" y="1403"/>
                    </a:lnTo>
                    <a:lnTo>
                      <a:pt x="1168" y="1403"/>
                    </a:lnTo>
                    <a:lnTo>
                      <a:pt x="1166" y="1403"/>
                    </a:lnTo>
                    <a:lnTo>
                      <a:pt x="1164" y="1401"/>
                    </a:lnTo>
                    <a:lnTo>
                      <a:pt x="1166" y="1401"/>
                    </a:lnTo>
                    <a:lnTo>
                      <a:pt x="1168" y="1401"/>
                    </a:lnTo>
                    <a:lnTo>
                      <a:pt x="1166" y="1401"/>
                    </a:lnTo>
                    <a:lnTo>
                      <a:pt x="1168" y="1401"/>
                    </a:lnTo>
                    <a:lnTo>
                      <a:pt x="1169" y="1401"/>
                    </a:lnTo>
                    <a:lnTo>
                      <a:pt x="1169" y="1403"/>
                    </a:lnTo>
                    <a:lnTo>
                      <a:pt x="1171" y="1403"/>
                    </a:lnTo>
                    <a:lnTo>
                      <a:pt x="1173" y="1403"/>
                    </a:lnTo>
                    <a:lnTo>
                      <a:pt x="1174" y="1403"/>
                    </a:lnTo>
                    <a:lnTo>
                      <a:pt x="1173" y="1405"/>
                    </a:lnTo>
                    <a:lnTo>
                      <a:pt x="1174" y="1405"/>
                    </a:lnTo>
                    <a:lnTo>
                      <a:pt x="1174" y="1403"/>
                    </a:lnTo>
                    <a:lnTo>
                      <a:pt x="1176" y="1403"/>
                    </a:lnTo>
                    <a:lnTo>
                      <a:pt x="1176" y="1405"/>
                    </a:lnTo>
                    <a:lnTo>
                      <a:pt x="1176" y="1403"/>
                    </a:lnTo>
                    <a:lnTo>
                      <a:pt x="1178" y="1403"/>
                    </a:lnTo>
                    <a:lnTo>
                      <a:pt x="1176" y="1401"/>
                    </a:lnTo>
                    <a:lnTo>
                      <a:pt x="1178" y="1401"/>
                    </a:lnTo>
                    <a:lnTo>
                      <a:pt x="1176" y="1401"/>
                    </a:lnTo>
                    <a:lnTo>
                      <a:pt x="1176" y="1403"/>
                    </a:lnTo>
                    <a:lnTo>
                      <a:pt x="1174" y="1401"/>
                    </a:lnTo>
                    <a:lnTo>
                      <a:pt x="1174" y="1400"/>
                    </a:lnTo>
                    <a:lnTo>
                      <a:pt x="1176" y="1400"/>
                    </a:lnTo>
                    <a:lnTo>
                      <a:pt x="1176" y="1398"/>
                    </a:lnTo>
                    <a:lnTo>
                      <a:pt x="1178" y="1400"/>
                    </a:lnTo>
                    <a:lnTo>
                      <a:pt x="1176" y="1400"/>
                    </a:lnTo>
                    <a:lnTo>
                      <a:pt x="1178" y="1400"/>
                    </a:lnTo>
                    <a:lnTo>
                      <a:pt x="1178" y="1398"/>
                    </a:lnTo>
                    <a:lnTo>
                      <a:pt x="1179" y="1398"/>
                    </a:lnTo>
                    <a:lnTo>
                      <a:pt x="1178" y="1398"/>
                    </a:lnTo>
                    <a:lnTo>
                      <a:pt x="1176" y="1398"/>
                    </a:lnTo>
                    <a:lnTo>
                      <a:pt x="1176" y="1396"/>
                    </a:lnTo>
                    <a:lnTo>
                      <a:pt x="1174" y="1396"/>
                    </a:lnTo>
                    <a:lnTo>
                      <a:pt x="1174" y="1395"/>
                    </a:lnTo>
                    <a:lnTo>
                      <a:pt x="1173" y="1395"/>
                    </a:lnTo>
                    <a:lnTo>
                      <a:pt x="1174" y="1393"/>
                    </a:lnTo>
                    <a:lnTo>
                      <a:pt x="1174" y="1391"/>
                    </a:lnTo>
                    <a:lnTo>
                      <a:pt x="1176" y="1393"/>
                    </a:lnTo>
                    <a:close/>
                    <a:moveTo>
                      <a:pt x="1173" y="1259"/>
                    </a:moveTo>
                    <a:lnTo>
                      <a:pt x="1174" y="1259"/>
                    </a:lnTo>
                    <a:lnTo>
                      <a:pt x="1174" y="1260"/>
                    </a:lnTo>
                    <a:lnTo>
                      <a:pt x="1174" y="1262"/>
                    </a:lnTo>
                    <a:lnTo>
                      <a:pt x="1173" y="1262"/>
                    </a:lnTo>
                    <a:lnTo>
                      <a:pt x="1174" y="1262"/>
                    </a:lnTo>
                    <a:lnTo>
                      <a:pt x="1174" y="1264"/>
                    </a:lnTo>
                    <a:lnTo>
                      <a:pt x="1174" y="1262"/>
                    </a:lnTo>
                    <a:lnTo>
                      <a:pt x="1176" y="1264"/>
                    </a:lnTo>
                    <a:lnTo>
                      <a:pt x="1174" y="1265"/>
                    </a:lnTo>
                    <a:lnTo>
                      <a:pt x="1176" y="1265"/>
                    </a:lnTo>
                    <a:lnTo>
                      <a:pt x="1174" y="1265"/>
                    </a:lnTo>
                    <a:lnTo>
                      <a:pt x="1176" y="1267"/>
                    </a:lnTo>
                    <a:lnTo>
                      <a:pt x="1178" y="1267"/>
                    </a:lnTo>
                    <a:lnTo>
                      <a:pt x="1178" y="1269"/>
                    </a:lnTo>
                    <a:lnTo>
                      <a:pt x="1178" y="1270"/>
                    </a:lnTo>
                    <a:lnTo>
                      <a:pt x="1178" y="1272"/>
                    </a:lnTo>
                    <a:lnTo>
                      <a:pt x="1176" y="1272"/>
                    </a:lnTo>
                    <a:lnTo>
                      <a:pt x="1174" y="1272"/>
                    </a:lnTo>
                    <a:lnTo>
                      <a:pt x="1176" y="1272"/>
                    </a:lnTo>
                    <a:lnTo>
                      <a:pt x="1176" y="1274"/>
                    </a:lnTo>
                    <a:lnTo>
                      <a:pt x="1178" y="1276"/>
                    </a:lnTo>
                    <a:lnTo>
                      <a:pt x="1178" y="1277"/>
                    </a:lnTo>
                    <a:lnTo>
                      <a:pt x="1178" y="1279"/>
                    </a:lnTo>
                    <a:lnTo>
                      <a:pt x="1178" y="1281"/>
                    </a:lnTo>
                    <a:lnTo>
                      <a:pt x="1179" y="1282"/>
                    </a:lnTo>
                    <a:lnTo>
                      <a:pt x="1179" y="1284"/>
                    </a:lnTo>
                    <a:lnTo>
                      <a:pt x="1181" y="1282"/>
                    </a:lnTo>
                    <a:lnTo>
                      <a:pt x="1179" y="1282"/>
                    </a:lnTo>
                    <a:lnTo>
                      <a:pt x="1179" y="1281"/>
                    </a:lnTo>
                    <a:lnTo>
                      <a:pt x="1181" y="1281"/>
                    </a:lnTo>
                    <a:lnTo>
                      <a:pt x="1181" y="1282"/>
                    </a:lnTo>
                    <a:lnTo>
                      <a:pt x="1181" y="1284"/>
                    </a:lnTo>
                    <a:lnTo>
                      <a:pt x="1181" y="1286"/>
                    </a:lnTo>
                    <a:lnTo>
                      <a:pt x="1179" y="1286"/>
                    </a:lnTo>
                    <a:lnTo>
                      <a:pt x="1178" y="1288"/>
                    </a:lnTo>
                    <a:lnTo>
                      <a:pt x="1178" y="1286"/>
                    </a:lnTo>
                    <a:lnTo>
                      <a:pt x="1176" y="1286"/>
                    </a:lnTo>
                    <a:lnTo>
                      <a:pt x="1176" y="1284"/>
                    </a:lnTo>
                    <a:lnTo>
                      <a:pt x="1174" y="1284"/>
                    </a:lnTo>
                    <a:lnTo>
                      <a:pt x="1173" y="1284"/>
                    </a:lnTo>
                    <a:lnTo>
                      <a:pt x="1174" y="1282"/>
                    </a:lnTo>
                    <a:lnTo>
                      <a:pt x="1173" y="1284"/>
                    </a:lnTo>
                    <a:lnTo>
                      <a:pt x="1171" y="1284"/>
                    </a:lnTo>
                    <a:lnTo>
                      <a:pt x="1169" y="1282"/>
                    </a:lnTo>
                    <a:lnTo>
                      <a:pt x="1168" y="1282"/>
                    </a:lnTo>
                    <a:lnTo>
                      <a:pt x="1166" y="1282"/>
                    </a:lnTo>
                    <a:lnTo>
                      <a:pt x="1166" y="1281"/>
                    </a:lnTo>
                    <a:lnTo>
                      <a:pt x="1166" y="1279"/>
                    </a:lnTo>
                    <a:lnTo>
                      <a:pt x="1166" y="1281"/>
                    </a:lnTo>
                    <a:lnTo>
                      <a:pt x="1166" y="1282"/>
                    </a:lnTo>
                    <a:lnTo>
                      <a:pt x="1164" y="1282"/>
                    </a:lnTo>
                    <a:lnTo>
                      <a:pt x="1164" y="1281"/>
                    </a:lnTo>
                    <a:lnTo>
                      <a:pt x="1164" y="1279"/>
                    </a:lnTo>
                    <a:lnTo>
                      <a:pt x="1164" y="1277"/>
                    </a:lnTo>
                    <a:lnTo>
                      <a:pt x="1164" y="1276"/>
                    </a:lnTo>
                    <a:lnTo>
                      <a:pt x="1164" y="1274"/>
                    </a:lnTo>
                    <a:lnTo>
                      <a:pt x="1166" y="1274"/>
                    </a:lnTo>
                    <a:lnTo>
                      <a:pt x="1166" y="1272"/>
                    </a:lnTo>
                    <a:lnTo>
                      <a:pt x="1168" y="1272"/>
                    </a:lnTo>
                    <a:lnTo>
                      <a:pt x="1168" y="1270"/>
                    </a:lnTo>
                    <a:lnTo>
                      <a:pt x="1169" y="1272"/>
                    </a:lnTo>
                    <a:lnTo>
                      <a:pt x="1169" y="1270"/>
                    </a:lnTo>
                    <a:lnTo>
                      <a:pt x="1171" y="1270"/>
                    </a:lnTo>
                    <a:lnTo>
                      <a:pt x="1171" y="1272"/>
                    </a:lnTo>
                    <a:lnTo>
                      <a:pt x="1171" y="1274"/>
                    </a:lnTo>
                    <a:lnTo>
                      <a:pt x="1171" y="1276"/>
                    </a:lnTo>
                    <a:lnTo>
                      <a:pt x="1171" y="1277"/>
                    </a:lnTo>
                    <a:lnTo>
                      <a:pt x="1171" y="1279"/>
                    </a:lnTo>
                    <a:lnTo>
                      <a:pt x="1171" y="1277"/>
                    </a:lnTo>
                    <a:lnTo>
                      <a:pt x="1171" y="1276"/>
                    </a:lnTo>
                    <a:lnTo>
                      <a:pt x="1173" y="1276"/>
                    </a:lnTo>
                    <a:lnTo>
                      <a:pt x="1173" y="1277"/>
                    </a:lnTo>
                    <a:lnTo>
                      <a:pt x="1173" y="1279"/>
                    </a:lnTo>
                    <a:lnTo>
                      <a:pt x="1173" y="1277"/>
                    </a:lnTo>
                    <a:lnTo>
                      <a:pt x="1173" y="1276"/>
                    </a:lnTo>
                    <a:lnTo>
                      <a:pt x="1174" y="1276"/>
                    </a:lnTo>
                    <a:lnTo>
                      <a:pt x="1174" y="1274"/>
                    </a:lnTo>
                    <a:lnTo>
                      <a:pt x="1174" y="1272"/>
                    </a:lnTo>
                    <a:lnTo>
                      <a:pt x="1173" y="1274"/>
                    </a:lnTo>
                    <a:lnTo>
                      <a:pt x="1173" y="1272"/>
                    </a:lnTo>
                    <a:lnTo>
                      <a:pt x="1171" y="1272"/>
                    </a:lnTo>
                    <a:lnTo>
                      <a:pt x="1171" y="1270"/>
                    </a:lnTo>
                    <a:lnTo>
                      <a:pt x="1171" y="1272"/>
                    </a:lnTo>
                    <a:lnTo>
                      <a:pt x="1173" y="1272"/>
                    </a:lnTo>
                    <a:lnTo>
                      <a:pt x="1171" y="1270"/>
                    </a:lnTo>
                    <a:lnTo>
                      <a:pt x="1171" y="1269"/>
                    </a:lnTo>
                    <a:lnTo>
                      <a:pt x="1171" y="1267"/>
                    </a:lnTo>
                    <a:lnTo>
                      <a:pt x="1171" y="1265"/>
                    </a:lnTo>
                    <a:lnTo>
                      <a:pt x="1171" y="1264"/>
                    </a:lnTo>
                    <a:lnTo>
                      <a:pt x="1173" y="1264"/>
                    </a:lnTo>
                    <a:lnTo>
                      <a:pt x="1171" y="1264"/>
                    </a:lnTo>
                    <a:lnTo>
                      <a:pt x="1173" y="1262"/>
                    </a:lnTo>
                    <a:lnTo>
                      <a:pt x="1173" y="1260"/>
                    </a:lnTo>
                    <a:lnTo>
                      <a:pt x="1173" y="1259"/>
                    </a:lnTo>
                    <a:lnTo>
                      <a:pt x="1173" y="1257"/>
                    </a:lnTo>
                    <a:lnTo>
                      <a:pt x="1173" y="1259"/>
                    </a:lnTo>
                    <a:close/>
                    <a:moveTo>
                      <a:pt x="1188" y="1466"/>
                    </a:moveTo>
                    <a:lnTo>
                      <a:pt x="1190" y="1466"/>
                    </a:lnTo>
                    <a:lnTo>
                      <a:pt x="1190" y="1468"/>
                    </a:lnTo>
                    <a:lnTo>
                      <a:pt x="1191" y="1466"/>
                    </a:lnTo>
                    <a:lnTo>
                      <a:pt x="1193" y="1466"/>
                    </a:lnTo>
                    <a:lnTo>
                      <a:pt x="1193" y="1468"/>
                    </a:lnTo>
                    <a:lnTo>
                      <a:pt x="1195" y="1468"/>
                    </a:lnTo>
                    <a:lnTo>
                      <a:pt x="1195" y="1470"/>
                    </a:lnTo>
                    <a:lnTo>
                      <a:pt x="1193" y="1471"/>
                    </a:lnTo>
                    <a:lnTo>
                      <a:pt x="1195" y="1471"/>
                    </a:lnTo>
                    <a:lnTo>
                      <a:pt x="1195" y="1470"/>
                    </a:lnTo>
                    <a:lnTo>
                      <a:pt x="1196" y="1470"/>
                    </a:lnTo>
                    <a:lnTo>
                      <a:pt x="1196" y="1471"/>
                    </a:lnTo>
                    <a:lnTo>
                      <a:pt x="1198" y="1471"/>
                    </a:lnTo>
                    <a:lnTo>
                      <a:pt x="1198" y="1473"/>
                    </a:lnTo>
                    <a:lnTo>
                      <a:pt x="1200" y="1473"/>
                    </a:lnTo>
                    <a:lnTo>
                      <a:pt x="1202" y="1475"/>
                    </a:lnTo>
                    <a:lnTo>
                      <a:pt x="1203" y="1475"/>
                    </a:lnTo>
                    <a:lnTo>
                      <a:pt x="1203" y="1476"/>
                    </a:lnTo>
                    <a:lnTo>
                      <a:pt x="1205" y="1478"/>
                    </a:lnTo>
                    <a:lnTo>
                      <a:pt x="1205" y="1480"/>
                    </a:lnTo>
                    <a:lnTo>
                      <a:pt x="1203" y="1481"/>
                    </a:lnTo>
                    <a:lnTo>
                      <a:pt x="1205" y="1481"/>
                    </a:lnTo>
                    <a:lnTo>
                      <a:pt x="1205" y="1480"/>
                    </a:lnTo>
                    <a:lnTo>
                      <a:pt x="1205" y="1481"/>
                    </a:lnTo>
                    <a:lnTo>
                      <a:pt x="1205" y="1483"/>
                    </a:lnTo>
                    <a:lnTo>
                      <a:pt x="1205" y="1485"/>
                    </a:lnTo>
                    <a:lnTo>
                      <a:pt x="1207" y="1487"/>
                    </a:lnTo>
                    <a:lnTo>
                      <a:pt x="1207" y="1488"/>
                    </a:lnTo>
                    <a:lnTo>
                      <a:pt x="1208" y="1488"/>
                    </a:lnTo>
                    <a:lnTo>
                      <a:pt x="1208" y="1490"/>
                    </a:lnTo>
                    <a:lnTo>
                      <a:pt x="1207" y="1488"/>
                    </a:lnTo>
                    <a:lnTo>
                      <a:pt x="1208" y="1490"/>
                    </a:lnTo>
                    <a:lnTo>
                      <a:pt x="1207" y="1490"/>
                    </a:lnTo>
                    <a:lnTo>
                      <a:pt x="1205" y="1490"/>
                    </a:lnTo>
                    <a:lnTo>
                      <a:pt x="1207" y="1490"/>
                    </a:lnTo>
                    <a:lnTo>
                      <a:pt x="1207" y="1492"/>
                    </a:lnTo>
                    <a:lnTo>
                      <a:pt x="1205" y="1492"/>
                    </a:lnTo>
                    <a:lnTo>
                      <a:pt x="1205" y="1493"/>
                    </a:lnTo>
                    <a:lnTo>
                      <a:pt x="1207" y="1493"/>
                    </a:lnTo>
                    <a:lnTo>
                      <a:pt x="1205" y="1493"/>
                    </a:lnTo>
                    <a:lnTo>
                      <a:pt x="1203" y="1493"/>
                    </a:lnTo>
                    <a:lnTo>
                      <a:pt x="1203" y="1492"/>
                    </a:lnTo>
                    <a:lnTo>
                      <a:pt x="1203" y="1493"/>
                    </a:lnTo>
                    <a:lnTo>
                      <a:pt x="1205" y="1493"/>
                    </a:lnTo>
                    <a:lnTo>
                      <a:pt x="1203" y="1495"/>
                    </a:lnTo>
                    <a:lnTo>
                      <a:pt x="1205" y="1495"/>
                    </a:lnTo>
                    <a:lnTo>
                      <a:pt x="1205" y="1493"/>
                    </a:lnTo>
                    <a:lnTo>
                      <a:pt x="1207" y="1495"/>
                    </a:lnTo>
                    <a:lnTo>
                      <a:pt x="1207" y="1497"/>
                    </a:lnTo>
                    <a:lnTo>
                      <a:pt x="1205" y="1497"/>
                    </a:lnTo>
                    <a:lnTo>
                      <a:pt x="1205" y="1498"/>
                    </a:lnTo>
                    <a:lnTo>
                      <a:pt x="1205" y="1500"/>
                    </a:lnTo>
                    <a:lnTo>
                      <a:pt x="1205" y="1498"/>
                    </a:lnTo>
                    <a:lnTo>
                      <a:pt x="1203" y="1500"/>
                    </a:lnTo>
                    <a:lnTo>
                      <a:pt x="1205" y="1500"/>
                    </a:lnTo>
                    <a:lnTo>
                      <a:pt x="1203" y="1500"/>
                    </a:lnTo>
                    <a:lnTo>
                      <a:pt x="1203" y="1502"/>
                    </a:lnTo>
                    <a:lnTo>
                      <a:pt x="1202" y="1502"/>
                    </a:lnTo>
                    <a:lnTo>
                      <a:pt x="1202" y="1500"/>
                    </a:lnTo>
                    <a:lnTo>
                      <a:pt x="1202" y="1502"/>
                    </a:lnTo>
                    <a:lnTo>
                      <a:pt x="1200" y="1502"/>
                    </a:lnTo>
                    <a:lnTo>
                      <a:pt x="1200" y="1504"/>
                    </a:lnTo>
                    <a:lnTo>
                      <a:pt x="1198" y="1504"/>
                    </a:lnTo>
                    <a:lnTo>
                      <a:pt x="1198" y="1502"/>
                    </a:lnTo>
                    <a:lnTo>
                      <a:pt x="1198" y="1500"/>
                    </a:lnTo>
                    <a:lnTo>
                      <a:pt x="1200" y="1500"/>
                    </a:lnTo>
                    <a:lnTo>
                      <a:pt x="1200" y="1498"/>
                    </a:lnTo>
                    <a:lnTo>
                      <a:pt x="1202" y="1497"/>
                    </a:lnTo>
                    <a:lnTo>
                      <a:pt x="1202" y="1495"/>
                    </a:lnTo>
                    <a:lnTo>
                      <a:pt x="1200" y="1497"/>
                    </a:lnTo>
                    <a:lnTo>
                      <a:pt x="1200" y="1498"/>
                    </a:lnTo>
                    <a:lnTo>
                      <a:pt x="1198" y="1498"/>
                    </a:lnTo>
                    <a:lnTo>
                      <a:pt x="1198" y="1500"/>
                    </a:lnTo>
                    <a:lnTo>
                      <a:pt x="1198" y="1498"/>
                    </a:lnTo>
                    <a:lnTo>
                      <a:pt x="1198" y="1497"/>
                    </a:lnTo>
                    <a:lnTo>
                      <a:pt x="1200" y="1495"/>
                    </a:lnTo>
                    <a:lnTo>
                      <a:pt x="1202" y="1495"/>
                    </a:lnTo>
                    <a:lnTo>
                      <a:pt x="1202" y="1493"/>
                    </a:lnTo>
                    <a:lnTo>
                      <a:pt x="1200" y="1495"/>
                    </a:lnTo>
                    <a:lnTo>
                      <a:pt x="1200" y="1493"/>
                    </a:lnTo>
                    <a:lnTo>
                      <a:pt x="1200" y="1495"/>
                    </a:lnTo>
                    <a:lnTo>
                      <a:pt x="1198" y="1495"/>
                    </a:lnTo>
                    <a:lnTo>
                      <a:pt x="1196" y="1497"/>
                    </a:lnTo>
                    <a:lnTo>
                      <a:pt x="1196" y="1495"/>
                    </a:lnTo>
                    <a:lnTo>
                      <a:pt x="1196" y="1497"/>
                    </a:lnTo>
                    <a:lnTo>
                      <a:pt x="1196" y="1498"/>
                    </a:lnTo>
                    <a:lnTo>
                      <a:pt x="1195" y="1497"/>
                    </a:lnTo>
                    <a:lnTo>
                      <a:pt x="1193" y="1497"/>
                    </a:lnTo>
                    <a:lnTo>
                      <a:pt x="1195" y="1497"/>
                    </a:lnTo>
                    <a:lnTo>
                      <a:pt x="1195" y="1495"/>
                    </a:lnTo>
                    <a:lnTo>
                      <a:pt x="1195" y="1493"/>
                    </a:lnTo>
                    <a:lnTo>
                      <a:pt x="1196" y="1493"/>
                    </a:lnTo>
                    <a:lnTo>
                      <a:pt x="1198" y="1493"/>
                    </a:lnTo>
                    <a:lnTo>
                      <a:pt x="1198" y="1492"/>
                    </a:lnTo>
                    <a:lnTo>
                      <a:pt x="1196" y="1493"/>
                    </a:lnTo>
                    <a:lnTo>
                      <a:pt x="1196" y="1492"/>
                    </a:lnTo>
                    <a:lnTo>
                      <a:pt x="1198" y="1492"/>
                    </a:lnTo>
                    <a:lnTo>
                      <a:pt x="1198" y="1490"/>
                    </a:lnTo>
                    <a:lnTo>
                      <a:pt x="1200" y="1490"/>
                    </a:lnTo>
                    <a:lnTo>
                      <a:pt x="1200" y="1488"/>
                    </a:lnTo>
                    <a:lnTo>
                      <a:pt x="1200" y="1490"/>
                    </a:lnTo>
                    <a:lnTo>
                      <a:pt x="1200" y="1492"/>
                    </a:lnTo>
                    <a:lnTo>
                      <a:pt x="1198" y="1492"/>
                    </a:lnTo>
                    <a:lnTo>
                      <a:pt x="1200" y="1490"/>
                    </a:lnTo>
                    <a:lnTo>
                      <a:pt x="1202" y="1490"/>
                    </a:lnTo>
                    <a:lnTo>
                      <a:pt x="1200" y="1490"/>
                    </a:lnTo>
                    <a:lnTo>
                      <a:pt x="1202" y="1488"/>
                    </a:lnTo>
                    <a:lnTo>
                      <a:pt x="1203" y="1487"/>
                    </a:lnTo>
                    <a:lnTo>
                      <a:pt x="1202" y="1487"/>
                    </a:lnTo>
                    <a:lnTo>
                      <a:pt x="1202" y="1488"/>
                    </a:lnTo>
                    <a:lnTo>
                      <a:pt x="1200" y="1488"/>
                    </a:lnTo>
                    <a:lnTo>
                      <a:pt x="1202" y="1487"/>
                    </a:lnTo>
                    <a:lnTo>
                      <a:pt x="1203" y="1487"/>
                    </a:lnTo>
                    <a:lnTo>
                      <a:pt x="1205" y="1487"/>
                    </a:lnTo>
                    <a:lnTo>
                      <a:pt x="1203" y="1487"/>
                    </a:lnTo>
                    <a:lnTo>
                      <a:pt x="1205" y="1487"/>
                    </a:lnTo>
                    <a:lnTo>
                      <a:pt x="1203" y="1487"/>
                    </a:lnTo>
                    <a:lnTo>
                      <a:pt x="1205" y="1485"/>
                    </a:lnTo>
                    <a:lnTo>
                      <a:pt x="1203" y="1485"/>
                    </a:lnTo>
                    <a:lnTo>
                      <a:pt x="1202" y="1485"/>
                    </a:lnTo>
                    <a:lnTo>
                      <a:pt x="1200" y="1483"/>
                    </a:lnTo>
                    <a:lnTo>
                      <a:pt x="1202" y="1483"/>
                    </a:lnTo>
                    <a:lnTo>
                      <a:pt x="1200" y="1483"/>
                    </a:lnTo>
                    <a:lnTo>
                      <a:pt x="1202" y="1483"/>
                    </a:lnTo>
                    <a:lnTo>
                      <a:pt x="1202" y="1481"/>
                    </a:lnTo>
                    <a:lnTo>
                      <a:pt x="1203" y="1481"/>
                    </a:lnTo>
                    <a:lnTo>
                      <a:pt x="1205" y="1481"/>
                    </a:lnTo>
                    <a:lnTo>
                      <a:pt x="1203" y="1481"/>
                    </a:lnTo>
                    <a:lnTo>
                      <a:pt x="1202" y="1481"/>
                    </a:lnTo>
                    <a:lnTo>
                      <a:pt x="1203" y="1480"/>
                    </a:lnTo>
                    <a:lnTo>
                      <a:pt x="1202" y="1480"/>
                    </a:lnTo>
                    <a:lnTo>
                      <a:pt x="1200" y="1480"/>
                    </a:lnTo>
                    <a:lnTo>
                      <a:pt x="1198" y="1478"/>
                    </a:lnTo>
                    <a:lnTo>
                      <a:pt x="1196" y="1476"/>
                    </a:lnTo>
                    <a:lnTo>
                      <a:pt x="1196" y="1475"/>
                    </a:lnTo>
                    <a:lnTo>
                      <a:pt x="1195" y="1475"/>
                    </a:lnTo>
                    <a:lnTo>
                      <a:pt x="1195" y="1473"/>
                    </a:lnTo>
                    <a:lnTo>
                      <a:pt x="1193" y="1473"/>
                    </a:lnTo>
                    <a:lnTo>
                      <a:pt x="1195" y="1471"/>
                    </a:lnTo>
                    <a:lnTo>
                      <a:pt x="1193" y="1471"/>
                    </a:lnTo>
                    <a:lnTo>
                      <a:pt x="1191" y="1470"/>
                    </a:lnTo>
                    <a:lnTo>
                      <a:pt x="1190" y="1468"/>
                    </a:lnTo>
                    <a:lnTo>
                      <a:pt x="1188" y="1468"/>
                    </a:lnTo>
                    <a:lnTo>
                      <a:pt x="1188" y="1466"/>
                    </a:lnTo>
                    <a:close/>
                    <a:moveTo>
                      <a:pt x="1319" y="1626"/>
                    </a:moveTo>
                    <a:lnTo>
                      <a:pt x="1321" y="1626"/>
                    </a:lnTo>
                    <a:lnTo>
                      <a:pt x="1321" y="1628"/>
                    </a:lnTo>
                    <a:lnTo>
                      <a:pt x="1319" y="1628"/>
                    </a:lnTo>
                    <a:lnTo>
                      <a:pt x="1317" y="1629"/>
                    </a:lnTo>
                    <a:lnTo>
                      <a:pt x="1319" y="1629"/>
                    </a:lnTo>
                    <a:lnTo>
                      <a:pt x="1321" y="1629"/>
                    </a:lnTo>
                    <a:lnTo>
                      <a:pt x="1321" y="1628"/>
                    </a:lnTo>
                    <a:lnTo>
                      <a:pt x="1322" y="1629"/>
                    </a:lnTo>
                    <a:lnTo>
                      <a:pt x="1322" y="1631"/>
                    </a:lnTo>
                    <a:lnTo>
                      <a:pt x="1322" y="1629"/>
                    </a:lnTo>
                    <a:lnTo>
                      <a:pt x="1324" y="1629"/>
                    </a:lnTo>
                    <a:lnTo>
                      <a:pt x="1322" y="1629"/>
                    </a:lnTo>
                    <a:lnTo>
                      <a:pt x="1324" y="1629"/>
                    </a:lnTo>
                    <a:lnTo>
                      <a:pt x="1322" y="1631"/>
                    </a:lnTo>
                    <a:lnTo>
                      <a:pt x="1321" y="1631"/>
                    </a:lnTo>
                    <a:lnTo>
                      <a:pt x="1321" y="1629"/>
                    </a:lnTo>
                    <a:lnTo>
                      <a:pt x="1319" y="1629"/>
                    </a:lnTo>
                    <a:lnTo>
                      <a:pt x="1321" y="1631"/>
                    </a:lnTo>
                    <a:lnTo>
                      <a:pt x="1321" y="1633"/>
                    </a:lnTo>
                    <a:lnTo>
                      <a:pt x="1319" y="1633"/>
                    </a:lnTo>
                    <a:lnTo>
                      <a:pt x="1317" y="1633"/>
                    </a:lnTo>
                    <a:lnTo>
                      <a:pt x="1319" y="1633"/>
                    </a:lnTo>
                    <a:lnTo>
                      <a:pt x="1317" y="1633"/>
                    </a:lnTo>
                    <a:lnTo>
                      <a:pt x="1315" y="1633"/>
                    </a:lnTo>
                    <a:lnTo>
                      <a:pt x="1315" y="1631"/>
                    </a:lnTo>
                    <a:lnTo>
                      <a:pt x="1315" y="1629"/>
                    </a:lnTo>
                    <a:lnTo>
                      <a:pt x="1314" y="1629"/>
                    </a:lnTo>
                    <a:lnTo>
                      <a:pt x="1315" y="1631"/>
                    </a:lnTo>
                    <a:lnTo>
                      <a:pt x="1314" y="1631"/>
                    </a:lnTo>
                    <a:lnTo>
                      <a:pt x="1314" y="1633"/>
                    </a:lnTo>
                    <a:lnTo>
                      <a:pt x="1312" y="1633"/>
                    </a:lnTo>
                    <a:lnTo>
                      <a:pt x="1310" y="1633"/>
                    </a:lnTo>
                    <a:lnTo>
                      <a:pt x="1312" y="1633"/>
                    </a:lnTo>
                    <a:lnTo>
                      <a:pt x="1310" y="1635"/>
                    </a:lnTo>
                    <a:lnTo>
                      <a:pt x="1309" y="1635"/>
                    </a:lnTo>
                    <a:lnTo>
                      <a:pt x="1310" y="1635"/>
                    </a:lnTo>
                    <a:lnTo>
                      <a:pt x="1309" y="1635"/>
                    </a:lnTo>
                    <a:lnTo>
                      <a:pt x="1309" y="1633"/>
                    </a:lnTo>
                    <a:lnTo>
                      <a:pt x="1307" y="1633"/>
                    </a:lnTo>
                    <a:lnTo>
                      <a:pt x="1307" y="1631"/>
                    </a:lnTo>
                    <a:lnTo>
                      <a:pt x="1307" y="1633"/>
                    </a:lnTo>
                    <a:lnTo>
                      <a:pt x="1305" y="1633"/>
                    </a:lnTo>
                    <a:lnTo>
                      <a:pt x="1307" y="1635"/>
                    </a:lnTo>
                    <a:lnTo>
                      <a:pt x="1307" y="1633"/>
                    </a:lnTo>
                    <a:lnTo>
                      <a:pt x="1309" y="1635"/>
                    </a:lnTo>
                    <a:lnTo>
                      <a:pt x="1310" y="1635"/>
                    </a:lnTo>
                    <a:lnTo>
                      <a:pt x="1310" y="1636"/>
                    </a:lnTo>
                    <a:lnTo>
                      <a:pt x="1312" y="1635"/>
                    </a:lnTo>
                    <a:lnTo>
                      <a:pt x="1314" y="1635"/>
                    </a:lnTo>
                    <a:lnTo>
                      <a:pt x="1315" y="1636"/>
                    </a:lnTo>
                    <a:lnTo>
                      <a:pt x="1314" y="1636"/>
                    </a:lnTo>
                    <a:lnTo>
                      <a:pt x="1315" y="1636"/>
                    </a:lnTo>
                    <a:lnTo>
                      <a:pt x="1314" y="1638"/>
                    </a:lnTo>
                    <a:lnTo>
                      <a:pt x="1315" y="1636"/>
                    </a:lnTo>
                    <a:lnTo>
                      <a:pt x="1317" y="1636"/>
                    </a:lnTo>
                    <a:lnTo>
                      <a:pt x="1319" y="1636"/>
                    </a:lnTo>
                    <a:lnTo>
                      <a:pt x="1321" y="1635"/>
                    </a:lnTo>
                    <a:lnTo>
                      <a:pt x="1319" y="1636"/>
                    </a:lnTo>
                    <a:lnTo>
                      <a:pt x="1321" y="1636"/>
                    </a:lnTo>
                    <a:lnTo>
                      <a:pt x="1322" y="1638"/>
                    </a:lnTo>
                    <a:lnTo>
                      <a:pt x="1321" y="1638"/>
                    </a:lnTo>
                    <a:lnTo>
                      <a:pt x="1319" y="1638"/>
                    </a:lnTo>
                    <a:lnTo>
                      <a:pt x="1321" y="1638"/>
                    </a:lnTo>
                    <a:lnTo>
                      <a:pt x="1321" y="1640"/>
                    </a:lnTo>
                    <a:lnTo>
                      <a:pt x="1322" y="1640"/>
                    </a:lnTo>
                    <a:lnTo>
                      <a:pt x="1321" y="1640"/>
                    </a:lnTo>
                    <a:lnTo>
                      <a:pt x="1322" y="1641"/>
                    </a:lnTo>
                    <a:lnTo>
                      <a:pt x="1321" y="1641"/>
                    </a:lnTo>
                    <a:lnTo>
                      <a:pt x="1321" y="1640"/>
                    </a:lnTo>
                    <a:lnTo>
                      <a:pt x="1321" y="1641"/>
                    </a:lnTo>
                    <a:lnTo>
                      <a:pt x="1319" y="1641"/>
                    </a:lnTo>
                    <a:lnTo>
                      <a:pt x="1319" y="1640"/>
                    </a:lnTo>
                    <a:lnTo>
                      <a:pt x="1317" y="1640"/>
                    </a:lnTo>
                    <a:lnTo>
                      <a:pt x="1317" y="1638"/>
                    </a:lnTo>
                    <a:lnTo>
                      <a:pt x="1317" y="1640"/>
                    </a:lnTo>
                    <a:lnTo>
                      <a:pt x="1315" y="1640"/>
                    </a:lnTo>
                    <a:lnTo>
                      <a:pt x="1317" y="1640"/>
                    </a:lnTo>
                    <a:lnTo>
                      <a:pt x="1315" y="1640"/>
                    </a:lnTo>
                    <a:lnTo>
                      <a:pt x="1315" y="1641"/>
                    </a:lnTo>
                    <a:lnTo>
                      <a:pt x="1317" y="1641"/>
                    </a:lnTo>
                    <a:lnTo>
                      <a:pt x="1319" y="1641"/>
                    </a:lnTo>
                    <a:lnTo>
                      <a:pt x="1319" y="1643"/>
                    </a:lnTo>
                    <a:lnTo>
                      <a:pt x="1317" y="1643"/>
                    </a:lnTo>
                    <a:lnTo>
                      <a:pt x="1319" y="1643"/>
                    </a:lnTo>
                    <a:lnTo>
                      <a:pt x="1317" y="1645"/>
                    </a:lnTo>
                    <a:lnTo>
                      <a:pt x="1317" y="1643"/>
                    </a:lnTo>
                    <a:lnTo>
                      <a:pt x="1315" y="1643"/>
                    </a:lnTo>
                    <a:lnTo>
                      <a:pt x="1314" y="1645"/>
                    </a:lnTo>
                    <a:lnTo>
                      <a:pt x="1315" y="1646"/>
                    </a:lnTo>
                    <a:lnTo>
                      <a:pt x="1314" y="1645"/>
                    </a:lnTo>
                    <a:lnTo>
                      <a:pt x="1314" y="1643"/>
                    </a:lnTo>
                    <a:lnTo>
                      <a:pt x="1312" y="1641"/>
                    </a:lnTo>
                    <a:lnTo>
                      <a:pt x="1312" y="1643"/>
                    </a:lnTo>
                    <a:lnTo>
                      <a:pt x="1312" y="1645"/>
                    </a:lnTo>
                    <a:lnTo>
                      <a:pt x="1314" y="1645"/>
                    </a:lnTo>
                    <a:lnTo>
                      <a:pt x="1312" y="1645"/>
                    </a:lnTo>
                    <a:lnTo>
                      <a:pt x="1310" y="1643"/>
                    </a:lnTo>
                    <a:lnTo>
                      <a:pt x="1312" y="1643"/>
                    </a:lnTo>
                    <a:lnTo>
                      <a:pt x="1312" y="1641"/>
                    </a:lnTo>
                    <a:lnTo>
                      <a:pt x="1312" y="1640"/>
                    </a:lnTo>
                    <a:lnTo>
                      <a:pt x="1314" y="1641"/>
                    </a:lnTo>
                    <a:lnTo>
                      <a:pt x="1312" y="1640"/>
                    </a:lnTo>
                    <a:lnTo>
                      <a:pt x="1314" y="1640"/>
                    </a:lnTo>
                    <a:lnTo>
                      <a:pt x="1312" y="1638"/>
                    </a:lnTo>
                    <a:lnTo>
                      <a:pt x="1312" y="1640"/>
                    </a:lnTo>
                    <a:lnTo>
                      <a:pt x="1310" y="1640"/>
                    </a:lnTo>
                    <a:lnTo>
                      <a:pt x="1310" y="1638"/>
                    </a:lnTo>
                    <a:lnTo>
                      <a:pt x="1310" y="1636"/>
                    </a:lnTo>
                    <a:lnTo>
                      <a:pt x="1312" y="1636"/>
                    </a:lnTo>
                    <a:lnTo>
                      <a:pt x="1310" y="1636"/>
                    </a:lnTo>
                    <a:lnTo>
                      <a:pt x="1309" y="1636"/>
                    </a:lnTo>
                    <a:lnTo>
                      <a:pt x="1310" y="1636"/>
                    </a:lnTo>
                    <a:lnTo>
                      <a:pt x="1310" y="1638"/>
                    </a:lnTo>
                    <a:lnTo>
                      <a:pt x="1310" y="1640"/>
                    </a:lnTo>
                    <a:lnTo>
                      <a:pt x="1310" y="1638"/>
                    </a:lnTo>
                    <a:lnTo>
                      <a:pt x="1309" y="1638"/>
                    </a:lnTo>
                    <a:lnTo>
                      <a:pt x="1309" y="1640"/>
                    </a:lnTo>
                    <a:lnTo>
                      <a:pt x="1307" y="1640"/>
                    </a:lnTo>
                    <a:lnTo>
                      <a:pt x="1307" y="1638"/>
                    </a:lnTo>
                    <a:lnTo>
                      <a:pt x="1307" y="1640"/>
                    </a:lnTo>
                    <a:lnTo>
                      <a:pt x="1307" y="1641"/>
                    </a:lnTo>
                    <a:lnTo>
                      <a:pt x="1307" y="1640"/>
                    </a:lnTo>
                    <a:lnTo>
                      <a:pt x="1305" y="1640"/>
                    </a:lnTo>
                    <a:lnTo>
                      <a:pt x="1305" y="1638"/>
                    </a:lnTo>
                    <a:lnTo>
                      <a:pt x="1305" y="1636"/>
                    </a:lnTo>
                    <a:lnTo>
                      <a:pt x="1307" y="1636"/>
                    </a:lnTo>
                    <a:lnTo>
                      <a:pt x="1305" y="1636"/>
                    </a:lnTo>
                    <a:lnTo>
                      <a:pt x="1304" y="1636"/>
                    </a:lnTo>
                    <a:lnTo>
                      <a:pt x="1304" y="1638"/>
                    </a:lnTo>
                    <a:lnTo>
                      <a:pt x="1302" y="1638"/>
                    </a:lnTo>
                    <a:lnTo>
                      <a:pt x="1302" y="1636"/>
                    </a:lnTo>
                    <a:lnTo>
                      <a:pt x="1300" y="1636"/>
                    </a:lnTo>
                    <a:lnTo>
                      <a:pt x="1300" y="1638"/>
                    </a:lnTo>
                    <a:lnTo>
                      <a:pt x="1300" y="1636"/>
                    </a:lnTo>
                    <a:lnTo>
                      <a:pt x="1298" y="1638"/>
                    </a:lnTo>
                    <a:lnTo>
                      <a:pt x="1298" y="1636"/>
                    </a:lnTo>
                    <a:lnTo>
                      <a:pt x="1297" y="1636"/>
                    </a:lnTo>
                    <a:lnTo>
                      <a:pt x="1297" y="1635"/>
                    </a:lnTo>
                    <a:lnTo>
                      <a:pt x="1298" y="1635"/>
                    </a:lnTo>
                    <a:lnTo>
                      <a:pt x="1297" y="1635"/>
                    </a:lnTo>
                    <a:lnTo>
                      <a:pt x="1297" y="1633"/>
                    </a:lnTo>
                    <a:lnTo>
                      <a:pt x="1298" y="1633"/>
                    </a:lnTo>
                    <a:lnTo>
                      <a:pt x="1298" y="1631"/>
                    </a:lnTo>
                    <a:lnTo>
                      <a:pt x="1297" y="1631"/>
                    </a:lnTo>
                    <a:lnTo>
                      <a:pt x="1297" y="1629"/>
                    </a:lnTo>
                    <a:lnTo>
                      <a:pt x="1298" y="1629"/>
                    </a:lnTo>
                    <a:lnTo>
                      <a:pt x="1300" y="1629"/>
                    </a:lnTo>
                    <a:lnTo>
                      <a:pt x="1300" y="1631"/>
                    </a:lnTo>
                    <a:lnTo>
                      <a:pt x="1300" y="1629"/>
                    </a:lnTo>
                    <a:lnTo>
                      <a:pt x="1302" y="1629"/>
                    </a:lnTo>
                    <a:lnTo>
                      <a:pt x="1302" y="1628"/>
                    </a:lnTo>
                    <a:lnTo>
                      <a:pt x="1302" y="1629"/>
                    </a:lnTo>
                    <a:lnTo>
                      <a:pt x="1302" y="1631"/>
                    </a:lnTo>
                    <a:lnTo>
                      <a:pt x="1304" y="1631"/>
                    </a:lnTo>
                    <a:lnTo>
                      <a:pt x="1304" y="1629"/>
                    </a:lnTo>
                    <a:lnTo>
                      <a:pt x="1305" y="1628"/>
                    </a:lnTo>
                    <a:lnTo>
                      <a:pt x="1305" y="1629"/>
                    </a:lnTo>
                    <a:lnTo>
                      <a:pt x="1307" y="1629"/>
                    </a:lnTo>
                    <a:lnTo>
                      <a:pt x="1307" y="1631"/>
                    </a:lnTo>
                    <a:lnTo>
                      <a:pt x="1305" y="1631"/>
                    </a:lnTo>
                    <a:lnTo>
                      <a:pt x="1307" y="1631"/>
                    </a:lnTo>
                    <a:lnTo>
                      <a:pt x="1309" y="1631"/>
                    </a:lnTo>
                    <a:lnTo>
                      <a:pt x="1309" y="1629"/>
                    </a:lnTo>
                    <a:lnTo>
                      <a:pt x="1309" y="1631"/>
                    </a:lnTo>
                    <a:lnTo>
                      <a:pt x="1310" y="1631"/>
                    </a:lnTo>
                    <a:lnTo>
                      <a:pt x="1312" y="1631"/>
                    </a:lnTo>
                    <a:lnTo>
                      <a:pt x="1310" y="1631"/>
                    </a:lnTo>
                    <a:lnTo>
                      <a:pt x="1310" y="1629"/>
                    </a:lnTo>
                    <a:lnTo>
                      <a:pt x="1312" y="1629"/>
                    </a:lnTo>
                    <a:lnTo>
                      <a:pt x="1312" y="1628"/>
                    </a:lnTo>
                    <a:lnTo>
                      <a:pt x="1314" y="1628"/>
                    </a:lnTo>
                    <a:lnTo>
                      <a:pt x="1315" y="1628"/>
                    </a:lnTo>
                    <a:lnTo>
                      <a:pt x="1315" y="1626"/>
                    </a:lnTo>
                    <a:lnTo>
                      <a:pt x="1317" y="1628"/>
                    </a:lnTo>
                    <a:lnTo>
                      <a:pt x="1317" y="1626"/>
                    </a:lnTo>
                    <a:lnTo>
                      <a:pt x="1319" y="1626"/>
                    </a:lnTo>
                    <a:close/>
                    <a:moveTo>
                      <a:pt x="1203" y="1104"/>
                    </a:moveTo>
                    <a:lnTo>
                      <a:pt x="1203" y="1105"/>
                    </a:lnTo>
                    <a:lnTo>
                      <a:pt x="1203" y="1104"/>
                    </a:lnTo>
                    <a:lnTo>
                      <a:pt x="1203" y="1105"/>
                    </a:lnTo>
                    <a:lnTo>
                      <a:pt x="1205" y="1105"/>
                    </a:lnTo>
                    <a:lnTo>
                      <a:pt x="1203" y="1105"/>
                    </a:lnTo>
                    <a:lnTo>
                      <a:pt x="1205" y="1107"/>
                    </a:lnTo>
                    <a:lnTo>
                      <a:pt x="1207" y="1107"/>
                    </a:lnTo>
                    <a:lnTo>
                      <a:pt x="1207" y="1109"/>
                    </a:lnTo>
                    <a:lnTo>
                      <a:pt x="1207" y="1111"/>
                    </a:lnTo>
                    <a:lnTo>
                      <a:pt x="1207" y="1112"/>
                    </a:lnTo>
                    <a:lnTo>
                      <a:pt x="1207" y="1114"/>
                    </a:lnTo>
                    <a:lnTo>
                      <a:pt x="1205" y="1114"/>
                    </a:lnTo>
                    <a:lnTo>
                      <a:pt x="1207" y="1114"/>
                    </a:lnTo>
                    <a:lnTo>
                      <a:pt x="1207" y="1116"/>
                    </a:lnTo>
                    <a:lnTo>
                      <a:pt x="1205" y="1116"/>
                    </a:lnTo>
                    <a:lnTo>
                      <a:pt x="1207" y="1116"/>
                    </a:lnTo>
                    <a:lnTo>
                      <a:pt x="1207" y="1117"/>
                    </a:lnTo>
                    <a:lnTo>
                      <a:pt x="1205" y="1117"/>
                    </a:lnTo>
                    <a:lnTo>
                      <a:pt x="1205" y="1119"/>
                    </a:lnTo>
                    <a:lnTo>
                      <a:pt x="1205" y="1117"/>
                    </a:lnTo>
                    <a:lnTo>
                      <a:pt x="1203" y="1117"/>
                    </a:lnTo>
                    <a:lnTo>
                      <a:pt x="1203" y="1116"/>
                    </a:lnTo>
                    <a:lnTo>
                      <a:pt x="1202" y="1116"/>
                    </a:lnTo>
                    <a:lnTo>
                      <a:pt x="1200" y="1116"/>
                    </a:lnTo>
                    <a:lnTo>
                      <a:pt x="1198" y="1116"/>
                    </a:lnTo>
                    <a:lnTo>
                      <a:pt x="1198" y="1117"/>
                    </a:lnTo>
                    <a:lnTo>
                      <a:pt x="1196" y="1116"/>
                    </a:lnTo>
                    <a:lnTo>
                      <a:pt x="1196" y="1114"/>
                    </a:lnTo>
                    <a:lnTo>
                      <a:pt x="1198" y="1114"/>
                    </a:lnTo>
                    <a:lnTo>
                      <a:pt x="1200" y="1114"/>
                    </a:lnTo>
                    <a:lnTo>
                      <a:pt x="1202" y="1114"/>
                    </a:lnTo>
                    <a:lnTo>
                      <a:pt x="1200" y="1114"/>
                    </a:lnTo>
                    <a:lnTo>
                      <a:pt x="1198" y="1114"/>
                    </a:lnTo>
                    <a:lnTo>
                      <a:pt x="1196" y="1114"/>
                    </a:lnTo>
                    <a:lnTo>
                      <a:pt x="1195" y="1114"/>
                    </a:lnTo>
                    <a:lnTo>
                      <a:pt x="1195" y="1112"/>
                    </a:lnTo>
                    <a:lnTo>
                      <a:pt x="1195" y="1114"/>
                    </a:lnTo>
                    <a:lnTo>
                      <a:pt x="1195" y="1112"/>
                    </a:lnTo>
                    <a:lnTo>
                      <a:pt x="1193" y="1112"/>
                    </a:lnTo>
                    <a:lnTo>
                      <a:pt x="1195" y="1112"/>
                    </a:lnTo>
                    <a:lnTo>
                      <a:pt x="1195" y="1111"/>
                    </a:lnTo>
                    <a:lnTo>
                      <a:pt x="1193" y="1112"/>
                    </a:lnTo>
                    <a:lnTo>
                      <a:pt x="1191" y="1112"/>
                    </a:lnTo>
                    <a:lnTo>
                      <a:pt x="1191" y="1111"/>
                    </a:lnTo>
                    <a:lnTo>
                      <a:pt x="1191" y="1109"/>
                    </a:lnTo>
                    <a:lnTo>
                      <a:pt x="1191" y="1107"/>
                    </a:lnTo>
                    <a:lnTo>
                      <a:pt x="1191" y="1109"/>
                    </a:lnTo>
                    <a:lnTo>
                      <a:pt x="1191" y="1111"/>
                    </a:lnTo>
                    <a:lnTo>
                      <a:pt x="1191" y="1112"/>
                    </a:lnTo>
                    <a:lnTo>
                      <a:pt x="1190" y="1112"/>
                    </a:lnTo>
                    <a:lnTo>
                      <a:pt x="1188" y="1111"/>
                    </a:lnTo>
                    <a:lnTo>
                      <a:pt x="1188" y="1109"/>
                    </a:lnTo>
                    <a:lnTo>
                      <a:pt x="1188" y="1107"/>
                    </a:lnTo>
                    <a:lnTo>
                      <a:pt x="1190" y="1107"/>
                    </a:lnTo>
                    <a:lnTo>
                      <a:pt x="1191" y="1105"/>
                    </a:lnTo>
                    <a:lnTo>
                      <a:pt x="1193" y="1105"/>
                    </a:lnTo>
                    <a:lnTo>
                      <a:pt x="1193" y="1107"/>
                    </a:lnTo>
                    <a:lnTo>
                      <a:pt x="1193" y="1105"/>
                    </a:lnTo>
                    <a:lnTo>
                      <a:pt x="1195" y="1105"/>
                    </a:lnTo>
                    <a:lnTo>
                      <a:pt x="1195" y="1107"/>
                    </a:lnTo>
                    <a:lnTo>
                      <a:pt x="1195" y="1105"/>
                    </a:lnTo>
                    <a:lnTo>
                      <a:pt x="1196" y="1105"/>
                    </a:lnTo>
                    <a:lnTo>
                      <a:pt x="1198" y="1105"/>
                    </a:lnTo>
                    <a:lnTo>
                      <a:pt x="1200" y="1104"/>
                    </a:lnTo>
                    <a:lnTo>
                      <a:pt x="1202" y="1104"/>
                    </a:lnTo>
                    <a:lnTo>
                      <a:pt x="1203" y="1104"/>
                    </a:lnTo>
                    <a:close/>
                    <a:moveTo>
                      <a:pt x="1179" y="1376"/>
                    </a:moveTo>
                    <a:lnTo>
                      <a:pt x="1179" y="1378"/>
                    </a:lnTo>
                    <a:lnTo>
                      <a:pt x="1179" y="1379"/>
                    </a:lnTo>
                    <a:lnTo>
                      <a:pt x="1181" y="1379"/>
                    </a:lnTo>
                    <a:lnTo>
                      <a:pt x="1183" y="1379"/>
                    </a:lnTo>
                    <a:lnTo>
                      <a:pt x="1183" y="1378"/>
                    </a:lnTo>
                    <a:lnTo>
                      <a:pt x="1185" y="1379"/>
                    </a:lnTo>
                    <a:lnTo>
                      <a:pt x="1185" y="1381"/>
                    </a:lnTo>
                    <a:lnTo>
                      <a:pt x="1185" y="1383"/>
                    </a:lnTo>
                    <a:lnTo>
                      <a:pt x="1186" y="1384"/>
                    </a:lnTo>
                    <a:lnTo>
                      <a:pt x="1185" y="1384"/>
                    </a:lnTo>
                    <a:lnTo>
                      <a:pt x="1186" y="1384"/>
                    </a:lnTo>
                    <a:lnTo>
                      <a:pt x="1186" y="1386"/>
                    </a:lnTo>
                    <a:lnTo>
                      <a:pt x="1186" y="1388"/>
                    </a:lnTo>
                    <a:lnTo>
                      <a:pt x="1186" y="1386"/>
                    </a:lnTo>
                    <a:lnTo>
                      <a:pt x="1188" y="1388"/>
                    </a:lnTo>
                    <a:lnTo>
                      <a:pt x="1186" y="1388"/>
                    </a:lnTo>
                    <a:lnTo>
                      <a:pt x="1188" y="1388"/>
                    </a:lnTo>
                    <a:lnTo>
                      <a:pt x="1188" y="1390"/>
                    </a:lnTo>
                    <a:lnTo>
                      <a:pt x="1190" y="1390"/>
                    </a:lnTo>
                    <a:lnTo>
                      <a:pt x="1190" y="1391"/>
                    </a:lnTo>
                    <a:lnTo>
                      <a:pt x="1188" y="1391"/>
                    </a:lnTo>
                    <a:lnTo>
                      <a:pt x="1186" y="1390"/>
                    </a:lnTo>
                    <a:lnTo>
                      <a:pt x="1186" y="1391"/>
                    </a:lnTo>
                    <a:lnTo>
                      <a:pt x="1186" y="1390"/>
                    </a:lnTo>
                    <a:lnTo>
                      <a:pt x="1185" y="1390"/>
                    </a:lnTo>
                    <a:lnTo>
                      <a:pt x="1186" y="1391"/>
                    </a:lnTo>
                    <a:lnTo>
                      <a:pt x="1188" y="1391"/>
                    </a:lnTo>
                    <a:lnTo>
                      <a:pt x="1188" y="1393"/>
                    </a:lnTo>
                    <a:lnTo>
                      <a:pt x="1186" y="1391"/>
                    </a:lnTo>
                    <a:lnTo>
                      <a:pt x="1188" y="1393"/>
                    </a:lnTo>
                    <a:lnTo>
                      <a:pt x="1188" y="1391"/>
                    </a:lnTo>
                    <a:lnTo>
                      <a:pt x="1190" y="1391"/>
                    </a:lnTo>
                    <a:lnTo>
                      <a:pt x="1190" y="1393"/>
                    </a:lnTo>
                    <a:lnTo>
                      <a:pt x="1190" y="1395"/>
                    </a:lnTo>
                    <a:lnTo>
                      <a:pt x="1191" y="1395"/>
                    </a:lnTo>
                    <a:lnTo>
                      <a:pt x="1191" y="1396"/>
                    </a:lnTo>
                    <a:lnTo>
                      <a:pt x="1191" y="1398"/>
                    </a:lnTo>
                    <a:lnTo>
                      <a:pt x="1191" y="1400"/>
                    </a:lnTo>
                    <a:lnTo>
                      <a:pt x="1190" y="1400"/>
                    </a:lnTo>
                    <a:lnTo>
                      <a:pt x="1190" y="1398"/>
                    </a:lnTo>
                    <a:lnTo>
                      <a:pt x="1190" y="1400"/>
                    </a:lnTo>
                    <a:lnTo>
                      <a:pt x="1188" y="1400"/>
                    </a:lnTo>
                    <a:lnTo>
                      <a:pt x="1188" y="1398"/>
                    </a:lnTo>
                    <a:lnTo>
                      <a:pt x="1188" y="1400"/>
                    </a:lnTo>
                    <a:lnTo>
                      <a:pt x="1188" y="1398"/>
                    </a:lnTo>
                    <a:lnTo>
                      <a:pt x="1190" y="1398"/>
                    </a:lnTo>
                    <a:lnTo>
                      <a:pt x="1188" y="1396"/>
                    </a:lnTo>
                    <a:lnTo>
                      <a:pt x="1188" y="1398"/>
                    </a:lnTo>
                    <a:lnTo>
                      <a:pt x="1188" y="1396"/>
                    </a:lnTo>
                    <a:lnTo>
                      <a:pt x="1188" y="1395"/>
                    </a:lnTo>
                    <a:lnTo>
                      <a:pt x="1188" y="1396"/>
                    </a:lnTo>
                    <a:lnTo>
                      <a:pt x="1186" y="1396"/>
                    </a:lnTo>
                    <a:lnTo>
                      <a:pt x="1186" y="1398"/>
                    </a:lnTo>
                    <a:lnTo>
                      <a:pt x="1186" y="1396"/>
                    </a:lnTo>
                    <a:lnTo>
                      <a:pt x="1185" y="1395"/>
                    </a:lnTo>
                    <a:lnTo>
                      <a:pt x="1185" y="1396"/>
                    </a:lnTo>
                    <a:lnTo>
                      <a:pt x="1186" y="1396"/>
                    </a:lnTo>
                    <a:lnTo>
                      <a:pt x="1186" y="1398"/>
                    </a:lnTo>
                    <a:lnTo>
                      <a:pt x="1186" y="1400"/>
                    </a:lnTo>
                    <a:lnTo>
                      <a:pt x="1186" y="1401"/>
                    </a:lnTo>
                    <a:lnTo>
                      <a:pt x="1186" y="1400"/>
                    </a:lnTo>
                    <a:lnTo>
                      <a:pt x="1185" y="1400"/>
                    </a:lnTo>
                    <a:lnTo>
                      <a:pt x="1186" y="1400"/>
                    </a:lnTo>
                    <a:lnTo>
                      <a:pt x="1185" y="1400"/>
                    </a:lnTo>
                    <a:lnTo>
                      <a:pt x="1185" y="1398"/>
                    </a:lnTo>
                    <a:lnTo>
                      <a:pt x="1183" y="1396"/>
                    </a:lnTo>
                    <a:lnTo>
                      <a:pt x="1183" y="1395"/>
                    </a:lnTo>
                    <a:lnTo>
                      <a:pt x="1181" y="1395"/>
                    </a:lnTo>
                    <a:lnTo>
                      <a:pt x="1183" y="1395"/>
                    </a:lnTo>
                    <a:lnTo>
                      <a:pt x="1181" y="1395"/>
                    </a:lnTo>
                    <a:lnTo>
                      <a:pt x="1181" y="1393"/>
                    </a:lnTo>
                    <a:lnTo>
                      <a:pt x="1179" y="1395"/>
                    </a:lnTo>
                    <a:lnTo>
                      <a:pt x="1179" y="1393"/>
                    </a:lnTo>
                    <a:lnTo>
                      <a:pt x="1179" y="1391"/>
                    </a:lnTo>
                    <a:lnTo>
                      <a:pt x="1181" y="1393"/>
                    </a:lnTo>
                    <a:lnTo>
                      <a:pt x="1181" y="1391"/>
                    </a:lnTo>
                    <a:lnTo>
                      <a:pt x="1179" y="1391"/>
                    </a:lnTo>
                    <a:lnTo>
                      <a:pt x="1179" y="1393"/>
                    </a:lnTo>
                    <a:lnTo>
                      <a:pt x="1178" y="1391"/>
                    </a:lnTo>
                    <a:lnTo>
                      <a:pt x="1179" y="1391"/>
                    </a:lnTo>
                    <a:lnTo>
                      <a:pt x="1179" y="1390"/>
                    </a:lnTo>
                    <a:lnTo>
                      <a:pt x="1181" y="1390"/>
                    </a:lnTo>
                    <a:lnTo>
                      <a:pt x="1179" y="1390"/>
                    </a:lnTo>
                    <a:lnTo>
                      <a:pt x="1178" y="1390"/>
                    </a:lnTo>
                    <a:lnTo>
                      <a:pt x="1178" y="1391"/>
                    </a:lnTo>
                    <a:lnTo>
                      <a:pt x="1178" y="1390"/>
                    </a:lnTo>
                    <a:lnTo>
                      <a:pt x="1176" y="1390"/>
                    </a:lnTo>
                    <a:lnTo>
                      <a:pt x="1176" y="1388"/>
                    </a:lnTo>
                    <a:lnTo>
                      <a:pt x="1176" y="1390"/>
                    </a:lnTo>
                    <a:lnTo>
                      <a:pt x="1174" y="1390"/>
                    </a:lnTo>
                    <a:lnTo>
                      <a:pt x="1176" y="1390"/>
                    </a:lnTo>
                    <a:lnTo>
                      <a:pt x="1176" y="1388"/>
                    </a:lnTo>
                    <a:lnTo>
                      <a:pt x="1178" y="1388"/>
                    </a:lnTo>
                    <a:lnTo>
                      <a:pt x="1176" y="1388"/>
                    </a:lnTo>
                    <a:lnTo>
                      <a:pt x="1178" y="1388"/>
                    </a:lnTo>
                    <a:lnTo>
                      <a:pt x="1178" y="1386"/>
                    </a:lnTo>
                    <a:lnTo>
                      <a:pt x="1179" y="1386"/>
                    </a:lnTo>
                    <a:lnTo>
                      <a:pt x="1179" y="1384"/>
                    </a:lnTo>
                    <a:lnTo>
                      <a:pt x="1181" y="1384"/>
                    </a:lnTo>
                    <a:lnTo>
                      <a:pt x="1181" y="1383"/>
                    </a:lnTo>
                    <a:lnTo>
                      <a:pt x="1183" y="1383"/>
                    </a:lnTo>
                    <a:lnTo>
                      <a:pt x="1183" y="1384"/>
                    </a:lnTo>
                    <a:lnTo>
                      <a:pt x="1183" y="1383"/>
                    </a:lnTo>
                    <a:lnTo>
                      <a:pt x="1185" y="1383"/>
                    </a:lnTo>
                    <a:lnTo>
                      <a:pt x="1183" y="1381"/>
                    </a:lnTo>
                    <a:lnTo>
                      <a:pt x="1183" y="1383"/>
                    </a:lnTo>
                    <a:lnTo>
                      <a:pt x="1181" y="1381"/>
                    </a:lnTo>
                    <a:lnTo>
                      <a:pt x="1179" y="1381"/>
                    </a:lnTo>
                    <a:lnTo>
                      <a:pt x="1181" y="1379"/>
                    </a:lnTo>
                    <a:lnTo>
                      <a:pt x="1179" y="1381"/>
                    </a:lnTo>
                    <a:lnTo>
                      <a:pt x="1179" y="1383"/>
                    </a:lnTo>
                    <a:lnTo>
                      <a:pt x="1179" y="1381"/>
                    </a:lnTo>
                    <a:lnTo>
                      <a:pt x="1178" y="1381"/>
                    </a:lnTo>
                    <a:lnTo>
                      <a:pt x="1176" y="1381"/>
                    </a:lnTo>
                    <a:lnTo>
                      <a:pt x="1176" y="1379"/>
                    </a:lnTo>
                    <a:lnTo>
                      <a:pt x="1176" y="1381"/>
                    </a:lnTo>
                    <a:lnTo>
                      <a:pt x="1174" y="1381"/>
                    </a:lnTo>
                    <a:lnTo>
                      <a:pt x="1174" y="1379"/>
                    </a:lnTo>
                    <a:lnTo>
                      <a:pt x="1173" y="1381"/>
                    </a:lnTo>
                    <a:lnTo>
                      <a:pt x="1174" y="1379"/>
                    </a:lnTo>
                    <a:lnTo>
                      <a:pt x="1176" y="1378"/>
                    </a:lnTo>
                    <a:lnTo>
                      <a:pt x="1178" y="1376"/>
                    </a:lnTo>
                    <a:lnTo>
                      <a:pt x="1179" y="1376"/>
                    </a:lnTo>
                    <a:close/>
                    <a:moveTo>
                      <a:pt x="1157" y="1255"/>
                    </a:moveTo>
                    <a:lnTo>
                      <a:pt x="1159" y="1255"/>
                    </a:lnTo>
                    <a:lnTo>
                      <a:pt x="1161" y="1255"/>
                    </a:lnTo>
                    <a:lnTo>
                      <a:pt x="1159" y="1257"/>
                    </a:lnTo>
                    <a:lnTo>
                      <a:pt x="1161" y="1257"/>
                    </a:lnTo>
                    <a:lnTo>
                      <a:pt x="1162" y="1257"/>
                    </a:lnTo>
                    <a:lnTo>
                      <a:pt x="1161" y="1255"/>
                    </a:lnTo>
                    <a:lnTo>
                      <a:pt x="1162" y="1255"/>
                    </a:lnTo>
                    <a:lnTo>
                      <a:pt x="1164" y="1257"/>
                    </a:lnTo>
                    <a:lnTo>
                      <a:pt x="1166" y="1259"/>
                    </a:lnTo>
                    <a:lnTo>
                      <a:pt x="1164" y="1260"/>
                    </a:lnTo>
                    <a:lnTo>
                      <a:pt x="1166" y="1259"/>
                    </a:lnTo>
                    <a:lnTo>
                      <a:pt x="1166" y="1260"/>
                    </a:lnTo>
                    <a:lnTo>
                      <a:pt x="1168" y="1259"/>
                    </a:lnTo>
                    <a:lnTo>
                      <a:pt x="1168" y="1260"/>
                    </a:lnTo>
                    <a:lnTo>
                      <a:pt x="1168" y="1262"/>
                    </a:lnTo>
                    <a:lnTo>
                      <a:pt x="1166" y="1262"/>
                    </a:lnTo>
                    <a:lnTo>
                      <a:pt x="1166" y="1264"/>
                    </a:lnTo>
                    <a:lnTo>
                      <a:pt x="1168" y="1262"/>
                    </a:lnTo>
                    <a:lnTo>
                      <a:pt x="1168" y="1264"/>
                    </a:lnTo>
                    <a:lnTo>
                      <a:pt x="1166" y="1264"/>
                    </a:lnTo>
                    <a:lnTo>
                      <a:pt x="1166" y="1265"/>
                    </a:lnTo>
                    <a:lnTo>
                      <a:pt x="1166" y="1264"/>
                    </a:lnTo>
                    <a:lnTo>
                      <a:pt x="1168" y="1264"/>
                    </a:lnTo>
                    <a:lnTo>
                      <a:pt x="1169" y="1262"/>
                    </a:lnTo>
                    <a:lnTo>
                      <a:pt x="1169" y="1260"/>
                    </a:lnTo>
                    <a:lnTo>
                      <a:pt x="1171" y="1260"/>
                    </a:lnTo>
                    <a:lnTo>
                      <a:pt x="1171" y="1262"/>
                    </a:lnTo>
                    <a:lnTo>
                      <a:pt x="1169" y="1262"/>
                    </a:lnTo>
                    <a:lnTo>
                      <a:pt x="1171" y="1262"/>
                    </a:lnTo>
                    <a:lnTo>
                      <a:pt x="1171" y="1264"/>
                    </a:lnTo>
                    <a:lnTo>
                      <a:pt x="1169" y="1264"/>
                    </a:lnTo>
                    <a:lnTo>
                      <a:pt x="1169" y="1265"/>
                    </a:lnTo>
                    <a:lnTo>
                      <a:pt x="1168" y="1265"/>
                    </a:lnTo>
                    <a:lnTo>
                      <a:pt x="1168" y="1267"/>
                    </a:lnTo>
                    <a:lnTo>
                      <a:pt x="1168" y="1265"/>
                    </a:lnTo>
                    <a:lnTo>
                      <a:pt x="1169" y="1265"/>
                    </a:lnTo>
                    <a:lnTo>
                      <a:pt x="1169" y="1264"/>
                    </a:lnTo>
                    <a:lnTo>
                      <a:pt x="1171" y="1264"/>
                    </a:lnTo>
                    <a:lnTo>
                      <a:pt x="1169" y="1264"/>
                    </a:lnTo>
                    <a:lnTo>
                      <a:pt x="1169" y="1265"/>
                    </a:lnTo>
                    <a:lnTo>
                      <a:pt x="1169" y="1267"/>
                    </a:lnTo>
                    <a:lnTo>
                      <a:pt x="1169" y="1265"/>
                    </a:lnTo>
                    <a:lnTo>
                      <a:pt x="1169" y="1267"/>
                    </a:lnTo>
                    <a:lnTo>
                      <a:pt x="1171" y="1267"/>
                    </a:lnTo>
                    <a:lnTo>
                      <a:pt x="1169" y="1269"/>
                    </a:lnTo>
                    <a:lnTo>
                      <a:pt x="1171" y="1269"/>
                    </a:lnTo>
                    <a:lnTo>
                      <a:pt x="1169" y="1270"/>
                    </a:lnTo>
                    <a:lnTo>
                      <a:pt x="1168" y="1270"/>
                    </a:lnTo>
                    <a:lnTo>
                      <a:pt x="1169" y="1269"/>
                    </a:lnTo>
                    <a:lnTo>
                      <a:pt x="1168" y="1270"/>
                    </a:lnTo>
                    <a:lnTo>
                      <a:pt x="1166" y="1272"/>
                    </a:lnTo>
                    <a:lnTo>
                      <a:pt x="1164" y="1274"/>
                    </a:lnTo>
                    <a:lnTo>
                      <a:pt x="1162" y="1274"/>
                    </a:lnTo>
                    <a:lnTo>
                      <a:pt x="1162" y="1272"/>
                    </a:lnTo>
                    <a:lnTo>
                      <a:pt x="1162" y="1270"/>
                    </a:lnTo>
                    <a:lnTo>
                      <a:pt x="1161" y="1270"/>
                    </a:lnTo>
                    <a:lnTo>
                      <a:pt x="1161" y="1269"/>
                    </a:lnTo>
                    <a:lnTo>
                      <a:pt x="1161" y="1267"/>
                    </a:lnTo>
                    <a:lnTo>
                      <a:pt x="1162" y="1267"/>
                    </a:lnTo>
                    <a:lnTo>
                      <a:pt x="1161" y="1267"/>
                    </a:lnTo>
                    <a:lnTo>
                      <a:pt x="1161" y="1269"/>
                    </a:lnTo>
                    <a:lnTo>
                      <a:pt x="1159" y="1267"/>
                    </a:lnTo>
                    <a:lnTo>
                      <a:pt x="1159" y="1265"/>
                    </a:lnTo>
                    <a:lnTo>
                      <a:pt x="1159" y="1264"/>
                    </a:lnTo>
                    <a:lnTo>
                      <a:pt x="1161" y="1264"/>
                    </a:lnTo>
                    <a:lnTo>
                      <a:pt x="1162" y="1264"/>
                    </a:lnTo>
                    <a:lnTo>
                      <a:pt x="1161" y="1264"/>
                    </a:lnTo>
                    <a:lnTo>
                      <a:pt x="1159" y="1264"/>
                    </a:lnTo>
                    <a:lnTo>
                      <a:pt x="1161" y="1264"/>
                    </a:lnTo>
                    <a:lnTo>
                      <a:pt x="1161" y="1262"/>
                    </a:lnTo>
                    <a:lnTo>
                      <a:pt x="1161" y="1264"/>
                    </a:lnTo>
                    <a:lnTo>
                      <a:pt x="1159" y="1264"/>
                    </a:lnTo>
                    <a:lnTo>
                      <a:pt x="1157" y="1264"/>
                    </a:lnTo>
                    <a:lnTo>
                      <a:pt x="1159" y="1262"/>
                    </a:lnTo>
                    <a:lnTo>
                      <a:pt x="1157" y="1264"/>
                    </a:lnTo>
                    <a:lnTo>
                      <a:pt x="1157" y="1262"/>
                    </a:lnTo>
                    <a:lnTo>
                      <a:pt x="1159" y="1260"/>
                    </a:lnTo>
                    <a:lnTo>
                      <a:pt x="1157" y="1260"/>
                    </a:lnTo>
                    <a:lnTo>
                      <a:pt x="1157" y="1262"/>
                    </a:lnTo>
                    <a:lnTo>
                      <a:pt x="1157" y="1260"/>
                    </a:lnTo>
                    <a:lnTo>
                      <a:pt x="1159" y="1260"/>
                    </a:lnTo>
                    <a:lnTo>
                      <a:pt x="1161" y="1259"/>
                    </a:lnTo>
                    <a:lnTo>
                      <a:pt x="1159" y="1259"/>
                    </a:lnTo>
                    <a:lnTo>
                      <a:pt x="1159" y="1260"/>
                    </a:lnTo>
                    <a:lnTo>
                      <a:pt x="1157" y="1260"/>
                    </a:lnTo>
                    <a:lnTo>
                      <a:pt x="1157" y="1259"/>
                    </a:lnTo>
                    <a:lnTo>
                      <a:pt x="1159" y="1259"/>
                    </a:lnTo>
                    <a:lnTo>
                      <a:pt x="1157" y="1259"/>
                    </a:lnTo>
                    <a:lnTo>
                      <a:pt x="1157" y="1257"/>
                    </a:lnTo>
                    <a:lnTo>
                      <a:pt x="1157" y="1259"/>
                    </a:lnTo>
                    <a:lnTo>
                      <a:pt x="1156" y="1257"/>
                    </a:lnTo>
                    <a:lnTo>
                      <a:pt x="1156" y="1255"/>
                    </a:lnTo>
                    <a:lnTo>
                      <a:pt x="1157" y="1255"/>
                    </a:lnTo>
                    <a:close/>
                    <a:moveTo>
                      <a:pt x="1183" y="1447"/>
                    </a:moveTo>
                    <a:lnTo>
                      <a:pt x="1185" y="1447"/>
                    </a:lnTo>
                    <a:lnTo>
                      <a:pt x="1185" y="1449"/>
                    </a:lnTo>
                    <a:lnTo>
                      <a:pt x="1183" y="1449"/>
                    </a:lnTo>
                    <a:lnTo>
                      <a:pt x="1185" y="1451"/>
                    </a:lnTo>
                    <a:lnTo>
                      <a:pt x="1185" y="1449"/>
                    </a:lnTo>
                    <a:lnTo>
                      <a:pt x="1186" y="1449"/>
                    </a:lnTo>
                    <a:lnTo>
                      <a:pt x="1186" y="1451"/>
                    </a:lnTo>
                    <a:lnTo>
                      <a:pt x="1185" y="1451"/>
                    </a:lnTo>
                    <a:lnTo>
                      <a:pt x="1186" y="1451"/>
                    </a:lnTo>
                    <a:lnTo>
                      <a:pt x="1186" y="1449"/>
                    </a:lnTo>
                    <a:lnTo>
                      <a:pt x="1186" y="1451"/>
                    </a:lnTo>
                    <a:lnTo>
                      <a:pt x="1186" y="1453"/>
                    </a:lnTo>
                    <a:lnTo>
                      <a:pt x="1186" y="1451"/>
                    </a:lnTo>
                    <a:lnTo>
                      <a:pt x="1186" y="1453"/>
                    </a:lnTo>
                    <a:lnTo>
                      <a:pt x="1188" y="1453"/>
                    </a:lnTo>
                    <a:lnTo>
                      <a:pt x="1190" y="1453"/>
                    </a:lnTo>
                    <a:lnTo>
                      <a:pt x="1190" y="1454"/>
                    </a:lnTo>
                    <a:lnTo>
                      <a:pt x="1190" y="1453"/>
                    </a:lnTo>
                    <a:lnTo>
                      <a:pt x="1191" y="1454"/>
                    </a:lnTo>
                    <a:lnTo>
                      <a:pt x="1191" y="1456"/>
                    </a:lnTo>
                    <a:lnTo>
                      <a:pt x="1190" y="1456"/>
                    </a:lnTo>
                    <a:lnTo>
                      <a:pt x="1191" y="1456"/>
                    </a:lnTo>
                    <a:lnTo>
                      <a:pt x="1193" y="1456"/>
                    </a:lnTo>
                    <a:lnTo>
                      <a:pt x="1193" y="1454"/>
                    </a:lnTo>
                    <a:lnTo>
                      <a:pt x="1193" y="1456"/>
                    </a:lnTo>
                    <a:lnTo>
                      <a:pt x="1193" y="1454"/>
                    </a:lnTo>
                    <a:lnTo>
                      <a:pt x="1195" y="1456"/>
                    </a:lnTo>
                    <a:lnTo>
                      <a:pt x="1193" y="1456"/>
                    </a:lnTo>
                    <a:lnTo>
                      <a:pt x="1195" y="1458"/>
                    </a:lnTo>
                    <a:lnTo>
                      <a:pt x="1195" y="1456"/>
                    </a:lnTo>
                    <a:lnTo>
                      <a:pt x="1195" y="1458"/>
                    </a:lnTo>
                    <a:lnTo>
                      <a:pt x="1196" y="1458"/>
                    </a:lnTo>
                    <a:lnTo>
                      <a:pt x="1196" y="1459"/>
                    </a:lnTo>
                    <a:lnTo>
                      <a:pt x="1196" y="1461"/>
                    </a:lnTo>
                    <a:lnTo>
                      <a:pt x="1198" y="1459"/>
                    </a:lnTo>
                    <a:lnTo>
                      <a:pt x="1198" y="1461"/>
                    </a:lnTo>
                    <a:lnTo>
                      <a:pt x="1198" y="1459"/>
                    </a:lnTo>
                    <a:lnTo>
                      <a:pt x="1198" y="1461"/>
                    </a:lnTo>
                    <a:lnTo>
                      <a:pt x="1200" y="1461"/>
                    </a:lnTo>
                    <a:lnTo>
                      <a:pt x="1202" y="1461"/>
                    </a:lnTo>
                    <a:lnTo>
                      <a:pt x="1202" y="1463"/>
                    </a:lnTo>
                    <a:lnTo>
                      <a:pt x="1203" y="1463"/>
                    </a:lnTo>
                    <a:lnTo>
                      <a:pt x="1203" y="1464"/>
                    </a:lnTo>
                    <a:lnTo>
                      <a:pt x="1205" y="1466"/>
                    </a:lnTo>
                    <a:lnTo>
                      <a:pt x="1205" y="1468"/>
                    </a:lnTo>
                    <a:lnTo>
                      <a:pt x="1207" y="1468"/>
                    </a:lnTo>
                    <a:lnTo>
                      <a:pt x="1207" y="1470"/>
                    </a:lnTo>
                    <a:lnTo>
                      <a:pt x="1207" y="1471"/>
                    </a:lnTo>
                    <a:lnTo>
                      <a:pt x="1208" y="1473"/>
                    </a:lnTo>
                    <a:lnTo>
                      <a:pt x="1208" y="1475"/>
                    </a:lnTo>
                    <a:lnTo>
                      <a:pt x="1207" y="1475"/>
                    </a:lnTo>
                    <a:lnTo>
                      <a:pt x="1207" y="1473"/>
                    </a:lnTo>
                    <a:lnTo>
                      <a:pt x="1205" y="1473"/>
                    </a:lnTo>
                    <a:lnTo>
                      <a:pt x="1205" y="1471"/>
                    </a:lnTo>
                    <a:lnTo>
                      <a:pt x="1203" y="1471"/>
                    </a:lnTo>
                    <a:lnTo>
                      <a:pt x="1203" y="1470"/>
                    </a:lnTo>
                    <a:lnTo>
                      <a:pt x="1202" y="1470"/>
                    </a:lnTo>
                    <a:lnTo>
                      <a:pt x="1202" y="1468"/>
                    </a:lnTo>
                    <a:lnTo>
                      <a:pt x="1200" y="1468"/>
                    </a:lnTo>
                    <a:lnTo>
                      <a:pt x="1198" y="1468"/>
                    </a:lnTo>
                    <a:lnTo>
                      <a:pt x="1198" y="1466"/>
                    </a:lnTo>
                    <a:lnTo>
                      <a:pt x="1196" y="1466"/>
                    </a:lnTo>
                    <a:lnTo>
                      <a:pt x="1196" y="1464"/>
                    </a:lnTo>
                    <a:lnTo>
                      <a:pt x="1195" y="1464"/>
                    </a:lnTo>
                    <a:lnTo>
                      <a:pt x="1193" y="1463"/>
                    </a:lnTo>
                    <a:lnTo>
                      <a:pt x="1193" y="1464"/>
                    </a:lnTo>
                    <a:lnTo>
                      <a:pt x="1193" y="1463"/>
                    </a:lnTo>
                    <a:lnTo>
                      <a:pt x="1195" y="1463"/>
                    </a:lnTo>
                    <a:lnTo>
                      <a:pt x="1196" y="1463"/>
                    </a:lnTo>
                    <a:lnTo>
                      <a:pt x="1196" y="1464"/>
                    </a:lnTo>
                    <a:lnTo>
                      <a:pt x="1198" y="1464"/>
                    </a:lnTo>
                    <a:lnTo>
                      <a:pt x="1196" y="1464"/>
                    </a:lnTo>
                    <a:lnTo>
                      <a:pt x="1195" y="1463"/>
                    </a:lnTo>
                    <a:lnTo>
                      <a:pt x="1193" y="1461"/>
                    </a:lnTo>
                    <a:lnTo>
                      <a:pt x="1193" y="1459"/>
                    </a:lnTo>
                    <a:lnTo>
                      <a:pt x="1193" y="1461"/>
                    </a:lnTo>
                    <a:lnTo>
                      <a:pt x="1191" y="1461"/>
                    </a:lnTo>
                    <a:lnTo>
                      <a:pt x="1191" y="1459"/>
                    </a:lnTo>
                    <a:lnTo>
                      <a:pt x="1190" y="1459"/>
                    </a:lnTo>
                    <a:lnTo>
                      <a:pt x="1188" y="1459"/>
                    </a:lnTo>
                    <a:lnTo>
                      <a:pt x="1188" y="1458"/>
                    </a:lnTo>
                    <a:lnTo>
                      <a:pt x="1186" y="1458"/>
                    </a:lnTo>
                    <a:lnTo>
                      <a:pt x="1188" y="1456"/>
                    </a:lnTo>
                    <a:lnTo>
                      <a:pt x="1186" y="1456"/>
                    </a:lnTo>
                    <a:lnTo>
                      <a:pt x="1186" y="1458"/>
                    </a:lnTo>
                    <a:lnTo>
                      <a:pt x="1185" y="1456"/>
                    </a:lnTo>
                    <a:lnTo>
                      <a:pt x="1183" y="1454"/>
                    </a:lnTo>
                    <a:lnTo>
                      <a:pt x="1185" y="1454"/>
                    </a:lnTo>
                    <a:lnTo>
                      <a:pt x="1183" y="1454"/>
                    </a:lnTo>
                    <a:lnTo>
                      <a:pt x="1183" y="1453"/>
                    </a:lnTo>
                    <a:lnTo>
                      <a:pt x="1183" y="1451"/>
                    </a:lnTo>
                    <a:lnTo>
                      <a:pt x="1183" y="1453"/>
                    </a:lnTo>
                    <a:lnTo>
                      <a:pt x="1181" y="1451"/>
                    </a:lnTo>
                    <a:lnTo>
                      <a:pt x="1181" y="1449"/>
                    </a:lnTo>
                    <a:lnTo>
                      <a:pt x="1183" y="1449"/>
                    </a:lnTo>
                    <a:lnTo>
                      <a:pt x="1181" y="1449"/>
                    </a:lnTo>
                    <a:lnTo>
                      <a:pt x="1179" y="1447"/>
                    </a:lnTo>
                    <a:lnTo>
                      <a:pt x="1179" y="1446"/>
                    </a:lnTo>
                    <a:lnTo>
                      <a:pt x="1181" y="1447"/>
                    </a:lnTo>
                    <a:lnTo>
                      <a:pt x="1183" y="1447"/>
                    </a:lnTo>
                    <a:close/>
                    <a:moveTo>
                      <a:pt x="1343" y="1626"/>
                    </a:moveTo>
                    <a:lnTo>
                      <a:pt x="1344" y="1626"/>
                    </a:lnTo>
                    <a:lnTo>
                      <a:pt x="1346" y="1626"/>
                    </a:lnTo>
                    <a:lnTo>
                      <a:pt x="1348" y="1626"/>
                    </a:lnTo>
                    <a:lnTo>
                      <a:pt x="1349" y="1628"/>
                    </a:lnTo>
                    <a:lnTo>
                      <a:pt x="1348" y="1628"/>
                    </a:lnTo>
                    <a:lnTo>
                      <a:pt x="1349" y="1628"/>
                    </a:lnTo>
                    <a:lnTo>
                      <a:pt x="1348" y="1629"/>
                    </a:lnTo>
                    <a:lnTo>
                      <a:pt x="1348" y="1631"/>
                    </a:lnTo>
                    <a:lnTo>
                      <a:pt x="1349" y="1629"/>
                    </a:lnTo>
                    <a:lnTo>
                      <a:pt x="1349" y="1628"/>
                    </a:lnTo>
                    <a:lnTo>
                      <a:pt x="1351" y="1628"/>
                    </a:lnTo>
                    <a:lnTo>
                      <a:pt x="1353" y="1628"/>
                    </a:lnTo>
                    <a:lnTo>
                      <a:pt x="1355" y="1628"/>
                    </a:lnTo>
                    <a:lnTo>
                      <a:pt x="1355" y="1629"/>
                    </a:lnTo>
                    <a:lnTo>
                      <a:pt x="1356" y="1629"/>
                    </a:lnTo>
                    <a:lnTo>
                      <a:pt x="1358" y="1629"/>
                    </a:lnTo>
                    <a:lnTo>
                      <a:pt x="1360" y="1629"/>
                    </a:lnTo>
                    <a:lnTo>
                      <a:pt x="1360" y="1631"/>
                    </a:lnTo>
                    <a:lnTo>
                      <a:pt x="1361" y="1631"/>
                    </a:lnTo>
                    <a:lnTo>
                      <a:pt x="1360" y="1631"/>
                    </a:lnTo>
                    <a:lnTo>
                      <a:pt x="1358" y="1631"/>
                    </a:lnTo>
                    <a:lnTo>
                      <a:pt x="1356" y="1631"/>
                    </a:lnTo>
                    <a:lnTo>
                      <a:pt x="1355" y="1631"/>
                    </a:lnTo>
                    <a:lnTo>
                      <a:pt x="1353" y="1631"/>
                    </a:lnTo>
                    <a:lnTo>
                      <a:pt x="1355" y="1631"/>
                    </a:lnTo>
                    <a:lnTo>
                      <a:pt x="1355" y="1633"/>
                    </a:lnTo>
                    <a:lnTo>
                      <a:pt x="1353" y="1633"/>
                    </a:lnTo>
                    <a:lnTo>
                      <a:pt x="1351" y="1633"/>
                    </a:lnTo>
                    <a:lnTo>
                      <a:pt x="1351" y="1635"/>
                    </a:lnTo>
                    <a:lnTo>
                      <a:pt x="1349" y="1635"/>
                    </a:lnTo>
                    <a:lnTo>
                      <a:pt x="1349" y="1633"/>
                    </a:lnTo>
                    <a:lnTo>
                      <a:pt x="1349" y="1631"/>
                    </a:lnTo>
                    <a:lnTo>
                      <a:pt x="1349" y="1633"/>
                    </a:lnTo>
                    <a:lnTo>
                      <a:pt x="1348" y="1633"/>
                    </a:lnTo>
                    <a:lnTo>
                      <a:pt x="1348" y="1635"/>
                    </a:lnTo>
                    <a:lnTo>
                      <a:pt x="1346" y="1635"/>
                    </a:lnTo>
                    <a:lnTo>
                      <a:pt x="1344" y="1635"/>
                    </a:lnTo>
                    <a:lnTo>
                      <a:pt x="1343" y="1635"/>
                    </a:lnTo>
                    <a:lnTo>
                      <a:pt x="1343" y="1636"/>
                    </a:lnTo>
                    <a:lnTo>
                      <a:pt x="1341" y="1635"/>
                    </a:lnTo>
                    <a:lnTo>
                      <a:pt x="1341" y="1636"/>
                    </a:lnTo>
                    <a:lnTo>
                      <a:pt x="1339" y="1636"/>
                    </a:lnTo>
                    <a:lnTo>
                      <a:pt x="1338" y="1636"/>
                    </a:lnTo>
                    <a:lnTo>
                      <a:pt x="1338" y="1635"/>
                    </a:lnTo>
                    <a:lnTo>
                      <a:pt x="1338" y="1636"/>
                    </a:lnTo>
                    <a:lnTo>
                      <a:pt x="1338" y="1635"/>
                    </a:lnTo>
                    <a:lnTo>
                      <a:pt x="1338" y="1636"/>
                    </a:lnTo>
                    <a:lnTo>
                      <a:pt x="1336" y="1636"/>
                    </a:lnTo>
                    <a:lnTo>
                      <a:pt x="1334" y="1636"/>
                    </a:lnTo>
                    <a:lnTo>
                      <a:pt x="1334" y="1635"/>
                    </a:lnTo>
                    <a:lnTo>
                      <a:pt x="1332" y="1633"/>
                    </a:lnTo>
                    <a:lnTo>
                      <a:pt x="1334" y="1633"/>
                    </a:lnTo>
                    <a:lnTo>
                      <a:pt x="1334" y="1631"/>
                    </a:lnTo>
                    <a:lnTo>
                      <a:pt x="1334" y="1633"/>
                    </a:lnTo>
                    <a:lnTo>
                      <a:pt x="1332" y="1631"/>
                    </a:lnTo>
                    <a:lnTo>
                      <a:pt x="1334" y="1629"/>
                    </a:lnTo>
                    <a:lnTo>
                      <a:pt x="1336" y="1629"/>
                    </a:lnTo>
                    <a:lnTo>
                      <a:pt x="1338" y="1631"/>
                    </a:lnTo>
                    <a:lnTo>
                      <a:pt x="1338" y="1629"/>
                    </a:lnTo>
                    <a:lnTo>
                      <a:pt x="1336" y="1629"/>
                    </a:lnTo>
                    <a:lnTo>
                      <a:pt x="1334" y="1628"/>
                    </a:lnTo>
                    <a:lnTo>
                      <a:pt x="1334" y="1629"/>
                    </a:lnTo>
                    <a:lnTo>
                      <a:pt x="1332" y="1628"/>
                    </a:lnTo>
                    <a:lnTo>
                      <a:pt x="1334" y="1628"/>
                    </a:lnTo>
                    <a:lnTo>
                      <a:pt x="1334" y="1626"/>
                    </a:lnTo>
                    <a:lnTo>
                      <a:pt x="1336" y="1628"/>
                    </a:lnTo>
                    <a:lnTo>
                      <a:pt x="1336" y="1626"/>
                    </a:lnTo>
                    <a:lnTo>
                      <a:pt x="1338" y="1626"/>
                    </a:lnTo>
                    <a:lnTo>
                      <a:pt x="1339" y="1628"/>
                    </a:lnTo>
                    <a:lnTo>
                      <a:pt x="1339" y="1629"/>
                    </a:lnTo>
                    <a:lnTo>
                      <a:pt x="1339" y="1631"/>
                    </a:lnTo>
                    <a:lnTo>
                      <a:pt x="1341" y="1629"/>
                    </a:lnTo>
                    <a:lnTo>
                      <a:pt x="1343" y="1629"/>
                    </a:lnTo>
                    <a:lnTo>
                      <a:pt x="1341" y="1631"/>
                    </a:lnTo>
                    <a:lnTo>
                      <a:pt x="1343" y="1631"/>
                    </a:lnTo>
                    <a:lnTo>
                      <a:pt x="1343" y="1629"/>
                    </a:lnTo>
                    <a:lnTo>
                      <a:pt x="1341" y="1629"/>
                    </a:lnTo>
                    <a:lnTo>
                      <a:pt x="1341" y="1628"/>
                    </a:lnTo>
                    <a:lnTo>
                      <a:pt x="1343" y="1629"/>
                    </a:lnTo>
                    <a:lnTo>
                      <a:pt x="1341" y="1629"/>
                    </a:lnTo>
                    <a:lnTo>
                      <a:pt x="1341" y="1628"/>
                    </a:lnTo>
                    <a:lnTo>
                      <a:pt x="1339" y="1628"/>
                    </a:lnTo>
                    <a:lnTo>
                      <a:pt x="1339" y="1626"/>
                    </a:lnTo>
                    <a:lnTo>
                      <a:pt x="1341" y="1626"/>
                    </a:lnTo>
                    <a:lnTo>
                      <a:pt x="1343" y="1626"/>
                    </a:lnTo>
                    <a:close/>
                    <a:moveTo>
                      <a:pt x="1152" y="1272"/>
                    </a:moveTo>
                    <a:lnTo>
                      <a:pt x="1152" y="1274"/>
                    </a:lnTo>
                    <a:lnTo>
                      <a:pt x="1152" y="1276"/>
                    </a:lnTo>
                    <a:lnTo>
                      <a:pt x="1151" y="1276"/>
                    </a:lnTo>
                    <a:lnTo>
                      <a:pt x="1152" y="1276"/>
                    </a:lnTo>
                    <a:lnTo>
                      <a:pt x="1152" y="1277"/>
                    </a:lnTo>
                    <a:lnTo>
                      <a:pt x="1152" y="1276"/>
                    </a:lnTo>
                    <a:lnTo>
                      <a:pt x="1152" y="1274"/>
                    </a:lnTo>
                    <a:lnTo>
                      <a:pt x="1152" y="1272"/>
                    </a:lnTo>
                    <a:lnTo>
                      <a:pt x="1154" y="1272"/>
                    </a:lnTo>
                    <a:lnTo>
                      <a:pt x="1154" y="1274"/>
                    </a:lnTo>
                    <a:lnTo>
                      <a:pt x="1154" y="1276"/>
                    </a:lnTo>
                    <a:lnTo>
                      <a:pt x="1154" y="1277"/>
                    </a:lnTo>
                    <a:lnTo>
                      <a:pt x="1152" y="1277"/>
                    </a:lnTo>
                    <a:lnTo>
                      <a:pt x="1154" y="1277"/>
                    </a:lnTo>
                    <a:lnTo>
                      <a:pt x="1154" y="1279"/>
                    </a:lnTo>
                    <a:lnTo>
                      <a:pt x="1156" y="1279"/>
                    </a:lnTo>
                    <a:lnTo>
                      <a:pt x="1154" y="1281"/>
                    </a:lnTo>
                    <a:lnTo>
                      <a:pt x="1154" y="1282"/>
                    </a:lnTo>
                    <a:lnTo>
                      <a:pt x="1154" y="1284"/>
                    </a:lnTo>
                    <a:lnTo>
                      <a:pt x="1152" y="1284"/>
                    </a:lnTo>
                    <a:lnTo>
                      <a:pt x="1152" y="1286"/>
                    </a:lnTo>
                    <a:lnTo>
                      <a:pt x="1151" y="1286"/>
                    </a:lnTo>
                    <a:lnTo>
                      <a:pt x="1151" y="1288"/>
                    </a:lnTo>
                    <a:lnTo>
                      <a:pt x="1149" y="1289"/>
                    </a:lnTo>
                    <a:lnTo>
                      <a:pt x="1149" y="1288"/>
                    </a:lnTo>
                    <a:lnTo>
                      <a:pt x="1149" y="1289"/>
                    </a:lnTo>
                    <a:lnTo>
                      <a:pt x="1147" y="1289"/>
                    </a:lnTo>
                    <a:lnTo>
                      <a:pt x="1145" y="1291"/>
                    </a:lnTo>
                    <a:lnTo>
                      <a:pt x="1144" y="1291"/>
                    </a:lnTo>
                    <a:lnTo>
                      <a:pt x="1144" y="1289"/>
                    </a:lnTo>
                    <a:lnTo>
                      <a:pt x="1142" y="1289"/>
                    </a:lnTo>
                    <a:lnTo>
                      <a:pt x="1142" y="1288"/>
                    </a:lnTo>
                    <a:lnTo>
                      <a:pt x="1142" y="1286"/>
                    </a:lnTo>
                    <a:lnTo>
                      <a:pt x="1142" y="1284"/>
                    </a:lnTo>
                    <a:lnTo>
                      <a:pt x="1144" y="1284"/>
                    </a:lnTo>
                    <a:lnTo>
                      <a:pt x="1144" y="1286"/>
                    </a:lnTo>
                    <a:lnTo>
                      <a:pt x="1145" y="1286"/>
                    </a:lnTo>
                    <a:lnTo>
                      <a:pt x="1147" y="1286"/>
                    </a:lnTo>
                    <a:lnTo>
                      <a:pt x="1147" y="1288"/>
                    </a:lnTo>
                    <a:lnTo>
                      <a:pt x="1147" y="1286"/>
                    </a:lnTo>
                    <a:lnTo>
                      <a:pt x="1149" y="1286"/>
                    </a:lnTo>
                    <a:lnTo>
                      <a:pt x="1151" y="1286"/>
                    </a:lnTo>
                    <a:lnTo>
                      <a:pt x="1151" y="1284"/>
                    </a:lnTo>
                    <a:lnTo>
                      <a:pt x="1152" y="1282"/>
                    </a:lnTo>
                    <a:lnTo>
                      <a:pt x="1154" y="1282"/>
                    </a:lnTo>
                    <a:lnTo>
                      <a:pt x="1154" y="1281"/>
                    </a:lnTo>
                    <a:lnTo>
                      <a:pt x="1152" y="1282"/>
                    </a:lnTo>
                    <a:lnTo>
                      <a:pt x="1152" y="1284"/>
                    </a:lnTo>
                    <a:lnTo>
                      <a:pt x="1151" y="1284"/>
                    </a:lnTo>
                    <a:lnTo>
                      <a:pt x="1149" y="1286"/>
                    </a:lnTo>
                    <a:lnTo>
                      <a:pt x="1147" y="1286"/>
                    </a:lnTo>
                    <a:lnTo>
                      <a:pt x="1145" y="1286"/>
                    </a:lnTo>
                    <a:lnTo>
                      <a:pt x="1144" y="1286"/>
                    </a:lnTo>
                    <a:lnTo>
                      <a:pt x="1144" y="1284"/>
                    </a:lnTo>
                    <a:lnTo>
                      <a:pt x="1144" y="1282"/>
                    </a:lnTo>
                    <a:lnTo>
                      <a:pt x="1145" y="1282"/>
                    </a:lnTo>
                    <a:lnTo>
                      <a:pt x="1145" y="1284"/>
                    </a:lnTo>
                    <a:lnTo>
                      <a:pt x="1147" y="1284"/>
                    </a:lnTo>
                    <a:lnTo>
                      <a:pt x="1149" y="1284"/>
                    </a:lnTo>
                    <a:lnTo>
                      <a:pt x="1147" y="1282"/>
                    </a:lnTo>
                    <a:lnTo>
                      <a:pt x="1149" y="1282"/>
                    </a:lnTo>
                    <a:lnTo>
                      <a:pt x="1151" y="1282"/>
                    </a:lnTo>
                    <a:lnTo>
                      <a:pt x="1151" y="1281"/>
                    </a:lnTo>
                    <a:lnTo>
                      <a:pt x="1152" y="1281"/>
                    </a:lnTo>
                    <a:lnTo>
                      <a:pt x="1151" y="1281"/>
                    </a:lnTo>
                    <a:lnTo>
                      <a:pt x="1149" y="1282"/>
                    </a:lnTo>
                    <a:lnTo>
                      <a:pt x="1147" y="1282"/>
                    </a:lnTo>
                    <a:lnTo>
                      <a:pt x="1145" y="1282"/>
                    </a:lnTo>
                    <a:lnTo>
                      <a:pt x="1147" y="1282"/>
                    </a:lnTo>
                    <a:lnTo>
                      <a:pt x="1147" y="1281"/>
                    </a:lnTo>
                    <a:lnTo>
                      <a:pt x="1149" y="1281"/>
                    </a:lnTo>
                    <a:lnTo>
                      <a:pt x="1151" y="1279"/>
                    </a:lnTo>
                    <a:lnTo>
                      <a:pt x="1152" y="1277"/>
                    </a:lnTo>
                    <a:lnTo>
                      <a:pt x="1151" y="1279"/>
                    </a:lnTo>
                    <a:lnTo>
                      <a:pt x="1149" y="1279"/>
                    </a:lnTo>
                    <a:lnTo>
                      <a:pt x="1149" y="1281"/>
                    </a:lnTo>
                    <a:lnTo>
                      <a:pt x="1147" y="1281"/>
                    </a:lnTo>
                    <a:lnTo>
                      <a:pt x="1147" y="1282"/>
                    </a:lnTo>
                    <a:lnTo>
                      <a:pt x="1145" y="1282"/>
                    </a:lnTo>
                    <a:lnTo>
                      <a:pt x="1144" y="1282"/>
                    </a:lnTo>
                    <a:lnTo>
                      <a:pt x="1145" y="1281"/>
                    </a:lnTo>
                    <a:lnTo>
                      <a:pt x="1144" y="1281"/>
                    </a:lnTo>
                    <a:lnTo>
                      <a:pt x="1144" y="1282"/>
                    </a:lnTo>
                    <a:lnTo>
                      <a:pt x="1142" y="1282"/>
                    </a:lnTo>
                    <a:lnTo>
                      <a:pt x="1144" y="1281"/>
                    </a:lnTo>
                    <a:lnTo>
                      <a:pt x="1142" y="1281"/>
                    </a:lnTo>
                    <a:lnTo>
                      <a:pt x="1142" y="1279"/>
                    </a:lnTo>
                    <a:lnTo>
                      <a:pt x="1144" y="1279"/>
                    </a:lnTo>
                    <a:lnTo>
                      <a:pt x="1142" y="1277"/>
                    </a:lnTo>
                    <a:lnTo>
                      <a:pt x="1144" y="1276"/>
                    </a:lnTo>
                    <a:lnTo>
                      <a:pt x="1142" y="1276"/>
                    </a:lnTo>
                    <a:lnTo>
                      <a:pt x="1142" y="1274"/>
                    </a:lnTo>
                    <a:lnTo>
                      <a:pt x="1144" y="1274"/>
                    </a:lnTo>
                    <a:lnTo>
                      <a:pt x="1144" y="1272"/>
                    </a:lnTo>
                    <a:lnTo>
                      <a:pt x="1145" y="1272"/>
                    </a:lnTo>
                    <a:lnTo>
                      <a:pt x="1145" y="1274"/>
                    </a:lnTo>
                    <a:lnTo>
                      <a:pt x="1147" y="1274"/>
                    </a:lnTo>
                    <a:lnTo>
                      <a:pt x="1147" y="1276"/>
                    </a:lnTo>
                    <a:lnTo>
                      <a:pt x="1147" y="1274"/>
                    </a:lnTo>
                    <a:lnTo>
                      <a:pt x="1149" y="1274"/>
                    </a:lnTo>
                    <a:lnTo>
                      <a:pt x="1147" y="1274"/>
                    </a:lnTo>
                    <a:lnTo>
                      <a:pt x="1149" y="1274"/>
                    </a:lnTo>
                    <a:lnTo>
                      <a:pt x="1151" y="1272"/>
                    </a:lnTo>
                    <a:lnTo>
                      <a:pt x="1151" y="1274"/>
                    </a:lnTo>
                    <a:lnTo>
                      <a:pt x="1151" y="1276"/>
                    </a:lnTo>
                    <a:lnTo>
                      <a:pt x="1151" y="1274"/>
                    </a:lnTo>
                    <a:lnTo>
                      <a:pt x="1151" y="1272"/>
                    </a:lnTo>
                    <a:lnTo>
                      <a:pt x="1152" y="1272"/>
                    </a:lnTo>
                    <a:close/>
                    <a:moveTo>
                      <a:pt x="1195" y="1240"/>
                    </a:moveTo>
                    <a:lnTo>
                      <a:pt x="1195" y="1242"/>
                    </a:lnTo>
                    <a:lnTo>
                      <a:pt x="1196" y="1242"/>
                    </a:lnTo>
                    <a:lnTo>
                      <a:pt x="1196" y="1243"/>
                    </a:lnTo>
                    <a:lnTo>
                      <a:pt x="1198" y="1243"/>
                    </a:lnTo>
                    <a:lnTo>
                      <a:pt x="1200" y="1243"/>
                    </a:lnTo>
                    <a:lnTo>
                      <a:pt x="1202" y="1245"/>
                    </a:lnTo>
                    <a:lnTo>
                      <a:pt x="1202" y="1243"/>
                    </a:lnTo>
                    <a:lnTo>
                      <a:pt x="1203" y="1243"/>
                    </a:lnTo>
                    <a:lnTo>
                      <a:pt x="1205" y="1245"/>
                    </a:lnTo>
                    <a:lnTo>
                      <a:pt x="1203" y="1247"/>
                    </a:lnTo>
                    <a:lnTo>
                      <a:pt x="1203" y="1248"/>
                    </a:lnTo>
                    <a:lnTo>
                      <a:pt x="1202" y="1248"/>
                    </a:lnTo>
                    <a:lnTo>
                      <a:pt x="1200" y="1248"/>
                    </a:lnTo>
                    <a:lnTo>
                      <a:pt x="1202" y="1247"/>
                    </a:lnTo>
                    <a:lnTo>
                      <a:pt x="1200" y="1247"/>
                    </a:lnTo>
                    <a:lnTo>
                      <a:pt x="1198" y="1248"/>
                    </a:lnTo>
                    <a:lnTo>
                      <a:pt x="1196" y="1248"/>
                    </a:lnTo>
                    <a:lnTo>
                      <a:pt x="1195" y="1248"/>
                    </a:lnTo>
                    <a:lnTo>
                      <a:pt x="1193" y="1248"/>
                    </a:lnTo>
                    <a:lnTo>
                      <a:pt x="1191" y="1248"/>
                    </a:lnTo>
                    <a:lnTo>
                      <a:pt x="1190" y="1250"/>
                    </a:lnTo>
                    <a:lnTo>
                      <a:pt x="1190" y="1248"/>
                    </a:lnTo>
                    <a:lnTo>
                      <a:pt x="1188" y="1250"/>
                    </a:lnTo>
                    <a:lnTo>
                      <a:pt x="1186" y="1250"/>
                    </a:lnTo>
                    <a:lnTo>
                      <a:pt x="1186" y="1248"/>
                    </a:lnTo>
                    <a:lnTo>
                      <a:pt x="1186" y="1247"/>
                    </a:lnTo>
                    <a:lnTo>
                      <a:pt x="1185" y="1247"/>
                    </a:lnTo>
                    <a:lnTo>
                      <a:pt x="1185" y="1248"/>
                    </a:lnTo>
                    <a:lnTo>
                      <a:pt x="1185" y="1247"/>
                    </a:lnTo>
                    <a:lnTo>
                      <a:pt x="1183" y="1247"/>
                    </a:lnTo>
                    <a:lnTo>
                      <a:pt x="1181" y="1247"/>
                    </a:lnTo>
                    <a:lnTo>
                      <a:pt x="1181" y="1245"/>
                    </a:lnTo>
                    <a:lnTo>
                      <a:pt x="1183" y="1245"/>
                    </a:lnTo>
                    <a:lnTo>
                      <a:pt x="1185" y="1247"/>
                    </a:lnTo>
                    <a:lnTo>
                      <a:pt x="1185" y="1245"/>
                    </a:lnTo>
                    <a:lnTo>
                      <a:pt x="1183" y="1245"/>
                    </a:lnTo>
                    <a:lnTo>
                      <a:pt x="1183" y="1243"/>
                    </a:lnTo>
                    <a:lnTo>
                      <a:pt x="1185" y="1243"/>
                    </a:lnTo>
                    <a:lnTo>
                      <a:pt x="1185" y="1242"/>
                    </a:lnTo>
                    <a:lnTo>
                      <a:pt x="1186" y="1242"/>
                    </a:lnTo>
                    <a:lnTo>
                      <a:pt x="1186" y="1243"/>
                    </a:lnTo>
                    <a:lnTo>
                      <a:pt x="1188" y="1243"/>
                    </a:lnTo>
                    <a:lnTo>
                      <a:pt x="1188" y="1245"/>
                    </a:lnTo>
                    <a:lnTo>
                      <a:pt x="1190" y="1245"/>
                    </a:lnTo>
                    <a:lnTo>
                      <a:pt x="1191" y="1245"/>
                    </a:lnTo>
                    <a:lnTo>
                      <a:pt x="1190" y="1245"/>
                    </a:lnTo>
                    <a:lnTo>
                      <a:pt x="1190" y="1243"/>
                    </a:lnTo>
                    <a:lnTo>
                      <a:pt x="1188" y="1243"/>
                    </a:lnTo>
                    <a:lnTo>
                      <a:pt x="1188" y="1242"/>
                    </a:lnTo>
                    <a:lnTo>
                      <a:pt x="1186" y="1242"/>
                    </a:lnTo>
                    <a:lnTo>
                      <a:pt x="1188" y="1240"/>
                    </a:lnTo>
                    <a:lnTo>
                      <a:pt x="1190" y="1242"/>
                    </a:lnTo>
                    <a:lnTo>
                      <a:pt x="1190" y="1240"/>
                    </a:lnTo>
                    <a:lnTo>
                      <a:pt x="1191" y="1242"/>
                    </a:lnTo>
                    <a:lnTo>
                      <a:pt x="1193" y="1242"/>
                    </a:lnTo>
                    <a:lnTo>
                      <a:pt x="1195" y="1242"/>
                    </a:lnTo>
                    <a:lnTo>
                      <a:pt x="1195" y="1243"/>
                    </a:lnTo>
                    <a:lnTo>
                      <a:pt x="1196" y="1243"/>
                    </a:lnTo>
                    <a:lnTo>
                      <a:pt x="1195" y="1242"/>
                    </a:lnTo>
                    <a:lnTo>
                      <a:pt x="1193" y="1242"/>
                    </a:lnTo>
                    <a:lnTo>
                      <a:pt x="1191" y="1242"/>
                    </a:lnTo>
                    <a:lnTo>
                      <a:pt x="1191" y="1240"/>
                    </a:lnTo>
                    <a:lnTo>
                      <a:pt x="1193" y="1240"/>
                    </a:lnTo>
                    <a:lnTo>
                      <a:pt x="1195" y="1240"/>
                    </a:lnTo>
                    <a:close/>
                    <a:moveTo>
                      <a:pt x="1147" y="1333"/>
                    </a:moveTo>
                    <a:lnTo>
                      <a:pt x="1149" y="1333"/>
                    </a:lnTo>
                    <a:lnTo>
                      <a:pt x="1151" y="1333"/>
                    </a:lnTo>
                    <a:lnTo>
                      <a:pt x="1151" y="1335"/>
                    </a:lnTo>
                    <a:lnTo>
                      <a:pt x="1151" y="1333"/>
                    </a:lnTo>
                    <a:lnTo>
                      <a:pt x="1151" y="1332"/>
                    </a:lnTo>
                    <a:lnTo>
                      <a:pt x="1152" y="1333"/>
                    </a:lnTo>
                    <a:lnTo>
                      <a:pt x="1152" y="1335"/>
                    </a:lnTo>
                    <a:lnTo>
                      <a:pt x="1154" y="1337"/>
                    </a:lnTo>
                    <a:lnTo>
                      <a:pt x="1152" y="1337"/>
                    </a:lnTo>
                    <a:lnTo>
                      <a:pt x="1152" y="1339"/>
                    </a:lnTo>
                    <a:lnTo>
                      <a:pt x="1152" y="1337"/>
                    </a:lnTo>
                    <a:lnTo>
                      <a:pt x="1154" y="1339"/>
                    </a:lnTo>
                    <a:lnTo>
                      <a:pt x="1154" y="1340"/>
                    </a:lnTo>
                    <a:lnTo>
                      <a:pt x="1156" y="1342"/>
                    </a:lnTo>
                    <a:lnTo>
                      <a:pt x="1156" y="1344"/>
                    </a:lnTo>
                    <a:lnTo>
                      <a:pt x="1156" y="1345"/>
                    </a:lnTo>
                    <a:lnTo>
                      <a:pt x="1157" y="1345"/>
                    </a:lnTo>
                    <a:lnTo>
                      <a:pt x="1157" y="1347"/>
                    </a:lnTo>
                    <a:lnTo>
                      <a:pt x="1157" y="1349"/>
                    </a:lnTo>
                    <a:lnTo>
                      <a:pt x="1156" y="1349"/>
                    </a:lnTo>
                    <a:lnTo>
                      <a:pt x="1157" y="1349"/>
                    </a:lnTo>
                    <a:lnTo>
                      <a:pt x="1156" y="1349"/>
                    </a:lnTo>
                    <a:lnTo>
                      <a:pt x="1156" y="1347"/>
                    </a:lnTo>
                    <a:lnTo>
                      <a:pt x="1154" y="1347"/>
                    </a:lnTo>
                    <a:lnTo>
                      <a:pt x="1154" y="1345"/>
                    </a:lnTo>
                    <a:lnTo>
                      <a:pt x="1152" y="1345"/>
                    </a:lnTo>
                    <a:lnTo>
                      <a:pt x="1154" y="1345"/>
                    </a:lnTo>
                    <a:lnTo>
                      <a:pt x="1154" y="1347"/>
                    </a:lnTo>
                    <a:lnTo>
                      <a:pt x="1154" y="1349"/>
                    </a:lnTo>
                    <a:lnTo>
                      <a:pt x="1152" y="1349"/>
                    </a:lnTo>
                    <a:lnTo>
                      <a:pt x="1151" y="1347"/>
                    </a:lnTo>
                    <a:lnTo>
                      <a:pt x="1151" y="1345"/>
                    </a:lnTo>
                    <a:lnTo>
                      <a:pt x="1149" y="1345"/>
                    </a:lnTo>
                    <a:lnTo>
                      <a:pt x="1149" y="1344"/>
                    </a:lnTo>
                    <a:lnTo>
                      <a:pt x="1151" y="1344"/>
                    </a:lnTo>
                    <a:lnTo>
                      <a:pt x="1151" y="1342"/>
                    </a:lnTo>
                    <a:lnTo>
                      <a:pt x="1152" y="1342"/>
                    </a:lnTo>
                    <a:lnTo>
                      <a:pt x="1151" y="1342"/>
                    </a:lnTo>
                    <a:lnTo>
                      <a:pt x="1151" y="1340"/>
                    </a:lnTo>
                    <a:lnTo>
                      <a:pt x="1151" y="1339"/>
                    </a:lnTo>
                    <a:lnTo>
                      <a:pt x="1151" y="1340"/>
                    </a:lnTo>
                    <a:lnTo>
                      <a:pt x="1149" y="1342"/>
                    </a:lnTo>
                    <a:lnTo>
                      <a:pt x="1147" y="1342"/>
                    </a:lnTo>
                    <a:lnTo>
                      <a:pt x="1147" y="1344"/>
                    </a:lnTo>
                    <a:lnTo>
                      <a:pt x="1145" y="1344"/>
                    </a:lnTo>
                    <a:lnTo>
                      <a:pt x="1144" y="1344"/>
                    </a:lnTo>
                    <a:lnTo>
                      <a:pt x="1144" y="1345"/>
                    </a:lnTo>
                    <a:lnTo>
                      <a:pt x="1144" y="1347"/>
                    </a:lnTo>
                    <a:lnTo>
                      <a:pt x="1142" y="1347"/>
                    </a:lnTo>
                    <a:lnTo>
                      <a:pt x="1142" y="1345"/>
                    </a:lnTo>
                    <a:lnTo>
                      <a:pt x="1142" y="1344"/>
                    </a:lnTo>
                    <a:lnTo>
                      <a:pt x="1140" y="1344"/>
                    </a:lnTo>
                    <a:lnTo>
                      <a:pt x="1140" y="1342"/>
                    </a:lnTo>
                    <a:lnTo>
                      <a:pt x="1142" y="1342"/>
                    </a:lnTo>
                    <a:lnTo>
                      <a:pt x="1144" y="1340"/>
                    </a:lnTo>
                    <a:lnTo>
                      <a:pt x="1145" y="1340"/>
                    </a:lnTo>
                    <a:lnTo>
                      <a:pt x="1145" y="1339"/>
                    </a:lnTo>
                    <a:lnTo>
                      <a:pt x="1145" y="1340"/>
                    </a:lnTo>
                    <a:lnTo>
                      <a:pt x="1145" y="1339"/>
                    </a:lnTo>
                    <a:lnTo>
                      <a:pt x="1144" y="1339"/>
                    </a:lnTo>
                    <a:lnTo>
                      <a:pt x="1144" y="1337"/>
                    </a:lnTo>
                    <a:lnTo>
                      <a:pt x="1142" y="1337"/>
                    </a:lnTo>
                    <a:lnTo>
                      <a:pt x="1144" y="1337"/>
                    </a:lnTo>
                    <a:lnTo>
                      <a:pt x="1142" y="1335"/>
                    </a:lnTo>
                    <a:lnTo>
                      <a:pt x="1144" y="1335"/>
                    </a:lnTo>
                    <a:lnTo>
                      <a:pt x="1144" y="1333"/>
                    </a:lnTo>
                    <a:lnTo>
                      <a:pt x="1145" y="1333"/>
                    </a:lnTo>
                    <a:lnTo>
                      <a:pt x="1147" y="1333"/>
                    </a:lnTo>
                    <a:lnTo>
                      <a:pt x="1147" y="1335"/>
                    </a:lnTo>
                    <a:lnTo>
                      <a:pt x="1147" y="1333"/>
                    </a:lnTo>
                    <a:lnTo>
                      <a:pt x="1147" y="1332"/>
                    </a:lnTo>
                    <a:lnTo>
                      <a:pt x="1147" y="1333"/>
                    </a:lnTo>
                    <a:close/>
                    <a:moveTo>
                      <a:pt x="1193" y="1085"/>
                    </a:moveTo>
                    <a:lnTo>
                      <a:pt x="1195" y="1085"/>
                    </a:lnTo>
                    <a:lnTo>
                      <a:pt x="1196" y="1085"/>
                    </a:lnTo>
                    <a:lnTo>
                      <a:pt x="1195" y="1085"/>
                    </a:lnTo>
                    <a:lnTo>
                      <a:pt x="1196" y="1085"/>
                    </a:lnTo>
                    <a:lnTo>
                      <a:pt x="1198" y="1085"/>
                    </a:lnTo>
                    <a:lnTo>
                      <a:pt x="1200" y="1087"/>
                    </a:lnTo>
                    <a:lnTo>
                      <a:pt x="1202" y="1088"/>
                    </a:lnTo>
                    <a:lnTo>
                      <a:pt x="1200" y="1088"/>
                    </a:lnTo>
                    <a:lnTo>
                      <a:pt x="1202" y="1088"/>
                    </a:lnTo>
                    <a:lnTo>
                      <a:pt x="1202" y="1090"/>
                    </a:lnTo>
                    <a:lnTo>
                      <a:pt x="1200" y="1090"/>
                    </a:lnTo>
                    <a:lnTo>
                      <a:pt x="1198" y="1090"/>
                    </a:lnTo>
                    <a:lnTo>
                      <a:pt x="1196" y="1090"/>
                    </a:lnTo>
                    <a:lnTo>
                      <a:pt x="1196" y="1088"/>
                    </a:lnTo>
                    <a:lnTo>
                      <a:pt x="1198" y="1088"/>
                    </a:lnTo>
                    <a:lnTo>
                      <a:pt x="1196" y="1088"/>
                    </a:lnTo>
                    <a:lnTo>
                      <a:pt x="1196" y="1090"/>
                    </a:lnTo>
                    <a:lnTo>
                      <a:pt x="1196" y="1092"/>
                    </a:lnTo>
                    <a:lnTo>
                      <a:pt x="1195" y="1092"/>
                    </a:lnTo>
                    <a:lnTo>
                      <a:pt x="1195" y="1094"/>
                    </a:lnTo>
                    <a:lnTo>
                      <a:pt x="1193" y="1094"/>
                    </a:lnTo>
                    <a:lnTo>
                      <a:pt x="1191" y="1094"/>
                    </a:lnTo>
                    <a:lnTo>
                      <a:pt x="1190" y="1094"/>
                    </a:lnTo>
                    <a:lnTo>
                      <a:pt x="1190" y="1095"/>
                    </a:lnTo>
                    <a:lnTo>
                      <a:pt x="1188" y="1095"/>
                    </a:lnTo>
                    <a:lnTo>
                      <a:pt x="1186" y="1095"/>
                    </a:lnTo>
                    <a:lnTo>
                      <a:pt x="1185" y="1094"/>
                    </a:lnTo>
                    <a:lnTo>
                      <a:pt x="1185" y="1092"/>
                    </a:lnTo>
                    <a:lnTo>
                      <a:pt x="1185" y="1090"/>
                    </a:lnTo>
                    <a:lnTo>
                      <a:pt x="1186" y="1090"/>
                    </a:lnTo>
                    <a:lnTo>
                      <a:pt x="1188" y="1090"/>
                    </a:lnTo>
                    <a:lnTo>
                      <a:pt x="1188" y="1092"/>
                    </a:lnTo>
                    <a:lnTo>
                      <a:pt x="1190" y="1090"/>
                    </a:lnTo>
                    <a:lnTo>
                      <a:pt x="1188" y="1092"/>
                    </a:lnTo>
                    <a:lnTo>
                      <a:pt x="1190" y="1092"/>
                    </a:lnTo>
                    <a:lnTo>
                      <a:pt x="1191" y="1092"/>
                    </a:lnTo>
                    <a:lnTo>
                      <a:pt x="1193" y="1092"/>
                    </a:lnTo>
                    <a:lnTo>
                      <a:pt x="1191" y="1092"/>
                    </a:lnTo>
                    <a:lnTo>
                      <a:pt x="1190" y="1092"/>
                    </a:lnTo>
                    <a:lnTo>
                      <a:pt x="1190" y="1090"/>
                    </a:lnTo>
                    <a:lnTo>
                      <a:pt x="1188" y="1090"/>
                    </a:lnTo>
                    <a:lnTo>
                      <a:pt x="1186" y="1090"/>
                    </a:lnTo>
                    <a:lnTo>
                      <a:pt x="1185" y="1090"/>
                    </a:lnTo>
                    <a:lnTo>
                      <a:pt x="1183" y="1090"/>
                    </a:lnTo>
                    <a:lnTo>
                      <a:pt x="1183" y="1088"/>
                    </a:lnTo>
                    <a:lnTo>
                      <a:pt x="1183" y="1087"/>
                    </a:lnTo>
                    <a:lnTo>
                      <a:pt x="1185" y="1087"/>
                    </a:lnTo>
                    <a:lnTo>
                      <a:pt x="1186" y="1087"/>
                    </a:lnTo>
                    <a:lnTo>
                      <a:pt x="1186" y="1085"/>
                    </a:lnTo>
                    <a:lnTo>
                      <a:pt x="1188" y="1085"/>
                    </a:lnTo>
                    <a:lnTo>
                      <a:pt x="1190" y="1085"/>
                    </a:lnTo>
                    <a:lnTo>
                      <a:pt x="1191" y="1085"/>
                    </a:lnTo>
                    <a:lnTo>
                      <a:pt x="1193" y="1085"/>
                    </a:lnTo>
                    <a:close/>
                    <a:moveTo>
                      <a:pt x="1176" y="1418"/>
                    </a:moveTo>
                    <a:lnTo>
                      <a:pt x="1178" y="1418"/>
                    </a:lnTo>
                    <a:lnTo>
                      <a:pt x="1178" y="1420"/>
                    </a:lnTo>
                    <a:lnTo>
                      <a:pt x="1179" y="1422"/>
                    </a:lnTo>
                    <a:lnTo>
                      <a:pt x="1179" y="1424"/>
                    </a:lnTo>
                    <a:lnTo>
                      <a:pt x="1178" y="1424"/>
                    </a:lnTo>
                    <a:lnTo>
                      <a:pt x="1178" y="1422"/>
                    </a:lnTo>
                    <a:lnTo>
                      <a:pt x="1179" y="1422"/>
                    </a:lnTo>
                    <a:lnTo>
                      <a:pt x="1178" y="1420"/>
                    </a:lnTo>
                    <a:lnTo>
                      <a:pt x="1178" y="1422"/>
                    </a:lnTo>
                    <a:lnTo>
                      <a:pt x="1178" y="1424"/>
                    </a:lnTo>
                    <a:lnTo>
                      <a:pt x="1178" y="1425"/>
                    </a:lnTo>
                    <a:lnTo>
                      <a:pt x="1178" y="1424"/>
                    </a:lnTo>
                    <a:lnTo>
                      <a:pt x="1176" y="1422"/>
                    </a:lnTo>
                    <a:lnTo>
                      <a:pt x="1174" y="1422"/>
                    </a:lnTo>
                    <a:lnTo>
                      <a:pt x="1174" y="1420"/>
                    </a:lnTo>
                    <a:lnTo>
                      <a:pt x="1174" y="1422"/>
                    </a:lnTo>
                    <a:lnTo>
                      <a:pt x="1176" y="1422"/>
                    </a:lnTo>
                    <a:lnTo>
                      <a:pt x="1176" y="1424"/>
                    </a:lnTo>
                    <a:lnTo>
                      <a:pt x="1178" y="1424"/>
                    </a:lnTo>
                    <a:lnTo>
                      <a:pt x="1176" y="1425"/>
                    </a:lnTo>
                    <a:lnTo>
                      <a:pt x="1178" y="1425"/>
                    </a:lnTo>
                    <a:lnTo>
                      <a:pt x="1178" y="1427"/>
                    </a:lnTo>
                    <a:lnTo>
                      <a:pt x="1178" y="1425"/>
                    </a:lnTo>
                    <a:lnTo>
                      <a:pt x="1178" y="1427"/>
                    </a:lnTo>
                    <a:lnTo>
                      <a:pt x="1178" y="1429"/>
                    </a:lnTo>
                    <a:lnTo>
                      <a:pt x="1176" y="1429"/>
                    </a:lnTo>
                    <a:lnTo>
                      <a:pt x="1176" y="1430"/>
                    </a:lnTo>
                    <a:lnTo>
                      <a:pt x="1176" y="1429"/>
                    </a:lnTo>
                    <a:lnTo>
                      <a:pt x="1174" y="1429"/>
                    </a:lnTo>
                    <a:lnTo>
                      <a:pt x="1176" y="1427"/>
                    </a:lnTo>
                    <a:lnTo>
                      <a:pt x="1174" y="1427"/>
                    </a:lnTo>
                    <a:lnTo>
                      <a:pt x="1174" y="1425"/>
                    </a:lnTo>
                    <a:lnTo>
                      <a:pt x="1174" y="1424"/>
                    </a:lnTo>
                    <a:lnTo>
                      <a:pt x="1173" y="1425"/>
                    </a:lnTo>
                    <a:lnTo>
                      <a:pt x="1173" y="1424"/>
                    </a:lnTo>
                    <a:lnTo>
                      <a:pt x="1171" y="1424"/>
                    </a:lnTo>
                    <a:lnTo>
                      <a:pt x="1173" y="1425"/>
                    </a:lnTo>
                    <a:lnTo>
                      <a:pt x="1173" y="1427"/>
                    </a:lnTo>
                    <a:lnTo>
                      <a:pt x="1171" y="1429"/>
                    </a:lnTo>
                    <a:lnTo>
                      <a:pt x="1171" y="1427"/>
                    </a:lnTo>
                    <a:lnTo>
                      <a:pt x="1171" y="1429"/>
                    </a:lnTo>
                    <a:lnTo>
                      <a:pt x="1171" y="1430"/>
                    </a:lnTo>
                    <a:lnTo>
                      <a:pt x="1171" y="1429"/>
                    </a:lnTo>
                    <a:lnTo>
                      <a:pt x="1169" y="1429"/>
                    </a:lnTo>
                    <a:lnTo>
                      <a:pt x="1169" y="1430"/>
                    </a:lnTo>
                    <a:lnTo>
                      <a:pt x="1171" y="1430"/>
                    </a:lnTo>
                    <a:lnTo>
                      <a:pt x="1169" y="1432"/>
                    </a:lnTo>
                    <a:lnTo>
                      <a:pt x="1168" y="1432"/>
                    </a:lnTo>
                    <a:lnTo>
                      <a:pt x="1168" y="1430"/>
                    </a:lnTo>
                    <a:lnTo>
                      <a:pt x="1168" y="1432"/>
                    </a:lnTo>
                    <a:lnTo>
                      <a:pt x="1166" y="1432"/>
                    </a:lnTo>
                    <a:lnTo>
                      <a:pt x="1168" y="1432"/>
                    </a:lnTo>
                    <a:lnTo>
                      <a:pt x="1166" y="1432"/>
                    </a:lnTo>
                    <a:lnTo>
                      <a:pt x="1166" y="1430"/>
                    </a:lnTo>
                    <a:lnTo>
                      <a:pt x="1166" y="1432"/>
                    </a:lnTo>
                    <a:lnTo>
                      <a:pt x="1164" y="1432"/>
                    </a:lnTo>
                    <a:lnTo>
                      <a:pt x="1164" y="1430"/>
                    </a:lnTo>
                    <a:lnTo>
                      <a:pt x="1164" y="1432"/>
                    </a:lnTo>
                    <a:lnTo>
                      <a:pt x="1164" y="1434"/>
                    </a:lnTo>
                    <a:lnTo>
                      <a:pt x="1162" y="1434"/>
                    </a:lnTo>
                    <a:lnTo>
                      <a:pt x="1161" y="1434"/>
                    </a:lnTo>
                    <a:lnTo>
                      <a:pt x="1162" y="1432"/>
                    </a:lnTo>
                    <a:lnTo>
                      <a:pt x="1161" y="1432"/>
                    </a:lnTo>
                    <a:lnTo>
                      <a:pt x="1162" y="1432"/>
                    </a:lnTo>
                    <a:lnTo>
                      <a:pt x="1161" y="1430"/>
                    </a:lnTo>
                    <a:lnTo>
                      <a:pt x="1162" y="1430"/>
                    </a:lnTo>
                    <a:lnTo>
                      <a:pt x="1164" y="1430"/>
                    </a:lnTo>
                    <a:lnTo>
                      <a:pt x="1164" y="1429"/>
                    </a:lnTo>
                    <a:lnTo>
                      <a:pt x="1166" y="1429"/>
                    </a:lnTo>
                    <a:lnTo>
                      <a:pt x="1168" y="1427"/>
                    </a:lnTo>
                    <a:lnTo>
                      <a:pt x="1169" y="1425"/>
                    </a:lnTo>
                    <a:lnTo>
                      <a:pt x="1168" y="1425"/>
                    </a:lnTo>
                    <a:lnTo>
                      <a:pt x="1168" y="1427"/>
                    </a:lnTo>
                    <a:lnTo>
                      <a:pt x="1168" y="1425"/>
                    </a:lnTo>
                    <a:lnTo>
                      <a:pt x="1168" y="1427"/>
                    </a:lnTo>
                    <a:lnTo>
                      <a:pt x="1166" y="1427"/>
                    </a:lnTo>
                    <a:lnTo>
                      <a:pt x="1164" y="1429"/>
                    </a:lnTo>
                    <a:lnTo>
                      <a:pt x="1164" y="1427"/>
                    </a:lnTo>
                    <a:lnTo>
                      <a:pt x="1162" y="1425"/>
                    </a:lnTo>
                    <a:lnTo>
                      <a:pt x="1164" y="1425"/>
                    </a:lnTo>
                    <a:lnTo>
                      <a:pt x="1164" y="1424"/>
                    </a:lnTo>
                    <a:lnTo>
                      <a:pt x="1166" y="1424"/>
                    </a:lnTo>
                    <a:lnTo>
                      <a:pt x="1166" y="1422"/>
                    </a:lnTo>
                    <a:lnTo>
                      <a:pt x="1168" y="1422"/>
                    </a:lnTo>
                    <a:lnTo>
                      <a:pt x="1168" y="1424"/>
                    </a:lnTo>
                    <a:lnTo>
                      <a:pt x="1168" y="1422"/>
                    </a:lnTo>
                    <a:lnTo>
                      <a:pt x="1168" y="1424"/>
                    </a:lnTo>
                    <a:lnTo>
                      <a:pt x="1168" y="1422"/>
                    </a:lnTo>
                    <a:lnTo>
                      <a:pt x="1169" y="1424"/>
                    </a:lnTo>
                    <a:lnTo>
                      <a:pt x="1169" y="1422"/>
                    </a:lnTo>
                    <a:lnTo>
                      <a:pt x="1168" y="1422"/>
                    </a:lnTo>
                    <a:lnTo>
                      <a:pt x="1168" y="1420"/>
                    </a:lnTo>
                    <a:lnTo>
                      <a:pt x="1169" y="1420"/>
                    </a:lnTo>
                    <a:lnTo>
                      <a:pt x="1171" y="1420"/>
                    </a:lnTo>
                    <a:lnTo>
                      <a:pt x="1169" y="1420"/>
                    </a:lnTo>
                    <a:lnTo>
                      <a:pt x="1169" y="1418"/>
                    </a:lnTo>
                    <a:lnTo>
                      <a:pt x="1171" y="1418"/>
                    </a:lnTo>
                    <a:lnTo>
                      <a:pt x="1171" y="1420"/>
                    </a:lnTo>
                    <a:lnTo>
                      <a:pt x="1171" y="1418"/>
                    </a:lnTo>
                    <a:lnTo>
                      <a:pt x="1173" y="1418"/>
                    </a:lnTo>
                    <a:lnTo>
                      <a:pt x="1174" y="1418"/>
                    </a:lnTo>
                    <a:lnTo>
                      <a:pt x="1176" y="1418"/>
                    </a:lnTo>
                    <a:close/>
                    <a:moveTo>
                      <a:pt x="1151" y="1379"/>
                    </a:moveTo>
                    <a:lnTo>
                      <a:pt x="1151" y="1381"/>
                    </a:lnTo>
                    <a:lnTo>
                      <a:pt x="1151" y="1379"/>
                    </a:lnTo>
                    <a:lnTo>
                      <a:pt x="1152" y="1379"/>
                    </a:lnTo>
                    <a:lnTo>
                      <a:pt x="1154" y="1379"/>
                    </a:lnTo>
                    <a:lnTo>
                      <a:pt x="1152" y="1381"/>
                    </a:lnTo>
                    <a:lnTo>
                      <a:pt x="1152" y="1383"/>
                    </a:lnTo>
                    <a:lnTo>
                      <a:pt x="1152" y="1381"/>
                    </a:lnTo>
                    <a:lnTo>
                      <a:pt x="1154" y="1381"/>
                    </a:lnTo>
                    <a:lnTo>
                      <a:pt x="1156" y="1381"/>
                    </a:lnTo>
                    <a:lnTo>
                      <a:pt x="1157" y="1381"/>
                    </a:lnTo>
                    <a:lnTo>
                      <a:pt x="1159" y="1381"/>
                    </a:lnTo>
                    <a:lnTo>
                      <a:pt x="1161" y="1381"/>
                    </a:lnTo>
                    <a:lnTo>
                      <a:pt x="1161" y="1383"/>
                    </a:lnTo>
                    <a:lnTo>
                      <a:pt x="1159" y="1383"/>
                    </a:lnTo>
                    <a:lnTo>
                      <a:pt x="1157" y="1384"/>
                    </a:lnTo>
                    <a:lnTo>
                      <a:pt x="1157" y="1383"/>
                    </a:lnTo>
                    <a:lnTo>
                      <a:pt x="1157" y="1384"/>
                    </a:lnTo>
                    <a:lnTo>
                      <a:pt x="1156" y="1384"/>
                    </a:lnTo>
                    <a:lnTo>
                      <a:pt x="1157" y="1386"/>
                    </a:lnTo>
                    <a:lnTo>
                      <a:pt x="1156" y="1386"/>
                    </a:lnTo>
                    <a:lnTo>
                      <a:pt x="1156" y="1388"/>
                    </a:lnTo>
                    <a:lnTo>
                      <a:pt x="1156" y="1386"/>
                    </a:lnTo>
                    <a:lnTo>
                      <a:pt x="1154" y="1386"/>
                    </a:lnTo>
                    <a:lnTo>
                      <a:pt x="1152" y="1384"/>
                    </a:lnTo>
                    <a:lnTo>
                      <a:pt x="1154" y="1383"/>
                    </a:lnTo>
                    <a:lnTo>
                      <a:pt x="1152" y="1384"/>
                    </a:lnTo>
                    <a:lnTo>
                      <a:pt x="1152" y="1386"/>
                    </a:lnTo>
                    <a:lnTo>
                      <a:pt x="1154" y="1388"/>
                    </a:lnTo>
                    <a:lnTo>
                      <a:pt x="1156" y="1388"/>
                    </a:lnTo>
                    <a:lnTo>
                      <a:pt x="1154" y="1390"/>
                    </a:lnTo>
                    <a:lnTo>
                      <a:pt x="1152" y="1390"/>
                    </a:lnTo>
                    <a:lnTo>
                      <a:pt x="1152" y="1388"/>
                    </a:lnTo>
                    <a:lnTo>
                      <a:pt x="1152" y="1390"/>
                    </a:lnTo>
                    <a:lnTo>
                      <a:pt x="1154" y="1390"/>
                    </a:lnTo>
                    <a:lnTo>
                      <a:pt x="1156" y="1390"/>
                    </a:lnTo>
                    <a:lnTo>
                      <a:pt x="1154" y="1391"/>
                    </a:lnTo>
                    <a:lnTo>
                      <a:pt x="1152" y="1391"/>
                    </a:lnTo>
                    <a:lnTo>
                      <a:pt x="1154" y="1391"/>
                    </a:lnTo>
                    <a:lnTo>
                      <a:pt x="1154" y="1393"/>
                    </a:lnTo>
                    <a:lnTo>
                      <a:pt x="1152" y="1393"/>
                    </a:lnTo>
                    <a:lnTo>
                      <a:pt x="1154" y="1393"/>
                    </a:lnTo>
                    <a:lnTo>
                      <a:pt x="1154" y="1395"/>
                    </a:lnTo>
                    <a:lnTo>
                      <a:pt x="1154" y="1396"/>
                    </a:lnTo>
                    <a:lnTo>
                      <a:pt x="1152" y="1398"/>
                    </a:lnTo>
                    <a:lnTo>
                      <a:pt x="1152" y="1396"/>
                    </a:lnTo>
                    <a:lnTo>
                      <a:pt x="1152" y="1398"/>
                    </a:lnTo>
                    <a:lnTo>
                      <a:pt x="1152" y="1396"/>
                    </a:lnTo>
                    <a:lnTo>
                      <a:pt x="1152" y="1395"/>
                    </a:lnTo>
                    <a:lnTo>
                      <a:pt x="1152" y="1396"/>
                    </a:lnTo>
                    <a:lnTo>
                      <a:pt x="1151" y="1396"/>
                    </a:lnTo>
                    <a:lnTo>
                      <a:pt x="1149" y="1396"/>
                    </a:lnTo>
                    <a:lnTo>
                      <a:pt x="1149" y="1395"/>
                    </a:lnTo>
                    <a:lnTo>
                      <a:pt x="1147" y="1395"/>
                    </a:lnTo>
                    <a:lnTo>
                      <a:pt x="1149" y="1395"/>
                    </a:lnTo>
                    <a:lnTo>
                      <a:pt x="1147" y="1395"/>
                    </a:lnTo>
                    <a:lnTo>
                      <a:pt x="1149" y="1393"/>
                    </a:lnTo>
                    <a:lnTo>
                      <a:pt x="1147" y="1393"/>
                    </a:lnTo>
                    <a:lnTo>
                      <a:pt x="1147" y="1391"/>
                    </a:lnTo>
                    <a:lnTo>
                      <a:pt x="1149" y="1391"/>
                    </a:lnTo>
                    <a:lnTo>
                      <a:pt x="1151" y="1391"/>
                    </a:lnTo>
                    <a:lnTo>
                      <a:pt x="1149" y="1391"/>
                    </a:lnTo>
                    <a:lnTo>
                      <a:pt x="1149" y="1390"/>
                    </a:lnTo>
                    <a:lnTo>
                      <a:pt x="1147" y="1391"/>
                    </a:lnTo>
                    <a:lnTo>
                      <a:pt x="1147" y="1390"/>
                    </a:lnTo>
                    <a:lnTo>
                      <a:pt x="1145" y="1390"/>
                    </a:lnTo>
                    <a:lnTo>
                      <a:pt x="1147" y="1388"/>
                    </a:lnTo>
                    <a:lnTo>
                      <a:pt x="1147" y="1390"/>
                    </a:lnTo>
                    <a:lnTo>
                      <a:pt x="1149" y="1390"/>
                    </a:lnTo>
                    <a:lnTo>
                      <a:pt x="1147" y="1388"/>
                    </a:lnTo>
                    <a:lnTo>
                      <a:pt x="1147" y="1386"/>
                    </a:lnTo>
                    <a:lnTo>
                      <a:pt x="1149" y="1386"/>
                    </a:lnTo>
                    <a:lnTo>
                      <a:pt x="1147" y="1386"/>
                    </a:lnTo>
                    <a:lnTo>
                      <a:pt x="1149" y="1386"/>
                    </a:lnTo>
                    <a:lnTo>
                      <a:pt x="1151" y="1388"/>
                    </a:lnTo>
                    <a:lnTo>
                      <a:pt x="1151" y="1386"/>
                    </a:lnTo>
                    <a:lnTo>
                      <a:pt x="1149" y="1386"/>
                    </a:lnTo>
                    <a:lnTo>
                      <a:pt x="1151" y="1386"/>
                    </a:lnTo>
                    <a:lnTo>
                      <a:pt x="1151" y="1384"/>
                    </a:lnTo>
                    <a:lnTo>
                      <a:pt x="1149" y="1386"/>
                    </a:lnTo>
                    <a:lnTo>
                      <a:pt x="1149" y="1384"/>
                    </a:lnTo>
                    <a:lnTo>
                      <a:pt x="1147" y="1383"/>
                    </a:lnTo>
                    <a:lnTo>
                      <a:pt x="1147" y="1381"/>
                    </a:lnTo>
                    <a:lnTo>
                      <a:pt x="1147" y="1379"/>
                    </a:lnTo>
                    <a:lnTo>
                      <a:pt x="1149" y="1381"/>
                    </a:lnTo>
                    <a:lnTo>
                      <a:pt x="1149" y="1379"/>
                    </a:lnTo>
                    <a:lnTo>
                      <a:pt x="1147" y="1379"/>
                    </a:lnTo>
                    <a:lnTo>
                      <a:pt x="1149" y="1379"/>
                    </a:lnTo>
                    <a:lnTo>
                      <a:pt x="1151" y="1379"/>
                    </a:lnTo>
                    <a:close/>
                    <a:moveTo>
                      <a:pt x="1147" y="1293"/>
                    </a:moveTo>
                    <a:lnTo>
                      <a:pt x="1149" y="1293"/>
                    </a:lnTo>
                    <a:lnTo>
                      <a:pt x="1147" y="1294"/>
                    </a:lnTo>
                    <a:lnTo>
                      <a:pt x="1147" y="1296"/>
                    </a:lnTo>
                    <a:lnTo>
                      <a:pt x="1145" y="1296"/>
                    </a:lnTo>
                    <a:lnTo>
                      <a:pt x="1147" y="1296"/>
                    </a:lnTo>
                    <a:lnTo>
                      <a:pt x="1147" y="1294"/>
                    </a:lnTo>
                    <a:lnTo>
                      <a:pt x="1149" y="1294"/>
                    </a:lnTo>
                    <a:lnTo>
                      <a:pt x="1149" y="1293"/>
                    </a:lnTo>
                    <a:lnTo>
                      <a:pt x="1151" y="1293"/>
                    </a:lnTo>
                    <a:lnTo>
                      <a:pt x="1151" y="1294"/>
                    </a:lnTo>
                    <a:lnTo>
                      <a:pt x="1149" y="1294"/>
                    </a:lnTo>
                    <a:lnTo>
                      <a:pt x="1149" y="1296"/>
                    </a:lnTo>
                    <a:lnTo>
                      <a:pt x="1151" y="1294"/>
                    </a:lnTo>
                    <a:lnTo>
                      <a:pt x="1151" y="1296"/>
                    </a:lnTo>
                    <a:lnTo>
                      <a:pt x="1152" y="1296"/>
                    </a:lnTo>
                    <a:lnTo>
                      <a:pt x="1152" y="1298"/>
                    </a:lnTo>
                    <a:lnTo>
                      <a:pt x="1152" y="1296"/>
                    </a:lnTo>
                    <a:lnTo>
                      <a:pt x="1152" y="1294"/>
                    </a:lnTo>
                    <a:lnTo>
                      <a:pt x="1151" y="1294"/>
                    </a:lnTo>
                    <a:lnTo>
                      <a:pt x="1152" y="1293"/>
                    </a:lnTo>
                    <a:lnTo>
                      <a:pt x="1151" y="1294"/>
                    </a:lnTo>
                    <a:lnTo>
                      <a:pt x="1152" y="1293"/>
                    </a:lnTo>
                    <a:lnTo>
                      <a:pt x="1154" y="1294"/>
                    </a:lnTo>
                    <a:lnTo>
                      <a:pt x="1156" y="1294"/>
                    </a:lnTo>
                    <a:lnTo>
                      <a:pt x="1156" y="1296"/>
                    </a:lnTo>
                    <a:lnTo>
                      <a:pt x="1156" y="1298"/>
                    </a:lnTo>
                    <a:lnTo>
                      <a:pt x="1156" y="1299"/>
                    </a:lnTo>
                    <a:lnTo>
                      <a:pt x="1156" y="1301"/>
                    </a:lnTo>
                    <a:lnTo>
                      <a:pt x="1157" y="1301"/>
                    </a:lnTo>
                    <a:lnTo>
                      <a:pt x="1157" y="1303"/>
                    </a:lnTo>
                    <a:lnTo>
                      <a:pt x="1157" y="1305"/>
                    </a:lnTo>
                    <a:lnTo>
                      <a:pt x="1156" y="1305"/>
                    </a:lnTo>
                    <a:lnTo>
                      <a:pt x="1156" y="1306"/>
                    </a:lnTo>
                    <a:lnTo>
                      <a:pt x="1156" y="1305"/>
                    </a:lnTo>
                    <a:lnTo>
                      <a:pt x="1154" y="1306"/>
                    </a:lnTo>
                    <a:lnTo>
                      <a:pt x="1154" y="1305"/>
                    </a:lnTo>
                    <a:lnTo>
                      <a:pt x="1154" y="1303"/>
                    </a:lnTo>
                    <a:lnTo>
                      <a:pt x="1154" y="1301"/>
                    </a:lnTo>
                    <a:lnTo>
                      <a:pt x="1154" y="1299"/>
                    </a:lnTo>
                    <a:lnTo>
                      <a:pt x="1154" y="1298"/>
                    </a:lnTo>
                    <a:lnTo>
                      <a:pt x="1152" y="1299"/>
                    </a:lnTo>
                    <a:lnTo>
                      <a:pt x="1151" y="1299"/>
                    </a:lnTo>
                    <a:lnTo>
                      <a:pt x="1152" y="1298"/>
                    </a:lnTo>
                    <a:lnTo>
                      <a:pt x="1151" y="1299"/>
                    </a:lnTo>
                    <a:lnTo>
                      <a:pt x="1151" y="1301"/>
                    </a:lnTo>
                    <a:lnTo>
                      <a:pt x="1149" y="1301"/>
                    </a:lnTo>
                    <a:lnTo>
                      <a:pt x="1149" y="1303"/>
                    </a:lnTo>
                    <a:lnTo>
                      <a:pt x="1147" y="1305"/>
                    </a:lnTo>
                    <a:lnTo>
                      <a:pt x="1145" y="1303"/>
                    </a:lnTo>
                    <a:lnTo>
                      <a:pt x="1144" y="1301"/>
                    </a:lnTo>
                    <a:lnTo>
                      <a:pt x="1145" y="1301"/>
                    </a:lnTo>
                    <a:lnTo>
                      <a:pt x="1147" y="1299"/>
                    </a:lnTo>
                    <a:lnTo>
                      <a:pt x="1147" y="1301"/>
                    </a:lnTo>
                    <a:lnTo>
                      <a:pt x="1147" y="1299"/>
                    </a:lnTo>
                    <a:lnTo>
                      <a:pt x="1149" y="1299"/>
                    </a:lnTo>
                    <a:lnTo>
                      <a:pt x="1147" y="1299"/>
                    </a:lnTo>
                    <a:lnTo>
                      <a:pt x="1147" y="1298"/>
                    </a:lnTo>
                    <a:lnTo>
                      <a:pt x="1147" y="1299"/>
                    </a:lnTo>
                    <a:lnTo>
                      <a:pt x="1145" y="1299"/>
                    </a:lnTo>
                    <a:lnTo>
                      <a:pt x="1145" y="1301"/>
                    </a:lnTo>
                    <a:lnTo>
                      <a:pt x="1144" y="1299"/>
                    </a:lnTo>
                    <a:lnTo>
                      <a:pt x="1142" y="1299"/>
                    </a:lnTo>
                    <a:lnTo>
                      <a:pt x="1142" y="1298"/>
                    </a:lnTo>
                    <a:lnTo>
                      <a:pt x="1142" y="1299"/>
                    </a:lnTo>
                    <a:lnTo>
                      <a:pt x="1142" y="1298"/>
                    </a:lnTo>
                    <a:lnTo>
                      <a:pt x="1142" y="1296"/>
                    </a:lnTo>
                    <a:lnTo>
                      <a:pt x="1142" y="1294"/>
                    </a:lnTo>
                    <a:lnTo>
                      <a:pt x="1144" y="1293"/>
                    </a:lnTo>
                    <a:lnTo>
                      <a:pt x="1145" y="1294"/>
                    </a:lnTo>
                    <a:lnTo>
                      <a:pt x="1144" y="1293"/>
                    </a:lnTo>
                    <a:lnTo>
                      <a:pt x="1145" y="1293"/>
                    </a:lnTo>
                    <a:lnTo>
                      <a:pt x="1144" y="1293"/>
                    </a:lnTo>
                    <a:lnTo>
                      <a:pt x="1145" y="1293"/>
                    </a:lnTo>
                    <a:lnTo>
                      <a:pt x="1145" y="1291"/>
                    </a:lnTo>
                    <a:lnTo>
                      <a:pt x="1147" y="1293"/>
                    </a:lnTo>
                    <a:close/>
                    <a:moveTo>
                      <a:pt x="1168" y="1442"/>
                    </a:moveTo>
                    <a:lnTo>
                      <a:pt x="1169" y="1442"/>
                    </a:lnTo>
                    <a:lnTo>
                      <a:pt x="1171" y="1442"/>
                    </a:lnTo>
                    <a:lnTo>
                      <a:pt x="1171" y="1444"/>
                    </a:lnTo>
                    <a:lnTo>
                      <a:pt x="1169" y="1444"/>
                    </a:lnTo>
                    <a:lnTo>
                      <a:pt x="1171" y="1444"/>
                    </a:lnTo>
                    <a:lnTo>
                      <a:pt x="1169" y="1446"/>
                    </a:lnTo>
                    <a:lnTo>
                      <a:pt x="1171" y="1446"/>
                    </a:lnTo>
                    <a:lnTo>
                      <a:pt x="1171" y="1447"/>
                    </a:lnTo>
                    <a:lnTo>
                      <a:pt x="1169" y="1447"/>
                    </a:lnTo>
                    <a:lnTo>
                      <a:pt x="1169" y="1449"/>
                    </a:lnTo>
                    <a:lnTo>
                      <a:pt x="1169" y="1447"/>
                    </a:lnTo>
                    <a:lnTo>
                      <a:pt x="1171" y="1447"/>
                    </a:lnTo>
                    <a:lnTo>
                      <a:pt x="1171" y="1449"/>
                    </a:lnTo>
                    <a:lnTo>
                      <a:pt x="1171" y="1451"/>
                    </a:lnTo>
                    <a:lnTo>
                      <a:pt x="1169" y="1451"/>
                    </a:lnTo>
                    <a:lnTo>
                      <a:pt x="1171" y="1451"/>
                    </a:lnTo>
                    <a:lnTo>
                      <a:pt x="1171" y="1453"/>
                    </a:lnTo>
                    <a:lnTo>
                      <a:pt x="1171" y="1454"/>
                    </a:lnTo>
                    <a:lnTo>
                      <a:pt x="1169" y="1454"/>
                    </a:lnTo>
                    <a:lnTo>
                      <a:pt x="1169" y="1456"/>
                    </a:lnTo>
                    <a:lnTo>
                      <a:pt x="1169" y="1458"/>
                    </a:lnTo>
                    <a:lnTo>
                      <a:pt x="1169" y="1459"/>
                    </a:lnTo>
                    <a:lnTo>
                      <a:pt x="1168" y="1459"/>
                    </a:lnTo>
                    <a:lnTo>
                      <a:pt x="1169" y="1459"/>
                    </a:lnTo>
                    <a:lnTo>
                      <a:pt x="1169" y="1461"/>
                    </a:lnTo>
                    <a:lnTo>
                      <a:pt x="1168" y="1461"/>
                    </a:lnTo>
                    <a:lnTo>
                      <a:pt x="1169" y="1461"/>
                    </a:lnTo>
                    <a:lnTo>
                      <a:pt x="1168" y="1461"/>
                    </a:lnTo>
                    <a:lnTo>
                      <a:pt x="1168" y="1463"/>
                    </a:lnTo>
                    <a:lnTo>
                      <a:pt x="1166" y="1463"/>
                    </a:lnTo>
                    <a:lnTo>
                      <a:pt x="1168" y="1463"/>
                    </a:lnTo>
                    <a:lnTo>
                      <a:pt x="1168" y="1464"/>
                    </a:lnTo>
                    <a:lnTo>
                      <a:pt x="1166" y="1464"/>
                    </a:lnTo>
                    <a:lnTo>
                      <a:pt x="1168" y="1466"/>
                    </a:lnTo>
                    <a:lnTo>
                      <a:pt x="1166" y="1468"/>
                    </a:lnTo>
                    <a:lnTo>
                      <a:pt x="1164" y="1468"/>
                    </a:lnTo>
                    <a:lnTo>
                      <a:pt x="1166" y="1470"/>
                    </a:lnTo>
                    <a:lnTo>
                      <a:pt x="1166" y="1468"/>
                    </a:lnTo>
                    <a:lnTo>
                      <a:pt x="1166" y="1470"/>
                    </a:lnTo>
                    <a:lnTo>
                      <a:pt x="1164" y="1470"/>
                    </a:lnTo>
                    <a:lnTo>
                      <a:pt x="1164" y="1468"/>
                    </a:lnTo>
                    <a:lnTo>
                      <a:pt x="1166" y="1466"/>
                    </a:lnTo>
                    <a:lnTo>
                      <a:pt x="1164" y="1468"/>
                    </a:lnTo>
                    <a:lnTo>
                      <a:pt x="1164" y="1470"/>
                    </a:lnTo>
                    <a:lnTo>
                      <a:pt x="1162" y="1470"/>
                    </a:lnTo>
                    <a:lnTo>
                      <a:pt x="1162" y="1468"/>
                    </a:lnTo>
                    <a:lnTo>
                      <a:pt x="1164" y="1468"/>
                    </a:lnTo>
                    <a:lnTo>
                      <a:pt x="1164" y="1466"/>
                    </a:lnTo>
                    <a:lnTo>
                      <a:pt x="1164" y="1464"/>
                    </a:lnTo>
                    <a:lnTo>
                      <a:pt x="1164" y="1466"/>
                    </a:lnTo>
                    <a:lnTo>
                      <a:pt x="1162" y="1466"/>
                    </a:lnTo>
                    <a:lnTo>
                      <a:pt x="1164" y="1464"/>
                    </a:lnTo>
                    <a:lnTo>
                      <a:pt x="1162" y="1464"/>
                    </a:lnTo>
                    <a:lnTo>
                      <a:pt x="1162" y="1466"/>
                    </a:lnTo>
                    <a:lnTo>
                      <a:pt x="1162" y="1464"/>
                    </a:lnTo>
                    <a:lnTo>
                      <a:pt x="1161" y="1464"/>
                    </a:lnTo>
                    <a:lnTo>
                      <a:pt x="1161" y="1463"/>
                    </a:lnTo>
                    <a:lnTo>
                      <a:pt x="1161" y="1461"/>
                    </a:lnTo>
                    <a:lnTo>
                      <a:pt x="1162" y="1461"/>
                    </a:lnTo>
                    <a:lnTo>
                      <a:pt x="1164" y="1459"/>
                    </a:lnTo>
                    <a:lnTo>
                      <a:pt x="1162" y="1459"/>
                    </a:lnTo>
                    <a:lnTo>
                      <a:pt x="1162" y="1458"/>
                    </a:lnTo>
                    <a:lnTo>
                      <a:pt x="1162" y="1456"/>
                    </a:lnTo>
                    <a:lnTo>
                      <a:pt x="1164" y="1456"/>
                    </a:lnTo>
                    <a:lnTo>
                      <a:pt x="1164" y="1454"/>
                    </a:lnTo>
                    <a:lnTo>
                      <a:pt x="1164" y="1453"/>
                    </a:lnTo>
                    <a:lnTo>
                      <a:pt x="1164" y="1451"/>
                    </a:lnTo>
                    <a:lnTo>
                      <a:pt x="1166" y="1453"/>
                    </a:lnTo>
                    <a:lnTo>
                      <a:pt x="1164" y="1453"/>
                    </a:lnTo>
                    <a:lnTo>
                      <a:pt x="1166" y="1454"/>
                    </a:lnTo>
                    <a:lnTo>
                      <a:pt x="1166" y="1456"/>
                    </a:lnTo>
                    <a:lnTo>
                      <a:pt x="1166" y="1454"/>
                    </a:lnTo>
                    <a:lnTo>
                      <a:pt x="1166" y="1456"/>
                    </a:lnTo>
                    <a:lnTo>
                      <a:pt x="1164" y="1458"/>
                    </a:lnTo>
                    <a:lnTo>
                      <a:pt x="1166" y="1458"/>
                    </a:lnTo>
                    <a:lnTo>
                      <a:pt x="1166" y="1456"/>
                    </a:lnTo>
                    <a:lnTo>
                      <a:pt x="1166" y="1458"/>
                    </a:lnTo>
                    <a:lnTo>
                      <a:pt x="1166" y="1456"/>
                    </a:lnTo>
                    <a:lnTo>
                      <a:pt x="1168" y="1454"/>
                    </a:lnTo>
                    <a:lnTo>
                      <a:pt x="1168" y="1456"/>
                    </a:lnTo>
                    <a:lnTo>
                      <a:pt x="1168" y="1458"/>
                    </a:lnTo>
                    <a:lnTo>
                      <a:pt x="1168" y="1459"/>
                    </a:lnTo>
                    <a:lnTo>
                      <a:pt x="1168" y="1458"/>
                    </a:lnTo>
                    <a:lnTo>
                      <a:pt x="1168" y="1456"/>
                    </a:lnTo>
                    <a:lnTo>
                      <a:pt x="1168" y="1454"/>
                    </a:lnTo>
                    <a:lnTo>
                      <a:pt x="1169" y="1454"/>
                    </a:lnTo>
                    <a:lnTo>
                      <a:pt x="1169" y="1453"/>
                    </a:lnTo>
                    <a:lnTo>
                      <a:pt x="1168" y="1454"/>
                    </a:lnTo>
                    <a:lnTo>
                      <a:pt x="1168" y="1453"/>
                    </a:lnTo>
                    <a:lnTo>
                      <a:pt x="1168" y="1451"/>
                    </a:lnTo>
                    <a:lnTo>
                      <a:pt x="1168" y="1453"/>
                    </a:lnTo>
                    <a:lnTo>
                      <a:pt x="1168" y="1451"/>
                    </a:lnTo>
                    <a:lnTo>
                      <a:pt x="1166" y="1451"/>
                    </a:lnTo>
                    <a:lnTo>
                      <a:pt x="1168" y="1449"/>
                    </a:lnTo>
                    <a:lnTo>
                      <a:pt x="1169" y="1449"/>
                    </a:lnTo>
                    <a:lnTo>
                      <a:pt x="1168" y="1447"/>
                    </a:lnTo>
                    <a:lnTo>
                      <a:pt x="1166" y="1446"/>
                    </a:lnTo>
                    <a:lnTo>
                      <a:pt x="1166" y="1444"/>
                    </a:lnTo>
                    <a:lnTo>
                      <a:pt x="1168" y="1444"/>
                    </a:lnTo>
                    <a:lnTo>
                      <a:pt x="1166" y="1444"/>
                    </a:lnTo>
                    <a:lnTo>
                      <a:pt x="1164" y="1444"/>
                    </a:lnTo>
                    <a:lnTo>
                      <a:pt x="1166" y="1442"/>
                    </a:lnTo>
                    <a:lnTo>
                      <a:pt x="1168" y="1441"/>
                    </a:lnTo>
                    <a:lnTo>
                      <a:pt x="1168" y="1442"/>
                    </a:lnTo>
                    <a:close/>
                    <a:moveTo>
                      <a:pt x="1188" y="1468"/>
                    </a:moveTo>
                    <a:lnTo>
                      <a:pt x="1190" y="1468"/>
                    </a:lnTo>
                    <a:lnTo>
                      <a:pt x="1190" y="1470"/>
                    </a:lnTo>
                    <a:lnTo>
                      <a:pt x="1191" y="1470"/>
                    </a:lnTo>
                    <a:lnTo>
                      <a:pt x="1191" y="1471"/>
                    </a:lnTo>
                    <a:lnTo>
                      <a:pt x="1193" y="1471"/>
                    </a:lnTo>
                    <a:lnTo>
                      <a:pt x="1193" y="1473"/>
                    </a:lnTo>
                    <a:lnTo>
                      <a:pt x="1195" y="1473"/>
                    </a:lnTo>
                    <a:lnTo>
                      <a:pt x="1195" y="1475"/>
                    </a:lnTo>
                    <a:lnTo>
                      <a:pt x="1196" y="1476"/>
                    </a:lnTo>
                    <a:lnTo>
                      <a:pt x="1196" y="1478"/>
                    </a:lnTo>
                    <a:lnTo>
                      <a:pt x="1198" y="1480"/>
                    </a:lnTo>
                    <a:lnTo>
                      <a:pt x="1196" y="1478"/>
                    </a:lnTo>
                    <a:lnTo>
                      <a:pt x="1198" y="1478"/>
                    </a:lnTo>
                    <a:lnTo>
                      <a:pt x="1198" y="1480"/>
                    </a:lnTo>
                    <a:lnTo>
                      <a:pt x="1200" y="1480"/>
                    </a:lnTo>
                    <a:lnTo>
                      <a:pt x="1200" y="1481"/>
                    </a:lnTo>
                    <a:lnTo>
                      <a:pt x="1198" y="1481"/>
                    </a:lnTo>
                    <a:lnTo>
                      <a:pt x="1198" y="1480"/>
                    </a:lnTo>
                    <a:lnTo>
                      <a:pt x="1196" y="1480"/>
                    </a:lnTo>
                    <a:lnTo>
                      <a:pt x="1198" y="1481"/>
                    </a:lnTo>
                    <a:lnTo>
                      <a:pt x="1198" y="1483"/>
                    </a:lnTo>
                    <a:lnTo>
                      <a:pt x="1196" y="1483"/>
                    </a:lnTo>
                    <a:lnTo>
                      <a:pt x="1196" y="1481"/>
                    </a:lnTo>
                    <a:lnTo>
                      <a:pt x="1195" y="1481"/>
                    </a:lnTo>
                    <a:lnTo>
                      <a:pt x="1195" y="1480"/>
                    </a:lnTo>
                    <a:lnTo>
                      <a:pt x="1196" y="1481"/>
                    </a:lnTo>
                    <a:lnTo>
                      <a:pt x="1196" y="1483"/>
                    </a:lnTo>
                    <a:lnTo>
                      <a:pt x="1195" y="1481"/>
                    </a:lnTo>
                    <a:lnTo>
                      <a:pt x="1196" y="1483"/>
                    </a:lnTo>
                    <a:lnTo>
                      <a:pt x="1195" y="1485"/>
                    </a:lnTo>
                    <a:lnTo>
                      <a:pt x="1195" y="1483"/>
                    </a:lnTo>
                    <a:lnTo>
                      <a:pt x="1193" y="1485"/>
                    </a:lnTo>
                    <a:lnTo>
                      <a:pt x="1191" y="1485"/>
                    </a:lnTo>
                    <a:lnTo>
                      <a:pt x="1191" y="1483"/>
                    </a:lnTo>
                    <a:lnTo>
                      <a:pt x="1191" y="1485"/>
                    </a:lnTo>
                    <a:lnTo>
                      <a:pt x="1190" y="1485"/>
                    </a:lnTo>
                    <a:lnTo>
                      <a:pt x="1191" y="1483"/>
                    </a:lnTo>
                    <a:lnTo>
                      <a:pt x="1190" y="1481"/>
                    </a:lnTo>
                    <a:lnTo>
                      <a:pt x="1191" y="1481"/>
                    </a:lnTo>
                    <a:lnTo>
                      <a:pt x="1191" y="1480"/>
                    </a:lnTo>
                    <a:lnTo>
                      <a:pt x="1193" y="1480"/>
                    </a:lnTo>
                    <a:lnTo>
                      <a:pt x="1191" y="1480"/>
                    </a:lnTo>
                    <a:lnTo>
                      <a:pt x="1191" y="1481"/>
                    </a:lnTo>
                    <a:lnTo>
                      <a:pt x="1190" y="1481"/>
                    </a:lnTo>
                    <a:lnTo>
                      <a:pt x="1188" y="1481"/>
                    </a:lnTo>
                    <a:lnTo>
                      <a:pt x="1188" y="1483"/>
                    </a:lnTo>
                    <a:lnTo>
                      <a:pt x="1188" y="1481"/>
                    </a:lnTo>
                    <a:lnTo>
                      <a:pt x="1188" y="1480"/>
                    </a:lnTo>
                    <a:lnTo>
                      <a:pt x="1190" y="1480"/>
                    </a:lnTo>
                    <a:lnTo>
                      <a:pt x="1191" y="1480"/>
                    </a:lnTo>
                    <a:lnTo>
                      <a:pt x="1191" y="1478"/>
                    </a:lnTo>
                    <a:lnTo>
                      <a:pt x="1191" y="1480"/>
                    </a:lnTo>
                    <a:lnTo>
                      <a:pt x="1190" y="1478"/>
                    </a:lnTo>
                    <a:lnTo>
                      <a:pt x="1190" y="1476"/>
                    </a:lnTo>
                    <a:lnTo>
                      <a:pt x="1190" y="1475"/>
                    </a:lnTo>
                    <a:lnTo>
                      <a:pt x="1191" y="1475"/>
                    </a:lnTo>
                    <a:lnTo>
                      <a:pt x="1191" y="1476"/>
                    </a:lnTo>
                    <a:lnTo>
                      <a:pt x="1191" y="1475"/>
                    </a:lnTo>
                    <a:lnTo>
                      <a:pt x="1191" y="1473"/>
                    </a:lnTo>
                    <a:lnTo>
                      <a:pt x="1190" y="1475"/>
                    </a:lnTo>
                    <a:lnTo>
                      <a:pt x="1190" y="1473"/>
                    </a:lnTo>
                    <a:lnTo>
                      <a:pt x="1188" y="1473"/>
                    </a:lnTo>
                    <a:lnTo>
                      <a:pt x="1190" y="1473"/>
                    </a:lnTo>
                    <a:lnTo>
                      <a:pt x="1188" y="1473"/>
                    </a:lnTo>
                    <a:lnTo>
                      <a:pt x="1186" y="1473"/>
                    </a:lnTo>
                    <a:lnTo>
                      <a:pt x="1186" y="1475"/>
                    </a:lnTo>
                    <a:lnTo>
                      <a:pt x="1185" y="1473"/>
                    </a:lnTo>
                    <a:lnTo>
                      <a:pt x="1185" y="1471"/>
                    </a:lnTo>
                    <a:lnTo>
                      <a:pt x="1183" y="1473"/>
                    </a:lnTo>
                    <a:lnTo>
                      <a:pt x="1181" y="1473"/>
                    </a:lnTo>
                    <a:lnTo>
                      <a:pt x="1181" y="1471"/>
                    </a:lnTo>
                    <a:lnTo>
                      <a:pt x="1183" y="1470"/>
                    </a:lnTo>
                    <a:lnTo>
                      <a:pt x="1183" y="1471"/>
                    </a:lnTo>
                    <a:lnTo>
                      <a:pt x="1185" y="1471"/>
                    </a:lnTo>
                    <a:lnTo>
                      <a:pt x="1185" y="1473"/>
                    </a:lnTo>
                    <a:lnTo>
                      <a:pt x="1186" y="1473"/>
                    </a:lnTo>
                    <a:lnTo>
                      <a:pt x="1185" y="1473"/>
                    </a:lnTo>
                    <a:lnTo>
                      <a:pt x="1186" y="1473"/>
                    </a:lnTo>
                    <a:lnTo>
                      <a:pt x="1186" y="1471"/>
                    </a:lnTo>
                    <a:lnTo>
                      <a:pt x="1185" y="1471"/>
                    </a:lnTo>
                    <a:lnTo>
                      <a:pt x="1183" y="1471"/>
                    </a:lnTo>
                    <a:lnTo>
                      <a:pt x="1183" y="1470"/>
                    </a:lnTo>
                    <a:lnTo>
                      <a:pt x="1185" y="1470"/>
                    </a:lnTo>
                    <a:lnTo>
                      <a:pt x="1185" y="1468"/>
                    </a:lnTo>
                    <a:lnTo>
                      <a:pt x="1186" y="1468"/>
                    </a:lnTo>
                    <a:lnTo>
                      <a:pt x="1188" y="1468"/>
                    </a:lnTo>
                    <a:close/>
                    <a:moveTo>
                      <a:pt x="1195" y="1437"/>
                    </a:moveTo>
                    <a:lnTo>
                      <a:pt x="1195" y="1439"/>
                    </a:lnTo>
                    <a:lnTo>
                      <a:pt x="1193" y="1437"/>
                    </a:lnTo>
                    <a:lnTo>
                      <a:pt x="1195" y="1439"/>
                    </a:lnTo>
                    <a:lnTo>
                      <a:pt x="1195" y="1441"/>
                    </a:lnTo>
                    <a:lnTo>
                      <a:pt x="1196" y="1441"/>
                    </a:lnTo>
                    <a:lnTo>
                      <a:pt x="1195" y="1442"/>
                    </a:lnTo>
                    <a:lnTo>
                      <a:pt x="1196" y="1442"/>
                    </a:lnTo>
                    <a:lnTo>
                      <a:pt x="1196" y="1444"/>
                    </a:lnTo>
                    <a:lnTo>
                      <a:pt x="1196" y="1446"/>
                    </a:lnTo>
                    <a:lnTo>
                      <a:pt x="1195" y="1446"/>
                    </a:lnTo>
                    <a:lnTo>
                      <a:pt x="1196" y="1447"/>
                    </a:lnTo>
                    <a:lnTo>
                      <a:pt x="1198" y="1447"/>
                    </a:lnTo>
                    <a:lnTo>
                      <a:pt x="1198" y="1446"/>
                    </a:lnTo>
                    <a:lnTo>
                      <a:pt x="1198" y="1447"/>
                    </a:lnTo>
                    <a:lnTo>
                      <a:pt x="1198" y="1449"/>
                    </a:lnTo>
                    <a:lnTo>
                      <a:pt x="1200" y="1449"/>
                    </a:lnTo>
                    <a:lnTo>
                      <a:pt x="1198" y="1451"/>
                    </a:lnTo>
                    <a:lnTo>
                      <a:pt x="1200" y="1451"/>
                    </a:lnTo>
                    <a:lnTo>
                      <a:pt x="1202" y="1453"/>
                    </a:lnTo>
                    <a:lnTo>
                      <a:pt x="1203" y="1454"/>
                    </a:lnTo>
                    <a:lnTo>
                      <a:pt x="1203" y="1456"/>
                    </a:lnTo>
                    <a:lnTo>
                      <a:pt x="1203" y="1458"/>
                    </a:lnTo>
                    <a:lnTo>
                      <a:pt x="1205" y="1458"/>
                    </a:lnTo>
                    <a:lnTo>
                      <a:pt x="1205" y="1459"/>
                    </a:lnTo>
                    <a:lnTo>
                      <a:pt x="1207" y="1461"/>
                    </a:lnTo>
                    <a:lnTo>
                      <a:pt x="1207" y="1463"/>
                    </a:lnTo>
                    <a:lnTo>
                      <a:pt x="1205" y="1463"/>
                    </a:lnTo>
                    <a:lnTo>
                      <a:pt x="1203" y="1463"/>
                    </a:lnTo>
                    <a:lnTo>
                      <a:pt x="1203" y="1461"/>
                    </a:lnTo>
                    <a:lnTo>
                      <a:pt x="1202" y="1459"/>
                    </a:lnTo>
                    <a:lnTo>
                      <a:pt x="1202" y="1458"/>
                    </a:lnTo>
                    <a:lnTo>
                      <a:pt x="1203" y="1458"/>
                    </a:lnTo>
                    <a:lnTo>
                      <a:pt x="1202" y="1458"/>
                    </a:lnTo>
                    <a:lnTo>
                      <a:pt x="1200" y="1458"/>
                    </a:lnTo>
                    <a:lnTo>
                      <a:pt x="1202" y="1458"/>
                    </a:lnTo>
                    <a:lnTo>
                      <a:pt x="1200" y="1456"/>
                    </a:lnTo>
                    <a:lnTo>
                      <a:pt x="1202" y="1456"/>
                    </a:lnTo>
                    <a:lnTo>
                      <a:pt x="1200" y="1456"/>
                    </a:lnTo>
                    <a:lnTo>
                      <a:pt x="1198" y="1456"/>
                    </a:lnTo>
                    <a:lnTo>
                      <a:pt x="1198" y="1454"/>
                    </a:lnTo>
                    <a:lnTo>
                      <a:pt x="1198" y="1453"/>
                    </a:lnTo>
                    <a:lnTo>
                      <a:pt x="1196" y="1453"/>
                    </a:lnTo>
                    <a:lnTo>
                      <a:pt x="1198" y="1453"/>
                    </a:lnTo>
                    <a:lnTo>
                      <a:pt x="1198" y="1451"/>
                    </a:lnTo>
                    <a:lnTo>
                      <a:pt x="1198" y="1453"/>
                    </a:lnTo>
                    <a:lnTo>
                      <a:pt x="1196" y="1451"/>
                    </a:lnTo>
                    <a:lnTo>
                      <a:pt x="1195" y="1451"/>
                    </a:lnTo>
                    <a:lnTo>
                      <a:pt x="1195" y="1453"/>
                    </a:lnTo>
                    <a:lnTo>
                      <a:pt x="1195" y="1451"/>
                    </a:lnTo>
                    <a:lnTo>
                      <a:pt x="1196" y="1451"/>
                    </a:lnTo>
                    <a:lnTo>
                      <a:pt x="1195" y="1451"/>
                    </a:lnTo>
                    <a:lnTo>
                      <a:pt x="1193" y="1451"/>
                    </a:lnTo>
                    <a:lnTo>
                      <a:pt x="1193" y="1449"/>
                    </a:lnTo>
                    <a:lnTo>
                      <a:pt x="1191" y="1449"/>
                    </a:lnTo>
                    <a:lnTo>
                      <a:pt x="1191" y="1447"/>
                    </a:lnTo>
                    <a:lnTo>
                      <a:pt x="1190" y="1447"/>
                    </a:lnTo>
                    <a:lnTo>
                      <a:pt x="1188" y="1447"/>
                    </a:lnTo>
                    <a:lnTo>
                      <a:pt x="1190" y="1447"/>
                    </a:lnTo>
                    <a:lnTo>
                      <a:pt x="1190" y="1446"/>
                    </a:lnTo>
                    <a:lnTo>
                      <a:pt x="1188" y="1446"/>
                    </a:lnTo>
                    <a:lnTo>
                      <a:pt x="1188" y="1444"/>
                    </a:lnTo>
                    <a:lnTo>
                      <a:pt x="1190" y="1444"/>
                    </a:lnTo>
                    <a:lnTo>
                      <a:pt x="1191" y="1446"/>
                    </a:lnTo>
                    <a:lnTo>
                      <a:pt x="1191" y="1444"/>
                    </a:lnTo>
                    <a:lnTo>
                      <a:pt x="1190" y="1444"/>
                    </a:lnTo>
                    <a:lnTo>
                      <a:pt x="1191" y="1444"/>
                    </a:lnTo>
                    <a:lnTo>
                      <a:pt x="1190" y="1442"/>
                    </a:lnTo>
                    <a:lnTo>
                      <a:pt x="1191" y="1444"/>
                    </a:lnTo>
                    <a:lnTo>
                      <a:pt x="1193" y="1444"/>
                    </a:lnTo>
                    <a:lnTo>
                      <a:pt x="1191" y="1444"/>
                    </a:lnTo>
                    <a:lnTo>
                      <a:pt x="1191" y="1442"/>
                    </a:lnTo>
                    <a:lnTo>
                      <a:pt x="1193" y="1442"/>
                    </a:lnTo>
                    <a:lnTo>
                      <a:pt x="1191" y="1442"/>
                    </a:lnTo>
                    <a:lnTo>
                      <a:pt x="1191" y="1441"/>
                    </a:lnTo>
                    <a:lnTo>
                      <a:pt x="1191" y="1439"/>
                    </a:lnTo>
                    <a:lnTo>
                      <a:pt x="1193" y="1441"/>
                    </a:lnTo>
                    <a:lnTo>
                      <a:pt x="1191" y="1439"/>
                    </a:lnTo>
                    <a:lnTo>
                      <a:pt x="1193" y="1439"/>
                    </a:lnTo>
                    <a:lnTo>
                      <a:pt x="1193" y="1441"/>
                    </a:lnTo>
                    <a:lnTo>
                      <a:pt x="1195" y="1441"/>
                    </a:lnTo>
                    <a:lnTo>
                      <a:pt x="1193" y="1441"/>
                    </a:lnTo>
                    <a:lnTo>
                      <a:pt x="1195" y="1441"/>
                    </a:lnTo>
                    <a:lnTo>
                      <a:pt x="1193" y="1439"/>
                    </a:lnTo>
                    <a:lnTo>
                      <a:pt x="1193" y="1437"/>
                    </a:lnTo>
                    <a:lnTo>
                      <a:pt x="1195" y="1437"/>
                    </a:lnTo>
                    <a:lnTo>
                      <a:pt x="1195" y="1435"/>
                    </a:lnTo>
                    <a:lnTo>
                      <a:pt x="1195" y="1437"/>
                    </a:lnTo>
                    <a:close/>
                    <a:moveTo>
                      <a:pt x="1183" y="1126"/>
                    </a:moveTo>
                    <a:lnTo>
                      <a:pt x="1185" y="1126"/>
                    </a:lnTo>
                    <a:lnTo>
                      <a:pt x="1183" y="1126"/>
                    </a:lnTo>
                    <a:lnTo>
                      <a:pt x="1185" y="1126"/>
                    </a:lnTo>
                    <a:lnTo>
                      <a:pt x="1186" y="1126"/>
                    </a:lnTo>
                    <a:lnTo>
                      <a:pt x="1186" y="1128"/>
                    </a:lnTo>
                    <a:lnTo>
                      <a:pt x="1188" y="1128"/>
                    </a:lnTo>
                    <a:lnTo>
                      <a:pt x="1186" y="1129"/>
                    </a:lnTo>
                    <a:lnTo>
                      <a:pt x="1185" y="1129"/>
                    </a:lnTo>
                    <a:lnTo>
                      <a:pt x="1186" y="1129"/>
                    </a:lnTo>
                    <a:lnTo>
                      <a:pt x="1188" y="1128"/>
                    </a:lnTo>
                    <a:lnTo>
                      <a:pt x="1188" y="1129"/>
                    </a:lnTo>
                    <a:lnTo>
                      <a:pt x="1190" y="1131"/>
                    </a:lnTo>
                    <a:lnTo>
                      <a:pt x="1188" y="1131"/>
                    </a:lnTo>
                    <a:lnTo>
                      <a:pt x="1186" y="1131"/>
                    </a:lnTo>
                    <a:lnTo>
                      <a:pt x="1188" y="1131"/>
                    </a:lnTo>
                    <a:lnTo>
                      <a:pt x="1186" y="1131"/>
                    </a:lnTo>
                    <a:lnTo>
                      <a:pt x="1185" y="1131"/>
                    </a:lnTo>
                    <a:lnTo>
                      <a:pt x="1186" y="1131"/>
                    </a:lnTo>
                    <a:lnTo>
                      <a:pt x="1186" y="1133"/>
                    </a:lnTo>
                    <a:lnTo>
                      <a:pt x="1188" y="1131"/>
                    </a:lnTo>
                    <a:lnTo>
                      <a:pt x="1190" y="1131"/>
                    </a:lnTo>
                    <a:lnTo>
                      <a:pt x="1190" y="1133"/>
                    </a:lnTo>
                    <a:lnTo>
                      <a:pt x="1190" y="1134"/>
                    </a:lnTo>
                    <a:lnTo>
                      <a:pt x="1190" y="1136"/>
                    </a:lnTo>
                    <a:lnTo>
                      <a:pt x="1190" y="1138"/>
                    </a:lnTo>
                    <a:lnTo>
                      <a:pt x="1188" y="1138"/>
                    </a:lnTo>
                    <a:lnTo>
                      <a:pt x="1186" y="1138"/>
                    </a:lnTo>
                    <a:lnTo>
                      <a:pt x="1185" y="1138"/>
                    </a:lnTo>
                    <a:lnTo>
                      <a:pt x="1185" y="1136"/>
                    </a:lnTo>
                    <a:lnTo>
                      <a:pt x="1185" y="1138"/>
                    </a:lnTo>
                    <a:lnTo>
                      <a:pt x="1186" y="1138"/>
                    </a:lnTo>
                    <a:lnTo>
                      <a:pt x="1185" y="1138"/>
                    </a:lnTo>
                    <a:lnTo>
                      <a:pt x="1183" y="1138"/>
                    </a:lnTo>
                    <a:lnTo>
                      <a:pt x="1181" y="1138"/>
                    </a:lnTo>
                    <a:lnTo>
                      <a:pt x="1183" y="1138"/>
                    </a:lnTo>
                    <a:lnTo>
                      <a:pt x="1185" y="1138"/>
                    </a:lnTo>
                    <a:lnTo>
                      <a:pt x="1186" y="1138"/>
                    </a:lnTo>
                    <a:lnTo>
                      <a:pt x="1186" y="1140"/>
                    </a:lnTo>
                    <a:lnTo>
                      <a:pt x="1185" y="1140"/>
                    </a:lnTo>
                    <a:lnTo>
                      <a:pt x="1183" y="1140"/>
                    </a:lnTo>
                    <a:lnTo>
                      <a:pt x="1185" y="1140"/>
                    </a:lnTo>
                    <a:lnTo>
                      <a:pt x="1185" y="1141"/>
                    </a:lnTo>
                    <a:lnTo>
                      <a:pt x="1183" y="1141"/>
                    </a:lnTo>
                    <a:lnTo>
                      <a:pt x="1181" y="1141"/>
                    </a:lnTo>
                    <a:lnTo>
                      <a:pt x="1179" y="1140"/>
                    </a:lnTo>
                    <a:lnTo>
                      <a:pt x="1181" y="1140"/>
                    </a:lnTo>
                    <a:lnTo>
                      <a:pt x="1181" y="1138"/>
                    </a:lnTo>
                    <a:lnTo>
                      <a:pt x="1181" y="1136"/>
                    </a:lnTo>
                    <a:lnTo>
                      <a:pt x="1181" y="1134"/>
                    </a:lnTo>
                    <a:lnTo>
                      <a:pt x="1179" y="1134"/>
                    </a:lnTo>
                    <a:lnTo>
                      <a:pt x="1179" y="1133"/>
                    </a:lnTo>
                    <a:lnTo>
                      <a:pt x="1181" y="1133"/>
                    </a:lnTo>
                    <a:lnTo>
                      <a:pt x="1179" y="1134"/>
                    </a:lnTo>
                    <a:lnTo>
                      <a:pt x="1181" y="1133"/>
                    </a:lnTo>
                    <a:lnTo>
                      <a:pt x="1181" y="1134"/>
                    </a:lnTo>
                    <a:lnTo>
                      <a:pt x="1183" y="1133"/>
                    </a:lnTo>
                    <a:lnTo>
                      <a:pt x="1181" y="1133"/>
                    </a:lnTo>
                    <a:lnTo>
                      <a:pt x="1181" y="1131"/>
                    </a:lnTo>
                    <a:lnTo>
                      <a:pt x="1181" y="1129"/>
                    </a:lnTo>
                    <a:lnTo>
                      <a:pt x="1181" y="1128"/>
                    </a:lnTo>
                    <a:lnTo>
                      <a:pt x="1183" y="1128"/>
                    </a:lnTo>
                    <a:lnTo>
                      <a:pt x="1183" y="1126"/>
                    </a:lnTo>
                    <a:close/>
                    <a:moveTo>
                      <a:pt x="1162" y="1305"/>
                    </a:moveTo>
                    <a:lnTo>
                      <a:pt x="1162" y="1303"/>
                    </a:lnTo>
                    <a:lnTo>
                      <a:pt x="1162" y="1305"/>
                    </a:lnTo>
                    <a:lnTo>
                      <a:pt x="1164" y="1305"/>
                    </a:lnTo>
                    <a:lnTo>
                      <a:pt x="1164" y="1306"/>
                    </a:lnTo>
                    <a:lnTo>
                      <a:pt x="1164" y="1305"/>
                    </a:lnTo>
                    <a:lnTo>
                      <a:pt x="1164" y="1303"/>
                    </a:lnTo>
                    <a:lnTo>
                      <a:pt x="1166" y="1303"/>
                    </a:lnTo>
                    <a:lnTo>
                      <a:pt x="1168" y="1305"/>
                    </a:lnTo>
                    <a:lnTo>
                      <a:pt x="1168" y="1306"/>
                    </a:lnTo>
                    <a:lnTo>
                      <a:pt x="1169" y="1308"/>
                    </a:lnTo>
                    <a:lnTo>
                      <a:pt x="1168" y="1308"/>
                    </a:lnTo>
                    <a:lnTo>
                      <a:pt x="1168" y="1310"/>
                    </a:lnTo>
                    <a:lnTo>
                      <a:pt x="1168" y="1308"/>
                    </a:lnTo>
                    <a:lnTo>
                      <a:pt x="1168" y="1310"/>
                    </a:lnTo>
                    <a:lnTo>
                      <a:pt x="1168" y="1311"/>
                    </a:lnTo>
                    <a:lnTo>
                      <a:pt x="1168" y="1313"/>
                    </a:lnTo>
                    <a:lnTo>
                      <a:pt x="1168" y="1315"/>
                    </a:lnTo>
                    <a:lnTo>
                      <a:pt x="1168" y="1316"/>
                    </a:lnTo>
                    <a:lnTo>
                      <a:pt x="1166" y="1316"/>
                    </a:lnTo>
                    <a:lnTo>
                      <a:pt x="1164" y="1315"/>
                    </a:lnTo>
                    <a:lnTo>
                      <a:pt x="1166" y="1315"/>
                    </a:lnTo>
                    <a:lnTo>
                      <a:pt x="1164" y="1315"/>
                    </a:lnTo>
                    <a:lnTo>
                      <a:pt x="1164" y="1313"/>
                    </a:lnTo>
                    <a:lnTo>
                      <a:pt x="1162" y="1313"/>
                    </a:lnTo>
                    <a:lnTo>
                      <a:pt x="1162" y="1311"/>
                    </a:lnTo>
                    <a:lnTo>
                      <a:pt x="1161" y="1311"/>
                    </a:lnTo>
                    <a:lnTo>
                      <a:pt x="1161" y="1310"/>
                    </a:lnTo>
                    <a:lnTo>
                      <a:pt x="1159" y="1310"/>
                    </a:lnTo>
                    <a:lnTo>
                      <a:pt x="1157" y="1310"/>
                    </a:lnTo>
                    <a:lnTo>
                      <a:pt x="1156" y="1310"/>
                    </a:lnTo>
                    <a:lnTo>
                      <a:pt x="1157" y="1310"/>
                    </a:lnTo>
                    <a:lnTo>
                      <a:pt x="1157" y="1308"/>
                    </a:lnTo>
                    <a:lnTo>
                      <a:pt x="1159" y="1308"/>
                    </a:lnTo>
                    <a:lnTo>
                      <a:pt x="1161" y="1308"/>
                    </a:lnTo>
                    <a:lnTo>
                      <a:pt x="1159" y="1308"/>
                    </a:lnTo>
                    <a:lnTo>
                      <a:pt x="1159" y="1306"/>
                    </a:lnTo>
                    <a:lnTo>
                      <a:pt x="1157" y="1308"/>
                    </a:lnTo>
                    <a:lnTo>
                      <a:pt x="1156" y="1310"/>
                    </a:lnTo>
                    <a:lnTo>
                      <a:pt x="1156" y="1308"/>
                    </a:lnTo>
                    <a:lnTo>
                      <a:pt x="1156" y="1306"/>
                    </a:lnTo>
                    <a:lnTo>
                      <a:pt x="1157" y="1306"/>
                    </a:lnTo>
                    <a:lnTo>
                      <a:pt x="1157" y="1305"/>
                    </a:lnTo>
                    <a:lnTo>
                      <a:pt x="1159" y="1305"/>
                    </a:lnTo>
                    <a:lnTo>
                      <a:pt x="1159" y="1303"/>
                    </a:lnTo>
                    <a:lnTo>
                      <a:pt x="1159" y="1305"/>
                    </a:lnTo>
                    <a:lnTo>
                      <a:pt x="1159" y="1303"/>
                    </a:lnTo>
                    <a:lnTo>
                      <a:pt x="1161" y="1303"/>
                    </a:lnTo>
                    <a:lnTo>
                      <a:pt x="1161" y="1305"/>
                    </a:lnTo>
                    <a:lnTo>
                      <a:pt x="1161" y="1303"/>
                    </a:lnTo>
                    <a:lnTo>
                      <a:pt x="1159" y="1303"/>
                    </a:lnTo>
                    <a:lnTo>
                      <a:pt x="1159" y="1301"/>
                    </a:lnTo>
                    <a:lnTo>
                      <a:pt x="1161" y="1301"/>
                    </a:lnTo>
                    <a:lnTo>
                      <a:pt x="1161" y="1303"/>
                    </a:lnTo>
                    <a:lnTo>
                      <a:pt x="1162" y="1303"/>
                    </a:lnTo>
                    <a:lnTo>
                      <a:pt x="1162" y="1305"/>
                    </a:lnTo>
                    <a:close/>
                    <a:moveTo>
                      <a:pt x="1208" y="1126"/>
                    </a:moveTo>
                    <a:lnTo>
                      <a:pt x="1210" y="1126"/>
                    </a:lnTo>
                    <a:lnTo>
                      <a:pt x="1212" y="1126"/>
                    </a:lnTo>
                    <a:lnTo>
                      <a:pt x="1212" y="1128"/>
                    </a:lnTo>
                    <a:lnTo>
                      <a:pt x="1212" y="1129"/>
                    </a:lnTo>
                    <a:lnTo>
                      <a:pt x="1210" y="1129"/>
                    </a:lnTo>
                    <a:lnTo>
                      <a:pt x="1210" y="1128"/>
                    </a:lnTo>
                    <a:lnTo>
                      <a:pt x="1208" y="1128"/>
                    </a:lnTo>
                    <a:lnTo>
                      <a:pt x="1210" y="1129"/>
                    </a:lnTo>
                    <a:lnTo>
                      <a:pt x="1208" y="1129"/>
                    </a:lnTo>
                    <a:lnTo>
                      <a:pt x="1210" y="1129"/>
                    </a:lnTo>
                    <a:lnTo>
                      <a:pt x="1212" y="1129"/>
                    </a:lnTo>
                    <a:lnTo>
                      <a:pt x="1210" y="1131"/>
                    </a:lnTo>
                    <a:lnTo>
                      <a:pt x="1210" y="1133"/>
                    </a:lnTo>
                    <a:lnTo>
                      <a:pt x="1210" y="1134"/>
                    </a:lnTo>
                    <a:lnTo>
                      <a:pt x="1212" y="1134"/>
                    </a:lnTo>
                    <a:lnTo>
                      <a:pt x="1212" y="1136"/>
                    </a:lnTo>
                    <a:lnTo>
                      <a:pt x="1210" y="1134"/>
                    </a:lnTo>
                    <a:lnTo>
                      <a:pt x="1208" y="1134"/>
                    </a:lnTo>
                    <a:lnTo>
                      <a:pt x="1207" y="1133"/>
                    </a:lnTo>
                    <a:lnTo>
                      <a:pt x="1208" y="1134"/>
                    </a:lnTo>
                    <a:lnTo>
                      <a:pt x="1208" y="1136"/>
                    </a:lnTo>
                    <a:lnTo>
                      <a:pt x="1210" y="1136"/>
                    </a:lnTo>
                    <a:lnTo>
                      <a:pt x="1210" y="1138"/>
                    </a:lnTo>
                    <a:lnTo>
                      <a:pt x="1210" y="1140"/>
                    </a:lnTo>
                    <a:lnTo>
                      <a:pt x="1208" y="1141"/>
                    </a:lnTo>
                    <a:lnTo>
                      <a:pt x="1208" y="1140"/>
                    </a:lnTo>
                    <a:lnTo>
                      <a:pt x="1207" y="1140"/>
                    </a:lnTo>
                    <a:lnTo>
                      <a:pt x="1207" y="1138"/>
                    </a:lnTo>
                    <a:lnTo>
                      <a:pt x="1205" y="1138"/>
                    </a:lnTo>
                    <a:lnTo>
                      <a:pt x="1205" y="1136"/>
                    </a:lnTo>
                    <a:lnTo>
                      <a:pt x="1203" y="1138"/>
                    </a:lnTo>
                    <a:lnTo>
                      <a:pt x="1203" y="1136"/>
                    </a:lnTo>
                    <a:lnTo>
                      <a:pt x="1203" y="1134"/>
                    </a:lnTo>
                    <a:lnTo>
                      <a:pt x="1203" y="1133"/>
                    </a:lnTo>
                    <a:lnTo>
                      <a:pt x="1205" y="1131"/>
                    </a:lnTo>
                    <a:lnTo>
                      <a:pt x="1205" y="1129"/>
                    </a:lnTo>
                    <a:lnTo>
                      <a:pt x="1205" y="1128"/>
                    </a:lnTo>
                    <a:lnTo>
                      <a:pt x="1207" y="1126"/>
                    </a:lnTo>
                    <a:lnTo>
                      <a:pt x="1207" y="1124"/>
                    </a:lnTo>
                    <a:lnTo>
                      <a:pt x="1207" y="1126"/>
                    </a:lnTo>
                    <a:lnTo>
                      <a:pt x="1208" y="1126"/>
                    </a:lnTo>
                    <a:close/>
                    <a:moveTo>
                      <a:pt x="1162" y="1245"/>
                    </a:moveTo>
                    <a:lnTo>
                      <a:pt x="1164" y="1245"/>
                    </a:lnTo>
                    <a:lnTo>
                      <a:pt x="1164" y="1247"/>
                    </a:lnTo>
                    <a:lnTo>
                      <a:pt x="1164" y="1248"/>
                    </a:lnTo>
                    <a:lnTo>
                      <a:pt x="1162" y="1248"/>
                    </a:lnTo>
                    <a:lnTo>
                      <a:pt x="1164" y="1248"/>
                    </a:lnTo>
                    <a:lnTo>
                      <a:pt x="1164" y="1250"/>
                    </a:lnTo>
                    <a:lnTo>
                      <a:pt x="1166" y="1250"/>
                    </a:lnTo>
                    <a:lnTo>
                      <a:pt x="1164" y="1250"/>
                    </a:lnTo>
                    <a:lnTo>
                      <a:pt x="1166" y="1250"/>
                    </a:lnTo>
                    <a:lnTo>
                      <a:pt x="1168" y="1252"/>
                    </a:lnTo>
                    <a:lnTo>
                      <a:pt x="1169" y="1252"/>
                    </a:lnTo>
                    <a:lnTo>
                      <a:pt x="1171" y="1253"/>
                    </a:lnTo>
                    <a:lnTo>
                      <a:pt x="1169" y="1255"/>
                    </a:lnTo>
                    <a:lnTo>
                      <a:pt x="1171" y="1253"/>
                    </a:lnTo>
                    <a:lnTo>
                      <a:pt x="1171" y="1255"/>
                    </a:lnTo>
                    <a:lnTo>
                      <a:pt x="1171" y="1257"/>
                    </a:lnTo>
                    <a:lnTo>
                      <a:pt x="1171" y="1255"/>
                    </a:lnTo>
                    <a:lnTo>
                      <a:pt x="1169" y="1255"/>
                    </a:lnTo>
                    <a:lnTo>
                      <a:pt x="1168" y="1255"/>
                    </a:lnTo>
                    <a:lnTo>
                      <a:pt x="1166" y="1255"/>
                    </a:lnTo>
                    <a:lnTo>
                      <a:pt x="1164" y="1253"/>
                    </a:lnTo>
                    <a:lnTo>
                      <a:pt x="1162" y="1253"/>
                    </a:lnTo>
                    <a:lnTo>
                      <a:pt x="1161" y="1253"/>
                    </a:lnTo>
                    <a:lnTo>
                      <a:pt x="1162" y="1253"/>
                    </a:lnTo>
                    <a:lnTo>
                      <a:pt x="1164" y="1253"/>
                    </a:lnTo>
                    <a:lnTo>
                      <a:pt x="1164" y="1255"/>
                    </a:lnTo>
                    <a:lnTo>
                      <a:pt x="1166" y="1255"/>
                    </a:lnTo>
                    <a:lnTo>
                      <a:pt x="1166" y="1257"/>
                    </a:lnTo>
                    <a:lnTo>
                      <a:pt x="1166" y="1255"/>
                    </a:lnTo>
                    <a:lnTo>
                      <a:pt x="1168" y="1257"/>
                    </a:lnTo>
                    <a:lnTo>
                      <a:pt x="1169" y="1257"/>
                    </a:lnTo>
                    <a:lnTo>
                      <a:pt x="1169" y="1259"/>
                    </a:lnTo>
                    <a:lnTo>
                      <a:pt x="1168" y="1260"/>
                    </a:lnTo>
                    <a:lnTo>
                      <a:pt x="1168" y="1259"/>
                    </a:lnTo>
                    <a:lnTo>
                      <a:pt x="1168" y="1257"/>
                    </a:lnTo>
                    <a:lnTo>
                      <a:pt x="1166" y="1257"/>
                    </a:lnTo>
                    <a:lnTo>
                      <a:pt x="1164" y="1257"/>
                    </a:lnTo>
                    <a:lnTo>
                      <a:pt x="1164" y="1255"/>
                    </a:lnTo>
                    <a:lnTo>
                      <a:pt x="1162" y="1255"/>
                    </a:lnTo>
                    <a:lnTo>
                      <a:pt x="1161" y="1255"/>
                    </a:lnTo>
                    <a:lnTo>
                      <a:pt x="1159" y="1255"/>
                    </a:lnTo>
                    <a:lnTo>
                      <a:pt x="1159" y="1253"/>
                    </a:lnTo>
                    <a:lnTo>
                      <a:pt x="1159" y="1255"/>
                    </a:lnTo>
                    <a:lnTo>
                      <a:pt x="1159" y="1253"/>
                    </a:lnTo>
                    <a:lnTo>
                      <a:pt x="1161" y="1253"/>
                    </a:lnTo>
                    <a:lnTo>
                      <a:pt x="1159" y="1253"/>
                    </a:lnTo>
                    <a:lnTo>
                      <a:pt x="1161" y="1253"/>
                    </a:lnTo>
                    <a:lnTo>
                      <a:pt x="1161" y="1252"/>
                    </a:lnTo>
                    <a:lnTo>
                      <a:pt x="1159" y="1252"/>
                    </a:lnTo>
                    <a:lnTo>
                      <a:pt x="1161" y="1252"/>
                    </a:lnTo>
                    <a:lnTo>
                      <a:pt x="1162" y="1252"/>
                    </a:lnTo>
                    <a:lnTo>
                      <a:pt x="1161" y="1252"/>
                    </a:lnTo>
                    <a:lnTo>
                      <a:pt x="1162" y="1250"/>
                    </a:lnTo>
                    <a:lnTo>
                      <a:pt x="1162" y="1252"/>
                    </a:lnTo>
                    <a:lnTo>
                      <a:pt x="1164" y="1252"/>
                    </a:lnTo>
                    <a:lnTo>
                      <a:pt x="1164" y="1250"/>
                    </a:lnTo>
                    <a:lnTo>
                      <a:pt x="1162" y="1250"/>
                    </a:lnTo>
                    <a:lnTo>
                      <a:pt x="1161" y="1250"/>
                    </a:lnTo>
                    <a:lnTo>
                      <a:pt x="1159" y="1250"/>
                    </a:lnTo>
                    <a:lnTo>
                      <a:pt x="1161" y="1252"/>
                    </a:lnTo>
                    <a:lnTo>
                      <a:pt x="1159" y="1252"/>
                    </a:lnTo>
                    <a:lnTo>
                      <a:pt x="1157" y="1252"/>
                    </a:lnTo>
                    <a:lnTo>
                      <a:pt x="1156" y="1252"/>
                    </a:lnTo>
                    <a:lnTo>
                      <a:pt x="1156" y="1253"/>
                    </a:lnTo>
                    <a:lnTo>
                      <a:pt x="1156" y="1252"/>
                    </a:lnTo>
                    <a:lnTo>
                      <a:pt x="1157" y="1250"/>
                    </a:lnTo>
                    <a:lnTo>
                      <a:pt x="1159" y="1250"/>
                    </a:lnTo>
                    <a:lnTo>
                      <a:pt x="1159" y="1248"/>
                    </a:lnTo>
                    <a:lnTo>
                      <a:pt x="1157" y="1250"/>
                    </a:lnTo>
                    <a:lnTo>
                      <a:pt x="1159" y="1250"/>
                    </a:lnTo>
                    <a:lnTo>
                      <a:pt x="1157" y="1250"/>
                    </a:lnTo>
                    <a:lnTo>
                      <a:pt x="1156" y="1250"/>
                    </a:lnTo>
                    <a:lnTo>
                      <a:pt x="1157" y="1250"/>
                    </a:lnTo>
                    <a:lnTo>
                      <a:pt x="1157" y="1248"/>
                    </a:lnTo>
                    <a:lnTo>
                      <a:pt x="1159" y="1248"/>
                    </a:lnTo>
                    <a:lnTo>
                      <a:pt x="1157" y="1248"/>
                    </a:lnTo>
                    <a:lnTo>
                      <a:pt x="1159" y="1248"/>
                    </a:lnTo>
                    <a:lnTo>
                      <a:pt x="1161" y="1248"/>
                    </a:lnTo>
                    <a:lnTo>
                      <a:pt x="1161" y="1247"/>
                    </a:lnTo>
                    <a:lnTo>
                      <a:pt x="1162" y="1247"/>
                    </a:lnTo>
                    <a:lnTo>
                      <a:pt x="1162" y="1245"/>
                    </a:lnTo>
                    <a:close/>
                    <a:moveTo>
                      <a:pt x="1159" y="1420"/>
                    </a:moveTo>
                    <a:lnTo>
                      <a:pt x="1159" y="1422"/>
                    </a:lnTo>
                    <a:lnTo>
                      <a:pt x="1159" y="1424"/>
                    </a:lnTo>
                    <a:lnTo>
                      <a:pt x="1159" y="1425"/>
                    </a:lnTo>
                    <a:lnTo>
                      <a:pt x="1157" y="1425"/>
                    </a:lnTo>
                    <a:lnTo>
                      <a:pt x="1159" y="1427"/>
                    </a:lnTo>
                    <a:lnTo>
                      <a:pt x="1157" y="1427"/>
                    </a:lnTo>
                    <a:lnTo>
                      <a:pt x="1157" y="1429"/>
                    </a:lnTo>
                    <a:lnTo>
                      <a:pt x="1159" y="1429"/>
                    </a:lnTo>
                    <a:lnTo>
                      <a:pt x="1157" y="1427"/>
                    </a:lnTo>
                    <a:lnTo>
                      <a:pt x="1159" y="1425"/>
                    </a:lnTo>
                    <a:lnTo>
                      <a:pt x="1159" y="1424"/>
                    </a:lnTo>
                    <a:lnTo>
                      <a:pt x="1161" y="1424"/>
                    </a:lnTo>
                    <a:lnTo>
                      <a:pt x="1161" y="1425"/>
                    </a:lnTo>
                    <a:lnTo>
                      <a:pt x="1162" y="1425"/>
                    </a:lnTo>
                    <a:lnTo>
                      <a:pt x="1162" y="1427"/>
                    </a:lnTo>
                    <a:lnTo>
                      <a:pt x="1162" y="1429"/>
                    </a:lnTo>
                    <a:lnTo>
                      <a:pt x="1162" y="1427"/>
                    </a:lnTo>
                    <a:lnTo>
                      <a:pt x="1161" y="1427"/>
                    </a:lnTo>
                    <a:lnTo>
                      <a:pt x="1162" y="1429"/>
                    </a:lnTo>
                    <a:lnTo>
                      <a:pt x="1162" y="1430"/>
                    </a:lnTo>
                    <a:lnTo>
                      <a:pt x="1161" y="1429"/>
                    </a:lnTo>
                    <a:lnTo>
                      <a:pt x="1161" y="1427"/>
                    </a:lnTo>
                    <a:lnTo>
                      <a:pt x="1161" y="1429"/>
                    </a:lnTo>
                    <a:lnTo>
                      <a:pt x="1161" y="1430"/>
                    </a:lnTo>
                    <a:lnTo>
                      <a:pt x="1161" y="1429"/>
                    </a:lnTo>
                    <a:lnTo>
                      <a:pt x="1161" y="1430"/>
                    </a:lnTo>
                    <a:lnTo>
                      <a:pt x="1159" y="1432"/>
                    </a:lnTo>
                    <a:lnTo>
                      <a:pt x="1159" y="1430"/>
                    </a:lnTo>
                    <a:lnTo>
                      <a:pt x="1159" y="1432"/>
                    </a:lnTo>
                    <a:lnTo>
                      <a:pt x="1159" y="1434"/>
                    </a:lnTo>
                    <a:lnTo>
                      <a:pt x="1159" y="1432"/>
                    </a:lnTo>
                    <a:lnTo>
                      <a:pt x="1157" y="1432"/>
                    </a:lnTo>
                    <a:lnTo>
                      <a:pt x="1159" y="1430"/>
                    </a:lnTo>
                    <a:lnTo>
                      <a:pt x="1157" y="1430"/>
                    </a:lnTo>
                    <a:lnTo>
                      <a:pt x="1157" y="1432"/>
                    </a:lnTo>
                    <a:lnTo>
                      <a:pt x="1157" y="1434"/>
                    </a:lnTo>
                    <a:lnTo>
                      <a:pt x="1157" y="1435"/>
                    </a:lnTo>
                    <a:lnTo>
                      <a:pt x="1157" y="1437"/>
                    </a:lnTo>
                    <a:lnTo>
                      <a:pt x="1157" y="1439"/>
                    </a:lnTo>
                    <a:lnTo>
                      <a:pt x="1157" y="1441"/>
                    </a:lnTo>
                    <a:lnTo>
                      <a:pt x="1156" y="1439"/>
                    </a:lnTo>
                    <a:lnTo>
                      <a:pt x="1156" y="1437"/>
                    </a:lnTo>
                    <a:lnTo>
                      <a:pt x="1156" y="1439"/>
                    </a:lnTo>
                    <a:lnTo>
                      <a:pt x="1156" y="1441"/>
                    </a:lnTo>
                    <a:lnTo>
                      <a:pt x="1156" y="1442"/>
                    </a:lnTo>
                    <a:lnTo>
                      <a:pt x="1154" y="1441"/>
                    </a:lnTo>
                    <a:lnTo>
                      <a:pt x="1152" y="1442"/>
                    </a:lnTo>
                    <a:lnTo>
                      <a:pt x="1152" y="1441"/>
                    </a:lnTo>
                    <a:lnTo>
                      <a:pt x="1151" y="1441"/>
                    </a:lnTo>
                    <a:lnTo>
                      <a:pt x="1151" y="1439"/>
                    </a:lnTo>
                    <a:lnTo>
                      <a:pt x="1152" y="1439"/>
                    </a:lnTo>
                    <a:lnTo>
                      <a:pt x="1152" y="1437"/>
                    </a:lnTo>
                    <a:lnTo>
                      <a:pt x="1151" y="1437"/>
                    </a:lnTo>
                    <a:lnTo>
                      <a:pt x="1152" y="1435"/>
                    </a:lnTo>
                    <a:lnTo>
                      <a:pt x="1152" y="1437"/>
                    </a:lnTo>
                    <a:lnTo>
                      <a:pt x="1152" y="1435"/>
                    </a:lnTo>
                    <a:lnTo>
                      <a:pt x="1154" y="1435"/>
                    </a:lnTo>
                    <a:lnTo>
                      <a:pt x="1154" y="1434"/>
                    </a:lnTo>
                    <a:lnTo>
                      <a:pt x="1154" y="1435"/>
                    </a:lnTo>
                    <a:lnTo>
                      <a:pt x="1156" y="1434"/>
                    </a:lnTo>
                    <a:lnTo>
                      <a:pt x="1156" y="1432"/>
                    </a:lnTo>
                    <a:lnTo>
                      <a:pt x="1154" y="1432"/>
                    </a:lnTo>
                    <a:lnTo>
                      <a:pt x="1156" y="1430"/>
                    </a:lnTo>
                    <a:lnTo>
                      <a:pt x="1156" y="1429"/>
                    </a:lnTo>
                    <a:lnTo>
                      <a:pt x="1157" y="1429"/>
                    </a:lnTo>
                    <a:lnTo>
                      <a:pt x="1157" y="1427"/>
                    </a:lnTo>
                    <a:lnTo>
                      <a:pt x="1156" y="1427"/>
                    </a:lnTo>
                    <a:lnTo>
                      <a:pt x="1156" y="1425"/>
                    </a:lnTo>
                    <a:lnTo>
                      <a:pt x="1156" y="1424"/>
                    </a:lnTo>
                    <a:lnTo>
                      <a:pt x="1157" y="1424"/>
                    </a:lnTo>
                    <a:lnTo>
                      <a:pt x="1157" y="1422"/>
                    </a:lnTo>
                    <a:lnTo>
                      <a:pt x="1159" y="1420"/>
                    </a:lnTo>
                    <a:close/>
                    <a:moveTo>
                      <a:pt x="1154" y="1303"/>
                    </a:moveTo>
                    <a:lnTo>
                      <a:pt x="1152" y="1303"/>
                    </a:lnTo>
                    <a:lnTo>
                      <a:pt x="1151" y="1303"/>
                    </a:lnTo>
                    <a:lnTo>
                      <a:pt x="1152" y="1305"/>
                    </a:lnTo>
                    <a:lnTo>
                      <a:pt x="1152" y="1303"/>
                    </a:lnTo>
                    <a:lnTo>
                      <a:pt x="1154" y="1303"/>
                    </a:lnTo>
                    <a:lnTo>
                      <a:pt x="1154" y="1305"/>
                    </a:lnTo>
                    <a:lnTo>
                      <a:pt x="1154" y="1306"/>
                    </a:lnTo>
                    <a:lnTo>
                      <a:pt x="1154" y="1308"/>
                    </a:lnTo>
                    <a:lnTo>
                      <a:pt x="1152" y="1308"/>
                    </a:lnTo>
                    <a:lnTo>
                      <a:pt x="1152" y="1310"/>
                    </a:lnTo>
                    <a:lnTo>
                      <a:pt x="1152" y="1308"/>
                    </a:lnTo>
                    <a:lnTo>
                      <a:pt x="1151" y="1308"/>
                    </a:lnTo>
                    <a:lnTo>
                      <a:pt x="1151" y="1310"/>
                    </a:lnTo>
                    <a:lnTo>
                      <a:pt x="1151" y="1311"/>
                    </a:lnTo>
                    <a:lnTo>
                      <a:pt x="1149" y="1311"/>
                    </a:lnTo>
                    <a:lnTo>
                      <a:pt x="1151" y="1310"/>
                    </a:lnTo>
                    <a:lnTo>
                      <a:pt x="1149" y="1310"/>
                    </a:lnTo>
                    <a:lnTo>
                      <a:pt x="1151" y="1308"/>
                    </a:lnTo>
                    <a:lnTo>
                      <a:pt x="1149" y="1310"/>
                    </a:lnTo>
                    <a:lnTo>
                      <a:pt x="1149" y="1311"/>
                    </a:lnTo>
                    <a:lnTo>
                      <a:pt x="1149" y="1310"/>
                    </a:lnTo>
                    <a:lnTo>
                      <a:pt x="1149" y="1311"/>
                    </a:lnTo>
                    <a:lnTo>
                      <a:pt x="1147" y="1310"/>
                    </a:lnTo>
                    <a:lnTo>
                      <a:pt x="1149" y="1311"/>
                    </a:lnTo>
                    <a:lnTo>
                      <a:pt x="1147" y="1311"/>
                    </a:lnTo>
                    <a:lnTo>
                      <a:pt x="1147" y="1313"/>
                    </a:lnTo>
                    <a:lnTo>
                      <a:pt x="1149" y="1313"/>
                    </a:lnTo>
                    <a:lnTo>
                      <a:pt x="1147" y="1315"/>
                    </a:lnTo>
                    <a:lnTo>
                      <a:pt x="1145" y="1315"/>
                    </a:lnTo>
                    <a:lnTo>
                      <a:pt x="1144" y="1315"/>
                    </a:lnTo>
                    <a:lnTo>
                      <a:pt x="1144" y="1313"/>
                    </a:lnTo>
                    <a:lnTo>
                      <a:pt x="1142" y="1315"/>
                    </a:lnTo>
                    <a:lnTo>
                      <a:pt x="1142" y="1313"/>
                    </a:lnTo>
                    <a:lnTo>
                      <a:pt x="1142" y="1311"/>
                    </a:lnTo>
                    <a:lnTo>
                      <a:pt x="1142" y="1313"/>
                    </a:lnTo>
                    <a:lnTo>
                      <a:pt x="1144" y="1313"/>
                    </a:lnTo>
                    <a:lnTo>
                      <a:pt x="1142" y="1311"/>
                    </a:lnTo>
                    <a:lnTo>
                      <a:pt x="1144" y="1311"/>
                    </a:lnTo>
                    <a:lnTo>
                      <a:pt x="1142" y="1311"/>
                    </a:lnTo>
                    <a:lnTo>
                      <a:pt x="1142" y="1310"/>
                    </a:lnTo>
                    <a:lnTo>
                      <a:pt x="1144" y="1308"/>
                    </a:lnTo>
                    <a:lnTo>
                      <a:pt x="1145" y="1306"/>
                    </a:lnTo>
                    <a:lnTo>
                      <a:pt x="1145" y="1308"/>
                    </a:lnTo>
                    <a:lnTo>
                      <a:pt x="1144" y="1310"/>
                    </a:lnTo>
                    <a:lnTo>
                      <a:pt x="1144" y="1311"/>
                    </a:lnTo>
                    <a:lnTo>
                      <a:pt x="1144" y="1310"/>
                    </a:lnTo>
                    <a:lnTo>
                      <a:pt x="1145" y="1310"/>
                    </a:lnTo>
                    <a:lnTo>
                      <a:pt x="1145" y="1308"/>
                    </a:lnTo>
                    <a:lnTo>
                      <a:pt x="1147" y="1308"/>
                    </a:lnTo>
                    <a:lnTo>
                      <a:pt x="1145" y="1308"/>
                    </a:lnTo>
                    <a:lnTo>
                      <a:pt x="1145" y="1306"/>
                    </a:lnTo>
                    <a:lnTo>
                      <a:pt x="1147" y="1306"/>
                    </a:lnTo>
                    <a:lnTo>
                      <a:pt x="1149" y="1305"/>
                    </a:lnTo>
                    <a:lnTo>
                      <a:pt x="1149" y="1306"/>
                    </a:lnTo>
                    <a:lnTo>
                      <a:pt x="1149" y="1305"/>
                    </a:lnTo>
                    <a:lnTo>
                      <a:pt x="1151" y="1305"/>
                    </a:lnTo>
                    <a:lnTo>
                      <a:pt x="1149" y="1305"/>
                    </a:lnTo>
                    <a:lnTo>
                      <a:pt x="1149" y="1303"/>
                    </a:lnTo>
                    <a:lnTo>
                      <a:pt x="1151" y="1301"/>
                    </a:lnTo>
                    <a:lnTo>
                      <a:pt x="1151" y="1299"/>
                    </a:lnTo>
                    <a:lnTo>
                      <a:pt x="1152" y="1299"/>
                    </a:lnTo>
                    <a:lnTo>
                      <a:pt x="1152" y="1301"/>
                    </a:lnTo>
                    <a:lnTo>
                      <a:pt x="1154" y="1301"/>
                    </a:lnTo>
                    <a:lnTo>
                      <a:pt x="1154" y="1303"/>
                    </a:lnTo>
                    <a:close/>
                    <a:moveTo>
                      <a:pt x="1212" y="1539"/>
                    </a:moveTo>
                    <a:lnTo>
                      <a:pt x="1212" y="1541"/>
                    </a:lnTo>
                    <a:lnTo>
                      <a:pt x="1213" y="1541"/>
                    </a:lnTo>
                    <a:lnTo>
                      <a:pt x="1213" y="1539"/>
                    </a:lnTo>
                    <a:lnTo>
                      <a:pt x="1215" y="1539"/>
                    </a:lnTo>
                    <a:lnTo>
                      <a:pt x="1217" y="1539"/>
                    </a:lnTo>
                    <a:lnTo>
                      <a:pt x="1217" y="1541"/>
                    </a:lnTo>
                    <a:lnTo>
                      <a:pt x="1219" y="1543"/>
                    </a:lnTo>
                    <a:lnTo>
                      <a:pt x="1217" y="1543"/>
                    </a:lnTo>
                    <a:lnTo>
                      <a:pt x="1217" y="1541"/>
                    </a:lnTo>
                    <a:lnTo>
                      <a:pt x="1217" y="1543"/>
                    </a:lnTo>
                    <a:lnTo>
                      <a:pt x="1215" y="1543"/>
                    </a:lnTo>
                    <a:lnTo>
                      <a:pt x="1215" y="1544"/>
                    </a:lnTo>
                    <a:lnTo>
                      <a:pt x="1213" y="1544"/>
                    </a:lnTo>
                    <a:lnTo>
                      <a:pt x="1213" y="1546"/>
                    </a:lnTo>
                    <a:lnTo>
                      <a:pt x="1215" y="1546"/>
                    </a:lnTo>
                    <a:lnTo>
                      <a:pt x="1213" y="1544"/>
                    </a:lnTo>
                    <a:lnTo>
                      <a:pt x="1215" y="1544"/>
                    </a:lnTo>
                    <a:lnTo>
                      <a:pt x="1217" y="1546"/>
                    </a:lnTo>
                    <a:lnTo>
                      <a:pt x="1217" y="1548"/>
                    </a:lnTo>
                    <a:lnTo>
                      <a:pt x="1219" y="1548"/>
                    </a:lnTo>
                    <a:lnTo>
                      <a:pt x="1217" y="1548"/>
                    </a:lnTo>
                    <a:lnTo>
                      <a:pt x="1219" y="1549"/>
                    </a:lnTo>
                    <a:lnTo>
                      <a:pt x="1217" y="1548"/>
                    </a:lnTo>
                    <a:lnTo>
                      <a:pt x="1217" y="1549"/>
                    </a:lnTo>
                    <a:lnTo>
                      <a:pt x="1219" y="1549"/>
                    </a:lnTo>
                    <a:lnTo>
                      <a:pt x="1219" y="1551"/>
                    </a:lnTo>
                    <a:lnTo>
                      <a:pt x="1217" y="1551"/>
                    </a:lnTo>
                    <a:lnTo>
                      <a:pt x="1215" y="1549"/>
                    </a:lnTo>
                    <a:lnTo>
                      <a:pt x="1215" y="1551"/>
                    </a:lnTo>
                    <a:lnTo>
                      <a:pt x="1213" y="1551"/>
                    </a:lnTo>
                    <a:lnTo>
                      <a:pt x="1213" y="1549"/>
                    </a:lnTo>
                    <a:lnTo>
                      <a:pt x="1212" y="1548"/>
                    </a:lnTo>
                    <a:lnTo>
                      <a:pt x="1213" y="1549"/>
                    </a:lnTo>
                    <a:lnTo>
                      <a:pt x="1212" y="1549"/>
                    </a:lnTo>
                    <a:lnTo>
                      <a:pt x="1213" y="1551"/>
                    </a:lnTo>
                    <a:lnTo>
                      <a:pt x="1212" y="1551"/>
                    </a:lnTo>
                    <a:lnTo>
                      <a:pt x="1210" y="1551"/>
                    </a:lnTo>
                    <a:lnTo>
                      <a:pt x="1212" y="1549"/>
                    </a:lnTo>
                    <a:lnTo>
                      <a:pt x="1210" y="1549"/>
                    </a:lnTo>
                    <a:lnTo>
                      <a:pt x="1212" y="1549"/>
                    </a:lnTo>
                    <a:lnTo>
                      <a:pt x="1210" y="1549"/>
                    </a:lnTo>
                    <a:lnTo>
                      <a:pt x="1208" y="1548"/>
                    </a:lnTo>
                    <a:lnTo>
                      <a:pt x="1208" y="1549"/>
                    </a:lnTo>
                    <a:lnTo>
                      <a:pt x="1210" y="1549"/>
                    </a:lnTo>
                    <a:lnTo>
                      <a:pt x="1208" y="1549"/>
                    </a:lnTo>
                    <a:lnTo>
                      <a:pt x="1207" y="1548"/>
                    </a:lnTo>
                    <a:lnTo>
                      <a:pt x="1208" y="1546"/>
                    </a:lnTo>
                    <a:lnTo>
                      <a:pt x="1207" y="1546"/>
                    </a:lnTo>
                    <a:lnTo>
                      <a:pt x="1205" y="1548"/>
                    </a:lnTo>
                    <a:lnTo>
                      <a:pt x="1205" y="1546"/>
                    </a:lnTo>
                    <a:lnTo>
                      <a:pt x="1205" y="1544"/>
                    </a:lnTo>
                    <a:lnTo>
                      <a:pt x="1203" y="1544"/>
                    </a:lnTo>
                    <a:lnTo>
                      <a:pt x="1205" y="1544"/>
                    </a:lnTo>
                    <a:lnTo>
                      <a:pt x="1203" y="1544"/>
                    </a:lnTo>
                    <a:lnTo>
                      <a:pt x="1203" y="1543"/>
                    </a:lnTo>
                    <a:lnTo>
                      <a:pt x="1203" y="1541"/>
                    </a:lnTo>
                    <a:lnTo>
                      <a:pt x="1205" y="1543"/>
                    </a:lnTo>
                    <a:lnTo>
                      <a:pt x="1207" y="1544"/>
                    </a:lnTo>
                    <a:lnTo>
                      <a:pt x="1207" y="1546"/>
                    </a:lnTo>
                    <a:lnTo>
                      <a:pt x="1207" y="1544"/>
                    </a:lnTo>
                    <a:lnTo>
                      <a:pt x="1207" y="1546"/>
                    </a:lnTo>
                    <a:lnTo>
                      <a:pt x="1208" y="1546"/>
                    </a:lnTo>
                    <a:lnTo>
                      <a:pt x="1208" y="1544"/>
                    </a:lnTo>
                    <a:lnTo>
                      <a:pt x="1208" y="1546"/>
                    </a:lnTo>
                    <a:lnTo>
                      <a:pt x="1210" y="1546"/>
                    </a:lnTo>
                    <a:lnTo>
                      <a:pt x="1212" y="1546"/>
                    </a:lnTo>
                    <a:lnTo>
                      <a:pt x="1210" y="1548"/>
                    </a:lnTo>
                    <a:lnTo>
                      <a:pt x="1212" y="1548"/>
                    </a:lnTo>
                    <a:lnTo>
                      <a:pt x="1213" y="1548"/>
                    </a:lnTo>
                    <a:lnTo>
                      <a:pt x="1213" y="1549"/>
                    </a:lnTo>
                    <a:lnTo>
                      <a:pt x="1215" y="1549"/>
                    </a:lnTo>
                    <a:lnTo>
                      <a:pt x="1213" y="1548"/>
                    </a:lnTo>
                    <a:lnTo>
                      <a:pt x="1212" y="1548"/>
                    </a:lnTo>
                    <a:lnTo>
                      <a:pt x="1212" y="1546"/>
                    </a:lnTo>
                    <a:lnTo>
                      <a:pt x="1210" y="1546"/>
                    </a:lnTo>
                    <a:lnTo>
                      <a:pt x="1210" y="1544"/>
                    </a:lnTo>
                    <a:lnTo>
                      <a:pt x="1208" y="1544"/>
                    </a:lnTo>
                    <a:lnTo>
                      <a:pt x="1208" y="1543"/>
                    </a:lnTo>
                    <a:lnTo>
                      <a:pt x="1210" y="1544"/>
                    </a:lnTo>
                    <a:lnTo>
                      <a:pt x="1210" y="1543"/>
                    </a:lnTo>
                    <a:lnTo>
                      <a:pt x="1212" y="1544"/>
                    </a:lnTo>
                    <a:lnTo>
                      <a:pt x="1213" y="1544"/>
                    </a:lnTo>
                    <a:lnTo>
                      <a:pt x="1212" y="1543"/>
                    </a:lnTo>
                    <a:lnTo>
                      <a:pt x="1213" y="1543"/>
                    </a:lnTo>
                    <a:lnTo>
                      <a:pt x="1212" y="1543"/>
                    </a:lnTo>
                    <a:lnTo>
                      <a:pt x="1210" y="1543"/>
                    </a:lnTo>
                    <a:lnTo>
                      <a:pt x="1210" y="1541"/>
                    </a:lnTo>
                    <a:lnTo>
                      <a:pt x="1210" y="1539"/>
                    </a:lnTo>
                    <a:lnTo>
                      <a:pt x="1212" y="1539"/>
                    </a:lnTo>
                    <a:close/>
                    <a:moveTo>
                      <a:pt x="1191" y="1097"/>
                    </a:moveTo>
                    <a:lnTo>
                      <a:pt x="1193" y="1099"/>
                    </a:lnTo>
                    <a:lnTo>
                      <a:pt x="1195" y="1099"/>
                    </a:lnTo>
                    <a:lnTo>
                      <a:pt x="1196" y="1099"/>
                    </a:lnTo>
                    <a:lnTo>
                      <a:pt x="1198" y="1099"/>
                    </a:lnTo>
                    <a:lnTo>
                      <a:pt x="1198" y="1100"/>
                    </a:lnTo>
                    <a:lnTo>
                      <a:pt x="1200" y="1102"/>
                    </a:lnTo>
                    <a:lnTo>
                      <a:pt x="1200" y="1104"/>
                    </a:lnTo>
                    <a:lnTo>
                      <a:pt x="1198" y="1104"/>
                    </a:lnTo>
                    <a:lnTo>
                      <a:pt x="1196" y="1104"/>
                    </a:lnTo>
                    <a:lnTo>
                      <a:pt x="1195" y="1104"/>
                    </a:lnTo>
                    <a:lnTo>
                      <a:pt x="1195" y="1102"/>
                    </a:lnTo>
                    <a:lnTo>
                      <a:pt x="1195" y="1104"/>
                    </a:lnTo>
                    <a:lnTo>
                      <a:pt x="1193" y="1102"/>
                    </a:lnTo>
                    <a:lnTo>
                      <a:pt x="1195" y="1102"/>
                    </a:lnTo>
                    <a:lnTo>
                      <a:pt x="1195" y="1104"/>
                    </a:lnTo>
                    <a:lnTo>
                      <a:pt x="1195" y="1105"/>
                    </a:lnTo>
                    <a:lnTo>
                      <a:pt x="1193" y="1104"/>
                    </a:lnTo>
                    <a:lnTo>
                      <a:pt x="1193" y="1105"/>
                    </a:lnTo>
                    <a:lnTo>
                      <a:pt x="1191" y="1105"/>
                    </a:lnTo>
                    <a:lnTo>
                      <a:pt x="1191" y="1104"/>
                    </a:lnTo>
                    <a:lnTo>
                      <a:pt x="1190" y="1104"/>
                    </a:lnTo>
                    <a:lnTo>
                      <a:pt x="1190" y="1105"/>
                    </a:lnTo>
                    <a:lnTo>
                      <a:pt x="1188" y="1105"/>
                    </a:lnTo>
                    <a:lnTo>
                      <a:pt x="1186" y="1105"/>
                    </a:lnTo>
                    <a:lnTo>
                      <a:pt x="1185" y="1105"/>
                    </a:lnTo>
                    <a:lnTo>
                      <a:pt x="1185" y="1104"/>
                    </a:lnTo>
                    <a:lnTo>
                      <a:pt x="1183" y="1104"/>
                    </a:lnTo>
                    <a:lnTo>
                      <a:pt x="1185" y="1104"/>
                    </a:lnTo>
                    <a:lnTo>
                      <a:pt x="1186" y="1102"/>
                    </a:lnTo>
                    <a:lnTo>
                      <a:pt x="1188" y="1100"/>
                    </a:lnTo>
                    <a:lnTo>
                      <a:pt x="1188" y="1099"/>
                    </a:lnTo>
                    <a:lnTo>
                      <a:pt x="1190" y="1099"/>
                    </a:lnTo>
                    <a:lnTo>
                      <a:pt x="1191" y="1097"/>
                    </a:lnTo>
                    <a:close/>
                    <a:moveTo>
                      <a:pt x="1174" y="1449"/>
                    </a:moveTo>
                    <a:lnTo>
                      <a:pt x="1174" y="1451"/>
                    </a:lnTo>
                    <a:lnTo>
                      <a:pt x="1174" y="1453"/>
                    </a:lnTo>
                    <a:lnTo>
                      <a:pt x="1176" y="1453"/>
                    </a:lnTo>
                    <a:lnTo>
                      <a:pt x="1174" y="1453"/>
                    </a:lnTo>
                    <a:lnTo>
                      <a:pt x="1174" y="1454"/>
                    </a:lnTo>
                    <a:lnTo>
                      <a:pt x="1173" y="1454"/>
                    </a:lnTo>
                    <a:lnTo>
                      <a:pt x="1173" y="1456"/>
                    </a:lnTo>
                    <a:lnTo>
                      <a:pt x="1174" y="1456"/>
                    </a:lnTo>
                    <a:lnTo>
                      <a:pt x="1174" y="1454"/>
                    </a:lnTo>
                    <a:lnTo>
                      <a:pt x="1176" y="1454"/>
                    </a:lnTo>
                    <a:lnTo>
                      <a:pt x="1176" y="1453"/>
                    </a:lnTo>
                    <a:lnTo>
                      <a:pt x="1176" y="1454"/>
                    </a:lnTo>
                    <a:lnTo>
                      <a:pt x="1176" y="1456"/>
                    </a:lnTo>
                    <a:lnTo>
                      <a:pt x="1176" y="1454"/>
                    </a:lnTo>
                    <a:lnTo>
                      <a:pt x="1176" y="1453"/>
                    </a:lnTo>
                    <a:lnTo>
                      <a:pt x="1176" y="1454"/>
                    </a:lnTo>
                    <a:lnTo>
                      <a:pt x="1176" y="1456"/>
                    </a:lnTo>
                    <a:lnTo>
                      <a:pt x="1176" y="1458"/>
                    </a:lnTo>
                    <a:lnTo>
                      <a:pt x="1174" y="1458"/>
                    </a:lnTo>
                    <a:lnTo>
                      <a:pt x="1173" y="1458"/>
                    </a:lnTo>
                    <a:lnTo>
                      <a:pt x="1174" y="1459"/>
                    </a:lnTo>
                    <a:lnTo>
                      <a:pt x="1173" y="1461"/>
                    </a:lnTo>
                    <a:lnTo>
                      <a:pt x="1173" y="1463"/>
                    </a:lnTo>
                    <a:lnTo>
                      <a:pt x="1173" y="1461"/>
                    </a:lnTo>
                    <a:lnTo>
                      <a:pt x="1173" y="1463"/>
                    </a:lnTo>
                    <a:lnTo>
                      <a:pt x="1173" y="1461"/>
                    </a:lnTo>
                    <a:lnTo>
                      <a:pt x="1174" y="1461"/>
                    </a:lnTo>
                    <a:lnTo>
                      <a:pt x="1174" y="1463"/>
                    </a:lnTo>
                    <a:lnTo>
                      <a:pt x="1173" y="1463"/>
                    </a:lnTo>
                    <a:lnTo>
                      <a:pt x="1173" y="1464"/>
                    </a:lnTo>
                    <a:lnTo>
                      <a:pt x="1173" y="1466"/>
                    </a:lnTo>
                    <a:lnTo>
                      <a:pt x="1173" y="1464"/>
                    </a:lnTo>
                    <a:lnTo>
                      <a:pt x="1171" y="1466"/>
                    </a:lnTo>
                    <a:lnTo>
                      <a:pt x="1173" y="1466"/>
                    </a:lnTo>
                    <a:lnTo>
                      <a:pt x="1171" y="1466"/>
                    </a:lnTo>
                    <a:lnTo>
                      <a:pt x="1171" y="1468"/>
                    </a:lnTo>
                    <a:lnTo>
                      <a:pt x="1169" y="1468"/>
                    </a:lnTo>
                    <a:lnTo>
                      <a:pt x="1169" y="1470"/>
                    </a:lnTo>
                    <a:lnTo>
                      <a:pt x="1169" y="1471"/>
                    </a:lnTo>
                    <a:lnTo>
                      <a:pt x="1168" y="1471"/>
                    </a:lnTo>
                    <a:lnTo>
                      <a:pt x="1168" y="1470"/>
                    </a:lnTo>
                    <a:lnTo>
                      <a:pt x="1166" y="1470"/>
                    </a:lnTo>
                    <a:lnTo>
                      <a:pt x="1168" y="1468"/>
                    </a:lnTo>
                    <a:lnTo>
                      <a:pt x="1168" y="1466"/>
                    </a:lnTo>
                    <a:lnTo>
                      <a:pt x="1169" y="1466"/>
                    </a:lnTo>
                    <a:lnTo>
                      <a:pt x="1169" y="1464"/>
                    </a:lnTo>
                    <a:lnTo>
                      <a:pt x="1171" y="1464"/>
                    </a:lnTo>
                    <a:lnTo>
                      <a:pt x="1169" y="1464"/>
                    </a:lnTo>
                    <a:lnTo>
                      <a:pt x="1169" y="1463"/>
                    </a:lnTo>
                    <a:lnTo>
                      <a:pt x="1169" y="1464"/>
                    </a:lnTo>
                    <a:lnTo>
                      <a:pt x="1168" y="1464"/>
                    </a:lnTo>
                    <a:lnTo>
                      <a:pt x="1169" y="1464"/>
                    </a:lnTo>
                    <a:lnTo>
                      <a:pt x="1168" y="1464"/>
                    </a:lnTo>
                    <a:lnTo>
                      <a:pt x="1169" y="1463"/>
                    </a:lnTo>
                    <a:lnTo>
                      <a:pt x="1169" y="1461"/>
                    </a:lnTo>
                    <a:lnTo>
                      <a:pt x="1171" y="1459"/>
                    </a:lnTo>
                    <a:lnTo>
                      <a:pt x="1169" y="1461"/>
                    </a:lnTo>
                    <a:lnTo>
                      <a:pt x="1169" y="1459"/>
                    </a:lnTo>
                    <a:lnTo>
                      <a:pt x="1169" y="1458"/>
                    </a:lnTo>
                    <a:lnTo>
                      <a:pt x="1171" y="1458"/>
                    </a:lnTo>
                    <a:lnTo>
                      <a:pt x="1171" y="1456"/>
                    </a:lnTo>
                    <a:lnTo>
                      <a:pt x="1171" y="1454"/>
                    </a:lnTo>
                    <a:lnTo>
                      <a:pt x="1171" y="1453"/>
                    </a:lnTo>
                    <a:lnTo>
                      <a:pt x="1173" y="1454"/>
                    </a:lnTo>
                    <a:lnTo>
                      <a:pt x="1173" y="1453"/>
                    </a:lnTo>
                    <a:lnTo>
                      <a:pt x="1173" y="1454"/>
                    </a:lnTo>
                    <a:lnTo>
                      <a:pt x="1173" y="1453"/>
                    </a:lnTo>
                    <a:lnTo>
                      <a:pt x="1173" y="1454"/>
                    </a:lnTo>
                    <a:lnTo>
                      <a:pt x="1173" y="1453"/>
                    </a:lnTo>
                    <a:lnTo>
                      <a:pt x="1171" y="1453"/>
                    </a:lnTo>
                    <a:lnTo>
                      <a:pt x="1173" y="1451"/>
                    </a:lnTo>
                    <a:lnTo>
                      <a:pt x="1174" y="1449"/>
                    </a:lnTo>
                    <a:close/>
                    <a:moveTo>
                      <a:pt x="1186" y="1075"/>
                    </a:moveTo>
                    <a:lnTo>
                      <a:pt x="1188" y="1075"/>
                    </a:lnTo>
                    <a:lnTo>
                      <a:pt x="1188" y="1077"/>
                    </a:lnTo>
                    <a:lnTo>
                      <a:pt x="1190" y="1078"/>
                    </a:lnTo>
                    <a:lnTo>
                      <a:pt x="1190" y="1080"/>
                    </a:lnTo>
                    <a:lnTo>
                      <a:pt x="1188" y="1080"/>
                    </a:lnTo>
                    <a:lnTo>
                      <a:pt x="1186" y="1080"/>
                    </a:lnTo>
                    <a:lnTo>
                      <a:pt x="1185" y="1080"/>
                    </a:lnTo>
                    <a:lnTo>
                      <a:pt x="1186" y="1080"/>
                    </a:lnTo>
                    <a:lnTo>
                      <a:pt x="1188" y="1080"/>
                    </a:lnTo>
                    <a:lnTo>
                      <a:pt x="1190" y="1080"/>
                    </a:lnTo>
                    <a:lnTo>
                      <a:pt x="1190" y="1078"/>
                    </a:lnTo>
                    <a:lnTo>
                      <a:pt x="1191" y="1080"/>
                    </a:lnTo>
                    <a:lnTo>
                      <a:pt x="1191" y="1082"/>
                    </a:lnTo>
                    <a:lnTo>
                      <a:pt x="1191" y="1080"/>
                    </a:lnTo>
                    <a:lnTo>
                      <a:pt x="1191" y="1082"/>
                    </a:lnTo>
                    <a:lnTo>
                      <a:pt x="1193" y="1083"/>
                    </a:lnTo>
                    <a:lnTo>
                      <a:pt x="1191" y="1083"/>
                    </a:lnTo>
                    <a:lnTo>
                      <a:pt x="1190" y="1083"/>
                    </a:lnTo>
                    <a:lnTo>
                      <a:pt x="1188" y="1083"/>
                    </a:lnTo>
                    <a:lnTo>
                      <a:pt x="1186" y="1083"/>
                    </a:lnTo>
                    <a:lnTo>
                      <a:pt x="1185" y="1083"/>
                    </a:lnTo>
                    <a:lnTo>
                      <a:pt x="1185" y="1082"/>
                    </a:lnTo>
                    <a:lnTo>
                      <a:pt x="1185" y="1080"/>
                    </a:lnTo>
                    <a:lnTo>
                      <a:pt x="1183" y="1080"/>
                    </a:lnTo>
                    <a:lnTo>
                      <a:pt x="1181" y="1080"/>
                    </a:lnTo>
                    <a:lnTo>
                      <a:pt x="1183" y="1080"/>
                    </a:lnTo>
                    <a:lnTo>
                      <a:pt x="1183" y="1082"/>
                    </a:lnTo>
                    <a:lnTo>
                      <a:pt x="1185" y="1083"/>
                    </a:lnTo>
                    <a:lnTo>
                      <a:pt x="1183" y="1083"/>
                    </a:lnTo>
                    <a:lnTo>
                      <a:pt x="1183" y="1082"/>
                    </a:lnTo>
                    <a:lnTo>
                      <a:pt x="1183" y="1083"/>
                    </a:lnTo>
                    <a:lnTo>
                      <a:pt x="1183" y="1082"/>
                    </a:lnTo>
                    <a:lnTo>
                      <a:pt x="1183" y="1083"/>
                    </a:lnTo>
                    <a:lnTo>
                      <a:pt x="1183" y="1082"/>
                    </a:lnTo>
                    <a:lnTo>
                      <a:pt x="1181" y="1082"/>
                    </a:lnTo>
                    <a:lnTo>
                      <a:pt x="1179" y="1082"/>
                    </a:lnTo>
                    <a:lnTo>
                      <a:pt x="1178" y="1080"/>
                    </a:lnTo>
                    <a:lnTo>
                      <a:pt x="1178" y="1078"/>
                    </a:lnTo>
                    <a:lnTo>
                      <a:pt x="1179" y="1077"/>
                    </a:lnTo>
                    <a:lnTo>
                      <a:pt x="1181" y="1077"/>
                    </a:lnTo>
                    <a:lnTo>
                      <a:pt x="1183" y="1077"/>
                    </a:lnTo>
                    <a:lnTo>
                      <a:pt x="1183" y="1078"/>
                    </a:lnTo>
                    <a:lnTo>
                      <a:pt x="1185" y="1077"/>
                    </a:lnTo>
                    <a:lnTo>
                      <a:pt x="1186" y="1075"/>
                    </a:lnTo>
                    <a:close/>
                    <a:moveTo>
                      <a:pt x="1169" y="1390"/>
                    </a:moveTo>
                    <a:lnTo>
                      <a:pt x="1169" y="1391"/>
                    </a:lnTo>
                    <a:lnTo>
                      <a:pt x="1171" y="1390"/>
                    </a:lnTo>
                    <a:lnTo>
                      <a:pt x="1171" y="1391"/>
                    </a:lnTo>
                    <a:lnTo>
                      <a:pt x="1173" y="1391"/>
                    </a:lnTo>
                    <a:lnTo>
                      <a:pt x="1171" y="1393"/>
                    </a:lnTo>
                    <a:lnTo>
                      <a:pt x="1171" y="1391"/>
                    </a:lnTo>
                    <a:lnTo>
                      <a:pt x="1171" y="1393"/>
                    </a:lnTo>
                    <a:lnTo>
                      <a:pt x="1171" y="1395"/>
                    </a:lnTo>
                    <a:lnTo>
                      <a:pt x="1169" y="1393"/>
                    </a:lnTo>
                    <a:lnTo>
                      <a:pt x="1169" y="1395"/>
                    </a:lnTo>
                    <a:lnTo>
                      <a:pt x="1171" y="1395"/>
                    </a:lnTo>
                    <a:lnTo>
                      <a:pt x="1169" y="1395"/>
                    </a:lnTo>
                    <a:lnTo>
                      <a:pt x="1171" y="1396"/>
                    </a:lnTo>
                    <a:lnTo>
                      <a:pt x="1171" y="1395"/>
                    </a:lnTo>
                    <a:lnTo>
                      <a:pt x="1173" y="1396"/>
                    </a:lnTo>
                    <a:lnTo>
                      <a:pt x="1173" y="1398"/>
                    </a:lnTo>
                    <a:lnTo>
                      <a:pt x="1171" y="1398"/>
                    </a:lnTo>
                    <a:lnTo>
                      <a:pt x="1169" y="1398"/>
                    </a:lnTo>
                    <a:lnTo>
                      <a:pt x="1171" y="1398"/>
                    </a:lnTo>
                    <a:lnTo>
                      <a:pt x="1173" y="1398"/>
                    </a:lnTo>
                    <a:lnTo>
                      <a:pt x="1171" y="1400"/>
                    </a:lnTo>
                    <a:lnTo>
                      <a:pt x="1173" y="1400"/>
                    </a:lnTo>
                    <a:lnTo>
                      <a:pt x="1173" y="1401"/>
                    </a:lnTo>
                    <a:lnTo>
                      <a:pt x="1173" y="1400"/>
                    </a:lnTo>
                    <a:lnTo>
                      <a:pt x="1173" y="1398"/>
                    </a:lnTo>
                    <a:lnTo>
                      <a:pt x="1173" y="1396"/>
                    </a:lnTo>
                    <a:lnTo>
                      <a:pt x="1174" y="1398"/>
                    </a:lnTo>
                    <a:lnTo>
                      <a:pt x="1174" y="1400"/>
                    </a:lnTo>
                    <a:lnTo>
                      <a:pt x="1174" y="1401"/>
                    </a:lnTo>
                    <a:lnTo>
                      <a:pt x="1173" y="1401"/>
                    </a:lnTo>
                    <a:lnTo>
                      <a:pt x="1173" y="1403"/>
                    </a:lnTo>
                    <a:lnTo>
                      <a:pt x="1171" y="1403"/>
                    </a:lnTo>
                    <a:lnTo>
                      <a:pt x="1171" y="1401"/>
                    </a:lnTo>
                    <a:lnTo>
                      <a:pt x="1169" y="1401"/>
                    </a:lnTo>
                    <a:lnTo>
                      <a:pt x="1168" y="1401"/>
                    </a:lnTo>
                    <a:lnTo>
                      <a:pt x="1166" y="1400"/>
                    </a:lnTo>
                    <a:lnTo>
                      <a:pt x="1168" y="1400"/>
                    </a:lnTo>
                    <a:lnTo>
                      <a:pt x="1166" y="1400"/>
                    </a:lnTo>
                    <a:lnTo>
                      <a:pt x="1164" y="1400"/>
                    </a:lnTo>
                    <a:lnTo>
                      <a:pt x="1164" y="1398"/>
                    </a:lnTo>
                    <a:lnTo>
                      <a:pt x="1166" y="1398"/>
                    </a:lnTo>
                    <a:lnTo>
                      <a:pt x="1168" y="1400"/>
                    </a:lnTo>
                    <a:lnTo>
                      <a:pt x="1166" y="1398"/>
                    </a:lnTo>
                    <a:lnTo>
                      <a:pt x="1168" y="1398"/>
                    </a:lnTo>
                    <a:lnTo>
                      <a:pt x="1166" y="1398"/>
                    </a:lnTo>
                    <a:lnTo>
                      <a:pt x="1168" y="1398"/>
                    </a:lnTo>
                    <a:lnTo>
                      <a:pt x="1166" y="1398"/>
                    </a:lnTo>
                    <a:lnTo>
                      <a:pt x="1164" y="1396"/>
                    </a:lnTo>
                    <a:lnTo>
                      <a:pt x="1166" y="1396"/>
                    </a:lnTo>
                    <a:lnTo>
                      <a:pt x="1166" y="1398"/>
                    </a:lnTo>
                    <a:lnTo>
                      <a:pt x="1168" y="1398"/>
                    </a:lnTo>
                    <a:lnTo>
                      <a:pt x="1168" y="1396"/>
                    </a:lnTo>
                    <a:lnTo>
                      <a:pt x="1166" y="1396"/>
                    </a:lnTo>
                    <a:lnTo>
                      <a:pt x="1164" y="1396"/>
                    </a:lnTo>
                    <a:lnTo>
                      <a:pt x="1164" y="1395"/>
                    </a:lnTo>
                    <a:lnTo>
                      <a:pt x="1166" y="1396"/>
                    </a:lnTo>
                    <a:lnTo>
                      <a:pt x="1168" y="1396"/>
                    </a:lnTo>
                    <a:lnTo>
                      <a:pt x="1166" y="1396"/>
                    </a:lnTo>
                    <a:lnTo>
                      <a:pt x="1166" y="1395"/>
                    </a:lnTo>
                    <a:lnTo>
                      <a:pt x="1164" y="1395"/>
                    </a:lnTo>
                    <a:lnTo>
                      <a:pt x="1166" y="1395"/>
                    </a:lnTo>
                    <a:lnTo>
                      <a:pt x="1164" y="1395"/>
                    </a:lnTo>
                    <a:lnTo>
                      <a:pt x="1164" y="1393"/>
                    </a:lnTo>
                    <a:lnTo>
                      <a:pt x="1166" y="1393"/>
                    </a:lnTo>
                    <a:lnTo>
                      <a:pt x="1168" y="1393"/>
                    </a:lnTo>
                    <a:lnTo>
                      <a:pt x="1168" y="1395"/>
                    </a:lnTo>
                    <a:lnTo>
                      <a:pt x="1166" y="1393"/>
                    </a:lnTo>
                    <a:lnTo>
                      <a:pt x="1168" y="1395"/>
                    </a:lnTo>
                    <a:lnTo>
                      <a:pt x="1169" y="1393"/>
                    </a:lnTo>
                    <a:lnTo>
                      <a:pt x="1168" y="1393"/>
                    </a:lnTo>
                    <a:lnTo>
                      <a:pt x="1168" y="1391"/>
                    </a:lnTo>
                    <a:lnTo>
                      <a:pt x="1166" y="1391"/>
                    </a:lnTo>
                    <a:lnTo>
                      <a:pt x="1164" y="1391"/>
                    </a:lnTo>
                    <a:lnTo>
                      <a:pt x="1164" y="1390"/>
                    </a:lnTo>
                    <a:lnTo>
                      <a:pt x="1166" y="1391"/>
                    </a:lnTo>
                    <a:lnTo>
                      <a:pt x="1166" y="1390"/>
                    </a:lnTo>
                    <a:lnTo>
                      <a:pt x="1168" y="1390"/>
                    </a:lnTo>
                    <a:lnTo>
                      <a:pt x="1168" y="1391"/>
                    </a:lnTo>
                    <a:lnTo>
                      <a:pt x="1169" y="1391"/>
                    </a:lnTo>
                    <a:lnTo>
                      <a:pt x="1169" y="1393"/>
                    </a:lnTo>
                    <a:lnTo>
                      <a:pt x="1169" y="1391"/>
                    </a:lnTo>
                    <a:lnTo>
                      <a:pt x="1168" y="1390"/>
                    </a:lnTo>
                    <a:lnTo>
                      <a:pt x="1169" y="1390"/>
                    </a:lnTo>
                    <a:close/>
                    <a:moveTo>
                      <a:pt x="1195" y="1114"/>
                    </a:moveTo>
                    <a:lnTo>
                      <a:pt x="1196" y="1114"/>
                    </a:lnTo>
                    <a:lnTo>
                      <a:pt x="1195" y="1114"/>
                    </a:lnTo>
                    <a:lnTo>
                      <a:pt x="1196" y="1116"/>
                    </a:lnTo>
                    <a:lnTo>
                      <a:pt x="1196" y="1117"/>
                    </a:lnTo>
                    <a:lnTo>
                      <a:pt x="1198" y="1117"/>
                    </a:lnTo>
                    <a:lnTo>
                      <a:pt x="1200" y="1117"/>
                    </a:lnTo>
                    <a:lnTo>
                      <a:pt x="1202" y="1116"/>
                    </a:lnTo>
                    <a:lnTo>
                      <a:pt x="1203" y="1116"/>
                    </a:lnTo>
                    <a:lnTo>
                      <a:pt x="1203" y="1117"/>
                    </a:lnTo>
                    <a:lnTo>
                      <a:pt x="1203" y="1119"/>
                    </a:lnTo>
                    <a:lnTo>
                      <a:pt x="1205" y="1119"/>
                    </a:lnTo>
                    <a:lnTo>
                      <a:pt x="1205" y="1121"/>
                    </a:lnTo>
                    <a:lnTo>
                      <a:pt x="1205" y="1122"/>
                    </a:lnTo>
                    <a:lnTo>
                      <a:pt x="1203" y="1121"/>
                    </a:lnTo>
                    <a:lnTo>
                      <a:pt x="1203" y="1122"/>
                    </a:lnTo>
                    <a:lnTo>
                      <a:pt x="1203" y="1121"/>
                    </a:lnTo>
                    <a:lnTo>
                      <a:pt x="1202" y="1122"/>
                    </a:lnTo>
                    <a:lnTo>
                      <a:pt x="1202" y="1121"/>
                    </a:lnTo>
                    <a:lnTo>
                      <a:pt x="1200" y="1121"/>
                    </a:lnTo>
                    <a:lnTo>
                      <a:pt x="1200" y="1122"/>
                    </a:lnTo>
                    <a:lnTo>
                      <a:pt x="1198" y="1122"/>
                    </a:lnTo>
                    <a:lnTo>
                      <a:pt x="1200" y="1121"/>
                    </a:lnTo>
                    <a:lnTo>
                      <a:pt x="1198" y="1122"/>
                    </a:lnTo>
                    <a:lnTo>
                      <a:pt x="1196" y="1122"/>
                    </a:lnTo>
                    <a:lnTo>
                      <a:pt x="1196" y="1121"/>
                    </a:lnTo>
                    <a:lnTo>
                      <a:pt x="1195" y="1121"/>
                    </a:lnTo>
                    <a:lnTo>
                      <a:pt x="1193" y="1121"/>
                    </a:lnTo>
                    <a:lnTo>
                      <a:pt x="1193" y="1119"/>
                    </a:lnTo>
                    <a:lnTo>
                      <a:pt x="1193" y="1121"/>
                    </a:lnTo>
                    <a:lnTo>
                      <a:pt x="1193" y="1122"/>
                    </a:lnTo>
                    <a:lnTo>
                      <a:pt x="1193" y="1121"/>
                    </a:lnTo>
                    <a:lnTo>
                      <a:pt x="1193" y="1119"/>
                    </a:lnTo>
                    <a:lnTo>
                      <a:pt x="1191" y="1121"/>
                    </a:lnTo>
                    <a:lnTo>
                      <a:pt x="1193" y="1119"/>
                    </a:lnTo>
                    <a:lnTo>
                      <a:pt x="1191" y="1119"/>
                    </a:lnTo>
                    <a:lnTo>
                      <a:pt x="1191" y="1117"/>
                    </a:lnTo>
                    <a:lnTo>
                      <a:pt x="1191" y="1116"/>
                    </a:lnTo>
                    <a:lnTo>
                      <a:pt x="1191" y="1114"/>
                    </a:lnTo>
                    <a:lnTo>
                      <a:pt x="1193" y="1116"/>
                    </a:lnTo>
                    <a:lnTo>
                      <a:pt x="1195" y="1114"/>
                    </a:lnTo>
                    <a:close/>
                    <a:moveTo>
                      <a:pt x="1288" y="1623"/>
                    </a:moveTo>
                    <a:lnTo>
                      <a:pt x="1290" y="1623"/>
                    </a:lnTo>
                    <a:lnTo>
                      <a:pt x="1292" y="1623"/>
                    </a:lnTo>
                    <a:lnTo>
                      <a:pt x="1290" y="1623"/>
                    </a:lnTo>
                    <a:lnTo>
                      <a:pt x="1292" y="1621"/>
                    </a:lnTo>
                    <a:lnTo>
                      <a:pt x="1292" y="1623"/>
                    </a:lnTo>
                    <a:lnTo>
                      <a:pt x="1293" y="1623"/>
                    </a:lnTo>
                    <a:lnTo>
                      <a:pt x="1293" y="1624"/>
                    </a:lnTo>
                    <a:lnTo>
                      <a:pt x="1293" y="1623"/>
                    </a:lnTo>
                    <a:lnTo>
                      <a:pt x="1293" y="1624"/>
                    </a:lnTo>
                    <a:lnTo>
                      <a:pt x="1295" y="1624"/>
                    </a:lnTo>
                    <a:lnTo>
                      <a:pt x="1295" y="1626"/>
                    </a:lnTo>
                    <a:lnTo>
                      <a:pt x="1297" y="1624"/>
                    </a:lnTo>
                    <a:lnTo>
                      <a:pt x="1298" y="1624"/>
                    </a:lnTo>
                    <a:lnTo>
                      <a:pt x="1297" y="1624"/>
                    </a:lnTo>
                    <a:lnTo>
                      <a:pt x="1297" y="1626"/>
                    </a:lnTo>
                    <a:lnTo>
                      <a:pt x="1298" y="1626"/>
                    </a:lnTo>
                    <a:lnTo>
                      <a:pt x="1300" y="1626"/>
                    </a:lnTo>
                    <a:lnTo>
                      <a:pt x="1298" y="1628"/>
                    </a:lnTo>
                    <a:lnTo>
                      <a:pt x="1297" y="1628"/>
                    </a:lnTo>
                    <a:lnTo>
                      <a:pt x="1298" y="1628"/>
                    </a:lnTo>
                    <a:lnTo>
                      <a:pt x="1300" y="1628"/>
                    </a:lnTo>
                    <a:lnTo>
                      <a:pt x="1298" y="1629"/>
                    </a:lnTo>
                    <a:lnTo>
                      <a:pt x="1298" y="1628"/>
                    </a:lnTo>
                    <a:lnTo>
                      <a:pt x="1297" y="1628"/>
                    </a:lnTo>
                    <a:lnTo>
                      <a:pt x="1297" y="1629"/>
                    </a:lnTo>
                    <a:lnTo>
                      <a:pt x="1295" y="1629"/>
                    </a:lnTo>
                    <a:lnTo>
                      <a:pt x="1293" y="1629"/>
                    </a:lnTo>
                    <a:lnTo>
                      <a:pt x="1293" y="1628"/>
                    </a:lnTo>
                    <a:lnTo>
                      <a:pt x="1292" y="1629"/>
                    </a:lnTo>
                    <a:lnTo>
                      <a:pt x="1292" y="1628"/>
                    </a:lnTo>
                    <a:lnTo>
                      <a:pt x="1293" y="1628"/>
                    </a:lnTo>
                    <a:lnTo>
                      <a:pt x="1295" y="1626"/>
                    </a:lnTo>
                    <a:lnTo>
                      <a:pt x="1293" y="1626"/>
                    </a:lnTo>
                    <a:lnTo>
                      <a:pt x="1292" y="1626"/>
                    </a:lnTo>
                    <a:lnTo>
                      <a:pt x="1292" y="1628"/>
                    </a:lnTo>
                    <a:lnTo>
                      <a:pt x="1292" y="1626"/>
                    </a:lnTo>
                    <a:lnTo>
                      <a:pt x="1292" y="1628"/>
                    </a:lnTo>
                    <a:lnTo>
                      <a:pt x="1290" y="1628"/>
                    </a:lnTo>
                    <a:lnTo>
                      <a:pt x="1290" y="1626"/>
                    </a:lnTo>
                    <a:lnTo>
                      <a:pt x="1290" y="1624"/>
                    </a:lnTo>
                    <a:lnTo>
                      <a:pt x="1292" y="1624"/>
                    </a:lnTo>
                    <a:lnTo>
                      <a:pt x="1290" y="1624"/>
                    </a:lnTo>
                    <a:lnTo>
                      <a:pt x="1288" y="1626"/>
                    </a:lnTo>
                    <a:lnTo>
                      <a:pt x="1288" y="1624"/>
                    </a:lnTo>
                    <a:lnTo>
                      <a:pt x="1287" y="1624"/>
                    </a:lnTo>
                    <a:lnTo>
                      <a:pt x="1288" y="1624"/>
                    </a:lnTo>
                    <a:lnTo>
                      <a:pt x="1288" y="1626"/>
                    </a:lnTo>
                    <a:lnTo>
                      <a:pt x="1287" y="1626"/>
                    </a:lnTo>
                    <a:lnTo>
                      <a:pt x="1287" y="1628"/>
                    </a:lnTo>
                    <a:lnTo>
                      <a:pt x="1285" y="1628"/>
                    </a:lnTo>
                    <a:lnTo>
                      <a:pt x="1287" y="1629"/>
                    </a:lnTo>
                    <a:lnTo>
                      <a:pt x="1285" y="1629"/>
                    </a:lnTo>
                    <a:lnTo>
                      <a:pt x="1285" y="1628"/>
                    </a:lnTo>
                    <a:lnTo>
                      <a:pt x="1285" y="1626"/>
                    </a:lnTo>
                    <a:lnTo>
                      <a:pt x="1285" y="1628"/>
                    </a:lnTo>
                    <a:lnTo>
                      <a:pt x="1283" y="1628"/>
                    </a:lnTo>
                    <a:lnTo>
                      <a:pt x="1283" y="1629"/>
                    </a:lnTo>
                    <a:lnTo>
                      <a:pt x="1281" y="1629"/>
                    </a:lnTo>
                    <a:lnTo>
                      <a:pt x="1281" y="1628"/>
                    </a:lnTo>
                    <a:lnTo>
                      <a:pt x="1283" y="1626"/>
                    </a:lnTo>
                    <a:lnTo>
                      <a:pt x="1281" y="1626"/>
                    </a:lnTo>
                    <a:lnTo>
                      <a:pt x="1281" y="1624"/>
                    </a:lnTo>
                    <a:lnTo>
                      <a:pt x="1283" y="1624"/>
                    </a:lnTo>
                    <a:lnTo>
                      <a:pt x="1283" y="1623"/>
                    </a:lnTo>
                    <a:lnTo>
                      <a:pt x="1283" y="1621"/>
                    </a:lnTo>
                    <a:lnTo>
                      <a:pt x="1285" y="1623"/>
                    </a:lnTo>
                    <a:lnTo>
                      <a:pt x="1285" y="1621"/>
                    </a:lnTo>
                    <a:lnTo>
                      <a:pt x="1287" y="1623"/>
                    </a:lnTo>
                    <a:lnTo>
                      <a:pt x="1288" y="1623"/>
                    </a:lnTo>
                    <a:lnTo>
                      <a:pt x="1287" y="1621"/>
                    </a:lnTo>
                    <a:lnTo>
                      <a:pt x="1288" y="1623"/>
                    </a:lnTo>
                    <a:close/>
                    <a:moveTo>
                      <a:pt x="1207" y="1082"/>
                    </a:moveTo>
                    <a:lnTo>
                      <a:pt x="1208" y="1083"/>
                    </a:lnTo>
                    <a:lnTo>
                      <a:pt x="1210" y="1083"/>
                    </a:lnTo>
                    <a:lnTo>
                      <a:pt x="1208" y="1085"/>
                    </a:lnTo>
                    <a:lnTo>
                      <a:pt x="1208" y="1083"/>
                    </a:lnTo>
                    <a:lnTo>
                      <a:pt x="1207" y="1083"/>
                    </a:lnTo>
                    <a:lnTo>
                      <a:pt x="1208" y="1083"/>
                    </a:lnTo>
                    <a:lnTo>
                      <a:pt x="1208" y="1085"/>
                    </a:lnTo>
                    <a:lnTo>
                      <a:pt x="1210" y="1085"/>
                    </a:lnTo>
                    <a:lnTo>
                      <a:pt x="1210" y="1087"/>
                    </a:lnTo>
                    <a:lnTo>
                      <a:pt x="1208" y="1087"/>
                    </a:lnTo>
                    <a:lnTo>
                      <a:pt x="1210" y="1088"/>
                    </a:lnTo>
                    <a:lnTo>
                      <a:pt x="1208" y="1088"/>
                    </a:lnTo>
                    <a:lnTo>
                      <a:pt x="1208" y="1090"/>
                    </a:lnTo>
                    <a:lnTo>
                      <a:pt x="1207" y="1090"/>
                    </a:lnTo>
                    <a:lnTo>
                      <a:pt x="1207" y="1092"/>
                    </a:lnTo>
                    <a:lnTo>
                      <a:pt x="1207" y="1090"/>
                    </a:lnTo>
                    <a:lnTo>
                      <a:pt x="1208" y="1090"/>
                    </a:lnTo>
                    <a:lnTo>
                      <a:pt x="1208" y="1088"/>
                    </a:lnTo>
                    <a:lnTo>
                      <a:pt x="1210" y="1088"/>
                    </a:lnTo>
                    <a:lnTo>
                      <a:pt x="1210" y="1090"/>
                    </a:lnTo>
                    <a:lnTo>
                      <a:pt x="1212" y="1090"/>
                    </a:lnTo>
                    <a:lnTo>
                      <a:pt x="1210" y="1090"/>
                    </a:lnTo>
                    <a:lnTo>
                      <a:pt x="1210" y="1092"/>
                    </a:lnTo>
                    <a:lnTo>
                      <a:pt x="1210" y="1090"/>
                    </a:lnTo>
                    <a:lnTo>
                      <a:pt x="1210" y="1092"/>
                    </a:lnTo>
                    <a:lnTo>
                      <a:pt x="1210" y="1090"/>
                    </a:lnTo>
                    <a:lnTo>
                      <a:pt x="1208" y="1092"/>
                    </a:lnTo>
                    <a:lnTo>
                      <a:pt x="1207" y="1092"/>
                    </a:lnTo>
                    <a:lnTo>
                      <a:pt x="1205" y="1092"/>
                    </a:lnTo>
                    <a:lnTo>
                      <a:pt x="1205" y="1090"/>
                    </a:lnTo>
                    <a:lnTo>
                      <a:pt x="1203" y="1090"/>
                    </a:lnTo>
                    <a:lnTo>
                      <a:pt x="1203" y="1088"/>
                    </a:lnTo>
                    <a:lnTo>
                      <a:pt x="1202" y="1088"/>
                    </a:lnTo>
                    <a:lnTo>
                      <a:pt x="1202" y="1087"/>
                    </a:lnTo>
                    <a:lnTo>
                      <a:pt x="1200" y="1085"/>
                    </a:lnTo>
                    <a:lnTo>
                      <a:pt x="1202" y="1085"/>
                    </a:lnTo>
                    <a:lnTo>
                      <a:pt x="1203" y="1087"/>
                    </a:lnTo>
                    <a:lnTo>
                      <a:pt x="1203" y="1088"/>
                    </a:lnTo>
                    <a:lnTo>
                      <a:pt x="1203" y="1087"/>
                    </a:lnTo>
                    <a:lnTo>
                      <a:pt x="1203" y="1085"/>
                    </a:lnTo>
                    <a:lnTo>
                      <a:pt x="1203" y="1083"/>
                    </a:lnTo>
                    <a:lnTo>
                      <a:pt x="1205" y="1083"/>
                    </a:lnTo>
                    <a:lnTo>
                      <a:pt x="1205" y="1082"/>
                    </a:lnTo>
                    <a:lnTo>
                      <a:pt x="1205" y="1083"/>
                    </a:lnTo>
                    <a:lnTo>
                      <a:pt x="1207" y="1082"/>
                    </a:lnTo>
                    <a:close/>
                    <a:moveTo>
                      <a:pt x="1207" y="1145"/>
                    </a:moveTo>
                    <a:lnTo>
                      <a:pt x="1207" y="1146"/>
                    </a:lnTo>
                    <a:lnTo>
                      <a:pt x="1208" y="1146"/>
                    </a:lnTo>
                    <a:lnTo>
                      <a:pt x="1208" y="1148"/>
                    </a:lnTo>
                    <a:lnTo>
                      <a:pt x="1207" y="1148"/>
                    </a:lnTo>
                    <a:lnTo>
                      <a:pt x="1208" y="1148"/>
                    </a:lnTo>
                    <a:lnTo>
                      <a:pt x="1208" y="1150"/>
                    </a:lnTo>
                    <a:lnTo>
                      <a:pt x="1207" y="1150"/>
                    </a:lnTo>
                    <a:lnTo>
                      <a:pt x="1208" y="1150"/>
                    </a:lnTo>
                    <a:lnTo>
                      <a:pt x="1208" y="1151"/>
                    </a:lnTo>
                    <a:lnTo>
                      <a:pt x="1207" y="1151"/>
                    </a:lnTo>
                    <a:lnTo>
                      <a:pt x="1208" y="1153"/>
                    </a:lnTo>
                    <a:lnTo>
                      <a:pt x="1207" y="1155"/>
                    </a:lnTo>
                    <a:lnTo>
                      <a:pt x="1205" y="1153"/>
                    </a:lnTo>
                    <a:lnTo>
                      <a:pt x="1203" y="1153"/>
                    </a:lnTo>
                    <a:lnTo>
                      <a:pt x="1203" y="1151"/>
                    </a:lnTo>
                    <a:lnTo>
                      <a:pt x="1203" y="1150"/>
                    </a:lnTo>
                    <a:lnTo>
                      <a:pt x="1205" y="1148"/>
                    </a:lnTo>
                    <a:lnTo>
                      <a:pt x="1207" y="1148"/>
                    </a:lnTo>
                    <a:lnTo>
                      <a:pt x="1205" y="1150"/>
                    </a:lnTo>
                    <a:lnTo>
                      <a:pt x="1207" y="1150"/>
                    </a:lnTo>
                    <a:lnTo>
                      <a:pt x="1205" y="1148"/>
                    </a:lnTo>
                    <a:lnTo>
                      <a:pt x="1207" y="1148"/>
                    </a:lnTo>
                    <a:lnTo>
                      <a:pt x="1207" y="1146"/>
                    </a:lnTo>
                    <a:lnTo>
                      <a:pt x="1205" y="1146"/>
                    </a:lnTo>
                    <a:lnTo>
                      <a:pt x="1203" y="1146"/>
                    </a:lnTo>
                    <a:lnTo>
                      <a:pt x="1203" y="1148"/>
                    </a:lnTo>
                    <a:lnTo>
                      <a:pt x="1205" y="1148"/>
                    </a:lnTo>
                    <a:lnTo>
                      <a:pt x="1203" y="1148"/>
                    </a:lnTo>
                    <a:lnTo>
                      <a:pt x="1203" y="1150"/>
                    </a:lnTo>
                    <a:lnTo>
                      <a:pt x="1202" y="1148"/>
                    </a:lnTo>
                    <a:lnTo>
                      <a:pt x="1202" y="1150"/>
                    </a:lnTo>
                    <a:lnTo>
                      <a:pt x="1203" y="1150"/>
                    </a:lnTo>
                    <a:lnTo>
                      <a:pt x="1203" y="1151"/>
                    </a:lnTo>
                    <a:lnTo>
                      <a:pt x="1202" y="1151"/>
                    </a:lnTo>
                    <a:lnTo>
                      <a:pt x="1200" y="1151"/>
                    </a:lnTo>
                    <a:lnTo>
                      <a:pt x="1200" y="1150"/>
                    </a:lnTo>
                    <a:lnTo>
                      <a:pt x="1198" y="1150"/>
                    </a:lnTo>
                    <a:lnTo>
                      <a:pt x="1200" y="1150"/>
                    </a:lnTo>
                    <a:lnTo>
                      <a:pt x="1200" y="1148"/>
                    </a:lnTo>
                    <a:lnTo>
                      <a:pt x="1200" y="1146"/>
                    </a:lnTo>
                    <a:lnTo>
                      <a:pt x="1202" y="1146"/>
                    </a:lnTo>
                    <a:lnTo>
                      <a:pt x="1203" y="1146"/>
                    </a:lnTo>
                    <a:lnTo>
                      <a:pt x="1205" y="1145"/>
                    </a:lnTo>
                    <a:lnTo>
                      <a:pt x="1203" y="1145"/>
                    </a:lnTo>
                    <a:lnTo>
                      <a:pt x="1205" y="1145"/>
                    </a:lnTo>
                    <a:lnTo>
                      <a:pt x="1205" y="1143"/>
                    </a:lnTo>
                    <a:lnTo>
                      <a:pt x="1207" y="1143"/>
                    </a:lnTo>
                    <a:lnTo>
                      <a:pt x="1207" y="1145"/>
                    </a:lnTo>
                    <a:close/>
                    <a:moveTo>
                      <a:pt x="1196" y="1065"/>
                    </a:moveTo>
                    <a:lnTo>
                      <a:pt x="1196" y="1066"/>
                    </a:lnTo>
                    <a:lnTo>
                      <a:pt x="1198" y="1066"/>
                    </a:lnTo>
                    <a:lnTo>
                      <a:pt x="1200" y="1066"/>
                    </a:lnTo>
                    <a:lnTo>
                      <a:pt x="1200" y="1068"/>
                    </a:lnTo>
                    <a:lnTo>
                      <a:pt x="1202" y="1068"/>
                    </a:lnTo>
                    <a:lnTo>
                      <a:pt x="1200" y="1068"/>
                    </a:lnTo>
                    <a:lnTo>
                      <a:pt x="1198" y="1068"/>
                    </a:lnTo>
                    <a:lnTo>
                      <a:pt x="1198" y="1070"/>
                    </a:lnTo>
                    <a:lnTo>
                      <a:pt x="1196" y="1068"/>
                    </a:lnTo>
                    <a:lnTo>
                      <a:pt x="1195" y="1068"/>
                    </a:lnTo>
                    <a:lnTo>
                      <a:pt x="1196" y="1070"/>
                    </a:lnTo>
                    <a:lnTo>
                      <a:pt x="1198" y="1071"/>
                    </a:lnTo>
                    <a:lnTo>
                      <a:pt x="1196" y="1070"/>
                    </a:lnTo>
                    <a:lnTo>
                      <a:pt x="1198" y="1070"/>
                    </a:lnTo>
                    <a:lnTo>
                      <a:pt x="1200" y="1071"/>
                    </a:lnTo>
                    <a:lnTo>
                      <a:pt x="1202" y="1071"/>
                    </a:lnTo>
                    <a:lnTo>
                      <a:pt x="1202" y="1070"/>
                    </a:lnTo>
                    <a:lnTo>
                      <a:pt x="1203" y="1070"/>
                    </a:lnTo>
                    <a:lnTo>
                      <a:pt x="1203" y="1071"/>
                    </a:lnTo>
                    <a:lnTo>
                      <a:pt x="1205" y="1071"/>
                    </a:lnTo>
                    <a:lnTo>
                      <a:pt x="1205" y="1073"/>
                    </a:lnTo>
                    <a:lnTo>
                      <a:pt x="1203" y="1073"/>
                    </a:lnTo>
                    <a:lnTo>
                      <a:pt x="1202" y="1073"/>
                    </a:lnTo>
                    <a:lnTo>
                      <a:pt x="1200" y="1073"/>
                    </a:lnTo>
                    <a:lnTo>
                      <a:pt x="1200" y="1071"/>
                    </a:lnTo>
                    <a:lnTo>
                      <a:pt x="1200" y="1073"/>
                    </a:lnTo>
                    <a:lnTo>
                      <a:pt x="1198" y="1073"/>
                    </a:lnTo>
                    <a:lnTo>
                      <a:pt x="1198" y="1071"/>
                    </a:lnTo>
                    <a:lnTo>
                      <a:pt x="1198" y="1073"/>
                    </a:lnTo>
                    <a:lnTo>
                      <a:pt x="1196" y="1073"/>
                    </a:lnTo>
                    <a:lnTo>
                      <a:pt x="1196" y="1071"/>
                    </a:lnTo>
                    <a:lnTo>
                      <a:pt x="1196" y="1073"/>
                    </a:lnTo>
                    <a:lnTo>
                      <a:pt x="1196" y="1071"/>
                    </a:lnTo>
                    <a:lnTo>
                      <a:pt x="1195" y="1071"/>
                    </a:lnTo>
                    <a:lnTo>
                      <a:pt x="1193" y="1070"/>
                    </a:lnTo>
                    <a:lnTo>
                      <a:pt x="1195" y="1068"/>
                    </a:lnTo>
                    <a:lnTo>
                      <a:pt x="1193" y="1068"/>
                    </a:lnTo>
                    <a:lnTo>
                      <a:pt x="1193" y="1066"/>
                    </a:lnTo>
                    <a:lnTo>
                      <a:pt x="1193" y="1065"/>
                    </a:lnTo>
                    <a:lnTo>
                      <a:pt x="1195" y="1065"/>
                    </a:lnTo>
                    <a:lnTo>
                      <a:pt x="1195" y="1063"/>
                    </a:lnTo>
                    <a:lnTo>
                      <a:pt x="1196" y="1063"/>
                    </a:lnTo>
                    <a:lnTo>
                      <a:pt x="1196" y="1065"/>
                    </a:lnTo>
                    <a:close/>
                    <a:moveTo>
                      <a:pt x="1254" y="1578"/>
                    </a:moveTo>
                    <a:lnTo>
                      <a:pt x="1254" y="1580"/>
                    </a:lnTo>
                    <a:lnTo>
                      <a:pt x="1254" y="1578"/>
                    </a:lnTo>
                    <a:lnTo>
                      <a:pt x="1256" y="1580"/>
                    </a:lnTo>
                    <a:lnTo>
                      <a:pt x="1254" y="1582"/>
                    </a:lnTo>
                    <a:lnTo>
                      <a:pt x="1256" y="1580"/>
                    </a:lnTo>
                    <a:lnTo>
                      <a:pt x="1256" y="1582"/>
                    </a:lnTo>
                    <a:lnTo>
                      <a:pt x="1258" y="1582"/>
                    </a:lnTo>
                    <a:lnTo>
                      <a:pt x="1256" y="1582"/>
                    </a:lnTo>
                    <a:lnTo>
                      <a:pt x="1256" y="1583"/>
                    </a:lnTo>
                    <a:lnTo>
                      <a:pt x="1254" y="1582"/>
                    </a:lnTo>
                    <a:lnTo>
                      <a:pt x="1254" y="1583"/>
                    </a:lnTo>
                    <a:lnTo>
                      <a:pt x="1254" y="1585"/>
                    </a:lnTo>
                    <a:lnTo>
                      <a:pt x="1254" y="1587"/>
                    </a:lnTo>
                    <a:lnTo>
                      <a:pt x="1253" y="1585"/>
                    </a:lnTo>
                    <a:lnTo>
                      <a:pt x="1253" y="1587"/>
                    </a:lnTo>
                    <a:lnTo>
                      <a:pt x="1254" y="1587"/>
                    </a:lnTo>
                    <a:lnTo>
                      <a:pt x="1253" y="1589"/>
                    </a:lnTo>
                    <a:lnTo>
                      <a:pt x="1251" y="1589"/>
                    </a:lnTo>
                    <a:lnTo>
                      <a:pt x="1251" y="1587"/>
                    </a:lnTo>
                    <a:lnTo>
                      <a:pt x="1249" y="1587"/>
                    </a:lnTo>
                    <a:lnTo>
                      <a:pt x="1251" y="1587"/>
                    </a:lnTo>
                    <a:lnTo>
                      <a:pt x="1249" y="1589"/>
                    </a:lnTo>
                    <a:lnTo>
                      <a:pt x="1251" y="1589"/>
                    </a:lnTo>
                    <a:lnTo>
                      <a:pt x="1253" y="1590"/>
                    </a:lnTo>
                    <a:lnTo>
                      <a:pt x="1251" y="1590"/>
                    </a:lnTo>
                    <a:lnTo>
                      <a:pt x="1249" y="1589"/>
                    </a:lnTo>
                    <a:lnTo>
                      <a:pt x="1249" y="1590"/>
                    </a:lnTo>
                    <a:lnTo>
                      <a:pt x="1247" y="1590"/>
                    </a:lnTo>
                    <a:lnTo>
                      <a:pt x="1247" y="1589"/>
                    </a:lnTo>
                    <a:lnTo>
                      <a:pt x="1246" y="1589"/>
                    </a:lnTo>
                    <a:lnTo>
                      <a:pt x="1247" y="1587"/>
                    </a:lnTo>
                    <a:lnTo>
                      <a:pt x="1247" y="1589"/>
                    </a:lnTo>
                    <a:lnTo>
                      <a:pt x="1247" y="1587"/>
                    </a:lnTo>
                    <a:lnTo>
                      <a:pt x="1246" y="1587"/>
                    </a:lnTo>
                    <a:lnTo>
                      <a:pt x="1247" y="1585"/>
                    </a:lnTo>
                    <a:lnTo>
                      <a:pt x="1249" y="1585"/>
                    </a:lnTo>
                    <a:lnTo>
                      <a:pt x="1251" y="1585"/>
                    </a:lnTo>
                    <a:lnTo>
                      <a:pt x="1249" y="1585"/>
                    </a:lnTo>
                    <a:lnTo>
                      <a:pt x="1249" y="1583"/>
                    </a:lnTo>
                    <a:lnTo>
                      <a:pt x="1251" y="1585"/>
                    </a:lnTo>
                    <a:lnTo>
                      <a:pt x="1251" y="1583"/>
                    </a:lnTo>
                    <a:lnTo>
                      <a:pt x="1253" y="1583"/>
                    </a:lnTo>
                    <a:lnTo>
                      <a:pt x="1253" y="1582"/>
                    </a:lnTo>
                    <a:lnTo>
                      <a:pt x="1251" y="1583"/>
                    </a:lnTo>
                    <a:lnTo>
                      <a:pt x="1249" y="1583"/>
                    </a:lnTo>
                    <a:lnTo>
                      <a:pt x="1249" y="1582"/>
                    </a:lnTo>
                    <a:lnTo>
                      <a:pt x="1251" y="1582"/>
                    </a:lnTo>
                    <a:lnTo>
                      <a:pt x="1251" y="1580"/>
                    </a:lnTo>
                    <a:lnTo>
                      <a:pt x="1249" y="1580"/>
                    </a:lnTo>
                    <a:lnTo>
                      <a:pt x="1249" y="1578"/>
                    </a:lnTo>
                    <a:lnTo>
                      <a:pt x="1251" y="1578"/>
                    </a:lnTo>
                    <a:lnTo>
                      <a:pt x="1253" y="1578"/>
                    </a:lnTo>
                    <a:lnTo>
                      <a:pt x="1253" y="1577"/>
                    </a:lnTo>
                    <a:lnTo>
                      <a:pt x="1254" y="1578"/>
                    </a:lnTo>
                    <a:close/>
                    <a:moveTo>
                      <a:pt x="1421" y="1667"/>
                    </a:moveTo>
                    <a:lnTo>
                      <a:pt x="1419" y="1669"/>
                    </a:lnTo>
                    <a:lnTo>
                      <a:pt x="1421" y="1669"/>
                    </a:lnTo>
                    <a:lnTo>
                      <a:pt x="1419" y="1670"/>
                    </a:lnTo>
                    <a:lnTo>
                      <a:pt x="1421" y="1670"/>
                    </a:lnTo>
                    <a:lnTo>
                      <a:pt x="1419" y="1672"/>
                    </a:lnTo>
                    <a:lnTo>
                      <a:pt x="1421" y="1672"/>
                    </a:lnTo>
                    <a:lnTo>
                      <a:pt x="1419" y="1674"/>
                    </a:lnTo>
                    <a:lnTo>
                      <a:pt x="1421" y="1675"/>
                    </a:lnTo>
                    <a:lnTo>
                      <a:pt x="1421" y="1674"/>
                    </a:lnTo>
                    <a:lnTo>
                      <a:pt x="1423" y="1674"/>
                    </a:lnTo>
                    <a:lnTo>
                      <a:pt x="1424" y="1675"/>
                    </a:lnTo>
                    <a:lnTo>
                      <a:pt x="1423" y="1675"/>
                    </a:lnTo>
                    <a:lnTo>
                      <a:pt x="1423" y="1677"/>
                    </a:lnTo>
                    <a:lnTo>
                      <a:pt x="1424" y="1677"/>
                    </a:lnTo>
                    <a:lnTo>
                      <a:pt x="1424" y="1679"/>
                    </a:lnTo>
                    <a:lnTo>
                      <a:pt x="1423" y="1679"/>
                    </a:lnTo>
                    <a:lnTo>
                      <a:pt x="1421" y="1680"/>
                    </a:lnTo>
                    <a:lnTo>
                      <a:pt x="1421" y="1679"/>
                    </a:lnTo>
                    <a:lnTo>
                      <a:pt x="1421" y="1677"/>
                    </a:lnTo>
                    <a:lnTo>
                      <a:pt x="1419" y="1679"/>
                    </a:lnTo>
                    <a:lnTo>
                      <a:pt x="1419" y="1677"/>
                    </a:lnTo>
                    <a:lnTo>
                      <a:pt x="1417" y="1679"/>
                    </a:lnTo>
                    <a:lnTo>
                      <a:pt x="1417" y="1677"/>
                    </a:lnTo>
                    <a:lnTo>
                      <a:pt x="1416" y="1677"/>
                    </a:lnTo>
                    <a:lnTo>
                      <a:pt x="1414" y="1677"/>
                    </a:lnTo>
                    <a:lnTo>
                      <a:pt x="1414" y="1675"/>
                    </a:lnTo>
                    <a:lnTo>
                      <a:pt x="1412" y="1675"/>
                    </a:lnTo>
                    <a:lnTo>
                      <a:pt x="1414" y="1675"/>
                    </a:lnTo>
                    <a:lnTo>
                      <a:pt x="1416" y="1675"/>
                    </a:lnTo>
                    <a:lnTo>
                      <a:pt x="1414" y="1675"/>
                    </a:lnTo>
                    <a:lnTo>
                      <a:pt x="1414" y="1674"/>
                    </a:lnTo>
                    <a:lnTo>
                      <a:pt x="1412" y="1672"/>
                    </a:lnTo>
                    <a:lnTo>
                      <a:pt x="1414" y="1672"/>
                    </a:lnTo>
                    <a:lnTo>
                      <a:pt x="1414" y="1670"/>
                    </a:lnTo>
                    <a:lnTo>
                      <a:pt x="1416" y="1670"/>
                    </a:lnTo>
                    <a:lnTo>
                      <a:pt x="1416" y="1672"/>
                    </a:lnTo>
                    <a:lnTo>
                      <a:pt x="1417" y="1672"/>
                    </a:lnTo>
                    <a:lnTo>
                      <a:pt x="1417" y="1674"/>
                    </a:lnTo>
                    <a:lnTo>
                      <a:pt x="1417" y="1675"/>
                    </a:lnTo>
                    <a:lnTo>
                      <a:pt x="1419" y="1675"/>
                    </a:lnTo>
                    <a:lnTo>
                      <a:pt x="1419" y="1674"/>
                    </a:lnTo>
                    <a:lnTo>
                      <a:pt x="1419" y="1672"/>
                    </a:lnTo>
                    <a:lnTo>
                      <a:pt x="1417" y="1672"/>
                    </a:lnTo>
                    <a:lnTo>
                      <a:pt x="1417" y="1670"/>
                    </a:lnTo>
                    <a:lnTo>
                      <a:pt x="1417" y="1669"/>
                    </a:lnTo>
                    <a:lnTo>
                      <a:pt x="1416" y="1669"/>
                    </a:lnTo>
                    <a:lnTo>
                      <a:pt x="1417" y="1667"/>
                    </a:lnTo>
                    <a:lnTo>
                      <a:pt x="1419" y="1667"/>
                    </a:lnTo>
                    <a:lnTo>
                      <a:pt x="1419" y="1665"/>
                    </a:lnTo>
                    <a:lnTo>
                      <a:pt x="1421" y="1665"/>
                    </a:lnTo>
                    <a:lnTo>
                      <a:pt x="1421" y="1667"/>
                    </a:lnTo>
                    <a:close/>
                    <a:moveTo>
                      <a:pt x="1198" y="1131"/>
                    </a:moveTo>
                    <a:lnTo>
                      <a:pt x="1196" y="1131"/>
                    </a:lnTo>
                    <a:lnTo>
                      <a:pt x="1198" y="1131"/>
                    </a:lnTo>
                    <a:lnTo>
                      <a:pt x="1200" y="1131"/>
                    </a:lnTo>
                    <a:lnTo>
                      <a:pt x="1200" y="1133"/>
                    </a:lnTo>
                    <a:lnTo>
                      <a:pt x="1202" y="1133"/>
                    </a:lnTo>
                    <a:lnTo>
                      <a:pt x="1202" y="1134"/>
                    </a:lnTo>
                    <a:lnTo>
                      <a:pt x="1200" y="1134"/>
                    </a:lnTo>
                    <a:lnTo>
                      <a:pt x="1202" y="1136"/>
                    </a:lnTo>
                    <a:lnTo>
                      <a:pt x="1200" y="1136"/>
                    </a:lnTo>
                    <a:lnTo>
                      <a:pt x="1200" y="1138"/>
                    </a:lnTo>
                    <a:lnTo>
                      <a:pt x="1198" y="1140"/>
                    </a:lnTo>
                    <a:lnTo>
                      <a:pt x="1196" y="1140"/>
                    </a:lnTo>
                    <a:lnTo>
                      <a:pt x="1195" y="1140"/>
                    </a:lnTo>
                    <a:lnTo>
                      <a:pt x="1195" y="1138"/>
                    </a:lnTo>
                    <a:lnTo>
                      <a:pt x="1195" y="1136"/>
                    </a:lnTo>
                    <a:lnTo>
                      <a:pt x="1195" y="1134"/>
                    </a:lnTo>
                    <a:lnTo>
                      <a:pt x="1193" y="1134"/>
                    </a:lnTo>
                    <a:lnTo>
                      <a:pt x="1193" y="1133"/>
                    </a:lnTo>
                    <a:lnTo>
                      <a:pt x="1195" y="1133"/>
                    </a:lnTo>
                    <a:lnTo>
                      <a:pt x="1195" y="1131"/>
                    </a:lnTo>
                    <a:lnTo>
                      <a:pt x="1196" y="1131"/>
                    </a:lnTo>
                    <a:lnTo>
                      <a:pt x="1196" y="1129"/>
                    </a:lnTo>
                    <a:lnTo>
                      <a:pt x="1198" y="1131"/>
                    </a:lnTo>
                    <a:close/>
                    <a:moveTo>
                      <a:pt x="1202" y="1153"/>
                    </a:moveTo>
                    <a:lnTo>
                      <a:pt x="1203" y="1153"/>
                    </a:lnTo>
                    <a:lnTo>
                      <a:pt x="1205" y="1155"/>
                    </a:lnTo>
                    <a:lnTo>
                      <a:pt x="1203" y="1155"/>
                    </a:lnTo>
                    <a:lnTo>
                      <a:pt x="1203" y="1157"/>
                    </a:lnTo>
                    <a:lnTo>
                      <a:pt x="1205" y="1155"/>
                    </a:lnTo>
                    <a:lnTo>
                      <a:pt x="1207" y="1155"/>
                    </a:lnTo>
                    <a:lnTo>
                      <a:pt x="1208" y="1157"/>
                    </a:lnTo>
                    <a:lnTo>
                      <a:pt x="1208" y="1158"/>
                    </a:lnTo>
                    <a:lnTo>
                      <a:pt x="1207" y="1158"/>
                    </a:lnTo>
                    <a:lnTo>
                      <a:pt x="1207" y="1160"/>
                    </a:lnTo>
                    <a:lnTo>
                      <a:pt x="1207" y="1162"/>
                    </a:lnTo>
                    <a:lnTo>
                      <a:pt x="1205" y="1163"/>
                    </a:lnTo>
                    <a:lnTo>
                      <a:pt x="1205" y="1162"/>
                    </a:lnTo>
                    <a:lnTo>
                      <a:pt x="1203" y="1162"/>
                    </a:lnTo>
                    <a:lnTo>
                      <a:pt x="1202" y="1160"/>
                    </a:lnTo>
                    <a:lnTo>
                      <a:pt x="1203" y="1160"/>
                    </a:lnTo>
                    <a:lnTo>
                      <a:pt x="1205" y="1160"/>
                    </a:lnTo>
                    <a:lnTo>
                      <a:pt x="1203" y="1160"/>
                    </a:lnTo>
                    <a:lnTo>
                      <a:pt x="1202" y="1160"/>
                    </a:lnTo>
                    <a:lnTo>
                      <a:pt x="1202" y="1158"/>
                    </a:lnTo>
                    <a:lnTo>
                      <a:pt x="1202" y="1157"/>
                    </a:lnTo>
                    <a:lnTo>
                      <a:pt x="1200" y="1157"/>
                    </a:lnTo>
                    <a:lnTo>
                      <a:pt x="1198" y="1157"/>
                    </a:lnTo>
                    <a:lnTo>
                      <a:pt x="1200" y="1157"/>
                    </a:lnTo>
                    <a:lnTo>
                      <a:pt x="1200" y="1155"/>
                    </a:lnTo>
                    <a:lnTo>
                      <a:pt x="1200" y="1153"/>
                    </a:lnTo>
                    <a:lnTo>
                      <a:pt x="1202" y="1153"/>
                    </a:lnTo>
                    <a:close/>
                    <a:moveTo>
                      <a:pt x="1179" y="1257"/>
                    </a:moveTo>
                    <a:lnTo>
                      <a:pt x="1179" y="1259"/>
                    </a:lnTo>
                    <a:lnTo>
                      <a:pt x="1181" y="1259"/>
                    </a:lnTo>
                    <a:lnTo>
                      <a:pt x="1183" y="1260"/>
                    </a:lnTo>
                    <a:lnTo>
                      <a:pt x="1183" y="1262"/>
                    </a:lnTo>
                    <a:lnTo>
                      <a:pt x="1185" y="1262"/>
                    </a:lnTo>
                    <a:lnTo>
                      <a:pt x="1185" y="1264"/>
                    </a:lnTo>
                    <a:lnTo>
                      <a:pt x="1186" y="1265"/>
                    </a:lnTo>
                    <a:lnTo>
                      <a:pt x="1185" y="1265"/>
                    </a:lnTo>
                    <a:lnTo>
                      <a:pt x="1185" y="1267"/>
                    </a:lnTo>
                    <a:lnTo>
                      <a:pt x="1183" y="1267"/>
                    </a:lnTo>
                    <a:lnTo>
                      <a:pt x="1183" y="1269"/>
                    </a:lnTo>
                    <a:lnTo>
                      <a:pt x="1181" y="1269"/>
                    </a:lnTo>
                    <a:lnTo>
                      <a:pt x="1179" y="1269"/>
                    </a:lnTo>
                    <a:lnTo>
                      <a:pt x="1179" y="1267"/>
                    </a:lnTo>
                    <a:lnTo>
                      <a:pt x="1179" y="1265"/>
                    </a:lnTo>
                    <a:lnTo>
                      <a:pt x="1181" y="1265"/>
                    </a:lnTo>
                    <a:lnTo>
                      <a:pt x="1179" y="1265"/>
                    </a:lnTo>
                    <a:lnTo>
                      <a:pt x="1179" y="1264"/>
                    </a:lnTo>
                    <a:lnTo>
                      <a:pt x="1181" y="1262"/>
                    </a:lnTo>
                    <a:lnTo>
                      <a:pt x="1183" y="1260"/>
                    </a:lnTo>
                    <a:lnTo>
                      <a:pt x="1181" y="1260"/>
                    </a:lnTo>
                    <a:lnTo>
                      <a:pt x="1181" y="1262"/>
                    </a:lnTo>
                    <a:lnTo>
                      <a:pt x="1179" y="1262"/>
                    </a:lnTo>
                    <a:lnTo>
                      <a:pt x="1179" y="1264"/>
                    </a:lnTo>
                    <a:lnTo>
                      <a:pt x="1179" y="1265"/>
                    </a:lnTo>
                    <a:lnTo>
                      <a:pt x="1178" y="1265"/>
                    </a:lnTo>
                    <a:lnTo>
                      <a:pt x="1178" y="1264"/>
                    </a:lnTo>
                    <a:lnTo>
                      <a:pt x="1178" y="1262"/>
                    </a:lnTo>
                    <a:lnTo>
                      <a:pt x="1178" y="1260"/>
                    </a:lnTo>
                    <a:lnTo>
                      <a:pt x="1179" y="1260"/>
                    </a:lnTo>
                    <a:lnTo>
                      <a:pt x="1178" y="1260"/>
                    </a:lnTo>
                    <a:lnTo>
                      <a:pt x="1178" y="1259"/>
                    </a:lnTo>
                    <a:lnTo>
                      <a:pt x="1178" y="1260"/>
                    </a:lnTo>
                    <a:lnTo>
                      <a:pt x="1178" y="1259"/>
                    </a:lnTo>
                    <a:lnTo>
                      <a:pt x="1179" y="1259"/>
                    </a:lnTo>
                    <a:lnTo>
                      <a:pt x="1181" y="1259"/>
                    </a:lnTo>
                    <a:lnTo>
                      <a:pt x="1179" y="1259"/>
                    </a:lnTo>
                    <a:lnTo>
                      <a:pt x="1179" y="1257"/>
                    </a:lnTo>
                    <a:lnTo>
                      <a:pt x="1178" y="1257"/>
                    </a:lnTo>
                    <a:lnTo>
                      <a:pt x="1179" y="1257"/>
                    </a:lnTo>
                    <a:close/>
                    <a:moveTo>
                      <a:pt x="1196" y="1126"/>
                    </a:moveTo>
                    <a:lnTo>
                      <a:pt x="1198" y="1126"/>
                    </a:lnTo>
                    <a:lnTo>
                      <a:pt x="1200" y="1126"/>
                    </a:lnTo>
                    <a:lnTo>
                      <a:pt x="1200" y="1128"/>
                    </a:lnTo>
                    <a:lnTo>
                      <a:pt x="1202" y="1126"/>
                    </a:lnTo>
                    <a:lnTo>
                      <a:pt x="1202" y="1128"/>
                    </a:lnTo>
                    <a:lnTo>
                      <a:pt x="1202" y="1126"/>
                    </a:lnTo>
                    <a:lnTo>
                      <a:pt x="1203" y="1126"/>
                    </a:lnTo>
                    <a:lnTo>
                      <a:pt x="1203" y="1128"/>
                    </a:lnTo>
                    <a:lnTo>
                      <a:pt x="1203" y="1129"/>
                    </a:lnTo>
                    <a:lnTo>
                      <a:pt x="1202" y="1131"/>
                    </a:lnTo>
                    <a:lnTo>
                      <a:pt x="1202" y="1133"/>
                    </a:lnTo>
                    <a:lnTo>
                      <a:pt x="1200" y="1131"/>
                    </a:lnTo>
                    <a:lnTo>
                      <a:pt x="1200" y="1129"/>
                    </a:lnTo>
                    <a:lnTo>
                      <a:pt x="1200" y="1131"/>
                    </a:lnTo>
                    <a:lnTo>
                      <a:pt x="1198" y="1131"/>
                    </a:lnTo>
                    <a:lnTo>
                      <a:pt x="1198" y="1129"/>
                    </a:lnTo>
                    <a:lnTo>
                      <a:pt x="1196" y="1129"/>
                    </a:lnTo>
                    <a:lnTo>
                      <a:pt x="1195" y="1129"/>
                    </a:lnTo>
                    <a:lnTo>
                      <a:pt x="1195" y="1131"/>
                    </a:lnTo>
                    <a:lnTo>
                      <a:pt x="1193" y="1131"/>
                    </a:lnTo>
                    <a:lnTo>
                      <a:pt x="1193" y="1133"/>
                    </a:lnTo>
                    <a:lnTo>
                      <a:pt x="1191" y="1131"/>
                    </a:lnTo>
                    <a:lnTo>
                      <a:pt x="1193" y="1131"/>
                    </a:lnTo>
                    <a:lnTo>
                      <a:pt x="1193" y="1129"/>
                    </a:lnTo>
                    <a:lnTo>
                      <a:pt x="1195" y="1129"/>
                    </a:lnTo>
                    <a:lnTo>
                      <a:pt x="1193" y="1129"/>
                    </a:lnTo>
                    <a:lnTo>
                      <a:pt x="1193" y="1128"/>
                    </a:lnTo>
                    <a:lnTo>
                      <a:pt x="1195" y="1126"/>
                    </a:lnTo>
                    <a:lnTo>
                      <a:pt x="1196" y="1126"/>
                    </a:lnTo>
                    <a:lnTo>
                      <a:pt x="1198" y="1126"/>
                    </a:lnTo>
                    <a:lnTo>
                      <a:pt x="1196" y="1126"/>
                    </a:lnTo>
                    <a:lnTo>
                      <a:pt x="1195" y="1126"/>
                    </a:lnTo>
                    <a:lnTo>
                      <a:pt x="1195" y="1124"/>
                    </a:lnTo>
                    <a:lnTo>
                      <a:pt x="1196" y="1126"/>
                    </a:lnTo>
                    <a:close/>
                    <a:moveTo>
                      <a:pt x="1156" y="1291"/>
                    </a:moveTo>
                    <a:lnTo>
                      <a:pt x="1157" y="1291"/>
                    </a:lnTo>
                    <a:lnTo>
                      <a:pt x="1157" y="1293"/>
                    </a:lnTo>
                    <a:lnTo>
                      <a:pt x="1159" y="1293"/>
                    </a:lnTo>
                    <a:lnTo>
                      <a:pt x="1161" y="1293"/>
                    </a:lnTo>
                    <a:lnTo>
                      <a:pt x="1161" y="1294"/>
                    </a:lnTo>
                    <a:lnTo>
                      <a:pt x="1161" y="1296"/>
                    </a:lnTo>
                    <a:lnTo>
                      <a:pt x="1162" y="1296"/>
                    </a:lnTo>
                    <a:lnTo>
                      <a:pt x="1162" y="1298"/>
                    </a:lnTo>
                    <a:lnTo>
                      <a:pt x="1161" y="1296"/>
                    </a:lnTo>
                    <a:lnTo>
                      <a:pt x="1161" y="1298"/>
                    </a:lnTo>
                    <a:lnTo>
                      <a:pt x="1159" y="1296"/>
                    </a:lnTo>
                    <a:lnTo>
                      <a:pt x="1159" y="1298"/>
                    </a:lnTo>
                    <a:lnTo>
                      <a:pt x="1161" y="1298"/>
                    </a:lnTo>
                    <a:lnTo>
                      <a:pt x="1162" y="1299"/>
                    </a:lnTo>
                    <a:lnTo>
                      <a:pt x="1161" y="1299"/>
                    </a:lnTo>
                    <a:lnTo>
                      <a:pt x="1159" y="1301"/>
                    </a:lnTo>
                    <a:lnTo>
                      <a:pt x="1157" y="1301"/>
                    </a:lnTo>
                    <a:lnTo>
                      <a:pt x="1157" y="1303"/>
                    </a:lnTo>
                    <a:lnTo>
                      <a:pt x="1157" y="1301"/>
                    </a:lnTo>
                    <a:lnTo>
                      <a:pt x="1157" y="1299"/>
                    </a:lnTo>
                    <a:lnTo>
                      <a:pt x="1156" y="1299"/>
                    </a:lnTo>
                    <a:lnTo>
                      <a:pt x="1156" y="1298"/>
                    </a:lnTo>
                    <a:lnTo>
                      <a:pt x="1156" y="1296"/>
                    </a:lnTo>
                    <a:lnTo>
                      <a:pt x="1156" y="1294"/>
                    </a:lnTo>
                    <a:lnTo>
                      <a:pt x="1157" y="1296"/>
                    </a:lnTo>
                    <a:lnTo>
                      <a:pt x="1156" y="1294"/>
                    </a:lnTo>
                    <a:lnTo>
                      <a:pt x="1154" y="1294"/>
                    </a:lnTo>
                    <a:lnTo>
                      <a:pt x="1154" y="1293"/>
                    </a:lnTo>
                    <a:lnTo>
                      <a:pt x="1154" y="1291"/>
                    </a:lnTo>
                    <a:lnTo>
                      <a:pt x="1156" y="1291"/>
                    </a:lnTo>
                    <a:close/>
                    <a:moveTo>
                      <a:pt x="1202" y="1046"/>
                    </a:moveTo>
                    <a:lnTo>
                      <a:pt x="1202" y="1048"/>
                    </a:lnTo>
                    <a:lnTo>
                      <a:pt x="1203" y="1048"/>
                    </a:lnTo>
                    <a:lnTo>
                      <a:pt x="1203" y="1049"/>
                    </a:lnTo>
                    <a:lnTo>
                      <a:pt x="1202" y="1049"/>
                    </a:lnTo>
                    <a:lnTo>
                      <a:pt x="1200" y="1049"/>
                    </a:lnTo>
                    <a:lnTo>
                      <a:pt x="1200" y="1051"/>
                    </a:lnTo>
                    <a:lnTo>
                      <a:pt x="1198" y="1049"/>
                    </a:lnTo>
                    <a:lnTo>
                      <a:pt x="1198" y="1051"/>
                    </a:lnTo>
                    <a:lnTo>
                      <a:pt x="1200" y="1051"/>
                    </a:lnTo>
                    <a:lnTo>
                      <a:pt x="1200" y="1053"/>
                    </a:lnTo>
                    <a:lnTo>
                      <a:pt x="1202" y="1053"/>
                    </a:lnTo>
                    <a:lnTo>
                      <a:pt x="1200" y="1053"/>
                    </a:lnTo>
                    <a:lnTo>
                      <a:pt x="1200" y="1054"/>
                    </a:lnTo>
                    <a:lnTo>
                      <a:pt x="1198" y="1054"/>
                    </a:lnTo>
                    <a:lnTo>
                      <a:pt x="1196" y="1054"/>
                    </a:lnTo>
                    <a:lnTo>
                      <a:pt x="1196" y="1053"/>
                    </a:lnTo>
                    <a:lnTo>
                      <a:pt x="1196" y="1051"/>
                    </a:lnTo>
                    <a:lnTo>
                      <a:pt x="1196" y="1053"/>
                    </a:lnTo>
                    <a:lnTo>
                      <a:pt x="1195" y="1053"/>
                    </a:lnTo>
                    <a:lnTo>
                      <a:pt x="1193" y="1053"/>
                    </a:lnTo>
                    <a:lnTo>
                      <a:pt x="1193" y="1051"/>
                    </a:lnTo>
                    <a:lnTo>
                      <a:pt x="1191" y="1051"/>
                    </a:lnTo>
                    <a:lnTo>
                      <a:pt x="1191" y="1049"/>
                    </a:lnTo>
                    <a:lnTo>
                      <a:pt x="1191" y="1048"/>
                    </a:lnTo>
                    <a:lnTo>
                      <a:pt x="1193" y="1048"/>
                    </a:lnTo>
                    <a:lnTo>
                      <a:pt x="1195" y="1048"/>
                    </a:lnTo>
                    <a:lnTo>
                      <a:pt x="1196" y="1049"/>
                    </a:lnTo>
                    <a:lnTo>
                      <a:pt x="1198" y="1049"/>
                    </a:lnTo>
                    <a:lnTo>
                      <a:pt x="1200" y="1049"/>
                    </a:lnTo>
                    <a:lnTo>
                      <a:pt x="1200" y="1048"/>
                    </a:lnTo>
                    <a:lnTo>
                      <a:pt x="1202" y="1048"/>
                    </a:lnTo>
                    <a:lnTo>
                      <a:pt x="1202" y="1046"/>
                    </a:lnTo>
                    <a:close/>
                    <a:moveTo>
                      <a:pt x="1185" y="1325"/>
                    </a:moveTo>
                    <a:lnTo>
                      <a:pt x="1186" y="1327"/>
                    </a:lnTo>
                    <a:lnTo>
                      <a:pt x="1186" y="1328"/>
                    </a:lnTo>
                    <a:lnTo>
                      <a:pt x="1188" y="1328"/>
                    </a:lnTo>
                    <a:lnTo>
                      <a:pt x="1188" y="1330"/>
                    </a:lnTo>
                    <a:lnTo>
                      <a:pt x="1188" y="1332"/>
                    </a:lnTo>
                    <a:lnTo>
                      <a:pt x="1188" y="1333"/>
                    </a:lnTo>
                    <a:lnTo>
                      <a:pt x="1186" y="1333"/>
                    </a:lnTo>
                    <a:lnTo>
                      <a:pt x="1185" y="1333"/>
                    </a:lnTo>
                    <a:lnTo>
                      <a:pt x="1185" y="1335"/>
                    </a:lnTo>
                    <a:lnTo>
                      <a:pt x="1183" y="1335"/>
                    </a:lnTo>
                    <a:lnTo>
                      <a:pt x="1183" y="1333"/>
                    </a:lnTo>
                    <a:lnTo>
                      <a:pt x="1181" y="1333"/>
                    </a:lnTo>
                    <a:lnTo>
                      <a:pt x="1183" y="1333"/>
                    </a:lnTo>
                    <a:lnTo>
                      <a:pt x="1183" y="1332"/>
                    </a:lnTo>
                    <a:lnTo>
                      <a:pt x="1183" y="1330"/>
                    </a:lnTo>
                    <a:lnTo>
                      <a:pt x="1181" y="1328"/>
                    </a:lnTo>
                    <a:lnTo>
                      <a:pt x="1181" y="1327"/>
                    </a:lnTo>
                    <a:lnTo>
                      <a:pt x="1183" y="1327"/>
                    </a:lnTo>
                    <a:lnTo>
                      <a:pt x="1183" y="1325"/>
                    </a:lnTo>
                    <a:lnTo>
                      <a:pt x="1183" y="1323"/>
                    </a:lnTo>
                    <a:lnTo>
                      <a:pt x="1185" y="1325"/>
                    </a:lnTo>
                    <a:close/>
                    <a:moveTo>
                      <a:pt x="1169" y="1242"/>
                    </a:moveTo>
                    <a:lnTo>
                      <a:pt x="1171" y="1242"/>
                    </a:lnTo>
                    <a:lnTo>
                      <a:pt x="1171" y="1243"/>
                    </a:lnTo>
                    <a:lnTo>
                      <a:pt x="1171" y="1245"/>
                    </a:lnTo>
                    <a:lnTo>
                      <a:pt x="1171" y="1247"/>
                    </a:lnTo>
                    <a:lnTo>
                      <a:pt x="1169" y="1247"/>
                    </a:lnTo>
                    <a:lnTo>
                      <a:pt x="1169" y="1245"/>
                    </a:lnTo>
                    <a:lnTo>
                      <a:pt x="1169" y="1247"/>
                    </a:lnTo>
                    <a:lnTo>
                      <a:pt x="1169" y="1248"/>
                    </a:lnTo>
                    <a:lnTo>
                      <a:pt x="1168" y="1248"/>
                    </a:lnTo>
                    <a:lnTo>
                      <a:pt x="1169" y="1248"/>
                    </a:lnTo>
                    <a:lnTo>
                      <a:pt x="1171" y="1248"/>
                    </a:lnTo>
                    <a:lnTo>
                      <a:pt x="1171" y="1250"/>
                    </a:lnTo>
                    <a:lnTo>
                      <a:pt x="1171" y="1252"/>
                    </a:lnTo>
                    <a:lnTo>
                      <a:pt x="1169" y="1252"/>
                    </a:lnTo>
                    <a:lnTo>
                      <a:pt x="1168" y="1252"/>
                    </a:lnTo>
                    <a:lnTo>
                      <a:pt x="1168" y="1250"/>
                    </a:lnTo>
                    <a:lnTo>
                      <a:pt x="1166" y="1250"/>
                    </a:lnTo>
                    <a:lnTo>
                      <a:pt x="1164" y="1250"/>
                    </a:lnTo>
                    <a:lnTo>
                      <a:pt x="1164" y="1248"/>
                    </a:lnTo>
                    <a:lnTo>
                      <a:pt x="1164" y="1247"/>
                    </a:lnTo>
                    <a:lnTo>
                      <a:pt x="1166" y="1248"/>
                    </a:lnTo>
                    <a:lnTo>
                      <a:pt x="1168" y="1248"/>
                    </a:lnTo>
                    <a:lnTo>
                      <a:pt x="1166" y="1248"/>
                    </a:lnTo>
                    <a:lnTo>
                      <a:pt x="1164" y="1247"/>
                    </a:lnTo>
                    <a:lnTo>
                      <a:pt x="1166" y="1247"/>
                    </a:lnTo>
                    <a:lnTo>
                      <a:pt x="1164" y="1245"/>
                    </a:lnTo>
                    <a:lnTo>
                      <a:pt x="1166" y="1245"/>
                    </a:lnTo>
                    <a:lnTo>
                      <a:pt x="1166" y="1243"/>
                    </a:lnTo>
                    <a:lnTo>
                      <a:pt x="1168" y="1245"/>
                    </a:lnTo>
                    <a:lnTo>
                      <a:pt x="1168" y="1243"/>
                    </a:lnTo>
                    <a:lnTo>
                      <a:pt x="1168" y="1245"/>
                    </a:lnTo>
                    <a:lnTo>
                      <a:pt x="1168" y="1243"/>
                    </a:lnTo>
                    <a:lnTo>
                      <a:pt x="1169" y="1243"/>
                    </a:lnTo>
                    <a:lnTo>
                      <a:pt x="1168" y="1243"/>
                    </a:lnTo>
                    <a:lnTo>
                      <a:pt x="1166" y="1242"/>
                    </a:lnTo>
                    <a:lnTo>
                      <a:pt x="1168" y="1242"/>
                    </a:lnTo>
                    <a:lnTo>
                      <a:pt x="1169" y="1242"/>
                    </a:lnTo>
                    <a:close/>
                    <a:moveTo>
                      <a:pt x="1162" y="1286"/>
                    </a:moveTo>
                    <a:lnTo>
                      <a:pt x="1162" y="1288"/>
                    </a:lnTo>
                    <a:lnTo>
                      <a:pt x="1162" y="1289"/>
                    </a:lnTo>
                    <a:lnTo>
                      <a:pt x="1162" y="1291"/>
                    </a:lnTo>
                    <a:lnTo>
                      <a:pt x="1161" y="1291"/>
                    </a:lnTo>
                    <a:lnTo>
                      <a:pt x="1161" y="1293"/>
                    </a:lnTo>
                    <a:lnTo>
                      <a:pt x="1161" y="1294"/>
                    </a:lnTo>
                    <a:lnTo>
                      <a:pt x="1159" y="1293"/>
                    </a:lnTo>
                    <a:lnTo>
                      <a:pt x="1157" y="1291"/>
                    </a:lnTo>
                    <a:lnTo>
                      <a:pt x="1156" y="1291"/>
                    </a:lnTo>
                    <a:lnTo>
                      <a:pt x="1156" y="1289"/>
                    </a:lnTo>
                    <a:lnTo>
                      <a:pt x="1156" y="1291"/>
                    </a:lnTo>
                    <a:lnTo>
                      <a:pt x="1156" y="1289"/>
                    </a:lnTo>
                    <a:lnTo>
                      <a:pt x="1157" y="1288"/>
                    </a:lnTo>
                    <a:lnTo>
                      <a:pt x="1159" y="1288"/>
                    </a:lnTo>
                    <a:lnTo>
                      <a:pt x="1159" y="1289"/>
                    </a:lnTo>
                    <a:lnTo>
                      <a:pt x="1159" y="1288"/>
                    </a:lnTo>
                    <a:lnTo>
                      <a:pt x="1157" y="1288"/>
                    </a:lnTo>
                    <a:lnTo>
                      <a:pt x="1159" y="1286"/>
                    </a:lnTo>
                    <a:lnTo>
                      <a:pt x="1161" y="1284"/>
                    </a:lnTo>
                    <a:lnTo>
                      <a:pt x="1161" y="1282"/>
                    </a:lnTo>
                    <a:lnTo>
                      <a:pt x="1162" y="1282"/>
                    </a:lnTo>
                    <a:lnTo>
                      <a:pt x="1162" y="1284"/>
                    </a:lnTo>
                    <a:lnTo>
                      <a:pt x="1162" y="1286"/>
                    </a:lnTo>
                    <a:close/>
                    <a:moveTo>
                      <a:pt x="1188" y="1265"/>
                    </a:moveTo>
                    <a:lnTo>
                      <a:pt x="1188" y="1267"/>
                    </a:lnTo>
                    <a:lnTo>
                      <a:pt x="1188" y="1269"/>
                    </a:lnTo>
                    <a:lnTo>
                      <a:pt x="1190" y="1270"/>
                    </a:lnTo>
                    <a:lnTo>
                      <a:pt x="1188" y="1270"/>
                    </a:lnTo>
                    <a:lnTo>
                      <a:pt x="1190" y="1270"/>
                    </a:lnTo>
                    <a:lnTo>
                      <a:pt x="1190" y="1272"/>
                    </a:lnTo>
                    <a:lnTo>
                      <a:pt x="1191" y="1274"/>
                    </a:lnTo>
                    <a:lnTo>
                      <a:pt x="1190" y="1276"/>
                    </a:lnTo>
                    <a:lnTo>
                      <a:pt x="1188" y="1276"/>
                    </a:lnTo>
                    <a:lnTo>
                      <a:pt x="1188" y="1274"/>
                    </a:lnTo>
                    <a:lnTo>
                      <a:pt x="1186" y="1274"/>
                    </a:lnTo>
                    <a:lnTo>
                      <a:pt x="1188" y="1274"/>
                    </a:lnTo>
                    <a:lnTo>
                      <a:pt x="1188" y="1272"/>
                    </a:lnTo>
                    <a:lnTo>
                      <a:pt x="1186" y="1272"/>
                    </a:lnTo>
                    <a:lnTo>
                      <a:pt x="1185" y="1272"/>
                    </a:lnTo>
                    <a:lnTo>
                      <a:pt x="1183" y="1270"/>
                    </a:lnTo>
                    <a:lnTo>
                      <a:pt x="1181" y="1270"/>
                    </a:lnTo>
                    <a:lnTo>
                      <a:pt x="1181" y="1269"/>
                    </a:lnTo>
                    <a:lnTo>
                      <a:pt x="1183" y="1269"/>
                    </a:lnTo>
                    <a:lnTo>
                      <a:pt x="1185" y="1269"/>
                    </a:lnTo>
                    <a:lnTo>
                      <a:pt x="1185" y="1270"/>
                    </a:lnTo>
                    <a:lnTo>
                      <a:pt x="1186" y="1270"/>
                    </a:lnTo>
                    <a:lnTo>
                      <a:pt x="1188" y="1272"/>
                    </a:lnTo>
                    <a:lnTo>
                      <a:pt x="1186" y="1270"/>
                    </a:lnTo>
                    <a:lnTo>
                      <a:pt x="1185" y="1269"/>
                    </a:lnTo>
                    <a:lnTo>
                      <a:pt x="1185" y="1267"/>
                    </a:lnTo>
                    <a:lnTo>
                      <a:pt x="1186" y="1265"/>
                    </a:lnTo>
                    <a:lnTo>
                      <a:pt x="1188" y="1265"/>
                    </a:lnTo>
                    <a:close/>
                    <a:moveTo>
                      <a:pt x="1186" y="1403"/>
                    </a:moveTo>
                    <a:lnTo>
                      <a:pt x="1186" y="1405"/>
                    </a:lnTo>
                    <a:lnTo>
                      <a:pt x="1188" y="1407"/>
                    </a:lnTo>
                    <a:lnTo>
                      <a:pt x="1188" y="1408"/>
                    </a:lnTo>
                    <a:lnTo>
                      <a:pt x="1188" y="1410"/>
                    </a:lnTo>
                    <a:lnTo>
                      <a:pt x="1188" y="1412"/>
                    </a:lnTo>
                    <a:lnTo>
                      <a:pt x="1190" y="1412"/>
                    </a:lnTo>
                    <a:lnTo>
                      <a:pt x="1190" y="1413"/>
                    </a:lnTo>
                    <a:lnTo>
                      <a:pt x="1190" y="1415"/>
                    </a:lnTo>
                    <a:lnTo>
                      <a:pt x="1190" y="1417"/>
                    </a:lnTo>
                    <a:lnTo>
                      <a:pt x="1191" y="1418"/>
                    </a:lnTo>
                    <a:lnTo>
                      <a:pt x="1190" y="1418"/>
                    </a:lnTo>
                    <a:lnTo>
                      <a:pt x="1190" y="1420"/>
                    </a:lnTo>
                    <a:lnTo>
                      <a:pt x="1188" y="1420"/>
                    </a:lnTo>
                    <a:lnTo>
                      <a:pt x="1188" y="1422"/>
                    </a:lnTo>
                    <a:lnTo>
                      <a:pt x="1188" y="1420"/>
                    </a:lnTo>
                    <a:lnTo>
                      <a:pt x="1188" y="1418"/>
                    </a:lnTo>
                    <a:lnTo>
                      <a:pt x="1188" y="1417"/>
                    </a:lnTo>
                    <a:lnTo>
                      <a:pt x="1186" y="1415"/>
                    </a:lnTo>
                    <a:lnTo>
                      <a:pt x="1188" y="1415"/>
                    </a:lnTo>
                    <a:lnTo>
                      <a:pt x="1186" y="1413"/>
                    </a:lnTo>
                    <a:lnTo>
                      <a:pt x="1186" y="1412"/>
                    </a:lnTo>
                    <a:lnTo>
                      <a:pt x="1186" y="1410"/>
                    </a:lnTo>
                    <a:lnTo>
                      <a:pt x="1186" y="1408"/>
                    </a:lnTo>
                    <a:lnTo>
                      <a:pt x="1185" y="1407"/>
                    </a:lnTo>
                    <a:lnTo>
                      <a:pt x="1186" y="1407"/>
                    </a:lnTo>
                    <a:lnTo>
                      <a:pt x="1185" y="1407"/>
                    </a:lnTo>
                    <a:lnTo>
                      <a:pt x="1186" y="1407"/>
                    </a:lnTo>
                    <a:lnTo>
                      <a:pt x="1186" y="1405"/>
                    </a:lnTo>
                    <a:lnTo>
                      <a:pt x="1185" y="1405"/>
                    </a:lnTo>
                    <a:lnTo>
                      <a:pt x="1185" y="1403"/>
                    </a:lnTo>
                    <a:lnTo>
                      <a:pt x="1186" y="1403"/>
                    </a:lnTo>
                    <a:close/>
                    <a:moveTo>
                      <a:pt x="1185" y="1112"/>
                    </a:moveTo>
                    <a:lnTo>
                      <a:pt x="1186" y="1114"/>
                    </a:lnTo>
                    <a:lnTo>
                      <a:pt x="1188" y="1114"/>
                    </a:lnTo>
                    <a:lnTo>
                      <a:pt x="1188" y="1116"/>
                    </a:lnTo>
                    <a:lnTo>
                      <a:pt x="1188" y="1114"/>
                    </a:lnTo>
                    <a:lnTo>
                      <a:pt x="1190" y="1114"/>
                    </a:lnTo>
                    <a:lnTo>
                      <a:pt x="1190" y="1116"/>
                    </a:lnTo>
                    <a:lnTo>
                      <a:pt x="1190" y="1117"/>
                    </a:lnTo>
                    <a:lnTo>
                      <a:pt x="1188" y="1117"/>
                    </a:lnTo>
                    <a:lnTo>
                      <a:pt x="1190" y="1117"/>
                    </a:lnTo>
                    <a:lnTo>
                      <a:pt x="1190" y="1119"/>
                    </a:lnTo>
                    <a:lnTo>
                      <a:pt x="1190" y="1121"/>
                    </a:lnTo>
                    <a:lnTo>
                      <a:pt x="1188" y="1121"/>
                    </a:lnTo>
                    <a:lnTo>
                      <a:pt x="1188" y="1119"/>
                    </a:lnTo>
                    <a:lnTo>
                      <a:pt x="1188" y="1117"/>
                    </a:lnTo>
                    <a:lnTo>
                      <a:pt x="1188" y="1116"/>
                    </a:lnTo>
                    <a:lnTo>
                      <a:pt x="1188" y="1114"/>
                    </a:lnTo>
                    <a:lnTo>
                      <a:pt x="1186" y="1116"/>
                    </a:lnTo>
                    <a:lnTo>
                      <a:pt x="1188" y="1117"/>
                    </a:lnTo>
                    <a:lnTo>
                      <a:pt x="1186" y="1117"/>
                    </a:lnTo>
                    <a:lnTo>
                      <a:pt x="1186" y="1116"/>
                    </a:lnTo>
                    <a:lnTo>
                      <a:pt x="1186" y="1117"/>
                    </a:lnTo>
                    <a:lnTo>
                      <a:pt x="1186" y="1119"/>
                    </a:lnTo>
                    <a:lnTo>
                      <a:pt x="1186" y="1121"/>
                    </a:lnTo>
                    <a:lnTo>
                      <a:pt x="1186" y="1119"/>
                    </a:lnTo>
                    <a:lnTo>
                      <a:pt x="1185" y="1119"/>
                    </a:lnTo>
                    <a:lnTo>
                      <a:pt x="1185" y="1117"/>
                    </a:lnTo>
                    <a:lnTo>
                      <a:pt x="1183" y="1117"/>
                    </a:lnTo>
                    <a:lnTo>
                      <a:pt x="1183" y="1116"/>
                    </a:lnTo>
                    <a:lnTo>
                      <a:pt x="1183" y="1114"/>
                    </a:lnTo>
                    <a:lnTo>
                      <a:pt x="1183" y="1112"/>
                    </a:lnTo>
                    <a:lnTo>
                      <a:pt x="1185" y="1112"/>
                    </a:lnTo>
                    <a:close/>
                    <a:moveTo>
                      <a:pt x="1161" y="1235"/>
                    </a:moveTo>
                    <a:lnTo>
                      <a:pt x="1159" y="1236"/>
                    </a:lnTo>
                    <a:lnTo>
                      <a:pt x="1161" y="1236"/>
                    </a:lnTo>
                    <a:lnTo>
                      <a:pt x="1161" y="1238"/>
                    </a:lnTo>
                    <a:lnTo>
                      <a:pt x="1159" y="1240"/>
                    </a:lnTo>
                    <a:lnTo>
                      <a:pt x="1157" y="1240"/>
                    </a:lnTo>
                    <a:lnTo>
                      <a:pt x="1159" y="1240"/>
                    </a:lnTo>
                    <a:lnTo>
                      <a:pt x="1161" y="1240"/>
                    </a:lnTo>
                    <a:lnTo>
                      <a:pt x="1162" y="1240"/>
                    </a:lnTo>
                    <a:lnTo>
                      <a:pt x="1162" y="1242"/>
                    </a:lnTo>
                    <a:lnTo>
                      <a:pt x="1161" y="1242"/>
                    </a:lnTo>
                    <a:lnTo>
                      <a:pt x="1161" y="1243"/>
                    </a:lnTo>
                    <a:lnTo>
                      <a:pt x="1159" y="1243"/>
                    </a:lnTo>
                    <a:lnTo>
                      <a:pt x="1157" y="1243"/>
                    </a:lnTo>
                    <a:lnTo>
                      <a:pt x="1157" y="1242"/>
                    </a:lnTo>
                    <a:lnTo>
                      <a:pt x="1156" y="1240"/>
                    </a:lnTo>
                    <a:lnTo>
                      <a:pt x="1156" y="1242"/>
                    </a:lnTo>
                    <a:lnTo>
                      <a:pt x="1157" y="1243"/>
                    </a:lnTo>
                    <a:lnTo>
                      <a:pt x="1156" y="1243"/>
                    </a:lnTo>
                    <a:lnTo>
                      <a:pt x="1156" y="1242"/>
                    </a:lnTo>
                    <a:lnTo>
                      <a:pt x="1156" y="1240"/>
                    </a:lnTo>
                    <a:lnTo>
                      <a:pt x="1154" y="1240"/>
                    </a:lnTo>
                    <a:lnTo>
                      <a:pt x="1152" y="1240"/>
                    </a:lnTo>
                    <a:lnTo>
                      <a:pt x="1151" y="1240"/>
                    </a:lnTo>
                    <a:lnTo>
                      <a:pt x="1151" y="1242"/>
                    </a:lnTo>
                    <a:lnTo>
                      <a:pt x="1151" y="1240"/>
                    </a:lnTo>
                    <a:lnTo>
                      <a:pt x="1151" y="1238"/>
                    </a:lnTo>
                    <a:lnTo>
                      <a:pt x="1152" y="1238"/>
                    </a:lnTo>
                    <a:lnTo>
                      <a:pt x="1152" y="1236"/>
                    </a:lnTo>
                    <a:lnTo>
                      <a:pt x="1152" y="1238"/>
                    </a:lnTo>
                    <a:lnTo>
                      <a:pt x="1154" y="1236"/>
                    </a:lnTo>
                    <a:lnTo>
                      <a:pt x="1154" y="1238"/>
                    </a:lnTo>
                    <a:lnTo>
                      <a:pt x="1154" y="1240"/>
                    </a:lnTo>
                    <a:lnTo>
                      <a:pt x="1154" y="1238"/>
                    </a:lnTo>
                    <a:lnTo>
                      <a:pt x="1156" y="1238"/>
                    </a:lnTo>
                    <a:lnTo>
                      <a:pt x="1157" y="1238"/>
                    </a:lnTo>
                    <a:lnTo>
                      <a:pt x="1157" y="1236"/>
                    </a:lnTo>
                    <a:lnTo>
                      <a:pt x="1159" y="1236"/>
                    </a:lnTo>
                    <a:lnTo>
                      <a:pt x="1157" y="1236"/>
                    </a:lnTo>
                    <a:lnTo>
                      <a:pt x="1159" y="1235"/>
                    </a:lnTo>
                    <a:lnTo>
                      <a:pt x="1161" y="1235"/>
                    </a:lnTo>
                    <a:close/>
                    <a:moveTo>
                      <a:pt x="1234" y="1456"/>
                    </a:moveTo>
                    <a:lnTo>
                      <a:pt x="1234" y="1458"/>
                    </a:lnTo>
                    <a:lnTo>
                      <a:pt x="1232" y="1458"/>
                    </a:lnTo>
                    <a:lnTo>
                      <a:pt x="1232" y="1459"/>
                    </a:lnTo>
                    <a:lnTo>
                      <a:pt x="1232" y="1461"/>
                    </a:lnTo>
                    <a:lnTo>
                      <a:pt x="1230" y="1461"/>
                    </a:lnTo>
                    <a:lnTo>
                      <a:pt x="1230" y="1463"/>
                    </a:lnTo>
                    <a:lnTo>
                      <a:pt x="1230" y="1464"/>
                    </a:lnTo>
                    <a:lnTo>
                      <a:pt x="1229" y="1464"/>
                    </a:lnTo>
                    <a:lnTo>
                      <a:pt x="1229" y="1466"/>
                    </a:lnTo>
                    <a:lnTo>
                      <a:pt x="1227" y="1466"/>
                    </a:lnTo>
                    <a:lnTo>
                      <a:pt x="1225" y="1466"/>
                    </a:lnTo>
                    <a:lnTo>
                      <a:pt x="1225" y="1464"/>
                    </a:lnTo>
                    <a:lnTo>
                      <a:pt x="1225" y="1463"/>
                    </a:lnTo>
                    <a:lnTo>
                      <a:pt x="1225" y="1461"/>
                    </a:lnTo>
                    <a:lnTo>
                      <a:pt x="1227" y="1461"/>
                    </a:lnTo>
                    <a:lnTo>
                      <a:pt x="1227" y="1459"/>
                    </a:lnTo>
                    <a:lnTo>
                      <a:pt x="1229" y="1458"/>
                    </a:lnTo>
                    <a:lnTo>
                      <a:pt x="1230" y="1458"/>
                    </a:lnTo>
                    <a:lnTo>
                      <a:pt x="1230" y="1456"/>
                    </a:lnTo>
                    <a:lnTo>
                      <a:pt x="1232" y="1456"/>
                    </a:lnTo>
                    <a:lnTo>
                      <a:pt x="1234" y="1456"/>
                    </a:lnTo>
                    <a:lnTo>
                      <a:pt x="1234" y="1454"/>
                    </a:lnTo>
                    <a:lnTo>
                      <a:pt x="1234" y="1456"/>
                    </a:lnTo>
                    <a:close/>
                    <a:moveTo>
                      <a:pt x="1183" y="1117"/>
                    </a:moveTo>
                    <a:lnTo>
                      <a:pt x="1185" y="1117"/>
                    </a:lnTo>
                    <a:lnTo>
                      <a:pt x="1185" y="1119"/>
                    </a:lnTo>
                    <a:lnTo>
                      <a:pt x="1186" y="1119"/>
                    </a:lnTo>
                    <a:lnTo>
                      <a:pt x="1186" y="1121"/>
                    </a:lnTo>
                    <a:lnTo>
                      <a:pt x="1186" y="1122"/>
                    </a:lnTo>
                    <a:lnTo>
                      <a:pt x="1188" y="1124"/>
                    </a:lnTo>
                    <a:lnTo>
                      <a:pt x="1186" y="1124"/>
                    </a:lnTo>
                    <a:lnTo>
                      <a:pt x="1185" y="1124"/>
                    </a:lnTo>
                    <a:lnTo>
                      <a:pt x="1183" y="1124"/>
                    </a:lnTo>
                    <a:lnTo>
                      <a:pt x="1183" y="1122"/>
                    </a:lnTo>
                    <a:lnTo>
                      <a:pt x="1181" y="1122"/>
                    </a:lnTo>
                    <a:lnTo>
                      <a:pt x="1179" y="1122"/>
                    </a:lnTo>
                    <a:lnTo>
                      <a:pt x="1179" y="1121"/>
                    </a:lnTo>
                    <a:lnTo>
                      <a:pt x="1179" y="1119"/>
                    </a:lnTo>
                    <a:lnTo>
                      <a:pt x="1181" y="1117"/>
                    </a:lnTo>
                    <a:lnTo>
                      <a:pt x="1183" y="1117"/>
                    </a:lnTo>
                    <a:close/>
                    <a:moveTo>
                      <a:pt x="1173" y="1373"/>
                    </a:moveTo>
                    <a:lnTo>
                      <a:pt x="1174" y="1373"/>
                    </a:lnTo>
                    <a:lnTo>
                      <a:pt x="1174" y="1374"/>
                    </a:lnTo>
                    <a:lnTo>
                      <a:pt x="1176" y="1374"/>
                    </a:lnTo>
                    <a:lnTo>
                      <a:pt x="1178" y="1374"/>
                    </a:lnTo>
                    <a:lnTo>
                      <a:pt x="1176" y="1374"/>
                    </a:lnTo>
                    <a:lnTo>
                      <a:pt x="1178" y="1374"/>
                    </a:lnTo>
                    <a:lnTo>
                      <a:pt x="1178" y="1376"/>
                    </a:lnTo>
                    <a:lnTo>
                      <a:pt x="1176" y="1376"/>
                    </a:lnTo>
                    <a:lnTo>
                      <a:pt x="1176" y="1378"/>
                    </a:lnTo>
                    <a:lnTo>
                      <a:pt x="1176" y="1376"/>
                    </a:lnTo>
                    <a:lnTo>
                      <a:pt x="1176" y="1378"/>
                    </a:lnTo>
                    <a:lnTo>
                      <a:pt x="1174" y="1378"/>
                    </a:lnTo>
                    <a:lnTo>
                      <a:pt x="1174" y="1379"/>
                    </a:lnTo>
                    <a:lnTo>
                      <a:pt x="1173" y="1379"/>
                    </a:lnTo>
                    <a:lnTo>
                      <a:pt x="1173" y="1381"/>
                    </a:lnTo>
                    <a:lnTo>
                      <a:pt x="1171" y="1381"/>
                    </a:lnTo>
                    <a:lnTo>
                      <a:pt x="1169" y="1379"/>
                    </a:lnTo>
                    <a:lnTo>
                      <a:pt x="1171" y="1379"/>
                    </a:lnTo>
                    <a:lnTo>
                      <a:pt x="1171" y="1378"/>
                    </a:lnTo>
                    <a:lnTo>
                      <a:pt x="1171" y="1379"/>
                    </a:lnTo>
                    <a:lnTo>
                      <a:pt x="1171" y="1378"/>
                    </a:lnTo>
                    <a:lnTo>
                      <a:pt x="1171" y="1376"/>
                    </a:lnTo>
                    <a:lnTo>
                      <a:pt x="1171" y="1378"/>
                    </a:lnTo>
                    <a:lnTo>
                      <a:pt x="1169" y="1378"/>
                    </a:lnTo>
                    <a:lnTo>
                      <a:pt x="1169" y="1376"/>
                    </a:lnTo>
                    <a:lnTo>
                      <a:pt x="1171" y="1376"/>
                    </a:lnTo>
                    <a:lnTo>
                      <a:pt x="1171" y="1374"/>
                    </a:lnTo>
                    <a:lnTo>
                      <a:pt x="1173" y="1374"/>
                    </a:lnTo>
                    <a:lnTo>
                      <a:pt x="1173" y="1373"/>
                    </a:lnTo>
                    <a:close/>
                    <a:moveTo>
                      <a:pt x="1436" y="1645"/>
                    </a:moveTo>
                    <a:lnTo>
                      <a:pt x="1438" y="1645"/>
                    </a:lnTo>
                    <a:lnTo>
                      <a:pt x="1438" y="1646"/>
                    </a:lnTo>
                    <a:lnTo>
                      <a:pt x="1438" y="1648"/>
                    </a:lnTo>
                    <a:lnTo>
                      <a:pt x="1438" y="1650"/>
                    </a:lnTo>
                    <a:lnTo>
                      <a:pt x="1438" y="1652"/>
                    </a:lnTo>
                    <a:lnTo>
                      <a:pt x="1436" y="1652"/>
                    </a:lnTo>
                    <a:lnTo>
                      <a:pt x="1438" y="1653"/>
                    </a:lnTo>
                    <a:lnTo>
                      <a:pt x="1436" y="1652"/>
                    </a:lnTo>
                    <a:lnTo>
                      <a:pt x="1436" y="1653"/>
                    </a:lnTo>
                    <a:lnTo>
                      <a:pt x="1434" y="1653"/>
                    </a:lnTo>
                    <a:lnTo>
                      <a:pt x="1433" y="1653"/>
                    </a:lnTo>
                    <a:lnTo>
                      <a:pt x="1431" y="1653"/>
                    </a:lnTo>
                    <a:lnTo>
                      <a:pt x="1431" y="1652"/>
                    </a:lnTo>
                    <a:lnTo>
                      <a:pt x="1431" y="1650"/>
                    </a:lnTo>
                    <a:lnTo>
                      <a:pt x="1431" y="1648"/>
                    </a:lnTo>
                    <a:lnTo>
                      <a:pt x="1433" y="1646"/>
                    </a:lnTo>
                    <a:lnTo>
                      <a:pt x="1434" y="1645"/>
                    </a:lnTo>
                    <a:lnTo>
                      <a:pt x="1436" y="1645"/>
                    </a:lnTo>
                    <a:close/>
                    <a:moveTo>
                      <a:pt x="1171" y="1036"/>
                    </a:moveTo>
                    <a:lnTo>
                      <a:pt x="1173" y="1036"/>
                    </a:lnTo>
                    <a:lnTo>
                      <a:pt x="1174" y="1036"/>
                    </a:lnTo>
                    <a:lnTo>
                      <a:pt x="1176" y="1037"/>
                    </a:lnTo>
                    <a:lnTo>
                      <a:pt x="1176" y="1039"/>
                    </a:lnTo>
                    <a:lnTo>
                      <a:pt x="1178" y="1039"/>
                    </a:lnTo>
                    <a:lnTo>
                      <a:pt x="1176" y="1039"/>
                    </a:lnTo>
                    <a:lnTo>
                      <a:pt x="1176" y="1041"/>
                    </a:lnTo>
                    <a:lnTo>
                      <a:pt x="1174" y="1041"/>
                    </a:lnTo>
                    <a:lnTo>
                      <a:pt x="1173" y="1041"/>
                    </a:lnTo>
                    <a:lnTo>
                      <a:pt x="1171" y="1041"/>
                    </a:lnTo>
                    <a:lnTo>
                      <a:pt x="1171" y="1043"/>
                    </a:lnTo>
                    <a:lnTo>
                      <a:pt x="1169" y="1041"/>
                    </a:lnTo>
                    <a:lnTo>
                      <a:pt x="1169" y="1039"/>
                    </a:lnTo>
                    <a:lnTo>
                      <a:pt x="1169" y="1037"/>
                    </a:lnTo>
                    <a:lnTo>
                      <a:pt x="1168" y="1037"/>
                    </a:lnTo>
                    <a:lnTo>
                      <a:pt x="1169" y="1037"/>
                    </a:lnTo>
                    <a:lnTo>
                      <a:pt x="1168" y="1036"/>
                    </a:lnTo>
                    <a:lnTo>
                      <a:pt x="1169" y="1037"/>
                    </a:lnTo>
                    <a:lnTo>
                      <a:pt x="1171" y="1037"/>
                    </a:lnTo>
                    <a:lnTo>
                      <a:pt x="1171" y="1036"/>
                    </a:lnTo>
                    <a:lnTo>
                      <a:pt x="1171" y="1034"/>
                    </a:lnTo>
                    <a:lnTo>
                      <a:pt x="1171" y="1036"/>
                    </a:lnTo>
                    <a:close/>
                    <a:moveTo>
                      <a:pt x="1195" y="1420"/>
                    </a:moveTo>
                    <a:lnTo>
                      <a:pt x="1196" y="1420"/>
                    </a:lnTo>
                    <a:lnTo>
                      <a:pt x="1198" y="1420"/>
                    </a:lnTo>
                    <a:lnTo>
                      <a:pt x="1198" y="1422"/>
                    </a:lnTo>
                    <a:lnTo>
                      <a:pt x="1198" y="1424"/>
                    </a:lnTo>
                    <a:lnTo>
                      <a:pt x="1198" y="1425"/>
                    </a:lnTo>
                    <a:lnTo>
                      <a:pt x="1196" y="1424"/>
                    </a:lnTo>
                    <a:lnTo>
                      <a:pt x="1196" y="1425"/>
                    </a:lnTo>
                    <a:lnTo>
                      <a:pt x="1198" y="1427"/>
                    </a:lnTo>
                    <a:lnTo>
                      <a:pt x="1196" y="1427"/>
                    </a:lnTo>
                    <a:lnTo>
                      <a:pt x="1195" y="1429"/>
                    </a:lnTo>
                    <a:lnTo>
                      <a:pt x="1195" y="1427"/>
                    </a:lnTo>
                    <a:lnTo>
                      <a:pt x="1193" y="1425"/>
                    </a:lnTo>
                    <a:lnTo>
                      <a:pt x="1193" y="1424"/>
                    </a:lnTo>
                    <a:lnTo>
                      <a:pt x="1193" y="1425"/>
                    </a:lnTo>
                    <a:lnTo>
                      <a:pt x="1193" y="1424"/>
                    </a:lnTo>
                    <a:lnTo>
                      <a:pt x="1193" y="1422"/>
                    </a:lnTo>
                    <a:lnTo>
                      <a:pt x="1193" y="1420"/>
                    </a:lnTo>
                    <a:lnTo>
                      <a:pt x="1195" y="1420"/>
                    </a:lnTo>
                    <a:close/>
                    <a:moveTo>
                      <a:pt x="1412" y="1680"/>
                    </a:moveTo>
                    <a:lnTo>
                      <a:pt x="1414" y="1680"/>
                    </a:lnTo>
                    <a:lnTo>
                      <a:pt x="1416" y="1682"/>
                    </a:lnTo>
                    <a:lnTo>
                      <a:pt x="1414" y="1682"/>
                    </a:lnTo>
                    <a:lnTo>
                      <a:pt x="1414" y="1684"/>
                    </a:lnTo>
                    <a:lnTo>
                      <a:pt x="1412" y="1684"/>
                    </a:lnTo>
                    <a:lnTo>
                      <a:pt x="1414" y="1684"/>
                    </a:lnTo>
                    <a:lnTo>
                      <a:pt x="1414" y="1686"/>
                    </a:lnTo>
                    <a:lnTo>
                      <a:pt x="1412" y="1686"/>
                    </a:lnTo>
                    <a:lnTo>
                      <a:pt x="1412" y="1684"/>
                    </a:lnTo>
                    <a:lnTo>
                      <a:pt x="1412" y="1686"/>
                    </a:lnTo>
                    <a:lnTo>
                      <a:pt x="1411" y="1687"/>
                    </a:lnTo>
                    <a:lnTo>
                      <a:pt x="1411" y="1686"/>
                    </a:lnTo>
                    <a:lnTo>
                      <a:pt x="1411" y="1684"/>
                    </a:lnTo>
                    <a:lnTo>
                      <a:pt x="1412" y="1684"/>
                    </a:lnTo>
                    <a:lnTo>
                      <a:pt x="1411" y="1682"/>
                    </a:lnTo>
                    <a:lnTo>
                      <a:pt x="1411" y="1684"/>
                    </a:lnTo>
                    <a:lnTo>
                      <a:pt x="1409" y="1684"/>
                    </a:lnTo>
                    <a:lnTo>
                      <a:pt x="1409" y="1686"/>
                    </a:lnTo>
                    <a:lnTo>
                      <a:pt x="1407" y="1686"/>
                    </a:lnTo>
                    <a:lnTo>
                      <a:pt x="1407" y="1684"/>
                    </a:lnTo>
                    <a:lnTo>
                      <a:pt x="1407" y="1682"/>
                    </a:lnTo>
                    <a:lnTo>
                      <a:pt x="1407" y="1684"/>
                    </a:lnTo>
                    <a:lnTo>
                      <a:pt x="1406" y="1684"/>
                    </a:lnTo>
                    <a:lnTo>
                      <a:pt x="1406" y="1686"/>
                    </a:lnTo>
                    <a:lnTo>
                      <a:pt x="1404" y="1686"/>
                    </a:lnTo>
                    <a:lnTo>
                      <a:pt x="1404" y="1684"/>
                    </a:lnTo>
                    <a:lnTo>
                      <a:pt x="1404" y="1686"/>
                    </a:lnTo>
                    <a:lnTo>
                      <a:pt x="1402" y="1686"/>
                    </a:lnTo>
                    <a:lnTo>
                      <a:pt x="1402" y="1684"/>
                    </a:lnTo>
                    <a:lnTo>
                      <a:pt x="1402" y="1682"/>
                    </a:lnTo>
                    <a:lnTo>
                      <a:pt x="1402" y="1680"/>
                    </a:lnTo>
                    <a:lnTo>
                      <a:pt x="1404" y="1682"/>
                    </a:lnTo>
                    <a:lnTo>
                      <a:pt x="1404" y="1680"/>
                    </a:lnTo>
                    <a:lnTo>
                      <a:pt x="1406" y="1680"/>
                    </a:lnTo>
                    <a:lnTo>
                      <a:pt x="1406" y="1682"/>
                    </a:lnTo>
                    <a:lnTo>
                      <a:pt x="1406" y="1680"/>
                    </a:lnTo>
                    <a:lnTo>
                      <a:pt x="1407" y="1682"/>
                    </a:lnTo>
                    <a:lnTo>
                      <a:pt x="1409" y="1680"/>
                    </a:lnTo>
                    <a:lnTo>
                      <a:pt x="1409" y="1682"/>
                    </a:lnTo>
                    <a:lnTo>
                      <a:pt x="1411" y="1680"/>
                    </a:lnTo>
                    <a:lnTo>
                      <a:pt x="1411" y="1682"/>
                    </a:lnTo>
                    <a:lnTo>
                      <a:pt x="1411" y="1680"/>
                    </a:lnTo>
                    <a:lnTo>
                      <a:pt x="1412" y="1682"/>
                    </a:lnTo>
                    <a:lnTo>
                      <a:pt x="1414" y="1680"/>
                    </a:lnTo>
                    <a:lnTo>
                      <a:pt x="1412" y="1680"/>
                    </a:lnTo>
                    <a:lnTo>
                      <a:pt x="1412" y="1679"/>
                    </a:lnTo>
                    <a:lnTo>
                      <a:pt x="1412" y="1680"/>
                    </a:lnTo>
                    <a:close/>
                    <a:moveTo>
                      <a:pt x="1162" y="1446"/>
                    </a:moveTo>
                    <a:lnTo>
                      <a:pt x="1164" y="1447"/>
                    </a:lnTo>
                    <a:lnTo>
                      <a:pt x="1162" y="1449"/>
                    </a:lnTo>
                    <a:lnTo>
                      <a:pt x="1164" y="1449"/>
                    </a:lnTo>
                    <a:lnTo>
                      <a:pt x="1162" y="1451"/>
                    </a:lnTo>
                    <a:lnTo>
                      <a:pt x="1164" y="1451"/>
                    </a:lnTo>
                    <a:lnTo>
                      <a:pt x="1164" y="1453"/>
                    </a:lnTo>
                    <a:lnTo>
                      <a:pt x="1162" y="1453"/>
                    </a:lnTo>
                    <a:lnTo>
                      <a:pt x="1162" y="1454"/>
                    </a:lnTo>
                    <a:lnTo>
                      <a:pt x="1162" y="1456"/>
                    </a:lnTo>
                    <a:lnTo>
                      <a:pt x="1161" y="1456"/>
                    </a:lnTo>
                    <a:lnTo>
                      <a:pt x="1161" y="1458"/>
                    </a:lnTo>
                    <a:lnTo>
                      <a:pt x="1159" y="1458"/>
                    </a:lnTo>
                    <a:lnTo>
                      <a:pt x="1159" y="1456"/>
                    </a:lnTo>
                    <a:lnTo>
                      <a:pt x="1161" y="1454"/>
                    </a:lnTo>
                    <a:lnTo>
                      <a:pt x="1161" y="1453"/>
                    </a:lnTo>
                    <a:lnTo>
                      <a:pt x="1159" y="1453"/>
                    </a:lnTo>
                    <a:lnTo>
                      <a:pt x="1159" y="1451"/>
                    </a:lnTo>
                    <a:lnTo>
                      <a:pt x="1161" y="1451"/>
                    </a:lnTo>
                    <a:lnTo>
                      <a:pt x="1159" y="1449"/>
                    </a:lnTo>
                    <a:lnTo>
                      <a:pt x="1161" y="1447"/>
                    </a:lnTo>
                    <a:lnTo>
                      <a:pt x="1161" y="1449"/>
                    </a:lnTo>
                    <a:lnTo>
                      <a:pt x="1161" y="1447"/>
                    </a:lnTo>
                    <a:lnTo>
                      <a:pt x="1162" y="1447"/>
                    </a:lnTo>
                    <a:lnTo>
                      <a:pt x="1162" y="1446"/>
                    </a:lnTo>
                    <a:close/>
                    <a:moveTo>
                      <a:pt x="1312" y="1623"/>
                    </a:moveTo>
                    <a:lnTo>
                      <a:pt x="1314" y="1623"/>
                    </a:lnTo>
                    <a:lnTo>
                      <a:pt x="1315" y="1623"/>
                    </a:lnTo>
                    <a:lnTo>
                      <a:pt x="1317" y="1623"/>
                    </a:lnTo>
                    <a:lnTo>
                      <a:pt x="1315" y="1624"/>
                    </a:lnTo>
                    <a:lnTo>
                      <a:pt x="1317" y="1624"/>
                    </a:lnTo>
                    <a:lnTo>
                      <a:pt x="1319" y="1624"/>
                    </a:lnTo>
                    <a:lnTo>
                      <a:pt x="1317" y="1626"/>
                    </a:lnTo>
                    <a:lnTo>
                      <a:pt x="1315" y="1626"/>
                    </a:lnTo>
                    <a:lnTo>
                      <a:pt x="1314" y="1626"/>
                    </a:lnTo>
                    <a:lnTo>
                      <a:pt x="1314" y="1628"/>
                    </a:lnTo>
                    <a:lnTo>
                      <a:pt x="1312" y="1626"/>
                    </a:lnTo>
                    <a:lnTo>
                      <a:pt x="1312" y="1628"/>
                    </a:lnTo>
                    <a:lnTo>
                      <a:pt x="1310" y="1628"/>
                    </a:lnTo>
                    <a:lnTo>
                      <a:pt x="1310" y="1626"/>
                    </a:lnTo>
                    <a:lnTo>
                      <a:pt x="1309" y="1628"/>
                    </a:lnTo>
                    <a:lnTo>
                      <a:pt x="1309" y="1626"/>
                    </a:lnTo>
                    <a:lnTo>
                      <a:pt x="1307" y="1624"/>
                    </a:lnTo>
                    <a:lnTo>
                      <a:pt x="1307" y="1626"/>
                    </a:lnTo>
                    <a:lnTo>
                      <a:pt x="1305" y="1626"/>
                    </a:lnTo>
                    <a:lnTo>
                      <a:pt x="1305" y="1624"/>
                    </a:lnTo>
                    <a:lnTo>
                      <a:pt x="1307" y="1624"/>
                    </a:lnTo>
                    <a:lnTo>
                      <a:pt x="1307" y="1623"/>
                    </a:lnTo>
                    <a:lnTo>
                      <a:pt x="1309" y="1623"/>
                    </a:lnTo>
                    <a:lnTo>
                      <a:pt x="1309" y="1624"/>
                    </a:lnTo>
                    <a:lnTo>
                      <a:pt x="1310" y="1623"/>
                    </a:lnTo>
                    <a:lnTo>
                      <a:pt x="1312" y="1623"/>
                    </a:lnTo>
                    <a:close/>
                    <a:moveTo>
                      <a:pt x="1179" y="1133"/>
                    </a:moveTo>
                    <a:lnTo>
                      <a:pt x="1179" y="1134"/>
                    </a:lnTo>
                    <a:lnTo>
                      <a:pt x="1178" y="1134"/>
                    </a:lnTo>
                    <a:lnTo>
                      <a:pt x="1178" y="1136"/>
                    </a:lnTo>
                    <a:lnTo>
                      <a:pt x="1178" y="1138"/>
                    </a:lnTo>
                    <a:lnTo>
                      <a:pt x="1178" y="1140"/>
                    </a:lnTo>
                    <a:lnTo>
                      <a:pt x="1176" y="1141"/>
                    </a:lnTo>
                    <a:lnTo>
                      <a:pt x="1176" y="1140"/>
                    </a:lnTo>
                    <a:lnTo>
                      <a:pt x="1174" y="1141"/>
                    </a:lnTo>
                    <a:lnTo>
                      <a:pt x="1173" y="1140"/>
                    </a:lnTo>
                    <a:lnTo>
                      <a:pt x="1174" y="1140"/>
                    </a:lnTo>
                    <a:lnTo>
                      <a:pt x="1173" y="1140"/>
                    </a:lnTo>
                    <a:lnTo>
                      <a:pt x="1173" y="1138"/>
                    </a:lnTo>
                    <a:lnTo>
                      <a:pt x="1174" y="1136"/>
                    </a:lnTo>
                    <a:lnTo>
                      <a:pt x="1174" y="1134"/>
                    </a:lnTo>
                    <a:lnTo>
                      <a:pt x="1176" y="1133"/>
                    </a:lnTo>
                    <a:lnTo>
                      <a:pt x="1178" y="1133"/>
                    </a:lnTo>
                    <a:lnTo>
                      <a:pt x="1179" y="1133"/>
                    </a:lnTo>
                    <a:close/>
                    <a:moveTo>
                      <a:pt x="1166" y="1473"/>
                    </a:moveTo>
                    <a:lnTo>
                      <a:pt x="1168" y="1473"/>
                    </a:lnTo>
                    <a:lnTo>
                      <a:pt x="1169" y="1473"/>
                    </a:lnTo>
                    <a:lnTo>
                      <a:pt x="1169" y="1475"/>
                    </a:lnTo>
                    <a:lnTo>
                      <a:pt x="1171" y="1475"/>
                    </a:lnTo>
                    <a:lnTo>
                      <a:pt x="1171" y="1476"/>
                    </a:lnTo>
                    <a:lnTo>
                      <a:pt x="1173" y="1476"/>
                    </a:lnTo>
                    <a:lnTo>
                      <a:pt x="1174" y="1475"/>
                    </a:lnTo>
                    <a:lnTo>
                      <a:pt x="1176" y="1473"/>
                    </a:lnTo>
                    <a:lnTo>
                      <a:pt x="1176" y="1475"/>
                    </a:lnTo>
                    <a:lnTo>
                      <a:pt x="1176" y="1476"/>
                    </a:lnTo>
                    <a:lnTo>
                      <a:pt x="1174" y="1476"/>
                    </a:lnTo>
                    <a:lnTo>
                      <a:pt x="1176" y="1478"/>
                    </a:lnTo>
                    <a:lnTo>
                      <a:pt x="1174" y="1478"/>
                    </a:lnTo>
                    <a:lnTo>
                      <a:pt x="1176" y="1480"/>
                    </a:lnTo>
                    <a:lnTo>
                      <a:pt x="1174" y="1480"/>
                    </a:lnTo>
                    <a:lnTo>
                      <a:pt x="1173" y="1478"/>
                    </a:lnTo>
                    <a:lnTo>
                      <a:pt x="1173" y="1480"/>
                    </a:lnTo>
                    <a:lnTo>
                      <a:pt x="1174" y="1480"/>
                    </a:lnTo>
                    <a:lnTo>
                      <a:pt x="1173" y="1480"/>
                    </a:lnTo>
                    <a:lnTo>
                      <a:pt x="1171" y="1480"/>
                    </a:lnTo>
                    <a:lnTo>
                      <a:pt x="1169" y="1480"/>
                    </a:lnTo>
                    <a:lnTo>
                      <a:pt x="1171" y="1478"/>
                    </a:lnTo>
                    <a:lnTo>
                      <a:pt x="1169" y="1478"/>
                    </a:lnTo>
                    <a:lnTo>
                      <a:pt x="1171" y="1476"/>
                    </a:lnTo>
                    <a:lnTo>
                      <a:pt x="1169" y="1476"/>
                    </a:lnTo>
                    <a:lnTo>
                      <a:pt x="1168" y="1476"/>
                    </a:lnTo>
                    <a:lnTo>
                      <a:pt x="1166" y="1475"/>
                    </a:lnTo>
                    <a:lnTo>
                      <a:pt x="1166" y="1473"/>
                    </a:lnTo>
                    <a:close/>
                    <a:moveTo>
                      <a:pt x="1178" y="1459"/>
                    </a:moveTo>
                    <a:lnTo>
                      <a:pt x="1179" y="1459"/>
                    </a:lnTo>
                    <a:lnTo>
                      <a:pt x="1181" y="1459"/>
                    </a:lnTo>
                    <a:lnTo>
                      <a:pt x="1181" y="1461"/>
                    </a:lnTo>
                    <a:lnTo>
                      <a:pt x="1179" y="1461"/>
                    </a:lnTo>
                    <a:lnTo>
                      <a:pt x="1181" y="1461"/>
                    </a:lnTo>
                    <a:lnTo>
                      <a:pt x="1179" y="1463"/>
                    </a:lnTo>
                    <a:lnTo>
                      <a:pt x="1179" y="1464"/>
                    </a:lnTo>
                    <a:lnTo>
                      <a:pt x="1178" y="1464"/>
                    </a:lnTo>
                    <a:lnTo>
                      <a:pt x="1178" y="1466"/>
                    </a:lnTo>
                    <a:lnTo>
                      <a:pt x="1176" y="1464"/>
                    </a:lnTo>
                    <a:lnTo>
                      <a:pt x="1176" y="1466"/>
                    </a:lnTo>
                    <a:lnTo>
                      <a:pt x="1176" y="1464"/>
                    </a:lnTo>
                    <a:lnTo>
                      <a:pt x="1176" y="1463"/>
                    </a:lnTo>
                    <a:lnTo>
                      <a:pt x="1176" y="1464"/>
                    </a:lnTo>
                    <a:lnTo>
                      <a:pt x="1174" y="1464"/>
                    </a:lnTo>
                    <a:lnTo>
                      <a:pt x="1176" y="1464"/>
                    </a:lnTo>
                    <a:lnTo>
                      <a:pt x="1176" y="1466"/>
                    </a:lnTo>
                    <a:lnTo>
                      <a:pt x="1174" y="1466"/>
                    </a:lnTo>
                    <a:lnTo>
                      <a:pt x="1174" y="1468"/>
                    </a:lnTo>
                    <a:lnTo>
                      <a:pt x="1174" y="1466"/>
                    </a:lnTo>
                    <a:lnTo>
                      <a:pt x="1173" y="1468"/>
                    </a:lnTo>
                    <a:lnTo>
                      <a:pt x="1173" y="1466"/>
                    </a:lnTo>
                    <a:lnTo>
                      <a:pt x="1173" y="1464"/>
                    </a:lnTo>
                    <a:lnTo>
                      <a:pt x="1174" y="1463"/>
                    </a:lnTo>
                    <a:lnTo>
                      <a:pt x="1176" y="1461"/>
                    </a:lnTo>
                    <a:lnTo>
                      <a:pt x="1176" y="1463"/>
                    </a:lnTo>
                    <a:lnTo>
                      <a:pt x="1178" y="1463"/>
                    </a:lnTo>
                    <a:lnTo>
                      <a:pt x="1176" y="1461"/>
                    </a:lnTo>
                    <a:lnTo>
                      <a:pt x="1178" y="1459"/>
                    </a:lnTo>
                    <a:lnTo>
                      <a:pt x="1178" y="1458"/>
                    </a:lnTo>
                    <a:lnTo>
                      <a:pt x="1178" y="1459"/>
                    </a:lnTo>
                    <a:close/>
                    <a:moveTo>
                      <a:pt x="1202" y="1094"/>
                    </a:moveTo>
                    <a:lnTo>
                      <a:pt x="1203" y="1094"/>
                    </a:lnTo>
                    <a:lnTo>
                      <a:pt x="1203" y="1095"/>
                    </a:lnTo>
                    <a:lnTo>
                      <a:pt x="1203" y="1097"/>
                    </a:lnTo>
                    <a:lnTo>
                      <a:pt x="1205" y="1099"/>
                    </a:lnTo>
                    <a:lnTo>
                      <a:pt x="1205" y="1100"/>
                    </a:lnTo>
                    <a:lnTo>
                      <a:pt x="1203" y="1100"/>
                    </a:lnTo>
                    <a:lnTo>
                      <a:pt x="1205" y="1100"/>
                    </a:lnTo>
                    <a:lnTo>
                      <a:pt x="1205" y="1102"/>
                    </a:lnTo>
                    <a:lnTo>
                      <a:pt x="1203" y="1102"/>
                    </a:lnTo>
                    <a:lnTo>
                      <a:pt x="1202" y="1102"/>
                    </a:lnTo>
                    <a:lnTo>
                      <a:pt x="1202" y="1100"/>
                    </a:lnTo>
                    <a:lnTo>
                      <a:pt x="1200" y="1100"/>
                    </a:lnTo>
                    <a:lnTo>
                      <a:pt x="1200" y="1099"/>
                    </a:lnTo>
                    <a:lnTo>
                      <a:pt x="1200" y="1097"/>
                    </a:lnTo>
                    <a:lnTo>
                      <a:pt x="1200" y="1099"/>
                    </a:lnTo>
                    <a:lnTo>
                      <a:pt x="1202" y="1099"/>
                    </a:lnTo>
                    <a:lnTo>
                      <a:pt x="1203" y="1099"/>
                    </a:lnTo>
                    <a:lnTo>
                      <a:pt x="1202" y="1099"/>
                    </a:lnTo>
                    <a:lnTo>
                      <a:pt x="1202" y="1097"/>
                    </a:lnTo>
                    <a:lnTo>
                      <a:pt x="1200" y="1097"/>
                    </a:lnTo>
                    <a:lnTo>
                      <a:pt x="1200" y="1095"/>
                    </a:lnTo>
                    <a:lnTo>
                      <a:pt x="1200" y="1094"/>
                    </a:lnTo>
                    <a:lnTo>
                      <a:pt x="1202" y="1094"/>
                    </a:lnTo>
                    <a:close/>
                    <a:moveTo>
                      <a:pt x="1195" y="1140"/>
                    </a:moveTo>
                    <a:lnTo>
                      <a:pt x="1196" y="1140"/>
                    </a:lnTo>
                    <a:lnTo>
                      <a:pt x="1198" y="1141"/>
                    </a:lnTo>
                    <a:lnTo>
                      <a:pt x="1200" y="1140"/>
                    </a:lnTo>
                    <a:lnTo>
                      <a:pt x="1200" y="1141"/>
                    </a:lnTo>
                    <a:lnTo>
                      <a:pt x="1198" y="1141"/>
                    </a:lnTo>
                    <a:lnTo>
                      <a:pt x="1198" y="1143"/>
                    </a:lnTo>
                    <a:lnTo>
                      <a:pt x="1198" y="1145"/>
                    </a:lnTo>
                    <a:lnTo>
                      <a:pt x="1198" y="1146"/>
                    </a:lnTo>
                    <a:lnTo>
                      <a:pt x="1198" y="1148"/>
                    </a:lnTo>
                    <a:lnTo>
                      <a:pt x="1196" y="1150"/>
                    </a:lnTo>
                    <a:lnTo>
                      <a:pt x="1196" y="1148"/>
                    </a:lnTo>
                    <a:lnTo>
                      <a:pt x="1196" y="1146"/>
                    </a:lnTo>
                    <a:lnTo>
                      <a:pt x="1196" y="1145"/>
                    </a:lnTo>
                    <a:lnTo>
                      <a:pt x="1195" y="1146"/>
                    </a:lnTo>
                    <a:lnTo>
                      <a:pt x="1195" y="1145"/>
                    </a:lnTo>
                    <a:lnTo>
                      <a:pt x="1195" y="1143"/>
                    </a:lnTo>
                    <a:lnTo>
                      <a:pt x="1195" y="1145"/>
                    </a:lnTo>
                    <a:lnTo>
                      <a:pt x="1193" y="1143"/>
                    </a:lnTo>
                    <a:lnTo>
                      <a:pt x="1193" y="1141"/>
                    </a:lnTo>
                    <a:lnTo>
                      <a:pt x="1195" y="1141"/>
                    </a:lnTo>
                    <a:lnTo>
                      <a:pt x="1195" y="1140"/>
                    </a:lnTo>
                    <a:close/>
                    <a:moveTo>
                      <a:pt x="1219" y="1575"/>
                    </a:moveTo>
                    <a:lnTo>
                      <a:pt x="1217" y="1575"/>
                    </a:lnTo>
                    <a:lnTo>
                      <a:pt x="1217" y="1577"/>
                    </a:lnTo>
                    <a:lnTo>
                      <a:pt x="1219" y="1575"/>
                    </a:lnTo>
                    <a:lnTo>
                      <a:pt x="1220" y="1575"/>
                    </a:lnTo>
                    <a:lnTo>
                      <a:pt x="1219" y="1577"/>
                    </a:lnTo>
                    <a:lnTo>
                      <a:pt x="1220" y="1577"/>
                    </a:lnTo>
                    <a:lnTo>
                      <a:pt x="1220" y="1578"/>
                    </a:lnTo>
                    <a:lnTo>
                      <a:pt x="1219" y="1578"/>
                    </a:lnTo>
                    <a:lnTo>
                      <a:pt x="1220" y="1578"/>
                    </a:lnTo>
                    <a:lnTo>
                      <a:pt x="1220" y="1577"/>
                    </a:lnTo>
                    <a:lnTo>
                      <a:pt x="1222" y="1577"/>
                    </a:lnTo>
                    <a:lnTo>
                      <a:pt x="1222" y="1578"/>
                    </a:lnTo>
                    <a:lnTo>
                      <a:pt x="1222" y="1580"/>
                    </a:lnTo>
                    <a:lnTo>
                      <a:pt x="1222" y="1578"/>
                    </a:lnTo>
                    <a:lnTo>
                      <a:pt x="1224" y="1578"/>
                    </a:lnTo>
                    <a:lnTo>
                      <a:pt x="1224" y="1580"/>
                    </a:lnTo>
                    <a:lnTo>
                      <a:pt x="1222" y="1580"/>
                    </a:lnTo>
                    <a:lnTo>
                      <a:pt x="1224" y="1580"/>
                    </a:lnTo>
                    <a:lnTo>
                      <a:pt x="1222" y="1582"/>
                    </a:lnTo>
                    <a:lnTo>
                      <a:pt x="1222" y="1580"/>
                    </a:lnTo>
                    <a:lnTo>
                      <a:pt x="1222" y="1582"/>
                    </a:lnTo>
                    <a:lnTo>
                      <a:pt x="1220" y="1580"/>
                    </a:lnTo>
                    <a:lnTo>
                      <a:pt x="1220" y="1578"/>
                    </a:lnTo>
                    <a:lnTo>
                      <a:pt x="1220" y="1580"/>
                    </a:lnTo>
                    <a:lnTo>
                      <a:pt x="1220" y="1582"/>
                    </a:lnTo>
                    <a:lnTo>
                      <a:pt x="1220" y="1583"/>
                    </a:lnTo>
                    <a:lnTo>
                      <a:pt x="1220" y="1582"/>
                    </a:lnTo>
                    <a:lnTo>
                      <a:pt x="1219" y="1582"/>
                    </a:lnTo>
                    <a:lnTo>
                      <a:pt x="1217" y="1582"/>
                    </a:lnTo>
                    <a:lnTo>
                      <a:pt x="1219" y="1582"/>
                    </a:lnTo>
                    <a:lnTo>
                      <a:pt x="1219" y="1580"/>
                    </a:lnTo>
                    <a:lnTo>
                      <a:pt x="1219" y="1578"/>
                    </a:lnTo>
                    <a:lnTo>
                      <a:pt x="1217" y="1578"/>
                    </a:lnTo>
                    <a:lnTo>
                      <a:pt x="1217" y="1580"/>
                    </a:lnTo>
                    <a:lnTo>
                      <a:pt x="1215" y="1578"/>
                    </a:lnTo>
                    <a:lnTo>
                      <a:pt x="1213" y="1578"/>
                    </a:lnTo>
                    <a:lnTo>
                      <a:pt x="1215" y="1578"/>
                    </a:lnTo>
                    <a:lnTo>
                      <a:pt x="1215" y="1577"/>
                    </a:lnTo>
                    <a:lnTo>
                      <a:pt x="1215" y="1575"/>
                    </a:lnTo>
                    <a:lnTo>
                      <a:pt x="1217" y="1577"/>
                    </a:lnTo>
                    <a:lnTo>
                      <a:pt x="1217" y="1575"/>
                    </a:lnTo>
                    <a:lnTo>
                      <a:pt x="1217" y="1573"/>
                    </a:lnTo>
                    <a:lnTo>
                      <a:pt x="1219" y="1575"/>
                    </a:lnTo>
                    <a:close/>
                    <a:moveTo>
                      <a:pt x="1191" y="1422"/>
                    </a:moveTo>
                    <a:lnTo>
                      <a:pt x="1191" y="1424"/>
                    </a:lnTo>
                    <a:lnTo>
                      <a:pt x="1191" y="1425"/>
                    </a:lnTo>
                    <a:lnTo>
                      <a:pt x="1191" y="1427"/>
                    </a:lnTo>
                    <a:lnTo>
                      <a:pt x="1193" y="1427"/>
                    </a:lnTo>
                    <a:lnTo>
                      <a:pt x="1191" y="1427"/>
                    </a:lnTo>
                    <a:lnTo>
                      <a:pt x="1191" y="1429"/>
                    </a:lnTo>
                    <a:lnTo>
                      <a:pt x="1191" y="1427"/>
                    </a:lnTo>
                    <a:lnTo>
                      <a:pt x="1193" y="1429"/>
                    </a:lnTo>
                    <a:lnTo>
                      <a:pt x="1193" y="1430"/>
                    </a:lnTo>
                    <a:lnTo>
                      <a:pt x="1193" y="1432"/>
                    </a:lnTo>
                    <a:lnTo>
                      <a:pt x="1191" y="1430"/>
                    </a:lnTo>
                    <a:lnTo>
                      <a:pt x="1191" y="1432"/>
                    </a:lnTo>
                    <a:lnTo>
                      <a:pt x="1191" y="1430"/>
                    </a:lnTo>
                    <a:lnTo>
                      <a:pt x="1190" y="1432"/>
                    </a:lnTo>
                    <a:lnTo>
                      <a:pt x="1190" y="1430"/>
                    </a:lnTo>
                    <a:lnTo>
                      <a:pt x="1188" y="1430"/>
                    </a:lnTo>
                    <a:lnTo>
                      <a:pt x="1188" y="1429"/>
                    </a:lnTo>
                    <a:lnTo>
                      <a:pt x="1190" y="1429"/>
                    </a:lnTo>
                    <a:lnTo>
                      <a:pt x="1188" y="1427"/>
                    </a:lnTo>
                    <a:lnTo>
                      <a:pt x="1188" y="1425"/>
                    </a:lnTo>
                    <a:lnTo>
                      <a:pt x="1188" y="1424"/>
                    </a:lnTo>
                    <a:lnTo>
                      <a:pt x="1190" y="1424"/>
                    </a:lnTo>
                    <a:lnTo>
                      <a:pt x="1191" y="1422"/>
                    </a:lnTo>
                    <a:close/>
                    <a:moveTo>
                      <a:pt x="1159" y="1094"/>
                    </a:moveTo>
                    <a:lnTo>
                      <a:pt x="1159" y="1095"/>
                    </a:lnTo>
                    <a:lnTo>
                      <a:pt x="1161" y="1095"/>
                    </a:lnTo>
                    <a:lnTo>
                      <a:pt x="1161" y="1097"/>
                    </a:lnTo>
                    <a:lnTo>
                      <a:pt x="1162" y="1097"/>
                    </a:lnTo>
                    <a:lnTo>
                      <a:pt x="1161" y="1099"/>
                    </a:lnTo>
                    <a:lnTo>
                      <a:pt x="1161" y="1100"/>
                    </a:lnTo>
                    <a:lnTo>
                      <a:pt x="1159" y="1100"/>
                    </a:lnTo>
                    <a:lnTo>
                      <a:pt x="1157" y="1100"/>
                    </a:lnTo>
                    <a:lnTo>
                      <a:pt x="1157" y="1099"/>
                    </a:lnTo>
                    <a:lnTo>
                      <a:pt x="1157" y="1097"/>
                    </a:lnTo>
                    <a:lnTo>
                      <a:pt x="1156" y="1097"/>
                    </a:lnTo>
                    <a:lnTo>
                      <a:pt x="1156" y="1095"/>
                    </a:lnTo>
                    <a:lnTo>
                      <a:pt x="1157" y="1095"/>
                    </a:lnTo>
                    <a:lnTo>
                      <a:pt x="1157" y="1094"/>
                    </a:lnTo>
                    <a:lnTo>
                      <a:pt x="1159" y="1094"/>
                    </a:lnTo>
                    <a:close/>
                    <a:moveTo>
                      <a:pt x="1448" y="1643"/>
                    </a:moveTo>
                    <a:lnTo>
                      <a:pt x="1450" y="1643"/>
                    </a:lnTo>
                    <a:lnTo>
                      <a:pt x="1451" y="1643"/>
                    </a:lnTo>
                    <a:lnTo>
                      <a:pt x="1451" y="1645"/>
                    </a:lnTo>
                    <a:lnTo>
                      <a:pt x="1450" y="1645"/>
                    </a:lnTo>
                    <a:lnTo>
                      <a:pt x="1450" y="1646"/>
                    </a:lnTo>
                    <a:lnTo>
                      <a:pt x="1448" y="1648"/>
                    </a:lnTo>
                    <a:lnTo>
                      <a:pt x="1450" y="1648"/>
                    </a:lnTo>
                    <a:lnTo>
                      <a:pt x="1448" y="1648"/>
                    </a:lnTo>
                    <a:lnTo>
                      <a:pt x="1446" y="1648"/>
                    </a:lnTo>
                    <a:lnTo>
                      <a:pt x="1446" y="1650"/>
                    </a:lnTo>
                    <a:lnTo>
                      <a:pt x="1445" y="1648"/>
                    </a:lnTo>
                    <a:lnTo>
                      <a:pt x="1445" y="1650"/>
                    </a:lnTo>
                    <a:lnTo>
                      <a:pt x="1445" y="1648"/>
                    </a:lnTo>
                    <a:lnTo>
                      <a:pt x="1445" y="1646"/>
                    </a:lnTo>
                    <a:lnTo>
                      <a:pt x="1445" y="1645"/>
                    </a:lnTo>
                    <a:lnTo>
                      <a:pt x="1446" y="1643"/>
                    </a:lnTo>
                    <a:lnTo>
                      <a:pt x="1448" y="1643"/>
                    </a:lnTo>
                    <a:close/>
                    <a:moveTo>
                      <a:pt x="1181" y="1272"/>
                    </a:moveTo>
                    <a:lnTo>
                      <a:pt x="1183" y="1272"/>
                    </a:lnTo>
                    <a:lnTo>
                      <a:pt x="1185" y="1272"/>
                    </a:lnTo>
                    <a:lnTo>
                      <a:pt x="1185" y="1274"/>
                    </a:lnTo>
                    <a:lnTo>
                      <a:pt x="1186" y="1274"/>
                    </a:lnTo>
                    <a:lnTo>
                      <a:pt x="1188" y="1274"/>
                    </a:lnTo>
                    <a:lnTo>
                      <a:pt x="1188" y="1276"/>
                    </a:lnTo>
                    <a:lnTo>
                      <a:pt x="1188" y="1277"/>
                    </a:lnTo>
                    <a:lnTo>
                      <a:pt x="1186" y="1277"/>
                    </a:lnTo>
                    <a:lnTo>
                      <a:pt x="1185" y="1277"/>
                    </a:lnTo>
                    <a:lnTo>
                      <a:pt x="1185" y="1279"/>
                    </a:lnTo>
                    <a:lnTo>
                      <a:pt x="1183" y="1277"/>
                    </a:lnTo>
                    <a:lnTo>
                      <a:pt x="1183" y="1276"/>
                    </a:lnTo>
                    <a:lnTo>
                      <a:pt x="1181" y="1274"/>
                    </a:lnTo>
                    <a:lnTo>
                      <a:pt x="1181" y="1272"/>
                    </a:lnTo>
                    <a:lnTo>
                      <a:pt x="1181" y="1270"/>
                    </a:lnTo>
                    <a:lnTo>
                      <a:pt x="1181" y="1272"/>
                    </a:lnTo>
                    <a:close/>
                    <a:moveTo>
                      <a:pt x="1181" y="1090"/>
                    </a:moveTo>
                    <a:lnTo>
                      <a:pt x="1183" y="1092"/>
                    </a:lnTo>
                    <a:lnTo>
                      <a:pt x="1183" y="1094"/>
                    </a:lnTo>
                    <a:lnTo>
                      <a:pt x="1185" y="1094"/>
                    </a:lnTo>
                    <a:lnTo>
                      <a:pt x="1185" y="1095"/>
                    </a:lnTo>
                    <a:lnTo>
                      <a:pt x="1186" y="1095"/>
                    </a:lnTo>
                    <a:lnTo>
                      <a:pt x="1186" y="1097"/>
                    </a:lnTo>
                    <a:lnTo>
                      <a:pt x="1185" y="1097"/>
                    </a:lnTo>
                    <a:lnTo>
                      <a:pt x="1183" y="1097"/>
                    </a:lnTo>
                    <a:lnTo>
                      <a:pt x="1181" y="1097"/>
                    </a:lnTo>
                    <a:lnTo>
                      <a:pt x="1181" y="1095"/>
                    </a:lnTo>
                    <a:lnTo>
                      <a:pt x="1179" y="1095"/>
                    </a:lnTo>
                    <a:lnTo>
                      <a:pt x="1179" y="1094"/>
                    </a:lnTo>
                    <a:lnTo>
                      <a:pt x="1178" y="1092"/>
                    </a:lnTo>
                    <a:lnTo>
                      <a:pt x="1179" y="1092"/>
                    </a:lnTo>
                    <a:lnTo>
                      <a:pt x="1179" y="1090"/>
                    </a:lnTo>
                    <a:lnTo>
                      <a:pt x="1179" y="1092"/>
                    </a:lnTo>
                    <a:lnTo>
                      <a:pt x="1181" y="1092"/>
                    </a:lnTo>
                    <a:lnTo>
                      <a:pt x="1181" y="1090"/>
                    </a:lnTo>
                    <a:close/>
                    <a:moveTo>
                      <a:pt x="1191" y="1077"/>
                    </a:moveTo>
                    <a:lnTo>
                      <a:pt x="1193" y="1078"/>
                    </a:lnTo>
                    <a:lnTo>
                      <a:pt x="1195" y="1078"/>
                    </a:lnTo>
                    <a:lnTo>
                      <a:pt x="1196" y="1078"/>
                    </a:lnTo>
                    <a:lnTo>
                      <a:pt x="1198" y="1078"/>
                    </a:lnTo>
                    <a:lnTo>
                      <a:pt x="1198" y="1080"/>
                    </a:lnTo>
                    <a:lnTo>
                      <a:pt x="1200" y="1082"/>
                    </a:lnTo>
                    <a:lnTo>
                      <a:pt x="1198" y="1082"/>
                    </a:lnTo>
                    <a:lnTo>
                      <a:pt x="1198" y="1083"/>
                    </a:lnTo>
                    <a:lnTo>
                      <a:pt x="1196" y="1083"/>
                    </a:lnTo>
                    <a:lnTo>
                      <a:pt x="1195" y="1083"/>
                    </a:lnTo>
                    <a:lnTo>
                      <a:pt x="1193" y="1083"/>
                    </a:lnTo>
                    <a:lnTo>
                      <a:pt x="1193" y="1082"/>
                    </a:lnTo>
                    <a:lnTo>
                      <a:pt x="1191" y="1082"/>
                    </a:lnTo>
                    <a:lnTo>
                      <a:pt x="1191" y="1080"/>
                    </a:lnTo>
                    <a:lnTo>
                      <a:pt x="1193" y="1080"/>
                    </a:lnTo>
                    <a:lnTo>
                      <a:pt x="1195" y="1080"/>
                    </a:lnTo>
                    <a:lnTo>
                      <a:pt x="1196" y="1080"/>
                    </a:lnTo>
                    <a:lnTo>
                      <a:pt x="1196" y="1082"/>
                    </a:lnTo>
                    <a:lnTo>
                      <a:pt x="1195" y="1082"/>
                    </a:lnTo>
                    <a:lnTo>
                      <a:pt x="1193" y="1082"/>
                    </a:lnTo>
                    <a:lnTo>
                      <a:pt x="1195" y="1082"/>
                    </a:lnTo>
                    <a:lnTo>
                      <a:pt x="1196" y="1082"/>
                    </a:lnTo>
                    <a:lnTo>
                      <a:pt x="1198" y="1082"/>
                    </a:lnTo>
                    <a:lnTo>
                      <a:pt x="1196" y="1082"/>
                    </a:lnTo>
                    <a:lnTo>
                      <a:pt x="1198" y="1080"/>
                    </a:lnTo>
                    <a:lnTo>
                      <a:pt x="1196" y="1080"/>
                    </a:lnTo>
                    <a:lnTo>
                      <a:pt x="1195" y="1080"/>
                    </a:lnTo>
                    <a:lnTo>
                      <a:pt x="1193" y="1080"/>
                    </a:lnTo>
                    <a:lnTo>
                      <a:pt x="1191" y="1080"/>
                    </a:lnTo>
                    <a:lnTo>
                      <a:pt x="1191" y="1078"/>
                    </a:lnTo>
                    <a:lnTo>
                      <a:pt x="1193" y="1078"/>
                    </a:lnTo>
                    <a:lnTo>
                      <a:pt x="1191" y="1078"/>
                    </a:lnTo>
                    <a:lnTo>
                      <a:pt x="1190" y="1077"/>
                    </a:lnTo>
                    <a:lnTo>
                      <a:pt x="1191" y="1077"/>
                    </a:lnTo>
                    <a:close/>
                    <a:moveTo>
                      <a:pt x="1327" y="1628"/>
                    </a:moveTo>
                    <a:lnTo>
                      <a:pt x="1329" y="1628"/>
                    </a:lnTo>
                    <a:lnTo>
                      <a:pt x="1329" y="1629"/>
                    </a:lnTo>
                    <a:lnTo>
                      <a:pt x="1327" y="1629"/>
                    </a:lnTo>
                    <a:lnTo>
                      <a:pt x="1329" y="1629"/>
                    </a:lnTo>
                    <a:lnTo>
                      <a:pt x="1331" y="1628"/>
                    </a:lnTo>
                    <a:lnTo>
                      <a:pt x="1332" y="1629"/>
                    </a:lnTo>
                    <a:lnTo>
                      <a:pt x="1332" y="1631"/>
                    </a:lnTo>
                    <a:lnTo>
                      <a:pt x="1331" y="1633"/>
                    </a:lnTo>
                    <a:lnTo>
                      <a:pt x="1329" y="1633"/>
                    </a:lnTo>
                    <a:lnTo>
                      <a:pt x="1331" y="1631"/>
                    </a:lnTo>
                    <a:lnTo>
                      <a:pt x="1331" y="1629"/>
                    </a:lnTo>
                    <a:lnTo>
                      <a:pt x="1329" y="1631"/>
                    </a:lnTo>
                    <a:lnTo>
                      <a:pt x="1329" y="1633"/>
                    </a:lnTo>
                    <a:lnTo>
                      <a:pt x="1327" y="1635"/>
                    </a:lnTo>
                    <a:lnTo>
                      <a:pt x="1327" y="1633"/>
                    </a:lnTo>
                    <a:lnTo>
                      <a:pt x="1326" y="1635"/>
                    </a:lnTo>
                    <a:lnTo>
                      <a:pt x="1326" y="1633"/>
                    </a:lnTo>
                    <a:lnTo>
                      <a:pt x="1326" y="1635"/>
                    </a:lnTo>
                    <a:lnTo>
                      <a:pt x="1324" y="1635"/>
                    </a:lnTo>
                    <a:lnTo>
                      <a:pt x="1324" y="1633"/>
                    </a:lnTo>
                    <a:lnTo>
                      <a:pt x="1326" y="1631"/>
                    </a:lnTo>
                    <a:lnTo>
                      <a:pt x="1324" y="1631"/>
                    </a:lnTo>
                    <a:lnTo>
                      <a:pt x="1326" y="1631"/>
                    </a:lnTo>
                    <a:lnTo>
                      <a:pt x="1327" y="1631"/>
                    </a:lnTo>
                    <a:lnTo>
                      <a:pt x="1327" y="1629"/>
                    </a:lnTo>
                    <a:lnTo>
                      <a:pt x="1326" y="1629"/>
                    </a:lnTo>
                    <a:lnTo>
                      <a:pt x="1327" y="1629"/>
                    </a:lnTo>
                    <a:lnTo>
                      <a:pt x="1326" y="1629"/>
                    </a:lnTo>
                    <a:lnTo>
                      <a:pt x="1324" y="1629"/>
                    </a:lnTo>
                    <a:lnTo>
                      <a:pt x="1326" y="1628"/>
                    </a:lnTo>
                    <a:lnTo>
                      <a:pt x="1327" y="1628"/>
                    </a:lnTo>
                    <a:close/>
                    <a:moveTo>
                      <a:pt x="1191" y="1269"/>
                    </a:moveTo>
                    <a:lnTo>
                      <a:pt x="1193" y="1270"/>
                    </a:lnTo>
                    <a:lnTo>
                      <a:pt x="1195" y="1272"/>
                    </a:lnTo>
                    <a:lnTo>
                      <a:pt x="1196" y="1272"/>
                    </a:lnTo>
                    <a:lnTo>
                      <a:pt x="1196" y="1274"/>
                    </a:lnTo>
                    <a:lnTo>
                      <a:pt x="1196" y="1276"/>
                    </a:lnTo>
                    <a:lnTo>
                      <a:pt x="1196" y="1277"/>
                    </a:lnTo>
                    <a:lnTo>
                      <a:pt x="1195" y="1276"/>
                    </a:lnTo>
                    <a:lnTo>
                      <a:pt x="1193" y="1276"/>
                    </a:lnTo>
                    <a:lnTo>
                      <a:pt x="1193" y="1274"/>
                    </a:lnTo>
                    <a:lnTo>
                      <a:pt x="1191" y="1274"/>
                    </a:lnTo>
                    <a:lnTo>
                      <a:pt x="1191" y="1272"/>
                    </a:lnTo>
                    <a:lnTo>
                      <a:pt x="1190" y="1272"/>
                    </a:lnTo>
                    <a:lnTo>
                      <a:pt x="1190" y="1270"/>
                    </a:lnTo>
                    <a:lnTo>
                      <a:pt x="1190" y="1269"/>
                    </a:lnTo>
                    <a:lnTo>
                      <a:pt x="1191" y="1269"/>
                    </a:lnTo>
                    <a:close/>
                    <a:moveTo>
                      <a:pt x="1195" y="1121"/>
                    </a:moveTo>
                    <a:lnTo>
                      <a:pt x="1196" y="1121"/>
                    </a:lnTo>
                    <a:lnTo>
                      <a:pt x="1196" y="1122"/>
                    </a:lnTo>
                    <a:lnTo>
                      <a:pt x="1196" y="1124"/>
                    </a:lnTo>
                    <a:lnTo>
                      <a:pt x="1195" y="1124"/>
                    </a:lnTo>
                    <a:lnTo>
                      <a:pt x="1196" y="1124"/>
                    </a:lnTo>
                    <a:lnTo>
                      <a:pt x="1196" y="1122"/>
                    </a:lnTo>
                    <a:lnTo>
                      <a:pt x="1198" y="1122"/>
                    </a:lnTo>
                    <a:lnTo>
                      <a:pt x="1200" y="1122"/>
                    </a:lnTo>
                    <a:lnTo>
                      <a:pt x="1202" y="1122"/>
                    </a:lnTo>
                    <a:lnTo>
                      <a:pt x="1203" y="1122"/>
                    </a:lnTo>
                    <a:lnTo>
                      <a:pt x="1203" y="1124"/>
                    </a:lnTo>
                    <a:lnTo>
                      <a:pt x="1202" y="1124"/>
                    </a:lnTo>
                    <a:lnTo>
                      <a:pt x="1202" y="1126"/>
                    </a:lnTo>
                    <a:lnTo>
                      <a:pt x="1200" y="1126"/>
                    </a:lnTo>
                    <a:lnTo>
                      <a:pt x="1198" y="1126"/>
                    </a:lnTo>
                    <a:lnTo>
                      <a:pt x="1198" y="1124"/>
                    </a:lnTo>
                    <a:lnTo>
                      <a:pt x="1198" y="1126"/>
                    </a:lnTo>
                    <a:lnTo>
                      <a:pt x="1198" y="1124"/>
                    </a:lnTo>
                    <a:lnTo>
                      <a:pt x="1196" y="1124"/>
                    </a:lnTo>
                    <a:lnTo>
                      <a:pt x="1195" y="1124"/>
                    </a:lnTo>
                    <a:lnTo>
                      <a:pt x="1195" y="1122"/>
                    </a:lnTo>
                    <a:lnTo>
                      <a:pt x="1193" y="1122"/>
                    </a:lnTo>
                    <a:lnTo>
                      <a:pt x="1193" y="1121"/>
                    </a:lnTo>
                    <a:lnTo>
                      <a:pt x="1195" y="1121"/>
                    </a:lnTo>
                    <a:close/>
                    <a:moveTo>
                      <a:pt x="1225" y="1051"/>
                    </a:moveTo>
                    <a:lnTo>
                      <a:pt x="1225" y="1053"/>
                    </a:lnTo>
                    <a:lnTo>
                      <a:pt x="1225" y="1054"/>
                    </a:lnTo>
                    <a:lnTo>
                      <a:pt x="1225" y="1056"/>
                    </a:lnTo>
                    <a:lnTo>
                      <a:pt x="1225" y="1058"/>
                    </a:lnTo>
                    <a:lnTo>
                      <a:pt x="1224" y="1058"/>
                    </a:lnTo>
                    <a:lnTo>
                      <a:pt x="1222" y="1058"/>
                    </a:lnTo>
                    <a:lnTo>
                      <a:pt x="1222" y="1056"/>
                    </a:lnTo>
                    <a:lnTo>
                      <a:pt x="1220" y="1056"/>
                    </a:lnTo>
                    <a:lnTo>
                      <a:pt x="1222" y="1054"/>
                    </a:lnTo>
                    <a:lnTo>
                      <a:pt x="1222" y="1053"/>
                    </a:lnTo>
                    <a:lnTo>
                      <a:pt x="1224" y="1053"/>
                    </a:lnTo>
                    <a:lnTo>
                      <a:pt x="1225" y="1051"/>
                    </a:lnTo>
                    <a:close/>
                    <a:moveTo>
                      <a:pt x="1203" y="1422"/>
                    </a:moveTo>
                    <a:lnTo>
                      <a:pt x="1205" y="1422"/>
                    </a:lnTo>
                    <a:lnTo>
                      <a:pt x="1205" y="1424"/>
                    </a:lnTo>
                    <a:lnTo>
                      <a:pt x="1205" y="1425"/>
                    </a:lnTo>
                    <a:lnTo>
                      <a:pt x="1205" y="1427"/>
                    </a:lnTo>
                    <a:lnTo>
                      <a:pt x="1205" y="1429"/>
                    </a:lnTo>
                    <a:lnTo>
                      <a:pt x="1205" y="1427"/>
                    </a:lnTo>
                    <a:lnTo>
                      <a:pt x="1203" y="1427"/>
                    </a:lnTo>
                    <a:lnTo>
                      <a:pt x="1202" y="1427"/>
                    </a:lnTo>
                    <a:lnTo>
                      <a:pt x="1200" y="1427"/>
                    </a:lnTo>
                    <a:lnTo>
                      <a:pt x="1200" y="1425"/>
                    </a:lnTo>
                    <a:lnTo>
                      <a:pt x="1202" y="1425"/>
                    </a:lnTo>
                    <a:lnTo>
                      <a:pt x="1203" y="1425"/>
                    </a:lnTo>
                    <a:lnTo>
                      <a:pt x="1203" y="1424"/>
                    </a:lnTo>
                    <a:lnTo>
                      <a:pt x="1202" y="1425"/>
                    </a:lnTo>
                    <a:lnTo>
                      <a:pt x="1200" y="1425"/>
                    </a:lnTo>
                    <a:lnTo>
                      <a:pt x="1200" y="1424"/>
                    </a:lnTo>
                    <a:lnTo>
                      <a:pt x="1200" y="1422"/>
                    </a:lnTo>
                    <a:lnTo>
                      <a:pt x="1202" y="1422"/>
                    </a:lnTo>
                    <a:lnTo>
                      <a:pt x="1202" y="1420"/>
                    </a:lnTo>
                    <a:lnTo>
                      <a:pt x="1203" y="1420"/>
                    </a:lnTo>
                    <a:lnTo>
                      <a:pt x="1203" y="1422"/>
                    </a:lnTo>
                    <a:close/>
                    <a:moveTo>
                      <a:pt x="3" y="349"/>
                    </a:moveTo>
                    <a:lnTo>
                      <a:pt x="5" y="349"/>
                    </a:lnTo>
                    <a:lnTo>
                      <a:pt x="5" y="350"/>
                    </a:lnTo>
                    <a:lnTo>
                      <a:pt x="7" y="350"/>
                    </a:lnTo>
                    <a:lnTo>
                      <a:pt x="7" y="352"/>
                    </a:lnTo>
                    <a:lnTo>
                      <a:pt x="5" y="352"/>
                    </a:lnTo>
                    <a:lnTo>
                      <a:pt x="3" y="352"/>
                    </a:lnTo>
                    <a:lnTo>
                      <a:pt x="3" y="354"/>
                    </a:lnTo>
                    <a:lnTo>
                      <a:pt x="1" y="354"/>
                    </a:lnTo>
                    <a:lnTo>
                      <a:pt x="0" y="354"/>
                    </a:lnTo>
                    <a:lnTo>
                      <a:pt x="0" y="352"/>
                    </a:lnTo>
                    <a:lnTo>
                      <a:pt x="1" y="352"/>
                    </a:lnTo>
                    <a:lnTo>
                      <a:pt x="1" y="350"/>
                    </a:lnTo>
                    <a:lnTo>
                      <a:pt x="1" y="349"/>
                    </a:lnTo>
                    <a:lnTo>
                      <a:pt x="3" y="349"/>
                    </a:lnTo>
                    <a:close/>
                    <a:moveTo>
                      <a:pt x="1208" y="1054"/>
                    </a:moveTo>
                    <a:lnTo>
                      <a:pt x="1208" y="1056"/>
                    </a:lnTo>
                    <a:lnTo>
                      <a:pt x="1210" y="1056"/>
                    </a:lnTo>
                    <a:lnTo>
                      <a:pt x="1210" y="1058"/>
                    </a:lnTo>
                    <a:lnTo>
                      <a:pt x="1208" y="1058"/>
                    </a:lnTo>
                    <a:lnTo>
                      <a:pt x="1208" y="1060"/>
                    </a:lnTo>
                    <a:lnTo>
                      <a:pt x="1210" y="1060"/>
                    </a:lnTo>
                    <a:lnTo>
                      <a:pt x="1210" y="1061"/>
                    </a:lnTo>
                    <a:lnTo>
                      <a:pt x="1210" y="1063"/>
                    </a:lnTo>
                    <a:lnTo>
                      <a:pt x="1208" y="1063"/>
                    </a:lnTo>
                    <a:lnTo>
                      <a:pt x="1208" y="1061"/>
                    </a:lnTo>
                    <a:lnTo>
                      <a:pt x="1208" y="1060"/>
                    </a:lnTo>
                    <a:lnTo>
                      <a:pt x="1208" y="1061"/>
                    </a:lnTo>
                    <a:lnTo>
                      <a:pt x="1208" y="1060"/>
                    </a:lnTo>
                    <a:lnTo>
                      <a:pt x="1207" y="1060"/>
                    </a:lnTo>
                    <a:lnTo>
                      <a:pt x="1207" y="1058"/>
                    </a:lnTo>
                    <a:lnTo>
                      <a:pt x="1205" y="1058"/>
                    </a:lnTo>
                    <a:lnTo>
                      <a:pt x="1205" y="1056"/>
                    </a:lnTo>
                    <a:lnTo>
                      <a:pt x="1207" y="1054"/>
                    </a:lnTo>
                    <a:lnTo>
                      <a:pt x="1208" y="1054"/>
                    </a:lnTo>
                    <a:close/>
                    <a:moveTo>
                      <a:pt x="1321" y="1577"/>
                    </a:moveTo>
                    <a:lnTo>
                      <a:pt x="1322" y="1578"/>
                    </a:lnTo>
                    <a:lnTo>
                      <a:pt x="1321" y="1580"/>
                    </a:lnTo>
                    <a:lnTo>
                      <a:pt x="1321" y="1582"/>
                    </a:lnTo>
                    <a:lnTo>
                      <a:pt x="1321" y="1583"/>
                    </a:lnTo>
                    <a:lnTo>
                      <a:pt x="1319" y="1583"/>
                    </a:lnTo>
                    <a:lnTo>
                      <a:pt x="1317" y="1582"/>
                    </a:lnTo>
                    <a:lnTo>
                      <a:pt x="1315" y="1582"/>
                    </a:lnTo>
                    <a:lnTo>
                      <a:pt x="1315" y="1580"/>
                    </a:lnTo>
                    <a:lnTo>
                      <a:pt x="1314" y="1578"/>
                    </a:lnTo>
                    <a:lnTo>
                      <a:pt x="1315" y="1578"/>
                    </a:lnTo>
                    <a:lnTo>
                      <a:pt x="1317" y="1578"/>
                    </a:lnTo>
                    <a:lnTo>
                      <a:pt x="1319" y="1578"/>
                    </a:lnTo>
                    <a:lnTo>
                      <a:pt x="1321" y="1577"/>
                    </a:lnTo>
                    <a:close/>
                    <a:moveTo>
                      <a:pt x="1164" y="1282"/>
                    </a:moveTo>
                    <a:lnTo>
                      <a:pt x="1164" y="1284"/>
                    </a:lnTo>
                    <a:lnTo>
                      <a:pt x="1166" y="1284"/>
                    </a:lnTo>
                    <a:lnTo>
                      <a:pt x="1168" y="1284"/>
                    </a:lnTo>
                    <a:lnTo>
                      <a:pt x="1169" y="1284"/>
                    </a:lnTo>
                    <a:lnTo>
                      <a:pt x="1171" y="1284"/>
                    </a:lnTo>
                    <a:lnTo>
                      <a:pt x="1171" y="1286"/>
                    </a:lnTo>
                    <a:lnTo>
                      <a:pt x="1169" y="1286"/>
                    </a:lnTo>
                    <a:lnTo>
                      <a:pt x="1168" y="1286"/>
                    </a:lnTo>
                    <a:lnTo>
                      <a:pt x="1168" y="1288"/>
                    </a:lnTo>
                    <a:lnTo>
                      <a:pt x="1166" y="1288"/>
                    </a:lnTo>
                    <a:lnTo>
                      <a:pt x="1166" y="1289"/>
                    </a:lnTo>
                    <a:lnTo>
                      <a:pt x="1164" y="1289"/>
                    </a:lnTo>
                    <a:lnTo>
                      <a:pt x="1162" y="1289"/>
                    </a:lnTo>
                    <a:lnTo>
                      <a:pt x="1162" y="1288"/>
                    </a:lnTo>
                    <a:lnTo>
                      <a:pt x="1164" y="1288"/>
                    </a:lnTo>
                    <a:lnTo>
                      <a:pt x="1164" y="1286"/>
                    </a:lnTo>
                    <a:lnTo>
                      <a:pt x="1166" y="1286"/>
                    </a:lnTo>
                    <a:lnTo>
                      <a:pt x="1166" y="1288"/>
                    </a:lnTo>
                    <a:lnTo>
                      <a:pt x="1166" y="1286"/>
                    </a:lnTo>
                    <a:lnTo>
                      <a:pt x="1168" y="1288"/>
                    </a:lnTo>
                    <a:lnTo>
                      <a:pt x="1168" y="1286"/>
                    </a:lnTo>
                    <a:lnTo>
                      <a:pt x="1166" y="1286"/>
                    </a:lnTo>
                    <a:lnTo>
                      <a:pt x="1164" y="1286"/>
                    </a:lnTo>
                    <a:lnTo>
                      <a:pt x="1164" y="1284"/>
                    </a:lnTo>
                    <a:lnTo>
                      <a:pt x="1164" y="1282"/>
                    </a:lnTo>
                    <a:close/>
                    <a:moveTo>
                      <a:pt x="1222" y="1563"/>
                    </a:moveTo>
                    <a:lnTo>
                      <a:pt x="1224" y="1563"/>
                    </a:lnTo>
                    <a:lnTo>
                      <a:pt x="1225" y="1563"/>
                    </a:lnTo>
                    <a:lnTo>
                      <a:pt x="1227" y="1563"/>
                    </a:lnTo>
                    <a:lnTo>
                      <a:pt x="1227" y="1565"/>
                    </a:lnTo>
                    <a:lnTo>
                      <a:pt x="1227" y="1566"/>
                    </a:lnTo>
                    <a:lnTo>
                      <a:pt x="1227" y="1568"/>
                    </a:lnTo>
                    <a:lnTo>
                      <a:pt x="1227" y="1566"/>
                    </a:lnTo>
                    <a:lnTo>
                      <a:pt x="1225" y="1568"/>
                    </a:lnTo>
                    <a:lnTo>
                      <a:pt x="1224" y="1568"/>
                    </a:lnTo>
                    <a:lnTo>
                      <a:pt x="1224" y="1570"/>
                    </a:lnTo>
                    <a:lnTo>
                      <a:pt x="1225" y="1568"/>
                    </a:lnTo>
                    <a:lnTo>
                      <a:pt x="1225" y="1570"/>
                    </a:lnTo>
                    <a:lnTo>
                      <a:pt x="1224" y="1570"/>
                    </a:lnTo>
                    <a:lnTo>
                      <a:pt x="1222" y="1568"/>
                    </a:lnTo>
                    <a:lnTo>
                      <a:pt x="1224" y="1568"/>
                    </a:lnTo>
                    <a:lnTo>
                      <a:pt x="1222" y="1568"/>
                    </a:lnTo>
                    <a:lnTo>
                      <a:pt x="1222" y="1566"/>
                    </a:lnTo>
                    <a:lnTo>
                      <a:pt x="1224" y="1568"/>
                    </a:lnTo>
                    <a:lnTo>
                      <a:pt x="1224" y="1566"/>
                    </a:lnTo>
                    <a:lnTo>
                      <a:pt x="1224" y="1565"/>
                    </a:lnTo>
                    <a:lnTo>
                      <a:pt x="1224" y="1566"/>
                    </a:lnTo>
                    <a:lnTo>
                      <a:pt x="1222" y="1566"/>
                    </a:lnTo>
                    <a:lnTo>
                      <a:pt x="1224" y="1565"/>
                    </a:lnTo>
                    <a:lnTo>
                      <a:pt x="1222" y="1566"/>
                    </a:lnTo>
                    <a:lnTo>
                      <a:pt x="1220" y="1566"/>
                    </a:lnTo>
                    <a:lnTo>
                      <a:pt x="1220" y="1565"/>
                    </a:lnTo>
                    <a:lnTo>
                      <a:pt x="1220" y="1566"/>
                    </a:lnTo>
                    <a:lnTo>
                      <a:pt x="1220" y="1565"/>
                    </a:lnTo>
                    <a:lnTo>
                      <a:pt x="1222" y="1565"/>
                    </a:lnTo>
                    <a:lnTo>
                      <a:pt x="1224" y="1565"/>
                    </a:lnTo>
                    <a:lnTo>
                      <a:pt x="1222" y="1565"/>
                    </a:lnTo>
                    <a:lnTo>
                      <a:pt x="1220" y="1565"/>
                    </a:lnTo>
                    <a:lnTo>
                      <a:pt x="1222" y="1563"/>
                    </a:lnTo>
                    <a:lnTo>
                      <a:pt x="1220" y="1565"/>
                    </a:lnTo>
                    <a:lnTo>
                      <a:pt x="1220" y="1563"/>
                    </a:lnTo>
                    <a:lnTo>
                      <a:pt x="1222" y="1563"/>
                    </a:lnTo>
                    <a:close/>
                    <a:moveTo>
                      <a:pt x="1186" y="1202"/>
                    </a:moveTo>
                    <a:lnTo>
                      <a:pt x="1188" y="1204"/>
                    </a:lnTo>
                    <a:lnTo>
                      <a:pt x="1186" y="1206"/>
                    </a:lnTo>
                    <a:lnTo>
                      <a:pt x="1185" y="1208"/>
                    </a:lnTo>
                    <a:lnTo>
                      <a:pt x="1183" y="1208"/>
                    </a:lnTo>
                    <a:lnTo>
                      <a:pt x="1183" y="1209"/>
                    </a:lnTo>
                    <a:lnTo>
                      <a:pt x="1181" y="1209"/>
                    </a:lnTo>
                    <a:lnTo>
                      <a:pt x="1181" y="1208"/>
                    </a:lnTo>
                    <a:lnTo>
                      <a:pt x="1181" y="1206"/>
                    </a:lnTo>
                    <a:lnTo>
                      <a:pt x="1181" y="1204"/>
                    </a:lnTo>
                    <a:lnTo>
                      <a:pt x="1183" y="1204"/>
                    </a:lnTo>
                    <a:lnTo>
                      <a:pt x="1185" y="1204"/>
                    </a:lnTo>
                    <a:lnTo>
                      <a:pt x="1185" y="1202"/>
                    </a:lnTo>
                    <a:lnTo>
                      <a:pt x="1186" y="1202"/>
                    </a:lnTo>
                    <a:close/>
                    <a:moveTo>
                      <a:pt x="1210" y="983"/>
                    </a:moveTo>
                    <a:lnTo>
                      <a:pt x="1212" y="983"/>
                    </a:lnTo>
                    <a:lnTo>
                      <a:pt x="1213" y="983"/>
                    </a:lnTo>
                    <a:lnTo>
                      <a:pt x="1212" y="983"/>
                    </a:lnTo>
                    <a:lnTo>
                      <a:pt x="1212" y="985"/>
                    </a:lnTo>
                    <a:lnTo>
                      <a:pt x="1213" y="985"/>
                    </a:lnTo>
                    <a:lnTo>
                      <a:pt x="1213" y="986"/>
                    </a:lnTo>
                    <a:lnTo>
                      <a:pt x="1215" y="986"/>
                    </a:lnTo>
                    <a:lnTo>
                      <a:pt x="1215" y="988"/>
                    </a:lnTo>
                    <a:lnTo>
                      <a:pt x="1217" y="988"/>
                    </a:lnTo>
                    <a:lnTo>
                      <a:pt x="1217" y="990"/>
                    </a:lnTo>
                    <a:lnTo>
                      <a:pt x="1217" y="992"/>
                    </a:lnTo>
                    <a:lnTo>
                      <a:pt x="1215" y="992"/>
                    </a:lnTo>
                    <a:lnTo>
                      <a:pt x="1215" y="990"/>
                    </a:lnTo>
                    <a:lnTo>
                      <a:pt x="1217" y="990"/>
                    </a:lnTo>
                    <a:lnTo>
                      <a:pt x="1215" y="990"/>
                    </a:lnTo>
                    <a:lnTo>
                      <a:pt x="1215" y="988"/>
                    </a:lnTo>
                    <a:lnTo>
                      <a:pt x="1213" y="988"/>
                    </a:lnTo>
                    <a:lnTo>
                      <a:pt x="1212" y="986"/>
                    </a:lnTo>
                    <a:lnTo>
                      <a:pt x="1210" y="986"/>
                    </a:lnTo>
                    <a:lnTo>
                      <a:pt x="1208" y="986"/>
                    </a:lnTo>
                    <a:lnTo>
                      <a:pt x="1208" y="985"/>
                    </a:lnTo>
                    <a:lnTo>
                      <a:pt x="1210" y="985"/>
                    </a:lnTo>
                    <a:lnTo>
                      <a:pt x="1208" y="985"/>
                    </a:lnTo>
                    <a:lnTo>
                      <a:pt x="1208" y="983"/>
                    </a:lnTo>
                    <a:lnTo>
                      <a:pt x="1210" y="981"/>
                    </a:lnTo>
                    <a:lnTo>
                      <a:pt x="1210" y="983"/>
                    </a:lnTo>
                    <a:close/>
                    <a:moveTo>
                      <a:pt x="1176" y="1087"/>
                    </a:moveTo>
                    <a:lnTo>
                      <a:pt x="1178" y="1087"/>
                    </a:lnTo>
                    <a:lnTo>
                      <a:pt x="1178" y="1085"/>
                    </a:lnTo>
                    <a:lnTo>
                      <a:pt x="1178" y="1087"/>
                    </a:lnTo>
                    <a:lnTo>
                      <a:pt x="1179" y="1087"/>
                    </a:lnTo>
                    <a:lnTo>
                      <a:pt x="1181" y="1087"/>
                    </a:lnTo>
                    <a:lnTo>
                      <a:pt x="1181" y="1088"/>
                    </a:lnTo>
                    <a:lnTo>
                      <a:pt x="1181" y="1090"/>
                    </a:lnTo>
                    <a:lnTo>
                      <a:pt x="1179" y="1090"/>
                    </a:lnTo>
                    <a:lnTo>
                      <a:pt x="1178" y="1090"/>
                    </a:lnTo>
                    <a:lnTo>
                      <a:pt x="1176" y="1088"/>
                    </a:lnTo>
                    <a:lnTo>
                      <a:pt x="1176" y="1090"/>
                    </a:lnTo>
                    <a:lnTo>
                      <a:pt x="1174" y="1088"/>
                    </a:lnTo>
                    <a:lnTo>
                      <a:pt x="1173" y="1088"/>
                    </a:lnTo>
                    <a:lnTo>
                      <a:pt x="1174" y="1088"/>
                    </a:lnTo>
                    <a:lnTo>
                      <a:pt x="1174" y="1087"/>
                    </a:lnTo>
                    <a:lnTo>
                      <a:pt x="1176" y="1087"/>
                    </a:lnTo>
                    <a:lnTo>
                      <a:pt x="1176" y="1085"/>
                    </a:lnTo>
                    <a:lnTo>
                      <a:pt x="1176" y="1087"/>
                    </a:lnTo>
                    <a:close/>
                    <a:moveTo>
                      <a:pt x="1195" y="1071"/>
                    </a:moveTo>
                    <a:lnTo>
                      <a:pt x="1196" y="1073"/>
                    </a:lnTo>
                    <a:lnTo>
                      <a:pt x="1198" y="1073"/>
                    </a:lnTo>
                    <a:lnTo>
                      <a:pt x="1200" y="1073"/>
                    </a:lnTo>
                    <a:lnTo>
                      <a:pt x="1200" y="1075"/>
                    </a:lnTo>
                    <a:lnTo>
                      <a:pt x="1200" y="1077"/>
                    </a:lnTo>
                    <a:lnTo>
                      <a:pt x="1200" y="1078"/>
                    </a:lnTo>
                    <a:lnTo>
                      <a:pt x="1198" y="1078"/>
                    </a:lnTo>
                    <a:lnTo>
                      <a:pt x="1198" y="1077"/>
                    </a:lnTo>
                    <a:lnTo>
                      <a:pt x="1196" y="1077"/>
                    </a:lnTo>
                    <a:lnTo>
                      <a:pt x="1195" y="1077"/>
                    </a:lnTo>
                    <a:lnTo>
                      <a:pt x="1195" y="1075"/>
                    </a:lnTo>
                    <a:lnTo>
                      <a:pt x="1193" y="1073"/>
                    </a:lnTo>
                    <a:lnTo>
                      <a:pt x="1193" y="1071"/>
                    </a:lnTo>
                    <a:lnTo>
                      <a:pt x="1195" y="1071"/>
                    </a:lnTo>
                    <a:close/>
                    <a:moveTo>
                      <a:pt x="1185" y="1107"/>
                    </a:moveTo>
                    <a:lnTo>
                      <a:pt x="1186" y="1107"/>
                    </a:lnTo>
                    <a:lnTo>
                      <a:pt x="1186" y="1109"/>
                    </a:lnTo>
                    <a:lnTo>
                      <a:pt x="1188" y="1109"/>
                    </a:lnTo>
                    <a:lnTo>
                      <a:pt x="1188" y="1111"/>
                    </a:lnTo>
                    <a:lnTo>
                      <a:pt x="1188" y="1112"/>
                    </a:lnTo>
                    <a:lnTo>
                      <a:pt x="1186" y="1112"/>
                    </a:lnTo>
                    <a:lnTo>
                      <a:pt x="1186" y="1111"/>
                    </a:lnTo>
                    <a:lnTo>
                      <a:pt x="1186" y="1112"/>
                    </a:lnTo>
                    <a:lnTo>
                      <a:pt x="1185" y="1111"/>
                    </a:lnTo>
                    <a:lnTo>
                      <a:pt x="1185" y="1112"/>
                    </a:lnTo>
                    <a:lnTo>
                      <a:pt x="1185" y="1111"/>
                    </a:lnTo>
                    <a:lnTo>
                      <a:pt x="1183" y="1111"/>
                    </a:lnTo>
                    <a:lnTo>
                      <a:pt x="1183" y="1109"/>
                    </a:lnTo>
                    <a:lnTo>
                      <a:pt x="1183" y="1107"/>
                    </a:lnTo>
                    <a:lnTo>
                      <a:pt x="1183" y="1105"/>
                    </a:lnTo>
                    <a:lnTo>
                      <a:pt x="1185" y="1107"/>
                    </a:lnTo>
                    <a:close/>
                    <a:moveTo>
                      <a:pt x="1188" y="1138"/>
                    </a:moveTo>
                    <a:lnTo>
                      <a:pt x="1190" y="1140"/>
                    </a:lnTo>
                    <a:lnTo>
                      <a:pt x="1188" y="1140"/>
                    </a:lnTo>
                    <a:lnTo>
                      <a:pt x="1188" y="1141"/>
                    </a:lnTo>
                    <a:lnTo>
                      <a:pt x="1186" y="1141"/>
                    </a:lnTo>
                    <a:lnTo>
                      <a:pt x="1188" y="1141"/>
                    </a:lnTo>
                    <a:lnTo>
                      <a:pt x="1190" y="1141"/>
                    </a:lnTo>
                    <a:lnTo>
                      <a:pt x="1190" y="1140"/>
                    </a:lnTo>
                    <a:lnTo>
                      <a:pt x="1191" y="1140"/>
                    </a:lnTo>
                    <a:lnTo>
                      <a:pt x="1191" y="1141"/>
                    </a:lnTo>
                    <a:lnTo>
                      <a:pt x="1191" y="1140"/>
                    </a:lnTo>
                    <a:lnTo>
                      <a:pt x="1191" y="1141"/>
                    </a:lnTo>
                    <a:lnTo>
                      <a:pt x="1193" y="1141"/>
                    </a:lnTo>
                    <a:lnTo>
                      <a:pt x="1191" y="1141"/>
                    </a:lnTo>
                    <a:lnTo>
                      <a:pt x="1193" y="1143"/>
                    </a:lnTo>
                    <a:lnTo>
                      <a:pt x="1191" y="1143"/>
                    </a:lnTo>
                    <a:lnTo>
                      <a:pt x="1190" y="1143"/>
                    </a:lnTo>
                    <a:lnTo>
                      <a:pt x="1188" y="1143"/>
                    </a:lnTo>
                    <a:lnTo>
                      <a:pt x="1188" y="1145"/>
                    </a:lnTo>
                    <a:lnTo>
                      <a:pt x="1186" y="1143"/>
                    </a:lnTo>
                    <a:lnTo>
                      <a:pt x="1186" y="1141"/>
                    </a:lnTo>
                    <a:lnTo>
                      <a:pt x="1185" y="1141"/>
                    </a:lnTo>
                    <a:lnTo>
                      <a:pt x="1186" y="1140"/>
                    </a:lnTo>
                    <a:lnTo>
                      <a:pt x="1186" y="1138"/>
                    </a:lnTo>
                    <a:lnTo>
                      <a:pt x="1188" y="1138"/>
                    </a:lnTo>
                    <a:close/>
                    <a:moveTo>
                      <a:pt x="1162" y="1390"/>
                    </a:moveTo>
                    <a:lnTo>
                      <a:pt x="1164" y="1391"/>
                    </a:lnTo>
                    <a:lnTo>
                      <a:pt x="1162" y="1391"/>
                    </a:lnTo>
                    <a:lnTo>
                      <a:pt x="1164" y="1393"/>
                    </a:lnTo>
                    <a:lnTo>
                      <a:pt x="1162" y="1393"/>
                    </a:lnTo>
                    <a:lnTo>
                      <a:pt x="1164" y="1395"/>
                    </a:lnTo>
                    <a:lnTo>
                      <a:pt x="1162" y="1395"/>
                    </a:lnTo>
                    <a:lnTo>
                      <a:pt x="1164" y="1395"/>
                    </a:lnTo>
                    <a:lnTo>
                      <a:pt x="1162" y="1395"/>
                    </a:lnTo>
                    <a:lnTo>
                      <a:pt x="1164" y="1396"/>
                    </a:lnTo>
                    <a:lnTo>
                      <a:pt x="1162" y="1396"/>
                    </a:lnTo>
                    <a:lnTo>
                      <a:pt x="1164" y="1396"/>
                    </a:lnTo>
                    <a:lnTo>
                      <a:pt x="1162" y="1398"/>
                    </a:lnTo>
                    <a:lnTo>
                      <a:pt x="1162" y="1396"/>
                    </a:lnTo>
                    <a:lnTo>
                      <a:pt x="1161" y="1396"/>
                    </a:lnTo>
                    <a:lnTo>
                      <a:pt x="1161" y="1395"/>
                    </a:lnTo>
                    <a:lnTo>
                      <a:pt x="1159" y="1393"/>
                    </a:lnTo>
                    <a:lnTo>
                      <a:pt x="1161" y="1391"/>
                    </a:lnTo>
                    <a:lnTo>
                      <a:pt x="1161" y="1393"/>
                    </a:lnTo>
                    <a:lnTo>
                      <a:pt x="1161" y="1391"/>
                    </a:lnTo>
                    <a:lnTo>
                      <a:pt x="1161" y="1390"/>
                    </a:lnTo>
                    <a:lnTo>
                      <a:pt x="1162" y="1390"/>
                    </a:lnTo>
                    <a:lnTo>
                      <a:pt x="1162" y="1388"/>
                    </a:lnTo>
                    <a:lnTo>
                      <a:pt x="1162" y="1390"/>
                    </a:lnTo>
                    <a:lnTo>
                      <a:pt x="1162" y="1391"/>
                    </a:lnTo>
                    <a:lnTo>
                      <a:pt x="1162" y="1390"/>
                    </a:lnTo>
                    <a:lnTo>
                      <a:pt x="1164" y="1388"/>
                    </a:lnTo>
                    <a:lnTo>
                      <a:pt x="1164" y="1390"/>
                    </a:lnTo>
                    <a:lnTo>
                      <a:pt x="1162" y="1390"/>
                    </a:lnTo>
                    <a:close/>
                    <a:moveTo>
                      <a:pt x="1431" y="1631"/>
                    </a:moveTo>
                    <a:lnTo>
                      <a:pt x="1433" y="1633"/>
                    </a:lnTo>
                    <a:lnTo>
                      <a:pt x="1434" y="1633"/>
                    </a:lnTo>
                    <a:lnTo>
                      <a:pt x="1436" y="1633"/>
                    </a:lnTo>
                    <a:lnTo>
                      <a:pt x="1436" y="1635"/>
                    </a:lnTo>
                    <a:lnTo>
                      <a:pt x="1438" y="1635"/>
                    </a:lnTo>
                    <a:lnTo>
                      <a:pt x="1438" y="1636"/>
                    </a:lnTo>
                    <a:lnTo>
                      <a:pt x="1438" y="1638"/>
                    </a:lnTo>
                    <a:lnTo>
                      <a:pt x="1440" y="1640"/>
                    </a:lnTo>
                    <a:lnTo>
                      <a:pt x="1438" y="1640"/>
                    </a:lnTo>
                    <a:lnTo>
                      <a:pt x="1436" y="1638"/>
                    </a:lnTo>
                    <a:lnTo>
                      <a:pt x="1434" y="1636"/>
                    </a:lnTo>
                    <a:lnTo>
                      <a:pt x="1433" y="1635"/>
                    </a:lnTo>
                    <a:lnTo>
                      <a:pt x="1431" y="1635"/>
                    </a:lnTo>
                    <a:lnTo>
                      <a:pt x="1431" y="1633"/>
                    </a:lnTo>
                    <a:lnTo>
                      <a:pt x="1431" y="1631"/>
                    </a:lnTo>
                    <a:close/>
                    <a:moveTo>
                      <a:pt x="1196" y="1094"/>
                    </a:moveTo>
                    <a:lnTo>
                      <a:pt x="1198" y="1094"/>
                    </a:lnTo>
                    <a:lnTo>
                      <a:pt x="1198" y="1095"/>
                    </a:lnTo>
                    <a:lnTo>
                      <a:pt x="1198" y="1097"/>
                    </a:lnTo>
                    <a:lnTo>
                      <a:pt x="1196" y="1097"/>
                    </a:lnTo>
                    <a:lnTo>
                      <a:pt x="1198" y="1097"/>
                    </a:lnTo>
                    <a:lnTo>
                      <a:pt x="1196" y="1097"/>
                    </a:lnTo>
                    <a:lnTo>
                      <a:pt x="1195" y="1097"/>
                    </a:lnTo>
                    <a:lnTo>
                      <a:pt x="1193" y="1097"/>
                    </a:lnTo>
                    <a:lnTo>
                      <a:pt x="1191" y="1097"/>
                    </a:lnTo>
                    <a:lnTo>
                      <a:pt x="1191" y="1095"/>
                    </a:lnTo>
                    <a:lnTo>
                      <a:pt x="1190" y="1095"/>
                    </a:lnTo>
                    <a:lnTo>
                      <a:pt x="1191" y="1095"/>
                    </a:lnTo>
                    <a:lnTo>
                      <a:pt x="1193" y="1095"/>
                    </a:lnTo>
                    <a:lnTo>
                      <a:pt x="1195" y="1094"/>
                    </a:lnTo>
                    <a:lnTo>
                      <a:pt x="1196" y="1094"/>
                    </a:lnTo>
                    <a:close/>
                    <a:moveTo>
                      <a:pt x="1178" y="1468"/>
                    </a:moveTo>
                    <a:lnTo>
                      <a:pt x="1176" y="1468"/>
                    </a:lnTo>
                    <a:lnTo>
                      <a:pt x="1176" y="1470"/>
                    </a:lnTo>
                    <a:lnTo>
                      <a:pt x="1174" y="1470"/>
                    </a:lnTo>
                    <a:lnTo>
                      <a:pt x="1176" y="1470"/>
                    </a:lnTo>
                    <a:lnTo>
                      <a:pt x="1174" y="1471"/>
                    </a:lnTo>
                    <a:lnTo>
                      <a:pt x="1176" y="1471"/>
                    </a:lnTo>
                    <a:lnTo>
                      <a:pt x="1174" y="1473"/>
                    </a:lnTo>
                    <a:lnTo>
                      <a:pt x="1174" y="1471"/>
                    </a:lnTo>
                    <a:lnTo>
                      <a:pt x="1173" y="1473"/>
                    </a:lnTo>
                    <a:lnTo>
                      <a:pt x="1173" y="1471"/>
                    </a:lnTo>
                    <a:lnTo>
                      <a:pt x="1173" y="1473"/>
                    </a:lnTo>
                    <a:lnTo>
                      <a:pt x="1174" y="1473"/>
                    </a:lnTo>
                    <a:lnTo>
                      <a:pt x="1173" y="1473"/>
                    </a:lnTo>
                    <a:lnTo>
                      <a:pt x="1171" y="1475"/>
                    </a:lnTo>
                    <a:lnTo>
                      <a:pt x="1171" y="1473"/>
                    </a:lnTo>
                    <a:lnTo>
                      <a:pt x="1171" y="1471"/>
                    </a:lnTo>
                    <a:lnTo>
                      <a:pt x="1169" y="1471"/>
                    </a:lnTo>
                    <a:lnTo>
                      <a:pt x="1171" y="1471"/>
                    </a:lnTo>
                    <a:lnTo>
                      <a:pt x="1171" y="1470"/>
                    </a:lnTo>
                    <a:lnTo>
                      <a:pt x="1173" y="1470"/>
                    </a:lnTo>
                    <a:lnTo>
                      <a:pt x="1174" y="1468"/>
                    </a:lnTo>
                    <a:lnTo>
                      <a:pt x="1176" y="1468"/>
                    </a:lnTo>
                    <a:lnTo>
                      <a:pt x="1176" y="1466"/>
                    </a:lnTo>
                    <a:lnTo>
                      <a:pt x="1178" y="1468"/>
                    </a:lnTo>
                    <a:close/>
                    <a:moveTo>
                      <a:pt x="1210" y="1092"/>
                    </a:moveTo>
                    <a:lnTo>
                      <a:pt x="1210" y="1094"/>
                    </a:lnTo>
                    <a:lnTo>
                      <a:pt x="1210" y="1095"/>
                    </a:lnTo>
                    <a:lnTo>
                      <a:pt x="1210" y="1097"/>
                    </a:lnTo>
                    <a:lnTo>
                      <a:pt x="1208" y="1097"/>
                    </a:lnTo>
                    <a:lnTo>
                      <a:pt x="1207" y="1097"/>
                    </a:lnTo>
                    <a:lnTo>
                      <a:pt x="1207" y="1095"/>
                    </a:lnTo>
                    <a:lnTo>
                      <a:pt x="1205" y="1095"/>
                    </a:lnTo>
                    <a:lnTo>
                      <a:pt x="1205" y="1094"/>
                    </a:lnTo>
                    <a:lnTo>
                      <a:pt x="1205" y="1092"/>
                    </a:lnTo>
                    <a:lnTo>
                      <a:pt x="1207" y="1094"/>
                    </a:lnTo>
                    <a:lnTo>
                      <a:pt x="1207" y="1092"/>
                    </a:lnTo>
                    <a:lnTo>
                      <a:pt x="1208" y="1092"/>
                    </a:lnTo>
                    <a:lnTo>
                      <a:pt x="1210" y="1092"/>
                    </a:lnTo>
                    <a:close/>
                    <a:moveTo>
                      <a:pt x="1161" y="1235"/>
                    </a:moveTo>
                    <a:lnTo>
                      <a:pt x="1162" y="1235"/>
                    </a:lnTo>
                    <a:lnTo>
                      <a:pt x="1164" y="1235"/>
                    </a:lnTo>
                    <a:lnTo>
                      <a:pt x="1164" y="1236"/>
                    </a:lnTo>
                    <a:lnTo>
                      <a:pt x="1164" y="1238"/>
                    </a:lnTo>
                    <a:lnTo>
                      <a:pt x="1164" y="1236"/>
                    </a:lnTo>
                    <a:lnTo>
                      <a:pt x="1164" y="1235"/>
                    </a:lnTo>
                    <a:lnTo>
                      <a:pt x="1164" y="1236"/>
                    </a:lnTo>
                    <a:lnTo>
                      <a:pt x="1166" y="1236"/>
                    </a:lnTo>
                    <a:lnTo>
                      <a:pt x="1166" y="1238"/>
                    </a:lnTo>
                    <a:lnTo>
                      <a:pt x="1168" y="1238"/>
                    </a:lnTo>
                    <a:lnTo>
                      <a:pt x="1168" y="1240"/>
                    </a:lnTo>
                    <a:lnTo>
                      <a:pt x="1166" y="1240"/>
                    </a:lnTo>
                    <a:lnTo>
                      <a:pt x="1166" y="1238"/>
                    </a:lnTo>
                    <a:lnTo>
                      <a:pt x="1166" y="1240"/>
                    </a:lnTo>
                    <a:lnTo>
                      <a:pt x="1164" y="1240"/>
                    </a:lnTo>
                    <a:lnTo>
                      <a:pt x="1162" y="1240"/>
                    </a:lnTo>
                    <a:lnTo>
                      <a:pt x="1162" y="1238"/>
                    </a:lnTo>
                    <a:lnTo>
                      <a:pt x="1161" y="1238"/>
                    </a:lnTo>
                    <a:lnTo>
                      <a:pt x="1161" y="1236"/>
                    </a:lnTo>
                    <a:lnTo>
                      <a:pt x="1161" y="1235"/>
                    </a:lnTo>
                    <a:close/>
                    <a:moveTo>
                      <a:pt x="1249" y="1592"/>
                    </a:moveTo>
                    <a:lnTo>
                      <a:pt x="1251" y="1592"/>
                    </a:lnTo>
                    <a:lnTo>
                      <a:pt x="1251" y="1594"/>
                    </a:lnTo>
                    <a:lnTo>
                      <a:pt x="1253" y="1594"/>
                    </a:lnTo>
                    <a:lnTo>
                      <a:pt x="1254" y="1594"/>
                    </a:lnTo>
                    <a:lnTo>
                      <a:pt x="1253" y="1594"/>
                    </a:lnTo>
                    <a:lnTo>
                      <a:pt x="1253" y="1595"/>
                    </a:lnTo>
                    <a:lnTo>
                      <a:pt x="1251" y="1594"/>
                    </a:lnTo>
                    <a:lnTo>
                      <a:pt x="1251" y="1595"/>
                    </a:lnTo>
                    <a:lnTo>
                      <a:pt x="1253" y="1595"/>
                    </a:lnTo>
                    <a:lnTo>
                      <a:pt x="1253" y="1597"/>
                    </a:lnTo>
                    <a:lnTo>
                      <a:pt x="1251" y="1597"/>
                    </a:lnTo>
                    <a:lnTo>
                      <a:pt x="1251" y="1595"/>
                    </a:lnTo>
                    <a:lnTo>
                      <a:pt x="1249" y="1595"/>
                    </a:lnTo>
                    <a:lnTo>
                      <a:pt x="1249" y="1597"/>
                    </a:lnTo>
                    <a:lnTo>
                      <a:pt x="1249" y="1599"/>
                    </a:lnTo>
                    <a:lnTo>
                      <a:pt x="1247" y="1600"/>
                    </a:lnTo>
                    <a:lnTo>
                      <a:pt x="1247" y="1599"/>
                    </a:lnTo>
                    <a:lnTo>
                      <a:pt x="1247" y="1597"/>
                    </a:lnTo>
                    <a:lnTo>
                      <a:pt x="1246" y="1597"/>
                    </a:lnTo>
                    <a:lnTo>
                      <a:pt x="1246" y="1595"/>
                    </a:lnTo>
                    <a:lnTo>
                      <a:pt x="1246" y="1594"/>
                    </a:lnTo>
                    <a:lnTo>
                      <a:pt x="1247" y="1595"/>
                    </a:lnTo>
                    <a:lnTo>
                      <a:pt x="1246" y="1594"/>
                    </a:lnTo>
                    <a:lnTo>
                      <a:pt x="1247" y="1594"/>
                    </a:lnTo>
                    <a:lnTo>
                      <a:pt x="1249" y="1594"/>
                    </a:lnTo>
                    <a:lnTo>
                      <a:pt x="1249" y="1592"/>
                    </a:lnTo>
                    <a:close/>
                    <a:moveTo>
                      <a:pt x="1198" y="1061"/>
                    </a:moveTo>
                    <a:lnTo>
                      <a:pt x="1200" y="1061"/>
                    </a:lnTo>
                    <a:lnTo>
                      <a:pt x="1200" y="1063"/>
                    </a:lnTo>
                    <a:lnTo>
                      <a:pt x="1202" y="1063"/>
                    </a:lnTo>
                    <a:lnTo>
                      <a:pt x="1200" y="1065"/>
                    </a:lnTo>
                    <a:lnTo>
                      <a:pt x="1202" y="1065"/>
                    </a:lnTo>
                    <a:lnTo>
                      <a:pt x="1203" y="1066"/>
                    </a:lnTo>
                    <a:lnTo>
                      <a:pt x="1202" y="1065"/>
                    </a:lnTo>
                    <a:lnTo>
                      <a:pt x="1203" y="1065"/>
                    </a:lnTo>
                    <a:lnTo>
                      <a:pt x="1203" y="1066"/>
                    </a:lnTo>
                    <a:lnTo>
                      <a:pt x="1202" y="1066"/>
                    </a:lnTo>
                    <a:lnTo>
                      <a:pt x="1200" y="1066"/>
                    </a:lnTo>
                    <a:lnTo>
                      <a:pt x="1198" y="1066"/>
                    </a:lnTo>
                    <a:lnTo>
                      <a:pt x="1196" y="1065"/>
                    </a:lnTo>
                    <a:lnTo>
                      <a:pt x="1196" y="1063"/>
                    </a:lnTo>
                    <a:lnTo>
                      <a:pt x="1198" y="1063"/>
                    </a:lnTo>
                    <a:lnTo>
                      <a:pt x="1198" y="1061"/>
                    </a:lnTo>
                    <a:close/>
                    <a:moveTo>
                      <a:pt x="1198" y="1442"/>
                    </a:moveTo>
                    <a:lnTo>
                      <a:pt x="1200" y="1442"/>
                    </a:lnTo>
                    <a:lnTo>
                      <a:pt x="1200" y="1444"/>
                    </a:lnTo>
                    <a:lnTo>
                      <a:pt x="1200" y="1446"/>
                    </a:lnTo>
                    <a:lnTo>
                      <a:pt x="1202" y="1444"/>
                    </a:lnTo>
                    <a:lnTo>
                      <a:pt x="1202" y="1446"/>
                    </a:lnTo>
                    <a:lnTo>
                      <a:pt x="1202" y="1447"/>
                    </a:lnTo>
                    <a:lnTo>
                      <a:pt x="1202" y="1449"/>
                    </a:lnTo>
                    <a:lnTo>
                      <a:pt x="1202" y="1447"/>
                    </a:lnTo>
                    <a:lnTo>
                      <a:pt x="1203" y="1447"/>
                    </a:lnTo>
                    <a:lnTo>
                      <a:pt x="1202" y="1447"/>
                    </a:lnTo>
                    <a:lnTo>
                      <a:pt x="1203" y="1446"/>
                    </a:lnTo>
                    <a:lnTo>
                      <a:pt x="1203" y="1447"/>
                    </a:lnTo>
                    <a:lnTo>
                      <a:pt x="1205" y="1449"/>
                    </a:lnTo>
                    <a:lnTo>
                      <a:pt x="1205" y="1451"/>
                    </a:lnTo>
                    <a:lnTo>
                      <a:pt x="1203" y="1449"/>
                    </a:lnTo>
                    <a:lnTo>
                      <a:pt x="1203" y="1451"/>
                    </a:lnTo>
                    <a:lnTo>
                      <a:pt x="1203" y="1453"/>
                    </a:lnTo>
                    <a:lnTo>
                      <a:pt x="1202" y="1451"/>
                    </a:lnTo>
                    <a:lnTo>
                      <a:pt x="1202" y="1449"/>
                    </a:lnTo>
                    <a:lnTo>
                      <a:pt x="1200" y="1449"/>
                    </a:lnTo>
                    <a:lnTo>
                      <a:pt x="1202" y="1447"/>
                    </a:lnTo>
                    <a:lnTo>
                      <a:pt x="1200" y="1449"/>
                    </a:lnTo>
                    <a:lnTo>
                      <a:pt x="1200" y="1447"/>
                    </a:lnTo>
                    <a:lnTo>
                      <a:pt x="1200" y="1446"/>
                    </a:lnTo>
                    <a:lnTo>
                      <a:pt x="1200" y="1447"/>
                    </a:lnTo>
                    <a:lnTo>
                      <a:pt x="1200" y="1446"/>
                    </a:lnTo>
                    <a:lnTo>
                      <a:pt x="1198" y="1446"/>
                    </a:lnTo>
                    <a:lnTo>
                      <a:pt x="1198" y="1444"/>
                    </a:lnTo>
                    <a:lnTo>
                      <a:pt x="1198" y="1442"/>
                    </a:lnTo>
                    <a:close/>
                    <a:moveTo>
                      <a:pt x="1263" y="1565"/>
                    </a:moveTo>
                    <a:lnTo>
                      <a:pt x="1261" y="1566"/>
                    </a:lnTo>
                    <a:lnTo>
                      <a:pt x="1261" y="1568"/>
                    </a:lnTo>
                    <a:lnTo>
                      <a:pt x="1261" y="1566"/>
                    </a:lnTo>
                    <a:lnTo>
                      <a:pt x="1261" y="1568"/>
                    </a:lnTo>
                    <a:lnTo>
                      <a:pt x="1261" y="1570"/>
                    </a:lnTo>
                    <a:lnTo>
                      <a:pt x="1259" y="1570"/>
                    </a:lnTo>
                    <a:lnTo>
                      <a:pt x="1261" y="1570"/>
                    </a:lnTo>
                    <a:lnTo>
                      <a:pt x="1261" y="1568"/>
                    </a:lnTo>
                    <a:lnTo>
                      <a:pt x="1263" y="1570"/>
                    </a:lnTo>
                    <a:lnTo>
                      <a:pt x="1261" y="1570"/>
                    </a:lnTo>
                    <a:lnTo>
                      <a:pt x="1261" y="1572"/>
                    </a:lnTo>
                    <a:lnTo>
                      <a:pt x="1261" y="1570"/>
                    </a:lnTo>
                    <a:lnTo>
                      <a:pt x="1259" y="1570"/>
                    </a:lnTo>
                    <a:lnTo>
                      <a:pt x="1259" y="1568"/>
                    </a:lnTo>
                    <a:lnTo>
                      <a:pt x="1258" y="1568"/>
                    </a:lnTo>
                    <a:lnTo>
                      <a:pt x="1256" y="1568"/>
                    </a:lnTo>
                    <a:lnTo>
                      <a:pt x="1256" y="1566"/>
                    </a:lnTo>
                    <a:lnTo>
                      <a:pt x="1258" y="1566"/>
                    </a:lnTo>
                    <a:lnTo>
                      <a:pt x="1258" y="1565"/>
                    </a:lnTo>
                    <a:lnTo>
                      <a:pt x="1259" y="1565"/>
                    </a:lnTo>
                    <a:lnTo>
                      <a:pt x="1261" y="1563"/>
                    </a:lnTo>
                    <a:lnTo>
                      <a:pt x="1263" y="1565"/>
                    </a:lnTo>
                    <a:close/>
                    <a:moveTo>
                      <a:pt x="1166" y="1413"/>
                    </a:moveTo>
                    <a:lnTo>
                      <a:pt x="1168" y="1413"/>
                    </a:lnTo>
                    <a:lnTo>
                      <a:pt x="1168" y="1415"/>
                    </a:lnTo>
                    <a:lnTo>
                      <a:pt x="1169" y="1413"/>
                    </a:lnTo>
                    <a:lnTo>
                      <a:pt x="1169" y="1415"/>
                    </a:lnTo>
                    <a:lnTo>
                      <a:pt x="1168" y="1417"/>
                    </a:lnTo>
                    <a:lnTo>
                      <a:pt x="1166" y="1417"/>
                    </a:lnTo>
                    <a:lnTo>
                      <a:pt x="1164" y="1415"/>
                    </a:lnTo>
                    <a:lnTo>
                      <a:pt x="1164" y="1417"/>
                    </a:lnTo>
                    <a:lnTo>
                      <a:pt x="1162" y="1417"/>
                    </a:lnTo>
                    <a:lnTo>
                      <a:pt x="1162" y="1415"/>
                    </a:lnTo>
                    <a:lnTo>
                      <a:pt x="1162" y="1413"/>
                    </a:lnTo>
                    <a:lnTo>
                      <a:pt x="1164" y="1413"/>
                    </a:lnTo>
                    <a:lnTo>
                      <a:pt x="1166" y="1413"/>
                    </a:lnTo>
                    <a:lnTo>
                      <a:pt x="1166" y="1415"/>
                    </a:lnTo>
                    <a:lnTo>
                      <a:pt x="1166" y="1413"/>
                    </a:lnTo>
                    <a:lnTo>
                      <a:pt x="1164" y="1413"/>
                    </a:lnTo>
                    <a:lnTo>
                      <a:pt x="1164" y="1412"/>
                    </a:lnTo>
                    <a:lnTo>
                      <a:pt x="1166" y="1413"/>
                    </a:lnTo>
                    <a:close/>
                    <a:moveTo>
                      <a:pt x="1183" y="1126"/>
                    </a:moveTo>
                    <a:lnTo>
                      <a:pt x="1181" y="1126"/>
                    </a:lnTo>
                    <a:lnTo>
                      <a:pt x="1181" y="1128"/>
                    </a:lnTo>
                    <a:lnTo>
                      <a:pt x="1181" y="1129"/>
                    </a:lnTo>
                    <a:lnTo>
                      <a:pt x="1181" y="1131"/>
                    </a:lnTo>
                    <a:lnTo>
                      <a:pt x="1181" y="1133"/>
                    </a:lnTo>
                    <a:lnTo>
                      <a:pt x="1179" y="1133"/>
                    </a:lnTo>
                    <a:lnTo>
                      <a:pt x="1179" y="1131"/>
                    </a:lnTo>
                    <a:lnTo>
                      <a:pt x="1178" y="1131"/>
                    </a:lnTo>
                    <a:lnTo>
                      <a:pt x="1178" y="1129"/>
                    </a:lnTo>
                    <a:lnTo>
                      <a:pt x="1178" y="1128"/>
                    </a:lnTo>
                    <a:lnTo>
                      <a:pt x="1179" y="1128"/>
                    </a:lnTo>
                    <a:lnTo>
                      <a:pt x="1179" y="1126"/>
                    </a:lnTo>
                    <a:lnTo>
                      <a:pt x="1181" y="1126"/>
                    </a:lnTo>
                    <a:lnTo>
                      <a:pt x="1183" y="1126"/>
                    </a:lnTo>
                    <a:close/>
                    <a:moveTo>
                      <a:pt x="1142" y="1301"/>
                    </a:moveTo>
                    <a:lnTo>
                      <a:pt x="1144" y="1303"/>
                    </a:lnTo>
                    <a:lnTo>
                      <a:pt x="1145" y="1303"/>
                    </a:lnTo>
                    <a:lnTo>
                      <a:pt x="1145" y="1305"/>
                    </a:lnTo>
                    <a:lnTo>
                      <a:pt x="1147" y="1305"/>
                    </a:lnTo>
                    <a:lnTo>
                      <a:pt x="1147" y="1306"/>
                    </a:lnTo>
                    <a:lnTo>
                      <a:pt x="1145" y="1306"/>
                    </a:lnTo>
                    <a:lnTo>
                      <a:pt x="1145" y="1305"/>
                    </a:lnTo>
                    <a:lnTo>
                      <a:pt x="1145" y="1306"/>
                    </a:lnTo>
                    <a:lnTo>
                      <a:pt x="1144" y="1305"/>
                    </a:lnTo>
                    <a:lnTo>
                      <a:pt x="1144" y="1306"/>
                    </a:lnTo>
                    <a:lnTo>
                      <a:pt x="1142" y="1305"/>
                    </a:lnTo>
                    <a:lnTo>
                      <a:pt x="1142" y="1303"/>
                    </a:lnTo>
                    <a:lnTo>
                      <a:pt x="1140" y="1303"/>
                    </a:lnTo>
                    <a:lnTo>
                      <a:pt x="1139" y="1303"/>
                    </a:lnTo>
                    <a:lnTo>
                      <a:pt x="1140" y="1301"/>
                    </a:lnTo>
                    <a:lnTo>
                      <a:pt x="1142" y="1301"/>
                    </a:lnTo>
                    <a:close/>
                    <a:moveTo>
                      <a:pt x="1210" y="990"/>
                    </a:moveTo>
                    <a:lnTo>
                      <a:pt x="1210" y="992"/>
                    </a:lnTo>
                    <a:lnTo>
                      <a:pt x="1210" y="993"/>
                    </a:lnTo>
                    <a:lnTo>
                      <a:pt x="1210" y="995"/>
                    </a:lnTo>
                    <a:lnTo>
                      <a:pt x="1212" y="997"/>
                    </a:lnTo>
                    <a:lnTo>
                      <a:pt x="1212" y="995"/>
                    </a:lnTo>
                    <a:lnTo>
                      <a:pt x="1212" y="997"/>
                    </a:lnTo>
                    <a:lnTo>
                      <a:pt x="1210" y="997"/>
                    </a:lnTo>
                    <a:lnTo>
                      <a:pt x="1210" y="995"/>
                    </a:lnTo>
                    <a:lnTo>
                      <a:pt x="1208" y="995"/>
                    </a:lnTo>
                    <a:lnTo>
                      <a:pt x="1208" y="993"/>
                    </a:lnTo>
                    <a:lnTo>
                      <a:pt x="1207" y="993"/>
                    </a:lnTo>
                    <a:lnTo>
                      <a:pt x="1207" y="995"/>
                    </a:lnTo>
                    <a:lnTo>
                      <a:pt x="1205" y="993"/>
                    </a:lnTo>
                    <a:lnTo>
                      <a:pt x="1205" y="992"/>
                    </a:lnTo>
                    <a:lnTo>
                      <a:pt x="1207" y="992"/>
                    </a:lnTo>
                    <a:lnTo>
                      <a:pt x="1208" y="992"/>
                    </a:lnTo>
                    <a:lnTo>
                      <a:pt x="1210" y="992"/>
                    </a:lnTo>
                    <a:lnTo>
                      <a:pt x="1210" y="990"/>
                    </a:lnTo>
                    <a:close/>
                    <a:moveTo>
                      <a:pt x="1202" y="1524"/>
                    </a:moveTo>
                    <a:lnTo>
                      <a:pt x="1202" y="1526"/>
                    </a:lnTo>
                    <a:lnTo>
                      <a:pt x="1202" y="1527"/>
                    </a:lnTo>
                    <a:lnTo>
                      <a:pt x="1203" y="1527"/>
                    </a:lnTo>
                    <a:lnTo>
                      <a:pt x="1203" y="1529"/>
                    </a:lnTo>
                    <a:lnTo>
                      <a:pt x="1205" y="1529"/>
                    </a:lnTo>
                    <a:lnTo>
                      <a:pt x="1203" y="1529"/>
                    </a:lnTo>
                    <a:lnTo>
                      <a:pt x="1203" y="1531"/>
                    </a:lnTo>
                    <a:lnTo>
                      <a:pt x="1202" y="1529"/>
                    </a:lnTo>
                    <a:lnTo>
                      <a:pt x="1202" y="1527"/>
                    </a:lnTo>
                    <a:lnTo>
                      <a:pt x="1200" y="1527"/>
                    </a:lnTo>
                    <a:lnTo>
                      <a:pt x="1200" y="1526"/>
                    </a:lnTo>
                    <a:lnTo>
                      <a:pt x="1200" y="1527"/>
                    </a:lnTo>
                    <a:lnTo>
                      <a:pt x="1198" y="1527"/>
                    </a:lnTo>
                    <a:lnTo>
                      <a:pt x="1198" y="1526"/>
                    </a:lnTo>
                    <a:lnTo>
                      <a:pt x="1198" y="1524"/>
                    </a:lnTo>
                    <a:lnTo>
                      <a:pt x="1200" y="1524"/>
                    </a:lnTo>
                    <a:lnTo>
                      <a:pt x="1202" y="1524"/>
                    </a:lnTo>
                    <a:close/>
                    <a:moveTo>
                      <a:pt x="1176" y="1413"/>
                    </a:moveTo>
                    <a:lnTo>
                      <a:pt x="1176" y="1415"/>
                    </a:lnTo>
                    <a:lnTo>
                      <a:pt x="1178" y="1417"/>
                    </a:lnTo>
                    <a:lnTo>
                      <a:pt x="1176" y="1417"/>
                    </a:lnTo>
                    <a:lnTo>
                      <a:pt x="1174" y="1417"/>
                    </a:lnTo>
                    <a:lnTo>
                      <a:pt x="1174" y="1418"/>
                    </a:lnTo>
                    <a:lnTo>
                      <a:pt x="1173" y="1418"/>
                    </a:lnTo>
                    <a:lnTo>
                      <a:pt x="1173" y="1417"/>
                    </a:lnTo>
                    <a:lnTo>
                      <a:pt x="1171" y="1417"/>
                    </a:lnTo>
                    <a:lnTo>
                      <a:pt x="1171" y="1415"/>
                    </a:lnTo>
                    <a:lnTo>
                      <a:pt x="1173" y="1415"/>
                    </a:lnTo>
                    <a:lnTo>
                      <a:pt x="1171" y="1415"/>
                    </a:lnTo>
                    <a:lnTo>
                      <a:pt x="1173" y="1415"/>
                    </a:lnTo>
                    <a:lnTo>
                      <a:pt x="1174" y="1415"/>
                    </a:lnTo>
                    <a:lnTo>
                      <a:pt x="1174" y="1413"/>
                    </a:lnTo>
                    <a:lnTo>
                      <a:pt x="1176" y="1413"/>
                    </a:lnTo>
                    <a:lnTo>
                      <a:pt x="1176" y="1412"/>
                    </a:lnTo>
                    <a:lnTo>
                      <a:pt x="1176" y="1413"/>
                    </a:lnTo>
                    <a:close/>
                    <a:moveTo>
                      <a:pt x="1186" y="1068"/>
                    </a:moveTo>
                    <a:lnTo>
                      <a:pt x="1188" y="1070"/>
                    </a:lnTo>
                    <a:lnTo>
                      <a:pt x="1188" y="1071"/>
                    </a:lnTo>
                    <a:lnTo>
                      <a:pt x="1186" y="1071"/>
                    </a:lnTo>
                    <a:lnTo>
                      <a:pt x="1185" y="1071"/>
                    </a:lnTo>
                    <a:lnTo>
                      <a:pt x="1183" y="1070"/>
                    </a:lnTo>
                    <a:lnTo>
                      <a:pt x="1183" y="1068"/>
                    </a:lnTo>
                    <a:lnTo>
                      <a:pt x="1185" y="1068"/>
                    </a:lnTo>
                    <a:lnTo>
                      <a:pt x="1186" y="1068"/>
                    </a:lnTo>
                    <a:close/>
                    <a:moveTo>
                      <a:pt x="1205" y="1548"/>
                    </a:moveTo>
                    <a:lnTo>
                      <a:pt x="1207" y="1548"/>
                    </a:lnTo>
                    <a:lnTo>
                      <a:pt x="1207" y="1549"/>
                    </a:lnTo>
                    <a:lnTo>
                      <a:pt x="1208" y="1549"/>
                    </a:lnTo>
                    <a:lnTo>
                      <a:pt x="1207" y="1549"/>
                    </a:lnTo>
                    <a:lnTo>
                      <a:pt x="1208" y="1549"/>
                    </a:lnTo>
                    <a:lnTo>
                      <a:pt x="1208" y="1551"/>
                    </a:lnTo>
                    <a:lnTo>
                      <a:pt x="1207" y="1551"/>
                    </a:lnTo>
                    <a:lnTo>
                      <a:pt x="1205" y="1551"/>
                    </a:lnTo>
                    <a:lnTo>
                      <a:pt x="1205" y="1549"/>
                    </a:lnTo>
                    <a:lnTo>
                      <a:pt x="1203" y="1548"/>
                    </a:lnTo>
                    <a:lnTo>
                      <a:pt x="1203" y="1549"/>
                    </a:lnTo>
                    <a:lnTo>
                      <a:pt x="1203" y="1551"/>
                    </a:lnTo>
                    <a:lnTo>
                      <a:pt x="1202" y="1551"/>
                    </a:lnTo>
                    <a:lnTo>
                      <a:pt x="1203" y="1549"/>
                    </a:lnTo>
                    <a:lnTo>
                      <a:pt x="1202" y="1549"/>
                    </a:lnTo>
                    <a:lnTo>
                      <a:pt x="1200" y="1549"/>
                    </a:lnTo>
                    <a:lnTo>
                      <a:pt x="1200" y="1548"/>
                    </a:lnTo>
                    <a:lnTo>
                      <a:pt x="1202" y="1548"/>
                    </a:lnTo>
                    <a:lnTo>
                      <a:pt x="1203" y="1549"/>
                    </a:lnTo>
                    <a:lnTo>
                      <a:pt x="1202" y="1548"/>
                    </a:lnTo>
                    <a:lnTo>
                      <a:pt x="1203" y="1548"/>
                    </a:lnTo>
                    <a:lnTo>
                      <a:pt x="1203" y="1546"/>
                    </a:lnTo>
                    <a:lnTo>
                      <a:pt x="1205" y="1546"/>
                    </a:lnTo>
                    <a:lnTo>
                      <a:pt x="1205" y="1548"/>
                    </a:lnTo>
                    <a:close/>
                    <a:moveTo>
                      <a:pt x="1229" y="1558"/>
                    </a:moveTo>
                    <a:lnTo>
                      <a:pt x="1230" y="1558"/>
                    </a:lnTo>
                    <a:lnTo>
                      <a:pt x="1232" y="1560"/>
                    </a:lnTo>
                    <a:lnTo>
                      <a:pt x="1234" y="1560"/>
                    </a:lnTo>
                    <a:lnTo>
                      <a:pt x="1234" y="1561"/>
                    </a:lnTo>
                    <a:lnTo>
                      <a:pt x="1232" y="1560"/>
                    </a:lnTo>
                    <a:lnTo>
                      <a:pt x="1232" y="1561"/>
                    </a:lnTo>
                    <a:lnTo>
                      <a:pt x="1232" y="1560"/>
                    </a:lnTo>
                    <a:lnTo>
                      <a:pt x="1230" y="1561"/>
                    </a:lnTo>
                    <a:lnTo>
                      <a:pt x="1229" y="1561"/>
                    </a:lnTo>
                    <a:lnTo>
                      <a:pt x="1227" y="1561"/>
                    </a:lnTo>
                    <a:lnTo>
                      <a:pt x="1225" y="1561"/>
                    </a:lnTo>
                    <a:lnTo>
                      <a:pt x="1227" y="1560"/>
                    </a:lnTo>
                    <a:lnTo>
                      <a:pt x="1229" y="1560"/>
                    </a:lnTo>
                    <a:lnTo>
                      <a:pt x="1229" y="1561"/>
                    </a:lnTo>
                    <a:lnTo>
                      <a:pt x="1229" y="1560"/>
                    </a:lnTo>
                    <a:lnTo>
                      <a:pt x="1227" y="1560"/>
                    </a:lnTo>
                    <a:lnTo>
                      <a:pt x="1229" y="1558"/>
                    </a:lnTo>
                    <a:lnTo>
                      <a:pt x="1227" y="1558"/>
                    </a:lnTo>
                    <a:lnTo>
                      <a:pt x="1229" y="1558"/>
                    </a:lnTo>
                    <a:close/>
                    <a:moveTo>
                      <a:pt x="1411" y="1662"/>
                    </a:moveTo>
                    <a:lnTo>
                      <a:pt x="1412" y="1663"/>
                    </a:lnTo>
                    <a:lnTo>
                      <a:pt x="1412" y="1665"/>
                    </a:lnTo>
                    <a:lnTo>
                      <a:pt x="1412" y="1667"/>
                    </a:lnTo>
                    <a:lnTo>
                      <a:pt x="1414" y="1667"/>
                    </a:lnTo>
                    <a:lnTo>
                      <a:pt x="1414" y="1669"/>
                    </a:lnTo>
                    <a:lnTo>
                      <a:pt x="1412" y="1669"/>
                    </a:lnTo>
                    <a:lnTo>
                      <a:pt x="1412" y="1667"/>
                    </a:lnTo>
                    <a:lnTo>
                      <a:pt x="1411" y="1667"/>
                    </a:lnTo>
                    <a:lnTo>
                      <a:pt x="1411" y="1669"/>
                    </a:lnTo>
                    <a:lnTo>
                      <a:pt x="1409" y="1669"/>
                    </a:lnTo>
                    <a:lnTo>
                      <a:pt x="1407" y="1669"/>
                    </a:lnTo>
                    <a:lnTo>
                      <a:pt x="1409" y="1667"/>
                    </a:lnTo>
                    <a:lnTo>
                      <a:pt x="1409" y="1665"/>
                    </a:lnTo>
                    <a:lnTo>
                      <a:pt x="1411" y="1667"/>
                    </a:lnTo>
                    <a:lnTo>
                      <a:pt x="1409" y="1665"/>
                    </a:lnTo>
                    <a:lnTo>
                      <a:pt x="1409" y="1663"/>
                    </a:lnTo>
                    <a:lnTo>
                      <a:pt x="1409" y="1662"/>
                    </a:lnTo>
                    <a:lnTo>
                      <a:pt x="1411" y="1662"/>
                    </a:lnTo>
                    <a:close/>
                    <a:moveTo>
                      <a:pt x="1207" y="1245"/>
                    </a:moveTo>
                    <a:lnTo>
                      <a:pt x="1208" y="1245"/>
                    </a:lnTo>
                    <a:lnTo>
                      <a:pt x="1208" y="1247"/>
                    </a:lnTo>
                    <a:lnTo>
                      <a:pt x="1208" y="1248"/>
                    </a:lnTo>
                    <a:lnTo>
                      <a:pt x="1208" y="1250"/>
                    </a:lnTo>
                    <a:lnTo>
                      <a:pt x="1208" y="1252"/>
                    </a:lnTo>
                    <a:lnTo>
                      <a:pt x="1207" y="1252"/>
                    </a:lnTo>
                    <a:lnTo>
                      <a:pt x="1208" y="1250"/>
                    </a:lnTo>
                    <a:lnTo>
                      <a:pt x="1207" y="1250"/>
                    </a:lnTo>
                    <a:lnTo>
                      <a:pt x="1205" y="1250"/>
                    </a:lnTo>
                    <a:lnTo>
                      <a:pt x="1205" y="1248"/>
                    </a:lnTo>
                    <a:lnTo>
                      <a:pt x="1207" y="1248"/>
                    </a:lnTo>
                    <a:lnTo>
                      <a:pt x="1205" y="1248"/>
                    </a:lnTo>
                    <a:lnTo>
                      <a:pt x="1205" y="1247"/>
                    </a:lnTo>
                    <a:lnTo>
                      <a:pt x="1205" y="1245"/>
                    </a:lnTo>
                    <a:lnTo>
                      <a:pt x="1207" y="1245"/>
                    </a:lnTo>
                    <a:close/>
                    <a:moveTo>
                      <a:pt x="1156" y="1311"/>
                    </a:moveTo>
                    <a:lnTo>
                      <a:pt x="1157" y="1311"/>
                    </a:lnTo>
                    <a:lnTo>
                      <a:pt x="1157" y="1313"/>
                    </a:lnTo>
                    <a:lnTo>
                      <a:pt x="1159" y="1313"/>
                    </a:lnTo>
                    <a:lnTo>
                      <a:pt x="1159" y="1311"/>
                    </a:lnTo>
                    <a:lnTo>
                      <a:pt x="1161" y="1313"/>
                    </a:lnTo>
                    <a:lnTo>
                      <a:pt x="1159" y="1313"/>
                    </a:lnTo>
                    <a:lnTo>
                      <a:pt x="1161" y="1315"/>
                    </a:lnTo>
                    <a:lnTo>
                      <a:pt x="1159" y="1315"/>
                    </a:lnTo>
                    <a:lnTo>
                      <a:pt x="1157" y="1315"/>
                    </a:lnTo>
                    <a:lnTo>
                      <a:pt x="1156" y="1315"/>
                    </a:lnTo>
                    <a:lnTo>
                      <a:pt x="1156" y="1313"/>
                    </a:lnTo>
                    <a:lnTo>
                      <a:pt x="1156" y="1311"/>
                    </a:lnTo>
                    <a:close/>
                    <a:moveTo>
                      <a:pt x="1193" y="1531"/>
                    </a:moveTo>
                    <a:lnTo>
                      <a:pt x="1193" y="1532"/>
                    </a:lnTo>
                    <a:lnTo>
                      <a:pt x="1195" y="1532"/>
                    </a:lnTo>
                    <a:lnTo>
                      <a:pt x="1193" y="1534"/>
                    </a:lnTo>
                    <a:lnTo>
                      <a:pt x="1193" y="1536"/>
                    </a:lnTo>
                    <a:lnTo>
                      <a:pt x="1191" y="1536"/>
                    </a:lnTo>
                    <a:lnTo>
                      <a:pt x="1190" y="1536"/>
                    </a:lnTo>
                    <a:lnTo>
                      <a:pt x="1190" y="1538"/>
                    </a:lnTo>
                    <a:lnTo>
                      <a:pt x="1188" y="1538"/>
                    </a:lnTo>
                    <a:lnTo>
                      <a:pt x="1188" y="1536"/>
                    </a:lnTo>
                    <a:lnTo>
                      <a:pt x="1186" y="1536"/>
                    </a:lnTo>
                    <a:lnTo>
                      <a:pt x="1188" y="1534"/>
                    </a:lnTo>
                    <a:lnTo>
                      <a:pt x="1190" y="1534"/>
                    </a:lnTo>
                    <a:lnTo>
                      <a:pt x="1190" y="1532"/>
                    </a:lnTo>
                    <a:lnTo>
                      <a:pt x="1191" y="1532"/>
                    </a:lnTo>
                    <a:lnTo>
                      <a:pt x="1193" y="1531"/>
                    </a:lnTo>
                    <a:close/>
                    <a:moveTo>
                      <a:pt x="1169" y="1083"/>
                    </a:moveTo>
                    <a:lnTo>
                      <a:pt x="1171" y="1083"/>
                    </a:lnTo>
                    <a:lnTo>
                      <a:pt x="1173" y="1085"/>
                    </a:lnTo>
                    <a:lnTo>
                      <a:pt x="1171" y="1085"/>
                    </a:lnTo>
                    <a:lnTo>
                      <a:pt x="1173" y="1087"/>
                    </a:lnTo>
                    <a:lnTo>
                      <a:pt x="1171" y="1087"/>
                    </a:lnTo>
                    <a:lnTo>
                      <a:pt x="1173" y="1088"/>
                    </a:lnTo>
                    <a:lnTo>
                      <a:pt x="1171" y="1088"/>
                    </a:lnTo>
                    <a:lnTo>
                      <a:pt x="1169" y="1088"/>
                    </a:lnTo>
                    <a:lnTo>
                      <a:pt x="1169" y="1087"/>
                    </a:lnTo>
                    <a:lnTo>
                      <a:pt x="1169" y="1085"/>
                    </a:lnTo>
                    <a:lnTo>
                      <a:pt x="1169" y="1083"/>
                    </a:lnTo>
                    <a:close/>
                    <a:moveTo>
                      <a:pt x="1423" y="1680"/>
                    </a:moveTo>
                    <a:lnTo>
                      <a:pt x="1424" y="1682"/>
                    </a:lnTo>
                    <a:lnTo>
                      <a:pt x="1426" y="1684"/>
                    </a:lnTo>
                    <a:lnTo>
                      <a:pt x="1426" y="1686"/>
                    </a:lnTo>
                    <a:lnTo>
                      <a:pt x="1424" y="1686"/>
                    </a:lnTo>
                    <a:lnTo>
                      <a:pt x="1423" y="1684"/>
                    </a:lnTo>
                    <a:lnTo>
                      <a:pt x="1421" y="1684"/>
                    </a:lnTo>
                    <a:lnTo>
                      <a:pt x="1421" y="1682"/>
                    </a:lnTo>
                    <a:lnTo>
                      <a:pt x="1421" y="1680"/>
                    </a:lnTo>
                    <a:lnTo>
                      <a:pt x="1419" y="1682"/>
                    </a:lnTo>
                    <a:lnTo>
                      <a:pt x="1417" y="1680"/>
                    </a:lnTo>
                    <a:lnTo>
                      <a:pt x="1419" y="1680"/>
                    </a:lnTo>
                    <a:lnTo>
                      <a:pt x="1421" y="1680"/>
                    </a:lnTo>
                    <a:lnTo>
                      <a:pt x="1423" y="1680"/>
                    </a:lnTo>
                    <a:close/>
                    <a:moveTo>
                      <a:pt x="1251" y="1549"/>
                    </a:moveTo>
                    <a:lnTo>
                      <a:pt x="1249" y="1549"/>
                    </a:lnTo>
                    <a:lnTo>
                      <a:pt x="1251" y="1549"/>
                    </a:lnTo>
                    <a:lnTo>
                      <a:pt x="1251" y="1551"/>
                    </a:lnTo>
                    <a:lnTo>
                      <a:pt x="1253" y="1551"/>
                    </a:lnTo>
                    <a:lnTo>
                      <a:pt x="1254" y="1551"/>
                    </a:lnTo>
                    <a:lnTo>
                      <a:pt x="1253" y="1553"/>
                    </a:lnTo>
                    <a:lnTo>
                      <a:pt x="1254" y="1553"/>
                    </a:lnTo>
                    <a:lnTo>
                      <a:pt x="1256" y="1555"/>
                    </a:lnTo>
                    <a:lnTo>
                      <a:pt x="1254" y="1555"/>
                    </a:lnTo>
                    <a:lnTo>
                      <a:pt x="1254" y="1556"/>
                    </a:lnTo>
                    <a:lnTo>
                      <a:pt x="1253" y="1555"/>
                    </a:lnTo>
                    <a:lnTo>
                      <a:pt x="1251" y="1555"/>
                    </a:lnTo>
                    <a:lnTo>
                      <a:pt x="1251" y="1553"/>
                    </a:lnTo>
                    <a:lnTo>
                      <a:pt x="1249" y="1553"/>
                    </a:lnTo>
                    <a:lnTo>
                      <a:pt x="1249" y="1551"/>
                    </a:lnTo>
                    <a:lnTo>
                      <a:pt x="1249" y="1549"/>
                    </a:lnTo>
                    <a:lnTo>
                      <a:pt x="1251" y="1549"/>
                    </a:lnTo>
                    <a:close/>
                    <a:moveTo>
                      <a:pt x="1332" y="1652"/>
                    </a:moveTo>
                    <a:lnTo>
                      <a:pt x="1334" y="1652"/>
                    </a:lnTo>
                    <a:lnTo>
                      <a:pt x="1332" y="1653"/>
                    </a:lnTo>
                    <a:lnTo>
                      <a:pt x="1331" y="1653"/>
                    </a:lnTo>
                    <a:lnTo>
                      <a:pt x="1332" y="1653"/>
                    </a:lnTo>
                    <a:lnTo>
                      <a:pt x="1332" y="1655"/>
                    </a:lnTo>
                    <a:lnTo>
                      <a:pt x="1331" y="1655"/>
                    </a:lnTo>
                    <a:lnTo>
                      <a:pt x="1331" y="1657"/>
                    </a:lnTo>
                    <a:lnTo>
                      <a:pt x="1329" y="1657"/>
                    </a:lnTo>
                    <a:lnTo>
                      <a:pt x="1331" y="1655"/>
                    </a:lnTo>
                    <a:lnTo>
                      <a:pt x="1329" y="1655"/>
                    </a:lnTo>
                    <a:lnTo>
                      <a:pt x="1329" y="1653"/>
                    </a:lnTo>
                    <a:lnTo>
                      <a:pt x="1327" y="1653"/>
                    </a:lnTo>
                    <a:lnTo>
                      <a:pt x="1326" y="1653"/>
                    </a:lnTo>
                    <a:lnTo>
                      <a:pt x="1327" y="1652"/>
                    </a:lnTo>
                    <a:lnTo>
                      <a:pt x="1326" y="1652"/>
                    </a:lnTo>
                    <a:lnTo>
                      <a:pt x="1327" y="1652"/>
                    </a:lnTo>
                    <a:lnTo>
                      <a:pt x="1329" y="1652"/>
                    </a:lnTo>
                    <a:lnTo>
                      <a:pt x="1329" y="1653"/>
                    </a:lnTo>
                    <a:lnTo>
                      <a:pt x="1331" y="1653"/>
                    </a:lnTo>
                    <a:lnTo>
                      <a:pt x="1331" y="1652"/>
                    </a:lnTo>
                    <a:lnTo>
                      <a:pt x="1332" y="1652"/>
                    </a:lnTo>
                    <a:close/>
                    <a:moveTo>
                      <a:pt x="1339" y="1655"/>
                    </a:moveTo>
                    <a:lnTo>
                      <a:pt x="1341" y="1655"/>
                    </a:lnTo>
                    <a:lnTo>
                      <a:pt x="1343" y="1655"/>
                    </a:lnTo>
                    <a:lnTo>
                      <a:pt x="1343" y="1657"/>
                    </a:lnTo>
                    <a:lnTo>
                      <a:pt x="1344" y="1657"/>
                    </a:lnTo>
                    <a:lnTo>
                      <a:pt x="1343" y="1658"/>
                    </a:lnTo>
                    <a:lnTo>
                      <a:pt x="1343" y="1657"/>
                    </a:lnTo>
                    <a:lnTo>
                      <a:pt x="1341" y="1657"/>
                    </a:lnTo>
                    <a:lnTo>
                      <a:pt x="1343" y="1658"/>
                    </a:lnTo>
                    <a:lnTo>
                      <a:pt x="1341" y="1658"/>
                    </a:lnTo>
                    <a:lnTo>
                      <a:pt x="1343" y="1658"/>
                    </a:lnTo>
                    <a:lnTo>
                      <a:pt x="1343" y="1660"/>
                    </a:lnTo>
                    <a:lnTo>
                      <a:pt x="1341" y="1658"/>
                    </a:lnTo>
                    <a:lnTo>
                      <a:pt x="1341" y="1660"/>
                    </a:lnTo>
                    <a:lnTo>
                      <a:pt x="1341" y="1658"/>
                    </a:lnTo>
                    <a:lnTo>
                      <a:pt x="1341" y="1660"/>
                    </a:lnTo>
                    <a:lnTo>
                      <a:pt x="1339" y="1658"/>
                    </a:lnTo>
                    <a:lnTo>
                      <a:pt x="1339" y="1660"/>
                    </a:lnTo>
                    <a:lnTo>
                      <a:pt x="1338" y="1660"/>
                    </a:lnTo>
                    <a:lnTo>
                      <a:pt x="1338" y="1658"/>
                    </a:lnTo>
                    <a:lnTo>
                      <a:pt x="1339" y="1658"/>
                    </a:lnTo>
                    <a:lnTo>
                      <a:pt x="1339" y="1657"/>
                    </a:lnTo>
                    <a:lnTo>
                      <a:pt x="1339" y="1655"/>
                    </a:lnTo>
                    <a:close/>
                    <a:moveTo>
                      <a:pt x="1212" y="1007"/>
                    </a:moveTo>
                    <a:lnTo>
                      <a:pt x="1213" y="1007"/>
                    </a:lnTo>
                    <a:lnTo>
                      <a:pt x="1215" y="1009"/>
                    </a:lnTo>
                    <a:lnTo>
                      <a:pt x="1217" y="1009"/>
                    </a:lnTo>
                    <a:lnTo>
                      <a:pt x="1217" y="1010"/>
                    </a:lnTo>
                    <a:lnTo>
                      <a:pt x="1219" y="1010"/>
                    </a:lnTo>
                    <a:lnTo>
                      <a:pt x="1219" y="1012"/>
                    </a:lnTo>
                    <a:lnTo>
                      <a:pt x="1219" y="1010"/>
                    </a:lnTo>
                    <a:lnTo>
                      <a:pt x="1217" y="1010"/>
                    </a:lnTo>
                    <a:lnTo>
                      <a:pt x="1215" y="1010"/>
                    </a:lnTo>
                    <a:lnTo>
                      <a:pt x="1213" y="1010"/>
                    </a:lnTo>
                    <a:lnTo>
                      <a:pt x="1213" y="1009"/>
                    </a:lnTo>
                    <a:lnTo>
                      <a:pt x="1212" y="1009"/>
                    </a:lnTo>
                    <a:lnTo>
                      <a:pt x="1210" y="1009"/>
                    </a:lnTo>
                    <a:lnTo>
                      <a:pt x="1210" y="1007"/>
                    </a:lnTo>
                    <a:lnTo>
                      <a:pt x="1212" y="1007"/>
                    </a:lnTo>
                    <a:close/>
                    <a:moveTo>
                      <a:pt x="1263" y="1609"/>
                    </a:moveTo>
                    <a:lnTo>
                      <a:pt x="1264" y="1611"/>
                    </a:lnTo>
                    <a:lnTo>
                      <a:pt x="1264" y="1612"/>
                    </a:lnTo>
                    <a:lnTo>
                      <a:pt x="1266" y="1612"/>
                    </a:lnTo>
                    <a:lnTo>
                      <a:pt x="1266" y="1614"/>
                    </a:lnTo>
                    <a:lnTo>
                      <a:pt x="1266" y="1612"/>
                    </a:lnTo>
                    <a:lnTo>
                      <a:pt x="1266" y="1614"/>
                    </a:lnTo>
                    <a:lnTo>
                      <a:pt x="1268" y="1614"/>
                    </a:lnTo>
                    <a:lnTo>
                      <a:pt x="1266" y="1614"/>
                    </a:lnTo>
                    <a:lnTo>
                      <a:pt x="1266" y="1616"/>
                    </a:lnTo>
                    <a:lnTo>
                      <a:pt x="1266" y="1618"/>
                    </a:lnTo>
                    <a:lnTo>
                      <a:pt x="1266" y="1616"/>
                    </a:lnTo>
                    <a:lnTo>
                      <a:pt x="1264" y="1616"/>
                    </a:lnTo>
                    <a:lnTo>
                      <a:pt x="1264" y="1614"/>
                    </a:lnTo>
                    <a:lnTo>
                      <a:pt x="1264" y="1612"/>
                    </a:lnTo>
                    <a:lnTo>
                      <a:pt x="1263" y="1614"/>
                    </a:lnTo>
                    <a:lnTo>
                      <a:pt x="1263" y="1612"/>
                    </a:lnTo>
                    <a:lnTo>
                      <a:pt x="1263" y="1611"/>
                    </a:lnTo>
                    <a:lnTo>
                      <a:pt x="1263" y="1612"/>
                    </a:lnTo>
                    <a:lnTo>
                      <a:pt x="1261" y="1612"/>
                    </a:lnTo>
                    <a:lnTo>
                      <a:pt x="1261" y="1611"/>
                    </a:lnTo>
                    <a:lnTo>
                      <a:pt x="1263" y="1609"/>
                    </a:lnTo>
                    <a:close/>
                    <a:moveTo>
                      <a:pt x="1168" y="1417"/>
                    </a:moveTo>
                    <a:lnTo>
                      <a:pt x="1169" y="1417"/>
                    </a:lnTo>
                    <a:lnTo>
                      <a:pt x="1169" y="1418"/>
                    </a:lnTo>
                    <a:lnTo>
                      <a:pt x="1168" y="1420"/>
                    </a:lnTo>
                    <a:lnTo>
                      <a:pt x="1166" y="1420"/>
                    </a:lnTo>
                    <a:lnTo>
                      <a:pt x="1168" y="1418"/>
                    </a:lnTo>
                    <a:lnTo>
                      <a:pt x="1166" y="1418"/>
                    </a:lnTo>
                    <a:lnTo>
                      <a:pt x="1164" y="1418"/>
                    </a:lnTo>
                    <a:lnTo>
                      <a:pt x="1164" y="1420"/>
                    </a:lnTo>
                    <a:lnTo>
                      <a:pt x="1162" y="1420"/>
                    </a:lnTo>
                    <a:lnTo>
                      <a:pt x="1162" y="1418"/>
                    </a:lnTo>
                    <a:lnTo>
                      <a:pt x="1164" y="1417"/>
                    </a:lnTo>
                    <a:lnTo>
                      <a:pt x="1166" y="1417"/>
                    </a:lnTo>
                    <a:lnTo>
                      <a:pt x="1168" y="1417"/>
                    </a:lnTo>
                    <a:close/>
                    <a:moveTo>
                      <a:pt x="1203" y="1075"/>
                    </a:moveTo>
                    <a:lnTo>
                      <a:pt x="1203" y="1077"/>
                    </a:lnTo>
                    <a:lnTo>
                      <a:pt x="1202" y="1077"/>
                    </a:lnTo>
                    <a:lnTo>
                      <a:pt x="1200" y="1078"/>
                    </a:lnTo>
                    <a:lnTo>
                      <a:pt x="1202" y="1077"/>
                    </a:lnTo>
                    <a:lnTo>
                      <a:pt x="1203" y="1077"/>
                    </a:lnTo>
                    <a:lnTo>
                      <a:pt x="1202" y="1078"/>
                    </a:lnTo>
                    <a:lnTo>
                      <a:pt x="1203" y="1077"/>
                    </a:lnTo>
                    <a:lnTo>
                      <a:pt x="1205" y="1077"/>
                    </a:lnTo>
                    <a:lnTo>
                      <a:pt x="1205" y="1078"/>
                    </a:lnTo>
                    <a:lnTo>
                      <a:pt x="1203" y="1078"/>
                    </a:lnTo>
                    <a:lnTo>
                      <a:pt x="1202" y="1078"/>
                    </a:lnTo>
                    <a:lnTo>
                      <a:pt x="1200" y="1078"/>
                    </a:lnTo>
                    <a:lnTo>
                      <a:pt x="1200" y="1077"/>
                    </a:lnTo>
                    <a:lnTo>
                      <a:pt x="1202" y="1075"/>
                    </a:lnTo>
                    <a:lnTo>
                      <a:pt x="1203" y="1075"/>
                    </a:lnTo>
                    <a:close/>
                    <a:moveTo>
                      <a:pt x="1222" y="1071"/>
                    </a:moveTo>
                    <a:lnTo>
                      <a:pt x="1222" y="1073"/>
                    </a:lnTo>
                    <a:lnTo>
                      <a:pt x="1224" y="1071"/>
                    </a:lnTo>
                    <a:lnTo>
                      <a:pt x="1224" y="1073"/>
                    </a:lnTo>
                    <a:lnTo>
                      <a:pt x="1225" y="1075"/>
                    </a:lnTo>
                    <a:lnTo>
                      <a:pt x="1224" y="1075"/>
                    </a:lnTo>
                    <a:lnTo>
                      <a:pt x="1222" y="1075"/>
                    </a:lnTo>
                    <a:lnTo>
                      <a:pt x="1220" y="1075"/>
                    </a:lnTo>
                    <a:lnTo>
                      <a:pt x="1220" y="1073"/>
                    </a:lnTo>
                    <a:lnTo>
                      <a:pt x="1222" y="1071"/>
                    </a:lnTo>
                    <a:close/>
                    <a:moveTo>
                      <a:pt x="1229" y="954"/>
                    </a:moveTo>
                    <a:lnTo>
                      <a:pt x="1229" y="956"/>
                    </a:lnTo>
                    <a:lnTo>
                      <a:pt x="1230" y="956"/>
                    </a:lnTo>
                    <a:lnTo>
                      <a:pt x="1230" y="957"/>
                    </a:lnTo>
                    <a:lnTo>
                      <a:pt x="1230" y="959"/>
                    </a:lnTo>
                    <a:lnTo>
                      <a:pt x="1229" y="957"/>
                    </a:lnTo>
                    <a:lnTo>
                      <a:pt x="1227" y="957"/>
                    </a:lnTo>
                    <a:lnTo>
                      <a:pt x="1227" y="956"/>
                    </a:lnTo>
                    <a:lnTo>
                      <a:pt x="1225" y="956"/>
                    </a:lnTo>
                    <a:lnTo>
                      <a:pt x="1227" y="956"/>
                    </a:lnTo>
                    <a:lnTo>
                      <a:pt x="1229" y="956"/>
                    </a:lnTo>
                    <a:lnTo>
                      <a:pt x="1227" y="956"/>
                    </a:lnTo>
                    <a:lnTo>
                      <a:pt x="1227" y="954"/>
                    </a:lnTo>
                    <a:lnTo>
                      <a:pt x="1227" y="952"/>
                    </a:lnTo>
                    <a:lnTo>
                      <a:pt x="1227" y="954"/>
                    </a:lnTo>
                    <a:lnTo>
                      <a:pt x="1227" y="952"/>
                    </a:lnTo>
                    <a:lnTo>
                      <a:pt x="1229" y="952"/>
                    </a:lnTo>
                    <a:lnTo>
                      <a:pt x="1229" y="954"/>
                    </a:lnTo>
                    <a:close/>
                    <a:moveTo>
                      <a:pt x="1208" y="1073"/>
                    </a:moveTo>
                    <a:lnTo>
                      <a:pt x="1208" y="1075"/>
                    </a:lnTo>
                    <a:lnTo>
                      <a:pt x="1207" y="1075"/>
                    </a:lnTo>
                    <a:lnTo>
                      <a:pt x="1207" y="1077"/>
                    </a:lnTo>
                    <a:lnTo>
                      <a:pt x="1208" y="1077"/>
                    </a:lnTo>
                    <a:lnTo>
                      <a:pt x="1208" y="1078"/>
                    </a:lnTo>
                    <a:lnTo>
                      <a:pt x="1207" y="1078"/>
                    </a:lnTo>
                    <a:lnTo>
                      <a:pt x="1205" y="1077"/>
                    </a:lnTo>
                    <a:lnTo>
                      <a:pt x="1205" y="1075"/>
                    </a:lnTo>
                    <a:lnTo>
                      <a:pt x="1203" y="1075"/>
                    </a:lnTo>
                    <a:lnTo>
                      <a:pt x="1205" y="1075"/>
                    </a:lnTo>
                    <a:lnTo>
                      <a:pt x="1207" y="1073"/>
                    </a:lnTo>
                    <a:lnTo>
                      <a:pt x="1207" y="1075"/>
                    </a:lnTo>
                    <a:lnTo>
                      <a:pt x="1208" y="1075"/>
                    </a:lnTo>
                    <a:lnTo>
                      <a:pt x="1207" y="1073"/>
                    </a:lnTo>
                    <a:lnTo>
                      <a:pt x="1208" y="1073"/>
                    </a:lnTo>
                    <a:close/>
                    <a:moveTo>
                      <a:pt x="1166" y="1420"/>
                    </a:moveTo>
                    <a:lnTo>
                      <a:pt x="1168" y="1422"/>
                    </a:lnTo>
                    <a:lnTo>
                      <a:pt x="1166" y="1422"/>
                    </a:lnTo>
                    <a:lnTo>
                      <a:pt x="1166" y="1424"/>
                    </a:lnTo>
                    <a:lnTo>
                      <a:pt x="1164" y="1424"/>
                    </a:lnTo>
                    <a:lnTo>
                      <a:pt x="1162" y="1424"/>
                    </a:lnTo>
                    <a:lnTo>
                      <a:pt x="1162" y="1425"/>
                    </a:lnTo>
                    <a:lnTo>
                      <a:pt x="1162" y="1424"/>
                    </a:lnTo>
                    <a:lnTo>
                      <a:pt x="1161" y="1424"/>
                    </a:lnTo>
                    <a:lnTo>
                      <a:pt x="1161" y="1422"/>
                    </a:lnTo>
                    <a:lnTo>
                      <a:pt x="1162" y="1422"/>
                    </a:lnTo>
                    <a:lnTo>
                      <a:pt x="1164" y="1422"/>
                    </a:lnTo>
                    <a:lnTo>
                      <a:pt x="1162" y="1422"/>
                    </a:lnTo>
                    <a:lnTo>
                      <a:pt x="1164" y="1420"/>
                    </a:lnTo>
                    <a:lnTo>
                      <a:pt x="1164" y="1422"/>
                    </a:lnTo>
                    <a:lnTo>
                      <a:pt x="1164" y="1420"/>
                    </a:lnTo>
                    <a:lnTo>
                      <a:pt x="1166" y="1420"/>
                    </a:lnTo>
                    <a:close/>
                    <a:moveTo>
                      <a:pt x="1247" y="968"/>
                    </a:moveTo>
                    <a:lnTo>
                      <a:pt x="1247" y="969"/>
                    </a:lnTo>
                    <a:lnTo>
                      <a:pt x="1247" y="971"/>
                    </a:lnTo>
                    <a:lnTo>
                      <a:pt x="1247" y="973"/>
                    </a:lnTo>
                    <a:lnTo>
                      <a:pt x="1246" y="973"/>
                    </a:lnTo>
                    <a:lnTo>
                      <a:pt x="1246" y="971"/>
                    </a:lnTo>
                    <a:lnTo>
                      <a:pt x="1244" y="971"/>
                    </a:lnTo>
                    <a:lnTo>
                      <a:pt x="1242" y="971"/>
                    </a:lnTo>
                    <a:lnTo>
                      <a:pt x="1244" y="969"/>
                    </a:lnTo>
                    <a:lnTo>
                      <a:pt x="1244" y="968"/>
                    </a:lnTo>
                    <a:lnTo>
                      <a:pt x="1246" y="968"/>
                    </a:lnTo>
                    <a:lnTo>
                      <a:pt x="1244" y="969"/>
                    </a:lnTo>
                    <a:lnTo>
                      <a:pt x="1246" y="968"/>
                    </a:lnTo>
                    <a:lnTo>
                      <a:pt x="1247" y="968"/>
                    </a:lnTo>
                    <a:close/>
                    <a:moveTo>
                      <a:pt x="1188" y="1099"/>
                    </a:moveTo>
                    <a:lnTo>
                      <a:pt x="1186" y="1100"/>
                    </a:lnTo>
                    <a:lnTo>
                      <a:pt x="1186" y="1102"/>
                    </a:lnTo>
                    <a:lnTo>
                      <a:pt x="1185" y="1102"/>
                    </a:lnTo>
                    <a:lnTo>
                      <a:pt x="1183" y="1102"/>
                    </a:lnTo>
                    <a:lnTo>
                      <a:pt x="1181" y="1100"/>
                    </a:lnTo>
                    <a:lnTo>
                      <a:pt x="1181" y="1099"/>
                    </a:lnTo>
                    <a:lnTo>
                      <a:pt x="1183" y="1100"/>
                    </a:lnTo>
                    <a:lnTo>
                      <a:pt x="1185" y="1100"/>
                    </a:lnTo>
                    <a:lnTo>
                      <a:pt x="1186" y="1099"/>
                    </a:lnTo>
                    <a:lnTo>
                      <a:pt x="1186" y="1100"/>
                    </a:lnTo>
                    <a:lnTo>
                      <a:pt x="1186" y="1099"/>
                    </a:lnTo>
                    <a:lnTo>
                      <a:pt x="1188" y="1099"/>
                    </a:lnTo>
                    <a:close/>
                    <a:moveTo>
                      <a:pt x="1169" y="1133"/>
                    </a:moveTo>
                    <a:lnTo>
                      <a:pt x="1169" y="1134"/>
                    </a:lnTo>
                    <a:lnTo>
                      <a:pt x="1171" y="1134"/>
                    </a:lnTo>
                    <a:lnTo>
                      <a:pt x="1169" y="1134"/>
                    </a:lnTo>
                    <a:lnTo>
                      <a:pt x="1168" y="1134"/>
                    </a:lnTo>
                    <a:lnTo>
                      <a:pt x="1169" y="1134"/>
                    </a:lnTo>
                    <a:lnTo>
                      <a:pt x="1171" y="1134"/>
                    </a:lnTo>
                    <a:lnTo>
                      <a:pt x="1171" y="1136"/>
                    </a:lnTo>
                    <a:lnTo>
                      <a:pt x="1171" y="1138"/>
                    </a:lnTo>
                    <a:lnTo>
                      <a:pt x="1171" y="1140"/>
                    </a:lnTo>
                    <a:lnTo>
                      <a:pt x="1171" y="1138"/>
                    </a:lnTo>
                    <a:lnTo>
                      <a:pt x="1169" y="1138"/>
                    </a:lnTo>
                    <a:lnTo>
                      <a:pt x="1169" y="1136"/>
                    </a:lnTo>
                    <a:lnTo>
                      <a:pt x="1168" y="1136"/>
                    </a:lnTo>
                    <a:lnTo>
                      <a:pt x="1168" y="1134"/>
                    </a:lnTo>
                    <a:lnTo>
                      <a:pt x="1168" y="1133"/>
                    </a:lnTo>
                    <a:lnTo>
                      <a:pt x="1169" y="1133"/>
                    </a:lnTo>
                    <a:close/>
                    <a:moveTo>
                      <a:pt x="1185" y="1240"/>
                    </a:moveTo>
                    <a:lnTo>
                      <a:pt x="1185" y="1242"/>
                    </a:lnTo>
                    <a:lnTo>
                      <a:pt x="1183" y="1242"/>
                    </a:lnTo>
                    <a:lnTo>
                      <a:pt x="1183" y="1243"/>
                    </a:lnTo>
                    <a:lnTo>
                      <a:pt x="1181" y="1243"/>
                    </a:lnTo>
                    <a:lnTo>
                      <a:pt x="1181" y="1245"/>
                    </a:lnTo>
                    <a:lnTo>
                      <a:pt x="1179" y="1245"/>
                    </a:lnTo>
                    <a:lnTo>
                      <a:pt x="1179" y="1243"/>
                    </a:lnTo>
                    <a:lnTo>
                      <a:pt x="1181" y="1243"/>
                    </a:lnTo>
                    <a:lnTo>
                      <a:pt x="1181" y="1242"/>
                    </a:lnTo>
                    <a:lnTo>
                      <a:pt x="1181" y="1240"/>
                    </a:lnTo>
                    <a:lnTo>
                      <a:pt x="1183" y="1240"/>
                    </a:lnTo>
                    <a:lnTo>
                      <a:pt x="1185" y="1240"/>
                    </a:lnTo>
                    <a:close/>
                    <a:moveTo>
                      <a:pt x="1205" y="1026"/>
                    </a:moveTo>
                    <a:lnTo>
                      <a:pt x="1207" y="1026"/>
                    </a:lnTo>
                    <a:lnTo>
                      <a:pt x="1207" y="1027"/>
                    </a:lnTo>
                    <a:lnTo>
                      <a:pt x="1208" y="1027"/>
                    </a:lnTo>
                    <a:lnTo>
                      <a:pt x="1207" y="1027"/>
                    </a:lnTo>
                    <a:lnTo>
                      <a:pt x="1207" y="1029"/>
                    </a:lnTo>
                    <a:lnTo>
                      <a:pt x="1205" y="1029"/>
                    </a:lnTo>
                    <a:lnTo>
                      <a:pt x="1205" y="1027"/>
                    </a:lnTo>
                    <a:lnTo>
                      <a:pt x="1203" y="1029"/>
                    </a:lnTo>
                    <a:lnTo>
                      <a:pt x="1203" y="1027"/>
                    </a:lnTo>
                    <a:lnTo>
                      <a:pt x="1203" y="1026"/>
                    </a:lnTo>
                    <a:lnTo>
                      <a:pt x="1205" y="1026"/>
                    </a:lnTo>
                    <a:close/>
                    <a:moveTo>
                      <a:pt x="1154" y="1282"/>
                    </a:moveTo>
                    <a:lnTo>
                      <a:pt x="1156" y="1284"/>
                    </a:lnTo>
                    <a:lnTo>
                      <a:pt x="1156" y="1286"/>
                    </a:lnTo>
                    <a:lnTo>
                      <a:pt x="1156" y="1288"/>
                    </a:lnTo>
                    <a:lnTo>
                      <a:pt x="1154" y="1288"/>
                    </a:lnTo>
                    <a:lnTo>
                      <a:pt x="1154" y="1286"/>
                    </a:lnTo>
                    <a:lnTo>
                      <a:pt x="1154" y="1288"/>
                    </a:lnTo>
                    <a:lnTo>
                      <a:pt x="1152" y="1288"/>
                    </a:lnTo>
                    <a:lnTo>
                      <a:pt x="1154" y="1286"/>
                    </a:lnTo>
                    <a:lnTo>
                      <a:pt x="1152" y="1286"/>
                    </a:lnTo>
                    <a:lnTo>
                      <a:pt x="1152" y="1288"/>
                    </a:lnTo>
                    <a:lnTo>
                      <a:pt x="1151" y="1288"/>
                    </a:lnTo>
                    <a:lnTo>
                      <a:pt x="1152" y="1286"/>
                    </a:lnTo>
                    <a:lnTo>
                      <a:pt x="1152" y="1284"/>
                    </a:lnTo>
                    <a:lnTo>
                      <a:pt x="1154" y="1284"/>
                    </a:lnTo>
                    <a:lnTo>
                      <a:pt x="1154" y="1282"/>
                    </a:lnTo>
                    <a:close/>
                    <a:moveTo>
                      <a:pt x="1193" y="1071"/>
                    </a:moveTo>
                    <a:lnTo>
                      <a:pt x="1193" y="1073"/>
                    </a:lnTo>
                    <a:lnTo>
                      <a:pt x="1193" y="1075"/>
                    </a:lnTo>
                    <a:lnTo>
                      <a:pt x="1193" y="1077"/>
                    </a:lnTo>
                    <a:lnTo>
                      <a:pt x="1191" y="1077"/>
                    </a:lnTo>
                    <a:lnTo>
                      <a:pt x="1191" y="1075"/>
                    </a:lnTo>
                    <a:lnTo>
                      <a:pt x="1190" y="1075"/>
                    </a:lnTo>
                    <a:lnTo>
                      <a:pt x="1191" y="1073"/>
                    </a:lnTo>
                    <a:lnTo>
                      <a:pt x="1191" y="1071"/>
                    </a:lnTo>
                    <a:lnTo>
                      <a:pt x="1193" y="1071"/>
                    </a:lnTo>
                    <a:close/>
                    <a:moveTo>
                      <a:pt x="1176" y="1381"/>
                    </a:moveTo>
                    <a:lnTo>
                      <a:pt x="1176" y="1383"/>
                    </a:lnTo>
                    <a:lnTo>
                      <a:pt x="1176" y="1384"/>
                    </a:lnTo>
                    <a:lnTo>
                      <a:pt x="1176" y="1386"/>
                    </a:lnTo>
                    <a:lnTo>
                      <a:pt x="1174" y="1386"/>
                    </a:lnTo>
                    <a:lnTo>
                      <a:pt x="1173" y="1386"/>
                    </a:lnTo>
                    <a:lnTo>
                      <a:pt x="1174" y="1386"/>
                    </a:lnTo>
                    <a:lnTo>
                      <a:pt x="1174" y="1384"/>
                    </a:lnTo>
                    <a:lnTo>
                      <a:pt x="1174" y="1383"/>
                    </a:lnTo>
                    <a:lnTo>
                      <a:pt x="1173" y="1384"/>
                    </a:lnTo>
                    <a:lnTo>
                      <a:pt x="1174" y="1383"/>
                    </a:lnTo>
                    <a:lnTo>
                      <a:pt x="1173" y="1383"/>
                    </a:lnTo>
                    <a:lnTo>
                      <a:pt x="1174" y="1381"/>
                    </a:lnTo>
                    <a:lnTo>
                      <a:pt x="1176" y="1381"/>
                    </a:lnTo>
                    <a:close/>
                    <a:moveTo>
                      <a:pt x="1253" y="1597"/>
                    </a:moveTo>
                    <a:lnTo>
                      <a:pt x="1254" y="1597"/>
                    </a:lnTo>
                    <a:lnTo>
                      <a:pt x="1254" y="1599"/>
                    </a:lnTo>
                    <a:lnTo>
                      <a:pt x="1256" y="1597"/>
                    </a:lnTo>
                    <a:lnTo>
                      <a:pt x="1254" y="1599"/>
                    </a:lnTo>
                    <a:lnTo>
                      <a:pt x="1256" y="1599"/>
                    </a:lnTo>
                    <a:lnTo>
                      <a:pt x="1256" y="1600"/>
                    </a:lnTo>
                    <a:lnTo>
                      <a:pt x="1254" y="1602"/>
                    </a:lnTo>
                    <a:lnTo>
                      <a:pt x="1254" y="1600"/>
                    </a:lnTo>
                    <a:lnTo>
                      <a:pt x="1254" y="1599"/>
                    </a:lnTo>
                    <a:lnTo>
                      <a:pt x="1254" y="1600"/>
                    </a:lnTo>
                    <a:lnTo>
                      <a:pt x="1253" y="1602"/>
                    </a:lnTo>
                    <a:lnTo>
                      <a:pt x="1253" y="1600"/>
                    </a:lnTo>
                    <a:lnTo>
                      <a:pt x="1251" y="1599"/>
                    </a:lnTo>
                    <a:lnTo>
                      <a:pt x="1251" y="1597"/>
                    </a:lnTo>
                    <a:lnTo>
                      <a:pt x="1253" y="1597"/>
                    </a:lnTo>
                    <a:close/>
                    <a:moveTo>
                      <a:pt x="1414" y="1669"/>
                    </a:moveTo>
                    <a:lnTo>
                      <a:pt x="1414" y="1670"/>
                    </a:lnTo>
                    <a:lnTo>
                      <a:pt x="1412" y="1670"/>
                    </a:lnTo>
                    <a:lnTo>
                      <a:pt x="1412" y="1672"/>
                    </a:lnTo>
                    <a:lnTo>
                      <a:pt x="1412" y="1674"/>
                    </a:lnTo>
                    <a:lnTo>
                      <a:pt x="1412" y="1672"/>
                    </a:lnTo>
                    <a:lnTo>
                      <a:pt x="1411" y="1674"/>
                    </a:lnTo>
                    <a:lnTo>
                      <a:pt x="1409" y="1674"/>
                    </a:lnTo>
                    <a:lnTo>
                      <a:pt x="1411" y="1674"/>
                    </a:lnTo>
                    <a:lnTo>
                      <a:pt x="1409" y="1672"/>
                    </a:lnTo>
                    <a:lnTo>
                      <a:pt x="1411" y="1672"/>
                    </a:lnTo>
                    <a:lnTo>
                      <a:pt x="1411" y="1670"/>
                    </a:lnTo>
                    <a:lnTo>
                      <a:pt x="1412" y="1670"/>
                    </a:lnTo>
                    <a:lnTo>
                      <a:pt x="1411" y="1670"/>
                    </a:lnTo>
                    <a:lnTo>
                      <a:pt x="1411" y="1669"/>
                    </a:lnTo>
                    <a:lnTo>
                      <a:pt x="1412" y="1667"/>
                    </a:lnTo>
                    <a:lnTo>
                      <a:pt x="1412" y="1669"/>
                    </a:lnTo>
                    <a:lnTo>
                      <a:pt x="1414" y="1669"/>
                    </a:lnTo>
                    <a:close/>
                    <a:moveTo>
                      <a:pt x="1205" y="1049"/>
                    </a:moveTo>
                    <a:lnTo>
                      <a:pt x="1205" y="1051"/>
                    </a:lnTo>
                    <a:lnTo>
                      <a:pt x="1205" y="1053"/>
                    </a:lnTo>
                    <a:lnTo>
                      <a:pt x="1205" y="1051"/>
                    </a:lnTo>
                    <a:lnTo>
                      <a:pt x="1205" y="1053"/>
                    </a:lnTo>
                    <a:lnTo>
                      <a:pt x="1203" y="1053"/>
                    </a:lnTo>
                    <a:lnTo>
                      <a:pt x="1202" y="1053"/>
                    </a:lnTo>
                    <a:lnTo>
                      <a:pt x="1202" y="1051"/>
                    </a:lnTo>
                    <a:lnTo>
                      <a:pt x="1200" y="1051"/>
                    </a:lnTo>
                    <a:lnTo>
                      <a:pt x="1202" y="1049"/>
                    </a:lnTo>
                    <a:lnTo>
                      <a:pt x="1202" y="1051"/>
                    </a:lnTo>
                    <a:lnTo>
                      <a:pt x="1203" y="1049"/>
                    </a:lnTo>
                    <a:lnTo>
                      <a:pt x="1203" y="1051"/>
                    </a:lnTo>
                    <a:lnTo>
                      <a:pt x="1203" y="1049"/>
                    </a:lnTo>
                    <a:lnTo>
                      <a:pt x="1205" y="1049"/>
                    </a:lnTo>
                    <a:close/>
                    <a:moveTo>
                      <a:pt x="1217" y="1551"/>
                    </a:moveTo>
                    <a:lnTo>
                      <a:pt x="1219" y="1551"/>
                    </a:lnTo>
                    <a:lnTo>
                      <a:pt x="1220" y="1553"/>
                    </a:lnTo>
                    <a:lnTo>
                      <a:pt x="1222" y="1555"/>
                    </a:lnTo>
                    <a:lnTo>
                      <a:pt x="1220" y="1555"/>
                    </a:lnTo>
                    <a:lnTo>
                      <a:pt x="1222" y="1555"/>
                    </a:lnTo>
                    <a:lnTo>
                      <a:pt x="1220" y="1555"/>
                    </a:lnTo>
                    <a:lnTo>
                      <a:pt x="1219" y="1553"/>
                    </a:lnTo>
                    <a:lnTo>
                      <a:pt x="1217" y="1551"/>
                    </a:lnTo>
                    <a:lnTo>
                      <a:pt x="1219" y="1553"/>
                    </a:lnTo>
                    <a:lnTo>
                      <a:pt x="1217" y="1553"/>
                    </a:lnTo>
                    <a:lnTo>
                      <a:pt x="1215" y="1553"/>
                    </a:lnTo>
                    <a:lnTo>
                      <a:pt x="1215" y="1555"/>
                    </a:lnTo>
                    <a:lnTo>
                      <a:pt x="1213" y="1553"/>
                    </a:lnTo>
                    <a:lnTo>
                      <a:pt x="1215" y="1553"/>
                    </a:lnTo>
                    <a:lnTo>
                      <a:pt x="1215" y="1551"/>
                    </a:lnTo>
                    <a:lnTo>
                      <a:pt x="1217" y="1551"/>
                    </a:lnTo>
                    <a:close/>
                    <a:moveTo>
                      <a:pt x="1361" y="1653"/>
                    </a:moveTo>
                    <a:lnTo>
                      <a:pt x="1361" y="1655"/>
                    </a:lnTo>
                    <a:lnTo>
                      <a:pt x="1363" y="1655"/>
                    </a:lnTo>
                    <a:lnTo>
                      <a:pt x="1363" y="1657"/>
                    </a:lnTo>
                    <a:lnTo>
                      <a:pt x="1361" y="1657"/>
                    </a:lnTo>
                    <a:lnTo>
                      <a:pt x="1363" y="1657"/>
                    </a:lnTo>
                    <a:lnTo>
                      <a:pt x="1365" y="1657"/>
                    </a:lnTo>
                    <a:lnTo>
                      <a:pt x="1365" y="1658"/>
                    </a:lnTo>
                    <a:lnTo>
                      <a:pt x="1366" y="1658"/>
                    </a:lnTo>
                    <a:lnTo>
                      <a:pt x="1366" y="1660"/>
                    </a:lnTo>
                    <a:lnTo>
                      <a:pt x="1365" y="1660"/>
                    </a:lnTo>
                    <a:lnTo>
                      <a:pt x="1365" y="1658"/>
                    </a:lnTo>
                    <a:lnTo>
                      <a:pt x="1363" y="1658"/>
                    </a:lnTo>
                    <a:lnTo>
                      <a:pt x="1363" y="1657"/>
                    </a:lnTo>
                    <a:lnTo>
                      <a:pt x="1361" y="1657"/>
                    </a:lnTo>
                    <a:lnTo>
                      <a:pt x="1361" y="1655"/>
                    </a:lnTo>
                    <a:lnTo>
                      <a:pt x="1360" y="1653"/>
                    </a:lnTo>
                    <a:lnTo>
                      <a:pt x="1358" y="1653"/>
                    </a:lnTo>
                    <a:lnTo>
                      <a:pt x="1360" y="1652"/>
                    </a:lnTo>
                    <a:lnTo>
                      <a:pt x="1361" y="1653"/>
                    </a:lnTo>
                    <a:close/>
                    <a:moveTo>
                      <a:pt x="1171" y="1247"/>
                    </a:moveTo>
                    <a:lnTo>
                      <a:pt x="1173" y="1248"/>
                    </a:lnTo>
                    <a:lnTo>
                      <a:pt x="1173" y="1250"/>
                    </a:lnTo>
                    <a:lnTo>
                      <a:pt x="1173" y="1252"/>
                    </a:lnTo>
                    <a:lnTo>
                      <a:pt x="1173" y="1253"/>
                    </a:lnTo>
                    <a:lnTo>
                      <a:pt x="1171" y="1252"/>
                    </a:lnTo>
                    <a:lnTo>
                      <a:pt x="1173" y="1253"/>
                    </a:lnTo>
                    <a:lnTo>
                      <a:pt x="1173" y="1252"/>
                    </a:lnTo>
                    <a:lnTo>
                      <a:pt x="1171" y="1252"/>
                    </a:lnTo>
                    <a:lnTo>
                      <a:pt x="1171" y="1250"/>
                    </a:lnTo>
                    <a:lnTo>
                      <a:pt x="1171" y="1248"/>
                    </a:lnTo>
                    <a:lnTo>
                      <a:pt x="1171" y="1247"/>
                    </a:lnTo>
                    <a:close/>
                    <a:moveTo>
                      <a:pt x="1370" y="1646"/>
                    </a:moveTo>
                    <a:lnTo>
                      <a:pt x="1370" y="1648"/>
                    </a:lnTo>
                    <a:lnTo>
                      <a:pt x="1368" y="1650"/>
                    </a:lnTo>
                    <a:lnTo>
                      <a:pt x="1370" y="1650"/>
                    </a:lnTo>
                    <a:lnTo>
                      <a:pt x="1368" y="1652"/>
                    </a:lnTo>
                    <a:lnTo>
                      <a:pt x="1368" y="1653"/>
                    </a:lnTo>
                    <a:lnTo>
                      <a:pt x="1366" y="1653"/>
                    </a:lnTo>
                    <a:lnTo>
                      <a:pt x="1368" y="1653"/>
                    </a:lnTo>
                    <a:lnTo>
                      <a:pt x="1366" y="1653"/>
                    </a:lnTo>
                    <a:lnTo>
                      <a:pt x="1366" y="1652"/>
                    </a:lnTo>
                    <a:lnTo>
                      <a:pt x="1366" y="1650"/>
                    </a:lnTo>
                    <a:lnTo>
                      <a:pt x="1368" y="1648"/>
                    </a:lnTo>
                    <a:lnTo>
                      <a:pt x="1368" y="1646"/>
                    </a:lnTo>
                    <a:lnTo>
                      <a:pt x="1370" y="1646"/>
                    </a:lnTo>
                    <a:close/>
                    <a:moveTo>
                      <a:pt x="1346" y="1658"/>
                    </a:moveTo>
                    <a:lnTo>
                      <a:pt x="1348" y="1658"/>
                    </a:lnTo>
                    <a:lnTo>
                      <a:pt x="1348" y="1660"/>
                    </a:lnTo>
                    <a:lnTo>
                      <a:pt x="1349" y="1660"/>
                    </a:lnTo>
                    <a:lnTo>
                      <a:pt x="1349" y="1662"/>
                    </a:lnTo>
                    <a:lnTo>
                      <a:pt x="1348" y="1663"/>
                    </a:lnTo>
                    <a:lnTo>
                      <a:pt x="1348" y="1662"/>
                    </a:lnTo>
                    <a:lnTo>
                      <a:pt x="1348" y="1660"/>
                    </a:lnTo>
                    <a:lnTo>
                      <a:pt x="1346" y="1660"/>
                    </a:lnTo>
                    <a:lnTo>
                      <a:pt x="1344" y="1660"/>
                    </a:lnTo>
                    <a:lnTo>
                      <a:pt x="1346" y="1658"/>
                    </a:lnTo>
                    <a:lnTo>
                      <a:pt x="1344" y="1658"/>
                    </a:lnTo>
                    <a:lnTo>
                      <a:pt x="1344" y="1657"/>
                    </a:lnTo>
                    <a:lnTo>
                      <a:pt x="1346" y="1658"/>
                    </a:lnTo>
                    <a:close/>
                    <a:moveTo>
                      <a:pt x="1179" y="1140"/>
                    </a:moveTo>
                    <a:lnTo>
                      <a:pt x="1179" y="1141"/>
                    </a:lnTo>
                    <a:lnTo>
                      <a:pt x="1181" y="1141"/>
                    </a:lnTo>
                    <a:lnTo>
                      <a:pt x="1181" y="1143"/>
                    </a:lnTo>
                    <a:lnTo>
                      <a:pt x="1179" y="1145"/>
                    </a:lnTo>
                    <a:lnTo>
                      <a:pt x="1179" y="1143"/>
                    </a:lnTo>
                    <a:lnTo>
                      <a:pt x="1178" y="1143"/>
                    </a:lnTo>
                    <a:lnTo>
                      <a:pt x="1176" y="1143"/>
                    </a:lnTo>
                    <a:lnTo>
                      <a:pt x="1178" y="1143"/>
                    </a:lnTo>
                    <a:lnTo>
                      <a:pt x="1178" y="1141"/>
                    </a:lnTo>
                    <a:lnTo>
                      <a:pt x="1178" y="1140"/>
                    </a:lnTo>
                    <a:lnTo>
                      <a:pt x="1179" y="1140"/>
                    </a:lnTo>
                    <a:close/>
                    <a:moveTo>
                      <a:pt x="1205" y="1453"/>
                    </a:moveTo>
                    <a:lnTo>
                      <a:pt x="1205" y="1454"/>
                    </a:lnTo>
                    <a:lnTo>
                      <a:pt x="1207" y="1454"/>
                    </a:lnTo>
                    <a:lnTo>
                      <a:pt x="1207" y="1456"/>
                    </a:lnTo>
                    <a:lnTo>
                      <a:pt x="1207" y="1458"/>
                    </a:lnTo>
                    <a:lnTo>
                      <a:pt x="1207" y="1459"/>
                    </a:lnTo>
                    <a:lnTo>
                      <a:pt x="1205" y="1458"/>
                    </a:lnTo>
                    <a:lnTo>
                      <a:pt x="1205" y="1456"/>
                    </a:lnTo>
                    <a:lnTo>
                      <a:pt x="1203" y="1456"/>
                    </a:lnTo>
                    <a:lnTo>
                      <a:pt x="1203" y="1454"/>
                    </a:lnTo>
                    <a:lnTo>
                      <a:pt x="1203" y="1453"/>
                    </a:lnTo>
                    <a:lnTo>
                      <a:pt x="1205" y="1453"/>
                    </a:lnTo>
                    <a:close/>
                    <a:moveTo>
                      <a:pt x="1429" y="1680"/>
                    </a:moveTo>
                    <a:lnTo>
                      <a:pt x="1429" y="1682"/>
                    </a:lnTo>
                    <a:lnTo>
                      <a:pt x="1428" y="1682"/>
                    </a:lnTo>
                    <a:lnTo>
                      <a:pt x="1429" y="1684"/>
                    </a:lnTo>
                    <a:lnTo>
                      <a:pt x="1429" y="1686"/>
                    </a:lnTo>
                    <a:lnTo>
                      <a:pt x="1431" y="1686"/>
                    </a:lnTo>
                    <a:lnTo>
                      <a:pt x="1429" y="1687"/>
                    </a:lnTo>
                    <a:lnTo>
                      <a:pt x="1429" y="1686"/>
                    </a:lnTo>
                    <a:lnTo>
                      <a:pt x="1428" y="1686"/>
                    </a:lnTo>
                    <a:lnTo>
                      <a:pt x="1426" y="1686"/>
                    </a:lnTo>
                    <a:lnTo>
                      <a:pt x="1426" y="1684"/>
                    </a:lnTo>
                    <a:lnTo>
                      <a:pt x="1428" y="1682"/>
                    </a:lnTo>
                    <a:lnTo>
                      <a:pt x="1429" y="1680"/>
                    </a:lnTo>
                    <a:close/>
                    <a:moveTo>
                      <a:pt x="1186" y="1073"/>
                    </a:moveTo>
                    <a:lnTo>
                      <a:pt x="1188" y="1073"/>
                    </a:lnTo>
                    <a:lnTo>
                      <a:pt x="1188" y="1075"/>
                    </a:lnTo>
                    <a:lnTo>
                      <a:pt x="1186" y="1075"/>
                    </a:lnTo>
                    <a:lnTo>
                      <a:pt x="1185" y="1075"/>
                    </a:lnTo>
                    <a:lnTo>
                      <a:pt x="1183" y="1075"/>
                    </a:lnTo>
                    <a:lnTo>
                      <a:pt x="1183" y="1077"/>
                    </a:lnTo>
                    <a:lnTo>
                      <a:pt x="1181" y="1075"/>
                    </a:lnTo>
                    <a:lnTo>
                      <a:pt x="1183" y="1075"/>
                    </a:lnTo>
                    <a:lnTo>
                      <a:pt x="1183" y="1073"/>
                    </a:lnTo>
                    <a:lnTo>
                      <a:pt x="1183" y="1075"/>
                    </a:lnTo>
                    <a:lnTo>
                      <a:pt x="1185" y="1075"/>
                    </a:lnTo>
                    <a:lnTo>
                      <a:pt x="1183" y="1073"/>
                    </a:lnTo>
                    <a:lnTo>
                      <a:pt x="1185" y="1073"/>
                    </a:lnTo>
                    <a:lnTo>
                      <a:pt x="1185" y="1071"/>
                    </a:lnTo>
                    <a:lnTo>
                      <a:pt x="1186" y="1073"/>
                    </a:lnTo>
                    <a:close/>
                    <a:moveTo>
                      <a:pt x="1202" y="1485"/>
                    </a:moveTo>
                    <a:lnTo>
                      <a:pt x="1202" y="1487"/>
                    </a:lnTo>
                    <a:lnTo>
                      <a:pt x="1200" y="1487"/>
                    </a:lnTo>
                    <a:lnTo>
                      <a:pt x="1200" y="1488"/>
                    </a:lnTo>
                    <a:lnTo>
                      <a:pt x="1198" y="1488"/>
                    </a:lnTo>
                    <a:lnTo>
                      <a:pt x="1196" y="1488"/>
                    </a:lnTo>
                    <a:lnTo>
                      <a:pt x="1198" y="1487"/>
                    </a:lnTo>
                    <a:lnTo>
                      <a:pt x="1198" y="1485"/>
                    </a:lnTo>
                    <a:lnTo>
                      <a:pt x="1200" y="1485"/>
                    </a:lnTo>
                    <a:lnTo>
                      <a:pt x="1202" y="1485"/>
                    </a:lnTo>
                    <a:close/>
                    <a:moveTo>
                      <a:pt x="1179" y="1242"/>
                    </a:moveTo>
                    <a:lnTo>
                      <a:pt x="1179" y="1243"/>
                    </a:lnTo>
                    <a:lnTo>
                      <a:pt x="1178" y="1243"/>
                    </a:lnTo>
                    <a:lnTo>
                      <a:pt x="1178" y="1245"/>
                    </a:lnTo>
                    <a:lnTo>
                      <a:pt x="1176" y="1245"/>
                    </a:lnTo>
                    <a:lnTo>
                      <a:pt x="1176" y="1243"/>
                    </a:lnTo>
                    <a:lnTo>
                      <a:pt x="1176" y="1242"/>
                    </a:lnTo>
                    <a:lnTo>
                      <a:pt x="1178" y="1242"/>
                    </a:lnTo>
                    <a:lnTo>
                      <a:pt x="1179" y="1242"/>
                    </a:lnTo>
                    <a:close/>
                    <a:moveTo>
                      <a:pt x="1196" y="1526"/>
                    </a:moveTo>
                    <a:lnTo>
                      <a:pt x="1198" y="1526"/>
                    </a:lnTo>
                    <a:lnTo>
                      <a:pt x="1196" y="1527"/>
                    </a:lnTo>
                    <a:lnTo>
                      <a:pt x="1198" y="1527"/>
                    </a:lnTo>
                    <a:lnTo>
                      <a:pt x="1200" y="1529"/>
                    </a:lnTo>
                    <a:lnTo>
                      <a:pt x="1200" y="1531"/>
                    </a:lnTo>
                    <a:lnTo>
                      <a:pt x="1200" y="1529"/>
                    </a:lnTo>
                    <a:lnTo>
                      <a:pt x="1198" y="1529"/>
                    </a:lnTo>
                    <a:lnTo>
                      <a:pt x="1198" y="1527"/>
                    </a:lnTo>
                    <a:lnTo>
                      <a:pt x="1198" y="1529"/>
                    </a:lnTo>
                    <a:lnTo>
                      <a:pt x="1196" y="1529"/>
                    </a:lnTo>
                    <a:lnTo>
                      <a:pt x="1196" y="1527"/>
                    </a:lnTo>
                    <a:lnTo>
                      <a:pt x="1195" y="1527"/>
                    </a:lnTo>
                    <a:lnTo>
                      <a:pt x="1195" y="1529"/>
                    </a:lnTo>
                    <a:lnTo>
                      <a:pt x="1195" y="1527"/>
                    </a:lnTo>
                    <a:lnTo>
                      <a:pt x="1193" y="1526"/>
                    </a:lnTo>
                    <a:lnTo>
                      <a:pt x="1195" y="1526"/>
                    </a:lnTo>
                    <a:lnTo>
                      <a:pt x="1196" y="1526"/>
                    </a:lnTo>
                    <a:close/>
                    <a:moveTo>
                      <a:pt x="1166" y="1435"/>
                    </a:moveTo>
                    <a:lnTo>
                      <a:pt x="1166" y="1437"/>
                    </a:lnTo>
                    <a:lnTo>
                      <a:pt x="1164" y="1437"/>
                    </a:lnTo>
                    <a:lnTo>
                      <a:pt x="1166" y="1437"/>
                    </a:lnTo>
                    <a:lnTo>
                      <a:pt x="1164" y="1437"/>
                    </a:lnTo>
                    <a:lnTo>
                      <a:pt x="1164" y="1435"/>
                    </a:lnTo>
                    <a:lnTo>
                      <a:pt x="1164" y="1437"/>
                    </a:lnTo>
                    <a:lnTo>
                      <a:pt x="1162" y="1437"/>
                    </a:lnTo>
                    <a:lnTo>
                      <a:pt x="1162" y="1435"/>
                    </a:lnTo>
                    <a:lnTo>
                      <a:pt x="1162" y="1434"/>
                    </a:lnTo>
                    <a:lnTo>
                      <a:pt x="1164" y="1434"/>
                    </a:lnTo>
                    <a:lnTo>
                      <a:pt x="1166" y="1432"/>
                    </a:lnTo>
                    <a:lnTo>
                      <a:pt x="1166" y="1434"/>
                    </a:lnTo>
                    <a:lnTo>
                      <a:pt x="1166" y="1435"/>
                    </a:lnTo>
                    <a:close/>
                    <a:moveTo>
                      <a:pt x="1217" y="1107"/>
                    </a:moveTo>
                    <a:lnTo>
                      <a:pt x="1217" y="1109"/>
                    </a:lnTo>
                    <a:lnTo>
                      <a:pt x="1219" y="1111"/>
                    </a:lnTo>
                    <a:lnTo>
                      <a:pt x="1219" y="1112"/>
                    </a:lnTo>
                    <a:lnTo>
                      <a:pt x="1217" y="1112"/>
                    </a:lnTo>
                    <a:lnTo>
                      <a:pt x="1215" y="1111"/>
                    </a:lnTo>
                    <a:lnTo>
                      <a:pt x="1215" y="1109"/>
                    </a:lnTo>
                    <a:lnTo>
                      <a:pt x="1215" y="1111"/>
                    </a:lnTo>
                    <a:lnTo>
                      <a:pt x="1215" y="1109"/>
                    </a:lnTo>
                    <a:lnTo>
                      <a:pt x="1215" y="1107"/>
                    </a:lnTo>
                    <a:lnTo>
                      <a:pt x="1217" y="1107"/>
                    </a:lnTo>
                    <a:close/>
                    <a:moveTo>
                      <a:pt x="1202" y="1141"/>
                    </a:moveTo>
                    <a:lnTo>
                      <a:pt x="1203" y="1141"/>
                    </a:lnTo>
                    <a:lnTo>
                      <a:pt x="1203" y="1143"/>
                    </a:lnTo>
                    <a:lnTo>
                      <a:pt x="1205" y="1143"/>
                    </a:lnTo>
                    <a:lnTo>
                      <a:pt x="1203" y="1143"/>
                    </a:lnTo>
                    <a:lnTo>
                      <a:pt x="1203" y="1145"/>
                    </a:lnTo>
                    <a:lnTo>
                      <a:pt x="1202" y="1145"/>
                    </a:lnTo>
                    <a:lnTo>
                      <a:pt x="1200" y="1145"/>
                    </a:lnTo>
                    <a:lnTo>
                      <a:pt x="1202" y="1143"/>
                    </a:lnTo>
                    <a:lnTo>
                      <a:pt x="1200" y="1145"/>
                    </a:lnTo>
                    <a:lnTo>
                      <a:pt x="1200" y="1143"/>
                    </a:lnTo>
                    <a:lnTo>
                      <a:pt x="1202" y="1141"/>
                    </a:lnTo>
                    <a:close/>
                    <a:moveTo>
                      <a:pt x="1168" y="1407"/>
                    </a:moveTo>
                    <a:lnTo>
                      <a:pt x="1169" y="1407"/>
                    </a:lnTo>
                    <a:lnTo>
                      <a:pt x="1168" y="1408"/>
                    </a:lnTo>
                    <a:lnTo>
                      <a:pt x="1166" y="1408"/>
                    </a:lnTo>
                    <a:lnTo>
                      <a:pt x="1166" y="1410"/>
                    </a:lnTo>
                    <a:lnTo>
                      <a:pt x="1164" y="1412"/>
                    </a:lnTo>
                    <a:lnTo>
                      <a:pt x="1164" y="1410"/>
                    </a:lnTo>
                    <a:lnTo>
                      <a:pt x="1166" y="1410"/>
                    </a:lnTo>
                    <a:lnTo>
                      <a:pt x="1166" y="1408"/>
                    </a:lnTo>
                    <a:lnTo>
                      <a:pt x="1164" y="1408"/>
                    </a:lnTo>
                    <a:lnTo>
                      <a:pt x="1166" y="1408"/>
                    </a:lnTo>
                    <a:lnTo>
                      <a:pt x="1166" y="1407"/>
                    </a:lnTo>
                    <a:lnTo>
                      <a:pt x="1168" y="1407"/>
                    </a:lnTo>
                    <a:close/>
                    <a:moveTo>
                      <a:pt x="965" y="610"/>
                    </a:moveTo>
                    <a:lnTo>
                      <a:pt x="969" y="610"/>
                    </a:lnTo>
                    <a:lnTo>
                      <a:pt x="969" y="614"/>
                    </a:lnTo>
                    <a:lnTo>
                      <a:pt x="965" y="614"/>
                    </a:lnTo>
                    <a:lnTo>
                      <a:pt x="965" y="610"/>
                    </a:lnTo>
                    <a:close/>
                    <a:moveTo>
                      <a:pt x="1229" y="1071"/>
                    </a:moveTo>
                    <a:lnTo>
                      <a:pt x="1230" y="1071"/>
                    </a:lnTo>
                    <a:lnTo>
                      <a:pt x="1230" y="1073"/>
                    </a:lnTo>
                    <a:lnTo>
                      <a:pt x="1229" y="1073"/>
                    </a:lnTo>
                    <a:lnTo>
                      <a:pt x="1229" y="1075"/>
                    </a:lnTo>
                    <a:lnTo>
                      <a:pt x="1227" y="1075"/>
                    </a:lnTo>
                    <a:lnTo>
                      <a:pt x="1227" y="1073"/>
                    </a:lnTo>
                    <a:lnTo>
                      <a:pt x="1227" y="1075"/>
                    </a:lnTo>
                    <a:lnTo>
                      <a:pt x="1225" y="1075"/>
                    </a:lnTo>
                    <a:lnTo>
                      <a:pt x="1225" y="1073"/>
                    </a:lnTo>
                    <a:lnTo>
                      <a:pt x="1227" y="1073"/>
                    </a:lnTo>
                    <a:lnTo>
                      <a:pt x="1227" y="1071"/>
                    </a:lnTo>
                    <a:lnTo>
                      <a:pt x="1229" y="1071"/>
                    </a:lnTo>
                    <a:close/>
                    <a:moveTo>
                      <a:pt x="1174" y="1242"/>
                    </a:moveTo>
                    <a:lnTo>
                      <a:pt x="1174" y="1243"/>
                    </a:lnTo>
                    <a:lnTo>
                      <a:pt x="1176" y="1245"/>
                    </a:lnTo>
                    <a:lnTo>
                      <a:pt x="1174" y="1245"/>
                    </a:lnTo>
                    <a:lnTo>
                      <a:pt x="1173" y="1245"/>
                    </a:lnTo>
                    <a:lnTo>
                      <a:pt x="1174" y="1245"/>
                    </a:lnTo>
                    <a:lnTo>
                      <a:pt x="1173" y="1245"/>
                    </a:lnTo>
                    <a:lnTo>
                      <a:pt x="1173" y="1243"/>
                    </a:lnTo>
                    <a:lnTo>
                      <a:pt x="1173" y="1242"/>
                    </a:lnTo>
                    <a:lnTo>
                      <a:pt x="1174" y="1242"/>
                    </a:lnTo>
                    <a:close/>
                    <a:moveTo>
                      <a:pt x="1198" y="803"/>
                    </a:moveTo>
                    <a:lnTo>
                      <a:pt x="1200" y="803"/>
                    </a:lnTo>
                    <a:lnTo>
                      <a:pt x="1200" y="804"/>
                    </a:lnTo>
                    <a:lnTo>
                      <a:pt x="1202" y="804"/>
                    </a:lnTo>
                    <a:lnTo>
                      <a:pt x="1200" y="804"/>
                    </a:lnTo>
                    <a:lnTo>
                      <a:pt x="1202" y="804"/>
                    </a:lnTo>
                    <a:lnTo>
                      <a:pt x="1200" y="804"/>
                    </a:lnTo>
                    <a:lnTo>
                      <a:pt x="1200" y="806"/>
                    </a:lnTo>
                    <a:lnTo>
                      <a:pt x="1198" y="806"/>
                    </a:lnTo>
                    <a:lnTo>
                      <a:pt x="1198" y="804"/>
                    </a:lnTo>
                    <a:lnTo>
                      <a:pt x="1198" y="803"/>
                    </a:lnTo>
                    <a:lnTo>
                      <a:pt x="1198" y="801"/>
                    </a:lnTo>
                    <a:lnTo>
                      <a:pt x="1198" y="803"/>
                    </a:lnTo>
                    <a:close/>
                    <a:moveTo>
                      <a:pt x="1178" y="1453"/>
                    </a:moveTo>
                    <a:lnTo>
                      <a:pt x="1178" y="1454"/>
                    </a:lnTo>
                    <a:lnTo>
                      <a:pt x="1178" y="1456"/>
                    </a:lnTo>
                    <a:lnTo>
                      <a:pt x="1178" y="1454"/>
                    </a:lnTo>
                    <a:lnTo>
                      <a:pt x="1178" y="1456"/>
                    </a:lnTo>
                    <a:lnTo>
                      <a:pt x="1176" y="1458"/>
                    </a:lnTo>
                    <a:lnTo>
                      <a:pt x="1178" y="1458"/>
                    </a:lnTo>
                    <a:lnTo>
                      <a:pt x="1178" y="1456"/>
                    </a:lnTo>
                    <a:lnTo>
                      <a:pt x="1178" y="1458"/>
                    </a:lnTo>
                    <a:lnTo>
                      <a:pt x="1176" y="1458"/>
                    </a:lnTo>
                    <a:lnTo>
                      <a:pt x="1176" y="1459"/>
                    </a:lnTo>
                    <a:lnTo>
                      <a:pt x="1174" y="1459"/>
                    </a:lnTo>
                    <a:lnTo>
                      <a:pt x="1174" y="1458"/>
                    </a:lnTo>
                    <a:lnTo>
                      <a:pt x="1176" y="1458"/>
                    </a:lnTo>
                    <a:lnTo>
                      <a:pt x="1176" y="1456"/>
                    </a:lnTo>
                    <a:lnTo>
                      <a:pt x="1176" y="1454"/>
                    </a:lnTo>
                    <a:lnTo>
                      <a:pt x="1178" y="1454"/>
                    </a:lnTo>
                    <a:lnTo>
                      <a:pt x="1178" y="1453"/>
                    </a:lnTo>
                    <a:close/>
                    <a:moveTo>
                      <a:pt x="1208" y="1068"/>
                    </a:moveTo>
                    <a:lnTo>
                      <a:pt x="1208" y="1070"/>
                    </a:lnTo>
                    <a:lnTo>
                      <a:pt x="1207" y="1071"/>
                    </a:lnTo>
                    <a:lnTo>
                      <a:pt x="1205" y="1071"/>
                    </a:lnTo>
                    <a:lnTo>
                      <a:pt x="1205" y="1070"/>
                    </a:lnTo>
                    <a:lnTo>
                      <a:pt x="1205" y="1068"/>
                    </a:lnTo>
                    <a:lnTo>
                      <a:pt x="1207" y="1070"/>
                    </a:lnTo>
                    <a:lnTo>
                      <a:pt x="1207" y="1068"/>
                    </a:lnTo>
                    <a:lnTo>
                      <a:pt x="1208" y="1068"/>
                    </a:lnTo>
                    <a:close/>
                    <a:moveTo>
                      <a:pt x="1278" y="1614"/>
                    </a:moveTo>
                    <a:lnTo>
                      <a:pt x="1278" y="1616"/>
                    </a:lnTo>
                    <a:lnTo>
                      <a:pt x="1280" y="1616"/>
                    </a:lnTo>
                    <a:lnTo>
                      <a:pt x="1278" y="1618"/>
                    </a:lnTo>
                    <a:lnTo>
                      <a:pt x="1276" y="1619"/>
                    </a:lnTo>
                    <a:lnTo>
                      <a:pt x="1276" y="1618"/>
                    </a:lnTo>
                    <a:lnTo>
                      <a:pt x="1276" y="1616"/>
                    </a:lnTo>
                    <a:lnTo>
                      <a:pt x="1275" y="1616"/>
                    </a:lnTo>
                    <a:lnTo>
                      <a:pt x="1276" y="1616"/>
                    </a:lnTo>
                    <a:lnTo>
                      <a:pt x="1276" y="1614"/>
                    </a:lnTo>
                    <a:lnTo>
                      <a:pt x="1278" y="1614"/>
                    </a:lnTo>
                    <a:close/>
                    <a:moveTo>
                      <a:pt x="1174" y="1369"/>
                    </a:moveTo>
                    <a:lnTo>
                      <a:pt x="1176" y="1369"/>
                    </a:lnTo>
                    <a:lnTo>
                      <a:pt x="1178" y="1369"/>
                    </a:lnTo>
                    <a:lnTo>
                      <a:pt x="1176" y="1371"/>
                    </a:lnTo>
                    <a:lnTo>
                      <a:pt x="1176" y="1369"/>
                    </a:lnTo>
                    <a:lnTo>
                      <a:pt x="1176" y="1371"/>
                    </a:lnTo>
                    <a:lnTo>
                      <a:pt x="1174" y="1371"/>
                    </a:lnTo>
                    <a:lnTo>
                      <a:pt x="1173" y="1371"/>
                    </a:lnTo>
                    <a:lnTo>
                      <a:pt x="1171" y="1371"/>
                    </a:lnTo>
                    <a:lnTo>
                      <a:pt x="1171" y="1369"/>
                    </a:lnTo>
                    <a:lnTo>
                      <a:pt x="1173" y="1369"/>
                    </a:lnTo>
                    <a:lnTo>
                      <a:pt x="1174" y="1369"/>
                    </a:lnTo>
                    <a:lnTo>
                      <a:pt x="1174" y="1371"/>
                    </a:lnTo>
                    <a:lnTo>
                      <a:pt x="1174" y="1369"/>
                    </a:lnTo>
                    <a:close/>
                    <a:moveTo>
                      <a:pt x="1200" y="1054"/>
                    </a:moveTo>
                    <a:lnTo>
                      <a:pt x="1202" y="1054"/>
                    </a:lnTo>
                    <a:lnTo>
                      <a:pt x="1203" y="1054"/>
                    </a:lnTo>
                    <a:lnTo>
                      <a:pt x="1203" y="1056"/>
                    </a:lnTo>
                    <a:lnTo>
                      <a:pt x="1202" y="1056"/>
                    </a:lnTo>
                    <a:lnTo>
                      <a:pt x="1200" y="1056"/>
                    </a:lnTo>
                    <a:lnTo>
                      <a:pt x="1198" y="1054"/>
                    </a:lnTo>
                    <a:lnTo>
                      <a:pt x="1200" y="1054"/>
                    </a:lnTo>
                    <a:close/>
                    <a:moveTo>
                      <a:pt x="1292" y="1629"/>
                    </a:moveTo>
                    <a:lnTo>
                      <a:pt x="1292" y="1631"/>
                    </a:lnTo>
                    <a:lnTo>
                      <a:pt x="1290" y="1631"/>
                    </a:lnTo>
                    <a:lnTo>
                      <a:pt x="1290" y="1633"/>
                    </a:lnTo>
                    <a:lnTo>
                      <a:pt x="1290" y="1635"/>
                    </a:lnTo>
                    <a:lnTo>
                      <a:pt x="1290" y="1633"/>
                    </a:lnTo>
                    <a:lnTo>
                      <a:pt x="1288" y="1633"/>
                    </a:lnTo>
                    <a:lnTo>
                      <a:pt x="1288" y="1631"/>
                    </a:lnTo>
                    <a:lnTo>
                      <a:pt x="1288" y="1629"/>
                    </a:lnTo>
                    <a:lnTo>
                      <a:pt x="1290" y="1629"/>
                    </a:lnTo>
                    <a:lnTo>
                      <a:pt x="1292" y="1629"/>
                    </a:lnTo>
                    <a:close/>
                    <a:moveTo>
                      <a:pt x="1251" y="1502"/>
                    </a:moveTo>
                    <a:lnTo>
                      <a:pt x="1251" y="1504"/>
                    </a:lnTo>
                    <a:lnTo>
                      <a:pt x="1249" y="1505"/>
                    </a:lnTo>
                    <a:lnTo>
                      <a:pt x="1247" y="1505"/>
                    </a:lnTo>
                    <a:lnTo>
                      <a:pt x="1247" y="1504"/>
                    </a:lnTo>
                    <a:lnTo>
                      <a:pt x="1247" y="1505"/>
                    </a:lnTo>
                    <a:lnTo>
                      <a:pt x="1247" y="1504"/>
                    </a:lnTo>
                    <a:lnTo>
                      <a:pt x="1247" y="1502"/>
                    </a:lnTo>
                    <a:lnTo>
                      <a:pt x="1249" y="1502"/>
                    </a:lnTo>
                    <a:lnTo>
                      <a:pt x="1251" y="1502"/>
                    </a:lnTo>
                    <a:close/>
                    <a:moveTo>
                      <a:pt x="1258" y="1595"/>
                    </a:moveTo>
                    <a:lnTo>
                      <a:pt x="1259" y="1595"/>
                    </a:lnTo>
                    <a:lnTo>
                      <a:pt x="1259" y="1597"/>
                    </a:lnTo>
                    <a:lnTo>
                      <a:pt x="1259" y="1595"/>
                    </a:lnTo>
                    <a:lnTo>
                      <a:pt x="1259" y="1597"/>
                    </a:lnTo>
                    <a:lnTo>
                      <a:pt x="1261" y="1597"/>
                    </a:lnTo>
                    <a:lnTo>
                      <a:pt x="1259" y="1599"/>
                    </a:lnTo>
                    <a:lnTo>
                      <a:pt x="1259" y="1597"/>
                    </a:lnTo>
                    <a:lnTo>
                      <a:pt x="1259" y="1599"/>
                    </a:lnTo>
                    <a:lnTo>
                      <a:pt x="1258" y="1599"/>
                    </a:lnTo>
                    <a:lnTo>
                      <a:pt x="1258" y="1597"/>
                    </a:lnTo>
                    <a:lnTo>
                      <a:pt x="1258" y="1599"/>
                    </a:lnTo>
                    <a:lnTo>
                      <a:pt x="1258" y="1597"/>
                    </a:lnTo>
                    <a:lnTo>
                      <a:pt x="1259" y="1597"/>
                    </a:lnTo>
                    <a:lnTo>
                      <a:pt x="1258" y="1597"/>
                    </a:lnTo>
                    <a:lnTo>
                      <a:pt x="1256" y="1597"/>
                    </a:lnTo>
                    <a:lnTo>
                      <a:pt x="1256" y="1595"/>
                    </a:lnTo>
                    <a:lnTo>
                      <a:pt x="1258" y="1595"/>
                    </a:lnTo>
                    <a:close/>
                    <a:moveTo>
                      <a:pt x="1145" y="1325"/>
                    </a:moveTo>
                    <a:lnTo>
                      <a:pt x="1147" y="1327"/>
                    </a:lnTo>
                    <a:lnTo>
                      <a:pt x="1147" y="1328"/>
                    </a:lnTo>
                    <a:lnTo>
                      <a:pt x="1147" y="1330"/>
                    </a:lnTo>
                    <a:lnTo>
                      <a:pt x="1147" y="1328"/>
                    </a:lnTo>
                    <a:lnTo>
                      <a:pt x="1145" y="1328"/>
                    </a:lnTo>
                    <a:lnTo>
                      <a:pt x="1145" y="1327"/>
                    </a:lnTo>
                    <a:lnTo>
                      <a:pt x="1144" y="1327"/>
                    </a:lnTo>
                    <a:lnTo>
                      <a:pt x="1144" y="1325"/>
                    </a:lnTo>
                    <a:lnTo>
                      <a:pt x="1145" y="1325"/>
                    </a:lnTo>
                    <a:lnTo>
                      <a:pt x="1145" y="1327"/>
                    </a:lnTo>
                    <a:lnTo>
                      <a:pt x="1145" y="1325"/>
                    </a:lnTo>
                    <a:close/>
                    <a:moveTo>
                      <a:pt x="1310" y="1509"/>
                    </a:moveTo>
                    <a:lnTo>
                      <a:pt x="1309" y="1509"/>
                    </a:lnTo>
                    <a:lnTo>
                      <a:pt x="1309" y="1510"/>
                    </a:lnTo>
                    <a:lnTo>
                      <a:pt x="1307" y="1512"/>
                    </a:lnTo>
                    <a:lnTo>
                      <a:pt x="1305" y="1512"/>
                    </a:lnTo>
                    <a:lnTo>
                      <a:pt x="1305" y="1510"/>
                    </a:lnTo>
                    <a:lnTo>
                      <a:pt x="1307" y="1510"/>
                    </a:lnTo>
                    <a:lnTo>
                      <a:pt x="1309" y="1509"/>
                    </a:lnTo>
                    <a:lnTo>
                      <a:pt x="1310" y="1509"/>
                    </a:lnTo>
                    <a:close/>
                    <a:moveTo>
                      <a:pt x="1275" y="1590"/>
                    </a:moveTo>
                    <a:lnTo>
                      <a:pt x="1276" y="1592"/>
                    </a:lnTo>
                    <a:lnTo>
                      <a:pt x="1276" y="1594"/>
                    </a:lnTo>
                    <a:lnTo>
                      <a:pt x="1276" y="1592"/>
                    </a:lnTo>
                    <a:lnTo>
                      <a:pt x="1275" y="1594"/>
                    </a:lnTo>
                    <a:lnTo>
                      <a:pt x="1273" y="1592"/>
                    </a:lnTo>
                    <a:lnTo>
                      <a:pt x="1271" y="1592"/>
                    </a:lnTo>
                    <a:lnTo>
                      <a:pt x="1271" y="1590"/>
                    </a:lnTo>
                    <a:lnTo>
                      <a:pt x="1273" y="1590"/>
                    </a:lnTo>
                    <a:lnTo>
                      <a:pt x="1275" y="1590"/>
                    </a:lnTo>
                    <a:close/>
                    <a:moveTo>
                      <a:pt x="1390" y="1641"/>
                    </a:moveTo>
                    <a:lnTo>
                      <a:pt x="1390" y="1643"/>
                    </a:lnTo>
                    <a:lnTo>
                      <a:pt x="1392" y="1643"/>
                    </a:lnTo>
                    <a:lnTo>
                      <a:pt x="1392" y="1645"/>
                    </a:lnTo>
                    <a:lnTo>
                      <a:pt x="1390" y="1645"/>
                    </a:lnTo>
                    <a:lnTo>
                      <a:pt x="1389" y="1645"/>
                    </a:lnTo>
                    <a:lnTo>
                      <a:pt x="1389" y="1643"/>
                    </a:lnTo>
                    <a:lnTo>
                      <a:pt x="1387" y="1643"/>
                    </a:lnTo>
                    <a:lnTo>
                      <a:pt x="1389" y="1641"/>
                    </a:lnTo>
                    <a:lnTo>
                      <a:pt x="1390" y="1641"/>
                    </a:lnTo>
                    <a:close/>
                    <a:moveTo>
                      <a:pt x="1230" y="998"/>
                    </a:moveTo>
                    <a:lnTo>
                      <a:pt x="1232" y="998"/>
                    </a:lnTo>
                    <a:lnTo>
                      <a:pt x="1232" y="997"/>
                    </a:lnTo>
                    <a:lnTo>
                      <a:pt x="1232" y="998"/>
                    </a:lnTo>
                    <a:lnTo>
                      <a:pt x="1232" y="1000"/>
                    </a:lnTo>
                    <a:lnTo>
                      <a:pt x="1232" y="998"/>
                    </a:lnTo>
                    <a:lnTo>
                      <a:pt x="1230" y="998"/>
                    </a:lnTo>
                    <a:lnTo>
                      <a:pt x="1230" y="1000"/>
                    </a:lnTo>
                    <a:lnTo>
                      <a:pt x="1232" y="1000"/>
                    </a:lnTo>
                    <a:lnTo>
                      <a:pt x="1232" y="1002"/>
                    </a:lnTo>
                    <a:lnTo>
                      <a:pt x="1232" y="1000"/>
                    </a:lnTo>
                    <a:lnTo>
                      <a:pt x="1232" y="1002"/>
                    </a:lnTo>
                    <a:lnTo>
                      <a:pt x="1230" y="1002"/>
                    </a:lnTo>
                    <a:lnTo>
                      <a:pt x="1230" y="1000"/>
                    </a:lnTo>
                    <a:lnTo>
                      <a:pt x="1230" y="998"/>
                    </a:lnTo>
                    <a:lnTo>
                      <a:pt x="1229" y="998"/>
                    </a:lnTo>
                    <a:lnTo>
                      <a:pt x="1229" y="997"/>
                    </a:lnTo>
                    <a:lnTo>
                      <a:pt x="1230" y="997"/>
                    </a:lnTo>
                    <a:lnTo>
                      <a:pt x="1230" y="998"/>
                    </a:lnTo>
                    <a:close/>
                    <a:moveTo>
                      <a:pt x="1229" y="976"/>
                    </a:moveTo>
                    <a:lnTo>
                      <a:pt x="1229" y="978"/>
                    </a:lnTo>
                    <a:lnTo>
                      <a:pt x="1227" y="978"/>
                    </a:lnTo>
                    <a:lnTo>
                      <a:pt x="1227" y="980"/>
                    </a:lnTo>
                    <a:lnTo>
                      <a:pt x="1225" y="980"/>
                    </a:lnTo>
                    <a:lnTo>
                      <a:pt x="1225" y="978"/>
                    </a:lnTo>
                    <a:lnTo>
                      <a:pt x="1224" y="978"/>
                    </a:lnTo>
                    <a:lnTo>
                      <a:pt x="1225" y="976"/>
                    </a:lnTo>
                    <a:lnTo>
                      <a:pt x="1225" y="978"/>
                    </a:lnTo>
                    <a:lnTo>
                      <a:pt x="1227" y="978"/>
                    </a:lnTo>
                    <a:lnTo>
                      <a:pt x="1225" y="976"/>
                    </a:lnTo>
                    <a:lnTo>
                      <a:pt x="1225" y="978"/>
                    </a:lnTo>
                    <a:lnTo>
                      <a:pt x="1225" y="976"/>
                    </a:lnTo>
                    <a:lnTo>
                      <a:pt x="1227" y="976"/>
                    </a:lnTo>
                    <a:lnTo>
                      <a:pt x="1229" y="976"/>
                    </a:lnTo>
                    <a:close/>
                    <a:moveTo>
                      <a:pt x="1203" y="1138"/>
                    </a:moveTo>
                    <a:lnTo>
                      <a:pt x="1205" y="1138"/>
                    </a:lnTo>
                    <a:lnTo>
                      <a:pt x="1205" y="1140"/>
                    </a:lnTo>
                    <a:lnTo>
                      <a:pt x="1207" y="1140"/>
                    </a:lnTo>
                    <a:lnTo>
                      <a:pt x="1207" y="1141"/>
                    </a:lnTo>
                    <a:lnTo>
                      <a:pt x="1205" y="1141"/>
                    </a:lnTo>
                    <a:lnTo>
                      <a:pt x="1203" y="1140"/>
                    </a:lnTo>
                    <a:lnTo>
                      <a:pt x="1203" y="1138"/>
                    </a:lnTo>
                    <a:lnTo>
                      <a:pt x="1203" y="1136"/>
                    </a:lnTo>
                    <a:lnTo>
                      <a:pt x="1203" y="1138"/>
                    </a:lnTo>
                    <a:close/>
                    <a:moveTo>
                      <a:pt x="1200" y="1470"/>
                    </a:moveTo>
                    <a:lnTo>
                      <a:pt x="1200" y="1471"/>
                    </a:lnTo>
                    <a:lnTo>
                      <a:pt x="1202" y="1471"/>
                    </a:lnTo>
                    <a:lnTo>
                      <a:pt x="1203" y="1471"/>
                    </a:lnTo>
                    <a:lnTo>
                      <a:pt x="1203" y="1473"/>
                    </a:lnTo>
                    <a:lnTo>
                      <a:pt x="1203" y="1475"/>
                    </a:lnTo>
                    <a:lnTo>
                      <a:pt x="1202" y="1475"/>
                    </a:lnTo>
                    <a:lnTo>
                      <a:pt x="1202" y="1473"/>
                    </a:lnTo>
                    <a:lnTo>
                      <a:pt x="1200" y="1473"/>
                    </a:lnTo>
                    <a:lnTo>
                      <a:pt x="1200" y="1471"/>
                    </a:lnTo>
                    <a:lnTo>
                      <a:pt x="1198" y="1471"/>
                    </a:lnTo>
                    <a:lnTo>
                      <a:pt x="1198" y="1470"/>
                    </a:lnTo>
                    <a:lnTo>
                      <a:pt x="1200" y="1470"/>
                    </a:lnTo>
                    <a:close/>
                    <a:moveTo>
                      <a:pt x="1033" y="605"/>
                    </a:moveTo>
                    <a:lnTo>
                      <a:pt x="1033" y="607"/>
                    </a:lnTo>
                    <a:lnTo>
                      <a:pt x="1035" y="607"/>
                    </a:lnTo>
                    <a:lnTo>
                      <a:pt x="1035" y="609"/>
                    </a:lnTo>
                    <a:lnTo>
                      <a:pt x="1035" y="607"/>
                    </a:lnTo>
                    <a:lnTo>
                      <a:pt x="1033" y="607"/>
                    </a:lnTo>
                    <a:lnTo>
                      <a:pt x="1032" y="607"/>
                    </a:lnTo>
                    <a:lnTo>
                      <a:pt x="1030" y="607"/>
                    </a:lnTo>
                    <a:lnTo>
                      <a:pt x="1030" y="609"/>
                    </a:lnTo>
                    <a:lnTo>
                      <a:pt x="1030" y="607"/>
                    </a:lnTo>
                    <a:lnTo>
                      <a:pt x="1032" y="607"/>
                    </a:lnTo>
                    <a:lnTo>
                      <a:pt x="1032" y="605"/>
                    </a:lnTo>
                    <a:lnTo>
                      <a:pt x="1033" y="605"/>
                    </a:lnTo>
                    <a:close/>
                    <a:moveTo>
                      <a:pt x="1174" y="1427"/>
                    </a:moveTo>
                    <a:lnTo>
                      <a:pt x="1173" y="1427"/>
                    </a:lnTo>
                    <a:lnTo>
                      <a:pt x="1174" y="1429"/>
                    </a:lnTo>
                    <a:lnTo>
                      <a:pt x="1173" y="1430"/>
                    </a:lnTo>
                    <a:lnTo>
                      <a:pt x="1173" y="1432"/>
                    </a:lnTo>
                    <a:lnTo>
                      <a:pt x="1171" y="1432"/>
                    </a:lnTo>
                    <a:lnTo>
                      <a:pt x="1171" y="1430"/>
                    </a:lnTo>
                    <a:lnTo>
                      <a:pt x="1173" y="1429"/>
                    </a:lnTo>
                    <a:lnTo>
                      <a:pt x="1173" y="1427"/>
                    </a:lnTo>
                    <a:lnTo>
                      <a:pt x="1173" y="1425"/>
                    </a:lnTo>
                    <a:lnTo>
                      <a:pt x="1174" y="1427"/>
                    </a:lnTo>
                    <a:close/>
                    <a:moveTo>
                      <a:pt x="1193" y="1068"/>
                    </a:moveTo>
                    <a:lnTo>
                      <a:pt x="1193" y="1070"/>
                    </a:lnTo>
                    <a:lnTo>
                      <a:pt x="1193" y="1071"/>
                    </a:lnTo>
                    <a:lnTo>
                      <a:pt x="1191" y="1071"/>
                    </a:lnTo>
                    <a:lnTo>
                      <a:pt x="1190" y="1070"/>
                    </a:lnTo>
                    <a:lnTo>
                      <a:pt x="1190" y="1068"/>
                    </a:lnTo>
                    <a:lnTo>
                      <a:pt x="1191" y="1070"/>
                    </a:lnTo>
                    <a:lnTo>
                      <a:pt x="1191" y="1068"/>
                    </a:lnTo>
                    <a:lnTo>
                      <a:pt x="1193" y="1068"/>
                    </a:lnTo>
                    <a:close/>
                    <a:moveTo>
                      <a:pt x="1273" y="1611"/>
                    </a:moveTo>
                    <a:lnTo>
                      <a:pt x="1273" y="1612"/>
                    </a:lnTo>
                    <a:lnTo>
                      <a:pt x="1275" y="1612"/>
                    </a:lnTo>
                    <a:lnTo>
                      <a:pt x="1275" y="1614"/>
                    </a:lnTo>
                    <a:lnTo>
                      <a:pt x="1273" y="1614"/>
                    </a:lnTo>
                    <a:lnTo>
                      <a:pt x="1273" y="1616"/>
                    </a:lnTo>
                    <a:lnTo>
                      <a:pt x="1271" y="1614"/>
                    </a:lnTo>
                    <a:lnTo>
                      <a:pt x="1271" y="1616"/>
                    </a:lnTo>
                    <a:lnTo>
                      <a:pt x="1271" y="1614"/>
                    </a:lnTo>
                    <a:lnTo>
                      <a:pt x="1270" y="1614"/>
                    </a:lnTo>
                    <a:lnTo>
                      <a:pt x="1271" y="1614"/>
                    </a:lnTo>
                    <a:lnTo>
                      <a:pt x="1273" y="1614"/>
                    </a:lnTo>
                    <a:lnTo>
                      <a:pt x="1271" y="1614"/>
                    </a:lnTo>
                    <a:lnTo>
                      <a:pt x="1271" y="1612"/>
                    </a:lnTo>
                    <a:lnTo>
                      <a:pt x="1271" y="1611"/>
                    </a:lnTo>
                    <a:lnTo>
                      <a:pt x="1273" y="1611"/>
                    </a:lnTo>
                    <a:close/>
                    <a:moveTo>
                      <a:pt x="1162" y="1376"/>
                    </a:moveTo>
                    <a:lnTo>
                      <a:pt x="1161" y="1376"/>
                    </a:lnTo>
                    <a:lnTo>
                      <a:pt x="1162" y="1376"/>
                    </a:lnTo>
                    <a:lnTo>
                      <a:pt x="1162" y="1378"/>
                    </a:lnTo>
                    <a:lnTo>
                      <a:pt x="1162" y="1379"/>
                    </a:lnTo>
                    <a:lnTo>
                      <a:pt x="1161" y="1379"/>
                    </a:lnTo>
                    <a:lnTo>
                      <a:pt x="1159" y="1379"/>
                    </a:lnTo>
                    <a:lnTo>
                      <a:pt x="1159" y="1378"/>
                    </a:lnTo>
                    <a:lnTo>
                      <a:pt x="1161" y="1376"/>
                    </a:lnTo>
                    <a:lnTo>
                      <a:pt x="1161" y="1378"/>
                    </a:lnTo>
                    <a:lnTo>
                      <a:pt x="1161" y="1376"/>
                    </a:lnTo>
                    <a:lnTo>
                      <a:pt x="1162" y="1376"/>
                    </a:lnTo>
                    <a:close/>
                    <a:moveTo>
                      <a:pt x="1213" y="1119"/>
                    </a:moveTo>
                    <a:lnTo>
                      <a:pt x="1215" y="1121"/>
                    </a:lnTo>
                    <a:lnTo>
                      <a:pt x="1213" y="1122"/>
                    </a:lnTo>
                    <a:lnTo>
                      <a:pt x="1212" y="1121"/>
                    </a:lnTo>
                    <a:lnTo>
                      <a:pt x="1210" y="1121"/>
                    </a:lnTo>
                    <a:lnTo>
                      <a:pt x="1210" y="1122"/>
                    </a:lnTo>
                    <a:lnTo>
                      <a:pt x="1210" y="1121"/>
                    </a:lnTo>
                    <a:lnTo>
                      <a:pt x="1212" y="1119"/>
                    </a:lnTo>
                    <a:lnTo>
                      <a:pt x="1213" y="1119"/>
                    </a:lnTo>
                    <a:close/>
                    <a:moveTo>
                      <a:pt x="1178" y="1112"/>
                    </a:moveTo>
                    <a:lnTo>
                      <a:pt x="1179" y="1112"/>
                    </a:lnTo>
                    <a:lnTo>
                      <a:pt x="1179" y="1116"/>
                    </a:lnTo>
                    <a:lnTo>
                      <a:pt x="1178" y="1116"/>
                    </a:lnTo>
                    <a:lnTo>
                      <a:pt x="1178" y="1112"/>
                    </a:lnTo>
                    <a:close/>
                    <a:moveTo>
                      <a:pt x="1232" y="949"/>
                    </a:moveTo>
                    <a:lnTo>
                      <a:pt x="1234" y="951"/>
                    </a:lnTo>
                    <a:lnTo>
                      <a:pt x="1232" y="951"/>
                    </a:lnTo>
                    <a:lnTo>
                      <a:pt x="1234" y="951"/>
                    </a:lnTo>
                    <a:lnTo>
                      <a:pt x="1232" y="951"/>
                    </a:lnTo>
                    <a:lnTo>
                      <a:pt x="1230" y="951"/>
                    </a:lnTo>
                    <a:lnTo>
                      <a:pt x="1232" y="952"/>
                    </a:lnTo>
                    <a:lnTo>
                      <a:pt x="1230" y="952"/>
                    </a:lnTo>
                    <a:lnTo>
                      <a:pt x="1230" y="951"/>
                    </a:lnTo>
                    <a:lnTo>
                      <a:pt x="1230" y="949"/>
                    </a:lnTo>
                    <a:lnTo>
                      <a:pt x="1232" y="949"/>
                    </a:lnTo>
                    <a:close/>
                    <a:moveTo>
                      <a:pt x="1176" y="1481"/>
                    </a:moveTo>
                    <a:lnTo>
                      <a:pt x="1176" y="1483"/>
                    </a:lnTo>
                    <a:lnTo>
                      <a:pt x="1174" y="1483"/>
                    </a:lnTo>
                    <a:lnTo>
                      <a:pt x="1173" y="1483"/>
                    </a:lnTo>
                    <a:lnTo>
                      <a:pt x="1173" y="1481"/>
                    </a:lnTo>
                    <a:lnTo>
                      <a:pt x="1173" y="1483"/>
                    </a:lnTo>
                    <a:lnTo>
                      <a:pt x="1174" y="1481"/>
                    </a:lnTo>
                    <a:lnTo>
                      <a:pt x="1176" y="1481"/>
                    </a:lnTo>
                    <a:close/>
                    <a:moveTo>
                      <a:pt x="1185" y="1063"/>
                    </a:moveTo>
                    <a:lnTo>
                      <a:pt x="1186" y="1063"/>
                    </a:lnTo>
                    <a:lnTo>
                      <a:pt x="1188" y="1063"/>
                    </a:lnTo>
                    <a:lnTo>
                      <a:pt x="1188" y="1065"/>
                    </a:lnTo>
                    <a:lnTo>
                      <a:pt x="1186" y="1065"/>
                    </a:lnTo>
                    <a:lnTo>
                      <a:pt x="1185" y="1066"/>
                    </a:lnTo>
                    <a:lnTo>
                      <a:pt x="1185" y="1065"/>
                    </a:lnTo>
                    <a:lnTo>
                      <a:pt x="1186" y="1065"/>
                    </a:lnTo>
                    <a:lnTo>
                      <a:pt x="1185" y="1065"/>
                    </a:lnTo>
                    <a:lnTo>
                      <a:pt x="1185" y="1063"/>
                    </a:lnTo>
                    <a:close/>
                    <a:moveTo>
                      <a:pt x="1244" y="1582"/>
                    </a:moveTo>
                    <a:lnTo>
                      <a:pt x="1246" y="1582"/>
                    </a:lnTo>
                    <a:lnTo>
                      <a:pt x="1244" y="1583"/>
                    </a:lnTo>
                    <a:lnTo>
                      <a:pt x="1242" y="1583"/>
                    </a:lnTo>
                    <a:lnTo>
                      <a:pt x="1242" y="1582"/>
                    </a:lnTo>
                    <a:lnTo>
                      <a:pt x="1241" y="1582"/>
                    </a:lnTo>
                    <a:lnTo>
                      <a:pt x="1241" y="1580"/>
                    </a:lnTo>
                    <a:lnTo>
                      <a:pt x="1242" y="1582"/>
                    </a:lnTo>
                    <a:lnTo>
                      <a:pt x="1242" y="1580"/>
                    </a:lnTo>
                    <a:lnTo>
                      <a:pt x="1244" y="1582"/>
                    </a:lnTo>
                    <a:close/>
                    <a:moveTo>
                      <a:pt x="1212" y="1116"/>
                    </a:moveTo>
                    <a:lnTo>
                      <a:pt x="1213" y="1116"/>
                    </a:lnTo>
                    <a:lnTo>
                      <a:pt x="1213" y="1117"/>
                    </a:lnTo>
                    <a:lnTo>
                      <a:pt x="1213" y="1119"/>
                    </a:lnTo>
                    <a:lnTo>
                      <a:pt x="1212" y="1119"/>
                    </a:lnTo>
                    <a:lnTo>
                      <a:pt x="1210" y="1119"/>
                    </a:lnTo>
                    <a:lnTo>
                      <a:pt x="1210" y="1117"/>
                    </a:lnTo>
                    <a:lnTo>
                      <a:pt x="1212" y="1117"/>
                    </a:lnTo>
                    <a:lnTo>
                      <a:pt x="1212" y="1116"/>
                    </a:lnTo>
                    <a:close/>
                    <a:moveTo>
                      <a:pt x="1145" y="1264"/>
                    </a:moveTo>
                    <a:lnTo>
                      <a:pt x="1149" y="1264"/>
                    </a:lnTo>
                    <a:lnTo>
                      <a:pt x="1149" y="1269"/>
                    </a:lnTo>
                    <a:lnTo>
                      <a:pt x="1145" y="1269"/>
                    </a:lnTo>
                    <a:lnTo>
                      <a:pt x="1145" y="1264"/>
                    </a:lnTo>
                    <a:close/>
                    <a:moveTo>
                      <a:pt x="1176" y="1475"/>
                    </a:moveTo>
                    <a:lnTo>
                      <a:pt x="1178" y="1475"/>
                    </a:lnTo>
                    <a:lnTo>
                      <a:pt x="1178" y="1480"/>
                    </a:lnTo>
                    <a:lnTo>
                      <a:pt x="1176" y="1480"/>
                    </a:lnTo>
                    <a:lnTo>
                      <a:pt x="1176" y="1475"/>
                    </a:lnTo>
                    <a:close/>
                    <a:moveTo>
                      <a:pt x="1151" y="1289"/>
                    </a:moveTo>
                    <a:lnTo>
                      <a:pt x="1152" y="1289"/>
                    </a:lnTo>
                    <a:lnTo>
                      <a:pt x="1151" y="1291"/>
                    </a:lnTo>
                    <a:lnTo>
                      <a:pt x="1149" y="1291"/>
                    </a:lnTo>
                    <a:lnTo>
                      <a:pt x="1147" y="1293"/>
                    </a:lnTo>
                    <a:lnTo>
                      <a:pt x="1147" y="1291"/>
                    </a:lnTo>
                    <a:lnTo>
                      <a:pt x="1149" y="1291"/>
                    </a:lnTo>
                    <a:lnTo>
                      <a:pt x="1149" y="1289"/>
                    </a:lnTo>
                    <a:lnTo>
                      <a:pt x="1151" y="1289"/>
                    </a:lnTo>
                    <a:close/>
                    <a:moveTo>
                      <a:pt x="1178" y="1247"/>
                    </a:moveTo>
                    <a:lnTo>
                      <a:pt x="1179" y="1247"/>
                    </a:lnTo>
                    <a:lnTo>
                      <a:pt x="1178" y="1248"/>
                    </a:lnTo>
                    <a:lnTo>
                      <a:pt x="1176" y="1250"/>
                    </a:lnTo>
                    <a:lnTo>
                      <a:pt x="1176" y="1248"/>
                    </a:lnTo>
                    <a:lnTo>
                      <a:pt x="1176" y="1247"/>
                    </a:lnTo>
                    <a:lnTo>
                      <a:pt x="1178" y="1247"/>
                    </a:lnTo>
                    <a:close/>
                    <a:moveTo>
                      <a:pt x="1162" y="1301"/>
                    </a:moveTo>
                    <a:lnTo>
                      <a:pt x="1164" y="1301"/>
                    </a:lnTo>
                    <a:lnTo>
                      <a:pt x="1164" y="1303"/>
                    </a:lnTo>
                    <a:lnTo>
                      <a:pt x="1162" y="1303"/>
                    </a:lnTo>
                    <a:lnTo>
                      <a:pt x="1164" y="1303"/>
                    </a:lnTo>
                    <a:lnTo>
                      <a:pt x="1164" y="1305"/>
                    </a:lnTo>
                    <a:lnTo>
                      <a:pt x="1162" y="1303"/>
                    </a:lnTo>
                    <a:lnTo>
                      <a:pt x="1161" y="1303"/>
                    </a:lnTo>
                    <a:lnTo>
                      <a:pt x="1161" y="1301"/>
                    </a:lnTo>
                    <a:lnTo>
                      <a:pt x="1162" y="1301"/>
                    </a:lnTo>
                    <a:close/>
                    <a:moveTo>
                      <a:pt x="1423" y="1687"/>
                    </a:moveTo>
                    <a:lnTo>
                      <a:pt x="1424" y="1687"/>
                    </a:lnTo>
                    <a:lnTo>
                      <a:pt x="1424" y="1689"/>
                    </a:lnTo>
                    <a:lnTo>
                      <a:pt x="1426" y="1691"/>
                    </a:lnTo>
                    <a:lnTo>
                      <a:pt x="1424" y="1689"/>
                    </a:lnTo>
                    <a:lnTo>
                      <a:pt x="1424" y="1691"/>
                    </a:lnTo>
                    <a:lnTo>
                      <a:pt x="1423" y="1691"/>
                    </a:lnTo>
                    <a:lnTo>
                      <a:pt x="1423" y="1689"/>
                    </a:lnTo>
                    <a:lnTo>
                      <a:pt x="1421" y="1687"/>
                    </a:lnTo>
                    <a:lnTo>
                      <a:pt x="1421" y="1689"/>
                    </a:lnTo>
                    <a:lnTo>
                      <a:pt x="1421" y="1687"/>
                    </a:lnTo>
                    <a:lnTo>
                      <a:pt x="1423" y="1687"/>
                    </a:lnTo>
                    <a:close/>
                    <a:moveTo>
                      <a:pt x="1212" y="1061"/>
                    </a:moveTo>
                    <a:lnTo>
                      <a:pt x="1215" y="1061"/>
                    </a:lnTo>
                    <a:lnTo>
                      <a:pt x="1215" y="1065"/>
                    </a:lnTo>
                    <a:lnTo>
                      <a:pt x="1212" y="1065"/>
                    </a:lnTo>
                    <a:lnTo>
                      <a:pt x="1212" y="1061"/>
                    </a:lnTo>
                    <a:close/>
                    <a:moveTo>
                      <a:pt x="1331" y="1635"/>
                    </a:moveTo>
                    <a:lnTo>
                      <a:pt x="1331" y="1636"/>
                    </a:lnTo>
                    <a:lnTo>
                      <a:pt x="1329" y="1636"/>
                    </a:lnTo>
                    <a:lnTo>
                      <a:pt x="1329" y="1638"/>
                    </a:lnTo>
                    <a:lnTo>
                      <a:pt x="1327" y="1636"/>
                    </a:lnTo>
                    <a:lnTo>
                      <a:pt x="1329" y="1635"/>
                    </a:lnTo>
                    <a:lnTo>
                      <a:pt x="1331" y="1635"/>
                    </a:lnTo>
                    <a:lnTo>
                      <a:pt x="1332" y="1633"/>
                    </a:lnTo>
                    <a:lnTo>
                      <a:pt x="1331" y="1635"/>
                    </a:lnTo>
                    <a:close/>
                    <a:moveTo>
                      <a:pt x="1256" y="1587"/>
                    </a:moveTo>
                    <a:lnTo>
                      <a:pt x="1259" y="1587"/>
                    </a:lnTo>
                    <a:lnTo>
                      <a:pt x="1259" y="1592"/>
                    </a:lnTo>
                    <a:lnTo>
                      <a:pt x="1256" y="1592"/>
                    </a:lnTo>
                    <a:lnTo>
                      <a:pt x="1256" y="1587"/>
                    </a:lnTo>
                    <a:close/>
                    <a:moveTo>
                      <a:pt x="1208" y="1077"/>
                    </a:moveTo>
                    <a:lnTo>
                      <a:pt x="1212" y="1077"/>
                    </a:lnTo>
                    <a:lnTo>
                      <a:pt x="1212" y="1080"/>
                    </a:lnTo>
                    <a:lnTo>
                      <a:pt x="1208" y="1080"/>
                    </a:lnTo>
                    <a:lnTo>
                      <a:pt x="1208" y="1077"/>
                    </a:lnTo>
                    <a:close/>
                    <a:moveTo>
                      <a:pt x="1375" y="1663"/>
                    </a:moveTo>
                    <a:lnTo>
                      <a:pt x="1377" y="1663"/>
                    </a:lnTo>
                    <a:lnTo>
                      <a:pt x="1377" y="1665"/>
                    </a:lnTo>
                    <a:lnTo>
                      <a:pt x="1378" y="1665"/>
                    </a:lnTo>
                    <a:lnTo>
                      <a:pt x="1378" y="1667"/>
                    </a:lnTo>
                    <a:lnTo>
                      <a:pt x="1377" y="1667"/>
                    </a:lnTo>
                    <a:lnTo>
                      <a:pt x="1377" y="1665"/>
                    </a:lnTo>
                    <a:lnTo>
                      <a:pt x="1375" y="1665"/>
                    </a:lnTo>
                    <a:lnTo>
                      <a:pt x="1375" y="1663"/>
                    </a:lnTo>
                    <a:lnTo>
                      <a:pt x="1373" y="1663"/>
                    </a:lnTo>
                    <a:lnTo>
                      <a:pt x="1375" y="1663"/>
                    </a:lnTo>
                    <a:close/>
                    <a:moveTo>
                      <a:pt x="1185" y="1061"/>
                    </a:moveTo>
                    <a:lnTo>
                      <a:pt x="1186" y="1061"/>
                    </a:lnTo>
                    <a:lnTo>
                      <a:pt x="1188" y="1061"/>
                    </a:lnTo>
                    <a:lnTo>
                      <a:pt x="1190" y="1063"/>
                    </a:lnTo>
                    <a:lnTo>
                      <a:pt x="1188" y="1063"/>
                    </a:lnTo>
                    <a:lnTo>
                      <a:pt x="1186" y="1063"/>
                    </a:lnTo>
                    <a:lnTo>
                      <a:pt x="1185" y="1063"/>
                    </a:lnTo>
                    <a:lnTo>
                      <a:pt x="1185" y="1061"/>
                    </a:lnTo>
                    <a:close/>
                    <a:moveTo>
                      <a:pt x="1208" y="1080"/>
                    </a:moveTo>
                    <a:lnTo>
                      <a:pt x="1210" y="1082"/>
                    </a:lnTo>
                    <a:lnTo>
                      <a:pt x="1208" y="1082"/>
                    </a:lnTo>
                    <a:lnTo>
                      <a:pt x="1207" y="1082"/>
                    </a:lnTo>
                    <a:lnTo>
                      <a:pt x="1207" y="1080"/>
                    </a:lnTo>
                    <a:lnTo>
                      <a:pt x="1208" y="1082"/>
                    </a:lnTo>
                    <a:lnTo>
                      <a:pt x="1208" y="1080"/>
                    </a:lnTo>
                    <a:lnTo>
                      <a:pt x="1207" y="1080"/>
                    </a:lnTo>
                    <a:lnTo>
                      <a:pt x="1208" y="1080"/>
                    </a:lnTo>
                    <a:close/>
                    <a:moveTo>
                      <a:pt x="1193" y="1493"/>
                    </a:moveTo>
                    <a:lnTo>
                      <a:pt x="1193" y="1495"/>
                    </a:lnTo>
                    <a:lnTo>
                      <a:pt x="1195" y="1493"/>
                    </a:lnTo>
                    <a:lnTo>
                      <a:pt x="1195" y="1495"/>
                    </a:lnTo>
                    <a:lnTo>
                      <a:pt x="1193" y="1495"/>
                    </a:lnTo>
                    <a:lnTo>
                      <a:pt x="1193" y="1497"/>
                    </a:lnTo>
                    <a:lnTo>
                      <a:pt x="1191" y="1495"/>
                    </a:lnTo>
                    <a:lnTo>
                      <a:pt x="1191" y="1497"/>
                    </a:lnTo>
                    <a:lnTo>
                      <a:pt x="1191" y="1495"/>
                    </a:lnTo>
                    <a:lnTo>
                      <a:pt x="1190" y="1495"/>
                    </a:lnTo>
                    <a:lnTo>
                      <a:pt x="1191" y="1495"/>
                    </a:lnTo>
                    <a:lnTo>
                      <a:pt x="1191" y="1493"/>
                    </a:lnTo>
                    <a:lnTo>
                      <a:pt x="1191" y="1495"/>
                    </a:lnTo>
                    <a:lnTo>
                      <a:pt x="1191" y="1493"/>
                    </a:lnTo>
                    <a:lnTo>
                      <a:pt x="1191" y="1495"/>
                    </a:lnTo>
                    <a:lnTo>
                      <a:pt x="1193" y="1493"/>
                    </a:lnTo>
                    <a:close/>
                    <a:moveTo>
                      <a:pt x="1161" y="1247"/>
                    </a:moveTo>
                    <a:lnTo>
                      <a:pt x="1159" y="1247"/>
                    </a:lnTo>
                    <a:lnTo>
                      <a:pt x="1159" y="1248"/>
                    </a:lnTo>
                    <a:lnTo>
                      <a:pt x="1157" y="1248"/>
                    </a:lnTo>
                    <a:lnTo>
                      <a:pt x="1156" y="1250"/>
                    </a:lnTo>
                    <a:lnTo>
                      <a:pt x="1156" y="1248"/>
                    </a:lnTo>
                    <a:lnTo>
                      <a:pt x="1156" y="1250"/>
                    </a:lnTo>
                    <a:lnTo>
                      <a:pt x="1154" y="1250"/>
                    </a:lnTo>
                    <a:lnTo>
                      <a:pt x="1156" y="1250"/>
                    </a:lnTo>
                    <a:lnTo>
                      <a:pt x="1154" y="1250"/>
                    </a:lnTo>
                    <a:lnTo>
                      <a:pt x="1156" y="1250"/>
                    </a:lnTo>
                    <a:lnTo>
                      <a:pt x="1156" y="1248"/>
                    </a:lnTo>
                    <a:lnTo>
                      <a:pt x="1157" y="1247"/>
                    </a:lnTo>
                    <a:lnTo>
                      <a:pt x="1157" y="1248"/>
                    </a:lnTo>
                    <a:lnTo>
                      <a:pt x="1157" y="1247"/>
                    </a:lnTo>
                    <a:lnTo>
                      <a:pt x="1159" y="1247"/>
                    </a:lnTo>
                    <a:lnTo>
                      <a:pt x="1161" y="1245"/>
                    </a:lnTo>
                    <a:lnTo>
                      <a:pt x="1161" y="1247"/>
                    </a:lnTo>
                    <a:close/>
                    <a:moveTo>
                      <a:pt x="1195" y="1063"/>
                    </a:moveTo>
                    <a:lnTo>
                      <a:pt x="1193" y="1065"/>
                    </a:lnTo>
                    <a:lnTo>
                      <a:pt x="1191" y="1065"/>
                    </a:lnTo>
                    <a:lnTo>
                      <a:pt x="1191" y="1063"/>
                    </a:lnTo>
                    <a:lnTo>
                      <a:pt x="1193" y="1063"/>
                    </a:lnTo>
                    <a:lnTo>
                      <a:pt x="1195" y="1063"/>
                    </a:lnTo>
                    <a:close/>
                    <a:moveTo>
                      <a:pt x="1196" y="1466"/>
                    </a:moveTo>
                    <a:lnTo>
                      <a:pt x="1198" y="1466"/>
                    </a:lnTo>
                    <a:lnTo>
                      <a:pt x="1198" y="1468"/>
                    </a:lnTo>
                    <a:lnTo>
                      <a:pt x="1200" y="1468"/>
                    </a:lnTo>
                    <a:lnTo>
                      <a:pt x="1198" y="1468"/>
                    </a:lnTo>
                    <a:lnTo>
                      <a:pt x="1198" y="1470"/>
                    </a:lnTo>
                    <a:lnTo>
                      <a:pt x="1198" y="1468"/>
                    </a:lnTo>
                    <a:lnTo>
                      <a:pt x="1196" y="1470"/>
                    </a:lnTo>
                    <a:lnTo>
                      <a:pt x="1196" y="1468"/>
                    </a:lnTo>
                    <a:lnTo>
                      <a:pt x="1195" y="1466"/>
                    </a:lnTo>
                    <a:lnTo>
                      <a:pt x="1196" y="1466"/>
                    </a:lnTo>
                    <a:close/>
                    <a:moveTo>
                      <a:pt x="1213" y="1515"/>
                    </a:moveTo>
                    <a:lnTo>
                      <a:pt x="1212" y="1515"/>
                    </a:lnTo>
                    <a:lnTo>
                      <a:pt x="1212" y="1517"/>
                    </a:lnTo>
                    <a:lnTo>
                      <a:pt x="1210" y="1517"/>
                    </a:lnTo>
                    <a:lnTo>
                      <a:pt x="1212" y="1515"/>
                    </a:lnTo>
                    <a:lnTo>
                      <a:pt x="1210" y="1515"/>
                    </a:lnTo>
                    <a:lnTo>
                      <a:pt x="1210" y="1514"/>
                    </a:lnTo>
                    <a:lnTo>
                      <a:pt x="1212" y="1514"/>
                    </a:lnTo>
                    <a:lnTo>
                      <a:pt x="1210" y="1514"/>
                    </a:lnTo>
                    <a:lnTo>
                      <a:pt x="1212" y="1514"/>
                    </a:lnTo>
                    <a:lnTo>
                      <a:pt x="1213" y="1514"/>
                    </a:lnTo>
                    <a:lnTo>
                      <a:pt x="1213" y="1515"/>
                    </a:lnTo>
                    <a:close/>
                    <a:moveTo>
                      <a:pt x="1378" y="1660"/>
                    </a:moveTo>
                    <a:lnTo>
                      <a:pt x="1378" y="1662"/>
                    </a:lnTo>
                    <a:lnTo>
                      <a:pt x="1378" y="1660"/>
                    </a:lnTo>
                    <a:lnTo>
                      <a:pt x="1380" y="1662"/>
                    </a:lnTo>
                    <a:lnTo>
                      <a:pt x="1378" y="1662"/>
                    </a:lnTo>
                    <a:lnTo>
                      <a:pt x="1378" y="1663"/>
                    </a:lnTo>
                    <a:lnTo>
                      <a:pt x="1377" y="1663"/>
                    </a:lnTo>
                    <a:lnTo>
                      <a:pt x="1377" y="1662"/>
                    </a:lnTo>
                    <a:lnTo>
                      <a:pt x="1378" y="1662"/>
                    </a:lnTo>
                    <a:lnTo>
                      <a:pt x="1377" y="1662"/>
                    </a:lnTo>
                    <a:lnTo>
                      <a:pt x="1375" y="1662"/>
                    </a:lnTo>
                    <a:lnTo>
                      <a:pt x="1375" y="1660"/>
                    </a:lnTo>
                    <a:lnTo>
                      <a:pt x="1377" y="1660"/>
                    </a:lnTo>
                    <a:lnTo>
                      <a:pt x="1378" y="1660"/>
                    </a:lnTo>
                    <a:close/>
                    <a:moveTo>
                      <a:pt x="1263" y="1604"/>
                    </a:moveTo>
                    <a:lnTo>
                      <a:pt x="1263" y="1606"/>
                    </a:lnTo>
                    <a:lnTo>
                      <a:pt x="1264" y="1606"/>
                    </a:lnTo>
                    <a:lnTo>
                      <a:pt x="1264" y="1607"/>
                    </a:lnTo>
                    <a:lnTo>
                      <a:pt x="1266" y="1607"/>
                    </a:lnTo>
                    <a:lnTo>
                      <a:pt x="1264" y="1607"/>
                    </a:lnTo>
                    <a:lnTo>
                      <a:pt x="1263" y="1607"/>
                    </a:lnTo>
                    <a:lnTo>
                      <a:pt x="1261" y="1606"/>
                    </a:lnTo>
                    <a:lnTo>
                      <a:pt x="1263" y="1604"/>
                    </a:lnTo>
                    <a:close/>
                    <a:moveTo>
                      <a:pt x="1173" y="1359"/>
                    </a:moveTo>
                    <a:lnTo>
                      <a:pt x="1174" y="1359"/>
                    </a:lnTo>
                    <a:lnTo>
                      <a:pt x="1173" y="1361"/>
                    </a:lnTo>
                    <a:lnTo>
                      <a:pt x="1171" y="1361"/>
                    </a:lnTo>
                    <a:lnTo>
                      <a:pt x="1171" y="1359"/>
                    </a:lnTo>
                    <a:lnTo>
                      <a:pt x="1173" y="1359"/>
                    </a:lnTo>
                    <a:close/>
                    <a:moveTo>
                      <a:pt x="1363" y="1665"/>
                    </a:moveTo>
                    <a:lnTo>
                      <a:pt x="1366" y="1665"/>
                    </a:lnTo>
                    <a:lnTo>
                      <a:pt x="1366" y="1672"/>
                    </a:lnTo>
                    <a:lnTo>
                      <a:pt x="1363" y="1672"/>
                    </a:lnTo>
                    <a:lnTo>
                      <a:pt x="1363" y="1665"/>
                    </a:lnTo>
                    <a:close/>
                    <a:moveTo>
                      <a:pt x="1253" y="1590"/>
                    </a:moveTo>
                    <a:lnTo>
                      <a:pt x="1256" y="1590"/>
                    </a:lnTo>
                    <a:lnTo>
                      <a:pt x="1256" y="1594"/>
                    </a:lnTo>
                    <a:lnTo>
                      <a:pt x="1253" y="1594"/>
                    </a:lnTo>
                    <a:lnTo>
                      <a:pt x="1253" y="1590"/>
                    </a:lnTo>
                    <a:close/>
                    <a:moveTo>
                      <a:pt x="1217" y="971"/>
                    </a:moveTo>
                    <a:lnTo>
                      <a:pt x="1219" y="971"/>
                    </a:lnTo>
                    <a:lnTo>
                      <a:pt x="1219" y="973"/>
                    </a:lnTo>
                    <a:lnTo>
                      <a:pt x="1217" y="973"/>
                    </a:lnTo>
                    <a:lnTo>
                      <a:pt x="1217" y="971"/>
                    </a:lnTo>
                    <a:lnTo>
                      <a:pt x="1215" y="971"/>
                    </a:lnTo>
                    <a:lnTo>
                      <a:pt x="1217" y="969"/>
                    </a:lnTo>
                    <a:lnTo>
                      <a:pt x="1217" y="971"/>
                    </a:lnTo>
                    <a:close/>
                    <a:moveTo>
                      <a:pt x="1203" y="1473"/>
                    </a:moveTo>
                    <a:lnTo>
                      <a:pt x="1207" y="1473"/>
                    </a:lnTo>
                    <a:lnTo>
                      <a:pt x="1207" y="1478"/>
                    </a:lnTo>
                    <a:lnTo>
                      <a:pt x="1203" y="1478"/>
                    </a:lnTo>
                    <a:lnTo>
                      <a:pt x="1203" y="1473"/>
                    </a:lnTo>
                    <a:close/>
                    <a:moveTo>
                      <a:pt x="1232" y="1600"/>
                    </a:moveTo>
                    <a:lnTo>
                      <a:pt x="1230" y="1602"/>
                    </a:lnTo>
                    <a:lnTo>
                      <a:pt x="1229" y="1602"/>
                    </a:lnTo>
                    <a:lnTo>
                      <a:pt x="1227" y="1602"/>
                    </a:lnTo>
                    <a:lnTo>
                      <a:pt x="1227" y="1600"/>
                    </a:lnTo>
                    <a:lnTo>
                      <a:pt x="1229" y="1600"/>
                    </a:lnTo>
                    <a:lnTo>
                      <a:pt x="1230" y="1600"/>
                    </a:lnTo>
                    <a:lnTo>
                      <a:pt x="1232" y="1600"/>
                    </a:lnTo>
                    <a:close/>
                    <a:moveTo>
                      <a:pt x="1331" y="1633"/>
                    </a:moveTo>
                    <a:lnTo>
                      <a:pt x="1334" y="1633"/>
                    </a:lnTo>
                    <a:lnTo>
                      <a:pt x="1334" y="1636"/>
                    </a:lnTo>
                    <a:lnTo>
                      <a:pt x="1331" y="1636"/>
                    </a:lnTo>
                    <a:lnTo>
                      <a:pt x="1331" y="1633"/>
                    </a:lnTo>
                    <a:close/>
                    <a:moveTo>
                      <a:pt x="1263" y="1589"/>
                    </a:moveTo>
                    <a:lnTo>
                      <a:pt x="1264" y="1589"/>
                    </a:lnTo>
                    <a:lnTo>
                      <a:pt x="1264" y="1590"/>
                    </a:lnTo>
                    <a:lnTo>
                      <a:pt x="1263" y="1590"/>
                    </a:lnTo>
                    <a:lnTo>
                      <a:pt x="1264" y="1590"/>
                    </a:lnTo>
                    <a:lnTo>
                      <a:pt x="1263" y="1590"/>
                    </a:lnTo>
                    <a:lnTo>
                      <a:pt x="1261" y="1590"/>
                    </a:lnTo>
                    <a:lnTo>
                      <a:pt x="1261" y="1589"/>
                    </a:lnTo>
                    <a:lnTo>
                      <a:pt x="1263" y="1589"/>
                    </a:lnTo>
                    <a:close/>
                    <a:moveTo>
                      <a:pt x="1181" y="1464"/>
                    </a:moveTo>
                    <a:lnTo>
                      <a:pt x="1179" y="1466"/>
                    </a:lnTo>
                    <a:lnTo>
                      <a:pt x="1178" y="1466"/>
                    </a:lnTo>
                    <a:lnTo>
                      <a:pt x="1178" y="1468"/>
                    </a:lnTo>
                    <a:lnTo>
                      <a:pt x="1178" y="1466"/>
                    </a:lnTo>
                    <a:lnTo>
                      <a:pt x="1178" y="1464"/>
                    </a:lnTo>
                    <a:lnTo>
                      <a:pt x="1179" y="1464"/>
                    </a:lnTo>
                    <a:lnTo>
                      <a:pt x="1181" y="1463"/>
                    </a:lnTo>
                    <a:lnTo>
                      <a:pt x="1181" y="1464"/>
                    </a:lnTo>
                    <a:close/>
                    <a:moveTo>
                      <a:pt x="1327" y="1645"/>
                    </a:moveTo>
                    <a:lnTo>
                      <a:pt x="1329" y="1645"/>
                    </a:lnTo>
                    <a:lnTo>
                      <a:pt x="1329" y="1646"/>
                    </a:lnTo>
                    <a:lnTo>
                      <a:pt x="1331" y="1646"/>
                    </a:lnTo>
                    <a:lnTo>
                      <a:pt x="1329" y="1646"/>
                    </a:lnTo>
                    <a:lnTo>
                      <a:pt x="1329" y="1648"/>
                    </a:lnTo>
                    <a:lnTo>
                      <a:pt x="1331" y="1648"/>
                    </a:lnTo>
                    <a:lnTo>
                      <a:pt x="1332" y="1648"/>
                    </a:lnTo>
                    <a:lnTo>
                      <a:pt x="1331" y="1648"/>
                    </a:lnTo>
                    <a:lnTo>
                      <a:pt x="1329" y="1648"/>
                    </a:lnTo>
                    <a:lnTo>
                      <a:pt x="1327" y="1648"/>
                    </a:lnTo>
                    <a:lnTo>
                      <a:pt x="1329" y="1646"/>
                    </a:lnTo>
                    <a:lnTo>
                      <a:pt x="1327" y="1646"/>
                    </a:lnTo>
                    <a:lnTo>
                      <a:pt x="1327" y="1645"/>
                    </a:lnTo>
                    <a:close/>
                    <a:moveTo>
                      <a:pt x="1217" y="1500"/>
                    </a:moveTo>
                    <a:lnTo>
                      <a:pt x="1219" y="1500"/>
                    </a:lnTo>
                    <a:lnTo>
                      <a:pt x="1219" y="1502"/>
                    </a:lnTo>
                    <a:lnTo>
                      <a:pt x="1217" y="1502"/>
                    </a:lnTo>
                    <a:lnTo>
                      <a:pt x="1215" y="1502"/>
                    </a:lnTo>
                    <a:lnTo>
                      <a:pt x="1217" y="1502"/>
                    </a:lnTo>
                    <a:lnTo>
                      <a:pt x="1215" y="1502"/>
                    </a:lnTo>
                    <a:lnTo>
                      <a:pt x="1217" y="1500"/>
                    </a:lnTo>
                    <a:lnTo>
                      <a:pt x="1219" y="1498"/>
                    </a:lnTo>
                    <a:lnTo>
                      <a:pt x="1219" y="1500"/>
                    </a:lnTo>
                    <a:lnTo>
                      <a:pt x="1217" y="1500"/>
                    </a:lnTo>
                    <a:close/>
                    <a:moveTo>
                      <a:pt x="1171" y="1446"/>
                    </a:moveTo>
                    <a:lnTo>
                      <a:pt x="1174" y="1446"/>
                    </a:lnTo>
                    <a:lnTo>
                      <a:pt x="1174" y="1451"/>
                    </a:lnTo>
                    <a:lnTo>
                      <a:pt x="1171" y="1451"/>
                    </a:lnTo>
                    <a:lnTo>
                      <a:pt x="1171" y="1446"/>
                    </a:lnTo>
                    <a:close/>
                    <a:moveTo>
                      <a:pt x="1190" y="1119"/>
                    </a:moveTo>
                    <a:lnTo>
                      <a:pt x="1191" y="1119"/>
                    </a:lnTo>
                    <a:lnTo>
                      <a:pt x="1191" y="1122"/>
                    </a:lnTo>
                    <a:lnTo>
                      <a:pt x="1190" y="1122"/>
                    </a:lnTo>
                    <a:lnTo>
                      <a:pt x="1190" y="1119"/>
                    </a:lnTo>
                    <a:close/>
                    <a:moveTo>
                      <a:pt x="1222" y="1570"/>
                    </a:moveTo>
                    <a:lnTo>
                      <a:pt x="1224" y="1570"/>
                    </a:lnTo>
                    <a:lnTo>
                      <a:pt x="1224" y="1572"/>
                    </a:lnTo>
                    <a:lnTo>
                      <a:pt x="1222" y="1572"/>
                    </a:lnTo>
                    <a:lnTo>
                      <a:pt x="1222" y="1570"/>
                    </a:lnTo>
                    <a:lnTo>
                      <a:pt x="1220" y="1572"/>
                    </a:lnTo>
                    <a:lnTo>
                      <a:pt x="1220" y="1570"/>
                    </a:lnTo>
                    <a:lnTo>
                      <a:pt x="1222" y="1570"/>
                    </a:lnTo>
                    <a:close/>
                    <a:moveTo>
                      <a:pt x="1205" y="1019"/>
                    </a:moveTo>
                    <a:lnTo>
                      <a:pt x="1208" y="1019"/>
                    </a:lnTo>
                    <a:lnTo>
                      <a:pt x="1208" y="1022"/>
                    </a:lnTo>
                    <a:lnTo>
                      <a:pt x="1205" y="1022"/>
                    </a:lnTo>
                    <a:lnTo>
                      <a:pt x="1205" y="1019"/>
                    </a:lnTo>
                    <a:close/>
                    <a:moveTo>
                      <a:pt x="1164" y="1366"/>
                    </a:moveTo>
                    <a:lnTo>
                      <a:pt x="1168" y="1366"/>
                    </a:lnTo>
                    <a:lnTo>
                      <a:pt x="1168" y="1371"/>
                    </a:lnTo>
                    <a:lnTo>
                      <a:pt x="1164" y="1371"/>
                    </a:lnTo>
                    <a:lnTo>
                      <a:pt x="1164" y="1366"/>
                    </a:lnTo>
                    <a:close/>
                    <a:moveTo>
                      <a:pt x="1191" y="1498"/>
                    </a:moveTo>
                    <a:lnTo>
                      <a:pt x="1193" y="1498"/>
                    </a:lnTo>
                    <a:lnTo>
                      <a:pt x="1193" y="1500"/>
                    </a:lnTo>
                    <a:lnTo>
                      <a:pt x="1191" y="1502"/>
                    </a:lnTo>
                    <a:lnTo>
                      <a:pt x="1191" y="1500"/>
                    </a:lnTo>
                    <a:lnTo>
                      <a:pt x="1193" y="1500"/>
                    </a:lnTo>
                    <a:lnTo>
                      <a:pt x="1191" y="1500"/>
                    </a:lnTo>
                    <a:lnTo>
                      <a:pt x="1191" y="1498"/>
                    </a:lnTo>
                    <a:lnTo>
                      <a:pt x="1190" y="1498"/>
                    </a:lnTo>
                    <a:lnTo>
                      <a:pt x="1190" y="1497"/>
                    </a:lnTo>
                    <a:lnTo>
                      <a:pt x="1191" y="1497"/>
                    </a:lnTo>
                    <a:lnTo>
                      <a:pt x="1191" y="1498"/>
                    </a:lnTo>
                    <a:close/>
                    <a:moveTo>
                      <a:pt x="1186" y="1060"/>
                    </a:moveTo>
                    <a:lnTo>
                      <a:pt x="1188" y="1061"/>
                    </a:lnTo>
                    <a:lnTo>
                      <a:pt x="1188" y="1060"/>
                    </a:lnTo>
                    <a:lnTo>
                      <a:pt x="1190" y="1061"/>
                    </a:lnTo>
                    <a:lnTo>
                      <a:pt x="1191" y="1061"/>
                    </a:lnTo>
                    <a:lnTo>
                      <a:pt x="1190" y="1061"/>
                    </a:lnTo>
                    <a:lnTo>
                      <a:pt x="1188" y="1061"/>
                    </a:lnTo>
                    <a:lnTo>
                      <a:pt x="1186" y="1061"/>
                    </a:lnTo>
                    <a:lnTo>
                      <a:pt x="1185" y="1061"/>
                    </a:lnTo>
                    <a:lnTo>
                      <a:pt x="1185" y="1060"/>
                    </a:lnTo>
                    <a:lnTo>
                      <a:pt x="1186" y="1060"/>
                    </a:lnTo>
                    <a:close/>
                    <a:moveTo>
                      <a:pt x="1191" y="1449"/>
                    </a:moveTo>
                    <a:lnTo>
                      <a:pt x="1193" y="1451"/>
                    </a:lnTo>
                    <a:lnTo>
                      <a:pt x="1195" y="1451"/>
                    </a:lnTo>
                    <a:lnTo>
                      <a:pt x="1196" y="1453"/>
                    </a:lnTo>
                    <a:lnTo>
                      <a:pt x="1195" y="1453"/>
                    </a:lnTo>
                    <a:lnTo>
                      <a:pt x="1195" y="1454"/>
                    </a:lnTo>
                    <a:lnTo>
                      <a:pt x="1193" y="1453"/>
                    </a:lnTo>
                    <a:lnTo>
                      <a:pt x="1195" y="1453"/>
                    </a:lnTo>
                    <a:lnTo>
                      <a:pt x="1193" y="1453"/>
                    </a:lnTo>
                    <a:lnTo>
                      <a:pt x="1193" y="1451"/>
                    </a:lnTo>
                    <a:lnTo>
                      <a:pt x="1191" y="1451"/>
                    </a:lnTo>
                    <a:lnTo>
                      <a:pt x="1191" y="1449"/>
                    </a:lnTo>
                    <a:lnTo>
                      <a:pt x="1191" y="1451"/>
                    </a:lnTo>
                    <a:lnTo>
                      <a:pt x="1191" y="1449"/>
                    </a:lnTo>
                    <a:close/>
                    <a:moveTo>
                      <a:pt x="1215" y="993"/>
                    </a:moveTo>
                    <a:lnTo>
                      <a:pt x="1213" y="995"/>
                    </a:lnTo>
                    <a:lnTo>
                      <a:pt x="1213" y="993"/>
                    </a:lnTo>
                    <a:lnTo>
                      <a:pt x="1212" y="995"/>
                    </a:lnTo>
                    <a:lnTo>
                      <a:pt x="1212" y="993"/>
                    </a:lnTo>
                    <a:lnTo>
                      <a:pt x="1213" y="993"/>
                    </a:lnTo>
                    <a:lnTo>
                      <a:pt x="1213" y="992"/>
                    </a:lnTo>
                    <a:lnTo>
                      <a:pt x="1215" y="993"/>
                    </a:lnTo>
                    <a:close/>
                    <a:moveTo>
                      <a:pt x="1426" y="1677"/>
                    </a:moveTo>
                    <a:lnTo>
                      <a:pt x="1428" y="1677"/>
                    </a:lnTo>
                    <a:lnTo>
                      <a:pt x="1428" y="1679"/>
                    </a:lnTo>
                    <a:lnTo>
                      <a:pt x="1426" y="1679"/>
                    </a:lnTo>
                    <a:lnTo>
                      <a:pt x="1426" y="1680"/>
                    </a:lnTo>
                    <a:lnTo>
                      <a:pt x="1424" y="1680"/>
                    </a:lnTo>
                    <a:lnTo>
                      <a:pt x="1424" y="1679"/>
                    </a:lnTo>
                    <a:lnTo>
                      <a:pt x="1426" y="1677"/>
                    </a:lnTo>
                    <a:close/>
                    <a:moveTo>
                      <a:pt x="1213" y="747"/>
                    </a:moveTo>
                    <a:lnTo>
                      <a:pt x="1213" y="748"/>
                    </a:lnTo>
                    <a:lnTo>
                      <a:pt x="1213" y="747"/>
                    </a:lnTo>
                    <a:lnTo>
                      <a:pt x="1212" y="748"/>
                    </a:lnTo>
                    <a:lnTo>
                      <a:pt x="1212" y="747"/>
                    </a:lnTo>
                    <a:lnTo>
                      <a:pt x="1212" y="745"/>
                    </a:lnTo>
                    <a:lnTo>
                      <a:pt x="1212" y="747"/>
                    </a:lnTo>
                    <a:lnTo>
                      <a:pt x="1213" y="747"/>
                    </a:lnTo>
                    <a:close/>
                    <a:moveTo>
                      <a:pt x="1220" y="993"/>
                    </a:moveTo>
                    <a:lnTo>
                      <a:pt x="1222" y="993"/>
                    </a:lnTo>
                    <a:lnTo>
                      <a:pt x="1222" y="995"/>
                    </a:lnTo>
                    <a:lnTo>
                      <a:pt x="1220" y="995"/>
                    </a:lnTo>
                    <a:lnTo>
                      <a:pt x="1219" y="993"/>
                    </a:lnTo>
                    <a:lnTo>
                      <a:pt x="1220" y="993"/>
                    </a:lnTo>
                    <a:close/>
                    <a:moveTo>
                      <a:pt x="1168" y="1259"/>
                    </a:moveTo>
                    <a:lnTo>
                      <a:pt x="1171" y="1259"/>
                    </a:lnTo>
                    <a:lnTo>
                      <a:pt x="1171" y="1262"/>
                    </a:lnTo>
                    <a:lnTo>
                      <a:pt x="1168" y="1262"/>
                    </a:lnTo>
                    <a:lnTo>
                      <a:pt x="1168" y="1259"/>
                    </a:lnTo>
                    <a:close/>
                    <a:moveTo>
                      <a:pt x="1159" y="1252"/>
                    </a:moveTo>
                    <a:lnTo>
                      <a:pt x="1161" y="1253"/>
                    </a:lnTo>
                    <a:lnTo>
                      <a:pt x="1159" y="1253"/>
                    </a:lnTo>
                    <a:lnTo>
                      <a:pt x="1157" y="1255"/>
                    </a:lnTo>
                    <a:lnTo>
                      <a:pt x="1157" y="1253"/>
                    </a:lnTo>
                    <a:lnTo>
                      <a:pt x="1159" y="1253"/>
                    </a:lnTo>
                    <a:lnTo>
                      <a:pt x="1157" y="1253"/>
                    </a:lnTo>
                    <a:lnTo>
                      <a:pt x="1156" y="1253"/>
                    </a:lnTo>
                    <a:lnTo>
                      <a:pt x="1157" y="1253"/>
                    </a:lnTo>
                    <a:lnTo>
                      <a:pt x="1159" y="1252"/>
                    </a:lnTo>
                    <a:close/>
                    <a:moveTo>
                      <a:pt x="1290" y="1575"/>
                    </a:moveTo>
                    <a:lnTo>
                      <a:pt x="1292" y="1575"/>
                    </a:lnTo>
                    <a:lnTo>
                      <a:pt x="1292" y="1580"/>
                    </a:lnTo>
                    <a:lnTo>
                      <a:pt x="1290" y="1580"/>
                    </a:lnTo>
                    <a:lnTo>
                      <a:pt x="1290" y="1575"/>
                    </a:lnTo>
                    <a:close/>
                    <a:moveTo>
                      <a:pt x="1290" y="1629"/>
                    </a:moveTo>
                    <a:lnTo>
                      <a:pt x="1293" y="1629"/>
                    </a:lnTo>
                    <a:lnTo>
                      <a:pt x="1293" y="1635"/>
                    </a:lnTo>
                    <a:lnTo>
                      <a:pt x="1290" y="1635"/>
                    </a:lnTo>
                    <a:lnTo>
                      <a:pt x="1290" y="1629"/>
                    </a:lnTo>
                    <a:close/>
                    <a:moveTo>
                      <a:pt x="1161" y="1245"/>
                    </a:moveTo>
                    <a:lnTo>
                      <a:pt x="1159" y="1247"/>
                    </a:lnTo>
                    <a:lnTo>
                      <a:pt x="1157" y="1247"/>
                    </a:lnTo>
                    <a:lnTo>
                      <a:pt x="1157" y="1245"/>
                    </a:lnTo>
                    <a:lnTo>
                      <a:pt x="1159" y="1245"/>
                    </a:lnTo>
                    <a:lnTo>
                      <a:pt x="1157" y="1245"/>
                    </a:lnTo>
                    <a:lnTo>
                      <a:pt x="1159" y="1245"/>
                    </a:lnTo>
                    <a:lnTo>
                      <a:pt x="1161" y="1245"/>
                    </a:lnTo>
                    <a:lnTo>
                      <a:pt x="1161" y="1243"/>
                    </a:lnTo>
                    <a:lnTo>
                      <a:pt x="1161" y="1245"/>
                    </a:lnTo>
                    <a:close/>
                    <a:moveTo>
                      <a:pt x="1210" y="1017"/>
                    </a:moveTo>
                    <a:lnTo>
                      <a:pt x="1213" y="1017"/>
                    </a:lnTo>
                    <a:lnTo>
                      <a:pt x="1213" y="1020"/>
                    </a:lnTo>
                    <a:lnTo>
                      <a:pt x="1210" y="1020"/>
                    </a:lnTo>
                    <a:lnTo>
                      <a:pt x="1210" y="1017"/>
                    </a:lnTo>
                    <a:close/>
                    <a:moveTo>
                      <a:pt x="1200" y="1085"/>
                    </a:moveTo>
                    <a:lnTo>
                      <a:pt x="1200" y="1087"/>
                    </a:lnTo>
                    <a:lnTo>
                      <a:pt x="1198" y="1085"/>
                    </a:lnTo>
                    <a:lnTo>
                      <a:pt x="1196" y="1085"/>
                    </a:lnTo>
                    <a:lnTo>
                      <a:pt x="1198" y="1085"/>
                    </a:lnTo>
                    <a:lnTo>
                      <a:pt x="1200" y="1083"/>
                    </a:lnTo>
                    <a:lnTo>
                      <a:pt x="1200" y="1085"/>
                    </a:lnTo>
                    <a:close/>
                    <a:moveTo>
                      <a:pt x="1210" y="1253"/>
                    </a:moveTo>
                    <a:lnTo>
                      <a:pt x="1210" y="1255"/>
                    </a:lnTo>
                    <a:lnTo>
                      <a:pt x="1212" y="1255"/>
                    </a:lnTo>
                    <a:lnTo>
                      <a:pt x="1212" y="1257"/>
                    </a:lnTo>
                    <a:lnTo>
                      <a:pt x="1210" y="1255"/>
                    </a:lnTo>
                    <a:lnTo>
                      <a:pt x="1208" y="1255"/>
                    </a:lnTo>
                    <a:lnTo>
                      <a:pt x="1208" y="1253"/>
                    </a:lnTo>
                    <a:lnTo>
                      <a:pt x="1210" y="1253"/>
                    </a:lnTo>
                    <a:close/>
                    <a:moveTo>
                      <a:pt x="1156" y="1187"/>
                    </a:moveTo>
                    <a:lnTo>
                      <a:pt x="1157" y="1189"/>
                    </a:lnTo>
                    <a:lnTo>
                      <a:pt x="1159" y="1191"/>
                    </a:lnTo>
                    <a:lnTo>
                      <a:pt x="1157" y="1191"/>
                    </a:lnTo>
                    <a:lnTo>
                      <a:pt x="1156" y="1189"/>
                    </a:lnTo>
                    <a:lnTo>
                      <a:pt x="1154" y="1189"/>
                    </a:lnTo>
                    <a:lnTo>
                      <a:pt x="1156" y="1187"/>
                    </a:lnTo>
                    <a:close/>
                    <a:moveTo>
                      <a:pt x="1219" y="1119"/>
                    </a:moveTo>
                    <a:lnTo>
                      <a:pt x="1217" y="1121"/>
                    </a:lnTo>
                    <a:lnTo>
                      <a:pt x="1215" y="1121"/>
                    </a:lnTo>
                    <a:lnTo>
                      <a:pt x="1217" y="1119"/>
                    </a:lnTo>
                    <a:lnTo>
                      <a:pt x="1215" y="1119"/>
                    </a:lnTo>
                    <a:lnTo>
                      <a:pt x="1217" y="1119"/>
                    </a:lnTo>
                    <a:lnTo>
                      <a:pt x="1219" y="1119"/>
                    </a:lnTo>
                    <a:close/>
                    <a:moveTo>
                      <a:pt x="1210" y="1242"/>
                    </a:moveTo>
                    <a:lnTo>
                      <a:pt x="1210" y="1243"/>
                    </a:lnTo>
                    <a:lnTo>
                      <a:pt x="1208" y="1243"/>
                    </a:lnTo>
                    <a:lnTo>
                      <a:pt x="1207" y="1243"/>
                    </a:lnTo>
                    <a:lnTo>
                      <a:pt x="1207" y="1242"/>
                    </a:lnTo>
                    <a:lnTo>
                      <a:pt x="1208" y="1242"/>
                    </a:lnTo>
                    <a:lnTo>
                      <a:pt x="1210" y="1242"/>
                    </a:lnTo>
                    <a:close/>
                    <a:moveTo>
                      <a:pt x="1151" y="1291"/>
                    </a:moveTo>
                    <a:lnTo>
                      <a:pt x="1154" y="1291"/>
                    </a:lnTo>
                    <a:lnTo>
                      <a:pt x="1154" y="1294"/>
                    </a:lnTo>
                    <a:lnTo>
                      <a:pt x="1151" y="1294"/>
                    </a:lnTo>
                    <a:lnTo>
                      <a:pt x="1151" y="1291"/>
                    </a:lnTo>
                    <a:close/>
                    <a:moveTo>
                      <a:pt x="1164" y="1476"/>
                    </a:moveTo>
                    <a:lnTo>
                      <a:pt x="1168" y="1476"/>
                    </a:lnTo>
                    <a:lnTo>
                      <a:pt x="1168" y="1480"/>
                    </a:lnTo>
                    <a:lnTo>
                      <a:pt x="1164" y="1480"/>
                    </a:lnTo>
                    <a:lnTo>
                      <a:pt x="1164" y="1476"/>
                    </a:lnTo>
                    <a:close/>
                    <a:moveTo>
                      <a:pt x="1188" y="1475"/>
                    </a:moveTo>
                    <a:lnTo>
                      <a:pt x="1188" y="1476"/>
                    </a:lnTo>
                    <a:lnTo>
                      <a:pt x="1186" y="1476"/>
                    </a:lnTo>
                    <a:lnTo>
                      <a:pt x="1186" y="1475"/>
                    </a:lnTo>
                    <a:lnTo>
                      <a:pt x="1188" y="1475"/>
                    </a:lnTo>
                    <a:lnTo>
                      <a:pt x="1186" y="1475"/>
                    </a:lnTo>
                    <a:lnTo>
                      <a:pt x="1185" y="1475"/>
                    </a:lnTo>
                    <a:lnTo>
                      <a:pt x="1186" y="1475"/>
                    </a:lnTo>
                    <a:lnTo>
                      <a:pt x="1188" y="1473"/>
                    </a:lnTo>
                    <a:lnTo>
                      <a:pt x="1190" y="1475"/>
                    </a:lnTo>
                    <a:lnTo>
                      <a:pt x="1188" y="1475"/>
                    </a:lnTo>
                    <a:close/>
                    <a:moveTo>
                      <a:pt x="1186" y="1119"/>
                    </a:moveTo>
                    <a:lnTo>
                      <a:pt x="1188" y="1119"/>
                    </a:lnTo>
                    <a:lnTo>
                      <a:pt x="1188" y="1124"/>
                    </a:lnTo>
                    <a:lnTo>
                      <a:pt x="1186" y="1124"/>
                    </a:lnTo>
                    <a:lnTo>
                      <a:pt x="1186" y="1119"/>
                    </a:lnTo>
                    <a:close/>
                    <a:moveTo>
                      <a:pt x="1326" y="1648"/>
                    </a:moveTo>
                    <a:lnTo>
                      <a:pt x="1327" y="1650"/>
                    </a:lnTo>
                    <a:lnTo>
                      <a:pt x="1329" y="1650"/>
                    </a:lnTo>
                    <a:lnTo>
                      <a:pt x="1327" y="1650"/>
                    </a:lnTo>
                    <a:lnTo>
                      <a:pt x="1326" y="1650"/>
                    </a:lnTo>
                    <a:lnTo>
                      <a:pt x="1324" y="1650"/>
                    </a:lnTo>
                    <a:lnTo>
                      <a:pt x="1324" y="1648"/>
                    </a:lnTo>
                    <a:lnTo>
                      <a:pt x="1326" y="1648"/>
                    </a:lnTo>
                    <a:close/>
                    <a:moveTo>
                      <a:pt x="1205" y="1065"/>
                    </a:moveTo>
                    <a:lnTo>
                      <a:pt x="1208" y="1065"/>
                    </a:lnTo>
                    <a:lnTo>
                      <a:pt x="1208" y="1066"/>
                    </a:lnTo>
                    <a:lnTo>
                      <a:pt x="1205" y="1066"/>
                    </a:lnTo>
                    <a:lnTo>
                      <a:pt x="1205" y="1065"/>
                    </a:lnTo>
                    <a:close/>
                    <a:moveTo>
                      <a:pt x="1198" y="1068"/>
                    </a:moveTo>
                    <a:lnTo>
                      <a:pt x="1202" y="1068"/>
                    </a:lnTo>
                    <a:lnTo>
                      <a:pt x="1202" y="1071"/>
                    </a:lnTo>
                    <a:lnTo>
                      <a:pt x="1198" y="1071"/>
                    </a:lnTo>
                    <a:lnTo>
                      <a:pt x="1198" y="1068"/>
                    </a:lnTo>
                    <a:close/>
                    <a:moveTo>
                      <a:pt x="1210" y="1022"/>
                    </a:moveTo>
                    <a:lnTo>
                      <a:pt x="1210" y="1024"/>
                    </a:lnTo>
                    <a:lnTo>
                      <a:pt x="1210" y="1022"/>
                    </a:lnTo>
                    <a:lnTo>
                      <a:pt x="1208" y="1022"/>
                    </a:lnTo>
                    <a:lnTo>
                      <a:pt x="1208" y="1020"/>
                    </a:lnTo>
                    <a:lnTo>
                      <a:pt x="1208" y="1019"/>
                    </a:lnTo>
                    <a:lnTo>
                      <a:pt x="1210" y="1019"/>
                    </a:lnTo>
                    <a:lnTo>
                      <a:pt x="1210" y="1020"/>
                    </a:lnTo>
                    <a:lnTo>
                      <a:pt x="1210" y="1022"/>
                    </a:lnTo>
                    <a:close/>
                    <a:moveTo>
                      <a:pt x="1178" y="1383"/>
                    </a:moveTo>
                    <a:lnTo>
                      <a:pt x="1181" y="1383"/>
                    </a:lnTo>
                    <a:lnTo>
                      <a:pt x="1181" y="1386"/>
                    </a:lnTo>
                    <a:lnTo>
                      <a:pt x="1178" y="1386"/>
                    </a:lnTo>
                    <a:lnTo>
                      <a:pt x="1178" y="1383"/>
                    </a:lnTo>
                    <a:close/>
                    <a:moveTo>
                      <a:pt x="1205" y="1104"/>
                    </a:moveTo>
                    <a:lnTo>
                      <a:pt x="1208" y="1104"/>
                    </a:lnTo>
                    <a:lnTo>
                      <a:pt x="1208" y="1107"/>
                    </a:lnTo>
                    <a:lnTo>
                      <a:pt x="1205" y="1107"/>
                    </a:lnTo>
                    <a:lnTo>
                      <a:pt x="1205" y="1104"/>
                    </a:lnTo>
                    <a:close/>
                    <a:moveTo>
                      <a:pt x="1205" y="1053"/>
                    </a:moveTo>
                    <a:lnTo>
                      <a:pt x="1203" y="1054"/>
                    </a:lnTo>
                    <a:lnTo>
                      <a:pt x="1202" y="1054"/>
                    </a:lnTo>
                    <a:lnTo>
                      <a:pt x="1202" y="1053"/>
                    </a:lnTo>
                    <a:lnTo>
                      <a:pt x="1203" y="1053"/>
                    </a:lnTo>
                    <a:lnTo>
                      <a:pt x="1205" y="1053"/>
                    </a:lnTo>
                    <a:close/>
                    <a:moveTo>
                      <a:pt x="1191" y="1396"/>
                    </a:moveTo>
                    <a:lnTo>
                      <a:pt x="1193" y="1396"/>
                    </a:lnTo>
                    <a:lnTo>
                      <a:pt x="1193" y="1400"/>
                    </a:lnTo>
                    <a:lnTo>
                      <a:pt x="1191" y="1400"/>
                    </a:lnTo>
                    <a:lnTo>
                      <a:pt x="1191" y="1396"/>
                    </a:lnTo>
                    <a:close/>
                    <a:moveTo>
                      <a:pt x="1224" y="1556"/>
                    </a:moveTo>
                    <a:lnTo>
                      <a:pt x="1224" y="1558"/>
                    </a:lnTo>
                    <a:lnTo>
                      <a:pt x="1224" y="1556"/>
                    </a:lnTo>
                    <a:lnTo>
                      <a:pt x="1224" y="1558"/>
                    </a:lnTo>
                    <a:lnTo>
                      <a:pt x="1222" y="1558"/>
                    </a:lnTo>
                    <a:lnTo>
                      <a:pt x="1220" y="1558"/>
                    </a:lnTo>
                    <a:lnTo>
                      <a:pt x="1222" y="1558"/>
                    </a:lnTo>
                    <a:lnTo>
                      <a:pt x="1224" y="1556"/>
                    </a:lnTo>
                    <a:lnTo>
                      <a:pt x="1222" y="1558"/>
                    </a:lnTo>
                    <a:lnTo>
                      <a:pt x="1220" y="1558"/>
                    </a:lnTo>
                    <a:lnTo>
                      <a:pt x="1222" y="1556"/>
                    </a:lnTo>
                    <a:lnTo>
                      <a:pt x="1224" y="1556"/>
                    </a:lnTo>
                    <a:close/>
                    <a:moveTo>
                      <a:pt x="1356" y="1663"/>
                    </a:moveTo>
                    <a:lnTo>
                      <a:pt x="1358" y="1663"/>
                    </a:lnTo>
                    <a:lnTo>
                      <a:pt x="1356" y="1665"/>
                    </a:lnTo>
                    <a:lnTo>
                      <a:pt x="1355" y="1665"/>
                    </a:lnTo>
                    <a:lnTo>
                      <a:pt x="1356" y="1667"/>
                    </a:lnTo>
                    <a:lnTo>
                      <a:pt x="1355" y="1665"/>
                    </a:lnTo>
                    <a:lnTo>
                      <a:pt x="1355" y="1663"/>
                    </a:lnTo>
                    <a:lnTo>
                      <a:pt x="1356" y="1663"/>
                    </a:lnTo>
                    <a:close/>
                    <a:moveTo>
                      <a:pt x="1183" y="1464"/>
                    </a:moveTo>
                    <a:lnTo>
                      <a:pt x="1186" y="1464"/>
                    </a:lnTo>
                    <a:lnTo>
                      <a:pt x="1186" y="1468"/>
                    </a:lnTo>
                    <a:lnTo>
                      <a:pt x="1183" y="1468"/>
                    </a:lnTo>
                    <a:lnTo>
                      <a:pt x="1183" y="1464"/>
                    </a:lnTo>
                    <a:close/>
                    <a:moveTo>
                      <a:pt x="1268" y="1614"/>
                    </a:moveTo>
                    <a:lnTo>
                      <a:pt x="1271" y="1614"/>
                    </a:lnTo>
                    <a:lnTo>
                      <a:pt x="1271" y="1619"/>
                    </a:lnTo>
                    <a:lnTo>
                      <a:pt x="1268" y="1619"/>
                    </a:lnTo>
                    <a:lnTo>
                      <a:pt x="1268" y="1614"/>
                    </a:lnTo>
                    <a:close/>
                    <a:moveTo>
                      <a:pt x="1202" y="1544"/>
                    </a:moveTo>
                    <a:lnTo>
                      <a:pt x="1203" y="1544"/>
                    </a:lnTo>
                    <a:lnTo>
                      <a:pt x="1203" y="1546"/>
                    </a:lnTo>
                    <a:lnTo>
                      <a:pt x="1202" y="1546"/>
                    </a:lnTo>
                    <a:lnTo>
                      <a:pt x="1202" y="1544"/>
                    </a:lnTo>
                    <a:close/>
                    <a:moveTo>
                      <a:pt x="1176" y="1487"/>
                    </a:moveTo>
                    <a:lnTo>
                      <a:pt x="1179" y="1487"/>
                    </a:lnTo>
                    <a:lnTo>
                      <a:pt x="1179" y="1488"/>
                    </a:lnTo>
                    <a:lnTo>
                      <a:pt x="1176" y="1488"/>
                    </a:lnTo>
                    <a:lnTo>
                      <a:pt x="1176" y="1487"/>
                    </a:lnTo>
                    <a:close/>
                    <a:moveTo>
                      <a:pt x="1181" y="1328"/>
                    </a:moveTo>
                    <a:lnTo>
                      <a:pt x="1183" y="1328"/>
                    </a:lnTo>
                    <a:lnTo>
                      <a:pt x="1183" y="1333"/>
                    </a:lnTo>
                    <a:lnTo>
                      <a:pt x="1181" y="1333"/>
                    </a:lnTo>
                    <a:lnTo>
                      <a:pt x="1181" y="1328"/>
                    </a:lnTo>
                    <a:close/>
                    <a:moveTo>
                      <a:pt x="1200" y="1080"/>
                    </a:moveTo>
                    <a:lnTo>
                      <a:pt x="1202" y="1080"/>
                    </a:lnTo>
                    <a:lnTo>
                      <a:pt x="1202" y="1082"/>
                    </a:lnTo>
                    <a:lnTo>
                      <a:pt x="1200" y="1082"/>
                    </a:lnTo>
                    <a:lnTo>
                      <a:pt x="1200" y="1080"/>
                    </a:lnTo>
                    <a:close/>
                    <a:moveTo>
                      <a:pt x="1171" y="1252"/>
                    </a:moveTo>
                    <a:lnTo>
                      <a:pt x="1173" y="1252"/>
                    </a:lnTo>
                    <a:lnTo>
                      <a:pt x="1173" y="1257"/>
                    </a:lnTo>
                    <a:lnTo>
                      <a:pt x="1171" y="1257"/>
                    </a:lnTo>
                    <a:lnTo>
                      <a:pt x="1171" y="1252"/>
                    </a:lnTo>
                    <a:close/>
                    <a:moveTo>
                      <a:pt x="1217" y="1082"/>
                    </a:moveTo>
                    <a:lnTo>
                      <a:pt x="1220" y="1082"/>
                    </a:lnTo>
                    <a:lnTo>
                      <a:pt x="1220" y="1085"/>
                    </a:lnTo>
                    <a:lnTo>
                      <a:pt x="1217" y="1085"/>
                    </a:lnTo>
                    <a:lnTo>
                      <a:pt x="1217" y="1082"/>
                    </a:lnTo>
                    <a:close/>
                    <a:moveTo>
                      <a:pt x="1162" y="1407"/>
                    </a:moveTo>
                    <a:lnTo>
                      <a:pt x="1164" y="1407"/>
                    </a:lnTo>
                    <a:lnTo>
                      <a:pt x="1162" y="1408"/>
                    </a:lnTo>
                    <a:lnTo>
                      <a:pt x="1161" y="1408"/>
                    </a:lnTo>
                    <a:lnTo>
                      <a:pt x="1161" y="1407"/>
                    </a:lnTo>
                    <a:lnTo>
                      <a:pt x="1162" y="1407"/>
                    </a:lnTo>
                    <a:close/>
                    <a:moveTo>
                      <a:pt x="1149" y="1373"/>
                    </a:moveTo>
                    <a:lnTo>
                      <a:pt x="1152" y="1373"/>
                    </a:lnTo>
                    <a:lnTo>
                      <a:pt x="1152" y="1376"/>
                    </a:lnTo>
                    <a:lnTo>
                      <a:pt x="1149" y="1376"/>
                    </a:lnTo>
                    <a:lnTo>
                      <a:pt x="1149" y="1373"/>
                    </a:lnTo>
                    <a:close/>
                    <a:moveTo>
                      <a:pt x="1217" y="985"/>
                    </a:moveTo>
                    <a:lnTo>
                      <a:pt x="1220" y="985"/>
                    </a:lnTo>
                    <a:lnTo>
                      <a:pt x="1220" y="986"/>
                    </a:lnTo>
                    <a:lnTo>
                      <a:pt x="1217" y="986"/>
                    </a:lnTo>
                    <a:lnTo>
                      <a:pt x="1217" y="985"/>
                    </a:lnTo>
                    <a:close/>
                    <a:moveTo>
                      <a:pt x="1161" y="1356"/>
                    </a:moveTo>
                    <a:lnTo>
                      <a:pt x="1162" y="1356"/>
                    </a:lnTo>
                    <a:lnTo>
                      <a:pt x="1162" y="1361"/>
                    </a:lnTo>
                    <a:lnTo>
                      <a:pt x="1161" y="1361"/>
                    </a:lnTo>
                    <a:lnTo>
                      <a:pt x="1161" y="1356"/>
                    </a:lnTo>
                    <a:close/>
                    <a:moveTo>
                      <a:pt x="1154" y="1364"/>
                    </a:moveTo>
                    <a:lnTo>
                      <a:pt x="1157" y="1364"/>
                    </a:lnTo>
                    <a:lnTo>
                      <a:pt x="1157" y="1367"/>
                    </a:lnTo>
                    <a:lnTo>
                      <a:pt x="1154" y="1367"/>
                    </a:lnTo>
                    <a:lnTo>
                      <a:pt x="1154" y="1364"/>
                    </a:lnTo>
                    <a:close/>
                    <a:moveTo>
                      <a:pt x="1365" y="1650"/>
                    </a:moveTo>
                    <a:lnTo>
                      <a:pt x="1366" y="1650"/>
                    </a:lnTo>
                    <a:lnTo>
                      <a:pt x="1366" y="1653"/>
                    </a:lnTo>
                    <a:lnTo>
                      <a:pt x="1365" y="1653"/>
                    </a:lnTo>
                    <a:lnTo>
                      <a:pt x="1365" y="1650"/>
                    </a:lnTo>
                    <a:close/>
                    <a:moveTo>
                      <a:pt x="1246" y="1590"/>
                    </a:moveTo>
                    <a:lnTo>
                      <a:pt x="1246" y="1589"/>
                    </a:lnTo>
                    <a:lnTo>
                      <a:pt x="1247" y="1590"/>
                    </a:lnTo>
                    <a:lnTo>
                      <a:pt x="1249" y="1592"/>
                    </a:lnTo>
                    <a:lnTo>
                      <a:pt x="1247" y="1592"/>
                    </a:lnTo>
                    <a:lnTo>
                      <a:pt x="1247" y="1590"/>
                    </a:lnTo>
                    <a:lnTo>
                      <a:pt x="1246" y="1590"/>
                    </a:lnTo>
                    <a:lnTo>
                      <a:pt x="1244" y="1590"/>
                    </a:lnTo>
                    <a:lnTo>
                      <a:pt x="1246" y="1590"/>
                    </a:lnTo>
                    <a:lnTo>
                      <a:pt x="1246" y="1589"/>
                    </a:lnTo>
                    <a:lnTo>
                      <a:pt x="1246" y="1590"/>
                    </a:lnTo>
                    <a:close/>
                    <a:moveTo>
                      <a:pt x="1202" y="1090"/>
                    </a:moveTo>
                    <a:lnTo>
                      <a:pt x="1203" y="1092"/>
                    </a:lnTo>
                    <a:lnTo>
                      <a:pt x="1202" y="1092"/>
                    </a:lnTo>
                    <a:lnTo>
                      <a:pt x="1200" y="1092"/>
                    </a:lnTo>
                    <a:lnTo>
                      <a:pt x="1198" y="1092"/>
                    </a:lnTo>
                    <a:lnTo>
                      <a:pt x="1200" y="1092"/>
                    </a:lnTo>
                    <a:lnTo>
                      <a:pt x="1200" y="1090"/>
                    </a:lnTo>
                    <a:lnTo>
                      <a:pt x="1202" y="1090"/>
                    </a:lnTo>
                    <a:close/>
                    <a:moveTo>
                      <a:pt x="1185" y="1524"/>
                    </a:moveTo>
                    <a:lnTo>
                      <a:pt x="1186" y="1524"/>
                    </a:lnTo>
                    <a:lnTo>
                      <a:pt x="1186" y="1527"/>
                    </a:lnTo>
                    <a:lnTo>
                      <a:pt x="1185" y="1527"/>
                    </a:lnTo>
                    <a:lnTo>
                      <a:pt x="1185" y="1524"/>
                    </a:lnTo>
                    <a:close/>
                    <a:moveTo>
                      <a:pt x="1210" y="1058"/>
                    </a:moveTo>
                    <a:lnTo>
                      <a:pt x="1212" y="1058"/>
                    </a:lnTo>
                    <a:lnTo>
                      <a:pt x="1212" y="1061"/>
                    </a:lnTo>
                    <a:lnTo>
                      <a:pt x="1210" y="1061"/>
                    </a:lnTo>
                    <a:lnTo>
                      <a:pt x="1210" y="1058"/>
                    </a:lnTo>
                    <a:close/>
                    <a:moveTo>
                      <a:pt x="1246" y="964"/>
                    </a:moveTo>
                    <a:lnTo>
                      <a:pt x="1247" y="964"/>
                    </a:lnTo>
                    <a:lnTo>
                      <a:pt x="1247" y="968"/>
                    </a:lnTo>
                    <a:lnTo>
                      <a:pt x="1246" y="968"/>
                    </a:lnTo>
                    <a:lnTo>
                      <a:pt x="1246" y="964"/>
                    </a:lnTo>
                    <a:close/>
                    <a:moveTo>
                      <a:pt x="1186" y="1027"/>
                    </a:moveTo>
                    <a:lnTo>
                      <a:pt x="1188" y="1027"/>
                    </a:lnTo>
                    <a:lnTo>
                      <a:pt x="1188" y="1031"/>
                    </a:lnTo>
                    <a:lnTo>
                      <a:pt x="1186" y="1031"/>
                    </a:lnTo>
                    <a:lnTo>
                      <a:pt x="1186" y="1027"/>
                    </a:lnTo>
                    <a:close/>
                    <a:moveTo>
                      <a:pt x="1144" y="1322"/>
                    </a:moveTo>
                    <a:lnTo>
                      <a:pt x="1147" y="1322"/>
                    </a:lnTo>
                    <a:lnTo>
                      <a:pt x="1147" y="1325"/>
                    </a:lnTo>
                    <a:lnTo>
                      <a:pt x="1144" y="1325"/>
                    </a:lnTo>
                    <a:lnTo>
                      <a:pt x="1144" y="1322"/>
                    </a:lnTo>
                    <a:close/>
                    <a:moveTo>
                      <a:pt x="1202" y="1536"/>
                    </a:moveTo>
                    <a:lnTo>
                      <a:pt x="1202" y="1538"/>
                    </a:lnTo>
                    <a:lnTo>
                      <a:pt x="1202" y="1536"/>
                    </a:lnTo>
                    <a:lnTo>
                      <a:pt x="1203" y="1538"/>
                    </a:lnTo>
                    <a:lnTo>
                      <a:pt x="1202" y="1538"/>
                    </a:lnTo>
                    <a:lnTo>
                      <a:pt x="1200" y="1536"/>
                    </a:lnTo>
                    <a:lnTo>
                      <a:pt x="1202" y="1536"/>
                    </a:lnTo>
                    <a:close/>
                    <a:moveTo>
                      <a:pt x="1368" y="1663"/>
                    </a:moveTo>
                    <a:lnTo>
                      <a:pt x="1372" y="1663"/>
                    </a:lnTo>
                    <a:lnTo>
                      <a:pt x="1372" y="1665"/>
                    </a:lnTo>
                    <a:lnTo>
                      <a:pt x="1368" y="1665"/>
                    </a:lnTo>
                    <a:lnTo>
                      <a:pt x="1368" y="1663"/>
                    </a:lnTo>
                    <a:close/>
                    <a:moveTo>
                      <a:pt x="1307" y="1640"/>
                    </a:moveTo>
                    <a:lnTo>
                      <a:pt x="1310" y="1640"/>
                    </a:lnTo>
                    <a:lnTo>
                      <a:pt x="1310" y="1643"/>
                    </a:lnTo>
                    <a:lnTo>
                      <a:pt x="1307" y="1643"/>
                    </a:lnTo>
                    <a:lnTo>
                      <a:pt x="1307" y="1640"/>
                    </a:lnTo>
                    <a:close/>
                    <a:moveTo>
                      <a:pt x="1188" y="1058"/>
                    </a:moveTo>
                    <a:lnTo>
                      <a:pt x="1190" y="1058"/>
                    </a:lnTo>
                    <a:lnTo>
                      <a:pt x="1191" y="1058"/>
                    </a:lnTo>
                    <a:lnTo>
                      <a:pt x="1190" y="1060"/>
                    </a:lnTo>
                    <a:lnTo>
                      <a:pt x="1188" y="1060"/>
                    </a:lnTo>
                    <a:lnTo>
                      <a:pt x="1186" y="1058"/>
                    </a:lnTo>
                    <a:lnTo>
                      <a:pt x="1188" y="1058"/>
                    </a:lnTo>
                    <a:close/>
                    <a:moveTo>
                      <a:pt x="1178" y="1485"/>
                    </a:moveTo>
                    <a:lnTo>
                      <a:pt x="1181" y="1485"/>
                    </a:lnTo>
                    <a:lnTo>
                      <a:pt x="1181" y="1487"/>
                    </a:lnTo>
                    <a:lnTo>
                      <a:pt x="1178" y="1487"/>
                    </a:lnTo>
                    <a:lnTo>
                      <a:pt x="1178" y="1485"/>
                    </a:lnTo>
                    <a:close/>
                    <a:moveTo>
                      <a:pt x="1210" y="1551"/>
                    </a:moveTo>
                    <a:lnTo>
                      <a:pt x="1213" y="1551"/>
                    </a:lnTo>
                    <a:lnTo>
                      <a:pt x="1213" y="1555"/>
                    </a:lnTo>
                    <a:lnTo>
                      <a:pt x="1210" y="1555"/>
                    </a:lnTo>
                    <a:lnTo>
                      <a:pt x="1210" y="1551"/>
                    </a:lnTo>
                    <a:close/>
                    <a:moveTo>
                      <a:pt x="1360" y="1667"/>
                    </a:moveTo>
                    <a:lnTo>
                      <a:pt x="1361" y="1667"/>
                    </a:lnTo>
                    <a:lnTo>
                      <a:pt x="1361" y="1670"/>
                    </a:lnTo>
                    <a:lnTo>
                      <a:pt x="1360" y="1670"/>
                    </a:lnTo>
                    <a:lnTo>
                      <a:pt x="1360" y="1667"/>
                    </a:lnTo>
                    <a:close/>
                    <a:moveTo>
                      <a:pt x="1210" y="1242"/>
                    </a:moveTo>
                    <a:lnTo>
                      <a:pt x="1213" y="1242"/>
                    </a:lnTo>
                    <a:lnTo>
                      <a:pt x="1213" y="1245"/>
                    </a:lnTo>
                    <a:lnTo>
                      <a:pt x="1210" y="1245"/>
                    </a:lnTo>
                    <a:lnTo>
                      <a:pt x="1210" y="1242"/>
                    </a:lnTo>
                    <a:close/>
                    <a:moveTo>
                      <a:pt x="1200" y="1541"/>
                    </a:moveTo>
                    <a:lnTo>
                      <a:pt x="1203" y="1541"/>
                    </a:lnTo>
                    <a:lnTo>
                      <a:pt x="1203" y="1543"/>
                    </a:lnTo>
                    <a:lnTo>
                      <a:pt x="1200" y="1543"/>
                    </a:lnTo>
                    <a:lnTo>
                      <a:pt x="1200" y="1541"/>
                    </a:lnTo>
                    <a:close/>
                    <a:moveTo>
                      <a:pt x="1151" y="1330"/>
                    </a:moveTo>
                    <a:lnTo>
                      <a:pt x="1154" y="1330"/>
                    </a:lnTo>
                    <a:lnTo>
                      <a:pt x="1154" y="1333"/>
                    </a:lnTo>
                    <a:lnTo>
                      <a:pt x="1151" y="1333"/>
                    </a:lnTo>
                    <a:lnTo>
                      <a:pt x="1151" y="1330"/>
                    </a:lnTo>
                    <a:close/>
                    <a:moveTo>
                      <a:pt x="1205" y="1080"/>
                    </a:moveTo>
                    <a:lnTo>
                      <a:pt x="1207" y="1080"/>
                    </a:lnTo>
                    <a:lnTo>
                      <a:pt x="1207" y="1082"/>
                    </a:lnTo>
                    <a:lnTo>
                      <a:pt x="1205" y="1082"/>
                    </a:lnTo>
                    <a:lnTo>
                      <a:pt x="1205" y="1080"/>
                    </a:lnTo>
                    <a:close/>
                    <a:moveTo>
                      <a:pt x="1225" y="1580"/>
                    </a:moveTo>
                    <a:lnTo>
                      <a:pt x="1227" y="1580"/>
                    </a:lnTo>
                    <a:lnTo>
                      <a:pt x="1227" y="1583"/>
                    </a:lnTo>
                    <a:lnTo>
                      <a:pt x="1225" y="1583"/>
                    </a:lnTo>
                    <a:lnTo>
                      <a:pt x="1225" y="1580"/>
                    </a:lnTo>
                    <a:close/>
                    <a:moveTo>
                      <a:pt x="1195" y="1146"/>
                    </a:moveTo>
                    <a:lnTo>
                      <a:pt x="1195" y="1148"/>
                    </a:lnTo>
                    <a:lnTo>
                      <a:pt x="1193" y="1148"/>
                    </a:lnTo>
                    <a:lnTo>
                      <a:pt x="1191" y="1146"/>
                    </a:lnTo>
                    <a:lnTo>
                      <a:pt x="1193" y="1146"/>
                    </a:lnTo>
                    <a:lnTo>
                      <a:pt x="1195" y="1146"/>
                    </a:lnTo>
                    <a:close/>
                    <a:moveTo>
                      <a:pt x="1290" y="1616"/>
                    </a:moveTo>
                    <a:lnTo>
                      <a:pt x="1288" y="1618"/>
                    </a:lnTo>
                    <a:lnTo>
                      <a:pt x="1287" y="1616"/>
                    </a:lnTo>
                    <a:lnTo>
                      <a:pt x="1288" y="1616"/>
                    </a:lnTo>
                    <a:lnTo>
                      <a:pt x="1290" y="1616"/>
                    </a:lnTo>
                    <a:lnTo>
                      <a:pt x="1288" y="1616"/>
                    </a:lnTo>
                    <a:lnTo>
                      <a:pt x="1290" y="1616"/>
                    </a:lnTo>
                    <a:close/>
                    <a:moveTo>
                      <a:pt x="1171" y="1366"/>
                    </a:moveTo>
                    <a:lnTo>
                      <a:pt x="1174" y="1366"/>
                    </a:lnTo>
                    <a:lnTo>
                      <a:pt x="1174" y="1369"/>
                    </a:lnTo>
                    <a:lnTo>
                      <a:pt x="1171" y="1369"/>
                    </a:lnTo>
                    <a:lnTo>
                      <a:pt x="1171" y="1366"/>
                    </a:lnTo>
                    <a:close/>
                    <a:moveTo>
                      <a:pt x="1176" y="1447"/>
                    </a:moveTo>
                    <a:lnTo>
                      <a:pt x="1178" y="1447"/>
                    </a:lnTo>
                    <a:lnTo>
                      <a:pt x="1178" y="1451"/>
                    </a:lnTo>
                    <a:lnTo>
                      <a:pt x="1176" y="1451"/>
                    </a:lnTo>
                    <a:lnTo>
                      <a:pt x="1176" y="1447"/>
                    </a:lnTo>
                    <a:close/>
                    <a:moveTo>
                      <a:pt x="1198" y="1157"/>
                    </a:moveTo>
                    <a:lnTo>
                      <a:pt x="1200" y="1157"/>
                    </a:lnTo>
                    <a:lnTo>
                      <a:pt x="1200" y="1158"/>
                    </a:lnTo>
                    <a:lnTo>
                      <a:pt x="1198" y="1158"/>
                    </a:lnTo>
                    <a:lnTo>
                      <a:pt x="1198" y="1157"/>
                    </a:lnTo>
                    <a:close/>
                    <a:moveTo>
                      <a:pt x="1312" y="1633"/>
                    </a:moveTo>
                    <a:lnTo>
                      <a:pt x="1314" y="1633"/>
                    </a:lnTo>
                    <a:lnTo>
                      <a:pt x="1314" y="1635"/>
                    </a:lnTo>
                    <a:lnTo>
                      <a:pt x="1314" y="1633"/>
                    </a:lnTo>
                    <a:lnTo>
                      <a:pt x="1312" y="1633"/>
                    </a:lnTo>
                    <a:lnTo>
                      <a:pt x="1314" y="1635"/>
                    </a:lnTo>
                    <a:lnTo>
                      <a:pt x="1312" y="1635"/>
                    </a:lnTo>
                    <a:lnTo>
                      <a:pt x="1310" y="1635"/>
                    </a:lnTo>
                    <a:lnTo>
                      <a:pt x="1310" y="1633"/>
                    </a:lnTo>
                    <a:lnTo>
                      <a:pt x="1312" y="1633"/>
                    </a:lnTo>
                    <a:close/>
                    <a:moveTo>
                      <a:pt x="1186" y="1279"/>
                    </a:moveTo>
                    <a:lnTo>
                      <a:pt x="1185" y="1279"/>
                    </a:lnTo>
                    <a:lnTo>
                      <a:pt x="1185" y="1281"/>
                    </a:lnTo>
                    <a:lnTo>
                      <a:pt x="1183" y="1281"/>
                    </a:lnTo>
                    <a:lnTo>
                      <a:pt x="1183" y="1279"/>
                    </a:lnTo>
                    <a:lnTo>
                      <a:pt x="1185" y="1279"/>
                    </a:lnTo>
                    <a:lnTo>
                      <a:pt x="1183" y="1279"/>
                    </a:lnTo>
                    <a:lnTo>
                      <a:pt x="1185" y="1279"/>
                    </a:lnTo>
                    <a:lnTo>
                      <a:pt x="1186" y="1277"/>
                    </a:lnTo>
                    <a:lnTo>
                      <a:pt x="1188" y="1277"/>
                    </a:lnTo>
                    <a:lnTo>
                      <a:pt x="1186" y="1279"/>
                    </a:lnTo>
                    <a:close/>
                    <a:moveTo>
                      <a:pt x="1156" y="1185"/>
                    </a:moveTo>
                    <a:lnTo>
                      <a:pt x="1157" y="1185"/>
                    </a:lnTo>
                    <a:lnTo>
                      <a:pt x="1157" y="1189"/>
                    </a:lnTo>
                    <a:lnTo>
                      <a:pt x="1156" y="1189"/>
                    </a:lnTo>
                    <a:lnTo>
                      <a:pt x="1156" y="1185"/>
                    </a:lnTo>
                    <a:close/>
                    <a:moveTo>
                      <a:pt x="1183" y="1476"/>
                    </a:moveTo>
                    <a:lnTo>
                      <a:pt x="1186" y="1476"/>
                    </a:lnTo>
                    <a:lnTo>
                      <a:pt x="1186" y="1478"/>
                    </a:lnTo>
                    <a:lnTo>
                      <a:pt x="1183" y="1478"/>
                    </a:lnTo>
                    <a:lnTo>
                      <a:pt x="1183" y="1476"/>
                    </a:lnTo>
                    <a:close/>
                    <a:moveTo>
                      <a:pt x="1217" y="1500"/>
                    </a:moveTo>
                    <a:lnTo>
                      <a:pt x="1219" y="1500"/>
                    </a:lnTo>
                    <a:lnTo>
                      <a:pt x="1219" y="1504"/>
                    </a:lnTo>
                    <a:lnTo>
                      <a:pt x="1217" y="1504"/>
                    </a:lnTo>
                    <a:lnTo>
                      <a:pt x="1217" y="1500"/>
                    </a:lnTo>
                    <a:close/>
                    <a:moveTo>
                      <a:pt x="1213" y="1556"/>
                    </a:moveTo>
                    <a:lnTo>
                      <a:pt x="1215" y="1556"/>
                    </a:lnTo>
                    <a:lnTo>
                      <a:pt x="1215" y="1558"/>
                    </a:lnTo>
                    <a:lnTo>
                      <a:pt x="1213" y="1558"/>
                    </a:lnTo>
                    <a:lnTo>
                      <a:pt x="1213" y="1556"/>
                    </a:lnTo>
                    <a:close/>
                    <a:moveTo>
                      <a:pt x="1315" y="1633"/>
                    </a:moveTo>
                    <a:lnTo>
                      <a:pt x="1319" y="1633"/>
                    </a:lnTo>
                    <a:lnTo>
                      <a:pt x="1319" y="1636"/>
                    </a:lnTo>
                    <a:lnTo>
                      <a:pt x="1315" y="1636"/>
                    </a:lnTo>
                    <a:lnTo>
                      <a:pt x="1315" y="1633"/>
                    </a:lnTo>
                    <a:close/>
                    <a:moveTo>
                      <a:pt x="1229" y="1585"/>
                    </a:moveTo>
                    <a:lnTo>
                      <a:pt x="1232" y="1585"/>
                    </a:lnTo>
                    <a:lnTo>
                      <a:pt x="1232" y="1587"/>
                    </a:lnTo>
                    <a:lnTo>
                      <a:pt x="1229" y="1587"/>
                    </a:lnTo>
                    <a:lnTo>
                      <a:pt x="1229" y="1585"/>
                    </a:lnTo>
                    <a:close/>
                    <a:moveTo>
                      <a:pt x="1378" y="1662"/>
                    </a:moveTo>
                    <a:lnTo>
                      <a:pt x="1382" y="1662"/>
                    </a:lnTo>
                    <a:lnTo>
                      <a:pt x="1382" y="1667"/>
                    </a:lnTo>
                    <a:lnTo>
                      <a:pt x="1378" y="1667"/>
                    </a:lnTo>
                    <a:lnTo>
                      <a:pt x="1378" y="1662"/>
                    </a:lnTo>
                    <a:close/>
                    <a:moveTo>
                      <a:pt x="1227" y="992"/>
                    </a:moveTo>
                    <a:lnTo>
                      <a:pt x="1230" y="992"/>
                    </a:lnTo>
                    <a:lnTo>
                      <a:pt x="1230" y="995"/>
                    </a:lnTo>
                    <a:lnTo>
                      <a:pt x="1227" y="995"/>
                    </a:lnTo>
                    <a:lnTo>
                      <a:pt x="1227" y="992"/>
                    </a:lnTo>
                    <a:close/>
                    <a:moveTo>
                      <a:pt x="1166" y="1432"/>
                    </a:moveTo>
                    <a:lnTo>
                      <a:pt x="1168" y="1432"/>
                    </a:lnTo>
                    <a:lnTo>
                      <a:pt x="1168" y="1435"/>
                    </a:lnTo>
                    <a:lnTo>
                      <a:pt x="1166" y="1435"/>
                    </a:lnTo>
                    <a:lnTo>
                      <a:pt x="1166" y="1432"/>
                    </a:lnTo>
                    <a:close/>
                    <a:moveTo>
                      <a:pt x="1241" y="1587"/>
                    </a:moveTo>
                    <a:lnTo>
                      <a:pt x="1242" y="1587"/>
                    </a:lnTo>
                    <a:lnTo>
                      <a:pt x="1242" y="1590"/>
                    </a:lnTo>
                    <a:lnTo>
                      <a:pt x="1241" y="1590"/>
                    </a:lnTo>
                    <a:lnTo>
                      <a:pt x="1241" y="1587"/>
                    </a:lnTo>
                    <a:close/>
                    <a:moveTo>
                      <a:pt x="1179" y="1136"/>
                    </a:moveTo>
                    <a:lnTo>
                      <a:pt x="1181" y="1136"/>
                    </a:lnTo>
                    <a:lnTo>
                      <a:pt x="1181" y="1140"/>
                    </a:lnTo>
                    <a:lnTo>
                      <a:pt x="1179" y="1140"/>
                    </a:lnTo>
                    <a:lnTo>
                      <a:pt x="1179" y="1136"/>
                    </a:lnTo>
                    <a:close/>
                    <a:moveTo>
                      <a:pt x="1220" y="978"/>
                    </a:moveTo>
                    <a:lnTo>
                      <a:pt x="1222" y="978"/>
                    </a:lnTo>
                    <a:lnTo>
                      <a:pt x="1222" y="980"/>
                    </a:lnTo>
                    <a:lnTo>
                      <a:pt x="1220" y="980"/>
                    </a:lnTo>
                    <a:lnTo>
                      <a:pt x="1220" y="978"/>
                    </a:lnTo>
                    <a:close/>
                    <a:moveTo>
                      <a:pt x="1215" y="1505"/>
                    </a:moveTo>
                    <a:lnTo>
                      <a:pt x="1217" y="1505"/>
                    </a:lnTo>
                    <a:lnTo>
                      <a:pt x="1215" y="1507"/>
                    </a:lnTo>
                    <a:lnTo>
                      <a:pt x="1215" y="1505"/>
                    </a:lnTo>
                    <a:lnTo>
                      <a:pt x="1215" y="1507"/>
                    </a:lnTo>
                    <a:lnTo>
                      <a:pt x="1213" y="1505"/>
                    </a:lnTo>
                    <a:lnTo>
                      <a:pt x="1212" y="1505"/>
                    </a:lnTo>
                    <a:lnTo>
                      <a:pt x="1213" y="1505"/>
                    </a:lnTo>
                    <a:lnTo>
                      <a:pt x="1215" y="1505"/>
                    </a:lnTo>
                    <a:lnTo>
                      <a:pt x="1215" y="1507"/>
                    </a:lnTo>
                    <a:lnTo>
                      <a:pt x="1215" y="1505"/>
                    </a:lnTo>
                    <a:close/>
                    <a:moveTo>
                      <a:pt x="1389" y="1633"/>
                    </a:moveTo>
                    <a:lnTo>
                      <a:pt x="1392" y="1633"/>
                    </a:lnTo>
                    <a:lnTo>
                      <a:pt x="1392" y="1635"/>
                    </a:lnTo>
                    <a:lnTo>
                      <a:pt x="1389" y="1635"/>
                    </a:lnTo>
                    <a:lnTo>
                      <a:pt x="1389" y="1633"/>
                    </a:lnTo>
                    <a:close/>
                    <a:moveTo>
                      <a:pt x="1275" y="1597"/>
                    </a:moveTo>
                    <a:lnTo>
                      <a:pt x="1276" y="1597"/>
                    </a:lnTo>
                    <a:lnTo>
                      <a:pt x="1276" y="1600"/>
                    </a:lnTo>
                    <a:lnTo>
                      <a:pt x="1275" y="1600"/>
                    </a:lnTo>
                    <a:lnTo>
                      <a:pt x="1275" y="1597"/>
                    </a:lnTo>
                    <a:close/>
                    <a:moveTo>
                      <a:pt x="1399" y="1645"/>
                    </a:moveTo>
                    <a:lnTo>
                      <a:pt x="1402" y="1645"/>
                    </a:lnTo>
                    <a:lnTo>
                      <a:pt x="1402" y="1648"/>
                    </a:lnTo>
                    <a:lnTo>
                      <a:pt x="1399" y="1648"/>
                    </a:lnTo>
                    <a:lnTo>
                      <a:pt x="1399" y="1645"/>
                    </a:lnTo>
                    <a:close/>
                    <a:moveTo>
                      <a:pt x="1178" y="1138"/>
                    </a:moveTo>
                    <a:lnTo>
                      <a:pt x="1179" y="1138"/>
                    </a:lnTo>
                    <a:lnTo>
                      <a:pt x="1179" y="1141"/>
                    </a:lnTo>
                    <a:lnTo>
                      <a:pt x="1178" y="1141"/>
                    </a:lnTo>
                    <a:lnTo>
                      <a:pt x="1178" y="1138"/>
                    </a:lnTo>
                    <a:close/>
                    <a:moveTo>
                      <a:pt x="1229" y="944"/>
                    </a:moveTo>
                    <a:lnTo>
                      <a:pt x="1232" y="944"/>
                    </a:lnTo>
                    <a:lnTo>
                      <a:pt x="1232" y="946"/>
                    </a:lnTo>
                    <a:lnTo>
                      <a:pt x="1229" y="946"/>
                    </a:lnTo>
                    <a:lnTo>
                      <a:pt x="1229" y="944"/>
                    </a:lnTo>
                    <a:close/>
                    <a:moveTo>
                      <a:pt x="1183" y="1427"/>
                    </a:moveTo>
                    <a:lnTo>
                      <a:pt x="1186" y="1427"/>
                    </a:lnTo>
                    <a:lnTo>
                      <a:pt x="1186" y="1429"/>
                    </a:lnTo>
                    <a:lnTo>
                      <a:pt x="1183" y="1429"/>
                    </a:lnTo>
                    <a:lnTo>
                      <a:pt x="1183" y="1427"/>
                    </a:lnTo>
                    <a:close/>
                    <a:moveTo>
                      <a:pt x="1196" y="1150"/>
                    </a:moveTo>
                    <a:lnTo>
                      <a:pt x="1198" y="1150"/>
                    </a:lnTo>
                    <a:lnTo>
                      <a:pt x="1198" y="1153"/>
                    </a:lnTo>
                    <a:lnTo>
                      <a:pt x="1196" y="1153"/>
                    </a:lnTo>
                    <a:lnTo>
                      <a:pt x="1196" y="1150"/>
                    </a:lnTo>
                    <a:close/>
                    <a:moveTo>
                      <a:pt x="1169" y="1417"/>
                    </a:moveTo>
                    <a:lnTo>
                      <a:pt x="1171" y="1417"/>
                    </a:lnTo>
                    <a:lnTo>
                      <a:pt x="1171" y="1418"/>
                    </a:lnTo>
                    <a:lnTo>
                      <a:pt x="1169" y="1418"/>
                    </a:lnTo>
                    <a:lnTo>
                      <a:pt x="1169" y="1417"/>
                    </a:lnTo>
                    <a:close/>
                    <a:moveTo>
                      <a:pt x="1188" y="1066"/>
                    </a:moveTo>
                    <a:lnTo>
                      <a:pt x="1188" y="1068"/>
                    </a:lnTo>
                    <a:lnTo>
                      <a:pt x="1190" y="1068"/>
                    </a:lnTo>
                    <a:lnTo>
                      <a:pt x="1188" y="1068"/>
                    </a:lnTo>
                    <a:lnTo>
                      <a:pt x="1186" y="1066"/>
                    </a:lnTo>
                    <a:lnTo>
                      <a:pt x="1188" y="1066"/>
                    </a:lnTo>
                    <a:close/>
                    <a:moveTo>
                      <a:pt x="1171" y="1475"/>
                    </a:moveTo>
                    <a:lnTo>
                      <a:pt x="1173" y="1475"/>
                    </a:lnTo>
                    <a:lnTo>
                      <a:pt x="1173" y="1476"/>
                    </a:lnTo>
                    <a:lnTo>
                      <a:pt x="1171" y="1476"/>
                    </a:lnTo>
                    <a:lnTo>
                      <a:pt x="1171" y="1475"/>
                    </a:lnTo>
                    <a:close/>
                    <a:moveTo>
                      <a:pt x="1224" y="1071"/>
                    </a:moveTo>
                    <a:lnTo>
                      <a:pt x="1227" y="1071"/>
                    </a:lnTo>
                    <a:lnTo>
                      <a:pt x="1227" y="1073"/>
                    </a:lnTo>
                    <a:lnTo>
                      <a:pt x="1224" y="1073"/>
                    </a:lnTo>
                    <a:lnTo>
                      <a:pt x="1224" y="1071"/>
                    </a:lnTo>
                    <a:close/>
                    <a:moveTo>
                      <a:pt x="1185" y="1262"/>
                    </a:moveTo>
                    <a:lnTo>
                      <a:pt x="1188" y="1262"/>
                    </a:lnTo>
                    <a:lnTo>
                      <a:pt x="1188" y="1265"/>
                    </a:lnTo>
                    <a:lnTo>
                      <a:pt x="1185" y="1265"/>
                    </a:lnTo>
                    <a:lnTo>
                      <a:pt x="1185" y="1262"/>
                    </a:lnTo>
                    <a:close/>
                    <a:moveTo>
                      <a:pt x="1188" y="1128"/>
                    </a:moveTo>
                    <a:lnTo>
                      <a:pt x="1191" y="1128"/>
                    </a:lnTo>
                    <a:lnTo>
                      <a:pt x="1191" y="1131"/>
                    </a:lnTo>
                    <a:lnTo>
                      <a:pt x="1188" y="1131"/>
                    </a:lnTo>
                    <a:lnTo>
                      <a:pt x="1188" y="1128"/>
                    </a:lnTo>
                    <a:close/>
                    <a:moveTo>
                      <a:pt x="1202" y="1080"/>
                    </a:moveTo>
                    <a:lnTo>
                      <a:pt x="1205" y="1080"/>
                    </a:lnTo>
                    <a:lnTo>
                      <a:pt x="1205" y="1082"/>
                    </a:lnTo>
                    <a:lnTo>
                      <a:pt x="1202" y="1082"/>
                    </a:lnTo>
                    <a:lnTo>
                      <a:pt x="1202" y="1080"/>
                    </a:lnTo>
                    <a:close/>
                    <a:moveTo>
                      <a:pt x="1185" y="1141"/>
                    </a:moveTo>
                    <a:lnTo>
                      <a:pt x="1185" y="1143"/>
                    </a:lnTo>
                    <a:lnTo>
                      <a:pt x="1183" y="1143"/>
                    </a:lnTo>
                    <a:lnTo>
                      <a:pt x="1181" y="1143"/>
                    </a:lnTo>
                    <a:lnTo>
                      <a:pt x="1183" y="1143"/>
                    </a:lnTo>
                    <a:lnTo>
                      <a:pt x="1185" y="1141"/>
                    </a:lnTo>
                    <a:close/>
                    <a:moveTo>
                      <a:pt x="1276" y="1612"/>
                    </a:moveTo>
                    <a:lnTo>
                      <a:pt x="1280" y="1612"/>
                    </a:lnTo>
                    <a:lnTo>
                      <a:pt x="1280" y="1614"/>
                    </a:lnTo>
                    <a:lnTo>
                      <a:pt x="1276" y="1614"/>
                    </a:lnTo>
                    <a:lnTo>
                      <a:pt x="1276" y="1612"/>
                    </a:lnTo>
                    <a:close/>
                    <a:moveTo>
                      <a:pt x="1208" y="1502"/>
                    </a:moveTo>
                    <a:lnTo>
                      <a:pt x="1210" y="1502"/>
                    </a:lnTo>
                    <a:lnTo>
                      <a:pt x="1210" y="1505"/>
                    </a:lnTo>
                    <a:lnTo>
                      <a:pt x="1208" y="1505"/>
                    </a:lnTo>
                    <a:lnTo>
                      <a:pt x="1208" y="1502"/>
                    </a:lnTo>
                    <a:close/>
                    <a:moveTo>
                      <a:pt x="1219" y="1538"/>
                    </a:moveTo>
                    <a:lnTo>
                      <a:pt x="1222" y="1538"/>
                    </a:lnTo>
                    <a:lnTo>
                      <a:pt x="1222" y="1541"/>
                    </a:lnTo>
                    <a:lnTo>
                      <a:pt x="1219" y="1541"/>
                    </a:lnTo>
                    <a:lnTo>
                      <a:pt x="1219" y="1538"/>
                    </a:lnTo>
                    <a:close/>
                    <a:moveTo>
                      <a:pt x="1373" y="1641"/>
                    </a:moveTo>
                    <a:lnTo>
                      <a:pt x="1375" y="1641"/>
                    </a:lnTo>
                    <a:lnTo>
                      <a:pt x="1375" y="1643"/>
                    </a:lnTo>
                    <a:lnTo>
                      <a:pt x="1373" y="1643"/>
                    </a:lnTo>
                    <a:lnTo>
                      <a:pt x="1373" y="1641"/>
                    </a:lnTo>
                    <a:lnTo>
                      <a:pt x="1372" y="1641"/>
                    </a:lnTo>
                    <a:lnTo>
                      <a:pt x="1373" y="1641"/>
                    </a:lnTo>
                    <a:close/>
                    <a:moveTo>
                      <a:pt x="1198" y="1485"/>
                    </a:moveTo>
                    <a:lnTo>
                      <a:pt x="1196" y="1485"/>
                    </a:lnTo>
                    <a:lnTo>
                      <a:pt x="1195" y="1487"/>
                    </a:lnTo>
                    <a:lnTo>
                      <a:pt x="1193" y="1487"/>
                    </a:lnTo>
                    <a:lnTo>
                      <a:pt x="1195" y="1485"/>
                    </a:lnTo>
                    <a:lnTo>
                      <a:pt x="1196" y="1485"/>
                    </a:lnTo>
                    <a:lnTo>
                      <a:pt x="1198" y="1485"/>
                    </a:lnTo>
                    <a:close/>
                    <a:moveTo>
                      <a:pt x="1161" y="1243"/>
                    </a:moveTo>
                    <a:lnTo>
                      <a:pt x="1162" y="1243"/>
                    </a:lnTo>
                    <a:lnTo>
                      <a:pt x="1162" y="1247"/>
                    </a:lnTo>
                    <a:lnTo>
                      <a:pt x="1161" y="1247"/>
                    </a:lnTo>
                    <a:lnTo>
                      <a:pt x="1161" y="1243"/>
                    </a:lnTo>
                    <a:close/>
                    <a:moveTo>
                      <a:pt x="1178" y="1478"/>
                    </a:moveTo>
                    <a:lnTo>
                      <a:pt x="1179" y="1478"/>
                    </a:lnTo>
                    <a:lnTo>
                      <a:pt x="1179" y="1481"/>
                    </a:lnTo>
                    <a:lnTo>
                      <a:pt x="1178" y="1481"/>
                    </a:lnTo>
                    <a:lnTo>
                      <a:pt x="1178" y="1478"/>
                    </a:lnTo>
                    <a:close/>
                    <a:moveTo>
                      <a:pt x="1181" y="1437"/>
                    </a:moveTo>
                    <a:lnTo>
                      <a:pt x="1185" y="1437"/>
                    </a:lnTo>
                    <a:lnTo>
                      <a:pt x="1185" y="1439"/>
                    </a:lnTo>
                    <a:lnTo>
                      <a:pt x="1181" y="1439"/>
                    </a:lnTo>
                    <a:lnTo>
                      <a:pt x="1181" y="1437"/>
                    </a:lnTo>
                    <a:close/>
                    <a:moveTo>
                      <a:pt x="1168" y="1432"/>
                    </a:moveTo>
                    <a:lnTo>
                      <a:pt x="1171" y="1432"/>
                    </a:lnTo>
                    <a:lnTo>
                      <a:pt x="1171" y="1434"/>
                    </a:lnTo>
                    <a:lnTo>
                      <a:pt x="1168" y="1434"/>
                    </a:lnTo>
                    <a:lnTo>
                      <a:pt x="1168" y="1432"/>
                    </a:lnTo>
                    <a:close/>
                    <a:moveTo>
                      <a:pt x="1219" y="983"/>
                    </a:moveTo>
                    <a:lnTo>
                      <a:pt x="1220" y="983"/>
                    </a:lnTo>
                    <a:lnTo>
                      <a:pt x="1220" y="985"/>
                    </a:lnTo>
                    <a:lnTo>
                      <a:pt x="1219" y="985"/>
                    </a:lnTo>
                    <a:lnTo>
                      <a:pt x="1219" y="983"/>
                    </a:lnTo>
                    <a:close/>
                    <a:moveTo>
                      <a:pt x="1249" y="1599"/>
                    </a:moveTo>
                    <a:lnTo>
                      <a:pt x="1251" y="1599"/>
                    </a:lnTo>
                    <a:lnTo>
                      <a:pt x="1251" y="1600"/>
                    </a:lnTo>
                    <a:lnTo>
                      <a:pt x="1249" y="1600"/>
                    </a:lnTo>
                    <a:lnTo>
                      <a:pt x="1249" y="1599"/>
                    </a:lnTo>
                    <a:close/>
                    <a:moveTo>
                      <a:pt x="1179" y="1134"/>
                    </a:moveTo>
                    <a:lnTo>
                      <a:pt x="1179" y="1138"/>
                    </a:lnTo>
                    <a:lnTo>
                      <a:pt x="1179" y="1134"/>
                    </a:lnTo>
                    <a:close/>
                    <a:moveTo>
                      <a:pt x="1174" y="1367"/>
                    </a:moveTo>
                    <a:lnTo>
                      <a:pt x="1178" y="1367"/>
                    </a:lnTo>
                    <a:lnTo>
                      <a:pt x="1178" y="1369"/>
                    </a:lnTo>
                    <a:lnTo>
                      <a:pt x="1174" y="1369"/>
                    </a:lnTo>
                    <a:lnTo>
                      <a:pt x="1174" y="1367"/>
                    </a:lnTo>
                    <a:close/>
                    <a:moveTo>
                      <a:pt x="1188" y="1056"/>
                    </a:moveTo>
                    <a:lnTo>
                      <a:pt x="1191" y="1056"/>
                    </a:lnTo>
                    <a:lnTo>
                      <a:pt x="1191" y="1058"/>
                    </a:lnTo>
                    <a:lnTo>
                      <a:pt x="1188" y="1058"/>
                    </a:lnTo>
                    <a:lnTo>
                      <a:pt x="1188" y="1056"/>
                    </a:lnTo>
                    <a:close/>
                    <a:moveTo>
                      <a:pt x="1241" y="1495"/>
                    </a:moveTo>
                    <a:lnTo>
                      <a:pt x="1244" y="1495"/>
                    </a:lnTo>
                    <a:lnTo>
                      <a:pt x="1244" y="1497"/>
                    </a:lnTo>
                    <a:lnTo>
                      <a:pt x="1241" y="1497"/>
                    </a:lnTo>
                    <a:lnTo>
                      <a:pt x="1241" y="1495"/>
                    </a:lnTo>
                    <a:close/>
                    <a:moveTo>
                      <a:pt x="1208" y="1539"/>
                    </a:moveTo>
                    <a:lnTo>
                      <a:pt x="1208" y="1538"/>
                    </a:lnTo>
                    <a:lnTo>
                      <a:pt x="1210" y="1539"/>
                    </a:lnTo>
                    <a:lnTo>
                      <a:pt x="1208" y="1539"/>
                    </a:lnTo>
                    <a:lnTo>
                      <a:pt x="1207" y="1539"/>
                    </a:lnTo>
                    <a:lnTo>
                      <a:pt x="1207" y="1538"/>
                    </a:lnTo>
                    <a:lnTo>
                      <a:pt x="1208" y="1539"/>
                    </a:lnTo>
                    <a:close/>
                    <a:moveTo>
                      <a:pt x="1222" y="1556"/>
                    </a:moveTo>
                    <a:lnTo>
                      <a:pt x="1225" y="1556"/>
                    </a:lnTo>
                    <a:lnTo>
                      <a:pt x="1225" y="1560"/>
                    </a:lnTo>
                    <a:lnTo>
                      <a:pt x="1222" y="1560"/>
                    </a:lnTo>
                    <a:lnTo>
                      <a:pt x="1222" y="1556"/>
                    </a:lnTo>
                    <a:close/>
                    <a:moveTo>
                      <a:pt x="1186" y="1526"/>
                    </a:moveTo>
                    <a:lnTo>
                      <a:pt x="1188" y="1526"/>
                    </a:lnTo>
                    <a:lnTo>
                      <a:pt x="1188" y="1529"/>
                    </a:lnTo>
                    <a:lnTo>
                      <a:pt x="1186" y="1529"/>
                    </a:lnTo>
                    <a:lnTo>
                      <a:pt x="1186" y="1526"/>
                    </a:lnTo>
                    <a:close/>
                    <a:moveTo>
                      <a:pt x="1259" y="1597"/>
                    </a:moveTo>
                    <a:lnTo>
                      <a:pt x="1261" y="1597"/>
                    </a:lnTo>
                    <a:lnTo>
                      <a:pt x="1261" y="1600"/>
                    </a:lnTo>
                    <a:lnTo>
                      <a:pt x="1259" y="1600"/>
                    </a:lnTo>
                    <a:lnTo>
                      <a:pt x="1259" y="1597"/>
                    </a:lnTo>
                    <a:close/>
                    <a:moveTo>
                      <a:pt x="1321" y="1631"/>
                    </a:moveTo>
                    <a:lnTo>
                      <a:pt x="1322" y="1631"/>
                    </a:lnTo>
                    <a:lnTo>
                      <a:pt x="1322" y="1633"/>
                    </a:lnTo>
                    <a:lnTo>
                      <a:pt x="1321" y="1633"/>
                    </a:lnTo>
                    <a:lnTo>
                      <a:pt x="1321" y="1631"/>
                    </a:lnTo>
                    <a:close/>
                    <a:moveTo>
                      <a:pt x="1207" y="1539"/>
                    </a:moveTo>
                    <a:lnTo>
                      <a:pt x="1208" y="1539"/>
                    </a:lnTo>
                    <a:lnTo>
                      <a:pt x="1208" y="1541"/>
                    </a:lnTo>
                    <a:lnTo>
                      <a:pt x="1207" y="1541"/>
                    </a:lnTo>
                    <a:lnTo>
                      <a:pt x="1207" y="1539"/>
                    </a:lnTo>
                    <a:close/>
                    <a:moveTo>
                      <a:pt x="1188" y="1208"/>
                    </a:moveTo>
                    <a:lnTo>
                      <a:pt x="1191" y="1208"/>
                    </a:lnTo>
                    <a:lnTo>
                      <a:pt x="1191" y="1211"/>
                    </a:lnTo>
                    <a:lnTo>
                      <a:pt x="1188" y="1211"/>
                    </a:lnTo>
                    <a:lnTo>
                      <a:pt x="1188" y="1208"/>
                    </a:lnTo>
                    <a:close/>
                    <a:moveTo>
                      <a:pt x="1151" y="1327"/>
                    </a:moveTo>
                    <a:lnTo>
                      <a:pt x="1152" y="1327"/>
                    </a:lnTo>
                    <a:lnTo>
                      <a:pt x="1152" y="1330"/>
                    </a:lnTo>
                    <a:lnTo>
                      <a:pt x="1151" y="1330"/>
                    </a:lnTo>
                    <a:lnTo>
                      <a:pt x="1151" y="1327"/>
                    </a:lnTo>
                    <a:close/>
                    <a:moveTo>
                      <a:pt x="1179" y="1444"/>
                    </a:moveTo>
                    <a:lnTo>
                      <a:pt x="1181" y="1444"/>
                    </a:lnTo>
                    <a:lnTo>
                      <a:pt x="1181" y="1446"/>
                    </a:lnTo>
                    <a:lnTo>
                      <a:pt x="1179" y="1446"/>
                    </a:lnTo>
                    <a:lnTo>
                      <a:pt x="1178" y="1444"/>
                    </a:lnTo>
                    <a:lnTo>
                      <a:pt x="1179" y="1444"/>
                    </a:lnTo>
                    <a:close/>
                    <a:moveTo>
                      <a:pt x="1178" y="1480"/>
                    </a:moveTo>
                    <a:lnTo>
                      <a:pt x="1181" y="1480"/>
                    </a:lnTo>
                    <a:lnTo>
                      <a:pt x="1181" y="1483"/>
                    </a:lnTo>
                    <a:lnTo>
                      <a:pt x="1178" y="1483"/>
                    </a:lnTo>
                    <a:lnTo>
                      <a:pt x="1178" y="1480"/>
                    </a:lnTo>
                    <a:close/>
                    <a:moveTo>
                      <a:pt x="1213" y="1104"/>
                    </a:moveTo>
                    <a:lnTo>
                      <a:pt x="1215" y="1104"/>
                    </a:lnTo>
                    <a:lnTo>
                      <a:pt x="1215" y="1107"/>
                    </a:lnTo>
                    <a:lnTo>
                      <a:pt x="1213" y="1107"/>
                    </a:lnTo>
                    <a:lnTo>
                      <a:pt x="1213" y="1104"/>
                    </a:lnTo>
                    <a:close/>
                    <a:moveTo>
                      <a:pt x="1202" y="1510"/>
                    </a:moveTo>
                    <a:lnTo>
                      <a:pt x="1203" y="1510"/>
                    </a:lnTo>
                    <a:lnTo>
                      <a:pt x="1203" y="1512"/>
                    </a:lnTo>
                    <a:lnTo>
                      <a:pt x="1202" y="1512"/>
                    </a:lnTo>
                    <a:lnTo>
                      <a:pt x="1202" y="1510"/>
                    </a:lnTo>
                    <a:close/>
                    <a:moveTo>
                      <a:pt x="1212" y="990"/>
                    </a:moveTo>
                    <a:lnTo>
                      <a:pt x="1213" y="990"/>
                    </a:lnTo>
                    <a:lnTo>
                      <a:pt x="1213" y="992"/>
                    </a:lnTo>
                    <a:lnTo>
                      <a:pt x="1212" y="992"/>
                    </a:lnTo>
                    <a:lnTo>
                      <a:pt x="1212" y="990"/>
                    </a:lnTo>
                    <a:close/>
                    <a:moveTo>
                      <a:pt x="1254" y="1493"/>
                    </a:moveTo>
                    <a:lnTo>
                      <a:pt x="1256" y="1493"/>
                    </a:lnTo>
                    <a:lnTo>
                      <a:pt x="1256" y="1497"/>
                    </a:lnTo>
                    <a:lnTo>
                      <a:pt x="1254" y="1497"/>
                    </a:lnTo>
                    <a:lnTo>
                      <a:pt x="1254" y="1493"/>
                    </a:lnTo>
                    <a:close/>
                    <a:moveTo>
                      <a:pt x="1222" y="990"/>
                    </a:moveTo>
                    <a:lnTo>
                      <a:pt x="1224" y="990"/>
                    </a:lnTo>
                    <a:lnTo>
                      <a:pt x="1224" y="993"/>
                    </a:lnTo>
                    <a:lnTo>
                      <a:pt x="1222" y="993"/>
                    </a:lnTo>
                    <a:lnTo>
                      <a:pt x="1222" y="990"/>
                    </a:lnTo>
                    <a:close/>
                    <a:moveTo>
                      <a:pt x="1382" y="1640"/>
                    </a:moveTo>
                    <a:lnTo>
                      <a:pt x="1385" y="1640"/>
                    </a:lnTo>
                    <a:lnTo>
                      <a:pt x="1385" y="1641"/>
                    </a:lnTo>
                    <a:lnTo>
                      <a:pt x="1382" y="1641"/>
                    </a:lnTo>
                    <a:lnTo>
                      <a:pt x="1382" y="1640"/>
                    </a:lnTo>
                    <a:close/>
                    <a:moveTo>
                      <a:pt x="1181" y="1492"/>
                    </a:moveTo>
                    <a:lnTo>
                      <a:pt x="1185" y="1492"/>
                    </a:lnTo>
                    <a:lnTo>
                      <a:pt x="1185" y="1493"/>
                    </a:lnTo>
                    <a:lnTo>
                      <a:pt x="1181" y="1493"/>
                    </a:lnTo>
                    <a:lnTo>
                      <a:pt x="1181" y="1492"/>
                    </a:lnTo>
                    <a:close/>
                    <a:moveTo>
                      <a:pt x="1217" y="1538"/>
                    </a:moveTo>
                    <a:lnTo>
                      <a:pt x="1220" y="1538"/>
                    </a:lnTo>
                    <a:lnTo>
                      <a:pt x="1220" y="1539"/>
                    </a:lnTo>
                    <a:lnTo>
                      <a:pt x="1217" y="1539"/>
                    </a:lnTo>
                    <a:lnTo>
                      <a:pt x="1217" y="1538"/>
                    </a:lnTo>
                    <a:close/>
                    <a:moveTo>
                      <a:pt x="1219" y="1566"/>
                    </a:moveTo>
                    <a:lnTo>
                      <a:pt x="1220" y="1566"/>
                    </a:lnTo>
                    <a:lnTo>
                      <a:pt x="1220" y="1568"/>
                    </a:lnTo>
                    <a:lnTo>
                      <a:pt x="1219" y="1568"/>
                    </a:lnTo>
                    <a:lnTo>
                      <a:pt x="1219" y="1566"/>
                    </a:lnTo>
                    <a:close/>
                    <a:moveTo>
                      <a:pt x="1200" y="1073"/>
                    </a:moveTo>
                    <a:lnTo>
                      <a:pt x="1202" y="1073"/>
                    </a:lnTo>
                    <a:lnTo>
                      <a:pt x="1202" y="1077"/>
                    </a:lnTo>
                    <a:lnTo>
                      <a:pt x="1200" y="1077"/>
                    </a:lnTo>
                    <a:lnTo>
                      <a:pt x="1200" y="1073"/>
                    </a:lnTo>
                    <a:close/>
                    <a:moveTo>
                      <a:pt x="1176" y="1439"/>
                    </a:moveTo>
                    <a:lnTo>
                      <a:pt x="1178" y="1439"/>
                    </a:lnTo>
                    <a:lnTo>
                      <a:pt x="1178" y="1441"/>
                    </a:lnTo>
                    <a:lnTo>
                      <a:pt x="1176" y="1441"/>
                    </a:lnTo>
                    <a:lnTo>
                      <a:pt x="1176" y="1439"/>
                    </a:lnTo>
                    <a:close/>
                    <a:moveTo>
                      <a:pt x="1336" y="1653"/>
                    </a:moveTo>
                    <a:lnTo>
                      <a:pt x="1339" y="1653"/>
                    </a:lnTo>
                    <a:lnTo>
                      <a:pt x="1339" y="1655"/>
                    </a:lnTo>
                    <a:lnTo>
                      <a:pt x="1336" y="1655"/>
                    </a:lnTo>
                    <a:lnTo>
                      <a:pt x="1336" y="1653"/>
                    </a:lnTo>
                    <a:close/>
                    <a:moveTo>
                      <a:pt x="1147" y="1330"/>
                    </a:moveTo>
                    <a:lnTo>
                      <a:pt x="1149" y="1330"/>
                    </a:lnTo>
                    <a:lnTo>
                      <a:pt x="1149" y="1332"/>
                    </a:lnTo>
                    <a:lnTo>
                      <a:pt x="1147" y="1332"/>
                    </a:lnTo>
                    <a:lnTo>
                      <a:pt x="1147" y="1330"/>
                    </a:lnTo>
                    <a:close/>
                    <a:moveTo>
                      <a:pt x="1205" y="1551"/>
                    </a:moveTo>
                    <a:lnTo>
                      <a:pt x="1207" y="1551"/>
                    </a:lnTo>
                    <a:lnTo>
                      <a:pt x="1207" y="1553"/>
                    </a:lnTo>
                    <a:lnTo>
                      <a:pt x="1205" y="1553"/>
                    </a:lnTo>
                    <a:lnTo>
                      <a:pt x="1205" y="1551"/>
                    </a:lnTo>
                    <a:close/>
                    <a:moveTo>
                      <a:pt x="1186" y="1534"/>
                    </a:moveTo>
                    <a:lnTo>
                      <a:pt x="1188" y="1534"/>
                    </a:lnTo>
                    <a:lnTo>
                      <a:pt x="1188" y="1536"/>
                    </a:lnTo>
                    <a:lnTo>
                      <a:pt x="1186" y="1536"/>
                    </a:lnTo>
                    <a:lnTo>
                      <a:pt x="1186" y="1534"/>
                    </a:lnTo>
                    <a:close/>
                    <a:moveTo>
                      <a:pt x="1169" y="1437"/>
                    </a:moveTo>
                    <a:lnTo>
                      <a:pt x="1173" y="1437"/>
                    </a:lnTo>
                    <a:lnTo>
                      <a:pt x="1173" y="1439"/>
                    </a:lnTo>
                    <a:lnTo>
                      <a:pt x="1169" y="1439"/>
                    </a:lnTo>
                    <a:lnTo>
                      <a:pt x="1169" y="1437"/>
                    </a:lnTo>
                    <a:close/>
                    <a:moveTo>
                      <a:pt x="1202" y="1066"/>
                    </a:moveTo>
                    <a:lnTo>
                      <a:pt x="1203" y="1066"/>
                    </a:lnTo>
                    <a:lnTo>
                      <a:pt x="1203" y="1068"/>
                    </a:lnTo>
                    <a:lnTo>
                      <a:pt x="1202" y="1068"/>
                    </a:lnTo>
                    <a:lnTo>
                      <a:pt x="1202" y="1066"/>
                    </a:lnTo>
                    <a:close/>
                    <a:moveTo>
                      <a:pt x="1264" y="1595"/>
                    </a:moveTo>
                    <a:lnTo>
                      <a:pt x="1268" y="1595"/>
                    </a:lnTo>
                    <a:lnTo>
                      <a:pt x="1268" y="1597"/>
                    </a:lnTo>
                    <a:lnTo>
                      <a:pt x="1264" y="1597"/>
                    </a:lnTo>
                    <a:lnTo>
                      <a:pt x="1264" y="1595"/>
                    </a:lnTo>
                    <a:close/>
                    <a:moveTo>
                      <a:pt x="1220" y="1543"/>
                    </a:moveTo>
                    <a:lnTo>
                      <a:pt x="1222" y="1543"/>
                    </a:lnTo>
                    <a:lnTo>
                      <a:pt x="1222" y="1544"/>
                    </a:lnTo>
                    <a:lnTo>
                      <a:pt x="1220" y="1544"/>
                    </a:lnTo>
                    <a:lnTo>
                      <a:pt x="1220" y="1543"/>
                    </a:lnTo>
                    <a:close/>
                    <a:moveTo>
                      <a:pt x="1191" y="1060"/>
                    </a:moveTo>
                    <a:lnTo>
                      <a:pt x="1195" y="1060"/>
                    </a:lnTo>
                    <a:lnTo>
                      <a:pt x="1195" y="1061"/>
                    </a:lnTo>
                    <a:lnTo>
                      <a:pt x="1191" y="1061"/>
                    </a:lnTo>
                    <a:lnTo>
                      <a:pt x="1191" y="1060"/>
                    </a:lnTo>
                    <a:close/>
                    <a:moveTo>
                      <a:pt x="1179" y="1422"/>
                    </a:moveTo>
                    <a:lnTo>
                      <a:pt x="1181" y="1422"/>
                    </a:lnTo>
                    <a:lnTo>
                      <a:pt x="1181" y="1424"/>
                    </a:lnTo>
                    <a:lnTo>
                      <a:pt x="1179" y="1424"/>
                    </a:lnTo>
                    <a:lnTo>
                      <a:pt x="1179" y="1422"/>
                    </a:lnTo>
                    <a:close/>
                    <a:moveTo>
                      <a:pt x="1183" y="1463"/>
                    </a:moveTo>
                    <a:lnTo>
                      <a:pt x="1185" y="1463"/>
                    </a:lnTo>
                    <a:lnTo>
                      <a:pt x="1185" y="1464"/>
                    </a:lnTo>
                    <a:lnTo>
                      <a:pt x="1183" y="1464"/>
                    </a:lnTo>
                    <a:lnTo>
                      <a:pt x="1183" y="1463"/>
                    </a:lnTo>
                    <a:close/>
                    <a:moveTo>
                      <a:pt x="1397" y="1663"/>
                    </a:moveTo>
                    <a:lnTo>
                      <a:pt x="1400" y="1663"/>
                    </a:lnTo>
                    <a:lnTo>
                      <a:pt x="1400" y="1665"/>
                    </a:lnTo>
                    <a:lnTo>
                      <a:pt x="1397" y="1665"/>
                    </a:lnTo>
                    <a:lnTo>
                      <a:pt x="1397" y="1663"/>
                    </a:lnTo>
                    <a:close/>
                    <a:moveTo>
                      <a:pt x="1190" y="1413"/>
                    </a:moveTo>
                    <a:lnTo>
                      <a:pt x="1191" y="1413"/>
                    </a:lnTo>
                    <a:lnTo>
                      <a:pt x="1191" y="1417"/>
                    </a:lnTo>
                    <a:lnTo>
                      <a:pt x="1190" y="1417"/>
                    </a:lnTo>
                    <a:lnTo>
                      <a:pt x="1190" y="1413"/>
                    </a:lnTo>
                    <a:close/>
                    <a:moveTo>
                      <a:pt x="1208" y="1449"/>
                    </a:moveTo>
                    <a:lnTo>
                      <a:pt x="1210" y="1449"/>
                    </a:lnTo>
                    <a:lnTo>
                      <a:pt x="1210" y="1451"/>
                    </a:lnTo>
                    <a:lnTo>
                      <a:pt x="1208" y="1451"/>
                    </a:lnTo>
                    <a:lnTo>
                      <a:pt x="1208" y="1449"/>
                    </a:lnTo>
                    <a:close/>
                    <a:moveTo>
                      <a:pt x="1222" y="976"/>
                    </a:moveTo>
                    <a:lnTo>
                      <a:pt x="1224" y="976"/>
                    </a:lnTo>
                    <a:lnTo>
                      <a:pt x="1224" y="980"/>
                    </a:lnTo>
                    <a:lnTo>
                      <a:pt x="1222" y="980"/>
                    </a:lnTo>
                    <a:lnTo>
                      <a:pt x="1222" y="976"/>
                    </a:lnTo>
                    <a:close/>
                    <a:moveTo>
                      <a:pt x="1346" y="1662"/>
                    </a:moveTo>
                    <a:lnTo>
                      <a:pt x="1348" y="1662"/>
                    </a:lnTo>
                    <a:lnTo>
                      <a:pt x="1348" y="1663"/>
                    </a:lnTo>
                    <a:lnTo>
                      <a:pt x="1346" y="1663"/>
                    </a:lnTo>
                    <a:lnTo>
                      <a:pt x="1346" y="1662"/>
                    </a:lnTo>
                    <a:close/>
                    <a:moveTo>
                      <a:pt x="1210" y="1063"/>
                    </a:moveTo>
                    <a:lnTo>
                      <a:pt x="1212" y="1063"/>
                    </a:lnTo>
                    <a:lnTo>
                      <a:pt x="1212" y="1065"/>
                    </a:lnTo>
                    <a:lnTo>
                      <a:pt x="1210" y="1065"/>
                    </a:lnTo>
                    <a:lnTo>
                      <a:pt x="1210" y="1063"/>
                    </a:lnTo>
                    <a:close/>
                    <a:moveTo>
                      <a:pt x="1161" y="1349"/>
                    </a:moveTo>
                    <a:lnTo>
                      <a:pt x="1162" y="1349"/>
                    </a:lnTo>
                    <a:lnTo>
                      <a:pt x="1162" y="1350"/>
                    </a:lnTo>
                    <a:lnTo>
                      <a:pt x="1161" y="1350"/>
                    </a:lnTo>
                    <a:lnTo>
                      <a:pt x="1161" y="1349"/>
                    </a:lnTo>
                    <a:close/>
                    <a:moveTo>
                      <a:pt x="1207" y="1529"/>
                    </a:moveTo>
                    <a:lnTo>
                      <a:pt x="1210" y="1529"/>
                    </a:lnTo>
                    <a:lnTo>
                      <a:pt x="1210" y="1532"/>
                    </a:lnTo>
                    <a:lnTo>
                      <a:pt x="1207" y="1532"/>
                    </a:lnTo>
                    <a:lnTo>
                      <a:pt x="1207" y="1529"/>
                    </a:lnTo>
                    <a:close/>
                    <a:moveTo>
                      <a:pt x="1205" y="1541"/>
                    </a:moveTo>
                    <a:lnTo>
                      <a:pt x="1207" y="1541"/>
                    </a:lnTo>
                    <a:lnTo>
                      <a:pt x="1207" y="1543"/>
                    </a:lnTo>
                    <a:lnTo>
                      <a:pt x="1205" y="1543"/>
                    </a:lnTo>
                    <a:lnTo>
                      <a:pt x="1205" y="1541"/>
                    </a:lnTo>
                    <a:close/>
                    <a:moveTo>
                      <a:pt x="1152" y="1257"/>
                    </a:moveTo>
                    <a:lnTo>
                      <a:pt x="1156" y="1257"/>
                    </a:lnTo>
                    <a:lnTo>
                      <a:pt x="1156" y="1259"/>
                    </a:lnTo>
                    <a:lnTo>
                      <a:pt x="1152" y="1259"/>
                    </a:lnTo>
                    <a:lnTo>
                      <a:pt x="1152" y="1257"/>
                    </a:lnTo>
                    <a:close/>
                    <a:moveTo>
                      <a:pt x="1152" y="1310"/>
                    </a:moveTo>
                    <a:lnTo>
                      <a:pt x="1154" y="1310"/>
                    </a:lnTo>
                    <a:lnTo>
                      <a:pt x="1154" y="1311"/>
                    </a:lnTo>
                    <a:lnTo>
                      <a:pt x="1152" y="1311"/>
                    </a:lnTo>
                    <a:lnTo>
                      <a:pt x="1152" y="1310"/>
                    </a:lnTo>
                    <a:close/>
                    <a:moveTo>
                      <a:pt x="1174" y="1478"/>
                    </a:moveTo>
                    <a:lnTo>
                      <a:pt x="1178" y="1478"/>
                    </a:lnTo>
                    <a:lnTo>
                      <a:pt x="1178" y="1481"/>
                    </a:lnTo>
                    <a:lnTo>
                      <a:pt x="1174" y="1481"/>
                    </a:lnTo>
                    <a:lnTo>
                      <a:pt x="1174" y="1478"/>
                    </a:lnTo>
                    <a:close/>
                    <a:moveTo>
                      <a:pt x="1164" y="1332"/>
                    </a:moveTo>
                    <a:lnTo>
                      <a:pt x="1166" y="1332"/>
                    </a:lnTo>
                    <a:lnTo>
                      <a:pt x="1166" y="1335"/>
                    </a:lnTo>
                    <a:lnTo>
                      <a:pt x="1164" y="1335"/>
                    </a:lnTo>
                    <a:lnTo>
                      <a:pt x="1164" y="1332"/>
                    </a:lnTo>
                    <a:close/>
                    <a:moveTo>
                      <a:pt x="1220" y="986"/>
                    </a:moveTo>
                    <a:lnTo>
                      <a:pt x="1222" y="986"/>
                    </a:lnTo>
                    <a:lnTo>
                      <a:pt x="1222" y="988"/>
                    </a:lnTo>
                    <a:lnTo>
                      <a:pt x="1220" y="988"/>
                    </a:lnTo>
                    <a:lnTo>
                      <a:pt x="1220" y="986"/>
                    </a:lnTo>
                    <a:close/>
                    <a:moveTo>
                      <a:pt x="1166" y="1383"/>
                    </a:moveTo>
                    <a:lnTo>
                      <a:pt x="1168" y="1383"/>
                    </a:lnTo>
                    <a:lnTo>
                      <a:pt x="1168" y="1384"/>
                    </a:lnTo>
                    <a:lnTo>
                      <a:pt x="1166" y="1384"/>
                    </a:lnTo>
                    <a:lnTo>
                      <a:pt x="1166" y="1383"/>
                    </a:lnTo>
                    <a:close/>
                    <a:moveTo>
                      <a:pt x="1173" y="1245"/>
                    </a:moveTo>
                    <a:lnTo>
                      <a:pt x="1174" y="1245"/>
                    </a:lnTo>
                    <a:lnTo>
                      <a:pt x="1174" y="1248"/>
                    </a:lnTo>
                    <a:lnTo>
                      <a:pt x="1173" y="1248"/>
                    </a:lnTo>
                    <a:lnTo>
                      <a:pt x="1173" y="1245"/>
                    </a:lnTo>
                    <a:close/>
                    <a:moveTo>
                      <a:pt x="1185" y="1099"/>
                    </a:moveTo>
                    <a:lnTo>
                      <a:pt x="1186" y="1099"/>
                    </a:lnTo>
                    <a:lnTo>
                      <a:pt x="1186" y="1100"/>
                    </a:lnTo>
                    <a:lnTo>
                      <a:pt x="1185" y="1100"/>
                    </a:lnTo>
                    <a:lnTo>
                      <a:pt x="1185" y="1099"/>
                    </a:lnTo>
                    <a:close/>
                    <a:moveTo>
                      <a:pt x="1215" y="981"/>
                    </a:moveTo>
                    <a:lnTo>
                      <a:pt x="1217" y="981"/>
                    </a:lnTo>
                    <a:lnTo>
                      <a:pt x="1217" y="983"/>
                    </a:lnTo>
                    <a:lnTo>
                      <a:pt x="1215" y="983"/>
                    </a:lnTo>
                    <a:lnTo>
                      <a:pt x="1215" y="981"/>
                    </a:lnTo>
                    <a:close/>
                    <a:moveTo>
                      <a:pt x="1154" y="1354"/>
                    </a:moveTo>
                    <a:lnTo>
                      <a:pt x="1154" y="1357"/>
                    </a:lnTo>
                    <a:lnTo>
                      <a:pt x="1154" y="1354"/>
                    </a:lnTo>
                    <a:close/>
                    <a:moveTo>
                      <a:pt x="1276" y="1595"/>
                    </a:moveTo>
                    <a:lnTo>
                      <a:pt x="1280" y="1595"/>
                    </a:lnTo>
                    <a:lnTo>
                      <a:pt x="1280" y="1597"/>
                    </a:lnTo>
                    <a:lnTo>
                      <a:pt x="1276" y="1597"/>
                    </a:lnTo>
                    <a:lnTo>
                      <a:pt x="1276" y="1595"/>
                    </a:lnTo>
                    <a:close/>
                    <a:moveTo>
                      <a:pt x="1190" y="1066"/>
                    </a:moveTo>
                    <a:lnTo>
                      <a:pt x="1191" y="1066"/>
                    </a:lnTo>
                    <a:lnTo>
                      <a:pt x="1190" y="1066"/>
                    </a:lnTo>
                    <a:close/>
                    <a:moveTo>
                      <a:pt x="1292" y="1616"/>
                    </a:moveTo>
                    <a:lnTo>
                      <a:pt x="1293" y="1616"/>
                    </a:lnTo>
                    <a:lnTo>
                      <a:pt x="1293" y="1618"/>
                    </a:lnTo>
                    <a:lnTo>
                      <a:pt x="1292" y="1618"/>
                    </a:lnTo>
                    <a:lnTo>
                      <a:pt x="1292" y="1616"/>
                    </a:lnTo>
                    <a:close/>
                    <a:moveTo>
                      <a:pt x="1149" y="1311"/>
                    </a:moveTo>
                    <a:lnTo>
                      <a:pt x="1151" y="1311"/>
                    </a:lnTo>
                    <a:lnTo>
                      <a:pt x="1151" y="1313"/>
                    </a:lnTo>
                    <a:lnTo>
                      <a:pt x="1149" y="1313"/>
                    </a:lnTo>
                    <a:lnTo>
                      <a:pt x="1149" y="1311"/>
                    </a:lnTo>
                    <a:close/>
                    <a:moveTo>
                      <a:pt x="1203" y="1429"/>
                    </a:moveTo>
                    <a:lnTo>
                      <a:pt x="1205" y="1429"/>
                    </a:lnTo>
                    <a:lnTo>
                      <a:pt x="1205" y="1430"/>
                    </a:lnTo>
                    <a:lnTo>
                      <a:pt x="1203" y="1430"/>
                    </a:lnTo>
                    <a:lnTo>
                      <a:pt x="1203" y="1429"/>
                    </a:lnTo>
                    <a:close/>
                    <a:moveTo>
                      <a:pt x="1246" y="1582"/>
                    </a:moveTo>
                    <a:lnTo>
                      <a:pt x="1247" y="1582"/>
                    </a:lnTo>
                    <a:lnTo>
                      <a:pt x="1247" y="1583"/>
                    </a:lnTo>
                    <a:lnTo>
                      <a:pt x="1246" y="1583"/>
                    </a:lnTo>
                    <a:lnTo>
                      <a:pt x="1246" y="1582"/>
                    </a:lnTo>
                    <a:close/>
                    <a:moveTo>
                      <a:pt x="1149" y="1342"/>
                    </a:moveTo>
                    <a:lnTo>
                      <a:pt x="1151" y="1342"/>
                    </a:lnTo>
                    <a:lnTo>
                      <a:pt x="1151" y="1345"/>
                    </a:lnTo>
                    <a:lnTo>
                      <a:pt x="1149" y="1345"/>
                    </a:lnTo>
                    <a:lnTo>
                      <a:pt x="1149" y="1342"/>
                    </a:lnTo>
                    <a:close/>
                    <a:moveTo>
                      <a:pt x="1203" y="1104"/>
                    </a:moveTo>
                    <a:lnTo>
                      <a:pt x="1205" y="1104"/>
                    </a:lnTo>
                    <a:lnTo>
                      <a:pt x="1205" y="1105"/>
                    </a:lnTo>
                    <a:lnTo>
                      <a:pt x="1203" y="1105"/>
                    </a:lnTo>
                    <a:lnTo>
                      <a:pt x="1203" y="1104"/>
                    </a:lnTo>
                    <a:close/>
                    <a:moveTo>
                      <a:pt x="1213" y="1107"/>
                    </a:moveTo>
                    <a:lnTo>
                      <a:pt x="1215" y="1107"/>
                    </a:lnTo>
                    <a:lnTo>
                      <a:pt x="1215" y="1109"/>
                    </a:lnTo>
                    <a:lnTo>
                      <a:pt x="1213" y="1109"/>
                    </a:lnTo>
                    <a:lnTo>
                      <a:pt x="1213" y="1107"/>
                    </a:lnTo>
                    <a:close/>
                    <a:moveTo>
                      <a:pt x="1183" y="1194"/>
                    </a:moveTo>
                    <a:lnTo>
                      <a:pt x="1185" y="1194"/>
                    </a:lnTo>
                    <a:lnTo>
                      <a:pt x="1185" y="1196"/>
                    </a:lnTo>
                    <a:lnTo>
                      <a:pt x="1183" y="1196"/>
                    </a:lnTo>
                    <a:lnTo>
                      <a:pt x="1183" y="1194"/>
                    </a:lnTo>
                    <a:close/>
                    <a:moveTo>
                      <a:pt x="1368" y="1662"/>
                    </a:moveTo>
                    <a:lnTo>
                      <a:pt x="1370" y="1662"/>
                    </a:lnTo>
                    <a:lnTo>
                      <a:pt x="1370" y="1663"/>
                    </a:lnTo>
                    <a:lnTo>
                      <a:pt x="1368" y="1663"/>
                    </a:lnTo>
                    <a:lnTo>
                      <a:pt x="1368" y="1662"/>
                    </a:lnTo>
                    <a:close/>
                    <a:moveTo>
                      <a:pt x="1329" y="1626"/>
                    </a:moveTo>
                    <a:lnTo>
                      <a:pt x="1331" y="1626"/>
                    </a:lnTo>
                    <a:lnTo>
                      <a:pt x="1329" y="1626"/>
                    </a:lnTo>
                    <a:lnTo>
                      <a:pt x="1331" y="1626"/>
                    </a:lnTo>
                    <a:lnTo>
                      <a:pt x="1329" y="1626"/>
                    </a:lnTo>
                    <a:lnTo>
                      <a:pt x="1327" y="1626"/>
                    </a:lnTo>
                    <a:lnTo>
                      <a:pt x="1329" y="1626"/>
                    </a:lnTo>
                    <a:close/>
                    <a:moveTo>
                      <a:pt x="1219" y="992"/>
                    </a:moveTo>
                    <a:lnTo>
                      <a:pt x="1222" y="992"/>
                    </a:lnTo>
                    <a:lnTo>
                      <a:pt x="1222" y="993"/>
                    </a:lnTo>
                    <a:lnTo>
                      <a:pt x="1219" y="993"/>
                    </a:lnTo>
                    <a:lnTo>
                      <a:pt x="1219" y="992"/>
                    </a:lnTo>
                    <a:close/>
                    <a:moveTo>
                      <a:pt x="1169" y="1388"/>
                    </a:moveTo>
                    <a:lnTo>
                      <a:pt x="1171" y="1388"/>
                    </a:lnTo>
                    <a:lnTo>
                      <a:pt x="1171" y="1390"/>
                    </a:lnTo>
                    <a:lnTo>
                      <a:pt x="1169" y="1390"/>
                    </a:lnTo>
                    <a:lnTo>
                      <a:pt x="1169" y="1388"/>
                    </a:lnTo>
                    <a:close/>
                    <a:moveTo>
                      <a:pt x="1185" y="1476"/>
                    </a:moveTo>
                    <a:lnTo>
                      <a:pt x="1186" y="1476"/>
                    </a:lnTo>
                    <a:lnTo>
                      <a:pt x="1186" y="1478"/>
                    </a:lnTo>
                    <a:lnTo>
                      <a:pt x="1185" y="1478"/>
                    </a:lnTo>
                    <a:lnTo>
                      <a:pt x="1185" y="1476"/>
                    </a:lnTo>
                    <a:close/>
                    <a:moveTo>
                      <a:pt x="1220" y="1058"/>
                    </a:moveTo>
                    <a:lnTo>
                      <a:pt x="1222" y="1058"/>
                    </a:lnTo>
                    <a:lnTo>
                      <a:pt x="1222" y="1060"/>
                    </a:lnTo>
                    <a:lnTo>
                      <a:pt x="1220" y="1060"/>
                    </a:lnTo>
                    <a:lnTo>
                      <a:pt x="1220" y="1058"/>
                    </a:lnTo>
                    <a:close/>
                    <a:moveTo>
                      <a:pt x="1186" y="1476"/>
                    </a:moveTo>
                    <a:lnTo>
                      <a:pt x="1190" y="1476"/>
                    </a:lnTo>
                    <a:lnTo>
                      <a:pt x="1190" y="1478"/>
                    </a:lnTo>
                    <a:lnTo>
                      <a:pt x="1186" y="1478"/>
                    </a:lnTo>
                    <a:lnTo>
                      <a:pt x="1186" y="1476"/>
                    </a:lnTo>
                    <a:close/>
                    <a:moveTo>
                      <a:pt x="1334" y="1653"/>
                    </a:moveTo>
                    <a:lnTo>
                      <a:pt x="1334" y="1657"/>
                    </a:lnTo>
                    <a:lnTo>
                      <a:pt x="1334" y="1653"/>
                    </a:lnTo>
                    <a:close/>
                    <a:moveTo>
                      <a:pt x="1200" y="1141"/>
                    </a:moveTo>
                    <a:lnTo>
                      <a:pt x="1202" y="1141"/>
                    </a:lnTo>
                    <a:lnTo>
                      <a:pt x="1202" y="1143"/>
                    </a:lnTo>
                    <a:lnTo>
                      <a:pt x="1200" y="1143"/>
                    </a:lnTo>
                    <a:lnTo>
                      <a:pt x="1200" y="1141"/>
                    </a:lnTo>
                    <a:close/>
                    <a:moveTo>
                      <a:pt x="1140" y="1306"/>
                    </a:moveTo>
                    <a:lnTo>
                      <a:pt x="1142" y="1306"/>
                    </a:lnTo>
                    <a:lnTo>
                      <a:pt x="1142" y="1310"/>
                    </a:lnTo>
                    <a:lnTo>
                      <a:pt x="1140" y="1310"/>
                    </a:lnTo>
                    <a:lnTo>
                      <a:pt x="1140" y="1306"/>
                    </a:lnTo>
                    <a:close/>
                    <a:moveTo>
                      <a:pt x="1190" y="1524"/>
                    </a:moveTo>
                    <a:lnTo>
                      <a:pt x="1191" y="1524"/>
                    </a:lnTo>
                    <a:lnTo>
                      <a:pt x="1191" y="1526"/>
                    </a:lnTo>
                    <a:lnTo>
                      <a:pt x="1190" y="1526"/>
                    </a:lnTo>
                    <a:lnTo>
                      <a:pt x="1190" y="1524"/>
                    </a:lnTo>
                    <a:close/>
                    <a:moveTo>
                      <a:pt x="1200" y="1060"/>
                    </a:moveTo>
                    <a:lnTo>
                      <a:pt x="1202" y="1060"/>
                    </a:lnTo>
                    <a:lnTo>
                      <a:pt x="1202" y="1061"/>
                    </a:lnTo>
                    <a:lnTo>
                      <a:pt x="1200" y="1061"/>
                    </a:lnTo>
                    <a:lnTo>
                      <a:pt x="1200" y="1060"/>
                    </a:lnTo>
                    <a:close/>
                    <a:moveTo>
                      <a:pt x="1161" y="1298"/>
                    </a:moveTo>
                    <a:lnTo>
                      <a:pt x="1162" y="1298"/>
                    </a:lnTo>
                    <a:lnTo>
                      <a:pt x="1162" y="1299"/>
                    </a:lnTo>
                    <a:lnTo>
                      <a:pt x="1161" y="1299"/>
                    </a:lnTo>
                    <a:lnTo>
                      <a:pt x="1161" y="1298"/>
                    </a:lnTo>
                    <a:close/>
                    <a:moveTo>
                      <a:pt x="1207" y="1492"/>
                    </a:moveTo>
                    <a:lnTo>
                      <a:pt x="1208" y="1492"/>
                    </a:lnTo>
                    <a:lnTo>
                      <a:pt x="1208" y="1493"/>
                    </a:lnTo>
                    <a:lnTo>
                      <a:pt x="1207" y="1493"/>
                    </a:lnTo>
                    <a:lnTo>
                      <a:pt x="1207" y="1492"/>
                    </a:lnTo>
                    <a:close/>
                    <a:moveTo>
                      <a:pt x="1416" y="1680"/>
                    </a:moveTo>
                    <a:lnTo>
                      <a:pt x="1417" y="1680"/>
                    </a:lnTo>
                    <a:lnTo>
                      <a:pt x="1417" y="1682"/>
                    </a:lnTo>
                    <a:lnTo>
                      <a:pt x="1416" y="1682"/>
                    </a:lnTo>
                    <a:lnTo>
                      <a:pt x="1416" y="1680"/>
                    </a:lnTo>
                    <a:close/>
                    <a:moveTo>
                      <a:pt x="1244" y="1502"/>
                    </a:moveTo>
                    <a:lnTo>
                      <a:pt x="1246" y="1502"/>
                    </a:lnTo>
                    <a:lnTo>
                      <a:pt x="1246" y="1504"/>
                    </a:lnTo>
                    <a:lnTo>
                      <a:pt x="1244" y="1504"/>
                    </a:lnTo>
                    <a:lnTo>
                      <a:pt x="1244" y="1502"/>
                    </a:lnTo>
                    <a:close/>
                    <a:moveTo>
                      <a:pt x="1193" y="1124"/>
                    </a:moveTo>
                    <a:lnTo>
                      <a:pt x="1193" y="1126"/>
                    </a:lnTo>
                    <a:lnTo>
                      <a:pt x="1193" y="1124"/>
                    </a:lnTo>
                    <a:close/>
                    <a:moveTo>
                      <a:pt x="1176" y="1117"/>
                    </a:moveTo>
                    <a:lnTo>
                      <a:pt x="1178" y="1117"/>
                    </a:lnTo>
                    <a:lnTo>
                      <a:pt x="1178" y="1119"/>
                    </a:lnTo>
                    <a:lnTo>
                      <a:pt x="1176" y="1119"/>
                    </a:lnTo>
                    <a:lnTo>
                      <a:pt x="1176" y="1117"/>
                    </a:lnTo>
                    <a:close/>
                    <a:moveTo>
                      <a:pt x="1161" y="1160"/>
                    </a:moveTo>
                    <a:lnTo>
                      <a:pt x="1162" y="1160"/>
                    </a:lnTo>
                    <a:lnTo>
                      <a:pt x="1162" y="1162"/>
                    </a:lnTo>
                    <a:lnTo>
                      <a:pt x="1161" y="1162"/>
                    </a:lnTo>
                    <a:lnTo>
                      <a:pt x="1161" y="1160"/>
                    </a:lnTo>
                    <a:close/>
                    <a:moveTo>
                      <a:pt x="1190" y="1060"/>
                    </a:moveTo>
                    <a:lnTo>
                      <a:pt x="1193" y="1060"/>
                    </a:lnTo>
                    <a:lnTo>
                      <a:pt x="1190" y="1060"/>
                    </a:lnTo>
                    <a:close/>
                    <a:moveTo>
                      <a:pt x="1162" y="1405"/>
                    </a:moveTo>
                    <a:lnTo>
                      <a:pt x="1164" y="1405"/>
                    </a:lnTo>
                    <a:lnTo>
                      <a:pt x="1164" y="1407"/>
                    </a:lnTo>
                    <a:lnTo>
                      <a:pt x="1162" y="1407"/>
                    </a:lnTo>
                    <a:lnTo>
                      <a:pt x="1162" y="1405"/>
                    </a:lnTo>
                    <a:close/>
                    <a:moveTo>
                      <a:pt x="1176" y="1470"/>
                    </a:moveTo>
                    <a:lnTo>
                      <a:pt x="1178" y="1470"/>
                    </a:lnTo>
                    <a:lnTo>
                      <a:pt x="1178" y="1471"/>
                    </a:lnTo>
                    <a:lnTo>
                      <a:pt x="1176" y="1471"/>
                    </a:lnTo>
                    <a:lnTo>
                      <a:pt x="1176" y="1470"/>
                    </a:lnTo>
                    <a:close/>
                    <a:moveTo>
                      <a:pt x="1212" y="1105"/>
                    </a:moveTo>
                    <a:lnTo>
                      <a:pt x="1213" y="1105"/>
                    </a:lnTo>
                    <a:lnTo>
                      <a:pt x="1212" y="1105"/>
                    </a:lnTo>
                    <a:close/>
                    <a:moveTo>
                      <a:pt x="1205" y="1097"/>
                    </a:moveTo>
                    <a:lnTo>
                      <a:pt x="1207" y="1097"/>
                    </a:lnTo>
                    <a:lnTo>
                      <a:pt x="1207" y="1099"/>
                    </a:lnTo>
                    <a:lnTo>
                      <a:pt x="1205" y="1099"/>
                    </a:lnTo>
                    <a:lnTo>
                      <a:pt x="1205" y="1097"/>
                    </a:lnTo>
                    <a:close/>
                    <a:moveTo>
                      <a:pt x="1241" y="1592"/>
                    </a:moveTo>
                    <a:lnTo>
                      <a:pt x="1242" y="1592"/>
                    </a:lnTo>
                    <a:lnTo>
                      <a:pt x="1242" y="1594"/>
                    </a:lnTo>
                    <a:lnTo>
                      <a:pt x="1241" y="1594"/>
                    </a:lnTo>
                    <a:lnTo>
                      <a:pt x="1241" y="1592"/>
                    </a:lnTo>
                    <a:close/>
                    <a:moveTo>
                      <a:pt x="1185" y="1461"/>
                    </a:moveTo>
                    <a:lnTo>
                      <a:pt x="1185" y="1463"/>
                    </a:lnTo>
                    <a:lnTo>
                      <a:pt x="1185" y="1461"/>
                    </a:lnTo>
                    <a:close/>
                    <a:moveTo>
                      <a:pt x="1191" y="1122"/>
                    </a:moveTo>
                    <a:lnTo>
                      <a:pt x="1193" y="1122"/>
                    </a:lnTo>
                    <a:lnTo>
                      <a:pt x="1193" y="1124"/>
                    </a:lnTo>
                    <a:lnTo>
                      <a:pt x="1191" y="1124"/>
                    </a:lnTo>
                    <a:lnTo>
                      <a:pt x="1191" y="1122"/>
                    </a:lnTo>
                    <a:close/>
                    <a:moveTo>
                      <a:pt x="1232" y="959"/>
                    </a:moveTo>
                    <a:lnTo>
                      <a:pt x="1234" y="959"/>
                    </a:lnTo>
                    <a:lnTo>
                      <a:pt x="1232" y="959"/>
                    </a:lnTo>
                    <a:close/>
                    <a:moveTo>
                      <a:pt x="1332" y="1590"/>
                    </a:moveTo>
                    <a:lnTo>
                      <a:pt x="1334" y="1590"/>
                    </a:lnTo>
                    <a:lnTo>
                      <a:pt x="1332" y="1590"/>
                    </a:lnTo>
                    <a:close/>
                    <a:moveTo>
                      <a:pt x="1179" y="1488"/>
                    </a:moveTo>
                    <a:lnTo>
                      <a:pt x="1179" y="1490"/>
                    </a:lnTo>
                    <a:lnTo>
                      <a:pt x="1179" y="1488"/>
                    </a:lnTo>
                    <a:close/>
                    <a:moveTo>
                      <a:pt x="1298" y="1621"/>
                    </a:moveTo>
                    <a:lnTo>
                      <a:pt x="1300" y="1621"/>
                    </a:lnTo>
                    <a:lnTo>
                      <a:pt x="1300" y="1624"/>
                    </a:lnTo>
                    <a:lnTo>
                      <a:pt x="1298" y="1624"/>
                    </a:lnTo>
                    <a:lnTo>
                      <a:pt x="1298" y="1621"/>
                    </a:lnTo>
                    <a:close/>
                    <a:moveTo>
                      <a:pt x="1258" y="1558"/>
                    </a:moveTo>
                    <a:lnTo>
                      <a:pt x="1259" y="1558"/>
                    </a:lnTo>
                    <a:lnTo>
                      <a:pt x="1259" y="1560"/>
                    </a:lnTo>
                    <a:lnTo>
                      <a:pt x="1258" y="1560"/>
                    </a:lnTo>
                    <a:lnTo>
                      <a:pt x="1258" y="1558"/>
                    </a:lnTo>
                    <a:close/>
                    <a:moveTo>
                      <a:pt x="1162" y="1376"/>
                    </a:moveTo>
                    <a:lnTo>
                      <a:pt x="1164" y="1376"/>
                    </a:lnTo>
                    <a:lnTo>
                      <a:pt x="1164" y="1378"/>
                    </a:lnTo>
                    <a:lnTo>
                      <a:pt x="1162" y="1378"/>
                    </a:lnTo>
                    <a:lnTo>
                      <a:pt x="1162" y="1376"/>
                    </a:lnTo>
                    <a:close/>
                    <a:moveTo>
                      <a:pt x="1210" y="1490"/>
                    </a:moveTo>
                    <a:lnTo>
                      <a:pt x="1210" y="1492"/>
                    </a:lnTo>
                    <a:lnTo>
                      <a:pt x="1210" y="1490"/>
                    </a:lnTo>
                    <a:close/>
                    <a:moveTo>
                      <a:pt x="1208" y="1553"/>
                    </a:moveTo>
                    <a:lnTo>
                      <a:pt x="1208" y="1556"/>
                    </a:lnTo>
                    <a:lnTo>
                      <a:pt x="1208" y="1553"/>
                    </a:lnTo>
                    <a:close/>
                    <a:moveTo>
                      <a:pt x="1264" y="1595"/>
                    </a:moveTo>
                    <a:lnTo>
                      <a:pt x="1266" y="1595"/>
                    </a:lnTo>
                    <a:lnTo>
                      <a:pt x="1266" y="1597"/>
                    </a:lnTo>
                    <a:lnTo>
                      <a:pt x="1264" y="1597"/>
                    </a:lnTo>
                    <a:lnTo>
                      <a:pt x="1264" y="1595"/>
                    </a:lnTo>
                    <a:close/>
                    <a:moveTo>
                      <a:pt x="1208" y="1478"/>
                    </a:moveTo>
                    <a:lnTo>
                      <a:pt x="1210" y="1478"/>
                    </a:lnTo>
                    <a:lnTo>
                      <a:pt x="1210" y="1480"/>
                    </a:lnTo>
                    <a:lnTo>
                      <a:pt x="1208" y="1480"/>
                    </a:lnTo>
                    <a:lnTo>
                      <a:pt x="1208" y="1478"/>
                    </a:lnTo>
                    <a:close/>
                    <a:moveTo>
                      <a:pt x="1173" y="1408"/>
                    </a:moveTo>
                    <a:lnTo>
                      <a:pt x="1174" y="1408"/>
                    </a:lnTo>
                    <a:lnTo>
                      <a:pt x="1174" y="1410"/>
                    </a:lnTo>
                    <a:lnTo>
                      <a:pt x="1173" y="1410"/>
                    </a:lnTo>
                    <a:lnTo>
                      <a:pt x="1173" y="1408"/>
                    </a:lnTo>
                    <a:close/>
                    <a:moveTo>
                      <a:pt x="1358" y="1650"/>
                    </a:moveTo>
                    <a:lnTo>
                      <a:pt x="1360" y="1650"/>
                    </a:lnTo>
                    <a:lnTo>
                      <a:pt x="1360" y="1652"/>
                    </a:lnTo>
                    <a:lnTo>
                      <a:pt x="1358" y="1652"/>
                    </a:lnTo>
                    <a:lnTo>
                      <a:pt x="1358" y="1650"/>
                    </a:lnTo>
                    <a:close/>
                    <a:moveTo>
                      <a:pt x="1179" y="1276"/>
                    </a:moveTo>
                    <a:lnTo>
                      <a:pt x="1181" y="1276"/>
                    </a:lnTo>
                    <a:lnTo>
                      <a:pt x="1181" y="1277"/>
                    </a:lnTo>
                    <a:lnTo>
                      <a:pt x="1179" y="1277"/>
                    </a:lnTo>
                    <a:lnTo>
                      <a:pt x="1179" y="1276"/>
                    </a:lnTo>
                    <a:close/>
                    <a:moveTo>
                      <a:pt x="1253" y="1572"/>
                    </a:moveTo>
                    <a:lnTo>
                      <a:pt x="1254" y="1572"/>
                    </a:lnTo>
                    <a:lnTo>
                      <a:pt x="1254" y="1575"/>
                    </a:lnTo>
                    <a:lnTo>
                      <a:pt x="1253" y="1575"/>
                    </a:lnTo>
                    <a:lnTo>
                      <a:pt x="1253" y="1572"/>
                    </a:lnTo>
                    <a:close/>
                    <a:moveTo>
                      <a:pt x="1156" y="1245"/>
                    </a:moveTo>
                    <a:lnTo>
                      <a:pt x="1157" y="1245"/>
                    </a:lnTo>
                    <a:lnTo>
                      <a:pt x="1157" y="1247"/>
                    </a:lnTo>
                    <a:lnTo>
                      <a:pt x="1156" y="1247"/>
                    </a:lnTo>
                    <a:lnTo>
                      <a:pt x="1156" y="1245"/>
                    </a:lnTo>
                    <a:close/>
                    <a:moveTo>
                      <a:pt x="1202" y="1243"/>
                    </a:moveTo>
                    <a:lnTo>
                      <a:pt x="1203" y="1243"/>
                    </a:lnTo>
                    <a:lnTo>
                      <a:pt x="1203" y="1245"/>
                    </a:lnTo>
                    <a:lnTo>
                      <a:pt x="1202" y="1245"/>
                    </a:lnTo>
                    <a:lnTo>
                      <a:pt x="1202" y="1243"/>
                    </a:lnTo>
                    <a:close/>
                    <a:moveTo>
                      <a:pt x="1254" y="1573"/>
                    </a:moveTo>
                    <a:lnTo>
                      <a:pt x="1254" y="1577"/>
                    </a:lnTo>
                    <a:lnTo>
                      <a:pt x="1254" y="1573"/>
                    </a:lnTo>
                    <a:close/>
                    <a:moveTo>
                      <a:pt x="1176" y="1119"/>
                    </a:moveTo>
                    <a:lnTo>
                      <a:pt x="1178" y="1119"/>
                    </a:lnTo>
                    <a:lnTo>
                      <a:pt x="1178" y="1121"/>
                    </a:lnTo>
                    <a:lnTo>
                      <a:pt x="1176" y="1121"/>
                    </a:lnTo>
                    <a:lnTo>
                      <a:pt x="1176" y="1119"/>
                    </a:lnTo>
                    <a:close/>
                    <a:moveTo>
                      <a:pt x="1227" y="1582"/>
                    </a:moveTo>
                    <a:lnTo>
                      <a:pt x="1227" y="1585"/>
                    </a:lnTo>
                    <a:lnTo>
                      <a:pt x="1227" y="1582"/>
                    </a:lnTo>
                    <a:close/>
                    <a:moveTo>
                      <a:pt x="1190" y="1483"/>
                    </a:moveTo>
                    <a:lnTo>
                      <a:pt x="1190" y="1485"/>
                    </a:lnTo>
                    <a:lnTo>
                      <a:pt x="1190" y="1483"/>
                    </a:lnTo>
                    <a:close/>
                    <a:moveTo>
                      <a:pt x="1176" y="1197"/>
                    </a:moveTo>
                    <a:lnTo>
                      <a:pt x="1178" y="1197"/>
                    </a:lnTo>
                    <a:lnTo>
                      <a:pt x="1178" y="1199"/>
                    </a:lnTo>
                    <a:lnTo>
                      <a:pt x="1176" y="1199"/>
                    </a:lnTo>
                    <a:lnTo>
                      <a:pt x="1176" y="1197"/>
                    </a:lnTo>
                    <a:close/>
                    <a:moveTo>
                      <a:pt x="1253" y="1498"/>
                    </a:moveTo>
                    <a:lnTo>
                      <a:pt x="1253" y="1500"/>
                    </a:lnTo>
                    <a:lnTo>
                      <a:pt x="1253" y="1498"/>
                    </a:lnTo>
                    <a:close/>
                    <a:moveTo>
                      <a:pt x="1186" y="1384"/>
                    </a:moveTo>
                    <a:lnTo>
                      <a:pt x="1188" y="1384"/>
                    </a:lnTo>
                    <a:lnTo>
                      <a:pt x="1188" y="1386"/>
                    </a:lnTo>
                    <a:lnTo>
                      <a:pt x="1186" y="1386"/>
                    </a:lnTo>
                    <a:lnTo>
                      <a:pt x="1186" y="1384"/>
                    </a:lnTo>
                    <a:close/>
                    <a:moveTo>
                      <a:pt x="1207" y="1071"/>
                    </a:moveTo>
                    <a:lnTo>
                      <a:pt x="1208" y="1071"/>
                    </a:lnTo>
                    <a:lnTo>
                      <a:pt x="1208" y="1073"/>
                    </a:lnTo>
                    <a:lnTo>
                      <a:pt x="1207" y="1073"/>
                    </a:lnTo>
                    <a:lnTo>
                      <a:pt x="1207" y="1071"/>
                    </a:lnTo>
                    <a:close/>
                    <a:moveTo>
                      <a:pt x="1225" y="1575"/>
                    </a:moveTo>
                    <a:lnTo>
                      <a:pt x="1229" y="1575"/>
                    </a:lnTo>
                    <a:lnTo>
                      <a:pt x="1229" y="1577"/>
                    </a:lnTo>
                    <a:lnTo>
                      <a:pt x="1225" y="1577"/>
                    </a:lnTo>
                    <a:lnTo>
                      <a:pt x="1225" y="1575"/>
                    </a:lnTo>
                    <a:close/>
                    <a:moveTo>
                      <a:pt x="1220" y="980"/>
                    </a:moveTo>
                    <a:lnTo>
                      <a:pt x="1222" y="980"/>
                    </a:lnTo>
                    <a:lnTo>
                      <a:pt x="1220" y="980"/>
                    </a:lnTo>
                    <a:close/>
                    <a:moveTo>
                      <a:pt x="1186" y="1191"/>
                    </a:moveTo>
                    <a:lnTo>
                      <a:pt x="1188" y="1191"/>
                    </a:lnTo>
                    <a:lnTo>
                      <a:pt x="1188" y="1192"/>
                    </a:lnTo>
                    <a:lnTo>
                      <a:pt x="1186" y="1192"/>
                    </a:lnTo>
                    <a:lnTo>
                      <a:pt x="1186" y="1191"/>
                    </a:lnTo>
                    <a:close/>
                    <a:moveTo>
                      <a:pt x="1224" y="1580"/>
                    </a:moveTo>
                    <a:lnTo>
                      <a:pt x="1224" y="1582"/>
                    </a:lnTo>
                    <a:lnTo>
                      <a:pt x="1224" y="1580"/>
                    </a:lnTo>
                    <a:close/>
                    <a:moveTo>
                      <a:pt x="1208" y="1553"/>
                    </a:moveTo>
                    <a:lnTo>
                      <a:pt x="1210" y="1553"/>
                    </a:lnTo>
                    <a:lnTo>
                      <a:pt x="1210" y="1555"/>
                    </a:lnTo>
                    <a:lnTo>
                      <a:pt x="1208" y="1555"/>
                    </a:lnTo>
                    <a:lnTo>
                      <a:pt x="1208" y="1553"/>
                    </a:lnTo>
                    <a:close/>
                    <a:moveTo>
                      <a:pt x="1219" y="1524"/>
                    </a:moveTo>
                    <a:lnTo>
                      <a:pt x="1222" y="1524"/>
                    </a:lnTo>
                    <a:lnTo>
                      <a:pt x="1222" y="1526"/>
                    </a:lnTo>
                    <a:lnTo>
                      <a:pt x="1219" y="1526"/>
                    </a:lnTo>
                    <a:lnTo>
                      <a:pt x="1219" y="1524"/>
                    </a:lnTo>
                    <a:close/>
                    <a:moveTo>
                      <a:pt x="1139" y="1310"/>
                    </a:moveTo>
                    <a:lnTo>
                      <a:pt x="1142" y="1310"/>
                    </a:lnTo>
                    <a:lnTo>
                      <a:pt x="1142" y="1311"/>
                    </a:lnTo>
                    <a:lnTo>
                      <a:pt x="1139" y="1311"/>
                    </a:lnTo>
                    <a:lnTo>
                      <a:pt x="1139" y="1310"/>
                    </a:lnTo>
                    <a:close/>
                    <a:moveTo>
                      <a:pt x="1225" y="981"/>
                    </a:moveTo>
                    <a:lnTo>
                      <a:pt x="1227" y="981"/>
                    </a:lnTo>
                    <a:lnTo>
                      <a:pt x="1227" y="983"/>
                    </a:lnTo>
                    <a:lnTo>
                      <a:pt x="1225" y="983"/>
                    </a:lnTo>
                    <a:lnTo>
                      <a:pt x="1225" y="981"/>
                    </a:lnTo>
                    <a:close/>
                    <a:moveTo>
                      <a:pt x="1140" y="1303"/>
                    </a:moveTo>
                    <a:lnTo>
                      <a:pt x="1142" y="1303"/>
                    </a:lnTo>
                    <a:lnTo>
                      <a:pt x="1142" y="1306"/>
                    </a:lnTo>
                    <a:lnTo>
                      <a:pt x="1140" y="1306"/>
                    </a:lnTo>
                    <a:lnTo>
                      <a:pt x="1140" y="1303"/>
                    </a:lnTo>
                    <a:close/>
                    <a:moveTo>
                      <a:pt x="1326" y="1653"/>
                    </a:moveTo>
                    <a:lnTo>
                      <a:pt x="1327" y="1653"/>
                    </a:lnTo>
                    <a:lnTo>
                      <a:pt x="1326" y="1653"/>
                    </a:lnTo>
                    <a:close/>
                    <a:moveTo>
                      <a:pt x="1246" y="1534"/>
                    </a:moveTo>
                    <a:lnTo>
                      <a:pt x="1247" y="1534"/>
                    </a:lnTo>
                    <a:lnTo>
                      <a:pt x="1247" y="1536"/>
                    </a:lnTo>
                    <a:lnTo>
                      <a:pt x="1246" y="1536"/>
                    </a:lnTo>
                    <a:lnTo>
                      <a:pt x="1246" y="1534"/>
                    </a:lnTo>
                    <a:close/>
                    <a:moveTo>
                      <a:pt x="1276" y="1590"/>
                    </a:moveTo>
                    <a:lnTo>
                      <a:pt x="1278" y="1590"/>
                    </a:lnTo>
                    <a:lnTo>
                      <a:pt x="1278" y="1592"/>
                    </a:lnTo>
                    <a:lnTo>
                      <a:pt x="1276" y="1592"/>
                    </a:lnTo>
                    <a:lnTo>
                      <a:pt x="1276" y="1590"/>
                    </a:lnTo>
                    <a:close/>
                    <a:moveTo>
                      <a:pt x="1270" y="1602"/>
                    </a:moveTo>
                    <a:lnTo>
                      <a:pt x="1271" y="1602"/>
                    </a:lnTo>
                    <a:lnTo>
                      <a:pt x="1271" y="1604"/>
                    </a:lnTo>
                    <a:lnTo>
                      <a:pt x="1270" y="1604"/>
                    </a:lnTo>
                    <a:lnTo>
                      <a:pt x="1270" y="1602"/>
                    </a:lnTo>
                    <a:close/>
                    <a:moveTo>
                      <a:pt x="1217" y="1555"/>
                    </a:moveTo>
                    <a:lnTo>
                      <a:pt x="1219" y="1555"/>
                    </a:lnTo>
                    <a:lnTo>
                      <a:pt x="1217" y="1555"/>
                    </a:lnTo>
                    <a:close/>
                    <a:moveTo>
                      <a:pt x="1183" y="1099"/>
                    </a:moveTo>
                    <a:lnTo>
                      <a:pt x="1185" y="1099"/>
                    </a:lnTo>
                    <a:lnTo>
                      <a:pt x="1185" y="1100"/>
                    </a:lnTo>
                    <a:lnTo>
                      <a:pt x="1183" y="1100"/>
                    </a:lnTo>
                    <a:lnTo>
                      <a:pt x="1183" y="1099"/>
                    </a:lnTo>
                    <a:close/>
                    <a:moveTo>
                      <a:pt x="1230" y="1449"/>
                    </a:moveTo>
                    <a:lnTo>
                      <a:pt x="1232" y="1449"/>
                    </a:lnTo>
                    <a:lnTo>
                      <a:pt x="1232" y="1451"/>
                    </a:lnTo>
                    <a:lnTo>
                      <a:pt x="1230" y="1451"/>
                    </a:lnTo>
                    <a:lnTo>
                      <a:pt x="1230" y="1449"/>
                    </a:lnTo>
                    <a:close/>
                    <a:moveTo>
                      <a:pt x="1181" y="1374"/>
                    </a:moveTo>
                    <a:lnTo>
                      <a:pt x="1181" y="1376"/>
                    </a:lnTo>
                    <a:lnTo>
                      <a:pt x="1181" y="1374"/>
                    </a:lnTo>
                    <a:close/>
                    <a:moveTo>
                      <a:pt x="1208" y="1116"/>
                    </a:moveTo>
                    <a:lnTo>
                      <a:pt x="1210" y="1116"/>
                    </a:lnTo>
                    <a:lnTo>
                      <a:pt x="1210" y="1117"/>
                    </a:lnTo>
                    <a:lnTo>
                      <a:pt x="1208" y="1117"/>
                    </a:lnTo>
                    <a:lnTo>
                      <a:pt x="1208" y="1116"/>
                    </a:lnTo>
                    <a:close/>
                    <a:moveTo>
                      <a:pt x="1268" y="1521"/>
                    </a:moveTo>
                    <a:lnTo>
                      <a:pt x="1270" y="1521"/>
                    </a:lnTo>
                    <a:lnTo>
                      <a:pt x="1270" y="1524"/>
                    </a:lnTo>
                    <a:lnTo>
                      <a:pt x="1268" y="1524"/>
                    </a:lnTo>
                    <a:lnTo>
                      <a:pt x="1268" y="1521"/>
                    </a:lnTo>
                    <a:close/>
                    <a:moveTo>
                      <a:pt x="1162" y="1243"/>
                    </a:moveTo>
                    <a:lnTo>
                      <a:pt x="1164" y="1243"/>
                    </a:lnTo>
                    <a:lnTo>
                      <a:pt x="1164" y="1245"/>
                    </a:lnTo>
                    <a:lnTo>
                      <a:pt x="1162" y="1245"/>
                    </a:lnTo>
                    <a:lnTo>
                      <a:pt x="1162" y="1243"/>
                    </a:lnTo>
                    <a:close/>
                    <a:moveTo>
                      <a:pt x="1225" y="959"/>
                    </a:moveTo>
                    <a:lnTo>
                      <a:pt x="1227" y="959"/>
                    </a:lnTo>
                    <a:lnTo>
                      <a:pt x="1227" y="961"/>
                    </a:lnTo>
                    <a:lnTo>
                      <a:pt x="1225" y="961"/>
                    </a:lnTo>
                    <a:lnTo>
                      <a:pt x="1225" y="959"/>
                    </a:lnTo>
                    <a:close/>
                    <a:moveTo>
                      <a:pt x="1179" y="1424"/>
                    </a:moveTo>
                    <a:lnTo>
                      <a:pt x="1181" y="1424"/>
                    </a:lnTo>
                    <a:lnTo>
                      <a:pt x="1181" y="1425"/>
                    </a:lnTo>
                    <a:lnTo>
                      <a:pt x="1179" y="1425"/>
                    </a:lnTo>
                    <a:lnTo>
                      <a:pt x="1179" y="1424"/>
                    </a:lnTo>
                    <a:close/>
                    <a:moveTo>
                      <a:pt x="1154" y="1187"/>
                    </a:moveTo>
                    <a:lnTo>
                      <a:pt x="1156" y="1187"/>
                    </a:lnTo>
                    <a:lnTo>
                      <a:pt x="1154" y="1187"/>
                    </a:lnTo>
                    <a:close/>
                    <a:moveTo>
                      <a:pt x="1217" y="1553"/>
                    </a:moveTo>
                    <a:lnTo>
                      <a:pt x="1220" y="1553"/>
                    </a:lnTo>
                    <a:lnTo>
                      <a:pt x="1220" y="1555"/>
                    </a:lnTo>
                    <a:lnTo>
                      <a:pt x="1217" y="1555"/>
                    </a:lnTo>
                    <a:lnTo>
                      <a:pt x="1217" y="1553"/>
                    </a:lnTo>
                    <a:close/>
                    <a:moveTo>
                      <a:pt x="1164" y="1134"/>
                    </a:moveTo>
                    <a:lnTo>
                      <a:pt x="1166" y="1134"/>
                    </a:lnTo>
                    <a:lnTo>
                      <a:pt x="1166" y="1136"/>
                    </a:lnTo>
                    <a:lnTo>
                      <a:pt x="1164" y="1136"/>
                    </a:lnTo>
                    <a:lnTo>
                      <a:pt x="1164" y="1134"/>
                    </a:lnTo>
                    <a:close/>
                    <a:moveTo>
                      <a:pt x="1224" y="954"/>
                    </a:moveTo>
                    <a:lnTo>
                      <a:pt x="1225" y="954"/>
                    </a:lnTo>
                    <a:lnTo>
                      <a:pt x="1225" y="956"/>
                    </a:lnTo>
                    <a:lnTo>
                      <a:pt x="1224" y="956"/>
                    </a:lnTo>
                    <a:lnTo>
                      <a:pt x="1224" y="954"/>
                    </a:lnTo>
                    <a:close/>
                    <a:moveTo>
                      <a:pt x="1145" y="1252"/>
                    </a:moveTo>
                    <a:lnTo>
                      <a:pt x="1149" y="1252"/>
                    </a:lnTo>
                    <a:lnTo>
                      <a:pt x="1149" y="1253"/>
                    </a:lnTo>
                    <a:lnTo>
                      <a:pt x="1145" y="1253"/>
                    </a:lnTo>
                    <a:lnTo>
                      <a:pt x="1145" y="1252"/>
                    </a:lnTo>
                    <a:close/>
                    <a:moveTo>
                      <a:pt x="1169" y="1415"/>
                    </a:moveTo>
                    <a:lnTo>
                      <a:pt x="1171" y="1415"/>
                    </a:lnTo>
                    <a:lnTo>
                      <a:pt x="1171" y="1417"/>
                    </a:lnTo>
                    <a:lnTo>
                      <a:pt x="1169" y="1417"/>
                    </a:lnTo>
                    <a:lnTo>
                      <a:pt x="1169" y="1415"/>
                    </a:lnTo>
                    <a:close/>
                    <a:moveTo>
                      <a:pt x="1198" y="1427"/>
                    </a:moveTo>
                    <a:lnTo>
                      <a:pt x="1200" y="1427"/>
                    </a:lnTo>
                    <a:lnTo>
                      <a:pt x="1200" y="1429"/>
                    </a:lnTo>
                    <a:lnTo>
                      <a:pt x="1198" y="1429"/>
                    </a:lnTo>
                    <a:lnTo>
                      <a:pt x="1198" y="1427"/>
                    </a:lnTo>
                    <a:close/>
                    <a:moveTo>
                      <a:pt x="1186" y="1485"/>
                    </a:moveTo>
                    <a:lnTo>
                      <a:pt x="1188" y="1485"/>
                    </a:lnTo>
                    <a:lnTo>
                      <a:pt x="1188" y="1487"/>
                    </a:lnTo>
                    <a:lnTo>
                      <a:pt x="1186" y="1487"/>
                    </a:lnTo>
                    <a:lnTo>
                      <a:pt x="1186" y="1485"/>
                    </a:lnTo>
                    <a:close/>
                    <a:moveTo>
                      <a:pt x="1186" y="1459"/>
                    </a:moveTo>
                    <a:lnTo>
                      <a:pt x="1186" y="1461"/>
                    </a:lnTo>
                    <a:lnTo>
                      <a:pt x="1186" y="1459"/>
                    </a:lnTo>
                    <a:close/>
                    <a:moveTo>
                      <a:pt x="1185" y="1461"/>
                    </a:moveTo>
                    <a:lnTo>
                      <a:pt x="1186" y="1461"/>
                    </a:lnTo>
                    <a:lnTo>
                      <a:pt x="1186" y="1463"/>
                    </a:lnTo>
                    <a:lnTo>
                      <a:pt x="1185" y="1463"/>
                    </a:lnTo>
                    <a:lnTo>
                      <a:pt x="1185" y="1461"/>
                    </a:lnTo>
                    <a:close/>
                    <a:moveTo>
                      <a:pt x="1164" y="1242"/>
                    </a:moveTo>
                    <a:lnTo>
                      <a:pt x="1166" y="1242"/>
                    </a:lnTo>
                    <a:lnTo>
                      <a:pt x="1166" y="1243"/>
                    </a:lnTo>
                    <a:lnTo>
                      <a:pt x="1164" y="1243"/>
                    </a:lnTo>
                    <a:lnTo>
                      <a:pt x="1164" y="1242"/>
                    </a:lnTo>
                    <a:close/>
                    <a:moveTo>
                      <a:pt x="1241" y="1493"/>
                    </a:moveTo>
                    <a:lnTo>
                      <a:pt x="1242" y="1493"/>
                    </a:lnTo>
                    <a:lnTo>
                      <a:pt x="1242" y="1495"/>
                    </a:lnTo>
                    <a:lnTo>
                      <a:pt x="1241" y="1495"/>
                    </a:lnTo>
                    <a:lnTo>
                      <a:pt x="1241" y="1493"/>
                    </a:lnTo>
                    <a:close/>
                    <a:moveTo>
                      <a:pt x="1200" y="1250"/>
                    </a:moveTo>
                    <a:lnTo>
                      <a:pt x="1203" y="1250"/>
                    </a:lnTo>
                    <a:lnTo>
                      <a:pt x="1200" y="1250"/>
                    </a:lnTo>
                    <a:close/>
                    <a:moveTo>
                      <a:pt x="1208" y="1065"/>
                    </a:moveTo>
                    <a:lnTo>
                      <a:pt x="1210" y="1065"/>
                    </a:lnTo>
                    <a:lnTo>
                      <a:pt x="1210" y="1066"/>
                    </a:lnTo>
                    <a:lnTo>
                      <a:pt x="1208" y="1066"/>
                    </a:lnTo>
                    <a:lnTo>
                      <a:pt x="1208" y="1065"/>
                    </a:lnTo>
                    <a:close/>
                    <a:moveTo>
                      <a:pt x="1220" y="1555"/>
                    </a:moveTo>
                    <a:lnTo>
                      <a:pt x="1222" y="1555"/>
                    </a:lnTo>
                    <a:lnTo>
                      <a:pt x="1222" y="1556"/>
                    </a:lnTo>
                    <a:lnTo>
                      <a:pt x="1220" y="1556"/>
                    </a:lnTo>
                    <a:lnTo>
                      <a:pt x="1220" y="1555"/>
                    </a:lnTo>
                    <a:close/>
                    <a:moveTo>
                      <a:pt x="1203" y="1532"/>
                    </a:moveTo>
                    <a:lnTo>
                      <a:pt x="1207" y="1532"/>
                    </a:lnTo>
                    <a:lnTo>
                      <a:pt x="1207" y="1534"/>
                    </a:lnTo>
                    <a:lnTo>
                      <a:pt x="1203" y="1534"/>
                    </a:lnTo>
                    <a:lnTo>
                      <a:pt x="1203" y="1532"/>
                    </a:lnTo>
                    <a:close/>
                    <a:moveTo>
                      <a:pt x="1173" y="1391"/>
                    </a:moveTo>
                    <a:lnTo>
                      <a:pt x="1174" y="1391"/>
                    </a:lnTo>
                    <a:lnTo>
                      <a:pt x="1174" y="1393"/>
                    </a:lnTo>
                    <a:lnTo>
                      <a:pt x="1173" y="1393"/>
                    </a:lnTo>
                    <a:lnTo>
                      <a:pt x="1173" y="1391"/>
                    </a:lnTo>
                    <a:close/>
                    <a:moveTo>
                      <a:pt x="1200" y="1442"/>
                    </a:moveTo>
                    <a:lnTo>
                      <a:pt x="1202" y="1442"/>
                    </a:lnTo>
                    <a:lnTo>
                      <a:pt x="1202" y="1444"/>
                    </a:lnTo>
                    <a:lnTo>
                      <a:pt x="1200" y="1444"/>
                    </a:lnTo>
                    <a:lnTo>
                      <a:pt x="1200" y="1442"/>
                    </a:lnTo>
                    <a:close/>
                    <a:moveTo>
                      <a:pt x="1383" y="1663"/>
                    </a:moveTo>
                    <a:lnTo>
                      <a:pt x="1385" y="1663"/>
                    </a:lnTo>
                    <a:lnTo>
                      <a:pt x="1385" y="1665"/>
                    </a:lnTo>
                    <a:lnTo>
                      <a:pt x="1383" y="1665"/>
                    </a:lnTo>
                    <a:lnTo>
                      <a:pt x="1383" y="1663"/>
                    </a:lnTo>
                    <a:close/>
                    <a:moveTo>
                      <a:pt x="1343" y="1657"/>
                    </a:moveTo>
                    <a:lnTo>
                      <a:pt x="1344" y="1657"/>
                    </a:lnTo>
                    <a:lnTo>
                      <a:pt x="1344" y="1660"/>
                    </a:lnTo>
                    <a:lnTo>
                      <a:pt x="1343" y="1660"/>
                    </a:lnTo>
                    <a:lnTo>
                      <a:pt x="1343" y="1657"/>
                    </a:lnTo>
                    <a:close/>
                    <a:moveTo>
                      <a:pt x="1215" y="1105"/>
                    </a:moveTo>
                    <a:lnTo>
                      <a:pt x="1217" y="1105"/>
                    </a:lnTo>
                    <a:lnTo>
                      <a:pt x="1217" y="1109"/>
                    </a:lnTo>
                    <a:lnTo>
                      <a:pt x="1215" y="1109"/>
                    </a:lnTo>
                    <a:lnTo>
                      <a:pt x="1215" y="1105"/>
                    </a:lnTo>
                    <a:close/>
                    <a:moveTo>
                      <a:pt x="1210" y="1071"/>
                    </a:moveTo>
                    <a:lnTo>
                      <a:pt x="1210" y="1073"/>
                    </a:lnTo>
                    <a:lnTo>
                      <a:pt x="1210" y="1071"/>
                    </a:lnTo>
                    <a:close/>
                    <a:moveTo>
                      <a:pt x="1169" y="1481"/>
                    </a:moveTo>
                    <a:lnTo>
                      <a:pt x="1171" y="1481"/>
                    </a:lnTo>
                    <a:lnTo>
                      <a:pt x="1169" y="1481"/>
                    </a:lnTo>
                    <a:close/>
                    <a:moveTo>
                      <a:pt x="1154" y="1306"/>
                    </a:moveTo>
                    <a:lnTo>
                      <a:pt x="1156" y="1306"/>
                    </a:lnTo>
                    <a:lnTo>
                      <a:pt x="1156" y="1310"/>
                    </a:lnTo>
                    <a:lnTo>
                      <a:pt x="1154" y="1310"/>
                    </a:lnTo>
                    <a:lnTo>
                      <a:pt x="1154" y="1306"/>
                    </a:lnTo>
                    <a:close/>
                    <a:moveTo>
                      <a:pt x="1292" y="1577"/>
                    </a:moveTo>
                    <a:lnTo>
                      <a:pt x="1293" y="1577"/>
                    </a:lnTo>
                    <a:lnTo>
                      <a:pt x="1293" y="1578"/>
                    </a:lnTo>
                    <a:lnTo>
                      <a:pt x="1292" y="1578"/>
                    </a:lnTo>
                    <a:lnTo>
                      <a:pt x="1292" y="1577"/>
                    </a:lnTo>
                    <a:close/>
                    <a:moveTo>
                      <a:pt x="1227" y="997"/>
                    </a:moveTo>
                    <a:lnTo>
                      <a:pt x="1229" y="997"/>
                    </a:lnTo>
                    <a:lnTo>
                      <a:pt x="1229" y="998"/>
                    </a:lnTo>
                    <a:lnTo>
                      <a:pt x="1227" y="998"/>
                    </a:lnTo>
                    <a:lnTo>
                      <a:pt x="1227" y="997"/>
                    </a:lnTo>
                    <a:close/>
                    <a:moveTo>
                      <a:pt x="1151" y="1185"/>
                    </a:moveTo>
                    <a:lnTo>
                      <a:pt x="1152" y="1185"/>
                    </a:lnTo>
                    <a:lnTo>
                      <a:pt x="1152" y="1187"/>
                    </a:lnTo>
                    <a:lnTo>
                      <a:pt x="1151" y="1187"/>
                    </a:lnTo>
                    <a:lnTo>
                      <a:pt x="1151" y="1185"/>
                    </a:lnTo>
                    <a:close/>
                    <a:moveTo>
                      <a:pt x="1205" y="1478"/>
                    </a:moveTo>
                    <a:lnTo>
                      <a:pt x="1207" y="1478"/>
                    </a:lnTo>
                    <a:lnTo>
                      <a:pt x="1207" y="1480"/>
                    </a:lnTo>
                    <a:lnTo>
                      <a:pt x="1205" y="1480"/>
                    </a:lnTo>
                    <a:lnTo>
                      <a:pt x="1205" y="1478"/>
                    </a:lnTo>
                    <a:close/>
                    <a:moveTo>
                      <a:pt x="1169" y="1357"/>
                    </a:moveTo>
                    <a:lnTo>
                      <a:pt x="1171" y="1357"/>
                    </a:lnTo>
                    <a:lnTo>
                      <a:pt x="1169" y="1357"/>
                    </a:lnTo>
                    <a:close/>
                    <a:moveTo>
                      <a:pt x="1186" y="1071"/>
                    </a:moveTo>
                    <a:lnTo>
                      <a:pt x="1188" y="1071"/>
                    </a:lnTo>
                    <a:lnTo>
                      <a:pt x="1188" y="1073"/>
                    </a:lnTo>
                    <a:lnTo>
                      <a:pt x="1186" y="1073"/>
                    </a:lnTo>
                    <a:lnTo>
                      <a:pt x="1186" y="1071"/>
                    </a:lnTo>
                    <a:close/>
                    <a:moveTo>
                      <a:pt x="1198" y="1439"/>
                    </a:moveTo>
                    <a:lnTo>
                      <a:pt x="1198" y="1441"/>
                    </a:lnTo>
                    <a:lnTo>
                      <a:pt x="1198" y="1439"/>
                    </a:lnTo>
                    <a:close/>
                    <a:moveTo>
                      <a:pt x="1196" y="1485"/>
                    </a:moveTo>
                    <a:lnTo>
                      <a:pt x="1198" y="1485"/>
                    </a:lnTo>
                    <a:lnTo>
                      <a:pt x="1198" y="1488"/>
                    </a:lnTo>
                    <a:lnTo>
                      <a:pt x="1196" y="1488"/>
                    </a:lnTo>
                    <a:lnTo>
                      <a:pt x="1196" y="1485"/>
                    </a:lnTo>
                    <a:close/>
                    <a:moveTo>
                      <a:pt x="1300" y="1638"/>
                    </a:moveTo>
                    <a:lnTo>
                      <a:pt x="1302" y="1638"/>
                    </a:lnTo>
                    <a:lnTo>
                      <a:pt x="1302" y="1640"/>
                    </a:lnTo>
                    <a:lnTo>
                      <a:pt x="1300" y="1640"/>
                    </a:lnTo>
                    <a:lnTo>
                      <a:pt x="1300" y="1638"/>
                    </a:lnTo>
                    <a:close/>
                    <a:moveTo>
                      <a:pt x="1259" y="1595"/>
                    </a:moveTo>
                    <a:lnTo>
                      <a:pt x="1261" y="1595"/>
                    </a:lnTo>
                    <a:lnTo>
                      <a:pt x="1259" y="1595"/>
                    </a:lnTo>
                    <a:close/>
                    <a:moveTo>
                      <a:pt x="1168" y="1480"/>
                    </a:moveTo>
                    <a:lnTo>
                      <a:pt x="1169" y="1480"/>
                    </a:lnTo>
                    <a:lnTo>
                      <a:pt x="1169" y="1481"/>
                    </a:lnTo>
                    <a:lnTo>
                      <a:pt x="1168" y="1481"/>
                    </a:lnTo>
                    <a:lnTo>
                      <a:pt x="1168" y="1480"/>
                    </a:lnTo>
                    <a:close/>
                    <a:moveTo>
                      <a:pt x="1179" y="1458"/>
                    </a:moveTo>
                    <a:lnTo>
                      <a:pt x="1179" y="1459"/>
                    </a:lnTo>
                    <a:lnTo>
                      <a:pt x="1179" y="1458"/>
                    </a:lnTo>
                    <a:close/>
                    <a:moveTo>
                      <a:pt x="1331" y="1655"/>
                    </a:moveTo>
                    <a:lnTo>
                      <a:pt x="1332" y="1655"/>
                    </a:lnTo>
                    <a:lnTo>
                      <a:pt x="1332" y="1657"/>
                    </a:lnTo>
                    <a:lnTo>
                      <a:pt x="1331" y="1657"/>
                    </a:lnTo>
                    <a:lnTo>
                      <a:pt x="1331" y="1655"/>
                    </a:lnTo>
                    <a:close/>
                    <a:moveTo>
                      <a:pt x="1259" y="1558"/>
                    </a:moveTo>
                    <a:lnTo>
                      <a:pt x="1261" y="1558"/>
                    </a:lnTo>
                    <a:lnTo>
                      <a:pt x="1261" y="1560"/>
                    </a:lnTo>
                    <a:lnTo>
                      <a:pt x="1259" y="1560"/>
                    </a:lnTo>
                    <a:lnTo>
                      <a:pt x="1259" y="1558"/>
                    </a:lnTo>
                    <a:close/>
                    <a:moveTo>
                      <a:pt x="1164" y="1388"/>
                    </a:moveTo>
                    <a:lnTo>
                      <a:pt x="1166" y="1388"/>
                    </a:lnTo>
                    <a:lnTo>
                      <a:pt x="1166" y="1390"/>
                    </a:lnTo>
                    <a:lnTo>
                      <a:pt x="1164" y="1390"/>
                    </a:lnTo>
                    <a:lnTo>
                      <a:pt x="1164" y="1388"/>
                    </a:lnTo>
                    <a:close/>
                    <a:moveTo>
                      <a:pt x="1261" y="1607"/>
                    </a:moveTo>
                    <a:lnTo>
                      <a:pt x="1263" y="1607"/>
                    </a:lnTo>
                    <a:lnTo>
                      <a:pt x="1263" y="1609"/>
                    </a:lnTo>
                    <a:lnTo>
                      <a:pt x="1261" y="1609"/>
                    </a:lnTo>
                    <a:lnTo>
                      <a:pt x="1261" y="1607"/>
                    </a:lnTo>
                    <a:close/>
                    <a:moveTo>
                      <a:pt x="1246" y="1505"/>
                    </a:moveTo>
                    <a:lnTo>
                      <a:pt x="1247" y="1505"/>
                    </a:lnTo>
                    <a:lnTo>
                      <a:pt x="1247" y="1507"/>
                    </a:lnTo>
                    <a:lnTo>
                      <a:pt x="1246" y="1507"/>
                    </a:lnTo>
                    <a:lnTo>
                      <a:pt x="1246" y="1505"/>
                    </a:lnTo>
                    <a:close/>
                    <a:moveTo>
                      <a:pt x="1185" y="1427"/>
                    </a:moveTo>
                    <a:lnTo>
                      <a:pt x="1186" y="1427"/>
                    </a:lnTo>
                    <a:lnTo>
                      <a:pt x="1185" y="1427"/>
                    </a:lnTo>
                    <a:close/>
                    <a:moveTo>
                      <a:pt x="1186" y="1461"/>
                    </a:moveTo>
                    <a:lnTo>
                      <a:pt x="1188" y="1461"/>
                    </a:lnTo>
                    <a:lnTo>
                      <a:pt x="1188" y="1463"/>
                    </a:lnTo>
                    <a:lnTo>
                      <a:pt x="1186" y="1463"/>
                    </a:lnTo>
                    <a:lnTo>
                      <a:pt x="1186" y="1461"/>
                    </a:lnTo>
                    <a:close/>
                    <a:moveTo>
                      <a:pt x="1236" y="995"/>
                    </a:moveTo>
                    <a:lnTo>
                      <a:pt x="1236" y="997"/>
                    </a:lnTo>
                    <a:lnTo>
                      <a:pt x="1236" y="995"/>
                    </a:lnTo>
                    <a:close/>
                    <a:moveTo>
                      <a:pt x="1196" y="1437"/>
                    </a:moveTo>
                    <a:lnTo>
                      <a:pt x="1198" y="1437"/>
                    </a:lnTo>
                    <a:lnTo>
                      <a:pt x="1198" y="1439"/>
                    </a:lnTo>
                    <a:lnTo>
                      <a:pt x="1196" y="1439"/>
                    </a:lnTo>
                    <a:lnTo>
                      <a:pt x="1196" y="1437"/>
                    </a:lnTo>
                    <a:close/>
                    <a:moveTo>
                      <a:pt x="1171" y="1390"/>
                    </a:moveTo>
                    <a:lnTo>
                      <a:pt x="1173" y="1390"/>
                    </a:lnTo>
                    <a:lnTo>
                      <a:pt x="1173" y="1391"/>
                    </a:lnTo>
                    <a:lnTo>
                      <a:pt x="1171" y="1391"/>
                    </a:lnTo>
                    <a:lnTo>
                      <a:pt x="1171" y="1390"/>
                    </a:lnTo>
                    <a:close/>
                    <a:moveTo>
                      <a:pt x="1191" y="1119"/>
                    </a:moveTo>
                    <a:lnTo>
                      <a:pt x="1191" y="1121"/>
                    </a:lnTo>
                    <a:lnTo>
                      <a:pt x="1191" y="1119"/>
                    </a:lnTo>
                    <a:close/>
                    <a:moveTo>
                      <a:pt x="1191" y="1061"/>
                    </a:moveTo>
                    <a:lnTo>
                      <a:pt x="1191" y="1063"/>
                    </a:lnTo>
                    <a:lnTo>
                      <a:pt x="1191" y="1061"/>
                    </a:lnTo>
                    <a:close/>
                    <a:moveTo>
                      <a:pt x="1212" y="1107"/>
                    </a:moveTo>
                    <a:lnTo>
                      <a:pt x="1213" y="1107"/>
                    </a:lnTo>
                    <a:lnTo>
                      <a:pt x="1213" y="1109"/>
                    </a:lnTo>
                    <a:lnTo>
                      <a:pt x="1212" y="1109"/>
                    </a:lnTo>
                    <a:lnTo>
                      <a:pt x="1212" y="1107"/>
                    </a:lnTo>
                    <a:close/>
                    <a:moveTo>
                      <a:pt x="1212" y="1524"/>
                    </a:moveTo>
                    <a:lnTo>
                      <a:pt x="1213" y="1524"/>
                    </a:lnTo>
                    <a:lnTo>
                      <a:pt x="1213" y="1526"/>
                    </a:lnTo>
                    <a:lnTo>
                      <a:pt x="1212" y="1526"/>
                    </a:lnTo>
                    <a:lnTo>
                      <a:pt x="1212" y="1524"/>
                    </a:lnTo>
                    <a:close/>
                    <a:moveTo>
                      <a:pt x="1212" y="1558"/>
                    </a:moveTo>
                    <a:lnTo>
                      <a:pt x="1213" y="1558"/>
                    </a:lnTo>
                    <a:lnTo>
                      <a:pt x="1213" y="1560"/>
                    </a:lnTo>
                    <a:lnTo>
                      <a:pt x="1212" y="1560"/>
                    </a:lnTo>
                    <a:lnTo>
                      <a:pt x="1212" y="1558"/>
                    </a:lnTo>
                    <a:close/>
                    <a:moveTo>
                      <a:pt x="1179" y="1420"/>
                    </a:moveTo>
                    <a:lnTo>
                      <a:pt x="1179" y="1422"/>
                    </a:lnTo>
                    <a:lnTo>
                      <a:pt x="1179" y="1420"/>
                    </a:lnTo>
                    <a:close/>
                    <a:moveTo>
                      <a:pt x="1440" y="1650"/>
                    </a:moveTo>
                    <a:lnTo>
                      <a:pt x="1440" y="1652"/>
                    </a:lnTo>
                    <a:lnTo>
                      <a:pt x="1440" y="1650"/>
                    </a:lnTo>
                    <a:close/>
                    <a:moveTo>
                      <a:pt x="1208" y="1243"/>
                    </a:moveTo>
                    <a:lnTo>
                      <a:pt x="1210" y="1243"/>
                    </a:lnTo>
                    <a:lnTo>
                      <a:pt x="1208" y="1243"/>
                    </a:lnTo>
                    <a:close/>
                    <a:moveTo>
                      <a:pt x="1293" y="1616"/>
                    </a:moveTo>
                    <a:lnTo>
                      <a:pt x="1295" y="1616"/>
                    </a:lnTo>
                    <a:lnTo>
                      <a:pt x="1293" y="1616"/>
                    </a:lnTo>
                    <a:close/>
                    <a:moveTo>
                      <a:pt x="1341" y="1648"/>
                    </a:moveTo>
                    <a:lnTo>
                      <a:pt x="1343" y="1648"/>
                    </a:lnTo>
                    <a:lnTo>
                      <a:pt x="1343" y="1650"/>
                    </a:lnTo>
                    <a:lnTo>
                      <a:pt x="1341" y="1650"/>
                    </a:lnTo>
                    <a:lnTo>
                      <a:pt x="1341" y="1648"/>
                    </a:lnTo>
                    <a:close/>
                    <a:moveTo>
                      <a:pt x="1185" y="1463"/>
                    </a:moveTo>
                    <a:lnTo>
                      <a:pt x="1186" y="1463"/>
                    </a:lnTo>
                    <a:lnTo>
                      <a:pt x="1186" y="1464"/>
                    </a:lnTo>
                    <a:lnTo>
                      <a:pt x="1185" y="1464"/>
                    </a:lnTo>
                    <a:lnTo>
                      <a:pt x="1185" y="1463"/>
                    </a:lnTo>
                    <a:close/>
                    <a:moveTo>
                      <a:pt x="1212" y="1100"/>
                    </a:moveTo>
                    <a:lnTo>
                      <a:pt x="1213" y="1100"/>
                    </a:lnTo>
                    <a:lnTo>
                      <a:pt x="1213" y="1102"/>
                    </a:lnTo>
                    <a:lnTo>
                      <a:pt x="1212" y="1102"/>
                    </a:lnTo>
                    <a:lnTo>
                      <a:pt x="1212" y="1100"/>
                    </a:lnTo>
                    <a:close/>
                    <a:moveTo>
                      <a:pt x="1166" y="1337"/>
                    </a:moveTo>
                    <a:lnTo>
                      <a:pt x="1166" y="1339"/>
                    </a:lnTo>
                    <a:lnTo>
                      <a:pt x="1166" y="1337"/>
                    </a:lnTo>
                    <a:close/>
                    <a:moveTo>
                      <a:pt x="1185" y="1441"/>
                    </a:moveTo>
                    <a:lnTo>
                      <a:pt x="1186" y="1441"/>
                    </a:lnTo>
                    <a:lnTo>
                      <a:pt x="1186" y="1442"/>
                    </a:lnTo>
                    <a:lnTo>
                      <a:pt x="1185" y="1442"/>
                    </a:lnTo>
                    <a:lnTo>
                      <a:pt x="1185" y="1441"/>
                    </a:lnTo>
                    <a:close/>
                    <a:moveTo>
                      <a:pt x="1212" y="1260"/>
                    </a:moveTo>
                    <a:lnTo>
                      <a:pt x="1213" y="1260"/>
                    </a:lnTo>
                    <a:lnTo>
                      <a:pt x="1212" y="1260"/>
                    </a:lnTo>
                    <a:close/>
                    <a:moveTo>
                      <a:pt x="1225" y="956"/>
                    </a:moveTo>
                    <a:lnTo>
                      <a:pt x="1227" y="956"/>
                    </a:lnTo>
                    <a:lnTo>
                      <a:pt x="1227" y="957"/>
                    </a:lnTo>
                    <a:lnTo>
                      <a:pt x="1225" y="957"/>
                    </a:lnTo>
                    <a:lnTo>
                      <a:pt x="1225" y="956"/>
                    </a:lnTo>
                    <a:close/>
                    <a:moveTo>
                      <a:pt x="1270" y="1614"/>
                    </a:moveTo>
                    <a:lnTo>
                      <a:pt x="1271" y="1614"/>
                    </a:lnTo>
                    <a:lnTo>
                      <a:pt x="1270" y="1614"/>
                    </a:lnTo>
                    <a:close/>
                    <a:moveTo>
                      <a:pt x="1326" y="1635"/>
                    </a:moveTo>
                    <a:lnTo>
                      <a:pt x="1327" y="1635"/>
                    </a:lnTo>
                    <a:lnTo>
                      <a:pt x="1326" y="1635"/>
                    </a:lnTo>
                    <a:close/>
                    <a:moveTo>
                      <a:pt x="1159" y="1415"/>
                    </a:moveTo>
                    <a:lnTo>
                      <a:pt x="1159" y="1417"/>
                    </a:lnTo>
                    <a:lnTo>
                      <a:pt x="1159" y="1415"/>
                    </a:lnTo>
                    <a:close/>
                    <a:moveTo>
                      <a:pt x="1196" y="1430"/>
                    </a:moveTo>
                    <a:lnTo>
                      <a:pt x="1198" y="1430"/>
                    </a:lnTo>
                    <a:lnTo>
                      <a:pt x="1198" y="1432"/>
                    </a:lnTo>
                    <a:lnTo>
                      <a:pt x="1196" y="1432"/>
                    </a:lnTo>
                    <a:lnTo>
                      <a:pt x="1196" y="1430"/>
                    </a:lnTo>
                    <a:close/>
                    <a:moveTo>
                      <a:pt x="1208" y="1141"/>
                    </a:moveTo>
                    <a:lnTo>
                      <a:pt x="1208" y="1143"/>
                    </a:lnTo>
                    <a:lnTo>
                      <a:pt x="1208" y="1141"/>
                    </a:lnTo>
                    <a:close/>
                    <a:moveTo>
                      <a:pt x="1263" y="1597"/>
                    </a:moveTo>
                    <a:lnTo>
                      <a:pt x="1264" y="1597"/>
                    </a:lnTo>
                    <a:lnTo>
                      <a:pt x="1264" y="1599"/>
                    </a:lnTo>
                    <a:lnTo>
                      <a:pt x="1263" y="1599"/>
                    </a:lnTo>
                    <a:lnTo>
                      <a:pt x="1263" y="1597"/>
                    </a:lnTo>
                    <a:close/>
                    <a:moveTo>
                      <a:pt x="1225" y="1563"/>
                    </a:moveTo>
                    <a:lnTo>
                      <a:pt x="1227" y="1563"/>
                    </a:lnTo>
                    <a:lnTo>
                      <a:pt x="1225" y="1563"/>
                    </a:lnTo>
                    <a:lnTo>
                      <a:pt x="1224" y="1563"/>
                    </a:lnTo>
                    <a:lnTo>
                      <a:pt x="1225" y="1563"/>
                    </a:lnTo>
                    <a:close/>
                    <a:moveTo>
                      <a:pt x="1256" y="1592"/>
                    </a:moveTo>
                    <a:lnTo>
                      <a:pt x="1258" y="1592"/>
                    </a:lnTo>
                    <a:lnTo>
                      <a:pt x="1258" y="1594"/>
                    </a:lnTo>
                    <a:lnTo>
                      <a:pt x="1256" y="1594"/>
                    </a:lnTo>
                    <a:lnTo>
                      <a:pt x="1256" y="1592"/>
                    </a:lnTo>
                    <a:close/>
                    <a:moveTo>
                      <a:pt x="1203" y="1134"/>
                    </a:moveTo>
                    <a:lnTo>
                      <a:pt x="1203" y="1136"/>
                    </a:lnTo>
                    <a:lnTo>
                      <a:pt x="1203" y="1134"/>
                    </a:lnTo>
                    <a:close/>
                    <a:moveTo>
                      <a:pt x="1205" y="1073"/>
                    </a:moveTo>
                    <a:lnTo>
                      <a:pt x="1207" y="1073"/>
                    </a:lnTo>
                    <a:lnTo>
                      <a:pt x="1205" y="1073"/>
                    </a:lnTo>
                    <a:close/>
                    <a:moveTo>
                      <a:pt x="1229" y="1583"/>
                    </a:moveTo>
                    <a:lnTo>
                      <a:pt x="1230" y="1583"/>
                    </a:lnTo>
                    <a:lnTo>
                      <a:pt x="1230" y="1585"/>
                    </a:lnTo>
                    <a:lnTo>
                      <a:pt x="1229" y="1585"/>
                    </a:lnTo>
                    <a:lnTo>
                      <a:pt x="1229" y="1583"/>
                    </a:lnTo>
                    <a:close/>
                    <a:moveTo>
                      <a:pt x="1287" y="1595"/>
                    </a:moveTo>
                    <a:lnTo>
                      <a:pt x="1288" y="1595"/>
                    </a:lnTo>
                    <a:lnTo>
                      <a:pt x="1288" y="1597"/>
                    </a:lnTo>
                    <a:lnTo>
                      <a:pt x="1287" y="1597"/>
                    </a:lnTo>
                    <a:lnTo>
                      <a:pt x="1287" y="1595"/>
                    </a:lnTo>
                    <a:close/>
                    <a:moveTo>
                      <a:pt x="1230" y="1572"/>
                    </a:moveTo>
                    <a:lnTo>
                      <a:pt x="1232" y="1572"/>
                    </a:lnTo>
                    <a:lnTo>
                      <a:pt x="1232" y="1573"/>
                    </a:lnTo>
                    <a:lnTo>
                      <a:pt x="1230" y="1573"/>
                    </a:lnTo>
                    <a:lnTo>
                      <a:pt x="1230" y="1572"/>
                    </a:lnTo>
                    <a:close/>
                    <a:moveTo>
                      <a:pt x="1297" y="1611"/>
                    </a:moveTo>
                    <a:lnTo>
                      <a:pt x="1297" y="1612"/>
                    </a:lnTo>
                    <a:lnTo>
                      <a:pt x="1297" y="1611"/>
                    </a:lnTo>
                    <a:close/>
                    <a:moveTo>
                      <a:pt x="1230" y="940"/>
                    </a:moveTo>
                    <a:lnTo>
                      <a:pt x="1232" y="940"/>
                    </a:lnTo>
                    <a:lnTo>
                      <a:pt x="1232" y="942"/>
                    </a:lnTo>
                    <a:lnTo>
                      <a:pt x="1230" y="942"/>
                    </a:lnTo>
                    <a:lnTo>
                      <a:pt x="1230" y="940"/>
                    </a:lnTo>
                    <a:close/>
                    <a:moveTo>
                      <a:pt x="1191" y="1461"/>
                    </a:moveTo>
                    <a:lnTo>
                      <a:pt x="1193" y="1461"/>
                    </a:lnTo>
                    <a:lnTo>
                      <a:pt x="1193" y="1463"/>
                    </a:lnTo>
                    <a:lnTo>
                      <a:pt x="1191" y="1463"/>
                    </a:lnTo>
                    <a:lnTo>
                      <a:pt x="1191" y="1461"/>
                    </a:lnTo>
                    <a:close/>
                    <a:moveTo>
                      <a:pt x="1186" y="1424"/>
                    </a:moveTo>
                    <a:lnTo>
                      <a:pt x="1186" y="1425"/>
                    </a:lnTo>
                    <a:lnTo>
                      <a:pt x="1186" y="1424"/>
                    </a:lnTo>
                    <a:close/>
                    <a:moveTo>
                      <a:pt x="1263" y="1614"/>
                    </a:moveTo>
                    <a:lnTo>
                      <a:pt x="1263" y="1616"/>
                    </a:lnTo>
                    <a:lnTo>
                      <a:pt x="1263" y="1614"/>
                    </a:lnTo>
                    <a:close/>
                    <a:moveTo>
                      <a:pt x="1176" y="1468"/>
                    </a:moveTo>
                    <a:lnTo>
                      <a:pt x="1178" y="1468"/>
                    </a:lnTo>
                    <a:lnTo>
                      <a:pt x="1178" y="1470"/>
                    </a:lnTo>
                    <a:lnTo>
                      <a:pt x="1176" y="1470"/>
                    </a:lnTo>
                    <a:lnTo>
                      <a:pt x="1176" y="1468"/>
                    </a:lnTo>
                    <a:close/>
                    <a:moveTo>
                      <a:pt x="1358" y="1646"/>
                    </a:moveTo>
                    <a:lnTo>
                      <a:pt x="1360" y="1646"/>
                    </a:lnTo>
                    <a:lnTo>
                      <a:pt x="1358" y="1646"/>
                    </a:lnTo>
                    <a:close/>
                    <a:moveTo>
                      <a:pt x="1162" y="1143"/>
                    </a:moveTo>
                    <a:lnTo>
                      <a:pt x="1164" y="1143"/>
                    </a:lnTo>
                    <a:lnTo>
                      <a:pt x="1162" y="1143"/>
                    </a:lnTo>
                    <a:close/>
                    <a:moveTo>
                      <a:pt x="1385" y="1662"/>
                    </a:moveTo>
                    <a:lnTo>
                      <a:pt x="1387" y="1662"/>
                    </a:lnTo>
                    <a:lnTo>
                      <a:pt x="1387" y="1663"/>
                    </a:lnTo>
                    <a:lnTo>
                      <a:pt x="1385" y="1663"/>
                    </a:lnTo>
                    <a:lnTo>
                      <a:pt x="1385" y="1662"/>
                    </a:lnTo>
                    <a:close/>
                    <a:moveTo>
                      <a:pt x="1173" y="1240"/>
                    </a:moveTo>
                    <a:lnTo>
                      <a:pt x="1174" y="1240"/>
                    </a:lnTo>
                    <a:lnTo>
                      <a:pt x="1174" y="1242"/>
                    </a:lnTo>
                    <a:lnTo>
                      <a:pt x="1173" y="1242"/>
                    </a:lnTo>
                    <a:lnTo>
                      <a:pt x="1173" y="1240"/>
                    </a:lnTo>
                    <a:close/>
                    <a:moveTo>
                      <a:pt x="1212" y="1111"/>
                    </a:moveTo>
                    <a:lnTo>
                      <a:pt x="1213" y="1111"/>
                    </a:lnTo>
                    <a:lnTo>
                      <a:pt x="1213" y="1112"/>
                    </a:lnTo>
                    <a:lnTo>
                      <a:pt x="1212" y="1112"/>
                    </a:lnTo>
                    <a:lnTo>
                      <a:pt x="1212" y="1111"/>
                    </a:lnTo>
                    <a:close/>
                    <a:moveTo>
                      <a:pt x="1375" y="1663"/>
                    </a:moveTo>
                    <a:lnTo>
                      <a:pt x="1377" y="1663"/>
                    </a:lnTo>
                    <a:lnTo>
                      <a:pt x="1377" y="1665"/>
                    </a:lnTo>
                    <a:lnTo>
                      <a:pt x="1375" y="1665"/>
                    </a:lnTo>
                    <a:lnTo>
                      <a:pt x="1375" y="1663"/>
                    </a:lnTo>
                    <a:close/>
                    <a:moveTo>
                      <a:pt x="1227" y="1572"/>
                    </a:moveTo>
                    <a:lnTo>
                      <a:pt x="1229" y="1572"/>
                    </a:lnTo>
                    <a:lnTo>
                      <a:pt x="1227" y="1572"/>
                    </a:lnTo>
                    <a:close/>
                    <a:moveTo>
                      <a:pt x="1225" y="1577"/>
                    </a:moveTo>
                    <a:lnTo>
                      <a:pt x="1227" y="1577"/>
                    </a:lnTo>
                    <a:lnTo>
                      <a:pt x="1225" y="1577"/>
                    </a:lnTo>
                    <a:close/>
                    <a:moveTo>
                      <a:pt x="1174" y="1100"/>
                    </a:moveTo>
                    <a:lnTo>
                      <a:pt x="1176" y="1100"/>
                    </a:lnTo>
                    <a:lnTo>
                      <a:pt x="1176" y="1102"/>
                    </a:lnTo>
                    <a:lnTo>
                      <a:pt x="1174" y="1102"/>
                    </a:lnTo>
                    <a:lnTo>
                      <a:pt x="1174" y="1100"/>
                    </a:lnTo>
                    <a:close/>
                    <a:moveTo>
                      <a:pt x="1278" y="423"/>
                    </a:moveTo>
                    <a:lnTo>
                      <a:pt x="1278" y="425"/>
                    </a:lnTo>
                    <a:lnTo>
                      <a:pt x="1278" y="423"/>
                    </a:lnTo>
                    <a:close/>
                    <a:moveTo>
                      <a:pt x="1208" y="1124"/>
                    </a:moveTo>
                    <a:lnTo>
                      <a:pt x="1210" y="1124"/>
                    </a:lnTo>
                    <a:lnTo>
                      <a:pt x="1210" y="1126"/>
                    </a:lnTo>
                    <a:lnTo>
                      <a:pt x="1208" y="1126"/>
                    </a:lnTo>
                    <a:lnTo>
                      <a:pt x="1208" y="1124"/>
                    </a:lnTo>
                    <a:close/>
                    <a:moveTo>
                      <a:pt x="1304" y="1638"/>
                    </a:moveTo>
                    <a:lnTo>
                      <a:pt x="1304" y="1640"/>
                    </a:lnTo>
                    <a:lnTo>
                      <a:pt x="1304" y="1638"/>
                    </a:lnTo>
                    <a:close/>
                    <a:moveTo>
                      <a:pt x="1222" y="1066"/>
                    </a:moveTo>
                    <a:lnTo>
                      <a:pt x="1224" y="1066"/>
                    </a:lnTo>
                    <a:lnTo>
                      <a:pt x="1224" y="1068"/>
                    </a:lnTo>
                    <a:lnTo>
                      <a:pt x="1222" y="1068"/>
                    </a:lnTo>
                    <a:lnTo>
                      <a:pt x="1222" y="1066"/>
                    </a:lnTo>
                    <a:close/>
                    <a:moveTo>
                      <a:pt x="1258" y="1568"/>
                    </a:moveTo>
                    <a:lnTo>
                      <a:pt x="1258" y="1570"/>
                    </a:lnTo>
                    <a:lnTo>
                      <a:pt x="1258" y="1568"/>
                    </a:lnTo>
                    <a:close/>
                    <a:moveTo>
                      <a:pt x="1174" y="1117"/>
                    </a:moveTo>
                    <a:lnTo>
                      <a:pt x="1176" y="1117"/>
                    </a:lnTo>
                    <a:lnTo>
                      <a:pt x="1176" y="1119"/>
                    </a:lnTo>
                    <a:lnTo>
                      <a:pt x="1174" y="1119"/>
                    </a:lnTo>
                    <a:lnTo>
                      <a:pt x="1174" y="1117"/>
                    </a:lnTo>
                    <a:close/>
                    <a:moveTo>
                      <a:pt x="1185" y="1400"/>
                    </a:moveTo>
                    <a:lnTo>
                      <a:pt x="1185" y="1401"/>
                    </a:lnTo>
                    <a:lnTo>
                      <a:pt x="1185" y="1400"/>
                    </a:lnTo>
                    <a:close/>
                    <a:moveTo>
                      <a:pt x="1213" y="1519"/>
                    </a:moveTo>
                    <a:lnTo>
                      <a:pt x="1215" y="1519"/>
                    </a:lnTo>
                    <a:lnTo>
                      <a:pt x="1215" y="1521"/>
                    </a:lnTo>
                    <a:lnTo>
                      <a:pt x="1213" y="1521"/>
                    </a:lnTo>
                    <a:lnTo>
                      <a:pt x="1213" y="1519"/>
                    </a:lnTo>
                    <a:close/>
                    <a:moveTo>
                      <a:pt x="1219" y="1543"/>
                    </a:moveTo>
                    <a:lnTo>
                      <a:pt x="1220" y="1543"/>
                    </a:lnTo>
                    <a:lnTo>
                      <a:pt x="1220" y="1544"/>
                    </a:lnTo>
                    <a:lnTo>
                      <a:pt x="1219" y="1544"/>
                    </a:lnTo>
                    <a:lnTo>
                      <a:pt x="1219" y="1543"/>
                    </a:lnTo>
                    <a:close/>
                    <a:moveTo>
                      <a:pt x="1205" y="1066"/>
                    </a:moveTo>
                    <a:lnTo>
                      <a:pt x="1205" y="1068"/>
                    </a:lnTo>
                    <a:lnTo>
                      <a:pt x="1205" y="1066"/>
                    </a:lnTo>
                    <a:close/>
                    <a:moveTo>
                      <a:pt x="1191" y="1126"/>
                    </a:moveTo>
                    <a:lnTo>
                      <a:pt x="1193" y="1126"/>
                    </a:lnTo>
                    <a:lnTo>
                      <a:pt x="1193" y="1128"/>
                    </a:lnTo>
                    <a:lnTo>
                      <a:pt x="1191" y="1128"/>
                    </a:lnTo>
                    <a:lnTo>
                      <a:pt x="1191" y="1126"/>
                    </a:lnTo>
                    <a:close/>
                    <a:moveTo>
                      <a:pt x="1176" y="1441"/>
                    </a:moveTo>
                    <a:lnTo>
                      <a:pt x="1179" y="1441"/>
                    </a:lnTo>
                    <a:lnTo>
                      <a:pt x="1179" y="1442"/>
                    </a:lnTo>
                    <a:lnTo>
                      <a:pt x="1176" y="1442"/>
                    </a:lnTo>
                    <a:lnTo>
                      <a:pt x="1176" y="1441"/>
                    </a:lnTo>
                    <a:close/>
                    <a:moveTo>
                      <a:pt x="1227" y="730"/>
                    </a:moveTo>
                    <a:lnTo>
                      <a:pt x="1229" y="730"/>
                    </a:lnTo>
                    <a:lnTo>
                      <a:pt x="1229" y="731"/>
                    </a:lnTo>
                    <a:lnTo>
                      <a:pt x="1227" y="731"/>
                    </a:lnTo>
                    <a:lnTo>
                      <a:pt x="1227" y="730"/>
                    </a:lnTo>
                    <a:close/>
                    <a:moveTo>
                      <a:pt x="1195" y="1048"/>
                    </a:moveTo>
                    <a:lnTo>
                      <a:pt x="1196" y="1048"/>
                    </a:lnTo>
                    <a:lnTo>
                      <a:pt x="1195" y="1048"/>
                    </a:lnTo>
                    <a:close/>
                    <a:moveTo>
                      <a:pt x="1207" y="1060"/>
                    </a:moveTo>
                    <a:lnTo>
                      <a:pt x="1208" y="1060"/>
                    </a:lnTo>
                    <a:lnTo>
                      <a:pt x="1208" y="1061"/>
                    </a:lnTo>
                    <a:lnTo>
                      <a:pt x="1207" y="1061"/>
                    </a:lnTo>
                    <a:lnTo>
                      <a:pt x="1207" y="1060"/>
                    </a:lnTo>
                    <a:close/>
                    <a:moveTo>
                      <a:pt x="1207" y="1102"/>
                    </a:moveTo>
                    <a:lnTo>
                      <a:pt x="1208" y="1102"/>
                    </a:lnTo>
                    <a:lnTo>
                      <a:pt x="1208" y="1104"/>
                    </a:lnTo>
                    <a:lnTo>
                      <a:pt x="1207" y="1104"/>
                    </a:lnTo>
                    <a:lnTo>
                      <a:pt x="1207" y="1102"/>
                    </a:lnTo>
                    <a:close/>
                    <a:moveTo>
                      <a:pt x="1166" y="1136"/>
                    </a:moveTo>
                    <a:lnTo>
                      <a:pt x="1168" y="1136"/>
                    </a:lnTo>
                    <a:lnTo>
                      <a:pt x="1168" y="1138"/>
                    </a:lnTo>
                    <a:lnTo>
                      <a:pt x="1166" y="1138"/>
                    </a:lnTo>
                    <a:lnTo>
                      <a:pt x="1166" y="1136"/>
                    </a:lnTo>
                    <a:close/>
                    <a:moveTo>
                      <a:pt x="1178" y="1277"/>
                    </a:moveTo>
                    <a:lnTo>
                      <a:pt x="1178" y="1281"/>
                    </a:lnTo>
                    <a:lnTo>
                      <a:pt x="1178" y="1277"/>
                    </a:lnTo>
                    <a:close/>
                    <a:moveTo>
                      <a:pt x="1188" y="1483"/>
                    </a:moveTo>
                    <a:lnTo>
                      <a:pt x="1190" y="1483"/>
                    </a:lnTo>
                    <a:lnTo>
                      <a:pt x="1188" y="1483"/>
                    </a:lnTo>
                    <a:close/>
                    <a:moveTo>
                      <a:pt x="1178" y="1373"/>
                    </a:moveTo>
                    <a:lnTo>
                      <a:pt x="1178" y="1374"/>
                    </a:lnTo>
                    <a:lnTo>
                      <a:pt x="1178" y="1373"/>
                    </a:lnTo>
                    <a:close/>
                    <a:moveTo>
                      <a:pt x="1389" y="1663"/>
                    </a:moveTo>
                    <a:lnTo>
                      <a:pt x="1389" y="1665"/>
                    </a:lnTo>
                    <a:lnTo>
                      <a:pt x="1389" y="1663"/>
                    </a:lnTo>
                    <a:close/>
                    <a:moveTo>
                      <a:pt x="1417" y="1684"/>
                    </a:moveTo>
                    <a:lnTo>
                      <a:pt x="1419" y="1684"/>
                    </a:lnTo>
                    <a:lnTo>
                      <a:pt x="1419" y="1686"/>
                    </a:lnTo>
                    <a:lnTo>
                      <a:pt x="1417" y="1686"/>
                    </a:lnTo>
                    <a:lnTo>
                      <a:pt x="1417" y="1684"/>
                    </a:lnTo>
                    <a:close/>
                    <a:moveTo>
                      <a:pt x="1181" y="1481"/>
                    </a:moveTo>
                    <a:lnTo>
                      <a:pt x="1183" y="1481"/>
                    </a:lnTo>
                    <a:lnTo>
                      <a:pt x="1181" y="1481"/>
                    </a:lnTo>
                    <a:close/>
                    <a:moveTo>
                      <a:pt x="1213" y="1070"/>
                    </a:moveTo>
                    <a:lnTo>
                      <a:pt x="1213" y="1071"/>
                    </a:lnTo>
                    <a:lnTo>
                      <a:pt x="1213" y="1070"/>
                    </a:lnTo>
                    <a:close/>
                    <a:moveTo>
                      <a:pt x="1225" y="1570"/>
                    </a:moveTo>
                    <a:lnTo>
                      <a:pt x="1227" y="1570"/>
                    </a:lnTo>
                    <a:lnTo>
                      <a:pt x="1225" y="1570"/>
                    </a:lnTo>
                    <a:close/>
                    <a:moveTo>
                      <a:pt x="1145" y="1332"/>
                    </a:moveTo>
                    <a:lnTo>
                      <a:pt x="1145" y="1333"/>
                    </a:lnTo>
                    <a:lnTo>
                      <a:pt x="1145" y="1332"/>
                    </a:lnTo>
                    <a:close/>
                    <a:moveTo>
                      <a:pt x="1236" y="1075"/>
                    </a:moveTo>
                    <a:lnTo>
                      <a:pt x="1237" y="1075"/>
                    </a:lnTo>
                    <a:lnTo>
                      <a:pt x="1237" y="1077"/>
                    </a:lnTo>
                    <a:lnTo>
                      <a:pt x="1236" y="1077"/>
                    </a:lnTo>
                    <a:lnTo>
                      <a:pt x="1236" y="1075"/>
                    </a:lnTo>
                    <a:close/>
                    <a:moveTo>
                      <a:pt x="1164" y="1332"/>
                    </a:moveTo>
                    <a:lnTo>
                      <a:pt x="1166" y="1332"/>
                    </a:lnTo>
                    <a:lnTo>
                      <a:pt x="1166" y="1333"/>
                    </a:lnTo>
                    <a:lnTo>
                      <a:pt x="1164" y="1333"/>
                    </a:lnTo>
                    <a:lnTo>
                      <a:pt x="1164" y="1332"/>
                    </a:lnTo>
                    <a:close/>
                    <a:moveTo>
                      <a:pt x="1162" y="1357"/>
                    </a:moveTo>
                    <a:lnTo>
                      <a:pt x="1162" y="1359"/>
                    </a:lnTo>
                    <a:lnTo>
                      <a:pt x="1162" y="1357"/>
                    </a:lnTo>
                    <a:close/>
                    <a:moveTo>
                      <a:pt x="1280" y="1614"/>
                    </a:moveTo>
                    <a:lnTo>
                      <a:pt x="1281" y="1614"/>
                    </a:lnTo>
                    <a:lnTo>
                      <a:pt x="1281" y="1616"/>
                    </a:lnTo>
                    <a:lnTo>
                      <a:pt x="1280" y="1616"/>
                    </a:lnTo>
                    <a:lnTo>
                      <a:pt x="1280" y="1614"/>
                    </a:lnTo>
                    <a:close/>
                    <a:moveTo>
                      <a:pt x="1185" y="1458"/>
                    </a:moveTo>
                    <a:lnTo>
                      <a:pt x="1186" y="1458"/>
                    </a:lnTo>
                    <a:lnTo>
                      <a:pt x="1186" y="1459"/>
                    </a:lnTo>
                    <a:lnTo>
                      <a:pt x="1185" y="1459"/>
                    </a:lnTo>
                    <a:lnTo>
                      <a:pt x="1185" y="1458"/>
                    </a:lnTo>
                    <a:close/>
                    <a:moveTo>
                      <a:pt x="1321" y="1583"/>
                    </a:moveTo>
                    <a:lnTo>
                      <a:pt x="1322" y="1583"/>
                    </a:lnTo>
                    <a:lnTo>
                      <a:pt x="1322" y="1585"/>
                    </a:lnTo>
                    <a:lnTo>
                      <a:pt x="1321" y="1585"/>
                    </a:lnTo>
                    <a:lnTo>
                      <a:pt x="1321" y="1583"/>
                    </a:lnTo>
                    <a:close/>
                    <a:moveTo>
                      <a:pt x="1219" y="1471"/>
                    </a:moveTo>
                    <a:lnTo>
                      <a:pt x="1220" y="1471"/>
                    </a:lnTo>
                    <a:lnTo>
                      <a:pt x="1220" y="1473"/>
                    </a:lnTo>
                    <a:lnTo>
                      <a:pt x="1219" y="1473"/>
                    </a:lnTo>
                    <a:lnTo>
                      <a:pt x="1219" y="1471"/>
                    </a:lnTo>
                    <a:close/>
                    <a:moveTo>
                      <a:pt x="1188" y="1463"/>
                    </a:moveTo>
                    <a:lnTo>
                      <a:pt x="1190" y="1463"/>
                    </a:lnTo>
                    <a:lnTo>
                      <a:pt x="1188" y="1463"/>
                    </a:lnTo>
                    <a:close/>
                    <a:moveTo>
                      <a:pt x="1249" y="1597"/>
                    </a:moveTo>
                    <a:lnTo>
                      <a:pt x="1251" y="1597"/>
                    </a:lnTo>
                    <a:lnTo>
                      <a:pt x="1251" y="1599"/>
                    </a:lnTo>
                    <a:lnTo>
                      <a:pt x="1249" y="1599"/>
                    </a:lnTo>
                    <a:lnTo>
                      <a:pt x="1249" y="1597"/>
                    </a:lnTo>
                    <a:close/>
                    <a:moveTo>
                      <a:pt x="1332" y="1645"/>
                    </a:moveTo>
                    <a:lnTo>
                      <a:pt x="1334" y="1645"/>
                    </a:lnTo>
                    <a:lnTo>
                      <a:pt x="1334" y="1646"/>
                    </a:lnTo>
                    <a:lnTo>
                      <a:pt x="1332" y="1646"/>
                    </a:lnTo>
                    <a:lnTo>
                      <a:pt x="1332" y="1645"/>
                    </a:lnTo>
                    <a:close/>
                    <a:moveTo>
                      <a:pt x="1142" y="1306"/>
                    </a:moveTo>
                    <a:lnTo>
                      <a:pt x="1142" y="1310"/>
                    </a:lnTo>
                    <a:lnTo>
                      <a:pt x="1142" y="1306"/>
                    </a:lnTo>
                    <a:close/>
                    <a:moveTo>
                      <a:pt x="1181" y="1492"/>
                    </a:moveTo>
                    <a:lnTo>
                      <a:pt x="1181" y="1493"/>
                    </a:lnTo>
                    <a:lnTo>
                      <a:pt x="1181" y="1492"/>
                    </a:lnTo>
                    <a:close/>
                    <a:moveTo>
                      <a:pt x="1159" y="1434"/>
                    </a:moveTo>
                    <a:lnTo>
                      <a:pt x="1159" y="1435"/>
                    </a:lnTo>
                    <a:lnTo>
                      <a:pt x="1159" y="1434"/>
                    </a:lnTo>
                    <a:close/>
                    <a:moveTo>
                      <a:pt x="1232" y="1582"/>
                    </a:moveTo>
                    <a:lnTo>
                      <a:pt x="1234" y="1582"/>
                    </a:lnTo>
                    <a:lnTo>
                      <a:pt x="1234" y="1583"/>
                    </a:lnTo>
                    <a:lnTo>
                      <a:pt x="1232" y="1583"/>
                    </a:lnTo>
                    <a:lnTo>
                      <a:pt x="1232" y="1582"/>
                    </a:lnTo>
                    <a:close/>
                    <a:moveTo>
                      <a:pt x="1212" y="1112"/>
                    </a:moveTo>
                    <a:lnTo>
                      <a:pt x="1213" y="1112"/>
                    </a:lnTo>
                    <a:lnTo>
                      <a:pt x="1213" y="1114"/>
                    </a:lnTo>
                    <a:lnTo>
                      <a:pt x="1212" y="1114"/>
                    </a:lnTo>
                    <a:lnTo>
                      <a:pt x="1212" y="1112"/>
                    </a:lnTo>
                    <a:close/>
                    <a:moveTo>
                      <a:pt x="1210" y="1504"/>
                    </a:moveTo>
                    <a:lnTo>
                      <a:pt x="1213" y="1504"/>
                    </a:lnTo>
                    <a:lnTo>
                      <a:pt x="1210" y="1504"/>
                    </a:lnTo>
                    <a:close/>
                    <a:moveTo>
                      <a:pt x="1181" y="1490"/>
                    </a:moveTo>
                    <a:lnTo>
                      <a:pt x="1183" y="1490"/>
                    </a:lnTo>
                    <a:lnTo>
                      <a:pt x="1183" y="1492"/>
                    </a:lnTo>
                    <a:lnTo>
                      <a:pt x="1181" y="1492"/>
                    </a:lnTo>
                    <a:lnTo>
                      <a:pt x="1181" y="1490"/>
                    </a:lnTo>
                    <a:close/>
                    <a:moveTo>
                      <a:pt x="1234" y="1124"/>
                    </a:moveTo>
                    <a:lnTo>
                      <a:pt x="1236" y="1124"/>
                    </a:lnTo>
                    <a:lnTo>
                      <a:pt x="1236" y="1126"/>
                    </a:lnTo>
                    <a:lnTo>
                      <a:pt x="1234" y="1126"/>
                    </a:lnTo>
                    <a:lnTo>
                      <a:pt x="1234" y="1124"/>
                    </a:lnTo>
                    <a:close/>
                    <a:moveTo>
                      <a:pt x="1261" y="1590"/>
                    </a:moveTo>
                    <a:lnTo>
                      <a:pt x="1261" y="1592"/>
                    </a:lnTo>
                    <a:lnTo>
                      <a:pt x="1261" y="1590"/>
                    </a:lnTo>
                    <a:close/>
                    <a:moveTo>
                      <a:pt x="1149" y="1376"/>
                    </a:moveTo>
                    <a:lnTo>
                      <a:pt x="1151" y="1376"/>
                    </a:lnTo>
                    <a:lnTo>
                      <a:pt x="1151" y="1378"/>
                    </a:lnTo>
                    <a:lnTo>
                      <a:pt x="1149" y="1378"/>
                    </a:lnTo>
                    <a:lnTo>
                      <a:pt x="1149" y="1376"/>
                    </a:lnTo>
                    <a:close/>
                    <a:moveTo>
                      <a:pt x="1183" y="1459"/>
                    </a:moveTo>
                    <a:lnTo>
                      <a:pt x="1185" y="1459"/>
                    </a:lnTo>
                    <a:lnTo>
                      <a:pt x="1185" y="1461"/>
                    </a:lnTo>
                    <a:lnTo>
                      <a:pt x="1183" y="1461"/>
                    </a:lnTo>
                    <a:lnTo>
                      <a:pt x="1183" y="1459"/>
                    </a:lnTo>
                    <a:close/>
                    <a:moveTo>
                      <a:pt x="1198" y="1424"/>
                    </a:moveTo>
                    <a:lnTo>
                      <a:pt x="1200" y="1424"/>
                    </a:lnTo>
                    <a:lnTo>
                      <a:pt x="1200" y="1425"/>
                    </a:lnTo>
                    <a:lnTo>
                      <a:pt x="1198" y="1425"/>
                    </a:lnTo>
                    <a:lnTo>
                      <a:pt x="1198" y="1424"/>
                    </a:lnTo>
                    <a:close/>
                    <a:moveTo>
                      <a:pt x="1208" y="1490"/>
                    </a:moveTo>
                    <a:lnTo>
                      <a:pt x="1208" y="1492"/>
                    </a:lnTo>
                    <a:lnTo>
                      <a:pt x="1208" y="1490"/>
                    </a:lnTo>
                    <a:close/>
                    <a:moveTo>
                      <a:pt x="1205" y="1058"/>
                    </a:moveTo>
                    <a:lnTo>
                      <a:pt x="1205" y="1060"/>
                    </a:lnTo>
                    <a:lnTo>
                      <a:pt x="1205" y="1058"/>
                    </a:lnTo>
                    <a:close/>
                    <a:moveTo>
                      <a:pt x="1281" y="1595"/>
                    </a:moveTo>
                    <a:lnTo>
                      <a:pt x="1283" y="1595"/>
                    </a:lnTo>
                    <a:lnTo>
                      <a:pt x="1281" y="1595"/>
                    </a:lnTo>
                    <a:close/>
                    <a:moveTo>
                      <a:pt x="1229" y="1570"/>
                    </a:moveTo>
                    <a:lnTo>
                      <a:pt x="1232" y="1570"/>
                    </a:lnTo>
                    <a:lnTo>
                      <a:pt x="1232" y="1572"/>
                    </a:lnTo>
                    <a:lnTo>
                      <a:pt x="1229" y="1572"/>
                    </a:lnTo>
                    <a:lnTo>
                      <a:pt x="1229" y="1570"/>
                    </a:lnTo>
                    <a:close/>
                    <a:moveTo>
                      <a:pt x="1181" y="1376"/>
                    </a:moveTo>
                    <a:lnTo>
                      <a:pt x="1183" y="1376"/>
                    </a:lnTo>
                    <a:lnTo>
                      <a:pt x="1181" y="1376"/>
                    </a:lnTo>
                    <a:close/>
                    <a:moveTo>
                      <a:pt x="1191" y="1233"/>
                    </a:moveTo>
                    <a:lnTo>
                      <a:pt x="1193" y="1233"/>
                    </a:lnTo>
                    <a:lnTo>
                      <a:pt x="1191" y="1233"/>
                    </a:lnTo>
                    <a:close/>
                    <a:moveTo>
                      <a:pt x="1215" y="983"/>
                    </a:moveTo>
                    <a:lnTo>
                      <a:pt x="1215" y="985"/>
                    </a:lnTo>
                    <a:lnTo>
                      <a:pt x="1215" y="983"/>
                    </a:lnTo>
                    <a:close/>
                    <a:moveTo>
                      <a:pt x="1208" y="1097"/>
                    </a:moveTo>
                    <a:lnTo>
                      <a:pt x="1208" y="1099"/>
                    </a:lnTo>
                    <a:lnTo>
                      <a:pt x="1208" y="1097"/>
                    </a:lnTo>
                    <a:close/>
                    <a:moveTo>
                      <a:pt x="1183" y="1495"/>
                    </a:moveTo>
                    <a:lnTo>
                      <a:pt x="1185" y="1495"/>
                    </a:lnTo>
                    <a:lnTo>
                      <a:pt x="1185" y="1497"/>
                    </a:lnTo>
                    <a:lnTo>
                      <a:pt x="1183" y="1497"/>
                    </a:lnTo>
                    <a:lnTo>
                      <a:pt x="1183" y="1495"/>
                    </a:lnTo>
                    <a:close/>
                    <a:moveTo>
                      <a:pt x="1183" y="1475"/>
                    </a:moveTo>
                    <a:lnTo>
                      <a:pt x="1185" y="1475"/>
                    </a:lnTo>
                    <a:lnTo>
                      <a:pt x="1183" y="1475"/>
                    </a:lnTo>
                    <a:close/>
                    <a:moveTo>
                      <a:pt x="1225" y="1570"/>
                    </a:moveTo>
                    <a:lnTo>
                      <a:pt x="1227" y="1570"/>
                    </a:lnTo>
                    <a:lnTo>
                      <a:pt x="1227" y="1572"/>
                    </a:lnTo>
                    <a:lnTo>
                      <a:pt x="1225" y="1572"/>
                    </a:lnTo>
                    <a:lnTo>
                      <a:pt x="1225" y="1570"/>
                    </a:lnTo>
                    <a:close/>
                    <a:moveTo>
                      <a:pt x="1259" y="1600"/>
                    </a:moveTo>
                    <a:lnTo>
                      <a:pt x="1259" y="1602"/>
                    </a:lnTo>
                    <a:lnTo>
                      <a:pt x="1259" y="1600"/>
                    </a:lnTo>
                    <a:close/>
                    <a:moveTo>
                      <a:pt x="1210" y="1124"/>
                    </a:moveTo>
                    <a:lnTo>
                      <a:pt x="1212" y="1124"/>
                    </a:lnTo>
                    <a:lnTo>
                      <a:pt x="1210" y="1124"/>
                    </a:lnTo>
                    <a:close/>
                    <a:moveTo>
                      <a:pt x="1183" y="1427"/>
                    </a:moveTo>
                    <a:lnTo>
                      <a:pt x="1185" y="1427"/>
                    </a:lnTo>
                    <a:lnTo>
                      <a:pt x="1183" y="1427"/>
                    </a:lnTo>
                    <a:close/>
                    <a:moveTo>
                      <a:pt x="1188" y="1097"/>
                    </a:moveTo>
                    <a:lnTo>
                      <a:pt x="1190" y="1097"/>
                    </a:lnTo>
                    <a:lnTo>
                      <a:pt x="1188" y="1097"/>
                    </a:lnTo>
                    <a:close/>
                    <a:moveTo>
                      <a:pt x="1188" y="1463"/>
                    </a:moveTo>
                    <a:lnTo>
                      <a:pt x="1190" y="1463"/>
                    </a:lnTo>
                    <a:lnTo>
                      <a:pt x="1190" y="1464"/>
                    </a:lnTo>
                    <a:lnTo>
                      <a:pt x="1188" y="1464"/>
                    </a:lnTo>
                    <a:lnTo>
                      <a:pt x="1188" y="1463"/>
                    </a:lnTo>
                    <a:close/>
                    <a:moveTo>
                      <a:pt x="1179" y="1257"/>
                    </a:moveTo>
                    <a:lnTo>
                      <a:pt x="1181" y="1257"/>
                    </a:lnTo>
                    <a:lnTo>
                      <a:pt x="1179" y="1257"/>
                    </a:lnTo>
                    <a:close/>
                    <a:moveTo>
                      <a:pt x="1181" y="1116"/>
                    </a:moveTo>
                    <a:lnTo>
                      <a:pt x="1181" y="1117"/>
                    </a:lnTo>
                    <a:lnTo>
                      <a:pt x="1181" y="1116"/>
                    </a:lnTo>
                    <a:close/>
                    <a:moveTo>
                      <a:pt x="1162" y="1160"/>
                    </a:moveTo>
                    <a:lnTo>
                      <a:pt x="1164" y="1160"/>
                    </a:lnTo>
                    <a:lnTo>
                      <a:pt x="1164" y="1162"/>
                    </a:lnTo>
                    <a:lnTo>
                      <a:pt x="1162" y="1162"/>
                    </a:lnTo>
                    <a:lnTo>
                      <a:pt x="1162" y="1160"/>
                    </a:lnTo>
                    <a:close/>
                    <a:moveTo>
                      <a:pt x="1181" y="1099"/>
                    </a:moveTo>
                    <a:lnTo>
                      <a:pt x="1183" y="1099"/>
                    </a:lnTo>
                    <a:lnTo>
                      <a:pt x="1181" y="1099"/>
                    </a:lnTo>
                    <a:close/>
                    <a:moveTo>
                      <a:pt x="1144" y="1306"/>
                    </a:moveTo>
                    <a:lnTo>
                      <a:pt x="1144" y="1308"/>
                    </a:lnTo>
                    <a:lnTo>
                      <a:pt x="1144" y="1306"/>
                    </a:lnTo>
                    <a:close/>
                    <a:moveTo>
                      <a:pt x="1185" y="1066"/>
                    </a:moveTo>
                    <a:lnTo>
                      <a:pt x="1186" y="1066"/>
                    </a:lnTo>
                    <a:lnTo>
                      <a:pt x="1185" y="1066"/>
                    </a:lnTo>
                    <a:close/>
                    <a:moveTo>
                      <a:pt x="1208" y="1075"/>
                    </a:moveTo>
                    <a:lnTo>
                      <a:pt x="1208" y="1077"/>
                    </a:lnTo>
                    <a:lnTo>
                      <a:pt x="1208" y="1075"/>
                    </a:lnTo>
                    <a:close/>
                    <a:moveTo>
                      <a:pt x="1239" y="1456"/>
                    </a:moveTo>
                    <a:lnTo>
                      <a:pt x="1241" y="1456"/>
                    </a:lnTo>
                    <a:lnTo>
                      <a:pt x="1241" y="1458"/>
                    </a:lnTo>
                    <a:lnTo>
                      <a:pt x="1239" y="1458"/>
                    </a:lnTo>
                    <a:lnTo>
                      <a:pt x="1239" y="1456"/>
                    </a:lnTo>
                    <a:close/>
                    <a:moveTo>
                      <a:pt x="1193" y="1464"/>
                    </a:moveTo>
                    <a:lnTo>
                      <a:pt x="1193" y="1466"/>
                    </a:lnTo>
                    <a:lnTo>
                      <a:pt x="1193" y="1464"/>
                    </a:lnTo>
                    <a:close/>
                    <a:moveTo>
                      <a:pt x="1166" y="1344"/>
                    </a:moveTo>
                    <a:lnTo>
                      <a:pt x="1168" y="1344"/>
                    </a:lnTo>
                    <a:lnTo>
                      <a:pt x="1168" y="1345"/>
                    </a:lnTo>
                    <a:lnTo>
                      <a:pt x="1166" y="1345"/>
                    </a:lnTo>
                    <a:lnTo>
                      <a:pt x="1166" y="1344"/>
                    </a:lnTo>
                    <a:close/>
                    <a:moveTo>
                      <a:pt x="1237" y="1582"/>
                    </a:moveTo>
                    <a:lnTo>
                      <a:pt x="1239" y="1582"/>
                    </a:lnTo>
                    <a:lnTo>
                      <a:pt x="1239" y="1583"/>
                    </a:lnTo>
                    <a:lnTo>
                      <a:pt x="1237" y="1583"/>
                    </a:lnTo>
                    <a:lnTo>
                      <a:pt x="1237" y="1582"/>
                    </a:lnTo>
                    <a:close/>
                    <a:moveTo>
                      <a:pt x="1200" y="1522"/>
                    </a:moveTo>
                    <a:lnTo>
                      <a:pt x="1202" y="1522"/>
                    </a:lnTo>
                    <a:lnTo>
                      <a:pt x="1202" y="1524"/>
                    </a:lnTo>
                    <a:lnTo>
                      <a:pt x="1200" y="1524"/>
                    </a:lnTo>
                    <a:lnTo>
                      <a:pt x="1200" y="1522"/>
                    </a:lnTo>
                    <a:close/>
                    <a:moveTo>
                      <a:pt x="1247" y="951"/>
                    </a:moveTo>
                    <a:lnTo>
                      <a:pt x="1249" y="951"/>
                    </a:lnTo>
                    <a:lnTo>
                      <a:pt x="1247" y="951"/>
                    </a:lnTo>
                    <a:close/>
                    <a:moveTo>
                      <a:pt x="1281" y="1597"/>
                    </a:moveTo>
                    <a:lnTo>
                      <a:pt x="1283" y="1597"/>
                    </a:lnTo>
                    <a:lnTo>
                      <a:pt x="1283" y="1599"/>
                    </a:lnTo>
                    <a:lnTo>
                      <a:pt x="1281" y="1599"/>
                    </a:lnTo>
                    <a:lnTo>
                      <a:pt x="1281" y="1597"/>
                    </a:lnTo>
                    <a:close/>
                    <a:moveTo>
                      <a:pt x="1288" y="1621"/>
                    </a:moveTo>
                    <a:lnTo>
                      <a:pt x="1290" y="1621"/>
                    </a:lnTo>
                    <a:lnTo>
                      <a:pt x="1288" y="1621"/>
                    </a:lnTo>
                    <a:close/>
                    <a:moveTo>
                      <a:pt x="1329" y="1648"/>
                    </a:moveTo>
                    <a:lnTo>
                      <a:pt x="1331" y="1648"/>
                    </a:lnTo>
                    <a:lnTo>
                      <a:pt x="1329" y="1648"/>
                    </a:lnTo>
                    <a:close/>
                    <a:moveTo>
                      <a:pt x="1261" y="1587"/>
                    </a:moveTo>
                    <a:lnTo>
                      <a:pt x="1263" y="1587"/>
                    </a:lnTo>
                    <a:lnTo>
                      <a:pt x="1261" y="1587"/>
                    </a:lnTo>
                    <a:close/>
                    <a:moveTo>
                      <a:pt x="1152" y="1185"/>
                    </a:moveTo>
                    <a:lnTo>
                      <a:pt x="1154" y="1185"/>
                    </a:lnTo>
                    <a:lnTo>
                      <a:pt x="1154" y="1187"/>
                    </a:lnTo>
                    <a:lnTo>
                      <a:pt x="1152" y="1187"/>
                    </a:lnTo>
                    <a:lnTo>
                      <a:pt x="1152" y="1185"/>
                    </a:lnTo>
                    <a:close/>
                    <a:moveTo>
                      <a:pt x="1193" y="1492"/>
                    </a:moveTo>
                    <a:lnTo>
                      <a:pt x="1195" y="1492"/>
                    </a:lnTo>
                    <a:lnTo>
                      <a:pt x="1193" y="1492"/>
                    </a:lnTo>
                    <a:close/>
                    <a:moveTo>
                      <a:pt x="1183" y="1425"/>
                    </a:moveTo>
                    <a:lnTo>
                      <a:pt x="1185" y="1425"/>
                    </a:lnTo>
                    <a:lnTo>
                      <a:pt x="1185" y="1427"/>
                    </a:lnTo>
                    <a:lnTo>
                      <a:pt x="1183" y="1427"/>
                    </a:lnTo>
                    <a:lnTo>
                      <a:pt x="1183" y="1425"/>
                    </a:lnTo>
                    <a:close/>
                    <a:moveTo>
                      <a:pt x="1164" y="1396"/>
                    </a:moveTo>
                    <a:lnTo>
                      <a:pt x="1164" y="1398"/>
                    </a:lnTo>
                    <a:lnTo>
                      <a:pt x="1164" y="1396"/>
                    </a:lnTo>
                    <a:close/>
                    <a:moveTo>
                      <a:pt x="1220" y="1526"/>
                    </a:moveTo>
                    <a:lnTo>
                      <a:pt x="1222" y="1526"/>
                    </a:lnTo>
                    <a:lnTo>
                      <a:pt x="1222" y="1527"/>
                    </a:lnTo>
                    <a:lnTo>
                      <a:pt x="1220" y="1527"/>
                    </a:lnTo>
                    <a:lnTo>
                      <a:pt x="1220" y="1526"/>
                    </a:lnTo>
                    <a:close/>
                    <a:moveTo>
                      <a:pt x="1178" y="1517"/>
                    </a:moveTo>
                    <a:lnTo>
                      <a:pt x="1179" y="1517"/>
                    </a:lnTo>
                    <a:lnTo>
                      <a:pt x="1178" y="1517"/>
                    </a:lnTo>
                    <a:close/>
                    <a:moveTo>
                      <a:pt x="1159" y="1356"/>
                    </a:moveTo>
                    <a:lnTo>
                      <a:pt x="1161" y="1356"/>
                    </a:lnTo>
                    <a:lnTo>
                      <a:pt x="1159" y="1356"/>
                    </a:lnTo>
                    <a:close/>
                    <a:moveTo>
                      <a:pt x="1159" y="1390"/>
                    </a:moveTo>
                    <a:lnTo>
                      <a:pt x="1161" y="1390"/>
                    </a:lnTo>
                    <a:lnTo>
                      <a:pt x="1159" y="1390"/>
                    </a:lnTo>
                    <a:close/>
                    <a:moveTo>
                      <a:pt x="1176" y="1386"/>
                    </a:moveTo>
                    <a:lnTo>
                      <a:pt x="1178" y="1386"/>
                    </a:lnTo>
                    <a:lnTo>
                      <a:pt x="1176" y="1386"/>
                    </a:lnTo>
                    <a:close/>
                    <a:moveTo>
                      <a:pt x="1438" y="1680"/>
                    </a:moveTo>
                    <a:lnTo>
                      <a:pt x="1440" y="1680"/>
                    </a:lnTo>
                    <a:lnTo>
                      <a:pt x="1440" y="1682"/>
                    </a:lnTo>
                    <a:lnTo>
                      <a:pt x="1438" y="1682"/>
                    </a:lnTo>
                    <a:lnTo>
                      <a:pt x="1438" y="1680"/>
                    </a:lnTo>
                    <a:close/>
                    <a:moveTo>
                      <a:pt x="1193" y="1140"/>
                    </a:moveTo>
                    <a:lnTo>
                      <a:pt x="1195" y="1140"/>
                    </a:lnTo>
                    <a:lnTo>
                      <a:pt x="1195" y="1141"/>
                    </a:lnTo>
                    <a:lnTo>
                      <a:pt x="1193" y="1141"/>
                    </a:lnTo>
                    <a:lnTo>
                      <a:pt x="1193" y="1140"/>
                    </a:lnTo>
                    <a:close/>
                    <a:moveTo>
                      <a:pt x="1159" y="1420"/>
                    </a:moveTo>
                    <a:lnTo>
                      <a:pt x="1159" y="1422"/>
                    </a:lnTo>
                    <a:lnTo>
                      <a:pt x="1159" y="1420"/>
                    </a:lnTo>
                    <a:close/>
                    <a:moveTo>
                      <a:pt x="1365" y="1660"/>
                    </a:moveTo>
                    <a:lnTo>
                      <a:pt x="1366" y="1660"/>
                    </a:lnTo>
                    <a:lnTo>
                      <a:pt x="1365" y="1660"/>
                    </a:lnTo>
                    <a:close/>
                    <a:moveTo>
                      <a:pt x="1205" y="1500"/>
                    </a:moveTo>
                    <a:lnTo>
                      <a:pt x="1207" y="1500"/>
                    </a:lnTo>
                    <a:lnTo>
                      <a:pt x="1207" y="1502"/>
                    </a:lnTo>
                    <a:lnTo>
                      <a:pt x="1205" y="1502"/>
                    </a:lnTo>
                    <a:lnTo>
                      <a:pt x="1205" y="1500"/>
                    </a:lnTo>
                    <a:close/>
                    <a:moveTo>
                      <a:pt x="1208" y="1053"/>
                    </a:moveTo>
                    <a:lnTo>
                      <a:pt x="1208" y="1054"/>
                    </a:lnTo>
                    <a:lnTo>
                      <a:pt x="1208" y="1053"/>
                    </a:lnTo>
                    <a:close/>
                    <a:moveTo>
                      <a:pt x="1179" y="1425"/>
                    </a:moveTo>
                    <a:lnTo>
                      <a:pt x="1179" y="1427"/>
                    </a:lnTo>
                    <a:lnTo>
                      <a:pt x="1179" y="1425"/>
                    </a:lnTo>
                    <a:close/>
                    <a:moveTo>
                      <a:pt x="1268" y="1597"/>
                    </a:moveTo>
                    <a:lnTo>
                      <a:pt x="1270" y="1597"/>
                    </a:lnTo>
                    <a:lnTo>
                      <a:pt x="1270" y="1599"/>
                    </a:lnTo>
                    <a:lnTo>
                      <a:pt x="1268" y="1599"/>
                    </a:lnTo>
                    <a:lnTo>
                      <a:pt x="1268" y="1597"/>
                    </a:lnTo>
                    <a:close/>
                    <a:moveTo>
                      <a:pt x="1220" y="1560"/>
                    </a:moveTo>
                    <a:lnTo>
                      <a:pt x="1222" y="1560"/>
                    </a:lnTo>
                    <a:lnTo>
                      <a:pt x="1220" y="1560"/>
                    </a:lnTo>
                    <a:close/>
                    <a:moveTo>
                      <a:pt x="1229" y="1570"/>
                    </a:moveTo>
                    <a:lnTo>
                      <a:pt x="1230" y="1570"/>
                    </a:lnTo>
                    <a:lnTo>
                      <a:pt x="1230" y="1572"/>
                    </a:lnTo>
                    <a:lnTo>
                      <a:pt x="1229" y="1572"/>
                    </a:lnTo>
                    <a:lnTo>
                      <a:pt x="1229" y="1570"/>
                    </a:lnTo>
                    <a:close/>
                    <a:moveTo>
                      <a:pt x="1176" y="1245"/>
                    </a:moveTo>
                    <a:lnTo>
                      <a:pt x="1178" y="1245"/>
                    </a:lnTo>
                    <a:lnTo>
                      <a:pt x="1178" y="1247"/>
                    </a:lnTo>
                    <a:lnTo>
                      <a:pt x="1176" y="1247"/>
                    </a:lnTo>
                    <a:lnTo>
                      <a:pt x="1176" y="1245"/>
                    </a:lnTo>
                    <a:close/>
                    <a:moveTo>
                      <a:pt x="1203" y="1549"/>
                    </a:moveTo>
                    <a:lnTo>
                      <a:pt x="1205" y="1549"/>
                    </a:lnTo>
                    <a:lnTo>
                      <a:pt x="1205" y="1551"/>
                    </a:lnTo>
                    <a:lnTo>
                      <a:pt x="1203" y="1551"/>
                    </a:lnTo>
                    <a:lnTo>
                      <a:pt x="1203" y="1549"/>
                    </a:lnTo>
                    <a:close/>
                    <a:moveTo>
                      <a:pt x="1205" y="1095"/>
                    </a:moveTo>
                    <a:lnTo>
                      <a:pt x="1205" y="1097"/>
                    </a:lnTo>
                    <a:lnTo>
                      <a:pt x="1205" y="1095"/>
                    </a:lnTo>
                    <a:close/>
                    <a:moveTo>
                      <a:pt x="1224" y="976"/>
                    </a:moveTo>
                    <a:lnTo>
                      <a:pt x="1225" y="976"/>
                    </a:lnTo>
                    <a:lnTo>
                      <a:pt x="1225" y="978"/>
                    </a:lnTo>
                    <a:lnTo>
                      <a:pt x="1224" y="978"/>
                    </a:lnTo>
                    <a:lnTo>
                      <a:pt x="1224" y="976"/>
                    </a:lnTo>
                    <a:close/>
                    <a:moveTo>
                      <a:pt x="1390" y="1645"/>
                    </a:moveTo>
                    <a:lnTo>
                      <a:pt x="1392" y="1645"/>
                    </a:lnTo>
                    <a:lnTo>
                      <a:pt x="1392" y="1646"/>
                    </a:lnTo>
                    <a:lnTo>
                      <a:pt x="1390" y="1646"/>
                    </a:lnTo>
                    <a:lnTo>
                      <a:pt x="1390" y="1645"/>
                    </a:lnTo>
                    <a:close/>
                    <a:moveTo>
                      <a:pt x="1205" y="1119"/>
                    </a:moveTo>
                    <a:lnTo>
                      <a:pt x="1207" y="1119"/>
                    </a:lnTo>
                    <a:lnTo>
                      <a:pt x="1205" y="1119"/>
                    </a:lnTo>
                    <a:close/>
                    <a:moveTo>
                      <a:pt x="1200" y="1248"/>
                    </a:moveTo>
                    <a:lnTo>
                      <a:pt x="1202" y="1248"/>
                    </a:lnTo>
                    <a:lnTo>
                      <a:pt x="1202" y="1250"/>
                    </a:lnTo>
                    <a:lnTo>
                      <a:pt x="1200" y="1250"/>
                    </a:lnTo>
                    <a:lnTo>
                      <a:pt x="1200" y="1248"/>
                    </a:lnTo>
                    <a:close/>
                    <a:moveTo>
                      <a:pt x="1395" y="1655"/>
                    </a:moveTo>
                    <a:lnTo>
                      <a:pt x="1397" y="1655"/>
                    </a:lnTo>
                    <a:lnTo>
                      <a:pt x="1397" y="1657"/>
                    </a:lnTo>
                    <a:lnTo>
                      <a:pt x="1395" y="1657"/>
                    </a:lnTo>
                    <a:lnTo>
                      <a:pt x="1395" y="1655"/>
                    </a:lnTo>
                    <a:close/>
                    <a:moveTo>
                      <a:pt x="1159" y="1349"/>
                    </a:moveTo>
                    <a:lnTo>
                      <a:pt x="1161" y="1349"/>
                    </a:lnTo>
                    <a:lnTo>
                      <a:pt x="1159" y="1349"/>
                    </a:lnTo>
                    <a:close/>
                    <a:moveTo>
                      <a:pt x="1198" y="1437"/>
                    </a:moveTo>
                    <a:lnTo>
                      <a:pt x="1198" y="1439"/>
                    </a:lnTo>
                    <a:lnTo>
                      <a:pt x="1198" y="1437"/>
                    </a:lnTo>
                    <a:close/>
                    <a:moveTo>
                      <a:pt x="1217" y="1561"/>
                    </a:moveTo>
                    <a:lnTo>
                      <a:pt x="1219" y="1561"/>
                    </a:lnTo>
                    <a:lnTo>
                      <a:pt x="1217" y="1561"/>
                    </a:lnTo>
                    <a:close/>
                    <a:moveTo>
                      <a:pt x="1174" y="1446"/>
                    </a:moveTo>
                    <a:lnTo>
                      <a:pt x="1174" y="1447"/>
                    </a:lnTo>
                    <a:lnTo>
                      <a:pt x="1174" y="1446"/>
                    </a:lnTo>
                    <a:close/>
                    <a:moveTo>
                      <a:pt x="1185" y="1063"/>
                    </a:moveTo>
                    <a:lnTo>
                      <a:pt x="1185" y="1065"/>
                    </a:lnTo>
                    <a:lnTo>
                      <a:pt x="1185" y="1063"/>
                    </a:lnTo>
                    <a:close/>
                    <a:moveTo>
                      <a:pt x="1368" y="1669"/>
                    </a:moveTo>
                    <a:lnTo>
                      <a:pt x="1368" y="1670"/>
                    </a:lnTo>
                    <a:lnTo>
                      <a:pt x="1368" y="1669"/>
                    </a:lnTo>
                    <a:close/>
                    <a:moveTo>
                      <a:pt x="1196" y="1488"/>
                    </a:moveTo>
                    <a:lnTo>
                      <a:pt x="1198" y="1488"/>
                    </a:lnTo>
                    <a:lnTo>
                      <a:pt x="1198" y="1490"/>
                    </a:lnTo>
                    <a:lnTo>
                      <a:pt x="1196" y="1490"/>
                    </a:lnTo>
                    <a:lnTo>
                      <a:pt x="1196" y="1488"/>
                    </a:lnTo>
                    <a:close/>
                    <a:moveTo>
                      <a:pt x="1156" y="1362"/>
                    </a:moveTo>
                    <a:lnTo>
                      <a:pt x="1156" y="1364"/>
                    </a:lnTo>
                    <a:lnTo>
                      <a:pt x="1156" y="1362"/>
                    </a:lnTo>
                    <a:close/>
                    <a:moveTo>
                      <a:pt x="1207" y="1155"/>
                    </a:moveTo>
                    <a:lnTo>
                      <a:pt x="1208" y="1155"/>
                    </a:lnTo>
                    <a:lnTo>
                      <a:pt x="1207" y="1155"/>
                    </a:lnTo>
                    <a:close/>
                    <a:moveTo>
                      <a:pt x="1224" y="956"/>
                    </a:moveTo>
                    <a:lnTo>
                      <a:pt x="1225" y="956"/>
                    </a:lnTo>
                    <a:lnTo>
                      <a:pt x="1225" y="957"/>
                    </a:lnTo>
                    <a:lnTo>
                      <a:pt x="1224" y="957"/>
                    </a:lnTo>
                    <a:lnTo>
                      <a:pt x="1224" y="956"/>
                    </a:lnTo>
                    <a:close/>
                    <a:moveTo>
                      <a:pt x="1196" y="1453"/>
                    </a:moveTo>
                    <a:lnTo>
                      <a:pt x="1198" y="1453"/>
                    </a:lnTo>
                    <a:lnTo>
                      <a:pt x="1198" y="1454"/>
                    </a:lnTo>
                    <a:lnTo>
                      <a:pt x="1196" y="1454"/>
                    </a:lnTo>
                    <a:lnTo>
                      <a:pt x="1196" y="1453"/>
                    </a:lnTo>
                    <a:close/>
                    <a:moveTo>
                      <a:pt x="1193" y="1487"/>
                    </a:moveTo>
                    <a:lnTo>
                      <a:pt x="1193" y="1488"/>
                    </a:lnTo>
                    <a:lnTo>
                      <a:pt x="1193" y="1487"/>
                    </a:lnTo>
                    <a:close/>
                    <a:moveTo>
                      <a:pt x="1191" y="1140"/>
                    </a:moveTo>
                    <a:lnTo>
                      <a:pt x="1193" y="1140"/>
                    </a:lnTo>
                    <a:lnTo>
                      <a:pt x="1191" y="1140"/>
                    </a:lnTo>
                    <a:close/>
                    <a:moveTo>
                      <a:pt x="1222" y="1568"/>
                    </a:moveTo>
                    <a:lnTo>
                      <a:pt x="1224" y="1568"/>
                    </a:lnTo>
                    <a:lnTo>
                      <a:pt x="1222" y="1568"/>
                    </a:lnTo>
                    <a:close/>
                    <a:moveTo>
                      <a:pt x="1220" y="1071"/>
                    </a:moveTo>
                    <a:lnTo>
                      <a:pt x="1220" y="1073"/>
                    </a:lnTo>
                    <a:lnTo>
                      <a:pt x="1220" y="1071"/>
                    </a:lnTo>
                    <a:close/>
                    <a:moveTo>
                      <a:pt x="1440" y="1665"/>
                    </a:moveTo>
                    <a:lnTo>
                      <a:pt x="1440" y="1667"/>
                    </a:lnTo>
                    <a:lnTo>
                      <a:pt x="1440" y="1665"/>
                    </a:lnTo>
                    <a:close/>
                    <a:moveTo>
                      <a:pt x="1149" y="1328"/>
                    </a:moveTo>
                    <a:lnTo>
                      <a:pt x="1149" y="1330"/>
                    </a:lnTo>
                    <a:lnTo>
                      <a:pt x="1149" y="1328"/>
                    </a:lnTo>
                    <a:close/>
                    <a:moveTo>
                      <a:pt x="1188" y="1485"/>
                    </a:moveTo>
                    <a:lnTo>
                      <a:pt x="1188" y="1487"/>
                    </a:lnTo>
                    <a:lnTo>
                      <a:pt x="1188" y="1485"/>
                    </a:lnTo>
                    <a:close/>
                    <a:moveTo>
                      <a:pt x="1174" y="1102"/>
                    </a:moveTo>
                    <a:lnTo>
                      <a:pt x="1176" y="1102"/>
                    </a:lnTo>
                    <a:lnTo>
                      <a:pt x="1176" y="1104"/>
                    </a:lnTo>
                    <a:lnTo>
                      <a:pt x="1174" y="1104"/>
                    </a:lnTo>
                    <a:lnTo>
                      <a:pt x="1174" y="1102"/>
                    </a:lnTo>
                    <a:close/>
                    <a:moveTo>
                      <a:pt x="1389" y="1628"/>
                    </a:moveTo>
                    <a:lnTo>
                      <a:pt x="1390" y="1628"/>
                    </a:lnTo>
                    <a:lnTo>
                      <a:pt x="1389" y="1628"/>
                    </a:lnTo>
                    <a:close/>
                    <a:moveTo>
                      <a:pt x="1220" y="1060"/>
                    </a:moveTo>
                    <a:lnTo>
                      <a:pt x="1222" y="1060"/>
                    </a:lnTo>
                    <a:lnTo>
                      <a:pt x="1222" y="1061"/>
                    </a:lnTo>
                    <a:lnTo>
                      <a:pt x="1220" y="1061"/>
                    </a:lnTo>
                    <a:lnTo>
                      <a:pt x="1220" y="1060"/>
                    </a:lnTo>
                    <a:close/>
                    <a:moveTo>
                      <a:pt x="1225" y="1556"/>
                    </a:moveTo>
                    <a:lnTo>
                      <a:pt x="1225" y="1558"/>
                    </a:lnTo>
                    <a:lnTo>
                      <a:pt x="1225" y="1556"/>
                    </a:lnTo>
                    <a:close/>
                    <a:moveTo>
                      <a:pt x="1190" y="1097"/>
                    </a:moveTo>
                    <a:lnTo>
                      <a:pt x="1190" y="1099"/>
                    </a:lnTo>
                    <a:lnTo>
                      <a:pt x="1190" y="1097"/>
                    </a:lnTo>
                    <a:close/>
                    <a:moveTo>
                      <a:pt x="1188" y="1487"/>
                    </a:moveTo>
                    <a:lnTo>
                      <a:pt x="1190" y="1487"/>
                    </a:lnTo>
                    <a:lnTo>
                      <a:pt x="1190" y="1488"/>
                    </a:lnTo>
                    <a:lnTo>
                      <a:pt x="1188" y="1488"/>
                    </a:lnTo>
                    <a:lnTo>
                      <a:pt x="1188" y="1487"/>
                    </a:lnTo>
                    <a:close/>
                    <a:moveTo>
                      <a:pt x="1196" y="1092"/>
                    </a:moveTo>
                    <a:lnTo>
                      <a:pt x="1198" y="1092"/>
                    </a:lnTo>
                    <a:lnTo>
                      <a:pt x="1196" y="1092"/>
                    </a:lnTo>
                    <a:close/>
                    <a:moveTo>
                      <a:pt x="1166" y="1236"/>
                    </a:moveTo>
                    <a:lnTo>
                      <a:pt x="1168" y="1236"/>
                    </a:lnTo>
                    <a:lnTo>
                      <a:pt x="1166" y="1236"/>
                    </a:lnTo>
                    <a:close/>
                    <a:moveTo>
                      <a:pt x="1181" y="1473"/>
                    </a:moveTo>
                    <a:lnTo>
                      <a:pt x="1183" y="1473"/>
                    </a:lnTo>
                    <a:lnTo>
                      <a:pt x="1183" y="1475"/>
                    </a:lnTo>
                    <a:lnTo>
                      <a:pt x="1181" y="1475"/>
                    </a:lnTo>
                    <a:lnTo>
                      <a:pt x="1181" y="1473"/>
                    </a:lnTo>
                    <a:close/>
                    <a:moveTo>
                      <a:pt x="1152" y="1187"/>
                    </a:moveTo>
                    <a:lnTo>
                      <a:pt x="1154" y="1187"/>
                    </a:lnTo>
                    <a:lnTo>
                      <a:pt x="1152" y="1187"/>
                    </a:lnTo>
                    <a:close/>
                    <a:moveTo>
                      <a:pt x="1219" y="1583"/>
                    </a:moveTo>
                    <a:lnTo>
                      <a:pt x="1220" y="1583"/>
                    </a:lnTo>
                    <a:lnTo>
                      <a:pt x="1220" y="1585"/>
                    </a:lnTo>
                    <a:lnTo>
                      <a:pt x="1219" y="1585"/>
                    </a:lnTo>
                    <a:lnTo>
                      <a:pt x="1219" y="1583"/>
                    </a:lnTo>
                    <a:close/>
                    <a:moveTo>
                      <a:pt x="1162" y="1240"/>
                    </a:moveTo>
                    <a:lnTo>
                      <a:pt x="1164" y="1240"/>
                    </a:lnTo>
                    <a:lnTo>
                      <a:pt x="1164" y="1242"/>
                    </a:lnTo>
                    <a:lnTo>
                      <a:pt x="1162" y="1242"/>
                    </a:lnTo>
                    <a:lnTo>
                      <a:pt x="1162" y="1240"/>
                    </a:lnTo>
                    <a:close/>
                    <a:moveTo>
                      <a:pt x="1237" y="1590"/>
                    </a:moveTo>
                    <a:lnTo>
                      <a:pt x="1237" y="1592"/>
                    </a:lnTo>
                    <a:lnTo>
                      <a:pt x="1237" y="1590"/>
                    </a:lnTo>
                    <a:close/>
                    <a:moveTo>
                      <a:pt x="1239" y="1582"/>
                    </a:moveTo>
                    <a:lnTo>
                      <a:pt x="1241" y="1582"/>
                    </a:lnTo>
                    <a:lnTo>
                      <a:pt x="1241" y="1583"/>
                    </a:lnTo>
                    <a:lnTo>
                      <a:pt x="1239" y="1583"/>
                    </a:lnTo>
                    <a:lnTo>
                      <a:pt x="1239" y="1582"/>
                    </a:lnTo>
                    <a:close/>
                    <a:moveTo>
                      <a:pt x="1190" y="1485"/>
                    </a:moveTo>
                    <a:lnTo>
                      <a:pt x="1191" y="1485"/>
                    </a:lnTo>
                    <a:lnTo>
                      <a:pt x="1191" y="1487"/>
                    </a:lnTo>
                    <a:lnTo>
                      <a:pt x="1190" y="1487"/>
                    </a:lnTo>
                    <a:lnTo>
                      <a:pt x="1190" y="1485"/>
                    </a:lnTo>
                    <a:close/>
                    <a:moveTo>
                      <a:pt x="1220" y="1541"/>
                    </a:moveTo>
                    <a:lnTo>
                      <a:pt x="1224" y="1541"/>
                    </a:lnTo>
                    <a:lnTo>
                      <a:pt x="1224" y="1543"/>
                    </a:lnTo>
                    <a:lnTo>
                      <a:pt x="1220" y="1543"/>
                    </a:lnTo>
                    <a:lnTo>
                      <a:pt x="1220" y="1541"/>
                    </a:lnTo>
                    <a:close/>
                    <a:moveTo>
                      <a:pt x="1183" y="1483"/>
                    </a:moveTo>
                    <a:lnTo>
                      <a:pt x="1185" y="1483"/>
                    </a:lnTo>
                    <a:lnTo>
                      <a:pt x="1183" y="1483"/>
                    </a:lnTo>
                    <a:close/>
                    <a:moveTo>
                      <a:pt x="1210" y="1560"/>
                    </a:moveTo>
                    <a:lnTo>
                      <a:pt x="1212" y="1560"/>
                    </a:lnTo>
                    <a:lnTo>
                      <a:pt x="1210" y="1560"/>
                    </a:lnTo>
                    <a:close/>
                    <a:moveTo>
                      <a:pt x="1205" y="1119"/>
                    </a:moveTo>
                    <a:lnTo>
                      <a:pt x="1205" y="1121"/>
                    </a:lnTo>
                    <a:lnTo>
                      <a:pt x="1205" y="1119"/>
                    </a:lnTo>
                    <a:close/>
                    <a:moveTo>
                      <a:pt x="1280" y="432"/>
                    </a:moveTo>
                    <a:lnTo>
                      <a:pt x="1280" y="434"/>
                    </a:lnTo>
                    <a:lnTo>
                      <a:pt x="1280" y="432"/>
                    </a:lnTo>
                    <a:close/>
                    <a:moveTo>
                      <a:pt x="1171" y="1381"/>
                    </a:moveTo>
                    <a:lnTo>
                      <a:pt x="1173" y="1381"/>
                    </a:lnTo>
                    <a:lnTo>
                      <a:pt x="1171" y="1381"/>
                    </a:lnTo>
                    <a:close/>
                    <a:moveTo>
                      <a:pt x="1219" y="956"/>
                    </a:moveTo>
                    <a:lnTo>
                      <a:pt x="1219" y="957"/>
                    </a:lnTo>
                    <a:lnTo>
                      <a:pt x="1219" y="956"/>
                    </a:lnTo>
                    <a:close/>
                    <a:moveTo>
                      <a:pt x="1229" y="1566"/>
                    </a:moveTo>
                    <a:lnTo>
                      <a:pt x="1230" y="1566"/>
                    </a:lnTo>
                    <a:lnTo>
                      <a:pt x="1229" y="1566"/>
                    </a:lnTo>
                    <a:close/>
                    <a:moveTo>
                      <a:pt x="1280" y="1595"/>
                    </a:moveTo>
                    <a:lnTo>
                      <a:pt x="1281" y="1595"/>
                    </a:lnTo>
                    <a:lnTo>
                      <a:pt x="1281" y="1597"/>
                    </a:lnTo>
                    <a:lnTo>
                      <a:pt x="1280" y="1597"/>
                    </a:lnTo>
                    <a:lnTo>
                      <a:pt x="1280" y="1595"/>
                    </a:lnTo>
                    <a:close/>
                    <a:moveTo>
                      <a:pt x="1219" y="1556"/>
                    </a:moveTo>
                    <a:lnTo>
                      <a:pt x="1222" y="1556"/>
                    </a:lnTo>
                    <a:lnTo>
                      <a:pt x="1219" y="1556"/>
                    </a:lnTo>
                    <a:close/>
                    <a:moveTo>
                      <a:pt x="1360" y="1648"/>
                    </a:moveTo>
                    <a:lnTo>
                      <a:pt x="1361" y="1648"/>
                    </a:lnTo>
                    <a:lnTo>
                      <a:pt x="1361" y="1650"/>
                    </a:lnTo>
                    <a:lnTo>
                      <a:pt x="1360" y="1650"/>
                    </a:lnTo>
                    <a:lnTo>
                      <a:pt x="1360" y="1648"/>
                    </a:lnTo>
                    <a:close/>
                    <a:moveTo>
                      <a:pt x="1254" y="1595"/>
                    </a:moveTo>
                    <a:lnTo>
                      <a:pt x="1254" y="1597"/>
                    </a:lnTo>
                    <a:lnTo>
                      <a:pt x="1254" y="1595"/>
                    </a:lnTo>
                    <a:close/>
                    <a:moveTo>
                      <a:pt x="1154" y="1243"/>
                    </a:moveTo>
                    <a:lnTo>
                      <a:pt x="1156" y="1243"/>
                    </a:lnTo>
                    <a:lnTo>
                      <a:pt x="1156" y="1245"/>
                    </a:lnTo>
                    <a:lnTo>
                      <a:pt x="1154" y="1245"/>
                    </a:lnTo>
                    <a:lnTo>
                      <a:pt x="1154" y="1243"/>
                    </a:lnTo>
                    <a:close/>
                    <a:moveTo>
                      <a:pt x="1205" y="1094"/>
                    </a:moveTo>
                    <a:lnTo>
                      <a:pt x="1205" y="1095"/>
                    </a:lnTo>
                    <a:lnTo>
                      <a:pt x="1205" y="1094"/>
                    </a:lnTo>
                    <a:close/>
                    <a:moveTo>
                      <a:pt x="1188" y="1276"/>
                    </a:moveTo>
                    <a:lnTo>
                      <a:pt x="1190" y="1276"/>
                    </a:lnTo>
                    <a:lnTo>
                      <a:pt x="1190" y="1277"/>
                    </a:lnTo>
                    <a:lnTo>
                      <a:pt x="1188" y="1277"/>
                    </a:lnTo>
                    <a:lnTo>
                      <a:pt x="1188" y="1276"/>
                    </a:lnTo>
                    <a:close/>
                    <a:moveTo>
                      <a:pt x="1159" y="1388"/>
                    </a:moveTo>
                    <a:lnTo>
                      <a:pt x="1161" y="1388"/>
                    </a:lnTo>
                    <a:lnTo>
                      <a:pt x="1161" y="1390"/>
                    </a:lnTo>
                    <a:lnTo>
                      <a:pt x="1159" y="1390"/>
                    </a:lnTo>
                    <a:lnTo>
                      <a:pt x="1159" y="1388"/>
                    </a:lnTo>
                    <a:close/>
                    <a:moveTo>
                      <a:pt x="1205" y="1250"/>
                    </a:moveTo>
                    <a:lnTo>
                      <a:pt x="1207" y="1250"/>
                    </a:lnTo>
                    <a:lnTo>
                      <a:pt x="1207" y="1252"/>
                    </a:lnTo>
                    <a:lnTo>
                      <a:pt x="1205" y="1252"/>
                    </a:lnTo>
                    <a:lnTo>
                      <a:pt x="1205" y="1250"/>
                    </a:lnTo>
                    <a:close/>
                    <a:moveTo>
                      <a:pt x="1166" y="1242"/>
                    </a:moveTo>
                    <a:lnTo>
                      <a:pt x="1166" y="1243"/>
                    </a:lnTo>
                    <a:lnTo>
                      <a:pt x="1166" y="1242"/>
                    </a:lnTo>
                    <a:close/>
                    <a:moveTo>
                      <a:pt x="1263" y="1590"/>
                    </a:moveTo>
                    <a:lnTo>
                      <a:pt x="1264" y="1590"/>
                    </a:lnTo>
                    <a:lnTo>
                      <a:pt x="1264" y="1592"/>
                    </a:lnTo>
                    <a:lnTo>
                      <a:pt x="1263" y="1592"/>
                    </a:lnTo>
                    <a:lnTo>
                      <a:pt x="1263" y="1590"/>
                    </a:lnTo>
                    <a:close/>
                    <a:moveTo>
                      <a:pt x="1321" y="1626"/>
                    </a:moveTo>
                    <a:lnTo>
                      <a:pt x="1322" y="1626"/>
                    </a:lnTo>
                    <a:lnTo>
                      <a:pt x="1321" y="1626"/>
                    </a:lnTo>
                    <a:close/>
                    <a:moveTo>
                      <a:pt x="1176" y="1432"/>
                    </a:moveTo>
                    <a:lnTo>
                      <a:pt x="1178" y="1432"/>
                    </a:lnTo>
                    <a:lnTo>
                      <a:pt x="1176" y="1432"/>
                    </a:lnTo>
                    <a:close/>
                    <a:moveTo>
                      <a:pt x="1220" y="1556"/>
                    </a:moveTo>
                    <a:lnTo>
                      <a:pt x="1220" y="1558"/>
                    </a:lnTo>
                    <a:lnTo>
                      <a:pt x="1220" y="1556"/>
                    </a:lnTo>
                    <a:close/>
                    <a:moveTo>
                      <a:pt x="1202" y="1058"/>
                    </a:moveTo>
                    <a:lnTo>
                      <a:pt x="1203" y="1058"/>
                    </a:lnTo>
                    <a:lnTo>
                      <a:pt x="1203" y="1060"/>
                    </a:lnTo>
                    <a:lnTo>
                      <a:pt x="1202" y="1060"/>
                    </a:lnTo>
                    <a:lnTo>
                      <a:pt x="1202" y="1058"/>
                    </a:lnTo>
                    <a:close/>
                    <a:moveTo>
                      <a:pt x="1339" y="1660"/>
                    </a:moveTo>
                    <a:lnTo>
                      <a:pt x="1339" y="1662"/>
                    </a:lnTo>
                    <a:lnTo>
                      <a:pt x="1339" y="1660"/>
                    </a:lnTo>
                    <a:close/>
                    <a:moveTo>
                      <a:pt x="1205" y="1122"/>
                    </a:moveTo>
                    <a:lnTo>
                      <a:pt x="1205" y="1124"/>
                    </a:lnTo>
                    <a:lnTo>
                      <a:pt x="1205" y="1122"/>
                    </a:lnTo>
                    <a:close/>
                    <a:moveTo>
                      <a:pt x="1295" y="1616"/>
                    </a:moveTo>
                    <a:lnTo>
                      <a:pt x="1297" y="1616"/>
                    </a:lnTo>
                    <a:lnTo>
                      <a:pt x="1297" y="1618"/>
                    </a:lnTo>
                    <a:lnTo>
                      <a:pt x="1295" y="1618"/>
                    </a:lnTo>
                    <a:lnTo>
                      <a:pt x="1295" y="1616"/>
                    </a:lnTo>
                    <a:close/>
                    <a:moveTo>
                      <a:pt x="1326" y="1650"/>
                    </a:moveTo>
                    <a:lnTo>
                      <a:pt x="1327" y="1650"/>
                    </a:lnTo>
                    <a:lnTo>
                      <a:pt x="1327" y="1652"/>
                    </a:lnTo>
                    <a:lnTo>
                      <a:pt x="1326" y="1652"/>
                    </a:lnTo>
                    <a:lnTo>
                      <a:pt x="1326" y="1650"/>
                    </a:lnTo>
                    <a:close/>
                    <a:moveTo>
                      <a:pt x="1169" y="1434"/>
                    </a:moveTo>
                    <a:lnTo>
                      <a:pt x="1171" y="1434"/>
                    </a:lnTo>
                    <a:lnTo>
                      <a:pt x="1169" y="1434"/>
                    </a:lnTo>
                    <a:close/>
                    <a:moveTo>
                      <a:pt x="1251" y="1597"/>
                    </a:moveTo>
                    <a:lnTo>
                      <a:pt x="1251" y="1599"/>
                    </a:lnTo>
                    <a:lnTo>
                      <a:pt x="1251" y="1597"/>
                    </a:lnTo>
                    <a:close/>
                    <a:moveTo>
                      <a:pt x="1159" y="1349"/>
                    </a:moveTo>
                    <a:lnTo>
                      <a:pt x="1161" y="1349"/>
                    </a:lnTo>
                    <a:lnTo>
                      <a:pt x="1159" y="1349"/>
                    </a:lnTo>
                    <a:close/>
                    <a:moveTo>
                      <a:pt x="1227" y="1583"/>
                    </a:moveTo>
                    <a:lnTo>
                      <a:pt x="1229" y="1583"/>
                    </a:lnTo>
                    <a:lnTo>
                      <a:pt x="1227" y="1583"/>
                    </a:lnTo>
                    <a:close/>
                    <a:moveTo>
                      <a:pt x="1219" y="1524"/>
                    </a:moveTo>
                    <a:lnTo>
                      <a:pt x="1220" y="1524"/>
                    </a:lnTo>
                    <a:lnTo>
                      <a:pt x="1220" y="1526"/>
                    </a:lnTo>
                    <a:lnTo>
                      <a:pt x="1219" y="1526"/>
                    </a:lnTo>
                    <a:lnTo>
                      <a:pt x="1219" y="1524"/>
                    </a:lnTo>
                    <a:close/>
                    <a:moveTo>
                      <a:pt x="1188" y="1447"/>
                    </a:moveTo>
                    <a:lnTo>
                      <a:pt x="1190" y="1447"/>
                    </a:lnTo>
                    <a:lnTo>
                      <a:pt x="1190" y="1449"/>
                    </a:lnTo>
                    <a:lnTo>
                      <a:pt x="1188" y="1449"/>
                    </a:lnTo>
                    <a:lnTo>
                      <a:pt x="1188" y="1447"/>
                    </a:lnTo>
                    <a:close/>
                    <a:moveTo>
                      <a:pt x="1154" y="1185"/>
                    </a:moveTo>
                    <a:lnTo>
                      <a:pt x="1156" y="1185"/>
                    </a:lnTo>
                    <a:lnTo>
                      <a:pt x="1156" y="1187"/>
                    </a:lnTo>
                    <a:lnTo>
                      <a:pt x="1154" y="1187"/>
                    </a:lnTo>
                    <a:lnTo>
                      <a:pt x="1154" y="1185"/>
                    </a:lnTo>
                    <a:close/>
                    <a:moveTo>
                      <a:pt x="1149" y="1332"/>
                    </a:moveTo>
                    <a:lnTo>
                      <a:pt x="1151" y="1332"/>
                    </a:lnTo>
                    <a:lnTo>
                      <a:pt x="1149" y="1332"/>
                    </a:lnTo>
                    <a:close/>
                    <a:moveTo>
                      <a:pt x="1385" y="1662"/>
                    </a:moveTo>
                    <a:lnTo>
                      <a:pt x="1385" y="1663"/>
                    </a:lnTo>
                    <a:lnTo>
                      <a:pt x="1385" y="1662"/>
                    </a:lnTo>
                    <a:close/>
                    <a:moveTo>
                      <a:pt x="1186" y="1485"/>
                    </a:moveTo>
                    <a:lnTo>
                      <a:pt x="1188" y="1485"/>
                    </a:lnTo>
                    <a:lnTo>
                      <a:pt x="1186" y="1485"/>
                    </a:lnTo>
                    <a:close/>
                    <a:moveTo>
                      <a:pt x="1181" y="1459"/>
                    </a:moveTo>
                    <a:lnTo>
                      <a:pt x="1181" y="1461"/>
                    </a:lnTo>
                    <a:lnTo>
                      <a:pt x="1181" y="1459"/>
                    </a:lnTo>
                    <a:close/>
                    <a:moveTo>
                      <a:pt x="1361" y="1670"/>
                    </a:moveTo>
                    <a:lnTo>
                      <a:pt x="1363" y="1670"/>
                    </a:lnTo>
                    <a:lnTo>
                      <a:pt x="1361" y="1670"/>
                    </a:lnTo>
                    <a:close/>
                    <a:moveTo>
                      <a:pt x="1210" y="1090"/>
                    </a:moveTo>
                    <a:lnTo>
                      <a:pt x="1212" y="1090"/>
                    </a:lnTo>
                    <a:lnTo>
                      <a:pt x="1212" y="1092"/>
                    </a:lnTo>
                    <a:lnTo>
                      <a:pt x="1210" y="1092"/>
                    </a:lnTo>
                    <a:lnTo>
                      <a:pt x="1210" y="1090"/>
                    </a:lnTo>
                    <a:close/>
                    <a:moveTo>
                      <a:pt x="1183" y="1071"/>
                    </a:moveTo>
                    <a:lnTo>
                      <a:pt x="1183" y="1073"/>
                    </a:lnTo>
                    <a:lnTo>
                      <a:pt x="1183" y="1071"/>
                    </a:lnTo>
                    <a:close/>
                    <a:moveTo>
                      <a:pt x="1205" y="1105"/>
                    </a:moveTo>
                    <a:lnTo>
                      <a:pt x="1207" y="1105"/>
                    </a:lnTo>
                    <a:lnTo>
                      <a:pt x="1205" y="1105"/>
                    </a:lnTo>
                    <a:close/>
                    <a:moveTo>
                      <a:pt x="1258" y="1602"/>
                    </a:moveTo>
                    <a:lnTo>
                      <a:pt x="1259" y="1602"/>
                    </a:lnTo>
                    <a:lnTo>
                      <a:pt x="1258" y="1602"/>
                    </a:lnTo>
                    <a:close/>
                    <a:moveTo>
                      <a:pt x="1220" y="1505"/>
                    </a:moveTo>
                    <a:lnTo>
                      <a:pt x="1222" y="1505"/>
                    </a:lnTo>
                    <a:lnTo>
                      <a:pt x="1222" y="1507"/>
                    </a:lnTo>
                    <a:lnTo>
                      <a:pt x="1220" y="1507"/>
                    </a:lnTo>
                    <a:lnTo>
                      <a:pt x="1220" y="1505"/>
                    </a:lnTo>
                    <a:close/>
                    <a:moveTo>
                      <a:pt x="1186" y="1444"/>
                    </a:moveTo>
                    <a:lnTo>
                      <a:pt x="1188" y="1444"/>
                    </a:lnTo>
                    <a:lnTo>
                      <a:pt x="1186" y="1444"/>
                    </a:lnTo>
                    <a:close/>
                    <a:moveTo>
                      <a:pt x="1404" y="1648"/>
                    </a:moveTo>
                    <a:lnTo>
                      <a:pt x="1406" y="1648"/>
                    </a:lnTo>
                    <a:lnTo>
                      <a:pt x="1404" y="1648"/>
                    </a:lnTo>
                    <a:close/>
                    <a:moveTo>
                      <a:pt x="1378" y="1665"/>
                    </a:moveTo>
                    <a:lnTo>
                      <a:pt x="1380" y="1665"/>
                    </a:lnTo>
                    <a:lnTo>
                      <a:pt x="1378" y="1665"/>
                    </a:lnTo>
                    <a:close/>
                    <a:moveTo>
                      <a:pt x="1343" y="1663"/>
                    </a:moveTo>
                    <a:lnTo>
                      <a:pt x="1344" y="1663"/>
                    </a:lnTo>
                    <a:lnTo>
                      <a:pt x="1344" y="1665"/>
                    </a:lnTo>
                    <a:lnTo>
                      <a:pt x="1343" y="1665"/>
                    </a:lnTo>
                    <a:lnTo>
                      <a:pt x="1343" y="1663"/>
                    </a:lnTo>
                    <a:close/>
                    <a:moveTo>
                      <a:pt x="1414" y="1679"/>
                    </a:moveTo>
                    <a:lnTo>
                      <a:pt x="1416" y="1679"/>
                    </a:lnTo>
                    <a:lnTo>
                      <a:pt x="1416" y="1680"/>
                    </a:lnTo>
                    <a:lnTo>
                      <a:pt x="1414" y="1680"/>
                    </a:lnTo>
                    <a:lnTo>
                      <a:pt x="1414" y="1679"/>
                    </a:lnTo>
                    <a:close/>
                    <a:moveTo>
                      <a:pt x="1220" y="1075"/>
                    </a:moveTo>
                    <a:lnTo>
                      <a:pt x="1220" y="1077"/>
                    </a:lnTo>
                    <a:lnTo>
                      <a:pt x="1220" y="1075"/>
                    </a:lnTo>
                    <a:close/>
                    <a:moveTo>
                      <a:pt x="1222" y="1561"/>
                    </a:moveTo>
                    <a:lnTo>
                      <a:pt x="1224" y="1561"/>
                    </a:lnTo>
                    <a:lnTo>
                      <a:pt x="1222" y="1561"/>
                    </a:lnTo>
                    <a:close/>
                    <a:moveTo>
                      <a:pt x="1176" y="1141"/>
                    </a:moveTo>
                    <a:lnTo>
                      <a:pt x="1178" y="1141"/>
                    </a:lnTo>
                    <a:lnTo>
                      <a:pt x="1178" y="1143"/>
                    </a:lnTo>
                    <a:lnTo>
                      <a:pt x="1176" y="1143"/>
                    </a:lnTo>
                    <a:lnTo>
                      <a:pt x="1176" y="1141"/>
                    </a:lnTo>
                    <a:close/>
                    <a:moveTo>
                      <a:pt x="1356" y="1653"/>
                    </a:moveTo>
                    <a:lnTo>
                      <a:pt x="1358" y="1653"/>
                    </a:lnTo>
                    <a:lnTo>
                      <a:pt x="1358" y="1655"/>
                    </a:lnTo>
                    <a:lnTo>
                      <a:pt x="1356" y="1655"/>
                    </a:lnTo>
                    <a:lnTo>
                      <a:pt x="1356" y="1653"/>
                    </a:lnTo>
                    <a:close/>
                    <a:moveTo>
                      <a:pt x="1213" y="1012"/>
                    </a:moveTo>
                    <a:lnTo>
                      <a:pt x="1215" y="1012"/>
                    </a:lnTo>
                    <a:lnTo>
                      <a:pt x="1215" y="1014"/>
                    </a:lnTo>
                    <a:lnTo>
                      <a:pt x="1213" y="1014"/>
                    </a:lnTo>
                    <a:lnTo>
                      <a:pt x="1213" y="1012"/>
                    </a:lnTo>
                    <a:close/>
                    <a:moveTo>
                      <a:pt x="1139" y="1311"/>
                    </a:moveTo>
                    <a:lnTo>
                      <a:pt x="1140" y="1311"/>
                    </a:lnTo>
                    <a:lnTo>
                      <a:pt x="1140" y="1313"/>
                    </a:lnTo>
                    <a:lnTo>
                      <a:pt x="1139" y="1313"/>
                    </a:lnTo>
                    <a:lnTo>
                      <a:pt x="1139" y="1311"/>
                    </a:lnTo>
                    <a:close/>
                    <a:moveTo>
                      <a:pt x="1215" y="1517"/>
                    </a:moveTo>
                    <a:lnTo>
                      <a:pt x="1217" y="1517"/>
                    </a:lnTo>
                    <a:lnTo>
                      <a:pt x="1215" y="1517"/>
                    </a:lnTo>
                    <a:close/>
                    <a:moveTo>
                      <a:pt x="1178" y="1444"/>
                    </a:moveTo>
                    <a:lnTo>
                      <a:pt x="1179" y="1444"/>
                    </a:lnTo>
                    <a:lnTo>
                      <a:pt x="1178" y="1444"/>
                    </a:lnTo>
                    <a:close/>
                    <a:moveTo>
                      <a:pt x="1188" y="1430"/>
                    </a:moveTo>
                    <a:lnTo>
                      <a:pt x="1190" y="1430"/>
                    </a:lnTo>
                    <a:lnTo>
                      <a:pt x="1188" y="1430"/>
                    </a:lnTo>
                    <a:close/>
                    <a:moveTo>
                      <a:pt x="1203" y="1082"/>
                    </a:moveTo>
                    <a:lnTo>
                      <a:pt x="1205" y="1082"/>
                    </a:lnTo>
                    <a:lnTo>
                      <a:pt x="1203" y="1082"/>
                    </a:lnTo>
                    <a:close/>
                    <a:moveTo>
                      <a:pt x="1225" y="1575"/>
                    </a:moveTo>
                    <a:lnTo>
                      <a:pt x="1227" y="1575"/>
                    </a:lnTo>
                    <a:lnTo>
                      <a:pt x="1225" y="1575"/>
                    </a:lnTo>
                    <a:close/>
                    <a:moveTo>
                      <a:pt x="1258" y="1587"/>
                    </a:moveTo>
                    <a:lnTo>
                      <a:pt x="1258" y="1589"/>
                    </a:lnTo>
                    <a:lnTo>
                      <a:pt x="1258" y="1587"/>
                    </a:lnTo>
                    <a:close/>
                    <a:moveTo>
                      <a:pt x="1183" y="1446"/>
                    </a:moveTo>
                    <a:lnTo>
                      <a:pt x="1185" y="1446"/>
                    </a:lnTo>
                    <a:lnTo>
                      <a:pt x="1185" y="1447"/>
                    </a:lnTo>
                    <a:lnTo>
                      <a:pt x="1183" y="1447"/>
                    </a:lnTo>
                    <a:lnTo>
                      <a:pt x="1183" y="1446"/>
                    </a:lnTo>
                    <a:close/>
                    <a:moveTo>
                      <a:pt x="1142" y="1301"/>
                    </a:moveTo>
                    <a:lnTo>
                      <a:pt x="1144" y="1301"/>
                    </a:lnTo>
                    <a:lnTo>
                      <a:pt x="1142" y="1301"/>
                    </a:lnTo>
                    <a:close/>
                    <a:moveTo>
                      <a:pt x="1185" y="1425"/>
                    </a:moveTo>
                    <a:lnTo>
                      <a:pt x="1186" y="1425"/>
                    </a:lnTo>
                    <a:lnTo>
                      <a:pt x="1185" y="1425"/>
                    </a:lnTo>
                    <a:close/>
                    <a:moveTo>
                      <a:pt x="1283" y="1612"/>
                    </a:moveTo>
                    <a:lnTo>
                      <a:pt x="1283" y="1614"/>
                    </a:lnTo>
                    <a:lnTo>
                      <a:pt x="1283" y="1612"/>
                    </a:lnTo>
                    <a:close/>
                    <a:moveTo>
                      <a:pt x="1191" y="1126"/>
                    </a:moveTo>
                    <a:lnTo>
                      <a:pt x="1191" y="1128"/>
                    </a:lnTo>
                    <a:lnTo>
                      <a:pt x="1191" y="1126"/>
                    </a:lnTo>
                    <a:close/>
                    <a:moveTo>
                      <a:pt x="1261" y="1590"/>
                    </a:moveTo>
                    <a:lnTo>
                      <a:pt x="1261" y="1592"/>
                    </a:lnTo>
                    <a:lnTo>
                      <a:pt x="1261" y="1590"/>
                    </a:lnTo>
                    <a:close/>
                    <a:moveTo>
                      <a:pt x="1190" y="1071"/>
                    </a:moveTo>
                    <a:lnTo>
                      <a:pt x="1190" y="1073"/>
                    </a:lnTo>
                    <a:lnTo>
                      <a:pt x="1190" y="1071"/>
                    </a:lnTo>
                    <a:close/>
                    <a:moveTo>
                      <a:pt x="1193" y="1140"/>
                    </a:moveTo>
                    <a:lnTo>
                      <a:pt x="1195" y="1140"/>
                    </a:lnTo>
                    <a:lnTo>
                      <a:pt x="1195" y="1141"/>
                    </a:lnTo>
                    <a:lnTo>
                      <a:pt x="1193" y="1141"/>
                    </a:lnTo>
                    <a:lnTo>
                      <a:pt x="1193" y="1140"/>
                    </a:lnTo>
                    <a:close/>
                    <a:moveTo>
                      <a:pt x="1360" y="1665"/>
                    </a:moveTo>
                    <a:lnTo>
                      <a:pt x="1361" y="1665"/>
                    </a:lnTo>
                    <a:lnTo>
                      <a:pt x="1360" y="1665"/>
                    </a:lnTo>
                    <a:close/>
                    <a:moveTo>
                      <a:pt x="1213" y="1517"/>
                    </a:moveTo>
                    <a:lnTo>
                      <a:pt x="1213" y="1519"/>
                    </a:lnTo>
                    <a:lnTo>
                      <a:pt x="1213" y="1517"/>
                    </a:lnTo>
                    <a:close/>
                    <a:moveTo>
                      <a:pt x="1229" y="1577"/>
                    </a:moveTo>
                    <a:lnTo>
                      <a:pt x="1230" y="1577"/>
                    </a:lnTo>
                    <a:lnTo>
                      <a:pt x="1229" y="1577"/>
                    </a:lnTo>
                    <a:close/>
                    <a:moveTo>
                      <a:pt x="1169" y="1415"/>
                    </a:moveTo>
                    <a:lnTo>
                      <a:pt x="1171" y="1415"/>
                    </a:lnTo>
                    <a:lnTo>
                      <a:pt x="1169" y="1415"/>
                    </a:lnTo>
                    <a:close/>
                    <a:moveTo>
                      <a:pt x="1219" y="1565"/>
                    </a:moveTo>
                    <a:lnTo>
                      <a:pt x="1220" y="1565"/>
                    </a:lnTo>
                    <a:lnTo>
                      <a:pt x="1219" y="1565"/>
                    </a:lnTo>
                    <a:close/>
                    <a:moveTo>
                      <a:pt x="1142" y="1299"/>
                    </a:moveTo>
                    <a:lnTo>
                      <a:pt x="1144" y="1299"/>
                    </a:lnTo>
                    <a:lnTo>
                      <a:pt x="1142" y="1299"/>
                    </a:lnTo>
                    <a:close/>
                    <a:moveTo>
                      <a:pt x="1273" y="1609"/>
                    </a:moveTo>
                    <a:lnTo>
                      <a:pt x="1275" y="1609"/>
                    </a:lnTo>
                    <a:lnTo>
                      <a:pt x="1275" y="1611"/>
                    </a:lnTo>
                    <a:lnTo>
                      <a:pt x="1273" y="1611"/>
                    </a:lnTo>
                    <a:lnTo>
                      <a:pt x="1273" y="1609"/>
                    </a:lnTo>
                    <a:close/>
                    <a:moveTo>
                      <a:pt x="1217" y="1565"/>
                    </a:moveTo>
                    <a:lnTo>
                      <a:pt x="1219" y="1565"/>
                    </a:lnTo>
                    <a:lnTo>
                      <a:pt x="1217" y="1565"/>
                    </a:lnTo>
                    <a:close/>
                    <a:moveTo>
                      <a:pt x="1183" y="1439"/>
                    </a:moveTo>
                    <a:lnTo>
                      <a:pt x="1185" y="1439"/>
                    </a:lnTo>
                    <a:lnTo>
                      <a:pt x="1185" y="1441"/>
                    </a:lnTo>
                    <a:lnTo>
                      <a:pt x="1183" y="1441"/>
                    </a:lnTo>
                    <a:lnTo>
                      <a:pt x="1183" y="1439"/>
                    </a:lnTo>
                    <a:close/>
                    <a:moveTo>
                      <a:pt x="1361" y="1599"/>
                    </a:moveTo>
                    <a:lnTo>
                      <a:pt x="1363" y="1599"/>
                    </a:lnTo>
                    <a:lnTo>
                      <a:pt x="1363" y="1600"/>
                    </a:lnTo>
                    <a:lnTo>
                      <a:pt x="1361" y="1600"/>
                    </a:lnTo>
                    <a:lnTo>
                      <a:pt x="1361" y="1599"/>
                    </a:lnTo>
                    <a:close/>
                    <a:moveTo>
                      <a:pt x="1219" y="1136"/>
                    </a:moveTo>
                    <a:lnTo>
                      <a:pt x="1220" y="1136"/>
                    </a:lnTo>
                    <a:lnTo>
                      <a:pt x="1219" y="1136"/>
                    </a:lnTo>
                    <a:close/>
                    <a:moveTo>
                      <a:pt x="1232" y="1507"/>
                    </a:moveTo>
                    <a:lnTo>
                      <a:pt x="1234" y="1507"/>
                    </a:lnTo>
                    <a:lnTo>
                      <a:pt x="1232" y="1507"/>
                    </a:lnTo>
                    <a:close/>
                    <a:moveTo>
                      <a:pt x="1358" y="1655"/>
                    </a:moveTo>
                    <a:lnTo>
                      <a:pt x="1360" y="1655"/>
                    </a:lnTo>
                    <a:lnTo>
                      <a:pt x="1360" y="1657"/>
                    </a:lnTo>
                    <a:lnTo>
                      <a:pt x="1358" y="1657"/>
                    </a:lnTo>
                    <a:lnTo>
                      <a:pt x="1358" y="1655"/>
                    </a:lnTo>
                    <a:close/>
                    <a:moveTo>
                      <a:pt x="1151" y="1330"/>
                    </a:moveTo>
                    <a:lnTo>
                      <a:pt x="1152" y="1330"/>
                    </a:lnTo>
                    <a:lnTo>
                      <a:pt x="1152" y="1332"/>
                    </a:lnTo>
                    <a:lnTo>
                      <a:pt x="1151" y="1332"/>
                    </a:lnTo>
                    <a:lnTo>
                      <a:pt x="1151" y="1330"/>
                    </a:lnTo>
                    <a:close/>
                    <a:moveTo>
                      <a:pt x="1200" y="1527"/>
                    </a:moveTo>
                    <a:lnTo>
                      <a:pt x="1202" y="1527"/>
                    </a:lnTo>
                    <a:lnTo>
                      <a:pt x="1202" y="1529"/>
                    </a:lnTo>
                    <a:lnTo>
                      <a:pt x="1200" y="1529"/>
                    </a:lnTo>
                    <a:lnTo>
                      <a:pt x="1200" y="1527"/>
                    </a:lnTo>
                    <a:close/>
                    <a:moveTo>
                      <a:pt x="1215" y="1555"/>
                    </a:moveTo>
                    <a:lnTo>
                      <a:pt x="1217" y="1555"/>
                    </a:lnTo>
                    <a:lnTo>
                      <a:pt x="1215" y="1555"/>
                    </a:lnTo>
                    <a:close/>
                    <a:moveTo>
                      <a:pt x="1295" y="1612"/>
                    </a:moveTo>
                    <a:lnTo>
                      <a:pt x="1295" y="1614"/>
                    </a:lnTo>
                    <a:lnTo>
                      <a:pt x="1295" y="1612"/>
                    </a:lnTo>
                    <a:close/>
                    <a:moveTo>
                      <a:pt x="1222" y="1068"/>
                    </a:moveTo>
                    <a:lnTo>
                      <a:pt x="1224" y="1068"/>
                    </a:lnTo>
                    <a:lnTo>
                      <a:pt x="1224" y="1070"/>
                    </a:lnTo>
                    <a:lnTo>
                      <a:pt x="1222" y="1070"/>
                    </a:lnTo>
                    <a:lnTo>
                      <a:pt x="1222" y="1068"/>
                    </a:lnTo>
                    <a:close/>
                    <a:moveTo>
                      <a:pt x="1344" y="1660"/>
                    </a:moveTo>
                    <a:lnTo>
                      <a:pt x="1346" y="1660"/>
                    </a:lnTo>
                    <a:lnTo>
                      <a:pt x="1346" y="1662"/>
                    </a:lnTo>
                    <a:lnTo>
                      <a:pt x="1344" y="1662"/>
                    </a:lnTo>
                    <a:lnTo>
                      <a:pt x="1344" y="1660"/>
                    </a:lnTo>
                    <a:close/>
                    <a:moveTo>
                      <a:pt x="1207" y="1498"/>
                    </a:moveTo>
                    <a:lnTo>
                      <a:pt x="1208" y="1498"/>
                    </a:lnTo>
                    <a:lnTo>
                      <a:pt x="1208" y="1500"/>
                    </a:lnTo>
                    <a:lnTo>
                      <a:pt x="1207" y="1500"/>
                    </a:lnTo>
                    <a:lnTo>
                      <a:pt x="1207" y="1498"/>
                    </a:lnTo>
                    <a:close/>
                    <a:moveTo>
                      <a:pt x="1171" y="1230"/>
                    </a:moveTo>
                    <a:lnTo>
                      <a:pt x="1173" y="1230"/>
                    </a:lnTo>
                    <a:lnTo>
                      <a:pt x="1173" y="1231"/>
                    </a:lnTo>
                    <a:lnTo>
                      <a:pt x="1171" y="1231"/>
                    </a:lnTo>
                    <a:lnTo>
                      <a:pt x="1171" y="1230"/>
                    </a:lnTo>
                    <a:close/>
                    <a:moveTo>
                      <a:pt x="1151" y="1310"/>
                    </a:moveTo>
                    <a:lnTo>
                      <a:pt x="1152" y="1310"/>
                    </a:lnTo>
                    <a:lnTo>
                      <a:pt x="1151" y="1310"/>
                    </a:lnTo>
                    <a:close/>
                    <a:moveTo>
                      <a:pt x="1246" y="1504"/>
                    </a:moveTo>
                    <a:lnTo>
                      <a:pt x="1246" y="1505"/>
                    </a:lnTo>
                    <a:lnTo>
                      <a:pt x="1246" y="1504"/>
                    </a:lnTo>
                    <a:close/>
                    <a:moveTo>
                      <a:pt x="1254" y="1575"/>
                    </a:moveTo>
                    <a:lnTo>
                      <a:pt x="1256" y="1575"/>
                    </a:lnTo>
                    <a:lnTo>
                      <a:pt x="1254" y="1575"/>
                    </a:lnTo>
                    <a:close/>
                    <a:moveTo>
                      <a:pt x="1198" y="1092"/>
                    </a:moveTo>
                    <a:lnTo>
                      <a:pt x="1200" y="1092"/>
                    </a:lnTo>
                    <a:lnTo>
                      <a:pt x="1198" y="1092"/>
                    </a:lnTo>
                    <a:close/>
                    <a:moveTo>
                      <a:pt x="1191" y="1379"/>
                    </a:moveTo>
                    <a:lnTo>
                      <a:pt x="1193" y="1379"/>
                    </a:lnTo>
                    <a:lnTo>
                      <a:pt x="1191" y="1379"/>
                    </a:lnTo>
                    <a:close/>
                    <a:moveTo>
                      <a:pt x="1154" y="1288"/>
                    </a:moveTo>
                    <a:lnTo>
                      <a:pt x="1154" y="1289"/>
                    </a:lnTo>
                    <a:lnTo>
                      <a:pt x="1154" y="1288"/>
                    </a:lnTo>
                    <a:close/>
                    <a:moveTo>
                      <a:pt x="1173" y="1395"/>
                    </a:moveTo>
                    <a:lnTo>
                      <a:pt x="1174" y="1395"/>
                    </a:lnTo>
                    <a:lnTo>
                      <a:pt x="1173" y="1395"/>
                    </a:lnTo>
                    <a:close/>
                    <a:moveTo>
                      <a:pt x="1219" y="1568"/>
                    </a:moveTo>
                    <a:lnTo>
                      <a:pt x="1219" y="1570"/>
                    </a:lnTo>
                    <a:lnTo>
                      <a:pt x="1219" y="1568"/>
                    </a:lnTo>
                    <a:close/>
                    <a:moveTo>
                      <a:pt x="1200" y="1094"/>
                    </a:moveTo>
                    <a:lnTo>
                      <a:pt x="1202" y="1094"/>
                    </a:lnTo>
                    <a:lnTo>
                      <a:pt x="1200" y="1094"/>
                    </a:lnTo>
                    <a:close/>
                    <a:moveTo>
                      <a:pt x="1205" y="1060"/>
                    </a:moveTo>
                    <a:lnTo>
                      <a:pt x="1207" y="1060"/>
                    </a:lnTo>
                    <a:lnTo>
                      <a:pt x="1207" y="1061"/>
                    </a:lnTo>
                    <a:lnTo>
                      <a:pt x="1205" y="1061"/>
                    </a:lnTo>
                    <a:lnTo>
                      <a:pt x="1205" y="1060"/>
                    </a:lnTo>
                    <a:close/>
                    <a:moveTo>
                      <a:pt x="1215" y="1502"/>
                    </a:moveTo>
                    <a:lnTo>
                      <a:pt x="1217" y="1502"/>
                    </a:lnTo>
                    <a:lnTo>
                      <a:pt x="1217" y="1504"/>
                    </a:lnTo>
                    <a:lnTo>
                      <a:pt x="1215" y="1504"/>
                    </a:lnTo>
                    <a:lnTo>
                      <a:pt x="1215" y="1502"/>
                    </a:lnTo>
                    <a:close/>
                    <a:moveTo>
                      <a:pt x="1254" y="1492"/>
                    </a:moveTo>
                    <a:lnTo>
                      <a:pt x="1254" y="1493"/>
                    </a:lnTo>
                    <a:lnTo>
                      <a:pt x="1254" y="1492"/>
                    </a:lnTo>
                    <a:close/>
                    <a:moveTo>
                      <a:pt x="1174" y="1473"/>
                    </a:moveTo>
                    <a:lnTo>
                      <a:pt x="1174" y="1475"/>
                    </a:lnTo>
                    <a:lnTo>
                      <a:pt x="1174" y="1473"/>
                    </a:lnTo>
                    <a:close/>
                    <a:moveTo>
                      <a:pt x="1298" y="1641"/>
                    </a:moveTo>
                    <a:lnTo>
                      <a:pt x="1300" y="1641"/>
                    </a:lnTo>
                    <a:lnTo>
                      <a:pt x="1298" y="1641"/>
                    </a:lnTo>
                    <a:close/>
                    <a:moveTo>
                      <a:pt x="1207" y="1527"/>
                    </a:moveTo>
                    <a:lnTo>
                      <a:pt x="1207" y="1529"/>
                    </a:lnTo>
                    <a:lnTo>
                      <a:pt x="1207" y="1527"/>
                    </a:lnTo>
                    <a:close/>
                    <a:moveTo>
                      <a:pt x="1421" y="1669"/>
                    </a:moveTo>
                    <a:lnTo>
                      <a:pt x="1423" y="1669"/>
                    </a:lnTo>
                    <a:lnTo>
                      <a:pt x="1421" y="1669"/>
                    </a:lnTo>
                    <a:close/>
                    <a:moveTo>
                      <a:pt x="1263" y="1600"/>
                    </a:moveTo>
                    <a:lnTo>
                      <a:pt x="1264" y="1600"/>
                    </a:lnTo>
                    <a:lnTo>
                      <a:pt x="1264" y="1602"/>
                    </a:lnTo>
                    <a:lnTo>
                      <a:pt x="1263" y="1602"/>
                    </a:lnTo>
                    <a:lnTo>
                      <a:pt x="1263" y="1600"/>
                    </a:lnTo>
                    <a:close/>
                    <a:moveTo>
                      <a:pt x="1222" y="1068"/>
                    </a:moveTo>
                    <a:lnTo>
                      <a:pt x="1224" y="1068"/>
                    </a:lnTo>
                    <a:lnTo>
                      <a:pt x="1224" y="1070"/>
                    </a:lnTo>
                    <a:lnTo>
                      <a:pt x="1222" y="1070"/>
                    </a:lnTo>
                    <a:lnTo>
                      <a:pt x="1222" y="1068"/>
                    </a:lnTo>
                    <a:close/>
                    <a:moveTo>
                      <a:pt x="1181" y="1298"/>
                    </a:moveTo>
                    <a:lnTo>
                      <a:pt x="1183" y="1298"/>
                    </a:lnTo>
                    <a:lnTo>
                      <a:pt x="1181" y="1298"/>
                    </a:lnTo>
                    <a:close/>
                    <a:moveTo>
                      <a:pt x="1195" y="1454"/>
                    </a:moveTo>
                    <a:lnTo>
                      <a:pt x="1196" y="1454"/>
                    </a:lnTo>
                    <a:lnTo>
                      <a:pt x="1195" y="1454"/>
                    </a:lnTo>
                    <a:close/>
                    <a:moveTo>
                      <a:pt x="1181" y="1211"/>
                    </a:moveTo>
                    <a:lnTo>
                      <a:pt x="1183" y="1211"/>
                    </a:lnTo>
                    <a:lnTo>
                      <a:pt x="1181" y="1211"/>
                    </a:lnTo>
                    <a:close/>
                    <a:moveTo>
                      <a:pt x="1147" y="1289"/>
                    </a:moveTo>
                    <a:lnTo>
                      <a:pt x="1149" y="1289"/>
                    </a:lnTo>
                    <a:lnTo>
                      <a:pt x="1147" y="1289"/>
                    </a:lnTo>
                    <a:close/>
                    <a:moveTo>
                      <a:pt x="1183" y="1316"/>
                    </a:moveTo>
                    <a:lnTo>
                      <a:pt x="1183" y="1318"/>
                    </a:lnTo>
                    <a:lnTo>
                      <a:pt x="1183" y="1316"/>
                    </a:lnTo>
                    <a:close/>
                    <a:moveTo>
                      <a:pt x="1232" y="1544"/>
                    </a:moveTo>
                    <a:lnTo>
                      <a:pt x="1234" y="1544"/>
                    </a:lnTo>
                    <a:lnTo>
                      <a:pt x="1234" y="1546"/>
                    </a:lnTo>
                    <a:lnTo>
                      <a:pt x="1232" y="1546"/>
                    </a:lnTo>
                    <a:lnTo>
                      <a:pt x="1232" y="1544"/>
                    </a:lnTo>
                    <a:close/>
                    <a:moveTo>
                      <a:pt x="1185" y="1463"/>
                    </a:moveTo>
                    <a:lnTo>
                      <a:pt x="1186" y="1463"/>
                    </a:lnTo>
                    <a:lnTo>
                      <a:pt x="1186" y="1464"/>
                    </a:lnTo>
                    <a:lnTo>
                      <a:pt x="1185" y="1464"/>
                    </a:lnTo>
                    <a:lnTo>
                      <a:pt x="1185" y="1463"/>
                    </a:lnTo>
                    <a:close/>
                    <a:moveTo>
                      <a:pt x="1178" y="1434"/>
                    </a:moveTo>
                    <a:lnTo>
                      <a:pt x="1179" y="1434"/>
                    </a:lnTo>
                    <a:lnTo>
                      <a:pt x="1178" y="1434"/>
                    </a:lnTo>
                    <a:close/>
                    <a:moveTo>
                      <a:pt x="1162" y="1245"/>
                    </a:moveTo>
                    <a:lnTo>
                      <a:pt x="1162" y="1247"/>
                    </a:lnTo>
                    <a:lnTo>
                      <a:pt x="1162" y="1245"/>
                    </a:lnTo>
                    <a:close/>
                    <a:moveTo>
                      <a:pt x="1229" y="1039"/>
                    </a:moveTo>
                    <a:lnTo>
                      <a:pt x="1229" y="1041"/>
                    </a:lnTo>
                    <a:lnTo>
                      <a:pt x="1229" y="1039"/>
                    </a:lnTo>
                    <a:close/>
                    <a:moveTo>
                      <a:pt x="1183" y="1289"/>
                    </a:moveTo>
                    <a:lnTo>
                      <a:pt x="1185" y="1289"/>
                    </a:lnTo>
                    <a:lnTo>
                      <a:pt x="1183" y="1289"/>
                    </a:lnTo>
                    <a:close/>
                    <a:moveTo>
                      <a:pt x="1402" y="1645"/>
                    </a:moveTo>
                    <a:lnTo>
                      <a:pt x="1402" y="1646"/>
                    </a:lnTo>
                    <a:lnTo>
                      <a:pt x="1402" y="1645"/>
                    </a:lnTo>
                    <a:close/>
                    <a:moveTo>
                      <a:pt x="1213" y="1556"/>
                    </a:moveTo>
                    <a:lnTo>
                      <a:pt x="1215" y="1556"/>
                    </a:lnTo>
                    <a:lnTo>
                      <a:pt x="1213" y="1556"/>
                    </a:lnTo>
                    <a:close/>
                    <a:moveTo>
                      <a:pt x="1191" y="1412"/>
                    </a:moveTo>
                    <a:lnTo>
                      <a:pt x="1191" y="1413"/>
                    </a:lnTo>
                    <a:lnTo>
                      <a:pt x="1191" y="1412"/>
                    </a:lnTo>
                    <a:close/>
                    <a:moveTo>
                      <a:pt x="1179" y="1430"/>
                    </a:moveTo>
                    <a:lnTo>
                      <a:pt x="1181" y="1430"/>
                    </a:lnTo>
                    <a:lnTo>
                      <a:pt x="1179" y="1430"/>
                    </a:lnTo>
                    <a:close/>
                    <a:moveTo>
                      <a:pt x="1183" y="1463"/>
                    </a:moveTo>
                    <a:lnTo>
                      <a:pt x="1185" y="1463"/>
                    </a:lnTo>
                    <a:lnTo>
                      <a:pt x="1183" y="1463"/>
                    </a:lnTo>
                    <a:close/>
                    <a:moveTo>
                      <a:pt x="1152" y="1187"/>
                    </a:moveTo>
                    <a:lnTo>
                      <a:pt x="1154" y="1187"/>
                    </a:lnTo>
                    <a:lnTo>
                      <a:pt x="1152" y="1187"/>
                    </a:lnTo>
                    <a:close/>
                    <a:moveTo>
                      <a:pt x="1358" y="1657"/>
                    </a:moveTo>
                    <a:lnTo>
                      <a:pt x="1360" y="1657"/>
                    </a:lnTo>
                    <a:lnTo>
                      <a:pt x="1358" y="1657"/>
                    </a:lnTo>
                    <a:close/>
                    <a:moveTo>
                      <a:pt x="1178" y="1425"/>
                    </a:moveTo>
                    <a:lnTo>
                      <a:pt x="1179" y="1425"/>
                    </a:lnTo>
                    <a:lnTo>
                      <a:pt x="1179" y="1427"/>
                    </a:lnTo>
                    <a:lnTo>
                      <a:pt x="1178" y="1427"/>
                    </a:lnTo>
                    <a:lnTo>
                      <a:pt x="1178" y="1425"/>
                    </a:lnTo>
                    <a:close/>
                    <a:moveTo>
                      <a:pt x="1154" y="1313"/>
                    </a:moveTo>
                    <a:lnTo>
                      <a:pt x="1156" y="1313"/>
                    </a:lnTo>
                    <a:lnTo>
                      <a:pt x="1154" y="1313"/>
                    </a:lnTo>
                    <a:close/>
                    <a:moveTo>
                      <a:pt x="1185" y="1527"/>
                    </a:moveTo>
                    <a:lnTo>
                      <a:pt x="1185" y="1529"/>
                    </a:lnTo>
                    <a:lnTo>
                      <a:pt x="1185" y="1527"/>
                    </a:lnTo>
                    <a:close/>
                    <a:moveTo>
                      <a:pt x="1380" y="1667"/>
                    </a:moveTo>
                    <a:lnTo>
                      <a:pt x="1382" y="1667"/>
                    </a:lnTo>
                    <a:lnTo>
                      <a:pt x="1380" y="1667"/>
                    </a:lnTo>
                    <a:close/>
                    <a:moveTo>
                      <a:pt x="1205" y="1527"/>
                    </a:moveTo>
                    <a:lnTo>
                      <a:pt x="1207" y="1527"/>
                    </a:lnTo>
                    <a:lnTo>
                      <a:pt x="1207" y="1529"/>
                    </a:lnTo>
                    <a:lnTo>
                      <a:pt x="1205" y="1529"/>
                    </a:lnTo>
                    <a:lnTo>
                      <a:pt x="1205" y="1527"/>
                    </a:lnTo>
                    <a:close/>
                    <a:moveTo>
                      <a:pt x="1397" y="1663"/>
                    </a:moveTo>
                    <a:lnTo>
                      <a:pt x="1397" y="1665"/>
                    </a:lnTo>
                    <a:lnTo>
                      <a:pt x="1397" y="1663"/>
                    </a:lnTo>
                    <a:close/>
                    <a:moveTo>
                      <a:pt x="1358" y="1667"/>
                    </a:moveTo>
                    <a:lnTo>
                      <a:pt x="1360" y="1667"/>
                    </a:lnTo>
                    <a:lnTo>
                      <a:pt x="1358" y="1667"/>
                    </a:lnTo>
                    <a:close/>
                    <a:moveTo>
                      <a:pt x="1190" y="1231"/>
                    </a:moveTo>
                    <a:lnTo>
                      <a:pt x="1191" y="1231"/>
                    </a:lnTo>
                    <a:lnTo>
                      <a:pt x="1190" y="1231"/>
                    </a:lnTo>
                    <a:close/>
                    <a:moveTo>
                      <a:pt x="1168" y="1136"/>
                    </a:moveTo>
                    <a:lnTo>
                      <a:pt x="1169" y="1136"/>
                    </a:lnTo>
                    <a:lnTo>
                      <a:pt x="1169" y="1138"/>
                    </a:lnTo>
                    <a:lnTo>
                      <a:pt x="1168" y="1138"/>
                    </a:lnTo>
                    <a:lnTo>
                      <a:pt x="1168" y="1136"/>
                    </a:lnTo>
                    <a:close/>
                    <a:moveTo>
                      <a:pt x="1183" y="1430"/>
                    </a:moveTo>
                    <a:lnTo>
                      <a:pt x="1185" y="1430"/>
                    </a:lnTo>
                    <a:lnTo>
                      <a:pt x="1183" y="1430"/>
                    </a:lnTo>
                    <a:close/>
                    <a:moveTo>
                      <a:pt x="1220" y="1083"/>
                    </a:moveTo>
                    <a:lnTo>
                      <a:pt x="1220" y="1085"/>
                    </a:lnTo>
                    <a:lnTo>
                      <a:pt x="1220" y="1083"/>
                    </a:lnTo>
                    <a:close/>
                    <a:moveTo>
                      <a:pt x="1183" y="1299"/>
                    </a:moveTo>
                    <a:lnTo>
                      <a:pt x="1183" y="1301"/>
                    </a:lnTo>
                    <a:lnTo>
                      <a:pt x="1183" y="1299"/>
                    </a:lnTo>
                    <a:close/>
                    <a:moveTo>
                      <a:pt x="1254" y="1590"/>
                    </a:moveTo>
                    <a:lnTo>
                      <a:pt x="1256" y="1590"/>
                    </a:lnTo>
                    <a:lnTo>
                      <a:pt x="1254" y="1590"/>
                    </a:lnTo>
                    <a:close/>
                    <a:moveTo>
                      <a:pt x="1222" y="1070"/>
                    </a:moveTo>
                    <a:lnTo>
                      <a:pt x="1224" y="1070"/>
                    </a:lnTo>
                    <a:lnTo>
                      <a:pt x="1222" y="1070"/>
                    </a:lnTo>
                    <a:close/>
                    <a:moveTo>
                      <a:pt x="1161" y="1470"/>
                    </a:moveTo>
                    <a:lnTo>
                      <a:pt x="1162" y="1470"/>
                    </a:lnTo>
                    <a:lnTo>
                      <a:pt x="1161" y="1470"/>
                    </a:lnTo>
                    <a:close/>
                    <a:moveTo>
                      <a:pt x="1343" y="1655"/>
                    </a:moveTo>
                    <a:lnTo>
                      <a:pt x="1344" y="1655"/>
                    </a:lnTo>
                    <a:lnTo>
                      <a:pt x="1343" y="1655"/>
                    </a:lnTo>
                    <a:close/>
                    <a:moveTo>
                      <a:pt x="1171" y="1413"/>
                    </a:moveTo>
                    <a:lnTo>
                      <a:pt x="1173" y="1413"/>
                    </a:lnTo>
                    <a:lnTo>
                      <a:pt x="1173" y="1415"/>
                    </a:lnTo>
                    <a:lnTo>
                      <a:pt x="1171" y="1415"/>
                    </a:lnTo>
                    <a:lnTo>
                      <a:pt x="1171" y="1413"/>
                    </a:lnTo>
                    <a:close/>
                    <a:moveTo>
                      <a:pt x="1169" y="1473"/>
                    </a:moveTo>
                    <a:lnTo>
                      <a:pt x="1169" y="1475"/>
                    </a:lnTo>
                    <a:lnTo>
                      <a:pt x="1169" y="1473"/>
                    </a:lnTo>
                    <a:close/>
                    <a:moveTo>
                      <a:pt x="1159" y="1247"/>
                    </a:moveTo>
                    <a:lnTo>
                      <a:pt x="1161" y="1247"/>
                    </a:lnTo>
                    <a:lnTo>
                      <a:pt x="1161" y="1248"/>
                    </a:lnTo>
                    <a:lnTo>
                      <a:pt x="1159" y="1248"/>
                    </a:lnTo>
                    <a:lnTo>
                      <a:pt x="1159" y="1247"/>
                    </a:lnTo>
                    <a:close/>
                    <a:moveTo>
                      <a:pt x="1154" y="1191"/>
                    </a:moveTo>
                    <a:lnTo>
                      <a:pt x="1156" y="1191"/>
                    </a:lnTo>
                    <a:lnTo>
                      <a:pt x="1154" y="1191"/>
                    </a:lnTo>
                    <a:close/>
                    <a:moveTo>
                      <a:pt x="1186" y="1441"/>
                    </a:moveTo>
                    <a:lnTo>
                      <a:pt x="1186" y="1442"/>
                    </a:lnTo>
                    <a:lnTo>
                      <a:pt x="1186" y="1441"/>
                    </a:lnTo>
                    <a:close/>
                    <a:moveTo>
                      <a:pt x="1152" y="1330"/>
                    </a:moveTo>
                    <a:lnTo>
                      <a:pt x="1154" y="1330"/>
                    </a:lnTo>
                    <a:lnTo>
                      <a:pt x="1152" y="1330"/>
                    </a:lnTo>
                    <a:close/>
                    <a:moveTo>
                      <a:pt x="1173" y="1430"/>
                    </a:moveTo>
                    <a:lnTo>
                      <a:pt x="1174" y="1430"/>
                    </a:lnTo>
                    <a:lnTo>
                      <a:pt x="1174" y="1432"/>
                    </a:lnTo>
                    <a:lnTo>
                      <a:pt x="1173" y="1432"/>
                    </a:lnTo>
                    <a:lnTo>
                      <a:pt x="1173" y="1430"/>
                    </a:lnTo>
                    <a:close/>
                    <a:moveTo>
                      <a:pt x="1242" y="1589"/>
                    </a:moveTo>
                    <a:lnTo>
                      <a:pt x="1242" y="1590"/>
                    </a:lnTo>
                    <a:lnTo>
                      <a:pt x="1242" y="1589"/>
                    </a:lnTo>
                    <a:close/>
                    <a:moveTo>
                      <a:pt x="1144" y="1269"/>
                    </a:moveTo>
                    <a:lnTo>
                      <a:pt x="1144" y="1270"/>
                    </a:lnTo>
                    <a:lnTo>
                      <a:pt x="1144" y="1269"/>
                    </a:lnTo>
                    <a:close/>
                    <a:moveTo>
                      <a:pt x="1193" y="1126"/>
                    </a:moveTo>
                    <a:lnTo>
                      <a:pt x="1193" y="1128"/>
                    </a:lnTo>
                    <a:lnTo>
                      <a:pt x="1193" y="1126"/>
                    </a:lnTo>
                    <a:close/>
                    <a:moveTo>
                      <a:pt x="1270" y="1592"/>
                    </a:moveTo>
                    <a:lnTo>
                      <a:pt x="1271" y="1592"/>
                    </a:lnTo>
                    <a:lnTo>
                      <a:pt x="1270" y="1592"/>
                    </a:lnTo>
                    <a:close/>
                    <a:moveTo>
                      <a:pt x="1210" y="1242"/>
                    </a:moveTo>
                    <a:lnTo>
                      <a:pt x="1212" y="1242"/>
                    </a:lnTo>
                    <a:lnTo>
                      <a:pt x="1210" y="1242"/>
                    </a:lnTo>
                    <a:close/>
                    <a:moveTo>
                      <a:pt x="1203" y="1061"/>
                    </a:moveTo>
                    <a:lnTo>
                      <a:pt x="1205" y="1061"/>
                    </a:lnTo>
                    <a:lnTo>
                      <a:pt x="1203" y="1061"/>
                    </a:lnTo>
                    <a:close/>
                    <a:moveTo>
                      <a:pt x="1185" y="1493"/>
                    </a:moveTo>
                    <a:lnTo>
                      <a:pt x="1185" y="1495"/>
                    </a:lnTo>
                    <a:lnTo>
                      <a:pt x="1185" y="1493"/>
                    </a:lnTo>
                    <a:close/>
                    <a:moveTo>
                      <a:pt x="1208" y="1070"/>
                    </a:moveTo>
                    <a:lnTo>
                      <a:pt x="1210" y="1070"/>
                    </a:lnTo>
                    <a:lnTo>
                      <a:pt x="1210" y="1071"/>
                    </a:lnTo>
                    <a:lnTo>
                      <a:pt x="1208" y="1071"/>
                    </a:lnTo>
                    <a:lnTo>
                      <a:pt x="1208" y="1070"/>
                    </a:lnTo>
                    <a:close/>
                    <a:moveTo>
                      <a:pt x="1157" y="1236"/>
                    </a:moveTo>
                    <a:lnTo>
                      <a:pt x="1157" y="1238"/>
                    </a:lnTo>
                    <a:lnTo>
                      <a:pt x="1157" y="1236"/>
                    </a:lnTo>
                    <a:close/>
                    <a:moveTo>
                      <a:pt x="1207" y="1063"/>
                    </a:moveTo>
                    <a:lnTo>
                      <a:pt x="1207" y="1065"/>
                    </a:lnTo>
                    <a:lnTo>
                      <a:pt x="1207" y="1063"/>
                    </a:lnTo>
                    <a:close/>
                    <a:moveTo>
                      <a:pt x="1205" y="1556"/>
                    </a:moveTo>
                    <a:lnTo>
                      <a:pt x="1207" y="1556"/>
                    </a:lnTo>
                    <a:lnTo>
                      <a:pt x="1205" y="1556"/>
                    </a:lnTo>
                    <a:close/>
                    <a:moveTo>
                      <a:pt x="1419" y="1674"/>
                    </a:moveTo>
                    <a:lnTo>
                      <a:pt x="1421" y="1674"/>
                    </a:lnTo>
                    <a:lnTo>
                      <a:pt x="1419" y="1674"/>
                    </a:lnTo>
                    <a:close/>
                    <a:moveTo>
                      <a:pt x="1300" y="1568"/>
                    </a:moveTo>
                    <a:lnTo>
                      <a:pt x="1302" y="1568"/>
                    </a:lnTo>
                    <a:lnTo>
                      <a:pt x="1300" y="1568"/>
                    </a:lnTo>
                    <a:close/>
                    <a:moveTo>
                      <a:pt x="1207" y="1053"/>
                    </a:moveTo>
                    <a:lnTo>
                      <a:pt x="1207" y="1054"/>
                    </a:lnTo>
                    <a:lnTo>
                      <a:pt x="1207" y="1053"/>
                    </a:lnTo>
                    <a:close/>
                    <a:moveTo>
                      <a:pt x="1297" y="1594"/>
                    </a:moveTo>
                    <a:lnTo>
                      <a:pt x="1298" y="1594"/>
                    </a:lnTo>
                    <a:lnTo>
                      <a:pt x="1297" y="1594"/>
                    </a:lnTo>
                    <a:close/>
                    <a:moveTo>
                      <a:pt x="1319" y="1514"/>
                    </a:moveTo>
                    <a:lnTo>
                      <a:pt x="1321" y="1514"/>
                    </a:lnTo>
                    <a:lnTo>
                      <a:pt x="1321" y="1515"/>
                    </a:lnTo>
                    <a:lnTo>
                      <a:pt x="1319" y="1515"/>
                    </a:lnTo>
                    <a:lnTo>
                      <a:pt x="1319" y="1514"/>
                    </a:lnTo>
                    <a:close/>
                    <a:moveTo>
                      <a:pt x="1191" y="1464"/>
                    </a:moveTo>
                    <a:lnTo>
                      <a:pt x="1193" y="1464"/>
                    </a:lnTo>
                    <a:lnTo>
                      <a:pt x="1191" y="1464"/>
                    </a:lnTo>
                    <a:close/>
                    <a:moveTo>
                      <a:pt x="1219" y="1568"/>
                    </a:moveTo>
                    <a:lnTo>
                      <a:pt x="1220" y="1568"/>
                    </a:lnTo>
                    <a:lnTo>
                      <a:pt x="1220" y="1570"/>
                    </a:lnTo>
                    <a:lnTo>
                      <a:pt x="1219" y="1570"/>
                    </a:lnTo>
                    <a:lnTo>
                      <a:pt x="1219" y="1568"/>
                    </a:lnTo>
                    <a:close/>
                    <a:moveTo>
                      <a:pt x="1203" y="1054"/>
                    </a:moveTo>
                    <a:lnTo>
                      <a:pt x="1205" y="1054"/>
                    </a:lnTo>
                    <a:lnTo>
                      <a:pt x="1203" y="1054"/>
                    </a:lnTo>
                    <a:close/>
                    <a:moveTo>
                      <a:pt x="1360" y="1657"/>
                    </a:moveTo>
                    <a:lnTo>
                      <a:pt x="1360" y="1658"/>
                    </a:lnTo>
                    <a:lnTo>
                      <a:pt x="1360" y="1657"/>
                    </a:lnTo>
                    <a:close/>
                    <a:moveTo>
                      <a:pt x="1234" y="1124"/>
                    </a:moveTo>
                    <a:lnTo>
                      <a:pt x="1236" y="1124"/>
                    </a:lnTo>
                    <a:lnTo>
                      <a:pt x="1236" y="1126"/>
                    </a:lnTo>
                    <a:lnTo>
                      <a:pt x="1234" y="1126"/>
                    </a:lnTo>
                    <a:lnTo>
                      <a:pt x="1234" y="1124"/>
                    </a:lnTo>
                    <a:close/>
                    <a:moveTo>
                      <a:pt x="1322" y="1628"/>
                    </a:moveTo>
                    <a:lnTo>
                      <a:pt x="1322" y="1629"/>
                    </a:lnTo>
                    <a:lnTo>
                      <a:pt x="1322" y="1628"/>
                    </a:lnTo>
                    <a:close/>
                    <a:moveTo>
                      <a:pt x="1215" y="1538"/>
                    </a:moveTo>
                    <a:lnTo>
                      <a:pt x="1217" y="1538"/>
                    </a:lnTo>
                    <a:lnTo>
                      <a:pt x="1215" y="1538"/>
                    </a:lnTo>
                    <a:close/>
                    <a:moveTo>
                      <a:pt x="1200" y="1082"/>
                    </a:moveTo>
                    <a:lnTo>
                      <a:pt x="1200" y="1083"/>
                    </a:lnTo>
                    <a:lnTo>
                      <a:pt x="1200" y="1082"/>
                    </a:lnTo>
                    <a:close/>
                    <a:moveTo>
                      <a:pt x="1188" y="1497"/>
                    </a:moveTo>
                    <a:lnTo>
                      <a:pt x="1190" y="1497"/>
                    </a:lnTo>
                    <a:lnTo>
                      <a:pt x="1188" y="1497"/>
                    </a:lnTo>
                    <a:close/>
                    <a:moveTo>
                      <a:pt x="1213" y="1500"/>
                    </a:moveTo>
                    <a:lnTo>
                      <a:pt x="1215" y="1500"/>
                    </a:lnTo>
                    <a:lnTo>
                      <a:pt x="1213" y="1500"/>
                    </a:lnTo>
                    <a:close/>
                    <a:moveTo>
                      <a:pt x="1310" y="1641"/>
                    </a:moveTo>
                    <a:lnTo>
                      <a:pt x="1310" y="1643"/>
                    </a:lnTo>
                    <a:lnTo>
                      <a:pt x="1310" y="1641"/>
                    </a:lnTo>
                    <a:close/>
                    <a:moveTo>
                      <a:pt x="1171" y="1432"/>
                    </a:moveTo>
                    <a:lnTo>
                      <a:pt x="1173" y="1432"/>
                    </a:lnTo>
                    <a:lnTo>
                      <a:pt x="1171" y="1432"/>
                    </a:lnTo>
                    <a:close/>
                    <a:moveTo>
                      <a:pt x="1208" y="1461"/>
                    </a:moveTo>
                    <a:lnTo>
                      <a:pt x="1208" y="1463"/>
                    </a:lnTo>
                    <a:lnTo>
                      <a:pt x="1208" y="1461"/>
                    </a:lnTo>
                    <a:close/>
                    <a:moveTo>
                      <a:pt x="1232" y="1475"/>
                    </a:moveTo>
                    <a:lnTo>
                      <a:pt x="1232" y="1476"/>
                    </a:lnTo>
                    <a:lnTo>
                      <a:pt x="1232" y="1475"/>
                    </a:lnTo>
                    <a:close/>
                    <a:moveTo>
                      <a:pt x="1229" y="1575"/>
                    </a:moveTo>
                    <a:lnTo>
                      <a:pt x="1229" y="1577"/>
                    </a:lnTo>
                    <a:lnTo>
                      <a:pt x="1229" y="1575"/>
                    </a:lnTo>
                    <a:close/>
                    <a:moveTo>
                      <a:pt x="1183" y="1422"/>
                    </a:moveTo>
                    <a:lnTo>
                      <a:pt x="1185" y="1422"/>
                    </a:lnTo>
                    <a:lnTo>
                      <a:pt x="1185" y="1424"/>
                    </a:lnTo>
                    <a:lnTo>
                      <a:pt x="1183" y="1424"/>
                    </a:lnTo>
                    <a:lnTo>
                      <a:pt x="1183" y="1422"/>
                    </a:lnTo>
                    <a:close/>
                    <a:moveTo>
                      <a:pt x="1169" y="1242"/>
                    </a:moveTo>
                    <a:lnTo>
                      <a:pt x="1171" y="1242"/>
                    </a:lnTo>
                    <a:lnTo>
                      <a:pt x="1169" y="1242"/>
                    </a:lnTo>
                    <a:close/>
                    <a:moveTo>
                      <a:pt x="1162" y="1459"/>
                    </a:moveTo>
                    <a:lnTo>
                      <a:pt x="1162" y="1461"/>
                    </a:lnTo>
                    <a:lnTo>
                      <a:pt x="1162" y="1459"/>
                    </a:lnTo>
                    <a:close/>
                    <a:moveTo>
                      <a:pt x="1329" y="1645"/>
                    </a:moveTo>
                    <a:lnTo>
                      <a:pt x="1331" y="1645"/>
                    </a:lnTo>
                    <a:lnTo>
                      <a:pt x="1329" y="1645"/>
                    </a:lnTo>
                    <a:close/>
                    <a:moveTo>
                      <a:pt x="1178" y="1384"/>
                    </a:moveTo>
                    <a:lnTo>
                      <a:pt x="1178" y="1386"/>
                    </a:lnTo>
                    <a:lnTo>
                      <a:pt x="1178" y="1384"/>
                    </a:lnTo>
                    <a:close/>
                    <a:moveTo>
                      <a:pt x="1298" y="1621"/>
                    </a:moveTo>
                    <a:lnTo>
                      <a:pt x="1300" y="1621"/>
                    </a:lnTo>
                    <a:lnTo>
                      <a:pt x="1298" y="1621"/>
                    </a:lnTo>
                    <a:close/>
                    <a:moveTo>
                      <a:pt x="1188" y="1492"/>
                    </a:moveTo>
                    <a:lnTo>
                      <a:pt x="1190" y="1492"/>
                    </a:lnTo>
                    <a:lnTo>
                      <a:pt x="1188" y="1492"/>
                    </a:lnTo>
                    <a:close/>
                    <a:moveTo>
                      <a:pt x="1140" y="1298"/>
                    </a:moveTo>
                    <a:lnTo>
                      <a:pt x="1140" y="1299"/>
                    </a:lnTo>
                    <a:lnTo>
                      <a:pt x="1140" y="1298"/>
                    </a:lnTo>
                    <a:close/>
                    <a:moveTo>
                      <a:pt x="1208" y="1534"/>
                    </a:moveTo>
                    <a:lnTo>
                      <a:pt x="1210" y="1534"/>
                    </a:lnTo>
                    <a:lnTo>
                      <a:pt x="1210" y="1536"/>
                    </a:lnTo>
                    <a:lnTo>
                      <a:pt x="1208" y="1536"/>
                    </a:lnTo>
                    <a:lnTo>
                      <a:pt x="1208" y="1534"/>
                    </a:lnTo>
                    <a:close/>
                    <a:moveTo>
                      <a:pt x="1196" y="1454"/>
                    </a:moveTo>
                    <a:lnTo>
                      <a:pt x="1198" y="1454"/>
                    </a:lnTo>
                    <a:lnTo>
                      <a:pt x="1196" y="1454"/>
                    </a:lnTo>
                    <a:close/>
                    <a:moveTo>
                      <a:pt x="1154" y="1250"/>
                    </a:moveTo>
                    <a:lnTo>
                      <a:pt x="1154" y="1252"/>
                    </a:lnTo>
                    <a:lnTo>
                      <a:pt x="1154" y="1250"/>
                    </a:lnTo>
                    <a:close/>
                    <a:moveTo>
                      <a:pt x="1193" y="1054"/>
                    </a:moveTo>
                    <a:lnTo>
                      <a:pt x="1195" y="1054"/>
                    </a:lnTo>
                    <a:lnTo>
                      <a:pt x="1193" y="1054"/>
                    </a:lnTo>
                    <a:close/>
                    <a:moveTo>
                      <a:pt x="1414" y="1669"/>
                    </a:moveTo>
                    <a:lnTo>
                      <a:pt x="1416" y="1669"/>
                    </a:lnTo>
                    <a:lnTo>
                      <a:pt x="1414" y="1669"/>
                    </a:lnTo>
                    <a:close/>
                    <a:moveTo>
                      <a:pt x="1287" y="1626"/>
                    </a:moveTo>
                    <a:lnTo>
                      <a:pt x="1287" y="1628"/>
                    </a:lnTo>
                    <a:lnTo>
                      <a:pt x="1287" y="1626"/>
                    </a:lnTo>
                    <a:close/>
                    <a:moveTo>
                      <a:pt x="1196" y="1417"/>
                    </a:moveTo>
                    <a:lnTo>
                      <a:pt x="1198" y="1417"/>
                    </a:lnTo>
                    <a:lnTo>
                      <a:pt x="1198" y="1418"/>
                    </a:lnTo>
                    <a:lnTo>
                      <a:pt x="1196" y="1418"/>
                    </a:lnTo>
                    <a:lnTo>
                      <a:pt x="1196" y="1417"/>
                    </a:lnTo>
                    <a:close/>
                    <a:moveTo>
                      <a:pt x="1191" y="1141"/>
                    </a:moveTo>
                    <a:lnTo>
                      <a:pt x="1193" y="1141"/>
                    </a:lnTo>
                    <a:lnTo>
                      <a:pt x="1191" y="1141"/>
                    </a:lnTo>
                    <a:close/>
                    <a:moveTo>
                      <a:pt x="1207" y="1051"/>
                    </a:moveTo>
                    <a:lnTo>
                      <a:pt x="1208" y="1051"/>
                    </a:lnTo>
                    <a:lnTo>
                      <a:pt x="1207" y="1051"/>
                    </a:lnTo>
                    <a:close/>
                    <a:moveTo>
                      <a:pt x="1202" y="952"/>
                    </a:moveTo>
                    <a:lnTo>
                      <a:pt x="1203" y="952"/>
                    </a:lnTo>
                    <a:lnTo>
                      <a:pt x="1202" y="952"/>
                    </a:lnTo>
                    <a:close/>
                    <a:moveTo>
                      <a:pt x="1212" y="1560"/>
                    </a:moveTo>
                    <a:lnTo>
                      <a:pt x="1213" y="1560"/>
                    </a:lnTo>
                    <a:lnTo>
                      <a:pt x="1212" y="1560"/>
                    </a:lnTo>
                    <a:close/>
                    <a:moveTo>
                      <a:pt x="1168" y="1390"/>
                    </a:moveTo>
                    <a:lnTo>
                      <a:pt x="1168" y="1391"/>
                    </a:lnTo>
                    <a:lnTo>
                      <a:pt x="1168" y="1390"/>
                    </a:lnTo>
                    <a:close/>
                    <a:moveTo>
                      <a:pt x="1186" y="1060"/>
                    </a:moveTo>
                    <a:lnTo>
                      <a:pt x="1188" y="1060"/>
                    </a:lnTo>
                    <a:lnTo>
                      <a:pt x="1186" y="1060"/>
                    </a:lnTo>
                    <a:close/>
                    <a:moveTo>
                      <a:pt x="1169" y="1478"/>
                    </a:moveTo>
                    <a:lnTo>
                      <a:pt x="1169" y="1480"/>
                    </a:lnTo>
                    <a:lnTo>
                      <a:pt x="1169" y="1478"/>
                    </a:lnTo>
                    <a:close/>
                    <a:moveTo>
                      <a:pt x="1297" y="1592"/>
                    </a:moveTo>
                    <a:lnTo>
                      <a:pt x="1298" y="1592"/>
                    </a:lnTo>
                    <a:lnTo>
                      <a:pt x="1297" y="1592"/>
                    </a:lnTo>
                    <a:close/>
                    <a:moveTo>
                      <a:pt x="1324" y="1635"/>
                    </a:moveTo>
                    <a:lnTo>
                      <a:pt x="1326" y="1635"/>
                    </a:lnTo>
                    <a:lnTo>
                      <a:pt x="1324" y="1635"/>
                    </a:lnTo>
                    <a:close/>
                    <a:moveTo>
                      <a:pt x="1176" y="1449"/>
                    </a:moveTo>
                    <a:lnTo>
                      <a:pt x="1176" y="1451"/>
                    </a:lnTo>
                    <a:lnTo>
                      <a:pt x="1176" y="1449"/>
                    </a:lnTo>
                    <a:close/>
                    <a:moveTo>
                      <a:pt x="1181" y="1420"/>
                    </a:moveTo>
                    <a:lnTo>
                      <a:pt x="1181" y="1422"/>
                    </a:lnTo>
                    <a:lnTo>
                      <a:pt x="1181" y="1420"/>
                    </a:lnTo>
                    <a:close/>
                    <a:moveTo>
                      <a:pt x="1176" y="1459"/>
                    </a:moveTo>
                    <a:lnTo>
                      <a:pt x="1176" y="1461"/>
                    </a:lnTo>
                    <a:lnTo>
                      <a:pt x="1176" y="1459"/>
                    </a:lnTo>
                    <a:close/>
                    <a:moveTo>
                      <a:pt x="1225" y="1556"/>
                    </a:moveTo>
                    <a:lnTo>
                      <a:pt x="1225" y="1558"/>
                    </a:lnTo>
                    <a:lnTo>
                      <a:pt x="1225" y="1556"/>
                    </a:lnTo>
                    <a:close/>
                    <a:moveTo>
                      <a:pt x="1281" y="1614"/>
                    </a:moveTo>
                    <a:lnTo>
                      <a:pt x="1281" y="1616"/>
                    </a:lnTo>
                    <a:lnTo>
                      <a:pt x="1281" y="1614"/>
                    </a:lnTo>
                    <a:close/>
                    <a:moveTo>
                      <a:pt x="1370" y="1646"/>
                    </a:moveTo>
                    <a:lnTo>
                      <a:pt x="1372" y="1646"/>
                    </a:lnTo>
                    <a:lnTo>
                      <a:pt x="1372" y="1648"/>
                    </a:lnTo>
                    <a:lnTo>
                      <a:pt x="1370" y="1648"/>
                    </a:lnTo>
                    <a:lnTo>
                      <a:pt x="1370" y="1646"/>
                    </a:lnTo>
                    <a:close/>
                    <a:moveTo>
                      <a:pt x="1416" y="1679"/>
                    </a:moveTo>
                    <a:lnTo>
                      <a:pt x="1416" y="1680"/>
                    </a:lnTo>
                    <a:lnTo>
                      <a:pt x="1416" y="1679"/>
                    </a:lnTo>
                    <a:close/>
                    <a:moveTo>
                      <a:pt x="1169" y="1444"/>
                    </a:moveTo>
                    <a:lnTo>
                      <a:pt x="1171" y="1444"/>
                    </a:lnTo>
                    <a:lnTo>
                      <a:pt x="1169" y="1444"/>
                    </a:lnTo>
                    <a:close/>
                    <a:moveTo>
                      <a:pt x="1370" y="1640"/>
                    </a:moveTo>
                    <a:lnTo>
                      <a:pt x="1372" y="1640"/>
                    </a:lnTo>
                    <a:lnTo>
                      <a:pt x="1372" y="1641"/>
                    </a:lnTo>
                    <a:lnTo>
                      <a:pt x="1370" y="1641"/>
                    </a:lnTo>
                    <a:lnTo>
                      <a:pt x="1370" y="1640"/>
                    </a:lnTo>
                    <a:close/>
                    <a:moveTo>
                      <a:pt x="1181" y="1432"/>
                    </a:moveTo>
                    <a:lnTo>
                      <a:pt x="1183" y="1432"/>
                    </a:lnTo>
                    <a:lnTo>
                      <a:pt x="1181" y="1432"/>
                    </a:lnTo>
                    <a:close/>
                    <a:moveTo>
                      <a:pt x="1222" y="1566"/>
                    </a:moveTo>
                    <a:lnTo>
                      <a:pt x="1222" y="1568"/>
                    </a:lnTo>
                    <a:lnTo>
                      <a:pt x="1222" y="1566"/>
                    </a:lnTo>
                    <a:close/>
                    <a:moveTo>
                      <a:pt x="1154" y="1379"/>
                    </a:moveTo>
                    <a:lnTo>
                      <a:pt x="1156" y="1379"/>
                    </a:lnTo>
                    <a:lnTo>
                      <a:pt x="1154" y="1379"/>
                    </a:lnTo>
                    <a:close/>
                    <a:moveTo>
                      <a:pt x="1237" y="1544"/>
                    </a:moveTo>
                    <a:lnTo>
                      <a:pt x="1239" y="1544"/>
                    </a:lnTo>
                    <a:lnTo>
                      <a:pt x="1239" y="1546"/>
                    </a:lnTo>
                    <a:lnTo>
                      <a:pt x="1237" y="1546"/>
                    </a:lnTo>
                    <a:lnTo>
                      <a:pt x="1237" y="1544"/>
                    </a:lnTo>
                    <a:close/>
                    <a:moveTo>
                      <a:pt x="1321" y="1633"/>
                    </a:moveTo>
                    <a:lnTo>
                      <a:pt x="1322" y="1633"/>
                    </a:lnTo>
                    <a:lnTo>
                      <a:pt x="1322" y="1635"/>
                    </a:lnTo>
                    <a:lnTo>
                      <a:pt x="1321" y="1635"/>
                    </a:lnTo>
                    <a:lnTo>
                      <a:pt x="1321" y="1633"/>
                    </a:lnTo>
                    <a:close/>
                    <a:moveTo>
                      <a:pt x="1157" y="1233"/>
                    </a:moveTo>
                    <a:lnTo>
                      <a:pt x="1157" y="1235"/>
                    </a:lnTo>
                    <a:lnTo>
                      <a:pt x="1157" y="1233"/>
                    </a:lnTo>
                    <a:close/>
                    <a:moveTo>
                      <a:pt x="1193" y="1435"/>
                    </a:moveTo>
                    <a:lnTo>
                      <a:pt x="1195" y="1435"/>
                    </a:lnTo>
                    <a:lnTo>
                      <a:pt x="1193" y="1435"/>
                    </a:lnTo>
                    <a:close/>
                    <a:moveTo>
                      <a:pt x="1247" y="1505"/>
                    </a:moveTo>
                    <a:lnTo>
                      <a:pt x="1247" y="1507"/>
                    </a:lnTo>
                    <a:lnTo>
                      <a:pt x="1247" y="1505"/>
                    </a:lnTo>
                    <a:close/>
                    <a:moveTo>
                      <a:pt x="1210" y="1240"/>
                    </a:moveTo>
                    <a:lnTo>
                      <a:pt x="1212" y="1240"/>
                    </a:lnTo>
                    <a:lnTo>
                      <a:pt x="1212" y="1242"/>
                    </a:lnTo>
                    <a:lnTo>
                      <a:pt x="1210" y="1242"/>
                    </a:lnTo>
                    <a:lnTo>
                      <a:pt x="1210" y="1240"/>
                    </a:lnTo>
                    <a:close/>
                    <a:moveTo>
                      <a:pt x="1285" y="1619"/>
                    </a:moveTo>
                    <a:lnTo>
                      <a:pt x="1285" y="1621"/>
                    </a:lnTo>
                    <a:lnTo>
                      <a:pt x="1285" y="1619"/>
                    </a:lnTo>
                    <a:close/>
                    <a:moveTo>
                      <a:pt x="1207" y="1451"/>
                    </a:moveTo>
                    <a:lnTo>
                      <a:pt x="1207" y="1453"/>
                    </a:lnTo>
                    <a:lnTo>
                      <a:pt x="1207" y="1451"/>
                    </a:lnTo>
                    <a:close/>
                    <a:moveTo>
                      <a:pt x="1178" y="1481"/>
                    </a:moveTo>
                    <a:lnTo>
                      <a:pt x="1178" y="1483"/>
                    </a:lnTo>
                    <a:lnTo>
                      <a:pt x="1178" y="1481"/>
                    </a:lnTo>
                    <a:close/>
                    <a:moveTo>
                      <a:pt x="1213" y="1104"/>
                    </a:moveTo>
                    <a:lnTo>
                      <a:pt x="1213" y="1105"/>
                    </a:lnTo>
                    <a:lnTo>
                      <a:pt x="1213" y="1104"/>
                    </a:lnTo>
                    <a:close/>
                    <a:moveTo>
                      <a:pt x="1190" y="1420"/>
                    </a:moveTo>
                    <a:lnTo>
                      <a:pt x="1190" y="1422"/>
                    </a:lnTo>
                    <a:lnTo>
                      <a:pt x="1190" y="1420"/>
                    </a:lnTo>
                    <a:close/>
                    <a:moveTo>
                      <a:pt x="1195" y="1145"/>
                    </a:moveTo>
                    <a:lnTo>
                      <a:pt x="1195" y="1146"/>
                    </a:lnTo>
                    <a:lnTo>
                      <a:pt x="1195" y="1145"/>
                    </a:lnTo>
                    <a:close/>
                    <a:moveTo>
                      <a:pt x="1195" y="1077"/>
                    </a:moveTo>
                    <a:lnTo>
                      <a:pt x="1196" y="1077"/>
                    </a:lnTo>
                    <a:lnTo>
                      <a:pt x="1195" y="1077"/>
                    </a:lnTo>
                    <a:close/>
                    <a:moveTo>
                      <a:pt x="1200" y="1527"/>
                    </a:moveTo>
                    <a:lnTo>
                      <a:pt x="1200" y="1529"/>
                    </a:lnTo>
                    <a:lnTo>
                      <a:pt x="1200" y="1527"/>
                    </a:lnTo>
                    <a:close/>
                    <a:moveTo>
                      <a:pt x="1219" y="1100"/>
                    </a:moveTo>
                    <a:lnTo>
                      <a:pt x="1219" y="1102"/>
                    </a:lnTo>
                    <a:lnTo>
                      <a:pt x="1219" y="1100"/>
                    </a:lnTo>
                    <a:close/>
                    <a:moveTo>
                      <a:pt x="1198" y="1092"/>
                    </a:moveTo>
                    <a:lnTo>
                      <a:pt x="1198" y="1094"/>
                    </a:lnTo>
                    <a:lnTo>
                      <a:pt x="1198" y="1092"/>
                    </a:lnTo>
                    <a:close/>
                    <a:moveTo>
                      <a:pt x="1229" y="1570"/>
                    </a:moveTo>
                    <a:lnTo>
                      <a:pt x="1230" y="1570"/>
                    </a:lnTo>
                    <a:lnTo>
                      <a:pt x="1229" y="1570"/>
                    </a:lnTo>
                    <a:close/>
                    <a:moveTo>
                      <a:pt x="1229" y="1580"/>
                    </a:moveTo>
                    <a:lnTo>
                      <a:pt x="1230" y="1580"/>
                    </a:lnTo>
                    <a:lnTo>
                      <a:pt x="1230" y="1582"/>
                    </a:lnTo>
                    <a:lnTo>
                      <a:pt x="1229" y="1582"/>
                    </a:lnTo>
                    <a:lnTo>
                      <a:pt x="1229" y="1580"/>
                    </a:lnTo>
                    <a:close/>
                    <a:moveTo>
                      <a:pt x="1169" y="1413"/>
                    </a:moveTo>
                    <a:lnTo>
                      <a:pt x="1171" y="1413"/>
                    </a:lnTo>
                    <a:lnTo>
                      <a:pt x="1169" y="1413"/>
                    </a:lnTo>
                    <a:close/>
                    <a:moveTo>
                      <a:pt x="1178" y="1441"/>
                    </a:moveTo>
                    <a:lnTo>
                      <a:pt x="1179" y="1441"/>
                    </a:lnTo>
                    <a:lnTo>
                      <a:pt x="1178" y="1441"/>
                    </a:lnTo>
                    <a:close/>
                    <a:moveTo>
                      <a:pt x="1161" y="1398"/>
                    </a:moveTo>
                    <a:lnTo>
                      <a:pt x="1162" y="1398"/>
                    </a:lnTo>
                    <a:lnTo>
                      <a:pt x="1161" y="1398"/>
                    </a:lnTo>
                    <a:close/>
                    <a:moveTo>
                      <a:pt x="1217" y="1504"/>
                    </a:moveTo>
                    <a:lnTo>
                      <a:pt x="1219" y="1504"/>
                    </a:lnTo>
                    <a:lnTo>
                      <a:pt x="1219" y="1505"/>
                    </a:lnTo>
                    <a:lnTo>
                      <a:pt x="1217" y="1505"/>
                    </a:lnTo>
                    <a:lnTo>
                      <a:pt x="1217" y="1504"/>
                    </a:lnTo>
                    <a:close/>
                    <a:moveTo>
                      <a:pt x="1183" y="1308"/>
                    </a:moveTo>
                    <a:lnTo>
                      <a:pt x="1183" y="1310"/>
                    </a:lnTo>
                    <a:lnTo>
                      <a:pt x="1183" y="1308"/>
                    </a:lnTo>
                    <a:close/>
                    <a:moveTo>
                      <a:pt x="1161" y="1357"/>
                    </a:moveTo>
                    <a:lnTo>
                      <a:pt x="1162" y="1357"/>
                    </a:lnTo>
                    <a:lnTo>
                      <a:pt x="1161" y="1357"/>
                    </a:lnTo>
                    <a:close/>
                    <a:moveTo>
                      <a:pt x="1176" y="1367"/>
                    </a:moveTo>
                    <a:lnTo>
                      <a:pt x="1178" y="1367"/>
                    </a:lnTo>
                    <a:lnTo>
                      <a:pt x="1176" y="1367"/>
                    </a:lnTo>
                    <a:close/>
                    <a:moveTo>
                      <a:pt x="1305" y="1623"/>
                    </a:moveTo>
                    <a:lnTo>
                      <a:pt x="1307" y="1623"/>
                    </a:lnTo>
                    <a:lnTo>
                      <a:pt x="1307" y="1624"/>
                    </a:lnTo>
                    <a:lnTo>
                      <a:pt x="1305" y="1624"/>
                    </a:lnTo>
                    <a:lnTo>
                      <a:pt x="1305" y="1623"/>
                    </a:lnTo>
                    <a:close/>
                    <a:moveTo>
                      <a:pt x="1149" y="1333"/>
                    </a:moveTo>
                    <a:lnTo>
                      <a:pt x="1151" y="1333"/>
                    </a:lnTo>
                    <a:lnTo>
                      <a:pt x="1149" y="1333"/>
                    </a:lnTo>
                    <a:close/>
                    <a:moveTo>
                      <a:pt x="1213" y="1102"/>
                    </a:moveTo>
                    <a:lnTo>
                      <a:pt x="1213" y="1104"/>
                    </a:lnTo>
                    <a:lnTo>
                      <a:pt x="1213" y="1102"/>
                    </a:lnTo>
                    <a:close/>
                    <a:moveTo>
                      <a:pt x="1154" y="1248"/>
                    </a:moveTo>
                    <a:lnTo>
                      <a:pt x="1156" y="1248"/>
                    </a:lnTo>
                    <a:lnTo>
                      <a:pt x="1154" y="1248"/>
                    </a:lnTo>
                    <a:close/>
                    <a:moveTo>
                      <a:pt x="1358" y="1652"/>
                    </a:moveTo>
                    <a:lnTo>
                      <a:pt x="1358" y="1653"/>
                    </a:lnTo>
                    <a:lnTo>
                      <a:pt x="1358" y="1652"/>
                    </a:lnTo>
                    <a:close/>
                    <a:moveTo>
                      <a:pt x="1259" y="1590"/>
                    </a:moveTo>
                    <a:lnTo>
                      <a:pt x="1259" y="1592"/>
                    </a:lnTo>
                    <a:lnTo>
                      <a:pt x="1259" y="1590"/>
                    </a:lnTo>
                    <a:close/>
                    <a:moveTo>
                      <a:pt x="1266" y="1599"/>
                    </a:moveTo>
                    <a:lnTo>
                      <a:pt x="1266" y="1600"/>
                    </a:lnTo>
                    <a:lnTo>
                      <a:pt x="1266" y="1599"/>
                    </a:lnTo>
                    <a:close/>
                    <a:moveTo>
                      <a:pt x="1188" y="1066"/>
                    </a:moveTo>
                    <a:lnTo>
                      <a:pt x="1188" y="1068"/>
                    </a:lnTo>
                    <a:lnTo>
                      <a:pt x="1188" y="1066"/>
                    </a:lnTo>
                    <a:close/>
                    <a:moveTo>
                      <a:pt x="1154" y="1272"/>
                    </a:moveTo>
                    <a:lnTo>
                      <a:pt x="1156" y="1272"/>
                    </a:lnTo>
                    <a:lnTo>
                      <a:pt x="1156" y="1274"/>
                    </a:lnTo>
                    <a:lnTo>
                      <a:pt x="1154" y="1274"/>
                    </a:lnTo>
                    <a:lnTo>
                      <a:pt x="1154" y="1272"/>
                    </a:lnTo>
                    <a:close/>
                    <a:moveTo>
                      <a:pt x="1309" y="1635"/>
                    </a:moveTo>
                    <a:lnTo>
                      <a:pt x="1310" y="1635"/>
                    </a:lnTo>
                    <a:lnTo>
                      <a:pt x="1309" y="1635"/>
                    </a:lnTo>
                    <a:close/>
                    <a:moveTo>
                      <a:pt x="1220" y="1077"/>
                    </a:moveTo>
                    <a:lnTo>
                      <a:pt x="1222" y="1077"/>
                    </a:lnTo>
                    <a:lnTo>
                      <a:pt x="1220" y="1077"/>
                    </a:lnTo>
                    <a:close/>
                    <a:moveTo>
                      <a:pt x="1205" y="1507"/>
                    </a:moveTo>
                    <a:lnTo>
                      <a:pt x="1207" y="1507"/>
                    </a:lnTo>
                    <a:lnTo>
                      <a:pt x="1205" y="1507"/>
                    </a:lnTo>
                    <a:close/>
                    <a:moveTo>
                      <a:pt x="1229" y="1558"/>
                    </a:moveTo>
                    <a:lnTo>
                      <a:pt x="1230" y="1558"/>
                    </a:lnTo>
                    <a:lnTo>
                      <a:pt x="1229" y="1558"/>
                    </a:lnTo>
                    <a:close/>
                    <a:moveTo>
                      <a:pt x="1198" y="1435"/>
                    </a:moveTo>
                    <a:lnTo>
                      <a:pt x="1198" y="1437"/>
                    </a:lnTo>
                    <a:lnTo>
                      <a:pt x="1198" y="1435"/>
                    </a:lnTo>
                    <a:close/>
                    <a:moveTo>
                      <a:pt x="1271" y="1595"/>
                    </a:moveTo>
                    <a:lnTo>
                      <a:pt x="1273" y="1595"/>
                    </a:lnTo>
                    <a:lnTo>
                      <a:pt x="1271" y="1595"/>
                    </a:lnTo>
                    <a:close/>
                    <a:moveTo>
                      <a:pt x="1186" y="1490"/>
                    </a:moveTo>
                    <a:lnTo>
                      <a:pt x="1188" y="1490"/>
                    </a:lnTo>
                    <a:lnTo>
                      <a:pt x="1186" y="1490"/>
                    </a:lnTo>
                    <a:close/>
                    <a:moveTo>
                      <a:pt x="1246" y="1507"/>
                    </a:moveTo>
                    <a:lnTo>
                      <a:pt x="1247" y="1507"/>
                    </a:lnTo>
                    <a:lnTo>
                      <a:pt x="1247" y="1509"/>
                    </a:lnTo>
                    <a:lnTo>
                      <a:pt x="1246" y="1509"/>
                    </a:lnTo>
                    <a:lnTo>
                      <a:pt x="1246" y="1507"/>
                    </a:lnTo>
                    <a:close/>
                    <a:moveTo>
                      <a:pt x="1368" y="1662"/>
                    </a:moveTo>
                    <a:lnTo>
                      <a:pt x="1370" y="1662"/>
                    </a:lnTo>
                    <a:lnTo>
                      <a:pt x="1368" y="1662"/>
                    </a:lnTo>
                    <a:close/>
                    <a:moveTo>
                      <a:pt x="1220" y="1544"/>
                    </a:moveTo>
                    <a:lnTo>
                      <a:pt x="1222" y="1544"/>
                    </a:lnTo>
                    <a:lnTo>
                      <a:pt x="1220" y="1544"/>
                    </a:lnTo>
                    <a:close/>
                    <a:moveTo>
                      <a:pt x="1162" y="1388"/>
                    </a:moveTo>
                    <a:lnTo>
                      <a:pt x="1164" y="1388"/>
                    </a:lnTo>
                    <a:lnTo>
                      <a:pt x="1162" y="1388"/>
                    </a:lnTo>
                    <a:close/>
                    <a:moveTo>
                      <a:pt x="1210" y="1242"/>
                    </a:moveTo>
                    <a:lnTo>
                      <a:pt x="1210" y="1243"/>
                    </a:lnTo>
                    <a:lnTo>
                      <a:pt x="1210" y="1242"/>
                    </a:lnTo>
                    <a:close/>
                    <a:moveTo>
                      <a:pt x="1196" y="1439"/>
                    </a:moveTo>
                    <a:lnTo>
                      <a:pt x="1198" y="1439"/>
                    </a:lnTo>
                    <a:lnTo>
                      <a:pt x="1198" y="1441"/>
                    </a:lnTo>
                    <a:lnTo>
                      <a:pt x="1196" y="1441"/>
                    </a:lnTo>
                    <a:lnTo>
                      <a:pt x="1196" y="1439"/>
                    </a:lnTo>
                    <a:close/>
                    <a:moveTo>
                      <a:pt x="1205" y="1481"/>
                    </a:moveTo>
                    <a:lnTo>
                      <a:pt x="1207" y="1481"/>
                    </a:lnTo>
                    <a:lnTo>
                      <a:pt x="1205" y="1481"/>
                    </a:lnTo>
                    <a:close/>
                    <a:moveTo>
                      <a:pt x="1190" y="1112"/>
                    </a:moveTo>
                    <a:lnTo>
                      <a:pt x="1191" y="1112"/>
                    </a:lnTo>
                    <a:lnTo>
                      <a:pt x="1191" y="1114"/>
                    </a:lnTo>
                    <a:lnTo>
                      <a:pt x="1190" y="1114"/>
                    </a:lnTo>
                    <a:lnTo>
                      <a:pt x="1190" y="1112"/>
                    </a:lnTo>
                    <a:close/>
                    <a:moveTo>
                      <a:pt x="1210" y="1481"/>
                    </a:moveTo>
                    <a:lnTo>
                      <a:pt x="1210" y="1483"/>
                    </a:lnTo>
                    <a:lnTo>
                      <a:pt x="1210" y="1481"/>
                    </a:lnTo>
                    <a:close/>
                    <a:moveTo>
                      <a:pt x="1312" y="1512"/>
                    </a:moveTo>
                    <a:lnTo>
                      <a:pt x="1312" y="1514"/>
                    </a:lnTo>
                    <a:lnTo>
                      <a:pt x="1312" y="1512"/>
                    </a:lnTo>
                    <a:close/>
                    <a:moveTo>
                      <a:pt x="1380" y="1662"/>
                    </a:moveTo>
                    <a:lnTo>
                      <a:pt x="1382" y="1662"/>
                    </a:lnTo>
                    <a:lnTo>
                      <a:pt x="1380" y="1662"/>
                    </a:lnTo>
                    <a:close/>
                    <a:moveTo>
                      <a:pt x="1210" y="1493"/>
                    </a:moveTo>
                    <a:lnTo>
                      <a:pt x="1212" y="1493"/>
                    </a:lnTo>
                    <a:lnTo>
                      <a:pt x="1210" y="1493"/>
                    </a:lnTo>
                    <a:close/>
                    <a:moveTo>
                      <a:pt x="1207" y="1099"/>
                    </a:moveTo>
                    <a:lnTo>
                      <a:pt x="1207" y="1100"/>
                    </a:lnTo>
                    <a:lnTo>
                      <a:pt x="1207" y="1099"/>
                    </a:lnTo>
                    <a:close/>
                    <a:moveTo>
                      <a:pt x="1154" y="1250"/>
                    </a:moveTo>
                    <a:lnTo>
                      <a:pt x="1156" y="1250"/>
                    </a:lnTo>
                    <a:lnTo>
                      <a:pt x="1154" y="1250"/>
                    </a:lnTo>
                    <a:close/>
                    <a:moveTo>
                      <a:pt x="1219" y="1549"/>
                    </a:moveTo>
                    <a:lnTo>
                      <a:pt x="1220" y="1549"/>
                    </a:lnTo>
                    <a:lnTo>
                      <a:pt x="1220" y="1551"/>
                    </a:lnTo>
                    <a:lnTo>
                      <a:pt x="1219" y="1551"/>
                    </a:lnTo>
                    <a:lnTo>
                      <a:pt x="1219" y="1549"/>
                    </a:lnTo>
                    <a:close/>
                    <a:moveTo>
                      <a:pt x="1210" y="1085"/>
                    </a:moveTo>
                    <a:lnTo>
                      <a:pt x="1210" y="1087"/>
                    </a:lnTo>
                    <a:lnTo>
                      <a:pt x="1210" y="1085"/>
                    </a:lnTo>
                    <a:close/>
                    <a:moveTo>
                      <a:pt x="1159" y="1347"/>
                    </a:moveTo>
                    <a:lnTo>
                      <a:pt x="1159" y="1349"/>
                    </a:lnTo>
                    <a:lnTo>
                      <a:pt x="1159" y="1347"/>
                    </a:lnTo>
                    <a:close/>
                    <a:moveTo>
                      <a:pt x="1219" y="1555"/>
                    </a:moveTo>
                    <a:lnTo>
                      <a:pt x="1220" y="1555"/>
                    </a:lnTo>
                    <a:lnTo>
                      <a:pt x="1219" y="1555"/>
                    </a:lnTo>
                    <a:close/>
                    <a:moveTo>
                      <a:pt x="1230" y="1570"/>
                    </a:moveTo>
                    <a:lnTo>
                      <a:pt x="1232" y="1570"/>
                    </a:lnTo>
                    <a:lnTo>
                      <a:pt x="1230" y="1570"/>
                    </a:lnTo>
                    <a:close/>
                    <a:moveTo>
                      <a:pt x="1144" y="1299"/>
                    </a:moveTo>
                    <a:lnTo>
                      <a:pt x="1144" y="1301"/>
                    </a:lnTo>
                    <a:lnTo>
                      <a:pt x="1144" y="1299"/>
                    </a:lnTo>
                    <a:close/>
                    <a:moveTo>
                      <a:pt x="1394" y="1635"/>
                    </a:moveTo>
                    <a:lnTo>
                      <a:pt x="1394" y="1636"/>
                    </a:lnTo>
                    <a:lnTo>
                      <a:pt x="1394" y="1635"/>
                    </a:lnTo>
                    <a:close/>
                    <a:moveTo>
                      <a:pt x="1236" y="1582"/>
                    </a:moveTo>
                    <a:lnTo>
                      <a:pt x="1236" y="1583"/>
                    </a:lnTo>
                    <a:lnTo>
                      <a:pt x="1236" y="1582"/>
                    </a:lnTo>
                    <a:close/>
                    <a:moveTo>
                      <a:pt x="1207" y="1514"/>
                    </a:moveTo>
                    <a:lnTo>
                      <a:pt x="1208" y="1514"/>
                    </a:lnTo>
                    <a:lnTo>
                      <a:pt x="1207" y="1514"/>
                    </a:lnTo>
                    <a:close/>
                    <a:moveTo>
                      <a:pt x="1220" y="1117"/>
                    </a:moveTo>
                    <a:lnTo>
                      <a:pt x="1222" y="1117"/>
                    </a:lnTo>
                    <a:lnTo>
                      <a:pt x="1220" y="1117"/>
                    </a:lnTo>
                    <a:close/>
                    <a:moveTo>
                      <a:pt x="1229" y="1039"/>
                    </a:moveTo>
                    <a:lnTo>
                      <a:pt x="1230" y="1039"/>
                    </a:lnTo>
                    <a:lnTo>
                      <a:pt x="1230" y="1041"/>
                    </a:lnTo>
                    <a:lnTo>
                      <a:pt x="1229" y="1041"/>
                    </a:lnTo>
                    <a:lnTo>
                      <a:pt x="1229" y="1039"/>
                    </a:lnTo>
                    <a:close/>
                    <a:moveTo>
                      <a:pt x="1178" y="1488"/>
                    </a:moveTo>
                    <a:lnTo>
                      <a:pt x="1179" y="1488"/>
                    </a:lnTo>
                    <a:lnTo>
                      <a:pt x="1179" y="1490"/>
                    </a:lnTo>
                    <a:lnTo>
                      <a:pt x="1178" y="1490"/>
                    </a:lnTo>
                    <a:lnTo>
                      <a:pt x="1178" y="1488"/>
                    </a:lnTo>
                    <a:close/>
                    <a:moveTo>
                      <a:pt x="1173" y="1435"/>
                    </a:moveTo>
                    <a:lnTo>
                      <a:pt x="1174" y="1435"/>
                    </a:lnTo>
                    <a:lnTo>
                      <a:pt x="1174" y="1437"/>
                    </a:lnTo>
                    <a:lnTo>
                      <a:pt x="1173" y="1437"/>
                    </a:lnTo>
                    <a:lnTo>
                      <a:pt x="1173" y="1435"/>
                    </a:lnTo>
                    <a:close/>
                    <a:moveTo>
                      <a:pt x="1202" y="1063"/>
                    </a:moveTo>
                    <a:lnTo>
                      <a:pt x="1203" y="1063"/>
                    </a:lnTo>
                    <a:lnTo>
                      <a:pt x="1202" y="1063"/>
                    </a:lnTo>
                    <a:close/>
                    <a:moveTo>
                      <a:pt x="1154" y="1250"/>
                    </a:moveTo>
                    <a:lnTo>
                      <a:pt x="1154" y="1252"/>
                    </a:lnTo>
                    <a:lnTo>
                      <a:pt x="1154" y="1250"/>
                    </a:lnTo>
                    <a:close/>
                    <a:moveTo>
                      <a:pt x="1178" y="1432"/>
                    </a:moveTo>
                    <a:lnTo>
                      <a:pt x="1179" y="1432"/>
                    </a:lnTo>
                    <a:lnTo>
                      <a:pt x="1178" y="1432"/>
                    </a:lnTo>
                    <a:close/>
                    <a:moveTo>
                      <a:pt x="1188" y="1480"/>
                    </a:moveTo>
                    <a:lnTo>
                      <a:pt x="1190" y="1480"/>
                    </a:lnTo>
                    <a:lnTo>
                      <a:pt x="1188" y="1480"/>
                    </a:lnTo>
                    <a:close/>
                    <a:moveTo>
                      <a:pt x="1360" y="1629"/>
                    </a:moveTo>
                    <a:lnTo>
                      <a:pt x="1361" y="1629"/>
                    </a:lnTo>
                    <a:lnTo>
                      <a:pt x="1361" y="1631"/>
                    </a:lnTo>
                    <a:lnTo>
                      <a:pt x="1360" y="1631"/>
                    </a:lnTo>
                    <a:lnTo>
                      <a:pt x="1360" y="1629"/>
                    </a:lnTo>
                    <a:close/>
                    <a:moveTo>
                      <a:pt x="1181" y="1117"/>
                    </a:moveTo>
                    <a:lnTo>
                      <a:pt x="1183" y="1117"/>
                    </a:lnTo>
                    <a:lnTo>
                      <a:pt x="1181" y="1117"/>
                    </a:lnTo>
                    <a:close/>
                    <a:moveTo>
                      <a:pt x="1346" y="1657"/>
                    </a:moveTo>
                    <a:lnTo>
                      <a:pt x="1348" y="1657"/>
                    </a:lnTo>
                    <a:lnTo>
                      <a:pt x="1348" y="1658"/>
                    </a:lnTo>
                    <a:lnTo>
                      <a:pt x="1346" y="1658"/>
                    </a:lnTo>
                    <a:lnTo>
                      <a:pt x="1346" y="1657"/>
                    </a:lnTo>
                    <a:close/>
                    <a:moveTo>
                      <a:pt x="1145" y="1332"/>
                    </a:moveTo>
                    <a:lnTo>
                      <a:pt x="1147" y="1332"/>
                    </a:lnTo>
                    <a:lnTo>
                      <a:pt x="1147" y="1333"/>
                    </a:lnTo>
                    <a:lnTo>
                      <a:pt x="1145" y="1333"/>
                    </a:lnTo>
                    <a:lnTo>
                      <a:pt x="1145" y="1332"/>
                    </a:lnTo>
                    <a:close/>
                    <a:moveTo>
                      <a:pt x="1215" y="1504"/>
                    </a:moveTo>
                    <a:lnTo>
                      <a:pt x="1217" y="1504"/>
                    </a:lnTo>
                    <a:lnTo>
                      <a:pt x="1215" y="1504"/>
                    </a:lnTo>
                    <a:close/>
                    <a:moveTo>
                      <a:pt x="1149" y="1253"/>
                    </a:moveTo>
                    <a:lnTo>
                      <a:pt x="1151" y="1253"/>
                    </a:lnTo>
                    <a:lnTo>
                      <a:pt x="1149" y="1253"/>
                    </a:lnTo>
                    <a:close/>
                    <a:moveTo>
                      <a:pt x="1329" y="1643"/>
                    </a:moveTo>
                    <a:lnTo>
                      <a:pt x="1331" y="1643"/>
                    </a:lnTo>
                    <a:lnTo>
                      <a:pt x="1329" y="1643"/>
                    </a:lnTo>
                    <a:close/>
                    <a:moveTo>
                      <a:pt x="1193" y="1453"/>
                    </a:moveTo>
                    <a:lnTo>
                      <a:pt x="1193" y="1454"/>
                    </a:lnTo>
                    <a:lnTo>
                      <a:pt x="1193" y="1453"/>
                    </a:lnTo>
                    <a:close/>
                    <a:moveTo>
                      <a:pt x="1203" y="1063"/>
                    </a:moveTo>
                    <a:lnTo>
                      <a:pt x="1203" y="1065"/>
                    </a:lnTo>
                    <a:lnTo>
                      <a:pt x="1203" y="1063"/>
                    </a:lnTo>
                    <a:close/>
                    <a:moveTo>
                      <a:pt x="1310" y="212"/>
                    </a:moveTo>
                    <a:lnTo>
                      <a:pt x="1310" y="214"/>
                    </a:lnTo>
                    <a:lnTo>
                      <a:pt x="1310" y="212"/>
                    </a:lnTo>
                    <a:close/>
                    <a:moveTo>
                      <a:pt x="1361" y="1667"/>
                    </a:moveTo>
                    <a:lnTo>
                      <a:pt x="1363" y="1667"/>
                    </a:lnTo>
                    <a:lnTo>
                      <a:pt x="1361" y="1667"/>
                    </a:lnTo>
                    <a:close/>
                    <a:moveTo>
                      <a:pt x="1166" y="1405"/>
                    </a:moveTo>
                    <a:lnTo>
                      <a:pt x="1168" y="1405"/>
                    </a:lnTo>
                    <a:lnTo>
                      <a:pt x="1168" y="1407"/>
                    </a:lnTo>
                    <a:lnTo>
                      <a:pt x="1166" y="1407"/>
                    </a:lnTo>
                    <a:lnTo>
                      <a:pt x="1166" y="1405"/>
                    </a:lnTo>
                    <a:close/>
                    <a:moveTo>
                      <a:pt x="1215" y="1555"/>
                    </a:moveTo>
                    <a:lnTo>
                      <a:pt x="1217" y="1555"/>
                    </a:lnTo>
                    <a:lnTo>
                      <a:pt x="1215" y="1555"/>
                    </a:lnTo>
                    <a:close/>
                    <a:moveTo>
                      <a:pt x="1191" y="1437"/>
                    </a:moveTo>
                    <a:lnTo>
                      <a:pt x="1193" y="1437"/>
                    </a:lnTo>
                    <a:lnTo>
                      <a:pt x="1191" y="1437"/>
                    </a:lnTo>
                    <a:close/>
                    <a:moveTo>
                      <a:pt x="1251" y="1522"/>
                    </a:moveTo>
                    <a:lnTo>
                      <a:pt x="1253" y="1522"/>
                    </a:lnTo>
                    <a:lnTo>
                      <a:pt x="1251" y="1522"/>
                    </a:lnTo>
                    <a:close/>
                    <a:moveTo>
                      <a:pt x="1207" y="1498"/>
                    </a:moveTo>
                    <a:lnTo>
                      <a:pt x="1208" y="1498"/>
                    </a:lnTo>
                    <a:lnTo>
                      <a:pt x="1208" y="1500"/>
                    </a:lnTo>
                    <a:lnTo>
                      <a:pt x="1207" y="1500"/>
                    </a:lnTo>
                    <a:lnTo>
                      <a:pt x="1207" y="1498"/>
                    </a:lnTo>
                    <a:close/>
                    <a:moveTo>
                      <a:pt x="1186" y="1439"/>
                    </a:moveTo>
                    <a:lnTo>
                      <a:pt x="1186" y="1441"/>
                    </a:lnTo>
                    <a:lnTo>
                      <a:pt x="1186" y="1439"/>
                    </a:lnTo>
                    <a:close/>
                    <a:moveTo>
                      <a:pt x="1176" y="1116"/>
                    </a:moveTo>
                    <a:lnTo>
                      <a:pt x="1178" y="1116"/>
                    </a:lnTo>
                    <a:lnTo>
                      <a:pt x="1176" y="1116"/>
                    </a:lnTo>
                    <a:close/>
                    <a:moveTo>
                      <a:pt x="1188" y="1209"/>
                    </a:moveTo>
                    <a:lnTo>
                      <a:pt x="1190" y="1209"/>
                    </a:lnTo>
                    <a:lnTo>
                      <a:pt x="1188" y="1209"/>
                    </a:lnTo>
                    <a:close/>
                    <a:moveTo>
                      <a:pt x="1159" y="1347"/>
                    </a:moveTo>
                    <a:lnTo>
                      <a:pt x="1161" y="1347"/>
                    </a:lnTo>
                    <a:lnTo>
                      <a:pt x="1159" y="1347"/>
                    </a:lnTo>
                    <a:close/>
                    <a:moveTo>
                      <a:pt x="1215" y="1105"/>
                    </a:moveTo>
                    <a:lnTo>
                      <a:pt x="1215" y="1107"/>
                    </a:lnTo>
                    <a:lnTo>
                      <a:pt x="1215" y="1105"/>
                    </a:lnTo>
                    <a:close/>
                    <a:moveTo>
                      <a:pt x="1162" y="1347"/>
                    </a:moveTo>
                    <a:lnTo>
                      <a:pt x="1164" y="1347"/>
                    </a:lnTo>
                    <a:lnTo>
                      <a:pt x="1162" y="1347"/>
                    </a:lnTo>
                    <a:close/>
                    <a:moveTo>
                      <a:pt x="1210" y="1116"/>
                    </a:moveTo>
                    <a:lnTo>
                      <a:pt x="1212" y="1116"/>
                    </a:lnTo>
                    <a:lnTo>
                      <a:pt x="1210" y="1116"/>
                    </a:lnTo>
                    <a:close/>
                    <a:moveTo>
                      <a:pt x="1259" y="1493"/>
                    </a:moveTo>
                    <a:lnTo>
                      <a:pt x="1261" y="1493"/>
                    </a:lnTo>
                    <a:lnTo>
                      <a:pt x="1259" y="1493"/>
                    </a:lnTo>
                    <a:close/>
                    <a:moveTo>
                      <a:pt x="1207" y="1521"/>
                    </a:moveTo>
                    <a:lnTo>
                      <a:pt x="1208" y="1521"/>
                    </a:lnTo>
                    <a:lnTo>
                      <a:pt x="1208" y="1522"/>
                    </a:lnTo>
                    <a:lnTo>
                      <a:pt x="1207" y="1522"/>
                    </a:lnTo>
                    <a:lnTo>
                      <a:pt x="1207" y="1521"/>
                    </a:lnTo>
                    <a:close/>
                    <a:moveTo>
                      <a:pt x="1212" y="1070"/>
                    </a:moveTo>
                    <a:lnTo>
                      <a:pt x="1212" y="1071"/>
                    </a:lnTo>
                    <a:lnTo>
                      <a:pt x="1212" y="1070"/>
                    </a:lnTo>
                    <a:close/>
                    <a:moveTo>
                      <a:pt x="1190" y="1068"/>
                    </a:moveTo>
                    <a:lnTo>
                      <a:pt x="1191" y="1068"/>
                    </a:lnTo>
                    <a:lnTo>
                      <a:pt x="1190" y="1068"/>
                    </a:lnTo>
                    <a:close/>
                    <a:moveTo>
                      <a:pt x="1213" y="1555"/>
                    </a:moveTo>
                    <a:lnTo>
                      <a:pt x="1215" y="1555"/>
                    </a:lnTo>
                    <a:lnTo>
                      <a:pt x="1215" y="1556"/>
                    </a:lnTo>
                    <a:lnTo>
                      <a:pt x="1213" y="1556"/>
                    </a:lnTo>
                    <a:lnTo>
                      <a:pt x="1213" y="1555"/>
                    </a:lnTo>
                    <a:close/>
                    <a:moveTo>
                      <a:pt x="1212" y="1555"/>
                    </a:moveTo>
                    <a:lnTo>
                      <a:pt x="1213" y="1555"/>
                    </a:lnTo>
                    <a:lnTo>
                      <a:pt x="1212" y="1555"/>
                    </a:lnTo>
                    <a:close/>
                    <a:moveTo>
                      <a:pt x="1212" y="1500"/>
                    </a:moveTo>
                    <a:lnTo>
                      <a:pt x="1212" y="1502"/>
                    </a:lnTo>
                    <a:lnTo>
                      <a:pt x="1212" y="1500"/>
                    </a:lnTo>
                    <a:close/>
                    <a:moveTo>
                      <a:pt x="1156" y="1250"/>
                    </a:moveTo>
                    <a:lnTo>
                      <a:pt x="1156" y="1252"/>
                    </a:lnTo>
                    <a:lnTo>
                      <a:pt x="1156" y="1250"/>
                    </a:lnTo>
                    <a:close/>
                    <a:moveTo>
                      <a:pt x="1205" y="1073"/>
                    </a:moveTo>
                    <a:lnTo>
                      <a:pt x="1207" y="1073"/>
                    </a:lnTo>
                    <a:lnTo>
                      <a:pt x="1207" y="1075"/>
                    </a:lnTo>
                    <a:lnTo>
                      <a:pt x="1205" y="1075"/>
                    </a:lnTo>
                    <a:lnTo>
                      <a:pt x="1205" y="1073"/>
                    </a:lnTo>
                    <a:close/>
                    <a:moveTo>
                      <a:pt x="1208" y="1082"/>
                    </a:moveTo>
                    <a:lnTo>
                      <a:pt x="1210" y="1082"/>
                    </a:lnTo>
                    <a:lnTo>
                      <a:pt x="1208" y="1082"/>
                    </a:lnTo>
                    <a:close/>
                    <a:moveTo>
                      <a:pt x="1169" y="1434"/>
                    </a:moveTo>
                    <a:lnTo>
                      <a:pt x="1171" y="1434"/>
                    </a:lnTo>
                    <a:lnTo>
                      <a:pt x="1171" y="1435"/>
                    </a:lnTo>
                    <a:lnTo>
                      <a:pt x="1169" y="1435"/>
                    </a:lnTo>
                    <a:lnTo>
                      <a:pt x="1169" y="1434"/>
                    </a:lnTo>
                    <a:close/>
                    <a:moveTo>
                      <a:pt x="1191" y="1114"/>
                    </a:moveTo>
                    <a:lnTo>
                      <a:pt x="1191" y="1116"/>
                    </a:lnTo>
                    <a:lnTo>
                      <a:pt x="1191" y="1114"/>
                    </a:lnTo>
                    <a:close/>
                    <a:moveTo>
                      <a:pt x="1178" y="1374"/>
                    </a:moveTo>
                    <a:lnTo>
                      <a:pt x="1178" y="1376"/>
                    </a:lnTo>
                    <a:lnTo>
                      <a:pt x="1178" y="1374"/>
                    </a:lnTo>
                    <a:close/>
                    <a:moveTo>
                      <a:pt x="1208" y="1075"/>
                    </a:moveTo>
                    <a:lnTo>
                      <a:pt x="1210" y="1075"/>
                    </a:lnTo>
                    <a:lnTo>
                      <a:pt x="1208" y="1075"/>
                    </a:lnTo>
                    <a:close/>
                    <a:moveTo>
                      <a:pt x="1205" y="1053"/>
                    </a:moveTo>
                    <a:lnTo>
                      <a:pt x="1205" y="1054"/>
                    </a:lnTo>
                    <a:lnTo>
                      <a:pt x="1205" y="1053"/>
                    </a:lnTo>
                    <a:close/>
                    <a:moveTo>
                      <a:pt x="1186" y="1383"/>
                    </a:moveTo>
                    <a:lnTo>
                      <a:pt x="1186" y="1384"/>
                    </a:lnTo>
                    <a:lnTo>
                      <a:pt x="1186" y="1383"/>
                    </a:lnTo>
                    <a:close/>
                    <a:moveTo>
                      <a:pt x="1169" y="1133"/>
                    </a:moveTo>
                    <a:lnTo>
                      <a:pt x="1171" y="1133"/>
                    </a:lnTo>
                    <a:lnTo>
                      <a:pt x="1171" y="1134"/>
                    </a:lnTo>
                    <a:lnTo>
                      <a:pt x="1169" y="1134"/>
                    </a:lnTo>
                    <a:lnTo>
                      <a:pt x="1169" y="1133"/>
                    </a:lnTo>
                    <a:close/>
                    <a:moveTo>
                      <a:pt x="1383" y="1628"/>
                    </a:moveTo>
                    <a:lnTo>
                      <a:pt x="1383" y="1629"/>
                    </a:lnTo>
                    <a:lnTo>
                      <a:pt x="1383" y="1628"/>
                    </a:lnTo>
                    <a:close/>
                    <a:moveTo>
                      <a:pt x="1232" y="1583"/>
                    </a:moveTo>
                    <a:lnTo>
                      <a:pt x="1234" y="1583"/>
                    </a:lnTo>
                    <a:lnTo>
                      <a:pt x="1232" y="1583"/>
                    </a:lnTo>
                    <a:close/>
                    <a:moveTo>
                      <a:pt x="1353" y="1682"/>
                    </a:moveTo>
                    <a:lnTo>
                      <a:pt x="1355" y="1682"/>
                    </a:lnTo>
                    <a:lnTo>
                      <a:pt x="1353" y="1682"/>
                    </a:lnTo>
                    <a:close/>
                    <a:moveTo>
                      <a:pt x="1185" y="1429"/>
                    </a:moveTo>
                    <a:lnTo>
                      <a:pt x="1185" y="1430"/>
                    </a:lnTo>
                    <a:lnTo>
                      <a:pt x="1185" y="1429"/>
                    </a:lnTo>
                    <a:close/>
                    <a:moveTo>
                      <a:pt x="1205" y="1054"/>
                    </a:moveTo>
                    <a:lnTo>
                      <a:pt x="1207" y="1054"/>
                    </a:lnTo>
                    <a:lnTo>
                      <a:pt x="1205" y="1054"/>
                    </a:lnTo>
                    <a:close/>
                    <a:moveTo>
                      <a:pt x="1283" y="1595"/>
                    </a:moveTo>
                    <a:lnTo>
                      <a:pt x="1283" y="1597"/>
                    </a:lnTo>
                    <a:lnTo>
                      <a:pt x="1283" y="1595"/>
                    </a:lnTo>
                    <a:close/>
                    <a:moveTo>
                      <a:pt x="1185" y="1429"/>
                    </a:moveTo>
                    <a:lnTo>
                      <a:pt x="1186" y="1429"/>
                    </a:lnTo>
                    <a:lnTo>
                      <a:pt x="1186" y="1430"/>
                    </a:lnTo>
                    <a:lnTo>
                      <a:pt x="1185" y="1430"/>
                    </a:lnTo>
                    <a:lnTo>
                      <a:pt x="1185" y="1429"/>
                    </a:lnTo>
                    <a:close/>
                    <a:moveTo>
                      <a:pt x="1220" y="1549"/>
                    </a:moveTo>
                    <a:lnTo>
                      <a:pt x="1220" y="1551"/>
                    </a:lnTo>
                    <a:lnTo>
                      <a:pt x="1220" y="1549"/>
                    </a:lnTo>
                    <a:close/>
                    <a:moveTo>
                      <a:pt x="1174" y="1116"/>
                    </a:moveTo>
                    <a:lnTo>
                      <a:pt x="1174" y="1117"/>
                    </a:lnTo>
                    <a:lnTo>
                      <a:pt x="1174" y="1116"/>
                    </a:lnTo>
                    <a:close/>
                    <a:moveTo>
                      <a:pt x="1314" y="1577"/>
                    </a:moveTo>
                    <a:lnTo>
                      <a:pt x="1315" y="1577"/>
                    </a:lnTo>
                    <a:lnTo>
                      <a:pt x="1314" y="1577"/>
                    </a:lnTo>
                    <a:close/>
                    <a:moveTo>
                      <a:pt x="1207" y="1507"/>
                    </a:moveTo>
                    <a:lnTo>
                      <a:pt x="1208" y="1507"/>
                    </a:lnTo>
                    <a:lnTo>
                      <a:pt x="1207" y="1507"/>
                    </a:lnTo>
                    <a:close/>
                    <a:moveTo>
                      <a:pt x="1380" y="1660"/>
                    </a:moveTo>
                    <a:lnTo>
                      <a:pt x="1380" y="1662"/>
                    </a:lnTo>
                    <a:lnTo>
                      <a:pt x="1380" y="1660"/>
                    </a:lnTo>
                    <a:close/>
                    <a:moveTo>
                      <a:pt x="1224" y="1572"/>
                    </a:moveTo>
                    <a:lnTo>
                      <a:pt x="1225" y="1572"/>
                    </a:lnTo>
                    <a:lnTo>
                      <a:pt x="1224" y="1572"/>
                    </a:lnTo>
                    <a:close/>
                    <a:moveTo>
                      <a:pt x="1331" y="1648"/>
                    </a:moveTo>
                    <a:lnTo>
                      <a:pt x="1332" y="1648"/>
                    </a:lnTo>
                    <a:lnTo>
                      <a:pt x="1331" y="1648"/>
                    </a:lnTo>
                    <a:close/>
                    <a:moveTo>
                      <a:pt x="1198" y="1549"/>
                    </a:moveTo>
                    <a:lnTo>
                      <a:pt x="1200" y="1549"/>
                    </a:lnTo>
                    <a:lnTo>
                      <a:pt x="1198" y="1549"/>
                    </a:lnTo>
                    <a:close/>
                    <a:moveTo>
                      <a:pt x="1174" y="1435"/>
                    </a:moveTo>
                    <a:lnTo>
                      <a:pt x="1174" y="1437"/>
                    </a:lnTo>
                    <a:lnTo>
                      <a:pt x="1174" y="1435"/>
                    </a:lnTo>
                    <a:close/>
                    <a:moveTo>
                      <a:pt x="1176" y="1255"/>
                    </a:moveTo>
                    <a:lnTo>
                      <a:pt x="1178" y="1255"/>
                    </a:lnTo>
                    <a:lnTo>
                      <a:pt x="1176" y="1255"/>
                    </a:lnTo>
                    <a:close/>
                    <a:moveTo>
                      <a:pt x="1156" y="1191"/>
                    </a:moveTo>
                    <a:lnTo>
                      <a:pt x="1157" y="1191"/>
                    </a:lnTo>
                    <a:lnTo>
                      <a:pt x="1156" y="1191"/>
                    </a:lnTo>
                    <a:close/>
                    <a:moveTo>
                      <a:pt x="1208" y="956"/>
                    </a:moveTo>
                    <a:lnTo>
                      <a:pt x="1210" y="956"/>
                    </a:lnTo>
                    <a:lnTo>
                      <a:pt x="1208" y="956"/>
                    </a:lnTo>
                    <a:close/>
                    <a:moveTo>
                      <a:pt x="1220" y="1563"/>
                    </a:moveTo>
                    <a:lnTo>
                      <a:pt x="1222" y="1563"/>
                    </a:lnTo>
                    <a:lnTo>
                      <a:pt x="1220" y="1563"/>
                    </a:lnTo>
                    <a:close/>
                    <a:moveTo>
                      <a:pt x="1207" y="949"/>
                    </a:moveTo>
                    <a:lnTo>
                      <a:pt x="1207" y="951"/>
                    </a:lnTo>
                    <a:lnTo>
                      <a:pt x="1207" y="949"/>
                    </a:lnTo>
                    <a:close/>
                    <a:moveTo>
                      <a:pt x="1220" y="1056"/>
                    </a:moveTo>
                    <a:lnTo>
                      <a:pt x="1222" y="1056"/>
                    </a:lnTo>
                    <a:lnTo>
                      <a:pt x="1222" y="1058"/>
                    </a:lnTo>
                    <a:lnTo>
                      <a:pt x="1220" y="1058"/>
                    </a:lnTo>
                    <a:lnTo>
                      <a:pt x="1220" y="1056"/>
                    </a:lnTo>
                    <a:close/>
                    <a:moveTo>
                      <a:pt x="1232" y="1575"/>
                    </a:moveTo>
                    <a:lnTo>
                      <a:pt x="1234" y="1575"/>
                    </a:lnTo>
                    <a:lnTo>
                      <a:pt x="1232" y="1575"/>
                    </a:lnTo>
                    <a:close/>
                    <a:moveTo>
                      <a:pt x="1378" y="1665"/>
                    </a:moveTo>
                    <a:lnTo>
                      <a:pt x="1378" y="1667"/>
                    </a:lnTo>
                    <a:lnTo>
                      <a:pt x="1378" y="1665"/>
                    </a:lnTo>
                    <a:close/>
                    <a:moveTo>
                      <a:pt x="1227" y="1556"/>
                    </a:moveTo>
                    <a:lnTo>
                      <a:pt x="1229" y="1556"/>
                    </a:lnTo>
                    <a:lnTo>
                      <a:pt x="1229" y="1558"/>
                    </a:lnTo>
                    <a:lnTo>
                      <a:pt x="1227" y="1558"/>
                    </a:lnTo>
                    <a:lnTo>
                      <a:pt x="1227" y="1556"/>
                    </a:lnTo>
                    <a:close/>
                    <a:moveTo>
                      <a:pt x="1229" y="1534"/>
                    </a:moveTo>
                    <a:lnTo>
                      <a:pt x="1229" y="1536"/>
                    </a:lnTo>
                    <a:lnTo>
                      <a:pt x="1229" y="1534"/>
                    </a:lnTo>
                    <a:close/>
                    <a:moveTo>
                      <a:pt x="1183" y="1461"/>
                    </a:moveTo>
                    <a:lnTo>
                      <a:pt x="1185" y="1461"/>
                    </a:lnTo>
                    <a:lnTo>
                      <a:pt x="1185" y="1463"/>
                    </a:lnTo>
                    <a:lnTo>
                      <a:pt x="1183" y="1463"/>
                    </a:lnTo>
                    <a:lnTo>
                      <a:pt x="1183" y="1461"/>
                    </a:lnTo>
                    <a:close/>
                    <a:moveTo>
                      <a:pt x="1183" y="1298"/>
                    </a:moveTo>
                    <a:lnTo>
                      <a:pt x="1183" y="1299"/>
                    </a:lnTo>
                    <a:lnTo>
                      <a:pt x="1183" y="1298"/>
                    </a:lnTo>
                    <a:close/>
                    <a:moveTo>
                      <a:pt x="1227" y="1522"/>
                    </a:moveTo>
                    <a:lnTo>
                      <a:pt x="1229" y="1522"/>
                    </a:lnTo>
                    <a:lnTo>
                      <a:pt x="1229" y="1524"/>
                    </a:lnTo>
                    <a:lnTo>
                      <a:pt x="1227" y="1524"/>
                    </a:lnTo>
                    <a:lnTo>
                      <a:pt x="1227" y="1522"/>
                    </a:lnTo>
                    <a:close/>
                    <a:moveTo>
                      <a:pt x="1203" y="1541"/>
                    </a:moveTo>
                    <a:lnTo>
                      <a:pt x="1205" y="1541"/>
                    </a:lnTo>
                    <a:lnTo>
                      <a:pt x="1203" y="1541"/>
                    </a:lnTo>
                    <a:close/>
                    <a:moveTo>
                      <a:pt x="1256" y="1524"/>
                    </a:moveTo>
                    <a:lnTo>
                      <a:pt x="1256" y="1526"/>
                    </a:lnTo>
                    <a:lnTo>
                      <a:pt x="1256" y="1524"/>
                    </a:lnTo>
                    <a:close/>
                    <a:moveTo>
                      <a:pt x="1307" y="1643"/>
                    </a:moveTo>
                    <a:lnTo>
                      <a:pt x="1307" y="1645"/>
                    </a:lnTo>
                    <a:lnTo>
                      <a:pt x="1307" y="1643"/>
                    </a:lnTo>
                    <a:close/>
                    <a:moveTo>
                      <a:pt x="1210" y="1502"/>
                    </a:moveTo>
                    <a:lnTo>
                      <a:pt x="1212" y="1502"/>
                    </a:lnTo>
                    <a:lnTo>
                      <a:pt x="1210" y="1502"/>
                    </a:lnTo>
                    <a:close/>
                    <a:moveTo>
                      <a:pt x="1179" y="1432"/>
                    </a:moveTo>
                    <a:lnTo>
                      <a:pt x="1179" y="1434"/>
                    </a:lnTo>
                    <a:lnTo>
                      <a:pt x="1179" y="1432"/>
                    </a:lnTo>
                    <a:close/>
                    <a:moveTo>
                      <a:pt x="1365" y="1665"/>
                    </a:moveTo>
                    <a:lnTo>
                      <a:pt x="1365" y="1667"/>
                    </a:lnTo>
                    <a:lnTo>
                      <a:pt x="1365" y="1665"/>
                    </a:lnTo>
                    <a:close/>
                    <a:moveTo>
                      <a:pt x="1234" y="1077"/>
                    </a:moveTo>
                    <a:lnTo>
                      <a:pt x="1234" y="1078"/>
                    </a:lnTo>
                    <a:lnTo>
                      <a:pt x="1234" y="1077"/>
                    </a:lnTo>
                    <a:close/>
                    <a:moveTo>
                      <a:pt x="1173" y="1466"/>
                    </a:moveTo>
                    <a:lnTo>
                      <a:pt x="1173" y="1468"/>
                    </a:lnTo>
                    <a:lnTo>
                      <a:pt x="1173" y="1466"/>
                    </a:lnTo>
                    <a:close/>
                    <a:moveTo>
                      <a:pt x="1220" y="1558"/>
                    </a:moveTo>
                    <a:lnTo>
                      <a:pt x="1220" y="1560"/>
                    </a:lnTo>
                    <a:lnTo>
                      <a:pt x="1220" y="1558"/>
                    </a:lnTo>
                    <a:close/>
                    <a:moveTo>
                      <a:pt x="1300" y="1618"/>
                    </a:moveTo>
                    <a:lnTo>
                      <a:pt x="1300" y="1619"/>
                    </a:lnTo>
                    <a:lnTo>
                      <a:pt x="1300" y="1618"/>
                    </a:lnTo>
                    <a:close/>
                    <a:moveTo>
                      <a:pt x="1230" y="1558"/>
                    </a:moveTo>
                    <a:lnTo>
                      <a:pt x="1232" y="1558"/>
                    </a:lnTo>
                    <a:lnTo>
                      <a:pt x="1230" y="1558"/>
                    </a:lnTo>
                    <a:close/>
                    <a:moveTo>
                      <a:pt x="1212" y="1257"/>
                    </a:moveTo>
                    <a:lnTo>
                      <a:pt x="1212" y="1259"/>
                    </a:lnTo>
                    <a:lnTo>
                      <a:pt x="1212" y="1257"/>
                    </a:lnTo>
                    <a:close/>
                    <a:moveTo>
                      <a:pt x="1210" y="1509"/>
                    </a:moveTo>
                    <a:lnTo>
                      <a:pt x="1212" y="1509"/>
                    </a:lnTo>
                    <a:lnTo>
                      <a:pt x="1210" y="1509"/>
                    </a:lnTo>
                    <a:close/>
                    <a:moveTo>
                      <a:pt x="1219" y="1568"/>
                    </a:moveTo>
                    <a:lnTo>
                      <a:pt x="1220" y="1568"/>
                    </a:lnTo>
                    <a:lnTo>
                      <a:pt x="1219" y="1568"/>
                    </a:lnTo>
                    <a:close/>
                    <a:moveTo>
                      <a:pt x="1186" y="1383"/>
                    </a:moveTo>
                    <a:lnTo>
                      <a:pt x="1188" y="1383"/>
                    </a:lnTo>
                    <a:lnTo>
                      <a:pt x="1186" y="1383"/>
                    </a:lnTo>
                    <a:close/>
                    <a:moveTo>
                      <a:pt x="1183" y="1420"/>
                    </a:moveTo>
                    <a:lnTo>
                      <a:pt x="1185" y="1420"/>
                    </a:lnTo>
                    <a:lnTo>
                      <a:pt x="1183" y="1420"/>
                    </a:lnTo>
                    <a:close/>
                    <a:moveTo>
                      <a:pt x="1200" y="1145"/>
                    </a:moveTo>
                    <a:lnTo>
                      <a:pt x="1200" y="1146"/>
                    </a:lnTo>
                    <a:lnTo>
                      <a:pt x="1200" y="1145"/>
                    </a:lnTo>
                    <a:close/>
                    <a:moveTo>
                      <a:pt x="1205" y="1505"/>
                    </a:moveTo>
                    <a:lnTo>
                      <a:pt x="1205" y="1507"/>
                    </a:lnTo>
                    <a:lnTo>
                      <a:pt x="1205" y="1505"/>
                    </a:lnTo>
                    <a:close/>
                    <a:moveTo>
                      <a:pt x="1232" y="1575"/>
                    </a:moveTo>
                    <a:lnTo>
                      <a:pt x="1234" y="1575"/>
                    </a:lnTo>
                    <a:lnTo>
                      <a:pt x="1232" y="1575"/>
                    </a:lnTo>
                    <a:close/>
                    <a:moveTo>
                      <a:pt x="1234" y="1453"/>
                    </a:moveTo>
                    <a:lnTo>
                      <a:pt x="1234" y="1454"/>
                    </a:lnTo>
                    <a:lnTo>
                      <a:pt x="1234" y="1453"/>
                    </a:lnTo>
                    <a:close/>
                    <a:moveTo>
                      <a:pt x="1242" y="1497"/>
                    </a:moveTo>
                    <a:lnTo>
                      <a:pt x="1244" y="1497"/>
                    </a:lnTo>
                    <a:lnTo>
                      <a:pt x="1244" y="1498"/>
                    </a:lnTo>
                    <a:lnTo>
                      <a:pt x="1242" y="1498"/>
                    </a:lnTo>
                    <a:lnTo>
                      <a:pt x="1242" y="1497"/>
                    </a:lnTo>
                    <a:close/>
                    <a:moveTo>
                      <a:pt x="1219" y="1505"/>
                    </a:moveTo>
                    <a:lnTo>
                      <a:pt x="1220" y="1505"/>
                    </a:lnTo>
                    <a:lnTo>
                      <a:pt x="1219" y="1505"/>
                    </a:lnTo>
                    <a:close/>
                    <a:moveTo>
                      <a:pt x="1191" y="1117"/>
                    </a:moveTo>
                    <a:lnTo>
                      <a:pt x="1191" y="1119"/>
                    </a:lnTo>
                    <a:lnTo>
                      <a:pt x="1191" y="1117"/>
                    </a:lnTo>
                    <a:close/>
                    <a:moveTo>
                      <a:pt x="1166" y="1361"/>
                    </a:moveTo>
                    <a:lnTo>
                      <a:pt x="1166" y="1362"/>
                    </a:lnTo>
                    <a:lnTo>
                      <a:pt x="1166" y="1361"/>
                    </a:lnTo>
                    <a:close/>
                    <a:moveTo>
                      <a:pt x="1147" y="1286"/>
                    </a:moveTo>
                    <a:lnTo>
                      <a:pt x="1149" y="1286"/>
                    </a:lnTo>
                    <a:lnTo>
                      <a:pt x="1147" y="1286"/>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0" name="Freeform 22">
                <a:extLst>
                  <a:ext uri="{FF2B5EF4-FFF2-40B4-BE49-F238E27FC236}">
                    <a16:creationId xmlns:a16="http://schemas.microsoft.com/office/drawing/2014/main" id="{A71521E0-D58B-57D0-2B92-12B0F80C63FA}"/>
                  </a:ext>
                </a:extLst>
              </p:cNvPr>
              <p:cNvSpPr>
                <a:spLocks noEditPoints="1"/>
              </p:cNvSpPr>
              <p:nvPr/>
            </p:nvSpPr>
            <p:spPr bwMode="auto">
              <a:xfrm>
                <a:off x="5272088" y="1728788"/>
                <a:ext cx="798512" cy="952500"/>
              </a:xfrm>
              <a:custGeom>
                <a:avLst/>
                <a:gdLst>
                  <a:gd name="T0" fmla="*/ 304 w 503"/>
                  <a:gd name="T1" fmla="*/ 93 h 600"/>
                  <a:gd name="T2" fmla="*/ 290 w 503"/>
                  <a:gd name="T3" fmla="*/ 132 h 600"/>
                  <a:gd name="T4" fmla="*/ 301 w 503"/>
                  <a:gd name="T5" fmla="*/ 146 h 600"/>
                  <a:gd name="T6" fmla="*/ 312 w 503"/>
                  <a:gd name="T7" fmla="*/ 187 h 600"/>
                  <a:gd name="T8" fmla="*/ 326 w 503"/>
                  <a:gd name="T9" fmla="*/ 217 h 600"/>
                  <a:gd name="T10" fmla="*/ 365 w 503"/>
                  <a:gd name="T11" fmla="*/ 219 h 600"/>
                  <a:gd name="T12" fmla="*/ 420 w 503"/>
                  <a:gd name="T13" fmla="*/ 251 h 600"/>
                  <a:gd name="T14" fmla="*/ 464 w 503"/>
                  <a:gd name="T15" fmla="*/ 246 h 600"/>
                  <a:gd name="T16" fmla="*/ 476 w 503"/>
                  <a:gd name="T17" fmla="*/ 267 h 600"/>
                  <a:gd name="T18" fmla="*/ 469 w 503"/>
                  <a:gd name="T19" fmla="*/ 301 h 600"/>
                  <a:gd name="T20" fmla="*/ 482 w 503"/>
                  <a:gd name="T21" fmla="*/ 335 h 600"/>
                  <a:gd name="T22" fmla="*/ 482 w 503"/>
                  <a:gd name="T23" fmla="*/ 369 h 600"/>
                  <a:gd name="T24" fmla="*/ 499 w 503"/>
                  <a:gd name="T25" fmla="*/ 401 h 600"/>
                  <a:gd name="T26" fmla="*/ 493 w 503"/>
                  <a:gd name="T27" fmla="*/ 398 h 600"/>
                  <a:gd name="T28" fmla="*/ 469 w 503"/>
                  <a:gd name="T29" fmla="*/ 393 h 600"/>
                  <a:gd name="T30" fmla="*/ 457 w 503"/>
                  <a:gd name="T31" fmla="*/ 398 h 600"/>
                  <a:gd name="T32" fmla="*/ 401 w 503"/>
                  <a:gd name="T33" fmla="*/ 415 h 600"/>
                  <a:gd name="T34" fmla="*/ 426 w 503"/>
                  <a:gd name="T35" fmla="*/ 435 h 600"/>
                  <a:gd name="T36" fmla="*/ 397 w 503"/>
                  <a:gd name="T37" fmla="*/ 437 h 600"/>
                  <a:gd name="T38" fmla="*/ 411 w 503"/>
                  <a:gd name="T39" fmla="*/ 478 h 600"/>
                  <a:gd name="T40" fmla="*/ 411 w 503"/>
                  <a:gd name="T41" fmla="*/ 529 h 600"/>
                  <a:gd name="T42" fmla="*/ 375 w 503"/>
                  <a:gd name="T43" fmla="*/ 587 h 600"/>
                  <a:gd name="T44" fmla="*/ 386 w 503"/>
                  <a:gd name="T45" fmla="*/ 542 h 600"/>
                  <a:gd name="T46" fmla="*/ 358 w 503"/>
                  <a:gd name="T47" fmla="*/ 534 h 600"/>
                  <a:gd name="T48" fmla="*/ 336 w 503"/>
                  <a:gd name="T49" fmla="*/ 530 h 600"/>
                  <a:gd name="T50" fmla="*/ 309 w 503"/>
                  <a:gd name="T51" fmla="*/ 537 h 600"/>
                  <a:gd name="T52" fmla="*/ 292 w 503"/>
                  <a:gd name="T53" fmla="*/ 520 h 600"/>
                  <a:gd name="T54" fmla="*/ 275 w 503"/>
                  <a:gd name="T55" fmla="*/ 502 h 600"/>
                  <a:gd name="T56" fmla="*/ 253 w 503"/>
                  <a:gd name="T57" fmla="*/ 488 h 600"/>
                  <a:gd name="T58" fmla="*/ 238 w 503"/>
                  <a:gd name="T59" fmla="*/ 469 h 600"/>
                  <a:gd name="T60" fmla="*/ 207 w 503"/>
                  <a:gd name="T61" fmla="*/ 457 h 600"/>
                  <a:gd name="T62" fmla="*/ 175 w 503"/>
                  <a:gd name="T63" fmla="*/ 449 h 600"/>
                  <a:gd name="T64" fmla="*/ 144 w 503"/>
                  <a:gd name="T65" fmla="*/ 442 h 600"/>
                  <a:gd name="T66" fmla="*/ 120 w 503"/>
                  <a:gd name="T67" fmla="*/ 425 h 600"/>
                  <a:gd name="T68" fmla="*/ 91 w 503"/>
                  <a:gd name="T69" fmla="*/ 401 h 600"/>
                  <a:gd name="T70" fmla="*/ 107 w 503"/>
                  <a:gd name="T71" fmla="*/ 391 h 600"/>
                  <a:gd name="T72" fmla="*/ 110 w 503"/>
                  <a:gd name="T73" fmla="*/ 369 h 600"/>
                  <a:gd name="T74" fmla="*/ 120 w 503"/>
                  <a:gd name="T75" fmla="*/ 367 h 600"/>
                  <a:gd name="T76" fmla="*/ 136 w 503"/>
                  <a:gd name="T77" fmla="*/ 364 h 600"/>
                  <a:gd name="T78" fmla="*/ 141 w 503"/>
                  <a:gd name="T79" fmla="*/ 347 h 600"/>
                  <a:gd name="T80" fmla="*/ 154 w 503"/>
                  <a:gd name="T81" fmla="*/ 328 h 600"/>
                  <a:gd name="T82" fmla="*/ 149 w 503"/>
                  <a:gd name="T83" fmla="*/ 323 h 600"/>
                  <a:gd name="T84" fmla="*/ 149 w 503"/>
                  <a:gd name="T85" fmla="*/ 303 h 600"/>
                  <a:gd name="T86" fmla="*/ 142 w 503"/>
                  <a:gd name="T87" fmla="*/ 270 h 600"/>
                  <a:gd name="T88" fmla="*/ 146 w 503"/>
                  <a:gd name="T89" fmla="*/ 245 h 600"/>
                  <a:gd name="T90" fmla="*/ 136 w 503"/>
                  <a:gd name="T91" fmla="*/ 223 h 600"/>
                  <a:gd name="T92" fmla="*/ 141 w 503"/>
                  <a:gd name="T93" fmla="*/ 202 h 600"/>
                  <a:gd name="T94" fmla="*/ 148 w 503"/>
                  <a:gd name="T95" fmla="*/ 173 h 600"/>
                  <a:gd name="T96" fmla="*/ 161 w 503"/>
                  <a:gd name="T97" fmla="*/ 178 h 600"/>
                  <a:gd name="T98" fmla="*/ 168 w 503"/>
                  <a:gd name="T99" fmla="*/ 187 h 600"/>
                  <a:gd name="T100" fmla="*/ 180 w 503"/>
                  <a:gd name="T101" fmla="*/ 156 h 600"/>
                  <a:gd name="T102" fmla="*/ 207 w 503"/>
                  <a:gd name="T103" fmla="*/ 136 h 600"/>
                  <a:gd name="T104" fmla="*/ 209 w 503"/>
                  <a:gd name="T105" fmla="*/ 110 h 600"/>
                  <a:gd name="T106" fmla="*/ 212 w 503"/>
                  <a:gd name="T107" fmla="*/ 97 h 600"/>
                  <a:gd name="T108" fmla="*/ 243 w 503"/>
                  <a:gd name="T109" fmla="*/ 83 h 600"/>
                  <a:gd name="T110" fmla="*/ 267 w 503"/>
                  <a:gd name="T111" fmla="*/ 73 h 600"/>
                  <a:gd name="T112" fmla="*/ 304 w 503"/>
                  <a:gd name="T113" fmla="*/ 59 h 600"/>
                  <a:gd name="T114" fmla="*/ 333 w 503"/>
                  <a:gd name="T115" fmla="*/ 41 h 600"/>
                  <a:gd name="T116" fmla="*/ 340 w 503"/>
                  <a:gd name="T117" fmla="*/ 34 h 600"/>
                  <a:gd name="T118" fmla="*/ 350 w 503"/>
                  <a:gd name="T119" fmla="*/ 54 h 600"/>
                  <a:gd name="T120" fmla="*/ 158 w 503"/>
                  <a:gd name="T121" fmla="*/ 325 h 600"/>
                  <a:gd name="T122" fmla="*/ 100 w 503"/>
                  <a:gd name="T123" fmla="*/ 396 h 600"/>
                  <a:gd name="T124" fmla="*/ 142 w 503"/>
                  <a:gd name="T125" fmla="*/ 318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3" h="600">
                    <a:moveTo>
                      <a:pt x="350" y="54"/>
                    </a:moveTo>
                    <a:lnTo>
                      <a:pt x="346" y="56"/>
                    </a:lnTo>
                    <a:lnTo>
                      <a:pt x="341" y="58"/>
                    </a:lnTo>
                    <a:lnTo>
                      <a:pt x="336" y="59"/>
                    </a:lnTo>
                    <a:lnTo>
                      <a:pt x="329" y="61"/>
                    </a:lnTo>
                    <a:lnTo>
                      <a:pt x="329" y="63"/>
                    </a:lnTo>
                    <a:lnTo>
                      <a:pt x="328" y="64"/>
                    </a:lnTo>
                    <a:lnTo>
                      <a:pt x="328" y="66"/>
                    </a:lnTo>
                    <a:lnTo>
                      <a:pt x="326" y="68"/>
                    </a:lnTo>
                    <a:lnTo>
                      <a:pt x="326" y="69"/>
                    </a:lnTo>
                    <a:lnTo>
                      <a:pt x="324" y="69"/>
                    </a:lnTo>
                    <a:lnTo>
                      <a:pt x="324" y="71"/>
                    </a:lnTo>
                    <a:lnTo>
                      <a:pt x="323" y="75"/>
                    </a:lnTo>
                    <a:lnTo>
                      <a:pt x="321" y="78"/>
                    </a:lnTo>
                    <a:lnTo>
                      <a:pt x="319" y="78"/>
                    </a:lnTo>
                    <a:lnTo>
                      <a:pt x="318" y="78"/>
                    </a:lnTo>
                    <a:lnTo>
                      <a:pt x="316" y="78"/>
                    </a:lnTo>
                    <a:lnTo>
                      <a:pt x="314" y="78"/>
                    </a:lnTo>
                    <a:lnTo>
                      <a:pt x="314" y="80"/>
                    </a:lnTo>
                    <a:lnTo>
                      <a:pt x="314" y="78"/>
                    </a:lnTo>
                    <a:lnTo>
                      <a:pt x="312" y="80"/>
                    </a:lnTo>
                    <a:lnTo>
                      <a:pt x="312" y="81"/>
                    </a:lnTo>
                    <a:lnTo>
                      <a:pt x="311" y="83"/>
                    </a:lnTo>
                    <a:lnTo>
                      <a:pt x="311" y="85"/>
                    </a:lnTo>
                    <a:lnTo>
                      <a:pt x="309" y="86"/>
                    </a:lnTo>
                    <a:lnTo>
                      <a:pt x="307" y="86"/>
                    </a:lnTo>
                    <a:lnTo>
                      <a:pt x="306" y="88"/>
                    </a:lnTo>
                    <a:lnTo>
                      <a:pt x="306" y="90"/>
                    </a:lnTo>
                    <a:lnTo>
                      <a:pt x="306" y="92"/>
                    </a:lnTo>
                    <a:lnTo>
                      <a:pt x="304" y="92"/>
                    </a:lnTo>
                    <a:lnTo>
                      <a:pt x="304" y="93"/>
                    </a:lnTo>
                    <a:lnTo>
                      <a:pt x="304" y="95"/>
                    </a:lnTo>
                    <a:lnTo>
                      <a:pt x="304" y="97"/>
                    </a:lnTo>
                    <a:lnTo>
                      <a:pt x="302" y="97"/>
                    </a:lnTo>
                    <a:lnTo>
                      <a:pt x="301" y="98"/>
                    </a:lnTo>
                    <a:lnTo>
                      <a:pt x="301" y="100"/>
                    </a:lnTo>
                    <a:lnTo>
                      <a:pt x="301" y="102"/>
                    </a:lnTo>
                    <a:lnTo>
                      <a:pt x="299" y="102"/>
                    </a:lnTo>
                    <a:lnTo>
                      <a:pt x="299" y="103"/>
                    </a:lnTo>
                    <a:lnTo>
                      <a:pt x="299" y="105"/>
                    </a:lnTo>
                    <a:lnTo>
                      <a:pt x="299" y="107"/>
                    </a:lnTo>
                    <a:lnTo>
                      <a:pt x="299" y="109"/>
                    </a:lnTo>
                    <a:lnTo>
                      <a:pt x="299" y="110"/>
                    </a:lnTo>
                    <a:lnTo>
                      <a:pt x="299" y="112"/>
                    </a:lnTo>
                    <a:lnTo>
                      <a:pt x="297" y="112"/>
                    </a:lnTo>
                    <a:lnTo>
                      <a:pt x="299" y="114"/>
                    </a:lnTo>
                    <a:lnTo>
                      <a:pt x="297" y="114"/>
                    </a:lnTo>
                    <a:lnTo>
                      <a:pt x="297" y="115"/>
                    </a:lnTo>
                    <a:lnTo>
                      <a:pt x="297" y="117"/>
                    </a:lnTo>
                    <a:lnTo>
                      <a:pt x="295" y="117"/>
                    </a:lnTo>
                    <a:lnTo>
                      <a:pt x="295" y="119"/>
                    </a:lnTo>
                    <a:lnTo>
                      <a:pt x="295" y="120"/>
                    </a:lnTo>
                    <a:lnTo>
                      <a:pt x="295" y="122"/>
                    </a:lnTo>
                    <a:lnTo>
                      <a:pt x="297" y="122"/>
                    </a:lnTo>
                    <a:lnTo>
                      <a:pt x="297" y="124"/>
                    </a:lnTo>
                    <a:lnTo>
                      <a:pt x="295" y="124"/>
                    </a:lnTo>
                    <a:lnTo>
                      <a:pt x="295" y="126"/>
                    </a:lnTo>
                    <a:lnTo>
                      <a:pt x="294" y="127"/>
                    </a:lnTo>
                    <a:lnTo>
                      <a:pt x="294" y="129"/>
                    </a:lnTo>
                    <a:lnTo>
                      <a:pt x="292" y="129"/>
                    </a:lnTo>
                    <a:lnTo>
                      <a:pt x="292" y="131"/>
                    </a:lnTo>
                    <a:lnTo>
                      <a:pt x="290" y="132"/>
                    </a:lnTo>
                    <a:lnTo>
                      <a:pt x="290" y="134"/>
                    </a:lnTo>
                    <a:lnTo>
                      <a:pt x="289" y="134"/>
                    </a:lnTo>
                    <a:lnTo>
                      <a:pt x="289" y="136"/>
                    </a:lnTo>
                    <a:lnTo>
                      <a:pt x="289" y="138"/>
                    </a:lnTo>
                    <a:lnTo>
                      <a:pt x="287" y="138"/>
                    </a:lnTo>
                    <a:lnTo>
                      <a:pt x="287" y="139"/>
                    </a:lnTo>
                    <a:lnTo>
                      <a:pt x="285" y="141"/>
                    </a:lnTo>
                    <a:lnTo>
                      <a:pt x="285" y="143"/>
                    </a:lnTo>
                    <a:lnTo>
                      <a:pt x="284" y="143"/>
                    </a:lnTo>
                    <a:lnTo>
                      <a:pt x="284" y="144"/>
                    </a:lnTo>
                    <a:lnTo>
                      <a:pt x="284" y="146"/>
                    </a:lnTo>
                    <a:lnTo>
                      <a:pt x="285" y="146"/>
                    </a:lnTo>
                    <a:lnTo>
                      <a:pt x="287" y="146"/>
                    </a:lnTo>
                    <a:lnTo>
                      <a:pt x="289" y="146"/>
                    </a:lnTo>
                    <a:lnTo>
                      <a:pt x="290" y="144"/>
                    </a:lnTo>
                    <a:lnTo>
                      <a:pt x="292" y="144"/>
                    </a:lnTo>
                    <a:lnTo>
                      <a:pt x="292" y="143"/>
                    </a:lnTo>
                    <a:lnTo>
                      <a:pt x="294" y="143"/>
                    </a:lnTo>
                    <a:lnTo>
                      <a:pt x="295" y="141"/>
                    </a:lnTo>
                    <a:lnTo>
                      <a:pt x="295" y="143"/>
                    </a:lnTo>
                    <a:lnTo>
                      <a:pt x="295" y="144"/>
                    </a:lnTo>
                    <a:lnTo>
                      <a:pt x="295" y="146"/>
                    </a:lnTo>
                    <a:lnTo>
                      <a:pt x="297" y="146"/>
                    </a:lnTo>
                    <a:lnTo>
                      <a:pt x="295" y="146"/>
                    </a:lnTo>
                    <a:lnTo>
                      <a:pt x="295" y="148"/>
                    </a:lnTo>
                    <a:lnTo>
                      <a:pt x="297" y="148"/>
                    </a:lnTo>
                    <a:lnTo>
                      <a:pt x="297" y="149"/>
                    </a:lnTo>
                    <a:lnTo>
                      <a:pt x="297" y="148"/>
                    </a:lnTo>
                    <a:lnTo>
                      <a:pt x="299" y="148"/>
                    </a:lnTo>
                    <a:lnTo>
                      <a:pt x="301" y="148"/>
                    </a:lnTo>
                    <a:lnTo>
                      <a:pt x="301" y="146"/>
                    </a:lnTo>
                    <a:lnTo>
                      <a:pt x="301" y="148"/>
                    </a:lnTo>
                    <a:lnTo>
                      <a:pt x="302" y="148"/>
                    </a:lnTo>
                    <a:lnTo>
                      <a:pt x="302" y="149"/>
                    </a:lnTo>
                    <a:lnTo>
                      <a:pt x="304" y="151"/>
                    </a:lnTo>
                    <a:lnTo>
                      <a:pt x="304" y="153"/>
                    </a:lnTo>
                    <a:lnTo>
                      <a:pt x="304" y="155"/>
                    </a:lnTo>
                    <a:lnTo>
                      <a:pt x="306" y="160"/>
                    </a:lnTo>
                    <a:lnTo>
                      <a:pt x="306" y="163"/>
                    </a:lnTo>
                    <a:lnTo>
                      <a:pt x="307" y="165"/>
                    </a:lnTo>
                    <a:lnTo>
                      <a:pt x="307" y="166"/>
                    </a:lnTo>
                    <a:lnTo>
                      <a:pt x="309" y="166"/>
                    </a:lnTo>
                    <a:lnTo>
                      <a:pt x="309" y="168"/>
                    </a:lnTo>
                    <a:lnTo>
                      <a:pt x="311" y="168"/>
                    </a:lnTo>
                    <a:lnTo>
                      <a:pt x="312" y="170"/>
                    </a:lnTo>
                    <a:lnTo>
                      <a:pt x="312" y="172"/>
                    </a:lnTo>
                    <a:lnTo>
                      <a:pt x="314" y="173"/>
                    </a:lnTo>
                    <a:lnTo>
                      <a:pt x="316" y="173"/>
                    </a:lnTo>
                    <a:lnTo>
                      <a:pt x="316" y="175"/>
                    </a:lnTo>
                    <a:lnTo>
                      <a:pt x="316" y="177"/>
                    </a:lnTo>
                    <a:lnTo>
                      <a:pt x="316" y="178"/>
                    </a:lnTo>
                    <a:lnTo>
                      <a:pt x="316" y="180"/>
                    </a:lnTo>
                    <a:lnTo>
                      <a:pt x="318" y="180"/>
                    </a:lnTo>
                    <a:lnTo>
                      <a:pt x="316" y="180"/>
                    </a:lnTo>
                    <a:lnTo>
                      <a:pt x="316" y="182"/>
                    </a:lnTo>
                    <a:lnTo>
                      <a:pt x="316" y="183"/>
                    </a:lnTo>
                    <a:lnTo>
                      <a:pt x="318" y="183"/>
                    </a:lnTo>
                    <a:lnTo>
                      <a:pt x="318" y="185"/>
                    </a:lnTo>
                    <a:lnTo>
                      <a:pt x="316" y="185"/>
                    </a:lnTo>
                    <a:lnTo>
                      <a:pt x="314" y="185"/>
                    </a:lnTo>
                    <a:lnTo>
                      <a:pt x="314" y="187"/>
                    </a:lnTo>
                    <a:lnTo>
                      <a:pt x="312" y="187"/>
                    </a:lnTo>
                    <a:lnTo>
                      <a:pt x="312" y="189"/>
                    </a:lnTo>
                    <a:lnTo>
                      <a:pt x="312" y="190"/>
                    </a:lnTo>
                    <a:lnTo>
                      <a:pt x="314" y="190"/>
                    </a:lnTo>
                    <a:lnTo>
                      <a:pt x="314" y="192"/>
                    </a:lnTo>
                    <a:lnTo>
                      <a:pt x="312" y="194"/>
                    </a:lnTo>
                    <a:lnTo>
                      <a:pt x="312" y="195"/>
                    </a:lnTo>
                    <a:lnTo>
                      <a:pt x="312" y="197"/>
                    </a:lnTo>
                    <a:lnTo>
                      <a:pt x="312" y="199"/>
                    </a:lnTo>
                    <a:lnTo>
                      <a:pt x="312" y="200"/>
                    </a:lnTo>
                    <a:lnTo>
                      <a:pt x="314" y="200"/>
                    </a:lnTo>
                    <a:lnTo>
                      <a:pt x="314" y="202"/>
                    </a:lnTo>
                    <a:lnTo>
                      <a:pt x="312" y="202"/>
                    </a:lnTo>
                    <a:lnTo>
                      <a:pt x="312" y="204"/>
                    </a:lnTo>
                    <a:lnTo>
                      <a:pt x="314" y="204"/>
                    </a:lnTo>
                    <a:lnTo>
                      <a:pt x="314" y="206"/>
                    </a:lnTo>
                    <a:lnTo>
                      <a:pt x="316" y="206"/>
                    </a:lnTo>
                    <a:lnTo>
                      <a:pt x="316" y="207"/>
                    </a:lnTo>
                    <a:lnTo>
                      <a:pt x="318" y="206"/>
                    </a:lnTo>
                    <a:lnTo>
                      <a:pt x="318" y="207"/>
                    </a:lnTo>
                    <a:lnTo>
                      <a:pt x="319" y="207"/>
                    </a:lnTo>
                    <a:lnTo>
                      <a:pt x="321" y="207"/>
                    </a:lnTo>
                    <a:lnTo>
                      <a:pt x="321" y="206"/>
                    </a:lnTo>
                    <a:lnTo>
                      <a:pt x="323" y="207"/>
                    </a:lnTo>
                    <a:lnTo>
                      <a:pt x="323" y="209"/>
                    </a:lnTo>
                    <a:lnTo>
                      <a:pt x="324" y="209"/>
                    </a:lnTo>
                    <a:lnTo>
                      <a:pt x="323" y="209"/>
                    </a:lnTo>
                    <a:lnTo>
                      <a:pt x="323" y="211"/>
                    </a:lnTo>
                    <a:lnTo>
                      <a:pt x="323" y="212"/>
                    </a:lnTo>
                    <a:lnTo>
                      <a:pt x="324" y="212"/>
                    </a:lnTo>
                    <a:lnTo>
                      <a:pt x="324" y="214"/>
                    </a:lnTo>
                    <a:lnTo>
                      <a:pt x="326" y="217"/>
                    </a:lnTo>
                    <a:lnTo>
                      <a:pt x="328" y="219"/>
                    </a:lnTo>
                    <a:lnTo>
                      <a:pt x="329" y="219"/>
                    </a:lnTo>
                    <a:lnTo>
                      <a:pt x="331" y="219"/>
                    </a:lnTo>
                    <a:lnTo>
                      <a:pt x="333" y="219"/>
                    </a:lnTo>
                    <a:lnTo>
                      <a:pt x="335" y="219"/>
                    </a:lnTo>
                    <a:lnTo>
                      <a:pt x="335" y="217"/>
                    </a:lnTo>
                    <a:lnTo>
                      <a:pt x="336" y="217"/>
                    </a:lnTo>
                    <a:lnTo>
                      <a:pt x="338" y="217"/>
                    </a:lnTo>
                    <a:lnTo>
                      <a:pt x="338" y="219"/>
                    </a:lnTo>
                    <a:lnTo>
                      <a:pt x="340" y="219"/>
                    </a:lnTo>
                    <a:lnTo>
                      <a:pt x="341" y="217"/>
                    </a:lnTo>
                    <a:lnTo>
                      <a:pt x="341" y="219"/>
                    </a:lnTo>
                    <a:lnTo>
                      <a:pt x="343" y="217"/>
                    </a:lnTo>
                    <a:lnTo>
                      <a:pt x="343" y="219"/>
                    </a:lnTo>
                    <a:lnTo>
                      <a:pt x="345" y="219"/>
                    </a:lnTo>
                    <a:lnTo>
                      <a:pt x="346" y="219"/>
                    </a:lnTo>
                    <a:lnTo>
                      <a:pt x="348" y="219"/>
                    </a:lnTo>
                    <a:lnTo>
                      <a:pt x="350" y="219"/>
                    </a:lnTo>
                    <a:lnTo>
                      <a:pt x="352" y="219"/>
                    </a:lnTo>
                    <a:lnTo>
                      <a:pt x="353" y="219"/>
                    </a:lnTo>
                    <a:lnTo>
                      <a:pt x="355" y="219"/>
                    </a:lnTo>
                    <a:lnTo>
                      <a:pt x="357" y="219"/>
                    </a:lnTo>
                    <a:lnTo>
                      <a:pt x="358" y="219"/>
                    </a:lnTo>
                    <a:lnTo>
                      <a:pt x="358" y="221"/>
                    </a:lnTo>
                    <a:lnTo>
                      <a:pt x="360" y="221"/>
                    </a:lnTo>
                    <a:lnTo>
                      <a:pt x="362" y="221"/>
                    </a:lnTo>
                    <a:lnTo>
                      <a:pt x="363" y="221"/>
                    </a:lnTo>
                    <a:lnTo>
                      <a:pt x="363" y="219"/>
                    </a:lnTo>
                    <a:lnTo>
                      <a:pt x="365" y="219"/>
                    </a:lnTo>
                    <a:lnTo>
                      <a:pt x="365" y="217"/>
                    </a:lnTo>
                    <a:lnTo>
                      <a:pt x="365" y="219"/>
                    </a:lnTo>
                    <a:lnTo>
                      <a:pt x="367" y="217"/>
                    </a:lnTo>
                    <a:lnTo>
                      <a:pt x="369" y="217"/>
                    </a:lnTo>
                    <a:lnTo>
                      <a:pt x="370" y="217"/>
                    </a:lnTo>
                    <a:lnTo>
                      <a:pt x="370" y="216"/>
                    </a:lnTo>
                    <a:lnTo>
                      <a:pt x="372" y="217"/>
                    </a:lnTo>
                    <a:lnTo>
                      <a:pt x="374" y="216"/>
                    </a:lnTo>
                    <a:lnTo>
                      <a:pt x="374" y="217"/>
                    </a:lnTo>
                    <a:lnTo>
                      <a:pt x="375" y="217"/>
                    </a:lnTo>
                    <a:lnTo>
                      <a:pt x="377" y="217"/>
                    </a:lnTo>
                    <a:lnTo>
                      <a:pt x="379" y="217"/>
                    </a:lnTo>
                    <a:lnTo>
                      <a:pt x="379" y="219"/>
                    </a:lnTo>
                    <a:lnTo>
                      <a:pt x="380" y="219"/>
                    </a:lnTo>
                    <a:lnTo>
                      <a:pt x="382" y="219"/>
                    </a:lnTo>
                    <a:lnTo>
                      <a:pt x="382" y="221"/>
                    </a:lnTo>
                    <a:lnTo>
                      <a:pt x="384" y="221"/>
                    </a:lnTo>
                    <a:lnTo>
                      <a:pt x="384" y="223"/>
                    </a:lnTo>
                    <a:lnTo>
                      <a:pt x="386" y="223"/>
                    </a:lnTo>
                    <a:lnTo>
                      <a:pt x="387" y="223"/>
                    </a:lnTo>
                    <a:lnTo>
                      <a:pt x="387" y="221"/>
                    </a:lnTo>
                    <a:lnTo>
                      <a:pt x="389" y="221"/>
                    </a:lnTo>
                    <a:lnTo>
                      <a:pt x="391" y="221"/>
                    </a:lnTo>
                    <a:lnTo>
                      <a:pt x="392" y="221"/>
                    </a:lnTo>
                    <a:lnTo>
                      <a:pt x="394" y="223"/>
                    </a:lnTo>
                    <a:lnTo>
                      <a:pt x="397" y="228"/>
                    </a:lnTo>
                    <a:lnTo>
                      <a:pt x="404" y="236"/>
                    </a:lnTo>
                    <a:lnTo>
                      <a:pt x="411" y="243"/>
                    </a:lnTo>
                    <a:lnTo>
                      <a:pt x="411" y="245"/>
                    </a:lnTo>
                    <a:lnTo>
                      <a:pt x="416" y="250"/>
                    </a:lnTo>
                    <a:lnTo>
                      <a:pt x="418" y="250"/>
                    </a:lnTo>
                    <a:lnTo>
                      <a:pt x="420" y="250"/>
                    </a:lnTo>
                    <a:lnTo>
                      <a:pt x="420" y="251"/>
                    </a:lnTo>
                    <a:lnTo>
                      <a:pt x="421" y="251"/>
                    </a:lnTo>
                    <a:lnTo>
                      <a:pt x="423" y="250"/>
                    </a:lnTo>
                    <a:lnTo>
                      <a:pt x="425" y="248"/>
                    </a:lnTo>
                    <a:lnTo>
                      <a:pt x="426" y="248"/>
                    </a:lnTo>
                    <a:lnTo>
                      <a:pt x="426" y="246"/>
                    </a:lnTo>
                    <a:lnTo>
                      <a:pt x="428" y="246"/>
                    </a:lnTo>
                    <a:lnTo>
                      <a:pt x="430" y="246"/>
                    </a:lnTo>
                    <a:lnTo>
                      <a:pt x="430" y="248"/>
                    </a:lnTo>
                    <a:lnTo>
                      <a:pt x="431" y="246"/>
                    </a:lnTo>
                    <a:lnTo>
                      <a:pt x="431" y="248"/>
                    </a:lnTo>
                    <a:lnTo>
                      <a:pt x="433" y="248"/>
                    </a:lnTo>
                    <a:lnTo>
                      <a:pt x="435" y="248"/>
                    </a:lnTo>
                    <a:lnTo>
                      <a:pt x="437" y="248"/>
                    </a:lnTo>
                    <a:lnTo>
                      <a:pt x="438" y="248"/>
                    </a:lnTo>
                    <a:lnTo>
                      <a:pt x="440" y="248"/>
                    </a:lnTo>
                    <a:lnTo>
                      <a:pt x="440" y="250"/>
                    </a:lnTo>
                    <a:lnTo>
                      <a:pt x="442" y="250"/>
                    </a:lnTo>
                    <a:lnTo>
                      <a:pt x="443" y="248"/>
                    </a:lnTo>
                    <a:lnTo>
                      <a:pt x="445" y="248"/>
                    </a:lnTo>
                    <a:lnTo>
                      <a:pt x="447" y="248"/>
                    </a:lnTo>
                    <a:lnTo>
                      <a:pt x="448" y="248"/>
                    </a:lnTo>
                    <a:lnTo>
                      <a:pt x="450" y="248"/>
                    </a:lnTo>
                    <a:lnTo>
                      <a:pt x="452" y="248"/>
                    </a:lnTo>
                    <a:lnTo>
                      <a:pt x="454" y="248"/>
                    </a:lnTo>
                    <a:lnTo>
                      <a:pt x="455" y="248"/>
                    </a:lnTo>
                    <a:lnTo>
                      <a:pt x="455" y="246"/>
                    </a:lnTo>
                    <a:lnTo>
                      <a:pt x="457" y="246"/>
                    </a:lnTo>
                    <a:lnTo>
                      <a:pt x="459" y="246"/>
                    </a:lnTo>
                    <a:lnTo>
                      <a:pt x="460" y="246"/>
                    </a:lnTo>
                    <a:lnTo>
                      <a:pt x="462" y="246"/>
                    </a:lnTo>
                    <a:lnTo>
                      <a:pt x="464" y="246"/>
                    </a:lnTo>
                    <a:lnTo>
                      <a:pt x="465" y="246"/>
                    </a:lnTo>
                    <a:lnTo>
                      <a:pt x="467" y="245"/>
                    </a:lnTo>
                    <a:lnTo>
                      <a:pt x="469" y="243"/>
                    </a:lnTo>
                    <a:lnTo>
                      <a:pt x="471" y="243"/>
                    </a:lnTo>
                    <a:lnTo>
                      <a:pt x="472" y="243"/>
                    </a:lnTo>
                    <a:lnTo>
                      <a:pt x="472" y="245"/>
                    </a:lnTo>
                    <a:lnTo>
                      <a:pt x="472" y="243"/>
                    </a:lnTo>
                    <a:lnTo>
                      <a:pt x="474" y="243"/>
                    </a:lnTo>
                    <a:lnTo>
                      <a:pt x="474" y="245"/>
                    </a:lnTo>
                    <a:lnTo>
                      <a:pt x="476" y="245"/>
                    </a:lnTo>
                    <a:lnTo>
                      <a:pt x="477" y="245"/>
                    </a:lnTo>
                    <a:lnTo>
                      <a:pt x="479" y="245"/>
                    </a:lnTo>
                    <a:lnTo>
                      <a:pt x="481" y="246"/>
                    </a:lnTo>
                    <a:lnTo>
                      <a:pt x="482" y="246"/>
                    </a:lnTo>
                    <a:lnTo>
                      <a:pt x="482" y="248"/>
                    </a:lnTo>
                    <a:lnTo>
                      <a:pt x="481" y="248"/>
                    </a:lnTo>
                    <a:lnTo>
                      <a:pt x="481" y="250"/>
                    </a:lnTo>
                    <a:lnTo>
                      <a:pt x="482" y="251"/>
                    </a:lnTo>
                    <a:lnTo>
                      <a:pt x="482" y="253"/>
                    </a:lnTo>
                    <a:lnTo>
                      <a:pt x="484" y="253"/>
                    </a:lnTo>
                    <a:lnTo>
                      <a:pt x="484" y="255"/>
                    </a:lnTo>
                    <a:lnTo>
                      <a:pt x="482" y="255"/>
                    </a:lnTo>
                    <a:lnTo>
                      <a:pt x="481" y="257"/>
                    </a:lnTo>
                    <a:lnTo>
                      <a:pt x="479" y="257"/>
                    </a:lnTo>
                    <a:lnTo>
                      <a:pt x="479" y="258"/>
                    </a:lnTo>
                    <a:lnTo>
                      <a:pt x="477" y="258"/>
                    </a:lnTo>
                    <a:lnTo>
                      <a:pt x="477" y="260"/>
                    </a:lnTo>
                    <a:lnTo>
                      <a:pt x="477" y="262"/>
                    </a:lnTo>
                    <a:lnTo>
                      <a:pt x="476" y="263"/>
                    </a:lnTo>
                    <a:lnTo>
                      <a:pt x="476" y="265"/>
                    </a:lnTo>
                    <a:lnTo>
                      <a:pt x="476" y="267"/>
                    </a:lnTo>
                    <a:lnTo>
                      <a:pt x="477" y="267"/>
                    </a:lnTo>
                    <a:lnTo>
                      <a:pt x="477" y="268"/>
                    </a:lnTo>
                    <a:lnTo>
                      <a:pt x="477" y="270"/>
                    </a:lnTo>
                    <a:lnTo>
                      <a:pt x="476" y="270"/>
                    </a:lnTo>
                    <a:lnTo>
                      <a:pt x="476" y="272"/>
                    </a:lnTo>
                    <a:lnTo>
                      <a:pt x="474" y="274"/>
                    </a:lnTo>
                    <a:lnTo>
                      <a:pt x="472" y="274"/>
                    </a:lnTo>
                    <a:lnTo>
                      <a:pt x="472" y="275"/>
                    </a:lnTo>
                    <a:lnTo>
                      <a:pt x="471" y="275"/>
                    </a:lnTo>
                    <a:lnTo>
                      <a:pt x="471" y="277"/>
                    </a:lnTo>
                    <a:lnTo>
                      <a:pt x="469" y="277"/>
                    </a:lnTo>
                    <a:lnTo>
                      <a:pt x="469" y="279"/>
                    </a:lnTo>
                    <a:lnTo>
                      <a:pt x="471" y="279"/>
                    </a:lnTo>
                    <a:lnTo>
                      <a:pt x="469" y="280"/>
                    </a:lnTo>
                    <a:lnTo>
                      <a:pt x="469" y="282"/>
                    </a:lnTo>
                    <a:lnTo>
                      <a:pt x="469" y="284"/>
                    </a:lnTo>
                    <a:lnTo>
                      <a:pt x="471" y="285"/>
                    </a:lnTo>
                    <a:lnTo>
                      <a:pt x="469" y="285"/>
                    </a:lnTo>
                    <a:lnTo>
                      <a:pt x="471" y="285"/>
                    </a:lnTo>
                    <a:lnTo>
                      <a:pt x="471" y="287"/>
                    </a:lnTo>
                    <a:lnTo>
                      <a:pt x="471" y="289"/>
                    </a:lnTo>
                    <a:lnTo>
                      <a:pt x="469" y="289"/>
                    </a:lnTo>
                    <a:lnTo>
                      <a:pt x="469" y="291"/>
                    </a:lnTo>
                    <a:lnTo>
                      <a:pt x="469" y="292"/>
                    </a:lnTo>
                    <a:lnTo>
                      <a:pt x="469" y="294"/>
                    </a:lnTo>
                    <a:lnTo>
                      <a:pt x="469" y="296"/>
                    </a:lnTo>
                    <a:lnTo>
                      <a:pt x="471" y="296"/>
                    </a:lnTo>
                    <a:lnTo>
                      <a:pt x="471" y="297"/>
                    </a:lnTo>
                    <a:lnTo>
                      <a:pt x="469" y="297"/>
                    </a:lnTo>
                    <a:lnTo>
                      <a:pt x="469" y="299"/>
                    </a:lnTo>
                    <a:lnTo>
                      <a:pt x="469" y="301"/>
                    </a:lnTo>
                    <a:lnTo>
                      <a:pt x="469" y="303"/>
                    </a:lnTo>
                    <a:lnTo>
                      <a:pt x="469" y="304"/>
                    </a:lnTo>
                    <a:lnTo>
                      <a:pt x="471" y="304"/>
                    </a:lnTo>
                    <a:lnTo>
                      <a:pt x="471" y="306"/>
                    </a:lnTo>
                    <a:lnTo>
                      <a:pt x="471" y="308"/>
                    </a:lnTo>
                    <a:lnTo>
                      <a:pt x="472" y="308"/>
                    </a:lnTo>
                    <a:lnTo>
                      <a:pt x="471" y="308"/>
                    </a:lnTo>
                    <a:lnTo>
                      <a:pt x="471" y="309"/>
                    </a:lnTo>
                    <a:lnTo>
                      <a:pt x="472" y="309"/>
                    </a:lnTo>
                    <a:lnTo>
                      <a:pt x="472" y="311"/>
                    </a:lnTo>
                    <a:lnTo>
                      <a:pt x="471" y="309"/>
                    </a:lnTo>
                    <a:lnTo>
                      <a:pt x="471" y="311"/>
                    </a:lnTo>
                    <a:lnTo>
                      <a:pt x="471" y="313"/>
                    </a:lnTo>
                    <a:lnTo>
                      <a:pt x="471" y="314"/>
                    </a:lnTo>
                    <a:lnTo>
                      <a:pt x="471" y="316"/>
                    </a:lnTo>
                    <a:lnTo>
                      <a:pt x="472" y="316"/>
                    </a:lnTo>
                    <a:lnTo>
                      <a:pt x="472" y="318"/>
                    </a:lnTo>
                    <a:lnTo>
                      <a:pt x="474" y="320"/>
                    </a:lnTo>
                    <a:lnTo>
                      <a:pt x="474" y="321"/>
                    </a:lnTo>
                    <a:lnTo>
                      <a:pt x="474" y="323"/>
                    </a:lnTo>
                    <a:lnTo>
                      <a:pt x="474" y="325"/>
                    </a:lnTo>
                    <a:lnTo>
                      <a:pt x="476" y="325"/>
                    </a:lnTo>
                    <a:lnTo>
                      <a:pt x="476" y="326"/>
                    </a:lnTo>
                    <a:lnTo>
                      <a:pt x="476" y="328"/>
                    </a:lnTo>
                    <a:lnTo>
                      <a:pt x="476" y="330"/>
                    </a:lnTo>
                    <a:lnTo>
                      <a:pt x="477" y="330"/>
                    </a:lnTo>
                    <a:lnTo>
                      <a:pt x="479" y="330"/>
                    </a:lnTo>
                    <a:lnTo>
                      <a:pt x="481" y="330"/>
                    </a:lnTo>
                    <a:lnTo>
                      <a:pt x="481" y="331"/>
                    </a:lnTo>
                    <a:lnTo>
                      <a:pt x="482" y="333"/>
                    </a:lnTo>
                    <a:lnTo>
                      <a:pt x="482" y="335"/>
                    </a:lnTo>
                    <a:lnTo>
                      <a:pt x="482" y="337"/>
                    </a:lnTo>
                    <a:lnTo>
                      <a:pt x="484" y="337"/>
                    </a:lnTo>
                    <a:lnTo>
                      <a:pt x="484" y="338"/>
                    </a:lnTo>
                    <a:lnTo>
                      <a:pt x="484" y="340"/>
                    </a:lnTo>
                    <a:lnTo>
                      <a:pt x="486" y="340"/>
                    </a:lnTo>
                    <a:lnTo>
                      <a:pt x="486" y="342"/>
                    </a:lnTo>
                    <a:lnTo>
                      <a:pt x="488" y="342"/>
                    </a:lnTo>
                    <a:lnTo>
                      <a:pt x="488" y="343"/>
                    </a:lnTo>
                    <a:lnTo>
                      <a:pt x="486" y="343"/>
                    </a:lnTo>
                    <a:lnTo>
                      <a:pt x="486" y="345"/>
                    </a:lnTo>
                    <a:lnTo>
                      <a:pt x="484" y="345"/>
                    </a:lnTo>
                    <a:lnTo>
                      <a:pt x="484" y="347"/>
                    </a:lnTo>
                    <a:lnTo>
                      <a:pt x="482" y="347"/>
                    </a:lnTo>
                    <a:lnTo>
                      <a:pt x="481" y="350"/>
                    </a:lnTo>
                    <a:lnTo>
                      <a:pt x="477" y="352"/>
                    </a:lnTo>
                    <a:lnTo>
                      <a:pt x="474" y="355"/>
                    </a:lnTo>
                    <a:lnTo>
                      <a:pt x="471" y="359"/>
                    </a:lnTo>
                    <a:lnTo>
                      <a:pt x="469" y="360"/>
                    </a:lnTo>
                    <a:lnTo>
                      <a:pt x="469" y="362"/>
                    </a:lnTo>
                    <a:lnTo>
                      <a:pt x="471" y="360"/>
                    </a:lnTo>
                    <a:lnTo>
                      <a:pt x="471" y="362"/>
                    </a:lnTo>
                    <a:lnTo>
                      <a:pt x="472" y="360"/>
                    </a:lnTo>
                    <a:lnTo>
                      <a:pt x="472" y="362"/>
                    </a:lnTo>
                    <a:lnTo>
                      <a:pt x="474" y="362"/>
                    </a:lnTo>
                    <a:lnTo>
                      <a:pt x="476" y="362"/>
                    </a:lnTo>
                    <a:lnTo>
                      <a:pt x="477" y="362"/>
                    </a:lnTo>
                    <a:lnTo>
                      <a:pt x="477" y="364"/>
                    </a:lnTo>
                    <a:lnTo>
                      <a:pt x="479" y="365"/>
                    </a:lnTo>
                    <a:lnTo>
                      <a:pt x="479" y="367"/>
                    </a:lnTo>
                    <a:lnTo>
                      <a:pt x="481" y="367"/>
                    </a:lnTo>
                    <a:lnTo>
                      <a:pt x="482" y="369"/>
                    </a:lnTo>
                    <a:lnTo>
                      <a:pt x="484" y="369"/>
                    </a:lnTo>
                    <a:lnTo>
                      <a:pt x="484" y="371"/>
                    </a:lnTo>
                    <a:lnTo>
                      <a:pt x="486" y="371"/>
                    </a:lnTo>
                    <a:lnTo>
                      <a:pt x="486" y="372"/>
                    </a:lnTo>
                    <a:lnTo>
                      <a:pt x="488" y="374"/>
                    </a:lnTo>
                    <a:lnTo>
                      <a:pt x="489" y="374"/>
                    </a:lnTo>
                    <a:lnTo>
                      <a:pt x="489" y="376"/>
                    </a:lnTo>
                    <a:lnTo>
                      <a:pt x="491" y="376"/>
                    </a:lnTo>
                    <a:lnTo>
                      <a:pt x="491" y="377"/>
                    </a:lnTo>
                    <a:lnTo>
                      <a:pt x="491" y="379"/>
                    </a:lnTo>
                    <a:lnTo>
                      <a:pt x="491" y="381"/>
                    </a:lnTo>
                    <a:lnTo>
                      <a:pt x="489" y="381"/>
                    </a:lnTo>
                    <a:lnTo>
                      <a:pt x="491" y="381"/>
                    </a:lnTo>
                    <a:lnTo>
                      <a:pt x="491" y="382"/>
                    </a:lnTo>
                    <a:lnTo>
                      <a:pt x="491" y="384"/>
                    </a:lnTo>
                    <a:lnTo>
                      <a:pt x="493" y="384"/>
                    </a:lnTo>
                    <a:lnTo>
                      <a:pt x="493" y="386"/>
                    </a:lnTo>
                    <a:lnTo>
                      <a:pt x="493" y="384"/>
                    </a:lnTo>
                    <a:lnTo>
                      <a:pt x="494" y="386"/>
                    </a:lnTo>
                    <a:lnTo>
                      <a:pt x="494" y="388"/>
                    </a:lnTo>
                    <a:lnTo>
                      <a:pt x="494" y="389"/>
                    </a:lnTo>
                    <a:lnTo>
                      <a:pt x="493" y="389"/>
                    </a:lnTo>
                    <a:lnTo>
                      <a:pt x="494" y="391"/>
                    </a:lnTo>
                    <a:lnTo>
                      <a:pt x="496" y="393"/>
                    </a:lnTo>
                    <a:lnTo>
                      <a:pt x="496" y="394"/>
                    </a:lnTo>
                    <a:lnTo>
                      <a:pt x="496" y="396"/>
                    </a:lnTo>
                    <a:lnTo>
                      <a:pt x="496" y="398"/>
                    </a:lnTo>
                    <a:lnTo>
                      <a:pt x="498" y="398"/>
                    </a:lnTo>
                    <a:lnTo>
                      <a:pt x="498" y="399"/>
                    </a:lnTo>
                    <a:lnTo>
                      <a:pt x="498" y="401"/>
                    </a:lnTo>
                    <a:lnTo>
                      <a:pt x="499" y="401"/>
                    </a:lnTo>
                    <a:lnTo>
                      <a:pt x="499" y="403"/>
                    </a:lnTo>
                    <a:lnTo>
                      <a:pt x="499" y="405"/>
                    </a:lnTo>
                    <a:lnTo>
                      <a:pt x="499" y="406"/>
                    </a:lnTo>
                    <a:lnTo>
                      <a:pt x="501" y="406"/>
                    </a:lnTo>
                    <a:lnTo>
                      <a:pt x="501" y="408"/>
                    </a:lnTo>
                    <a:lnTo>
                      <a:pt x="501" y="410"/>
                    </a:lnTo>
                    <a:lnTo>
                      <a:pt x="503" y="410"/>
                    </a:lnTo>
                    <a:lnTo>
                      <a:pt x="503" y="411"/>
                    </a:lnTo>
                    <a:lnTo>
                      <a:pt x="503" y="413"/>
                    </a:lnTo>
                    <a:lnTo>
                      <a:pt x="501" y="413"/>
                    </a:lnTo>
                    <a:lnTo>
                      <a:pt x="501" y="415"/>
                    </a:lnTo>
                    <a:lnTo>
                      <a:pt x="503" y="415"/>
                    </a:lnTo>
                    <a:lnTo>
                      <a:pt x="501" y="416"/>
                    </a:lnTo>
                    <a:lnTo>
                      <a:pt x="496" y="416"/>
                    </a:lnTo>
                    <a:lnTo>
                      <a:pt x="494" y="418"/>
                    </a:lnTo>
                    <a:lnTo>
                      <a:pt x="494" y="416"/>
                    </a:lnTo>
                    <a:lnTo>
                      <a:pt x="494" y="415"/>
                    </a:lnTo>
                    <a:lnTo>
                      <a:pt x="494" y="413"/>
                    </a:lnTo>
                    <a:lnTo>
                      <a:pt x="493" y="413"/>
                    </a:lnTo>
                    <a:lnTo>
                      <a:pt x="493" y="411"/>
                    </a:lnTo>
                    <a:lnTo>
                      <a:pt x="494" y="411"/>
                    </a:lnTo>
                    <a:lnTo>
                      <a:pt x="494" y="410"/>
                    </a:lnTo>
                    <a:lnTo>
                      <a:pt x="494" y="408"/>
                    </a:lnTo>
                    <a:lnTo>
                      <a:pt x="494" y="406"/>
                    </a:lnTo>
                    <a:lnTo>
                      <a:pt x="493" y="406"/>
                    </a:lnTo>
                    <a:lnTo>
                      <a:pt x="493" y="405"/>
                    </a:lnTo>
                    <a:lnTo>
                      <a:pt x="494" y="403"/>
                    </a:lnTo>
                    <a:lnTo>
                      <a:pt x="493" y="403"/>
                    </a:lnTo>
                    <a:lnTo>
                      <a:pt x="493" y="401"/>
                    </a:lnTo>
                    <a:lnTo>
                      <a:pt x="493" y="399"/>
                    </a:lnTo>
                    <a:lnTo>
                      <a:pt x="493" y="398"/>
                    </a:lnTo>
                    <a:lnTo>
                      <a:pt x="493" y="396"/>
                    </a:lnTo>
                    <a:lnTo>
                      <a:pt x="493" y="394"/>
                    </a:lnTo>
                    <a:lnTo>
                      <a:pt x="491" y="394"/>
                    </a:lnTo>
                    <a:lnTo>
                      <a:pt x="489" y="394"/>
                    </a:lnTo>
                    <a:lnTo>
                      <a:pt x="488" y="393"/>
                    </a:lnTo>
                    <a:lnTo>
                      <a:pt x="488" y="391"/>
                    </a:lnTo>
                    <a:lnTo>
                      <a:pt x="486" y="391"/>
                    </a:lnTo>
                    <a:lnTo>
                      <a:pt x="486" y="389"/>
                    </a:lnTo>
                    <a:lnTo>
                      <a:pt x="486" y="388"/>
                    </a:lnTo>
                    <a:lnTo>
                      <a:pt x="486" y="386"/>
                    </a:lnTo>
                    <a:lnTo>
                      <a:pt x="486" y="384"/>
                    </a:lnTo>
                    <a:lnTo>
                      <a:pt x="484" y="384"/>
                    </a:lnTo>
                    <a:lnTo>
                      <a:pt x="484" y="382"/>
                    </a:lnTo>
                    <a:lnTo>
                      <a:pt x="486" y="382"/>
                    </a:lnTo>
                    <a:lnTo>
                      <a:pt x="484" y="382"/>
                    </a:lnTo>
                    <a:lnTo>
                      <a:pt x="484" y="381"/>
                    </a:lnTo>
                    <a:lnTo>
                      <a:pt x="482" y="382"/>
                    </a:lnTo>
                    <a:lnTo>
                      <a:pt x="482" y="384"/>
                    </a:lnTo>
                    <a:lnTo>
                      <a:pt x="481" y="384"/>
                    </a:lnTo>
                    <a:lnTo>
                      <a:pt x="481" y="386"/>
                    </a:lnTo>
                    <a:lnTo>
                      <a:pt x="479" y="386"/>
                    </a:lnTo>
                    <a:lnTo>
                      <a:pt x="479" y="388"/>
                    </a:lnTo>
                    <a:lnTo>
                      <a:pt x="477" y="388"/>
                    </a:lnTo>
                    <a:lnTo>
                      <a:pt x="476" y="388"/>
                    </a:lnTo>
                    <a:lnTo>
                      <a:pt x="474" y="388"/>
                    </a:lnTo>
                    <a:lnTo>
                      <a:pt x="472" y="388"/>
                    </a:lnTo>
                    <a:lnTo>
                      <a:pt x="472" y="389"/>
                    </a:lnTo>
                    <a:lnTo>
                      <a:pt x="471" y="389"/>
                    </a:lnTo>
                    <a:lnTo>
                      <a:pt x="471" y="391"/>
                    </a:lnTo>
                    <a:lnTo>
                      <a:pt x="469" y="391"/>
                    </a:lnTo>
                    <a:lnTo>
                      <a:pt x="469" y="393"/>
                    </a:lnTo>
                    <a:lnTo>
                      <a:pt x="467" y="394"/>
                    </a:lnTo>
                    <a:lnTo>
                      <a:pt x="467" y="396"/>
                    </a:lnTo>
                    <a:lnTo>
                      <a:pt x="465" y="396"/>
                    </a:lnTo>
                    <a:lnTo>
                      <a:pt x="465" y="394"/>
                    </a:lnTo>
                    <a:lnTo>
                      <a:pt x="464" y="394"/>
                    </a:lnTo>
                    <a:lnTo>
                      <a:pt x="464" y="393"/>
                    </a:lnTo>
                    <a:lnTo>
                      <a:pt x="462" y="393"/>
                    </a:lnTo>
                    <a:lnTo>
                      <a:pt x="460" y="393"/>
                    </a:lnTo>
                    <a:lnTo>
                      <a:pt x="460" y="391"/>
                    </a:lnTo>
                    <a:lnTo>
                      <a:pt x="459" y="391"/>
                    </a:lnTo>
                    <a:lnTo>
                      <a:pt x="459" y="389"/>
                    </a:lnTo>
                    <a:lnTo>
                      <a:pt x="459" y="391"/>
                    </a:lnTo>
                    <a:lnTo>
                      <a:pt x="457" y="391"/>
                    </a:lnTo>
                    <a:lnTo>
                      <a:pt x="457" y="389"/>
                    </a:lnTo>
                    <a:lnTo>
                      <a:pt x="457" y="388"/>
                    </a:lnTo>
                    <a:lnTo>
                      <a:pt x="457" y="389"/>
                    </a:lnTo>
                    <a:lnTo>
                      <a:pt x="457" y="391"/>
                    </a:lnTo>
                    <a:lnTo>
                      <a:pt x="455" y="391"/>
                    </a:lnTo>
                    <a:lnTo>
                      <a:pt x="455" y="393"/>
                    </a:lnTo>
                    <a:lnTo>
                      <a:pt x="455" y="394"/>
                    </a:lnTo>
                    <a:lnTo>
                      <a:pt x="454" y="394"/>
                    </a:lnTo>
                    <a:lnTo>
                      <a:pt x="455" y="394"/>
                    </a:lnTo>
                    <a:lnTo>
                      <a:pt x="454" y="394"/>
                    </a:lnTo>
                    <a:lnTo>
                      <a:pt x="455" y="396"/>
                    </a:lnTo>
                    <a:lnTo>
                      <a:pt x="455" y="394"/>
                    </a:lnTo>
                    <a:lnTo>
                      <a:pt x="455" y="396"/>
                    </a:lnTo>
                    <a:lnTo>
                      <a:pt x="455" y="394"/>
                    </a:lnTo>
                    <a:lnTo>
                      <a:pt x="455" y="396"/>
                    </a:lnTo>
                    <a:lnTo>
                      <a:pt x="455" y="398"/>
                    </a:lnTo>
                    <a:lnTo>
                      <a:pt x="455" y="396"/>
                    </a:lnTo>
                    <a:lnTo>
                      <a:pt x="457" y="398"/>
                    </a:lnTo>
                    <a:lnTo>
                      <a:pt x="457" y="396"/>
                    </a:lnTo>
                    <a:lnTo>
                      <a:pt x="457" y="398"/>
                    </a:lnTo>
                    <a:lnTo>
                      <a:pt x="459" y="398"/>
                    </a:lnTo>
                    <a:lnTo>
                      <a:pt x="445" y="398"/>
                    </a:lnTo>
                    <a:lnTo>
                      <a:pt x="435" y="398"/>
                    </a:lnTo>
                    <a:lnTo>
                      <a:pt x="430" y="398"/>
                    </a:lnTo>
                    <a:lnTo>
                      <a:pt x="425" y="398"/>
                    </a:lnTo>
                    <a:lnTo>
                      <a:pt x="420" y="398"/>
                    </a:lnTo>
                    <a:lnTo>
                      <a:pt x="416" y="398"/>
                    </a:lnTo>
                    <a:lnTo>
                      <a:pt x="414" y="398"/>
                    </a:lnTo>
                    <a:lnTo>
                      <a:pt x="413" y="398"/>
                    </a:lnTo>
                    <a:lnTo>
                      <a:pt x="413" y="396"/>
                    </a:lnTo>
                    <a:lnTo>
                      <a:pt x="411" y="398"/>
                    </a:lnTo>
                    <a:lnTo>
                      <a:pt x="409" y="398"/>
                    </a:lnTo>
                    <a:lnTo>
                      <a:pt x="409" y="399"/>
                    </a:lnTo>
                    <a:lnTo>
                      <a:pt x="408" y="398"/>
                    </a:lnTo>
                    <a:lnTo>
                      <a:pt x="408" y="399"/>
                    </a:lnTo>
                    <a:lnTo>
                      <a:pt x="408" y="398"/>
                    </a:lnTo>
                    <a:lnTo>
                      <a:pt x="408" y="399"/>
                    </a:lnTo>
                    <a:lnTo>
                      <a:pt x="408" y="398"/>
                    </a:lnTo>
                    <a:lnTo>
                      <a:pt x="406" y="398"/>
                    </a:lnTo>
                    <a:lnTo>
                      <a:pt x="404" y="398"/>
                    </a:lnTo>
                    <a:lnTo>
                      <a:pt x="404" y="399"/>
                    </a:lnTo>
                    <a:lnTo>
                      <a:pt x="403" y="399"/>
                    </a:lnTo>
                    <a:lnTo>
                      <a:pt x="401" y="399"/>
                    </a:lnTo>
                    <a:lnTo>
                      <a:pt x="401" y="401"/>
                    </a:lnTo>
                    <a:lnTo>
                      <a:pt x="401" y="405"/>
                    </a:lnTo>
                    <a:lnTo>
                      <a:pt x="401" y="408"/>
                    </a:lnTo>
                    <a:lnTo>
                      <a:pt x="401" y="411"/>
                    </a:lnTo>
                    <a:lnTo>
                      <a:pt x="401" y="413"/>
                    </a:lnTo>
                    <a:lnTo>
                      <a:pt x="401" y="415"/>
                    </a:lnTo>
                    <a:lnTo>
                      <a:pt x="401" y="418"/>
                    </a:lnTo>
                    <a:lnTo>
                      <a:pt x="401" y="420"/>
                    </a:lnTo>
                    <a:lnTo>
                      <a:pt x="403" y="420"/>
                    </a:lnTo>
                    <a:lnTo>
                      <a:pt x="403" y="422"/>
                    </a:lnTo>
                    <a:lnTo>
                      <a:pt x="403" y="420"/>
                    </a:lnTo>
                    <a:lnTo>
                      <a:pt x="404" y="420"/>
                    </a:lnTo>
                    <a:lnTo>
                      <a:pt x="406" y="420"/>
                    </a:lnTo>
                    <a:lnTo>
                      <a:pt x="408" y="420"/>
                    </a:lnTo>
                    <a:lnTo>
                      <a:pt x="409" y="420"/>
                    </a:lnTo>
                    <a:lnTo>
                      <a:pt x="411" y="420"/>
                    </a:lnTo>
                    <a:lnTo>
                      <a:pt x="413" y="420"/>
                    </a:lnTo>
                    <a:lnTo>
                      <a:pt x="414" y="420"/>
                    </a:lnTo>
                    <a:lnTo>
                      <a:pt x="416" y="422"/>
                    </a:lnTo>
                    <a:lnTo>
                      <a:pt x="418" y="420"/>
                    </a:lnTo>
                    <a:lnTo>
                      <a:pt x="420" y="420"/>
                    </a:lnTo>
                    <a:lnTo>
                      <a:pt x="420" y="422"/>
                    </a:lnTo>
                    <a:lnTo>
                      <a:pt x="421" y="422"/>
                    </a:lnTo>
                    <a:lnTo>
                      <a:pt x="423" y="422"/>
                    </a:lnTo>
                    <a:lnTo>
                      <a:pt x="423" y="423"/>
                    </a:lnTo>
                    <a:lnTo>
                      <a:pt x="423" y="425"/>
                    </a:lnTo>
                    <a:lnTo>
                      <a:pt x="425" y="425"/>
                    </a:lnTo>
                    <a:lnTo>
                      <a:pt x="423" y="425"/>
                    </a:lnTo>
                    <a:lnTo>
                      <a:pt x="423" y="427"/>
                    </a:lnTo>
                    <a:lnTo>
                      <a:pt x="425" y="427"/>
                    </a:lnTo>
                    <a:lnTo>
                      <a:pt x="425" y="428"/>
                    </a:lnTo>
                    <a:lnTo>
                      <a:pt x="425" y="430"/>
                    </a:lnTo>
                    <a:lnTo>
                      <a:pt x="425" y="432"/>
                    </a:lnTo>
                    <a:lnTo>
                      <a:pt x="423" y="432"/>
                    </a:lnTo>
                    <a:lnTo>
                      <a:pt x="425" y="433"/>
                    </a:lnTo>
                    <a:lnTo>
                      <a:pt x="426" y="433"/>
                    </a:lnTo>
                    <a:lnTo>
                      <a:pt x="426" y="435"/>
                    </a:lnTo>
                    <a:lnTo>
                      <a:pt x="425" y="435"/>
                    </a:lnTo>
                    <a:lnTo>
                      <a:pt x="423" y="435"/>
                    </a:lnTo>
                    <a:lnTo>
                      <a:pt x="423" y="437"/>
                    </a:lnTo>
                    <a:lnTo>
                      <a:pt x="421" y="437"/>
                    </a:lnTo>
                    <a:lnTo>
                      <a:pt x="420" y="437"/>
                    </a:lnTo>
                    <a:lnTo>
                      <a:pt x="420" y="435"/>
                    </a:lnTo>
                    <a:lnTo>
                      <a:pt x="418" y="435"/>
                    </a:lnTo>
                    <a:lnTo>
                      <a:pt x="418" y="437"/>
                    </a:lnTo>
                    <a:lnTo>
                      <a:pt x="418" y="435"/>
                    </a:lnTo>
                    <a:lnTo>
                      <a:pt x="416" y="435"/>
                    </a:lnTo>
                    <a:lnTo>
                      <a:pt x="416" y="433"/>
                    </a:lnTo>
                    <a:lnTo>
                      <a:pt x="414" y="432"/>
                    </a:lnTo>
                    <a:lnTo>
                      <a:pt x="413" y="432"/>
                    </a:lnTo>
                    <a:lnTo>
                      <a:pt x="413" y="433"/>
                    </a:lnTo>
                    <a:lnTo>
                      <a:pt x="411" y="433"/>
                    </a:lnTo>
                    <a:lnTo>
                      <a:pt x="411" y="435"/>
                    </a:lnTo>
                    <a:lnTo>
                      <a:pt x="409" y="435"/>
                    </a:lnTo>
                    <a:lnTo>
                      <a:pt x="409" y="437"/>
                    </a:lnTo>
                    <a:lnTo>
                      <a:pt x="409" y="435"/>
                    </a:lnTo>
                    <a:lnTo>
                      <a:pt x="408" y="435"/>
                    </a:lnTo>
                    <a:lnTo>
                      <a:pt x="408" y="433"/>
                    </a:lnTo>
                    <a:lnTo>
                      <a:pt x="406" y="435"/>
                    </a:lnTo>
                    <a:lnTo>
                      <a:pt x="406" y="437"/>
                    </a:lnTo>
                    <a:lnTo>
                      <a:pt x="404" y="435"/>
                    </a:lnTo>
                    <a:lnTo>
                      <a:pt x="404" y="437"/>
                    </a:lnTo>
                    <a:lnTo>
                      <a:pt x="403" y="437"/>
                    </a:lnTo>
                    <a:lnTo>
                      <a:pt x="401" y="437"/>
                    </a:lnTo>
                    <a:lnTo>
                      <a:pt x="399" y="437"/>
                    </a:lnTo>
                    <a:lnTo>
                      <a:pt x="399" y="439"/>
                    </a:lnTo>
                    <a:lnTo>
                      <a:pt x="397" y="439"/>
                    </a:lnTo>
                    <a:lnTo>
                      <a:pt x="397" y="437"/>
                    </a:lnTo>
                    <a:lnTo>
                      <a:pt x="396" y="437"/>
                    </a:lnTo>
                    <a:lnTo>
                      <a:pt x="396" y="439"/>
                    </a:lnTo>
                    <a:lnTo>
                      <a:pt x="394" y="439"/>
                    </a:lnTo>
                    <a:lnTo>
                      <a:pt x="394" y="440"/>
                    </a:lnTo>
                    <a:lnTo>
                      <a:pt x="394" y="444"/>
                    </a:lnTo>
                    <a:lnTo>
                      <a:pt x="394" y="445"/>
                    </a:lnTo>
                    <a:lnTo>
                      <a:pt x="394" y="447"/>
                    </a:lnTo>
                    <a:lnTo>
                      <a:pt x="394" y="449"/>
                    </a:lnTo>
                    <a:lnTo>
                      <a:pt x="394" y="451"/>
                    </a:lnTo>
                    <a:lnTo>
                      <a:pt x="394" y="454"/>
                    </a:lnTo>
                    <a:lnTo>
                      <a:pt x="394" y="457"/>
                    </a:lnTo>
                    <a:lnTo>
                      <a:pt x="394" y="461"/>
                    </a:lnTo>
                    <a:lnTo>
                      <a:pt x="396" y="461"/>
                    </a:lnTo>
                    <a:lnTo>
                      <a:pt x="396" y="462"/>
                    </a:lnTo>
                    <a:lnTo>
                      <a:pt x="396" y="464"/>
                    </a:lnTo>
                    <a:lnTo>
                      <a:pt x="397" y="466"/>
                    </a:lnTo>
                    <a:lnTo>
                      <a:pt x="397" y="468"/>
                    </a:lnTo>
                    <a:lnTo>
                      <a:pt x="399" y="468"/>
                    </a:lnTo>
                    <a:lnTo>
                      <a:pt x="399" y="469"/>
                    </a:lnTo>
                    <a:lnTo>
                      <a:pt x="401" y="468"/>
                    </a:lnTo>
                    <a:lnTo>
                      <a:pt x="403" y="469"/>
                    </a:lnTo>
                    <a:lnTo>
                      <a:pt x="403" y="471"/>
                    </a:lnTo>
                    <a:lnTo>
                      <a:pt x="404" y="471"/>
                    </a:lnTo>
                    <a:lnTo>
                      <a:pt x="406" y="473"/>
                    </a:lnTo>
                    <a:lnTo>
                      <a:pt x="408" y="473"/>
                    </a:lnTo>
                    <a:lnTo>
                      <a:pt x="408" y="474"/>
                    </a:lnTo>
                    <a:lnTo>
                      <a:pt x="409" y="473"/>
                    </a:lnTo>
                    <a:lnTo>
                      <a:pt x="409" y="474"/>
                    </a:lnTo>
                    <a:lnTo>
                      <a:pt x="409" y="476"/>
                    </a:lnTo>
                    <a:lnTo>
                      <a:pt x="409" y="478"/>
                    </a:lnTo>
                    <a:lnTo>
                      <a:pt x="411" y="478"/>
                    </a:lnTo>
                    <a:lnTo>
                      <a:pt x="411" y="479"/>
                    </a:lnTo>
                    <a:lnTo>
                      <a:pt x="409" y="479"/>
                    </a:lnTo>
                    <a:lnTo>
                      <a:pt x="409" y="481"/>
                    </a:lnTo>
                    <a:lnTo>
                      <a:pt x="409" y="483"/>
                    </a:lnTo>
                    <a:lnTo>
                      <a:pt x="411" y="483"/>
                    </a:lnTo>
                    <a:lnTo>
                      <a:pt x="409" y="483"/>
                    </a:lnTo>
                    <a:lnTo>
                      <a:pt x="411" y="485"/>
                    </a:lnTo>
                    <a:lnTo>
                      <a:pt x="411" y="486"/>
                    </a:lnTo>
                    <a:lnTo>
                      <a:pt x="413" y="486"/>
                    </a:lnTo>
                    <a:lnTo>
                      <a:pt x="413" y="488"/>
                    </a:lnTo>
                    <a:lnTo>
                      <a:pt x="413" y="490"/>
                    </a:lnTo>
                    <a:lnTo>
                      <a:pt x="413" y="488"/>
                    </a:lnTo>
                    <a:lnTo>
                      <a:pt x="414" y="490"/>
                    </a:lnTo>
                    <a:lnTo>
                      <a:pt x="416" y="491"/>
                    </a:lnTo>
                    <a:lnTo>
                      <a:pt x="414" y="491"/>
                    </a:lnTo>
                    <a:lnTo>
                      <a:pt x="416" y="491"/>
                    </a:lnTo>
                    <a:lnTo>
                      <a:pt x="416" y="493"/>
                    </a:lnTo>
                    <a:lnTo>
                      <a:pt x="416" y="495"/>
                    </a:lnTo>
                    <a:lnTo>
                      <a:pt x="416" y="496"/>
                    </a:lnTo>
                    <a:lnTo>
                      <a:pt x="416" y="498"/>
                    </a:lnTo>
                    <a:lnTo>
                      <a:pt x="416" y="500"/>
                    </a:lnTo>
                    <a:lnTo>
                      <a:pt x="416" y="502"/>
                    </a:lnTo>
                    <a:lnTo>
                      <a:pt x="416" y="503"/>
                    </a:lnTo>
                    <a:lnTo>
                      <a:pt x="414" y="505"/>
                    </a:lnTo>
                    <a:lnTo>
                      <a:pt x="416" y="505"/>
                    </a:lnTo>
                    <a:lnTo>
                      <a:pt x="416" y="507"/>
                    </a:lnTo>
                    <a:lnTo>
                      <a:pt x="414" y="507"/>
                    </a:lnTo>
                    <a:lnTo>
                      <a:pt x="414" y="508"/>
                    </a:lnTo>
                    <a:lnTo>
                      <a:pt x="413" y="517"/>
                    </a:lnTo>
                    <a:lnTo>
                      <a:pt x="413" y="524"/>
                    </a:lnTo>
                    <a:lnTo>
                      <a:pt x="411" y="529"/>
                    </a:lnTo>
                    <a:lnTo>
                      <a:pt x="409" y="534"/>
                    </a:lnTo>
                    <a:lnTo>
                      <a:pt x="409" y="539"/>
                    </a:lnTo>
                    <a:lnTo>
                      <a:pt x="406" y="554"/>
                    </a:lnTo>
                    <a:lnTo>
                      <a:pt x="406" y="558"/>
                    </a:lnTo>
                    <a:lnTo>
                      <a:pt x="403" y="581"/>
                    </a:lnTo>
                    <a:lnTo>
                      <a:pt x="401" y="590"/>
                    </a:lnTo>
                    <a:lnTo>
                      <a:pt x="399" y="600"/>
                    </a:lnTo>
                    <a:lnTo>
                      <a:pt x="397" y="600"/>
                    </a:lnTo>
                    <a:lnTo>
                      <a:pt x="397" y="598"/>
                    </a:lnTo>
                    <a:lnTo>
                      <a:pt x="396" y="598"/>
                    </a:lnTo>
                    <a:lnTo>
                      <a:pt x="396" y="597"/>
                    </a:lnTo>
                    <a:lnTo>
                      <a:pt x="394" y="597"/>
                    </a:lnTo>
                    <a:lnTo>
                      <a:pt x="394" y="595"/>
                    </a:lnTo>
                    <a:lnTo>
                      <a:pt x="392" y="593"/>
                    </a:lnTo>
                    <a:lnTo>
                      <a:pt x="391" y="593"/>
                    </a:lnTo>
                    <a:lnTo>
                      <a:pt x="391" y="592"/>
                    </a:lnTo>
                    <a:lnTo>
                      <a:pt x="391" y="590"/>
                    </a:lnTo>
                    <a:lnTo>
                      <a:pt x="389" y="590"/>
                    </a:lnTo>
                    <a:lnTo>
                      <a:pt x="389" y="588"/>
                    </a:lnTo>
                    <a:lnTo>
                      <a:pt x="387" y="588"/>
                    </a:lnTo>
                    <a:lnTo>
                      <a:pt x="387" y="587"/>
                    </a:lnTo>
                    <a:lnTo>
                      <a:pt x="386" y="587"/>
                    </a:lnTo>
                    <a:lnTo>
                      <a:pt x="386" y="585"/>
                    </a:lnTo>
                    <a:lnTo>
                      <a:pt x="384" y="585"/>
                    </a:lnTo>
                    <a:lnTo>
                      <a:pt x="384" y="587"/>
                    </a:lnTo>
                    <a:lnTo>
                      <a:pt x="382" y="587"/>
                    </a:lnTo>
                    <a:lnTo>
                      <a:pt x="380" y="587"/>
                    </a:lnTo>
                    <a:lnTo>
                      <a:pt x="380" y="588"/>
                    </a:lnTo>
                    <a:lnTo>
                      <a:pt x="379" y="588"/>
                    </a:lnTo>
                    <a:lnTo>
                      <a:pt x="377" y="587"/>
                    </a:lnTo>
                    <a:lnTo>
                      <a:pt x="375" y="587"/>
                    </a:lnTo>
                    <a:lnTo>
                      <a:pt x="374" y="587"/>
                    </a:lnTo>
                    <a:lnTo>
                      <a:pt x="374" y="585"/>
                    </a:lnTo>
                    <a:lnTo>
                      <a:pt x="372" y="585"/>
                    </a:lnTo>
                    <a:lnTo>
                      <a:pt x="374" y="581"/>
                    </a:lnTo>
                    <a:lnTo>
                      <a:pt x="375" y="581"/>
                    </a:lnTo>
                    <a:lnTo>
                      <a:pt x="377" y="576"/>
                    </a:lnTo>
                    <a:lnTo>
                      <a:pt x="379" y="573"/>
                    </a:lnTo>
                    <a:lnTo>
                      <a:pt x="380" y="573"/>
                    </a:lnTo>
                    <a:lnTo>
                      <a:pt x="382" y="570"/>
                    </a:lnTo>
                    <a:lnTo>
                      <a:pt x="384" y="566"/>
                    </a:lnTo>
                    <a:lnTo>
                      <a:pt x="386" y="564"/>
                    </a:lnTo>
                    <a:lnTo>
                      <a:pt x="386" y="563"/>
                    </a:lnTo>
                    <a:lnTo>
                      <a:pt x="387" y="561"/>
                    </a:lnTo>
                    <a:lnTo>
                      <a:pt x="391" y="556"/>
                    </a:lnTo>
                    <a:lnTo>
                      <a:pt x="392" y="554"/>
                    </a:lnTo>
                    <a:lnTo>
                      <a:pt x="394" y="551"/>
                    </a:lnTo>
                    <a:lnTo>
                      <a:pt x="394" y="549"/>
                    </a:lnTo>
                    <a:lnTo>
                      <a:pt x="394" y="547"/>
                    </a:lnTo>
                    <a:lnTo>
                      <a:pt x="394" y="546"/>
                    </a:lnTo>
                    <a:lnTo>
                      <a:pt x="392" y="547"/>
                    </a:lnTo>
                    <a:lnTo>
                      <a:pt x="391" y="547"/>
                    </a:lnTo>
                    <a:lnTo>
                      <a:pt x="391" y="546"/>
                    </a:lnTo>
                    <a:lnTo>
                      <a:pt x="389" y="546"/>
                    </a:lnTo>
                    <a:lnTo>
                      <a:pt x="389" y="547"/>
                    </a:lnTo>
                    <a:lnTo>
                      <a:pt x="389" y="546"/>
                    </a:lnTo>
                    <a:lnTo>
                      <a:pt x="389" y="544"/>
                    </a:lnTo>
                    <a:lnTo>
                      <a:pt x="387" y="542"/>
                    </a:lnTo>
                    <a:lnTo>
                      <a:pt x="386" y="544"/>
                    </a:lnTo>
                    <a:lnTo>
                      <a:pt x="384" y="544"/>
                    </a:lnTo>
                    <a:lnTo>
                      <a:pt x="384" y="542"/>
                    </a:lnTo>
                    <a:lnTo>
                      <a:pt x="386" y="542"/>
                    </a:lnTo>
                    <a:lnTo>
                      <a:pt x="386" y="541"/>
                    </a:lnTo>
                    <a:lnTo>
                      <a:pt x="384" y="541"/>
                    </a:lnTo>
                    <a:lnTo>
                      <a:pt x="382" y="542"/>
                    </a:lnTo>
                    <a:lnTo>
                      <a:pt x="380" y="542"/>
                    </a:lnTo>
                    <a:lnTo>
                      <a:pt x="380" y="541"/>
                    </a:lnTo>
                    <a:lnTo>
                      <a:pt x="380" y="539"/>
                    </a:lnTo>
                    <a:lnTo>
                      <a:pt x="380" y="541"/>
                    </a:lnTo>
                    <a:lnTo>
                      <a:pt x="379" y="541"/>
                    </a:lnTo>
                    <a:lnTo>
                      <a:pt x="379" y="539"/>
                    </a:lnTo>
                    <a:lnTo>
                      <a:pt x="377" y="539"/>
                    </a:lnTo>
                    <a:lnTo>
                      <a:pt x="377" y="541"/>
                    </a:lnTo>
                    <a:lnTo>
                      <a:pt x="375" y="541"/>
                    </a:lnTo>
                    <a:lnTo>
                      <a:pt x="375" y="539"/>
                    </a:lnTo>
                    <a:lnTo>
                      <a:pt x="375" y="537"/>
                    </a:lnTo>
                    <a:lnTo>
                      <a:pt x="374" y="539"/>
                    </a:lnTo>
                    <a:lnTo>
                      <a:pt x="374" y="537"/>
                    </a:lnTo>
                    <a:lnTo>
                      <a:pt x="374" y="536"/>
                    </a:lnTo>
                    <a:lnTo>
                      <a:pt x="372" y="536"/>
                    </a:lnTo>
                    <a:lnTo>
                      <a:pt x="370" y="536"/>
                    </a:lnTo>
                    <a:lnTo>
                      <a:pt x="370" y="534"/>
                    </a:lnTo>
                    <a:lnTo>
                      <a:pt x="369" y="534"/>
                    </a:lnTo>
                    <a:lnTo>
                      <a:pt x="367" y="534"/>
                    </a:lnTo>
                    <a:lnTo>
                      <a:pt x="367" y="532"/>
                    </a:lnTo>
                    <a:lnTo>
                      <a:pt x="365" y="532"/>
                    </a:lnTo>
                    <a:lnTo>
                      <a:pt x="363" y="532"/>
                    </a:lnTo>
                    <a:lnTo>
                      <a:pt x="362" y="532"/>
                    </a:lnTo>
                    <a:lnTo>
                      <a:pt x="362" y="534"/>
                    </a:lnTo>
                    <a:lnTo>
                      <a:pt x="363" y="534"/>
                    </a:lnTo>
                    <a:lnTo>
                      <a:pt x="362" y="534"/>
                    </a:lnTo>
                    <a:lnTo>
                      <a:pt x="360" y="534"/>
                    </a:lnTo>
                    <a:lnTo>
                      <a:pt x="358" y="534"/>
                    </a:lnTo>
                    <a:lnTo>
                      <a:pt x="358" y="536"/>
                    </a:lnTo>
                    <a:lnTo>
                      <a:pt x="357" y="536"/>
                    </a:lnTo>
                    <a:lnTo>
                      <a:pt x="357" y="537"/>
                    </a:lnTo>
                    <a:lnTo>
                      <a:pt x="355" y="537"/>
                    </a:lnTo>
                    <a:lnTo>
                      <a:pt x="355" y="536"/>
                    </a:lnTo>
                    <a:lnTo>
                      <a:pt x="353" y="536"/>
                    </a:lnTo>
                    <a:lnTo>
                      <a:pt x="353" y="537"/>
                    </a:lnTo>
                    <a:lnTo>
                      <a:pt x="353" y="536"/>
                    </a:lnTo>
                    <a:lnTo>
                      <a:pt x="352" y="536"/>
                    </a:lnTo>
                    <a:lnTo>
                      <a:pt x="352" y="537"/>
                    </a:lnTo>
                    <a:lnTo>
                      <a:pt x="350" y="537"/>
                    </a:lnTo>
                    <a:lnTo>
                      <a:pt x="350" y="539"/>
                    </a:lnTo>
                    <a:lnTo>
                      <a:pt x="348" y="537"/>
                    </a:lnTo>
                    <a:lnTo>
                      <a:pt x="350" y="537"/>
                    </a:lnTo>
                    <a:lnTo>
                      <a:pt x="350" y="536"/>
                    </a:lnTo>
                    <a:lnTo>
                      <a:pt x="348" y="536"/>
                    </a:lnTo>
                    <a:lnTo>
                      <a:pt x="348" y="534"/>
                    </a:lnTo>
                    <a:lnTo>
                      <a:pt x="346" y="534"/>
                    </a:lnTo>
                    <a:lnTo>
                      <a:pt x="346" y="536"/>
                    </a:lnTo>
                    <a:lnTo>
                      <a:pt x="345" y="536"/>
                    </a:lnTo>
                    <a:lnTo>
                      <a:pt x="345" y="534"/>
                    </a:lnTo>
                    <a:lnTo>
                      <a:pt x="345" y="532"/>
                    </a:lnTo>
                    <a:lnTo>
                      <a:pt x="343" y="532"/>
                    </a:lnTo>
                    <a:lnTo>
                      <a:pt x="341" y="532"/>
                    </a:lnTo>
                    <a:lnTo>
                      <a:pt x="341" y="530"/>
                    </a:lnTo>
                    <a:lnTo>
                      <a:pt x="340" y="530"/>
                    </a:lnTo>
                    <a:lnTo>
                      <a:pt x="340" y="532"/>
                    </a:lnTo>
                    <a:lnTo>
                      <a:pt x="338" y="532"/>
                    </a:lnTo>
                    <a:lnTo>
                      <a:pt x="338" y="530"/>
                    </a:lnTo>
                    <a:lnTo>
                      <a:pt x="338" y="529"/>
                    </a:lnTo>
                    <a:lnTo>
                      <a:pt x="336" y="530"/>
                    </a:lnTo>
                    <a:lnTo>
                      <a:pt x="335" y="532"/>
                    </a:lnTo>
                    <a:lnTo>
                      <a:pt x="335" y="530"/>
                    </a:lnTo>
                    <a:lnTo>
                      <a:pt x="335" y="532"/>
                    </a:lnTo>
                    <a:lnTo>
                      <a:pt x="333" y="532"/>
                    </a:lnTo>
                    <a:lnTo>
                      <a:pt x="333" y="534"/>
                    </a:lnTo>
                    <a:lnTo>
                      <a:pt x="333" y="536"/>
                    </a:lnTo>
                    <a:lnTo>
                      <a:pt x="331" y="536"/>
                    </a:lnTo>
                    <a:lnTo>
                      <a:pt x="331" y="537"/>
                    </a:lnTo>
                    <a:lnTo>
                      <a:pt x="329" y="537"/>
                    </a:lnTo>
                    <a:lnTo>
                      <a:pt x="328" y="537"/>
                    </a:lnTo>
                    <a:lnTo>
                      <a:pt x="328" y="536"/>
                    </a:lnTo>
                    <a:lnTo>
                      <a:pt x="326" y="536"/>
                    </a:lnTo>
                    <a:lnTo>
                      <a:pt x="326" y="537"/>
                    </a:lnTo>
                    <a:lnTo>
                      <a:pt x="324" y="537"/>
                    </a:lnTo>
                    <a:lnTo>
                      <a:pt x="324" y="539"/>
                    </a:lnTo>
                    <a:lnTo>
                      <a:pt x="324" y="541"/>
                    </a:lnTo>
                    <a:lnTo>
                      <a:pt x="323" y="541"/>
                    </a:lnTo>
                    <a:lnTo>
                      <a:pt x="323" y="539"/>
                    </a:lnTo>
                    <a:lnTo>
                      <a:pt x="321" y="539"/>
                    </a:lnTo>
                    <a:lnTo>
                      <a:pt x="319" y="539"/>
                    </a:lnTo>
                    <a:lnTo>
                      <a:pt x="319" y="541"/>
                    </a:lnTo>
                    <a:lnTo>
                      <a:pt x="319" y="539"/>
                    </a:lnTo>
                    <a:lnTo>
                      <a:pt x="319" y="541"/>
                    </a:lnTo>
                    <a:lnTo>
                      <a:pt x="318" y="541"/>
                    </a:lnTo>
                    <a:lnTo>
                      <a:pt x="316" y="541"/>
                    </a:lnTo>
                    <a:lnTo>
                      <a:pt x="316" y="539"/>
                    </a:lnTo>
                    <a:lnTo>
                      <a:pt x="314" y="539"/>
                    </a:lnTo>
                    <a:lnTo>
                      <a:pt x="312" y="539"/>
                    </a:lnTo>
                    <a:lnTo>
                      <a:pt x="311" y="539"/>
                    </a:lnTo>
                    <a:lnTo>
                      <a:pt x="311" y="537"/>
                    </a:lnTo>
                    <a:lnTo>
                      <a:pt x="309" y="537"/>
                    </a:lnTo>
                    <a:lnTo>
                      <a:pt x="307" y="537"/>
                    </a:lnTo>
                    <a:lnTo>
                      <a:pt x="307" y="539"/>
                    </a:lnTo>
                    <a:lnTo>
                      <a:pt x="306" y="539"/>
                    </a:lnTo>
                    <a:lnTo>
                      <a:pt x="304" y="537"/>
                    </a:lnTo>
                    <a:lnTo>
                      <a:pt x="304" y="539"/>
                    </a:lnTo>
                    <a:lnTo>
                      <a:pt x="304" y="537"/>
                    </a:lnTo>
                    <a:lnTo>
                      <a:pt x="302" y="537"/>
                    </a:lnTo>
                    <a:lnTo>
                      <a:pt x="302" y="539"/>
                    </a:lnTo>
                    <a:lnTo>
                      <a:pt x="301" y="539"/>
                    </a:lnTo>
                    <a:lnTo>
                      <a:pt x="299" y="539"/>
                    </a:lnTo>
                    <a:lnTo>
                      <a:pt x="297" y="539"/>
                    </a:lnTo>
                    <a:lnTo>
                      <a:pt x="297" y="537"/>
                    </a:lnTo>
                    <a:lnTo>
                      <a:pt x="295" y="537"/>
                    </a:lnTo>
                    <a:lnTo>
                      <a:pt x="295" y="536"/>
                    </a:lnTo>
                    <a:lnTo>
                      <a:pt x="295" y="537"/>
                    </a:lnTo>
                    <a:lnTo>
                      <a:pt x="294" y="536"/>
                    </a:lnTo>
                    <a:lnTo>
                      <a:pt x="292" y="537"/>
                    </a:lnTo>
                    <a:lnTo>
                      <a:pt x="292" y="536"/>
                    </a:lnTo>
                    <a:lnTo>
                      <a:pt x="290" y="536"/>
                    </a:lnTo>
                    <a:lnTo>
                      <a:pt x="290" y="534"/>
                    </a:lnTo>
                    <a:lnTo>
                      <a:pt x="289" y="532"/>
                    </a:lnTo>
                    <a:lnTo>
                      <a:pt x="289" y="530"/>
                    </a:lnTo>
                    <a:lnTo>
                      <a:pt x="290" y="530"/>
                    </a:lnTo>
                    <a:lnTo>
                      <a:pt x="290" y="529"/>
                    </a:lnTo>
                    <a:lnTo>
                      <a:pt x="292" y="529"/>
                    </a:lnTo>
                    <a:lnTo>
                      <a:pt x="292" y="527"/>
                    </a:lnTo>
                    <a:lnTo>
                      <a:pt x="292" y="525"/>
                    </a:lnTo>
                    <a:lnTo>
                      <a:pt x="290" y="525"/>
                    </a:lnTo>
                    <a:lnTo>
                      <a:pt x="290" y="524"/>
                    </a:lnTo>
                    <a:lnTo>
                      <a:pt x="290" y="522"/>
                    </a:lnTo>
                    <a:lnTo>
                      <a:pt x="292" y="520"/>
                    </a:lnTo>
                    <a:lnTo>
                      <a:pt x="290" y="520"/>
                    </a:lnTo>
                    <a:lnTo>
                      <a:pt x="290" y="519"/>
                    </a:lnTo>
                    <a:lnTo>
                      <a:pt x="289" y="517"/>
                    </a:lnTo>
                    <a:lnTo>
                      <a:pt x="287" y="515"/>
                    </a:lnTo>
                    <a:lnTo>
                      <a:pt x="287" y="517"/>
                    </a:lnTo>
                    <a:lnTo>
                      <a:pt x="287" y="519"/>
                    </a:lnTo>
                    <a:lnTo>
                      <a:pt x="287" y="517"/>
                    </a:lnTo>
                    <a:lnTo>
                      <a:pt x="285" y="517"/>
                    </a:lnTo>
                    <a:lnTo>
                      <a:pt x="285" y="519"/>
                    </a:lnTo>
                    <a:lnTo>
                      <a:pt x="284" y="519"/>
                    </a:lnTo>
                    <a:lnTo>
                      <a:pt x="284" y="517"/>
                    </a:lnTo>
                    <a:lnTo>
                      <a:pt x="282" y="517"/>
                    </a:lnTo>
                    <a:lnTo>
                      <a:pt x="280" y="517"/>
                    </a:lnTo>
                    <a:lnTo>
                      <a:pt x="280" y="515"/>
                    </a:lnTo>
                    <a:lnTo>
                      <a:pt x="278" y="515"/>
                    </a:lnTo>
                    <a:lnTo>
                      <a:pt x="277" y="515"/>
                    </a:lnTo>
                    <a:lnTo>
                      <a:pt x="277" y="513"/>
                    </a:lnTo>
                    <a:lnTo>
                      <a:pt x="278" y="513"/>
                    </a:lnTo>
                    <a:lnTo>
                      <a:pt x="278" y="512"/>
                    </a:lnTo>
                    <a:lnTo>
                      <a:pt x="278" y="510"/>
                    </a:lnTo>
                    <a:lnTo>
                      <a:pt x="280" y="510"/>
                    </a:lnTo>
                    <a:lnTo>
                      <a:pt x="278" y="510"/>
                    </a:lnTo>
                    <a:lnTo>
                      <a:pt x="278" y="508"/>
                    </a:lnTo>
                    <a:lnTo>
                      <a:pt x="278" y="507"/>
                    </a:lnTo>
                    <a:lnTo>
                      <a:pt x="277" y="507"/>
                    </a:lnTo>
                    <a:lnTo>
                      <a:pt x="277" y="505"/>
                    </a:lnTo>
                    <a:lnTo>
                      <a:pt x="275" y="505"/>
                    </a:lnTo>
                    <a:lnTo>
                      <a:pt x="277" y="505"/>
                    </a:lnTo>
                    <a:lnTo>
                      <a:pt x="277" y="503"/>
                    </a:lnTo>
                    <a:lnTo>
                      <a:pt x="275" y="503"/>
                    </a:lnTo>
                    <a:lnTo>
                      <a:pt x="275" y="502"/>
                    </a:lnTo>
                    <a:lnTo>
                      <a:pt x="273" y="500"/>
                    </a:lnTo>
                    <a:lnTo>
                      <a:pt x="272" y="498"/>
                    </a:lnTo>
                    <a:lnTo>
                      <a:pt x="272" y="500"/>
                    </a:lnTo>
                    <a:lnTo>
                      <a:pt x="270" y="498"/>
                    </a:lnTo>
                    <a:lnTo>
                      <a:pt x="270" y="500"/>
                    </a:lnTo>
                    <a:lnTo>
                      <a:pt x="268" y="500"/>
                    </a:lnTo>
                    <a:lnTo>
                      <a:pt x="268" y="498"/>
                    </a:lnTo>
                    <a:lnTo>
                      <a:pt x="268" y="500"/>
                    </a:lnTo>
                    <a:lnTo>
                      <a:pt x="267" y="498"/>
                    </a:lnTo>
                    <a:lnTo>
                      <a:pt x="265" y="498"/>
                    </a:lnTo>
                    <a:lnTo>
                      <a:pt x="265" y="496"/>
                    </a:lnTo>
                    <a:lnTo>
                      <a:pt x="265" y="495"/>
                    </a:lnTo>
                    <a:lnTo>
                      <a:pt x="263" y="495"/>
                    </a:lnTo>
                    <a:lnTo>
                      <a:pt x="263" y="493"/>
                    </a:lnTo>
                    <a:lnTo>
                      <a:pt x="261" y="493"/>
                    </a:lnTo>
                    <a:lnTo>
                      <a:pt x="261" y="495"/>
                    </a:lnTo>
                    <a:lnTo>
                      <a:pt x="261" y="493"/>
                    </a:lnTo>
                    <a:lnTo>
                      <a:pt x="260" y="493"/>
                    </a:lnTo>
                    <a:lnTo>
                      <a:pt x="260" y="491"/>
                    </a:lnTo>
                    <a:lnTo>
                      <a:pt x="261" y="491"/>
                    </a:lnTo>
                    <a:lnTo>
                      <a:pt x="260" y="491"/>
                    </a:lnTo>
                    <a:lnTo>
                      <a:pt x="260" y="493"/>
                    </a:lnTo>
                    <a:lnTo>
                      <a:pt x="258" y="493"/>
                    </a:lnTo>
                    <a:lnTo>
                      <a:pt x="258" y="491"/>
                    </a:lnTo>
                    <a:lnTo>
                      <a:pt x="256" y="491"/>
                    </a:lnTo>
                    <a:lnTo>
                      <a:pt x="255" y="491"/>
                    </a:lnTo>
                    <a:lnTo>
                      <a:pt x="253" y="491"/>
                    </a:lnTo>
                    <a:lnTo>
                      <a:pt x="253" y="490"/>
                    </a:lnTo>
                    <a:lnTo>
                      <a:pt x="251" y="490"/>
                    </a:lnTo>
                    <a:lnTo>
                      <a:pt x="253" y="490"/>
                    </a:lnTo>
                    <a:lnTo>
                      <a:pt x="253" y="488"/>
                    </a:lnTo>
                    <a:lnTo>
                      <a:pt x="251" y="488"/>
                    </a:lnTo>
                    <a:lnTo>
                      <a:pt x="251" y="486"/>
                    </a:lnTo>
                    <a:lnTo>
                      <a:pt x="251" y="488"/>
                    </a:lnTo>
                    <a:lnTo>
                      <a:pt x="251" y="486"/>
                    </a:lnTo>
                    <a:lnTo>
                      <a:pt x="253" y="486"/>
                    </a:lnTo>
                    <a:lnTo>
                      <a:pt x="251" y="486"/>
                    </a:lnTo>
                    <a:lnTo>
                      <a:pt x="253" y="485"/>
                    </a:lnTo>
                    <a:lnTo>
                      <a:pt x="251" y="485"/>
                    </a:lnTo>
                    <a:lnTo>
                      <a:pt x="251" y="483"/>
                    </a:lnTo>
                    <a:lnTo>
                      <a:pt x="250" y="483"/>
                    </a:lnTo>
                    <a:lnTo>
                      <a:pt x="250" y="481"/>
                    </a:lnTo>
                    <a:lnTo>
                      <a:pt x="248" y="481"/>
                    </a:lnTo>
                    <a:lnTo>
                      <a:pt x="250" y="481"/>
                    </a:lnTo>
                    <a:lnTo>
                      <a:pt x="250" y="479"/>
                    </a:lnTo>
                    <a:lnTo>
                      <a:pt x="248" y="479"/>
                    </a:lnTo>
                    <a:lnTo>
                      <a:pt x="250" y="478"/>
                    </a:lnTo>
                    <a:lnTo>
                      <a:pt x="248" y="478"/>
                    </a:lnTo>
                    <a:lnTo>
                      <a:pt x="248" y="476"/>
                    </a:lnTo>
                    <a:lnTo>
                      <a:pt x="248" y="474"/>
                    </a:lnTo>
                    <a:lnTo>
                      <a:pt x="248" y="476"/>
                    </a:lnTo>
                    <a:lnTo>
                      <a:pt x="246" y="476"/>
                    </a:lnTo>
                    <a:lnTo>
                      <a:pt x="246" y="474"/>
                    </a:lnTo>
                    <a:lnTo>
                      <a:pt x="248" y="474"/>
                    </a:lnTo>
                    <a:lnTo>
                      <a:pt x="246" y="474"/>
                    </a:lnTo>
                    <a:lnTo>
                      <a:pt x="246" y="473"/>
                    </a:lnTo>
                    <a:lnTo>
                      <a:pt x="244" y="473"/>
                    </a:lnTo>
                    <a:lnTo>
                      <a:pt x="243" y="473"/>
                    </a:lnTo>
                    <a:lnTo>
                      <a:pt x="243" y="471"/>
                    </a:lnTo>
                    <a:lnTo>
                      <a:pt x="241" y="469"/>
                    </a:lnTo>
                    <a:lnTo>
                      <a:pt x="239" y="469"/>
                    </a:lnTo>
                    <a:lnTo>
                      <a:pt x="238" y="469"/>
                    </a:lnTo>
                    <a:lnTo>
                      <a:pt x="238" y="468"/>
                    </a:lnTo>
                    <a:lnTo>
                      <a:pt x="238" y="469"/>
                    </a:lnTo>
                    <a:lnTo>
                      <a:pt x="236" y="469"/>
                    </a:lnTo>
                    <a:lnTo>
                      <a:pt x="236" y="468"/>
                    </a:lnTo>
                    <a:lnTo>
                      <a:pt x="236" y="466"/>
                    </a:lnTo>
                    <a:lnTo>
                      <a:pt x="236" y="464"/>
                    </a:lnTo>
                    <a:lnTo>
                      <a:pt x="234" y="464"/>
                    </a:lnTo>
                    <a:lnTo>
                      <a:pt x="234" y="462"/>
                    </a:lnTo>
                    <a:lnTo>
                      <a:pt x="234" y="464"/>
                    </a:lnTo>
                    <a:lnTo>
                      <a:pt x="233" y="464"/>
                    </a:lnTo>
                    <a:lnTo>
                      <a:pt x="231" y="466"/>
                    </a:lnTo>
                    <a:lnTo>
                      <a:pt x="231" y="464"/>
                    </a:lnTo>
                    <a:lnTo>
                      <a:pt x="229" y="464"/>
                    </a:lnTo>
                    <a:lnTo>
                      <a:pt x="229" y="462"/>
                    </a:lnTo>
                    <a:lnTo>
                      <a:pt x="227" y="462"/>
                    </a:lnTo>
                    <a:lnTo>
                      <a:pt x="226" y="461"/>
                    </a:lnTo>
                    <a:lnTo>
                      <a:pt x="224" y="459"/>
                    </a:lnTo>
                    <a:lnTo>
                      <a:pt x="222" y="459"/>
                    </a:lnTo>
                    <a:lnTo>
                      <a:pt x="221" y="459"/>
                    </a:lnTo>
                    <a:lnTo>
                      <a:pt x="221" y="457"/>
                    </a:lnTo>
                    <a:lnTo>
                      <a:pt x="221" y="459"/>
                    </a:lnTo>
                    <a:lnTo>
                      <a:pt x="219" y="461"/>
                    </a:lnTo>
                    <a:lnTo>
                      <a:pt x="217" y="461"/>
                    </a:lnTo>
                    <a:lnTo>
                      <a:pt x="216" y="461"/>
                    </a:lnTo>
                    <a:lnTo>
                      <a:pt x="214" y="461"/>
                    </a:lnTo>
                    <a:lnTo>
                      <a:pt x="214" y="459"/>
                    </a:lnTo>
                    <a:lnTo>
                      <a:pt x="212" y="459"/>
                    </a:lnTo>
                    <a:lnTo>
                      <a:pt x="210" y="459"/>
                    </a:lnTo>
                    <a:lnTo>
                      <a:pt x="210" y="457"/>
                    </a:lnTo>
                    <a:lnTo>
                      <a:pt x="209" y="457"/>
                    </a:lnTo>
                    <a:lnTo>
                      <a:pt x="207" y="457"/>
                    </a:lnTo>
                    <a:lnTo>
                      <a:pt x="207" y="456"/>
                    </a:lnTo>
                    <a:lnTo>
                      <a:pt x="205" y="456"/>
                    </a:lnTo>
                    <a:lnTo>
                      <a:pt x="204" y="456"/>
                    </a:lnTo>
                    <a:lnTo>
                      <a:pt x="202" y="456"/>
                    </a:lnTo>
                    <a:lnTo>
                      <a:pt x="200" y="456"/>
                    </a:lnTo>
                    <a:lnTo>
                      <a:pt x="200" y="454"/>
                    </a:lnTo>
                    <a:lnTo>
                      <a:pt x="199" y="454"/>
                    </a:lnTo>
                    <a:lnTo>
                      <a:pt x="199" y="452"/>
                    </a:lnTo>
                    <a:lnTo>
                      <a:pt x="197" y="452"/>
                    </a:lnTo>
                    <a:lnTo>
                      <a:pt x="197" y="451"/>
                    </a:lnTo>
                    <a:lnTo>
                      <a:pt x="195" y="451"/>
                    </a:lnTo>
                    <a:lnTo>
                      <a:pt x="195" y="449"/>
                    </a:lnTo>
                    <a:lnTo>
                      <a:pt x="193" y="449"/>
                    </a:lnTo>
                    <a:lnTo>
                      <a:pt x="193" y="447"/>
                    </a:lnTo>
                    <a:lnTo>
                      <a:pt x="192" y="447"/>
                    </a:lnTo>
                    <a:lnTo>
                      <a:pt x="192" y="445"/>
                    </a:lnTo>
                    <a:lnTo>
                      <a:pt x="190" y="445"/>
                    </a:lnTo>
                    <a:lnTo>
                      <a:pt x="190" y="444"/>
                    </a:lnTo>
                    <a:lnTo>
                      <a:pt x="188" y="444"/>
                    </a:lnTo>
                    <a:lnTo>
                      <a:pt x="187" y="444"/>
                    </a:lnTo>
                    <a:lnTo>
                      <a:pt x="185" y="444"/>
                    </a:lnTo>
                    <a:lnTo>
                      <a:pt x="185" y="442"/>
                    </a:lnTo>
                    <a:lnTo>
                      <a:pt x="183" y="442"/>
                    </a:lnTo>
                    <a:lnTo>
                      <a:pt x="183" y="444"/>
                    </a:lnTo>
                    <a:lnTo>
                      <a:pt x="182" y="444"/>
                    </a:lnTo>
                    <a:lnTo>
                      <a:pt x="180" y="444"/>
                    </a:lnTo>
                    <a:lnTo>
                      <a:pt x="180" y="445"/>
                    </a:lnTo>
                    <a:lnTo>
                      <a:pt x="180" y="449"/>
                    </a:lnTo>
                    <a:lnTo>
                      <a:pt x="178" y="449"/>
                    </a:lnTo>
                    <a:lnTo>
                      <a:pt x="176" y="449"/>
                    </a:lnTo>
                    <a:lnTo>
                      <a:pt x="175" y="449"/>
                    </a:lnTo>
                    <a:lnTo>
                      <a:pt x="173" y="449"/>
                    </a:lnTo>
                    <a:lnTo>
                      <a:pt x="171" y="449"/>
                    </a:lnTo>
                    <a:lnTo>
                      <a:pt x="171" y="447"/>
                    </a:lnTo>
                    <a:lnTo>
                      <a:pt x="170" y="447"/>
                    </a:lnTo>
                    <a:lnTo>
                      <a:pt x="168" y="447"/>
                    </a:lnTo>
                    <a:lnTo>
                      <a:pt x="168" y="449"/>
                    </a:lnTo>
                    <a:lnTo>
                      <a:pt x="166" y="447"/>
                    </a:lnTo>
                    <a:lnTo>
                      <a:pt x="166" y="449"/>
                    </a:lnTo>
                    <a:lnTo>
                      <a:pt x="166" y="447"/>
                    </a:lnTo>
                    <a:lnTo>
                      <a:pt x="166" y="449"/>
                    </a:lnTo>
                    <a:lnTo>
                      <a:pt x="165" y="449"/>
                    </a:lnTo>
                    <a:lnTo>
                      <a:pt x="163" y="449"/>
                    </a:lnTo>
                    <a:lnTo>
                      <a:pt x="163" y="447"/>
                    </a:lnTo>
                    <a:lnTo>
                      <a:pt x="161" y="447"/>
                    </a:lnTo>
                    <a:lnTo>
                      <a:pt x="159" y="447"/>
                    </a:lnTo>
                    <a:lnTo>
                      <a:pt x="158" y="447"/>
                    </a:lnTo>
                    <a:lnTo>
                      <a:pt x="158" y="445"/>
                    </a:lnTo>
                    <a:lnTo>
                      <a:pt x="156" y="445"/>
                    </a:lnTo>
                    <a:lnTo>
                      <a:pt x="156" y="444"/>
                    </a:lnTo>
                    <a:lnTo>
                      <a:pt x="154" y="444"/>
                    </a:lnTo>
                    <a:lnTo>
                      <a:pt x="153" y="444"/>
                    </a:lnTo>
                    <a:lnTo>
                      <a:pt x="153" y="445"/>
                    </a:lnTo>
                    <a:lnTo>
                      <a:pt x="153" y="444"/>
                    </a:lnTo>
                    <a:lnTo>
                      <a:pt x="151" y="445"/>
                    </a:lnTo>
                    <a:lnTo>
                      <a:pt x="151" y="444"/>
                    </a:lnTo>
                    <a:lnTo>
                      <a:pt x="151" y="445"/>
                    </a:lnTo>
                    <a:lnTo>
                      <a:pt x="149" y="444"/>
                    </a:lnTo>
                    <a:lnTo>
                      <a:pt x="148" y="444"/>
                    </a:lnTo>
                    <a:lnTo>
                      <a:pt x="146" y="444"/>
                    </a:lnTo>
                    <a:lnTo>
                      <a:pt x="146" y="442"/>
                    </a:lnTo>
                    <a:lnTo>
                      <a:pt x="144" y="442"/>
                    </a:lnTo>
                    <a:lnTo>
                      <a:pt x="142" y="444"/>
                    </a:lnTo>
                    <a:lnTo>
                      <a:pt x="142" y="442"/>
                    </a:lnTo>
                    <a:lnTo>
                      <a:pt x="142" y="440"/>
                    </a:lnTo>
                    <a:lnTo>
                      <a:pt x="142" y="439"/>
                    </a:lnTo>
                    <a:lnTo>
                      <a:pt x="142" y="437"/>
                    </a:lnTo>
                    <a:lnTo>
                      <a:pt x="144" y="437"/>
                    </a:lnTo>
                    <a:lnTo>
                      <a:pt x="144" y="435"/>
                    </a:lnTo>
                    <a:lnTo>
                      <a:pt x="142" y="435"/>
                    </a:lnTo>
                    <a:lnTo>
                      <a:pt x="141" y="435"/>
                    </a:lnTo>
                    <a:lnTo>
                      <a:pt x="141" y="433"/>
                    </a:lnTo>
                    <a:lnTo>
                      <a:pt x="139" y="433"/>
                    </a:lnTo>
                    <a:lnTo>
                      <a:pt x="137" y="433"/>
                    </a:lnTo>
                    <a:lnTo>
                      <a:pt x="137" y="432"/>
                    </a:lnTo>
                    <a:lnTo>
                      <a:pt x="136" y="432"/>
                    </a:lnTo>
                    <a:lnTo>
                      <a:pt x="137" y="432"/>
                    </a:lnTo>
                    <a:lnTo>
                      <a:pt x="137" y="430"/>
                    </a:lnTo>
                    <a:lnTo>
                      <a:pt x="137" y="428"/>
                    </a:lnTo>
                    <a:lnTo>
                      <a:pt x="136" y="428"/>
                    </a:lnTo>
                    <a:lnTo>
                      <a:pt x="134" y="428"/>
                    </a:lnTo>
                    <a:lnTo>
                      <a:pt x="132" y="428"/>
                    </a:lnTo>
                    <a:lnTo>
                      <a:pt x="132" y="430"/>
                    </a:lnTo>
                    <a:lnTo>
                      <a:pt x="131" y="430"/>
                    </a:lnTo>
                    <a:lnTo>
                      <a:pt x="129" y="430"/>
                    </a:lnTo>
                    <a:lnTo>
                      <a:pt x="129" y="428"/>
                    </a:lnTo>
                    <a:lnTo>
                      <a:pt x="127" y="428"/>
                    </a:lnTo>
                    <a:lnTo>
                      <a:pt x="125" y="428"/>
                    </a:lnTo>
                    <a:lnTo>
                      <a:pt x="125" y="427"/>
                    </a:lnTo>
                    <a:lnTo>
                      <a:pt x="124" y="427"/>
                    </a:lnTo>
                    <a:lnTo>
                      <a:pt x="122" y="427"/>
                    </a:lnTo>
                    <a:lnTo>
                      <a:pt x="122" y="425"/>
                    </a:lnTo>
                    <a:lnTo>
                      <a:pt x="120" y="425"/>
                    </a:lnTo>
                    <a:lnTo>
                      <a:pt x="119" y="425"/>
                    </a:lnTo>
                    <a:lnTo>
                      <a:pt x="120" y="423"/>
                    </a:lnTo>
                    <a:lnTo>
                      <a:pt x="119" y="423"/>
                    </a:lnTo>
                    <a:lnTo>
                      <a:pt x="119" y="422"/>
                    </a:lnTo>
                    <a:lnTo>
                      <a:pt x="117" y="422"/>
                    </a:lnTo>
                    <a:lnTo>
                      <a:pt x="117" y="420"/>
                    </a:lnTo>
                    <a:lnTo>
                      <a:pt x="117" y="418"/>
                    </a:lnTo>
                    <a:lnTo>
                      <a:pt x="115" y="416"/>
                    </a:lnTo>
                    <a:lnTo>
                      <a:pt x="114" y="416"/>
                    </a:lnTo>
                    <a:lnTo>
                      <a:pt x="114" y="418"/>
                    </a:lnTo>
                    <a:lnTo>
                      <a:pt x="112" y="418"/>
                    </a:lnTo>
                    <a:lnTo>
                      <a:pt x="112" y="416"/>
                    </a:lnTo>
                    <a:lnTo>
                      <a:pt x="110" y="416"/>
                    </a:lnTo>
                    <a:lnTo>
                      <a:pt x="108" y="416"/>
                    </a:lnTo>
                    <a:lnTo>
                      <a:pt x="108" y="415"/>
                    </a:lnTo>
                    <a:lnTo>
                      <a:pt x="107" y="415"/>
                    </a:lnTo>
                    <a:lnTo>
                      <a:pt x="105" y="415"/>
                    </a:lnTo>
                    <a:lnTo>
                      <a:pt x="105" y="413"/>
                    </a:lnTo>
                    <a:lnTo>
                      <a:pt x="103" y="413"/>
                    </a:lnTo>
                    <a:lnTo>
                      <a:pt x="103" y="411"/>
                    </a:lnTo>
                    <a:lnTo>
                      <a:pt x="102" y="411"/>
                    </a:lnTo>
                    <a:lnTo>
                      <a:pt x="102" y="410"/>
                    </a:lnTo>
                    <a:lnTo>
                      <a:pt x="100" y="410"/>
                    </a:lnTo>
                    <a:lnTo>
                      <a:pt x="98" y="408"/>
                    </a:lnTo>
                    <a:lnTo>
                      <a:pt x="98" y="406"/>
                    </a:lnTo>
                    <a:lnTo>
                      <a:pt x="97" y="406"/>
                    </a:lnTo>
                    <a:lnTo>
                      <a:pt x="97" y="405"/>
                    </a:lnTo>
                    <a:lnTo>
                      <a:pt x="95" y="405"/>
                    </a:lnTo>
                    <a:lnTo>
                      <a:pt x="95" y="403"/>
                    </a:lnTo>
                    <a:lnTo>
                      <a:pt x="93" y="403"/>
                    </a:lnTo>
                    <a:lnTo>
                      <a:pt x="91" y="401"/>
                    </a:lnTo>
                    <a:lnTo>
                      <a:pt x="93" y="401"/>
                    </a:lnTo>
                    <a:lnTo>
                      <a:pt x="91" y="401"/>
                    </a:lnTo>
                    <a:lnTo>
                      <a:pt x="93" y="401"/>
                    </a:lnTo>
                    <a:lnTo>
                      <a:pt x="93" y="399"/>
                    </a:lnTo>
                    <a:lnTo>
                      <a:pt x="95" y="399"/>
                    </a:lnTo>
                    <a:lnTo>
                      <a:pt x="95" y="398"/>
                    </a:lnTo>
                    <a:lnTo>
                      <a:pt x="97" y="398"/>
                    </a:lnTo>
                    <a:lnTo>
                      <a:pt x="97" y="396"/>
                    </a:lnTo>
                    <a:lnTo>
                      <a:pt x="98" y="396"/>
                    </a:lnTo>
                    <a:lnTo>
                      <a:pt x="98" y="394"/>
                    </a:lnTo>
                    <a:lnTo>
                      <a:pt x="98" y="396"/>
                    </a:lnTo>
                    <a:lnTo>
                      <a:pt x="100" y="396"/>
                    </a:lnTo>
                    <a:lnTo>
                      <a:pt x="102" y="396"/>
                    </a:lnTo>
                    <a:lnTo>
                      <a:pt x="102" y="398"/>
                    </a:lnTo>
                    <a:lnTo>
                      <a:pt x="102" y="396"/>
                    </a:lnTo>
                    <a:lnTo>
                      <a:pt x="103" y="398"/>
                    </a:lnTo>
                    <a:lnTo>
                      <a:pt x="103" y="396"/>
                    </a:lnTo>
                    <a:lnTo>
                      <a:pt x="103" y="398"/>
                    </a:lnTo>
                    <a:lnTo>
                      <a:pt x="103" y="396"/>
                    </a:lnTo>
                    <a:lnTo>
                      <a:pt x="105" y="396"/>
                    </a:lnTo>
                    <a:lnTo>
                      <a:pt x="107" y="396"/>
                    </a:lnTo>
                    <a:lnTo>
                      <a:pt x="105" y="396"/>
                    </a:lnTo>
                    <a:lnTo>
                      <a:pt x="107" y="398"/>
                    </a:lnTo>
                    <a:lnTo>
                      <a:pt x="107" y="396"/>
                    </a:lnTo>
                    <a:lnTo>
                      <a:pt x="108" y="396"/>
                    </a:lnTo>
                    <a:lnTo>
                      <a:pt x="108" y="394"/>
                    </a:lnTo>
                    <a:lnTo>
                      <a:pt x="108" y="393"/>
                    </a:lnTo>
                    <a:lnTo>
                      <a:pt x="107" y="393"/>
                    </a:lnTo>
                    <a:lnTo>
                      <a:pt x="107" y="391"/>
                    </a:lnTo>
                    <a:lnTo>
                      <a:pt x="105" y="391"/>
                    </a:lnTo>
                    <a:lnTo>
                      <a:pt x="107" y="391"/>
                    </a:lnTo>
                    <a:lnTo>
                      <a:pt x="105" y="389"/>
                    </a:lnTo>
                    <a:lnTo>
                      <a:pt x="103" y="391"/>
                    </a:lnTo>
                    <a:lnTo>
                      <a:pt x="103" y="389"/>
                    </a:lnTo>
                    <a:lnTo>
                      <a:pt x="103" y="388"/>
                    </a:lnTo>
                    <a:lnTo>
                      <a:pt x="103" y="386"/>
                    </a:lnTo>
                    <a:lnTo>
                      <a:pt x="102" y="386"/>
                    </a:lnTo>
                    <a:lnTo>
                      <a:pt x="102" y="384"/>
                    </a:lnTo>
                    <a:lnTo>
                      <a:pt x="102" y="382"/>
                    </a:lnTo>
                    <a:lnTo>
                      <a:pt x="103" y="382"/>
                    </a:lnTo>
                    <a:lnTo>
                      <a:pt x="103" y="381"/>
                    </a:lnTo>
                    <a:lnTo>
                      <a:pt x="105" y="381"/>
                    </a:lnTo>
                    <a:lnTo>
                      <a:pt x="103" y="381"/>
                    </a:lnTo>
                    <a:lnTo>
                      <a:pt x="103" y="379"/>
                    </a:lnTo>
                    <a:lnTo>
                      <a:pt x="105" y="379"/>
                    </a:lnTo>
                    <a:lnTo>
                      <a:pt x="105" y="377"/>
                    </a:lnTo>
                    <a:lnTo>
                      <a:pt x="105" y="376"/>
                    </a:lnTo>
                    <a:lnTo>
                      <a:pt x="107" y="376"/>
                    </a:lnTo>
                    <a:lnTo>
                      <a:pt x="107" y="374"/>
                    </a:lnTo>
                    <a:lnTo>
                      <a:pt x="108" y="374"/>
                    </a:lnTo>
                    <a:lnTo>
                      <a:pt x="107" y="374"/>
                    </a:lnTo>
                    <a:lnTo>
                      <a:pt x="108" y="374"/>
                    </a:lnTo>
                    <a:lnTo>
                      <a:pt x="107" y="374"/>
                    </a:lnTo>
                    <a:lnTo>
                      <a:pt x="108" y="372"/>
                    </a:lnTo>
                    <a:lnTo>
                      <a:pt x="110" y="374"/>
                    </a:lnTo>
                    <a:lnTo>
                      <a:pt x="110" y="372"/>
                    </a:lnTo>
                    <a:lnTo>
                      <a:pt x="108" y="372"/>
                    </a:lnTo>
                    <a:lnTo>
                      <a:pt x="110" y="371"/>
                    </a:lnTo>
                    <a:lnTo>
                      <a:pt x="112" y="372"/>
                    </a:lnTo>
                    <a:lnTo>
                      <a:pt x="112" y="371"/>
                    </a:lnTo>
                    <a:lnTo>
                      <a:pt x="110" y="371"/>
                    </a:lnTo>
                    <a:lnTo>
                      <a:pt x="110" y="369"/>
                    </a:lnTo>
                    <a:lnTo>
                      <a:pt x="112" y="369"/>
                    </a:lnTo>
                    <a:lnTo>
                      <a:pt x="112" y="371"/>
                    </a:lnTo>
                    <a:lnTo>
                      <a:pt x="114" y="371"/>
                    </a:lnTo>
                    <a:lnTo>
                      <a:pt x="114" y="372"/>
                    </a:lnTo>
                    <a:lnTo>
                      <a:pt x="114" y="371"/>
                    </a:lnTo>
                    <a:lnTo>
                      <a:pt x="115" y="371"/>
                    </a:lnTo>
                    <a:lnTo>
                      <a:pt x="114" y="371"/>
                    </a:lnTo>
                    <a:lnTo>
                      <a:pt x="114" y="369"/>
                    </a:lnTo>
                    <a:lnTo>
                      <a:pt x="114" y="367"/>
                    </a:lnTo>
                    <a:lnTo>
                      <a:pt x="115" y="367"/>
                    </a:lnTo>
                    <a:lnTo>
                      <a:pt x="115" y="369"/>
                    </a:lnTo>
                    <a:lnTo>
                      <a:pt x="115" y="371"/>
                    </a:lnTo>
                    <a:lnTo>
                      <a:pt x="117" y="371"/>
                    </a:lnTo>
                    <a:lnTo>
                      <a:pt x="115" y="369"/>
                    </a:lnTo>
                    <a:lnTo>
                      <a:pt x="117" y="371"/>
                    </a:lnTo>
                    <a:lnTo>
                      <a:pt x="119" y="372"/>
                    </a:lnTo>
                    <a:lnTo>
                      <a:pt x="119" y="371"/>
                    </a:lnTo>
                    <a:lnTo>
                      <a:pt x="117" y="371"/>
                    </a:lnTo>
                    <a:lnTo>
                      <a:pt x="117" y="369"/>
                    </a:lnTo>
                    <a:lnTo>
                      <a:pt x="115" y="367"/>
                    </a:lnTo>
                    <a:lnTo>
                      <a:pt x="117" y="367"/>
                    </a:lnTo>
                    <a:lnTo>
                      <a:pt x="119" y="367"/>
                    </a:lnTo>
                    <a:lnTo>
                      <a:pt x="119" y="369"/>
                    </a:lnTo>
                    <a:lnTo>
                      <a:pt x="120" y="369"/>
                    </a:lnTo>
                    <a:lnTo>
                      <a:pt x="120" y="367"/>
                    </a:lnTo>
                    <a:lnTo>
                      <a:pt x="119" y="367"/>
                    </a:lnTo>
                    <a:lnTo>
                      <a:pt x="120" y="367"/>
                    </a:lnTo>
                    <a:lnTo>
                      <a:pt x="120" y="365"/>
                    </a:lnTo>
                    <a:lnTo>
                      <a:pt x="122" y="365"/>
                    </a:lnTo>
                    <a:lnTo>
                      <a:pt x="122" y="367"/>
                    </a:lnTo>
                    <a:lnTo>
                      <a:pt x="120" y="367"/>
                    </a:lnTo>
                    <a:lnTo>
                      <a:pt x="120" y="369"/>
                    </a:lnTo>
                    <a:lnTo>
                      <a:pt x="120" y="371"/>
                    </a:lnTo>
                    <a:lnTo>
                      <a:pt x="122" y="371"/>
                    </a:lnTo>
                    <a:lnTo>
                      <a:pt x="122" y="369"/>
                    </a:lnTo>
                    <a:lnTo>
                      <a:pt x="122" y="367"/>
                    </a:lnTo>
                    <a:lnTo>
                      <a:pt x="122" y="369"/>
                    </a:lnTo>
                    <a:lnTo>
                      <a:pt x="124" y="369"/>
                    </a:lnTo>
                    <a:lnTo>
                      <a:pt x="122" y="369"/>
                    </a:lnTo>
                    <a:lnTo>
                      <a:pt x="122" y="367"/>
                    </a:lnTo>
                    <a:lnTo>
                      <a:pt x="124" y="367"/>
                    </a:lnTo>
                    <a:lnTo>
                      <a:pt x="124" y="369"/>
                    </a:lnTo>
                    <a:lnTo>
                      <a:pt x="125" y="367"/>
                    </a:lnTo>
                    <a:lnTo>
                      <a:pt x="127" y="367"/>
                    </a:lnTo>
                    <a:lnTo>
                      <a:pt x="129" y="369"/>
                    </a:lnTo>
                    <a:lnTo>
                      <a:pt x="129" y="367"/>
                    </a:lnTo>
                    <a:lnTo>
                      <a:pt x="129" y="369"/>
                    </a:lnTo>
                    <a:lnTo>
                      <a:pt x="129" y="367"/>
                    </a:lnTo>
                    <a:lnTo>
                      <a:pt x="129" y="365"/>
                    </a:lnTo>
                    <a:lnTo>
                      <a:pt x="131" y="365"/>
                    </a:lnTo>
                    <a:lnTo>
                      <a:pt x="131" y="367"/>
                    </a:lnTo>
                    <a:lnTo>
                      <a:pt x="131" y="365"/>
                    </a:lnTo>
                    <a:lnTo>
                      <a:pt x="132" y="365"/>
                    </a:lnTo>
                    <a:lnTo>
                      <a:pt x="132" y="367"/>
                    </a:lnTo>
                    <a:lnTo>
                      <a:pt x="134" y="367"/>
                    </a:lnTo>
                    <a:lnTo>
                      <a:pt x="134" y="365"/>
                    </a:lnTo>
                    <a:lnTo>
                      <a:pt x="132" y="365"/>
                    </a:lnTo>
                    <a:lnTo>
                      <a:pt x="132" y="364"/>
                    </a:lnTo>
                    <a:lnTo>
                      <a:pt x="134" y="364"/>
                    </a:lnTo>
                    <a:lnTo>
                      <a:pt x="136" y="364"/>
                    </a:lnTo>
                    <a:lnTo>
                      <a:pt x="136" y="362"/>
                    </a:lnTo>
                    <a:lnTo>
                      <a:pt x="136" y="364"/>
                    </a:lnTo>
                    <a:lnTo>
                      <a:pt x="136" y="362"/>
                    </a:lnTo>
                    <a:lnTo>
                      <a:pt x="134" y="362"/>
                    </a:lnTo>
                    <a:lnTo>
                      <a:pt x="136" y="362"/>
                    </a:lnTo>
                    <a:lnTo>
                      <a:pt x="136" y="360"/>
                    </a:lnTo>
                    <a:lnTo>
                      <a:pt x="137" y="360"/>
                    </a:lnTo>
                    <a:lnTo>
                      <a:pt x="137" y="359"/>
                    </a:lnTo>
                    <a:lnTo>
                      <a:pt x="136" y="359"/>
                    </a:lnTo>
                    <a:lnTo>
                      <a:pt x="137" y="359"/>
                    </a:lnTo>
                    <a:lnTo>
                      <a:pt x="137" y="357"/>
                    </a:lnTo>
                    <a:lnTo>
                      <a:pt x="137" y="359"/>
                    </a:lnTo>
                    <a:lnTo>
                      <a:pt x="137" y="357"/>
                    </a:lnTo>
                    <a:lnTo>
                      <a:pt x="137" y="355"/>
                    </a:lnTo>
                    <a:lnTo>
                      <a:pt x="136" y="357"/>
                    </a:lnTo>
                    <a:lnTo>
                      <a:pt x="137" y="355"/>
                    </a:lnTo>
                    <a:lnTo>
                      <a:pt x="137" y="354"/>
                    </a:lnTo>
                    <a:lnTo>
                      <a:pt x="137" y="355"/>
                    </a:lnTo>
                    <a:lnTo>
                      <a:pt x="137" y="354"/>
                    </a:lnTo>
                    <a:lnTo>
                      <a:pt x="139" y="354"/>
                    </a:lnTo>
                    <a:lnTo>
                      <a:pt x="139" y="352"/>
                    </a:lnTo>
                    <a:lnTo>
                      <a:pt x="141" y="350"/>
                    </a:lnTo>
                    <a:lnTo>
                      <a:pt x="141" y="352"/>
                    </a:lnTo>
                    <a:lnTo>
                      <a:pt x="141" y="350"/>
                    </a:lnTo>
                    <a:lnTo>
                      <a:pt x="141" y="348"/>
                    </a:lnTo>
                    <a:lnTo>
                      <a:pt x="142" y="348"/>
                    </a:lnTo>
                    <a:lnTo>
                      <a:pt x="144" y="348"/>
                    </a:lnTo>
                    <a:lnTo>
                      <a:pt x="142" y="348"/>
                    </a:lnTo>
                    <a:lnTo>
                      <a:pt x="144" y="348"/>
                    </a:lnTo>
                    <a:lnTo>
                      <a:pt x="142" y="348"/>
                    </a:lnTo>
                    <a:lnTo>
                      <a:pt x="142" y="347"/>
                    </a:lnTo>
                    <a:lnTo>
                      <a:pt x="142" y="348"/>
                    </a:lnTo>
                    <a:lnTo>
                      <a:pt x="141" y="347"/>
                    </a:lnTo>
                    <a:lnTo>
                      <a:pt x="142" y="347"/>
                    </a:lnTo>
                    <a:lnTo>
                      <a:pt x="142" y="345"/>
                    </a:lnTo>
                    <a:lnTo>
                      <a:pt x="144" y="345"/>
                    </a:lnTo>
                    <a:lnTo>
                      <a:pt x="144" y="343"/>
                    </a:lnTo>
                    <a:lnTo>
                      <a:pt x="146" y="343"/>
                    </a:lnTo>
                    <a:lnTo>
                      <a:pt x="146" y="342"/>
                    </a:lnTo>
                    <a:lnTo>
                      <a:pt x="148" y="342"/>
                    </a:lnTo>
                    <a:lnTo>
                      <a:pt x="148" y="340"/>
                    </a:lnTo>
                    <a:lnTo>
                      <a:pt x="148" y="342"/>
                    </a:lnTo>
                    <a:lnTo>
                      <a:pt x="149" y="342"/>
                    </a:lnTo>
                    <a:lnTo>
                      <a:pt x="149" y="340"/>
                    </a:lnTo>
                    <a:lnTo>
                      <a:pt x="148" y="340"/>
                    </a:lnTo>
                    <a:lnTo>
                      <a:pt x="148" y="338"/>
                    </a:lnTo>
                    <a:lnTo>
                      <a:pt x="149" y="338"/>
                    </a:lnTo>
                    <a:lnTo>
                      <a:pt x="151" y="338"/>
                    </a:lnTo>
                    <a:lnTo>
                      <a:pt x="149" y="338"/>
                    </a:lnTo>
                    <a:lnTo>
                      <a:pt x="151" y="338"/>
                    </a:lnTo>
                    <a:lnTo>
                      <a:pt x="149" y="338"/>
                    </a:lnTo>
                    <a:lnTo>
                      <a:pt x="149" y="337"/>
                    </a:lnTo>
                    <a:lnTo>
                      <a:pt x="151" y="337"/>
                    </a:lnTo>
                    <a:lnTo>
                      <a:pt x="153" y="337"/>
                    </a:lnTo>
                    <a:lnTo>
                      <a:pt x="153" y="335"/>
                    </a:lnTo>
                    <a:lnTo>
                      <a:pt x="154" y="333"/>
                    </a:lnTo>
                    <a:lnTo>
                      <a:pt x="154" y="331"/>
                    </a:lnTo>
                    <a:lnTo>
                      <a:pt x="153" y="331"/>
                    </a:lnTo>
                    <a:lnTo>
                      <a:pt x="153" y="330"/>
                    </a:lnTo>
                    <a:lnTo>
                      <a:pt x="154" y="330"/>
                    </a:lnTo>
                    <a:lnTo>
                      <a:pt x="156" y="330"/>
                    </a:lnTo>
                    <a:lnTo>
                      <a:pt x="154" y="330"/>
                    </a:lnTo>
                    <a:lnTo>
                      <a:pt x="156" y="328"/>
                    </a:lnTo>
                    <a:lnTo>
                      <a:pt x="154" y="328"/>
                    </a:lnTo>
                    <a:lnTo>
                      <a:pt x="156" y="328"/>
                    </a:lnTo>
                    <a:lnTo>
                      <a:pt x="156" y="326"/>
                    </a:lnTo>
                    <a:lnTo>
                      <a:pt x="158" y="326"/>
                    </a:lnTo>
                    <a:lnTo>
                      <a:pt x="158" y="325"/>
                    </a:lnTo>
                    <a:lnTo>
                      <a:pt x="159" y="326"/>
                    </a:lnTo>
                    <a:lnTo>
                      <a:pt x="158" y="325"/>
                    </a:lnTo>
                    <a:lnTo>
                      <a:pt x="156" y="325"/>
                    </a:lnTo>
                    <a:lnTo>
                      <a:pt x="156" y="326"/>
                    </a:lnTo>
                    <a:lnTo>
                      <a:pt x="154" y="326"/>
                    </a:lnTo>
                    <a:lnTo>
                      <a:pt x="154" y="328"/>
                    </a:lnTo>
                    <a:lnTo>
                      <a:pt x="153" y="326"/>
                    </a:lnTo>
                    <a:lnTo>
                      <a:pt x="153" y="328"/>
                    </a:lnTo>
                    <a:lnTo>
                      <a:pt x="151" y="328"/>
                    </a:lnTo>
                    <a:lnTo>
                      <a:pt x="151" y="326"/>
                    </a:lnTo>
                    <a:lnTo>
                      <a:pt x="149" y="326"/>
                    </a:lnTo>
                    <a:lnTo>
                      <a:pt x="151" y="326"/>
                    </a:lnTo>
                    <a:lnTo>
                      <a:pt x="151" y="325"/>
                    </a:lnTo>
                    <a:lnTo>
                      <a:pt x="149" y="325"/>
                    </a:lnTo>
                    <a:lnTo>
                      <a:pt x="149" y="323"/>
                    </a:lnTo>
                    <a:lnTo>
                      <a:pt x="151" y="323"/>
                    </a:lnTo>
                    <a:lnTo>
                      <a:pt x="153" y="323"/>
                    </a:lnTo>
                    <a:lnTo>
                      <a:pt x="151" y="321"/>
                    </a:lnTo>
                    <a:lnTo>
                      <a:pt x="153" y="323"/>
                    </a:lnTo>
                    <a:lnTo>
                      <a:pt x="153" y="321"/>
                    </a:lnTo>
                    <a:lnTo>
                      <a:pt x="153" y="320"/>
                    </a:lnTo>
                    <a:lnTo>
                      <a:pt x="154" y="320"/>
                    </a:lnTo>
                    <a:lnTo>
                      <a:pt x="153" y="320"/>
                    </a:lnTo>
                    <a:lnTo>
                      <a:pt x="151" y="320"/>
                    </a:lnTo>
                    <a:lnTo>
                      <a:pt x="149" y="320"/>
                    </a:lnTo>
                    <a:lnTo>
                      <a:pt x="149" y="321"/>
                    </a:lnTo>
                    <a:lnTo>
                      <a:pt x="149" y="323"/>
                    </a:lnTo>
                    <a:lnTo>
                      <a:pt x="148" y="325"/>
                    </a:lnTo>
                    <a:lnTo>
                      <a:pt x="148" y="323"/>
                    </a:lnTo>
                    <a:lnTo>
                      <a:pt x="148" y="321"/>
                    </a:lnTo>
                    <a:lnTo>
                      <a:pt x="146" y="323"/>
                    </a:lnTo>
                    <a:lnTo>
                      <a:pt x="146" y="321"/>
                    </a:lnTo>
                    <a:lnTo>
                      <a:pt x="146" y="320"/>
                    </a:lnTo>
                    <a:lnTo>
                      <a:pt x="144" y="320"/>
                    </a:lnTo>
                    <a:lnTo>
                      <a:pt x="142" y="318"/>
                    </a:lnTo>
                    <a:lnTo>
                      <a:pt x="144" y="318"/>
                    </a:lnTo>
                    <a:lnTo>
                      <a:pt x="144" y="316"/>
                    </a:lnTo>
                    <a:lnTo>
                      <a:pt x="146" y="316"/>
                    </a:lnTo>
                    <a:lnTo>
                      <a:pt x="144" y="316"/>
                    </a:lnTo>
                    <a:lnTo>
                      <a:pt x="142" y="316"/>
                    </a:lnTo>
                    <a:lnTo>
                      <a:pt x="142" y="318"/>
                    </a:lnTo>
                    <a:lnTo>
                      <a:pt x="142" y="316"/>
                    </a:lnTo>
                    <a:lnTo>
                      <a:pt x="142" y="314"/>
                    </a:lnTo>
                    <a:lnTo>
                      <a:pt x="142" y="313"/>
                    </a:lnTo>
                    <a:lnTo>
                      <a:pt x="142" y="311"/>
                    </a:lnTo>
                    <a:lnTo>
                      <a:pt x="144" y="311"/>
                    </a:lnTo>
                    <a:lnTo>
                      <a:pt x="142" y="311"/>
                    </a:lnTo>
                    <a:lnTo>
                      <a:pt x="144" y="313"/>
                    </a:lnTo>
                    <a:lnTo>
                      <a:pt x="142" y="313"/>
                    </a:lnTo>
                    <a:lnTo>
                      <a:pt x="144" y="313"/>
                    </a:lnTo>
                    <a:lnTo>
                      <a:pt x="146" y="313"/>
                    </a:lnTo>
                    <a:lnTo>
                      <a:pt x="146" y="311"/>
                    </a:lnTo>
                    <a:lnTo>
                      <a:pt x="146" y="309"/>
                    </a:lnTo>
                    <a:lnTo>
                      <a:pt x="148" y="309"/>
                    </a:lnTo>
                    <a:lnTo>
                      <a:pt x="148" y="308"/>
                    </a:lnTo>
                    <a:lnTo>
                      <a:pt x="148" y="306"/>
                    </a:lnTo>
                    <a:lnTo>
                      <a:pt x="149" y="304"/>
                    </a:lnTo>
                    <a:lnTo>
                      <a:pt x="149" y="303"/>
                    </a:lnTo>
                    <a:lnTo>
                      <a:pt x="149" y="301"/>
                    </a:lnTo>
                    <a:lnTo>
                      <a:pt x="149" y="299"/>
                    </a:lnTo>
                    <a:lnTo>
                      <a:pt x="149" y="297"/>
                    </a:lnTo>
                    <a:lnTo>
                      <a:pt x="149" y="296"/>
                    </a:lnTo>
                    <a:lnTo>
                      <a:pt x="149" y="297"/>
                    </a:lnTo>
                    <a:lnTo>
                      <a:pt x="151" y="297"/>
                    </a:lnTo>
                    <a:lnTo>
                      <a:pt x="149" y="296"/>
                    </a:lnTo>
                    <a:lnTo>
                      <a:pt x="148" y="296"/>
                    </a:lnTo>
                    <a:lnTo>
                      <a:pt x="149" y="294"/>
                    </a:lnTo>
                    <a:lnTo>
                      <a:pt x="148" y="294"/>
                    </a:lnTo>
                    <a:lnTo>
                      <a:pt x="148" y="292"/>
                    </a:lnTo>
                    <a:lnTo>
                      <a:pt x="148" y="291"/>
                    </a:lnTo>
                    <a:lnTo>
                      <a:pt x="148" y="289"/>
                    </a:lnTo>
                    <a:lnTo>
                      <a:pt x="148" y="287"/>
                    </a:lnTo>
                    <a:lnTo>
                      <a:pt x="148" y="285"/>
                    </a:lnTo>
                    <a:lnTo>
                      <a:pt x="148" y="284"/>
                    </a:lnTo>
                    <a:lnTo>
                      <a:pt x="148" y="282"/>
                    </a:lnTo>
                    <a:lnTo>
                      <a:pt x="148" y="284"/>
                    </a:lnTo>
                    <a:lnTo>
                      <a:pt x="148" y="282"/>
                    </a:lnTo>
                    <a:lnTo>
                      <a:pt x="146" y="282"/>
                    </a:lnTo>
                    <a:lnTo>
                      <a:pt x="148" y="280"/>
                    </a:lnTo>
                    <a:lnTo>
                      <a:pt x="148" y="279"/>
                    </a:lnTo>
                    <a:lnTo>
                      <a:pt x="148" y="277"/>
                    </a:lnTo>
                    <a:lnTo>
                      <a:pt x="146" y="277"/>
                    </a:lnTo>
                    <a:lnTo>
                      <a:pt x="148" y="275"/>
                    </a:lnTo>
                    <a:lnTo>
                      <a:pt x="146" y="275"/>
                    </a:lnTo>
                    <a:lnTo>
                      <a:pt x="146" y="274"/>
                    </a:lnTo>
                    <a:lnTo>
                      <a:pt x="146" y="272"/>
                    </a:lnTo>
                    <a:lnTo>
                      <a:pt x="144" y="272"/>
                    </a:lnTo>
                    <a:lnTo>
                      <a:pt x="142" y="272"/>
                    </a:lnTo>
                    <a:lnTo>
                      <a:pt x="142" y="270"/>
                    </a:lnTo>
                    <a:lnTo>
                      <a:pt x="142" y="268"/>
                    </a:lnTo>
                    <a:lnTo>
                      <a:pt x="144" y="267"/>
                    </a:lnTo>
                    <a:lnTo>
                      <a:pt x="146" y="267"/>
                    </a:lnTo>
                    <a:lnTo>
                      <a:pt x="148" y="267"/>
                    </a:lnTo>
                    <a:lnTo>
                      <a:pt x="149" y="267"/>
                    </a:lnTo>
                    <a:lnTo>
                      <a:pt x="149" y="265"/>
                    </a:lnTo>
                    <a:lnTo>
                      <a:pt x="151" y="265"/>
                    </a:lnTo>
                    <a:lnTo>
                      <a:pt x="151" y="263"/>
                    </a:lnTo>
                    <a:lnTo>
                      <a:pt x="151" y="262"/>
                    </a:lnTo>
                    <a:lnTo>
                      <a:pt x="153" y="262"/>
                    </a:lnTo>
                    <a:lnTo>
                      <a:pt x="151" y="262"/>
                    </a:lnTo>
                    <a:lnTo>
                      <a:pt x="151" y="260"/>
                    </a:lnTo>
                    <a:lnTo>
                      <a:pt x="151" y="258"/>
                    </a:lnTo>
                    <a:lnTo>
                      <a:pt x="151" y="260"/>
                    </a:lnTo>
                    <a:lnTo>
                      <a:pt x="149" y="258"/>
                    </a:lnTo>
                    <a:lnTo>
                      <a:pt x="149" y="257"/>
                    </a:lnTo>
                    <a:lnTo>
                      <a:pt x="149" y="255"/>
                    </a:lnTo>
                    <a:lnTo>
                      <a:pt x="149" y="253"/>
                    </a:lnTo>
                    <a:lnTo>
                      <a:pt x="148" y="253"/>
                    </a:lnTo>
                    <a:lnTo>
                      <a:pt x="148" y="251"/>
                    </a:lnTo>
                    <a:lnTo>
                      <a:pt x="148" y="253"/>
                    </a:lnTo>
                    <a:lnTo>
                      <a:pt x="148" y="251"/>
                    </a:lnTo>
                    <a:lnTo>
                      <a:pt x="146" y="251"/>
                    </a:lnTo>
                    <a:lnTo>
                      <a:pt x="146" y="250"/>
                    </a:lnTo>
                    <a:lnTo>
                      <a:pt x="144" y="250"/>
                    </a:lnTo>
                    <a:lnTo>
                      <a:pt x="144" y="248"/>
                    </a:lnTo>
                    <a:lnTo>
                      <a:pt x="144" y="246"/>
                    </a:lnTo>
                    <a:lnTo>
                      <a:pt x="144" y="245"/>
                    </a:lnTo>
                    <a:lnTo>
                      <a:pt x="144" y="243"/>
                    </a:lnTo>
                    <a:lnTo>
                      <a:pt x="144" y="245"/>
                    </a:lnTo>
                    <a:lnTo>
                      <a:pt x="146" y="245"/>
                    </a:lnTo>
                    <a:lnTo>
                      <a:pt x="146" y="246"/>
                    </a:lnTo>
                    <a:lnTo>
                      <a:pt x="146" y="245"/>
                    </a:lnTo>
                    <a:lnTo>
                      <a:pt x="148" y="245"/>
                    </a:lnTo>
                    <a:lnTo>
                      <a:pt x="148" y="243"/>
                    </a:lnTo>
                    <a:lnTo>
                      <a:pt x="148" y="241"/>
                    </a:lnTo>
                    <a:lnTo>
                      <a:pt x="146" y="241"/>
                    </a:lnTo>
                    <a:lnTo>
                      <a:pt x="148" y="240"/>
                    </a:lnTo>
                    <a:lnTo>
                      <a:pt x="148" y="241"/>
                    </a:lnTo>
                    <a:lnTo>
                      <a:pt x="148" y="240"/>
                    </a:lnTo>
                    <a:lnTo>
                      <a:pt x="148" y="238"/>
                    </a:lnTo>
                    <a:lnTo>
                      <a:pt x="148" y="236"/>
                    </a:lnTo>
                    <a:lnTo>
                      <a:pt x="149" y="236"/>
                    </a:lnTo>
                    <a:lnTo>
                      <a:pt x="149" y="234"/>
                    </a:lnTo>
                    <a:lnTo>
                      <a:pt x="148" y="234"/>
                    </a:lnTo>
                    <a:lnTo>
                      <a:pt x="148" y="233"/>
                    </a:lnTo>
                    <a:lnTo>
                      <a:pt x="146" y="233"/>
                    </a:lnTo>
                    <a:lnTo>
                      <a:pt x="146" y="231"/>
                    </a:lnTo>
                    <a:lnTo>
                      <a:pt x="146" y="229"/>
                    </a:lnTo>
                    <a:lnTo>
                      <a:pt x="144" y="229"/>
                    </a:lnTo>
                    <a:lnTo>
                      <a:pt x="142" y="231"/>
                    </a:lnTo>
                    <a:lnTo>
                      <a:pt x="142" y="229"/>
                    </a:lnTo>
                    <a:lnTo>
                      <a:pt x="141" y="229"/>
                    </a:lnTo>
                    <a:lnTo>
                      <a:pt x="141" y="228"/>
                    </a:lnTo>
                    <a:lnTo>
                      <a:pt x="141" y="226"/>
                    </a:lnTo>
                    <a:lnTo>
                      <a:pt x="139" y="226"/>
                    </a:lnTo>
                    <a:lnTo>
                      <a:pt x="139" y="224"/>
                    </a:lnTo>
                    <a:lnTo>
                      <a:pt x="137" y="224"/>
                    </a:lnTo>
                    <a:lnTo>
                      <a:pt x="137" y="226"/>
                    </a:lnTo>
                    <a:lnTo>
                      <a:pt x="136" y="226"/>
                    </a:lnTo>
                    <a:lnTo>
                      <a:pt x="136" y="224"/>
                    </a:lnTo>
                    <a:lnTo>
                      <a:pt x="136" y="223"/>
                    </a:lnTo>
                    <a:lnTo>
                      <a:pt x="137" y="223"/>
                    </a:lnTo>
                    <a:lnTo>
                      <a:pt x="136" y="223"/>
                    </a:lnTo>
                    <a:lnTo>
                      <a:pt x="137" y="221"/>
                    </a:lnTo>
                    <a:lnTo>
                      <a:pt x="137" y="219"/>
                    </a:lnTo>
                    <a:lnTo>
                      <a:pt x="136" y="217"/>
                    </a:lnTo>
                    <a:lnTo>
                      <a:pt x="134" y="217"/>
                    </a:lnTo>
                    <a:lnTo>
                      <a:pt x="134" y="216"/>
                    </a:lnTo>
                    <a:lnTo>
                      <a:pt x="134" y="214"/>
                    </a:lnTo>
                    <a:lnTo>
                      <a:pt x="132" y="216"/>
                    </a:lnTo>
                    <a:lnTo>
                      <a:pt x="132" y="214"/>
                    </a:lnTo>
                    <a:lnTo>
                      <a:pt x="131" y="214"/>
                    </a:lnTo>
                    <a:lnTo>
                      <a:pt x="131" y="212"/>
                    </a:lnTo>
                    <a:lnTo>
                      <a:pt x="131" y="209"/>
                    </a:lnTo>
                    <a:lnTo>
                      <a:pt x="131" y="207"/>
                    </a:lnTo>
                    <a:lnTo>
                      <a:pt x="132" y="204"/>
                    </a:lnTo>
                    <a:lnTo>
                      <a:pt x="134" y="204"/>
                    </a:lnTo>
                    <a:lnTo>
                      <a:pt x="136" y="204"/>
                    </a:lnTo>
                    <a:lnTo>
                      <a:pt x="136" y="202"/>
                    </a:lnTo>
                    <a:lnTo>
                      <a:pt x="136" y="200"/>
                    </a:lnTo>
                    <a:lnTo>
                      <a:pt x="136" y="199"/>
                    </a:lnTo>
                    <a:lnTo>
                      <a:pt x="134" y="199"/>
                    </a:lnTo>
                    <a:lnTo>
                      <a:pt x="136" y="199"/>
                    </a:lnTo>
                    <a:lnTo>
                      <a:pt x="134" y="197"/>
                    </a:lnTo>
                    <a:lnTo>
                      <a:pt x="136" y="197"/>
                    </a:lnTo>
                    <a:lnTo>
                      <a:pt x="136" y="195"/>
                    </a:lnTo>
                    <a:lnTo>
                      <a:pt x="136" y="197"/>
                    </a:lnTo>
                    <a:lnTo>
                      <a:pt x="137" y="197"/>
                    </a:lnTo>
                    <a:lnTo>
                      <a:pt x="139" y="199"/>
                    </a:lnTo>
                    <a:lnTo>
                      <a:pt x="139" y="200"/>
                    </a:lnTo>
                    <a:lnTo>
                      <a:pt x="139" y="202"/>
                    </a:lnTo>
                    <a:lnTo>
                      <a:pt x="141" y="202"/>
                    </a:lnTo>
                    <a:lnTo>
                      <a:pt x="142" y="202"/>
                    </a:lnTo>
                    <a:lnTo>
                      <a:pt x="142" y="200"/>
                    </a:lnTo>
                    <a:lnTo>
                      <a:pt x="144" y="200"/>
                    </a:lnTo>
                    <a:lnTo>
                      <a:pt x="144" y="199"/>
                    </a:lnTo>
                    <a:lnTo>
                      <a:pt x="144" y="197"/>
                    </a:lnTo>
                    <a:lnTo>
                      <a:pt x="146" y="197"/>
                    </a:lnTo>
                    <a:lnTo>
                      <a:pt x="146" y="195"/>
                    </a:lnTo>
                    <a:lnTo>
                      <a:pt x="146" y="194"/>
                    </a:lnTo>
                    <a:lnTo>
                      <a:pt x="148" y="194"/>
                    </a:lnTo>
                    <a:lnTo>
                      <a:pt x="146" y="194"/>
                    </a:lnTo>
                    <a:lnTo>
                      <a:pt x="148" y="194"/>
                    </a:lnTo>
                    <a:lnTo>
                      <a:pt x="149" y="194"/>
                    </a:lnTo>
                    <a:lnTo>
                      <a:pt x="148" y="192"/>
                    </a:lnTo>
                    <a:lnTo>
                      <a:pt x="148" y="190"/>
                    </a:lnTo>
                    <a:lnTo>
                      <a:pt x="149" y="190"/>
                    </a:lnTo>
                    <a:lnTo>
                      <a:pt x="149" y="189"/>
                    </a:lnTo>
                    <a:lnTo>
                      <a:pt x="151" y="189"/>
                    </a:lnTo>
                    <a:lnTo>
                      <a:pt x="153" y="189"/>
                    </a:lnTo>
                    <a:lnTo>
                      <a:pt x="154" y="189"/>
                    </a:lnTo>
                    <a:lnTo>
                      <a:pt x="154" y="187"/>
                    </a:lnTo>
                    <a:lnTo>
                      <a:pt x="156" y="187"/>
                    </a:lnTo>
                    <a:lnTo>
                      <a:pt x="154" y="187"/>
                    </a:lnTo>
                    <a:lnTo>
                      <a:pt x="153" y="185"/>
                    </a:lnTo>
                    <a:lnTo>
                      <a:pt x="153" y="183"/>
                    </a:lnTo>
                    <a:lnTo>
                      <a:pt x="153" y="182"/>
                    </a:lnTo>
                    <a:lnTo>
                      <a:pt x="151" y="180"/>
                    </a:lnTo>
                    <a:lnTo>
                      <a:pt x="151" y="178"/>
                    </a:lnTo>
                    <a:lnTo>
                      <a:pt x="151" y="177"/>
                    </a:lnTo>
                    <a:lnTo>
                      <a:pt x="149" y="177"/>
                    </a:lnTo>
                    <a:lnTo>
                      <a:pt x="148" y="175"/>
                    </a:lnTo>
                    <a:lnTo>
                      <a:pt x="148" y="173"/>
                    </a:lnTo>
                    <a:lnTo>
                      <a:pt x="148" y="172"/>
                    </a:lnTo>
                    <a:lnTo>
                      <a:pt x="146" y="170"/>
                    </a:lnTo>
                    <a:lnTo>
                      <a:pt x="144" y="170"/>
                    </a:lnTo>
                    <a:lnTo>
                      <a:pt x="144" y="168"/>
                    </a:lnTo>
                    <a:lnTo>
                      <a:pt x="146" y="168"/>
                    </a:lnTo>
                    <a:lnTo>
                      <a:pt x="146" y="166"/>
                    </a:lnTo>
                    <a:lnTo>
                      <a:pt x="144" y="166"/>
                    </a:lnTo>
                    <a:lnTo>
                      <a:pt x="146" y="166"/>
                    </a:lnTo>
                    <a:lnTo>
                      <a:pt x="146" y="165"/>
                    </a:lnTo>
                    <a:lnTo>
                      <a:pt x="146" y="163"/>
                    </a:lnTo>
                    <a:lnTo>
                      <a:pt x="148" y="163"/>
                    </a:lnTo>
                    <a:lnTo>
                      <a:pt x="148" y="165"/>
                    </a:lnTo>
                    <a:lnTo>
                      <a:pt x="148" y="163"/>
                    </a:lnTo>
                    <a:lnTo>
                      <a:pt x="149" y="165"/>
                    </a:lnTo>
                    <a:lnTo>
                      <a:pt x="149" y="166"/>
                    </a:lnTo>
                    <a:lnTo>
                      <a:pt x="151" y="166"/>
                    </a:lnTo>
                    <a:lnTo>
                      <a:pt x="151" y="168"/>
                    </a:lnTo>
                    <a:lnTo>
                      <a:pt x="151" y="170"/>
                    </a:lnTo>
                    <a:lnTo>
                      <a:pt x="153" y="170"/>
                    </a:lnTo>
                    <a:lnTo>
                      <a:pt x="154" y="172"/>
                    </a:lnTo>
                    <a:lnTo>
                      <a:pt x="156" y="172"/>
                    </a:lnTo>
                    <a:lnTo>
                      <a:pt x="156" y="173"/>
                    </a:lnTo>
                    <a:lnTo>
                      <a:pt x="158" y="175"/>
                    </a:lnTo>
                    <a:lnTo>
                      <a:pt x="158" y="177"/>
                    </a:lnTo>
                    <a:lnTo>
                      <a:pt x="159" y="177"/>
                    </a:lnTo>
                    <a:lnTo>
                      <a:pt x="161" y="177"/>
                    </a:lnTo>
                    <a:lnTo>
                      <a:pt x="161" y="178"/>
                    </a:lnTo>
                    <a:lnTo>
                      <a:pt x="161" y="180"/>
                    </a:lnTo>
                    <a:lnTo>
                      <a:pt x="163" y="180"/>
                    </a:lnTo>
                    <a:lnTo>
                      <a:pt x="163" y="178"/>
                    </a:lnTo>
                    <a:lnTo>
                      <a:pt x="161" y="178"/>
                    </a:lnTo>
                    <a:lnTo>
                      <a:pt x="163" y="178"/>
                    </a:lnTo>
                    <a:lnTo>
                      <a:pt x="163" y="180"/>
                    </a:lnTo>
                    <a:lnTo>
                      <a:pt x="163" y="178"/>
                    </a:lnTo>
                    <a:lnTo>
                      <a:pt x="163" y="180"/>
                    </a:lnTo>
                    <a:lnTo>
                      <a:pt x="161" y="180"/>
                    </a:lnTo>
                    <a:lnTo>
                      <a:pt x="161" y="182"/>
                    </a:lnTo>
                    <a:lnTo>
                      <a:pt x="163" y="182"/>
                    </a:lnTo>
                    <a:lnTo>
                      <a:pt x="163" y="183"/>
                    </a:lnTo>
                    <a:lnTo>
                      <a:pt x="163" y="182"/>
                    </a:lnTo>
                    <a:lnTo>
                      <a:pt x="165" y="182"/>
                    </a:lnTo>
                    <a:lnTo>
                      <a:pt x="163" y="182"/>
                    </a:lnTo>
                    <a:lnTo>
                      <a:pt x="165" y="182"/>
                    </a:lnTo>
                    <a:lnTo>
                      <a:pt x="166" y="182"/>
                    </a:lnTo>
                    <a:lnTo>
                      <a:pt x="165" y="182"/>
                    </a:lnTo>
                    <a:lnTo>
                      <a:pt x="165" y="183"/>
                    </a:lnTo>
                    <a:lnTo>
                      <a:pt x="166" y="183"/>
                    </a:lnTo>
                    <a:lnTo>
                      <a:pt x="165" y="183"/>
                    </a:lnTo>
                    <a:lnTo>
                      <a:pt x="166" y="183"/>
                    </a:lnTo>
                    <a:lnTo>
                      <a:pt x="166" y="185"/>
                    </a:lnTo>
                    <a:lnTo>
                      <a:pt x="165" y="183"/>
                    </a:lnTo>
                    <a:lnTo>
                      <a:pt x="165" y="185"/>
                    </a:lnTo>
                    <a:lnTo>
                      <a:pt x="166" y="185"/>
                    </a:lnTo>
                    <a:lnTo>
                      <a:pt x="165" y="185"/>
                    </a:lnTo>
                    <a:lnTo>
                      <a:pt x="165" y="183"/>
                    </a:lnTo>
                    <a:lnTo>
                      <a:pt x="163" y="185"/>
                    </a:lnTo>
                    <a:lnTo>
                      <a:pt x="163" y="187"/>
                    </a:lnTo>
                    <a:lnTo>
                      <a:pt x="163" y="189"/>
                    </a:lnTo>
                    <a:lnTo>
                      <a:pt x="165" y="189"/>
                    </a:lnTo>
                    <a:lnTo>
                      <a:pt x="166" y="189"/>
                    </a:lnTo>
                    <a:lnTo>
                      <a:pt x="168" y="189"/>
                    </a:lnTo>
                    <a:lnTo>
                      <a:pt x="168" y="187"/>
                    </a:lnTo>
                    <a:lnTo>
                      <a:pt x="170" y="187"/>
                    </a:lnTo>
                    <a:lnTo>
                      <a:pt x="168" y="185"/>
                    </a:lnTo>
                    <a:lnTo>
                      <a:pt x="170" y="185"/>
                    </a:lnTo>
                    <a:lnTo>
                      <a:pt x="170" y="183"/>
                    </a:lnTo>
                    <a:lnTo>
                      <a:pt x="168" y="183"/>
                    </a:lnTo>
                    <a:lnTo>
                      <a:pt x="168" y="182"/>
                    </a:lnTo>
                    <a:lnTo>
                      <a:pt x="168" y="180"/>
                    </a:lnTo>
                    <a:lnTo>
                      <a:pt x="168" y="178"/>
                    </a:lnTo>
                    <a:lnTo>
                      <a:pt x="168" y="177"/>
                    </a:lnTo>
                    <a:lnTo>
                      <a:pt x="168" y="175"/>
                    </a:lnTo>
                    <a:lnTo>
                      <a:pt x="168" y="173"/>
                    </a:lnTo>
                    <a:lnTo>
                      <a:pt x="168" y="172"/>
                    </a:lnTo>
                    <a:lnTo>
                      <a:pt x="166" y="172"/>
                    </a:lnTo>
                    <a:lnTo>
                      <a:pt x="166" y="170"/>
                    </a:lnTo>
                    <a:lnTo>
                      <a:pt x="166" y="168"/>
                    </a:lnTo>
                    <a:lnTo>
                      <a:pt x="165" y="168"/>
                    </a:lnTo>
                    <a:lnTo>
                      <a:pt x="163" y="168"/>
                    </a:lnTo>
                    <a:lnTo>
                      <a:pt x="163" y="166"/>
                    </a:lnTo>
                    <a:lnTo>
                      <a:pt x="165" y="165"/>
                    </a:lnTo>
                    <a:lnTo>
                      <a:pt x="166" y="165"/>
                    </a:lnTo>
                    <a:lnTo>
                      <a:pt x="168" y="165"/>
                    </a:lnTo>
                    <a:lnTo>
                      <a:pt x="170" y="163"/>
                    </a:lnTo>
                    <a:lnTo>
                      <a:pt x="171" y="163"/>
                    </a:lnTo>
                    <a:lnTo>
                      <a:pt x="173" y="163"/>
                    </a:lnTo>
                    <a:lnTo>
                      <a:pt x="171" y="161"/>
                    </a:lnTo>
                    <a:lnTo>
                      <a:pt x="173" y="161"/>
                    </a:lnTo>
                    <a:lnTo>
                      <a:pt x="175" y="160"/>
                    </a:lnTo>
                    <a:lnTo>
                      <a:pt x="176" y="160"/>
                    </a:lnTo>
                    <a:lnTo>
                      <a:pt x="176" y="158"/>
                    </a:lnTo>
                    <a:lnTo>
                      <a:pt x="178" y="158"/>
                    </a:lnTo>
                    <a:lnTo>
                      <a:pt x="180" y="156"/>
                    </a:lnTo>
                    <a:lnTo>
                      <a:pt x="180" y="155"/>
                    </a:lnTo>
                    <a:lnTo>
                      <a:pt x="182" y="155"/>
                    </a:lnTo>
                    <a:lnTo>
                      <a:pt x="183" y="155"/>
                    </a:lnTo>
                    <a:lnTo>
                      <a:pt x="183" y="153"/>
                    </a:lnTo>
                    <a:lnTo>
                      <a:pt x="185" y="153"/>
                    </a:lnTo>
                    <a:lnTo>
                      <a:pt x="185" y="151"/>
                    </a:lnTo>
                    <a:lnTo>
                      <a:pt x="185" y="149"/>
                    </a:lnTo>
                    <a:lnTo>
                      <a:pt x="187" y="149"/>
                    </a:lnTo>
                    <a:lnTo>
                      <a:pt x="187" y="148"/>
                    </a:lnTo>
                    <a:lnTo>
                      <a:pt x="188" y="146"/>
                    </a:lnTo>
                    <a:lnTo>
                      <a:pt x="188" y="144"/>
                    </a:lnTo>
                    <a:lnTo>
                      <a:pt x="188" y="143"/>
                    </a:lnTo>
                    <a:lnTo>
                      <a:pt x="190" y="143"/>
                    </a:lnTo>
                    <a:lnTo>
                      <a:pt x="190" y="141"/>
                    </a:lnTo>
                    <a:lnTo>
                      <a:pt x="192" y="139"/>
                    </a:lnTo>
                    <a:lnTo>
                      <a:pt x="193" y="139"/>
                    </a:lnTo>
                    <a:lnTo>
                      <a:pt x="195" y="139"/>
                    </a:lnTo>
                    <a:lnTo>
                      <a:pt x="195" y="138"/>
                    </a:lnTo>
                    <a:lnTo>
                      <a:pt x="195" y="136"/>
                    </a:lnTo>
                    <a:lnTo>
                      <a:pt x="195" y="138"/>
                    </a:lnTo>
                    <a:lnTo>
                      <a:pt x="195" y="136"/>
                    </a:lnTo>
                    <a:lnTo>
                      <a:pt x="197" y="136"/>
                    </a:lnTo>
                    <a:lnTo>
                      <a:pt x="197" y="138"/>
                    </a:lnTo>
                    <a:lnTo>
                      <a:pt x="199" y="138"/>
                    </a:lnTo>
                    <a:lnTo>
                      <a:pt x="200" y="138"/>
                    </a:lnTo>
                    <a:lnTo>
                      <a:pt x="199" y="138"/>
                    </a:lnTo>
                    <a:lnTo>
                      <a:pt x="200" y="138"/>
                    </a:lnTo>
                    <a:lnTo>
                      <a:pt x="202" y="138"/>
                    </a:lnTo>
                    <a:lnTo>
                      <a:pt x="204" y="138"/>
                    </a:lnTo>
                    <a:lnTo>
                      <a:pt x="205" y="138"/>
                    </a:lnTo>
                    <a:lnTo>
                      <a:pt x="207" y="136"/>
                    </a:lnTo>
                    <a:lnTo>
                      <a:pt x="207" y="134"/>
                    </a:lnTo>
                    <a:lnTo>
                      <a:pt x="209" y="132"/>
                    </a:lnTo>
                    <a:lnTo>
                      <a:pt x="209" y="131"/>
                    </a:lnTo>
                    <a:lnTo>
                      <a:pt x="207" y="129"/>
                    </a:lnTo>
                    <a:lnTo>
                      <a:pt x="207" y="127"/>
                    </a:lnTo>
                    <a:lnTo>
                      <a:pt x="205" y="127"/>
                    </a:lnTo>
                    <a:lnTo>
                      <a:pt x="204" y="127"/>
                    </a:lnTo>
                    <a:lnTo>
                      <a:pt x="205" y="127"/>
                    </a:lnTo>
                    <a:lnTo>
                      <a:pt x="205" y="126"/>
                    </a:lnTo>
                    <a:lnTo>
                      <a:pt x="207" y="124"/>
                    </a:lnTo>
                    <a:lnTo>
                      <a:pt x="207" y="122"/>
                    </a:lnTo>
                    <a:lnTo>
                      <a:pt x="207" y="120"/>
                    </a:lnTo>
                    <a:lnTo>
                      <a:pt x="207" y="119"/>
                    </a:lnTo>
                    <a:lnTo>
                      <a:pt x="209" y="119"/>
                    </a:lnTo>
                    <a:lnTo>
                      <a:pt x="207" y="117"/>
                    </a:lnTo>
                    <a:lnTo>
                      <a:pt x="209" y="117"/>
                    </a:lnTo>
                    <a:lnTo>
                      <a:pt x="209" y="115"/>
                    </a:lnTo>
                    <a:lnTo>
                      <a:pt x="209" y="114"/>
                    </a:lnTo>
                    <a:lnTo>
                      <a:pt x="207" y="114"/>
                    </a:lnTo>
                    <a:lnTo>
                      <a:pt x="209" y="114"/>
                    </a:lnTo>
                    <a:lnTo>
                      <a:pt x="209" y="112"/>
                    </a:lnTo>
                    <a:lnTo>
                      <a:pt x="210" y="112"/>
                    </a:lnTo>
                    <a:lnTo>
                      <a:pt x="209" y="112"/>
                    </a:lnTo>
                    <a:lnTo>
                      <a:pt x="209" y="110"/>
                    </a:lnTo>
                    <a:lnTo>
                      <a:pt x="209" y="112"/>
                    </a:lnTo>
                    <a:lnTo>
                      <a:pt x="210" y="112"/>
                    </a:lnTo>
                    <a:lnTo>
                      <a:pt x="210" y="110"/>
                    </a:lnTo>
                    <a:lnTo>
                      <a:pt x="209" y="110"/>
                    </a:lnTo>
                    <a:lnTo>
                      <a:pt x="210" y="109"/>
                    </a:lnTo>
                    <a:lnTo>
                      <a:pt x="209" y="109"/>
                    </a:lnTo>
                    <a:lnTo>
                      <a:pt x="209" y="110"/>
                    </a:lnTo>
                    <a:lnTo>
                      <a:pt x="207" y="110"/>
                    </a:lnTo>
                    <a:lnTo>
                      <a:pt x="205" y="112"/>
                    </a:lnTo>
                    <a:lnTo>
                      <a:pt x="205" y="110"/>
                    </a:lnTo>
                    <a:lnTo>
                      <a:pt x="205" y="112"/>
                    </a:lnTo>
                    <a:lnTo>
                      <a:pt x="204" y="114"/>
                    </a:lnTo>
                    <a:lnTo>
                      <a:pt x="204" y="112"/>
                    </a:lnTo>
                    <a:lnTo>
                      <a:pt x="205" y="112"/>
                    </a:lnTo>
                    <a:lnTo>
                      <a:pt x="205" y="110"/>
                    </a:lnTo>
                    <a:lnTo>
                      <a:pt x="207" y="110"/>
                    </a:lnTo>
                    <a:lnTo>
                      <a:pt x="207" y="109"/>
                    </a:lnTo>
                    <a:lnTo>
                      <a:pt x="207" y="110"/>
                    </a:lnTo>
                    <a:lnTo>
                      <a:pt x="207" y="109"/>
                    </a:lnTo>
                    <a:lnTo>
                      <a:pt x="207" y="107"/>
                    </a:lnTo>
                    <a:lnTo>
                      <a:pt x="209" y="107"/>
                    </a:lnTo>
                    <a:lnTo>
                      <a:pt x="207" y="109"/>
                    </a:lnTo>
                    <a:lnTo>
                      <a:pt x="209" y="109"/>
                    </a:lnTo>
                    <a:lnTo>
                      <a:pt x="210" y="107"/>
                    </a:lnTo>
                    <a:lnTo>
                      <a:pt x="210" y="105"/>
                    </a:lnTo>
                    <a:lnTo>
                      <a:pt x="210" y="103"/>
                    </a:lnTo>
                    <a:lnTo>
                      <a:pt x="209" y="103"/>
                    </a:lnTo>
                    <a:lnTo>
                      <a:pt x="210" y="103"/>
                    </a:lnTo>
                    <a:lnTo>
                      <a:pt x="209" y="103"/>
                    </a:lnTo>
                    <a:lnTo>
                      <a:pt x="209" y="102"/>
                    </a:lnTo>
                    <a:lnTo>
                      <a:pt x="210" y="102"/>
                    </a:lnTo>
                    <a:lnTo>
                      <a:pt x="210" y="103"/>
                    </a:lnTo>
                    <a:lnTo>
                      <a:pt x="212" y="103"/>
                    </a:lnTo>
                    <a:lnTo>
                      <a:pt x="210" y="102"/>
                    </a:lnTo>
                    <a:lnTo>
                      <a:pt x="212" y="100"/>
                    </a:lnTo>
                    <a:lnTo>
                      <a:pt x="210" y="100"/>
                    </a:lnTo>
                    <a:lnTo>
                      <a:pt x="210" y="98"/>
                    </a:lnTo>
                    <a:lnTo>
                      <a:pt x="212" y="97"/>
                    </a:lnTo>
                    <a:lnTo>
                      <a:pt x="212" y="95"/>
                    </a:lnTo>
                    <a:lnTo>
                      <a:pt x="214" y="95"/>
                    </a:lnTo>
                    <a:lnTo>
                      <a:pt x="214" y="93"/>
                    </a:lnTo>
                    <a:lnTo>
                      <a:pt x="216" y="93"/>
                    </a:lnTo>
                    <a:lnTo>
                      <a:pt x="217" y="93"/>
                    </a:lnTo>
                    <a:lnTo>
                      <a:pt x="219" y="93"/>
                    </a:lnTo>
                    <a:lnTo>
                      <a:pt x="219" y="92"/>
                    </a:lnTo>
                    <a:lnTo>
                      <a:pt x="219" y="90"/>
                    </a:lnTo>
                    <a:lnTo>
                      <a:pt x="221" y="90"/>
                    </a:lnTo>
                    <a:lnTo>
                      <a:pt x="221" y="88"/>
                    </a:lnTo>
                    <a:lnTo>
                      <a:pt x="222" y="88"/>
                    </a:lnTo>
                    <a:lnTo>
                      <a:pt x="224" y="88"/>
                    </a:lnTo>
                    <a:lnTo>
                      <a:pt x="224" y="86"/>
                    </a:lnTo>
                    <a:lnTo>
                      <a:pt x="226" y="86"/>
                    </a:lnTo>
                    <a:lnTo>
                      <a:pt x="226" y="85"/>
                    </a:lnTo>
                    <a:lnTo>
                      <a:pt x="227" y="85"/>
                    </a:lnTo>
                    <a:lnTo>
                      <a:pt x="227" y="83"/>
                    </a:lnTo>
                    <a:lnTo>
                      <a:pt x="229" y="83"/>
                    </a:lnTo>
                    <a:lnTo>
                      <a:pt x="227" y="83"/>
                    </a:lnTo>
                    <a:lnTo>
                      <a:pt x="229" y="83"/>
                    </a:lnTo>
                    <a:lnTo>
                      <a:pt x="231" y="81"/>
                    </a:lnTo>
                    <a:lnTo>
                      <a:pt x="233" y="81"/>
                    </a:lnTo>
                    <a:lnTo>
                      <a:pt x="233" y="80"/>
                    </a:lnTo>
                    <a:lnTo>
                      <a:pt x="234" y="80"/>
                    </a:lnTo>
                    <a:lnTo>
                      <a:pt x="236" y="80"/>
                    </a:lnTo>
                    <a:lnTo>
                      <a:pt x="236" y="81"/>
                    </a:lnTo>
                    <a:lnTo>
                      <a:pt x="238" y="81"/>
                    </a:lnTo>
                    <a:lnTo>
                      <a:pt x="239" y="81"/>
                    </a:lnTo>
                    <a:lnTo>
                      <a:pt x="239" y="83"/>
                    </a:lnTo>
                    <a:lnTo>
                      <a:pt x="241" y="83"/>
                    </a:lnTo>
                    <a:lnTo>
                      <a:pt x="243" y="83"/>
                    </a:lnTo>
                    <a:lnTo>
                      <a:pt x="244" y="83"/>
                    </a:lnTo>
                    <a:lnTo>
                      <a:pt x="246" y="83"/>
                    </a:lnTo>
                    <a:lnTo>
                      <a:pt x="248" y="83"/>
                    </a:lnTo>
                    <a:lnTo>
                      <a:pt x="250" y="83"/>
                    </a:lnTo>
                    <a:lnTo>
                      <a:pt x="251" y="83"/>
                    </a:lnTo>
                    <a:lnTo>
                      <a:pt x="253" y="83"/>
                    </a:lnTo>
                    <a:lnTo>
                      <a:pt x="253" y="81"/>
                    </a:lnTo>
                    <a:lnTo>
                      <a:pt x="255" y="81"/>
                    </a:lnTo>
                    <a:lnTo>
                      <a:pt x="255" y="80"/>
                    </a:lnTo>
                    <a:lnTo>
                      <a:pt x="253" y="80"/>
                    </a:lnTo>
                    <a:lnTo>
                      <a:pt x="253" y="78"/>
                    </a:lnTo>
                    <a:lnTo>
                      <a:pt x="253" y="76"/>
                    </a:lnTo>
                    <a:lnTo>
                      <a:pt x="253" y="75"/>
                    </a:lnTo>
                    <a:lnTo>
                      <a:pt x="255" y="75"/>
                    </a:lnTo>
                    <a:lnTo>
                      <a:pt x="253" y="75"/>
                    </a:lnTo>
                    <a:lnTo>
                      <a:pt x="255" y="75"/>
                    </a:lnTo>
                    <a:lnTo>
                      <a:pt x="255" y="73"/>
                    </a:lnTo>
                    <a:lnTo>
                      <a:pt x="256" y="73"/>
                    </a:lnTo>
                    <a:lnTo>
                      <a:pt x="256" y="71"/>
                    </a:lnTo>
                    <a:lnTo>
                      <a:pt x="256" y="73"/>
                    </a:lnTo>
                    <a:lnTo>
                      <a:pt x="256" y="71"/>
                    </a:lnTo>
                    <a:lnTo>
                      <a:pt x="258" y="73"/>
                    </a:lnTo>
                    <a:lnTo>
                      <a:pt x="258" y="71"/>
                    </a:lnTo>
                    <a:lnTo>
                      <a:pt x="258" y="73"/>
                    </a:lnTo>
                    <a:lnTo>
                      <a:pt x="258" y="71"/>
                    </a:lnTo>
                    <a:lnTo>
                      <a:pt x="260" y="71"/>
                    </a:lnTo>
                    <a:lnTo>
                      <a:pt x="261" y="71"/>
                    </a:lnTo>
                    <a:lnTo>
                      <a:pt x="263" y="71"/>
                    </a:lnTo>
                    <a:lnTo>
                      <a:pt x="263" y="73"/>
                    </a:lnTo>
                    <a:lnTo>
                      <a:pt x="265" y="73"/>
                    </a:lnTo>
                    <a:lnTo>
                      <a:pt x="267" y="73"/>
                    </a:lnTo>
                    <a:lnTo>
                      <a:pt x="267" y="75"/>
                    </a:lnTo>
                    <a:lnTo>
                      <a:pt x="268" y="75"/>
                    </a:lnTo>
                    <a:lnTo>
                      <a:pt x="270" y="75"/>
                    </a:lnTo>
                    <a:lnTo>
                      <a:pt x="272" y="75"/>
                    </a:lnTo>
                    <a:lnTo>
                      <a:pt x="273" y="75"/>
                    </a:lnTo>
                    <a:lnTo>
                      <a:pt x="275" y="75"/>
                    </a:lnTo>
                    <a:lnTo>
                      <a:pt x="277" y="75"/>
                    </a:lnTo>
                    <a:lnTo>
                      <a:pt x="278" y="75"/>
                    </a:lnTo>
                    <a:lnTo>
                      <a:pt x="280" y="75"/>
                    </a:lnTo>
                    <a:lnTo>
                      <a:pt x="282" y="75"/>
                    </a:lnTo>
                    <a:lnTo>
                      <a:pt x="284" y="75"/>
                    </a:lnTo>
                    <a:lnTo>
                      <a:pt x="284" y="73"/>
                    </a:lnTo>
                    <a:lnTo>
                      <a:pt x="285" y="73"/>
                    </a:lnTo>
                    <a:lnTo>
                      <a:pt x="287" y="73"/>
                    </a:lnTo>
                    <a:lnTo>
                      <a:pt x="287" y="71"/>
                    </a:lnTo>
                    <a:lnTo>
                      <a:pt x="289" y="71"/>
                    </a:lnTo>
                    <a:lnTo>
                      <a:pt x="289" y="69"/>
                    </a:lnTo>
                    <a:lnTo>
                      <a:pt x="290" y="69"/>
                    </a:lnTo>
                    <a:lnTo>
                      <a:pt x="292" y="69"/>
                    </a:lnTo>
                    <a:lnTo>
                      <a:pt x="292" y="68"/>
                    </a:lnTo>
                    <a:lnTo>
                      <a:pt x="294" y="66"/>
                    </a:lnTo>
                    <a:lnTo>
                      <a:pt x="295" y="66"/>
                    </a:lnTo>
                    <a:lnTo>
                      <a:pt x="295" y="64"/>
                    </a:lnTo>
                    <a:lnTo>
                      <a:pt x="297" y="64"/>
                    </a:lnTo>
                    <a:lnTo>
                      <a:pt x="299" y="64"/>
                    </a:lnTo>
                    <a:lnTo>
                      <a:pt x="299" y="63"/>
                    </a:lnTo>
                    <a:lnTo>
                      <a:pt x="301" y="63"/>
                    </a:lnTo>
                    <a:lnTo>
                      <a:pt x="301" y="61"/>
                    </a:lnTo>
                    <a:lnTo>
                      <a:pt x="302" y="61"/>
                    </a:lnTo>
                    <a:lnTo>
                      <a:pt x="302" y="59"/>
                    </a:lnTo>
                    <a:lnTo>
                      <a:pt x="304" y="59"/>
                    </a:lnTo>
                    <a:lnTo>
                      <a:pt x="306" y="59"/>
                    </a:lnTo>
                    <a:lnTo>
                      <a:pt x="307" y="58"/>
                    </a:lnTo>
                    <a:lnTo>
                      <a:pt x="309" y="58"/>
                    </a:lnTo>
                    <a:lnTo>
                      <a:pt x="311" y="58"/>
                    </a:lnTo>
                    <a:lnTo>
                      <a:pt x="311" y="56"/>
                    </a:lnTo>
                    <a:lnTo>
                      <a:pt x="312" y="56"/>
                    </a:lnTo>
                    <a:lnTo>
                      <a:pt x="314" y="56"/>
                    </a:lnTo>
                    <a:lnTo>
                      <a:pt x="316" y="56"/>
                    </a:lnTo>
                    <a:lnTo>
                      <a:pt x="316" y="54"/>
                    </a:lnTo>
                    <a:lnTo>
                      <a:pt x="318" y="54"/>
                    </a:lnTo>
                    <a:lnTo>
                      <a:pt x="319" y="54"/>
                    </a:lnTo>
                    <a:lnTo>
                      <a:pt x="319" y="52"/>
                    </a:lnTo>
                    <a:lnTo>
                      <a:pt x="321" y="52"/>
                    </a:lnTo>
                    <a:lnTo>
                      <a:pt x="321" y="51"/>
                    </a:lnTo>
                    <a:lnTo>
                      <a:pt x="323" y="49"/>
                    </a:lnTo>
                    <a:lnTo>
                      <a:pt x="323" y="47"/>
                    </a:lnTo>
                    <a:lnTo>
                      <a:pt x="324" y="46"/>
                    </a:lnTo>
                    <a:lnTo>
                      <a:pt x="324" y="44"/>
                    </a:lnTo>
                    <a:lnTo>
                      <a:pt x="324" y="42"/>
                    </a:lnTo>
                    <a:lnTo>
                      <a:pt x="323" y="42"/>
                    </a:lnTo>
                    <a:lnTo>
                      <a:pt x="323" y="41"/>
                    </a:lnTo>
                    <a:lnTo>
                      <a:pt x="324" y="41"/>
                    </a:lnTo>
                    <a:lnTo>
                      <a:pt x="326" y="41"/>
                    </a:lnTo>
                    <a:lnTo>
                      <a:pt x="328" y="41"/>
                    </a:lnTo>
                    <a:lnTo>
                      <a:pt x="329" y="41"/>
                    </a:lnTo>
                    <a:lnTo>
                      <a:pt x="329" y="42"/>
                    </a:lnTo>
                    <a:lnTo>
                      <a:pt x="329" y="44"/>
                    </a:lnTo>
                    <a:lnTo>
                      <a:pt x="331" y="44"/>
                    </a:lnTo>
                    <a:lnTo>
                      <a:pt x="331" y="42"/>
                    </a:lnTo>
                    <a:lnTo>
                      <a:pt x="333" y="42"/>
                    </a:lnTo>
                    <a:lnTo>
                      <a:pt x="333" y="41"/>
                    </a:lnTo>
                    <a:lnTo>
                      <a:pt x="333" y="39"/>
                    </a:lnTo>
                    <a:lnTo>
                      <a:pt x="333" y="41"/>
                    </a:lnTo>
                    <a:lnTo>
                      <a:pt x="333" y="39"/>
                    </a:lnTo>
                    <a:lnTo>
                      <a:pt x="331" y="39"/>
                    </a:lnTo>
                    <a:lnTo>
                      <a:pt x="333" y="39"/>
                    </a:lnTo>
                    <a:lnTo>
                      <a:pt x="331" y="39"/>
                    </a:lnTo>
                    <a:lnTo>
                      <a:pt x="329" y="39"/>
                    </a:lnTo>
                    <a:lnTo>
                      <a:pt x="331" y="39"/>
                    </a:lnTo>
                    <a:lnTo>
                      <a:pt x="333" y="37"/>
                    </a:lnTo>
                    <a:lnTo>
                      <a:pt x="333" y="35"/>
                    </a:lnTo>
                    <a:lnTo>
                      <a:pt x="335" y="37"/>
                    </a:lnTo>
                    <a:lnTo>
                      <a:pt x="335" y="35"/>
                    </a:lnTo>
                    <a:lnTo>
                      <a:pt x="335" y="37"/>
                    </a:lnTo>
                    <a:lnTo>
                      <a:pt x="336" y="39"/>
                    </a:lnTo>
                    <a:lnTo>
                      <a:pt x="336" y="37"/>
                    </a:lnTo>
                    <a:lnTo>
                      <a:pt x="338" y="37"/>
                    </a:lnTo>
                    <a:lnTo>
                      <a:pt x="338" y="35"/>
                    </a:lnTo>
                    <a:lnTo>
                      <a:pt x="336" y="35"/>
                    </a:lnTo>
                    <a:lnTo>
                      <a:pt x="338" y="35"/>
                    </a:lnTo>
                    <a:lnTo>
                      <a:pt x="338" y="34"/>
                    </a:lnTo>
                    <a:lnTo>
                      <a:pt x="338" y="35"/>
                    </a:lnTo>
                    <a:lnTo>
                      <a:pt x="340" y="35"/>
                    </a:lnTo>
                    <a:lnTo>
                      <a:pt x="338" y="35"/>
                    </a:lnTo>
                    <a:lnTo>
                      <a:pt x="340" y="35"/>
                    </a:lnTo>
                    <a:lnTo>
                      <a:pt x="341" y="35"/>
                    </a:lnTo>
                    <a:lnTo>
                      <a:pt x="341" y="34"/>
                    </a:lnTo>
                    <a:lnTo>
                      <a:pt x="340" y="34"/>
                    </a:lnTo>
                    <a:lnTo>
                      <a:pt x="341" y="34"/>
                    </a:lnTo>
                    <a:lnTo>
                      <a:pt x="340" y="34"/>
                    </a:lnTo>
                    <a:lnTo>
                      <a:pt x="338" y="34"/>
                    </a:lnTo>
                    <a:lnTo>
                      <a:pt x="340" y="34"/>
                    </a:lnTo>
                    <a:lnTo>
                      <a:pt x="340" y="32"/>
                    </a:lnTo>
                    <a:lnTo>
                      <a:pt x="341" y="34"/>
                    </a:lnTo>
                    <a:lnTo>
                      <a:pt x="343" y="34"/>
                    </a:lnTo>
                    <a:lnTo>
                      <a:pt x="345" y="34"/>
                    </a:lnTo>
                    <a:lnTo>
                      <a:pt x="346" y="34"/>
                    </a:lnTo>
                    <a:lnTo>
                      <a:pt x="346" y="35"/>
                    </a:lnTo>
                    <a:lnTo>
                      <a:pt x="348" y="35"/>
                    </a:lnTo>
                    <a:lnTo>
                      <a:pt x="350" y="35"/>
                    </a:lnTo>
                    <a:lnTo>
                      <a:pt x="352" y="35"/>
                    </a:lnTo>
                    <a:lnTo>
                      <a:pt x="352" y="37"/>
                    </a:lnTo>
                    <a:lnTo>
                      <a:pt x="352" y="35"/>
                    </a:lnTo>
                    <a:lnTo>
                      <a:pt x="352" y="37"/>
                    </a:lnTo>
                    <a:lnTo>
                      <a:pt x="353" y="37"/>
                    </a:lnTo>
                    <a:lnTo>
                      <a:pt x="355" y="37"/>
                    </a:lnTo>
                    <a:lnTo>
                      <a:pt x="355" y="39"/>
                    </a:lnTo>
                    <a:lnTo>
                      <a:pt x="355" y="41"/>
                    </a:lnTo>
                    <a:lnTo>
                      <a:pt x="357" y="41"/>
                    </a:lnTo>
                    <a:lnTo>
                      <a:pt x="357" y="42"/>
                    </a:lnTo>
                    <a:lnTo>
                      <a:pt x="357" y="44"/>
                    </a:lnTo>
                    <a:lnTo>
                      <a:pt x="358" y="44"/>
                    </a:lnTo>
                    <a:lnTo>
                      <a:pt x="358" y="46"/>
                    </a:lnTo>
                    <a:lnTo>
                      <a:pt x="358" y="47"/>
                    </a:lnTo>
                    <a:lnTo>
                      <a:pt x="358" y="49"/>
                    </a:lnTo>
                    <a:lnTo>
                      <a:pt x="357" y="49"/>
                    </a:lnTo>
                    <a:lnTo>
                      <a:pt x="355" y="49"/>
                    </a:lnTo>
                    <a:lnTo>
                      <a:pt x="355" y="51"/>
                    </a:lnTo>
                    <a:lnTo>
                      <a:pt x="353" y="51"/>
                    </a:lnTo>
                    <a:lnTo>
                      <a:pt x="353" y="52"/>
                    </a:lnTo>
                    <a:lnTo>
                      <a:pt x="352" y="52"/>
                    </a:lnTo>
                    <a:lnTo>
                      <a:pt x="352" y="54"/>
                    </a:lnTo>
                    <a:lnTo>
                      <a:pt x="350" y="54"/>
                    </a:lnTo>
                    <a:close/>
                    <a:moveTo>
                      <a:pt x="1" y="29"/>
                    </a:moveTo>
                    <a:lnTo>
                      <a:pt x="1" y="30"/>
                    </a:lnTo>
                    <a:lnTo>
                      <a:pt x="1" y="32"/>
                    </a:lnTo>
                    <a:lnTo>
                      <a:pt x="0" y="32"/>
                    </a:lnTo>
                    <a:lnTo>
                      <a:pt x="0" y="30"/>
                    </a:lnTo>
                    <a:lnTo>
                      <a:pt x="0" y="29"/>
                    </a:lnTo>
                    <a:lnTo>
                      <a:pt x="1" y="29"/>
                    </a:lnTo>
                    <a:close/>
                    <a:moveTo>
                      <a:pt x="12" y="1"/>
                    </a:moveTo>
                    <a:lnTo>
                      <a:pt x="13" y="1"/>
                    </a:lnTo>
                    <a:lnTo>
                      <a:pt x="13" y="3"/>
                    </a:lnTo>
                    <a:lnTo>
                      <a:pt x="12" y="3"/>
                    </a:lnTo>
                    <a:lnTo>
                      <a:pt x="12" y="1"/>
                    </a:lnTo>
                    <a:close/>
                    <a:moveTo>
                      <a:pt x="207" y="105"/>
                    </a:moveTo>
                    <a:lnTo>
                      <a:pt x="209" y="105"/>
                    </a:lnTo>
                    <a:lnTo>
                      <a:pt x="209" y="107"/>
                    </a:lnTo>
                    <a:lnTo>
                      <a:pt x="207" y="107"/>
                    </a:lnTo>
                    <a:lnTo>
                      <a:pt x="207" y="105"/>
                    </a:lnTo>
                    <a:close/>
                    <a:moveTo>
                      <a:pt x="119" y="355"/>
                    </a:moveTo>
                    <a:lnTo>
                      <a:pt x="120" y="355"/>
                    </a:lnTo>
                    <a:lnTo>
                      <a:pt x="120" y="357"/>
                    </a:lnTo>
                    <a:lnTo>
                      <a:pt x="119" y="357"/>
                    </a:lnTo>
                    <a:lnTo>
                      <a:pt x="119" y="355"/>
                    </a:lnTo>
                    <a:close/>
                    <a:moveTo>
                      <a:pt x="154" y="328"/>
                    </a:moveTo>
                    <a:lnTo>
                      <a:pt x="154" y="330"/>
                    </a:lnTo>
                    <a:lnTo>
                      <a:pt x="154" y="328"/>
                    </a:lnTo>
                    <a:close/>
                    <a:moveTo>
                      <a:pt x="100" y="394"/>
                    </a:moveTo>
                    <a:lnTo>
                      <a:pt x="102" y="394"/>
                    </a:lnTo>
                    <a:lnTo>
                      <a:pt x="102" y="396"/>
                    </a:lnTo>
                    <a:lnTo>
                      <a:pt x="100" y="396"/>
                    </a:lnTo>
                    <a:lnTo>
                      <a:pt x="100" y="394"/>
                    </a:lnTo>
                    <a:close/>
                    <a:moveTo>
                      <a:pt x="158" y="325"/>
                    </a:moveTo>
                    <a:lnTo>
                      <a:pt x="158" y="326"/>
                    </a:lnTo>
                    <a:lnTo>
                      <a:pt x="158" y="325"/>
                    </a:lnTo>
                    <a:close/>
                    <a:moveTo>
                      <a:pt x="93" y="403"/>
                    </a:moveTo>
                    <a:lnTo>
                      <a:pt x="95" y="403"/>
                    </a:lnTo>
                    <a:lnTo>
                      <a:pt x="95" y="405"/>
                    </a:lnTo>
                    <a:lnTo>
                      <a:pt x="93" y="405"/>
                    </a:lnTo>
                    <a:lnTo>
                      <a:pt x="93" y="403"/>
                    </a:lnTo>
                    <a:close/>
                    <a:moveTo>
                      <a:pt x="199" y="124"/>
                    </a:moveTo>
                    <a:lnTo>
                      <a:pt x="200" y="124"/>
                    </a:lnTo>
                    <a:lnTo>
                      <a:pt x="199" y="124"/>
                    </a:lnTo>
                    <a:close/>
                    <a:moveTo>
                      <a:pt x="187" y="138"/>
                    </a:moveTo>
                    <a:lnTo>
                      <a:pt x="188" y="138"/>
                    </a:lnTo>
                    <a:lnTo>
                      <a:pt x="188" y="139"/>
                    </a:lnTo>
                    <a:lnTo>
                      <a:pt x="187" y="139"/>
                    </a:lnTo>
                    <a:lnTo>
                      <a:pt x="187" y="138"/>
                    </a:lnTo>
                    <a:close/>
                    <a:moveTo>
                      <a:pt x="156" y="325"/>
                    </a:moveTo>
                    <a:lnTo>
                      <a:pt x="156" y="326"/>
                    </a:lnTo>
                    <a:lnTo>
                      <a:pt x="156" y="325"/>
                    </a:lnTo>
                    <a:close/>
                    <a:moveTo>
                      <a:pt x="202" y="110"/>
                    </a:moveTo>
                    <a:lnTo>
                      <a:pt x="204" y="110"/>
                    </a:lnTo>
                    <a:lnTo>
                      <a:pt x="204" y="112"/>
                    </a:lnTo>
                    <a:lnTo>
                      <a:pt x="202" y="112"/>
                    </a:lnTo>
                    <a:lnTo>
                      <a:pt x="202" y="110"/>
                    </a:lnTo>
                    <a:close/>
                    <a:moveTo>
                      <a:pt x="144" y="311"/>
                    </a:moveTo>
                    <a:lnTo>
                      <a:pt x="146" y="311"/>
                    </a:lnTo>
                    <a:lnTo>
                      <a:pt x="144" y="311"/>
                    </a:lnTo>
                    <a:close/>
                    <a:moveTo>
                      <a:pt x="210" y="100"/>
                    </a:moveTo>
                    <a:lnTo>
                      <a:pt x="210" y="102"/>
                    </a:lnTo>
                    <a:lnTo>
                      <a:pt x="210" y="100"/>
                    </a:lnTo>
                    <a:close/>
                    <a:moveTo>
                      <a:pt x="98" y="396"/>
                    </a:moveTo>
                    <a:lnTo>
                      <a:pt x="100" y="396"/>
                    </a:lnTo>
                    <a:lnTo>
                      <a:pt x="98" y="396"/>
                    </a:lnTo>
                    <a:close/>
                    <a:moveTo>
                      <a:pt x="209" y="103"/>
                    </a:moveTo>
                    <a:lnTo>
                      <a:pt x="210" y="103"/>
                    </a:lnTo>
                    <a:lnTo>
                      <a:pt x="209" y="103"/>
                    </a:lnTo>
                    <a:close/>
                    <a:moveTo>
                      <a:pt x="108" y="372"/>
                    </a:moveTo>
                    <a:lnTo>
                      <a:pt x="110" y="372"/>
                    </a:lnTo>
                    <a:lnTo>
                      <a:pt x="108" y="372"/>
                    </a:lnTo>
                    <a:close/>
                    <a:moveTo>
                      <a:pt x="105" y="377"/>
                    </a:moveTo>
                    <a:lnTo>
                      <a:pt x="105" y="379"/>
                    </a:lnTo>
                    <a:lnTo>
                      <a:pt x="105" y="377"/>
                    </a:lnTo>
                    <a:close/>
                    <a:moveTo>
                      <a:pt x="12" y="0"/>
                    </a:moveTo>
                    <a:lnTo>
                      <a:pt x="13" y="0"/>
                    </a:lnTo>
                    <a:lnTo>
                      <a:pt x="13" y="1"/>
                    </a:lnTo>
                    <a:lnTo>
                      <a:pt x="12" y="1"/>
                    </a:lnTo>
                    <a:lnTo>
                      <a:pt x="12" y="0"/>
                    </a:lnTo>
                    <a:close/>
                    <a:moveTo>
                      <a:pt x="146" y="311"/>
                    </a:moveTo>
                    <a:lnTo>
                      <a:pt x="146" y="313"/>
                    </a:lnTo>
                    <a:lnTo>
                      <a:pt x="146" y="311"/>
                    </a:lnTo>
                    <a:close/>
                    <a:moveTo>
                      <a:pt x="255" y="71"/>
                    </a:moveTo>
                    <a:lnTo>
                      <a:pt x="255" y="73"/>
                    </a:lnTo>
                    <a:lnTo>
                      <a:pt x="255" y="71"/>
                    </a:lnTo>
                    <a:close/>
                    <a:moveTo>
                      <a:pt x="148" y="308"/>
                    </a:moveTo>
                    <a:lnTo>
                      <a:pt x="148" y="309"/>
                    </a:lnTo>
                    <a:lnTo>
                      <a:pt x="148" y="308"/>
                    </a:lnTo>
                    <a:close/>
                    <a:moveTo>
                      <a:pt x="142" y="316"/>
                    </a:moveTo>
                    <a:lnTo>
                      <a:pt x="144" y="316"/>
                    </a:lnTo>
                    <a:lnTo>
                      <a:pt x="142" y="316"/>
                    </a:lnTo>
                    <a:close/>
                    <a:moveTo>
                      <a:pt x="142" y="316"/>
                    </a:moveTo>
                    <a:lnTo>
                      <a:pt x="144" y="316"/>
                    </a:lnTo>
                    <a:lnTo>
                      <a:pt x="144" y="318"/>
                    </a:lnTo>
                    <a:lnTo>
                      <a:pt x="142" y="318"/>
                    </a:lnTo>
                    <a:lnTo>
                      <a:pt x="142" y="316"/>
                    </a:lnTo>
                    <a:close/>
                    <a:moveTo>
                      <a:pt x="122" y="369"/>
                    </a:moveTo>
                    <a:lnTo>
                      <a:pt x="122" y="371"/>
                    </a:lnTo>
                    <a:lnTo>
                      <a:pt x="122" y="36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1" name="Freeform 23">
                <a:extLst>
                  <a:ext uri="{FF2B5EF4-FFF2-40B4-BE49-F238E27FC236}">
                    <a16:creationId xmlns:a16="http://schemas.microsoft.com/office/drawing/2014/main" id="{4D226C7C-D3E7-A344-8A2D-820A1AD6ED04}"/>
                  </a:ext>
                </a:extLst>
              </p:cNvPr>
              <p:cNvSpPr>
                <a:spLocks noEditPoints="1"/>
              </p:cNvSpPr>
              <p:nvPr/>
            </p:nvSpPr>
            <p:spPr bwMode="auto">
              <a:xfrm>
                <a:off x="4986338" y="1849438"/>
                <a:ext cx="242887" cy="307975"/>
              </a:xfrm>
              <a:custGeom>
                <a:avLst/>
                <a:gdLst>
                  <a:gd name="T0" fmla="*/ 119 w 153"/>
                  <a:gd name="T1" fmla="*/ 14 h 194"/>
                  <a:gd name="T2" fmla="*/ 122 w 153"/>
                  <a:gd name="T3" fmla="*/ 26 h 194"/>
                  <a:gd name="T4" fmla="*/ 129 w 153"/>
                  <a:gd name="T5" fmla="*/ 34 h 194"/>
                  <a:gd name="T6" fmla="*/ 136 w 153"/>
                  <a:gd name="T7" fmla="*/ 41 h 194"/>
                  <a:gd name="T8" fmla="*/ 142 w 153"/>
                  <a:gd name="T9" fmla="*/ 50 h 194"/>
                  <a:gd name="T10" fmla="*/ 149 w 153"/>
                  <a:gd name="T11" fmla="*/ 55 h 194"/>
                  <a:gd name="T12" fmla="*/ 151 w 153"/>
                  <a:gd name="T13" fmla="*/ 58 h 194"/>
                  <a:gd name="T14" fmla="*/ 146 w 153"/>
                  <a:gd name="T15" fmla="*/ 55 h 194"/>
                  <a:gd name="T16" fmla="*/ 142 w 153"/>
                  <a:gd name="T17" fmla="*/ 58 h 194"/>
                  <a:gd name="T18" fmla="*/ 144 w 153"/>
                  <a:gd name="T19" fmla="*/ 75 h 194"/>
                  <a:gd name="T20" fmla="*/ 144 w 153"/>
                  <a:gd name="T21" fmla="*/ 80 h 194"/>
                  <a:gd name="T22" fmla="*/ 142 w 153"/>
                  <a:gd name="T23" fmla="*/ 87 h 194"/>
                  <a:gd name="T24" fmla="*/ 142 w 153"/>
                  <a:gd name="T25" fmla="*/ 94 h 194"/>
                  <a:gd name="T26" fmla="*/ 137 w 153"/>
                  <a:gd name="T27" fmla="*/ 99 h 194"/>
                  <a:gd name="T28" fmla="*/ 141 w 153"/>
                  <a:gd name="T29" fmla="*/ 106 h 194"/>
                  <a:gd name="T30" fmla="*/ 137 w 153"/>
                  <a:gd name="T31" fmla="*/ 101 h 194"/>
                  <a:gd name="T32" fmla="*/ 134 w 153"/>
                  <a:gd name="T33" fmla="*/ 96 h 194"/>
                  <a:gd name="T34" fmla="*/ 132 w 153"/>
                  <a:gd name="T35" fmla="*/ 90 h 194"/>
                  <a:gd name="T36" fmla="*/ 130 w 153"/>
                  <a:gd name="T37" fmla="*/ 89 h 194"/>
                  <a:gd name="T38" fmla="*/ 124 w 153"/>
                  <a:gd name="T39" fmla="*/ 85 h 194"/>
                  <a:gd name="T40" fmla="*/ 127 w 153"/>
                  <a:gd name="T41" fmla="*/ 90 h 194"/>
                  <a:gd name="T42" fmla="*/ 127 w 153"/>
                  <a:gd name="T43" fmla="*/ 97 h 194"/>
                  <a:gd name="T44" fmla="*/ 119 w 153"/>
                  <a:gd name="T45" fmla="*/ 96 h 194"/>
                  <a:gd name="T46" fmla="*/ 113 w 153"/>
                  <a:gd name="T47" fmla="*/ 89 h 194"/>
                  <a:gd name="T48" fmla="*/ 117 w 153"/>
                  <a:gd name="T49" fmla="*/ 84 h 194"/>
                  <a:gd name="T50" fmla="*/ 119 w 153"/>
                  <a:gd name="T51" fmla="*/ 80 h 194"/>
                  <a:gd name="T52" fmla="*/ 115 w 153"/>
                  <a:gd name="T53" fmla="*/ 73 h 194"/>
                  <a:gd name="T54" fmla="*/ 108 w 153"/>
                  <a:gd name="T55" fmla="*/ 68 h 194"/>
                  <a:gd name="T56" fmla="*/ 102 w 153"/>
                  <a:gd name="T57" fmla="*/ 63 h 194"/>
                  <a:gd name="T58" fmla="*/ 93 w 153"/>
                  <a:gd name="T59" fmla="*/ 60 h 194"/>
                  <a:gd name="T60" fmla="*/ 85 w 153"/>
                  <a:gd name="T61" fmla="*/ 56 h 194"/>
                  <a:gd name="T62" fmla="*/ 81 w 153"/>
                  <a:gd name="T63" fmla="*/ 48 h 194"/>
                  <a:gd name="T64" fmla="*/ 74 w 153"/>
                  <a:gd name="T65" fmla="*/ 43 h 194"/>
                  <a:gd name="T66" fmla="*/ 71 w 153"/>
                  <a:gd name="T67" fmla="*/ 38 h 194"/>
                  <a:gd name="T68" fmla="*/ 62 w 153"/>
                  <a:gd name="T69" fmla="*/ 33 h 194"/>
                  <a:gd name="T70" fmla="*/ 64 w 153"/>
                  <a:gd name="T71" fmla="*/ 41 h 194"/>
                  <a:gd name="T72" fmla="*/ 71 w 153"/>
                  <a:gd name="T73" fmla="*/ 43 h 194"/>
                  <a:gd name="T74" fmla="*/ 71 w 153"/>
                  <a:gd name="T75" fmla="*/ 50 h 194"/>
                  <a:gd name="T76" fmla="*/ 69 w 153"/>
                  <a:gd name="T77" fmla="*/ 53 h 194"/>
                  <a:gd name="T78" fmla="*/ 64 w 153"/>
                  <a:gd name="T79" fmla="*/ 53 h 194"/>
                  <a:gd name="T80" fmla="*/ 56 w 153"/>
                  <a:gd name="T81" fmla="*/ 46 h 194"/>
                  <a:gd name="T82" fmla="*/ 47 w 153"/>
                  <a:gd name="T83" fmla="*/ 43 h 194"/>
                  <a:gd name="T84" fmla="*/ 42 w 153"/>
                  <a:gd name="T85" fmla="*/ 36 h 194"/>
                  <a:gd name="T86" fmla="*/ 44 w 153"/>
                  <a:gd name="T87" fmla="*/ 27 h 194"/>
                  <a:gd name="T88" fmla="*/ 47 w 153"/>
                  <a:gd name="T89" fmla="*/ 22 h 194"/>
                  <a:gd name="T90" fmla="*/ 49 w 153"/>
                  <a:gd name="T91" fmla="*/ 19 h 194"/>
                  <a:gd name="T92" fmla="*/ 42 w 153"/>
                  <a:gd name="T93" fmla="*/ 12 h 194"/>
                  <a:gd name="T94" fmla="*/ 44 w 153"/>
                  <a:gd name="T95" fmla="*/ 10 h 194"/>
                  <a:gd name="T96" fmla="*/ 45 w 153"/>
                  <a:gd name="T97" fmla="*/ 7 h 194"/>
                  <a:gd name="T98" fmla="*/ 56 w 153"/>
                  <a:gd name="T99" fmla="*/ 2 h 194"/>
                  <a:gd name="T100" fmla="*/ 74 w 153"/>
                  <a:gd name="T101" fmla="*/ 9 h 194"/>
                  <a:gd name="T102" fmla="*/ 90 w 153"/>
                  <a:gd name="T103" fmla="*/ 9 h 194"/>
                  <a:gd name="T104" fmla="*/ 95 w 153"/>
                  <a:gd name="T105" fmla="*/ 10 h 194"/>
                  <a:gd name="T106" fmla="*/ 102 w 153"/>
                  <a:gd name="T107" fmla="*/ 16 h 194"/>
                  <a:gd name="T108" fmla="*/ 107 w 153"/>
                  <a:gd name="T109" fmla="*/ 17 h 194"/>
                  <a:gd name="T110" fmla="*/ 115 w 153"/>
                  <a:gd name="T111" fmla="*/ 14 h 194"/>
                  <a:gd name="T112" fmla="*/ 66 w 153"/>
                  <a:gd name="T113" fmla="*/ 39 h 194"/>
                  <a:gd name="T114" fmla="*/ 0 w 153"/>
                  <a:gd name="T115" fmla="*/ 194 h 194"/>
                  <a:gd name="T116" fmla="*/ 117 w 153"/>
                  <a:gd name="T117" fmla="*/ 75 h 194"/>
                  <a:gd name="T118" fmla="*/ 68 w 153"/>
                  <a:gd name="T119" fmla="*/ 41 h 194"/>
                  <a:gd name="T120" fmla="*/ 71 w 153"/>
                  <a:gd name="T121" fmla="*/ 43 h 194"/>
                  <a:gd name="T122" fmla="*/ 117 w 153"/>
                  <a:gd name="T123" fmla="*/ 79 h 194"/>
                  <a:gd name="T124" fmla="*/ 68 w 153"/>
                  <a:gd name="T125" fmla="*/ 41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3" h="194">
                    <a:moveTo>
                      <a:pt x="113" y="9"/>
                    </a:moveTo>
                    <a:lnTo>
                      <a:pt x="115" y="9"/>
                    </a:lnTo>
                    <a:lnTo>
                      <a:pt x="115" y="10"/>
                    </a:lnTo>
                    <a:lnTo>
                      <a:pt x="117" y="10"/>
                    </a:lnTo>
                    <a:lnTo>
                      <a:pt x="117" y="12"/>
                    </a:lnTo>
                    <a:lnTo>
                      <a:pt x="117" y="14"/>
                    </a:lnTo>
                    <a:lnTo>
                      <a:pt x="119" y="14"/>
                    </a:lnTo>
                    <a:lnTo>
                      <a:pt x="119" y="16"/>
                    </a:lnTo>
                    <a:lnTo>
                      <a:pt x="119" y="17"/>
                    </a:lnTo>
                    <a:lnTo>
                      <a:pt x="119" y="19"/>
                    </a:lnTo>
                    <a:lnTo>
                      <a:pt x="120" y="21"/>
                    </a:lnTo>
                    <a:lnTo>
                      <a:pt x="120" y="22"/>
                    </a:lnTo>
                    <a:lnTo>
                      <a:pt x="122" y="24"/>
                    </a:lnTo>
                    <a:lnTo>
                      <a:pt x="122" y="26"/>
                    </a:lnTo>
                    <a:lnTo>
                      <a:pt x="124" y="27"/>
                    </a:lnTo>
                    <a:lnTo>
                      <a:pt x="124" y="29"/>
                    </a:lnTo>
                    <a:lnTo>
                      <a:pt x="125" y="29"/>
                    </a:lnTo>
                    <a:lnTo>
                      <a:pt x="125" y="31"/>
                    </a:lnTo>
                    <a:lnTo>
                      <a:pt x="127" y="31"/>
                    </a:lnTo>
                    <a:lnTo>
                      <a:pt x="127" y="33"/>
                    </a:lnTo>
                    <a:lnTo>
                      <a:pt x="129" y="34"/>
                    </a:lnTo>
                    <a:lnTo>
                      <a:pt x="129" y="36"/>
                    </a:lnTo>
                    <a:lnTo>
                      <a:pt x="130" y="36"/>
                    </a:lnTo>
                    <a:lnTo>
                      <a:pt x="130" y="38"/>
                    </a:lnTo>
                    <a:lnTo>
                      <a:pt x="132" y="39"/>
                    </a:lnTo>
                    <a:lnTo>
                      <a:pt x="134" y="39"/>
                    </a:lnTo>
                    <a:lnTo>
                      <a:pt x="134" y="41"/>
                    </a:lnTo>
                    <a:lnTo>
                      <a:pt x="136" y="41"/>
                    </a:lnTo>
                    <a:lnTo>
                      <a:pt x="137" y="41"/>
                    </a:lnTo>
                    <a:lnTo>
                      <a:pt x="137" y="43"/>
                    </a:lnTo>
                    <a:lnTo>
                      <a:pt x="137" y="44"/>
                    </a:lnTo>
                    <a:lnTo>
                      <a:pt x="139" y="44"/>
                    </a:lnTo>
                    <a:lnTo>
                      <a:pt x="139" y="46"/>
                    </a:lnTo>
                    <a:lnTo>
                      <a:pt x="141" y="48"/>
                    </a:lnTo>
                    <a:lnTo>
                      <a:pt x="142" y="50"/>
                    </a:lnTo>
                    <a:lnTo>
                      <a:pt x="142" y="51"/>
                    </a:lnTo>
                    <a:lnTo>
                      <a:pt x="144" y="50"/>
                    </a:lnTo>
                    <a:lnTo>
                      <a:pt x="144" y="51"/>
                    </a:lnTo>
                    <a:lnTo>
                      <a:pt x="144" y="53"/>
                    </a:lnTo>
                    <a:lnTo>
                      <a:pt x="146" y="53"/>
                    </a:lnTo>
                    <a:lnTo>
                      <a:pt x="147" y="53"/>
                    </a:lnTo>
                    <a:lnTo>
                      <a:pt x="149" y="55"/>
                    </a:lnTo>
                    <a:lnTo>
                      <a:pt x="149" y="53"/>
                    </a:lnTo>
                    <a:lnTo>
                      <a:pt x="149" y="55"/>
                    </a:lnTo>
                    <a:lnTo>
                      <a:pt x="151" y="55"/>
                    </a:lnTo>
                    <a:lnTo>
                      <a:pt x="151" y="56"/>
                    </a:lnTo>
                    <a:lnTo>
                      <a:pt x="153" y="56"/>
                    </a:lnTo>
                    <a:lnTo>
                      <a:pt x="151" y="56"/>
                    </a:lnTo>
                    <a:lnTo>
                      <a:pt x="151" y="58"/>
                    </a:lnTo>
                    <a:lnTo>
                      <a:pt x="149" y="58"/>
                    </a:lnTo>
                    <a:lnTo>
                      <a:pt x="147" y="58"/>
                    </a:lnTo>
                    <a:lnTo>
                      <a:pt x="147" y="56"/>
                    </a:lnTo>
                    <a:lnTo>
                      <a:pt x="147" y="58"/>
                    </a:lnTo>
                    <a:lnTo>
                      <a:pt x="147" y="56"/>
                    </a:lnTo>
                    <a:lnTo>
                      <a:pt x="146" y="56"/>
                    </a:lnTo>
                    <a:lnTo>
                      <a:pt x="146" y="55"/>
                    </a:lnTo>
                    <a:lnTo>
                      <a:pt x="146" y="56"/>
                    </a:lnTo>
                    <a:lnTo>
                      <a:pt x="144" y="55"/>
                    </a:lnTo>
                    <a:lnTo>
                      <a:pt x="142" y="55"/>
                    </a:lnTo>
                    <a:lnTo>
                      <a:pt x="142" y="56"/>
                    </a:lnTo>
                    <a:lnTo>
                      <a:pt x="141" y="56"/>
                    </a:lnTo>
                    <a:lnTo>
                      <a:pt x="142" y="56"/>
                    </a:lnTo>
                    <a:lnTo>
                      <a:pt x="142" y="58"/>
                    </a:lnTo>
                    <a:lnTo>
                      <a:pt x="141" y="60"/>
                    </a:lnTo>
                    <a:lnTo>
                      <a:pt x="139" y="60"/>
                    </a:lnTo>
                    <a:lnTo>
                      <a:pt x="139" y="73"/>
                    </a:lnTo>
                    <a:lnTo>
                      <a:pt x="141" y="73"/>
                    </a:lnTo>
                    <a:lnTo>
                      <a:pt x="142" y="73"/>
                    </a:lnTo>
                    <a:lnTo>
                      <a:pt x="142" y="75"/>
                    </a:lnTo>
                    <a:lnTo>
                      <a:pt x="144" y="75"/>
                    </a:lnTo>
                    <a:lnTo>
                      <a:pt x="146" y="75"/>
                    </a:lnTo>
                    <a:lnTo>
                      <a:pt x="146" y="77"/>
                    </a:lnTo>
                    <a:lnTo>
                      <a:pt x="147" y="77"/>
                    </a:lnTo>
                    <a:lnTo>
                      <a:pt x="147" y="79"/>
                    </a:lnTo>
                    <a:lnTo>
                      <a:pt x="146" y="79"/>
                    </a:lnTo>
                    <a:lnTo>
                      <a:pt x="146" y="80"/>
                    </a:lnTo>
                    <a:lnTo>
                      <a:pt x="144" y="80"/>
                    </a:lnTo>
                    <a:lnTo>
                      <a:pt x="142" y="80"/>
                    </a:lnTo>
                    <a:lnTo>
                      <a:pt x="142" y="82"/>
                    </a:lnTo>
                    <a:lnTo>
                      <a:pt x="141" y="82"/>
                    </a:lnTo>
                    <a:lnTo>
                      <a:pt x="141" y="84"/>
                    </a:lnTo>
                    <a:lnTo>
                      <a:pt x="141" y="85"/>
                    </a:lnTo>
                    <a:lnTo>
                      <a:pt x="142" y="85"/>
                    </a:lnTo>
                    <a:lnTo>
                      <a:pt x="142" y="87"/>
                    </a:lnTo>
                    <a:lnTo>
                      <a:pt x="144" y="89"/>
                    </a:lnTo>
                    <a:lnTo>
                      <a:pt x="142" y="90"/>
                    </a:lnTo>
                    <a:lnTo>
                      <a:pt x="144" y="90"/>
                    </a:lnTo>
                    <a:lnTo>
                      <a:pt x="142" y="90"/>
                    </a:lnTo>
                    <a:lnTo>
                      <a:pt x="142" y="92"/>
                    </a:lnTo>
                    <a:lnTo>
                      <a:pt x="144" y="92"/>
                    </a:lnTo>
                    <a:lnTo>
                      <a:pt x="142" y="94"/>
                    </a:lnTo>
                    <a:lnTo>
                      <a:pt x="142" y="96"/>
                    </a:lnTo>
                    <a:lnTo>
                      <a:pt x="141" y="96"/>
                    </a:lnTo>
                    <a:lnTo>
                      <a:pt x="139" y="96"/>
                    </a:lnTo>
                    <a:lnTo>
                      <a:pt x="139" y="97"/>
                    </a:lnTo>
                    <a:lnTo>
                      <a:pt x="137" y="97"/>
                    </a:lnTo>
                    <a:lnTo>
                      <a:pt x="136" y="99"/>
                    </a:lnTo>
                    <a:lnTo>
                      <a:pt x="137" y="99"/>
                    </a:lnTo>
                    <a:lnTo>
                      <a:pt x="137" y="101"/>
                    </a:lnTo>
                    <a:lnTo>
                      <a:pt x="139" y="101"/>
                    </a:lnTo>
                    <a:lnTo>
                      <a:pt x="141" y="102"/>
                    </a:lnTo>
                    <a:lnTo>
                      <a:pt x="139" y="102"/>
                    </a:lnTo>
                    <a:lnTo>
                      <a:pt x="141" y="102"/>
                    </a:lnTo>
                    <a:lnTo>
                      <a:pt x="141" y="104"/>
                    </a:lnTo>
                    <a:lnTo>
                      <a:pt x="141" y="106"/>
                    </a:lnTo>
                    <a:lnTo>
                      <a:pt x="141" y="107"/>
                    </a:lnTo>
                    <a:lnTo>
                      <a:pt x="141" y="109"/>
                    </a:lnTo>
                    <a:lnTo>
                      <a:pt x="141" y="107"/>
                    </a:lnTo>
                    <a:lnTo>
                      <a:pt x="141" y="106"/>
                    </a:lnTo>
                    <a:lnTo>
                      <a:pt x="141" y="104"/>
                    </a:lnTo>
                    <a:lnTo>
                      <a:pt x="139" y="102"/>
                    </a:lnTo>
                    <a:lnTo>
                      <a:pt x="137" y="101"/>
                    </a:lnTo>
                    <a:lnTo>
                      <a:pt x="136" y="101"/>
                    </a:lnTo>
                    <a:lnTo>
                      <a:pt x="136" y="99"/>
                    </a:lnTo>
                    <a:lnTo>
                      <a:pt x="134" y="99"/>
                    </a:lnTo>
                    <a:lnTo>
                      <a:pt x="134" y="97"/>
                    </a:lnTo>
                    <a:lnTo>
                      <a:pt x="132" y="97"/>
                    </a:lnTo>
                    <a:lnTo>
                      <a:pt x="132" y="96"/>
                    </a:lnTo>
                    <a:lnTo>
                      <a:pt x="134" y="96"/>
                    </a:lnTo>
                    <a:lnTo>
                      <a:pt x="134" y="94"/>
                    </a:lnTo>
                    <a:lnTo>
                      <a:pt x="134" y="92"/>
                    </a:lnTo>
                    <a:lnTo>
                      <a:pt x="132" y="92"/>
                    </a:lnTo>
                    <a:lnTo>
                      <a:pt x="132" y="90"/>
                    </a:lnTo>
                    <a:lnTo>
                      <a:pt x="134" y="92"/>
                    </a:lnTo>
                    <a:lnTo>
                      <a:pt x="134" y="90"/>
                    </a:lnTo>
                    <a:lnTo>
                      <a:pt x="132" y="90"/>
                    </a:lnTo>
                    <a:lnTo>
                      <a:pt x="132" y="89"/>
                    </a:lnTo>
                    <a:lnTo>
                      <a:pt x="132" y="90"/>
                    </a:lnTo>
                    <a:lnTo>
                      <a:pt x="134" y="89"/>
                    </a:lnTo>
                    <a:lnTo>
                      <a:pt x="132" y="89"/>
                    </a:lnTo>
                    <a:lnTo>
                      <a:pt x="132" y="87"/>
                    </a:lnTo>
                    <a:lnTo>
                      <a:pt x="132" y="89"/>
                    </a:lnTo>
                    <a:lnTo>
                      <a:pt x="130" y="89"/>
                    </a:lnTo>
                    <a:lnTo>
                      <a:pt x="129" y="89"/>
                    </a:lnTo>
                    <a:lnTo>
                      <a:pt x="129" y="87"/>
                    </a:lnTo>
                    <a:lnTo>
                      <a:pt x="127" y="87"/>
                    </a:lnTo>
                    <a:lnTo>
                      <a:pt x="127" y="85"/>
                    </a:lnTo>
                    <a:lnTo>
                      <a:pt x="125" y="85"/>
                    </a:lnTo>
                    <a:lnTo>
                      <a:pt x="125" y="84"/>
                    </a:lnTo>
                    <a:lnTo>
                      <a:pt x="124" y="85"/>
                    </a:lnTo>
                    <a:lnTo>
                      <a:pt x="122" y="85"/>
                    </a:lnTo>
                    <a:lnTo>
                      <a:pt x="122" y="87"/>
                    </a:lnTo>
                    <a:lnTo>
                      <a:pt x="124" y="87"/>
                    </a:lnTo>
                    <a:lnTo>
                      <a:pt x="124" y="89"/>
                    </a:lnTo>
                    <a:lnTo>
                      <a:pt x="124" y="90"/>
                    </a:lnTo>
                    <a:lnTo>
                      <a:pt x="125" y="90"/>
                    </a:lnTo>
                    <a:lnTo>
                      <a:pt x="127" y="90"/>
                    </a:lnTo>
                    <a:lnTo>
                      <a:pt x="127" y="92"/>
                    </a:lnTo>
                    <a:lnTo>
                      <a:pt x="129" y="92"/>
                    </a:lnTo>
                    <a:lnTo>
                      <a:pt x="127" y="92"/>
                    </a:lnTo>
                    <a:lnTo>
                      <a:pt x="129" y="94"/>
                    </a:lnTo>
                    <a:lnTo>
                      <a:pt x="129" y="96"/>
                    </a:lnTo>
                    <a:lnTo>
                      <a:pt x="129" y="97"/>
                    </a:lnTo>
                    <a:lnTo>
                      <a:pt x="127" y="97"/>
                    </a:lnTo>
                    <a:lnTo>
                      <a:pt x="127" y="96"/>
                    </a:lnTo>
                    <a:lnTo>
                      <a:pt x="125" y="96"/>
                    </a:lnTo>
                    <a:lnTo>
                      <a:pt x="124" y="96"/>
                    </a:lnTo>
                    <a:lnTo>
                      <a:pt x="122" y="96"/>
                    </a:lnTo>
                    <a:lnTo>
                      <a:pt x="122" y="94"/>
                    </a:lnTo>
                    <a:lnTo>
                      <a:pt x="120" y="94"/>
                    </a:lnTo>
                    <a:lnTo>
                      <a:pt x="119" y="96"/>
                    </a:lnTo>
                    <a:lnTo>
                      <a:pt x="119" y="94"/>
                    </a:lnTo>
                    <a:lnTo>
                      <a:pt x="117" y="94"/>
                    </a:lnTo>
                    <a:lnTo>
                      <a:pt x="117" y="92"/>
                    </a:lnTo>
                    <a:lnTo>
                      <a:pt x="115" y="92"/>
                    </a:lnTo>
                    <a:lnTo>
                      <a:pt x="115" y="90"/>
                    </a:lnTo>
                    <a:lnTo>
                      <a:pt x="113" y="90"/>
                    </a:lnTo>
                    <a:lnTo>
                      <a:pt x="113" y="89"/>
                    </a:lnTo>
                    <a:lnTo>
                      <a:pt x="113" y="87"/>
                    </a:lnTo>
                    <a:lnTo>
                      <a:pt x="113" y="85"/>
                    </a:lnTo>
                    <a:lnTo>
                      <a:pt x="115" y="85"/>
                    </a:lnTo>
                    <a:lnTo>
                      <a:pt x="115" y="87"/>
                    </a:lnTo>
                    <a:lnTo>
                      <a:pt x="115" y="85"/>
                    </a:lnTo>
                    <a:lnTo>
                      <a:pt x="115" y="84"/>
                    </a:lnTo>
                    <a:lnTo>
                      <a:pt x="117" y="84"/>
                    </a:lnTo>
                    <a:lnTo>
                      <a:pt x="117" y="82"/>
                    </a:lnTo>
                    <a:lnTo>
                      <a:pt x="119" y="82"/>
                    </a:lnTo>
                    <a:lnTo>
                      <a:pt x="117" y="82"/>
                    </a:lnTo>
                    <a:lnTo>
                      <a:pt x="117" y="84"/>
                    </a:lnTo>
                    <a:lnTo>
                      <a:pt x="115" y="82"/>
                    </a:lnTo>
                    <a:lnTo>
                      <a:pt x="117" y="82"/>
                    </a:lnTo>
                    <a:lnTo>
                      <a:pt x="119" y="80"/>
                    </a:lnTo>
                    <a:lnTo>
                      <a:pt x="117" y="80"/>
                    </a:lnTo>
                    <a:lnTo>
                      <a:pt x="119" y="79"/>
                    </a:lnTo>
                    <a:lnTo>
                      <a:pt x="117" y="79"/>
                    </a:lnTo>
                    <a:lnTo>
                      <a:pt x="117" y="77"/>
                    </a:lnTo>
                    <a:lnTo>
                      <a:pt x="117" y="75"/>
                    </a:lnTo>
                    <a:lnTo>
                      <a:pt x="117" y="73"/>
                    </a:lnTo>
                    <a:lnTo>
                      <a:pt x="115" y="73"/>
                    </a:lnTo>
                    <a:lnTo>
                      <a:pt x="115" y="72"/>
                    </a:lnTo>
                    <a:lnTo>
                      <a:pt x="113" y="72"/>
                    </a:lnTo>
                    <a:lnTo>
                      <a:pt x="113" y="70"/>
                    </a:lnTo>
                    <a:lnTo>
                      <a:pt x="112" y="70"/>
                    </a:lnTo>
                    <a:lnTo>
                      <a:pt x="112" y="68"/>
                    </a:lnTo>
                    <a:lnTo>
                      <a:pt x="110" y="68"/>
                    </a:lnTo>
                    <a:lnTo>
                      <a:pt x="108" y="68"/>
                    </a:lnTo>
                    <a:lnTo>
                      <a:pt x="108" y="67"/>
                    </a:lnTo>
                    <a:lnTo>
                      <a:pt x="107" y="67"/>
                    </a:lnTo>
                    <a:lnTo>
                      <a:pt x="107" y="65"/>
                    </a:lnTo>
                    <a:lnTo>
                      <a:pt x="105" y="65"/>
                    </a:lnTo>
                    <a:lnTo>
                      <a:pt x="103" y="65"/>
                    </a:lnTo>
                    <a:lnTo>
                      <a:pt x="103" y="63"/>
                    </a:lnTo>
                    <a:lnTo>
                      <a:pt x="102" y="63"/>
                    </a:lnTo>
                    <a:lnTo>
                      <a:pt x="100" y="63"/>
                    </a:lnTo>
                    <a:lnTo>
                      <a:pt x="98" y="63"/>
                    </a:lnTo>
                    <a:lnTo>
                      <a:pt x="98" y="62"/>
                    </a:lnTo>
                    <a:lnTo>
                      <a:pt x="98" y="60"/>
                    </a:lnTo>
                    <a:lnTo>
                      <a:pt x="96" y="60"/>
                    </a:lnTo>
                    <a:lnTo>
                      <a:pt x="95" y="60"/>
                    </a:lnTo>
                    <a:lnTo>
                      <a:pt x="93" y="60"/>
                    </a:lnTo>
                    <a:lnTo>
                      <a:pt x="93" y="58"/>
                    </a:lnTo>
                    <a:lnTo>
                      <a:pt x="91" y="58"/>
                    </a:lnTo>
                    <a:lnTo>
                      <a:pt x="90" y="58"/>
                    </a:lnTo>
                    <a:lnTo>
                      <a:pt x="88" y="58"/>
                    </a:lnTo>
                    <a:lnTo>
                      <a:pt x="86" y="58"/>
                    </a:lnTo>
                    <a:lnTo>
                      <a:pt x="85" y="58"/>
                    </a:lnTo>
                    <a:lnTo>
                      <a:pt x="85" y="56"/>
                    </a:lnTo>
                    <a:lnTo>
                      <a:pt x="83" y="56"/>
                    </a:lnTo>
                    <a:lnTo>
                      <a:pt x="83" y="55"/>
                    </a:lnTo>
                    <a:lnTo>
                      <a:pt x="81" y="55"/>
                    </a:lnTo>
                    <a:lnTo>
                      <a:pt x="81" y="53"/>
                    </a:lnTo>
                    <a:lnTo>
                      <a:pt x="81" y="51"/>
                    </a:lnTo>
                    <a:lnTo>
                      <a:pt x="83" y="50"/>
                    </a:lnTo>
                    <a:lnTo>
                      <a:pt x="81" y="48"/>
                    </a:lnTo>
                    <a:lnTo>
                      <a:pt x="81" y="46"/>
                    </a:lnTo>
                    <a:lnTo>
                      <a:pt x="79" y="46"/>
                    </a:lnTo>
                    <a:lnTo>
                      <a:pt x="79" y="44"/>
                    </a:lnTo>
                    <a:lnTo>
                      <a:pt x="79" y="43"/>
                    </a:lnTo>
                    <a:lnTo>
                      <a:pt x="78" y="43"/>
                    </a:lnTo>
                    <a:lnTo>
                      <a:pt x="76" y="43"/>
                    </a:lnTo>
                    <a:lnTo>
                      <a:pt x="74" y="43"/>
                    </a:lnTo>
                    <a:lnTo>
                      <a:pt x="76" y="43"/>
                    </a:lnTo>
                    <a:lnTo>
                      <a:pt x="76" y="41"/>
                    </a:lnTo>
                    <a:lnTo>
                      <a:pt x="74" y="41"/>
                    </a:lnTo>
                    <a:lnTo>
                      <a:pt x="73" y="41"/>
                    </a:lnTo>
                    <a:lnTo>
                      <a:pt x="73" y="39"/>
                    </a:lnTo>
                    <a:lnTo>
                      <a:pt x="71" y="39"/>
                    </a:lnTo>
                    <a:lnTo>
                      <a:pt x="71" y="38"/>
                    </a:lnTo>
                    <a:lnTo>
                      <a:pt x="69" y="38"/>
                    </a:lnTo>
                    <a:lnTo>
                      <a:pt x="69" y="36"/>
                    </a:lnTo>
                    <a:lnTo>
                      <a:pt x="68" y="36"/>
                    </a:lnTo>
                    <a:lnTo>
                      <a:pt x="66" y="36"/>
                    </a:lnTo>
                    <a:lnTo>
                      <a:pt x="64" y="36"/>
                    </a:lnTo>
                    <a:lnTo>
                      <a:pt x="62" y="34"/>
                    </a:lnTo>
                    <a:lnTo>
                      <a:pt x="62" y="33"/>
                    </a:lnTo>
                    <a:lnTo>
                      <a:pt x="61" y="33"/>
                    </a:lnTo>
                    <a:lnTo>
                      <a:pt x="62" y="33"/>
                    </a:lnTo>
                    <a:lnTo>
                      <a:pt x="62" y="34"/>
                    </a:lnTo>
                    <a:lnTo>
                      <a:pt x="62" y="36"/>
                    </a:lnTo>
                    <a:lnTo>
                      <a:pt x="62" y="38"/>
                    </a:lnTo>
                    <a:lnTo>
                      <a:pt x="64" y="39"/>
                    </a:lnTo>
                    <a:lnTo>
                      <a:pt x="64" y="41"/>
                    </a:lnTo>
                    <a:lnTo>
                      <a:pt x="64" y="39"/>
                    </a:lnTo>
                    <a:lnTo>
                      <a:pt x="64" y="41"/>
                    </a:lnTo>
                    <a:lnTo>
                      <a:pt x="66" y="41"/>
                    </a:lnTo>
                    <a:lnTo>
                      <a:pt x="66" y="43"/>
                    </a:lnTo>
                    <a:lnTo>
                      <a:pt x="68" y="43"/>
                    </a:lnTo>
                    <a:lnTo>
                      <a:pt x="69" y="43"/>
                    </a:lnTo>
                    <a:lnTo>
                      <a:pt x="71" y="43"/>
                    </a:lnTo>
                    <a:lnTo>
                      <a:pt x="73" y="44"/>
                    </a:lnTo>
                    <a:lnTo>
                      <a:pt x="73" y="46"/>
                    </a:lnTo>
                    <a:lnTo>
                      <a:pt x="73" y="48"/>
                    </a:lnTo>
                    <a:lnTo>
                      <a:pt x="74" y="48"/>
                    </a:lnTo>
                    <a:lnTo>
                      <a:pt x="73" y="48"/>
                    </a:lnTo>
                    <a:lnTo>
                      <a:pt x="73" y="50"/>
                    </a:lnTo>
                    <a:lnTo>
                      <a:pt x="71" y="50"/>
                    </a:lnTo>
                    <a:lnTo>
                      <a:pt x="71" y="51"/>
                    </a:lnTo>
                    <a:lnTo>
                      <a:pt x="71" y="50"/>
                    </a:lnTo>
                    <a:lnTo>
                      <a:pt x="69" y="50"/>
                    </a:lnTo>
                    <a:lnTo>
                      <a:pt x="69" y="51"/>
                    </a:lnTo>
                    <a:lnTo>
                      <a:pt x="71" y="51"/>
                    </a:lnTo>
                    <a:lnTo>
                      <a:pt x="69" y="51"/>
                    </a:lnTo>
                    <a:lnTo>
                      <a:pt x="69" y="53"/>
                    </a:lnTo>
                    <a:lnTo>
                      <a:pt x="68" y="53"/>
                    </a:lnTo>
                    <a:lnTo>
                      <a:pt x="68" y="55"/>
                    </a:lnTo>
                    <a:lnTo>
                      <a:pt x="68" y="56"/>
                    </a:lnTo>
                    <a:lnTo>
                      <a:pt x="66" y="56"/>
                    </a:lnTo>
                    <a:lnTo>
                      <a:pt x="66" y="55"/>
                    </a:lnTo>
                    <a:lnTo>
                      <a:pt x="64" y="55"/>
                    </a:lnTo>
                    <a:lnTo>
                      <a:pt x="64" y="53"/>
                    </a:lnTo>
                    <a:lnTo>
                      <a:pt x="62" y="51"/>
                    </a:lnTo>
                    <a:lnTo>
                      <a:pt x="62" y="50"/>
                    </a:lnTo>
                    <a:lnTo>
                      <a:pt x="61" y="50"/>
                    </a:lnTo>
                    <a:lnTo>
                      <a:pt x="61" y="48"/>
                    </a:lnTo>
                    <a:lnTo>
                      <a:pt x="59" y="48"/>
                    </a:lnTo>
                    <a:lnTo>
                      <a:pt x="57" y="46"/>
                    </a:lnTo>
                    <a:lnTo>
                      <a:pt x="56" y="46"/>
                    </a:lnTo>
                    <a:lnTo>
                      <a:pt x="54" y="46"/>
                    </a:lnTo>
                    <a:lnTo>
                      <a:pt x="52" y="46"/>
                    </a:lnTo>
                    <a:lnTo>
                      <a:pt x="51" y="46"/>
                    </a:lnTo>
                    <a:lnTo>
                      <a:pt x="51" y="44"/>
                    </a:lnTo>
                    <a:lnTo>
                      <a:pt x="49" y="44"/>
                    </a:lnTo>
                    <a:lnTo>
                      <a:pt x="47" y="44"/>
                    </a:lnTo>
                    <a:lnTo>
                      <a:pt x="47" y="43"/>
                    </a:lnTo>
                    <a:lnTo>
                      <a:pt x="47" y="41"/>
                    </a:lnTo>
                    <a:lnTo>
                      <a:pt x="45" y="41"/>
                    </a:lnTo>
                    <a:lnTo>
                      <a:pt x="45" y="39"/>
                    </a:lnTo>
                    <a:lnTo>
                      <a:pt x="44" y="39"/>
                    </a:lnTo>
                    <a:lnTo>
                      <a:pt x="44" y="38"/>
                    </a:lnTo>
                    <a:lnTo>
                      <a:pt x="44" y="36"/>
                    </a:lnTo>
                    <a:lnTo>
                      <a:pt x="42" y="36"/>
                    </a:lnTo>
                    <a:lnTo>
                      <a:pt x="42" y="34"/>
                    </a:lnTo>
                    <a:lnTo>
                      <a:pt x="42" y="33"/>
                    </a:lnTo>
                    <a:lnTo>
                      <a:pt x="42" y="31"/>
                    </a:lnTo>
                    <a:lnTo>
                      <a:pt x="40" y="29"/>
                    </a:lnTo>
                    <a:lnTo>
                      <a:pt x="42" y="29"/>
                    </a:lnTo>
                    <a:lnTo>
                      <a:pt x="42" y="27"/>
                    </a:lnTo>
                    <a:lnTo>
                      <a:pt x="44" y="27"/>
                    </a:lnTo>
                    <a:lnTo>
                      <a:pt x="44" y="26"/>
                    </a:lnTo>
                    <a:lnTo>
                      <a:pt x="44" y="24"/>
                    </a:lnTo>
                    <a:lnTo>
                      <a:pt x="42" y="24"/>
                    </a:lnTo>
                    <a:lnTo>
                      <a:pt x="44" y="24"/>
                    </a:lnTo>
                    <a:lnTo>
                      <a:pt x="44" y="22"/>
                    </a:lnTo>
                    <a:lnTo>
                      <a:pt x="45" y="22"/>
                    </a:lnTo>
                    <a:lnTo>
                      <a:pt x="47" y="22"/>
                    </a:lnTo>
                    <a:lnTo>
                      <a:pt x="47" y="21"/>
                    </a:lnTo>
                    <a:lnTo>
                      <a:pt x="49" y="21"/>
                    </a:lnTo>
                    <a:lnTo>
                      <a:pt x="49" y="19"/>
                    </a:lnTo>
                    <a:lnTo>
                      <a:pt x="47" y="19"/>
                    </a:lnTo>
                    <a:lnTo>
                      <a:pt x="47" y="21"/>
                    </a:lnTo>
                    <a:lnTo>
                      <a:pt x="47" y="19"/>
                    </a:lnTo>
                    <a:lnTo>
                      <a:pt x="49" y="19"/>
                    </a:lnTo>
                    <a:lnTo>
                      <a:pt x="47" y="17"/>
                    </a:lnTo>
                    <a:lnTo>
                      <a:pt x="47" y="16"/>
                    </a:lnTo>
                    <a:lnTo>
                      <a:pt x="47" y="14"/>
                    </a:lnTo>
                    <a:lnTo>
                      <a:pt x="45" y="14"/>
                    </a:lnTo>
                    <a:lnTo>
                      <a:pt x="44" y="14"/>
                    </a:lnTo>
                    <a:lnTo>
                      <a:pt x="44" y="12"/>
                    </a:lnTo>
                    <a:lnTo>
                      <a:pt x="42" y="12"/>
                    </a:lnTo>
                    <a:lnTo>
                      <a:pt x="40" y="10"/>
                    </a:lnTo>
                    <a:lnTo>
                      <a:pt x="39" y="10"/>
                    </a:lnTo>
                    <a:lnTo>
                      <a:pt x="40" y="10"/>
                    </a:lnTo>
                    <a:lnTo>
                      <a:pt x="40" y="9"/>
                    </a:lnTo>
                    <a:lnTo>
                      <a:pt x="42" y="9"/>
                    </a:lnTo>
                    <a:lnTo>
                      <a:pt x="42" y="10"/>
                    </a:lnTo>
                    <a:lnTo>
                      <a:pt x="44" y="10"/>
                    </a:lnTo>
                    <a:lnTo>
                      <a:pt x="44" y="9"/>
                    </a:lnTo>
                    <a:lnTo>
                      <a:pt x="45" y="9"/>
                    </a:lnTo>
                    <a:lnTo>
                      <a:pt x="47" y="9"/>
                    </a:lnTo>
                    <a:lnTo>
                      <a:pt x="45" y="9"/>
                    </a:lnTo>
                    <a:lnTo>
                      <a:pt x="47" y="9"/>
                    </a:lnTo>
                    <a:lnTo>
                      <a:pt x="47" y="7"/>
                    </a:lnTo>
                    <a:lnTo>
                      <a:pt x="45" y="7"/>
                    </a:lnTo>
                    <a:lnTo>
                      <a:pt x="45" y="5"/>
                    </a:lnTo>
                    <a:lnTo>
                      <a:pt x="47" y="5"/>
                    </a:lnTo>
                    <a:lnTo>
                      <a:pt x="47" y="4"/>
                    </a:lnTo>
                    <a:lnTo>
                      <a:pt x="49" y="0"/>
                    </a:lnTo>
                    <a:lnTo>
                      <a:pt x="51" y="0"/>
                    </a:lnTo>
                    <a:lnTo>
                      <a:pt x="52" y="2"/>
                    </a:lnTo>
                    <a:lnTo>
                      <a:pt x="56" y="2"/>
                    </a:lnTo>
                    <a:lnTo>
                      <a:pt x="57" y="2"/>
                    </a:lnTo>
                    <a:lnTo>
                      <a:pt x="62" y="5"/>
                    </a:lnTo>
                    <a:lnTo>
                      <a:pt x="64" y="5"/>
                    </a:lnTo>
                    <a:lnTo>
                      <a:pt x="66" y="5"/>
                    </a:lnTo>
                    <a:lnTo>
                      <a:pt x="71" y="9"/>
                    </a:lnTo>
                    <a:lnTo>
                      <a:pt x="73" y="9"/>
                    </a:lnTo>
                    <a:lnTo>
                      <a:pt x="74" y="9"/>
                    </a:lnTo>
                    <a:lnTo>
                      <a:pt x="79" y="5"/>
                    </a:lnTo>
                    <a:lnTo>
                      <a:pt x="81" y="4"/>
                    </a:lnTo>
                    <a:lnTo>
                      <a:pt x="83" y="5"/>
                    </a:lnTo>
                    <a:lnTo>
                      <a:pt x="85" y="5"/>
                    </a:lnTo>
                    <a:lnTo>
                      <a:pt x="88" y="7"/>
                    </a:lnTo>
                    <a:lnTo>
                      <a:pt x="88" y="9"/>
                    </a:lnTo>
                    <a:lnTo>
                      <a:pt x="90" y="9"/>
                    </a:lnTo>
                    <a:lnTo>
                      <a:pt x="90" y="7"/>
                    </a:lnTo>
                    <a:lnTo>
                      <a:pt x="91" y="7"/>
                    </a:lnTo>
                    <a:lnTo>
                      <a:pt x="93" y="7"/>
                    </a:lnTo>
                    <a:lnTo>
                      <a:pt x="91" y="9"/>
                    </a:lnTo>
                    <a:lnTo>
                      <a:pt x="93" y="9"/>
                    </a:lnTo>
                    <a:lnTo>
                      <a:pt x="93" y="10"/>
                    </a:lnTo>
                    <a:lnTo>
                      <a:pt x="95" y="10"/>
                    </a:lnTo>
                    <a:lnTo>
                      <a:pt x="96" y="10"/>
                    </a:lnTo>
                    <a:lnTo>
                      <a:pt x="96" y="12"/>
                    </a:lnTo>
                    <a:lnTo>
                      <a:pt x="96" y="14"/>
                    </a:lnTo>
                    <a:lnTo>
                      <a:pt x="98" y="14"/>
                    </a:lnTo>
                    <a:lnTo>
                      <a:pt x="100" y="14"/>
                    </a:lnTo>
                    <a:lnTo>
                      <a:pt x="100" y="16"/>
                    </a:lnTo>
                    <a:lnTo>
                      <a:pt x="102" y="16"/>
                    </a:lnTo>
                    <a:lnTo>
                      <a:pt x="102" y="14"/>
                    </a:lnTo>
                    <a:lnTo>
                      <a:pt x="103" y="16"/>
                    </a:lnTo>
                    <a:lnTo>
                      <a:pt x="103" y="14"/>
                    </a:lnTo>
                    <a:lnTo>
                      <a:pt x="103" y="16"/>
                    </a:lnTo>
                    <a:lnTo>
                      <a:pt x="105" y="16"/>
                    </a:lnTo>
                    <a:lnTo>
                      <a:pt x="105" y="17"/>
                    </a:lnTo>
                    <a:lnTo>
                      <a:pt x="107" y="17"/>
                    </a:lnTo>
                    <a:lnTo>
                      <a:pt x="108" y="17"/>
                    </a:lnTo>
                    <a:lnTo>
                      <a:pt x="108" y="16"/>
                    </a:lnTo>
                    <a:lnTo>
                      <a:pt x="110" y="16"/>
                    </a:lnTo>
                    <a:lnTo>
                      <a:pt x="112" y="16"/>
                    </a:lnTo>
                    <a:lnTo>
                      <a:pt x="112" y="14"/>
                    </a:lnTo>
                    <a:lnTo>
                      <a:pt x="113" y="14"/>
                    </a:lnTo>
                    <a:lnTo>
                      <a:pt x="115" y="14"/>
                    </a:lnTo>
                    <a:lnTo>
                      <a:pt x="115" y="12"/>
                    </a:lnTo>
                    <a:lnTo>
                      <a:pt x="115" y="10"/>
                    </a:lnTo>
                    <a:lnTo>
                      <a:pt x="115" y="9"/>
                    </a:lnTo>
                    <a:lnTo>
                      <a:pt x="113" y="9"/>
                    </a:lnTo>
                    <a:close/>
                    <a:moveTo>
                      <a:pt x="66" y="38"/>
                    </a:moveTo>
                    <a:lnTo>
                      <a:pt x="68" y="38"/>
                    </a:lnTo>
                    <a:lnTo>
                      <a:pt x="66" y="39"/>
                    </a:lnTo>
                    <a:lnTo>
                      <a:pt x="64" y="39"/>
                    </a:lnTo>
                    <a:lnTo>
                      <a:pt x="64" y="38"/>
                    </a:lnTo>
                    <a:lnTo>
                      <a:pt x="66" y="38"/>
                    </a:lnTo>
                    <a:close/>
                    <a:moveTo>
                      <a:pt x="0" y="192"/>
                    </a:moveTo>
                    <a:lnTo>
                      <a:pt x="1" y="192"/>
                    </a:lnTo>
                    <a:lnTo>
                      <a:pt x="1" y="194"/>
                    </a:lnTo>
                    <a:lnTo>
                      <a:pt x="0" y="194"/>
                    </a:lnTo>
                    <a:lnTo>
                      <a:pt x="0" y="192"/>
                    </a:lnTo>
                    <a:close/>
                    <a:moveTo>
                      <a:pt x="117" y="77"/>
                    </a:moveTo>
                    <a:lnTo>
                      <a:pt x="117" y="75"/>
                    </a:lnTo>
                    <a:lnTo>
                      <a:pt x="115" y="75"/>
                    </a:lnTo>
                    <a:lnTo>
                      <a:pt x="115" y="73"/>
                    </a:lnTo>
                    <a:lnTo>
                      <a:pt x="117" y="73"/>
                    </a:lnTo>
                    <a:lnTo>
                      <a:pt x="117" y="75"/>
                    </a:lnTo>
                    <a:lnTo>
                      <a:pt x="117" y="77"/>
                    </a:lnTo>
                    <a:close/>
                    <a:moveTo>
                      <a:pt x="73" y="43"/>
                    </a:moveTo>
                    <a:lnTo>
                      <a:pt x="74" y="43"/>
                    </a:lnTo>
                    <a:lnTo>
                      <a:pt x="74" y="44"/>
                    </a:lnTo>
                    <a:lnTo>
                      <a:pt x="73" y="44"/>
                    </a:lnTo>
                    <a:lnTo>
                      <a:pt x="73" y="43"/>
                    </a:lnTo>
                    <a:close/>
                    <a:moveTo>
                      <a:pt x="68" y="41"/>
                    </a:moveTo>
                    <a:lnTo>
                      <a:pt x="69" y="41"/>
                    </a:lnTo>
                    <a:lnTo>
                      <a:pt x="69" y="43"/>
                    </a:lnTo>
                    <a:lnTo>
                      <a:pt x="68" y="43"/>
                    </a:lnTo>
                    <a:lnTo>
                      <a:pt x="68" y="41"/>
                    </a:lnTo>
                    <a:close/>
                    <a:moveTo>
                      <a:pt x="69" y="41"/>
                    </a:moveTo>
                    <a:lnTo>
                      <a:pt x="71" y="41"/>
                    </a:lnTo>
                    <a:lnTo>
                      <a:pt x="71" y="43"/>
                    </a:lnTo>
                    <a:lnTo>
                      <a:pt x="69" y="43"/>
                    </a:lnTo>
                    <a:lnTo>
                      <a:pt x="69" y="41"/>
                    </a:lnTo>
                    <a:close/>
                    <a:moveTo>
                      <a:pt x="107" y="85"/>
                    </a:moveTo>
                    <a:lnTo>
                      <a:pt x="108" y="85"/>
                    </a:lnTo>
                    <a:lnTo>
                      <a:pt x="107" y="85"/>
                    </a:lnTo>
                    <a:close/>
                    <a:moveTo>
                      <a:pt x="117" y="77"/>
                    </a:moveTo>
                    <a:lnTo>
                      <a:pt x="117" y="79"/>
                    </a:lnTo>
                    <a:lnTo>
                      <a:pt x="117" y="77"/>
                    </a:lnTo>
                    <a:close/>
                    <a:moveTo>
                      <a:pt x="117" y="77"/>
                    </a:moveTo>
                    <a:lnTo>
                      <a:pt x="117" y="79"/>
                    </a:lnTo>
                    <a:lnTo>
                      <a:pt x="117" y="77"/>
                    </a:lnTo>
                    <a:close/>
                    <a:moveTo>
                      <a:pt x="68" y="41"/>
                    </a:moveTo>
                    <a:lnTo>
                      <a:pt x="69" y="41"/>
                    </a:lnTo>
                    <a:lnTo>
                      <a:pt x="68" y="41"/>
                    </a:lnTo>
                    <a:close/>
                    <a:moveTo>
                      <a:pt x="73" y="50"/>
                    </a:moveTo>
                    <a:lnTo>
                      <a:pt x="74" y="50"/>
                    </a:lnTo>
                    <a:lnTo>
                      <a:pt x="73" y="5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3" name="Freeform 24">
                <a:extLst>
                  <a:ext uri="{FF2B5EF4-FFF2-40B4-BE49-F238E27FC236}">
                    <a16:creationId xmlns:a16="http://schemas.microsoft.com/office/drawing/2014/main" id="{2CE26228-ECED-CB7F-0B11-CFFEB890BAC0}"/>
                  </a:ext>
                </a:extLst>
              </p:cNvPr>
              <p:cNvSpPr>
                <a:spLocks noEditPoints="1"/>
              </p:cNvSpPr>
              <p:nvPr/>
            </p:nvSpPr>
            <p:spPr bwMode="auto">
              <a:xfrm>
                <a:off x="5099050" y="1169988"/>
                <a:ext cx="579437" cy="198438"/>
              </a:xfrm>
              <a:custGeom>
                <a:avLst/>
                <a:gdLst>
                  <a:gd name="T0" fmla="*/ 243 w 365"/>
                  <a:gd name="T1" fmla="*/ 52 h 125"/>
                  <a:gd name="T2" fmla="*/ 275 w 365"/>
                  <a:gd name="T3" fmla="*/ 69 h 125"/>
                  <a:gd name="T4" fmla="*/ 314 w 365"/>
                  <a:gd name="T5" fmla="*/ 80 h 125"/>
                  <a:gd name="T6" fmla="*/ 347 w 365"/>
                  <a:gd name="T7" fmla="*/ 98 h 125"/>
                  <a:gd name="T8" fmla="*/ 343 w 365"/>
                  <a:gd name="T9" fmla="*/ 117 h 125"/>
                  <a:gd name="T10" fmla="*/ 304 w 365"/>
                  <a:gd name="T11" fmla="*/ 120 h 125"/>
                  <a:gd name="T12" fmla="*/ 263 w 365"/>
                  <a:gd name="T13" fmla="*/ 122 h 125"/>
                  <a:gd name="T14" fmla="*/ 260 w 365"/>
                  <a:gd name="T15" fmla="*/ 110 h 125"/>
                  <a:gd name="T16" fmla="*/ 253 w 365"/>
                  <a:gd name="T17" fmla="*/ 95 h 125"/>
                  <a:gd name="T18" fmla="*/ 221 w 365"/>
                  <a:gd name="T19" fmla="*/ 85 h 125"/>
                  <a:gd name="T20" fmla="*/ 206 w 365"/>
                  <a:gd name="T21" fmla="*/ 61 h 125"/>
                  <a:gd name="T22" fmla="*/ 173 w 365"/>
                  <a:gd name="T23" fmla="*/ 59 h 125"/>
                  <a:gd name="T24" fmla="*/ 148 w 365"/>
                  <a:gd name="T25" fmla="*/ 46 h 125"/>
                  <a:gd name="T26" fmla="*/ 121 w 365"/>
                  <a:gd name="T27" fmla="*/ 42 h 125"/>
                  <a:gd name="T28" fmla="*/ 95 w 365"/>
                  <a:gd name="T29" fmla="*/ 34 h 125"/>
                  <a:gd name="T30" fmla="*/ 87 w 365"/>
                  <a:gd name="T31" fmla="*/ 22 h 125"/>
                  <a:gd name="T32" fmla="*/ 53 w 365"/>
                  <a:gd name="T33" fmla="*/ 40 h 125"/>
                  <a:gd name="T34" fmla="*/ 19 w 365"/>
                  <a:gd name="T35" fmla="*/ 54 h 125"/>
                  <a:gd name="T36" fmla="*/ 12 w 365"/>
                  <a:gd name="T37" fmla="*/ 47 h 125"/>
                  <a:gd name="T38" fmla="*/ 22 w 365"/>
                  <a:gd name="T39" fmla="*/ 30 h 125"/>
                  <a:gd name="T40" fmla="*/ 42 w 365"/>
                  <a:gd name="T41" fmla="*/ 18 h 125"/>
                  <a:gd name="T42" fmla="*/ 76 w 365"/>
                  <a:gd name="T43" fmla="*/ 10 h 125"/>
                  <a:gd name="T44" fmla="*/ 110 w 365"/>
                  <a:gd name="T45" fmla="*/ 5 h 125"/>
                  <a:gd name="T46" fmla="*/ 134 w 365"/>
                  <a:gd name="T47" fmla="*/ 6 h 125"/>
                  <a:gd name="T48" fmla="*/ 161 w 365"/>
                  <a:gd name="T49" fmla="*/ 12 h 125"/>
                  <a:gd name="T50" fmla="*/ 180 w 365"/>
                  <a:gd name="T51" fmla="*/ 20 h 125"/>
                  <a:gd name="T52" fmla="*/ 207 w 365"/>
                  <a:gd name="T53" fmla="*/ 34 h 125"/>
                  <a:gd name="T54" fmla="*/ 82 w 365"/>
                  <a:gd name="T55" fmla="*/ 56 h 125"/>
                  <a:gd name="T56" fmla="*/ 68 w 365"/>
                  <a:gd name="T57" fmla="*/ 63 h 125"/>
                  <a:gd name="T58" fmla="*/ 241 w 365"/>
                  <a:gd name="T59" fmla="*/ 40 h 125"/>
                  <a:gd name="T60" fmla="*/ 238 w 365"/>
                  <a:gd name="T61" fmla="*/ 44 h 125"/>
                  <a:gd name="T62" fmla="*/ 229 w 365"/>
                  <a:gd name="T63" fmla="*/ 35 h 125"/>
                  <a:gd name="T64" fmla="*/ 226 w 365"/>
                  <a:gd name="T65" fmla="*/ 30 h 125"/>
                  <a:gd name="T66" fmla="*/ 250 w 365"/>
                  <a:gd name="T67" fmla="*/ 52 h 125"/>
                  <a:gd name="T68" fmla="*/ 199 w 365"/>
                  <a:gd name="T69" fmla="*/ 86 h 125"/>
                  <a:gd name="T70" fmla="*/ 158 w 365"/>
                  <a:gd name="T71" fmla="*/ 12 h 125"/>
                  <a:gd name="T72" fmla="*/ 163 w 365"/>
                  <a:gd name="T73" fmla="*/ 8 h 125"/>
                  <a:gd name="T74" fmla="*/ 122 w 365"/>
                  <a:gd name="T75" fmla="*/ 57 h 125"/>
                  <a:gd name="T76" fmla="*/ 223 w 365"/>
                  <a:gd name="T77" fmla="*/ 98 h 125"/>
                  <a:gd name="T78" fmla="*/ 136 w 365"/>
                  <a:gd name="T79" fmla="*/ 0 h 125"/>
                  <a:gd name="T80" fmla="*/ 105 w 365"/>
                  <a:gd name="T81" fmla="*/ 59 h 125"/>
                  <a:gd name="T82" fmla="*/ 211 w 365"/>
                  <a:gd name="T83" fmla="*/ 25 h 125"/>
                  <a:gd name="T84" fmla="*/ 216 w 365"/>
                  <a:gd name="T85" fmla="*/ 97 h 125"/>
                  <a:gd name="T86" fmla="*/ 116 w 365"/>
                  <a:gd name="T87" fmla="*/ 44 h 125"/>
                  <a:gd name="T88" fmla="*/ 82 w 365"/>
                  <a:gd name="T89" fmla="*/ 56 h 125"/>
                  <a:gd name="T90" fmla="*/ 73 w 365"/>
                  <a:gd name="T91" fmla="*/ 44 h 125"/>
                  <a:gd name="T92" fmla="*/ 141 w 365"/>
                  <a:gd name="T93" fmla="*/ 3 h 125"/>
                  <a:gd name="T94" fmla="*/ 177 w 365"/>
                  <a:gd name="T95" fmla="*/ 15 h 125"/>
                  <a:gd name="T96" fmla="*/ 156 w 365"/>
                  <a:gd name="T97" fmla="*/ 5 h 125"/>
                  <a:gd name="T98" fmla="*/ 207 w 365"/>
                  <a:gd name="T99" fmla="*/ 93 h 125"/>
                  <a:gd name="T100" fmla="*/ 209 w 365"/>
                  <a:gd name="T101" fmla="*/ 68 h 125"/>
                  <a:gd name="T102" fmla="*/ 248 w 365"/>
                  <a:gd name="T103" fmla="*/ 51 h 125"/>
                  <a:gd name="T104" fmla="*/ 206 w 365"/>
                  <a:gd name="T105" fmla="*/ 91 h 125"/>
                  <a:gd name="T106" fmla="*/ 207 w 365"/>
                  <a:gd name="T107" fmla="*/ 29 h 125"/>
                  <a:gd name="T108" fmla="*/ 44 w 365"/>
                  <a:gd name="T109" fmla="*/ 40 h 125"/>
                  <a:gd name="T110" fmla="*/ 139 w 365"/>
                  <a:gd name="T111" fmla="*/ 3 h 125"/>
                  <a:gd name="T112" fmla="*/ 229 w 365"/>
                  <a:gd name="T113" fmla="*/ 40 h 125"/>
                  <a:gd name="T114" fmla="*/ 119 w 365"/>
                  <a:gd name="T115" fmla="*/ 40 h 125"/>
                  <a:gd name="T116" fmla="*/ 231 w 365"/>
                  <a:gd name="T117" fmla="*/ 95 h 125"/>
                  <a:gd name="T118" fmla="*/ 129 w 365"/>
                  <a:gd name="T119" fmla="*/ 61 h 125"/>
                  <a:gd name="T120" fmla="*/ 110 w 365"/>
                  <a:gd name="T121" fmla="*/ 44 h 125"/>
                  <a:gd name="T122" fmla="*/ 150 w 365"/>
                  <a:gd name="T123" fmla="*/ 5 h 125"/>
                  <a:gd name="T124" fmla="*/ 78 w 365"/>
                  <a:gd name="T125" fmla="*/ 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65" h="125">
                    <a:moveTo>
                      <a:pt x="223" y="39"/>
                    </a:moveTo>
                    <a:lnTo>
                      <a:pt x="224" y="40"/>
                    </a:lnTo>
                    <a:lnTo>
                      <a:pt x="224" y="42"/>
                    </a:lnTo>
                    <a:lnTo>
                      <a:pt x="226" y="42"/>
                    </a:lnTo>
                    <a:lnTo>
                      <a:pt x="226" y="40"/>
                    </a:lnTo>
                    <a:lnTo>
                      <a:pt x="226" y="42"/>
                    </a:lnTo>
                    <a:lnTo>
                      <a:pt x="228" y="42"/>
                    </a:lnTo>
                    <a:lnTo>
                      <a:pt x="229" y="42"/>
                    </a:lnTo>
                    <a:lnTo>
                      <a:pt x="229" y="44"/>
                    </a:lnTo>
                    <a:lnTo>
                      <a:pt x="231" y="44"/>
                    </a:lnTo>
                    <a:lnTo>
                      <a:pt x="231" y="42"/>
                    </a:lnTo>
                    <a:lnTo>
                      <a:pt x="229" y="42"/>
                    </a:lnTo>
                    <a:lnTo>
                      <a:pt x="231" y="42"/>
                    </a:lnTo>
                    <a:lnTo>
                      <a:pt x="231" y="44"/>
                    </a:lnTo>
                    <a:lnTo>
                      <a:pt x="233" y="44"/>
                    </a:lnTo>
                    <a:lnTo>
                      <a:pt x="234" y="46"/>
                    </a:lnTo>
                    <a:lnTo>
                      <a:pt x="234" y="47"/>
                    </a:lnTo>
                    <a:lnTo>
                      <a:pt x="236" y="49"/>
                    </a:lnTo>
                    <a:lnTo>
                      <a:pt x="236" y="47"/>
                    </a:lnTo>
                    <a:lnTo>
                      <a:pt x="236" y="49"/>
                    </a:lnTo>
                    <a:lnTo>
                      <a:pt x="238" y="49"/>
                    </a:lnTo>
                    <a:lnTo>
                      <a:pt x="238" y="51"/>
                    </a:lnTo>
                    <a:lnTo>
                      <a:pt x="240" y="52"/>
                    </a:lnTo>
                    <a:lnTo>
                      <a:pt x="240" y="51"/>
                    </a:lnTo>
                    <a:lnTo>
                      <a:pt x="240" y="49"/>
                    </a:lnTo>
                    <a:lnTo>
                      <a:pt x="241" y="47"/>
                    </a:lnTo>
                    <a:lnTo>
                      <a:pt x="241" y="49"/>
                    </a:lnTo>
                    <a:lnTo>
                      <a:pt x="240" y="49"/>
                    </a:lnTo>
                    <a:lnTo>
                      <a:pt x="240" y="51"/>
                    </a:lnTo>
                    <a:lnTo>
                      <a:pt x="241" y="51"/>
                    </a:lnTo>
                    <a:lnTo>
                      <a:pt x="241" y="52"/>
                    </a:lnTo>
                    <a:lnTo>
                      <a:pt x="243" y="52"/>
                    </a:lnTo>
                    <a:lnTo>
                      <a:pt x="243" y="51"/>
                    </a:lnTo>
                    <a:lnTo>
                      <a:pt x="243" y="52"/>
                    </a:lnTo>
                    <a:lnTo>
                      <a:pt x="243" y="54"/>
                    </a:lnTo>
                    <a:lnTo>
                      <a:pt x="245" y="54"/>
                    </a:lnTo>
                    <a:lnTo>
                      <a:pt x="246" y="54"/>
                    </a:lnTo>
                    <a:lnTo>
                      <a:pt x="246" y="56"/>
                    </a:lnTo>
                    <a:lnTo>
                      <a:pt x="248" y="56"/>
                    </a:lnTo>
                    <a:lnTo>
                      <a:pt x="250" y="56"/>
                    </a:lnTo>
                    <a:lnTo>
                      <a:pt x="251" y="56"/>
                    </a:lnTo>
                    <a:lnTo>
                      <a:pt x="253" y="56"/>
                    </a:lnTo>
                    <a:lnTo>
                      <a:pt x="255" y="56"/>
                    </a:lnTo>
                    <a:lnTo>
                      <a:pt x="253" y="56"/>
                    </a:lnTo>
                    <a:lnTo>
                      <a:pt x="255" y="54"/>
                    </a:lnTo>
                    <a:lnTo>
                      <a:pt x="253" y="54"/>
                    </a:lnTo>
                    <a:lnTo>
                      <a:pt x="255" y="54"/>
                    </a:lnTo>
                    <a:lnTo>
                      <a:pt x="255" y="56"/>
                    </a:lnTo>
                    <a:lnTo>
                      <a:pt x="257" y="56"/>
                    </a:lnTo>
                    <a:lnTo>
                      <a:pt x="258" y="56"/>
                    </a:lnTo>
                    <a:lnTo>
                      <a:pt x="258" y="57"/>
                    </a:lnTo>
                    <a:lnTo>
                      <a:pt x="260" y="57"/>
                    </a:lnTo>
                    <a:lnTo>
                      <a:pt x="262" y="57"/>
                    </a:lnTo>
                    <a:lnTo>
                      <a:pt x="262" y="59"/>
                    </a:lnTo>
                    <a:lnTo>
                      <a:pt x="263" y="59"/>
                    </a:lnTo>
                    <a:lnTo>
                      <a:pt x="265" y="59"/>
                    </a:lnTo>
                    <a:lnTo>
                      <a:pt x="263" y="59"/>
                    </a:lnTo>
                    <a:lnTo>
                      <a:pt x="265" y="61"/>
                    </a:lnTo>
                    <a:lnTo>
                      <a:pt x="267" y="61"/>
                    </a:lnTo>
                    <a:lnTo>
                      <a:pt x="267" y="63"/>
                    </a:lnTo>
                    <a:lnTo>
                      <a:pt x="268" y="63"/>
                    </a:lnTo>
                    <a:lnTo>
                      <a:pt x="268" y="64"/>
                    </a:lnTo>
                    <a:lnTo>
                      <a:pt x="270" y="64"/>
                    </a:lnTo>
                    <a:lnTo>
                      <a:pt x="270" y="66"/>
                    </a:lnTo>
                    <a:lnTo>
                      <a:pt x="272" y="66"/>
                    </a:lnTo>
                    <a:lnTo>
                      <a:pt x="272" y="68"/>
                    </a:lnTo>
                    <a:lnTo>
                      <a:pt x="274" y="68"/>
                    </a:lnTo>
                    <a:lnTo>
                      <a:pt x="275" y="69"/>
                    </a:lnTo>
                    <a:lnTo>
                      <a:pt x="277" y="69"/>
                    </a:lnTo>
                    <a:lnTo>
                      <a:pt x="279" y="69"/>
                    </a:lnTo>
                    <a:lnTo>
                      <a:pt x="280" y="71"/>
                    </a:lnTo>
                    <a:lnTo>
                      <a:pt x="282" y="71"/>
                    </a:lnTo>
                    <a:lnTo>
                      <a:pt x="280" y="73"/>
                    </a:lnTo>
                    <a:lnTo>
                      <a:pt x="282" y="73"/>
                    </a:lnTo>
                    <a:lnTo>
                      <a:pt x="284" y="73"/>
                    </a:lnTo>
                    <a:lnTo>
                      <a:pt x="285" y="73"/>
                    </a:lnTo>
                    <a:lnTo>
                      <a:pt x="287" y="73"/>
                    </a:lnTo>
                    <a:lnTo>
                      <a:pt x="289" y="73"/>
                    </a:lnTo>
                    <a:lnTo>
                      <a:pt x="291" y="73"/>
                    </a:lnTo>
                    <a:lnTo>
                      <a:pt x="292" y="74"/>
                    </a:lnTo>
                    <a:lnTo>
                      <a:pt x="294" y="74"/>
                    </a:lnTo>
                    <a:lnTo>
                      <a:pt x="294" y="76"/>
                    </a:lnTo>
                    <a:lnTo>
                      <a:pt x="296" y="76"/>
                    </a:lnTo>
                    <a:lnTo>
                      <a:pt x="297" y="76"/>
                    </a:lnTo>
                    <a:lnTo>
                      <a:pt x="297" y="78"/>
                    </a:lnTo>
                    <a:lnTo>
                      <a:pt x="299" y="78"/>
                    </a:lnTo>
                    <a:lnTo>
                      <a:pt x="299" y="80"/>
                    </a:lnTo>
                    <a:lnTo>
                      <a:pt x="297" y="80"/>
                    </a:lnTo>
                    <a:lnTo>
                      <a:pt x="299" y="80"/>
                    </a:lnTo>
                    <a:lnTo>
                      <a:pt x="301" y="80"/>
                    </a:lnTo>
                    <a:lnTo>
                      <a:pt x="302" y="80"/>
                    </a:lnTo>
                    <a:lnTo>
                      <a:pt x="302" y="81"/>
                    </a:lnTo>
                    <a:lnTo>
                      <a:pt x="302" y="80"/>
                    </a:lnTo>
                    <a:lnTo>
                      <a:pt x="304" y="80"/>
                    </a:lnTo>
                    <a:lnTo>
                      <a:pt x="306" y="80"/>
                    </a:lnTo>
                    <a:lnTo>
                      <a:pt x="308" y="80"/>
                    </a:lnTo>
                    <a:lnTo>
                      <a:pt x="309" y="78"/>
                    </a:lnTo>
                    <a:lnTo>
                      <a:pt x="311" y="80"/>
                    </a:lnTo>
                    <a:lnTo>
                      <a:pt x="311" y="78"/>
                    </a:lnTo>
                    <a:lnTo>
                      <a:pt x="313" y="78"/>
                    </a:lnTo>
                    <a:lnTo>
                      <a:pt x="313" y="80"/>
                    </a:lnTo>
                    <a:lnTo>
                      <a:pt x="314" y="80"/>
                    </a:lnTo>
                    <a:lnTo>
                      <a:pt x="314" y="81"/>
                    </a:lnTo>
                    <a:lnTo>
                      <a:pt x="316" y="81"/>
                    </a:lnTo>
                    <a:lnTo>
                      <a:pt x="318" y="83"/>
                    </a:lnTo>
                    <a:lnTo>
                      <a:pt x="316" y="83"/>
                    </a:lnTo>
                    <a:lnTo>
                      <a:pt x="316" y="85"/>
                    </a:lnTo>
                    <a:lnTo>
                      <a:pt x="316" y="86"/>
                    </a:lnTo>
                    <a:lnTo>
                      <a:pt x="314" y="86"/>
                    </a:lnTo>
                    <a:lnTo>
                      <a:pt x="314" y="88"/>
                    </a:lnTo>
                    <a:lnTo>
                      <a:pt x="316" y="88"/>
                    </a:lnTo>
                    <a:lnTo>
                      <a:pt x="318" y="88"/>
                    </a:lnTo>
                    <a:lnTo>
                      <a:pt x="318" y="90"/>
                    </a:lnTo>
                    <a:lnTo>
                      <a:pt x="318" y="91"/>
                    </a:lnTo>
                    <a:lnTo>
                      <a:pt x="319" y="91"/>
                    </a:lnTo>
                    <a:lnTo>
                      <a:pt x="321" y="93"/>
                    </a:lnTo>
                    <a:lnTo>
                      <a:pt x="323" y="93"/>
                    </a:lnTo>
                    <a:lnTo>
                      <a:pt x="325" y="93"/>
                    </a:lnTo>
                    <a:lnTo>
                      <a:pt x="326" y="93"/>
                    </a:lnTo>
                    <a:lnTo>
                      <a:pt x="328" y="93"/>
                    </a:lnTo>
                    <a:lnTo>
                      <a:pt x="330" y="93"/>
                    </a:lnTo>
                    <a:lnTo>
                      <a:pt x="331" y="95"/>
                    </a:lnTo>
                    <a:lnTo>
                      <a:pt x="333" y="95"/>
                    </a:lnTo>
                    <a:lnTo>
                      <a:pt x="335" y="95"/>
                    </a:lnTo>
                    <a:lnTo>
                      <a:pt x="336" y="95"/>
                    </a:lnTo>
                    <a:lnTo>
                      <a:pt x="338" y="95"/>
                    </a:lnTo>
                    <a:lnTo>
                      <a:pt x="340" y="95"/>
                    </a:lnTo>
                    <a:lnTo>
                      <a:pt x="340" y="97"/>
                    </a:lnTo>
                    <a:lnTo>
                      <a:pt x="340" y="95"/>
                    </a:lnTo>
                    <a:lnTo>
                      <a:pt x="340" y="97"/>
                    </a:lnTo>
                    <a:lnTo>
                      <a:pt x="342" y="97"/>
                    </a:lnTo>
                    <a:lnTo>
                      <a:pt x="343" y="97"/>
                    </a:lnTo>
                    <a:lnTo>
                      <a:pt x="345" y="97"/>
                    </a:lnTo>
                    <a:lnTo>
                      <a:pt x="345" y="98"/>
                    </a:lnTo>
                    <a:lnTo>
                      <a:pt x="345" y="100"/>
                    </a:lnTo>
                    <a:lnTo>
                      <a:pt x="347" y="98"/>
                    </a:lnTo>
                    <a:lnTo>
                      <a:pt x="347" y="100"/>
                    </a:lnTo>
                    <a:lnTo>
                      <a:pt x="348" y="100"/>
                    </a:lnTo>
                    <a:lnTo>
                      <a:pt x="348" y="102"/>
                    </a:lnTo>
                    <a:lnTo>
                      <a:pt x="350" y="102"/>
                    </a:lnTo>
                    <a:lnTo>
                      <a:pt x="352" y="103"/>
                    </a:lnTo>
                    <a:lnTo>
                      <a:pt x="350" y="103"/>
                    </a:lnTo>
                    <a:lnTo>
                      <a:pt x="352" y="103"/>
                    </a:lnTo>
                    <a:lnTo>
                      <a:pt x="352" y="105"/>
                    </a:lnTo>
                    <a:lnTo>
                      <a:pt x="353" y="105"/>
                    </a:lnTo>
                    <a:lnTo>
                      <a:pt x="353" y="107"/>
                    </a:lnTo>
                    <a:lnTo>
                      <a:pt x="355" y="107"/>
                    </a:lnTo>
                    <a:lnTo>
                      <a:pt x="357" y="108"/>
                    </a:lnTo>
                    <a:lnTo>
                      <a:pt x="359" y="108"/>
                    </a:lnTo>
                    <a:lnTo>
                      <a:pt x="360" y="108"/>
                    </a:lnTo>
                    <a:lnTo>
                      <a:pt x="362" y="108"/>
                    </a:lnTo>
                    <a:lnTo>
                      <a:pt x="364" y="108"/>
                    </a:lnTo>
                    <a:lnTo>
                      <a:pt x="365" y="110"/>
                    </a:lnTo>
                    <a:lnTo>
                      <a:pt x="365" y="112"/>
                    </a:lnTo>
                    <a:lnTo>
                      <a:pt x="365" y="114"/>
                    </a:lnTo>
                    <a:lnTo>
                      <a:pt x="364" y="114"/>
                    </a:lnTo>
                    <a:lnTo>
                      <a:pt x="362" y="114"/>
                    </a:lnTo>
                    <a:lnTo>
                      <a:pt x="362" y="115"/>
                    </a:lnTo>
                    <a:lnTo>
                      <a:pt x="362" y="117"/>
                    </a:lnTo>
                    <a:lnTo>
                      <a:pt x="360" y="117"/>
                    </a:lnTo>
                    <a:lnTo>
                      <a:pt x="359" y="117"/>
                    </a:lnTo>
                    <a:lnTo>
                      <a:pt x="357" y="117"/>
                    </a:lnTo>
                    <a:lnTo>
                      <a:pt x="355" y="117"/>
                    </a:lnTo>
                    <a:lnTo>
                      <a:pt x="353" y="117"/>
                    </a:lnTo>
                    <a:lnTo>
                      <a:pt x="352" y="117"/>
                    </a:lnTo>
                    <a:lnTo>
                      <a:pt x="350" y="117"/>
                    </a:lnTo>
                    <a:lnTo>
                      <a:pt x="348" y="117"/>
                    </a:lnTo>
                    <a:lnTo>
                      <a:pt x="347" y="117"/>
                    </a:lnTo>
                    <a:lnTo>
                      <a:pt x="345" y="117"/>
                    </a:lnTo>
                    <a:lnTo>
                      <a:pt x="343" y="117"/>
                    </a:lnTo>
                    <a:lnTo>
                      <a:pt x="343" y="119"/>
                    </a:lnTo>
                    <a:lnTo>
                      <a:pt x="343" y="117"/>
                    </a:lnTo>
                    <a:lnTo>
                      <a:pt x="343" y="119"/>
                    </a:lnTo>
                    <a:lnTo>
                      <a:pt x="342" y="119"/>
                    </a:lnTo>
                    <a:lnTo>
                      <a:pt x="340" y="120"/>
                    </a:lnTo>
                    <a:lnTo>
                      <a:pt x="338" y="120"/>
                    </a:lnTo>
                    <a:lnTo>
                      <a:pt x="338" y="122"/>
                    </a:lnTo>
                    <a:lnTo>
                      <a:pt x="336" y="122"/>
                    </a:lnTo>
                    <a:lnTo>
                      <a:pt x="335" y="122"/>
                    </a:lnTo>
                    <a:lnTo>
                      <a:pt x="333" y="122"/>
                    </a:lnTo>
                    <a:lnTo>
                      <a:pt x="333" y="124"/>
                    </a:lnTo>
                    <a:lnTo>
                      <a:pt x="333" y="122"/>
                    </a:lnTo>
                    <a:lnTo>
                      <a:pt x="331" y="124"/>
                    </a:lnTo>
                    <a:lnTo>
                      <a:pt x="331" y="122"/>
                    </a:lnTo>
                    <a:lnTo>
                      <a:pt x="330" y="122"/>
                    </a:lnTo>
                    <a:lnTo>
                      <a:pt x="328" y="122"/>
                    </a:lnTo>
                    <a:lnTo>
                      <a:pt x="328" y="124"/>
                    </a:lnTo>
                    <a:lnTo>
                      <a:pt x="326" y="124"/>
                    </a:lnTo>
                    <a:lnTo>
                      <a:pt x="325" y="124"/>
                    </a:lnTo>
                    <a:lnTo>
                      <a:pt x="323" y="124"/>
                    </a:lnTo>
                    <a:lnTo>
                      <a:pt x="321" y="122"/>
                    </a:lnTo>
                    <a:lnTo>
                      <a:pt x="321" y="124"/>
                    </a:lnTo>
                    <a:lnTo>
                      <a:pt x="319" y="124"/>
                    </a:lnTo>
                    <a:lnTo>
                      <a:pt x="318" y="124"/>
                    </a:lnTo>
                    <a:lnTo>
                      <a:pt x="316" y="124"/>
                    </a:lnTo>
                    <a:lnTo>
                      <a:pt x="316" y="122"/>
                    </a:lnTo>
                    <a:lnTo>
                      <a:pt x="314" y="122"/>
                    </a:lnTo>
                    <a:lnTo>
                      <a:pt x="313" y="122"/>
                    </a:lnTo>
                    <a:lnTo>
                      <a:pt x="313" y="120"/>
                    </a:lnTo>
                    <a:lnTo>
                      <a:pt x="311" y="120"/>
                    </a:lnTo>
                    <a:lnTo>
                      <a:pt x="309" y="120"/>
                    </a:lnTo>
                    <a:lnTo>
                      <a:pt x="308" y="120"/>
                    </a:lnTo>
                    <a:lnTo>
                      <a:pt x="306" y="120"/>
                    </a:lnTo>
                    <a:lnTo>
                      <a:pt x="304" y="120"/>
                    </a:lnTo>
                    <a:lnTo>
                      <a:pt x="302" y="120"/>
                    </a:lnTo>
                    <a:lnTo>
                      <a:pt x="301" y="120"/>
                    </a:lnTo>
                    <a:lnTo>
                      <a:pt x="299" y="120"/>
                    </a:lnTo>
                    <a:lnTo>
                      <a:pt x="297" y="120"/>
                    </a:lnTo>
                    <a:lnTo>
                      <a:pt x="296" y="119"/>
                    </a:lnTo>
                    <a:lnTo>
                      <a:pt x="296" y="120"/>
                    </a:lnTo>
                    <a:lnTo>
                      <a:pt x="296" y="119"/>
                    </a:lnTo>
                    <a:lnTo>
                      <a:pt x="294" y="119"/>
                    </a:lnTo>
                    <a:lnTo>
                      <a:pt x="294" y="120"/>
                    </a:lnTo>
                    <a:lnTo>
                      <a:pt x="292" y="120"/>
                    </a:lnTo>
                    <a:lnTo>
                      <a:pt x="291" y="120"/>
                    </a:lnTo>
                    <a:lnTo>
                      <a:pt x="289" y="120"/>
                    </a:lnTo>
                    <a:lnTo>
                      <a:pt x="287" y="120"/>
                    </a:lnTo>
                    <a:lnTo>
                      <a:pt x="285" y="120"/>
                    </a:lnTo>
                    <a:lnTo>
                      <a:pt x="284" y="120"/>
                    </a:lnTo>
                    <a:lnTo>
                      <a:pt x="284" y="122"/>
                    </a:lnTo>
                    <a:lnTo>
                      <a:pt x="282" y="120"/>
                    </a:lnTo>
                    <a:lnTo>
                      <a:pt x="280" y="120"/>
                    </a:lnTo>
                    <a:lnTo>
                      <a:pt x="279" y="120"/>
                    </a:lnTo>
                    <a:lnTo>
                      <a:pt x="279" y="122"/>
                    </a:lnTo>
                    <a:lnTo>
                      <a:pt x="279" y="120"/>
                    </a:lnTo>
                    <a:lnTo>
                      <a:pt x="277" y="122"/>
                    </a:lnTo>
                    <a:lnTo>
                      <a:pt x="277" y="120"/>
                    </a:lnTo>
                    <a:lnTo>
                      <a:pt x="277" y="122"/>
                    </a:lnTo>
                    <a:lnTo>
                      <a:pt x="275" y="122"/>
                    </a:lnTo>
                    <a:lnTo>
                      <a:pt x="274" y="122"/>
                    </a:lnTo>
                    <a:lnTo>
                      <a:pt x="272" y="122"/>
                    </a:lnTo>
                    <a:lnTo>
                      <a:pt x="270" y="124"/>
                    </a:lnTo>
                    <a:lnTo>
                      <a:pt x="270" y="122"/>
                    </a:lnTo>
                    <a:lnTo>
                      <a:pt x="270" y="124"/>
                    </a:lnTo>
                    <a:lnTo>
                      <a:pt x="268" y="124"/>
                    </a:lnTo>
                    <a:lnTo>
                      <a:pt x="267" y="124"/>
                    </a:lnTo>
                    <a:lnTo>
                      <a:pt x="265" y="124"/>
                    </a:lnTo>
                    <a:lnTo>
                      <a:pt x="263" y="122"/>
                    </a:lnTo>
                    <a:lnTo>
                      <a:pt x="262" y="122"/>
                    </a:lnTo>
                    <a:lnTo>
                      <a:pt x="260" y="122"/>
                    </a:lnTo>
                    <a:lnTo>
                      <a:pt x="258" y="122"/>
                    </a:lnTo>
                    <a:lnTo>
                      <a:pt x="258" y="124"/>
                    </a:lnTo>
                    <a:lnTo>
                      <a:pt x="257" y="124"/>
                    </a:lnTo>
                    <a:lnTo>
                      <a:pt x="255" y="125"/>
                    </a:lnTo>
                    <a:lnTo>
                      <a:pt x="255" y="124"/>
                    </a:lnTo>
                    <a:lnTo>
                      <a:pt x="253" y="124"/>
                    </a:lnTo>
                    <a:lnTo>
                      <a:pt x="253" y="125"/>
                    </a:lnTo>
                    <a:lnTo>
                      <a:pt x="251" y="125"/>
                    </a:lnTo>
                    <a:lnTo>
                      <a:pt x="250" y="125"/>
                    </a:lnTo>
                    <a:lnTo>
                      <a:pt x="250" y="124"/>
                    </a:lnTo>
                    <a:lnTo>
                      <a:pt x="248" y="125"/>
                    </a:lnTo>
                    <a:lnTo>
                      <a:pt x="246" y="125"/>
                    </a:lnTo>
                    <a:lnTo>
                      <a:pt x="245" y="125"/>
                    </a:lnTo>
                    <a:lnTo>
                      <a:pt x="245" y="124"/>
                    </a:lnTo>
                    <a:lnTo>
                      <a:pt x="245" y="122"/>
                    </a:lnTo>
                    <a:lnTo>
                      <a:pt x="246" y="122"/>
                    </a:lnTo>
                    <a:lnTo>
                      <a:pt x="246" y="120"/>
                    </a:lnTo>
                    <a:lnTo>
                      <a:pt x="248" y="120"/>
                    </a:lnTo>
                    <a:lnTo>
                      <a:pt x="248" y="119"/>
                    </a:lnTo>
                    <a:lnTo>
                      <a:pt x="248" y="117"/>
                    </a:lnTo>
                    <a:lnTo>
                      <a:pt x="250" y="117"/>
                    </a:lnTo>
                    <a:lnTo>
                      <a:pt x="250" y="115"/>
                    </a:lnTo>
                    <a:lnTo>
                      <a:pt x="250" y="117"/>
                    </a:lnTo>
                    <a:lnTo>
                      <a:pt x="251" y="115"/>
                    </a:lnTo>
                    <a:lnTo>
                      <a:pt x="253" y="115"/>
                    </a:lnTo>
                    <a:lnTo>
                      <a:pt x="253" y="114"/>
                    </a:lnTo>
                    <a:lnTo>
                      <a:pt x="255" y="114"/>
                    </a:lnTo>
                    <a:lnTo>
                      <a:pt x="255" y="112"/>
                    </a:lnTo>
                    <a:lnTo>
                      <a:pt x="257" y="112"/>
                    </a:lnTo>
                    <a:lnTo>
                      <a:pt x="258" y="112"/>
                    </a:lnTo>
                    <a:lnTo>
                      <a:pt x="258" y="110"/>
                    </a:lnTo>
                    <a:lnTo>
                      <a:pt x="260" y="110"/>
                    </a:lnTo>
                    <a:lnTo>
                      <a:pt x="260" y="108"/>
                    </a:lnTo>
                    <a:lnTo>
                      <a:pt x="262" y="108"/>
                    </a:lnTo>
                    <a:lnTo>
                      <a:pt x="262" y="110"/>
                    </a:lnTo>
                    <a:lnTo>
                      <a:pt x="262" y="108"/>
                    </a:lnTo>
                    <a:lnTo>
                      <a:pt x="263" y="108"/>
                    </a:lnTo>
                    <a:lnTo>
                      <a:pt x="263" y="107"/>
                    </a:lnTo>
                    <a:lnTo>
                      <a:pt x="265" y="107"/>
                    </a:lnTo>
                    <a:lnTo>
                      <a:pt x="265" y="105"/>
                    </a:lnTo>
                    <a:lnTo>
                      <a:pt x="267" y="103"/>
                    </a:lnTo>
                    <a:lnTo>
                      <a:pt x="267" y="102"/>
                    </a:lnTo>
                    <a:lnTo>
                      <a:pt x="267" y="103"/>
                    </a:lnTo>
                    <a:lnTo>
                      <a:pt x="267" y="102"/>
                    </a:lnTo>
                    <a:lnTo>
                      <a:pt x="265" y="102"/>
                    </a:lnTo>
                    <a:lnTo>
                      <a:pt x="265" y="100"/>
                    </a:lnTo>
                    <a:lnTo>
                      <a:pt x="265" y="102"/>
                    </a:lnTo>
                    <a:lnTo>
                      <a:pt x="265" y="100"/>
                    </a:lnTo>
                    <a:lnTo>
                      <a:pt x="263" y="100"/>
                    </a:lnTo>
                    <a:lnTo>
                      <a:pt x="262" y="100"/>
                    </a:lnTo>
                    <a:lnTo>
                      <a:pt x="263" y="100"/>
                    </a:lnTo>
                    <a:lnTo>
                      <a:pt x="262" y="100"/>
                    </a:lnTo>
                    <a:lnTo>
                      <a:pt x="260" y="100"/>
                    </a:lnTo>
                    <a:lnTo>
                      <a:pt x="262" y="100"/>
                    </a:lnTo>
                    <a:lnTo>
                      <a:pt x="260" y="98"/>
                    </a:lnTo>
                    <a:lnTo>
                      <a:pt x="262" y="98"/>
                    </a:lnTo>
                    <a:lnTo>
                      <a:pt x="262" y="97"/>
                    </a:lnTo>
                    <a:lnTo>
                      <a:pt x="262" y="95"/>
                    </a:lnTo>
                    <a:lnTo>
                      <a:pt x="260" y="95"/>
                    </a:lnTo>
                    <a:lnTo>
                      <a:pt x="260" y="97"/>
                    </a:lnTo>
                    <a:lnTo>
                      <a:pt x="260" y="95"/>
                    </a:lnTo>
                    <a:lnTo>
                      <a:pt x="258" y="95"/>
                    </a:lnTo>
                    <a:lnTo>
                      <a:pt x="258" y="93"/>
                    </a:lnTo>
                    <a:lnTo>
                      <a:pt x="257" y="93"/>
                    </a:lnTo>
                    <a:lnTo>
                      <a:pt x="255" y="95"/>
                    </a:lnTo>
                    <a:lnTo>
                      <a:pt x="253" y="95"/>
                    </a:lnTo>
                    <a:lnTo>
                      <a:pt x="251" y="95"/>
                    </a:lnTo>
                    <a:lnTo>
                      <a:pt x="250" y="95"/>
                    </a:lnTo>
                    <a:lnTo>
                      <a:pt x="248" y="95"/>
                    </a:lnTo>
                    <a:lnTo>
                      <a:pt x="246" y="95"/>
                    </a:lnTo>
                    <a:lnTo>
                      <a:pt x="245" y="95"/>
                    </a:lnTo>
                    <a:lnTo>
                      <a:pt x="243" y="95"/>
                    </a:lnTo>
                    <a:lnTo>
                      <a:pt x="243" y="93"/>
                    </a:lnTo>
                    <a:lnTo>
                      <a:pt x="241" y="93"/>
                    </a:lnTo>
                    <a:lnTo>
                      <a:pt x="240" y="93"/>
                    </a:lnTo>
                    <a:lnTo>
                      <a:pt x="238" y="93"/>
                    </a:lnTo>
                    <a:lnTo>
                      <a:pt x="238" y="95"/>
                    </a:lnTo>
                    <a:lnTo>
                      <a:pt x="236" y="93"/>
                    </a:lnTo>
                    <a:lnTo>
                      <a:pt x="236" y="95"/>
                    </a:lnTo>
                    <a:lnTo>
                      <a:pt x="236" y="93"/>
                    </a:lnTo>
                    <a:lnTo>
                      <a:pt x="236" y="95"/>
                    </a:lnTo>
                    <a:lnTo>
                      <a:pt x="234" y="95"/>
                    </a:lnTo>
                    <a:lnTo>
                      <a:pt x="234" y="93"/>
                    </a:lnTo>
                    <a:lnTo>
                      <a:pt x="234" y="95"/>
                    </a:lnTo>
                    <a:lnTo>
                      <a:pt x="234" y="93"/>
                    </a:lnTo>
                    <a:lnTo>
                      <a:pt x="233" y="93"/>
                    </a:lnTo>
                    <a:lnTo>
                      <a:pt x="231" y="93"/>
                    </a:lnTo>
                    <a:lnTo>
                      <a:pt x="231" y="91"/>
                    </a:lnTo>
                    <a:lnTo>
                      <a:pt x="229" y="91"/>
                    </a:lnTo>
                    <a:lnTo>
                      <a:pt x="229" y="90"/>
                    </a:lnTo>
                    <a:lnTo>
                      <a:pt x="228" y="90"/>
                    </a:lnTo>
                    <a:lnTo>
                      <a:pt x="228" y="88"/>
                    </a:lnTo>
                    <a:lnTo>
                      <a:pt x="228" y="90"/>
                    </a:lnTo>
                    <a:lnTo>
                      <a:pt x="228" y="88"/>
                    </a:lnTo>
                    <a:lnTo>
                      <a:pt x="226" y="88"/>
                    </a:lnTo>
                    <a:lnTo>
                      <a:pt x="226" y="86"/>
                    </a:lnTo>
                    <a:lnTo>
                      <a:pt x="224" y="86"/>
                    </a:lnTo>
                    <a:lnTo>
                      <a:pt x="224" y="85"/>
                    </a:lnTo>
                    <a:lnTo>
                      <a:pt x="223" y="85"/>
                    </a:lnTo>
                    <a:lnTo>
                      <a:pt x="221" y="85"/>
                    </a:lnTo>
                    <a:lnTo>
                      <a:pt x="221" y="83"/>
                    </a:lnTo>
                    <a:lnTo>
                      <a:pt x="219" y="83"/>
                    </a:lnTo>
                    <a:lnTo>
                      <a:pt x="219" y="81"/>
                    </a:lnTo>
                    <a:lnTo>
                      <a:pt x="219" y="80"/>
                    </a:lnTo>
                    <a:lnTo>
                      <a:pt x="217" y="80"/>
                    </a:lnTo>
                    <a:lnTo>
                      <a:pt x="219" y="78"/>
                    </a:lnTo>
                    <a:lnTo>
                      <a:pt x="217" y="78"/>
                    </a:lnTo>
                    <a:lnTo>
                      <a:pt x="217" y="76"/>
                    </a:lnTo>
                    <a:lnTo>
                      <a:pt x="217" y="74"/>
                    </a:lnTo>
                    <a:lnTo>
                      <a:pt x="217" y="73"/>
                    </a:lnTo>
                    <a:lnTo>
                      <a:pt x="217" y="74"/>
                    </a:lnTo>
                    <a:lnTo>
                      <a:pt x="219" y="73"/>
                    </a:lnTo>
                    <a:lnTo>
                      <a:pt x="217" y="73"/>
                    </a:lnTo>
                    <a:lnTo>
                      <a:pt x="217" y="71"/>
                    </a:lnTo>
                    <a:lnTo>
                      <a:pt x="216" y="69"/>
                    </a:lnTo>
                    <a:lnTo>
                      <a:pt x="216" y="68"/>
                    </a:lnTo>
                    <a:lnTo>
                      <a:pt x="216" y="66"/>
                    </a:lnTo>
                    <a:lnTo>
                      <a:pt x="214" y="66"/>
                    </a:lnTo>
                    <a:lnTo>
                      <a:pt x="214" y="64"/>
                    </a:lnTo>
                    <a:lnTo>
                      <a:pt x="212" y="64"/>
                    </a:lnTo>
                    <a:lnTo>
                      <a:pt x="212" y="63"/>
                    </a:lnTo>
                    <a:lnTo>
                      <a:pt x="211" y="63"/>
                    </a:lnTo>
                    <a:lnTo>
                      <a:pt x="209" y="63"/>
                    </a:lnTo>
                    <a:lnTo>
                      <a:pt x="209" y="64"/>
                    </a:lnTo>
                    <a:lnTo>
                      <a:pt x="209" y="63"/>
                    </a:lnTo>
                    <a:lnTo>
                      <a:pt x="211" y="63"/>
                    </a:lnTo>
                    <a:lnTo>
                      <a:pt x="211" y="61"/>
                    </a:lnTo>
                    <a:lnTo>
                      <a:pt x="211" y="63"/>
                    </a:lnTo>
                    <a:lnTo>
                      <a:pt x="212" y="63"/>
                    </a:lnTo>
                    <a:lnTo>
                      <a:pt x="212" y="61"/>
                    </a:lnTo>
                    <a:lnTo>
                      <a:pt x="211" y="61"/>
                    </a:lnTo>
                    <a:lnTo>
                      <a:pt x="209" y="61"/>
                    </a:lnTo>
                    <a:lnTo>
                      <a:pt x="207" y="61"/>
                    </a:lnTo>
                    <a:lnTo>
                      <a:pt x="206" y="61"/>
                    </a:lnTo>
                    <a:lnTo>
                      <a:pt x="206" y="63"/>
                    </a:lnTo>
                    <a:lnTo>
                      <a:pt x="204" y="61"/>
                    </a:lnTo>
                    <a:lnTo>
                      <a:pt x="202" y="61"/>
                    </a:lnTo>
                    <a:lnTo>
                      <a:pt x="200" y="61"/>
                    </a:lnTo>
                    <a:lnTo>
                      <a:pt x="200" y="63"/>
                    </a:lnTo>
                    <a:lnTo>
                      <a:pt x="199" y="63"/>
                    </a:lnTo>
                    <a:lnTo>
                      <a:pt x="197" y="63"/>
                    </a:lnTo>
                    <a:lnTo>
                      <a:pt x="195" y="63"/>
                    </a:lnTo>
                    <a:lnTo>
                      <a:pt x="195" y="64"/>
                    </a:lnTo>
                    <a:lnTo>
                      <a:pt x="194" y="64"/>
                    </a:lnTo>
                    <a:lnTo>
                      <a:pt x="194" y="63"/>
                    </a:lnTo>
                    <a:lnTo>
                      <a:pt x="192" y="63"/>
                    </a:lnTo>
                    <a:lnTo>
                      <a:pt x="190" y="63"/>
                    </a:lnTo>
                    <a:lnTo>
                      <a:pt x="190" y="61"/>
                    </a:lnTo>
                    <a:lnTo>
                      <a:pt x="189" y="61"/>
                    </a:lnTo>
                    <a:lnTo>
                      <a:pt x="189" y="63"/>
                    </a:lnTo>
                    <a:lnTo>
                      <a:pt x="187" y="63"/>
                    </a:lnTo>
                    <a:lnTo>
                      <a:pt x="187" y="61"/>
                    </a:lnTo>
                    <a:lnTo>
                      <a:pt x="185" y="61"/>
                    </a:lnTo>
                    <a:lnTo>
                      <a:pt x="185" y="59"/>
                    </a:lnTo>
                    <a:lnTo>
                      <a:pt x="183" y="61"/>
                    </a:lnTo>
                    <a:lnTo>
                      <a:pt x="182" y="61"/>
                    </a:lnTo>
                    <a:lnTo>
                      <a:pt x="182" y="59"/>
                    </a:lnTo>
                    <a:lnTo>
                      <a:pt x="182" y="61"/>
                    </a:lnTo>
                    <a:lnTo>
                      <a:pt x="182" y="59"/>
                    </a:lnTo>
                    <a:lnTo>
                      <a:pt x="180" y="59"/>
                    </a:lnTo>
                    <a:lnTo>
                      <a:pt x="180" y="57"/>
                    </a:lnTo>
                    <a:lnTo>
                      <a:pt x="178" y="57"/>
                    </a:lnTo>
                    <a:lnTo>
                      <a:pt x="178" y="59"/>
                    </a:lnTo>
                    <a:lnTo>
                      <a:pt x="177" y="59"/>
                    </a:lnTo>
                    <a:lnTo>
                      <a:pt x="177" y="57"/>
                    </a:lnTo>
                    <a:lnTo>
                      <a:pt x="175" y="57"/>
                    </a:lnTo>
                    <a:lnTo>
                      <a:pt x="173" y="57"/>
                    </a:lnTo>
                    <a:lnTo>
                      <a:pt x="173" y="59"/>
                    </a:lnTo>
                    <a:lnTo>
                      <a:pt x="173" y="57"/>
                    </a:lnTo>
                    <a:lnTo>
                      <a:pt x="172" y="57"/>
                    </a:lnTo>
                    <a:lnTo>
                      <a:pt x="173" y="57"/>
                    </a:lnTo>
                    <a:lnTo>
                      <a:pt x="172" y="57"/>
                    </a:lnTo>
                    <a:lnTo>
                      <a:pt x="172" y="56"/>
                    </a:lnTo>
                    <a:lnTo>
                      <a:pt x="172" y="57"/>
                    </a:lnTo>
                    <a:lnTo>
                      <a:pt x="170" y="56"/>
                    </a:lnTo>
                    <a:lnTo>
                      <a:pt x="168" y="56"/>
                    </a:lnTo>
                    <a:lnTo>
                      <a:pt x="166" y="56"/>
                    </a:lnTo>
                    <a:lnTo>
                      <a:pt x="168" y="56"/>
                    </a:lnTo>
                    <a:lnTo>
                      <a:pt x="168" y="57"/>
                    </a:lnTo>
                    <a:lnTo>
                      <a:pt x="168" y="56"/>
                    </a:lnTo>
                    <a:lnTo>
                      <a:pt x="166" y="56"/>
                    </a:lnTo>
                    <a:lnTo>
                      <a:pt x="166" y="54"/>
                    </a:lnTo>
                    <a:lnTo>
                      <a:pt x="165" y="54"/>
                    </a:lnTo>
                    <a:lnTo>
                      <a:pt x="163" y="54"/>
                    </a:lnTo>
                    <a:lnTo>
                      <a:pt x="163" y="52"/>
                    </a:lnTo>
                    <a:lnTo>
                      <a:pt x="161" y="52"/>
                    </a:lnTo>
                    <a:lnTo>
                      <a:pt x="160" y="52"/>
                    </a:lnTo>
                    <a:lnTo>
                      <a:pt x="160" y="51"/>
                    </a:lnTo>
                    <a:lnTo>
                      <a:pt x="158" y="51"/>
                    </a:lnTo>
                    <a:lnTo>
                      <a:pt x="158" y="49"/>
                    </a:lnTo>
                    <a:lnTo>
                      <a:pt x="156" y="49"/>
                    </a:lnTo>
                    <a:lnTo>
                      <a:pt x="156" y="47"/>
                    </a:lnTo>
                    <a:lnTo>
                      <a:pt x="156" y="49"/>
                    </a:lnTo>
                    <a:lnTo>
                      <a:pt x="156" y="47"/>
                    </a:lnTo>
                    <a:lnTo>
                      <a:pt x="155" y="47"/>
                    </a:lnTo>
                    <a:lnTo>
                      <a:pt x="155" y="46"/>
                    </a:lnTo>
                    <a:lnTo>
                      <a:pt x="153" y="46"/>
                    </a:lnTo>
                    <a:lnTo>
                      <a:pt x="153" y="44"/>
                    </a:lnTo>
                    <a:lnTo>
                      <a:pt x="153" y="46"/>
                    </a:lnTo>
                    <a:lnTo>
                      <a:pt x="151" y="46"/>
                    </a:lnTo>
                    <a:lnTo>
                      <a:pt x="150" y="44"/>
                    </a:lnTo>
                    <a:lnTo>
                      <a:pt x="148" y="46"/>
                    </a:lnTo>
                    <a:lnTo>
                      <a:pt x="146" y="46"/>
                    </a:lnTo>
                    <a:lnTo>
                      <a:pt x="144" y="46"/>
                    </a:lnTo>
                    <a:lnTo>
                      <a:pt x="143" y="46"/>
                    </a:lnTo>
                    <a:lnTo>
                      <a:pt x="141" y="46"/>
                    </a:lnTo>
                    <a:lnTo>
                      <a:pt x="139" y="46"/>
                    </a:lnTo>
                    <a:lnTo>
                      <a:pt x="138" y="46"/>
                    </a:lnTo>
                    <a:lnTo>
                      <a:pt x="136" y="46"/>
                    </a:lnTo>
                    <a:lnTo>
                      <a:pt x="134" y="46"/>
                    </a:lnTo>
                    <a:lnTo>
                      <a:pt x="133" y="44"/>
                    </a:lnTo>
                    <a:lnTo>
                      <a:pt x="131" y="44"/>
                    </a:lnTo>
                    <a:lnTo>
                      <a:pt x="131" y="42"/>
                    </a:lnTo>
                    <a:lnTo>
                      <a:pt x="129" y="42"/>
                    </a:lnTo>
                    <a:lnTo>
                      <a:pt x="129" y="40"/>
                    </a:lnTo>
                    <a:lnTo>
                      <a:pt x="129" y="39"/>
                    </a:lnTo>
                    <a:lnTo>
                      <a:pt x="129" y="37"/>
                    </a:lnTo>
                    <a:lnTo>
                      <a:pt x="127" y="37"/>
                    </a:lnTo>
                    <a:lnTo>
                      <a:pt x="127" y="39"/>
                    </a:lnTo>
                    <a:lnTo>
                      <a:pt x="127" y="40"/>
                    </a:lnTo>
                    <a:lnTo>
                      <a:pt x="127" y="42"/>
                    </a:lnTo>
                    <a:lnTo>
                      <a:pt x="127" y="44"/>
                    </a:lnTo>
                    <a:lnTo>
                      <a:pt x="127" y="46"/>
                    </a:lnTo>
                    <a:lnTo>
                      <a:pt x="126" y="46"/>
                    </a:lnTo>
                    <a:lnTo>
                      <a:pt x="124" y="46"/>
                    </a:lnTo>
                    <a:lnTo>
                      <a:pt x="122" y="46"/>
                    </a:lnTo>
                    <a:lnTo>
                      <a:pt x="121" y="46"/>
                    </a:lnTo>
                    <a:lnTo>
                      <a:pt x="119" y="46"/>
                    </a:lnTo>
                    <a:lnTo>
                      <a:pt x="119" y="44"/>
                    </a:lnTo>
                    <a:lnTo>
                      <a:pt x="119" y="46"/>
                    </a:lnTo>
                    <a:lnTo>
                      <a:pt x="121" y="46"/>
                    </a:lnTo>
                    <a:lnTo>
                      <a:pt x="122" y="46"/>
                    </a:lnTo>
                    <a:lnTo>
                      <a:pt x="122" y="44"/>
                    </a:lnTo>
                    <a:lnTo>
                      <a:pt x="122" y="46"/>
                    </a:lnTo>
                    <a:lnTo>
                      <a:pt x="122" y="44"/>
                    </a:lnTo>
                    <a:lnTo>
                      <a:pt x="121" y="42"/>
                    </a:lnTo>
                    <a:lnTo>
                      <a:pt x="121" y="40"/>
                    </a:lnTo>
                    <a:lnTo>
                      <a:pt x="119" y="40"/>
                    </a:lnTo>
                    <a:lnTo>
                      <a:pt x="117" y="40"/>
                    </a:lnTo>
                    <a:lnTo>
                      <a:pt x="116" y="39"/>
                    </a:lnTo>
                    <a:lnTo>
                      <a:pt x="117" y="40"/>
                    </a:lnTo>
                    <a:lnTo>
                      <a:pt x="116" y="40"/>
                    </a:lnTo>
                    <a:lnTo>
                      <a:pt x="114" y="40"/>
                    </a:lnTo>
                    <a:lnTo>
                      <a:pt x="114" y="39"/>
                    </a:lnTo>
                    <a:lnTo>
                      <a:pt x="112" y="39"/>
                    </a:lnTo>
                    <a:lnTo>
                      <a:pt x="112" y="40"/>
                    </a:lnTo>
                    <a:lnTo>
                      <a:pt x="110" y="40"/>
                    </a:lnTo>
                    <a:lnTo>
                      <a:pt x="112" y="40"/>
                    </a:lnTo>
                    <a:lnTo>
                      <a:pt x="112" y="42"/>
                    </a:lnTo>
                    <a:lnTo>
                      <a:pt x="114" y="40"/>
                    </a:lnTo>
                    <a:lnTo>
                      <a:pt x="112" y="42"/>
                    </a:lnTo>
                    <a:lnTo>
                      <a:pt x="112" y="40"/>
                    </a:lnTo>
                    <a:lnTo>
                      <a:pt x="110" y="40"/>
                    </a:lnTo>
                    <a:lnTo>
                      <a:pt x="112" y="40"/>
                    </a:lnTo>
                    <a:lnTo>
                      <a:pt x="110" y="40"/>
                    </a:lnTo>
                    <a:lnTo>
                      <a:pt x="109" y="40"/>
                    </a:lnTo>
                    <a:lnTo>
                      <a:pt x="109" y="39"/>
                    </a:lnTo>
                    <a:lnTo>
                      <a:pt x="109" y="40"/>
                    </a:lnTo>
                    <a:lnTo>
                      <a:pt x="107" y="40"/>
                    </a:lnTo>
                    <a:lnTo>
                      <a:pt x="105" y="40"/>
                    </a:lnTo>
                    <a:lnTo>
                      <a:pt x="105" y="39"/>
                    </a:lnTo>
                    <a:lnTo>
                      <a:pt x="105" y="37"/>
                    </a:lnTo>
                    <a:lnTo>
                      <a:pt x="104" y="37"/>
                    </a:lnTo>
                    <a:lnTo>
                      <a:pt x="102" y="37"/>
                    </a:lnTo>
                    <a:lnTo>
                      <a:pt x="100" y="37"/>
                    </a:lnTo>
                    <a:lnTo>
                      <a:pt x="100" y="35"/>
                    </a:lnTo>
                    <a:lnTo>
                      <a:pt x="99" y="35"/>
                    </a:lnTo>
                    <a:lnTo>
                      <a:pt x="97" y="35"/>
                    </a:lnTo>
                    <a:lnTo>
                      <a:pt x="97" y="34"/>
                    </a:lnTo>
                    <a:lnTo>
                      <a:pt x="95" y="34"/>
                    </a:lnTo>
                    <a:lnTo>
                      <a:pt x="95" y="32"/>
                    </a:lnTo>
                    <a:lnTo>
                      <a:pt x="97" y="32"/>
                    </a:lnTo>
                    <a:lnTo>
                      <a:pt x="99" y="32"/>
                    </a:lnTo>
                    <a:lnTo>
                      <a:pt x="100" y="32"/>
                    </a:lnTo>
                    <a:lnTo>
                      <a:pt x="102" y="30"/>
                    </a:lnTo>
                    <a:lnTo>
                      <a:pt x="102" y="32"/>
                    </a:lnTo>
                    <a:lnTo>
                      <a:pt x="104" y="32"/>
                    </a:lnTo>
                    <a:lnTo>
                      <a:pt x="104" y="30"/>
                    </a:lnTo>
                    <a:lnTo>
                      <a:pt x="105" y="32"/>
                    </a:lnTo>
                    <a:lnTo>
                      <a:pt x="107" y="32"/>
                    </a:lnTo>
                    <a:lnTo>
                      <a:pt x="107" y="30"/>
                    </a:lnTo>
                    <a:lnTo>
                      <a:pt x="109" y="30"/>
                    </a:lnTo>
                    <a:lnTo>
                      <a:pt x="110" y="30"/>
                    </a:lnTo>
                    <a:lnTo>
                      <a:pt x="112" y="30"/>
                    </a:lnTo>
                    <a:lnTo>
                      <a:pt x="112" y="29"/>
                    </a:lnTo>
                    <a:lnTo>
                      <a:pt x="112" y="27"/>
                    </a:lnTo>
                    <a:lnTo>
                      <a:pt x="112" y="25"/>
                    </a:lnTo>
                    <a:lnTo>
                      <a:pt x="112" y="27"/>
                    </a:lnTo>
                    <a:lnTo>
                      <a:pt x="110" y="25"/>
                    </a:lnTo>
                    <a:lnTo>
                      <a:pt x="109" y="23"/>
                    </a:lnTo>
                    <a:lnTo>
                      <a:pt x="107" y="23"/>
                    </a:lnTo>
                    <a:lnTo>
                      <a:pt x="105" y="22"/>
                    </a:lnTo>
                    <a:lnTo>
                      <a:pt x="104" y="22"/>
                    </a:lnTo>
                    <a:lnTo>
                      <a:pt x="102" y="22"/>
                    </a:lnTo>
                    <a:lnTo>
                      <a:pt x="100" y="22"/>
                    </a:lnTo>
                    <a:lnTo>
                      <a:pt x="99" y="22"/>
                    </a:lnTo>
                    <a:lnTo>
                      <a:pt x="99" y="23"/>
                    </a:lnTo>
                    <a:lnTo>
                      <a:pt x="97" y="23"/>
                    </a:lnTo>
                    <a:lnTo>
                      <a:pt x="95" y="22"/>
                    </a:lnTo>
                    <a:lnTo>
                      <a:pt x="93" y="22"/>
                    </a:lnTo>
                    <a:lnTo>
                      <a:pt x="92" y="22"/>
                    </a:lnTo>
                    <a:lnTo>
                      <a:pt x="90" y="22"/>
                    </a:lnTo>
                    <a:lnTo>
                      <a:pt x="88" y="22"/>
                    </a:lnTo>
                    <a:lnTo>
                      <a:pt x="87" y="22"/>
                    </a:lnTo>
                    <a:lnTo>
                      <a:pt x="85" y="22"/>
                    </a:lnTo>
                    <a:lnTo>
                      <a:pt x="83" y="22"/>
                    </a:lnTo>
                    <a:lnTo>
                      <a:pt x="82" y="22"/>
                    </a:lnTo>
                    <a:lnTo>
                      <a:pt x="80" y="22"/>
                    </a:lnTo>
                    <a:lnTo>
                      <a:pt x="78" y="22"/>
                    </a:lnTo>
                    <a:lnTo>
                      <a:pt x="76" y="22"/>
                    </a:lnTo>
                    <a:lnTo>
                      <a:pt x="75" y="22"/>
                    </a:lnTo>
                    <a:lnTo>
                      <a:pt x="75" y="23"/>
                    </a:lnTo>
                    <a:lnTo>
                      <a:pt x="73" y="23"/>
                    </a:lnTo>
                    <a:lnTo>
                      <a:pt x="73" y="25"/>
                    </a:lnTo>
                    <a:lnTo>
                      <a:pt x="71" y="25"/>
                    </a:lnTo>
                    <a:lnTo>
                      <a:pt x="70" y="27"/>
                    </a:lnTo>
                    <a:lnTo>
                      <a:pt x="68" y="27"/>
                    </a:lnTo>
                    <a:lnTo>
                      <a:pt x="68" y="29"/>
                    </a:lnTo>
                    <a:lnTo>
                      <a:pt x="66" y="29"/>
                    </a:lnTo>
                    <a:lnTo>
                      <a:pt x="65" y="29"/>
                    </a:lnTo>
                    <a:lnTo>
                      <a:pt x="63" y="29"/>
                    </a:lnTo>
                    <a:lnTo>
                      <a:pt x="65" y="30"/>
                    </a:lnTo>
                    <a:lnTo>
                      <a:pt x="63" y="30"/>
                    </a:lnTo>
                    <a:lnTo>
                      <a:pt x="63" y="32"/>
                    </a:lnTo>
                    <a:lnTo>
                      <a:pt x="61" y="34"/>
                    </a:lnTo>
                    <a:lnTo>
                      <a:pt x="61" y="35"/>
                    </a:lnTo>
                    <a:lnTo>
                      <a:pt x="59" y="35"/>
                    </a:lnTo>
                    <a:lnTo>
                      <a:pt x="59" y="34"/>
                    </a:lnTo>
                    <a:lnTo>
                      <a:pt x="58" y="34"/>
                    </a:lnTo>
                    <a:lnTo>
                      <a:pt x="58" y="35"/>
                    </a:lnTo>
                    <a:lnTo>
                      <a:pt x="56" y="35"/>
                    </a:lnTo>
                    <a:lnTo>
                      <a:pt x="58" y="35"/>
                    </a:lnTo>
                    <a:lnTo>
                      <a:pt x="56" y="37"/>
                    </a:lnTo>
                    <a:lnTo>
                      <a:pt x="56" y="39"/>
                    </a:lnTo>
                    <a:lnTo>
                      <a:pt x="56" y="37"/>
                    </a:lnTo>
                    <a:lnTo>
                      <a:pt x="54" y="39"/>
                    </a:lnTo>
                    <a:lnTo>
                      <a:pt x="53" y="39"/>
                    </a:lnTo>
                    <a:lnTo>
                      <a:pt x="53" y="40"/>
                    </a:lnTo>
                    <a:lnTo>
                      <a:pt x="53" y="39"/>
                    </a:lnTo>
                    <a:lnTo>
                      <a:pt x="53" y="40"/>
                    </a:lnTo>
                    <a:lnTo>
                      <a:pt x="51" y="40"/>
                    </a:lnTo>
                    <a:lnTo>
                      <a:pt x="49" y="40"/>
                    </a:lnTo>
                    <a:lnTo>
                      <a:pt x="48" y="40"/>
                    </a:lnTo>
                    <a:lnTo>
                      <a:pt x="48" y="39"/>
                    </a:lnTo>
                    <a:lnTo>
                      <a:pt x="46" y="39"/>
                    </a:lnTo>
                    <a:lnTo>
                      <a:pt x="46" y="40"/>
                    </a:lnTo>
                    <a:lnTo>
                      <a:pt x="44" y="40"/>
                    </a:lnTo>
                    <a:lnTo>
                      <a:pt x="42" y="40"/>
                    </a:lnTo>
                    <a:lnTo>
                      <a:pt x="41" y="40"/>
                    </a:lnTo>
                    <a:lnTo>
                      <a:pt x="39" y="40"/>
                    </a:lnTo>
                    <a:lnTo>
                      <a:pt x="37" y="40"/>
                    </a:lnTo>
                    <a:lnTo>
                      <a:pt x="36" y="40"/>
                    </a:lnTo>
                    <a:lnTo>
                      <a:pt x="36" y="42"/>
                    </a:lnTo>
                    <a:lnTo>
                      <a:pt x="34" y="42"/>
                    </a:lnTo>
                    <a:lnTo>
                      <a:pt x="34" y="44"/>
                    </a:lnTo>
                    <a:lnTo>
                      <a:pt x="34" y="46"/>
                    </a:lnTo>
                    <a:lnTo>
                      <a:pt x="34" y="47"/>
                    </a:lnTo>
                    <a:lnTo>
                      <a:pt x="32" y="47"/>
                    </a:lnTo>
                    <a:lnTo>
                      <a:pt x="32" y="49"/>
                    </a:lnTo>
                    <a:lnTo>
                      <a:pt x="32" y="51"/>
                    </a:lnTo>
                    <a:lnTo>
                      <a:pt x="31" y="51"/>
                    </a:lnTo>
                    <a:lnTo>
                      <a:pt x="31" y="49"/>
                    </a:lnTo>
                    <a:lnTo>
                      <a:pt x="29" y="49"/>
                    </a:lnTo>
                    <a:lnTo>
                      <a:pt x="27" y="49"/>
                    </a:lnTo>
                    <a:lnTo>
                      <a:pt x="27" y="51"/>
                    </a:lnTo>
                    <a:lnTo>
                      <a:pt x="25" y="51"/>
                    </a:lnTo>
                    <a:lnTo>
                      <a:pt x="24" y="51"/>
                    </a:lnTo>
                    <a:lnTo>
                      <a:pt x="22" y="51"/>
                    </a:lnTo>
                    <a:lnTo>
                      <a:pt x="22" y="52"/>
                    </a:lnTo>
                    <a:lnTo>
                      <a:pt x="20" y="52"/>
                    </a:lnTo>
                    <a:lnTo>
                      <a:pt x="20" y="54"/>
                    </a:lnTo>
                    <a:lnTo>
                      <a:pt x="19" y="54"/>
                    </a:lnTo>
                    <a:lnTo>
                      <a:pt x="19" y="56"/>
                    </a:lnTo>
                    <a:lnTo>
                      <a:pt x="17" y="56"/>
                    </a:lnTo>
                    <a:lnTo>
                      <a:pt x="15" y="56"/>
                    </a:lnTo>
                    <a:lnTo>
                      <a:pt x="15" y="54"/>
                    </a:lnTo>
                    <a:lnTo>
                      <a:pt x="17" y="52"/>
                    </a:lnTo>
                    <a:lnTo>
                      <a:pt x="17" y="51"/>
                    </a:lnTo>
                    <a:lnTo>
                      <a:pt x="17" y="49"/>
                    </a:lnTo>
                    <a:lnTo>
                      <a:pt x="15" y="49"/>
                    </a:lnTo>
                    <a:lnTo>
                      <a:pt x="14" y="49"/>
                    </a:lnTo>
                    <a:lnTo>
                      <a:pt x="12" y="49"/>
                    </a:lnTo>
                    <a:lnTo>
                      <a:pt x="12" y="51"/>
                    </a:lnTo>
                    <a:lnTo>
                      <a:pt x="10" y="51"/>
                    </a:lnTo>
                    <a:lnTo>
                      <a:pt x="8" y="51"/>
                    </a:lnTo>
                    <a:lnTo>
                      <a:pt x="8" y="52"/>
                    </a:lnTo>
                    <a:lnTo>
                      <a:pt x="7" y="52"/>
                    </a:lnTo>
                    <a:lnTo>
                      <a:pt x="7" y="54"/>
                    </a:lnTo>
                    <a:lnTo>
                      <a:pt x="5" y="54"/>
                    </a:lnTo>
                    <a:lnTo>
                      <a:pt x="3" y="54"/>
                    </a:lnTo>
                    <a:lnTo>
                      <a:pt x="2" y="52"/>
                    </a:lnTo>
                    <a:lnTo>
                      <a:pt x="0" y="52"/>
                    </a:lnTo>
                    <a:lnTo>
                      <a:pt x="2" y="51"/>
                    </a:lnTo>
                    <a:lnTo>
                      <a:pt x="3" y="51"/>
                    </a:lnTo>
                    <a:lnTo>
                      <a:pt x="5" y="51"/>
                    </a:lnTo>
                    <a:lnTo>
                      <a:pt x="5" y="49"/>
                    </a:lnTo>
                    <a:lnTo>
                      <a:pt x="3" y="49"/>
                    </a:lnTo>
                    <a:lnTo>
                      <a:pt x="3" y="51"/>
                    </a:lnTo>
                    <a:lnTo>
                      <a:pt x="3" y="49"/>
                    </a:lnTo>
                    <a:lnTo>
                      <a:pt x="5" y="49"/>
                    </a:lnTo>
                    <a:lnTo>
                      <a:pt x="5" y="51"/>
                    </a:lnTo>
                    <a:lnTo>
                      <a:pt x="7" y="51"/>
                    </a:lnTo>
                    <a:lnTo>
                      <a:pt x="8" y="49"/>
                    </a:lnTo>
                    <a:lnTo>
                      <a:pt x="10" y="49"/>
                    </a:lnTo>
                    <a:lnTo>
                      <a:pt x="10" y="47"/>
                    </a:lnTo>
                    <a:lnTo>
                      <a:pt x="12" y="47"/>
                    </a:lnTo>
                    <a:lnTo>
                      <a:pt x="14" y="47"/>
                    </a:lnTo>
                    <a:lnTo>
                      <a:pt x="14" y="46"/>
                    </a:lnTo>
                    <a:lnTo>
                      <a:pt x="15" y="46"/>
                    </a:lnTo>
                    <a:lnTo>
                      <a:pt x="17" y="46"/>
                    </a:lnTo>
                    <a:lnTo>
                      <a:pt x="17" y="47"/>
                    </a:lnTo>
                    <a:lnTo>
                      <a:pt x="19" y="47"/>
                    </a:lnTo>
                    <a:lnTo>
                      <a:pt x="19" y="46"/>
                    </a:lnTo>
                    <a:lnTo>
                      <a:pt x="20" y="46"/>
                    </a:lnTo>
                    <a:lnTo>
                      <a:pt x="20" y="47"/>
                    </a:lnTo>
                    <a:lnTo>
                      <a:pt x="22" y="47"/>
                    </a:lnTo>
                    <a:lnTo>
                      <a:pt x="22" y="46"/>
                    </a:lnTo>
                    <a:lnTo>
                      <a:pt x="24" y="47"/>
                    </a:lnTo>
                    <a:lnTo>
                      <a:pt x="24" y="46"/>
                    </a:lnTo>
                    <a:lnTo>
                      <a:pt x="24" y="44"/>
                    </a:lnTo>
                    <a:lnTo>
                      <a:pt x="24" y="46"/>
                    </a:lnTo>
                    <a:lnTo>
                      <a:pt x="22" y="46"/>
                    </a:lnTo>
                    <a:lnTo>
                      <a:pt x="22" y="44"/>
                    </a:lnTo>
                    <a:lnTo>
                      <a:pt x="20" y="44"/>
                    </a:lnTo>
                    <a:lnTo>
                      <a:pt x="22" y="44"/>
                    </a:lnTo>
                    <a:lnTo>
                      <a:pt x="22" y="42"/>
                    </a:lnTo>
                    <a:lnTo>
                      <a:pt x="20" y="42"/>
                    </a:lnTo>
                    <a:lnTo>
                      <a:pt x="19" y="42"/>
                    </a:lnTo>
                    <a:lnTo>
                      <a:pt x="19" y="40"/>
                    </a:lnTo>
                    <a:lnTo>
                      <a:pt x="19" y="39"/>
                    </a:lnTo>
                    <a:lnTo>
                      <a:pt x="19" y="40"/>
                    </a:lnTo>
                    <a:lnTo>
                      <a:pt x="19" y="39"/>
                    </a:lnTo>
                    <a:lnTo>
                      <a:pt x="19" y="40"/>
                    </a:lnTo>
                    <a:lnTo>
                      <a:pt x="17" y="40"/>
                    </a:lnTo>
                    <a:lnTo>
                      <a:pt x="19" y="39"/>
                    </a:lnTo>
                    <a:lnTo>
                      <a:pt x="19" y="37"/>
                    </a:lnTo>
                    <a:lnTo>
                      <a:pt x="19" y="35"/>
                    </a:lnTo>
                    <a:lnTo>
                      <a:pt x="20" y="34"/>
                    </a:lnTo>
                    <a:lnTo>
                      <a:pt x="22" y="32"/>
                    </a:lnTo>
                    <a:lnTo>
                      <a:pt x="22" y="30"/>
                    </a:lnTo>
                    <a:lnTo>
                      <a:pt x="24" y="30"/>
                    </a:lnTo>
                    <a:lnTo>
                      <a:pt x="22" y="30"/>
                    </a:lnTo>
                    <a:lnTo>
                      <a:pt x="24" y="30"/>
                    </a:lnTo>
                    <a:lnTo>
                      <a:pt x="24" y="29"/>
                    </a:lnTo>
                    <a:lnTo>
                      <a:pt x="25" y="29"/>
                    </a:lnTo>
                    <a:lnTo>
                      <a:pt x="25" y="27"/>
                    </a:lnTo>
                    <a:lnTo>
                      <a:pt x="27" y="27"/>
                    </a:lnTo>
                    <a:lnTo>
                      <a:pt x="27" y="25"/>
                    </a:lnTo>
                    <a:lnTo>
                      <a:pt x="29" y="27"/>
                    </a:lnTo>
                    <a:lnTo>
                      <a:pt x="29" y="25"/>
                    </a:lnTo>
                    <a:lnTo>
                      <a:pt x="29" y="23"/>
                    </a:lnTo>
                    <a:lnTo>
                      <a:pt x="29" y="25"/>
                    </a:lnTo>
                    <a:lnTo>
                      <a:pt x="29" y="23"/>
                    </a:lnTo>
                    <a:lnTo>
                      <a:pt x="29" y="25"/>
                    </a:lnTo>
                    <a:lnTo>
                      <a:pt x="31" y="25"/>
                    </a:lnTo>
                    <a:lnTo>
                      <a:pt x="31" y="23"/>
                    </a:lnTo>
                    <a:lnTo>
                      <a:pt x="32" y="23"/>
                    </a:lnTo>
                    <a:lnTo>
                      <a:pt x="32" y="22"/>
                    </a:lnTo>
                    <a:lnTo>
                      <a:pt x="31" y="22"/>
                    </a:lnTo>
                    <a:lnTo>
                      <a:pt x="32" y="20"/>
                    </a:lnTo>
                    <a:lnTo>
                      <a:pt x="32" y="22"/>
                    </a:lnTo>
                    <a:lnTo>
                      <a:pt x="34" y="22"/>
                    </a:lnTo>
                    <a:lnTo>
                      <a:pt x="36" y="22"/>
                    </a:lnTo>
                    <a:lnTo>
                      <a:pt x="36" y="20"/>
                    </a:lnTo>
                    <a:lnTo>
                      <a:pt x="37" y="22"/>
                    </a:lnTo>
                    <a:lnTo>
                      <a:pt x="37" y="20"/>
                    </a:lnTo>
                    <a:lnTo>
                      <a:pt x="37" y="18"/>
                    </a:lnTo>
                    <a:lnTo>
                      <a:pt x="37" y="20"/>
                    </a:lnTo>
                    <a:lnTo>
                      <a:pt x="39" y="20"/>
                    </a:lnTo>
                    <a:lnTo>
                      <a:pt x="41" y="20"/>
                    </a:lnTo>
                    <a:lnTo>
                      <a:pt x="41" y="18"/>
                    </a:lnTo>
                    <a:lnTo>
                      <a:pt x="42" y="18"/>
                    </a:lnTo>
                    <a:lnTo>
                      <a:pt x="42" y="17"/>
                    </a:lnTo>
                    <a:lnTo>
                      <a:pt x="42" y="18"/>
                    </a:lnTo>
                    <a:lnTo>
                      <a:pt x="42" y="17"/>
                    </a:lnTo>
                    <a:lnTo>
                      <a:pt x="42" y="18"/>
                    </a:lnTo>
                    <a:lnTo>
                      <a:pt x="44" y="18"/>
                    </a:lnTo>
                    <a:lnTo>
                      <a:pt x="46" y="18"/>
                    </a:lnTo>
                    <a:lnTo>
                      <a:pt x="44" y="17"/>
                    </a:lnTo>
                    <a:lnTo>
                      <a:pt x="46" y="17"/>
                    </a:lnTo>
                    <a:lnTo>
                      <a:pt x="48" y="17"/>
                    </a:lnTo>
                    <a:lnTo>
                      <a:pt x="48" y="15"/>
                    </a:lnTo>
                    <a:lnTo>
                      <a:pt x="49" y="15"/>
                    </a:lnTo>
                    <a:lnTo>
                      <a:pt x="49" y="17"/>
                    </a:lnTo>
                    <a:lnTo>
                      <a:pt x="51" y="15"/>
                    </a:lnTo>
                    <a:lnTo>
                      <a:pt x="51" y="13"/>
                    </a:lnTo>
                    <a:lnTo>
                      <a:pt x="53" y="13"/>
                    </a:lnTo>
                    <a:lnTo>
                      <a:pt x="51" y="13"/>
                    </a:lnTo>
                    <a:lnTo>
                      <a:pt x="53" y="13"/>
                    </a:lnTo>
                    <a:lnTo>
                      <a:pt x="53" y="15"/>
                    </a:lnTo>
                    <a:lnTo>
                      <a:pt x="54" y="15"/>
                    </a:lnTo>
                    <a:lnTo>
                      <a:pt x="54" y="13"/>
                    </a:lnTo>
                    <a:lnTo>
                      <a:pt x="56" y="13"/>
                    </a:lnTo>
                    <a:lnTo>
                      <a:pt x="56" y="12"/>
                    </a:lnTo>
                    <a:lnTo>
                      <a:pt x="58" y="12"/>
                    </a:lnTo>
                    <a:lnTo>
                      <a:pt x="59" y="10"/>
                    </a:lnTo>
                    <a:lnTo>
                      <a:pt x="61" y="12"/>
                    </a:lnTo>
                    <a:lnTo>
                      <a:pt x="63" y="10"/>
                    </a:lnTo>
                    <a:lnTo>
                      <a:pt x="63" y="12"/>
                    </a:lnTo>
                    <a:lnTo>
                      <a:pt x="63" y="10"/>
                    </a:lnTo>
                    <a:lnTo>
                      <a:pt x="65" y="10"/>
                    </a:lnTo>
                    <a:lnTo>
                      <a:pt x="66" y="10"/>
                    </a:lnTo>
                    <a:lnTo>
                      <a:pt x="68" y="10"/>
                    </a:lnTo>
                    <a:lnTo>
                      <a:pt x="70" y="10"/>
                    </a:lnTo>
                    <a:lnTo>
                      <a:pt x="71" y="10"/>
                    </a:lnTo>
                    <a:lnTo>
                      <a:pt x="73" y="10"/>
                    </a:lnTo>
                    <a:lnTo>
                      <a:pt x="75" y="10"/>
                    </a:lnTo>
                    <a:lnTo>
                      <a:pt x="76" y="10"/>
                    </a:lnTo>
                    <a:lnTo>
                      <a:pt x="78" y="10"/>
                    </a:lnTo>
                    <a:lnTo>
                      <a:pt x="78" y="8"/>
                    </a:lnTo>
                    <a:lnTo>
                      <a:pt x="80" y="8"/>
                    </a:lnTo>
                    <a:lnTo>
                      <a:pt x="82" y="8"/>
                    </a:lnTo>
                    <a:lnTo>
                      <a:pt x="83" y="8"/>
                    </a:lnTo>
                    <a:lnTo>
                      <a:pt x="83" y="6"/>
                    </a:lnTo>
                    <a:lnTo>
                      <a:pt x="85" y="6"/>
                    </a:lnTo>
                    <a:lnTo>
                      <a:pt x="87" y="5"/>
                    </a:lnTo>
                    <a:lnTo>
                      <a:pt x="87" y="6"/>
                    </a:lnTo>
                    <a:lnTo>
                      <a:pt x="87" y="5"/>
                    </a:lnTo>
                    <a:lnTo>
                      <a:pt x="88" y="5"/>
                    </a:lnTo>
                    <a:lnTo>
                      <a:pt x="88" y="6"/>
                    </a:lnTo>
                    <a:lnTo>
                      <a:pt x="88" y="5"/>
                    </a:lnTo>
                    <a:lnTo>
                      <a:pt x="90" y="5"/>
                    </a:lnTo>
                    <a:lnTo>
                      <a:pt x="88" y="5"/>
                    </a:lnTo>
                    <a:lnTo>
                      <a:pt x="90" y="5"/>
                    </a:lnTo>
                    <a:lnTo>
                      <a:pt x="92" y="5"/>
                    </a:lnTo>
                    <a:lnTo>
                      <a:pt x="92" y="3"/>
                    </a:lnTo>
                    <a:lnTo>
                      <a:pt x="92" y="5"/>
                    </a:lnTo>
                    <a:lnTo>
                      <a:pt x="93" y="3"/>
                    </a:lnTo>
                    <a:lnTo>
                      <a:pt x="95" y="5"/>
                    </a:lnTo>
                    <a:lnTo>
                      <a:pt x="97" y="5"/>
                    </a:lnTo>
                    <a:lnTo>
                      <a:pt x="97" y="3"/>
                    </a:lnTo>
                    <a:lnTo>
                      <a:pt x="99" y="3"/>
                    </a:lnTo>
                    <a:lnTo>
                      <a:pt x="100" y="3"/>
                    </a:lnTo>
                    <a:lnTo>
                      <a:pt x="100" y="5"/>
                    </a:lnTo>
                    <a:lnTo>
                      <a:pt x="100" y="3"/>
                    </a:lnTo>
                    <a:lnTo>
                      <a:pt x="100" y="5"/>
                    </a:lnTo>
                    <a:lnTo>
                      <a:pt x="102" y="5"/>
                    </a:lnTo>
                    <a:lnTo>
                      <a:pt x="104" y="5"/>
                    </a:lnTo>
                    <a:lnTo>
                      <a:pt x="105" y="5"/>
                    </a:lnTo>
                    <a:lnTo>
                      <a:pt x="107" y="5"/>
                    </a:lnTo>
                    <a:lnTo>
                      <a:pt x="109" y="5"/>
                    </a:lnTo>
                    <a:lnTo>
                      <a:pt x="110" y="5"/>
                    </a:lnTo>
                    <a:lnTo>
                      <a:pt x="112" y="5"/>
                    </a:lnTo>
                    <a:lnTo>
                      <a:pt x="114" y="5"/>
                    </a:lnTo>
                    <a:lnTo>
                      <a:pt x="116" y="5"/>
                    </a:lnTo>
                    <a:lnTo>
                      <a:pt x="116" y="6"/>
                    </a:lnTo>
                    <a:lnTo>
                      <a:pt x="116" y="8"/>
                    </a:lnTo>
                    <a:lnTo>
                      <a:pt x="116" y="10"/>
                    </a:lnTo>
                    <a:lnTo>
                      <a:pt x="116" y="8"/>
                    </a:lnTo>
                    <a:lnTo>
                      <a:pt x="117" y="8"/>
                    </a:lnTo>
                    <a:lnTo>
                      <a:pt x="119" y="6"/>
                    </a:lnTo>
                    <a:lnTo>
                      <a:pt x="121" y="6"/>
                    </a:lnTo>
                    <a:lnTo>
                      <a:pt x="122" y="6"/>
                    </a:lnTo>
                    <a:lnTo>
                      <a:pt x="124" y="5"/>
                    </a:lnTo>
                    <a:lnTo>
                      <a:pt x="126" y="5"/>
                    </a:lnTo>
                    <a:lnTo>
                      <a:pt x="127" y="5"/>
                    </a:lnTo>
                    <a:lnTo>
                      <a:pt x="127" y="3"/>
                    </a:lnTo>
                    <a:lnTo>
                      <a:pt x="129" y="3"/>
                    </a:lnTo>
                    <a:lnTo>
                      <a:pt x="131" y="3"/>
                    </a:lnTo>
                    <a:lnTo>
                      <a:pt x="129" y="3"/>
                    </a:lnTo>
                    <a:lnTo>
                      <a:pt x="129" y="5"/>
                    </a:lnTo>
                    <a:lnTo>
                      <a:pt x="127" y="3"/>
                    </a:lnTo>
                    <a:lnTo>
                      <a:pt x="127" y="5"/>
                    </a:lnTo>
                    <a:lnTo>
                      <a:pt x="126" y="5"/>
                    </a:lnTo>
                    <a:lnTo>
                      <a:pt x="124" y="6"/>
                    </a:lnTo>
                    <a:lnTo>
                      <a:pt x="126" y="5"/>
                    </a:lnTo>
                    <a:lnTo>
                      <a:pt x="124" y="6"/>
                    </a:lnTo>
                    <a:lnTo>
                      <a:pt x="126" y="6"/>
                    </a:lnTo>
                    <a:lnTo>
                      <a:pt x="126" y="8"/>
                    </a:lnTo>
                    <a:lnTo>
                      <a:pt x="127" y="8"/>
                    </a:lnTo>
                    <a:lnTo>
                      <a:pt x="129" y="10"/>
                    </a:lnTo>
                    <a:lnTo>
                      <a:pt x="131" y="10"/>
                    </a:lnTo>
                    <a:lnTo>
                      <a:pt x="131" y="8"/>
                    </a:lnTo>
                    <a:lnTo>
                      <a:pt x="131" y="6"/>
                    </a:lnTo>
                    <a:lnTo>
                      <a:pt x="133" y="6"/>
                    </a:lnTo>
                    <a:lnTo>
                      <a:pt x="134" y="6"/>
                    </a:lnTo>
                    <a:lnTo>
                      <a:pt x="134" y="8"/>
                    </a:lnTo>
                    <a:lnTo>
                      <a:pt x="136" y="8"/>
                    </a:lnTo>
                    <a:lnTo>
                      <a:pt x="138" y="8"/>
                    </a:lnTo>
                    <a:lnTo>
                      <a:pt x="139" y="8"/>
                    </a:lnTo>
                    <a:lnTo>
                      <a:pt x="141" y="8"/>
                    </a:lnTo>
                    <a:lnTo>
                      <a:pt x="141" y="6"/>
                    </a:lnTo>
                    <a:lnTo>
                      <a:pt x="143" y="6"/>
                    </a:lnTo>
                    <a:lnTo>
                      <a:pt x="143" y="8"/>
                    </a:lnTo>
                    <a:lnTo>
                      <a:pt x="144" y="6"/>
                    </a:lnTo>
                    <a:lnTo>
                      <a:pt x="144" y="8"/>
                    </a:lnTo>
                    <a:lnTo>
                      <a:pt x="146" y="8"/>
                    </a:lnTo>
                    <a:lnTo>
                      <a:pt x="146" y="6"/>
                    </a:lnTo>
                    <a:lnTo>
                      <a:pt x="148" y="6"/>
                    </a:lnTo>
                    <a:lnTo>
                      <a:pt x="146" y="5"/>
                    </a:lnTo>
                    <a:lnTo>
                      <a:pt x="148" y="5"/>
                    </a:lnTo>
                    <a:lnTo>
                      <a:pt x="148" y="6"/>
                    </a:lnTo>
                    <a:lnTo>
                      <a:pt x="146" y="6"/>
                    </a:lnTo>
                    <a:lnTo>
                      <a:pt x="146" y="8"/>
                    </a:lnTo>
                    <a:lnTo>
                      <a:pt x="148" y="8"/>
                    </a:lnTo>
                    <a:lnTo>
                      <a:pt x="150" y="10"/>
                    </a:lnTo>
                    <a:lnTo>
                      <a:pt x="150" y="12"/>
                    </a:lnTo>
                    <a:lnTo>
                      <a:pt x="151" y="12"/>
                    </a:lnTo>
                    <a:lnTo>
                      <a:pt x="153" y="12"/>
                    </a:lnTo>
                    <a:lnTo>
                      <a:pt x="155" y="13"/>
                    </a:lnTo>
                    <a:lnTo>
                      <a:pt x="156" y="13"/>
                    </a:lnTo>
                    <a:lnTo>
                      <a:pt x="155" y="12"/>
                    </a:lnTo>
                    <a:lnTo>
                      <a:pt x="156" y="12"/>
                    </a:lnTo>
                    <a:lnTo>
                      <a:pt x="156" y="13"/>
                    </a:lnTo>
                    <a:lnTo>
                      <a:pt x="158" y="13"/>
                    </a:lnTo>
                    <a:lnTo>
                      <a:pt x="160" y="13"/>
                    </a:lnTo>
                    <a:lnTo>
                      <a:pt x="161" y="13"/>
                    </a:lnTo>
                    <a:lnTo>
                      <a:pt x="163" y="13"/>
                    </a:lnTo>
                    <a:lnTo>
                      <a:pt x="163" y="12"/>
                    </a:lnTo>
                    <a:lnTo>
                      <a:pt x="161" y="12"/>
                    </a:lnTo>
                    <a:lnTo>
                      <a:pt x="163" y="12"/>
                    </a:lnTo>
                    <a:lnTo>
                      <a:pt x="165" y="12"/>
                    </a:lnTo>
                    <a:lnTo>
                      <a:pt x="165" y="13"/>
                    </a:lnTo>
                    <a:lnTo>
                      <a:pt x="166" y="13"/>
                    </a:lnTo>
                    <a:lnTo>
                      <a:pt x="166" y="12"/>
                    </a:lnTo>
                    <a:lnTo>
                      <a:pt x="166" y="13"/>
                    </a:lnTo>
                    <a:lnTo>
                      <a:pt x="168" y="12"/>
                    </a:lnTo>
                    <a:lnTo>
                      <a:pt x="166" y="13"/>
                    </a:lnTo>
                    <a:lnTo>
                      <a:pt x="168" y="13"/>
                    </a:lnTo>
                    <a:lnTo>
                      <a:pt x="168" y="15"/>
                    </a:lnTo>
                    <a:lnTo>
                      <a:pt x="170" y="15"/>
                    </a:lnTo>
                    <a:lnTo>
                      <a:pt x="172" y="17"/>
                    </a:lnTo>
                    <a:lnTo>
                      <a:pt x="172" y="15"/>
                    </a:lnTo>
                    <a:lnTo>
                      <a:pt x="173" y="15"/>
                    </a:lnTo>
                    <a:lnTo>
                      <a:pt x="173" y="13"/>
                    </a:lnTo>
                    <a:lnTo>
                      <a:pt x="172" y="13"/>
                    </a:lnTo>
                    <a:lnTo>
                      <a:pt x="173" y="13"/>
                    </a:lnTo>
                    <a:lnTo>
                      <a:pt x="173" y="12"/>
                    </a:lnTo>
                    <a:lnTo>
                      <a:pt x="173" y="13"/>
                    </a:lnTo>
                    <a:lnTo>
                      <a:pt x="173" y="15"/>
                    </a:lnTo>
                    <a:lnTo>
                      <a:pt x="175" y="15"/>
                    </a:lnTo>
                    <a:lnTo>
                      <a:pt x="175" y="13"/>
                    </a:lnTo>
                    <a:lnTo>
                      <a:pt x="175" y="15"/>
                    </a:lnTo>
                    <a:lnTo>
                      <a:pt x="173" y="15"/>
                    </a:lnTo>
                    <a:lnTo>
                      <a:pt x="172" y="17"/>
                    </a:lnTo>
                    <a:lnTo>
                      <a:pt x="173" y="17"/>
                    </a:lnTo>
                    <a:lnTo>
                      <a:pt x="173" y="18"/>
                    </a:lnTo>
                    <a:lnTo>
                      <a:pt x="175" y="18"/>
                    </a:lnTo>
                    <a:lnTo>
                      <a:pt x="177" y="18"/>
                    </a:lnTo>
                    <a:lnTo>
                      <a:pt x="177" y="20"/>
                    </a:lnTo>
                    <a:lnTo>
                      <a:pt x="178" y="20"/>
                    </a:lnTo>
                    <a:lnTo>
                      <a:pt x="178" y="18"/>
                    </a:lnTo>
                    <a:lnTo>
                      <a:pt x="180" y="18"/>
                    </a:lnTo>
                    <a:lnTo>
                      <a:pt x="180" y="20"/>
                    </a:lnTo>
                    <a:lnTo>
                      <a:pt x="180" y="22"/>
                    </a:lnTo>
                    <a:lnTo>
                      <a:pt x="180" y="23"/>
                    </a:lnTo>
                    <a:lnTo>
                      <a:pt x="182" y="23"/>
                    </a:lnTo>
                    <a:lnTo>
                      <a:pt x="182" y="25"/>
                    </a:lnTo>
                    <a:lnTo>
                      <a:pt x="183" y="25"/>
                    </a:lnTo>
                    <a:lnTo>
                      <a:pt x="183" y="27"/>
                    </a:lnTo>
                    <a:lnTo>
                      <a:pt x="185" y="27"/>
                    </a:lnTo>
                    <a:lnTo>
                      <a:pt x="185" y="29"/>
                    </a:lnTo>
                    <a:lnTo>
                      <a:pt x="185" y="27"/>
                    </a:lnTo>
                    <a:lnTo>
                      <a:pt x="185" y="29"/>
                    </a:lnTo>
                    <a:lnTo>
                      <a:pt x="187" y="27"/>
                    </a:lnTo>
                    <a:lnTo>
                      <a:pt x="187" y="29"/>
                    </a:lnTo>
                    <a:lnTo>
                      <a:pt x="187" y="30"/>
                    </a:lnTo>
                    <a:lnTo>
                      <a:pt x="189" y="30"/>
                    </a:lnTo>
                    <a:lnTo>
                      <a:pt x="189" y="32"/>
                    </a:lnTo>
                    <a:lnTo>
                      <a:pt x="190" y="32"/>
                    </a:lnTo>
                    <a:lnTo>
                      <a:pt x="192" y="32"/>
                    </a:lnTo>
                    <a:lnTo>
                      <a:pt x="192" y="34"/>
                    </a:lnTo>
                    <a:lnTo>
                      <a:pt x="194" y="34"/>
                    </a:lnTo>
                    <a:lnTo>
                      <a:pt x="194" y="32"/>
                    </a:lnTo>
                    <a:lnTo>
                      <a:pt x="195" y="34"/>
                    </a:lnTo>
                    <a:lnTo>
                      <a:pt x="197" y="34"/>
                    </a:lnTo>
                    <a:lnTo>
                      <a:pt x="197" y="32"/>
                    </a:lnTo>
                    <a:lnTo>
                      <a:pt x="197" y="34"/>
                    </a:lnTo>
                    <a:lnTo>
                      <a:pt x="199" y="32"/>
                    </a:lnTo>
                    <a:lnTo>
                      <a:pt x="199" y="34"/>
                    </a:lnTo>
                    <a:lnTo>
                      <a:pt x="200" y="34"/>
                    </a:lnTo>
                    <a:lnTo>
                      <a:pt x="200" y="32"/>
                    </a:lnTo>
                    <a:lnTo>
                      <a:pt x="202" y="32"/>
                    </a:lnTo>
                    <a:lnTo>
                      <a:pt x="204" y="34"/>
                    </a:lnTo>
                    <a:lnTo>
                      <a:pt x="204" y="32"/>
                    </a:lnTo>
                    <a:lnTo>
                      <a:pt x="206" y="32"/>
                    </a:lnTo>
                    <a:lnTo>
                      <a:pt x="206" y="34"/>
                    </a:lnTo>
                    <a:lnTo>
                      <a:pt x="207" y="34"/>
                    </a:lnTo>
                    <a:lnTo>
                      <a:pt x="209" y="32"/>
                    </a:lnTo>
                    <a:lnTo>
                      <a:pt x="209" y="34"/>
                    </a:lnTo>
                    <a:lnTo>
                      <a:pt x="209" y="35"/>
                    </a:lnTo>
                    <a:lnTo>
                      <a:pt x="211" y="35"/>
                    </a:lnTo>
                    <a:lnTo>
                      <a:pt x="211" y="34"/>
                    </a:lnTo>
                    <a:lnTo>
                      <a:pt x="212" y="34"/>
                    </a:lnTo>
                    <a:lnTo>
                      <a:pt x="211" y="34"/>
                    </a:lnTo>
                    <a:lnTo>
                      <a:pt x="212" y="34"/>
                    </a:lnTo>
                    <a:lnTo>
                      <a:pt x="211" y="34"/>
                    </a:lnTo>
                    <a:lnTo>
                      <a:pt x="212" y="34"/>
                    </a:lnTo>
                    <a:lnTo>
                      <a:pt x="214" y="34"/>
                    </a:lnTo>
                    <a:lnTo>
                      <a:pt x="214" y="35"/>
                    </a:lnTo>
                    <a:lnTo>
                      <a:pt x="216" y="35"/>
                    </a:lnTo>
                    <a:lnTo>
                      <a:pt x="217" y="35"/>
                    </a:lnTo>
                    <a:lnTo>
                      <a:pt x="217" y="37"/>
                    </a:lnTo>
                    <a:lnTo>
                      <a:pt x="219" y="37"/>
                    </a:lnTo>
                    <a:lnTo>
                      <a:pt x="221" y="37"/>
                    </a:lnTo>
                    <a:lnTo>
                      <a:pt x="221" y="39"/>
                    </a:lnTo>
                    <a:lnTo>
                      <a:pt x="221" y="37"/>
                    </a:lnTo>
                    <a:lnTo>
                      <a:pt x="221" y="39"/>
                    </a:lnTo>
                    <a:lnTo>
                      <a:pt x="223" y="39"/>
                    </a:lnTo>
                    <a:close/>
                    <a:moveTo>
                      <a:pt x="68" y="49"/>
                    </a:moveTo>
                    <a:lnTo>
                      <a:pt x="70" y="49"/>
                    </a:lnTo>
                    <a:lnTo>
                      <a:pt x="71" y="49"/>
                    </a:lnTo>
                    <a:lnTo>
                      <a:pt x="73" y="49"/>
                    </a:lnTo>
                    <a:lnTo>
                      <a:pt x="73" y="51"/>
                    </a:lnTo>
                    <a:lnTo>
                      <a:pt x="75" y="51"/>
                    </a:lnTo>
                    <a:lnTo>
                      <a:pt x="76" y="51"/>
                    </a:lnTo>
                    <a:lnTo>
                      <a:pt x="78" y="52"/>
                    </a:lnTo>
                    <a:lnTo>
                      <a:pt x="76" y="52"/>
                    </a:lnTo>
                    <a:lnTo>
                      <a:pt x="76" y="54"/>
                    </a:lnTo>
                    <a:lnTo>
                      <a:pt x="78" y="54"/>
                    </a:lnTo>
                    <a:lnTo>
                      <a:pt x="80" y="56"/>
                    </a:lnTo>
                    <a:lnTo>
                      <a:pt x="82" y="56"/>
                    </a:lnTo>
                    <a:lnTo>
                      <a:pt x="80" y="57"/>
                    </a:lnTo>
                    <a:lnTo>
                      <a:pt x="82" y="57"/>
                    </a:lnTo>
                    <a:lnTo>
                      <a:pt x="80" y="57"/>
                    </a:lnTo>
                    <a:lnTo>
                      <a:pt x="80" y="59"/>
                    </a:lnTo>
                    <a:lnTo>
                      <a:pt x="82" y="61"/>
                    </a:lnTo>
                    <a:lnTo>
                      <a:pt x="82" y="63"/>
                    </a:lnTo>
                    <a:lnTo>
                      <a:pt x="80" y="64"/>
                    </a:lnTo>
                    <a:lnTo>
                      <a:pt x="78" y="64"/>
                    </a:lnTo>
                    <a:lnTo>
                      <a:pt x="76" y="66"/>
                    </a:lnTo>
                    <a:lnTo>
                      <a:pt x="75" y="66"/>
                    </a:lnTo>
                    <a:lnTo>
                      <a:pt x="73" y="66"/>
                    </a:lnTo>
                    <a:lnTo>
                      <a:pt x="73" y="68"/>
                    </a:lnTo>
                    <a:lnTo>
                      <a:pt x="71" y="68"/>
                    </a:lnTo>
                    <a:lnTo>
                      <a:pt x="70" y="68"/>
                    </a:lnTo>
                    <a:lnTo>
                      <a:pt x="70" y="66"/>
                    </a:lnTo>
                    <a:lnTo>
                      <a:pt x="68" y="68"/>
                    </a:lnTo>
                    <a:lnTo>
                      <a:pt x="68" y="66"/>
                    </a:lnTo>
                    <a:lnTo>
                      <a:pt x="66" y="66"/>
                    </a:lnTo>
                    <a:lnTo>
                      <a:pt x="65" y="66"/>
                    </a:lnTo>
                    <a:lnTo>
                      <a:pt x="63" y="66"/>
                    </a:lnTo>
                    <a:lnTo>
                      <a:pt x="63" y="64"/>
                    </a:lnTo>
                    <a:lnTo>
                      <a:pt x="61" y="64"/>
                    </a:lnTo>
                    <a:lnTo>
                      <a:pt x="61" y="63"/>
                    </a:lnTo>
                    <a:lnTo>
                      <a:pt x="61" y="61"/>
                    </a:lnTo>
                    <a:lnTo>
                      <a:pt x="59" y="61"/>
                    </a:lnTo>
                    <a:lnTo>
                      <a:pt x="61" y="61"/>
                    </a:lnTo>
                    <a:lnTo>
                      <a:pt x="63" y="63"/>
                    </a:lnTo>
                    <a:lnTo>
                      <a:pt x="63" y="64"/>
                    </a:lnTo>
                    <a:lnTo>
                      <a:pt x="65" y="63"/>
                    </a:lnTo>
                    <a:lnTo>
                      <a:pt x="66" y="64"/>
                    </a:lnTo>
                    <a:lnTo>
                      <a:pt x="66" y="63"/>
                    </a:lnTo>
                    <a:lnTo>
                      <a:pt x="68" y="63"/>
                    </a:lnTo>
                    <a:lnTo>
                      <a:pt x="68" y="61"/>
                    </a:lnTo>
                    <a:lnTo>
                      <a:pt x="68" y="63"/>
                    </a:lnTo>
                    <a:lnTo>
                      <a:pt x="66" y="63"/>
                    </a:lnTo>
                    <a:lnTo>
                      <a:pt x="68" y="63"/>
                    </a:lnTo>
                    <a:lnTo>
                      <a:pt x="68" y="61"/>
                    </a:lnTo>
                    <a:lnTo>
                      <a:pt x="66" y="61"/>
                    </a:lnTo>
                    <a:lnTo>
                      <a:pt x="66" y="59"/>
                    </a:lnTo>
                    <a:lnTo>
                      <a:pt x="66" y="57"/>
                    </a:lnTo>
                    <a:lnTo>
                      <a:pt x="65" y="57"/>
                    </a:lnTo>
                    <a:lnTo>
                      <a:pt x="65" y="56"/>
                    </a:lnTo>
                    <a:lnTo>
                      <a:pt x="63" y="56"/>
                    </a:lnTo>
                    <a:lnTo>
                      <a:pt x="63" y="54"/>
                    </a:lnTo>
                    <a:lnTo>
                      <a:pt x="65" y="54"/>
                    </a:lnTo>
                    <a:lnTo>
                      <a:pt x="65" y="52"/>
                    </a:lnTo>
                    <a:lnTo>
                      <a:pt x="66" y="52"/>
                    </a:lnTo>
                    <a:lnTo>
                      <a:pt x="66" y="51"/>
                    </a:lnTo>
                    <a:lnTo>
                      <a:pt x="68" y="51"/>
                    </a:lnTo>
                    <a:lnTo>
                      <a:pt x="68" y="49"/>
                    </a:lnTo>
                    <a:lnTo>
                      <a:pt x="66" y="49"/>
                    </a:lnTo>
                    <a:lnTo>
                      <a:pt x="68" y="49"/>
                    </a:lnTo>
                    <a:close/>
                    <a:moveTo>
                      <a:pt x="236" y="37"/>
                    </a:moveTo>
                    <a:lnTo>
                      <a:pt x="236" y="39"/>
                    </a:lnTo>
                    <a:lnTo>
                      <a:pt x="238" y="39"/>
                    </a:lnTo>
                    <a:lnTo>
                      <a:pt x="236" y="39"/>
                    </a:lnTo>
                    <a:lnTo>
                      <a:pt x="236" y="37"/>
                    </a:lnTo>
                    <a:lnTo>
                      <a:pt x="238" y="39"/>
                    </a:lnTo>
                    <a:lnTo>
                      <a:pt x="238" y="37"/>
                    </a:lnTo>
                    <a:lnTo>
                      <a:pt x="240" y="37"/>
                    </a:lnTo>
                    <a:lnTo>
                      <a:pt x="238" y="37"/>
                    </a:lnTo>
                    <a:lnTo>
                      <a:pt x="238" y="39"/>
                    </a:lnTo>
                    <a:lnTo>
                      <a:pt x="240" y="39"/>
                    </a:lnTo>
                    <a:lnTo>
                      <a:pt x="240" y="40"/>
                    </a:lnTo>
                    <a:lnTo>
                      <a:pt x="238" y="40"/>
                    </a:lnTo>
                    <a:lnTo>
                      <a:pt x="240" y="40"/>
                    </a:lnTo>
                    <a:lnTo>
                      <a:pt x="240" y="42"/>
                    </a:lnTo>
                    <a:lnTo>
                      <a:pt x="241" y="40"/>
                    </a:lnTo>
                    <a:lnTo>
                      <a:pt x="240" y="40"/>
                    </a:lnTo>
                    <a:lnTo>
                      <a:pt x="241" y="40"/>
                    </a:lnTo>
                    <a:lnTo>
                      <a:pt x="241" y="42"/>
                    </a:lnTo>
                    <a:lnTo>
                      <a:pt x="241" y="44"/>
                    </a:lnTo>
                    <a:lnTo>
                      <a:pt x="243" y="44"/>
                    </a:lnTo>
                    <a:lnTo>
                      <a:pt x="243" y="46"/>
                    </a:lnTo>
                    <a:lnTo>
                      <a:pt x="245" y="46"/>
                    </a:lnTo>
                    <a:lnTo>
                      <a:pt x="245" y="44"/>
                    </a:lnTo>
                    <a:lnTo>
                      <a:pt x="243" y="44"/>
                    </a:lnTo>
                    <a:lnTo>
                      <a:pt x="245" y="44"/>
                    </a:lnTo>
                    <a:lnTo>
                      <a:pt x="245" y="46"/>
                    </a:lnTo>
                    <a:lnTo>
                      <a:pt x="245" y="44"/>
                    </a:lnTo>
                    <a:lnTo>
                      <a:pt x="245" y="46"/>
                    </a:lnTo>
                    <a:lnTo>
                      <a:pt x="246" y="44"/>
                    </a:lnTo>
                    <a:lnTo>
                      <a:pt x="246" y="46"/>
                    </a:lnTo>
                    <a:lnTo>
                      <a:pt x="246" y="44"/>
                    </a:lnTo>
                    <a:lnTo>
                      <a:pt x="246" y="46"/>
                    </a:lnTo>
                    <a:lnTo>
                      <a:pt x="248" y="46"/>
                    </a:lnTo>
                    <a:lnTo>
                      <a:pt x="248" y="47"/>
                    </a:lnTo>
                    <a:lnTo>
                      <a:pt x="246" y="47"/>
                    </a:lnTo>
                    <a:lnTo>
                      <a:pt x="246" y="49"/>
                    </a:lnTo>
                    <a:lnTo>
                      <a:pt x="245" y="49"/>
                    </a:lnTo>
                    <a:lnTo>
                      <a:pt x="243" y="49"/>
                    </a:lnTo>
                    <a:lnTo>
                      <a:pt x="241" y="49"/>
                    </a:lnTo>
                    <a:lnTo>
                      <a:pt x="241" y="47"/>
                    </a:lnTo>
                    <a:lnTo>
                      <a:pt x="241" y="46"/>
                    </a:lnTo>
                    <a:lnTo>
                      <a:pt x="241" y="47"/>
                    </a:lnTo>
                    <a:lnTo>
                      <a:pt x="241" y="46"/>
                    </a:lnTo>
                    <a:lnTo>
                      <a:pt x="240" y="46"/>
                    </a:lnTo>
                    <a:lnTo>
                      <a:pt x="241" y="47"/>
                    </a:lnTo>
                    <a:lnTo>
                      <a:pt x="240" y="47"/>
                    </a:lnTo>
                    <a:lnTo>
                      <a:pt x="238" y="47"/>
                    </a:lnTo>
                    <a:lnTo>
                      <a:pt x="238" y="46"/>
                    </a:lnTo>
                    <a:lnTo>
                      <a:pt x="238" y="44"/>
                    </a:lnTo>
                    <a:lnTo>
                      <a:pt x="236" y="44"/>
                    </a:lnTo>
                    <a:lnTo>
                      <a:pt x="238" y="44"/>
                    </a:lnTo>
                    <a:lnTo>
                      <a:pt x="236" y="44"/>
                    </a:lnTo>
                    <a:lnTo>
                      <a:pt x="236" y="42"/>
                    </a:lnTo>
                    <a:lnTo>
                      <a:pt x="234" y="42"/>
                    </a:lnTo>
                    <a:lnTo>
                      <a:pt x="234" y="40"/>
                    </a:lnTo>
                    <a:lnTo>
                      <a:pt x="233" y="40"/>
                    </a:lnTo>
                    <a:lnTo>
                      <a:pt x="233" y="39"/>
                    </a:lnTo>
                    <a:lnTo>
                      <a:pt x="233" y="40"/>
                    </a:lnTo>
                    <a:lnTo>
                      <a:pt x="233" y="39"/>
                    </a:lnTo>
                    <a:lnTo>
                      <a:pt x="234" y="39"/>
                    </a:lnTo>
                    <a:lnTo>
                      <a:pt x="233" y="37"/>
                    </a:lnTo>
                    <a:lnTo>
                      <a:pt x="234" y="37"/>
                    </a:lnTo>
                    <a:lnTo>
                      <a:pt x="234" y="39"/>
                    </a:lnTo>
                    <a:lnTo>
                      <a:pt x="234" y="37"/>
                    </a:lnTo>
                    <a:lnTo>
                      <a:pt x="236" y="37"/>
                    </a:lnTo>
                    <a:lnTo>
                      <a:pt x="234" y="37"/>
                    </a:lnTo>
                    <a:lnTo>
                      <a:pt x="236" y="35"/>
                    </a:lnTo>
                    <a:lnTo>
                      <a:pt x="236" y="37"/>
                    </a:lnTo>
                    <a:close/>
                    <a:moveTo>
                      <a:pt x="226" y="32"/>
                    </a:moveTo>
                    <a:lnTo>
                      <a:pt x="228" y="32"/>
                    </a:lnTo>
                    <a:lnTo>
                      <a:pt x="229" y="32"/>
                    </a:lnTo>
                    <a:lnTo>
                      <a:pt x="231" y="32"/>
                    </a:lnTo>
                    <a:lnTo>
                      <a:pt x="233" y="32"/>
                    </a:lnTo>
                    <a:lnTo>
                      <a:pt x="233" y="34"/>
                    </a:lnTo>
                    <a:lnTo>
                      <a:pt x="233" y="35"/>
                    </a:lnTo>
                    <a:lnTo>
                      <a:pt x="234" y="37"/>
                    </a:lnTo>
                    <a:lnTo>
                      <a:pt x="233" y="37"/>
                    </a:lnTo>
                    <a:lnTo>
                      <a:pt x="233" y="35"/>
                    </a:lnTo>
                    <a:lnTo>
                      <a:pt x="231" y="35"/>
                    </a:lnTo>
                    <a:lnTo>
                      <a:pt x="231" y="37"/>
                    </a:lnTo>
                    <a:lnTo>
                      <a:pt x="231" y="39"/>
                    </a:lnTo>
                    <a:lnTo>
                      <a:pt x="231" y="37"/>
                    </a:lnTo>
                    <a:lnTo>
                      <a:pt x="229" y="35"/>
                    </a:lnTo>
                    <a:lnTo>
                      <a:pt x="228" y="35"/>
                    </a:lnTo>
                    <a:lnTo>
                      <a:pt x="229" y="35"/>
                    </a:lnTo>
                    <a:lnTo>
                      <a:pt x="228" y="35"/>
                    </a:lnTo>
                    <a:lnTo>
                      <a:pt x="228" y="34"/>
                    </a:lnTo>
                    <a:lnTo>
                      <a:pt x="226" y="34"/>
                    </a:lnTo>
                    <a:lnTo>
                      <a:pt x="228" y="34"/>
                    </a:lnTo>
                    <a:lnTo>
                      <a:pt x="226" y="34"/>
                    </a:lnTo>
                    <a:lnTo>
                      <a:pt x="226" y="32"/>
                    </a:lnTo>
                    <a:lnTo>
                      <a:pt x="226" y="34"/>
                    </a:lnTo>
                    <a:lnTo>
                      <a:pt x="226" y="32"/>
                    </a:lnTo>
                    <a:lnTo>
                      <a:pt x="226" y="34"/>
                    </a:lnTo>
                    <a:lnTo>
                      <a:pt x="226" y="32"/>
                    </a:lnTo>
                    <a:lnTo>
                      <a:pt x="224" y="34"/>
                    </a:lnTo>
                    <a:lnTo>
                      <a:pt x="224" y="32"/>
                    </a:lnTo>
                    <a:lnTo>
                      <a:pt x="224" y="30"/>
                    </a:lnTo>
                    <a:lnTo>
                      <a:pt x="226" y="32"/>
                    </a:lnTo>
                    <a:close/>
                    <a:moveTo>
                      <a:pt x="212" y="27"/>
                    </a:moveTo>
                    <a:lnTo>
                      <a:pt x="214" y="27"/>
                    </a:lnTo>
                    <a:lnTo>
                      <a:pt x="216" y="27"/>
                    </a:lnTo>
                    <a:lnTo>
                      <a:pt x="216" y="29"/>
                    </a:lnTo>
                    <a:lnTo>
                      <a:pt x="217" y="29"/>
                    </a:lnTo>
                    <a:lnTo>
                      <a:pt x="217" y="27"/>
                    </a:lnTo>
                    <a:lnTo>
                      <a:pt x="219" y="29"/>
                    </a:lnTo>
                    <a:lnTo>
                      <a:pt x="221" y="29"/>
                    </a:lnTo>
                    <a:lnTo>
                      <a:pt x="221" y="27"/>
                    </a:lnTo>
                    <a:lnTo>
                      <a:pt x="223" y="27"/>
                    </a:lnTo>
                    <a:lnTo>
                      <a:pt x="224" y="27"/>
                    </a:lnTo>
                    <a:lnTo>
                      <a:pt x="224" y="29"/>
                    </a:lnTo>
                    <a:lnTo>
                      <a:pt x="223" y="29"/>
                    </a:lnTo>
                    <a:lnTo>
                      <a:pt x="224" y="29"/>
                    </a:lnTo>
                    <a:lnTo>
                      <a:pt x="224" y="30"/>
                    </a:lnTo>
                    <a:lnTo>
                      <a:pt x="226" y="30"/>
                    </a:lnTo>
                    <a:lnTo>
                      <a:pt x="226" y="32"/>
                    </a:lnTo>
                    <a:lnTo>
                      <a:pt x="226" y="30"/>
                    </a:lnTo>
                    <a:lnTo>
                      <a:pt x="224" y="30"/>
                    </a:lnTo>
                    <a:lnTo>
                      <a:pt x="224" y="32"/>
                    </a:lnTo>
                    <a:lnTo>
                      <a:pt x="223" y="32"/>
                    </a:lnTo>
                    <a:lnTo>
                      <a:pt x="224" y="30"/>
                    </a:lnTo>
                    <a:lnTo>
                      <a:pt x="223" y="30"/>
                    </a:lnTo>
                    <a:lnTo>
                      <a:pt x="221" y="30"/>
                    </a:lnTo>
                    <a:lnTo>
                      <a:pt x="219" y="30"/>
                    </a:lnTo>
                    <a:lnTo>
                      <a:pt x="217" y="30"/>
                    </a:lnTo>
                    <a:lnTo>
                      <a:pt x="216" y="30"/>
                    </a:lnTo>
                    <a:lnTo>
                      <a:pt x="216" y="29"/>
                    </a:lnTo>
                    <a:lnTo>
                      <a:pt x="214" y="29"/>
                    </a:lnTo>
                    <a:lnTo>
                      <a:pt x="216" y="29"/>
                    </a:lnTo>
                    <a:lnTo>
                      <a:pt x="216" y="27"/>
                    </a:lnTo>
                    <a:lnTo>
                      <a:pt x="214" y="29"/>
                    </a:lnTo>
                    <a:lnTo>
                      <a:pt x="214" y="27"/>
                    </a:lnTo>
                    <a:lnTo>
                      <a:pt x="212" y="27"/>
                    </a:lnTo>
                    <a:lnTo>
                      <a:pt x="212" y="29"/>
                    </a:lnTo>
                    <a:lnTo>
                      <a:pt x="211" y="29"/>
                    </a:lnTo>
                    <a:lnTo>
                      <a:pt x="212" y="29"/>
                    </a:lnTo>
                    <a:lnTo>
                      <a:pt x="211" y="27"/>
                    </a:lnTo>
                    <a:lnTo>
                      <a:pt x="212" y="27"/>
                    </a:lnTo>
                    <a:close/>
                    <a:moveTo>
                      <a:pt x="251" y="51"/>
                    </a:moveTo>
                    <a:lnTo>
                      <a:pt x="251" y="52"/>
                    </a:lnTo>
                    <a:lnTo>
                      <a:pt x="253" y="52"/>
                    </a:lnTo>
                    <a:lnTo>
                      <a:pt x="253" y="54"/>
                    </a:lnTo>
                    <a:lnTo>
                      <a:pt x="255" y="54"/>
                    </a:lnTo>
                    <a:lnTo>
                      <a:pt x="253" y="54"/>
                    </a:lnTo>
                    <a:lnTo>
                      <a:pt x="251" y="54"/>
                    </a:lnTo>
                    <a:lnTo>
                      <a:pt x="250" y="54"/>
                    </a:lnTo>
                    <a:lnTo>
                      <a:pt x="248" y="54"/>
                    </a:lnTo>
                    <a:lnTo>
                      <a:pt x="250" y="52"/>
                    </a:lnTo>
                    <a:lnTo>
                      <a:pt x="250" y="54"/>
                    </a:lnTo>
                    <a:lnTo>
                      <a:pt x="251" y="54"/>
                    </a:lnTo>
                    <a:lnTo>
                      <a:pt x="250" y="52"/>
                    </a:lnTo>
                    <a:lnTo>
                      <a:pt x="250" y="51"/>
                    </a:lnTo>
                    <a:lnTo>
                      <a:pt x="248" y="51"/>
                    </a:lnTo>
                    <a:lnTo>
                      <a:pt x="248" y="52"/>
                    </a:lnTo>
                    <a:lnTo>
                      <a:pt x="248" y="51"/>
                    </a:lnTo>
                    <a:lnTo>
                      <a:pt x="250" y="49"/>
                    </a:lnTo>
                    <a:lnTo>
                      <a:pt x="250" y="51"/>
                    </a:lnTo>
                    <a:lnTo>
                      <a:pt x="251" y="51"/>
                    </a:lnTo>
                    <a:close/>
                    <a:moveTo>
                      <a:pt x="182" y="17"/>
                    </a:moveTo>
                    <a:lnTo>
                      <a:pt x="182" y="18"/>
                    </a:lnTo>
                    <a:lnTo>
                      <a:pt x="183" y="18"/>
                    </a:lnTo>
                    <a:lnTo>
                      <a:pt x="183" y="20"/>
                    </a:lnTo>
                    <a:lnTo>
                      <a:pt x="185" y="20"/>
                    </a:lnTo>
                    <a:lnTo>
                      <a:pt x="187" y="20"/>
                    </a:lnTo>
                    <a:lnTo>
                      <a:pt x="187" y="22"/>
                    </a:lnTo>
                    <a:lnTo>
                      <a:pt x="189" y="22"/>
                    </a:lnTo>
                    <a:lnTo>
                      <a:pt x="189" y="23"/>
                    </a:lnTo>
                    <a:lnTo>
                      <a:pt x="190" y="23"/>
                    </a:lnTo>
                    <a:lnTo>
                      <a:pt x="190" y="25"/>
                    </a:lnTo>
                    <a:lnTo>
                      <a:pt x="190" y="23"/>
                    </a:lnTo>
                    <a:lnTo>
                      <a:pt x="189" y="23"/>
                    </a:lnTo>
                    <a:lnTo>
                      <a:pt x="187" y="22"/>
                    </a:lnTo>
                    <a:lnTo>
                      <a:pt x="185" y="22"/>
                    </a:lnTo>
                    <a:lnTo>
                      <a:pt x="183" y="22"/>
                    </a:lnTo>
                    <a:lnTo>
                      <a:pt x="183" y="20"/>
                    </a:lnTo>
                    <a:lnTo>
                      <a:pt x="182" y="18"/>
                    </a:lnTo>
                    <a:lnTo>
                      <a:pt x="183" y="18"/>
                    </a:lnTo>
                    <a:lnTo>
                      <a:pt x="182" y="18"/>
                    </a:lnTo>
                    <a:lnTo>
                      <a:pt x="180" y="18"/>
                    </a:lnTo>
                    <a:lnTo>
                      <a:pt x="182" y="17"/>
                    </a:lnTo>
                    <a:close/>
                    <a:moveTo>
                      <a:pt x="195" y="83"/>
                    </a:moveTo>
                    <a:lnTo>
                      <a:pt x="197" y="83"/>
                    </a:lnTo>
                    <a:lnTo>
                      <a:pt x="197" y="85"/>
                    </a:lnTo>
                    <a:lnTo>
                      <a:pt x="197" y="86"/>
                    </a:lnTo>
                    <a:lnTo>
                      <a:pt x="199" y="86"/>
                    </a:lnTo>
                    <a:lnTo>
                      <a:pt x="200" y="86"/>
                    </a:lnTo>
                    <a:lnTo>
                      <a:pt x="200" y="88"/>
                    </a:lnTo>
                    <a:lnTo>
                      <a:pt x="202" y="88"/>
                    </a:lnTo>
                    <a:lnTo>
                      <a:pt x="202" y="90"/>
                    </a:lnTo>
                    <a:lnTo>
                      <a:pt x="202" y="88"/>
                    </a:lnTo>
                    <a:lnTo>
                      <a:pt x="200" y="88"/>
                    </a:lnTo>
                    <a:lnTo>
                      <a:pt x="199" y="86"/>
                    </a:lnTo>
                    <a:lnTo>
                      <a:pt x="197" y="86"/>
                    </a:lnTo>
                    <a:lnTo>
                      <a:pt x="197" y="85"/>
                    </a:lnTo>
                    <a:lnTo>
                      <a:pt x="195" y="85"/>
                    </a:lnTo>
                    <a:lnTo>
                      <a:pt x="197" y="85"/>
                    </a:lnTo>
                    <a:lnTo>
                      <a:pt x="197" y="86"/>
                    </a:lnTo>
                    <a:lnTo>
                      <a:pt x="197" y="85"/>
                    </a:lnTo>
                    <a:lnTo>
                      <a:pt x="195" y="85"/>
                    </a:lnTo>
                    <a:lnTo>
                      <a:pt x="195" y="83"/>
                    </a:lnTo>
                    <a:lnTo>
                      <a:pt x="195" y="85"/>
                    </a:lnTo>
                    <a:lnTo>
                      <a:pt x="194" y="83"/>
                    </a:lnTo>
                    <a:lnTo>
                      <a:pt x="195" y="83"/>
                    </a:lnTo>
                    <a:close/>
                    <a:moveTo>
                      <a:pt x="160" y="10"/>
                    </a:moveTo>
                    <a:lnTo>
                      <a:pt x="160" y="12"/>
                    </a:lnTo>
                    <a:lnTo>
                      <a:pt x="160" y="10"/>
                    </a:lnTo>
                    <a:lnTo>
                      <a:pt x="160" y="12"/>
                    </a:lnTo>
                    <a:lnTo>
                      <a:pt x="158" y="12"/>
                    </a:lnTo>
                    <a:lnTo>
                      <a:pt x="160" y="12"/>
                    </a:lnTo>
                    <a:lnTo>
                      <a:pt x="160" y="10"/>
                    </a:lnTo>
                    <a:lnTo>
                      <a:pt x="161" y="10"/>
                    </a:lnTo>
                    <a:lnTo>
                      <a:pt x="161" y="12"/>
                    </a:lnTo>
                    <a:lnTo>
                      <a:pt x="161" y="10"/>
                    </a:lnTo>
                    <a:lnTo>
                      <a:pt x="160" y="12"/>
                    </a:lnTo>
                    <a:lnTo>
                      <a:pt x="161" y="12"/>
                    </a:lnTo>
                    <a:lnTo>
                      <a:pt x="160" y="12"/>
                    </a:lnTo>
                    <a:lnTo>
                      <a:pt x="160" y="13"/>
                    </a:lnTo>
                    <a:lnTo>
                      <a:pt x="160" y="12"/>
                    </a:lnTo>
                    <a:lnTo>
                      <a:pt x="158" y="12"/>
                    </a:lnTo>
                    <a:lnTo>
                      <a:pt x="156" y="12"/>
                    </a:lnTo>
                    <a:lnTo>
                      <a:pt x="156" y="10"/>
                    </a:lnTo>
                    <a:lnTo>
                      <a:pt x="158" y="12"/>
                    </a:lnTo>
                    <a:lnTo>
                      <a:pt x="158" y="10"/>
                    </a:lnTo>
                    <a:lnTo>
                      <a:pt x="160" y="10"/>
                    </a:lnTo>
                    <a:close/>
                    <a:moveTo>
                      <a:pt x="202" y="23"/>
                    </a:moveTo>
                    <a:lnTo>
                      <a:pt x="202" y="25"/>
                    </a:lnTo>
                    <a:lnTo>
                      <a:pt x="200" y="27"/>
                    </a:lnTo>
                    <a:lnTo>
                      <a:pt x="202" y="27"/>
                    </a:lnTo>
                    <a:lnTo>
                      <a:pt x="202" y="29"/>
                    </a:lnTo>
                    <a:lnTo>
                      <a:pt x="202" y="27"/>
                    </a:lnTo>
                    <a:lnTo>
                      <a:pt x="204" y="27"/>
                    </a:lnTo>
                    <a:lnTo>
                      <a:pt x="204" y="29"/>
                    </a:lnTo>
                    <a:lnTo>
                      <a:pt x="204" y="27"/>
                    </a:lnTo>
                    <a:lnTo>
                      <a:pt x="206" y="29"/>
                    </a:lnTo>
                    <a:lnTo>
                      <a:pt x="207" y="29"/>
                    </a:lnTo>
                    <a:lnTo>
                      <a:pt x="209" y="29"/>
                    </a:lnTo>
                    <a:lnTo>
                      <a:pt x="209" y="27"/>
                    </a:lnTo>
                    <a:lnTo>
                      <a:pt x="209" y="29"/>
                    </a:lnTo>
                    <a:lnTo>
                      <a:pt x="207" y="29"/>
                    </a:lnTo>
                    <a:lnTo>
                      <a:pt x="207" y="30"/>
                    </a:lnTo>
                    <a:lnTo>
                      <a:pt x="207" y="29"/>
                    </a:lnTo>
                    <a:lnTo>
                      <a:pt x="206" y="29"/>
                    </a:lnTo>
                    <a:lnTo>
                      <a:pt x="204" y="29"/>
                    </a:lnTo>
                    <a:lnTo>
                      <a:pt x="202" y="29"/>
                    </a:lnTo>
                    <a:lnTo>
                      <a:pt x="200" y="27"/>
                    </a:lnTo>
                    <a:lnTo>
                      <a:pt x="202" y="25"/>
                    </a:lnTo>
                    <a:lnTo>
                      <a:pt x="202" y="23"/>
                    </a:lnTo>
                    <a:close/>
                    <a:moveTo>
                      <a:pt x="161" y="6"/>
                    </a:moveTo>
                    <a:lnTo>
                      <a:pt x="161" y="8"/>
                    </a:lnTo>
                    <a:lnTo>
                      <a:pt x="161" y="6"/>
                    </a:lnTo>
                    <a:lnTo>
                      <a:pt x="163" y="8"/>
                    </a:lnTo>
                    <a:lnTo>
                      <a:pt x="163" y="6"/>
                    </a:lnTo>
                    <a:lnTo>
                      <a:pt x="163" y="8"/>
                    </a:lnTo>
                    <a:lnTo>
                      <a:pt x="163" y="10"/>
                    </a:lnTo>
                    <a:lnTo>
                      <a:pt x="161" y="10"/>
                    </a:lnTo>
                    <a:lnTo>
                      <a:pt x="161" y="8"/>
                    </a:lnTo>
                    <a:lnTo>
                      <a:pt x="161" y="10"/>
                    </a:lnTo>
                    <a:lnTo>
                      <a:pt x="161" y="8"/>
                    </a:lnTo>
                    <a:lnTo>
                      <a:pt x="161" y="10"/>
                    </a:lnTo>
                    <a:lnTo>
                      <a:pt x="161" y="8"/>
                    </a:lnTo>
                    <a:lnTo>
                      <a:pt x="160" y="8"/>
                    </a:lnTo>
                    <a:lnTo>
                      <a:pt x="160" y="6"/>
                    </a:lnTo>
                    <a:lnTo>
                      <a:pt x="161" y="6"/>
                    </a:lnTo>
                    <a:lnTo>
                      <a:pt x="160" y="6"/>
                    </a:lnTo>
                    <a:lnTo>
                      <a:pt x="161" y="6"/>
                    </a:lnTo>
                    <a:close/>
                    <a:moveTo>
                      <a:pt x="102" y="61"/>
                    </a:moveTo>
                    <a:lnTo>
                      <a:pt x="100" y="61"/>
                    </a:lnTo>
                    <a:lnTo>
                      <a:pt x="100" y="63"/>
                    </a:lnTo>
                    <a:lnTo>
                      <a:pt x="99" y="63"/>
                    </a:lnTo>
                    <a:lnTo>
                      <a:pt x="97" y="63"/>
                    </a:lnTo>
                    <a:lnTo>
                      <a:pt x="97" y="61"/>
                    </a:lnTo>
                    <a:lnTo>
                      <a:pt x="97" y="63"/>
                    </a:lnTo>
                    <a:lnTo>
                      <a:pt x="97" y="61"/>
                    </a:lnTo>
                    <a:lnTo>
                      <a:pt x="95" y="61"/>
                    </a:lnTo>
                    <a:lnTo>
                      <a:pt x="95" y="63"/>
                    </a:lnTo>
                    <a:lnTo>
                      <a:pt x="95" y="61"/>
                    </a:lnTo>
                    <a:lnTo>
                      <a:pt x="97" y="61"/>
                    </a:lnTo>
                    <a:lnTo>
                      <a:pt x="99" y="61"/>
                    </a:lnTo>
                    <a:lnTo>
                      <a:pt x="97" y="61"/>
                    </a:lnTo>
                    <a:lnTo>
                      <a:pt x="99" y="63"/>
                    </a:lnTo>
                    <a:lnTo>
                      <a:pt x="99" y="61"/>
                    </a:lnTo>
                    <a:lnTo>
                      <a:pt x="100" y="61"/>
                    </a:lnTo>
                    <a:lnTo>
                      <a:pt x="100" y="59"/>
                    </a:lnTo>
                    <a:lnTo>
                      <a:pt x="100" y="61"/>
                    </a:lnTo>
                    <a:lnTo>
                      <a:pt x="100" y="59"/>
                    </a:lnTo>
                    <a:lnTo>
                      <a:pt x="102" y="61"/>
                    </a:lnTo>
                    <a:close/>
                    <a:moveTo>
                      <a:pt x="122" y="57"/>
                    </a:moveTo>
                    <a:lnTo>
                      <a:pt x="121" y="59"/>
                    </a:lnTo>
                    <a:lnTo>
                      <a:pt x="119" y="59"/>
                    </a:lnTo>
                    <a:lnTo>
                      <a:pt x="119" y="61"/>
                    </a:lnTo>
                    <a:lnTo>
                      <a:pt x="117" y="61"/>
                    </a:lnTo>
                    <a:lnTo>
                      <a:pt x="116" y="61"/>
                    </a:lnTo>
                    <a:lnTo>
                      <a:pt x="116" y="63"/>
                    </a:lnTo>
                    <a:lnTo>
                      <a:pt x="114" y="61"/>
                    </a:lnTo>
                    <a:lnTo>
                      <a:pt x="116" y="61"/>
                    </a:lnTo>
                    <a:lnTo>
                      <a:pt x="114" y="61"/>
                    </a:lnTo>
                    <a:lnTo>
                      <a:pt x="116" y="61"/>
                    </a:lnTo>
                    <a:lnTo>
                      <a:pt x="117" y="61"/>
                    </a:lnTo>
                    <a:lnTo>
                      <a:pt x="119" y="61"/>
                    </a:lnTo>
                    <a:lnTo>
                      <a:pt x="119" y="59"/>
                    </a:lnTo>
                    <a:lnTo>
                      <a:pt x="121" y="59"/>
                    </a:lnTo>
                    <a:lnTo>
                      <a:pt x="121" y="57"/>
                    </a:lnTo>
                    <a:lnTo>
                      <a:pt x="122" y="57"/>
                    </a:lnTo>
                    <a:close/>
                    <a:moveTo>
                      <a:pt x="204" y="90"/>
                    </a:moveTo>
                    <a:lnTo>
                      <a:pt x="206" y="90"/>
                    </a:lnTo>
                    <a:lnTo>
                      <a:pt x="207" y="91"/>
                    </a:lnTo>
                    <a:lnTo>
                      <a:pt x="206" y="91"/>
                    </a:lnTo>
                    <a:lnTo>
                      <a:pt x="204" y="91"/>
                    </a:lnTo>
                    <a:lnTo>
                      <a:pt x="202" y="90"/>
                    </a:lnTo>
                    <a:lnTo>
                      <a:pt x="204" y="90"/>
                    </a:lnTo>
                    <a:close/>
                    <a:moveTo>
                      <a:pt x="223" y="97"/>
                    </a:moveTo>
                    <a:lnTo>
                      <a:pt x="223" y="98"/>
                    </a:lnTo>
                    <a:lnTo>
                      <a:pt x="224" y="98"/>
                    </a:lnTo>
                    <a:lnTo>
                      <a:pt x="224" y="100"/>
                    </a:lnTo>
                    <a:lnTo>
                      <a:pt x="223" y="100"/>
                    </a:lnTo>
                    <a:lnTo>
                      <a:pt x="221" y="98"/>
                    </a:lnTo>
                    <a:lnTo>
                      <a:pt x="219" y="98"/>
                    </a:lnTo>
                    <a:lnTo>
                      <a:pt x="219" y="97"/>
                    </a:lnTo>
                    <a:lnTo>
                      <a:pt x="219" y="98"/>
                    </a:lnTo>
                    <a:lnTo>
                      <a:pt x="221" y="98"/>
                    </a:lnTo>
                    <a:lnTo>
                      <a:pt x="223" y="98"/>
                    </a:lnTo>
                    <a:lnTo>
                      <a:pt x="223" y="100"/>
                    </a:lnTo>
                    <a:lnTo>
                      <a:pt x="224" y="100"/>
                    </a:lnTo>
                    <a:lnTo>
                      <a:pt x="224" y="98"/>
                    </a:lnTo>
                    <a:lnTo>
                      <a:pt x="223" y="100"/>
                    </a:lnTo>
                    <a:lnTo>
                      <a:pt x="223" y="98"/>
                    </a:lnTo>
                    <a:lnTo>
                      <a:pt x="223" y="97"/>
                    </a:lnTo>
                    <a:close/>
                    <a:moveTo>
                      <a:pt x="190" y="80"/>
                    </a:moveTo>
                    <a:lnTo>
                      <a:pt x="192" y="80"/>
                    </a:lnTo>
                    <a:lnTo>
                      <a:pt x="192" y="81"/>
                    </a:lnTo>
                    <a:lnTo>
                      <a:pt x="190" y="81"/>
                    </a:lnTo>
                    <a:lnTo>
                      <a:pt x="190" y="80"/>
                    </a:lnTo>
                    <a:lnTo>
                      <a:pt x="190" y="81"/>
                    </a:lnTo>
                    <a:lnTo>
                      <a:pt x="190" y="80"/>
                    </a:lnTo>
                    <a:lnTo>
                      <a:pt x="189" y="80"/>
                    </a:lnTo>
                    <a:lnTo>
                      <a:pt x="189" y="78"/>
                    </a:lnTo>
                    <a:lnTo>
                      <a:pt x="190" y="80"/>
                    </a:lnTo>
                    <a:close/>
                    <a:moveTo>
                      <a:pt x="139" y="5"/>
                    </a:moveTo>
                    <a:lnTo>
                      <a:pt x="141" y="5"/>
                    </a:lnTo>
                    <a:lnTo>
                      <a:pt x="139" y="5"/>
                    </a:lnTo>
                    <a:lnTo>
                      <a:pt x="139" y="6"/>
                    </a:lnTo>
                    <a:lnTo>
                      <a:pt x="139" y="5"/>
                    </a:lnTo>
                    <a:lnTo>
                      <a:pt x="138" y="6"/>
                    </a:lnTo>
                    <a:lnTo>
                      <a:pt x="138" y="5"/>
                    </a:lnTo>
                    <a:lnTo>
                      <a:pt x="136" y="6"/>
                    </a:lnTo>
                    <a:lnTo>
                      <a:pt x="134" y="6"/>
                    </a:lnTo>
                    <a:lnTo>
                      <a:pt x="136" y="6"/>
                    </a:lnTo>
                    <a:lnTo>
                      <a:pt x="138" y="5"/>
                    </a:lnTo>
                    <a:lnTo>
                      <a:pt x="139" y="5"/>
                    </a:lnTo>
                    <a:close/>
                    <a:moveTo>
                      <a:pt x="170" y="12"/>
                    </a:moveTo>
                    <a:lnTo>
                      <a:pt x="172" y="12"/>
                    </a:lnTo>
                    <a:lnTo>
                      <a:pt x="172" y="13"/>
                    </a:lnTo>
                    <a:lnTo>
                      <a:pt x="170" y="13"/>
                    </a:lnTo>
                    <a:lnTo>
                      <a:pt x="170" y="12"/>
                    </a:lnTo>
                    <a:close/>
                    <a:moveTo>
                      <a:pt x="136" y="0"/>
                    </a:moveTo>
                    <a:lnTo>
                      <a:pt x="139" y="0"/>
                    </a:lnTo>
                    <a:lnTo>
                      <a:pt x="139" y="1"/>
                    </a:lnTo>
                    <a:lnTo>
                      <a:pt x="136" y="1"/>
                    </a:lnTo>
                    <a:lnTo>
                      <a:pt x="136" y="0"/>
                    </a:lnTo>
                    <a:close/>
                    <a:moveTo>
                      <a:pt x="199" y="23"/>
                    </a:moveTo>
                    <a:lnTo>
                      <a:pt x="200" y="23"/>
                    </a:lnTo>
                    <a:lnTo>
                      <a:pt x="202" y="23"/>
                    </a:lnTo>
                    <a:lnTo>
                      <a:pt x="202" y="22"/>
                    </a:lnTo>
                    <a:lnTo>
                      <a:pt x="202" y="23"/>
                    </a:lnTo>
                    <a:lnTo>
                      <a:pt x="200" y="23"/>
                    </a:lnTo>
                    <a:lnTo>
                      <a:pt x="199" y="23"/>
                    </a:lnTo>
                    <a:lnTo>
                      <a:pt x="199" y="22"/>
                    </a:lnTo>
                    <a:lnTo>
                      <a:pt x="199" y="23"/>
                    </a:lnTo>
                    <a:close/>
                    <a:moveTo>
                      <a:pt x="241" y="35"/>
                    </a:moveTo>
                    <a:lnTo>
                      <a:pt x="241" y="37"/>
                    </a:lnTo>
                    <a:lnTo>
                      <a:pt x="241" y="39"/>
                    </a:lnTo>
                    <a:lnTo>
                      <a:pt x="243" y="39"/>
                    </a:lnTo>
                    <a:lnTo>
                      <a:pt x="243" y="40"/>
                    </a:lnTo>
                    <a:lnTo>
                      <a:pt x="245" y="40"/>
                    </a:lnTo>
                    <a:lnTo>
                      <a:pt x="243" y="40"/>
                    </a:lnTo>
                    <a:lnTo>
                      <a:pt x="241" y="40"/>
                    </a:lnTo>
                    <a:lnTo>
                      <a:pt x="241" y="39"/>
                    </a:lnTo>
                    <a:lnTo>
                      <a:pt x="241" y="37"/>
                    </a:lnTo>
                    <a:lnTo>
                      <a:pt x="240" y="37"/>
                    </a:lnTo>
                    <a:lnTo>
                      <a:pt x="240" y="35"/>
                    </a:lnTo>
                    <a:lnTo>
                      <a:pt x="241" y="35"/>
                    </a:lnTo>
                    <a:close/>
                    <a:moveTo>
                      <a:pt x="105" y="59"/>
                    </a:moveTo>
                    <a:lnTo>
                      <a:pt x="104" y="61"/>
                    </a:lnTo>
                    <a:lnTo>
                      <a:pt x="102" y="61"/>
                    </a:lnTo>
                    <a:lnTo>
                      <a:pt x="102" y="59"/>
                    </a:lnTo>
                    <a:lnTo>
                      <a:pt x="102" y="61"/>
                    </a:lnTo>
                    <a:lnTo>
                      <a:pt x="104" y="61"/>
                    </a:lnTo>
                    <a:lnTo>
                      <a:pt x="104" y="59"/>
                    </a:lnTo>
                    <a:lnTo>
                      <a:pt x="105" y="59"/>
                    </a:lnTo>
                    <a:close/>
                    <a:moveTo>
                      <a:pt x="197" y="23"/>
                    </a:moveTo>
                    <a:lnTo>
                      <a:pt x="199" y="23"/>
                    </a:lnTo>
                    <a:lnTo>
                      <a:pt x="199" y="25"/>
                    </a:lnTo>
                    <a:lnTo>
                      <a:pt x="197" y="23"/>
                    </a:lnTo>
                    <a:lnTo>
                      <a:pt x="197" y="25"/>
                    </a:lnTo>
                    <a:lnTo>
                      <a:pt x="195" y="25"/>
                    </a:lnTo>
                    <a:lnTo>
                      <a:pt x="195" y="23"/>
                    </a:lnTo>
                    <a:lnTo>
                      <a:pt x="195" y="25"/>
                    </a:lnTo>
                    <a:lnTo>
                      <a:pt x="197" y="23"/>
                    </a:lnTo>
                    <a:close/>
                    <a:moveTo>
                      <a:pt x="187" y="23"/>
                    </a:moveTo>
                    <a:lnTo>
                      <a:pt x="189" y="23"/>
                    </a:lnTo>
                    <a:lnTo>
                      <a:pt x="189" y="25"/>
                    </a:lnTo>
                    <a:lnTo>
                      <a:pt x="187" y="25"/>
                    </a:lnTo>
                    <a:lnTo>
                      <a:pt x="189" y="25"/>
                    </a:lnTo>
                    <a:lnTo>
                      <a:pt x="187" y="23"/>
                    </a:lnTo>
                    <a:lnTo>
                      <a:pt x="187" y="25"/>
                    </a:lnTo>
                    <a:lnTo>
                      <a:pt x="187" y="23"/>
                    </a:lnTo>
                    <a:lnTo>
                      <a:pt x="185" y="23"/>
                    </a:lnTo>
                    <a:lnTo>
                      <a:pt x="185" y="22"/>
                    </a:lnTo>
                    <a:lnTo>
                      <a:pt x="185" y="23"/>
                    </a:lnTo>
                    <a:lnTo>
                      <a:pt x="187" y="23"/>
                    </a:lnTo>
                    <a:lnTo>
                      <a:pt x="187" y="22"/>
                    </a:lnTo>
                    <a:lnTo>
                      <a:pt x="187" y="23"/>
                    </a:lnTo>
                    <a:close/>
                    <a:moveTo>
                      <a:pt x="83" y="23"/>
                    </a:moveTo>
                    <a:lnTo>
                      <a:pt x="83" y="25"/>
                    </a:lnTo>
                    <a:lnTo>
                      <a:pt x="83" y="27"/>
                    </a:lnTo>
                    <a:lnTo>
                      <a:pt x="83" y="25"/>
                    </a:lnTo>
                    <a:lnTo>
                      <a:pt x="82" y="23"/>
                    </a:lnTo>
                    <a:lnTo>
                      <a:pt x="83" y="23"/>
                    </a:lnTo>
                    <a:close/>
                    <a:moveTo>
                      <a:pt x="211" y="25"/>
                    </a:moveTo>
                    <a:lnTo>
                      <a:pt x="214" y="25"/>
                    </a:lnTo>
                    <a:lnTo>
                      <a:pt x="214" y="27"/>
                    </a:lnTo>
                    <a:lnTo>
                      <a:pt x="211" y="27"/>
                    </a:lnTo>
                    <a:lnTo>
                      <a:pt x="211" y="25"/>
                    </a:lnTo>
                    <a:close/>
                    <a:moveTo>
                      <a:pt x="231" y="30"/>
                    </a:moveTo>
                    <a:lnTo>
                      <a:pt x="229" y="30"/>
                    </a:lnTo>
                    <a:lnTo>
                      <a:pt x="228" y="30"/>
                    </a:lnTo>
                    <a:lnTo>
                      <a:pt x="229" y="30"/>
                    </a:lnTo>
                    <a:lnTo>
                      <a:pt x="229" y="29"/>
                    </a:lnTo>
                    <a:lnTo>
                      <a:pt x="229" y="30"/>
                    </a:lnTo>
                    <a:lnTo>
                      <a:pt x="231" y="30"/>
                    </a:lnTo>
                    <a:close/>
                    <a:moveTo>
                      <a:pt x="166" y="8"/>
                    </a:moveTo>
                    <a:lnTo>
                      <a:pt x="168" y="8"/>
                    </a:lnTo>
                    <a:lnTo>
                      <a:pt x="168" y="12"/>
                    </a:lnTo>
                    <a:lnTo>
                      <a:pt x="166" y="12"/>
                    </a:lnTo>
                    <a:lnTo>
                      <a:pt x="166" y="8"/>
                    </a:lnTo>
                    <a:close/>
                    <a:moveTo>
                      <a:pt x="114" y="40"/>
                    </a:moveTo>
                    <a:lnTo>
                      <a:pt x="114" y="42"/>
                    </a:lnTo>
                    <a:lnTo>
                      <a:pt x="114" y="44"/>
                    </a:lnTo>
                    <a:lnTo>
                      <a:pt x="112" y="44"/>
                    </a:lnTo>
                    <a:lnTo>
                      <a:pt x="114" y="44"/>
                    </a:lnTo>
                    <a:lnTo>
                      <a:pt x="112" y="42"/>
                    </a:lnTo>
                    <a:lnTo>
                      <a:pt x="114" y="42"/>
                    </a:lnTo>
                    <a:lnTo>
                      <a:pt x="112" y="40"/>
                    </a:lnTo>
                    <a:lnTo>
                      <a:pt x="114" y="40"/>
                    </a:lnTo>
                    <a:close/>
                    <a:moveTo>
                      <a:pt x="151" y="3"/>
                    </a:moveTo>
                    <a:lnTo>
                      <a:pt x="151" y="5"/>
                    </a:lnTo>
                    <a:lnTo>
                      <a:pt x="150" y="3"/>
                    </a:lnTo>
                    <a:lnTo>
                      <a:pt x="151" y="3"/>
                    </a:lnTo>
                    <a:close/>
                    <a:moveTo>
                      <a:pt x="83" y="57"/>
                    </a:moveTo>
                    <a:lnTo>
                      <a:pt x="87" y="57"/>
                    </a:lnTo>
                    <a:lnTo>
                      <a:pt x="87" y="59"/>
                    </a:lnTo>
                    <a:lnTo>
                      <a:pt x="83" y="59"/>
                    </a:lnTo>
                    <a:lnTo>
                      <a:pt x="83" y="57"/>
                    </a:lnTo>
                    <a:close/>
                    <a:moveTo>
                      <a:pt x="214" y="95"/>
                    </a:moveTo>
                    <a:lnTo>
                      <a:pt x="216" y="97"/>
                    </a:lnTo>
                    <a:lnTo>
                      <a:pt x="216" y="95"/>
                    </a:lnTo>
                    <a:lnTo>
                      <a:pt x="216" y="97"/>
                    </a:lnTo>
                    <a:lnTo>
                      <a:pt x="214" y="95"/>
                    </a:lnTo>
                    <a:lnTo>
                      <a:pt x="214" y="97"/>
                    </a:lnTo>
                    <a:lnTo>
                      <a:pt x="212" y="95"/>
                    </a:lnTo>
                    <a:lnTo>
                      <a:pt x="212" y="97"/>
                    </a:lnTo>
                    <a:lnTo>
                      <a:pt x="212" y="95"/>
                    </a:lnTo>
                    <a:lnTo>
                      <a:pt x="211" y="97"/>
                    </a:lnTo>
                    <a:lnTo>
                      <a:pt x="211" y="95"/>
                    </a:lnTo>
                    <a:lnTo>
                      <a:pt x="212" y="95"/>
                    </a:lnTo>
                    <a:lnTo>
                      <a:pt x="214" y="95"/>
                    </a:lnTo>
                    <a:close/>
                    <a:moveTo>
                      <a:pt x="17" y="32"/>
                    </a:moveTo>
                    <a:lnTo>
                      <a:pt x="20" y="32"/>
                    </a:lnTo>
                    <a:lnTo>
                      <a:pt x="17" y="32"/>
                    </a:lnTo>
                    <a:close/>
                    <a:moveTo>
                      <a:pt x="161" y="10"/>
                    </a:moveTo>
                    <a:lnTo>
                      <a:pt x="163" y="10"/>
                    </a:lnTo>
                    <a:lnTo>
                      <a:pt x="163" y="12"/>
                    </a:lnTo>
                    <a:lnTo>
                      <a:pt x="161" y="12"/>
                    </a:lnTo>
                    <a:lnTo>
                      <a:pt x="161" y="10"/>
                    </a:lnTo>
                    <a:close/>
                    <a:moveTo>
                      <a:pt x="87" y="59"/>
                    </a:moveTo>
                    <a:lnTo>
                      <a:pt x="87" y="61"/>
                    </a:lnTo>
                    <a:lnTo>
                      <a:pt x="88" y="61"/>
                    </a:lnTo>
                    <a:lnTo>
                      <a:pt x="88" y="63"/>
                    </a:lnTo>
                    <a:lnTo>
                      <a:pt x="88" y="61"/>
                    </a:lnTo>
                    <a:lnTo>
                      <a:pt x="88" y="63"/>
                    </a:lnTo>
                    <a:lnTo>
                      <a:pt x="87" y="61"/>
                    </a:lnTo>
                    <a:lnTo>
                      <a:pt x="85" y="61"/>
                    </a:lnTo>
                    <a:lnTo>
                      <a:pt x="85" y="59"/>
                    </a:lnTo>
                    <a:lnTo>
                      <a:pt x="87" y="59"/>
                    </a:lnTo>
                    <a:close/>
                    <a:moveTo>
                      <a:pt x="187" y="78"/>
                    </a:moveTo>
                    <a:lnTo>
                      <a:pt x="189" y="78"/>
                    </a:lnTo>
                    <a:lnTo>
                      <a:pt x="189" y="80"/>
                    </a:lnTo>
                    <a:lnTo>
                      <a:pt x="187" y="80"/>
                    </a:lnTo>
                    <a:lnTo>
                      <a:pt x="187" y="78"/>
                    </a:lnTo>
                    <a:close/>
                    <a:moveTo>
                      <a:pt x="114" y="44"/>
                    </a:moveTo>
                    <a:lnTo>
                      <a:pt x="116" y="44"/>
                    </a:lnTo>
                    <a:lnTo>
                      <a:pt x="116" y="46"/>
                    </a:lnTo>
                    <a:lnTo>
                      <a:pt x="114" y="46"/>
                    </a:lnTo>
                    <a:lnTo>
                      <a:pt x="114" y="44"/>
                    </a:lnTo>
                    <a:close/>
                    <a:moveTo>
                      <a:pt x="153" y="5"/>
                    </a:moveTo>
                    <a:lnTo>
                      <a:pt x="155" y="5"/>
                    </a:lnTo>
                    <a:lnTo>
                      <a:pt x="155" y="6"/>
                    </a:lnTo>
                    <a:lnTo>
                      <a:pt x="153" y="6"/>
                    </a:lnTo>
                    <a:lnTo>
                      <a:pt x="153" y="5"/>
                    </a:lnTo>
                    <a:close/>
                    <a:moveTo>
                      <a:pt x="224" y="37"/>
                    </a:moveTo>
                    <a:lnTo>
                      <a:pt x="226" y="37"/>
                    </a:lnTo>
                    <a:lnTo>
                      <a:pt x="226" y="39"/>
                    </a:lnTo>
                    <a:lnTo>
                      <a:pt x="224" y="39"/>
                    </a:lnTo>
                    <a:lnTo>
                      <a:pt x="224" y="37"/>
                    </a:lnTo>
                    <a:close/>
                    <a:moveTo>
                      <a:pt x="54" y="49"/>
                    </a:moveTo>
                    <a:lnTo>
                      <a:pt x="53" y="49"/>
                    </a:lnTo>
                    <a:lnTo>
                      <a:pt x="51" y="49"/>
                    </a:lnTo>
                    <a:lnTo>
                      <a:pt x="49" y="49"/>
                    </a:lnTo>
                    <a:lnTo>
                      <a:pt x="51" y="49"/>
                    </a:lnTo>
                    <a:lnTo>
                      <a:pt x="53" y="49"/>
                    </a:lnTo>
                    <a:lnTo>
                      <a:pt x="54" y="49"/>
                    </a:lnTo>
                    <a:close/>
                    <a:moveTo>
                      <a:pt x="75" y="46"/>
                    </a:moveTo>
                    <a:lnTo>
                      <a:pt x="75" y="47"/>
                    </a:lnTo>
                    <a:lnTo>
                      <a:pt x="76" y="47"/>
                    </a:lnTo>
                    <a:lnTo>
                      <a:pt x="78" y="47"/>
                    </a:lnTo>
                    <a:lnTo>
                      <a:pt x="78" y="49"/>
                    </a:lnTo>
                    <a:lnTo>
                      <a:pt x="80" y="49"/>
                    </a:lnTo>
                    <a:lnTo>
                      <a:pt x="78" y="49"/>
                    </a:lnTo>
                    <a:lnTo>
                      <a:pt x="80" y="49"/>
                    </a:lnTo>
                    <a:lnTo>
                      <a:pt x="78" y="49"/>
                    </a:lnTo>
                    <a:lnTo>
                      <a:pt x="78" y="47"/>
                    </a:lnTo>
                    <a:lnTo>
                      <a:pt x="76" y="47"/>
                    </a:lnTo>
                    <a:lnTo>
                      <a:pt x="75" y="47"/>
                    </a:lnTo>
                    <a:lnTo>
                      <a:pt x="75" y="46"/>
                    </a:lnTo>
                    <a:close/>
                    <a:moveTo>
                      <a:pt x="82" y="56"/>
                    </a:moveTo>
                    <a:lnTo>
                      <a:pt x="83" y="56"/>
                    </a:lnTo>
                    <a:lnTo>
                      <a:pt x="83" y="57"/>
                    </a:lnTo>
                    <a:lnTo>
                      <a:pt x="82" y="57"/>
                    </a:lnTo>
                    <a:lnTo>
                      <a:pt x="82" y="56"/>
                    </a:lnTo>
                    <a:close/>
                    <a:moveTo>
                      <a:pt x="46" y="47"/>
                    </a:moveTo>
                    <a:lnTo>
                      <a:pt x="46" y="49"/>
                    </a:lnTo>
                    <a:lnTo>
                      <a:pt x="48" y="49"/>
                    </a:lnTo>
                    <a:lnTo>
                      <a:pt x="49" y="49"/>
                    </a:lnTo>
                    <a:lnTo>
                      <a:pt x="48" y="49"/>
                    </a:lnTo>
                    <a:lnTo>
                      <a:pt x="46" y="49"/>
                    </a:lnTo>
                    <a:lnTo>
                      <a:pt x="46" y="47"/>
                    </a:lnTo>
                    <a:lnTo>
                      <a:pt x="44" y="47"/>
                    </a:lnTo>
                    <a:lnTo>
                      <a:pt x="46" y="47"/>
                    </a:lnTo>
                    <a:close/>
                    <a:moveTo>
                      <a:pt x="163" y="10"/>
                    </a:moveTo>
                    <a:lnTo>
                      <a:pt x="165" y="10"/>
                    </a:lnTo>
                    <a:lnTo>
                      <a:pt x="163" y="10"/>
                    </a:lnTo>
                    <a:close/>
                    <a:moveTo>
                      <a:pt x="88" y="63"/>
                    </a:moveTo>
                    <a:lnTo>
                      <a:pt x="92" y="63"/>
                    </a:lnTo>
                    <a:lnTo>
                      <a:pt x="88" y="63"/>
                    </a:lnTo>
                    <a:close/>
                    <a:moveTo>
                      <a:pt x="209" y="27"/>
                    </a:moveTo>
                    <a:lnTo>
                      <a:pt x="211" y="27"/>
                    </a:lnTo>
                    <a:lnTo>
                      <a:pt x="211" y="29"/>
                    </a:lnTo>
                    <a:lnTo>
                      <a:pt x="209" y="29"/>
                    </a:lnTo>
                    <a:lnTo>
                      <a:pt x="209" y="27"/>
                    </a:lnTo>
                    <a:close/>
                    <a:moveTo>
                      <a:pt x="75" y="44"/>
                    </a:moveTo>
                    <a:lnTo>
                      <a:pt x="75" y="46"/>
                    </a:lnTo>
                    <a:lnTo>
                      <a:pt x="73" y="46"/>
                    </a:lnTo>
                    <a:lnTo>
                      <a:pt x="71" y="46"/>
                    </a:lnTo>
                    <a:lnTo>
                      <a:pt x="70" y="46"/>
                    </a:lnTo>
                    <a:lnTo>
                      <a:pt x="71" y="46"/>
                    </a:lnTo>
                    <a:lnTo>
                      <a:pt x="71" y="44"/>
                    </a:lnTo>
                    <a:lnTo>
                      <a:pt x="71" y="46"/>
                    </a:lnTo>
                    <a:lnTo>
                      <a:pt x="73" y="46"/>
                    </a:lnTo>
                    <a:lnTo>
                      <a:pt x="73" y="44"/>
                    </a:lnTo>
                    <a:lnTo>
                      <a:pt x="75" y="44"/>
                    </a:lnTo>
                    <a:close/>
                    <a:moveTo>
                      <a:pt x="238" y="34"/>
                    </a:moveTo>
                    <a:lnTo>
                      <a:pt x="240" y="34"/>
                    </a:lnTo>
                    <a:lnTo>
                      <a:pt x="240" y="35"/>
                    </a:lnTo>
                    <a:lnTo>
                      <a:pt x="238" y="35"/>
                    </a:lnTo>
                    <a:lnTo>
                      <a:pt x="238" y="34"/>
                    </a:lnTo>
                    <a:close/>
                    <a:moveTo>
                      <a:pt x="165" y="8"/>
                    </a:moveTo>
                    <a:lnTo>
                      <a:pt x="166" y="8"/>
                    </a:lnTo>
                    <a:lnTo>
                      <a:pt x="166" y="10"/>
                    </a:lnTo>
                    <a:lnTo>
                      <a:pt x="165" y="10"/>
                    </a:lnTo>
                    <a:lnTo>
                      <a:pt x="165" y="8"/>
                    </a:lnTo>
                    <a:close/>
                    <a:moveTo>
                      <a:pt x="178" y="15"/>
                    </a:moveTo>
                    <a:lnTo>
                      <a:pt x="180" y="15"/>
                    </a:lnTo>
                    <a:lnTo>
                      <a:pt x="180" y="17"/>
                    </a:lnTo>
                    <a:lnTo>
                      <a:pt x="178" y="17"/>
                    </a:lnTo>
                    <a:lnTo>
                      <a:pt x="178" y="15"/>
                    </a:lnTo>
                    <a:close/>
                    <a:moveTo>
                      <a:pt x="158" y="6"/>
                    </a:moveTo>
                    <a:lnTo>
                      <a:pt x="160" y="6"/>
                    </a:lnTo>
                    <a:lnTo>
                      <a:pt x="158" y="6"/>
                    </a:lnTo>
                    <a:close/>
                    <a:moveTo>
                      <a:pt x="39" y="17"/>
                    </a:moveTo>
                    <a:lnTo>
                      <a:pt x="41" y="17"/>
                    </a:lnTo>
                    <a:lnTo>
                      <a:pt x="41" y="18"/>
                    </a:lnTo>
                    <a:lnTo>
                      <a:pt x="39" y="18"/>
                    </a:lnTo>
                    <a:lnTo>
                      <a:pt x="39" y="17"/>
                    </a:lnTo>
                    <a:close/>
                    <a:moveTo>
                      <a:pt x="85" y="63"/>
                    </a:moveTo>
                    <a:lnTo>
                      <a:pt x="87" y="63"/>
                    </a:lnTo>
                    <a:lnTo>
                      <a:pt x="85" y="63"/>
                    </a:lnTo>
                    <a:close/>
                    <a:moveTo>
                      <a:pt x="76" y="23"/>
                    </a:moveTo>
                    <a:lnTo>
                      <a:pt x="78" y="23"/>
                    </a:lnTo>
                    <a:lnTo>
                      <a:pt x="78" y="27"/>
                    </a:lnTo>
                    <a:lnTo>
                      <a:pt x="76" y="27"/>
                    </a:lnTo>
                    <a:lnTo>
                      <a:pt x="76" y="23"/>
                    </a:lnTo>
                    <a:close/>
                    <a:moveTo>
                      <a:pt x="138" y="3"/>
                    </a:moveTo>
                    <a:lnTo>
                      <a:pt x="141" y="3"/>
                    </a:lnTo>
                    <a:lnTo>
                      <a:pt x="141" y="5"/>
                    </a:lnTo>
                    <a:lnTo>
                      <a:pt x="138" y="5"/>
                    </a:lnTo>
                    <a:lnTo>
                      <a:pt x="138" y="3"/>
                    </a:lnTo>
                    <a:close/>
                    <a:moveTo>
                      <a:pt x="194" y="25"/>
                    </a:moveTo>
                    <a:lnTo>
                      <a:pt x="195" y="25"/>
                    </a:lnTo>
                    <a:lnTo>
                      <a:pt x="195" y="29"/>
                    </a:lnTo>
                    <a:lnTo>
                      <a:pt x="194" y="29"/>
                    </a:lnTo>
                    <a:lnTo>
                      <a:pt x="194" y="25"/>
                    </a:lnTo>
                    <a:close/>
                    <a:moveTo>
                      <a:pt x="194" y="23"/>
                    </a:moveTo>
                    <a:lnTo>
                      <a:pt x="195" y="23"/>
                    </a:lnTo>
                    <a:lnTo>
                      <a:pt x="195" y="25"/>
                    </a:lnTo>
                    <a:lnTo>
                      <a:pt x="194" y="25"/>
                    </a:lnTo>
                    <a:lnTo>
                      <a:pt x="194" y="23"/>
                    </a:lnTo>
                    <a:close/>
                    <a:moveTo>
                      <a:pt x="133" y="1"/>
                    </a:moveTo>
                    <a:lnTo>
                      <a:pt x="134" y="1"/>
                    </a:lnTo>
                    <a:lnTo>
                      <a:pt x="134" y="3"/>
                    </a:lnTo>
                    <a:lnTo>
                      <a:pt x="133" y="3"/>
                    </a:lnTo>
                    <a:lnTo>
                      <a:pt x="133" y="1"/>
                    </a:lnTo>
                    <a:close/>
                    <a:moveTo>
                      <a:pt x="59" y="52"/>
                    </a:moveTo>
                    <a:lnTo>
                      <a:pt x="61" y="52"/>
                    </a:lnTo>
                    <a:lnTo>
                      <a:pt x="61" y="56"/>
                    </a:lnTo>
                    <a:lnTo>
                      <a:pt x="59" y="56"/>
                    </a:lnTo>
                    <a:lnTo>
                      <a:pt x="59" y="52"/>
                    </a:lnTo>
                    <a:close/>
                    <a:moveTo>
                      <a:pt x="173" y="12"/>
                    </a:moveTo>
                    <a:lnTo>
                      <a:pt x="173" y="13"/>
                    </a:lnTo>
                    <a:lnTo>
                      <a:pt x="173" y="12"/>
                    </a:lnTo>
                    <a:close/>
                    <a:moveTo>
                      <a:pt x="78" y="49"/>
                    </a:moveTo>
                    <a:lnTo>
                      <a:pt x="80" y="49"/>
                    </a:lnTo>
                    <a:lnTo>
                      <a:pt x="80" y="52"/>
                    </a:lnTo>
                    <a:lnTo>
                      <a:pt x="78" y="52"/>
                    </a:lnTo>
                    <a:lnTo>
                      <a:pt x="78" y="49"/>
                    </a:lnTo>
                    <a:close/>
                    <a:moveTo>
                      <a:pt x="177" y="15"/>
                    </a:moveTo>
                    <a:lnTo>
                      <a:pt x="178" y="15"/>
                    </a:lnTo>
                    <a:lnTo>
                      <a:pt x="177" y="15"/>
                    </a:lnTo>
                    <a:close/>
                    <a:moveTo>
                      <a:pt x="194" y="25"/>
                    </a:moveTo>
                    <a:lnTo>
                      <a:pt x="195" y="25"/>
                    </a:lnTo>
                    <a:lnTo>
                      <a:pt x="194" y="25"/>
                    </a:lnTo>
                    <a:close/>
                    <a:moveTo>
                      <a:pt x="212" y="91"/>
                    </a:moveTo>
                    <a:lnTo>
                      <a:pt x="214" y="91"/>
                    </a:lnTo>
                    <a:lnTo>
                      <a:pt x="214" y="93"/>
                    </a:lnTo>
                    <a:lnTo>
                      <a:pt x="212" y="93"/>
                    </a:lnTo>
                    <a:lnTo>
                      <a:pt x="212" y="91"/>
                    </a:lnTo>
                    <a:close/>
                    <a:moveTo>
                      <a:pt x="92" y="61"/>
                    </a:moveTo>
                    <a:lnTo>
                      <a:pt x="93" y="61"/>
                    </a:lnTo>
                    <a:lnTo>
                      <a:pt x="93" y="63"/>
                    </a:lnTo>
                    <a:lnTo>
                      <a:pt x="92" y="63"/>
                    </a:lnTo>
                    <a:lnTo>
                      <a:pt x="92" y="61"/>
                    </a:lnTo>
                    <a:close/>
                    <a:moveTo>
                      <a:pt x="160" y="8"/>
                    </a:moveTo>
                    <a:lnTo>
                      <a:pt x="161" y="8"/>
                    </a:lnTo>
                    <a:lnTo>
                      <a:pt x="161" y="10"/>
                    </a:lnTo>
                    <a:lnTo>
                      <a:pt x="160" y="10"/>
                    </a:lnTo>
                    <a:lnTo>
                      <a:pt x="160" y="8"/>
                    </a:lnTo>
                    <a:close/>
                    <a:moveTo>
                      <a:pt x="190" y="30"/>
                    </a:moveTo>
                    <a:lnTo>
                      <a:pt x="194" y="30"/>
                    </a:lnTo>
                    <a:lnTo>
                      <a:pt x="190" y="30"/>
                    </a:lnTo>
                    <a:close/>
                    <a:moveTo>
                      <a:pt x="146" y="1"/>
                    </a:moveTo>
                    <a:lnTo>
                      <a:pt x="148" y="1"/>
                    </a:lnTo>
                    <a:lnTo>
                      <a:pt x="148" y="3"/>
                    </a:lnTo>
                    <a:lnTo>
                      <a:pt x="146" y="3"/>
                    </a:lnTo>
                    <a:lnTo>
                      <a:pt x="146" y="1"/>
                    </a:lnTo>
                    <a:close/>
                    <a:moveTo>
                      <a:pt x="195" y="27"/>
                    </a:moveTo>
                    <a:lnTo>
                      <a:pt x="197" y="27"/>
                    </a:lnTo>
                    <a:lnTo>
                      <a:pt x="195" y="27"/>
                    </a:lnTo>
                    <a:close/>
                    <a:moveTo>
                      <a:pt x="156" y="5"/>
                    </a:moveTo>
                    <a:lnTo>
                      <a:pt x="158" y="5"/>
                    </a:lnTo>
                    <a:lnTo>
                      <a:pt x="158" y="6"/>
                    </a:lnTo>
                    <a:lnTo>
                      <a:pt x="156" y="6"/>
                    </a:lnTo>
                    <a:lnTo>
                      <a:pt x="156" y="5"/>
                    </a:lnTo>
                    <a:close/>
                    <a:moveTo>
                      <a:pt x="183" y="22"/>
                    </a:moveTo>
                    <a:lnTo>
                      <a:pt x="185" y="22"/>
                    </a:lnTo>
                    <a:lnTo>
                      <a:pt x="185" y="23"/>
                    </a:lnTo>
                    <a:lnTo>
                      <a:pt x="183" y="23"/>
                    </a:lnTo>
                    <a:lnTo>
                      <a:pt x="183" y="22"/>
                    </a:lnTo>
                    <a:close/>
                    <a:moveTo>
                      <a:pt x="143" y="3"/>
                    </a:moveTo>
                    <a:lnTo>
                      <a:pt x="146" y="3"/>
                    </a:lnTo>
                    <a:lnTo>
                      <a:pt x="143" y="3"/>
                    </a:lnTo>
                    <a:close/>
                    <a:moveTo>
                      <a:pt x="216" y="97"/>
                    </a:moveTo>
                    <a:lnTo>
                      <a:pt x="219" y="97"/>
                    </a:lnTo>
                    <a:lnTo>
                      <a:pt x="216" y="97"/>
                    </a:lnTo>
                    <a:close/>
                    <a:moveTo>
                      <a:pt x="217" y="93"/>
                    </a:moveTo>
                    <a:lnTo>
                      <a:pt x="219" y="93"/>
                    </a:lnTo>
                    <a:lnTo>
                      <a:pt x="219" y="95"/>
                    </a:lnTo>
                    <a:lnTo>
                      <a:pt x="217" y="95"/>
                    </a:lnTo>
                    <a:lnTo>
                      <a:pt x="217" y="93"/>
                    </a:lnTo>
                    <a:close/>
                    <a:moveTo>
                      <a:pt x="195" y="25"/>
                    </a:moveTo>
                    <a:lnTo>
                      <a:pt x="195" y="27"/>
                    </a:lnTo>
                    <a:lnTo>
                      <a:pt x="195" y="25"/>
                    </a:lnTo>
                    <a:close/>
                    <a:moveTo>
                      <a:pt x="146" y="5"/>
                    </a:moveTo>
                    <a:lnTo>
                      <a:pt x="148" y="5"/>
                    </a:lnTo>
                    <a:lnTo>
                      <a:pt x="148" y="6"/>
                    </a:lnTo>
                    <a:lnTo>
                      <a:pt x="146" y="6"/>
                    </a:lnTo>
                    <a:lnTo>
                      <a:pt x="146" y="5"/>
                    </a:lnTo>
                    <a:close/>
                    <a:moveTo>
                      <a:pt x="243" y="51"/>
                    </a:moveTo>
                    <a:lnTo>
                      <a:pt x="245" y="51"/>
                    </a:lnTo>
                    <a:lnTo>
                      <a:pt x="243" y="51"/>
                    </a:lnTo>
                    <a:close/>
                    <a:moveTo>
                      <a:pt x="20" y="29"/>
                    </a:moveTo>
                    <a:lnTo>
                      <a:pt x="22" y="29"/>
                    </a:lnTo>
                    <a:lnTo>
                      <a:pt x="20" y="29"/>
                    </a:lnTo>
                    <a:close/>
                    <a:moveTo>
                      <a:pt x="207" y="91"/>
                    </a:moveTo>
                    <a:lnTo>
                      <a:pt x="209" y="91"/>
                    </a:lnTo>
                    <a:lnTo>
                      <a:pt x="209" y="93"/>
                    </a:lnTo>
                    <a:lnTo>
                      <a:pt x="207" y="93"/>
                    </a:lnTo>
                    <a:lnTo>
                      <a:pt x="207" y="91"/>
                    </a:lnTo>
                    <a:close/>
                    <a:moveTo>
                      <a:pt x="211" y="80"/>
                    </a:moveTo>
                    <a:lnTo>
                      <a:pt x="212" y="80"/>
                    </a:lnTo>
                    <a:lnTo>
                      <a:pt x="211" y="80"/>
                    </a:lnTo>
                    <a:close/>
                    <a:moveTo>
                      <a:pt x="192" y="25"/>
                    </a:moveTo>
                    <a:lnTo>
                      <a:pt x="194" y="25"/>
                    </a:lnTo>
                    <a:lnTo>
                      <a:pt x="192" y="25"/>
                    </a:lnTo>
                    <a:close/>
                    <a:moveTo>
                      <a:pt x="214" y="88"/>
                    </a:moveTo>
                    <a:lnTo>
                      <a:pt x="214" y="90"/>
                    </a:lnTo>
                    <a:lnTo>
                      <a:pt x="214" y="88"/>
                    </a:lnTo>
                    <a:close/>
                    <a:moveTo>
                      <a:pt x="245" y="49"/>
                    </a:moveTo>
                    <a:lnTo>
                      <a:pt x="246" y="49"/>
                    </a:lnTo>
                    <a:lnTo>
                      <a:pt x="245" y="49"/>
                    </a:lnTo>
                    <a:close/>
                    <a:moveTo>
                      <a:pt x="158" y="5"/>
                    </a:moveTo>
                    <a:lnTo>
                      <a:pt x="158" y="6"/>
                    </a:lnTo>
                    <a:lnTo>
                      <a:pt x="158" y="5"/>
                    </a:lnTo>
                    <a:close/>
                    <a:moveTo>
                      <a:pt x="197" y="27"/>
                    </a:moveTo>
                    <a:lnTo>
                      <a:pt x="199" y="27"/>
                    </a:lnTo>
                    <a:lnTo>
                      <a:pt x="199" y="29"/>
                    </a:lnTo>
                    <a:lnTo>
                      <a:pt x="197" y="29"/>
                    </a:lnTo>
                    <a:lnTo>
                      <a:pt x="197" y="27"/>
                    </a:lnTo>
                    <a:close/>
                    <a:moveTo>
                      <a:pt x="228" y="91"/>
                    </a:moveTo>
                    <a:lnTo>
                      <a:pt x="229" y="91"/>
                    </a:lnTo>
                    <a:lnTo>
                      <a:pt x="228" y="91"/>
                    </a:lnTo>
                    <a:close/>
                    <a:moveTo>
                      <a:pt x="223" y="95"/>
                    </a:moveTo>
                    <a:lnTo>
                      <a:pt x="223" y="97"/>
                    </a:lnTo>
                    <a:lnTo>
                      <a:pt x="223" y="95"/>
                    </a:lnTo>
                    <a:close/>
                    <a:moveTo>
                      <a:pt x="248" y="49"/>
                    </a:moveTo>
                    <a:lnTo>
                      <a:pt x="248" y="51"/>
                    </a:lnTo>
                    <a:lnTo>
                      <a:pt x="248" y="49"/>
                    </a:lnTo>
                    <a:close/>
                    <a:moveTo>
                      <a:pt x="168" y="12"/>
                    </a:moveTo>
                    <a:lnTo>
                      <a:pt x="170" y="12"/>
                    </a:lnTo>
                    <a:lnTo>
                      <a:pt x="168" y="12"/>
                    </a:lnTo>
                    <a:close/>
                    <a:moveTo>
                      <a:pt x="209" y="68"/>
                    </a:moveTo>
                    <a:lnTo>
                      <a:pt x="211" y="68"/>
                    </a:lnTo>
                    <a:lnTo>
                      <a:pt x="211" y="69"/>
                    </a:lnTo>
                    <a:lnTo>
                      <a:pt x="209" y="69"/>
                    </a:lnTo>
                    <a:lnTo>
                      <a:pt x="209" y="68"/>
                    </a:lnTo>
                    <a:close/>
                    <a:moveTo>
                      <a:pt x="87" y="63"/>
                    </a:moveTo>
                    <a:lnTo>
                      <a:pt x="88" y="63"/>
                    </a:lnTo>
                    <a:lnTo>
                      <a:pt x="87" y="63"/>
                    </a:lnTo>
                    <a:close/>
                    <a:moveTo>
                      <a:pt x="228" y="90"/>
                    </a:moveTo>
                    <a:lnTo>
                      <a:pt x="228" y="91"/>
                    </a:lnTo>
                    <a:lnTo>
                      <a:pt x="228" y="90"/>
                    </a:lnTo>
                    <a:close/>
                    <a:moveTo>
                      <a:pt x="246" y="49"/>
                    </a:moveTo>
                    <a:lnTo>
                      <a:pt x="248" y="49"/>
                    </a:lnTo>
                    <a:lnTo>
                      <a:pt x="248" y="51"/>
                    </a:lnTo>
                    <a:lnTo>
                      <a:pt x="246" y="51"/>
                    </a:lnTo>
                    <a:lnTo>
                      <a:pt x="246" y="49"/>
                    </a:lnTo>
                    <a:close/>
                    <a:moveTo>
                      <a:pt x="110" y="61"/>
                    </a:moveTo>
                    <a:lnTo>
                      <a:pt x="112" y="61"/>
                    </a:lnTo>
                    <a:lnTo>
                      <a:pt x="110" y="61"/>
                    </a:lnTo>
                    <a:close/>
                    <a:moveTo>
                      <a:pt x="168" y="12"/>
                    </a:moveTo>
                    <a:lnTo>
                      <a:pt x="170" y="12"/>
                    </a:lnTo>
                    <a:lnTo>
                      <a:pt x="168" y="12"/>
                    </a:lnTo>
                    <a:close/>
                    <a:moveTo>
                      <a:pt x="177" y="13"/>
                    </a:moveTo>
                    <a:lnTo>
                      <a:pt x="178" y="13"/>
                    </a:lnTo>
                    <a:lnTo>
                      <a:pt x="178" y="15"/>
                    </a:lnTo>
                    <a:lnTo>
                      <a:pt x="177" y="15"/>
                    </a:lnTo>
                    <a:lnTo>
                      <a:pt x="177" y="13"/>
                    </a:lnTo>
                    <a:close/>
                    <a:moveTo>
                      <a:pt x="172" y="12"/>
                    </a:moveTo>
                    <a:lnTo>
                      <a:pt x="173" y="12"/>
                    </a:lnTo>
                    <a:lnTo>
                      <a:pt x="173" y="13"/>
                    </a:lnTo>
                    <a:lnTo>
                      <a:pt x="172" y="13"/>
                    </a:lnTo>
                    <a:lnTo>
                      <a:pt x="172" y="12"/>
                    </a:lnTo>
                    <a:close/>
                    <a:moveTo>
                      <a:pt x="248" y="51"/>
                    </a:moveTo>
                    <a:lnTo>
                      <a:pt x="248" y="52"/>
                    </a:lnTo>
                    <a:lnTo>
                      <a:pt x="248" y="51"/>
                    </a:lnTo>
                    <a:close/>
                    <a:moveTo>
                      <a:pt x="238" y="98"/>
                    </a:moveTo>
                    <a:lnTo>
                      <a:pt x="240" y="98"/>
                    </a:lnTo>
                    <a:lnTo>
                      <a:pt x="240" y="100"/>
                    </a:lnTo>
                    <a:lnTo>
                      <a:pt x="238" y="100"/>
                    </a:lnTo>
                    <a:lnTo>
                      <a:pt x="238" y="98"/>
                    </a:lnTo>
                    <a:close/>
                    <a:moveTo>
                      <a:pt x="190" y="30"/>
                    </a:moveTo>
                    <a:lnTo>
                      <a:pt x="192" y="30"/>
                    </a:lnTo>
                    <a:lnTo>
                      <a:pt x="190" y="30"/>
                    </a:lnTo>
                    <a:close/>
                    <a:moveTo>
                      <a:pt x="83" y="27"/>
                    </a:moveTo>
                    <a:lnTo>
                      <a:pt x="85" y="27"/>
                    </a:lnTo>
                    <a:lnTo>
                      <a:pt x="85" y="29"/>
                    </a:lnTo>
                    <a:lnTo>
                      <a:pt x="83" y="29"/>
                    </a:lnTo>
                    <a:lnTo>
                      <a:pt x="83" y="27"/>
                    </a:lnTo>
                    <a:close/>
                    <a:moveTo>
                      <a:pt x="143" y="6"/>
                    </a:moveTo>
                    <a:lnTo>
                      <a:pt x="144" y="6"/>
                    </a:lnTo>
                    <a:lnTo>
                      <a:pt x="143" y="6"/>
                    </a:lnTo>
                    <a:close/>
                    <a:moveTo>
                      <a:pt x="160" y="5"/>
                    </a:moveTo>
                    <a:lnTo>
                      <a:pt x="160" y="6"/>
                    </a:lnTo>
                    <a:lnTo>
                      <a:pt x="160" y="5"/>
                    </a:lnTo>
                    <a:close/>
                    <a:moveTo>
                      <a:pt x="109" y="40"/>
                    </a:moveTo>
                    <a:lnTo>
                      <a:pt x="110" y="40"/>
                    </a:lnTo>
                    <a:lnTo>
                      <a:pt x="109" y="40"/>
                    </a:lnTo>
                    <a:close/>
                    <a:moveTo>
                      <a:pt x="141" y="5"/>
                    </a:moveTo>
                    <a:lnTo>
                      <a:pt x="143" y="5"/>
                    </a:lnTo>
                    <a:lnTo>
                      <a:pt x="141" y="5"/>
                    </a:lnTo>
                    <a:close/>
                    <a:moveTo>
                      <a:pt x="82" y="57"/>
                    </a:moveTo>
                    <a:lnTo>
                      <a:pt x="83" y="57"/>
                    </a:lnTo>
                    <a:lnTo>
                      <a:pt x="82" y="57"/>
                    </a:lnTo>
                    <a:close/>
                    <a:moveTo>
                      <a:pt x="338" y="95"/>
                    </a:moveTo>
                    <a:lnTo>
                      <a:pt x="340" y="95"/>
                    </a:lnTo>
                    <a:lnTo>
                      <a:pt x="338" y="95"/>
                    </a:lnTo>
                    <a:close/>
                    <a:moveTo>
                      <a:pt x="206" y="91"/>
                    </a:moveTo>
                    <a:lnTo>
                      <a:pt x="207" y="91"/>
                    </a:lnTo>
                    <a:lnTo>
                      <a:pt x="206" y="91"/>
                    </a:lnTo>
                    <a:close/>
                    <a:moveTo>
                      <a:pt x="102" y="57"/>
                    </a:moveTo>
                    <a:lnTo>
                      <a:pt x="102" y="59"/>
                    </a:lnTo>
                    <a:lnTo>
                      <a:pt x="102" y="57"/>
                    </a:lnTo>
                    <a:close/>
                    <a:moveTo>
                      <a:pt x="146" y="5"/>
                    </a:moveTo>
                    <a:lnTo>
                      <a:pt x="148" y="5"/>
                    </a:lnTo>
                    <a:lnTo>
                      <a:pt x="146" y="5"/>
                    </a:lnTo>
                    <a:close/>
                    <a:moveTo>
                      <a:pt x="73" y="37"/>
                    </a:moveTo>
                    <a:lnTo>
                      <a:pt x="75" y="37"/>
                    </a:lnTo>
                    <a:lnTo>
                      <a:pt x="75" y="39"/>
                    </a:lnTo>
                    <a:lnTo>
                      <a:pt x="73" y="39"/>
                    </a:lnTo>
                    <a:lnTo>
                      <a:pt x="73" y="37"/>
                    </a:lnTo>
                    <a:close/>
                    <a:moveTo>
                      <a:pt x="170" y="13"/>
                    </a:moveTo>
                    <a:lnTo>
                      <a:pt x="170" y="15"/>
                    </a:lnTo>
                    <a:lnTo>
                      <a:pt x="170" y="13"/>
                    </a:lnTo>
                    <a:close/>
                    <a:moveTo>
                      <a:pt x="231" y="32"/>
                    </a:moveTo>
                    <a:lnTo>
                      <a:pt x="233" y="32"/>
                    </a:lnTo>
                    <a:lnTo>
                      <a:pt x="231" y="32"/>
                    </a:lnTo>
                    <a:close/>
                    <a:moveTo>
                      <a:pt x="97" y="56"/>
                    </a:moveTo>
                    <a:lnTo>
                      <a:pt x="99" y="56"/>
                    </a:lnTo>
                    <a:lnTo>
                      <a:pt x="99" y="57"/>
                    </a:lnTo>
                    <a:lnTo>
                      <a:pt x="97" y="57"/>
                    </a:lnTo>
                    <a:lnTo>
                      <a:pt x="97" y="56"/>
                    </a:lnTo>
                    <a:close/>
                    <a:moveTo>
                      <a:pt x="87" y="29"/>
                    </a:moveTo>
                    <a:lnTo>
                      <a:pt x="88" y="29"/>
                    </a:lnTo>
                    <a:lnTo>
                      <a:pt x="88" y="30"/>
                    </a:lnTo>
                    <a:lnTo>
                      <a:pt x="87" y="30"/>
                    </a:lnTo>
                    <a:lnTo>
                      <a:pt x="87" y="29"/>
                    </a:lnTo>
                    <a:close/>
                    <a:moveTo>
                      <a:pt x="109" y="40"/>
                    </a:moveTo>
                    <a:lnTo>
                      <a:pt x="110" y="40"/>
                    </a:lnTo>
                    <a:lnTo>
                      <a:pt x="110" y="44"/>
                    </a:lnTo>
                    <a:lnTo>
                      <a:pt x="109" y="44"/>
                    </a:lnTo>
                    <a:lnTo>
                      <a:pt x="109" y="40"/>
                    </a:lnTo>
                    <a:close/>
                    <a:moveTo>
                      <a:pt x="207" y="27"/>
                    </a:moveTo>
                    <a:lnTo>
                      <a:pt x="207" y="29"/>
                    </a:lnTo>
                    <a:lnTo>
                      <a:pt x="207" y="27"/>
                    </a:lnTo>
                    <a:close/>
                    <a:moveTo>
                      <a:pt x="231" y="97"/>
                    </a:moveTo>
                    <a:lnTo>
                      <a:pt x="233" y="97"/>
                    </a:lnTo>
                    <a:lnTo>
                      <a:pt x="231" y="97"/>
                    </a:lnTo>
                    <a:close/>
                    <a:moveTo>
                      <a:pt x="75" y="35"/>
                    </a:moveTo>
                    <a:lnTo>
                      <a:pt x="75" y="37"/>
                    </a:lnTo>
                    <a:lnTo>
                      <a:pt x="75" y="35"/>
                    </a:lnTo>
                    <a:close/>
                    <a:moveTo>
                      <a:pt x="166" y="8"/>
                    </a:moveTo>
                    <a:lnTo>
                      <a:pt x="166" y="10"/>
                    </a:lnTo>
                    <a:lnTo>
                      <a:pt x="166" y="8"/>
                    </a:lnTo>
                    <a:close/>
                    <a:moveTo>
                      <a:pt x="160" y="6"/>
                    </a:moveTo>
                    <a:lnTo>
                      <a:pt x="160" y="8"/>
                    </a:lnTo>
                    <a:lnTo>
                      <a:pt x="160" y="6"/>
                    </a:lnTo>
                    <a:close/>
                    <a:moveTo>
                      <a:pt x="223" y="91"/>
                    </a:moveTo>
                    <a:lnTo>
                      <a:pt x="223" y="93"/>
                    </a:lnTo>
                    <a:lnTo>
                      <a:pt x="223" y="91"/>
                    </a:lnTo>
                    <a:close/>
                    <a:moveTo>
                      <a:pt x="197" y="23"/>
                    </a:moveTo>
                    <a:lnTo>
                      <a:pt x="199" y="23"/>
                    </a:lnTo>
                    <a:lnTo>
                      <a:pt x="197" y="23"/>
                    </a:lnTo>
                    <a:close/>
                    <a:moveTo>
                      <a:pt x="253" y="54"/>
                    </a:moveTo>
                    <a:lnTo>
                      <a:pt x="253" y="56"/>
                    </a:lnTo>
                    <a:lnTo>
                      <a:pt x="253" y="54"/>
                    </a:lnTo>
                    <a:close/>
                    <a:moveTo>
                      <a:pt x="107" y="59"/>
                    </a:moveTo>
                    <a:lnTo>
                      <a:pt x="107" y="61"/>
                    </a:lnTo>
                    <a:lnTo>
                      <a:pt x="107" y="59"/>
                    </a:lnTo>
                    <a:close/>
                    <a:moveTo>
                      <a:pt x="80" y="54"/>
                    </a:moveTo>
                    <a:lnTo>
                      <a:pt x="80" y="56"/>
                    </a:lnTo>
                    <a:lnTo>
                      <a:pt x="80" y="54"/>
                    </a:lnTo>
                    <a:close/>
                    <a:moveTo>
                      <a:pt x="217" y="91"/>
                    </a:moveTo>
                    <a:lnTo>
                      <a:pt x="219" y="91"/>
                    </a:lnTo>
                    <a:lnTo>
                      <a:pt x="219" y="93"/>
                    </a:lnTo>
                    <a:lnTo>
                      <a:pt x="217" y="93"/>
                    </a:lnTo>
                    <a:lnTo>
                      <a:pt x="217" y="91"/>
                    </a:lnTo>
                    <a:close/>
                    <a:moveTo>
                      <a:pt x="44" y="40"/>
                    </a:moveTo>
                    <a:lnTo>
                      <a:pt x="46" y="40"/>
                    </a:lnTo>
                    <a:lnTo>
                      <a:pt x="44" y="40"/>
                    </a:lnTo>
                    <a:close/>
                    <a:moveTo>
                      <a:pt x="93" y="63"/>
                    </a:moveTo>
                    <a:lnTo>
                      <a:pt x="95" y="63"/>
                    </a:lnTo>
                    <a:lnTo>
                      <a:pt x="93" y="63"/>
                    </a:lnTo>
                    <a:close/>
                    <a:moveTo>
                      <a:pt x="48" y="15"/>
                    </a:moveTo>
                    <a:lnTo>
                      <a:pt x="49" y="15"/>
                    </a:lnTo>
                    <a:lnTo>
                      <a:pt x="48" y="15"/>
                    </a:lnTo>
                    <a:close/>
                    <a:moveTo>
                      <a:pt x="192" y="32"/>
                    </a:moveTo>
                    <a:lnTo>
                      <a:pt x="194" y="32"/>
                    </a:lnTo>
                    <a:lnTo>
                      <a:pt x="194" y="34"/>
                    </a:lnTo>
                    <a:lnTo>
                      <a:pt x="192" y="34"/>
                    </a:lnTo>
                    <a:lnTo>
                      <a:pt x="192" y="32"/>
                    </a:lnTo>
                    <a:close/>
                    <a:moveTo>
                      <a:pt x="221" y="95"/>
                    </a:moveTo>
                    <a:lnTo>
                      <a:pt x="223" y="95"/>
                    </a:lnTo>
                    <a:lnTo>
                      <a:pt x="221" y="95"/>
                    </a:lnTo>
                    <a:close/>
                    <a:moveTo>
                      <a:pt x="160" y="6"/>
                    </a:moveTo>
                    <a:lnTo>
                      <a:pt x="160" y="8"/>
                    </a:lnTo>
                    <a:lnTo>
                      <a:pt x="160" y="6"/>
                    </a:lnTo>
                    <a:close/>
                    <a:moveTo>
                      <a:pt x="214" y="29"/>
                    </a:moveTo>
                    <a:lnTo>
                      <a:pt x="216" y="29"/>
                    </a:lnTo>
                    <a:lnTo>
                      <a:pt x="216" y="30"/>
                    </a:lnTo>
                    <a:lnTo>
                      <a:pt x="214" y="30"/>
                    </a:lnTo>
                    <a:lnTo>
                      <a:pt x="214" y="29"/>
                    </a:lnTo>
                    <a:close/>
                    <a:moveTo>
                      <a:pt x="233" y="32"/>
                    </a:moveTo>
                    <a:lnTo>
                      <a:pt x="233" y="34"/>
                    </a:lnTo>
                    <a:lnTo>
                      <a:pt x="233" y="32"/>
                    </a:lnTo>
                    <a:close/>
                    <a:moveTo>
                      <a:pt x="148" y="6"/>
                    </a:moveTo>
                    <a:lnTo>
                      <a:pt x="150" y="6"/>
                    </a:lnTo>
                    <a:lnTo>
                      <a:pt x="148" y="6"/>
                    </a:lnTo>
                    <a:close/>
                    <a:moveTo>
                      <a:pt x="139" y="1"/>
                    </a:moveTo>
                    <a:lnTo>
                      <a:pt x="141" y="1"/>
                    </a:lnTo>
                    <a:lnTo>
                      <a:pt x="141" y="3"/>
                    </a:lnTo>
                    <a:lnTo>
                      <a:pt x="139" y="3"/>
                    </a:lnTo>
                    <a:lnTo>
                      <a:pt x="139" y="1"/>
                    </a:lnTo>
                    <a:close/>
                    <a:moveTo>
                      <a:pt x="172" y="12"/>
                    </a:moveTo>
                    <a:lnTo>
                      <a:pt x="173" y="12"/>
                    </a:lnTo>
                    <a:lnTo>
                      <a:pt x="172" y="12"/>
                    </a:lnTo>
                    <a:close/>
                    <a:moveTo>
                      <a:pt x="194" y="30"/>
                    </a:moveTo>
                    <a:lnTo>
                      <a:pt x="194" y="32"/>
                    </a:lnTo>
                    <a:lnTo>
                      <a:pt x="194" y="30"/>
                    </a:lnTo>
                    <a:close/>
                    <a:moveTo>
                      <a:pt x="178" y="17"/>
                    </a:moveTo>
                    <a:lnTo>
                      <a:pt x="180" y="17"/>
                    </a:lnTo>
                    <a:lnTo>
                      <a:pt x="180" y="18"/>
                    </a:lnTo>
                    <a:lnTo>
                      <a:pt x="178" y="18"/>
                    </a:lnTo>
                    <a:lnTo>
                      <a:pt x="178" y="17"/>
                    </a:lnTo>
                    <a:close/>
                    <a:moveTo>
                      <a:pt x="158" y="5"/>
                    </a:moveTo>
                    <a:lnTo>
                      <a:pt x="158" y="6"/>
                    </a:lnTo>
                    <a:lnTo>
                      <a:pt x="158" y="5"/>
                    </a:lnTo>
                    <a:close/>
                    <a:moveTo>
                      <a:pt x="185" y="23"/>
                    </a:moveTo>
                    <a:lnTo>
                      <a:pt x="187" y="23"/>
                    </a:lnTo>
                    <a:lnTo>
                      <a:pt x="185" y="23"/>
                    </a:lnTo>
                    <a:close/>
                    <a:moveTo>
                      <a:pt x="88" y="29"/>
                    </a:moveTo>
                    <a:lnTo>
                      <a:pt x="90" y="29"/>
                    </a:lnTo>
                    <a:lnTo>
                      <a:pt x="88" y="29"/>
                    </a:lnTo>
                    <a:close/>
                    <a:moveTo>
                      <a:pt x="134" y="3"/>
                    </a:moveTo>
                    <a:lnTo>
                      <a:pt x="134" y="5"/>
                    </a:lnTo>
                    <a:lnTo>
                      <a:pt x="134" y="3"/>
                    </a:lnTo>
                    <a:close/>
                    <a:moveTo>
                      <a:pt x="209" y="66"/>
                    </a:moveTo>
                    <a:lnTo>
                      <a:pt x="209" y="68"/>
                    </a:lnTo>
                    <a:lnTo>
                      <a:pt x="209" y="66"/>
                    </a:lnTo>
                    <a:close/>
                    <a:moveTo>
                      <a:pt x="246" y="49"/>
                    </a:moveTo>
                    <a:lnTo>
                      <a:pt x="248" y="49"/>
                    </a:lnTo>
                    <a:lnTo>
                      <a:pt x="248" y="51"/>
                    </a:lnTo>
                    <a:lnTo>
                      <a:pt x="246" y="51"/>
                    </a:lnTo>
                    <a:lnTo>
                      <a:pt x="246" y="49"/>
                    </a:lnTo>
                    <a:close/>
                    <a:moveTo>
                      <a:pt x="228" y="40"/>
                    </a:moveTo>
                    <a:lnTo>
                      <a:pt x="229" y="40"/>
                    </a:lnTo>
                    <a:lnTo>
                      <a:pt x="229" y="42"/>
                    </a:lnTo>
                    <a:lnTo>
                      <a:pt x="228" y="42"/>
                    </a:lnTo>
                    <a:lnTo>
                      <a:pt x="228" y="40"/>
                    </a:lnTo>
                    <a:close/>
                    <a:moveTo>
                      <a:pt x="248" y="49"/>
                    </a:moveTo>
                    <a:lnTo>
                      <a:pt x="250" y="49"/>
                    </a:lnTo>
                    <a:lnTo>
                      <a:pt x="248" y="49"/>
                    </a:lnTo>
                    <a:close/>
                    <a:moveTo>
                      <a:pt x="93" y="63"/>
                    </a:moveTo>
                    <a:lnTo>
                      <a:pt x="95" y="63"/>
                    </a:lnTo>
                    <a:lnTo>
                      <a:pt x="95" y="64"/>
                    </a:lnTo>
                    <a:lnTo>
                      <a:pt x="93" y="64"/>
                    </a:lnTo>
                    <a:lnTo>
                      <a:pt x="93" y="63"/>
                    </a:lnTo>
                    <a:close/>
                    <a:moveTo>
                      <a:pt x="231" y="95"/>
                    </a:moveTo>
                    <a:lnTo>
                      <a:pt x="233" y="95"/>
                    </a:lnTo>
                    <a:lnTo>
                      <a:pt x="233" y="97"/>
                    </a:lnTo>
                    <a:lnTo>
                      <a:pt x="231" y="97"/>
                    </a:lnTo>
                    <a:lnTo>
                      <a:pt x="231" y="95"/>
                    </a:lnTo>
                    <a:close/>
                    <a:moveTo>
                      <a:pt x="105" y="51"/>
                    </a:moveTo>
                    <a:lnTo>
                      <a:pt x="107" y="51"/>
                    </a:lnTo>
                    <a:lnTo>
                      <a:pt x="107" y="52"/>
                    </a:lnTo>
                    <a:lnTo>
                      <a:pt x="105" y="52"/>
                    </a:lnTo>
                    <a:lnTo>
                      <a:pt x="105" y="51"/>
                    </a:lnTo>
                    <a:close/>
                    <a:moveTo>
                      <a:pt x="139" y="1"/>
                    </a:moveTo>
                    <a:lnTo>
                      <a:pt x="139" y="3"/>
                    </a:lnTo>
                    <a:lnTo>
                      <a:pt x="139" y="1"/>
                    </a:lnTo>
                    <a:close/>
                    <a:moveTo>
                      <a:pt x="226" y="90"/>
                    </a:moveTo>
                    <a:lnTo>
                      <a:pt x="228" y="90"/>
                    </a:lnTo>
                    <a:lnTo>
                      <a:pt x="226" y="90"/>
                    </a:lnTo>
                    <a:close/>
                    <a:moveTo>
                      <a:pt x="134" y="1"/>
                    </a:moveTo>
                    <a:lnTo>
                      <a:pt x="136" y="1"/>
                    </a:lnTo>
                    <a:lnTo>
                      <a:pt x="134" y="1"/>
                    </a:lnTo>
                    <a:close/>
                    <a:moveTo>
                      <a:pt x="85" y="59"/>
                    </a:moveTo>
                    <a:lnTo>
                      <a:pt x="85" y="61"/>
                    </a:lnTo>
                    <a:lnTo>
                      <a:pt x="85" y="59"/>
                    </a:lnTo>
                    <a:close/>
                    <a:moveTo>
                      <a:pt x="119" y="40"/>
                    </a:moveTo>
                    <a:lnTo>
                      <a:pt x="119" y="42"/>
                    </a:lnTo>
                    <a:lnTo>
                      <a:pt x="119" y="40"/>
                    </a:lnTo>
                    <a:close/>
                    <a:moveTo>
                      <a:pt x="70" y="44"/>
                    </a:moveTo>
                    <a:lnTo>
                      <a:pt x="70" y="46"/>
                    </a:lnTo>
                    <a:lnTo>
                      <a:pt x="70" y="44"/>
                    </a:lnTo>
                    <a:close/>
                    <a:moveTo>
                      <a:pt x="105" y="57"/>
                    </a:moveTo>
                    <a:lnTo>
                      <a:pt x="105" y="59"/>
                    </a:lnTo>
                    <a:lnTo>
                      <a:pt x="105" y="57"/>
                    </a:lnTo>
                    <a:close/>
                    <a:moveTo>
                      <a:pt x="82" y="63"/>
                    </a:moveTo>
                    <a:lnTo>
                      <a:pt x="83" y="63"/>
                    </a:lnTo>
                    <a:lnTo>
                      <a:pt x="82" y="63"/>
                    </a:lnTo>
                    <a:close/>
                    <a:moveTo>
                      <a:pt x="212" y="29"/>
                    </a:moveTo>
                    <a:lnTo>
                      <a:pt x="214" y="29"/>
                    </a:lnTo>
                    <a:lnTo>
                      <a:pt x="212" y="29"/>
                    </a:lnTo>
                    <a:close/>
                    <a:moveTo>
                      <a:pt x="199" y="23"/>
                    </a:moveTo>
                    <a:lnTo>
                      <a:pt x="200" y="23"/>
                    </a:lnTo>
                    <a:lnTo>
                      <a:pt x="199" y="23"/>
                    </a:lnTo>
                    <a:close/>
                    <a:moveTo>
                      <a:pt x="248" y="100"/>
                    </a:moveTo>
                    <a:lnTo>
                      <a:pt x="248" y="102"/>
                    </a:lnTo>
                    <a:lnTo>
                      <a:pt x="248" y="100"/>
                    </a:lnTo>
                    <a:close/>
                    <a:moveTo>
                      <a:pt x="182" y="66"/>
                    </a:moveTo>
                    <a:lnTo>
                      <a:pt x="182" y="68"/>
                    </a:lnTo>
                    <a:lnTo>
                      <a:pt x="182" y="66"/>
                    </a:lnTo>
                    <a:close/>
                    <a:moveTo>
                      <a:pt x="211" y="93"/>
                    </a:moveTo>
                    <a:lnTo>
                      <a:pt x="211" y="95"/>
                    </a:lnTo>
                    <a:lnTo>
                      <a:pt x="211" y="93"/>
                    </a:lnTo>
                    <a:close/>
                    <a:moveTo>
                      <a:pt x="221" y="37"/>
                    </a:moveTo>
                    <a:lnTo>
                      <a:pt x="223" y="37"/>
                    </a:lnTo>
                    <a:lnTo>
                      <a:pt x="223" y="39"/>
                    </a:lnTo>
                    <a:lnTo>
                      <a:pt x="221" y="39"/>
                    </a:lnTo>
                    <a:lnTo>
                      <a:pt x="221" y="37"/>
                    </a:lnTo>
                    <a:close/>
                    <a:moveTo>
                      <a:pt x="231" y="95"/>
                    </a:moveTo>
                    <a:lnTo>
                      <a:pt x="233" y="95"/>
                    </a:lnTo>
                    <a:lnTo>
                      <a:pt x="231" y="95"/>
                    </a:lnTo>
                    <a:close/>
                    <a:moveTo>
                      <a:pt x="117" y="44"/>
                    </a:moveTo>
                    <a:lnTo>
                      <a:pt x="119" y="44"/>
                    </a:lnTo>
                    <a:lnTo>
                      <a:pt x="117" y="44"/>
                    </a:lnTo>
                    <a:close/>
                    <a:moveTo>
                      <a:pt x="110" y="42"/>
                    </a:moveTo>
                    <a:lnTo>
                      <a:pt x="112" y="42"/>
                    </a:lnTo>
                    <a:lnTo>
                      <a:pt x="110" y="42"/>
                    </a:lnTo>
                    <a:close/>
                    <a:moveTo>
                      <a:pt x="155" y="12"/>
                    </a:moveTo>
                    <a:lnTo>
                      <a:pt x="156" y="12"/>
                    </a:lnTo>
                    <a:lnTo>
                      <a:pt x="155" y="12"/>
                    </a:lnTo>
                    <a:close/>
                    <a:moveTo>
                      <a:pt x="214" y="30"/>
                    </a:moveTo>
                    <a:lnTo>
                      <a:pt x="216" y="30"/>
                    </a:lnTo>
                    <a:lnTo>
                      <a:pt x="214" y="30"/>
                    </a:lnTo>
                    <a:close/>
                    <a:moveTo>
                      <a:pt x="155" y="6"/>
                    </a:moveTo>
                    <a:lnTo>
                      <a:pt x="156" y="6"/>
                    </a:lnTo>
                    <a:lnTo>
                      <a:pt x="155" y="6"/>
                    </a:lnTo>
                    <a:close/>
                    <a:moveTo>
                      <a:pt x="226" y="91"/>
                    </a:moveTo>
                    <a:lnTo>
                      <a:pt x="228" y="91"/>
                    </a:lnTo>
                    <a:lnTo>
                      <a:pt x="228" y="93"/>
                    </a:lnTo>
                    <a:lnTo>
                      <a:pt x="226" y="93"/>
                    </a:lnTo>
                    <a:lnTo>
                      <a:pt x="226" y="91"/>
                    </a:lnTo>
                    <a:close/>
                    <a:moveTo>
                      <a:pt x="226" y="91"/>
                    </a:moveTo>
                    <a:lnTo>
                      <a:pt x="228" y="91"/>
                    </a:lnTo>
                    <a:lnTo>
                      <a:pt x="228" y="93"/>
                    </a:lnTo>
                    <a:lnTo>
                      <a:pt x="226" y="93"/>
                    </a:lnTo>
                    <a:lnTo>
                      <a:pt x="226" y="91"/>
                    </a:lnTo>
                    <a:close/>
                    <a:moveTo>
                      <a:pt x="114" y="46"/>
                    </a:moveTo>
                    <a:lnTo>
                      <a:pt x="116" y="46"/>
                    </a:lnTo>
                    <a:lnTo>
                      <a:pt x="114" y="46"/>
                    </a:lnTo>
                    <a:close/>
                    <a:moveTo>
                      <a:pt x="224" y="35"/>
                    </a:moveTo>
                    <a:lnTo>
                      <a:pt x="226" y="35"/>
                    </a:lnTo>
                    <a:lnTo>
                      <a:pt x="224" y="35"/>
                    </a:lnTo>
                    <a:close/>
                    <a:moveTo>
                      <a:pt x="127" y="59"/>
                    </a:moveTo>
                    <a:lnTo>
                      <a:pt x="129" y="59"/>
                    </a:lnTo>
                    <a:lnTo>
                      <a:pt x="129" y="61"/>
                    </a:lnTo>
                    <a:lnTo>
                      <a:pt x="127" y="61"/>
                    </a:lnTo>
                    <a:lnTo>
                      <a:pt x="127" y="59"/>
                    </a:lnTo>
                    <a:close/>
                    <a:moveTo>
                      <a:pt x="160" y="5"/>
                    </a:moveTo>
                    <a:lnTo>
                      <a:pt x="160" y="6"/>
                    </a:lnTo>
                    <a:lnTo>
                      <a:pt x="160" y="5"/>
                    </a:lnTo>
                    <a:close/>
                    <a:moveTo>
                      <a:pt x="202" y="80"/>
                    </a:moveTo>
                    <a:lnTo>
                      <a:pt x="204" y="80"/>
                    </a:lnTo>
                    <a:lnTo>
                      <a:pt x="204" y="81"/>
                    </a:lnTo>
                    <a:lnTo>
                      <a:pt x="202" y="81"/>
                    </a:lnTo>
                    <a:lnTo>
                      <a:pt x="202" y="80"/>
                    </a:lnTo>
                    <a:close/>
                    <a:moveTo>
                      <a:pt x="24" y="27"/>
                    </a:moveTo>
                    <a:lnTo>
                      <a:pt x="25" y="27"/>
                    </a:lnTo>
                    <a:lnTo>
                      <a:pt x="24" y="27"/>
                    </a:lnTo>
                    <a:close/>
                    <a:moveTo>
                      <a:pt x="206" y="66"/>
                    </a:moveTo>
                    <a:lnTo>
                      <a:pt x="207" y="66"/>
                    </a:lnTo>
                    <a:lnTo>
                      <a:pt x="206" y="66"/>
                    </a:lnTo>
                    <a:close/>
                    <a:moveTo>
                      <a:pt x="153" y="10"/>
                    </a:moveTo>
                    <a:lnTo>
                      <a:pt x="155" y="10"/>
                    </a:lnTo>
                    <a:lnTo>
                      <a:pt x="153" y="10"/>
                    </a:lnTo>
                    <a:close/>
                    <a:moveTo>
                      <a:pt x="214" y="93"/>
                    </a:moveTo>
                    <a:lnTo>
                      <a:pt x="216" y="93"/>
                    </a:lnTo>
                    <a:lnTo>
                      <a:pt x="214" y="93"/>
                    </a:lnTo>
                    <a:close/>
                    <a:moveTo>
                      <a:pt x="216" y="30"/>
                    </a:moveTo>
                    <a:lnTo>
                      <a:pt x="216" y="32"/>
                    </a:lnTo>
                    <a:lnTo>
                      <a:pt x="216" y="30"/>
                    </a:lnTo>
                    <a:close/>
                    <a:moveTo>
                      <a:pt x="223" y="35"/>
                    </a:moveTo>
                    <a:lnTo>
                      <a:pt x="223" y="37"/>
                    </a:lnTo>
                    <a:lnTo>
                      <a:pt x="223" y="35"/>
                    </a:lnTo>
                    <a:close/>
                    <a:moveTo>
                      <a:pt x="194" y="32"/>
                    </a:moveTo>
                    <a:lnTo>
                      <a:pt x="195" y="32"/>
                    </a:lnTo>
                    <a:lnTo>
                      <a:pt x="194" y="32"/>
                    </a:lnTo>
                    <a:close/>
                    <a:moveTo>
                      <a:pt x="110" y="44"/>
                    </a:moveTo>
                    <a:lnTo>
                      <a:pt x="112" y="44"/>
                    </a:lnTo>
                    <a:lnTo>
                      <a:pt x="110" y="44"/>
                    </a:lnTo>
                    <a:close/>
                    <a:moveTo>
                      <a:pt x="151" y="6"/>
                    </a:moveTo>
                    <a:lnTo>
                      <a:pt x="153" y="6"/>
                    </a:lnTo>
                    <a:lnTo>
                      <a:pt x="151" y="6"/>
                    </a:lnTo>
                    <a:close/>
                    <a:moveTo>
                      <a:pt x="136" y="3"/>
                    </a:moveTo>
                    <a:lnTo>
                      <a:pt x="138" y="3"/>
                    </a:lnTo>
                    <a:lnTo>
                      <a:pt x="138" y="5"/>
                    </a:lnTo>
                    <a:lnTo>
                      <a:pt x="136" y="5"/>
                    </a:lnTo>
                    <a:lnTo>
                      <a:pt x="136" y="3"/>
                    </a:lnTo>
                    <a:close/>
                    <a:moveTo>
                      <a:pt x="202" y="23"/>
                    </a:moveTo>
                    <a:lnTo>
                      <a:pt x="202" y="25"/>
                    </a:lnTo>
                    <a:lnTo>
                      <a:pt x="202" y="23"/>
                    </a:lnTo>
                    <a:close/>
                    <a:moveTo>
                      <a:pt x="238" y="37"/>
                    </a:moveTo>
                    <a:lnTo>
                      <a:pt x="240" y="37"/>
                    </a:lnTo>
                    <a:lnTo>
                      <a:pt x="238" y="37"/>
                    </a:lnTo>
                    <a:close/>
                    <a:moveTo>
                      <a:pt x="241" y="98"/>
                    </a:moveTo>
                    <a:lnTo>
                      <a:pt x="241" y="100"/>
                    </a:lnTo>
                    <a:lnTo>
                      <a:pt x="241" y="98"/>
                    </a:lnTo>
                    <a:close/>
                    <a:moveTo>
                      <a:pt x="209" y="90"/>
                    </a:moveTo>
                    <a:lnTo>
                      <a:pt x="209" y="91"/>
                    </a:lnTo>
                    <a:lnTo>
                      <a:pt x="209" y="90"/>
                    </a:lnTo>
                    <a:close/>
                    <a:moveTo>
                      <a:pt x="141" y="3"/>
                    </a:moveTo>
                    <a:lnTo>
                      <a:pt x="143" y="3"/>
                    </a:lnTo>
                    <a:lnTo>
                      <a:pt x="141" y="3"/>
                    </a:lnTo>
                    <a:close/>
                    <a:moveTo>
                      <a:pt x="99" y="59"/>
                    </a:moveTo>
                    <a:lnTo>
                      <a:pt x="99" y="61"/>
                    </a:lnTo>
                    <a:lnTo>
                      <a:pt x="99" y="59"/>
                    </a:lnTo>
                    <a:close/>
                    <a:moveTo>
                      <a:pt x="221" y="93"/>
                    </a:moveTo>
                    <a:lnTo>
                      <a:pt x="223" y="93"/>
                    </a:lnTo>
                    <a:lnTo>
                      <a:pt x="223" y="95"/>
                    </a:lnTo>
                    <a:lnTo>
                      <a:pt x="221" y="95"/>
                    </a:lnTo>
                    <a:lnTo>
                      <a:pt x="221" y="93"/>
                    </a:lnTo>
                    <a:close/>
                    <a:moveTo>
                      <a:pt x="148" y="3"/>
                    </a:moveTo>
                    <a:lnTo>
                      <a:pt x="150" y="3"/>
                    </a:lnTo>
                    <a:lnTo>
                      <a:pt x="150" y="5"/>
                    </a:lnTo>
                    <a:lnTo>
                      <a:pt x="148" y="5"/>
                    </a:lnTo>
                    <a:lnTo>
                      <a:pt x="148" y="3"/>
                    </a:lnTo>
                    <a:close/>
                    <a:moveTo>
                      <a:pt x="226" y="35"/>
                    </a:moveTo>
                    <a:lnTo>
                      <a:pt x="228" y="35"/>
                    </a:lnTo>
                    <a:lnTo>
                      <a:pt x="226" y="35"/>
                    </a:lnTo>
                    <a:close/>
                    <a:moveTo>
                      <a:pt x="109" y="40"/>
                    </a:moveTo>
                    <a:lnTo>
                      <a:pt x="109" y="42"/>
                    </a:lnTo>
                    <a:lnTo>
                      <a:pt x="109" y="40"/>
                    </a:lnTo>
                    <a:close/>
                    <a:moveTo>
                      <a:pt x="262" y="105"/>
                    </a:moveTo>
                    <a:lnTo>
                      <a:pt x="263" y="105"/>
                    </a:lnTo>
                    <a:lnTo>
                      <a:pt x="263" y="107"/>
                    </a:lnTo>
                    <a:lnTo>
                      <a:pt x="262" y="107"/>
                    </a:lnTo>
                    <a:lnTo>
                      <a:pt x="262" y="105"/>
                    </a:lnTo>
                    <a:close/>
                    <a:moveTo>
                      <a:pt x="223" y="32"/>
                    </a:moveTo>
                    <a:lnTo>
                      <a:pt x="223" y="34"/>
                    </a:lnTo>
                    <a:lnTo>
                      <a:pt x="223" y="32"/>
                    </a:lnTo>
                    <a:close/>
                    <a:moveTo>
                      <a:pt x="219" y="35"/>
                    </a:moveTo>
                    <a:lnTo>
                      <a:pt x="221" y="35"/>
                    </a:lnTo>
                    <a:lnTo>
                      <a:pt x="219" y="35"/>
                    </a:lnTo>
                    <a:close/>
                    <a:moveTo>
                      <a:pt x="200" y="23"/>
                    </a:moveTo>
                    <a:lnTo>
                      <a:pt x="200" y="25"/>
                    </a:lnTo>
                    <a:lnTo>
                      <a:pt x="200" y="23"/>
                    </a:lnTo>
                    <a:close/>
                    <a:moveTo>
                      <a:pt x="129" y="47"/>
                    </a:moveTo>
                    <a:lnTo>
                      <a:pt x="131" y="47"/>
                    </a:lnTo>
                    <a:lnTo>
                      <a:pt x="131" y="49"/>
                    </a:lnTo>
                    <a:lnTo>
                      <a:pt x="129" y="49"/>
                    </a:lnTo>
                    <a:lnTo>
                      <a:pt x="129" y="47"/>
                    </a:lnTo>
                    <a:close/>
                    <a:moveTo>
                      <a:pt x="175" y="13"/>
                    </a:moveTo>
                    <a:lnTo>
                      <a:pt x="177" y="13"/>
                    </a:lnTo>
                    <a:lnTo>
                      <a:pt x="175" y="13"/>
                    </a:lnTo>
                    <a:close/>
                    <a:moveTo>
                      <a:pt x="3" y="51"/>
                    </a:moveTo>
                    <a:lnTo>
                      <a:pt x="5" y="51"/>
                    </a:lnTo>
                    <a:lnTo>
                      <a:pt x="3" y="51"/>
                    </a:lnTo>
                    <a:close/>
                    <a:moveTo>
                      <a:pt x="78" y="25"/>
                    </a:moveTo>
                    <a:lnTo>
                      <a:pt x="78" y="27"/>
                    </a:lnTo>
                    <a:lnTo>
                      <a:pt x="78" y="25"/>
                    </a:lnTo>
                    <a:close/>
                    <a:moveTo>
                      <a:pt x="155" y="6"/>
                    </a:moveTo>
                    <a:lnTo>
                      <a:pt x="155" y="8"/>
                    </a:lnTo>
                    <a:lnTo>
                      <a:pt x="155" y="6"/>
                    </a:lnTo>
                    <a:close/>
                    <a:moveTo>
                      <a:pt x="253" y="97"/>
                    </a:moveTo>
                    <a:lnTo>
                      <a:pt x="255" y="97"/>
                    </a:lnTo>
                    <a:lnTo>
                      <a:pt x="253" y="97"/>
                    </a:lnTo>
                    <a:close/>
                    <a:moveTo>
                      <a:pt x="221" y="37"/>
                    </a:moveTo>
                    <a:lnTo>
                      <a:pt x="221" y="39"/>
                    </a:lnTo>
                    <a:lnTo>
                      <a:pt x="221" y="37"/>
                    </a:lnTo>
                    <a:close/>
                    <a:moveTo>
                      <a:pt x="99" y="57"/>
                    </a:moveTo>
                    <a:lnTo>
                      <a:pt x="99" y="59"/>
                    </a:lnTo>
                    <a:lnTo>
                      <a:pt x="99" y="57"/>
                    </a:lnTo>
                    <a:close/>
                    <a:moveTo>
                      <a:pt x="245" y="49"/>
                    </a:moveTo>
                    <a:lnTo>
                      <a:pt x="245" y="51"/>
                    </a:lnTo>
                    <a:lnTo>
                      <a:pt x="245" y="4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4" name="Freeform 25">
                <a:extLst>
                  <a:ext uri="{FF2B5EF4-FFF2-40B4-BE49-F238E27FC236}">
                    <a16:creationId xmlns:a16="http://schemas.microsoft.com/office/drawing/2014/main" id="{47A555B9-EDDF-CBB6-C1FA-EAD39D45A6EA}"/>
                  </a:ext>
                </a:extLst>
              </p:cNvPr>
              <p:cNvSpPr>
                <a:spLocks/>
              </p:cNvSpPr>
              <p:nvPr/>
            </p:nvSpPr>
            <p:spPr bwMode="auto">
              <a:xfrm>
                <a:off x="5946775" y="1784350"/>
                <a:ext cx="20637" cy="19050"/>
              </a:xfrm>
              <a:custGeom>
                <a:avLst/>
                <a:gdLst>
                  <a:gd name="T0" fmla="*/ 1 w 13"/>
                  <a:gd name="T1" fmla="*/ 0 h 12"/>
                  <a:gd name="T2" fmla="*/ 3 w 13"/>
                  <a:gd name="T3" fmla="*/ 2 h 12"/>
                  <a:gd name="T4" fmla="*/ 3 w 13"/>
                  <a:gd name="T5" fmla="*/ 4 h 12"/>
                  <a:gd name="T6" fmla="*/ 5 w 13"/>
                  <a:gd name="T7" fmla="*/ 6 h 12"/>
                  <a:gd name="T8" fmla="*/ 5 w 13"/>
                  <a:gd name="T9" fmla="*/ 7 h 12"/>
                  <a:gd name="T10" fmla="*/ 6 w 13"/>
                  <a:gd name="T11" fmla="*/ 7 h 12"/>
                  <a:gd name="T12" fmla="*/ 8 w 13"/>
                  <a:gd name="T13" fmla="*/ 7 h 12"/>
                  <a:gd name="T14" fmla="*/ 10 w 13"/>
                  <a:gd name="T15" fmla="*/ 7 h 12"/>
                  <a:gd name="T16" fmla="*/ 12 w 13"/>
                  <a:gd name="T17" fmla="*/ 9 h 12"/>
                  <a:gd name="T18" fmla="*/ 12 w 13"/>
                  <a:gd name="T19" fmla="*/ 11 h 12"/>
                  <a:gd name="T20" fmla="*/ 13 w 13"/>
                  <a:gd name="T21" fmla="*/ 11 h 12"/>
                  <a:gd name="T22" fmla="*/ 13 w 13"/>
                  <a:gd name="T23" fmla="*/ 12 h 12"/>
                  <a:gd name="T24" fmla="*/ 12 w 13"/>
                  <a:gd name="T25" fmla="*/ 12 h 12"/>
                  <a:gd name="T26" fmla="*/ 10 w 13"/>
                  <a:gd name="T27" fmla="*/ 12 h 12"/>
                  <a:gd name="T28" fmla="*/ 10 w 13"/>
                  <a:gd name="T29" fmla="*/ 11 h 12"/>
                  <a:gd name="T30" fmla="*/ 8 w 13"/>
                  <a:gd name="T31" fmla="*/ 11 h 12"/>
                  <a:gd name="T32" fmla="*/ 6 w 13"/>
                  <a:gd name="T33" fmla="*/ 11 h 12"/>
                  <a:gd name="T34" fmla="*/ 6 w 13"/>
                  <a:gd name="T35" fmla="*/ 9 h 12"/>
                  <a:gd name="T36" fmla="*/ 5 w 13"/>
                  <a:gd name="T37" fmla="*/ 9 h 12"/>
                  <a:gd name="T38" fmla="*/ 5 w 13"/>
                  <a:gd name="T39" fmla="*/ 7 h 12"/>
                  <a:gd name="T40" fmla="*/ 3 w 13"/>
                  <a:gd name="T41" fmla="*/ 7 h 12"/>
                  <a:gd name="T42" fmla="*/ 1 w 13"/>
                  <a:gd name="T43" fmla="*/ 7 h 12"/>
                  <a:gd name="T44" fmla="*/ 1 w 13"/>
                  <a:gd name="T45" fmla="*/ 6 h 12"/>
                  <a:gd name="T46" fmla="*/ 1 w 13"/>
                  <a:gd name="T47" fmla="*/ 4 h 12"/>
                  <a:gd name="T48" fmla="*/ 0 w 13"/>
                  <a:gd name="T49" fmla="*/ 4 h 12"/>
                  <a:gd name="T50" fmla="*/ 0 w 13"/>
                  <a:gd name="T51" fmla="*/ 2 h 12"/>
                  <a:gd name="T52" fmla="*/ 0 w 13"/>
                  <a:gd name="T53" fmla="*/ 0 h 12"/>
                  <a:gd name="T54" fmla="*/ 1 w 13"/>
                  <a:gd name="T5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 h="12">
                    <a:moveTo>
                      <a:pt x="1" y="0"/>
                    </a:moveTo>
                    <a:lnTo>
                      <a:pt x="3" y="2"/>
                    </a:lnTo>
                    <a:lnTo>
                      <a:pt x="3" y="4"/>
                    </a:lnTo>
                    <a:lnTo>
                      <a:pt x="5" y="6"/>
                    </a:lnTo>
                    <a:lnTo>
                      <a:pt x="5" y="7"/>
                    </a:lnTo>
                    <a:lnTo>
                      <a:pt x="6" y="7"/>
                    </a:lnTo>
                    <a:lnTo>
                      <a:pt x="8" y="7"/>
                    </a:lnTo>
                    <a:lnTo>
                      <a:pt x="10" y="7"/>
                    </a:lnTo>
                    <a:lnTo>
                      <a:pt x="12" y="9"/>
                    </a:lnTo>
                    <a:lnTo>
                      <a:pt x="12" y="11"/>
                    </a:lnTo>
                    <a:lnTo>
                      <a:pt x="13" y="11"/>
                    </a:lnTo>
                    <a:lnTo>
                      <a:pt x="13" y="12"/>
                    </a:lnTo>
                    <a:lnTo>
                      <a:pt x="12" y="12"/>
                    </a:lnTo>
                    <a:lnTo>
                      <a:pt x="10" y="12"/>
                    </a:lnTo>
                    <a:lnTo>
                      <a:pt x="10" y="11"/>
                    </a:lnTo>
                    <a:lnTo>
                      <a:pt x="8" y="11"/>
                    </a:lnTo>
                    <a:lnTo>
                      <a:pt x="6" y="11"/>
                    </a:lnTo>
                    <a:lnTo>
                      <a:pt x="6" y="9"/>
                    </a:lnTo>
                    <a:lnTo>
                      <a:pt x="5" y="9"/>
                    </a:lnTo>
                    <a:lnTo>
                      <a:pt x="5" y="7"/>
                    </a:lnTo>
                    <a:lnTo>
                      <a:pt x="3" y="7"/>
                    </a:lnTo>
                    <a:lnTo>
                      <a:pt x="1" y="7"/>
                    </a:lnTo>
                    <a:lnTo>
                      <a:pt x="1" y="6"/>
                    </a:lnTo>
                    <a:lnTo>
                      <a:pt x="1" y="4"/>
                    </a:lnTo>
                    <a:lnTo>
                      <a:pt x="0" y="4"/>
                    </a:lnTo>
                    <a:lnTo>
                      <a:pt x="0" y="2"/>
                    </a:lnTo>
                    <a:lnTo>
                      <a:pt x="0" y="0"/>
                    </a:lnTo>
                    <a:lnTo>
                      <a:pt x="1"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5" name="Freeform 26">
                <a:extLst>
                  <a:ext uri="{FF2B5EF4-FFF2-40B4-BE49-F238E27FC236}">
                    <a16:creationId xmlns:a16="http://schemas.microsoft.com/office/drawing/2014/main" id="{4623AD83-A9B1-DFDD-9104-F18E910CAEA8}"/>
                  </a:ext>
                </a:extLst>
              </p:cNvPr>
              <p:cNvSpPr>
                <a:spLocks/>
              </p:cNvSpPr>
              <p:nvPr/>
            </p:nvSpPr>
            <p:spPr bwMode="auto">
              <a:xfrm>
                <a:off x="6356350" y="1603375"/>
                <a:ext cx="14287" cy="25400"/>
              </a:xfrm>
              <a:custGeom>
                <a:avLst/>
                <a:gdLst>
                  <a:gd name="T0" fmla="*/ 3 w 9"/>
                  <a:gd name="T1" fmla="*/ 0 h 16"/>
                  <a:gd name="T2" fmla="*/ 3 w 9"/>
                  <a:gd name="T3" fmla="*/ 2 h 16"/>
                  <a:gd name="T4" fmla="*/ 5 w 9"/>
                  <a:gd name="T5" fmla="*/ 2 h 16"/>
                  <a:gd name="T6" fmla="*/ 7 w 9"/>
                  <a:gd name="T7" fmla="*/ 2 h 16"/>
                  <a:gd name="T8" fmla="*/ 7 w 9"/>
                  <a:gd name="T9" fmla="*/ 4 h 16"/>
                  <a:gd name="T10" fmla="*/ 9 w 9"/>
                  <a:gd name="T11" fmla="*/ 4 h 16"/>
                  <a:gd name="T12" fmla="*/ 9 w 9"/>
                  <a:gd name="T13" fmla="*/ 6 h 16"/>
                  <a:gd name="T14" fmla="*/ 9 w 9"/>
                  <a:gd name="T15" fmla="*/ 7 h 16"/>
                  <a:gd name="T16" fmla="*/ 9 w 9"/>
                  <a:gd name="T17" fmla="*/ 9 h 16"/>
                  <a:gd name="T18" fmla="*/ 9 w 9"/>
                  <a:gd name="T19" fmla="*/ 11 h 16"/>
                  <a:gd name="T20" fmla="*/ 9 w 9"/>
                  <a:gd name="T21" fmla="*/ 12 h 16"/>
                  <a:gd name="T22" fmla="*/ 9 w 9"/>
                  <a:gd name="T23" fmla="*/ 14 h 16"/>
                  <a:gd name="T24" fmla="*/ 7 w 9"/>
                  <a:gd name="T25" fmla="*/ 16 h 16"/>
                  <a:gd name="T26" fmla="*/ 7 w 9"/>
                  <a:gd name="T27" fmla="*/ 14 h 16"/>
                  <a:gd name="T28" fmla="*/ 7 w 9"/>
                  <a:gd name="T29" fmla="*/ 16 h 16"/>
                  <a:gd name="T30" fmla="*/ 5 w 9"/>
                  <a:gd name="T31" fmla="*/ 16 h 16"/>
                  <a:gd name="T32" fmla="*/ 5 w 9"/>
                  <a:gd name="T33" fmla="*/ 14 h 16"/>
                  <a:gd name="T34" fmla="*/ 3 w 9"/>
                  <a:gd name="T35" fmla="*/ 14 h 16"/>
                  <a:gd name="T36" fmla="*/ 5 w 9"/>
                  <a:gd name="T37" fmla="*/ 14 h 16"/>
                  <a:gd name="T38" fmla="*/ 3 w 9"/>
                  <a:gd name="T39" fmla="*/ 14 h 16"/>
                  <a:gd name="T40" fmla="*/ 3 w 9"/>
                  <a:gd name="T41" fmla="*/ 12 h 16"/>
                  <a:gd name="T42" fmla="*/ 3 w 9"/>
                  <a:gd name="T43" fmla="*/ 11 h 16"/>
                  <a:gd name="T44" fmla="*/ 2 w 9"/>
                  <a:gd name="T45" fmla="*/ 9 h 16"/>
                  <a:gd name="T46" fmla="*/ 2 w 9"/>
                  <a:gd name="T47" fmla="*/ 7 h 16"/>
                  <a:gd name="T48" fmla="*/ 2 w 9"/>
                  <a:gd name="T49" fmla="*/ 6 h 16"/>
                  <a:gd name="T50" fmla="*/ 0 w 9"/>
                  <a:gd name="T51" fmla="*/ 4 h 16"/>
                  <a:gd name="T52" fmla="*/ 2 w 9"/>
                  <a:gd name="T53" fmla="*/ 4 h 16"/>
                  <a:gd name="T54" fmla="*/ 0 w 9"/>
                  <a:gd name="T55" fmla="*/ 2 h 16"/>
                  <a:gd name="T56" fmla="*/ 2 w 9"/>
                  <a:gd name="T57" fmla="*/ 2 h 16"/>
                  <a:gd name="T58" fmla="*/ 2 w 9"/>
                  <a:gd name="T59" fmla="*/ 0 h 16"/>
                  <a:gd name="T60" fmla="*/ 3 w 9"/>
                  <a:gd name="T6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 h="16">
                    <a:moveTo>
                      <a:pt x="3" y="0"/>
                    </a:moveTo>
                    <a:lnTo>
                      <a:pt x="3" y="2"/>
                    </a:lnTo>
                    <a:lnTo>
                      <a:pt x="5" y="2"/>
                    </a:lnTo>
                    <a:lnTo>
                      <a:pt x="7" y="2"/>
                    </a:lnTo>
                    <a:lnTo>
                      <a:pt x="7" y="4"/>
                    </a:lnTo>
                    <a:lnTo>
                      <a:pt x="9" y="4"/>
                    </a:lnTo>
                    <a:lnTo>
                      <a:pt x="9" y="6"/>
                    </a:lnTo>
                    <a:lnTo>
                      <a:pt x="9" y="7"/>
                    </a:lnTo>
                    <a:lnTo>
                      <a:pt x="9" y="9"/>
                    </a:lnTo>
                    <a:lnTo>
                      <a:pt x="9" y="11"/>
                    </a:lnTo>
                    <a:lnTo>
                      <a:pt x="9" y="12"/>
                    </a:lnTo>
                    <a:lnTo>
                      <a:pt x="9" y="14"/>
                    </a:lnTo>
                    <a:lnTo>
                      <a:pt x="7" y="16"/>
                    </a:lnTo>
                    <a:lnTo>
                      <a:pt x="7" y="14"/>
                    </a:lnTo>
                    <a:lnTo>
                      <a:pt x="7" y="16"/>
                    </a:lnTo>
                    <a:lnTo>
                      <a:pt x="5" y="16"/>
                    </a:lnTo>
                    <a:lnTo>
                      <a:pt x="5" y="14"/>
                    </a:lnTo>
                    <a:lnTo>
                      <a:pt x="3" y="14"/>
                    </a:lnTo>
                    <a:lnTo>
                      <a:pt x="5" y="14"/>
                    </a:lnTo>
                    <a:lnTo>
                      <a:pt x="3" y="14"/>
                    </a:lnTo>
                    <a:lnTo>
                      <a:pt x="3" y="12"/>
                    </a:lnTo>
                    <a:lnTo>
                      <a:pt x="3" y="11"/>
                    </a:lnTo>
                    <a:lnTo>
                      <a:pt x="2" y="9"/>
                    </a:lnTo>
                    <a:lnTo>
                      <a:pt x="2" y="7"/>
                    </a:lnTo>
                    <a:lnTo>
                      <a:pt x="2" y="6"/>
                    </a:lnTo>
                    <a:lnTo>
                      <a:pt x="0" y="4"/>
                    </a:lnTo>
                    <a:lnTo>
                      <a:pt x="2" y="4"/>
                    </a:lnTo>
                    <a:lnTo>
                      <a:pt x="0" y="2"/>
                    </a:lnTo>
                    <a:lnTo>
                      <a:pt x="2" y="2"/>
                    </a:lnTo>
                    <a:lnTo>
                      <a:pt x="2" y="0"/>
                    </a:lnTo>
                    <a:lnTo>
                      <a:pt x="3"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6" name="Freeform 27">
                <a:extLst>
                  <a:ext uri="{FF2B5EF4-FFF2-40B4-BE49-F238E27FC236}">
                    <a16:creationId xmlns:a16="http://schemas.microsoft.com/office/drawing/2014/main" id="{81EBBBFB-436E-39DC-FDC9-F1AC541AD4DF}"/>
                  </a:ext>
                </a:extLst>
              </p:cNvPr>
              <p:cNvSpPr>
                <a:spLocks noEditPoints="1"/>
              </p:cNvSpPr>
              <p:nvPr/>
            </p:nvSpPr>
            <p:spPr bwMode="auto">
              <a:xfrm>
                <a:off x="5792788" y="1363663"/>
                <a:ext cx="200025" cy="134938"/>
              </a:xfrm>
              <a:custGeom>
                <a:avLst/>
                <a:gdLst>
                  <a:gd name="T0" fmla="*/ 8 w 126"/>
                  <a:gd name="T1" fmla="*/ 60 h 85"/>
                  <a:gd name="T2" fmla="*/ 5 w 126"/>
                  <a:gd name="T3" fmla="*/ 53 h 85"/>
                  <a:gd name="T4" fmla="*/ 1 w 126"/>
                  <a:gd name="T5" fmla="*/ 46 h 85"/>
                  <a:gd name="T6" fmla="*/ 8 w 126"/>
                  <a:gd name="T7" fmla="*/ 44 h 85"/>
                  <a:gd name="T8" fmla="*/ 8 w 126"/>
                  <a:gd name="T9" fmla="*/ 34 h 85"/>
                  <a:gd name="T10" fmla="*/ 7 w 126"/>
                  <a:gd name="T11" fmla="*/ 34 h 85"/>
                  <a:gd name="T12" fmla="*/ 10 w 126"/>
                  <a:gd name="T13" fmla="*/ 29 h 85"/>
                  <a:gd name="T14" fmla="*/ 12 w 126"/>
                  <a:gd name="T15" fmla="*/ 24 h 85"/>
                  <a:gd name="T16" fmla="*/ 10 w 126"/>
                  <a:gd name="T17" fmla="*/ 20 h 85"/>
                  <a:gd name="T18" fmla="*/ 10 w 126"/>
                  <a:gd name="T19" fmla="*/ 10 h 85"/>
                  <a:gd name="T20" fmla="*/ 10 w 126"/>
                  <a:gd name="T21" fmla="*/ 3 h 85"/>
                  <a:gd name="T22" fmla="*/ 17 w 126"/>
                  <a:gd name="T23" fmla="*/ 0 h 85"/>
                  <a:gd name="T24" fmla="*/ 27 w 126"/>
                  <a:gd name="T25" fmla="*/ 3 h 85"/>
                  <a:gd name="T26" fmla="*/ 35 w 126"/>
                  <a:gd name="T27" fmla="*/ 0 h 85"/>
                  <a:gd name="T28" fmla="*/ 41 w 126"/>
                  <a:gd name="T29" fmla="*/ 2 h 85"/>
                  <a:gd name="T30" fmla="*/ 47 w 126"/>
                  <a:gd name="T31" fmla="*/ 5 h 85"/>
                  <a:gd name="T32" fmla="*/ 54 w 126"/>
                  <a:gd name="T33" fmla="*/ 5 h 85"/>
                  <a:gd name="T34" fmla="*/ 61 w 126"/>
                  <a:gd name="T35" fmla="*/ 10 h 85"/>
                  <a:gd name="T36" fmla="*/ 71 w 126"/>
                  <a:gd name="T37" fmla="*/ 9 h 85"/>
                  <a:gd name="T38" fmla="*/ 73 w 126"/>
                  <a:gd name="T39" fmla="*/ 17 h 85"/>
                  <a:gd name="T40" fmla="*/ 78 w 126"/>
                  <a:gd name="T41" fmla="*/ 24 h 85"/>
                  <a:gd name="T42" fmla="*/ 90 w 126"/>
                  <a:gd name="T43" fmla="*/ 22 h 85"/>
                  <a:gd name="T44" fmla="*/ 95 w 126"/>
                  <a:gd name="T45" fmla="*/ 22 h 85"/>
                  <a:gd name="T46" fmla="*/ 92 w 126"/>
                  <a:gd name="T47" fmla="*/ 26 h 85"/>
                  <a:gd name="T48" fmla="*/ 83 w 126"/>
                  <a:gd name="T49" fmla="*/ 26 h 85"/>
                  <a:gd name="T50" fmla="*/ 83 w 126"/>
                  <a:gd name="T51" fmla="*/ 31 h 85"/>
                  <a:gd name="T52" fmla="*/ 88 w 126"/>
                  <a:gd name="T53" fmla="*/ 31 h 85"/>
                  <a:gd name="T54" fmla="*/ 95 w 126"/>
                  <a:gd name="T55" fmla="*/ 32 h 85"/>
                  <a:gd name="T56" fmla="*/ 102 w 126"/>
                  <a:gd name="T57" fmla="*/ 34 h 85"/>
                  <a:gd name="T58" fmla="*/ 110 w 126"/>
                  <a:gd name="T59" fmla="*/ 34 h 85"/>
                  <a:gd name="T60" fmla="*/ 119 w 126"/>
                  <a:gd name="T61" fmla="*/ 41 h 85"/>
                  <a:gd name="T62" fmla="*/ 126 w 126"/>
                  <a:gd name="T63" fmla="*/ 48 h 85"/>
                  <a:gd name="T64" fmla="*/ 120 w 126"/>
                  <a:gd name="T65" fmla="*/ 55 h 85"/>
                  <a:gd name="T66" fmla="*/ 115 w 126"/>
                  <a:gd name="T67" fmla="*/ 58 h 85"/>
                  <a:gd name="T68" fmla="*/ 109 w 126"/>
                  <a:gd name="T69" fmla="*/ 58 h 85"/>
                  <a:gd name="T70" fmla="*/ 100 w 126"/>
                  <a:gd name="T71" fmla="*/ 55 h 85"/>
                  <a:gd name="T72" fmla="*/ 88 w 126"/>
                  <a:gd name="T73" fmla="*/ 53 h 85"/>
                  <a:gd name="T74" fmla="*/ 80 w 126"/>
                  <a:gd name="T75" fmla="*/ 55 h 85"/>
                  <a:gd name="T76" fmla="*/ 73 w 126"/>
                  <a:gd name="T77" fmla="*/ 53 h 85"/>
                  <a:gd name="T78" fmla="*/ 68 w 126"/>
                  <a:gd name="T79" fmla="*/ 55 h 85"/>
                  <a:gd name="T80" fmla="*/ 63 w 126"/>
                  <a:gd name="T81" fmla="*/ 60 h 85"/>
                  <a:gd name="T82" fmla="*/ 56 w 126"/>
                  <a:gd name="T83" fmla="*/ 61 h 85"/>
                  <a:gd name="T84" fmla="*/ 51 w 126"/>
                  <a:gd name="T85" fmla="*/ 60 h 85"/>
                  <a:gd name="T86" fmla="*/ 46 w 126"/>
                  <a:gd name="T87" fmla="*/ 53 h 85"/>
                  <a:gd name="T88" fmla="*/ 37 w 126"/>
                  <a:gd name="T89" fmla="*/ 60 h 85"/>
                  <a:gd name="T90" fmla="*/ 32 w 126"/>
                  <a:gd name="T91" fmla="*/ 63 h 85"/>
                  <a:gd name="T92" fmla="*/ 27 w 126"/>
                  <a:gd name="T93" fmla="*/ 72 h 85"/>
                  <a:gd name="T94" fmla="*/ 24 w 126"/>
                  <a:gd name="T95" fmla="*/ 77 h 85"/>
                  <a:gd name="T96" fmla="*/ 20 w 126"/>
                  <a:gd name="T97" fmla="*/ 83 h 85"/>
                  <a:gd name="T98" fmla="*/ 15 w 126"/>
                  <a:gd name="T99" fmla="*/ 77 h 85"/>
                  <a:gd name="T100" fmla="*/ 12 w 126"/>
                  <a:gd name="T101" fmla="*/ 72 h 85"/>
                  <a:gd name="T102" fmla="*/ 115 w 126"/>
                  <a:gd name="T103" fmla="*/ 63 h 85"/>
                  <a:gd name="T104" fmla="*/ 110 w 126"/>
                  <a:gd name="T105" fmla="*/ 63 h 85"/>
                  <a:gd name="T106" fmla="*/ 18 w 126"/>
                  <a:gd name="T107" fmla="*/ 82 h 85"/>
                  <a:gd name="T108" fmla="*/ 39 w 126"/>
                  <a:gd name="T109" fmla="*/ 5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6" h="85">
                    <a:moveTo>
                      <a:pt x="8" y="68"/>
                    </a:moveTo>
                    <a:lnTo>
                      <a:pt x="10" y="66"/>
                    </a:lnTo>
                    <a:lnTo>
                      <a:pt x="10" y="65"/>
                    </a:lnTo>
                    <a:lnTo>
                      <a:pt x="10" y="63"/>
                    </a:lnTo>
                    <a:lnTo>
                      <a:pt x="8" y="63"/>
                    </a:lnTo>
                    <a:lnTo>
                      <a:pt x="8" y="61"/>
                    </a:lnTo>
                    <a:lnTo>
                      <a:pt x="8" y="60"/>
                    </a:lnTo>
                    <a:lnTo>
                      <a:pt x="10" y="58"/>
                    </a:lnTo>
                    <a:lnTo>
                      <a:pt x="12" y="56"/>
                    </a:lnTo>
                    <a:lnTo>
                      <a:pt x="10" y="56"/>
                    </a:lnTo>
                    <a:lnTo>
                      <a:pt x="8" y="55"/>
                    </a:lnTo>
                    <a:lnTo>
                      <a:pt x="7" y="55"/>
                    </a:lnTo>
                    <a:lnTo>
                      <a:pt x="7" y="53"/>
                    </a:lnTo>
                    <a:lnTo>
                      <a:pt x="5" y="53"/>
                    </a:lnTo>
                    <a:lnTo>
                      <a:pt x="3" y="53"/>
                    </a:lnTo>
                    <a:lnTo>
                      <a:pt x="3" y="51"/>
                    </a:lnTo>
                    <a:lnTo>
                      <a:pt x="5" y="51"/>
                    </a:lnTo>
                    <a:lnTo>
                      <a:pt x="3" y="49"/>
                    </a:lnTo>
                    <a:lnTo>
                      <a:pt x="3" y="48"/>
                    </a:lnTo>
                    <a:lnTo>
                      <a:pt x="1" y="48"/>
                    </a:lnTo>
                    <a:lnTo>
                      <a:pt x="1" y="46"/>
                    </a:lnTo>
                    <a:lnTo>
                      <a:pt x="0" y="46"/>
                    </a:lnTo>
                    <a:lnTo>
                      <a:pt x="1" y="46"/>
                    </a:lnTo>
                    <a:lnTo>
                      <a:pt x="3" y="46"/>
                    </a:lnTo>
                    <a:lnTo>
                      <a:pt x="5" y="46"/>
                    </a:lnTo>
                    <a:lnTo>
                      <a:pt x="7" y="46"/>
                    </a:lnTo>
                    <a:lnTo>
                      <a:pt x="7" y="44"/>
                    </a:lnTo>
                    <a:lnTo>
                      <a:pt x="8" y="44"/>
                    </a:lnTo>
                    <a:lnTo>
                      <a:pt x="8" y="43"/>
                    </a:lnTo>
                    <a:lnTo>
                      <a:pt x="10" y="43"/>
                    </a:lnTo>
                    <a:lnTo>
                      <a:pt x="10" y="41"/>
                    </a:lnTo>
                    <a:lnTo>
                      <a:pt x="10" y="39"/>
                    </a:lnTo>
                    <a:lnTo>
                      <a:pt x="10" y="37"/>
                    </a:lnTo>
                    <a:lnTo>
                      <a:pt x="8" y="36"/>
                    </a:lnTo>
                    <a:lnTo>
                      <a:pt x="8" y="34"/>
                    </a:lnTo>
                    <a:lnTo>
                      <a:pt x="7" y="34"/>
                    </a:lnTo>
                    <a:lnTo>
                      <a:pt x="5" y="34"/>
                    </a:lnTo>
                    <a:lnTo>
                      <a:pt x="5" y="36"/>
                    </a:lnTo>
                    <a:lnTo>
                      <a:pt x="5" y="34"/>
                    </a:lnTo>
                    <a:lnTo>
                      <a:pt x="7" y="34"/>
                    </a:lnTo>
                    <a:lnTo>
                      <a:pt x="7" y="32"/>
                    </a:lnTo>
                    <a:lnTo>
                      <a:pt x="7" y="34"/>
                    </a:lnTo>
                    <a:lnTo>
                      <a:pt x="7" y="32"/>
                    </a:lnTo>
                    <a:lnTo>
                      <a:pt x="8" y="32"/>
                    </a:lnTo>
                    <a:lnTo>
                      <a:pt x="8" y="34"/>
                    </a:lnTo>
                    <a:lnTo>
                      <a:pt x="8" y="32"/>
                    </a:lnTo>
                    <a:lnTo>
                      <a:pt x="10" y="31"/>
                    </a:lnTo>
                    <a:lnTo>
                      <a:pt x="12" y="31"/>
                    </a:lnTo>
                    <a:lnTo>
                      <a:pt x="10" y="29"/>
                    </a:lnTo>
                    <a:lnTo>
                      <a:pt x="12" y="29"/>
                    </a:lnTo>
                    <a:lnTo>
                      <a:pt x="13" y="29"/>
                    </a:lnTo>
                    <a:lnTo>
                      <a:pt x="12" y="27"/>
                    </a:lnTo>
                    <a:lnTo>
                      <a:pt x="13" y="27"/>
                    </a:lnTo>
                    <a:lnTo>
                      <a:pt x="13" y="26"/>
                    </a:lnTo>
                    <a:lnTo>
                      <a:pt x="12" y="26"/>
                    </a:lnTo>
                    <a:lnTo>
                      <a:pt x="12" y="24"/>
                    </a:lnTo>
                    <a:lnTo>
                      <a:pt x="12" y="26"/>
                    </a:lnTo>
                    <a:lnTo>
                      <a:pt x="12" y="24"/>
                    </a:lnTo>
                    <a:lnTo>
                      <a:pt x="10" y="24"/>
                    </a:lnTo>
                    <a:lnTo>
                      <a:pt x="8" y="24"/>
                    </a:lnTo>
                    <a:lnTo>
                      <a:pt x="8" y="22"/>
                    </a:lnTo>
                    <a:lnTo>
                      <a:pt x="8" y="20"/>
                    </a:lnTo>
                    <a:lnTo>
                      <a:pt x="10" y="20"/>
                    </a:lnTo>
                    <a:lnTo>
                      <a:pt x="12" y="20"/>
                    </a:lnTo>
                    <a:lnTo>
                      <a:pt x="12" y="19"/>
                    </a:lnTo>
                    <a:lnTo>
                      <a:pt x="12" y="17"/>
                    </a:lnTo>
                    <a:lnTo>
                      <a:pt x="12" y="15"/>
                    </a:lnTo>
                    <a:lnTo>
                      <a:pt x="10" y="14"/>
                    </a:lnTo>
                    <a:lnTo>
                      <a:pt x="10" y="12"/>
                    </a:lnTo>
                    <a:lnTo>
                      <a:pt x="10" y="10"/>
                    </a:lnTo>
                    <a:lnTo>
                      <a:pt x="8" y="9"/>
                    </a:lnTo>
                    <a:lnTo>
                      <a:pt x="10" y="7"/>
                    </a:lnTo>
                    <a:lnTo>
                      <a:pt x="10" y="5"/>
                    </a:lnTo>
                    <a:lnTo>
                      <a:pt x="8" y="5"/>
                    </a:lnTo>
                    <a:lnTo>
                      <a:pt x="10" y="5"/>
                    </a:lnTo>
                    <a:lnTo>
                      <a:pt x="8" y="5"/>
                    </a:lnTo>
                    <a:lnTo>
                      <a:pt x="10" y="3"/>
                    </a:lnTo>
                    <a:lnTo>
                      <a:pt x="12" y="3"/>
                    </a:lnTo>
                    <a:lnTo>
                      <a:pt x="12" y="2"/>
                    </a:lnTo>
                    <a:lnTo>
                      <a:pt x="12" y="0"/>
                    </a:lnTo>
                    <a:lnTo>
                      <a:pt x="13" y="2"/>
                    </a:lnTo>
                    <a:lnTo>
                      <a:pt x="13" y="0"/>
                    </a:lnTo>
                    <a:lnTo>
                      <a:pt x="15" y="0"/>
                    </a:lnTo>
                    <a:lnTo>
                      <a:pt x="17" y="0"/>
                    </a:lnTo>
                    <a:lnTo>
                      <a:pt x="18" y="0"/>
                    </a:lnTo>
                    <a:lnTo>
                      <a:pt x="18" y="2"/>
                    </a:lnTo>
                    <a:lnTo>
                      <a:pt x="20" y="2"/>
                    </a:lnTo>
                    <a:lnTo>
                      <a:pt x="22" y="2"/>
                    </a:lnTo>
                    <a:lnTo>
                      <a:pt x="24" y="3"/>
                    </a:lnTo>
                    <a:lnTo>
                      <a:pt x="25" y="3"/>
                    </a:lnTo>
                    <a:lnTo>
                      <a:pt x="27" y="3"/>
                    </a:lnTo>
                    <a:lnTo>
                      <a:pt x="27" y="2"/>
                    </a:lnTo>
                    <a:lnTo>
                      <a:pt x="29" y="2"/>
                    </a:lnTo>
                    <a:lnTo>
                      <a:pt x="30" y="2"/>
                    </a:lnTo>
                    <a:lnTo>
                      <a:pt x="32" y="2"/>
                    </a:lnTo>
                    <a:lnTo>
                      <a:pt x="32" y="0"/>
                    </a:lnTo>
                    <a:lnTo>
                      <a:pt x="34" y="0"/>
                    </a:lnTo>
                    <a:lnTo>
                      <a:pt x="35" y="0"/>
                    </a:lnTo>
                    <a:lnTo>
                      <a:pt x="37" y="0"/>
                    </a:lnTo>
                    <a:lnTo>
                      <a:pt x="35" y="2"/>
                    </a:lnTo>
                    <a:lnTo>
                      <a:pt x="37" y="2"/>
                    </a:lnTo>
                    <a:lnTo>
                      <a:pt x="37" y="0"/>
                    </a:lnTo>
                    <a:lnTo>
                      <a:pt x="39" y="0"/>
                    </a:lnTo>
                    <a:lnTo>
                      <a:pt x="41" y="0"/>
                    </a:lnTo>
                    <a:lnTo>
                      <a:pt x="41" y="2"/>
                    </a:lnTo>
                    <a:lnTo>
                      <a:pt x="42" y="2"/>
                    </a:lnTo>
                    <a:lnTo>
                      <a:pt x="42" y="3"/>
                    </a:lnTo>
                    <a:lnTo>
                      <a:pt x="44" y="3"/>
                    </a:lnTo>
                    <a:lnTo>
                      <a:pt x="44" y="5"/>
                    </a:lnTo>
                    <a:lnTo>
                      <a:pt x="46" y="3"/>
                    </a:lnTo>
                    <a:lnTo>
                      <a:pt x="46" y="5"/>
                    </a:lnTo>
                    <a:lnTo>
                      <a:pt x="47" y="5"/>
                    </a:lnTo>
                    <a:lnTo>
                      <a:pt x="49" y="7"/>
                    </a:lnTo>
                    <a:lnTo>
                      <a:pt x="49" y="5"/>
                    </a:lnTo>
                    <a:lnTo>
                      <a:pt x="49" y="7"/>
                    </a:lnTo>
                    <a:lnTo>
                      <a:pt x="51" y="7"/>
                    </a:lnTo>
                    <a:lnTo>
                      <a:pt x="51" y="5"/>
                    </a:lnTo>
                    <a:lnTo>
                      <a:pt x="52" y="5"/>
                    </a:lnTo>
                    <a:lnTo>
                      <a:pt x="54" y="5"/>
                    </a:lnTo>
                    <a:lnTo>
                      <a:pt x="54" y="7"/>
                    </a:lnTo>
                    <a:lnTo>
                      <a:pt x="56" y="7"/>
                    </a:lnTo>
                    <a:lnTo>
                      <a:pt x="56" y="9"/>
                    </a:lnTo>
                    <a:lnTo>
                      <a:pt x="58" y="9"/>
                    </a:lnTo>
                    <a:lnTo>
                      <a:pt x="58" y="10"/>
                    </a:lnTo>
                    <a:lnTo>
                      <a:pt x="59" y="10"/>
                    </a:lnTo>
                    <a:lnTo>
                      <a:pt x="61" y="10"/>
                    </a:lnTo>
                    <a:lnTo>
                      <a:pt x="63" y="10"/>
                    </a:lnTo>
                    <a:lnTo>
                      <a:pt x="64" y="10"/>
                    </a:lnTo>
                    <a:lnTo>
                      <a:pt x="66" y="10"/>
                    </a:lnTo>
                    <a:lnTo>
                      <a:pt x="66" y="9"/>
                    </a:lnTo>
                    <a:lnTo>
                      <a:pt x="68" y="9"/>
                    </a:lnTo>
                    <a:lnTo>
                      <a:pt x="69" y="9"/>
                    </a:lnTo>
                    <a:lnTo>
                      <a:pt x="71" y="9"/>
                    </a:lnTo>
                    <a:lnTo>
                      <a:pt x="71" y="10"/>
                    </a:lnTo>
                    <a:lnTo>
                      <a:pt x="73" y="10"/>
                    </a:lnTo>
                    <a:lnTo>
                      <a:pt x="73" y="12"/>
                    </a:lnTo>
                    <a:lnTo>
                      <a:pt x="71" y="12"/>
                    </a:lnTo>
                    <a:lnTo>
                      <a:pt x="71" y="14"/>
                    </a:lnTo>
                    <a:lnTo>
                      <a:pt x="73" y="15"/>
                    </a:lnTo>
                    <a:lnTo>
                      <a:pt x="73" y="17"/>
                    </a:lnTo>
                    <a:lnTo>
                      <a:pt x="73" y="19"/>
                    </a:lnTo>
                    <a:lnTo>
                      <a:pt x="73" y="20"/>
                    </a:lnTo>
                    <a:lnTo>
                      <a:pt x="75" y="20"/>
                    </a:lnTo>
                    <a:lnTo>
                      <a:pt x="75" y="22"/>
                    </a:lnTo>
                    <a:lnTo>
                      <a:pt x="76" y="22"/>
                    </a:lnTo>
                    <a:lnTo>
                      <a:pt x="76" y="24"/>
                    </a:lnTo>
                    <a:lnTo>
                      <a:pt x="78" y="24"/>
                    </a:lnTo>
                    <a:lnTo>
                      <a:pt x="80" y="22"/>
                    </a:lnTo>
                    <a:lnTo>
                      <a:pt x="81" y="22"/>
                    </a:lnTo>
                    <a:lnTo>
                      <a:pt x="83" y="22"/>
                    </a:lnTo>
                    <a:lnTo>
                      <a:pt x="85" y="22"/>
                    </a:lnTo>
                    <a:lnTo>
                      <a:pt x="86" y="22"/>
                    </a:lnTo>
                    <a:lnTo>
                      <a:pt x="88" y="22"/>
                    </a:lnTo>
                    <a:lnTo>
                      <a:pt x="90" y="22"/>
                    </a:lnTo>
                    <a:lnTo>
                      <a:pt x="92" y="22"/>
                    </a:lnTo>
                    <a:lnTo>
                      <a:pt x="92" y="20"/>
                    </a:lnTo>
                    <a:lnTo>
                      <a:pt x="93" y="20"/>
                    </a:lnTo>
                    <a:lnTo>
                      <a:pt x="95" y="20"/>
                    </a:lnTo>
                    <a:lnTo>
                      <a:pt x="93" y="20"/>
                    </a:lnTo>
                    <a:lnTo>
                      <a:pt x="93" y="22"/>
                    </a:lnTo>
                    <a:lnTo>
                      <a:pt x="95" y="22"/>
                    </a:lnTo>
                    <a:lnTo>
                      <a:pt x="97" y="22"/>
                    </a:lnTo>
                    <a:lnTo>
                      <a:pt x="97" y="24"/>
                    </a:lnTo>
                    <a:lnTo>
                      <a:pt x="95" y="24"/>
                    </a:lnTo>
                    <a:lnTo>
                      <a:pt x="95" y="26"/>
                    </a:lnTo>
                    <a:lnTo>
                      <a:pt x="95" y="27"/>
                    </a:lnTo>
                    <a:lnTo>
                      <a:pt x="93" y="27"/>
                    </a:lnTo>
                    <a:lnTo>
                      <a:pt x="92" y="26"/>
                    </a:lnTo>
                    <a:lnTo>
                      <a:pt x="90" y="26"/>
                    </a:lnTo>
                    <a:lnTo>
                      <a:pt x="88" y="26"/>
                    </a:lnTo>
                    <a:lnTo>
                      <a:pt x="88" y="27"/>
                    </a:lnTo>
                    <a:lnTo>
                      <a:pt x="88" y="26"/>
                    </a:lnTo>
                    <a:lnTo>
                      <a:pt x="86" y="26"/>
                    </a:lnTo>
                    <a:lnTo>
                      <a:pt x="85" y="26"/>
                    </a:lnTo>
                    <a:lnTo>
                      <a:pt x="83" y="26"/>
                    </a:lnTo>
                    <a:lnTo>
                      <a:pt x="81" y="26"/>
                    </a:lnTo>
                    <a:lnTo>
                      <a:pt x="81" y="27"/>
                    </a:lnTo>
                    <a:lnTo>
                      <a:pt x="80" y="29"/>
                    </a:lnTo>
                    <a:lnTo>
                      <a:pt x="81" y="29"/>
                    </a:lnTo>
                    <a:lnTo>
                      <a:pt x="80" y="29"/>
                    </a:lnTo>
                    <a:lnTo>
                      <a:pt x="81" y="31"/>
                    </a:lnTo>
                    <a:lnTo>
                      <a:pt x="83" y="31"/>
                    </a:lnTo>
                    <a:lnTo>
                      <a:pt x="83" y="29"/>
                    </a:lnTo>
                    <a:lnTo>
                      <a:pt x="83" y="31"/>
                    </a:lnTo>
                    <a:lnTo>
                      <a:pt x="85" y="31"/>
                    </a:lnTo>
                    <a:lnTo>
                      <a:pt x="86" y="31"/>
                    </a:lnTo>
                    <a:lnTo>
                      <a:pt x="86" y="29"/>
                    </a:lnTo>
                    <a:lnTo>
                      <a:pt x="88" y="29"/>
                    </a:lnTo>
                    <a:lnTo>
                      <a:pt x="88" y="31"/>
                    </a:lnTo>
                    <a:lnTo>
                      <a:pt x="90" y="31"/>
                    </a:lnTo>
                    <a:lnTo>
                      <a:pt x="88" y="31"/>
                    </a:lnTo>
                    <a:lnTo>
                      <a:pt x="90" y="31"/>
                    </a:lnTo>
                    <a:lnTo>
                      <a:pt x="92" y="31"/>
                    </a:lnTo>
                    <a:lnTo>
                      <a:pt x="92" y="32"/>
                    </a:lnTo>
                    <a:lnTo>
                      <a:pt x="93" y="32"/>
                    </a:lnTo>
                    <a:lnTo>
                      <a:pt x="95" y="32"/>
                    </a:lnTo>
                    <a:lnTo>
                      <a:pt x="97" y="32"/>
                    </a:lnTo>
                    <a:lnTo>
                      <a:pt x="95" y="32"/>
                    </a:lnTo>
                    <a:lnTo>
                      <a:pt x="97" y="32"/>
                    </a:lnTo>
                    <a:lnTo>
                      <a:pt x="97" y="31"/>
                    </a:lnTo>
                    <a:lnTo>
                      <a:pt x="98" y="32"/>
                    </a:lnTo>
                    <a:lnTo>
                      <a:pt x="100" y="34"/>
                    </a:lnTo>
                    <a:lnTo>
                      <a:pt x="102" y="34"/>
                    </a:lnTo>
                    <a:lnTo>
                      <a:pt x="102" y="32"/>
                    </a:lnTo>
                    <a:lnTo>
                      <a:pt x="103" y="32"/>
                    </a:lnTo>
                    <a:lnTo>
                      <a:pt x="105" y="32"/>
                    </a:lnTo>
                    <a:lnTo>
                      <a:pt x="107" y="32"/>
                    </a:lnTo>
                    <a:lnTo>
                      <a:pt x="107" y="34"/>
                    </a:lnTo>
                    <a:lnTo>
                      <a:pt x="109" y="34"/>
                    </a:lnTo>
                    <a:lnTo>
                      <a:pt x="110" y="34"/>
                    </a:lnTo>
                    <a:lnTo>
                      <a:pt x="112" y="36"/>
                    </a:lnTo>
                    <a:lnTo>
                      <a:pt x="114" y="37"/>
                    </a:lnTo>
                    <a:lnTo>
                      <a:pt x="115" y="37"/>
                    </a:lnTo>
                    <a:lnTo>
                      <a:pt x="115" y="39"/>
                    </a:lnTo>
                    <a:lnTo>
                      <a:pt x="117" y="39"/>
                    </a:lnTo>
                    <a:lnTo>
                      <a:pt x="117" y="41"/>
                    </a:lnTo>
                    <a:lnTo>
                      <a:pt x="119" y="41"/>
                    </a:lnTo>
                    <a:lnTo>
                      <a:pt x="119" y="43"/>
                    </a:lnTo>
                    <a:lnTo>
                      <a:pt x="120" y="43"/>
                    </a:lnTo>
                    <a:lnTo>
                      <a:pt x="120" y="44"/>
                    </a:lnTo>
                    <a:lnTo>
                      <a:pt x="122" y="44"/>
                    </a:lnTo>
                    <a:lnTo>
                      <a:pt x="124" y="46"/>
                    </a:lnTo>
                    <a:lnTo>
                      <a:pt x="126" y="46"/>
                    </a:lnTo>
                    <a:lnTo>
                      <a:pt x="126" y="48"/>
                    </a:lnTo>
                    <a:lnTo>
                      <a:pt x="124" y="48"/>
                    </a:lnTo>
                    <a:lnTo>
                      <a:pt x="124" y="49"/>
                    </a:lnTo>
                    <a:lnTo>
                      <a:pt x="124" y="51"/>
                    </a:lnTo>
                    <a:lnTo>
                      <a:pt x="122" y="51"/>
                    </a:lnTo>
                    <a:lnTo>
                      <a:pt x="122" y="53"/>
                    </a:lnTo>
                    <a:lnTo>
                      <a:pt x="120" y="53"/>
                    </a:lnTo>
                    <a:lnTo>
                      <a:pt x="120" y="55"/>
                    </a:lnTo>
                    <a:lnTo>
                      <a:pt x="120" y="56"/>
                    </a:lnTo>
                    <a:lnTo>
                      <a:pt x="119" y="56"/>
                    </a:lnTo>
                    <a:lnTo>
                      <a:pt x="117" y="56"/>
                    </a:lnTo>
                    <a:lnTo>
                      <a:pt x="115" y="56"/>
                    </a:lnTo>
                    <a:lnTo>
                      <a:pt x="115" y="55"/>
                    </a:lnTo>
                    <a:lnTo>
                      <a:pt x="115" y="56"/>
                    </a:lnTo>
                    <a:lnTo>
                      <a:pt x="115" y="58"/>
                    </a:lnTo>
                    <a:lnTo>
                      <a:pt x="114" y="58"/>
                    </a:lnTo>
                    <a:lnTo>
                      <a:pt x="114" y="60"/>
                    </a:lnTo>
                    <a:lnTo>
                      <a:pt x="114" y="61"/>
                    </a:lnTo>
                    <a:lnTo>
                      <a:pt x="112" y="61"/>
                    </a:lnTo>
                    <a:lnTo>
                      <a:pt x="110" y="61"/>
                    </a:lnTo>
                    <a:lnTo>
                      <a:pt x="110" y="60"/>
                    </a:lnTo>
                    <a:lnTo>
                      <a:pt x="109" y="58"/>
                    </a:lnTo>
                    <a:lnTo>
                      <a:pt x="109" y="56"/>
                    </a:lnTo>
                    <a:lnTo>
                      <a:pt x="107" y="56"/>
                    </a:lnTo>
                    <a:lnTo>
                      <a:pt x="107" y="55"/>
                    </a:lnTo>
                    <a:lnTo>
                      <a:pt x="105" y="55"/>
                    </a:lnTo>
                    <a:lnTo>
                      <a:pt x="103" y="55"/>
                    </a:lnTo>
                    <a:lnTo>
                      <a:pt x="102" y="55"/>
                    </a:lnTo>
                    <a:lnTo>
                      <a:pt x="100" y="55"/>
                    </a:lnTo>
                    <a:lnTo>
                      <a:pt x="98" y="55"/>
                    </a:lnTo>
                    <a:lnTo>
                      <a:pt x="97" y="55"/>
                    </a:lnTo>
                    <a:lnTo>
                      <a:pt x="95" y="53"/>
                    </a:lnTo>
                    <a:lnTo>
                      <a:pt x="93" y="53"/>
                    </a:lnTo>
                    <a:lnTo>
                      <a:pt x="92" y="53"/>
                    </a:lnTo>
                    <a:lnTo>
                      <a:pt x="90" y="53"/>
                    </a:lnTo>
                    <a:lnTo>
                      <a:pt x="88" y="53"/>
                    </a:lnTo>
                    <a:lnTo>
                      <a:pt x="86" y="55"/>
                    </a:lnTo>
                    <a:lnTo>
                      <a:pt x="85" y="55"/>
                    </a:lnTo>
                    <a:lnTo>
                      <a:pt x="83" y="55"/>
                    </a:lnTo>
                    <a:lnTo>
                      <a:pt x="83" y="53"/>
                    </a:lnTo>
                    <a:lnTo>
                      <a:pt x="81" y="53"/>
                    </a:lnTo>
                    <a:lnTo>
                      <a:pt x="81" y="55"/>
                    </a:lnTo>
                    <a:lnTo>
                      <a:pt x="80" y="55"/>
                    </a:lnTo>
                    <a:lnTo>
                      <a:pt x="80" y="53"/>
                    </a:lnTo>
                    <a:lnTo>
                      <a:pt x="78" y="53"/>
                    </a:lnTo>
                    <a:lnTo>
                      <a:pt x="76" y="53"/>
                    </a:lnTo>
                    <a:lnTo>
                      <a:pt x="75" y="53"/>
                    </a:lnTo>
                    <a:lnTo>
                      <a:pt x="73" y="53"/>
                    </a:lnTo>
                    <a:lnTo>
                      <a:pt x="73" y="51"/>
                    </a:lnTo>
                    <a:lnTo>
                      <a:pt x="73" y="53"/>
                    </a:lnTo>
                    <a:lnTo>
                      <a:pt x="71" y="53"/>
                    </a:lnTo>
                    <a:lnTo>
                      <a:pt x="69" y="53"/>
                    </a:lnTo>
                    <a:lnTo>
                      <a:pt x="68" y="55"/>
                    </a:lnTo>
                    <a:lnTo>
                      <a:pt x="68" y="53"/>
                    </a:lnTo>
                    <a:lnTo>
                      <a:pt x="68" y="55"/>
                    </a:lnTo>
                    <a:lnTo>
                      <a:pt x="68" y="53"/>
                    </a:lnTo>
                    <a:lnTo>
                      <a:pt x="68" y="55"/>
                    </a:lnTo>
                    <a:lnTo>
                      <a:pt x="66" y="56"/>
                    </a:lnTo>
                    <a:lnTo>
                      <a:pt x="66" y="58"/>
                    </a:lnTo>
                    <a:lnTo>
                      <a:pt x="64" y="58"/>
                    </a:lnTo>
                    <a:lnTo>
                      <a:pt x="64" y="60"/>
                    </a:lnTo>
                    <a:lnTo>
                      <a:pt x="63" y="60"/>
                    </a:lnTo>
                    <a:lnTo>
                      <a:pt x="63" y="61"/>
                    </a:lnTo>
                    <a:lnTo>
                      <a:pt x="63" y="60"/>
                    </a:lnTo>
                    <a:lnTo>
                      <a:pt x="63" y="61"/>
                    </a:lnTo>
                    <a:lnTo>
                      <a:pt x="61" y="60"/>
                    </a:lnTo>
                    <a:lnTo>
                      <a:pt x="61" y="61"/>
                    </a:lnTo>
                    <a:lnTo>
                      <a:pt x="59" y="61"/>
                    </a:lnTo>
                    <a:lnTo>
                      <a:pt x="59" y="60"/>
                    </a:lnTo>
                    <a:lnTo>
                      <a:pt x="58" y="61"/>
                    </a:lnTo>
                    <a:lnTo>
                      <a:pt x="56" y="61"/>
                    </a:lnTo>
                    <a:lnTo>
                      <a:pt x="54" y="60"/>
                    </a:lnTo>
                    <a:lnTo>
                      <a:pt x="54" y="61"/>
                    </a:lnTo>
                    <a:lnTo>
                      <a:pt x="52" y="61"/>
                    </a:lnTo>
                    <a:lnTo>
                      <a:pt x="51" y="61"/>
                    </a:lnTo>
                    <a:lnTo>
                      <a:pt x="49" y="61"/>
                    </a:lnTo>
                    <a:lnTo>
                      <a:pt x="51" y="61"/>
                    </a:lnTo>
                    <a:lnTo>
                      <a:pt x="51" y="60"/>
                    </a:lnTo>
                    <a:lnTo>
                      <a:pt x="49" y="60"/>
                    </a:lnTo>
                    <a:lnTo>
                      <a:pt x="49" y="58"/>
                    </a:lnTo>
                    <a:lnTo>
                      <a:pt x="49" y="56"/>
                    </a:lnTo>
                    <a:lnTo>
                      <a:pt x="49" y="55"/>
                    </a:lnTo>
                    <a:lnTo>
                      <a:pt x="47" y="55"/>
                    </a:lnTo>
                    <a:lnTo>
                      <a:pt x="47" y="53"/>
                    </a:lnTo>
                    <a:lnTo>
                      <a:pt x="46" y="53"/>
                    </a:lnTo>
                    <a:lnTo>
                      <a:pt x="44" y="55"/>
                    </a:lnTo>
                    <a:lnTo>
                      <a:pt x="44" y="56"/>
                    </a:lnTo>
                    <a:lnTo>
                      <a:pt x="42" y="56"/>
                    </a:lnTo>
                    <a:lnTo>
                      <a:pt x="41" y="56"/>
                    </a:lnTo>
                    <a:lnTo>
                      <a:pt x="39" y="56"/>
                    </a:lnTo>
                    <a:lnTo>
                      <a:pt x="39" y="58"/>
                    </a:lnTo>
                    <a:lnTo>
                      <a:pt x="37" y="60"/>
                    </a:lnTo>
                    <a:lnTo>
                      <a:pt x="35" y="60"/>
                    </a:lnTo>
                    <a:lnTo>
                      <a:pt x="35" y="58"/>
                    </a:lnTo>
                    <a:lnTo>
                      <a:pt x="34" y="58"/>
                    </a:lnTo>
                    <a:lnTo>
                      <a:pt x="32" y="58"/>
                    </a:lnTo>
                    <a:lnTo>
                      <a:pt x="30" y="60"/>
                    </a:lnTo>
                    <a:lnTo>
                      <a:pt x="32" y="61"/>
                    </a:lnTo>
                    <a:lnTo>
                      <a:pt x="32" y="63"/>
                    </a:lnTo>
                    <a:lnTo>
                      <a:pt x="32" y="65"/>
                    </a:lnTo>
                    <a:lnTo>
                      <a:pt x="32" y="66"/>
                    </a:lnTo>
                    <a:lnTo>
                      <a:pt x="30" y="66"/>
                    </a:lnTo>
                    <a:lnTo>
                      <a:pt x="30" y="68"/>
                    </a:lnTo>
                    <a:lnTo>
                      <a:pt x="29" y="68"/>
                    </a:lnTo>
                    <a:lnTo>
                      <a:pt x="29" y="70"/>
                    </a:lnTo>
                    <a:lnTo>
                      <a:pt x="27" y="72"/>
                    </a:lnTo>
                    <a:lnTo>
                      <a:pt x="27" y="73"/>
                    </a:lnTo>
                    <a:lnTo>
                      <a:pt x="25" y="73"/>
                    </a:lnTo>
                    <a:lnTo>
                      <a:pt x="25" y="75"/>
                    </a:lnTo>
                    <a:lnTo>
                      <a:pt x="25" y="73"/>
                    </a:lnTo>
                    <a:lnTo>
                      <a:pt x="25" y="75"/>
                    </a:lnTo>
                    <a:lnTo>
                      <a:pt x="24" y="75"/>
                    </a:lnTo>
                    <a:lnTo>
                      <a:pt x="24" y="77"/>
                    </a:lnTo>
                    <a:lnTo>
                      <a:pt x="22" y="77"/>
                    </a:lnTo>
                    <a:lnTo>
                      <a:pt x="24" y="78"/>
                    </a:lnTo>
                    <a:lnTo>
                      <a:pt x="22" y="78"/>
                    </a:lnTo>
                    <a:lnTo>
                      <a:pt x="22" y="80"/>
                    </a:lnTo>
                    <a:lnTo>
                      <a:pt x="22" y="82"/>
                    </a:lnTo>
                    <a:lnTo>
                      <a:pt x="20" y="82"/>
                    </a:lnTo>
                    <a:lnTo>
                      <a:pt x="20" y="83"/>
                    </a:lnTo>
                    <a:lnTo>
                      <a:pt x="20" y="82"/>
                    </a:lnTo>
                    <a:lnTo>
                      <a:pt x="18" y="82"/>
                    </a:lnTo>
                    <a:lnTo>
                      <a:pt x="18" y="80"/>
                    </a:lnTo>
                    <a:lnTo>
                      <a:pt x="18" y="78"/>
                    </a:lnTo>
                    <a:lnTo>
                      <a:pt x="17" y="78"/>
                    </a:lnTo>
                    <a:lnTo>
                      <a:pt x="17" y="77"/>
                    </a:lnTo>
                    <a:lnTo>
                      <a:pt x="15" y="77"/>
                    </a:lnTo>
                    <a:lnTo>
                      <a:pt x="13" y="77"/>
                    </a:lnTo>
                    <a:lnTo>
                      <a:pt x="12" y="77"/>
                    </a:lnTo>
                    <a:lnTo>
                      <a:pt x="12" y="75"/>
                    </a:lnTo>
                    <a:lnTo>
                      <a:pt x="13" y="75"/>
                    </a:lnTo>
                    <a:lnTo>
                      <a:pt x="13" y="73"/>
                    </a:lnTo>
                    <a:lnTo>
                      <a:pt x="12" y="73"/>
                    </a:lnTo>
                    <a:lnTo>
                      <a:pt x="12" y="72"/>
                    </a:lnTo>
                    <a:lnTo>
                      <a:pt x="12" y="70"/>
                    </a:lnTo>
                    <a:lnTo>
                      <a:pt x="12" y="68"/>
                    </a:lnTo>
                    <a:lnTo>
                      <a:pt x="10" y="68"/>
                    </a:lnTo>
                    <a:lnTo>
                      <a:pt x="8" y="68"/>
                    </a:lnTo>
                    <a:close/>
                    <a:moveTo>
                      <a:pt x="112" y="63"/>
                    </a:moveTo>
                    <a:lnTo>
                      <a:pt x="114" y="63"/>
                    </a:lnTo>
                    <a:lnTo>
                      <a:pt x="115" y="63"/>
                    </a:lnTo>
                    <a:lnTo>
                      <a:pt x="117" y="63"/>
                    </a:lnTo>
                    <a:lnTo>
                      <a:pt x="117" y="65"/>
                    </a:lnTo>
                    <a:lnTo>
                      <a:pt x="115" y="65"/>
                    </a:lnTo>
                    <a:lnTo>
                      <a:pt x="114" y="65"/>
                    </a:lnTo>
                    <a:lnTo>
                      <a:pt x="112" y="65"/>
                    </a:lnTo>
                    <a:lnTo>
                      <a:pt x="110" y="65"/>
                    </a:lnTo>
                    <a:lnTo>
                      <a:pt x="110" y="63"/>
                    </a:lnTo>
                    <a:lnTo>
                      <a:pt x="109" y="63"/>
                    </a:lnTo>
                    <a:lnTo>
                      <a:pt x="109" y="61"/>
                    </a:lnTo>
                    <a:lnTo>
                      <a:pt x="110" y="61"/>
                    </a:lnTo>
                    <a:lnTo>
                      <a:pt x="112" y="61"/>
                    </a:lnTo>
                    <a:lnTo>
                      <a:pt x="112" y="63"/>
                    </a:lnTo>
                    <a:close/>
                    <a:moveTo>
                      <a:pt x="15" y="82"/>
                    </a:moveTo>
                    <a:lnTo>
                      <a:pt x="18" y="82"/>
                    </a:lnTo>
                    <a:lnTo>
                      <a:pt x="18" y="85"/>
                    </a:lnTo>
                    <a:lnTo>
                      <a:pt x="15" y="85"/>
                    </a:lnTo>
                    <a:lnTo>
                      <a:pt x="15" y="82"/>
                    </a:lnTo>
                    <a:close/>
                    <a:moveTo>
                      <a:pt x="102" y="55"/>
                    </a:moveTo>
                    <a:lnTo>
                      <a:pt x="102" y="56"/>
                    </a:lnTo>
                    <a:lnTo>
                      <a:pt x="102" y="55"/>
                    </a:lnTo>
                    <a:close/>
                    <a:moveTo>
                      <a:pt x="39" y="56"/>
                    </a:moveTo>
                    <a:lnTo>
                      <a:pt x="41" y="56"/>
                    </a:lnTo>
                    <a:lnTo>
                      <a:pt x="41" y="58"/>
                    </a:lnTo>
                    <a:lnTo>
                      <a:pt x="39" y="58"/>
                    </a:lnTo>
                    <a:lnTo>
                      <a:pt x="39" y="56"/>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0" name="Freeform 28">
                <a:extLst>
                  <a:ext uri="{FF2B5EF4-FFF2-40B4-BE49-F238E27FC236}">
                    <a16:creationId xmlns:a16="http://schemas.microsoft.com/office/drawing/2014/main" id="{0DB918B8-4036-4278-E601-19F7CADABD32}"/>
                  </a:ext>
                </a:extLst>
              </p:cNvPr>
              <p:cNvSpPr>
                <a:spLocks noEditPoints="1"/>
              </p:cNvSpPr>
              <p:nvPr/>
            </p:nvSpPr>
            <p:spPr bwMode="auto">
              <a:xfrm>
                <a:off x="4740275" y="2376488"/>
                <a:ext cx="882650" cy="346075"/>
              </a:xfrm>
              <a:custGeom>
                <a:avLst/>
                <a:gdLst>
                  <a:gd name="T0" fmla="*/ 549 w 556"/>
                  <a:gd name="T1" fmla="*/ 61 h 218"/>
                  <a:gd name="T2" fmla="*/ 554 w 556"/>
                  <a:gd name="T3" fmla="*/ 78 h 218"/>
                  <a:gd name="T4" fmla="*/ 540 w 556"/>
                  <a:gd name="T5" fmla="*/ 104 h 218"/>
                  <a:gd name="T6" fmla="*/ 489 w 556"/>
                  <a:gd name="T7" fmla="*/ 143 h 218"/>
                  <a:gd name="T8" fmla="*/ 454 w 556"/>
                  <a:gd name="T9" fmla="*/ 167 h 218"/>
                  <a:gd name="T10" fmla="*/ 447 w 556"/>
                  <a:gd name="T11" fmla="*/ 177 h 218"/>
                  <a:gd name="T12" fmla="*/ 440 w 556"/>
                  <a:gd name="T13" fmla="*/ 197 h 218"/>
                  <a:gd name="T14" fmla="*/ 428 w 556"/>
                  <a:gd name="T15" fmla="*/ 216 h 218"/>
                  <a:gd name="T16" fmla="*/ 409 w 556"/>
                  <a:gd name="T17" fmla="*/ 202 h 218"/>
                  <a:gd name="T18" fmla="*/ 387 w 556"/>
                  <a:gd name="T19" fmla="*/ 196 h 218"/>
                  <a:gd name="T20" fmla="*/ 382 w 556"/>
                  <a:gd name="T21" fmla="*/ 192 h 218"/>
                  <a:gd name="T22" fmla="*/ 389 w 556"/>
                  <a:gd name="T23" fmla="*/ 179 h 218"/>
                  <a:gd name="T24" fmla="*/ 392 w 556"/>
                  <a:gd name="T25" fmla="*/ 160 h 218"/>
                  <a:gd name="T26" fmla="*/ 401 w 556"/>
                  <a:gd name="T27" fmla="*/ 138 h 218"/>
                  <a:gd name="T28" fmla="*/ 399 w 556"/>
                  <a:gd name="T29" fmla="*/ 126 h 218"/>
                  <a:gd name="T30" fmla="*/ 398 w 556"/>
                  <a:gd name="T31" fmla="*/ 128 h 218"/>
                  <a:gd name="T32" fmla="*/ 389 w 556"/>
                  <a:gd name="T33" fmla="*/ 136 h 218"/>
                  <a:gd name="T34" fmla="*/ 370 w 556"/>
                  <a:gd name="T35" fmla="*/ 129 h 218"/>
                  <a:gd name="T36" fmla="*/ 369 w 556"/>
                  <a:gd name="T37" fmla="*/ 119 h 218"/>
                  <a:gd name="T38" fmla="*/ 369 w 556"/>
                  <a:gd name="T39" fmla="*/ 94 h 218"/>
                  <a:gd name="T40" fmla="*/ 374 w 556"/>
                  <a:gd name="T41" fmla="*/ 80 h 218"/>
                  <a:gd name="T42" fmla="*/ 379 w 556"/>
                  <a:gd name="T43" fmla="*/ 66 h 218"/>
                  <a:gd name="T44" fmla="*/ 391 w 556"/>
                  <a:gd name="T45" fmla="*/ 49 h 218"/>
                  <a:gd name="T46" fmla="*/ 394 w 556"/>
                  <a:gd name="T47" fmla="*/ 36 h 218"/>
                  <a:gd name="T48" fmla="*/ 398 w 556"/>
                  <a:gd name="T49" fmla="*/ 20 h 218"/>
                  <a:gd name="T50" fmla="*/ 425 w 556"/>
                  <a:gd name="T51" fmla="*/ 10 h 218"/>
                  <a:gd name="T52" fmla="*/ 435 w 556"/>
                  <a:gd name="T53" fmla="*/ 5 h 218"/>
                  <a:gd name="T54" fmla="*/ 447 w 556"/>
                  <a:gd name="T55" fmla="*/ 8 h 218"/>
                  <a:gd name="T56" fmla="*/ 464 w 556"/>
                  <a:gd name="T57" fmla="*/ 20 h 218"/>
                  <a:gd name="T58" fmla="*/ 477 w 556"/>
                  <a:gd name="T59" fmla="*/ 29 h 218"/>
                  <a:gd name="T60" fmla="*/ 493 w 556"/>
                  <a:gd name="T61" fmla="*/ 37 h 218"/>
                  <a:gd name="T62" fmla="*/ 513 w 556"/>
                  <a:gd name="T63" fmla="*/ 41 h 218"/>
                  <a:gd name="T64" fmla="*/ 532 w 556"/>
                  <a:gd name="T65" fmla="*/ 43 h 218"/>
                  <a:gd name="T66" fmla="*/ 554 w 556"/>
                  <a:gd name="T67" fmla="*/ 53 h 218"/>
                  <a:gd name="T68" fmla="*/ 24 w 556"/>
                  <a:gd name="T69" fmla="*/ 65 h 218"/>
                  <a:gd name="T70" fmla="*/ 25 w 556"/>
                  <a:gd name="T71" fmla="*/ 82 h 218"/>
                  <a:gd name="T72" fmla="*/ 5 w 556"/>
                  <a:gd name="T73" fmla="*/ 78 h 218"/>
                  <a:gd name="T74" fmla="*/ 15 w 556"/>
                  <a:gd name="T75" fmla="*/ 63 h 218"/>
                  <a:gd name="T76" fmla="*/ 5 w 556"/>
                  <a:gd name="T77" fmla="*/ 48 h 218"/>
                  <a:gd name="T78" fmla="*/ 44 w 556"/>
                  <a:gd name="T79" fmla="*/ 75 h 218"/>
                  <a:gd name="T80" fmla="*/ 46 w 556"/>
                  <a:gd name="T81" fmla="*/ 65 h 218"/>
                  <a:gd name="T82" fmla="*/ 389 w 556"/>
                  <a:gd name="T83" fmla="*/ 148 h 218"/>
                  <a:gd name="T84" fmla="*/ 8 w 556"/>
                  <a:gd name="T85" fmla="*/ 58 h 218"/>
                  <a:gd name="T86" fmla="*/ 7 w 556"/>
                  <a:gd name="T87" fmla="*/ 58 h 218"/>
                  <a:gd name="T88" fmla="*/ 30 w 556"/>
                  <a:gd name="T89" fmla="*/ 54 h 218"/>
                  <a:gd name="T90" fmla="*/ 71 w 556"/>
                  <a:gd name="T91" fmla="*/ 78 h 218"/>
                  <a:gd name="T92" fmla="*/ 41 w 556"/>
                  <a:gd name="T93" fmla="*/ 90 h 218"/>
                  <a:gd name="T94" fmla="*/ 399 w 556"/>
                  <a:gd name="T95" fmla="*/ 136 h 218"/>
                  <a:gd name="T96" fmla="*/ 391 w 556"/>
                  <a:gd name="T97" fmla="*/ 136 h 218"/>
                  <a:gd name="T98" fmla="*/ 403 w 556"/>
                  <a:gd name="T99" fmla="*/ 138 h 218"/>
                  <a:gd name="T100" fmla="*/ 428 w 556"/>
                  <a:gd name="T101" fmla="*/ 5 h 218"/>
                  <a:gd name="T102" fmla="*/ 66 w 556"/>
                  <a:gd name="T103" fmla="*/ 95 h 218"/>
                  <a:gd name="T104" fmla="*/ 391 w 556"/>
                  <a:gd name="T105" fmla="*/ 145 h 218"/>
                  <a:gd name="T106" fmla="*/ 394 w 556"/>
                  <a:gd name="T107" fmla="*/ 124 h 218"/>
                  <a:gd name="T108" fmla="*/ 394 w 556"/>
                  <a:gd name="T109" fmla="*/ 138 h 218"/>
                  <a:gd name="T110" fmla="*/ 392 w 556"/>
                  <a:gd name="T111" fmla="*/ 129 h 218"/>
                  <a:gd name="T112" fmla="*/ 387 w 556"/>
                  <a:gd name="T113" fmla="*/ 162 h 218"/>
                  <a:gd name="T114" fmla="*/ 392 w 556"/>
                  <a:gd name="T115" fmla="*/ 36 h 218"/>
                  <a:gd name="T116" fmla="*/ 394 w 556"/>
                  <a:gd name="T117" fmla="*/ 129 h 218"/>
                  <a:gd name="T118" fmla="*/ 396 w 556"/>
                  <a:gd name="T119" fmla="*/ 131 h 218"/>
                  <a:gd name="T120" fmla="*/ 399 w 556"/>
                  <a:gd name="T121" fmla="*/ 134 h 218"/>
                  <a:gd name="T122" fmla="*/ 387 w 556"/>
                  <a:gd name="T123" fmla="*/ 139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56" h="218">
                    <a:moveTo>
                      <a:pt x="554" y="53"/>
                    </a:moveTo>
                    <a:lnTo>
                      <a:pt x="552" y="54"/>
                    </a:lnTo>
                    <a:lnTo>
                      <a:pt x="551" y="54"/>
                    </a:lnTo>
                    <a:lnTo>
                      <a:pt x="549" y="54"/>
                    </a:lnTo>
                    <a:lnTo>
                      <a:pt x="547" y="54"/>
                    </a:lnTo>
                    <a:lnTo>
                      <a:pt x="547" y="53"/>
                    </a:lnTo>
                    <a:lnTo>
                      <a:pt x="545" y="53"/>
                    </a:lnTo>
                    <a:lnTo>
                      <a:pt x="544" y="53"/>
                    </a:lnTo>
                    <a:lnTo>
                      <a:pt x="542" y="53"/>
                    </a:lnTo>
                    <a:lnTo>
                      <a:pt x="542" y="54"/>
                    </a:lnTo>
                    <a:lnTo>
                      <a:pt x="544" y="54"/>
                    </a:lnTo>
                    <a:lnTo>
                      <a:pt x="544" y="56"/>
                    </a:lnTo>
                    <a:lnTo>
                      <a:pt x="545" y="56"/>
                    </a:lnTo>
                    <a:lnTo>
                      <a:pt x="547" y="58"/>
                    </a:lnTo>
                    <a:lnTo>
                      <a:pt x="545" y="58"/>
                    </a:lnTo>
                    <a:lnTo>
                      <a:pt x="547" y="58"/>
                    </a:lnTo>
                    <a:lnTo>
                      <a:pt x="547" y="60"/>
                    </a:lnTo>
                    <a:lnTo>
                      <a:pt x="547" y="61"/>
                    </a:lnTo>
                    <a:lnTo>
                      <a:pt x="549" y="61"/>
                    </a:lnTo>
                    <a:lnTo>
                      <a:pt x="549" y="63"/>
                    </a:lnTo>
                    <a:lnTo>
                      <a:pt x="551" y="65"/>
                    </a:lnTo>
                    <a:lnTo>
                      <a:pt x="552" y="65"/>
                    </a:lnTo>
                    <a:lnTo>
                      <a:pt x="552" y="66"/>
                    </a:lnTo>
                    <a:lnTo>
                      <a:pt x="554" y="66"/>
                    </a:lnTo>
                    <a:lnTo>
                      <a:pt x="554" y="68"/>
                    </a:lnTo>
                    <a:lnTo>
                      <a:pt x="556" y="68"/>
                    </a:lnTo>
                    <a:lnTo>
                      <a:pt x="554" y="68"/>
                    </a:lnTo>
                    <a:lnTo>
                      <a:pt x="554" y="70"/>
                    </a:lnTo>
                    <a:lnTo>
                      <a:pt x="556" y="70"/>
                    </a:lnTo>
                    <a:lnTo>
                      <a:pt x="554" y="71"/>
                    </a:lnTo>
                    <a:lnTo>
                      <a:pt x="554" y="70"/>
                    </a:lnTo>
                    <a:lnTo>
                      <a:pt x="554" y="71"/>
                    </a:lnTo>
                    <a:lnTo>
                      <a:pt x="554" y="70"/>
                    </a:lnTo>
                    <a:lnTo>
                      <a:pt x="554" y="71"/>
                    </a:lnTo>
                    <a:lnTo>
                      <a:pt x="554" y="73"/>
                    </a:lnTo>
                    <a:lnTo>
                      <a:pt x="554" y="75"/>
                    </a:lnTo>
                    <a:lnTo>
                      <a:pt x="554" y="77"/>
                    </a:lnTo>
                    <a:lnTo>
                      <a:pt x="554" y="78"/>
                    </a:lnTo>
                    <a:lnTo>
                      <a:pt x="556" y="78"/>
                    </a:lnTo>
                    <a:lnTo>
                      <a:pt x="556" y="80"/>
                    </a:lnTo>
                    <a:lnTo>
                      <a:pt x="554" y="80"/>
                    </a:lnTo>
                    <a:lnTo>
                      <a:pt x="556" y="82"/>
                    </a:lnTo>
                    <a:lnTo>
                      <a:pt x="554" y="82"/>
                    </a:lnTo>
                    <a:lnTo>
                      <a:pt x="552" y="82"/>
                    </a:lnTo>
                    <a:lnTo>
                      <a:pt x="551" y="82"/>
                    </a:lnTo>
                    <a:lnTo>
                      <a:pt x="551" y="80"/>
                    </a:lnTo>
                    <a:lnTo>
                      <a:pt x="549" y="80"/>
                    </a:lnTo>
                    <a:lnTo>
                      <a:pt x="549" y="82"/>
                    </a:lnTo>
                    <a:lnTo>
                      <a:pt x="547" y="88"/>
                    </a:lnTo>
                    <a:lnTo>
                      <a:pt x="547" y="90"/>
                    </a:lnTo>
                    <a:lnTo>
                      <a:pt x="545" y="97"/>
                    </a:lnTo>
                    <a:lnTo>
                      <a:pt x="544" y="99"/>
                    </a:lnTo>
                    <a:lnTo>
                      <a:pt x="544" y="100"/>
                    </a:lnTo>
                    <a:lnTo>
                      <a:pt x="544" y="102"/>
                    </a:lnTo>
                    <a:lnTo>
                      <a:pt x="542" y="100"/>
                    </a:lnTo>
                    <a:lnTo>
                      <a:pt x="542" y="102"/>
                    </a:lnTo>
                    <a:lnTo>
                      <a:pt x="540" y="104"/>
                    </a:lnTo>
                    <a:lnTo>
                      <a:pt x="539" y="107"/>
                    </a:lnTo>
                    <a:lnTo>
                      <a:pt x="535" y="109"/>
                    </a:lnTo>
                    <a:lnTo>
                      <a:pt x="535" y="111"/>
                    </a:lnTo>
                    <a:lnTo>
                      <a:pt x="532" y="114"/>
                    </a:lnTo>
                    <a:lnTo>
                      <a:pt x="528" y="119"/>
                    </a:lnTo>
                    <a:lnTo>
                      <a:pt x="527" y="121"/>
                    </a:lnTo>
                    <a:lnTo>
                      <a:pt x="527" y="122"/>
                    </a:lnTo>
                    <a:lnTo>
                      <a:pt x="523" y="124"/>
                    </a:lnTo>
                    <a:lnTo>
                      <a:pt x="518" y="128"/>
                    </a:lnTo>
                    <a:lnTo>
                      <a:pt x="515" y="129"/>
                    </a:lnTo>
                    <a:lnTo>
                      <a:pt x="513" y="131"/>
                    </a:lnTo>
                    <a:lnTo>
                      <a:pt x="511" y="134"/>
                    </a:lnTo>
                    <a:lnTo>
                      <a:pt x="510" y="134"/>
                    </a:lnTo>
                    <a:lnTo>
                      <a:pt x="508" y="136"/>
                    </a:lnTo>
                    <a:lnTo>
                      <a:pt x="506" y="136"/>
                    </a:lnTo>
                    <a:lnTo>
                      <a:pt x="505" y="138"/>
                    </a:lnTo>
                    <a:lnTo>
                      <a:pt x="503" y="138"/>
                    </a:lnTo>
                    <a:lnTo>
                      <a:pt x="501" y="138"/>
                    </a:lnTo>
                    <a:lnTo>
                      <a:pt x="489" y="143"/>
                    </a:lnTo>
                    <a:lnTo>
                      <a:pt x="476" y="148"/>
                    </a:lnTo>
                    <a:lnTo>
                      <a:pt x="471" y="148"/>
                    </a:lnTo>
                    <a:lnTo>
                      <a:pt x="467" y="150"/>
                    </a:lnTo>
                    <a:lnTo>
                      <a:pt x="464" y="153"/>
                    </a:lnTo>
                    <a:lnTo>
                      <a:pt x="462" y="153"/>
                    </a:lnTo>
                    <a:lnTo>
                      <a:pt x="462" y="155"/>
                    </a:lnTo>
                    <a:lnTo>
                      <a:pt x="460" y="155"/>
                    </a:lnTo>
                    <a:lnTo>
                      <a:pt x="460" y="156"/>
                    </a:lnTo>
                    <a:lnTo>
                      <a:pt x="459" y="156"/>
                    </a:lnTo>
                    <a:lnTo>
                      <a:pt x="459" y="158"/>
                    </a:lnTo>
                    <a:lnTo>
                      <a:pt x="457" y="160"/>
                    </a:lnTo>
                    <a:lnTo>
                      <a:pt x="457" y="162"/>
                    </a:lnTo>
                    <a:lnTo>
                      <a:pt x="455" y="162"/>
                    </a:lnTo>
                    <a:lnTo>
                      <a:pt x="455" y="163"/>
                    </a:lnTo>
                    <a:lnTo>
                      <a:pt x="455" y="165"/>
                    </a:lnTo>
                    <a:lnTo>
                      <a:pt x="457" y="165"/>
                    </a:lnTo>
                    <a:lnTo>
                      <a:pt x="457" y="167"/>
                    </a:lnTo>
                    <a:lnTo>
                      <a:pt x="455" y="167"/>
                    </a:lnTo>
                    <a:lnTo>
                      <a:pt x="454" y="167"/>
                    </a:lnTo>
                    <a:lnTo>
                      <a:pt x="454" y="165"/>
                    </a:lnTo>
                    <a:lnTo>
                      <a:pt x="454" y="163"/>
                    </a:lnTo>
                    <a:lnTo>
                      <a:pt x="452" y="163"/>
                    </a:lnTo>
                    <a:lnTo>
                      <a:pt x="450" y="163"/>
                    </a:lnTo>
                    <a:lnTo>
                      <a:pt x="449" y="163"/>
                    </a:lnTo>
                    <a:lnTo>
                      <a:pt x="450" y="163"/>
                    </a:lnTo>
                    <a:lnTo>
                      <a:pt x="449" y="163"/>
                    </a:lnTo>
                    <a:lnTo>
                      <a:pt x="450" y="165"/>
                    </a:lnTo>
                    <a:lnTo>
                      <a:pt x="449" y="165"/>
                    </a:lnTo>
                    <a:lnTo>
                      <a:pt x="449" y="167"/>
                    </a:lnTo>
                    <a:lnTo>
                      <a:pt x="449" y="168"/>
                    </a:lnTo>
                    <a:lnTo>
                      <a:pt x="449" y="170"/>
                    </a:lnTo>
                    <a:lnTo>
                      <a:pt x="449" y="172"/>
                    </a:lnTo>
                    <a:lnTo>
                      <a:pt x="447" y="172"/>
                    </a:lnTo>
                    <a:lnTo>
                      <a:pt x="449" y="172"/>
                    </a:lnTo>
                    <a:lnTo>
                      <a:pt x="449" y="173"/>
                    </a:lnTo>
                    <a:lnTo>
                      <a:pt x="447" y="173"/>
                    </a:lnTo>
                    <a:lnTo>
                      <a:pt x="447" y="175"/>
                    </a:lnTo>
                    <a:lnTo>
                      <a:pt x="447" y="177"/>
                    </a:lnTo>
                    <a:lnTo>
                      <a:pt x="447" y="179"/>
                    </a:lnTo>
                    <a:lnTo>
                      <a:pt x="445" y="179"/>
                    </a:lnTo>
                    <a:lnTo>
                      <a:pt x="445" y="180"/>
                    </a:lnTo>
                    <a:lnTo>
                      <a:pt x="445" y="182"/>
                    </a:lnTo>
                    <a:lnTo>
                      <a:pt x="443" y="182"/>
                    </a:lnTo>
                    <a:lnTo>
                      <a:pt x="443" y="184"/>
                    </a:lnTo>
                    <a:lnTo>
                      <a:pt x="442" y="184"/>
                    </a:lnTo>
                    <a:lnTo>
                      <a:pt x="442" y="185"/>
                    </a:lnTo>
                    <a:lnTo>
                      <a:pt x="443" y="185"/>
                    </a:lnTo>
                    <a:lnTo>
                      <a:pt x="443" y="187"/>
                    </a:lnTo>
                    <a:lnTo>
                      <a:pt x="442" y="187"/>
                    </a:lnTo>
                    <a:lnTo>
                      <a:pt x="442" y="189"/>
                    </a:lnTo>
                    <a:lnTo>
                      <a:pt x="442" y="190"/>
                    </a:lnTo>
                    <a:lnTo>
                      <a:pt x="440" y="190"/>
                    </a:lnTo>
                    <a:lnTo>
                      <a:pt x="440" y="192"/>
                    </a:lnTo>
                    <a:lnTo>
                      <a:pt x="442" y="192"/>
                    </a:lnTo>
                    <a:lnTo>
                      <a:pt x="440" y="194"/>
                    </a:lnTo>
                    <a:lnTo>
                      <a:pt x="440" y="196"/>
                    </a:lnTo>
                    <a:lnTo>
                      <a:pt x="440" y="197"/>
                    </a:lnTo>
                    <a:lnTo>
                      <a:pt x="442" y="199"/>
                    </a:lnTo>
                    <a:lnTo>
                      <a:pt x="440" y="199"/>
                    </a:lnTo>
                    <a:lnTo>
                      <a:pt x="440" y="201"/>
                    </a:lnTo>
                    <a:lnTo>
                      <a:pt x="438" y="202"/>
                    </a:lnTo>
                    <a:lnTo>
                      <a:pt x="438" y="204"/>
                    </a:lnTo>
                    <a:lnTo>
                      <a:pt x="437" y="206"/>
                    </a:lnTo>
                    <a:lnTo>
                      <a:pt x="435" y="206"/>
                    </a:lnTo>
                    <a:lnTo>
                      <a:pt x="433" y="206"/>
                    </a:lnTo>
                    <a:lnTo>
                      <a:pt x="432" y="208"/>
                    </a:lnTo>
                    <a:lnTo>
                      <a:pt x="432" y="209"/>
                    </a:lnTo>
                    <a:lnTo>
                      <a:pt x="432" y="211"/>
                    </a:lnTo>
                    <a:lnTo>
                      <a:pt x="430" y="211"/>
                    </a:lnTo>
                    <a:lnTo>
                      <a:pt x="432" y="211"/>
                    </a:lnTo>
                    <a:lnTo>
                      <a:pt x="432" y="213"/>
                    </a:lnTo>
                    <a:lnTo>
                      <a:pt x="430" y="213"/>
                    </a:lnTo>
                    <a:lnTo>
                      <a:pt x="432" y="214"/>
                    </a:lnTo>
                    <a:lnTo>
                      <a:pt x="430" y="214"/>
                    </a:lnTo>
                    <a:lnTo>
                      <a:pt x="428" y="214"/>
                    </a:lnTo>
                    <a:lnTo>
                      <a:pt x="428" y="216"/>
                    </a:lnTo>
                    <a:lnTo>
                      <a:pt x="428" y="218"/>
                    </a:lnTo>
                    <a:lnTo>
                      <a:pt x="426" y="218"/>
                    </a:lnTo>
                    <a:lnTo>
                      <a:pt x="425" y="218"/>
                    </a:lnTo>
                    <a:lnTo>
                      <a:pt x="423" y="218"/>
                    </a:lnTo>
                    <a:lnTo>
                      <a:pt x="423" y="216"/>
                    </a:lnTo>
                    <a:lnTo>
                      <a:pt x="421" y="216"/>
                    </a:lnTo>
                    <a:lnTo>
                      <a:pt x="420" y="216"/>
                    </a:lnTo>
                    <a:lnTo>
                      <a:pt x="418" y="216"/>
                    </a:lnTo>
                    <a:lnTo>
                      <a:pt x="418" y="214"/>
                    </a:lnTo>
                    <a:lnTo>
                      <a:pt x="416" y="214"/>
                    </a:lnTo>
                    <a:lnTo>
                      <a:pt x="415" y="213"/>
                    </a:lnTo>
                    <a:lnTo>
                      <a:pt x="413" y="211"/>
                    </a:lnTo>
                    <a:lnTo>
                      <a:pt x="413" y="209"/>
                    </a:lnTo>
                    <a:lnTo>
                      <a:pt x="413" y="208"/>
                    </a:lnTo>
                    <a:lnTo>
                      <a:pt x="411" y="206"/>
                    </a:lnTo>
                    <a:lnTo>
                      <a:pt x="411" y="204"/>
                    </a:lnTo>
                    <a:lnTo>
                      <a:pt x="411" y="202"/>
                    </a:lnTo>
                    <a:lnTo>
                      <a:pt x="409" y="201"/>
                    </a:lnTo>
                    <a:lnTo>
                      <a:pt x="409" y="202"/>
                    </a:lnTo>
                    <a:lnTo>
                      <a:pt x="409" y="201"/>
                    </a:lnTo>
                    <a:lnTo>
                      <a:pt x="408" y="201"/>
                    </a:lnTo>
                    <a:lnTo>
                      <a:pt x="408" y="199"/>
                    </a:lnTo>
                    <a:lnTo>
                      <a:pt x="406" y="199"/>
                    </a:lnTo>
                    <a:lnTo>
                      <a:pt x="404" y="199"/>
                    </a:lnTo>
                    <a:lnTo>
                      <a:pt x="404" y="201"/>
                    </a:lnTo>
                    <a:lnTo>
                      <a:pt x="403" y="201"/>
                    </a:lnTo>
                    <a:lnTo>
                      <a:pt x="401" y="201"/>
                    </a:lnTo>
                    <a:lnTo>
                      <a:pt x="399" y="201"/>
                    </a:lnTo>
                    <a:lnTo>
                      <a:pt x="399" y="199"/>
                    </a:lnTo>
                    <a:lnTo>
                      <a:pt x="398" y="197"/>
                    </a:lnTo>
                    <a:lnTo>
                      <a:pt x="396" y="197"/>
                    </a:lnTo>
                    <a:lnTo>
                      <a:pt x="394" y="197"/>
                    </a:lnTo>
                    <a:lnTo>
                      <a:pt x="392" y="196"/>
                    </a:lnTo>
                    <a:lnTo>
                      <a:pt x="392" y="194"/>
                    </a:lnTo>
                    <a:lnTo>
                      <a:pt x="391" y="194"/>
                    </a:lnTo>
                    <a:lnTo>
                      <a:pt x="389" y="194"/>
                    </a:lnTo>
                    <a:lnTo>
                      <a:pt x="387" y="194"/>
                    </a:lnTo>
                    <a:lnTo>
                      <a:pt x="387" y="196"/>
                    </a:lnTo>
                    <a:lnTo>
                      <a:pt x="386" y="196"/>
                    </a:lnTo>
                    <a:lnTo>
                      <a:pt x="386" y="197"/>
                    </a:lnTo>
                    <a:lnTo>
                      <a:pt x="384" y="197"/>
                    </a:lnTo>
                    <a:lnTo>
                      <a:pt x="384" y="199"/>
                    </a:lnTo>
                    <a:lnTo>
                      <a:pt x="382" y="199"/>
                    </a:lnTo>
                    <a:lnTo>
                      <a:pt x="382" y="201"/>
                    </a:lnTo>
                    <a:lnTo>
                      <a:pt x="381" y="201"/>
                    </a:lnTo>
                    <a:lnTo>
                      <a:pt x="379" y="199"/>
                    </a:lnTo>
                    <a:lnTo>
                      <a:pt x="379" y="201"/>
                    </a:lnTo>
                    <a:lnTo>
                      <a:pt x="379" y="199"/>
                    </a:lnTo>
                    <a:lnTo>
                      <a:pt x="379" y="197"/>
                    </a:lnTo>
                    <a:lnTo>
                      <a:pt x="379" y="196"/>
                    </a:lnTo>
                    <a:lnTo>
                      <a:pt x="381" y="196"/>
                    </a:lnTo>
                    <a:lnTo>
                      <a:pt x="381" y="194"/>
                    </a:lnTo>
                    <a:lnTo>
                      <a:pt x="382" y="192"/>
                    </a:lnTo>
                    <a:lnTo>
                      <a:pt x="382" y="190"/>
                    </a:lnTo>
                    <a:lnTo>
                      <a:pt x="384" y="190"/>
                    </a:lnTo>
                    <a:lnTo>
                      <a:pt x="382" y="190"/>
                    </a:lnTo>
                    <a:lnTo>
                      <a:pt x="382" y="192"/>
                    </a:lnTo>
                    <a:lnTo>
                      <a:pt x="381" y="190"/>
                    </a:lnTo>
                    <a:lnTo>
                      <a:pt x="381" y="192"/>
                    </a:lnTo>
                    <a:lnTo>
                      <a:pt x="379" y="190"/>
                    </a:lnTo>
                    <a:lnTo>
                      <a:pt x="379" y="189"/>
                    </a:lnTo>
                    <a:lnTo>
                      <a:pt x="377" y="189"/>
                    </a:lnTo>
                    <a:lnTo>
                      <a:pt x="379" y="187"/>
                    </a:lnTo>
                    <a:lnTo>
                      <a:pt x="377" y="187"/>
                    </a:lnTo>
                    <a:lnTo>
                      <a:pt x="377" y="185"/>
                    </a:lnTo>
                    <a:lnTo>
                      <a:pt x="379" y="185"/>
                    </a:lnTo>
                    <a:lnTo>
                      <a:pt x="379" y="184"/>
                    </a:lnTo>
                    <a:lnTo>
                      <a:pt x="381" y="184"/>
                    </a:lnTo>
                    <a:lnTo>
                      <a:pt x="382" y="184"/>
                    </a:lnTo>
                    <a:lnTo>
                      <a:pt x="384" y="185"/>
                    </a:lnTo>
                    <a:lnTo>
                      <a:pt x="384" y="184"/>
                    </a:lnTo>
                    <a:lnTo>
                      <a:pt x="386" y="184"/>
                    </a:lnTo>
                    <a:lnTo>
                      <a:pt x="386" y="182"/>
                    </a:lnTo>
                    <a:lnTo>
                      <a:pt x="387" y="182"/>
                    </a:lnTo>
                    <a:lnTo>
                      <a:pt x="389" y="180"/>
                    </a:lnTo>
                    <a:lnTo>
                      <a:pt x="389" y="179"/>
                    </a:lnTo>
                    <a:lnTo>
                      <a:pt x="389" y="177"/>
                    </a:lnTo>
                    <a:lnTo>
                      <a:pt x="387" y="177"/>
                    </a:lnTo>
                    <a:lnTo>
                      <a:pt x="387" y="175"/>
                    </a:lnTo>
                    <a:lnTo>
                      <a:pt x="387" y="173"/>
                    </a:lnTo>
                    <a:lnTo>
                      <a:pt x="387" y="172"/>
                    </a:lnTo>
                    <a:lnTo>
                      <a:pt x="387" y="170"/>
                    </a:lnTo>
                    <a:lnTo>
                      <a:pt x="386" y="170"/>
                    </a:lnTo>
                    <a:lnTo>
                      <a:pt x="387" y="168"/>
                    </a:lnTo>
                    <a:lnTo>
                      <a:pt x="386" y="168"/>
                    </a:lnTo>
                    <a:lnTo>
                      <a:pt x="386" y="167"/>
                    </a:lnTo>
                    <a:lnTo>
                      <a:pt x="386" y="165"/>
                    </a:lnTo>
                    <a:lnTo>
                      <a:pt x="387" y="165"/>
                    </a:lnTo>
                    <a:lnTo>
                      <a:pt x="389" y="165"/>
                    </a:lnTo>
                    <a:lnTo>
                      <a:pt x="391" y="165"/>
                    </a:lnTo>
                    <a:lnTo>
                      <a:pt x="392" y="163"/>
                    </a:lnTo>
                    <a:lnTo>
                      <a:pt x="392" y="162"/>
                    </a:lnTo>
                    <a:lnTo>
                      <a:pt x="392" y="163"/>
                    </a:lnTo>
                    <a:lnTo>
                      <a:pt x="392" y="162"/>
                    </a:lnTo>
                    <a:lnTo>
                      <a:pt x="392" y="160"/>
                    </a:lnTo>
                    <a:lnTo>
                      <a:pt x="394" y="160"/>
                    </a:lnTo>
                    <a:lnTo>
                      <a:pt x="394" y="158"/>
                    </a:lnTo>
                    <a:lnTo>
                      <a:pt x="394" y="156"/>
                    </a:lnTo>
                    <a:lnTo>
                      <a:pt x="396" y="156"/>
                    </a:lnTo>
                    <a:lnTo>
                      <a:pt x="398" y="155"/>
                    </a:lnTo>
                    <a:lnTo>
                      <a:pt x="398" y="153"/>
                    </a:lnTo>
                    <a:lnTo>
                      <a:pt x="398" y="151"/>
                    </a:lnTo>
                    <a:lnTo>
                      <a:pt x="398" y="153"/>
                    </a:lnTo>
                    <a:lnTo>
                      <a:pt x="398" y="151"/>
                    </a:lnTo>
                    <a:lnTo>
                      <a:pt x="399" y="151"/>
                    </a:lnTo>
                    <a:lnTo>
                      <a:pt x="399" y="150"/>
                    </a:lnTo>
                    <a:lnTo>
                      <a:pt x="399" y="148"/>
                    </a:lnTo>
                    <a:lnTo>
                      <a:pt x="399" y="146"/>
                    </a:lnTo>
                    <a:lnTo>
                      <a:pt x="399" y="145"/>
                    </a:lnTo>
                    <a:lnTo>
                      <a:pt x="399" y="143"/>
                    </a:lnTo>
                    <a:lnTo>
                      <a:pt x="401" y="143"/>
                    </a:lnTo>
                    <a:lnTo>
                      <a:pt x="401" y="141"/>
                    </a:lnTo>
                    <a:lnTo>
                      <a:pt x="401" y="139"/>
                    </a:lnTo>
                    <a:lnTo>
                      <a:pt x="401" y="138"/>
                    </a:lnTo>
                    <a:lnTo>
                      <a:pt x="403" y="138"/>
                    </a:lnTo>
                    <a:lnTo>
                      <a:pt x="403" y="136"/>
                    </a:lnTo>
                    <a:lnTo>
                      <a:pt x="403" y="134"/>
                    </a:lnTo>
                    <a:lnTo>
                      <a:pt x="403" y="133"/>
                    </a:lnTo>
                    <a:lnTo>
                      <a:pt x="403" y="134"/>
                    </a:lnTo>
                    <a:lnTo>
                      <a:pt x="403" y="133"/>
                    </a:lnTo>
                    <a:lnTo>
                      <a:pt x="401" y="134"/>
                    </a:lnTo>
                    <a:lnTo>
                      <a:pt x="401" y="133"/>
                    </a:lnTo>
                    <a:lnTo>
                      <a:pt x="401" y="131"/>
                    </a:lnTo>
                    <a:lnTo>
                      <a:pt x="399" y="131"/>
                    </a:lnTo>
                    <a:lnTo>
                      <a:pt x="399" y="129"/>
                    </a:lnTo>
                    <a:lnTo>
                      <a:pt x="399" y="128"/>
                    </a:lnTo>
                    <a:lnTo>
                      <a:pt x="399" y="126"/>
                    </a:lnTo>
                    <a:lnTo>
                      <a:pt x="399" y="124"/>
                    </a:lnTo>
                    <a:lnTo>
                      <a:pt x="399" y="122"/>
                    </a:lnTo>
                    <a:lnTo>
                      <a:pt x="398" y="122"/>
                    </a:lnTo>
                    <a:lnTo>
                      <a:pt x="398" y="124"/>
                    </a:lnTo>
                    <a:lnTo>
                      <a:pt x="398" y="126"/>
                    </a:lnTo>
                    <a:lnTo>
                      <a:pt x="399" y="126"/>
                    </a:lnTo>
                    <a:lnTo>
                      <a:pt x="399" y="128"/>
                    </a:lnTo>
                    <a:lnTo>
                      <a:pt x="399" y="129"/>
                    </a:lnTo>
                    <a:lnTo>
                      <a:pt x="399" y="131"/>
                    </a:lnTo>
                    <a:lnTo>
                      <a:pt x="398" y="131"/>
                    </a:lnTo>
                    <a:lnTo>
                      <a:pt x="398" y="133"/>
                    </a:lnTo>
                    <a:lnTo>
                      <a:pt x="398" y="134"/>
                    </a:lnTo>
                    <a:lnTo>
                      <a:pt x="398" y="136"/>
                    </a:lnTo>
                    <a:lnTo>
                      <a:pt x="396" y="136"/>
                    </a:lnTo>
                    <a:lnTo>
                      <a:pt x="396" y="134"/>
                    </a:lnTo>
                    <a:lnTo>
                      <a:pt x="394" y="134"/>
                    </a:lnTo>
                    <a:lnTo>
                      <a:pt x="396" y="134"/>
                    </a:lnTo>
                    <a:lnTo>
                      <a:pt x="396" y="133"/>
                    </a:lnTo>
                    <a:lnTo>
                      <a:pt x="398" y="133"/>
                    </a:lnTo>
                    <a:lnTo>
                      <a:pt x="398" y="131"/>
                    </a:lnTo>
                    <a:lnTo>
                      <a:pt x="398" y="129"/>
                    </a:lnTo>
                    <a:lnTo>
                      <a:pt x="396" y="129"/>
                    </a:lnTo>
                    <a:lnTo>
                      <a:pt x="398" y="128"/>
                    </a:lnTo>
                    <a:lnTo>
                      <a:pt x="396" y="128"/>
                    </a:lnTo>
                    <a:lnTo>
                      <a:pt x="398" y="128"/>
                    </a:lnTo>
                    <a:lnTo>
                      <a:pt x="396" y="126"/>
                    </a:lnTo>
                    <a:lnTo>
                      <a:pt x="398" y="126"/>
                    </a:lnTo>
                    <a:lnTo>
                      <a:pt x="396" y="126"/>
                    </a:lnTo>
                    <a:lnTo>
                      <a:pt x="396" y="124"/>
                    </a:lnTo>
                    <a:lnTo>
                      <a:pt x="394" y="124"/>
                    </a:lnTo>
                    <a:lnTo>
                      <a:pt x="394" y="126"/>
                    </a:lnTo>
                    <a:lnTo>
                      <a:pt x="394" y="128"/>
                    </a:lnTo>
                    <a:lnTo>
                      <a:pt x="396" y="128"/>
                    </a:lnTo>
                    <a:lnTo>
                      <a:pt x="394" y="128"/>
                    </a:lnTo>
                    <a:lnTo>
                      <a:pt x="392" y="128"/>
                    </a:lnTo>
                    <a:lnTo>
                      <a:pt x="392" y="129"/>
                    </a:lnTo>
                    <a:lnTo>
                      <a:pt x="391" y="129"/>
                    </a:lnTo>
                    <a:lnTo>
                      <a:pt x="391" y="131"/>
                    </a:lnTo>
                    <a:lnTo>
                      <a:pt x="391" y="133"/>
                    </a:lnTo>
                    <a:lnTo>
                      <a:pt x="391" y="134"/>
                    </a:lnTo>
                    <a:lnTo>
                      <a:pt x="389" y="134"/>
                    </a:lnTo>
                    <a:lnTo>
                      <a:pt x="389" y="136"/>
                    </a:lnTo>
                    <a:lnTo>
                      <a:pt x="387" y="134"/>
                    </a:lnTo>
                    <a:lnTo>
                      <a:pt x="389" y="136"/>
                    </a:lnTo>
                    <a:lnTo>
                      <a:pt x="387" y="136"/>
                    </a:lnTo>
                    <a:lnTo>
                      <a:pt x="386" y="138"/>
                    </a:lnTo>
                    <a:lnTo>
                      <a:pt x="384" y="138"/>
                    </a:lnTo>
                    <a:lnTo>
                      <a:pt x="386" y="138"/>
                    </a:lnTo>
                    <a:lnTo>
                      <a:pt x="386" y="139"/>
                    </a:lnTo>
                    <a:lnTo>
                      <a:pt x="386" y="141"/>
                    </a:lnTo>
                    <a:lnTo>
                      <a:pt x="384" y="141"/>
                    </a:lnTo>
                    <a:lnTo>
                      <a:pt x="382" y="139"/>
                    </a:lnTo>
                    <a:lnTo>
                      <a:pt x="381" y="139"/>
                    </a:lnTo>
                    <a:lnTo>
                      <a:pt x="381" y="138"/>
                    </a:lnTo>
                    <a:lnTo>
                      <a:pt x="379" y="138"/>
                    </a:lnTo>
                    <a:lnTo>
                      <a:pt x="377" y="138"/>
                    </a:lnTo>
                    <a:lnTo>
                      <a:pt x="377" y="136"/>
                    </a:lnTo>
                    <a:lnTo>
                      <a:pt x="376" y="134"/>
                    </a:lnTo>
                    <a:lnTo>
                      <a:pt x="376" y="133"/>
                    </a:lnTo>
                    <a:lnTo>
                      <a:pt x="374" y="133"/>
                    </a:lnTo>
                    <a:lnTo>
                      <a:pt x="372" y="131"/>
                    </a:lnTo>
                    <a:lnTo>
                      <a:pt x="370" y="131"/>
                    </a:lnTo>
                    <a:lnTo>
                      <a:pt x="370" y="129"/>
                    </a:lnTo>
                    <a:lnTo>
                      <a:pt x="369" y="129"/>
                    </a:lnTo>
                    <a:lnTo>
                      <a:pt x="367" y="129"/>
                    </a:lnTo>
                    <a:lnTo>
                      <a:pt x="365" y="128"/>
                    </a:lnTo>
                    <a:lnTo>
                      <a:pt x="364" y="128"/>
                    </a:lnTo>
                    <a:lnTo>
                      <a:pt x="364" y="126"/>
                    </a:lnTo>
                    <a:lnTo>
                      <a:pt x="362" y="126"/>
                    </a:lnTo>
                    <a:lnTo>
                      <a:pt x="362" y="124"/>
                    </a:lnTo>
                    <a:lnTo>
                      <a:pt x="360" y="124"/>
                    </a:lnTo>
                    <a:lnTo>
                      <a:pt x="360" y="122"/>
                    </a:lnTo>
                    <a:lnTo>
                      <a:pt x="360" y="124"/>
                    </a:lnTo>
                    <a:lnTo>
                      <a:pt x="362" y="122"/>
                    </a:lnTo>
                    <a:lnTo>
                      <a:pt x="362" y="124"/>
                    </a:lnTo>
                    <a:lnTo>
                      <a:pt x="364" y="124"/>
                    </a:lnTo>
                    <a:lnTo>
                      <a:pt x="364" y="122"/>
                    </a:lnTo>
                    <a:lnTo>
                      <a:pt x="365" y="122"/>
                    </a:lnTo>
                    <a:lnTo>
                      <a:pt x="367" y="122"/>
                    </a:lnTo>
                    <a:lnTo>
                      <a:pt x="367" y="121"/>
                    </a:lnTo>
                    <a:lnTo>
                      <a:pt x="369" y="121"/>
                    </a:lnTo>
                    <a:lnTo>
                      <a:pt x="369" y="119"/>
                    </a:lnTo>
                    <a:lnTo>
                      <a:pt x="369" y="117"/>
                    </a:lnTo>
                    <a:lnTo>
                      <a:pt x="369" y="116"/>
                    </a:lnTo>
                    <a:lnTo>
                      <a:pt x="369" y="114"/>
                    </a:lnTo>
                    <a:lnTo>
                      <a:pt x="369" y="112"/>
                    </a:lnTo>
                    <a:lnTo>
                      <a:pt x="369" y="111"/>
                    </a:lnTo>
                    <a:lnTo>
                      <a:pt x="369" y="109"/>
                    </a:lnTo>
                    <a:lnTo>
                      <a:pt x="367" y="109"/>
                    </a:lnTo>
                    <a:lnTo>
                      <a:pt x="367" y="107"/>
                    </a:lnTo>
                    <a:lnTo>
                      <a:pt x="367" y="105"/>
                    </a:lnTo>
                    <a:lnTo>
                      <a:pt x="365" y="105"/>
                    </a:lnTo>
                    <a:lnTo>
                      <a:pt x="365" y="104"/>
                    </a:lnTo>
                    <a:lnTo>
                      <a:pt x="365" y="102"/>
                    </a:lnTo>
                    <a:lnTo>
                      <a:pt x="367" y="102"/>
                    </a:lnTo>
                    <a:lnTo>
                      <a:pt x="367" y="100"/>
                    </a:lnTo>
                    <a:lnTo>
                      <a:pt x="367" y="99"/>
                    </a:lnTo>
                    <a:lnTo>
                      <a:pt x="369" y="99"/>
                    </a:lnTo>
                    <a:lnTo>
                      <a:pt x="369" y="97"/>
                    </a:lnTo>
                    <a:lnTo>
                      <a:pt x="369" y="95"/>
                    </a:lnTo>
                    <a:lnTo>
                      <a:pt x="369" y="94"/>
                    </a:lnTo>
                    <a:lnTo>
                      <a:pt x="367" y="92"/>
                    </a:lnTo>
                    <a:lnTo>
                      <a:pt x="367" y="90"/>
                    </a:lnTo>
                    <a:lnTo>
                      <a:pt x="365" y="90"/>
                    </a:lnTo>
                    <a:lnTo>
                      <a:pt x="365" y="88"/>
                    </a:lnTo>
                    <a:lnTo>
                      <a:pt x="364" y="88"/>
                    </a:lnTo>
                    <a:lnTo>
                      <a:pt x="364" y="87"/>
                    </a:lnTo>
                    <a:lnTo>
                      <a:pt x="364" y="85"/>
                    </a:lnTo>
                    <a:lnTo>
                      <a:pt x="364" y="83"/>
                    </a:lnTo>
                    <a:lnTo>
                      <a:pt x="365" y="83"/>
                    </a:lnTo>
                    <a:lnTo>
                      <a:pt x="365" y="82"/>
                    </a:lnTo>
                    <a:lnTo>
                      <a:pt x="367" y="82"/>
                    </a:lnTo>
                    <a:lnTo>
                      <a:pt x="369" y="80"/>
                    </a:lnTo>
                    <a:lnTo>
                      <a:pt x="369" y="82"/>
                    </a:lnTo>
                    <a:lnTo>
                      <a:pt x="370" y="82"/>
                    </a:lnTo>
                    <a:lnTo>
                      <a:pt x="370" y="80"/>
                    </a:lnTo>
                    <a:lnTo>
                      <a:pt x="372" y="80"/>
                    </a:lnTo>
                    <a:lnTo>
                      <a:pt x="372" y="82"/>
                    </a:lnTo>
                    <a:lnTo>
                      <a:pt x="372" y="80"/>
                    </a:lnTo>
                    <a:lnTo>
                      <a:pt x="374" y="80"/>
                    </a:lnTo>
                    <a:lnTo>
                      <a:pt x="376" y="80"/>
                    </a:lnTo>
                    <a:lnTo>
                      <a:pt x="376" y="78"/>
                    </a:lnTo>
                    <a:lnTo>
                      <a:pt x="376" y="77"/>
                    </a:lnTo>
                    <a:lnTo>
                      <a:pt x="376" y="75"/>
                    </a:lnTo>
                    <a:lnTo>
                      <a:pt x="377" y="75"/>
                    </a:lnTo>
                    <a:lnTo>
                      <a:pt x="377" y="73"/>
                    </a:lnTo>
                    <a:lnTo>
                      <a:pt x="377" y="71"/>
                    </a:lnTo>
                    <a:lnTo>
                      <a:pt x="377" y="70"/>
                    </a:lnTo>
                    <a:lnTo>
                      <a:pt x="379" y="70"/>
                    </a:lnTo>
                    <a:lnTo>
                      <a:pt x="381" y="71"/>
                    </a:lnTo>
                    <a:lnTo>
                      <a:pt x="382" y="71"/>
                    </a:lnTo>
                    <a:lnTo>
                      <a:pt x="384" y="71"/>
                    </a:lnTo>
                    <a:lnTo>
                      <a:pt x="382" y="71"/>
                    </a:lnTo>
                    <a:lnTo>
                      <a:pt x="382" y="70"/>
                    </a:lnTo>
                    <a:lnTo>
                      <a:pt x="381" y="71"/>
                    </a:lnTo>
                    <a:lnTo>
                      <a:pt x="381" y="70"/>
                    </a:lnTo>
                    <a:lnTo>
                      <a:pt x="381" y="68"/>
                    </a:lnTo>
                    <a:lnTo>
                      <a:pt x="379" y="68"/>
                    </a:lnTo>
                    <a:lnTo>
                      <a:pt x="379" y="66"/>
                    </a:lnTo>
                    <a:lnTo>
                      <a:pt x="379" y="65"/>
                    </a:lnTo>
                    <a:lnTo>
                      <a:pt x="377" y="65"/>
                    </a:lnTo>
                    <a:lnTo>
                      <a:pt x="377" y="63"/>
                    </a:lnTo>
                    <a:lnTo>
                      <a:pt x="377" y="61"/>
                    </a:lnTo>
                    <a:lnTo>
                      <a:pt x="379" y="61"/>
                    </a:lnTo>
                    <a:lnTo>
                      <a:pt x="379" y="60"/>
                    </a:lnTo>
                    <a:lnTo>
                      <a:pt x="381" y="60"/>
                    </a:lnTo>
                    <a:lnTo>
                      <a:pt x="381" y="58"/>
                    </a:lnTo>
                    <a:lnTo>
                      <a:pt x="381" y="56"/>
                    </a:lnTo>
                    <a:lnTo>
                      <a:pt x="382" y="56"/>
                    </a:lnTo>
                    <a:lnTo>
                      <a:pt x="382" y="54"/>
                    </a:lnTo>
                    <a:lnTo>
                      <a:pt x="384" y="54"/>
                    </a:lnTo>
                    <a:lnTo>
                      <a:pt x="386" y="54"/>
                    </a:lnTo>
                    <a:lnTo>
                      <a:pt x="386" y="53"/>
                    </a:lnTo>
                    <a:lnTo>
                      <a:pt x="387" y="53"/>
                    </a:lnTo>
                    <a:lnTo>
                      <a:pt x="387" y="51"/>
                    </a:lnTo>
                    <a:lnTo>
                      <a:pt x="389" y="51"/>
                    </a:lnTo>
                    <a:lnTo>
                      <a:pt x="389" y="49"/>
                    </a:lnTo>
                    <a:lnTo>
                      <a:pt x="391" y="49"/>
                    </a:lnTo>
                    <a:lnTo>
                      <a:pt x="391" y="48"/>
                    </a:lnTo>
                    <a:lnTo>
                      <a:pt x="392" y="46"/>
                    </a:lnTo>
                    <a:lnTo>
                      <a:pt x="392" y="44"/>
                    </a:lnTo>
                    <a:lnTo>
                      <a:pt x="392" y="43"/>
                    </a:lnTo>
                    <a:lnTo>
                      <a:pt x="392" y="41"/>
                    </a:lnTo>
                    <a:lnTo>
                      <a:pt x="392" y="39"/>
                    </a:lnTo>
                    <a:lnTo>
                      <a:pt x="392" y="37"/>
                    </a:lnTo>
                    <a:lnTo>
                      <a:pt x="392" y="36"/>
                    </a:lnTo>
                    <a:lnTo>
                      <a:pt x="392" y="37"/>
                    </a:lnTo>
                    <a:lnTo>
                      <a:pt x="394" y="37"/>
                    </a:lnTo>
                    <a:lnTo>
                      <a:pt x="394" y="39"/>
                    </a:lnTo>
                    <a:lnTo>
                      <a:pt x="394" y="41"/>
                    </a:lnTo>
                    <a:lnTo>
                      <a:pt x="394" y="43"/>
                    </a:lnTo>
                    <a:lnTo>
                      <a:pt x="396" y="43"/>
                    </a:lnTo>
                    <a:lnTo>
                      <a:pt x="396" y="41"/>
                    </a:lnTo>
                    <a:lnTo>
                      <a:pt x="396" y="39"/>
                    </a:lnTo>
                    <a:lnTo>
                      <a:pt x="394" y="39"/>
                    </a:lnTo>
                    <a:lnTo>
                      <a:pt x="394" y="37"/>
                    </a:lnTo>
                    <a:lnTo>
                      <a:pt x="394" y="36"/>
                    </a:lnTo>
                    <a:lnTo>
                      <a:pt x="392" y="36"/>
                    </a:lnTo>
                    <a:lnTo>
                      <a:pt x="392" y="34"/>
                    </a:lnTo>
                    <a:lnTo>
                      <a:pt x="392" y="32"/>
                    </a:lnTo>
                    <a:lnTo>
                      <a:pt x="394" y="31"/>
                    </a:lnTo>
                    <a:lnTo>
                      <a:pt x="394" y="29"/>
                    </a:lnTo>
                    <a:lnTo>
                      <a:pt x="392" y="29"/>
                    </a:lnTo>
                    <a:lnTo>
                      <a:pt x="392" y="27"/>
                    </a:lnTo>
                    <a:lnTo>
                      <a:pt x="391" y="27"/>
                    </a:lnTo>
                    <a:lnTo>
                      <a:pt x="391" y="25"/>
                    </a:lnTo>
                    <a:lnTo>
                      <a:pt x="391" y="24"/>
                    </a:lnTo>
                    <a:lnTo>
                      <a:pt x="391" y="22"/>
                    </a:lnTo>
                    <a:lnTo>
                      <a:pt x="392" y="22"/>
                    </a:lnTo>
                    <a:lnTo>
                      <a:pt x="392" y="20"/>
                    </a:lnTo>
                    <a:lnTo>
                      <a:pt x="394" y="22"/>
                    </a:lnTo>
                    <a:lnTo>
                      <a:pt x="394" y="20"/>
                    </a:lnTo>
                    <a:lnTo>
                      <a:pt x="396" y="20"/>
                    </a:lnTo>
                    <a:lnTo>
                      <a:pt x="398" y="20"/>
                    </a:lnTo>
                    <a:lnTo>
                      <a:pt x="398" y="19"/>
                    </a:lnTo>
                    <a:lnTo>
                      <a:pt x="398" y="20"/>
                    </a:lnTo>
                    <a:lnTo>
                      <a:pt x="399" y="19"/>
                    </a:lnTo>
                    <a:lnTo>
                      <a:pt x="401" y="19"/>
                    </a:lnTo>
                    <a:lnTo>
                      <a:pt x="401" y="17"/>
                    </a:lnTo>
                    <a:lnTo>
                      <a:pt x="403" y="17"/>
                    </a:lnTo>
                    <a:lnTo>
                      <a:pt x="404" y="15"/>
                    </a:lnTo>
                    <a:lnTo>
                      <a:pt x="406" y="15"/>
                    </a:lnTo>
                    <a:lnTo>
                      <a:pt x="408" y="15"/>
                    </a:lnTo>
                    <a:lnTo>
                      <a:pt x="409" y="15"/>
                    </a:lnTo>
                    <a:lnTo>
                      <a:pt x="411" y="14"/>
                    </a:lnTo>
                    <a:lnTo>
                      <a:pt x="413" y="14"/>
                    </a:lnTo>
                    <a:lnTo>
                      <a:pt x="413" y="12"/>
                    </a:lnTo>
                    <a:lnTo>
                      <a:pt x="415" y="12"/>
                    </a:lnTo>
                    <a:lnTo>
                      <a:pt x="416" y="12"/>
                    </a:lnTo>
                    <a:lnTo>
                      <a:pt x="418" y="12"/>
                    </a:lnTo>
                    <a:lnTo>
                      <a:pt x="420" y="12"/>
                    </a:lnTo>
                    <a:lnTo>
                      <a:pt x="421" y="12"/>
                    </a:lnTo>
                    <a:lnTo>
                      <a:pt x="423" y="12"/>
                    </a:lnTo>
                    <a:lnTo>
                      <a:pt x="423" y="10"/>
                    </a:lnTo>
                    <a:lnTo>
                      <a:pt x="425" y="10"/>
                    </a:lnTo>
                    <a:lnTo>
                      <a:pt x="425" y="8"/>
                    </a:lnTo>
                    <a:lnTo>
                      <a:pt x="426" y="7"/>
                    </a:lnTo>
                    <a:lnTo>
                      <a:pt x="426" y="8"/>
                    </a:lnTo>
                    <a:lnTo>
                      <a:pt x="428" y="10"/>
                    </a:lnTo>
                    <a:lnTo>
                      <a:pt x="428" y="12"/>
                    </a:lnTo>
                    <a:lnTo>
                      <a:pt x="428" y="10"/>
                    </a:lnTo>
                    <a:lnTo>
                      <a:pt x="430" y="10"/>
                    </a:lnTo>
                    <a:lnTo>
                      <a:pt x="428" y="10"/>
                    </a:lnTo>
                    <a:lnTo>
                      <a:pt x="430" y="10"/>
                    </a:lnTo>
                    <a:lnTo>
                      <a:pt x="430" y="8"/>
                    </a:lnTo>
                    <a:lnTo>
                      <a:pt x="428" y="8"/>
                    </a:lnTo>
                    <a:lnTo>
                      <a:pt x="430" y="8"/>
                    </a:lnTo>
                    <a:lnTo>
                      <a:pt x="428" y="8"/>
                    </a:lnTo>
                    <a:lnTo>
                      <a:pt x="428" y="7"/>
                    </a:lnTo>
                    <a:lnTo>
                      <a:pt x="430" y="7"/>
                    </a:lnTo>
                    <a:lnTo>
                      <a:pt x="432" y="7"/>
                    </a:lnTo>
                    <a:lnTo>
                      <a:pt x="432" y="5"/>
                    </a:lnTo>
                    <a:lnTo>
                      <a:pt x="433" y="5"/>
                    </a:lnTo>
                    <a:lnTo>
                      <a:pt x="435" y="5"/>
                    </a:lnTo>
                    <a:lnTo>
                      <a:pt x="433" y="5"/>
                    </a:lnTo>
                    <a:lnTo>
                      <a:pt x="432" y="5"/>
                    </a:lnTo>
                    <a:lnTo>
                      <a:pt x="432" y="3"/>
                    </a:lnTo>
                    <a:lnTo>
                      <a:pt x="433" y="2"/>
                    </a:lnTo>
                    <a:lnTo>
                      <a:pt x="433" y="3"/>
                    </a:lnTo>
                    <a:lnTo>
                      <a:pt x="433" y="2"/>
                    </a:lnTo>
                    <a:lnTo>
                      <a:pt x="433" y="0"/>
                    </a:lnTo>
                    <a:lnTo>
                      <a:pt x="435" y="2"/>
                    </a:lnTo>
                    <a:lnTo>
                      <a:pt x="437" y="2"/>
                    </a:lnTo>
                    <a:lnTo>
                      <a:pt x="437" y="3"/>
                    </a:lnTo>
                    <a:lnTo>
                      <a:pt x="438" y="3"/>
                    </a:lnTo>
                    <a:lnTo>
                      <a:pt x="438" y="5"/>
                    </a:lnTo>
                    <a:lnTo>
                      <a:pt x="440" y="5"/>
                    </a:lnTo>
                    <a:lnTo>
                      <a:pt x="440" y="7"/>
                    </a:lnTo>
                    <a:lnTo>
                      <a:pt x="442" y="7"/>
                    </a:lnTo>
                    <a:lnTo>
                      <a:pt x="443" y="7"/>
                    </a:lnTo>
                    <a:lnTo>
                      <a:pt x="443" y="8"/>
                    </a:lnTo>
                    <a:lnTo>
                      <a:pt x="445" y="8"/>
                    </a:lnTo>
                    <a:lnTo>
                      <a:pt x="447" y="8"/>
                    </a:lnTo>
                    <a:lnTo>
                      <a:pt x="447" y="10"/>
                    </a:lnTo>
                    <a:lnTo>
                      <a:pt x="449" y="10"/>
                    </a:lnTo>
                    <a:lnTo>
                      <a:pt x="449" y="8"/>
                    </a:lnTo>
                    <a:lnTo>
                      <a:pt x="450" y="8"/>
                    </a:lnTo>
                    <a:lnTo>
                      <a:pt x="452" y="10"/>
                    </a:lnTo>
                    <a:lnTo>
                      <a:pt x="452" y="12"/>
                    </a:lnTo>
                    <a:lnTo>
                      <a:pt x="452" y="14"/>
                    </a:lnTo>
                    <a:lnTo>
                      <a:pt x="454" y="14"/>
                    </a:lnTo>
                    <a:lnTo>
                      <a:pt x="454" y="15"/>
                    </a:lnTo>
                    <a:lnTo>
                      <a:pt x="455" y="15"/>
                    </a:lnTo>
                    <a:lnTo>
                      <a:pt x="454" y="17"/>
                    </a:lnTo>
                    <a:lnTo>
                      <a:pt x="455" y="17"/>
                    </a:lnTo>
                    <a:lnTo>
                      <a:pt x="457" y="17"/>
                    </a:lnTo>
                    <a:lnTo>
                      <a:pt x="457" y="19"/>
                    </a:lnTo>
                    <a:lnTo>
                      <a:pt x="459" y="19"/>
                    </a:lnTo>
                    <a:lnTo>
                      <a:pt x="460" y="19"/>
                    </a:lnTo>
                    <a:lnTo>
                      <a:pt x="460" y="20"/>
                    </a:lnTo>
                    <a:lnTo>
                      <a:pt x="462" y="20"/>
                    </a:lnTo>
                    <a:lnTo>
                      <a:pt x="464" y="20"/>
                    </a:lnTo>
                    <a:lnTo>
                      <a:pt x="464" y="22"/>
                    </a:lnTo>
                    <a:lnTo>
                      <a:pt x="466" y="22"/>
                    </a:lnTo>
                    <a:lnTo>
                      <a:pt x="467" y="22"/>
                    </a:lnTo>
                    <a:lnTo>
                      <a:pt x="467" y="20"/>
                    </a:lnTo>
                    <a:lnTo>
                      <a:pt x="469" y="20"/>
                    </a:lnTo>
                    <a:lnTo>
                      <a:pt x="471" y="20"/>
                    </a:lnTo>
                    <a:lnTo>
                      <a:pt x="472" y="20"/>
                    </a:lnTo>
                    <a:lnTo>
                      <a:pt x="472" y="22"/>
                    </a:lnTo>
                    <a:lnTo>
                      <a:pt x="472" y="24"/>
                    </a:lnTo>
                    <a:lnTo>
                      <a:pt x="471" y="24"/>
                    </a:lnTo>
                    <a:lnTo>
                      <a:pt x="472" y="24"/>
                    </a:lnTo>
                    <a:lnTo>
                      <a:pt x="472" y="25"/>
                    </a:lnTo>
                    <a:lnTo>
                      <a:pt x="474" y="25"/>
                    </a:lnTo>
                    <a:lnTo>
                      <a:pt x="476" y="25"/>
                    </a:lnTo>
                    <a:lnTo>
                      <a:pt x="476" y="27"/>
                    </a:lnTo>
                    <a:lnTo>
                      <a:pt x="477" y="27"/>
                    </a:lnTo>
                    <a:lnTo>
                      <a:pt x="479" y="27"/>
                    </a:lnTo>
                    <a:lnTo>
                      <a:pt x="479" y="29"/>
                    </a:lnTo>
                    <a:lnTo>
                      <a:pt x="477" y="29"/>
                    </a:lnTo>
                    <a:lnTo>
                      <a:pt x="477" y="31"/>
                    </a:lnTo>
                    <a:lnTo>
                      <a:pt x="477" y="32"/>
                    </a:lnTo>
                    <a:lnTo>
                      <a:pt x="477" y="34"/>
                    </a:lnTo>
                    <a:lnTo>
                      <a:pt x="477" y="36"/>
                    </a:lnTo>
                    <a:lnTo>
                      <a:pt x="479" y="34"/>
                    </a:lnTo>
                    <a:lnTo>
                      <a:pt x="481" y="34"/>
                    </a:lnTo>
                    <a:lnTo>
                      <a:pt x="481" y="36"/>
                    </a:lnTo>
                    <a:lnTo>
                      <a:pt x="483" y="36"/>
                    </a:lnTo>
                    <a:lnTo>
                      <a:pt x="484" y="36"/>
                    </a:lnTo>
                    <a:lnTo>
                      <a:pt x="486" y="37"/>
                    </a:lnTo>
                    <a:lnTo>
                      <a:pt x="486" y="36"/>
                    </a:lnTo>
                    <a:lnTo>
                      <a:pt x="486" y="37"/>
                    </a:lnTo>
                    <a:lnTo>
                      <a:pt x="488" y="36"/>
                    </a:lnTo>
                    <a:lnTo>
                      <a:pt x="488" y="37"/>
                    </a:lnTo>
                    <a:lnTo>
                      <a:pt x="488" y="36"/>
                    </a:lnTo>
                    <a:lnTo>
                      <a:pt x="489" y="36"/>
                    </a:lnTo>
                    <a:lnTo>
                      <a:pt x="491" y="36"/>
                    </a:lnTo>
                    <a:lnTo>
                      <a:pt x="491" y="37"/>
                    </a:lnTo>
                    <a:lnTo>
                      <a:pt x="493" y="37"/>
                    </a:lnTo>
                    <a:lnTo>
                      <a:pt x="493" y="39"/>
                    </a:lnTo>
                    <a:lnTo>
                      <a:pt x="494" y="39"/>
                    </a:lnTo>
                    <a:lnTo>
                      <a:pt x="496" y="39"/>
                    </a:lnTo>
                    <a:lnTo>
                      <a:pt x="498" y="39"/>
                    </a:lnTo>
                    <a:lnTo>
                      <a:pt x="498" y="41"/>
                    </a:lnTo>
                    <a:lnTo>
                      <a:pt x="500" y="41"/>
                    </a:lnTo>
                    <a:lnTo>
                      <a:pt x="501" y="41"/>
                    </a:lnTo>
                    <a:lnTo>
                      <a:pt x="501" y="39"/>
                    </a:lnTo>
                    <a:lnTo>
                      <a:pt x="501" y="41"/>
                    </a:lnTo>
                    <a:lnTo>
                      <a:pt x="501" y="39"/>
                    </a:lnTo>
                    <a:lnTo>
                      <a:pt x="503" y="41"/>
                    </a:lnTo>
                    <a:lnTo>
                      <a:pt x="503" y="39"/>
                    </a:lnTo>
                    <a:lnTo>
                      <a:pt x="505" y="39"/>
                    </a:lnTo>
                    <a:lnTo>
                      <a:pt x="506" y="39"/>
                    </a:lnTo>
                    <a:lnTo>
                      <a:pt x="506" y="41"/>
                    </a:lnTo>
                    <a:lnTo>
                      <a:pt x="508" y="41"/>
                    </a:lnTo>
                    <a:lnTo>
                      <a:pt x="510" y="41"/>
                    </a:lnTo>
                    <a:lnTo>
                      <a:pt x="511" y="41"/>
                    </a:lnTo>
                    <a:lnTo>
                      <a:pt x="513" y="41"/>
                    </a:lnTo>
                    <a:lnTo>
                      <a:pt x="515" y="41"/>
                    </a:lnTo>
                    <a:lnTo>
                      <a:pt x="515" y="37"/>
                    </a:lnTo>
                    <a:lnTo>
                      <a:pt x="515" y="36"/>
                    </a:lnTo>
                    <a:lnTo>
                      <a:pt x="517" y="36"/>
                    </a:lnTo>
                    <a:lnTo>
                      <a:pt x="518" y="36"/>
                    </a:lnTo>
                    <a:lnTo>
                      <a:pt x="518" y="34"/>
                    </a:lnTo>
                    <a:lnTo>
                      <a:pt x="520" y="34"/>
                    </a:lnTo>
                    <a:lnTo>
                      <a:pt x="520" y="36"/>
                    </a:lnTo>
                    <a:lnTo>
                      <a:pt x="522" y="36"/>
                    </a:lnTo>
                    <a:lnTo>
                      <a:pt x="523" y="36"/>
                    </a:lnTo>
                    <a:lnTo>
                      <a:pt x="525" y="36"/>
                    </a:lnTo>
                    <a:lnTo>
                      <a:pt x="525" y="37"/>
                    </a:lnTo>
                    <a:lnTo>
                      <a:pt x="527" y="37"/>
                    </a:lnTo>
                    <a:lnTo>
                      <a:pt x="527" y="39"/>
                    </a:lnTo>
                    <a:lnTo>
                      <a:pt x="528" y="39"/>
                    </a:lnTo>
                    <a:lnTo>
                      <a:pt x="528" y="41"/>
                    </a:lnTo>
                    <a:lnTo>
                      <a:pt x="530" y="41"/>
                    </a:lnTo>
                    <a:lnTo>
                      <a:pt x="530" y="43"/>
                    </a:lnTo>
                    <a:lnTo>
                      <a:pt x="532" y="43"/>
                    </a:lnTo>
                    <a:lnTo>
                      <a:pt x="532" y="44"/>
                    </a:lnTo>
                    <a:lnTo>
                      <a:pt x="534" y="44"/>
                    </a:lnTo>
                    <a:lnTo>
                      <a:pt x="534" y="46"/>
                    </a:lnTo>
                    <a:lnTo>
                      <a:pt x="535" y="46"/>
                    </a:lnTo>
                    <a:lnTo>
                      <a:pt x="535" y="48"/>
                    </a:lnTo>
                    <a:lnTo>
                      <a:pt x="537" y="48"/>
                    </a:lnTo>
                    <a:lnTo>
                      <a:pt x="539" y="48"/>
                    </a:lnTo>
                    <a:lnTo>
                      <a:pt x="540" y="48"/>
                    </a:lnTo>
                    <a:lnTo>
                      <a:pt x="542" y="48"/>
                    </a:lnTo>
                    <a:lnTo>
                      <a:pt x="542" y="49"/>
                    </a:lnTo>
                    <a:lnTo>
                      <a:pt x="544" y="49"/>
                    </a:lnTo>
                    <a:lnTo>
                      <a:pt x="545" y="49"/>
                    </a:lnTo>
                    <a:lnTo>
                      <a:pt x="545" y="51"/>
                    </a:lnTo>
                    <a:lnTo>
                      <a:pt x="547" y="51"/>
                    </a:lnTo>
                    <a:lnTo>
                      <a:pt x="549" y="51"/>
                    </a:lnTo>
                    <a:lnTo>
                      <a:pt x="549" y="53"/>
                    </a:lnTo>
                    <a:lnTo>
                      <a:pt x="551" y="53"/>
                    </a:lnTo>
                    <a:lnTo>
                      <a:pt x="552" y="53"/>
                    </a:lnTo>
                    <a:lnTo>
                      <a:pt x="554" y="53"/>
                    </a:lnTo>
                    <a:close/>
                    <a:moveTo>
                      <a:pt x="12" y="44"/>
                    </a:moveTo>
                    <a:lnTo>
                      <a:pt x="12" y="46"/>
                    </a:lnTo>
                    <a:lnTo>
                      <a:pt x="13" y="46"/>
                    </a:lnTo>
                    <a:lnTo>
                      <a:pt x="13" y="48"/>
                    </a:lnTo>
                    <a:lnTo>
                      <a:pt x="15" y="49"/>
                    </a:lnTo>
                    <a:lnTo>
                      <a:pt x="17" y="51"/>
                    </a:lnTo>
                    <a:lnTo>
                      <a:pt x="15" y="51"/>
                    </a:lnTo>
                    <a:lnTo>
                      <a:pt x="17" y="51"/>
                    </a:lnTo>
                    <a:lnTo>
                      <a:pt x="17" y="53"/>
                    </a:lnTo>
                    <a:lnTo>
                      <a:pt x="17" y="54"/>
                    </a:lnTo>
                    <a:lnTo>
                      <a:pt x="17" y="56"/>
                    </a:lnTo>
                    <a:lnTo>
                      <a:pt x="17" y="58"/>
                    </a:lnTo>
                    <a:lnTo>
                      <a:pt x="19" y="58"/>
                    </a:lnTo>
                    <a:lnTo>
                      <a:pt x="19" y="60"/>
                    </a:lnTo>
                    <a:lnTo>
                      <a:pt x="20" y="60"/>
                    </a:lnTo>
                    <a:lnTo>
                      <a:pt x="20" y="61"/>
                    </a:lnTo>
                    <a:lnTo>
                      <a:pt x="22" y="61"/>
                    </a:lnTo>
                    <a:lnTo>
                      <a:pt x="24" y="63"/>
                    </a:lnTo>
                    <a:lnTo>
                      <a:pt x="24" y="65"/>
                    </a:lnTo>
                    <a:lnTo>
                      <a:pt x="25" y="65"/>
                    </a:lnTo>
                    <a:lnTo>
                      <a:pt x="24" y="66"/>
                    </a:lnTo>
                    <a:lnTo>
                      <a:pt x="24" y="68"/>
                    </a:lnTo>
                    <a:lnTo>
                      <a:pt x="24" y="70"/>
                    </a:lnTo>
                    <a:lnTo>
                      <a:pt x="25" y="70"/>
                    </a:lnTo>
                    <a:lnTo>
                      <a:pt x="27" y="70"/>
                    </a:lnTo>
                    <a:lnTo>
                      <a:pt x="27" y="71"/>
                    </a:lnTo>
                    <a:lnTo>
                      <a:pt x="29" y="71"/>
                    </a:lnTo>
                    <a:lnTo>
                      <a:pt x="27" y="73"/>
                    </a:lnTo>
                    <a:lnTo>
                      <a:pt x="29" y="73"/>
                    </a:lnTo>
                    <a:lnTo>
                      <a:pt x="30" y="73"/>
                    </a:lnTo>
                    <a:lnTo>
                      <a:pt x="30" y="75"/>
                    </a:lnTo>
                    <a:lnTo>
                      <a:pt x="29" y="75"/>
                    </a:lnTo>
                    <a:lnTo>
                      <a:pt x="29" y="77"/>
                    </a:lnTo>
                    <a:lnTo>
                      <a:pt x="29" y="78"/>
                    </a:lnTo>
                    <a:lnTo>
                      <a:pt x="27" y="78"/>
                    </a:lnTo>
                    <a:lnTo>
                      <a:pt x="27" y="80"/>
                    </a:lnTo>
                    <a:lnTo>
                      <a:pt x="25" y="80"/>
                    </a:lnTo>
                    <a:lnTo>
                      <a:pt x="25" y="82"/>
                    </a:lnTo>
                    <a:lnTo>
                      <a:pt x="24" y="82"/>
                    </a:lnTo>
                    <a:lnTo>
                      <a:pt x="22" y="82"/>
                    </a:lnTo>
                    <a:lnTo>
                      <a:pt x="20" y="83"/>
                    </a:lnTo>
                    <a:lnTo>
                      <a:pt x="19" y="83"/>
                    </a:lnTo>
                    <a:lnTo>
                      <a:pt x="17" y="83"/>
                    </a:lnTo>
                    <a:lnTo>
                      <a:pt x="17" y="85"/>
                    </a:lnTo>
                    <a:lnTo>
                      <a:pt x="17" y="83"/>
                    </a:lnTo>
                    <a:lnTo>
                      <a:pt x="17" y="85"/>
                    </a:lnTo>
                    <a:lnTo>
                      <a:pt x="15" y="85"/>
                    </a:lnTo>
                    <a:lnTo>
                      <a:pt x="15" y="83"/>
                    </a:lnTo>
                    <a:lnTo>
                      <a:pt x="13" y="83"/>
                    </a:lnTo>
                    <a:lnTo>
                      <a:pt x="12" y="83"/>
                    </a:lnTo>
                    <a:lnTo>
                      <a:pt x="10" y="83"/>
                    </a:lnTo>
                    <a:lnTo>
                      <a:pt x="8" y="83"/>
                    </a:lnTo>
                    <a:lnTo>
                      <a:pt x="8" y="82"/>
                    </a:lnTo>
                    <a:lnTo>
                      <a:pt x="7" y="82"/>
                    </a:lnTo>
                    <a:lnTo>
                      <a:pt x="7" y="80"/>
                    </a:lnTo>
                    <a:lnTo>
                      <a:pt x="5" y="80"/>
                    </a:lnTo>
                    <a:lnTo>
                      <a:pt x="5" y="78"/>
                    </a:lnTo>
                    <a:lnTo>
                      <a:pt x="7" y="77"/>
                    </a:lnTo>
                    <a:lnTo>
                      <a:pt x="8" y="77"/>
                    </a:lnTo>
                    <a:lnTo>
                      <a:pt x="8" y="75"/>
                    </a:lnTo>
                    <a:lnTo>
                      <a:pt x="10" y="75"/>
                    </a:lnTo>
                    <a:lnTo>
                      <a:pt x="10" y="73"/>
                    </a:lnTo>
                    <a:lnTo>
                      <a:pt x="12" y="73"/>
                    </a:lnTo>
                    <a:lnTo>
                      <a:pt x="12" y="71"/>
                    </a:lnTo>
                    <a:lnTo>
                      <a:pt x="12" y="73"/>
                    </a:lnTo>
                    <a:lnTo>
                      <a:pt x="13" y="71"/>
                    </a:lnTo>
                    <a:lnTo>
                      <a:pt x="15" y="71"/>
                    </a:lnTo>
                    <a:lnTo>
                      <a:pt x="17" y="71"/>
                    </a:lnTo>
                    <a:lnTo>
                      <a:pt x="19" y="71"/>
                    </a:lnTo>
                    <a:lnTo>
                      <a:pt x="19" y="70"/>
                    </a:lnTo>
                    <a:lnTo>
                      <a:pt x="20" y="70"/>
                    </a:lnTo>
                    <a:lnTo>
                      <a:pt x="19" y="68"/>
                    </a:lnTo>
                    <a:lnTo>
                      <a:pt x="17" y="66"/>
                    </a:lnTo>
                    <a:lnTo>
                      <a:pt x="15" y="66"/>
                    </a:lnTo>
                    <a:lnTo>
                      <a:pt x="15" y="65"/>
                    </a:lnTo>
                    <a:lnTo>
                      <a:pt x="15" y="63"/>
                    </a:lnTo>
                    <a:lnTo>
                      <a:pt x="13" y="61"/>
                    </a:lnTo>
                    <a:lnTo>
                      <a:pt x="12" y="61"/>
                    </a:lnTo>
                    <a:lnTo>
                      <a:pt x="12" y="60"/>
                    </a:lnTo>
                    <a:lnTo>
                      <a:pt x="10" y="60"/>
                    </a:lnTo>
                    <a:lnTo>
                      <a:pt x="10" y="58"/>
                    </a:lnTo>
                    <a:lnTo>
                      <a:pt x="8" y="56"/>
                    </a:lnTo>
                    <a:lnTo>
                      <a:pt x="10" y="56"/>
                    </a:lnTo>
                    <a:lnTo>
                      <a:pt x="10" y="54"/>
                    </a:lnTo>
                    <a:lnTo>
                      <a:pt x="8" y="54"/>
                    </a:lnTo>
                    <a:lnTo>
                      <a:pt x="8" y="53"/>
                    </a:lnTo>
                    <a:lnTo>
                      <a:pt x="8" y="51"/>
                    </a:lnTo>
                    <a:lnTo>
                      <a:pt x="8" y="49"/>
                    </a:lnTo>
                    <a:lnTo>
                      <a:pt x="7" y="49"/>
                    </a:lnTo>
                    <a:lnTo>
                      <a:pt x="5" y="49"/>
                    </a:lnTo>
                    <a:lnTo>
                      <a:pt x="5" y="51"/>
                    </a:lnTo>
                    <a:lnTo>
                      <a:pt x="3" y="51"/>
                    </a:lnTo>
                    <a:lnTo>
                      <a:pt x="3" y="49"/>
                    </a:lnTo>
                    <a:lnTo>
                      <a:pt x="3" y="48"/>
                    </a:lnTo>
                    <a:lnTo>
                      <a:pt x="5" y="48"/>
                    </a:lnTo>
                    <a:lnTo>
                      <a:pt x="5" y="46"/>
                    </a:lnTo>
                    <a:lnTo>
                      <a:pt x="7" y="46"/>
                    </a:lnTo>
                    <a:lnTo>
                      <a:pt x="8" y="46"/>
                    </a:lnTo>
                    <a:lnTo>
                      <a:pt x="8" y="44"/>
                    </a:lnTo>
                    <a:lnTo>
                      <a:pt x="10" y="44"/>
                    </a:lnTo>
                    <a:lnTo>
                      <a:pt x="12" y="44"/>
                    </a:lnTo>
                    <a:close/>
                    <a:moveTo>
                      <a:pt x="47" y="66"/>
                    </a:moveTo>
                    <a:lnTo>
                      <a:pt x="49" y="66"/>
                    </a:lnTo>
                    <a:lnTo>
                      <a:pt x="49" y="68"/>
                    </a:lnTo>
                    <a:lnTo>
                      <a:pt x="51" y="68"/>
                    </a:lnTo>
                    <a:lnTo>
                      <a:pt x="51" y="70"/>
                    </a:lnTo>
                    <a:lnTo>
                      <a:pt x="49" y="71"/>
                    </a:lnTo>
                    <a:lnTo>
                      <a:pt x="51" y="71"/>
                    </a:lnTo>
                    <a:lnTo>
                      <a:pt x="49" y="71"/>
                    </a:lnTo>
                    <a:lnTo>
                      <a:pt x="49" y="73"/>
                    </a:lnTo>
                    <a:lnTo>
                      <a:pt x="47" y="75"/>
                    </a:lnTo>
                    <a:lnTo>
                      <a:pt x="46" y="73"/>
                    </a:lnTo>
                    <a:lnTo>
                      <a:pt x="46" y="75"/>
                    </a:lnTo>
                    <a:lnTo>
                      <a:pt x="44" y="75"/>
                    </a:lnTo>
                    <a:lnTo>
                      <a:pt x="42" y="75"/>
                    </a:lnTo>
                    <a:lnTo>
                      <a:pt x="41" y="75"/>
                    </a:lnTo>
                    <a:lnTo>
                      <a:pt x="41" y="73"/>
                    </a:lnTo>
                    <a:lnTo>
                      <a:pt x="39" y="73"/>
                    </a:lnTo>
                    <a:lnTo>
                      <a:pt x="39" y="71"/>
                    </a:lnTo>
                    <a:lnTo>
                      <a:pt x="37" y="71"/>
                    </a:lnTo>
                    <a:lnTo>
                      <a:pt x="39" y="71"/>
                    </a:lnTo>
                    <a:lnTo>
                      <a:pt x="37" y="71"/>
                    </a:lnTo>
                    <a:lnTo>
                      <a:pt x="37" y="70"/>
                    </a:lnTo>
                    <a:lnTo>
                      <a:pt x="39" y="70"/>
                    </a:lnTo>
                    <a:lnTo>
                      <a:pt x="37" y="70"/>
                    </a:lnTo>
                    <a:lnTo>
                      <a:pt x="39" y="68"/>
                    </a:lnTo>
                    <a:lnTo>
                      <a:pt x="39" y="66"/>
                    </a:lnTo>
                    <a:lnTo>
                      <a:pt x="41" y="66"/>
                    </a:lnTo>
                    <a:lnTo>
                      <a:pt x="42" y="66"/>
                    </a:lnTo>
                    <a:lnTo>
                      <a:pt x="44" y="66"/>
                    </a:lnTo>
                    <a:lnTo>
                      <a:pt x="46" y="65"/>
                    </a:lnTo>
                    <a:lnTo>
                      <a:pt x="46" y="66"/>
                    </a:lnTo>
                    <a:lnTo>
                      <a:pt x="46" y="65"/>
                    </a:lnTo>
                    <a:lnTo>
                      <a:pt x="46" y="66"/>
                    </a:lnTo>
                    <a:lnTo>
                      <a:pt x="47" y="65"/>
                    </a:lnTo>
                    <a:lnTo>
                      <a:pt x="47" y="66"/>
                    </a:lnTo>
                    <a:close/>
                    <a:moveTo>
                      <a:pt x="392" y="139"/>
                    </a:moveTo>
                    <a:lnTo>
                      <a:pt x="394" y="139"/>
                    </a:lnTo>
                    <a:lnTo>
                      <a:pt x="394" y="141"/>
                    </a:lnTo>
                    <a:lnTo>
                      <a:pt x="396" y="141"/>
                    </a:lnTo>
                    <a:lnTo>
                      <a:pt x="398" y="141"/>
                    </a:lnTo>
                    <a:lnTo>
                      <a:pt x="398" y="143"/>
                    </a:lnTo>
                    <a:lnTo>
                      <a:pt x="396" y="143"/>
                    </a:lnTo>
                    <a:lnTo>
                      <a:pt x="394" y="143"/>
                    </a:lnTo>
                    <a:lnTo>
                      <a:pt x="394" y="145"/>
                    </a:lnTo>
                    <a:lnTo>
                      <a:pt x="392" y="145"/>
                    </a:lnTo>
                    <a:lnTo>
                      <a:pt x="392" y="146"/>
                    </a:lnTo>
                    <a:lnTo>
                      <a:pt x="392" y="145"/>
                    </a:lnTo>
                    <a:lnTo>
                      <a:pt x="391" y="145"/>
                    </a:lnTo>
                    <a:lnTo>
                      <a:pt x="389" y="145"/>
                    </a:lnTo>
                    <a:lnTo>
                      <a:pt x="389" y="146"/>
                    </a:lnTo>
                    <a:lnTo>
                      <a:pt x="389" y="148"/>
                    </a:lnTo>
                    <a:lnTo>
                      <a:pt x="391" y="148"/>
                    </a:lnTo>
                    <a:lnTo>
                      <a:pt x="391" y="150"/>
                    </a:lnTo>
                    <a:lnTo>
                      <a:pt x="389" y="150"/>
                    </a:lnTo>
                    <a:lnTo>
                      <a:pt x="389" y="151"/>
                    </a:lnTo>
                    <a:lnTo>
                      <a:pt x="387" y="151"/>
                    </a:lnTo>
                    <a:lnTo>
                      <a:pt x="386" y="151"/>
                    </a:lnTo>
                    <a:lnTo>
                      <a:pt x="384" y="150"/>
                    </a:lnTo>
                    <a:lnTo>
                      <a:pt x="386" y="148"/>
                    </a:lnTo>
                    <a:lnTo>
                      <a:pt x="386" y="146"/>
                    </a:lnTo>
                    <a:lnTo>
                      <a:pt x="386" y="145"/>
                    </a:lnTo>
                    <a:lnTo>
                      <a:pt x="386" y="143"/>
                    </a:lnTo>
                    <a:lnTo>
                      <a:pt x="386" y="141"/>
                    </a:lnTo>
                    <a:lnTo>
                      <a:pt x="387" y="141"/>
                    </a:lnTo>
                    <a:lnTo>
                      <a:pt x="389" y="141"/>
                    </a:lnTo>
                    <a:lnTo>
                      <a:pt x="389" y="139"/>
                    </a:lnTo>
                    <a:lnTo>
                      <a:pt x="391" y="139"/>
                    </a:lnTo>
                    <a:lnTo>
                      <a:pt x="392" y="139"/>
                    </a:lnTo>
                    <a:close/>
                    <a:moveTo>
                      <a:pt x="7" y="58"/>
                    </a:moveTo>
                    <a:lnTo>
                      <a:pt x="8" y="58"/>
                    </a:lnTo>
                    <a:lnTo>
                      <a:pt x="8" y="60"/>
                    </a:lnTo>
                    <a:lnTo>
                      <a:pt x="10" y="60"/>
                    </a:lnTo>
                    <a:lnTo>
                      <a:pt x="10" y="61"/>
                    </a:lnTo>
                    <a:lnTo>
                      <a:pt x="10" y="63"/>
                    </a:lnTo>
                    <a:lnTo>
                      <a:pt x="10" y="65"/>
                    </a:lnTo>
                    <a:lnTo>
                      <a:pt x="8" y="65"/>
                    </a:lnTo>
                    <a:lnTo>
                      <a:pt x="8" y="66"/>
                    </a:lnTo>
                    <a:lnTo>
                      <a:pt x="7" y="66"/>
                    </a:lnTo>
                    <a:lnTo>
                      <a:pt x="5" y="66"/>
                    </a:lnTo>
                    <a:lnTo>
                      <a:pt x="3" y="65"/>
                    </a:lnTo>
                    <a:lnTo>
                      <a:pt x="2" y="65"/>
                    </a:lnTo>
                    <a:lnTo>
                      <a:pt x="2" y="63"/>
                    </a:lnTo>
                    <a:lnTo>
                      <a:pt x="0" y="63"/>
                    </a:lnTo>
                    <a:lnTo>
                      <a:pt x="0" y="61"/>
                    </a:lnTo>
                    <a:lnTo>
                      <a:pt x="0" y="60"/>
                    </a:lnTo>
                    <a:lnTo>
                      <a:pt x="2" y="60"/>
                    </a:lnTo>
                    <a:lnTo>
                      <a:pt x="3" y="60"/>
                    </a:lnTo>
                    <a:lnTo>
                      <a:pt x="5" y="58"/>
                    </a:lnTo>
                    <a:lnTo>
                      <a:pt x="7" y="58"/>
                    </a:lnTo>
                    <a:close/>
                    <a:moveTo>
                      <a:pt x="30" y="54"/>
                    </a:moveTo>
                    <a:lnTo>
                      <a:pt x="32" y="54"/>
                    </a:lnTo>
                    <a:lnTo>
                      <a:pt x="34" y="56"/>
                    </a:lnTo>
                    <a:lnTo>
                      <a:pt x="36" y="56"/>
                    </a:lnTo>
                    <a:lnTo>
                      <a:pt x="37" y="56"/>
                    </a:lnTo>
                    <a:lnTo>
                      <a:pt x="37" y="58"/>
                    </a:lnTo>
                    <a:lnTo>
                      <a:pt x="37" y="60"/>
                    </a:lnTo>
                    <a:lnTo>
                      <a:pt x="37" y="61"/>
                    </a:lnTo>
                    <a:lnTo>
                      <a:pt x="36" y="61"/>
                    </a:lnTo>
                    <a:lnTo>
                      <a:pt x="34" y="61"/>
                    </a:lnTo>
                    <a:lnTo>
                      <a:pt x="32" y="61"/>
                    </a:lnTo>
                    <a:lnTo>
                      <a:pt x="30" y="61"/>
                    </a:lnTo>
                    <a:lnTo>
                      <a:pt x="30" y="60"/>
                    </a:lnTo>
                    <a:lnTo>
                      <a:pt x="29" y="60"/>
                    </a:lnTo>
                    <a:lnTo>
                      <a:pt x="27" y="58"/>
                    </a:lnTo>
                    <a:lnTo>
                      <a:pt x="27" y="56"/>
                    </a:lnTo>
                    <a:lnTo>
                      <a:pt x="29" y="56"/>
                    </a:lnTo>
                    <a:lnTo>
                      <a:pt x="29" y="54"/>
                    </a:lnTo>
                    <a:lnTo>
                      <a:pt x="30" y="54"/>
                    </a:lnTo>
                    <a:close/>
                    <a:moveTo>
                      <a:pt x="78" y="71"/>
                    </a:moveTo>
                    <a:lnTo>
                      <a:pt x="80" y="71"/>
                    </a:lnTo>
                    <a:lnTo>
                      <a:pt x="80" y="73"/>
                    </a:lnTo>
                    <a:lnTo>
                      <a:pt x="81" y="73"/>
                    </a:lnTo>
                    <a:lnTo>
                      <a:pt x="81" y="71"/>
                    </a:lnTo>
                    <a:lnTo>
                      <a:pt x="81" y="73"/>
                    </a:lnTo>
                    <a:lnTo>
                      <a:pt x="81" y="75"/>
                    </a:lnTo>
                    <a:lnTo>
                      <a:pt x="80" y="75"/>
                    </a:lnTo>
                    <a:lnTo>
                      <a:pt x="80" y="77"/>
                    </a:lnTo>
                    <a:lnTo>
                      <a:pt x="78" y="77"/>
                    </a:lnTo>
                    <a:lnTo>
                      <a:pt x="78" y="78"/>
                    </a:lnTo>
                    <a:lnTo>
                      <a:pt x="76" y="80"/>
                    </a:lnTo>
                    <a:lnTo>
                      <a:pt x="75" y="80"/>
                    </a:lnTo>
                    <a:lnTo>
                      <a:pt x="73" y="80"/>
                    </a:lnTo>
                    <a:lnTo>
                      <a:pt x="73" y="82"/>
                    </a:lnTo>
                    <a:lnTo>
                      <a:pt x="71" y="82"/>
                    </a:lnTo>
                    <a:lnTo>
                      <a:pt x="70" y="80"/>
                    </a:lnTo>
                    <a:lnTo>
                      <a:pt x="70" y="78"/>
                    </a:lnTo>
                    <a:lnTo>
                      <a:pt x="71" y="78"/>
                    </a:lnTo>
                    <a:lnTo>
                      <a:pt x="71" y="77"/>
                    </a:lnTo>
                    <a:lnTo>
                      <a:pt x="73" y="77"/>
                    </a:lnTo>
                    <a:lnTo>
                      <a:pt x="75" y="77"/>
                    </a:lnTo>
                    <a:lnTo>
                      <a:pt x="75" y="75"/>
                    </a:lnTo>
                    <a:lnTo>
                      <a:pt x="75" y="73"/>
                    </a:lnTo>
                    <a:lnTo>
                      <a:pt x="76" y="73"/>
                    </a:lnTo>
                    <a:lnTo>
                      <a:pt x="78" y="73"/>
                    </a:lnTo>
                    <a:lnTo>
                      <a:pt x="78" y="71"/>
                    </a:lnTo>
                    <a:close/>
                    <a:moveTo>
                      <a:pt x="42" y="90"/>
                    </a:moveTo>
                    <a:lnTo>
                      <a:pt x="44" y="92"/>
                    </a:lnTo>
                    <a:lnTo>
                      <a:pt x="44" y="94"/>
                    </a:lnTo>
                    <a:lnTo>
                      <a:pt x="42" y="94"/>
                    </a:lnTo>
                    <a:lnTo>
                      <a:pt x="42" y="95"/>
                    </a:lnTo>
                    <a:lnTo>
                      <a:pt x="41" y="95"/>
                    </a:lnTo>
                    <a:lnTo>
                      <a:pt x="41" y="94"/>
                    </a:lnTo>
                    <a:lnTo>
                      <a:pt x="39" y="94"/>
                    </a:lnTo>
                    <a:lnTo>
                      <a:pt x="39" y="92"/>
                    </a:lnTo>
                    <a:lnTo>
                      <a:pt x="41" y="92"/>
                    </a:lnTo>
                    <a:lnTo>
                      <a:pt x="41" y="90"/>
                    </a:lnTo>
                    <a:lnTo>
                      <a:pt x="42" y="90"/>
                    </a:lnTo>
                    <a:close/>
                    <a:moveTo>
                      <a:pt x="41" y="36"/>
                    </a:moveTo>
                    <a:lnTo>
                      <a:pt x="42" y="37"/>
                    </a:lnTo>
                    <a:lnTo>
                      <a:pt x="42" y="39"/>
                    </a:lnTo>
                    <a:lnTo>
                      <a:pt x="41" y="39"/>
                    </a:lnTo>
                    <a:lnTo>
                      <a:pt x="39" y="39"/>
                    </a:lnTo>
                    <a:lnTo>
                      <a:pt x="39" y="37"/>
                    </a:lnTo>
                    <a:lnTo>
                      <a:pt x="37" y="37"/>
                    </a:lnTo>
                    <a:lnTo>
                      <a:pt x="39" y="36"/>
                    </a:lnTo>
                    <a:lnTo>
                      <a:pt x="41" y="36"/>
                    </a:lnTo>
                    <a:close/>
                    <a:moveTo>
                      <a:pt x="399" y="138"/>
                    </a:moveTo>
                    <a:lnTo>
                      <a:pt x="399" y="139"/>
                    </a:lnTo>
                    <a:lnTo>
                      <a:pt x="398" y="139"/>
                    </a:lnTo>
                    <a:lnTo>
                      <a:pt x="398" y="138"/>
                    </a:lnTo>
                    <a:lnTo>
                      <a:pt x="398" y="136"/>
                    </a:lnTo>
                    <a:lnTo>
                      <a:pt x="398" y="134"/>
                    </a:lnTo>
                    <a:lnTo>
                      <a:pt x="399" y="133"/>
                    </a:lnTo>
                    <a:lnTo>
                      <a:pt x="399" y="134"/>
                    </a:lnTo>
                    <a:lnTo>
                      <a:pt x="399" y="136"/>
                    </a:lnTo>
                    <a:lnTo>
                      <a:pt x="399" y="138"/>
                    </a:lnTo>
                    <a:close/>
                    <a:moveTo>
                      <a:pt x="432" y="3"/>
                    </a:moveTo>
                    <a:lnTo>
                      <a:pt x="432" y="5"/>
                    </a:lnTo>
                    <a:lnTo>
                      <a:pt x="432" y="7"/>
                    </a:lnTo>
                    <a:lnTo>
                      <a:pt x="430" y="7"/>
                    </a:lnTo>
                    <a:lnTo>
                      <a:pt x="428" y="7"/>
                    </a:lnTo>
                    <a:lnTo>
                      <a:pt x="430" y="5"/>
                    </a:lnTo>
                    <a:lnTo>
                      <a:pt x="428" y="5"/>
                    </a:lnTo>
                    <a:lnTo>
                      <a:pt x="428" y="3"/>
                    </a:lnTo>
                    <a:lnTo>
                      <a:pt x="430" y="3"/>
                    </a:lnTo>
                    <a:lnTo>
                      <a:pt x="430" y="2"/>
                    </a:lnTo>
                    <a:lnTo>
                      <a:pt x="432" y="2"/>
                    </a:lnTo>
                    <a:lnTo>
                      <a:pt x="432" y="3"/>
                    </a:lnTo>
                    <a:close/>
                    <a:moveTo>
                      <a:pt x="394" y="134"/>
                    </a:moveTo>
                    <a:lnTo>
                      <a:pt x="396" y="134"/>
                    </a:lnTo>
                    <a:lnTo>
                      <a:pt x="396" y="136"/>
                    </a:lnTo>
                    <a:lnTo>
                      <a:pt x="394" y="136"/>
                    </a:lnTo>
                    <a:lnTo>
                      <a:pt x="392" y="136"/>
                    </a:lnTo>
                    <a:lnTo>
                      <a:pt x="391" y="136"/>
                    </a:lnTo>
                    <a:lnTo>
                      <a:pt x="392" y="136"/>
                    </a:lnTo>
                    <a:lnTo>
                      <a:pt x="392" y="134"/>
                    </a:lnTo>
                    <a:lnTo>
                      <a:pt x="392" y="133"/>
                    </a:lnTo>
                    <a:lnTo>
                      <a:pt x="394" y="133"/>
                    </a:lnTo>
                    <a:lnTo>
                      <a:pt x="394" y="134"/>
                    </a:lnTo>
                    <a:close/>
                    <a:moveTo>
                      <a:pt x="391" y="162"/>
                    </a:moveTo>
                    <a:lnTo>
                      <a:pt x="391" y="163"/>
                    </a:lnTo>
                    <a:lnTo>
                      <a:pt x="391" y="165"/>
                    </a:lnTo>
                    <a:lnTo>
                      <a:pt x="391" y="163"/>
                    </a:lnTo>
                    <a:lnTo>
                      <a:pt x="389" y="163"/>
                    </a:lnTo>
                    <a:lnTo>
                      <a:pt x="389" y="165"/>
                    </a:lnTo>
                    <a:lnTo>
                      <a:pt x="387" y="163"/>
                    </a:lnTo>
                    <a:lnTo>
                      <a:pt x="386" y="162"/>
                    </a:lnTo>
                    <a:lnTo>
                      <a:pt x="387" y="162"/>
                    </a:lnTo>
                    <a:lnTo>
                      <a:pt x="387" y="163"/>
                    </a:lnTo>
                    <a:lnTo>
                      <a:pt x="389" y="163"/>
                    </a:lnTo>
                    <a:lnTo>
                      <a:pt x="389" y="162"/>
                    </a:lnTo>
                    <a:lnTo>
                      <a:pt x="391" y="162"/>
                    </a:lnTo>
                    <a:close/>
                    <a:moveTo>
                      <a:pt x="403" y="138"/>
                    </a:moveTo>
                    <a:lnTo>
                      <a:pt x="401" y="138"/>
                    </a:lnTo>
                    <a:lnTo>
                      <a:pt x="401" y="136"/>
                    </a:lnTo>
                    <a:lnTo>
                      <a:pt x="401" y="134"/>
                    </a:lnTo>
                    <a:lnTo>
                      <a:pt x="403" y="134"/>
                    </a:lnTo>
                    <a:lnTo>
                      <a:pt x="403" y="136"/>
                    </a:lnTo>
                    <a:lnTo>
                      <a:pt x="403" y="138"/>
                    </a:lnTo>
                    <a:close/>
                    <a:moveTo>
                      <a:pt x="428" y="7"/>
                    </a:moveTo>
                    <a:lnTo>
                      <a:pt x="428" y="8"/>
                    </a:lnTo>
                    <a:lnTo>
                      <a:pt x="430" y="8"/>
                    </a:lnTo>
                    <a:lnTo>
                      <a:pt x="428" y="8"/>
                    </a:lnTo>
                    <a:lnTo>
                      <a:pt x="430" y="8"/>
                    </a:lnTo>
                    <a:lnTo>
                      <a:pt x="430" y="10"/>
                    </a:lnTo>
                    <a:lnTo>
                      <a:pt x="428" y="10"/>
                    </a:lnTo>
                    <a:lnTo>
                      <a:pt x="430" y="10"/>
                    </a:lnTo>
                    <a:lnTo>
                      <a:pt x="428" y="10"/>
                    </a:lnTo>
                    <a:lnTo>
                      <a:pt x="428" y="8"/>
                    </a:lnTo>
                    <a:lnTo>
                      <a:pt x="426" y="8"/>
                    </a:lnTo>
                    <a:lnTo>
                      <a:pt x="426" y="7"/>
                    </a:lnTo>
                    <a:lnTo>
                      <a:pt x="428" y="5"/>
                    </a:lnTo>
                    <a:lnTo>
                      <a:pt x="428" y="7"/>
                    </a:lnTo>
                    <a:close/>
                    <a:moveTo>
                      <a:pt x="392" y="160"/>
                    </a:moveTo>
                    <a:lnTo>
                      <a:pt x="392" y="162"/>
                    </a:lnTo>
                    <a:lnTo>
                      <a:pt x="392" y="163"/>
                    </a:lnTo>
                    <a:lnTo>
                      <a:pt x="391" y="163"/>
                    </a:lnTo>
                    <a:lnTo>
                      <a:pt x="391" y="162"/>
                    </a:lnTo>
                    <a:lnTo>
                      <a:pt x="391" y="160"/>
                    </a:lnTo>
                    <a:lnTo>
                      <a:pt x="392" y="160"/>
                    </a:lnTo>
                    <a:close/>
                    <a:moveTo>
                      <a:pt x="66" y="95"/>
                    </a:moveTo>
                    <a:lnTo>
                      <a:pt x="68" y="94"/>
                    </a:lnTo>
                    <a:lnTo>
                      <a:pt x="68" y="95"/>
                    </a:lnTo>
                    <a:lnTo>
                      <a:pt x="70" y="95"/>
                    </a:lnTo>
                    <a:lnTo>
                      <a:pt x="70" y="97"/>
                    </a:lnTo>
                    <a:lnTo>
                      <a:pt x="68" y="97"/>
                    </a:lnTo>
                    <a:lnTo>
                      <a:pt x="66" y="95"/>
                    </a:lnTo>
                    <a:lnTo>
                      <a:pt x="64" y="95"/>
                    </a:lnTo>
                    <a:lnTo>
                      <a:pt x="66" y="95"/>
                    </a:lnTo>
                    <a:lnTo>
                      <a:pt x="66" y="94"/>
                    </a:lnTo>
                    <a:lnTo>
                      <a:pt x="66" y="95"/>
                    </a:lnTo>
                    <a:close/>
                    <a:moveTo>
                      <a:pt x="30" y="27"/>
                    </a:moveTo>
                    <a:lnTo>
                      <a:pt x="32" y="29"/>
                    </a:lnTo>
                    <a:lnTo>
                      <a:pt x="32" y="31"/>
                    </a:lnTo>
                    <a:lnTo>
                      <a:pt x="30" y="31"/>
                    </a:lnTo>
                    <a:lnTo>
                      <a:pt x="30" y="29"/>
                    </a:lnTo>
                    <a:lnTo>
                      <a:pt x="30" y="27"/>
                    </a:lnTo>
                    <a:close/>
                    <a:moveTo>
                      <a:pt x="394" y="131"/>
                    </a:moveTo>
                    <a:lnTo>
                      <a:pt x="396" y="131"/>
                    </a:lnTo>
                    <a:lnTo>
                      <a:pt x="396" y="133"/>
                    </a:lnTo>
                    <a:lnTo>
                      <a:pt x="396" y="134"/>
                    </a:lnTo>
                    <a:lnTo>
                      <a:pt x="394" y="133"/>
                    </a:lnTo>
                    <a:lnTo>
                      <a:pt x="392" y="133"/>
                    </a:lnTo>
                    <a:lnTo>
                      <a:pt x="392" y="131"/>
                    </a:lnTo>
                    <a:lnTo>
                      <a:pt x="394" y="131"/>
                    </a:lnTo>
                    <a:close/>
                    <a:moveTo>
                      <a:pt x="391" y="145"/>
                    </a:moveTo>
                    <a:lnTo>
                      <a:pt x="392" y="145"/>
                    </a:lnTo>
                    <a:lnTo>
                      <a:pt x="392" y="148"/>
                    </a:lnTo>
                    <a:lnTo>
                      <a:pt x="391" y="148"/>
                    </a:lnTo>
                    <a:lnTo>
                      <a:pt x="391" y="145"/>
                    </a:lnTo>
                    <a:close/>
                    <a:moveTo>
                      <a:pt x="401" y="134"/>
                    </a:moveTo>
                    <a:lnTo>
                      <a:pt x="399" y="134"/>
                    </a:lnTo>
                    <a:lnTo>
                      <a:pt x="399" y="133"/>
                    </a:lnTo>
                    <a:lnTo>
                      <a:pt x="399" y="131"/>
                    </a:lnTo>
                    <a:lnTo>
                      <a:pt x="401" y="131"/>
                    </a:lnTo>
                    <a:lnTo>
                      <a:pt x="401" y="133"/>
                    </a:lnTo>
                    <a:lnTo>
                      <a:pt x="401" y="134"/>
                    </a:lnTo>
                    <a:close/>
                    <a:moveTo>
                      <a:pt x="386" y="162"/>
                    </a:moveTo>
                    <a:lnTo>
                      <a:pt x="386" y="163"/>
                    </a:lnTo>
                    <a:lnTo>
                      <a:pt x="387" y="163"/>
                    </a:lnTo>
                    <a:lnTo>
                      <a:pt x="387" y="165"/>
                    </a:lnTo>
                    <a:lnTo>
                      <a:pt x="386" y="165"/>
                    </a:lnTo>
                    <a:lnTo>
                      <a:pt x="386" y="163"/>
                    </a:lnTo>
                    <a:lnTo>
                      <a:pt x="386" y="162"/>
                    </a:lnTo>
                    <a:close/>
                    <a:moveTo>
                      <a:pt x="394" y="124"/>
                    </a:moveTo>
                    <a:lnTo>
                      <a:pt x="396" y="124"/>
                    </a:lnTo>
                    <a:lnTo>
                      <a:pt x="396" y="128"/>
                    </a:lnTo>
                    <a:lnTo>
                      <a:pt x="394" y="128"/>
                    </a:lnTo>
                    <a:lnTo>
                      <a:pt x="394" y="124"/>
                    </a:lnTo>
                    <a:close/>
                    <a:moveTo>
                      <a:pt x="432" y="0"/>
                    </a:moveTo>
                    <a:lnTo>
                      <a:pt x="433" y="0"/>
                    </a:lnTo>
                    <a:lnTo>
                      <a:pt x="433" y="2"/>
                    </a:lnTo>
                    <a:lnTo>
                      <a:pt x="432" y="2"/>
                    </a:lnTo>
                    <a:lnTo>
                      <a:pt x="432" y="0"/>
                    </a:lnTo>
                    <a:close/>
                    <a:moveTo>
                      <a:pt x="391" y="156"/>
                    </a:moveTo>
                    <a:lnTo>
                      <a:pt x="394" y="156"/>
                    </a:lnTo>
                    <a:lnTo>
                      <a:pt x="394" y="160"/>
                    </a:lnTo>
                    <a:lnTo>
                      <a:pt x="391" y="160"/>
                    </a:lnTo>
                    <a:lnTo>
                      <a:pt x="391" y="156"/>
                    </a:lnTo>
                    <a:close/>
                    <a:moveTo>
                      <a:pt x="46" y="63"/>
                    </a:moveTo>
                    <a:lnTo>
                      <a:pt x="47" y="63"/>
                    </a:lnTo>
                    <a:lnTo>
                      <a:pt x="47" y="65"/>
                    </a:lnTo>
                    <a:lnTo>
                      <a:pt x="46" y="65"/>
                    </a:lnTo>
                    <a:lnTo>
                      <a:pt x="46" y="63"/>
                    </a:lnTo>
                    <a:close/>
                    <a:moveTo>
                      <a:pt x="53" y="77"/>
                    </a:moveTo>
                    <a:lnTo>
                      <a:pt x="56" y="77"/>
                    </a:lnTo>
                    <a:lnTo>
                      <a:pt x="53" y="77"/>
                    </a:lnTo>
                    <a:close/>
                    <a:moveTo>
                      <a:pt x="394" y="138"/>
                    </a:moveTo>
                    <a:lnTo>
                      <a:pt x="396" y="138"/>
                    </a:lnTo>
                    <a:lnTo>
                      <a:pt x="396" y="139"/>
                    </a:lnTo>
                    <a:lnTo>
                      <a:pt x="394" y="139"/>
                    </a:lnTo>
                    <a:lnTo>
                      <a:pt x="394" y="138"/>
                    </a:lnTo>
                    <a:close/>
                    <a:moveTo>
                      <a:pt x="398" y="122"/>
                    </a:moveTo>
                    <a:lnTo>
                      <a:pt x="399" y="122"/>
                    </a:lnTo>
                    <a:lnTo>
                      <a:pt x="399" y="124"/>
                    </a:lnTo>
                    <a:lnTo>
                      <a:pt x="398" y="124"/>
                    </a:lnTo>
                    <a:lnTo>
                      <a:pt x="398" y="122"/>
                    </a:lnTo>
                    <a:close/>
                    <a:moveTo>
                      <a:pt x="384" y="162"/>
                    </a:moveTo>
                    <a:lnTo>
                      <a:pt x="386" y="162"/>
                    </a:lnTo>
                    <a:lnTo>
                      <a:pt x="386" y="165"/>
                    </a:lnTo>
                    <a:lnTo>
                      <a:pt x="384" y="165"/>
                    </a:lnTo>
                    <a:lnTo>
                      <a:pt x="384" y="162"/>
                    </a:lnTo>
                    <a:close/>
                    <a:moveTo>
                      <a:pt x="394" y="131"/>
                    </a:moveTo>
                    <a:lnTo>
                      <a:pt x="396" y="131"/>
                    </a:lnTo>
                    <a:lnTo>
                      <a:pt x="394" y="131"/>
                    </a:lnTo>
                    <a:close/>
                    <a:moveTo>
                      <a:pt x="391" y="129"/>
                    </a:moveTo>
                    <a:lnTo>
                      <a:pt x="392" y="129"/>
                    </a:lnTo>
                    <a:lnTo>
                      <a:pt x="392" y="133"/>
                    </a:lnTo>
                    <a:lnTo>
                      <a:pt x="391" y="133"/>
                    </a:lnTo>
                    <a:lnTo>
                      <a:pt x="391" y="129"/>
                    </a:lnTo>
                    <a:close/>
                    <a:moveTo>
                      <a:pt x="34" y="68"/>
                    </a:moveTo>
                    <a:lnTo>
                      <a:pt x="34" y="70"/>
                    </a:lnTo>
                    <a:lnTo>
                      <a:pt x="34" y="68"/>
                    </a:lnTo>
                    <a:close/>
                    <a:moveTo>
                      <a:pt x="392" y="129"/>
                    </a:moveTo>
                    <a:lnTo>
                      <a:pt x="394" y="129"/>
                    </a:lnTo>
                    <a:lnTo>
                      <a:pt x="394" y="131"/>
                    </a:lnTo>
                    <a:lnTo>
                      <a:pt x="392" y="131"/>
                    </a:lnTo>
                    <a:lnTo>
                      <a:pt x="392" y="129"/>
                    </a:lnTo>
                    <a:close/>
                    <a:moveTo>
                      <a:pt x="396" y="128"/>
                    </a:moveTo>
                    <a:lnTo>
                      <a:pt x="396" y="129"/>
                    </a:lnTo>
                    <a:lnTo>
                      <a:pt x="396" y="128"/>
                    </a:lnTo>
                    <a:close/>
                    <a:moveTo>
                      <a:pt x="387" y="162"/>
                    </a:moveTo>
                    <a:lnTo>
                      <a:pt x="389" y="162"/>
                    </a:lnTo>
                    <a:lnTo>
                      <a:pt x="389" y="163"/>
                    </a:lnTo>
                    <a:lnTo>
                      <a:pt x="387" y="163"/>
                    </a:lnTo>
                    <a:lnTo>
                      <a:pt x="387" y="162"/>
                    </a:lnTo>
                    <a:close/>
                    <a:moveTo>
                      <a:pt x="396" y="131"/>
                    </a:moveTo>
                    <a:lnTo>
                      <a:pt x="398" y="131"/>
                    </a:lnTo>
                    <a:lnTo>
                      <a:pt x="398" y="133"/>
                    </a:lnTo>
                    <a:lnTo>
                      <a:pt x="396" y="133"/>
                    </a:lnTo>
                    <a:lnTo>
                      <a:pt x="396" y="131"/>
                    </a:lnTo>
                    <a:close/>
                    <a:moveTo>
                      <a:pt x="392" y="136"/>
                    </a:moveTo>
                    <a:lnTo>
                      <a:pt x="396" y="136"/>
                    </a:lnTo>
                    <a:lnTo>
                      <a:pt x="396" y="138"/>
                    </a:lnTo>
                    <a:lnTo>
                      <a:pt x="392" y="138"/>
                    </a:lnTo>
                    <a:lnTo>
                      <a:pt x="392" y="136"/>
                    </a:lnTo>
                    <a:close/>
                    <a:moveTo>
                      <a:pt x="58" y="37"/>
                    </a:moveTo>
                    <a:lnTo>
                      <a:pt x="58" y="39"/>
                    </a:lnTo>
                    <a:lnTo>
                      <a:pt x="58" y="37"/>
                    </a:lnTo>
                    <a:close/>
                    <a:moveTo>
                      <a:pt x="394" y="128"/>
                    </a:moveTo>
                    <a:lnTo>
                      <a:pt x="396" y="128"/>
                    </a:lnTo>
                    <a:lnTo>
                      <a:pt x="396" y="129"/>
                    </a:lnTo>
                    <a:lnTo>
                      <a:pt x="394" y="129"/>
                    </a:lnTo>
                    <a:lnTo>
                      <a:pt x="394" y="128"/>
                    </a:lnTo>
                    <a:close/>
                    <a:moveTo>
                      <a:pt x="392" y="36"/>
                    </a:moveTo>
                    <a:lnTo>
                      <a:pt x="394" y="36"/>
                    </a:lnTo>
                    <a:lnTo>
                      <a:pt x="392" y="36"/>
                    </a:lnTo>
                    <a:close/>
                    <a:moveTo>
                      <a:pt x="394" y="41"/>
                    </a:moveTo>
                    <a:lnTo>
                      <a:pt x="396" y="41"/>
                    </a:lnTo>
                    <a:lnTo>
                      <a:pt x="396" y="43"/>
                    </a:lnTo>
                    <a:lnTo>
                      <a:pt x="394" y="43"/>
                    </a:lnTo>
                    <a:lnTo>
                      <a:pt x="394" y="41"/>
                    </a:lnTo>
                    <a:close/>
                    <a:moveTo>
                      <a:pt x="392" y="136"/>
                    </a:moveTo>
                    <a:lnTo>
                      <a:pt x="392" y="138"/>
                    </a:lnTo>
                    <a:lnTo>
                      <a:pt x="392" y="136"/>
                    </a:lnTo>
                    <a:close/>
                    <a:moveTo>
                      <a:pt x="391" y="146"/>
                    </a:moveTo>
                    <a:lnTo>
                      <a:pt x="391" y="148"/>
                    </a:lnTo>
                    <a:lnTo>
                      <a:pt x="391" y="146"/>
                    </a:lnTo>
                    <a:close/>
                    <a:moveTo>
                      <a:pt x="396" y="129"/>
                    </a:moveTo>
                    <a:lnTo>
                      <a:pt x="398" y="129"/>
                    </a:lnTo>
                    <a:lnTo>
                      <a:pt x="398" y="131"/>
                    </a:lnTo>
                    <a:lnTo>
                      <a:pt x="396" y="131"/>
                    </a:lnTo>
                    <a:lnTo>
                      <a:pt x="396" y="129"/>
                    </a:lnTo>
                    <a:close/>
                    <a:moveTo>
                      <a:pt x="394" y="129"/>
                    </a:moveTo>
                    <a:lnTo>
                      <a:pt x="396" y="129"/>
                    </a:lnTo>
                    <a:lnTo>
                      <a:pt x="396" y="131"/>
                    </a:lnTo>
                    <a:lnTo>
                      <a:pt x="394" y="131"/>
                    </a:lnTo>
                    <a:lnTo>
                      <a:pt x="394" y="129"/>
                    </a:lnTo>
                    <a:close/>
                    <a:moveTo>
                      <a:pt x="391" y="146"/>
                    </a:moveTo>
                    <a:lnTo>
                      <a:pt x="391" y="148"/>
                    </a:lnTo>
                    <a:lnTo>
                      <a:pt x="391" y="146"/>
                    </a:lnTo>
                    <a:close/>
                    <a:moveTo>
                      <a:pt x="389" y="145"/>
                    </a:moveTo>
                    <a:lnTo>
                      <a:pt x="391" y="145"/>
                    </a:lnTo>
                    <a:lnTo>
                      <a:pt x="391" y="146"/>
                    </a:lnTo>
                    <a:lnTo>
                      <a:pt x="389" y="146"/>
                    </a:lnTo>
                    <a:lnTo>
                      <a:pt x="389" y="145"/>
                    </a:lnTo>
                    <a:close/>
                    <a:moveTo>
                      <a:pt x="357" y="92"/>
                    </a:moveTo>
                    <a:lnTo>
                      <a:pt x="359" y="92"/>
                    </a:lnTo>
                    <a:lnTo>
                      <a:pt x="357" y="92"/>
                    </a:lnTo>
                    <a:close/>
                    <a:moveTo>
                      <a:pt x="389" y="145"/>
                    </a:moveTo>
                    <a:lnTo>
                      <a:pt x="389" y="146"/>
                    </a:lnTo>
                    <a:lnTo>
                      <a:pt x="389" y="145"/>
                    </a:lnTo>
                    <a:close/>
                    <a:moveTo>
                      <a:pt x="396" y="131"/>
                    </a:moveTo>
                    <a:lnTo>
                      <a:pt x="398" y="131"/>
                    </a:lnTo>
                    <a:lnTo>
                      <a:pt x="396" y="131"/>
                    </a:lnTo>
                    <a:close/>
                    <a:moveTo>
                      <a:pt x="433" y="0"/>
                    </a:moveTo>
                    <a:lnTo>
                      <a:pt x="433" y="2"/>
                    </a:lnTo>
                    <a:lnTo>
                      <a:pt x="433" y="0"/>
                    </a:lnTo>
                    <a:close/>
                    <a:moveTo>
                      <a:pt x="391" y="34"/>
                    </a:moveTo>
                    <a:lnTo>
                      <a:pt x="392" y="34"/>
                    </a:lnTo>
                    <a:lnTo>
                      <a:pt x="391" y="34"/>
                    </a:lnTo>
                    <a:close/>
                    <a:moveTo>
                      <a:pt x="396" y="129"/>
                    </a:moveTo>
                    <a:lnTo>
                      <a:pt x="398" y="129"/>
                    </a:lnTo>
                    <a:lnTo>
                      <a:pt x="396" y="129"/>
                    </a:lnTo>
                    <a:close/>
                    <a:moveTo>
                      <a:pt x="391" y="134"/>
                    </a:moveTo>
                    <a:lnTo>
                      <a:pt x="392" y="134"/>
                    </a:lnTo>
                    <a:lnTo>
                      <a:pt x="392" y="136"/>
                    </a:lnTo>
                    <a:lnTo>
                      <a:pt x="391" y="136"/>
                    </a:lnTo>
                    <a:lnTo>
                      <a:pt x="391" y="134"/>
                    </a:lnTo>
                    <a:close/>
                    <a:moveTo>
                      <a:pt x="399" y="134"/>
                    </a:moveTo>
                    <a:lnTo>
                      <a:pt x="401" y="134"/>
                    </a:lnTo>
                    <a:lnTo>
                      <a:pt x="399" y="134"/>
                    </a:lnTo>
                    <a:close/>
                    <a:moveTo>
                      <a:pt x="428" y="8"/>
                    </a:moveTo>
                    <a:lnTo>
                      <a:pt x="428" y="10"/>
                    </a:lnTo>
                    <a:lnTo>
                      <a:pt x="428" y="8"/>
                    </a:lnTo>
                    <a:close/>
                    <a:moveTo>
                      <a:pt x="386" y="163"/>
                    </a:moveTo>
                    <a:lnTo>
                      <a:pt x="386" y="165"/>
                    </a:lnTo>
                    <a:lnTo>
                      <a:pt x="386" y="163"/>
                    </a:lnTo>
                    <a:close/>
                    <a:moveTo>
                      <a:pt x="46" y="61"/>
                    </a:moveTo>
                    <a:lnTo>
                      <a:pt x="47" y="61"/>
                    </a:lnTo>
                    <a:lnTo>
                      <a:pt x="47" y="63"/>
                    </a:lnTo>
                    <a:lnTo>
                      <a:pt x="46" y="63"/>
                    </a:lnTo>
                    <a:lnTo>
                      <a:pt x="46" y="61"/>
                    </a:lnTo>
                    <a:close/>
                    <a:moveTo>
                      <a:pt x="396" y="129"/>
                    </a:moveTo>
                    <a:lnTo>
                      <a:pt x="396" y="131"/>
                    </a:lnTo>
                    <a:lnTo>
                      <a:pt x="396" y="129"/>
                    </a:lnTo>
                    <a:close/>
                    <a:moveTo>
                      <a:pt x="433" y="0"/>
                    </a:moveTo>
                    <a:lnTo>
                      <a:pt x="433" y="2"/>
                    </a:lnTo>
                    <a:lnTo>
                      <a:pt x="433" y="0"/>
                    </a:lnTo>
                    <a:close/>
                    <a:moveTo>
                      <a:pt x="387" y="138"/>
                    </a:moveTo>
                    <a:lnTo>
                      <a:pt x="387" y="139"/>
                    </a:lnTo>
                    <a:lnTo>
                      <a:pt x="387" y="138"/>
                    </a:lnTo>
                    <a:close/>
                    <a:moveTo>
                      <a:pt x="396" y="128"/>
                    </a:moveTo>
                    <a:lnTo>
                      <a:pt x="396" y="129"/>
                    </a:lnTo>
                    <a:lnTo>
                      <a:pt x="396" y="128"/>
                    </a:lnTo>
                    <a:close/>
                    <a:moveTo>
                      <a:pt x="386" y="165"/>
                    </a:moveTo>
                    <a:lnTo>
                      <a:pt x="387" y="165"/>
                    </a:lnTo>
                    <a:lnTo>
                      <a:pt x="386" y="165"/>
                    </a:lnTo>
                    <a:close/>
                    <a:moveTo>
                      <a:pt x="384" y="163"/>
                    </a:moveTo>
                    <a:lnTo>
                      <a:pt x="386" y="163"/>
                    </a:lnTo>
                    <a:lnTo>
                      <a:pt x="384" y="16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1" name="Freeform 29">
                <a:extLst>
                  <a:ext uri="{FF2B5EF4-FFF2-40B4-BE49-F238E27FC236}">
                    <a16:creationId xmlns:a16="http://schemas.microsoft.com/office/drawing/2014/main" id="{93226195-C203-5454-8FE5-54DC99B44E00}"/>
                  </a:ext>
                </a:extLst>
              </p:cNvPr>
              <p:cNvSpPr>
                <a:spLocks noEditPoints="1"/>
              </p:cNvSpPr>
              <p:nvPr/>
            </p:nvSpPr>
            <p:spPr bwMode="auto">
              <a:xfrm>
                <a:off x="4824413" y="1671638"/>
                <a:ext cx="128587" cy="69850"/>
              </a:xfrm>
              <a:custGeom>
                <a:avLst/>
                <a:gdLst>
                  <a:gd name="T0" fmla="*/ 30 w 81"/>
                  <a:gd name="T1" fmla="*/ 2 h 44"/>
                  <a:gd name="T2" fmla="*/ 35 w 81"/>
                  <a:gd name="T3" fmla="*/ 3 h 44"/>
                  <a:gd name="T4" fmla="*/ 40 w 81"/>
                  <a:gd name="T5" fmla="*/ 9 h 44"/>
                  <a:gd name="T6" fmla="*/ 45 w 81"/>
                  <a:gd name="T7" fmla="*/ 12 h 44"/>
                  <a:gd name="T8" fmla="*/ 49 w 81"/>
                  <a:gd name="T9" fmla="*/ 15 h 44"/>
                  <a:gd name="T10" fmla="*/ 54 w 81"/>
                  <a:gd name="T11" fmla="*/ 19 h 44"/>
                  <a:gd name="T12" fmla="*/ 59 w 81"/>
                  <a:gd name="T13" fmla="*/ 20 h 44"/>
                  <a:gd name="T14" fmla="*/ 64 w 81"/>
                  <a:gd name="T15" fmla="*/ 17 h 44"/>
                  <a:gd name="T16" fmla="*/ 68 w 81"/>
                  <a:gd name="T17" fmla="*/ 15 h 44"/>
                  <a:gd name="T18" fmla="*/ 71 w 81"/>
                  <a:gd name="T19" fmla="*/ 19 h 44"/>
                  <a:gd name="T20" fmla="*/ 78 w 81"/>
                  <a:gd name="T21" fmla="*/ 20 h 44"/>
                  <a:gd name="T22" fmla="*/ 79 w 81"/>
                  <a:gd name="T23" fmla="*/ 24 h 44"/>
                  <a:gd name="T24" fmla="*/ 78 w 81"/>
                  <a:gd name="T25" fmla="*/ 32 h 44"/>
                  <a:gd name="T26" fmla="*/ 76 w 81"/>
                  <a:gd name="T27" fmla="*/ 36 h 44"/>
                  <a:gd name="T28" fmla="*/ 76 w 81"/>
                  <a:gd name="T29" fmla="*/ 37 h 44"/>
                  <a:gd name="T30" fmla="*/ 76 w 81"/>
                  <a:gd name="T31" fmla="*/ 43 h 44"/>
                  <a:gd name="T32" fmla="*/ 74 w 81"/>
                  <a:gd name="T33" fmla="*/ 44 h 44"/>
                  <a:gd name="T34" fmla="*/ 66 w 81"/>
                  <a:gd name="T35" fmla="*/ 44 h 44"/>
                  <a:gd name="T36" fmla="*/ 61 w 81"/>
                  <a:gd name="T37" fmla="*/ 44 h 44"/>
                  <a:gd name="T38" fmla="*/ 57 w 81"/>
                  <a:gd name="T39" fmla="*/ 43 h 44"/>
                  <a:gd name="T40" fmla="*/ 54 w 81"/>
                  <a:gd name="T41" fmla="*/ 41 h 44"/>
                  <a:gd name="T42" fmla="*/ 51 w 81"/>
                  <a:gd name="T43" fmla="*/ 41 h 44"/>
                  <a:gd name="T44" fmla="*/ 47 w 81"/>
                  <a:gd name="T45" fmla="*/ 41 h 44"/>
                  <a:gd name="T46" fmla="*/ 52 w 81"/>
                  <a:gd name="T47" fmla="*/ 43 h 44"/>
                  <a:gd name="T48" fmla="*/ 54 w 81"/>
                  <a:gd name="T49" fmla="*/ 43 h 44"/>
                  <a:gd name="T50" fmla="*/ 49 w 81"/>
                  <a:gd name="T51" fmla="*/ 43 h 44"/>
                  <a:gd name="T52" fmla="*/ 40 w 81"/>
                  <a:gd name="T53" fmla="*/ 41 h 44"/>
                  <a:gd name="T54" fmla="*/ 44 w 81"/>
                  <a:gd name="T55" fmla="*/ 39 h 44"/>
                  <a:gd name="T56" fmla="*/ 40 w 81"/>
                  <a:gd name="T57" fmla="*/ 39 h 44"/>
                  <a:gd name="T58" fmla="*/ 39 w 81"/>
                  <a:gd name="T59" fmla="*/ 37 h 44"/>
                  <a:gd name="T60" fmla="*/ 37 w 81"/>
                  <a:gd name="T61" fmla="*/ 39 h 44"/>
                  <a:gd name="T62" fmla="*/ 32 w 81"/>
                  <a:gd name="T63" fmla="*/ 36 h 44"/>
                  <a:gd name="T64" fmla="*/ 27 w 81"/>
                  <a:gd name="T65" fmla="*/ 34 h 44"/>
                  <a:gd name="T66" fmla="*/ 20 w 81"/>
                  <a:gd name="T67" fmla="*/ 32 h 44"/>
                  <a:gd name="T68" fmla="*/ 11 w 81"/>
                  <a:gd name="T69" fmla="*/ 32 h 44"/>
                  <a:gd name="T70" fmla="*/ 6 w 81"/>
                  <a:gd name="T71" fmla="*/ 29 h 44"/>
                  <a:gd name="T72" fmla="*/ 0 w 81"/>
                  <a:gd name="T73" fmla="*/ 26 h 44"/>
                  <a:gd name="T74" fmla="*/ 3 w 81"/>
                  <a:gd name="T75" fmla="*/ 17 h 44"/>
                  <a:gd name="T76" fmla="*/ 8 w 81"/>
                  <a:gd name="T77" fmla="*/ 14 h 44"/>
                  <a:gd name="T78" fmla="*/ 13 w 81"/>
                  <a:gd name="T79" fmla="*/ 10 h 44"/>
                  <a:gd name="T80" fmla="*/ 18 w 81"/>
                  <a:gd name="T81" fmla="*/ 7 h 44"/>
                  <a:gd name="T82" fmla="*/ 17 w 81"/>
                  <a:gd name="T83" fmla="*/ 5 h 44"/>
                  <a:gd name="T84" fmla="*/ 18 w 81"/>
                  <a:gd name="T85" fmla="*/ 2 h 44"/>
                  <a:gd name="T86" fmla="*/ 23 w 81"/>
                  <a:gd name="T87" fmla="*/ 0 h 44"/>
                  <a:gd name="T88" fmla="*/ 56 w 81"/>
                  <a:gd name="T89" fmla="*/ 44 h 44"/>
                  <a:gd name="T90" fmla="*/ 79 w 81"/>
                  <a:gd name="T91" fmla="*/ 44 h 44"/>
                  <a:gd name="T92" fmla="*/ 78 w 81"/>
                  <a:gd name="T93" fmla="*/ 41 h 44"/>
                  <a:gd name="T94" fmla="*/ 54 w 81"/>
                  <a:gd name="T95" fmla="*/ 41 h 44"/>
                  <a:gd name="T96" fmla="*/ 78 w 81"/>
                  <a:gd name="T97" fmla="*/ 39 h 44"/>
                  <a:gd name="T98" fmla="*/ 52 w 81"/>
                  <a:gd name="T99" fmla="*/ 41 h 44"/>
                  <a:gd name="T100" fmla="*/ 74 w 81"/>
                  <a:gd name="T101"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1" h="44">
                    <a:moveTo>
                      <a:pt x="25" y="0"/>
                    </a:moveTo>
                    <a:lnTo>
                      <a:pt x="27" y="2"/>
                    </a:lnTo>
                    <a:lnTo>
                      <a:pt x="27" y="0"/>
                    </a:lnTo>
                    <a:lnTo>
                      <a:pt x="28" y="2"/>
                    </a:lnTo>
                    <a:lnTo>
                      <a:pt x="30" y="2"/>
                    </a:lnTo>
                    <a:lnTo>
                      <a:pt x="32" y="2"/>
                    </a:lnTo>
                    <a:lnTo>
                      <a:pt x="32" y="3"/>
                    </a:lnTo>
                    <a:lnTo>
                      <a:pt x="34" y="2"/>
                    </a:lnTo>
                    <a:lnTo>
                      <a:pt x="34" y="3"/>
                    </a:lnTo>
                    <a:lnTo>
                      <a:pt x="35" y="3"/>
                    </a:lnTo>
                    <a:lnTo>
                      <a:pt x="37" y="5"/>
                    </a:lnTo>
                    <a:lnTo>
                      <a:pt x="37" y="7"/>
                    </a:lnTo>
                    <a:lnTo>
                      <a:pt x="39" y="7"/>
                    </a:lnTo>
                    <a:lnTo>
                      <a:pt x="39" y="9"/>
                    </a:lnTo>
                    <a:lnTo>
                      <a:pt x="40" y="9"/>
                    </a:lnTo>
                    <a:lnTo>
                      <a:pt x="42" y="9"/>
                    </a:lnTo>
                    <a:lnTo>
                      <a:pt x="42" y="10"/>
                    </a:lnTo>
                    <a:lnTo>
                      <a:pt x="42" y="12"/>
                    </a:lnTo>
                    <a:lnTo>
                      <a:pt x="44" y="12"/>
                    </a:lnTo>
                    <a:lnTo>
                      <a:pt x="45" y="12"/>
                    </a:lnTo>
                    <a:lnTo>
                      <a:pt x="45" y="14"/>
                    </a:lnTo>
                    <a:lnTo>
                      <a:pt x="47" y="14"/>
                    </a:lnTo>
                    <a:lnTo>
                      <a:pt x="47" y="15"/>
                    </a:lnTo>
                    <a:lnTo>
                      <a:pt x="49" y="14"/>
                    </a:lnTo>
                    <a:lnTo>
                      <a:pt x="49" y="15"/>
                    </a:lnTo>
                    <a:lnTo>
                      <a:pt x="49" y="14"/>
                    </a:lnTo>
                    <a:lnTo>
                      <a:pt x="51" y="15"/>
                    </a:lnTo>
                    <a:lnTo>
                      <a:pt x="52" y="15"/>
                    </a:lnTo>
                    <a:lnTo>
                      <a:pt x="54" y="17"/>
                    </a:lnTo>
                    <a:lnTo>
                      <a:pt x="54" y="19"/>
                    </a:lnTo>
                    <a:lnTo>
                      <a:pt x="54" y="20"/>
                    </a:lnTo>
                    <a:lnTo>
                      <a:pt x="56" y="20"/>
                    </a:lnTo>
                    <a:lnTo>
                      <a:pt x="56" y="19"/>
                    </a:lnTo>
                    <a:lnTo>
                      <a:pt x="57" y="19"/>
                    </a:lnTo>
                    <a:lnTo>
                      <a:pt x="59" y="20"/>
                    </a:lnTo>
                    <a:lnTo>
                      <a:pt x="59" y="19"/>
                    </a:lnTo>
                    <a:lnTo>
                      <a:pt x="61" y="19"/>
                    </a:lnTo>
                    <a:lnTo>
                      <a:pt x="62" y="19"/>
                    </a:lnTo>
                    <a:lnTo>
                      <a:pt x="62" y="17"/>
                    </a:lnTo>
                    <a:lnTo>
                      <a:pt x="64" y="17"/>
                    </a:lnTo>
                    <a:lnTo>
                      <a:pt x="62" y="17"/>
                    </a:lnTo>
                    <a:lnTo>
                      <a:pt x="62" y="15"/>
                    </a:lnTo>
                    <a:lnTo>
                      <a:pt x="64" y="15"/>
                    </a:lnTo>
                    <a:lnTo>
                      <a:pt x="66" y="15"/>
                    </a:lnTo>
                    <a:lnTo>
                      <a:pt x="68" y="15"/>
                    </a:lnTo>
                    <a:lnTo>
                      <a:pt x="69" y="17"/>
                    </a:lnTo>
                    <a:lnTo>
                      <a:pt x="69" y="19"/>
                    </a:lnTo>
                    <a:lnTo>
                      <a:pt x="71" y="19"/>
                    </a:lnTo>
                    <a:lnTo>
                      <a:pt x="71" y="20"/>
                    </a:lnTo>
                    <a:lnTo>
                      <a:pt x="71" y="19"/>
                    </a:lnTo>
                    <a:lnTo>
                      <a:pt x="73" y="19"/>
                    </a:lnTo>
                    <a:lnTo>
                      <a:pt x="74" y="19"/>
                    </a:lnTo>
                    <a:lnTo>
                      <a:pt x="76" y="19"/>
                    </a:lnTo>
                    <a:lnTo>
                      <a:pt x="78" y="19"/>
                    </a:lnTo>
                    <a:lnTo>
                      <a:pt x="78" y="20"/>
                    </a:lnTo>
                    <a:lnTo>
                      <a:pt x="79" y="20"/>
                    </a:lnTo>
                    <a:lnTo>
                      <a:pt x="79" y="22"/>
                    </a:lnTo>
                    <a:lnTo>
                      <a:pt x="81" y="22"/>
                    </a:lnTo>
                    <a:lnTo>
                      <a:pt x="81" y="24"/>
                    </a:lnTo>
                    <a:lnTo>
                      <a:pt x="79" y="24"/>
                    </a:lnTo>
                    <a:lnTo>
                      <a:pt x="79" y="26"/>
                    </a:lnTo>
                    <a:lnTo>
                      <a:pt x="79" y="27"/>
                    </a:lnTo>
                    <a:lnTo>
                      <a:pt x="79" y="29"/>
                    </a:lnTo>
                    <a:lnTo>
                      <a:pt x="78" y="31"/>
                    </a:lnTo>
                    <a:lnTo>
                      <a:pt x="78" y="32"/>
                    </a:lnTo>
                    <a:lnTo>
                      <a:pt x="79" y="32"/>
                    </a:lnTo>
                    <a:lnTo>
                      <a:pt x="81" y="34"/>
                    </a:lnTo>
                    <a:lnTo>
                      <a:pt x="79" y="34"/>
                    </a:lnTo>
                    <a:lnTo>
                      <a:pt x="78" y="36"/>
                    </a:lnTo>
                    <a:lnTo>
                      <a:pt x="76" y="36"/>
                    </a:lnTo>
                    <a:lnTo>
                      <a:pt x="76" y="34"/>
                    </a:lnTo>
                    <a:lnTo>
                      <a:pt x="78" y="34"/>
                    </a:lnTo>
                    <a:lnTo>
                      <a:pt x="76" y="34"/>
                    </a:lnTo>
                    <a:lnTo>
                      <a:pt x="76" y="36"/>
                    </a:lnTo>
                    <a:lnTo>
                      <a:pt x="76" y="37"/>
                    </a:lnTo>
                    <a:lnTo>
                      <a:pt x="74" y="37"/>
                    </a:lnTo>
                    <a:lnTo>
                      <a:pt x="76" y="37"/>
                    </a:lnTo>
                    <a:lnTo>
                      <a:pt x="78" y="39"/>
                    </a:lnTo>
                    <a:lnTo>
                      <a:pt x="78" y="41"/>
                    </a:lnTo>
                    <a:lnTo>
                      <a:pt x="76" y="43"/>
                    </a:lnTo>
                    <a:lnTo>
                      <a:pt x="74" y="43"/>
                    </a:lnTo>
                    <a:lnTo>
                      <a:pt x="73" y="43"/>
                    </a:lnTo>
                    <a:lnTo>
                      <a:pt x="73" y="44"/>
                    </a:lnTo>
                    <a:lnTo>
                      <a:pt x="74" y="43"/>
                    </a:lnTo>
                    <a:lnTo>
                      <a:pt x="74" y="44"/>
                    </a:lnTo>
                    <a:lnTo>
                      <a:pt x="73" y="44"/>
                    </a:lnTo>
                    <a:lnTo>
                      <a:pt x="71" y="44"/>
                    </a:lnTo>
                    <a:lnTo>
                      <a:pt x="69" y="44"/>
                    </a:lnTo>
                    <a:lnTo>
                      <a:pt x="68" y="44"/>
                    </a:lnTo>
                    <a:lnTo>
                      <a:pt x="66" y="44"/>
                    </a:lnTo>
                    <a:lnTo>
                      <a:pt x="64" y="44"/>
                    </a:lnTo>
                    <a:lnTo>
                      <a:pt x="62" y="44"/>
                    </a:lnTo>
                    <a:lnTo>
                      <a:pt x="61" y="44"/>
                    </a:lnTo>
                    <a:lnTo>
                      <a:pt x="62" y="44"/>
                    </a:lnTo>
                    <a:lnTo>
                      <a:pt x="61" y="44"/>
                    </a:lnTo>
                    <a:lnTo>
                      <a:pt x="59" y="44"/>
                    </a:lnTo>
                    <a:lnTo>
                      <a:pt x="61" y="44"/>
                    </a:lnTo>
                    <a:lnTo>
                      <a:pt x="59" y="44"/>
                    </a:lnTo>
                    <a:lnTo>
                      <a:pt x="59" y="43"/>
                    </a:lnTo>
                    <a:lnTo>
                      <a:pt x="57" y="43"/>
                    </a:lnTo>
                    <a:lnTo>
                      <a:pt x="56" y="43"/>
                    </a:lnTo>
                    <a:lnTo>
                      <a:pt x="56" y="41"/>
                    </a:lnTo>
                    <a:lnTo>
                      <a:pt x="54" y="41"/>
                    </a:lnTo>
                    <a:lnTo>
                      <a:pt x="54" y="43"/>
                    </a:lnTo>
                    <a:lnTo>
                      <a:pt x="54" y="41"/>
                    </a:lnTo>
                    <a:lnTo>
                      <a:pt x="52" y="43"/>
                    </a:lnTo>
                    <a:lnTo>
                      <a:pt x="52" y="41"/>
                    </a:lnTo>
                    <a:lnTo>
                      <a:pt x="51" y="41"/>
                    </a:lnTo>
                    <a:lnTo>
                      <a:pt x="51" y="39"/>
                    </a:lnTo>
                    <a:lnTo>
                      <a:pt x="51" y="41"/>
                    </a:lnTo>
                    <a:lnTo>
                      <a:pt x="51" y="39"/>
                    </a:lnTo>
                    <a:lnTo>
                      <a:pt x="49" y="39"/>
                    </a:lnTo>
                    <a:lnTo>
                      <a:pt x="51" y="41"/>
                    </a:lnTo>
                    <a:lnTo>
                      <a:pt x="49" y="41"/>
                    </a:lnTo>
                    <a:lnTo>
                      <a:pt x="47" y="41"/>
                    </a:lnTo>
                    <a:lnTo>
                      <a:pt x="49" y="41"/>
                    </a:lnTo>
                    <a:lnTo>
                      <a:pt x="49" y="43"/>
                    </a:lnTo>
                    <a:lnTo>
                      <a:pt x="49" y="41"/>
                    </a:lnTo>
                    <a:lnTo>
                      <a:pt x="51" y="41"/>
                    </a:lnTo>
                    <a:lnTo>
                      <a:pt x="52" y="43"/>
                    </a:lnTo>
                    <a:lnTo>
                      <a:pt x="52" y="41"/>
                    </a:lnTo>
                    <a:lnTo>
                      <a:pt x="52" y="43"/>
                    </a:lnTo>
                    <a:lnTo>
                      <a:pt x="51" y="43"/>
                    </a:lnTo>
                    <a:lnTo>
                      <a:pt x="52" y="43"/>
                    </a:lnTo>
                    <a:lnTo>
                      <a:pt x="54" y="43"/>
                    </a:lnTo>
                    <a:lnTo>
                      <a:pt x="54" y="44"/>
                    </a:lnTo>
                    <a:lnTo>
                      <a:pt x="56" y="44"/>
                    </a:lnTo>
                    <a:lnTo>
                      <a:pt x="54" y="44"/>
                    </a:lnTo>
                    <a:lnTo>
                      <a:pt x="52" y="43"/>
                    </a:lnTo>
                    <a:lnTo>
                      <a:pt x="49" y="43"/>
                    </a:lnTo>
                    <a:lnTo>
                      <a:pt x="47" y="43"/>
                    </a:lnTo>
                    <a:lnTo>
                      <a:pt x="45" y="43"/>
                    </a:lnTo>
                    <a:lnTo>
                      <a:pt x="44" y="41"/>
                    </a:lnTo>
                    <a:lnTo>
                      <a:pt x="42" y="41"/>
                    </a:lnTo>
                    <a:lnTo>
                      <a:pt x="40" y="41"/>
                    </a:lnTo>
                    <a:lnTo>
                      <a:pt x="42" y="41"/>
                    </a:lnTo>
                    <a:lnTo>
                      <a:pt x="42" y="39"/>
                    </a:lnTo>
                    <a:lnTo>
                      <a:pt x="42" y="41"/>
                    </a:lnTo>
                    <a:lnTo>
                      <a:pt x="42" y="39"/>
                    </a:lnTo>
                    <a:lnTo>
                      <a:pt x="44" y="39"/>
                    </a:lnTo>
                    <a:lnTo>
                      <a:pt x="42" y="41"/>
                    </a:lnTo>
                    <a:lnTo>
                      <a:pt x="42" y="39"/>
                    </a:lnTo>
                    <a:lnTo>
                      <a:pt x="42" y="41"/>
                    </a:lnTo>
                    <a:lnTo>
                      <a:pt x="42" y="39"/>
                    </a:lnTo>
                    <a:lnTo>
                      <a:pt x="40" y="39"/>
                    </a:lnTo>
                    <a:lnTo>
                      <a:pt x="40" y="37"/>
                    </a:lnTo>
                    <a:lnTo>
                      <a:pt x="39" y="39"/>
                    </a:lnTo>
                    <a:lnTo>
                      <a:pt x="39" y="37"/>
                    </a:lnTo>
                    <a:lnTo>
                      <a:pt x="39" y="39"/>
                    </a:lnTo>
                    <a:lnTo>
                      <a:pt x="39" y="37"/>
                    </a:lnTo>
                    <a:lnTo>
                      <a:pt x="37" y="37"/>
                    </a:lnTo>
                    <a:lnTo>
                      <a:pt x="39" y="39"/>
                    </a:lnTo>
                    <a:lnTo>
                      <a:pt x="40" y="39"/>
                    </a:lnTo>
                    <a:lnTo>
                      <a:pt x="39" y="39"/>
                    </a:lnTo>
                    <a:lnTo>
                      <a:pt x="37" y="39"/>
                    </a:lnTo>
                    <a:lnTo>
                      <a:pt x="37" y="37"/>
                    </a:lnTo>
                    <a:lnTo>
                      <a:pt x="35" y="37"/>
                    </a:lnTo>
                    <a:lnTo>
                      <a:pt x="34" y="37"/>
                    </a:lnTo>
                    <a:lnTo>
                      <a:pt x="34" y="36"/>
                    </a:lnTo>
                    <a:lnTo>
                      <a:pt x="32" y="36"/>
                    </a:lnTo>
                    <a:lnTo>
                      <a:pt x="30" y="34"/>
                    </a:lnTo>
                    <a:lnTo>
                      <a:pt x="28" y="34"/>
                    </a:lnTo>
                    <a:lnTo>
                      <a:pt x="27" y="34"/>
                    </a:lnTo>
                    <a:lnTo>
                      <a:pt x="27" y="32"/>
                    </a:lnTo>
                    <a:lnTo>
                      <a:pt x="27" y="34"/>
                    </a:lnTo>
                    <a:lnTo>
                      <a:pt x="25" y="34"/>
                    </a:lnTo>
                    <a:lnTo>
                      <a:pt x="25" y="32"/>
                    </a:lnTo>
                    <a:lnTo>
                      <a:pt x="23" y="32"/>
                    </a:lnTo>
                    <a:lnTo>
                      <a:pt x="22" y="32"/>
                    </a:lnTo>
                    <a:lnTo>
                      <a:pt x="20" y="32"/>
                    </a:lnTo>
                    <a:lnTo>
                      <a:pt x="18" y="32"/>
                    </a:lnTo>
                    <a:lnTo>
                      <a:pt x="17" y="32"/>
                    </a:lnTo>
                    <a:lnTo>
                      <a:pt x="15" y="32"/>
                    </a:lnTo>
                    <a:lnTo>
                      <a:pt x="13" y="32"/>
                    </a:lnTo>
                    <a:lnTo>
                      <a:pt x="11" y="32"/>
                    </a:lnTo>
                    <a:lnTo>
                      <a:pt x="10" y="32"/>
                    </a:lnTo>
                    <a:lnTo>
                      <a:pt x="10" y="31"/>
                    </a:lnTo>
                    <a:lnTo>
                      <a:pt x="8" y="31"/>
                    </a:lnTo>
                    <a:lnTo>
                      <a:pt x="8" y="29"/>
                    </a:lnTo>
                    <a:lnTo>
                      <a:pt x="6" y="29"/>
                    </a:lnTo>
                    <a:lnTo>
                      <a:pt x="6" y="27"/>
                    </a:lnTo>
                    <a:lnTo>
                      <a:pt x="5" y="27"/>
                    </a:lnTo>
                    <a:lnTo>
                      <a:pt x="3" y="26"/>
                    </a:lnTo>
                    <a:lnTo>
                      <a:pt x="1" y="26"/>
                    </a:lnTo>
                    <a:lnTo>
                      <a:pt x="0" y="26"/>
                    </a:lnTo>
                    <a:lnTo>
                      <a:pt x="0" y="24"/>
                    </a:lnTo>
                    <a:lnTo>
                      <a:pt x="0" y="22"/>
                    </a:lnTo>
                    <a:lnTo>
                      <a:pt x="0" y="20"/>
                    </a:lnTo>
                    <a:lnTo>
                      <a:pt x="1" y="19"/>
                    </a:lnTo>
                    <a:lnTo>
                      <a:pt x="3" y="17"/>
                    </a:lnTo>
                    <a:lnTo>
                      <a:pt x="5" y="17"/>
                    </a:lnTo>
                    <a:lnTo>
                      <a:pt x="5" y="15"/>
                    </a:lnTo>
                    <a:lnTo>
                      <a:pt x="6" y="15"/>
                    </a:lnTo>
                    <a:lnTo>
                      <a:pt x="6" y="14"/>
                    </a:lnTo>
                    <a:lnTo>
                      <a:pt x="8" y="14"/>
                    </a:lnTo>
                    <a:lnTo>
                      <a:pt x="10" y="14"/>
                    </a:lnTo>
                    <a:lnTo>
                      <a:pt x="11" y="14"/>
                    </a:lnTo>
                    <a:lnTo>
                      <a:pt x="11" y="12"/>
                    </a:lnTo>
                    <a:lnTo>
                      <a:pt x="13" y="12"/>
                    </a:lnTo>
                    <a:lnTo>
                      <a:pt x="13" y="10"/>
                    </a:lnTo>
                    <a:lnTo>
                      <a:pt x="15" y="10"/>
                    </a:lnTo>
                    <a:lnTo>
                      <a:pt x="15" y="9"/>
                    </a:lnTo>
                    <a:lnTo>
                      <a:pt x="17" y="9"/>
                    </a:lnTo>
                    <a:lnTo>
                      <a:pt x="18" y="9"/>
                    </a:lnTo>
                    <a:lnTo>
                      <a:pt x="18" y="7"/>
                    </a:lnTo>
                    <a:lnTo>
                      <a:pt x="20" y="7"/>
                    </a:lnTo>
                    <a:lnTo>
                      <a:pt x="18" y="7"/>
                    </a:lnTo>
                    <a:lnTo>
                      <a:pt x="18" y="5"/>
                    </a:lnTo>
                    <a:lnTo>
                      <a:pt x="18" y="3"/>
                    </a:lnTo>
                    <a:lnTo>
                      <a:pt x="17" y="5"/>
                    </a:lnTo>
                    <a:lnTo>
                      <a:pt x="17" y="3"/>
                    </a:lnTo>
                    <a:lnTo>
                      <a:pt x="18" y="3"/>
                    </a:lnTo>
                    <a:lnTo>
                      <a:pt x="18" y="2"/>
                    </a:lnTo>
                    <a:lnTo>
                      <a:pt x="18" y="0"/>
                    </a:lnTo>
                    <a:lnTo>
                      <a:pt x="18" y="2"/>
                    </a:lnTo>
                    <a:lnTo>
                      <a:pt x="20" y="2"/>
                    </a:lnTo>
                    <a:lnTo>
                      <a:pt x="20" y="0"/>
                    </a:lnTo>
                    <a:lnTo>
                      <a:pt x="22" y="0"/>
                    </a:lnTo>
                    <a:lnTo>
                      <a:pt x="22" y="2"/>
                    </a:lnTo>
                    <a:lnTo>
                      <a:pt x="23" y="0"/>
                    </a:lnTo>
                    <a:lnTo>
                      <a:pt x="25" y="0"/>
                    </a:lnTo>
                    <a:close/>
                    <a:moveTo>
                      <a:pt x="56" y="43"/>
                    </a:moveTo>
                    <a:lnTo>
                      <a:pt x="59" y="43"/>
                    </a:lnTo>
                    <a:lnTo>
                      <a:pt x="59" y="44"/>
                    </a:lnTo>
                    <a:lnTo>
                      <a:pt x="56" y="44"/>
                    </a:lnTo>
                    <a:lnTo>
                      <a:pt x="56" y="43"/>
                    </a:lnTo>
                    <a:close/>
                    <a:moveTo>
                      <a:pt x="79" y="43"/>
                    </a:moveTo>
                    <a:lnTo>
                      <a:pt x="81" y="43"/>
                    </a:lnTo>
                    <a:lnTo>
                      <a:pt x="81" y="44"/>
                    </a:lnTo>
                    <a:lnTo>
                      <a:pt x="79" y="44"/>
                    </a:lnTo>
                    <a:lnTo>
                      <a:pt x="79" y="43"/>
                    </a:lnTo>
                    <a:close/>
                    <a:moveTo>
                      <a:pt x="52" y="43"/>
                    </a:moveTo>
                    <a:lnTo>
                      <a:pt x="56" y="43"/>
                    </a:lnTo>
                    <a:lnTo>
                      <a:pt x="52" y="43"/>
                    </a:lnTo>
                    <a:close/>
                    <a:moveTo>
                      <a:pt x="78" y="41"/>
                    </a:moveTo>
                    <a:lnTo>
                      <a:pt x="79" y="41"/>
                    </a:lnTo>
                    <a:lnTo>
                      <a:pt x="79" y="43"/>
                    </a:lnTo>
                    <a:lnTo>
                      <a:pt x="78" y="43"/>
                    </a:lnTo>
                    <a:lnTo>
                      <a:pt x="78" y="41"/>
                    </a:lnTo>
                    <a:close/>
                    <a:moveTo>
                      <a:pt x="54" y="41"/>
                    </a:moveTo>
                    <a:lnTo>
                      <a:pt x="56" y="41"/>
                    </a:lnTo>
                    <a:lnTo>
                      <a:pt x="56" y="43"/>
                    </a:lnTo>
                    <a:lnTo>
                      <a:pt x="54" y="43"/>
                    </a:lnTo>
                    <a:lnTo>
                      <a:pt x="54" y="41"/>
                    </a:lnTo>
                    <a:close/>
                    <a:moveTo>
                      <a:pt x="78" y="39"/>
                    </a:moveTo>
                    <a:lnTo>
                      <a:pt x="79" y="39"/>
                    </a:lnTo>
                    <a:lnTo>
                      <a:pt x="78" y="39"/>
                    </a:lnTo>
                    <a:close/>
                    <a:moveTo>
                      <a:pt x="52" y="41"/>
                    </a:moveTo>
                    <a:lnTo>
                      <a:pt x="52" y="43"/>
                    </a:lnTo>
                    <a:lnTo>
                      <a:pt x="52" y="41"/>
                    </a:lnTo>
                    <a:close/>
                    <a:moveTo>
                      <a:pt x="74" y="36"/>
                    </a:moveTo>
                    <a:lnTo>
                      <a:pt x="76" y="36"/>
                    </a:lnTo>
                    <a:lnTo>
                      <a:pt x="76" y="37"/>
                    </a:lnTo>
                    <a:lnTo>
                      <a:pt x="74" y="37"/>
                    </a:lnTo>
                    <a:lnTo>
                      <a:pt x="74" y="36"/>
                    </a:lnTo>
                    <a:close/>
                    <a:moveTo>
                      <a:pt x="47" y="41"/>
                    </a:moveTo>
                    <a:lnTo>
                      <a:pt x="49" y="41"/>
                    </a:lnTo>
                    <a:lnTo>
                      <a:pt x="47" y="41"/>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2" name="Freeform 30">
                <a:extLst>
                  <a:ext uri="{FF2B5EF4-FFF2-40B4-BE49-F238E27FC236}">
                    <a16:creationId xmlns:a16="http://schemas.microsoft.com/office/drawing/2014/main" id="{EC5EA0BF-381F-F8EE-08B8-8A872FA4C213}"/>
                  </a:ext>
                </a:extLst>
              </p:cNvPr>
              <p:cNvSpPr>
                <a:spLocks noEditPoints="1"/>
              </p:cNvSpPr>
              <p:nvPr/>
            </p:nvSpPr>
            <p:spPr bwMode="auto">
              <a:xfrm>
                <a:off x="6364288" y="5643563"/>
                <a:ext cx="195262" cy="125413"/>
              </a:xfrm>
              <a:custGeom>
                <a:avLst/>
                <a:gdLst>
                  <a:gd name="T0" fmla="*/ 102 w 123"/>
                  <a:gd name="T1" fmla="*/ 21 h 79"/>
                  <a:gd name="T2" fmla="*/ 92 w 123"/>
                  <a:gd name="T3" fmla="*/ 24 h 79"/>
                  <a:gd name="T4" fmla="*/ 102 w 123"/>
                  <a:gd name="T5" fmla="*/ 33 h 79"/>
                  <a:gd name="T6" fmla="*/ 107 w 123"/>
                  <a:gd name="T7" fmla="*/ 27 h 79"/>
                  <a:gd name="T8" fmla="*/ 117 w 123"/>
                  <a:gd name="T9" fmla="*/ 21 h 79"/>
                  <a:gd name="T10" fmla="*/ 112 w 123"/>
                  <a:gd name="T11" fmla="*/ 29 h 79"/>
                  <a:gd name="T12" fmla="*/ 116 w 123"/>
                  <a:gd name="T13" fmla="*/ 36 h 79"/>
                  <a:gd name="T14" fmla="*/ 114 w 123"/>
                  <a:gd name="T15" fmla="*/ 39 h 79"/>
                  <a:gd name="T16" fmla="*/ 106 w 123"/>
                  <a:gd name="T17" fmla="*/ 43 h 79"/>
                  <a:gd name="T18" fmla="*/ 97 w 123"/>
                  <a:gd name="T19" fmla="*/ 50 h 79"/>
                  <a:gd name="T20" fmla="*/ 80 w 123"/>
                  <a:gd name="T21" fmla="*/ 43 h 79"/>
                  <a:gd name="T22" fmla="*/ 87 w 123"/>
                  <a:gd name="T23" fmla="*/ 51 h 79"/>
                  <a:gd name="T24" fmla="*/ 87 w 123"/>
                  <a:gd name="T25" fmla="*/ 56 h 79"/>
                  <a:gd name="T26" fmla="*/ 68 w 123"/>
                  <a:gd name="T27" fmla="*/ 55 h 79"/>
                  <a:gd name="T28" fmla="*/ 77 w 123"/>
                  <a:gd name="T29" fmla="*/ 62 h 79"/>
                  <a:gd name="T30" fmla="*/ 66 w 123"/>
                  <a:gd name="T31" fmla="*/ 60 h 79"/>
                  <a:gd name="T32" fmla="*/ 66 w 123"/>
                  <a:gd name="T33" fmla="*/ 70 h 79"/>
                  <a:gd name="T34" fmla="*/ 58 w 123"/>
                  <a:gd name="T35" fmla="*/ 65 h 79"/>
                  <a:gd name="T36" fmla="*/ 61 w 123"/>
                  <a:gd name="T37" fmla="*/ 53 h 79"/>
                  <a:gd name="T38" fmla="*/ 65 w 123"/>
                  <a:gd name="T39" fmla="*/ 46 h 79"/>
                  <a:gd name="T40" fmla="*/ 78 w 123"/>
                  <a:gd name="T41" fmla="*/ 43 h 79"/>
                  <a:gd name="T42" fmla="*/ 75 w 123"/>
                  <a:gd name="T43" fmla="*/ 27 h 79"/>
                  <a:gd name="T44" fmla="*/ 77 w 123"/>
                  <a:gd name="T45" fmla="*/ 22 h 79"/>
                  <a:gd name="T46" fmla="*/ 70 w 123"/>
                  <a:gd name="T47" fmla="*/ 24 h 79"/>
                  <a:gd name="T48" fmla="*/ 66 w 123"/>
                  <a:gd name="T49" fmla="*/ 33 h 79"/>
                  <a:gd name="T50" fmla="*/ 55 w 123"/>
                  <a:gd name="T51" fmla="*/ 43 h 79"/>
                  <a:gd name="T52" fmla="*/ 41 w 123"/>
                  <a:gd name="T53" fmla="*/ 55 h 79"/>
                  <a:gd name="T54" fmla="*/ 38 w 123"/>
                  <a:gd name="T55" fmla="*/ 58 h 79"/>
                  <a:gd name="T56" fmla="*/ 31 w 123"/>
                  <a:gd name="T57" fmla="*/ 62 h 79"/>
                  <a:gd name="T58" fmla="*/ 22 w 123"/>
                  <a:gd name="T59" fmla="*/ 65 h 79"/>
                  <a:gd name="T60" fmla="*/ 21 w 123"/>
                  <a:gd name="T61" fmla="*/ 63 h 79"/>
                  <a:gd name="T62" fmla="*/ 19 w 123"/>
                  <a:gd name="T63" fmla="*/ 56 h 79"/>
                  <a:gd name="T64" fmla="*/ 22 w 123"/>
                  <a:gd name="T65" fmla="*/ 56 h 79"/>
                  <a:gd name="T66" fmla="*/ 29 w 123"/>
                  <a:gd name="T67" fmla="*/ 51 h 79"/>
                  <a:gd name="T68" fmla="*/ 32 w 123"/>
                  <a:gd name="T69" fmla="*/ 45 h 79"/>
                  <a:gd name="T70" fmla="*/ 36 w 123"/>
                  <a:gd name="T71" fmla="*/ 39 h 79"/>
                  <a:gd name="T72" fmla="*/ 34 w 123"/>
                  <a:gd name="T73" fmla="*/ 36 h 79"/>
                  <a:gd name="T74" fmla="*/ 34 w 123"/>
                  <a:gd name="T75" fmla="*/ 29 h 79"/>
                  <a:gd name="T76" fmla="*/ 24 w 123"/>
                  <a:gd name="T77" fmla="*/ 19 h 79"/>
                  <a:gd name="T78" fmla="*/ 43 w 123"/>
                  <a:gd name="T79" fmla="*/ 22 h 79"/>
                  <a:gd name="T80" fmla="*/ 51 w 123"/>
                  <a:gd name="T81" fmla="*/ 22 h 79"/>
                  <a:gd name="T82" fmla="*/ 63 w 123"/>
                  <a:gd name="T83" fmla="*/ 24 h 79"/>
                  <a:gd name="T84" fmla="*/ 15 w 123"/>
                  <a:gd name="T85" fmla="*/ 50 h 79"/>
                  <a:gd name="T86" fmla="*/ 14 w 123"/>
                  <a:gd name="T87" fmla="*/ 43 h 79"/>
                  <a:gd name="T88" fmla="*/ 43 w 123"/>
                  <a:gd name="T89" fmla="*/ 17 h 79"/>
                  <a:gd name="T90" fmla="*/ 34 w 123"/>
                  <a:gd name="T91" fmla="*/ 14 h 79"/>
                  <a:gd name="T92" fmla="*/ 55 w 123"/>
                  <a:gd name="T93" fmla="*/ 16 h 79"/>
                  <a:gd name="T94" fmla="*/ 99 w 123"/>
                  <a:gd name="T95" fmla="*/ 53 h 79"/>
                  <a:gd name="T96" fmla="*/ 48 w 123"/>
                  <a:gd name="T97" fmla="*/ 19 h 79"/>
                  <a:gd name="T98" fmla="*/ 55 w 123"/>
                  <a:gd name="T99" fmla="*/ 73 h 79"/>
                  <a:gd name="T100" fmla="*/ 4 w 123"/>
                  <a:gd name="T101" fmla="*/ 38 h 79"/>
                  <a:gd name="T102" fmla="*/ 53 w 123"/>
                  <a:gd name="T103" fmla="*/ 17 h 79"/>
                  <a:gd name="T104" fmla="*/ 58 w 123"/>
                  <a:gd name="T105" fmla="*/ 41 h 79"/>
                  <a:gd name="T106" fmla="*/ 56 w 123"/>
                  <a:gd name="T107" fmla="*/ 22 h 79"/>
                  <a:gd name="T108" fmla="*/ 60 w 123"/>
                  <a:gd name="T109" fmla="*/ 19 h 79"/>
                  <a:gd name="T110" fmla="*/ 17 w 123"/>
                  <a:gd name="T111" fmla="*/ 10 h 79"/>
                  <a:gd name="T112" fmla="*/ 17 w 123"/>
                  <a:gd name="T113" fmla="*/ 5 h 79"/>
                  <a:gd name="T114" fmla="*/ 17 w 123"/>
                  <a:gd name="T115" fmla="*/ 7 h 79"/>
                  <a:gd name="T116" fmla="*/ 21 w 123"/>
                  <a:gd name="T117" fmla="*/ 26 h 79"/>
                  <a:gd name="T118" fmla="*/ 17 w 123"/>
                  <a:gd name="T119" fmla="*/ 31 h 79"/>
                  <a:gd name="T120" fmla="*/ 41 w 123"/>
                  <a:gd name="T121" fmla="*/ 22 h 79"/>
                  <a:gd name="T122" fmla="*/ 29 w 123"/>
                  <a:gd name="T123" fmla="*/ 17 h 79"/>
                  <a:gd name="T124" fmla="*/ 55 w 123"/>
                  <a:gd name="T125" fmla="*/ 4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3" h="79">
                    <a:moveTo>
                      <a:pt x="80" y="12"/>
                    </a:moveTo>
                    <a:lnTo>
                      <a:pt x="82" y="12"/>
                    </a:lnTo>
                    <a:lnTo>
                      <a:pt x="82" y="14"/>
                    </a:lnTo>
                    <a:lnTo>
                      <a:pt x="83" y="14"/>
                    </a:lnTo>
                    <a:lnTo>
                      <a:pt x="83" y="16"/>
                    </a:lnTo>
                    <a:lnTo>
                      <a:pt x="85" y="16"/>
                    </a:lnTo>
                    <a:lnTo>
                      <a:pt x="87" y="16"/>
                    </a:lnTo>
                    <a:lnTo>
                      <a:pt x="87" y="17"/>
                    </a:lnTo>
                    <a:lnTo>
                      <a:pt x="89" y="17"/>
                    </a:lnTo>
                    <a:lnTo>
                      <a:pt x="90" y="17"/>
                    </a:lnTo>
                    <a:lnTo>
                      <a:pt x="92" y="17"/>
                    </a:lnTo>
                    <a:lnTo>
                      <a:pt x="92" y="19"/>
                    </a:lnTo>
                    <a:lnTo>
                      <a:pt x="94" y="19"/>
                    </a:lnTo>
                    <a:lnTo>
                      <a:pt x="94" y="17"/>
                    </a:lnTo>
                    <a:lnTo>
                      <a:pt x="92" y="19"/>
                    </a:lnTo>
                    <a:lnTo>
                      <a:pt x="92" y="17"/>
                    </a:lnTo>
                    <a:lnTo>
                      <a:pt x="94" y="16"/>
                    </a:lnTo>
                    <a:lnTo>
                      <a:pt x="95" y="16"/>
                    </a:lnTo>
                    <a:lnTo>
                      <a:pt x="97" y="16"/>
                    </a:lnTo>
                    <a:lnTo>
                      <a:pt x="97" y="17"/>
                    </a:lnTo>
                    <a:lnTo>
                      <a:pt x="99" y="17"/>
                    </a:lnTo>
                    <a:lnTo>
                      <a:pt x="100" y="17"/>
                    </a:lnTo>
                    <a:lnTo>
                      <a:pt x="100" y="19"/>
                    </a:lnTo>
                    <a:lnTo>
                      <a:pt x="102" y="19"/>
                    </a:lnTo>
                    <a:lnTo>
                      <a:pt x="102" y="21"/>
                    </a:lnTo>
                    <a:lnTo>
                      <a:pt x="100" y="21"/>
                    </a:lnTo>
                    <a:lnTo>
                      <a:pt x="102" y="21"/>
                    </a:lnTo>
                    <a:lnTo>
                      <a:pt x="102" y="22"/>
                    </a:lnTo>
                    <a:lnTo>
                      <a:pt x="100" y="22"/>
                    </a:lnTo>
                    <a:lnTo>
                      <a:pt x="102" y="22"/>
                    </a:lnTo>
                    <a:lnTo>
                      <a:pt x="102" y="24"/>
                    </a:lnTo>
                    <a:lnTo>
                      <a:pt x="100" y="24"/>
                    </a:lnTo>
                    <a:lnTo>
                      <a:pt x="100" y="22"/>
                    </a:lnTo>
                    <a:lnTo>
                      <a:pt x="100" y="24"/>
                    </a:lnTo>
                    <a:lnTo>
                      <a:pt x="99" y="24"/>
                    </a:lnTo>
                    <a:lnTo>
                      <a:pt x="97" y="24"/>
                    </a:lnTo>
                    <a:lnTo>
                      <a:pt x="97" y="22"/>
                    </a:lnTo>
                    <a:lnTo>
                      <a:pt x="97" y="21"/>
                    </a:lnTo>
                    <a:lnTo>
                      <a:pt x="97" y="22"/>
                    </a:lnTo>
                    <a:lnTo>
                      <a:pt x="95" y="22"/>
                    </a:lnTo>
                    <a:lnTo>
                      <a:pt x="95" y="21"/>
                    </a:lnTo>
                    <a:lnTo>
                      <a:pt x="97" y="21"/>
                    </a:lnTo>
                    <a:lnTo>
                      <a:pt x="95" y="21"/>
                    </a:lnTo>
                    <a:lnTo>
                      <a:pt x="95" y="22"/>
                    </a:lnTo>
                    <a:lnTo>
                      <a:pt x="94" y="22"/>
                    </a:lnTo>
                    <a:lnTo>
                      <a:pt x="94" y="24"/>
                    </a:lnTo>
                    <a:lnTo>
                      <a:pt x="94" y="22"/>
                    </a:lnTo>
                    <a:lnTo>
                      <a:pt x="95" y="22"/>
                    </a:lnTo>
                    <a:lnTo>
                      <a:pt x="94" y="24"/>
                    </a:lnTo>
                    <a:lnTo>
                      <a:pt x="92" y="24"/>
                    </a:lnTo>
                    <a:lnTo>
                      <a:pt x="94" y="24"/>
                    </a:lnTo>
                    <a:lnTo>
                      <a:pt x="95" y="22"/>
                    </a:lnTo>
                    <a:lnTo>
                      <a:pt x="95" y="24"/>
                    </a:lnTo>
                    <a:lnTo>
                      <a:pt x="95" y="22"/>
                    </a:lnTo>
                    <a:lnTo>
                      <a:pt x="97" y="24"/>
                    </a:lnTo>
                    <a:lnTo>
                      <a:pt x="95" y="24"/>
                    </a:lnTo>
                    <a:lnTo>
                      <a:pt x="95" y="26"/>
                    </a:lnTo>
                    <a:lnTo>
                      <a:pt x="95" y="27"/>
                    </a:lnTo>
                    <a:lnTo>
                      <a:pt x="95" y="26"/>
                    </a:lnTo>
                    <a:lnTo>
                      <a:pt x="97" y="24"/>
                    </a:lnTo>
                    <a:lnTo>
                      <a:pt x="97" y="26"/>
                    </a:lnTo>
                    <a:lnTo>
                      <a:pt x="99" y="26"/>
                    </a:lnTo>
                    <a:lnTo>
                      <a:pt x="99" y="24"/>
                    </a:lnTo>
                    <a:lnTo>
                      <a:pt x="99" y="26"/>
                    </a:lnTo>
                    <a:lnTo>
                      <a:pt x="99" y="27"/>
                    </a:lnTo>
                    <a:lnTo>
                      <a:pt x="99" y="29"/>
                    </a:lnTo>
                    <a:lnTo>
                      <a:pt x="100" y="27"/>
                    </a:lnTo>
                    <a:lnTo>
                      <a:pt x="100" y="29"/>
                    </a:lnTo>
                    <a:lnTo>
                      <a:pt x="100" y="31"/>
                    </a:lnTo>
                    <a:lnTo>
                      <a:pt x="100" y="29"/>
                    </a:lnTo>
                    <a:lnTo>
                      <a:pt x="102" y="31"/>
                    </a:lnTo>
                    <a:lnTo>
                      <a:pt x="102" y="29"/>
                    </a:lnTo>
                    <a:lnTo>
                      <a:pt x="104" y="29"/>
                    </a:lnTo>
                    <a:lnTo>
                      <a:pt x="104" y="31"/>
                    </a:lnTo>
                    <a:lnTo>
                      <a:pt x="102" y="33"/>
                    </a:lnTo>
                    <a:lnTo>
                      <a:pt x="104" y="33"/>
                    </a:lnTo>
                    <a:lnTo>
                      <a:pt x="106" y="33"/>
                    </a:lnTo>
                    <a:lnTo>
                      <a:pt x="104" y="33"/>
                    </a:lnTo>
                    <a:lnTo>
                      <a:pt x="104" y="34"/>
                    </a:lnTo>
                    <a:lnTo>
                      <a:pt x="106" y="34"/>
                    </a:lnTo>
                    <a:lnTo>
                      <a:pt x="104" y="34"/>
                    </a:lnTo>
                    <a:lnTo>
                      <a:pt x="106" y="34"/>
                    </a:lnTo>
                    <a:lnTo>
                      <a:pt x="106" y="33"/>
                    </a:lnTo>
                    <a:lnTo>
                      <a:pt x="106" y="34"/>
                    </a:lnTo>
                    <a:lnTo>
                      <a:pt x="106" y="36"/>
                    </a:lnTo>
                    <a:lnTo>
                      <a:pt x="106" y="34"/>
                    </a:lnTo>
                    <a:lnTo>
                      <a:pt x="107" y="34"/>
                    </a:lnTo>
                    <a:lnTo>
                      <a:pt x="106" y="34"/>
                    </a:lnTo>
                    <a:lnTo>
                      <a:pt x="106" y="33"/>
                    </a:lnTo>
                    <a:lnTo>
                      <a:pt x="104" y="33"/>
                    </a:lnTo>
                    <a:lnTo>
                      <a:pt x="106" y="31"/>
                    </a:lnTo>
                    <a:lnTo>
                      <a:pt x="107" y="33"/>
                    </a:lnTo>
                    <a:lnTo>
                      <a:pt x="109" y="33"/>
                    </a:lnTo>
                    <a:lnTo>
                      <a:pt x="107" y="33"/>
                    </a:lnTo>
                    <a:lnTo>
                      <a:pt x="106" y="31"/>
                    </a:lnTo>
                    <a:lnTo>
                      <a:pt x="107" y="31"/>
                    </a:lnTo>
                    <a:lnTo>
                      <a:pt x="106" y="31"/>
                    </a:lnTo>
                    <a:lnTo>
                      <a:pt x="104" y="29"/>
                    </a:lnTo>
                    <a:lnTo>
                      <a:pt x="106" y="29"/>
                    </a:lnTo>
                    <a:lnTo>
                      <a:pt x="107" y="27"/>
                    </a:lnTo>
                    <a:lnTo>
                      <a:pt x="106" y="27"/>
                    </a:lnTo>
                    <a:lnTo>
                      <a:pt x="106" y="29"/>
                    </a:lnTo>
                    <a:lnTo>
                      <a:pt x="104" y="29"/>
                    </a:lnTo>
                    <a:lnTo>
                      <a:pt x="104" y="27"/>
                    </a:lnTo>
                    <a:lnTo>
                      <a:pt x="104" y="26"/>
                    </a:lnTo>
                    <a:lnTo>
                      <a:pt x="102" y="27"/>
                    </a:lnTo>
                    <a:lnTo>
                      <a:pt x="100" y="27"/>
                    </a:lnTo>
                    <a:lnTo>
                      <a:pt x="100" y="26"/>
                    </a:lnTo>
                    <a:lnTo>
                      <a:pt x="102" y="26"/>
                    </a:lnTo>
                    <a:lnTo>
                      <a:pt x="100" y="26"/>
                    </a:lnTo>
                    <a:lnTo>
                      <a:pt x="102" y="26"/>
                    </a:lnTo>
                    <a:lnTo>
                      <a:pt x="102" y="24"/>
                    </a:lnTo>
                    <a:lnTo>
                      <a:pt x="104" y="22"/>
                    </a:lnTo>
                    <a:lnTo>
                      <a:pt x="104" y="21"/>
                    </a:lnTo>
                    <a:lnTo>
                      <a:pt x="106" y="21"/>
                    </a:lnTo>
                    <a:lnTo>
                      <a:pt x="107" y="21"/>
                    </a:lnTo>
                    <a:lnTo>
                      <a:pt x="109" y="21"/>
                    </a:lnTo>
                    <a:lnTo>
                      <a:pt x="111" y="21"/>
                    </a:lnTo>
                    <a:lnTo>
                      <a:pt x="111" y="19"/>
                    </a:lnTo>
                    <a:lnTo>
                      <a:pt x="111" y="21"/>
                    </a:lnTo>
                    <a:lnTo>
                      <a:pt x="112" y="21"/>
                    </a:lnTo>
                    <a:lnTo>
                      <a:pt x="114" y="19"/>
                    </a:lnTo>
                    <a:lnTo>
                      <a:pt x="116" y="19"/>
                    </a:lnTo>
                    <a:lnTo>
                      <a:pt x="116" y="21"/>
                    </a:lnTo>
                    <a:lnTo>
                      <a:pt x="117" y="21"/>
                    </a:lnTo>
                    <a:lnTo>
                      <a:pt x="117" y="22"/>
                    </a:lnTo>
                    <a:lnTo>
                      <a:pt x="119" y="24"/>
                    </a:lnTo>
                    <a:lnTo>
                      <a:pt x="119" y="26"/>
                    </a:lnTo>
                    <a:lnTo>
                      <a:pt x="121" y="26"/>
                    </a:lnTo>
                    <a:lnTo>
                      <a:pt x="121" y="27"/>
                    </a:lnTo>
                    <a:lnTo>
                      <a:pt x="123" y="27"/>
                    </a:lnTo>
                    <a:lnTo>
                      <a:pt x="121" y="27"/>
                    </a:lnTo>
                    <a:lnTo>
                      <a:pt x="119" y="27"/>
                    </a:lnTo>
                    <a:lnTo>
                      <a:pt x="117" y="26"/>
                    </a:lnTo>
                    <a:lnTo>
                      <a:pt x="119" y="26"/>
                    </a:lnTo>
                    <a:lnTo>
                      <a:pt x="117" y="26"/>
                    </a:lnTo>
                    <a:lnTo>
                      <a:pt x="117" y="27"/>
                    </a:lnTo>
                    <a:lnTo>
                      <a:pt x="119" y="27"/>
                    </a:lnTo>
                    <a:lnTo>
                      <a:pt x="121" y="27"/>
                    </a:lnTo>
                    <a:lnTo>
                      <a:pt x="121" y="29"/>
                    </a:lnTo>
                    <a:lnTo>
                      <a:pt x="119" y="29"/>
                    </a:lnTo>
                    <a:lnTo>
                      <a:pt x="117" y="29"/>
                    </a:lnTo>
                    <a:lnTo>
                      <a:pt x="116" y="29"/>
                    </a:lnTo>
                    <a:lnTo>
                      <a:pt x="114" y="29"/>
                    </a:lnTo>
                    <a:lnTo>
                      <a:pt x="114" y="27"/>
                    </a:lnTo>
                    <a:lnTo>
                      <a:pt x="112" y="27"/>
                    </a:lnTo>
                    <a:lnTo>
                      <a:pt x="112" y="26"/>
                    </a:lnTo>
                    <a:lnTo>
                      <a:pt x="111" y="26"/>
                    </a:lnTo>
                    <a:lnTo>
                      <a:pt x="112" y="27"/>
                    </a:lnTo>
                    <a:lnTo>
                      <a:pt x="112" y="29"/>
                    </a:lnTo>
                    <a:lnTo>
                      <a:pt x="111" y="27"/>
                    </a:lnTo>
                    <a:lnTo>
                      <a:pt x="109" y="27"/>
                    </a:lnTo>
                    <a:lnTo>
                      <a:pt x="111" y="29"/>
                    </a:lnTo>
                    <a:lnTo>
                      <a:pt x="109" y="27"/>
                    </a:lnTo>
                    <a:lnTo>
                      <a:pt x="109" y="29"/>
                    </a:lnTo>
                    <a:lnTo>
                      <a:pt x="107" y="29"/>
                    </a:lnTo>
                    <a:lnTo>
                      <a:pt x="109" y="29"/>
                    </a:lnTo>
                    <a:lnTo>
                      <a:pt x="109" y="31"/>
                    </a:lnTo>
                    <a:lnTo>
                      <a:pt x="111" y="31"/>
                    </a:lnTo>
                    <a:lnTo>
                      <a:pt x="109" y="31"/>
                    </a:lnTo>
                    <a:lnTo>
                      <a:pt x="111" y="31"/>
                    </a:lnTo>
                    <a:lnTo>
                      <a:pt x="112" y="31"/>
                    </a:lnTo>
                    <a:lnTo>
                      <a:pt x="114" y="31"/>
                    </a:lnTo>
                    <a:lnTo>
                      <a:pt x="116" y="33"/>
                    </a:lnTo>
                    <a:lnTo>
                      <a:pt x="117" y="33"/>
                    </a:lnTo>
                    <a:lnTo>
                      <a:pt x="119" y="33"/>
                    </a:lnTo>
                    <a:lnTo>
                      <a:pt x="121" y="33"/>
                    </a:lnTo>
                    <a:lnTo>
                      <a:pt x="121" y="34"/>
                    </a:lnTo>
                    <a:lnTo>
                      <a:pt x="123" y="34"/>
                    </a:lnTo>
                    <a:lnTo>
                      <a:pt x="121" y="34"/>
                    </a:lnTo>
                    <a:lnTo>
                      <a:pt x="121" y="36"/>
                    </a:lnTo>
                    <a:lnTo>
                      <a:pt x="119" y="34"/>
                    </a:lnTo>
                    <a:lnTo>
                      <a:pt x="119" y="36"/>
                    </a:lnTo>
                    <a:lnTo>
                      <a:pt x="117" y="36"/>
                    </a:lnTo>
                    <a:lnTo>
                      <a:pt x="116" y="36"/>
                    </a:lnTo>
                    <a:lnTo>
                      <a:pt x="116" y="34"/>
                    </a:lnTo>
                    <a:lnTo>
                      <a:pt x="114" y="34"/>
                    </a:lnTo>
                    <a:lnTo>
                      <a:pt x="116" y="34"/>
                    </a:lnTo>
                    <a:lnTo>
                      <a:pt x="116" y="36"/>
                    </a:lnTo>
                    <a:lnTo>
                      <a:pt x="117" y="36"/>
                    </a:lnTo>
                    <a:lnTo>
                      <a:pt x="116" y="36"/>
                    </a:lnTo>
                    <a:lnTo>
                      <a:pt x="117" y="36"/>
                    </a:lnTo>
                    <a:lnTo>
                      <a:pt x="119" y="36"/>
                    </a:lnTo>
                    <a:lnTo>
                      <a:pt x="117" y="36"/>
                    </a:lnTo>
                    <a:lnTo>
                      <a:pt x="116" y="36"/>
                    </a:lnTo>
                    <a:lnTo>
                      <a:pt x="117" y="38"/>
                    </a:lnTo>
                    <a:lnTo>
                      <a:pt x="119" y="38"/>
                    </a:lnTo>
                    <a:lnTo>
                      <a:pt x="119" y="36"/>
                    </a:lnTo>
                    <a:lnTo>
                      <a:pt x="121" y="36"/>
                    </a:lnTo>
                    <a:lnTo>
                      <a:pt x="123" y="36"/>
                    </a:lnTo>
                    <a:lnTo>
                      <a:pt x="123" y="38"/>
                    </a:lnTo>
                    <a:lnTo>
                      <a:pt x="121" y="38"/>
                    </a:lnTo>
                    <a:lnTo>
                      <a:pt x="119" y="38"/>
                    </a:lnTo>
                    <a:lnTo>
                      <a:pt x="119" y="39"/>
                    </a:lnTo>
                    <a:lnTo>
                      <a:pt x="119" y="38"/>
                    </a:lnTo>
                    <a:lnTo>
                      <a:pt x="117" y="39"/>
                    </a:lnTo>
                    <a:lnTo>
                      <a:pt x="116" y="39"/>
                    </a:lnTo>
                    <a:lnTo>
                      <a:pt x="114" y="39"/>
                    </a:lnTo>
                    <a:lnTo>
                      <a:pt x="112" y="39"/>
                    </a:lnTo>
                    <a:lnTo>
                      <a:pt x="114" y="39"/>
                    </a:lnTo>
                    <a:lnTo>
                      <a:pt x="116" y="39"/>
                    </a:lnTo>
                    <a:lnTo>
                      <a:pt x="117" y="39"/>
                    </a:lnTo>
                    <a:lnTo>
                      <a:pt x="119" y="39"/>
                    </a:lnTo>
                    <a:lnTo>
                      <a:pt x="117" y="39"/>
                    </a:lnTo>
                    <a:lnTo>
                      <a:pt x="116" y="39"/>
                    </a:lnTo>
                    <a:lnTo>
                      <a:pt x="114" y="41"/>
                    </a:lnTo>
                    <a:lnTo>
                      <a:pt x="112" y="41"/>
                    </a:lnTo>
                    <a:lnTo>
                      <a:pt x="111" y="41"/>
                    </a:lnTo>
                    <a:lnTo>
                      <a:pt x="109" y="41"/>
                    </a:lnTo>
                    <a:lnTo>
                      <a:pt x="107" y="41"/>
                    </a:lnTo>
                    <a:lnTo>
                      <a:pt x="109" y="39"/>
                    </a:lnTo>
                    <a:lnTo>
                      <a:pt x="107" y="39"/>
                    </a:lnTo>
                    <a:lnTo>
                      <a:pt x="107" y="41"/>
                    </a:lnTo>
                    <a:lnTo>
                      <a:pt x="106" y="41"/>
                    </a:lnTo>
                    <a:lnTo>
                      <a:pt x="104" y="39"/>
                    </a:lnTo>
                    <a:lnTo>
                      <a:pt x="104" y="41"/>
                    </a:lnTo>
                    <a:lnTo>
                      <a:pt x="104" y="39"/>
                    </a:lnTo>
                    <a:lnTo>
                      <a:pt x="104" y="41"/>
                    </a:lnTo>
                    <a:lnTo>
                      <a:pt x="106" y="41"/>
                    </a:lnTo>
                    <a:lnTo>
                      <a:pt x="107" y="41"/>
                    </a:lnTo>
                    <a:lnTo>
                      <a:pt x="106" y="43"/>
                    </a:lnTo>
                    <a:lnTo>
                      <a:pt x="107" y="41"/>
                    </a:lnTo>
                    <a:lnTo>
                      <a:pt x="109" y="43"/>
                    </a:lnTo>
                    <a:lnTo>
                      <a:pt x="107" y="43"/>
                    </a:lnTo>
                    <a:lnTo>
                      <a:pt x="106" y="43"/>
                    </a:lnTo>
                    <a:lnTo>
                      <a:pt x="104" y="43"/>
                    </a:lnTo>
                    <a:lnTo>
                      <a:pt x="104" y="45"/>
                    </a:lnTo>
                    <a:lnTo>
                      <a:pt x="102" y="45"/>
                    </a:lnTo>
                    <a:lnTo>
                      <a:pt x="100" y="45"/>
                    </a:lnTo>
                    <a:lnTo>
                      <a:pt x="102" y="45"/>
                    </a:lnTo>
                    <a:lnTo>
                      <a:pt x="104" y="45"/>
                    </a:lnTo>
                    <a:lnTo>
                      <a:pt x="104" y="43"/>
                    </a:lnTo>
                    <a:lnTo>
                      <a:pt x="106" y="43"/>
                    </a:lnTo>
                    <a:lnTo>
                      <a:pt x="106" y="45"/>
                    </a:lnTo>
                    <a:lnTo>
                      <a:pt x="107" y="45"/>
                    </a:lnTo>
                    <a:lnTo>
                      <a:pt x="106" y="45"/>
                    </a:lnTo>
                    <a:lnTo>
                      <a:pt x="106" y="46"/>
                    </a:lnTo>
                    <a:lnTo>
                      <a:pt x="104" y="46"/>
                    </a:lnTo>
                    <a:lnTo>
                      <a:pt x="106" y="46"/>
                    </a:lnTo>
                    <a:lnTo>
                      <a:pt x="104" y="46"/>
                    </a:lnTo>
                    <a:lnTo>
                      <a:pt x="102" y="46"/>
                    </a:lnTo>
                    <a:lnTo>
                      <a:pt x="102" y="48"/>
                    </a:lnTo>
                    <a:lnTo>
                      <a:pt x="104" y="48"/>
                    </a:lnTo>
                    <a:lnTo>
                      <a:pt x="102" y="48"/>
                    </a:lnTo>
                    <a:lnTo>
                      <a:pt x="100" y="48"/>
                    </a:lnTo>
                    <a:lnTo>
                      <a:pt x="100" y="50"/>
                    </a:lnTo>
                    <a:lnTo>
                      <a:pt x="99" y="50"/>
                    </a:lnTo>
                    <a:lnTo>
                      <a:pt x="100" y="50"/>
                    </a:lnTo>
                    <a:lnTo>
                      <a:pt x="99" y="50"/>
                    </a:lnTo>
                    <a:lnTo>
                      <a:pt x="97" y="50"/>
                    </a:lnTo>
                    <a:lnTo>
                      <a:pt x="97" y="48"/>
                    </a:lnTo>
                    <a:lnTo>
                      <a:pt x="99" y="50"/>
                    </a:lnTo>
                    <a:lnTo>
                      <a:pt x="100" y="50"/>
                    </a:lnTo>
                    <a:lnTo>
                      <a:pt x="99" y="48"/>
                    </a:lnTo>
                    <a:lnTo>
                      <a:pt x="100" y="48"/>
                    </a:lnTo>
                    <a:lnTo>
                      <a:pt x="99" y="48"/>
                    </a:lnTo>
                    <a:lnTo>
                      <a:pt x="97" y="48"/>
                    </a:lnTo>
                    <a:lnTo>
                      <a:pt x="95" y="48"/>
                    </a:lnTo>
                    <a:lnTo>
                      <a:pt x="94" y="48"/>
                    </a:lnTo>
                    <a:lnTo>
                      <a:pt x="94" y="50"/>
                    </a:lnTo>
                    <a:lnTo>
                      <a:pt x="94" y="48"/>
                    </a:lnTo>
                    <a:lnTo>
                      <a:pt x="92" y="48"/>
                    </a:lnTo>
                    <a:lnTo>
                      <a:pt x="90" y="48"/>
                    </a:lnTo>
                    <a:lnTo>
                      <a:pt x="92" y="48"/>
                    </a:lnTo>
                    <a:lnTo>
                      <a:pt x="90" y="48"/>
                    </a:lnTo>
                    <a:lnTo>
                      <a:pt x="89" y="48"/>
                    </a:lnTo>
                    <a:lnTo>
                      <a:pt x="87" y="48"/>
                    </a:lnTo>
                    <a:lnTo>
                      <a:pt x="85" y="46"/>
                    </a:lnTo>
                    <a:lnTo>
                      <a:pt x="83" y="45"/>
                    </a:lnTo>
                    <a:lnTo>
                      <a:pt x="83" y="46"/>
                    </a:lnTo>
                    <a:lnTo>
                      <a:pt x="85" y="46"/>
                    </a:lnTo>
                    <a:lnTo>
                      <a:pt x="83" y="46"/>
                    </a:lnTo>
                    <a:lnTo>
                      <a:pt x="82" y="45"/>
                    </a:lnTo>
                    <a:lnTo>
                      <a:pt x="82" y="43"/>
                    </a:lnTo>
                    <a:lnTo>
                      <a:pt x="80" y="43"/>
                    </a:lnTo>
                    <a:lnTo>
                      <a:pt x="82" y="43"/>
                    </a:lnTo>
                    <a:lnTo>
                      <a:pt x="80" y="45"/>
                    </a:lnTo>
                    <a:lnTo>
                      <a:pt x="80" y="46"/>
                    </a:lnTo>
                    <a:lnTo>
                      <a:pt x="78" y="46"/>
                    </a:lnTo>
                    <a:lnTo>
                      <a:pt x="77" y="46"/>
                    </a:lnTo>
                    <a:lnTo>
                      <a:pt x="77" y="45"/>
                    </a:lnTo>
                    <a:lnTo>
                      <a:pt x="75" y="45"/>
                    </a:lnTo>
                    <a:lnTo>
                      <a:pt x="77" y="46"/>
                    </a:lnTo>
                    <a:lnTo>
                      <a:pt x="75" y="48"/>
                    </a:lnTo>
                    <a:lnTo>
                      <a:pt x="77" y="46"/>
                    </a:lnTo>
                    <a:lnTo>
                      <a:pt x="78" y="46"/>
                    </a:lnTo>
                    <a:lnTo>
                      <a:pt x="78" y="48"/>
                    </a:lnTo>
                    <a:lnTo>
                      <a:pt x="80" y="46"/>
                    </a:lnTo>
                    <a:lnTo>
                      <a:pt x="82" y="46"/>
                    </a:lnTo>
                    <a:lnTo>
                      <a:pt x="82" y="48"/>
                    </a:lnTo>
                    <a:lnTo>
                      <a:pt x="83" y="48"/>
                    </a:lnTo>
                    <a:lnTo>
                      <a:pt x="85" y="50"/>
                    </a:lnTo>
                    <a:lnTo>
                      <a:pt x="87" y="50"/>
                    </a:lnTo>
                    <a:lnTo>
                      <a:pt x="87" y="51"/>
                    </a:lnTo>
                    <a:lnTo>
                      <a:pt x="85" y="50"/>
                    </a:lnTo>
                    <a:lnTo>
                      <a:pt x="83" y="50"/>
                    </a:lnTo>
                    <a:lnTo>
                      <a:pt x="85" y="50"/>
                    </a:lnTo>
                    <a:lnTo>
                      <a:pt x="85" y="51"/>
                    </a:lnTo>
                    <a:lnTo>
                      <a:pt x="85" y="50"/>
                    </a:lnTo>
                    <a:lnTo>
                      <a:pt x="87" y="51"/>
                    </a:lnTo>
                    <a:lnTo>
                      <a:pt x="87" y="53"/>
                    </a:lnTo>
                    <a:lnTo>
                      <a:pt x="87" y="51"/>
                    </a:lnTo>
                    <a:lnTo>
                      <a:pt x="89" y="51"/>
                    </a:lnTo>
                    <a:lnTo>
                      <a:pt x="90" y="51"/>
                    </a:lnTo>
                    <a:lnTo>
                      <a:pt x="90" y="53"/>
                    </a:lnTo>
                    <a:lnTo>
                      <a:pt x="90" y="51"/>
                    </a:lnTo>
                    <a:lnTo>
                      <a:pt x="92" y="53"/>
                    </a:lnTo>
                    <a:lnTo>
                      <a:pt x="92" y="51"/>
                    </a:lnTo>
                    <a:lnTo>
                      <a:pt x="92" y="53"/>
                    </a:lnTo>
                    <a:lnTo>
                      <a:pt x="94" y="53"/>
                    </a:lnTo>
                    <a:lnTo>
                      <a:pt x="92" y="55"/>
                    </a:lnTo>
                    <a:lnTo>
                      <a:pt x="94" y="55"/>
                    </a:lnTo>
                    <a:lnTo>
                      <a:pt x="92" y="55"/>
                    </a:lnTo>
                    <a:lnTo>
                      <a:pt x="90" y="55"/>
                    </a:lnTo>
                    <a:lnTo>
                      <a:pt x="92" y="56"/>
                    </a:lnTo>
                    <a:lnTo>
                      <a:pt x="90" y="56"/>
                    </a:lnTo>
                    <a:lnTo>
                      <a:pt x="90" y="58"/>
                    </a:lnTo>
                    <a:lnTo>
                      <a:pt x="92" y="58"/>
                    </a:lnTo>
                    <a:lnTo>
                      <a:pt x="92" y="60"/>
                    </a:lnTo>
                    <a:lnTo>
                      <a:pt x="90" y="62"/>
                    </a:lnTo>
                    <a:lnTo>
                      <a:pt x="90" y="60"/>
                    </a:lnTo>
                    <a:lnTo>
                      <a:pt x="90" y="58"/>
                    </a:lnTo>
                    <a:lnTo>
                      <a:pt x="89" y="58"/>
                    </a:lnTo>
                    <a:lnTo>
                      <a:pt x="89" y="56"/>
                    </a:lnTo>
                    <a:lnTo>
                      <a:pt x="87" y="56"/>
                    </a:lnTo>
                    <a:lnTo>
                      <a:pt x="85" y="56"/>
                    </a:lnTo>
                    <a:lnTo>
                      <a:pt x="83" y="56"/>
                    </a:lnTo>
                    <a:lnTo>
                      <a:pt x="83" y="58"/>
                    </a:lnTo>
                    <a:lnTo>
                      <a:pt x="82" y="58"/>
                    </a:lnTo>
                    <a:lnTo>
                      <a:pt x="82" y="60"/>
                    </a:lnTo>
                    <a:lnTo>
                      <a:pt x="82" y="58"/>
                    </a:lnTo>
                    <a:lnTo>
                      <a:pt x="82" y="56"/>
                    </a:lnTo>
                    <a:lnTo>
                      <a:pt x="80" y="58"/>
                    </a:lnTo>
                    <a:lnTo>
                      <a:pt x="80" y="60"/>
                    </a:lnTo>
                    <a:lnTo>
                      <a:pt x="80" y="58"/>
                    </a:lnTo>
                    <a:lnTo>
                      <a:pt x="80" y="56"/>
                    </a:lnTo>
                    <a:lnTo>
                      <a:pt x="78" y="56"/>
                    </a:lnTo>
                    <a:lnTo>
                      <a:pt x="78" y="55"/>
                    </a:lnTo>
                    <a:lnTo>
                      <a:pt x="78" y="56"/>
                    </a:lnTo>
                    <a:lnTo>
                      <a:pt x="77" y="56"/>
                    </a:lnTo>
                    <a:lnTo>
                      <a:pt x="77" y="55"/>
                    </a:lnTo>
                    <a:lnTo>
                      <a:pt x="75" y="55"/>
                    </a:lnTo>
                    <a:lnTo>
                      <a:pt x="75" y="53"/>
                    </a:lnTo>
                    <a:lnTo>
                      <a:pt x="73" y="53"/>
                    </a:lnTo>
                    <a:lnTo>
                      <a:pt x="75" y="53"/>
                    </a:lnTo>
                    <a:lnTo>
                      <a:pt x="73" y="55"/>
                    </a:lnTo>
                    <a:lnTo>
                      <a:pt x="72" y="55"/>
                    </a:lnTo>
                    <a:lnTo>
                      <a:pt x="72" y="53"/>
                    </a:lnTo>
                    <a:lnTo>
                      <a:pt x="70" y="55"/>
                    </a:lnTo>
                    <a:lnTo>
                      <a:pt x="68" y="55"/>
                    </a:lnTo>
                    <a:lnTo>
                      <a:pt x="70" y="55"/>
                    </a:lnTo>
                    <a:lnTo>
                      <a:pt x="72" y="55"/>
                    </a:lnTo>
                    <a:lnTo>
                      <a:pt x="73" y="55"/>
                    </a:lnTo>
                    <a:lnTo>
                      <a:pt x="73" y="56"/>
                    </a:lnTo>
                    <a:lnTo>
                      <a:pt x="72" y="56"/>
                    </a:lnTo>
                    <a:lnTo>
                      <a:pt x="73" y="56"/>
                    </a:lnTo>
                    <a:lnTo>
                      <a:pt x="73" y="58"/>
                    </a:lnTo>
                    <a:lnTo>
                      <a:pt x="75" y="56"/>
                    </a:lnTo>
                    <a:lnTo>
                      <a:pt x="75" y="58"/>
                    </a:lnTo>
                    <a:lnTo>
                      <a:pt x="77" y="58"/>
                    </a:lnTo>
                    <a:lnTo>
                      <a:pt x="75" y="58"/>
                    </a:lnTo>
                    <a:lnTo>
                      <a:pt x="73" y="60"/>
                    </a:lnTo>
                    <a:lnTo>
                      <a:pt x="75" y="60"/>
                    </a:lnTo>
                    <a:lnTo>
                      <a:pt x="77" y="60"/>
                    </a:lnTo>
                    <a:lnTo>
                      <a:pt x="77" y="62"/>
                    </a:lnTo>
                    <a:lnTo>
                      <a:pt x="75" y="60"/>
                    </a:lnTo>
                    <a:lnTo>
                      <a:pt x="75" y="62"/>
                    </a:lnTo>
                    <a:lnTo>
                      <a:pt x="73" y="62"/>
                    </a:lnTo>
                    <a:lnTo>
                      <a:pt x="75" y="62"/>
                    </a:lnTo>
                    <a:lnTo>
                      <a:pt x="75" y="63"/>
                    </a:lnTo>
                    <a:lnTo>
                      <a:pt x="75" y="62"/>
                    </a:lnTo>
                    <a:lnTo>
                      <a:pt x="77" y="62"/>
                    </a:lnTo>
                    <a:lnTo>
                      <a:pt x="75" y="63"/>
                    </a:lnTo>
                    <a:lnTo>
                      <a:pt x="77" y="63"/>
                    </a:lnTo>
                    <a:lnTo>
                      <a:pt x="77" y="62"/>
                    </a:lnTo>
                    <a:lnTo>
                      <a:pt x="78" y="62"/>
                    </a:lnTo>
                    <a:lnTo>
                      <a:pt x="78" y="63"/>
                    </a:lnTo>
                    <a:lnTo>
                      <a:pt x="77" y="63"/>
                    </a:lnTo>
                    <a:lnTo>
                      <a:pt x="78" y="63"/>
                    </a:lnTo>
                    <a:lnTo>
                      <a:pt x="77" y="63"/>
                    </a:lnTo>
                    <a:lnTo>
                      <a:pt x="77" y="65"/>
                    </a:lnTo>
                    <a:lnTo>
                      <a:pt x="78" y="65"/>
                    </a:lnTo>
                    <a:lnTo>
                      <a:pt x="78" y="67"/>
                    </a:lnTo>
                    <a:lnTo>
                      <a:pt x="78" y="68"/>
                    </a:lnTo>
                    <a:lnTo>
                      <a:pt x="77" y="67"/>
                    </a:lnTo>
                    <a:lnTo>
                      <a:pt x="75" y="67"/>
                    </a:lnTo>
                    <a:lnTo>
                      <a:pt x="75" y="65"/>
                    </a:lnTo>
                    <a:lnTo>
                      <a:pt x="73" y="65"/>
                    </a:lnTo>
                    <a:lnTo>
                      <a:pt x="72" y="67"/>
                    </a:lnTo>
                    <a:lnTo>
                      <a:pt x="72" y="65"/>
                    </a:lnTo>
                    <a:lnTo>
                      <a:pt x="72" y="63"/>
                    </a:lnTo>
                    <a:lnTo>
                      <a:pt x="70" y="63"/>
                    </a:lnTo>
                    <a:lnTo>
                      <a:pt x="68" y="63"/>
                    </a:lnTo>
                    <a:lnTo>
                      <a:pt x="70" y="63"/>
                    </a:lnTo>
                    <a:lnTo>
                      <a:pt x="70" y="62"/>
                    </a:lnTo>
                    <a:lnTo>
                      <a:pt x="68" y="63"/>
                    </a:lnTo>
                    <a:lnTo>
                      <a:pt x="68" y="62"/>
                    </a:lnTo>
                    <a:lnTo>
                      <a:pt x="68" y="63"/>
                    </a:lnTo>
                    <a:lnTo>
                      <a:pt x="68" y="62"/>
                    </a:lnTo>
                    <a:lnTo>
                      <a:pt x="66" y="60"/>
                    </a:lnTo>
                    <a:lnTo>
                      <a:pt x="66" y="62"/>
                    </a:lnTo>
                    <a:lnTo>
                      <a:pt x="66" y="60"/>
                    </a:lnTo>
                    <a:lnTo>
                      <a:pt x="66" y="62"/>
                    </a:lnTo>
                    <a:lnTo>
                      <a:pt x="66" y="63"/>
                    </a:lnTo>
                    <a:lnTo>
                      <a:pt x="65" y="63"/>
                    </a:lnTo>
                    <a:lnTo>
                      <a:pt x="65" y="62"/>
                    </a:lnTo>
                    <a:lnTo>
                      <a:pt x="63" y="63"/>
                    </a:lnTo>
                    <a:lnTo>
                      <a:pt x="65" y="63"/>
                    </a:lnTo>
                    <a:lnTo>
                      <a:pt x="66" y="63"/>
                    </a:lnTo>
                    <a:lnTo>
                      <a:pt x="66" y="65"/>
                    </a:lnTo>
                    <a:lnTo>
                      <a:pt x="65" y="63"/>
                    </a:lnTo>
                    <a:lnTo>
                      <a:pt x="65" y="65"/>
                    </a:lnTo>
                    <a:lnTo>
                      <a:pt x="65" y="67"/>
                    </a:lnTo>
                    <a:lnTo>
                      <a:pt x="65" y="65"/>
                    </a:lnTo>
                    <a:lnTo>
                      <a:pt x="66" y="65"/>
                    </a:lnTo>
                    <a:lnTo>
                      <a:pt x="65" y="67"/>
                    </a:lnTo>
                    <a:lnTo>
                      <a:pt x="66" y="65"/>
                    </a:lnTo>
                    <a:lnTo>
                      <a:pt x="68" y="65"/>
                    </a:lnTo>
                    <a:lnTo>
                      <a:pt x="68" y="67"/>
                    </a:lnTo>
                    <a:lnTo>
                      <a:pt x="66" y="67"/>
                    </a:lnTo>
                    <a:lnTo>
                      <a:pt x="68" y="67"/>
                    </a:lnTo>
                    <a:lnTo>
                      <a:pt x="68" y="68"/>
                    </a:lnTo>
                    <a:lnTo>
                      <a:pt x="66" y="68"/>
                    </a:lnTo>
                    <a:lnTo>
                      <a:pt x="65" y="70"/>
                    </a:lnTo>
                    <a:lnTo>
                      <a:pt x="66" y="70"/>
                    </a:lnTo>
                    <a:lnTo>
                      <a:pt x="66" y="68"/>
                    </a:lnTo>
                    <a:lnTo>
                      <a:pt x="68" y="68"/>
                    </a:lnTo>
                    <a:lnTo>
                      <a:pt x="68" y="70"/>
                    </a:lnTo>
                    <a:lnTo>
                      <a:pt x="66" y="70"/>
                    </a:lnTo>
                    <a:lnTo>
                      <a:pt x="66" y="72"/>
                    </a:lnTo>
                    <a:lnTo>
                      <a:pt x="68" y="72"/>
                    </a:lnTo>
                    <a:lnTo>
                      <a:pt x="68" y="73"/>
                    </a:lnTo>
                    <a:lnTo>
                      <a:pt x="70" y="72"/>
                    </a:lnTo>
                    <a:lnTo>
                      <a:pt x="70" y="73"/>
                    </a:lnTo>
                    <a:lnTo>
                      <a:pt x="68" y="73"/>
                    </a:lnTo>
                    <a:lnTo>
                      <a:pt x="66" y="73"/>
                    </a:lnTo>
                    <a:lnTo>
                      <a:pt x="66" y="72"/>
                    </a:lnTo>
                    <a:lnTo>
                      <a:pt x="65" y="72"/>
                    </a:lnTo>
                    <a:lnTo>
                      <a:pt x="65" y="70"/>
                    </a:lnTo>
                    <a:lnTo>
                      <a:pt x="63" y="70"/>
                    </a:lnTo>
                    <a:lnTo>
                      <a:pt x="63" y="72"/>
                    </a:lnTo>
                    <a:lnTo>
                      <a:pt x="63" y="70"/>
                    </a:lnTo>
                    <a:lnTo>
                      <a:pt x="63" y="68"/>
                    </a:lnTo>
                    <a:lnTo>
                      <a:pt x="63" y="67"/>
                    </a:lnTo>
                    <a:lnTo>
                      <a:pt x="61" y="68"/>
                    </a:lnTo>
                    <a:lnTo>
                      <a:pt x="60" y="68"/>
                    </a:lnTo>
                    <a:lnTo>
                      <a:pt x="60" y="67"/>
                    </a:lnTo>
                    <a:lnTo>
                      <a:pt x="61" y="65"/>
                    </a:lnTo>
                    <a:lnTo>
                      <a:pt x="60" y="65"/>
                    </a:lnTo>
                    <a:lnTo>
                      <a:pt x="58" y="65"/>
                    </a:lnTo>
                    <a:lnTo>
                      <a:pt x="58" y="63"/>
                    </a:lnTo>
                    <a:lnTo>
                      <a:pt x="56" y="62"/>
                    </a:lnTo>
                    <a:lnTo>
                      <a:pt x="55" y="62"/>
                    </a:lnTo>
                    <a:lnTo>
                      <a:pt x="56" y="60"/>
                    </a:lnTo>
                    <a:lnTo>
                      <a:pt x="55" y="60"/>
                    </a:lnTo>
                    <a:lnTo>
                      <a:pt x="56" y="60"/>
                    </a:lnTo>
                    <a:lnTo>
                      <a:pt x="58" y="60"/>
                    </a:lnTo>
                    <a:lnTo>
                      <a:pt x="58" y="62"/>
                    </a:lnTo>
                    <a:lnTo>
                      <a:pt x="60" y="60"/>
                    </a:lnTo>
                    <a:lnTo>
                      <a:pt x="58" y="60"/>
                    </a:lnTo>
                    <a:lnTo>
                      <a:pt x="58" y="58"/>
                    </a:lnTo>
                    <a:lnTo>
                      <a:pt x="60" y="60"/>
                    </a:lnTo>
                    <a:lnTo>
                      <a:pt x="60" y="58"/>
                    </a:lnTo>
                    <a:lnTo>
                      <a:pt x="61" y="58"/>
                    </a:lnTo>
                    <a:lnTo>
                      <a:pt x="60" y="56"/>
                    </a:lnTo>
                    <a:lnTo>
                      <a:pt x="58" y="56"/>
                    </a:lnTo>
                    <a:lnTo>
                      <a:pt x="60" y="55"/>
                    </a:lnTo>
                    <a:lnTo>
                      <a:pt x="58" y="55"/>
                    </a:lnTo>
                    <a:lnTo>
                      <a:pt x="60" y="53"/>
                    </a:lnTo>
                    <a:lnTo>
                      <a:pt x="60" y="55"/>
                    </a:lnTo>
                    <a:lnTo>
                      <a:pt x="61" y="55"/>
                    </a:lnTo>
                    <a:lnTo>
                      <a:pt x="60" y="53"/>
                    </a:lnTo>
                    <a:lnTo>
                      <a:pt x="58" y="53"/>
                    </a:lnTo>
                    <a:lnTo>
                      <a:pt x="60" y="53"/>
                    </a:lnTo>
                    <a:lnTo>
                      <a:pt x="61" y="53"/>
                    </a:lnTo>
                    <a:lnTo>
                      <a:pt x="61" y="51"/>
                    </a:lnTo>
                    <a:lnTo>
                      <a:pt x="61" y="53"/>
                    </a:lnTo>
                    <a:lnTo>
                      <a:pt x="61" y="51"/>
                    </a:lnTo>
                    <a:lnTo>
                      <a:pt x="60" y="51"/>
                    </a:lnTo>
                    <a:lnTo>
                      <a:pt x="58" y="51"/>
                    </a:lnTo>
                    <a:lnTo>
                      <a:pt x="60" y="51"/>
                    </a:lnTo>
                    <a:lnTo>
                      <a:pt x="60" y="50"/>
                    </a:lnTo>
                    <a:lnTo>
                      <a:pt x="60" y="48"/>
                    </a:lnTo>
                    <a:lnTo>
                      <a:pt x="60" y="50"/>
                    </a:lnTo>
                    <a:lnTo>
                      <a:pt x="61" y="50"/>
                    </a:lnTo>
                    <a:lnTo>
                      <a:pt x="61" y="51"/>
                    </a:lnTo>
                    <a:lnTo>
                      <a:pt x="63" y="50"/>
                    </a:lnTo>
                    <a:lnTo>
                      <a:pt x="61" y="50"/>
                    </a:lnTo>
                    <a:lnTo>
                      <a:pt x="61" y="48"/>
                    </a:lnTo>
                    <a:lnTo>
                      <a:pt x="61" y="46"/>
                    </a:lnTo>
                    <a:lnTo>
                      <a:pt x="61" y="48"/>
                    </a:lnTo>
                    <a:lnTo>
                      <a:pt x="63" y="48"/>
                    </a:lnTo>
                    <a:lnTo>
                      <a:pt x="65" y="48"/>
                    </a:lnTo>
                    <a:lnTo>
                      <a:pt x="63" y="48"/>
                    </a:lnTo>
                    <a:lnTo>
                      <a:pt x="65" y="46"/>
                    </a:lnTo>
                    <a:lnTo>
                      <a:pt x="63" y="46"/>
                    </a:lnTo>
                    <a:lnTo>
                      <a:pt x="61" y="46"/>
                    </a:lnTo>
                    <a:lnTo>
                      <a:pt x="63" y="45"/>
                    </a:lnTo>
                    <a:lnTo>
                      <a:pt x="65" y="45"/>
                    </a:lnTo>
                    <a:lnTo>
                      <a:pt x="65" y="46"/>
                    </a:lnTo>
                    <a:lnTo>
                      <a:pt x="65" y="45"/>
                    </a:lnTo>
                    <a:lnTo>
                      <a:pt x="66" y="43"/>
                    </a:lnTo>
                    <a:lnTo>
                      <a:pt x="65" y="45"/>
                    </a:lnTo>
                    <a:lnTo>
                      <a:pt x="66" y="45"/>
                    </a:lnTo>
                    <a:lnTo>
                      <a:pt x="66" y="46"/>
                    </a:lnTo>
                    <a:lnTo>
                      <a:pt x="66" y="45"/>
                    </a:lnTo>
                    <a:lnTo>
                      <a:pt x="68" y="45"/>
                    </a:lnTo>
                    <a:lnTo>
                      <a:pt x="68" y="43"/>
                    </a:lnTo>
                    <a:lnTo>
                      <a:pt x="70" y="43"/>
                    </a:lnTo>
                    <a:lnTo>
                      <a:pt x="70" y="41"/>
                    </a:lnTo>
                    <a:lnTo>
                      <a:pt x="70" y="39"/>
                    </a:lnTo>
                    <a:lnTo>
                      <a:pt x="72" y="41"/>
                    </a:lnTo>
                    <a:lnTo>
                      <a:pt x="72" y="39"/>
                    </a:lnTo>
                    <a:lnTo>
                      <a:pt x="72" y="38"/>
                    </a:lnTo>
                    <a:lnTo>
                      <a:pt x="72" y="39"/>
                    </a:lnTo>
                    <a:lnTo>
                      <a:pt x="72" y="41"/>
                    </a:lnTo>
                    <a:lnTo>
                      <a:pt x="72" y="39"/>
                    </a:lnTo>
                    <a:lnTo>
                      <a:pt x="73" y="39"/>
                    </a:lnTo>
                    <a:lnTo>
                      <a:pt x="75" y="38"/>
                    </a:lnTo>
                    <a:lnTo>
                      <a:pt x="77" y="38"/>
                    </a:lnTo>
                    <a:lnTo>
                      <a:pt x="78" y="38"/>
                    </a:lnTo>
                    <a:lnTo>
                      <a:pt x="78" y="39"/>
                    </a:lnTo>
                    <a:lnTo>
                      <a:pt x="78" y="41"/>
                    </a:lnTo>
                    <a:lnTo>
                      <a:pt x="77" y="43"/>
                    </a:lnTo>
                    <a:lnTo>
                      <a:pt x="78" y="43"/>
                    </a:lnTo>
                    <a:lnTo>
                      <a:pt x="78" y="45"/>
                    </a:lnTo>
                    <a:lnTo>
                      <a:pt x="80" y="43"/>
                    </a:lnTo>
                    <a:lnTo>
                      <a:pt x="82" y="41"/>
                    </a:lnTo>
                    <a:lnTo>
                      <a:pt x="80" y="41"/>
                    </a:lnTo>
                    <a:lnTo>
                      <a:pt x="80" y="43"/>
                    </a:lnTo>
                    <a:lnTo>
                      <a:pt x="80" y="41"/>
                    </a:lnTo>
                    <a:lnTo>
                      <a:pt x="80" y="39"/>
                    </a:lnTo>
                    <a:lnTo>
                      <a:pt x="80" y="38"/>
                    </a:lnTo>
                    <a:lnTo>
                      <a:pt x="78" y="38"/>
                    </a:lnTo>
                    <a:lnTo>
                      <a:pt x="78" y="36"/>
                    </a:lnTo>
                    <a:lnTo>
                      <a:pt x="80" y="36"/>
                    </a:lnTo>
                    <a:lnTo>
                      <a:pt x="78" y="36"/>
                    </a:lnTo>
                    <a:lnTo>
                      <a:pt x="78" y="34"/>
                    </a:lnTo>
                    <a:lnTo>
                      <a:pt x="80" y="36"/>
                    </a:lnTo>
                    <a:lnTo>
                      <a:pt x="78" y="34"/>
                    </a:lnTo>
                    <a:lnTo>
                      <a:pt x="77" y="34"/>
                    </a:lnTo>
                    <a:lnTo>
                      <a:pt x="77" y="33"/>
                    </a:lnTo>
                    <a:lnTo>
                      <a:pt x="75" y="33"/>
                    </a:lnTo>
                    <a:lnTo>
                      <a:pt x="73" y="33"/>
                    </a:lnTo>
                    <a:lnTo>
                      <a:pt x="73" y="31"/>
                    </a:lnTo>
                    <a:lnTo>
                      <a:pt x="75" y="31"/>
                    </a:lnTo>
                    <a:lnTo>
                      <a:pt x="75" y="29"/>
                    </a:lnTo>
                    <a:lnTo>
                      <a:pt x="75" y="27"/>
                    </a:lnTo>
                    <a:lnTo>
                      <a:pt x="75" y="26"/>
                    </a:lnTo>
                    <a:lnTo>
                      <a:pt x="75" y="27"/>
                    </a:lnTo>
                    <a:lnTo>
                      <a:pt x="77" y="27"/>
                    </a:lnTo>
                    <a:lnTo>
                      <a:pt x="77" y="29"/>
                    </a:lnTo>
                    <a:lnTo>
                      <a:pt x="77" y="31"/>
                    </a:lnTo>
                    <a:lnTo>
                      <a:pt x="78" y="31"/>
                    </a:lnTo>
                    <a:lnTo>
                      <a:pt x="78" y="33"/>
                    </a:lnTo>
                    <a:lnTo>
                      <a:pt x="78" y="31"/>
                    </a:lnTo>
                    <a:lnTo>
                      <a:pt x="78" y="29"/>
                    </a:lnTo>
                    <a:lnTo>
                      <a:pt x="77" y="27"/>
                    </a:lnTo>
                    <a:lnTo>
                      <a:pt x="78" y="27"/>
                    </a:lnTo>
                    <a:lnTo>
                      <a:pt x="80" y="27"/>
                    </a:lnTo>
                    <a:lnTo>
                      <a:pt x="82" y="27"/>
                    </a:lnTo>
                    <a:lnTo>
                      <a:pt x="82" y="29"/>
                    </a:lnTo>
                    <a:lnTo>
                      <a:pt x="82" y="27"/>
                    </a:lnTo>
                    <a:lnTo>
                      <a:pt x="83" y="27"/>
                    </a:lnTo>
                    <a:lnTo>
                      <a:pt x="85" y="27"/>
                    </a:lnTo>
                    <a:lnTo>
                      <a:pt x="83" y="27"/>
                    </a:lnTo>
                    <a:lnTo>
                      <a:pt x="82" y="27"/>
                    </a:lnTo>
                    <a:lnTo>
                      <a:pt x="80" y="27"/>
                    </a:lnTo>
                    <a:lnTo>
                      <a:pt x="78" y="26"/>
                    </a:lnTo>
                    <a:lnTo>
                      <a:pt x="77" y="26"/>
                    </a:lnTo>
                    <a:lnTo>
                      <a:pt x="77" y="24"/>
                    </a:lnTo>
                    <a:lnTo>
                      <a:pt x="75" y="26"/>
                    </a:lnTo>
                    <a:lnTo>
                      <a:pt x="75" y="24"/>
                    </a:lnTo>
                    <a:lnTo>
                      <a:pt x="75" y="22"/>
                    </a:lnTo>
                    <a:lnTo>
                      <a:pt x="77" y="22"/>
                    </a:lnTo>
                    <a:lnTo>
                      <a:pt x="78" y="22"/>
                    </a:lnTo>
                    <a:lnTo>
                      <a:pt x="80" y="22"/>
                    </a:lnTo>
                    <a:lnTo>
                      <a:pt x="80" y="24"/>
                    </a:lnTo>
                    <a:lnTo>
                      <a:pt x="80" y="22"/>
                    </a:lnTo>
                    <a:lnTo>
                      <a:pt x="78" y="22"/>
                    </a:lnTo>
                    <a:lnTo>
                      <a:pt x="80" y="22"/>
                    </a:lnTo>
                    <a:lnTo>
                      <a:pt x="80" y="21"/>
                    </a:lnTo>
                    <a:lnTo>
                      <a:pt x="82" y="21"/>
                    </a:lnTo>
                    <a:lnTo>
                      <a:pt x="83" y="21"/>
                    </a:lnTo>
                    <a:lnTo>
                      <a:pt x="83" y="19"/>
                    </a:lnTo>
                    <a:lnTo>
                      <a:pt x="83" y="17"/>
                    </a:lnTo>
                    <a:lnTo>
                      <a:pt x="82" y="17"/>
                    </a:lnTo>
                    <a:lnTo>
                      <a:pt x="82" y="16"/>
                    </a:lnTo>
                    <a:lnTo>
                      <a:pt x="82" y="14"/>
                    </a:lnTo>
                    <a:lnTo>
                      <a:pt x="80" y="14"/>
                    </a:lnTo>
                    <a:lnTo>
                      <a:pt x="82" y="14"/>
                    </a:lnTo>
                    <a:lnTo>
                      <a:pt x="80" y="12"/>
                    </a:lnTo>
                    <a:close/>
                    <a:moveTo>
                      <a:pt x="66" y="19"/>
                    </a:moveTo>
                    <a:lnTo>
                      <a:pt x="68" y="19"/>
                    </a:lnTo>
                    <a:lnTo>
                      <a:pt x="70" y="21"/>
                    </a:lnTo>
                    <a:lnTo>
                      <a:pt x="72" y="21"/>
                    </a:lnTo>
                    <a:lnTo>
                      <a:pt x="73" y="21"/>
                    </a:lnTo>
                    <a:lnTo>
                      <a:pt x="72" y="22"/>
                    </a:lnTo>
                    <a:lnTo>
                      <a:pt x="70" y="22"/>
                    </a:lnTo>
                    <a:lnTo>
                      <a:pt x="70" y="24"/>
                    </a:lnTo>
                    <a:lnTo>
                      <a:pt x="72" y="24"/>
                    </a:lnTo>
                    <a:lnTo>
                      <a:pt x="73" y="22"/>
                    </a:lnTo>
                    <a:lnTo>
                      <a:pt x="72" y="24"/>
                    </a:lnTo>
                    <a:lnTo>
                      <a:pt x="70" y="26"/>
                    </a:lnTo>
                    <a:lnTo>
                      <a:pt x="70" y="27"/>
                    </a:lnTo>
                    <a:lnTo>
                      <a:pt x="68" y="27"/>
                    </a:lnTo>
                    <a:lnTo>
                      <a:pt x="68" y="26"/>
                    </a:lnTo>
                    <a:lnTo>
                      <a:pt x="66" y="26"/>
                    </a:lnTo>
                    <a:lnTo>
                      <a:pt x="68" y="27"/>
                    </a:lnTo>
                    <a:lnTo>
                      <a:pt x="66" y="26"/>
                    </a:lnTo>
                    <a:lnTo>
                      <a:pt x="66" y="27"/>
                    </a:lnTo>
                    <a:lnTo>
                      <a:pt x="65" y="27"/>
                    </a:lnTo>
                    <a:lnTo>
                      <a:pt x="63" y="27"/>
                    </a:lnTo>
                    <a:lnTo>
                      <a:pt x="65" y="27"/>
                    </a:lnTo>
                    <a:lnTo>
                      <a:pt x="66" y="27"/>
                    </a:lnTo>
                    <a:lnTo>
                      <a:pt x="68" y="27"/>
                    </a:lnTo>
                    <a:lnTo>
                      <a:pt x="66" y="27"/>
                    </a:lnTo>
                    <a:lnTo>
                      <a:pt x="66" y="29"/>
                    </a:lnTo>
                    <a:lnTo>
                      <a:pt x="66" y="27"/>
                    </a:lnTo>
                    <a:lnTo>
                      <a:pt x="66" y="29"/>
                    </a:lnTo>
                    <a:lnTo>
                      <a:pt x="68" y="27"/>
                    </a:lnTo>
                    <a:lnTo>
                      <a:pt x="68" y="29"/>
                    </a:lnTo>
                    <a:lnTo>
                      <a:pt x="66" y="29"/>
                    </a:lnTo>
                    <a:lnTo>
                      <a:pt x="66" y="31"/>
                    </a:lnTo>
                    <a:lnTo>
                      <a:pt x="66" y="33"/>
                    </a:lnTo>
                    <a:lnTo>
                      <a:pt x="65" y="33"/>
                    </a:lnTo>
                    <a:lnTo>
                      <a:pt x="65" y="34"/>
                    </a:lnTo>
                    <a:lnTo>
                      <a:pt x="63" y="34"/>
                    </a:lnTo>
                    <a:lnTo>
                      <a:pt x="63" y="33"/>
                    </a:lnTo>
                    <a:lnTo>
                      <a:pt x="65" y="31"/>
                    </a:lnTo>
                    <a:lnTo>
                      <a:pt x="63" y="33"/>
                    </a:lnTo>
                    <a:lnTo>
                      <a:pt x="63" y="34"/>
                    </a:lnTo>
                    <a:lnTo>
                      <a:pt x="61" y="34"/>
                    </a:lnTo>
                    <a:lnTo>
                      <a:pt x="63" y="33"/>
                    </a:lnTo>
                    <a:lnTo>
                      <a:pt x="61" y="33"/>
                    </a:lnTo>
                    <a:lnTo>
                      <a:pt x="61" y="34"/>
                    </a:lnTo>
                    <a:lnTo>
                      <a:pt x="60" y="34"/>
                    </a:lnTo>
                    <a:lnTo>
                      <a:pt x="60" y="36"/>
                    </a:lnTo>
                    <a:lnTo>
                      <a:pt x="61" y="34"/>
                    </a:lnTo>
                    <a:lnTo>
                      <a:pt x="61" y="36"/>
                    </a:lnTo>
                    <a:lnTo>
                      <a:pt x="60" y="36"/>
                    </a:lnTo>
                    <a:lnTo>
                      <a:pt x="60" y="38"/>
                    </a:lnTo>
                    <a:lnTo>
                      <a:pt x="60" y="39"/>
                    </a:lnTo>
                    <a:lnTo>
                      <a:pt x="58" y="39"/>
                    </a:lnTo>
                    <a:lnTo>
                      <a:pt x="56" y="39"/>
                    </a:lnTo>
                    <a:lnTo>
                      <a:pt x="58" y="39"/>
                    </a:lnTo>
                    <a:lnTo>
                      <a:pt x="58" y="41"/>
                    </a:lnTo>
                    <a:lnTo>
                      <a:pt x="56" y="41"/>
                    </a:lnTo>
                    <a:lnTo>
                      <a:pt x="56" y="43"/>
                    </a:lnTo>
                    <a:lnTo>
                      <a:pt x="55" y="43"/>
                    </a:lnTo>
                    <a:lnTo>
                      <a:pt x="53" y="45"/>
                    </a:lnTo>
                    <a:lnTo>
                      <a:pt x="55" y="45"/>
                    </a:lnTo>
                    <a:lnTo>
                      <a:pt x="53" y="45"/>
                    </a:lnTo>
                    <a:lnTo>
                      <a:pt x="53" y="46"/>
                    </a:lnTo>
                    <a:lnTo>
                      <a:pt x="51" y="48"/>
                    </a:lnTo>
                    <a:lnTo>
                      <a:pt x="51" y="50"/>
                    </a:lnTo>
                    <a:lnTo>
                      <a:pt x="51" y="51"/>
                    </a:lnTo>
                    <a:lnTo>
                      <a:pt x="49" y="51"/>
                    </a:lnTo>
                    <a:lnTo>
                      <a:pt x="49" y="53"/>
                    </a:lnTo>
                    <a:lnTo>
                      <a:pt x="48" y="51"/>
                    </a:lnTo>
                    <a:lnTo>
                      <a:pt x="48" y="53"/>
                    </a:lnTo>
                    <a:lnTo>
                      <a:pt x="46" y="53"/>
                    </a:lnTo>
                    <a:lnTo>
                      <a:pt x="46" y="55"/>
                    </a:lnTo>
                    <a:lnTo>
                      <a:pt x="44" y="53"/>
                    </a:lnTo>
                    <a:lnTo>
                      <a:pt x="46" y="53"/>
                    </a:lnTo>
                    <a:lnTo>
                      <a:pt x="44" y="51"/>
                    </a:lnTo>
                    <a:lnTo>
                      <a:pt x="46" y="51"/>
                    </a:lnTo>
                    <a:lnTo>
                      <a:pt x="44" y="53"/>
                    </a:lnTo>
                    <a:lnTo>
                      <a:pt x="43" y="51"/>
                    </a:lnTo>
                    <a:lnTo>
                      <a:pt x="44" y="51"/>
                    </a:lnTo>
                    <a:lnTo>
                      <a:pt x="43" y="50"/>
                    </a:lnTo>
                    <a:lnTo>
                      <a:pt x="43" y="51"/>
                    </a:lnTo>
                    <a:lnTo>
                      <a:pt x="43" y="53"/>
                    </a:lnTo>
                    <a:lnTo>
                      <a:pt x="43" y="55"/>
                    </a:lnTo>
                    <a:lnTo>
                      <a:pt x="41" y="55"/>
                    </a:lnTo>
                    <a:lnTo>
                      <a:pt x="39" y="55"/>
                    </a:lnTo>
                    <a:lnTo>
                      <a:pt x="38" y="55"/>
                    </a:lnTo>
                    <a:lnTo>
                      <a:pt x="39" y="53"/>
                    </a:lnTo>
                    <a:lnTo>
                      <a:pt x="38" y="53"/>
                    </a:lnTo>
                    <a:lnTo>
                      <a:pt x="39" y="53"/>
                    </a:lnTo>
                    <a:lnTo>
                      <a:pt x="38" y="53"/>
                    </a:lnTo>
                    <a:lnTo>
                      <a:pt x="39" y="51"/>
                    </a:lnTo>
                    <a:lnTo>
                      <a:pt x="38" y="53"/>
                    </a:lnTo>
                    <a:lnTo>
                      <a:pt x="36" y="53"/>
                    </a:lnTo>
                    <a:lnTo>
                      <a:pt x="36" y="55"/>
                    </a:lnTo>
                    <a:lnTo>
                      <a:pt x="34" y="53"/>
                    </a:lnTo>
                    <a:lnTo>
                      <a:pt x="34" y="51"/>
                    </a:lnTo>
                    <a:lnTo>
                      <a:pt x="36" y="51"/>
                    </a:lnTo>
                    <a:lnTo>
                      <a:pt x="36" y="50"/>
                    </a:lnTo>
                    <a:lnTo>
                      <a:pt x="34" y="50"/>
                    </a:lnTo>
                    <a:lnTo>
                      <a:pt x="34" y="51"/>
                    </a:lnTo>
                    <a:lnTo>
                      <a:pt x="32" y="50"/>
                    </a:lnTo>
                    <a:lnTo>
                      <a:pt x="34" y="51"/>
                    </a:lnTo>
                    <a:lnTo>
                      <a:pt x="34" y="53"/>
                    </a:lnTo>
                    <a:lnTo>
                      <a:pt x="34" y="55"/>
                    </a:lnTo>
                    <a:lnTo>
                      <a:pt x="34" y="53"/>
                    </a:lnTo>
                    <a:lnTo>
                      <a:pt x="36" y="55"/>
                    </a:lnTo>
                    <a:lnTo>
                      <a:pt x="36" y="56"/>
                    </a:lnTo>
                    <a:lnTo>
                      <a:pt x="36" y="58"/>
                    </a:lnTo>
                    <a:lnTo>
                      <a:pt x="38" y="58"/>
                    </a:lnTo>
                    <a:lnTo>
                      <a:pt x="38" y="56"/>
                    </a:lnTo>
                    <a:lnTo>
                      <a:pt x="38" y="55"/>
                    </a:lnTo>
                    <a:lnTo>
                      <a:pt x="38" y="56"/>
                    </a:lnTo>
                    <a:lnTo>
                      <a:pt x="38" y="58"/>
                    </a:lnTo>
                    <a:lnTo>
                      <a:pt x="36" y="60"/>
                    </a:lnTo>
                    <a:lnTo>
                      <a:pt x="36" y="62"/>
                    </a:lnTo>
                    <a:lnTo>
                      <a:pt x="34" y="62"/>
                    </a:lnTo>
                    <a:lnTo>
                      <a:pt x="34" y="63"/>
                    </a:lnTo>
                    <a:lnTo>
                      <a:pt x="32" y="62"/>
                    </a:lnTo>
                    <a:lnTo>
                      <a:pt x="32" y="60"/>
                    </a:lnTo>
                    <a:lnTo>
                      <a:pt x="34" y="60"/>
                    </a:lnTo>
                    <a:lnTo>
                      <a:pt x="32" y="60"/>
                    </a:lnTo>
                    <a:lnTo>
                      <a:pt x="32" y="58"/>
                    </a:lnTo>
                    <a:lnTo>
                      <a:pt x="32" y="60"/>
                    </a:lnTo>
                    <a:lnTo>
                      <a:pt x="32" y="62"/>
                    </a:lnTo>
                    <a:lnTo>
                      <a:pt x="32" y="60"/>
                    </a:lnTo>
                    <a:lnTo>
                      <a:pt x="31" y="60"/>
                    </a:lnTo>
                    <a:lnTo>
                      <a:pt x="29" y="60"/>
                    </a:lnTo>
                    <a:lnTo>
                      <a:pt x="31" y="60"/>
                    </a:lnTo>
                    <a:lnTo>
                      <a:pt x="32" y="62"/>
                    </a:lnTo>
                    <a:lnTo>
                      <a:pt x="32" y="63"/>
                    </a:lnTo>
                    <a:lnTo>
                      <a:pt x="34" y="63"/>
                    </a:lnTo>
                    <a:lnTo>
                      <a:pt x="32" y="63"/>
                    </a:lnTo>
                    <a:lnTo>
                      <a:pt x="32" y="62"/>
                    </a:lnTo>
                    <a:lnTo>
                      <a:pt x="31" y="62"/>
                    </a:lnTo>
                    <a:lnTo>
                      <a:pt x="31" y="63"/>
                    </a:lnTo>
                    <a:lnTo>
                      <a:pt x="29" y="63"/>
                    </a:lnTo>
                    <a:lnTo>
                      <a:pt x="29" y="62"/>
                    </a:lnTo>
                    <a:lnTo>
                      <a:pt x="29" y="63"/>
                    </a:lnTo>
                    <a:lnTo>
                      <a:pt x="27" y="62"/>
                    </a:lnTo>
                    <a:lnTo>
                      <a:pt x="27" y="60"/>
                    </a:lnTo>
                    <a:lnTo>
                      <a:pt x="26" y="62"/>
                    </a:lnTo>
                    <a:lnTo>
                      <a:pt x="27" y="62"/>
                    </a:lnTo>
                    <a:lnTo>
                      <a:pt x="26" y="62"/>
                    </a:lnTo>
                    <a:lnTo>
                      <a:pt x="26" y="63"/>
                    </a:lnTo>
                    <a:lnTo>
                      <a:pt x="27" y="62"/>
                    </a:lnTo>
                    <a:lnTo>
                      <a:pt x="27" y="63"/>
                    </a:lnTo>
                    <a:lnTo>
                      <a:pt x="29" y="63"/>
                    </a:lnTo>
                    <a:lnTo>
                      <a:pt x="29" y="65"/>
                    </a:lnTo>
                    <a:lnTo>
                      <a:pt x="27" y="65"/>
                    </a:lnTo>
                    <a:lnTo>
                      <a:pt x="29" y="65"/>
                    </a:lnTo>
                    <a:lnTo>
                      <a:pt x="27" y="67"/>
                    </a:lnTo>
                    <a:lnTo>
                      <a:pt x="26" y="67"/>
                    </a:lnTo>
                    <a:lnTo>
                      <a:pt x="26" y="68"/>
                    </a:lnTo>
                    <a:lnTo>
                      <a:pt x="24" y="67"/>
                    </a:lnTo>
                    <a:lnTo>
                      <a:pt x="26" y="68"/>
                    </a:lnTo>
                    <a:lnTo>
                      <a:pt x="24" y="68"/>
                    </a:lnTo>
                    <a:lnTo>
                      <a:pt x="22" y="67"/>
                    </a:lnTo>
                    <a:lnTo>
                      <a:pt x="24" y="67"/>
                    </a:lnTo>
                    <a:lnTo>
                      <a:pt x="22" y="65"/>
                    </a:lnTo>
                    <a:lnTo>
                      <a:pt x="24" y="65"/>
                    </a:lnTo>
                    <a:lnTo>
                      <a:pt x="24" y="63"/>
                    </a:lnTo>
                    <a:lnTo>
                      <a:pt x="22" y="65"/>
                    </a:lnTo>
                    <a:lnTo>
                      <a:pt x="22" y="63"/>
                    </a:lnTo>
                    <a:lnTo>
                      <a:pt x="24" y="63"/>
                    </a:lnTo>
                    <a:lnTo>
                      <a:pt x="22" y="63"/>
                    </a:lnTo>
                    <a:lnTo>
                      <a:pt x="22" y="62"/>
                    </a:lnTo>
                    <a:lnTo>
                      <a:pt x="21" y="63"/>
                    </a:lnTo>
                    <a:lnTo>
                      <a:pt x="21" y="62"/>
                    </a:lnTo>
                    <a:lnTo>
                      <a:pt x="22" y="62"/>
                    </a:lnTo>
                    <a:lnTo>
                      <a:pt x="24" y="62"/>
                    </a:lnTo>
                    <a:lnTo>
                      <a:pt x="22" y="62"/>
                    </a:lnTo>
                    <a:lnTo>
                      <a:pt x="22" y="60"/>
                    </a:lnTo>
                    <a:lnTo>
                      <a:pt x="21" y="60"/>
                    </a:lnTo>
                    <a:lnTo>
                      <a:pt x="21" y="62"/>
                    </a:lnTo>
                    <a:lnTo>
                      <a:pt x="21" y="60"/>
                    </a:lnTo>
                    <a:lnTo>
                      <a:pt x="19" y="60"/>
                    </a:lnTo>
                    <a:lnTo>
                      <a:pt x="17" y="60"/>
                    </a:lnTo>
                    <a:lnTo>
                      <a:pt x="17" y="62"/>
                    </a:lnTo>
                    <a:lnTo>
                      <a:pt x="19" y="62"/>
                    </a:lnTo>
                    <a:lnTo>
                      <a:pt x="19" y="63"/>
                    </a:lnTo>
                    <a:lnTo>
                      <a:pt x="21" y="63"/>
                    </a:lnTo>
                    <a:lnTo>
                      <a:pt x="22" y="63"/>
                    </a:lnTo>
                    <a:lnTo>
                      <a:pt x="22" y="65"/>
                    </a:lnTo>
                    <a:lnTo>
                      <a:pt x="21" y="63"/>
                    </a:lnTo>
                    <a:lnTo>
                      <a:pt x="21" y="65"/>
                    </a:lnTo>
                    <a:lnTo>
                      <a:pt x="21" y="63"/>
                    </a:lnTo>
                    <a:lnTo>
                      <a:pt x="19" y="65"/>
                    </a:lnTo>
                    <a:lnTo>
                      <a:pt x="17" y="63"/>
                    </a:lnTo>
                    <a:lnTo>
                      <a:pt x="19" y="62"/>
                    </a:lnTo>
                    <a:lnTo>
                      <a:pt x="17" y="62"/>
                    </a:lnTo>
                    <a:lnTo>
                      <a:pt x="15" y="60"/>
                    </a:lnTo>
                    <a:lnTo>
                      <a:pt x="14" y="60"/>
                    </a:lnTo>
                    <a:lnTo>
                      <a:pt x="14" y="58"/>
                    </a:lnTo>
                    <a:lnTo>
                      <a:pt x="12" y="58"/>
                    </a:lnTo>
                    <a:lnTo>
                      <a:pt x="12" y="56"/>
                    </a:lnTo>
                    <a:lnTo>
                      <a:pt x="10" y="56"/>
                    </a:lnTo>
                    <a:lnTo>
                      <a:pt x="12" y="58"/>
                    </a:lnTo>
                    <a:lnTo>
                      <a:pt x="10" y="58"/>
                    </a:lnTo>
                    <a:lnTo>
                      <a:pt x="10" y="56"/>
                    </a:lnTo>
                    <a:lnTo>
                      <a:pt x="10" y="55"/>
                    </a:lnTo>
                    <a:lnTo>
                      <a:pt x="9" y="55"/>
                    </a:lnTo>
                    <a:lnTo>
                      <a:pt x="10" y="55"/>
                    </a:lnTo>
                    <a:lnTo>
                      <a:pt x="12" y="55"/>
                    </a:lnTo>
                    <a:lnTo>
                      <a:pt x="12" y="56"/>
                    </a:lnTo>
                    <a:lnTo>
                      <a:pt x="14" y="56"/>
                    </a:lnTo>
                    <a:lnTo>
                      <a:pt x="15" y="56"/>
                    </a:lnTo>
                    <a:lnTo>
                      <a:pt x="15" y="58"/>
                    </a:lnTo>
                    <a:lnTo>
                      <a:pt x="17" y="58"/>
                    </a:lnTo>
                    <a:lnTo>
                      <a:pt x="19" y="56"/>
                    </a:lnTo>
                    <a:lnTo>
                      <a:pt x="17" y="58"/>
                    </a:lnTo>
                    <a:lnTo>
                      <a:pt x="15" y="58"/>
                    </a:lnTo>
                    <a:lnTo>
                      <a:pt x="15" y="56"/>
                    </a:lnTo>
                    <a:lnTo>
                      <a:pt x="15" y="55"/>
                    </a:lnTo>
                    <a:lnTo>
                      <a:pt x="17" y="56"/>
                    </a:lnTo>
                    <a:lnTo>
                      <a:pt x="19" y="56"/>
                    </a:lnTo>
                    <a:lnTo>
                      <a:pt x="19" y="55"/>
                    </a:lnTo>
                    <a:lnTo>
                      <a:pt x="21" y="55"/>
                    </a:lnTo>
                    <a:lnTo>
                      <a:pt x="21" y="53"/>
                    </a:lnTo>
                    <a:lnTo>
                      <a:pt x="19" y="53"/>
                    </a:lnTo>
                    <a:lnTo>
                      <a:pt x="17" y="55"/>
                    </a:lnTo>
                    <a:lnTo>
                      <a:pt x="17" y="53"/>
                    </a:lnTo>
                    <a:lnTo>
                      <a:pt x="17" y="51"/>
                    </a:lnTo>
                    <a:lnTo>
                      <a:pt x="19" y="51"/>
                    </a:lnTo>
                    <a:lnTo>
                      <a:pt x="21" y="51"/>
                    </a:lnTo>
                    <a:lnTo>
                      <a:pt x="21" y="53"/>
                    </a:lnTo>
                    <a:lnTo>
                      <a:pt x="21" y="51"/>
                    </a:lnTo>
                    <a:lnTo>
                      <a:pt x="22" y="51"/>
                    </a:lnTo>
                    <a:lnTo>
                      <a:pt x="21" y="53"/>
                    </a:lnTo>
                    <a:lnTo>
                      <a:pt x="22" y="53"/>
                    </a:lnTo>
                    <a:lnTo>
                      <a:pt x="21" y="55"/>
                    </a:lnTo>
                    <a:lnTo>
                      <a:pt x="22" y="55"/>
                    </a:lnTo>
                    <a:lnTo>
                      <a:pt x="22" y="53"/>
                    </a:lnTo>
                    <a:lnTo>
                      <a:pt x="22" y="55"/>
                    </a:lnTo>
                    <a:lnTo>
                      <a:pt x="22" y="56"/>
                    </a:lnTo>
                    <a:lnTo>
                      <a:pt x="24" y="56"/>
                    </a:lnTo>
                    <a:lnTo>
                      <a:pt x="22" y="56"/>
                    </a:lnTo>
                    <a:lnTo>
                      <a:pt x="24" y="55"/>
                    </a:lnTo>
                    <a:lnTo>
                      <a:pt x="22" y="55"/>
                    </a:lnTo>
                    <a:lnTo>
                      <a:pt x="24" y="55"/>
                    </a:lnTo>
                    <a:lnTo>
                      <a:pt x="24" y="53"/>
                    </a:lnTo>
                    <a:lnTo>
                      <a:pt x="22" y="53"/>
                    </a:lnTo>
                    <a:lnTo>
                      <a:pt x="24" y="53"/>
                    </a:lnTo>
                    <a:lnTo>
                      <a:pt x="26" y="53"/>
                    </a:lnTo>
                    <a:lnTo>
                      <a:pt x="26" y="55"/>
                    </a:lnTo>
                    <a:lnTo>
                      <a:pt x="27" y="55"/>
                    </a:lnTo>
                    <a:lnTo>
                      <a:pt x="26" y="55"/>
                    </a:lnTo>
                    <a:lnTo>
                      <a:pt x="26" y="53"/>
                    </a:lnTo>
                    <a:lnTo>
                      <a:pt x="27" y="55"/>
                    </a:lnTo>
                    <a:lnTo>
                      <a:pt x="29" y="55"/>
                    </a:lnTo>
                    <a:lnTo>
                      <a:pt x="27" y="55"/>
                    </a:lnTo>
                    <a:lnTo>
                      <a:pt x="27" y="53"/>
                    </a:lnTo>
                    <a:lnTo>
                      <a:pt x="29" y="53"/>
                    </a:lnTo>
                    <a:lnTo>
                      <a:pt x="31" y="53"/>
                    </a:lnTo>
                    <a:lnTo>
                      <a:pt x="31" y="51"/>
                    </a:lnTo>
                    <a:lnTo>
                      <a:pt x="32" y="51"/>
                    </a:lnTo>
                    <a:lnTo>
                      <a:pt x="32" y="50"/>
                    </a:lnTo>
                    <a:lnTo>
                      <a:pt x="31" y="50"/>
                    </a:lnTo>
                    <a:lnTo>
                      <a:pt x="31" y="51"/>
                    </a:lnTo>
                    <a:lnTo>
                      <a:pt x="29" y="51"/>
                    </a:lnTo>
                    <a:lnTo>
                      <a:pt x="27" y="51"/>
                    </a:lnTo>
                    <a:lnTo>
                      <a:pt x="27" y="50"/>
                    </a:lnTo>
                    <a:lnTo>
                      <a:pt x="26" y="50"/>
                    </a:lnTo>
                    <a:lnTo>
                      <a:pt x="24" y="50"/>
                    </a:lnTo>
                    <a:lnTo>
                      <a:pt x="26" y="50"/>
                    </a:lnTo>
                    <a:lnTo>
                      <a:pt x="27" y="50"/>
                    </a:lnTo>
                    <a:lnTo>
                      <a:pt x="27" y="51"/>
                    </a:lnTo>
                    <a:lnTo>
                      <a:pt x="27" y="50"/>
                    </a:lnTo>
                    <a:lnTo>
                      <a:pt x="29" y="50"/>
                    </a:lnTo>
                    <a:lnTo>
                      <a:pt x="29" y="48"/>
                    </a:lnTo>
                    <a:lnTo>
                      <a:pt x="31" y="48"/>
                    </a:lnTo>
                    <a:lnTo>
                      <a:pt x="31" y="46"/>
                    </a:lnTo>
                    <a:lnTo>
                      <a:pt x="29" y="46"/>
                    </a:lnTo>
                    <a:lnTo>
                      <a:pt x="31" y="46"/>
                    </a:lnTo>
                    <a:lnTo>
                      <a:pt x="31" y="45"/>
                    </a:lnTo>
                    <a:lnTo>
                      <a:pt x="29" y="45"/>
                    </a:lnTo>
                    <a:lnTo>
                      <a:pt x="31" y="45"/>
                    </a:lnTo>
                    <a:lnTo>
                      <a:pt x="29" y="43"/>
                    </a:lnTo>
                    <a:lnTo>
                      <a:pt x="31" y="43"/>
                    </a:lnTo>
                    <a:lnTo>
                      <a:pt x="31" y="41"/>
                    </a:lnTo>
                    <a:lnTo>
                      <a:pt x="32" y="41"/>
                    </a:lnTo>
                    <a:lnTo>
                      <a:pt x="31" y="43"/>
                    </a:lnTo>
                    <a:lnTo>
                      <a:pt x="32" y="41"/>
                    </a:lnTo>
                    <a:lnTo>
                      <a:pt x="32" y="43"/>
                    </a:lnTo>
                    <a:lnTo>
                      <a:pt x="32" y="45"/>
                    </a:lnTo>
                    <a:lnTo>
                      <a:pt x="32" y="43"/>
                    </a:lnTo>
                    <a:lnTo>
                      <a:pt x="34" y="45"/>
                    </a:lnTo>
                    <a:lnTo>
                      <a:pt x="32" y="45"/>
                    </a:lnTo>
                    <a:lnTo>
                      <a:pt x="32" y="46"/>
                    </a:lnTo>
                    <a:lnTo>
                      <a:pt x="34" y="46"/>
                    </a:lnTo>
                    <a:lnTo>
                      <a:pt x="34" y="48"/>
                    </a:lnTo>
                    <a:lnTo>
                      <a:pt x="34" y="46"/>
                    </a:lnTo>
                    <a:lnTo>
                      <a:pt x="34" y="45"/>
                    </a:lnTo>
                    <a:lnTo>
                      <a:pt x="36" y="45"/>
                    </a:lnTo>
                    <a:lnTo>
                      <a:pt x="34" y="43"/>
                    </a:lnTo>
                    <a:lnTo>
                      <a:pt x="36" y="43"/>
                    </a:lnTo>
                    <a:lnTo>
                      <a:pt x="36" y="41"/>
                    </a:lnTo>
                    <a:lnTo>
                      <a:pt x="34" y="41"/>
                    </a:lnTo>
                    <a:lnTo>
                      <a:pt x="36" y="41"/>
                    </a:lnTo>
                    <a:lnTo>
                      <a:pt x="38" y="39"/>
                    </a:lnTo>
                    <a:lnTo>
                      <a:pt x="36" y="41"/>
                    </a:lnTo>
                    <a:lnTo>
                      <a:pt x="38" y="41"/>
                    </a:lnTo>
                    <a:lnTo>
                      <a:pt x="38" y="43"/>
                    </a:lnTo>
                    <a:lnTo>
                      <a:pt x="38" y="41"/>
                    </a:lnTo>
                    <a:lnTo>
                      <a:pt x="39" y="43"/>
                    </a:lnTo>
                    <a:lnTo>
                      <a:pt x="39" y="41"/>
                    </a:lnTo>
                    <a:lnTo>
                      <a:pt x="39" y="39"/>
                    </a:lnTo>
                    <a:lnTo>
                      <a:pt x="39" y="38"/>
                    </a:lnTo>
                    <a:lnTo>
                      <a:pt x="38" y="38"/>
                    </a:lnTo>
                    <a:lnTo>
                      <a:pt x="36" y="39"/>
                    </a:lnTo>
                    <a:lnTo>
                      <a:pt x="36" y="38"/>
                    </a:lnTo>
                    <a:lnTo>
                      <a:pt x="34" y="38"/>
                    </a:lnTo>
                    <a:lnTo>
                      <a:pt x="32" y="38"/>
                    </a:lnTo>
                    <a:lnTo>
                      <a:pt x="32" y="39"/>
                    </a:lnTo>
                    <a:lnTo>
                      <a:pt x="34" y="41"/>
                    </a:lnTo>
                    <a:lnTo>
                      <a:pt x="32" y="39"/>
                    </a:lnTo>
                    <a:lnTo>
                      <a:pt x="31" y="41"/>
                    </a:lnTo>
                    <a:lnTo>
                      <a:pt x="29" y="41"/>
                    </a:lnTo>
                    <a:lnTo>
                      <a:pt x="27" y="41"/>
                    </a:lnTo>
                    <a:lnTo>
                      <a:pt x="27" y="43"/>
                    </a:lnTo>
                    <a:lnTo>
                      <a:pt x="26" y="41"/>
                    </a:lnTo>
                    <a:lnTo>
                      <a:pt x="27" y="41"/>
                    </a:lnTo>
                    <a:lnTo>
                      <a:pt x="26" y="41"/>
                    </a:lnTo>
                    <a:lnTo>
                      <a:pt x="24" y="39"/>
                    </a:lnTo>
                    <a:lnTo>
                      <a:pt x="24" y="38"/>
                    </a:lnTo>
                    <a:lnTo>
                      <a:pt x="24" y="36"/>
                    </a:lnTo>
                    <a:lnTo>
                      <a:pt x="26" y="36"/>
                    </a:lnTo>
                    <a:lnTo>
                      <a:pt x="26" y="38"/>
                    </a:lnTo>
                    <a:lnTo>
                      <a:pt x="26" y="36"/>
                    </a:lnTo>
                    <a:lnTo>
                      <a:pt x="26" y="38"/>
                    </a:lnTo>
                    <a:lnTo>
                      <a:pt x="27" y="38"/>
                    </a:lnTo>
                    <a:lnTo>
                      <a:pt x="29" y="38"/>
                    </a:lnTo>
                    <a:lnTo>
                      <a:pt x="31" y="38"/>
                    </a:lnTo>
                    <a:lnTo>
                      <a:pt x="32" y="36"/>
                    </a:lnTo>
                    <a:lnTo>
                      <a:pt x="34" y="36"/>
                    </a:lnTo>
                    <a:lnTo>
                      <a:pt x="36" y="36"/>
                    </a:lnTo>
                    <a:lnTo>
                      <a:pt x="38" y="36"/>
                    </a:lnTo>
                    <a:lnTo>
                      <a:pt x="38" y="34"/>
                    </a:lnTo>
                    <a:lnTo>
                      <a:pt x="39" y="36"/>
                    </a:lnTo>
                    <a:lnTo>
                      <a:pt x="39" y="38"/>
                    </a:lnTo>
                    <a:lnTo>
                      <a:pt x="41" y="38"/>
                    </a:lnTo>
                    <a:lnTo>
                      <a:pt x="43" y="38"/>
                    </a:lnTo>
                    <a:lnTo>
                      <a:pt x="43" y="39"/>
                    </a:lnTo>
                    <a:lnTo>
                      <a:pt x="43" y="38"/>
                    </a:lnTo>
                    <a:lnTo>
                      <a:pt x="44" y="39"/>
                    </a:lnTo>
                    <a:lnTo>
                      <a:pt x="46" y="39"/>
                    </a:lnTo>
                    <a:lnTo>
                      <a:pt x="44" y="39"/>
                    </a:lnTo>
                    <a:lnTo>
                      <a:pt x="43" y="38"/>
                    </a:lnTo>
                    <a:lnTo>
                      <a:pt x="43" y="36"/>
                    </a:lnTo>
                    <a:lnTo>
                      <a:pt x="41" y="36"/>
                    </a:lnTo>
                    <a:lnTo>
                      <a:pt x="39" y="36"/>
                    </a:lnTo>
                    <a:lnTo>
                      <a:pt x="39" y="34"/>
                    </a:lnTo>
                    <a:lnTo>
                      <a:pt x="38" y="34"/>
                    </a:lnTo>
                    <a:lnTo>
                      <a:pt x="38" y="33"/>
                    </a:lnTo>
                    <a:lnTo>
                      <a:pt x="36" y="33"/>
                    </a:lnTo>
                    <a:lnTo>
                      <a:pt x="36" y="31"/>
                    </a:lnTo>
                    <a:lnTo>
                      <a:pt x="38" y="31"/>
                    </a:lnTo>
                    <a:lnTo>
                      <a:pt x="36" y="31"/>
                    </a:lnTo>
                    <a:lnTo>
                      <a:pt x="36" y="29"/>
                    </a:lnTo>
                    <a:lnTo>
                      <a:pt x="34" y="29"/>
                    </a:lnTo>
                    <a:lnTo>
                      <a:pt x="36" y="29"/>
                    </a:lnTo>
                    <a:lnTo>
                      <a:pt x="36" y="31"/>
                    </a:lnTo>
                    <a:lnTo>
                      <a:pt x="34" y="31"/>
                    </a:lnTo>
                    <a:lnTo>
                      <a:pt x="32" y="31"/>
                    </a:lnTo>
                    <a:lnTo>
                      <a:pt x="32" y="29"/>
                    </a:lnTo>
                    <a:lnTo>
                      <a:pt x="31" y="29"/>
                    </a:lnTo>
                    <a:lnTo>
                      <a:pt x="29" y="29"/>
                    </a:lnTo>
                    <a:lnTo>
                      <a:pt x="29" y="27"/>
                    </a:lnTo>
                    <a:lnTo>
                      <a:pt x="29" y="29"/>
                    </a:lnTo>
                    <a:lnTo>
                      <a:pt x="29" y="27"/>
                    </a:lnTo>
                    <a:lnTo>
                      <a:pt x="29" y="26"/>
                    </a:lnTo>
                    <a:lnTo>
                      <a:pt x="31" y="26"/>
                    </a:lnTo>
                    <a:lnTo>
                      <a:pt x="32" y="27"/>
                    </a:lnTo>
                    <a:lnTo>
                      <a:pt x="32" y="26"/>
                    </a:lnTo>
                    <a:lnTo>
                      <a:pt x="31" y="24"/>
                    </a:lnTo>
                    <a:lnTo>
                      <a:pt x="31" y="22"/>
                    </a:lnTo>
                    <a:lnTo>
                      <a:pt x="29" y="24"/>
                    </a:lnTo>
                    <a:lnTo>
                      <a:pt x="27" y="24"/>
                    </a:lnTo>
                    <a:lnTo>
                      <a:pt x="26" y="24"/>
                    </a:lnTo>
                    <a:lnTo>
                      <a:pt x="26" y="22"/>
                    </a:lnTo>
                    <a:lnTo>
                      <a:pt x="24" y="22"/>
                    </a:lnTo>
                    <a:lnTo>
                      <a:pt x="24" y="21"/>
                    </a:lnTo>
                    <a:lnTo>
                      <a:pt x="24" y="19"/>
                    </a:lnTo>
                    <a:lnTo>
                      <a:pt x="26" y="19"/>
                    </a:lnTo>
                    <a:lnTo>
                      <a:pt x="24" y="19"/>
                    </a:lnTo>
                    <a:lnTo>
                      <a:pt x="24" y="17"/>
                    </a:lnTo>
                    <a:lnTo>
                      <a:pt x="26" y="19"/>
                    </a:lnTo>
                    <a:lnTo>
                      <a:pt x="27" y="19"/>
                    </a:lnTo>
                    <a:lnTo>
                      <a:pt x="29" y="21"/>
                    </a:lnTo>
                    <a:lnTo>
                      <a:pt x="31" y="21"/>
                    </a:lnTo>
                    <a:lnTo>
                      <a:pt x="31" y="22"/>
                    </a:lnTo>
                    <a:lnTo>
                      <a:pt x="31" y="21"/>
                    </a:lnTo>
                    <a:lnTo>
                      <a:pt x="31" y="22"/>
                    </a:lnTo>
                    <a:lnTo>
                      <a:pt x="32" y="22"/>
                    </a:lnTo>
                    <a:lnTo>
                      <a:pt x="32" y="24"/>
                    </a:lnTo>
                    <a:lnTo>
                      <a:pt x="34" y="24"/>
                    </a:lnTo>
                    <a:lnTo>
                      <a:pt x="36" y="26"/>
                    </a:lnTo>
                    <a:lnTo>
                      <a:pt x="38" y="26"/>
                    </a:lnTo>
                    <a:lnTo>
                      <a:pt x="39" y="26"/>
                    </a:lnTo>
                    <a:lnTo>
                      <a:pt x="41" y="26"/>
                    </a:lnTo>
                    <a:lnTo>
                      <a:pt x="41" y="27"/>
                    </a:lnTo>
                    <a:lnTo>
                      <a:pt x="41" y="26"/>
                    </a:lnTo>
                    <a:lnTo>
                      <a:pt x="43" y="27"/>
                    </a:lnTo>
                    <a:lnTo>
                      <a:pt x="43" y="26"/>
                    </a:lnTo>
                    <a:lnTo>
                      <a:pt x="44" y="26"/>
                    </a:lnTo>
                    <a:lnTo>
                      <a:pt x="46" y="26"/>
                    </a:lnTo>
                    <a:lnTo>
                      <a:pt x="46" y="24"/>
                    </a:lnTo>
                    <a:lnTo>
                      <a:pt x="44" y="24"/>
                    </a:lnTo>
                    <a:lnTo>
                      <a:pt x="43" y="24"/>
                    </a:lnTo>
                    <a:lnTo>
                      <a:pt x="43" y="22"/>
                    </a:lnTo>
                    <a:lnTo>
                      <a:pt x="44" y="22"/>
                    </a:lnTo>
                    <a:lnTo>
                      <a:pt x="44" y="21"/>
                    </a:lnTo>
                    <a:lnTo>
                      <a:pt x="46" y="21"/>
                    </a:lnTo>
                    <a:lnTo>
                      <a:pt x="44" y="21"/>
                    </a:lnTo>
                    <a:lnTo>
                      <a:pt x="44" y="22"/>
                    </a:lnTo>
                    <a:lnTo>
                      <a:pt x="46" y="22"/>
                    </a:lnTo>
                    <a:lnTo>
                      <a:pt x="48" y="21"/>
                    </a:lnTo>
                    <a:lnTo>
                      <a:pt x="49" y="21"/>
                    </a:lnTo>
                    <a:lnTo>
                      <a:pt x="51" y="21"/>
                    </a:lnTo>
                    <a:lnTo>
                      <a:pt x="49" y="21"/>
                    </a:lnTo>
                    <a:lnTo>
                      <a:pt x="49" y="22"/>
                    </a:lnTo>
                    <a:lnTo>
                      <a:pt x="49" y="21"/>
                    </a:lnTo>
                    <a:lnTo>
                      <a:pt x="51" y="21"/>
                    </a:lnTo>
                    <a:lnTo>
                      <a:pt x="53" y="21"/>
                    </a:lnTo>
                    <a:lnTo>
                      <a:pt x="51" y="21"/>
                    </a:lnTo>
                    <a:lnTo>
                      <a:pt x="51" y="22"/>
                    </a:lnTo>
                    <a:lnTo>
                      <a:pt x="49" y="22"/>
                    </a:lnTo>
                    <a:lnTo>
                      <a:pt x="51" y="22"/>
                    </a:lnTo>
                    <a:lnTo>
                      <a:pt x="53" y="22"/>
                    </a:lnTo>
                    <a:lnTo>
                      <a:pt x="55" y="21"/>
                    </a:lnTo>
                    <a:lnTo>
                      <a:pt x="55" y="22"/>
                    </a:lnTo>
                    <a:lnTo>
                      <a:pt x="53" y="22"/>
                    </a:lnTo>
                    <a:lnTo>
                      <a:pt x="53" y="24"/>
                    </a:lnTo>
                    <a:lnTo>
                      <a:pt x="53" y="22"/>
                    </a:lnTo>
                    <a:lnTo>
                      <a:pt x="51" y="22"/>
                    </a:lnTo>
                    <a:lnTo>
                      <a:pt x="53" y="24"/>
                    </a:lnTo>
                    <a:lnTo>
                      <a:pt x="51" y="24"/>
                    </a:lnTo>
                    <a:lnTo>
                      <a:pt x="53" y="24"/>
                    </a:lnTo>
                    <a:lnTo>
                      <a:pt x="55" y="24"/>
                    </a:lnTo>
                    <a:lnTo>
                      <a:pt x="56" y="24"/>
                    </a:lnTo>
                    <a:lnTo>
                      <a:pt x="58" y="22"/>
                    </a:lnTo>
                    <a:lnTo>
                      <a:pt x="58" y="24"/>
                    </a:lnTo>
                    <a:lnTo>
                      <a:pt x="58" y="26"/>
                    </a:lnTo>
                    <a:lnTo>
                      <a:pt x="58" y="24"/>
                    </a:lnTo>
                    <a:lnTo>
                      <a:pt x="58" y="22"/>
                    </a:lnTo>
                    <a:lnTo>
                      <a:pt x="60" y="24"/>
                    </a:lnTo>
                    <a:lnTo>
                      <a:pt x="60" y="22"/>
                    </a:lnTo>
                    <a:lnTo>
                      <a:pt x="61" y="22"/>
                    </a:lnTo>
                    <a:lnTo>
                      <a:pt x="61" y="21"/>
                    </a:lnTo>
                    <a:lnTo>
                      <a:pt x="63" y="21"/>
                    </a:lnTo>
                    <a:lnTo>
                      <a:pt x="63" y="22"/>
                    </a:lnTo>
                    <a:lnTo>
                      <a:pt x="61" y="22"/>
                    </a:lnTo>
                    <a:lnTo>
                      <a:pt x="61" y="24"/>
                    </a:lnTo>
                    <a:lnTo>
                      <a:pt x="61" y="22"/>
                    </a:lnTo>
                    <a:lnTo>
                      <a:pt x="61" y="24"/>
                    </a:lnTo>
                    <a:lnTo>
                      <a:pt x="60" y="24"/>
                    </a:lnTo>
                    <a:lnTo>
                      <a:pt x="61" y="24"/>
                    </a:lnTo>
                    <a:lnTo>
                      <a:pt x="61" y="26"/>
                    </a:lnTo>
                    <a:lnTo>
                      <a:pt x="61" y="24"/>
                    </a:lnTo>
                    <a:lnTo>
                      <a:pt x="63" y="24"/>
                    </a:lnTo>
                    <a:lnTo>
                      <a:pt x="65" y="24"/>
                    </a:lnTo>
                    <a:lnTo>
                      <a:pt x="66" y="22"/>
                    </a:lnTo>
                    <a:lnTo>
                      <a:pt x="66" y="24"/>
                    </a:lnTo>
                    <a:lnTo>
                      <a:pt x="66" y="22"/>
                    </a:lnTo>
                    <a:lnTo>
                      <a:pt x="65" y="22"/>
                    </a:lnTo>
                    <a:lnTo>
                      <a:pt x="65" y="21"/>
                    </a:lnTo>
                    <a:lnTo>
                      <a:pt x="63" y="21"/>
                    </a:lnTo>
                    <a:lnTo>
                      <a:pt x="65" y="21"/>
                    </a:lnTo>
                    <a:lnTo>
                      <a:pt x="65" y="19"/>
                    </a:lnTo>
                    <a:lnTo>
                      <a:pt x="66" y="19"/>
                    </a:lnTo>
                    <a:lnTo>
                      <a:pt x="65" y="17"/>
                    </a:lnTo>
                    <a:lnTo>
                      <a:pt x="66" y="17"/>
                    </a:lnTo>
                    <a:lnTo>
                      <a:pt x="66" y="19"/>
                    </a:lnTo>
                    <a:close/>
                    <a:moveTo>
                      <a:pt x="17" y="41"/>
                    </a:moveTo>
                    <a:lnTo>
                      <a:pt x="17" y="43"/>
                    </a:lnTo>
                    <a:lnTo>
                      <a:pt x="17" y="45"/>
                    </a:lnTo>
                    <a:lnTo>
                      <a:pt x="15" y="45"/>
                    </a:lnTo>
                    <a:lnTo>
                      <a:pt x="15" y="46"/>
                    </a:lnTo>
                    <a:lnTo>
                      <a:pt x="15" y="48"/>
                    </a:lnTo>
                    <a:lnTo>
                      <a:pt x="17" y="48"/>
                    </a:lnTo>
                    <a:lnTo>
                      <a:pt x="15" y="48"/>
                    </a:lnTo>
                    <a:lnTo>
                      <a:pt x="15" y="50"/>
                    </a:lnTo>
                    <a:lnTo>
                      <a:pt x="17" y="48"/>
                    </a:lnTo>
                    <a:lnTo>
                      <a:pt x="17" y="50"/>
                    </a:lnTo>
                    <a:lnTo>
                      <a:pt x="15" y="50"/>
                    </a:lnTo>
                    <a:lnTo>
                      <a:pt x="14" y="50"/>
                    </a:lnTo>
                    <a:lnTo>
                      <a:pt x="15" y="51"/>
                    </a:lnTo>
                    <a:lnTo>
                      <a:pt x="14" y="51"/>
                    </a:lnTo>
                    <a:lnTo>
                      <a:pt x="12" y="53"/>
                    </a:lnTo>
                    <a:lnTo>
                      <a:pt x="10" y="51"/>
                    </a:lnTo>
                    <a:lnTo>
                      <a:pt x="10" y="50"/>
                    </a:lnTo>
                    <a:lnTo>
                      <a:pt x="9" y="50"/>
                    </a:lnTo>
                    <a:lnTo>
                      <a:pt x="9" y="48"/>
                    </a:lnTo>
                    <a:lnTo>
                      <a:pt x="7" y="48"/>
                    </a:lnTo>
                    <a:lnTo>
                      <a:pt x="9" y="48"/>
                    </a:lnTo>
                    <a:lnTo>
                      <a:pt x="7" y="48"/>
                    </a:lnTo>
                    <a:lnTo>
                      <a:pt x="7" y="46"/>
                    </a:lnTo>
                    <a:lnTo>
                      <a:pt x="9" y="46"/>
                    </a:lnTo>
                    <a:lnTo>
                      <a:pt x="7" y="46"/>
                    </a:lnTo>
                    <a:lnTo>
                      <a:pt x="7" y="45"/>
                    </a:lnTo>
                    <a:lnTo>
                      <a:pt x="7" y="46"/>
                    </a:lnTo>
                    <a:lnTo>
                      <a:pt x="7" y="45"/>
                    </a:lnTo>
                    <a:lnTo>
                      <a:pt x="9" y="43"/>
                    </a:lnTo>
                    <a:lnTo>
                      <a:pt x="9" y="45"/>
                    </a:lnTo>
                    <a:lnTo>
                      <a:pt x="10" y="45"/>
                    </a:lnTo>
                    <a:lnTo>
                      <a:pt x="10" y="43"/>
                    </a:lnTo>
                    <a:lnTo>
                      <a:pt x="12" y="43"/>
                    </a:lnTo>
                    <a:lnTo>
                      <a:pt x="12" y="41"/>
                    </a:lnTo>
                    <a:lnTo>
                      <a:pt x="12" y="43"/>
                    </a:lnTo>
                    <a:lnTo>
                      <a:pt x="14" y="43"/>
                    </a:lnTo>
                    <a:lnTo>
                      <a:pt x="14" y="45"/>
                    </a:lnTo>
                    <a:lnTo>
                      <a:pt x="12" y="45"/>
                    </a:lnTo>
                    <a:lnTo>
                      <a:pt x="12" y="46"/>
                    </a:lnTo>
                    <a:lnTo>
                      <a:pt x="10" y="46"/>
                    </a:lnTo>
                    <a:lnTo>
                      <a:pt x="10" y="48"/>
                    </a:lnTo>
                    <a:lnTo>
                      <a:pt x="12" y="46"/>
                    </a:lnTo>
                    <a:lnTo>
                      <a:pt x="14" y="46"/>
                    </a:lnTo>
                    <a:lnTo>
                      <a:pt x="14" y="45"/>
                    </a:lnTo>
                    <a:lnTo>
                      <a:pt x="14" y="46"/>
                    </a:lnTo>
                    <a:lnTo>
                      <a:pt x="15" y="45"/>
                    </a:lnTo>
                    <a:lnTo>
                      <a:pt x="15" y="46"/>
                    </a:lnTo>
                    <a:lnTo>
                      <a:pt x="15" y="45"/>
                    </a:lnTo>
                    <a:lnTo>
                      <a:pt x="15" y="43"/>
                    </a:lnTo>
                    <a:lnTo>
                      <a:pt x="15" y="41"/>
                    </a:lnTo>
                    <a:lnTo>
                      <a:pt x="17" y="41"/>
                    </a:lnTo>
                    <a:close/>
                    <a:moveTo>
                      <a:pt x="36" y="14"/>
                    </a:moveTo>
                    <a:lnTo>
                      <a:pt x="38" y="14"/>
                    </a:lnTo>
                    <a:lnTo>
                      <a:pt x="38" y="16"/>
                    </a:lnTo>
                    <a:lnTo>
                      <a:pt x="39" y="16"/>
                    </a:lnTo>
                    <a:lnTo>
                      <a:pt x="39" y="17"/>
                    </a:lnTo>
                    <a:lnTo>
                      <a:pt x="41" y="17"/>
                    </a:lnTo>
                    <a:lnTo>
                      <a:pt x="41" y="16"/>
                    </a:lnTo>
                    <a:lnTo>
                      <a:pt x="43" y="16"/>
                    </a:lnTo>
                    <a:lnTo>
                      <a:pt x="44" y="17"/>
                    </a:lnTo>
                    <a:lnTo>
                      <a:pt x="43" y="17"/>
                    </a:lnTo>
                    <a:lnTo>
                      <a:pt x="44" y="17"/>
                    </a:lnTo>
                    <a:lnTo>
                      <a:pt x="44" y="19"/>
                    </a:lnTo>
                    <a:lnTo>
                      <a:pt x="43" y="19"/>
                    </a:lnTo>
                    <a:lnTo>
                      <a:pt x="43" y="21"/>
                    </a:lnTo>
                    <a:lnTo>
                      <a:pt x="41" y="21"/>
                    </a:lnTo>
                    <a:lnTo>
                      <a:pt x="43" y="21"/>
                    </a:lnTo>
                    <a:lnTo>
                      <a:pt x="41" y="21"/>
                    </a:lnTo>
                    <a:lnTo>
                      <a:pt x="39" y="21"/>
                    </a:lnTo>
                    <a:lnTo>
                      <a:pt x="38" y="21"/>
                    </a:lnTo>
                    <a:lnTo>
                      <a:pt x="38" y="22"/>
                    </a:lnTo>
                    <a:lnTo>
                      <a:pt x="36" y="22"/>
                    </a:lnTo>
                    <a:lnTo>
                      <a:pt x="36" y="21"/>
                    </a:lnTo>
                    <a:lnTo>
                      <a:pt x="36" y="19"/>
                    </a:lnTo>
                    <a:lnTo>
                      <a:pt x="38" y="19"/>
                    </a:lnTo>
                    <a:lnTo>
                      <a:pt x="38" y="17"/>
                    </a:lnTo>
                    <a:lnTo>
                      <a:pt x="39" y="19"/>
                    </a:lnTo>
                    <a:lnTo>
                      <a:pt x="39" y="21"/>
                    </a:lnTo>
                    <a:lnTo>
                      <a:pt x="41" y="21"/>
                    </a:lnTo>
                    <a:lnTo>
                      <a:pt x="41" y="19"/>
                    </a:lnTo>
                    <a:lnTo>
                      <a:pt x="39" y="19"/>
                    </a:lnTo>
                    <a:lnTo>
                      <a:pt x="39" y="17"/>
                    </a:lnTo>
                    <a:lnTo>
                      <a:pt x="38" y="17"/>
                    </a:lnTo>
                    <a:lnTo>
                      <a:pt x="38" y="16"/>
                    </a:lnTo>
                    <a:lnTo>
                      <a:pt x="36" y="16"/>
                    </a:lnTo>
                    <a:lnTo>
                      <a:pt x="34" y="14"/>
                    </a:lnTo>
                    <a:lnTo>
                      <a:pt x="36" y="14"/>
                    </a:lnTo>
                    <a:close/>
                    <a:moveTo>
                      <a:pt x="55" y="14"/>
                    </a:moveTo>
                    <a:lnTo>
                      <a:pt x="56" y="14"/>
                    </a:lnTo>
                    <a:lnTo>
                      <a:pt x="58" y="14"/>
                    </a:lnTo>
                    <a:lnTo>
                      <a:pt x="60" y="14"/>
                    </a:lnTo>
                    <a:lnTo>
                      <a:pt x="60" y="16"/>
                    </a:lnTo>
                    <a:lnTo>
                      <a:pt x="61" y="16"/>
                    </a:lnTo>
                    <a:lnTo>
                      <a:pt x="61" y="14"/>
                    </a:lnTo>
                    <a:lnTo>
                      <a:pt x="61" y="16"/>
                    </a:lnTo>
                    <a:lnTo>
                      <a:pt x="63" y="14"/>
                    </a:lnTo>
                    <a:lnTo>
                      <a:pt x="63" y="16"/>
                    </a:lnTo>
                    <a:lnTo>
                      <a:pt x="65" y="16"/>
                    </a:lnTo>
                    <a:lnTo>
                      <a:pt x="65" y="17"/>
                    </a:lnTo>
                    <a:lnTo>
                      <a:pt x="63" y="17"/>
                    </a:lnTo>
                    <a:lnTo>
                      <a:pt x="63" y="16"/>
                    </a:lnTo>
                    <a:lnTo>
                      <a:pt x="63" y="17"/>
                    </a:lnTo>
                    <a:lnTo>
                      <a:pt x="65" y="19"/>
                    </a:lnTo>
                    <a:lnTo>
                      <a:pt x="63" y="17"/>
                    </a:lnTo>
                    <a:lnTo>
                      <a:pt x="61" y="19"/>
                    </a:lnTo>
                    <a:lnTo>
                      <a:pt x="61" y="17"/>
                    </a:lnTo>
                    <a:lnTo>
                      <a:pt x="61" y="19"/>
                    </a:lnTo>
                    <a:lnTo>
                      <a:pt x="60" y="17"/>
                    </a:lnTo>
                    <a:lnTo>
                      <a:pt x="58" y="16"/>
                    </a:lnTo>
                    <a:lnTo>
                      <a:pt x="56" y="16"/>
                    </a:lnTo>
                    <a:lnTo>
                      <a:pt x="55" y="16"/>
                    </a:lnTo>
                    <a:lnTo>
                      <a:pt x="53" y="16"/>
                    </a:lnTo>
                    <a:lnTo>
                      <a:pt x="53" y="14"/>
                    </a:lnTo>
                    <a:lnTo>
                      <a:pt x="51" y="14"/>
                    </a:lnTo>
                    <a:lnTo>
                      <a:pt x="53" y="14"/>
                    </a:lnTo>
                    <a:lnTo>
                      <a:pt x="55" y="12"/>
                    </a:lnTo>
                    <a:lnTo>
                      <a:pt x="55" y="14"/>
                    </a:lnTo>
                    <a:close/>
                    <a:moveTo>
                      <a:pt x="100" y="53"/>
                    </a:moveTo>
                    <a:lnTo>
                      <a:pt x="99" y="53"/>
                    </a:lnTo>
                    <a:lnTo>
                      <a:pt x="99" y="55"/>
                    </a:lnTo>
                    <a:lnTo>
                      <a:pt x="97" y="55"/>
                    </a:lnTo>
                    <a:lnTo>
                      <a:pt x="99" y="56"/>
                    </a:lnTo>
                    <a:lnTo>
                      <a:pt x="99" y="55"/>
                    </a:lnTo>
                    <a:lnTo>
                      <a:pt x="99" y="56"/>
                    </a:lnTo>
                    <a:lnTo>
                      <a:pt x="99" y="58"/>
                    </a:lnTo>
                    <a:lnTo>
                      <a:pt x="99" y="60"/>
                    </a:lnTo>
                    <a:lnTo>
                      <a:pt x="97" y="60"/>
                    </a:lnTo>
                    <a:lnTo>
                      <a:pt x="99" y="58"/>
                    </a:lnTo>
                    <a:lnTo>
                      <a:pt x="97" y="58"/>
                    </a:lnTo>
                    <a:lnTo>
                      <a:pt x="95" y="56"/>
                    </a:lnTo>
                    <a:lnTo>
                      <a:pt x="95" y="55"/>
                    </a:lnTo>
                    <a:lnTo>
                      <a:pt x="97" y="55"/>
                    </a:lnTo>
                    <a:lnTo>
                      <a:pt x="97" y="53"/>
                    </a:lnTo>
                    <a:lnTo>
                      <a:pt x="97" y="55"/>
                    </a:lnTo>
                    <a:lnTo>
                      <a:pt x="97" y="53"/>
                    </a:lnTo>
                    <a:lnTo>
                      <a:pt x="99" y="53"/>
                    </a:lnTo>
                    <a:lnTo>
                      <a:pt x="99" y="55"/>
                    </a:lnTo>
                    <a:lnTo>
                      <a:pt x="99" y="53"/>
                    </a:lnTo>
                    <a:lnTo>
                      <a:pt x="100" y="53"/>
                    </a:lnTo>
                    <a:close/>
                    <a:moveTo>
                      <a:pt x="53" y="63"/>
                    </a:moveTo>
                    <a:lnTo>
                      <a:pt x="55" y="63"/>
                    </a:lnTo>
                    <a:lnTo>
                      <a:pt x="56" y="63"/>
                    </a:lnTo>
                    <a:lnTo>
                      <a:pt x="56" y="65"/>
                    </a:lnTo>
                    <a:lnTo>
                      <a:pt x="56" y="67"/>
                    </a:lnTo>
                    <a:lnTo>
                      <a:pt x="56" y="68"/>
                    </a:lnTo>
                    <a:lnTo>
                      <a:pt x="55" y="68"/>
                    </a:lnTo>
                    <a:lnTo>
                      <a:pt x="55" y="70"/>
                    </a:lnTo>
                    <a:lnTo>
                      <a:pt x="55" y="68"/>
                    </a:lnTo>
                    <a:lnTo>
                      <a:pt x="55" y="67"/>
                    </a:lnTo>
                    <a:lnTo>
                      <a:pt x="55" y="65"/>
                    </a:lnTo>
                    <a:lnTo>
                      <a:pt x="55" y="67"/>
                    </a:lnTo>
                    <a:lnTo>
                      <a:pt x="55" y="65"/>
                    </a:lnTo>
                    <a:lnTo>
                      <a:pt x="55" y="63"/>
                    </a:lnTo>
                    <a:lnTo>
                      <a:pt x="53" y="63"/>
                    </a:lnTo>
                    <a:lnTo>
                      <a:pt x="53" y="62"/>
                    </a:lnTo>
                    <a:lnTo>
                      <a:pt x="53" y="63"/>
                    </a:lnTo>
                    <a:close/>
                    <a:moveTo>
                      <a:pt x="48" y="16"/>
                    </a:moveTo>
                    <a:lnTo>
                      <a:pt x="48" y="17"/>
                    </a:lnTo>
                    <a:lnTo>
                      <a:pt x="49" y="17"/>
                    </a:lnTo>
                    <a:lnTo>
                      <a:pt x="48" y="17"/>
                    </a:lnTo>
                    <a:lnTo>
                      <a:pt x="48" y="19"/>
                    </a:lnTo>
                    <a:lnTo>
                      <a:pt x="46" y="19"/>
                    </a:lnTo>
                    <a:lnTo>
                      <a:pt x="46" y="17"/>
                    </a:lnTo>
                    <a:lnTo>
                      <a:pt x="44" y="17"/>
                    </a:lnTo>
                    <a:lnTo>
                      <a:pt x="44" y="16"/>
                    </a:lnTo>
                    <a:lnTo>
                      <a:pt x="46" y="16"/>
                    </a:lnTo>
                    <a:lnTo>
                      <a:pt x="48" y="16"/>
                    </a:lnTo>
                    <a:close/>
                    <a:moveTo>
                      <a:pt x="5" y="45"/>
                    </a:moveTo>
                    <a:lnTo>
                      <a:pt x="4" y="45"/>
                    </a:lnTo>
                    <a:lnTo>
                      <a:pt x="4" y="46"/>
                    </a:lnTo>
                    <a:lnTo>
                      <a:pt x="5" y="46"/>
                    </a:lnTo>
                    <a:lnTo>
                      <a:pt x="4" y="48"/>
                    </a:lnTo>
                    <a:lnTo>
                      <a:pt x="4" y="46"/>
                    </a:lnTo>
                    <a:lnTo>
                      <a:pt x="2" y="46"/>
                    </a:lnTo>
                    <a:lnTo>
                      <a:pt x="2" y="45"/>
                    </a:lnTo>
                    <a:lnTo>
                      <a:pt x="0" y="45"/>
                    </a:lnTo>
                    <a:lnTo>
                      <a:pt x="2" y="45"/>
                    </a:lnTo>
                    <a:lnTo>
                      <a:pt x="2" y="43"/>
                    </a:lnTo>
                    <a:lnTo>
                      <a:pt x="2" y="45"/>
                    </a:lnTo>
                    <a:lnTo>
                      <a:pt x="4" y="45"/>
                    </a:lnTo>
                    <a:lnTo>
                      <a:pt x="4" y="43"/>
                    </a:lnTo>
                    <a:lnTo>
                      <a:pt x="5" y="43"/>
                    </a:lnTo>
                    <a:lnTo>
                      <a:pt x="5" y="45"/>
                    </a:lnTo>
                    <a:close/>
                    <a:moveTo>
                      <a:pt x="56" y="72"/>
                    </a:moveTo>
                    <a:lnTo>
                      <a:pt x="55" y="72"/>
                    </a:lnTo>
                    <a:lnTo>
                      <a:pt x="55" y="73"/>
                    </a:lnTo>
                    <a:lnTo>
                      <a:pt x="55" y="75"/>
                    </a:lnTo>
                    <a:lnTo>
                      <a:pt x="53" y="75"/>
                    </a:lnTo>
                    <a:lnTo>
                      <a:pt x="53" y="73"/>
                    </a:lnTo>
                    <a:lnTo>
                      <a:pt x="51" y="73"/>
                    </a:lnTo>
                    <a:lnTo>
                      <a:pt x="53" y="73"/>
                    </a:lnTo>
                    <a:lnTo>
                      <a:pt x="55" y="72"/>
                    </a:lnTo>
                    <a:lnTo>
                      <a:pt x="56" y="70"/>
                    </a:lnTo>
                    <a:lnTo>
                      <a:pt x="56" y="72"/>
                    </a:lnTo>
                    <a:close/>
                    <a:moveTo>
                      <a:pt x="85" y="63"/>
                    </a:moveTo>
                    <a:lnTo>
                      <a:pt x="85" y="65"/>
                    </a:lnTo>
                    <a:lnTo>
                      <a:pt x="83" y="67"/>
                    </a:lnTo>
                    <a:lnTo>
                      <a:pt x="82" y="67"/>
                    </a:lnTo>
                    <a:lnTo>
                      <a:pt x="80" y="67"/>
                    </a:lnTo>
                    <a:lnTo>
                      <a:pt x="82" y="67"/>
                    </a:lnTo>
                    <a:lnTo>
                      <a:pt x="82" y="65"/>
                    </a:lnTo>
                    <a:lnTo>
                      <a:pt x="83" y="67"/>
                    </a:lnTo>
                    <a:lnTo>
                      <a:pt x="85" y="65"/>
                    </a:lnTo>
                    <a:lnTo>
                      <a:pt x="83" y="65"/>
                    </a:lnTo>
                    <a:lnTo>
                      <a:pt x="85" y="65"/>
                    </a:lnTo>
                    <a:lnTo>
                      <a:pt x="83" y="63"/>
                    </a:lnTo>
                    <a:lnTo>
                      <a:pt x="85" y="63"/>
                    </a:lnTo>
                    <a:lnTo>
                      <a:pt x="85" y="62"/>
                    </a:lnTo>
                    <a:lnTo>
                      <a:pt x="85" y="63"/>
                    </a:lnTo>
                    <a:close/>
                    <a:moveTo>
                      <a:pt x="5" y="38"/>
                    </a:moveTo>
                    <a:lnTo>
                      <a:pt x="4" y="38"/>
                    </a:lnTo>
                    <a:lnTo>
                      <a:pt x="2" y="38"/>
                    </a:lnTo>
                    <a:lnTo>
                      <a:pt x="2" y="39"/>
                    </a:lnTo>
                    <a:lnTo>
                      <a:pt x="4" y="39"/>
                    </a:lnTo>
                    <a:lnTo>
                      <a:pt x="2" y="41"/>
                    </a:lnTo>
                    <a:lnTo>
                      <a:pt x="2" y="39"/>
                    </a:lnTo>
                    <a:lnTo>
                      <a:pt x="2" y="38"/>
                    </a:lnTo>
                    <a:lnTo>
                      <a:pt x="0" y="38"/>
                    </a:lnTo>
                    <a:lnTo>
                      <a:pt x="2" y="38"/>
                    </a:lnTo>
                    <a:lnTo>
                      <a:pt x="4" y="38"/>
                    </a:lnTo>
                    <a:lnTo>
                      <a:pt x="4" y="36"/>
                    </a:lnTo>
                    <a:lnTo>
                      <a:pt x="4" y="38"/>
                    </a:lnTo>
                    <a:lnTo>
                      <a:pt x="5" y="38"/>
                    </a:lnTo>
                    <a:close/>
                    <a:moveTo>
                      <a:pt x="55" y="17"/>
                    </a:moveTo>
                    <a:lnTo>
                      <a:pt x="55" y="19"/>
                    </a:lnTo>
                    <a:lnTo>
                      <a:pt x="56" y="19"/>
                    </a:lnTo>
                    <a:lnTo>
                      <a:pt x="58" y="19"/>
                    </a:lnTo>
                    <a:lnTo>
                      <a:pt x="56" y="19"/>
                    </a:lnTo>
                    <a:lnTo>
                      <a:pt x="55" y="19"/>
                    </a:lnTo>
                    <a:lnTo>
                      <a:pt x="55" y="21"/>
                    </a:lnTo>
                    <a:lnTo>
                      <a:pt x="53" y="19"/>
                    </a:lnTo>
                    <a:lnTo>
                      <a:pt x="55" y="19"/>
                    </a:lnTo>
                    <a:lnTo>
                      <a:pt x="53" y="19"/>
                    </a:lnTo>
                    <a:lnTo>
                      <a:pt x="51" y="19"/>
                    </a:lnTo>
                    <a:lnTo>
                      <a:pt x="53" y="19"/>
                    </a:lnTo>
                    <a:lnTo>
                      <a:pt x="53" y="17"/>
                    </a:lnTo>
                    <a:lnTo>
                      <a:pt x="55" y="19"/>
                    </a:lnTo>
                    <a:lnTo>
                      <a:pt x="53" y="17"/>
                    </a:lnTo>
                    <a:lnTo>
                      <a:pt x="55" y="17"/>
                    </a:lnTo>
                    <a:close/>
                    <a:moveTo>
                      <a:pt x="26" y="12"/>
                    </a:moveTo>
                    <a:lnTo>
                      <a:pt x="29" y="12"/>
                    </a:lnTo>
                    <a:lnTo>
                      <a:pt x="29" y="17"/>
                    </a:lnTo>
                    <a:lnTo>
                      <a:pt x="26" y="17"/>
                    </a:lnTo>
                    <a:lnTo>
                      <a:pt x="26" y="12"/>
                    </a:lnTo>
                    <a:close/>
                    <a:moveTo>
                      <a:pt x="17" y="53"/>
                    </a:moveTo>
                    <a:lnTo>
                      <a:pt x="17" y="55"/>
                    </a:lnTo>
                    <a:lnTo>
                      <a:pt x="15" y="55"/>
                    </a:lnTo>
                    <a:lnTo>
                      <a:pt x="14" y="53"/>
                    </a:lnTo>
                    <a:lnTo>
                      <a:pt x="15" y="53"/>
                    </a:lnTo>
                    <a:lnTo>
                      <a:pt x="15" y="51"/>
                    </a:lnTo>
                    <a:lnTo>
                      <a:pt x="17" y="53"/>
                    </a:lnTo>
                    <a:close/>
                    <a:moveTo>
                      <a:pt x="7" y="0"/>
                    </a:moveTo>
                    <a:lnTo>
                      <a:pt x="10" y="0"/>
                    </a:lnTo>
                    <a:lnTo>
                      <a:pt x="10" y="4"/>
                    </a:lnTo>
                    <a:lnTo>
                      <a:pt x="7" y="4"/>
                    </a:lnTo>
                    <a:lnTo>
                      <a:pt x="7" y="0"/>
                    </a:lnTo>
                    <a:close/>
                    <a:moveTo>
                      <a:pt x="58" y="41"/>
                    </a:moveTo>
                    <a:lnTo>
                      <a:pt x="61" y="41"/>
                    </a:lnTo>
                    <a:lnTo>
                      <a:pt x="61" y="43"/>
                    </a:lnTo>
                    <a:lnTo>
                      <a:pt x="58" y="43"/>
                    </a:lnTo>
                    <a:lnTo>
                      <a:pt x="58" y="41"/>
                    </a:lnTo>
                    <a:close/>
                    <a:moveTo>
                      <a:pt x="55" y="50"/>
                    </a:moveTo>
                    <a:lnTo>
                      <a:pt x="56" y="50"/>
                    </a:lnTo>
                    <a:lnTo>
                      <a:pt x="56" y="53"/>
                    </a:lnTo>
                    <a:lnTo>
                      <a:pt x="55" y="53"/>
                    </a:lnTo>
                    <a:lnTo>
                      <a:pt x="55" y="50"/>
                    </a:lnTo>
                    <a:close/>
                    <a:moveTo>
                      <a:pt x="21" y="17"/>
                    </a:moveTo>
                    <a:lnTo>
                      <a:pt x="24" y="17"/>
                    </a:lnTo>
                    <a:lnTo>
                      <a:pt x="24" y="21"/>
                    </a:lnTo>
                    <a:lnTo>
                      <a:pt x="21" y="21"/>
                    </a:lnTo>
                    <a:lnTo>
                      <a:pt x="21" y="17"/>
                    </a:lnTo>
                    <a:close/>
                    <a:moveTo>
                      <a:pt x="55" y="73"/>
                    </a:moveTo>
                    <a:lnTo>
                      <a:pt x="58" y="73"/>
                    </a:lnTo>
                    <a:lnTo>
                      <a:pt x="58" y="75"/>
                    </a:lnTo>
                    <a:lnTo>
                      <a:pt x="55" y="75"/>
                    </a:lnTo>
                    <a:lnTo>
                      <a:pt x="55" y="73"/>
                    </a:lnTo>
                    <a:close/>
                    <a:moveTo>
                      <a:pt x="78" y="79"/>
                    </a:moveTo>
                    <a:lnTo>
                      <a:pt x="77" y="77"/>
                    </a:lnTo>
                    <a:lnTo>
                      <a:pt x="77" y="79"/>
                    </a:lnTo>
                    <a:lnTo>
                      <a:pt x="75" y="79"/>
                    </a:lnTo>
                    <a:lnTo>
                      <a:pt x="75" y="77"/>
                    </a:lnTo>
                    <a:lnTo>
                      <a:pt x="77" y="77"/>
                    </a:lnTo>
                    <a:lnTo>
                      <a:pt x="78" y="79"/>
                    </a:lnTo>
                    <a:close/>
                    <a:moveTo>
                      <a:pt x="55" y="21"/>
                    </a:moveTo>
                    <a:lnTo>
                      <a:pt x="56" y="21"/>
                    </a:lnTo>
                    <a:lnTo>
                      <a:pt x="56" y="22"/>
                    </a:lnTo>
                    <a:lnTo>
                      <a:pt x="55" y="22"/>
                    </a:lnTo>
                    <a:lnTo>
                      <a:pt x="55" y="21"/>
                    </a:lnTo>
                    <a:close/>
                    <a:moveTo>
                      <a:pt x="4" y="0"/>
                    </a:moveTo>
                    <a:lnTo>
                      <a:pt x="7" y="0"/>
                    </a:lnTo>
                    <a:lnTo>
                      <a:pt x="7" y="2"/>
                    </a:lnTo>
                    <a:lnTo>
                      <a:pt x="4" y="2"/>
                    </a:lnTo>
                    <a:lnTo>
                      <a:pt x="4" y="0"/>
                    </a:lnTo>
                    <a:close/>
                    <a:moveTo>
                      <a:pt x="22" y="33"/>
                    </a:moveTo>
                    <a:lnTo>
                      <a:pt x="24" y="33"/>
                    </a:lnTo>
                    <a:lnTo>
                      <a:pt x="24" y="36"/>
                    </a:lnTo>
                    <a:lnTo>
                      <a:pt x="22" y="36"/>
                    </a:lnTo>
                    <a:lnTo>
                      <a:pt x="22" y="33"/>
                    </a:lnTo>
                    <a:close/>
                    <a:moveTo>
                      <a:pt x="19" y="31"/>
                    </a:moveTo>
                    <a:lnTo>
                      <a:pt x="21" y="31"/>
                    </a:lnTo>
                    <a:lnTo>
                      <a:pt x="19" y="31"/>
                    </a:lnTo>
                    <a:close/>
                    <a:moveTo>
                      <a:pt x="55" y="56"/>
                    </a:moveTo>
                    <a:lnTo>
                      <a:pt x="55" y="60"/>
                    </a:lnTo>
                    <a:lnTo>
                      <a:pt x="55" y="56"/>
                    </a:lnTo>
                    <a:close/>
                    <a:moveTo>
                      <a:pt x="55" y="17"/>
                    </a:moveTo>
                    <a:lnTo>
                      <a:pt x="58" y="17"/>
                    </a:lnTo>
                    <a:lnTo>
                      <a:pt x="58" y="19"/>
                    </a:lnTo>
                    <a:lnTo>
                      <a:pt x="55" y="19"/>
                    </a:lnTo>
                    <a:lnTo>
                      <a:pt x="55" y="17"/>
                    </a:lnTo>
                    <a:close/>
                    <a:moveTo>
                      <a:pt x="56" y="19"/>
                    </a:moveTo>
                    <a:lnTo>
                      <a:pt x="60" y="19"/>
                    </a:lnTo>
                    <a:lnTo>
                      <a:pt x="60" y="21"/>
                    </a:lnTo>
                    <a:lnTo>
                      <a:pt x="56" y="21"/>
                    </a:lnTo>
                    <a:lnTo>
                      <a:pt x="56" y="19"/>
                    </a:lnTo>
                    <a:close/>
                    <a:moveTo>
                      <a:pt x="49" y="12"/>
                    </a:moveTo>
                    <a:lnTo>
                      <a:pt x="51" y="12"/>
                    </a:lnTo>
                    <a:lnTo>
                      <a:pt x="51" y="14"/>
                    </a:lnTo>
                    <a:lnTo>
                      <a:pt x="49" y="14"/>
                    </a:lnTo>
                    <a:lnTo>
                      <a:pt x="49" y="12"/>
                    </a:lnTo>
                    <a:close/>
                    <a:moveTo>
                      <a:pt x="29" y="45"/>
                    </a:moveTo>
                    <a:lnTo>
                      <a:pt x="31" y="45"/>
                    </a:lnTo>
                    <a:lnTo>
                      <a:pt x="31" y="46"/>
                    </a:lnTo>
                    <a:lnTo>
                      <a:pt x="29" y="46"/>
                    </a:lnTo>
                    <a:lnTo>
                      <a:pt x="29" y="45"/>
                    </a:lnTo>
                    <a:close/>
                    <a:moveTo>
                      <a:pt x="58" y="21"/>
                    </a:moveTo>
                    <a:lnTo>
                      <a:pt x="60" y="21"/>
                    </a:lnTo>
                    <a:lnTo>
                      <a:pt x="60" y="22"/>
                    </a:lnTo>
                    <a:lnTo>
                      <a:pt x="58" y="22"/>
                    </a:lnTo>
                    <a:lnTo>
                      <a:pt x="58" y="21"/>
                    </a:lnTo>
                    <a:close/>
                    <a:moveTo>
                      <a:pt x="5" y="46"/>
                    </a:moveTo>
                    <a:lnTo>
                      <a:pt x="7" y="46"/>
                    </a:lnTo>
                    <a:lnTo>
                      <a:pt x="7" y="50"/>
                    </a:lnTo>
                    <a:lnTo>
                      <a:pt x="5" y="50"/>
                    </a:lnTo>
                    <a:lnTo>
                      <a:pt x="5" y="46"/>
                    </a:lnTo>
                    <a:close/>
                    <a:moveTo>
                      <a:pt x="14" y="10"/>
                    </a:moveTo>
                    <a:lnTo>
                      <a:pt x="17" y="10"/>
                    </a:lnTo>
                    <a:lnTo>
                      <a:pt x="14" y="10"/>
                    </a:lnTo>
                    <a:close/>
                    <a:moveTo>
                      <a:pt x="92" y="60"/>
                    </a:moveTo>
                    <a:lnTo>
                      <a:pt x="94" y="60"/>
                    </a:lnTo>
                    <a:lnTo>
                      <a:pt x="94" y="62"/>
                    </a:lnTo>
                    <a:lnTo>
                      <a:pt x="92" y="62"/>
                    </a:lnTo>
                    <a:lnTo>
                      <a:pt x="92" y="60"/>
                    </a:lnTo>
                    <a:close/>
                    <a:moveTo>
                      <a:pt x="95" y="53"/>
                    </a:moveTo>
                    <a:lnTo>
                      <a:pt x="99" y="53"/>
                    </a:lnTo>
                    <a:lnTo>
                      <a:pt x="95" y="53"/>
                    </a:lnTo>
                    <a:close/>
                    <a:moveTo>
                      <a:pt x="100" y="53"/>
                    </a:moveTo>
                    <a:lnTo>
                      <a:pt x="102" y="53"/>
                    </a:lnTo>
                    <a:lnTo>
                      <a:pt x="102" y="55"/>
                    </a:lnTo>
                    <a:lnTo>
                      <a:pt x="100" y="55"/>
                    </a:lnTo>
                    <a:lnTo>
                      <a:pt x="100" y="53"/>
                    </a:lnTo>
                    <a:close/>
                    <a:moveTo>
                      <a:pt x="111" y="29"/>
                    </a:moveTo>
                    <a:lnTo>
                      <a:pt x="112" y="29"/>
                    </a:lnTo>
                    <a:lnTo>
                      <a:pt x="112" y="31"/>
                    </a:lnTo>
                    <a:lnTo>
                      <a:pt x="111" y="31"/>
                    </a:lnTo>
                    <a:lnTo>
                      <a:pt x="111" y="29"/>
                    </a:lnTo>
                    <a:close/>
                    <a:moveTo>
                      <a:pt x="31" y="7"/>
                    </a:moveTo>
                    <a:lnTo>
                      <a:pt x="32" y="7"/>
                    </a:lnTo>
                    <a:lnTo>
                      <a:pt x="31" y="7"/>
                    </a:lnTo>
                    <a:close/>
                    <a:moveTo>
                      <a:pt x="15" y="4"/>
                    </a:moveTo>
                    <a:lnTo>
                      <a:pt x="17" y="4"/>
                    </a:lnTo>
                    <a:lnTo>
                      <a:pt x="17" y="5"/>
                    </a:lnTo>
                    <a:lnTo>
                      <a:pt x="15" y="5"/>
                    </a:lnTo>
                    <a:lnTo>
                      <a:pt x="15" y="4"/>
                    </a:lnTo>
                    <a:close/>
                    <a:moveTo>
                      <a:pt x="5" y="48"/>
                    </a:moveTo>
                    <a:lnTo>
                      <a:pt x="7" y="48"/>
                    </a:lnTo>
                    <a:lnTo>
                      <a:pt x="7" y="50"/>
                    </a:lnTo>
                    <a:lnTo>
                      <a:pt x="5" y="50"/>
                    </a:lnTo>
                    <a:lnTo>
                      <a:pt x="5" y="48"/>
                    </a:lnTo>
                    <a:close/>
                    <a:moveTo>
                      <a:pt x="31" y="33"/>
                    </a:moveTo>
                    <a:lnTo>
                      <a:pt x="32" y="33"/>
                    </a:lnTo>
                    <a:lnTo>
                      <a:pt x="32" y="34"/>
                    </a:lnTo>
                    <a:lnTo>
                      <a:pt x="31" y="34"/>
                    </a:lnTo>
                    <a:lnTo>
                      <a:pt x="31" y="33"/>
                    </a:lnTo>
                    <a:close/>
                    <a:moveTo>
                      <a:pt x="56" y="41"/>
                    </a:moveTo>
                    <a:lnTo>
                      <a:pt x="58" y="41"/>
                    </a:lnTo>
                    <a:lnTo>
                      <a:pt x="58" y="43"/>
                    </a:lnTo>
                    <a:lnTo>
                      <a:pt x="56" y="43"/>
                    </a:lnTo>
                    <a:lnTo>
                      <a:pt x="56" y="41"/>
                    </a:lnTo>
                    <a:close/>
                    <a:moveTo>
                      <a:pt x="49" y="19"/>
                    </a:moveTo>
                    <a:lnTo>
                      <a:pt x="51" y="19"/>
                    </a:lnTo>
                    <a:lnTo>
                      <a:pt x="51" y="21"/>
                    </a:lnTo>
                    <a:lnTo>
                      <a:pt x="49" y="21"/>
                    </a:lnTo>
                    <a:lnTo>
                      <a:pt x="49" y="19"/>
                    </a:lnTo>
                    <a:close/>
                    <a:moveTo>
                      <a:pt x="17" y="7"/>
                    </a:moveTo>
                    <a:lnTo>
                      <a:pt x="17" y="9"/>
                    </a:lnTo>
                    <a:lnTo>
                      <a:pt x="17" y="7"/>
                    </a:lnTo>
                    <a:close/>
                    <a:moveTo>
                      <a:pt x="58" y="46"/>
                    </a:moveTo>
                    <a:lnTo>
                      <a:pt x="60" y="46"/>
                    </a:lnTo>
                    <a:lnTo>
                      <a:pt x="60" y="48"/>
                    </a:lnTo>
                    <a:lnTo>
                      <a:pt x="58" y="48"/>
                    </a:lnTo>
                    <a:lnTo>
                      <a:pt x="58" y="46"/>
                    </a:lnTo>
                    <a:close/>
                    <a:moveTo>
                      <a:pt x="5" y="45"/>
                    </a:moveTo>
                    <a:lnTo>
                      <a:pt x="7" y="45"/>
                    </a:lnTo>
                    <a:lnTo>
                      <a:pt x="7" y="46"/>
                    </a:lnTo>
                    <a:lnTo>
                      <a:pt x="5" y="46"/>
                    </a:lnTo>
                    <a:lnTo>
                      <a:pt x="5" y="45"/>
                    </a:lnTo>
                    <a:close/>
                    <a:moveTo>
                      <a:pt x="95" y="48"/>
                    </a:moveTo>
                    <a:lnTo>
                      <a:pt x="95" y="50"/>
                    </a:lnTo>
                    <a:lnTo>
                      <a:pt x="95" y="48"/>
                    </a:lnTo>
                    <a:close/>
                    <a:moveTo>
                      <a:pt x="55" y="21"/>
                    </a:moveTo>
                    <a:lnTo>
                      <a:pt x="56" y="21"/>
                    </a:lnTo>
                    <a:lnTo>
                      <a:pt x="55" y="21"/>
                    </a:lnTo>
                    <a:close/>
                    <a:moveTo>
                      <a:pt x="31" y="65"/>
                    </a:moveTo>
                    <a:lnTo>
                      <a:pt x="32" y="65"/>
                    </a:lnTo>
                    <a:lnTo>
                      <a:pt x="32" y="67"/>
                    </a:lnTo>
                    <a:lnTo>
                      <a:pt x="31" y="67"/>
                    </a:lnTo>
                    <a:lnTo>
                      <a:pt x="31" y="65"/>
                    </a:lnTo>
                    <a:close/>
                    <a:moveTo>
                      <a:pt x="21" y="24"/>
                    </a:moveTo>
                    <a:lnTo>
                      <a:pt x="22" y="24"/>
                    </a:lnTo>
                    <a:lnTo>
                      <a:pt x="22" y="26"/>
                    </a:lnTo>
                    <a:lnTo>
                      <a:pt x="21" y="26"/>
                    </a:lnTo>
                    <a:lnTo>
                      <a:pt x="21" y="24"/>
                    </a:lnTo>
                    <a:close/>
                    <a:moveTo>
                      <a:pt x="10" y="41"/>
                    </a:moveTo>
                    <a:lnTo>
                      <a:pt x="10" y="43"/>
                    </a:lnTo>
                    <a:lnTo>
                      <a:pt x="10" y="41"/>
                    </a:lnTo>
                    <a:close/>
                    <a:moveTo>
                      <a:pt x="89" y="62"/>
                    </a:moveTo>
                    <a:lnTo>
                      <a:pt x="90" y="62"/>
                    </a:lnTo>
                    <a:lnTo>
                      <a:pt x="89" y="62"/>
                    </a:lnTo>
                    <a:close/>
                    <a:moveTo>
                      <a:pt x="106" y="43"/>
                    </a:moveTo>
                    <a:lnTo>
                      <a:pt x="107" y="43"/>
                    </a:lnTo>
                    <a:lnTo>
                      <a:pt x="106" y="43"/>
                    </a:lnTo>
                    <a:close/>
                    <a:moveTo>
                      <a:pt x="29" y="29"/>
                    </a:moveTo>
                    <a:lnTo>
                      <a:pt x="29" y="31"/>
                    </a:lnTo>
                    <a:lnTo>
                      <a:pt x="29" y="29"/>
                    </a:lnTo>
                    <a:close/>
                    <a:moveTo>
                      <a:pt x="78" y="62"/>
                    </a:moveTo>
                    <a:lnTo>
                      <a:pt x="80" y="62"/>
                    </a:lnTo>
                    <a:lnTo>
                      <a:pt x="78" y="62"/>
                    </a:lnTo>
                    <a:close/>
                    <a:moveTo>
                      <a:pt x="61" y="68"/>
                    </a:moveTo>
                    <a:lnTo>
                      <a:pt x="61" y="70"/>
                    </a:lnTo>
                    <a:lnTo>
                      <a:pt x="61" y="68"/>
                    </a:lnTo>
                    <a:close/>
                    <a:moveTo>
                      <a:pt x="97" y="51"/>
                    </a:moveTo>
                    <a:lnTo>
                      <a:pt x="99" y="51"/>
                    </a:lnTo>
                    <a:lnTo>
                      <a:pt x="97" y="51"/>
                    </a:lnTo>
                    <a:close/>
                    <a:moveTo>
                      <a:pt x="15" y="29"/>
                    </a:moveTo>
                    <a:lnTo>
                      <a:pt x="17" y="29"/>
                    </a:lnTo>
                    <a:lnTo>
                      <a:pt x="17" y="31"/>
                    </a:lnTo>
                    <a:lnTo>
                      <a:pt x="15" y="31"/>
                    </a:lnTo>
                    <a:lnTo>
                      <a:pt x="15" y="29"/>
                    </a:lnTo>
                    <a:close/>
                    <a:moveTo>
                      <a:pt x="111" y="43"/>
                    </a:moveTo>
                    <a:lnTo>
                      <a:pt x="112" y="43"/>
                    </a:lnTo>
                    <a:lnTo>
                      <a:pt x="111" y="43"/>
                    </a:lnTo>
                    <a:close/>
                    <a:moveTo>
                      <a:pt x="61" y="39"/>
                    </a:moveTo>
                    <a:lnTo>
                      <a:pt x="63" y="39"/>
                    </a:lnTo>
                    <a:lnTo>
                      <a:pt x="61" y="39"/>
                    </a:lnTo>
                    <a:close/>
                    <a:moveTo>
                      <a:pt x="48" y="10"/>
                    </a:moveTo>
                    <a:lnTo>
                      <a:pt x="49" y="10"/>
                    </a:lnTo>
                    <a:lnTo>
                      <a:pt x="49" y="12"/>
                    </a:lnTo>
                    <a:lnTo>
                      <a:pt x="48" y="12"/>
                    </a:lnTo>
                    <a:lnTo>
                      <a:pt x="48" y="10"/>
                    </a:lnTo>
                    <a:close/>
                    <a:moveTo>
                      <a:pt x="38" y="41"/>
                    </a:moveTo>
                    <a:lnTo>
                      <a:pt x="39" y="41"/>
                    </a:lnTo>
                    <a:lnTo>
                      <a:pt x="38" y="41"/>
                    </a:lnTo>
                    <a:close/>
                    <a:moveTo>
                      <a:pt x="56" y="48"/>
                    </a:moveTo>
                    <a:lnTo>
                      <a:pt x="58" y="48"/>
                    </a:lnTo>
                    <a:lnTo>
                      <a:pt x="56" y="48"/>
                    </a:lnTo>
                    <a:close/>
                    <a:moveTo>
                      <a:pt x="51" y="17"/>
                    </a:moveTo>
                    <a:lnTo>
                      <a:pt x="51" y="19"/>
                    </a:lnTo>
                    <a:lnTo>
                      <a:pt x="51" y="17"/>
                    </a:lnTo>
                    <a:close/>
                    <a:moveTo>
                      <a:pt x="41" y="22"/>
                    </a:moveTo>
                    <a:lnTo>
                      <a:pt x="43" y="22"/>
                    </a:lnTo>
                    <a:lnTo>
                      <a:pt x="41" y="22"/>
                    </a:lnTo>
                    <a:close/>
                    <a:moveTo>
                      <a:pt x="56" y="21"/>
                    </a:moveTo>
                    <a:lnTo>
                      <a:pt x="58" y="21"/>
                    </a:lnTo>
                    <a:lnTo>
                      <a:pt x="56" y="21"/>
                    </a:lnTo>
                    <a:close/>
                    <a:moveTo>
                      <a:pt x="49" y="19"/>
                    </a:moveTo>
                    <a:lnTo>
                      <a:pt x="49" y="21"/>
                    </a:lnTo>
                    <a:lnTo>
                      <a:pt x="49" y="19"/>
                    </a:lnTo>
                    <a:close/>
                    <a:moveTo>
                      <a:pt x="9" y="41"/>
                    </a:moveTo>
                    <a:lnTo>
                      <a:pt x="9" y="43"/>
                    </a:lnTo>
                    <a:lnTo>
                      <a:pt x="9" y="41"/>
                    </a:lnTo>
                    <a:close/>
                    <a:moveTo>
                      <a:pt x="14" y="63"/>
                    </a:moveTo>
                    <a:lnTo>
                      <a:pt x="15" y="63"/>
                    </a:lnTo>
                    <a:lnTo>
                      <a:pt x="14" y="63"/>
                    </a:lnTo>
                    <a:close/>
                    <a:moveTo>
                      <a:pt x="12" y="55"/>
                    </a:moveTo>
                    <a:lnTo>
                      <a:pt x="14" y="55"/>
                    </a:lnTo>
                    <a:lnTo>
                      <a:pt x="12" y="55"/>
                    </a:lnTo>
                    <a:close/>
                    <a:moveTo>
                      <a:pt x="58" y="51"/>
                    </a:moveTo>
                    <a:lnTo>
                      <a:pt x="58" y="53"/>
                    </a:lnTo>
                    <a:lnTo>
                      <a:pt x="58" y="51"/>
                    </a:lnTo>
                    <a:close/>
                    <a:moveTo>
                      <a:pt x="82" y="79"/>
                    </a:moveTo>
                    <a:lnTo>
                      <a:pt x="83" y="79"/>
                    </a:lnTo>
                    <a:lnTo>
                      <a:pt x="82" y="79"/>
                    </a:lnTo>
                    <a:close/>
                    <a:moveTo>
                      <a:pt x="29" y="67"/>
                    </a:moveTo>
                    <a:lnTo>
                      <a:pt x="31" y="67"/>
                    </a:lnTo>
                    <a:lnTo>
                      <a:pt x="29" y="67"/>
                    </a:lnTo>
                    <a:close/>
                    <a:moveTo>
                      <a:pt x="29" y="17"/>
                    </a:moveTo>
                    <a:lnTo>
                      <a:pt x="31" y="17"/>
                    </a:lnTo>
                    <a:lnTo>
                      <a:pt x="29" y="17"/>
                    </a:lnTo>
                    <a:close/>
                    <a:moveTo>
                      <a:pt x="4" y="34"/>
                    </a:moveTo>
                    <a:lnTo>
                      <a:pt x="4" y="36"/>
                    </a:lnTo>
                    <a:lnTo>
                      <a:pt x="4" y="34"/>
                    </a:lnTo>
                    <a:close/>
                    <a:moveTo>
                      <a:pt x="7" y="43"/>
                    </a:moveTo>
                    <a:lnTo>
                      <a:pt x="9" y="43"/>
                    </a:lnTo>
                    <a:lnTo>
                      <a:pt x="7" y="43"/>
                    </a:lnTo>
                    <a:close/>
                    <a:moveTo>
                      <a:pt x="90" y="51"/>
                    </a:moveTo>
                    <a:lnTo>
                      <a:pt x="92" y="51"/>
                    </a:lnTo>
                    <a:lnTo>
                      <a:pt x="90" y="51"/>
                    </a:lnTo>
                    <a:close/>
                    <a:moveTo>
                      <a:pt x="51" y="55"/>
                    </a:moveTo>
                    <a:lnTo>
                      <a:pt x="51" y="56"/>
                    </a:lnTo>
                    <a:lnTo>
                      <a:pt x="51" y="55"/>
                    </a:lnTo>
                    <a:close/>
                    <a:moveTo>
                      <a:pt x="22" y="63"/>
                    </a:moveTo>
                    <a:lnTo>
                      <a:pt x="22" y="65"/>
                    </a:lnTo>
                    <a:lnTo>
                      <a:pt x="22" y="63"/>
                    </a:lnTo>
                    <a:close/>
                    <a:moveTo>
                      <a:pt x="53" y="21"/>
                    </a:moveTo>
                    <a:lnTo>
                      <a:pt x="55" y="21"/>
                    </a:lnTo>
                    <a:lnTo>
                      <a:pt x="53" y="21"/>
                    </a:lnTo>
                    <a:close/>
                    <a:moveTo>
                      <a:pt x="87" y="51"/>
                    </a:moveTo>
                    <a:lnTo>
                      <a:pt x="89" y="51"/>
                    </a:lnTo>
                    <a:lnTo>
                      <a:pt x="87" y="51"/>
                    </a:lnTo>
                    <a:close/>
                    <a:moveTo>
                      <a:pt x="53" y="45"/>
                    </a:moveTo>
                    <a:lnTo>
                      <a:pt x="55" y="45"/>
                    </a:lnTo>
                    <a:lnTo>
                      <a:pt x="55" y="46"/>
                    </a:lnTo>
                    <a:lnTo>
                      <a:pt x="53" y="46"/>
                    </a:lnTo>
                    <a:lnTo>
                      <a:pt x="53" y="45"/>
                    </a:lnTo>
                    <a:close/>
                    <a:moveTo>
                      <a:pt x="87" y="48"/>
                    </a:moveTo>
                    <a:lnTo>
                      <a:pt x="87" y="50"/>
                    </a:lnTo>
                    <a:lnTo>
                      <a:pt x="87" y="4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3" name="Freeform 31">
                <a:extLst>
                  <a:ext uri="{FF2B5EF4-FFF2-40B4-BE49-F238E27FC236}">
                    <a16:creationId xmlns:a16="http://schemas.microsoft.com/office/drawing/2014/main" id="{8B2966D0-6A33-D57C-7888-2A148A000EE6}"/>
                  </a:ext>
                </a:extLst>
              </p:cNvPr>
              <p:cNvSpPr>
                <a:spLocks noEditPoints="1"/>
              </p:cNvSpPr>
              <p:nvPr/>
            </p:nvSpPr>
            <p:spPr bwMode="auto">
              <a:xfrm>
                <a:off x="6729413" y="2144713"/>
                <a:ext cx="155575" cy="196850"/>
              </a:xfrm>
              <a:custGeom>
                <a:avLst/>
                <a:gdLst>
                  <a:gd name="T0" fmla="*/ 95 w 98"/>
                  <a:gd name="T1" fmla="*/ 59 h 124"/>
                  <a:gd name="T2" fmla="*/ 90 w 98"/>
                  <a:gd name="T3" fmla="*/ 66 h 124"/>
                  <a:gd name="T4" fmla="*/ 86 w 98"/>
                  <a:gd name="T5" fmla="*/ 73 h 124"/>
                  <a:gd name="T6" fmla="*/ 83 w 98"/>
                  <a:gd name="T7" fmla="*/ 78 h 124"/>
                  <a:gd name="T8" fmla="*/ 80 w 98"/>
                  <a:gd name="T9" fmla="*/ 83 h 124"/>
                  <a:gd name="T10" fmla="*/ 76 w 98"/>
                  <a:gd name="T11" fmla="*/ 88 h 124"/>
                  <a:gd name="T12" fmla="*/ 73 w 98"/>
                  <a:gd name="T13" fmla="*/ 93 h 124"/>
                  <a:gd name="T14" fmla="*/ 71 w 98"/>
                  <a:gd name="T15" fmla="*/ 100 h 124"/>
                  <a:gd name="T16" fmla="*/ 68 w 98"/>
                  <a:gd name="T17" fmla="*/ 105 h 124"/>
                  <a:gd name="T18" fmla="*/ 66 w 98"/>
                  <a:gd name="T19" fmla="*/ 112 h 124"/>
                  <a:gd name="T20" fmla="*/ 64 w 98"/>
                  <a:gd name="T21" fmla="*/ 115 h 124"/>
                  <a:gd name="T22" fmla="*/ 57 w 98"/>
                  <a:gd name="T23" fmla="*/ 119 h 124"/>
                  <a:gd name="T24" fmla="*/ 52 w 98"/>
                  <a:gd name="T25" fmla="*/ 122 h 124"/>
                  <a:gd name="T26" fmla="*/ 47 w 98"/>
                  <a:gd name="T27" fmla="*/ 120 h 124"/>
                  <a:gd name="T28" fmla="*/ 42 w 98"/>
                  <a:gd name="T29" fmla="*/ 117 h 124"/>
                  <a:gd name="T30" fmla="*/ 34 w 98"/>
                  <a:gd name="T31" fmla="*/ 119 h 124"/>
                  <a:gd name="T32" fmla="*/ 27 w 98"/>
                  <a:gd name="T33" fmla="*/ 117 h 124"/>
                  <a:gd name="T34" fmla="*/ 25 w 98"/>
                  <a:gd name="T35" fmla="*/ 117 h 124"/>
                  <a:gd name="T36" fmla="*/ 20 w 98"/>
                  <a:gd name="T37" fmla="*/ 117 h 124"/>
                  <a:gd name="T38" fmla="*/ 15 w 98"/>
                  <a:gd name="T39" fmla="*/ 120 h 124"/>
                  <a:gd name="T40" fmla="*/ 12 w 98"/>
                  <a:gd name="T41" fmla="*/ 122 h 124"/>
                  <a:gd name="T42" fmla="*/ 5 w 98"/>
                  <a:gd name="T43" fmla="*/ 120 h 124"/>
                  <a:gd name="T44" fmla="*/ 0 w 98"/>
                  <a:gd name="T45" fmla="*/ 117 h 124"/>
                  <a:gd name="T46" fmla="*/ 3 w 98"/>
                  <a:gd name="T47" fmla="*/ 114 h 124"/>
                  <a:gd name="T48" fmla="*/ 6 w 98"/>
                  <a:gd name="T49" fmla="*/ 109 h 124"/>
                  <a:gd name="T50" fmla="*/ 10 w 98"/>
                  <a:gd name="T51" fmla="*/ 103 h 124"/>
                  <a:gd name="T52" fmla="*/ 12 w 98"/>
                  <a:gd name="T53" fmla="*/ 97 h 124"/>
                  <a:gd name="T54" fmla="*/ 12 w 98"/>
                  <a:gd name="T55" fmla="*/ 93 h 124"/>
                  <a:gd name="T56" fmla="*/ 12 w 98"/>
                  <a:gd name="T57" fmla="*/ 88 h 124"/>
                  <a:gd name="T58" fmla="*/ 15 w 98"/>
                  <a:gd name="T59" fmla="*/ 83 h 124"/>
                  <a:gd name="T60" fmla="*/ 18 w 98"/>
                  <a:gd name="T61" fmla="*/ 78 h 124"/>
                  <a:gd name="T62" fmla="*/ 17 w 98"/>
                  <a:gd name="T63" fmla="*/ 71 h 124"/>
                  <a:gd name="T64" fmla="*/ 15 w 98"/>
                  <a:gd name="T65" fmla="*/ 68 h 124"/>
                  <a:gd name="T66" fmla="*/ 10 w 98"/>
                  <a:gd name="T67" fmla="*/ 64 h 124"/>
                  <a:gd name="T68" fmla="*/ 6 w 98"/>
                  <a:gd name="T69" fmla="*/ 59 h 124"/>
                  <a:gd name="T70" fmla="*/ 6 w 98"/>
                  <a:gd name="T71" fmla="*/ 54 h 124"/>
                  <a:gd name="T72" fmla="*/ 5 w 98"/>
                  <a:gd name="T73" fmla="*/ 47 h 124"/>
                  <a:gd name="T74" fmla="*/ 3 w 98"/>
                  <a:gd name="T75" fmla="*/ 41 h 124"/>
                  <a:gd name="T76" fmla="*/ 3 w 98"/>
                  <a:gd name="T77" fmla="*/ 35 h 124"/>
                  <a:gd name="T78" fmla="*/ 3 w 98"/>
                  <a:gd name="T79" fmla="*/ 29 h 124"/>
                  <a:gd name="T80" fmla="*/ 6 w 98"/>
                  <a:gd name="T81" fmla="*/ 22 h 124"/>
                  <a:gd name="T82" fmla="*/ 10 w 98"/>
                  <a:gd name="T83" fmla="*/ 15 h 124"/>
                  <a:gd name="T84" fmla="*/ 15 w 98"/>
                  <a:gd name="T85" fmla="*/ 10 h 124"/>
                  <a:gd name="T86" fmla="*/ 18 w 98"/>
                  <a:gd name="T87" fmla="*/ 5 h 124"/>
                  <a:gd name="T88" fmla="*/ 22 w 98"/>
                  <a:gd name="T89" fmla="*/ 1 h 124"/>
                  <a:gd name="T90" fmla="*/ 29 w 98"/>
                  <a:gd name="T91" fmla="*/ 3 h 124"/>
                  <a:gd name="T92" fmla="*/ 34 w 98"/>
                  <a:gd name="T93" fmla="*/ 6 h 124"/>
                  <a:gd name="T94" fmla="*/ 40 w 98"/>
                  <a:gd name="T95" fmla="*/ 8 h 124"/>
                  <a:gd name="T96" fmla="*/ 44 w 98"/>
                  <a:gd name="T97" fmla="*/ 6 h 124"/>
                  <a:gd name="T98" fmla="*/ 51 w 98"/>
                  <a:gd name="T99" fmla="*/ 10 h 124"/>
                  <a:gd name="T100" fmla="*/ 56 w 98"/>
                  <a:gd name="T101" fmla="*/ 12 h 124"/>
                  <a:gd name="T102" fmla="*/ 59 w 98"/>
                  <a:gd name="T103" fmla="*/ 17 h 124"/>
                  <a:gd name="T104" fmla="*/ 66 w 98"/>
                  <a:gd name="T105" fmla="*/ 22 h 124"/>
                  <a:gd name="T106" fmla="*/ 71 w 98"/>
                  <a:gd name="T107" fmla="*/ 27 h 124"/>
                  <a:gd name="T108" fmla="*/ 74 w 98"/>
                  <a:gd name="T109" fmla="*/ 29 h 124"/>
                  <a:gd name="T110" fmla="*/ 76 w 98"/>
                  <a:gd name="T111" fmla="*/ 29 h 124"/>
                  <a:gd name="T112" fmla="*/ 80 w 98"/>
                  <a:gd name="T113" fmla="*/ 30 h 124"/>
                  <a:gd name="T114" fmla="*/ 85 w 98"/>
                  <a:gd name="T115" fmla="*/ 35 h 124"/>
                  <a:gd name="T116" fmla="*/ 88 w 98"/>
                  <a:gd name="T117" fmla="*/ 37 h 124"/>
                  <a:gd name="T118" fmla="*/ 93 w 98"/>
                  <a:gd name="T119" fmla="*/ 41 h 124"/>
                  <a:gd name="T120" fmla="*/ 95 w 98"/>
                  <a:gd name="T121" fmla="*/ 47 h 124"/>
                  <a:gd name="T122" fmla="*/ 97 w 98"/>
                  <a:gd name="T123" fmla="*/ 51 h 124"/>
                  <a:gd name="T124" fmla="*/ 22 w 98"/>
                  <a:gd name="T125"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8" h="124">
                    <a:moveTo>
                      <a:pt x="98" y="56"/>
                    </a:moveTo>
                    <a:lnTo>
                      <a:pt x="98" y="58"/>
                    </a:lnTo>
                    <a:lnTo>
                      <a:pt x="97" y="58"/>
                    </a:lnTo>
                    <a:lnTo>
                      <a:pt x="97" y="59"/>
                    </a:lnTo>
                    <a:lnTo>
                      <a:pt x="95" y="59"/>
                    </a:lnTo>
                    <a:lnTo>
                      <a:pt x="93" y="61"/>
                    </a:lnTo>
                    <a:lnTo>
                      <a:pt x="93" y="63"/>
                    </a:lnTo>
                    <a:lnTo>
                      <a:pt x="93" y="64"/>
                    </a:lnTo>
                    <a:lnTo>
                      <a:pt x="91" y="64"/>
                    </a:lnTo>
                    <a:lnTo>
                      <a:pt x="90" y="66"/>
                    </a:lnTo>
                    <a:lnTo>
                      <a:pt x="88" y="68"/>
                    </a:lnTo>
                    <a:lnTo>
                      <a:pt x="88" y="69"/>
                    </a:lnTo>
                    <a:lnTo>
                      <a:pt x="86" y="69"/>
                    </a:lnTo>
                    <a:lnTo>
                      <a:pt x="86" y="71"/>
                    </a:lnTo>
                    <a:lnTo>
                      <a:pt x="86" y="73"/>
                    </a:lnTo>
                    <a:lnTo>
                      <a:pt x="85" y="73"/>
                    </a:lnTo>
                    <a:lnTo>
                      <a:pt x="85" y="75"/>
                    </a:lnTo>
                    <a:lnTo>
                      <a:pt x="85" y="76"/>
                    </a:lnTo>
                    <a:lnTo>
                      <a:pt x="83" y="76"/>
                    </a:lnTo>
                    <a:lnTo>
                      <a:pt x="83" y="78"/>
                    </a:lnTo>
                    <a:lnTo>
                      <a:pt x="81" y="78"/>
                    </a:lnTo>
                    <a:lnTo>
                      <a:pt x="81" y="80"/>
                    </a:lnTo>
                    <a:lnTo>
                      <a:pt x="81" y="81"/>
                    </a:lnTo>
                    <a:lnTo>
                      <a:pt x="80" y="81"/>
                    </a:lnTo>
                    <a:lnTo>
                      <a:pt x="80" y="83"/>
                    </a:lnTo>
                    <a:lnTo>
                      <a:pt x="80" y="85"/>
                    </a:lnTo>
                    <a:lnTo>
                      <a:pt x="78" y="85"/>
                    </a:lnTo>
                    <a:lnTo>
                      <a:pt x="76" y="85"/>
                    </a:lnTo>
                    <a:lnTo>
                      <a:pt x="76" y="86"/>
                    </a:lnTo>
                    <a:lnTo>
                      <a:pt x="76" y="88"/>
                    </a:lnTo>
                    <a:lnTo>
                      <a:pt x="74" y="88"/>
                    </a:lnTo>
                    <a:lnTo>
                      <a:pt x="74" y="90"/>
                    </a:lnTo>
                    <a:lnTo>
                      <a:pt x="74" y="92"/>
                    </a:lnTo>
                    <a:lnTo>
                      <a:pt x="74" y="93"/>
                    </a:lnTo>
                    <a:lnTo>
                      <a:pt x="73" y="93"/>
                    </a:lnTo>
                    <a:lnTo>
                      <a:pt x="73" y="95"/>
                    </a:lnTo>
                    <a:lnTo>
                      <a:pt x="73" y="97"/>
                    </a:lnTo>
                    <a:lnTo>
                      <a:pt x="71" y="97"/>
                    </a:lnTo>
                    <a:lnTo>
                      <a:pt x="71" y="98"/>
                    </a:lnTo>
                    <a:lnTo>
                      <a:pt x="71" y="100"/>
                    </a:lnTo>
                    <a:lnTo>
                      <a:pt x="69" y="100"/>
                    </a:lnTo>
                    <a:lnTo>
                      <a:pt x="69" y="102"/>
                    </a:lnTo>
                    <a:lnTo>
                      <a:pt x="69" y="103"/>
                    </a:lnTo>
                    <a:lnTo>
                      <a:pt x="68" y="103"/>
                    </a:lnTo>
                    <a:lnTo>
                      <a:pt x="68" y="105"/>
                    </a:lnTo>
                    <a:lnTo>
                      <a:pt x="68" y="107"/>
                    </a:lnTo>
                    <a:lnTo>
                      <a:pt x="68" y="109"/>
                    </a:lnTo>
                    <a:lnTo>
                      <a:pt x="68" y="110"/>
                    </a:lnTo>
                    <a:lnTo>
                      <a:pt x="66" y="110"/>
                    </a:lnTo>
                    <a:lnTo>
                      <a:pt x="66" y="112"/>
                    </a:lnTo>
                    <a:lnTo>
                      <a:pt x="64" y="112"/>
                    </a:lnTo>
                    <a:lnTo>
                      <a:pt x="66" y="112"/>
                    </a:lnTo>
                    <a:lnTo>
                      <a:pt x="64" y="112"/>
                    </a:lnTo>
                    <a:lnTo>
                      <a:pt x="64" y="114"/>
                    </a:lnTo>
                    <a:lnTo>
                      <a:pt x="64" y="115"/>
                    </a:lnTo>
                    <a:lnTo>
                      <a:pt x="63" y="115"/>
                    </a:lnTo>
                    <a:lnTo>
                      <a:pt x="61" y="115"/>
                    </a:lnTo>
                    <a:lnTo>
                      <a:pt x="59" y="117"/>
                    </a:lnTo>
                    <a:lnTo>
                      <a:pt x="57" y="117"/>
                    </a:lnTo>
                    <a:lnTo>
                      <a:pt x="57" y="119"/>
                    </a:lnTo>
                    <a:lnTo>
                      <a:pt x="56" y="119"/>
                    </a:lnTo>
                    <a:lnTo>
                      <a:pt x="56" y="120"/>
                    </a:lnTo>
                    <a:lnTo>
                      <a:pt x="54" y="120"/>
                    </a:lnTo>
                    <a:lnTo>
                      <a:pt x="54" y="122"/>
                    </a:lnTo>
                    <a:lnTo>
                      <a:pt x="52" y="122"/>
                    </a:lnTo>
                    <a:lnTo>
                      <a:pt x="52" y="120"/>
                    </a:lnTo>
                    <a:lnTo>
                      <a:pt x="51" y="120"/>
                    </a:lnTo>
                    <a:lnTo>
                      <a:pt x="49" y="120"/>
                    </a:lnTo>
                    <a:lnTo>
                      <a:pt x="49" y="119"/>
                    </a:lnTo>
                    <a:lnTo>
                      <a:pt x="47" y="120"/>
                    </a:lnTo>
                    <a:lnTo>
                      <a:pt x="46" y="120"/>
                    </a:lnTo>
                    <a:lnTo>
                      <a:pt x="44" y="120"/>
                    </a:lnTo>
                    <a:lnTo>
                      <a:pt x="44" y="119"/>
                    </a:lnTo>
                    <a:lnTo>
                      <a:pt x="44" y="117"/>
                    </a:lnTo>
                    <a:lnTo>
                      <a:pt x="42" y="117"/>
                    </a:lnTo>
                    <a:lnTo>
                      <a:pt x="40" y="117"/>
                    </a:lnTo>
                    <a:lnTo>
                      <a:pt x="39" y="117"/>
                    </a:lnTo>
                    <a:lnTo>
                      <a:pt x="37" y="117"/>
                    </a:lnTo>
                    <a:lnTo>
                      <a:pt x="35" y="119"/>
                    </a:lnTo>
                    <a:lnTo>
                      <a:pt x="34" y="119"/>
                    </a:lnTo>
                    <a:lnTo>
                      <a:pt x="32" y="119"/>
                    </a:lnTo>
                    <a:lnTo>
                      <a:pt x="32" y="117"/>
                    </a:lnTo>
                    <a:lnTo>
                      <a:pt x="30" y="117"/>
                    </a:lnTo>
                    <a:lnTo>
                      <a:pt x="29" y="117"/>
                    </a:lnTo>
                    <a:lnTo>
                      <a:pt x="27" y="117"/>
                    </a:lnTo>
                    <a:lnTo>
                      <a:pt x="27" y="115"/>
                    </a:lnTo>
                    <a:lnTo>
                      <a:pt x="25" y="115"/>
                    </a:lnTo>
                    <a:lnTo>
                      <a:pt x="23" y="115"/>
                    </a:lnTo>
                    <a:lnTo>
                      <a:pt x="23" y="117"/>
                    </a:lnTo>
                    <a:lnTo>
                      <a:pt x="25" y="117"/>
                    </a:lnTo>
                    <a:lnTo>
                      <a:pt x="23" y="117"/>
                    </a:lnTo>
                    <a:lnTo>
                      <a:pt x="22" y="117"/>
                    </a:lnTo>
                    <a:lnTo>
                      <a:pt x="22" y="119"/>
                    </a:lnTo>
                    <a:lnTo>
                      <a:pt x="20" y="119"/>
                    </a:lnTo>
                    <a:lnTo>
                      <a:pt x="20" y="117"/>
                    </a:lnTo>
                    <a:lnTo>
                      <a:pt x="20" y="119"/>
                    </a:lnTo>
                    <a:lnTo>
                      <a:pt x="20" y="120"/>
                    </a:lnTo>
                    <a:lnTo>
                      <a:pt x="18" y="120"/>
                    </a:lnTo>
                    <a:lnTo>
                      <a:pt x="17" y="120"/>
                    </a:lnTo>
                    <a:lnTo>
                      <a:pt x="15" y="120"/>
                    </a:lnTo>
                    <a:lnTo>
                      <a:pt x="15" y="122"/>
                    </a:lnTo>
                    <a:lnTo>
                      <a:pt x="15" y="124"/>
                    </a:lnTo>
                    <a:lnTo>
                      <a:pt x="13" y="124"/>
                    </a:lnTo>
                    <a:lnTo>
                      <a:pt x="13" y="122"/>
                    </a:lnTo>
                    <a:lnTo>
                      <a:pt x="12" y="122"/>
                    </a:lnTo>
                    <a:lnTo>
                      <a:pt x="10" y="122"/>
                    </a:lnTo>
                    <a:lnTo>
                      <a:pt x="8" y="122"/>
                    </a:lnTo>
                    <a:lnTo>
                      <a:pt x="6" y="122"/>
                    </a:lnTo>
                    <a:lnTo>
                      <a:pt x="6" y="120"/>
                    </a:lnTo>
                    <a:lnTo>
                      <a:pt x="5" y="120"/>
                    </a:lnTo>
                    <a:lnTo>
                      <a:pt x="3" y="120"/>
                    </a:lnTo>
                    <a:lnTo>
                      <a:pt x="1" y="119"/>
                    </a:lnTo>
                    <a:lnTo>
                      <a:pt x="0" y="119"/>
                    </a:lnTo>
                    <a:lnTo>
                      <a:pt x="1" y="117"/>
                    </a:lnTo>
                    <a:lnTo>
                      <a:pt x="0" y="117"/>
                    </a:lnTo>
                    <a:lnTo>
                      <a:pt x="1" y="115"/>
                    </a:lnTo>
                    <a:lnTo>
                      <a:pt x="1" y="117"/>
                    </a:lnTo>
                    <a:lnTo>
                      <a:pt x="1" y="115"/>
                    </a:lnTo>
                    <a:lnTo>
                      <a:pt x="1" y="114"/>
                    </a:lnTo>
                    <a:lnTo>
                      <a:pt x="3" y="114"/>
                    </a:lnTo>
                    <a:lnTo>
                      <a:pt x="3" y="112"/>
                    </a:lnTo>
                    <a:lnTo>
                      <a:pt x="5" y="112"/>
                    </a:lnTo>
                    <a:lnTo>
                      <a:pt x="5" y="110"/>
                    </a:lnTo>
                    <a:lnTo>
                      <a:pt x="6" y="110"/>
                    </a:lnTo>
                    <a:lnTo>
                      <a:pt x="6" y="109"/>
                    </a:lnTo>
                    <a:lnTo>
                      <a:pt x="6" y="107"/>
                    </a:lnTo>
                    <a:lnTo>
                      <a:pt x="8" y="107"/>
                    </a:lnTo>
                    <a:lnTo>
                      <a:pt x="8" y="105"/>
                    </a:lnTo>
                    <a:lnTo>
                      <a:pt x="8" y="103"/>
                    </a:lnTo>
                    <a:lnTo>
                      <a:pt x="10" y="103"/>
                    </a:lnTo>
                    <a:lnTo>
                      <a:pt x="10" y="102"/>
                    </a:lnTo>
                    <a:lnTo>
                      <a:pt x="12" y="102"/>
                    </a:lnTo>
                    <a:lnTo>
                      <a:pt x="12" y="100"/>
                    </a:lnTo>
                    <a:lnTo>
                      <a:pt x="12" y="98"/>
                    </a:lnTo>
                    <a:lnTo>
                      <a:pt x="12" y="97"/>
                    </a:lnTo>
                    <a:lnTo>
                      <a:pt x="12" y="95"/>
                    </a:lnTo>
                    <a:lnTo>
                      <a:pt x="13" y="95"/>
                    </a:lnTo>
                    <a:lnTo>
                      <a:pt x="12" y="93"/>
                    </a:lnTo>
                    <a:lnTo>
                      <a:pt x="13" y="93"/>
                    </a:lnTo>
                    <a:lnTo>
                      <a:pt x="12" y="93"/>
                    </a:lnTo>
                    <a:lnTo>
                      <a:pt x="12" y="92"/>
                    </a:lnTo>
                    <a:lnTo>
                      <a:pt x="12" y="90"/>
                    </a:lnTo>
                    <a:lnTo>
                      <a:pt x="12" y="88"/>
                    </a:lnTo>
                    <a:lnTo>
                      <a:pt x="12" y="90"/>
                    </a:lnTo>
                    <a:lnTo>
                      <a:pt x="12" y="88"/>
                    </a:lnTo>
                    <a:lnTo>
                      <a:pt x="12" y="86"/>
                    </a:lnTo>
                    <a:lnTo>
                      <a:pt x="13" y="86"/>
                    </a:lnTo>
                    <a:lnTo>
                      <a:pt x="13" y="85"/>
                    </a:lnTo>
                    <a:lnTo>
                      <a:pt x="13" y="83"/>
                    </a:lnTo>
                    <a:lnTo>
                      <a:pt x="15" y="83"/>
                    </a:lnTo>
                    <a:lnTo>
                      <a:pt x="17" y="83"/>
                    </a:lnTo>
                    <a:lnTo>
                      <a:pt x="17" y="81"/>
                    </a:lnTo>
                    <a:lnTo>
                      <a:pt x="17" y="80"/>
                    </a:lnTo>
                    <a:lnTo>
                      <a:pt x="18" y="80"/>
                    </a:lnTo>
                    <a:lnTo>
                      <a:pt x="18" y="78"/>
                    </a:lnTo>
                    <a:lnTo>
                      <a:pt x="18" y="76"/>
                    </a:lnTo>
                    <a:lnTo>
                      <a:pt x="18" y="75"/>
                    </a:lnTo>
                    <a:lnTo>
                      <a:pt x="18" y="73"/>
                    </a:lnTo>
                    <a:lnTo>
                      <a:pt x="18" y="71"/>
                    </a:lnTo>
                    <a:lnTo>
                      <a:pt x="17" y="71"/>
                    </a:lnTo>
                    <a:lnTo>
                      <a:pt x="17" y="73"/>
                    </a:lnTo>
                    <a:lnTo>
                      <a:pt x="17" y="71"/>
                    </a:lnTo>
                    <a:lnTo>
                      <a:pt x="15" y="71"/>
                    </a:lnTo>
                    <a:lnTo>
                      <a:pt x="15" y="69"/>
                    </a:lnTo>
                    <a:lnTo>
                      <a:pt x="15" y="68"/>
                    </a:lnTo>
                    <a:lnTo>
                      <a:pt x="15" y="66"/>
                    </a:lnTo>
                    <a:lnTo>
                      <a:pt x="13" y="66"/>
                    </a:lnTo>
                    <a:lnTo>
                      <a:pt x="12" y="66"/>
                    </a:lnTo>
                    <a:lnTo>
                      <a:pt x="12" y="64"/>
                    </a:lnTo>
                    <a:lnTo>
                      <a:pt x="10" y="64"/>
                    </a:lnTo>
                    <a:lnTo>
                      <a:pt x="10" y="63"/>
                    </a:lnTo>
                    <a:lnTo>
                      <a:pt x="8" y="63"/>
                    </a:lnTo>
                    <a:lnTo>
                      <a:pt x="8" y="61"/>
                    </a:lnTo>
                    <a:lnTo>
                      <a:pt x="8" y="59"/>
                    </a:lnTo>
                    <a:lnTo>
                      <a:pt x="6" y="59"/>
                    </a:lnTo>
                    <a:lnTo>
                      <a:pt x="6" y="58"/>
                    </a:lnTo>
                    <a:lnTo>
                      <a:pt x="6" y="56"/>
                    </a:lnTo>
                    <a:lnTo>
                      <a:pt x="8" y="56"/>
                    </a:lnTo>
                    <a:lnTo>
                      <a:pt x="8" y="54"/>
                    </a:lnTo>
                    <a:lnTo>
                      <a:pt x="6" y="54"/>
                    </a:lnTo>
                    <a:lnTo>
                      <a:pt x="5" y="54"/>
                    </a:lnTo>
                    <a:lnTo>
                      <a:pt x="5" y="52"/>
                    </a:lnTo>
                    <a:lnTo>
                      <a:pt x="5" y="51"/>
                    </a:lnTo>
                    <a:lnTo>
                      <a:pt x="5" y="49"/>
                    </a:lnTo>
                    <a:lnTo>
                      <a:pt x="5" y="47"/>
                    </a:lnTo>
                    <a:lnTo>
                      <a:pt x="3" y="47"/>
                    </a:lnTo>
                    <a:lnTo>
                      <a:pt x="3" y="46"/>
                    </a:lnTo>
                    <a:lnTo>
                      <a:pt x="3" y="44"/>
                    </a:lnTo>
                    <a:lnTo>
                      <a:pt x="3" y="42"/>
                    </a:lnTo>
                    <a:lnTo>
                      <a:pt x="3" y="41"/>
                    </a:lnTo>
                    <a:lnTo>
                      <a:pt x="5" y="41"/>
                    </a:lnTo>
                    <a:lnTo>
                      <a:pt x="5" y="39"/>
                    </a:lnTo>
                    <a:lnTo>
                      <a:pt x="3" y="39"/>
                    </a:lnTo>
                    <a:lnTo>
                      <a:pt x="3" y="37"/>
                    </a:lnTo>
                    <a:lnTo>
                      <a:pt x="3" y="35"/>
                    </a:lnTo>
                    <a:lnTo>
                      <a:pt x="3" y="34"/>
                    </a:lnTo>
                    <a:lnTo>
                      <a:pt x="3" y="32"/>
                    </a:lnTo>
                    <a:lnTo>
                      <a:pt x="3" y="30"/>
                    </a:lnTo>
                    <a:lnTo>
                      <a:pt x="1" y="29"/>
                    </a:lnTo>
                    <a:lnTo>
                      <a:pt x="3" y="29"/>
                    </a:lnTo>
                    <a:lnTo>
                      <a:pt x="3" y="27"/>
                    </a:lnTo>
                    <a:lnTo>
                      <a:pt x="3" y="25"/>
                    </a:lnTo>
                    <a:lnTo>
                      <a:pt x="5" y="23"/>
                    </a:lnTo>
                    <a:lnTo>
                      <a:pt x="5" y="22"/>
                    </a:lnTo>
                    <a:lnTo>
                      <a:pt x="6" y="22"/>
                    </a:lnTo>
                    <a:lnTo>
                      <a:pt x="6" y="20"/>
                    </a:lnTo>
                    <a:lnTo>
                      <a:pt x="8" y="18"/>
                    </a:lnTo>
                    <a:lnTo>
                      <a:pt x="8" y="17"/>
                    </a:lnTo>
                    <a:lnTo>
                      <a:pt x="10" y="17"/>
                    </a:lnTo>
                    <a:lnTo>
                      <a:pt x="10" y="15"/>
                    </a:lnTo>
                    <a:lnTo>
                      <a:pt x="12" y="15"/>
                    </a:lnTo>
                    <a:lnTo>
                      <a:pt x="13" y="13"/>
                    </a:lnTo>
                    <a:lnTo>
                      <a:pt x="13" y="12"/>
                    </a:lnTo>
                    <a:lnTo>
                      <a:pt x="15" y="12"/>
                    </a:lnTo>
                    <a:lnTo>
                      <a:pt x="15" y="10"/>
                    </a:lnTo>
                    <a:lnTo>
                      <a:pt x="17" y="10"/>
                    </a:lnTo>
                    <a:lnTo>
                      <a:pt x="17" y="8"/>
                    </a:lnTo>
                    <a:lnTo>
                      <a:pt x="18" y="8"/>
                    </a:lnTo>
                    <a:lnTo>
                      <a:pt x="18" y="6"/>
                    </a:lnTo>
                    <a:lnTo>
                      <a:pt x="18" y="5"/>
                    </a:lnTo>
                    <a:lnTo>
                      <a:pt x="18" y="3"/>
                    </a:lnTo>
                    <a:lnTo>
                      <a:pt x="18" y="1"/>
                    </a:lnTo>
                    <a:lnTo>
                      <a:pt x="20" y="1"/>
                    </a:lnTo>
                    <a:lnTo>
                      <a:pt x="20" y="0"/>
                    </a:lnTo>
                    <a:lnTo>
                      <a:pt x="22" y="1"/>
                    </a:lnTo>
                    <a:lnTo>
                      <a:pt x="23" y="1"/>
                    </a:lnTo>
                    <a:lnTo>
                      <a:pt x="25" y="1"/>
                    </a:lnTo>
                    <a:lnTo>
                      <a:pt x="27" y="1"/>
                    </a:lnTo>
                    <a:lnTo>
                      <a:pt x="27" y="3"/>
                    </a:lnTo>
                    <a:lnTo>
                      <a:pt x="29" y="3"/>
                    </a:lnTo>
                    <a:lnTo>
                      <a:pt x="30" y="3"/>
                    </a:lnTo>
                    <a:lnTo>
                      <a:pt x="30" y="5"/>
                    </a:lnTo>
                    <a:lnTo>
                      <a:pt x="32" y="5"/>
                    </a:lnTo>
                    <a:lnTo>
                      <a:pt x="34" y="5"/>
                    </a:lnTo>
                    <a:lnTo>
                      <a:pt x="34" y="6"/>
                    </a:lnTo>
                    <a:lnTo>
                      <a:pt x="35" y="6"/>
                    </a:lnTo>
                    <a:lnTo>
                      <a:pt x="37" y="6"/>
                    </a:lnTo>
                    <a:lnTo>
                      <a:pt x="39" y="6"/>
                    </a:lnTo>
                    <a:lnTo>
                      <a:pt x="40" y="6"/>
                    </a:lnTo>
                    <a:lnTo>
                      <a:pt x="40" y="8"/>
                    </a:lnTo>
                    <a:lnTo>
                      <a:pt x="42" y="8"/>
                    </a:lnTo>
                    <a:lnTo>
                      <a:pt x="44" y="8"/>
                    </a:lnTo>
                    <a:lnTo>
                      <a:pt x="42" y="8"/>
                    </a:lnTo>
                    <a:lnTo>
                      <a:pt x="42" y="6"/>
                    </a:lnTo>
                    <a:lnTo>
                      <a:pt x="44" y="6"/>
                    </a:lnTo>
                    <a:lnTo>
                      <a:pt x="44" y="8"/>
                    </a:lnTo>
                    <a:lnTo>
                      <a:pt x="46" y="8"/>
                    </a:lnTo>
                    <a:lnTo>
                      <a:pt x="47" y="8"/>
                    </a:lnTo>
                    <a:lnTo>
                      <a:pt x="49" y="10"/>
                    </a:lnTo>
                    <a:lnTo>
                      <a:pt x="51" y="10"/>
                    </a:lnTo>
                    <a:lnTo>
                      <a:pt x="52" y="12"/>
                    </a:lnTo>
                    <a:lnTo>
                      <a:pt x="52" y="10"/>
                    </a:lnTo>
                    <a:lnTo>
                      <a:pt x="54" y="10"/>
                    </a:lnTo>
                    <a:lnTo>
                      <a:pt x="54" y="12"/>
                    </a:lnTo>
                    <a:lnTo>
                      <a:pt x="56" y="12"/>
                    </a:lnTo>
                    <a:lnTo>
                      <a:pt x="56" y="13"/>
                    </a:lnTo>
                    <a:lnTo>
                      <a:pt x="57" y="13"/>
                    </a:lnTo>
                    <a:lnTo>
                      <a:pt x="57" y="15"/>
                    </a:lnTo>
                    <a:lnTo>
                      <a:pt x="59" y="15"/>
                    </a:lnTo>
                    <a:lnTo>
                      <a:pt x="59" y="17"/>
                    </a:lnTo>
                    <a:lnTo>
                      <a:pt x="61" y="17"/>
                    </a:lnTo>
                    <a:lnTo>
                      <a:pt x="61" y="18"/>
                    </a:lnTo>
                    <a:lnTo>
                      <a:pt x="63" y="18"/>
                    </a:lnTo>
                    <a:lnTo>
                      <a:pt x="64" y="20"/>
                    </a:lnTo>
                    <a:lnTo>
                      <a:pt x="66" y="22"/>
                    </a:lnTo>
                    <a:lnTo>
                      <a:pt x="68" y="23"/>
                    </a:lnTo>
                    <a:lnTo>
                      <a:pt x="69" y="23"/>
                    </a:lnTo>
                    <a:lnTo>
                      <a:pt x="69" y="25"/>
                    </a:lnTo>
                    <a:lnTo>
                      <a:pt x="71" y="25"/>
                    </a:lnTo>
                    <a:lnTo>
                      <a:pt x="71" y="27"/>
                    </a:lnTo>
                    <a:lnTo>
                      <a:pt x="73" y="27"/>
                    </a:lnTo>
                    <a:lnTo>
                      <a:pt x="73" y="29"/>
                    </a:lnTo>
                    <a:lnTo>
                      <a:pt x="74" y="29"/>
                    </a:lnTo>
                    <a:lnTo>
                      <a:pt x="73" y="29"/>
                    </a:lnTo>
                    <a:lnTo>
                      <a:pt x="74" y="29"/>
                    </a:lnTo>
                    <a:lnTo>
                      <a:pt x="74" y="27"/>
                    </a:lnTo>
                    <a:lnTo>
                      <a:pt x="76" y="27"/>
                    </a:lnTo>
                    <a:lnTo>
                      <a:pt x="76" y="29"/>
                    </a:lnTo>
                    <a:lnTo>
                      <a:pt x="78" y="29"/>
                    </a:lnTo>
                    <a:lnTo>
                      <a:pt x="76" y="29"/>
                    </a:lnTo>
                    <a:lnTo>
                      <a:pt x="78" y="30"/>
                    </a:lnTo>
                    <a:lnTo>
                      <a:pt x="76" y="30"/>
                    </a:lnTo>
                    <a:lnTo>
                      <a:pt x="78" y="32"/>
                    </a:lnTo>
                    <a:lnTo>
                      <a:pt x="78" y="30"/>
                    </a:lnTo>
                    <a:lnTo>
                      <a:pt x="80" y="30"/>
                    </a:lnTo>
                    <a:lnTo>
                      <a:pt x="80" y="32"/>
                    </a:lnTo>
                    <a:lnTo>
                      <a:pt x="81" y="32"/>
                    </a:lnTo>
                    <a:lnTo>
                      <a:pt x="81" y="34"/>
                    </a:lnTo>
                    <a:lnTo>
                      <a:pt x="83" y="34"/>
                    </a:lnTo>
                    <a:lnTo>
                      <a:pt x="85" y="35"/>
                    </a:lnTo>
                    <a:lnTo>
                      <a:pt x="86" y="35"/>
                    </a:lnTo>
                    <a:lnTo>
                      <a:pt x="86" y="37"/>
                    </a:lnTo>
                    <a:lnTo>
                      <a:pt x="86" y="39"/>
                    </a:lnTo>
                    <a:lnTo>
                      <a:pt x="88" y="39"/>
                    </a:lnTo>
                    <a:lnTo>
                      <a:pt x="88" y="37"/>
                    </a:lnTo>
                    <a:lnTo>
                      <a:pt x="90" y="37"/>
                    </a:lnTo>
                    <a:lnTo>
                      <a:pt x="91" y="37"/>
                    </a:lnTo>
                    <a:lnTo>
                      <a:pt x="91" y="39"/>
                    </a:lnTo>
                    <a:lnTo>
                      <a:pt x="93" y="39"/>
                    </a:lnTo>
                    <a:lnTo>
                      <a:pt x="93" y="41"/>
                    </a:lnTo>
                    <a:lnTo>
                      <a:pt x="93" y="42"/>
                    </a:lnTo>
                    <a:lnTo>
                      <a:pt x="93" y="44"/>
                    </a:lnTo>
                    <a:lnTo>
                      <a:pt x="95" y="44"/>
                    </a:lnTo>
                    <a:lnTo>
                      <a:pt x="95" y="46"/>
                    </a:lnTo>
                    <a:lnTo>
                      <a:pt x="95" y="47"/>
                    </a:lnTo>
                    <a:lnTo>
                      <a:pt x="97" y="46"/>
                    </a:lnTo>
                    <a:lnTo>
                      <a:pt x="95" y="47"/>
                    </a:lnTo>
                    <a:lnTo>
                      <a:pt x="95" y="49"/>
                    </a:lnTo>
                    <a:lnTo>
                      <a:pt x="97" y="49"/>
                    </a:lnTo>
                    <a:lnTo>
                      <a:pt x="97" y="51"/>
                    </a:lnTo>
                    <a:lnTo>
                      <a:pt x="97" y="52"/>
                    </a:lnTo>
                    <a:lnTo>
                      <a:pt x="98" y="52"/>
                    </a:lnTo>
                    <a:lnTo>
                      <a:pt x="98" y="54"/>
                    </a:lnTo>
                    <a:lnTo>
                      <a:pt x="98" y="56"/>
                    </a:lnTo>
                    <a:close/>
                    <a:moveTo>
                      <a:pt x="22" y="0"/>
                    </a:moveTo>
                    <a:lnTo>
                      <a:pt x="23" y="0"/>
                    </a:lnTo>
                    <a:lnTo>
                      <a:pt x="23" y="1"/>
                    </a:lnTo>
                    <a:lnTo>
                      <a:pt x="22" y="1"/>
                    </a:lnTo>
                    <a:lnTo>
                      <a:pt x="22"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4" name="Freeform 32">
                <a:extLst>
                  <a:ext uri="{FF2B5EF4-FFF2-40B4-BE49-F238E27FC236}">
                    <a16:creationId xmlns:a16="http://schemas.microsoft.com/office/drawing/2014/main" id="{EBA8C444-D86E-8DF2-88E6-9E833FAF8B0A}"/>
                  </a:ext>
                </a:extLst>
              </p:cNvPr>
              <p:cNvSpPr>
                <a:spLocks noEditPoints="1"/>
              </p:cNvSpPr>
              <p:nvPr/>
            </p:nvSpPr>
            <p:spPr bwMode="auto">
              <a:xfrm>
                <a:off x="6340475" y="1776413"/>
                <a:ext cx="20637" cy="30163"/>
              </a:xfrm>
              <a:custGeom>
                <a:avLst/>
                <a:gdLst>
                  <a:gd name="T0" fmla="*/ 5 w 13"/>
                  <a:gd name="T1" fmla="*/ 11 h 19"/>
                  <a:gd name="T2" fmla="*/ 7 w 13"/>
                  <a:gd name="T3" fmla="*/ 11 h 19"/>
                  <a:gd name="T4" fmla="*/ 7 w 13"/>
                  <a:gd name="T5" fmla="*/ 12 h 19"/>
                  <a:gd name="T6" fmla="*/ 7 w 13"/>
                  <a:gd name="T7" fmla="*/ 14 h 19"/>
                  <a:gd name="T8" fmla="*/ 7 w 13"/>
                  <a:gd name="T9" fmla="*/ 16 h 19"/>
                  <a:gd name="T10" fmla="*/ 5 w 13"/>
                  <a:gd name="T11" fmla="*/ 17 h 19"/>
                  <a:gd name="T12" fmla="*/ 3 w 13"/>
                  <a:gd name="T13" fmla="*/ 17 h 19"/>
                  <a:gd name="T14" fmla="*/ 3 w 13"/>
                  <a:gd name="T15" fmla="*/ 19 h 19"/>
                  <a:gd name="T16" fmla="*/ 3 w 13"/>
                  <a:gd name="T17" fmla="*/ 17 h 19"/>
                  <a:gd name="T18" fmla="*/ 3 w 13"/>
                  <a:gd name="T19" fmla="*/ 19 h 19"/>
                  <a:gd name="T20" fmla="*/ 3 w 13"/>
                  <a:gd name="T21" fmla="*/ 17 h 19"/>
                  <a:gd name="T22" fmla="*/ 3 w 13"/>
                  <a:gd name="T23" fmla="*/ 19 h 19"/>
                  <a:gd name="T24" fmla="*/ 2 w 13"/>
                  <a:gd name="T25" fmla="*/ 17 h 19"/>
                  <a:gd name="T26" fmla="*/ 2 w 13"/>
                  <a:gd name="T27" fmla="*/ 19 h 19"/>
                  <a:gd name="T28" fmla="*/ 0 w 13"/>
                  <a:gd name="T29" fmla="*/ 19 h 19"/>
                  <a:gd name="T30" fmla="*/ 2 w 13"/>
                  <a:gd name="T31" fmla="*/ 17 h 19"/>
                  <a:gd name="T32" fmla="*/ 2 w 13"/>
                  <a:gd name="T33" fmla="*/ 16 h 19"/>
                  <a:gd name="T34" fmla="*/ 2 w 13"/>
                  <a:gd name="T35" fmla="*/ 14 h 19"/>
                  <a:gd name="T36" fmla="*/ 3 w 13"/>
                  <a:gd name="T37" fmla="*/ 12 h 19"/>
                  <a:gd name="T38" fmla="*/ 3 w 13"/>
                  <a:gd name="T39" fmla="*/ 11 h 19"/>
                  <a:gd name="T40" fmla="*/ 5 w 13"/>
                  <a:gd name="T41" fmla="*/ 11 h 19"/>
                  <a:gd name="T42" fmla="*/ 10 w 13"/>
                  <a:gd name="T43" fmla="*/ 0 h 19"/>
                  <a:gd name="T44" fmla="*/ 13 w 13"/>
                  <a:gd name="T45" fmla="*/ 0 h 19"/>
                  <a:gd name="T46" fmla="*/ 13 w 13"/>
                  <a:gd name="T47" fmla="*/ 4 h 19"/>
                  <a:gd name="T48" fmla="*/ 10 w 13"/>
                  <a:gd name="T49" fmla="*/ 4 h 19"/>
                  <a:gd name="T50" fmla="*/ 10 w 13"/>
                  <a:gd name="T51" fmla="*/ 0 h 19"/>
                  <a:gd name="T52" fmla="*/ 7 w 13"/>
                  <a:gd name="T53" fmla="*/ 7 h 19"/>
                  <a:gd name="T54" fmla="*/ 7 w 13"/>
                  <a:gd name="T55" fmla="*/ 9 h 19"/>
                  <a:gd name="T56" fmla="*/ 7 w 13"/>
                  <a:gd name="T57" fmla="*/ 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 h="19">
                    <a:moveTo>
                      <a:pt x="5" y="11"/>
                    </a:moveTo>
                    <a:lnTo>
                      <a:pt x="7" y="11"/>
                    </a:lnTo>
                    <a:lnTo>
                      <a:pt x="7" y="12"/>
                    </a:lnTo>
                    <a:lnTo>
                      <a:pt x="7" y="14"/>
                    </a:lnTo>
                    <a:lnTo>
                      <a:pt x="7" y="16"/>
                    </a:lnTo>
                    <a:lnTo>
                      <a:pt x="5" y="17"/>
                    </a:lnTo>
                    <a:lnTo>
                      <a:pt x="3" y="17"/>
                    </a:lnTo>
                    <a:lnTo>
                      <a:pt x="3" y="19"/>
                    </a:lnTo>
                    <a:lnTo>
                      <a:pt x="3" y="17"/>
                    </a:lnTo>
                    <a:lnTo>
                      <a:pt x="3" y="19"/>
                    </a:lnTo>
                    <a:lnTo>
                      <a:pt x="3" y="17"/>
                    </a:lnTo>
                    <a:lnTo>
                      <a:pt x="3" y="19"/>
                    </a:lnTo>
                    <a:lnTo>
                      <a:pt x="2" y="17"/>
                    </a:lnTo>
                    <a:lnTo>
                      <a:pt x="2" y="19"/>
                    </a:lnTo>
                    <a:lnTo>
                      <a:pt x="0" y="19"/>
                    </a:lnTo>
                    <a:lnTo>
                      <a:pt x="2" y="17"/>
                    </a:lnTo>
                    <a:lnTo>
                      <a:pt x="2" y="16"/>
                    </a:lnTo>
                    <a:lnTo>
                      <a:pt x="2" y="14"/>
                    </a:lnTo>
                    <a:lnTo>
                      <a:pt x="3" y="12"/>
                    </a:lnTo>
                    <a:lnTo>
                      <a:pt x="3" y="11"/>
                    </a:lnTo>
                    <a:lnTo>
                      <a:pt x="5" y="11"/>
                    </a:lnTo>
                    <a:close/>
                    <a:moveTo>
                      <a:pt x="10" y="0"/>
                    </a:moveTo>
                    <a:lnTo>
                      <a:pt x="13" y="0"/>
                    </a:lnTo>
                    <a:lnTo>
                      <a:pt x="13" y="4"/>
                    </a:lnTo>
                    <a:lnTo>
                      <a:pt x="10" y="4"/>
                    </a:lnTo>
                    <a:lnTo>
                      <a:pt x="10" y="0"/>
                    </a:lnTo>
                    <a:close/>
                    <a:moveTo>
                      <a:pt x="7" y="7"/>
                    </a:moveTo>
                    <a:lnTo>
                      <a:pt x="7" y="9"/>
                    </a:lnTo>
                    <a:lnTo>
                      <a:pt x="7" y="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5" name="Freeform 33">
                <a:extLst>
                  <a:ext uri="{FF2B5EF4-FFF2-40B4-BE49-F238E27FC236}">
                    <a16:creationId xmlns:a16="http://schemas.microsoft.com/office/drawing/2014/main" id="{21519E67-7739-0B28-9EAA-DC068E0F30BB}"/>
                  </a:ext>
                </a:extLst>
              </p:cNvPr>
              <p:cNvSpPr>
                <a:spLocks noEditPoints="1"/>
              </p:cNvSpPr>
              <p:nvPr/>
            </p:nvSpPr>
            <p:spPr bwMode="auto">
              <a:xfrm>
                <a:off x="6340475" y="1555750"/>
                <a:ext cx="42862" cy="38100"/>
              </a:xfrm>
              <a:custGeom>
                <a:avLst/>
                <a:gdLst>
                  <a:gd name="T0" fmla="*/ 5 w 27"/>
                  <a:gd name="T1" fmla="*/ 7 h 24"/>
                  <a:gd name="T2" fmla="*/ 8 w 27"/>
                  <a:gd name="T3" fmla="*/ 8 h 24"/>
                  <a:gd name="T4" fmla="*/ 7 w 27"/>
                  <a:gd name="T5" fmla="*/ 10 h 24"/>
                  <a:gd name="T6" fmla="*/ 8 w 27"/>
                  <a:gd name="T7" fmla="*/ 13 h 24"/>
                  <a:gd name="T8" fmla="*/ 8 w 27"/>
                  <a:gd name="T9" fmla="*/ 17 h 24"/>
                  <a:gd name="T10" fmla="*/ 5 w 27"/>
                  <a:gd name="T11" fmla="*/ 20 h 24"/>
                  <a:gd name="T12" fmla="*/ 5 w 27"/>
                  <a:gd name="T13" fmla="*/ 20 h 24"/>
                  <a:gd name="T14" fmla="*/ 3 w 27"/>
                  <a:gd name="T15" fmla="*/ 19 h 24"/>
                  <a:gd name="T16" fmla="*/ 2 w 27"/>
                  <a:gd name="T17" fmla="*/ 17 h 24"/>
                  <a:gd name="T18" fmla="*/ 2 w 27"/>
                  <a:gd name="T19" fmla="*/ 13 h 24"/>
                  <a:gd name="T20" fmla="*/ 2 w 27"/>
                  <a:gd name="T21" fmla="*/ 13 h 24"/>
                  <a:gd name="T22" fmla="*/ 0 w 27"/>
                  <a:gd name="T23" fmla="*/ 12 h 24"/>
                  <a:gd name="T24" fmla="*/ 0 w 27"/>
                  <a:gd name="T25" fmla="*/ 8 h 24"/>
                  <a:gd name="T26" fmla="*/ 2 w 27"/>
                  <a:gd name="T27" fmla="*/ 7 h 24"/>
                  <a:gd name="T28" fmla="*/ 3 w 27"/>
                  <a:gd name="T29" fmla="*/ 7 h 24"/>
                  <a:gd name="T30" fmla="*/ 13 w 27"/>
                  <a:gd name="T31" fmla="*/ 2 h 24"/>
                  <a:gd name="T32" fmla="*/ 13 w 27"/>
                  <a:gd name="T33" fmla="*/ 5 h 24"/>
                  <a:gd name="T34" fmla="*/ 15 w 27"/>
                  <a:gd name="T35" fmla="*/ 7 h 24"/>
                  <a:gd name="T36" fmla="*/ 19 w 27"/>
                  <a:gd name="T37" fmla="*/ 8 h 24"/>
                  <a:gd name="T38" fmla="*/ 20 w 27"/>
                  <a:gd name="T39" fmla="*/ 10 h 24"/>
                  <a:gd name="T40" fmla="*/ 20 w 27"/>
                  <a:gd name="T41" fmla="*/ 10 h 24"/>
                  <a:gd name="T42" fmla="*/ 17 w 27"/>
                  <a:gd name="T43" fmla="*/ 10 h 24"/>
                  <a:gd name="T44" fmla="*/ 13 w 27"/>
                  <a:gd name="T45" fmla="*/ 10 h 24"/>
                  <a:gd name="T46" fmla="*/ 12 w 27"/>
                  <a:gd name="T47" fmla="*/ 12 h 24"/>
                  <a:gd name="T48" fmla="*/ 10 w 27"/>
                  <a:gd name="T49" fmla="*/ 10 h 24"/>
                  <a:gd name="T50" fmla="*/ 10 w 27"/>
                  <a:gd name="T51" fmla="*/ 10 h 24"/>
                  <a:gd name="T52" fmla="*/ 8 w 27"/>
                  <a:gd name="T53" fmla="*/ 8 h 24"/>
                  <a:gd name="T54" fmla="*/ 10 w 27"/>
                  <a:gd name="T55" fmla="*/ 7 h 24"/>
                  <a:gd name="T56" fmla="*/ 8 w 27"/>
                  <a:gd name="T57" fmla="*/ 5 h 24"/>
                  <a:gd name="T58" fmla="*/ 8 w 27"/>
                  <a:gd name="T59" fmla="*/ 2 h 24"/>
                  <a:gd name="T60" fmla="*/ 12 w 27"/>
                  <a:gd name="T61" fmla="*/ 0 h 24"/>
                  <a:gd name="T62" fmla="*/ 17 w 27"/>
                  <a:gd name="T63" fmla="*/ 19 h 24"/>
                  <a:gd name="T64" fmla="*/ 20 w 27"/>
                  <a:gd name="T65" fmla="*/ 20 h 24"/>
                  <a:gd name="T66" fmla="*/ 19 w 27"/>
                  <a:gd name="T67" fmla="*/ 22 h 24"/>
                  <a:gd name="T68" fmla="*/ 17 w 27"/>
                  <a:gd name="T69" fmla="*/ 24 h 24"/>
                  <a:gd name="T70" fmla="*/ 15 w 27"/>
                  <a:gd name="T71" fmla="*/ 22 h 24"/>
                  <a:gd name="T72" fmla="*/ 17 w 27"/>
                  <a:gd name="T73" fmla="*/ 20 h 24"/>
                  <a:gd name="T74" fmla="*/ 24 w 27"/>
                  <a:gd name="T75" fmla="*/ 7 h 24"/>
                  <a:gd name="T76" fmla="*/ 27 w 27"/>
                  <a:gd name="T77" fmla="*/ 8 h 24"/>
                  <a:gd name="T78" fmla="*/ 24 w 27"/>
                  <a:gd name="T79" fmla="*/ 7 h 24"/>
                  <a:gd name="T80" fmla="*/ 7 w 27"/>
                  <a:gd name="T81" fmla="*/ 24 h 24"/>
                  <a:gd name="T82" fmla="*/ 7 w 27"/>
                  <a:gd name="T83" fmla="*/ 22 h 24"/>
                  <a:gd name="T84" fmla="*/ 8 w 27"/>
                  <a:gd name="T85" fmla="*/ 24 h 24"/>
                  <a:gd name="T86" fmla="*/ 7 w 27"/>
                  <a:gd name="T87" fmla="*/ 22 h 24"/>
                  <a:gd name="T88" fmla="*/ 24 w 27"/>
                  <a:gd name="T89"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 h="24">
                    <a:moveTo>
                      <a:pt x="3" y="7"/>
                    </a:moveTo>
                    <a:lnTo>
                      <a:pt x="5" y="7"/>
                    </a:lnTo>
                    <a:lnTo>
                      <a:pt x="7" y="8"/>
                    </a:lnTo>
                    <a:lnTo>
                      <a:pt x="8" y="8"/>
                    </a:lnTo>
                    <a:lnTo>
                      <a:pt x="8" y="10"/>
                    </a:lnTo>
                    <a:lnTo>
                      <a:pt x="7" y="10"/>
                    </a:lnTo>
                    <a:lnTo>
                      <a:pt x="7" y="12"/>
                    </a:lnTo>
                    <a:lnTo>
                      <a:pt x="8" y="13"/>
                    </a:lnTo>
                    <a:lnTo>
                      <a:pt x="8" y="15"/>
                    </a:lnTo>
                    <a:lnTo>
                      <a:pt x="8" y="17"/>
                    </a:lnTo>
                    <a:lnTo>
                      <a:pt x="7" y="19"/>
                    </a:lnTo>
                    <a:lnTo>
                      <a:pt x="5" y="20"/>
                    </a:lnTo>
                    <a:lnTo>
                      <a:pt x="5" y="19"/>
                    </a:lnTo>
                    <a:lnTo>
                      <a:pt x="5" y="20"/>
                    </a:lnTo>
                    <a:lnTo>
                      <a:pt x="3" y="20"/>
                    </a:lnTo>
                    <a:lnTo>
                      <a:pt x="3" y="19"/>
                    </a:lnTo>
                    <a:lnTo>
                      <a:pt x="2" y="19"/>
                    </a:lnTo>
                    <a:lnTo>
                      <a:pt x="2" y="17"/>
                    </a:lnTo>
                    <a:lnTo>
                      <a:pt x="2" y="15"/>
                    </a:lnTo>
                    <a:lnTo>
                      <a:pt x="2" y="13"/>
                    </a:lnTo>
                    <a:lnTo>
                      <a:pt x="0" y="13"/>
                    </a:lnTo>
                    <a:lnTo>
                      <a:pt x="2" y="13"/>
                    </a:lnTo>
                    <a:lnTo>
                      <a:pt x="2" y="12"/>
                    </a:lnTo>
                    <a:lnTo>
                      <a:pt x="0" y="12"/>
                    </a:lnTo>
                    <a:lnTo>
                      <a:pt x="0" y="10"/>
                    </a:lnTo>
                    <a:lnTo>
                      <a:pt x="0" y="8"/>
                    </a:lnTo>
                    <a:lnTo>
                      <a:pt x="0" y="7"/>
                    </a:lnTo>
                    <a:lnTo>
                      <a:pt x="2" y="7"/>
                    </a:lnTo>
                    <a:lnTo>
                      <a:pt x="2" y="5"/>
                    </a:lnTo>
                    <a:lnTo>
                      <a:pt x="3" y="7"/>
                    </a:lnTo>
                    <a:close/>
                    <a:moveTo>
                      <a:pt x="12" y="2"/>
                    </a:moveTo>
                    <a:lnTo>
                      <a:pt x="13" y="2"/>
                    </a:lnTo>
                    <a:lnTo>
                      <a:pt x="13" y="3"/>
                    </a:lnTo>
                    <a:lnTo>
                      <a:pt x="13" y="5"/>
                    </a:lnTo>
                    <a:lnTo>
                      <a:pt x="13" y="7"/>
                    </a:lnTo>
                    <a:lnTo>
                      <a:pt x="15" y="7"/>
                    </a:lnTo>
                    <a:lnTo>
                      <a:pt x="17" y="7"/>
                    </a:lnTo>
                    <a:lnTo>
                      <a:pt x="19" y="8"/>
                    </a:lnTo>
                    <a:lnTo>
                      <a:pt x="20" y="8"/>
                    </a:lnTo>
                    <a:lnTo>
                      <a:pt x="20" y="10"/>
                    </a:lnTo>
                    <a:lnTo>
                      <a:pt x="22" y="10"/>
                    </a:lnTo>
                    <a:lnTo>
                      <a:pt x="20" y="10"/>
                    </a:lnTo>
                    <a:lnTo>
                      <a:pt x="19" y="10"/>
                    </a:lnTo>
                    <a:lnTo>
                      <a:pt x="17" y="10"/>
                    </a:lnTo>
                    <a:lnTo>
                      <a:pt x="15" y="10"/>
                    </a:lnTo>
                    <a:lnTo>
                      <a:pt x="13" y="10"/>
                    </a:lnTo>
                    <a:lnTo>
                      <a:pt x="13" y="12"/>
                    </a:lnTo>
                    <a:lnTo>
                      <a:pt x="12" y="12"/>
                    </a:lnTo>
                    <a:lnTo>
                      <a:pt x="10" y="12"/>
                    </a:lnTo>
                    <a:lnTo>
                      <a:pt x="10" y="10"/>
                    </a:lnTo>
                    <a:lnTo>
                      <a:pt x="8" y="10"/>
                    </a:lnTo>
                    <a:lnTo>
                      <a:pt x="10" y="10"/>
                    </a:lnTo>
                    <a:lnTo>
                      <a:pt x="8" y="10"/>
                    </a:lnTo>
                    <a:lnTo>
                      <a:pt x="8" y="8"/>
                    </a:lnTo>
                    <a:lnTo>
                      <a:pt x="8" y="7"/>
                    </a:lnTo>
                    <a:lnTo>
                      <a:pt x="10" y="7"/>
                    </a:lnTo>
                    <a:lnTo>
                      <a:pt x="10" y="5"/>
                    </a:lnTo>
                    <a:lnTo>
                      <a:pt x="8" y="5"/>
                    </a:lnTo>
                    <a:lnTo>
                      <a:pt x="8" y="3"/>
                    </a:lnTo>
                    <a:lnTo>
                      <a:pt x="8" y="2"/>
                    </a:lnTo>
                    <a:lnTo>
                      <a:pt x="10" y="2"/>
                    </a:lnTo>
                    <a:lnTo>
                      <a:pt x="12" y="0"/>
                    </a:lnTo>
                    <a:lnTo>
                      <a:pt x="12" y="2"/>
                    </a:lnTo>
                    <a:close/>
                    <a:moveTo>
                      <a:pt x="17" y="19"/>
                    </a:moveTo>
                    <a:lnTo>
                      <a:pt x="19" y="19"/>
                    </a:lnTo>
                    <a:lnTo>
                      <a:pt x="20" y="20"/>
                    </a:lnTo>
                    <a:lnTo>
                      <a:pt x="20" y="22"/>
                    </a:lnTo>
                    <a:lnTo>
                      <a:pt x="19" y="22"/>
                    </a:lnTo>
                    <a:lnTo>
                      <a:pt x="19" y="24"/>
                    </a:lnTo>
                    <a:lnTo>
                      <a:pt x="17" y="24"/>
                    </a:lnTo>
                    <a:lnTo>
                      <a:pt x="17" y="22"/>
                    </a:lnTo>
                    <a:lnTo>
                      <a:pt x="15" y="22"/>
                    </a:lnTo>
                    <a:lnTo>
                      <a:pt x="15" y="20"/>
                    </a:lnTo>
                    <a:lnTo>
                      <a:pt x="17" y="20"/>
                    </a:lnTo>
                    <a:lnTo>
                      <a:pt x="17" y="19"/>
                    </a:lnTo>
                    <a:close/>
                    <a:moveTo>
                      <a:pt x="24" y="7"/>
                    </a:moveTo>
                    <a:lnTo>
                      <a:pt x="27" y="7"/>
                    </a:lnTo>
                    <a:lnTo>
                      <a:pt x="27" y="8"/>
                    </a:lnTo>
                    <a:lnTo>
                      <a:pt x="24" y="8"/>
                    </a:lnTo>
                    <a:lnTo>
                      <a:pt x="24" y="7"/>
                    </a:lnTo>
                    <a:close/>
                    <a:moveTo>
                      <a:pt x="5" y="24"/>
                    </a:moveTo>
                    <a:lnTo>
                      <a:pt x="7" y="24"/>
                    </a:lnTo>
                    <a:lnTo>
                      <a:pt x="5" y="24"/>
                    </a:lnTo>
                    <a:close/>
                    <a:moveTo>
                      <a:pt x="7" y="22"/>
                    </a:moveTo>
                    <a:lnTo>
                      <a:pt x="8" y="22"/>
                    </a:lnTo>
                    <a:lnTo>
                      <a:pt x="8" y="24"/>
                    </a:lnTo>
                    <a:lnTo>
                      <a:pt x="7" y="24"/>
                    </a:lnTo>
                    <a:lnTo>
                      <a:pt x="7" y="22"/>
                    </a:lnTo>
                    <a:close/>
                    <a:moveTo>
                      <a:pt x="22" y="12"/>
                    </a:moveTo>
                    <a:lnTo>
                      <a:pt x="24" y="12"/>
                    </a:lnTo>
                    <a:lnTo>
                      <a:pt x="22" y="1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6" name="Freeform 34">
                <a:extLst>
                  <a:ext uri="{FF2B5EF4-FFF2-40B4-BE49-F238E27FC236}">
                    <a16:creationId xmlns:a16="http://schemas.microsoft.com/office/drawing/2014/main" id="{49B260EB-8600-D3AD-A69A-F702B997F96A}"/>
                  </a:ext>
                </a:extLst>
              </p:cNvPr>
              <p:cNvSpPr>
                <a:spLocks/>
              </p:cNvSpPr>
              <p:nvPr/>
            </p:nvSpPr>
            <p:spPr bwMode="auto">
              <a:xfrm>
                <a:off x="4710113" y="1482725"/>
                <a:ext cx="212725" cy="227013"/>
              </a:xfrm>
              <a:custGeom>
                <a:avLst/>
                <a:gdLst>
                  <a:gd name="T0" fmla="*/ 104 w 134"/>
                  <a:gd name="T1" fmla="*/ 20 h 143"/>
                  <a:gd name="T2" fmla="*/ 104 w 134"/>
                  <a:gd name="T3" fmla="*/ 34 h 143"/>
                  <a:gd name="T4" fmla="*/ 102 w 134"/>
                  <a:gd name="T5" fmla="*/ 49 h 143"/>
                  <a:gd name="T6" fmla="*/ 102 w 134"/>
                  <a:gd name="T7" fmla="*/ 59 h 143"/>
                  <a:gd name="T8" fmla="*/ 104 w 134"/>
                  <a:gd name="T9" fmla="*/ 68 h 143"/>
                  <a:gd name="T10" fmla="*/ 112 w 134"/>
                  <a:gd name="T11" fmla="*/ 70 h 143"/>
                  <a:gd name="T12" fmla="*/ 119 w 134"/>
                  <a:gd name="T13" fmla="*/ 71 h 143"/>
                  <a:gd name="T14" fmla="*/ 124 w 134"/>
                  <a:gd name="T15" fmla="*/ 71 h 143"/>
                  <a:gd name="T16" fmla="*/ 123 w 134"/>
                  <a:gd name="T17" fmla="*/ 66 h 143"/>
                  <a:gd name="T18" fmla="*/ 129 w 134"/>
                  <a:gd name="T19" fmla="*/ 71 h 143"/>
                  <a:gd name="T20" fmla="*/ 133 w 134"/>
                  <a:gd name="T21" fmla="*/ 75 h 143"/>
                  <a:gd name="T22" fmla="*/ 128 w 134"/>
                  <a:gd name="T23" fmla="*/ 82 h 143"/>
                  <a:gd name="T24" fmla="*/ 119 w 134"/>
                  <a:gd name="T25" fmla="*/ 87 h 143"/>
                  <a:gd name="T26" fmla="*/ 114 w 134"/>
                  <a:gd name="T27" fmla="*/ 92 h 143"/>
                  <a:gd name="T28" fmla="*/ 107 w 134"/>
                  <a:gd name="T29" fmla="*/ 95 h 143"/>
                  <a:gd name="T30" fmla="*/ 104 w 134"/>
                  <a:gd name="T31" fmla="*/ 102 h 143"/>
                  <a:gd name="T32" fmla="*/ 104 w 134"/>
                  <a:gd name="T33" fmla="*/ 109 h 143"/>
                  <a:gd name="T34" fmla="*/ 100 w 134"/>
                  <a:gd name="T35" fmla="*/ 116 h 143"/>
                  <a:gd name="T36" fmla="*/ 94 w 134"/>
                  <a:gd name="T37" fmla="*/ 121 h 143"/>
                  <a:gd name="T38" fmla="*/ 90 w 134"/>
                  <a:gd name="T39" fmla="*/ 121 h 143"/>
                  <a:gd name="T40" fmla="*/ 90 w 134"/>
                  <a:gd name="T41" fmla="*/ 126 h 143"/>
                  <a:gd name="T42" fmla="*/ 87 w 134"/>
                  <a:gd name="T43" fmla="*/ 129 h 143"/>
                  <a:gd name="T44" fmla="*/ 80 w 134"/>
                  <a:gd name="T45" fmla="*/ 133 h 143"/>
                  <a:gd name="T46" fmla="*/ 73 w 134"/>
                  <a:gd name="T47" fmla="*/ 138 h 143"/>
                  <a:gd name="T48" fmla="*/ 68 w 134"/>
                  <a:gd name="T49" fmla="*/ 141 h 143"/>
                  <a:gd name="T50" fmla="*/ 60 w 134"/>
                  <a:gd name="T51" fmla="*/ 138 h 143"/>
                  <a:gd name="T52" fmla="*/ 49 w 134"/>
                  <a:gd name="T53" fmla="*/ 136 h 143"/>
                  <a:gd name="T54" fmla="*/ 46 w 134"/>
                  <a:gd name="T55" fmla="*/ 138 h 143"/>
                  <a:gd name="T56" fmla="*/ 36 w 134"/>
                  <a:gd name="T57" fmla="*/ 138 h 143"/>
                  <a:gd name="T58" fmla="*/ 29 w 134"/>
                  <a:gd name="T59" fmla="*/ 134 h 143"/>
                  <a:gd name="T60" fmla="*/ 22 w 134"/>
                  <a:gd name="T61" fmla="*/ 131 h 143"/>
                  <a:gd name="T62" fmla="*/ 14 w 134"/>
                  <a:gd name="T63" fmla="*/ 128 h 143"/>
                  <a:gd name="T64" fmla="*/ 5 w 134"/>
                  <a:gd name="T65" fmla="*/ 121 h 143"/>
                  <a:gd name="T66" fmla="*/ 2 w 134"/>
                  <a:gd name="T67" fmla="*/ 114 h 143"/>
                  <a:gd name="T68" fmla="*/ 2 w 134"/>
                  <a:gd name="T69" fmla="*/ 105 h 143"/>
                  <a:gd name="T70" fmla="*/ 4 w 134"/>
                  <a:gd name="T71" fmla="*/ 100 h 143"/>
                  <a:gd name="T72" fmla="*/ 4 w 134"/>
                  <a:gd name="T73" fmla="*/ 93 h 143"/>
                  <a:gd name="T74" fmla="*/ 2 w 134"/>
                  <a:gd name="T75" fmla="*/ 87 h 143"/>
                  <a:gd name="T76" fmla="*/ 7 w 134"/>
                  <a:gd name="T77" fmla="*/ 80 h 143"/>
                  <a:gd name="T78" fmla="*/ 10 w 134"/>
                  <a:gd name="T79" fmla="*/ 73 h 143"/>
                  <a:gd name="T80" fmla="*/ 15 w 134"/>
                  <a:gd name="T81" fmla="*/ 66 h 143"/>
                  <a:gd name="T82" fmla="*/ 21 w 134"/>
                  <a:gd name="T83" fmla="*/ 61 h 143"/>
                  <a:gd name="T84" fmla="*/ 31 w 134"/>
                  <a:gd name="T85" fmla="*/ 61 h 143"/>
                  <a:gd name="T86" fmla="*/ 43 w 134"/>
                  <a:gd name="T87" fmla="*/ 61 h 143"/>
                  <a:gd name="T88" fmla="*/ 61 w 134"/>
                  <a:gd name="T89" fmla="*/ 61 h 143"/>
                  <a:gd name="T90" fmla="*/ 60 w 134"/>
                  <a:gd name="T91" fmla="*/ 58 h 143"/>
                  <a:gd name="T92" fmla="*/ 60 w 134"/>
                  <a:gd name="T93" fmla="*/ 54 h 143"/>
                  <a:gd name="T94" fmla="*/ 61 w 134"/>
                  <a:gd name="T95" fmla="*/ 53 h 143"/>
                  <a:gd name="T96" fmla="*/ 60 w 134"/>
                  <a:gd name="T97" fmla="*/ 48 h 143"/>
                  <a:gd name="T98" fmla="*/ 53 w 134"/>
                  <a:gd name="T99" fmla="*/ 44 h 143"/>
                  <a:gd name="T100" fmla="*/ 49 w 134"/>
                  <a:gd name="T101" fmla="*/ 37 h 143"/>
                  <a:gd name="T102" fmla="*/ 43 w 134"/>
                  <a:gd name="T103" fmla="*/ 34 h 143"/>
                  <a:gd name="T104" fmla="*/ 39 w 134"/>
                  <a:gd name="T105" fmla="*/ 31 h 143"/>
                  <a:gd name="T106" fmla="*/ 34 w 134"/>
                  <a:gd name="T107" fmla="*/ 25 h 143"/>
                  <a:gd name="T108" fmla="*/ 29 w 134"/>
                  <a:gd name="T109" fmla="*/ 24 h 143"/>
                  <a:gd name="T110" fmla="*/ 39 w 134"/>
                  <a:gd name="T111" fmla="*/ 20 h 143"/>
                  <a:gd name="T112" fmla="*/ 43 w 134"/>
                  <a:gd name="T113" fmla="*/ 7 h 143"/>
                  <a:gd name="T114" fmla="*/ 58 w 134"/>
                  <a:gd name="T115" fmla="*/ 0 h 143"/>
                  <a:gd name="T116" fmla="*/ 73 w 134"/>
                  <a:gd name="T117" fmla="*/ 0 h 143"/>
                  <a:gd name="T118" fmla="*/ 99 w 134"/>
                  <a:gd name="T119"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 h="143">
                    <a:moveTo>
                      <a:pt x="104" y="0"/>
                    </a:moveTo>
                    <a:lnTo>
                      <a:pt x="104" y="14"/>
                    </a:lnTo>
                    <a:lnTo>
                      <a:pt x="104" y="15"/>
                    </a:lnTo>
                    <a:lnTo>
                      <a:pt x="104" y="17"/>
                    </a:lnTo>
                    <a:lnTo>
                      <a:pt x="104" y="19"/>
                    </a:lnTo>
                    <a:lnTo>
                      <a:pt x="104" y="20"/>
                    </a:lnTo>
                    <a:lnTo>
                      <a:pt x="104" y="24"/>
                    </a:lnTo>
                    <a:lnTo>
                      <a:pt x="104" y="25"/>
                    </a:lnTo>
                    <a:lnTo>
                      <a:pt x="104" y="27"/>
                    </a:lnTo>
                    <a:lnTo>
                      <a:pt x="104" y="29"/>
                    </a:lnTo>
                    <a:lnTo>
                      <a:pt x="104" y="31"/>
                    </a:lnTo>
                    <a:lnTo>
                      <a:pt x="104" y="34"/>
                    </a:lnTo>
                    <a:lnTo>
                      <a:pt x="104" y="36"/>
                    </a:lnTo>
                    <a:lnTo>
                      <a:pt x="104" y="39"/>
                    </a:lnTo>
                    <a:lnTo>
                      <a:pt x="104" y="41"/>
                    </a:lnTo>
                    <a:lnTo>
                      <a:pt x="102" y="46"/>
                    </a:lnTo>
                    <a:lnTo>
                      <a:pt x="102" y="48"/>
                    </a:lnTo>
                    <a:lnTo>
                      <a:pt x="102" y="49"/>
                    </a:lnTo>
                    <a:lnTo>
                      <a:pt x="102" y="51"/>
                    </a:lnTo>
                    <a:lnTo>
                      <a:pt x="102" y="53"/>
                    </a:lnTo>
                    <a:lnTo>
                      <a:pt x="102" y="54"/>
                    </a:lnTo>
                    <a:lnTo>
                      <a:pt x="102" y="56"/>
                    </a:lnTo>
                    <a:lnTo>
                      <a:pt x="102" y="58"/>
                    </a:lnTo>
                    <a:lnTo>
                      <a:pt x="102" y="59"/>
                    </a:lnTo>
                    <a:lnTo>
                      <a:pt x="102" y="61"/>
                    </a:lnTo>
                    <a:lnTo>
                      <a:pt x="102" y="63"/>
                    </a:lnTo>
                    <a:lnTo>
                      <a:pt x="102" y="65"/>
                    </a:lnTo>
                    <a:lnTo>
                      <a:pt x="102" y="66"/>
                    </a:lnTo>
                    <a:lnTo>
                      <a:pt x="102" y="68"/>
                    </a:lnTo>
                    <a:lnTo>
                      <a:pt x="104" y="68"/>
                    </a:lnTo>
                    <a:lnTo>
                      <a:pt x="106" y="68"/>
                    </a:lnTo>
                    <a:lnTo>
                      <a:pt x="107" y="68"/>
                    </a:lnTo>
                    <a:lnTo>
                      <a:pt x="109" y="68"/>
                    </a:lnTo>
                    <a:lnTo>
                      <a:pt x="111" y="68"/>
                    </a:lnTo>
                    <a:lnTo>
                      <a:pt x="112" y="68"/>
                    </a:lnTo>
                    <a:lnTo>
                      <a:pt x="112" y="70"/>
                    </a:lnTo>
                    <a:lnTo>
                      <a:pt x="114" y="70"/>
                    </a:lnTo>
                    <a:lnTo>
                      <a:pt x="114" y="68"/>
                    </a:lnTo>
                    <a:lnTo>
                      <a:pt x="116" y="70"/>
                    </a:lnTo>
                    <a:lnTo>
                      <a:pt x="117" y="70"/>
                    </a:lnTo>
                    <a:lnTo>
                      <a:pt x="117" y="71"/>
                    </a:lnTo>
                    <a:lnTo>
                      <a:pt x="119" y="71"/>
                    </a:lnTo>
                    <a:lnTo>
                      <a:pt x="121" y="71"/>
                    </a:lnTo>
                    <a:lnTo>
                      <a:pt x="121" y="73"/>
                    </a:lnTo>
                    <a:lnTo>
                      <a:pt x="121" y="75"/>
                    </a:lnTo>
                    <a:lnTo>
                      <a:pt x="123" y="75"/>
                    </a:lnTo>
                    <a:lnTo>
                      <a:pt x="123" y="73"/>
                    </a:lnTo>
                    <a:lnTo>
                      <a:pt x="124" y="71"/>
                    </a:lnTo>
                    <a:lnTo>
                      <a:pt x="124" y="70"/>
                    </a:lnTo>
                    <a:lnTo>
                      <a:pt x="126" y="70"/>
                    </a:lnTo>
                    <a:lnTo>
                      <a:pt x="124" y="68"/>
                    </a:lnTo>
                    <a:lnTo>
                      <a:pt x="124" y="70"/>
                    </a:lnTo>
                    <a:lnTo>
                      <a:pt x="124" y="68"/>
                    </a:lnTo>
                    <a:lnTo>
                      <a:pt x="123" y="66"/>
                    </a:lnTo>
                    <a:lnTo>
                      <a:pt x="124" y="66"/>
                    </a:lnTo>
                    <a:lnTo>
                      <a:pt x="126" y="68"/>
                    </a:lnTo>
                    <a:lnTo>
                      <a:pt x="128" y="68"/>
                    </a:lnTo>
                    <a:lnTo>
                      <a:pt x="128" y="70"/>
                    </a:lnTo>
                    <a:lnTo>
                      <a:pt x="129" y="70"/>
                    </a:lnTo>
                    <a:lnTo>
                      <a:pt x="129" y="71"/>
                    </a:lnTo>
                    <a:lnTo>
                      <a:pt x="131" y="71"/>
                    </a:lnTo>
                    <a:lnTo>
                      <a:pt x="133" y="71"/>
                    </a:lnTo>
                    <a:lnTo>
                      <a:pt x="133" y="73"/>
                    </a:lnTo>
                    <a:lnTo>
                      <a:pt x="134" y="73"/>
                    </a:lnTo>
                    <a:lnTo>
                      <a:pt x="134" y="75"/>
                    </a:lnTo>
                    <a:lnTo>
                      <a:pt x="133" y="75"/>
                    </a:lnTo>
                    <a:lnTo>
                      <a:pt x="133" y="76"/>
                    </a:lnTo>
                    <a:lnTo>
                      <a:pt x="133" y="75"/>
                    </a:lnTo>
                    <a:lnTo>
                      <a:pt x="131" y="76"/>
                    </a:lnTo>
                    <a:lnTo>
                      <a:pt x="131" y="78"/>
                    </a:lnTo>
                    <a:lnTo>
                      <a:pt x="129" y="80"/>
                    </a:lnTo>
                    <a:lnTo>
                      <a:pt x="128" y="82"/>
                    </a:lnTo>
                    <a:lnTo>
                      <a:pt x="126" y="82"/>
                    </a:lnTo>
                    <a:lnTo>
                      <a:pt x="124" y="83"/>
                    </a:lnTo>
                    <a:lnTo>
                      <a:pt x="124" y="85"/>
                    </a:lnTo>
                    <a:lnTo>
                      <a:pt x="123" y="85"/>
                    </a:lnTo>
                    <a:lnTo>
                      <a:pt x="121" y="87"/>
                    </a:lnTo>
                    <a:lnTo>
                      <a:pt x="119" y="87"/>
                    </a:lnTo>
                    <a:lnTo>
                      <a:pt x="119" y="88"/>
                    </a:lnTo>
                    <a:lnTo>
                      <a:pt x="117" y="88"/>
                    </a:lnTo>
                    <a:lnTo>
                      <a:pt x="117" y="90"/>
                    </a:lnTo>
                    <a:lnTo>
                      <a:pt x="116" y="90"/>
                    </a:lnTo>
                    <a:lnTo>
                      <a:pt x="114" y="90"/>
                    </a:lnTo>
                    <a:lnTo>
                      <a:pt x="114" y="92"/>
                    </a:lnTo>
                    <a:lnTo>
                      <a:pt x="112" y="92"/>
                    </a:lnTo>
                    <a:lnTo>
                      <a:pt x="112" y="93"/>
                    </a:lnTo>
                    <a:lnTo>
                      <a:pt x="111" y="93"/>
                    </a:lnTo>
                    <a:lnTo>
                      <a:pt x="111" y="95"/>
                    </a:lnTo>
                    <a:lnTo>
                      <a:pt x="109" y="95"/>
                    </a:lnTo>
                    <a:lnTo>
                      <a:pt x="107" y="95"/>
                    </a:lnTo>
                    <a:lnTo>
                      <a:pt x="106" y="97"/>
                    </a:lnTo>
                    <a:lnTo>
                      <a:pt x="104" y="97"/>
                    </a:lnTo>
                    <a:lnTo>
                      <a:pt x="104" y="99"/>
                    </a:lnTo>
                    <a:lnTo>
                      <a:pt x="102" y="99"/>
                    </a:lnTo>
                    <a:lnTo>
                      <a:pt x="104" y="100"/>
                    </a:lnTo>
                    <a:lnTo>
                      <a:pt x="104" y="102"/>
                    </a:lnTo>
                    <a:lnTo>
                      <a:pt x="102" y="102"/>
                    </a:lnTo>
                    <a:lnTo>
                      <a:pt x="102" y="104"/>
                    </a:lnTo>
                    <a:lnTo>
                      <a:pt x="102" y="105"/>
                    </a:lnTo>
                    <a:lnTo>
                      <a:pt x="102" y="107"/>
                    </a:lnTo>
                    <a:lnTo>
                      <a:pt x="104" y="107"/>
                    </a:lnTo>
                    <a:lnTo>
                      <a:pt x="104" y="109"/>
                    </a:lnTo>
                    <a:lnTo>
                      <a:pt x="104" y="110"/>
                    </a:lnTo>
                    <a:lnTo>
                      <a:pt x="104" y="112"/>
                    </a:lnTo>
                    <a:lnTo>
                      <a:pt x="104" y="114"/>
                    </a:lnTo>
                    <a:lnTo>
                      <a:pt x="102" y="114"/>
                    </a:lnTo>
                    <a:lnTo>
                      <a:pt x="100" y="114"/>
                    </a:lnTo>
                    <a:lnTo>
                      <a:pt x="100" y="116"/>
                    </a:lnTo>
                    <a:lnTo>
                      <a:pt x="99" y="116"/>
                    </a:lnTo>
                    <a:lnTo>
                      <a:pt x="99" y="117"/>
                    </a:lnTo>
                    <a:lnTo>
                      <a:pt x="97" y="117"/>
                    </a:lnTo>
                    <a:lnTo>
                      <a:pt x="97" y="119"/>
                    </a:lnTo>
                    <a:lnTo>
                      <a:pt x="95" y="119"/>
                    </a:lnTo>
                    <a:lnTo>
                      <a:pt x="94" y="121"/>
                    </a:lnTo>
                    <a:lnTo>
                      <a:pt x="94" y="119"/>
                    </a:lnTo>
                    <a:lnTo>
                      <a:pt x="92" y="119"/>
                    </a:lnTo>
                    <a:lnTo>
                      <a:pt x="92" y="121"/>
                    </a:lnTo>
                    <a:lnTo>
                      <a:pt x="90" y="121"/>
                    </a:lnTo>
                    <a:lnTo>
                      <a:pt x="90" y="119"/>
                    </a:lnTo>
                    <a:lnTo>
                      <a:pt x="90" y="121"/>
                    </a:lnTo>
                    <a:lnTo>
                      <a:pt x="90" y="122"/>
                    </a:lnTo>
                    <a:lnTo>
                      <a:pt x="89" y="122"/>
                    </a:lnTo>
                    <a:lnTo>
                      <a:pt x="89" y="124"/>
                    </a:lnTo>
                    <a:lnTo>
                      <a:pt x="90" y="122"/>
                    </a:lnTo>
                    <a:lnTo>
                      <a:pt x="90" y="124"/>
                    </a:lnTo>
                    <a:lnTo>
                      <a:pt x="90" y="126"/>
                    </a:lnTo>
                    <a:lnTo>
                      <a:pt x="92" y="126"/>
                    </a:lnTo>
                    <a:lnTo>
                      <a:pt x="90" y="126"/>
                    </a:lnTo>
                    <a:lnTo>
                      <a:pt x="90" y="128"/>
                    </a:lnTo>
                    <a:lnTo>
                      <a:pt x="89" y="128"/>
                    </a:lnTo>
                    <a:lnTo>
                      <a:pt x="87" y="128"/>
                    </a:lnTo>
                    <a:lnTo>
                      <a:pt x="87" y="129"/>
                    </a:lnTo>
                    <a:lnTo>
                      <a:pt x="85" y="129"/>
                    </a:lnTo>
                    <a:lnTo>
                      <a:pt x="85" y="131"/>
                    </a:lnTo>
                    <a:lnTo>
                      <a:pt x="83" y="131"/>
                    </a:lnTo>
                    <a:lnTo>
                      <a:pt x="83" y="133"/>
                    </a:lnTo>
                    <a:lnTo>
                      <a:pt x="82" y="133"/>
                    </a:lnTo>
                    <a:lnTo>
                      <a:pt x="80" y="133"/>
                    </a:lnTo>
                    <a:lnTo>
                      <a:pt x="78" y="133"/>
                    </a:lnTo>
                    <a:lnTo>
                      <a:pt x="78" y="134"/>
                    </a:lnTo>
                    <a:lnTo>
                      <a:pt x="77" y="134"/>
                    </a:lnTo>
                    <a:lnTo>
                      <a:pt x="77" y="136"/>
                    </a:lnTo>
                    <a:lnTo>
                      <a:pt x="75" y="136"/>
                    </a:lnTo>
                    <a:lnTo>
                      <a:pt x="73" y="138"/>
                    </a:lnTo>
                    <a:lnTo>
                      <a:pt x="72" y="139"/>
                    </a:lnTo>
                    <a:lnTo>
                      <a:pt x="72" y="141"/>
                    </a:lnTo>
                    <a:lnTo>
                      <a:pt x="72" y="143"/>
                    </a:lnTo>
                    <a:lnTo>
                      <a:pt x="70" y="143"/>
                    </a:lnTo>
                    <a:lnTo>
                      <a:pt x="68" y="143"/>
                    </a:lnTo>
                    <a:lnTo>
                      <a:pt x="68" y="141"/>
                    </a:lnTo>
                    <a:lnTo>
                      <a:pt x="66" y="141"/>
                    </a:lnTo>
                    <a:lnTo>
                      <a:pt x="65" y="141"/>
                    </a:lnTo>
                    <a:lnTo>
                      <a:pt x="63" y="139"/>
                    </a:lnTo>
                    <a:lnTo>
                      <a:pt x="61" y="139"/>
                    </a:lnTo>
                    <a:lnTo>
                      <a:pt x="60" y="139"/>
                    </a:lnTo>
                    <a:lnTo>
                      <a:pt x="60" y="138"/>
                    </a:lnTo>
                    <a:lnTo>
                      <a:pt x="58" y="138"/>
                    </a:lnTo>
                    <a:lnTo>
                      <a:pt x="56" y="138"/>
                    </a:lnTo>
                    <a:lnTo>
                      <a:pt x="55" y="138"/>
                    </a:lnTo>
                    <a:lnTo>
                      <a:pt x="53" y="136"/>
                    </a:lnTo>
                    <a:lnTo>
                      <a:pt x="51" y="136"/>
                    </a:lnTo>
                    <a:lnTo>
                      <a:pt x="49" y="136"/>
                    </a:lnTo>
                    <a:lnTo>
                      <a:pt x="49" y="138"/>
                    </a:lnTo>
                    <a:lnTo>
                      <a:pt x="49" y="136"/>
                    </a:lnTo>
                    <a:lnTo>
                      <a:pt x="48" y="138"/>
                    </a:lnTo>
                    <a:lnTo>
                      <a:pt x="49" y="138"/>
                    </a:lnTo>
                    <a:lnTo>
                      <a:pt x="48" y="138"/>
                    </a:lnTo>
                    <a:lnTo>
                      <a:pt x="46" y="138"/>
                    </a:lnTo>
                    <a:lnTo>
                      <a:pt x="44" y="138"/>
                    </a:lnTo>
                    <a:lnTo>
                      <a:pt x="43" y="138"/>
                    </a:lnTo>
                    <a:lnTo>
                      <a:pt x="41" y="138"/>
                    </a:lnTo>
                    <a:lnTo>
                      <a:pt x="39" y="138"/>
                    </a:lnTo>
                    <a:lnTo>
                      <a:pt x="38" y="138"/>
                    </a:lnTo>
                    <a:lnTo>
                      <a:pt x="36" y="138"/>
                    </a:lnTo>
                    <a:lnTo>
                      <a:pt x="36" y="136"/>
                    </a:lnTo>
                    <a:lnTo>
                      <a:pt x="34" y="136"/>
                    </a:lnTo>
                    <a:lnTo>
                      <a:pt x="32" y="136"/>
                    </a:lnTo>
                    <a:lnTo>
                      <a:pt x="31" y="136"/>
                    </a:lnTo>
                    <a:lnTo>
                      <a:pt x="29" y="136"/>
                    </a:lnTo>
                    <a:lnTo>
                      <a:pt x="29" y="134"/>
                    </a:lnTo>
                    <a:lnTo>
                      <a:pt x="27" y="134"/>
                    </a:lnTo>
                    <a:lnTo>
                      <a:pt x="26" y="134"/>
                    </a:lnTo>
                    <a:lnTo>
                      <a:pt x="26" y="133"/>
                    </a:lnTo>
                    <a:lnTo>
                      <a:pt x="24" y="133"/>
                    </a:lnTo>
                    <a:lnTo>
                      <a:pt x="22" y="133"/>
                    </a:lnTo>
                    <a:lnTo>
                      <a:pt x="22" y="131"/>
                    </a:lnTo>
                    <a:lnTo>
                      <a:pt x="21" y="131"/>
                    </a:lnTo>
                    <a:lnTo>
                      <a:pt x="19" y="131"/>
                    </a:lnTo>
                    <a:lnTo>
                      <a:pt x="19" y="129"/>
                    </a:lnTo>
                    <a:lnTo>
                      <a:pt x="17" y="129"/>
                    </a:lnTo>
                    <a:lnTo>
                      <a:pt x="15" y="128"/>
                    </a:lnTo>
                    <a:lnTo>
                      <a:pt x="14" y="128"/>
                    </a:lnTo>
                    <a:lnTo>
                      <a:pt x="14" y="126"/>
                    </a:lnTo>
                    <a:lnTo>
                      <a:pt x="12" y="124"/>
                    </a:lnTo>
                    <a:lnTo>
                      <a:pt x="10" y="124"/>
                    </a:lnTo>
                    <a:lnTo>
                      <a:pt x="9" y="122"/>
                    </a:lnTo>
                    <a:lnTo>
                      <a:pt x="7" y="121"/>
                    </a:lnTo>
                    <a:lnTo>
                      <a:pt x="5" y="121"/>
                    </a:lnTo>
                    <a:lnTo>
                      <a:pt x="5" y="119"/>
                    </a:lnTo>
                    <a:lnTo>
                      <a:pt x="4" y="119"/>
                    </a:lnTo>
                    <a:lnTo>
                      <a:pt x="4" y="117"/>
                    </a:lnTo>
                    <a:lnTo>
                      <a:pt x="2" y="117"/>
                    </a:lnTo>
                    <a:lnTo>
                      <a:pt x="0" y="116"/>
                    </a:lnTo>
                    <a:lnTo>
                      <a:pt x="2" y="114"/>
                    </a:lnTo>
                    <a:lnTo>
                      <a:pt x="2" y="112"/>
                    </a:lnTo>
                    <a:lnTo>
                      <a:pt x="4" y="110"/>
                    </a:lnTo>
                    <a:lnTo>
                      <a:pt x="4" y="109"/>
                    </a:lnTo>
                    <a:lnTo>
                      <a:pt x="2" y="109"/>
                    </a:lnTo>
                    <a:lnTo>
                      <a:pt x="2" y="107"/>
                    </a:lnTo>
                    <a:lnTo>
                      <a:pt x="2" y="105"/>
                    </a:lnTo>
                    <a:lnTo>
                      <a:pt x="2" y="104"/>
                    </a:lnTo>
                    <a:lnTo>
                      <a:pt x="4" y="104"/>
                    </a:lnTo>
                    <a:lnTo>
                      <a:pt x="4" y="102"/>
                    </a:lnTo>
                    <a:lnTo>
                      <a:pt x="4" y="100"/>
                    </a:lnTo>
                    <a:lnTo>
                      <a:pt x="2" y="100"/>
                    </a:lnTo>
                    <a:lnTo>
                      <a:pt x="4" y="100"/>
                    </a:lnTo>
                    <a:lnTo>
                      <a:pt x="4" y="99"/>
                    </a:lnTo>
                    <a:lnTo>
                      <a:pt x="5" y="99"/>
                    </a:lnTo>
                    <a:lnTo>
                      <a:pt x="5" y="97"/>
                    </a:lnTo>
                    <a:lnTo>
                      <a:pt x="5" y="95"/>
                    </a:lnTo>
                    <a:lnTo>
                      <a:pt x="4" y="95"/>
                    </a:lnTo>
                    <a:lnTo>
                      <a:pt x="4" y="93"/>
                    </a:lnTo>
                    <a:lnTo>
                      <a:pt x="2" y="92"/>
                    </a:lnTo>
                    <a:lnTo>
                      <a:pt x="2" y="90"/>
                    </a:lnTo>
                    <a:lnTo>
                      <a:pt x="0" y="90"/>
                    </a:lnTo>
                    <a:lnTo>
                      <a:pt x="2" y="90"/>
                    </a:lnTo>
                    <a:lnTo>
                      <a:pt x="2" y="88"/>
                    </a:lnTo>
                    <a:lnTo>
                      <a:pt x="2" y="87"/>
                    </a:lnTo>
                    <a:lnTo>
                      <a:pt x="4" y="87"/>
                    </a:lnTo>
                    <a:lnTo>
                      <a:pt x="4" y="85"/>
                    </a:lnTo>
                    <a:lnTo>
                      <a:pt x="4" y="83"/>
                    </a:lnTo>
                    <a:lnTo>
                      <a:pt x="5" y="83"/>
                    </a:lnTo>
                    <a:lnTo>
                      <a:pt x="5" y="82"/>
                    </a:lnTo>
                    <a:lnTo>
                      <a:pt x="7" y="80"/>
                    </a:lnTo>
                    <a:lnTo>
                      <a:pt x="7" y="78"/>
                    </a:lnTo>
                    <a:lnTo>
                      <a:pt x="9" y="78"/>
                    </a:lnTo>
                    <a:lnTo>
                      <a:pt x="9" y="76"/>
                    </a:lnTo>
                    <a:lnTo>
                      <a:pt x="9" y="75"/>
                    </a:lnTo>
                    <a:lnTo>
                      <a:pt x="10" y="75"/>
                    </a:lnTo>
                    <a:lnTo>
                      <a:pt x="10" y="73"/>
                    </a:lnTo>
                    <a:lnTo>
                      <a:pt x="10" y="71"/>
                    </a:lnTo>
                    <a:lnTo>
                      <a:pt x="12" y="71"/>
                    </a:lnTo>
                    <a:lnTo>
                      <a:pt x="12" y="70"/>
                    </a:lnTo>
                    <a:lnTo>
                      <a:pt x="14" y="68"/>
                    </a:lnTo>
                    <a:lnTo>
                      <a:pt x="14" y="66"/>
                    </a:lnTo>
                    <a:lnTo>
                      <a:pt x="15" y="66"/>
                    </a:lnTo>
                    <a:lnTo>
                      <a:pt x="15" y="65"/>
                    </a:lnTo>
                    <a:lnTo>
                      <a:pt x="15" y="63"/>
                    </a:lnTo>
                    <a:lnTo>
                      <a:pt x="17" y="63"/>
                    </a:lnTo>
                    <a:lnTo>
                      <a:pt x="17" y="61"/>
                    </a:lnTo>
                    <a:lnTo>
                      <a:pt x="19" y="61"/>
                    </a:lnTo>
                    <a:lnTo>
                      <a:pt x="21" y="61"/>
                    </a:lnTo>
                    <a:lnTo>
                      <a:pt x="22" y="61"/>
                    </a:lnTo>
                    <a:lnTo>
                      <a:pt x="24" y="61"/>
                    </a:lnTo>
                    <a:lnTo>
                      <a:pt x="26" y="61"/>
                    </a:lnTo>
                    <a:lnTo>
                      <a:pt x="27" y="61"/>
                    </a:lnTo>
                    <a:lnTo>
                      <a:pt x="29" y="61"/>
                    </a:lnTo>
                    <a:lnTo>
                      <a:pt x="31" y="61"/>
                    </a:lnTo>
                    <a:lnTo>
                      <a:pt x="32" y="61"/>
                    </a:lnTo>
                    <a:lnTo>
                      <a:pt x="34" y="61"/>
                    </a:lnTo>
                    <a:lnTo>
                      <a:pt x="36" y="61"/>
                    </a:lnTo>
                    <a:lnTo>
                      <a:pt x="38" y="61"/>
                    </a:lnTo>
                    <a:lnTo>
                      <a:pt x="39" y="61"/>
                    </a:lnTo>
                    <a:lnTo>
                      <a:pt x="43" y="61"/>
                    </a:lnTo>
                    <a:lnTo>
                      <a:pt x="44" y="61"/>
                    </a:lnTo>
                    <a:lnTo>
                      <a:pt x="48" y="61"/>
                    </a:lnTo>
                    <a:lnTo>
                      <a:pt x="51" y="61"/>
                    </a:lnTo>
                    <a:lnTo>
                      <a:pt x="56" y="61"/>
                    </a:lnTo>
                    <a:lnTo>
                      <a:pt x="60" y="61"/>
                    </a:lnTo>
                    <a:lnTo>
                      <a:pt x="61" y="61"/>
                    </a:lnTo>
                    <a:lnTo>
                      <a:pt x="60" y="61"/>
                    </a:lnTo>
                    <a:lnTo>
                      <a:pt x="60" y="59"/>
                    </a:lnTo>
                    <a:lnTo>
                      <a:pt x="61" y="59"/>
                    </a:lnTo>
                    <a:lnTo>
                      <a:pt x="60" y="59"/>
                    </a:lnTo>
                    <a:lnTo>
                      <a:pt x="61" y="58"/>
                    </a:lnTo>
                    <a:lnTo>
                      <a:pt x="60" y="58"/>
                    </a:lnTo>
                    <a:lnTo>
                      <a:pt x="60" y="56"/>
                    </a:lnTo>
                    <a:lnTo>
                      <a:pt x="61" y="56"/>
                    </a:lnTo>
                    <a:lnTo>
                      <a:pt x="60" y="56"/>
                    </a:lnTo>
                    <a:lnTo>
                      <a:pt x="60" y="54"/>
                    </a:lnTo>
                    <a:lnTo>
                      <a:pt x="61" y="56"/>
                    </a:lnTo>
                    <a:lnTo>
                      <a:pt x="60" y="54"/>
                    </a:lnTo>
                    <a:lnTo>
                      <a:pt x="61" y="54"/>
                    </a:lnTo>
                    <a:lnTo>
                      <a:pt x="61" y="53"/>
                    </a:lnTo>
                    <a:lnTo>
                      <a:pt x="63" y="53"/>
                    </a:lnTo>
                    <a:lnTo>
                      <a:pt x="61" y="53"/>
                    </a:lnTo>
                    <a:lnTo>
                      <a:pt x="61" y="51"/>
                    </a:lnTo>
                    <a:lnTo>
                      <a:pt x="61" y="53"/>
                    </a:lnTo>
                    <a:lnTo>
                      <a:pt x="61" y="51"/>
                    </a:lnTo>
                    <a:lnTo>
                      <a:pt x="63" y="51"/>
                    </a:lnTo>
                    <a:lnTo>
                      <a:pt x="61" y="51"/>
                    </a:lnTo>
                    <a:lnTo>
                      <a:pt x="61" y="49"/>
                    </a:lnTo>
                    <a:lnTo>
                      <a:pt x="60" y="49"/>
                    </a:lnTo>
                    <a:lnTo>
                      <a:pt x="60" y="48"/>
                    </a:lnTo>
                    <a:lnTo>
                      <a:pt x="58" y="48"/>
                    </a:lnTo>
                    <a:lnTo>
                      <a:pt x="56" y="48"/>
                    </a:lnTo>
                    <a:lnTo>
                      <a:pt x="55" y="48"/>
                    </a:lnTo>
                    <a:lnTo>
                      <a:pt x="55" y="46"/>
                    </a:lnTo>
                    <a:lnTo>
                      <a:pt x="53" y="46"/>
                    </a:lnTo>
                    <a:lnTo>
                      <a:pt x="53" y="44"/>
                    </a:lnTo>
                    <a:lnTo>
                      <a:pt x="55" y="44"/>
                    </a:lnTo>
                    <a:lnTo>
                      <a:pt x="53" y="44"/>
                    </a:lnTo>
                    <a:lnTo>
                      <a:pt x="53" y="42"/>
                    </a:lnTo>
                    <a:lnTo>
                      <a:pt x="53" y="41"/>
                    </a:lnTo>
                    <a:lnTo>
                      <a:pt x="51" y="39"/>
                    </a:lnTo>
                    <a:lnTo>
                      <a:pt x="49" y="37"/>
                    </a:lnTo>
                    <a:lnTo>
                      <a:pt x="48" y="37"/>
                    </a:lnTo>
                    <a:lnTo>
                      <a:pt x="48" y="36"/>
                    </a:lnTo>
                    <a:lnTo>
                      <a:pt x="46" y="36"/>
                    </a:lnTo>
                    <a:lnTo>
                      <a:pt x="44" y="36"/>
                    </a:lnTo>
                    <a:lnTo>
                      <a:pt x="44" y="34"/>
                    </a:lnTo>
                    <a:lnTo>
                      <a:pt x="43" y="34"/>
                    </a:lnTo>
                    <a:lnTo>
                      <a:pt x="43" y="32"/>
                    </a:lnTo>
                    <a:lnTo>
                      <a:pt x="43" y="34"/>
                    </a:lnTo>
                    <a:lnTo>
                      <a:pt x="41" y="34"/>
                    </a:lnTo>
                    <a:lnTo>
                      <a:pt x="41" y="32"/>
                    </a:lnTo>
                    <a:lnTo>
                      <a:pt x="39" y="32"/>
                    </a:lnTo>
                    <a:lnTo>
                      <a:pt x="39" y="31"/>
                    </a:lnTo>
                    <a:lnTo>
                      <a:pt x="38" y="31"/>
                    </a:lnTo>
                    <a:lnTo>
                      <a:pt x="38" y="29"/>
                    </a:lnTo>
                    <a:lnTo>
                      <a:pt x="36" y="29"/>
                    </a:lnTo>
                    <a:lnTo>
                      <a:pt x="36" y="27"/>
                    </a:lnTo>
                    <a:lnTo>
                      <a:pt x="34" y="27"/>
                    </a:lnTo>
                    <a:lnTo>
                      <a:pt x="34" y="25"/>
                    </a:lnTo>
                    <a:lnTo>
                      <a:pt x="32" y="25"/>
                    </a:lnTo>
                    <a:lnTo>
                      <a:pt x="32" y="24"/>
                    </a:lnTo>
                    <a:lnTo>
                      <a:pt x="32" y="22"/>
                    </a:lnTo>
                    <a:lnTo>
                      <a:pt x="31" y="22"/>
                    </a:lnTo>
                    <a:lnTo>
                      <a:pt x="31" y="24"/>
                    </a:lnTo>
                    <a:lnTo>
                      <a:pt x="29" y="24"/>
                    </a:lnTo>
                    <a:lnTo>
                      <a:pt x="29" y="22"/>
                    </a:lnTo>
                    <a:lnTo>
                      <a:pt x="27" y="22"/>
                    </a:lnTo>
                    <a:lnTo>
                      <a:pt x="27" y="20"/>
                    </a:lnTo>
                    <a:lnTo>
                      <a:pt x="32" y="20"/>
                    </a:lnTo>
                    <a:lnTo>
                      <a:pt x="38" y="20"/>
                    </a:lnTo>
                    <a:lnTo>
                      <a:pt x="39" y="20"/>
                    </a:lnTo>
                    <a:lnTo>
                      <a:pt x="41" y="20"/>
                    </a:lnTo>
                    <a:lnTo>
                      <a:pt x="43" y="20"/>
                    </a:lnTo>
                    <a:lnTo>
                      <a:pt x="43" y="19"/>
                    </a:lnTo>
                    <a:lnTo>
                      <a:pt x="43" y="14"/>
                    </a:lnTo>
                    <a:lnTo>
                      <a:pt x="43" y="8"/>
                    </a:lnTo>
                    <a:lnTo>
                      <a:pt x="43" y="7"/>
                    </a:lnTo>
                    <a:lnTo>
                      <a:pt x="43" y="2"/>
                    </a:lnTo>
                    <a:lnTo>
                      <a:pt x="43" y="0"/>
                    </a:lnTo>
                    <a:lnTo>
                      <a:pt x="48" y="0"/>
                    </a:lnTo>
                    <a:lnTo>
                      <a:pt x="49" y="0"/>
                    </a:lnTo>
                    <a:lnTo>
                      <a:pt x="55" y="0"/>
                    </a:lnTo>
                    <a:lnTo>
                      <a:pt x="58" y="0"/>
                    </a:lnTo>
                    <a:lnTo>
                      <a:pt x="60" y="0"/>
                    </a:lnTo>
                    <a:lnTo>
                      <a:pt x="63" y="0"/>
                    </a:lnTo>
                    <a:lnTo>
                      <a:pt x="65" y="0"/>
                    </a:lnTo>
                    <a:lnTo>
                      <a:pt x="68" y="0"/>
                    </a:lnTo>
                    <a:lnTo>
                      <a:pt x="70" y="0"/>
                    </a:lnTo>
                    <a:lnTo>
                      <a:pt x="73" y="0"/>
                    </a:lnTo>
                    <a:lnTo>
                      <a:pt x="75" y="0"/>
                    </a:lnTo>
                    <a:lnTo>
                      <a:pt x="77" y="0"/>
                    </a:lnTo>
                    <a:lnTo>
                      <a:pt x="78" y="0"/>
                    </a:lnTo>
                    <a:lnTo>
                      <a:pt x="85" y="0"/>
                    </a:lnTo>
                    <a:lnTo>
                      <a:pt x="92" y="0"/>
                    </a:lnTo>
                    <a:lnTo>
                      <a:pt x="99" y="0"/>
                    </a:lnTo>
                    <a:lnTo>
                      <a:pt x="100" y="0"/>
                    </a:lnTo>
                    <a:lnTo>
                      <a:pt x="102" y="0"/>
                    </a:lnTo>
                    <a:lnTo>
                      <a:pt x="104"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7" name="Freeform 35">
                <a:extLst>
                  <a:ext uri="{FF2B5EF4-FFF2-40B4-BE49-F238E27FC236}">
                    <a16:creationId xmlns:a16="http://schemas.microsoft.com/office/drawing/2014/main" id="{8F9A14F0-727F-3627-11AC-E981D692433E}"/>
                  </a:ext>
                </a:extLst>
              </p:cNvPr>
              <p:cNvSpPr>
                <a:spLocks noEditPoints="1"/>
              </p:cNvSpPr>
              <p:nvPr/>
            </p:nvSpPr>
            <p:spPr bwMode="auto">
              <a:xfrm>
                <a:off x="6361113" y="1995488"/>
                <a:ext cx="230187" cy="393700"/>
              </a:xfrm>
              <a:custGeom>
                <a:avLst/>
                <a:gdLst>
                  <a:gd name="T0" fmla="*/ 140 w 145"/>
                  <a:gd name="T1" fmla="*/ 112 h 248"/>
                  <a:gd name="T2" fmla="*/ 138 w 145"/>
                  <a:gd name="T3" fmla="*/ 117 h 248"/>
                  <a:gd name="T4" fmla="*/ 128 w 145"/>
                  <a:gd name="T5" fmla="*/ 119 h 248"/>
                  <a:gd name="T6" fmla="*/ 118 w 145"/>
                  <a:gd name="T7" fmla="*/ 128 h 248"/>
                  <a:gd name="T8" fmla="*/ 116 w 145"/>
                  <a:gd name="T9" fmla="*/ 140 h 248"/>
                  <a:gd name="T10" fmla="*/ 114 w 145"/>
                  <a:gd name="T11" fmla="*/ 153 h 248"/>
                  <a:gd name="T12" fmla="*/ 123 w 145"/>
                  <a:gd name="T13" fmla="*/ 165 h 248"/>
                  <a:gd name="T14" fmla="*/ 128 w 145"/>
                  <a:gd name="T15" fmla="*/ 177 h 248"/>
                  <a:gd name="T16" fmla="*/ 133 w 145"/>
                  <a:gd name="T17" fmla="*/ 192 h 248"/>
                  <a:gd name="T18" fmla="*/ 128 w 145"/>
                  <a:gd name="T19" fmla="*/ 199 h 248"/>
                  <a:gd name="T20" fmla="*/ 119 w 145"/>
                  <a:gd name="T21" fmla="*/ 206 h 248"/>
                  <a:gd name="T22" fmla="*/ 118 w 145"/>
                  <a:gd name="T23" fmla="*/ 214 h 248"/>
                  <a:gd name="T24" fmla="*/ 118 w 145"/>
                  <a:gd name="T25" fmla="*/ 226 h 248"/>
                  <a:gd name="T26" fmla="*/ 106 w 145"/>
                  <a:gd name="T27" fmla="*/ 231 h 248"/>
                  <a:gd name="T28" fmla="*/ 99 w 145"/>
                  <a:gd name="T29" fmla="*/ 240 h 248"/>
                  <a:gd name="T30" fmla="*/ 94 w 145"/>
                  <a:gd name="T31" fmla="*/ 245 h 248"/>
                  <a:gd name="T32" fmla="*/ 84 w 145"/>
                  <a:gd name="T33" fmla="*/ 245 h 248"/>
                  <a:gd name="T34" fmla="*/ 70 w 145"/>
                  <a:gd name="T35" fmla="*/ 238 h 248"/>
                  <a:gd name="T36" fmla="*/ 62 w 145"/>
                  <a:gd name="T37" fmla="*/ 231 h 248"/>
                  <a:gd name="T38" fmla="*/ 57 w 145"/>
                  <a:gd name="T39" fmla="*/ 220 h 248"/>
                  <a:gd name="T40" fmla="*/ 51 w 145"/>
                  <a:gd name="T41" fmla="*/ 208 h 248"/>
                  <a:gd name="T42" fmla="*/ 48 w 145"/>
                  <a:gd name="T43" fmla="*/ 192 h 248"/>
                  <a:gd name="T44" fmla="*/ 51 w 145"/>
                  <a:gd name="T45" fmla="*/ 180 h 248"/>
                  <a:gd name="T46" fmla="*/ 53 w 145"/>
                  <a:gd name="T47" fmla="*/ 172 h 248"/>
                  <a:gd name="T48" fmla="*/ 58 w 145"/>
                  <a:gd name="T49" fmla="*/ 162 h 248"/>
                  <a:gd name="T50" fmla="*/ 60 w 145"/>
                  <a:gd name="T51" fmla="*/ 152 h 248"/>
                  <a:gd name="T52" fmla="*/ 57 w 145"/>
                  <a:gd name="T53" fmla="*/ 141 h 248"/>
                  <a:gd name="T54" fmla="*/ 46 w 145"/>
                  <a:gd name="T55" fmla="*/ 138 h 248"/>
                  <a:gd name="T56" fmla="*/ 46 w 145"/>
                  <a:gd name="T57" fmla="*/ 128 h 248"/>
                  <a:gd name="T58" fmla="*/ 43 w 145"/>
                  <a:gd name="T59" fmla="*/ 112 h 248"/>
                  <a:gd name="T60" fmla="*/ 31 w 145"/>
                  <a:gd name="T61" fmla="*/ 112 h 248"/>
                  <a:gd name="T62" fmla="*/ 0 w 145"/>
                  <a:gd name="T63" fmla="*/ 89 h 248"/>
                  <a:gd name="T64" fmla="*/ 9 w 145"/>
                  <a:gd name="T65" fmla="*/ 77 h 248"/>
                  <a:gd name="T66" fmla="*/ 7 w 145"/>
                  <a:gd name="T67" fmla="*/ 66 h 248"/>
                  <a:gd name="T68" fmla="*/ 16 w 145"/>
                  <a:gd name="T69" fmla="*/ 61 h 248"/>
                  <a:gd name="T70" fmla="*/ 24 w 145"/>
                  <a:gd name="T71" fmla="*/ 58 h 248"/>
                  <a:gd name="T72" fmla="*/ 36 w 145"/>
                  <a:gd name="T73" fmla="*/ 51 h 248"/>
                  <a:gd name="T74" fmla="*/ 29 w 145"/>
                  <a:gd name="T75" fmla="*/ 46 h 248"/>
                  <a:gd name="T76" fmla="*/ 26 w 145"/>
                  <a:gd name="T77" fmla="*/ 32 h 248"/>
                  <a:gd name="T78" fmla="*/ 38 w 145"/>
                  <a:gd name="T79" fmla="*/ 22 h 248"/>
                  <a:gd name="T80" fmla="*/ 50 w 145"/>
                  <a:gd name="T81" fmla="*/ 10 h 248"/>
                  <a:gd name="T82" fmla="*/ 53 w 145"/>
                  <a:gd name="T83" fmla="*/ 5 h 248"/>
                  <a:gd name="T84" fmla="*/ 63 w 145"/>
                  <a:gd name="T85" fmla="*/ 9 h 248"/>
                  <a:gd name="T86" fmla="*/ 79 w 145"/>
                  <a:gd name="T87" fmla="*/ 17 h 248"/>
                  <a:gd name="T88" fmla="*/ 91 w 145"/>
                  <a:gd name="T89" fmla="*/ 32 h 248"/>
                  <a:gd name="T90" fmla="*/ 99 w 145"/>
                  <a:gd name="T91" fmla="*/ 44 h 248"/>
                  <a:gd name="T92" fmla="*/ 96 w 145"/>
                  <a:gd name="T93" fmla="*/ 61 h 248"/>
                  <a:gd name="T94" fmla="*/ 94 w 145"/>
                  <a:gd name="T95" fmla="*/ 73 h 248"/>
                  <a:gd name="T96" fmla="*/ 97 w 145"/>
                  <a:gd name="T97" fmla="*/ 61 h 248"/>
                  <a:gd name="T98" fmla="*/ 111 w 145"/>
                  <a:gd name="T99" fmla="*/ 58 h 248"/>
                  <a:gd name="T100" fmla="*/ 125 w 145"/>
                  <a:gd name="T101" fmla="*/ 66 h 248"/>
                  <a:gd name="T102" fmla="*/ 135 w 145"/>
                  <a:gd name="T103" fmla="*/ 75 h 248"/>
                  <a:gd name="T104" fmla="*/ 145 w 145"/>
                  <a:gd name="T105" fmla="*/ 87 h 248"/>
                  <a:gd name="T106" fmla="*/ 99 w 145"/>
                  <a:gd name="T107" fmla="*/ 56 h 248"/>
                  <a:gd name="T108" fmla="*/ 102 w 145"/>
                  <a:gd name="T109" fmla="*/ 53 h 248"/>
                  <a:gd name="T110" fmla="*/ 101 w 145"/>
                  <a:gd name="T111" fmla="*/ 53 h 248"/>
                  <a:gd name="T112" fmla="*/ 99 w 145"/>
                  <a:gd name="T113" fmla="*/ 49 h 248"/>
                  <a:gd name="T114" fmla="*/ 97 w 145"/>
                  <a:gd name="T115" fmla="*/ 53 h 248"/>
                  <a:gd name="T116" fmla="*/ 97 w 145"/>
                  <a:gd name="T117" fmla="*/ 60 h 248"/>
                  <a:gd name="T118" fmla="*/ 94 w 145"/>
                  <a:gd name="T119" fmla="*/ 6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5" h="248">
                    <a:moveTo>
                      <a:pt x="143" y="97"/>
                    </a:moveTo>
                    <a:lnTo>
                      <a:pt x="143" y="99"/>
                    </a:lnTo>
                    <a:lnTo>
                      <a:pt x="142" y="100"/>
                    </a:lnTo>
                    <a:lnTo>
                      <a:pt x="142" y="102"/>
                    </a:lnTo>
                    <a:lnTo>
                      <a:pt x="140" y="104"/>
                    </a:lnTo>
                    <a:lnTo>
                      <a:pt x="140" y="106"/>
                    </a:lnTo>
                    <a:lnTo>
                      <a:pt x="140" y="107"/>
                    </a:lnTo>
                    <a:lnTo>
                      <a:pt x="138" y="107"/>
                    </a:lnTo>
                    <a:lnTo>
                      <a:pt x="138" y="109"/>
                    </a:lnTo>
                    <a:lnTo>
                      <a:pt x="140" y="109"/>
                    </a:lnTo>
                    <a:lnTo>
                      <a:pt x="140" y="111"/>
                    </a:lnTo>
                    <a:lnTo>
                      <a:pt x="140" y="112"/>
                    </a:lnTo>
                    <a:lnTo>
                      <a:pt x="140" y="111"/>
                    </a:lnTo>
                    <a:lnTo>
                      <a:pt x="142" y="111"/>
                    </a:lnTo>
                    <a:lnTo>
                      <a:pt x="142" y="112"/>
                    </a:lnTo>
                    <a:lnTo>
                      <a:pt x="143" y="112"/>
                    </a:lnTo>
                    <a:lnTo>
                      <a:pt x="143" y="114"/>
                    </a:lnTo>
                    <a:lnTo>
                      <a:pt x="142" y="114"/>
                    </a:lnTo>
                    <a:lnTo>
                      <a:pt x="142" y="116"/>
                    </a:lnTo>
                    <a:lnTo>
                      <a:pt x="142" y="114"/>
                    </a:lnTo>
                    <a:lnTo>
                      <a:pt x="140" y="114"/>
                    </a:lnTo>
                    <a:lnTo>
                      <a:pt x="138" y="114"/>
                    </a:lnTo>
                    <a:lnTo>
                      <a:pt x="138" y="116"/>
                    </a:lnTo>
                    <a:lnTo>
                      <a:pt x="138" y="117"/>
                    </a:lnTo>
                    <a:lnTo>
                      <a:pt x="140" y="117"/>
                    </a:lnTo>
                    <a:lnTo>
                      <a:pt x="140" y="119"/>
                    </a:lnTo>
                    <a:lnTo>
                      <a:pt x="138" y="119"/>
                    </a:lnTo>
                    <a:lnTo>
                      <a:pt x="136" y="119"/>
                    </a:lnTo>
                    <a:lnTo>
                      <a:pt x="135" y="119"/>
                    </a:lnTo>
                    <a:lnTo>
                      <a:pt x="135" y="121"/>
                    </a:lnTo>
                    <a:lnTo>
                      <a:pt x="135" y="119"/>
                    </a:lnTo>
                    <a:lnTo>
                      <a:pt x="133" y="119"/>
                    </a:lnTo>
                    <a:lnTo>
                      <a:pt x="133" y="121"/>
                    </a:lnTo>
                    <a:lnTo>
                      <a:pt x="131" y="119"/>
                    </a:lnTo>
                    <a:lnTo>
                      <a:pt x="130" y="119"/>
                    </a:lnTo>
                    <a:lnTo>
                      <a:pt x="128" y="119"/>
                    </a:lnTo>
                    <a:lnTo>
                      <a:pt x="128" y="121"/>
                    </a:lnTo>
                    <a:lnTo>
                      <a:pt x="126" y="119"/>
                    </a:lnTo>
                    <a:lnTo>
                      <a:pt x="125" y="119"/>
                    </a:lnTo>
                    <a:lnTo>
                      <a:pt x="125" y="121"/>
                    </a:lnTo>
                    <a:lnTo>
                      <a:pt x="123" y="121"/>
                    </a:lnTo>
                    <a:lnTo>
                      <a:pt x="123" y="123"/>
                    </a:lnTo>
                    <a:lnTo>
                      <a:pt x="121" y="123"/>
                    </a:lnTo>
                    <a:lnTo>
                      <a:pt x="119" y="123"/>
                    </a:lnTo>
                    <a:lnTo>
                      <a:pt x="119" y="124"/>
                    </a:lnTo>
                    <a:lnTo>
                      <a:pt x="118" y="124"/>
                    </a:lnTo>
                    <a:lnTo>
                      <a:pt x="118" y="126"/>
                    </a:lnTo>
                    <a:lnTo>
                      <a:pt x="118" y="128"/>
                    </a:lnTo>
                    <a:lnTo>
                      <a:pt x="119" y="128"/>
                    </a:lnTo>
                    <a:lnTo>
                      <a:pt x="119" y="129"/>
                    </a:lnTo>
                    <a:lnTo>
                      <a:pt x="121" y="129"/>
                    </a:lnTo>
                    <a:lnTo>
                      <a:pt x="121" y="131"/>
                    </a:lnTo>
                    <a:lnTo>
                      <a:pt x="121" y="133"/>
                    </a:lnTo>
                    <a:lnTo>
                      <a:pt x="119" y="133"/>
                    </a:lnTo>
                    <a:lnTo>
                      <a:pt x="119" y="135"/>
                    </a:lnTo>
                    <a:lnTo>
                      <a:pt x="119" y="136"/>
                    </a:lnTo>
                    <a:lnTo>
                      <a:pt x="118" y="136"/>
                    </a:lnTo>
                    <a:lnTo>
                      <a:pt x="118" y="138"/>
                    </a:lnTo>
                    <a:lnTo>
                      <a:pt x="118" y="140"/>
                    </a:lnTo>
                    <a:lnTo>
                      <a:pt x="116" y="140"/>
                    </a:lnTo>
                    <a:lnTo>
                      <a:pt x="116" y="141"/>
                    </a:lnTo>
                    <a:lnTo>
                      <a:pt x="118" y="141"/>
                    </a:lnTo>
                    <a:lnTo>
                      <a:pt x="118" y="143"/>
                    </a:lnTo>
                    <a:lnTo>
                      <a:pt x="116" y="143"/>
                    </a:lnTo>
                    <a:lnTo>
                      <a:pt x="116" y="145"/>
                    </a:lnTo>
                    <a:lnTo>
                      <a:pt x="114" y="145"/>
                    </a:lnTo>
                    <a:lnTo>
                      <a:pt x="114" y="146"/>
                    </a:lnTo>
                    <a:lnTo>
                      <a:pt x="114" y="148"/>
                    </a:lnTo>
                    <a:lnTo>
                      <a:pt x="113" y="148"/>
                    </a:lnTo>
                    <a:lnTo>
                      <a:pt x="114" y="150"/>
                    </a:lnTo>
                    <a:lnTo>
                      <a:pt x="114" y="152"/>
                    </a:lnTo>
                    <a:lnTo>
                      <a:pt x="114" y="153"/>
                    </a:lnTo>
                    <a:lnTo>
                      <a:pt x="114" y="155"/>
                    </a:lnTo>
                    <a:lnTo>
                      <a:pt x="116" y="155"/>
                    </a:lnTo>
                    <a:lnTo>
                      <a:pt x="116" y="157"/>
                    </a:lnTo>
                    <a:lnTo>
                      <a:pt x="118" y="157"/>
                    </a:lnTo>
                    <a:lnTo>
                      <a:pt x="118" y="158"/>
                    </a:lnTo>
                    <a:lnTo>
                      <a:pt x="119" y="158"/>
                    </a:lnTo>
                    <a:lnTo>
                      <a:pt x="119" y="160"/>
                    </a:lnTo>
                    <a:lnTo>
                      <a:pt x="119" y="162"/>
                    </a:lnTo>
                    <a:lnTo>
                      <a:pt x="121" y="162"/>
                    </a:lnTo>
                    <a:lnTo>
                      <a:pt x="121" y="163"/>
                    </a:lnTo>
                    <a:lnTo>
                      <a:pt x="121" y="165"/>
                    </a:lnTo>
                    <a:lnTo>
                      <a:pt x="123" y="165"/>
                    </a:lnTo>
                    <a:lnTo>
                      <a:pt x="123" y="167"/>
                    </a:lnTo>
                    <a:lnTo>
                      <a:pt x="125" y="167"/>
                    </a:lnTo>
                    <a:lnTo>
                      <a:pt x="125" y="169"/>
                    </a:lnTo>
                    <a:lnTo>
                      <a:pt x="126" y="169"/>
                    </a:lnTo>
                    <a:lnTo>
                      <a:pt x="128" y="169"/>
                    </a:lnTo>
                    <a:lnTo>
                      <a:pt x="128" y="170"/>
                    </a:lnTo>
                    <a:lnTo>
                      <a:pt x="126" y="170"/>
                    </a:lnTo>
                    <a:lnTo>
                      <a:pt x="126" y="172"/>
                    </a:lnTo>
                    <a:lnTo>
                      <a:pt x="126" y="174"/>
                    </a:lnTo>
                    <a:lnTo>
                      <a:pt x="126" y="175"/>
                    </a:lnTo>
                    <a:lnTo>
                      <a:pt x="128" y="175"/>
                    </a:lnTo>
                    <a:lnTo>
                      <a:pt x="128" y="177"/>
                    </a:lnTo>
                    <a:lnTo>
                      <a:pt x="130" y="177"/>
                    </a:lnTo>
                    <a:lnTo>
                      <a:pt x="128" y="179"/>
                    </a:lnTo>
                    <a:lnTo>
                      <a:pt x="128" y="180"/>
                    </a:lnTo>
                    <a:lnTo>
                      <a:pt x="128" y="182"/>
                    </a:lnTo>
                    <a:lnTo>
                      <a:pt x="128" y="184"/>
                    </a:lnTo>
                    <a:lnTo>
                      <a:pt x="130" y="184"/>
                    </a:lnTo>
                    <a:lnTo>
                      <a:pt x="130" y="186"/>
                    </a:lnTo>
                    <a:lnTo>
                      <a:pt x="131" y="187"/>
                    </a:lnTo>
                    <a:lnTo>
                      <a:pt x="133" y="187"/>
                    </a:lnTo>
                    <a:lnTo>
                      <a:pt x="133" y="189"/>
                    </a:lnTo>
                    <a:lnTo>
                      <a:pt x="133" y="191"/>
                    </a:lnTo>
                    <a:lnTo>
                      <a:pt x="133" y="192"/>
                    </a:lnTo>
                    <a:lnTo>
                      <a:pt x="133" y="191"/>
                    </a:lnTo>
                    <a:lnTo>
                      <a:pt x="133" y="192"/>
                    </a:lnTo>
                    <a:lnTo>
                      <a:pt x="135" y="191"/>
                    </a:lnTo>
                    <a:lnTo>
                      <a:pt x="135" y="192"/>
                    </a:lnTo>
                    <a:lnTo>
                      <a:pt x="135" y="194"/>
                    </a:lnTo>
                    <a:lnTo>
                      <a:pt x="135" y="196"/>
                    </a:lnTo>
                    <a:lnTo>
                      <a:pt x="133" y="196"/>
                    </a:lnTo>
                    <a:lnTo>
                      <a:pt x="133" y="197"/>
                    </a:lnTo>
                    <a:lnTo>
                      <a:pt x="131" y="197"/>
                    </a:lnTo>
                    <a:lnTo>
                      <a:pt x="130" y="197"/>
                    </a:lnTo>
                    <a:lnTo>
                      <a:pt x="130" y="199"/>
                    </a:lnTo>
                    <a:lnTo>
                      <a:pt x="128" y="199"/>
                    </a:lnTo>
                    <a:lnTo>
                      <a:pt x="128" y="197"/>
                    </a:lnTo>
                    <a:lnTo>
                      <a:pt x="128" y="199"/>
                    </a:lnTo>
                    <a:lnTo>
                      <a:pt x="128" y="201"/>
                    </a:lnTo>
                    <a:lnTo>
                      <a:pt x="126" y="199"/>
                    </a:lnTo>
                    <a:lnTo>
                      <a:pt x="126" y="201"/>
                    </a:lnTo>
                    <a:lnTo>
                      <a:pt x="125" y="201"/>
                    </a:lnTo>
                    <a:lnTo>
                      <a:pt x="123" y="201"/>
                    </a:lnTo>
                    <a:lnTo>
                      <a:pt x="123" y="203"/>
                    </a:lnTo>
                    <a:lnTo>
                      <a:pt x="123" y="204"/>
                    </a:lnTo>
                    <a:lnTo>
                      <a:pt x="123" y="206"/>
                    </a:lnTo>
                    <a:lnTo>
                      <a:pt x="121" y="206"/>
                    </a:lnTo>
                    <a:lnTo>
                      <a:pt x="119" y="206"/>
                    </a:lnTo>
                    <a:lnTo>
                      <a:pt x="119" y="208"/>
                    </a:lnTo>
                    <a:lnTo>
                      <a:pt x="118" y="208"/>
                    </a:lnTo>
                    <a:lnTo>
                      <a:pt x="118" y="209"/>
                    </a:lnTo>
                    <a:lnTo>
                      <a:pt x="119" y="209"/>
                    </a:lnTo>
                    <a:lnTo>
                      <a:pt x="119" y="208"/>
                    </a:lnTo>
                    <a:lnTo>
                      <a:pt x="121" y="209"/>
                    </a:lnTo>
                    <a:lnTo>
                      <a:pt x="119" y="209"/>
                    </a:lnTo>
                    <a:lnTo>
                      <a:pt x="119" y="211"/>
                    </a:lnTo>
                    <a:lnTo>
                      <a:pt x="118" y="211"/>
                    </a:lnTo>
                    <a:lnTo>
                      <a:pt x="119" y="213"/>
                    </a:lnTo>
                    <a:lnTo>
                      <a:pt x="118" y="213"/>
                    </a:lnTo>
                    <a:lnTo>
                      <a:pt x="118" y="214"/>
                    </a:lnTo>
                    <a:lnTo>
                      <a:pt x="118" y="216"/>
                    </a:lnTo>
                    <a:lnTo>
                      <a:pt x="119" y="216"/>
                    </a:lnTo>
                    <a:lnTo>
                      <a:pt x="118" y="218"/>
                    </a:lnTo>
                    <a:lnTo>
                      <a:pt x="119" y="218"/>
                    </a:lnTo>
                    <a:lnTo>
                      <a:pt x="118" y="218"/>
                    </a:lnTo>
                    <a:lnTo>
                      <a:pt x="118" y="220"/>
                    </a:lnTo>
                    <a:lnTo>
                      <a:pt x="119" y="220"/>
                    </a:lnTo>
                    <a:lnTo>
                      <a:pt x="118" y="220"/>
                    </a:lnTo>
                    <a:lnTo>
                      <a:pt x="118" y="221"/>
                    </a:lnTo>
                    <a:lnTo>
                      <a:pt x="118" y="223"/>
                    </a:lnTo>
                    <a:lnTo>
                      <a:pt x="118" y="225"/>
                    </a:lnTo>
                    <a:lnTo>
                      <a:pt x="118" y="226"/>
                    </a:lnTo>
                    <a:lnTo>
                      <a:pt x="118" y="228"/>
                    </a:lnTo>
                    <a:lnTo>
                      <a:pt x="116" y="228"/>
                    </a:lnTo>
                    <a:lnTo>
                      <a:pt x="114" y="228"/>
                    </a:lnTo>
                    <a:lnTo>
                      <a:pt x="113" y="228"/>
                    </a:lnTo>
                    <a:lnTo>
                      <a:pt x="111" y="228"/>
                    </a:lnTo>
                    <a:lnTo>
                      <a:pt x="109" y="228"/>
                    </a:lnTo>
                    <a:lnTo>
                      <a:pt x="108" y="228"/>
                    </a:lnTo>
                    <a:lnTo>
                      <a:pt x="108" y="230"/>
                    </a:lnTo>
                    <a:lnTo>
                      <a:pt x="108" y="228"/>
                    </a:lnTo>
                    <a:lnTo>
                      <a:pt x="108" y="230"/>
                    </a:lnTo>
                    <a:lnTo>
                      <a:pt x="108" y="231"/>
                    </a:lnTo>
                    <a:lnTo>
                      <a:pt x="106" y="231"/>
                    </a:lnTo>
                    <a:lnTo>
                      <a:pt x="106" y="233"/>
                    </a:lnTo>
                    <a:lnTo>
                      <a:pt x="104" y="233"/>
                    </a:lnTo>
                    <a:lnTo>
                      <a:pt x="104" y="235"/>
                    </a:lnTo>
                    <a:lnTo>
                      <a:pt x="104" y="237"/>
                    </a:lnTo>
                    <a:lnTo>
                      <a:pt x="102" y="237"/>
                    </a:lnTo>
                    <a:lnTo>
                      <a:pt x="102" y="238"/>
                    </a:lnTo>
                    <a:lnTo>
                      <a:pt x="102" y="240"/>
                    </a:lnTo>
                    <a:lnTo>
                      <a:pt x="101" y="238"/>
                    </a:lnTo>
                    <a:lnTo>
                      <a:pt x="101" y="240"/>
                    </a:lnTo>
                    <a:lnTo>
                      <a:pt x="99" y="240"/>
                    </a:lnTo>
                    <a:lnTo>
                      <a:pt x="97" y="240"/>
                    </a:lnTo>
                    <a:lnTo>
                      <a:pt x="99" y="240"/>
                    </a:lnTo>
                    <a:lnTo>
                      <a:pt x="97" y="242"/>
                    </a:lnTo>
                    <a:lnTo>
                      <a:pt x="99" y="242"/>
                    </a:lnTo>
                    <a:lnTo>
                      <a:pt x="99" y="243"/>
                    </a:lnTo>
                    <a:lnTo>
                      <a:pt x="99" y="245"/>
                    </a:lnTo>
                    <a:lnTo>
                      <a:pt x="99" y="247"/>
                    </a:lnTo>
                    <a:lnTo>
                      <a:pt x="97" y="245"/>
                    </a:lnTo>
                    <a:lnTo>
                      <a:pt x="97" y="247"/>
                    </a:lnTo>
                    <a:lnTo>
                      <a:pt x="97" y="245"/>
                    </a:lnTo>
                    <a:lnTo>
                      <a:pt x="96" y="245"/>
                    </a:lnTo>
                    <a:lnTo>
                      <a:pt x="96" y="247"/>
                    </a:lnTo>
                    <a:lnTo>
                      <a:pt x="96" y="245"/>
                    </a:lnTo>
                    <a:lnTo>
                      <a:pt x="94" y="245"/>
                    </a:lnTo>
                    <a:lnTo>
                      <a:pt x="92" y="245"/>
                    </a:lnTo>
                    <a:lnTo>
                      <a:pt x="91" y="245"/>
                    </a:lnTo>
                    <a:lnTo>
                      <a:pt x="91" y="247"/>
                    </a:lnTo>
                    <a:lnTo>
                      <a:pt x="91" y="248"/>
                    </a:lnTo>
                    <a:lnTo>
                      <a:pt x="89" y="248"/>
                    </a:lnTo>
                    <a:lnTo>
                      <a:pt x="87" y="248"/>
                    </a:lnTo>
                    <a:lnTo>
                      <a:pt x="85" y="248"/>
                    </a:lnTo>
                    <a:lnTo>
                      <a:pt x="85" y="247"/>
                    </a:lnTo>
                    <a:lnTo>
                      <a:pt x="84" y="247"/>
                    </a:lnTo>
                    <a:lnTo>
                      <a:pt x="85" y="247"/>
                    </a:lnTo>
                    <a:lnTo>
                      <a:pt x="85" y="245"/>
                    </a:lnTo>
                    <a:lnTo>
                      <a:pt x="84" y="245"/>
                    </a:lnTo>
                    <a:lnTo>
                      <a:pt x="82" y="245"/>
                    </a:lnTo>
                    <a:lnTo>
                      <a:pt x="82" y="243"/>
                    </a:lnTo>
                    <a:lnTo>
                      <a:pt x="80" y="243"/>
                    </a:lnTo>
                    <a:lnTo>
                      <a:pt x="79" y="243"/>
                    </a:lnTo>
                    <a:lnTo>
                      <a:pt x="77" y="243"/>
                    </a:lnTo>
                    <a:lnTo>
                      <a:pt x="75" y="243"/>
                    </a:lnTo>
                    <a:lnTo>
                      <a:pt x="75" y="242"/>
                    </a:lnTo>
                    <a:lnTo>
                      <a:pt x="74" y="242"/>
                    </a:lnTo>
                    <a:lnTo>
                      <a:pt x="72" y="242"/>
                    </a:lnTo>
                    <a:lnTo>
                      <a:pt x="72" y="240"/>
                    </a:lnTo>
                    <a:lnTo>
                      <a:pt x="70" y="240"/>
                    </a:lnTo>
                    <a:lnTo>
                      <a:pt x="70" y="238"/>
                    </a:lnTo>
                    <a:lnTo>
                      <a:pt x="68" y="238"/>
                    </a:lnTo>
                    <a:lnTo>
                      <a:pt x="68" y="237"/>
                    </a:lnTo>
                    <a:lnTo>
                      <a:pt x="67" y="237"/>
                    </a:lnTo>
                    <a:lnTo>
                      <a:pt x="67" y="235"/>
                    </a:lnTo>
                    <a:lnTo>
                      <a:pt x="65" y="235"/>
                    </a:lnTo>
                    <a:lnTo>
                      <a:pt x="65" y="233"/>
                    </a:lnTo>
                    <a:lnTo>
                      <a:pt x="65" y="231"/>
                    </a:lnTo>
                    <a:lnTo>
                      <a:pt x="65" y="233"/>
                    </a:lnTo>
                    <a:lnTo>
                      <a:pt x="63" y="231"/>
                    </a:lnTo>
                    <a:lnTo>
                      <a:pt x="63" y="230"/>
                    </a:lnTo>
                    <a:lnTo>
                      <a:pt x="62" y="230"/>
                    </a:lnTo>
                    <a:lnTo>
                      <a:pt x="62" y="231"/>
                    </a:lnTo>
                    <a:lnTo>
                      <a:pt x="60" y="231"/>
                    </a:lnTo>
                    <a:lnTo>
                      <a:pt x="60" y="230"/>
                    </a:lnTo>
                    <a:lnTo>
                      <a:pt x="58" y="230"/>
                    </a:lnTo>
                    <a:lnTo>
                      <a:pt x="58" y="228"/>
                    </a:lnTo>
                    <a:lnTo>
                      <a:pt x="60" y="228"/>
                    </a:lnTo>
                    <a:lnTo>
                      <a:pt x="60" y="226"/>
                    </a:lnTo>
                    <a:lnTo>
                      <a:pt x="58" y="226"/>
                    </a:lnTo>
                    <a:lnTo>
                      <a:pt x="57" y="226"/>
                    </a:lnTo>
                    <a:lnTo>
                      <a:pt x="57" y="225"/>
                    </a:lnTo>
                    <a:lnTo>
                      <a:pt x="57" y="223"/>
                    </a:lnTo>
                    <a:lnTo>
                      <a:pt x="57" y="221"/>
                    </a:lnTo>
                    <a:lnTo>
                      <a:pt x="57" y="220"/>
                    </a:lnTo>
                    <a:lnTo>
                      <a:pt x="57" y="218"/>
                    </a:lnTo>
                    <a:lnTo>
                      <a:pt x="57" y="216"/>
                    </a:lnTo>
                    <a:lnTo>
                      <a:pt x="57" y="214"/>
                    </a:lnTo>
                    <a:lnTo>
                      <a:pt x="57" y="213"/>
                    </a:lnTo>
                    <a:lnTo>
                      <a:pt x="57" y="211"/>
                    </a:lnTo>
                    <a:lnTo>
                      <a:pt x="55" y="211"/>
                    </a:lnTo>
                    <a:lnTo>
                      <a:pt x="53" y="211"/>
                    </a:lnTo>
                    <a:lnTo>
                      <a:pt x="53" y="209"/>
                    </a:lnTo>
                    <a:lnTo>
                      <a:pt x="53" y="211"/>
                    </a:lnTo>
                    <a:lnTo>
                      <a:pt x="53" y="209"/>
                    </a:lnTo>
                    <a:lnTo>
                      <a:pt x="51" y="209"/>
                    </a:lnTo>
                    <a:lnTo>
                      <a:pt x="51" y="208"/>
                    </a:lnTo>
                    <a:lnTo>
                      <a:pt x="51" y="206"/>
                    </a:lnTo>
                    <a:lnTo>
                      <a:pt x="51" y="204"/>
                    </a:lnTo>
                    <a:lnTo>
                      <a:pt x="50" y="204"/>
                    </a:lnTo>
                    <a:lnTo>
                      <a:pt x="50" y="203"/>
                    </a:lnTo>
                    <a:lnTo>
                      <a:pt x="50" y="201"/>
                    </a:lnTo>
                    <a:lnTo>
                      <a:pt x="48" y="201"/>
                    </a:lnTo>
                    <a:lnTo>
                      <a:pt x="50" y="201"/>
                    </a:lnTo>
                    <a:lnTo>
                      <a:pt x="48" y="199"/>
                    </a:lnTo>
                    <a:lnTo>
                      <a:pt x="48" y="197"/>
                    </a:lnTo>
                    <a:lnTo>
                      <a:pt x="48" y="196"/>
                    </a:lnTo>
                    <a:lnTo>
                      <a:pt x="48" y="194"/>
                    </a:lnTo>
                    <a:lnTo>
                      <a:pt x="48" y="192"/>
                    </a:lnTo>
                    <a:lnTo>
                      <a:pt x="48" y="191"/>
                    </a:lnTo>
                    <a:lnTo>
                      <a:pt x="48" y="189"/>
                    </a:lnTo>
                    <a:lnTo>
                      <a:pt x="50" y="189"/>
                    </a:lnTo>
                    <a:lnTo>
                      <a:pt x="50" y="187"/>
                    </a:lnTo>
                    <a:lnTo>
                      <a:pt x="50" y="186"/>
                    </a:lnTo>
                    <a:lnTo>
                      <a:pt x="50" y="184"/>
                    </a:lnTo>
                    <a:lnTo>
                      <a:pt x="51" y="184"/>
                    </a:lnTo>
                    <a:lnTo>
                      <a:pt x="50" y="184"/>
                    </a:lnTo>
                    <a:lnTo>
                      <a:pt x="51" y="182"/>
                    </a:lnTo>
                    <a:lnTo>
                      <a:pt x="50" y="182"/>
                    </a:lnTo>
                    <a:lnTo>
                      <a:pt x="51" y="182"/>
                    </a:lnTo>
                    <a:lnTo>
                      <a:pt x="51" y="180"/>
                    </a:lnTo>
                    <a:lnTo>
                      <a:pt x="51" y="179"/>
                    </a:lnTo>
                    <a:lnTo>
                      <a:pt x="53" y="179"/>
                    </a:lnTo>
                    <a:lnTo>
                      <a:pt x="53" y="177"/>
                    </a:lnTo>
                    <a:lnTo>
                      <a:pt x="53" y="175"/>
                    </a:lnTo>
                    <a:lnTo>
                      <a:pt x="55" y="175"/>
                    </a:lnTo>
                    <a:lnTo>
                      <a:pt x="55" y="174"/>
                    </a:lnTo>
                    <a:lnTo>
                      <a:pt x="53" y="174"/>
                    </a:lnTo>
                    <a:lnTo>
                      <a:pt x="55" y="174"/>
                    </a:lnTo>
                    <a:lnTo>
                      <a:pt x="53" y="174"/>
                    </a:lnTo>
                    <a:lnTo>
                      <a:pt x="53" y="172"/>
                    </a:lnTo>
                    <a:lnTo>
                      <a:pt x="55" y="172"/>
                    </a:lnTo>
                    <a:lnTo>
                      <a:pt x="53" y="172"/>
                    </a:lnTo>
                    <a:lnTo>
                      <a:pt x="55" y="170"/>
                    </a:lnTo>
                    <a:lnTo>
                      <a:pt x="53" y="170"/>
                    </a:lnTo>
                    <a:lnTo>
                      <a:pt x="53" y="169"/>
                    </a:lnTo>
                    <a:lnTo>
                      <a:pt x="51" y="169"/>
                    </a:lnTo>
                    <a:lnTo>
                      <a:pt x="53" y="169"/>
                    </a:lnTo>
                    <a:lnTo>
                      <a:pt x="51" y="169"/>
                    </a:lnTo>
                    <a:lnTo>
                      <a:pt x="53" y="169"/>
                    </a:lnTo>
                    <a:lnTo>
                      <a:pt x="53" y="167"/>
                    </a:lnTo>
                    <a:lnTo>
                      <a:pt x="55" y="167"/>
                    </a:lnTo>
                    <a:lnTo>
                      <a:pt x="57" y="165"/>
                    </a:lnTo>
                    <a:lnTo>
                      <a:pt x="58" y="163"/>
                    </a:lnTo>
                    <a:lnTo>
                      <a:pt x="58" y="162"/>
                    </a:lnTo>
                    <a:lnTo>
                      <a:pt x="60" y="162"/>
                    </a:lnTo>
                    <a:lnTo>
                      <a:pt x="60" y="160"/>
                    </a:lnTo>
                    <a:lnTo>
                      <a:pt x="60" y="162"/>
                    </a:lnTo>
                    <a:lnTo>
                      <a:pt x="60" y="160"/>
                    </a:lnTo>
                    <a:lnTo>
                      <a:pt x="62" y="160"/>
                    </a:lnTo>
                    <a:lnTo>
                      <a:pt x="62" y="158"/>
                    </a:lnTo>
                    <a:lnTo>
                      <a:pt x="62" y="157"/>
                    </a:lnTo>
                    <a:lnTo>
                      <a:pt x="63" y="157"/>
                    </a:lnTo>
                    <a:lnTo>
                      <a:pt x="63" y="155"/>
                    </a:lnTo>
                    <a:lnTo>
                      <a:pt x="62" y="155"/>
                    </a:lnTo>
                    <a:lnTo>
                      <a:pt x="62" y="153"/>
                    </a:lnTo>
                    <a:lnTo>
                      <a:pt x="60" y="152"/>
                    </a:lnTo>
                    <a:lnTo>
                      <a:pt x="60" y="150"/>
                    </a:lnTo>
                    <a:lnTo>
                      <a:pt x="60" y="148"/>
                    </a:lnTo>
                    <a:lnTo>
                      <a:pt x="58" y="148"/>
                    </a:lnTo>
                    <a:lnTo>
                      <a:pt x="57" y="148"/>
                    </a:lnTo>
                    <a:lnTo>
                      <a:pt x="57" y="146"/>
                    </a:lnTo>
                    <a:lnTo>
                      <a:pt x="57" y="145"/>
                    </a:lnTo>
                    <a:lnTo>
                      <a:pt x="58" y="145"/>
                    </a:lnTo>
                    <a:lnTo>
                      <a:pt x="57" y="145"/>
                    </a:lnTo>
                    <a:lnTo>
                      <a:pt x="57" y="143"/>
                    </a:lnTo>
                    <a:lnTo>
                      <a:pt x="58" y="143"/>
                    </a:lnTo>
                    <a:lnTo>
                      <a:pt x="58" y="141"/>
                    </a:lnTo>
                    <a:lnTo>
                      <a:pt x="57" y="141"/>
                    </a:lnTo>
                    <a:lnTo>
                      <a:pt x="57" y="140"/>
                    </a:lnTo>
                    <a:lnTo>
                      <a:pt x="55" y="138"/>
                    </a:lnTo>
                    <a:lnTo>
                      <a:pt x="53" y="138"/>
                    </a:lnTo>
                    <a:lnTo>
                      <a:pt x="51" y="138"/>
                    </a:lnTo>
                    <a:lnTo>
                      <a:pt x="53" y="138"/>
                    </a:lnTo>
                    <a:lnTo>
                      <a:pt x="51" y="138"/>
                    </a:lnTo>
                    <a:lnTo>
                      <a:pt x="50" y="138"/>
                    </a:lnTo>
                    <a:lnTo>
                      <a:pt x="50" y="136"/>
                    </a:lnTo>
                    <a:lnTo>
                      <a:pt x="48" y="136"/>
                    </a:lnTo>
                    <a:lnTo>
                      <a:pt x="48" y="138"/>
                    </a:lnTo>
                    <a:lnTo>
                      <a:pt x="48" y="136"/>
                    </a:lnTo>
                    <a:lnTo>
                      <a:pt x="46" y="138"/>
                    </a:lnTo>
                    <a:lnTo>
                      <a:pt x="46" y="136"/>
                    </a:lnTo>
                    <a:lnTo>
                      <a:pt x="45" y="136"/>
                    </a:lnTo>
                    <a:lnTo>
                      <a:pt x="46" y="136"/>
                    </a:lnTo>
                    <a:lnTo>
                      <a:pt x="45" y="136"/>
                    </a:lnTo>
                    <a:lnTo>
                      <a:pt x="43" y="136"/>
                    </a:lnTo>
                    <a:lnTo>
                      <a:pt x="43" y="135"/>
                    </a:lnTo>
                    <a:lnTo>
                      <a:pt x="43" y="133"/>
                    </a:lnTo>
                    <a:lnTo>
                      <a:pt x="45" y="133"/>
                    </a:lnTo>
                    <a:lnTo>
                      <a:pt x="45" y="131"/>
                    </a:lnTo>
                    <a:lnTo>
                      <a:pt x="46" y="131"/>
                    </a:lnTo>
                    <a:lnTo>
                      <a:pt x="46" y="129"/>
                    </a:lnTo>
                    <a:lnTo>
                      <a:pt x="46" y="128"/>
                    </a:lnTo>
                    <a:lnTo>
                      <a:pt x="46" y="126"/>
                    </a:lnTo>
                    <a:lnTo>
                      <a:pt x="48" y="124"/>
                    </a:lnTo>
                    <a:lnTo>
                      <a:pt x="48" y="123"/>
                    </a:lnTo>
                    <a:lnTo>
                      <a:pt x="48" y="121"/>
                    </a:lnTo>
                    <a:lnTo>
                      <a:pt x="48" y="119"/>
                    </a:lnTo>
                    <a:lnTo>
                      <a:pt x="48" y="117"/>
                    </a:lnTo>
                    <a:lnTo>
                      <a:pt x="46" y="117"/>
                    </a:lnTo>
                    <a:lnTo>
                      <a:pt x="46" y="116"/>
                    </a:lnTo>
                    <a:lnTo>
                      <a:pt x="45" y="116"/>
                    </a:lnTo>
                    <a:lnTo>
                      <a:pt x="45" y="114"/>
                    </a:lnTo>
                    <a:lnTo>
                      <a:pt x="45" y="112"/>
                    </a:lnTo>
                    <a:lnTo>
                      <a:pt x="43" y="112"/>
                    </a:lnTo>
                    <a:lnTo>
                      <a:pt x="43" y="111"/>
                    </a:lnTo>
                    <a:lnTo>
                      <a:pt x="43" y="112"/>
                    </a:lnTo>
                    <a:lnTo>
                      <a:pt x="41" y="112"/>
                    </a:lnTo>
                    <a:lnTo>
                      <a:pt x="41" y="111"/>
                    </a:lnTo>
                    <a:lnTo>
                      <a:pt x="40" y="111"/>
                    </a:lnTo>
                    <a:lnTo>
                      <a:pt x="38" y="112"/>
                    </a:lnTo>
                    <a:lnTo>
                      <a:pt x="36" y="112"/>
                    </a:lnTo>
                    <a:lnTo>
                      <a:pt x="34" y="112"/>
                    </a:lnTo>
                    <a:lnTo>
                      <a:pt x="33" y="112"/>
                    </a:lnTo>
                    <a:lnTo>
                      <a:pt x="33" y="114"/>
                    </a:lnTo>
                    <a:lnTo>
                      <a:pt x="33" y="112"/>
                    </a:lnTo>
                    <a:lnTo>
                      <a:pt x="31" y="112"/>
                    </a:lnTo>
                    <a:lnTo>
                      <a:pt x="29" y="112"/>
                    </a:lnTo>
                    <a:lnTo>
                      <a:pt x="28" y="112"/>
                    </a:lnTo>
                    <a:lnTo>
                      <a:pt x="26" y="112"/>
                    </a:lnTo>
                    <a:lnTo>
                      <a:pt x="24" y="112"/>
                    </a:lnTo>
                    <a:lnTo>
                      <a:pt x="23" y="112"/>
                    </a:lnTo>
                    <a:lnTo>
                      <a:pt x="21" y="111"/>
                    </a:lnTo>
                    <a:lnTo>
                      <a:pt x="19" y="109"/>
                    </a:lnTo>
                    <a:lnTo>
                      <a:pt x="12" y="102"/>
                    </a:lnTo>
                    <a:lnTo>
                      <a:pt x="11" y="97"/>
                    </a:lnTo>
                    <a:lnTo>
                      <a:pt x="7" y="95"/>
                    </a:lnTo>
                    <a:lnTo>
                      <a:pt x="2" y="90"/>
                    </a:lnTo>
                    <a:lnTo>
                      <a:pt x="0" y="89"/>
                    </a:lnTo>
                    <a:lnTo>
                      <a:pt x="0" y="87"/>
                    </a:lnTo>
                    <a:lnTo>
                      <a:pt x="2" y="87"/>
                    </a:lnTo>
                    <a:lnTo>
                      <a:pt x="2" y="85"/>
                    </a:lnTo>
                    <a:lnTo>
                      <a:pt x="4" y="85"/>
                    </a:lnTo>
                    <a:lnTo>
                      <a:pt x="4" y="83"/>
                    </a:lnTo>
                    <a:lnTo>
                      <a:pt x="6" y="82"/>
                    </a:lnTo>
                    <a:lnTo>
                      <a:pt x="7" y="82"/>
                    </a:lnTo>
                    <a:lnTo>
                      <a:pt x="7" y="80"/>
                    </a:lnTo>
                    <a:lnTo>
                      <a:pt x="9" y="80"/>
                    </a:lnTo>
                    <a:lnTo>
                      <a:pt x="11" y="78"/>
                    </a:lnTo>
                    <a:lnTo>
                      <a:pt x="9" y="78"/>
                    </a:lnTo>
                    <a:lnTo>
                      <a:pt x="9" y="77"/>
                    </a:lnTo>
                    <a:lnTo>
                      <a:pt x="11" y="77"/>
                    </a:lnTo>
                    <a:lnTo>
                      <a:pt x="9" y="77"/>
                    </a:lnTo>
                    <a:lnTo>
                      <a:pt x="9" y="75"/>
                    </a:lnTo>
                    <a:lnTo>
                      <a:pt x="7" y="75"/>
                    </a:lnTo>
                    <a:lnTo>
                      <a:pt x="9" y="75"/>
                    </a:lnTo>
                    <a:lnTo>
                      <a:pt x="9" y="73"/>
                    </a:lnTo>
                    <a:lnTo>
                      <a:pt x="9" y="72"/>
                    </a:lnTo>
                    <a:lnTo>
                      <a:pt x="9" y="70"/>
                    </a:lnTo>
                    <a:lnTo>
                      <a:pt x="7" y="70"/>
                    </a:lnTo>
                    <a:lnTo>
                      <a:pt x="9" y="68"/>
                    </a:lnTo>
                    <a:lnTo>
                      <a:pt x="7" y="68"/>
                    </a:lnTo>
                    <a:lnTo>
                      <a:pt x="7" y="66"/>
                    </a:lnTo>
                    <a:lnTo>
                      <a:pt x="6" y="66"/>
                    </a:lnTo>
                    <a:lnTo>
                      <a:pt x="7" y="66"/>
                    </a:lnTo>
                    <a:lnTo>
                      <a:pt x="6" y="66"/>
                    </a:lnTo>
                    <a:lnTo>
                      <a:pt x="7" y="66"/>
                    </a:lnTo>
                    <a:lnTo>
                      <a:pt x="7" y="65"/>
                    </a:lnTo>
                    <a:lnTo>
                      <a:pt x="7" y="63"/>
                    </a:lnTo>
                    <a:lnTo>
                      <a:pt x="9" y="63"/>
                    </a:lnTo>
                    <a:lnTo>
                      <a:pt x="9" y="61"/>
                    </a:lnTo>
                    <a:lnTo>
                      <a:pt x="11" y="61"/>
                    </a:lnTo>
                    <a:lnTo>
                      <a:pt x="12" y="61"/>
                    </a:lnTo>
                    <a:lnTo>
                      <a:pt x="14" y="61"/>
                    </a:lnTo>
                    <a:lnTo>
                      <a:pt x="16" y="61"/>
                    </a:lnTo>
                    <a:lnTo>
                      <a:pt x="17" y="60"/>
                    </a:lnTo>
                    <a:lnTo>
                      <a:pt x="16" y="60"/>
                    </a:lnTo>
                    <a:lnTo>
                      <a:pt x="16" y="58"/>
                    </a:lnTo>
                    <a:lnTo>
                      <a:pt x="17" y="58"/>
                    </a:lnTo>
                    <a:lnTo>
                      <a:pt x="17" y="60"/>
                    </a:lnTo>
                    <a:lnTo>
                      <a:pt x="19" y="60"/>
                    </a:lnTo>
                    <a:lnTo>
                      <a:pt x="21" y="60"/>
                    </a:lnTo>
                    <a:lnTo>
                      <a:pt x="21" y="58"/>
                    </a:lnTo>
                    <a:lnTo>
                      <a:pt x="21" y="60"/>
                    </a:lnTo>
                    <a:lnTo>
                      <a:pt x="23" y="60"/>
                    </a:lnTo>
                    <a:lnTo>
                      <a:pt x="24" y="60"/>
                    </a:lnTo>
                    <a:lnTo>
                      <a:pt x="24" y="58"/>
                    </a:lnTo>
                    <a:lnTo>
                      <a:pt x="26" y="58"/>
                    </a:lnTo>
                    <a:lnTo>
                      <a:pt x="28" y="58"/>
                    </a:lnTo>
                    <a:lnTo>
                      <a:pt x="28" y="56"/>
                    </a:lnTo>
                    <a:lnTo>
                      <a:pt x="29" y="56"/>
                    </a:lnTo>
                    <a:lnTo>
                      <a:pt x="31" y="56"/>
                    </a:lnTo>
                    <a:lnTo>
                      <a:pt x="31" y="55"/>
                    </a:lnTo>
                    <a:lnTo>
                      <a:pt x="33" y="55"/>
                    </a:lnTo>
                    <a:lnTo>
                      <a:pt x="34" y="53"/>
                    </a:lnTo>
                    <a:lnTo>
                      <a:pt x="34" y="55"/>
                    </a:lnTo>
                    <a:lnTo>
                      <a:pt x="34" y="53"/>
                    </a:lnTo>
                    <a:lnTo>
                      <a:pt x="36" y="53"/>
                    </a:lnTo>
                    <a:lnTo>
                      <a:pt x="36" y="51"/>
                    </a:lnTo>
                    <a:lnTo>
                      <a:pt x="36" y="49"/>
                    </a:lnTo>
                    <a:lnTo>
                      <a:pt x="36" y="48"/>
                    </a:lnTo>
                    <a:lnTo>
                      <a:pt x="36" y="46"/>
                    </a:lnTo>
                    <a:lnTo>
                      <a:pt x="34" y="46"/>
                    </a:lnTo>
                    <a:lnTo>
                      <a:pt x="33" y="46"/>
                    </a:lnTo>
                    <a:lnTo>
                      <a:pt x="33" y="44"/>
                    </a:lnTo>
                    <a:lnTo>
                      <a:pt x="33" y="46"/>
                    </a:lnTo>
                    <a:lnTo>
                      <a:pt x="31" y="44"/>
                    </a:lnTo>
                    <a:lnTo>
                      <a:pt x="31" y="46"/>
                    </a:lnTo>
                    <a:lnTo>
                      <a:pt x="29" y="46"/>
                    </a:lnTo>
                    <a:lnTo>
                      <a:pt x="29" y="48"/>
                    </a:lnTo>
                    <a:lnTo>
                      <a:pt x="29" y="46"/>
                    </a:lnTo>
                    <a:lnTo>
                      <a:pt x="28" y="46"/>
                    </a:lnTo>
                    <a:lnTo>
                      <a:pt x="28" y="44"/>
                    </a:lnTo>
                    <a:lnTo>
                      <a:pt x="26" y="44"/>
                    </a:lnTo>
                    <a:lnTo>
                      <a:pt x="26" y="43"/>
                    </a:lnTo>
                    <a:lnTo>
                      <a:pt x="28" y="43"/>
                    </a:lnTo>
                    <a:lnTo>
                      <a:pt x="28" y="41"/>
                    </a:lnTo>
                    <a:lnTo>
                      <a:pt x="28" y="39"/>
                    </a:lnTo>
                    <a:lnTo>
                      <a:pt x="26" y="39"/>
                    </a:lnTo>
                    <a:lnTo>
                      <a:pt x="26" y="38"/>
                    </a:lnTo>
                    <a:lnTo>
                      <a:pt x="26" y="36"/>
                    </a:lnTo>
                    <a:lnTo>
                      <a:pt x="26" y="34"/>
                    </a:lnTo>
                    <a:lnTo>
                      <a:pt x="26" y="32"/>
                    </a:lnTo>
                    <a:lnTo>
                      <a:pt x="26" y="31"/>
                    </a:lnTo>
                    <a:lnTo>
                      <a:pt x="28" y="31"/>
                    </a:lnTo>
                    <a:lnTo>
                      <a:pt x="28" y="29"/>
                    </a:lnTo>
                    <a:lnTo>
                      <a:pt x="28" y="27"/>
                    </a:lnTo>
                    <a:lnTo>
                      <a:pt x="29" y="26"/>
                    </a:lnTo>
                    <a:lnTo>
                      <a:pt x="29" y="24"/>
                    </a:lnTo>
                    <a:lnTo>
                      <a:pt x="31" y="24"/>
                    </a:lnTo>
                    <a:lnTo>
                      <a:pt x="33" y="24"/>
                    </a:lnTo>
                    <a:lnTo>
                      <a:pt x="34" y="24"/>
                    </a:lnTo>
                    <a:lnTo>
                      <a:pt x="36" y="24"/>
                    </a:lnTo>
                    <a:lnTo>
                      <a:pt x="36" y="22"/>
                    </a:lnTo>
                    <a:lnTo>
                      <a:pt x="38" y="22"/>
                    </a:lnTo>
                    <a:lnTo>
                      <a:pt x="40" y="21"/>
                    </a:lnTo>
                    <a:lnTo>
                      <a:pt x="40" y="19"/>
                    </a:lnTo>
                    <a:lnTo>
                      <a:pt x="41" y="19"/>
                    </a:lnTo>
                    <a:lnTo>
                      <a:pt x="43" y="19"/>
                    </a:lnTo>
                    <a:lnTo>
                      <a:pt x="43" y="17"/>
                    </a:lnTo>
                    <a:lnTo>
                      <a:pt x="45" y="17"/>
                    </a:lnTo>
                    <a:lnTo>
                      <a:pt x="46" y="17"/>
                    </a:lnTo>
                    <a:lnTo>
                      <a:pt x="46" y="15"/>
                    </a:lnTo>
                    <a:lnTo>
                      <a:pt x="48" y="15"/>
                    </a:lnTo>
                    <a:lnTo>
                      <a:pt x="48" y="14"/>
                    </a:lnTo>
                    <a:lnTo>
                      <a:pt x="48" y="12"/>
                    </a:lnTo>
                    <a:lnTo>
                      <a:pt x="50" y="10"/>
                    </a:lnTo>
                    <a:lnTo>
                      <a:pt x="53" y="10"/>
                    </a:lnTo>
                    <a:lnTo>
                      <a:pt x="53" y="9"/>
                    </a:lnTo>
                    <a:lnTo>
                      <a:pt x="55" y="9"/>
                    </a:lnTo>
                    <a:lnTo>
                      <a:pt x="53" y="7"/>
                    </a:lnTo>
                    <a:lnTo>
                      <a:pt x="51" y="4"/>
                    </a:lnTo>
                    <a:lnTo>
                      <a:pt x="50" y="2"/>
                    </a:lnTo>
                    <a:lnTo>
                      <a:pt x="48" y="0"/>
                    </a:lnTo>
                    <a:lnTo>
                      <a:pt x="50" y="0"/>
                    </a:lnTo>
                    <a:lnTo>
                      <a:pt x="50" y="2"/>
                    </a:lnTo>
                    <a:lnTo>
                      <a:pt x="51" y="2"/>
                    </a:lnTo>
                    <a:lnTo>
                      <a:pt x="51" y="4"/>
                    </a:lnTo>
                    <a:lnTo>
                      <a:pt x="53" y="5"/>
                    </a:lnTo>
                    <a:lnTo>
                      <a:pt x="55" y="5"/>
                    </a:lnTo>
                    <a:lnTo>
                      <a:pt x="57" y="5"/>
                    </a:lnTo>
                    <a:lnTo>
                      <a:pt x="55" y="5"/>
                    </a:lnTo>
                    <a:lnTo>
                      <a:pt x="55" y="4"/>
                    </a:lnTo>
                    <a:lnTo>
                      <a:pt x="57" y="4"/>
                    </a:lnTo>
                    <a:lnTo>
                      <a:pt x="57" y="5"/>
                    </a:lnTo>
                    <a:lnTo>
                      <a:pt x="58" y="5"/>
                    </a:lnTo>
                    <a:lnTo>
                      <a:pt x="60" y="5"/>
                    </a:lnTo>
                    <a:lnTo>
                      <a:pt x="60" y="7"/>
                    </a:lnTo>
                    <a:lnTo>
                      <a:pt x="62" y="7"/>
                    </a:lnTo>
                    <a:lnTo>
                      <a:pt x="62" y="9"/>
                    </a:lnTo>
                    <a:lnTo>
                      <a:pt x="63" y="9"/>
                    </a:lnTo>
                    <a:lnTo>
                      <a:pt x="65" y="9"/>
                    </a:lnTo>
                    <a:lnTo>
                      <a:pt x="65" y="10"/>
                    </a:lnTo>
                    <a:lnTo>
                      <a:pt x="67" y="10"/>
                    </a:lnTo>
                    <a:lnTo>
                      <a:pt x="68" y="10"/>
                    </a:lnTo>
                    <a:lnTo>
                      <a:pt x="68" y="12"/>
                    </a:lnTo>
                    <a:lnTo>
                      <a:pt x="70" y="12"/>
                    </a:lnTo>
                    <a:lnTo>
                      <a:pt x="72" y="14"/>
                    </a:lnTo>
                    <a:lnTo>
                      <a:pt x="74" y="14"/>
                    </a:lnTo>
                    <a:lnTo>
                      <a:pt x="75" y="15"/>
                    </a:lnTo>
                    <a:lnTo>
                      <a:pt x="77" y="15"/>
                    </a:lnTo>
                    <a:lnTo>
                      <a:pt x="77" y="17"/>
                    </a:lnTo>
                    <a:lnTo>
                      <a:pt x="79" y="17"/>
                    </a:lnTo>
                    <a:lnTo>
                      <a:pt x="79" y="19"/>
                    </a:lnTo>
                    <a:lnTo>
                      <a:pt x="80" y="21"/>
                    </a:lnTo>
                    <a:lnTo>
                      <a:pt x="82" y="21"/>
                    </a:lnTo>
                    <a:lnTo>
                      <a:pt x="82" y="22"/>
                    </a:lnTo>
                    <a:lnTo>
                      <a:pt x="84" y="24"/>
                    </a:lnTo>
                    <a:lnTo>
                      <a:pt x="85" y="26"/>
                    </a:lnTo>
                    <a:lnTo>
                      <a:pt x="87" y="27"/>
                    </a:lnTo>
                    <a:lnTo>
                      <a:pt x="89" y="27"/>
                    </a:lnTo>
                    <a:lnTo>
                      <a:pt x="89" y="29"/>
                    </a:lnTo>
                    <a:lnTo>
                      <a:pt x="89" y="31"/>
                    </a:lnTo>
                    <a:lnTo>
                      <a:pt x="91" y="31"/>
                    </a:lnTo>
                    <a:lnTo>
                      <a:pt x="91" y="32"/>
                    </a:lnTo>
                    <a:lnTo>
                      <a:pt x="91" y="31"/>
                    </a:lnTo>
                    <a:lnTo>
                      <a:pt x="92" y="31"/>
                    </a:lnTo>
                    <a:lnTo>
                      <a:pt x="92" y="32"/>
                    </a:lnTo>
                    <a:lnTo>
                      <a:pt x="94" y="32"/>
                    </a:lnTo>
                    <a:lnTo>
                      <a:pt x="94" y="34"/>
                    </a:lnTo>
                    <a:lnTo>
                      <a:pt x="96" y="36"/>
                    </a:lnTo>
                    <a:lnTo>
                      <a:pt x="97" y="38"/>
                    </a:lnTo>
                    <a:lnTo>
                      <a:pt x="97" y="39"/>
                    </a:lnTo>
                    <a:lnTo>
                      <a:pt x="99" y="39"/>
                    </a:lnTo>
                    <a:lnTo>
                      <a:pt x="99" y="41"/>
                    </a:lnTo>
                    <a:lnTo>
                      <a:pt x="99" y="43"/>
                    </a:lnTo>
                    <a:lnTo>
                      <a:pt x="99" y="44"/>
                    </a:lnTo>
                    <a:lnTo>
                      <a:pt x="99" y="46"/>
                    </a:lnTo>
                    <a:lnTo>
                      <a:pt x="99" y="48"/>
                    </a:lnTo>
                    <a:lnTo>
                      <a:pt x="99" y="49"/>
                    </a:lnTo>
                    <a:lnTo>
                      <a:pt x="99" y="51"/>
                    </a:lnTo>
                    <a:lnTo>
                      <a:pt x="99" y="53"/>
                    </a:lnTo>
                    <a:lnTo>
                      <a:pt x="97" y="53"/>
                    </a:lnTo>
                    <a:lnTo>
                      <a:pt x="97" y="55"/>
                    </a:lnTo>
                    <a:lnTo>
                      <a:pt x="96" y="55"/>
                    </a:lnTo>
                    <a:lnTo>
                      <a:pt x="96" y="56"/>
                    </a:lnTo>
                    <a:lnTo>
                      <a:pt x="96" y="58"/>
                    </a:lnTo>
                    <a:lnTo>
                      <a:pt x="96" y="60"/>
                    </a:lnTo>
                    <a:lnTo>
                      <a:pt x="96" y="61"/>
                    </a:lnTo>
                    <a:lnTo>
                      <a:pt x="94" y="61"/>
                    </a:lnTo>
                    <a:lnTo>
                      <a:pt x="94" y="63"/>
                    </a:lnTo>
                    <a:lnTo>
                      <a:pt x="94" y="65"/>
                    </a:lnTo>
                    <a:lnTo>
                      <a:pt x="94" y="66"/>
                    </a:lnTo>
                    <a:lnTo>
                      <a:pt x="94" y="68"/>
                    </a:lnTo>
                    <a:lnTo>
                      <a:pt x="94" y="70"/>
                    </a:lnTo>
                    <a:lnTo>
                      <a:pt x="94" y="72"/>
                    </a:lnTo>
                    <a:lnTo>
                      <a:pt x="92" y="72"/>
                    </a:lnTo>
                    <a:lnTo>
                      <a:pt x="92" y="73"/>
                    </a:lnTo>
                    <a:lnTo>
                      <a:pt x="91" y="73"/>
                    </a:lnTo>
                    <a:lnTo>
                      <a:pt x="92" y="73"/>
                    </a:lnTo>
                    <a:lnTo>
                      <a:pt x="94" y="73"/>
                    </a:lnTo>
                    <a:lnTo>
                      <a:pt x="94" y="72"/>
                    </a:lnTo>
                    <a:lnTo>
                      <a:pt x="94" y="73"/>
                    </a:lnTo>
                    <a:lnTo>
                      <a:pt x="96" y="75"/>
                    </a:lnTo>
                    <a:lnTo>
                      <a:pt x="96" y="73"/>
                    </a:lnTo>
                    <a:lnTo>
                      <a:pt x="96" y="72"/>
                    </a:lnTo>
                    <a:lnTo>
                      <a:pt x="96" y="70"/>
                    </a:lnTo>
                    <a:lnTo>
                      <a:pt x="96" y="68"/>
                    </a:lnTo>
                    <a:lnTo>
                      <a:pt x="96" y="66"/>
                    </a:lnTo>
                    <a:lnTo>
                      <a:pt x="96" y="65"/>
                    </a:lnTo>
                    <a:lnTo>
                      <a:pt x="96" y="63"/>
                    </a:lnTo>
                    <a:lnTo>
                      <a:pt x="97" y="63"/>
                    </a:lnTo>
                    <a:lnTo>
                      <a:pt x="97" y="61"/>
                    </a:lnTo>
                    <a:lnTo>
                      <a:pt x="97" y="60"/>
                    </a:lnTo>
                    <a:lnTo>
                      <a:pt x="99" y="60"/>
                    </a:lnTo>
                    <a:lnTo>
                      <a:pt x="99" y="58"/>
                    </a:lnTo>
                    <a:lnTo>
                      <a:pt x="101" y="58"/>
                    </a:lnTo>
                    <a:lnTo>
                      <a:pt x="101" y="56"/>
                    </a:lnTo>
                    <a:lnTo>
                      <a:pt x="102" y="56"/>
                    </a:lnTo>
                    <a:lnTo>
                      <a:pt x="104" y="56"/>
                    </a:lnTo>
                    <a:lnTo>
                      <a:pt x="106" y="56"/>
                    </a:lnTo>
                    <a:lnTo>
                      <a:pt x="108" y="56"/>
                    </a:lnTo>
                    <a:lnTo>
                      <a:pt x="108" y="58"/>
                    </a:lnTo>
                    <a:lnTo>
                      <a:pt x="109" y="58"/>
                    </a:lnTo>
                    <a:lnTo>
                      <a:pt x="111" y="58"/>
                    </a:lnTo>
                    <a:lnTo>
                      <a:pt x="113" y="58"/>
                    </a:lnTo>
                    <a:lnTo>
                      <a:pt x="114" y="58"/>
                    </a:lnTo>
                    <a:lnTo>
                      <a:pt x="114" y="60"/>
                    </a:lnTo>
                    <a:lnTo>
                      <a:pt x="116" y="60"/>
                    </a:lnTo>
                    <a:lnTo>
                      <a:pt x="116" y="61"/>
                    </a:lnTo>
                    <a:lnTo>
                      <a:pt x="118" y="61"/>
                    </a:lnTo>
                    <a:lnTo>
                      <a:pt x="119" y="61"/>
                    </a:lnTo>
                    <a:lnTo>
                      <a:pt x="119" y="63"/>
                    </a:lnTo>
                    <a:lnTo>
                      <a:pt x="121" y="63"/>
                    </a:lnTo>
                    <a:lnTo>
                      <a:pt x="121" y="65"/>
                    </a:lnTo>
                    <a:lnTo>
                      <a:pt x="123" y="66"/>
                    </a:lnTo>
                    <a:lnTo>
                      <a:pt x="125" y="66"/>
                    </a:lnTo>
                    <a:lnTo>
                      <a:pt x="125" y="68"/>
                    </a:lnTo>
                    <a:lnTo>
                      <a:pt x="126" y="68"/>
                    </a:lnTo>
                    <a:lnTo>
                      <a:pt x="126" y="70"/>
                    </a:lnTo>
                    <a:lnTo>
                      <a:pt x="128" y="70"/>
                    </a:lnTo>
                    <a:lnTo>
                      <a:pt x="128" y="72"/>
                    </a:lnTo>
                    <a:lnTo>
                      <a:pt x="130" y="72"/>
                    </a:lnTo>
                    <a:lnTo>
                      <a:pt x="130" y="73"/>
                    </a:lnTo>
                    <a:lnTo>
                      <a:pt x="130" y="75"/>
                    </a:lnTo>
                    <a:lnTo>
                      <a:pt x="131" y="77"/>
                    </a:lnTo>
                    <a:lnTo>
                      <a:pt x="131" y="75"/>
                    </a:lnTo>
                    <a:lnTo>
                      <a:pt x="133" y="75"/>
                    </a:lnTo>
                    <a:lnTo>
                      <a:pt x="135" y="75"/>
                    </a:lnTo>
                    <a:lnTo>
                      <a:pt x="136" y="75"/>
                    </a:lnTo>
                    <a:lnTo>
                      <a:pt x="136" y="77"/>
                    </a:lnTo>
                    <a:lnTo>
                      <a:pt x="138" y="77"/>
                    </a:lnTo>
                    <a:lnTo>
                      <a:pt x="140" y="78"/>
                    </a:lnTo>
                    <a:lnTo>
                      <a:pt x="142" y="80"/>
                    </a:lnTo>
                    <a:lnTo>
                      <a:pt x="142" y="82"/>
                    </a:lnTo>
                    <a:lnTo>
                      <a:pt x="143" y="82"/>
                    </a:lnTo>
                    <a:lnTo>
                      <a:pt x="143" y="83"/>
                    </a:lnTo>
                    <a:lnTo>
                      <a:pt x="143" y="85"/>
                    </a:lnTo>
                    <a:lnTo>
                      <a:pt x="145" y="87"/>
                    </a:lnTo>
                    <a:lnTo>
                      <a:pt x="143" y="87"/>
                    </a:lnTo>
                    <a:lnTo>
                      <a:pt x="145" y="87"/>
                    </a:lnTo>
                    <a:lnTo>
                      <a:pt x="145" y="89"/>
                    </a:lnTo>
                    <a:lnTo>
                      <a:pt x="145" y="90"/>
                    </a:lnTo>
                    <a:lnTo>
                      <a:pt x="143" y="90"/>
                    </a:lnTo>
                    <a:lnTo>
                      <a:pt x="143" y="92"/>
                    </a:lnTo>
                    <a:lnTo>
                      <a:pt x="143" y="94"/>
                    </a:lnTo>
                    <a:lnTo>
                      <a:pt x="143" y="95"/>
                    </a:lnTo>
                    <a:lnTo>
                      <a:pt x="143" y="97"/>
                    </a:lnTo>
                    <a:close/>
                    <a:moveTo>
                      <a:pt x="96" y="61"/>
                    </a:moveTo>
                    <a:lnTo>
                      <a:pt x="96" y="60"/>
                    </a:lnTo>
                    <a:lnTo>
                      <a:pt x="97" y="58"/>
                    </a:lnTo>
                    <a:lnTo>
                      <a:pt x="97" y="56"/>
                    </a:lnTo>
                    <a:lnTo>
                      <a:pt x="99" y="56"/>
                    </a:lnTo>
                    <a:lnTo>
                      <a:pt x="97" y="58"/>
                    </a:lnTo>
                    <a:lnTo>
                      <a:pt x="97" y="60"/>
                    </a:lnTo>
                    <a:lnTo>
                      <a:pt x="96" y="60"/>
                    </a:lnTo>
                    <a:lnTo>
                      <a:pt x="96" y="61"/>
                    </a:lnTo>
                    <a:close/>
                    <a:moveTo>
                      <a:pt x="97" y="56"/>
                    </a:moveTo>
                    <a:lnTo>
                      <a:pt x="97" y="55"/>
                    </a:lnTo>
                    <a:lnTo>
                      <a:pt x="99" y="55"/>
                    </a:lnTo>
                    <a:lnTo>
                      <a:pt x="99" y="53"/>
                    </a:lnTo>
                    <a:lnTo>
                      <a:pt x="101" y="53"/>
                    </a:lnTo>
                    <a:lnTo>
                      <a:pt x="101" y="51"/>
                    </a:lnTo>
                    <a:lnTo>
                      <a:pt x="101" y="53"/>
                    </a:lnTo>
                    <a:lnTo>
                      <a:pt x="102" y="53"/>
                    </a:lnTo>
                    <a:lnTo>
                      <a:pt x="101" y="53"/>
                    </a:lnTo>
                    <a:lnTo>
                      <a:pt x="99" y="55"/>
                    </a:lnTo>
                    <a:lnTo>
                      <a:pt x="97" y="56"/>
                    </a:lnTo>
                    <a:close/>
                    <a:moveTo>
                      <a:pt x="102" y="53"/>
                    </a:moveTo>
                    <a:lnTo>
                      <a:pt x="104" y="53"/>
                    </a:lnTo>
                    <a:lnTo>
                      <a:pt x="102" y="55"/>
                    </a:lnTo>
                    <a:lnTo>
                      <a:pt x="101" y="55"/>
                    </a:lnTo>
                    <a:lnTo>
                      <a:pt x="101" y="56"/>
                    </a:lnTo>
                    <a:lnTo>
                      <a:pt x="99" y="56"/>
                    </a:lnTo>
                    <a:lnTo>
                      <a:pt x="99" y="55"/>
                    </a:lnTo>
                    <a:lnTo>
                      <a:pt x="101" y="55"/>
                    </a:lnTo>
                    <a:lnTo>
                      <a:pt x="101" y="53"/>
                    </a:lnTo>
                    <a:lnTo>
                      <a:pt x="102" y="53"/>
                    </a:lnTo>
                    <a:close/>
                    <a:moveTo>
                      <a:pt x="96" y="58"/>
                    </a:moveTo>
                    <a:lnTo>
                      <a:pt x="96" y="56"/>
                    </a:lnTo>
                    <a:lnTo>
                      <a:pt x="97" y="55"/>
                    </a:lnTo>
                    <a:lnTo>
                      <a:pt x="99" y="55"/>
                    </a:lnTo>
                    <a:lnTo>
                      <a:pt x="97" y="55"/>
                    </a:lnTo>
                    <a:lnTo>
                      <a:pt x="97" y="56"/>
                    </a:lnTo>
                    <a:lnTo>
                      <a:pt x="96" y="56"/>
                    </a:lnTo>
                    <a:lnTo>
                      <a:pt x="96" y="58"/>
                    </a:lnTo>
                    <a:close/>
                    <a:moveTo>
                      <a:pt x="99" y="49"/>
                    </a:moveTo>
                    <a:lnTo>
                      <a:pt x="99" y="51"/>
                    </a:lnTo>
                    <a:lnTo>
                      <a:pt x="99" y="49"/>
                    </a:lnTo>
                    <a:close/>
                    <a:moveTo>
                      <a:pt x="97" y="60"/>
                    </a:moveTo>
                    <a:lnTo>
                      <a:pt x="97" y="61"/>
                    </a:lnTo>
                    <a:lnTo>
                      <a:pt x="97" y="60"/>
                    </a:lnTo>
                    <a:close/>
                    <a:moveTo>
                      <a:pt x="96" y="56"/>
                    </a:moveTo>
                    <a:lnTo>
                      <a:pt x="97" y="56"/>
                    </a:lnTo>
                    <a:lnTo>
                      <a:pt x="97" y="58"/>
                    </a:lnTo>
                    <a:lnTo>
                      <a:pt x="96" y="58"/>
                    </a:lnTo>
                    <a:lnTo>
                      <a:pt x="96" y="56"/>
                    </a:lnTo>
                    <a:close/>
                    <a:moveTo>
                      <a:pt x="96" y="58"/>
                    </a:moveTo>
                    <a:lnTo>
                      <a:pt x="96" y="60"/>
                    </a:lnTo>
                    <a:lnTo>
                      <a:pt x="96" y="58"/>
                    </a:lnTo>
                    <a:close/>
                    <a:moveTo>
                      <a:pt x="97" y="53"/>
                    </a:moveTo>
                    <a:lnTo>
                      <a:pt x="97" y="55"/>
                    </a:lnTo>
                    <a:lnTo>
                      <a:pt x="97" y="53"/>
                    </a:lnTo>
                    <a:close/>
                    <a:moveTo>
                      <a:pt x="96" y="61"/>
                    </a:moveTo>
                    <a:lnTo>
                      <a:pt x="97" y="61"/>
                    </a:lnTo>
                    <a:lnTo>
                      <a:pt x="96" y="61"/>
                    </a:lnTo>
                    <a:close/>
                    <a:moveTo>
                      <a:pt x="96" y="56"/>
                    </a:moveTo>
                    <a:lnTo>
                      <a:pt x="96" y="58"/>
                    </a:lnTo>
                    <a:lnTo>
                      <a:pt x="96" y="56"/>
                    </a:lnTo>
                    <a:close/>
                    <a:moveTo>
                      <a:pt x="96" y="63"/>
                    </a:moveTo>
                    <a:lnTo>
                      <a:pt x="96" y="65"/>
                    </a:lnTo>
                    <a:lnTo>
                      <a:pt x="96" y="63"/>
                    </a:lnTo>
                    <a:close/>
                    <a:moveTo>
                      <a:pt x="97" y="60"/>
                    </a:moveTo>
                    <a:lnTo>
                      <a:pt x="97" y="61"/>
                    </a:lnTo>
                    <a:lnTo>
                      <a:pt x="97" y="60"/>
                    </a:lnTo>
                    <a:close/>
                    <a:moveTo>
                      <a:pt x="96" y="73"/>
                    </a:moveTo>
                    <a:lnTo>
                      <a:pt x="96" y="75"/>
                    </a:lnTo>
                    <a:lnTo>
                      <a:pt x="96" y="73"/>
                    </a:lnTo>
                    <a:close/>
                    <a:moveTo>
                      <a:pt x="96" y="63"/>
                    </a:moveTo>
                    <a:lnTo>
                      <a:pt x="96" y="65"/>
                    </a:lnTo>
                    <a:lnTo>
                      <a:pt x="96" y="63"/>
                    </a:lnTo>
                    <a:close/>
                    <a:moveTo>
                      <a:pt x="94" y="61"/>
                    </a:moveTo>
                    <a:lnTo>
                      <a:pt x="96" y="61"/>
                    </a:lnTo>
                    <a:lnTo>
                      <a:pt x="96" y="63"/>
                    </a:lnTo>
                    <a:lnTo>
                      <a:pt x="94" y="63"/>
                    </a:lnTo>
                    <a:lnTo>
                      <a:pt x="94" y="61"/>
                    </a:lnTo>
                    <a:close/>
                    <a:moveTo>
                      <a:pt x="96" y="60"/>
                    </a:moveTo>
                    <a:lnTo>
                      <a:pt x="96" y="61"/>
                    </a:lnTo>
                    <a:lnTo>
                      <a:pt x="96" y="60"/>
                    </a:lnTo>
                    <a:close/>
                    <a:moveTo>
                      <a:pt x="96" y="58"/>
                    </a:moveTo>
                    <a:lnTo>
                      <a:pt x="96" y="60"/>
                    </a:lnTo>
                    <a:lnTo>
                      <a:pt x="96" y="58"/>
                    </a:lnTo>
                    <a:close/>
                    <a:moveTo>
                      <a:pt x="94" y="66"/>
                    </a:moveTo>
                    <a:lnTo>
                      <a:pt x="94" y="68"/>
                    </a:lnTo>
                    <a:lnTo>
                      <a:pt x="94" y="66"/>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8" name="Freeform 36">
                <a:extLst>
                  <a:ext uri="{FF2B5EF4-FFF2-40B4-BE49-F238E27FC236}">
                    <a16:creationId xmlns:a16="http://schemas.microsoft.com/office/drawing/2014/main" id="{68021579-1544-B4A1-F688-FABC0316B33D}"/>
                  </a:ext>
                </a:extLst>
              </p:cNvPr>
              <p:cNvSpPr>
                <a:spLocks/>
              </p:cNvSpPr>
              <p:nvPr/>
            </p:nvSpPr>
            <p:spPr bwMode="auto">
              <a:xfrm>
                <a:off x="6526213" y="2271713"/>
                <a:ext cx="96837" cy="101600"/>
              </a:xfrm>
              <a:custGeom>
                <a:avLst/>
                <a:gdLst>
                  <a:gd name="T0" fmla="*/ 56 w 61"/>
                  <a:gd name="T1" fmla="*/ 49 h 64"/>
                  <a:gd name="T2" fmla="*/ 53 w 61"/>
                  <a:gd name="T3" fmla="*/ 51 h 64"/>
                  <a:gd name="T4" fmla="*/ 49 w 61"/>
                  <a:gd name="T5" fmla="*/ 51 h 64"/>
                  <a:gd name="T6" fmla="*/ 44 w 61"/>
                  <a:gd name="T7" fmla="*/ 51 h 64"/>
                  <a:gd name="T8" fmla="*/ 41 w 61"/>
                  <a:gd name="T9" fmla="*/ 47 h 64"/>
                  <a:gd name="T10" fmla="*/ 38 w 61"/>
                  <a:gd name="T11" fmla="*/ 47 h 64"/>
                  <a:gd name="T12" fmla="*/ 34 w 61"/>
                  <a:gd name="T13" fmla="*/ 47 h 64"/>
                  <a:gd name="T14" fmla="*/ 32 w 61"/>
                  <a:gd name="T15" fmla="*/ 49 h 64"/>
                  <a:gd name="T16" fmla="*/ 31 w 61"/>
                  <a:gd name="T17" fmla="*/ 52 h 64"/>
                  <a:gd name="T18" fmla="*/ 27 w 61"/>
                  <a:gd name="T19" fmla="*/ 57 h 64"/>
                  <a:gd name="T20" fmla="*/ 21 w 61"/>
                  <a:gd name="T21" fmla="*/ 57 h 64"/>
                  <a:gd name="T22" fmla="*/ 19 w 61"/>
                  <a:gd name="T23" fmla="*/ 57 h 64"/>
                  <a:gd name="T24" fmla="*/ 15 w 61"/>
                  <a:gd name="T25" fmla="*/ 59 h 64"/>
                  <a:gd name="T26" fmla="*/ 12 w 61"/>
                  <a:gd name="T27" fmla="*/ 59 h 64"/>
                  <a:gd name="T28" fmla="*/ 12 w 61"/>
                  <a:gd name="T29" fmla="*/ 63 h 64"/>
                  <a:gd name="T30" fmla="*/ 9 w 61"/>
                  <a:gd name="T31" fmla="*/ 64 h 64"/>
                  <a:gd name="T32" fmla="*/ 5 w 61"/>
                  <a:gd name="T33" fmla="*/ 63 h 64"/>
                  <a:gd name="T34" fmla="*/ 2 w 61"/>
                  <a:gd name="T35" fmla="*/ 63 h 64"/>
                  <a:gd name="T36" fmla="*/ 2 w 61"/>
                  <a:gd name="T37" fmla="*/ 59 h 64"/>
                  <a:gd name="T38" fmla="*/ 4 w 61"/>
                  <a:gd name="T39" fmla="*/ 54 h 64"/>
                  <a:gd name="T40" fmla="*/ 7 w 61"/>
                  <a:gd name="T41" fmla="*/ 54 h 64"/>
                  <a:gd name="T42" fmla="*/ 14 w 61"/>
                  <a:gd name="T43" fmla="*/ 54 h 64"/>
                  <a:gd name="T44" fmla="*/ 14 w 61"/>
                  <a:gd name="T45" fmla="*/ 47 h 64"/>
                  <a:gd name="T46" fmla="*/ 14 w 61"/>
                  <a:gd name="T47" fmla="*/ 44 h 64"/>
                  <a:gd name="T48" fmla="*/ 14 w 61"/>
                  <a:gd name="T49" fmla="*/ 42 h 64"/>
                  <a:gd name="T50" fmla="*/ 14 w 61"/>
                  <a:gd name="T51" fmla="*/ 37 h 64"/>
                  <a:gd name="T52" fmla="*/ 15 w 61"/>
                  <a:gd name="T53" fmla="*/ 34 h 64"/>
                  <a:gd name="T54" fmla="*/ 15 w 61"/>
                  <a:gd name="T55" fmla="*/ 34 h 64"/>
                  <a:gd name="T56" fmla="*/ 19 w 61"/>
                  <a:gd name="T57" fmla="*/ 30 h 64"/>
                  <a:gd name="T58" fmla="*/ 22 w 61"/>
                  <a:gd name="T59" fmla="*/ 27 h 64"/>
                  <a:gd name="T60" fmla="*/ 24 w 61"/>
                  <a:gd name="T61" fmla="*/ 23 h 64"/>
                  <a:gd name="T62" fmla="*/ 27 w 61"/>
                  <a:gd name="T63" fmla="*/ 23 h 64"/>
                  <a:gd name="T64" fmla="*/ 31 w 61"/>
                  <a:gd name="T65" fmla="*/ 20 h 64"/>
                  <a:gd name="T66" fmla="*/ 29 w 61"/>
                  <a:gd name="T67" fmla="*/ 17 h 64"/>
                  <a:gd name="T68" fmla="*/ 29 w 61"/>
                  <a:gd name="T69" fmla="*/ 13 h 64"/>
                  <a:gd name="T70" fmla="*/ 24 w 61"/>
                  <a:gd name="T71" fmla="*/ 10 h 64"/>
                  <a:gd name="T72" fmla="*/ 26 w 61"/>
                  <a:gd name="T73" fmla="*/ 3 h 64"/>
                  <a:gd name="T74" fmla="*/ 27 w 61"/>
                  <a:gd name="T75" fmla="*/ 1 h 64"/>
                  <a:gd name="T76" fmla="*/ 31 w 61"/>
                  <a:gd name="T77" fmla="*/ 1 h 64"/>
                  <a:gd name="T78" fmla="*/ 36 w 61"/>
                  <a:gd name="T79" fmla="*/ 1 h 64"/>
                  <a:gd name="T80" fmla="*/ 34 w 61"/>
                  <a:gd name="T81" fmla="*/ 3 h 64"/>
                  <a:gd name="T82" fmla="*/ 34 w 61"/>
                  <a:gd name="T83" fmla="*/ 8 h 64"/>
                  <a:gd name="T84" fmla="*/ 38 w 61"/>
                  <a:gd name="T85" fmla="*/ 8 h 64"/>
                  <a:gd name="T86" fmla="*/ 38 w 61"/>
                  <a:gd name="T87" fmla="*/ 12 h 64"/>
                  <a:gd name="T88" fmla="*/ 38 w 61"/>
                  <a:gd name="T89" fmla="*/ 15 h 64"/>
                  <a:gd name="T90" fmla="*/ 38 w 61"/>
                  <a:gd name="T91" fmla="*/ 18 h 64"/>
                  <a:gd name="T92" fmla="*/ 39 w 61"/>
                  <a:gd name="T93" fmla="*/ 20 h 64"/>
                  <a:gd name="T94" fmla="*/ 41 w 61"/>
                  <a:gd name="T95" fmla="*/ 22 h 64"/>
                  <a:gd name="T96" fmla="*/ 44 w 61"/>
                  <a:gd name="T97" fmla="*/ 27 h 64"/>
                  <a:gd name="T98" fmla="*/ 48 w 61"/>
                  <a:gd name="T99" fmla="*/ 30 h 64"/>
                  <a:gd name="T100" fmla="*/ 48 w 61"/>
                  <a:gd name="T101" fmla="*/ 34 h 64"/>
                  <a:gd name="T102" fmla="*/ 51 w 61"/>
                  <a:gd name="T103" fmla="*/ 39 h 64"/>
                  <a:gd name="T104" fmla="*/ 53 w 61"/>
                  <a:gd name="T105" fmla="*/ 44 h 64"/>
                  <a:gd name="T106" fmla="*/ 56 w 61"/>
                  <a:gd name="T107" fmla="*/ 47 h 64"/>
                  <a:gd name="T108" fmla="*/ 61 w 61"/>
                  <a:gd name="T109" fmla="*/ 4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 h="64">
                    <a:moveTo>
                      <a:pt x="61" y="49"/>
                    </a:moveTo>
                    <a:lnTo>
                      <a:pt x="60" y="51"/>
                    </a:lnTo>
                    <a:lnTo>
                      <a:pt x="58" y="49"/>
                    </a:lnTo>
                    <a:lnTo>
                      <a:pt x="56" y="49"/>
                    </a:lnTo>
                    <a:lnTo>
                      <a:pt x="56" y="51"/>
                    </a:lnTo>
                    <a:lnTo>
                      <a:pt x="55" y="51"/>
                    </a:lnTo>
                    <a:lnTo>
                      <a:pt x="55" y="49"/>
                    </a:lnTo>
                    <a:lnTo>
                      <a:pt x="53" y="51"/>
                    </a:lnTo>
                    <a:lnTo>
                      <a:pt x="53" y="52"/>
                    </a:lnTo>
                    <a:lnTo>
                      <a:pt x="51" y="52"/>
                    </a:lnTo>
                    <a:lnTo>
                      <a:pt x="51" y="51"/>
                    </a:lnTo>
                    <a:lnTo>
                      <a:pt x="49" y="51"/>
                    </a:lnTo>
                    <a:lnTo>
                      <a:pt x="48" y="51"/>
                    </a:lnTo>
                    <a:lnTo>
                      <a:pt x="48" y="49"/>
                    </a:lnTo>
                    <a:lnTo>
                      <a:pt x="46" y="51"/>
                    </a:lnTo>
                    <a:lnTo>
                      <a:pt x="44" y="51"/>
                    </a:lnTo>
                    <a:lnTo>
                      <a:pt x="44" y="49"/>
                    </a:lnTo>
                    <a:lnTo>
                      <a:pt x="43" y="49"/>
                    </a:lnTo>
                    <a:lnTo>
                      <a:pt x="43" y="47"/>
                    </a:lnTo>
                    <a:lnTo>
                      <a:pt x="41" y="47"/>
                    </a:lnTo>
                    <a:lnTo>
                      <a:pt x="41" y="46"/>
                    </a:lnTo>
                    <a:lnTo>
                      <a:pt x="41" y="47"/>
                    </a:lnTo>
                    <a:lnTo>
                      <a:pt x="39" y="47"/>
                    </a:lnTo>
                    <a:lnTo>
                      <a:pt x="38" y="47"/>
                    </a:lnTo>
                    <a:lnTo>
                      <a:pt x="38" y="49"/>
                    </a:lnTo>
                    <a:lnTo>
                      <a:pt x="36" y="49"/>
                    </a:lnTo>
                    <a:lnTo>
                      <a:pt x="36" y="47"/>
                    </a:lnTo>
                    <a:lnTo>
                      <a:pt x="34" y="47"/>
                    </a:lnTo>
                    <a:lnTo>
                      <a:pt x="32" y="47"/>
                    </a:lnTo>
                    <a:lnTo>
                      <a:pt x="32" y="49"/>
                    </a:lnTo>
                    <a:lnTo>
                      <a:pt x="32" y="51"/>
                    </a:lnTo>
                    <a:lnTo>
                      <a:pt x="32" y="49"/>
                    </a:lnTo>
                    <a:lnTo>
                      <a:pt x="31" y="51"/>
                    </a:lnTo>
                    <a:lnTo>
                      <a:pt x="31" y="52"/>
                    </a:lnTo>
                    <a:lnTo>
                      <a:pt x="29" y="52"/>
                    </a:lnTo>
                    <a:lnTo>
                      <a:pt x="31" y="52"/>
                    </a:lnTo>
                    <a:lnTo>
                      <a:pt x="29" y="54"/>
                    </a:lnTo>
                    <a:lnTo>
                      <a:pt x="27" y="54"/>
                    </a:lnTo>
                    <a:lnTo>
                      <a:pt x="27" y="56"/>
                    </a:lnTo>
                    <a:lnTo>
                      <a:pt x="27" y="57"/>
                    </a:lnTo>
                    <a:lnTo>
                      <a:pt x="26" y="57"/>
                    </a:lnTo>
                    <a:lnTo>
                      <a:pt x="24" y="57"/>
                    </a:lnTo>
                    <a:lnTo>
                      <a:pt x="22" y="57"/>
                    </a:lnTo>
                    <a:lnTo>
                      <a:pt x="21" y="57"/>
                    </a:lnTo>
                    <a:lnTo>
                      <a:pt x="21" y="56"/>
                    </a:lnTo>
                    <a:lnTo>
                      <a:pt x="21" y="57"/>
                    </a:lnTo>
                    <a:lnTo>
                      <a:pt x="21" y="56"/>
                    </a:lnTo>
                    <a:lnTo>
                      <a:pt x="19" y="57"/>
                    </a:lnTo>
                    <a:lnTo>
                      <a:pt x="19" y="56"/>
                    </a:lnTo>
                    <a:lnTo>
                      <a:pt x="19" y="57"/>
                    </a:lnTo>
                    <a:lnTo>
                      <a:pt x="17" y="57"/>
                    </a:lnTo>
                    <a:lnTo>
                      <a:pt x="15" y="59"/>
                    </a:lnTo>
                    <a:lnTo>
                      <a:pt x="15" y="57"/>
                    </a:lnTo>
                    <a:lnTo>
                      <a:pt x="15" y="59"/>
                    </a:lnTo>
                    <a:lnTo>
                      <a:pt x="14" y="59"/>
                    </a:lnTo>
                    <a:lnTo>
                      <a:pt x="12" y="59"/>
                    </a:lnTo>
                    <a:lnTo>
                      <a:pt x="10" y="59"/>
                    </a:lnTo>
                    <a:lnTo>
                      <a:pt x="12" y="59"/>
                    </a:lnTo>
                    <a:lnTo>
                      <a:pt x="12" y="61"/>
                    </a:lnTo>
                    <a:lnTo>
                      <a:pt x="12" y="63"/>
                    </a:lnTo>
                    <a:lnTo>
                      <a:pt x="10" y="63"/>
                    </a:lnTo>
                    <a:lnTo>
                      <a:pt x="10" y="64"/>
                    </a:lnTo>
                    <a:lnTo>
                      <a:pt x="9" y="63"/>
                    </a:lnTo>
                    <a:lnTo>
                      <a:pt x="9" y="64"/>
                    </a:lnTo>
                    <a:lnTo>
                      <a:pt x="7" y="64"/>
                    </a:lnTo>
                    <a:lnTo>
                      <a:pt x="5" y="64"/>
                    </a:lnTo>
                    <a:lnTo>
                      <a:pt x="7" y="64"/>
                    </a:lnTo>
                    <a:lnTo>
                      <a:pt x="5" y="63"/>
                    </a:lnTo>
                    <a:lnTo>
                      <a:pt x="4" y="63"/>
                    </a:lnTo>
                    <a:lnTo>
                      <a:pt x="2" y="63"/>
                    </a:lnTo>
                    <a:lnTo>
                      <a:pt x="2" y="61"/>
                    </a:lnTo>
                    <a:lnTo>
                      <a:pt x="2" y="63"/>
                    </a:lnTo>
                    <a:lnTo>
                      <a:pt x="0" y="63"/>
                    </a:lnTo>
                    <a:lnTo>
                      <a:pt x="0" y="61"/>
                    </a:lnTo>
                    <a:lnTo>
                      <a:pt x="0" y="59"/>
                    </a:lnTo>
                    <a:lnTo>
                      <a:pt x="2" y="59"/>
                    </a:lnTo>
                    <a:lnTo>
                      <a:pt x="2" y="57"/>
                    </a:lnTo>
                    <a:lnTo>
                      <a:pt x="4" y="57"/>
                    </a:lnTo>
                    <a:lnTo>
                      <a:pt x="4" y="56"/>
                    </a:lnTo>
                    <a:lnTo>
                      <a:pt x="4" y="54"/>
                    </a:lnTo>
                    <a:lnTo>
                      <a:pt x="4" y="56"/>
                    </a:lnTo>
                    <a:lnTo>
                      <a:pt x="4" y="54"/>
                    </a:lnTo>
                    <a:lnTo>
                      <a:pt x="5" y="54"/>
                    </a:lnTo>
                    <a:lnTo>
                      <a:pt x="7" y="54"/>
                    </a:lnTo>
                    <a:lnTo>
                      <a:pt x="9" y="54"/>
                    </a:lnTo>
                    <a:lnTo>
                      <a:pt x="10" y="54"/>
                    </a:lnTo>
                    <a:lnTo>
                      <a:pt x="12" y="54"/>
                    </a:lnTo>
                    <a:lnTo>
                      <a:pt x="14" y="54"/>
                    </a:lnTo>
                    <a:lnTo>
                      <a:pt x="14" y="52"/>
                    </a:lnTo>
                    <a:lnTo>
                      <a:pt x="14" y="51"/>
                    </a:lnTo>
                    <a:lnTo>
                      <a:pt x="14" y="49"/>
                    </a:lnTo>
                    <a:lnTo>
                      <a:pt x="14" y="47"/>
                    </a:lnTo>
                    <a:lnTo>
                      <a:pt x="14" y="46"/>
                    </a:lnTo>
                    <a:lnTo>
                      <a:pt x="15" y="46"/>
                    </a:lnTo>
                    <a:lnTo>
                      <a:pt x="14" y="46"/>
                    </a:lnTo>
                    <a:lnTo>
                      <a:pt x="14" y="44"/>
                    </a:lnTo>
                    <a:lnTo>
                      <a:pt x="15" y="44"/>
                    </a:lnTo>
                    <a:lnTo>
                      <a:pt x="14" y="44"/>
                    </a:lnTo>
                    <a:lnTo>
                      <a:pt x="15" y="42"/>
                    </a:lnTo>
                    <a:lnTo>
                      <a:pt x="14" y="42"/>
                    </a:lnTo>
                    <a:lnTo>
                      <a:pt x="14" y="40"/>
                    </a:lnTo>
                    <a:lnTo>
                      <a:pt x="14" y="39"/>
                    </a:lnTo>
                    <a:lnTo>
                      <a:pt x="15" y="39"/>
                    </a:lnTo>
                    <a:lnTo>
                      <a:pt x="14" y="37"/>
                    </a:lnTo>
                    <a:lnTo>
                      <a:pt x="15" y="37"/>
                    </a:lnTo>
                    <a:lnTo>
                      <a:pt x="15" y="35"/>
                    </a:lnTo>
                    <a:lnTo>
                      <a:pt x="17" y="35"/>
                    </a:lnTo>
                    <a:lnTo>
                      <a:pt x="15" y="34"/>
                    </a:lnTo>
                    <a:lnTo>
                      <a:pt x="15" y="35"/>
                    </a:lnTo>
                    <a:lnTo>
                      <a:pt x="14" y="35"/>
                    </a:lnTo>
                    <a:lnTo>
                      <a:pt x="14" y="34"/>
                    </a:lnTo>
                    <a:lnTo>
                      <a:pt x="15" y="34"/>
                    </a:lnTo>
                    <a:lnTo>
                      <a:pt x="15" y="32"/>
                    </a:lnTo>
                    <a:lnTo>
                      <a:pt x="17" y="32"/>
                    </a:lnTo>
                    <a:lnTo>
                      <a:pt x="19" y="32"/>
                    </a:lnTo>
                    <a:lnTo>
                      <a:pt x="19" y="30"/>
                    </a:lnTo>
                    <a:lnTo>
                      <a:pt x="19" y="29"/>
                    </a:lnTo>
                    <a:lnTo>
                      <a:pt x="19" y="27"/>
                    </a:lnTo>
                    <a:lnTo>
                      <a:pt x="21" y="27"/>
                    </a:lnTo>
                    <a:lnTo>
                      <a:pt x="22" y="27"/>
                    </a:lnTo>
                    <a:lnTo>
                      <a:pt x="22" y="25"/>
                    </a:lnTo>
                    <a:lnTo>
                      <a:pt x="24" y="27"/>
                    </a:lnTo>
                    <a:lnTo>
                      <a:pt x="24" y="25"/>
                    </a:lnTo>
                    <a:lnTo>
                      <a:pt x="24" y="23"/>
                    </a:lnTo>
                    <a:lnTo>
                      <a:pt x="24" y="25"/>
                    </a:lnTo>
                    <a:lnTo>
                      <a:pt x="26" y="25"/>
                    </a:lnTo>
                    <a:lnTo>
                      <a:pt x="26" y="23"/>
                    </a:lnTo>
                    <a:lnTo>
                      <a:pt x="27" y="23"/>
                    </a:lnTo>
                    <a:lnTo>
                      <a:pt x="29" y="23"/>
                    </a:lnTo>
                    <a:lnTo>
                      <a:pt x="29" y="22"/>
                    </a:lnTo>
                    <a:lnTo>
                      <a:pt x="31" y="22"/>
                    </a:lnTo>
                    <a:lnTo>
                      <a:pt x="31" y="20"/>
                    </a:lnTo>
                    <a:lnTo>
                      <a:pt x="31" y="18"/>
                    </a:lnTo>
                    <a:lnTo>
                      <a:pt x="31" y="17"/>
                    </a:lnTo>
                    <a:lnTo>
                      <a:pt x="29" y="18"/>
                    </a:lnTo>
                    <a:lnTo>
                      <a:pt x="29" y="17"/>
                    </a:lnTo>
                    <a:lnTo>
                      <a:pt x="29" y="18"/>
                    </a:lnTo>
                    <a:lnTo>
                      <a:pt x="29" y="17"/>
                    </a:lnTo>
                    <a:lnTo>
                      <a:pt x="29" y="15"/>
                    </a:lnTo>
                    <a:lnTo>
                      <a:pt x="29" y="13"/>
                    </a:lnTo>
                    <a:lnTo>
                      <a:pt x="27" y="13"/>
                    </a:lnTo>
                    <a:lnTo>
                      <a:pt x="26" y="12"/>
                    </a:lnTo>
                    <a:lnTo>
                      <a:pt x="26" y="10"/>
                    </a:lnTo>
                    <a:lnTo>
                      <a:pt x="24" y="10"/>
                    </a:lnTo>
                    <a:lnTo>
                      <a:pt x="24" y="8"/>
                    </a:lnTo>
                    <a:lnTo>
                      <a:pt x="24" y="6"/>
                    </a:lnTo>
                    <a:lnTo>
                      <a:pt x="24" y="5"/>
                    </a:lnTo>
                    <a:lnTo>
                      <a:pt x="26" y="3"/>
                    </a:lnTo>
                    <a:lnTo>
                      <a:pt x="24" y="3"/>
                    </a:lnTo>
                    <a:lnTo>
                      <a:pt x="24" y="1"/>
                    </a:lnTo>
                    <a:lnTo>
                      <a:pt x="26" y="1"/>
                    </a:lnTo>
                    <a:lnTo>
                      <a:pt x="27" y="1"/>
                    </a:lnTo>
                    <a:lnTo>
                      <a:pt x="29" y="1"/>
                    </a:lnTo>
                    <a:lnTo>
                      <a:pt x="31" y="1"/>
                    </a:lnTo>
                    <a:lnTo>
                      <a:pt x="31" y="0"/>
                    </a:lnTo>
                    <a:lnTo>
                      <a:pt x="31" y="1"/>
                    </a:lnTo>
                    <a:lnTo>
                      <a:pt x="32" y="1"/>
                    </a:lnTo>
                    <a:lnTo>
                      <a:pt x="34" y="1"/>
                    </a:lnTo>
                    <a:lnTo>
                      <a:pt x="34" y="0"/>
                    </a:lnTo>
                    <a:lnTo>
                      <a:pt x="36" y="1"/>
                    </a:lnTo>
                    <a:lnTo>
                      <a:pt x="34" y="1"/>
                    </a:lnTo>
                    <a:lnTo>
                      <a:pt x="36" y="1"/>
                    </a:lnTo>
                    <a:lnTo>
                      <a:pt x="36" y="3"/>
                    </a:lnTo>
                    <a:lnTo>
                      <a:pt x="34" y="3"/>
                    </a:lnTo>
                    <a:lnTo>
                      <a:pt x="36" y="5"/>
                    </a:lnTo>
                    <a:lnTo>
                      <a:pt x="36" y="6"/>
                    </a:lnTo>
                    <a:lnTo>
                      <a:pt x="34" y="6"/>
                    </a:lnTo>
                    <a:lnTo>
                      <a:pt x="34" y="8"/>
                    </a:lnTo>
                    <a:lnTo>
                      <a:pt x="36" y="8"/>
                    </a:lnTo>
                    <a:lnTo>
                      <a:pt x="36" y="10"/>
                    </a:lnTo>
                    <a:lnTo>
                      <a:pt x="36" y="8"/>
                    </a:lnTo>
                    <a:lnTo>
                      <a:pt x="38" y="8"/>
                    </a:lnTo>
                    <a:lnTo>
                      <a:pt x="38" y="10"/>
                    </a:lnTo>
                    <a:lnTo>
                      <a:pt x="36" y="10"/>
                    </a:lnTo>
                    <a:lnTo>
                      <a:pt x="38" y="10"/>
                    </a:lnTo>
                    <a:lnTo>
                      <a:pt x="38" y="12"/>
                    </a:lnTo>
                    <a:lnTo>
                      <a:pt x="39" y="12"/>
                    </a:lnTo>
                    <a:lnTo>
                      <a:pt x="39" y="13"/>
                    </a:lnTo>
                    <a:lnTo>
                      <a:pt x="38" y="13"/>
                    </a:lnTo>
                    <a:lnTo>
                      <a:pt x="38" y="15"/>
                    </a:lnTo>
                    <a:lnTo>
                      <a:pt x="39" y="15"/>
                    </a:lnTo>
                    <a:lnTo>
                      <a:pt x="39" y="17"/>
                    </a:lnTo>
                    <a:lnTo>
                      <a:pt x="38" y="17"/>
                    </a:lnTo>
                    <a:lnTo>
                      <a:pt x="38" y="18"/>
                    </a:lnTo>
                    <a:lnTo>
                      <a:pt x="39" y="18"/>
                    </a:lnTo>
                    <a:lnTo>
                      <a:pt x="38" y="18"/>
                    </a:lnTo>
                    <a:lnTo>
                      <a:pt x="38" y="20"/>
                    </a:lnTo>
                    <a:lnTo>
                      <a:pt x="39" y="20"/>
                    </a:lnTo>
                    <a:lnTo>
                      <a:pt x="41" y="20"/>
                    </a:lnTo>
                    <a:lnTo>
                      <a:pt x="41" y="22"/>
                    </a:lnTo>
                    <a:lnTo>
                      <a:pt x="43" y="22"/>
                    </a:lnTo>
                    <a:lnTo>
                      <a:pt x="41" y="22"/>
                    </a:lnTo>
                    <a:lnTo>
                      <a:pt x="43" y="23"/>
                    </a:lnTo>
                    <a:lnTo>
                      <a:pt x="43" y="25"/>
                    </a:lnTo>
                    <a:lnTo>
                      <a:pt x="44" y="25"/>
                    </a:lnTo>
                    <a:lnTo>
                      <a:pt x="44" y="27"/>
                    </a:lnTo>
                    <a:lnTo>
                      <a:pt x="44" y="29"/>
                    </a:lnTo>
                    <a:lnTo>
                      <a:pt x="46" y="29"/>
                    </a:lnTo>
                    <a:lnTo>
                      <a:pt x="46" y="30"/>
                    </a:lnTo>
                    <a:lnTo>
                      <a:pt x="48" y="30"/>
                    </a:lnTo>
                    <a:lnTo>
                      <a:pt x="48" y="32"/>
                    </a:lnTo>
                    <a:lnTo>
                      <a:pt x="46" y="32"/>
                    </a:lnTo>
                    <a:lnTo>
                      <a:pt x="48" y="32"/>
                    </a:lnTo>
                    <a:lnTo>
                      <a:pt x="48" y="34"/>
                    </a:lnTo>
                    <a:lnTo>
                      <a:pt x="48" y="35"/>
                    </a:lnTo>
                    <a:lnTo>
                      <a:pt x="49" y="35"/>
                    </a:lnTo>
                    <a:lnTo>
                      <a:pt x="49" y="37"/>
                    </a:lnTo>
                    <a:lnTo>
                      <a:pt x="51" y="39"/>
                    </a:lnTo>
                    <a:lnTo>
                      <a:pt x="51" y="40"/>
                    </a:lnTo>
                    <a:lnTo>
                      <a:pt x="53" y="40"/>
                    </a:lnTo>
                    <a:lnTo>
                      <a:pt x="53" y="42"/>
                    </a:lnTo>
                    <a:lnTo>
                      <a:pt x="53" y="44"/>
                    </a:lnTo>
                    <a:lnTo>
                      <a:pt x="55" y="44"/>
                    </a:lnTo>
                    <a:lnTo>
                      <a:pt x="55" y="46"/>
                    </a:lnTo>
                    <a:lnTo>
                      <a:pt x="56" y="46"/>
                    </a:lnTo>
                    <a:lnTo>
                      <a:pt x="56" y="47"/>
                    </a:lnTo>
                    <a:lnTo>
                      <a:pt x="58" y="47"/>
                    </a:lnTo>
                    <a:lnTo>
                      <a:pt x="60" y="47"/>
                    </a:lnTo>
                    <a:lnTo>
                      <a:pt x="61" y="47"/>
                    </a:lnTo>
                    <a:lnTo>
                      <a:pt x="61" y="4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9" name="Freeform 37">
                <a:extLst>
                  <a:ext uri="{FF2B5EF4-FFF2-40B4-BE49-F238E27FC236}">
                    <a16:creationId xmlns:a16="http://schemas.microsoft.com/office/drawing/2014/main" id="{13FDA5A9-8A47-7968-9D4B-8EB80510C7CD}"/>
                  </a:ext>
                </a:extLst>
              </p:cNvPr>
              <p:cNvSpPr>
                <a:spLocks noEditPoints="1"/>
              </p:cNvSpPr>
              <p:nvPr/>
            </p:nvSpPr>
            <p:spPr bwMode="auto">
              <a:xfrm>
                <a:off x="5659438" y="1352550"/>
                <a:ext cx="153987" cy="119063"/>
              </a:xfrm>
              <a:custGeom>
                <a:avLst/>
                <a:gdLst>
                  <a:gd name="T0" fmla="*/ 96 w 97"/>
                  <a:gd name="T1" fmla="*/ 27 h 75"/>
                  <a:gd name="T2" fmla="*/ 96 w 97"/>
                  <a:gd name="T3" fmla="*/ 31 h 75"/>
                  <a:gd name="T4" fmla="*/ 96 w 97"/>
                  <a:gd name="T5" fmla="*/ 38 h 75"/>
                  <a:gd name="T6" fmla="*/ 91 w 97"/>
                  <a:gd name="T7" fmla="*/ 41 h 75"/>
                  <a:gd name="T8" fmla="*/ 94 w 97"/>
                  <a:gd name="T9" fmla="*/ 46 h 75"/>
                  <a:gd name="T10" fmla="*/ 87 w 97"/>
                  <a:gd name="T11" fmla="*/ 53 h 75"/>
                  <a:gd name="T12" fmla="*/ 87 w 97"/>
                  <a:gd name="T13" fmla="*/ 58 h 75"/>
                  <a:gd name="T14" fmla="*/ 94 w 97"/>
                  <a:gd name="T15" fmla="*/ 65 h 75"/>
                  <a:gd name="T16" fmla="*/ 92 w 97"/>
                  <a:gd name="T17" fmla="*/ 73 h 75"/>
                  <a:gd name="T18" fmla="*/ 84 w 97"/>
                  <a:gd name="T19" fmla="*/ 67 h 75"/>
                  <a:gd name="T20" fmla="*/ 74 w 97"/>
                  <a:gd name="T21" fmla="*/ 68 h 75"/>
                  <a:gd name="T22" fmla="*/ 67 w 97"/>
                  <a:gd name="T23" fmla="*/ 68 h 75"/>
                  <a:gd name="T24" fmla="*/ 58 w 97"/>
                  <a:gd name="T25" fmla="*/ 70 h 75"/>
                  <a:gd name="T26" fmla="*/ 50 w 97"/>
                  <a:gd name="T27" fmla="*/ 70 h 75"/>
                  <a:gd name="T28" fmla="*/ 40 w 97"/>
                  <a:gd name="T29" fmla="*/ 68 h 75"/>
                  <a:gd name="T30" fmla="*/ 34 w 97"/>
                  <a:gd name="T31" fmla="*/ 67 h 75"/>
                  <a:gd name="T32" fmla="*/ 29 w 97"/>
                  <a:gd name="T33" fmla="*/ 67 h 75"/>
                  <a:gd name="T34" fmla="*/ 26 w 97"/>
                  <a:gd name="T35" fmla="*/ 68 h 75"/>
                  <a:gd name="T36" fmla="*/ 21 w 97"/>
                  <a:gd name="T37" fmla="*/ 75 h 75"/>
                  <a:gd name="T38" fmla="*/ 11 w 97"/>
                  <a:gd name="T39" fmla="*/ 65 h 75"/>
                  <a:gd name="T40" fmla="*/ 0 w 97"/>
                  <a:gd name="T41" fmla="*/ 62 h 75"/>
                  <a:gd name="T42" fmla="*/ 4 w 97"/>
                  <a:gd name="T43" fmla="*/ 53 h 75"/>
                  <a:gd name="T44" fmla="*/ 14 w 97"/>
                  <a:gd name="T45" fmla="*/ 55 h 75"/>
                  <a:gd name="T46" fmla="*/ 26 w 97"/>
                  <a:gd name="T47" fmla="*/ 56 h 75"/>
                  <a:gd name="T48" fmla="*/ 26 w 97"/>
                  <a:gd name="T49" fmla="*/ 56 h 75"/>
                  <a:gd name="T50" fmla="*/ 34 w 97"/>
                  <a:gd name="T51" fmla="*/ 56 h 75"/>
                  <a:gd name="T52" fmla="*/ 46 w 97"/>
                  <a:gd name="T53" fmla="*/ 58 h 75"/>
                  <a:gd name="T54" fmla="*/ 58 w 97"/>
                  <a:gd name="T55" fmla="*/ 60 h 75"/>
                  <a:gd name="T56" fmla="*/ 68 w 97"/>
                  <a:gd name="T57" fmla="*/ 56 h 75"/>
                  <a:gd name="T58" fmla="*/ 74 w 97"/>
                  <a:gd name="T59" fmla="*/ 51 h 75"/>
                  <a:gd name="T60" fmla="*/ 65 w 97"/>
                  <a:gd name="T61" fmla="*/ 46 h 75"/>
                  <a:gd name="T62" fmla="*/ 58 w 97"/>
                  <a:gd name="T63" fmla="*/ 39 h 75"/>
                  <a:gd name="T64" fmla="*/ 60 w 97"/>
                  <a:gd name="T65" fmla="*/ 36 h 75"/>
                  <a:gd name="T66" fmla="*/ 58 w 97"/>
                  <a:gd name="T67" fmla="*/ 29 h 75"/>
                  <a:gd name="T68" fmla="*/ 60 w 97"/>
                  <a:gd name="T69" fmla="*/ 26 h 75"/>
                  <a:gd name="T70" fmla="*/ 55 w 97"/>
                  <a:gd name="T71" fmla="*/ 21 h 75"/>
                  <a:gd name="T72" fmla="*/ 45 w 97"/>
                  <a:gd name="T73" fmla="*/ 17 h 75"/>
                  <a:gd name="T74" fmla="*/ 36 w 97"/>
                  <a:gd name="T75" fmla="*/ 14 h 75"/>
                  <a:gd name="T76" fmla="*/ 40 w 97"/>
                  <a:gd name="T77" fmla="*/ 10 h 75"/>
                  <a:gd name="T78" fmla="*/ 51 w 97"/>
                  <a:gd name="T79" fmla="*/ 7 h 75"/>
                  <a:gd name="T80" fmla="*/ 62 w 97"/>
                  <a:gd name="T81" fmla="*/ 7 h 75"/>
                  <a:gd name="T82" fmla="*/ 68 w 97"/>
                  <a:gd name="T83" fmla="*/ 10 h 75"/>
                  <a:gd name="T84" fmla="*/ 74 w 97"/>
                  <a:gd name="T85" fmla="*/ 12 h 75"/>
                  <a:gd name="T86" fmla="*/ 82 w 97"/>
                  <a:gd name="T87" fmla="*/ 14 h 75"/>
                  <a:gd name="T88" fmla="*/ 85 w 97"/>
                  <a:gd name="T89" fmla="*/ 14 h 75"/>
                  <a:gd name="T90" fmla="*/ 91 w 97"/>
                  <a:gd name="T91" fmla="*/ 17 h 75"/>
                  <a:gd name="T92" fmla="*/ 48 w 97"/>
                  <a:gd name="T93" fmla="*/ 43 h 75"/>
                  <a:gd name="T94" fmla="*/ 57 w 97"/>
                  <a:gd name="T95" fmla="*/ 46 h 75"/>
                  <a:gd name="T96" fmla="*/ 55 w 97"/>
                  <a:gd name="T97" fmla="*/ 50 h 75"/>
                  <a:gd name="T98" fmla="*/ 43 w 97"/>
                  <a:gd name="T99" fmla="*/ 44 h 75"/>
                  <a:gd name="T100" fmla="*/ 62 w 97"/>
                  <a:gd name="T101" fmla="*/ 2 h 75"/>
                  <a:gd name="T102" fmla="*/ 55 w 97"/>
                  <a:gd name="T103" fmla="*/ 2 h 75"/>
                  <a:gd name="T104" fmla="*/ 58 w 97"/>
                  <a:gd name="T105" fmla="*/ 0 h 75"/>
                  <a:gd name="T106" fmla="*/ 28 w 97"/>
                  <a:gd name="T107" fmla="*/ 53 h 75"/>
                  <a:gd name="T108" fmla="*/ 28 w 97"/>
                  <a:gd name="T109" fmla="*/ 72 h 75"/>
                  <a:gd name="T110" fmla="*/ 24 w 97"/>
                  <a:gd name="T111" fmla="*/ 5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7" h="75">
                    <a:moveTo>
                      <a:pt x="92" y="16"/>
                    </a:moveTo>
                    <a:lnTo>
                      <a:pt x="94" y="17"/>
                    </a:lnTo>
                    <a:lnTo>
                      <a:pt x="94" y="19"/>
                    </a:lnTo>
                    <a:lnTo>
                      <a:pt x="94" y="21"/>
                    </a:lnTo>
                    <a:lnTo>
                      <a:pt x="96" y="22"/>
                    </a:lnTo>
                    <a:lnTo>
                      <a:pt x="96" y="24"/>
                    </a:lnTo>
                    <a:lnTo>
                      <a:pt x="96" y="26"/>
                    </a:lnTo>
                    <a:lnTo>
                      <a:pt x="96" y="27"/>
                    </a:lnTo>
                    <a:lnTo>
                      <a:pt x="94" y="27"/>
                    </a:lnTo>
                    <a:lnTo>
                      <a:pt x="92" y="27"/>
                    </a:lnTo>
                    <a:lnTo>
                      <a:pt x="92" y="29"/>
                    </a:lnTo>
                    <a:lnTo>
                      <a:pt x="92" y="31"/>
                    </a:lnTo>
                    <a:lnTo>
                      <a:pt x="94" y="31"/>
                    </a:lnTo>
                    <a:lnTo>
                      <a:pt x="96" y="31"/>
                    </a:lnTo>
                    <a:lnTo>
                      <a:pt x="96" y="33"/>
                    </a:lnTo>
                    <a:lnTo>
                      <a:pt x="96" y="31"/>
                    </a:lnTo>
                    <a:lnTo>
                      <a:pt x="96" y="33"/>
                    </a:lnTo>
                    <a:lnTo>
                      <a:pt x="97" y="33"/>
                    </a:lnTo>
                    <a:lnTo>
                      <a:pt x="97" y="34"/>
                    </a:lnTo>
                    <a:lnTo>
                      <a:pt x="96" y="34"/>
                    </a:lnTo>
                    <a:lnTo>
                      <a:pt x="97" y="36"/>
                    </a:lnTo>
                    <a:lnTo>
                      <a:pt x="96" y="36"/>
                    </a:lnTo>
                    <a:lnTo>
                      <a:pt x="94" y="36"/>
                    </a:lnTo>
                    <a:lnTo>
                      <a:pt x="96" y="38"/>
                    </a:lnTo>
                    <a:lnTo>
                      <a:pt x="94" y="38"/>
                    </a:lnTo>
                    <a:lnTo>
                      <a:pt x="92" y="39"/>
                    </a:lnTo>
                    <a:lnTo>
                      <a:pt x="92" y="41"/>
                    </a:lnTo>
                    <a:lnTo>
                      <a:pt x="92" y="39"/>
                    </a:lnTo>
                    <a:lnTo>
                      <a:pt x="91" y="39"/>
                    </a:lnTo>
                    <a:lnTo>
                      <a:pt x="91" y="41"/>
                    </a:lnTo>
                    <a:lnTo>
                      <a:pt x="91" y="39"/>
                    </a:lnTo>
                    <a:lnTo>
                      <a:pt x="91" y="41"/>
                    </a:lnTo>
                    <a:lnTo>
                      <a:pt x="89" y="41"/>
                    </a:lnTo>
                    <a:lnTo>
                      <a:pt x="89" y="43"/>
                    </a:lnTo>
                    <a:lnTo>
                      <a:pt x="89" y="41"/>
                    </a:lnTo>
                    <a:lnTo>
                      <a:pt x="91" y="41"/>
                    </a:lnTo>
                    <a:lnTo>
                      <a:pt x="92" y="41"/>
                    </a:lnTo>
                    <a:lnTo>
                      <a:pt x="92" y="43"/>
                    </a:lnTo>
                    <a:lnTo>
                      <a:pt x="94" y="44"/>
                    </a:lnTo>
                    <a:lnTo>
                      <a:pt x="94" y="46"/>
                    </a:lnTo>
                    <a:lnTo>
                      <a:pt x="94" y="48"/>
                    </a:lnTo>
                    <a:lnTo>
                      <a:pt x="94" y="50"/>
                    </a:lnTo>
                    <a:lnTo>
                      <a:pt x="92" y="50"/>
                    </a:lnTo>
                    <a:lnTo>
                      <a:pt x="92" y="51"/>
                    </a:lnTo>
                    <a:lnTo>
                      <a:pt x="91" y="51"/>
                    </a:lnTo>
                    <a:lnTo>
                      <a:pt x="91" y="53"/>
                    </a:lnTo>
                    <a:lnTo>
                      <a:pt x="89" y="53"/>
                    </a:lnTo>
                    <a:lnTo>
                      <a:pt x="87" y="53"/>
                    </a:lnTo>
                    <a:lnTo>
                      <a:pt x="85" y="53"/>
                    </a:lnTo>
                    <a:lnTo>
                      <a:pt x="84" y="53"/>
                    </a:lnTo>
                    <a:lnTo>
                      <a:pt x="85" y="53"/>
                    </a:lnTo>
                    <a:lnTo>
                      <a:pt x="85" y="55"/>
                    </a:lnTo>
                    <a:lnTo>
                      <a:pt x="87" y="55"/>
                    </a:lnTo>
                    <a:lnTo>
                      <a:pt x="87" y="56"/>
                    </a:lnTo>
                    <a:lnTo>
                      <a:pt x="89" y="58"/>
                    </a:lnTo>
                    <a:lnTo>
                      <a:pt x="87" y="58"/>
                    </a:lnTo>
                    <a:lnTo>
                      <a:pt x="87" y="60"/>
                    </a:lnTo>
                    <a:lnTo>
                      <a:pt x="89" y="60"/>
                    </a:lnTo>
                    <a:lnTo>
                      <a:pt x="91" y="60"/>
                    </a:lnTo>
                    <a:lnTo>
                      <a:pt x="91" y="62"/>
                    </a:lnTo>
                    <a:lnTo>
                      <a:pt x="92" y="62"/>
                    </a:lnTo>
                    <a:lnTo>
                      <a:pt x="94" y="63"/>
                    </a:lnTo>
                    <a:lnTo>
                      <a:pt x="96" y="63"/>
                    </a:lnTo>
                    <a:lnTo>
                      <a:pt x="94" y="65"/>
                    </a:lnTo>
                    <a:lnTo>
                      <a:pt x="92" y="67"/>
                    </a:lnTo>
                    <a:lnTo>
                      <a:pt x="92" y="68"/>
                    </a:lnTo>
                    <a:lnTo>
                      <a:pt x="92" y="70"/>
                    </a:lnTo>
                    <a:lnTo>
                      <a:pt x="94" y="70"/>
                    </a:lnTo>
                    <a:lnTo>
                      <a:pt x="94" y="72"/>
                    </a:lnTo>
                    <a:lnTo>
                      <a:pt x="94" y="73"/>
                    </a:lnTo>
                    <a:lnTo>
                      <a:pt x="92" y="75"/>
                    </a:lnTo>
                    <a:lnTo>
                      <a:pt x="92" y="73"/>
                    </a:lnTo>
                    <a:lnTo>
                      <a:pt x="91" y="73"/>
                    </a:lnTo>
                    <a:lnTo>
                      <a:pt x="91" y="72"/>
                    </a:lnTo>
                    <a:lnTo>
                      <a:pt x="89" y="70"/>
                    </a:lnTo>
                    <a:lnTo>
                      <a:pt x="87" y="70"/>
                    </a:lnTo>
                    <a:lnTo>
                      <a:pt x="87" y="68"/>
                    </a:lnTo>
                    <a:lnTo>
                      <a:pt x="85" y="68"/>
                    </a:lnTo>
                    <a:lnTo>
                      <a:pt x="84" y="68"/>
                    </a:lnTo>
                    <a:lnTo>
                      <a:pt x="84" y="67"/>
                    </a:lnTo>
                    <a:lnTo>
                      <a:pt x="82" y="67"/>
                    </a:lnTo>
                    <a:lnTo>
                      <a:pt x="80" y="68"/>
                    </a:lnTo>
                    <a:lnTo>
                      <a:pt x="80" y="67"/>
                    </a:lnTo>
                    <a:lnTo>
                      <a:pt x="79" y="67"/>
                    </a:lnTo>
                    <a:lnTo>
                      <a:pt x="79" y="68"/>
                    </a:lnTo>
                    <a:lnTo>
                      <a:pt x="77" y="68"/>
                    </a:lnTo>
                    <a:lnTo>
                      <a:pt x="75" y="68"/>
                    </a:lnTo>
                    <a:lnTo>
                      <a:pt x="74" y="68"/>
                    </a:lnTo>
                    <a:lnTo>
                      <a:pt x="74" y="67"/>
                    </a:lnTo>
                    <a:lnTo>
                      <a:pt x="72" y="67"/>
                    </a:lnTo>
                    <a:lnTo>
                      <a:pt x="72" y="68"/>
                    </a:lnTo>
                    <a:lnTo>
                      <a:pt x="70" y="68"/>
                    </a:lnTo>
                    <a:lnTo>
                      <a:pt x="68" y="68"/>
                    </a:lnTo>
                    <a:lnTo>
                      <a:pt x="67" y="68"/>
                    </a:lnTo>
                    <a:lnTo>
                      <a:pt x="67" y="67"/>
                    </a:lnTo>
                    <a:lnTo>
                      <a:pt x="67" y="68"/>
                    </a:lnTo>
                    <a:lnTo>
                      <a:pt x="67" y="70"/>
                    </a:lnTo>
                    <a:lnTo>
                      <a:pt x="65" y="70"/>
                    </a:lnTo>
                    <a:lnTo>
                      <a:pt x="63" y="70"/>
                    </a:lnTo>
                    <a:lnTo>
                      <a:pt x="63" y="68"/>
                    </a:lnTo>
                    <a:lnTo>
                      <a:pt x="62" y="68"/>
                    </a:lnTo>
                    <a:lnTo>
                      <a:pt x="62" y="70"/>
                    </a:lnTo>
                    <a:lnTo>
                      <a:pt x="60" y="70"/>
                    </a:lnTo>
                    <a:lnTo>
                      <a:pt x="58" y="70"/>
                    </a:lnTo>
                    <a:lnTo>
                      <a:pt x="60" y="70"/>
                    </a:lnTo>
                    <a:lnTo>
                      <a:pt x="58" y="70"/>
                    </a:lnTo>
                    <a:lnTo>
                      <a:pt x="57" y="70"/>
                    </a:lnTo>
                    <a:lnTo>
                      <a:pt x="55" y="70"/>
                    </a:lnTo>
                    <a:lnTo>
                      <a:pt x="53" y="70"/>
                    </a:lnTo>
                    <a:lnTo>
                      <a:pt x="51" y="70"/>
                    </a:lnTo>
                    <a:lnTo>
                      <a:pt x="51" y="68"/>
                    </a:lnTo>
                    <a:lnTo>
                      <a:pt x="50" y="70"/>
                    </a:lnTo>
                    <a:lnTo>
                      <a:pt x="48" y="68"/>
                    </a:lnTo>
                    <a:lnTo>
                      <a:pt x="46" y="68"/>
                    </a:lnTo>
                    <a:lnTo>
                      <a:pt x="45" y="68"/>
                    </a:lnTo>
                    <a:lnTo>
                      <a:pt x="43" y="68"/>
                    </a:lnTo>
                    <a:lnTo>
                      <a:pt x="41" y="68"/>
                    </a:lnTo>
                    <a:lnTo>
                      <a:pt x="41" y="67"/>
                    </a:lnTo>
                    <a:lnTo>
                      <a:pt x="41" y="68"/>
                    </a:lnTo>
                    <a:lnTo>
                      <a:pt x="40" y="68"/>
                    </a:lnTo>
                    <a:lnTo>
                      <a:pt x="38" y="68"/>
                    </a:lnTo>
                    <a:lnTo>
                      <a:pt x="38" y="67"/>
                    </a:lnTo>
                    <a:lnTo>
                      <a:pt x="40" y="67"/>
                    </a:lnTo>
                    <a:lnTo>
                      <a:pt x="38" y="67"/>
                    </a:lnTo>
                    <a:lnTo>
                      <a:pt x="38" y="65"/>
                    </a:lnTo>
                    <a:lnTo>
                      <a:pt x="38" y="67"/>
                    </a:lnTo>
                    <a:lnTo>
                      <a:pt x="36" y="67"/>
                    </a:lnTo>
                    <a:lnTo>
                      <a:pt x="34" y="67"/>
                    </a:lnTo>
                    <a:lnTo>
                      <a:pt x="33" y="67"/>
                    </a:lnTo>
                    <a:lnTo>
                      <a:pt x="31" y="67"/>
                    </a:lnTo>
                    <a:lnTo>
                      <a:pt x="33" y="68"/>
                    </a:lnTo>
                    <a:lnTo>
                      <a:pt x="31" y="68"/>
                    </a:lnTo>
                    <a:lnTo>
                      <a:pt x="31" y="67"/>
                    </a:lnTo>
                    <a:lnTo>
                      <a:pt x="31" y="68"/>
                    </a:lnTo>
                    <a:lnTo>
                      <a:pt x="29" y="68"/>
                    </a:lnTo>
                    <a:lnTo>
                      <a:pt x="29" y="67"/>
                    </a:lnTo>
                    <a:lnTo>
                      <a:pt x="31" y="67"/>
                    </a:lnTo>
                    <a:lnTo>
                      <a:pt x="29" y="67"/>
                    </a:lnTo>
                    <a:lnTo>
                      <a:pt x="29" y="68"/>
                    </a:lnTo>
                    <a:lnTo>
                      <a:pt x="29" y="67"/>
                    </a:lnTo>
                    <a:lnTo>
                      <a:pt x="28" y="68"/>
                    </a:lnTo>
                    <a:lnTo>
                      <a:pt x="28" y="67"/>
                    </a:lnTo>
                    <a:lnTo>
                      <a:pt x="28" y="68"/>
                    </a:lnTo>
                    <a:lnTo>
                      <a:pt x="26" y="68"/>
                    </a:lnTo>
                    <a:lnTo>
                      <a:pt x="26" y="70"/>
                    </a:lnTo>
                    <a:lnTo>
                      <a:pt x="24" y="70"/>
                    </a:lnTo>
                    <a:lnTo>
                      <a:pt x="23" y="70"/>
                    </a:lnTo>
                    <a:lnTo>
                      <a:pt x="23" y="72"/>
                    </a:lnTo>
                    <a:lnTo>
                      <a:pt x="24" y="73"/>
                    </a:lnTo>
                    <a:lnTo>
                      <a:pt x="24" y="75"/>
                    </a:lnTo>
                    <a:lnTo>
                      <a:pt x="23" y="75"/>
                    </a:lnTo>
                    <a:lnTo>
                      <a:pt x="21" y="75"/>
                    </a:lnTo>
                    <a:lnTo>
                      <a:pt x="21" y="73"/>
                    </a:lnTo>
                    <a:lnTo>
                      <a:pt x="19" y="73"/>
                    </a:lnTo>
                    <a:lnTo>
                      <a:pt x="19" y="72"/>
                    </a:lnTo>
                    <a:lnTo>
                      <a:pt x="17" y="70"/>
                    </a:lnTo>
                    <a:lnTo>
                      <a:pt x="16" y="68"/>
                    </a:lnTo>
                    <a:lnTo>
                      <a:pt x="14" y="67"/>
                    </a:lnTo>
                    <a:lnTo>
                      <a:pt x="12" y="67"/>
                    </a:lnTo>
                    <a:lnTo>
                      <a:pt x="11" y="65"/>
                    </a:lnTo>
                    <a:lnTo>
                      <a:pt x="9" y="65"/>
                    </a:lnTo>
                    <a:lnTo>
                      <a:pt x="7" y="65"/>
                    </a:lnTo>
                    <a:lnTo>
                      <a:pt x="6" y="65"/>
                    </a:lnTo>
                    <a:lnTo>
                      <a:pt x="4" y="65"/>
                    </a:lnTo>
                    <a:lnTo>
                      <a:pt x="4" y="63"/>
                    </a:lnTo>
                    <a:lnTo>
                      <a:pt x="2" y="63"/>
                    </a:lnTo>
                    <a:lnTo>
                      <a:pt x="2" y="62"/>
                    </a:lnTo>
                    <a:lnTo>
                      <a:pt x="0" y="62"/>
                    </a:lnTo>
                    <a:lnTo>
                      <a:pt x="0" y="60"/>
                    </a:lnTo>
                    <a:lnTo>
                      <a:pt x="2" y="60"/>
                    </a:lnTo>
                    <a:lnTo>
                      <a:pt x="2" y="58"/>
                    </a:lnTo>
                    <a:lnTo>
                      <a:pt x="2" y="56"/>
                    </a:lnTo>
                    <a:lnTo>
                      <a:pt x="4" y="55"/>
                    </a:lnTo>
                    <a:lnTo>
                      <a:pt x="2" y="55"/>
                    </a:lnTo>
                    <a:lnTo>
                      <a:pt x="2" y="53"/>
                    </a:lnTo>
                    <a:lnTo>
                      <a:pt x="4" y="53"/>
                    </a:lnTo>
                    <a:lnTo>
                      <a:pt x="6" y="53"/>
                    </a:lnTo>
                    <a:lnTo>
                      <a:pt x="7" y="53"/>
                    </a:lnTo>
                    <a:lnTo>
                      <a:pt x="9" y="51"/>
                    </a:lnTo>
                    <a:lnTo>
                      <a:pt x="11" y="51"/>
                    </a:lnTo>
                    <a:lnTo>
                      <a:pt x="12" y="51"/>
                    </a:lnTo>
                    <a:lnTo>
                      <a:pt x="12" y="53"/>
                    </a:lnTo>
                    <a:lnTo>
                      <a:pt x="14" y="53"/>
                    </a:lnTo>
                    <a:lnTo>
                      <a:pt x="14" y="55"/>
                    </a:lnTo>
                    <a:lnTo>
                      <a:pt x="16" y="55"/>
                    </a:lnTo>
                    <a:lnTo>
                      <a:pt x="17" y="55"/>
                    </a:lnTo>
                    <a:lnTo>
                      <a:pt x="19" y="55"/>
                    </a:lnTo>
                    <a:lnTo>
                      <a:pt x="21" y="55"/>
                    </a:lnTo>
                    <a:lnTo>
                      <a:pt x="23" y="55"/>
                    </a:lnTo>
                    <a:lnTo>
                      <a:pt x="23" y="56"/>
                    </a:lnTo>
                    <a:lnTo>
                      <a:pt x="24" y="56"/>
                    </a:lnTo>
                    <a:lnTo>
                      <a:pt x="26" y="56"/>
                    </a:lnTo>
                    <a:lnTo>
                      <a:pt x="26" y="55"/>
                    </a:lnTo>
                    <a:lnTo>
                      <a:pt x="28" y="55"/>
                    </a:lnTo>
                    <a:lnTo>
                      <a:pt x="29" y="55"/>
                    </a:lnTo>
                    <a:lnTo>
                      <a:pt x="31" y="55"/>
                    </a:lnTo>
                    <a:lnTo>
                      <a:pt x="31" y="56"/>
                    </a:lnTo>
                    <a:lnTo>
                      <a:pt x="29" y="56"/>
                    </a:lnTo>
                    <a:lnTo>
                      <a:pt x="28" y="56"/>
                    </a:lnTo>
                    <a:lnTo>
                      <a:pt x="26" y="56"/>
                    </a:lnTo>
                    <a:lnTo>
                      <a:pt x="28" y="56"/>
                    </a:lnTo>
                    <a:lnTo>
                      <a:pt x="29" y="56"/>
                    </a:lnTo>
                    <a:lnTo>
                      <a:pt x="28" y="58"/>
                    </a:lnTo>
                    <a:lnTo>
                      <a:pt x="29" y="58"/>
                    </a:lnTo>
                    <a:lnTo>
                      <a:pt x="31" y="58"/>
                    </a:lnTo>
                    <a:lnTo>
                      <a:pt x="33" y="58"/>
                    </a:lnTo>
                    <a:lnTo>
                      <a:pt x="33" y="56"/>
                    </a:lnTo>
                    <a:lnTo>
                      <a:pt x="34" y="56"/>
                    </a:lnTo>
                    <a:lnTo>
                      <a:pt x="36" y="56"/>
                    </a:lnTo>
                    <a:lnTo>
                      <a:pt x="38" y="56"/>
                    </a:lnTo>
                    <a:lnTo>
                      <a:pt x="38" y="58"/>
                    </a:lnTo>
                    <a:lnTo>
                      <a:pt x="40" y="58"/>
                    </a:lnTo>
                    <a:lnTo>
                      <a:pt x="41" y="58"/>
                    </a:lnTo>
                    <a:lnTo>
                      <a:pt x="43" y="58"/>
                    </a:lnTo>
                    <a:lnTo>
                      <a:pt x="45" y="58"/>
                    </a:lnTo>
                    <a:lnTo>
                      <a:pt x="46" y="58"/>
                    </a:lnTo>
                    <a:lnTo>
                      <a:pt x="46" y="60"/>
                    </a:lnTo>
                    <a:lnTo>
                      <a:pt x="48" y="60"/>
                    </a:lnTo>
                    <a:lnTo>
                      <a:pt x="50" y="60"/>
                    </a:lnTo>
                    <a:lnTo>
                      <a:pt x="51" y="60"/>
                    </a:lnTo>
                    <a:lnTo>
                      <a:pt x="53" y="60"/>
                    </a:lnTo>
                    <a:lnTo>
                      <a:pt x="55" y="60"/>
                    </a:lnTo>
                    <a:lnTo>
                      <a:pt x="57" y="60"/>
                    </a:lnTo>
                    <a:lnTo>
                      <a:pt x="58" y="60"/>
                    </a:lnTo>
                    <a:lnTo>
                      <a:pt x="60" y="60"/>
                    </a:lnTo>
                    <a:lnTo>
                      <a:pt x="62" y="60"/>
                    </a:lnTo>
                    <a:lnTo>
                      <a:pt x="62" y="58"/>
                    </a:lnTo>
                    <a:lnTo>
                      <a:pt x="63" y="58"/>
                    </a:lnTo>
                    <a:lnTo>
                      <a:pt x="63" y="56"/>
                    </a:lnTo>
                    <a:lnTo>
                      <a:pt x="65" y="56"/>
                    </a:lnTo>
                    <a:lnTo>
                      <a:pt x="67" y="56"/>
                    </a:lnTo>
                    <a:lnTo>
                      <a:pt x="68" y="56"/>
                    </a:lnTo>
                    <a:lnTo>
                      <a:pt x="70" y="56"/>
                    </a:lnTo>
                    <a:lnTo>
                      <a:pt x="72" y="56"/>
                    </a:lnTo>
                    <a:lnTo>
                      <a:pt x="74" y="56"/>
                    </a:lnTo>
                    <a:lnTo>
                      <a:pt x="74" y="55"/>
                    </a:lnTo>
                    <a:lnTo>
                      <a:pt x="74" y="53"/>
                    </a:lnTo>
                    <a:lnTo>
                      <a:pt x="72" y="53"/>
                    </a:lnTo>
                    <a:lnTo>
                      <a:pt x="74" y="53"/>
                    </a:lnTo>
                    <a:lnTo>
                      <a:pt x="74" y="51"/>
                    </a:lnTo>
                    <a:lnTo>
                      <a:pt x="72" y="51"/>
                    </a:lnTo>
                    <a:lnTo>
                      <a:pt x="72" y="50"/>
                    </a:lnTo>
                    <a:lnTo>
                      <a:pt x="70" y="50"/>
                    </a:lnTo>
                    <a:lnTo>
                      <a:pt x="68" y="50"/>
                    </a:lnTo>
                    <a:lnTo>
                      <a:pt x="68" y="48"/>
                    </a:lnTo>
                    <a:lnTo>
                      <a:pt x="67" y="48"/>
                    </a:lnTo>
                    <a:lnTo>
                      <a:pt x="65" y="48"/>
                    </a:lnTo>
                    <a:lnTo>
                      <a:pt x="65" y="46"/>
                    </a:lnTo>
                    <a:lnTo>
                      <a:pt x="65" y="44"/>
                    </a:lnTo>
                    <a:lnTo>
                      <a:pt x="63" y="44"/>
                    </a:lnTo>
                    <a:lnTo>
                      <a:pt x="63" y="43"/>
                    </a:lnTo>
                    <a:lnTo>
                      <a:pt x="62" y="43"/>
                    </a:lnTo>
                    <a:lnTo>
                      <a:pt x="60" y="43"/>
                    </a:lnTo>
                    <a:lnTo>
                      <a:pt x="60" y="41"/>
                    </a:lnTo>
                    <a:lnTo>
                      <a:pt x="60" y="39"/>
                    </a:lnTo>
                    <a:lnTo>
                      <a:pt x="58" y="39"/>
                    </a:lnTo>
                    <a:lnTo>
                      <a:pt x="57" y="39"/>
                    </a:lnTo>
                    <a:lnTo>
                      <a:pt x="57" y="38"/>
                    </a:lnTo>
                    <a:lnTo>
                      <a:pt x="58" y="38"/>
                    </a:lnTo>
                    <a:lnTo>
                      <a:pt x="58" y="36"/>
                    </a:lnTo>
                    <a:lnTo>
                      <a:pt x="60" y="38"/>
                    </a:lnTo>
                    <a:lnTo>
                      <a:pt x="60" y="36"/>
                    </a:lnTo>
                    <a:lnTo>
                      <a:pt x="62" y="36"/>
                    </a:lnTo>
                    <a:lnTo>
                      <a:pt x="60" y="36"/>
                    </a:lnTo>
                    <a:lnTo>
                      <a:pt x="60" y="34"/>
                    </a:lnTo>
                    <a:lnTo>
                      <a:pt x="58" y="34"/>
                    </a:lnTo>
                    <a:lnTo>
                      <a:pt x="58" y="33"/>
                    </a:lnTo>
                    <a:lnTo>
                      <a:pt x="60" y="33"/>
                    </a:lnTo>
                    <a:lnTo>
                      <a:pt x="58" y="31"/>
                    </a:lnTo>
                    <a:lnTo>
                      <a:pt x="58" y="33"/>
                    </a:lnTo>
                    <a:lnTo>
                      <a:pt x="58" y="31"/>
                    </a:lnTo>
                    <a:lnTo>
                      <a:pt x="58" y="29"/>
                    </a:lnTo>
                    <a:lnTo>
                      <a:pt x="60" y="31"/>
                    </a:lnTo>
                    <a:lnTo>
                      <a:pt x="60" y="29"/>
                    </a:lnTo>
                    <a:lnTo>
                      <a:pt x="60" y="27"/>
                    </a:lnTo>
                    <a:lnTo>
                      <a:pt x="58" y="27"/>
                    </a:lnTo>
                    <a:lnTo>
                      <a:pt x="60" y="27"/>
                    </a:lnTo>
                    <a:lnTo>
                      <a:pt x="60" y="26"/>
                    </a:lnTo>
                    <a:lnTo>
                      <a:pt x="60" y="24"/>
                    </a:lnTo>
                    <a:lnTo>
                      <a:pt x="60" y="26"/>
                    </a:lnTo>
                    <a:lnTo>
                      <a:pt x="62" y="26"/>
                    </a:lnTo>
                    <a:lnTo>
                      <a:pt x="62" y="24"/>
                    </a:lnTo>
                    <a:lnTo>
                      <a:pt x="60" y="24"/>
                    </a:lnTo>
                    <a:lnTo>
                      <a:pt x="58" y="24"/>
                    </a:lnTo>
                    <a:lnTo>
                      <a:pt x="58" y="22"/>
                    </a:lnTo>
                    <a:lnTo>
                      <a:pt x="57" y="22"/>
                    </a:lnTo>
                    <a:lnTo>
                      <a:pt x="57" y="21"/>
                    </a:lnTo>
                    <a:lnTo>
                      <a:pt x="55" y="21"/>
                    </a:lnTo>
                    <a:lnTo>
                      <a:pt x="53" y="21"/>
                    </a:lnTo>
                    <a:lnTo>
                      <a:pt x="53" y="19"/>
                    </a:lnTo>
                    <a:lnTo>
                      <a:pt x="51" y="19"/>
                    </a:lnTo>
                    <a:lnTo>
                      <a:pt x="50" y="19"/>
                    </a:lnTo>
                    <a:lnTo>
                      <a:pt x="50" y="17"/>
                    </a:lnTo>
                    <a:lnTo>
                      <a:pt x="48" y="17"/>
                    </a:lnTo>
                    <a:lnTo>
                      <a:pt x="46" y="17"/>
                    </a:lnTo>
                    <a:lnTo>
                      <a:pt x="45" y="17"/>
                    </a:lnTo>
                    <a:lnTo>
                      <a:pt x="45" y="16"/>
                    </a:lnTo>
                    <a:lnTo>
                      <a:pt x="43" y="17"/>
                    </a:lnTo>
                    <a:lnTo>
                      <a:pt x="41" y="17"/>
                    </a:lnTo>
                    <a:lnTo>
                      <a:pt x="40" y="17"/>
                    </a:lnTo>
                    <a:lnTo>
                      <a:pt x="38" y="17"/>
                    </a:lnTo>
                    <a:lnTo>
                      <a:pt x="36" y="17"/>
                    </a:lnTo>
                    <a:lnTo>
                      <a:pt x="36" y="16"/>
                    </a:lnTo>
                    <a:lnTo>
                      <a:pt x="36" y="14"/>
                    </a:lnTo>
                    <a:lnTo>
                      <a:pt x="36" y="12"/>
                    </a:lnTo>
                    <a:lnTo>
                      <a:pt x="38" y="12"/>
                    </a:lnTo>
                    <a:lnTo>
                      <a:pt x="38" y="10"/>
                    </a:lnTo>
                    <a:lnTo>
                      <a:pt x="40" y="10"/>
                    </a:lnTo>
                    <a:lnTo>
                      <a:pt x="38" y="10"/>
                    </a:lnTo>
                    <a:lnTo>
                      <a:pt x="36" y="10"/>
                    </a:lnTo>
                    <a:lnTo>
                      <a:pt x="38" y="10"/>
                    </a:lnTo>
                    <a:lnTo>
                      <a:pt x="40" y="10"/>
                    </a:lnTo>
                    <a:lnTo>
                      <a:pt x="41" y="9"/>
                    </a:lnTo>
                    <a:lnTo>
                      <a:pt x="43" y="9"/>
                    </a:lnTo>
                    <a:lnTo>
                      <a:pt x="43" y="7"/>
                    </a:lnTo>
                    <a:lnTo>
                      <a:pt x="45" y="7"/>
                    </a:lnTo>
                    <a:lnTo>
                      <a:pt x="46" y="7"/>
                    </a:lnTo>
                    <a:lnTo>
                      <a:pt x="48" y="7"/>
                    </a:lnTo>
                    <a:lnTo>
                      <a:pt x="50" y="7"/>
                    </a:lnTo>
                    <a:lnTo>
                      <a:pt x="51" y="7"/>
                    </a:lnTo>
                    <a:lnTo>
                      <a:pt x="53" y="7"/>
                    </a:lnTo>
                    <a:lnTo>
                      <a:pt x="55" y="7"/>
                    </a:lnTo>
                    <a:lnTo>
                      <a:pt x="57" y="7"/>
                    </a:lnTo>
                    <a:lnTo>
                      <a:pt x="57" y="5"/>
                    </a:lnTo>
                    <a:lnTo>
                      <a:pt x="58" y="5"/>
                    </a:lnTo>
                    <a:lnTo>
                      <a:pt x="58" y="7"/>
                    </a:lnTo>
                    <a:lnTo>
                      <a:pt x="60" y="7"/>
                    </a:lnTo>
                    <a:lnTo>
                      <a:pt x="62" y="7"/>
                    </a:lnTo>
                    <a:lnTo>
                      <a:pt x="63" y="7"/>
                    </a:lnTo>
                    <a:lnTo>
                      <a:pt x="63" y="9"/>
                    </a:lnTo>
                    <a:lnTo>
                      <a:pt x="65" y="9"/>
                    </a:lnTo>
                    <a:lnTo>
                      <a:pt x="65" y="7"/>
                    </a:lnTo>
                    <a:lnTo>
                      <a:pt x="65" y="9"/>
                    </a:lnTo>
                    <a:lnTo>
                      <a:pt x="67" y="9"/>
                    </a:lnTo>
                    <a:lnTo>
                      <a:pt x="67" y="10"/>
                    </a:lnTo>
                    <a:lnTo>
                      <a:pt x="68" y="10"/>
                    </a:lnTo>
                    <a:lnTo>
                      <a:pt x="70" y="10"/>
                    </a:lnTo>
                    <a:lnTo>
                      <a:pt x="72" y="10"/>
                    </a:lnTo>
                    <a:lnTo>
                      <a:pt x="72" y="12"/>
                    </a:lnTo>
                    <a:lnTo>
                      <a:pt x="74" y="12"/>
                    </a:lnTo>
                    <a:lnTo>
                      <a:pt x="74" y="14"/>
                    </a:lnTo>
                    <a:lnTo>
                      <a:pt x="74" y="16"/>
                    </a:lnTo>
                    <a:lnTo>
                      <a:pt x="74" y="14"/>
                    </a:lnTo>
                    <a:lnTo>
                      <a:pt x="74" y="12"/>
                    </a:lnTo>
                    <a:lnTo>
                      <a:pt x="75" y="12"/>
                    </a:lnTo>
                    <a:lnTo>
                      <a:pt x="77" y="12"/>
                    </a:lnTo>
                    <a:lnTo>
                      <a:pt x="79" y="12"/>
                    </a:lnTo>
                    <a:lnTo>
                      <a:pt x="79" y="14"/>
                    </a:lnTo>
                    <a:lnTo>
                      <a:pt x="80" y="14"/>
                    </a:lnTo>
                    <a:lnTo>
                      <a:pt x="80" y="12"/>
                    </a:lnTo>
                    <a:lnTo>
                      <a:pt x="80" y="14"/>
                    </a:lnTo>
                    <a:lnTo>
                      <a:pt x="82" y="14"/>
                    </a:lnTo>
                    <a:lnTo>
                      <a:pt x="82" y="16"/>
                    </a:lnTo>
                    <a:lnTo>
                      <a:pt x="82" y="14"/>
                    </a:lnTo>
                    <a:lnTo>
                      <a:pt x="84" y="14"/>
                    </a:lnTo>
                    <a:lnTo>
                      <a:pt x="84" y="16"/>
                    </a:lnTo>
                    <a:lnTo>
                      <a:pt x="82" y="16"/>
                    </a:lnTo>
                    <a:lnTo>
                      <a:pt x="84" y="16"/>
                    </a:lnTo>
                    <a:lnTo>
                      <a:pt x="85" y="16"/>
                    </a:lnTo>
                    <a:lnTo>
                      <a:pt x="85" y="14"/>
                    </a:lnTo>
                    <a:lnTo>
                      <a:pt x="87" y="14"/>
                    </a:lnTo>
                    <a:lnTo>
                      <a:pt x="89" y="14"/>
                    </a:lnTo>
                    <a:lnTo>
                      <a:pt x="91" y="16"/>
                    </a:lnTo>
                    <a:lnTo>
                      <a:pt x="89" y="16"/>
                    </a:lnTo>
                    <a:lnTo>
                      <a:pt x="87" y="16"/>
                    </a:lnTo>
                    <a:lnTo>
                      <a:pt x="89" y="16"/>
                    </a:lnTo>
                    <a:lnTo>
                      <a:pt x="91" y="16"/>
                    </a:lnTo>
                    <a:lnTo>
                      <a:pt x="91" y="17"/>
                    </a:lnTo>
                    <a:lnTo>
                      <a:pt x="91" y="16"/>
                    </a:lnTo>
                    <a:lnTo>
                      <a:pt x="91" y="14"/>
                    </a:lnTo>
                    <a:lnTo>
                      <a:pt x="92" y="14"/>
                    </a:lnTo>
                    <a:lnTo>
                      <a:pt x="92" y="16"/>
                    </a:lnTo>
                    <a:close/>
                    <a:moveTo>
                      <a:pt x="45" y="41"/>
                    </a:moveTo>
                    <a:lnTo>
                      <a:pt x="46" y="41"/>
                    </a:lnTo>
                    <a:lnTo>
                      <a:pt x="46" y="43"/>
                    </a:lnTo>
                    <a:lnTo>
                      <a:pt x="48" y="43"/>
                    </a:lnTo>
                    <a:lnTo>
                      <a:pt x="50" y="43"/>
                    </a:lnTo>
                    <a:lnTo>
                      <a:pt x="50" y="44"/>
                    </a:lnTo>
                    <a:lnTo>
                      <a:pt x="51" y="44"/>
                    </a:lnTo>
                    <a:lnTo>
                      <a:pt x="53" y="44"/>
                    </a:lnTo>
                    <a:lnTo>
                      <a:pt x="53" y="46"/>
                    </a:lnTo>
                    <a:lnTo>
                      <a:pt x="55" y="44"/>
                    </a:lnTo>
                    <a:lnTo>
                      <a:pt x="55" y="46"/>
                    </a:lnTo>
                    <a:lnTo>
                      <a:pt x="57" y="46"/>
                    </a:lnTo>
                    <a:lnTo>
                      <a:pt x="57" y="48"/>
                    </a:lnTo>
                    <a:lnTo>
                      <a:pt x="58" y="48"/>
                    </a:lnTo>
                    <a:lnTo>
                      <a:pt x="58" y="50"/>
                    </a:lnTo>
                    <a:lnTo>
                      <a:pt x="57" y="50"/>
                    </a:lnTo>
                    <a:lnTo>
                      <a:pt x="58" y="51"/>
                    </a:lnTo>
                    <a:lnTo>
                      <a:pt x="57" y="51"/>
                    </a:lnTo>
                    <a:lnTo>
                      <a:pt x="57" y="50"/>
                    </a:lnTo>
                    <a:lnTo>
                      <a:pt x="55" y="50"/>
                    </a:lnTo>
                    <a:lnTo>
                      <a:pt x="53" y="50"/>
                    </a:lnTo>
                    <a:lnTo>
                      <a:pt x="51" y="50"/>
                    </a:lnTo>
                    <a:lnTo>
                      <a:pt x="50" y="48"/>
                    </a:lnTo>
                    <a:lnTo>
                      <a:pt x="48" y="48"/>
                    </a:lnTo>
                    <a:lnTo>
                      <a:pt x="46" y="46"/>
                    </a:lnTo>
                    <a:lnTo>
                      <a:pt x="45" y="46"/>
                    </a:lnTo>
                    <a:lnTo>
                      <a:pt x="43" y="46"/>
                    </a:lnTo>
                    <a:lnTo>
                      <a:pt x="43" y="44"/>
                    </a:lnTo>
                    <a:lnTo>
                      <a:pt x="41" y="44"/>
                    </a:lnTo>
                    <a:lnTo>
                      <a:pt x="41" y="43"/>
                    </a:lnTo>
                    <a:lnTo>
                      <a:pt x="41" y="41"/>
                    </a:lnTo>
                    <a:lnTo>
                      <a:pt x="43" y="41"/>
                    </a:lnTo>
                    <a:lnTo>
                      <a:pt x="45" y="41"/>
                    </a:lnTo>
                    <a:close/>
                    <a:moveTo>
                      <a:pt x="58" y="2"/>
                    </a:moveTo>
                    <a:lnTo>
                      <a:pt x="60" y="2"/>
                    </a:lnTo>
                    <a:lnTo>
                      <a:pt x="62" y="2"/>
                    </a:lnTo>
                    <a:lnTo>
                      <a:pt x="62" y="4"/>
                    </a:lnTo>
                    <a:lnTo>
                      <a:pt x="63" y="4"/>
                    </a:lnTo>
                    <a:lnTo>
                      <a:pt x="62" y="4"/>
                    </a:lnTo>
                    <a:lnTo>
                      <a:pt x="60" y="4"/>
                    </a:lnTo>
                    <a:lnTo>
                      <a:pt x="58" y="4"/>
                    </a:lnTo>
                    <a:lnTo>
                      <a:pt x="57" y="4"/>
                    </a:lnTo>
                    <a:lnTo>
                      <a:pt x="55" y="4"/>
                    </a:lnTo>
                    <a:lnTo>
                      <a:pt x="55" y="2"/>
                    </a:lnTo>
                    <a:lnTo>
                      <a:pt x="53" y="2"/>
                    </a:lnTo>
                    <a:lnTo>
                      <a:pt x="51" y="2"/>
                    </a:lnTo>
                    <a:lnTo>
                      <a:pt x="53" y="2"/>
                    </a:lnTo>
                    <a:lnTo>
                      <a:pt x="55" y="2"/>
                    </a:lnTo>
                    <a:lnTo>
                      <a:pt x="57" y="0"/>
                    </a:lnTo>
                    <a:lnTo>
                      <a:pt x="57" y="2"/>
                    </a:lnTo>
                    <a:lnTo>
                      <a:pt x="57" y="0"/>
                    </a:lnTo>
                    <a:lnTo>
                      <a:pt x="58" y="0"/>
                    </a:lnTo>
                    <a:lnTo>
                      <a:pt x="58" y="2"/>
                    </a:lnTo>
                    <a:close/>
                    <a:moveTo>
                      <a:pt x="28" y="53"/>
                    </a:moveTo>
                    <a:lnTo>
                      <a:pt x="28" y="55"/>
                    </a:lnTo>
                    <a:lnTo>
                      <a:pt x="26" y="55"/>
                    </a:lnTo>
                    <a:lnTo>
                      <a:pt x="24" y="55"/>
                    </a:lnTo>
                    <a:lnTo>
                      <a:pt x="24" y="53"/>
                    </a:lnTo>
                    <a:lnTo>
                      <a:pt x="26" y="53"/>
                    </a:lnTo>
                    <a:lnTo>
                      <a:pt x="28" y="53"/>
                    </a:lnTo>
                    <a:close/>
                    <a:moveTo>
                      <a:pt x="28" y="72"/>
                    </a:moveTo>
                    <a:lnTo>
                      <a:pt x="29" y="72"/>
                    </a:lnTo>
                    <a:lnTo>
                      <a:pt x="29" y="73"/>
                    </a:lnTo>
                    <a:lnTo>
                      <a:pt x="31" y="72"/>
                    </a:lnTo>
                    <a:lnTo>
                      <a:pt x="31" y="73"/>
                    </a:lnTo>
                    <a:lnTo>
                      <a:pt x="29" y="73"/>
                    </a:lnTo>
                    <a:lnTo>
                      <a:pt x="28" y="73"/>
                    </a:lnTo>
                    <a:lnTo>
                      <a:pt x="28" y="72"/>
                    </a:lnTo>
                    <a:close/>
                    <a:moveTo>
                      <a:pt x="36" y="67"/>
                    </a:moveTo>
                    <a:lnTo>
                      <a:pt x="38" y="67"/>
                    </a:lnTo>
                    <a:lnTo>
                      <a:pt x="38" y="68"/>
                    </a:lnTo>
                    <a:lnTo>
                      <a:pt x="36" y="68"/>
                    </a:lnTo>
                    <a:lnTo>
                      <a:pt x="36" y="67"/>
                    </a:lnTo>
                    <a:close/>
                    <a:moveTo>
                      <a:pt x="24" y="53"/>
                    </a:moveTo>
                    <a:lnTo>
                      <a:pt x="24" y="55"/>
                    </a:lnTo>
                    <a:lnTo>
                      <a:pt x="24" y="53"/>
                    </a:lnTo>
                    <a:close/>
                    <a:moveTo>
                      <a:pt x="29" y="56"/>
                    </a:moveTo>
                    <a:lnTo>
                      <a:pt x="29" y="58"/>
                    </a:lnTo>
                    <a:lnTo>
                      <a:pt x="29" y="56"/>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90" name="Freeform 38">
                <a:extLst>
                  <a:ext uri="{FF2B5EF4-FFF2-40B4-BE49-F238E27FC236}">
                    <a16:creationId xmlns:a16="http://schemas.microsoft.com/office/drawing/2014/main" id="{77AFDD85-3F73-C2A1-E43B-A9DECF7245B2}"/>
                  </a:ext>
                </a:extLst>
              </p:cNvPr>
              <p:cNvSpPr>
                <a:spLocks noEditPoints="1"/>
              </p:cNvSpPr>
              <p:nvPr/>
            </p:nvSpPr>
            <p:spPr bwMode="auto">
              <a:xfrm>
                <a:off x="4864100" y="1555750"/>
                <a:ext cx="331787" cy="196850"/>
              </a:xfrm>
              <a:custGeom>
                <a:avLst/>
                <a:gdLst>
                  <a:gd name="T0" fmla="*/ 5 w 209"/>
                  <a:gd name="T1" fmla="*/ 59 h 124"/>
                  <a:gd name="T2" fmla="*/ 15 w 209"/>
                  <a:gd name="T3" fmla="*/ 46 h 124"/>
                  <a:gd name="T4" fmla="*/ 32 w 209"/>
                  <a:gd name="T5" fmla="*/ 34 h 124"/>
                  <a:gd name="T6" fmla="*/ 48 w 209"/>
                  <a:gd name="T7" fmla="*/ 25 h 124"/>
                  <a:gd name="T8" fmla="*/ 58 w 209"/>
                  <a:gd name="T9" fmla="*/ 27 h 124"/>
                  <a:gd name="T10" fmla="*/ 61 w 209"/>
                  <a:gd name="T11" fmla="*/ 25 h 124"/>
                  <a:gd name="T12" fmla="*/ 82 w 209"/>
                  <a:gd name="T13" fmla="*/ 27 h 124"/>
                  <a:gd name="T14" fmla="*/ 104 w 209"/>
                  <a:gd name="T15" fmla="*/ 25 h 124"/>
                  <a:gd name="T16" fmla="*/ 116 w 209"/>
                  <a:gd name="T17" fmla="*/ 17 h 124"/>
                  <a:gd name="T18" fmla="*/ 133 w 209"/>
                  <a:gd name="T19" fmla="*/ 24 h 124"/>
                  <a:gd name="T20" fmla="*/ 148 w 209"/>
                  <a:gd name="T21" fmla="*/ 20 h 124"/>
                  <a:gd name="T22" fmla="*/ 155 w 209"/>
                  <a:gd name="T23" fmla="*/ 22 h 124"/>
                  <a:gd name="T24" fmla="*/ 162 w 209"/>
                  <a:gd name="T25" fmla="*/ 27 h 124"/>
                  <a:gd name="T26" fmla="*/ 165 w 209"/>
                  <a:gd name="T27" fmla="*/ 24 h 124"/>
                  <a:gd name="T28" fmla="*/ 179 w 209"/>
                  <a:gd name="T29" fmla="*/ 32 h 124"/>
                  <a:gd name="T30" fmla="*/ 184 w 209"/>
                  <a:gd name="T31" fmla="*/ 36 h 124"/>
                  <a:gd name="T32" fmla="*/ 180 w 209"/>
                  <a:gd name="T33" fmla="*/ 36 h 124"/>
                  <a:gd name="T34" fmla="*/ 173 w 209"/>
                  <a:gd name="T35" fmla="*/ 36 h 124"/>
                  <a:gd name="T36" fmla="*/ 179 w 209"/>
                  <a:gd name="T37" fmla="*/ 41 h 124"/>
                  <a:gd name="T38" fmla="*/ 180 w 209"/>
                  <a:gd name="T39" fmla="*/ 41 h 124"/>
                  <a:gd name="T40" fmla="*/ 182 w 209"/>
                  <a:gd name="T41" fmla="*/ 39 h 124"/>
                  <a:gd name="T42" fmla="*/ 190 w 209"/>
                  <a:gd name="T43" fmla="*/ 46 h 124"/>
                  <a:gd name="T44" fmla="*/ 194 w 209"/>
                  <a:gd name="T45" fmla="*/ 47 h 124"/>
                  <a:gd name="T46" fmla="*/ 192 w 209"/>
                  <a:gd name="T47" fmla="*/ 42 h 124"/>
                  <a:gd name="T48" fmla="*/ 197 w 209"/>
                  <a:gd name="T49" fmla="*/ 42 h 124"/>
                  <a:gd name="T50" fmla="*/ 206 w 209"/>
                  <a:gd name="T51" fmla="*/ 54 h 124"/>
                  <a:gd name="T52" fmla="*/ 196 w 209"/>
                  <a:gd name="T53" fmla="*/ 54 h 124"/>
                  <a:gd name="T54" fmla="*/ 180 w 209"/>
                  <a:gd name="T55" fmla="*/ 61 h 124"/>
                  <a:gd name="T56" fmla="*/ 168 w 209"/>
                  <a:gd name="T57" fmla="*/ 63 h 124"/>
                  <a:gd name="T58" fmla="*/ 156 w 209"/>
                  <a:gd name="T59" fmla="*/ 63 h 124"/>
                  <a:gd name="T60" fmla="*/ 146 w 209"/>
                  <a:gd name="T61" fmla="*/ 64 h 124"/>
                  <a:gd name="T62" fmla="*/ 141 w 209"/>
                  <a:gd name="T63" fmla="*/ 73 h 124"/>
                  <a:gd name="T64" fmla="*/ 134 w 209"/>
                  <a:gd name="T65" fmla="*/ 83 h 124"/>
                  <a:gd name="T66" fmla="*/ 122 w 209"/>
                  <a:gd name="T67" fmla="*/ 93 h 124"/>
                  <a:gd name="T68" fmla="*/ 112 w 209"/>
                  <a:gd name="T69" fmla="*/ 87 h 124"/>
                  <a:gd name="T70" fmla="*/ 99 w 209"/>
                  <a:gd name="T71" fmla="*/ 95 h 124"/>
                  <a:gd name="T72" fmla="*/ 88 w 209"/>
                  <a:gd name="T73" fmla="*/ 102 h 124"/>
                  <a:gd name="T74" fmla="*/ 83 w 209"/>
                  <a:gd name="T75" fmla="*/ 114 h 124"/>
                  <a:gd name="T76" fmla="*/ 75 w 209"/>
                  <a:gd name="T77" fmla="*/ 122 h 124"/>
                  <a:gd name="T78" fmla="*/ 73 w 209"/>
                  <a:gd name="T79" fmla="*/ 121 h 124"/>
                  <a:gd name="T80" fmla="*/ 70 w 209"/>
                  <a:gd name="T81" fmla="*/ 119 h 124"/>
                  <a:gd name="T82" fmla="*/ 65 w 209"/>
                  <a:gd name="T83" fmla="*/ 114 h 124"/>
                  <a:gd name="T84" fmla="*/ 65 w 209"/>
                  <a:gd name="T85" fmla="*/ 112 h 124"/>
                  <a:gd name="T86" fmla="*/ 58 w 209"/>
                  <a:gd name="T87" fmla="*/ 109 h 124"/>
                  <a:gd name="T88" fmla="*/ 56 w 209"/>
                  <a:gd name="T89" fmla="*/ 110 h 124"/>
                  <a:gd name="T90" fmla="*/ 54 w 209"/>
                  <a:gd name="T91" fmla="*/ 102 h 124"/>
                  <a:gd name="T92" fmla="*/ 46 w 209"/>
                  <a:gd name="T93" fmla="*/ 93 h 124"/>
                  <a:gd name="T94" fmla="*/ 34 w 209"/>
                  <a:gd name="T95" fmla="*/ 93 h 124"/>
                  <a:gd name="T96" fmla="*/ 20 w 209"/>
                  <a:gd name="T97" fmla="*/ 87 h 124"/>
                  <a:gd name="T98" fmla="*/ 7 w 209"/>
                  <a:gd name="T99" fmla="*/ 76 h 124"/>
                  <a:gd name="T100" fmla="*/ 48 w 209"/>
                  <a:gd name="T101" fmla="*/ 58 h 124"/>
                  <a:gd name="T102" fmla="*/ 94 w 209"/>
                  <a:gd name="T103" fmla="*/ 8 h 124"/>
                  <a:gd name="T104" fmla="*/ 119 w 209"/>
                  <a:gd name="T105" fmla="*/ 2 h 124"/>
                  <a:gd name="T106" fmla="*/ 60 w 209"/>
                  <a:gd name="T107" fmla="*/ 110 h 124"/>
                  <a:gd name="T108" fmla="*/ 58 w 209"/>
                  <a:gd name="T109" fmla="*/ 114 h 124"/>
                  <a:gd name="T110" fmla="*/ 61 w 209"/>
                  <a:gd name="T111" fmla="*/ 112 h 124"/>
                  <a:gd name="T112" fmla="*/ 105 w 209"/>
                  <a:gd name="T113" fmla="*/ 3 h 124"/>
                  <a:gd name="T114" fmla="*/ 97 w 209"/>
                  <a:gd name="T115" fmla="*/ 19 h 124"/>
                  <a:gd name="T116" fmla="*/ 65 w 209"/>
                  <a:gd name="T117" fmla="*/ 109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9" h="124">
                    <a:moveTo>
                      <a:pt x="0" y="73"/>
                    </a:moveTo>
                    <a:lnTo>
                      <a:pt x="0" y="71"/>
                    </a:lnTo>
                    <a:lnTo>
                      <a:pt x="2" y="71"/>
                    </a:lnTo>
                    <a:lnTo>
                      <a:pt x="2" y="70"/>
                    </a:lnTo>
                    <a:lnTo>
                      <a:pt x="3" y="70"/>
                    </a:lnTo>
                    <a:lnTo>
                      <a:pt x="3" y="68"/>
                    </a:lnTo>
                    <a:lnTo>
                      <a:pt x="5" y="68"/>
                    </a:lnTo>
                    <a:lnTo>
                      <a:pt x="7" y="68"/>
                    </a:lnTo>
                    <a:lnTo>
                      <a:pt x="7" y="66"/>
                    </a:lnTo>
                    <a:lnTo>
                      <a:pt x="7" y="64"/>
                    </a:lnTo>
                    <a:lnTo>
                      <a:pt x="7" y="63"/>
                    </a:lnTo>
                    <a:lnTo>
                      <a:pt x="7" y="61"/>
                    </a:lnTo>
                    <a:lnTo>
                      <a:pt x="5" y="61"/>
                    </a:lnTo>
                    <a:lnTo>
                      <a:pt x="5" y="59"/>
                    </a:lnTo>
                    <a:lnTo>
                      <a:pt x="5" y="58"/>
                    </a:lnTo>
                    <a:lnTo>
                      <a:pt x="5" y="56"/>
                    </a:lnTo>
                    <a:lnTo>
                      <a:pt x="7" y="56"/>
                    </a:lnTo>
                    <a:lnTo>
                      <a:pt x="7" y="54"/>
                    </a:lnTo>
                    <a:lnTo>
                      <a:pt x="5" y="53"/>
                    </a:lnTo>
                    <a:lnTo>
                      <a:pt x="7" y="53"/>
                    </a:lnTo>
                    <a:lnTo>
                      <a:pt x="7" y="51"/>
                    </a:lnTo>
                    <a:lnTo>
                      <a:pt x="9" y="51"/>
                    </a:lnTo>
                    <a:lnTo>
                      <a:pt x="10" y="49"/>
                    </a:lnTo>
                    <a:lnTo>
                      <a:pt x="12" y="49"/>
                    </a:lnTo>
                    <a:lnTo>
                      <a:pt x="14" y="49"/>
                    </a:lnTo>
                    <a:lnTo>
                      <a:pt x="14" y="47"/>
                    </a:lnTo>
                    <a:lnTo>
                      <a:pt x="15" y="47"/>
                    </a:lnTo>
                    <a:lnTo>
                      <a:pt x="15" y="46"/>
                    </a:lnTo>
                    <a:lnTo>
                      <a:pt x="17" y="46"/>
                    </a:lnTo>
                    <a:lnTo>
                      <a:pt x="17" y="44"/>
                    </a:lnTo>
                    <a:lnTo>
                      <a:pt x="19" y="44"/>
                    </a:lnTo>
                    <a:lnTo>
                      <a:pt x="20" y="44"/>
                    </a:lnTo>
                    <a:lnTo>
                      <a:pt x="20" y="42"/>
                    </a:lnTo>
                    <a:lnTo>
                      <a:pt x="22" y="42"/>
                    </a:lnTo>
                    <a:lnTo>
                      <a:pt x="22" y="41"/>
                    </a:lnTo>
                    <a:lnTo>
                      <a:pt x="24" y="41"/>
                    </a:lnTo>
                    <a:lnTo>
                      <a:pt x="26" y="39"/>
                    </a:lnTo>
                    <a:lnTo>
                      <a:pt x="27" y="39"/>
                    </a:lnTo>
                    <a:lnTo>
                      <a:pt x="27" y="37"/>
                    </a:lnTo>
                    <a:lnTo>
                      <a:pt x="29" y="36"/>
                    </a:lnTo>
                    <a:lnTo>
                      <a:pt x="31" y="36"/>
                    </a:lnTo>
                    <a:lnTo>
                      <a:pt x="32" y="34"/>
                    </a:lnTo>
                    <a:lnTo>
                      <a:pt x="34" y="32"/>
                    </a:lnTo>
                    <a:lnTo>
                      <a:pt x="34" y="30"/>
                    </a:lnTo>
                    <a:lnTo>
                      <a:pt x="36" y="29"/>
                    </a:lnTo>
                    <a:lnTo>
                      <a:pt x="36" y="30"/>
                    </a:lnTo>
                    <a:lnTo>
                      <a:pt x="36" y="29"/>
                    </a:lnTo>
                    <a:lnTo>
                      <a:pt x="37" y="29"/>
                    </a:lnTo>
                    <a:lnTo>
                      <a:pt x="39" y="29"/>
                    </a:lnTo>
                    <a:lnTo>
                      <a:pt x="41" y="29"/>
                    </a:lnTo>
                    <a:lnTo>
                      <a:pt x="43" y="29"/>
                    </a:lnTo>
                    <a:lnTo>
                      <a:pt x="43" y="27"/>
                    </a:lnTo>
                    <a:lnTo>
                      <a:pt x="44" y="27"/>
                    </a:lnTo>
                    <a:lnTo>
                      <a:pt x="44" y="25"/>
                    </a:lnTo>
                    <a:lnTo>
                      <a:pt x="46" y="25"/>
                    </a:lnTo>
                    <a:lnTo>
                      <a:pt x="48" y="25"/>
                    </a:lnTo>
                    <a:lnTo>
                      <a:pt x="48" y="24"/>
                    </a:lnTo>
                    <a:lnTo>
                      <a:pt x="49" y="24"/>
                    </a:lnTo>
                    <a:lnTo>
                      <a:pt x="49" y="22"/>
                    </a:lnTo>
                    <a:lnTo>
                      <a:pt x="51" y="22"/>
                    </a:lnTo>
                    <a:lnTo>
                      <a:pt x="53" y="22"/>
                    </a:lnTo>
                    <a:lnTo>
                      <a:pt x="54" y="22"/>
                    </a:lnTo>
                    <a:lnTo>
                      <a:pt x="56" y="22"/>
                    </a:lnTo>
                    <a:lnTo>
                      <a:pt x="58" y="22"/>
                    </a:lnTo>
                    <a:lnTo>
                      <a:pt x="60" y="20"/>
                    </a:lnTo>
                    <a:lnTo>
                      <a:pt x="58" y="22"/>
                    </a:lnTo>
                    <a:lnTo>
                      <a:pt x="60" y="22"/>
                    </a:lnTo>
                    <a:lnTo>
                      <a:pt x="60" y="24"/>
                    </a:lnTo>
                    <a:lnTo>
                      <a:pt x="58" y="25"/>
                    </a:lnTo>
                    <a:lnTo>
                      <a:pt x="58" y="27"/>
                    </a:lnTo>
                    <a:lnTo>
                      <a:pt x="60" y="25"/>
                    </a:lnTo>
                    <a:lnTo>
                      <a:pt x="60" y="27"/>
                    </a:lnTo>
                    <a:lnTo>
                      <a:pt x="61" y="27"/>
                    </a:lnTo>
                    <a:lnTo>
                      <a:pt x="63" y="27"/>
                    </a:lnTo>
                    <a:lnTo>
                      <a:pt x="63" y="25"/>
                    </a:lnTo>
                    <a:lnTo>
                      <a:pt x="61" y="25"/>
                    </a:lnTo>
                    <a:lnTo>
                      <a:pt x="63" y="27"/>
                    </a:lnTo>
                    <a:lnTo>
                      <a:pt x="61" y="27"/>
                    </a:lnTo>
                    <a:lnTo>
                      <a:pt x="61" y="25"/>
                    </a:lnTo>
                    <a:lnTo>
                      <a:pt x="60" y="25"/>
                    </a:lnTo>
                    <a:lnTo>
                      <a:pt x="60" y="24"/>
                    </a:lnTo>
                    <a:lnTo>
                      <a:pt x="61" y="25"/>
                    </a:lnTo>
                    <a:lnTo>
                      <a:pt x="60" y="24"/>
                    </a:lnTo>
                    <a:lnTo>
                      <a:pt x="61" y="25"/>
                    </a:lnTo>
                    <a:lnTo>
                      <a:pt x="63" y="25"/>
                    </a:lnTo>
                    <a:lnTo>
                      <a:pt x="65" y="25"/>
                    </a:lnTo>
                    <a:lnTo>
                      <a:pt x="66" y="25"/>
                    </a:lnTo>
                    <a:lnTo>
                      <a:pt x="66" y="24"/>
                    </a:lnTo>
                    <a:lnTo>
                      <a:pt x="68" y="24"/>
                    </a:lnTo>
                    <a:lnTo>
                      <a:pt x="70" y="24"/>
                    </a:lnTo>
                    <a:lnTo>
                      <a:pt x="70" y="25"/>
                    </a:lnTo>
                    <a:lnTo>
                      <a:pt x="71" y="25"/>
                    </a:lnTo>
                    <a:lnTo>
                      <a:pt x="73" y="25"/>
                    </a:lnTo>
                    <a:lnTo>
                      <a:pt x="75" y="25"/>
                    </a:lnTo>
                    <a:lnTo>
                      <a:pt x="77" y="25"/>
                    </a:lnTo>
                    <a:lnTo>
                      <a:pt x="78" y="25"/>
                    </a:lnTo>
                    <a:lnTo>
                      <a:pt x="80" y="27"/>
                    </a:lnTo>
                    <a:lnTo>
                      <a:pt x="82" y="27"/>
                    </a:lnTo>
                    <a:lnTo>
                      <a:pt x="83" y="27"/>
                    </a:lnTo>
                    <a:lnTo>
                      <a:pt x="85" y="27"/>
                    </a:lnTo>
                    <a:lnTo>
                      <a:pt x="85" y="25"/>
                    </a:lnTo>
                    <a:lnTo>
                      <a:pt x="87" y="25"/>
                    </a:lnTo>
                    <a:lnTo>
                      <a:pt x="88" y="25"/>
                    </a:lnTo>
                    <a:lnTo>
                      <a:pt x="90" y="25"/>
                    </a:lnTo>
                    <a:lnTo>
                      <a:pt x="92" y="25"/>
                    </a:lnTo>
                    <a:lnTo>
                      <a:pt x="94" y="25"/>
                    </a:lnTo>
                    <a:lnTo>
                      <a:pt x="95" y="25"/>
                    </a:lnTo>
                    <a:lnTo>
                      <a:pt x="97" y="25"/>
                    </a:lnTo>
                    <a:lnTo>
                      <a:pt x="99" y="25"/>
                    </a:lnTo>
                    <a:lnTo>
                      <a:pt x="100" y="25"/>
                    </a:lnTo>
                    <a:lnTo>
                      <a:pt x="102" y="25"/>
                    </a:lnTo>
                    <a:lnTo>
                      <a:pt x="104" y="25"/>
                    </a:lnTo>
                    <a:lnTo>
                      <a:pt x="104" y="24"/>
                    </a:lnTo>
                    <a:lnTo>
                      <a:pt x="105" y="24"/>
                    </a:lnTo>
                    <a:lnTo>
                      <a:pt x="107" y="22"/>
                    </a:lnTo>
                    <a:lnTo>
                      <a:pt x="109" y="22"/>
                    </a:lnTo>
                    <a:lnTo>
                      <a:pt x="111" y="22"/>
                    </a:lnTo>
                    <a:lnTo>
                      <a:pt x="112" y="22"/>
                    </a:lnTo>
                    <a:lnTo>
                      <a:pt x="114" y="22"/>
                    </a:lnTo>
                    <a:lnTo>
                      <a:pt x="114" y="20"/>
                    </a:lnTo>
                    <a:lnTo>
                      <a:pt x="116" y="20"/>
                    </a:lnTo>
                    <a:lnTo>
                      <a:pt x="116" y="19"/>
                    </a:lnTo>
                    <a:lnTo>
                      <a:pt x="114" y="19"/>
                    </a:lnTo>
                    <a:lnTo>
                      <a:pt x="112" y="17"/>
                    </a:lnTo>
                    <a:lnTo>
                      <a:pt x="114" y="17"/>
                    </a:lnTo>
                    <a:lnTo>
                      <a:pt x="116" y="17"/>
                    </a:lnTo>
                    <a:lnTo>
                      <a:pt x="116" y="19"/>
                    </a:lnTo>
                    <a:lnTo>
                      <a:pt x="117" y="19"/>
                    </a:lnTo>
                    <a:lnTo>
                      <a:pt x="119" y="19"/>
                    </a:lnTo>
                    <a:lnTo>
                      <a:pt x="121" y="19"/>
                    </a:lnTo>
                    <a:lnTo>
                      <a:pt x="122" y="19"/>
                    </a:lnTo>
                    <a:lnTo>
                      <a:pt x="122" y="20"/>
                    </a:lnTo>
                    <a:lnTo>
                      <a:pt x="124" y="20"/>
                    </a:lnTo>
                    <a:lnTo>
                      <a:pt x="126" y="20"/>
                    </a:lnTo>
                    <a:lnTo>
                      <a:pt x="126" y="22"/>
                    </a:lnTo>
                    <a:lnTo>
                      <a:pt x="128" y="22"/>
                    </a:lnTo>
                    <a:lnTo>
                      <a:pt x="129" y="22"/>
                    </a:lnTo>
                    <a:lnTo>
                      <a:pt x="129" y="24"/>
                    </a:lnTo>
                    <a:lnTo>
                      <a:pt x="131" y="24"/>
                    </a:lnTo>
                    <a:lnTo>
                      <a:pt x="133" y="24"/>
                    </a:lnTo>
                    <a:lnTo>
                      <a:pt x="133" y="22"/>
                    </a:lnTo>
                    <a:lnTo>
                      <a:pt x="134" y="22"/>
                    </a:lnTo>
                    <a:lnTo>
                      <a:pt x="136" y="22"/>
                    </a:lnTo>
                    <a:lnTo>
                      <a:pt x="138" y="22"/>
                    </a:lnTo>
                    <a:lnTo>
                      <a:pt x="139" y="22"/>
                    </a:lnTo>
                    <a:lnTo>
                      <a:pt x="141" y="22"/>
                    </a:lnTo>
                    <a:lnTo>
                      <a:pt x="141" y="20"/>
                    </a:lnTo>
                    <a:lnTo>
                      <a:pt x="143" y="20"/>
                    </a:lnTo>
                    <a:lnTo>
                      <a:pt x="145" y="19"/>
                    </a:lnTo>
                    <a:lnTo>
                      <a:pt x="146" y="19"/>
                    </a:lnTo>
                    <a:lnTo>
                      <a:pt x="148" y="19"/>
                    </a:lnTo>
                    <a:lnTo>
                      <a:pt x="148" y="20"/>
                    </a:lnTo>
                    <a:lnTo>
                      <a:pt x="150" y="20"/>
                    </a:lnTo>
                    <a:lnTo>
                      <a:pt x="148" y="20"/>
                    </a:lnTo>
                    <a:lnTo>
                      <a:pt x="148" y="19"/>
                    </a:lnTo>
                    <a:lnTo>
                      <a:pt x="148" y="20"/>
                    </a:lnTo>
                    <a:lnTo>
                      <a:pt x="148" y="19"/>
                    </a:lnTo>
                    <a:lnTo>
                      <a:pt x="148" y="20"/>
                    </a:lnTo>
                    <a:lnTo>
                      <a:pt x="150" y="20"/>
                    </a:lnTo>
                    <a:lnTo>
                      <a:pt x="151" y="20"/>
                    </a:lnTo>
                    <a:lnTo>
                      <a:pt x="151" y="22"/>
                    </a:lnTo>
                    <a:lnTo>
                      <a:pt x="153" y="22"/>
                    </a:lnTo>
                    <a:lnTo>
                      <a:pt x="151" y="22"/>
                    </a:lnTo>
                    <a:lnTo>
                      <a:pt x="153" y="22"/>
                    </a:lnTo>
                    <a:lnTo>
                      <a:pt x="151" y="22"/>
                    </a:lnTo>
                    <a:lnTo>
                      <a:pt x="153" y="24"/>
                    </a:lnTo>
                    <a:lnTo>
                      <a:pt x="155" y="24"/>
                    </a:lnTo>
                    <a:lnTo>
                      <a:pt x="155" y="22"/>
                    </a:lnTo>
                    <a:lnTo>
                      <a:pt x="153" y="22"/>
                    </a:lnTo>
                    <a:lnTo>
                      <a:pt x="151" y="20"/>
                    </a:lnTo>
                    <a:lnTo>
                      <a:pt x="150" y="20"/>
                    </a:lnTo>
                    <a:lnTo>
                      <a:pt x="151" y="20"/>
                    </a:lnTo>
                    <a:lnTo>
                      <a:pt x="153" y="20"/>
                    </a:lnTo>
                    <a:lnTo>
                      <a:pt x="153" y="22"/>
                    </a:lnTo>
                    <a:lnTo>
                      <a:pt x="155" y="22"/>
                    </a:lnTo>
                    <a:lnTo>
                      <a:pt x="156" y="22"/>
                    </a:lnTo>
                    <a:lnTo>
                      <a:pt x="158" y="24"/>
                    </a:lnTo>
                    <a:lnTo>
                      <a:pt x="158" y="25"/>
                    </a:lnTo>
                    <a:lnTo>
                      <a:pt x="158" y="27"/>
                    </a:lnTo>
                    <a:lnTo>
                      <a:pt x="160" y="25"/>
                    </a:lnTo>
                    <a:lnTo>
                      <a:pt x="162" y="25"/>
                    </a:lnTo>
                    <a:lnTo>
                      <a:pt x="162" y="27"/>
                    </a:lnTo>
                    <a:lnTo>
                      <a:pt x="162" y="25"/>
                    </a:lnTo>
                    <a:lnTo>
                      <a:pt x="163" y="27"/>
                    </a:lnTo>
                    <a:lnTo>
                      <a:pt x="163" y="25"/>
                    </a:lnTo>
                    <a:lnTo>
                      <a:pt x="165" y="25"/>
                    </a:lnTo>
                    <a:lnTo>
                      <a:pt x="165" y="24"/>
                    </a:lnTo>
                    <a:lnTo>
                      <a:pt x="165" y="25"/>
                    </a:lnTo>
                    <a:lnTo>
                      <a:pt x="167" y="25"/>
                    </a:lnTo>
                    <a:lnTo>
                      <a:pt x="165" y="25"/>
                    </a:lnTo>
                    <a:lnTo>
                      <a:pt x="163" y="24"/>
                    </a:lnTo>
                    <a:lnTo>
                      <a:pt x="162" y="24"/>
                    </a:lnTo>
                    <a:lnTo>
                      <a:pt x="160" y="24"/>
                    </a:lnTo>
                    <a:lnTo>
                      <a:pt x="162" y="24"/>
                    </a:lnTo>
                    <a:lnTo>
                      <a:pt x="163" y="24"/>
                    </a:lnTo>
                    <a:lnTo>
                      <a:pt x="165" y="24"/>
                    </a:lnTo>
                    <a:lnTo>
                      <a:pt x="167" y="24"/>
                    </a:lnTo>
                    <a:lnTo>
                      <a:pt x="167" y="25"/>
                    </a:lnTo>
                    <a:lnTo>
                      <a:pt x="168" y="25"/>
                    </a:lnTo>
                    <a:lnTo>
                      <a:pt x="170" y="25"/>
                    </a:lnTo>
                    <a:lnTo>
                      <a:pt x="172" y="25"/>
                    </a:lnTo>
                    <a:lnTo>
                      <a:pt x="172" y="27"/>
                    </a:lnTo>
                    <a:lnTo>
                      <a:pt x="173" y="27"/>
                    </a:lnTo>
                    <a:lnTo>
                      <a:pt x="175" y="29"/>
                    </a:lnTo>
                    <a:lnTo>
                      <a:pt x="175" y="30"/>
                    </a:lnTo>
                    <a:lnTo>
                      <a:pt x="175" y="32"/>
                    </a:lnTo>
                    <a:lnTo>
                      <a:pt x="175" y="34"/>
                    </a:lnTo>
                    <a:lnTo>
                      <a:pt x="177" y="34"/>
                    </a:lnTo>
                    <a:lnTo>
                      <a:pt x="179" y="34"/>
                    </a:lnTo>
                    <a:lnTo>
                      <a:pt x="179" y="32"/>
                    </a:lnTo>
                    <a:lnTo>
                      <a:pt x="177" y="32"/>
                    </a:lnTo>
                    <a:lnTo>
                      <a:pt x="177" y="30"/>
                    </a:lnTo>
                    <a:lnTo>
                      <a:pt x="175" y="32"/>
                    </a:lnTo>
                    <a:lnTo>
                      <a:pt x="175" y="30"/>
                    </a:lnTo>
                    <a:lnTo>
                      <a:pt x="175" y="29"/>
                    </a:lnTo>
                    <a:lnTo>
                      <a:pt x="177" y="29"/>
                    </a:lnTo>
                    <a:lnTo>
                      <a:pt x="177" y="30"/>
                    </a:lnTo>
                    <a:lnTo>
                      <a:pt x="179" y="30"/>
                    </a:lnTo>
                    <a:lnTo>
                      <a:pt x="179" y="32"/>
                    </a:lnTo>
                    <a:lnTo>
                      <a:pt x="180" y="32"/>
                    </a:lnTo>
                    <a:lnTo>
                      <a:pt x="180" y="34"/>
                    </a:lnTo>
                    <a:lnTo>
                      <a:pt x="182" y="34"/>
                    </a:lnTo>
                    <a:lnTo>
                      <a:pt x="182" y="36"/>
                    </a:lnTo>
                    <a:lnTo>
                      <a:pt x="184" y="36"/>
                    </a:lnTo>
                    <a:lnTo>
                      <a:pt x="184" y="37"/>
                    </a:lnTo>
                    <a:lnTo>
                      <a:pt x="185" y="37"/>
                    </a:lnTo>
                    <a:lnTo>
                      <a:pt x="187" y="39"/>
                    </a:lnTo>
                    <a:lnTo>
                      <a:pt x="189" y="39"/>
                    </a:lnTo>
                    <a:lnTo>
                      <a:pt x="190" y="39"/>
                    </a:lnTo>
                    <a:lnTo>
                      <a:pt x="190" y="41"/>
                    </a:lnTo>
                    <a:lnTo>
                      <a:pt x="189" y="41"/>
                    </a:lnTo>
                    <a:lnTo>
                      <a:pt x="189" y="39"/>
                    </a:lnTo>
                    <a:lnTo>
                      <a:pt x="187" y="39"/>
                    </a:lnTo>
                    <a:lnTo>
                      <a:pt x="185" y="39"/>
                    </a:lnTo>
                    <a:lnTo>
                      <a:pt x="185" y="37"/>
                    </a:lnTo>
                    <a:lnTo>
                      <a:pt x="184" y="37"/>
                    </a:lnTo>
                    <a:lnTo>
                      <a:pt x="182" y="36"/>
                    </a:lnTo>
                    <a:lnTo>
                      <a:pt x="180" y="36"/>
                    </a:lnTo>
                    <a:lnTo>
                      <a:pt x="179" y="36"/>
                    </a:lnTo>
                    <a:lnTo>
                      <a:pt x="177" y="36"/>
                    </a:lnTo>
                    <a:lnTo>
                      <a:pt x="179" y="36"/>
                    </a:lnTo>
                    <a:lnTo>
                      <a:pt x="179" y="34"/>
                    </a:lnTo>
                    <a:lnTo>
                      <a:pt x="177" y="34"/>
                    </a:lnTo>
                    <a:lnTo>
                      <a:pt x="177" y="36"/>
                    </a:lnTo>
                    <a:lnTo>
                      <a:pt x="177" y="37"/>
                    </a:lnTo>
                    <a:lnTo>
                      <a:pt x="179" y="36"/>
                    </a:lnTo>
                    <a:lnTo>
                      <a:pt x="179" y="37"/>
                    </a:lnTo>
                    <a:lnTo>
                      <a:pt x="177" y="37"/>
                    </a:lnTo>
                    <a:lnTo>
                      <a:pt x="177" y="36"/>
                    </a:lnTo>
                    <a:lnTo>
                      <a:pt x="175" y="36"/>
                    </a:lnTo>
                    <a:lnTo>
                      <a:pt x="175" y="34"/>
                    </a:lnTo>
                    <a:lnTo>
                      <a:pt x="173" y="36"/>
                    </a:lnTo>
                    <a:lnTo>
                      <a:pt x="173" y="34"/>
                    </a:lnTo>
                    <a:lnTo>
                      <a:pt x="173" y="36"/>
                    </a:lnTo>
                    <a:lnTo>
                      <a:pt x="173" y="37"/>
                    </a:lnTo>
                    <a:lnTo>
                      <a:pt x="173" y="36"/>
                    </a:lnTo>
                    <a:lnTo>
                      <a:pt x="175" y="37"/>
                    </a:lnTo>
                    <a:lnTo>
                      <a:pt x="175" y="36"/>
                    </a:lnTo>
                    <a:lnTo>
                      <a:pt x="177" y="36"/>
                    </a:lnTo>
                    <a:lnTo>
                      <a:pt x="177" y="37"/>
                    </a:lnTo>
                    <a:lnTo>
                      <a:pt x="177" y="39"/>
                    </a:lnTo>
                    <a:lnTo>
                      <a:pt x="177" y="41"/>
                    </a:lnTo>
                    <a:lnTo>
                      <a:pt x="179" y="42"/>
                    </a:lnTo>
                    <a:lnTo>
                      <a:pt x="180" y="42"/>
                    </a:lnTo>
                    <a:lnTo>
                      <a:pt x="180" y="41"/>
                    </a:lnTo>
                    <a:lnTo>
                      <a:pt x="179" y="41"/>
                    </a:lnTo>
                    <a:lnTo>
                      <a:pt x="180" y="41"/>
                    </a:lnTo>
                    <a:lnTo>
                      <a:pt x="180" y="42"/>
                    </a:lnTo>
                    <a:lnTo>
                      <a:pt x="182" y="42"/>
                    </a:lnTo>
                    <a:lnTo>
                      <a:pt x="182" y="44"/>
                    </a:lnTo>
                    <a:lnTo>
                      <a:pt x="184" y="46"/>
                    </a:lnTo>
                    <a:lnTo>
                      <a:pt x="185" y="44"/>
                    </a:lnTo>
                    <a:lnTo>
                      <a:pt x="187" y="44"/>
                    </a:lnTo>
                    <a:lnTo>
                      <a:pt x="185" y="44"/>
                    </a:lnTo>
                    <a:lnTo>
                      <a:pt x="184" y="42"/>
                    </a:lnTo>
                    <a:lnTo>
                      <a:pt x="185" y="42"/>
                    </a:lnTo>
                    <a:lnTo>
                      <a:pt x="184" y="42"/>
                    </a:lnTo>
                    <a:lnTo>
                      <a:pt x="182" y="42"/>
                    </a:lnTo>
                    <a:lnTo>
                      <a:pt x="180" y="42"/>
                    </a:lnTo>
                    <a:lnTo>
                      <a:pt x="180" y="41"/>
                    </a:lnTo>
                    <a:lnTo>
                      <a:pt x="179" y="41"/>
                    </a:lnTo>
                    <a:lnTo>
                      <a:pt x="179" y="39"/>
                    </a:lnTo>
                    <a:lnTo>
                      <a:pt x="180" y="39"/>
                    </a:lnTo>
                    <a:lnTo>
                      <a:pt x="180" y="41"/>
                    </a:lnTo>
                    <a:lnTo>
                      <a:pt x="182" y="41"/>
                    </a:lnTo>
                    <a:lnTo>
                      <a:pt x="180" y="41"/>
                    </a:lnTo>
                    <a:lnTo>
                      <a:pt x="182" y="41"/>
                    </a:lnTo>
                    <a:lnTo>
                      <a:pt x="180" y="41"/>
                    </a:lnTo>
                    <a:lnTo>
                      <a:pt x="182" y="41"/>
                    </a:lnTo>
                    <a:lnTo>
                      <a:pt x="180" y="41"/>
                    </a:lnTo>
                    <a:lnTo>
                      <a:pt x="180" y="39"/>
                    </a:lnTo>
                    <a:lnTo>
                      <a:pt x="182" y="39"/>
                    </a:lnTo>
                    <a:lnTo>
                      <a:pt x="182" y="41"/>
                    </a:lnTo>
                    <a:lnTo>
                      <a:pt x="182" y="39"/>
                    </a:lnTo>
                    <a:lnTo>
                      <a:pt x="182" y="41"/>
                    </a:lnTo>
                    <a:lnTo>
                      <a:pt x="184" y="41"/>
                    </a:lnTo>
                    <a:lnTo>
                      <a:pt x="185" y="42"/>
                    </a:lnTo>
                    <a:lnTo>
                      <a:pt x="187" y="42"/>
                    </a:lnTo>
                    <a:lnTo>
                      <a:pt x="187" y="44"/>
                    </a:lnTo>
                    <a:lnTo>
                      <a:pt x="189" y="44"/>
                    </a:lnTo>
                    <a:lnTo>
                      <a:pt x="189" y="46"/>
                    </a:lnTo>
                    <a:lnTo>
                      <a:pt x="189" y="47"/>
                    </a:lnTo>
                    <a:lnTo>
                      <a:pt x="189" y="46"/>
                    </a:lnTo>
                    <a:lnTo>
                      <a:pt x="190" y="46"/>
                    </a:lnTo>
                    <a:lnTo>
                      <a:pt x="189" y="46"/>
                    </a:lnTo>
                    <a:lnTo>
                      <a:pt x="189" y="47"/>
                    </a:lnTo>
                    <a:lnTo>
                      <a:pt x="189" y="46"/>
                    </a:lnTo>
                    <a:lnTo>
                      <a:pt x="190" y="46"/>
                    </a:lnTo>
                    <a:lnTo>
                      <a:pt x="190" y="44"/>
                    </a:lnTo>
                    <a:lnTo>
                      <a:pt x="192" y="44"/>
                    </a:lnTo>
                    <a:lnTo>
                      <a:pt x="194" y="42"/>
                    </a:lnTo>
                    <a:lnTo>
                      <a:pt x="194" y="44"/>
                    </a:lnTo>
                    <a:lnTo>
                      <a:pt x="194" y="42"/>
                    </a:lnTo>
                    <a:lnTo>
                      <a:pt x="194" y="44"/>
                    </a:lnTo>
                    <a:lnTo>
                      <a:pt x="196" y="44"/>
                    </a:lnTo>
                    <a:lnTo>
                      <a:pt x="196" y="42"/>
                    </a:lnTo>
                    <a:lnTo>
                      <a:pt x="196" y="44"/>
                    </a:lnTo>
                    <a:lnTo>
                      <a:pt x="197" y="44"/>
                    </a:lnTo>
                    <a:lnTo>
                      <a:pt x="196" y="46"/>
                    </a:lnTo>
                    <a:lnTo>
                      <a:pt x="194" y="46"/>
                    </a:lnTo>
                    <a:lnTo>
                      <a:pt x="192" y="47"/>
                    </a:lnTo>
                    <a:lnTo>
                      <a:pt x="194" y="47"/>
                    </a:lnTo>
                    <a:lnTo>
                      <a:pt x="194" y="46"/>
                    </a:lnTo>
                    <a:lnTo>
                      <a:pt x="194" y="47"/>
                    </a:lnTo>
                    <a:lnTo>
                      <a:pt x="196" y="47"/>
                    </a:lnTo>
                    <a:lnTo>
                      <a:pt x="196" y="46"/>
                    </a:lnTo>
                    <a:lnTo>
                      <a:pt x="197" y="46"/>
                    </a:lnTo>
                    <a:lnTo>
                      <a:pt x="197" y="44"/>
                    </a:lnTo>
                    <a:lnTo>
                      <a:pt x="196" y="44"/>
                    </a:lnTo>
                    <a:lnTo>
                      <a:pt x="197" y="44"/>
                    </a:lnTo>
                    <a:lnTo>
                      <a:pt x="197" y="42"/>
                    </a:lnTo>
                    <a:lnTo>
                      <a:pt x="196" y="42"/>
                    </a:lnTo>
                    <a:lnTo>
                      <a:pt x="194" y="42"/>
                    </a:lnTo>
                    <a:lnTo>
                      <a:pt x="192" y="42"/>
                    </a:lnTo>
                    <a:lnTo>
                      <a:pt x="192" y="41"/>
                    </a:lnTo>
                    <a:lnTo>
                      <a:pt x="192" y="42"/>
                    </a:lnTo>
                    <a:lnTo>
                      <a:pt x="194" y="42"/>
                    </a:lnTo>
                    <a:lnTo>
                      <a:pt x="192" y="42"/>
                    </a:lnTo>
                    <a:lnTo>
                      <a:pt x="194" y="42"/>
                    </a:lnTo>
                    <a:lnTo>
                      <a:pt x="192" y="42"/>
                    </a:lnTo>
                    <a:lnTo>
                      <a:pt x="192" y="41"/>
                    </a:lnTo>
                    <a:lnTo>
                      <a:pt x="192" y="42"/>
                    </a:lnTo>
                    <a:lnTo>
                      <a:pt x="190" y="41"/>
                    </a:lnTo>
                    <a:lnTo>
                      <a:pt x="190" y="39"/>
                    </a:lnTo>
                    <a:lnTo>
                      <a:pt x="190" y="41"/>
                    </a:lnTo>
                    <a:lnTo>
                      <a:pt x="192" y="41"/>
                    </a:lnTo>
                    <a:lnTo>
                      <a:pt x="194" y="41"/>
                    </a:lnTo>
                    <a:lnTo>
                      <a:pt x="194" y="42"/>
                    </a:lnTo>
                    <a:lnTo>
                      <a:pt x="196" y="42"/>
                    </a:lnTo>
                    <a:lnTo>
                      <a:pt x="197" y="42"/>
                    </a:lnTo>
                    <a:lnTo>
                      <a:pt x="199" y="44"/>
                    </a:lnTo>
                    <a:lnTo>
                      <a:pt x="201" y="44"/>
                    </a:lnTo>
                    <a:lnTo>
                      <a:pt x="202" y="44"/>
                    </a:lnTo>
                    <a:lnTo>
                      <a:pt x="202" y="46"/>
                    </a:lnTo>
                    <a:lnTo>
                      <a:pt x="202" y="47"/>
                    </a:lnTo>
                    <a:lnTo>
                      <a:pt x="204" y="49"/>
                    </a:lnTo>
                    <a:lnTo>
                      <a:pt x="204" y="51"/>
                    </a:lnTo>
                    <a:lnTo>
                      <a:pt x="206" y="51"/>
                    </a:lnTo>
                    <a:lnTo>
                      <a:pt x="206" y="53"/>
                    </a:lnTo>
                    <a:lnTo>
                      <a:pt x="207" y="53"/>
                    </a:lnTo>
                    <a:lnTo>
                      <a:pt x="209" y="53"/>
                    </a:lnTo>
                    <a:lnTo>
                      <a:pt x="209" y="54"/>
                    </a:lnTo>
                    <a:lnTo>
                      <a:pt x="207" y="54"/>
                    </a:lnTo>
                    <a:lnTo>
                      <a:pt x="206" y="54"/>
                    </a:lnTo>
                    <a:lnTo>
                      <a:pt x="206" y="53"/>
                    </a:lnTo>
                    <a:lnTo>
                      <a:pt x="204" y="53"/>
                    </a:lnTo>
                    <a:lnTo>
                      <a:pt x="202" y="53"/>
                    </a:lnTo>
                    <a:lnTo>
                      <a:pt x="202" y="54"/>
                    </a:lnTo>
                    <a:lnTo>
                      <a:pt x="202" y="53"/>
                    </a:lnTo>
                    <a:lnTo>
                      <a:pt x="201" y="53"/>
                    </a:lnTo>
                    <a:lnTo>
                      <a:pt x="201" y="54"/>
                    </a:lnTo>
                    <a:lnTo>
                      <a:pt x="199" y="54"/>
                    </a:lnTo>
                    <a:lnTo>
                      <a:pt x="199" y="53"/>
                    </a:lnTo>
                    <a:lnTo>
                      <a:pt x="197" y="53"/>
                    </a:lnTo>
                    <a:lnTo>
                      <a:pt x="197" y="54"/>
                    </a:lnTo>
                    <a:lnTo>
                      <a:pt x="196" y="54"/>
                    </a:lnTo>
                    <a:lnTo>
                      <a:pt x="197" y="54"/>
                    </a:lnTo>
                    <a:lnTo>
                      <a:pt x="196" y="54"/>
                    </a:lnTo>
                    <a:lnTo>
                      <a:pt x="196" y="56"/>
                    </a:lnTo>
                    <a:lnTo>
                      <a:pt x="194" y="56"/>
                    </a:lnTo>
                    <a:lnTo>
                      <a:pt x="194" y="58"/>
                    </a:lnTo>
                    <a:lnTo>
                      <a:pt x="192" y="58"/>
                    </a:lnTo>
                    <a:lnTo>
                      <a:pt x="190" y="58"/>
                    </a:lnTo>
                    <a:lnTo>
                      <a:pt x="190" y="59"/>
                    </a:lnTo>
                    <a:lnTo>
                      <a:pt x="189" y="59"/>
                    </a:lnTo>
                    <a:lnTo>
                      <a:pt x="187" y="61"/>
                    </a:lnTo>
                    <a:lnTo>
                      <a:pt x="185" y="61"/>
                    </a:lnTo>
                    <a:lnTo>
                      <a:pt x="184" y="61"/>
                    </a:lnTo>
                    <a:lnTo>
                      <a:pt x="184" y="63"/>
                    </a:lnTo>
                    <a:lnTo>
                      <a:pt x="182" y="61"/>
                    </a:lnTo>
                    <a:lnTo>
                      <a:pt x="182" y="63"/>
                    </a:lnTo>
                    <a:lnTo>
                      <a:pt x="180" y="61"/>
                    </a:lnTo>
                    <a:lnTo>
                      <a:pt x="180" y="63"/>
                    </a:lnTo>
                    <a:lnTo>
                      <a:pt x="179" y="63"/>
                    </a:lnTo>
                    <a:lnTo>
                      <a:pt x="179" y="61"/>
                    </a:lnTo>
                    <a:lnTo>
                      <a:pt x="177" y="61"/>
                    </a:lnTo>
                    <a:lnTo>
                      <a:pt x="177" y="63"/>
                    </a:lnTo>
                    <a:lnTo>
                      <a:pt x="175" y="63"/>
                    </a:lnTo>
                    <a:lnTo>
                      <a:pt x="173" y="63"/>
                    </a:lnTo>
                    <a:lnTo>
                      <a:pt x="173" y="61"/>
                    </a:lnTo>
                    <a:lnTo>
                      <a:pt x="172" y="63"/>
                    </a:lnTo>
                    <a:lnTo>
                      <a:pt x="172" y="64"/>
                    </a:lnTo>
                    <a:lnTo>
                      <a:pt x="170" y="64"/>
                    </a:lnTo>
                    <a:lnTo>
                      <a:pt x="168" y="64"/>
                    </a:lnTo>
                    <a:lnTo>
                      <a:pt x="170" y="64"/>
                    </a:lnTo>
                    <a:lnTo>
                      <a:pt x="168" y="63"/>
                    </a:lnTo>
                    <a:lnTo>
                      <a:pt x="168" y="64"/>
                    </a:lnTo>
                    <a:lnTo>
                      <a:pt x="167" y="64"/>
                    </a:lnTo>
                    <a:lnTo>
                      <a:pt x="167" y="66"/>
                    </a:lnTo>
                    <a:lnTo>
                      <a:pt x="165" y="66"/>
                    </a:lnTo>
                    <a:lnTo>
                      <a:pt x="163" y="66"/>
                    </a:lnTo>
                    <a:lnTo>
                      <a:pt x="163" y="64"/>
                    </a:lnTo>
                    <a:lnTo>
                      <a:pt x="162" y="66"/>
                    </a:lnTo>
                    <a:lnTo>
                      <a:pt x="162" y="64"/>
                    </a:lnTo>
                    <a:lnTo>
                      <a:pt x="160" y="64"/>
                    </a:lnTo>
                    <a:lnTo>
                      <a:pt x="158" y="64"/>
                    </a:lnTo>
                    <a:lnTo>
                      <a:pt x="156" y="64"/>
                    </a:lnTo>
                    <a:lnTo>
                      <a:pt x="156" y="63"/>
                    </a:lnTo>
                    <a:lnTo>
                      <a:pt x="155" y="63"/>
                    </a:lnTo>
                    <a:lnTo>
                      <a:pt x="156" y="63"/>
                    </a:lnTo>
                    <a:lnTo>
                      <a:pt x="155" y="63"/>
                    </a:lnTo>
                    <a:lnTo>
                      <a:pt x="155" y="61"/>
                    </a:lnTo>
                    <a:lnTo>
                      <a:pt x="155" y="63"/>
                    </a:lnTo>
                    <a:lnTo>
                      <a:pt x="155" y="61"/>
                    </a:lnTo>
                    <a:lnTo>
                      <a:pt x="155" y="59"/>
                    </a:lnTo>
                    <a:lnTo>
                      <a:pt x="153" y="59"/>
                    </a:lnTo>
                    <a:lnTo>
                      <a:pt x="151" y="59"/>
                    </a:lnTo>
                    <a:lnTo>
                      <a:pt x="150" y="59"/>
                    </a:lnTo>
                    <a:lnTo>
                      <a:pt x="150" y="61"/>
                    </a:lnTo>
                    <a:lnTo>
                      <a:pt x="150" y="63"/>
                    </a:lnTo>
                    <a:lnTo>
                      <a:pt x="148" y="61"/>
                    </a:lnTo>
                    <a:lnTo>
                      <a:pt x="148" y="63"/>
                    </a:lnTo>
                    <a:lnTo>
                      <a:pt x="146" y="63"/>
                    </a:lnTo>
                    <a:lnTo>
                      <a:pt x="146" y="64"/>
                    </a:lnTo>
                    <a:lnTo>
                      <a:pt x="145" y="64"/>
                    </a:lnTo>
                    <a:lnTo>
                      <a:pt x="145" y="66"/>
                    </a:lnTo>
                    <a:lnTo>
                      <a:pt x="146" y="66"/>
                    </a:lnTo>
                    <a:lnTo>
                      <a:pt x="146" y="68"/>
                    </a:lnTo>
                    <a:lnTo>
                      <a:pt x="145" y="68"/>
                    </a:lnTo>
                    <a:lnTo>
                      <a:pt x="145" y="70"/>
                    </a:lnTo>
                    <a:lnTo>
                      <a:pt x="143" y="70"/>
                    </a:lnTo>
                    <a:lnTo>
                      <a:pt x="143" y="68"/>
                    </a:lnTo>
                    <a:lnTo>
                      <a:pt x="141" y="68"/>
                    </a:lnTo>
                    <a:lnTo>
                      <a:pt x="143" y="68"/>
                    </a:lnTo>
                    <a:lnTo>
                      <a:pt x="143" y="70"/>
                    </a:lnTo>
                    <a:lnTo>
                      <a:pt x="143" y="71"/>
                    </a:lnTo>
                    <a:lnTo>
                      <a:pt x="141" y="71"/>
                    </a:lnTo>
                    <a:lnTo>
                      <a:pt x="141" y="73"/>
                    </a:lnTo>
                    <a:lnTo>
                      <a:pt x="141" y="75"/>
                    </a:lnTo>
                    <a:lnTo>
                      <a:pt x="139" y="75"/>
                    </a:lnTo>
                    <a:lnTo>
                      <a:pt x="141" y="75"/>
                    </a:lnTo>
                    <a:lnTo>
                      <a:pt x="141" y="76"/>
                    </a:lnTo>
                    <a:lnTo>
                      <a:pt x="141" y="78"/>
                    </a:lnTo>
                    <a:lnTo>
                      <a:pt x="141" y="80"/>
                    </a:lnTo>
                    <a:lnTo>
                      <a:pt x="139" y="80"/>
                    </a:lnTo>
                    <a:lnTo>
                      <a:pt x="138" y="80"/>
                    </a:lnTo>
                    <a:lnTo>
                      <a:pt x="136" y="80"/>
                    </a:lnTo>
                    <a:lnTo>
                      <a:pt x="134" y="80"/>
                    </a:lnTo>
                    <a:lnTo>
                      <a:pt x="134" y="82"/>
                    </a:lnTo>
                    <a:lnTo>
                      <a:pt x="134" y="80"/>
                    </a:lnTo>
                    <a:lnTo>
                      <a:pt x="134" y="82"/>
                    </a:lnTo>
                    <a:lnTo>
                      <a:pt x="134" y="83"/>
                    </a:lnTo>
                    <a:lnTo>
                      <a:pt x="133" y="83"/>
                    </a:lnTo>
                    <a:lnTo>
                      <a:pt x="133" y="85"/>
                    </a:lnTo>
                    <a:lnTo>
                      <a:pt x="131" y="85"/>
                    </a:lnTo>
                    <a:lnTo>
                      <a:pt x="129" y="85"/>
                    </a:lnTo>
                    <a:lnTo>
                      <a:pt x="129" y="87"/>
                    </a:lnTo>
                    <a:lnTo>
                      <a:pt x="128" y="87"/>
                    </a:lnTo>
                    <a:lnTo>
                      <a:pt x="126" y="88"/>
                    </a:lnTo>
                    <a:lnTo>
                      <a:pt x="124" y="88"/>
                    </a:lnTo>
                    <a:lnTo>
                      <a:pt x="122" y="88"/>
                    </a:lnTo>
                    <a:lnTo>
                      <a:pt x="122" y="90"/>
                    </a:lnTo>
                    <a:lnTo>
                      <a:pt x="121" y="90"/>
                    </a:lnTo>
                    <a:lnTo>
                      <a:pt x="122" y="90"/>
                    </a:lnTo>
                    <a:lnTo>
                      <a:pt x="121" y="92"/>
                    </a:lnTo>
                    <a:lnTo>
                      <a:pt x="122" y="93"/>
                    </a:lnTo>
                    <a:lnTo>
                      <a:pt x="121" y="93"/>
                    </a:lnTo>
                    <a:lnTo>
                      <a:pt x="119" y="93"/>
                    </a:lnTo>
                    <a:lnTo>
                      <a:pt x="119" y="92"/>
                    </a:lnTo>
                    <a:lnTo>
                      <a:pt x="117" y="92"/>
                    </a:lnTo>
                    <a:lnTo>
                      <a:pt x="117" y="90"/>
                    </a:lnTo>
                    <a:lnTo>
                      <a:pt x="117" y="92"/>
                    </a:lnTo>
                    <a:lnTo>
                      <a:pt x="116" y="92"/>
                    </a:lnTo>
                    <a:lnTo>
                      <a:pt x="116" y="90"/>
                    </a:lnTo>
                    <a:lnTo>
                      <a:pt x="114" y="90"/>
                    </a:lnTo>
                    <a:lnTo>
                      <a:pt x="114" y="88"/>
                    </a:lnTo>
                    <a:lnTo>
                      <a:pt x="112" y="88"/>
                    </a:lnTo>
                    <a:lnTo>
                      <a:pt x="112" y="87"/>
                    </a:lnTo>
                    <a:lnTo>
                      <a:pt x="112" y="85"/>
                    </a:lnTo>
                    <a:lnTo>
                      <a:pt x="112" y="87"/>
                    </a:lnTo>
                    <a:lnTo>
                      <a:pt x="111" y="87"/>
                    </a:lnTo>
                    <a:lnTo>
                      <a:pt x="109" y="87"/>
                    </a:lnTo>
                    <a:lnTo>
                      <a:pt x="109" y="88"/>
                    </a:lnTo>
                    <a:lnTo>
                      <a:pt x="107" y="88"/>
                    </a:lnTo>
                    <a:lnTo>
                      <a:pt x="107" y="90"/>
                    </a:lnTo>
                    <a:lnTo>
                      <a:pt x="105" y="90"/>
                    </a:lnTo>
                    <a:lnTo>
                      <a:pt x="105" y="92"/>
                    </a:lnTo>
                    <a:lnTo>
                      <a:pt x="104" y="93"/>
                    </a:lnTo>
                    <a:lnTo>
                      <a:pt x="104" y="95"/>
                    </a:lnTo>
                    <a:lnTo>
                      <a:pt x="102" y="95"/>
                    </a:lnTo>
                    <a:lnTo>
                      <a:pt x="102" y="97"/>
                    </a:lnTo>
                    <a:lnTo>
                      <a:pt x="100" y="97"/>
                    </a:lnTo>
                    <a:lnTo>
                      <a:pt x="99" y="97"/>
                    </a:lnTo>
                    <a:lnTo>
                      <a:pt x="99" y="95"/>
                    </a:lnTo>
                    <a:lnTo>
                      <a:pt x="97" y="97"/>
                    </a:lnTo>
                    <a:lnTo>
                      <a:pt x="95" y="97"/>
                    </a:lnTo>
                    <a:lnTo>
                      <a:pt x="95" y="95"/>
                    </a:lnTo>
                    <a:lnTo>
                      <a:pt x="94" y="95"/>
                    </a:lnTo>
                    <a:lnTo>
                      <a:pt x="92" y="95"/>
                    </a:lnTo>
                    <a:lnTo>
                      <a:pt x="92" y="97"/>
                    </a:lnTo>
                    <a:lnTo>
                      <a:pt x="90" y="95"/>
                    </a:lnTo>
                    <a:lnTo>
                      <a:pt x="88" y="95"/>
                    </a:lnTo>
                    <a:lnTo>
                      <a:pt x="87" y="97"/>
                    </a:lnTo>
                    <a:lnTo>
                      <a:pt x="88" y="99"/>
                    </a:lnTo>
                    <a:lnTo>
                      <a:pt x="87" y="99"/>
                    </a:lnTo>
                    <a:lnTo>
                      <a:pt x="87" y="100"/>
                    </a:lnTo>
                    <a:lnTo>
                      <a:pt x="88" y="100"/>
                    </a:lnTo>
                    <a:lnTo>
                      <a:pt x="88" y="102"/>
                    </a:lnTo>
                    <a:lnTo>
                      <a:pt x="87" y="104"/>
                    </a:lnTo>
                    <a:lnTo>
                      <a:pt x="88" y="104"/>
                    </a:lnTo>
                    <a:lnTo>
                      <a:pt x="88" y="105"/>
                    </a:lnTo>
                    <a:lnTo>
                      <a:pt x="88" y="107"/>
                    </a:lnTo>
                    <a:lnTo>
                      <a:pt x="88" y="109"/>
                    </a:lnTo>
                    <a:lnTo>
                      <a:pt x="88" y="110"/>
                    </a:lnTo>
                    <a:lnTo>
                      <a:pt x="90" y="110"/>
                    </a:lnTo>
                    <a:lnTo>
                      <a:pt x="90" y="112"/>
                    </a:lnTo>
                    <a:lnTo>
                      <a:pt x="88" y="112"/>
                    </a:lnTo>
                    <a:lnTo>
                      <a:pt x="88" y="114"/>
                    </a:lnTo>
                    <a:lnTo>
                      <a:pt x="87" y="112"/>
                    </a:lnTo>
                    <a:lnTo>
                      <a:pt x="85" y="112"/>
                    </a:lnTo>
                    <a:lnTo>
                      <a:pt x="83" y="112"/>
                    </a:lnTo>
                    <a:lnTo>
                      <a:pt x="83" y="114"/>
                    </a:lnTo>
                    <a:lnTo>
                      <a:pt x="82" y="114"/>
                    </a:lnTo>
                    <a:lnTo>
                      <a:pt x="83" y="114"/>
                    </a:lnTo>
                    <a:lnTo>
                      <a:pt x="82" y="114"/>
                    </a:lnTo>
                    <a:lnTo>
                      <a:pt x="83" y="116"/>
                    </a:lnTo>
                    <a:lnTo>
                      <a:pt x="82" y="116"/>
                    </a:lnTo>
                    <a:lnTo>
                      <a:pt x="82" y="117"/>
                    </a:lnTo>
                    <a:lnTo>
                      <a:pt x="82" y="119"/>
                    </a:lnTo>
                    <a:lnTo>
                      <a:pt x="82" y="121"/>
                    </a:lnTo>
                    <a:lnTo>
                      <a:pt x="82" y="122"/>
                    </a:lnTo>
                    <a:lnTo>
                      <a:pt x="80" y="122"/>
                    </a:lnTo>
                    <a:lnTo>
                      <a:pt x="78" y="122"/>
                    </a:lnTo>
                    <a:lnTo>
                      <a:pt x="78" y="124"/>
                    </a:lnTo>
                    <a:lnTo>
                      <a:pt x="77" y="122"/>
                    </a:lnTo>
                    <a:lnTo>
                      <a:pt x="75" y="122"/>
                    </a:lnTo>
                    <a:lnTo>
                      <a:pt x="70" y="124"/>
                    </a:lnTo>
                    <a:lnTo>
                      <a:pt x="70" y="122"/>
                    </a:lnTo>
                    <a:lnTo>
                      <a:pt x="71" y="122"/>
                    </a:lnTo>
                    <a:lnTo>
                      <a:pt x="71" y="121"/>
                    </a:lnTo>
                    <a:lnTo>
                      <a:pt x="71" y="122"/>
                    </a:lnTo>
                    <a:lnTo>
                      <a:pt x="71" y="124"/>
                    </a:lnTo>
                    <a:lnTo>
                      <a:pt x="71" y="122"/>
                    </a:lnTo>
                    <a:lnTo>
                      <a:pt x="71" y="121"/>
                    </a:lnTo>
                    <a:lnTo>
                      <a:pt x="73" y="121"/>
                    </a:lnTo>
                    <a:lnTo>
                      <a:pt x="71" y="121"/>
                    </a:lnTo>
                    <a:lnTo>
                      <a:pt x="71" y="122"/>
                    </a:lnTo>
                    <a:lnTo>
                      <a:pt x="70" y="122"/>
                    </a:lnTo>
                    <a:lnTo>
                      <a:pt x="71" y="121"/>
                    </a:lnTo>
                    <a:lnTo>
                      <a:pt x="73" y="121"/>
                    </a:lnTo>
                    <a:lnTo>
                      <a:pt x="75" y="121"/>
                    </a:lnTo>
                    <a:lnTo>
                      <a:pt x="75" y="122"/>
                    </a:lnTo>
                    <a:lnTo>
                      <a:pt x="75" y="121"/>
                    </a:lnTo>
                    <a:lnTo>
                      <a:pt x="73" y="121"/>
                    </a:lnTo>
                    <a:lnTo>
                      <a:pt x="71" y="121"/>
                    </a:lnTo>
                    <a:lnTo>
                      <a:pt x="70" y="121"/>
                    </a:lnTo>
                    <a:lnTo>
                      <a:pt x="70" y="122"/>
                    </a:lnTo>
                    <a:lnTo>
                      <a:pt x="68" y="122"/>
                    </a:lnTo>
                    <a:lnTo>
                      <a:pt x="68" y="121"/>
                    </a:lnTo>
                    <a:lnTo>
                      <a:pt x="66" y="121"/>
                    </a:lnTo>
                    <a:lnTo>
                      <a:pt x="68" y="121"/>
                    </a:lnTo>
                    <a:lnTo>
                      <a:pt x="68" y="119"/>
                    </a:lnTo>
                    <a:lnTo>
                      <a:pt x="70" y="121"/>
                    </a:lnTo>
                    <a:lnTo>
                      <a:pt x="70" y="119"/>
                    </a:lnTo>
                    <a:lnTo>
                      <a:pt x="70" y="121"/>
                    </a:lnTo>
                    <a:lnTo>
                      <a:pt x="68" y="119"/>
                    </a:lnTo>
                    <a:lnTo>
                      <a:pt x="66" y="119"/>
                    </a:lnTo>
                    <a:lnTo>
                      <a:pt x="65" y="119"/>
                    </a:lnTo>
                    <a:lnTo>
                      <a:pt x="65" y="117"/>
                    </a:lnTo>
                    <a:lnTo>
                      <a:pt x="65" y="116"/>
                    </a:lnTo>
                    <a:lnTo>
                      <a:pt x="63" y="114"/>
                    </a:lnTo>
                    <a:lnTo>
                      <a:pt x="63" y="112"/>
                    </a:lnTo>
                    <a:lnTo>
                      <a:pt x="63" y="114"/>
                    </a:lnTo>
                    <a:lnTo>
                      <a:pt x="63" y="112"/>
                    </a:lnTo>
                    <a:lnTo>
                      <a:pt x="63" y="114"/>
                    </a:lnTo>
                    <a:lnTo>
                      <a:pt x="65" y="114"/>
                    </a:lnTo>
                    <a:lnTo>
                      <a:pt x="65" y="112"/>
                    </a:lnTo>
                    <a:lnTo>
                      <a:pt x="65" y="114"/>
                    </a:lnTo>
                    <a:lnTo>
                      <a:pt x="65" y="112"/>
                    </a:lnTo>
                    <a:lnTo>
                      <a:pt x="66" y="112"/>
                    </a:lnTo>
                    <a:lnTo>
                      <a:pt x="65" y="112"/>
                    </a:lnTo>
                    <a:lnTo>
                      <a:pt x="65" y="110"/>
                    </a:lnTo>
                    <a:lnTo>
                      <a:pt x="65" y="112"/>
                    </a:lnTo>
                    <a:lnTo>
                      <a:pt x="65" y="110"/>
                    </a:lnTo>
                    <a:lnTo>
                      <a:pt x="66" y="112"/>
                    </a:lnTo>
                    <a:lnTo>
                      <a:pt x="66" y="110"/>
                    </a:lnTo>
                    <a:lnTo>
                      <a:pt x="66" y="112"/>
                    </a:lnTo>
                    <a:lnTo>
                      <a:pt x="66" y="110"/>
                    </a:lnTo>
                    <a:lnTo>
                      <a:pt x="66" y="112"/>
                    </a:lnTo>
                    <a:lnTo>
                      <a:pt x="66" y="110"/>
                    </a:lnTo>
                    <a:lnTo>
                      <a:pt x="65" y="110"/>
                    </a:lnTo>
                    <a:lnTo>
                      <a:pt x="65" y="112"/>
                    </a:lnTo>
                    <a:lnTo>
                      <a:pt x="65" y="110"/>
                    </a:lnTo>
                    <a:lnTo>
                      <a:pt x="65" y="112"/>
                    </a:lnTo>
                    <a:lnTo>
                      <a:pt x="65" y="110"/>
                    </a:lnTo>
                    <a:lnTo>
                      <a:pt x="66" y="110"/>
                    </a:lnTo>
                    <a:lnTo>
                      <a:pt x="66" y="109"/>
                    </a:lnTo>
                    <a:lnTo>
                      <a:pt x="65" y="109"/>
                    </a:lnTo>
                    <a:lnTo>
                      <a:pt x="63" y="109"/>
                    </a:lnTo>
                    <a:lnTo>
                      <a:pt x="63" y="110"/>
                    </a:lnTo>
                    <a:lnTo>
                      <a:pt x="61" y="110"/>
                    </a:lnTo>
                    <a:lnTo>
                      <a:pt x="60" y="110"/>
                    </a:lnTo>
                    <a:lnTo>
                      <a:pt x="60" y="109"/>
                    </a:lnTo>
                    <a:lnTo>
                      <a:pt x="60" y="110"/>
                    </a:lnTo>
                    <a:lnTo>
                      <a:pt x="60" y="109"/>
                    </a:lnTo>
                    <a:lnTo>
                      <a:pt x="58" y="109"/>
                    </a:lnTo>
                    <a:lnTo>
                      <a:pt x="60" y="109"/>
                    </a:lnTo>
                    <a:lnTo>
                      <a:pt x="58" y="107"/>
                    </a:lnTo>
                    <a:lnTo>
                      <a:pt x="60" y="107"/>
                    </a:lnTo>
                    <a:lnTo>
                      <a:pt x="58" y="107"/>
                    </a:lnTo>
                    <a:lnTo>
                      <a:pt x="56" y="107"/>
                    </a:lnTo>
                    <a:lnTo>
                      <a:pt x="58" y="107"/>
                    </a:lnTo>
                    <a:lnTo>
                      <a:pt x="56" y="107"/>
                    </a:lnTo>
                    <a:lnTo>
                      <a:pt x="58" y="107"/>
                    </a:lnTo>
                    <a:lnTo>
                      <a:pt x="56" y="109"/>
                    </a:lnTo>
                    <a:lnTo>
                      <a:pt x="56" y="107"/>
                    </a:lnTo>
                    <a:lnTo>
                      <a:pt x="56" y="109"/>
                    </a:lnTo>
                    <a:lnTo>
                      <a:pt x="58" y="109"/>
                    </a:lnTo>
                    <a:lnTo>
                      <a:pt x="56" y="109"/>
                    </a:lnTo>
                    <a:lnTo>
                      <a:pt x="56" y="110"/>
                    </a:lnTo>
                    <a:lnTo>
                      <a:pt x="54" y="110"/>
                    </a:lnTo>
                    <a:lnTo>
                      <a:pt x="53" y="110"/>
                    </a:lnTo>
                    <a:lnTo>
                      <a:pt x="54" y="109"/>
                    </a:lnTo>
                    <a:lnTo>
                      <a:pt x="53" y="109"/>
                    </a:lnTo>
                    <a:lnTo>
                      <a:pt x="53" y="110"/>
                    </a:lnTo>
                    <a:lnTo>
                      <a:pt x="53" y="109"/>
                    </a:lnTo>
                    <a:lnTo>
                      <a:pt x="51" y="109"/>
                    </a:lnTo>
                    <a:lnTo>
                      <a:pt x="53" y="109"/>
                    </a:lnTo>
                    <a:lnTo>
                      <a:pt x="54" y="107"/>
                    </a:lnTo>
                    <a:lnTo>
                      <a:pt x="56" y="107"/>
                    </a:lnTo>
                    <a:lnTo>
                      <a:pt x="54" y="105"/>
                    </a:lnTo>
                    <a:lnTo>
                      <a:pt x="53" y="105"/>
                    </a:lnTo>
                    <a:lnTo>
                      <a:pt x="53" y="104"/>
                    </a:lnTo>
                    <a:lnTo>
                      <a:pt x="54" y="102"/>
                    </a:lnTo>
                    <a:lnTo>
                      <a:pt x="54" y="100"/>
                    </a:lnTo>
                    <a:lnTo>
                      <a:pt x="54" y="99"/>
                    </a:lnTo>
                    <a:lnTo>
                      <a:pt x="54" y="97"/>
                    </a:lnTo>
                    <a:lnTo>
                      <a:pt x="56" y="97"/>
                    </a:lnTo>
                    <a:lnTo>
                      <a:pt x="56" y="95"/>
                    </a:lnTo>
                    <a:lnTo>
                      <a:pt x="54" y="95"/>
                    </a:lnTo>
                    <a:lnTo>
                      <a:pt x="54" y="93"/>
                    </a:lnTo>
                    <a:lnTo>
                      <a:pt x="53" y="93"/>
                    </a:lnTo>
                    <a:lnTo>
                      <a:pt x="53" y="92"/>
                    </a:lnTo>
                    <a:lnTo>
                      <a:pt x="51" y="92"/>
                    </a:lnTo>
                    <a:lnTo>
                      <a:pt x="49" y="92"/>
                    </a:lnTo>
                    <a:lnTo>
                      <a:pt x="48" y="92"/>
                    </a:lnTo>
                    <a:lnTo>
                      <a:pt x="46" y="92"/>
                    </a:lnTo>
                    <a:lnTo>
                      <a:pt x="46" y="93"/>
                    </a:lnTo>
                    <a:lnTo>
                      <a:pt x="46" y="92"/>
                    </a:lnTo>
                    <a:lnTo>
                      <a:pt x="44" y="92"/>
                    </a:lnTo>
                    <a:lnTo>
                      <a:pt x="44" y="90"/>
                    </a:lnTo>
                    <a:lnTo>
                      <a:pt x="43" y="88"/>
                    </a:lnTo>
                    <a:lnTo>
                      <a:pt x="41" y="88"/>
                    </a:lnTo>
                    <a:lnTo>
                      <a:pt x="39" y="88"/>
                    </a:lnTo>
                    <a:lnTo>
                      <a:pt x="37" y="88"/>
                    </a:lnTo>
                    <a:lnTo>
                      <a:pt x="37" y="90"/>
                    </a:lnTo>
                    <a:lnTo>
                      <a:pt x="39" y="90"/>
                    </a:lnTo>
                    <a:lnTo>
                      <a:pt x="37" y="90"/>
                    </a:lnTo>
                    <a:lnTo>
                      <a:pt x="37" y="92"/>
                    </a:lnTo>
                    <a:lnTo>
                      <a:pt x="36" y="92"/>
                    </a:lnTo>
                    <a:lnTo>
                      <a:pt x="34" y="92"/>
                    </a:lnTo>
                    <a:lnTo>
                      <a:pt x="34" y="93"/>
                    </a:lnTo>
                    <a:lnTo>
                      <a:pt x="32" y="92"/>
                    </a:lnTo>
                    <a:lnTo>
                      <a:pt x="31" y="92"/>
                    </a:lnTo>
                    <a:lnTo>
                      <a:pt x="31" y="93"/>
                    </a:lnTo>
                    <a:lnTo>
                      <a:pt x="29" y="93"/>
                    </a:lnTo>
                    <a:lnTo>
                      <a:pt x="29" y="92"/>
                    </a:lnTo>
                    <a:lnTo>
                      <a:pt x="29" y="90"/>
                    </a:lnTo>
                    <a:lnTo>
                      <a:pt x="27" y="88"/>
                    </a:lnTo>
                    <a:lnTo>
                      <a:pt x="26" y="88"/>
                    </a:lnTo>
                    <a:lnTo>
                      <a:pt x="24" y="87"/>
                    </a:lnTo>
                    <a:lnTo>
                      <a:pt x="24" y="88"/>
                    </a:lnTo>
                    <a:lnTo>
                      <a:pt x="24" y="87"/>
                    </a:lnTo>
                    <a:lnTo>
                      <a:pt x="22" y="88"/>
                    </a:lnTo>
                    <a:lnTo>
                      <a:pt x="22" y="87"/>
                    </a:lnTo>
                    <a:lnTo>
                      <a:pt x="20" y="87"/>
                    </a:lnTo>
                    <a:lnTo>
                      <a:pt x="20" y="85"/>
                    </a:lnTo>
                    <a:lnTo>
                      <a:pt x="19" y="85"/>
                    </a:lnTo>
                    <a:lnTo>
                      <a:pt x="17" y="85"/>
                    </a:lnTo>
                    <a:lnTo>
                      <a:pt x="17" y="83"/>
                    </a:lnTo>
                    <a:lnTo>
                      <a:pt x="17" y="82"/>
                    </a:lnTo>
                    <a:lnTo>
                      <a:pt x="15" y="82"/>
                    </a:lnTo>
                    <a:lnTo>
                      <a:pt x="14" y="82"/>
                    </a:lnTo>
                    <a:lnTo>
                      <a:pt x="14" y="80"/>
                    </a:lnTo>
                    <a:lnTo>
                      <a:pt x="12" y="80"/>
                    </a:lnTo>
                    <a:lnTo>
                      <a:pt x="12" y="78"/>
                    </a:lnTo>
                    <a:lnTo>
                      <a:pt x="10" y="76"/>
                    </a:lnTo>
                    <a:lnTo>
                      <a:pt x="9" y="76"/>
                    </a:lnTo>
                    <a:lnTo>
                      <a:pt x="9" y="75"/>
                    </a:lnTo>
                    <a:lnTo>
                      <a:pt x="7" y="76"/>
                    </a:lnTo>
                    <a:lnTo>
                      <a:pt x="7" y="75"/>
                    </a:lnTo>
                    <a:lnTo>
                      <a:pt x="5" y="75"/>
                    </a:lnTo>
                    <a:lnTo>
                      <a:pt x="3" y="75"/>
                    </a:lnTo>
                    <a:lnTo>
                      <a:pt x="2" y="73"/>
                    </a:lnTo>
                    <a:lnTo>
                      <a:pt x="2" y="75"/>
                    </a:lnTo>
                    <a:lnTo>
                      <a:pt x="0" y="73"/>
                    </a:lnTo>
                    <a:close/>
                    <a:moveTo>
                      <a:pt x="44" y="56"/>
                    </a:moveTo>
                    <a:lnTo>
                      <a:pt x="44" y="58"/>
                    </a:lnTo>
                    <a:lnTo>
                      <a:pt x="46" y="58"/>
                    </a:lnTo>
                    <a:lnTo>
                      <a:pt x="46" y="59"/>
                    </a:lnTo>
                    <a:lnTo>
                      <a:pt x="46" y="61"/>
                    </a:lnTo>
                    <a:lnTo>
                      <a:pt x="46" y="59"/>
                    </a:lnTo>
                    <a:lnTo>
                      <a:pt x="48" y="59"/>
                    </a:lnTo>
                    <a:lnTo>
                      <a:pt x="48" y="58"/>
                    </a:lnTo>
                    <a:lnTo>
                      <a:pt x="48" y="56"/>
                    </a:lnTo>
                    <a:lnTo>
                      <a:pt x="46" y="56"/>
                    </a:lnTo>
                    <a:lnTo>
                      <a:pt x="44" y="56"/>
                    </a:lnTo>
                    <a:close/>
                    <a:moveTo>
                      <a:pt x="104" y="3"/>
                    </a:moveTo>
                    <a:lnTo>
                      <a:pt x="105" y="3"/>
                    </a:lnTo>
                    <a:lnTo>
                      <a:pt x="104" y="3"/>
                    </a:lnTo>
                    <a:lnTo>
                      <a:pt x="102" y="5"/>
                    </a:lnTo>
                    <a:lnTo>
                      <a:pt x="102" y="3"/>
                    </a:lnTo>
                    <a:lnTo>
                      <a:pt x="102" y="5"/>
                    </a:lnTo>
                    <a:lnTo>
                      <a:pt x="100" y="5"/>
                    </a:lnTo>
                    <a:lnTo>
                      <a:pt x="99" y="5"/>
                    </a:lnTo>
                    <a:lnTo>
                      <a:pt x="97" y="7"/>
                    </a:lnTo>
                    <a:lnTo>
                      <a:pt x="95" y="7"/>
                    </a:lnTo>
                    <a:lnTo>
                      <a:pt x="94" y="8"/>
                    </a:lnTo>
                    <a:lnTo>
                      <a:pt x="94" y="7"/>
                    </a:lnTo>
                    <a:lnTo>
                      <a:pt x="95" y="7"/>
                    </a:lnTo>
                    <a:lnTo>
                      <a:pt x="95" y="5"/>
                    </a:lnTo>
                    <a:lnTo>
                      <a:pt x="95" y="7"/>
                    </a:lnTo>
                    <a:lnTo>
                      <a:pt x="97" y="5"/>
                    </a:lnTo>
                    <a:lnTo>
                      <a:pt x="99" y="5"/>
                    </a:lnTo>
                    <a:lnTo>
                      <a:pt x="100" y="5"/>
                    </a:lnTo>
                    <a:lnTo>
                      <a:pt x="100" y="3"/>
                    </a:lnTo>
                    <a:lnTo>
                      <a:pt x="100" y="5"/>
                    </a:lnTo>
                    <a:lnTo>
                      <a:pt x="100" y="3"/>
                    </a:lnTo>
                    <a:lnTo>
                      <a:pt x="102" y="3"/>
                    </a:lnTo>
                    <a:lnTo>
                      <a:pt x="104" y="3"/>
                    </a:lnTo>
                    <a:close/>
                    <a:moveTo>
                      <a:pt x="119" y="0"/>
                    </a:moveTo>
                    <a:lnTo>
                      <a:pt x="119" y="2"/>
                    </a:lnTo>
                    <a:lnTo>
                      <a:pt x="117" y="3"/>
                    </a:lnTo>
                    <a:lnTo>
                      <a:pt x="117" y="2"/>
                    </a:lnTo>
                    <a:lnTo>
                      <a:pt x="117" y="3"/>
                    </a:lnTo>
                    <a:lnTo>
                      <a:pt x="116" y="3"/>
                    </a:lnTo>
                    <a:lnTo>
                      <a:pt x="116" y="5"/>
                    </a:lnTo>
                    <a:lnTo>
                      <a:pt x="116" y="3"/>
                    </a:lnTo>
                    <a:lnTo>
                      <a:pt x="116" y="2"/>
                    </a:lnTo>
                    <a:lnTo>
                      <a:pt x="117" y="2"/>
                    </a:lnTo>
                    <a:lnTo>
                      <a:pt x="117" y="0"/>
                    </a:lnTo>
                    <a:lnTo>
                      <a:pt x="117" y="2"/>
                    </a:lnTo>
                    <a:lnTo>
                      <a:pt x="117" y="0"/>
                    </a:lnTo>
                    <a:lnTo>
                      <a:pt x="119" y="0"/>
                    </a:lnTo>
                    <a:close/>
                    <a:moveTo>
                      <a:pt x="58" y="110"/>
                    </a:moveTo>
                    <a:lnTo>
                      <a:pt x="60" y="110"/>
                    </a:lnTo>
                    <a:lnTo>
                      <a:pt x="60" y="112"/>
                    </a:lnTo>
                    <a:lnTo>
                      <a:pt x="58" y="112"/>
                    </a:lnTo>
                    <a:lnTo>
                      <a:pt x="58" y="110"/>
                    </a:lnTo>
                    <a:close/>
                    <a:moveTo>
                      <a:pt x="83" y="13"/>
                    </a:moveTo>
                    <a:lnTo>
                      <a:pt x="83" y="15"/>
                    </a:lnTo>
                    <a:lnTo>
                      <a:pt x="82" y="15"/>
                    </a:lnTo>
                    <a:lnTo>
                      <a:pt x="80" y="15"/>
                    </a:lnTo>
                    <a:lnTo>
                      <a:pt x="82" y="15"/>
                    </a:lnTo>
                    <a:lnTo>
                      <a:pt x="82" y="13"/>
                    </a:lnTo>
                    <a:lnTo>
                      <a:pt x="83" y="13"/>
                    </a:lnTo>
                    <a:close/>
                    <a:moveTo>
                      <a:pt x="58" y="112"/>
                    </a:moveTo>
                    <a:lnTo>
                      <a:pt x="60" y="112"/>
                    </a:lnTo>
                    <a:lnTo>
                      <a:pt x="60" y="114"/>
                    </a:lnTo>
                    <a:lnTo>
                      <a:pt x="58" y="114"/>
                    </a:lnTo>
                    <a:lnTo>
                      <a:pt x="58" y="112"/>
                    </a:lnTo>
                    <a:close/>
                    <a:moveTo>
                      <a:pt x="179" y="36"/>
                    </a:moveTo>
                    <a:lnTo>
                      <a:pt x="180" y="36"/>
                    </a:lnTo>
                    <a:lnTo>
                      <a:pt x="180" y="39"/>
                    </a:lnTo>
                    <a:lnTo>
                      <a:pt x="179" y="39"/>
                    </a:lnTo>
                    <a:lnTo>
                      <a:pt x="179" y="36"/>
                    </a:lnTo>
                    <a:close/>
                    <a:moveTo>
                      <a:pt x="63" y="110"/>
                    </a:moveTo>
                    <a:lnTo>
                      <a:pt x="65" y="110"/>
                    </a:lnTo>
                    <a:lnTo>
                      <a:pt x="65" y="114"/>
                    </a:lnTo>
                    <a:lnTo>
                      <a:pt x="63" y="114"/>
                    </a:lnTo>
                    <a:lnTo>
                      <a:pt x="63" y="110"/>
                    </a:lnTo>
                    <a:close/>
                    <a:moveTo>
                      <a:pt x="60" y="110"/>
                    </a:moveTo>
                    <a:lnTo>
                      <a:pt x="61" y="110"/>
                    </a:lnTo>
                    <a:lnTo>
                      <a:pt x="61" y="112"/>
                    </a:lnTo>
                    <a:lnTo>
                      <a:pt x="60" y="112"/>
                    </a:lnTo>
                    <a:lnTo>
                      <a:pt x="60" y="110"/>
                    </a:lnTo>
                    <a:close/>
                    <a:moveTo>
                      <a:pt x="66" y="109"/>
                    </a:moveTo>
                    <a:lnTo>
                      <a:pt x="66" y="110"/>
                    </a:lnTo>
                    <a:lnTo>
                      <a:pt x="66" y="109"/>
                    </a:lnTo>
                    <a:close/>
                    <a:moveTo>
                      <a:pt x="63" y="109"/>
                    </a:moveTo>
                    <a:lnTo>
                      <a:pt x="65" y="109"/>
                    </a:lnTo>
                    <a:lnTo>
                      <a:pt x="65" y="110"/>
                    </a:lnTo>
                    <a:lnTo>
                      <a:pt x="63" y="110"/>
                    </a:lnTo>
                    <a:lnTo>
                      <a:pt x="63" y="109"/>
                    </a:lnTo>
                    <a:close/>
                    <a:moveTo>
                      <a:pt x="107" y="3"/>
                    </a:moveTo>
                    <a:lnTo>
                      <a:pt x="109" y="3"/>
                    </a:lnTo>
                    <a:lnTo>
                      <a:pt x="107" y="3"/>
                    </a:lnTo>
                    <a:close/>
                    <a:moveTo>
                      <a:pt x="105" y="3"/>
                    </a:moveTo>
                    <a:lnTo>
                      <a:pt x="107" y="3"/>
                    </a:lnTo>
                    <a:lnTo>
                      <a:pt x="105" y="3"/>
                    </a:lnTo>
                    <a:close/>
                    <a:moveTo>
                      <a:pt x="177" y="36"/>
                    </a:moveTo>
                    <a:lnTo>
                      <a:pt x="179" y="36"/>
                    </a:lnTo>
                    <a:lnTo>
                      <a:pt x="179" y="37"/>
                    </a:lnTo>
                    <a:lnTo>
                      <a:pt x="177" y="37"/>
                    </a:lnTo>
                    <a:lnTo>
                      <a:pt x="177" y="36"/>
                    </a:lnTo>
                    <a:close/>
                    <a:moveTo>
                      <a:pt x="56" y="112"/>
                    </a:moveTo>
                    <a:lnTo>
                      <a:pt x="58" y="112"/>
                    </a:lnTo>
                    <a:lnTo>
                      <a:pt x="56" y="112"/>
                    </a:lnTo>
                    <a:close/>
                    <a:moveTo>
                      <a:pt x="65" y="110"/>
                    </a:moveTo>
                    <a:lnTo>
                      <a:pt x="66" y="110"/>
                    </a:lnTo>
                    <a:lnTo>
                      <a:pt x="65" y="110"/>
                    </a:lnTo>
                    <a:close/>
                    <a:moveTo>
                      <a:pt x="97" y="19"/>
                    </a:moveTo>
                    <a:lnTo>
                      <a:pt x="97" y="20"/>
                    </a:lnTo>
                    <a:lnTo>
                      <a:pt x="97" y="19"/>
                    </a:lnTo>
                    <a:close/>
                    <a:moveTo>
                      <a:pt x="65" y="109"/>
                    </a:moveTo>
                    <a:lnTo>
                      <a:pt x="66" y="109"/>
                    </a:lnTo>
                    <a:lnTo>
                      <a:pt x="66" y="110"/>
                    </a:lnTo>
                    <a:lnTo>
                      <a:pt x="65" y="110"/>
                    </a:lnTo>
                    <a:lnTo>
                      <a:pt x="65" y="109"/>
                    </a:lnTo>
                    <a:close/>
                    <a:moveTo>
                      <a:pt x="65" y="109"/>
                    </a:moveTo>
                    <a:lnTo>
                      <a:pt x="66" y="109"/>
                    </a:lnTo>
                    <a:lnTo>
                      <a:pt x="66" y="110"/>
                    </a:lnTo>
                    <a:lnTo>
                      <a:pt x="65" y="110"/>
                    </a:lnTo>
                    <a:lnTo>
                      <a:pt x="65" y="109"/>
                    </a:lnTo>
                    <a:close/>
                    <a:moveTo>
                      <a:pt x="63" y="109"/>
                    </a:moveTo>
                    <a:lnTo>
                      <a:pt x="65" y="109"/>
                    </a:lnTo>
                    <a:lnTo>
                      <a:pt x="65" y="110"/>
                    </a:lnTo>
                    <a:lnTo>
                      <a:pt x="63" y="110"/>
                    </a:lnTo>
                    <a:lnTo>
                      <a:pt x="63" y="109"/>
                    </a:lnTo>
                    <a:close/>
                    <a:moveTo>
                      <a:pt x="63" y="109"/>
                    </a:moveTo>
                    <a:lnTo>
                      <a:pt x="65" y="109"/>
                    </a:lnTo>
                    <a:lnTo>
                      <a:pt x="63" y="109"/>
                    </a:lnTo>
                    <a:close/>
                    <a:moveTo>
                      <a:pt x="185" y="5"/>
                    </a:moveTo>
                    <a:lnTo>
                      <a:pt x="187" y="5"/>
                    </a:lnTo>
                    <a:lnTo>
                      <a:pt x="185" y="5"/>
                    </a:lnTo>
                    <a:close/>
                    <a:moveTo>
                      <a:pt x="54" y="112"/>
                    </a:moveTo>
                    <a:lnTo>
                      <a:pt x="56" y="112"/>
                    </a:lnTo>
                    <a:lnTo>
                      <a:pt x="54" y="11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97" name="Freeform 39">
                <a:extLst>
                  <a:ext uri="{FF2B5EF4-FFF2-40B4-BE49-F238E27FC236}">
                    <a16:creationId xmlns:a16="http://schemas.microsoft.com/office/drawing/2014/main" id="{B734127F-141B-4936-220C-FFC0CD83EA5A}"/>
                  </a:ext>
                </a:extLst>
              </p:cNvPr>
              <p:cNvSpPr>
                <a:spLocks/>
              </p:cNvSpPr>
              <p:nvPr/>
            </p:nvSpPr>
            <p:spPr bwMode="auto">
              <a:xfrm>
                <a:off x="5453063" y="1441450"/>
                <a:ext cx="117475" cy="46038"/>
              </a:xfrm>
              <a:custGeom>
                <a:avLst/>
                <a:gdLst>
                  <a:gd name="T0" fmla="*/ 20 w 74"/>
                  <a:gd name="T1" fmla="*/ 2 h 29"/>
                  <a:gd name="T2" fmla="*/ 25 w 74"/>
                  <a:gd name="T3" fmla="*/ 2 h 29"/>
                  <a:gd name="T4" fmla="*/ 30 w 74"/>
                  <a:gd name="T5" fmla="*/ 2 h 29"/>
                  <a:gd name="T6" fmla="*/ 32 w 74"/>
                  <a:gd name="T7" fmla="*/ 4 h 29"/>
                  <a:gd name="T8" fmla="*/ 35 w 74"/>
                  <a:gd name="T9" fmla="*/ 2 h 29"/>
                  <a:gd name="T10" fmla="*/ 39 w 74"/>
                  <a:gd name="T11" fmla="*/ 4 h 29"/>
                  <a:gd name="T12" fmla="*/ 44 w 74"/>
                  <a:gd name="T13" fmla="*/ 6 h 29"/>
                  <a:gd name="T14" fmla="*/ 47 w 74"/>
                  <a:gd name="T15" fmla="*/ 6 h 29"/>
                  <a:gd name="T16" fmla="*/ 49 w 74"/>
                  <a:gd name="T17" fmla="*/ 6 h 29"/>
                  <a:gd name="T18" fmla="*/ 52 w 74"/>
                  <a:gd name="T19" fmla="*/ 7 h 29"/>
                  <a:gd name="T20" fmla="*/ 54 w 74"/>
                  <a:gd name="T21" fmla="*/ 9 h 29"/>
                  <a:gd name="T22" fmla="*/ 57 w 74"/>
                  <a:gd name="T23" fmla="*/ 12 h 29"/>
                  <a:gd name="T24" fmla="*/ 59 w 74"/>
                  <a:gd name="T25" fmla="*/ 12 h 29"/>
                  <a:gd name="T26" fmla="*/ 64 w 74"/>
                  <a:gd name="T27" fmla="*/ 12 h 29"/>
                  <a:gd name="T28" fmla="*/ 66 w 74"/>
                  <a:gd name="T29" fmla="*/ 14 h 29"/>
                  <a:gd name="T30" fmla="*/ 69 w 74"/>
                  <a:gd name="T31" fmla="*/ 17 h 29"/>
                  <a:gd name="T32" fmla="*/ 71 w 74"/>
                  <a:gd name="T33" fmla="*/ 21 h 29"/>
                  <a:gd name="T34" fmla="*/ 73 w 74"/>
                  <a:gd name="T35" fmla="*/ 23 h 29"/>
                  <a:gd name="T36" fmla="*/ 73 w 74"/>
                  <a:gd name="T37" fmla="*/ 24 h 29"/>
                  <a:gd name="T38" fmla="*/ 68 w 74"/>
                  <a:gd name="T39" fmla="*/ 24 h 29"/>
                  <a:gd name="T40" fmla="*/ 62 w 74"/>
                  <a:gd name="T41" fmla="*/ 24 h 29"/>
                  <a:gd name="T42" fmla="*/ 59 w 74"/>
                  <a:gd name="T43" fmla="*/ 23 h 29"/>
                  <a:gd name="T44" fmla="*/ 56 w 74"/>
                  <a:gd name="T45" fmla="*/ 23 h 29"/>
                  <a:gd name="T46" fmla="*/ 51 w 74"/>
                  <a:gd name="T47" fmla="*/ 23 h 29"/>
                  <a:gd name="T48" fmla="*/ 54 w 74"/>
                  <a:gd name="T49" fmla="*/ 23 h 29"/>
                  <a:gd name="T50" fmla="*/ 54 w 74"/>
                  <a:gd name="T51" fmla="*/ 21 h 29"/>
                  <a:gd name="T52" fmla="*/ 54 w 74"/>
                  <a:gd name="T53" fmla="*/ 23 h 29"/>
                  <a:gd name="T54" fmla="*/ 52 w 74"/>
                  <a:gd name="T55" fmla="*/ 21 h 29"/>
                  <a:gd name="T56" fmla="*/ 51 w 74"/>
                  <a:gd name="T57" fmla="*/ 19 h 29"/>
                  <a:gd name="T58" fmla="*/ 51 w 74"/>
                  <a:gd name="T59" fmla="*/ 21 h 29"/>
                  <a:gd name="T60" fmla="*/ 49 w 74"/>
                  <a:gd name="T61" fmla="*/ 24 h 29"/>
                  <a:gd name="T62" fmla="*/ 47 w 74"/>
                  <a:gd name="T63" fmla="*/ 26 h 29"/>
                  <a:gd name="T64" fmla="*/ 45 w 74"/>
                  <a:gd name="T65" fmla="*/ 26 h 29"/>
                  <a:gd name="T66" fmla="*/ 44 w 74"/>
                  <a:gd name="T67" fmla="*/ 23 h 29"/>
                  <a:gd name="T68" fmla="*/ 40 w 74"/>
                  <a:gd name="T69" fmla="*/ 24 h 29"/>
                  <a:gd name="T70" fmla="*/ 40 w 74"/>
                  <a:gd name="T71" fmla="*/ 26 h 29"/>
                  <a:gd name="T72" fmla="*/ 40 w 74"/>
                  <a:gd name="T73" fmla="*/ 28 h 29"/>
                  <a:gd name="T74" fmla="*/ 42 w 74"/>
                  <a:gd name="T75" fmla="*/ 29 h 29"/>
                  <a:gd name="T76" fmla="*/ 37 w 74"/>
                  <a:gd name="T77" fmla="*/ 29 h 29"/>
                  <a:gd name="T78" fmla="*/ 35 w 74"/>
                  <a:gd name="T79" fmla="*/ 26 h 29"/>
                  <a:gd name="T80" fmla="*/ 32 w 74"/>
                  <a:gd name="T81" fmla="*/ 24 h 29"/>
                  <a:gd name="T82" fmla="*/ 28 w 74"/>
                  <a:gd name="T83" fmla="*/ 24 h 29"/>
                  <a:gd name="T84" fmla="*/ 23 w 74"/>
                  <a:gd name="T85" fmla="*/ 24 h 29"/>
                  <a:gd name="T86" fmla="*/ 20 w 74"/>
                  <a:gd name="T87" fmla="*/ 23 h 29"/>
                  <a:gd name="T88" fmla="*/ 18 w 74"/>
                  <a:gd name="T89" fmla="*/ 19 h 29"/>
                  <a:gd name="T90" fmla="*/ 13 w 74"/>
                  <a:gd name="T91" fmla="*/ 17 h 29"/>
                  <a:gd name="T92" fmla="*/ 11 w 74"/>
                  <a:gd name="T93" fmla="*/ 14 h 29"/>
                  <a:gd name="T94" fmla="*/ 8 w 74"/>
                  <a:gd name="T95" fmla="*/ 12 h 29"/>
                  <a:gd name="T96" fmla="*/ 3 w 74"/>
                  <a:gd name="T97" fmla="*/ 12 h 29"/>
                  <a:gd name="T98" fmla="*/ 0 w 74"/>
                  <a:gd name="T99" fmla="*/ 11 h 29"/>
                  <a:gd name="T100" fmla="*/ 1 w 74"/>
                  <a:gd name="T101" fmla="*/ 6 h 29"/>
                  <a:gd name="T102" fmla="*/ 6 w 74"/>
                  <a:gd name="T103" fmla="*/ 4 h 29"/>
                  <a:gd name="T104" fmla="*/ 11 w 74"/>
                  <a:gd name="T105" fmla="*/ 4 h 29"/>
                  <a:gd name="T106" fmla="*/ 13 w 74"/>
                  <a:gd name="T107" fmla="*/ 4 h 29"/>
                  <a:gd name="T108" fmla="*/ 17 w 74"/>
                  <a:gd name="T109" fmla="*/ 2 h 29"/>
                  <a:gd name="T110" fmla="*/ 17 w 74"/>
                  <a:gd name="T111"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4" h="29">
                    <a:moveTo>
                      <a:pt x="18" y="0"/>
                    </a:moveTo>
                    <a:lnTo>
                      <a:pt x="20" y="0"/>
                    </a:lnTo>
                    <a:lnTo>
                      <a:pt x="20" y="2"/>
                    </a:lnTo>
                    <a:lnTo>
                      <a:pt x="22" y="2"/>
                    </a:lnTo>
                    <a:lnTo>
                      <a:pt x="23" y="2"/>
                    </a:lnTo>
                    <a:lnTo>
                      <a:pt x="25" y="2"/>
                    </a:lnTo>
                    <a:lnTo>
                      <a:pt x="27" y="2"/>
                    </a:lnTo>
                    <a:lnTo>
                      <a:pt x="28" y="2"/>
                    </a:lnTo>
                    <a:lnTo>
                      <a:pt x="30" y="2"/>
                    </a:lnTo>
                    <a:lnTo>
                      <a:pt x="30" y="4"/>
                    </a:lnTo>
                    <a:lnTo>
                      <a:pt x="32" y="2"/>
                    </a:lnTo>
                    <a:lnTo>
                      <a:pt x="32" y="4"/>
                    </a:lnTo>
                    <a:lnTo>
                      <a:pt x="34" y="4"/>
                    </a:lnTo>
                    <a:lnTo>
                      <a:pt x="35" y="4"/>
                    </a:lnTo>
                    <a:lnTo>
                      <a:pt x="35" y="2"/>
                    </a:lnTo>
                    <a:lnTo>
                      <a:pt x="35" y="4"/>
                    </a:lnTo>
                    <a:lnTo>
                      <a:pt x="37" y="4"/>
                    </a:lnTo>
                    <a:lnTo>
                      <a:pt x="39" y="4"/>
                    </a:lnTo>
                    <a:lnTo>
                      <a:pt x="40" y="4"/>
                    </a:lnTo>
                    <a:lnTo>
                      <a:pt x="42" y="6"/>
                    </a:lnTo>
                    <a:lnTo>
                      <a:pt x="44" y="6"/>
                    </a:lnTo>
                    <a:lnTo>
                      <a:pt x="44" y="4"/>
                    </a:lnTo>
                    <a:lnTo>
                      <a:pt x="45" y="6"/>
                    </a:lnTo>
                    <a:lnTo>
                      <a:pt x="47" y="6"/>
                    </a:lnTo>
                    <a:lnTo>
                      <a:pt x="49" y="6"/>
                    </a:lnTo>
                    <a:lnTo>
                      <a:pt x="51" y="6"/>
                    </a:lnTo>
                    <a:lnTo>
                      <a:pt x="49" y="6"/>
                    </a:lnTo>
                    <a:lnTo>
                      <a:pt x="49" y="7"/>
                    </a:lnTo>
                    <a:lnTo>
                      <a:pt x="51" y="7"/>
                    </a:lnTo>
                    <a:lnTo>
                      <a:pt x="52" y="7"/>
                    </a:lnTo>
                    <a:lnTo>
                      <a:pt x="52" y="9"/>
                    </a:lnTo>
                    <a:lnTo>
                      <a:pt x="54" y="11"/>
                    </a:lnTo>
                    <a:lnTo>
                      <a:pt x="54" y="9"/>
                    </a:lnTo>
                    <a:lnTo>
                      <a:pt x="56" y="11"/>
                    </a:lnTo>
                    <a:lnTo>
                      <a:pt x="57" y="11"/>
                    </a:lnTo>
                    <a:lnTo>
                      <a:pt x="57" y="12"/>
                    </a:lnTo>
                    <a:lnTo>
                      <a:pt x="59" y="12"/>
                    </a:lnTo>
                    <a:lnTo>
                      <a:pt x="59" y="11"/>
                    </a:lnTo>
                    <a:lnTo>
                      <a:pt x="59" y="12"/>
                    </a:lnTo>
                    <a:lnTo>
                      <a:pt x="61" y="12"/>
                    </a:lnTo>
                    <a:lnTo>
                      <a:pt x="62" y="12"/>
                    </a:lnTo>
                    <a:lnTo>
                      <a:pt x="64" y="12"/>
                    </a:lnTo>
                    <a:lnTo>
                      <a:pt x="64" y="14"/>
                    </a:lnTo>
                    <a:lnTo>
                      <a:pt x="64" y="12"/>
                    </a:lnTo>
                    <a:lnTo>
                      <a:pt x="66" y="14"/>
                    </a:lnTo>
                    <a:lnTo>
                      <a:pt x="68" y="14"/>
                    </a:lnTo>
                    <a:lnTo>
                      <a:pt x="69" y="16"/>
                    </a:lnTo>
                    <a:lnTo>
                      <a:pt x="69" y="17"/>
                    </a:lnTo>
                    <a:lnTo>
                      <a:pt x="71" y="17"/>
                    </a:lnTo>
                    <a:lnTo>
                      <a:pt x="71" y="19"/>
                    </a:lnTo>
                    <a:lnTo>
                      <a:pt x="71" y="21"/>
                    </a:lnTo>
                    <a:lnTo>
                      <a:pt x="73" y="21"/>
                    </a:lnTo>
                    <a:lnTo>
                      <a:pt x="71" y="21"/>
                    </a:lnTo>
                    <a:lnTo>
                      <a:pt x="73" y="23"/>
                    </a:lnTo>
                    <a:lnTo>
                      <a:pt x="74" y="23"/>
                    </a:lnTo>
                    <a:lnTo>
                      <a:pt x="73" y="23"/>
                    </a:lnTo>
                    <a:lnTo>
                      <a:pt x="73" y="24"/>
                    </a:lnTo>
                    <a:lnTo>
                      <a:pt x="71" y="24"/>
                    </a:lnTo>
                    <a:lnTo>
                      <a:pt x="69" y="24"/>
                    </a:lnTo>
                    <a:lnTo>
                      <a:pt x="68" y="24"/>
                    </a:lnTo>
                    <a:lnTo>
                      <a:pt x="66" y="24"/>
                    </a:lnTo>
                    <a:lnTo>
                      <a:pt x="64" y="24"/>
                    </a:lnTo>
                    <a:lnTo>
                      <a:pt x="62" y="24"/>
                    </a:lnTo>
                    <a:lnTo>
                      <a:pt x="61" y="24"/>
                    </a:lnTo>
                    <a:lnTo>
                      <a:pt x="59" y="24"/>
                    </a:lnTo>
                    <a:lnTo>
                      <a:pt x="59" y="23"/>
                    </a:lnTo>
                    <a:lnTo>
                      <a:pt x="57" y="23"/>
                    </a:lnTo>
                    <a:lnTo>
                      <a:pt x="56" y="21"/>
                    </a:lnTo>
                    <a:lnTo>
                      <a:pt x="56" y="23"/>
                    </a:lnTo>
                    <a:lnTo>
                      <a:pt x="54" y="23"/>
                    </a:lnTo>
                    <a:lnTo>
                      <a:pt x="52" y="23"/>
                    </a:lnTo>
                    <a:lnTo>
                      <a:pt x="51" y="23"/>
                    </a:lnTo>
                    <a:lnTo>
                      <a:pt x="52" y="21"/>
                    </a:lnTo>
                    <a:lnTo>
                      <a:pt x="52" y="23"/>
                    </a:lnTo>
                    <a:lnTo>
                      <a:pt x="54" y="23"/>
                    </a:lnTo>
                    <a:lnTo>
                      <a:pt x="52" y="23"/>
                    </a:lnTo>
                    <a:lnTo>
                      <a:pt x="54" y="23"/>
                    </a:lnTo>
                    <a:lnTo>
                      <a:pt x="54" y="21"/>
                    </a:lnTo>
                    <a:lnTo>
                      <a:pt x="54" y="23"/>
                    </a:lnTo>
                    <a:lnTo>
                      <a:pt x="54" y="21"/>
                    </a:lnTo>
                    <a:lnTo>
                      <a:pt x="54" y="23"/>
                    </a:lnTo>
                    <a:lnTo>
                      <a:pt x="56" y="21"/>
                    </a:lnTo>
                    <a:lnTo>
                      <a:pt x="54" y="21"/>
                    </a:lnTo>
                    <a:lnTo>
                      <a:pt x="52" y="21"/>
                    </a:lnTo>
                    <a:lnTo>
                      <a:pt x="51" y="21"/>
                    </a:lnTo>
                    <a:lnTo>
                      <a:pt x="52" y="19"/>
                    </a:lnTo>
                    <a:lnTo>
                      <a:pt x="51" y="19"/>
                    </a:lnTo>
                    <a:lnTo>
                      <a:pt x="51" y="21"/>
                    </a:lnTo>
                    <a:lnTo>
                      <a:pt x="52" y="21"/>
                    </a:lnTo>
                    <a:lnTo>
                      <a:pt x="51" y="21"/>
                    </a:lnTo>
                    <a:lnTo>
                      <a:pt x="51" y="23"/>
                    </a:lnTo>
                    <a:lnTo>
                      <a:pt x="49" y="23"/>
                    </a:lnTo>
                    <a:lnTo>
                      <a:pt x="49" y="24"/>
                    </a:lnTo>
                    <a:lnTo>
                      <a:pt x="47" y="26"/>
                    </a:lnTo>
                    <a:lnTo>
                      <a:pt x="47" y="24"/>
                    </a:lnTo>
                    <a:lnTo>
                      <a:pt x="47" y="26"/>
                    </a:lnTo>
                    <a:lnTo>
                      <a:pt x="45" y="26"/>
                    </a:lnTo>
                    <a:lnTo>
                      <a:pt x="45" y="24"/>
                    </a:lnTo>
                    <a:lnTo>
                      <a:pt x="45" y="26"/>
                    </a:lnTo>
                    <a:lnTo>
                      <a:pt x="44" y="24"/>
                    </a:lnTo>
                    <a:lnTo>
                      <a:pt x="45" y="24"/>
                    </a:lnTo>
                    <a:lnTo>
                      <a:pt x="44" y="23"/>
                    </a:lnTo>
                    <a:lnTo>
                      <a:pt x="42" y="23"/>
                    </a:lnTo>
                    <a:lnTo>
                      <a:pt x="42" y="24"/>
                    </a:lnTo>
                    <a:lnTo>
                      <a:pt x="40" y="24"/>
                    </a:lnTo>
                    <a:lnTo>
                      <a:pt x="40" y="26"/>
                    </a:lnTo>
                    <a:lnTo>
                      <a:pt x="42" y="26"/>
                    </a:lnTo>
                    <a:lnTo>
                      <a:pt x="40" y="26"/>
                    </a:lnTo>
                    <a:lnTo>
                      <a:pt x="40" y="28"/>
                    </a:lnTo>
                    <a:lnTo>
                      <a:pt x="39" y="28"/>
                    </a:lnTo>
                    <a:lnTo>
                      <a:pt x="40" y="28"/>
                    </a:lnTo>
                    <a:lnTo>
                      <a:pt x="42" y="28"/>
                    </a:lnTo>
                    <a:lnTo>
                      <a:pt x="40" y="28"/>
                    </a:lnTo>
                    <a:lnTo>
                      <a:pt x="42" y="29"/>
                    </a:lnTo>
                    <a:lnTo>
                      <a:pt x="40" y="29"/>
                    </a:lnTo>
                    <a:lnTo>
                      <a:pt x="39" y="29"/>
                    </a:lnTo>
                    <a:lnTo>
                      <a:pt x="37" y="29"/>
                    </a:lnTo>
                    <a:lnTo>
                      <a:pt x="37" y="28"/>
                    </a:lnTo>
                    <a:lnTo>
                      <a:pt x="35" y="28"/>
                    </a:lnTo>
                    <a:lnTo>
                      <a:pt x="35" y="26"/>
                    </a:lnTo>
                    <a:lnTo>
                      <a:pt x="34" y="26"/>
                    </a:lnTo>
                    <a:lnTo>
                      <a:pt x="34" y="24"/>
                    </a:lnTo>
                    <a:lnTo>
                      <a:pt x="32" y="24"/>
                    </a:lnTo>
                    <a:lnTo>
                      <a:pt x="30" y="24"/>
                    </a:lnTo>
                    <a:lnTo>
                      <a:pt x="28" y="26"/>
                    </a:lnTo>
                    <a:lnTo>
                      <a:pt x="28" y="24"/>
                    </a:lnTo>
                    <a:lnTo>
                      <a:pt x="27" y="24"/>
                    </a:lnTo>
                    <a:lnTo>
                      <a:pt x="25" y="24"/>
                    </a:lnTo>
                    <a:lnTo>
                      <a:pt x="23" y="24"/>
                    </a:lnTo>
                    <a:lnTo>
                      <a:pt x="22" y="24"/>
                    </a:lnTo>
                    <a:lnTo>
                      <a:pt x="20" y="24"/>
                    </a:lnTo>
                    <a:lnTo>
                      <a:pt x="20" y="23"/>
                    </a:lnTo>
                    <a:lnTo>
                      <a:pt x="18" y="23"/>
                    </a:lnTo>
                    <a:lnTo>
                      <a:pt x="18" y="21"/>
                    </a:lnTo>
                    <a:lnTo>
                      <a:pt x="18" y="19"/>
                    </a:lnTo>
                    <a:lnTo>
                      <a:pt x="17" y="19"/>
                    </a:lnTo>
                    <a:lnTo>
                      <a:pt x="15" y="19"/>
                    </a:lnTo>
                    <a:lnTo>
                      <a:pt x="13" y="17"/>
                    </a:lnTo>
                    <a:lnTo>
                      <a:pt x="13" y="16"/>
                    </a:lnTo>
                    <a:lnTo>
                      <a:pt x="11" y="16"/>
                    </a:lnTo>
                    <a:lnTo>
                      <a:pt x="11" y="14"/>
                    </a:lnTo>
                    <a:lnTo>
                      <a:pt x="11" y="12"/>
                    </a:lnTo>
                    <a:lnTo>
                      <a:pt x="10" y="12"/>
                    </a:lnTo>
                    <a:lnTo>
                      <a:pt x="8" y="12"/>
                    </a:lnTo>
                    <a:lnTo>
                      <a:pt x="6" y="12"/>
                    </a:lnTo>
                    <a:lnTo>
                      <a:pt x="5" y="12"/>
                    </a:lnTo>
                    <a:lnTo>
                      <a:pt x="3" y="12"/>
                    </a:lnTo>
                    <a:lnTo>
                      <a:pt x="1" y="12"/>
                    </a:lnTo>
                    <a:lnTo>
                      <a:pt x="1" y="11"/>
                    </a:lnTo>
                    <a:lnTo>
                      <a:pt x="0" y="11"/>
                    </a:lnTo>
                    <a:lnTo>
                      <a:pt x="1" y="9"/>
                    </a:lnTo>
                    <a:lnTo>
                      <a:pt x="1" y="7"/>
                    </a:lnTo>
                    <a:lnTo>
                      <a:pt x="1" y="6"/>
                    </a:lnTo>
                    <a:lnTo>
                      <a:pt x="3" y="6"/>
                    </a:lnTo>
                    <a:lnTo>
                      <a:pt x="5" y="4"/>
                    </a:lnTo>
                    <a:lnTo>
                      <a:pt x="6" y="4"/>
                    </a:lnTo>
                    <a:lnTo>
                      <a:pt x="8" y="4"/>
                    </a:lnTo>
                    <a:lnTo>
                      <a:pt x="10" y="4"/>
                    </a:lnTo>
                    <a:lnTo>
                      <a:pt x="11" y="4"/>
                    </a:lnTo>
                    <a:lnTo>
                      <a:pt x="13" y="4"/>
                    </a:lnTo>
                    <a:lnTo>
                      <a:pt x="15" y="4"/>
                    </a:lnTo>
                    <a:lnTo>
                      <a:pt x="13" y="4"/>
                    </a:lnTo>
                    <a:lnTo>
                      <a:pt x="15" y="4"/>
                    </a:lnTo>
                    <a:lnTo>
                      <a:pt x="15" y="2"/>
                    </a:lnTo>
                    <a:lnTo>
                      <a:pt x="17" y="2"/>
                    </a:lnTo>
                    <a:lnTo>
                      <a:pt x="17" y="0"/>
                    </a:lnTo>
                    <a:lnTo>
                      <a:pt x="17" y="2"/>
                    </a:lnTo>
                    <a:lnTo>
                      <a:pt x="17" y="0"/>
                    </a:lnTo>
                    <a:lnTo>
                      <a:pt x="18"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06" name="Freeform 40">
                <a:extLst>
                  <a:ext uri="{FF2B5EF4-FFF2-40B4-BE49-F238E27FC236}">
                    <a16:creationId xmlns:a16="http://schemas.microsoft.com/office/drawing/2014/main" id="{A51C2819-1DE4-6429-C2AF-7EE3D218CDD0}"/>
                  </a:ext>
                </a:extLst>
              </p:cNvPr>
              <p:cNvSpPr>
                <a:spLocks/>
              </p:cNvSpPr>
              <p:nvPr/>
            </p:nvSpPr>
            <p:spPr bwMode="auto">
              <a:xfrm>
                <a:off x="6370638" y="1647825"/>
                <a:ext cx="23812" cy="26988"/>
              </a:xfrm>
              <a:custGeom>
                <a:avLst/>
                <a:gdLst>
                  <a:gd name="T0" fmla="*/ 3 w 15"/>
                  <a:gd name="T1" fmla="*/ 0 h 17"/>
                  <a:gd name="T2" fmla="*/ 5 w 15"/>
                  <a:gd name="T3" fmla="*/ 0 h 17"/>
                  <a:gd name="T4" fmla="*/ 6 w 15"/>
                  <a:gd name="T5" fmla="*/ 1 h 17"/>
                  <a:gd name="T6" fmla="*/ 8 w 15"/>
                  <a:gd name="T7" fmla="*/ 1 h 17"/>
                  <a:gd name="T8" fmla="*/ 8 w 15"/>
                  <a:gd name="T9" fmla="*/ 3 h 17"/>
                  <a:gd name="T10" fmla="*/ 10 w 15"/>
                  <a:gd name="T11" fmla="*/ 3 h 17"/>
                  <a:gd name="T12" fmla="*/ 10 w 15"/>
                  <a:gd name="T13" fmla="*/ 5 h 17"/>
                  <a:gd name="T14" fmla="*/ 10 w 15"/>
                  <a:gd name="T15" fmla="*/ 3 h 17"/>
                  <a:gd name="T16" fmla="*/ 11 w 15"/>
                  <a:gd name="T17" fmla="*/ 3 h 17"/>
                  <a:gd name="T18" fmla="*/ 11 w 15"/>
                  <a:gd name="T19" fmla="*/ 5 h 17"/>
                  <a:gd name="T20" fmla="*/ 10 w 15"/>
                  <a:gd name="T21" fmla="*/ 5 h 17"/>
                  <a:gd name="T22" fmla="*/ 11 w 15"/>
                  <a:gd name="T23" fmla="*/ 5 h 17"/>
                  <a:gd name="T24" fmla="*/ 11 w 15"/>
                  <a:gd name="T25" fmla="*/ 6 h 17"/>
                  <a:gd name="T26" fmla="*/ 10 w 15"/>
                  <a:gd name="T27" fmla="*/ 6 h 17"/>
                  <a:gd name="T28" fmla="*/ 10 w 15"/>
                  <a:gd name="T29" fmla="*/ 8 h 17"/>
                  <a:gd name="T30" fmla="*/ 11 w 15"/>
                  <a:gd name="T31" fmla="*/ 6 h 17"/>
                  <a:gd name="T32" fmla="*/ 11 w 15"/>
                  <a:gd name="T33" fmla="*/ 8 h 17"/>
                  <a:gd name="T34" fmla="*/ 13 w 15"/>
                  <a:gd name="T35" fmla="*/ 8 h 17"/>
                  <a:gd name="T36" fmla="*/ 13 w 15"/>
                  <a:gd name="T37" fmla="*/ 10 h 17"/>
                  <a:gd name="T38" fmla="*/ 13 w 15"/>
                  <a:gd name="T39" fmla="*/ 12 h 17"/>
                  <a:gd name="T40" fmla="*/ 13 w 15"/>
                  <a:gd name="T41" fmla="*/ 10 h 17"/>
                  <a:gd name="T42" fmla="*/ 13 w 15"/>
                  <a:gd name="T43" fmla="*/ 12 h 17"/>
                  <a:gd name="T44" fmla="*/ 13 w 15"/>
                  <a:gd name="T45" fmla="*/ 13 h 17"/>
                  <a:gd name="T46" fmla="*/ 15 w 15"/>
                  <a:gd name="T47" fmla="*/ 13 h 17"/>
                  <a:gd name="T48" fmla="*/ 13 w 15"/>
                  <a:gd name="T49" fmla="*/ 13 h 17"/>
                  <a:gd name="T50" fmla="*/ 15 w 15"/>
                  <a:gd name="T51" fmla="*/ 15 h 17"/>
                  <a:gd name="T52" fmla="*/ 13 w 15"/>
                  <a:gd name="T53" fmla="*/ 15 h 17"/>
                  <a:gd name="T54" fmla="*/ 13 w 15"/>
                  <a:gd name="T55" fmla="*/ 17 h 17"/>
                  <a:gd name="T56" fmla="*/ 11 w 15"/>
                  <a:gd name="T57" fmla="*/ 17 h 17"/>
                  <a:gd name="T58" fmla="*/ 11 w 15"/>
                  <a:gd name="T59" fmla="*/ 15 h 17"/>
                  <a:gd name="T60" fmla="*/ 13 w 15"/>
                  <a:gd name="T61" fmla="*/ 15 h 17"/>
                  <a:gd name="T62" fmla="*/ 13 w 15"/>
                  <a:gd name="T63" fmla="*/ 13 h 17"/>
                  <a:gd name="T64" fmla="*/ 11 w 15"/>
                  <a:gd name="T65" fmla="*/ 13 h 17"/>
                  <a:gd name="T66" fmla="*/ 11 w 15"/>
                  <a:gd name="T67" fmla="*/ 15 h 17"/>
                  <a:gd name="T68" fmla="*/ 11 w 15"/>
                  <a:gd name="T69" fmla="*/ 13 h 17"/>
                  <a:gd name="T70" fmla="*/ 10 w 15"/>
                  <a:gd name="T71" fmla="*/ 13 h 17"/>
                  <a:gd name="T72" fmla="*/ 8 w 15"/>
                  <a:gd name="T73" fmla="*/ 13 h 17"/>
                  <a:gd name="T74" fmla="*/ 6 w 15"/>
                  <a:gd name="T75" fmla="*/ 13 h 17"/>
                  <a:gd name="T76" fmla="*/ 6 w 15"/>
                  <a:gd name="T77" fmla="*/ 15 h 17"/>
                  <a:gd name="T78" fmla="*/ 6 w 15"/>
                  <a:gd name="T79" fmla="*/ 13 h 17"/>
                  <a:gd name="T80" fmla="*/ 5 w 15"/>
                  <a:gd name="T81" fmla="*/ 13 h 17"/>
                  <a:gd name="T82" fmla="*/ 5 w 15"/>
                  <a:gd name="T83" fmla="*/ 12 h 17"/>
                  <a:gd name="T84" fmla="*/ 6 w 15"/>
                  <a:gd name="T85" fmla="*/ 12 h 17"/>
                  <a:gd name="T86" fmla="*/ 6 w 15"/>
                  <a:gd name="T87" fmla="*/ 10 h 17"/>
                  <a:gd name="T88" fmla="*/ 6 w 15"/>
                  <a:gd name="T89" fmla="*/ 12 h 17"/>
                  <a:gd name="T90" fmla="*/ 8 w 15"/>
                  <a:gd name="T91" fmla="*/ 12 h 17"/>
                  <a:gd name="T92" fmla="*/ 8 w 15"/>
                  <a:gd name="T93" fmla="*/ 10 h 17"/>
                  <a:gd name="T94" fmla="*/ 6 w 15"/>
                  <a:gd name="T95" fmla="*/ 10 h 17"/>
                  <a:gd name="T96" fmla="*/ 8 w 15"/>
                  <a:gd name="T97" fmla="*/ 8 h 17"/>
                  <a:gd name="T98" fmla="*/ 6 w 15"/>
                  <a:gd name="T99" fmla="*/ 10 h 17"/>
                  <a:gd name="T100" fmla="*/ 5 w 15"/>
                  <a:gd name="T101" fmla="*/ 10 h 17"/>
                  <a:gd name="T102" fmla="*/ 5 w 15"/>
                  <a:gd name="T103" fmla="*/ 8 h 17"/>
                  <a:gd name="T104" fmla="*/ 3 w 15"/>
                  <a:gd name="T105" fmla="*/ 8 h 17"/>
                  <a:gd name="T106" fmla="*/ 3 w 15"/>
                  <a:gd name="T107" fmla="*/ 6 h 17"/>
                  <a:gd name="T108" fmla="*/ 1 w 15"/>
                  <a:gd name="T109" fmla="*/ 6 h 17"/>
                  <a:gd name="T110" fmla="*/ 1 w 15"/>
                  <a:gd name="T111" fmla="*/ 5 h 17"/>
                  <a:gd name="T112" fmla="*/ 1 w 15"/>
                  <a:gd name="T113" fmla="*/ 3 h 17"/>
                  <a:gd name="T114" fmla="*/ 0 w 15"/>
                  <a:gd name="T115" fmla="*/ 3 h 17"/>
                  <a:gd name="T116" fmla="*/ 0 w 15"/>
                  <a:gd name="T117" fmla="*/ 1 h 17"/>
                  <a:gd name="T118" fmla="*/ 1 w 15"/>
                  <a:gd name="T119" fmla="*/ 1 h 17"/>
                  <a:gd name="T120" fmla="*/ 1 w 15"/>
                  <a:gd name="T121" fmla="*/ 0 h 17"/>
                  <a:gd name="T122" fmla="*/ 3 w 15"/>
                  <a:gd name="T12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 h="17">
                    <a:moveTo>
                      <a:pt x="3" y="0"/>
                    </a:moveTo>
                    <a:lnTo>
                      <a:pt x="5" y="0"/>
                    </a:lnTo>
                    <a:lnTo>
                      <a:pt x="6" y="1"/>
                    </a:lnTo>
                    <a:lnTo>
                      <a:pt x="8" y="1"/>
                    </a:lnTo>
                    <a:lnTo>
                      <a:pt x="8" y="3"/>
                    </a:lnTo>
                    <a:lnTo>
                      <a:pt x="10" y="3"/>
                    </a:lnTo>
                    <a:lnTo>
                      <a:pt x="10" y="5"/>
                    </a:lnTo>
                    <a:lnTo>
                      <a:pt x="10" y="3"/>
                    </a:lnTo>
                    <a:lnTo>
                      <a:pt x="11" y="3"/>
                    </a:lnTo>
                    <a:lnTo>
                      <a:pt x="11" y="5"/>
                    </a:lnTo>
                    <a:lnTo>
                      <a:pt x="10" y="5"/>
                    </a:lnTo>
                    <a:lnTo>
                      <a:pt x="11" y="5"/>
                    </a:lnTo>
                    <a:lnTo>
                      <a:pt x="11" y="6"/>
                    </a:lnTo>
                    <a:lnTo>
                      <a:pt x="10" y="6"/>
                    </a:lnTo>
                    <a:lnTo>
                      <a:pt x="10" y="8"/>
                    </a:lnTo>
                    <a:lnTo>
                      <a:pt x="11" y="6"/>
                    </a:lnTo>
                    <a:lnTo>
                      <a:pt x="11" y="8"/>
                    </a:lnTo>
                    <a:lnTo>
                      <a:pt x="13" y="8"/>
                    </a:lnTo>
                    <a:lnTo>
                      <a:pt x="13" y="10"/>
                    </a:lnTo>
                    <a:lnTo>
                      <a:pt x="13" y="12"/>
                    </a:lnTo>
                    <a:lnTo>
                      <a:pt x="13" y="10"/>
                    </a:lnTo>
                    <a:lnTo>
                      <a:pt x="13" y="12"/>
                    </a:lnTo>
                    <a:lnTo>
                      <a:pt x="13" y="13"/>
                    </a:lnTo>
                    <a:lnTo>
                      <a:pt x="15" y="13"/>
                    </a:lnTo>
                    <a:lnTo>
                      <a:pt x="13" y="13"/>
                    </a:lnTo>
                    <a:lnTo>
                      <a:pt x="15" y="15"/>
                    </a:lnTo>
                    <a:lnTo>
                      <a:pt x="13" y="15"/>
                    </a:lnTo>
                    <a:lnTo>
                      <a:pt x="13" y="17"/>
                    </a:lnTo>
                    <a:lnTo>
                      <a:pt x="11" y="17"/>
                    </a:lnTo>
                    <a:lnTo>
                      <a:pt x="11" y="15"/>
                    </a:lnTo>
                    <a:lnTo>
                      <a:pt x="13" y="15"/>
                    </a:lnTo>
                    <a:lnTo>
                      <a:pt x="13" y="13"/>
                    </a:lnTo>
                    <a:lnTo>
                      <a:pt x="11" y="13"/>
                    </a:lnTo>
                    <a:lnTo>
                      <a:pt x="11" y="15"/>
                    </a:lnTo>
                    <a:lnTo>
                      <a:pt x="11" y="13"/>
                    </a:lnTo>
                    <a:lnTo>
                      <a:pt x="10" y="13"/>
                    </a:lnTo>
                    <a:lnTo>
                      <a:pt x="8" y="13"/>
                    </a:lnTo>
                    <a:lnTo>
                      <a:pt x="6" y="13"/>
                    </a:lnTo>
                    <a:lnTo>
                      <a:pt x="6" y="15"/>
                    </a:lnTo>
                    <a:lnTo>
                      <a:pt x="6" y="13"/>
                    </a:lnTo>
                    <a:lnTo>
                      <a:pt x="5" y="13"/>
                    </a:lnTo>
                    <a:lnTo>
                      <a:pt x="5" y="12"/>
                    </a:lnTo>
                    <a:lnTo>
                      <a:pt x="6" y="12"/>
                    </a:lnTo>
                    <a:lnTo>
                      <a:pt x="6" y="10"/>
                    </a:lnTo>
                    <a:lnTo>
                      <a:pt x="6" y="12"/>
                    </a:lnTo>
                    <a:lnTo>
                      <a:pt x="8" y="12"/>
                    </a:lnTo>
                    <a:lnTo>
                      <a:pt x="8" y="10"/>
                    </a:lnTo>
                    <a:lnTo>
                      <a:pt x="6" y="10"/>
                    </a:lnTo>
                    <a:lnTo>
                      <a:pt x="8" y="8"/>
                    </a:lnTo>
                    <a:lnTo>
                      <a:pt x="6" y="10"/>
                    </a:lnTo>
                    <a:lnTo>
                      <a:pt x="5" y="10"/>
                    </a:lnTo>
                    <a:lnTo>
                      <a:pt x="5" y="8"/>
                    </a:lnTo>
                    <a:lnTo>
                      <a:pt x="3" y="8"/>
                    </a:lnTo>
                    <a:lnTo>
                      <a:pt x="3" y="6"/>
                    </a:lnTo>
                    <a:lnTo>
                      <a:pt x="1" y="6"/>
                    </a:lnTo>
                    <a:lnTo>
                      <a:pt x="1" y="5"/>
                    </a:lnTo>
                    <a:lnTo>
                      <a:pt x="1" y="3"/>
                    </a:lnTo>
                    <a:lnTo>
                      <a:pt x="0" y="3"/>
                    </a:lnTo>
                    <a:lnTo>
                      <a:pt x="0" y="1"/>
                    </a:lnTo>
                    <a:lnTo>
                      <a:pt x="1" y="1"/>
                    </a:lnTo>
                    <a:lnTo>
                      <a:pt x="1" y="0"/>
                    </a:lnTo>
                    <a:lnTo>
                      <a:pt x="3"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07" name="Freeform 41">
                <a:extLst>
                  <a:ext uri="{FF2B5EF4-FFF2-40B4-BE49-F238E27FC236}">
                    <a16:creationId xmlns:a16="http://schemas.microsoft.com/office/drawing/2014/main" id="{428360FA-BB68-F8E7-7F57-2431348971FA}"/>
                  </a:ext>
                </a:extLst>
              </p:cNvPr>
              <p:cNvSpPr>
                <a:spLocks noEditPoints="1"/>
              </p:cNvSpPr>
              <p:nvPr/>
            </p:nvSpPr>
            <p:spPr bwMode="auto">
              <a:xfrm>
                <a:off x="3309938" y="596900"/>
                <a:ext cx="1697037" cy="1069975"/>
              </a:xfrm>
              <a:custGeom>
                <a:avLst/>
                <a:gdLst>
                  <a:gd name="T0" fmla="*/ 695 w 1069"/>
                  <a:gd name="T1" fmla="*/ 362 h 674"/>
                  <a:gd name="T2" fmla="*/ 712 w 1069"/>
                  <a:gd name="T3" fmla="*/ 447 h 674"/>
                  <a:gd name="T4" fmla="*/ 761 w 1069"/>
                  <a:gd name="T5" fmla="*/ 522 h 674"/>
                  <a:gd name="T6" fmla="*/ 848 w 1069"/>
                  <a:gd name="T7" fmla="*/ 536 h 674"/>
                  <a:gd name="T8" fmla="*/ 911 w 1069"/>
                  <a:gd name="T9" fmla="*/ 520 h 674"/>
                  <a:gd name="T10" fmla="*/ 940 w 1069"/>
                  <a:gd name="T11" fmla="*/ 466 h 674"/>
                  <a:gd name="T12" fmla="*/ 1005 w 1069"/>
                  <a:gd name="T13" fmla="*/ 425 h 674"/>
                  <a:gd name="T14" fmla="*/ 1062 w 1069"/>
                  <a:gd name="T15" fmla="*/ 432 h 674"/>
                  <a:gd name="T16" fmla="*/ 1044 w 1069"/>
                  <a:gd name="T17" fmla="*/ 485 h 674"/>
                  <a:gd name="T18" fmla="*/ 1042 w 1069"/>
                  <a:gd name="T19" fmla="*/ 505 h 674"/>
                  <a:gd name="T20" fmla="*/ 1020 w 1069"/>
                  <a:gd name="T21" fmla="*/ 524 h 674"/>
                  <a:gd name="T22" fmla="*/ 931 w 1069"/>
                  <a:gd name="T23" fmla="*/ 558 h 674"/>
                  <a:gd name="T24" fmla="*/ 942 w 1069"/>
                  <a:gd name="T25" fmla="*/ 612 h 674"/>
                  <a:gd name="T26" fmla="*/ 886 w 1069"/>
                  <a:gd name="T27" fmla="*/ 658 h 674"/>
                  <a:gd name="T28" fmla="*/ 826 w 1069"/>
                  <a:gd name="T29" fmla="*/ 623 h 674"/>
                  <a:gd name="T30" fmla="*/ 741 w 1069"/>
                  <a:gd name="T31" fmla="*/ 633 h 674"/>
                  <a:gd name="T32" fmla="*/ 663 w 1069"/>
                  <a:gd name="T33" fmla="*/ 606 h 674"/>
                  <a:gd name="T34" fmla="*/ 580 w 1069"/>
                  <a:gd name="T35" fmla="*/ 572 h 674"/>
                  <a:gd name="T36" fmla="*/ 505 w 1069"/>
                  <a:gd name="T37" fmla="*/ 541 h 674"/>
                  <a:gd name="T38" fmla="*/ 445 w 1069"/>
                  <a:gd name="T39" fmla="*/ 495 h 674"/>
                  <a:gd name="T40" fmla="*/ 444 w 1069"/>
                  <a:gd name="T41" fmla="*/ 439 h 674"/>
                  <a:gd name="T42" fmla="*/ 408 w 1069"/>
                  <a:gd name="T43" fmla="*/ 367 h 674"/>
                  <a:gd name="T44" fmla="*/ 359 w 1069"/>
                  <a:gd name="T45" fmla="*/ 318 h 674"/>
                  <a:gd name="T46" fmla="*/ 348 w 1069"/>
                  <a:gd name="T47" fmla="*/ 294 h 674"/>
                  <a:gd name="T48" fmla="*/ 314 w 1069"/>
                  <a:gd name="T49" fmla="*/ 281 h 674"/>
                  <a:gd name="T50" fmla="*/ 309 w 1069"/>
                  <a:gd name="T51" fmla="*/ 250 h 674"/>
                  <a:gd name="T52" fmla="*/ 285 w 1069"/>
                  <a:gd name="T53" fmla="*/ 223 h 674"/>
                  <a:gd name="T54" fmla="*/ 251 w 1069"/>
                  <a:gd name="T55" fmla="*/ 189 h 674"/>
                  <a:gd name="T56" fmla="*/ 202 w 1069"/>
                  <a:gd name="T57" fmla="*/ 133 h 674"/>
                  <a:gd name="T58" fmla="*/ 177 w 1069"/>
                  <a:gd name="T59" fmla="*/ 60 h 674"/>
                  <a:gd name="T60" fmla="*/ 117 w 1069"/>
                  <a:gd name="T61" fmla="*/ 60 h 674"/>
                  <a:gd name="T62" fmla="*/ 156 w 1069"/>
                  <a:gd name="T63" fmla="*/ 131 h 674"/>
                  <a:gd name="T64" fmla="*/ 192 w 1069"/>
                  <a:gd name="T65" fmla="*/ 194 h 674"/>
                  <a:gd name="T66" fmla="*/ 224 w 1069"/>
                  <a:gd name="T67" fmla="*/ 228 h 674"/>
                  <a:gd name="T68" fmla="*/ 258 w 1069"/>
                  <a:gd name="T69" fmla="*/ 299 h 674"/>
                  <a:gd name="T70" fmla="*/ 289 w 1069"/>
                  <a:gd name="T71" fmla="*/ 338 h 674"/>
                  <a:gd name="T72" fmla="*/ 262 w 1069"/>
                  <a:gd name="T73" fmla="*/ 345 h 674"/>
                  <a:gd name="T74" fmla="*/ 212 w 1069"/>
                  <a:gd name="T75" fmla="*/ 306 h 674"/>
                  <a:gd name="T76" fmla="*/ 204 w 1069"/>
                  <a:gd name="T77" fmla="*/ 257 h 674"/>
                  <a:gd name="T78" fmla="*/ 155 w 1069"/>
                  <a:gd name="T79" fmla="*/ 226 h 674"/>
                  <a:gd name="T80" fmla="*/ 138 w 1069"/>
                  <a:gd name="T81" fmla="*/ 189 h 674"/>
                  <a:gd name="T82" fmla="*/ 126 w 1069"/>
                  <a:gd name="T83" fmla="*/ 141 h 674"/>
                  <a:gd name="T84" fmla="*/ 80 w 1069"/>
                  <a:gd name="T85" fmla="*/ 94 h 674"/>
                  <a:gd name="T86" fmla="*/ 49 w 1069"/>
                  <a:gd name="T87" fmla="*/ 20 h 674"/>
                  <a:gd name="T88" fmla="*/ 131 w 1069"/>
                  <a:gd name="T89" fmla="*/ 12 h 674"/>
                  <a:gd name="T90" fmla="*/ 277 w 1069"/>
                  <a:gd name="T91" fmla="*/ 54 h 674"/>
                  <a:gd name="T92" fmla="*/ 410 w 1069"/>
                  <a:gd name="T93" fmla="*/ 49 h 674"/>
                  <a:gd name="T94" fmla="*/ 462 w 1069"/>
                  <a:gd name="T95" fmla="*/ 107 h 674"/>
                  <a:gd name="T96" fmla="*/ 517 w 1069"/>
                  <a:gd name="T97" fmla="*/ 141 h 674"/>
                  <a:gd name="T98" fmla="*/ 568 w 1069"/>
                  <a:gd name="T99" fmla="*/ 114 h 674"/>
                  <a:gd name="T100" fmla="*/ 612 w 1069"/>
                  <a:gd name="T101" fmla="*/ 175 h 674"/>
                  <a:gd name="T102" fmla="*/ 651 w 1069"/>
                  <a:gd name="T103" fmla="*/ 243 h 674"/>
                  <a:gd name="T104" fmla="*/ 700 w 1069"/>
                  <a:gd name="T105" fmla="*/ 262 h 674"/>
                  <a:gd name="T106" fmla="*/ 173 w 1069"/>
                  <a:gd name="T107" fmla="*/ 143 h 674"/>
                  <a:gd name="T108" fmla="*/ 1066 w 1069"/>
                  <a:gd name="T109" fmla="*/ 461 h 674"/>
                  <a:gd name="T110" fmla="*/ 209 w 1069"/>
                  <a:gd name="T111" fmla="*/ 306 h 674"/>
                  <a:gd name="T112" fmla="*/ 246 w 1069"/>
                  <a:gd name="T113" fmla="*/ 259 h 674"/>
                  <a:gd name="T114" fmla="*/ 906 w 1069"/>
                  <a:gd name="T115" fmla="*/ 526 h 674"/>
                  <a:gd name="T116" fmla="*/ 401 w 1069"/>
                  <a:gd name="T117" fmla="*/ 429 h 674"/>
                  <a:gd name="T118" fmla="*/ 211 w 1069"/>
                  <a:gd name="T119" fmla="*/ 282 h 674"/>
                  <a:gd name="T120" fmla="*/ 178 w 1069"/>
                  <a:gd name="T121" fmla="*/ 235 h 674"/>
                  <a:gd name="T122" fmla="*/ 262 w 1069"/>
                  <a:gd name="T123" fmla="*/ 303 h 674"/>
                  <a:gd name="T124" fmla="*/ 1022 w 1069"/>
                  <a:gd name="T125" fmla="*/ 524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69" h="674">
                    <a:moveTo>
                      <a:pt x="716" y="262"/>
                    </a:moveTo>
                    <a:lnTo>
                      <a:pt x="716" y="264"/>
                    </a:lnTo>
                    <a:lnTo>
                      <a:pt x="716" y="265"/>
                    </a:lnTo>
                    <a:lnTo>
                      <a:pt x="716" y="267"/>
                    </a:lnTo>
                    <a:lnTo>
                      <a:pt x="716" y="269"/>
                    </a:lnTo>
                    <a:lnTo>
                      <a:pt x="716" y="270"/>
                    </a:lnTo>
                    <a:lnTo>
                      <a:pt x="716" y="272"/>
                    </a:lnTo>
                    <a:lnTo>
                      <a:pt x="714" y="274"/>
                    </a:lnTo>
                    <a:lnTo>
                      <a:pt x="714" y="276"/>
                    </a:lnTo>
                    <a:lnTo>
                      <a:pt x="712" y="276"/>
                    </a:lnTo>
                    <a:lnTo>
                      <a:pt x="712" y="277"/>
                    </a:lnTo>
                    <a:lnTo>
                      <a:pt x="712" y="279"/>
                    </a:lnTo>
                    <a:lnTo>
                      <a:pt x="710" y="279"/>
                    </a:lnTo>
                    <a:lnTo>
                      <a:pt x="710" y="281"/>
                    </a:lnTo>
                    <a:lnTo>
                      <a:pt x="710" y="282"/>
                    </a:lnTo>
                    <a:lnTo>
                      <a:pt x="709" y="282"/>
                    </a:lnTo>
                    <a:lnTo>
                      <a:pt x="709" y="284"/>
                    </a:lnTo>
                    <a:lnTo>
                      <a:pt x="709" y="286"/>
                    </a:lnTo>
                    <a:lnTo>
                      <a:pt x="707" y="286"/>
                    </a:lnTo>
                    <a:lnTo>
                      <a:pt x="707" y="287"/>
                    </a:lnTo>
                    <a:lnTo>
                      <a:pt x="707" y="289"/>
                    </a:lnTo>
                    <a:lnTo>
                      <a:pt x="705" y="289"/>
                    </a:lnTo>
                    <a:lnTo>
                      <a:pt x="705" y="291"/>
                    </a:lnTo>
                    <a:lnTo>
                      <a:pt x="705" y="293"/>
                    </a:lnTo>
                    <a:lnTo>
                      <a:pt x="704" y="294"/>
                    </a:lnTo>
                    <a:lnTo>
                      <a:pt x="704" y="296"/>
                    </a:lnTo>
                    <a:lnTo>
                      <a:pt x="704" y="298"/>
                    </a:lnTo>
                    <a:lnTo>
                      <a:pt x="702" y="299"/>
                    </a:lnTo>
                    <a:lnTo>
                      <a:pt x="702" y="301"/>
                    </a:lnTo>
                    <a:lnTo>
                      <a:pt x="702" y="303"/>
                    </a:lnTo>
                    <a:lnTo>
                      <a:pt x="700" y="304"/>
                    </a:lnTo>
                    <a:lnTo>
                      <a:pt x="700" y="306"/>
                    </a:lnTo>
                    <a:lnTo>
                      <a:pt x="700" y="308"/>
                    </a:lnTo>
                    <a:lnTo>
                      <a:pt x="700" y="310"/>
                    </a:lnTo>
                    <a:lnTo>
                      <a:pt x="699" y="311"/>
                    </a:lnTo>
                    <a:lnTo>
                      <a:pt x="699" y="313"/>
                    </a:lnTo>
                    <a:lnTo>
                      <a:pt x="699" y="315"/>
                    </a:lnTo>
                    <a:lnTo>
                      <a:pt x="699" y="316"/>
                    </a:lnTo>
                    <a:lnTo>
                      <a:pt x="699" y="318"/>
                    </a:lnTo>
                    <a:lnTo>
                      <a:pt x="697" y="320"/>
                    </a:lnTo>
                    <a:lnTo>
                      <a:pt x="697" y="321"/>
                    </a:lnTo>
                    <a:lnTo>
                      <a:pt x="697" y="323"/>
                    </a:lnTo>
                    <a:lnTo>
                      <a:pt x="697" y="325"/>
                    </a:lnTo>
                    <a:lnTo>
                      <a:pt x="697" y="327"/>
                    </a:lnTo>
                    <a:lnTo>
                      <a:pt x="697" y="328"/>
                    </a:lnTo>
                    <a:lnTo>
                      <a:pt x="697" y="330"/>
                    </a:lnTo>
                    <a:lnTo>
                      <a:pt x="697" y="332"/>
                    </a:lnTo>
                    <a:lnTo>
                      <a:pt x="697" y="333"/>
                    </a:lnTo>
                    <a:lnTo>
                      <a:pt x="697" y="335"/>
                    </a:lnTo>
                    <a:lnTo>
                      <a:pt x="697" y="337"/>
                    </a:lnTo>
                    <a:lnTo>
                      <a:pt x="697" y="338"/>
                    </a:lnTo>
                    <a:lnTo>
                      <a:pt x="697" y="340"/>
                    </a:lnTo>
                    <a:lnTo>
                      <a:pt x="697" y="342"/>
                    </a:lnTo>
                    <a:lnTo>
                      <a:pt x="697" y="344"/>
                    </a:lnTo>
                    <a:lnTo>
                      <a:pt x="697" y="345"/>
                    </a:lnTo>
                    <a:lnTo>
                      <a:pt x="697" y="347"/>
                    </a:lnTo>
                    <a:lnTo>
                      <a:pt x="695" y="347"/>
                    </a:lnTo>
                    <a:lnTo>
                      <a:pt x="695" y="349"/>
                    </a:lnTo>
                    <a:lnTo>
                      <a:pt x="695" y="350"/>
                    </a:lnTo>
                    <a:lnTo>
                      <a:pt x="695" y="352"/>
                    </a:lnTo>
                    <a:lnTo>
                      <a:pt x="695" y="354"/>
                    </a:lnTo>
                    <a:lnTo>
                      <a:pt x="695" y="355"/>
                    </a:lnTo>
                    <a:lnTo>
                      <a:pt x="695" y="357"/>
                    </a:lnTo>
                    <a:lnTo>
                      <a:pt x="695" y="359"/>
                    </a:lnTo>
                    <a:lnTo>
                      <a:pt x="695" y="361"/>
                    </a:lnTo>
                    <a:lnTo>
                      <a:pt x="695" y="362"/>
                    </a:lnTo>
                    <a:lnTo>
                      <a:pt x="695" y="364"/>
                    </a:lnTo>
                    <a:lnTo>
                      <a:pt x="695" y="366"/>
                    </a:lnTo>
                    <a:lnTo>
                      <a:pt x="695" y="367"/>
                    </a:lnTo>
                    <a:lnTo>
                      <a:pt x="695" y="369"/>
                    </a:lnTo>
                    <a:lnTo>
                      <a:pt x="695" y="371"/>
                    </a:lnTo>
                    <a:lnTo>
                      <a:pt x="695" y="373"/>
                    </a:lnTo>
                    <a:lnTo>
                      <a:pt x="695" y="374"/>
                    </a:lnTo>
                    <a:lnTo>
                      <a:pt x="695" y="376"/>
                    </a:lnTo>
                    <a:lnTo>
                      <a:pt x="695" y="378"/>
                    </a:lnTo>
                    <a:lnTo>
                      <a:pt x="695" y="379"/>
                    </a:lnTo>
                    <a:lnTo>
                      <a:pt x="693" y="379"/>
                    </a:lnTo>
                    <a:lnTo>
                      <a:pt x="693" y="381"/>
                    </a:lnTo>
                    <a:lnTo>
                      <a:pt x="693" y="383"/>
                    </a:lnTo>
                    <a:lnTo>
                      <a:pt x="692" y="384"/>
                    </a:lnTo>
                    <a:lnTo>
                      <a:pt x="692" y="386"/>
                    </a:lnTo>
                    <a:lnTo>
                      <a:pt x="692" y="388"/>
                    </a:lnTo>
                    <a:lnTo>
                      <a:pt x="692" y="390"/>
                    </a:lnTo>
                    <a:lnTo>
                      <a:pt x="692" y="391"/>
                    </a:lnTo>
                    <a:lnTo>
                      <a:pt x="692" y="390"/>
                    </a:lnTo>
                    <a:lnTo>
                      <a:pt x="692" y="391"/>
                    </a:lnTo>
                    <a:lnTo>
                      <a:pt x="692" y="393"/>
                    </a:lnTo>
                    <a:lnTo>
                      <a:pt x="693" y="395"/>
                    </a:lnTo>
                    <a:lnTo>
                      <a:pt x="693" y="396"/>
                    </a:lnTo>
                    <a:lnTo>
                      <a:pt x="693" y="398"/>
                    </a:lnTo>
                    <a:lnTo>
                      <a:pt x="695" y="398"/>
                    </a:lnTo>
                    <a:lnTo>
                      <a:pt x="693" y="398"/>
                    </a:lnTo>
                    <a:lnTo>
                      <a:pt x="693" y="400"/>
                    </a:lnTo>
                    <a:lnTo>
                      <a:pt x="695" y="401"/>
                    </a:lnTo>
                    <a:lnTo>
                      <a:pt x="695" y="403"/>
                    </a:lnTo>
                    <a:lnTo>
                      <a:pt x="695" y="405"/>
                    </a:lnTo>
                    <a:lnTo>
                      <a:pt x="695" y="407"/>
                    </a:lnTo>
                    <a:lnTo>
                      <a:pt x="697" y="407"/>
                    </a:lnTo>
                    <a:lnTo>
                      <a:pt x="697" y="408"/>
                    </a:lnTo>
                    <a:lnTo>
                      <a:pt x="697" y="410"/>
                    </a:lnTo>
                    <a:lnTo>
                      <a:pt x="699" y="410"/>
                    </a:lnTo>
                    <a:lnTo>
                      <a:pt x="699" y="412"/>
                    </a:lnTo>
                    <a:lnTo>
                      <a:pt x="700" y="413"/>
                    </a:lnTo>
                    <a:lnTo>
                      <a:pt x="700" y="415"/>
                    </a:lnTo>
                    <a:lnTo>
                      <a:pt x="702" y="415"/>
                    </a:lnTo>
                    <a:lnTo>
                      <a:pt x="702" y="417"/>
                    </a:lnTo>
                    <a:lnTo>
                      <a:pt x="704" y="418"/>
                    </a:lnTo>
                    <a:lnTo>
                      <a:pt x="705" y="418"/>
                    </a:lnTo>
                    <a:lnTo>
                      <a:pt x="705" y="420"/>
                    </a:lnTo>
                    <a:lnTo>
                      <a:pt x="707" y="420"/>
                    </a:lnTo>
                    <a:lnTo>
                      <a:pt x="707" y="422"/>
                    </a:lnTo>
                    <a:lnTo>
                      <a:pt x="709" y="422"/>
                    </a:lnTo>
                    <a:lnTo>
                      <a:pt x="709" y="424"/>
                    </a:lnTo>
                    <a:lnTo>
                      <a:pt x="710" y="424"/>
                    </a:lnTo>
                    <a:lnTo>
                      <a:pt x="710" y="425"/>
                    </a:lnTo>
                    <a:lnTo>
                      <a:pt x="709" y="427"/>
                    </a:lnTo>
                    <a:lnTo>
                      <a:pt x="709" y="429"/>
                    </a:lnTo>
                    <a:lnTo>
                      <a:pt x="709" y="430"/>
                    </a:lnTo>
                    <a:lnTo>
                      <a:pt x="707" y="430"/>
                    </a:lnTo>
                    <a:lnTo>
                      <a:pt x="707" y="432"/>
                    </a:lnTo>
                    <a:lnTo>
                      <a:pt x="707" y="434"/>
                    </a:lnTo>
                    <a:lnTo>
                      <a:pt x="707" y="435"/>
                    </a:lnTo>
                    <a:lnTo>
                      <a:pt x="707" y="437"/>
                    </a:lnTo>
                    <a:lnTo>
                      <a:pt x="707" y="439"/>
                    </a:lnTo>
                    <a:lnTo>
                      <a:pt x="709" y="439"/>
                    </a:lnTo>
                    <a:lnTo>
                      <a:pt x="709" y="441"/>
                    </a:lnTo>
                    <a:lnTo>
                      <a:pt x="709" y="442"/>
                    </a:lnTo>
                    <a:lnTo>
                      <a:pt x="710" y="442"/>
                    </a:lnTo>
                    <a:lnTo>
                      <a:pt x="710" y="444"/>
                    </a:lnTo>
                    <a:lnTo>
                      <a:pt x="710" y="446"/>
                    </a:lnTo>
                    <a:lnTo>
                      <a:pt x="710" y="447"/>
                    </a:lnTo>
                    <a:lnTo>
                      <a:pt x="712" y="447"/>
                    </a:lnTo>
                    <a:lnTo>
                      <a:pt x="712" y="449"/>
                    </a:lnTo>
                    <a:lnTo>
                      <a:pt x="714" y="451"/>
                    </a:lnTo>
                    <a:lnTo>
                      <a:pt x="714" y="452"/>
                    </a:lnTo>
                    <a:lnTo>
                      <a:pt x="714" y="454"/>
                    </a:lnTo>
                    <a:lnTo>
                      <a:pt x="714" y="456"/>
                    </a:lnTo>
                    <a:lnTo>
                      <a:pt x="716" y="456"/>
                    </a:lnTo>
                    <a:lnTo>
                      <a:pt x="716" y="458"/>
                    </a:lnTo>
                    <a:lnTo>
                      <a:pt x="717" y="459"/>
                    </a:lnTo>
                    <a:lnTo>
                      <a:pt x="719" y="461"/>
                    </a:lnTo>
                    <a:lnTo>
                      <a:pt x="719" y="463"/>
                    </a:lnTo>
                    <a:lnTo>
                      <a:pt x="721" y="463"/>
                    </a:lnTo>
                    <a:lnTo>
                      <a:pt x="722" y="464"/>
                    </a:lnTo>
                    <a:lnTo>
                      <a:pt x="722" y="466"/>
                    </a:lnTo>
                    <a:lnTo>
                      <a:pt x="724" y="466"/>
                    </a:lnTo>
                    <a:lnTo>
                      <a:pt x="724" y="468"/>
                    </a:lnTo>
                    <a:lnTo>
                      <a:pt x="726" y="468"/>
                    </a:lnTo>
                    <a:lnTo>
                      <a:pt x="726" y="469"/>
                    </a:lnTo>
                    <a:lnTo>
                      <a:pt x="727" y="469"/>
                    </a:lnTo>
                    <a:lnTo>
                      <a:pt x="727" y="471"/>
                    </a:lnTo>
                    <a:lnTo>
                      <a:pt x="729" y="471"/>
                    </a:lnTo>
                    <a:lnTo>
                      <a:pt x="729" y="473"/>
                    </a:lnTo>
                    <a:lnTo>
                      <a:pt x="731" y="475"/>
                    </a:lnTo>
                    <a:lnTo>
                      <a:pt x="731" y="476"/>
                    </a:lnTo>
                    <a:lnTo>
                      <a:pt x="733" y="476"/>
                    </a:lnTo>
                    <a:lnTo>
                      <a:pt x="733" y="478"/>
                    </a:lnTo>
                    <a:lnTo>
                      <a:pt x="734" y="478"/>
                    </a:lnTo>
                    <a:lnTo>
                      <a:pt x="734" y="480"/>
                    </a:lnTo>
                    <a:lnTo>
                      <a:pt x="736" y="480"/>
                    </a:lnTo>
                    <a:lnTo>
                      <a:pt x="736" y="481"/>
                    </a:lnTo>
                    <a:lnTo>
                      <a:pt x="736" y="483"/>
                    </a:lnTo>
                    <a:lnTo>
                      <a:pt x="738" y="483"/>
                    </a:lnTo>
                    <a:lnTo>
                      <a:pt x="738" y="485"/>
                    </a:lnTo>
                    <a:lnTo>
                      <a:pt x="739" y="485"/>
                    </a:lnTo>
                    <a:lnTo>
                      <a:pt x="739" y="486"/>
                    </a:lnTo>
                    <a:lnTo>
                      <a:pt x="741" y="488"/>
                    </a:lnTo>
                    <a:lnTo>
                      <a:pt x="741" y="490"/>
                    </a:lnTo>
                    <a:lnTo>
                      <a:pt x="741" y="492"/>
                    </a:lnTo>
                    <a:lnTo>
                      <a:pt x="741" y="493"/>
                    </a:lnTo>
                    <a:lnTo>
                      <a:pt x="743" y="493"/>
                    </a:lnTo>
                    <a:lnTo>
                      <a:pt x="743" y="495"/>
                    </a:lnTo>
                    <a:lnTo>
                      <a:pt x="743" y="497"/>
                    </a:lnTo>
                    <a:lnTo>
                      <a:pt x="743" y="498"/>
                    </a:lnTo>
                    <a:lnTo>
                      <a:pt x="744" y="498"/>
                    </a:lnTo>
                    <a:lnTo>
                      <a:pt x="744" y="500"/>
                    </a:lnTo>
                    <a:lnTo>
                      <a:pt x="744" y="502"/>
                    </a:lnTo>
                    <a:lnTo>
                      <a:pt x="744" y="503"/>
                    </a:lnTo>
                    <a:lnTo>
                      <a:pt x="744" y="505"/>
                    </a:lnTo>
                    <a:lnTo>
                      <a:pt x="746" y="505"/>
                    </a:lnTo>
                    <a:lnTo>
                      <a:pt x="748" y="507"/>
                    </a:lnTo>
                    <a:lnTo>
                      <a:pt x="750" y="509"/>
                    </a:lnTo>
                    <a:lnTo>
                      <a:pt x="751" y="509"/>
                    </a:lnTo>
                    <a:lnTo>
                      <a:pt x="750" y="509"/>
                    </a:lnTo>
                    <a:lnTo>
                      <a:pt x="751" y="509"/>
                    </a:lnTo>
                    <a:lnTo>
                      <a:pt x="751" y="510"/>
                    </a:lnTo>
                    <a:lnTo>
                      <a:pt x="751" y="512"/>
                    </a:lnTo>
                    <a:lnTo>
                      <a:pt x="751" y="514"/>
                    </a:lnTo>
                    <a:lnTo>
                      <a:pt x="753" y="514"/>
                    </a:lnTo>
                    <a:lnTo>
                      <a:pt x="755" y="514"/>
                    </a:lnTo>
                    <a:lnTo>
                      <a:pt x="756" y="514"/>
                    </a:lnTo>
                    <a:lnTo>
                      <a:pt x="756" y="515"/>
                    </a:lnTo>
                    <a:lnTo>
                      <a:pt x="756" y="517"/>
                    </a:lnTo>
                    <a:lnTo>
                      <a:pt x="756" y="519"/>
                    </a:lnTo>
                    <a:lnTo>
                      <a:pt x="758" y="520"/>
                    </a:lnTo>
                    <a:lnTo>
                      <a:pt x="758" y="522"/>
                    </a:lnTo>
                    <a:lnTo>
                      <a:pt x="760" y="522"/>
                    </a:lnTo>
                    <a:lnTo>
                      <a:pt x="761" y="522"/>
                    </a:lnTo>
                    <a:lnTo>
                      <a:pt x="761" y="524"/>
                    </a:lnTo>
                    <a:lnTo>
                      <a:pt x="763" y="524"/>
                    </a:lnTo>
                    <a:lnTo>
                      <a:pt x="765" y="524"/>
                    </a:lnTo>
                    <a:lnTo>
                      <a:pt x="765" y="526"/>
                    </a:lnTo>
                    <a:lnTo>
                      <a:pt x="767" y="526"/>
                    </a:lnTo>
                    <a:lnTo>
                      <a:pt x="768" y="526"/>
                    </a:lnTo>
                    <a:lnTo>
                      <a:pt x="770" y="526"/>
                    </a:lnTo>
                    <a:lnTo>
                      <a:pt x="772" y="526"/>
                    </a:lnTo>
                    <a:lnTo>
                      <a:pt x="773" y="526"/>
                    </a:lnTo>
                    <a:lnTo>
                      <a:pt x="775" y="526"/>
                    </a:lnTo>
                    <a:lnTo>
                      <a:pt x="777" y="526"/>
                    </a:lnTo>
                    <a:lnTo>
                      <a:pt x="778" y="526"/>
                    </a:lnTo>
                    <a:lnTo>
                      <a:pt x="780" y="527"/>
                    </a:lnTo>
                    <a:lnTo>
                      <a:pt x="782" y="527"/>
                    </a:lnTo>
                    <a:lnTo>
                      <a:pt x="784" y="527"/>
                    </a:lnTo>
                    <a:lnTo>
                      <a:pt x="785" y="529"/>
                    </a:lnTo>
                    <a:lnTo>
                      <a:pt x="787" y="529"/>
                    </a:lnTo>
                    <a:lnTo>
                      <a:pt x="787" y="531"/>
                    </a:lnTo>
                    <a:lnTo>
                      <a:pt x="789" y="532"/>
                    </a:lnTo>
                    <a:lnTo>
                      <a:pt x="790" y="532"/>
                    </a:lnTo>
                    <a:lnTo>
                      <a:pt x="792" y="532"/>
                    </a:lnTo>
                    <a:lnTo>
                      <a:pt x="794" y="532"/>
                    </a:lnTo>
                    <a:lnTo>
                      <a:pt x="795" y="532"/>
                    </a:lnTo>
                    <a:lnTo>
                      <a:pt x="795" y="534"/>
                    </a:lnTo>
                    <a:lnTo>
                      <a:pt x="795" y="536"/>
                    </a:lnTo>
                    <a:lnTo>
                      <a:pt x="797" y="536"/>
                    </a:lnTo>
                    <a:lnTo>
                      <a:pt x="797" y="538"/>
                    </a:lnTo>
                    <a:lnTo>
                      <a:pt x="799" y="539"/>
                    </a:lnTo>
                    <a:lnTo>
                      <a:pt x="801" y="539"/>
                    </a:lnTo>
                    <a:lnTo>
                      <a:pt x="801" y="541"/>
                    </a:lnTo>
                    <a:lnTo>
                      <a:pt x="801" y="543"/>
                    </a:lnTo>
                    <a:lnTo>
                      <a:pt x="802" y="544"/>
                    </a:lnTo>
                    <a:lnTo>
                      <a:pt x="802" y="546"/>
                    </a:lnTo>
                    <a:lnTo>
                      <a:pt x="804" y="546"/>
                    </a:lnTo>
                    <a:lnTo>
                      <a:pt x="806" y="546"/>
                    </a:lnTo>
                    <a:lnTo>
                      <a:pt x="807" y="546"/>
                    </a:lnTo>
                    <a:lnTo>
                      <a:pt x="809" y="546"/>
                    </a:lnTo>
                    <a:lnTo>
                      <a:pt x="809" y="548"/>
                    </a:lnTo>
                    <a:lnTo>
                      <a:pt x="809" y="546"/>
                    </a:lnTo>
                    <a:lnTo>
                      <a:pt x="811" y="546"/>
                    </a:lnTo>
                    <a:lnTo>
                      <a:pt x="812" y="546"/>
                    </a:lnTo>
                    <a:lnTo>
                      <a:pt x="814" y="546"/>
                    </a:lnTo>
                    <a:lnTo>
                      <a:pt x="814" y="544"/>
                    </a:lnTo>
                    <a:lnTo>
                      <a:pt x="816" y="544"/>
                    </a:lnTo>
                    <a:lnTo>
                      <a:pt x="818" y="544"/>
                    </a:lnTo>
                    <a:lnTo>
                      <a:pt x="819" y="544"/>
                    </a:lnTo>
                    <a:lnTo>
                      <a:pt x="819" y="543"/>
                    </a:lnTo>
                    <a:lnTo>
                      <a:pt x="821" y="543"/>
                    </a:lnTo>
                    <a:lnTo>
                      <a:pt x="823" y="543"/>
                    </a:lnTo>
                    <a:lnTo>
                      <a:pt x="824" y="543"/>
                    </a:lnTo>
                    <a:lnTo>
                      <a:pt x="824" y="541"/>
                    </a:lnTo>
                    <a:lnTo>
                      <a:pt x="826" y="541"/>
                    </a:lnTo>
                    <a:lnTo>
                      <a:pt x="828" y="541"/>
                    </a:lnTo>
                    <a:lnTo>
                      <a:pt x="829" y="541"/>
                    </a:lnTo>
                    <a:lnTo>
                      <a:pt x="829" y="539"/>
                    </a:lnTo>
                    <a:lnTo>
                      <a:pt x="831" y="539"/>
                    </a:lnTo>
                    <a:lnTo>
                      <a:pt x="835" y="538"/>
                    </a:lnTo>
                    <a:lnTo>
                      <a:pt x="836" y="538"/>
                    </a:lnTo>
                    <a:lnTo>
                      <a:pt x="838" y="538"/>
                    </a:lnTo>
                    <a:lnTo>
                      <a:pt x="840" y="538"/>
                    </a:lnTo>
                    <a:lnTo>
                      <a:pt x="840" y="536"/>
                    </a:lnTo>
                    <a:lnTo>
                      <a:pt x="841" y="536"/>
                    </a:lnTo>
                    <a:lnTo>
                      <a:pt x="843" y="536"/>
                    </a:lnTo>
                    <a:lnTo>
                      <a:pt x="845" y="536"/>
                    </a:lnTo>
                    <a:lnTo>
                      <a:pt x="846" y="536"/>
                    </a:lnTo>
                    <a:lnTo>
                      <a:pt x="848" y="536"/>
                    </a:lnTo>
                    <a:lnTo>
                      <a:pt x="850" y="536"/>
                    </a:lnTo>
                    <a:lnTo>
                      <a:pt x="852" y="536"/>
                    </a:lnTo>
                    <a:lnTo>
                      <a:pt x="853" y="536"/>
                    </a:lnTo>
                    <a:lnTo>
                      <a:pt x="855" y="536"/>
                    </a:lnTo>
                    <a:lnTo>
                      <a:pt x="857" y="536"/>
                    </a:lnTo>
                    <a:lnTo>
                      <a:pt x="858" y="536"/>
                    </a:lnTo>
                    <a:lnTo>
                      <a:pt x="860" y="536"/>
                    </a:lnTo>
                    <a:lnTo>
                      <a:pt x="862" y="536"/>
                    </a:lnTo>
                    <a:lnTo>
                      <a:pt x="862" y="534"/>
                    </a:lnTo>
                    <a:lnTo>
                      <a:pt x="863" y="534"/>
                    </a:lnTo>
                    <a:lnTo>
                      <a:pt x="865" y="532"/>
                    </a:lnTo>
                    <a:lnTo>
                      <a:pt x="865" y="531"/>
                    </a:lnTo>
                    <a:lnTo>
                      <a:pt x="867" y="531"/>
                    </a:lnTo>
                    <a:lnTo>
                      <a:pt x="867" y="532"/>
                    </a:lnTo>
                    <a:lnTo>
                      <a:pt x="867" y="531"/>
                    </a:lnTo>
                    <a:lnTo>
                      <a:pt x="867" y="529"/>
                    </a:lnTo>
                    <a:lnTo>
                      <a:pt x="867" y="531"/>
                    </a:lnTo>
                    <a:lnTo>
                      <a:pt x="869" y="531"/>
                    </a:lnTo>
                    <a:lnTo>
                      <a:pt x="869" y="529"/>
                    </a:lnTo>
                    <a:lnTo>
                      <a:pt x="870" y="529"/>
                    </a:lnTo>
                    <a:lnTo>
                      <a:pt x="872" y="529"/>
                    </a:lnTo>
                    <a:lnTo>
                      <a:pt x="874" y="529"/>
                    </a:lnTo>
                    <a:lnTo>
                      <a:pt x="875" y="529"/>
                    </a:lnTo>
                    <a:lnTo>
                      <a:pt x="877" y="527"/>
                    </a:lnTo>
                    <a:lnTo>
                      <a:pt x="879" y="527"/>
                    </a:lnTo>
                    <a:lnTo>
                      <a:pt x="880" y="527"/>
                    </a:lnTo>
                    <a:lnTo>
                      <a:pt x="882" y="527"/>
                    </a:lnTo>
                    <a:lnTo>
                      <a:pt x="884" y="527"/>
                    </a:lnTo>
                    <a:lnTo>
                      <a:pt x="886" y="527"/>
                    </a:lnTo>
                    <a:lnTo>
                      <a:pt x="887" y="527"/>
                    </a:lnTo>
                    <a:lnTo>
                      <a:pt x="889" y="527"/>
                    </a:lnTo>
                    <a:lnTo>
                      <a:pt x="891" y="527"/>
                    </a:lnTo>
                    <a:lnTo>
                      <a:pt x="892" y="527"/>
                    </a:lnTo>
                    <a:lnTo>
                      <a:pt x="892" y="529"/>
                    </a:lnTo>
                    <a:lnTo>
                      <a:pt x="894" y="529"/>
                    </a:lnTo>
                    <a:lnTo>
                      <a:pt x="894" y="531"/>
                    </a:lnTo>
                    <a:lnTo>
                      <a:pt x="894" y="532"/>
                    </a:lnTo>
                    <a:lnTo>
                      <a:pt x="894" y="531"/>
                    </a:lnTo>
                    <a:lnTo>
                      <a:pt x="894" y="532"/>
                    </a:lnTo>
                    <a:lnTo>
                      <a:pt x="894" y="534"/>
                    </a:lnTo>
                    <a:lnTo>
                      <a:pt x="896" y="534"/>
                    </a:lnTo>
                    <a:lnTo>
                      <a:pt x="897" y="534"/>
                    </a:lnTo>
                    <a:lnTo>
                      <a:pt x="899" y="534"/>
                    </a:lnTo>
                    <a:lnTo>
                      <a:pt x="899" y="536"/>
                    </a:lnTo>
                    <a:lnTo>
                      <a:pt x="901" y="536"/>
                    </a:lnTo>
                    <a:lnTo>
                      <a:pt x="903" y="536"/>
                    </a:lnTo>
                    <a:lnTo>
                      <a:pt x="904" y="536"/>
                    </a:lnTo>
                    <a:lnTo>
                      <a:pt x="906" y="536"/>
                    </a:lnTo>
                    <a:lnTo>
                      <a:pt x="906" y="534"/>
                    </a:lnTo>
                    <a:lnTo>
                      <a:pt x="908" y="534"/>
                    </a:lnTo>
                    <a:lnTo>
                      <a:pt x="909" y="534"/>
                    </a:lnTo>
                    <a:lnTo>
                      <a:pt x="909" y="532"/>
                    </a:lnTo>
                    <a:lnTo>
                      <a:pt x="911" y="532"/>
                    </a:lnTo>
                    <a:lnTo>
                      <a:pt x="913" y="532"/>
                    </a:lnTo>
                    <a:lnTo>
                      <a:pt x="913" y="531"/>
                    </a:lnTo>
                    <a:lnTo>
                      <a:pt x="914" y="531"/>
                    </a:lnTo>
                    <a:lnTo>
                      <a:pt x="914" y="529"/>
                    </a:lnTo>
                    <a:lnTo>
                      <a:pt x="914" y="527"/>
                    </a:lnTo>
                    <a:lnTo>
                      <a:pt x="916" y="526"/>
                    </a:lnTo>
                    <a:lnTo>
                      <a:pt x="914" y="524"/>
                    </a:lnTo>
                    <a:lnTo>
                      <a:pt x="913" y="524"/>
                    </a:lnTo>
                    <a:lnTo>
                      <a:pt x="911" y="524"/>
                    </a:lnTo>
                    <a:lnTo>
                      <a:pt x="911" y="522"/>
                    </a:lnTo>
                    <a:lnTo>
                      <a:pt x="911" y="524"/>
                    </a:lnTo>
                    <a:lnTo>
                      <a:pt x="911" y="522"/>
                    </a:lnTo>
                    <a:lnTo>
                      <a:pt x="911" y="520"/>
                    </a:lnTo>
                    <a:lnTo>
                      <a:pt x="909" y="522"/>
                    </a:lnTo>
                    <a:lnTo>
                      <a:pt x="908" y="522"/>
                    </a:lnTo>
                    <a:lnTo>
                      <a:pt x="908" y="524"/>
                    </a:lnTo>
                    <a:lnTo>
                      <a:pt x="906" y="524"/>
                    </a:lnTo>
                    <a:lnTo>
                      <a:pt x="908" y="524"/>
                    </a:lnTo>
                    <a:lnTo>
                      <a:pt x="908" y="522"/>
                    </a:lnTo>
                    <a:lnTo>
                      <a:pt x="909" y="522"/>
                    </a:lnTo>
                    <a:lnTo>
                      <a:pt x="909" y="520"/>
                    </a:lnTo>
                    <a:lnTo>
                      <a:pt x="911" y="520"/>
                    </a:lnTo>
                    <a:lnTo>
                      <a:pt x="911" y="519"/>
                    </a:lnTo>
                    <a:lnTo>
                      <a:pt x="913" y="519"/>
                    </a:lnTo>
                    <a:lnTo>
                      <a:pt x="914" y="519"/>
                    </a:lnTo>
                    <a:lnTo>
                      <a:pt x="914" y="517"/>
                    </a:lnTo>
                    <a:lnTo>
                      <a:pt x="916" y="517"/>
                    </a:lnTo>
                    <a:lnTo>
                      <a:pt x="918" y="517"/>
                    </a:lnTo>
                    <a:lnTo>
                      <a:pt x="918" y="515"/>
                    </a:lnTo>
                    <a:lnTo>
                      <a:pt x="920" y="515"/>
                    </a:lnTo>
                    <a:lnTo>
                      <a:pt x="920" y="514"/>
                    </a:lnTo>
                    <a:lnTo>
                      <a:pt x="921" y="514"/>
                    </a:lnTo>
                    <a:lnTo>
                      <a:pt x="923" y="512"/>
                    </a:lnTo>
                    <a:lnTo>
                      <a:pt x="925" y="512"/>
                    </a:lnTo>
                    <a:lnTo>
                      <a:pt x="925" y="510"/>
                    </a:lnTo>
                    <a:lnTo>
                      <a:pt x="926" y="510"/>
                    </a:lnTo>
                    <a:lnTo>
                      <a:pt x="926" y="509"/>
                    </a:lnTo>
                    <a:lnTo>
                      <a:pt x="928" y="509"/>
                    </a:lnTo>
                    <a:lnTo>
                      <a:pt x="928" y="507"/>
                    </a:lnTo>
                    <a:lnTo>
                      <a:pt x="930" y="507"/>
                    </a:lnTo>
                    <a:lnTo>
                      <a:pt x="931" y="505"/>
                    </a:lnTo>
                    <a:lnTo>
                      <a:pt x="933" y="503"/>
                    </a:lnTo>
                    <a:lnTo>
                      <a:pt x="933" y="502"/>
                    </a:lnTo>
                    <a:lnTo>
                      <a:pt x="933" y="500"/>
                    </a:lnTo>
                    <a:lnTo>
                      <a:pt x="933" y="498"/>
                    </a:lnTo>
                    <a:lnTo>
                      <a:pt x="933" y="497"/>
                    </a:lnTo>
                    <a:lnTo>
                      <a:pt x="933" y="495"/>
                    </a:lnTo>
                    <a:lnTo>
                      <a:pt x="935" y="495"/>
                    </a:lnTo>
                    <a:lnTo>
                      <a:pt x="935" y="493"/>
                    </a:lnTo>
                    <a:lnTo>
                      <a:pt x="933" y="493"/>
                    </a:lnTo>
                    <a:lnTo>
                      <a:pt x="933" y="492"/>
                    </a:lnTo>
                    <a:lnTo>
                      <a:pt x="935" y="492"/>
                    </a:lnTo>
                    <a:lnTo>
                      <a:pt x="935" y="490"/>
                    </a:lnTo>
                    <a:lnTo>
                      <a:pt x="935" y="488"/>
                    </a:lnTo>
                    <a:lnTo>
                      <a:pt x="937" y="488"/>
                    </a:lnTo>
                    <a:lnTo>
                      <a:pt x="937" y="486"/>
                    </a:lnTo>
                    <a:lnTo>
                      <a:pt x="938" y="486"/>
                    </a:lnTo>
                    <a:lnTo>
                      <a:pt x="940" y="485"/>
                    </a:lnTo>
                    <a:lnTo>
                      <a:pt x="942" y="483"/>
                    </a:lnTo>
                    <a:lnTo>
                      <a:pt x="942" y="481"/>
                    </a:lnTo>
                    <a:lnTo>
                      <a:pt x="942" y="480"/>
                    </a:lnTo>
                    <a:lnTo>
                      <a:pt x="942" y="478"/>
                    </a:lnTo>
                    <a:lnTo>
                      <a:pt x="940" y="478"/>
                    </a:lnTo>
                    <a:lnTo>
                      <a:pt x="942" y="476"/>
                    </a:lnTo>
                    <a:lnTo>
                      <a:pt x="942" y="475"/>
                    </a:lnTo>
                    <a:lnTo>
                      <a:pt x="940" y="475"/>
                    </a:lnTo>
                    <a:lnTo>
                      <a:pt x="942" y="475"/>
                    </a:lnTo>
                    <a:lnTo>
                      <a:pt x="942" y="473"/>
                    </a:lnTo>
                    <a:lnTo>
                      <a:pt x="940" y="473"/>
                    </a:lnTo>
                    <a:lnTo>
                      <a:pt x="942" y="473"/>
                    </a:lnTo>
                    <a:lnTo>
                      <a:pt x="942" y="471"/>
                    </a:lnTo>
                    <a:lnTo>
                      <a:pt x="940" y="471"/>
                    </a:lnTo>
                    <a:lnTo>
                      <a:pt x="940" y="469"/>
                    </a:lnTo>
                    <a:lnTo>
                      <a:pt x="940" y="468"/>
                    </a:lnTo>
                    <a:lnTo>
                      <a:pt x="942" y="468"/>
                    </a:lnTo>
                    <a:lnTo>
                      <a:pt x="940" y="468"/>
                    </a:lnTo>
                    <a:lnTo>
                      <a:pt x="942" y="468"/>
                    </a:lnTo>
                    <a:lnTo>
                      <a:pt x="942" y="466"/>
                    </a:lnTo>
                    <a:lnTo>
                      <a:pt x="940" y="466"/>
                    </a:lnTo>
                    <a:lnTo>
                      <a:pt x="940" y="464"/>
                    </a:lnTo>
                    <a:lnTo>
                      <a:pt x="942" y="463"/>
                    </a:lnTo>
                    <a:lnTo>
                      <a:pt x="940" y="463"/>
                    </a:lnTo>
                    <a:lnTo>
                      <a:pt x="940" y="461"/>
                    </a:lnTo>
                    <a:lnTo>
                      <a:pt x="942" y="461"/>
                    </a:lnTo>
                    <a:lnTo>
                      <a:pt x="942" y="459"/>
                    </a:lnTo>
                    <a:lnTo>
                      <a:pt x="942" y="458"/>
                    </a:lnTo>
                    <a:lnTo>
                      <a:pt x="942" y="456"/>
                    </a:lnTo>
                    <a:lnTo>
                      <a:pt x="942" y="454"/>
                    </a:lnTo>
                    <a:lnTo>
                      <a:pt x="942" y="456"/>
                    </a:lnTo>
                    <a:lnTo>
                      <a:pt x="942" y="454"/>
                    </a:lnTo>
                    <a:lnTo>
                      <a:pt x="943" y="454"/>
                    </a:lnTo>
                    <a:lnTo>
                      <a:pt x="943" y="452"/>
                    </a:lnTo>
                    <a:lnTo>
                      <a:pt x="943" y="451"/>
                    </a:lnTo>
                    <a:lnTo>
                      <a:pt x="943" y="449"/>
                    </a:lnTo>
                    <a:lnTo>
                      <a:pt x="943" y="447"/>
                    </a:lnTo>
                    <a:lnTo>
                      <a:pt x="945" y="447"/>
                    </a:lnTo>
                    <a:lnTo>
                      <a:pt x="945" y="446"/>
                    </a:lnTo>
                    <a:lnTo>
                      <a:pt x="945" y="444"/>
                    </a:lnTo>
                    <a:lnTo>
                      <a:pt x="947" y="444"/>
                    </a:lnTo>
                    <a:lnTo>
                      <a:pt x="947" y="442"/>
                    </a:lnTo>
                    <a:lnTo>
                      <a:pt x="948" y="442"/>
                    </a:lnTo>
                    <a:lnTo>
                      <a:pt x="950" y="442"/>
                    </a:lnTo>
                    <a:lnTo>
                      <a:pt x="950" y="441"/>
                    </a:lnTo>
                    <a:lnTo>
                      <a:pt x="952" y="441"/>
                    </a:lnTo>
                    <a:lnTo>
                      <a:pt x="952" y="439"/>
                    </a:lnTo>
                    <a:lnTo>
                      <a:pt x="954" y="439"/>
                    </a:lnTo>
                    <a:lnTo>
                      <a:pt x="955" y="439"/>
                    </a:lnTo>
                    <a:lnTo>
                      <a:pt x="957" y="439"/>
                    </a:lnTo>
                    <a:lnTo>
                      <a:pt x="957" y="437"/>
                    </a:lnTo>
                    <a:lnTo>
                      <a:pt x="959" y="437"/>
                    </a:lnTo>
                    <a:lnTo>
                      <a:pt x="960" y="437"/>
                    </a:lnTo>
                    <a:lnTo>
                      <a:pt x="960" y="435"/>
                    </a:lnTo>
                    <a:lnTo>
                      <a:pt x="962" y="435"/>
                    </a:lnTo>
                    <a:lnTo>
                      <a:pt x="964" y="435"/>
                    </a:lnTo>
                    <a:lnTo>
                      <a:pt x="965" y="434"/>
                    </a:lnTo>
                    <a:lnTo>
                      <a:pt x="967" y="434"/>
                    </a:lnTo>
                    <a:lnTo>
                      <a:pt x="967" y="435"/>
                    </a:lnTo>
                    <a:lnTo>
                      <a:pt x="969" y="434"/>
                    </a:lnTo>
                    <a:lnTo>
                      <a:pt x="967" y="434"/>
                    </a:lnTo>
                    <a:lnTo>
                      <a:pt x="969" y="434"/>
                    </a:lnTo>
                    <a:lnTo>
                      <a:pt x="969" y="432"/>
                    </a:lnTo>
                    <a:lnTo>
                      <a:pt x="969" y="434"/>
                    </a:lnTo>
                    <a:lnTo>
                      <a:pt x="971" y="434"/>
                    </a:lnTo>
                    <a:lnTo>
                      <a:pt x="972" y="434"/>
                    </a:lnTo>
                    <a:lnTo>
                      <a:pt x="974" y="432"/>
                    </a:lnTo>
                    <a:lnTo>
                      <a:pt x="976" y="432"/>
                    </a:lnTo>
                    <a:lnTo>
                      <a:pt x="977" y="432"/>
                    </a:lnTo>
                    <a:lnTo>
                      <a:pt x="979" y="432"/>
                    </a:lnTo>
                    <a:lnTo>
                      <a:pt x="981" y="432"/>
                    </a:lnTo>
                    <a:lnTo>
                      <a:pt x="982" y="432"/>
                    </a:lnTo>
                    <a:lnTo>
                      <a:pt x="984" y="432"/>
                    </a:lnTo>
                    <a:lnTo>
                      <a:pt x="986" y="432"/>
                    </a:lnTo>
                    <a:lnTo>
                      <a:pt x="988" y="430"/>
                    </a:lnTo>
                    <a:lnTo>
                      <a:pt x="989" y="430"/>
                    </a:lnTo>
                    <a:lnTo>
                      <a:pt x="991" y="430"/>
                    </a:lnTo>
                    <a:lnTo>
                      <a:pt x="993" y="430"/>
                    </a:lnTo>
                    <a:lnTo>
                      <a:pt x="994" y="430"/>
                    </a:lnTo>
                    <a:lnTo>
                      <a:pt x="996" y="430"/>
                    </a:lnTo>
                    <a:lnTo>
                      <a:pt x="998" y="429"/>
                    </a:lnTo>
                    <a:lnTo>
                      <a:pt x="999" y="429"/>
                    </a:lnTo>
                    <a:lnTo>
                      <a:pt x="1001" y="429"/>
                    </a:lnTo>
                    <a:lnTo>
                      <a:pt x="1001" y="427"/>
                    </a:lnTo>
                    <a:lnTo>
                      <a:pt x="1003" y="427"/>
                    </a:lnTo>
                    <a:lnTo>
                      <a:pt x="1003" y="425"/>
                    </a:lnTo>
                    <a:lnTo>
                      <a:pt x="1005" y="425"/>
                    </a:lnTo>
                    <a:lnTo>
                      <a:pt x="1006" y="425"/>
                    </a:lnTo>
                    <a:lnTo>
                      <a:pt x="1008" y="425"/>
                    </a:lnTo>
                    <a:lnTo>
                      <a:pt x="1010" y="424"/>
                    </a:lnTo>
                    <a:lnTo>
                      <a:pt x="1011" y="424"/>
                    </a:lnTo>
                    <a:lnTo>
                      <a:pt x="1013" y="424"/>
                    </a:lnTo>
                    <a:lnTo>
                      <a:pt x="1015" y="424"/>
                    </a:lnTo>
                    <a:lnTo>
                      <a:pt x="1016" y="424"/>
                    </a:lnTo>
                    <a:lnTo>
                      <a:pt x="1018" y="424"/>
                    </a:lnTo>
                    <a:lnTo>
                      <a:pt x="1016" y="424"/>
                    </a:lnTo>
                    <a:lnTo>
                      <a:pt x="1018" y="422"/>
                    </a:lnTo>
                    <a:lnTo>
                      <a:pt x="1020" y="422"/>
                    </a:lnTo>
                    <a:lnTo>
                      <a:pt x="1022" y="422"/>
                    </a:lnTo>
                    <a:lnTo>
                      <a:pt x="1023" y="422"/>
                    </a:lnTo>
                    <a:lnTo>
                      <a:pt x="1025" y="422"/>
                    </a:lnTo>
                    <a:lnTo>
                      <a:pt x="1027" y="422"/>
                    </a:lnTo>
                    <a:lnTo>
                      <a:pt x="1028" y="422"/>
                    </a:lnTo>
                    <a:lnTo>
                      <a:pt x="1028" y="424"/>
                    </a:lnTo>
                    <a:lnTo>
                      <a:pt x="1030" y="424"/>
                    </a:lnTo>
                    <a:lnTo>
                      <a:pt x="1032" y="424"/>
                    </a:lnTo>
                    <a:lnTo>
                      <a:pt x="1033" y="425"/>
                    </a:lnTo>
                    <a:lnTo>
                      <a:pt x="1035" y="425"/>
                    </a:lnTo>
                    <a:lnTo>
                      <a:pt x="1037" y="425"/>
                    </a:lnTo>
                    <a:lnTo>
                      <a:pt x="1039" y="425"/>
                    </a:lnTo>
                    <a:lnTo>
                      <a:pt x="1040" y="427"/>
                    </a:lnTo>
                    <a:lnTo>
                      <a:pt x="1042" y="427"/>
                    </a:lnTo>
                    <a:lnTo>
                      <a:pt x="1044" y="427"/>
                    </a:lnTo>
                    <a:lnTo>
                      <a:pt x="1045" y="427"/>
                    </a:lnTo>
                    <a:lnTo>
                      <a:pt x="1047" y="429"/>
                    </a:lnTo>
                    <a:lnTo>
                      <a:pt x="1049" y="429"/>
                    </a:lnTo>
                    <a:lnTo>
                      <a:pt x="1050" y="429"/>
                    </a:lnTo>
                    <a:lnTo>
                      <a:pt x="1052" y="429"/>
                    </a:lnTo>
                    <a:lnTo>
                      <a:pt x="1054" y="427"/>
                    </a:lnTo>
                    <a:lnTo>
                      <a:pt x="1056" y="427"/>
                    </a:lnTo>
                    <a:lnTo>
                      <a:pt x="1056" y="425"/>
                    </a:lnTo>
                    <a:lnTo>
                      <a:pt x="1056" y="424"/>
                    </a:lnTo>
                    <a:lnTo>
                      <a:pt x="1054" y="424"/>
                    </a:lnTo>
                    <a:lnTo>
                      <a:pt x="1052" y="424"/>
                    </a:lnTo>
                    <a:lnTo>
                      <a:pt x="1052" y="425"/>
                    </a:lnTo>
                    <a:lnTo>
                      <a:pt x="1050" y="425"/>
                    </a:lnTo>
                    <a:lnTo>
                      <a:pt x="1049" y="425"/>
                    </a:lnTo>
                    <a:lnTo>
                      <a:pt x="1047" y="425"/>
                    </a:lnTo>
                    <a:lnTo>
                      <a:pt x="1047" y="424"/>
                    </a:lnTo>
                    <a:lnTo>
                      <a:pt x="1047" y="425"/>
                    </a:lnTo>
                    <a:lnTo>
                      <a:pt x="1045" y="425"/>
                    </a:lnTo>
                    <a:lnTo>
                      <a:pt x="1047" y="425"/>
                    </a:lnTo>
                    <a:lnTo>
                      <a:pt x="1047" y="424"/>
                    </a:lnTo>
                    <a:lnTo>
                      <a:pt x="1049" y="424"/>
                    </a:lnTo>
                    <a:lnTo>
                      <a:pt x="1049" y="425"/>
                    </a:lnTo>
                    <a:lnTo>
                      <a:pt x="1050" y="425"/>
                    </a:lnTo>
                    <a:lnTo>
                      <a:pt x="1052" y="424"/>
                    </a:lnTo>
                    <a:lnTo>
                      <a:pt x="1054" y="424"/>
                    </a:lnTo>
                    <a:lnTo>
                      <a:pt x="1054" y="422"/>
                    </a:lnTo>
                    <a:lnTo>
                      <a:pt x="1056" y="422"/>
                    </a:lnTo>
                    <a:lnTo>
                      <a:pt x="1057" y="424"/>
                    </a:lnTo>
                    <a:lnTo>
                      <a:pt x="1059" y="424"/>
                    </a:lnTo>
                    <a:lnTo>
                      <a:pt x="1059" y="425"/>
                    </a:lnTo>
                    <a:lnTo>
                      <a:pt x="1061" y="425"/>
                    </a:lnTo>
                    <a:lnTo>
                      <a:pt x="1059" y="425"/>
                    </a:lnTo>
                    <a:lnTo>
                      <a:pt x="1061" y="425"/>
                    </a:lnTo>
                    <a:lnTo>
                      <a:pt x="1061" y="427"/>
                    </a:lnTo>
                    <a:lnTo>
                      <a:pt x="1061" y="429"/>
                    </a:lnTo>
                    <a:lnTo>
                      <a:pt x="1062" y="429"/>
                    </a:lnTo>
                    <a:lnTo>
                      <a:pt x="1062" y="430"/>
                    </a:lnTo>
                    <a:lnTo>
                      <a:pt x="1062" y="432"/>
                    </a:lnTo>
                    <a:lnTo>
                      <a:pt x="1064" y="432"/>
                    </a:lnTo>
                    <a:lnTo>
                      <a:pt x="1062" y="432"/>
                    </a:lnTo>
                    <a:lnTo>
                      <a:pt x="1062" y="434"/>
                    </a:lnTo>
                    <a:lnTo>
                      <a:pt x="1064" y="434"/>
                    </a:lnTo>
                    <a:lnTo>
                      <a:pt x="1064" y="435"/>
                    </a:lnTo>
                    <a:lnTo>
                      <a:pt x="1064" y="434"/>
                    </a:lnTo>
                    <a:lnTo>
                      <a:pt x="1064" y="432"/>
                    </a:lnTo>
                    <a:lnTo>
                      <a:pt x="1066" y="432"/>
                    </a:lnTo>
                    <a:lnTo>
                      <a:pt x="1066" y="430"/>
                    </a:lnTo>
                    <a:lnTo>
                      <a:pt x="1064" y="430"/>
                    </a:lnTo>
                    <a:lnTo>
                      <a:pt x="1066" y="430"/>
                    </a:lnTo>
                    <a:lnTo>
                      <a:pt x="1064" y="429"/>
                    </a:lnTo>
                    <a:lnTo>
                      <a:pt x="1066" y="429"/>
                    </a:lnTo>
                    <a:lnTo>
                      <a:pt x="1066" y="430"/>
                    </a:lnTo>
                    <a:lnTo>
                      <a:pt x="1066" y="429"/>
                    </a:lnTo>
                    <a:lnTo>
                      <a:pt x="1066" y="430"/>
                    </a:lnTo>
                    <a:lnTo>
                      <a:pt x="1066" y="432"/>
                    </a:lnTo>
                    <a:lnTo>
                      <a:pt x="1066" y="434"/>
                    </a:lnTo>
                    <a:lnTo>
                      <a:pt x="1064" y="434"/>
                    </a:lnTo>
                    <a:lnTo>
                      <a:pt x="1066" y="435"/>
                    </a:lnTo>
                    <a:lnTo>
                      <a:pt x="1066" y="437"/>
                    </a:lnTo>
                    <a:lnTo>
                      <a:pt x="1066" y="439"/>
                    </a:lnTo>
                    <a:lnTo>
                      <a:pt x="1067" y="439"/>
                    </a:lnTo>
                    <a:lnTo>
                      <a:pt x="1067" y="441"/>
                    </a:lnTo>
                    <a:lnTo>
                      <a:pt x="1066" y="441"/>
                    </a:lnTo>
                    <a:lnTo>
                      <a:pt x="1066" y="442"/>
                    </a:lnTo>
                    <a:lnTo>
                      <a:pt x="1064" y="444"/>
                    </a:lnTo>
                    <a:lnTo>
                      <a:pt x="1064" y="446"/>
                    </a:lnTo>
                    <a:lnTo>
                      <a:pt x="1064" y="447"/>
                    </a:lnTo>
                    <a:lnTo>
                      <a:pt x="1062" y="449"/>
                    </a:lnTo>
                    <a:lnTo>
                      <a:pt x="1062" y="451"/>
                    </a:lnTo>
                    <a:lnTo>
                      <a:pt x="1061" y="451"/>
                    </a:lnTo>
                    <a:lnTo>
                      <a:pt x="1061" y="452"/>
                    </a:lnTo>
                    <a:lnTo>
                      <a:pt x="1059" y="454"/>
                    </a:lnTo>
                    <a:lnTo>
                      <a:pt x="1061" y="454"/>
                    </a:lnTo>
                    <a:lnTo>
                      <a:pt x="1059" y="454"/>
                    </a:lnTo>
                    <a:lnTo>
                      <a:pt x="1057" y="456"/>
                    </a:lnTo>
                    <a:lnTo>
                      <a:pt x="1057" y="458"/>
                    </a:lnTo>
                    <a:lnTo>
                      <a:pt x="1056" y="458"/>
                    </a:lnTo>
                    <a:lnTo>
                      <a:pt x="1056" y="459"/>
                    </a:lnTo>
                    <a:lnTo>
                      <a:pt x="1054" y="459"/>
                    </a:lnTo>
                    <a:lnTo>
                      <a:pt x="1054" y="461"/>
                    </a:lnTo>
                    <a:lnTo>
                      <a:pt x="1052" y="461"/>
                    </a:lnTo>
                    <a:lnTo>
                      <a:pt x="1050" y="463"/>
                    </a:lnTo>
                    <a:lnTo>
                      <a:pt x="1049" y="464"/>
                    </a:lnTo>
                    <a:lnTo>
                      <a:pt x="1049" y="466"/>
                    </a:lnTo>
                    <a:lnTo>
                      <a:pt x="1047" y="466"/>
                    </a:lnTo>
                    <a:lnTo>
                      <a:pt x="1047" y="468"/>
                    </a:lnTo>
                    <a:lnTo>
                      <a:pt x="1047" y="469"/>
                    </a:lnTo>
                    <a:lnTo>
                      <a:pt x="1045" y="469"/>
                    </a:lnTo>
                    <a:lnTo>
                      <a:pt x="1045" y="471"/>
                    </a:lnTo>
                    <a:lnTo>
                      <a:pt x="1044" y="473"/>
                    </a:lnTo>
                    <a:lnTo>
                      <a:pt x="1044" y="475"/>
                    </a:lnTo>
                    <a:lnTo>
                      <a:pt x="1044" y="476"/>
                    </a:lnTo>
                    <a:lnTo>
                      <a:pt x="1042" y="476"/>
                    </a:lnTo>
                    <a:lnTo>
                      <a:pt x="1042" y="478"/>
                    </a:lnTo>
                    <a:lnTo>
                      <a:pt x="1042" y="480"/>
                    </a:lnTo>
                    <a:lnTo>
                      <a:pt x="1044" y="480"/>
                    </a:lnTo>
                    <a:lnTo>
                      <a:pt x="1042" y="481"/>
                    </a:lnTo>
                    <a:lnTo>
                      <a:pt x="1044" y="481"/>
                    </a:lnTo>
                    <a:lnTo>
                      <a:pt x="1044" y="483"/>
                    </a:lnTo>
                    <a:lnTo>
                      <a:pt x="1044" y="485"/>
                    </a:lnTo>
                    <a:lnTo>
                      <a:pt x="1044" y="486"/>
                    </a:lnTo>
                    <a:lnTo>
                      <a:pt x="1042" y="486"/>
                    </a:lnTo>
                    <a:lnTo>
                      <a:pt x="1042" y="488"/>
                    </a:lnTo>
                    <a:lnTo>
                      <a:pt x="1042" y="486"/>
                    </a:lnTo>
                    <a:lnTo>
                      <a:pt x="1044" y="486"/>
                    </a:lnTo>
                    <a:lnTo>
                      <a:pt x="1044" y="485"/>
                    </a:lnTo>
                    <a:lnTo>
                      <a:pt x="1044" y="483"/>
                    </a:lnTo>
                    <a:lnTo>
                      <a:pt x="1042" y="483"/>
                    </a:lnTo>
                    <a:lnTo>
                      <a:pt x="1044" y="483"/>
                    </a:lnTo>
                    <a:lnTo>
                      <a:pt x="1044" y="485"/>
                    </a:lnTo>
                    <a:lnTo>
                      <a:pt x="1042" y="485"/>
                    </a:lnTo>
                    <a:lnTo>
                      <a:pt x="1042" y="486"/>
                    </a:lnTo>
                    <a:lnTo>
                      <a:pt x="1040" y="488"/>
                    </a:lnTo>
                    <a:lnTo>
                      <a:pt x="1040" y="486"/>
                    </a:lnTo>
                    <a:lnTo>
                      <a:pt x="1039" y="488"/>
                    </a:lnTo>
                    <a:lnTo>
                      <a:pt x="1039" y="490"/>
                    </a:lnTo>
                    <a:lnTo>
                      <a:pt x="1037" y="490"/>
                    </a:lnTo>
                    <a:lnTo>
                      <a:pt x="1037" y="492"/>
                    </a:lnTo>
                    <a:lnTo>
                      <a:pt x="1037" y="493"/>
                    </a:lnTo>
                    <a:lnTo>
                      <a:pt x="1035" y="493"/>
                    </a:lnTo>
                    <a:lnTo>
                      <a:pt x="1037" y="493"/>
                    </a:lnTo>
                    <a:lnTo>
                      <a:pt x="1037" y="492"/>
                    </a:lnTo>
                    <a:lnTo>
                      <a:pt x="1035" y="492"/>
                    </a:lnTo>
                    <a:lnTo>
                      <a:pt x="1033" y="492"/>
                    </a:lnTo>
                    <a:lnTo>
                      <a:pt x="1033" y="493"/>
                    </a:lnTo>
                    <a:lnTo>
                      <a:pt x="1033" y="495"/>
                    </a:lnTo>
                    <a:lnTo>
                      <a:pt x="1035" y="495"/>
                    </a:lnTo>
                    <a:lnTo>
                      <a:pt x="1035" y="497"/>
                    </a:lnTo>
                    <a:lnTo>
                      <a:pt x="1035" y="495"/>
                    </a:lnTo>
                    <a:lnTo>
                      <a:pt x="1037" y="497"/>
                    </a:lnTo>
                    <a:lnTo>
                      <a:pt x="1035" y="497"/>
                    </a:lnTo>
                    <a:lnTo>
                      <a:pt x="1037" y="497"/>
                    </a:lnTo>
                    <a:lnTo>
                      <a:pt x="1035" y="498"/>
                    </a:lnTo>
                    <a:lnTo>
                      <a:pt x="1037" y="498"/>
                    </a:lnTo>
                    <a:lnTo>
                      <a:pt x="1037" y="497"/>
                    </a:lnTo>
                    <a:lnTo>
                      <a:pt x="1039" y="497"/>
                    </a:lnTo>
                    <a:lnTo>
                      <a:pt x="1040" y="497"/>
                    </a:lnTo>
                    <a:lnTo>
                      <a:pt x="1042" y="497"/>
                    </a:lnTo>
                    <a:lnTo>
                      <a:pt x="1042" y="495"/>
                    </a:lnTo>
                    <a:lnTo>
                      <a:pt x="1040" y="495"/>
                    </a:lnTo>
                    <a:lnTo>
                      <a:pt x="1042" y="495"/>
                    </a:lnTo>
                    <a:lnTo>
                      <a:pt x="1044" y="495"/>
                    </a:lnTo>
                    <a:lnTo>
                      <a:pt x="1042" y="495"/>
                    </a:lnTo>
                    <a:lnTo>
                      <a:pt x="1044" y="495"/>
                    </a:lnTo>
                    <a:lnTo>
                      <a:pt x="1044" y="493"/>
                    </a:lnTo>
                    <a:lnTo>
                      <a:pt x="1045" y="495"/>
                    </a:lnTo>
                    <a:lnTo>
                      <a:pt x="1045" y="497"/>
                    </a:lnTo>
                    <a:lnTo>
                      <a:pt x="1044" y="497"/>
                    </a:lnTo>
                    <a:lnTo>
                      <a:pt x="1044" y="498"/>
                    </a:lnTo>
                    <a:lnTo>
                      <a:pt x="1044" y="500"/>
                    </a:lnTo>
                    <a:lnTo>
                      <a:pt x="1042" y="500"/>
                    </a:lnTo>
                    <a:lnTo>
                      <a:pt x="1042" y="502"/>
                    </a:lnTo>
                    <a:lnTo>
                      <a:pt x="1040" y="502"/>
                    </a:lnTo>
                    <a:lnTo>
                      <a:pt x="1039" y="502"/>
                    </a:lnTo>
                    <a:lnTo>
                      <a:pt x="1040" y="502"/>
                    </a:lnTo>
                    <a:lnTo>
                      <a:pt x="1040" y="500"/>
                    </a:lnTo>
                    <a:lnTo>
                      <a:pt x="1040" y="502"/>
                    </a:lnTo>
                    <a:lnTo>
                      <a:pt x="1039" y="502"/>
                    </a:lnTo>
                    <a:lnTo>
                      <a:pt x="1037" y="502"/>
                    </a:lnTo>
                    <a:lnTo>
                      <a:pt x="1037" y="503"/>
                    </a:lnTo>
                    <a:lnTo>
                      <a:pt x="1037" y="505"/>
                    </a:lnTo>
                    <a:lnTo>
                      <a:pt x="1035" y="505"/>
                    </a:lnTo>
                    <a:lnTo>
                      <a:pt x="1037" y="505"/>
                    </a:lnTo>
                    <a:lnTo>
                      <a:pt x="1037" y="507"/>
                    </a:lnTo>
                    <a:lnTo>
                      <a:pt x="1035" y="507"/>
                    </a:lnTo>
                    <a:lnTo>
                      <a:pt x="1035" y="509"/>
                    </a:lnTo>
                    <a:lnTo>
                      <a:pt x="1037" y="510"/>
                    </a:lnTo>
                    <a:lnTo>
                      <a:pt x="1037" y="509"/>
                    </a:lnTo>
                    <a:lnTo>
                      <a:pt x="1039" y="509"/>
                    </a:lnTo>
                    <a:lnTo>
                      <a:pt x="1039" y="507"/>
                    </a:lnTo>
                    <a:lnTo>
                      <a:pt x="1040" y="505"/>
                    </a:lnTo>
                    <a:lnTo>
                      <a:pt x="1042" y="505"/>
                    </a:lnTo>
                    <a:lnTo>
                      <a:pt x="1042" y="507"/>
                    </a:lnTo>
                    <a:lnTo>
                      <a:pt x="1042" y="505"/>
                    </a:lnTo>
                    <a:lnTo>
                      <a:pt x="1044" y="505"/>
                    </a:lnTo>
                    <a:lnTo>
                      <a:pt x="1042" y="505"/>
                    </a:lnTo>
                    <a:lnTo>
                      <a:pt x="1042" y="507"/>
                    </a:lnTo>
                    <a:lnTo>
                      <a:pt x="1040" y="509"/>
                    </a:lnTo>
                    <a:lnTo>
                      <a:pt x="1040" y="510"/>
                    </a:lnTo>
                    <a:lnTo>
                      <a:pt x="1040" y="512"/>
                    </a:lnTo>
                    <a:lnTo>
                      <a:pt x="1040" y="514"/>
                    </a:lnTo>
                    <a:lnTo>
                      <a:pt x="1039" y="515"/>
                    </a:lnTo>
                    <a:lnTo>
                      <a:pt x="1039" y="517"/>
                    </a:lnTo>
                    <a:lnTo>
                      <a:pt x="1037" y="519"/>
                    </a:lnTo>
                    <a:lnTo>
                      <a:pt x="1037" y="520"/>
                    </a:lnTo>
                    <a:lnTo>
                      <a:pt x="1037" y="522"/>
                    </a:lnTo>
                    <a:lnTo>
                      <a:pt x="1037" y="524"/>
                    </a:lnTo>
                    <a:lnTo>
                      <a:pt x="1035" y="524"/>
                    </a:lnTo>
                    <a:lnTo>
                      <a:pt x="1037" y="524"/>
                    </a:lnTo>
                    <a:lnTo>
                      <a:pt x="1035" y="526"/>
                    </a:lnTo>
                    <a:lnTo>
                      <a:pt x="1035" y="527"/>
                    </a:lnTo>
                    <a:lnTo>
                      <a:pt x="1033" y="527"/>
                    </a:lnTo>
                    <a:lnTo>
                      <a:pt x="1033" y="529"/>
                    </a:lnTo>
                    <a:lnTo>
                      <a:pt x="1033" y="531"/>
                    </a:lnTo>
                    <a:lnTo>
                      <a:pt x="1033" y="532"/>
                    </a:lnTo>
                    <a:lnTo>
                      <a:pt x="1033" y="534"/>
                    </a:lnTo>
                    <a:lnTo>
                      <a:pt x="1033" y="536"/>
                    </a:lnTo>
                    <a:lnTo>
                      <a:pt x="1033" y="538"/>
                    </a:lnTo>
                    <a:lnTo>
                      <a:pt x="1032" y="538"/>
                    </a:lnTo>
                    <a:lnTo>
                      <a:pt x="1032" y="539"/>
                    </a:lnTo>
                    <a:lnTo>
                      <a:pt x="1030" y="541"/>
                    </a:lnTo>
                    <a:lnTo>
                      <a:pt x="1030" y="543"/>
                    </a:lnTo>
                    <a:lnTo>
                      <a:pt x="1030" y="544"/>
                    </a:lnTo>
                    <a:lnTo>
                      <a:pt x="1028" y="544"/>
                    </a:lnTo>
                    <a:lnTo>
                      <a:pt x="1030" y="544"/>
                    </a:lnTo>
                    <a:lnTo>
                      <a:pt x="1030" y="543"/>
                    </a:lnTo>
                    <a:lnTo>
                      <a:pt x="1028" y="543"/>
                    </a:lnTo>
                    <a:lnTo>
                      <a:pt x="1028" y="544"/>
                    </a:lnTo>
                    <a:lnTo>
                      <a:pt x="1028" y="543"/>
                    </a:lnTo>
                    <a:lnTo>
                      <a:pt x="1028" y="541"/>
                    </a:lnTo>
                    <a:lnTo>
                      <a:pt x="1030" y="541"/>
                    </a:lnTo>
                    <a:lnTo>
                      <a:pt x="1028" y="541"/>
                    </a:lnTo>
                    <a:lnTo>
                      <a:pt x="1028" y="543"/>
                    </a:lnTo>
                    <a:lnTo>
                      <a:pt x="1028" y="541"/>
                    </a:lnTo>
                    <a:lnTo>
                      <a:pt x="1028" y="539"/>
                    </a:lnTo>
                    <a:lnTo>
                      <a:pt x="1028" y="538"/>
                    </a:lnTo>
                    <a:lnTo>
                      <a:pt x="1027" y="538"/>
                    </a:lnTo>
                    <a:lnTo>
                      <a:pt x="1027" y="536"/>
                    </a:lnTo>
                    <a:lnTo>
                      <a:pt x="1025" y="536"/>
                    </a:lnTo>
                    <a:lnTo>
                      <a:pt x="1023" y="536"/>
                    </a:lnTo>
                    <a:lnTo>
                      <a:pt x="1023" y="534"/>
                    </a:lnTo>
                    <a:lnTo>
                      <a:pt x="1022" y="534"/>
                    </a:lnTo>
                    <a:lnTo>
                      <a:pt x="1023" y="534"/>
                    </a:lnTo>
                    <a:lnTo>
                      <a:pt x="1022" y="534"/>
                    </a:lnTo>
                    <a:lnTo>
                      <a:pt x="1023" y="534"/>
                    </a:lnTo>
                    <a:lnTo>
                      <a:pt x="1023" y="532"/>
                    </a:lnTo>
                    <a:lnTo>
                      <a:pt x="1023" y="531"/>
                    </a:lnTo>
                    <a:lnTo>
                      <a:pt x="1025" y="529"/>
                    </a:lnTo>
                    <a:lnTo>
                      <a:pt x="1025" y="527"/>
                    </a:lnTo>
                    <a:lnTo>
                      <a:pt x="1025" y="526"/>
                    </a:lnTo>
                    <a:lnTo>
                      <a:pt x="1025" y="524"/>
                    </a:lnTo>
                    <a:lnTo>
                      <a:pt x="1023" y="522"/>
                    </a:lnTo>
                    <a:lnTo>
                      <a:pt x="1023" y="520"/>
                    </a:lnTo>
                    <a:lnTo>
                      <a:pt x="1022" y="522"/>
                    </a:lnTo>
                    <a:lnTo>
                      <a:pt x="1022" y="524"/>
                    </a:lnTo>
                    <a:lnTo>
                      <a:pt x="1020" y="524"/>
                    </a:lnTo>
                    <a:lnTo>
                      <a:pt x="1020" y="526"/>
                    </a:lnTo>
                    <a:lnTo>
                      <a:pt x="1020" y="524"/>
                    </a:lnTo>
                    <a:lnTo>
                      <a:pt x="1020" y="526"/>
                    </a:lnTo>
                    <a:lnTo>
                      <a:pt x="1018" y="526"/>
                    </a:lnTo>
                    <a:lnTo>
                      <a:pt x="1018" y="527"/>
                    </a:lnTo>
                    <a:lnTo>
                      <a:pt x="1018" y="526"/>
                    </a:lnTo>
                    <a:lnTo>
                      <a:pt x="1020" y="526"/>
                    </a:lnTo>
                    <a:lnTo>
                      <a:pt x="1020" y="527"/>
                    </a:lnTo>
                    <a:lnTo>
                      <a:pt x="1018" y="527"/>
                    </a:lnTo>
                    <a:lnTo>
                      <a:pt x="1018" y="529"/>
                    </a:lnTo>
                    <a:lnTo>
                      <a:pt x="1016" y="531"/>
                    </a:lnTo>
                    <a:lnTo>
                      <a:pt x="1016" y="532"/>
                    </a:lnTo>
                    <a:lnTo>
                      <a:pt x="1015" y="534"/>
                    </a:lnTo>
                    <a:lnTo>
                      <a:pt x="1013" y="534"/>
                    </a:lnTo>
                    <a:lnTo>
                      <a:pt x="1011" y="534"/>
                    </a:lnTo>
                    <a:lnTo>
                      <a:pt x="1010" y="534"/>
                    </a:lnTo>
                    <a:lnTo>
                      <a:pt x="1008" y="534"/>
                    </a:lnTo>
                    <a:lnTo>
                      <a:pt x="1008" y="536"/>
                    </a:lnTo>
                    <a:lnTo>
                      <a:pt x="1006" y="536"/>
                    </a:lnTo>
                    <a:lnTo>
                      <a:pt x="1006" y="538"/>
                    </a:lnTo>
                    <a:lnTo>
                      <a:pt x="1006" y="539"/>
                    </a:lnTo>
                    <a:lnTo>
                      <a:pt x="1006" y="541"/>
                    </a:lnTo>
                    <a:lnTo>
                      <a:pt x="1005" y="541"/>
                    </a:lnTo>
                    <a:lnTo>
                      <a:pt x="1005" y="543"/>
                    </a:lnTo>
                    <a:lnTo>
                      <a:pt x="1005" y="544"/>
                    </a:lnTo>
                    <a:lnTo>
                      <a:pt x="1003" y="544"/>
                    </a:lnTo>
                    <a:lnTo>
                      <a:pt x="1001" y="544"/>
                    </a:lnTo>
                    <a:lnTo>
                      <a:pt x="1001" y="546"/>
                    </a:lnTo>
                    <a:lnTo>
                      <a:pt x="1001" y="548"/>
                    </a:lnTo>
                    <a:lnTo>
                      <a:pt x="1001" y="549"/>
                    </a:lnTo>
                    <a:lnTo>
                      <a:pt x="999" y="549"/>
                    </a:lnTo>
                    <a:lnTo>
                      <a:pt x="999" y="551"/>
                    </a:lnTo>
                    <a:lnTo>
                      <a:pt x="998" y="551"/>
                    </a:lnTo>
                    <a:lnTo>
                      <a:pt x="998" y="553"/>
                    </a:lnTo>
                    <a:lnTo>
                      <a:pt x="996" y="553"/>
                    </a:lnTo>
                    <a:lnTo>
                      <a:pt x="996" y="555"/>
                    </a:lnTo>
                    <a:lnTo>
                      <a:pt x="996" y="556"/>
                    </a:lnTo>
                    <a:lnTo>
                      <a:pt x="994" y="556"/>
                    </a:lnTo>
                    <a:lnTo>
                      <a:pt x="994" y="555"/>
                    </a:lnTo>
                    <a:lnTo>
                      <a:pt x="993" y="555"/>
                    </a:lnTo>
                    <a:lnTo>
                      <a:pt x="993" y="553"/>
                    </a:lnTo>
                    <a:lnTo>
                      <a:pt x="991" y="553"/>
                    </a:lnTo>
                    <a:lnTo>
                      <a:pt x="991" y="551"/>
                    </a:lnTo>
                    <a:lnTo>
                      <a:pt x="989" y="551"/>
                    </a:lnTo>
                    <a:lnTo>
                      <a:pt x="989" y="553"/>
                    </a:lnTo>
                    <a:lnTo>
                      <a:pt x="989" y="551"/>
                    </a:lnTo>
                    <a:lnTo>
                      <a:pt x="988" y="553"/>
                    </a:lnTo>
                    <a:lnTo>
                      <a:pt x="986" y="553"/>
                    </a:lnTo>
                    <a:lnTo>
                      <a:pt x="986" y="555"/>
                    </a:lnTo>
                    <a:lnTo>
                      <a:pt x="986" y="556"/>
                    </a:lnTo>
                    <a:lnTo>
                      <a:pt x="986" y="558"/>
                    </a:lnTo>
                    <a:lnTo>
                      <a:pt x="984" y="558"/>
                    </a:lnTo>
                    <a:lnTo>
                      <a:pt x="982" y="558"/>
                    </a:lnTo>
                    <a:lnTo>
                      <a:pt x="981" y="558"/>
                    </a:lnTo>
                    <a:lnTo>
                      <a:pt x="974" y="558"/>
                    </a:lnTo>
                    <a:lnTo>
                      <a:pt x="967" y="558"/>
                    </a:lnTo>
                    <a:lnTo>
                      <a:pt x="960" y="558"/>
                    </a:lnTo>
                    <a:lnTo>
                      <a:pt x="959" y="558"/>
                    </a:lnTo>
                    <a:lnTo>
                      <a:pt x="957" y="558"/>
                    </a:lnTo>
                    <a:lnTo>
                      <a:pt x="955" y="558"/>
                    </a:lnTo>
                    <a:lnTo>
                      <a:pt x="952" y="558"/>
                    </a:lnTo>
                    <a:lnTo>
                      <a:pt x="950" y="558"/>
                    </a:lnTo>
                    <a:lnTo>
                      <a:pt x="947" y="558"/>
                    </a:lnTo>
                    <a:lnTo>
                      <a:pt x="945" y="558"/>
                    </a:lnTo>
                    <a:lnTo>
                      <a:pt x="942" y="558"/>
                    </a:lnTo>
                    <a:lnTo>
                      <a:pt x="940" y="558"/>
                    </a:lnTo>
                    <a:lnTo>
                      <a:pt x="937" y="558"/>
                    </a:lnTo>
                    <a:lnTo>
                      <a:pt x="931" y="558"/>
                    </a:lnTo>
                    <a:lnTo>
                      <a:pt x="930" y="558"/>
                    </a:lnTo>
                    <a:lnTo>
                      <a:pt x="925" y="558"/>
                    </a:lnTo>
                    <a:lnTo>
                      <a:pt x="925" y="560"/>
                    </a:lnTo>
                    <a:lnTo>
                      <a:pt x="925" y="565"/>
                    </a:lnTo>
                    <a:lnTo>
                      <a:pt x="925" y="566"/>
                    </a:lnTo>
                    <a:lnTo>
                      <a:pt x="925" y="572"/>
                    </a:lnTo>
                    <a:lnTo>
                      <a:pt x="925" y="577"/>
                    </a:lnTo>
                    <a:lnTo>
                      <a:pt x="925" y="578"/>
                    </a:lnTo>
                    <a:lnTo>
                      <a:pt x="923" y="578"/>
                    </a:lnTo>
                    <a:lnTo>
                      <a:pt x="921" y="578"/>
                    </a:lnTo>
                    <a:lnTo>
                      <a:pt x="920" y="578"/>
                    </a:lnTo>
                    <a:lnTo>
                      <a:pt x="914" y="578"/>
                    </a:lnTo>
                    <a:lnTo>
                      <a:pt x="909" y="578"/>
                    </a:lnTo>
                    <a:lnTo>
                      <a:pt x="909" y="580"/>
                    </a:lnTo>
                    <a:lnTo>
                      <a:pt x="911" y="580"/>
                    </a:lnTo>
                    <a:lnTo>
                      <a:pt x="911" y="582"/>
                    </a:lnTo>
                    <a:lnTo>
                      <a:pt x="913" y="582"/>
                    </a:lnTo>
                    <a:lnTo>
                      <a:pt x="913" y="580"/>
                    </a:lnTo>
                    <a:lnTo>
                      <a:pt x="914" y="580"/>
                    </a:lnTo>
                    <a:lnTo>
                      <a:pt x="914" y="582"/>
                    </a:lnTo>
                    <a:lnTo>
                      <a:pt x="914" y="583"/>
                    </a:lnTo>
                    <a:lnTo>
                      <a:pt x="916" y="583"/>
                    </a:lnTo>
                    <a:lnTo>
                      <a:pt x="916" y="585"/>
                    </a:lnTo>
                    <a:lnTo>
                      <a:pt x="918" y="585"/>
                    </a:lnTo>
                    <a:lnTo>
                      <a:pt x="918" y="587"/>
                    </a:lnTo>
                    <a:lnTo>
                      <a:pt x="920" y="587"/>
                    </a:lnTo>
                    <a:lnTo>
                      <a:pt x="920" y="589"/>
                    </a:lnTo>
                    <a:lnTo>
                      <a:pt x="921" y="589"/>
                    </a:lnTo>
                    <a:lnTo>
                      <a:pt x="921" y="590"/>
                    </a:lnTo>
                    <a:lnTo>
                      <a:pt x="923" y="590"/>
                    </a:lnTo>
                    <a:lnTo>
                      <a:pt x="923" y="592"/>
                    </a:lnTo>
                    <a:lnTo>
                      <a:pt x="925" y="592"/>
                    </a:lnTo>
                    <a:lnTo>
                      <a:pt x="925" y="590"/>
                    </a:lnTo>
                    <a:lnTo>
                      <a:pt x="925" y="592"/>
                    </a:lnTo>
                    <a:lnTo>
                      <a:pt x="926" y="592"/>
                    </a:lnTo>
                    <a:lnTo>
                      <a:pt x="926" y="594"/>
                    </a:lnTo>
                    <a:lnTo>
                      <a:pt x="928" y="594"/>
                    </a:lnTo>
                    <a:lnTo>
                      <a:pt x="930" y="594"/>
                    </a:lnTo>
                    <a:lnTo>
                      <a:pt x="930" y="595"/>
                    </a:lnTo>
                    <a:lnTo>
                      <a:pt x="931" y="595"/>
                    </a:lnTo>
                    <a:lnTo>
                      <a:pt x="933" y="597"/>
                    </a:lnTo>
                    <a:lnTo>
                      <a:pt x="935" y="599"/>
                    </a:lnTo>
                    <a:lnTo>
                      <a:pt x="935" y="600"/>
                    </a:lnTo>
                    <a:lnTo>
                      <a:pt x="935" y="602"/>
                    </a:lnTo>
                    <a:lnTo>
                      <a:pt x="937" y="602"/>
                    </a:lnTo>
                    <a:lnTo>
                      <a:pt x="935" y="602"/>
                    </a:lnTo>
                    <a:lnTo>
                      <a:pt x="935" y="604"/>
                    </a:lnTo>
                    <a:lnTo>
                      <a:pt x="937" y="604"/>
                    </a:lnTo>
                    <a:lnTo>
                      <a:pt x="937" y="606"/>
                    </a:lnTo>
                    <a:lnTo>
                      <a:pt x="938" y="606"/>
                    </a:lnTo>
                    <a:lnTo>
                      <a:pt x="940" y="606"/>
                    </a:lnTo>
                    <a:lnTo>
                      <a:pt x="942" y="606"/>
                    </a:lnTo>
                    <a:lnTo>
                      <a:pt x="942" y="607"/>
                    </a:lnTo>
                    <a:lnTo>
                      <a:pt x="943" y="607"/>
                    </a:lnTo>
                    <a:lnTo>
                      <a:pt x="943" y="609"/>
                    </a:lnTo>
                    <a:lnTo>
                      <a:pt x="945" y="609"/>
                    </a:lnTo>
                    <a:lnTo>
                      <a:pt x="943" y="609"/>
                    </a:lnTo>
                    <a:lnTo>
                      <a:pt x="943" y="611"/>
                    </a:lnTo>
                    <a:lnTo>
                      <a:pt x="943" y="609"/>
                    </a:lnTo>
                    <a:lnTo>
                      <a:pt x="943" y="611"/>
                    </a:lnTo>
                    <a:lnTo>
                      <a:pt x="945" y="611"/>
                    </a:lnTo>
                    <a:lnTo>
                      <a:pt x="943" y="611"/>
                    </a:lnTo>
                    <a:lnTo>
                      <a:pt x="943" y="612"/>
                    </a:lnTo>
                    <a:lnTo>
                      <a:pt x="942" y="612"/>
                    </a:lnTo>
                    <a:lnTo>
                      <a:pt x="943" y="614"/>
                    </a:lnTo>
                    <a:lnTo>
                      <a:pt x="942" y="612"/>
                    </a:lnTo>
                    <a:lnTo>
                      <a:pt x="942" y="614"/>
                    </a:lnTo>
                    <a:lnTo>
                      <a:pt x="943" y="614"/>
                    </a:lnTo>
                    <a:lnTo>
                      <a:pt x="942" y="614"/>
                    </a:lnTo>
                    <a:lnTo>
                      <a:pt x="942" y="616"/>
                    </a:lnTo>
                    <a:lnTo>
                      <a:pt x="943" y="616"/>
                    </a:lnTo>
                    <a:lnTo>
                      <a:pt x="942" y="617"/>
                    </a:lnTo>
                    <a:lnTo>
                      <a:pt x="943" y="617"/>
                    </a:lnTo>
                    <a:lnTo>
                      <a:pt x="942" y="617"/>
                    </a:lnTo>
                    <a:lnTo>
                      <a:pt x="942" y="619"/>
                    </a:lnTo>
                    <a:lnTo>
                      <a:pt x="943" y="619"/>
                    </a:lnTo>
                    <a:lnTo>
                      <a:pt x="942" y="619"/>
                    </a:lnTo>
                    <a:lnTo>
                      <a:pt x="938" y="619"/>
                    </a:lnTo>
                    <a:lnTo>
                      <a:pt x="933" y="619"/>
                    </a:lnTo>
                    <a:lnTo>
                      <a:pt x="930" y="619"/>
                    </a:lnTo>
                    <a:lnTo>
                      <a:pt x="926" y="619"/>
                    </a:lnTo>
                    <a:lnTo>
                      <a:pt x="925" y="619"/>
                    </a:lnTo>
                    <a:lnTo>
                      <a:pt x="921" y="619"/>
                    </a:lnTo>
                    <a:lnTo>
                      <a:pt x="920" y="619"/>
                    </a:lnTo>
                    <a:lnTo>
                      <a:pt x="918" y="619"/>
                    </a:lnTo>
                    <a:lnTo>
                      <a:pt x="916" y="619"/>
                    </a:lnTo>
                    <a:lnTo>
                      <a:pt x="914" y="619"/>
                    </a:lnTo>
                    <a:lnTo>
                      <a:pt x="913" y="619"/>
                    </a:lnTo>
                    <a:lnTo>
                      <a:pt x="911" y="619"/>
                    </a:lnTo>
                    <a:lnTo>
                      <a:pt x="909" y="619"/>
                    </a:lnTo>
                    <a:lnTo>
                      <a:pt x="908" y="619"/>
                    </a:lnTo>
                    <a:lnTo>
                      <a:pt x="906" y="619"/>
                    </a:lnTo>
                    <a:lnTo>
                      <a:pt x="904" y="619"/>
                    </a:lnTo>
                    <a:lnTo>
                      <a:pt x="903" y="619"/>
                    </a:lnTo>
                    <a:lnTo>
                      <a:pt x="901" y="619"/>
                    </a:lnTo>
                    <a:lnTo>
                      <a:pt x="899" y="619"/>
                    </a:lnTo>
                    <a:lnTo>
                      <a:pt x="899" y="621"/>
                    </a:lnTo>
                    <a:lnTo>
                      <a:pt x="897" y="621"/>
                    </a:lnTo>
                    <a:lnTo>
                      <a:pt x="897" y="623"/>
                    </a:lnTo>
                    <a:lnTo>
                      <a:pt x="897" y="624"/>
                    </a:lnTo>
                    <a:lnTo>
                      <a:pt x="896" y="624"/>
                    </a:lnTo>
                    <a:lnTo>
                      <a:pt x="896" y="626"/>
                    </a:lnTo>
                    <a:lnTo>
                      <a:pt x="894" y="628"/>
                    </a:lnTo>
                    <a:lnTo>
                      <a:pt x="894" y="629"/>
                    </a:lnTo>
                    <a:lnTo>
                      <a:pt x="892" y="629"/>
                    </a:lnTo>
                    <a:lnTo>
                      <a:pt x="892" y="631"/>
                    </a:lnTo>
                    <a:lnTo>
                      <a:pt x="892" y="633"/>
                    </a:lnTo>
                    <a:lnTo>
                      <a:pt x="891" y="633"/>
                    </a:lnTo>
                    <a:lnTo>
                      <a:pt x="891" y="634"/>
                    </a:lnTo>
                    <a:lnTo>
                      <a:pt x="891" y="636"/>
                    </a:lnTo>
                    <a:lnTo>
                      <a:pt x="889" y="636"/>
                    </a:lnTo>
                    <a:lnTo>
                      <a:pt x="889" y="638"/>
                    </a:lnTo>
                    <a:lnTo>
                      <a:pt x="887" y="640"/>
                    </a:lnTo>
                    <a:lnTo>
                      <a:pt x="887" y="641"/>
                    </a:lnTo>
                    <a:lnTo>
                      <a:pt x="886" y="641"/>
                    </a:lnTo>
                    <a:lnTo>
                      <a:pt x="886" y="643"/>
                    </a:lnTo>
                    <a:lnTo>
                      <a:pt x="886" y="645"/>
                    </a:lnTo>
                    <a:lnTo>
                      <a:pt x="884" y="645"/>
                    </a:lnTo>
                    <a:lnTo>
                      <a:pt x="884" y="646"/>
                    </a:lnTo>
                    <a:lnTo>
                      <a:pt x="884" y="648"/>
                    </a:lnTo>
                    <a:lnTo>
                      <a:pt x="882" y="648"/>
                    </a:lnTo>
                    <a:lnTo>
                      <a:pt x="884" y="648"/>
                    </a:lnTo>
                    <a:lnTo>
                      <a:pt x="884" y="650"/>
                    </a:lnTo>
                    <a:lnTo>
                      <a:pt x="886" y="651"/>
                    </a:lnTo>
                    <a:lnTo>
                      <a:pt x="886" y="653"/>
                    </a:lnTo>
                    <a:lnTo>
                      <a:pt x="887" y="653"/>
                    </a:lnTo>
                    <a:lnTo>
                      <a:pt x="887" y="655"/>
                    </a:lnTo>
                    <a:lnTo>
                      <a:pt x="887" y="657"/>
                    </a:lnTo>
                    <a:lnTo>
                      <a:pt x="886" y="657"/>
                    </a:lnTo>
                    <a:lnTo>
                      <a:pt x="886" y="658"/>
                    </a:lnTo>
                    <a:lnTo>
                      <a:pt x="884" y="658"/>
                    </a:lnTo>
                    <a:lnTo>
                      <a:pt x="886" y="658"/>
                    </a:lnTo>
                    <a:lnTo>
                      <a:pt x="886" y="660"/>
                    </a:lnTo>
                    <a:lnTo>
                      <a:pt x="886" y="662"/>
                    </a:lnTo>
                    <a:lnTo>
                      <a:pt x="884" y="662"/>
                    </a:lnTo>
                    <a:lnTo>
                      <a:pt x="884" y="663"/>
                    </a:lnTo>
                    <a:lnTo>
                      <a:pt x="884" y="665"/>
                    </a:lnTo>
                    <a:lnTo>
                      <a:pt x="884" y="667"/>
                    </a:lnTo>
                    <a:lnTo>
                      <a:pt x="886" y="667"/>
                    </a:lnTo>
                    <a:lnTo>
                      <a:pt x="886" y="668"/>
                    </a:lnTo>
                    <a:lnTo>
                      <a:pt x="884" y="670"/>
                    </a:lnTo>
                    <a:lnTo>
                      <a:pt x="884" y="672"/>
                    </a:lnTo>
                    <a:lnTo>
                      <a:pt x="882" y="674"/>
                    </a:lnTo>
                    <a:lnTo>
                      <a:pt x="880" y="674"/>
                    </a:lnTo>
                    <a:lnTo>
                      <a:pt x="880" y="672"/>
                    </a:lnTo>
                    <a:lnTo>
                      <a:pt x="879" y="670"/>
                    </a:lnTo>
                    <a:lnTo>
                      <a:pt x="877" y="670"/>
                    </a:lnTo>
                    <a:lnTo>
                      <a:pt x="877" y="668"/>
                    </a:lnTo>
                    <a:lnTo>
                      <a:pt x="875" y="668"/>
                    </a:lnTo>
                    <a:lnTo>
                      <a:pt x="877" y="668"/>
                    </a:lnTo>
                    <a:lnTo>
                      <a:pt x="877" y="667"/>
                    </a:lnTo>
                    <a:lnTo>
                      <a:pt x="875" y="668"/>
                    </a:lnTo>
                    <a:lnTo>
                      <a:pt x="875" y="667"/>
                    </a:lnTo>
                    <a:lnTo>
                      <a:pt x="874" y="665"/>
                    </a:lnTo>
                    <a:lnTo>
                      <a:pt x="872" y="665"/>
                    </a:lnTo>
                    <a:lnTo>
                      <a:pt x="872" y="663"/>
                    </a:lnTo>
                    <a:lnTo>
                      <a:pt x="870" y="662"/>
                    </a:lnTo>
                    <a:lnTo>
                      <a:pt x="869" y="660"/>
                    </a:lnTo>
                    <a:lnTo>
                      <a:pt x="867" y="658"/>
                    </a:lnTo>
                    <a:lnTo>
                      <a:pt x="867" y="657"/>
                    </a:lnTo>
                    <a:lnTo>
                      <a:pt x="865" y="657"/>
                    </a:lnTo>
                    <a:lnTo>
                      <a:pt x="865" y="655"/>
                    </a:lnTo>
                    <a:lnTo>
                      <a:pt x="863" y="655"/>
                    </a:lnTo>
                    <a:lnTo>
                      <a:pt x="863" y="653"/>
                    </a:lnTo>
                    <a:lnTo>
                      <a:pt x="862" y="653"/>
                    </a:lnTo>
                    <a:lnTo>
                      <a:pt x="862" y="651"/>
                    </a:lnTo>
                    <a:lnTo>
                      <a:pt x="860" y="651"/>
                    </a:lnTo>
                    <a:lnTo>
                      <a:pt x="860" y="650"/>
                    </a:lnTo>
                    <a:lnTo>
                      <a:pt x="858" y="650"/>
                    </a:lnTo>
                    <a:lnTo>
                      <a:pt x="858" y="648"/>
                    </a:lnTo>
                    <a:lnTo>
                      <a:pt x="857" y="648"/>
                    </a:lnTo>
                    <a:lnTo>
                      <a:pt x="857" y="646"/>
                    </a:lnTo>
                    <a:lnTo>
                      <a:pt x="855" y="646"/>
                    </a:lnTo>
                    <a:lnTo>
                      <a:pt x="855" y="645"/>
                    </a:lnTo>
                    <a:lnTo>
                      <a:pt x="853" y="645"/>
                    </a:lnTo>
                    <a:lnTo>
                      <a:pt x="853" y="643"/>
                    </a:lnTo>
                    <a:lnTo>
                      <a:pt x="852" y="643"/>
                    </a:lnTo>
                    <a:lnTo>
                      <a:pt x="850" y="641"/>
                    </a:lnTo>
                    <a:lnTo>
                      <a:pt x="848" y="640"/>
                    </a:lnTo>
                    <a:lnTo>
                      <a:pt x="846" y="638"/>
                    </a:lnTo>
                    <a:lnTo>
                      <a:pt x="845" y="638"/>
                    </a:lnTo>
                    <a:lnTo>
                      <a:pt x="845" y="636"/>
                    </a:lnTo>
                    <a:lnTo>
                      <a:pt x="843" y="636"/>
                    </a:lnTo>
                    <a:lnTo>
                      <a:pt x="843" y="634"/>
                    </a:lnTo>
                    <a:lnTo>
                      <a:pt x="841" y="634"/>
                    </a:lnTo>
                    <a:lnTo>
                      <a:pt x="841" y="633"/>
                    </a:lnTo>
                    <a:lnTo>
                      <a:pt x="840" y="633"/>
                    </a:lnTo>
                    <a:lnTo>
                      <a:pt x="838" y="631"/>
                    </a:lnTo>
                    <a:lnTo>
                      <a:pt x="836" y="629"/>
                    </a:lnTo>
                    <a:lnTo>
                      <a:pt x="835" y="629"/>
                    </a:lnTo>
                    <a:lnTo>
                      <a:pt x="835" y="628"/>
                    </a:lnTo>
                    <a:lnTo>
                      <a:pt x="833" y="628"/>
                    </a:lnTo>
                    <a:lnTo>
                      <a:pt x="831" y="626"/>
                    </a:lnTo>
                    <a:lnTo>
                      <a:pt x="829" y="626"/>
                    </a:lnTo>
                    <a:lnTo>
                      <a:pt x="829" y="624"/>
                    </a:lnTo>
                    <a:lnTo>
                      <a:pt x="828" y="624"/>
                    </a:lnTo>
                    <a:lnTo>
                      <a:pt x="826" y="624"/>
                    </a:lnTo>
                    <a:lnTo>
                      <a:pt x="826" y="623"/>
                    </a:lnTo>
                    <a:lnTo>
                      <a:pt x="824" y="623"/>
                    </a:lnTo>
                    <a:lnTo>
                      <a:pt x="823" y="623"/>
                    </a:lnTo>
                    <a:lnTo>
                      <a:pt x="821" y="623"/>
                    </a:lnTo>
                    <a:lnTo>
                      <a:pt x="821" y="621"/>
                    </a:lnTo>
                    <a:lnTo>
                      <a:pt x="819" y="621"/>
                    </a:lnTo>
                    <a:lnTo>
                      <a:pt x="818" y="621"/>
                    </a:lnTo>
                    <a:lnTo>
                      <a:pt x="818" y="619"/>
                    </a:lnTo>
                    <a:lnTo>
                      <a:pt x="816" y="619"/>
                    </a:lnTo>
                    <a:lnTo>
                      <a:pt x="814" y="619"/>
                    </a:lnTo>
                    <a:lnTo>
                      <a:pt x="814" y="617"/>
                    </a:lnTo>
                    <a:lnTo>
                      <a:pt x="812" y="617"/>
                    </a:lnTo>
                    <a:lnTo>
                      <a:pt x="811" y="617"/>
                    </a:lnTo>
                    <a:lnTo>
                      <a:pt x="809" y="617"/>
                    </a:lnTo>
                    <a:lnTo>
                      <a:pt x="809" y="616"/>
                    </a:lnTo>
                    <a:lnTo>
                      <a:pt x="807" y="616"/>
                    </a:lnTo>
                    <a:lnTo>
                      <a:pt x="806" y="616"/>
                    </a:lnTo>
                    <a:lnTo>
                      <a:pt x="804" y="616"/>
                    </a:lnTo>
                    <a:lnTo>
                      <a:pt x="802" y="616"/>
                    </a:lnTo>
                    <a:lnTo>
                      <a:pt x="801" y="616"/>
                    </a:lnTo>
                    <a:lnTo>
                      <a:pt x="799" y="616"/>
                    </a:lnTo>
                    <a:lnTo>
                      <a:pt x="797" y="616"/>
                    </a:lnTo>
                    <a:lnTo>
                      <a:pt x="795" y="614"/>
                    </a:lnTo>
                    <a:lnTo>
                      <a:pt x="794" y="614"/>
                    </a:lnTo>
                    <a:lnTo>
                      <a:pt x="792" y="614"/>
                    </a:lnTo>
                    <a:lnTo>
                      <a:pt x="792" y="616"/>
                    </a:lnTo>
                    <a:lnTo>
                      <a:pt x="790" y="616"/>
                    </a:lnTo>
                    <a:lnTo>
                      <a:pt x="787" y="616"/>
                    </a:lnTo>
                    <a:lnTo>
                      <a:pt x="785" y="616"/>
                    </a:lnTo>
                    <a:lnTo>
                      <a:pt x="784" y="616"/>
                    </a:lnTo>
                    <a:lnTo>
                      <a:pt x="782" y="616"/>
                    </a:lnTo>
                    <a:lnTo>
                      <a:pt x="782" y="617"/>
                    </a:lnTo>
                    <a:lnTo>
                      <a:pt x="782" y="616"/>
                    </a:lnTo>
                    <a:lnTo>
                      <a:pt x="782" y="617"/>
                    </a:lnTo>
                    <a:lnTo>
                      <a:pt x="780" y="617"/>
                    </a:lnTo>
                    <a:lnTo>
                      <a:pt x="778" y="617"/>
                    </a:lnTo>
                    <a:lnTo>
                      <a:pt x="778" y="619"/>
                    </a:lnTo>
                    <a:lnTo>
                      <a:pt x="777" y="619"/>
                    </a:lnTo>
                    <a:lnTo>
                      <a:pt x="775" y="621"/>
                    </a:lnTo>
                    <a:lnTo>
                      <a:pt x="777" y="621"/>
                    </a:lnTo>
                    <a:lnTo>
                      <a:pt x="775" y="623"/>
                    </a:lnTo>
                    <a:lnTo>
                      <a:pt x="773" y="623"/>
                    </a:lnTo>
                    <a:lnTo>
                      <a:pt x="772" y="623"/>
                    </a:lnTo>
                    <a:lnTo>
                      <a:pt x="772" y="624"/>
                    </a:lnTo>
                    <a:lnTo>
                      <a:pt x="770" y="624"/>
                    </a:lnTo>
                    <a:lnTo>
                      <a:pt x="768" y="624"/>
                    </a:lnTo>
                    <a:lnTo>
                      <a:pt x="767" y="624"/>
                    </a:lnTo>
                    <a:lnTo>
                      <a:pt x="767" y="626"/>
                    </a:lnTo>
                    <a:lnTo>
                      <a:pt x="765" y="626"/>
                    </a:lnTo>
                    <a:lnTo>
                      <a:pt x="763" y="626"/>
                    </a:lnTo>
                    <a:lnTo>
                      <a:pt x="763" y="628"/>
                    </a:lnTo>
                    <a:lnTo>
                      <a:pt x="761" y="628"/>
                    </a:lnTo>
                    <a:lnTo>
                      <a:pt x="760" y="628"/>
                    </a:lnTo>
                    <a:lnTo>
                      <a:pt x="758" y="628"/>
                    </a:lnTo>
                    <a:lnTo>
                      <a:pt x="756" y="628"/>
                    </a:lnTo>
                    <a:lnTo>
                      <a:pt x="756" y="629"/>
                    </a:lnTo>
                    <a:lnTo>
                      <a:pt x="755" y="629"/>
                    </a:lnTo>
                    <a:lnTo>
                      <a:pt x="753" y="629"/>
                    </a:lnTo>
                    <a:lnTo>
                      <a:pt x="753" y="631"/>
                    </a:lnTo>
                    <a:lnTo>
                      <a:pt x="751" y="631"/>
                    </a:lnTo>
                    <a:lnTo>
                      <a:pt x="750" y="631"/>
                    </a:lnTo>
                    <a:lnTo>
                      <a:pt x="750" y="633"/>
                    </a:lnTo>
                    <a:lnTo>
                      <a:pt x="748" y="633"/>
                    </a:lnTo>
                    <a:lnTo>
                      <a:pt x="746" y="633"/>
                    </a:lnTo>
                    <a:lnTo>
                      <a:pt x="744" y="633"/>
                    </a:lnTo>
                    <a:lnTo>
                      <a:pt x="743" y="633"/>
                    </a:lnTo>
                    <a:lnTo>
                      <a:pt x="741" y="633"/>
                    </a:lnTo>
                    <a:lnTo>
                      <a:pt x="739" y="633"/>
                    </a:lnTo>
                    <a:lnTo>
                      <a:pt x="739" y="634"/>
                    </a:lnTo>
                    <a:lnTo>
                      <a:pt x="738" y="634"/>
                    </a:lnTo>
                    <a:lnTo>
                      <a:pt x="736" y="634"/>
                    </a:lnTo>
                    <a:lnTo>
                      <a:pt x="734" y="634"/>
                    </a:lnTo>
                    <a:lnTo>
                      <a:pt x="734" y="633"/>
                    </a:lnTo>
                    <a:lnTo>
                      <a:pt x="733" y="633"/>
                    </a:lnTo>
                    <a:lnTo>
                      <a:pt x="731" y="633"/>
                    </a:lnTo>
                    <a:lnTo>
                      <a:pt x="729" y="633"/>
                    </a:lnTo>
                    <a:lnTo>
                      <a:pt x="729" y="631"/>
                    </a:lnTo>
                    <a:lnTo>
                      <a:pt x="727" y="631"/>
                    </a:lnTo>
                    <a:lnTo>
                      <a:pt x="726" y="631"/>
                    </a:lnTo>
                    <a:lnTo>
                      <a:pt x="724" y="631"/>
                    </a:lnTo>
                    <a:lnTo>
                      <a:pt x="724" y="629"/>
                    </a:lnTo>
                    <a:lnTo>
                      <a:pt x="722" y="629"/>
                    </a:lnTo>
                    <a:lnTo>
                      <a:pt x="721" y="629"/>
                    </a:lnTo>
                    <a:lnTo>
                      <a:pt x="719" y="628"/>
                    </a:lnTo>
                    <a:lnTo>
                      <a:pt x="717" y="628"/>
                    </a:lnTo>
                    <a:lnTo>
                      <a:pt x="717" y="626"/>
                    </a:lnTo>
                    <a:lnTo>
                      <a:pt x="716" y="626"/>
                    </a:lnTo>
                    <a:lnTo>
                      <a:pt x="714" y="626"/>
                    </a:lnTo>
                    <a:lnTo>
                      <a:pt x="714" y="624"/>
                    </a:lnTo>
                    <a:lnTo>
                      <a:pt x="712" y="624"/>
                    </a:lnTo>
                    <a:lnTo>
                      <a:pt x="710" y="624"/>
                    </a:lnTo>
                    <a:lnTo>
                      <a:pt x="709" y="624"/>
                    </a:lnTo>
                    <a:lnTo>
                      <a:pt x="707" y="624"/>
                    </a:lnTo>
                    <a:lnTo>
                      <a:pt x="705" y="624"/>
                    </a:lnTo>
                    <a:lnTo>
                      <a:pt x="704" y="624"/>
                    </a:lnTo>
                    <a:lnTo>
                      <a:pt x="704" y="623"/>
                    </a:lnTo>
                    <a:lnTo>
                      <a:pt x="704" y="624"/>
                    </a:lnTo>
                    <a:lnTo>
                      <a:pt x="704" y="623"/>
                    </a:lnTo>
                    <a:lnTo>
                      <a:pt x="702" y="624"/>
                    </a:lnTo>
                    <a:lnTo>
                      <a:pt x="700" y="623"/>
                    </a:lnTo>
                    <a:lnTo>
                      <a:pt x="699" y="623"/>
                    </a:lnTo>
                    <a:lnTo>
                      <a:pt x="699" y="624"/>
                    </a:lnTo>
                    <a:lnTo>
                      <a:pt x="697" y="624"/>
                    </a:lnTo>
                    <a:lnTo>
                      <a:pt x="697" y="623"/>
                    </a:lnTo>
                    <a:lnTo>
                      <a:pt x="695" y="623"/>
                    </a:lnTo>
                    <a:lnTo>
                      <a:pt x="693" y="623"/>
                    </a:lnTo>
                    <a:lnTo>
                      <a:pt x="692" y="621"/>
                    </a:lnTo>
                    <a:lnTo>
                      <a:pt x="690" y="621"/>
                    </a:lnTo>
                    <a:lnTo>
                      <a:pt x="690" y="619"/>
                    </a:lnTo>
                    <a:lnTo>
                      <a:pt x="688" y="619"/>
                    </a:lnTo>
                    <a:lnTo>
                      <a:pt x="688" y="617"/>
                    </a:lnTo>
                    <a:lnTo>
                      <a:pt x="687" y="617"/>
                    </a:lnTo>
                    <a:lnTo>
                      <a:pt x="685" y="617"/>
                    </a:lnTo>
                    <a:lnTo>
                      <a:pt x="685" y="616"/>
                    </a:lnTo>
                    <a:lnTo>
                      <a:pt x="683" y="616"/>
                    </a:lnTo>
                    <a:lnTo>
                      <a:pt x="682" y="616"/>
                    </a:lnTo>
                    <a:lnTo>
                      <a:pt x="682" y="614"/>
                    </a:lnTo>
                    <a:lnTo>
                      <a:pt x="680" y="614"/>
                    </a:lnTo>
                    <a:lnTo>
                      <a:pt x="678" y="614"/>
                    </a:lnTo>
                    <a:lnTo>
                      <a:pt x="676" y="614"/>
                    </a:lnTo>
                    <a:lnTo>
                      <a:pt x="676" y="612"/>
                    </a:lnTo>
                    <a:lnTo>
                      <a:pt x="675" y="612"/>
                    </a:lnTo>
                    <a:lnTo>
                      <a:pt x="673" y="612"/>
                    </a:lnTo>
                    <a:lnTo>
                      <a:pt x="671" y="612"/>
                    </a:lnTo>
                    <a:lnTo>
                      <a:pt x="670" y="612"/>
                    </a:lnTo>
                    <a:lnTo>
                      <a:pt x="670" y="611"/>
                    </a:lnTo>
                    <a:lnTo>
                      <a:pt x="668" y="611"/>
                    </a:lnTo>
                    <a:lnTo>
                      <a:pt x="668" y="609"/>
                    </a:lnTo>
                    <a:lnTo>
                      <a:pt x="666" y="609"/>
                    </a:lnTo>
                    <a:lnTo>
                      <a:pt x="666" y="607"/>
                    </a:lnTo>
                    <a:lnTo>
                      <a:pt x="665" y="607"/>
                    </a:lnTo>
                    <a:lnTo>
                      <a:pt x="665" y="606"/>
                    </a:lnTo>
                    <a:lnTo>
                      <a:pt x="663" y="606"/>
                    </a:lnTo>
                    <a:lnTo>
                      <a:pt x="663" y="604"/>
                    </a:lnTo>
                    <a:lnTo>
                      <a:pt x="661" y="604"/>
                    </a:lnTo>
                    <a:lnTo>
                      <a:pt x="661" y="602"/>
                    </a:lnTo>
                    <a:lnTo>
                      <a:pt x="659" y="602"/>
                    </a:lnTo>
                    <a:lnTo>
                      <a:pt x="659" y="604"/>
                    </a:lnTo>
                    <a:lnTo>
                      <a:pt x="658" y="604"/>
                    </a:lnTo>
                    <a:lnTo>
                      <a:pt x="656" y="604"/>
                    </a:lnTo>
                    <a:lnTo>
                      <a:pt x="654" y="602"/>
                    </a:lnTo>
                    <a:lnTo>
                      <a:pt x="653" y="602"/>
                    </a:lnTo>
                    <a:lnTo>
                      <a:pt x="651" y="602"/>
                    </a:lnTo>
                    <a:lnTo>
                      <a:pt x="649" y="600"/>
                    </a:lnTo>
                    <a:lnTo>
                      <a:pt x="648" y="600"/>
                    </a:lnTo>
                    <a:lnTo>
                      <a:pt x="646" y="600"/>
                    </a:lnTo>
                    <a:lnTo>
                      <a:pt x="644" y="600"/>
                    </a:lnTo>
                    <a:lnTo>
                      <a:pt x="644" y="599"/>
                    </a:lnTo>
                    <a:lnTo>
                      <a:pt x="642" y="599"/>
                    </a:lnTo>
                    <a:lnTo>
                      <a:pt x="639" y="599"/>
                    </a:lnTo>
                    <a:lnTo>
                      <a:pt x="637" y="599"/>
                    </a:lnTo>
                    <a:lnTo>
                      <a:pt x="636" y="599"/>
                    </a:lnTo>
                    <a:lnTo>
                      <a:pt x="634" y="599"/>
                    </a:lnTo>
                    <a:lnTo>
                      <a:pt x="632" y="599"/>
                    </a:lnTo>
                    <a:lnTo>
                      <a:pt x="632" y="597"/>
                    </a:lnTo>
                    <a:lnTo>
                      <a:pt x="631" y="597"/>
                    </a:lnTo>
                    <a:lnTo>
                      <a:pt x="629" y="597"/>
                    </a:lnTo>
                    <a:lnTo>
                      <a:pt x="627" y="595"/>
                    </a:lnTo>
                    <a:lnTo>
                      <a:pt x="625" y="595"/>
                    </a:lnTo>
                    <a:lnTo>
                      <a:pt x="625" y="594"/>
                    </a:lnTo>
                    <a:lnTo>
                      <a:pt x="624" y="594"/>
                    </a:lnTo>
                    <a:lnTo>
                      <a:pt x="625" y="594"/>
                    </a:lnTo>
                    <a:lnTo>
                      <a:pt x="624" y="592"/>
                    </a:lnTo>
                    <a:lnTo>
                      <a:pt x="622" y="592"/>
                    </a:lnTo>
                    <a:lnTo>
                      <a:pt x="624" y="594"/>
                    </a:lnTo>
                    <a:lnTo>
                      <a:pt x="622" y="594"/>
                    </a:lnTo>
                    <a:lnTo>
                      <a:pt x="622" y="592"/>
                    </a:lnTo>
                    <a:lnTo>
                      <a:pt x="620" y="590"/>
                    </a:lnTo>
                    <a:lnTo>
                      <a:pt x="619" y="590"/>
                    </a:lnTo>
                    <a:lnTo>
                      <a:pt x="617" y="589"/>
                    </a:lnTo>
                    <a:lnTo>
                      <a:pt x="615" y="589"/>
                    </a:lnTo>
                    <a:lnTo>
                      <a:pt x="614" y="589"/>
                    </a:lnTo>
                    <a:lnTo>
                      <a:pt x="612" y="587"/>
                    </a:lnTo>
                    <a:lnTo>
                      <a:pt x="610" y="587"/>
                    </a:lnTo>
                    <a:lnTo>
                      <a:pt x="608" y="587"/>
                    </a:lnTo>
                    <a:lnTo>
                      <a:pt x="608" y="585"/>
                    </a:lnTo>
                    <a:lnTo>
                      <a:pt x="607" y="585"/>
                    </a:lnTo>
                    <a:lnTo>
                      <a:pt x="605" y="585"/>
                    </a:lnTo>
                    <a:lnTo>
                      <a:pt x="603" y="585"/>
                    </a:lnTo>
                    <a:lnTo>
                      <a:pt x="603" y="583"/>
                    </a:lnTo>
                    <a:lnTo>
                      <a:pt x="602" y="583"/>
                    </a:lnTo>
                    <a:lnTo>
                      <a:pt x="600" y="583"/>
                    </a:lnTo>
                    <a:lnTo>
                      <a:pt x="598" y="583"/>
                    </a:lnTo>
                    <a:lnTo>
                      <a:pt x="598" y="582"/>
                    </a:lnTo>
                    <a:lnTo>
                      <a:pt x="597" y="582"/>
                    </a:lnTo>
                    <a:lnTo>
                      <a:pt x="595" y="582"/>
                    </a:lnTo>
                    <a:lnTo>
                      <a:pt x="593" y="582"/>
                    </a:lnTo>
                    <a:lnTo>
                      <a:pt x="593" y="580"/>
                    </a:lnTo>
                    <a:lnTo>
                      <a:pt x="591" y="580"/>
                    </a:lnTo>
                    <a:lnTo>
                      <a:pt x="590" y="580"/>
                    </a:lnTo>
                    <a:lnTo>
                      <a:pt x="588" y="578"/>
                    </a:lnTo>
                    <a:lnTo>
                      <a:pt x="586" y="578"/>
                    </a:lnTo>
                    <a:lnTo>
                      <a:pt x="585" y="578"/>
                    </a:lnTo>
                    <a:lnTo>
                      <a:pt x="585" y="577"/>
                    </a:lnTo>
                    <a:lnTo>
                      <a:pt x="583" y="575"/>
                    </a:lnTo>
                    <a:lnTo>
                      <a:pt x="581" y="575"/>
                    </a:lnTo>
                    <a:lnTo>
                      <a:pt x="581" y="573"/>
                    </a:lnTo>
                    <a:lnTo>
                      <a:pt x="580" y="573"/>
                    </a:lnTo>
                    <a:lnTo>
                      <a:pt x="580" y="572"/>
                    </a:lnTo>
                    <a:lnTo>
                      <a:pt x="578" y="572"/>
                    </a:lnTo>
                    <a:lnTo>
                      <a:pt x="576" y="572"/>
                    </a:lnTo>
                    <a:lnTo>
                      <a:pt x="576" y="570"/>
                    </a:lnTo>
                    <a:lnTo>
                      <a:pt x="574" y="570"/>
                    </a:lnTo>
                    <a:lnTo>
                      <a:pt x="573" y="570"/>
                    </a:lnTo>
                    <a:lnTo>
                      <a:pt x="573" y="568"/>
                    </a:lnTo>
                    <a:lnTo>
                      <a:pt x="571" y="568"/>
                    </a:lnTo>
                    <a:lnTo>
                      <a:pt x="571" y="566"/>
                    </a:lnTo>
                    <a:lnTo>
                      <a:pt x="569" y="565"/>
                    </a:lnTo>
                    <a:lnTo>
                      <a:pt x="568" y="565"/>
                    </a:lnTo>
                    <a:lnTo>
                      <a:pt x="566" y="565"/>
                    </a:lnTo>
                    <a:lnTo>
                      <a:pt x="566" y="563"/>
                    </a:lnTo>
                    <a:lnTo>
                      <a:pt x="564" y="563"/>
                    </a:lnTo>
                    <a:lnTo>
                      <a:pt x="564" y="561"/>
                    </a:lnTo>
                    <a:lnTo>
                      <a:pt x="563" y="561"/>
                    </a:lnTo>
                    <a:lnTo>
                      <a:pt x="563" y="560"/>
                    </a:lnTo>
                    <a:lnTo>
                      <a:pt x="561" y="560"/>
                    </a:lnTo>
                    <a:lnTo>
                      <a:pt x="561" y="558"/>
                    </a:lnTo>
                    <a:lnTo>
                      <a:pt x="559" y="556"/>
                    </a:lnTo>
                    <a:lnTo>
                      <a:pt x="557" y="555"/>
                    </a:lnTo>
                    <a:lnTo>
                      <a:pt x="556" y="555"/>
                    </a:lnTo>
                    <a:lnTo>
                      <a:pt x="554" y="553"/>
                    </a:lnTo>
                    <a:lnTo>
                      <a:pt x="552" y="553"/>
                    </a:lnTo>
                    <a:lnTo>
                      <a:pt x="551" y="553"/>
                    </a:lnTo>
                    <a:lnTo>
                      <a:pt x="549" y="553"/>
                    </a:lnTo>
                    <a:lnTo>
                      <a:pt x="547" y="553"/>
                    </a:lnTo>
                    <a:lnTo>
                      <a:pt x="547" y="555"/>
                    </a:lnTo>
                    <a:lnTo>
                      <a:pt x="546" y="555"/>
                    </a:lnTo>
                    <a:lnTo>
                      <a:pt x="547" y="553"/>
                    </a:lnTo>
                    <a:lnTo>
                      <a:pt x="546" y="555"/>
                    </a:lnTo>
                    <a:lnTo>
                      <a:pt x="546" y="553"/>
                    </a:lnTo>
                    <a:lnTo>
                      <a:pt x="546" y="555"/>
                    </a:lnTo>
                    <a:lnTo>
                      <a:pt x="547" y="555"/>
                    </a:lnTo>
                    <a:lnTo>
                      <a:pt x="546" y="555"/>
                    </a:lnTo>
                    <a:lnTo>
                      <a:pt x="544" y="555"/>
                    </a:lnTo>
                    <a:lnTo>
                      <a:pt x="544" y="553"/>
                    </a:lnTo>
                    <a:lnTo>
                      <a:pt x="542" y="553"/>
                    </a:lnTo>
                    <a:lnTo>
                      <a:pt x="540" y="553"/>
                    </a:lnTo>
                    <a:lnTo>
                      <a:pt x="539" y="553"/>
                    </a:lnTo>
                    <a:lnTo>
                      <a:pt x="539" y="551"/>
                    </a:lnTo>
                    <a:lnTo>
                      <a:pt x="537" y="551"/>
                    </a:lnTo>
                    <a:lnTo>
                      <a:pt x="535" y="551"/>
                    </a:lnTo>
                    <a:lnTo>
                      <a:pt x="534" y="551"/>
                    </a:lnTo>
                    <a:lnTo>
                      <a:pt x="532" y="549"/>
                    </a:lnTo>
                    <a:lnTo>
                      <a:pt x="530" y="549"/>
                    </a:lnTo>
                    <a:lnTo>
                      <a:pt x="529" y="549"/>
                    </a:lnTo>
                    <a:lnTo>
                      <a:pt x="527" y="549"/>
                    </a:lnTo>
                    <a:lnTo>
                      <a:pt x="525" y="549"/>
                    </a:lnTo>
                    <a:lnTo>
                      <a:pt x="525" y="548"/>
                    </a:lnTo>
                    <a:lnTo>
                      <a:pt x="523" y="548"/>
                    </a:lnTo>
                    <a:lnTo>
                      <a:pt x="522" y="548"/>
                    </a:lnTo>
                    <a:lnTo>
                      <a:pt x="522" y="546"/>
                    </a:lnTo>
                    <a:lnTo>
                      <a:pt x="520" y="546"/>
                    </a:lnTo>
                    <a:lnTo>
                      <a:pt x="518" y="546"/>
                    </a:lnTo>
                    <a:lnTo>
                      <a:pt x="518" y="544"/>
                    </a:lnTo>
                    <a:lnTo>
                      <a:pt x="517" y="544"/>
                    </a:lnTo>
                    <a:lnTo>
                      <a:pt x="515" y="544"/>
                    </a:lnTo>
                    <a:lnTo>
                      <a:pt x="513" y="544"/>
                    </a:lnTo>
                    <a:lnTo>
                      <a:pt x="512" y="544"/>
                    </a:lnTo>
                    <a:lnTo>
                      <a:pt x="512" y="543"/>
                    </a:lnTo>
                    <a:lnTo>
                      <a:pt x="510" y="544"/>
                    </a:lnTo>
                    <a:lnTo>
                      <a:pt x="510" y="543"/>
                    </a:lnTo>
                    <a:lnTo>
                      <a:pt x="508" y="543"/>
                    </a:lnTo>
                    <a:lnTo>
                      <a:pt x="506" y="543"/>
                    </a:lnTo>
                    <a:lnTo>
                      <a:pt x="506" y="541"/>
                    </a:lnTo>
                    <a:lnTo>
                      <a:pt x="505" y="541"/>
                    </a:lnTo>
                    <a:lnTo>
                      <a:pt x="503" y="541"/>
                    </a:lnTo>
                    <a:lnTo>
                      <a:pt x="503" y="539"/>
                    </a:lnTo>
                    <a:lnTo>
                      <a:pt x="501" y="539"/>
                    </a:lnTo>
                    <a:lnTo>
                      <a:pt x="501" y="538"/>
                    </a:lnTo>
                    <a:lnTo>
                      <a:pt x="500" y="538"/>
                    </a:lnTo>
                    <a:lnTo>
                      <a:pt x="500" y="536"/>
                    </a:lnTo>
                    <a:lnTo>
                      <a:pt x="500" y="534"/>
                    </a:lnTo>
                    <a:lnTo>
                      <a:pt x="498" y="534"/>
                    </a:lnTo>
                    <a:lnTo>
                      <a:pt x="498" y="532"/>
                    </a:lnTo>
                    <a:lnTo>
                      <a:pt x="496" y="532"/>
                    </a:lnTo>
                    <a:lnTo>
                      <a:pt x="496" y="531"/>
                    </a:lnTo>
                    <a:lnTo>
                      <a:pt x="495" y="531"/>
                    </a:lnTo>
                    <a:lnTo>
                      <a:pt x="496" y="529"/>
                    </a:lnTo>
                    <a:lnTo>
                      <a:pt x="495" y="529"/>
                    </a:lnTo>
                    <a:lnTo>
                      <a:pt x="495" y="527"/>
                    </a:lnTo>
                    <a:lnTo>
                      <a:pt x="493" y="527"/>
                    </a:lnTo>
                    <a:lnTo>
                      <a:pt x="493" y="526"/>
                    </a:lnTo>
                    <a:lnTo>
                      <a:pt x="491" y="526"/>
                    </a:lnTo>
                    <a:lnTo>
                      <a:pt x="491" y="524"/>
                    </a:lnTo>
                    <a:lnTo>
                      <a:pt x="489" y="524"/>
                    </a:lnTo>
                    <a:lnTo>
                      <a:pt x="488" y="522"/>
                    </a:lnTo>
                    <a:lnTo>
                      <a:pt x="486" y="522"/>
                    </a:lnTo>
                    <a:lnTo>
                      <a:pt x="486" y="520"/>
                    </a:lnTo>
                    <a:lnTo>
                      <a:pt x="484" y="520"/>
                    </a:lnTo>
                    <a:lnTo>
                      <a:pt x="483" y="519"/>
                    </a:lnTo>
                    <a:lnTo>
                      <a:pt x="481" y="519"/>
                    </a:lnTo>
                    <a:lnTo>
                      <a:pt x="479" y="517"/>
                    </a:lnTo>
                    <a:lnTo>
                      <a:pt x="478" y="517"/>
                    </a:lnTo>
                    <a:lnTo>
                      <a:pt x="476" y="515"/>
                    </a:lnTo>
                    <a:lnTo>
                      <a:pt x="474" y="515"/>
                    </a:lnTo>
                    <a:lnTo>
                      <a:pt x="474" y="514"/>
                    </a:lnTo>
                    <a:lnTo>
                      <a:pt x="474" y="512"/>
                    </a:lnTo>
                    <a:lnTo>
                      <a:pt x="472" y="512"/>
                    </a:lnTo>
                    <a:lnTo>
                      <a:pt x="471" y="512"/>
                    </a:lnTo>
                    <a:lnTo>
                      <a:pt x="471" y="514"/>
                    </a:lnTo>
                    <a:lnTo>
                      <a:pt x="471" y="512"/>
                    </a:lnTo>
                    <a:lnTo>
                      <a:pt x="471" y="514"/>
                    </a:lnTo>
                    <a:lnTo>
                      <a:pt x="469" y="512"/>
                    </a:lnTo>
                    <a:lnTo>
                      <a:pt x="467" y="512"/>
                    </a:lnTo>
                    <a:lnTo>
                      <a:pt x="467" y="510"/>
                    </a:lnTo>
                    <a:lnTo>
                      <a:pt x="466" y="510"/>
                    </a:lnTo>
                    <a:lnTo>
                      <a:pt x="464" y="510"/>
                    </a:lnTo>
                    <a:lnTo>
                      <a:pt x="462" y="510"/>
                    </a:lnTo>
                    <a:lnTo>
                      <a:pt x="461" y="510"/>
                    </a:lnTo>
                    <a:lnTo>
                      <a:pt x="462" y="509"/>
                    </a:lnTo>
                    <a:lnTo>
                      <a:pt x="461" y="509"/>
                    </a:lnTo>
                    <a:lnTo>
                      <a:pt x="461" y="507"/>
                    </a:lnTo>
                    <a:lnTo>
                      <a:pt x="459" y="509"/>
                    </a:lnTo>
                    <a:lnTo>
                      <a:pt x="459" y="507"/>
                    </a:lnTo>
                    <a:lnTo>
                      <a:pt x="457" y="509"/>
                    </a:lnTo>
                    <a:lnTo>
                      <a:pt x="457" y="507"/>
                    </a:lnTo>
                    <a:lnTo>
                      <a:pt x="459" y="505"/>
                    </a:lnTo>
                    <a:lnTo>
                      <a:pt x="457" y="505"/>
                    </a:lnTo>
                    <a:lnTo>
                      <a:pt x="455" y="505"/>
                    </a:lnTo>
                    <a:lnTo>
                      <a:pt x="455" y="507"/>
                    </a:lnTo>
                    <a:lnTo>
                      <a:pt x="455" y="505"/>
                    </a:lnTo>
                    <a:lnTo>
                      <a:pt x="454" y="505"/>
                    </a:lnTo>
                    <a:lnTo>
                      <a:pt x="452" y="505"/>
                    </a:lnTo>
                    <a:lnTo>
                      <a:pt x="452" y="503"/>
                    </a:lnTo>
                    <a:lnTo>
                      <a:pt x="450" y="502"/>
                    </a:lnTo>
                    <a:lnTo>
                      <a:pt x="450" y="500"/>
                    </a:lnTo>
                    <a:lnTo>
                      <a:pt x="449" y="500"/>
                    </a:lnTo>
                    <a:lnTo>
                      <a:pt x="449" y="498"/>
                    </a:lnTo>
                    <a:lnTo>
                      <a:pt x="449" y="497"/>
                    </a:lnTo>
                    <a:lnTo>
                      <a:pt x="447" y="495"/>
                    </a:lnTo>
                    <a:lnTo>
                      <a:pt x="445" y="495"/>
                    </a:lnTo>
                    <a:lnTo>
                      <a:pt x="445" y="493"/>
                    </a:lnTo>
                    <a:lnTo>
                      <a:pt x="444" y="493"/>
                    </a:lnTo>
                    <a:lnTo>
                      <a:pt x="444" y="492"/>
                    </a:lnTo>
                    <a:lnTo>
                      <a:pt x="442" y="492"/>
                    </a:lnTo>
                    <a:lnTo>
                      <a:pt x="442" y="490"/>
                    </a:lnTo>
                    <a:lnTo>
                      <a:pt x="440" y="490"/>
                    </a:lnTo>
                    <a:lnTo>
                      <a:pt x="440" y="488"/>
                    </a:lnTo>
                    <a:lnTo>
                      <a:pt x="440" y="486"/>
                    </a:lnTo>
                    <a:lnTo>
                      <a:pt x="438" y="486"/>
                    </a:lnTo>
                    <a:lnTo>
                      <a:pt x="438" y="485"/>
                    </a:lnTo>
                    <a:lnTo>
                      <a:pt x="437" y="485"/>
                    </a:lnTo>
                    <a:lnTo>
                      <a:pt x="437" y="483"/>
                    </a:lnTo>
                    <a:lnTo>
                      <a:pt x="435" y="483"/>
                    </a:lnTo>
                    <a:lnTo>
                      <a:pt x="435" y="481"/>
                    </a:lnTo>
                    <a:lnTo>
                      <a:pt x="435" y="480"/>
                    </a:lnTo>
                    <a:lnTo>
                      <a:pt x="433" y="480"/>
                    </a:lnTo>
                    <a:lnTo>
                      <a:pt x="433" y="478"/>
                    </a:lnTo>
                    <a:lnTo>
                      <a:pt x="433" y="476"/>
                    </a:lnTo>
                    <a:lnTo>
                      <a:pt x="433" y="475"/>
                    </a:lnTo>
                    <a:lnTo>
                      <a:pt x="433" y="473"/>
                    </a:lnTo>
                    <a:lnTo>
                      <a:pt x="432" y="473"/>
                    </a:lnTo>
                    <a:lnTo>
                      <a:pt x="432" y="471"/>
                    </a:lnTo>
                    <a:lnTo>
                      <a:pt x="430" y="469"/>
                    </a:lnTo>
                    <a:lnTo>
                      <a:pt x="428" y="469"/>
                    </a:lnTo>
                    <a:lnTo>
                      <a:pt x="428" y="468"/>
                    </a:lnTo>
                    <a:lnTo>
                      <a:pt x="428" y="466"/>
                    </a:lnTo>
                    <a:lnTo>
                      <a:pt x="428" y="464"/>
                    </a:lnTo>
                    <a:lnTo>
                      <a:pt x="430" y="464"/>
                    </a:lnTo>
                    <a:lnTo>
                      <a:pt x="430" y="463"/>
                    </a:lnTo>
                    <a:lnTo>
                      <a:pt x="432" y="463"/>
                    </a:lnTo>
                    <a:lnTo>
                      <a:pt x="433" y="463"/>
                    </a:lnTo>
                    <a:lnTo>
                      <a:pt x="435" y="463"/>
                    </a:lnTo>
                    <a:lnTo>
                      <a:pt x="437" y="463"/>
                    </a:lnTo>
                    <a:lnTo>
                      <a:pt x="438" y="463"/>
                    </a:lnTo>
                    <a:lnTo>
                      <a:pt x="440" y="463"/>
                    </a:lnTo>
                    <a:lnTo>
                      <a:pt x="440" y="461"/>
                    </a:lnTo>
                    <a:lnTo>
                      <a:pt x="440" y="463"/>
                    </a:lnTo>
                    <a:lnTo>
                      <a:pt x="440" y="461"/>
                    </a:lnTo>
                    <a:lnTo>
                      <a:pt x="442" y="461"/>
                    </a:lnTo>
                    <a:lnTo>
                      <a:pt x="442" y="459"/>
                    </a:lnTo>
                    <a:lnTo>
                      <a:pt x="444" y="459"/>
                    </a:lnTo>
                    <a:lnTo>
                      <a:pt x="444" y="458"/>
                    </a:lnTo>
                    <a:lnTo>
                      <a:pt x="444" y="456"/>
                    </a:lnTo>
                    <a:lnTo>
                      <a:pt x="442" y="456"/>
                    </a:lnTo>
                    <a:lnTo>
                      <a:pt x="440" y="454"/>
                    </a:lnTo>
                    <a:lnTo>
                      <a:pt x="440" y="452"/>
                    </a:lnTo>
                    <a:lnTo>
                      <a:pt x="438" y="452"/>
                    </a:lnTo>
                    <a:lnTo>
                      <a:pt x="438" y="454"/>
                    </a:lnTo>
                    <a:lnTo>
                      <a:pt x="437" y="454"/>
                    </a:lnTo>
                    <a:lnTo>
                      <a:pt x="437" y="452"/>
                    </a:lnTo>
                    <a:lnTo>
                      <a:pt x="435" y="452"/>
                    </a:lnTo>
                    <a:lnTo>
                      <a:pt x="433" y="452"/>
                    </a:lnTo>
                    <a:lnTo>
                      <a:pt x="435" y="452"/>
                    </a:lnTo>
                    <a:lnTo>
                      <a:pt x="435" y="451"/>
                    </a:lnTo>
                    <a:lnTo>
                      <a:pt x="435" y="449"/>
                    </a:lnTo>
                    <a:lnTo>
                      <a:pt x="437" y="449"/>
                    </a:lnTo>
                    <a:lnTo>
                      <a:pt x="437" y="447"/>
                    </a:lnTo>
                    <a:lnTo>
                      <a:pt x="438" y="446"/>
                    </a:lnTo>
                    <a:lnTo>
                      <a:pt x="440" y="446"/>
                    </a:lnTo>
                    <a:lnTo>
                      <a:pt x="440" y="444"/>
                    </a:lnTo>
                    <a:lnTo>
                      <a:pt x="440" y="442"/>
                    </a:lnTo>
                    <a:lnTo>
                      <a:pt x="442" y="444"/>
                    </a:lnTo>
                    <a:lnTo>
                      <a:pt x="442" y="442"/>
                    </a:lnTo>
                    <a:lnTo>
                      <a:pt x="444" y="442"/>
                    </a:lnTo>
                    <a:lnTo>
                      <a:pt x="444" y="441"/>
                    </a:lnTo>
                    <a:lnTo>
                      <a:pt x="444" y="439"/>
                    </a:lnTo>
                    <a:lnTo>
                      <a:pt x="444" y="437"/>
                    </a:lnTo>
                    <a:lnTo>
                      <a:pt x="444" y="435"/>
                    </a:lnTo>
                    <a:lnTo>
                      <a:pt x="444" y="434"/>
                    </a:lnTo>
                    <a:lnTo>
                      <a:pt x="444" y="432"/>
                    </a:lnTo>
                    <a:lnTo>
                      <a:pt x="442" y="432"/>
                    </a:lnTo>
                    <a:lnTo>
                      <a:pt x="444" y="432"/>
                    </a:lnTo>
                    <a:lnTo>
                      <a:pt x="444" y="430"/>
                    </a:lnTo>
                    <a:lnTo>
                      <a:pt x="444" y="429"/>
                    </a:lnTo>
                    <a:lnTo>
                      <a:pt x="445" y="429"/>
                    </a:lnTo>
                    <a:lnTo>
                      <a:pt x="445" y="427"/>
                    </a:lnTo>
                    <a:lnTo>
                      <a:pt x="444" y="427"/>
                    </a:lnTo>
                    <a:lnTo>
                      <a:pt x="444" y="425"/>
                    </a:lnTo>
                    <a:lnTo>
                      <a:pt x="442" y="425"/>
                    </a:lnTo>
                    <a:lnTo>
                      <a:pt x="440" y="425"/>
                    </a:lnTo>
                    <a:lnTo>
                      <a:pt x="440" y="424"/>
                    </a:lnTo>
                    <a:lnTo>
                      <a:pt x="438" y="424"/>
                    </a:lnTo>
                    <a:lnTo>
                      <a:pt x="437" y="422"/>
                    </a:lnTo>
                    <a:lnTo>
                      <a:pt x="435" y="422"/>
                    </a:lnTo>
                    <a:lnTo>
                      <a:pt x="435" y="420"/>
                    </a:lnTo>
                    <a:lnTo>
                      <a:pt x="435" y="418"/>
                    </a:lnTo>
                    <a:lnTo>
                      <a:pt x="435" y="417"/>
                    </a:lnTo>
                    <a:lnTo>
                      <a:pt x="433" y="417"/>
                    </a:lnTo>
                    <a:lnTo>
                      <a:pt x="433" y="415"/>
                    </a:lnTo>
                    <a:lnTo>
                      <a:pt x="433" y="413"/>
                    </a:lnTo>
                    <a:lnTo>
                      <a:pt x="432" y="413"/>
                    </a:lnTo>
                    <a:lnTo>
                      <a:pt x="432" y="412"/>
                    </a:lnTo>
                    <a:lnTo>
                      <a:pt x="430" y="412"/>
                    </a:lnTo>
                    <a:lnTo>
                      <a:pt x="430" y="410"/>
                    </a:lnTo>
                    <a:lnTo>
                      <a:pt x="430" y="408"/>
                    </a:lnTo>
                    <a:lnTo>
                      <a:pt x="428" y="407"/>
                    </a:lnTo>
                    <a:lnTo>
                      <a:pt x="428" y="405"/>
                    </a:lnTo>
                    <a:lnTo>
                      <a:pt x="430" y="405"/>
                    </a:lnTo>
                    <a:lnTo>
                      <a:pt x="430" y="403"/>
                    </a:lnTo>
                    <a:lnTo>
                      <a:pt x="430" y="401"/>
                    </a:lnTo>
                    <a:lnTo>
                      <a:pt x="430" y="400"/>
                    </a:lnTo>
                    <a:lnTo>
                      <a:pt x="428" y="400"/>
                    </a:lnTo>
                    <a:lnTo>
                      <a:pt x="428" y="398"/>
                    </a:lnTo>
                    <a:lnTo>
                      <a:pt x="428" y="396"/>
                    </a:lnTo>
                    <a:lnTo>
                      <a:pt x="428" y="395"/>
                    </a:lnTo>
                    <a:lnTo>
                      <a:pt x="428" y="393"/>
                    </a:lnTo>
                    <a:lnTo>
                      <a:pt x="427" y="393"/>
                    </a:lnTo>
                    <a:lnTo>
                      <a:pt x="427" y="391"/>
                    </a:lnTo>
                    <a:lnTo>
                      <a:pt x="427" y="390"/>
                    </a:lnTo>
                    <a:lnTo>
                      <a:pt x="425" y="390"/>
                    </a:lnTo>
                    <a:lnTo>
                      <a:pt x="425" y="388"/>
                    </a:lnTo>
                    <a:lnTo>
                      <a:pt x="425" y="386"/>
                    </a:lnTo>
                    <a:lnTo>
                      <a:pt x="425" y="384"/>
                    </a:lnTo>
                    <a:lnTo>
                      <a:pt x="423" y="384"/>
                    </a:lnTo>
                    <a:lnTo>
                      <a:pt x="423" y="383"/>
                    </a:lnTo>
                    <a:lnTo>
                      <a:pt x="421" y="383"/>
                    </a:lnTo>
                    <a:lnTo>
                      <a:pt x="421" y="381"/>
                    </a:lnTo>
                    <a:lnTo>
                      <a:pt x="420" y="381"/>
                    </a:lnTo>
                    <a:lnTo>
                      <a:pt x="420" y="379"/>
                    </a:lnTo>
                    <a:lnTo>
                      <a:pt x="418" y="379"/>
                    </a:lnTo>
                    <a:lnTo>
                      <a:pt x="418" y="378"/>
                    </a:lnTo>
                    <a:lnTo>
                      <a:pt x="416" y="378"/>
                    </a:lnTo>
                    <a:lnTo>
                      <a:pt x="415" y="376"/>
                    </a:lnTo>
                    <a:lnTo>
                      <a:pt x="415" y="374"/>
                    </a:lnTo>
                    <a:lnTo>
                      <a:pt x="413" y="374"/>
                    </a:lnTo>
                    <a:lnTo>
                      <a:pt x="413" y="373"/>
                    </a:lnTo>
                    <a:lnTo>
                      <a:pt x="411" y="373"/>
                    </a:lnTo>
                    <a:lnTo>
                      <a:pt x="411" y="371"/>
                    </a:lnTo>
                    <a:lnTo>
                      <a:pt x="410" y="371"/>
                    </a:lnTo>
                    <a:lnTo>
                      <a:pt x="410" y="369"/>
                    </a:lnTo>
                    <a:lnTo>
                      <a:pt x="408" y="369"/>
                    </a:lnTo>
                    <a:lnTo>
                      <a:pt x="408" y="367"/>
                    </a:lnTo>
                    <a:lnTo>
                      <a:pt x="406" y="367"/>
                    </a:lnTo>
                    <a:lnTo>
                      <a:pt x="406" y="366"/>
                    </a:lnTo>
                    <a:lnTo>
                      <a:pt x="404" y="366"/>
                    </a:lnTo>
                    <a:lnTo>
                      <a:pt x="404" y="364"/>
                    </a:lnTo>
                    <a:lnTo>
                      <a:pt x="403" y="364"/>
                    </a:lnTo>
                    <a:lnTo>
                      <a:pt x="404" y="364"/>
                    </a:lnTo>
                    <a:lnTo>
                      <a:pt x="406" y="366"/>
                    </a:lnTo>
                    <a:lnTo>
                      <a:pt x="406" y="364"/>
                    </a:lnTo>
                    <a:lnTo>
                      <a:pt x="404" y="364"/>
                    </a:lnTo>
                    <a:lnTo>
                      <a:pt x="403" y="364"/>
                    </a:lnTo>
                    <a:lnTo>
                      <a:pt x="403" y="366"/>
                    </a:lnTo>
                    <a:lnTo>
                      <a:pt x="403" y="364"/>
                    </a:lnTo>
                    <a:lnTo>
                      <a:pt x="403" y="362"/>
                    </a:lnTo>
                    <a:lnTo>
                      <a:pt x="401" y="362"/>
                    </a:lnTo>
                    <a:lnTo>
                      <a:pt x="401" y="361"/>
                    </a:lnTo>
                    <a:lnTo>
                      <a:pt x="401" y="359"/>
                    </a:lnTo>
                    <a:lnTo>
                      <a:pt x="399" y="357"/>
                    </a:lnTo>
                    <a:lnTo>
                      <a:pt x="399" y="355"/>
                    </a:lnTo>
                    <a:lnTo>
                      <a:pt x="398" y="355"/>
                    </a:lnTo>
                    <a:lnTo>
                      <a:pt x="398" y="354"/>
                    </a:lnTo>
                    <a:lnTo>
                      <a:pt x="396" y="354"/>
                    </a:lnTo>
                    <a:lnTo>
                      <a:pt x="396" y="352"/>
                    </a:lnTo>
                    <a:lnTo>
                      <a:pt x="394" y="352"/>
                    </a:lnTo>
                    <a:lnTo>
                      <a:pt x="394" y="350"/>
                    </a:lnTo>
                    <a:lnTo>
                      <a:pt x="393" y="350"/>
                    </a:lnTo>
                    <a:lnTo>
                      <a:pt x="393" y="349"/>
                    </a:lnTo>
                    <a:lnTo>
                      <a:pt x="391" y="349"/>
                    </a:lnTo>
                    <a:lnTo>
                      <a:pt x="391" y="347"/>
                    </a:lnTo>
                    <a:lnTo>
                      <a:pt x="389" y="347"/>
                    </a:lnTo>
                    <a:lnTo>
                      <a:pt x="391" y="347"/>
                    </a:lnTo>
                    <a:lnTo>
                      <a:pt x="391" y="345"/>
                    </a:lnTo>
                    <a:lnTo>
                      <a:pt x="389" y="345"/>
                    </a:lnTo>
                    <a:lnTo>
                      <a:pt x="389" y="344"/>
                    </a:lnTo>
                    <a:lnTo>
                      <a:pt x="387" y="342"/>
                    </a:lnTo>
                    <a:lnTo>
                      <a:pt x="387" y="340"/>
                    </a:lnTo>
                    <a:lnTo>
                      <a:pt x="386" y="340"/>
                    </a:lnTo>
                    <a:lnTo>
                      <a:pt x="386" y="338"/>
                    </a:lnTo>
                    <a:lnTo>
                      <a:pt x="384" y="338"/>
                    </a:lnTo>
                    <a:lnTo>
                      <a:pt x="384" y="337"/>
                    </a:lnTo>
                    <a:lnTo>
                      <a:pt x="382" y="337"/>
                    </a:lnTo>
                    <a:lnTo>
                      <a:pt x="382" y="335"/>
                    </a:lnTo>
                    <a:lnTo>
                      <a:pt x="381" y="333"/>
                    </a:lnTo>
                    <a:lnTo>
                      <a:pt x="379" y="333"/>
                    </a:lnTo>
                    <a:lnTo>
                      <a:pt x="379" y="332"/>
                    </a:lnTo>
                    <a:lnTo>
                      <a:pt x="377" y="332"/>
                    </a:lnTo>
                    <a:lnTo>
                      <a:pt x="377" y="330"/>
                    </a:lnTo>
                    <a:lnTo>
                      <a:pt x="376" y="330"/>
                    </a:lnTo>
                    <a:lnTo>
                      <a:pt x="374" y="328"/>
                    </a:lnTo>
                    <a:lnTo>
                      <a:pt x="372" y="328"/>
                    </a:lnTo>
                    <a:lnTo>
                      <a:pt x="372" y="327"/>
                    </a:lnTo>
                    <a:lnTo>
                      <a:pt x="370" y="327"/>
                    </a:lnTo>
                    <a:lnTo>
                      <a:pt x="370" y="325"/>
                    </a:lnTo>
                    <a:lnTo>
                      <a:pt x="369" y="325"/>
                    </a:lnTo>
                    <a:lnTo>
                      <a:pt x="367" y="323"/>
                    </a:lnTo>
                    <a:lnTo>
                      <a:pt x="365" y="321"/>
                    </a:lnTo>
                    <a:lnTo>
                      <a:pt x="364" y="321"/>
                    </a:lnTo>
                    <a:lnTo>
                      <a:pt x="364" y="320"/>
                    </a:lnTo>
                    <a:lnTo>
                      <a:pt x="362" y="320"/>
                    </a:lnTo>
                    <a:lnTo>
                      <a:pt x="360" y="318"/>
                    </a:lnTo>
                    <a:lnTo>
                      <a:pt x="359" y="318"/>
                    </a:lnTo>
                    <a:lnTo>
                      <a:pt x="359" y="316"/>
                    </a:lnTo>
                    <a:lnTo>
                      <a:pt x="357" y="316"/>
                    </a:lnTo>
                    <a:lnTo>
                      <a:pt x="357" y="315"/>
                    </a:lnTo>
                    <a:lnTo>
                      <a:pt x="357" y="316"/>
                    </a:lnTo>
                    <a:lnTo>
                      <a:pt x="359" y="316"/>
                    </a:lnTo>
                    <a:lnTo>
                      <a:pt x="359" y="318"/>
                    </a:lnTo>
                    <a:lnTo>
                      <a:pt x="360" y="318"/>
                    </a:lnTo>
                    <a:lnTo>
                      <a:pt x="362" y="318"/>
                    </a:lnTo>
                    <a:lnTo>
                      <a:pt x="362" y="320"/>
                    </a:lnTo>
                    <a:lnTo>
                      <a:pt x="364" y="320"/>
                    </a:lnTo>
                    <a:lnTo>
                      <a:pt x="364" y="321"/>
                    </a:lnTo>
                    <a:lnTo>
                      <a:pt x="365" y="321"/>
                    </a:lnTo>
                    <a:lnTo>
                      <a:pt x="367" y="321"/>
                    </a:lnTo>
                    <a:lnTo>
                      <a:pt x="367" y="323"/>
                    </a:lnTo>
                    <a:lnTo>
                      <a:pt x="367" y="321"/>
                    </a:lnTo>
                    <a:lnTo>
                      <a:pt x="365" y="321"/>
                    </a:lnTo>
                    <a:lnTo>
                      <a:pt x="365" y="320"/>
                    </a:lnTo>
                    <a:lnTo>
                      <a:pt x="365" y="321"/>
                    </a:lnTo>
                    <a:lnTo>
                      <a:pt x="367" y="321"/>
                    </a:lnTo>
                    <a:lnTo>
                      <a:pt x="367" y="320"/>
                    </a:lnTo>
                    <a:lnTo>
                      <a:pt x="367" y="318"/>
                    </a:lnTo>
                    <a:lnTo>
                      <a:pt x="367" y="316"/>
                    </a:lnTo>
                    <a:lnTo>
                      <a:pt x="365" y="316"/>
                    </a:lnTo>
                    <a:lnTo>
                      <a:pt x="365" y="315"/>
                    </a:lnTo>
                    <a:lnTo>
                      <a:pt x="364" y="315"/>
                    </a:lnTo>
                    <a:lnTo>
                      <a:pt x="362" y="316"/>
                    </a:lnTo>
                    <a:lnTo>
                      <a:pt x="364" y="316"/>
                    </a:lnTo>
                    <a:lnTo>
                      <a:pt x="362" y="316"/>
                    </a:lnTo>
                    <a:lnTo>
                      <a:pt x="362" y="318"/>
                    </a:lnTo>
                    <a:lnTo>
                      <a:pt x="362" y="316"/>
                    </a:lnTo>
                    <a:lnTo>
                      <a:pt x="360" y="316"/>
                    </a:lnTo>
                    <a:lnTo>
                      <a:pt x="360" y="315"/>
                    </a:lnTo>
                    <a:lnTo>
                      <a:pt x="360" y="316"/>
                    </a:lnTo>
                    <a:lnTo>
                      <a:pt x="359" y="316"/>
                    </a:lnTo>
                    <a:lnTo>
                      <a:pt x="359" y="315"/>
                    </a:lnTo>
                    <a:lnTo>
                      <a:pt x="357" y="315"/>
                    </a:lnTo>
                    <a:lnTo>
                      <a:pt x="357" y="313"/>
                    </a:lnTo>
                    <a:lnTo>
                      <a:pt x="355" y="313"/>
                    </a:lnTo>
                    <a:lnTo>
                      <a:pt x="353" y="313"/>
                    </a:lnTo>
                    <a:lnTo>
                      <a:pt x="353" y="311"/>
                    </a:lnTo>
                    <a:lnTo>
                      <a:pt x="352" y="311"/>
                    </a:lnTo>
                    <a:lnTo>
                      <a:pt x="353" y="311"/>
                    </a:lnTo>
                    <a:lnTo>
                      <a:pt x="352" y="311"/>
                    </a:lnTo>
                    <a:lnTo>
                      <a:pt x="352" y="310"/>
                    </a:lnTo>
                    <a:lnTo>
                      <a:pt x="350" y="310"/>
                    </a:lnTo>
                    <a:lnTo>
                      <a:pt x="350" y="311"/>
                    </a:lnTo>
                    <a:lnTo>
                      <a:pt x="352" y="311"/>
                    </a:lnTo>
                    <a:lnTo>
                      <a:pt x="353" y="313"/>
                    </a:lnTo>
                    <a:lnTo>
                      <a:pt x="352" y="311"/>
                    </a:lnTo>
                    <a:lnTo>
                      <a:pt x="350" y="311"/>
                    </a:lnTo>
                    <a:lnTo>
                      <a:pt x="350" y="310"/>
                    </a:lnTo>
                    <a:lnTo>
                      <a:pt x="348" y="310"/>
                    </a:lnTo>
                    <a:lnTo>
                      <a:pt x="348" y="308"/>
                    </a:lnTo>
                    <a:lnTo>
                      <a:pt x="350" y="308"/>
                    </a:lnTo>
                    <a:lnTo>
                      <a:pt x="348" y="308"/>
                    </a:lnTo>
                    <a:lnTo>
                      <a:pt x="348" y="306"/>
                    </a:lnTo>
                    <a:lnTo>
                      <a:pt x="347" y="306"/>
                    </a:lnTo>
                    <a:lnTo>
                      <a:pt x="348" y="304"/>
                    </a:lnTo>
                    <a:lnTo>
                      <a:pt x="348" y="306"/>
                    </a:lnTo>
                    <a:lnTo>
                      <a:pt x="350" y="306"/>
                    </a:lnTo>
                    <a:lnTo>
                      <a:pt x="350" y="308"/>
                    </a:lnTo>
                    <a:lnTo>
                      <a:pt x="350" y="306"/>
                    </a:lnTo>
                    <a:lnTo>
                      <a:pt x="350" y="304"/>
                    </a:lnTo>
                    <a:lnTo>
                      <a:pt x="350" y="303"/>
                    </a:lnTo>
                    <a:lnTo>
                      <a:pt x="350" y="301"/>
                    </a:lnTo>
                    <a:lnTo>
                      <a:pt x="348" y="301"/>
                    </a:lnTo>
                    <a:lnTo>
                      <a:pt x="350" y="301"/>
                    </a:lnTo>
                    <a:lnTo>
                      <a:pt x="350" y="299"/>
                    </a:lnTo>
                    <a:lnTo>
                      <a:pt x="350" y="298"/>
                    </a:lnTo>
                    <a:lnTo>
                      <a:pt x="348" y="298"/>
                    </a:lnTo>
                    <a:lnTo>
                      <a:pt x="348" y="296"/>
                    </a:lnTo>
                    <a:lnTo>
                      <a:pt x="348" y="294"/>
                    </a:lnTo>
                    <a:lnTo>
                      <a:pt x="347" y="294"/>
                    </a:lnTo>
                    <a:lnTo>
                      <a:pt x="347" y="293"/>
                    </a:lnTo>
                    <a:lnTo>
                      <a:pt x="345" y="293"/>
                    </a:lnTo>
                    <a:lnTo>
                      <a:pt x="345" y="294"/>
                    </a:lnTo>
                    <a:lnTo>
                      <a:pt x="345" y="293"/>
                    </a:lnTo>
                    <a:lnTo>
                      <a:pt x="343" y="293"/>
                    </a:lnTo>
                    <a:lnTo>
                      <a:pt x="343" y="291"/>
                    </a:lnTo>
                    <a:lnTo>
                      <a:pt x="342" y="291"/>
                    </a:lnTo>
                    <a:lnTo>
                      <a:pt x="343" y="291"/>
                    </a:lnTo>
                    <a:lnTo>
                      <a:pt x="342" y="291"/>
                    </a:lnTo>
                    <a:lnTo>
                      <a:pt x="340" y="291"/>
                    </a:lnTo>
                    <a:lnTo>
                      <a:pt x="342" y="291"/>
                    </a:lnTo>
                    <a:lnTo>
                      <a:pt x="342" y="289"/>
                    </a:lnTo>
                    <a:lnTo>
                      <a:pt x="340" y="289"/>
                    </a:lnTo>
                    <a:lnTo>
                      <a:pt x="340" y="291"/>
                    </a:lnTo>
                    <a:lnTo>
                      <a:pt x="340" y="289"/>
                    </a:lnTo>
                    <a:lnTo>
                      <a:pt x="340" y="291"/>
                    </a:lnTo>
                    <a:lnTo>
                      <a:pt x="338" y="289"/>
                    </a:lnTo>
                    <a:lnTo>
                      <a:pt x="340" y="289"/>
                    </a:lnTo>
                    <a:lnTo>
                      <a:pt x="338" y="287"/>
                    </a:lnTo>
                    <a:lnTo>
                      <a:pt x="336" y="287"/>
                    </a:lnTo>
                    <a:lnTo>
                      <a:pt x="336" y="289"/>
                    </a:lnTo>
                    <a:lnTo>
                      <a:pt x="336" y="291"/>
                    </a:lnTo>
                    <a:lnTo>
                      <a:pt x="336" y="289"/>
                    </a:lnTo>
                    <a:lnTo>
                      <a:pt x="335" y="289"/>
                    </a:lnTo>
                    <a:lnTo>
                      <a:pt x="335" y="287"/>
                    </a:lnTo>
                    <a:lnTo>
                      <a:pt x="333" y="287"/>
                    </a:lnTo>
                    <a:lnTo>
                      <a:pt x="331" y="286"/>
                    </a:lnTo>
                    <a:lnTo>
                      <a:pt x="330" y="286"/>
                    </a:lnTo>
                    <a:lnTo>
                      <a:pt x="328" y="284"/>
                    </a:lnTo>
                    <a:lnTo>
                      <a:pt x="326" y="284"/>
                    </a:lnTo>
                    <a:lnTo>
                      <a:pt x="325" y="284"/>
                    </a:lnTo>
                    <a:lnTo>
                      <a:pt x="326" y="284"/>
                    </a:lnTo>
                    <a:lnTo>
                      <a:pt x="328" y="284"/>
                    </a:lnTo>
                    <a:lnTo>
                      <a:pt x="328" y="282"/>
                    </a:lnTo>
                    <a:lnTo>
                      <a:pt x="326" y="282"/>
                    </a:lnTo>
                    <a:lnTo>
                      <a:pt x="325" y="282"/>
                    </a:lnTo>
                    <a:lnTo>
                      <a:pt x="325" y="284"/>
                    </a:lnTo>
                    <a:lnTo>
                      <a:pt x="323" y="284"/>
                    </a:lnTo>
                    <a:lnTo>
                      <a:pt x="323" y="282"/>
                    </a:lnTo>
                    <a:lnTo>
                      <a:pt x="325" y="282"/>
                    </a:lnTo>
                    <a:lnTo>
                      <a:pt x="325" y="281"/>
                    </a:lnTo>
                    <a:lnTo>
                      <a:pt x="323" y="281"/>
                    </a:lnTo>
                    <a:lnTo>
                      <a:pt x="323" y="282"/>
                    </a:lnTo>
                    <a:lnTo>
                      <a:pt x="323" y="281"/>
                    </a:lnTo>
                    <a:lnTo>
                      <a:pt x="325" y="281"/>
                    </a:lnTo>
                    <a:lnTo>
                      <a:pt x="323" y="281"/>
                    </a:lnTo>
                    <a:lnTo>
                      <a:pt x="323" y="279"/>
                    </a:lnTo>
                    <a:lnTo>
                      <a:pt x="325" y="279"/>
                    </a:lnTo>
                    <a:lnTo>
                      <a:pt x="323" y="279"/>
                    </a:lnTo>
                    <a:lnTo>
                      <a:pt x="325" y="277"/>
                    </a:lnTo>
                    <a:lnTo>
                      <a:pt x="323" y="277"/>
                    </a:lnTo>
                    <a:lnTo>
                      <a:pt x="321" y="277"/>
                    </a:lnTo>
                    <a:lnTo>
                      <a:pt x="321" y="276"/>
                    </a:lnTo>
                    <a:lnTo>
                      <a:pt x="321" y="277"/>
                    </a:lnTo>
                    <a:lnTo>
                      <a:pt x="319" y="276"/>
                    </a:lnTo>
                    <a:lnTo>
                      <a:pt x="319" y="277"/>
                    </a:lnTo>
                    <a:lnTo>
                      <a:pt x="319" y="279"/>
                    </a:lnTo>
                    <a:lnTo>
                      <a:pt x="319" y="281"/>
                    </a:lnTo>
                    <a:lnTo>
                      <a:pt x="318" y="281"/>
                    </a:lnTo>
                    <a:lnTo>
                      <a:pt x="318" y="279"/>
                    </a:lnTo>
                    <a:lnTo>
                      <a:pt x="316" y="279"/>
                    </a:lnTo>
                    <a:lnTo>
                      <a:pt x="314" y="279"/>
                    </a:lnTo>
                    <a:lnTo>
                      <a:pt x="316" y="279"/>
                    </a:lnTo>
                    <a:lnTo>
                      <a:pt x="316" y="281"/>
                    </a:lnTo>
                    <a:lnTo>
                      <a:pt x="314" y="281"/>
                    </a:lnTo>
                    <a:lnTo>
                      <a:pt x="314" y="279"/>
                    </a:lnTo>
                    <a:lnTo>
                      <a:pt x="314" y="281"/>
                    </a:lnTo>
                    <a:lnTo>
                      <a:pt x="314" y="279"/>
                    </a:lnTo>
                    <a:lnTo>
                      <a:pt x="313" y="279"/>
                    </a:lnTo>
                    <a:lnTo>
                      <a:pt x="313" y="277"/>
                    </a:lnTo>
                    <a:lnTo>
                      <a:pt x="314" y="277"/>
                    </a:lnTo>
                    <a:lnTo>
                      <a:pt x="314" y="276"/>
                    </a:lnTo>
                    <a:lnTo>
                      <a:pt x="313" y="276"/>
                    </a:lnTo>
                    <a:lnTo>
                      <a:pt x="311" y="276"/>
                    </a:lnTo>
                    <a:lnTo>
                      <a:pt x="311" y="274"/>
                    </a:lnTo>
                    <a:lnTo>
                      <a:pt x="309" y="274"/>
                    </a:lnTo>
                    <a:lnTo>
                      <a:pt x="311" y="274"/>
                    </a:lnTo>
                    <a:lnTo>
                      <a:pt x="309" y="274"/>
                    </a:lnTo>
                    <a:lnTo>
                      <a:pt x="311" y="272"/>
                    </a:lnTo>
                    <a:lnTo>
                      <a:pt x="309" y="272"/>
                    </a:lnTo>
                    <a:lnTo>
                      <a:pt x="308" y="270"/>
                    </a:lnTo>
                    <a:lnTo>
                      <a:pt x="308" y="272"/>
                    </a:lnTo>
                    <a:lnTo>
                      <a:pt x="308" y="274"/>
                    </a:lnTo>
                    <a:lnTo>
                      <a:pt x="309" y="274"/>
                    </a:lnTo>
                    <a:lnTo>
                      <a:pt x="311" y="276"/>
                    </a:lnTo>
                    <a:lnTo>
                      <a:pt x="311" y="277"/>
                    </a:lnTo>
                    <a:lnTo>
                      <a:pt x="311" y="276"/>
                    </a:lnTo>
                    <a:lnTo>
                      <a:pt x="309" y="276"/>
                    </a:lnTo>
                    <a:lnTo>
                      <a:pt x="309" y="274"/>
                    </a:lnTo>
                    <a:lnTo>
                      <a:pt x="308" y="274"/>
                    </a:lnTo>
                    <a:lnTo>
                      <a:pt x="306" y="274"/>
                    </a:lnTo>
                    <a:lnTo>
                      <a:pt x="304" y="274"/>
                    </a:lnTo>
                    <a:lnTo>
                      <a:pt x="302" y="274"/>
                    </a:lnTo>
                    <a:lnTo>
                      <a:pt x="304" y="274"/>
                    </a:lnTo>
                    <a:lnTo>
                      <a:pt x="304" y="272"/>
                    </a:lnTo>
                    <a:lnTo>
                      <a:pt x="306" y="272"/>
                    </a:lnTo>
                    <a:lnTo>
                      <a:pt x="306" y="270"/>
                    </a:lnTo>
                    <a:lnTo>
                      <a:pt x="306" y="269"/>
                    </a:lnTo>
                    <a:lnTo>
                      <a:pt x="304" y="270"/>
                    </a:lnTo>
                    <a:lnTo>
                      <a:pt x="304" y="269"/>
                    </a:lnTo>
                    <a:lnTo>
                      <a:pt x="302" y="269"/>
                    </a:lnTo>
                    <a:lnTo>
                      <a:pt x="302" y="270"/>
                    </a:lnTo>
                    <a:lnTo>
                      <a:pt x="302" y="272"/>
                    </a:lnTo>
                    <a:lnTo>
                      <a:pt x="302" y="270"/>
                    </a:lnTo>
                    <a:lnTo>
                      <a:pt x="302" y="269"/>
                    </a:lnTo>
                    <a:lnTo>
                      <a:pt x="302" y="267"/>
                    </a:lnTo>
                    <a:lnTo>
                      <a:pt x="301" y="267"/>
                    </a:lnTo>
                    <a:lnTo>
                      <a:pt x="302" y="267"/>
                    </a:lnTo>
                    <a:lnTo>
                      <a:pt x="302" y="265"/>
                    </a:lnTo>
                    <a:lnTo>
                      <a:pt x="302" y="264"/>
                    </a:lnTo>
                    <a:lnTo>
                      <a:pt x="301" y="264"/>
                    </a:lnTo>
                    <a:lnTo>
                      <a:pt x="301" y="262"/>
                    </a:lnTo>
                    <a:lnTo>
                      <a:pt x="301" y="260"/>
                    </a:lnTo>
                    <a:lnTo>
                      <a:pt x="302" y="259"/>
                    </a:lnTo>
                    <a:lnTo>
                      <a:pt x="302" y="257"/>
                    </a:lnTo>
                    <a:lnTo>
                      <a:pt x="304" y="257"/>
                    </a:lnTo>
                    <a:lnTo>
                      <a:pt x="304" y="255"/>
                    </a:lnTo>
                    <a:lnTo>
                      <a:pt x="304" y="253"/>
                    </a:lnTo>
                    <a:lnTo>
                      <a:pt x="306" y="253"/>
                    </a:lnTo>
                    <a:lnTo>
                      <a:pt x="306" y="252"/>
                    </a:lnTo>
                    <a:lnTo>
                      <a:pt x="306" y="250"/>
                    </a:lnTo>
                    <a:lnTo>
                      <a:pt x="308" y="248"/>
                    </a:lnTo>
                    <a:lnTo>
                      <a:pt x="308" y="250"/>
                    </a:lnTo>
                    <a:lnTo>
                      <a:pt x="306" y="250"/>
                    </a:lnTo>
                    <a:lnTo>
                      <a:pt x="306" y="252"/>
                    </a:lnTo>
                    <a:lnTo>
                      <a:pt x="306" y="253"/>
                    </a:lnTo>
                    <a:lnTo>
                      <a:pt x="306" y="255"/>
                    </a:lnTo>
                    <a:lnTo>
                      <a:pt x="308" y="253"/>
                    </a:lnTo>
                    <a:lnTo>
                      <a:pt x="308" y="252"/>
                    </a:lnTo>
                    <a:lnTo>
                      <a:pt x="308" y="250"/>
                    </a:lnTo>
                    <a:lnTo>
                      <a:pt x="309" y="250"/>
                    </a:lnTo>
                    <a:lnTo>
                      <a:pt x="309" y="248"/>
                    </a:lnTo>
                    <a:lnTo>
                      <a:pt x="309" y="247"/>
                    </a:lnTo>
                    <a:lnTo>
                      <a:pt x="309" y="248"/>
                    </a:lnTo>
                    <a:lnTo>
                      <a:pt x="311" y="248"/>
                    </a:lnTo>
                    <a:lnTo>
                      <a:pt x="311" y="250"/>
                    </a:lnTo>
                    <a:lnTo>
                      <a:pt x="309" y="250"/>
                    </a:lnTo>
                    <a:lnTo>
                      <a:pt x="311" y="250"/>
                    </a:lnTo>
                    <a:lnTo>
                      <a:pt x="311" y="252"/>
                    </a:lnTo>
                    <a:lnTo>
                      <a:pt x="313" y="252"/>
                    </a:lnTo>
                    <a:lnTo>
                      <a:pt x="313" y="250"/>
                    </a:lnTo>
                    <a:lnTo>
                      <a:pt x="311" y="250"/>
                    </a:lnTo>
                    <a:lnTo>
                      <a:pt x="311" y="248"/>
                    </a:lnTo>
                    <a:lnTo>
                      <a:pt x="313" y="248"/>
                    </a:lnTo>
                    <a:lnTo>
                      <a:pt x="311" y="248"/>
                    </a:lnTo>
                    <a:lnTo>
                      <a:pt x="311" y="247"/>
                    </a:lnTo>
                    <a:lnTo>
                      <a:pt x="311" y="245"/>
                    </a:lnTo>
                    <a:lnTo>
                      <a:pt x="309" y="245"/>
                    </a:lnTo>
                    <a:lnTo>
                      <a:pt x="309" y="247"/>
                    </a:lnTo>
                    <a:lnTo>
                      <a:pt x="309" y="245"/>
                    </a:lnTo>
                    <a:lnTo>
                      <a:pt x="308" y="245"/>
                    </a:lnTo>
                    <a:lnTo>
                      <a:pt x="308" y="247"/>
                    </a:lnTo>
                    <a:lnTo>
                      <a:pt x="308" y="248"/>
                    </a:lnTo>
                    <a:lnTo>
                      <a:pt x="308" y="247"/>
                    </a:lnTo>
                    <a:lnTo>
                      <a:pt x="308" y="245"/>
                    </a:lnTo>
                    <a:lnTo>
                      <a:pt x="308" y="243"/>
                    </a:lnTo>
                    <a:lnTo>
                      <a:pt x="308" y="242"/>
                    </a:lnTo>
                    <a:lnTo>
                      <a:pt x="308" y="240"/>
                    </a:lnTo>
                    <a:lnTo>
                      <a:pt x="306" y="240"/>
                    </a:lnTo>
                    <a:lnTo>
                      <a:pt x="306" y="238"/>
                    </a:lnTo>
                    <a:lnTo>
                      <a:pt x="304" y="238"/>
                    </a:lnTo>
                    <a:lnTo>
                      <a:pt x="304" y="236"/>
                    </a:lnTo>
                    <a:lnTo>
                      <a:pt x="302" y="236"/>
                    </a:lnTo>
                    <a:lnTo>
                      <a:pt x="302" y="235"/>
                    </a:lnTo>
                    <a:lnTo>
                      <a:pt x="301" y="235"/>
                    </a:lnTo>
                    <a:lnTo>
                      <a:pt x="299" y="235"/>
                    </a:lnTo>
                    <a:lnTo>
                      <a:pt x="301" y="235"/>
                    </a:lnTo>
                    <a:lnTo>
                      <a:pt x="301" y="233"/>
                    </a:lnTo>
                    <a:lnTo>
                      <a:pt x="299" y="231"/>
                    </a:lnTo>
                    <a:lnTo>
                      <a:pt x="299" y="233"/>
                    </a:lnTo>
                    <a:lnTo>
                      <a:pt x="299" y="231"/>
                    </a:lnTo>
                    <a:lnTo>
                      <a:pt x="297" y="231"/>
                    </a:lnTo>
                    <a:lnTo>
                      <a:pt x="297" y="233"/>
                    </a:lnTo>
                    <a:lnTo>
                      <a:pt x="299" y="233"/>
                    </a:lnTo>
                    <a:lnTo>
                      <a:pt x="297" y="233"/>
                    </a:lnTo>
                    <a:lnTo>
                      <a:pt x="299" y="235"/>
                    </a:lnTo>
                    <a:lnTo>
                      <a:pt x="297" y="235"/>
                    </a:lnTo>
                    <a:lnTo>
                      <a:pt x="296" y="233"/>
                    </a:lnTo>
                    <a:lnTo>
                      <a:pt x="294" y="233"/>
                    </a:lnTo>
                    <a:lnTo>
                      <a:pt x="294" y="235"/>
                    </a:lnTo>
                    <a:lnTo>
                      <a:pt x="292" y="235"/>
                    </a:lnTo>
                    <a:lnTo>
                      <a:pt x="291" y="233"/>
                    </a:lnTo>
                    <a:lnTo>
                      <a:pt x="289" y="233"/>
                    </a:lnTo>
                    <a:lnTo>
                      <a:pt x="289" y="231"/>
                    </a:lnTo>
                    <a:lnTo>
                      <a:pt x="287" y="231"/>
                    </a:lnTo>
                    <a:lnTo>
                      <a:pt x="287" y="230"/>
                    </a:lnTo>
                    <a:lnTo>
                      <a:pt x="287" y="228"/>
                    </a:lnTo>
                    <a:lnTo>
                      <a:pt x="287" y="226"/>
                    </a:lnTo>
                    <a:lnTo>
                      <a:pt x="285" y="226"/>
                    </a:lnTo>
                    <a:lnTo>
                      <a:pt x="285" y="225"/>
                    </a:lnTo>
                    <a:lnTo>
                      <a:pt x="285" y="223"/>
                    </a:lnTo>
                    <a:lnTo>
                      <a:pt x="284" y="223"/>
                    </a:lnTo>
                    <a:lnTo>
                      <a:pt x="284" y="221"/>
                    </a:lnTo>
                    <a:lnTo>
                      <a:pt x="284" y="223"/>
                    </a:lnTo>
                    <a:lnTo>
                      <a:pt x="285" y="223"/>
                    </a:lnTo>
                    <a:lnTo>
                      <a:pt x="285" y="225"/>
                    </a:lnTo>
                    <a:lnTo>
                      <a:pt x="285" y="223"/>
                    </a:lnTo>
                    <a:lnTo>
                      <a:pt x="285" y="221"/>
                    </a:lnTo>
                    <a:lnTo>
                      <a:pt x="285" y="219"/>
                    </a:lnTo>
                    <a:lnTo>
                      <a:pt x="284" y="219"/>
                    </a:lnTo>
                    <a:lnTo>
                      <a:pt x="284" y="218"/>
                    </a:lnTo>
                    <a:lnTo>
                      <a:pt x="282" y="218"/>
                    </a:lnTo>
                    <a:lnTo>
                      <a:pt x="280" y="218"/>
                    </a:lnTo>
                    <a:lnTo>
                      <a:pt x="280" y="219"/>
                    </a:lnTo>
                    <a:lnTo>
                      <a:pt x="279" y="218"/>
                    </a:lnTo>
                    <a:lnTo>
                      <a:pt x="277" y="218"/>
                    </a:lnTo>
                    <a:lnTo>
                      <a:pt x="275" y="218"/>
                    </a:lnTo>
                    <a:lnTo>
                      <a:pt x="274" y="218"/>
                    </a:lnTo>
                    <a:lnTo>
                      <a:pt x="274" y="216"/>
                    </a:lnTo>
                    <a:lnTo>
                      <a:pt x="272" y="216"/>
                    </a:lnTo>
                    <a:lnTo>
                      <a:pt x="270" y="214"/>
                    </a:lnTo>
                    <a:lnTo>
                      <a:pt x="268" y="214"/>
                    </a:lnTo>
                    <a:lnTo>
                      <a:pt x="268" y="213"/>
                    </a:lnTo>
                    <a:lnTo>
                      <a:pt x="267" y="211"/>
                    </a:lnTo>
                    <a:lnTo>
                      <a:pt x="265" y="211"/>
                    </a:lnTo>
                    <a:lnTo>
                      <a:pt x="267" y="211"/>
                    </a:lnTo>
                    <a:lnTo>
                      <a:pt x="267" y="209"/>
                    </a:lnTo>
                    <a:lnTo>
                      <a:pt x="267" y="208"/>
                    </a:lnTo>
                    <a:lnTo>
                      <a:pt x="265" y="208"/>
                    </a:lnTo>
                    <a:lnTo>
                      <a:pt x="263" y="208"/>
                    </a:lnTo>
                    <a:lnTo>
                      <a:pt x="263" y="206"/>
                    </a:lnTo>
                    <a:lnTo>
                      <a:pt x="262" y="206"/>
                    </a:lnTo>
                    <a:lnTo>
                      <a:pt x="262" y="204"/>
                    </a:lnTo>
                    <a:lnTo>
                      <a:pt x="262" y="202"/>
                    </a:lnTo>
                    <a:lnTo>
                      <a:pt x="262" y="201"/>
                    </a:lnTo>
                    <a:lnTo>
                      <a:pt x="262" y="199"/>
                    </a:lnTo>
                    <a:lnTo>
                      <a:pt x="262" y="197"/>
                    </a:lnTo>
                    <a:lnTo>
                      <a:pt x="262" y="196"/>
                    </a:lnTo>
                    <a:lnTo>
                      <a:pt x="263" y="196"/>
                    </a:lnTo>
                    <a:lnTo>
                      <a:pt x="263" y="194"/>
                    </a:lnTo>
                    <a:lnTo>
                      <a:pt x="262" y="194"/>
                    </a:lnTo>
                    <a:lnTo>
                      <a:pt x="262" y="192"/>
                    </a:lnTo>
                    <a:lnTo>
                      <a:pt x="262" y="190"/>
                    </a:lnTo>
                    <a:lnTo>
                      <a:pt x="263" y="190"/>
                    </a:lnTo>
                    <a:lnTo>
                      <a:pt x="262" y="190"/>
                    </a:lnTo>
                    <a:lnTo>
                      <a:pt x="263" y="190"/>
                    </a:lnTo>
                    <a:lnTo>
                      <a:pt x="265" y="190"/>
                    </a:lnTo>
                    <a:lnTo>
                      <a:pt x="265" y="189"/>
                    </a:lnTo>
                    <a:lnTo>
                      <a:pt x="265" y="190"/>
                    </a:lnTo>
                    <a:lnTo>
                      <a:pt x="263" y="190"/>
                    </a:lnTo>
                    <a:lnTo>
                      <a:pt x="263" y="189"/>
                    </a:lnTo>
                    <a:lnTo>
                      <a:pt x="262" y="189"/>
                    </a:lnTo>
                    <a:lnTo>
                      <a:pt x="260" y="189"/>
                    </a:lnTo>
                    <a:lnTo>
                      <a:pt x="260" y="187"/>
                    </a:lnTo>
                    <a:lnTo>
                      <a:pt x="260" y="189"/>
                    </a:lnTo>
                    <a:lnTo>
                      <a:pt x="262" y="189"/>
                    </a:lnTo>
                    <a:lnTo>
                      <a:pt x="260" y="189"/>
                    </a:lnTo>
                    <a:lnTo>
                      <a:pt x="258" y="189"/>
                    </a:lnTo>
                    <a:lnTo>
                      <a:pt x="258" y="187"/>
                    </a:lnTo>
                    <a:lnTo>
                      <a:pt x="257" y="187"/>
                    </a:lnTo>
                    <a:lnTo>
                      <a:pt x="255" y="187"/>
                    </a:lnTo>
                    <a:lnTo>
                      <a:pt x="253" y="187"/>
                    </a:lnTo>
                    <a:lnTo>
                      <a:pt x="255" y="187"/>
                    </a:lnTo>
                    <a:lnTo>
                      <a:pt x="255" y="185"/>
                    </a:lnTo>
                    <a:lnTo>
                      <a:pt x="253" y="185"/>
                    </a:lnTo>
                    <a:lnTo>
                      <a:pt x="253" y="187"/>
                    </a:lnTo>
                    <a:lnTo>
                      <a:pt x="251" y="187"/>
                    </a:lnTo>
                    <a:lnTo>
                      <a:pt x="251" y="189"/>
                    </a:lnTo>
                    <a:lnTo>
                      <a:pt x="253" y="187"/>
                    </a:lnTo>
                    <a:lnTo>
                      <a:pt x="253" y="189"/>
                    </a:lnTo>
                    <a:lnTo>
                      <a:pt x="253" y="190"/>
                    </a:lnTo>
                    <a:lnTo>
                      <a:pt x="251" y="190"/>
                    </a:lnTo>
                    <a:lnTo>
                      <a:pt x="251" y="189"/>
                    </a:lnTo>
                    <a:lnTo>
                      <a:pt x="250" y="189"/>
                    </a:lnTo>
                    <a:lnTo>
                      <a:pt x="250" y="187"/>
                    </a:lnTo>
                    <a:lnTo>
                      <a:pt x="250" y="185"/>
                    </a:lnTo>
                    <a:lnTo>
                      <a:pt x="248" y="185"/>
                    </a:lnTo>
                    <a:lnTo>
                      <a:pt x="246" y="185"/>
                    </a:lnTo>
                    <a:lnTo>
                      <a:pt x="246" y="187"/>
                    </a:lnTo>
                    <a:lnTo>
                      <a:pt x="246" y="185"/>
                    </a:lnTo>
                    <a:lnTo>
                      <a:pt x="246" y="187"/>
                    </a:lnTo>
                    <a:lnTo>
                      <a:pt x="245" y="187"/>
                    </a:lnTo>
                    <a:lnTo>
                      <a:pt x="245" y="185"/>
                    </a:lnTo>
                    <a:lnTo>
                      <a:pt x="243" y="185"/>
                    </a:lnTo>
                    <a:lnTo>
                      <a:pt x="243" y="184"/>
                    </a:lnTo>
                    <a:lnTo>
                      <a:pt x="241" y="184"/>
                    </a:lnTo>
                    <a:lnTo>
                      <a:pt x="241" y="182"/>
                    </a:lnTo>
                    <a:lnTo>
                      <a:pt x="240" y="182"/>
                    </a:lnTo>
                    <a:lnTo>
                      <a:pt x="240" y="180"/>
                    </a:lnTo>
                    <a:lnTo>
                      <a:pt x="238" y="179"/>
                    </a:lnTo>
                    <a:lnTo>
                      <a:pt x="238" y="177"/>
                    </a:lnTo>
                    <a:lnTo>
                      <a:pt x="236" y="177"/>
                    </a:lnTo>
                    <a:lnTo>
                      <a:pt x="236" y="175"/>
                    </a:lnTo>
                    <a:lnTo>
                      <a:pt x="236" y="173"/>
                    </a:lnTo>
                    <a:lnTo>
                      <a:pt x="234" y="173"/>
                    </a:lnTo>
                    <a:lnTo>
                      <a:pt x="233" y="172"/>
                    </a:lnTo>
                    <a:lnTo>
                      <a:pt x="233" y="170"/>
                    </a:lnTo>
                    <a:lnTo>
                      <a:pt x="231" y="168"/>
                    </a:lnTo>
                    <a:lnTo>
                      <a:pt x="229" y="168"/>
                    </a:lnTo>
                    <a:lnTo>
                      <a:pt x="228" y="168"/>
                    </a:lnTo>
                    <a:lnTo>
                      <a:pt x="226" y="167"/>
                    </a:lnTo>
                    <a:lnTo>
                      <a:pt x="224" y="167"/>
                    </a:lnTo>
                    <a:lnTo>
                      <a:pt x="224" y="165"/>
                    </a:lnTo>
                    <a:lnTo>
                      <a:pt x="224" y="163"/>
                    </a:lnTo>
                    <a:lnTo>
                      <a:pt x="223" y="163"/>
                    </a:lnTo>
                    <a:lnTo>
                      <a:pt x="223" y="162"/>
                    </a:lnTo>
                    <a:lnTo>
                      <a:pt x="223" y="160"/>
                    </a:lnTo>
                    <a:lnTo>
                      <a:pt x="221" y="160"/>
                    </a:lnTo>
                    <a:lnTo>
                      <a:pt x="219" y="158"/>
                    </a:lnTo>
                    <a:lnTo>
                      <a:pt x="217" y="156"/>
                    </a:lnTo>
                    <a:lnTo>
                      <a:pt x="216" y="155"/>
                    </a:lnTo>
                    <a:lnTo>
                      <a:pt x="217" y="155"/>
                    </a:lnTo>
                    <a:lnTo>
                      <a:pt x="219" y="155"/>
                    </a:lnTo>
                    <a:lnTo>
                      <a:pt x="219" y="153"/>
                    </a:lnTo>
                    <a:lnTo>
                      <a:pt x="217" y="153"/>
                    </a:lnTo>
                    <a:lnTo>
                      <a:pt x="216" y="153"/>
                    </a:lnTo>
                    <a:lnTo>
                      <a:pt x="216" y="151"/>
                    </a:lnTo>
                    <a:lnTo>
                      <a:pt x="214" y="151"/>
                    </a:lnTo>
                    <a:lnTo>
                      <a:pt x="214" y="150"/>
                    </a:lnTo>
                    <a:lnTo>
                      <a:pt x="212" y="150"/>
                    </a:lnTo>
                    <a:lnTo>
                      <a:pt x="212" y="148"/>
                    </a:lnTo>
                    <a:lnTo>
                      <a:pt x="211" y="148"/>
                    </a:lnTo>
                    <a:lnTo>
                      <a:pt x="209" y="148"/>
                    </a:lnTo>
                    <a:lnTo>
                      <a:pt x="209" y="146"/>
                    </a:lnTo>
                    <a:lnTo>
                      <a:pt x="209" y="145"/>
                    </a:lnTo>
                    <a:lnTo>
                      <a:pt x="209" y="143"/>
                    </a:lnTo>
                    <a:lnTo>
                      <a:pt x="209" y="141"/>
                    </a:lnTo>
                    <a:lnTo>
                      <a:pt x="209" y="139"/>
                    </a:lnTo>
                    <a:lnTo>
                      <a:pt x="207" y="139"/>
                    </a:lnTo>
                    <a:lnTo>
                      <a:pt x="207" y="138"/>
                    </a:lnTo>
                    <a:lnTo>
                      <a:pt x="207" y="136"/>
                    </a:lnTo>
                    <a:lnTo>
                      <a:pt x="207" y="134"/>
                    </a:lnTo>
                    <a:lnTo>
                      <a:pt x="207" y="133"/>
                    </a:lnTo>
                    <a:lnTo>
                      <a:pt x="206" y="133"/>
                    </a:lnTo>
                    <a:lnTo>
                      <a:pt x="204" y="133"/>
                    </a:lnTo>
                    <a:lnTo>
                      <a:pt x="206" y="133"/>
                    </a:lnTo>
                    <a:lnTo>
                      <a:pt x="204" y="133"/>
                    </a:lnTo>
                    <a:lnTo>
                      <a:pt x="204" y="134"/>
                    </a:lnTo>
                    <a:lnTo>
                      <a:pt x="202" y="133"/>
                    </a:lnTo>
                    <a:lnTo>
                      <a:pt x="200" y="133"/>
                    </a:lnTo>
                    <a:lnTo>
                      <a:pt x="200" y="131"/>
                    </a:lnTo>
                    <a:lnTo>
                      <a:pt x="200" y="129"/>
                    </a:lnTo>
                    <a:lnTo>
                      <a:pt x="202" y="129"/>
                    </a:lnTo>
                    <a:lnTo>
                      <a:pt x="202" y="128"/>
                    </a:lnTo>
                    <a:lnTo>
                      <a:pt x="202" y="126"/>
                    </a:lnTo>
                    <a:lnTo>
                      <a:pt x="200" y="126"/>
                    </a:lnTo>
                    <a:lnTo>
                      <a:pt x="200" y="124"/>
                    </a:lnTo>
                    <a:lnTo>
                      <a:pt x="199" y="124"/>
                    </a:lnTo>
                    <a:lnTo>
                      <a:pt x="199" y="122"/>
                    </a:lnTo>
                    <a:lnTo>
                      <a:pt x="197" y="122"/>
                    </a:lnTo>
                    <a:lnTo>
                      <a:pt x="197" y="121"/>
                    </a:lnTo>
                    <a:lnTo>
                      <a:pt x="197" y="119"/>
                    </a:lnTo>
                    <a:lnTo>
                      <a:pt x="195" y="119"/>
                    </a:lnTo>
                    <a:lnTo>
                      <a:pt x="195" y="117"/>
                    </a:lnTo>
                    <a:lnTo>
                      <a:pt x="195" y="116"/>
                    </a:lnTo>
                    <a:lnTo>
                      <a:pt x="194" y="116"/>
                    </a:lnTo>
                    <a:lnTo>
                      <a:pt x="194" y="114"/>
                    </a:lnTo>
                    <a:lnTo>
                      <a:pt x="194" y="112"/>
                    </a:lnTo>
                    <a:lnTo>
                      <a:pt x="192" y="112"/>
                    </a:lnTo>
                    <a:lnTo>
                      <a:pt x="192" y="111"/>
                    </a:lnTo>
                    <a:lnTo>
                      <a:pt x="190" y="111"/>
                    </a:lnTo>
                    <a:lnTo>
                      <a:pt x="190" y="109"/>
                    </a:lnTo>
                    <a:lnTo>
                      <a:pt x="190" y="107"/>
                    </a:lnTo>
                    <a:lnTo>
                      <a:pt x="190" y="105"/>
                    </a:lnTo>
                    <a:lnTo>
                      <a:pt x="189" y="105"/>
                    </a:lnTo>
                    <a:lnTo>
                      <a:pt x="189" y="104"/>
                    </a:lnTo>
                    <a:lnTo>
                      <a:pt x="189" y="102"/>
                    </a:lnTo>
                    <a:lnTo>
                      <a:pt x="190" y="100"/>
                    </a:lnTo>
                    <a:lnTo>
                      <a:pt x="189" y="100"/>
                    </a:lnTo>
                    <a:lnTo>
                      <a:pt x="189" y="99"/>
                    </a:lnTo>
                    <a:lnTo>
                      <a:pt x="189" y="97"/>
                    </a:lnTo>
                    <a:lnTo>
                      <a:pt x="187" y="97"/>
                    </a:lnTo>
                    <a:lnTo>
                      <a:pt x="185" y="97"/>
                    </a:lnTo>
                    <a:lnTo>
                      <a:pt x="187" y="95"/>
                    </a:lnTo>
                    <a:lnTo>
                      <a:pt x="187" y="94"/>
                    </a:lnTo>
                    <a:lnTo>
                      <a:pt x="187" y="92"/>
                    </a:lnTo>
                    <a:lnTo>
                      <a:pt x="185" y="92"/>
                    </a:lnTo>
                    <a:lnTo>
                      <a:pt x="185" y="90"/>
                    </a:lnTo>
                    <a:lnTo>
                      <a:pt x="185" y="88"/>
                    </a:lnTo>
                    <a:lnTo>
                      <a:pt x="183" y="88"/>
                    </a:lnTo>
                    <a:lnTo>
                      <a:pt x="183" y="87"/>
                    </a:lnTo>
                    <a:lnTo>
                      <a:pt x="182" y="87"/>
                    </a:lnTo>
                    <a:lnTo>
                      <a:pt x="182" y="85"/>
                    </a:lnTo>
                    <a:lnTo>
                      <a:pt x="180" y="85"/>
                    </a:lnTo>
                    <a:lnTo>
                      <a:pt x="180" y="83"/>
                    </a:lnTo>
                    <a:lnTo>
                      <a:pt x="178" y="82"/>
                    </a:lnTo>
                    <a:lnTo>
                      <a:pt x="178" y="80"/>
                    </a:lnTo>
                    <a:lnTo>
                      <a:pt x="178" y="78"/>
                    </a:lnTo>
                    <a:lnTo>
                      <a:pt x="177" y="77"/>
                    </a:lnTo>
                    <a:lnTo>
                      <a:pt x="177" y="75"/>
                    </a:lnTo>
                    <a:lnTo>
                      <a:pt x="177" y="73"/>
                    </a:lnTo>
                    <a:lnTo>
                      <a:pt x="178" y="71"/>
                    </a:lnTo>
                    <a:lnTo>
                      <a:pt x="178" y="70"/>
                    </a:lnTo>
                    <a:lnTo>
                      <a:pt x="178" y="68"/>
                    </a:lnTo>
                    <a:lnTo>
                      <a:pt x="177" y="68"/>
                    </a:lnTo>
                    <a:lnTo>
                      <a:pt x="177" y="66"/>
                    </a:lnTo>
                    <a:lnTo>
                      <a:pt x="177" y="65"/>
                    </a:lnTo>
                    <a:lnTo>
                      <a:pt x="177" y="66"/>
                    </a:lnTo>
                    <a:lnTo>
                      <a:pt x="178" y="66"/>
                    </a:lnTo>
                    <a:lnTo>
                      <a:pt x="178" y="68"/>
                    </a:lnTo>
                    <a:lnTo>
                      <a:pt x="178" y="66"/>
                    </a:lnTo>
                    <a:lnTo>
                      <a:pt x="178" y="65"/>
                    </a:lnTo>
                    <a:lnTo>
                      <a:pt x="178" y="63"/>
                    </a:lnTo>
                    <a:lnTo>
                      <a:pt x="178" y="61"/>
                    </a:lnTo>
                    <a:lnTo>
                      <a:pt x="177" y="60"/>
                    </a:lnTo>
                    <a:lnTo>
                      <a:pt x="175" y="60"/>
                    </a:lnTo>
                    <a:lnTo>
                      <a:pt x="173" y="58"/>
                    </a:lnTo>
                    <a:lnTo>
                      <a:pt x="172" y="58"/>
                    </a:lnTo>
                    <a:lnTo>
                      <a:pt x="170" y="58"/>
                    </a:lnTo>
                    <a:lnTo>
                      <a:pt x="168" y="58"/>
                    </a:lnTo>
                    <a:lnTo>
                      <a:pt x="166" y="56"/>
                    </a:lnTo>
                    <a:lnTo>
                      <a:pt x="165" y="56"/>
                    </a:lnTo>
                    <a:lnTo>
                      <a:pt x="163" y="56"/>
                    </a:lnTo>
                    <a:lnTo>
                      <a:pt x="161" y="54"/>
                    </a:lnTo>
                    <a:lnTo>
                      <a:pt x="160" y="54"/>
                    </a:lnTo>
                    <a:lnTo>
                      <a:pt x="160" y="53"/>
                    </a:lnTo>
                    <a:lnTo>
                      <a:pt x="160" y="51"/>
                    </a:lnTo>
                    <a:lnTo>
                      <a:pt x="160" y="49"/>
                    </a:lnTo>
                    <a:lnTo>
                      <a:pt x="158" y="48"/>
                    </a:lnTo>
                    <a:lnTo>
                      <a:pt x="156" y="48"/>
                    </a:lnTo>
                    <a:lnTo>
                      <a:pt x="156" y="46"/>
                    </a:lnTo>
                    <a:lnTo>
                      <a:pt x="155" y="46"/>
                    </a:lnTo>
                    <a:lnTo>
                      <a:pt x="153" y="46"/>
                    </a:lnTo>
                    <a:lnTo>
                      <a:pt x="153" y="44"/>
                    </a:lnTo>
                    <a:lnTo>
                      <a:pt x="151" y="44"/>
                    </a:lnTo>
                    <a:lnTo>
                      <a:pt x="149" y="44"/>
                    </a:lnTo>
                    <a:lnTo>
                      <a:pt x="149" y="46"/>
                    </a:lnTo>
                    <a:lnTo>
                      <a:pt x="148" y="46"/>
                    </a:lnTo>
                    <a:lnTo>
                      <a:pt x="148" y="48"/>
                    </a:lnTo>
                    <a:lnTo>
                      <a:pt x="146" y="48"/>
                    </a:lnTo>
                    <a:lnTo>
                      <a:pt x="146" y="49"/>
                    </a:lnTo>
                    <a:lnTo>
                      <a:pt x="146" y="48"/>
                    </a:lnTo>
                    <a:lnTo>
                      <a:pt x="144" y="48"/>
                    </a:lnTo>
                    <a:lnTo>
                      <a:pt x="143" y="48"/>
                    </a:lnTo>
                    <a:lnTo>
                      <a:pt x="141" y="48"/>
                    </a:lnTo>
                    <a:lnTo>
                      <a:pt x="139" y="48"/>
                    </a:lnTo>
                    <a:lnTo>
                      <a:pt x="139" y="46"/>
                    </a:lnTo>
                    <a:lnTo>
                      <a:pt x="138" y="46"/>
                    </a:lnTo>
                    <a:lnTo>
                      <a:pt x="136" y="44"/>
                    </a:lnTo>
                    <a:lnTo>
                      <a:pt x="134" y="44"/>
                    </a:lnTo>
                    <a:lnTo>
                      <a:pt x="134" y="42"/>
                    </a:lnTo>
                    <a:lnTo>
                      <a:pt x="132" y="42"/>
                    </a:lnTo>
                    <a:lnTo>
                      <a:pt x="132" y="41"/>
                    </a:lnTo>
                    <a:lnTo>
                      <a:pt x="131" y="41"/>
                    </a:lnTo>
                    <a:lnTo>
                      <a:pt x="129" y="41"/>
                    </a:lnTo>
                    <a:lnTo>
                      <a:pt x="129" y="39"/>
                    </a:lnTo>
                    <a:lnTo>
                      <a:pt x="127" y="39"/>
                    </a:lnTo>
                    <a:lnTo>
                      <a:pt x="126" y="39"/>
                    </a:lnTo>
                    <a:lnTo>
                      <a:pt x="124" y="37"/>
                    </a:lnTo>
                    <a:lnTo>
                      <a:pt x="124" y="39"/>
                    </a:lnTo>
                    <a:lnTo>
                      <a:pt x="126" y="39"/>
                    </a:lnTo>
                    <a:lnTo>
                      <a:pt x="126" y="41"/>
                    </a:lnTo>
                    <a:lnTo>
                      <a:pt x="126" y="42"/>
                    </a:lnTo>
                    <a:lnTo>
                      <a:pt x="124" y="42"/>
                    </a:lnTo>
                    <a:lnTo>
                      <a:pt x="124" y="41"/>
                    </a:lnTo>
                    <a:lnTo>
                      <a:pt x="122" y="41"/>
                    </a:lnTo>
                    <a:lnTo>
                      <a:pt x="121" y="39"/>
                    </a:lnTo>
                    <a:lnTo>
                      <a:pt x="121" y="41"/>
                    </a:lnTo>
                    <a:lnTo>
                      <a:pt x="122" y="41"/>
                    </a:lnTo>
                    <a:lnTo>
                      <a:pt x="122" y="42"/>
                    </a:lnTo>
                    <a:lnTo>
                      <a:pt x="121" y="44"/>
                    </a:lnTo>
                    <a:lnTo>
                      <a:pt x="121" y="46"/>
                    </a:lnTo>
                    <a:lnTo>
                      <a:pt x="119" y="46"/>
                    </a:lnTo>
                    <a:lnTo>
                      <a:pt x="119" y="48"/>
                    </a:lnTo>
                    <a:lnTo>
                      <a:pt x="119" y="49"/>
                    </a:lnTo>
                    <a:lnTo>
                      <a:pt x="119" y="51"/>
                    </a:lnTo>
                    <a:lnTo>
                      <a:pt x="119" y="53"/>
                    </a:lnTo>
                    <a:lnTo>
                      <a:pt x="119" y="54"/>
                    </a:lnTo>
                    <a:lnTo>
                      <a:pt x="117" y="56"/>
                    </a:lnTo>
                    <a:lnTo>
                      <a:pt x="117" y="58"/>
                    </a:lnTo>
                    <a:lnTo>
                      <a:pt x="117" y="60"/>
                    </a:lnTo>
                    <a:lnTo>
                      <a:pt x="117" y="61"/>
                    </a:lnTo>
                    <a:lnTo>
                      <a:pt x="117" y="63"/>
                    </a:lnTo>
                    <a:lnTo>
                      <a:pt x="117" y="65"/>
                    </a:lnTo>
                    <a:lnTo>
                      <a:pt x="119" y="65"/>
                    </a:lnTo>
                    <a:lnTo>
                      <a:pt x="121" y="66"/>
                    </a:lnTo>
                    <a:lnTo>
                      <a:pt x="119" y="66"/>
                    </a:lnTo>
                    <a:lnTo>
                      <a:pt x="119" y="68"/>
                    </a:lnTo>
                    <a:lnTo>
                      <a:pt x="121" y="68"/>
                    </a:lnTo>
                    <a:lnTo>
                      <a:pt x="121" y="70"/>
                    </a:lnTo>
                    <a:lnTo>
                      <a:pt x="122" y="70"/>
                    </a:lnTo>
                    <a:lnTo>
                      <a:pt x="122" y="71"/>
                    </a:lnTo>
                    <a:lnTo>
                      <a:pt x="124" y="71"/>
                    </a:lnTo>
                    <a:lnTo>
                      <a:pt x="124" y="73"/>
                    </a:lnTo>
                    <a:lnTo>
                      <a:pt x="124" y="75"/>
                    </a:lnTo>
                    <a:lnTo>
                      <a:pt x="124" y="77"/>
                    </a:lnTo>
                    <a:lnTo>
                      <a:pt x="124" y="78"/>
                    </a:lnTo>
                    <a:lnTo>
                      <a:pt x="124" y="80"/>
                    </a:lnTo>
                    <a:lnTo>
                      <a:pt x="124" y="82"/>
                    </a:lnTo>
                    <a:lnTo>
                      <a:pt x="124" y="83"/>
                    </a:lnTo>
                    <a:lnTo>
                      <a:pt x="126" y="85"/>
                    </a:lnTo>
                    <a:lnTo>
                      <a:pt x="126" y="87"/>
                    </a:lnTo>
                    <a:lnTo>
                      <a:pt x="126" y="88"/>
                    </a:lnTo>
                    <a:lnTo>
                      <a:pt x="126" y="90"/>
                    </a:lnTo>
                    <a:lnTo>
                      <a:pt x="126" y="92"/>
                    </a:lnTo>
                    <a:lnTo>
                      <a:pt x="126" y="94"/>
                    </a:lnTo>
                    <a:lnTo>
                      <a:pt x="126" y="95"/>
                    </a:lnTo>
                    <a:lnTo>
                      <a:pt x="126" y="97"/>
                    </a:lnTo>
                    <a:lnTo>
                      <a:pt x="126" y="99"/>
                    </a:lnTo>
                    <a:lnTo>
                      <a:pt x="124" y="99"/>
                    </a:lnTo>
                    <a:lnTo>
                      <a:pt x="126" y="100"/>
                    </a:lnTo>
                    <a:lnTo>
                      <a:pt x="126" y="102"/>
                    </a:lnTo>
                    <a:lnTo>
                      <a:pt x="127" y="102"/>
                    </a:lnTo>
                    <a:lnTo>
                      <a:pt x="127" y="104"/>
                    </a:lnTo>
                    <a:lnTo>
                      <a:pt x="127" y="105"/>
                    </a:lnTo>
                    <a:lnTo>
                      <a:pt x="129" y="107"/>
                    </a:lnTo>
                    <a:lnTo>
                      <a:pt x="129" y="109"/>
                    </a:lnTo>
                    <a:lnTo>
                      <a:pt x="131" y="109"/>
                    </a:lnTo>
                    <a:lnTo>
                      <a:pt x="131" y="111"/>
                    </a:lnTo>
                    <a:lnTo>
                      <a:pt x="132" y="111"/>
                    </a:lnTo>
                    <a:lnTo>
                      <a:pt x="134" y="111"/>
                    </a:lnTo>
                    <a:lnTo>
                      <a:pt x="134" y="112"/>
                    </a:lnTo>
                    <a:lnTo>
                      <a:pt x="132" y="112"/>
                    </a:lnTo>
                    <a:lnTo>
                      <a:pt x="134" y="112"/>
                    </a:lnTo>
                    <a:lnTo>
                      <a:pt x="134" y="114"/>
                    </a:lnTo>
                    <a:lnTo>
                      <a:pt x="134" y="116"/>
                    </a:lnTo>
                    <a:lnTo>
                      <a:pt x="136" y="116"/>
                    </a:lnTo>
                    <a:lnTo>
                      <a:pt x="136" y="117"/>
                    </a:lnTo>
                    <a:lnTo>
                      <a:pt x="138" y="117"/>
                    </a:lnTo>
                    <a:lnTo>
                      <a:pt x="138" y="116"/>
                    </a:lnTo>
                    <a:lnTo>
                      <a:pt x="139" y="116"/>
                    </a:lnTo>
                    <a:lnTo>
                      <a:pt x="139" y="117"/>
                    </a:lnTo>
                    <a:lnTo>
                      <a:pt x="141" y="117"/>
                    </a:lnTo>
                    <a:lnTo>
                      <a:pt x="141" y="119"/>
                    </a:lnTo>
                    <a:lnTo>
                      <a:pt x="143" y="119"/>
                    </a:lnTo>
                    <a:lnTo>
                      <a:pt x="144" y="121"/>
                    </a:lnTo>
                    <a:lnTo>
                      <a:pt x="146" y="122"/>
                    </a:lnTo>
                    <a:lnTo>
                      <a:pt x="146" y="124"/>
                    </a:lnTo>
                    <a:lnTo>
                      <a:pt x="148" y="124"/>
                    </a:lnTo>
                    <a:lnTo>
                      <a:pt x="149" y="124"/>
                    </a:lnTo>
                    <a:lnTo>
                      <a:pt x="149" y="126"/>
                    </a:lnTo>
                    <a:lnTo>
                      <a:pt x="151" y="128"/>
                    </a:lnTo>
                    <a:lnTo>
                      <a:pt x="153" y="128"/>
                    </a:lnTo>
                    <a:lnTo>
                      <a:pt x="153" y="129"/>
                    </a:lnTo>
                    <a:lnTo>
                      <a:pt x="155" y="129"/>
                    </a:lnTo>
                    <a:lnTo>
                      <a:pt x="155" y="131"/>
                    </a:lnTo>
                    <a:lnTo>
                      <a:pt x="156" y="131"/>
                    </a:lnTo>
                    <a:lnTo>
                      <a:pt x="156" y="133"/>
                    </a:lnTo>
                    <a:lnTo>
                      <a:pt x="158" y="133"/>
                    </a:lnTo>
                    <a:lnTo>
                      <a:pt x="158" y="134"/>
                    </a:lnTo>
                    <a:lnTo>
                      <a:pt x="160" y="134"/>
                    </a:lnTo>
                    <a:lnTo>
                      <a:pt x="160" y="136"/>
                    </a:lnTo>
                    <a:lnTo>
                      <a:pt x="160" y="138"/>
                    </a:lnTo>
                    <a:lnTo>
                      <a:pt x="160" y="139"/>
                    </a:lnTo>
                    <a:lnTo>
                      <a:pt x="161" y="139"/>
                    </a:lnTo>
                    <a:lnTo>
                      <a:pt x="161" y="141"/>
                    </a:lnTo>
                    <a:lnTo>
                      <a:pt x="161" y="143"/>
                    </a:lnTo>
                    <a:lnTo>
                      <a:pt x="163" y="143"/>
                    </a:lnTo>
                    <a:lnTo>
                      <a:pt x="163" y="145"/>
                    </a:lnTo>
                    <a:lnTo>
                      <a:pt x="161" y="145"/>
                    </a:lnTo>
                    <a:lnTo>
                      <a:pt x="161" y="146"/>
                    </a:lnTo>
                    <a:lnTo>
                      <a:pt x="163" y="146"/>
                    </a:lnTo>
                    <a:lnTo>
                      <a:pt x="163" y="148"/>
                    </a:lnTo>
                    <a:lnTo>
                      <a:pt x="163" y="150"/>
                    </a:lnTo>
                    <a:lnTo>
                      <a:pt x="165" y="150"/>
                    </a:lnTo>
                    <a:lnTo>
                      <a:pt x="165" y="148"/>
                    </a:lnTo>
                    <a:lnTo>
                      <a:pt x="166" y="148"/>
                    </a:lnTo>
                    <a:lnTo>
                      <a:pt x="168" y="148"/>
                    </a:lnTo>
                    <a:lnTo>
                      <a:pt x="168" y="150"/>
                    </a:lnTo>
                    <a:lnTo>
                      <a:pt x="168" y="151"/>
                    </a:lnTo>
                    <a:lnTo>
                      <a:pt x="170" y="153"/>
                    </a:lnTo>
                    <a:lnTo>
                      <a:pt x="172" y="153"/>
                    </a:lnTo>
                    <a:lnTo>
                      <a:pt x="172" y="151"/>
                    </a:lnTo>
                    <a:lnTo>
                      <a:pt x="173" y="151"/>
                    </a:lnTo>
                    <a:lnTo>
                      <a:pt x="173" y="153"/>
                    </a:lnTo>
                    <a:lnTo>
                      <a:pt x="175" y="153"/>
                    </a:lnTo>
                    <a:lnTo>
                      <a:pt x="175" y="155"/>
                    </a:lnTo>
                    <a:lnTo>
                      <a:pt x="175" y="156"/>
                    </a:lnTo>
                    <a:lnTo>
                      <a:pt x="175" y="158"/>
                    </a:lnTo>
                    <a:lnTo>
                      <a:pt x="177" y="160"/>
                    </a:lnTo>
                    <a:lnTo>
                      <a:pt x="177" y="162"/>
                    </a:lnTo>
                    <a:lnTo>
                      <a:pt x="177" y="163"/>
                    </a:lnTo>
                    <a:lnTo>
                      <a:pt x="178" y="165"/>
                    </a:lnTo>
                    <a:lnTo>
                      <a:pt x="178" y="167"/>
                    </a:lnTo>
                    <a:lnTo>
                      <a:pt x="180" y="167"/>
                    </a:lnTo>
                    <a:lnTo>
                      <a:pt x="182" y="167"/>
                    </a:lnTo>
                    <a:lnTo>
                      <a:pt x="183" y="167"/>
                    </a:lnTo>
                    <a:lnTo>
                      <a:pt x="185" y="167"/>
                    </a:lnTo>
                    <a:lnTo>
                      <a:pt x="185" y="168"/>
                    </a:lnTo>
                    <a:lnTo>
                      <a:pt x="187" y="167"/>
                    </a:lnTo>
                    <a:lnTo>
                      <a:pt x="187" y="168"/>
                    </a:lnTo>
                    <a:lnTo>
                      <a:pt x="185" y="168"/>
                    </a:lnTo>
                    <a:lnTo>
                      <a:pt x="187" y="170"/>
                    </a:lnTo>
                    <a:lnTo>
                      <a:pt x="185" y="170"/>
                    </a:lnTo>
                    <a:lnTo>
                      <a:pt x="185" y="172"/>
                    </a:lnTo>
                    <a:lnTo>
                      <a:pt x="185" y="173"/>
                    </a:lnTo>
                    <a:lnTo>
                      <a:pt x="187" y="175"/>
                    </a:lnTo>
                    <a:lnTo>
                      <a:pt x="187" y="177"/>
                    </a:lnTo>
                    <a:lnTo>
                      <a:pt x="189" y="177"/>
                    </a:lnTo>
                    <a:lnTo>
                      <a:pt x="187" y="179"/>
                    </a:lnTo>
                    <a:lnTo>
                      <a:pt x="187" y="180"/>
                    </a:lnTo>
                    <a:lnTo>
                      <a:pt x="189" y="180"/>
                    </a:lnTo>
                    <a:lnTo>
                      <a:pt x="189" y="182"/>
                    </a:lnTo>
                    <a:lnTo>
                      <a:pt x="187" y="184"/>
                    </a:lnTo>
                    <a:lnTo>
                      <a:pt x="189" y="184"/>
                    </a:lnTo>
                    <a:lnTo>
                      <a:pt x="189" y="185"/>
                    </a:lnTo>
                    <a:lnTo>
                      <a:pt x="189" y="187"/>
                    </a:lnTo>
                    <a:lnTo>
                      <a:pt x="189" y="189"/>
                    </a:lnTo>
                    <a:lnTo>
                      <a:pt x="189" y="190"/>
                    </a:lnTo>
                    <a:lnTo>
                      <a:pt x="190" y="190"/>
                    </a:lnTo>
                    <a:lnTo>
                      <a:pt x="190" y="192"/>
                    </a:lnTo>
                    <a:lnTo>
                      <a:pt x="190" y="194"/>
                    </a:lnTo>
                    <a:lnTo>
                      <a:pt x="192" y="194"/>
                    </a:lnTo>
                    <a:lnTo>
                      <a:pt x="192" y="196"/>
                    </a:lnTo>
                    <a:lnTo>
                      <a:pt x="194" y="196"/>
                    </a:lnTo>
                    <a:lnTo>
                      <a:pt x="194" y="197"/>
                    </a:lnTo>
                    <a:lnTo>
                      <a:pt x="195" y="197"/>
                    </a:lnTo>
                    <a:lnTo>
                      <a:pt x="197" y="197"/>
                    </a:lnTo>
                    <a:lnTo>
                      <a:pt x="197" y="199"/>
                    </a:lnTo>
                    <a:lnTo>
                      <a:pt x="199" y="199"/>
                    </a:lnTo>
                    <a:lnTo>
                      <a:pt x="200" y="199"/>
                    </a:lnTo>
                    <a:lnTo>
                      <a:pt x="200" y="201"/>
                    </a:lnTo>
                    <a:lnTo>
                      <a:pt x="202" y="201"/>
                    </a:lnTo>
                    <a:lnTo>
                      <a:pt x="202" y="202"/>
                    </a:lnTo>
                    <a:lnTo>
                      <a:pt x="204" y="202"/>
                    </a:lnTo>
                    <a:lnTo>
                      <a:pt x="204" y="204"/>
                    </a:lnTo>
                    <a:lnTo>
                      <a:pt x="204" y="206"/>
                    </a:lnTo>
                    <a:lnTo>
                      <a:pt x="206" y="208"/>
                    </a:lnTo>
                    <a:lnTo>
                      <a:pt x="204" y="208"/>
                    </a:lnTo>
                    <a:lnTo>
                      <a:pt x="206" y="209"/>
                    </a:lnTo>
                    <a:lnTo>
                      <a:pt x="207" y="211"/>
                    </a:lnTo>
                    <a:lnTo>
                      <a:pt x="207" y="213"/>
                    </a:lnTo>
                    <a:lnTo>
                      <a:pt x="209" y="213"/>
                    </a:lnTo>
                    <a:lnTo>
                      <a:pt x="207" y="214"/>
                    </a:lnTo>
                    <a:lnTo>
                      <a:pt x="209" y="213"/>
                    </a:lnTo>
                    <a:lnTo>
                      <a:pt x="207" y="213"/>
                    </a:lnTo>
                    <a:lnTo>
                      <a:pt x="207" y="214"/>
                    </a:lnTo>
                    <a:lnTo>
                      <a:pt x="209" y="214"/>
                    </a:lnTo>
                    <a:lnTo>
                      <a:pt x="209" y="216"/>
                    </a:lnTo>
                    <a:lnTo>
                      <a:pt x="211" y="216"/>
                    </a:lnTo>
                    <a:lnTo>
                      <a:pt x="211" y="218"/>
                    </a:lnTo>
                    <a:lnTo>
                      <a:pt x="212" y="218"/>
                    </a:lnTo>
                    <a:lnTo>
                      <a:pt x="214" y="218"/>
                    </a:lnTo>
                    <a:lnTo>
                      <a:pt x="216" y="219"/>
                    </a:lnTo>
                    <a:lnTo>
                      <a:pt x="217" y="219"/>
                    </a:lnTo>
                    <a:lnTo>
                      <a:pt x="216" y="219"/>
                    </a:lnTo>
                    <a:lnTo>
                      <a:pt x="214" y="221"/>
                    </a:lnTo>
                    <a:lnTo>
                      <a:pt x="214" y="223"/>
                    </a:lnTo>
                    <a:lnTo>
                      <a:pt x="214" y="225"/>
                    </a:lnTo>
                    <a:lnTo>
                      <a:pt x="216" y="225"/>
                    </a:lnTo>
                    <a:lnTo>
                      <a:pt x="216" y="226"/>
                    </a:lnTo>
                    <a:lnTo>
                      <a:pt x="217" y="226"/>
                    </a:lnTo>
                    <a:lnTo>
                      <a:pt x="217" y="228"/>
                    </a:lnTo>
                    <a:lnTo>
                      <a:pt x="219" y="228"/>
                    </a:lnTo>
                    <a:lnTo>
                      <a:pt x="219" y="230"/>
                    </a:lnTo>
                    <a:lnTo>
                      <a:pt x="219" y="231"/>
                    </a:lnTo>
                    <a:lnTo>
                      <a:pt x="217" y="233"/>
                    </a:lnTo>
                    <a:lnTo>
                      <a:pt x="219" y="233"/>
                    </a:lnTo>
                    <a:lnTo>
                      <a:pt x="219" y="235"/>
                    </a:lnTo>
                    <a:lnTo>
                      <a:pt x="219" y="236"/>
                    </a:lnTo>
                    <a:lnTo>
                      <a:pt x="221" y="236"/>
                    </a:lnTo>
                    <a:lnTo>
                      <a:pt x="223" y="238"/>
                    </a:lnTo>
                    <a:lnTo>
                      <a:pt x="223" y="240"/>
                    </a:lnTo>
                    <a:lnTo>
                      <a:pt x="224" y="240"/>
                    </a:lnTo>
                    <a:lnTo>
                      <a:pt x="224" y="238"/>
                    </a:lnTo>
                    <a:lnTo>
                      <a:pt x="226" y="238"/>
                    </a:lnTo>
                    <a:lnTo>
                      <a:pt x="226" y="236"/>
                    </a:lnTo>
                    <a:lnTo>
                      <a:pt x="224" y="236"/>
                    </a:lnTo>
                    <a:lnTo>
                      <a:pt x="224" y="235"/>
                    </a:lnTo>
                    <a:lnTo>
                      <a:pt x="223" y="235"/>
                    </a:lnTo>
                    <a:lnTo>
                      <a:pt x="221" y="233"/>
                    </a:lnTo>
                    <a:lnTo>
                      <a:pt x="221" y="231"/>
                    </a:lnTo>
                    <a:lnTo>
                      <a:pt x="221" y="230"/>
                    </a:lnTo>
                    <a:lnTo>
                      <a:pt x="221" y="228"/>
                    </a:lnTo>
                    <a:lnTo>
                      <a:pt x="219" y="226"/>
                    </a:lnTo>
                    <a:lnTo>
                      <a:pt x="221" y="226"/>
                    </a:lnTo>
                    <a:lnTo>
                      <a:pt x="223" y="226"/>
                    </a:lnTo>
                    <a:lnTo>
                      <a:pt x="223" y="228"/>
                    </a:lnTo>
                    <a:lnTo>
                      <a:pt x="224" y="228"/>
                    </a:lnTo>
                    <a:lnTo>
                      <a:pt x="224" y="230"/>
                    </a:lnTo>
                    <a:lnTo>
                      <a:pt x="226" y="231"/>
                    </a:lnTo>
                    <a:lnTo>
                      <a:pt x="228" y="231"/>
                    </a:lnTo>
                    <a:lnTo>
                      <a:pt x="228" y="233"/>
                    </a:lnTo>
                    <a:lnTo>
                      <a:pt x="229" y="233"/>
                    </a:lnTo>
                    <a:lnTo>
                      <a:pt x="229" y="235"/>
                    </a:lnTo>
                    <a:lnTo>
                      <a:pt x="229" y="236"/>
                    </a:lnTo>
                    <a:lnTo>
                      <a:pt x="229" y="238"/>
                    </a:lnTo>
                    <a:lnTo>
                      <a:pt x="229" y="240"/>
                    </a:lnTo>
                    <a:lnTo>
                      <a:pt x="231" y="240"/>
                    </a:lnTo>
                    <a:lnTo>
                      <a:pt x="233" y="240"/>
                    </a:lnTo>
                    <a:lnTo>
                      <a:pt x="234" y="240"/>
                    </a:lnTo>
                    <a:lnTo>
                      <a:pt x="233" y="240"/>
                    </a:lnTo>
                    <a:lnTo>
                      <a:pt x="233" y="242"/>
                    </a:lnTo>
                    <a:lnTo>
                      <a:pt x="233" y="243"/>
                    </a:lnTo>
                    <a:lnTo>
                      <a:pt x="233" y="245"/>
                    </a:lnTo>
                    <a:lnTo>
                      <a:pt x="234" y="245"/>
                    </a:lnTo>
                    <a:lnTo>
                      <a:pt x="234" y="247"/>
                    </a:lnTo>
                    <a:lnTo>
                      <a:pt x="236" y="248"/>
                    </a:lnTo>
                    <a:lnTo>
                      <a:pt x="236" y="250"/>
                    </a:lnTo>
                    <a:lnTo>
                      <a:pt x="234" y="250"/>
                    </a:lnTo>
                    <a:lnTo>
                      <a:pt x="236" y="250"/>
                    </a:lnTo>
                    <a:lnTo>
                      <a:pt x="236" y="252"/>
                    </a:lnTo>
                    <a:lnTo>
                      <a:pt x="236" y="253"/>
                    </a:lnTo>
                    <a:lnTo>
                      <a:pt x="236" y="255"/>
                    </a:lnTo>
                    <a:lnTo>
                      <a:pt x="238" y="257"/>
                    </a:lnTo>
                    <a:lnTo>
                      <a:pt x="238" y="259"/>
                    </a:lnTo>
                    <a:lnTo>
                      <a:pt x="236" y="259"/>
                    </a:lnTo>
                    <a:lnTo>
                      <a:pt x="238" y="260"/>
                    </a:lnTo>
                    <a:lnTo>
                      <a:pt x="236" y="262"/>
                    </a:lnTo>
                    <a:lnTo>
                      <a:pt x="238" y="264"/>
                    </a:lnTo>
                    <a:lnTo>
                      <a:pt x="238" y="265"/>
                    </a:lnTo>
                    <a:lnTo>
                      <a:pt x="238" y="267"/>
                    </a:lnTo>
                    <a:lnTo>
                      <a:pt x="238" y="269"/>
                    </a:lnTo>
                    <a:lnTo>
                      <a:pt x="240" y="269"/>
                    </a:lnTo>
                    <a:lnTo>
                      <a:pt x="240" y="270"/>
                    </a:lnTo>
                    <a:lnTo>
                      <a:pt x="241" y="270"/>
                    </a:lnTo>
                    <a:lnTo>
                      <a:pt x="241" y="272"/>
                    </a:lnTo>
                    <a:lnTo>
                      <a:pt x="241" y="274"/>
                    </a:lnTo>
                    <a:lnTo>
                      <a:pt x="243" y="276"/>
                    </a:lnTo>
                    <a:lnTo>
                      <a:pt x="243" y="277"/>
                    </a:lnTo>
                    <a:lnTo>
                      <a:pt x="245" y="277"/>
                    </a:lnTo>
                    <a:lnTo>
                      <a:pt x="246" y="277"/>
                    </a:lnTo>
                    <a:lnTo>
                      <a:pt x="246" y="279"/>
                    </a:lnTo>
                    <a:lnTo>
                      <a:pt x="248" y="277"/>
                    </a:lnTo>
                    <a:lnTo>
                      <a:pt x="248" y="279"/>
                    </a:lnTo>
                    <a:lnTo>
                      <a:pt x="248" y="281"/>
                    </a:lnTo>
                    <a:lnTo>
                      <a:pt x="248" y="282"/>
                    </a:lnTo>
                    <a:lnTo>
                      <a:pt x="250" y="284"/>
                    </a:lnTo>
                    <a:lnTo>
                      <a:pt x="250" y="286"/>
                    </a:lnTo>
                    <a:lnTo>
                      <a:pt x="251" y="286"/>
                    </a:lnTo>
                    <a:lnTo>
                      <a:pt x="251" y="287"/>
                    </a:lnTo>
                    <a:lnTo>
                      <a:pt x="250" y="287"/>
                    </a:lnTo>
                    <a:lnTo>
                      <a:pt x="251" y="287"/>
                    </a:lnTo>
                    <a:lnTo>
                      <a:pt x="250" y="289"/>
                    </a:lnTo>
                    <a:lnTo>
                      <a:pt x="251" y="289"/>
                    </a:lnTo>
                    <a:lnTo>
                      <a:pt x="251" y="291"/>
                    </a:lnTo>
                    <a:lnTo>
                      <a:pt x="251" y="293"/>
                    </a:lnTo>
                    <a:lnTo>
                      <a:pt x="253" y="293"/>
                    </a:lnTo>
                    <a:lnTo>
                      <a:pt x="253" y="294"/>
                    </a:lnTo>
                    <a:lnTo>
                      <a:pt x="255" y="294"/>
                    </a:lnTo>
                    <a:lnTo>
                      <a:pt x="255" y="296"/>
                    </a:lnTo>
                    <a:lnTo>
                      <a:pt x="257" y="296"/>
                    </a:lnTo>
                    <a:lnTo>
                      <a:pt x="257" y="298"/>
                    </a:lnTo>
                    <a:lnTo>
                      <a:pt x="257" y="299"/>
                    </a:lnTo>
                    <a:lnTo>
                      <a:pt x="258" y="299"/>
                    </a:lnTo>
                    <a:lnTo>
                      <a:pt x="258" y="301"/>
                    </a:lnTo>
                    <a:lnTo>
                      <a:pt x="260" y="301"/>
                    </a:lnTo>
                    <a:lnTo>
                      <a:pt x="260" y="303"/>
                    </a:lnTo>
                    <a:lnTo>
                      <a:pt x="260" y="304"/>
                    </a:lnTo>
                    <a:lnTo>
                      <a:pt x="260" y="306"/>
                    </a:lnTo>
                    <a:lnTo>
                      <a:pt x="258" y="308"/>
                    </a:lnTo>
                    <a:lnTo>
                      <a:pt x="258" y="310"/>
                    </a:lnTo>
                    <a:lnTo>
                      <a:pt x="258" y="311"/>
                    </a:lnTo>
                    <a:lnTo>
                      <a:pt x="257" y="311"/>
                    </a:lnTo>
                    <a:lnTo>
                      <a:pt x="257" y="313"/>
                    </a:lnTo>
                    <a:lnTo>
                      <a:pt x="258" y="313"/>
                    </a:lnTo>
                    <a:lnTo>
                      <a:pt x="257" y="315"/>
                    </a:lnTo>
                    <a:lnTo>
                      <a:pt x="258" y="315"/>
                    </a:lnTo>
                    <a:lnTo>
                      <a:pt x="258" y="316"/>
                    </a:lnTo>
                    <a:lnTo>
                      <a:pt x="260" y="318"/>
                    </a:lnTo>
                    <a:lnTo>
                      <a:pt x="258" y="318"/>
                    </a:lnTo>
                    <a:lnTo>
                      <a:pt x="258" y="320"/>
                    </a:lnTo>
                    <a:lnTo>
                      <a:pt x="260" y="320"/>
                    </a:lnTo>
                    <a:lnTo>
                      <a:pt x="260" y="321"/>
                    </a:lnTo>
                    <a:lnTo>
                      <a:pt x="260" y="323"/>
                    </a:lnTo>
                    <a:lnTo>
                      <a:pt x="262" y="323"/>
                    </a:lnTo>
                    <a:lnTo>
                      <a:pt x="262" y="325"/>
                    </a:lnTo>
                    <a:lnTo>
                      <a:pt x="263" y="325"/>
                    </a:lnTo>
                    <a:lnTo>
                      <a:pt x="263" y="327"/>
                    </a:lnTo>
                    <a:lnTo>
                      <a:pt x="265" y="327"/>
                    </a:lnTo>
                    <a:lnTo>
                      <a:pt x="267" y="328"/>
                    </a:lnTo>
                    <a:lnTo>
                      <a:pt x="268" y="328"/>
                    </a:lnTo>
                    <a:lnTo>
                      <a:pt x="270" y="328"/>
                    </a:lnTo>
                    <a:lnTo>
                      <a:pt x="272" y="328"/>
                    </a:lnTo>
                    <a:lnTo>
                      <a:pt x="270" y="328"/>
                    </a:lnTo>
                    <a:lnTo>
                      <a:pt x="268" y="328"/>
                    </a:lnTo>
                    <a:lnTo>
                      <a:pt x="268" y="330"/>
                    </a:lnTo>
                    <a:lnTo>
                      <a:pt x="270" y="330"/>
                    </a:lnTo>
                    <a:lnTo>
                      <a:pt x="272" y="328"/>
                    </a:lnTo>
                    <a:lnTo>
                      <a:pt x="272" y="327"/>
                    </a:lnTo>
                    <a:lnTo>
                      <a:pt x="272" y="325"/>
                    </a:lnTo>
                    <a:lnTo>
                      <a:pt x="270" y="325"/>
                    </a:lnTo>
                    <a:lnTo>
                      <a:pt x="272" y="325"/>
                    </a:lnTo>
                    <a:lnTo>
                      <a:pt x="270" y="323"/>
                    </a:lnTo>
                    <a:lnTo>
                      <a:pt x="272" y="323"/>
                    </a:lnTo>
                    <a:lnTo>
                      <a:pt x="270" y="323"/>
                    </a:lnTo>
                    <a:lnTo>
                      <a:pt x="272" y="323"/>
                    </a:lnTo>
                    <a:lnTo>
                      <a:pt x="272" y="321"/>
                    </a:lnTo>
                    <a:lnTo>
                      <a:pt x="274" y="321"/>
                    </a:lnTo>
                    <a:lnTo>
                      <a:pt x="275" y="321"/>
                    </a:lnTo>
                    <a:lnTo>
                      <a:pt x="274" y="323"/>
                    </a:lnTo>
                    <a:lnTo>
                      <a:pt x="275" y="323"/>
                    </a:lnTo>
                    <a:lnTo>
                      <a:pt x="275" y="325"/>
                    </a:lnTo>
                    <a:lnTo>
                      <a:pt x="277" y="325"/>
                    </a:lnTo>
                    <a:lnTo>
                      <a:pt x="279" y="327"/>
                    </a:lnTo>
                    <a:lnTo>
                      <a:pt x="280" y="327"/>
                    </a:lnTo>
                    <a:lnTo>
                      <a:pt x="280" y="328"/>
                    </a:lnTo>
                    <a:lnTo>
                      <a:pt x="282" y="328"/>
                    </a:lnTo>
                    <a:lnTo>
                      <a:pt x="282" y="330"/>
                    </a:lnTo>
                    <a:lnTo>
                      <a:pt x="282" y="332"/>
                    </a:lnTo>
                    <a:lnTo>
                      <a:pt x="282" y="333"/>
                    </a:lnTo>
                    <a:lnTo>
                      <a:pt x="284" y="333"/>
                    </a:lnTo>
                    <a:lnTo>
                      <a:pt x="285" y="333"/>
                    </a:lnTo>
                    <a:lnTo>
                      <a:pt x="287" y="333"/>
                    </a:lnTo>
                    <a:lnTo>
                      <a:pt x="287" y="332"/>
                    </a:lnTo>
                    <a:lnTo>
                      <a:pt x="289" y="332"/>
                    </a:lnTo>
                    <a:lnTo>
                      <a:pt x="289" y="333"/>
                    </a:lnTo>
                    <a:lnTo>
                      <a:pt x="289" y="335"/>
                    </a:lnTo>
                    <a:lnTo>
                      <a:pt x="287" y="335"/>
                    </a:lnTo>
                    <a:lnTo>
                      <a:pt x="287" y="337"/>
                    </a:lnTo>
                    <a:lnTo>
                      <a:pt x="289" y="338"/>
                    </a:lnTo>
                    <a:lnTo>
                      <a:pt x="291" y="338"/>
                    </a:lnTo>
                    <a:lnTo>
                      <a:pt x="291" y="340"/>
                    </a:lnTo>
                    <a:lnTo>
                      <a:pt x="292" y="342"/>
                    </a:lnTo>
                    <a:lnTo>
                      <a:pt x="292" y="344"/>
                    </a:lnTo>
                    <a:lnTo>
                      <a:pt x="292" y="345"/>
                    </a:lnTo>
                    <a:lnTo>
                      <a:pt x="292" y="347"/>
                    </a:lnTo>
                    <a:lnTo>
                      <a:pt x="294" y="347"/>
                    </a:lnTo>
                    <a:lnTo>
                      <a:pt x="294" y="349"/>
                    </a:lnTo>
                    <a:lnTo>
                      <a:pt x="296" y="349"/>
                    </a:lnTo>
                    <a:lnTo>
                      <a:pt x="297" y="349"/>
                    </a:lnTo>
                    <a:lnTo>
                      <a:pt x="299" y="350"/>
                    </a:lnTo>
                    <a:lnTo>
                      <a:pt x="301" y="350"/>
                    </a:lnTo>
                    <a:lnTo>
                      <a:pt x="299" y="352"/>
                    </a:lnTo>
                    <a:lnTo>
                      <a:pt x="301" y="354"/>
                    </a:lnTo>
                    <a:lnTo>
                      <a:pt x="302" y="355"/>
                    </a:lnTo>
                    <a:lnTo>
                      <a:pt x="301" y="355"/>
                    </a:lnTo>
                    <a:lnTo>
                      <a:pt x="302" y="357"/>
                    </a:lnTo>
                    <a:lnTo>
                      <a:pt x="301" y="357"/>
                    </a:lnTo>
                    <a:lnTo>
                      <a:pt x="302" y="359"/>
                    </a:lnTo>
                    <a:lnTo>
                      <a:pt x="302" y="361"/>
                    </a:lnTo>
                    <a:lnTo>
                      <a:pt x="301" y="361"/>
                    </a:lnTo>
                    <a:lnTo>
                      <a:pt x="301" y="362"/>
                    </a:lnTo>
                    <a:lnTo>
                      <a:pt x="301" y="364"/>
                    </a:lnTo>
                    <a:lnTo>
                      <a:pt x="301" y="366"/>
                    </a:lnTo>
                    <a:lnTo>
                      <a:pt x="299" y="366"/>
                    </a:lnTo>
                    <a:lnTo>
                      <a:pt x="299" y="367"/>
                    </a:lnTo>
                    <a:lnTo>
                      <a:pt x="297" y="367"/>
                    </a:lnTo>
                    <a:lnTo>
                      <a:pt x="297" y="369"/>
                    </a:lnTo>
                    <a:lnTo>
                      <a:pt x="296" y="369"/>
                    </a:lnTo>
                    <a:lnTo>
                      <a:pt x="294" y="369"/>
                    </a:lnTo>
                    <a:lnTo>
                      <a:pt x="292" y="369"/>
                    </a:lnTo>
                    <a:lnTo>
                      <a:pt x="292" y="371"/>
                    </a:lnTo>
                    <a:lnTo>
                      <a:pt x="291" y="373"/>
                    </a:lnTo>
                    <a:lnTo>
                      <a:pt x="289" y="373"/>
                    </a:lnTo>
                    <a:lnTo>
                      <a:pt x="289" y="374"/>
                    </a:lnTo>
                    <a:lnTo>
                      <a:pt x="287" y="374"/>
                    </a:lnTo>
                    <a:lnTo>
                      <a:pt x="287" y="376"/>
                    </a:lnTo>
                    <a:lnTo>
                      <a:pt x="285" y="376"/>
                    </a:lnTo>
                    <a:lnTo>
                      <a:pt x="284" y="376"/>
                    </a:lnTo>
                    <a:lnTo>
                      <a:pt x="282" y="376"/>
                    </a:lnTo>
                    <a:lnTo>
                      <a:pt x="282" y="374"/>
                    </a:lnTo>
                    <a:lnTo>
                      <a:pt x="280" y="374"/>
                    </a:lnTo>
                    <a:lnTo>
                      <a:pt x="280" y="373"/>
                    </a:lnTo>
                    <a:lnTo>
                      <a:pt x="279" y="373"/>
                    </a:lnTo>
                    <a:lnTo>
                      <a:pt x="279" y="371"/>
                    </a:lnTo>
                    <a:lnTo>
                      <a:pt x="279" y="369"/>
                    </a:lnTo>
                    <a:lnTo>
                      <a:pt x="279" y="367"/>
                    </a:lnTo>
                    <a:lnTo>
                      <a:pt x="279" y="366"/>
                    </a:lnTo>
                    <a:lnTo>
                      <a:pt x="277" y="366"/>
                    </a:lnTo>
                    <a:lnTo>
                      <a:pt x="277" y="364"/>
                    </a:lnTo>
                    <a:lnTo>
                      <a:pt x="277" y="362"/>
                    </a:lnTo>
                    <a:lnTo>
                      <a:pt x="277" y="361"/>
                    </a:lnTo>
                    <a:lnTo>
                      <a:pt x="277" y="359"/>
                    </a:lnTo>
                    <a:lnTo>
                      <a:pt x="275" y="359"/>
                    </a:lnTo>
                    <a:lnTo>
                      <a:pt x="275" y="357"/>
                    </a:lnTo>
                    <a:lnTo>
                      <a:pt x="274" y="355"/>
                    </a:lnTo>
                    <a:lnTo>
                      <a:pt x="274" y="354"/>
                    </a:lnTo>
                    <a:lnTo>
                      <a:pt x="272" y="352"/>
                    </a:lnTo>
                    <a:lnTo>
                      <a:pt x="272" y="350"/>
                    </a:lnTo>
                    <a:lnTo>
                      <a:pt x="270" y="350"/>
                    </a:lnTo>
                    <a:lnTo>
                      <a:pt x="268" y="349"/>
                    </a:lnTo>
                    <a:lnTo>
                      <a:pt x="267" y="349"/>
                    </a:lnTo>
                    <a:lnTo>
                      <a:pt x="267" y="347"/>
                    </a:lnTo>
                    <a:lnTo>
                      <a:pt x="265" y="347"/>
                    </a:lnTo>
                    <a:lnTo>
                      <a:pt x="263" y="347"/>
                    </a:lnTo>
                    <a:lnTo>
                      <a:pt x="262" y="345"/>
                    </a:lnTo>
                    <a:lnTo>
                      <a:pt x="260" y="344"/>
                    </a:lnTo>
                    <a:lnTo>
                      <a:pt x="258" y="344"/>
                    </a:lnTo>
                    <a:lnTo>
                      <a:pt x="258" y="342"/>
                    </a:lnTo>
                    <a:lnTo>
                      <a:pt x="257" y="340"/>
                    </a:lnTo>
                    <a:lnTo>
                      <a:pt x="257" y="338"/>
                    </a:lnTo>
                    <a:lnTo>
                      <a:pt x="255" y="338"/>
                    </a:lnTo>
                    <a:lnTo>
                      <a:pt x="255" y="337"/>
                    </a:lnTo>
                    <a:lnTo>
                      <a:pt x="253" y="337"/>
                    </a:lnTo>
                    <a:lnTo>
                      <a:pt x="253" y="335"/>
                    </a:lnTo>
                    <a:lnTo>
                      <a:pt x="251" y="335"/>
                    </a:lnTo>
                    <a:lnTo>
                      <a:pt x="251" y="333"/>
                    </a:lnTo>
                    <a:lnTo>
                      <a:pt x="250" y="333"/>
                    </a:lnTo>
                    <a:lnTo>
                      <a:pt x="250" y="332"/>
                    </a:lnTo>
                    <a:lnTo>
                      <a:pt x="248" y="332"/>
                    </a:lnTo>
                    <a:lnTo>
                      <a:pt x="246" y="330"/>
                    </a:lnTo>
                    <a:lnTo>
                      <a:pt x="245" y="330"/>
                    </a:lnTo>
                    <a:lnTo>
                      <a:pt x="245" y="328"/>
                    </a:lnTo>
                    <a:lnTo>
                      <a:pt x="243" y="328"/>
                    </a:lnTo>
                    <a:lnTo>
                      <a:pt x="241" y="327"/>
                    </a:lnTo>
                    <a:lnTo>
                      <a:pt x="240" y="327"/>
                    </a:lnTo>
                    <a:lnTo>
                      <a:pt x="240" y="325"/>
                    </a:lnTo>
                    <a:lnTo>
                      <a:pt x="236" y="323"/>
                    </a:lnTo>
                    <a:lnTo>
                      <a:pt x="234" y="323"/>
                    </a:lnTo>
                    <a:lnTo>
                      <a:pt x="234" y="321"/>
                    </a:lnTo>
                    <a:lnTo>
                      <a:pt x="233" y="321"/>
                    </a:lnTo>
                    <a:lnTo>
                      <a:pt x="233" y="320"/>
                    </a:lnTo>
                    <a:lnTo>
                      <a:pt x="231" y="320"/>
                    </a:lnTo>
                    <a:lnTo>
                      <a:pt x="229" y="320"/>
                    </a:lnTo>
                    <a:lnTo>
                      <a:pt x="229" y="318"/>
                    </a:lnTo>
                    <a:lnTo>
                      <a:pt x="228" y="318"/>
                    </a:lnTo>
                    <a:lnTo>
                      <a:pt x="228" y="316"/>
                    </a:lnTo>
                    <a:lnTo>
                      <a:pt x="228" y="315"/>
                    </a:lnTo>
                    <a:lnTo>
                      <a:pt x="226" y="315"/>
                    </a:lnTo>
                    <a:lnTo>
                      <a:pt x="228" y="315"/>
                    </a:lnTo>
                    <a:lnTo>
                      <a:pt x="226" y="313"/>
                    </a:lnTo>
                    <a:lnTo>
                      <a:pt x="224" y="313"/>
                    </a:lnTo>
                    <a:lnTo>
                      <a:pt x="226" y="315"/>
                    </a:lnTo>
                    <a:lnTo>
                      <a:pt x="224" y="315"/>
                    </a:lnTo>
                    <a:lnTo>
                      <a:pt x="224" y="313"/>
                    </a:lnTo>
                    <a:lnTo>
                      <a:pt x="224" y="315"/>
                    </a:lnTo>
                    <a:lnTo>
                      <a:pt x="223" y="315"/>
                    </a:lnTo>
                    <a:lnTo>
                      <a:pt x="221" y="313"/>
                    </a:lnTo>
                    <a:lnTo>
                      <a:pt x="223" y="313"/>
                    </a:lnTo>
                    <a:lnTo>
                      <a:pt x="221" y="313"/>
                    </a:lnTo>
                    <a:lnTo>
                      <a:pt x="221" y="315"/>
                    </a:lnTo>
                    <a:lnTo>
                      <a:pt x="223" y="315"/>
                    </a:lnTo>
                    <a:lnTo>
                      <a:pt x="221" y="315"/>
                    </a:lnTo>
                    <a:lnTo>
                      <a:pt x="221" y="316"/>
                    </a:lnTo>
                    <a:lnTo>
                      <a:pt x="221" y="315"/>
                    </a:lnTo>
                    <a:lnTo>
                      <a:pt x="221" y="313"/>
                    </a:lnTo>
                    <a:lnTo>
                      <a:pt x="221" y="311"/>
                    </a:lnTo>
                    <a:lnTo>
                      <a:pt x="219" y="310"/>
                    </a:lnTo>
                    <a:lnTo>
                      <a:pt x="217" y="308"/>
                    </a:lnTo>
                    <a:lnTo>
                      <a:pt x="217" y="306"/>
                    </a:lnTo>
                    <a:lnTo>
                      <a:pt x="216" y="306"/>
                    </a:lnTo>
                    <a:lnTo>
                      <a:pt x="216" y="304"/>
                    </a:lnTo>
                    <a:lnTo>
                      <a:pt x="216" y="306"/>
                    </a:lnTo>
                    <a:lnTo>
                      <a:pt x="216" y="308"/>
                    </a:lnTo>
                    <a:lnTo>
                      <a:pt x="216" y="306"/>
                    </a:lnTo>
                    <a:lnTo>
                      <a:pt x="216" y="308"/>
                    </a:lnTo>
                    <a:lnTo>
                      <a:pt x="214" y="308"/>
                    </a:lnTo>
                    <a:lnTo>
                      <a:pt x="214" y="306"/>
                    </a:lnTo>
                    <a:lnTo>
                      <a:pt x="214" y="304"/>
                    </a:lnTo>
                    <a:lnTo>
                      <a:pt x="212" y="306"/>
                    </a:lnTo>
                    <a:lnTo>
                      <a:pt x="214" y="306"/>
                    </a:lnTo>
                    <a:lnTo>
                      <a:pt x="212" y="306"/>
                    </a:lnTo>
                    <a:lnTo>
                      <a:pt x="212" y="308"/>
                    </a:lnTo>
                    <a:lnTo>
                      <a:pt x="212" y="306"/>
                    </a:lnTo>
                    <a:lnTo>
                      <a:pt x="212" y="304"/>
                    </a:lnTo>
                    <a:lnTo>
                      <a:pt x="211" y="304"/>
                    </a:lnTo>
                    <a:lnTo>
                      <a:pt x="212" y="306"/>
                    </a:lnTo>
                    <a:lnTo>
                      <a:pt x="211" y="304"/>
                    </a:lnTo>
                    <a:lnTo>
                      <a:pt x="212" y="304"/>
                    </a:lnTo>
                    <a:lnTo>
                      <a:pt x="211" y="303"/>
                    </a:lnTo>
                    <a:lnTo>
                      <a:pt x="211" y="301"/>
                    </a:lnTo>
                    <a:lnTo>
                      <a:pt x="212" y="301"/>
                    </a:lnTo>
                    <a:lnTo>
                      <a:pt x="211" y="301"/>
                    </a:lnTo>
                    <a:lnTo>
                      <a:pt x="211" y="299"/>
                    </a:lnTo>
                    <a:lnTo>
                      <a:pt x="212" y="299"/>
                    </a:lnTo>
                    <a:lnTo>
                      <a:pt x="211" y="298"/>
                    </a:lnTo>
                    <a:lnTo>
                      <a:pt x="211" y="299"/>
                    </a:lnTo>
                    <a:lnTo>
                      <a:pt x="211" y="301"/>
                    </a:lnTo>
                    <a:lnTo>
                      <a:pt x="211" y="303"/>
                    </a:lnTo>
                    <a:lnTo>
                      <a:pt x="211" y="304"/>
                    </a:lnTo>
                    <a:lnTo>
                      <a:pt x="209" y="304"/>
                    </a:lnTo>
                    <a:lnTo>
                      <a:pt x="211" y="303"/>
                    </a:lnTo>
                    <a:lnTo>
                      <a:pt x="209" y="303"/>
                    </a:lnTo>
                    <a:lnTo>
                      <a:pt x="209" y="304"/>
                    </a:lnTo>
                    <a:lnTo>
                      <a:pt x="209" y="303"/>
                    </a:lnTo>
                    <a:lnTo>
                      <a:pt x="209" y="301"/>
                    </a:lnTo>
                    <a:lnTo>
                      <a:pt x="209" y="299"/>
                    </a:lnTo>
                    <a:lnTo>
                      <a:pt x="211" y="299"/>
                    </a:lnTo>
                    <a:lnTo>
                      <a:pt x="209" y="298"/>
                    </a:lnTo>
                    <a:lnTo>
                      <a:pt x="211" y="298"/>
                    </a:lnTo>
                    <a:lnTo>
                      <a:pt x="211" y="296"/>
                    </a:lnTo>
                    <a:lnTo>
                      <a:pt x="211" y="294"/>
                    </a:lnTo>
                    <a:lnTo>
                      <a:pt x="209" y="294"/>
                    </a:lnTo>
                    <a:lnTo>
                      <a:pt x="211" y="293"/>
                    </a:lnTo>
                    <a:lnTo>
                      <a:pt x="209" y="293"/>
                    </a:lnTo>
                    <a:lnTo>
                      <a:pt x="211" y="293"/>
                    </a:lnTo>
                    <a:lnTo>
                      <a:pt x="211" y="291"/>
                    </a:lnTo>
                    <a:lnTo>
                      <a:pt x="211" y="289"/>
                    </a:lnTo>
                    <a:lnTo>
                      <a:pt x="211" y="287"/>
                    </a:lnTo>
                    <a:lnTo>
                      <a:pt x="212" y="287"/>
                    </a:lnTo>
                    <a:lnTo>
                      <a:pt x="212" y="286"/>
                    </a:lnTo>
                    <a:lnTo>
                      <a:pt x="212" y="284"/>
                    </a:lnTo>
                    <a:lnTo>
                      <a:pt x="211" y="284"/>
                    </a:lnTo>
                    <a:lnTo>
                      <a:pt x="212" y="284"/>
                    </a:lnTo>
                    <a:lnTo>
                      <a:pt x="212" y="282"/>
                    </a:lnTo>
                    <a:lnTo>
                      <a:pt x="212" y="281"/>
                    </a:lnTo>
                    <a:lnTo>
                      <a:pt x="212" y="282"/>
                    </a:lnTo>
                    <a:lnTo>
                      <a:pt x="212" y="281"/>
                    </a:lnTo>
                    <a:lnTo>
                      <a:pt x="212" y="279"/>
                    </a:lnTo>
                    <a:lnTo>
                      <a:pt x="212" y="277"/>
                    </a:lnTo>
                    <a:lnTo>
                      <a:pt x="212" y="276"/>
                    </a:lnTo>
                    <a:lnTo>
                      <a:pt x="212" y="274"/>
                    </a:lnTo>
                    <a:lnTo>
                      <a:pt x="212" y="272"/>
                    </a:lnTo>
                    <a:lnTo>
                      <a:pt x="211" y="272"/>
                    </a:lnTo>
                    <a:lnTo>
                      <a:pt x="211" y="270"/>
                    </a:lnTo>
                    <a:lnTo>
                      <a:pt x="211" y="269"/>
                    </a:lnTo>
                    <a:lnTo>
                      <a:pt x="211" y="267"/>
                    </a:lnTo>
                    <a:lnTo>
                      <a:pt x="211" y="265"/>
                    </a:lnTo>
                    <a:lnTo>
                      <a:pt x="209" y="265"/>
                    </a:lnTo>
                    <a:lnTo>
                      <a:pt x="209" y="264"/>
                    </a:lnTo>
                    <a:lnTo>
                      <a:pt x="209" y="262"/>
                    </a:lnTo>
                    <a:lnTo>
                      <a:pt x="209" y="260"/>
                    </a:lnTo>
                    <a:lnTo>
                      <a:pt x="207" y="260"/>
                    </a:lnTo>
                    <a:lnTo>
                      <a:pt x="207" y="259"/>
                    </a:lnTo>
                    <a:lnTo>
                      <a:pt x="206" y="259"/>
                    </a:lnTo>
                    <a:lnTo>
                      <a:pt x="206" y="257"/>
                    </a:lnTo>
                    <a:lnTo>
                      <a:pt x="206" y="259"/>
                    </a:lnTo>
                    <a:lnTo>
                      <a:pt x="204" y="257"/>
                    </a:lnTo>
                    <a:lnTo>
                      <a:pt x="204" y="255"/>
                    </a:lnTo>
                    <a:lnTo>
                      <a:pt x="204" y="253"/>
                    </a:lnTo>
                    <a:lnTo>
                      <a:pt x="202" y="253"/>
                    </a:lnTo>
                    <a:lnTo>
                      <a:pt x="202" y="252"/>
                    </a:lnTo>
                    <a:lnTo>
                      <a:pt x="200" y="250"/>
                    </a:lnTo>
                    <a:lnTo>
                      <a:pt x="199" y="250"/>
                    </a:lnTo>
                    <a:lnTo>
                      <a:pt x="199" y="252"/>
                    </a:lnTo>
                    <a:lnTo>
                      <a:pt x="197" y="250"/>
                    </a:lnTo>
                    <a:lnTo>
                      <a:pt x="195" y="250"/>
                    </a:lnTo>
                    <a:lnTo>
                      <a:pt x="195" y="248"/>
                    </a:lnTo>
                    <a:lnTo>
                      <a:pt x="194" y="248"/>
                    </a:lnTo>
                    <a:lnTo>
                      <a:pt x="192" y="248"/>
                    </a:lnTo>
                    <a:lnTo>
                      <a:pt x="192" y="247"/>
                    </a:lnTo>
                    <a:lnTo>
                      <a:pt x="190" y="247"/>
                    </a:lnTo>
                    <a:lnTo>
                      <a:pt x="189" y="245"/>
                    </a:lnTo>
                    <a:lnTo>
                      <a:pt x="187" y="243"/>
                    </a:lnTo>
                    <a:lnTo>
                      <a:pt x="185" y="242"/>
                    </a:lnTo>
                    <a:lnTo>
                      <a:pt x="183" y="242"/>
                    </a:lnTo>
                    <a:lnTo>
                      <a:pt x="183" y="240"/>
                    </a:lnTo>
                    <a:lnTo>
                      <a:pt x="182" y="240"/>
                    </a:lnTo>
                    <a:lnTo>
                      <a:pt x="180" y="238"/>
                    </a:lnTo>
                    <a:lnTo>
                      <a:pt x="178" y="238"/>
                    </a:lnTo>
                    <a:lnTo>
                      <a:pt x="178" y="236"/>
                    </a:lnTo>
                    <a:lnTo>
                      <a:pt x="180" y="236"/>
                    </a:lnTo>
                    <a:lnTo>
                      <a:pt x="178" y="235"/>
                    </a:lnTo>
                    <a:lnTo>
                      <a:pt x="178" y="233"/>
                    </a:lnTo>
                    <a:lnTo>
                      <a:pt x="177" y="233"/>
                    </a:lnTo>
                    <a:lnTo>
                      <a:pt x="177" y="231"/>
                    </a:lnTo>
                    <a:lnTo>
                      <a:pt x="177" y="230"/>
                    </a:lnTo>
                    <a:lnTo>
                      <a:pt x="175" y="230"/>
                    </a:lnTo>
                    <a:lnTo>
                      <a:pt x="175" y="231"/>
                    </a:lnTo>
                    <a:lnTo>
                      <a:pt x="173" y="231"/>
                    </a:lnTo>
                    <a:lnTo>
                      <a:pt x="175" y="231"/>
                    </a:lnTo>
                    <a:lnTo>
                      <a:pt x="173" y="231"/>
                    </a:lnTo>
                    <a:lnTo>
                      <a:pt x="173" y="230"/>
                    </a:lnTo>
                    <a:lnTo>
                      <a:pt x="175" y="230"/>
                    </a:lnTo>
                    <a:lnTo>
                      <a:pt x="173" y="230"/>
                    </a:lnTo>
                    <a:lnTo>
                      <a:pt x="175" y="230"/>
                    </a:lnTo>
                    <a:lnTo>
                      <a:pt x="175" y="228"/>
                    </a:lnTo>
                    <a:lnTo>
                      <a:pt x="177" y="228"/>
                    </a:lnTo>
                    <a:lnTo>
                      <a:pt x="177" y="226"/>
                    </a:lnTo>
                    <a:lnTo>
                      <a:pt x="177" y="225"/>
                    </a:lnTo>
                    <a:lnTo>
                      <a:pt x="177" y="223"/>
                    </a:lnTo>
                    <a:lnTo>
                      <a:pt x="175" y="223"/>
                    </a:lnTo>
                    <a:lnTo>
                      <a:pt x="175" y="225"/>
                    </a:lnTo>
                    <a:lnTo>
                      <a:pt x="175" y="226"/>
                    </a:lnTo>
                    <a:lnTo>
                      <a:pt x="175" y="228"/>
                    </a:lnTo>
                    <a:lnTo>
                      <a:pt x="173" y="228"/>
                    </a:lnTo>
                    <a:lnTo>
                      <a:pt x="172" y="230"/>
                    </a:lnTo>
                    <a:lnTo>
                      <a:pt x="172" y="231"/>
                    </a:lnTo>
                    <a:lnTo>
                      <a:pt x="170" y="231"/>
                    </a:lnTo>
                    <a:lnTo>
                      <a:pt x="170" y="230"/>
                    </a:lnTo>
                    <a:lnTo>
                      <a:pt x="168" y="230"/>
                    </a:lnTo>
                    <a:lnTo>
                      <a:pt x="166" y="230"/>
                    </a:lnTo>
                    <a:lnTo>
                      <a:pt x="165" y="230"/>
                    </a:lnTo>
                    <a:lnTo>
                      <a:pt x="163" y="230"/>
                    </a:lnTo>
                    <a:lnTo>
                      <a:pt x="163" y="231"/>
                    </a:lnTo>
                    <a:lnTo>
                      <a:pt x="163" y="233"/>
                    </a:lnTo>
                    <a:lnTo>
                      <a:pt x="161" y="233"/>
                    </a:lnTo>
                    <a:lnTo>
                      <a:pt x="160" y="233"/>
                    </a:lnTo>
                    <a:lnTo>
                      <a:pt x="160" y="231"/>
                    </a:lnTo>
                    <a:lnTo>
                      <a:pt x="158" y="231"/>
                    </a:lnTo>
                    <a:lnTo>
                      <a:pt x="158" y="230"/>
                    </a:lnTo>
                    <a:lnTo>
                      <a:pt x="156" y="230"/>
                    </a:lnTo>
                    <a:lnTo>
                      <a:pt x="156" y="228"/>
                    </a:lnTo>
                    <a:lnTo>
                      <a:pt x="155" y="226"/>
                    </a:lnTo>
                    <a:lnTo>
                      <a:pt x="155" y="225"/>
                    </a:lnTo>
                    <a:lnTo>
                      <a:pt x="153" y="225"/>
                    </a:lnTo>
                    <a:lnTo>
                      <a:pt x="153" y="223"/>
                    </a:lnTo>
                    <a:lnTo>
                      <a:pt x="151" y="223"/>
                    </a:lnTo>
                    <a:lnTo>
                      <a:pt x="149" y="223"/>
                    </a:lnTo>
                    <a:lnTo>
                      <a:pt x="148" y="223"/>
                    </a:lnTo>
                    <a:lnTo>
                      <a:pt x="146" y="223"/>
                    </a:lnTo>
                    <a:lnTo>
                      <a:pt x="146" y="221"/>
                    </a:lnTo>
                    <a:lnTo>
                      <a:pt x="144" y="219"/>
                    </a:lnTo>
                    <a:lnTo>
                      <a:pt x="143" y="218"/>
                    </a:lnTo>
                    <a:lnTo>
                      <a:pt x="141" y="218"/>
                    </a:lnTo>
                    <a:lnTo>
                      <a:pt x="141" y="216"/>
                    </a:lnTo>
                    <a:lnTo>
                      <a:pt x="139" y="216"/>
                    </a:lnTo>
                    <a:lnTo>
                      <a:pt x="138" y="216"/>
                    </a:lnTo>
                    <a:lnTo>
                      <a:pt x="138" y="218"/>
                    </a:lnTo>
                    <a:lnTo>
                      <a:pt x="136" y="216"/>
                    </a:lnTo>
                    <a:lnTo>
                      <a:pt x="134" y="216"/>
                    </a:lnTo>
                    <a:lnTo>
                      <a:pt x="132" y="216"/>
                    </a:lnTo>
                    <a:lnTo>
                      <a:pt x="132" y="214"/>
                    </a:lnTo>
                    <a:lnTo>
                      <a:pt x="131" y="214"/>
                    </a:lnTo>
                    <a:lnTo>
                      <a:pt x="131" y="213"/>
                    </a:lnTo>
                    <a:lnTo>
                      <a:pt x="131" y="211"/>
                    </a:lnTo>
                    <a:lnTo>
                      <a:pt x="131" y="209"/>
                    </a:lnTo>
                    <a:lnTo>
                      <a:pt x="131" y="208"/>
                    </a:lnTo>
                    <a:lnTo>
                      <a:pt x="131" y="206"/>
                    </a:lnTo>
                    <a:lnTo>
                      <a:pt x="129" y="206"/>
                    </a:lnTo>
                    <a:lnTo>
                      <a:pt x="127" y="206"/>
                    </a:lnTo>
                    <a:lnTo>
                      <a:pt x="127" y="204"/>
                    </a:lnTo>
                    <a:lnTo>
                      <a:pt x="126" y="204"/>
                    </a:lnTo>
                    <a:lnTo>
                      <a:pt x="124" y="202"/>
                    </a:lnTo>
                    <a:lnTo>
                      <a:pt x="122" y="202"/>
                    </a:lnTo>
                    <a:lnTo>
                      <a:pt x="122" y="201"/>
                    </a:lnTo>
                    <a:lnTo>
                      <a:pt x="121" y="199"/>
                    </a:lnTo>
                    <a:lnTo>
                      <a:pt x="119" y="199"/>
                    </a:lnTo>
                    <a:lnTo>
                      <a:pt x="117" y="197"/>
                    </a:lnTo>
                    <a:lnTo>
                      <a:pt x="119" y="197"/>
                    </a:lnTo>
                    <a:lnTo>
                      <a:pt x="119" y="196"/>
                    </a:lnTo>
                    <a:lnTo>
                      <a:pt x="117" y="196"/>
                    </a:lnTo>
                    <a:lnTo>
                      <a:pt x="117" y="197"/>
                    </a:lnTo>
                    <a:lnTo>
                      <a:pt x="115" y="196"/>
                    </a:lnTo>
                    <a:lnTo>
                      <a:pt x="114" y="194"/>
                    </a:lnTo>
                    <a:lnTo>
                      <a:pt x="114" y="196"/>
                    </a:lnTo>
                    <a:lnTo>
                      <a:pt x="114" y="194"/>
                    </a:lnTo>
                    <a:lnTo>
                      <a:pt x="112" y="194"/>
                    </a:lnTo>
                    <a:lnTo>
                      <a:pt x="112" y="192"/>
                    </a:lnTo>
                    <a:lnTo>
                      <a:pt x="112" y="190"/>
                    </a:lnTo>
                    <a:lnTo>
                      <a:pt x="110" y="190"/>
                    </a:lnTo>
                    <a:lnTo>
                      <a:pt x="112" y="189"/>
                    </a:lnTo>
                    <a:lnTo>
                      <a:pt x="112" y="190"/>
                    </a:lnTo>
                    <a:lnTo>
                      <a:pt x="114" y="190"/>
                    </a:lnTo>
                    <a:lnTo>
                      <a:pt x="115" y="190"/>
                    </a:lnTo>
                    <a:lnTo>
                      <a:pt x="117" y="190"/>
                    </a:lnTo>
                    <a:lnTo>
                      <a:pt x="119" y="190"/>
                    </a:lnTo>
                    <a:lnTo>
                      <a:pt x="119" y="192"/>
                    </a:lnTo>
                    <a:lnTo>
                      <a:pt x="121" y="190"/>
                    </a:lnTo>
                    <a:lnTo>
                      <a:pt x="122" y="192"/>
                    </a:lnTo>
                    <a:lnTo>
                      <a:pt x="124" y="192"/>
                    </a:lnTo>
                    <a:lnTo>
                      <a:pt x="126" y="192"/>
                    </a:lnTo>
                    <a:lnTo>
                      <a:pt x="127" y="192"/>
                    </a:lnTo>
                    <a:lnTo>
                      <a:pt x="129" y="192"/>
                    </a:lnTo>
                    <a:lnTo>
                      <a:pt x="131" y="192"/>
                    </a:lnTo>
                    <a:lnTo>
                      <a:pt x="132" y="192"/>
                    </a:lnTo>
                    <a:lnTo>
                      <a:pt x="134" y="190"/>
                    </a:lnTo>
                    <a:lnTo>
                      <a:pt x="136" y="190"/>
                    </a:lnTo>
                    <a:lnTo>
                      <a:pt x="136" y="189"/>
                    </a:lnTo>
                    <a:lnTo>
                      <a:pt x="138" y="189"/>
                    </a:lnTo>
                    <a:lnTo>
                      <a:pt x="138" y="190"/>
                    </a:lnTo>
                    <a:lnTo>
                      <a:pt x="138" y="192"/>
                    </a:lnTo>
                    <a:lnTo>
                      <a:pt x="138" y="194"/>
                    </a:lnTo>
                    <a:lnTo>
                      <a:pt x="139" y="194"/>
                    </a:lnTo>
                    <a:lnTo>
                      <a:pt x="139" y="192"/>
                    </a:lnTo>
                    <a:lnTo>
                      <a:pt x="139" y="194"/>
                    </a:lnTo>
                    <a:lnTo>
                      <a:pt x="141" y="194"/>
                    </a:lnTo>
                    <a:lnTo>
                      <a:pt x="141" y="192"/>
                    </a:lnTo>
                    <a:lnTo>
                      <a:pt x="141" y="194"/>
                    </a:lnTo>
                    <a:lnTo>
                      <a:pt x="143" y="194"/>
                    </a:lnTo>
                    <a:lnTo>
                      <a:pt x="143" y="192"/>
                    </a:lnTo>
                    <a:lnTo>
                      <a:pt x="141" y="192"/>
                    </a:lnTo>
                    <a:lnTo>
                      <a:pt x="141" y="190"/>
                    </a:lnTo>
                    <a:lnTo>
                      <a:pt x="143" y="190"/>
                    </a:lnTo>
                    <a:lnTo>
                      <a:pt x="143" y="189"/>
                    </a:lnTo>
                    <a:lnTo>
                      <a:pt x="141" y="187"/>
                    </a:lnTo>
                    <a:lnTo>
                      <a:pt x="139" y="187"/>
                    </a:lnTo>
                    <a:lnTo>
                      <a:pt x="138" y="189"/>
                    </a:lnTo>
                    <a:lnTo>
                      <a:pt x="138" y="187"/>
                    </a:lnTo>
                    <a:lnTo>
                      <a:pt x="139" y="185"/>
                    </a:lnTo>
                    <a:lnTo>
                      <a:pt x="141" y="184"/>
                    </a:lnTo>
                    <a:lnTo>
                      <a:pt x="141" y="182"/>
                    </a:lnTo>
                    <a:lnTo>
                      <a:pt x="143" y="182"/>
                    </a:lnTo>
                    <a:lnTo>
                      <a:pt x="143" y="180"/>
                    </a:lnTo>
                    <a:lnTo>
                      <a:pt x="143" y="182"/>
                    </a:lnTo>
                    <a:lnTo>
                      <a:pt x="144" y="182"/>
                    </a:lnTo>
                    <a:lnTo>
                      <a:pt x="144" y="180"/>
                    </a:lnTo>
                    <a:lnTo>
                      <a:pt x="143" y="180"/>
                    </a:lnTo>
                    <a:lnTo>
                      <a:pt x="143" y="179"/>
                    </a:lnTo>
                    <a:lnTo>
                      <a:pt x="144" y="179"/>
                    </a:lnTo>
                    <a:lnTo>
                      <a:pt x="144" y="177"/>
                    </a:lnTo>
                    <a:lnTo>
                      <a:pt x="146" y="177"/>
                    </a:lnTo>
                    <a:lnTo>
                      <a:pt x="144" y="175"/>
                    </a:lnTo>
                    <a:lnTo>
                      <a:pt x="143" y="173"/>
                    </a:lnTo>
                    <a:lnTo>
                      <a:pt x="144" y="173"/>
                    </a:lnTo>
                    <a:lnTo>
                      <a:pt x="144" y="172"/>
                    </a:lnTo>
                    <a:lnTo>
                      <a:pt x="144" y="170"/>
                    </a:lnTo>
                    <a:lnTo>
                      <a:pt x="144" y="168"/>
                    </a:lnTo>
                    <a:lnTo>
                      <a:pt x="146" y="168"/>
                    </a:lnTo>
                    <a:lnTo>
                      <a:pt x="146" y="167"/>
                    </a:lnTo>
                    <a:lnTo>
                      <a:pt x="144" y="165"/>
                    </a:lnTo>
                    <a:lnTo>
                      <a:pt x="144" y="163"/>
                    </a:lnTo>
                    <a:lnTo>
                      <a:pt x="143" y="163"/>
                    </a:lnTo>
                    <a:lnTo>
                      <a:pt x="143" y="162"/>
                    </a:lnTo>
                    <a:lnTo>
                      <a:pt x="143" y="160"/>
                    </a:lnTo>
                    <a:lnTo>
                      <a:pt x="141" y="160"/>
                    </a:lnTo>
                    <a:lnTo>
                      <a:pt x="141" y="158"/>
                    </a:lnTo>
                    <a:lnTo>
                      <a:pt x="139" y="158"/>
                    </a:lnTo>
                    <a:lnTo>
                      <a:pt x="139" y="160"/>
                    </a:lnTo>
                    <a:lnTo>
                      <a:pt x="138" y="158"/>
                    </a:lnTo>
                    <a:lnTo>
                      <a:pt x="138" y="156"/>
                    </a:lnTo>
                    <a:lnTo>
                      <a:pt x="136" y="156"/>
                    </a:lnTo>
                    <a:lnTo>
                      <a:pt x="136" y="155"/>
                    </a:lnTo>
                    <a:lnTo>
                      <a:pt x="136" y="153"/>
                    </a:lnTo>
                    <a:lnTo>
                      <a:pt x="134" y="153"/>
                    </a:lnTo>
                    <a:lnTo>
                      <a:pt x="134" y="151"/>
                    </a:lnTo>
                    <a:lnTo>
                      <a:pt x="132" y="150"/>
                    </a:lnTo>
                    <a:lnTo>
                      <a:pt x="131" y="150"/>
                    </a:lnTo>
                    <a:lnTo>
                      <a:pt x="131" y="148"/>
                    </a:lnTo>
                    <a:lnTo>
                      <a:pt x="129" y="148"/>
                    </a:lnTo>
                    <a:lnTo>
                      <a:pt x="129" y="146"/>
                    </a:lnTo>
                    <a:lnTo>
                      <a:pt x="127" y="146"/>
                    </a:lnTo>
                    <a:lnTo>
                      <a:pt x="127" y="145"/>
                    </a:lnTo>
                    <a:lnTo>
                      <a:pt x="127" y="143"/>
                    </a:lnTo>
                    <a:lnTo>
                      <a:pt x="126" y="143"/>
                    </a:lnTo>
                    <a:lnTo>
                      <a:pt x="126" y="141"/>
                    </a:lnTo>
                    <a:lnTo>
                      <a:pt x="124" y="141"/>
                    </a:lnTo>
                    <a:lnTo>
                      <a:pt x="122" y="141"/>
                    </a:lnTo>
                    <a:lnTo>
                      <a:pt x="122" y="139"/>
                    </a:lnTo>
                    <a:lnTo>
                      <a:pt x="121" y="138"/>
                    </a:lnTo>
                    <a:lnTo>
                      <a:pt x="119" y="136"/>
                    </a:lnTo>
                    <a:lnTo>
                      <a:pt x="119" y="134"/>
                    </a:lnTo>
                    <a:lnTo>
                      <a:pt x="117" y="134"/>
                    </a:lnTo>
                    <a:lnTo>
                      <a:pt x="115" y="133"/>
                    </a:lnTo>
                    <a:lnTo>
                      <a:pt x="115" y="131"/>
                    </a:lnTo>
                    <a:lnTo>
                      <a:pt x="114" y="131"/>
                    </a:lnTo>
                    <a:lnTo>
                      <a:pt x="112" y="131"/>
                    </a:lnTo>
                    <a:lnTo>
                      <a:pt x="112" y="129"/>
                    </a:lnTo>
                    <a:lnTo>
                      <a:pt x="110" y="129"/>
                    </a:lnTo>
                    <a:lnTo>
                      <a:pt x="109" y="129"/>
                    </a:lnTo>
                    <a:lnTo>
                      <a:pt x="107" y="129"/>
                    </a:lnTo>
                    <a:lnTo>
                      <a:pt x="107" y="128"/>
                    </a:lnTo>
                    <a:lnTo>
                      <a:pt x="105" y="128"/>
                    </a:lnTo>
                    <a:lnTo>
                      <a:pt x="105" y="126"/>
                    </a:lnTo>
                    <a:lnTo>
                      <a:pt x="104" y="126"/>
                    </a:lnTo>
                    <a:lnTo>
                      <a:pt x="104" y="124"/>
                    </a:lnTo>
                    <a:lnTo>
                      <a:pt x="102" y="124"/>
                    </a:lnTo>
                    <a:lnTo>
                      <a:pt x="100" y="124"/>
                    </a:lnTo>
                    <a:lnTo>
                      <a:pt x="100" y="122"/>
                    </a:lnTo>
                    <a:lnTo>
                      <a:pt x="98" y="122"/>
                    </a:lnTo>
                    <a:lnTo>
                      <a:pt x="98" y="121"/>
                    </a:lnTo>
                    <a:lnTo>
                      <a:pt x="97" y="121"/>
                    </a:lnTo>
                    <a:lnTo>
                      <a:pt x="97" y="122"/>
                    </a:lnTo>
                    <a:lnTo>
                      <a:pt x="95" y="121"/>
                    </a:lnTo>
                    <a:lnTo>
                      <a:pt x="93" y="119"/>
                    </a:lnTo>
                    <a:lnTo>
                      <a:pt x="92" y="119"/>
                    </a:lnTo>
                    <a:lnTo>
                      <a:pt x="92" y="117"/>
                    </a:lnTo>
                    <a:lnTo>
                      <a:pt x="90" y="117"/>
                    </a:lnTo>
                    <a:lnTo>
                      <a:pt x="90" y="116"/>
                    </a:lnTo>
                    <a:lnTo>
                      <a:pt x="90" y="114"/>
                    </a:lnTo>
                    <a:lnTo>
                      <a:pt x="90" y="112"/>
                    </a:lnTo>
                    <a:lnTo>
                      <a:pt x="90" y="111"/>
                    </a:lnTo>
                    <a:lnTo>
                      <a:pt x="88" y="109"/>
                    </a:lnTo>
                    <a:lnTo>
                      <a:pt x="87" y="109"/>
                    </a:lnTo>
                    <a:lnTo>
                      <a:pt x="87" y="107"/>
                    </a:lnTo>
                    <a:lnTo>
                      <a:pt x="87" y="105"/>
                    </a:lnTo>
                    <a:lnTo>
                      <a:pt x="87" y="104"/>
                    </a:lnTo>
                    <a:lnTo>
                      <a:pt x="87" y="102"/>
                    </a:lnTo>
                    <a:lnTo>
                      <a:pt x="87" y="100"/>
                    </a:lnTo>
                    <a:lnTo>
                      <a:pt x="87" y="99"/>
                    </a:lnTo>
                    <a:lnTo>
                      <a:pt x="87" y="97"/>
                    </a:lnTo>
                    <a:lnTo>
                      <a:pt x="87" y="95"/>
                    </a:lnTo>
                    <a:lnTo>
                      <a:pt x="85" y="95"/>
                    </a:lnTo>
                    <a:lnTo>
                      <a:pt x="85" y="94"/>
                    </a:lnTo>
                    <a:lnTo>
                      <a:pt x="85" y="92"/>
                    </a:lnTo>
                    <a:lnTo>
                      <a:pt x="83" y="92"/>
                    </a:lnTo>
                    <a:lnTo>
                      <a:pt x="81" y="92"/>
                    </a:lnTo>
                    <a:lnTo>
                      <a:pt x="80" y="92"/>
                    </a:lnTo>
                    <a:lnTo>
                      <a:pt x="81" y="90"/>
                    </a:lnTo>
                    <a:lnTo>
                      <a:pt x="81" y="92"/>
                    </a:lnTo>
                    <a:lnTo>
                      <a:pt x="81" y="90"/>
                    </a:lnTo>
                    <a:lnTo>
                      <a:pt x="81" y="88"/>
                    </a:lnTo>
                    <a:lnTo>
                      <a:pt x="80" y="88"/>
                    </a:lnTo>
                    <a:lnTo>
                      <a:pt x="80" y="87"/>
                    </a:lnTo>
                    <a:lnTo>
                      <a:pt x="80" y="88"/>
                    </a:lnTo>
                    <a:lnTo>
                      <a:pt x="81" y="88"/>
                    </a:lnTo>
                    <a:lnTo>
                      <a:pt x="81" y="90"/>
                    </a:lnTo>
                    <a:lnTo>
                      <a:pt x="80" y="90"/>
                    </a:lnTo>
                    <a:lnTo>
                      <a:pt x="78" y="90"/>
                    </a:lnTo>
                    <a:lnTo>
                      <a:pt x="80" y="90"/>
                    </a:lnTo>
                    <a:lnTo>
                      <a:pt x="80" y="92"/>
                    </a:lnTo>
                    <a:lnTo>
                      <a:pt x="80" y="94"/>
                    </a:lnTo>
                    <a:lnTo>
                      <a:pt x="80" y="92"/>
                    </a:lnTo>
                    <a:lnTo>
                      <a:pt x="80" y="90"/>
                    </a:lnTo>
                    <a:lnTo>
                      <a:pt x="78" y="90"/>
                    </a:lnTo>
                    <a:lnTo>
                      <a:pt x="78" y="88"/>
                    </a:lnTo>
                    <a:lnTo>
                      <a:pt x="78" y="87"/>
                    </a:lnTo>
                    <a:lnTo>
                      <a:pt x="78" y="85"/>
                    </a:lnTo>
                    <a:lnTo>
                      <a:pt x="78" y="83"/>
                    </a:lnTo>
                    <a:lnTo>
                      <a:pt x="78" y="82"/>
                    </a:lnTo>
                    <a:lnTo>
                      <a:pt x="78" y="80"/>
                    </a:lnTo>
                    <a:lnTo>
                      <a:pt x="78" y="78"/>
                    </a:lnTo>
                    <a:lnTo>
                      <a:pt x="78" y="77"/>
                    </a:lnTo>
                    <a:lnTo>
                      <a:pt x="78" y="75"/>
                    </a:lnTo>
                    <a:lnTo>
                      <a:pt x="76" y="75"/>
                    </a:lnTo>
                    <a:lnTo>
                      <a:pt x="75" y="73"/>
                    </a:lnTo>
                    <a:lnTo>
                      <a:pt x="73" y="73"/>
                    </a:lnTo>
                    <a:lnTo>
                      <a:pt x="73" y="71"/>
                    </a:lnTo>
                    <a:lnTo>
                      <a:pt x="71" y="70"/>
                    </a:lnTo>
                    <a:lnTo>
                      <a:pt x="70" y="70"/>
                    </a:lnTo>
                    <a:lnTo>
                      <a:pt x="68" y="70"/>
                    </a:lnTo>
                    <a:lnTo>
                      <a:pt x="68" y="68"/>
                    </a:lnTo>
                    <a:lnTo>
                      <a:pt x="70" y="66"/>
                    </a:lnTo>
                    <a:lnTo>
                      <a:pt x="70" y="65"/>
                    </a:lnTo>
                    <a:lnTo>
                      <a:pt x="70" y="63"/>
                    </a:lnTo>
                    <a:lnTo>
                      <a:pt x="70" y="61"/>
                    </a:lnTo>
                    <a:lnTo>
                      <a:pt x="68" y="60"/>
                    </a:lnTo>
                    <a:lnTo>
                      <a:pt x="68" y="58"/>
                    </a:lnTo>
                    <a:lnTo>
                      <a:pt x="66" y="58"/>
                    </a:lnTo>
                    <a:lnTo>
                      <a:pt x="66" y="56"/>
                    </a:lnTo>
                    <a:lnTo>
                      <a:pt x="64" y="56"/>
                    </a:lnTo>
                    <a:lnTo>
                      <a:pt x="64" y="54"/>
                    </a:lnTo>
                    <a:lnTo>
                      <a:pt x="63" y="53"/>
                    </a:lnTo>
                    <a:lnTo>
                      <a:pt x="63" y="51"/>
                    </a:lnTo>
                    <a:lnTo>
                      <a:pt x="61" y="49"/>
                    </a:lnTo>
                    <a:lnTo>
                      <a:pt x="59" y="49"/>
                    </a:lnTo>
                    <a:lnTo>
                      <a:pt x="59" y="48"/>
                    </a:lnTo>
                    <a:lnTo>
                      <a:pt x="58" y="48"/>
                    </a:lnTo>
                    <a:lnTo>
                      <a:pt x="58" y="46"/>
                    </a:lnTo>
                    <a:lnTo>
                      <a:pt x="56" y="46"/>
                    </a:lnTo>
                    <a:lnTo>
                      <a:pt x="58" y="44"/>
                    </a:lnTo>
                    <a:lnTo>
                      <a:pt x="58" y="42"/>
                    </a:lnTo>
                    <a:lnTo>
                      <a:pt x="58" y="41"/>
                    </a:lnTo>
                    <a:lnTo>
                      <a:pt x="56" y="39"/>
                    </a:lnTo>
                    <a:lnTo>
                      <a:pt x="54" y="39"/>
                    </a:lnTo>
                    <a:lnTo>
                      <a:pt x="56" y="37"/>
                    </a:lnTo>
                    <a:lnTo>
                      <a:pt x="56" y="39"/>
                    </a:lnTo>
                    <a:lnTo>
                      <a:pt x="58" y="39"/>
                    </a:lnTo>
                    <a:lnTo>
                      <a:pt x="58" y="37"/>
                    </a:lnTo>
                    <a:lnTo>
                      <a:pt x="59" y="37"/>
                    </a:lnTo>
                    <a:lnTo>
                      <a:pt x="59" y="36"/>
                    </a:lnTo>
                    <a:lnTo>
                      <a:pt x="59" y="34"/>
                    </a:lnTo>
                    <a:lnTo>
                      <a:pt x="58" y="34"/>
                    </a:lnTo>
                    <a:lnTo>
                      <a:pt x="59" y="34"/>
                    </a:lnTo>
                    <a:lnTo>
                      <a:pt x="58" y="34"/>
                    </a:lnTo>
                    <a:lnTo>
                      <a:pt x="56" y="32"/>
                    </a:lnTo>
                    <a:lnTo>
                      <a:pt x="54" y="32"/>
                    </a:lnTo>
                    <a:lnTo>
                      <a:pt x="54" y="31"/>
                    </a:lnTo>
                    <a:lnTo>
                      <a:pt x="54" y="29"/>
                    </a:lnTo>
                    <a:lnTo>
                      <a:pt x="53" y="29"/>
                    </a:lnTo>
                    <a:lnTo>
                      <a:pt x="51" y="29"/>
                    </a:lnTo>
                    <a:lnTo>
                      <a:pt x="51" y="27"/>
                    </a:lnTo>
                    <a:lnTo>
                      <a:pt x="49" y="27"/>
                    </a:lnTo>
                    <a:lnTo>
                      <a:pt x="51" y="25"/>
                    </a:lnTo>
                    <a:lnTo>
                      <a:pt x="49" y="25"/>
                    </a:lnTo>
                    <a:lnTo>
                      <a:pt x="49" y="24"/>
                    </a:lnTo>
                    <a:lnTo>
                      <a:pt x="49" y="22"/>
                    </a:lnTo>
                    <a:lnTo>
                      <a:pt x="49" y="20"/>
                    </a:lnTo>
                    <a:lnTo>
                      <a:pt x="49" y="19"/>
                    </a:lnTo>
                    <a:lnTo>
                      <a:pt x="47" y="19"/>
                    </a:lnTo>
                    <a:lnTo>
                      <a:pt x="47" y="17"/>
                    </a:lnTo>
                    <a:lnTo>
                      <a:pt x="46" y="17"/>
                    </a:lnTo>
                    <a:lnTo>
                      <a:pt x="44" y="17"/>
                    </a:lnTo>
                    <a:lnTo>
                      <a:pt x="44" y="15"/>
                    </a:lnTo>
                    <a:lnTo>
                      <a:pt x="44" y="14"/>
                    </a:lnTo>
                    <a:lnTo>
                      <a:pt x="42" y="12"/>
                    </a:lnTo>
                    <a:lnTo>
                      <a:pt x="42" y="10"/>
                    </a:lnTo>
                    <a:lnTo>
                      <a:pt x="42" y="8"/>
                    </a:lnTo>
                    <a:lnTo>
                      <a:pt x="42" y="7"/>
                    </a:lnTo>
                    <a:lnTo>
                      <a:pt x="44" y="7"/>
                    </a:lnTo>
                    <a:lnTo>
                      <a:pt x="46" y="7"/>
                    </a:lnTo>
                    <a:lnTo>
                      <a:pt x="47" y="7"/>
                    </a:lnTo>
                    <a:lnTo>
                      <a:pt x="49" y="7"/>
                    </a:lnTo>
                    <a:lnTo>
                      <a:pt x="51" y="7"/>
                    </a:lnTo>
                    <a:lnTo>
                      <a:pt x="51" y="5"/>
                    </a:lnTo>
                    <a:lnTo>
                      <a:pt x="53" y="5"/>
                    </a:lnTo>
                    <a:lnTo>
                      <a:pt x="54" y="5"/>
                    </a:lnTo>
                    <a:lnTo>
                      <a:pt x="56" y="5"/>
                    </a:lnTo>
                    <a:lnTo>
                      <a:pt x="58" y="5"/>
                    </a:lnTo>
                    <a:lnTo>
                      <a:pt x="59" y="5"/>
                    </a:lnTo>
                    <a:lnTo>
                      <a:pt x="61" y="5"/>
                    </a:lnTo>
                    <a:lnTo>
                      <a:pt x="63" y="5"/>
                    </a:lnTo>
                    <a:lnTo>
                      <a:pt x="64" y="5"/>
                    </a:lnTo>
                    <a:lnTo>
                      <a:pt x="66" y="5"/>
                    </a:lnTo>
                    <a:lnTo>
                      <a:pt x="68" y="5"/>
                    </a:lnTo>
                    <a:lnTo>
                      <a:pt x="68" y="3"/>
                    </a:lnTo>
                    <a:lnTo>
                      <a:pt x="70" y="3"/>
                    </a:lnTo>
                    <a:lnTo>
                      <a:pt x="71" y="3"/>
                    </a:lnTo>
                    <a:lnTo>
                      <a:pt x="73" y="3"/>
                    </a:lnTo>
                    <a:lnTo>
                      <a:pt x="75" y="3"/>
                    </a:lnTo>
                    <a:lnTo>
                      <a:pt x="76" y="3"/>
                    </a:lnTo>
                    <a:lnTo>
                      <a:pt x="78" y="3"/>
                    </a:lnTo>
                    <a:lnTo>
                      <a:pt x="80" y="3"/>
                    </a:lnTo>
                    <a:lnTo>
                      <a:pt x="83" y="3"/>
                    </a:lnTo>
                    <a:lnTo>
                      <a:pt x="87" y="2"/>
                    </a:lnTo>
                    <a:lnTo>
                      <a:pt x="88" y="2"/>
                    </a:lnTo>
                    <a:lnTo>
                      <a:pt x="92" y="2"/>
                    </a:lnTo>
                    <a:lnTo>
                      <a:pt x="93" y="2"/>
                    </a:lnTo>
                    <a:lnTo>
                      <a:pt x="95" y="2"/>
                    </a:lnTo>
                    <a:lnTo>
                      <a:pt x="97" y="2"/>
                    </a:lnTo>
                    <a:lnTo>
                      <a:pt x="98" y="2"/>
                    </a:lnTo>
                    <a:lnTo>
                      <a:pt x="100" y="2"/>
                    </a:lnTo>
                    <a:lnTo>
                      <a:pt x="102" y="2"/>
                    </a:lnTo>
                    <a:lnTo>
                      <a:pt x="104" y="2"/>
                    </a:lnTo>
                    <a:lnTo>
                      <a:pt x="105" y="2"/>
                    </a:lnTo>
                    <a:lnTo>
                      <a:pt x="105" y="0"/>
                    </a:lnTo>
                    <a:lnTo>
                      <a:pt x="107" y="0"/>
                    </a:lnTo>
                    <a:lnTo>
                      <a:pt x="109" y="0"/>
                    </a:lnTo>
                    <a:lnTo>
                      <a:pt x="114" y="0"/>
                    </a:lnTo>
                    <a:lnTo>
                      <a:pt x="117" y="0"/>
                    </a:lnTo>
                    <a:lnTo>
                      <a:pt x="121" y="0"/>
                    </a:lnTo>
                    <a:lnTo>
                      <a:pt x="122" y="0"/>
                    </a:lnTo>
                    <a:lnTo>
                      <a:pt x="122" y="2"/>
                    </a:lnTo>
                    <a:lnTo>
                      <a:pt x="121" y="3"/>
                    </a:lnTo>
                    <a:lnTo>
                      <a:pt x="121" y="5"/>
                    </a:lnTo>
                    <a:lnTo>
                      <a:pt x="121" y="7"/>
                    </a:lnTo>
                    <a:lnTo>
                      <a:pt x="121" y="8"/>
                    </a:lnTo>
                    <a:lnTo>
                      <a:pt x="122" y="8"/>
                    </a:lnTo>
                    <a:lnTo>
                      <a:pt x="122" y="10"/>
                    </a:lnTo>
                    <a:lnTo>
                      <a:pt x="124" y="10"/>
                    </a:lnTo>
                    <a:lnTo>
                      <a:pt x="126" y="10"/>
                    </a:lnTo>
                    <a:lnTo>
                      <a:pt x="127" y="10"/>
                    </a:lnTo>
                    <a:lnTo>
                      <a:pt x="129" y="12"/>
                    </a:lnTo>
                    <a:lnTo>
                      <a:pt x="131" y="12"/>
                    </a:lnTo>
                    <a:lnTo>
                      <a:pt x="139" y="15"/>
                    </a:lnTo>
                    <a:lnTo>
                      <a:pt x="148" y="19"/>
                    </a:lnTo>
                    <a:lnTo>
                      <a:pt x="149" y="19"/>
                    </a:lnTo>
                    <a:lnTo>
                      <a:pt x="151" y="19"/>
                    </a:lnTo>
                    <a:lnTo>
                      <a:pt x="151" y="20"/>
                    </a:lnTo>
                    <a:lnTo>
                      <a:pt x="153" y="20"/>
                    </a:lnTo>
                    <a:lnTo>
                      <a:pt x="155" y="20"/>
                    </a:lnTo>
                    <a:lnTo>
                      <a:pt x="156" y="22"/>
                    </a:lnTo>
                    <a:lnTo>
                      <a:pt x="160" y="24"/>
                    </a:lnTo>
                    <a:lnTo>
                      <a:pt x="165" y="24"/>
                    </a:lnTo>
                    <a:lnTo>
                      <a:pt x="170" y="27"/>
                    </a:lnTo>
                    <a:lnTo>
                      <a:pt x="172" y="27"/>
                    </a:lnTo>
                    <a:lnTo>
                      <a:pt x="173" y="27"/>
                    </a:lnTo>
                    <a:lnTo>
                      <a:pt x="173" y="29"/>
                    </a:lnTo>
                    <a:lnTo>
                      <a:pt x="177" y="29"/>
                    </a:lnTo>
                    <a:lnTo>
                      <a:pt x="178" y="31"/>
                    </a:lnTo>
                    <a:lnTo>
                      <a:pt x="180" y="31"/>
                    </a:lnTo>
                    <a:lnTo>
                      <a:pt x="182" y="31"/>
                    </a:lnTo>
                    <a:lnTo>
                      <a:pt x="185" y="32"/>
                    </a:lnTo>
                    <a:lnTo>
                      <a:pt x="187" y="32"/>
                    </a:lnTo>
                    <a:lnTo>
                      <a:pt x="189" y="32"/>
                    </a:lnTo>
                    <a:lnTo>
                      <a:pt x="189" y="34"/>
                    </a:lnTo>
                    <a:lnTo>
                      <a:pt x="190" y="34"/>
                    </a:lnTo>
                    <a:lnTo>
                      <a:pt x="194" y="36"/>
                    </a:lnTo>
                    <a:lnTo>
                      <a:pt x="195" y="36"/>
                    </a:lnTo>
                    <a:lnTo>
                      <a:pt x="197" y="37"/>
                    </a:lnTo>
                    <a:lnTo>
                      <a:pt x="200" y="37"/>
                    </a:lnTo>
                    <a:lnTo>
                      <a:pt x="202" y="37"/>
                    </a:lnTo>
                    <a:lnTo>
                      <a:pt x="202" y="39"/>
                    </a:lnTo>
                    <a:lnTo>
                      <a:pt x="204" y="39"/>
                    </a:lnTo>
                    <a:lnTo>
                      <a:pt x="206" y="39"/>
                    </a:lnTo>
                    <a:lnTo>
                      <a:pt x="207" y="39"/>
                    </a:lnTo>
                    <a:lnTo>
                      <a:pt x="207" y="41"/>
                    </a:lnTo>
                    <a:lnTo>
                      <a:pt x="211" y="41"/>
                    </a:lnTo>
                    <a:lnTo>
                      <a:pt x="216" y="42"/>
                    </a:lnTo>
                    <a:lnTo>
                      <a:pt x="219" y="44"/>
                    </a:lnTo>
                    <a:lnTo>
                      <a:pt x="223" y="46"/>
                    </a:lnTo>
                    <a:lnTo>
                      <a:pt x="224" y="46"/>
                    </a:lnTo>
                    <a:lnTo>
                      <a:pt x="226" y="48"/>
                    </a:lnTo>
                    <a:lnTo>
                      <a:pt x="228" y="48"/>
                    </a:lnTo>
                    <a:lnTo>
                      <a:pt x="229" y="48"/>
                    </a:lnTo>
                    <a:lnTo>
                      <a:pt x="229" y="49"/>
                    </a:lnTo>
                    <a:lnTo>
                      <a:pt x="231" y="49"/>
                    </a:lnTo>
                    <a:lnTo>
                      <a:pt x="233" y="49"/>
                    </a:lnTo>
                    <a:lnTo>
                      <a:pt x="236" y="51"/>
                    </a:lnTo>
                    <a:lnTo>
                      <a:pt x="238" y="51"/>
                    </a:lnTo>
                    <a:lnTo>
                      <a:pt x="240" y="53"/>
                    </a:lnTo>
                    <a:lnTo>
                      <a:pt x="241" y="53"/>
                    </a:lnTo>
                    <a:lnTo>
                      <a:pt x="243" y="53"/>
                    </a:lnTo>
                    <a:lnTo>
                      <a:pt x="245" y="54"/>
                    </a:lnTo>
                    <a:lnTo>
                      <a:pt x="246" y="54"/>
                    </a:lnTo>
                    <a:lnTo>
                      <a:pt x="248" y="54"/>
                    </a:lnTo>
                    <a:lnTo>
                      <a:pt x="250" y="54"/>
                    </a:lnTo>
                    <a:lnTo>
                      <a:pt x="251" y="54"/>
                    </a:lnTo>
                    <a:lnTo>
                      <a:pt x="253" y="54"/>
                    </a:lnTo>
                    <a:lnTo>
                      <a:pt x="255" y="54"/>
                    </a:lnTo>
                    <a:lnTo>
                      <a:pt x="257" y="54"/>
                    </a:lnTo>
                    <a:lnTo>
                      <a:pt x="260" y="54"/>
                    </a:lnTo>
                    <a:lnTo>
                      <a:pt x="262" y="54"/>
                    </a:lnTo>
                    <a:lnTo>
                      <a:pt x="265" y="54"/>
                    </a:lnTo>
                    <a:lnTo>
                      <a:pt x="267" y="54"/>
                    </a:lnTo>
                    <a:lnTo>
                      <a:pt x="270" y="54"/>
                    </a:lnTo>
                    <a:lnTo>
                      <a:pt x="272" y="54"/>
                    </a:lnTo>
                    <a:lnTo>
                      <a:pt x="274" y="54"/>
                    </a:lnTo>
                    <a:lnTo>
                      <a:pt x="275" y="54"/>
                    </a:lnTo>
                    <a:lnTo>
                      <a:pt x="277" y="54"/>
                    </a:lnTo>
                    <a:lnTo>
                      <a:pt x="282" y="54"/>
                    </a:lnTo>
                    <a:lnTo>
                      <a:pt x="284" y="54"/>
                    </a:lnTo>
                    <a:lnTo>
                      <a:pt x="285" y="54"/>
                    </a:lnTo>
                    <a:lnTo>
                      <a:pt x="287" y="54"/>
                    </a:lnTo>
                    <a:lnTo>
                      <a:pt x="289" y="54"/>
                    </a:lnTo>
                    <a:lnTo>
                      <a:pt x="291" y="54"/>
                    </a:lnTo>
                    <a:lnTo>
                      <a:pt x="292" y="54"/>
                    </a:lnTo>
                    <a:lnTo>
                      <a:pt x="294" y="54"/>
                    </a:lnTo>
                    <a:lnTo>
                      <a:pt x="296" y="54"/>
                    </a:lnTo>
                    <a:lnTo>
                      <a:pt x="297" y="54"/>
                    </a:lnTo>
                    <a:lnTo>
                      <a:pt x="299" y="54"/>
                    </a:lnTo>
                    <a:lnTo>
                      <a:pt x="301" y="54"/>
                    </a:lnTo>
                    <a:lnTo>
                      <a:pt x="302" y="54"/>
                    </a:lnTo>
                    <a:lnTo>
                      <a:pt x="304" y="54"/>
                    </a:lnTo>
                    <a:lnTo>
                      <a:pt x="306" y="54"/>
                    </a:lnTo>
                    <a:lnTo>
                      <a:pt x="308" y="54"/>
                    </a:lnTo>
                    <a:lnTo>
                      <a:pt x="313" y="54"/>
                    </a:lnTo>
                    <a:lnTo>
                      <a:pt x="314" y="54"/>
                    </a:lnTo>
                    <a:lnTo>
                      <a:pt x="316" y="54"/>
                    </a:lnTo>
                    <a:lnTo>
                      <a:pt x="318" y="54"/>
                    </a:lnTo>
                    <a:lnTo>
                      <a:pt x="323" y="54"/>
                    </a:lnTo>
                    <a:lnTo>
                      <a:pt x="325" y="54"/>
                    </a:lnTo>
                    <a:lnTo>
                      <a:pt x="326" y="54"/>
                    </a:lnTo>
                    <a:lnTo>
                      <a:pt x="331" y="54"/>
                    </a:lnTo>
                    <a:lnTo>
                      <a:pt x="335" y="54"/>
                    </a:lnTo>
                    <a:lnTo>
                      <a:pt x="342" y="54"/>
                    </a:lnTo>
                    <a:lnTo>
                      <a:pt x="343" y="54"/>
                    </a:lnTo>
                    <a:lnTo>
                      <a:pt x="343" y="49"/>
                    </a:lnTo>
                    <a:lnTo>
                      <a:pt x="343" y="48"/>
                    </a:lnTo>
                    <a:lnTo>
                      <a:pt x="343" y="46"/>
                    </a:lnTo>
                    <a:lnTo>
                      <a:pt x="343" y="44"/>
                    </a:lnTo>
                    <a:lnTo>
                      <a:pt x="343" y="42"/>
                    </a:lnTo>
                    <a:lnTo>
                      <a:pt x="343" y="39"/>
                    </a:lnTo>
                    <a:lnTo>
                      <a:pt x="343" y="37"/>
                    </a:lnTo>
                    <a:lnTo>
                      <a:pt x="347" y="37"/>
                    </a:lnTo>
                    <a:lnTo>
                      <a:pt x="350" y="37"/>
                    </a:lnTo>
                    <a:lnTo>
                      <a:pt x="353" y="37"/>
                    </a:lnTo>
                    <a:lnTo>
                      <a:pt x="355" y="37"/>
                    </a:lnTo>
                    <a:lnTo>
                      <a:pt x="359" y="37"/>
                    </a:lnTo>
                    <a:lnTo>
                      <a:pt x="362" y="37"/>
                    </a:lnTo>
                    <a:lnTo>
                      <a:pt x="364" y="37"/>
                    </a:lnTo>
                    <a:lnTo>
                      <a:pt x="369" y="37"/>
                    </a:lnTo>
                    <a:lnTo>
                      <a:pt x="374" y="37"/>
                    </a:lnTo>
                    <a:lnTo>
                      <a:pt x="376" y="37"/>
                    </a:lnTo>
                    <a:lnTo>
                      <a:pt x="377" y="37"/>
                    </a:lnTo>
                    <a:lnTo>
                      <a:pt x="384" y="37"/>
                    </a:lnTo>
                    <a:lnTo>
                      <a:pt x="386" y="37"/>
                    </a:lnTo>
                    <a:lnTo>
                      <a:pt x="387" y="37"/>
                    </a:lnTo>
                    <a:lnTo>
                      <a:pt x="389" y="37"/>
                    </a:lnTo>
                    <a:lnTo>
                      <a:pt x="391" y="37"/>
                    </a:lnTo>
                    <a:lnTo>
                      <a:pt x="393" y="37"/>
                    </a:lnTo>
                    <a:lnTo>
                      <a:pt x="394" y="37"/>
                    </a:lnTo>
                    <a:lnTo>
                      <a:pt x="396" y="37"/>
                    </a:lnTo>
                    <a:lnTo>
                      <a:pt x="398" y="37"/>
                    </a:lnTo>
                    <a:lnTo>
                      <a:pt x="399" y="37"/>
                    </a:lnTo>
                    <a:lnTo>
                      <a:pt x="401" y="37"/>
                    </a:lnTo>
                    <a:lnTo>
                      <a:pt x="403" y="37"/>
                    </a:lnTo>
                    <a:lnTo>
                      <a:pt x="404" y="39"/>
                    </a:lnTo>
                    <a:lnTo>
                      <a:pt x="406" y="41"/>
                    </a:lnTo>
                    <a:lnTo>
                      <a:pt x="406" y="42"/>
                    </a:lnTo>
                    <a:lnTo>
                      <a:pt x="408" y="42"/>
                    </a:lnTo>
                    <a:lnTo>
                      <a:pt x="408" y="44"/>
                    </a:lnTo>
                    <a:lnTo>
                      <a:pt x="408" y="46"/>
                    </a:lnTo>
                    <a:lnTo>
                      <a:pt x="410" y="46"/>
                    </a:lnTo>
                    <a:lnTo>
                      <a:pt x="410" y="48"/>
                    </a:lnTo>
                    <a:lnTo>
                      <a:pt x="410" y="49"/>
                    </a:lnTo>
                    <a:lnTo>
                      <a:pt x="411" y="49"/>
                    </a:lnTo>
                    <a:lnTo>
                      <a:pt x="411" y="51"/>
                    </a:lnTo>
                    <a:lnTo>
                      <a:pt x="413" y="51"/>
                    </a:lnTo>
                    <a:lnTo>
                      <a:pt x="415" y="51"/>
                    </a:lnTo>
                    <a:lnTo>
                      <a:pt x="415" y="53"/>
                    </a:lnTo>
                    <a:lnTo>
                      <a:pt x="416" y="53"/>
                    </a:lnTo>
                    <a:lnTo>
                      <a:pt x="418" y="53"/>
                    </a:lnTo>
                    <a:lnTo>
                      <a:pt x="420" y="54"/>
                    </a:lnTo>
                    <a:lnTo>
                      <a:pt x="420" y="56"/>
                    </a:lnTo>
                    <a:lnTo>
                      <a:pt x="421" y="56"/>
                    </a:lnTo>
                    <a:lnTo>
                      <a:pt x="421" y="58"/>
                    </a:lnTo>
                    <a:lnTo>
                      <a:pt x="423" y="58"/>
                    </a:lnTo>
                    <a:lnTo>
                      <a:pt x="425" y="60"/>
                    </a:lnTo>
                    <a:lnTo>
                      <a:pt x="425" y="61"/>
                    </a:lnTo>
                    <a:lnTo>
                      <a:pt x="427" y="61"/>
                    </a:lnTo>
                    <a:lnTo>
                      <a:pt x="427" y="63"/>
                    </a:lnTo>
                    <a:lnTo>
                      <a:pt x="428" y="63"/>
                    </a:lnTo>
                    <a:lnTo>
                      <a:pt x="430" y="63"/>
                    </a:lnTo>
                    <a:lnTo>
                      <a:pt x="430" y="65"/>
                    </a:lnTo>
                    <a:lnTo>
                      <a:pt x="432" y="65"/>
                    </a:lnTo>
                    <a:lnTo>
                      <a:pt x="432" y="66"/>
                    </a:lnTo>
                    <a:lnTo>
                      <a:pt x="432" y="68"/>
                    </a:lnTo>
                    <a:lnTo>
                      <a:pt x="433" y="68"/>
                    </a:lnTo>
                    <a:lnTo>
                      <a:pt x="433" y="70"/>
                    </a:lnTo>
                    <a:lnTo>
                      <a:pt x="435" y="70"/>
                    </a:lnTo>
                    <a:lnTo>
                      <a:pt x="435" y="71"/>
                    </a:lnTo>
                    <a:lnTo>
                      <a:pt x="437" y="71"/>
                    </a:lnTo>
                    <a:lnTo>
                      <a:pt x="438" y="73"/>
                    </a:lnTo>
                    <a:lnTo>
                      <a:pt x="438" y="75"/>
                    </a:lnTo>
                    <a:lnTo>
                      <a:pt x="440" y="75"/>
                    </a:lnTo>
                    <a:lnTo>
                      <a:pt x="442" y="75"/>
                    </a:lnTo>
                    <a:lnTo>
                      <a:pt x="442" y="77"/>
                    </a:lnTo>
                    <a:lnTo>
                      <a:pt x="444" y="75"/>
                    </a:lnTo>
                    <a:lnTo>
                      <a:pt x="444" y="77"/>
                    </a:lnTo>
                    <a:lnTo>
                      <a:pt x="445" y="77"/>
                    </a:lnTo>
                    <a:lnTo>
                      <a:pt x="445" y="78"/>
                    </a:lnTo>
                    <a:lnTo>
                      <a:pt x="447" y="78"/>
                    </a:lnTo>
                    <a:lnTo>
                      <a:pt x="449" y="78"/>
                    </a:lnTo>
                    <a:lnTo>
                      <a:pt x="449" y="80"/>
                    </a:lnTo>
                    <a:lnTo>
                      <a:pt x="450" y="80"/>
                    </a:lnTo>
                    <a:lnTo>
                      <a:pt x="452" y="82"/>
                    </a:lnTo>
                    <a:lnTo>
                      <a:pt x="452" y="83"/>
                    </a:lnTo>
                    <a:lnTo>
                      <a:pt x="454" y="83"/>
                    </a:lnTo>
                    <a:lnTo>
                      <a:pt x="454" y="85"/>
                    </a:lnTo>
                    <a:lnTo>
                      <a:pt x="455" y="85"/>
                    </a:lnTo>
                    <a:lnTo>
                      <a:pt x="455" y="87"/>
                    </a:lnTo>
                    <a:lnTo>
                      <a:pt x="455" y="88"/>
                    </a:lnTo>
                    <a:lnTo>
                      <a:pt x="455" y="90"/>
                    </a:lnTo>
                    <a:lnTo>
                      <a:pt x="455" y="92"/>
                    </a:lnTo>
                    <a:lnTo>
                      <a:pt x="457" y="92"/>
                    </a:lnTo>
                    <a:lnTo>
                      <a:pt x="457" y="94"/>
                    </a:lnTo>
                    <a:lnTo>
                      <a:pt x="459" y="94"/>
                    </a:lnTo>
                    <a:lnTo>
                      <a:pt x="459" y="95"/>
                    </a:lnTo>
                    <a:lnTo>
                      <a:pt x="459" y="97"/>
                    </a:lnTo>
                    <a:lnTo>
                      <a:pt x="461" y="97"/>
                    </a:lnTo>
                    <a:lnTo>
                      <a:pt x="461" y="99"/>
                    </a:lnTo>
                    <a:lnTo>
                      <a:pt x="462" y="100"/>
                    </a:lnTo>
                    <a:lnTo>
                      <a:pt x="462" y="102"/>
                    </a:lnTo>
                    <a:lnTo>
                      <a:pt x="461" y="102"/>
                    </a:lnTo>
                    <a:lnTo>
                      <a:pt x="462" y="102"/>
                    </a:lnTo>
                    <a:lnTo>
                      <a:pt x="462" y="104"/>
                    </a:lnTo>
                    <a:lnTo>
                      <a:pt x="461" y="104"/>
                    </a:lnTo>
                    <a:lnTo>
                      <a:pt x="461" y="105"/>
                    </a:lnTo>
                    <a:lnTo>
                      <a:pt x="462" y="107"/>
                    </a:lnTo>
                    <a:lnTo>
                      <a:pt x="461" y="107"/>
                    </a:lnTo>
                    <a:lnTo>
                      <a:pt x="462" y="107"/>
                    </a:lnTo>
                    <a:lnTo>
                      <a:pt x="462" y="109"/>
                    </a:lnTo>
                    <a:lnTo>
                      <a:pt x="462" y="111"/>
                    </a:lnTo>
                    <a:lnTo>
                      <a:pt x="464" y="112"/>
                    </a:lnTo>
                    <a:lnTo>
                      <a:pt x="464" y="114"/>
                    </a:lnTo>
                    <a:lnTo>
                      <a:pt x="466" y="114"/>
                    </a:lnTo>
                    <a:lnTo>
                      <a:pt x="466" y="116"/>
                    </a:lnTo>
                    <a:lnTo>
                      <a:pt x="466" y="117"/>
                    </a:lnTo>
                    <a:lnTo>
                      <a:pt x="466" y="119"/>
                    </a:lnTo>
                    <a:lnTo>
                      <a:pt x="467" y="119"/>
                    </a:lnTo>
                    <a:lnTo>
                      <a:pt x="466" y="119"/>
                    </a:lnTo>
                    <a:lnTo>
                      <a:pt x="467" y="119"/>
                    </a:lnTo>
                    <a:lnTo>
                      <a:pt x="467" y="121"/>
                    </a:lnTo>
                    <a:lnTo>
                      <a:pt x="469" y="121"/>
                    </a:lnTo>
                    <a:lnTo>
                      <a:pt x="469" y="122"/>
                    </a:lnTo>
                    <a:lnTo>
                      <a:pt x="471" y="122"/>
                    </a:lnTo>
                    <a:lnTo>
                      <a:pt x="471" y="124"/>
                    </a:lnTo>
                    <a:lnTo>
                      <a:pt x="472" y="124"/>
                    </a:lnTo>
                    <a:lnTo>
                      <a:pt x="472" y="126"/>
                    </a:lnTo>
                    <a:lnTo>
                      <a:pt x="474" y="126"/>
                    </a:lnTo>
                    <a:lnTo>
                      <a:pt x="476" y="126"/>
                    </a:lnTo>
                    <a:lnTo>
                      <a:pt x="478" y="126"/>
                    </a:lnTo>
                    <a:lnTo>
                      <a:pt x="478" y="128"/>
                    </a:lnTo>
                    <a:lnTo>
                      <a:pt x="478" y="129"/>
                    </a:lnTo>
                    <a:lnTo>
                      <a:pt x="479" y="129"/>
                    </a:lnTo>
                    <a:lnTo>
                      <a:pt x="479" y="131"/>
                    </a:lnTo>
                    <a:lnTo>
                      <a:pt x="481" y="131"/>
                    </a:lnTo>
                    <a:lnTo>
                      <a:pt x="481" y="133"/>
                    </a:lnTo>
                    <a:lnTo>
                      <a:pt x="483" y="133"/>
                    </a:lnTo>
                    <a:lnTo>
                      <a:pt x="484" y="133"/>
                    </a:lnTo>
                    <a:lnTo>
                      <a:pt x="484" y="134"/>
                    </a:lnTo>
                    <a:lnTo>
                      <a:pt x="486" y="134"/>
                    </a:lnTo>
                    <a:lnTo>
                      <a:pt x="488" y="134"/>
                    </a:lnTo>
                    <a:lnTo>
                      <a:pt x="489" y="134"/>
                    </a:lnTo>
                    <a:lnTo>
                      <a:pt x="491" y="136"/>
                    </a:lnTo>
                    <a:lnTo>
                      <a:pt x="491" y="134"/>
                    </a:lnTo>
                    <a:lnTo>
                      <a:pt x="491" y="136"/>
                    </a:lnTo>
                    <a:lnTo>
                      <a:pt x="493" y="136"/>
                    </a:lnTo>
                    <a:lnTo>
                      <a:pt x="493" y="138"/>
                    </a:lnTo>
                    <a:lnTo>
                      <a:pt x="493" y="136"/>
                    </a:lnTo>
                    <a:lnTo>
                      <a:pt x="493" y="138"/>
                    </a:lnTo>
                    <a:lnTo>
                      <a:pt x="495" y="138"/>
                    </a:lnTo>
                    <a:lnTo>
                      <a:pt x="495" y="139"/>
                    </a:lnTo>
                    <a:lnTo>
                      <a:pt x="495" y="138"/>
                    </a:lnTo>
                    <a:lnTo>
                      <a:pt x="495" y="139"/>
                    </a:lnTo>
                    <a:lnTo>
                      <a:pt x="496" y="139"/>
                    </a:lnTo>
                    <a:lnTo>
                      <a:pt x="498" y="139"/>
                    </a:lnTo>
                    <a:lnTo>
                      <a:pt x="500" y="139"/>
                    </a:lnTo>
                    <a:lnTo>
                      <a:pt x="501" y="141"/>
                    </a:lnTo>
                    <a:lnTo>
                      <a:pt x="501" y="143"/>
                    </a:lnTo>
                    <a:lnTo>
                      <a:pt x="503" y="143"/>
                    </a:lnTo>
                    <a:lnTo>
                      <a:pt x="505" y="145"/>
                    </a:lnTo>
                    <a:lnTo>
                      <a:pt x="506" y="145"/>
                    </a:lnTo>
                    <a:lnTo>
                      <a:pt x="508" y="145"/>
                    </a:lnTo>
                    <a:lnTo>
                      <a:pt x="506" y="145"/>
                    </a:lnTo>
                    <a:lnTo>
                      <a:pt x="508" y="145"/>
                    </a:lnTo>
                    <a:lnTo>
                      <a:pt x="508" y="146"/>
                    </a:lnTo>
                    <a:lnTo>
                      <a:pt x="510" y="146"/>
                    </a:lnTo>
                    <a:lnTo>
                      <a:pt x="512" y="146"/>
                    </a:lnTo>
                    <a:lnTo>
                      <a:pt x="513" y="146"/>
                    </a:lnTo>
                    <a:lnTo>
                      <a:pt x="515" y="146"/>
                    </a:lnTo>
                    <a:lnTo>
                      <a:pt x="515" y="145"/>
                    </a:lnTo>
                    <a:lnTo>
                      <a:pt x="515" y="143"/>
                    </a:lnTo>
                    <a:lnTo>
                      <a:pt x="517" y="143"/>
                    </a:lnTo>
                    <a:lnTo>
                      <a:pt x="517" y="141"/>
                    </a:lnTo>
                    <a:lnTo>
                      <a:pt x="517" y="143"/>
                    </a:lnTo>
                    <a:lnTo>
                      <a:pt x="517" y="141"/>
                    </a:lnTo>
                    <a:lnTo>
                      <a:pt x="518" y="141"/>
                    </a:lnTo>
                    <a:lnTo>
                      <a:pt x="518" y="139"/>
                    </a:lnTo>
                    <a:lnTo>
                      <a:pt x="520" y="138"/>
                    </a:lnTo>
                    <a:lnTo>
                      <a:pt x="520" y="139"/>
                    </a:lnTo>
                    <a:lnTo>
                      <a:pt x="520" y="138"/>
                    </a:lnTo>
                    <a:lnTo>
                      <a:pt x="522" y="138"/>
                    </a:lnTo>
                    <a:lnTo>
                      <a:pt x="523" y="138"/>
                    </a:lnTo>
                    <a:lnTo>
                      <a:pt x="523" y="136"/>
                    </a:lnTo>
                    <a:lnTo>
                      <a:pt x="522" y="136"/>
                    </a:lnTo>
                    <a:lnTo>
                      <a:pt x="522" y="134"/>
                    </a:lnTo>
                    <a:lnTo>
                      <a:pt x="523" y="133"/>
                    </a:lnTo>
                    <a:lnTo>
                      <a:pt x="522" y="133"/>
                    </a:lnTo>
                    <a:lnTo>
                      <a:pt x="523" y="133"/>
                    </a:lnTo>
                    <a:lnTo>
                      <a:pt x="523" y="131"/>
                    </a:lnTo>
                    <a:lnTo>
                      <a:pt x="525" y="131"/>
                    </a:lnTo>
                    <a:lnTo>
                      <a:pt x="523" y="129"/>
                    </a:lnTo>
                    <a:lnTo>
                      <a:pt x="525" y="129"/>
                    </a:lnTo>
                    <a:lnTo>
                      <a:pt x="523" y="129"/>
                    </a:lnTo>
                    <a:lnTo>
                      <a:pt x="525" y="128"/>
                    </a:lnTo>
                    <a:lnTo>
                      <a:pt x="525" y="126"/>
                    </a:lnTo>
                    <a:lnTo>
                      <a:pt x="525" y="124"/>
                    </a:lnTo>
                    <a:lnTo>
                      <a:pt x="527" y="124"/>
                    </a:lnTo>
                    <a:lnTo>
                      <a:pt x="527" y="122"/>
                    </a:lnTo>
                    <a:lnTo>
                      <a:pt x="527" y="121"/>
                    </a:lnTo>
                    <a:lnTo>
                      <a:pt x="529" y="121"/>
                    </a:lnTo>
                    <a:lnTo>
                      <a:pt x="529" y="119"/>
                    </a:lnTo>
                    <a:lnTo>
                      <a:pt x="529" y="117"/>
                    </a:lnTo>
                    <a:lnTo>
                      <a:pt x="530" y="117"/>
                    </a:lnTo>
                    <a:lnTo>
                      <a:pt x="532" y="117"/>
                    </a:lnTo>
                    <a:lnTo>
                      <a:pt x="534" y="116"/>
                    </a:lnTo>
                    <a:lnTo>
                      <a:pt x="534" y="117"/>
                    </a:lnTo>
                    <a:lnTo>
                      <a:pt x="534" y="116"/>
                    </a:lnTo>
                    <a:lnTo>
                      <a:pt x="535" y="116"/>
                    </a:lnTo>
                    <a:lnTo>
                      <a:pt x="537" y="116"/>
                    </a:lnTo>
                    <a:lnTo>
                      <a:pt x="539" y="116"/>
                    </a:lnTo>
                    <a:lnTo>
                      <a:pt x="539" y="114"/>
                    </a:lnTo>
                    <a:lnTo>
                      <a:pt x="540" y="114"/>
                    </a:lnTo>
                    <a:lnTo>
                      <a:pt x="540" y="112"/>
                    </a:lnTo>
                    <a:lnTo>
                      <a:pt x="542" y="112"/>
                    </a:lnTo>
                    <a:lnTo>
                      <a:pt x="544" y="112"/>
                    </a:lnTo>
                    <a:lnTo>
                      <a:pt x="546" y="114"/>
                    </a:lnTo>
                    <a:lnTo>
                      <a:pt x="546" y="112"/>
                    </a:lnTo>
                    <a:lnTo>
                      <a:pt x="546" y="114"/>
                    </a:lnTo>
                    <a:lnTo>
                      <a:pt x="547" y="114"/>
                    </a:lnTo>
                    <a:lnTo>
                      <a:pt x="549" y="116"/>
                    </a:lnTo>
                    <a:lnTo>
                      <a:pt x="551" y="116"/>
                    </a:lnTo>
                    <a:lnTo>
                      <a:pt x="551" y="114"/>
                    </a:lnTo>
                    <a:lnTo>
                      <a:pt x="552" y="116"/>
                    </a:lnTo>
                    <a:lnTo>
                      <a:pt x="552" y="114"/>
                    </a:lnTo>
                    <a:lnTo>
                      <a:pt x="552" y="116"/>
                    </a:lnTo>
                    <a:lnTo>
                      <a:pt x="552" y="114"/>
                    </a:lnTo>
                    <a:lnTo>
                      <a:pt x="554" y="116"/>
                    </a:lnTo>
                    <a:lnTo>
                      <a:pt x="554" y="114"/>
                    </a:lnTo>
                    <a:lnTo>
                      <a:pt x="554" y="116"/>
                    </a:lnTo>
                    <a:lnTo>
                      <a:pt x="556" y="116"/>
                    </a:lnTo>
                    <a:lnTo>
                      <a:pt x="557" y="114"/>
                    </a:lnTo>
                    <a:lnTo>
                      <a:pt x="557" y="116"/>
                    </a:lnTo>
                    <a:lnTo>
                      <a:pt x="559" y="114"/>
                    </a:lnTo>
                    <a:lnTo>
                      <a:pt x="559" y="116"/>
                    </a:lnTo>
                    <a:lnTo>
                      <a:pt x="561" y="116"/>
                    </a:lnTo>
                    <a:lnTo>
                      <a:pt x="563" y="116"/>
                    </a:lnTo>
                    <a:lnTo>
                      <a:pt x="564" y="116"/>
                    </a:lnTo>
                    <a:lnTo>
                      <a:pt x="564" y="117"/>
                    </a:lnTo>
                    <a:lnTo>
                      <a:pt x="564" y="116"/>
                    </a:lnTo>
                    <a:lnTo>
                      <a:pt x="566" y="116"/>
                    </a:lnTo>
                    <a:lnTo>
                      <a:pt x="568" y="114"/>
                    </a:lnTo>
                    <a:lnTo>
                      <a:pt x="568" y="116"/>
                    </a:lnTo>
                    <a:lnTo>
                      <a:pt x="569" y="116"/>
                    </a:lnTo>
                    <a:lnTo>
                      <a:pt x="571" y="116"/>
                    </a:lnTo>
                    <a:lnTo>
                      <a:pt x="571" y="117"/>
                    </a:lnTo>
                    <a:lnTo>
                      <a:pt x="571" y="116"/>
                    </a:lnTo>
                    <a:lnTo>
                      <a:pt x="573" y="116"/>
                    </a:lnTo>
                    <a:lnTo>
                      <a:pt x="573" y="117"/>
                    </a:lnTo>
                    <a:lnTo>
                      <a:pt x="573" y="119"/>
                    </a:lnTo>
                    <a:lnTo>
                      <a:pt x="574" y="119"/>
                    </a:lnTo>
                    <a:lnTo>
                      <a:pt x="574" y="121"/>
                    </a:lnTo>
                    <a:lnTo>
                      <a:pt x="576" y="121"/>
                    </a:lnTo>
                    <a:lnTo>
                      <a:pt x="576" y="122"/>
                    </a:lnTo>
                    <a:lnTo>
                      <a:pt x="576" y="124"/>
                    </a:lnTo>
                    <a:lnTo>
                      <a:pt x="576" y="122"/>
                    </a:lnTo>
                    <a:lnTo>
                      <a:pt x="576" y="121"/>
                    </a:lnTo>
                    <a:lnTo>
                      <a:pt x="578" y="121"/>
                    </a:lnTo>
                    <a:lnTo>
                      <a:pt x="578" y="122"/>
                    </a:lnTo>
                    <a:lnTo>
                      <a:pt x="578" y="124"/>
                    </a:lnTo>
                    <a:lnTo>
                      <a:pt x="578" y="126"/>
                    </a:lnTo>
                    <a:lnTo>
                      <a:pt x="580" y="126"/>
                    </a:lnTo>
                    <a:lnTo>
                      <a:pt x="581" y="128"/>
                    </a:lnTo>
                    <a:lnTo>
                      <a:pt x="583" y="128"/>
                    </a:lnTo>
                    <a:lnTo>
                      <a:pt x="585" y="128"/>
                    </a:lnTo>
                    <a:lnTo>
                      <a:pt x="585" y="129"/>
                    </a:lnTo>
                    <a:lnTo>
                      <a:pt x="585" y="131"/>
                    </a:lnTo>
                    <a:lnTo>
                      <a:pt x="586" y="131"/>
                    </a:lnTo>
                    <a:lnTo>
                      <a:pt x="586" y="133"/>
                    </a:lnTo>
                    <a:lnTo>
                      <a:pt x="588" y="133"/>
                    </a:lnTo>
                    <a:lnTo>
                      <a:pt x="590" y="134"/>
                    </a:lnTo>
                    <a:lnTo>
                      <a:pt x="591" y="134"/>
                    </a:lnTo>
                    <a:lnTo>
                      <a:pt x="591" y="136"/>
                    </a:lnTo>
                    <a:lnTo>
                      <a:pt x="593" y="136"/>
                    </a:lnTo>
                    <a:lnTo>
                      <a:pt x="591" y="136"/>
                    </a:lnTo>
                    <a:lnTo>
                      <a:pt x="593" y="136"/>
                    </a:lnTo>
                    <a:lnTo>
                      <a:pt x="593" y="138"/>
                    </a:lnTo>
                    <a:lnTo>
                      <a:pt x="593" y="139"/>
                    </a:lnTo>
                    <a:lnTo>
                      <a:pt x="595" y="139"/>
                    </a:lnTo>
                    <a:lnTo>
                      <a:pt x="595" y="141"/>
                    </a:lnTo>
                    <a:lnTo>
                      <a:pt x="597" y="141"/>
                    </a:lnTo>
                    <a:lnTo>
                      <a:pt x="597" y="143"/>
                    </a:lnTo>
                    <a:lnTo>
                      <a:pt x="598" y="145"/>
                    </a:lnTo>
                    <a:lnTo>
                      <a:pt x="598" y="146"/>
                    </a:lnTo>
                    <a:lnTo>
                      <a:pt x="598" y="148"/>
                    </a:lnTo>
                    <a:lnTo>
                      <a:pt x="598" y="150"/>
                    </a:lnTo>
                    <a:lnTo>
                      <a:pt x="600" y="150"/>
                    </a:lnTo>
                    <a:lnTo>
                      <a:pt x="600" y="151"/>
                    </a:lnTo>
                    <a:lnTo>
                      <a:pt x="600" y="153"/>
                    </a:lnTo>
                    <a:lnTo>
                      <a:pt x="602" y="153"/>
                    </a:lnTo>
                    <a:lnTo>
                      <a:pt x="602" y="155"/>
                    </a:lnTo>
                    <a:lnTo>
                      <a:pt x="603" y="156"/>
                    </a:lnTo>
                    <a:lnTo>
                      <a:pt x="603" y="158"/>
                    </a:lnTo>
                    <a:lnTo>
                      <a:pt x="603" y="160"/>
                    </a:lnTo>
                    <a:lnTo>
                      <a:pt x="605" y="160"/>
                    </a:lnTo>
                    <a:lnTo>
                      <a:pt x="605" y="162"/>
                    </a:lnTo>
                    <a:lnTo>
                      <a:pt x="607" y="162"/>
                    </a:lnTo>
                    <a:lnTo>
                      <a:pt x="607" y="163"/>
                    </a:lnTo>
                    <a:lnTo>
                      <a:pt x="607" y="165"/>
                    </a:lnTo>
                    <a:lnTo>
                      <a:pt x="608" y="165"/>
                    </a:lnTo>
                    <a:lnTo>
                      <a:pt x="607" y="167"/>
                    </a:lnTo>
                    <a:lnTo>
                      <a:pt x="608" y="167"/>
                    </a:lnTo>
                    <a:lnTo>
                      <a:pt x="608" y="168"/>
                    </a:lnTo>
                    <a:lnTo>
                      <a:pt x="608" y="170"/>
                    </a:lnTo>
                    <a:lnTo>
                      <a:pt x="610" y="172"/>
                    </a:lnTo>
                    <a:lnTo>
                      <a:pt x="610" y="173"/>
                    </a:lnTo>
                    <a:lnTo>
                      <a:pt x="610" y="175"/>
                    </a:lnTo>
                    <a:lnTo>
                      <a:pt x="612" y="175"/>
                    </a:lnTo>
                    <a:lnTo>
                      <a:pt x="612" y="177"/>
                    </a:lnTo>
                    <a:lnTo>
                      <a:pt x="614" y="177"/>
                    </a:lnTo>
                    <a:lnTo>
                      <a:pt x="615" y="177"/>
                    </a:lnTo>
                    <a:lnTo>
                      <a:pt x="615" y="179"/>
                    </a:lnTo>
                    <a:lnTo>
                      <a:pt x="617" y="179"/>
                    </a:lnTo>
                    <a:lnTo>
                      <a:pt x="619" y="180"/>
                    </a:lnTo>
                    <a:lnTo>
                      <a:pt x="619" y="182"/>
                    </a:lnTo>
                    <a:lnTo>
                      <a:pt x="620" y="184"/>
                    </a:lnTo>
                    <a:lnTo>
                      <a:pt x="620" y="185"/>
                    </a:lnTo>
                    <a:lnTo>
                      <a:pt x="622" y="185"/>
                    </a:lnTo>
                    <a:lnTo>
                      <a:pt x="622" y="187"/>
                    </a:lnTo>
                    <a:lnTo>
                      <a:pt x="624" y="187"/>
                    </a:lnTo>
                    <a:lnTo>
                      <a:pt x="624" y="189"/>
                    </a:lnTo>
                    <a:lnTo>
                      <a:pt x="624" y="190"/>
                    </a:lnTo>
                    <a:lnTo>
                      <a:pt x="624" y="192"/>
                    </a:lnTo>
                    <a:lnTo>
                      <a:pt x="625" y="192"/>
                    </a:lnTo>
                    <a:lnTo>
                      <a:pt x="625" y="194"/>
                    </a:lnTo>
                    <a:lnTo>
                      <a:pt x="625" y="192"/>
                    </a:lnTo>
                    <a:lnTo>
                      <a:pt x="627" y="194"/>
                    </a:lnTo>
                    <a:lnTo>
                      <a:pt x="627" y="196"/>
                    </a:lnTo>
                    <a:lnTo>
                      <a:pt x="629" y="196"/>
                    </a:lnTo>
                    <a:lnTo>
                      <a:pt x="629" y="197"/>
                    </a:lnTo>
                    <a:lnTo>
                      <a:pt x="631" y="197"/>
                    </a:lnTo>
                    <a:lnTo>
                      <a:pt x="632" y="199"/>
                    </a:lnTo>
                    <a:lnTo>
                      <a:pt x="632" y="197"/>
                    </a:lnTo>
                    <a:lnTo>
                      <a:pt x="634" y="197"/>
                    </a:lnTo>
                    <a:lnTo>
                      <a:pt x="634" y="199"/>
                    </a:lnTo>
                    <a:lnTo>
                      <a:pt x="636" y="199"/>
                    </a:lnTo>
                    <a:lnTo>
                      <a:pt x="636" y="201"/>
                    </a:lnTo>
                    <a:lnTo>
                      <a:pt x="636" y="202"/>
                    </a:lnTo>
                    <a:lnTo>
                      <a:pt x="636" y="204"/>
                    </a:lnTo>
                    <a:lnTo>
                      <a:pt x="637" y="202"/>
                    </a:lnTo>
                    <a:lnTo>
                      <a:pt x="637" y="204"/>
                    </a:lnTo>
                    <a:lnTo>
                      <a:pt x="637" y="206"/>
                    </a:lnTo>
                    <a:lnTo>
                      <a:pt x="637" y="208"/>
                    </a:lnTo>
                    <a:lnTo>
                      <a:pt x="636" y="209"/>
                    </a:lnTo>
                    <a:lnTo>
                      <a:pt x="637" y="209"/>
                    </a:lnTo>
                    <a:lnTo>
                      <a:pt x="636" y="209"/>
                    </a:lnTo>
                    <a:lnTo>
                      <a:pt x="636" y="211"/>
                    </a:lnTo>
                    <a:lnTo>
                      <a:pt x="637" y="211"/>
                    </a:lnTo>
                    <a:lnTo>
                      <a:pt x="637" y="213"/>
                    </a:lnTo>
                    <a:lnTo>
                      <a:pt x="639" y="213"/>
                    </a:lnTo>
                    <a:lnTo>
                      <a:pt x="639" y="214"/>
                    </a:lnTo>
                    <a:lnTo>
                      <a:pt x="639" y="216"/>
                    </a:lnTo>
                    <a:lnTo>
                      <a:pt x="639" y="218"/>
                    </a:lnTo>
                    <a:lnTo>
                      <a:pt x="639" y="219"/>
                    </a:lnTo>
                    <a:lnTo>
                      <a:pt x="639" y="221"/>
                    </a:lnTo>
                    <a:lnTo>
                      <a:pt x="641" y="223"/>
                    </a:lnTo>
                    <a:lnTo>
                      <a:pt x="641" y="225"/>
                    </a:lnTo>
                    <a:lnTo>
                      <a:pt x="642" y="225"/>
                    </a:lnTo>
                    <a:lnTo>
                      <a:pt x="642" y="226"/>
                    </a:lnTo>
                    <a:lnTo>
                      <a:pt x="642" y="228"/>
                    </a:lnTo>
                    <a:lnTo>
                      <a:pt x="644" y="228"/>
                    </a:lnTo>
                    <a:lnTo>
                      <a:pt x="644" y="230"/>
                    </a:lnTo>
                    <a:lnTo>
                      <a:pt x="646" y="230"/>
                    </a:lnTo>
                    <a:lnTo>
                      <a:pt x="646" y="231"/>
                    </a:lnTo>
                    <a:lnTo>
                      <a:pt x="646" y="233"/>
                    </a:lnTo>
                    <a:lnTo>
                      <a:pt x="646" y="235"/>
                    </a:lnTo>
                    <a:lnTo>
                      <a:pt x="648" y="235"/>
                    </a:lnTo>
                    <a:lnTo>
                      <a:pt x="648" y="236"/>
                    </a:lnTo>
                    <a:lnTo>
                      <a:pt x="648" y="238"/>
                    </a:lnTo>
                    <a:lnTo>
                      <a:pt x="648" y="240"/>
                    </a:lnTo>
                    <a:lnTo>
                      <a:pt x="649" y="240"/>
                    </a:lnTo>
                    <a:lnTo>
                      <a:pt x="649" y="242"/>
                    </a:lnTo>
                    <a:lnTo>
                      <a:pt x="651" y="242"/>
                    </a:lnTo>
                    <a:lnTo>
                      <a:pt x="651" y="243"/>
                    </a:lnTo>
                    <a:lnTo>
                      <a:pt x="649" y="243"/>
                    </a:lnTo>
                    <a:lnTo>
                      <a:pt x="651" y="245"/>
                    </a:lnTo>
                    <a:lnTo>
                      <a:pt x="653" y="245"/>
                    </a:lnTo>
                    <a:lnTo>
                      <a:pt x="654" y="245"/>
                    </a:lnTo>
                    <a:lnTo>
                      <a:pt x="656" y="247"/>
                    </a:lnTo>
                    <a:lnTo>
                      <a:pt x="656" y="245"/>
                    </a:lnTo>
                    <a:lnTo>
                      <a:pt x="656" y="247"/>
                    </a:lnTo>
                    <a:lnTo>
                      <a:pt x="658" y="247"/>
                    </a:lnTo>
                    <a:lnTo>
                      <a:pt x="659" y="247"/>
                    </a:lnTo>
                    <a:lnTo>
                      <a:pt x="661" y="247"/>
                    </a:lnTo>
                    <a:lnTo>
                      <a:pt x="661" y="248"/>
                    </a:lnTo>
                    <a:lnTo>
                      <a:pt x="663" y="248"/>
                    </a:lnTo>
                    <a:lnTo>
                      <a:pt x="661" y="248"/>
                    </a:lnTo>
                    <a:lnTo>
                      <a:pt x="663" y="248"/>
                    </a:lnTo>
                    <a:lnTo>
                      <a:pt x="663" y="250"/>
                    </a:lnTo>
                    <a:lnTo>
                      <a:pt x="665" y="250"/>
                    </a:lnTo>
                    <a:lnTo>
                      <a:pt x="665" y="252"/>
                    </a:lnTo>
                    <a:lnTo>
                      <a:pt x="666" y="250"/>
                    </a:lnTo>
                    <a:lnTo>
                      <a:pt x="668" y="250"/>
                    </a:lnTo>
                    <a:lnTo>
                      <a:pt x="668" y="252"/>
                    </a:lnTo>
                    <a:lnTo>
                      <a:pt x="670" y="252"/>
                    </a:lnTo>
                    <a:lnTo>
                      <a:pt x="668" y="250"/>
                    </a:lnTo>
                    <a:lnTo>
                      <a:pt x="670" y="250"/>
                    </a:lnTo>
                    <a:lnTo>
                      <a:pt x="670" y="252"/>
                    </a:lnTo>
                    <a:lnTo>
                      <a:pt x="671" y="252"/>
                    </a:lnTo>
                    <a:lnTo>
                      <a:pt x="673" y="252"/>
                    </a:lnTo>
                    <a:lnTo>
                      <a:pt x="673" y="253"/>
                    </a:lnTo>
                    <a:lnTo>
                      <a:pt x="675" y="253"/>
                    </a:lnTo>
                    <a:lnTo>
                      <a:pt x="675" y="255"/>
                    </a:lnTo>
                    <a:lnTo>
                      <a:pt x="676" y="253"/>
                    </a:lnTo>
                    <a:lnTo>
                      <a:pt x="676" y="255"/>
                    </a:lnTo>
                    <a:lnTo>
                      <a:pt x="676" y="257"/>
                    </a:lnTo>
                    <a:lnTo>
                      <a:pt x="678" y="255"/>
                    </a:lnTo>
                    <a:lnTo>
                      <a:pt x="678" y="257"/>
                    </a:lnTo>
                    <a:lnTo>
                      <a:pt x="680" y="257"/>
                    </a:lnTo>
                    <a:lnTo>
                      <a:pt x="680" y="259"/>
                    </a:lnTo>
                    <a:lnTo>
                      <a:pt x="682" y="257"/>
                    </a:lnTo>
                    <a:lnTo>
                      <a:pt x="682" y="259"/>
                    </a:lnTo>
                    <a:lnTo>
                      <a:pt x="683" y="259"/>
                    </a:lnTo>
                    <a:lnTo>
                      <a:pt x="683" y="257"/>
                    </a:lnTo>
                    <a:lnTo>
                      <a:pt x="685" y="259"/>
                    </a:lnTo>
                    <a:lnTo>
                      <a:pt x="685" y="257"/>
                    </a:lnTo>
                    <a:lnTo>
                      <a:pt x="685" y="259"/>
                    </a:lnTo>
                    <a:lnTo>
                      <a:pt x="687" y="259"/>
                    </a:lnTo>
                    <a:lnTo>
                      <a:pt x="687" y="257"/>
                    </a:lnTo>
                    <a:lnTo>
                      <a:pt x="687" y="259"/>
                    </a:lnTo>
                    <a:lnTo>
                      <a:pt x="688" y="259"/>
                    </a:lnTo>
                    <a:lnTo>
                      <a:pt x="688" y="257"/>
                    </a:lnTo>
                    <a:lnTo>
                      <a:pt x="688" y="259"/>
                    </a:lnTo>
                    <a:lnTo>
                      <a:pt x="688" y="257"/>
                    </a:lnTo>
                    <a:lnTo>
                      <a:pt x="690" y="259"/>
                    </a:lnTo>
                    <a:lnTo>
                      <a:pt x="690" y="257"/>
                    </a:lnTo>
                    <a:lnTo>
                      <a:pt x="690" y="259"/>
                    </a:lnTo>
                    <a:lnTo>
                      <a:pt x="692" y="259"/>
                    </a:lnTo>
                    <a:lnTo>
                      <a:pt x="692" y="257"/>
                    </a:lnTo>
                    <a:lnTo>
                      <a:pt x="692" y="259"/>
                    </a:lnTo>
                    <a:lnTo>
                      <a:pt x="692" y="257"/>
                    </a:lnTo>
                    <a:lnTo>
                      <a:pt x="692" y="259"/>
                    </a:lnTo>
                    <a:lnTo>
                      <a:pt x="693" y="259"/>
                    </a:lnTo>
                    <a:lnTo>
                      <a:pt x="695" y="259"/>
                    </a:lnTo>
                    <a:lnTo>
                      <a:pt x="697" y="259"/>
                    </a:lnTo>
                    <a:lnTo>
                      <a:pt x="699" y="259"/>
                    </a:lnTo>
                    <a:lnTo>
                      <a:pt x="700" y="259"/>
                    </a:lnTo>
                    <a:lnTo>
                      <a:pt x="699" y="260"/>
                    </a:lnTo>
                    <a:lnTo>
                      <a:pt x="700" y="260"/>
                    </a:lnTo>
                    <a:lnTo>
                      <a:pt x="700" y="262"/>
                    </a:lnTo>
                    <a:lnTo>
                      <a:pt x="702" y="262"/>
                    </a:lnTo>
                    <a:lnTo>
                      <a:pt x="702" y="264"/>
                    </a:lnTo>
                    <a:lnTo>
                      <a:pt x="704" y="262"/>
                    </a:lnTo>
                    <a:lnTo>
                      <a:pt x="702" y="264"/>
                    </a:lnTo>
                    <a:lnTo>
                      <a:pt x="704" y="264"/>
                    </a:lnTo>
                    <a:lnTo>
                      <a:pt x="705" y="264"/>
                    </a:lnTo>
                    <a:lnTo>
                      <a:pt x="705" y="265"/>
                    </a:lnTo>
                    <a:lnTo>
                      <a:pt x="705" y="264"/>
                    </a:lnTo>
                    <a:lnTo>
                      <a:pt x="705" y="265"/>
                    </a:lnTo>
                    <a:lnTo>
                      <a:pt x="707" y="265"/>
                    </a:lnTo>
                    <a:lnTo>
                      <a:pt x="709" y="265"/>
                    </a:lnTo>
                    <a:lnTo>
                      <a:pt x="709" y="264"/>
                    </a:lnTo>
                    <a:lnTo>
                      <a:pt x="709" y="262"/>
                    </a:lnTo>
                    <a:lnTo>
                      <a:pt x="710" y="264"/>
                    </a:lnTo>
                    <a:lnTo>
                      <a:pt x="710" y="262"/>
                    </a:lnTo>
                    <a:lnTo>
                      <a:pt x="712" y="262"/>
                    </a:lnTo>
                    <a:lnTo>
                      <a:pt x="714" y="262"/>
                    </a:lnTo>
                    <a:lnTo>
                      <a:pt x="716" y="262"/>
                    </a:lnTo>
                    <a:close/>
                    <a:moveTo>
                      <a:pt x="209" y="146"/>
                    </a:moveTo>
                    <a:lnTo>
                      <a:pt x="207" y="146"/>
                    </a:lnTo>
                    <a:lnTo>
                      <a:pt x="207" y="148"/>
                    </a:lnTo>
                    <a:lnTo>
                      <a:pt x="207" y="150"/>
                    </a:lnTo>
                    <a:lnTo>
                      <a:pt x="207" y="151"/>
                    </a:lnTo>
                    <a:lnTo>
                      <a:pt x="206" y="151"/>
                    </a:lnTo>
                    <a:lnTo>
                      <a:pt x="206" y="153"/>
                    </a:lnTo>
                    <a:lnTo>
                      <a:pt x="206" y="155"/>
                    </a:lnTo>
                    <a:lnTo>
                      <a:pt x="204" y="155"/>
                    </a:lnTo>
                    <a:lnTo>
                      <a:pt x="202" y="155"/>
                    </a:lnTo>
                    <a:lnTo>
                      <a:pt x="200" y="153"/>
                    </a:lnTo>
                    <a:lnTo>
                      <a:pt x="199" y="153"/>
                    </a:lnTo>
                    <a:lnTo>
                      <a:pt x="199" y="151"/>
                    </a:lnTo>
                    <a:lnTo>
                      <a:pt x="197" y="151"/>
                    </a:lnTo>
                    <a:lnTo>
                      <a:pt x="195" y="151"/>
                    </a:lnTo>
                    <a:lnTo>
                      <a:pt x="195" y="150"/>
                    </a:lnTo>
                    <a:lnTo>
                      <a:pt x="197" y="150"/>
                    </a:lnTo>
                    <a:lnTo>
                      <a:pt x="197" y="148"/>
                    </a:lnTo>
                    <a:lnTo>
                      <a:pt x="199" y="148"/>
                    </a:lnTo>
                    <a:lnTo>
                      <a:pt x="199" y="146"/>
                    </a:lnTo>
                    <a:lnTo>
                      <a:pt x="197" y="145"/>
                    </a:lnTo>
                    <a:lnTo>
                      <a:pt x="199" y="145"/>
                    </a:lnTo>
                    <a:lnTo>
                      <a:pt x="197" y="143"/>
                    </a:lnTo>
                    <a:lnTo>
                      <a:pt x="199" y="143"/>
                    </a:lnTo>
                    <a:lnTo>
                      <a:pt x="199" y="141"/>
                    </a:lnTo>
                    <a:lnTo>
                      <a:pt x="199" y="139"/>
                    </a:lnTo>
                    <a:lnTo>
                      <a:pt x="199" y="138"/>
                    </a:lnTo>
                    <a:lnTo>
                      <a:pt x="200" y="138"/>
                    </a:lnTo>
                    <a:lnTo>
                      <a:pt x="202" y="138"/>
                    </a:lnTo>
                    <a:lnTo>
                      <a:pt x="204" y="138"/>
                    </a:lnTo>
                    <a:lnTo>
                      <a:pt x="206" y="138"/>
                    </a:lnTo>
                    <a:lnTo>
                      <a:pt x="206" y="136"/>
                    </a:lnTo>
                    <a:lnTo>
                      <a:pt x="206" y="138"/>
                    </a:lnTo>
                    <a:lnTo>
                      <a:pt x="206" y="139"/>
                    </a:lnTo>
                    <a:lnTo>
                      <a:pt x="206" y="141"/>
                    </a:lnTo>
                    <a:lnTo>
                      <a:pt x="207" y="141"/>
                    </a:lnTo>
                    <a:lnTo>
                      <a:pt x="207" y="143"/>
                    </a:lnTo>
                    <a:lnTo>
                      <a:pt x="207" y="145"/>
                    </a:lnTo>
                    <a:lnTo>
                      <a:pt x="209" y="145"/>
                    </a:lnTo>
                    <a:lnTo>
                      <a:pt x="209" y="146"/>
                    </a:lnTo>
                    <a:lnTo>
                      <a:pt x="207" y="146"/>
                    </a:lnTo>
                    <a:lnTo>
                      <a:pt x="207" y="148"/>
                    </a:lnTo>
                    <a:lnTo>
                      <a:pt x="209" y="146"/>
                    </a:lnTo>
                    <a:close/>
                    <a:moveTo>
                      <a:pt x="178" y="143"/>
                    </a:moveTo>
                    <a:lnTo>
                      <a:pt x="177" y="145"/>
                    </a:lnTo>
                    <a:lnTo>
                      <a:pt x="177" y="146"/>
                    </a:lnTo>
                    <a:lnTo>
                      <a:pt x="175" y="145"/>
                    </a:lnTo>
                    <a:lnTo>
                      <a:pt x="173" y="143"/>
                    </a:lnTo>
                    <a:lnTo>
                      <a:pt x="172" y="143"/>
                    </a:lnTo>
                    <a:lnTo>
                      <a:pt x="172" y="141"/>
                    </a:lnTo>
                    <a:lnTo>
                      <a:pt x="172" y="139"/>
                    </a:lnTo>
                    <a:lnTo>
                      <a:pt x="170" y="139"/>
                    </a:lnTo>
                    <a:lnTo>
                      <a:pt x="168" y="138"/>
                    </a:lnTo>
                    <a:lnTo>
                      <a:pt x="166" y="138"/>
                    </a:lnTo>
                    <a:lnTo>
                      <a:pt x="166" y="136"/>
                    </a:lnTo>
                    <a:lnTo>
                      <a:pt x="166" y="134"/>
                    </a:lnTo>
                    <a:lnTo>
                      <a:pt x="165" y="134"/>
                    </a:lnTo>
                    <a:lnTo>
                      <a:pt x="165" y="133"/>
                    </a:lnTo>
                    <a:lnTo>
                      <a:pt x="163" y="133"/>
                    </a:lnTo>
                    <a:lnTo>
                      <a:pt x="163" y="131"/>
                    </a:lnTo>
                    <a:lnTo>
                      <a:pt x="161" y="131"/>
                    </a:lnTo>
                    <a:lnTo>
                      <a:pt x="161" y="129"/>
                    </a:lnTo>
                    <a:lnTo>
                      <a:pt x="161" y="128"/>
                    </a:lnTo>
                    <a:lnTo>
                      <a:pt x="161" y="126"/>
                    </a:lnTo>
                    <a:lnTo>
                      <a:pt x="161" y="124"/>
                    </a:lnTo>
                    <a:lnTo>
                      <a:pt x="163" y="126"/>
                    </a:lnTo>
                    <a:lnTo>
                      <a:pt x="163" y="124"/>
                    </a:lnTo>
                    <a:lnTo>
                      <a:pt x="165" y="126"/>
                    </a:lnTo>
                    <a:lnTo>
                      <a:pt x="166" y="126"/>
                    </a:lnTo>
                    <a:lnTo>
                      <a:pt x="166" y="128"/>
                    </a:lnTo>
                    <a:lnTo>
                      <a:pt x="168" y="128"/>
                    </a:lnTo>
                    <a:lnTo>
                      <a:pt x="168" y="129"/>
                    </a:lnTo>
                    <a:lnTo>
                      <a:pt x="168" y="131"/>
                    </a:lnTo>
                    <a:lnTo>
                      <a:pt x="170" y="131"/>
                    </a:lnTo>
                    <a:lnTo>
                      <a:pt x="168" y="131"/>
                    </a:lnTo>
                    <a:lnTo>
                      <a:pt x="168" y="133"/>
                    </a:lnTo>
                    <a:lnTo>
                      <a:pt x="168" y="134"/>
                    </a:lnTo>
                    <a:lnTo>
                      <a:pt x="170" y="134"/>
                    </a:lnTo>
                    <a:lnTo>
                      <a:pt x="172" y="134"/>
                    </a:lnTo>
                    <a:lnTo>
                      <a:pt x="173" y="134"/>
                    </a:lnTo>
                    <a:lnTo>
                      <a:pt x="175" y="134"/>
                    </a:lnTo>
                    <a:lnTo>
                      <a:pt x="175" y="136"/>
                    </a:lnTo>
                    <a:lnTo>
                      <a:pt x="175" y="138"/>
                    </a:lnTo>
                    <a:lnTo>
                      <a:pt x="175" y="139"/>
                    </a:lnTo>
                    <a:lnTo>
                      <a:pt x="175" y="141"/>
                    </a:lnTo>
                    <a:lnTo>
                      <a:pt x="177" y="143"/>
                    </a:lnTo>
                    <a:lnTo>
                      <a:pt x="178" y="143"/>
                    </a:lnTo>
                    <a:close/>
                    <a:moveTo>
                      <a:pt x="1067" y="459"/>
                    </a:moveTo>
                    <a:lnTo>
                      <a:pt x="1067" y="461"/>
                    </a:lnTo>
                    <a:lnTo>
                      <a:pt x="1066" y="463"/>
                    </a:lnTo>
                    <a:lnTo>
                      <a:pt x="1066" y="464"/>
                    </a:lnTo>
                    <a:lnTo>
                      <a:pt x="1064" y="464"/>
                    </a:lnTo>
                    <a:lnTo>
                      <a:pt x="1064" y="466"/>
                    </a:lnTo>
                    <a:lnTo>
                      <a:pt x="1062" y="466"/>
                    </a:lnTo>
                    <a:lnTo>
                      <a:pt x="1062" y="468"/>
                    </a:lnTo>
                    <a:lnTo>
                      <a:pt x="1061" y="468"/>
                    </a:lnTo>
                    <a:lnTo>
                      <a:pt x="1061" y="469"/>
                    </a:lnTo>
                    <a:lnTo>
                      <a:pt x="1059" y="469"/>
                    </a:lnTo>
                    <a:lnTo>
                      <a:pt x="1059" y="471"/>
                    </a:lnTo>
                    <a:lnTo>
                      <a:pt x="1059" y="469"/>
                    </a:lnTo>
                    <a:lnTo>
                      <a:pt x="1057" y="469"/>
                    </a:lnTo>
                    <a:lnTo>
                      <a:pt x="1059" y="469"/>
                    </a:lnTo>
                    <a:lnTo>
                      <a:pt x="1057" y="468"/>
                    </a:lnTo>
                    <a:lnTo>
                      <a:pt x="1057" y="466"/>
                    </a:lnTo>
                    <a:lnTo>
                      <a:pt x="1059" y="464"/>
                    </a:lnTo>
                    <a:lnTo>
                      <a:pt x="1059" y="463"/>
                    </a:lnTo>
                    <a:lnTo>
                      <a:pt x="1061" y="463"/>
                    </a:lnTo>
                    <a:lnTo>
                      <a:pt x="1061" y="461"/>
                    </a:lnTo>
                    <a:lnTo>
                      <a:pt x="1062" y="459"/>
                    </a:lnTo>
                    <a:lnTo>
                      <a:pt x="1062" y="461"/>
                    </a:lnTo>
                    <a:lnTo>
                      <a:pt x="1064" y="461"/>
                    </a:lnTo>
                    <a:lnTo>
                      <a:pt x="1062" y="461"/>
                    </a:lnTo>
                    <a:lnTo>
                      <a:pt x="1064" y="461"/>
                    </a:lnTo>
                    <a:lnTo>
                      <a:pt x="1066" y="461"/>
                    </a:lnTo>
                    <a:lnTo>
                      <a:pt x="1066" y="459"/>
                    </a:lnTo>
                    <a:lnTo>
                      <a:pt x="1067" y="459"/>
                    </a:lnTo>
                    <a:close/>
                    <a:moveTo>
                      <a:pt x="109" y="177"/>
                    </a:moveTo>
                    <a:lnTo>
                      <a:pt x="109" y="179"/>
                    </a:lnTo>
                    <a:lnTo>
                      <a:pt x="107" y="180"/>
                    </a:lnTo>
                    <a:lnTo>
                      <a:pt x="107" y="182"/>
                    </a:lnTo>
                    <a:lnTo>
                      <a:pt x="107" y="184"/>
                    </a:lnTo>
                    <a:lnTo>
                      <a:pt x="107" y="182"/>
                    </a:lnTo>
                    <a:lnTo>
                      <a:pt x="105" y="184"/>
                    </a:lnTo>
                    <a:lnTo>
                      <a:pt x="105" y="182"/>
                    </a:lnTo>
                    <a:lnTo>
                      <a:pt x="104" y="180"/>
                    </a:lnTo>
                    <a:lnTo>
                      <a:pt x="102" y="180"/>
                    </a:lnTo>
                    <a:lnTo>
                      <a:pt x="102" y="182"/>
                    </a:lnTo>
                    <a:lnTo>
                      <a:pt x="102" y="180"/>
                    </a:lnTo>
                    <a:lnTo>
                      <a:pt x="104" y="179"/>
                    </a:lnTo>
                    <a:lnTo>
                      <a:pt x="104" y="177"/>
                    </a:lnTo>
                    <a:lnTo>
                      <a:pt x="105" y="177"/>
                    </a:lnTo>
                    <a:lnTo>
                      <a:pt x="105" y="175"/>
                    </a:lnTo>
                    <a:lnTo>
                      <a:pt x="105" y="173"/>
                    </a:lnTo>
                    <a:lnTo>
                      <a:pt x="105" y="172"/>
                    </a:lnTo>
                    <a:lnTo>
                      <a:pt x="105" y="170"/>
                    </a:lnTo>
                    <a:lnTo>
                      <a:pt x="107" y="170"/>
                    </a:lnTo>
                    <a:lnTo>
                      <a:pt x="107" y="172"/>
                    </a:lnTo>
                    <a:lnTo>
                      <a:pt x="107" y="173"/>
                    </a:lnTo>
                    <a:lnTo>
                      <a:pt x="109" y="173"/>
                    </a:lnTo>
                    <a:lnTo>
                      <a:pt x="107" y="175"/>
                    </a:lnTo>
                    <a:lnTo>
                      <a:pt x="109" y="177"/>
                    </a:lnTo>
                    <a:close/>
                    <a:moveTo>
                      <a:pt x="212" y="315"/>
                    </a:moveTo>
                    <a:lnTo>
                      <a:pt x="211" y="313"/>
                    </a:lnTo>
                    <a:lnTo>
                      <a:pt x="211" y="311"/>
                    </a:lnTo>
                    <a:lnTo>
                      <a:pt x="209" y="311"/>
                    </a:lnTo>
                    <a:lnTo>
                      <a:pt x="209" y="310"/>
                    </a:lnTo>
                    <a:lnTo>
                      <a:pt x="211" y="310"/>
                    </a:lnTo>
                    <a:lnTo>
                      <a:pt x="211" y="308"/>
                    </a:lnTo>
                    <a:lnTo>
                      <a:pt x="209" y="306"/>
                    </a:lnTo>
                    <a:lnTo>
                      <a:pt x="207" y="306"/>
                    </a:lnTo>
                    <a:lnTo>
                      <a:pt x="207" y="304"/>
                    </a:lnTo>
                    <a:lnTo>
                      <a:pt x="206" y="306"/>
                    </a:lnTo>
                    <a:lnTo>
                      <a:pt x="206" y="304"/>
                    </a:lnTo>
                    <a:lnTo>
                      <a:pt x="204" y="304"/>
                    </a:lnTo>
                    <a:lnTo>
                      <a:pt x="206" y="304"/>
                    </a:lnTo>
                    <a:lnTo>
                      <a:pt x="206" y="303"/>
                    </a:lnTo>
                    <a:lnTo>
                      <a:pt x="206" y="301"/>
                    </a:lnTo>
                    <a:lnTo>
                      <a:pt x="207" y="301"/>
                    </a:lnTo>
                    <a:lnTo>
                      <a:pt x="207" y="299"/>
                    </a:lnTo>
                    <a:lnTo>
                      <a:pt x="207" y="298"/>
                    </a:lnTo>
                    <a:lnTo>
                      <a:pt x="207" y="296"/>
                    </a:lnTo>
                    <a:lnTo>
                      <a:pt x="209" y="296"/>
                    </a:lnTo>
                    <a:lnTo>
                      <a:pt x="209" y="294"/>
                    </a:lnTo>
                    <a:lnTo>
                      <a:pt x="209" y="293"/>
                    </a:lnTo>
                    <a:lnTo>
                      <a:pt x="209" y="291"/>
                    </a:lnTo>
                    <a:lnTo>
                      <a:pt x="211" y="289"/>
                    </a:lnTo>
                    <a:lnTo>
                      <a:pt x="211" y="287"/>
                    </a:lnTo>
                    <a:lnTo>
                      <a:pt x="211" y="289"/>
                    </a:lnTo>
                    <a:lnTo>
                      <a:pt x="211" y="291"/>
                    </a:lnTo>
                    <a:lnTo>
                      <a:pt x="209" y="293"/>
                    </a:lnTo>
                    <a:lnTo>
                      <a:pt x="209" y="294"/>
                    </a:lnTo>
                    <a:lnTo>
                      <a:pt x="209" y="296"/>
                    </a:lnTo>
                    <a:lnTo>
                      <a:pt x="209" y="298"/>
                    </a:lnTo>
                    <a:lnTo>
                      <a:pt x="209" y="299"/>
                    </a:lnTo>
                    <a:lnTo>
                      <a:pt x="209" y="301"/>
                    </a:lnTo>
                    <a:lnTo>
                      <a:pt x="209" y="303"/>
                    </a:lnTo>
                    <a:lnTo>
                      <a:pt x="207" y="303"/>
                    </a:lnTo>
                    <a:lnTo>
                      <a:pt x="207" y="304"/>
                    </a:lnTo>
                    <a:lnTo>
                      <a:pt x="209" y="304"/>
                    </a:lnTo>
                    <a:lnTo>
                      <a:pt x="209" y="306"/>
                    </a:lnTo>
                    <a:lnTo>
                      <a:pt x="211" y="308"/>
                    </a:lnTo>
                    <a:lnTo>
                      <a:pt x="211" y="310"/>
                    </a:lnTo>
                    <a:lnTo>
                      <a:pt x="211" y="311"/>
                    </a:lnTo>
                    <a:lnTo>
                      <a:pt x="212" y="313"/>
                    </a:lnTo>
                    <a:lnTo>
                      <a:pt x="212" y="315"/>
                    </a:lnTo>
                    <a:close/>
                    <a:moveTo>
                      <a:pt x="5" y="148"/>
                    </a:moveTo>
                    <a:lnTo>
                      <a:pt x="5" y="150"/>
                    </a:lnTo>
                    <a:lnTo>
                      <a:pt x="3" y="150"/>
                    </a:lnTo>
                    <a:lnTo>
                      <a:pt x="2" y="148"/>
                    </a:lnTo>
                    <a:lnTo>
                      <a:pt x="3" y="146"/>
                    </a:lnTo>
                    <a:lnTo>
                      <a:pt x="2" y="146"/>
                    </a:lnTo>
                    <a:lnTo>
                      <a:pt x="2" y="145"/>
                    </a:lnTo>
                    <a:lnTo>
                      <a:pt x="2" y="143"/>
                    </a:lnTo>
                    <a:lnTo>
                      <a:pt x="0" y="143"/>
                    </a:lnTo>
                    <a:lnTo>
                      <a:pt x="0" y="141"/>
                    </a:lnTo>
                    <a:lnTo>
                      <a:pt x="0" y="139"/>
                    </a:lnTo>
                    <a:lnTo>
                      <a:pt x="2" y="139"/>
                    </a:lnTo>
                    <a:lnTo>
                      <a:pt x="3" y="139"/>
                    </a:lnTo>
                    <a:lnTo>
                      <a:pt x="3" y="138"/>
                    </a:lnTo>
                    <a:lnTo>
                      <a:pt x="3" y="139"/>
                    </a:lnTo>
                    <a:lnTo>
                      <a:pt x="3" y="141"/>
                    </a:lnTo>
                    <a:lnTo>
                      <a:pt x="3" y="143"/>
                    </a:lnTo>
                    <a:lnTo>
                      <a:pt x="5" y="143"/>
                    </a:lnTo>
                    <a:lnTo>
                      <a:pt x="5" y="145"/>
                    </a:lnTo>
                    <a:lnTo>
                      <a:pt x="5" y="146"/>
                    </a:lnTo>
                    <a:lnTo>
                      <a:pt x="5" y="148"/>
                    </a:lnTo>
                    <a:close/>
                    <a:moveTo>
                      <a:pt x="224" y="321"/>
                    </a:moveTo>
                    <a:lnTo>
                      <a:pt x="224" y="323"/>
                    </a:lnTo>
                    <a:lnTo>
                      <a:pt x="224" y="321"/>
                    </a:lnTo>
                    <a:lnTo>
                      <a:pt x="223" y="321"/>
                    </a:lnTo>
                    <a:lnTo>
                      <a:pt x="221" y="320"/>
                    </a:lnTo>
                    <a:lnTo>
                      <a:pt x="219" y="318"/>
                    </a:lnTo>
                    <a:lnTo>
                      <a:pt x="217" y="318"/>
                    </a:lnTo>
                    <a:lnTo>
                      <a:pt x="217" y="316"/>
                    </a:lnTo>
                    <a:lnTo>
                      <a:pt x="216" y="316"/>
                    </a:lnTo>
                    <a:lnTo>
                      <a:pt x="214" y="315"/>
                    </a:lnTo>
                    <a:lnTo>
                      <a:pt x="216" y="315"/>
                    </a:lnTo>
                    <a:lnTo>
                      <a:pt x="217" y="315"/>
                    </a:lnTo>
                    <a:lnTo>
                      <a:pt x="219" y="315"/>
                    </a:lnTo>
                    <a:lnTo>
                      <a:pt x="219" y="316"/>
                    </a:lnTo>
                    <a:lnTo>
                      <a:pt x="221" y="316"/>
                    </a:lnTo>
                    <a:lnTo>
                      <a:pt x="221" y="318"/>
                    </a:lnTo>
                    <a:lnTo>
                      <a:pt x="223" y="318"/>
                    </a:lnTo>
                    <a:lnTo>
                      <a:pt x="224" y="320"/>
                    </a:lnTo>
                    <a:lnTo>
                      <a:pt x="224" y="321"/>
                    </a:lnTo>
                    <a:close/>
                    <a:moveTo>
                      <a:pt x="265" y="301"/>
                    </a:moveTo>
                    <a:lnTo>
                      <a:pt x="265" y="303"/>
                    </a:lnTo>
                    <a:lnTo>
                      <a:pt x="263" y="303"/>
                    </a:lnTo>
                    <a:lnTo>
                      <a:pt x="262" y="303"/>
                    </a:lnTo>
                    <a:lnTo>
                      <a:pt x="263" y="301"/>
                    </a:lnTo>
                    <a:lnTo>
                      <a:pt x="262" y="301"/>
                    </a:lnTo>
                    <a:lnTo>
                      <a:pt x="260" y="301"/>
                    </a:lnTo>
                    <a:lnTo>
                      <a:pt x="262" y="299"/>
                    </a:lnTo>
                    <a:lnTo>
                      <a:pt x="260" y="299"/>
                    </a:lnTo>
                    <a:lnTo>
                      <a:pt x="260" y="298"/>
                    </a:lnTo>
                    <a:lnTo>
                      <a:pt x="260" y="296"/>
                    </a:lnTo>
                    <a:lnTo>
                      <a:pt x="258" y="296"/>
                    </a:lnTo>
                    <a:lnTo>
                      <a:pt x="258" y="294"/>
                    </a:lnTo>
                    <a:lnTo>
                      <a:pt x="260" y="296"/>
                    </a:lnTo>
                    <a:lnTo>
                      <a:pt x="262" y="296"/>
                    </a:lnTo>
                    <a:lnTo>
                      <a:pt x="263" y="298"/>
                    </a:lnTo>
                    <a:lnTo>
                      <a:pt x="263" y="299"/>
                    </a:lnTo>
                    <a:lnTo>
                      <a:pt x="263" y="301"/>
                    </a:lnTo>
                    <a:lnTo>
                      <a:pt x="265" y="301"/>
                    </a:lnTo>
                    <a:close/>
                    <a:moveTo>
                      <a:pt x="246" y="257"/>
                    </a:moveTo>
                    <a:lnTo>
                      <a:pt x="246" y="259"/>
                    </a:lnTo>
                    <a:lnTo>
                      <a:pt x="246" y="260"/>
                    </a:lnTo>
                    <a:lnTo>
                      <a:pt x="246" y="262"/>
                    </a:lnTo>
                    <a:lnTo>
                      <a:pt x="246" y="260"/>
                    </a:lnTo>
                    <a:lnTo>
                      <a:pt x="245" y="260"/>
                    </a:lnTo>
                    <a:lnTo>
                      <a:pt x="245" y="262"/>
                    </a:lnTo>
                    <a:lnTo>
                      <a:pt x="243" y="262"/>
                    </a:lnTo>
                    <a:lnTo>
                      <a:pt x="243" y="264"/>
                    </a:lnTo>
                    <a:lnTo>
                      <a:pt x="243" y="265"/>
                    </a:lnTo>
                    <a:lnTo>
                      <a:pt x="241" y="265"/>
                    </a:lnTo>
                    <a:lnTo>
                      <a:pt x="241" y="267"/>
                    </a:lnTo>
                    <a:lnTo>
                      <a:pt x="241" y="265"/>
                    </a:lnTo>
                    <a:lnTo>
                      <a:pt x="241" y="264"/>
                    </a:lnTo>
                    <a:lnTo>
                      <a:pt x="241" y="262"/>
                    </a:lnTo>
                    <a:lnTo>
                      <a:pt x="243" y="260"/>
                    </a:lnTo>
                    <a:lnTo>
                      <a:pt x="243" y="259"/>
                    </a:lnTo>
                    <a:lnTo>
                      <a:pt x="245" y="259"/>
                    </a:lnTo>
                    <a:lnTo>
                      <a:pt x="245" y="257"/>
                    </a:lnTo>
                    <a:lnTo>
                      <a:pt x="245" y="259"/>
                    </a:lnTo>
                    <a:lnTo>
                      <a:pt x="246" y="259"/>
                    </a:lnTo>
                    <a:lnTo>
                      <a:pt x="246" y="257"/>
                    </a:lnTo>
                    <a:close/>
                    <a:moveTo>
                      <a:pt x="401" y="422"/>
                    </a:moveTo>
                    <a:lnTo>
                      <a:pt x="399" y="424"/>
                    </a:lnTo>
                    <a:lnTo>
                      <a:pt x="399" y="425"/>
                    </a:lnTo>
                    <a:lnTo>
                      <a:pt x="399" y="424"/>
                    </a:lnTo>
                    <a:lnTo>
                      <a:pt x="398" y="424"/>
                    </a:lnTo>
                    <a:lnTo>
                      <a:pt x="396" y="422"/>
                    </a:lnTo>
                    <a:lnTo>
                      <a:pt x="396" y="420"/>
                    </a:lnTo>
                    <a:lnTo>
                      <a:pt x="394" y="418"/>
                    </a:lnTo>
                    <a:lnTo>
                      <a:pt x="396" y="418"/>
                    </a:lnTo>
                    <a:lnTo>
                      <a:pt x="398" y="418"/>
                    </a:lnTo>
                    <a:lnTo>
                      <a:pt x="398" y="420"/>
                    </a:lnTo>
                    <a:lnTo>
                      <a:pt x="399" y="420"/>
                    </a:lnTo>
                    <a:lnTo>
                      <a:pt x="399" y="422"/>
                    </a:lnTo>
                    <a:lnTo>
                      <a:pt x="401" y="422"/>
                    </a:lnTo>
                    <a:close/>
                    <a:moveTo>
                      <a:pt x="289" y="330"/>
                    </a:moveTo>
                    <a:lnTo>
                      <a:pt x="287" y="328"/>
                    </a:lnTo>
                    <a:lnTo>
                      <a:pt x="285" y="328"/>
                    </a:lnTo>
                    <a:lnTo>
                      <a:pt x="285" y="327"/>
                    </a:lnTo>
                    <a:lnTo>
                      <a:pt x="285" y="325"/>
                    </a:lnTo>
                    <a:lnTo>
                      <a:pt x="285" y="323"/>
                    </a:lnTo>
                    <a:lnTo>
                      <a:pt x="284" y="323"/>
                    </a:lnTo>
                    <a:lnTo>
                      <a:pt x="284" y="321"/>
                    </a:lnTo>
                    <a:lnTo>
                      <a:pt x="285" y="321"/>
                    </a:lnTo>
                    <a:lnTo>
                      <a:pt x="285" y="323"/>
                    </a:lnTo>
                    <a:lnTo>
                      <a:pt x="287" y="325"/>
                    </a:lnTo>
                    <a:lnTo>
                      <a:pt x="287" y="327"/>
                    </a:lnTo>
                    <a:lnTo>
                      <a:pt x="289" y="327"/>
                    </a:lnTo>
                    <a:lnTo>
                      <a:pt x="289" y="328"/>
                    </a:lnTo>
                    <a:lnTo>
                      <a:pt x="289" y="330"/>
                    </a:lnTo>
                    <a:close/>
                    <a:moveTo>
                      <a:pt x="348" y="299"/>
                    </a:moveTo>
                    <a:lnTo>
                      <a:pt x="348" y="301"/>
                    </a:lnTo>
                    <a:lnTo>
                      <a:pt x="348" y="303"/>
                    </a:lnTo>
                    <a:lnTo>
                      <a:pt x="348" y="304"/>
                    </a:lnTo>
                    <a:lnTo>
                      <a:pt x="347" y="304"/>
                    </a:lnTo>
                    <a:lnTo>
                      <a:pt x="347" y="303"/>
                    </a:lnTo>
                    <a:lnTo>
                      <a:pt x="347" y="301"/>
                    </a:lnTo>
                    <a:lnTo>
                      <a:pt x="347" y="299"/>
                    </a:lnTo>
                    <a:lnTo>
                      <a:pt x="347" y="301"/>
                    </a:lnTo>
                    <a:lnTo>
                      <a:pt x="345" y="299"/>
                    </a:lnTo>
                    <a:lnTo>
                      <a:pt x="345" y="298"/>
                    </a:lnTo>
                    <a:lnTo>
                      <a:pt x="345" y="296"/>
                    </a:lnTo>
                    <a:lnTo>
                      <a:pt x="347" y="296"/>
                    </a:lnTo>
                    <a:lnTo>
                      <a:pt x="347" y="298"/>
                    </a:lnTo>
                    <a:lnTo>
                      <a:pt x="348" y="298"/>
                    </a:lnTo>
                    <a:lnTo>
                      <a:pt x="348" y="299"/>
                    </a:lnTo>
                    <a:close/>
                    <a:moveTo>
                      <a:pt x="906" y="526"/>
                    </a:moveTo>
                    <a:lnTo>
                      <a:pt x="904" y="526"/>
                    </a:lnTo>
                    <a:lnTo>
                      <a:pt x="906" y="526"/>
                    </a:lnTo>
                    <a:lnTo>
                      <a:pt x="906" y="524"/>
                    </a:lnTo>
                    <a:lnTo>
                      <a:pt x="904" y="526"/>
                    </a:lnTo>
                    <a:lnTo>
                      <a:pt x="903" y="526"/>
                    </a:lnTo>
                    <a:lnTo>
                      <a:pt x="904" y="526"/>
                    </a:lnTo>
                    <a:lnTo>
                      <a:pt x="903" y="527"/>
                    </a:lnTo>
                    <a:lnTo>
                      <a:pt x="901" y="527"/>
                    </a:lnTo>
                    <a:lnTo>
                      <a:pt x="899" y="527"/>
                    </a:lnTo>
                    <a:lnTo>
                      <a:pt x="899" y="529"/>
                    </a:lnTo>
                    <a:lnTo>
                      <a:pt x="897" y="529"/>
                    </a:lnTo>
                    <a:lnTo>
                      <a:pt x="896" y="529"/>
                    </a:lnTo>
                    <a:lnTo>
                      <a:pt x="894" y="529"/>
                    </a:lnTo>
                    <a:lnTo>
                      <a:pt x="896" y="527"/>
                    </a:lnTo>
                    <a:lnTo>
                      <a:pt x="897" y="527"/>
                    </a:lnTo>
                    <a:lnTo>
                      <a:pt x="899" y="527"/>
                    </a:lnTo>
                    <a:lnTo>
                      <a:pt x="901" y="527"/>
                    </a:lnTo>
                    <a:lnTo>
                      <a:pt x="901" y="526"/>
                    </a:lnTo>
                    <a:lnTo>
                      <a:pt x="903" y="526"/>
                    </a:lnTo>
                    <a:lnTo>
                      <a:pt x="904" y="526"/>
                    </a:lnTo>
                    <a:lnTo>
                      <a:pt x="904" y="524"/>
                    </a:lnTo>
                    <a:lnTo>
                      <a:pt x="906" y="524"/>
                    </a:lnTo>
                    <a:lnTo>
                      <a:pt x="906" y="526"/>
                    </a:lnTo>
                    <a:close/>
                    <a:moveTo>
                      <a:pt x="272" y="318"/>
                    </a:moveTo>
                    <a:lnTo>
                      <a:pt x="272" y="320"/>
                    </a:lnTo>
                    <a:lnTo>
                      <a:pt x="270" y="320"/>
                    </a:lnTo>
                    <a:lnTo>
                      <a:pt x="270" y="318"/>
                    </a:lnTo>
                    <a:lnTo>
                      <a:pt x="270" y="316"/>
                    </a:lnTo>
                    <a:lnTo>
                      <a:pt x="268" y="316"/>
                    </a:lnTo>
                    <a:lnTo>
                      <a:pt x="270" y="316"/>
                    </a:lnTo>
                    <a:lnTo>
                      <a:pt x="268" y="315"/>
                    </a:lnTo>
                    <a:lnTo>
                      <a:pt x="270" y="315"/>
                    </a:lnTo>
                    <a:lnTo>
                      <a:pt x="268" y="315"/>
                    </a:lnTo>
                    <a:lnTo>
                      <a:pt x="270" y="315"/>
                    </a:lnTo>
                    <a:lnTo>
                      <a:pt x="268" y="315"/>
                    </a:lnTo>
                    <a:lnTo>
                      <a:pt x="268" y="313"/>
                    </a:lnTo>
                    <a:lnTo>
                      <a:pt x="270" y="313"/>
                    </a:lnTo>
                    <a:lnTo>
                      <a:pt x="270" y="315"/>
                    </a:lnTo>
                    <a:lnTo>
                      <a:pt x="272" y="316"/>
                    </a:lnTo>
                    <a:lnTo>
                      <a:pt x="272" y="318"/>
                    </a:lnTo>
                    <a:close/>
                    <a:moveTo>
                      <a:pt x="347" y="304"/>
                    </a:moveTo>
                    <a:lnTo>
                      <a:pt x="345" y="304"/>
                    </a:lnTo>
                    <a:lnTo>
                      <a:pt x="345" y="303"/>
                    </a:lnTo>
                    <a:lnTo>
                      <a:pt x="345" y="301"/>
                    </a:lnTo>
                    <a:lnTo>
                      <a:pt x="343" y="299"/>
                    </a:lnTo>
                    <a:lnTo>
                      <a:pt x="343" y="298"/>
                    </a:lnTo>
                    <a:lnTo>
                      <a:pt x="342" y="296"/>
                    </a:lnTo>
                    <a:lnTo>
                      <a:pt x="342" y="294"/>
                    </a:lnTo>
                    <a:lnTo>
                      <a:pt x="340" y="294"/>
                    </a:lnTo>
                    <a:lnTo>
                      <a:pt x="338" y="294"/>
                    </a:lnTo>
                    <a:lnTo>
                      <a:pt x="338" y="293"/>
                    </a:lnTo>
                    <a:lnTo>
                      <a:pt x="340" y="293"/>
                    </a:lnTo>
                    <a:lnTo>
                      <a:pt x="340" y="294"/>
                    </a:lnTo>
                    <a:lnTo>
                      <a:pt x="342" y="294"/>
                    </a:lnTo>
                    <a:lnTo>
                      <a:pt x="342" y="296"/>
                    </a:lnTo>
                    <a:lnTo>
                      <a:pt x="343" y="296"/>
                    </a:lnTo>
                    <a:lnTo>
                      <a:pt x="343" y="298"/>
                    </a:lnTo>
                    <a:lnTo>
                      <a:pt x="345" y="299"/>
                    </a:lnTo>
                    <a:lnTo>
                      <a:pt x="345" y="301"/>
                    </a:lnTo>
                    <a:lnTo>
                      <a:pt x="347" y="301"/>
                    </a:lnTo>
                    <a:lnTo>
                      <a:pt x="347" y="303"/>
                    </a:lnTo>
                    <a:lnTo>
                      <a:pt x="347" y="304"/>
                    </a:lnTo>
                    <a:close/>
                    <a:moveTo>
                      <a:pt x="404" y="427"/>
                    </a:moveTo>
                    <a:lnTo>
                      <a:pt x="404" y="429"/>
                    </a:lnTo>
                    <a:lnTo>
                      <a:pt x="403" y="429"/>
                    </a:lnTo>
                    <a:lnTo>
                      <a:pt x="401" y="429"/>
                    </a:lnTo>
                    <a:lnTo>
                      <a:pt x="401" y="427"/>
                    </a:lnTo>
                    <a:lnTo>
                      <a:pt x="403" y="427"/>
                    </a:lnTo>
                    <a:lnTo>
                      <a:pt x="404" y="427"/>
                    </a:lnTo>
                    <a:close/>
                    <a:moveTo>
                      <a:pt x="194" y="156"/>
                    </a:moveTo>
                    <a:lnTo>
                      <a:pt x="197" y="156"/>
                    </a:lnTo>
                    <a:lnTo>
                      <a:pt x="197" y="158"/>
                    </a:lnTo>
                    <a:lnTo>
                      <a:pt x="194" y="158"/>
                    </a:lnTo>
                    <a:lnTo>
                      <a:pt x="194" y="156"/>
                    </a:lnTo>
                    <a:close/>
                    <a:moveTo>
                      <a:pt x="177" y="235"/>
                    </a:moveTo>
                    <a:lnTo>
                      <a:pt x="175" y="235"/>
                    </a:lnTo>
                    <a:lnTo>
                      <a:pt x="173" y="233"/>
                    </a:lnTo>
                    <a:lnTo>
                      <a:pt x="172" y="233"/>
                    </a:lnTo>
                    <a:lnTo>
                      <a:pt x="173" y="233"/>
                    </a:lnTo>
                    <a:lnTo>
                      <a:pt x="175" y="233"/>
                    </a:lnTo>
                    <a:lnTo>
                      <a:pt x="177" y="233"/>
                    </a:lnTo>
                    <a:lnTo>
                      <a:pt x="177" y="235"/>
                    </a:lnTo>
                    <a:close/>
                    <a:moveTo>
                      <a:pt x="257" y="276"/>
                    </a:moveTo>
                    <a:lnTo>
                      <a:pt x="255" y="274"/>
                    </a:lnTo>
                    <a:lnTo>
                      <a:pt x="255" y="272"/>
                    </a:lnTo>
                    <a:lnTo>
                      <a:pt x="257" y="270"/>
                    </a:lnTo>
                    <a:lnTo>
                      <a:pt x="257" y="272"/>
                    </a:lnTo>
                    <a:lnTo>
                      <a:pt x="257" y="274"/>
                    </a:lnTo>
                    <a:lnTo>
                      <a:pt x="257" y="276"/>
                    </a:lnTo>
                    <a:close/>
                    <a:moveTo>
                      <a:pt x="323" y="284"/>
                    </a:moveTo>
                    <a:lnTo>
                      <a:pt x="321" y="282"/>
                    </a:lnTo>
                    <a:lnTo>
                      <a:pt x="319" y="282"/>
                    </a:lnTo>
                    <a:lnTo>
                      <a:pt x="318" y="282"/>
                    </a:lnTo>
                    <a:lnTo>
                      <a:pt x="318" y="281"/>
                    </a:lnTo>
                    <a:lnTo>
                      <a:pt x="316" y="281"/>
                    </a:lnTo>
                    <a:lnTo>
                      <a:pt x="314" y="281"/>
                    </a:lnTo>
                    <a:lnTo>
                      <a:pt x="316" y="281"/>
                    </a:lnTo>
                    <a:lnTo>
                      <a:pt x="318" y="281"/>
                    </a:lnTo>
                    <a:lnTo>
                      <a:pt x="319" y="281"/>
                    </a:lnTo>
                    <a:lnTo>
                      <a:pt x="321" y="282"/>
                    </a:lnTo>
                    <a:lnTo>
                      <a:pt x="323" y="282"/>
                    </a:lnTo>
                    <a:lnTo>
                      <a:pt x="323" y="284"/>
                    </a:lnTo>
                    <a:close/>
                    <a:moveTo>
                      <a:pt x="189" y="162"/>
                    </a:moveTo>
                    <a:lnTo>
                      <a:pt x="187" y="160"/>
                    </a:lnTo>
                    <a:lnTo>
                      <a:pt x="185" y="160"/>
                    </a:lnTo>
                    <a:lnTo>
                      <a:pt x="185" y="158"/>
                    </a:lnTo>
                    <a:lnTo>
                      <a:pt x="187" y="158"/>
                    </a:lnTo>
                    <a:lnTo>
                      <a:pt x="187" y="160"/>
                    </a:lnTo>
                    <a:lnTo>
                      <a:pt x="189" y="160"/>
                    </a:lnTo>
                    <a:lnTo>
                      <a:pt x="189" y="162"/>
                    </a:lnTo>
                    <a:close/>
                    <a:moveTo>
                      <a:pt x="211" y="213"/>
                    </a:moveTo>
                    <a:lnTo>
                      <a:pt x="214" y="213"/>
                    </a:lnTo>
                    <a:lnTo>
                      <a:pt x="214" y="216"/>
                    </a:lnTo>
                    <a:lnTo>
                      <a:pt x="211" y="216"/>
                    </a:lnTo>
                    <a:lnTo>
                      <a:pt x="211" y="213"/>
                    </a:lnTo>
                    <a:close/>
                    <a:moveTo>
                      <a:pt x="340" y="293"/>
                    </a:moveTo>
                    <a:lnTo>
                      <a:pt x="340" y="291"/>
                    </a:lnTo>
                    <a:lnTo>
                      <a:pt x="338" y="291"/>
                    </a:lnTo>
                    <a:lnTo>
                      <a:pt x="338" y="289"/>
                    </a:lnTo>
                    <a:lnTo>
                      <a:pt x="338" y="291"/>
                    </a:lnTo>
                    <a:lnTo>
                      <a:pt x="340" y="291"/>
                    </a:lnTo>
                    <a:lnTo>
                      <a:pt x="340" y="293"/>
                    </a:lnTo>
                    <a:close/>
                    <a:moveTo>
                      <a:pt x="212" y="281"/>
                    </a:moveTo>
                    <a:lnTo>
                      <a:pt x="211" y="281"/>
                    </a:lnTo>
                    <a:lnTo>
                      <a:pt x="212" y="282"/>
                    </a:lnTo>
                    <a:lnTo>
                      <a:pt x="211" y="282"/>
                    </a:lnTo>
                    <a:lnTo>
                      <a:pt x="211" y="284"/>
                    </a:lnTo>
                    <a:lnTo>
                      <a:pt x="211" y="286"/>
                    </a:lnTo>
                    <a:lnTo>
                      <a:pt x="211" y="287"/>
                    </a:lnTo>
                    <a:lnTo>
                      <a:pt x="211" y="286"/>
                    </a:lnTo>
                    <a:lnTo>
                      <a:pt x="211" y="284"/>
                    </a:lnTo>
                    <a:lnTo>
                      <a:pt x="211" y="282"/>
                    </a:lnTo>
                    <a:lnTo>
                      <a:pt x="211" y="281"/>
                    </a:lnTo>
                    <a:lnTo>
                      <a:pt x="211" y="279"/>
                    </a:lnTo>
                    <a:lnTo>
                      <a:pt x="212" y="279"/>
                    </a:lnTo>
                    <a:lnTo>
                      <a:pt x="212" y="281"/>
                    </a:lnTo>
                    <a:close/>
                    <a:moveTo>
                      <a:pt x="265" y="211"/>
                    </a:moveTo>
                    <a:lnTo>
                      <a:pt x="263" y="211"/>
                    </a:lnTo>
                    <a:lnTo>
                      <a:pt x="262" y="211"/>
                    </a:lnTo>
                    <a:lnTo>
                      <a:pt x="262" y="209"/>
                    </a:lnTo>
                    <a:lnTo>
                      <a:pt x="262" y="208"/>
                    </a:lnTo>
                    <a:lnTo>
                      <a:pt x="262" y="206"/>
                    </a:lnTo>
                    <a:lnTo>
                      <a:pt x="262" y="208"/>
                    </a:lnTo>
                    <a:lnTo>
                      <a:pt x="262" y="209"/>
                    </a:lnTo>
                    <a:lnTo>
                      <a:pt x="263" y="209"/>
                    </a:lnTo>
                    <a:lnTo>
                      <a:pt x="263" y="211"/>
                    </a:lnTo>
                    <a:lnTo>
                      <a:pt x="265" y="211"/>
                    </a:lnTo>
                    <a:close/>
                    <a:moveTo>
                      <a:pt x="246" y="270"/>
                    </a:moveTo>
                    <a:lnTo>
                      <a:pt x="248" y="270"/>
                    </a:lnTo>
                    <a:lnTo>
                      <a:pt x="248" y="274"/>
                    </a:lnTo>
                    <a:lnTo>
                      <a:pt x="246" y="274"/>
                    </a:lnTo>
                    <a:lnTo>
                      <a:pt x="246" y="270"/>
                    </a:lnTo>
                    <a:close/>
                    <a:moveTo>
                      <a:pt x="408" y="432"/>
                    </a:moveTo>
                    <a:lnTo>
                      <a:pt x="410" y="432"/>
                    </a:lnTo>
                    <a:lnTo>
                      <a:pt x="410" y="434"/>
                    </a:lnTo>
                    <a:lnTo>
                      <a:pt x="408" y="434"/>
                    </a:lnTo>
                    <a:lnTo>
                      <a:pt x="408" y="432"/>
                    </a:lnTo>
                    <a:close/>
                    <a:moveTo>
                      <a:pt x="233" y="323"/>
                    </a:moveTo>
                    <a:lnTo>
                      <a:pt x="233" y="321"/>
                    </a:lnTo>
                    <a:lnTo>
                      <a:pt x="231" y="321"/>
                    </a:lnTo>
                    <a:lnTo>
                      <a:pt x="229" y="321"/>
                    </a:lnTo>
                    <a:lnTo>
                      <a:pt x="228" y="321"/>
                    </a:lnTo>
                    <a:lnTo>
                      <a:pt x="226" y="321"/>
                    </a:lnTo>
                    <a:lnTo>
                      <a:pt x="226" y="320"/>
                    </a:lnTo>
                    <a:lnTo>
                      <a:pt x="226" y="321"/>
                    </a:lnTo>
                    <a:lnTo>
                      <a:pt x="228" y="320"/>
                    </a:lnTo>
                    <a:lnTo>
                      <a:pt x="229" y="320"/>
                    </a:lnTo>
                    <a:lnTo>
                      <a:pt x="229" y="321"/>
                    </a:lnTo>
                    <a:lnTo>
                      <a:pt x="229" y="320"/>
                    </a:lnTo>
                    <a:lnTo>
                      <a:pt x="229" y="321"/>
                    </a:lnTo>
                    <a:lnTo>
                      <a:pt x="231" y="321"/>
                    </a:lnTo>
                    <a:lnTo>
                      <a:pt x="233" y="321"/>
                    </a:lnTo>
                    <a:lnTo>
                      <a:pt x="233" y="323"/>
                    </a:lnTo>
                    <a:close/>
                    <a:moveTo>
                      <a:pt x="93" y="172"/>
                    </a:moveTo>
                    <a:lnTo>
                      <a:pt x="95" y="172"/>
                    </a:lnTo>
                    <a:lnTo>
                      <a:pt x="95" y="173"/>
                    </a:lnTo>
                    <a:lnTo>
                      <a:pt x="93" y="173"/>
                    </a:lnTo>
                    <a:lnTo>
                      <a:pt x="93" y="172"/>
                    </a:lnTo>
                    <a:close/>
                    <a:moveTo>
                      <a:pt x="258" y="286"/>
                    </a:moveTo>
                    <a:lnTo>
                      <a:pt x="258" y="287"/>
                    </a:lnTo>
                    <a:lnTo>
                      <a:pt x="258" y="286"/>
                    </a:lnTo>
                    <a:close/>
                    <a:moveTo>
                      <a:pt x="217" y="204"/>
                    </a:moveTo>
                    <a:lnTo>
                      <a:pt x="219" y="204"/>
                    </a:lnTo>
                    <a:lnTo>
                      <a:pt x="219" y="206"/>
                    </a:lnTo>
                    <a:lnTo>
                      <a:pt x="217" y="206"/>
                    </a:lnTo>
                    <a:lnTo>
                      <a:pt x="217" y="204"/>
                    </a:lnTo>
                    <a:close/>
                    <a:moveTo>
                      <a:pt x="212" y="276"/>
                    </a:moveTo>
                    <a:lnTo>
                      <a:pt x="212" y="277"/>
                    </a:lnTo>
                    <a:lnTo>
                      <a:pt x="212" y="279"/>
                    </a:lnTo>
                    <a:lnTo>
                      <a:pt x="211" y="279"/>
                    </a:lnTo>
                    <a:lnTo>
                      <a:pt x="211" y="277"/>
                    </a:lnTo>
                    <a:lnTo>
                      <a:pt x="211" y="276"/>
                    </a:lnTo>
                    <a:lnTo>
                      <a:pt x="212" y="276"/>
                    </a:lnTo>
                    <a:lnTo>
                      <a:pt x="212" y="272"/>
                    </a:lnTo>
                    <a:lnTo>
                      <a:pt x="212" y="274"/>
                    </a:lnTo>
                    <a:lnTo>
                      <a:pt x="212" y="276"/>
                    </a:lnTo>
                    <a:close/>
                    <a:moveTo>
                      <a:pt x="177" y="235"/>
                    </a:moveTo>
                    <a:lnTo>
                      <a:pt x="178" y="235"/>
                    </a:lnTo>
                    <a:lnTo>
                      <a:pt x="178" y="236"/>
                    </a:lnTo>
                    <a:lnTo>
                      <a:pt x="177" y="236"/>
                    </a:lnTo>
                    <a:lnTo>
                      <a:pt x="177" y="235"/>
                    </a:lnTo>
                    <a:close/>
                    <a:moveTo>
                      <a:pt x="126" y="39"/>
                    </a:moveTo>
                    <a:lnTo>
                      <a:pt x="127" y="39"/>
                    </a:lnTo>
                    <a:lnTo>
                      <a:pt x="127" y="41"/>
                    </a:lnTo>
                    <a:lnTo>
                      <a:pt x="126" y="41"/>
                    </a:lnTo>
                    <a:lnTo>
                      <a:pt x="126" y="39"/>
                    </a:lnTo>
                    <a:close/>
                    <a:moveTo>
                      <a:pt x="163" y="143"/>
                    </a:moveTo>
                    <a:lnTo>
                      <a:pt x="165" y="143"/>
                    </a:lnTo>
                    <a:lnTo>
                      <a:pt x="165" y="145"/>
                    </a:lnTo>
                    <a:lnTo>
                      <a:pt x="163" y="145"/>
                    </a:lnTo>
                    <a:lnTo>
                      <a:pt x="163" y="143"/>
                    </a:lnTo>
                    <a:close/>
                    <a:moveTo>
                      <a:pt x="394" y="417"/>
                    </a:moveTo>
                    <a:lnTo>
                      <a:pt x="394" y="418"/>
                    </a:lnTo>
                    <a:lnTo>
                      <a:pt x="394" y="417"/>
                    </a:lnTo>
                    <a:close/>
                    <a:moveTo>
                      <a:pt x="107" y="189"/>
                    </a:moveTo>
                    <a:lnTo>
                      <a:pt x="109" y="189"/>
                    </a:lnTo>
                    <a:lnTo>
                      <a:pt x="109" y="190"/>
                    </a:lnTo>
                    <a:lnTo>
                      <a:pt x="107" y="190"/>
                    </a:lnTo>
                    <a:lnTo>
                      <a:pt x="107" y="189"/>
                    </a:lnTo>
                    <a:close/>
                    <a:moveTo>
                      <a:pt x="238" y="255"/>
                    </a:moveTo>
                    <a:lnTo>
                      <a:pt x="240" y="255"/>
                    </a:lnTo>
                    <a:lnTo>
                      <a:pt x="240" y="257"/>
                    </a:lnTo>
                    <a:lnTo>
                      <a:pt x="238" y="257"/>
                    </a:lnTo>
                    <a:lnTo>
                      <a:pt x="238" y="255"/>
                    </a:lnTo>
                    <a:close/>
                    <a:moveTo>
                      <a:pt x="284" y="221"/>
                    </a:moveTo>
                    <a:lnTo>
                      <a:pt x="284" y="219"/>
                    </a:lnTo>
                    <a:lnTo>
                      <a:pt x="282" y="219"/>
                    </a:lnTo>
                    <a:lnTo>
                      <a:pt x="280" y="219"/>
                    </a:lnTo>
                    <a:lnTo>
                      <a:pt x="282" y="219"/>
                    </a:lnTo>
                    <a:lnTo>
                      <a:pt x="284" y="219"/>
                    </a:lnTo>
                    <a:lnTo>
                      <a:pt x="284" y="221"/>
                    </a:lnTo>
                    <a:close/>
                    <a:moveTo>
                      <a:pt x="132" y="107"/>
                    </a:moveTo>
                    <a:lnTo>
                      <a:pt x="134" y="107"/>
                    </a:lnTo>
                    <a:lnTo>
                      <a:pt x="134" y="109"/>
                    </a:lnTo>
                    <a:lnTo>
                      <a:pt x="132" y="109"/>
                    </a:lnTo>
                    <a:lnTo>
                      <a:pt x="132" y="107"/>
                    </a:lnTo>
                    <a:close/>
                    <a:moveTo>
                      <a:pt x="319" y="279"/>
                    </a:moveTo>
                    <a:lnTo>
                      <a:pt x="321" y="279"/>
                    </a:lnTo>
                    <a:lnTo>
                      <a:pt x="319" y="279"/>
                    </a:lnTo>
                    <a:close/>
                    <a:moveTo>
                      <a:pt x="1047" y="531"/>
                    </a:moveTo>
                    <a:lnTo>
                      <a:pt x="1049" y="531"/>
                    </a:lnTo>
                    <a:lnTo>
                      <a:pt x="1047" y="531"/>
                    </a:lnTo>
                    <a:close/>
                    <a:moveTo>
                      <a:pt x="321" y="279"/>
                    </a:moveTo>
                    <a:lnTo>
                      <a:pt x="323" y="279"/>
                    </a:lnTo>
                    <a:lnTo>
                      <a:pt x="321" y="279"/>
                    </a:lnTo>
                    <a:close/>
                    <a:moveTo>
                      <a:pt x="1028" y="544"/>
                    </a:moveTo>
                    <a:lnTo>
                      <a:pt x="1028" y="546"/>
                    </a:lnTo>
                    <a:lnTo>
                      <a:pt x="1028" y="544"/>
                    </a:lnTo>
                    <a:close/>
                    <a:moveTo>
                      <a:pt x="212" y="277"/>
                    </a:moveTo>
                    <a:lnTo>
                      <a:pt x="212" y="279"/>
                    </a:lnTo>
                    <a:lnTo>
                      <a:pt x="212" y="277"/>
                    </a:lnTo>
                    <a:close/>
                    <a:moveTo>
                      <a:pt x="240" y="267"/>
                    </a:moveTo>
                    <a:lnTo>
                      <a:pt x="240" y="269"/>
                    </a:lnTo>
                    <a:lnTo>
                      <a:pt x="240" y="267"/>
                    </a:lnTo>
                    <a:close/>
                    <a:moveTo>
                      <a:pt x="1067" y="434"/>
                    </a:moveTo>
                    <a:lnTo>
                      <a:pt x="1069" y="434"/>
                    </a:lnTo>
                    <a:lnTo>
                      <a:pt x="1069" y="437"/>
                    </a:lnTo>
                    <a:lnTo>
                      <a:pt x="1067" y="437"/>
                    </a:lnTo>
                    <a:lnTo>
                      <a:pt x="1067" y="434"/>
                    </a:lnTo>
                    <a:close/>
                    <a:moveTo>
                      <a:pt x="262" y="303"/>
                    </a:moveTo>
                    <a:lnTo>
                      <a:pt x="263" y="303"/>
                    </a:lnTo>
                    <a:lnTo>
                      <a:pt x="263" y="304"/>
                    </a:lnTo>
                    <a:lnTo>
                      <a:pt x="262" y="304"/>
                    </a:lnTo>
                    <a:lnTo>
                      <a:pt x="262" y="303"/>
                    </a:lnTo>
                    <a:close/>
                    <a:moveTo>
                      <a:pt x="183" y="156"/>
                    </a:moveTo>
                    <a:lnTo>
                      <a:pt x="185" y="156"/>
                    </a:lnTo>
                    <a:lnTo>
                      <a:pt x="185" y="158"/>
                    </a:lnTo>
                    <a:lnTo>
                      <a:pt x="183" y="158"/>
                    </a:lnTo>
                    <a:lnTo>
                      <a:pt x="183" y="156"/>
                    </a:lnTo>
                    <a:close/>
                    <a:moveTo>
                      <a:pt x="1016" y="529"/>
                    </a:moveTo>
                    <a:lnTo>
                      <a:pt x="1018" y="529"/>
                    </a:lnTo>
                    <a:lnTo>
                      <a:pt x="1018" y="532"/>
                    </a:lnTo>
                    <a:lnTo>
                      <a:pt x="1016" y="532"/>
                    </a:lnTo>
                    <a:lnTo>
                      <a:pt x="1016" y="529"/>
                    </a:lnTo>
                    <a:close/>
                    <a:moveTo>
                      <a:pt x="1040" y="503"/>
                    </a:moveTo>
                    <a:lnTo>
                      <a:pt x="1042" y="503"/>
                    </a:lnTo>
                    <a:lnTo>
                      <a:pt x="1040" y="503"/>
                    </a:lnTo>
                    <a:close/>
                    <a:moveTo>
                      <a:pt x="211" y="286"/>
                    </a:moveTo>
                    <a:lnTo>
                      <a:pt x="212" y="286"/>
                    </a:lnTo>
                    <a:lnTo>
                      <a:pt x="211" y="286"/>
                    </a:lnTo>
                    <a:close/>
                    <a:moveTo>
                      <a:pt x="212" y="272"/>
                    </a:moveTo>
                    <a:lnTo>
                      <a:pt x="212" y="274"/>
                    </a:lnTo>
                    <a:lnTo>
                      <a:pt x="212" y="272"/>
                    </a:lnTo>
                    <a:close/>
                    <a:moveTo>
                      <a:pt x="353" y="313"/>
                    </a:moveTo>
                    <a:lnTo>
                      <a:pt x="357" y="313"/>
                    </a:lnTo>
                    <a:lnTo>
                      <a:pt x="357" y="315"/>
                    </a:lnTo>
                    <a:lnTo>
                      <a:pt x="353" y="315"/>
                    </a:lnTo>
                    <a:lnTo>
                      <a:pt x="353" y="313"/>
                    </a:lnTo>
                    <a:close/>
                    <a:moveTo>
                      <a:pt x="76" y="87"/>
                    </a:moveTo>
                    <a:lnTo>
                      <a:pt x="76" y="88"/>
                    </a:lnTo>
                    <a:lnTo>
                      <a:pt x="76" y="87"/>
                    </a:lnTo>
                    <a:close/>
                    <a:moveTo>
                      <a:pt x="212" y="276"/>
                    </a:moveTo>
                    <a:lnTo>
                      <a:pt x="212" y="277"/>
                    </a:lnTo>
                    <a:lnTo>
                      <a:pt x="212" y="276"/>
                    </a:lnTo>
                    <a:close/>
                    <a:moveTo>
                      <a:pt x="212" y="274"/>
                    </a:moveTo>
                    <a:lnTo>
                      <a:pt x="212" y="276"/>
                    </a:lnTo>
                    <a:lnTo>
                      <a:pt x="212" y="274"/>
                    </a:lnTo>
                    <a:close/>
                    <a:moveTo>
                      <a:pt x="209" y="296"/>
                    </a:moveTo>
                    <a:lnTo>
                      <a:pt x="211" y="296"/>
                    </a:lnTo>
                    <a:lnTo>
                      <a:pt x="209" y="296"/>
                    </a:lnTo>
                    <a:close/>
                    <a:moveTo>
                      <a:pt x="364" y="316"/>
                    </a:moveTo>
                    <a:lnTo>
                      <a:pt x="365" y="316"/>
                    </a:lnTo>
                    <a:lnTo>
                      <a:pt x="364" y="316"/>
                    </a:lnTo>
                    <a:close/>
                    <a:moveTo>
                      <a:pt x="1066" y="425"/>
                    </a:moveTo>
                    <a:lnTo>
                      <a:pt x="1066" y="427"/>
                    </a:lnTo>
                    <a:lnTo>
                      <a:pt x="1066" y="425"/>
                    </a:lnTo>
                    <a:close/>
                    <a:moveTo>
                      <a:pt x="139" y="187"/>
                    </a:moveTo>
                    <a:lnTo>
                      <a:pt x="139" y="189"/>
                    </a:lnTo>
                    <a:lnTo>
                      <a:pt x="139" y="187"/>
                    </a:lnTo>
                    <a:close/>
                    <a:moveTo>
                      <a:pt x="212" y="284"/>
                    </a:moveTo>
                    <a:lnTo>
                      <a:pt x="212" y="286"/>
                    </a:lnTo>
                    <a:lnTo>
                      <a:pt x="212" y="284"/>
                    </a:lnTo>
                    <a:close/>
                    <a:moveTo>
                      <a:pt x="336" y="291"/>
                    </a:moveTo>
                    <a:lnTo>
                      <a:pt x="338" y="291"/>
                    </a:lnTo>
                    <a:lnTo>
                      <a:pt x="338" y="293"/>
                    </a:lnTo>
                    <a:lnTo>
                      <a:pt x="336" y="293"/>
                    </a:lnTo>
                    <a:lnTo>
                      <a:pt x="336" y="291"/>
                    </a:lnTo>
                    <a:close/>
                    <a:moveTo>
                      <a:pt x="175" y="226"/>
                    </a:moveTo>
                    <a:lnTo>
                      <a:pt x="177" y="226"/>
                    </a:lnTo>
                    <a:lnTo>
                      <a:pt x="175" y="226"/>
                    </a:lnTo>
                    <a:close/>
                    <a:moveTo>
                      <a:pt x="211" y="286"/>
                    </a:moveTo>
                    <a:lnTo>
                      <a:pt x="212" y="286"/>
                    </a:lnTo>
                    <a:lnTo>
                      <a:pt x="212" y="287"/>
                    </a:lnTo>
                    <a:lnTo>
                      <a:pt x="211" y="287"/>
                    </a:lnTo>
                    <a:lnTo>
                      <a:pt x="211" y="286"/>
                    </a:lnTo>
                    <a:close/>
                    <a:moveTo>
                      <a:pt x="163" y="146"/>
                    </a:moveTo>
                    <a:lnTo>
                      <a:pt x="165" y="146"/>
                    </a:lnTo>
                    <a:lnTo>
                      <a:pt x="163" y="146"/>
                    </a:lnTo>
                    <a:close/>
                    <a:moveTo>
                      <a:pt x="1022" y="522"/>
                    </a:moveTo>
                    <a:lnTo>
                      <a:pt x="1022" y="524"/>
                    </a:lnTo>
                    <a:lnTo>
                      <a:pt x="1022" y="522"/>
                    </a:lnTo>
                    <a:close/>
                    <a:moveTo>
                      <a:pt x="899" y="527"/>
                    </a:moveTo>
                    <a:lnTo>
                      <a:pt x="901" y="527"/>
                    </a:lnTo>
                    <a:lnTo>
                      <a:pt x="901" y="529"/>
                    </a:lnTo>
                    <a:lnTo>
                      <a:pt x="899" y="529"/>
                    </a:lnTo>
                    <a:lnTo>
                      <a:pt x="899" y="527"/>
                    </a:lnTo>
                    <a:close/>
                    <a:moveTo>
                      <a:pt x="267" y="209"/>
                    </a:moveTo>
                    <a:lnTo>
                      <a:pt x="267" y="211"/>
                    </a:lnTo>
                    <a:lnTo>
                      <a:pt x="267" y="209"/>
                    </a:lnTo>
                    <a:close/>
                    <a:moveTo>
                      <a:pt x="347" y="304"/>
                    </a:moveTo>
                    <a:lnTo>
                      <a:pt x="348" y="304"/>
                    </a:lnTo>
                    <a:lnTo>
                      <a:pt x="347" y="304"/>
                    </a:lnTo>
                    <a:close/>
                    <a:moveTo>
                      <a:pt x="182" y="156"/>
                    </a:moveTo>
                    <a:lnTo>
                      <a:pt x="183" y="156"/>
                    </a:lnTo>
                    <a:lnTo>
                      <a:pt x="182" y="156"/>
                    </a:lnTo>
                    <a:close/>
                    <a:moveTo>
                      <a:pt x="253" y="187"/>
                    </a:moveTo>
                    <a:lnTo>
                      <a:pt x="255" y="187"/>
                    </a:lnTo>
                    <a:lnTo>
                      <a:pt x="255" y="189"/>
                    </a:lnTo>
                    <a:lnTo>
                      <a:pt x="253" y="189"/>
                    </a:lnTo>
                    <a:lnTo>
                      <a:pt x="253" y="187"/>
                    </a:lnTo>
                    <a:close/>
                    <a:moveTo>
                      <a:pt x="284" y="223"/>
                    </a:moveTo>
                    <a:lnTo>
                      <a:pt x="285" y="223"/>
                    </a:lnTo>
                    <a:lnTo>
                      <a:pt x="284" y="223"/>
                    </a:lnTo>
                    <a:close/>
                    <a:moveTo>
                      <a:pt x="401" y="362"/>
                    </a:moveTo>
                    <a:lnTo>
                      <a:pt x="401" y="364"/>
                    </a:lnTo>
                    <a:lnTo>
                      <a:pt x="401" y="362"/>
                    </a:lnTo>
                    <a:close/>
                    <a:moveTo>
                      <a:pt x="141" y="187"/>
                    </a:moveTo>
                    <a:lnTo>
                      <a:pt x="141" y="189"/>
                    </a:lnTo>
                    <a:lnTo>
                      <a:pt x="141" y="187"/>
                    </a:lnTo>
                    <a:close/>
                    <a:moveTo>
                      <a:pt x="908" y="522"/>
                    </a:moveTo>
                    <a:lnTo>
                      <a:pt x="909" y="522"/>
                    </a:lnTo>
                    <a:lnTo>
                      <a:pt x="908" y="522"/>
                    </a:lnTo>
                    <a:close/>
                    <a:moveTo>
                      <a:pt x="319" y="277"/>
                    </a:moveTo>
                    <a:lnTo>
                      <a:pt x="319" y="279"/>
                    </a:lnTo>
                    <a:lnTo>
                      <a:pt x="319" y="277"/>
                    </a:lnTo>
                    <a:close/>
                    <a:moveTo>
                      <a:pt x="1042" y="490"/>
                    </a:moveTo>
                    <a:lnTo>
                      <a:pt x="1042" y="492"/>
                    </a:lnTo>
                    <a:lnTo>
                      <a:pt x="1042" y="490"/>
                    </a:lnTo>
                    <a:close/>
                    <a:moveTo>
                      <a:pt x="622" y="594"/>
                    </a:moveTo>
                    <a:lnTo>
                      <a:pt x="624" y="594"/>
                    </a:lnTo>
                    <a:lnTo>
                      <a:pt x="622" y="594"/>
                    </a:lnTo>
                    <a:close/>
                    <a:moveTo>
                      <a:pt x="258" y="289"/>
                    </a:moveTo>
                    <a:lnTo>
                      <a:pt x="258" y="291"/>
                    </a:lnTo>
                    <a:lnTo>
                      <a:pt x="258" y="289"/>
                    </a:lnTo>
                    <a:close/>
                    <a:moveTo>
                      <a:pt x="365" y="320"/>
                    </a:moveTo>
                    <a:lnTo>
                      <a:pt x="367" y="320"/>
                    </a:lnTo>
                    <a:lnTo>
                      <a:pt x="365" y="320"/>
                    </a:lnTo>
                    <a:close/>
                    <a:moveTo>
                      <a:pt x="1062" y="429"/>
                    </a:moveTo>
                    <a:lnTo>
                      <a:pt x="1064" y="429"/>
                    </a:lnTo>
                    <a:lnTo>
                      <a:pt x="1062" y="429"/>
                    </a:lnTo>
                    <a:close/>
                    <a:moveTo>
                      <a:pt x="343" y="296"/>
                    </a:moveTo>
                    <a:lnTo>
                      <a:pt x="343" y="298"/>
                    </a:lnTo>
                    <a:lnTo>
                      <a:pt x="343" y="296"/>
                    </a:lnTo>
                    <a:close/>
                    <a:moveTo>
                      <a:pt x="224" y="320"/>
                    </a:moveTo>
                    <a:lnTo>
                      <a:pt x="226" y="320"/>
                    </a:lnTo>
                    <a:lnTo>
                      <a:pt x="226" y="321"/>
                    </a:lnTo>
                    <a:lnTo>
                      <a:pt x="224" y="321"/>
                    </a:lnTo>
                    <a:lnTo>
                      <a:pt x="224" y="320"/>
                    </a:lnTo>
                    <a:close/>
                    <a:moveTo>
                      <a:pt x="364" y="318"/>
                    </a:moveTo>
                    <a:lnTo>
                      <a:pt x="365" y="318"/>
                    </a:lnTo>
                    <a:lnTo>
                      <a:pt x="364" y="318"/>
                    </a:lnTo>
                    <a:close/>
                  </a:path>
                </a:pathLst>
              </a:custGeom>
              <a:solidFill>
                <a:schemeClr val="accent1"/>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08" name="Freeform 42">
                <a:extLst>
                  <a:ext uri="{FF2B5EF4-FFF2-40B4-BE49-F238E27FC236}">
                    <a16:creationId xmlns:a16="http://schemas.microsoft.com/office/drawing/2014/main" id="{9AC62F0D-5580-3869-69CD-433D12A69DB5}"/>
                  </a:ext>
                </a:extLst>
              </p:cNvPr>
              <p:cNvSpPr>
                <a:spLocks/>
              </p:cNvSpPr>
              <p:nvPr/>
            </p:nvSpPr>
            <p:spPr bwMode="auto">
              <a:xfrm>
                <a:off x="6316663" y="1539875"/>
                <a:ext cx="4762" cy="7938"/>
              </a:xfrm>
              <a:custGeom>
                <a:avLst/>
                <a:gdLst>
                  <a:gd name="T0" fmla="*/ 3 w 3"/>
                  <a:gd name="T1" fmla="*/ 0 h 5"/>
                  <a:gd name="T2" fmla="*/ 3 w 3"/>
                  <a:gd name="T3" fmla="*/ 1 h 5"/>
                  <a:gd name="T4" fmla="*/ 3 w 3"/>
                  <a:gd name="T5" fmla="*/ 3 h 5"/>
                  <a:gd name="T6" fmla="*/ 3 w 3"/>
                  <a:gd name="T7" fmla="*/ 5 h 5"/>
                  <a:gd name="T8" fmla="*/ 1 w 3"/>
                  <a:gd name="T9" fmla="*/ 5 h 5"/>
                  <a:gd name="T10" fmla="*/ 1 w 3"/>
                  <a:gd name="T11" fmla="*/ 3 h 5"/>
                  <a:gd name="T12" fmla="*/ 0 w 3"/>
                  <a:gd name="T13" fmla="*/ 3 h 5"/>
                  <a:gd name="T14" fmla="*/ 0 w 3"/>
                  <a:gd name="T15" fmla="*/ 1 h 5"/>
                  <a:gd name="T16" fmla="*/ 1 w 3"/>
                  <a:gd name="T17" fmla="*/ 1 h 5"/>
                  <a:gd name="T18" fmla="*/ 1 w 3"/>
                  <a:gd name="T19" fmla="*/ 0 h 5"/>
                  <a:gd name="T20" fmla="*/ 3 w 3"/>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5">
                    <a:moveTo>
                      <a:pt x="3" y="0"/>
                    </a:moveTo>
                    <a:lnTo>
                      <a:pt x="3" y="1"/>
                    </a:lnTo>
                    <a:lnTo>
                      <a:pt x="3" y="3"/>
                    </a:lnTo>
                    <a:lnTo>
                      <a:pt x="3" y="5"/>
                    </a:lnTo>
                    <a:lnTo>
                      <a:pt x="1" y="5"/>
                    </a:lnTo>
                    <a:lnTo>
                      <a:pt x="1" y="3"/>
                    </a:lnTo>
                    <a:lnTo>
                      <a:pt x="0" y="3"/>
                    </a:lnTo>
                    <a:lnTo>
                      <a:pt x="0" y="1"/>
                    </a:lnTo>
                    <a:lnTo>
                      <a:pt x="1" y="1"/>
                    </a:lnTo>
                    <a:lnTo>
                      <a:pt x="1" y="0"/>
                    </a:lnTo>
                    <a:lnTo>
                      <a:pt x="3"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09" name="Freeform 43">
                <a:extLst>
                  <a:ext uri="{FF2B5EF4-FFF2-40B4-BE49-F238E27FC236}">
                    <a16:creationId xmlns:a16="http://schemas.microsoft.com/office/drawing/2014/main" id="{7E9F7DE5-F1FE-7CEE-D321-70CA04C52443}"/>
                  </a:ext>
                </a:extLst>
              </p:cNvPr>
              <p:cNvSpPr>
                <a:spLocks noEditPoints="1"/>
              </p:cNvSpPr>
              <p:nvPr/>
            </p:nvSpPr>
            <p:spPr bwMode="auto">
              <a:xfrm>
                <a:off x="4953000" y="1639888"/>
                <a:ext cx="265112" cy="236538"/>
              </a:xfrm>
              <a:custGeom>
                <a:avLst/>
                <a:gdLst>
                  <a:gd name="T0" fmla="*/ 148 w 167"/>
                  <a:gd name="T1" fmla="*/ 8 h 149"/>
                  <a:gd name="T2" fmla="*/ 148 w 167"/>
                  <a:gd name="T3" fmla="*/ 10 h 149"/>
                  <a:gd name="T4" fmla="*/ 150 w 167"/>
                  <a:gd name="T5" fmla="*/ 17 h 149"/>
                  <a:gd name="T6" fmla="*/ 150 w 167"/>
                  <a:gd name="T7" fmla="*/ 29 h 149"/>
                  <a:gd name="T8" fmla="*/ 148 w 167"/>
                  <a:gd name="T9" fmla="*/ 27 h 149"/>
                  <a:gd name="T10" fmla="*/ 146 w 167"/>
                  <a:gd name="T11" fmla="*/ 34 h 149"/>
                  <a:gd name="T12" fmla="*/ 141 w 167"/>
                  <a:gd name="T13" fmla="*/ 39 h 149"/>
                  <a:gd name="T14" fmla="*/ 141 w 167"/>
                  <a:gd name="T15" fmla="*/ 51 h 149"/>
                  <a:gd name="T16" fmla="*/ 140 w 167"/>
                  <a:gd name="T17" fmla="*/ 46 h 149"/>
                  <a:gd name="T18" fmla="*/ 140 w 167"/>
                  <a:gd name="T19" fmla="*/ 54 h 149"/>
                  <a:gd name="T20" fmla="*/ 141 w 167"/>
                  <a:gd name="T21" fmla="*/ 73 h 149"/>
                  <a:gd name="T22" fmla="*/ 141 w 167"/>
                  <a:gd name="T23" fmla="*/ 88 h 149"/>
                  <a:gd name="T24" fmla="*/ 138 w 167"/>
                  <a:gd name="T25" fmla="*/ 88 h 149"/>
                  <a:gd name="T26" fmla="*/ 140 w 167"/>
                  <a:gd name="T27" fmla="*/ 80 h 149"/>
                  <a:gd name="T28" fmla="*/ 138 w 167"/>
                  <a:gd name="T29" fmla="*/ 83 h 149"/>
                  <a:gd name="T30" fmla="*/ 133 w 167"/>
                  <a:gd name="T31" fmla="*/ 88 h 149"/>
                  <a:gd name="T32" fmla="*/ 136 w 167"/>
                  <a:gd name="T33" fmla="*/ 93 h 149"/>
                  <a:gd name="T34" fmla="*/ 134 w 167"/>
                  <a:gd name="T35" fmla="*/ 100 h 149"/>
                  <a:gd name="T36" fmla="*/ 133 w 167"/>
                  <a:gd name="T37" fmla="*/ 103 h 149"/>
                  <a:gd name="T38" fmla="*/ 133 w 167"/>
                  <a:gd name="T39" fmla="*/ 108 h 149"/>
                  <a:gd name="T40" fmla="*/ 133 w 167"/>
                  <a:gd name="T41" fmla="*/ 120 h 149"/>
                  <a:gd name="T42" fmla="*/ 131 w 167"/>
                  <a:gd name="T43" fmla="*/ 136 h 149"/>
                  <a:gd name="T44" fmla="*/ 134 w 167"/>
                  <a:gd name="T45" fmla="*/ 146 h 149"/>
                  <a:gd name="T46" fmla="*/ 124 w 167"/>
                  <a:gd name="T47" fmla="*/ 146 h 149"/>
                  <a:gd name="T48" fmla="*/ 116 w 167"/>
                  <a:gd name="T49" fmla="*/ 142 h 149"/>
                  <a:gd name="T50" fmla="*/ 106 w 167"/>
                  <a:gd name="T51" fmla="*/ 137 h 149"/>
                  <a:gd name="T52" fmla="*/ 78 w 167"/>
                  <a:gd name="T53" fmla="*/ 134 h 149"/>
                  <a:gd name="T54" fmla="*/ 63 w 167"/>
                  <a:gd name="T55" fmla="*/ 132 h 149"/>
                  <a:gd name="T56" fmla="*/ 53 w 167"/>
                  <a:gd name="T57" fmla="*/ 124 h 149"/>
                  <a:gd name="T58" fmla="*/ 44 w 167"/>
                  <a:gd name="T59" fmla="*/ 115 h 149"/>
                  <a:gd name="T60" fmla="*/ 36 w 167"/>
                  <a:gd name="T61" fmla="*/ 107 h 149"/>
                  <a:gd name="T62" fmla="*/ 27 w 167"/>
                  <a:gd name="T63" fmla="*/ 95 h 149"/>
                  <a:gd name="T64" fmla="*/ 19 w 167"/>
                  <a:gd name="T65" fmla="*/ 90 h 149"/>
                  <a:gd name="T66" fmla="*/ 10 w 167"/>
                  <a:gd name="T67" fmla="*/ 81 h 149"/>
                  <a:gd name="T68" fmla="*/ 7 w 167"/>
                  <a:gd name="T69" fmla="*/ 76 h 149"/>
                  <a:gd name="T70" fmla="*/ 2 w 167"/>
                  <a:gd name="T71" fmla="*/ 71 h 149"/>
                  <a:gd name="T72" fmla="*/ 10 w 167"/>
                  <a:gd name="T73" fmla="*/ 73 h 149"/>
                  <a:gd name="T74" fmla="*/ 22 w 167"/>
                  <a:gd name="T75" fmla="*/ 71 h 149"/>
                  <a:gd name="T76" fmla="*/ 27 w 167"/>
                  <a:gd name="T77" fmla="*/ 61 h 149"/>
                  <a:gd name="T78" fmla="*/ 32 w 167"/>
                  <a:gd name="T79" fmla="*/ 57 h 149"/>
                  <a:gd name="T80" fmla="*/ 32 w 167"/>
                  <a:gd name="T81" fmla="*/ 46 h 149"/>
                  <a:gd name="T82" fmla="*/ 43 w 167"/>
                  <a:gd name="T83" fmla="*/ 42 h 149"/>
                  <a:gd name="T84" fmla="*/ 51 w 167"/>
                  <a:gd name="T85" fmla="*/ 35 h 149"/>
                  <a:gd name="T86" fmla="*/ 60 w 167"/>
                  <a:gd name="T87" fmla="*/ 37 h 149"/>
                  <a:gd name="T88" fmla="*/ 66 w 167"/>
                  <a:gd name="T89" fmla="*/ 37 h 149"/>
                  <a:gd name="T90" fmla="*/ 77 w 167"/>
                  <a:gd name="T91" fmla="*/ 32 h 149"/>
                  <a:gd name="T92" fmla="*/ 85 w 167"/>
                  <a:gd name="T93" fmla="*/ 27 h 149"/>
                  <a:gd name="T94" fmla="*/ 87 w 167"/>
                  <a:gd name="T95" fmla="*/ 15 h 149"/>
                  <a:gd name="T96" fmla="*/ 90 w 167"/>
                  <a:gd name="T97" fmla="*/ 11 h 149"/>
                  <a:gd name="T98" fmla="*/ 99 w 167"/>
                  <a:gd name="T99" fmla="*/ 8 h 149"/>
                  <a:gd name="T100" fmla="*/ 106 w 167"/>
                  <a:gd name="T101" fmla="*/ 11 h 149"/>
                  <a:gd name="T102" fmla="*/ 112 w 167"/>
                  <a:gd name="T103" fmla="*/ 11 h 149"/>
                  <a:gd name="T104" fmla="*/ 123 w 167"/>
                  <a:gd name="T105" fmla="*/ 10 h 149"/>
                  <a:gd name="T106" fmla="*/ 134 w 167"/>
                  <a:gd name="T107" fmla="*/ 6 h 149"/>
                  <a:gd name="T108" fmla="*/ 141 w 167"/>
                  <a:gd name="T109" fmla="*/ 0 h 149"/>
                  <a:gd name="T110" fmla="*/ 150 w 167"/>
                  <a:gd name="T111" fmla="*/ 1 h 149"/>
                  <a:gd name="T112" fmla="*/ 134 w 167"/>
                  <a:gd name="T113" fmla="*/ 108 h 149"/>
                  <a:gd name="T114" fmla="*/ 136 w 167"/>
                  <a:gd name="T115" fmla="*/ 93 h 149"/>
                  <a:gd name="T116" fmla="*/ 146 w 167"/>
                  <a:gd name="T117" fmla="*/ 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7" h="149">
                    <a:moveTo>
                      <a:pt x="153" y="1"/>
                    </a:moveTo>
                    <a:lnTo>
                      <a:pt x="155" y="1"/>
                    </a:lnTo>
                    <a:lnTo>
                      <a:pt x="153" y="1"/>
                    </a:lnTo>
                    <a:lnTo>
                      <a:pt x="151" y="1"/>
                    </a:lnTo>
                    <a:lnTo>
                      <a:pt x="151" y="3"/>
                    </a:lnTo>
                    <a:lnTo>
                      <a:pt x="150" y="3"/>
                    </a:lnTo>
                    <a:lnTo>
                      <a:pt x="150" y="5"/>
                    </a:lnTo>
                    <a:lnTo>
                      <a:pt x="150" y="6"/>
                    </a:lnTo>
                    <a:lnTo>
                      <a:pt x="148" y="6"/>
                    </a:lnTo>
                    <a:lnTo>
                      <a:pt x="148" y="8"/>
                    </a:lnTo>
                    <a:lnTo>
                      <a:pt x="148" y="6"/>
                    </a:lnTo>
                    <a:lnTo>
                      <a:pt x="148" y="5"/>
                    </a:lnTo>
                    <a:lnTo>
                      <a:pt x="148" y="3"/>
                    </a:lnTo>
                    <a:lnTo>
                      <a:pt x="146" y="3"/>
                    </a:lnTo>
                    <a:lnTo>
                      <a:pt x="146" y="5"/>
                    </a:lnTo>
                    <a:lnTo>
                      <a:pt x="145" y="5"/>
                    </a:lnTo>
                    <a:lnTo>
                      <a:pt x="145" y="6"/>
                    </a:lnTo>
                    <a:lnTo>
                      <a:pt x="145" y="8"/>
                    </a:lnTo>
                    <a:lnTo>
                      <a:pt x="146" y="10"/>
                    </a:lnTo>
                    <a:lnTo>
                      <a:pt x="148" y="10"/>
                    </a:lnTo>
                    <a:lnTo>
                      <a:pt x="146" y="8"/>
                    </a:lnTo>
                    <a:lnTo>
                      <a:pt x="148" y="8"/>
                    </a:lnTo>
                    <a:lnTo>
                      <a:pt x="148" y="10"/>
                    </a:lnTo>
                    <a:lnTo>
                      <a:pt x="148" y="8"/>
                    </a:lnTo>
                    <a:lnTo>
                      <a:pt x="148" y="10"/>
                    </a:lnTo>
                    <a:lnTo>
                      <a:pt x="148" y="11"/>
                    </a:lnTo>
                    <a:lnTo>
                      <a:pt x="148" y="13"/>
                    </a:lnTo>
                    <a:lnTo>
                      <a:pt x="150" y="13"/>
                    </a:lnTo>
                    <a:lnTo>
                      <a:pt x="150" y="15"/>
                    </a:lnTo>
                    <a:lnTo>
                      <a:pt x="150" y="17"/>
                    </a:lnTo>
                    <a:lnTo>
                      <a:pt x="150" y="18"/>
                    </a:lnTo>
                    <a:lnTo>
                      <a:pt x="151" y="18"/>
                    </a:lnTo>
                    <a:lnTo>
                      <a:pt x="151" y="20"/>
                    </a:lnTo>
                    <a:lnTo>
                      <a:pt x="151" y="22"/>
                    </a:lnTo>
                    <a:lnTo>
                      <a:pt x="151" y="23"/>
                    </a:lnTo>
                    <a:lnTo>
                      <a:pt x="151" y="25"/>
                    </a:lnTo>
                    <a:lnTo>
                      <a:pt x="151" y="27"/>
                    </a:lnTo>
                    <a:lnTo>
                      <a:pt x="150" y="29"/>
                    </a:lnTo>
                    <a:lnTo>
                      <a:pt x="150" y="30"/>
                    </a:lnTo>
                    <a:lnTo>
                      <a:pt x="150" y="29"/>
                    </a:lnTo>
                    <a:lnTo>
                      <a:pt x="150" y="27"/>
                    </a:lnTo>
                    <a:lnTo>
                      <a:pt x="150" y="25"/>
                    </a:lnTo>
                    <a:lnTo>
                      <a:pt x="150" y="23"/>
                    </a:lnTo>
                    <a:lnTo>
                      <a:pt x="148" y="22"/>
                    </a:lnTo>
                    <a:lnTo>
                      <a:pt x="148" y="23"/>
                    </a:lnTo>
                    <a:lnTo>
                      <a:pt x="146" y="23"/>
                    </a:lnTo>
                    <a:lnTo>
                      <a:pt x="148" y="23"/>
                    </a:lnTo>
                    <a:lnTo>
                      <a:pt x="148" y="25"/>
                    </a:lnTo>
                    <a:lnTo>
                      <a:pt x="146" y="25"/>
                    </a:lnTo>
                    <a:lnTo>
                      <a:pt x="148" y="27"/>
                    </a:lnTo>
                    <a:lnTo>
                      <a:pt x="148" y="29"/>
                    </a:lnTo>
                    <a:lnTo>
                      <a:pt x="150" y="29"/>
                    </a:lnTo>
                    <a:lnTo>
                      <a:pt x="148" y="29"/>
                    </a:lnTo>
                    <a:lnTo>
                      <a:pt x="148" y="30"/>
                    </a:lnTo>
                    <a:lnTo>
                      <a:pt x="148" y="29"/>
                    </a:lnTo>
                    <a:lnTo>
                      <a:pt x="150" y="30"/>
                    </a:lnTo>
                    <a:lnTo>
                      <a:pt x="148" y="30"/>
                    </a:lnTo>
                    <a:lnTo>
                      <a:pt x="148" y="32"/>
                    </a:lnTo>
                    <a:lnTo>
                      <a:pt x="146" y="32"/>
                    </a:lnTo>
                    <a:lnTo>
                      <a:pt x="146" y="34"/>
                    </a:lnTo>
                    <a:lnTo>
                      <a:pt x="146" y="35"/>
                    </a:lnTo>
                    <a:lnTo>
                      <a:pt x="145" y="35"/>
                    </a:lnTo>
                    <a:lnTo>
                      <a:pt x="145" y="37"/>
                    </a:lnTo>
                    <a:lnTo>
                      <a:pt x="143" y="37"/>
                    </a:lnTo>
                    <a:lnTo>
                      <a:pt x="143" y="39"/>
                    </a:lnTo>
                    <a:lnTo>
                      <a:pt x="143" y="37"/>
                    </a:lnTo>
                    <a:lnTo>
                      <a:pt x="143" y="35"/>
                    </a:lnTo>
                    <a:lnTo>
                      <a:pt x="141" y="35"/>
                    </a:lnTo>
                    <a:lnTo>
                      <a:pt x="141" y="37"/>
                    </a:lnTo>
                    <a:lnTo>
                      <a:pt x="141" y="39"/>
                    </a:lnTo>
                    <a:lnTo>
                      <a:pt x="143" y="37"/>
                    </a:lnTo>
                    <a:lnTo>
                      <a:pt x="143" y="39"/>
                    </a:lnTo>
                    <a:lnTo>
                      <a:pt x="143" y="40"/>
                    </a:lnTo>
                    <a:lnTo>
                      <a:pt x="143" y="42"/>
                    </a:lnTo>
                    <a:lnTo>
                      <a:pt x="141" y="42"/>
                    </a:lnTo>
                    <a:lnTo>
                      <a:pt x="141" y="44"/>
                    </a:lnTo>
                    <a:lnTo>
                      <a:pt x="141" y="46"/>
                    </a:lnTo>
                    <a:lnTo>
                      <a:pt x="141" y="47"/>
                    </a:lnTo>
                    <a:lnTo>
                      <a:pt x="141" y="49"/>
                    </a:lnTo>
                    <a:lnTo>
                      <a:pt x="141" y="51"/>
                    </a:lnTo>
                    <a:lnTo>
                      <a:pt x="140" y="51"/>
                    </a:lnTo>
                    <a:lnTo>
                      <a:pt x="140" y="49"/>
                    </a:lnTo>
                    <a:lnTo>
                      <a:pt x="140" y="47"/>
                    </a:lnTo>
                    <a:lnTo>
                      <a:pt x="141" y="47"/>
                    </a:lnTo>
                    <a:lnTo>
                      <a:pt x="140" y="47"/>
                    </a:lnTo>
                    <a:lnTo>
                      <a:pt x="141" y="47"/>
                    </a:lnTo>
                    <a:lnTo>
                      <a:pt x="141" y="46"/>
                    </a:lnTo>
                    <a:lnTo>
                      <a:pt x="140" y="46"/>
                    </a:lnTo>
                    <a:lnTo>
                      <a:pt x="140" y="47"/>
                    </a:lnTo>
                    <a:lnTo>
                      <a:pt x="140" y="46"/>
                    </a:lnTo>
                    <a:lnTo>
                      <a:pt x="138" y="46"/>
                    </a:lnTo>
                    <a:lnTo>
                      <a:pt x="138" y="47"/>
                    </a:lnTo>
                    <a:lnTo>
                      <a:pt x="140" y="47"/>
                    </a:lnTo>
                    <a:lnTo>
                      <a:pt x="138" y="49"/>
                    </a:lnTo>
                    <a:lnTo>
                      <a:pt x="140" y="49"/>
                    </a:lnTo>
                    <a:lnTo>
                      <a:pt x="140" y="51"/>
                    </a:lnTo>
                    <a:lnTo>
                      <a:pt x="141" y="51"/>
                    </a:lnTo>
                    <a:lnTo>
                      <a:pt x="141" y="52"/>
                    </a:lnTo>
                    <a:lnTo>
                      <a:pt x="140" y="52"/>
                    </a:lnTo>
                    <a:lnTo>
                      <a:pt x="140" y="54"/>
                    </a:lnTo>
                    <a:lnTo>
                      <a:pt x="140" y="56"/>
                    </a:lnTo>
                    <a:lnTo>
                      <a:pt x="140" y="57"/>
                    </a:lnTo>
                    <a:lnTo>
                      <a:pt x="140" y="59"/>
                    </a:lnTo>
                    <a:lnTo>
                      <a:pt x="140" y="61"/>
                    </a:lnTo>
                    <a:lnTo>
                      <a:pt x="140" y="63"/>
                    </a:lnTo>
                    <a:lnTo>
                      <a:pt x="140" y="64"/>
                    </a:lnTo>
                    <a:lnTo>
                      <a:pt x="140" y="68"/>
                    </a:lnTo>
                    <a:lnTo>
                      <a:pt x="140" y="69"/>
                    </a:lnTo>
                    <a:lnTo>
                      <a:pt x="141" y="71"/>
                    </a:lnTo>
                    <a:lnTo>
                      <a:pt x="141" y="73"/>
                    </a:lnTo>
                    <a:lnTo>
                      <a:pt x="141" y="74"/>
                    </a:lnTo>
                    <a:lnTo>
                      <a:pt x="141" y="76"/>
                    </a:lnTo>
                    <a:lnTo>
                      <a:pt x="141" y="78"/>
                    </a:lnTo>
                    <a:lnTo>
                      <a:pt x="140" y="80"/>
                    </a:lnTo>
                    <a:lnTo>
                      <a:pt x="140" y="81"/>
                    </a:lnTo>
                    <a:lnTo>
                      <a:pt x="140" y="83"/>
                    </a:lnTo>
                    <a:lnTo>
                      <a:pt x="140" y="85"/>
                    </a:lnTo>
                    <a:lnTo>
                      <a:pt x="141" y="85"/>
                    </a:lnTo>
                    <a:lnTo>
                      <a:pt x="141" y="86"/>
                    </a:lnTo>
                    <a:lnTo>
                      <a:pt x="141" y="88"/>
                    </a:lnTo>
                    <a:lnTo>
                      <a:pt x="143" y="88"/>
                    </a:lnTo>
                    <a:lnTo>
                      <a:pt x="143" y="90"/>
                    </a:lnTo>
                    <a:lnTo>
                      <a:pt x="141" y="90"/>
                    </a:lnTo>
                    <a:lnTo>
                      <a:pt x="141" y="91"/>
                    </a:lnTo>
                    <a:lnTo>
                      <a:pt x="140" y="91"/>
                    </a:lnTo>
                    <a:lnTo>
                      <a:pt x="138" y="91"/>
                    </a:lnTo>
                    <a:lnTo>
                      <a:pt x="136" y="91"/>
                    </a:lnTo>
                    <a:lnTo>
                      <a:pt x="138" y="91"/>
                    </a:lnTo>
                    <a:lnTo>
                      <a:pt x="138" y="90"/>
                    </a:lnTo>
                    <a:lnTo>
                      <a:pt x="138" y="88"/>
                    </a:lnTo>
                    <a:lnTo>
                      <a:pt x="136" y="88"/>
                    </a:lnTo>
                    <a:lnTo>
                      <a:pt x="138" y="88"/>
                    </a:lnTo>
                    <a:lnTo>
                      <a:pt x="138" y="86"/>
                    </a:lnTo>
                    <a:lnTo>
                      <a:pt x="136" y="86"/>
                    </a:lnTo>
                    <a:lnTo>
                      <a:pt x="138" y="86"/>
                    </a:lnTo>
                    <a:lnTo>
                      <a:pt x="138" y="85"/>
                    </a:lnTo>
                    <a:lnTo>
                      <a:pt x="140" y="85"/>
                    </a:lnTo>
                    <a:lnTo>
                      <a:pt x="140" y="83"/>
                    </a:lnTo>
                    <a:lnTo>
                      <a:pt x="140" y="81"/>
                    </a:lnTo>
                    <a:lnTo>
                      <a:pt x="140" y="80"/>
                    </a:lnTo>
                    <a:lnTo>
                      <a:pt x="140" y="78"/>
                    </a:lnTo>
                    <a:lnTo>
                      <a:pt x="140" y="76"/>
                    </a:lnTo>
                    <a:lnTo>
                      <a:pt x="138" y="76"/>
                    </a:lnTo>
                    <a:lnTo>
                      <a:pt x="136" y="76"/>
                    </a:lnTo>
                    <a:lnTo>
                      <a:pt x="136" y="78"/>
                    </a:lnTo>
                    <a:lnTo>
                      <a:pt x="136" y="80"/>
                    </a:lnTo>
                    <a:lnTo>
                      <a:pt x="138" y="78"/>
                    </a:lnTo>
                    <a:lnTo>
                      <a:pt x="138" y="80"/>
                    </a:lnTo>
                    <a:lnTo>
                      <a:pt x="138" y="81"/>
                    </a:lnTo>
                    <a:lnTo>
                      <a:pt x="138" y="83"/>
                    </a:lnTo>
                    <a:lnTo>
                      <a:pt x="138" y="85"/>
                    </a:lnTo>
                    <a:lnTo>
                      <a:pt x="136" y="83"/>
                    </a:lnTo>
                    <a:lnTo>
                      <a:pt x="136" y="85"/>
                    </a:lnTo>
                    <a:lnTo>
                      <a:pt x="134" y="85"/>
                    </a:lnTo>
                    <a:lnTo>
                      <a:pt x="134" y="86"/>
                    </a:lnTo>
                    <a:lnTo>
                      <a:pt x="134" y="85"/>
                    </a:lnTo>
                    <a:lnTo>
                      <a:pt x="134" y="86"/>
                    </a:lnTo>
                    <a:lnTo>
                      <a:pt x="133" y="85"/>
                    </a:lnTo>
                    <a:lnTo>
                      <a:pt x="133" y="86"/>
                    </a:lnTo>
                    <a:lnTo>
                      <a:pt x="133" y="88"/>
                    </a:lnTo>
                    <a:lnTo>
                      <a:pt x="134" y="88"/>
                    </a:lnTo>
                    <a:lnTo>
                      <a:pt x="134" y="90"/>
                    </a:lnTo>
                    <a:lnTo>
                      <a:pt x="134" y="91"/>
                    </a:lnTo>
                    <a:lnTo>
                      <a:pt x="134" y="93"/>
                    </a:lnTo>
                    <a:lnTo>
                      <a:pt x="136" y="93"/>
                    </a:lnTo>
                    <a:lnTo>
                      <a:pt x="136" y="95"/>
                    </a:lnTo>
                    <a:lnTo>
                      <a:pt x="136" y="93"/>
                    </a:lnTo>
                    <a:lnTo>
                      <a:pt x="138" y="91"/>
                    </a:lnTo>
                    <a:lnTo>
                      <a:pt x="138" y="93"/>
                    </a:lnTo>
                    <a:lnTo>
                      <a:pt x="136" y="93"/>
                    </a:lnTo>
                    <a:lnTo>
                      <a:pt x="136" y="95"/>
                    </a:lnTo>
                    <a:lnTo>
                      <a:pt x="136" y="97"/>
                    </a:lnTo>
                    <a:lnTo>
                      <a:pt x="136" y="98"/>
                    </a:lnTo>
                    <a:lnTo>
                      <a:pt x="136" y="100"/>
                    </a:lnTo>
                    <a:lnTo>
                      <a:pt x="136" y="102"/>
                    </a:lnTo>
                    <a:lnTo>
                      <a:pt x="136" y="103"/>
                    </a:lnTo>
                    <a:lnTo>
                      <a:pt x="136" y="105"/>
                    </a:lnTo>
                    <a:lnTo>
                      <a:pt x="134" y="103"/>
                    </a:lnTo>
                    <a:lnTo>
                      <a:pt x="134" y="102"/>
                    </a:lnTo>
                    <a:lnTo>
                      <a:pt x="134" y="100"/>
                    </a:lnTo>
                    <a:lnTo>
                      <a:pt x="134" y="98"/>
                    </a:lnTo>
                    <a:lnTo>
                      <a:pt x="133" y="98"/>
                    </a:lnTo>
                    <a:lnTo>
                      <a:pt x="134" y="98"/>
                    </a:lnTo>
                    <a:lnTo>
                      <a:pt x="134" y="100"/>
                    </a:lnTo>
                    <a:lnTo>
                      <a:pt x="134" y="102"/>
                    </a:lnTo>
                    <a:lnTo>
                      <a:pt x="133" y="102"/>
                    </a:lnTo>
                    <a:lnTo>
                      <a:pt x="134" y="102"/>
                    </a:lnTo>
                    <a:lnTo>
                      <a:pt x="134" y="103"/>
                    </a:lnTo>
                    <a:lnTo>
                      <a:pt x="133" y="102"/>
                    </a:lnTo>
                    <a:lnTo>
                      <a:pt x="133" y="103"/>
                    </a:lnTo>
                    <a:lnTo>
                      <a:pt x="131" y="103"/>
                    </a:lnTo>
                    <a:lnTo>
                      <a:pt x="133" y="103"/>
                    </a:lnTo>
                    <a:lnTo>
                      <a:pt x="133" y="105"/>
                    </a:lnTo>
                    <a:lnTo>
                      <a:pt x="133" y="107"/>
                    </a:lnTo>
                    <a:lnTo>
                      <a:pt x="131" y="107"/>
                    </a:lnTo>
                    <a:lnTo>
                      <a:pt x="131" y="108"/>
                    </a:lnTo>
                    <a:lnTo>
                      <a:pt x="131" y="110"/>
                    </a:lnTo>
                    <a:lnTo>
                      <a:pt x="133" y="112"/>
                    </a:lnTo>
                    <a:lnTo>
                      <a:pt x="133" y="110"/>
                    </a:lnTo>
                    <a:lnTo>
                      <a:pt x="133" y="108"/>
                    </a:lnTo>
                    <a:lnTo>
                      <a:pt x="134" y="110"/>
                    </a:lnTo>
                    <a:lnTo>
                      <a:pt x="136" y="112"/>
                    </a:lnTo>
                    <a:lnTo>
                      <a:pt x="136" y="114"/>
                    </a:lnTo>
                    <a:lnTo>
                      <a:pt x="136" y="115"/>
                    </a:lnTo>
                    <a:lnTo>
                      <a:pt x="136" y="117"/>
                    </a:lnTo>
                    <a:lnTo>
                      <a:pt x="136" y="119"/>
                    </a:lnTo>
                    <a:lnTo>
                      <a:pt x="134" y="119"/>
                    </a:lnTo>
                    <a:lnTo>
                      <a:pt x="134" y="120"/>
                    </a:lnTo>
                    <a:lnTo>
                      <a:pt x="134" y="119"/>
                    </a:lnTo>
                    <a:lnTo>
                      <a:pt x="133" y="120"/>
                    </a:lnTo>
                    <a:lnTo>
                      <a:pt x="133" y="122"/>
                    </a:lnTo>
                    <a:lnTo>
                      <a:pt x="131" y="122"/>
                    </a:lnTo>
                    <a:lnTo>
                      <a:pt x="131" y="124"/>
                    </a:lnTo>
                    <a:lnTo>
                      <a:pt x="129" y="125"/>
                    </a:lnTo>
                    <a:lnTo>
                      <a:pt x="129" y="127"/>
                    </a:lnTo>
                    <a:lnTo>
                      <a:pt x="129" y="129"/>
                    </a:lnTo>
                    <a:lnTo>
                      <a:pt x="129" y="131"/>
                    </a:lnTo>
                    <a:lnTo>
                      <a:pt x="129" y="132"/>
                    </a:lnTo>
                    <a:lnTo>
                      <a:pt x="131" y="134"/>
                    </a:lnTo>
                    <a:lnTo>
                      <a:pt x="131" y="136"/>
                    </a:lnTo>
                    <a:lnTo>
                      <a:pt x="131" y="137"/>
                    </a:lnTo>
                    <a:lnTo>
                      <a:pt x="133" y="137"/>
                    </a:lnTo>
                    <a:lnTo>
                      <a:pt x="133" y="139"/>
                    </a:lnTo>
                    <a:lnTo>
                      <a:pt x="133" y="141"/>
                    </a:lnTo>
                    <a:lnTo>
                      <a:pt x="134" y="141"/>
                    </a:lnTo>
                    <a:lnTo>
                      <a:pt x="136" y="141"/>
                    </a:lnTo>
                    <a:lnTo>
                      <a:pt x="136" y="142"/>
                    </a:lnTo>
                    <a:lnTo>
                      <a:pt x="136" y="144"/>
                    </a:lnTo>
                    <a:lnTo>
                      <a:pt x="136" y="146"/>
                    </a:lnTo>
                    <a:lnTo>
                      <a:pt x="134" y="146"/>
                    </a:lnTo>
                    <a:lnTo>
                      <a:pt x="133" y="146"/>
                    </a:lnTo>
                    <a:lnTo>
                      <a:pt x="133" y="148"/>
                    </a:lnTo>
                    <a:lnTo>
                      <a:pt x="131" y="148"/>
                    </a:lnTo>
                    <a:lnTo>
                      <a:pt x="129" y="148"/>
                    </a:lnTo>
                    <a:lnTo>
                      <a:pt x="129" y="149"/>
                    </a:lnTo>
                    <a:lnTo>
                      <a:pt x="128" y="149"/>
                    </a:lnTo>
                    <a:lnTo>
                      <a:pt x="126" y="149"/>
                    </a:lnTo>
                    <a:lnTo>
                      <a:pt x="126" y="148"/>
                    </a:lnTo>
                    <a:lnTo>
                      <a:pt x="124" y="148"/>
                    </a:lnTo>
                    <a:lnTo>
                      <a:pt x="124" y="146"/>
                    </a:lnTo>
                    <a:lnTo>
                      <a:pt x="124" y="148"/>
                    </a:lnTo>
                    <a:lnTo>
                      <a:pt x="123" y="146"/>
                    </a:lnTo>
                    <a:lnTo>
                      <a:pt x="123" y="148"/>
                    </a:lnTo>
                    <a:lnTo>
                      <a:pt x="121" y="148"/>
                    </a:lnTo>
                    <a:lnTo>
                      <a:pt x="121" y="146"/>
                    </a:lnTo>
                    <a:lnTo>
                      <a:pt x="119" y="146"/>
                    </a:lnTo>
                    <a:lnTo>
                      <a:pt x="117" y="146"/>
                    </a:lnTo>
                    <a:lnTo>
                      <a:pt x="117" y="144"/>
                    </a:lnTo>
                    <a:lnTo>
                      <a:pt x="117" y="142"/>
                    </a:lnTo>
                    <a:lnTo>
                      <a:pt x="116" y="142"/>
                    </a:lnTo>
                    <a:lnTo>
                      <a:pt x="114" y="142"/>
                    </a:lnTo>
                    <a:lnTo>
                      <a:pt x="114" y="141"/>
                    </a:lnTo>
                    <a:lnTo>
                      <a:pt x="112" y="141"/>
                    </a:lnTo>
                    <a:lnTo>
                      <a:pt x="114" y="139"/>
                    </a:lnTo>
                    <a:lnTo>
                      <a:pt x="112" y="139"/>
                    </a:lnTo>
                    <a:lnTo>
                      <a:pt x="111" y="139"/>
                    </a:lnTo>
                    <a:lnTo>
                      <a:pt x="111" y="141"/>
                    </a:lnTo>
                    <a:lnTo>
                      <a:pt x="109" y="141"/>
                    </a:lnTo>
                    <a:lnTo>
                      <a:pt x="109" y="139"/>
                    </a:lnTo>
                    <a:lnTo>
                      <a:pt x="106" y="137"/>
                    </a:lnTo>
                    <a:lnTo>
                      <a:pt x="104" y="137"/>
                    </a:lnTo>
                    <a:lnTo>
                      <a:pt x="102" y="136"/>
                    </a:lnTo>
                    <a:lnTo>
                      <a:pt x="100" y="137"/>
                    </a:lnTo>
                    <a:lnTo>
                      <a:pt x="95" y="141"/>
                    </a:lnTo>
                    <a:lnTo>
                      <a:pt x="94" y="141"/>
                    </a:lnTo>
                    <a:lnTo>
                      <a:pt x="92" y="141"/>
                    </a:lnTo>
                    <a:lnTo>
                      <a:pt x="87" y="137"/>
                    </a:lnTo>
                    <a:lnTo>
                      <a:pt x="85" y="137"/>
                    </a:lnTo>
                    <a:lnTo>
                      <a:pt x="83" y="137"/>
                    </a:lnTo>
                    <a:lnTo>
                      <a:pt x="78" y="134"/>
                    </a:lnTo>
                    <a:lnTo>
                      <a:pt x="77" y="134"/>
                    </a:lnTo>
                    <a:lnTo>
                      <a:pt x="73" y="134"/>
                    </a:lnTo>
                    <a:lnTo>
                      <a:pt x="72" y="132"/>
                    </a:lnTo>
                    <a:lnTo>
                      <a:pt x="70" y="132"/>
                    </a:lnTo>
                    <a:lnTo>
                      <a:pt x="68" y="136"/>
                    </a:lnTo>
                    <a:lnTo>
                      <a:pt x="66" y="136"/>
                    </a:lnTo>
                    <a:lnTo>
                      <a:pt x="65" y="136"/>
                    </a:lnTo>
                    <a:lnTo>
                      <a:pt x="65" y="134"/>
                    </a:lnTo>
                    <a:lnTo>
                      <a:pt x="63" y="134"/>
                    </a:lnTo>
                    <a:lnTo>
                      <a:pt x="63" y="132"/>
                    </a:lnTo>
                    <a:lnTo>
                      <a:pt x="61" y="131"/>
                    </a:lnTo>
                    <a:lnTo>
                      <a:pt x="61" y="129"/>
                    </a:lnTo>
                    <a:lnTo>
                      <a:pt x="60" y="129"/>
                    </a:lnTo>
                    <a:lnTo>
                      <a:pt x="60" y="127"/>
                    </a:lnTo>
                    <a:lnTo>
                      <a:pt x="58" y="127"/>
                    </a:lnTo>
                    <a:lnTo>
                      <a:pt x="56" y="127"/>
                    </a:lnTo>
                    <a:lnTo>
                      <a:pt x="56" y="125"/>
                    </a:lnTo>
                    <a:lnTo>
                      <a:pt x="55" y="125"/>
                    </a:lnTo>
                    <a:lnTo>
                      <a:pt x="55" y="124"/>
                    </a:lnTo>
                    <a:lnTo>
                      <a:pt x="53" y="124"/>
                    </a:lnTo>
                    <a:lnTo>
                      <a:pt x="53" y="122"/>
                    </a:lnTo>
                    <a:lnTo>
                      <a:pt x="51" y="122"/>
                    </a:lnTo>
                    <a:lnTo>
                      <a:pt x="51" y="120"/>
                    </a:lnTo>
                    <a:lnTo>
                      <a:pt x="49" y="120"/>
                    </a:lnTo>
                    <a:lnTo>
                      <a:pt x="49" y="119"/>
                    </a:lnTo>
                    <a:lnTo>
                      <a:pt x="48" y="119"/>
                    </a:lnTo>
                    <a:lnTo>
                      <a:pt x="46" y="119"/>
                    </a:lnTo>
                    <a:lnTo>
                      <a:pt x="46" y="117"/>
                    </a:lnTo>
                    <a:lnTo>
                      <a:pt x="44" y="117"/>
                    </a:lnTo>
                    <a:lnTo>
                      <a:pt x="44" y="115"/>
                    </a:lnTo>
                    <a:lnTo>
                      <a:pt x="43" y="115"/>
                    </a:lnTo>
                    <a:lnTo>
                      <a:pt x="43" y="114"/>
                    </a:lnTo>
                    <a:lnTo>
                      <a:pt x="41" y="114"/>
                    </a:lnTo>
                    <a:lnTo>
                      <a:pt x="41" y="112"/>
                    </a:lnTo>
                    <a:lnTo>
                      <a:pt x="39" y="112"/>
                    </a:lnTo>
                    <a:lnTo>
                      <a:pt x="39" y="110"/>
                    </a:lnTo>
                    <a:lnTo>
                      <a:pt x="38" y="110"/>
                    </a:lnTo>
                    <a:lnTo>
                      <a:pt x="38" y="108"/>
                    </a:lnTo>
                    <a:lnTo>
                      <a:pt x="36" y="108"/>
                    </a:lnTo>
                    <a:lnTo>
                      <a:pt x="36" y="107"/>
                    </a:lnTo>
                    <a:lnTo>
                      <a:pt x="36" y="105"/>
                    </a:lnTo>
                    <a:lnTo>
                      <a:pt x="34" y="105"/>
                    </a:lnTo>
                    <a:lnTo>
                      <a:pt x="34" y="103"/>
                    </a:lnTo>
                    <a:lnTo>
                      <a:pt x="32" y="102"/>
                    </a:lnTo>
                    <a:lnTo>
                      <a:pt x="32" y="100"/>
                    </a:lnTo>
                    <a:lnTo>
                      <a:pt x="32" y="98"/>
                    </a:lnTo>
                    <a:lnTo>
                      <a:pt x="31" y="98"/>
                    </a:lnTo>
                    <a:lnTo>
                      <a:pt x="31" y="97"/>
                    </a:lnTo>
                    <a:lnTo>
                      <a:pt x="29" y="97"/>
                    </a:lnTo>
                    <a:lnTo>
                      <a:pt x="27" y="95"/>
                    </a:lnTo>
                    <a:lnTo>
                      <a:pt x="26" y="93"/>
                    </a:lnTo>
                    <a:lnTo>
                      <a:pt x="24" y="93"/>
                    </a:lnTo>
                    <a:lnTo>
                      <a:pt x="22" y="93"/>
                    </a:lnTo>
                    <a:lnTo>
                      <a:pt x="22" y="91"/>
                    </a:lnTo>
                    <a:lnTo>
                      <a:pt x="21" y="91"/>
                    </a:lnTo>
                    <a:lnTo>
                      <a:pt x="21" y="90"/>
                    </a:lnTo>
                    <a:lnTo>
                      <a:pt x="19" y="90"/>
                    </a:lnTo>
                    <a:lnTo>
                      <a:pt x="17" y="88"/>
                    </a:lnTo>
                    <a:lnTo>
                      <a:pt x="19" y="88"/>
                    </a:lnTo>
                    <a:lnTo>
                      <a:pt x="19" y="90"/>
                    </a:lnTo>
                    <a:lnTo>
                      <a:pt x="21" y="90"/>
                    </a:lnTo>
                    <a:lnTo>
                      <a:pt x="19" y="90"/>
                    </a:lnTo>
                    <a:lnTo>
                      <a:pt x="19" y="88"/>
                    </a:lnTo>
                    <a:lnTo>
                      <a:pt x="17" y="88"/>
                    </a:lnTo>
                    <a:lnTo>
                      <a:pt x="17" y="86"/>
                    </a:lnTo>
                    <a:lnTo>
                      <a:pt x="15" y="86"/>
                    </a:lnTo>
                    <a:lnTo>
                      <a:pt x="15" y="85"/>
                    </a:lnTo>
                    <a:lnTo>
                      <a:pt x="14" y="85"/>
                    </a:lnTo>
                    <a:lnTo>
                      <a:pt x="12" y="83"/>
                    </a:lnTo>
                    <a:lnTo>
                      <a:pt x="10" y="81"/>
                    </a:lnTo>
                    <a:lnTo>
                      <a:pt x="9" y="80"/>
                    </a:lnTo>
                    <a:lnTo>
                      <a:pt x="7" y="78"/>
                    </a:lnTo>
                    <a:lnTo>
                      <a:pt x="9" y="78"/>
                    </a:lnTo>
                    <a:lnTo>
                      <a:pt x="7" y="78"/>
                    </a:lnTo>
                    <a:lnTo>
                      <a:pt x="7" y="76"/>
                    </a:lnTo>
                    <a:lnTo>
                      <a:pt x="7" y="74"/>
                    </a:lnTo>
                    <a:lnTo>
                      <a:pt x="5" y="76"/>
                    </a:lnTo>
                    <a:lnTo>
                      <a:pt x="7" y="76"/>
                    </a:lnTo>
                    <a:lnTo>
                      <a:pt x="5" y="76"/>
                    </a:lnTo>
                    <a:lnTo>
                      <a:pt x="7" y="76"/>
                    </a:lnTo>
                    <a:lnTo>
                      <a:pt x="7" y="78"/>
                    </a:lnTo>
                    <a:lnTo>
                      <a:pt x="5" y="78"/>
                    </a:lnTo>
                    <a:lnTo>
                      <a:pt x="5" y="76"/>
                    </a:lnTo>
                    <a:lnTo>
                      <a:pt x="4" y="76"/>
                    </a:lnTo>
                    <a:lnTo>
                      <a:pt x="4" y="74"/>
                    </a:lnTo>
                    <a:lnTo>
                      <a:pt x="2" y="74"/>
                    </a:lnTo>
                    <a:lnTo>
                      <a:pt x="0" y="74"/>
                    </a:lnTo>
                    <a:lnTo>
                      <a:pt x="0" y="73"/>
                    </a:lnTo>
                    <a:lnTo>
                      <a:pt x="0" y="71"/>
                    </a:lnTo>
                    <a:lnTo>
                      <a:pt x="2" y="71"/>
                    </a:lnTo>
                    <a:lnTo>
                      <a:pt x="2" y="69"/>
                    </a:lnTo>
                    <a:lnTo>
                      <a:pt x="4" y="69"/>
                    </a:lnTo>
                    <a:lnTo>
                      <a:pt x="4" y="68"/>
                    </a:lnTo>
                    <a:lnTo>
                      <a:pt x="5" y="68"/>
                    </a:lnTo>
                    <a:lnTo>
                      <a:pt x="5" y="69"/>
                    </a:lnTo>
                    <a:lnTo>
                      <a:pt x="7" y="69"/>
                    </a:lnTo>
                    <a:lnTo>
                      <a:pt x="7" y="71"/>
                    </a:lnTo>
                    <a:lnTo>
                      <a:pt x="7" y="73"/>
                    </a:lnTo>
                    <a:lnTo>
                      <a:pt x="9" y="73"/>
                    </a:lnTo>
                    <a:lnTo>
                      <a:pt x="10" y="73"/>
                    </a:lnTo>
                    <a:lnTo>
                      <a:pt x="12" y="73"/>
                    </a:lnTo>
                    <a:lnTo>
                      <a:pt x="14" y="73"/>
                    </a:lnTo>
                    <a:lnTo>
                      <a:pt x="12" y="73"/>
                    </a:lnTo>
                    <a:lnTo>
                      <a:pt x="10" y="73"/>
                    </a:lnTo>
                    <a:lnTo>
                      <a:pt x="10" y="71"/>
                    </a:lnTo>
                    <a:lnTo>
                      <a:pt x="12" y="71"/>
                    </a:lnTo>
                    <a:lnTo>
                      <a:pt x="14" y="71"/>
                    </a:lnTo>
                    <a:lnTo>
                      <a:pt x="19" y="69"/>
                    </a:lnTo>
                    <a:lnTo>
                      <a:pt x="21" y="69"/>
                    </a:lnTo>
                    <a:lnTo>
                      <a:pt x="22" y="71"/>
                    </a:lnTo>
                    <a:lnTo>
                      <a:pt x="22" y="69"/>
                    </a:lnTo>
                    <a:lnTo>
                      <a:pt x="24" y="69"/>
                    </a:lnTo>
                    <a:lnTo>
                      <a:pt x="26" y="69"/>
                    </a:lnTo>
                    <a:lnTo>
                      <a:pt x="26" y="68"/>
                    </a:lnTo>
                    <a:lnTo>
                      <a:pt x="26" y="66"/>
                    </a:lnTo>
                    <a:lnTo>
                      <a:pt x="26" y="64"/>
                    </a:lnTo>
                    <a:lnTo>
                      <a:pt x="26" y="63"/>
                    </a:lnTo>
                    <a:lnTo>
                      <a:pt x="27" y="63"/>
                    </a:lnTo>
                    <a:lnTo>
                      <a:pt x="26" y="61"/>
                    </a:lnTo>
                    <a:lnTo>
                      <a:pt x="27" y="61"/>
                    </a:lnTo>
                    <a:lnTo>
                      <a:pt x="26" y="61"/>
                    </a:lnTo>
                    <a:lnTo>
                      <a:pt x="27" y="61"/>
                    </a:lnTo>
                    <a:lnTo>
                      <a:pt x="27" y="59"/>
                    </a:lnTo>
                    <a:lnTo>
                      <a:pt x="29" y="59"/>
                    </a:lnTo>
                    <a:lnTo>
                      <a:pt x="31" y="59"/>
                    </a:lnTo>
                    <a:lnTo>
                      <a:pt x="32" y="61"/>
                    </a:lnTo>
                    <a:lnTo>
                      <a:pt x="32" y="59"/>
                    </a:lnTo>
                    <a:lnTo>
                      <a:pt x="34" y="59"/>
                    </a:lnTo>
                    <a:lnTo>
                      <a:pt x="34" y="57"/>
                    </a:lnTo>
                    <a:lnTo>
                      <a:pt x="32" y="57"/>
                    </a:lnTo>
                    <a:lnTo>
                      <a:pt x="32" y="56"/>
                    </a:lnTo>
                    <a:lnTo>
                      <a:pt x="32" y="54"/>
                    </a:lnTo>
                    <a:lnTo>
                      <a:pt x="32" y="52"/>
                    </a:lnTo>
                    <a:lnTo>
                      <a:pt x="32" y="51"/>
                    </a:lnTo>
                    <a:lnTo>
                      <a:pt x="31" y="51"/>
                    </a:lnTo>
                    <a:lnTo>
                      <a:pt x="32" y="49"/>
                    </a:lnTo>
                    <a:lnTo>
                      <a:pt x="32" y="47"/>
                    </a:lnTo>
                    <a:lnTo>
                      <a:pt x="31" y="47"/>
                    </a:lnTo>
                    <a:lnTo>
                      <a:pt x="31" y="46"/>
                    </a:lnTo>
                    <a:lnTo>
                      <a:pt x="32" y="46"/>
                    </a:lnTo>
                    <a:lnTo>
                      <a:pt x="31" y="44"/>
                    </a:lnTo>
                    <a:lnTo>
                      <a:pt x="32" y="42"/>
                    </a:lnTo>
                    <a:lnTo>
                      <a:pt x="34" y="42"/>
                    </a:lnTo>
                    <a:lnTo>
                      <a:pt x="36" y="44"/>
                    </a:lnTo>
                    <a:lnTo>
                      <a:pt x="36" y="42"/>
                    </a:lnTo>
                    <a:lnTo>
                      <a:pt x="38" y="42"/>
                    </a:lnTo>
                    <a:lnTo>
                      <a:pt x="39" y="42"/>
                    </a:lnTo>
                    <a:lnTo>
                      <a:pt x="39" y="44"/>
                    </a:lnTo>
                    <a:lnTo>
                      <a:pt x="41" y="44"/>
                    </a:lnTo>
                    <a:lnTo>
                      <a:pt x="43" y="42"/>
                    </a:lnTo>
                    <a:lnTo>
                      <a:pt x="43" y="44"/>
                    </a:lnTo>
                    <a:lnTo>
                      <a:pt x="44" y="44"/>
                    </a:lnTo>
                    <a:lnTo>
                      <a:pt x="46" y="44"/>
                    </a:lnTo>
                    <a:lnTo>
                      <a:pt x="46" y="42"/>
                    </a:lnTo>
                    <a:lnTo>
                      <a:pt x="48" y="42"/>
                    </a:lnTo>
                    <a:lnTo>
                      <a:pt x="48" y="40"/>
                    </a:lnTo>
                    <a:lnTo>
                      <a:pt x="49" y="39"/>
                    </a:lnTo>
                    <a:lnTo>
                      <a:pt x="49" y="37"/>
                    </a:lnTo>
                    <a:lnTo>
                      <a:pt x="51" y="37"/>
                    </a:lnTo>
                    <a:lnTo>
                      <a:pt x="51" y="35"/>
                    </a:lnTo>
                    <a:lnTo>
                      <a:pt x="53" y="35"/>
                    </a:lnTo>
                    <a:lnTo>
                      <a:pt x="53" y="34"/>
                    </a:lnTo>
                    <a:lnTo>
                      <a:pt x="55" y="34"/>
                    </a:lnTo>
                    <a:lnTo>
                      <a:pt x="56" y="34"/>
                    </a:lnTo>
                    <a:lnTo>
                      <a:pt x="56" y="32"/>
                    </a:lnTo>
                    <a:lnTo>
                      <a:pt x="56" y="34"/>
                    </a:lnTo>
                    <a:lnTo>
                      <a:pt x="56" y="35"/>
                    </a:lnTo>
                    <a:lnTo>
                      <a:pt x="58" y="35"/>
                    </a:lnTo>
                    <a:lnTo>
                      <a:pt x="58" y="37"/>
                    </a:lnTo>
                    <a:lnTo>
                      <a:pt x="60" y="37"/>
                    </a:lnTo>
                    <a:lnTo>
                      <a:pt x="60" y="39"/>
                    </a:lnTo>
                    <a:lnTo>
                      <a:pt x="61" y="39"/>
                    </a:lnTo>
                    <a:lnTo>
                      <a:pt x="61" y="37"/>
                    </a:lnTo>
                    <a:lnTo>
                      <a:pt x="61" y="39"/>
                    </a:lnTo>
                    <a:lnTo>
                      <a:pt x="63" y="39"/>
                    </a:lnTo>
                    <a:lnTo>
                      <a:pt x="63" y="40"/>
                    </a:lnTo>
                    <a:lnTo>
                      <a:pt x="65" y="40"/>
                    </a:lnTo>
                    <a:lnTo>
                      <a:pt x="66" y="40"/>
                    </a:lnTo>
                    <a:lnTo>
                      <a:pt x="65" y="39"/>
                    </a:lnTo>
                    <a:lnTo>
                      <a:pt x="66" y="37"/>
                    </a:lnTo>
                    <a:lnTo>
                      <a:pt x="65" y="37"/>
                    </a:lnTo>
                    <a:lnTo>
                      <a:pt x="66" y="37"/>
                    </a:lnTo>
                    <a:lnTo>
                      <a:pt x="66" y="35"/>
                    </a:lnTo>
                    <a:lnTo>
                      <a:pt x="68" y="35"/>
                    </a:lnTo>
                    <a:lnTo>
                      <a:pt x="70" y="35"/>
                    </a:lnTo>
                    <a:lnTo>
                      <a:pt x="72" y="34"/>
                    </a:lnTo>
                    <a:lnTo>
                      <a:pt x="73" y="34"/>
                    </a:lnTo>
                    <a:lnTo>
                      <a:pt x="73" y="32"/>
                    </a:lnTo>
                    <a:lnTo>
                      <a:pt x="75" y="32"/>
                    </a:lnTo>
                    <a:lnTo>
                      <a:pt x="77" y="32"/>
                    </a:lnTo>
                    <a:lnTo>
                      <a:pt x="77" y="30"/>
                    </a:lnTo>
                    <a:lnTo>
                      <a:pt x="78" y="30"/>
                    </a:lnTo>
                    <a:lnTo>
                      <a:pt x="78" y="29"/>
                    </a:lnTo>
                    <a:lnTo>
                      <a:pt x="78" y="27"/>
                    </a:lnTo>
                    <a:lnTo>
                      <a:pt x="78" y="29"/>
                    </a:lnTo>
                    <a:lnTo>
                      <a:pt x="78" y="27"/>
                    </a:lnTo>
                    <a:lnTo>
                      <a:pt x="80" y="27"/>
                    </a:lnTo>
                    <a:lnTo>
                      <a:pt x="82" y="27"/>
                    </a:lnTo>
                    <a:lnTo>
                      <a:pt x="83" y="27"/>
                    </a:lnTo>
                    <a:lnTo>
                      <a:pt x="85" y="27"/>
                    </a:lnTo>
                    <a:lnTo>
                      <a:pt x="85" y="25"/>
                    </a:lnTo>
                    <a:lnTo>
                      <a:pt x="85" y="23"/>
                    </a:lnTo>
                    <a:lnTo>
                      <a:pt x="85" y="22"/>
                    </a:lnTo>
                    <a:lnTo>
                      <a:pt x="83" y="22"/>
                    </a:lnTo>
                    <a:lnTo>
                      <a:pt x="85" y="22"/>
                    </a:lnTo>
                    <a:lnTo>
                      <a:pt x="85" y="20"/>
                    </a:lnTo>
                    <a:lnTo>
                      <a:pt x="85" y="18"/>
                    </a:lnTo>
                    <a:lnTo>
                      <a:pt x="87" y="18"/>
                    </a:lnTo>
                    <a:lnTo>
                      <a:pt x="87" y="17"/>
                    </a:lnTo>
                    <a:lnTo>
                      <a:pt x="87" y="15"/>
                    </a:lnTo>
                    <a:lnTo>
                      <a:pt x="85" y="15"/>
                    </a:lnTo>
                    <a:lnTo>
                      <a:pt x="87" y="15"/>
                    </a:lnTo>
                    <a:lnTo>
                      <a:pt x="87" y="17"/>
                    </a:lnTo>
                    <a:lnTo>
                      <a:pt x="89" y="17"/>
                    </a:lnTo>
                    <a:lnTo>
                      <a:pt x="89" y="15"/>
                    </a:lnTo>
                    <a:lnTo>
                      <a:pt x="90" y="15"/>
                    </a:lnTo>
                    <a:lnTo>
                      <a:pt x="90" y="13"/>
                    </a:lnTo>
                    <a:lnTo>
                      <a:pt x="89" y="13"/>
                    </a:lnTo>
                    <a:lnTo>
                      <a:pt x="89" y="11"/>
                    </a:lnTo>
                    <a:lnTo>
                      <a:pt x="90" y="11"/>
                    </a:lnTo>
                    <a:lnTo>
                      <a:pt x="90" y="10"/>
                    </a:lnTo>
                    <a:lnTo>
                      <a:pt x="92" y="10"/>
                    </a:lnTo>
                    <a:lnTo>
                      <a:pt x="92" y="8"/>
                    </a:lnTo>
                    <a:lnTo>
                      <a:pt x="94" y="10"/>
                    </a:lnTo>
                    <a:lnTo>
                      <a:pt x="94" y="8"/>
                    </a:lnTo>
                    <a:lnTo>
                      <a:pt x="94" y="6"/>
                    </a:lnTo>
                    <a:lnTo>
                      <a:pt x="95" y="6"/>
                    </a:lnTo>
                    <a:lnTo>
                      <a:pt x="97" y="6"/>
                    </a:lnTo>
                    <a:lnTo>
                      <a:pt x="99" y="6"/>
                    </a:lnTo>
                    <a:lnTo>
                      <a:pt x="99" y="8"/>
                    </a:lnTo>
                    <a:lnTo>
                      <a:pt x="99" y="10"/>
                    </a:lnTo>
                    <a:lnTo>
                      <a:pt x="99" y="8"/>
                    </a:lnTo>
                    <a:lnTo>
                      <a:pt x="99" y="10"/>
                    </a:lnTo>
                    <a:lnTo>
                      <a:pt x="100" y="10"/>
                    </a:lnTo>
                    <a:lnTo>
                      <a:pt x="99" y="10"/>
                    </a:lnTo>
                    <a:lnTo>
                      <a:pt x="100" y="10"/>
                    </a:lnTo>
                    <a:lnTo>
                      <a:pt x="100" y="11"/>
                    </a:lnTo>
                    <a:lnTo>
                      <a:pt x="102" y="11"/>
                    </a:lnTo>
                    <a:lnTo>
                      <a:pt x="104" y="11"/>
                    </a:lnTo>
                    <a:lnTo>
                      <a:pt x="106" y="11"/>
                    </a:lnTo>
                    <a:lnTo>
                      <a:pt x="106" y="13"/>
                    </a:lnTo>
                    <a:lnTo>
                      <a:pt x="107" y="11"/>
                    </a:lnTo>
                    <a:lnTo>
                      <a:pt x="107" y="13"/>
                    </a:lnTo>
                    <a:lnTo>
                      <a:pt x="109" y="13"/>
                    </a:lnTo>
                    <a:lnTo>
                      <a:pt x="111" y="13"/>
                    </a:lnTo>
                    <a:lnTo>
                      <a:pt x="111" y="11"/>
                    </a:lnTo>
                    <a:lnTo>
                      <a:pt x="112" y="11"/>
                    </a:lnTo>
                    <a:lnTo>
                      <a:pt x="112" y="10"/>
                    </a:lnTo>
                    <a:lnTo>
                      <a:pt x="114" y="11"/>
                    </a:lnTo>
                    <a:lnTo>
                      <a:pt x="112" y="11"/>
                    </a:lnTo>
                    <a:lnTo>
                      <a:pt x="114" y="11"/>
                    </a:lnTo>
                    <a:lnTo>
                      <a:pt x="116" y="11"/>
                    </a:lnTo>
                    <a:lnTo>
                      <a:pt x="116" y="10"/>
                    </a:lnTo>
                    <a:lnTo>
                      <a:pt x="117" y="8"/>
                    </a:lnTo>
                    <a:lnTo>
                      <a:pt x="117" y="10"/>
                    </a:lnTo>
                    <a:lnTo>
                      <a:pt x="119" y="10"/>
                    </a:lnTo>
                    <a:lnTo>
                      <a:pt x="121" y="10"/>
                    </a:lnTo>
                    <a:lnTo>
                      <a:pt x="121" y="8"/>
                    </a:lnTo>
                    <a:lnTo>
                      <a:pt x="123" y="8"/>
                    </a:lnTo>
                    <a:lnTo>
                      <a:pt x="123" y="10"/>
                    </a:lnTo>
                    <a:lnTo>
                      <a:pt x="124" y="10"/>
                    </a:lnTo>
                    <a:lnTo>
                      <a:pt x="124" y="8"/>
                    </a:lnTo>
                    <a:lnTo>
                      <a:pt x="126" y="10"/>
                    </a:lnTo>
                    <a:lnTo>
                      <a:pt x="126" y="8"/>
                    </a:lnTo>
                    <a:lnTo>
                      <a:pt x="128" y="10"/>
                    </a:lnTo>
                    <a:lnTo>
                      <a:pt x="128" y="8"/>
                    </a:lnTo>
                    <a:lnTo>
                      <a:pt x="129" y="8"/>
                    </a:lnTo>
                    <a:lnTo>
                      <a:pt x="131" y="8"/>
                    </a:lnTo>
                    <a:lnTo>
                      <a:pt x="133" y="6"/>
                    </a:lnTo>
                    <a:lnTo>
                      <a:pt x="134" y="6"/>
                    </a:lnTo>
                    <a:lnTo>
                      <a:pt x="134" y="5"/>
                    </a:lnTo>
                    <a:lnTo>
                      <a:pt x="136" y="5"/>
                    </a:lnTo>
                    <a:lnTo>
                      <a:pt x="138" y="5"/>
                    </a:lnTo>
                    <a:lnTo>
                      <a:pt x="138" y="3"/>
                    </a:lnTo>
                    <a:lnTo>
                      <a:pt x="140" y="3"/>
                    </a:lnTo>
                    <a:lnTo>
                      <a:pt x="140" y="1"/>
                    </a:lnTo>
                    <a:lnTo>
                      <a:pt x="141" y="1"/>
                    </a:lnTo>
                    <a:lnTo>
                      <a:pt x="140" y="1"/>
                    </a:lnTo>
                    <a:lnTo>
                      <a:pt x="141" y="1"/>
                    </a:lnTo>
                    <a:lnTo>
                      <a:pt x="141" y="0"/>
                    </a:lnTo>
                    <a:lnTo>
                      <a:pt x="143" y="0"/>
                    </a:lnTo>
                    <a:lnTo>
                      <a:pt x="143" y="1"/>
                    </a:lnTo>
                    <a:lnTo>
                      <a:pt x="145" y="1"/>
                    </a:lnTo>
                    <a:lnTo>
                      <a:pt x="145" y="0"/>
                    </a:lnTo>
                    <a:lnTo>
                      <a:pt x="146" y="0"/>
                    </a:lnTo>
                    <a:lnTo>
                      <a:pt x="146" y="1"/>
                    </a:lnTo>
                    <a:lnTo>
                      <a:pt x="146" y="0"/>
                    </a:lnTo>
                    <a:lnTo>
                      <a:pt x="148" y="0"/>
                    </a:lnTo>
                    <a:lnTo>
                      <a:pt x="150" y="0"/>
                    </a:lnTo>
                    <a:lnTo>
                      <a:pt x="150" y="1"/>
                    </a:lnTo>
                    <a:lnTo>
                      <a:pt x="151" y="1"/>
                    </a:lnTo>
                    <a:lnTo>
                      <a:pt x="153" y="1"/>
                    </a:lnTo>
                    <a:close/>
                    <a:moveTo>
                      <a:pt x="165" y="20"/>
                    </a:moveTo>
                    <a:lnTo>
                      <a:pt x="167" y="20"/>
                    </a:lnTo>
                    <a:lnTo>
                      <a:pt x="167" y="23"/>
                    </a:lnTo>
                    <a:lnTo>
                      <a:pt x="165" y="23"/>
                    </a:lnTo>
                    <a:lnTo>
                      <a:pt x="165" y="20"/>
                    </a:lnTo>
                    <a:close/>
                    <a:moveTo>
                      <a:pt x="134" y="105"/>
                    </a:moveTo>
                    <a:lnTo>
                      <a:pt x="134" y="107"/>
                    </a:lnTo>
                    <a:lnTo>
                      <a:pt x="134" y="108"/>
                    </a:lnTo>
                    <a:lnTo>
                      <a:pt x="133" y="108"/>
                    </a:lnTo>
                    <a:lnTo>
                      <a:pt x="133" y="107"/>
                    </a:lnTo>
                    <a:lnTo>
                      <a:pt x="134" y="105"/>
                    </a:lnTo>
                    <a:close/>
                    <a:moveTo>
                      <a:pt x="157" y="98"/>
                    </a:moveTo>
                    <a:lnTo>
                      <a:pt x="158" y="98"/>
                    </a:lnTo>
                    <a:lnTo>
                      <a:pt x="158" y="100"/>
                    </a:lnTo>
                    <a:lnTo>
                      <a:pt x="157" y="100"/>
                    </a:lnTo>
                    <a:lnTo>
                      <a:pt x="157" y="98"/>
                    </a:lnTo>
                    <a:close/>
                    <a:moveTo>
                      <a:pt x="136" y="91"/>
                    </a:moveTo>
                    <a:lnTo>
                      <a:pt x="136" y="93"/>
                    </a:lnTo>
                    <a:lnTo>
                      <a:pt x="136" y="91"/>
                    </a:lnTo>
                    <a:close/>
                    <a:moveTo>
                      <a:pt x="158" y="95"/>
                    </a:moveTo>
                    <a:lnTo>
                      <a:pt x="160" y="95"/>
                    </a:lnTo>
                    <a:lnTo>
                      <a:pt x="158" y="95"/>
                    </a:lnTo>
                    <a:close/>
                    <a:moveTo>
                      <a:pt x="148" y="27"/>
                    </a:moveTo>
                    <a:lnTo>
                      <a:pt x="150" y="27"/>
                    </a:lnTo>
                    <a:lnTo>
                      <a:pt x="148" y="27"/>
                    </a:lnTo>
                    <a:close/>
                    <a:moveTo>
                      <a:pt x="146" y="8"/>
                    </a:moveTo>
                    <a:lnTo>
                      <a:pt x="148" y="8"/>
                    </a:lnTo>
                    <a:lnTo>
                      <a:pt x="146" y="8"/>
                    </a:lnTo>
                    <a:close/>
                    <a:moveTo>
                      <a:pt x="134" y="105"/>
                    </a:moveTo>
                    <a:lnTo>
                      <a:pt x="136" y="105"/>
                    </a:lnTo>
                    <a:lnTo>
                      <a:pt x="134" y="105"/>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10" name="Freeform 44">
                <a:extLst>
                  <a:ext uri="{FF2B5EF4-FFF2-40B4-BE49-F238E27FC236}">
                    <a16:creationId xmlns:a16="http://schemas.microsoft.com/office/drawing/2014/main" id="{DBAE8043-3AF7-DB74-AC89-8C2599872D3C}"/>
                  </a:ext>
                </a:extLst>
              </p:cNvPr>
              <p:cNvSpPr>
                <a:spLocks noEditPoints="1"/>
              </p:cNvSpPr>
              <p:nvPr/>
            </p:nvSpPr>
            <p:spPr bwMode="auto">
              <a:xfrm>
                <a:off x="5202238" y="1933575"/>
                <a:ext cx="317500" cy="131763"/>
              </a:xfrm>
              <a:custGeom>
                <a:avLst/>
                <a:gdLst>
                  <a:gd name="T0" fmla="*/ 193 w 200"/>
                  <a:gd name="T1" fmla="*/ 48 h 83"/>
                  <a:gd name="T2" fmla="*/ 192 w 200"/>
                  <a:gd name="T3" fmla="*/ 63 h 83"/>
                  <a:gd name="T4" fmla="*/ 183 w 200"/>
                  <a:gd name="T5" fmla="*/ 70 h 83"/>
                  <a:gd name="T6" fmla="*/ 175 w 200"/>
                  <a:gd name="T7" fmla="*/ 83 h 83"/>
                  <a:gd name="T8" fmla="*/ 163 w 200"/>
                  <a:gd name="T9" fmla="*/ 68 h 83"/>
                  <a:gd name="T10" fmla="*/ 159 w 200"/>
                  <a:gd name="T11" fmla="*/ 54 h 83"/>
                  <a:gd name="T12" fmla="*/ 166 w 200"/>
                  <a:gd name="T13" fmla="*/ 43 h 83"/>
                  <a:gd name="T14" fmla="*/ 169 w 200"/>
                  <a:gd name="T15" fmla="*/ 46 h 83"/>
                  <a:gd name="T16" fmla="*/ 163 w 200"/>
                  <a:gd name="T17" fmla="*/ 43 h 83"/>
                  <a:gd name="T18" fmla="*/ 158 w 200"/>
                  <a:gd name="T19" fmla="*/ 41 h 83"/>
                  <a:gd name="T20" fmla="*/ 154 w 200"/>
                  <a:gd name="T21" fmla="*/ 41 h 83"/>
                  <a:gd name="T22" fmla="*/ 147 w 200"/>
                  <a:gd name="T23" fmla="*/ 32 h 83"/>
                  <a:gd name="T24" fmla="*/ 134 w 200"/>
                  <a:gd name="T25" fmla="*/ 22 h 83"/>
                  <a:gd name="T26" fmla="*/ 117 w 200"/>
                  <a:gd name="T27" fmla="*/ 24 h 83"/>
                  <a:gd name="T28" fmla="*/ 108 w 200"/>
                  <a:gd name="T29" fmla="*/ 34 h 83"/>
                  <a:gd name="T30" fmla="*/ 101 w 200"/>
                  <a:gd name="T31" fmla="*/ 43 h 83"/>
                  <a:gd name="T32" fmla="*/ 88 w 200"/>
                  <a:gd name="T33" fmla="*/ 56 h 83"/>
                  <a:gd name="T34" fmla="*/ 103 w 200"/>
                  <a:gd name="T35" fmla="*/ 71 h 83"/>
                  <a:gd name="T36" fmla="*/ 90 w 200"/>
                  <a:gd name="T37" fmla="*/ 82 h 83"/>
                  <a:gd name="T38" fmla="*/ 73 w 200"/>
                  <a:gd name="T39" fmla="*/ 80 h 83"/>
                  <a:gd name="T40" fmla="*/ 68 w 200"/>
                  <a:gd name="T41" fmla="*/ 63 h 83"/>
                  <a:gd name="T42" fmla="*/ 62 w 200"/>
                  <a:gd name="T43" fmla="*/ 66 h 83"/>
                  <a:gd name="T44" fmla="*/ 51 w 200"/>
                  <a:gd name="T45" fmla="*/ 65 h 83"/>
                  <a:gd name="T46" fmla="*/ 45 w 200"/>
                  <a:gd name="T47" fmla="*/ 54 h 83"/>
                  <a:gd name="T48" fmla="*/ 37 w 200"/>
                  <a:gd name="T49" fmla="*/ 51 h 83"/>
                  <a:gd name="T50" fmla="*/ 28 w 200"/>
                  <a:gd name="T51" fmla="*/ 46 h 83"/>
                  <a:gd name="T52" fmla="*/ 20 w 200"/>
                  <a:gd name="T53" fmla="*/ 46 h 83"/>
                  <a:gd name="T54" fmla="*/ 6 w 200"/>
                  <a:gd name="T55" fmla="*/ 56 h 83"/>
                  <a:gd name="T56" fmla="*/ 6 w 200"/>
                  <a:gd name="T57" fmla="*/ 43 h 83"/>
                  <a:gd name="T58" fmla="*/ 10 w 200"/>
                  <a:gd name="T59" fmla="*/ 27 h 83"/>
                  <a:gd name="T60" fmla="*/ 6 w 200"/>
                  <a:gd name="T61" fmla="*/ 3 h 83"/>
                  <a:gd name="T62" fmla="*/ 20 w 200"/>
                  <a:gd name="T63" fmla="*/ 7 h 83"/>
                  <a:gd name="T64" fmla="*/ 25 w 200"/>
                  <a:gd name="T65" fmla="*/ 17 h 83"/>
                  <a:gd name="T66" fmla="*/ 28 w 200"/>
                  <a:gd name="T67" fmla="*/ 24 h 83"/>
                  <a:gd name="T68" fmla="*/ 42 w 200"/>
                  <a:gd name="T69" fmla="*/ 24 h 83"/>
                  <a:gd name="T70" fmla="*/ 40 w 200"/>
                  <a:gd name="T71" fmla="*/ 19 h 83"/>
                  <a:gd name="T72" fmla="*/ 54 w 200"/>
                  <a:gd name="T73" fmla="*/ 29 h 83"/>
                  <a:gd name="T74" fmla="*/ 74 w 200"/>
                  <a:gd name="T75" fmla="*/ 27 h 83"/>
                  <a:gd name="T76" fmla="*/ 93 w 200"/>
                  <a:gd name="T77" fmla="*/ 17 h 83"/>
                  <a:gd name="T78" fmla="*/ 107 w 200"/>
                  <a:gd name="T79" fmla="*/ 9 h 83"/>
                  <a:gd name="T80" fmla="*/ 115 w 200"/>
                  <a:gd name="T81" fmla="*/ 3 h 83"/>
                  <a:gd name="T82" fmla="*/ 129 w 200"/>
                  <a:gd name="T83" fmla="*/ 3 h 83"/>
                  <a:gd name="T84" fmla="*/ 139 w 200"/>
                  <a:gd name="T85" fmla="*/ 7 h 83"/>
                  <a:gd name="T86" fmla="*/ 154 w 200"/>
                  <a:gd name="T87" fmla="*/ 9 h 83"/>
                  <a:gd name="T88" fmla="*/ 171 w 200"/>
                  <a:gd name="T89" fmla="*/ 17 h 83"/>
                  <a:gd name="T90" fmla="*/ 183 w 200"/>
                  <a:gd name="T91" fmla="*/ 29 h 83"/>
                  <a:gd name="T92" fmla="*/ 45 w 200"/>
                  <a:gd name="T93" fmla="*/ 73 h 83"/>
                  <a:gd name="T94" fmla="*/ 40 w 200"/>
                  <a:gd name="T95" fmla="*/ 77 h 83"/>
                  <a:gd name="T96" fmla="*/ 141 w 200"/>
                  <a:gd name="T97" fmla="*/ 44 h 83"/>
                  <a:gd name="T98" fmla="*/ 139 w 200"/>
                  <a:gd name="T99" fmla="*/ 44 h 83"/>
                  <a:gd name="T100" fmla="*/ 61 w 200"/>
                  <a:gd name="T101" fmla="*/ 75 h 83"/>
                  <a:gd name="T102" fmla="*/ 30 w 200"/>
                  <a:gd name="T103" fmla="*/ 12 h 83"/>
                  <a:gd name="T104" fmla="*/ 30 w 200"/>
                  <a:gd name="T105" fmla="*/ 15 h 83"/>
                  <a:gd name="T106" fmla="*/ 20 w 200"/>
                  <a:gd name="T107" fmla="*/ 48 h 83"/>
                  <a:gd name="T108" fmla="*/ 44 w 200"/>
                  <a:gd name="T109" fmla="*/ 83 h 83"/>
                  <a:gd name="T110" fmla="*/ 64 w 200"/>
                  <a:gd name="T111" fmla="*/ 66 h 83"/>
                  <a:gd name="T112" fmla="*/ 44 w 200"/>
                  <a:gd name="T113" fmla="*/ 51 h 83"/>
                  <a:gd name="T114" fmla="*/ 118 w 200"/>
                  <a:gd name="T115" fmla="*/ 31 h 83"/>
                  <a:gd name="T116" fmla="*/ 64 w 200"/>
                  <a:gd name="T117" fmla="*/ 63 h 83"/>
                  <a:gd name="T118" fmla="*/ 49 w 200"/>
                  <a:gd name="T119" fmla="*/ 66 h 83"/>
                  <a:gd name="T120" fmla="*/ 51 w 200"/>
                  <a:gd name="T121" fmla="*/ 65 h 83"/>
                  <a:gd name="T122" fmla="*/ 137 w 200"/>
                  <a:gd name="T123" fmla="*/ 41 h 83"/>
                  <a:gd name="T124" fmla="*/ 27 w 200"/>
                  <a:gd name="T125" fmla="*/ 1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0" h="83">
                    <a:moveTo>
                      <a:pt x="192" y="34"/>
                    </a:moveTo>
                    <a:lnTo>
                      <a:pt x="192" y="36"/>
                    </a:lnTo>
                    <a:lnTo>
                      <a:pt x="192" y="34"/>
                    </a:lnTo>
                    <a:lnTo>
                      <a:pt x="190" y="34"/>
                    </a:lnTo>
                    <a:lnTo>
                      <a:pt x="190" y="36"/>
                    </a:lnTo>
                    <a:lnTo>
                      <a:pt x="190" y="37"/>
                    </a:lnTo>
                    <a:lnTo>
                      <a:pt x="188" y="37"/>
                    </a:lnTo>
                    <a:lnTo>
                      <a:pt x="190" y="37"/>
                    </a:lnTo>
                    <a:lnTo>
                      <a:pt x="190" y="39"/>
                    </a:lnTo>
                    <a:lnTo>
                      <a:pt x="188" y="39"/>
                    </a:lnTo>
                    <a:lnTo>
                      <a:pt x="188" y="41"/>
                    </a:lnTo>
                    <a:lnTo>
                      <a:pt x="190" y="41"/>
                    </a:lnTo>
                    <a:lnTo>
                      <a:pt x="192" y="43"/>
                    </a:lnTo>
                    <a:lnTo>
                      <a:pt x="192" y="44"/>
                    </a:lnTo>
                    <a:lnTo>
                      <a:pt x="192" y="46"/>
                    </a:lnTo>
                    <a:lnTo>
                      <a:pt x="193" y="48"/>
                    </a:lnTo>
                    <a:lnTo>
                      <a:pt x="195" y="48"/>
                    </a:lnTo>
                    <a:lnTo>
                      <a:pt x="195" y="49"/>
                    </a:lnTo>
                    <a:lnTo>
                      <a:pt x="195" y="51"/>
                    </a:lnTo>
                    <a:lnTo>
                      <a:pt x="197" y="53"/>
                    </a:lnTo>
                    <a:lnTo>
                      <a:pt x="197" y="54"/>
                    </a:lnTo>
                    <a:lnTo>
                      <a:pt x="197" y="56"/>
                    </a:lnTo>
                    <a:lnTo>
                      <a:pt x="198" y="58"/>
                    </a:lnTo>
                    <a:lnTo>
                      <a:pt x="200" y="58"/>
                    </a:lnTo>
                    <a:lnTo>
                      <a:pt x="198" y="58"/>
                    </a:lnTo>
                    <a:lnTo>
                      <a:pt x="198" y="60"/>
                    </a:lnTo>
                    <a:lnTo>
                      <a:pt x="197" y="60"/>
                    </a:lnTo>
                    <a:lnTo>
                      <a:pt x="195" y="60"/>
                    </a:lnTo>
                    <a:lnTo>
                      <a:pt x="193" y="60"/>
                    </a:lnTo>
                    <a:lnTo>
                      <a:pt x="193" y="61"/>
                    </a:lnTo>
                    <a:lnTo>
                      <a:pt x="192" y="61"/>
                    </a:lnTo>
                    <a:lnTo>
                      <a:pt x="192" y="63"/>
                    </a:lnTo>
                    <a:lnTo>
                      <a:pt x="193" y="65"/>
                    </a:lnTo>
                    <a:lnTo>
                      <a:pt x="192" y="65"/>
                    </a:lnTo>
                    <a:lnTo>
                      <a:pt x="190" y="65"/>
                    </a:lnTo>
                    <a:lnTo>
                      <a:pt x="192" y="65"/>
                    </a:lnTo>
                    <a:lnTo>
                      <a:pt x="190" y="65"/>
                    </a:lnTo>
                    <a:lnTo>
                      <a:pt x="190" y="66"/>
                    </a:lnTo>
                    <a:lnTo>
                      <a:pt x="190" y="68"/>
                    </a:lnTo>
                    <a:lnTo>
                      <a:pt x="188" y="68"/>
                    </a:lnTo>
                    <a:lnTo>
                      <a:pt x="188" y="70"/>
                    </a:lnTo>
                    <a:lnTo>
                      <a:pt x="188" y="71"/>
                    </a:lnTo>
                    <a:lnTo>
                      <a:pt x="186" y="71"/>
                    </a:lnTo>
                    <a:lnTo>
                      <a:pt x="186" y="73"/>
                    </a:lnTo>
                    <a:lnTo>
                      <a:pt x="185" y="73"/>
                    </a:lnTo>
                    <a:lnTo>
                      <a:pt x="183" y="73"/>
                    </a:lnTo>
                    <a:lnTo>
                      <a:pt x="183" y="71"/>
                    </a:lnTo>
                    <a:lnTo>
                      <a:pt x="183" y="70"/>
                    </a:lnTo>
                    <a:lnTo>
                      <a:pt x="181" y="68"/>
                    </a:lnTo>
                    <a:lnTo>
                      <a:pt x="180" y="68"/>
                    </a:lnTo>
                    <a:lnTo>
                      <a:pt x="180" y="66"/>
                    </a:lnTo>
                    <a:lnTo>
                      <a:pt x="180" y="68"/>
                    </a:lnTo>
                    <a:lnTo>
                      <a:pt x="178" y="68"/>
                    </a:lnTo>
                    <a:lnTo>
                      <a:pt x="180" y="70"/>
                    </a:lnTo>
                    <a:lnTo>
                      <a:pt x="178" y="70"/>
                    </a:lnTo>
                    <a:lnTo>
                      <a:pt x="180" y="70"/>
                    </a:lnTo>
                    <a:lnTo>
                      <a:pt x="180" y="71"/>
                    </a:lnTo>
                    <a:lnTo>
                      <a:pt x="180" y="73"/>
                    </a:lnTo>
                    <a:lnTo>
                      <a:pt x="180" y="75"/>
                    </a:lnTo>
                    <a:lnTo>
                      <a:pt x="178" y="75"/>
                    </a:lnTo>
                    <a:lnTo>
                      <a:pt x="176" y="75"/>
                    </a:lnTo>
                    <a:lnTo>
                      <a:pt x="175" y="78"/>
                    </a:lnTo>
                    <a:lnTo>
                      <a:pt x="175" y="80"/>
                    </a:lnTo>
                    <a:lnTo>
                      <a:pt x="175" y="83"/>
                    </a:lnTo>
                    <a:lnTo>
                      <a:pt x="173" y="83"/>
                    </a:lnTo>
                    <a:lnTo>
                      <a:pt x="173" y="82"/>
                    </a:lnTo>
                    <a:lnTo>
                      <a:pt x="171" y="82"/>
                    </a:lnTo>
                    <a:lnTo>
                      <a:pt x="169" y="80"/>
                    </a:lnTo>
                    <a:lnTo>
                      <a:pt x="169" y="78"/>
                    </a:lnTo>
                    <a:lnTo>
                      <a:pt x="169" y="77"/>
                    </a:lnTo>
                    <a:lnTo>
                      <a:pt x="168" y="77"/>
                    </a:lnTo>
                    <a:lnTo>
                      <a:pt x="168" y="75"/>
                    </a:lnTo>
                    <a:lnTo>
                      <a:pt x="166" y="75"/>
                    </a:lnTo>
                    <a:lnTo>
                      <a:pt x="166" y="73"/>
                    </a:lnTo>
                    <a:lnTo>
                      <a:pt x="164" y="73"/>
                    </a:lnTo>
                    <a:lnTo>
                      <a:pt x="164" y="71"/>
                    </a:lnTo>
                    <a:lnTo>
                      <a:pt x="163" y="71"/>
                    </a:lnTo>
                    <a:lnTo>
                      <a:pt x="164" y="70"/>
                    </a:lnTo>
                    <a:lnTo>
                      <a:pt x="163" y="70"/>
                    </a:lnTo>
                    <a:lnTo>
                      <a:pt x="163" y="68"/>
                    </a:lnTo>
                    <a:lnTo>
                      <a:pt x="161" y="68"/>
                    </a:lnTo>
                    <a:lnTo>
                      <a:pt x="161" y="66"/>
                    </a:lnTo>
                    <a:lnTo>
                      <a:pt x="161" y="65"/>
                    </a:lnTo>
                    <a:lnTo>
                      <a:pt x="159" y="65"/>
                    </a:lnTo>
                    <a:lnTo>
                      <a:pt x="159" y="63"/>
                    </a:lnTo>
                    <a:lnTo>
                      <a:pt x="159" y="61"/>
                    </a:lnTo>
                    <a:lnTo>
                      <a:pt x="158" y="61"/>
                    </a:lnTo>
                    <a:lnTo>
                      <a:pt x="158" y="60"/>
                    </a:lnTo>
                    <a:lnTo>
                      <a:pt x="156" y="60"/>
                    </a:lnTo>
                    <a:lnTo>
                      <a:pt x="156" y="58"/>
                    </a:lnTo>
                    <a:lnTo>
                      <a:pt x="156" y="56"/>
                    </a:lnTo>
                    <a:lnTo>
                      <a:pt x="156" y="54"/>
                    </a:lnTo>
                    <a:lnTo>
                      <a:pt x="156" y="53"/>
                    </a:lnTo>
                    <a:lnTo>
                      <a:pt x="156" y="54"/>
                    </a:lnTo>
                    <a:lnTo>
                      <a:pt x="158" y="54"/>
                    </a:lnTo>
                    <a:lnTo>
                      <a:pt x="159" y="54"/>
                    </a:lnTo>
                    <a:lnTo>
                      <a:pt x="161" y="54"/>
                    </a:lnTo>
                    <a:lnTo>
                      <a:pt x="161" y="53"/>
                    </a:lnTo>
                    <a:lnTo>
                      <a:pt x="163" y="53"/>
                    </a:lnTo>
                    <a:lnTo>
                      <a:pt x="163" y="51"/>
                    </a:lnTo>
                    <a:lnTo>
                      <a:pt x="161" y="51"/>
                    </a:lnTo>
                    <a:lnTo>
                      <a:pt x="161" y="49"/>
                    </a:lnTo>
                    <a:lnTo>
                      <a:pt x="159" y="49"/>
                    </a:lnTo>
                    <a:lnTo>
                      <a:pt x="159" y="48"/>
                    </a:lnTo>
                    <a:lnTo>
                      <a:pt x="161" y="48"/>
                    </a:lnTo>
                    <a:lnTo>
                      <a:pt x="161" y="46"/>
                    </a:lnTo>
                    <a:lnTo>
                      <a:pt x="163" y="48"/>
                    </a:lnTo>
                    <a:lnTo>
                      <a:pt x="164" y="48"/>
                    </a:lnTo>
                    <a:lnTo>
                      <a:pt x="164" y="46"/>
                    </a:lnTo>
                    <a:lnTo>
                      <a:pt x="164" y="44"/>
                    </a:lnTo>
                    <a:lnTo>
                      <a:pt x="164" y="43"/>
                    </a:lnTo>
                    <a:lnTo>
                      <a:pt x="166" y="43"/>
                    </a:lnTo>
                    <a:lnTo>
                      <a:pt x="166" y="44"/>
                    </a:lnTo>
                    <a:lnTo>
                      <a:pt x="168" y="46"/>
                    </a:lnTo>
                    <a:lnTo>
                      <a:pt x="169" y="48"/>
                    </a:lnTo>
                    <a:lnTo>
                      <a:pt x="169" y="49"/>
                    </a:lnTo>
                    <a:lnTo>
                      <a:pt x="171" y="49"/>
                    </a:lnTo>
                    <a:lnTo>
                      <a:pt x="173" y="49"/>
                    </a:lnTo>
                    <a:lnTo>
                      <a:pt x="175" y="49"/>
                    </a:lnTo>
                    <a:lnTo>
                      <a:pt x="175" y="51"/>
                    </a:lnTo>
                    <a:lnTo>
                      <a:pt x="176" y="53"/>
                    </a:lnTo>
                    <a:lnTo>
                      <a:pt x="176" y="51"/>
                    </a:lnTo>
                    <a:lnTo>
                      <a:pt x="175" y="51"/>
                    </a:lnTo>
                    <a:lnTo>
                      <a:pt x="175" y="49"/>
                    </a:lnTo>
                    <a:lnTo>
                      <a:pt x="173" y="49"/>
                    </a:lnTo>
                    <a:lnTo>
                      <a:pt x="171" y="48"/>
                    </a:lnTo>
                    <a:lnTo>
                      <a:pt x="169" y="48"/>
                    </a:lnTo>
                    <a:lnTo>
                      <a:pt x="169" y="46"/>
                    </a:lnTo>
                    <a:lnTo>
                      <a:pt x="168" y="46"/>
                    </a:lnTo>
                    <a:lnTo>
                      <a:pt x="168" y="44"/>
                    </a:lnTo>
                    <a:lnTo>
                      <a:pt x="168" y="43"/>
                    </a:lnTo>
                    <a:lnTo>
                      <a:pt x="168" y="41"/>
                    </a:lnTo>
                    <a:lnTo>
                      <a:pt x="166" y="41"/>
                    </a:lnTo>
                    <a:lnTo>
                      <a:pt x="166" y="43"/>
                    </a:lnTo>
                    <a:lnTo>
                      <a:pt x="168" y="43"/>
                    </a:lnTo>
                    <a:lnTo>
                      <a:pt x="166" y="43"/>
                    </a:lnTo>
                    <a:lnTo>
                      <a:pt x="166" y="41"/>
                    </a:lnTo>
                    <a:lnTo>
                      <a:pt x="164" y="41"/>
                    </a:lnTo>
                    <a:lnTo>
                      <a:pt x="164" y="43"/>
                    </a:lnTo>
                    <a:lnTo>
                      <a:pt x="163" y="43"/>
                    </a:lnTo>
                    <a:lnTo>
                      <a:pt x="163" y="44"/>
                    </a:lnTo>
                    <a:lnTo>
                      <a:pt x="161" y="44"/>
                    </a:lnTo>
                    <a:lnTo>
                      <a:pt x="161" y="43"/>
                    </a:lnTo>
                    <a:lnTo>
                      <a:pt x="163" y="43"/>
                    </a:lnTo>
                    <a:lnTo>
                      <a:pt x="163" y="41"/>
                    </a:lnTo>
                    <a:lnTo>
                      <a:pt x="163" y="39"/>
                    </a:lnTo>
                    <a:lnTo>
                      <a:pt x="163" y="41"/>
                    </a:lnTo>
                    <a:lnTo>
                      <a:pt x="163" y="39"/>
                    </a:lnTo>
                    <a:lnTo>
                      <a:pt x="163" y="37"/>
                    </a:lnTo>
                    <a:lnTo>
                      <a:pt x="163" y="39"/>
                    </a:lnTo>
                    <a:lnTo>
                      <a:pt x="163" y="41"/>
                    </a:lnTo>
                    <a:lnTo>
                      <a:pt x="163" y="43"/>
                    </a:lnTo>
                    <a:lnTo>
                      <a:pt x="161" y="41"/>
                    </a:lnTo>
                    <a:lnTo>
                      <a:pt x="161" y="43"/>
                    </a:lnTo>
                    <a:lnTo>
                      <a:pt x="159" y="43"/>
                    </a:lnTo>
                    <a:lnTo>
                      <a:pt x="159" y="41"/>
                    </a:lnTo>
                    <a:lnTo>
                      <a:pt x="158" y="41"/>
                    </a:lnTo>
                    <a:lnTo>
                      <a:pt x="159" y="41"/>
                    </a:lnTo>
                    <a:lnTo>
                      <a:pt x="158" y="43"/>
                    </a:lnTo>
                    <a:lnTo>
                      <a:pt x="158" y="41"/>
                    </a:lnTo>
                    <a:lnTo>
                      <a:pt x="158" y="39"/>
                    </a:lnTo>
                    <a:lnTo>
                      <a:pt x="158" y="37"/>
                    </a:lnTo>
                    <a:lnTo>
                      <a:pt x="158" y="39"/>
                    </a:lnTo>
                    <a:lnTo>
                      <a:pt x="156" y="37"/>
                    </a:lnTo>
                    <a:lnTo>
                      <a:pt x="156" y="39"/>
                    </a:lnTo>
                    <a:lnTo>
                      <a:pt x="158" y="41"/>
                    </a:lnTo>
                    <a:lnTo>
                      <a:pt x="158" y="43"/>
                    </a:lnTo>
                    <a:lnTo>
                      <a:pt x="158" y="44"/>
                    </a:lnTo>
                    <a:lnTo>
                      <a:pt x="158" y="46"/>
                    </a:lnTo>
                    <a:lnTo>
                      <a:pt x="156" y="44"/>
                    </a:lnTo>
                    <a:lnTo>
                      <a:pt x="154" y="43"/>
                    </a:lnTo>
                    <a:lnTo>
                      <a:pt x="156" y="43"/>
                    </a:lnTo>
                    <a:lnTo>
                      <a:pt x="154" y="43"/>
                    </a:lnTo>
                    <a:lnTo>
                      <a:pt x="154" y="41"/>
                    </a:lnTo>
                    <a:lnTo>
                      <a:pt x="154" y="43"/>
                    </a:lnTo>
                    <a:lnTo>
                      <a:pt x="154" y="41"/>
                    </a:lnTo>
                    <a:lnTo>
                      <a:pt x="152" y="41"/>
                    </a:lnTo>
                    <a:lnTo>
                      <a:pt x="154" y="41"/>
                    </a:lnTo>
                    <a:lnTo>
                      <a:pt x="152" y="39"/>
                    </a:lnTo>
                    <a:lnTo>
                      <a:pt x="154" y="39"/>
                    </a:lnTo>
                    <a:lnTo>
                      <a:pt x="152" y="39"/>
                    </a:lnTo>
                    <a:lnTo>
                      <a:pt x="152" y="37"/>
                    </a:lnTo>
                    <a:lnTo>
                      <a:pt x="154" y="37"/>
                    </a:lnTo>
                    <a:lnTo>
                      <a:pt x="152" y="37"/>
                    </a:lnTo>
                    <a:lnTo>
                      <a:pt x="152" y="36"/>
                    </a:lnTo>
                    <a:lnTo>
                      <a:pt x="152" y="34"/>
                    </a:lnTo>
                    <a:lnTo>
                      <a:pt x="152" y="36"/>
                    </a:lnTo>
                    <a:lnTo>
                      <a:pt x="152" y="34"/>
                    </a:lnTo>
                    <a:lnTo>
                      <a:pt x="151" y="34"/>
                    </a:lnTo>
                    <a:lnTo>
                      <a:pt x="149" y="34"/>
                    </a:lnTo>
                    <a:lnTo>
                      <a:pt x="149" y="32"/>
                    </a:lnTo>
                    <a:lnTo>
                      <a:pt x="147" y="32"/>
                    </a:lnTo>
                    <a:lnTo>
                      <a:pt x="147" y="31"/>
                    </a:lnTo>
                    <a:lnTo>
                      <a:pt x="146" y="31"/>
                    </a:lnTo>
                    <a:lnTo>
                      <a:pt x="144" y="31"/>
                    </a:lnTo>
                    <a:lnTo>
                      <a:pt x="146" y="31"/>
                    </a:lnTo>
                    <a:lnTo>
                      <a:pt x="144" y="29"/>
                    </a:lnTo>
                    <a:lnTo>
                      <a:pt x="142" y="29"/>
                    </a:lnTo>
                    <a:lnTo>
                      <a:pt x="141" y="29"/>
                    </a:lnTo>
                    <a:lnTo>
                      <a:pt x="141" y="27"/>
                    </a:lnTo>
                    <a:lnTo>
                      <a:pt x="141" y="26"/>
                    </a:lnTo>
                    <a:lnTo>
                      <a:pt x="139" y="26"/>
                    </a:lnTo>
                    <a:lnTo>
                      <a:pt x="137" y="26"/>
                    </a:lnTo>
                    <a:lnTo>
                      <a:pt x="137" y="24"/>
                    </a:lnTo>
                    <a:lnTo>
                      <a:pt x="135" y="24"/>
                    </a:lnTo>
                    <a:lnTo>
                      <a:pt x="134" y="24"/>
                    </a:lnTo>
                    <a:lnTo>
                      <a:pt x="132" y="22"/>
                    </a:lnTo>
                    <a:lnTo>
                      <a:pt x="134" y="22"/>
                    </a:lnTo>
                    <a:lnTo>
                      <a:pt x="134" y="20"/>
                    </a:lnTo>
                    <a:lnTo>
                      <a:pt x="132" y="20"/>
                    </a:lnTo>
                    <a:lnTo>
                      <a:pt x="134" y="20"/>
                    </a:lnTo>
                    <a:lnTo>
                      <a:pt x="134" y="22"/>
                    </a:lnTo>
                    <a:lnTo>
                      <a:pt x="132" y="22"/>
                    </a:lnTo>
                    <a:lnTo>
                      <a:pt x="130" y="22"/>
                    </a:lnTo>
                    <a:lnTo>
                      <a:pt x="129" y="22"/>
                    </a:lnTo>
                    <a:lnTo>
                      <a:pt x="127" y="22"/>
                    </a:lnTo>
                    <a:lnTo>
                      <a:pt x="125" y="22"/>
                    </a:lnTo>
                    <a:lnTo>
                      <a:pt x="124" y="22"/>
                    </a:lnTo>
                    <a:lnTo>
                      <a:pt x="122" y="22"/>
                    </a:lnTo>
                    <a:lnTo>
                      <a:pt x="120" y="22"/>
                    </a:lnTo>
                    <a:lnTo>
                      <a:pt x="120" y="24"/>
                    </a:lnTo>
                    <a:lnTo>
                      <a:pt x="118" y="24"/>
                    </a:lnTo>
                    <a:lnTo>
                      <a:pt x="118" y="26"/>
                    </a:lnTo>
                    <a:lnTo>
                      <a:pt x="117" y="24"/>
                    </a:lnTo>
                    <a:lnTo>
                      <a:pt x="117" y="22"/>
                    </a:lnTo>
                    <a:lnTo>
                      <a:pt x="117" y="24"/>
                    </a:lnTo>
                    <a:lnTo>
                      <a:pt x="117" y="26"/>
                    </a:lnTo>
                    <a:lnTo>
                      <a:pt x="117" y="27"/>
                    </a:lnTo>
                    <a:lnTo>
                      <a:pt x="117" y="26"/>
                    </a:lnTo>
                    <a:lnTo>
                      <a:pt x="115" y="26"/>
                    </a:lnTo>
                    <a:lnTo>
                      <a:pt x="115" y="27"/>
                    </a:lnTo>
                    <a:lnTo>
                      <a:pt x="113" y="26"/>
                    </a:lnTo>
                    <a:lnTo>
                      <a:pt x="113" y="27"/>
                    </a:lnTo>
                    <a:lnTo>
                      <a:pt x="112" y="27"/>
                    </a:lnTo>
                    <a:lnTo>
                      <a:pt x="112" y="29"/>
                    </a:lnTo>
                    <a:lnTo>
                      <a:pt x="110" y="29"/>
                    </a:lnTo>
                    <a:lnTo>
                      <a:pt x="110" y="31"/>
                    </a:lnTo>
                    <a:lnTo>
                      <a:pt x="112" y="32"/>
                    </a:lnTo>
                    <a:lnTo>
                      <a:pt x="110" y="34"/>
                    </a:lnTo>
                    <a:lnTo>
                      <a:pt x="108" y="34"/>
                    </a:lnTo>
                    <a:lnTo>
                      <a:pt x="108" y="36"/>
                    </a:lnTo>
                    <a:lnTo>
                      <a:pt x="110" y="36"/>
                    </a:lnTo>
                    <a:lnTo>
                      <a:pt x="112" y="36"/>
                    </a:lnTo>
                    <a:lnTo>
                      <a:pt x="112" y="34"/>
                    </a:lnTo>
                    <a:lnTo>
                      <a:pt x="113" y="34"/>
                    </a:lnTo>
                    <a:lnTo>
                      <a:pt x="113" y="36"/>
                    </a:lnTo>
                    <a:lnTo>
                      <a:pt x="112" y="36"/>
                    </a:lnTo>
                    <a:lnTo>
                      <a:pt x="110" y="37"/>
                    </a:lnTo>
                    <a:lnTo>
                      <a:pt x="108" y="37"/>
                    </a:lnTo>
                    <a:lnTo>
                      <a:pt x="107" y="37"/>
                    </a:lnTo>
                    <a:lnTo>
                      <a:pt x="107" y="39"/>
                    </a:lnTo>
                    <a:lnTo>
                      <a:pt x="105" y="39"/>
                    </a:lnTo>
                    <a:lnTo>
                      <a:pt x="105" y="41"/>
                    </a:lnTo>
                    <a:lnTo>
                      <a:pt x="103" y="41"/>
                    </a:lnTo>
                    <a:lnTo>
                      <a:pt x="103" y="43"/>
                    </a:lnTo>
                    <a:lnTo>
                      <a:pt x="101" y="43"/>
                    </a:lnTo>
                    <a:lnTo>
                      <a:pt x="100" y="43"/>
                    </a:lnTo>
                    <a:lnTo>
                      <a:pt x="100" y="44"/>
                    </a:lnTo>
                    <a:lnTo>
                      <a:pt x="98" y="44"/>
                    </a:lnTo>
                    <a:lnTo>
                      <a:pt x="96" y="46"/>
                    </a:lnTo>
                    <a:lnTo>
                      <a:pt x="95" y="46"/>
                    </a:lnTo>
                    <a:lnTo>
                      <a:pt x="93" y="46"/>
                    </a:lnTo>
                    <a:lnTo>
                      <a:pt x="91" y="46"/>
                    </a:lnTo>
                    <a:lnTo>
                      <a:pt x="90" y="48"/>
                    </a:lnTo>
                    <a:lnTo>
                      <a:pt x="88" y="48"/>
                    </a:lnTo>
                    <a:lnTo>
                      <a:pt x="88" y="49"/>
                    </a:lnTo>
                    <a:lnTo>
                      <a:pt x="86" y="49"/>
                    </a:lnTo>
                    <a:lnTo>
                      <a:pt x="86" y="51"/>
                    </a:lnTo>
                    <a:lnTo>
                      <a:pt x="86" y="53"/>
                    </a:lnTo>
                    <a:lnTo>
                      <a:pt x="86" y="54"/>
                    </a:lnTo>
                    <a:lnTo>
                      <a:pt x="88" y="54"/>
                    </a:lnTo>
                    <a:lnTo>
                      <a:pt x="88" y="56"/>
                    </a:lnTo>
                    <a:lnTo>
                      <a:pt x="90" y="56"/>
                    </a:lnTo>
                    <a:lnTo>
                      <a:pt x="91" y="56"/>
                    </a:lnTo>
                    <a:lnTo>
                      <a:pt x="91" y="58"/>
                    </a:lnTo>
                    <a:lnTo>
                      <a:pt x="91" y="60"/>
                    </a:lnTo>
                    <a:lnTo>
                      <a:pt x="93" y="61"/>
                    </a:lnTo>
                    <a:lnTo>
                      <a:pt x="95" y="63"/>
                    </a:lnTo>
                    <a:lnTo>
                      <a:pt x="96" y="63"/>
                    </a:lnTo>
                    <a:lnTo>
                      <a:pt x="96" y="65"/>
                    </a:lnTo>
                    <a:lnTo>
                      <a:pt x="98" y="65"/>
                    </a:lnTo>
                    <a:lnTo>
                      <a:pt x="98" y="66"/>
                    </a:lnTo>
                    <a:lnTo>
                      <a:pt x="100" y="66"/>
                    </a:lnTo>
                    <a:lnTo>
                      <a:pt x="100" y="68"/>
                    </a:lnTo>
                    <a:lnTo>
                      <a:pt x="101" y="68"/>
                    </a:lnTo>
                    <a:lnTo>
                      <a:pt x="101" y="70"/>
                    </a:lnTo>
                    <a:lnTo>
                      <a:pt x="101" y="71"/>
                    </a:lnTo>
                    <a:lnTo>
                      <a:pt x="103" y="71"/>
                    </a:lnTo>
                    <a:lnTo>
                      <a:pt x="103" y="73"/>
                    </a:lnTo>
                    <a:lnTo>
                      <a:pt x="103" y="75"/>
                    </a:lnTo>
                    <a:lnTo>
                      <a:pt x="101" y="75"/>
                    </a:lnTo>
                    <a:lnTo>
                      <a:pt x="100" y="75"/>
                    </a:lnTo>
                    <a:lnTo>
                      <a:pt x="100" y="77"/>
                    </a:lnTo>
                    <a:lnTo>
                      <a:pt x="98" y="77"/>
                    </a:lnTo>
                    <a:lnTo>
                      <a:pt x="96" y="77"/>
                    </a:lnTo>
                    <a:lnTo>
                      <a:pt x="95" y="77"/>
                    </a:lnTo>
                    <a:lnTo>
                      <a:pt x="93" y="77"/>
                    </a:lnTo>
                    <a:lnTo>
                      <a:pt x="95" y="77"/>
                    </a:lnTo>
                    <a:lnTo>
                      <a:pt x="93" y="77"/>
                    </a:lnTo>
                    <a:lnTo>
                      <a:pt x="91" y="77"/>
                    </a:lnTo>
                    <a:lnTo>
                      <a:pt x="91" y="78"/>
                    </a:lnTo>
                    <a:lnTo>
                      <a:pt x="91" y="80"/>
                    </a:lnTo>
                    <a:lnTo>
                      <a:pt x="90" y="80"/>
                    </a:lnTo>
                    <a:lnTo>
                      <a:pt x="90" y="82"/>
                    </a:lnTo>
                    <a:lnTo>
                      <a:pt x="88" y="82"/>
                    </a:lnTo>
                    <a:lnTo>
                      <a:pt x="88" y="83"/>
                    </a:lnTo>
                    <a:lnTo>
                      <a:pt x="88" y="82"/>
                    </a:lnTo>
                    <a:lnTo>
                      <a:pt x="86" y="82"/>
                    </a:lnTo>
                    <a:lnTo>
                      <a:pt x="85" y="83"/>
                    </a:lnTo>
                    <a:lnTo>
                      <a:pt x="83" y="83"/>
                    </a:lnTo>
                    <a:lnTo>
                      <a:pt x="81" y="83"/>
                    </a:lnTo>
                    <a:lnTo>
                      <a:pt x="79" y="83"/>
                    </a:lnTo>
                    <a:lnTo>
                      <a:pt x="78" y="83"/>
                    </a:lnTo>
                    <a:lnTo>
                      <a:pt x="76" y="83"/>
                    </a:lnTo>
                    <a:lnTo>
                      <a:pt x="74" y="83"/>
                    </a:lnTo>
                    <a:lnTo>
                      <a:pt x="73" y="83"/>
                    </a:lnTo>
                    <a:lnTo>
                      <a:pt x="73" y="82"/>
                    </a:lnTo>
                    <a:lnTo>
                      <a:pt x="71" y="82"/>
                    </a:lnTo>
                    <a:lnTo>
                      <a:pt x="71" y="80"/>
                    </a:lnTo>
                    <a:lnTo>
                      <a:pt x="73" y="80"/>
                    </a:lnTo>
                    <a:lnTo>
                      <a:pt x="73" y="78"/>
                    </a:lnTo>
                    <a:lnTo>
                      <a:pt x="71" y="77"/>
                    </a:lnTo>
                    <a:lnTo>
                      <a:pt x="73" y="77"/>
                    </a:lnTo>
                    <a:lnTo>
                      <a:pt x="71" y="75"/>
                    </a:lnTo>
                    <a:lnTo>
                      <a:pt x="71" y="73"/>
                    </a:lnTo>
                    <a:lnTo>
                      <a:pt x="69" y="73"/>
                    </a:lnTo>
                    <a:lnTo>
                      <a:pt x="71" y="73"/>
                    </a:lnTo>
                    <a:lnTo>
                      <a:pt x="71" y="71"/>
                    </a:lnTo>
                    <a:lnTo>
                      <a:pt x="69" y="71"/>
                    </a:lnTo>
                    <a:lnTo>
                      <a:pt x="69" y="70"/>
                    </a:lnTo>
                    <a:lnTo>
                      <a:pt x="68" y="68"/>
                    </a:lnTo>
                    <a:lnTo>
                      <a:pt x="68" y="66"/>
                    </a:lnTo>
                    <a:lnTo>
                      <a:pt x="68" y="65"/>
                    </a:lnTo>
                    <a:lnTo>
                      <a:pt x="66" y="65"/>
                    </a:lnTo>
                    <a:lnTo>
                      <a:pt x="66" y="63"/>
                    </a:lnTo>
                    <a:lnTo>
                      <a:pt x="68" y="63"/>
                    </a:lnTo>
                    <a:lnTo>
                      <a:pt x="68" y="61"/>
                    </a:lnTo>
                    <a:lnTo>
                      <a:pt x="68" y="60"/>
                    </a:lnTo>
                    <a:lnTo>
                      <a:pt x="66" y="61"/>
                    </a:lnTo>
                    <a:lnTo>
                      <a:pt x="66" y="60"/>
                    </a:lnTo>
                    <a:lnTo>
                      <a:pt x="64" y="60"/>
                    </a:lnTo>
                    <a:lnTo>
                      <a:pt x="66" y="61"/>
                    </a:lnTo>
                    <a:lnTo>
                      <a:pt x="64" y="61"/>
                    </a:lnTo>
                    <a:lnTo>
                      <a:pt x="62" y="61"/>
                    </a:lnTo>
                    <a:lnTo>
                      <a:pt x="62" y="63"/>
                    </a:lnTo>
                    <a:lnTo>
                      <a:pt x="64" y="63"/>
                    </a:lnTo>
                    <a:lnTo>
                      <a:pt x="62" y="65"/>
                    </a:lnTo>
                    <a:lnTo>
                      <a:pt x="64" y="65"/>
                    </a:lnTo>
                    <a:lnTo>
                      <a:pt x="62" y="65"/>
                    </a:lnTo>
                    <a:lnTo>
                      <a:pt x="62" y="66"/>
                    </a:lnTo>
                    <a:lnTo>
                      <a:pt x="61" y="66"/>
                    </a:lnTo>
                    <a:lnTo>
                      <a:pt x="62" y="66"/>
                    </a:lnTo>
                    <a:lnTo>
                      <a:pt x="62" y="68"/>
                    </a:lnTo>
                    <a:lnTo>
                      <a:pt x="62" y="70"/>
                    </a:lnTo>
                    <a:lnTo>
                      <a:pt x="61" y="70"/>
                    </a:lnTo>
                    <a:lnTo>
                      <a:pt x="59" y="70"/>
                    </a:lnTo>
                    <a:lnTo>
                      <a:pt x="59" y="68"/>
                    </a:lnTo>
                    <a:lnTo>
                      <a:pt x="57" y="68"/>
                    </a:lnTo>
                    <a:lnTo>
                      <a:pt x="56" y="68"/>
                    </a:lnTo>
                    <a:lnTo>
                      <a:pt x="54" y="68"/>
                    </a:lnTo>
                    <a:lnTo>
                      <a:pt x="54" y="66"/>
                    </a:lnTo>
                    <a:lnTo>
                      <a:pt x="52" y="66"/>
                    </a:lnTo>
                    <a:lnTo>
                      <a:pt x="51" y="66"/>
                    </a:lnTo>
                    <a:lnTo>
                      <a:pt x="52" y="66"/>
                    </a:lnTo>
                    <a:lnTo>
                      <a:pt x="52" y="65"/>
                    </a:lnTo>
                    <a:lnTo>
                      <a:pt x="51" y="65"/>
                    </a:lnTo>
                    <a:lnTo>
                      <a:pt x="51" y="66"/>
                    </a:lnTo>
                    <a:lnTo>
                      <a:pt x="51" y="65"/>
                    </a:lnTo>
                    <a:lnTo>
                      <a:pt x="49" y="65"/>
                    </a:lnTo>
                    <a:lnTo>
                      <a:pt x="51" y="65"/>
                    </a:lnTo>
                    <a:lnTo>
                      <a:pt x="49" y="65"/>
                    </a:lnTo>
                    <a:lnTo>
                      <a:pt x="49" y="63"/>
                    </a:lnTo>
                    <a:lnTo>
                      <a:pt x="49" y="61"/>
                    </a:lnTo>
                    <a:lnTo>
                      <a:pt x="51" y="61"/>
                    </a:lnTo>
                    <a:lnTo>
                      <a:pt x="49" y="61"/>
                    </a:lnTo>
                    <a:lnTo>
                      <a:pt x="49" y="60"/>
                    </a:lnTo>
                    <a:lnTo>
                      <a:pt x="47" y="60"/>
                    </a:lnTo>
                    <a:lnTo>
                      <a:pt x="49" y="58"/>
                    </a:lnTo>
                    <a:lnTo>
                      <a:pt x="47" y="58"/>
                    </a:lnTo>
                    <a:lnTo>
                      <a:pt x="47" y="60"/>
                    </a:lnTo>
                    <a:lnTo>
                      <a:pt x="47" y="58"/>
                    </a:lnTo>
                    <a:lnTo>
                      <a:pt x="47" y="56"/>
                    </a:lnTo>
                    <a:lnTo>
                      <a:pt x="45" y="56"/>
                    </a:lnTo>
                    <a:lnTo>
                      <a:pt x="45" y="54"/>
                    </a:lnTo>
                    <a:lnTo>
                      <a:pt x="44" y="54"/>
                    </a:lnTo>
                    <a:lnTo>
                      <a:pt x="45" y="54"/>
                    </a:lnTo>
                    <a:lnTo>
                      <a:pt x="45" y="53"/>
                    </a:lnTo>
                    <a:lnTo>
                      <a:pt x="44" y="51"/>
                    </a:lnTo>
                    <a:lnTo>
                      <a:pt x="44" y="49"/>
                    </a:lnTo>
                    <a:lnTo>
                      <a:pt x="44" y="51"/>
                    </a:lnTo>
                    <a:lnTo>
                      <a:pt x="42" y="51"/>
                    </a:lnTo>
                    <a:lnTo>
                      <a:pt x="44" y="51"/>
                    </a:lnTo>
                    <a:lnTo>
                      <a:pt x="42" y="51"/>
                    </a:lnTo>
                    <a:lnTo>
                      <a:pt x="44" y="51"/>
                    </a:lnTo>
                    <a:lnTo>
                      <a:pt x="44" y="53"/>
                    </a:lnTo>
                    <a:lnTo>
                      <a:pt x="42" y="53"/>
                    </a:lnTo>
                    <a:lnTo>
                      <a:pt x="42" y="51"/>
                    </a:lnTo>
                    <a:lnTo>
                      <a:pt x="40" y="51"/>
                    </a:lnTo>
                    <a:lnTo>
                      <a:pt x="39" y="51"/>
                    </a:lnTo>
                    <a:lnTo>
                      <a:pt x="37" y="51"/>
                    </a:lnTo>
                    <a:lnTo>
                      <a:pt x="37" y="49"/>
                    </a:lnTo>
                    <a:lnTo>
                      <a:pt x="35" y="49"/>
                    </a:lnTo>
                    <a:lnTo>
                      <a:pt x="34" y="49"/>
                    </a:lnTo>
                    <a:lnTo>
                      <a:pt x="32" y="49"/>
                    </a:lnTo>
                    <a:lnTo>
                      <a:pt x="30" y="49"/>
                    </a:lnTo>
                    <a:lnTo>
                      <a:pt x="30" y="48"/>
                    </a:lnTo>
                    <a:lnTo>
                      <a:pt x="30" y="49"/>
                    </a:lnTo>
                    <a:lnTo>
                      <a:pt x="32" y="49"/>
                    </a:lnTo>
                    <a:lnTo>
                      <a:pt x="30" y="49"/>
                    </a:lnTo>
                    <a:lnTo>
                      <a:pt x="30" y="51"/>
                    </a:lnTo>
                    <a:lnTo>
                      <a:pt x="30" y="49"/>
                    </a:lnTo>
                    <a:lnTo>
                      <a:pt x="28" y="49"/>
                    </a:lnTo>
                    <a:lnTo>
                      <a:pt x="30" y="49"/>
                    </a:lnTo>
                    <a:lnTo>
                      <a:pt x="28" y="49"/>
                    </a:lnTo>
                    <a:lnTo>
                      <a:pt x="28" y="48"/>
                    </a:lnTo>
                    <a:lnTo>
                      <a:pt x="28" y="46"/>
                    </a:lnTo>
                    <a:lnTo>
                      <a:pt x="30" y="46"/>
                    </a:lnTo>
                    <a:lnTo>
                      <a:pt x="28" y="46"/>
                    </a:lnTo>
                    <a:lnTo>
                      <a:pt x="28" y="44"/>
                    </a:lnTo>
                    <a:lnTo>
                      <a:pt x="27" y="46"/>
                    </a:lnTo>
                    <a:lnTo>
                      <a:pt x="27" y="48"/>
                    </a:lnTo>
                    <a:lnTo>
                      <a:pt x="25" y="46"/>
                    </a:lnTo>
                    <a:lnTo>
                      <a:pt x="25" y="44"/>
                    </a:lnTo>
                    <a:lnTo>
                      <a:pt x="25" y="46"/>
                    </a:lnTo>
                    <a:lnTo>
                      <a:pt x="23" y="46"/>
                    </a:lnTo>
                    <a:lnTo>
                      <a:pt x="23" y="48"/>
                    </a:lnTo>
                    <a:lnTo>
                      <a:pt x="22" y="48"/>
                    </a:lnTo>
                    <a:lnTo>
                      <a:pt x="20" y="46"/>
                    </a:lnTo>
                    <a:lnTo>
                      <a:pt x="18" y="46"/>
                    </a:lnTo>
                    <a:lnTo>
                      <a:pt x="17" y="46"/>
                    </a:lnTo>
                    <a:lnTo>
                      <a:pt x="18" y="46"/>
                    </a:lnTo>
                    <a:lnTo>
                      <a:pt x="20" y="46"/>
                    </a:lnTo>
                    <a:lnTo>
                      <a:pt x="20" y="48"/>
                    </a:lnTo>
                    <a:lnTo>
                      <a:pt x="18" y="48"/>
                    </a:lnTo>
                    <a:lnTo>
                      <a:pt x="17" y="48"/>
                    </a:lnTo>
                    <a:lnTo>
                      <a:pt x="17" y="46"/>
                    </a:lnTo>
                    <a:lnTo>
                      <a:pt x="15" y="46"/>
                    </a:lnTo>
                    <a:lnTo>
                      <a:pt x="13" y="46"/>
                    </a:lnTo>
                    <a:lnTo>
                      <a:pt x="11" y="46"/>
                    </a:lnTo>
                    <a:lnTo>
                      <a:pt x="10" y="46"/>
                    </a:lnTo>
                    <a:lnTo>
                      <a:pt x="8" y="46"/>
                    </a:lnTo>
                    <a:lnTo>
                      <a:pt x="6" y="46"/>
                    </a:lnTo>
                    <a:lnTo>
                      <a:pt x="6" y="48"/>
                    </a:lnTo>
                    <a:lnTo>
                      <a:pt x="6" y="49"/>
                    </a:lnTo>
                    <a:lnTo>
                      <a:pt x="6" y="51"/>
                    </a:lnTo>
                    <a:lnTo>
                      <a:pt x="6" y="53"/>
                    </a:lnTo>
                    <a:lnTo>
                      <a:pt x="6" y="54"/>
                    </a:lnTo>
                    <a:lnTo>
                      <a:pt x="6" y="56"/>
                    </a:lnTo>
                    <a:lnTo>
                      <a:pt x="5" y="56"/>
                    </a:lnTo>
                    <a:lnTo>
                      <a:pt x="5" y="54"/>
                    </a:lnTo>
                    <a:lnTo>
                      <a:pt x="5" y="53"/>
                    </a:lnTo>
                    <a:lnTo>
                      <a:pt x="5" y="51"/>
                    </a:lnTo>
                    <a:lnTo>
                      <a:pt x="5" y="49"/>
                    </a:lnTo>
                    <a:lnTo>
                      <a:pt x="3" y="49"/>
                    </a:lnTo>
                    <a:lnTo>
                      <a:pt x="5" y="49"/>
                    </a:lnTo>
                    <a:lnTo>
                      <a:pt x="3" y="48"/>
                    </a:lnTo>
                    <a:lnTo>
                      <a:pt x="1" y="48"/>
                    </a:lnTo>
                    <a:lnTo>
                      <a:pt x="1" y="46"/>
                    </a:lnTo>
                    <a:lnTo>
                      <a:pt x="0" y="46"/>
                    </a:lnTo>
                    <a:lnTo>
                      <a:pt x="1" y="44"/>
                    </a:lnTo>
                    <a:lnTo>
                      <a:pt x="3" y="44"/>
                    </a:lnTo>
                    <a:lnTo>
                      <a:pt x="3" y="43"/>
                    </a:lnTo>
                    <a:lnTo>
                      <a:pt x="5" y="43"/>
                    </a:lnTo>
                    <a:lnTo>
                      <a:pt x="6" y="43"/>
                    </a:lnTo>
                    <a:lnTo>
                      <a:pt x="6" y="41"/>
                    </a:lnTo>
                    <a:lnTo>
                      <a:pt x="8" y="39"/>
                    </a:lnTo>
                    <a:lnTo>
                      <a:pt x="6" y="39"/>
                    </a:lnTo>
                    <a:lnTo>
                      <a:pt x="6" y="37"/>
                    </a:lnTo>
                    <a:lnTo>
                      <a:pt x="8" y="37"/>
                    </a:lnTo>
                    <a:lnTo>
                      <a:pt x="6" y="37"/>
                    </a:lnTo>
                    <a:lnTo>
                      <a:pt x="8" y="36"/>
                    </a:lnTo>
                    <a:lnTo>
                      <a:pt x="6" y="34"/>
                    </a:lnTo>
                    <a:lnTo>
                      <a:pt x="6" y="32"/>
                    </a:lnTo>
                    <a:lnTo>
                      <a:pt x="5" y="32"/>
                    </a:lnTo>
                    <a:lnTo>
                      <a:pt x="5" y="31"/>
                    </a:lnTo>
                    <a:lnTo>
                      <a:pt x="5" y="29"/>
                    </a:lnTo>
                    <a:lnTo>
                      <a:pt x="6" y="29"/>
                    </a:lnTo>
                    <a:lnTo>
                      <a:pt x="6" y="27"/>
                    </a:lnTo>
                    <a:lnTo>
                      <a:pt x="8" y="27"/>
                    </a:lnTo>
                    <a:lnTo>
                      <a:pt x="10" y="27"/>
                    </a:lnTo>
                    <a:lnTo>
                      <a:pt x="10" y="26"/>
                    </a:lnTo>
                    <a:lnTo>
                      <a:pt x="11" y="26"/>
                    </a:lnTo>
                    <a:lnTo>
                      <a:pt x="11" y="24"/>
                    </a:lnTo>
                    <a:lnTo>
                      <a:pt x="10" y="24"/>
                    </a:lnTo>
                    <a:lnTo>
                      <a:pt x="10" y="22"/>
                    </a:lnTo>
                    <a:lnTo>
                      <a:pt x="8" y="22"/>
                    </a:lnTo>
                    <a:lnTo>
                      <a:pt x="6" y="22"/>
                    </a:lnTo>
                    <a:lnTo>
                      <a:pt x="6" y="20"/>
                    </a:lnTo>
                    <a:lnTo>
                      <a:pt x="5" y="20"/>
                    </a:lnTo>
                    <a:lnTo>
                      <a:pt x="3" y="20"/>
                    </a:lnTo>
                    <a:lnTo>
                      <a:pt x="3" y="7"/>
                    </a:lnTo>
                    <a:lnTo>
                      <a:pt x="5" y="7"/>
                    </a:lnTo>
                    <a:lnTo>
                      <a:pt x="6" y="5"/>
                    </a:lnTo>
                    <a:lnTo>
                      <a:pt x="6" y="3"/>
                    </a:lnTo>
                    <a:lnTo>
                      <a:pt x="5" y="3"/>
                    </a:lnTo>
                    <a:lnTo>
                      <a:pt x="6" y="3"/>
                    </a:lnTo>
                    <a:lnTo>
                      <a:pt x="6" y="2"/>
                    </a:lnTo>
                    <a:lnTo>
                      <a:pt x="8" y="2"/>
                    </a:lnTo>
                    <a:lnTo>
                      <a:pt x="10" y="3"/>
                    </a:lnTo>
                    <a:lnTo>
                      <a:pt x="10" y="2"/>
                    </a:lnTo>
                    <a:lnTo>
                      <a:pt x="10" y="3"/>
                    </a:lnTo>
                    <a:lnTo>
                      <a:pt x="11" y="3"/>
                    </a:lnTo>
                    <a:lnTo>
                      <a:pt x="11" y="5"/>
                    </a:lnTo>
                    <a:lnTo>
                      <a:pt x="11" y="3"/>
                    </a:lnTo>
                    <a:lnTo>
                      <a:pt x="11" y="5"/>
                    </a:lnTo>
                    <a:lnTo>
                      <a:pt x="13" y="5"/>
                    </a:lnTo>
                    <a:lnTo>
                      <a:pt x="15" y="5"/>
                    </a:lnTo>
                    <a:lnTo>
                      <a:pt x="15" y="3"/>
                    </a:lnTo>
                    <a:lnTo>
                      <a:pt x="17" y="3"/>
                    </a:lnTo>
                    <a:lnTo>
                      <a:pt x="18" y="5"/>
                    </a:lnTo>
                    <a:lnTo>
                      <a:pt x="20" y="5"/>
                    </a:lnTo>
                    <a:lnTo>
                      <a:pt x="20" y="7"/>
                    </a:lnTo>
                    <a:lnTo>
                      <a:pt x="22" y="7"/>
                    </a:lnTo>
                    <a:lnTo>
                      <a:pt x="22" y="9"/>
                    </a:lnTo>
                    <a:lnTo>
                      <a:pt x="23" y="9"/>
                    </a:lnTo>
                    <a:lnTo>
                      <a:pt x="23" y="10"/>
                    </a:lnTo>
                    <a:lnTo>
                      <a:pt x="22" y="10"/>
                    </a:lnTo>
                    <a:lnTo>
                      <a:pt x="22" y="12"/>
                    </a:lnTo>
                    <a:lnTo>
                      <a:pt x="23" y="12"/>
                    </a:lnTo>
                    <a:lnTo>
                      <a:pt x="23" y="14"/>
                    </a:lnTo>
                    <a:lnTo>
                      <a:pt x="22" y="12"/>
                    </a:lnTo>
                    <a:lnTo>
                      <a:pt x="22" y="14"/>
                    </a:lnTo>
                    <a:lnTo>
                      <a:pt x="23" y="14"/>
                    </a:lnTo>
                    <a:lnTo>
                      <a:pt x="23" y="15"/>
                    </a:lnTo>
                    <a:lnTo>
                      <a:pt x="25" y="17"/>
                    </a:lnTo>
                    <a:lnTo>
                      <a:pt x="25" y="15"/>
                    </a:lnTo>
                    <a:lnTo>
                      <a:pt x="27" y="15"/>
                    </a:lnTo>
                    <a:lnTo>
                      <a:pt x="25" y="17"/>
                    </a:lnTo>
                    <a:lnTo>
                      <a:pt x="27" y="17"/>
                    </a:lnTo>
                    <a:lnTo>
                      <a:pt x="27" y="15"/>
                    </a:lnTo>
                    <a:lnTo>
                      <a:pt x="28" y="15"/>
                    </a:lnTo>
                    <a:lnTo>
                      <a:pt x="28" y="17"/>
                    </a:lnTo>
                    <a:lnTo>
                      <a:pt x="30" y="15"/>
                    </a:lnTo>
                    <a:lnTo>
                      <a:pt x="28" y="17"/>
                    </a:lnTo>
                    <a:lnTo>
                      <a:pt x="30" y="17"/>
                    </a:lnTo>
                    <a:lnTo>
                      <a:pt x="28" y="17"/>
                    </a:lnTo>
                    <a:lnTo>
                      <a:pt x="27" y="17"/>
                    </a:lnTo>
                    <a:lnTo>
                      <a:pt x="27" y="19"/>
                    </a:lnTo>
                    <a:lnTo>
                      <a:pt x="25" y="19"/>
                    </a:lnTo>
                    <a:lnTo>
                      <a:pt x="27" y="19"/>
                    </a:lnTo>
                    <a:lnTo>
                      <a:pt x="27" y="20"/>
                    </a:lnTo>
                    <a:lnTo>
                      <a:pt x="27" y="22"/>
                    </a:lnTo>
                    <a:lnTo>
                      <a:pt x="28" y="22"/>
                    </a:lnTo>
                    <a:lnTo>
                      <a:pt x="28" y="24"/>
                    </a:lnTo>
                    <a:lnTo>
                      <a:pt x="28" y="22"/>
                    </a:lnTo>
                    <a:lnTo>
                      <a:pt x="30" y="22"/>
                    </a:lnTo>
                    <a:lnTo>
                      <a:pt x="30" y="24"/>
                    </a:lnTo>
                    <a:lnTo>
                      <a:pt x="32" y="24"/>
                    </a:lnTo>
                    <a:lnTo>
                      <a:pt x="32" y="26"/>
                    </a:lnTo>
                    <a:lnTo>
                      <a:pt x="34" y="26"/>
                    </a:lnTo>
                    <a:lnTo>
                      <a:pt x="34" y="24"/>
                    </a:lnTo>
                    <a:lnTo>
                      <a:pt x="35" y="24"/>
                    </a:lnTo>
                    <a:lnTo>
                      <a:pt x="37" y="24"/>
                    </a:lnTo>
                    <a:lnTo>
                      <a:pt x="39" y="24"/>
                    </a:lnTo>
                    <a:lnTo>
                      <a:pt x="37" y="24"/>
                    </a:lnTo>
                    <a:lnTo>
                      <a:pt x="39" y="24"/>
                    </a:lnTo>
                    <a:lnTo>
                      <a:pt x="40" y="24"/>
                    </a:lnTo>
                    <a:lnTo>
                      <a:pt x="42" y="24"/>
                    </a:lnTo>
                    <a:lnTo>
                      <a:pt x="42" y="26"/>
                    </a:lnTo>
                    <a:lnTo>
                      <a:pt x="42" y="24"/>
                    </a:lnTo>
                    <a:lnTo>
                      <a:pt x="44" y="24"/>
                    </a:lnTo>
                    <a:lnTo>
                      <a:pt x="42" y="22"/>
                    </a:lnTo>
                    <a:lnTo>
                      <a:pt x="40" y="22"/>
                    </a:lnTo>
                    <a:lnTo>
                      <a:pt x="40" y="20"/>
                    </a:lnTo>
                    <a:lnTo>
                      <a:pt x="39" y="20"/>
                    </a:lnTo>
                    <a:lnTo>
                      <a:pt x="39" y="19"/>
                    </a:lnTo>
                    <a:lnTo>
                      <a:pt x="37" y="19"/>
                    </a:lnTo>
                    <a:lnTo>
                      <a:pt x="37" y="17"/>
                    </a:lnTo>
                    <a:lnTo>
                      <a:pt x="39" y="17"/>
                    </a:lnTo>
                    <a:lnTo>
                      <a:pt x="39" y="19"/>
                    </a:lnTo>
                    <a:lnTo>
                      <a:pt x="40" y="17"/>
                    </a:lnTo>
                    <a:lnTo>
                      <a:pt x="39" y="17"/>
                    </a:lnTo>
                    <a:lnTo>
                      <a:pt x="40" y="17"/>
                    </a:lnTo>
                    <a:lnTo>
                      <a:pt x="40" y="19"/>
                    </a:lnTo>
                    <a:lnTo>
                      <a:pt x="42" y="19"/>
                    </a:lnTo>
                    <a:lnTo>
                      <a:pt x="40" y="19"/>
                    </a:lnTo>
                    <a:lnTo>
                      <a:pt x="40" y="20"/>
                    </a:lnTo>
                    <a:lnTo>
                      <a:pt x="42" y="20"/>
                    </a:lnTo>
                    <a:lnTo>
                      <a:pt x="40" y="20"/>
                    </a:lnTo>
                    <a:lnTo>
                      <a:pt x="42" y="20"/>
                    </a:lnTo>
                    <a:lnTo>
                      <a:pt x="44" y="20"/>
                    </a:lnTo>
                    <a:lnTo>
                      <a:pt x="44" y="22"/>
                    </a:lnTo>
                    <a:lnTo>
                      <a:pt x="45" y="22"/>
                    </a:lnTo>
                    <a:lnTo>
                      <a:pt x="45" y="24"/>
                    </a:lnTo>
                    <a:lnTo>
                      <a:pt x="47" y="24"/>
                    </a:lnTo>
                    <a:lnTo>
                      <a:pt x="47" y="26"/>
                    </a:lnTo>
                    <a:lnTo>
                      <a:pt x="49" y="26"/>
                    </a:lnTo>
                    <a:lnTo>
                      <a:pt x="49" y="27"/>
                    </a:lnTo>
                    <a:lnTo>
                      <a:pt x="51" y="27"/>
                    </a:lnTo>
                    <a:lnTo>
                      <a:pt x="51" y="29"/>
                    </a:lnTo>
                    <a:lnTo>
                      <a:pt x="52" y="29"/>
                    </a:lnTo>
                    <a:lnTo>
                      <a:pt x="54" y="29"/>
                    </a:lnTo>
                    <a:lnTo>
                      <a:pt x="56" y="29"/>
                    </a:lnTo>
                    <a:lnTo>
                      <a:pt x="57" y="31"/>
                    </a:lnTo>
                    <a:lnTo>
                      <a:pt x="59" y="31"/>
                    </a:lnTo>
                    <a:lnTo>
                      <a:pt x="59" y="29"/>
                    </a:lnTo>
                    <a:lnTo>
                      <a:pt x="61" y="31"/>
                    </a:lnTo>
                    <a:lnTo>
                      <a:pt x="61" y="29"/>
                    </a:lnTo>
                    <a:lnTo>
                      <a:pt x="62" y="31"/>
                    </a:lnTo>
                    <a:lnTo>
                      <a:pt x="62" y="29"/>
                    </a:lnTo>
                    <a:lnTo>
                      <a:pt x="64" y="29"/>
                    </a:lnTo>
                    <a:lnTo>
                      <a:pt x="66" y="29"/>
                    </a:lnTo>
                    <a:lnTo>
                      <a:pt x="68" y="29"/>
                    </a:lnTo>
                    <a:lnTo>
                      <a:pt x="69" y="29"/>
                    </a:lnTo>
                    <a:lnTo>
                      <a:pt x="69" y="27"/>
                    </a:lnTo>
                    <a:lnTo>
                      <a:pt x="71" y="27"/>
                    </a:lnTo>
                    <a:lnTo>
                      <a:pt x="73" y="27"/>
                    </a:lnTo>
                    <a:lnTo>
                      <a:pt x="74" y="27"/>
                    </a:lnTo>
                    <a:lnTo>
                      <a:pt x="74" y="26"/>
                    </a:lnTo>
                    <a:lnTo>
                      <a:pt x="76" y="26"/>
                    </a:lnTo>
                    <a:lnTo>
                      <a:pt x="76" y="24"/>
                    </a:lnTo>
                    <a:lnTo>
                      <a:pt x="78" y="24"/>
                    </a:lnTo>
                    <a:lnTo>
                      <a:pt x="78" y="22"/>
                    </a:lnTo>
                    <a:lnTo>
                      <a:pt x="79" y="22"/>
                    </a:lnTo>
                    <a:lnTo>
                      <a:pt x="81" y="22"/>
                    </a:lnTo>
                    <a:lnTo>
                      <a:pt x="81" y="20"/>
                    </a:lnTo>
                    <a:lnTo>
                      <a:pt x="83" y="20"/>
                    </a:lnTo>
                    <a:lnTo>
                      <a:pt x="85" y="20"/>
                    </a:lnTo>
                    <a:lnTo>
                      <a:pt x="85" y="19"/>
                    </a:lnTo>
                    <a:lnTo>
                      <a:pt x="86" y="19"/>
                    </a:lnTo>
                    <a:lnTo>
                      <a:pt x="88" y="19"/>
                    </a:lnTo>
                    <a:lnTo>
                      <a:pt x="90" y="17"/>
                    </a:lnTo>
                    <a:lnTo>
                      <a:pt x="91" y="17"/>
                    </a:lnTo>
                    <a:lnTo>
                      <a:pt x="93" y="17"/>
                    </a:lnTo>
                    <a:lnTo>
                      <a:pt x="95" y="17"/>
                    </a:lnTo>
                    <a:lnTo>
                      <a:pt x="96" y="17"/>
                    </a:lnTo>
                    <a:lnTo>
                      <a:pt x="96" y="15"/>
                    </a:lnTo>
                    <a:lnTo>
                      <a:pt x="98" y="15"/>
                    </a:lnTo>
                    <a:lnTo>
                      <a:pt x="100" y="15"/>
                    </a:lnTo>
                    <a:lnTo>
                      <a:pt x="100" y="14"/>
                    </a:lnTo>
                    <a:lnTo>
                      <a:pt x="101" y="14"/>
                    </a:lnTo>
                    <a:lnTo>
                      <a:pt x="101" y="12"/>
                    </a:lnTo>
                    <a:lnTo>
                      <a:pt x="103" y="12"/>
                    </a:lnTo>
                    <a:lnTo>
                      <a:pt x="103" y="10"/>
                    </a:lnTo>
                    <a:lnTo>
                      <a:pt x="105" y="10"/>
                    </a:lnTo>
                    <a:lnTo>
                      <a:pt x="105" y="12"/>
                    </a:lnTo>
                    <a:lnTo>
                      <a:pt x="107" y="10"/>
                    </a:lnTo>
                    <a:lnTo>
                      <a:pt x="105" y="10"/>
                    </a:lnTo>
                    <a:lnTo>
                      <a:pt x="107" y="10"/>
                    </a:lnTo>
                    <a:lnTo>
                      <a:pt x="107" y="9"/>
                    </a:lnTo>
                    <a:lnTo>
                      <a:pt x="108" y="10"/>
                    </a:lnTo>
                    <a:lnTo>
                      <a:pt x="108" y="9"/>
                    </a:lnTo>
                    <a:lnTo>
                      <a:pt x="108" y="10"/>
                    </a:lnTo>
                    <a:lnTo>
                      <a:pt x="108" y="9"/>
                    </a:lnTo>
                    <a:lnTo>
                      <a:pt x="108" y="10"/>
                    </a:lnTo>
                    <a:lnTo>
                      <a:pt x="108" y="9"/>
                    </a:lnTo>
                    <a:lnTo>
                      <a:pt x="108" y="10"/>
                    </a:lnTo>
                    <a:lnTo>
                      <a:pt x="110" y="10"/>
                    </a:lnTo>
                    <a:lnTo>
                      <a:pt x="110" y="9"/>
                    </a:lnTo>
                    <a:lnTo>
                      <a:pt x="108" y="9"/>
                    </a:lnTo>
                    <a:lnTo>
                      <a:pt x="110" y="9"/>
                    </a:lnTo>
                    <a:lnTo>
                      <a:pt x="110" y="7"/>
                    </a:lnTo>
                    <a:lnTo>
                      <a:pt x="112" y="7"/>
                    </a:lnTo>
                    <a:lnTo>
                      <a:pt x="113" y="5"/>
                    </a:lnTo>
                    <a:lnTo>
                      <a:pt x="113" y="3"/>
                    </a:lnTo>
                    <a:lnTo>
                      <a:pt x="115" y="3"/>
                    </a:lnTo>
                    <a:lnTo>
                      <a:pt x="113" y="3"/>
                    </a:lnTo>
                    <a:lnTo>
                      <a:pt x="115" y="2"/>
                    </a:lnTo>
                    <a:lnTo>
                      <a:pt x="117" y="2"/>
                    </a:lnTo>
                    <a:lnTo>
                      <a:pt x="118" y="2"/>
                    </a:lnTo>
                    <a:lnTo>
                      <a:pt x="118" y="3"/>
                    </a:lnTo>
                    <a:lnTo>
                      <a:pt x="118" y="2"/>
                    </a:lnTo>
                    <a:lnTo>
                      <a:pt x="120" y="3"/>
                    </a:lnTo>
                    <a:lnTo>
                      <a:pt x="120" y="2"/>
                    </a:lnTo>
                    <a:lnTo>
                      <a:pt x="120" y="3"/>
                    </a:lnTo>
                    <a:lnTo>
                      <a:pt x="120" y="2"/>
                    </a:lnTo>
                    <a:lnTo>
                      <a:pt x="122" y="2"/>
                    </a:lnTo>
                    <a:lnTo>
                      <a:pt x="122" y="3"/>
                    </a:lnTo>
                    <a:lnTo>
                      <a:pt x="124" y="3"/>
                    </a:lnTo>
                    <a:lnTo>
                      <a:pt x="125" y="3"/>
                    </a:lnTo>
                    <a:lnTo>
                      <a:pt x="127" y="3"/>
                    </a:lnTo>
                    <a:lnTo>
                      <a:pt x="129" y="3"/>
                    </a:lnTo>
                    <a:lnTo>
                      <a:pt x="130" y="3"/>
                    </a:lnTo>
                    <a:lnTo>
                      <a:pt x="132" y="3"/>
                    </a:lnTo>
                    <a:lnTo>
                      <a:pt x="134" y="3"/>
                    </a:lnTo>
                    <a:lnTo>
                      <a:pt x="135" y="3"/>
                    </a:lnTo>
                    <a:lnTo>
                      <a:pt x="137" y="3"/>
                    </a:lnTo>
                    <a:lnTo>
                      <a:pt x="137" y="5"/>
                    </a:lnTo>
                    <a:lnTo>
                      <a:pt x="135" y="3"/>
                    </a:lnTo>
                    <a:lnTo>
                      <a:pt x="135" y="5"/>
                    </a:lnTo>
                    <a:lnTo>
                      <a:pt x="135" y="3"/>
                    </a:lnTo>
                    <a:lnTo>
                      <a:pt x="135" y="5"/>
                    </a:lnTo>
                    <a:lnTo>
                      <a:pt x="134" y="5"/>
                    </a:lnTo>
                    <a:lnTo>
                      <a:pt x="134" y="7"/>
                    </a:lnTo>
                    <a:lnTo>
                      <a:pt x="135" y="9"/>
                    </a:lnTo>
                    <a:lnTo>
                      <a:pt x="135" y="7"/>
                    </a:lnTo>
                    <a:lnTo>
                      <a:pt x="137" y="7"/>
                    </a:lnTo>
                    <a:lnTo>
                      <a:pt x="139" y="7"/>
                    </a:lnTo>
                    <a:lnTo>
                      <a:pt x="139" y="9"/>
                    </a:lnTo>
                    <a:lnTo>
                      <a:pt x="141" y="9"/>
                    </a:lnTo>
                    <a:lnTo>
                      <a:pt x="142" y="9"/>
                    </a:lnTo>
                    <a:lnTo>
                      <a:pt x="142" y="7"/>
                    </a:lnTo>
                    <a:lnTo>
                      <a:pt x="142" y="9"/>
                    </a:lnTo>
                    <a:lnTo>
                      <a:pt x="144" y="9"/>
                    </a:lnTo>
                    <a:lnTo>
                      <a:pt x="144" y="7"/>
                    </a:lnTo>
                    <a:lnTo>
                      <a:pt x="146" y="7"/>
                    </a:lnTo>
                    <a:lnTo>
                      <a:pt x="147" y="9"/>
                    </a:lnTo>
                    <a:lnTo>
                      <a:pt x="147" y="7"/>
                    </a:lnTo>
                    <a:lnTo>
                      <a:pt x="147" y="9"/>
                    </a:lnTo>
                    <a:lnTo>
                      <a:pt x="149" y="9"/>
                    </a:lnTo>
                    <a:lnTo>
                      <a:pt x="151" y="9"/>
                    </a:lnTo>
                    <a:lnTo>
                      <a:pt x="151" y="7"/>
                    </a:lnTo>
                    <a:lnTo>
                      <a:pt x="152" y="9"/>
                    </a:lnTo>
                    <a:lnTo>
                      <a:pt x="154" y="9"/>
                    </a:lnTo>
                    <a:lnTo>
                      <a:pt x="156" y="9"/>
                    </a:lnTo>
                    <a:lnTo>
                      <a:pt x="156" y="10"/>
                    </a:lnTo>
                    <a:lnTo>
                      <a:pt x="158" y="10"/>
                    </a:lnTo>
                    <a:lnTo>
                      <a:pt x="159" y="10"/>
                    </a:lnTo>
                    <a:lnTo>
                      <a:pt x="159" y="12"/>
                    </a:lnTo>
                    <a:lnTo>
                      <a:pt x="161" y="12"/>
                    </a:lnTo>
                    <a:lnTo>
                      <a:pt x="163" y="12"/>
                    </a:lnTo>
                    <a:lnTo>
                      <a:pt x="164" y="14"/>
                    </a:lnTo>
                    <a:lnTo>
                      <a:pt x="164" y="12"/>
                    </a:lnTo>
                    <a:lnTo>
                      <a:pt x="164" y="14"/>
                    </a:lnTo>
                    <a:lnTo>
                      <a:pt x="166" y="14"/>
                    </a:lnTo>
                    <a:lnTo>
                      <a:pt x="168" y="14"/>
                    </a:lnTo>
                    <a:lnTo>
                      <a:pt x="169" y="14"/>
                    </a:lnTo>
                    <a:lnTo>
                      <a:pt x="169" y="15"/>
                    </a:lnTo>
                    <a:lnTo>
                      <a:pt x="171" y="15"/>
                    </a:lnTo>
                    <a:lnTo>
                      <a:pt x="171" y="17"/>
                    </a:lnTo>
                    <a:lnTo>
                      <a:pt x="173" y="17"/>
                    </a:lnTo>
                    <a:lnTo>
                      <a:pt x="173" y="19"/>
                    </a:lnTo>
                    <a:lnTo>
                      <a:pt x="175" y="20"/>
                    </a:lnTo>
                    <a:lnTo>
                      <a:pt x="175" y="19"/>
                    </a:lnTo>
                    <a:lnTo>
                      <a:pt x="175" y="20"/>
                    </a:lnTo>
                    <a:lnTo>
                      <a:pt x="175" y="19"/>
                    </a:lnTo>
                    <a:lnTo>
                      <a:pt x="176" y="20"/>
                    </a:lnTo>
                    <a:lnTo>
                      <a:pt x="176" y="22"/>
                    </a:lnTo>
                    <a:lnTo>
                      <a:pt x="178" y="22"/>
                    </a:lnTo>
                    <a:lnTo>
                      <a:pt x="178" y="24"/>
                    </a:lnTo>
                    <a:lnTo>
                      <a:pt x="180" y="24"/>
                    </a:lnTo>
                    <a:lnTo>
                      <a:pt x="178" y="24"/>
                    </a:lnTo>
                    <a:lnTo>
                      <a:pt x="180" y="26"/>
                    </a:lnTo>
                    <a:lnTo>
                      <a:pt x="180" y="27"/>
                    </a:lnTo>
                    <a:lnTo>
                      <a:pt x="181" y="27"/>
                    </a:lnTo>
                    <a:lnTo>
                      <a:pt x="183" y="29"/>
                    </a:lnTo>
                    <a:lnTo>
                      <a:pt x="183" y="27"/>
                    </a:lnTo>
                    <a:lnTo>
                      <a:pt x="183" y="29"/>
                    </a:lnTo>
                    <a:lnTo>
                      <a:pt x="185" y="29"/>
                    </a:lnTo>
                    <a:lnTo>
                      <a:pt x="185" y="31"/>
                    </a:lnTo>
                    <a:lnTo>
                      <a:pt x="186" y="31"/>
                    </a:lnTo>
                    <a:lnTo>
                      <a:pt x="186" y="32"/>
                    </a:lnTo>
                    <a:lnTo>
                      <a:pt x="185" y="32"/>
                    </a:lnTo>
                    <a:lnTo>
                      <a:pt x="186" y="32"/>
                    </a:lnTo>
                    <a:lnTo>
                      <a:pt x="186" y="34"/>
                    </a:lnTo>
                    <a:lnTo>
                      <a:pt x="188" y="34"/>
                    </a:lnTo>
                    <a:lnTo>
                      <a:pt x="190" y="34"/>
                    </a:lnTo>
                    <a:lnTo>
                      <a:pt x="192" y="34"/>
                    </a:lnTo>
                    <a:close/>
                    <a:moveTo>
                      <a:pt x="44" y="70"/>
                    </a:moveTo>
                    <a:lnTo>
                      <a:pt x="45" y="70"/>
                    </a:lnTo>
                    <a:lnTo>
                      <a:pt x="45" y="71"/>
                    </a:lnTo>
                    <a:lnTo>
                      <a:pt x="45" y="73"/>
                    </a:lnTo>
                    <a:lnTo>
                      <a:pt x="45" y="75"/>
                    </a:lnTo>
                    <a:lnTo>
                      <a:pt x="44" y="77"/>
                    </a:lnTo>
                    <a:lnTo>
                      <a:pt x="45" y="77"/>
                    </a:lnTo>
                    <a:lnTo>
                      <a:pt x="45" y="78"/>
                    </a:lnTo>
                    <a:lnTo>
                      <a:pt x="47" y="78"/>
                    </a:lnTo>
                    <a:lnTo>
                      <a:pt x="47" y="77"/>
                    </a:lnTo>
                    <a:lnTo>
                      <a:pt x="47" y="78"/>
                    </a:lnTo>
                    <a:lnTo>
                      <a:pt x="49" y="78"/>
                    </a:lnTo>
                    <a:lnTo>
                      <a:pt x="49" y="80"/>
                    </a:lnTo>
                    <a:lnTo>
                      <a:pt x="47" y="80"/>
                    </a:lnTo>
                    <a:lnTo>
                      <a:pt x="45" y="80"/>
                    </a:lnTo>
                    <a:lnTo>
                      <a:pt x="45" y="78"/>
                    </a:lnTo>
                    <a:lnTo>
                      <a:pt x="44" y="78"/>
                    </a:lnTo>
                    <a:lnTo>
                      <a:pt x="42" y="78"/>
                    </a:lnTo>
                    <a:lnTo>
                      <a:pt x="42" y="77"/>
                    </a:lnTo>
                    <a:lnTo>
                      <a:pt x="40" y="77"/>
                    </a:lnTo>
                    <a:lnTo>
                      <a:pt x="40" y="75"/>
                    </a:lnTo>
                    <a:lnTo>
                      <a:pt x="39" y="75"/>
                    </a:lnTo>
                    <a:lnTo>
                      <a:pt x="39" y="73"/>
                    </a:lnTo>
                    <a:lnTo>
                      <a:pt x="40" y="73"/>
                    </a:lnTo>
                    <a:lnTo>
                      <a:pt x="40" y="71"/>
                    </a:lnTo>
                    <a:lnTo>
                      <a:pt x="42" y="70"/>
                    </a:lnTo>
                    <a:lnTo>
                      <a:pt x="44" y="70"/>
                    </a:lnTo>
                    <a:lnTo>
                      <a:pt x="44" y="68"/>
                    </a:lnTo>
                    <a:lnTo>
                      <a:pt x="44" y="70"/>
                    </a:lnTo>
                    <a:close/>
                    <a:moveTo>
                      <a:pt x="141" y="41"/>
                    </a:moveTo>
                    <a:lnTo>
                      <a:pt x="141" y="43"/>
                    </a:lnTo>
                    <a:lnTo>
                      <a:pt x="141" y="41"/>
                    </a:lnTo>
                    <a:lnTo>
                      <a:pt x="141" y="43"/>
                    </a:lnTo>
                    <a:lnTo>
                      <a:pt x="142" y="43"/>
                    </a:lnTo>
                    <a:lnTo>
                      <a:pt x="142" y="44"/>
                    </a:lnTo>
                    <a:lnTo>
                      <a:pt x="141" y="44"/>
                    </a:lnTo>
                    <a:lnTo>
                      <a:pt x="142" y="44"/>
                    </a:lnTo>
                    <a:lnTo>
                      <a:pt x="142" y="46"/>
                    </a:lnTo>
                    <a:lnTo>
                      <a:pt x="142" y="44"/>
                    </a:lnTo>
                    <a:lnTo>
                      <a:pt x="142" y="46"/>
                    </a:lnTo>
                    <a:lnTo>
                      <a:pt x="141" y="46"/>
                    </a:lnTo>
                    <a:lnTo>
                      <a:pt x="139" y="46"/>
                    </a:lnTo>
                    <a:lnTo>
                      <a:pt x="139" y="48"/>
                    </a:lnTo>
                    <a:lnTo>
                      <a:pt x="139" y="49"/>
                    </a:lnTo>
                    <a:lnTo>
                      <a:pt x="141" y="49"/>
                    </a:lnTo>
                    <a:lnTo>
                      <a:pt x="139" y="49"/>
                    </a:lnTo>
                    <a:lnTo>
                      <a:pt x="139" y="48"/>
                    </a:lnTo>
                    <a:lnTo>
                      <a:pt x="137" y="48"/>
                    </a:lnTo>
                    <a:lnTo>
                      <a:pt x="137" y="46"/>
                    </a:lnTo>
                    <a:lnTo>
                      <a:pt x="139" y="46"/>
                    </a:lnTo>
                    <a:lnTo>
                      <a:pt x="137" y="46"/>
                    </a:lnTo>
                    <a:lnTo>
                      <a:pt x="139" y="44"/>
                    </a:lnTo>
                    <a:lnTo>
                      <a:pt x="137" y="44"/>
                    </a:lnTo>
                    <a:lnTo>
                      <a:pt x="137" y="43"/>
                    </a:lnTo>
                    <a:lnTo>
                      <a:pt x="137" y="41"/>
                    </a:lnTo>
                    <a:lnTo>
                      <a:pt x="139" y="41"/>
                    </a:lnTo>
                    <a:lnTo>
                      <a:pt x="141" y="41"/>
                    </a:lnTo>
                    <a:close/>
                    <a:moveTo>
                      <a:pt x="66" y="71"/>
                    </a:moveTo>
                    <a:lnTo>
                      <a:pt x="68" y="71"/>
                    </a:lnTo>
                    <a:lnTo>
                      <a:pt x="68" y="73"/>
                    </a:lnTo>
                    <a:lnTo>
                      <a:pt x="66" y="73"/>
                    </a:lnTo>
                    <a:lnTo>
                      <a:pt x="64" y="71"/>
                    </a:lnTo>
                    <a:lnTo>
                      <a:pt x="64" y="73"/>
                    </a:lnTo>
                    <a:lnTo>
                      <a:pt x="62" y="73"/>
                    </a:lnTo>
                    <a:lnTo>
                      <a:pt x="62" y="75"/>
                    </a:lnTo>
                    <a:lnTo>
                      <a:pt x="61" y="75"/>
                    </a:lnTo>
                    <a:lnTo>
                      <a:pt x="61" y="73"/>
                    </a:lnTo>
                    <a:lnTo>
                      <a:pt x="61" y="75"/>
                    </a:lnTo>
                    <a:lnTo>
                      <a:pt x="61" y="73"/>
                    </a:lnTo>
                    <a:lnTo>
                      <a:pt x="62" y="73"/>
                    </a:lnTo>
                    <a:lnTo>
                      <a:pt x="64" y="71"/>
                    </a:lnTo>
                    <a:lnTo>
                      <a:pt x="66" y="71"/>
                    </a:lnTo>
                    <a:close/>
                    <a:moveTo>
                      <a:pt x="27" y="7"/>
                    </a:moveTo>
                    <a:lnTo>
                      <a:pt x="27" y="9"/>
                    </a:lnTo>
                    <a:lnTo>
                      <a:pt x="27" y="10"/>
                    </a:lnTo>
                    <a:lnTo>
                      <a:pt x="27" y="12"/>
                    </a:lnTo>
                    <a:lnTo>
                      <a:pt x="27" y="10"/>
                    </a:lnTo>
                    <a:lnTo>
                      <a:pt x="25" y="10"/>
                    </a:lnTo>
                    <a:lnTo>
                      <a:pt x="25" y="9"/>
                    </a:lnTo>
                    <a:lnTo>
                      <a:pt x="25" y="7"/>
                    </a:lnTo>
                    <a:lnTo>
                      <a:pt x="27" y="7"/>
                    </a:lnTo>
                    <a:close/>
                    <a:moveTo>
                      <a:pt x="28" y="10"/>
                    </a:moveTo>
                    <a:lnTo>
                      <a:pt x="30" y="10"/>
                    </a:lnTo>
                    <a:lnTo>
                      <a:pt x="30" y="12"/>
                    </a:lnTo>
                    <a:lnTo>
                      <a:pt x="32" y="12"/>
                    </a:lnTo>
                    <a:lnTo>
                      <a:pt x="32" y="14"/>
                    </a:lnTo>
                    <a:lnTo>
                      <a:pt x="30" y="14"/>
                    </a:lnTo>
                    <a:lnTo>
                      <a:pt x="30" y="12"/>
                    </a:lnTo>
                    <a:lnTo>
                      <a:pt x="28" y="12"/>
                    </a:lnTo>
                    <a:lnTo>
                      <a:pt x="30" y="12"/>
                    </a:lnTo>
                    <a:lnTo>
                      <a:pt x="28" y="12"/>
                    </a:lnTo>
                    <a:lnTo>
                      <a:pt x="28" y="10"/>
                    </a:lnTo>
                    <a:close/>
                    <a:moveTo>
                      <a:pt x="32" y="15"/>
                    </a:moveTo>
                    <a:lnTo>
                      <a:pt x="32" y="17"/>
                    </a:lnTo>
                    <a:lnTo>
                      <a:pt x="34" y="17"/>
                    </a:lnTo>
                    <a:lnTo>
                      <a:pt x="32" y="17"/>
                    </a:lnTo>
                    <a:lnTo>
                      <a:pt x="32" y="19"/>
                    </a:lnTo>
                    <a:lnTo>
                      <a:pt x="32" y="17"/>
                    </a:lnTo>
                    <a:lnTo>
                      <a:pt x="30" y="17"/>
                    </a:lnTo>
                    <a:lnTo>
                      <a:pt x="30" y="15"/>
                    </a:lnTo>
                    <a:lnTo>
                      <a:pt x="32" y="15"/>
                    </a:lnTo>
                    <a:close/>
                    <a:moveTo>
                      <a:pt x="134" y="46"/>
                    </a:moveTo>
                    <a:lnTo>
                      <a:pt x="134" y="48"/>
                    </a:lnTo>
                    <a:lnTo>
                      <a:pt x="134" y="49"/>
                    </a:lnTo>
                    <a:lnTo>
                      <a:pt x="132" y="49"/>
                    </a:lnTo>
                    <a:lnTo>
                      <a:pt x="132" y="48"/>
                    </a:lnTo>
                    <a:lnTo>
                      <a:pt x="132" y="46"/>
                    </a:lnTo>
                    <a:lnTo>
                      <a:pt x="134" y="46"/>
                    </a:lnTo>
                    <a:close/>
                    <a:moveTo>
                      <a:pt x="23" y="48"/>
                    </a:moveTo>
                    <a:lnTo>
                      <a:pt x="25" y="48"/>
                    </a:lnTo>
                    <a:lnTo>
                      <a:pt x="23" y="48"/>
                    </a:lnTo>
                    <a:lnTo>
                      <a:pt x="25" y="49"/>
                    </a:lnTo>
                    <a:lnTo>
                      <a:pt x="23" y="49"/>
                    </a:lnTo>
                    <a:lnTo>
                      <a:pt x="22" y="49"/>
                    </a:lnTo>
                    <a:lnTo>
                      <a:pt x="22" y="48"/>
                    </a:lnTo>
                    <a:lnTo>
                      <a:pt x="20" y="48"/>
                    </a:lnTo>
                    <a:lnTo>
                      <a:pt x="22" y="48"/>
                    </a:lnTo>
                    <a:lnTo>
                      <a:pt x="23" y="48"/>
                    </a:lnTo>
                    <a:close/>
                    <a:moveTo>
                      <a:pt x="25" y="12"/>
                    </a:moveTo>
                    <a:lnTo>
                      <a:pt x="27" y="12"/>
                    </a:lnTo>
                    <a:lnTo>
                      <a:pt x="27" y="15"/>
                    </a:lnTo>
                    <a:lnTo>
                      <a:pt x="25" y="15"/>
                    </a:lnTo>
                    <a:lnTo>
                      <a:pt x="25" y="12"/>
                    </a:lnTo>
                    <a:close/>
                    <a:moveTo>
                      <a:pt x="25" y="49"/>
                    </a:moveTo>
                    <a:lnTo>
                      <a:pt x="27" y="49"/>
                    </a:lnTo>
                    <a:lnTo>
                      <a:pt x="28" y="49"/>
                    </a:lnTo>
                    <a:lnTo>
                      <a:pt x="27" y="49"/>
                    </a:lnTo>
                    <a:lnTo>
                      <a:pt x="27" y="51"/>
                    </a:lnTo>
                    <a:lnTo>
                      <a:pt x="25" y="49"/>
                    </a:lnTo>
                    <a:close/>
                    <a:moveTo>
                      <a:pt x="42" y="82"/>
                    </a:moveTo>
                    <a:lnTo>
                      <a:pt x="44" y="82"/>
                    </a:lnTo>
                    <a:lnTo>
                      <a:pt x="44" y="83"/>
                    </a:lnTo>
                    <a:lnTo>
                      <a:pt x="42" y="83"/>
                    </a:lnTo>
                    <a:lnTo>
                      <a:pt x="42" y="82"/>
                    </a:lnTo>
                    <a:close/>
                    <a:moveTo>
                      <a:pt x="23" y="48"/>
                    </a:moveTo>
                    <a:lnTo>
                      <a:pt x="25" y="48"/>
                    </a:lnTo>
                    <a:lnTo>
                      <a:pt x="23" y="48"/>
                    </a:lnTo>
                    <a:lnTo>
                      <a:pt x="22" y="48"/>
                    </a:lnTo>
                    <a:lnTo>
                      <a:pt x="23" y="48"/>
                    </a:lnTo>
                    <a:close/>
                    <a:moveTo>
                      <a:pt x="132" y="43"/>
                    </a:moveTo>
                    <a:lnTo>
                      <a:pt x="134" y="43"/>
                    </a:lnTo>
                    <a:lnTo>
                      <a:pt x="134" y="44"/>
                    </a:lnTo>
                    <a:lnTo>
                      <a:pt x="132" y="44"/>
                    </a:lnTo>
                    <a:lnTo>
                      <a:pt x="132" y="43"/>
                    </a:lnTo>
                    <a:close/>
                    <a:moveTo>
                      <a:pt x="64" y="65"/>
                    </a:moveTo>
                    <a:lnTo>
                      <a:pt x="66" y="65"/>
                    </a:lnTo>
                    <a:lnTo>
                      <a:pt x="66" y="66"/>
                    </a:lnTo>
                    <a:lnTo>
                      <a:pt x="64" y="66"/>
                    </a:lnTo>
                    <a:lnTo>
                      <a:pt x="64" y="65"/>
                    </a:lnTo>
                    <a:close/>
                    <a:moveTo>
                      <a:pt x="34" y="17"/>
                    </a:moveTo>
                    <a:lnTo>
                      <a:pt x="35" y="17"/>
                    </a:lnTo>
                    <a:lnTo>
                      <a:pt x="35" y="19"/>
                    </a:lnTo>
                    <a:lnTo>
                      <a:pt x="34" y="19"/>
                    </a:lnTo>
                    <a:lnTo>
                      <a:pt x="34" y="17"/>
                    </a:lnTo>
                    <a:close/>
                    <a:moveTo>
                      <a:pt x="23" y="53"/>
                    </a:moveTo>
                    <a:lnTo>
                      <a:pt x="25" y="53"/>
                    </a:lnTo>
                    <a:lnTo>
                      <a:pt x="25" y="54"/>
                    </a:lnTo>
                    <a:lnTo>
                      <a:pt x="23" y="54"/>
                    </a:lnTo>
                    <a:lnTo>
                      <a:pt x="23" y="53"/>
                    </a:lnTo>
                    <a:close/>
                    <a:moveTo>
                      <a:pt x="44" y="51"/>
                    </a:moveTo>
                    <a:lnTo>
                      <a:pt x="45" y="51"/>
                    </a:lnTo>
                    <a:lnTo>
                      <a:pt x="45" y="54"/>
                    </a:lnTo>
                    <a:lnTo>
                      <a:pt x="44" y="54"/>
                    </a:lnTo>
                    <a:lnTo>
                      <a:pt x="44" y="51"/>
                    </a:lnTo>
                    <a:close/>
                    <a:moveTo>
                      <a:pt x="23" y="46"/>
                    </a:moveTo>
                    <a:lnTo>
                      <a:pt x="25" y="46"/>
                    </a:lnTo>
                    <a:lnTo>
                      <a:pt x="25" y="48"/>
                    </a:lnTo>
                    <a:lnTo>
                      <a:pt x="23" y="48"/>
                    </a:lnTo>
                    <a:lnTo>
                      <a:pt x="23" y="46"/>
                    </a:lnTo>
                    <a:close/>
                    <a:moveTo>
                      <a:pt x="61" y="71"/>
                    </a:moveTo>
                    <a:lnTo>
                      <a:pt x="62" y="71"/>
                    </a:lnTo>
                    <a:lnTo>
                      <a:pt x="61" y="71"/>
                    </a:lnTo>
                    <a:close/>
                    <a:moveTo>
                      <a:pt x="135" y="41"/>
                    </a:moveTo>
                    <a:lnTo>
                      <a:pt x="137" y="41"/>
                    </a:lnTo>
                    <a:lnTo>
                      <a:pt x="137" y="43"/>
                    </a:lnTo>
                    <a:lnTo>
                      <a:pt x="135" y="43"/>
                    </a:lnTo>
                    <a:lnTo>
                      <a:pt x="135" y="41"/>
                    </a:lnTo>
                    <a:close/>
                    <a:moveTo>
                      <a:pt x="117" y="29"/>
                    </a:moveTo>
                    <a:lnTo>
                      <a:pt x="118" y="29"/>
                    </a:lnTo>
                    <a:lnTo>
                      <a:pt x="118" y="31"/>
                    </a:lnTo>
                    <a:lnTo>
                      <a:pt x="117" y="31"/>
                    </a:lnTo>
                    <a:lnTo>
                      <a:pt x="117" y="29"/>
                    </a:lnTo>
                    <a:close/>
                    <a:moveTo>
                      <a:pt x="142" y="43"/>
                    </a:moveTo>
                    <a:lnTo>
                      <a:pt x="142" y="44"/>
                    </a:lnTo>
                    <a:lnTo>
                      <a:pt x="142" y="43"/>
                    </a:lnTo>
                    <a:close/>
                    <a:moveTo>
                      <a:pt x="30" y="17"/>
                    </a:moveTo>
                    <a:lnTo>
                      <a:pt x="30" y="19"/>
                    </a:lnTo>
                    <a:lnTo>
                      <a:pt x="30" y="17"/>
                    </a:lnTo>
                    <a:close/>
                    <a:moveTo>
                      <a:pt x="164" y="41"/>
                    </a:moveTo>
                    <a:lnTo>
                      <a:pt x="164" y="43"/>
                    </a:lnTo>
                    <a:lnTo>
                      <a:pt x="164" y="41"/>
                    </a:lnTo>
                    <a:close/>
                    <a:moveTo>
                      <a:pt x="134" y="36"/>
                    </a:moveTo>
                    <a:lnTo>
                      <a:pt x="135" y="36"/>
                    </a:lnTo>
                    <a:lnTo>
                      <a:pt x="134" y="36"/>
                    </a:lnTo>
                    <a:close/>
                    <a:moveTo>
                      <a:pt x="62" y="63"/>
                    </a:moveTo>
                    <a:lnTo>
                      <a:pt x="64" y="63"/>
                    </a:lnTo>
                    <a:lnTo>
                      <a:pt x="62" y="63"/>
                    </a:lnTo>
                    <a:close/>
                    <a:moveTo>
                      <a:pt x="134" y="39"/>
                    </a:moveTo>
                    <a:lnTo>
                      <a:pt x="135" y="39"/>
                    </a:lnTo>
                    <a:lnTo>
                      <a:pt x="135" y="41"/>
                    </a:lnTo>
                    <a:lnTo>
                      <a:pt x="134" y="41"/>
                    </a:lnTo>
                    <a:lnTo>
                      <a:pt x="134" y="39"/>
                    </a:lnTo>
                    <a:close/>
                    <a:moveTo>
                      <a:pt x="135" y="39"/>
                    </a:moveTo>
                    <a:lnTo>
                      <a:pt x="135" y="41"/>
                    </a:lnTo>
                    <a:lnTo>
                      <a:pt x="135" y="39"/>
                    </a:lnTo>
                    <a:close/>
                    <a:moveTo>
                      <a:pt x="115" y="36"/>
                    </a:moveTo>
                    <a:lnTo>
                      <a:pt x="117" y="36"/>
                    </a:lnTo>
                    <a:lnTo>
                      <a:pt x="117" y="37"/>
                    </a:lnTo>
                    <a:lnTo>
                      <a:pt x="115" y="37"/>
                    </a:lnTo>
                    <a:lnTo>
                      <a:pt x="115" y="36"/>
                    </a:lnTo>
                    <a:close/>
                    <a:moveTo>
                      <a:pt x="47" y="66"/>
                    </a:moveTo>
                    <a:lnTo>
                      <a:pt x="49" y="66"/>
                    </a:lnTo>
                    <a:lnTo>
                      <a:pt x="49" y="68"/>
                    </a:lnTo>
                    <a:lnTo>
                      <a:pt x="47" y="68"/>
                    </a:lnTo>
                    <a:lnTo>
                      <a:pt x="47" y="66"/>
                    </a:lnTo>
                    <a:close/>
                    <a:moveTo>
                      <a:pt x="45" y="68"/>
                    </a:moveTo>
                    <a:lnTo>
                      <a:pt x="45" y="70"/>
                    </a:lnTo>
                    <a:lnTo>
                      <a:pt x="45" y="68"/>
                    </a:lnTo>
                    <a:close/>
                    <a:moveTo>
                      <a:pt x="23" y="14"/>
                    </a:moveTo>
                    <a:lnTo>
                      <a:pt x="25" y="14"/>
                    </a:lnTo>
                    <a:lnTo>
                      <a:pt x="25" y="15"/>
                    </a:lnTo>
                    <a:lnTo>
                      <a:pt x="23" y="15"/>
                    </a:lnTo>
                    <a:lnTo>
                      <a:pt x="23" y="14"/>
                    </a:lnTo>
                    <a:close/>
                    <a:moveTo>
                      <a:pt x="180" y="24"/>
                    </a:moveTo>
                    <a:lnTo>
                      <a:pt x="180" y="26"/>
                    </a:lnTo>
                    <a:lnTo>
                      <a:pt x="180" y="24"/>
                    </a:lnTo>
                    <a:close/>
                    <a:moveTo>
                      <a:pt x="49" y="65"/>
                    </a:moveTo>
                    <a:lnTo>
                      <a:pt x="51" y="65"/>
                    </a:lnTo>
                    <a:lnTo>
                      <a:pt x="51" y="66"/>
                    </a:lnTo>
                    <a:lnTo>
                      <a:pt x="49" y="66"/>
                    </a:lnTo>
                    <a:lnTo>
                      <a:pt x="49" y="65"/>
                    </a:lnTo>
                    <a:close/>
                    <a:moveTo>
                      <a:pt x="27" y="49"/>
                    </a:moveTo>
                    <a:lnTo>
                      <a:pt x="28" y="49"/>
                    </a:lnTo>
                    <a:lnTo>
                      <a:pt x="27" y="49"/>
                    </a:lnTo>
                    <a:close/>
                    <a:moveTo>
                      <a:pt x="34" y="58"/>
                    </a:moveTo>
                    <a:lnTo>
                      <a:pt x="35" y="58"/>
                    </a:lnTo>
                    <a:lnTo>
                      <a:pt x="34" y="58"/>
                    </a:lnTo>
                    <a:close/>
                    <a:moveTo>
                      <a:pt x="158" y="44"/>
                    </a:moveTo>
                    <a:lnTo>
                      <a:pt x="159" y="44"/>
                    </a:lnTo>
                    <a:lnTo>
                      <a:pt x="159" y="46"/>
                    </a:lnTo>
                    <a:lnTo>
                      <a:pt x="158" y="46"/>
                    </a:lnTo>
                    <a:lnTo>
                      <a:pt x="158" y="44"/>
                    </a:lnTo>
                    <a:close/>
                    <a:moveTo>
                      <a:pt x="135" y="41"/>
                    </a:moveTo>
                    <a:lnTo>
                      <a:pt x="137" y="41"/>
                    </a:lnTo>
                    <a:lnTo>
                      <a:pt x="135" y="41"/>
                    </a:lnTo>
                    <a:close/>
                    <a:moveTo>
                      <a:pt x="66" y="60"/>
                    </a:moveTo>
                    <a:lnTo>
                      <a:pt x="66" y="61"/>
                    </a:lnTo>
                    <a:lnTo>
                      <a:pt x="66" y="60"/>
                    </a:lnTo>
                    <a:close/>
                    <a:moveTo>
                      <a:pt x="117" y="0"/>
                    </a:moveTo>
                    <a:lnTo>
                      <a:pt x="118" y="0"/>
                    </a:lnTo>
                    <a:lnTo>
                      <a:pt x="118" y="2"/>
                    </a:lnTo>
                    <a:lnTo>
                      <a:pt x="117" y="2"/>
                    </a:lnTo>
                    <a:lnTo>
                      <a:pt x="117" y="0"/>
                    </a:lnTo>
                    <a:close/>
                    <a:moveTo>
                      <a:pt x="147" y="2"/>
                    </a:moveTo>
                    <a:lnTo>
                      <a:pt x="147" y="3"/>
                    </a:lnTo>
                    <a:lnTo>
                      <a:pt x="147" y="2"/>
                    </a:lnTo>
                    <a:close/>
                    <a:moveTo>
                      <a:pt x="27" y="10"/>
                    </a:moveTo>
                    <a:lnTo>
                      <a:pt x="28" y="10"/>
                    </a:lnTo>
                    <a:lnTo>
                      <a:pt x="28" y="12"/>
                    </a:lnTo>
                    <a:lnTo>
                      <a:pt x="27" y="12"/>
                    </a:lnTo>
                    <a:lnTo>
                      <a:pt x="27" y="10"/>
                    </a:lnTo>
                    <a:close/>
                    <a:moveTo>
                      <a:pt x="27" y="14"/>
                    </a:moveTo>
                    <a:lnTo>
                      <a:pt x="27" y="15"/>
                    </a:lnTo>
                    <a:lnTo>
                      <a:pt x="27" y="14"/>
                    </a:lnTo>
                    <a:close/>
                    <a:moveTo>
                      <a:pt x="30" y="51"/>
                    </a:moveTo>
                    <a:lnTo>
                      <a:pt x="32" y="51"/>
                    </a:lnTo>
                    <a:lnTo>
                      <a:pt x="30" y="51"/>
                    </a:lnTo>
                    <a:close/>
                    <a:moveTo>
                      <a:pt x="93" y="46"/>
                    </a:moveTo>
                    <a:lnTo>
                      <a:pt x="95" y="46"/>
                    </a:lnTo>
                    <a:lnTo>
                      <a:pt x="93" y="46"/>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11" name="Freeform 45">
                <a:extLst>
                  <a:ext uri="{FF2B5EF4-FFF2-40B4-BE49-F238E27FC236}">
                    <a16:creationId xmlns:a16="http://schemas.microsoft.com/office/drawing/2014/main" id="{5BCAA383-C087-65C9-CA1A-7F3F9AFE3284}"/>
                  </a:ext>
                </a:extLst>
              </p:cNvPr>
              <p:cNvSpPr>
                <a:spLocks/>
              </p:cNvSpPr>
              <p:nvPr/>
            </p:nvSpPr>
            <p:spPr bwMode="auto">
              <a:xfrm>
                <a:off x="6294438" y="3508375"/>
                <a:ext cx="450850" cy="485775"/>
              </a:xfrm>
              <a:custGeom>
                <a:avLst/>
                <a:gdLst>
                  <a:gd name="T0" fmla="*/ 155 w 284"/>
                  <a:gd name="T1" fmla="*/ 39 h 306"/>
                  <a:gd name="T2" fmla="*/ 158 w 284"/>
                  <a:gd name="T3" fmla="*/ 51 h 306"/>
                  <a:gd name="T4" fmla="*/ 161 w 284"/>
                  <a:gd name="T5" fmla="*/ 58 h 306"/>
                  <a:gd name="T6" fmla="*/ 161 w 284"/>
                  <a:gd name="T7" fmla="*/ 68 h 306"/>
                  <a:gd name="T8" fmla="*/ 160 w 284"/>
                  <a:gd name="T9" fmla="*/ 80 h 306"/>
                  <a:gd name="T10" fmla="*/ 158 w 284"/>
                  <a:gd name="T11" fmla="*/ 92 h 306"/>
                  <a:gd name="T12" fmla="*/ 158 w 284"/>
                  <a:gd name="T13" fmla="*/ 100 h 306"/>
                  <a:gd name="T14" fmla="*/ 167 w 284"/>
                  <a:gd name="T15" fmla="*/ 102 h 306"/>
                  <a:gd name="T16" fmla="*/ 178 w 284"/>
                  <a:gd name="T17" fmla="*/ 107 h 306"/>
                  <a:gd name="T18" fmla="*/ 189 w 284"/>
                  <a:gd name="T19" fmla="*/ 107 h 306"/>
                  <a:gd name="T20" fmla="*/ 201 w 284"/>
                  <a:gd name="T21" fmla="*/ 105 h 306"/>
                  <a:gd name="T22" fmla="*/ 207 w 284"/>
                  <a:gd name="T23" fmla="*/ 103 h 306"/>
                  <a:gd name="T24" fmla="*/ 216 w 284"/>
                  <a:gd name="T25" fmla="*/ 105 h 306"/>
                  <a:gd name="T26" fmla="*/ 226 w 284"/>
                  <a:gd name="T27" fmla="*/ 109 h 306"/>
                  <a:gd name="T28" fmla="*/ 235 w 284"/>
                  <a:gd name="T29" fmla="*/ 117 h 306"/>
                  <a:gd name="T30" fmla="*/ 236 w 284"/>
                  <a:gd name="T31" fmla="*/ 131 h 306"/>
                  <a:gd name="T32" fmla="*/ 240 w 284"/>
                  <a:gd name="T33" fmla="*/ 143 h 306"/>
                  <a:gd name="T34" fmla="*/ 241 w 284"/>
                  <a:gd name="T35" fmla="*/ 156 h 306"/>
                  <a:gd name="T36" fmla="*/ 243 w 284"/>
                  <a:gd name="T37" fmla="*/ 166 h 306"/>
                  <a:gd name="T38" fmla="*/ 253 w 284"/>
                  <a:gd name="T39" fmla="*/ 170 h 306"/>
                  <a:gd name="T40" fmla="*/ 263 w 284"/>
                  <a:gd name="T41" fmla="*/ 166 h 306"/>
                  <a:gd name="T42" fmla="*/ 277 w 284"/>
                  <a:gd name="T43" fmla="*/ 166 h 306"/>
                  <a:gd name="T44" fmla="*/ 282 w 284"/>
                  <a:gd name="T45" fmla="*/ 180 h 306"/>
                  <a:gd name="T46" fmla="*/ 282 w 284"/>
                  <a:gd name="T47" fmla="*/ 195 h 306"/>
                  <a:gd name="T48" fmla="*/ 277 w 284"/>
                  <a:gd name="T49" fmla="*/ 212 h 306"/>
                  <a:gd name="T50" fmla="*/ 272 w 284"/>
                  <a:gd name="T51" fmla="*/ 229 h 306"/>
                  <a:gd name="T52" fmla="*/ 272 w 284"/>
                  <a:gd name="T53" fmla="*/ 245 h 306"/>
                  <a:gd name="T54" fmla="*/ 270 w 284"/>
                  <a:gd name="T55" fmla="*/ 257 h 306"/>
                  <a:gd name="T56" fmla="*/ 265 w 284"/>
                  <a:gd name="T57" fmla="*/ 270 h 306"/>
                  <a:gd name="T58" fmla="*/ 253 w 284"/>
                  <a:gd name="T59" fmla="*/ 280 h 306"/>
                  <a:gd name="T60" fmla="*/ 240 w 284"/>
                  <a:gd name="T61" fmla="*/ 287 h 306"/>
                  <a:gd name="T62" fmla="*/ 236 w 284"/>
                  <a:gd name="T63" fmla="*/ 297 h 306"/>
                  <a:gd name="T64" fmla="*/ 223 w 284"/>
                  <a:gd name="T65" fmla="*/ 296 h 306"/>
                  <a:gd name="T66" fmla="*/ 212 w 284"/>
                  <a:gd name="T67" fmla="*/ 304 h 306"/>
                  <a:gd name="T68" fmla="*/ 199 w 284"/>
                  <a:gd name="T69" fmla="*/ 303 h 306"/>
                  <a:gd name="T70" fmla="*/ 185 w 284"/>
                  <a:gd name="T71" fmla="*/ 301 h 306"/>
                  <a:gd name="T72" fmla="*/ 170 w 284"/>
                  <a:gd name="T73" fmla="*/ 297 h 306"/>
                  <a:gd name="T74" fmla="*/ 153 w 284"/>
                  <a:gd name="T75" fmla="*/ 294 h 306"/>
                  <a:gd name="T76" fmla="*/ 136 w 284"/>
                  <a:gd name="T77" fmla="*/ 296 h 306"/>
                  <a:gd name="T78" fmla="*/ 139 w 284"/>
                  <a:gd name="T79" fmla="*/ 287 h 306"/>
                  <a:gd name="T80" fmla="*/ 144 w 284"/>
                  <a:gd name="T81" fmla="*/ 280 h 306"/>
                  <a:gd name="T82" fmla="*/ 151 w 284"/>
                  <a:gd name="T83" fmla="*/ 270 h 306"/>
                  <a:gd name="T84" fmla="*/ 151 w 284"/>
                  <a:gd name="T85" fmla="*/ 260 h 306"/>
                  <a:gd name="T86" fmla="*/ 156 w 284"/>
                  <a:gd name="T87" fmla="*/ 250 h 306"/>
                  <a:gd name="T88" fmla="*/ 163 w 284"/>
                  <a:gd name="T89" fmla="*/ 240 h 306"/>
                  <a:gd name="T90" fmla="*/ 168 w 284"/>
                  <a:gd name="T91" fmla="*/ 231 h 306"/>
                  <a:gd name="T92" fmla="*/ 167 w 284"/>
                  <a:gd name="T93" fmla="*/ 221 h 306"/>
                  <a:gd name="T94" fmla="*/ 161 w 284"/>
                  <a:gd name="T95" fmla="*/ 211 h 306"/>
                  <a:gd name="T96" fmla="*/ 153 w 284"/>
                  <a:gd name="T97" fmla="*/ 207 h 306"/>
                  <a:gd name="T98" fmla="*/ 143 w 284"/>
                  <a:gd name="T99" fmla="*/ 204 h 306"/>
                  <a:gd name="T100" fmla="*/ 129 w 284"/>
                  <a:gd name="T101" fmla="*/ 199 h 306"/>
                  <a:gd name="T102" fmla="*/ 114 w 284"/>
                  <a:gd name="T103" fmla="*/ 190 h 306"/>
                  <a:gd name="T104" fmla="*/ 83 w 284"/>
                  <a:gd name="T105" fmla="*/ 173 h 306"/>
                  <a:gd name="T106" fmla="*/ 68 w 284"/>
                  <a:gd name="T107" fmla="*/ 168 h 306"/>
                  <a:gd name="T108" fmla="*/ 54 w 284"/>
                  <a:gd name="T109" fmla="*/ 161 h 306"/>
                  <a:gd name="T110" fmla="*/ 46 w 284"/>
                  <a:gd name="T111" fmla="*/ 151 h 306"/>
                  <a:gd name="T112" fmla="*/ 34 w 284"/>
                  <a:gd name="T113" fmla="*/ 144 h 306"/>
                  <a:gd name="T114" fmla="*/ 22 w 284"/>
                  <a:gd name="T115" fmla="*/ 136 h 306"/>
                  <a:gd name="T116" fmla="*/ 14 w 284"/>
                  <a:gd name="T117" fmla="*/ 122 h 306"/>
                  <a:gd name="T118" fmla="*/ 10 w 284"/>
                  <a:gd name="T119" fmla="*/ 115 h 306"/>
                  <a:gd name="T120" fmla="*/ 0 w 284"/>
                  <a:gd name="T121" fmla="*/ 109 h 306"/>
                  <a:gd name="T122" fmla="*/ 25 w 284"/>
                  <a:gd name="T123" fmla="*/ 27 h 306"/>
                  <a:gd name="T124" fmla="*/ 151 w 284"/>
                  <a:gd name="T125" fmla="*/ 2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4" h="306">
                    <a:moveTo>
                      <a:pt x="151" y="32"/>
                    </a:moveTo>
                    <a:lnTo>
                      <a:pt x="153" y="32"/>
                    </a:lnTo>
                    <a:lnTo>
                      <a:pt x="153" y="34"/>
                    </a:lnTo>
                    <a:lnTo>
                      <a:pt x="151" y="34"/>
                    </a:lnTo>
                    <a:lnTo>
                      <a:pt x="151" y="35"/>
                    </a:lnTo>
                    <a:lnTo>
                      <a:pt x="153" y="35"/>
                    </a:lnTo>
                    <a:lnTo>
                      <a:pt x="153" y="34"/>
                    </a:lnTo>
                    <a:lnTo>
                      <a:pt x="155" y="35"/>
                    </a:lnTo>
                    <a:lnTo>
                      <a:pt x="153" y="37"/>
                    </a:lnTo>
                    <a:lnTo>
                      <a:pt x="155" y="37"/>
                    </a:lnTo>
                    <a:lnTo>
                      <a:pt x="155" y="39"/>
                    </a:lnTo>
                    <a:lnTo>
                      <a:pt x="156" y="41"/>
                    </a:lnTo>
                    <a:lnTo>
                      <a:pt x="158" y="41"/>
                    </a:lnTo>
                    <a:lnTo>
                      <a:pt x="158" y="42"/>
                    </a:lnTo>
                    <a:lnTo>
                      <a:pt x="156" y="42"/>
                    </a:lnTo>
                    <a:lnTo>
                      <a:pt x="156" y="44"/>
                    </a:lnTo>
                    <a:lnTo>
                      <a:pt x="156" y="46"/>
                    </a:lnTo>
                    <a:lnTo>
                      <a:pt x="158" y="46"/>
                    </a:lnTo>
                    <a:lnTo>
                      <a:pt x="156" y="47"/>
                    </a:lnTo>
                    <a:lnTo>
                      <a:pt x="158" y="47"/>
                    </a:lnTo>
                    <a:lnTo>
                      <a:pt x="158" y="49"/>
                    </a:lnTo>
                    <a:lnTo>
                      <a:pt x="158" y="51"/>
                    </a:lnTo>
                    <a:lnTo>
                      <a:pt x="160" y="51"/>
                    </a:lnTo>
                    <a:lnTo>
                      <a:pt x="160" y="49"/>
                    </a:lnTo>
                    <a:lnTo>
                      <a:pt x="160" y="51"/>
                    </a:lnTo>
                    <a:lnTo>
                      <a:pt x="161" y="51"/>
                    </a:lnTo>
                    <a:lnTo>
                      <a:pt x="161" y="52"/>
                    </a:lnTo>
                    <a:lnTo>
                      <a:pt x="160" y="52"/>
                    </a:lnTo>
                    <a:lnTo>
                      <a:pt x="158" y="54"/>
                    </a:lnTo>
                    <a:lnTo>
                      <a:pt x="160" y="54"/>
                    </a:lnTo>
                    <a:lnTo>
                      <a:pt x="161" y="54"/>
                    </a:lnTo>
                    <a:lnTo>
                      <a:pt x="161" y="56"/>
                    </a:lnTo>
                    <a:lnTo>
                      <a:pt x="161" y="58"/>
                    </a:lnTo>
                    <a:lnTo>
                      <a:pt x="160" y="58"/>
                    </a:lnTo>
                    <a:lnTo>
                      <a:pt x="161" y="58"/>
                    </a:lnTo>
                    <a:lnTo>
                      <a:pt x="161" y="59"/>
                    </a:lnTo>
                    <a:lnTo>
                      <a:pt x="163" y="59"/>
                    </a:lnTo>
                    <a:lnTo>
                      <a:pt x="163" y="61"/>
                    </a:lnTo>
                    <a:lnTo>
                      <a:pt x="163" y="63"/>
                    </a:lnTo>
                    <a:lnTo>
                      <a:pt x="161" y="63"/>
                    </a:lnTo>
                    <a:lnTo>
                      <a:pt x="161" y="64"/>
                    </a:lnTo>
                    <a:lnTo>
                      <a:pt x="163" y="64"/>
                    </a:lnTo>
                    <a:lnTo>
                      <a:pt x="161" y="66"/>
                    </a:lnTo>
                    <a:lnTo>
                      <a:pt x="161" y="68"/>
                    </a:lnTo>
                    <a:lnTo>
                      <a:pt x="163" y="68"/>
                    </a:lnTo>
                    <a:lnTo>
                      <a:pt x="163" y="69"/>
                    </a:lnTo>
                    <a:lnTo>
                      <a:pt x="161" y="69"/>
                    </a:lnTo>
                    <a:lnTo>
                      <a:pt x="161" y="71"/>
                    </a:lnTo>
                    <a:lnTo>
                      <a:pt x="160" y="71"/>
                    </a:lnTo>
                    <a:lnTo>
                      <a:pt x="161" y="73"/>
                    </a:lnTo>
                    <a:lnTo>
                      <a:pt x="161" y="75"/>
                    </a:lnTo>
                    <a:lnTo>
                      <a:pt x="161" y="76"/>
                    </a:lnTo>
                    <a:lnTo>
                      <a:pt x="160" y="76"/>
                    </a:lnTo>
                    <a:lnTo>
                      <a:pt x="160" y="78"/>
                    </a:lnTo>
                    <a:lnTo>
                      <a:pt x="160" y="80"/>
                    </a:lnTo>
                    <a:lnTo>
                      <a:pt x="158" y="80"/>
                    </a:lnTo>
                    <a:lnTo>
                      <a:pt x="158" y="81"/>
                    </a:lnTo>
                    <a:lnTo>
                      <a:pt x="160" y="81"/>
                    </a:lnTo>
                    <a:lnTo>
                      <a:pt x="160" y="83"/>
                    </a:lnTo>
                    <a:lnTo>
                      <a:pt x="160" y="85"/>
                    </a:lnTo>
                    <a:lnTo>
                      <a:pt x="160" y="86"/>
                    </a:lnTo>
                    <a:lnTo>
                      <a:pt x="161" y="86"/>
                    </a:lnTo>
                    <a:lnTo>
                      <a:pt x="160" y="88"/>
                    </a:lnTo>
                    <a:lnTo>
                      <a:pt x="160" y="90"/>
                    </a:lnTo>
                    <a:lnTo>
                      <a:pt x="160" y="92"/>
                    </a:lnTo>
                    <a:lnTo>
                      <a:pt x="158" y="92"/>
                    </a:lnTo>
                    <a:lnTo>
                      <a:pt x="158" y="93"/>
                    </a:lnTo>
                    <a:lnTo>
                      <a:pt x="160" y="93"/>
                    </a:lnTo>
                    <a:lnTo>
                      <a:pt x="160" y="95"/>
                    </a:lnTo>
                    <a:lnTo>
                      <a:pt x="160" y="97"/>
                    </a:lnTo>
                    <a:lnTo>
                      <a:pt x="158" y="97"/>
                    </a:lnTo>
                    <a:lnTo>
                      <a:pt x="158" y="98"/>
                    </a:lnTo>
                    <a:lnTo>
                      <a:pt x="156" y="98"/>
                    </a:lnTo>
                    <a:lnTo>
                      <a:pt x="156" y="100"/>
                    </a:lnTo>
                    <a:lnTo>
                      <a:pt x="158" y="100"/>
                    </a:lnTo>
                    <a:lnTo>
                      <a:pt x="158" y="102"/>
                    </a:lnTo>
                    <a:lnTo>
                      <a:pt x="158" y="100"/>
                    </a:lnTo>
                    <a:lnTo>
                      <a:pt x="160" y="100"/>
                    </a:lnTo>
                    <a:lnTo>
                      <a:pt x="160" y="102"/>
                    </a:lnTo>
                    <a:lnTo>
                      <a:pt x="161" y="102"/>
                    </a:lnTo>
                    <a:lnTo>
                      <a:pt x="161" y="103"/>
                    </a:lnTo>
                    <a:lnTo>
                      <a:pt x="161" y="102"/>
                    </a:lnTo>
                    <a:lnTo>
                      <a:pt x="163" y="102"/>
                    </a:lnTo>
                    <a:lnTo>
                      <a:pt x="163" y="103"/>
                    </a:lnTo>
                    <a:lnTo>
                      <a:pt x="165" y="102"/>
                    </a:lnTo>
                    <a:lnTo>
                      <a:pt x="165" y="103"/>
                    </a:lnTo>
                    <a:lnTo>
                      <a:pt x="167" y="103"/>
                    </a:lnTo>
                    <a:lnTo>
                      <a:pt x="167" y="102"/>
                    </a:lnTo>
                    <a:lnTo>
                      <a:pt x="168" y="102"/>
                    </a:lnTo>
                    <a:lnTo>
                      <a:pt x="170" y="102"/>
                    </a:lnTo>
                    <a:lnTo>
                      <a:pt x="170" y="103"/>
                    </a:lnTo>
                    <a:lnTo>
                      <a:pt x="172" y="103"/>
                    </a:lnTo>
                    <a:lnTo>
                      <a:pt x="173" y="105"/>
                    </a:lnTo>
                    <a:lnTo>
                      <a:pt x="173" y="103"/>
                    </a:lnTo>
                    <a:lnTo>
                      <a:pt x="173" y="105"/>
                    </a:lnTo>
                    <a:lnTo>
                      <a:pt x="175" y="105"/>
                    </a:lnTo>
                    <a:lnTo>
                      <a:pt x="177" y="105"/>
                    </a:lnTo>
                    <a:lnTo>
                      <a:pt x="178" y="105"/>
                    </a:lnTo>
                    <a:lnTo>
                      <a:pt x="178" y="107"/>
                    </a:lnTo>
                    <a:lnTo>
                      <a:pt x="178" y="105"/>
                    </a:lnTo>
                    <a:lnTo>
                      <a:pt x="180" y="107"/>
                    </a:lnTo>
                    <a:lnTo>
                      <a:pt x="182" y="105"/>
                    </a:lnTo>
                    <a:lnTo>
                      <a:pt x="182" y="107"/>
                    </a:lnTo>
                    <a:lnTo>
                      <a:pt x="184" y="107"/>
                    </a:lnTo>
                    <a:lnTo>
                      <a:pt x="184" y="105"/>
                    </a:lnTo>
                    <a:lnTo>
                      <a:pt x="185" y="105"/>
                    </a:lnTo>
                    <a:lnTo>
                      <a:pt x="185" y="107"/>
                    </a:lnTo>
                    <a:lnTo>
                      <a:pt x="187" y="105"/>
                    </a:lnTo>
                    <a:lnTo>
                      <a:pt x="187" y="107"/>
                    </a:lnTo>
                    <a:lnTo>
                      <a:pt x="189" y="107"/>
                    </a:lnTo>
                    <a:lnTo>
                      <a:pt x="190" y="107"/>
                    </a:lnTo>
                    <a:lnTo>
                      <a:pt x="190" y="105"/>
                    </a:lnTo>
                    <a:lnTo>
                      <a:pt x="192" y="107"/>
                    </a:lnTo>
                    <a:lnTo>
                      <a:pt x="194" y="107"/>
                    </a:lnTo>
                    <a:lnTo>
                      <a:pt x="195" y="107"/>
                    </a:lnTo>
                    <a:lnTo>
                      <a:pt x="195" y="109"/>
                    </a:lnTo>
                    <a:lnTo>
                      <a:pt x="197" y="109"/>
                    </a:lnTo>
                    <a:lnTo>
                      <a:pt x="197" y="107"/>
                    </a:lnTo>
                    <a:lnTo>
                      <a:pt x="199" y="107"/>
                    </a:lnTo>
                    <a:lnTo>
                      <a:pt x="201" y="107"/>
                    </a:lnTo>
                    <a:lnTo>
                      <a:pt x="201" y="105"/>
                    </a:lnTo>
                    <a:lnTo>
                      <a:pt x="202" y="105"/>
                    </a:lnTo>
                    <a:lnTo>
                      <a:pt x="202" y="107"/>
                    </a:lnTo>
                    <a:lnTo>
                      <a:pt x="204" y="107"/>
                    </a:lnTo>
                    <a:lnTo>
                      <a:pt x="202" y="107"/>
                    </a:lnTo>
                    <a:lnTo>
                      <a:pt x="204" y="107"/>
                    </a:lnTo>
                    <a:lnTo>
                      <a:pt x="204" y="105"/>
                    </a:lnTo>
                    <a:lnTo>
                      <a:pt x="206" y="105"/>
                    </a:lnTo>
                    <a:lnTo>
                      <a:pt x="206" y="103"/>
                    </a:lnTo>
                    <a:lnTo>
                      <a:pt x="207" y="103"/>
                    </a:lnTo>
                    <a:lnTo>
                      <a:pt x="206" y="103"/>
                    </a:lnTo>
                    <a:lnTo>
                      <a:pt x="207" y="103"/>
                    </a:lnTo>
                    <a:lnTo>
                      <a:pt x="207" y="102"/>
                    </a:lnTo>
                    <a:lnTo>
                      <a:pt x="209" y="102"/>
                    </a:lnTo>
                    <a:lnTo>
                      <a:pt x="209" y="100"/>
                    </a:lnTo>
                    <a:lnTo>
                      <a:pt x="211" y="102"/>
                    </a:lnTo>
                    <a:lnTo>
                      <a:pt x="211" y="100"/>
                    </a:lnTo>
                    <a:lnTo>
                      <a:pt x="211" y="102"/>
                    </a:lnTo>
                    <a:lnTo>
                      <a:pt x="212" y="102"/>
                    </a:lnTo>
                    <a:lnTo>
                      <a:pt x="212" y="103"/>
                    </a:lnTo>
                    <a:lnTo>
                      <a:pt x="212" y="105"/>
                    </a:lnTo>
                    <a:lnTo>
                      <a:pt x="214" y="105"/>
                    </a:lnTo>
                    <a:lnTo>
                      <a:pt x="216" y="105"/>
                    </a:lnTo>
                    <a:lnTo>
                      <a:pt x="216" y="107"/>
                    </a:lnTo>
                    <a:lnTo>
                      <a:pt x="218" y="107"/>
                    </a:lnTo>
                    <a:lnTo>
                      <a:pt x="218" y="109"/>
                    </a:lnTo>
                    <a:lnTo>
                      <a:pt x="218" y="107"/>
                    </a:lnTo>
                    <a:lnTo>
                      <a:pt x="219" y="109"/>
                    </a:lnTo>
                    <a:lnTo>
                      <a:pt x="221" y="109"/>
                    </a:lnTo>
                    <a:lnTo>
                      <a:pt x="221" y="107"/>
                    </a:lnTo>
                    <a:lnTo>
                      <a:pt x="221" y="109"/>
                    </a:lnTo>
                    <a:lnTo>
                      <a:pt x="223" y="109"/>
                    </a:lnTo>
                    <a:lnTo>
                      <a:pt x="224" y="109"/>
                    </a:lnTo>
                    <a:lnTo>
                      <a:pt x="226" y="109"/>
                    </a:lnTo>
                    <a:lnTo>
                      <a:pt x="228" y="109"/>
                    </a:lnTo>
                    <a:lnTo>
                      <a:pt x="229" y="109"/>
                    </a:lnTo>
                    <a:lnTo>
                      <a:pt x="231" y="110"/>
                    </a:lnTo>
                    <a:lnTo>
                      <a:pt x="231" y="112"/>
                    </a:lnTo>
                    <a:lnTo>
                      <a:pt x="233" y="112"/>
                    </a:lnTo>
                    <a:lnTo>
                      <a:pt x="233" y="114"/>
                    </a:lnTo>
                    <a:lnTo>
                      <a:pt x="235" y="114"/>
                    </a:lnTo>
                    <a:lnTo>
                      <a:pt x="233" y="114"/>
                    </a:lnTo>
                    <a:lnTo>
                      <a:pt x="233" y="115"/>
                    </a:lnTo>
                    <a:lnTo>
                      <a:pt x="233" y="117"/>
                    </a:lnTo>
                    <a:lnTo>
                      <a:pt x="235" y="117"/>
                    </a:lnTo>
                    <a:lnTo>
                      <a:pt x="235" y="119"/>
                    </a:lnTo>
                    <a:lnTo>
                      <a:pt x="236" y="119"/>
                    </a:lnTo>
                    <a:lnTo>
                      <a:pt x="236" y="121"/>
                    </a:lnTo>
                    <a:lnTo>
                      <a:pt x="238" y="121"/>
                    </a:lnTo>
                    <a:lnTo>
                      <a:pt x="238" y="122"/>
                    </a:lnTo>
                    <a:lnTo>
                      <a:pt x="238" y="124"/>
                    </a:lnTo>
                    <a:lnTo>
                      <a:pt x="238" y="126"/>
                    </a:lnTo>
                    <a:lnTo>
                      <a:pt x="236" y="126"/>
                    </a:lnTo>
                    <a:lnTo>
                      <a:pt x="236" y="127"/>
                    </a:lnTo>
                    <a:lnTo>
                      <a:pt x="236" y="129"/>
                    </a:lnTo>
                    <a:lnTo>
                      <a:pt x="236" y="131"/>
                    </a:lnTo>
                    <a:lnTo>
                      <a:pt x="236" y="132"/>
                    </a:lnTo>
                    <a:lnTo>
                      <a:pt x="238" y="134"/>
                    </a:lnTo>
                    <a:lnTo>
                      <a:pt x="236" y="136"/>
                    </a:lnTo>
                    <a:lnTo>
                      <a:pt x="238" y="136"/>
                    </a:lnTo>
                    <a:lnTo>
                      <a:pt x="238" y="138"/>
                    </a:lnTo>
                    <a:lnTo>
                      <a:pt x="238" y="139"/>
                    </a:lnTo>
                    <a:lnTo>
                      <a:pt x="240" y="139"/>
                    </a:lnTo>
                    <a:lnTo>
                      <a:pt x="240" y="141"/>
                    </a:lnTo>
                    <a:lnTo>
                      <a:pt x="241" y="141"/>
                    </a:lnTo>
                    <a:lnTo>
                      <a:pt x="241" y="143"/>
                    </a:lnTo>
                    <a:lnTo>
                      <a:pt x="240" y="143"/>
                    </a:lnTo>
                    <a:lnTo>
                      <a:pt x="240" y="144"/>
                    </a:lnTo>
                    <a:lnTo>
                      <a:pt x="241" y="144"/>
                    </a:lnTo>
                    <a:lnTo>
                      <a:pt x="240" y="144"/>
                    </a:lnTo>
                    <a:lnTo>
                      <a:pt x="240" y="146"/>
                    </a:lnTo>
                    <a:lnTo>
                      <a:pt x="241" y="148"/>
                    </a:lnTo>
                    <a:lnTo>
                      <a:pt x="241" y="149"/>
                    </a:lnTo>
                    <a:lnTo>
                      <a:pt x="240" y="151"/>
                    </a:lnTo>
                    <a:lnTo>
                      <a:pt x="240" y="153"/>
                    </a:lnTo>
                    <a:lnTo>
                      <a:pt x="240" y="155"/>
                    </a:lnTo>
                    <a:lnTo>
                      <a:pt x="241" y="155"/>
                    </a:lnTo>
                    <a:lnTo>
                      <a:pt x="241" y="156"/>
                    </a:lnTo>
                    <a:lnTo>
                      <a:pt x="240" y="156"/>
                    </a:lnTo>
                    <a:lnTo>
                      <a:pt x="240" y="158"/>
                    </a:lnTo>
                    <a:lnTo>
                      <a:pt x="241" y="158"/>
                    </a:lnTo>
                    <a:lnTo>
                      <a:pt x="243" y="158"/>
                    </a:lnTo>
                    <a:lnTo>
                      <a:pt x="243" y="160"/>
                    </a:lnTo>
                    <a:lnTo>
                      <a:pt x="243" y="161"/>
                    </a:lnTo>
                    <a:lnTo>
                      <a:pt x="243" y="163"/>
                    </a:lnTo>
                    <a:lnTo>
                      <a:pt x="245" y="163"/>
                    </a:lnTo>
                    <a:lnTo>
                      <a:pt x="243" y="163"/>
                    </a:lnTo>
                    <a:lnTo>
                      <a:pt x="243" y="165"/>
                    </a:lnTo>
                    <a:lnTo>
                      <a:pt x="243" y="166"/>
                    </a:lnTo>
                    <a:lnTo>
                      <a:pt x="243" y="168"/>
                    </a:lnTo>
                    <a:lnTo>
                      <a:pt x="245" y="168"/>
                    </a:lnTo>
                    <a:lnTo>
                      <a:pt x="245" y="170"/>
                    </a:lnTo>
                    <a:lnTo>
                      <a:pt x="246" y="170"/>
                    </a:lnTo>
                    <a:lnTo>
                      <a:pt x="246" y="172"/>
                    </a:lnTo>
                    <a:lnTo>
                      <a:pt x="248" y="170"/>
                    </a:lnTo>
                    <a:lnTo>
                      <a:pt x="250" y="170"/>
                    </a:lnTo>
                    <a:lnTo>
                      <a:pt x="250" y="172"/>
                    </a:lnTo>
                    <a:lnTo>
                      <a:pt x="252" y="172"/>
                    </a:lnTo>
                    <a:lnTo>
                      <a:pt x="253" y="172"/>
                    </a:lnTo>
                    <a:lnTo>
                      <a:pt x="253" y="170"/>
                    </a:lnTo>
                    <a:lnTo>
                      <a:pt x="253" y="172"/>
                    </a:lnTo>
                    <a:lnTo>
                      <a:pt x="255" y="170"/>
                    </a:lnTo>
                    <a:lnTo>
                      <a:pt x="257" y="170"/>
                    </a:lnTo>
                    <a:lnTo>
                      <a:pt x="257" y="172"/>
                    </a:lnTo>
                    <a:lnTo>
                      <a:pt x="257" y="170"/>
                    </a:lnTo>
                    <a:lnTo>
                      <a:pt x="258" y="170"/>
                    </a:lnTo>
                    <a:lnTo>
                      <a:pt x="260" y="170"/>
                    </a:lnTo>
                    <a:lnTo>
                      <a:pt x="262" y="170"/>
                    </a:lnTo>
                    <a:lnTo>
                      <a:pt x="262" y="168"/>
                    </a:lnTo>
                    <a:lnTo>
                      <a:pt x="263" y="168"/>
                    </a:lnTo>
                    <a:lnTo>
                      <a:pt x="263" y="166"/>
                    </a:lnTo>
                    <a:lnTo>
                      <a:pt x="265" y="166"/>
                    </a:lnTo>
                    <a:lnTo>
                      <a:pt x="267" y="166"/>
                    </a:lnTo>
                    <a:lnTo>
                      <a:pt x="269" y="166"/>
                    </a:lnTo>
                    <a:lnTo>
                      <a:pt x="269" y="165"/>
                    </a:lnTo>
                    <a:lnTo>
                      <a:pt x="270" y="165"/>
                    </a:lnTo>
                    <a:lnTo>
                      <a:pt x="272" y="165"/>
                    </a:lnTo>
                    <a:lnTo>
                      <a:pt x="272" y="166"/>
                    </a:lnTo>
                    <a:lnTo>
                      <a:pt x="272" y="165"/>
                    </a:lnTo>
                    <a:lnTo>
                      <a:pt x="274" y="166"/>
                    </a:lnTo>
                    <a:lnTo>
                      <a:pt x="275" y="166"/>
                    </a:lnTo>
                    <a:lnTo>
                      <a:pt x="277" y="166"/>
                    </a:lnTo>
                    <a:lnTo>
                      <a:pt x="277" y="168"/>
                    </a:lnTo>
                    <a:lnTo>
                      <a:pt x="279" y="170"/>
                    </a:lnTo>
                    <a:lnTo>
                      <a:pt x="280" y="172"/>
                    </a:lnTo>
                    <a:lnTo>
                      <a:pt x="282" y="172"/>
                    </a:lnTo>
                    <a:lnTo>
                      <a:pt x="282" y="173"/>
                    </a:lnTo>
                    <a:lnTo>
                      <a:pt x="282" y="175"/>
                    </a:lnTo>
                    <a:lnTo>
                      <a:pt x="280" y="175"/>
                    </a:lnTo>
                    <a:lnTo>
                      <a:pt x="280" y="177"/>
                    </a:lnTo>
                    <a:lnTo>
                      <a:pt x="280" y="178"/>
                    </a:lnTo>
                    <a:lnTo>
                      <a:pt x="280" y="180"/>
                    </a:lnTo>
                    <a:lnTo>
                      <a:pt x="282" y="180"/>
                    </a:lnTo>
                    <a:lnTo>
                      <a:pt x="282" y="182"/>
                    </a:lnTo>
                    <a:lnTo>
                      <a:pt x="284" y="183"/>
                    </a:lnTo>
                    <a:lnTo>
                      <a:pt x="284" y="185"/>
                    </a:lnTo>
                    <a:lnTo>
                      <a:pt x="282" y="187"/>
                    </a:lnTo>
                    <a:lnTo>
                      <a:pt x="282" y="189"/>
                    </a:lnTo>
                    <a:lnTo>
                      <a:pt x="280" y="189"/>
                    </a:lnTo>
                    <a:lnTo>
                      <a:pt x="280" y="190"/>
                    </a:lnTo>
                    <a:lnTo>
                      <a:pt x="280" y="192"/>
                    </a:lnTo>
                    <a:lnTo>
                      <a:pt x="282" y="192"/>
                    </a:lnTo>
                    <a:lnTo>
                      <a:pt x="282" y="194"/>
                    </a:lnTo>
                    <a:lnTo>
                      <a:pt x="282" y="195"/>
                    </a:lnTo>
                    <a:lnTo>
                      <a:pt x="280" y="195"/>
                    </a:lnTo>
                    <a:lnTo>
                      <a:pt x="280" y="197"/>
                    </a:lnTo>
                    <a:lnTo>
                      <a:pt x="280" y="199"/>
                    </a:lnTo>
                    <a:lnTo>
                      <a:pt x="279" y="200"/>
                    </a:lnTo>
                    <a:lnTo>
                      <a:pt x="279" y="202"/>
                    </a:lnTo>
                    <a:lnTo>
                      <a:pt x="279" y="204"/>
                    </a:lnTo>
                    <a:lnTo>
                      <a:pt x="277" y="206"/>
                    </a:lnTo>
                    <a:lnTo>
                      <a:pt x="277" y="207"/>
                    </a:lnTo>
                    <a:lnTo>
                      <a:pt x="277" y="209"/>
                    </a:lnTo>
                    <a:lnTo>
                      <a:pt x="277" y="211"/>
                    </a:lnTo>
                    <a:lnTo>
                      <a:pt x="277" y="212"/>
                    </a:lnTo>
                    <a:lnTo>
                      <a:pt x="277" y="214"/>
                    </a:lnTo>
                    <a:lnTo>
                      <a:pt x="277" y="216"/>
                    </a:lnTo>
                    <a:lnTo>
                      <a:pt x="275" y="217"/>
                    </a:lnTo>
                    <a:lnTo>
                      <a:pt x="275" y="219"/>
                    </a:lnTo>
                    <a:lnTo>
                      <a:pt x="274" y="221"/>
                    </a:lnTo>
                    <a:lnTo>
                      <a:pt x="274" y="223"/>
                    </a:lnTo>
                    <a:lnTo>
                      <a:pt x="272" y="223"/>
                    </a:lnTo>
                    <a:lnTo>
                      <a:pt x="272" y="224"/>
                    </a:lnTo>
                    <a:lnTo>
                      <a:pt x="272" y="226"/>
                    </a:lnTo>
                    <a:lnTo>
                      <a:pt x="272" y="228"/>
                    </a:lnTo>
                    <a:lnTo>
                      <a:pt x="272" y="229"/>
                    </a:lnTo>
                    <a:lnTo>
                      <a:pt x="272" y="231"/>
                    </a:lnTo>
                    <a:lnTo>
                      <a:pt x="272" y="233"/>
                    </a:lnTo>
                    <a:lnTo>
                      <a:pt x="270" y="233"/>
                    </a:lnTo>
                    <a:lnTo>
                      <a:pt x="270" y="234"/>
                    </a:lnTo>
                    <a:lnTo>
                      <a:pt x="270" y="236"/>
                    </a:lnTo>
                    <a:lnTo>
                      <a:pt x="270" y="238"/>
                    </a:lnTo>
                    <a:lnTo>
                      <a:pt x="272" y="238"/>
                    </a:lnTo>
                    <a:lnTo>
                      <a:pt x="272" y="240"/>
                    </a:lnTo>
                    <a:lnTo>
                      <a:pt x="272" y="241"/>
                    </a:lnTo>
                    <a:lnTo>
                      <a:pt x="272" y="243"/>
                    </a:lnTo>
                    <a:lnTo>
                      <a:pt x="272" y="245"/>
                    </a:lnTo>
                    <a:lnTo>
                      <a:pt x="270" y="245"/>
                    </a:lnTo>
                    <a:lnTo>
                      <a:pt x="269" y="246"/>
                    </a:lnTo>
                    <a:lnTo>
                      <a:pt x="270" y="248"/>
                    </a:lnTo>
                    <a:lnTo>
                      <a:pt x="270" y="250"/>
                    </a:lnTo>
                    <a:lnTo>
                      <a:pt x="270" y="251"/>
                    </a:lnTo>
                    <a:lnTo>
                      <a:pt x="270" y="253"/>
                    </a:lnTo>
                    <a:lnTo>
                      <a:pt x="272" y="253"/>
                    </a:lnTo>
                    <a:lnTo>
                      <a:pt x="272" y="255"/>
                    </a:lnTo>
                    <a:lnTo>
                      <a:pt x="270" y="255"/>
                    </a:lnTo>
                    <a:lnTo>
                      <a:pt x="269" y="255"/>
                    </a:lnTo>
                    <a:lnTo>
                      <a:pt x="270" y="257"/>
                    </a:lnTo>
                    <a:lnTo>
                      <a:pt x="270" y="258"/>
                    </a:lnTo>
                    <a:lnTo>
                      <a:pt x="269" y="258"/>
                    </a:lnTo>
                    <a:lnTo>
                      <a:pt x="269" y="260"/>
                    </a:lnTo>
                    <a:lnTo>
                      <a:pt x="269" y="262"/>
                    </a:lnTo>
                    <a:lnTo>
                      <a:pt x="269" y="263"/>
                    </a:lnTo>
                    <a:lnTo>
                      <a:pt x="267" y="263"/>
                    </a:lnTo>
                    <a:lnTo>
                      <a:pt x="267" y="265"/>
                    </a:lnTo>
                    <a:lnTo>
                      <a:pt x="265" y="265"/>
                    </a:lnTo>
                    <a:lnTo>
                      <a:pt x="265" y="267"/>
                    </a:lnTo>
                    <a:lnTo>
                      <a:pt x="265" y="268"/>
                    </a:lnTo>
                    <a:lnTo>
                      <a:pt x="265" y="270"/>
                    </a:lnTo>
                    <a:lnTo>
                      <a:pt x="263" y="272"/>
                    </a:lnTo>
                    <a:lnTo>
                      <a:pt x="263" y="270"/>
                    </a:lnTo>
                    <a:lnTo>
                      <a:pt x="262" y="270"/>
                    </a:lnTo>
                    <a:lnTo>
                      <a:pt x="260" y="272"/>
                    </a:lnTo>
                    <a:lnTo>
                      <a:pt x="260" y="274"/>
                    </a:lnTo>
                    <a:lnTo>
                      <a:pt x="260" y="275"/>
                    </a:lnTo>
                    <a:lnTo>
                      <a:pt x="258" y="275"/>
                    </a:lnTo>
                    <a:lnTo>
                      <a:pt x="257" y="275"/>
                    </a:lnTo>
                    <a:lnTo>
                      <a:pt x="255" y="277"/>
                    </a:lnTo>
                    <a:lnTo>
                      <a:pt x="253" y="279"/>
                    </a:lnTo>
                    <a:lnTo>
                      <a:pt x="253" y="280"/>
                    </a:lnTo>
                    <a:lnTo>
                      <a:pt x="253" y="282"/>
                    </a:lnTo>
                    <a:lnTo>
                      <a:pt x="252" y="282"/>
                    </a:lnTo>
                    <a:lnTo>
                      <a:pt x="250" y="280"/>
                    </a:lnTo>
                    <a:lnTo>
                      <a:pt x="248" y="282"/>
                    </a:lnTo>
                    <a:lnTo>
                      <a:pt x="246" y="282"/>
                    </a:lnTo>
                    <a:lnTo>
                      <a:pt x="245" y="284"/>
                    </a:lnTo>
                    <a:lnTo>
                      <a:pt x="243" y="284"/>
                    </a:lnTo>
                    <a:lnTo>
                      <a:pt x="243" y="286"/>
                    </a:lnTo>
                    <a:lnTo>
                      <a:pt x="243" y="287"/>
                    </a:lnTo>
                    <a:lnTo>
                      <a:pt x="241" y="287"/>
                    </a:lnTo>
                    <a:lnTo>
                      <a:pt x="240" y="287"/>
                    </a:lnTo>
                    <a:lnTo>
                      <a:pt x="240" y="289"/>
                    </a:lnTo>
                    <a:lnTo>
                      <a:pt x="240" y="291"/>
                    </a:lnTo>
                    <a:lnTo>
                      <a:pt x="238" y="289"/>
                    </a:lnTo>
                    <a:lnTo>
                      <a:pt x="238" y="291"/>
                    </a:lnTo>
                    <a:lnTo>
                      <a:pt x="238" y="292"/>
                    </a:lnTo>
                    <a:lnTo>
                      <a:pt x="240" y="292"/>
                    </a:lnTo>
                    <a:lnTo>
                      <a:pt x="240" y="294"/>
                    </a:lnTo>
                    <a:lnTo>
                      <a:pt x="238" y="294"/>
                    </a:lnTo>
                    <a:lnTo>
                      <a:pt x="238" y="296"/>
                    </a:lnTo>
                    <a:lnTo>
                      <a:pt x="238" y="297"/>
                    </a:lnTo>
                    <a:lnTo>
                      <a:pt x="236" y="297"/>
                    </a:lnTo>
                    <a:lnTo>
                      <a:pt x="235" y="297"/>
                    </a:lnTo>
                    <a:lnTo>
                      <a:pt x="235" y="299"/>
                    </a:lnTo>
                    <a:lnTo>
                      <a:pt x="233" y="301"/>
                    </a:lnTo>
                    <a:lnTo>
                      <a:pt x="231" y="301"/>
                    </a:lnTo>
                    <a:lnTo>
                      <a:pt x="231" y="299"/>
                    </a:lnTo>
                    <a:lnTo>
                      <a:pt x="229" y="299"/>
                    </a:lnTo>
                    <a:lnTo>
                      <a:pt x="229" y="297"/>
                    </a:lnTo>
                    <a:lnTo>
                      <a:pt x="228" y="296"/>
                    </a:lnTo>
                    <a:lnTo>
                      <a:pt x="226" y="297"/>
                    </a:lnTo>
                    <a:lnTo>
                      <a:pt x="224" y="296"/>
                    </a:lnTo>
                    <a:lnTo>
                      <a:pt x="223" y="296"/>
                    </a:lnTo>
                    <a:lnTo>
                      <a:pt x="221" y="296"/>
                    </a:lnTo>
                    <a:lnTo>
                      <a:pt x="219" y="296"/>
                    </a:lnTo>
                    <a:lnTo>
                      <a:pt x="218" y="297"/>
                    </a:lnTo>
                    <a:lnTo>
                      <a:pt x="218" y="299"/>
                    </a:lnTo>
                    <a:lnTo>
                      <a:pt x="216" y="299"/>
                    </a:lnTo>
                    <a:lnTo>
                      <a:pt x="214" y="299"/>
                    </a:lnTo>
                    <a:lnTo>
                      <a:pt x="214" y="301"/>
                    </a:lnTo>
                    <a:lnTo>
                      <a:pt x="216" y="301"/>
                    </a:lnTo>
                    <a:lnTo>
                      <a:pt x="214" y="303"/>
                    </a:lnTo>
                    <a:lnTo>
                      <a:pt x="214" y="304"/>
                    </a:lnTo>
                    <a:lnTo>
                      <a:pt x="212" y="304"/>
                    </a:lnTo>
                    <a:lnTo>
                      <a:pt x="212" y="306"/>
                    </a:lnTo>
                    <a:lnTo>
                      <a:pt x="209" y="304"/>
                    </a:lnTo>
                    <a:lnTo>
                      <a:pt x="209" y="303"/>
                    </a:lnTo>
                    <a:lnTo>
                      <a:pt x="207" y="303"/>
                    </a:lnTo>
                    <a:lnTo>
                      <a:pt x="207" y="301"/>
                    </a:lnTo>
                    <a:lnTo>
                      <a:pt x="206" y="301"/>
                    </a:lnTo>
                    <a:lnTo>
                      <a:pt x="204" y="301"/>
                    </a:lnTo>
                    <a:lnTo>
                      <a:pt x="202" y="301"/>
                    </a:lnTo>
                    <a:lnTo>
                      <a:pt x="201" y="301"/>
                    </a:lnTo>
                    <a:lnTo>
                      <a:pt x="201" y="303"/>
                    </a:lnTo>
                    <a:lnTo>
                      <a:pt x="199" y="303"/>
                    </a:lnTo>
                    <a:lnTo>
                      <a:pt x="197" y="301"/>
                    </a:lnTo>
                    <a:lnTo>
                      <a:pt x="195" y="301"/>
                    </a:lnTo>
                    <a:lnTo>
                      <a:pt x="195" y="299"/>
                    </a:lnTo>
                    <a:lnTo>
                      <a:pt x="194" y="299"/>
                    </a:lnTo>
                    <a:lnTo>
                      <a:pt x="192" y="299"/>
                    </a:lnTo>
                    <a:lnTo>
                      <a:pt x="192" y="301"/>
                    </a:lnTo>
                    <a:lnTo>
                      <a:pt x="190" y="301"/>
                    </a:lnTo>
                    <a:lnTo>
                      <a:pt x="190" y="303"/>
                    </a:lnTo>
                    <a:lnTo>
                      <a:pt x="189" y="303"/>
                    </a:lnTo>
                    <a:lnTo>
                      <a:pt x="187" y="303"/>
                    </a:lnTo>
                    <a:lnTo>
                      <a:pt x="185" y="301"/>
                    </a:lnTo>
                    <a:lnTo>
                      <a:pt x="184" y="301"/>
                    </a:lnTo>
                    <a:lnTo>
                      <a:pt x="182" y="301"/>
                    </a:lnTo>
                    <a:lnTo>
                      <a:pt x="180" y="299"/>
                    </a:lnTo>
                    <a:lnTo>
                      <a:pt x="178" y="299"/>
                    </a:lnTo>
                    <a:lnTo>
                      <a:pt x="177" y="299"/>
                    </a:lnTo>
                    <a:lnTo>
                      <a:pt x="177" y="301"/>
                    </a:lnTo>
                    <a:lnTo>
                      <a:pt x="175" y="301"/>
                    </a:lnTo>
                    <a:lnTo>
                      <a:pt x="173" y="301"/>
                    </a:lnTo>
                    <a:lnTo>
                      <a:pt x="173" y="299"/>
                    </a:lnTo>
                    <a:lnTo>
                      <a:pt x="172" y="299"/>
                    </a:lnTo>
                    <a:lnTo>
                      <a:pt x="170" y="297"/>
                    </a:lnTo>
                    <a:lnTo>
                      <a:pt x="168" y="297"/>
                    </a:lnTo>
                    <a:lnTo>
                      <a:pt x="168" y="296"/>
                    </a:lnTo>
                    <a:lnTo>
                      <a:pt x="167" y="296"/>
                    </a:lnTo>
                    <a:lnTo>
                      <a:pt x="165" y="296"/>
                    </a:lnTo>
                    <a:lnTo>
                      <a:pt x="163" y="296"/>
                    </a:lnTo>
                    <a:lnTo>
                      <a:pt x="161" y="294"/>
                    </a:lnTo>
                    <a:lnTo>
                      <a:pt x="160" y="294"/>
                    </a:lnTo>
                    <a:lnTo>
                      <a:pt x="158" y="294"/>
                    </a:lnTo>
                    <a:lnTo>
                      <a:pt x="156" y="294"/>
                    </a:lnTo>
                    <a:lnTo>
                      <a:pt x="155" y="294"/>
                    </a:lnTo>
                    <a:lnTo>
                      <a:pt x="153" y="294"/>
                    </a:lnTo>
                    <a:lnTo>
                      <a:pt x="151" y="294"/>
                    </a:lnTo>
                    <a:lnTo>
                      <a:pt x="150" y="294"/>
                    </a:lnTo>
                    <a:lnTo>
                      <a:pt x="148" y="294"/>
                    </a:lnTo>
                    <a:lnTo>
                      <a:pt x="146" y="294"/>
                    </a:lnTo>
                    <a:lnTo>
                      <a:pt x="144" y="294"/>
                    </a:lnTo>
                    <a:lnTo>
                      <a:pt x="143" y="294"/>
                    </a:lnTo>
                    <a:lnTo>
                      <a:pt x="141" y="294"/>
                    </a:lnTo>
                    <a:lnTo>
                      <a:pt x="139" y="294"/>
                    </a:lnTo>
                    <a:lnTo>
                      <a:pt x="138" y="294"/>
                    </a:lnTo>
                    <a:lnTo>
                      <a:pt x="138" y="296"/>
                    </a:lnTo>
                    <a:lnTo>
                      <a:pt x="136" y="296"/>
                    </a:lnTo>
                    <a:lnTo>
                      <a:pt x="136" y="294"/>
                    </a:lnTo>
                    <a:lnTo>
                      <a:pt x="138" y="294"/>
                    </a:lnTo>
                    <a:lnTo>
                      <a:pt x="138" y="292"/>
                    </a:lnTo>
                    <a:lnTo>
                      <a:pt x="136" y="292"/>
                    </a:lnTo>
                    <a:lnTo>
                      <a:pt x="136" y="291"/>
                    </a:lnTo>
                    <a:lnTo>
                      <a:pt x="134" y="291"/>
                    </a:lnTo>
                    <a:lnTo>
                      <a:pt x="134" y="289"/>
                    </a:lnTo>
                    <a:lnTo>
                      <a:pt x="136" y="289"/>
                    </a:lnTo>
                    <a:lnTo>
                      <a:pt x="136" y="287"/>
                    </a:lnTo>
                    <a:lnTo>
                      <a:pt x="138" y="287"/>
                    </a:lnTo>
                    <a:lnTo>
                      <a:pt x="139" y="287"/>
                    </a:lnTo>
                    <a:lnTo>
                      <a:pt x="138" y="287"/>
                    </a:lnTo>
                    <a:lnTo>
                      <a:pt x="139" y="286"/>
                    </a:lnTo>
                    <a:lnTo>
                      <a:pt x="138" y="286"/>
                    </a:lnTo>
                    <a:lnTo>
                      <a:pt x="139" y="286"/>
                    </a:lnTo>
                    <a:lnTo>
                      <a:pt x="141" y="286"/>
                    </a:lnTo>
                    <a:lnTo>
                      <a:pt x="139" y="284"/>
                    </a:lnTo>
                    <a:lnTo>
                      <a:pt x="141" y="284"/>
                    </a:lnTo>
                    <a:lnTo>
                      <a:pt x="141" y="282"/>
                    </a:lnTo>
                    <a:lnTo>
                      <a:pt x="141" y="280"/>
                    </a:lnTo>
                    <a:lnTo>
                      <a:pt x="143" y="280"/>
                    </a:lnTo>
                    <a:lnTo>
                      <a:pt x="144" y="280"/>
                    </a:lnTo>
                    <a:lnTo>
                      <a:pt x="144" y="279"/>
                    </a:lnTo>
                    <a:lnTo>
                      <a:pt x="146" y="279"/>
                    </a:lnTo>
                    <a:lnTo>
                      <a:pt x="146" y="277"/>
                    </a:lnTo>
                    <a:lnTo>
                      <a:pt x="146" y="275"/>
                    </a:lnTo>
                    <a:lnTo>
                      <a:pt x="148" y="275"/>
                    </a:lnTo>
                    <a:lnTo>
                      <a:pt x="148" y="274"/>
                    </a:lnTo>
                    <a:lnTo>
                      <a:pt x="150" y="274"/>
                    </a:lnTo>
                    <a:lnTo>
                      <a:pt x="148" y="272"/>
                    </a:lnTo>
                    <a:lnTo>
                      <a:pt x="148" y="270"/>
                    </a:lnTo>
                    <a:lnTo>
                      <a:pt x="150" y="270"/>
                    </a:lnTo>
                    <a:lnTo>
                      <a:pt x="151" y="270"/>
                    </a:lnTo>
                    <a:lnTo>
                      <a:pt x="150" y="268"/>
                    </a:lnTo>
                    <a:lnTo>
                      <a:pt x="151" y="268"/>
                    </a:lnTo>
                    <a:lnTo>
                      <a:pt x="151" y="267"/>
                    </a:lnTo>
                    <a:lnTo>
                      <a:pt x="150" y="267"/>
                    </a:lnTo>
                    <a:lnTo>
                      <a:pt x="150" y="265"/>
                    </a:lnTo>
                    <a:lnTo>
                      <a:pt x="150" y="263"/>
                    </a:lnTo>
                    <a:lnTo>
                      <a:pt x="151" y="263"/>
                    </a:lnTo>
                    <a:lnTo>
                      <a:pt x="151" y="262"/>
                    </a:lnTo>
                    <a:lnTo>
                      <a:pt x="150" y="262"/>
                    </a:lnTo>
                    <a:lnTo>
                      <a:pt x="150" y="260"/>
                    </a:lnTo>
                    <a:lnTo>
                      <a:pt x="151" y="260"/>
                    </a:lnTo>
                    <a:lnTo>
                      <a:pt x="151" y="258"/>
                    </a:lnTo>
                    <a:lnTo>
                      <a:pt x="151" y="257"/>
                    </a:lnTo>
                    <a:lnTo>
                      <a:pt x="151" y="255"/>
                    </a:lnTo>
                    <a:lnTo>
                      <a:pt x="153" y="255"/>
                    </a:lnTo>
                    <a:lnTo>
                      <a:pt x="153" y="253"/>
                    </a:lnTo>
                    <a:lnTo>
                      <a:pt x="151" y="253"/>
                    </a:lnTo>
                    <a:lnTo>
                      <a:pt x="153" y="253"/>
                    </a:lnTo>
                    <a:lnTo>
                      <a:pt x="153" y="251"/>
                    </a:lnTo>
                    <a:lnTo>
                      <a:pt x="155" y="251"/>
                    </a:lnTo>
                    <a:lnTo>
                      <a:pt x="155" y="250"/>
                    </a:lnTo>
                    <a:lnTo>
                      <a:pt x="156" y="250"/>
                    </a:lnTo>
                    <a:lnTo>
                      <a:pt x="158" y="250"/>
                    </a:lnTo>
                    <a:lnTo>
                      <a:pt x="158" y="248"/>
                    </a:lnTo>
                    <a:lnTo>
                      <a:pt x="160" y="248"/>
                    </a:lnTo>
                    <a:lnTo>
                      <a:pt x="160" y="246"/>
                    </a:lnTo>
                    <a:lnTo>
                      <a:pt x="161" y="246"/>
                    </a:lnTo>
                    <a:lnTo>
                      <a:pt x="161" y="245"/>
                    </a:lnTo>
                    <a:lnTo>
                      <a:pt x="161" y="243"/>
                    </a:lnTo>
                    <a:lnTo>
                      <a:pt x="163" y="243"/>
                    </a:lnTo>
                    <a:lnTo>
                      <a:pt x="161" y="241"/>
                    </a:lnTo>
                    <a:lnTo>
                      <a:pt x="161" y="240"/>
                    </a:lnTo>
                    <a:lnTo>
                      <a:pt x="163" y="240"/>
                    </a:lnTo>
                    <a:lnTo>
                      <a:pt x="165" y="240"/>
                    </a:lnTo>
                    <a:lnTo>
                      <a:pt x="165" y="238"/>
                    </a:lnTo>
                    <a:lnTo>
                      <a:pt x="163" y="238"/>
                    </a:lnTo>
                    <a:lnTo>
                      <a:pt x="163" y="236"/>
                    </a:lnTo>
                    <a:lnTo>
                      <a:pt x="165" y="236"/>
                    </a:lnTo>
                    <a:lnTo>
                      <a:pt x="167" y="236"/>
                    </a:lnTo>
                    <a:lnTo>
                      <a:pt x="167" y="234"/>
                    </a:lnTo>
                    <a:lnTo>
                      <a:pt x="165" y="234"/>
                    </a:lnTo>
                    <a:lnTo>
                      <a:pt x="167" y="233"/>
                    </a:lnTo>
                    <a:lnTo>
                      <a:pt x="168" y="233"/>
                    </a:lnTo>
                    <a:lnTo>
                      <a:pt x="168" y="231"/>
                    </a:lnTo>
                    <a:lnTo>
                      <a:pt x="170" y="231"/>
                    </a:lnTo>
                    <a:lnTo>
                      <a:pt x="170" y="229"/>
                    </a:lnTo>
                    <a:lnTo>
                      <a:pt x="172" y="229"/>
                    </a:lnTo>
                    <a:lnTo>
                      <a:pt x="172" y="228"/>
                    </a:lnTo>
                    <a:lnTo>
                      <a:pt x="172" y="226"/>
                    </a:lnTo>
                    <a:lnTo>
                      <a:pt x="172" y="224"/>
                    </a:lnTo>
                    <a:lnTo>
                      <a:pt x="172" y="223"/>
                    </a:lnTo>
                    <a:lnTo>
                      <a:pt x="170" y="223"/>
                    </a:lnTo>
                    <a:lnTo>
                      <a:pt x="168" y="223"/>
                    </a:lnTo>
                    <a:lnTo>
                      <a:pt x="168" y="221"/>
                    </a:lnTo>
                    <a:lnTo>
                      <a:pt x="167" y="221"/>
                    </a:lnTo>
                    <a:lnTo>
                      <a:pt x="167" y="219"/>
                    </a:lnTo>
                    <a:lnTo>
                      <a:pt x="168" y="219"/>
                    </a:lnTo>
                    <a:lnTo>
                      <a:pt x="167" y="219"/>
                    </a:lnTo>
                    <a:lnTo>
                      <a:pt x="167" y="217"/>
                    </a:lnTo>
                    <a:lnTo>
                      <a:pt x="165" y="216"/>
                    </a:lnTo>
                    <a:lnTo>
                      <a:pt x="167" y="216"/>
                    </a:lnTo>
                    <a:lnTo>
                      <a:pt x="165" y="216"/>
                    </a:lnTo>
                    <a:lnTo>
                      <a:pt x="165" y="214"/>
                    </a:lnTo>
                    <a:lnTo>
                      <a:pt x="163" y="214"/>
                    </a:lnTo>
                    <a:lnTo>
                      <a:pt x="163" y="212"/>
                    </a:lnTo>
                    <a:lnTo>
                      <a:pt x="161" y="211"/>
                    </a:lnTo>
                    <a:lnTo>
                      <a:pt x="160" y="211"/>
                    </a:lnTo>
                    <a:lnTo>
                      <a:pt x="158" y="211"/>
                    </a:lnTo>
                    <a:lnTo>
                      <a:pt x="156" y="209"/>
                    </a:lnTo>
                    <a:lnTo>
                      <a:pt x="156" y="211"/>
                    </a:lnTo>
                    <a:lnTo>
                      <a:pt x="156" y="209"/>
                    </a:lnTo>
                    <a:lnTo>
                      <a:pt x="156" y="211"/>
                    </a:lnTo>
                    <a:lnTo>
                      <a:pt x="156" y="209"/>
                    </a:lnTo>
                    <a:lnTo>
                      <a:pt x="155" y="211"/>
                    </a:lnTo>
                    <a:lnTo>
                      <a:pt x="155" y="209"/>
                    </a:lnTo>
                    <a:lnTo>
                      <a:pt x="153" y="209"/>
                    </a:lnTo>
                    <a:lnTo>
                      <a:pt x="153" y="207"/>
                    </a:lnTo>
                    <a:lnTo>
                      <a:pt x="151" y="207"/>
                    </a:lnTo>
                    <a:lnTo>
                      <a:pt x="150" y="206"/>
                    </a:lnTo>
                    <a:lnTo>
                      <a:pt x="148" y="206"/>
                    </a:lnTo>
                    <a:lnTo>
                      <a:pt x="148" y="207"/>
                    </a:lnTo>
                    <a:lnTo>
                      <a:pt x="146" y="207"/>
                    </a:lnTo>
                    <a:lnTo>
                      <a:pt x="146" y="209"/>
                    </a:lnTo>
                    <a:lnTo>
                      <a:pt x="146" y="207"/>
                    </a:lnTo>
                    <a:lnTo>
                      <a:pt x="144" y="207"/>
                    </a:lnTo>
                    <a:lnTo>
                      <a:pt x="144" y="206"/>
                    </a:lnTo>
                    <a:lnTo>
                      <a:pt x="143" y="206"/>
                    </a:lnTo>
                    <a:lnTo>
                      <a:pt x="143" y="204"/>
                    </a:lnTo>
                    <a:lnTo>
                      <a:pt x="141" y="204"/>
                    </a:lnTo>
                    <a:lnTo>
                      <a:pt x="141" y="202"/>
                    </a:lnTo>
                    <a:lnTo>
                      <a:pt x="139" y="202"/>
                    </a:lnTo>
                    <a:lnTo>
                      <a:pt x="138" y="202"/>
                    </a:lnTo>
                    <a:lnTo>
                      <a:pt x="136" y="202"/>
                    </a:lnTo>
                    <a:lnTo>
                      <a:pt x="134" y="202"/>
                    </a:lnTo>
                    <a:lnTo>
                      <a:pt x="134" y="200"/>
                    </a:lnTo>
                    <a:lnTo>
                      <a:pt x="133" y="200"/>
                    </a:lnTo>
                    <a:lnTo>
                      <a:pt x="131" y="200"/>
                    </a:lnTo>
                    <a:lnTo>
                      <a:pt x="129" y="200"/>
                    </a:lnTo>
                    <a:lnTo>
                      <a:pt x="129" y="199"/>
                    </a:lnTo>
                    <a:lnTo>
                      <a:pt x="127" y="199"/>
                    </a:lnTo>
                    <a:lnTo>
                      <a:pt x="127" y="197"/>
                    </a:lnTo>
                    <a:lnTo>
                      <a:pt x="126" y="197"/>
                    </a:lnTo>
                    <a:lnTo>
                      <a:pt x="124" y="195"/>
                    </a:lnTo>
                    <a:lnTo>
                      <a:pt x="122" y="195"/>
                    </a:lnTo>
                    <a:lnTo>
                      <a:pt x="121" y="194"/>
                    </a:lnTo>
                    <a:lnTo>
                      <a:pt x="119" y="194"/>
                    </a:lnTo>
                    <a:lnTo>
                      <a:pt x="117" y="192"/>
                    </a:lnTo>
                    <a:lnTo>
                      <a:pt x="116" y="192"/>
                    </a:lnTo>
                    <a:lnTo>
                      <a:pt x="116" y="190"/>
                    </a:lnTo>
                    <a:lnTo>
                      <a:pt x="114" y="190"/>
                    </a:lnTo>
                    <a:lnTo>
                      <a:pt x="112" y="189"/>
                    </a:lnTo>
                    <a:lnTo>
                      <a:pt x="110" y="187"/>
                    </a:lnTo>
                    <a:lnTo>
                      <a:pt x="109" y="187"/>
                    </a:lnTo>
                    <a:lnTo>
                      <a:pt x="109" y="185"/>
                    </a:lnTo>
                    <a:lnTo>
                      <a:pt x="107" y="183"/>
                    </a:lnTo>
                    <a:lnTo>
                      <a:pt x="104" y="182"/>
                    </a:lnTo>
                    <a:lnTo>
                      <a:pt x="97" y="177"/>
                    </a:lnTo>
                    <a:lnTo>
                      <a:pt x="88" y="172"/>
                    </a:lnTo>
                    <a:lnTo>
                      <a:pt x="87" y="172"/>
                    </a:lnTo>
                    <a:lnTo>
                      <a:pt x="85" y="173"/>
                    </a:lnTo>
                    <a:lnTo>
                      <a:pt x="83" y="173"/>
                    </a:lnTo>
                    <a:lnTo>
                      <a:pt x="82" y="173"/>
                    </a:lnTo>
                    <a:lnTo>
                      <a:pt x="80" y="173"/>
                    </a:lnTo>
                    <a:lnTo>
                      <a:pt x="78" y="172"/>
                    </a:lnTo>
                    <a:lnTo>
                      <a:pt x="76" y="172"/>
                    </a:lnTo>
                    <a:lnTo>
                      <a:pt x="76" y="170"/>
                    </a:lnTo>
                    <a:lnTo>
                      <a:pt x="75" y="170"/>
                    </a:lnTo>
                    <a:lnTo>
                      <a:pt x="73" y="170"/>
                    </a:lnTo>
                    <a:lnTo>
                      <a:pt x="71" y="170"/>
                    </a:lnTo>
                    <a:lnTo>
                      <a:pt x="70" y="170"/>
                    </a:lnTo>
                    <a:lnTo>
                      <a:pt x="70" y="168"/>
                    </a:lnTo>
                    <a:lnTo>
                      <a:pt x="68" y="168"/>
                    </a:lnTo>
                    <a:lnTo>
                      <a:pt x="66" y="168"/>
                    </a:lnTo>
                    <a:lnTo>
                      <a:pt x="66" y="166"/>
                    </a:lnTo>
                    <a:lnTo>
                      <a:pt x="65" y="166"/>
                    </a:lnTo>
                    <a:lnTo>
                      <a:pt x="63" y="166"/>
                    </a:lnTo>
                    <a:lnTo>
                      <a:pt x="61" y="166"/>
                    </a:lnTo>
                    <a:lnTo>
                      <a:pt x="59" y="165"/>
                    </a:lnTo>
                    <a:lnTo>
                      <a:pt x="58" y="163"/>
                    </a:lnTo>
                    <a:lnTo>
                      <a:pt x="58" y="165"/>
                    </a:lnTo>
                    <a:lnTo>
                      <a:pt x="56" y="165"/>
                    </a:lnTo>
                    <a:lnTo>
                      <a:pt x="56" y="163"/>
                    </a:lnTo>
                    <a:lnTo>
                      <a:pt x="54" y="161"/>
                    </a:lnTo>
                    <a:lnTo>
                      <a:pt x="54" y="160"/>
                    </a:lnTo>
                    <a:lnTo>
                      <a:pt x="53" y="160"/>
                    </a:lnTo>
                    <a:lnTo>
                      <a:pt x="53" y="158"/>
                    </a:lnTo>
                    <a:lnTo>
                      <a:pt x="53" y="156"/>
                    </a:lnTo>
                    <a:lnTo>
                      <a:pt x="51" y="156"/>
                    </a:lnTo>
                    <a:lnTo>
                      <a:pt x="51" y="155"/>
                    </a:lnTo>
                    <a:lnTo>
                      <a:pt x="49" y="155"/>
                    </a:lnTo>
                    <a:lnTo>
                      <a:pt x="48" y="155"/>
                    </a:lnTo>
                    <a:lnTo>
                      <a:pt x="48" y="153"/>
                    </a:lnTo>
                    <a:lnTo>
                      <a:pt x="46" y="153"/>
                    </a:lnTo>
                    <a:lnTo>
                      <a:pt x="46" y="151"/>
                    </a:lnTo>
                    <a:lnTo>
                      <a:pt x="44" y="151"/>
                    </a:lnTo>
                    <a:lnTo>
                      <a:pt x="42" y="151"/>
                    </a:lnTo>
                    <a:lnTo>
                      <a:pt x="41" y="151"/>
                    </a:lnTo>
                    <a:lnTo>
                      <a:pt x="41" y="149"/>
                    </a:lnTo>
                    <a:lnTo>
                      <a:pt x="39" y="149"/>
                    </a:lnTo>
                    <a:lnTo>
                      <a:pt x="39" y="148"/>
                    </a:lnTo>
                    <a:lnTo>
                      <a:pt x="37" y="148"/>
                    </a:lnTo>
                    <a:lnTo>
                      <a:pt x="37" y="146"/>
                    </a:lnTo>
                    <a:lnTo>
                      <a:pt x="36" y="146"/>
                    </a:lnTo>
                    <a:lnTo>
                      <a:pt x="36" y="144"/>
                    </a:lnTo>
                    <a:lnTo>
                      <a:pt x="34" y="144"/>
                    </a:lnTo>
                    <a:lnTo>
                      <a:pt x="32" y="144"/>
                    </a:lnTo>
                    <a:lnTo>
                      <a:pt x="32" y="143"/>
                    </a:lnTo>
                    <a:lnTo>
                      <a:pt x="31" y="143"/>
                    </a:lnTo>
                    <a:lnTo>
                      <a:pt x="31" y="141"/>
                    </a:lnTo>
                    <a:lnTo>
                      <a:pt x="29" y="141"/>
                    </a:lnTo>
                    <a:lnTo>
                      <a:pt x="29" y="139"/>
                    </a:lnTo>
                    <a:lnTo>
                      <a:pt x="27" y="139"/>
                    </a:lnTo>
                    <a:lnTo>
                      <a:pt x="27" y="138"/>
                    </a:lnTo>
                    <a:lnTo>
                      <a:pt x="25" y="138"/>
                    </a:lnTo>
                    <a:lnTo>
                      <a:pt x="24" y="136"/>
                    </a:lnTo>
                    <a:lnTo>
                      <a:pt x="22" y="136"/>
                    </a:lnTo>
                    <a:lnTo>
                      <a:pt x="22" y="134"/>
                    </a:lnTo>
                    <a:lnTo>
                      <a:pt x="20" y="134"/>
                    </a:lnTo>
                    <a:lnTo>
                      <a:pt x="20" y="132"/>
                    </a:lnTo>
                    <a:lnTo>
                      <a:pt x="19" y="131"/>
                    </a:lnTo>
                    <a:lnTo>
                      <a:pt x="19" y="129"/>
                    </a:lnTo>
                    <a:lnTo>
                      <a:pt x="17" y="127"/>
                    </a:lnTo>
                    <a:lnTo>
                      <a:pt x="15" y="126"/>
                    </a:lnTo>
                    <a:lnTo>
                      <a:pt x="15" y="124"/>
                    </a:lnTo>
                    <a:lnTo>
                      <a:pt x="15" y="122"/>
                    </a:lnTo>
                    <a:lnTo>
                      <a:pt x="15" y="121"/>
                    </a:lnTo>
                    <a:lnTo>
                      <a:pt x="14" y="122"/>
                    </a:lnTo>
                    <a:lnTo>
                      <a:pt x="14" y="121"/>
                    </a:lnTo>
                    <a:lnTo>
                      <a:pt x="14" y="119"/>
                    </a:lnTo>
                    <a:lnTo>
                      <a:pt x="15" y="119"/>
                    </a:lnTo>
                    <a:lnTo>
                      <a:pt x="14" y="119"/>
                    </a:lnTo>
                    <a:lnTo>
                      <a:pt x="15" y="117"/>
                    </a:lnTo>
                    <a:lnTo>
                      <a:pt x="14" y="117"/>
                    </a:lnTo>
                    <a:lnTo>
                      <a:pt x="12" y="117"/>
                    </a:lnTo>
                    <a:lnTo>
                      <a:pt x="12" y="115"/>
                    </a:lnTo>
                    <a:lnTo>
                      <a:pt x="10" y="115"/>
                    </a:lnTo>
                    <a:lnTo>
                      <a:pt x="12" y="115"/>
                    </a:lnTo>
                    <a:lnTo>
                      <a:pt x="10" y="115"/>
                    </a:lnTo>
                    <a:lnTo>
                      <a:pt x="10" y="114"/>
                    </a:lnTo>
                    <a:lnTo>
                      <a:pt x="10" y="115"/>
                    </a:lnTo>
                    <a:lnTo>
                      <a:pt x="10" y="114"/>
                    </a:lnTo>
                    <a:lnTo>
                      <a:pt x="8" y="114"/>
                    </a:lnTo>
                    <a:lnTo>
                      <a:pt x="7" y="114"/>
                    </a:lnTo>
                    <a:lnTo>
                      <a:pt x="7" y="112"/>
                    </a:lnTo>
                    <a:lnTo>
                      <a:pt x="5" y="112"/>
                    </a:lnTo>
                    <a:lnTo>
                      <a:pt x="3" y="112"/>
                    </a:lnTo>
                    <a:lnTo>
                      <a:pt x="3" y="110"/>
                    </a:lnTo>
                    <a:lnTo>
                      <a:pt x="2" y="109"/>
                    </a:lnTo>
                    <a:lnTo>
                      <a:pt x="0" y="109"/>
                    </a:lnTo>
                    <a:lnTo>
                      <a:pt x="2" y="109"/>
                    </a:lnTo>
                    <a:lnTo>
                      <a:pt x="2" y="107"/>
                    </a:lnTo>
                    <a:lnTo>
                      <a:pt x="0" y="107"/>
                    </a:lnTo>
                    <a:lnTo>
                      <a:pt x="3" y="95"/>
                    </a:lnTo>
                    <a:lnTo>
                      <a:pt x="7" y="86"/>
                    </a:lnTo>
                    <a:lnTo>
                      <a:pt x="14" y="64"/>
                    </a:lnTo>
                    <a:lnTo>
                      <a:pt x="14" y="61"/>
                    </a:lnTo>
                    <a:lnTo>
                      <a:pt x="14" y="46"/>
                    </a:lnTo>
                    <a:lnTo>
                      <a:pt x="15" y="42"/>
                    </a:lnTo>
                    <a:lnTo>
                      <a:pt x="25" y="29"/>
                    </a:lnTo>
                    <a:lnTo>
                      <a:pt x="25" y="27"/>
                    </a:lnTo>
                    <a:lnTo>
                      <a:pt x="31" y="13"/>
                    </a:lnTo>
                    <a:lnTo>
                      <a:pt x="32" y="13"/>
                    </a:lnTo>
                    <a:lnTo>
                      <a:pt x="70" y="7"/>
                    </a:lnTo>
                    <a:lnTo>
                      <a:pt x="90" y="0"/>
                    </a:lnTo>
                    <a:lnTo>
                      <a:pt x="122" y="0"/>
                    </a:lnTo>
                    <a:lnTo>
                      <a:pt x="139" y="12"/>
                    </a:lnTo>
                    <a:lnTo>
                      <a:pt x="143" y="13"/>
                    </a:lnTo>
                    <a:lnTo>
                      <a:pt x="151" y="20"/>
                    </a:lnTo>
                    <a:lnTo>
                      <a:pt x="150" y="22"/>
                    </a:lnTo>
                    <a:lnTo>
                      <a:pt x="151" y="22"/>
                    </a:lnTo>
                    <a:lnTo>
                      <a:pt x="151" y="24"/>
                    </a:lnTo>
                    <a:lnTo>
                      <a:pt x="150" y="24"/>
                    </a:lnTo>
                    <a:lnTo>
                      <a:pt x="151" y="24"/>
                    </a:lnTo>
                    <a:lnTo>
                      <a:pt x="151" y="25"/>
                    </a:lnTo>
                    <a:lnTo>
                      <a:pt x="151" y="27"/>
                    </a:lnTo>
                    <a:lnTo>
                      <a:pt x="151" y="29"/>
                    </a:lnTo>
                    <a:lnTo>
                      <a:pt x="153" y="29"/>
                    </a:lnTo>
                    <a:lnTo>
                      <a:pt x="153" y="30"/>
                    </a:lnTo>
                    <a:lnTo>
                      <a:pt x="151" y="30"/>
                    </a:lnTo>
                    <a:lnTo>
                      <a:pt x="151" y="3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13" name="Freeform 46">
                <a:extLst>
                  <a:ext uri="{FF2B5EF4-FFF2-40B4-BE49-F238E27FC236}">
                    <a16:creationId xmlns:a16="http://schemas.microsoft.com/office/drawing/2014/main" id="{CF98C5CC-D57F-2DD3-CB89-F68F56BE25C2}"/>
                  </a:ext>
                </a:extLst>
              </p:cNvPr>
              <p:cNvSpPr>
                <a:spLocks noEditPoints="1"/>
              </p:cNvSpPr>
              <p:nvPr/>
            </p:nvSpPr>
            <p:spPr bwMode="auto">
              <a:xfrm>
                <a:off x="5292725" y="2454275"/>
                <a:ext cx="681037" cy="1000125"/>
              </a:xfrm>
              <a:custGeom>
                <a:avLst/>
                <a:gdLst>
                  <a:gd name="T0" fmla="*/ 367 w 429"/>
                  <a:gd name="T1" fmla="*/ 141 h 630"/>
                  <a:gd name="T2" fmla="*/ 347 w 429"/>
                  <a:gd name="T3" fmla="*/ 148 h 630"/>
                  <a:gd name="T4" fmla="*/ 323 w 429"/>
                  <a:gd name="T5" fmla="*/ 152 h 630"/>
                  <a:gd name="T6" fmla="*/ 299 w 429"/>
                  <a:gd name="T7" fmla="*/ 165 h 630"/>
                  <a:gd name="T8" fmla="*/ 284 w 429"/>
                  <a:gd name="T9" fmla="*/ 189 h 630"/>
                  <a:gd name="T10" fmla="*/ 276 w 429"/>
                  <a:gd name="T11" fmla="*/ 213 h 630"/>
                  <a:gd name="T12" fmla="*/ 259 w 429"/>
                  <a:gd name="T13" fmla="*/ 230 h 630"/>
                  <a:gd name="T14" fmla="*/ 259 w 429"/>
                  <a:gd name="T15" fmla="*/ 262 h 630"/>
                  <a:gd name="T16" fmla="*/ 272 w 429"/>
                  <a:gd name="T17" fmla="*/ 293 h 630"/>
                  <a:gd name="T18" fmla="*/ 294 w 429"/>
                  <a:gd name="T19" fmla="*/ 320 h 630"/>
                  <a:gd name="T20" fmla="*/ 310 w 429"/>
                  <a:gd name="T21" fmla="*/ 337 h 630"/>
                  <a:gd name="T22" fmla="*/ 357 w 429"/>
                  <a:gd name="T23" fmla="*/ 327 h 630"/>
                  <a:gd name="T24" fmla="*/ 364 w 429"/>
                  <a:gd name="T25" fmla="*/ 332 h 630"/>
                  <a:gd name="T26" fmla="*/ 376 w 429"/>
                  <a:gd name="T27" fmla="*/ 376 h 630"/>
                  <a:gd name="T28" fmla="*/ 408 w 429"/>
                  <a:gd name="T29" fmla="*/ 388 h 630"/>
                  <a:gd name="T30" fmla="*/ 427 w 429"/>
                  <a:gd name="T31" fmla="*/ 432 h 630"/>
                  <a:gd name="T32" fmla="*/ 420 w 429"/>
                  <a:gd name="T33" fmla="*/ 461 h 630"/>
                  <a:gd name="T34" fmla="*/ 417 w 429"/>
                  <a:gd name="T35" fmla="*/ 487 h 630"/>
                  <a:gd name="T36" fmla="*/ 408 w 429"/>
                  <a:gd name="T37" fmla="*/ 516 h 630"/>
                  <a:gd name="T38" fmla="*/ 413 w 429"/>
                  <a:gd name="T39" fmla="*/ 555 h 630"/>
                  <a:gd name="T40" fmla="*/ 403 w 429"/>
                  <a:gd name="T41" fmla="*/ 584 h 630"/>
                  <a:gd name="T42" fmla="*/ 388 w 429"/>
                  <a:gd name="T43" fmla="*/ 609 h 630"/>
                  <a:gd name="T44" fmla="*/ 366 w 429"/>
                  <a:gd name="T45" fmla="*/ 628 h 630"/>
                  <a:gd name="T46" fmla="*/ 339 w 429"/>
                  <a:gd name="T47" fmla="*/ 606 h 630"/>
                  <a:gd name="T48" fmla="*/ 313 w 429"/>
                  <a:gd name="T49" fmla="*/ 582 h 630"/>
                  <a:gd name="T50" fmla="*/ 281 w 429"/>
                  <a:gd name="T51" fmla="*/ 565 h 630"/>
                  <a:gd name="T52" fmla="*/ 248 w 429"/>
                  <a:gd name="T53" fmla="*/ 550 h 630"/>
                  <a:gd name="T54" fmla="*/ 216 w 429"/>
                  <a:gd name="T55" fmla="*/ 529 h 630"/>
                  <a:gd name="T56" fmla="*/ 194 w 429"/>
                  <a:gd name="T57" fmla="*/ 507 h 630"/>
                  <a:gd name="T58" fmla="*/ 172 w 429"/>
                  <a:gd name="T59" fmla="*/ 482 h 630"/>
                  <a:gd name="T60" fmla="*/ 172 w 429"/>
                  <a:gd name="T61" fmla="*/ 470 h 630"/>
                  <a:gd name="T62" fmla="*/ 160 w 429"/>
                  <a:gd name="T63" fmla="*/ 436 h 630"/>
                  <a:gd name="T64" fmla="*/ 141 w 429"/>
                  <a:gd name="T65" fmla="*/ 410 h 630"/>
                  <a:gd name="T66" fmla="*/ 126 w 429"/>
                  <a:gd name="T67" fmla="*/ 381 h 630"/>
                  <a:gd name="T68" fmla="*/ 112 w 429"/>
                  <a:gd name="T69" fmla="*/ 352 h 630"/>
                  <a:gd name="T70" fmla="*/ 99 w 429"/>
                  <a:gd name="T71" fmla="*/ 317 h 630"/>
                  <a:gd name="T72" fmla="*/ 87 w 429"/>
                  <a:gd name="T73" fmla="*/ 298 h 630"/>
                  <a:gd name="T74" fmla="*/ 67 w 429"/>
                  <a:gd name="T75" fmla="*/ 266 h 630"/>
                  <a:gd name="T76" fmla="*/ 46 w 429"/>
                  <a:gd name="T77" fmla="*/ 230 h 630"/>
                  <a:gd name="T78" fmla="*/ 9 w 429"/>
                  <a:gd name="T79" fmla="*/ 204 h 630"/>
                  <a:gd name="T80" fmla="*/ 5 w 429"/>
                  <a:gd name="T81" fmla="*/ 177 h 630"/>
                  <a:gd name="T82" fmla="*/ 4 w 429"/>
                  <a:gd name="T83" fmla="*/ 145 h 630"/>
                  <a:gd name="T84" fmla="*/ 31 w 429"/>
                  <a:gd name="T85" fmla="*/ 119 h 630"/>
                  <a:gd name="T86" fmla="*/ 29 w 429"/>
                  <a:gd name="T87" fmla="*/ 136 h 630"/>
                  <a:gd name="T88" fmla="*/ 39 w 429"/>
                  <a:gd name="T89" fmla="*/ 145 h 630"/>
                  <a:gd name="T90" fmla="*/ 70 w 429"/>
                  <a:gd name="T91" fmla="*/ 165 h 630"/>
                  <a:gd name="T92" fmla="*/ 92 w 429"/>
                  <a:gd name="T93" fmla="*/ 148 h 630"/>
                  <a:gd name="T94" fmla="*/ 101 w 429"/>
                  <a:gd name="T95" fmla="*/ 118 h 630"/>
                  <a:gd name="T96" fmla="*/ 128 w 429"/>
                  <a:gd name="T97" fmla="*/ 99 h 630"/>
                  <a:gd name="T98" fmla="*/ 199 w 429"/>
                  <a:gd name="T99" fmla="*/ 39 h 630"/>
                  <a:gd name="T100" fmla="*/ 203 w 429"/>
                  <a:gd name="T101" fmla="*/ 16 h 630"/>
                  <a:gd name="T102" fmla="*/ 216 w 429"/>
                  <a:gd name="T103" fmla="*/ 5 h 630"/>
                  <a:gd name="T104" fmla="*/ 235 w 429"/>
                  <a:gd name="T105" fmla="*/ 21 h 630"/>
                  <a:gd name="T106" fmla="*/ 248 w 429"/>
                  <a:gd name="T107" fmla="*/ 34 h 630"/>
                  <a:gd name="T108" fmla="*/ 265 w 429"/>
                  <a:gd name="T109" fmla="*/ 51 h 630"/>
                  <a:gd name="T110" fmla="*/ 279 w 429"/>
                  <a:gd name="T111" fmla="*/ 70 h 630"/>
                  <a:gd name="T112" fmla="*/ 298 w 429"/>
                  <a:gd name="T113" fmla="*/ 82 h 630"/>
                  <a:gd name="T114" fmla="*/ 322 w 429"/>
                  <a:gd name="T115" fmla="*/ 75 h 630"/>
                  <a:gd name="T116" fmla="*/ 342 w 429"/>
                  <a:gd name="T117" fmla="*/ 80 h 630"/>
                  <a:gd name="T118" fmla="*/ 367 w 429"/>
                  <a:gd name="T119" fmla="*/ 84 h 630"/>
                  <a:gd name="T120" fmla="*/ 371 w 429"/>
                  <a:gd name="T121" fmla="*/ 109 h 630"/>
                  <a:gd name="T122" fmla="*/ 381 w 429"/>
                  <a:gd name="T123" fmla="*/ 138 h 630"/>
                  <a:gd name="T124" fmla="*/ 36 w 429"/>
                  <a:gd name="T125" fmla="*/ 116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9" h="630">
                    <a:moveTo>
                      <a:pt x="384" y="143"/>
                    </a:moveTo>
                    <a:lnTo>
                      <a:pt x="384" y="145"/>
                    </a:lnTo>
                    <a:lnTo>
                      <a:pt x="384" y="147"/>
                    </a:lnTo>
                    <a:lnTo>
                      <a:pt x="384" y="148"/>
                    </a:lnTo>
                    <a:lnTo>
                      <a:pt x="383" y="148"/>
                    </a:lnTo>
                    <a:lnTo>
                      <a:pt x="381" y="147"/>
                    </a:lnTo>
                    <a:lnTo>
                      <a:pt x="381" y="145"/>
                    </a:lnTo>
                    <a:lnTo>
                      <a:pt x="379" y="145"/>
                    </a:lnTo>
                    <a:lnTo>
                      <a:pt x="379" y="143"/>
                    </a:lnTo>
                    <a:lnTo>
                      <a:pt x="379" y="145"/>
                    </a:lnTo>
                    <a:lnTo>
                      <a:pt x="378" y="145"/>
                    </a:lnTo>
                    <a:lnTo>
                      <a:pt x="378" y="147"/>
                    </a:lnTo>
                    <a:lnTo>
                      <a:pt x="376" y="147"/>
                    </a:lnTo>
                    <a:lnTo>
                      <a:pt x="376" y="145"/>
                    </a:lnTo>
                    <a:lnTo>
                      <a:pt x="376" y="147"/>
                    </a:lnTo>
                    <a:lnTo>
                      <a:pt x="374" y="145"/>
                    </a:lnTo>
                    <a:lnTo>
                      <a:pt x="373" y="143"/>
                    </a:lnTo>
                    <a:lnTo>
                      <a:pt x="374" y="143"/>
                    </a:lnTo>
                    <a:lnTo>
                      <a:pt x="374" y="141"/>
                    </a:lnTo>
                    <a:lnTo>
                      <a:pt x="373" y="140"/>
                    </a:lnTo>
                    <a:lnTo>
                      <a:pt x="373" y="141"/>
                    </a:lnTo>
                    <a:lnTo>
                      <a:pt x="371" y="141"/>
                    </a:lnTo>
                    <a:lnTo>
                      <a:pt x="371" y="140"/>
                    </a:lnTo>
                    <a:lnTo>
                      <a:pt x="369" y="140"/>
                    </a:lnTo>
                    <a:lnTo>
                      <a:pt x="367" y="140"/>
                    </a:lnTo>
                    <a:lnTo>
                      <a:pt x="369" y="140"/>
                    </a:lnTo>
                    <a:lnTo>
                      <a:pt x="367" y="140"/>
                    </a:lnTo>
                    <a:lnTo>
                      <a:pt x="367" y="141"/>
                    </a:lnTo>
                    <a:lnTo>
                      <a:pt x="367" y="140"/>
                    </a:lnTo>
                    <a:lnTo>
                      <a:pt x="367" y="141"/>
                    </a:lnTo>
                    <a:lnTo>
                      <a:pt x="366" y="141"/>
                    </a:lnTo>
                    <a:lnTo>
                      <a:pt x="366" y="140"/>
                    </a:lnTo>
                    <a:lnTo>
                      <a:pt x="364" y="140"/>
                    </a:lnTo>
                    <a:lnTo>
                      <a:pt x="366" y="140"/>
                    </a:lnTo>
                    <a:lnTo>
                      <a:pt x="364" y="141"/>
                    </a:lnTo>
                    <a:lnTo>
                      <a:pt x="362" y="141"/>
                    </a:lnTo>
                    <a:lnTo>
                      <a:pt x="362" y="140"/>
                    </a:lnTo>
                    <a:lnTo>
                      <a:pt x="361" y="140"/>
                    </a:lnTo>
                    <a:lnTo>
                      <a:pt x="361" y="141"/>
                    </a:lnTo>
                    <a:lnTo>
                      <a:pt x="359" y="141"/>
                    </a:lnTo>
                    <a:lnTo>
                      <a:pt x="357" y="140"/>
                    </a:lnTo>
                    <a:lnTo>
                      <a:pt x="357" y="141"/>
                    </a:lnTo>
                    <a:lnTo>
                      <a:pt x="356" y="141"/>
                    </a:lnTo>
                    <a:lnTo>
                      <a:pt x="356" y="143"/>
                    </a:lnTo>
                    <a:lnTo>
                      <a:pt x="354" y="143"/>
                    </a:lnTo>
                    <a:lnTo>
                      <a:pt x="354" y="145"/>
                    </a:lnTo>
                    <a:lnTo>
                      <a:pt x="354" y="147"/>
                    </a:lnTo>
                    <a:lnTo>
                      <a:pt x="352" y="147"/>
                    </a:lnTo>
                    <a:lnTo>
                      <a:pt x="352" y="148"/>
                    </a:lnTo>
                    <a:lnTo>
                      <a:pt x="350" y="148"/>
                    </a:lnTo>
                    <a:lnTo>
                      <a:pt x="350" y="147"/>
                    </a:lnTo>
                    <a:lnTo>
                      <a:pt x="349" y="147"/>
                    </a:lnTo>
                    <a:lnTo>
                      <a:pt x="350" y="147"/>
                    </a:lnTo>
                    <a:lnTo>
                      <a:pt x="350" y="148"/>
                    </a:lnTo>
                    <a:lnTo>
                      <a:pt x="349" y="148"/>
                    </a:lnTo>
                    <a:lnTo>
                      <a:pt x="347" y="148"/>
                    </a:lnTo>
                    <a:lnTo>
                      <a:pt x="345" y="148"/>
                    </a:lnTo>
                    <a:lnTo>
                      <a:pt x="344" y="148"/>
                    </a:lnTo>
                    <a:lnTo>
                      <a:pt x="344" y="150"/>
                    </a:lnTo>
                    <a:lnTo>
                      <a:pt x="342" y="148"/>
                    </a:lnTo>
                    <a:lnTo>
                      <a:pt x="340" y="148"/>
                    </a:lnTo>
                    <a:lnTo>
                      <a:pt x="340" y="150"/>
                    </a:lnTo>
                    <a:lnTo>
                      <a:pt x="339" y="150"/>
                    </a:lnTo>
                    <a:lnTo>
                      <a:pt x="339" y="148"/>
                    </a:lnTo>
                    <a:lnTo>
                      <a:pt x="339" y="150"/>
                    </a:lnTo>
                    <a:lnTo>
                      <a:pt x="337" y="150"/>
                    </a:lnTo>
                    <a:lnTo>
                      <a:pt x="335" y="150"/>
                    </a:lnTo>
                    <a:lnTo>
                      <a:pt x="335" y="152"/>
                    </a:lnTo>
                    <a:lnTo>
                      <a:pt x="335" y="150"/>
                    </a:lnTo>
                    <a:lnTo>
                      <a:pt x="333" y="150"/>
                    </a:lnTo>
                    <a:lnTo>
                      <a:pt x="332" y="150"/>
                    </a:lnTo>
                    <a:lnTo>
                      <a:pt x="333" y="152"/>
                    </a:lnTo>
                    <a:lnTo>
                      <a:pt x="332" y="152"/>
                    </a:lnTo>
                    <a:lnTo>
                      <a:pt x="332" y="150"/>
                    </a:lnTo>
                    <a:lnTo>
                      <a:pt x="332" y="152"/>
                    </a:lnTo>
                    <a:lnTo>
                      <a:pt x="330" y="152"/>
                    </a:lnTo>
                    <a:lnTo>
                      <a:pt x="330" y="153"/>
                    </a:lnTo>
                    <a:lnTo>
                      <a:pt x="328" y="153"/>
                    </a:lnTo>
                    <a:lnTo>
                      <a:pt x="328" y="152"/>
                    </a:lnTo>
                    <a:lnTo>
                      <a:pt x="327" y="152"/>
                    </a:lnTo>
                    <a:lnTo>
                      <a:pt x="325" y="152"/>
                    </a:lnTo>
                    <a:lnTo>
                      <a:pt x="323" y="152"/>
                    </a:lnTo>
                    <a:lnTo>
                      <a:pt x="325" y="152"/>
                    </a:lnTo>
                    <a:lnTo>
                      <a:pt x="323" y="152"/>
                    </a:lnTo>
                    <a:lnTo>
                      <a:pt x="322" y="152"/>
                    </a:lnTo>
                    <a:lnTo>
                      <a:pt x="320" y="152"/>
                    </a:lnTo>
                    <a:lnTo>
                      <a:pt x="320" y="153"/>
                    </a:lnTo>
                    <a:lnTo>
                      <a:pt x="320" y="152"/>
                    </a:lnTo>
                    <a:lnTo>
                      <a:pt x="318" y="152"/>
                    </a:lnTo>
                    <a:lnTo>
                      <a:pt x="320" y="153"/>
                    </a:lnTo>
                    <a:lnTo>
                      <a:pt x="318" y="153"/>
                    </a:lnTo>
                    <a:lnTo>
                      <a:pt x="318" y="155"/>
                    </a:lnTo>
                    <a:lnTo>
                      <a:pt x="316" y="155"/>
                    </a:lnTo>
                    <a:lnTo>
                      <a:pt x="316" y="157"/>
                    </a:lnTo>
                    <a:lnTo>
                      <a:pt x="315" y="157"/>
                    </a:lnTo>
                    <a:lnTo>
                      <a:pt x="313" y="157"/>
                    </a:lnTo>
                    <a:lnTo>
                      <a:pt x="313" y="159"/>
                    </a:lnTo>
                    <a:lnTo>
                      <a:pt x="311" y="159"/>
                    </a:lnTo>
                    <a:lnTo>
                      <a:pt x="311" y="160"/>
                    </a:lnTo>
                    <a:lnTo>
                      <a:pt x="311" y="159"/>
                    </a:lnTo>
                    <a:lnTo>
                      <a:pt x="310" y="160"/>
                    </a:lnTo>
                    <a:lnTo>
                      <a:pt x="308" y="160"/>
                    </a:lnTo>
                    <a:lnTo>
                      <a:pt x="308" y="162"/>
                    </a:lnTo>
                    <a:lnTo>
                      <a:pt x="306" y="160"/>
                    </a:lnTo>
                    <a:lnTo>
                      <a:pt x="308" y="162"/>
                    </a:lnTo>
                    <a:lnTo>
                      <a:pt x="306" y="162"/>
                    </a:lnTo>
                    <a:lnTo>
                      <a:pt x="305" y="162"/>
                    </a:lnTo>
                    <a:lnTo>
                      <a:pt x="303" y="162"/>
                    </a:lnTo>
                    <a:lnTo>
                      <a:pt x="303" y="164"/>
                    </a:lnTo>
                    <a:lnTo>
                      <a:pt x="303" y="165"/>
                    </a:lnTo>
                    <a:lnTo>
                      <a:pt x="301" y="165"/>
                    </a:lnTo>
                    <a:lnTo>
                      <a:pt x="299" y="165"/>
                    </a:lnTo>
                    <a:lnTo>
                      <a:pt x="301" y="165"/>
                    </a:lnTo>
                    <a:lnTo>
                      <a:pt x="299" y="167"/>
                    </a:lnTo>
                    <a:lnTo>
                      <a:pt x="298" y="167"/>
                    </a:lnTo>
                    <a:lnTo>
                      <a:pt x="296" y="169"/>
                    </a:lnTo>
                    <a:lnTo>
                      <a:pt x="294" y="169"/>
                    </a:lnTo>
                    <a:lnTo>
                      <a:pt x="296" y="169"/>
                    </a:lnTo>
                    <a:lnTo>
                      <a:pt x="294" y="169"/>
                    </a:lnTo>
                    <a:lnTo>
                      <a:pt x="296" y="170"/>
                    </a:lnTo>
                    <a:lnTo>
                      <a:pt x="294" y="170"/>
                    </a:lnTo>
                    <a:lnTo>
                      <a:pt x="293" y="170"/>
                    </a:lnTo>
                    <a:lnTo>
                      <a:pt x="291" y="170"/>
                    </a:lnTo>
                    <a:lnTo>
                      <a:pt x="291" y="172"/>
                    </a:lnTo>
                    <a:lnTo>
                      <a:pt x="289" y="172"/>
                    </a:lnTo>
                    <a:lnTo>
                      <a:pt x="288" y="172"/>
                    </a:lnTo>
                    <a:lnTo>
                      <a:pt x="288" y="174"/>
                    </a:lnTo>
                    <a:lnTo>
                      <a:pt x="286" y="174"/>
                    </a:lnTo>
                    <a:lnTo>
                      <a:pt x="286" y="176"/>
                    </a:lnTo>
                    <a:lnTo>
                      <a:pt x="286" y="177"/>
                    </a:lnTo>
                    <a:lnTo>
                      <a:pt x="286" y="179"/>
                    </a:lnTo>
                    <a:lnTo>
                      <a:pt x="286" y="181"/>
                    </a:lnTo>
                    <a:lnTo>
                      <a:pt x="286" y="182"/>
                    </a:lnTo>
                    <a:lnTo>
                      <a:pt x="284" y="182"/>
                    </a:lnTo>
                    <a:lnTo>
                      <a:pt x="284" y="184"/>
                    </a:lnTo>
                    <a:lnTo>
                      <a:pt x="284" y="186"/>
                    </a:lnTo>
                    <a:lnTo>
                      <a:pt x="282" y="186"/>
                    </a:lnTo>
                    <a:lnTo>
                      <a:pt x="284" y="186"/>
                    </a:lnTo>
                    <a:lnTo>
                      <a:pt x="284" y="187"/>
                    </a:lnTo>
                    <a:lnTo>
                      <a:pt x="284" y="189"/>
                    </a:lnTo>
                    <a:lnTo>
                      <a:pt x="282" y="189"/>
                    </a:lnTo>
                    <a:lnTo>
                      <a:pt x="282" y="191"/>
                    </a:lnTo>
                    <a:lnTo>
                      <a:pt x="284" y="191"/>
                    </a:lnTo>
                    <a:lnTo>
                      <a:pt x="282" y="191"/>
                    </a:lnTo>
                    <a:lnTo>
                      <a:pt x="282" y="193"/>
                    </a:lnTo>
                    <a:lnTo>
                      <a:pt x="282" y="194"/>
                    </a:lnTo>
                    <a:lnTo>
                      <a:pt x="281" y="194"/>
                    </a:lnTo>
                    <a:lnTo>
                      <a:pt x="281" y="196"/>
                    </a:lnTo>
                    <a:lnTo>
                      <a:pt x="279" y="196"/>
                    </a:lnTo>
                    <a:lnTo>
                      <a:pt x="279" y="198"/>
                    </a:lnTo>
                    <a:lnTo>
                      <a:pt x="277" y="198"/>
                    </a:lnTo>
                    <a:lnTo>
                      <a:pt x="277" y="199"/>
                    </a:lnTo>
                    <a:lnTo>
                      <a:pt x="276" y="199"/>
                    </a:lnTo>
                    <a:lnTo>
                      <a:pt x="276" y="201"/>
                    </a:lnTo>
                    <a:lnTo>
                      <a:pt x="276" y="203"/>
                    </a:lnTo>
                    <a:lnTo>
                      <a:pt x="274" y="203"/>
                    </a:lnTo>
                    <a:lnTo>
                      <a:pt x="276" y="204"/>
                    </a:lnTo>
                    <a:lnTo>
                      <a:pt x="274" y="203"/>
                    </a:lnTo>
                    <a:lnTo>
                      <a:pt x="274" y="204"/>
                    </a:lnTo>
                    <a:lnTo>
                      <a:pt x="274" y="206"/>
                    </a:lnTo>
                    <a:lnTo>
                      <a:pt x="274" y="208"/>
                    </a:lnTo>
                    <a:lnTo>
                      <a:pt x="274" y="210"/>
                    </a:lnTo>
                    <a:lnTo>
                      <a:pt x="276" y="210"/>
                    </a:lnTo>
                    <a:lnTo>
                      <a:pt x="274" y="210"/>
                    </a:lnTo>
                    <a:lnTo>
                      <a:pt x="276" y="210"/>
                    </a:lnTo>
                    <a:lnTo>
                      <a:pt x="276" y="211"/>
                    </a:lnTo>
                    <a:lnTo>
                      <a:pt x="277" y="213"/>
                    </a:lnTo>
                    <a:lnTo>
                      <a:pt x="276" y="213"/>
                    </a:lnTo>
                    <a:lnTo>
                      <a:pt x="277" y="213"/>
                    </a:lnTo>
                    <a:lnTo>
                      <a:pt x="277" y="215"/>
                    </a:lnTo>
                    <a:lnTo>
                      <a:pt x="277" y="216"/>
                    </a:lnTo>
                    <a:lnTo>
                      <a:pt x="279" y="216"/>
                    </a:lnTo>
                    <a:lnTo>
                      <a:pt x="277" y="218"/>
                    </a:lnTo>
                    <a:lnTo>
                      <a:pt x="279" y="218"/>
                    </a:lnTo>
                    <a:lnTo>
                      <a:pt x="277" y="218"/>
                    </a:lnTo>
                    <a:lnTo>
                      <a:pt x="277" y="220"/>
                    </a:lnTo>
                    <a:lnTo>
                      <a:pt x="277" y="221"/>
                    </a:lnTo>
                    <a:lnTo>
                      <a:pt x="276" y="220"/>
                    </a:lnTo>
                    <a:lnTo>
                      <a:pt x="276" y="221"/>
                    </a:lnTo>
                    <a:lnTo>
                      <a:pt x="276" y="223"/>
                    </a:lnTo>
                    <a:lnTo>
                      <a:pt x="274" y="221"/>
                    </a:lnTo>
                    <a:lnTo>
                      <a:pt x="274" y="223"/>
                    </a:lnTo>
                    <a:lnTo>
                      <a:pt x="272" y="223"/>
                    </a:lnTo>
                    <a:lnTo>
                      <a:pt x="271" y="223"/>
                    </a:lnTo>
                    <a:lnTo>
                      <a:pt x="269" y="223"/>
                    </a:lnTo>
                    <a:lnTo>
                      <a:pt x="269" y="225"/>
                    </a:lnTo>
                    <a:lnTo>
                      <a:pt x="267" y="225"/>
                    </a:lnTo>
                    <a:lnTo>
                      <a:pt x="265" y="225"/>
                    </a:lnTo>
                    <a:lnTo>
                      <a:pt x="265" y="227"/>
                    </a:lnTo>
                    <a:lnTo>
                      <a:pt x="265" y="225"/>
                    </a:lnTo>
                    <a:lnTo>
                      <a:pt x="264" y="227"/>
                    </a:lnTo>
                    <a:lnTo>
                      <a:pt x="264" y="228"/>
                    </a:lnTo>
                    <a:lnTo>
                      <a:pt x="262" y="228"/>
                    </a:lnTo>
                    <a:lnTo>
                      <a:pt x="260" y="228"/>
                    </a:lnTo>
                    <a:lnTo>
                      <a:pt x="260" y="230"/>
                    </a:lnTo>
                    <a:lnTo>
                      <a:pt x="259" y="230"/>
                    </a:lnTo>
                    <a:lnTo>
                      <a:pt x="259" y="232"/>
                    </a:lnTo>
                    <a:lnTo>
                      <a:pt x="257" y="232"/>
                    </a:lnTo>
                    <a:lnTo>
                      <a:pt x="257" y="233"/>
                    </a:lnTo>
                    <a:lnTo>
                      <a:pt x="257" y="235"/>
                    </a:lnTo>
                    <a:lnTo>
                      <a:pt x="257" y="237"/>
                    </a:lnTo>
                    <a:lnTo>
                      <a:pt x="257" y="238"/>
                    </a:lnTo>
                    <a:lnTo>
                      <a:pt x="255" y="240"/>
                    </a:lnTo>
                    <a:lnTo>
                      <a:pt x="257" y="244"/>
                    </a:lnTo>
                    <a:lnTo>
                      <a:pt x="259" y="245"/>
                    </a:lnTo>
                    <a:lnTo>
                      <a:pt x="259" y="247"/>
                    </a:lnTo>
                    <a:lnTo>
                      <a:pt x="257" y="247"/>
                    </a:lnTo>
                    <a:lnTo>
                      <a:pt x="257" y="249"/>
                    </a:lnTo>
                    <a:lnTo>
                      <a:pt x="255" y="249"/>
                    </a:lnTo>
                    <a:lnTo>
                      <a:pt x="254" y="249"/>
                    </a:lnTo>
                    <a:lnTo>
                      <a:pt x="252" y="250"/>
                    </a:lnTo>
                    <a:lnTo>
                      <a:pt x="250" y="249"/>
                    </a:lnTo>
                    <a:lnTo>
                      <a:pt x="250" y="252"/>
                    </a:lnTo>
                    <a:lnTo>
                      <a:pt x="250" y="254"/>
                    </a:lnTo>
                    <a:lnTo>
                      <a:pt x="250" y="255"/>
                    </a:lnTo>
                    <a:lnTo>
                      <a:pt x="248" y="255"/>
                    </a:lnTo>
                    <a:lnTo>
                      <a:pt x="250" y="257"/>
                    </a:lnTo>
                    <a:lnTo>
                      <a:pt x="252" y="259"/>
                    </a:lnTo>
                    <a:lnTo>
                      <a:pt x="254" y="259"/>
                    </a:lnTo>
                    <a:lnTo>
                      <a:pt x="254" y="261"/>
                    </a:lnTo>
                    <a:lnTo>
                      <a:pt x="255" y="261"/>
                    </a:lnTo>
                    <a:lnTo>
                      <a:pt x="255" y="262"/>
                    </a:lnTo>
                    <a:lnTo>
                      <a:pt x="257" y="262"/>
                    </a:lnTo>
                    <a:lnTo>
                      <a:pt x="259" y="262"/>
                    </a:lnTo>
                    <a:lnTo>
                      <a:pt x="259" y="264"/>
                    </a:lnTo>
                    <a:lnTo>
                      <a:pt x="259" y="266"/>
                    </a:lnTo>
                    <a:lnTo>
                      <a:pt x="257" y="267"/>
                    </a:lnTo>
                    <a:lnTo>
                      <a:pt x="257" y="266"/>
                    </a:lnTo>
                    <a:lnTo>
                      <a:pt x="257" y="267"/>
                    </a:lnTo>
                    <a:lnTo>
                      <a:pt x="255" y="267"/>
                    </a:lnTo>
                    <a:lnTo>
                      <a:pt x="257" y="267"/>
                    </a:lnTo>
                    <a:lnTo>
                      <a:pt x="257" y="269"/>
                    </a:lnTo>
                    <a:lnTo>
                      <a:pt x="259" y="269"/>
                    </a:lnTo>
                    <a:lnTo>
                      <a:pt x="259" y="271"/>
                    </a:lnTo>
                    <a:lnTo>
                      <a:pt x="260" y="271"/>
                    </a:lnTo>
                    <a:lnTo>
                      <a:pt x="260" y="272"/>
                    </a:lnTo>
                    <a:lnTo>
                      <a:pt x="262" y="274"/>
                    </a:lnTo>
                    <a:lnTo>
                      <a:pt x="262" y="276"/>
                    </a:lnTo>
                    <a:lnTo>
                      <a:pt x="262" y="278"/>
                    </a:lnTo>
                    <a:lnTo>
                      <a:pt x="264" y="279"/>
                    </a:lnTo>
                    <a:lnTo>
                      <a:pt x="264" y="281"/>
                    </a:lnTo>
                    <a:lnTo>
                      <a:pt x="264" y="283"/>
                    </a:lnTo>
                    <a:lnTo>
                      <a:pt x="265" y="284"/>
                    </a:lnTo>
                    <a:lnTo>
                      <a:pt x="267" y="284"/>
                    </a:lnTo>
                    <a:lnTo>
                      <a:pt x="269" y="284"/>
                    </a:lnTo>
                    <a:lnTo>
                      <a:pt x="269" y="286"/>
                    </a:lnTo>
                    <a:lnTo>
                      <a:pt x="269" y="288"/>
                    </a:lnTo>
                    <a:lnTo>
                      <a:pt x="271" y="288"/>
                    </a:lnTo>
                    <a:lnTo>
                      <a:pt x="271" y="289"/>
                    </a:lnTo>
                    <a:lnTo>
                      <a:pt x="271" y="291"/>
                    </a:lnTo>
                    <a:lnTo>
                      <a:pt x="271" y="293"/>
                    </a:lnTo>
                    <a:lnTo>
                      <a:pt x="272" y="293"/>
                    </a:lnTo>
                    <a:lnTo>
                      <a:pt x="272" y="295"/>
                    </a:lnTo>
                    <a:lnTo>
                      <a:pt x="274" y="295"/>
                    </a:lnTo>
                    <a:lnTo>
                      <a:pt x="276" y="295"/>
                    </a:lnTo>
                    <a:lnTo>
                      <a:pt x="277" y="295"/>
                    </a:lnTo>
                    <a:lnTo>
                      <a:pt x="277" y="296"/>
                    </a:lnTo>
                    <a:lnTo>
                      <a:pt x="277" y="298"/>
                    </a:lnTo>
                    <a:lnTo>
                      <a:pt x="279" y="300"/>
                    </a:lnTo>
                    <a:lnTo>
                      <a:pt x="281" y="301"/>
                    </a:lnTo>
                    <a:lnTo>
                      <a:pt x="282" y="303"/>
                    </a:lnTo>
                    <a:lnTo>
                      <a:pt x="282" y="305"/>
                    </a:lnTo>
                    <a:lnTo>
                      <a:pt x="284" y="305"/>
                    </a:lnTo>
                    <a:lnTo>
                      <a:pt x="284" y="307"/>
                    </a:lnTo>
                    <a:lnTo>
                      <a:pt x="284" y="308"/>
                    </a:lnTo>
                    <a:lnTo>
                      <a:pt x="284" y="310"/>
                    </a:lnTo>
                    <a:lnTo>
                      <a:pt x="282" y="310"/>
                    </a:lnTo>
                    <a:lnTo>
                      <a:pt x="281" y="312"/>
                    </a:lnTo>
                    <a:lnTo>
                      <a:pt x="282" y="312"/>
                    </a:lnTo>
                    <a:lnTo>
                      <a:pt x="281" y="313"/>
                    </a:lnTo>
                    <a:lnTo>
                      <a:pt x="279" y="313"/>
                    </a:lnTo>
                    <a:lnTo>
                      <a:pt x="279" y="315"/>
                    </a:lnTo>
                    <a:lnTo>
                      <a:pt x="277" y="317"/>
                    </a:lnTo>
                    <a:lnTo>
                      <a:pt x="276" y="317"/>
                    </a:lnTo>
                    <a:lnTo>
                      <a:pt x="276" y="318"/>
                    </a:lnTo>
                    <a:lnTo>
                      <a:pt x="284" y="318"/>
                    </a:lnTo>
                    <a:lnTo>
                      <a:pt x="291" y="318"/>
                    </a:lnTo>
                    <a:lnTo>
                      <a:pt x="291" y="320"/>
                    </a:lnTo>
                    <a:lnTo>
                      <a:pt x="293" y="320"/>
                    </a:lnTo>
                    <a:lnTo>
                      <a:pt x="294" y="320"/>
                    </a:lnTo>
                    <a:lnTo>
                      <a:pt x="296" y="320"/>
                    </a:lnTo>
                    <a:lnTo>
                      <a:pt x="296" y="322"/>
                    </a:lnTo>
                    <a:lnTo>
                      <a:pt x="298" y="322"/>
                    </a:lnTo>
                    <a:lnTo>
                      <a:pt x="299" y="322"/>
                    </a:lnTo>
                    <a:lnTo>
                      <a:pt x="301" y="322"/>
                    </a:lnTo>
                    <a:lnTo>
                      <a:pt x="303" y="322"/>
                    </a:lnTo>
                    <a:lnTo>
                      <a:pt x="305" y="322"/>
                    </a:lnTo>
                    <a:lnTo>
                      <a:pt x="305" y="324"/>
                    </a:lnTo>
                    <a:lnTo>
                      <a:pt x="306" y="324"/>
                    </a:lnTo>
                    <a:lnTo>
                      <a:pt x="306" y="325"/>
                    </a:lnTo>
                    <a:lnTo>
                      <a:pt x="306" y="327"/>
                    </a:lnTo>
                    <a:lnTo>
                      <a:pt x="308" y="327"/>
                    </a:lnTo>
                    <a:lnTo>
                      <a:pt x="306" y="327"/>
                    </a:lnTo>
                    <a:lnTo>
                      <a:pt x="308" y="327"/>
                    </a:lnTo>
                    <a:lnTo>
                      <a:pt x="308" y="329"/>
                    </a:lnTo>
                    <a:lnTo>
                      <a:pt x="306" y="329"/>
                    </a:lnTo>
                    <a:lnTo>
                      <a:pt x="308" y="330"/>
                    </a:lnTo>
                    <a:lnTo>
                      <a:pt x="306" y="330"/>
                    </a:lnTo>
                    <a:lnTo>
                      <a:pt x="308" y="330"/>
                    </a:lnTo>
                    <a:lnTo>
                      <a:pt x="308" y="332"/>
                    </a:lnTo>
                    <a:lnTo>
                      <a:pt x="310" y="332"/>
                    </a:lnTo>
                    <a:lnTo>
                      <a:pt x="311" y="332"/>
                    </a:lnTo>
                    <a:lnTo>
                      <a:pt x="310" y="334"/>
                    </a:lnTo>
                    <a:lnTo>
                      <a:pt x="311" y="334"/>
                    </a:lnTo>
                    <a:lnTo>
                      <a:pt x="310" y="334"/>
                    </a:lnTo>
                    <a:lnTo>
                      <a:pt x="311" y="335"/>
                    </a:lnTo>
                    <a:lnTo>
                      <a:pt x="310" y="335"/>
                    </a:lnTo>
                    <a:lnTo>
                      <a:pt x="310" y="337"/>
                    </a:lnTo>
                    <a:lnTo>
                      <a:pt x="311" y="339"/>
                    </a:lnTo>
                    <a:lnTo>
                      <a:pt x="310" y="339"/>
                    </a:lnTo>
                    <a:lnTo>
                      <a:pt x="315" y="339"/>
                    </a:lnTo>
                    <a:lnTo>
                      <a:pt x="318" y="339"/>
                    </a:lnTo>
                    <a:lnTo>
                      <a:pt x="322" y="339"/>
                    </a:lnTo>
                    <a:lnTo>
                      <a:pt x="325" y="339"/>
                    </a:lnTo>
                    <a:lnTo>
                      <a:pt x="328" y="339"/>
                    </a:lnTo>
                    <a:lnTo>
                      <a:pt x="332" y="339"/>
                    </a:lnTo>
                    <a:lnTo>
                      <a:pt x="333" y="339"/>
                    </a:lnTo>
                    <a:lnTo>
                      <a:pt x="337" y="339"/>
                    </a:lnTo>
                    <a:lnTo>
                      <a:pt x="339" y="339"/>
                    </a:lnTo>
                    <a:lnTo>
                      <a:pt x="340" y="339"/>
                    </a:lnTo>
                    <a:lnTo>
                      <a:pt x="342" y="339"/>
                    </a:lnTo>
                    <a:lnTo>
                      <a:pt x="342" y="337"/>
                    </a:lnTo>
                    <a:lnTo>
                      <a:pt x="344" y="337"/>
                    </a:lnTo>
                    <a:lnTo>
                      <a:pt x="344" y="335"/>
                    </a:lnTo>
                    <a:lnTo>
                      <a:pt x="345" y="335"/>
                    </a:lnTo>
                    <a:lnTo>
                      <a:pt x="345" y="334"/>
                    </a:lnTo>
                    <a:lnTo>
                      <a:pt x="347" y="334"/>
                    </a:lnTo>
                    <a:lnTo>
                      <a:pt x="349" y="334"/>
                    </a:lnTo>
                    <a:lnTo>
                      <a:pt x="350" y="334"/>
                    </a:lnTo>
                    <a:lnTo>
                      <a:pt x="350" y="332"/>
                    </a:lnTo>
                    <a:lnTo>
                      <a:pt x="350" y="330"/>
                    </a:lnTo>
                    <a:lnTo>
                      <a:pt x="352" y="330"/>
                    </a:lnTo>
                    <a:lnTo>
                      <a:pt x="354" y="329"/>
                    </a:lnTo>
                    <a:lnTo>
                      <a:pt x="354" y="327"/>
                    </a:lnTo>
                    <a:lnTo>
                      <a:pt x="356" y="327"/>
                    </a:lnTo>
                    <a:lnTo>
                      <a:pt x="357" y="327"/>
                    </a:lnTo>
                    <a:lnTo>
                      <a:pt x="357" y="325"/>
                    </a:lnTo>
                    <a:lnTo>
                      <a:pt x="357" y="324"/>
                    </a:lnTo>
                    <a:lnTo>
                      <a:pt x="359" y="325"/>
                    </a:lnTo>
                    <a:lnTo>
                      <a:pt x="359" y="324"/>
                    </a:lnTo>
                    <a:lnTo>
                      <a:pt x="361" y="324"/>
                    </a:lnTo>
                    <a:lnTo>
                      <a:pt x="361" y="322"/>
                    </a:lnTo>
                    <a:lnTo>
                      <a:pt x="362" y="322"/>
                    </a:lnTo>
                    <a:lnTo>
                      <a:pt x="362" y="320"/>
                    </a:lnTo>
                    <a:lnTo>
                      <a:pt x="364" y="320"/>
                    </a:lnTo>
                    <a:lnTo>
                      <a:pt x="366" y="320"/>
                    </a:lnTo>
                    <a:lnTo>
                      <a:pt x="366" y="322"/>
                    </a:lnTo>
                    <a:lnTo>
                      <a:pt x="366" y="324"/>
                    </a:lnTo>
                    <a:lnTo>
                      <a:pt x="364" y="324"/>
                    </a:lnTo>
                    <a:lnTo>
                      <a:pt x="366" y="324"/>
                    </a:lnTo>
                    <a:lnTo>
                      <a:pt x="364" y="324"/>
                    </a:lnTo>
                    <a:lnTo>
                      <a:pt x="364" y="325"/>
                    </a:lnTo>
                    <a:lnTo>
                      <a:pt x="364" y="324"/>
                    </a:lnTo>
                    <a:lnTo>
                      <a:pt x="364" y="325"/>
                    </a:lnTo>
                    <a:lnTo>
                      <a:pt x="364" y="324"/>
                    </a:lnTo>
                    <a:lnTo>
                      <a:pt x="362" y="324"/>
                    </a:lnTo>
                    <a:lnTo>
                      <a:pt x="364" y="325"/>
                    </a:lnTo>
                    <a:lnTo>
                      <a:pt x="362" y="325"/>
                    </a:lnTo>
                    <a:lnTo>
                      <a:pt x="364" y="327"/>
                    </a:lnTo>
                    <a:lnTo>
                      <a:pt x="364" y="329"/>
                    </a:lnTo>
                    <a:lnTo>
                      <a:pt x="366" y="329"/>
                    </a:lnTo>
                    <a:lnTo>
                      <a:pt x="366" y="330"/>
                    </a:lnTo>
                    <a:lnTo>
                      <a:pt x="366" y="332"/>
                    </a:lnTo>
                    <a:lnTo>
                      <a:pt x="364" y="332"/>
                    </a:lnTo>
                    <a:lnTo>
                      <a:pt x="362" y="332"/>
                    </a:lnTo>
                    <a:lnTo>
                      <a:pt x="362" y="334"/>
                    </a:lnTo>
                    <a:lnTo>
                      <a:pt x="362" y="335"/>
                    </a:lnTo>
                    <a:lnTo>
                      <a:pt x="362" y="339"/>
                    </a:lnTo>
                    <a:lnTo>
                      <a:pt x="362" y="341"/>
                    </a:lnTo>
                    <a:lnTo>
                      <a:pt x="362" y="342"/>
                    </a:lnTo>
                    <a:lnTo>
                      <a:pt x="362" y="344"/>
                    </a:lnTo>
                    <a:lnTo>
                      <a:pt x="362" y="346"/>
                    </a:lnTo>
                    <a:lnTo>
                      <a:pt x="362" y="347"/>
                    </a:lnTo>
                    <a:lnTo>
                      <a:pt x="362" y="351"/>
                    </a:lnTo>
                    <a:lnTo>
                      <a:pt x="362" y="352"/>
                    </a:lnTo>
                    <a:lnTo>
                      <a:pt x="362" y="354"/>
                    </a:lnTo>
                    <a:lnTo>
                      <a:pt x="362" y="356"/>
                    </a:lnTo>
                    <a:lnTo>
                      <a:pt x="362" y="359"/>
                    </a:lnTo>
                    <a:lnTo>
                      <a:pt x="362" y="361"/>
                    </a:lnTo>
                    <a:lnTo>
                      <a:pt x="362" y="364"/>
                    </a:lnTo>
                    <a:lnTo>
                      <a:pt x="362" y="373"/>
                    </a:lnTo>
                    <a:lnTo>
                      <a:pt x="366" y="371"/>
                    </a:lnTo>
                    <a:lnTo>
                      <a:pt x="367" y="373"/>
                    </a:lnTo>
                    <a:lnTo>
                      <a:pt x="369" y="375"/>
                    </a:lnTo>
                    <a:lnTo>
                      <a:pt x="371" y="375"/>
                    </a:lnTo>
                    <a:lnTo>
                      <a:pt x="371" y="376"/>
                    </a:lnTo>
                    <a:lnTo>
                      <a:pt x="373" y="376"/>
                    </a:lnTo>
                    <a:lnTo>
                      <a:pt x="374" y="376"/>
                    </a:lnTo>
                    <a:lnTo>
                      <a:pt x="374" y="375"/>
                    </a:lnTo>
                    <a:lnTo>
                      <a:pt x="376" y="376"/>
                    </a:lnTo>
                    <a:lnTo>
                      <a:pt x="376" y="375"/>
                    </a:lnTo>
                    <a:lnTo>
                      <a:pt x="376" y="376"/>
                    </a:lnTo>
                    <a:lnTo>
                      <a:pt x="378" y="375"/>
                    </a:lnTo>
                    <a:lnTo>
                      <a:pt x="379" y="375"/>
                    </a:lnTo>
                    <a:lnTo>
                      <a:pt x="379" y="373"/>
                    </a:lnTo>
                    <a:lnTo>
                      <a:pt x="381" y="373"/>
                    </a:lnTo>
                    <a:lnTo>
                      <a:pt x="383" y="373"/>
                    </a:lnTo>
                    <a:lnTo>
                      <a:pt x="383" y="371"/>
                    </a:lnTo>
                    <a:lnTo>
                      <a:pt x="384" y="373"/>
                    </a:lnTo>
                    <a:lnTo>
                      <a:pt x="384" y="371"/>
                    </a:lnTo>
                    <a:lnTo>
                      <a:pt x="386" y="371"/>
                    </a:lnTo>
                    <a:lnTo>
                      <a:pt x="388" y="371"/>
                    </a:lnTo>
                    <a:lnTo>
                      <a:pt x="390" y="371"/>
                    </a:lnTo>
                    <a:lnTo>
                      <a:pt x="391" y="371"/>
                    </a:lnTo>
                    <a:lnTo>
                      <a:pt x="391" y="373"/>
                    </a:lnTo>
                    <a:lnTo>
                      <a:pt x="393" y="373"/>
                    </a:lnTo>
                    <a:lnTo>
                      <a:pt x="395" y="373"/>
                    </a:lnTo>
                    <a:lnTo>
                      <a:pt x="396" y="373"/>
                    </a:lnTo>
                    <a:lnTo>
                      <a:pt x="396" y="371"/>
                    </a:lnTo>
                    <a:lnTo>
                      <a:pt x="396" y="373"/>
                    </a:lnTo>
                    <a:lnTo>
                      <a:pt x="396" y="371"/>
                    </a:lnTo>
                    <a:lnTo>
                      <a:pt x="398" y="371"/>
                    </a:lnTo>
                    <a:lnTo>
                      <a:pt x="398" y="373"/>
                    </a:lnTo>
                    <a:lnTo>
                      <a:pt x="400" y="375"/>
                    </a:lnTo>
                    <a:lnTo>
                      <a:pt x="401" y="378"/>
                    </a:lnTo>
                    <a:lnTo>
                      <a:pt x="401" y="380"/>
                    </a:lnTo>
                    <a:lnTo>
                      <a:pt x="403" y="381"/>
                    </a:lnTo>
                    <a:lnTo>
                      <a:pt x="405" y="383"/>
                    </a:lnTo>
                    <a:lnTo>
                      <a:pt x="407" y="385"/>
                    </a:lnTo>
                    <a:lnTo>
                      <a:pt x="408" y="388"/>
                    </a:lnTo>
                    <a:lnTo>
                      <a:pt x="408" y="390"/>
                    </a:lnTo>
                    <a:lnTo>
                      <a:pt x="410" y="390"/>
                    </a:lnTo>
                    <a:lnTo>
                      <a:pt x="410" y="393"/>
                    </a:lnTo>
                    <a:lnTo>
                      <a:pt x="413" y="395"/>
                    </a:lnTo>
                    <a:lnTo>
                      <a:pt x="413" y="397"/>
                    </a:lnTo>
                    <a:lnTo>
                      <a:pt x="415" y="398"/>
                    </a:lnTo>
                    <a:lnTo>
                      <a:pt x="415" y="402"/>
                    </a:lnTo>
                    <a:lnTo>
                      <a:pt x="417" y="403"/>
                    </a:lnTo>
                    <a:lnTo>
                      <a:pt x="418" y="405"/>
                    </a:lnTo>
                    <a:lnTo>
                      <a:pt x="418" y="407"/>
                    </a:lnTo>
                    <a:lnTo>
                      <a:pt x="420" y="409"/>
                    </a:lnTo>
                    <a:lnTo>
                      <a:pt x="420" y="410"/>
                    </a:lnTo>
                    <a:lnTo>
                      <a:pt x="422" y="414"/>
                    </a:lnTo>
                    <a:lnTo>
                      <a:pt x="424" y="415"/>
                    </a:lnTo>
                    <a:lnTo>
                      <a:pt x="427" y="422"/>
                    </a:lnTo>
                    <a:lnTo>
                      <a:pt x="429" y="426"/>
                    </a:lnTo>
                    <a:lnTo>
                      <a:pt x="429" y="427"/>
                    </a:lnTo>
                    <a:lnTo>
                      <a:pt x="429" y="426"/>
                    </a:lnTo>
                    <a:lnTo>
                      <a:pt x="427" y="426"/>
                    </a:lnTo>
                    <a:lnTo>
                      <a:pt x="429" y="426"/>
                    </a:lnTo>
                    <a:lnTo>
                      <a:pt x="429" y="427"/>
                    </a:lnTo>
                    <a:lnTo>
                      <a:pt x="427" y="427"/>
                    </a:lnTo>
                    <a:lnTo>
                      <a:pt x="427" y="429"/>
                    </a:lnTo>
                    <a:lnTo>
                      <a:pt x="425" y="429"/>
                    </a:lnTo>
                    <a:lnTo>
                      <a:pt x="425" y="431"/>
                    </a:lnTo>
                    <a:lnTo>
                      <a:pt x="427" y="432"/>
                    </a:lnTo>
                    <a:lnTo>
                      <a:pt x="425" y="432"/>
                    </a:lnTo>
                    <a:lnTo>
                      <a:pt x="427" y="432"/>
                    </a:lnTo>
                    <a:lnTo>
                      <a:pt x="425" y="432"/>
                    </a:lnTo>
                    <a:lnTo>
                      <a:pt x="427" y="432"/>
                    </a:lnTo>
                    <a:lnTo>
                      <a:pt x="425" y="432"/>
                    </a:lnTo>
                    <a:lnTo>
                      <a:pt x="425" y="434"/>
                    </a:lnTo>
                    <a:lnTo>
                      <a:pt x="424" y="434"/>
                    </a:lnTo>
                    <a:lnTo>
                      <a:pt x="424" y="436"/>
                    </a:lnTo>
                    <a:lnTo>
                      <a:pt x="422" y="436"/>
                    </a:lnTo>
                    <a:lnTo>
                      <a:pt x="424" y="437"/>
                    </a:lnTo>
                    <a:lnTo>
                      <a:pt x="422" y="437"/>
                    </a:lnTo>
                    <a:lnTo>
                      <a:pt x="422" y="439"/>
                    </a:lnTo>
                    <a:lnTo>
                      <a:pt x="422" y="441"/>
                    </a:lnTo>
                    <a:lnTo>
                      <a:pt x="420" y="441"/>
                    </a:lnTo>
                    <a:lnTo>
                      <a:pt x="422" y="443"/>
                    </a:lnTo>
                    <a:lnTo>
                      <a:pt x="422" y="441"/>
                    </a:lnTo>
                    <a:lnTo>
                      <a:pt x="422" y="443"/>
                    </a:lnTo>
                    <a:lnTo>
                      <a:pt x="422" y="444"/>
                    </a:lnTo>
                    <a:lnTo>
                      <a:pt x="422" y="446"/>
                    </a:lnTo>
                    <a:lnTo>
                      <a:pt x="422" y="448"/>
                    </a:lnTo>
                    <a:lnTo>
                      <a:pt x="422" y="449"/>
                    </a:lnTo>
                    <a:lnTo>
                      <a:pt x="422" y="451"/>
                    </a:lnTo>
                    <a:lnTo>
                      <a:pt x="422" y="453"/>
                    </a:lnTo>
                    <a:lnTo>
                      <a:pt x="422" y="454"/>
                    </a:lnTo>
                    <a:lnTo>
                      <a:pt x="420" y="454"/>
                    </a:lnTo>
                    <a:lnTo>
                      <a:pt x="422" y="454"/>
                    </a:lnTo>
                    <a:lnTo>
                      <a:pt x="420" y="456"/>
                    </a:lnTo>
                    <a:lnTo>
                      <a:pt x="420" y="458"/>
                    </a:lnTo>
                    <a:lnTo>
                      <a:pt x="420" y="460"/>
                    </a:lnTo>
                    <a:lnTo>
                      <a:pt x="420" y="461"/>
                    </a:lnTo>
                    <a:lnTo>
                      <a:pt x="418" y="461"/>
                    </a:lnTo>
                    <a:lnTo>
                      <a:pt x="418" y="463"/>
                    </a:lnTo>
                    <a:lnTo>
                      <a:pt x="418" y="465"/>
                    </a:lnTo>
                    <a:lnTo>
                      <a:pt x="417" y="465"/>
                    </a:lnTo>
                    <a:lnTo>
                      <a:pt x="415" y="465"/>
                    </a:lnTo>
                    <a:lnTo>
                      <a:pt x="415" y="466"/>
                    </a:lnTo>
                    <a:lnTo>
                      <a:pt x="415" y="468"/>
                    </a:lnTo>
                    <a:lnTo>
                      <a:pt x="417" y="468"/>
                    </a:lnTo>
                    <a:lnTo>
                      <a:pt x="417" y="470"/>
                    </a:lnTo>
                    <a:lnTo>
                      <a:pt x="417" y="472"/>
                    </a:lnTo>
                    <a:lnTo>
                      <a:pt x="417" y="473"/>
                    </a:lnTo>
                    <a:lnTo>
                      <a:pt x="418" y="473"/>
                    </a:lnTo>
                    <a:lnTo>
                      <a:pt x="417" y="475"/>
                    </a:lnTo>
                    <a:lnTo>
                      <a:pt x="418" y="475"/>
                    </a:lnTo>
                    <a:lnTo>
                      <a:pt x="418" y="477"/>
                    </a:lnTo>
                    <a:lnTo>
                      <a:pt x="418" y="478"/>
                    </a:lnTo>
                    <a:lnTo>
                      <a:pt x="420" y="478"/>
                    </a:lnTo>
                    <a:lnTo>
                      <a:pt x="420" y="480"/>
                    </a:lnTo>
                    <a:lnTo>
                      <a:pt x="422" y="480"/>
                    </a:lnTo>
                    <a:lnTo>
                      <a:pt x="422" y="482"/>
                    </a:lnTo>
                    <a:lnTo>
                      <a:pt x="422" y="483"/>
                    </a:lnTo>
                    <a:lnTo>
                      <a:pt x="422" y="485"/>
                    </a:lnTo>
                    <a:lnTo>
                      <a:pt x="424" y="485"/>
                    </a:lnTo>
                    <a:lnTo>
                      <a:pt x="422" y="485"/>
                    </a:lnTo>
                    <a:lnTo>
                      <a:pt x="420" y="485"/>
                    </a:lnTo>
                    <a:lnTo>
                      <a:pt x="418" y="485"/>
                    </a:lnTo>
                    <a:lnTo>
                      <a:pt x="417" y="485"/>
                    </a:lnTo>
                    <a:lnTo>
                      <a:pt x="417" y="487"/>
                    </a:lnTo>
                    <a:lnTo>
                      <a:pt x="417" y="489"/>
                    </a:lnTo>
                    <a:lnTo>
                      <a:pt x="417" y="490"/>
                    </a:lnTo>
                    <a:lnTo>
                      <a:pt x="417" y="492"/>
                    </a:lnTo>
                    <a:lnTo>
                      <a:pt x="415" y="492"/>
                    </a:lnTo>
                    <a:lnTo>
                      <a:pt x="415" y="494"/>
                    </a:lnTo>
                    <a:lnTo>
                      <a:pt x="413" y="494"/>
                    </a:lnTo>
                    <a:lnTo>
                      <a:pt x="413" y="495"/>
                    </a:lnTo>
                    <a:lnTo>
                      <a:pt x="412" y="495"/>
                    </a:lnTo>
                    <a:lnTo>
                      <a:pt x="412" y="497"/>
                    </a:lnTo>
                    <a:lnTo>
                      <a:pt x="412" y="499"/>
                    </a:lnTo>
                    <a:lnTo>
                      <a:pt x="410" y="497"/>
                    </a:lnTo>
                    <a:lnTo>
                      <a:pt x="410" y="499"/>
                    </a:lnTo>
                    <a:lnTo>
                      <a:pt x="410" y="500"/>
                    </a:lnTo>
                    <a:lnTo>
                      <a:pt x="408" y="500"/>
                    </a:lnTo>
                    <a:lnTo>
                      <a:pt x="408" y="502"/>
                    </a:lnTo>
                    <a:lnTo>
                      <a:pt x="410" y="504"/>
                    </a:lnTo>
                    <a:lnTo>
                      <a:pt x="408" y="504"/>
                    </a:lnTo>
                    <a:lnTo>
                      <a:pt x="407" y="504"/>
                    </a:lnTo>
                    <a:lnTo>
                      <a:pt x="407" y="506"/>
                    </a:lnTo>
                    <a:lnTo>
                      <a:pt x="405" y="506"/>
                    </a:lnTo>
                    <a:lnTo>
                      <a:pt x="405" y="507"/>
                    </a:lnTo>
                    <a:lnTo>
                      <a:pt x="405" y="509"/>
                    </a:lnTo>
                    <a:lnTo>
                      <a:pt x="405" y="511"/>
                    </a:lnTo>
                    <a:lnTo>
                      <a:pt x="405" y="512"/>
                    </a:lnTo>
                    <a:lnTo>
                      <a:pt x="407" y="512"/>
                    </a:lnTo>
                    <a:lnTo>
                      <a:pt x="407" y="514"/>
                    </a:lnTo>
                    <a:lnTo>
                      <a:pt x="407" y="516"/>
                    </a:lnTo>
                    <a:lnTo>
                      <a:pt x="408" y="516"/>
                    </a:lnTo>
                    <a:lnTo>
                      <a:pt x="408" y="517"/>
                    </a:lnTo>
                    <a:lnTo>
                      <a:pt x="408" y="516"/>
                    </a:lnTo>
                    <a:lnTo>
                      <a:pt x="410" y="517"/>
                    </a:lnTo>
                    <a:lnTo>
                      <a:pt x="412" y="519"/>
                    </a:lnTo>
                    <a:lnTo>
                      <a:pt x="412" y="521"/>
                    </a:lnTo>
                    <a:lnTo>
                      <a:pt x="413" y="521"/>
                    </a:lnTo>
                    <a:lnTo>
                      <a:pt x="412" y="521"/>
                    </a:lnTo>
                    <a:lnTo>
                      <a:pt x="412" y="523"/>
                    </a:lnTo>
                    <a:lnTo>
                      <a:pt x="412" y="521"/>
                    </a:lnTo>
                    <a:lnTo>
                      <a:pt x="412" y="523"/>
                    </a:lnTo>
                    <a:lnTo>
                      <a:pt x="410" y="523"/>
                    </a:lnTo>
                    <a:lnTo>
                      <a:pt x="410" y="524"/>
                    </a:lnTo>
                    <a:lnTo>
                      <a:pt x="408" y="526"/>
                    </a:lnTo>
                    <a:lnTo>
                      <a:pt x="408" y="528"/>
                    </a:lnTo>
                    <a:lnTo>
                      <a:pt x="410" y="528"/>
                    </a:lnTo>
                    <a:lnTo>
                      <a:pt x="408" y="528"/>
                    </a:lnTo>
                    <a:lnTo>
                      <a:pt x="408" y="529"/>
                    </a:lnTo>
                    <a:lnTo>
                      <a:pt x="407" y="528"/>
                    </a:lnTo>
                    <a:lnTo>
                      <a:pt x="407" y="529"/>
                    </a:lnTo>
                    <a:lnTo>
                      <a:pt x="407" y="531"/>
                    </a:lnTo>
                    <a:lnTo>
                      <a:pt x="403" y="534"/>
                    </a:lnTo>
                    <a:lnTo>
                      <a:pt x="405" y="538"/>
                    </a:lnTo>
                    <a:lnTo>
                      <a:pt x="405" y="540"/>
                    </a:lnTo>
                    <a:lnTo>
                      <a:pt x="407" y="543"/>
                    </a:lnTo>
                    <a:lnTo>
                      <a:pt x="407" y="548"/>
                    </a:lnTo>
                    <a:lnTo>
                      <a:pt x="408" y="553"/>
                    </a:lnTo>
                    <a:lnTo>
                      <a:pt x="410" y="553"/>
                    </a:lnTo>
                    <a:lnTo>
                      <a:pt x="413" y="555"/>
                    </a:lnTo>
                    <a:lnTo>
                      <a:pt x="415" y="555"/>
                    </a:lnTo>
                    <a:lnTo>
                      <a:pt x="417" y="555"/>
                    </a:lnTo>
                    <a:lnTo>
                      <a:pt x="418" y="555"/>
                    </a:lnTo>
                    <a:lnTo>
                      <a:pt x="420" y="557"/>
                    </a:lnTo>
                    <a:lnTo>
                      <a:pt x="422" y="557"/>
                    </a:lnTo>
                    <a:lnTo>
                      <a:pt x="424" y="558"/>
                    </a:lnTo>
                    <a:lnTo>
                      <a:pt x="424" y="560"/>
                    </a:lnTo>
                    <a:lnTo>
                      <a:pt x="418" y="563"/>
                    </a:lnTo>
                    <a:lnTo>
                      <a:pt x="417" y="563"/>
                    </a:lnTo>
                    <a:lnTo>
                      <a:pt x="417" y="565"/>
                    </a:lnTo>
                    <a:lnTo>
                      <a:pt x="415" y="567"/>
                    </a:lnTo>
                    <a:lnTo>
                      <a:pt x="415" y="568"/>
                    </a:lnTo>
                    <a:lnTo>
                      <a:pt x="417" y="568"/>
                    </a:lnTo>
                    <a:lnTo>
                      <a:pt x="417" y="570"/>
                    </a:lnTo>
                    <a:lnTo>
                      <a:pt x="417" y="572"/>
                    </a:lnTo>
                    <a:lnTo>
                      <a:pt x="415" y="572"/>
                    </a:lnTo>
                    <a:lnTo>
                      <a:pt x="413" y="572"/>
                    </a:lnTo>
                    <a:lnTo>
                      <a:pt x="412" y="574"/>
                    </a:lnTo>
                    <a:lnTo>
                      <a:pt x="412" y="575"/>
                    </a:lnTo>
                    <a:lnTo>
                      <a:pt x="410" y="575"/>
                    </a:lnTo>
                    <a:lnTo>
                      <a:pt x="410" y="577"/>
                    </a:lnTo>
                    <a:lnTo>
                      <a:pt x="408" y="577"/>
                    </a:lnTo>
                    <a:lnTo>
                      <a:pt x="408" y="579"/>
                    </a:lnTo>
                    <a:lnTo>
                      <a:pt x="407" y="579"/>
                    </a:lnTo>
                    <a:lnTo>
                      <a:pt x="407" y="580"/>
                    </a:lnTo>
                    <a:lnTo>
                      <a:pt x="407" y="582"/>
                    </a:lnTo>
                    <a:lnTo>
                      <a:pt x="405" y="582"/>
                    </a:lnTo>
                    <a:lnTo>
                      <a:pt x="403" y="584"/>
                    </a:lnTo>
                    <a:lnTo>
                      <a:pt x="405" y="584"/>
                    </a:lnTo>
                    <a:lnTo>
                      <a:pt x="405" y="585"/>
                    </a:lnTo>
                    <a:lnTo>
                      <a:pt x="403" y="585"/>
                    </a:lnTo>
                    <a:lnTo>
                      <a:pt x="403" y="587"/>
                    </a:lnTo>
                    <a:lnTo>
                      <a:pt x="401" y="587"/>
                    </a:lnTo>
                    <a:lnTo>
                      <a:pt x="401" y="585"/>
                    </a:lnTo>
                    <a:lnTo>
                      <a:pt x="400" y="587"/>
                    </a:lnTo>
                    <a:lnTo>
                      <a:pt x="400" y="589"/>
                    </a:lnTo>
                    <a:lnTo>
                      <a:pt x="398" y="589"/>
                    </a:lnTo>
                    <a:lnTo>
                      <a:pt x="398" y="591"/>
                    </a:lnTo>
                    <a:lnTo>
                      <a:pt x="396" y="591"/>
                    </a:lnTo>
                    <a:lnTo>
                      <a:pt x="396" y="592"/>
                    </a:lnTo>
                    <a:lnTo>
                      <a:pt x="395" y="592"/>
                    </a:lnTo>
                    <a:lnTo>
                      <a:pt x="396" y="592"/>
                    </a:lnTo>
                    <a:lnTo>
                      <a:pt x="398" y="592"/>
                    </a:lnTo>
                    <a:lnTo>
                      <a:pt x="400" y="596"/>
                    </a:lnTo>
                    <a:lnTo>
                      <a:pt x="401" y="596"/>
                    </a:lnTo>
                    <a:lnTo>
                      <a:pt x="401" y="597"/>
                    </a:lnTo>
                    <a:lnTo>
                      <a:pt x="401" y="599"/>
                    </a:lnTo>
                    <a:lnTo>
                      <a:pt x="401" y="601"/>
                    </a:lnTo>
                    <a:lnTo>
                      <a:pt x="398" y="602"/>
                    </a:lnTo>
                    <a:lnTo>
                      <a:pt x="396" y="604"/>
                    </a:lnTo>
                    <a:lnTo>
                      <a:pt x="395" y="606"/>
                    </a:lnTo>
                    <a:lnTo>
                      <a:pt x="393" y="606"/>
                    </a:lnTo>
                    <a:lnTo>
                      <a:pt x="391" y="606"/>
                    </a:lnTo>
                    <a:lnTo>
                      <a:pt x="390" y="606"/>
                    </a:lnTo>
                    <a:lnTo>
                      <a:pt x="390" y="608"/>
                    </a:lnTo>
                    <a:lnTo>
                      <a:pt x="388" y="609"/>
                    </a:lnTo>
                    <a:lnTo>
                      <a:pt x="390" y="609"/>
                    </a:lnTo>
                    <a:lnTo>
                      <a:pt x="390" y="611"/>
                    </a:lnTo>
                    <a:lnTo>
                      <a:pt x="390" y="613"/>
                    </a:lnTo>
                    <a:lnTo>
                      <a:pt x="391" y="613"/>
                    </a:lnTo>
                    <a:lnTo>
                      <a:pt x="390" y="614"/>
                    </a:lnTo>
                    <a:lnTo>
                      <a:pt x="391" y="614"/>
                    </a:lnTo>
                    <a:lnTo>
                      <a:pt x="391" y="616"/>
                    </a:lnTo>
                    <a:lnTo>
                      <a:pt x="391" y="618"/>
                    </a:lnTo>
                    <a:lnTo>
                      <a:pt x="391" y="619"/>
                    </a:lnTo>
                    <a:lnTo>
                      <a:pt x="391" y="621"/>
                    </a:lnTo>
                    <a:lnTo>
                      <a:pt x="391" y="623"/>
                    </a:lnTo>
                    <a:lnTo>
                      <a:pt x="390" y="623"/>
                    </a:lnTo>
                    <a:lnTo>
                      <a:pt x="388" y="625"/>
                    </a:lnTo>
                    <a:lnTo>
                      <a:pt x="386" y="625"/>
                    </a:lnTo>
                    <a:lnTo>
                      <a:pt x="386" y="626"/>
                    </a:lnTo>
                    <a:lnTo>
                      <a:pt x="384" y="626"/>
                    </a:lnTo>
                    <a:lnTo>
                      <a:pt x="383" y="626"/>
                    </a:lnTo>
                    <a:lnTo>
                      <a:pt x="383" y="628"/>
                    </a:lnTo>
                    <a:lnTo>
                      <a:pt x="381" y="628"/>
                    </a:lnTo>
                    <a:lnTo>
                      <a:pt x="379" y="630"/>
                    </a:lnTo>
                    <a:lnTo>
                      <a:pt x="378" y="630"/>
                    </a:lnTo>
                    <a:lnTo>
                      <a:pt x="376" y="630"/>
                    </a:lnTo>
                    <a:lnTo>
                      <a:pt x="374" y="630"/>
                    </a:lnTo>
                    <a:lnTo>
                      <a:pt x="373" y="630"/>
                    </a:lnTo>
                    <a:lnTo>
                      <a:pt x="371" y="630"/>
                    </a:lnTo>
                    <a:lnTo>
                      <a:pt x="369" y="630"/>
                    </a:lnTo>
                    <a:lnTo>
                      <a:pt x="367" y="628"/>
                    </a:lnTo>
                    <a:lnTo>
                      <a:pt x="366" y="628"/>
                    </a:lnTo>
                    <a:lnTo>
                      <a:pt x="366" y="626"/>
                    </a:lnTo>
                    <a:lnTo>
                      <a:pt x="364" y="626"/>
                    </a:lnTo>
                    <a:lnTo>
                      <a:pt x="362" y="625"/>
                    </a:lnTo>
                    <a:lnTo>
                      <a:pt x="361" y="625"/>
                    </a:lnTo>
                    <a:lnTo>
                      <a:pt x="361" y="623"/>
                    </a:lnTo>
                    <a:lnTo>
                      <a:pt x="359" y="623"/>
                    </a:lnTo>
                    <a:lnTo>
                      <a:pt x="359" y="621"/>
                    </a:lnTo>
                    <a:lnTo>
                      <a:pt x="357" y="621"/>
                    </a:lnTo>
                    <a:lnTo>
                      <a:pt x="357" y="619"/>
                    </a:lnTo>
                    <a:lnTo>
                      <a:pt x="356" y="619"/>
                    </a:lnTo>
                    <a:lnTo>
                      <a:pt x="354" y="619"/>
                    </a:lnTo>
                    <a:lnTo>
                      <a:pt x="354" y="618"/>
                    </a:lnTo>
                    <a:lnTo>
                      <a:pt x="354" y="616"/>
                    </a:lnTo>
                    <a:lnTo>
                      <a:pt x="352" y="616"/>
                    </a:lnTo>
                    <a:lnTo>
                      <a:pt x="350" y="614"/>
                    </a:lnTo>
                    <a:lnTo>
                      <a:pt x="349" y="614"/>
                    </a:lnTo>
                    <a:lnTo>
                      <a:pt x="347" y="614"/>
                    </a:lnTo>
                    <a:lnTo>
                      <a:pt x="347" y="613"/>
                    </a:lnTo>
                    <a:lnTo>
                      <a:pt x="347" y="614"/>
                    </a:lnTo>
                    <a:lnTo>
                      <a:pt x="347" y="613"/>
                    </a:lnTo>
                    <a:lnTo>
                      <a:pt x="345" y="613"/>
                    </a:lnTo>
                    <a:lnTo>
                      <a:pt x="345" y="611"/>
                    </a:lnTo>
                    <a:lnTo>
                      <a:pt x="344" y="611"/>
                    </a:lnTo>
                    <a:lnTo>
                      <a:pt x="342" y="609"/>
                    </a:lnTo>
                    <a:lnTo>
                      <a:pt x="339" y="608"/>
                    </a:lnTo>
                    <a:lnTo>
                      <a:pt x="337" y="608"/>
                    </a:lnTo>
                    <a:lnTo>
                      <a:pt x="337" y="606"/>
                    </a:lnTo>
                    <a:lnTo>
                      <a:pt x="339" y="606"/>
                    </a:lnTo>
                    <a:lnTo>
                      <a:pt x="339" y="604"/>
                    </a:lnTo>
                    <a:lnTo>
                      <a:pt x="337" y="604"/>
                    </a:lnTo>
                    <a:lnTo>
                      <a:pt x="337" y="602"/>
                    </a:lnTo>
                    <a:lnTo>
                      <a:pt x="337" y="601"/>
                    </a:lnTo>
                    <a:lnTo>
                      <a:pt x="337" y="599"/>
                    </a:lnTo>
                    <a:lnTo>
                      <a:pt x="337" y="597"/>
                    </a:lnTo>
                    <a:lnTo>
                      <a:pt x="337" y="596"/>
                    </a:lnTo>
                    <a:lnTo>
                      <a:pt x="335" y="596"/>
                    </a:lnTo>
                    <a:lnTo>
                      <a:pt x="335" y="594"/>
                    </a:lnTo>
                    <a:lnTo>
                      <a:pt x="333" y="594"/>
                    </a:lnTo>
                    <a:lnTo>
                      <a:pt x="333" y="592"/>
                    </a:lnTo>
                    <a:lnTo>
                      <a:pt x="332" y="592"/>
                    </a:lnTo>
                    <a:lnTo>
                      <a:pt x="330" y="592"/>
                    </a:lnTo>
                    <a:lnTo>
                      <a:pt x="330" y="591"/>
                    </a:lnTo>
                    <a:lnTo>
                      <a:pt x="328" y="591"/>
                    </a:lnTo>
                    <a:lnTo>
                      <a:pt x="327" y="591"/>
                    </a:lnTo>
                    <a:lnTo>
                      <a:pt x="325" y="591"/>
                    </a:lnTo>
                    <a:lnTo>
                      <a:pt x="325" y="589"/>
                    </a:lnTo>
                    <a:lnTo>
                      <a:pt x="323" y="589"/>
                    </a:lnTo>
                    <a:lnTo>
                      <a:pt x="322" y="589"/>
                    </a:lnTo>
                    <a:lnTo>
                      <a:pt x="320" y="587"/>
                    </a:lnTo>
                    <a:lnTo>
                      <a:pt x="318" y="587"/>
                    </a:lnTo>
                    <a:lnTo>
                      <a:pt x="318" y="585"/>
                    </a:lnTo>
                    <a:lnTo>
                      <a:pt x="316" y="584"/>
                    </a:lnTo>
                    <a:lnTo>
                      <a:pt x="315" y="584"/>
                    </a:lnTo>
                    <a:lnTo>
                      <a:pt x="313" y="584"/>
                    </a:lnTo>
                    <a:lnTo>
                      <a:pt x="311" y="584"/>
                    </a:lnTo>
                    <a:lnTo>
                      <a:pt x="313" y="582"/>
                    </a:lnTo>
                    <a:lnTo>
                      <a:pt x="311" y="582"/>
                    </a:lnTo>
                    <a:lnTo>
                      <a:pt x="311" y="580"/>
                    </a:lnTo>
                    <a:lnTo>
                      <a:pt x="310" y="580"/>
                    </a:lnTo>
                    <a:lnTo>
                      <a:pt x="310" y="579"/>
                    </a:lnTo>
                    <a:lnTo>
                      <a:pt x="308" y="579"/>
                    </a:lnTo>
                    <a:lnTo>
                      <a:pt x="306" y="579"/>
                    </a:lnTo>
                    <a:lnTo>
                      <a:pt x="306" y="577"/>
                    </a:lnTo>
                    <a:lnTo>
                      <a:pt x="305" y="575"/>
                    </a:lnTo>
                    <a:lnTo>
                      <a:pt x="305" y="574"/>
                    </a:lnTo>
                    <a:lnTo>
                      <a:pt x="303" y="574"/>
                    </a:lnTo>
                    <a:lnTo>
                      <a:pt x="301" y="574"/>
                    </a:lnTo>
                    <a:lnTo>
                      <a:pt x="301" y="572"/>
                    </a:lnTo>
                    <a:lnTo>
                      <a:pt x="299" y="572"/>
                    </a:lnTo>
                    <a:lnTo>
                      <a:pt x="298" y="572"/>
                    </a:lnTo>
                    <a:lnTo>
                      <a:pt x="296" y="572"/>
                    </a:lnTo>
                    <a:lnTo>
                      <a:pt x="296" y="570"/>
                    </a:lnTo>
                    <a:lnTo>
                      <a:pt x="294" y="570"/>
                    </a:lnTo>
                    <a:lnTo>
                      <a:pt x="293" y="570"/>
                    </a:lnTo>
                    <a:lnTo>
                      <a:pt x="291" y="570"/>
                    </a:lnTo>
                    <a:lnTo>
                      <a:pt x="289" y="570"/>
                    </a:lnTo>
                    <a:lnTo>
                      <a:pt x="289" y="568"/>
                    </a:lnTo>
                    <a:lnTo>
                      <a:pt x="288" y="568"/>
                    </a:lnTo>
                    <a:lnTo>
                      <a:pt x="288" y="567"/>
                    </a:lnTo>
                    <a:lnTo>
                      <a:pt x="286" y="567"/>
                    </a:lnTo>
                    <a:lnTo>
                      <a:pt x="286" y="565"/>
                    </a:lnTo>
                    <a:lnTo>
                      <a:pt x="284" y="565"/>
                    </a:lnTo>
                    <a:lnTo>
                      <a:pt x="282" y="565"/>
                    </a:lnTo>
                    <a:lnTo>
                      <a:pt x="281" y="565"/>
                    </a:lnTo>
                    <a:lnTo>
                      <a:pt x="279" y="565"/>
                    </a:lnTo>
                    <a:lnTo>
                      <a:pt x="279" y="563"/>
                    </a:lnTo>
                    <a:lnTo>
                      <a:pt x="277" y="563"/>
                    </a:lnTo>
                    <a:lnTo>
                      <a:pt x="277" y="562"/>
                    </a:lnTo>
                    <a:lnTo>
                      <a:pt x="276" y="562"/>
                    </a:lnTo>
                    <a:lnTo>
                      <a:pt x="274" y="562"/>
                    </a:lnTo>
                    <a:lnTo>
                      <a:pt x="272" y="562"/>
                    </a:lnTo>
                    <a:lnTo>
                      <a:pt x="272" y="560"/>
                    </a:lnTo>
                    <a:lnTo>
                      <a:pt x="271" y="560"/>
                    </a:lnTo>
                    <a:lnTo>
                      <a:pt x="271" y="558"/>
                    </a:lnTo>
                    <a:lnTo>
                      <a:pt x="269" y="558"/>
                    </a:lnTo>
                    <a:lnTo>
                      <a:pt x="267" y="558"/>
                    </a:lnTo>
                    <a:lnTo>
                      <a:pt x="267" y="557"/>
                    </a:lnTo>
                    <a:lnTo>
                      <a:pt x="265" y="557"/>
                    </a:lnTo>
                    <a:lnTo>
                      <a:pt x="264" y="557"/>
                    </a:lnTo>
                    <a:lnTo>
                      <a:pt x="262" y="557"/>
                    </a:lnTo>
                    <a:lnTo>
                      <a:pt x="260" y="555"/>
                    </a:lnTo>
                    <a:lnTo>
                      <a:pt x="259" y="555"/>
                    </a:lnTo>
                    <a:lnTo>
                      <a:pt x="259" y="557"/>
                    </a:lnTo>
                    <a:lnTo>
                      <a:pt x="259" y="555"/>
                    </a:lnTo>
                    <a:lnTo>
                      <a:pt x="257" y="555"/>
                    </a:lnTo>
                    <a:lnTo>
                      <a:pt x="257" y="553"/>
                    </a:lnTo>
                    <a:lnTo>
                      <a:pt x="255" y="553"/>
                    </a:lnTo>
                    <a:lnTo>
                      <a:pt x="254" y="553"/>
                    </a:lnTo>
                    <a:lnTo>
                      <a:pt x="254" y="551"/>
                    </a:lnTo>
                    <a:lnTo>
                      <a:pt x="252" y="551"/>
                    </a:lnTo>
                    <a:lnTo>
                      <a:pt x="250" y="550"/>
                    </a:lnTo>
                    <a:lnTo>
                      <a:pt x="248" y="550"/>
                    </a:lnTo>
                    <a:lnTo>
                      <a:pt x="248" y="548"/>
                    </a:lnTo>
                    <a:lnTo>
                      <a:pt x="247" y="548"/>
                    </a:lnTo>
                    <a:lnTo>
                      <a:pt x="247" y="546"/>
                    </a:lnTo>
                    <a:lnTo>
                      <a:pt x="245" y="545"/>
                    </a:lnTo>
                    <a:lnTo>
                      <a:pt x="243" y="545"/>
                    </a:lnTo>
                    <a:lnTo>
                      <a:pt x="242" y="543"/>
                    </a:lnTo>
                    <a:lnTo>
                      <a:pt x="240" y="543"/>
                    </a:lnTo>
                    <a:lnTo>
                      <a:pt x="240" y="541"/>
                    </a:lnTo>
                    <a:lnTo>
                      <a:pt x="238" y="541"/>
                    </a:lnTo>
                    <a:lnTo>
                      <a:pt x="237" y="541"/>
                    </a:lnTo>
                    <a:lnTo>
                      <a:pt x="235" y="541"/>
                    </a:lnTo>
                    <a:lnTo>
                      <a:pt x="233" y="541"/>
                    </a:lnTo>
                    <a:lnTo>
                      <a:pt x="233" y="540"/>
                    </a:lnTo>
                    <a:lnTo>
                      <a:pt x="233" y="538"/>
                    </a:lnTo>
                    <a:lnTo>
                      <a:pt x="231" y="538"/>
                    </a:lnTo>
                    <a:lnTo>
                      <a:pt x="230" y="536"/>
                    </a:lnTo>
                    <a:lnTo>
                      <a:pt x="228" y="536"/>
                    </a:lnTo>
                    <a:lnTo>
                      <a:pt x="226" y="536"/>
                    </a:lnTo>
                    <a:lnTo>
                      <a:pt x="226" y="534"/>
                    </a:lnTo>
                    <a:lnTo>
                      <a:pt x="225" y="534"/>
                    </a:lnTo>
                    <a:lnTo>
                      <a:pt x="223" y="534"/>
                    </a:lnTo>
                    <a:lnTo>
                      <a:pt x="223" y="533"/>
                    </a:lnTo>
                    <a:lnTo>
                      <a:pt x="221" y="533"/>
                    </a:lnTo>
                    <a:lnTo>
                      <a:pt x="220" y="533"/>
                    </a:lnTo>
                    <a:lnTo>
                      <a:pt x="220" y="531"/>
                    </a:lnTo>
                    <a:lnTo>
                      <a:pt x="218" y="531"/>
                    </a:lnTo>
                    <a:lnTo>
                      <a:pt x="218" y="529"/>
                    </a:lnTo>
                    <a:lnTo>
                      <a:pt x="216" y="529"/>
                    </a:lnTo>
                    <a:lnTo>
                      <a:pt x="214" y="529"/>
                    </a:lnTo>
                    <a:lnTo>
                      <a:pt x="213" y="528"/>
                    </a:lnTo>
                    <a:lnTo>
                      <a:pt x="211" y="528"/>
                    </a:lnTo>
                    <a:lnTo>
                      <a:pt x="211" y="526"/>
                    </a:lnTo>
                    <a:lnTo>
                      <a:pt x="209" y="526"/>
                    </a:lnTo>
                    <a:lnTo>
                      <a:pt x="208" y="526"/>
                    </a:lnTo>
                    <a:lnTo>
                      <a:pt x="208" y="524"/>
                    </a:lnTo>
                    <a:lnTo>
                      <a:pt x="209" y="524"/>
                    </a:lnTo>
                    <a:lnTo>
                      <a:pt x="209" y="523"/>
                    </a:lnTo>
                    <a:lnTo>
                      <a:pt x="208" y="523"/>
                    </a:lnTo>
                    <a:lnTo>
                      <a:pt x="206" y="523"/>
                    </a:lnTo>
                    <a:lnTo>
                      <a:pt x="206" y="521"/>
                    </a:lnTo>
                    <a:lnTo>
                      <a:pt x="208" y="521"/>
                    </a:lnTo>
                    <a:lnTo>
                      <a:pt x="208" y="519"/>
                    </a:lnTo>
                    <a:lnTo>
                      <a:pt x="206" y="519"/>
                    </a:lnTo>
                    <a:lnTo>
                      <a:pt x="206" y="517"/>
                    </a:lnTo>
                    <a:lnTo>
                      <a:pt x="204" y="517"/>
                    </a:lnTo>
                    <a:lnTo>
                      <a:pt x="203" y="517"/>
                    </a:lnTo>
                    <a:lnTo>
                      <a:pt x="201" y="516"/>
                    </a:lnTo>
                    <a:lnTo>
                      <a:pt x="201" y="514"/>
                    </a:lnTo>
                    <a:lnTo>
                      <a:pt x="199" y="514"/>
                    </a:lnTo>
                    <a:lnTo>
                      <a:pt x="199" y="512"/>
                    </a:lnTo>
                    <a:lnTo>
                      <a:pt x="197" y="512"/>
                    </a:lnTo>
                    <a:lnTo>
                      <a:pt x="197" y="511"/>
                    </a:lnTo>
                    <a:lnTo>
                      <a:pt x="197" y="509"/>
                    </a:lnTo>
                    <a:lnTo>
                      <a:pt x="196" y="509"/>
                    </a:lnTo>
                    <a:lnTo>
                      <a:pt x="196" y="507"/>
                    </a:lnTo>
                    <a:lnTo>
                      <a:pt x="194" y="507"/>
                    </a:lnTo>
                    <a:lnTo>
                      <a:pt x="192" y="506"/>
                    </a:lnTo>
                    <a:lnTo>
                      <a:pt x="191" y="506"/>
                    </a:lnTo>
                    <a:lnTo>
                      <a:pt x="189" y="506"/>
                    </a:lnTo>
                    <a:lnTo>
                      <a:pt x="189" y="504"/>
                    </a:lnTo>
                    <a:lnTo>
                      <a:pt x="187" y="504"/>
                    </a:lnTo>
                    <a:lnTo>
                      <a:pt x="187" y="502"/>
                    </a:lnTo>
                    <a:lnTo>
                      <a:pt x="186" y="502"/>
                    </a:lnTo>
                    <a:lnTo>
                      <a:pt x="186" y="500"/>
                    </a:lnTo>
                    <a:lnTo>
                      <a:pt x="184" y="500"/>
                    </a:lnTo>
                    <a:lnTo>
                      <a:pt x="184" y="499"/>
                    </a:lnTo>
                    <a:lnTo>
                      <a:pt x="184" y="497"/>
                    </a:lnTo>
                    <a:lnTo>
                      <a:pt x="182" y="497"/>
                    </a:lnTo>
                    <a:lnTo>
                      <a:pt x="182" y="495"/>
                    </a:lnTo>
                    <a:lnTo>
                      <a:pt x="182" y="494"/>
                    </a:lnTo>
                    <a:lnTo>
                      <a:pt x="180" y="494"/>
                    </a:lnTo>
                    <a:lnTo>
                      <a:pt x="180" y="492"/>
                    </a:lnTo>
                    <a:lnTo>
                      <a:pt x="179" y="492"/>
                    </a:lnTo>
                    <a:lnTo>
                      <a:pt x="179" y="490"/>
                    </a:lnTo>
                    <a:lnTo>
                      <a:pt x="177" y="490"/>
                    </a:lnTo>
                    <a:lnTo>
                      <a:pt x="175" y="490"/>
                    </a:lnTo>
                    <a:lnTo>
                      <a:pt x="175" y="489"/>
                    </a:lnTo>
                    <a:lnTo>
                      <a:pt x="177" y="489"/>
                    </a:lnTo>
                    <a:lnTo>
                      <a:pt x="177" y="487"/>
                    </a:lnTo>
                    <a:lnTo>
                      <a:pt x="175" y="485"/>
                    </a:lnTo>
                    <a:lnTo>
                      <a:pt x="174" y="485"/>
                    </a:lnTo>
                    <a:lnTo>
                      <a:pt x="174" y="483"/>
                    </a:lnTo>
                    <a:lnTo>
                      <a:pt x="172" y="483"/>
                    </a:lnTo>
                    <a:lnTo>
                      <a:pt x="172" y="482"/>
                    </a:lnTo>
                    <a:lnTo>
                      <a:pt x="172" y="483"/>
                    </a:lnTo>
                    <a:lnTo>
                      <a:pt x="172" y="485"/>
                    </a:lnTo>
                    <a:lnTo>
                      <a:pt x="172" y="483"/>
                    </a:lnTo>
                    <a:lnTo>
                      <a:pt x="170" y="483"/>
                    </a:lnTo>
                    <a:lnTo>
                      <a:pt x="172" y="483"/>
                    </a:lnTo>
                    <a:lnTo>
                      <a:pt x="170" y="482"/>
                    </a:lnTo>
                    <a:lnTo>
                      <a:pt x="172" y="482"/>
                    </a:lnTo>
                    <a:lnTo>
                      <a:pt x="170" y="480"/>
                    </a:lnTo>
                    <a:lnTo>
                      <a:pt x="172" y="480"/>
                    </a:lnTo>
                    <a:lnTo>
                      <a:pt x="172" y="478"/>
                    </a:lnTo>
                    <a:lnTo>
                      <a:pt x="170" y="477"/>
                    </a:lnTo>
                    <a:lnTo>
                      <a:pt x="172" y="477"/>
                    </a:lnTo>
                    <a:lnTo>
                      <a:pt x="172" y="475"/>
                    </a:lnTo>
                    <a:lnTo>
                      <a:pt x="170" y="475"/>
                    </a:lnTo>
                    <a:lnTo>
                      <a:pt x="172" y="475"/>
                    </a:lnTo>
                    <a:lnTo>
                      <a:pt x="170" y="473"/>
                    </a:lnTo>
                    <a:lnTo>
                      <a:pt x="170" y="475"/>
                    </a:lnTo>
                    <a:lnTo>
                      <a:pt x="169" y="475"/>
                    </a:lnTo>
                    <a:lnTo>
                      <a:pt x="167" y="475"/>
                    </a:lnTo>
                    <a:lnTo>
                      <a:pt x="167" y="473"/>
                    </a:lnTo>
                    <a:lnTo>
                      <a:pt x="169" y="472"/>
                    </a:lnTo>
                    <a:lnTo>
                      <a:pt x="169" y="470"/>
                    </a:lnTo>
                    <a:lnTo>
                      <a:pt x="170" y="470"/>
                    </a:lnTo>
                    <a:lnTo>
                      <a:pt x="170" y="472"/>
                    </a:lnTo>
                    <a:lnTo>
                      <a:pt x="172" y="472"/>
                    </a:lnTo>
                    <a:lnTo>
                      <a:pt x="172" y="473"/>
                    </a:lnTo>
                    <a:lnTo>
                      <a:pt x="172" y="472"/>
                    </a:lnTo>
                    <a:lnTo>
                      <a:pt x="172" y="470"/>
                    </a:lnTo>
                    <a:lnTo>
                      <a:pt x="174" y="468"/>
                    </a:lnTo>
                    <a:lnTo>
                      <a:pt x="174" y="466"/>
                    </a:lnTo>
                    <a:lnTo>
                      <a:pt x="174" y="465"/>
                    </a:lnTo>
                    <a:lnTo>
                      <a:pt x="174" y="463"/>
                    </a:lnTo>
                    <a:lnTo>
                      <a:pt x="174" y="461"/>
                    </a:lnTo>
                    <a:lnTo>
                      <a:pt x="174" y="460"/>
                    </a:lnTo>
                    <a:lnTo>
                      <a:pt x="174" y="458"/>
                    </a:lnTo>
                    <a:lnTo>
                      <a:pt x="174" y="456"/>
                    </a:lnTo>
                    <a:lnTo>
                      <a:pt x="174" y="454"/>
                    </a:lnTo>
                    <a:lnTo>
                      <a:pt x="172" y="454"/>
                    </a:lnTo>
                    <a:lnTo>
                      <a:pt x="172" y="453"/>
                    </a:lnTo>
                    <a:lnTo>
                      <a:pt x="170" y="453"/>
                    </a:lnTo>
                    <a:lnTo>
                      <a:pt x="170" y="451"/>
                    </a:lnTo>
                    <a:lnTo>
                      <a:pt x="169" y="449"/>
                    </a:lnTo>
                    <a:lnTo>
                      <a:pt x="169" y="448"/>
                    </a:lnTo>
                    <a:lnTo>
                      <a:pt x="167" y="448"/>
                    </a:lnTo>
                    <a:lnTo>
                      <a:pt x="167" y="446"/>
                    </a:lnTo>
                    <a:lnTo>
                      <a:pt x="165" y="446"/>
                    </a:lnTo>
                    <a:lnTo>
                      <a:pt x="165" y="444"/>
                    </a:lnTo>
                    <a:lnTo>
                      <a:pt x="163" y="444"/>
                    </a:lnTo>
                    <a:lnTo>
                      <a:pt x="165" y="443"/>
                    </a:lnTo>
                    <a:lnTo>
                      <a:pt x="163" y="443"/>
                    </a:lnTo>
                    <a:lnTo>
                      <a:pt x="163" y="441"/>
                    </a:lnTo>
                    <a:lnTo>
                      <a:pt x="163" y="439"/>
                    </a:lnTo>
                    <a:lnTo>
                      <a:pt x="163" y="437"/>
                    </a:lnTo>
                    <a:lnTo>
                      <a:pt x="162" y="437"/>
                    </a:lnTo>
                    <a:lnTo>
                      <a:pt x="162" y="436"/>
                    </a:lnTo>
                    <a:lnTo>
                      <a:pt x="160" y="436"/>
                    </a:lnTo>
                    <a:lnTo>
                      <a:pt x="160" y="434"/>
                    </a:lnTo>
                    <a:lnTo>
                      <a:pt x="160" y="432"/>
                    </a:lnTo>
                    <a:lnTo>
                      <a:pt x="158" y="432"/>
                    </a:lnTo>
                    <a:lnTo>
                      <a:pt x="158" y="431"/>
                    </a:lnTo>
                    <a:lnTo>
                      <a:pt x="158" y="429"/>
                    </a:lnTo>
                    <a:lnTo>
                      <a:pt x="157" y="429"/>
                    </a:lnTo>
                    <a:lnTo>
                      <a:pt x="157" y="427"/>
                    </a:lnTo>
                    <a:lnTo>
                      <a:pt x="155" y="427"/>
                    </a:lnTo>
                    <a:lnTo>
                      <a:pt x="155" y="426"/>
                    </a:lnTo>
                    <a:lnTo>
                      <a:pt x="153" y="426"/>
                    </a:lnTo>
                    <a:lnTo>
                      <a:pt x="153" y="424"/>
                    </a:lnTo>
                    <a:lnTo>
                      <a:pt x="155" y="424"/>
                    </a:lnTo>
                    <a:lnTo>
                      <a:pt x="155" y="422"/>
                    </a:lnTo>
                    <a:lnTo>
                      <a:pt x="153" y="422"/>
                    </a:lnTo>
                    <a:lnTo>
                      <a:pt x="153" y="420"/>
                    </a:lnTo>
                    <a:lnTo>
                      <a:pt x="153" y="419"/>
                    </a:lnTo>
                    <a:lnTo>
                      <a:pt x="152" y="419"/>
                    </a:lnTo>
                    <a:lnTo>
                      <a:pt x="150" y="417"/>
                    </a:lnTo>
                    <a:lnTo>
                      <a:pt x="148" y="417"/>
                    </a:lnTo>
                    <a:lnTo>
                      <a:pt x="148" y="415"/>
                    </a:lnTo>
                    <a:lnTo>
                      <a:pt x="146" y="415"/>
                    </a:lnTo>
                    <a:lnTo>
                      <a:pt x="146" y="414"/>
                    </a:lnTo>
                    <a:lnTo>
                      <a:pt x="146" y="412"/>
                    </a:lnTo>
                    <a:lnTo>
                      <a:pt x="145" y="412"/>
                    </a:lnTo>
                    <a:lnTo>
                      <a:pt x="143" y="410"/>
                    </a:lnTo>
                    <a:lnTo>
                      <a:pt x="141" y="410"/>
                    </a:lnTo>
                    <a:lnTo>
                      <a:pt x="141" y="409"/>
                    </a:lnTo>
                    <a:lnTo>
                      <a:pt x="141" y="410"/>
                    </a:lnTo>
                    <a:lnTo>
                      <a:pt x="141" y="409"/>
                    </a:lnTo>
                    <a:lnTo>
                      <a:pt x="143" y="409"/>
                    </a:lnTo>
                    <a:lnTo>
                      <a:pt x="143" y="407"/>
                    </a:lnTo>
                    <a:lnTo>
                      <a:pt x="143" y="405"/>
                    </a:lnTo>
                    <a:lnTo>
                      <a:pt x="141" y="405"/>
                    </a:lnTo>
                    <a:lnTo>
                      <a:pt x="141" y="403"/>
                    </a:lnTo>
                    <a:lnTo>
                      <a:pt x="141" y="402"/>
                    </a:lnTo>
                    <a:lnTo>
                      <a:pt x="141" y="400"/>
                    </a:lnTo>
                    <a:lnTo>
                      <a:pt x="140" y="400"/>
                    </a:lnTo>
                    <a:lnTo>
                      <a:pt x="141" y="400"/>
                    </a:lnTo>
                    <a:lnTo>
                      <a:pt x="141" y="398"/>
                    </a:lnTo>
                    <a:lnTo>
                      <a:pt x="140" y="398"/>
                    </a:lnTo>
                    <a:lnTo>
                      <a:pt x="140" y="397"/>
                    </a:lnTo>
                    <a:lnTo>
                      <a:pt x="140" y="395"/>
                    </a:lnTo>
                    <a:lnTo>
                      <a:pt x="138" y="395"/>
                    </a:lnTo>
                    <a:lnTo>
                      <a:pt x="138" y="393"/>
                    </a:lnTo>
                    <a:lnTo>
                      <a:pt x="136" y="392"/>
                    </a:lnTo>
                    <a:lnTo>
                      <a:pt x="136" y="390"/>
                    </a:lnTo>
                    <a:lnTo>
                      <a:pt x="135" y="390"/>
                    </a:lnTo>
                    <a:lnTo>
                      <a:pt x="133" y="388"/>
                    </a:lnTo>
                    <a:lnTo>
                      <a:pt x="129" y="386"/>
                    </a:lnTo>
                    <a:lnTo>
                      <a:pt x="128" y="385"/>
                    </a:lnTo>
                    <a:lnTo>
                      <a:pt x="126" y="385"/>
                    </a:lnTo>
                    <a:lnTo>
                      <a:pt x="124" y="385"/>
                    </a:lnTo>
                    <a:lnTo>
                      <a:pt x="124" y="383"/>
                    </a:lnTo>
                    <a:lnTo>
                      <a:pt x="126" y="383"/>
                    </a:lnTo>
                    <a:lnTo>
                      <a:pt x="124" y="383"/>
                    </a:lnTo>
                    <a:lnTo>
                      <a:pt x="126" y="381"/>
                    </a:lnTo>
                    <a:lnTo>
                      <a:pt x="124" y="381"/>
                    </a:lnTo>
                    <a:lnTo>
                      <a:pt x="126" y="381"/>
                    </a:lnTo>
                    <a:lnTo>
                      <a:pt x="128" y="380"/>
                    </a:lnTo>
                    <a:lnTo>
                      <a:pt x="126" y="380"/>
                    </a:lnTo>
                    <a:lnTo>
                      <a:pt x="126" y="378"/>
                    </a:lnTo>
                    <a:lnTo>
                      <a:pt x="126" y="376"/>
                    </a:lnTo>
                    <a:lnTo>
                      <a:pt x="126" y="375"/>
                    </a:lnTo>
                    <a:lnTo>
                      <a:pt x="124" y="375"/>
                    </a:lnTo>
                    <a:lnTo>
                      <a:pt x="124" y="373"/>
                    </a:lnTo>
                    <a:lnTo>
                      <a:pt x="124" y="371"/>
                    </a:lnTo>
                    <a:lnTo>
                      <a:pt x="124" y="369"/>
                    </a:lnTo>
                    <a:lnTo>
                      <a:pt x="123" y="369"/>
                    </a:lnTo>
                    <a:lnTo>
                      <a:pt x="123" y="368"/>
                    </a:lnTo>
                    <a:lnTo>
                      <a:pt x="121" y="368"/>
                    </a:lnTo>
                    <a:lnTo>
                      <a:pt x="123" y="366"/>
                    </a:lnTo>
                    <a:lnTo>
                      <a:pt x="121" y="366"/>
                    </a:lnTo>
                    <a:lnTo>
                      <a:pt x="121" y="364"/>
                    </a:lnTo>
                    <a:lnTo>
                      <a:pt x="119" y="364"/>
                    </a:lnTo>
                    <a:lnTo>
                      <a:pt x="119" y="363"/>
                    </a:lnTo>
                    <a:lnTo>
                      <a:pt x="118" y="363"/>
                    </a:lnTo>
                    <a:lnTo>
                      <a:pt x="118" y="361"/>
                    </a:lnTo>
                    <a:lnTo>
                      <a:pt x="118" y="359"/>
                    </a:lnTo>
                    <a:lnTo>
                      <a:pt x="116" y="359"/>
                    </a:lnTo>
                    <a:lnTo>
                      <a:pt x="116" y="358"/>
                    </a:lnTo>
                    <a:lnTo>
                      <a:pt x="114" y="356"/>
                    </a:lnTo>
                    <a:lnTo>
                      <a:pt x="114" y="354"/>
                    </a:lnTo>
                    <a:lnTo>
                      <a:pt x="112" y="354"/>
                    </a:lnTo>
                    <a:lnTo>
                      <a:pt x="112" y="352"/>
                    </a:lnTo>
                    <a:lnTo>
                      <a:pt x="112" y="351"/>
                    </a:lnTo>
                    <a:lnTo>
                      <a:pt x="111" y="351"/>
                    </a:lnTo>
                    <a:lnTo>
                      <a:pt x="111" y="349"/>
                    </a:lnTo>
                    <a:lnTo>
                      <a:pt x="111" y="347"/>
                    </a:lnTo>
                    <a:lnTo>
                      <a:pt x="109" y="346"/>
                    </a:lnTo>
                    <a:lnTo>
                      <a:pt x="107" y="344"/>
                    </a:lnTo>
                    <a:lnTo>
                      <a:pt x="107" y="342"/>
                    </a:lnTo>
                    <a:lnTo>
                      <a:pt x="107" y="341"/>
                    </a:lnTo>
                    <a:lnTo>
                      <a:pt x="107" y="339"/>
                    </a:lnTo>
                    <a:lnTo>
                      <a:pt x="106" y="339"/>
                    </a:lnTo>
                    <a:lnTo>
                      <a:pt x="106" y="337"/>
                    </a:lnTo>
                    <a:lnTo>
                      <a:pt x="106" y="335"/>
                    </a:lnTo>
                    <a:lnTo>
                      <a:pt x="106" y="334"/>
                    </a:lnTo>
                    <a:lnTo>
                      <a:pt x="106" y="332"/>
                    </a:lnTo>
                    <a:lnTo>
                      <a:pt x="104" y="330"/>
                    </a:lnTo>
                    <a:lnTo>
                      <a:pt x="104" y="329"/>
                    </a:lnTo>
                    <a:lnTo>
                      <a:pt x="102" y="329"/>
                    </a:lnTo>
                    <a:lnTo>
                      <a:pt x="102" y="327"/>
                    </a:lnTo>
                    <a:lnTo>
                      <a:pt x="101" y="327"/>
                    </a:lnTo>
                    <a:lnTo>
                      <a:pt x="101" y="325"/>
                    </a:lnTo>
                    <a:lnTo>
                      <a:pt x="101" y="324"/>
                    </a:lnTo>
                    <a:lnTo>
                      <a:pt x="101" y="322"/>
                    </a:lnTo>
                    <a:lnTo>
                      <a:pt x="99" y="322"/>
                    </a:lnTo>
                    <a:lnTo>
                      <a:pt x="101" y="322"/>
                    </a:lnTo>
                    <a:lnTo>
                      <a:pt x="101" y="320"/>
                    </a:lnTo>
                    <a:lnTo>
                      <a:pt x="99" y="320"/>
                    </a:lnTo>
                    <a:lnTo>
                      <a:pt x="99" y="318"/>
                    </a:lnTo>
                    <a:lnTo>
                      <a:pt x="99" y="317"/>
                    </a:lnTo>
                    <a:lnTo>
                      <a:pt x="97" y="317"/>
                    </a:lnTo>
                    <a:lnTo>
                      <a:pt x="97" y="315"/>
                    </a:lnTo>
                    <a:lnTo>
                      <a:pt x="95" y="315"/>
                    </a:lnTo>
                    <a:lnTo>
                      <a:pt x="95" y="313"/>
                    </a:lnTo>
                    <a:lnTo>
                      <a:pt x="97" y="313"/>
                    </a:lnTo>
                    <a:lnTo>
                      <a:pt x="97" y="312"/>
                    </a:lnTo>
                    <a:lnTo>
                      <a:pt x="95" y="312"/>
                    </a:lnTo>
                    <a:lnTo>
                      <a:pt x="94" y="312"/>
                    </a:lnTo>
                    <a:lnTo>
                      <a:pt x="94" y="313"/>
                    </a:lnTo>
                    <a:lnTo>
                      <a:pt x="94" y="312"/>
                    </a:lnTo>
                    <a:lnTo>
                      <a:pt x="92" y="312"/>
                    </a:lnTo>
                    <a:lnTo>
                      <a:pt x="92" y="310"/>
                    </a:lnTo>
                    <a:lnTo>
                      <a:pt x="94" y="312"/>
                    </a:lnTo>
                    <a:lnTo>
                      <a:pt x="94" y="310"/>
                    </a:lnTo>
                    <a:lnTo>
                      <a:pt x="94" y="312"/>
                    </a:lnTo>
                    <a:lnTo>
                      <a:pt x="94" y="310"/>
                    </a:lnTo>
                    <a:lnTo>
                      <a:pt x="94" y="308"/>
                    </a:lnTo>
                    <a:lnTo>
                      <a:pt x="92" y="308"/>
                    </a:lnTo>
                    <a:lnTo>
                      <a:pt x="92" y="307"/>
                    </a:lnTo>
                    <a:lnTo>
                      <a:pt x="92" y="305"/>
                    </a:lnTo>
                    <a:lnTo>
                      <a:pt x="90" y="305"/>
                    </a:lnTo>
                    <a:lnTo>
                      <a:pt x="92" y="305"/>
                    </a:lnTo>
                    <a:lnTo>
                      <a:pt x="92" y="303"/>
                    </a:lnTo>
                    <a:lnTo>
                      <a:pt x="90" y="301"/>
                    </a:lnTo>
                    <a:lnTo>
                      <a:pt x="90" y="300"/>
                    </a:lnTo>
                    <a:lnTo>
                      <a:pt x="89" y="300"/>
                    </a:lnTo>
                    <a:lnTo>
                      <a:pt x="89" y="298"/>
                    </a:lnTo>
                    <a:lnTo>
                      <a:pt x="87" y="298"/>
                    </a:lnTo>
                    <a:lnTo>
                      <a:pt x="87" y="296"/>
                    </a:lnTo>
                    <a:lnTo>
                      <a:pt x="89" y="296"/>
                    </a:lnTo>
                    <a:lnTo>
                      <a:pt x="89" y="295"/>
                    </a:lnTo>
                    <a:lnTo>
                      <a:pt x="89" y="293"/>
                    </a:lnTo>
                    <a:lnTo>
                      <a:pt x="87" y="291"/>
                    </a:lnTo>
                    <a:lnTo>
                      <a:pt x="87" y="289"/>
                    </a:lnTo>
                    <a:lnTo>
                      <a:pt x="85" y="289"/>
                    </a:lnTo>
                    <a:lnTo>
                      <a:pt x="85" y="288"/>
                    </a:lnTo>
                    <a:lnTo>
                      <a:pt x="84" y="288"/>
                    </a:lnTo>
                    <a:lnTo>
                      <a:pt x="82" y="286"/>
                    </a:lnTo>
                    <a:lnTo>
                      <a:pt x="84" y="284"/>
                    </a:lnTo>
                    <a:lnTo>
                      <a:pt x="84" y="283"/>
                    </a:lnTo>
                    <a:lnTo>
                      <a:pt x="82" y="283"/>
                    </a:lnTo>
                    <a:lnTo>
                      <a:pt x="82" y="281"/>
                    </a:lnTo>
                    <a:lnTo>
                      <a:pt x="80" y="281"/>
                    </a:lnTo>
                    <a:lnTo>
                      <a:pt x="80" y="279"/>
                    </a:lnTo>
                    <a:lnTo>
                      <a:pt x="80" y="278"/>
                    </a:lnTo>
                    <a:lnTo>
                      <a:pt x="78" y="278"/>
                    </a:lnTo>
                    <a:lnTo>
                      <a:pt x="78" y="276"/>
                    </a:lnTo>
                    <a:lnTo>
                      <a:pt x="77" y="276"/>
                    </a:lnTo>
                    <a:lnTo>
                      <a:pt x="77" y="274"/>
                    </a:lnTo>
                    <a:lnTo>
                      <a:pt x="75" y="274"/>
                    </a:lnTo>
                    <a:lnTo>
                      <a:pt x="75" y="272"/>
                    </a:lnTo>
                    <a:lnTo>
                      <a:pt x="73" y="271"/>
                    </a:lnTo>
                    <a:lnTo>
                      <a:pt x="72" y="271"/>
                    </a:lnTo>
                    <a:lnTo>
                      <a:pt x="70" y="269"/>
                    </a:lnTo>
                    <a:lnTo>
                      <a:pt x="68" y="267"/>
                    </a:lnTo>
                    <a:lnTo>
                      <a:pt x="67" y="266"/>
                    </a:lnTo>
                    <a:lnTo>
                      <a:pt x="67" y="264"/>
                    </a:lnTo>
                    <a:lnTo>
                      <a:pt x="65" y="262"/>
                    </a:lnTo>
                    <a:lnTo>
                      <a:pt x="63" y="261"/>
                    </a:lnTo>
                    <a:lnTo>
                      <a:pt x="65" y="261"/>
                    </a:lnTo>
                    <a:lnTo>
                      <a:pt x="65" y="259"/>
                    </a:lnTo>
                    <a:lnTo>
                      <a:pt x="63" y="257"/>
                    </a:lnTo>
                    <a:lnTo>
                      <a:pt x="63" y="255"/>
                    </a:lnTo>
                    <a:lnTo>
                      <a:pt x="61" y="255"/>
                    </a:lnTo>
                    <a:lnTo>
                      <a:pt x="61" y="254"/>
                    </a:lnTo>
                    <a:lnTo>
                      <a:pt x="60" y="254"/>
                    </a:lnTo>
                    <a:lnTo>
                      <a:pt x="60" y="252"/>
                    </a:lnTo>
                    <a:lnTo>
                      <a:pt x="60" y="250"/>
                    </a:lnTo>
                    <a:lnTo>
                      <a:pt x="60" y="249"/>
                    </a:lnTo>
                    <a:lnTo>
                      <a:pt x="60" y="247"/>
                    </a:lnTo>
                    <a:lnTo>
                      <a:pt x="58" y="245"/>
                    </a:lnTo>
                    <a:lnTo>
                      <a:pt x="56" y="244"/>
                    </a:lnTo>
                    <a:lnTo>
                      <a:pt x="56" y="242"/>
                    </a:lnTo>
                    <a:lnTo>
                      <a:pt x="56" y="240"/>
                    </a:lnTo>
                    <a:lnTo>
                      <a:pt x="55" y="240"/>
                    </a:lnTo>
                    <a:lnTo>
                      <a:pt x="55" y="238"/>
                    </a:lnTo>
                    <a:lnTo>
                      <a:pt x="53" y="237"/>
                    </a:lnTo>
                    <a:lnTo>
                      <a:pt x="51" y="235"/>
                    </a:lnTo>
                    <a:lnTo>
                      <a:pt x="50" y="235"/>
                    </a:lnTo>
                    <a:lnTo>
                      <a:pt x="50" y="233"/>
                    </a:lnTo>
                    <a:lnTo>
                      <a:pt x="48" y="233"/>
                    </a:lnTo>
                    <a:lnTo>
                      <a:pt x="48" y="232"/>
                    </a:lnTo>
                    <a:lnTo>
                      <a:pt x="48" y="230"/>
                    </a:lnTo>
                    <a:lnTo>
                      <a:pt x="46" y="230"/>
                    </a:lnTo>
                    <a:lnTo>
                      <a:pt x="46" y="228"/>
                    </a:lnTo>
                    <a:lnTo>
                      <a:pt x="44" y="227"/>
                    </a:lnTo>
                    <a:lnTo>
                      <a:pt x="43" y="227"/>
                    </a:lnTo>
                    <a:lnTo>
                      <a:pt x="41" y="225"/>
                    </a:lnTo>
                    <a:lnTo>
                      <a:pt x="41" y="223"/>
                    </a:lnTo>
                    <a:lnTo>
                      <a:pt x="39" y="223"/>
                    </a:lnTo>
                    <a:lnTo>
                      <a:pt x="38" y="223"/>
                    </a:lnTo>
                    <a:lnTo>
                      <a:pt x="38" y="221"/>
                    </a:lnTo>
                    <a:lnTo>
                      <a:pt x="36" y="221"/>
                    </a:lnTo>
                    <a:lnTo>
                      <a:pt x="34" y="220"/>
                    </a:lnTo>
                    <a:lnTo>
                      <a:pt x="33" y="220"/>
                    </a:lnTo>
                    <a:lnTo>
                      <a:pt x="31" y="218"/>
                    </a:lnTo>
                    <a:lnTo>
                      <a:pt x="29" y="218"/>
                    </a:lnTo>
                    <a:lnTo>
                      <a:pt x="28" y="216"/>
                    </a:lnTo>
                    <a:lnTo>
                      <a:pt x="26" y="216"/>
                    </a:lnTo>
                    <a:lnTo>
                      <a:pt x="24" y="216"/>
                    </a:lnTo>
                    <a:lnTo>
                      <a:pt x="24" y="215"/>
                    </a:lnTo>
                    <a:lnTo>
                      <a:pt x="22" y="215"/>
                    </a:lnTo>
                    <a:lnTo>
                      <a:pt x="21" y="213"/>
                    </a:lnTo>
                    <a:lnTo>
                      <a:pt x="19" y="213"/>
                    </a:lnTo>
                    <a:lnTo>
                      <a:pt x="17" y="211"/>
                    </a:lnTo>
                    <a:lnTo>
                      <a:pt x="16" y="210"/>
                    </a:lnTo>
                    <a:lnTo>
                      <a:pt x="14" y="210"/>
                    </a:lnTo>
                    <a:lnTo>
                      <a:pt x="14" y="208"/>
                    </a:lnTo>
                    <a:lnTo>
                      <a:pt x="12" y="208"/>
                    </a:lnTo>
                    <a:lnTo>
                      <a:pt x="11" y="206"/>
                    </a:lnTo>
                    <a:lnTo>
                      <a:pt x="9" y="206"/>
                    </a:lnTo>
                    <a:lnTo>
                      <a:pt x="9" y="204"/>
                    </a:lnTo>
                    <a:lnTo>
                      <a:pt x="7" y="204"/>
                    </a:lnTo>
                    <a:lnTo>
                      <a:pt x="7" y="203"/>
                    </a:lnTo>
                    <a:lnTo>
                      <a:pt x="7" y="201"/>
                    </a:lnTo>
                    <a:lnTo>
                      <a:pt x="7" y="199"/>
                    </a:lnTo>
                    <a:lnTo>
                      <a:pt x="7" y="198"/>
                    </a:lnTo>
                    <a:lnTo>
                      <a:pt x="9" y="198"/>
                    </a:lnTo>
                    <a:lnTo>
                      <a:pt x="9" y="196"/>
                    </a:lnTo>
                    <a:lnTo>
                      <a:pt x="11" y="196"/>
                    </a:lnTo>
                    <a:lnTo>
                      <a:pt x="11" y="198"/>
                    </a:lnTo>
                    <a:lnTo>
                      <a:pt x="12" y="198"/>
                    </a:lnTo>
                    <a:lnTo>
                      <a:pt x="14" y="198"/>
                    </a:lnTo>
                    <a:lnTo>
                      <a:pt x="16" y="198"/>
                    </a:lnTo>
                    <a:lnTo>
                      <a:pt x="16" y="196"/>
                    </a:lnTo>
                    <a:lnTo>
                      <a:pt x="17" y="194"/>
                    </a:lnTo>
                    <a:lnTo>
                      <a:pt x="17" y="193"/>
                    </a:lnTo>
                    <a:lnTo>
                      <a:pt x="17" y="191"/>
                    </a:lnTo>
                    <a:lnTo>
                      <a:pt x="17" y="189"/>
                    </a:lnTo>
                    <a:lnTo>
                      <a:pt x="16" y="189"/>
                    </a:lnTo>
                    <a:lnTo>
                      <a:pt x="16" y="187"/>
                    </a:lnTo>
                    <a:lnTo>
                      <a:pt x="16" y="186"/>
                    </a:lnTo>
                    <a:lnTo>
                      <a:pt x="14" y="184"/>
                    </a:lnTo>
                    <a:lnTo>
                      <a:pt x="12" y="182"/>
                    </a:lnTo>
                    <a:lnTo>
                      <a:pt x="11" y="181"/>
                    </a:lnTo>
                    <a:lnTo>
                      <a:pt x="11" y="179"/>
                    </a:lnTo>
                    <a:lnTo>
                      <a:pt x="9" y="179"/>
                    </a:lnTo>
                    <a:lnTo>
                      <a:pt x="7" y="179"/>
                    </a:lnTo>
                    <a:lnTo>
                      <a:pt x="7" y="177"/>
                    </a:lnTo>
                    <a:lnTo>
                      <a:pt x="5" y="177"/>
                    </a:lnTo>
                    <a:lnTo>
                      <a:pt x="5" y="176"/>
                    </a:lnTo>
                    <a:lnTo>
                      <a:pt x="7" y="176"/>
                    </a:lnTo>
                    <a:lnTo>
                      <a:pt x="7" y="174"/>
                    </a:lnTo>
                    <a:lnTo>
                      <a:pt x="5" y="174"/>
                    </a:lnTo>
                    <a:lnTo>
                      <a:pt x="7" y="174"/>
                    </a:lnTo>
                    <a:lnTo>
                      <a:pt x="7" y="172"/>
                    </a:lnTo>
                    <a:lnTo>
                      <a:pt x="5" y="172"/>
                    </a:lnTo>
                    <a:lnTo>
                      <a:pt x="7" y="172"/>
                    </a:lnTo>
                    <a:lnTo>
                      <a:pt x="9" y="172"/>
                    </a:lnTo>
                    <a:lnTo>
                      <a:pt x="11" y="170"/>
                    </a:lnTo>
                    <a:lnTo>
                      <a:pt x="11" y="169"/>
                    </a:lnTo>
                    <a:lnTo>
                      <a:pt x="9" y="169"/>
                    </a:lnTo>
                    <a:lnTo>
                      <a:pt x="9" y="167"/>
                    </a:lnTo>
                    <a:lnTo>
                      <a:pt x="7" y="165"/>
                    </a:lnTo>
                    <a:lnTo>
                      <a:pt x="5" y="164"/>
                    </a:lnTo>
                    <a:lnTo>
                      <a:pt x="5" y="162"/>
                    </a:lnTo>
                    <a:lnTo>
                      <a:pt x="4" y="162"/>
                    </a:lnTo>
                    <a:lnTo>
                      <a:pt x="2" y="159"/>
                    </a:lnTo>
                    <a:lnTo>
                      <a:pt x="0" y="159"/>
                    </a:lnTo>
                    <a:lnTo>
                      <a:pt x="2" y="157"/>
                    </a:lnTo>
                    <a:lnTo>
                      <a:pt x="2" y="155"/>
                    </a:lnTo>
                    <a:lnTo>
                      <a:pt x="2" y="153"/>
                    </a:lnTo>
                    <a:lnTo>
                      <a:pt x="2" y="152"/>
                    </a:lnTo>
                    <a:lnTo>
                      <a:pt x="2" y="150"/>
                    </a:lnTo>
                    <a:lnTo>
                      <a:pt x="4" y="150"/>
                    </a:lnTo>
                    <a:lnTo>
                      <a:pt x="4" y="148"/>
                    </a:lnTo>
                    <a:lnTo>
                      <a:pt x="4" y="147"/>
                    </a:lnTo>
                    <a:lnTo>
                      <a:pt x="4" y="145"/>
                    </a:lnTo>
                    <a:lnTo>
                      <a:pt x="4" y="143"/>
                    </a:lnTo>
                    <a:lnTo>
                      <a:pt x="5" y="143"/>
                    </a:lnTo>
                    <a:lnTo>
                      <a:pt x="7" y="141"/>
                    </a:lnTo>
                    <a:lnTo>
                      <a:pt x="9" y="140"/>
                    </a:lnTo>
                    <a:lnTo>
                      <a:pt x="9" y="138"/>
                    </a:lnTo>
                    <a:lnTo>
                      <a:pt x="11" y="138"/>
                    </a:lnTo>
                    <a:lnTo>
                      <a:pt x="11" y="136"/>
                    </a:lnTo>
                    <a:lnTo>
                      <a:pt x="12" y="136"/>
                    </a:lnTo>
                    <a:lnTo>
                      <a:pt x="12" y="135"/>
                    </a:lnTo>
                    <a:lnTo>
                      <a:pt x="14" y="133"/>
                    </a:lnTo>
                    <a:lnTo>
                      <a:pt x="16" y="131"/>
                    </a:lnTo>
                    <a:lnTo>
                      <a:pt x="17" y="131"/>
                    </a:lnTo>
                    <a:lnTo>
                      <a:pt x="17" y="130"/>
                    </a:lnTo>
                    <a:lnTo>
                      <a:pt x="19" y="128"/>
                    </a:lnTo>
                    <a:lnTo>
                      <a:pt x="19" y="126"/>
                    </a:lnTo>
                    <a:lnTo>
                      <a:pt x="21" y="126"/>
                    </a:lnTo>
                    <a:lnTo>
                      <a:pt x="21" y="124"/>
                    </a:lnTo>
                    <a:lnTo>
                      <a:pt x="22" y="124"/>
                    </a:lnTo>
                    <a:lnTo>
                      <a:pt x="24" y="124"/>
                    </a:lnTo>
                    <a:lnTo>
                      <a:pt x="24" y="123"/>
                    </a:lnTo>
                    <a:lnTo>
                      <a:pt x="26" y="123"/>
                    </a:lnTo>
                    <a:lnTo>
                      <a:pt x="28" y="121"/>
                    </a:lnTo>
                    <a:lnTo>
                      <a:pt x="28" y="119"/>
                    </a:lnTo>
                    <a:lnTo>
                      <a:pt x="29" y="119"/>
                    </a:lnTo>
                    <a:lnTo>
                      <a:pt x="29" y="118"/>
                    </a:lnTo>
                    <a:lnTo>
                      <a:pt x="31" y="118"/>
                    </a:lnTo>
                    <a:lnTo>
                      <a:pt x="33" y="118"/>
                    </a:lnTo>
                    <a:lnTo>
                      <a:pt x="31" y="119"/>
                    </a:lnTo>
                    <a:lnTo>
                      <a:pt x="33" y="118"/>
                    </a:lnTo>
                    <a:lnTo>
                      <a:pt x="34" y="118"/>
                    </a:lnTo>
                    <a:lnTo>
                      <a:pt x="34" y="116"/>
                    </a:lnTo>
                    <a:lnTo>
                      <a:pt x="36" y="114"/>
                    </a:lnTo>
                    <a:lnTo>
                      <a:pt x="36" y="116"/>
                    </a:lnTo>
                    <a:lnTo>
                      <a:pt x="38" y="116"/>
                    </a:lnTo>
                    <a:lnTo>
                      <a:pt x="38" y="118"/>
                    </a:lnTo>
                    <a:lnTo>
                      <a:pt x="38" y="119"/>
                    </a:lnTo>
                    <a:lnTo>
                      <a:pt x="39" y="119"/>
                    </a:lnTo>
                    <a:lnTo>
                      <a:pt x="38" y="121"/>
                    </a:lnTo>
                    <a:lnTo>
                      <a:pt x="39" y="121"/>
                    </a:lnTo>
                    <a:lnTo>
                      <a:pt x="39" y="123"/>
                    </a:lnTo>
                    <a:lnTo>
                      <a:pt x="39" y="124"/>
                    </a:lnTo>
                    <a:lnTo>
                      <a:pt x="39" y="126"/>
                    </a:lnTo>
                    <a:lnTo>
                      <a:pt x="39" y="128"/>
                    </a:lnTo>
                    <a:lnTo>
                      <a:pt x="41" y="128"/>
                    </a:lnTo>
                    <a:lnTo>
                      <a:pt x="41" y="130"/>
                    </a:lnTo>
                    <a:lnTo>
                      <a:pt x="41" y="131"/>
                    </a:lnTo>
                    <a:lnTo>
                      <a:pt x="39" y="133"/>
                    </a:lnTo>
                    <a:lnTo>
                      <a:pt x="38" y="133"/>
                    </a:lnTo>
                    <a:lnTo>
                      <a:pt x="38" y="135"/>
                    </a:lnTo>
                    <a:lnTo>
                      <a:pt x="36" y="135"/>
                    </a:lnTo>
                    <a:lnTo>
                      <a:pt x="36" y="136"/>
                    </a:lnTo>
                    <a:lnTo>
                      <a:pt x="34" y="135"/>
                    </a:lnTo>
                    <a:lnTo>
                      <a:pt x="33" y="135"/>
                    </a:lnTo>
                    <a:lnTo>
                      <a:pt x="31" y="135"/>
                    </a:lnTo>
                    <a:lnTo>
                      <a:pt x="31" y="136"/>
                    </a:lnTo>
                    <a:lnTo>
                      <a:pt x="29" y="136"/>
                    </a:lnTo>
                    <a:lnTo>
                      <a:pt x="29" y="138"/>
                    </a:lnTo>
                    <a:lnTo>
                      <a:pt x="31" y="138"/>
                    </a:lnTo>
                    <a:lnTo>
                      <a:pt x="29" y="140"/>
                    </a:lnTo>
                    <a:lnTo>
                      <a:pt x="31" y="140"/>
                    </a:lnTo>
                    <a:lnTo>
                      <a:pt x="31" y="141"/>
                    </a:lnTo>
                    <a:lnTo>
                      <a:pt x="33" y="143"/>
                    </a:lnTo>
                    <a:lnTo>
                      <a:pt x="33" y="141"/>
                    </a:lnTo>
                    <a:lnTo>
                      <a:pt x="34" y="143"/>
                    </a:lnTo>
                    <a:lnTo>
                      <a:pt x="34" y="141"/>
                    </a:lnTo>
                    <a:lnTo>
                      <a:pt x="36" y="141"/>
                    </a:lnTo>
                    <a:lnTo>
                      <a:pt x="34" y="141"/>
                    </a:lnTo>
                    <a:lnTo>
                      <a:pt x="34" y="143"/>
                    </a:lnTo>
                    <a:lnTo>
                      <a:pt x="33" y="145"/>
                    </a:lnTo>
                    <a:lnTo>
                      <a:pt x="33" y="147"/>
                    </a:lnTo>
                    <a:lnTo>
                      <a:pt x="31" y="147"/>
                    </a:lnTo>
                    <a:lnTo>
                      <a:pt x="31" y="148"/>
                    </a:lnTo>
                    <a:lnTo>
                      <a:pt x="31" y="150"/>
                    </a:lnTo>
                    <a:lnTo>
                      <a:pt x="31" y="152"/>
                    </a:lnTo>
                    <a:lnTo>
                      <a:pt x="31" y="150"/>
                    </a:lnTo>
                    <a:lnTo>
                      <a:pt x="33" y="152"/>
                    </a:lnTo>
                    <a:lnTo>
                      <a:pt x="34" y="152"/>
                    </a:lnTo>
                    <a:lnTo>
                      <a:pt x="34" y="150"/>
                    </a:lnTo>
                    <a:lnTo>
                      <a:pt x="36" y="150"/>
                    </a:lnTo>
                    <a:lnTo>
                      <a:pt x="36" y="148"/>
                    </a:lnTo>
                    <a:lnTo>
                      <a:pt x="38" y="148"/>
                    </a:lnTo>
                    <a:lnTo>
                      <a:pt x="38" y="147"/>
                    </a:lnTo>
                    <a:lnTo>
                      <a:pt x="39" y="147"/>
                    </a:lnTo>
                    <a:lnTo>
                      <a:pt x="39" y="145"/>
                    </a:lnTo>
                    <a:lnTo>
                      <a:pt x="41" y="145"/>
                    </a:lnTo>
                    <a:lnTo>
                      <a:pt x="43" y="145"/>
                    </a:lnTo>
                    <a:lnTo>
                      <a:pt x="44" y="145"/>
                    </a:lnTo>
                    <a:lnTo>
                      <a:pt x="44" y="147"/>
                    </a:lnTo>
                    <a:lnTo>
                      <a:pt x="46" y="148"/>
                    </a:lnTo>
                    <a:lnTo>
                      <a:pt x="48" y="148"/>
                    </a:lnTo>
                    <a:lnTo>
                      <a:pt x="50" y="148"/>
                    </a:lnTo>
                    <a:lnTo>
                      <a:pt x="51" y="150"/>
                    </a:lnTo>
                    <a:lnTo>
                      <a:pt x="51" y="152"/>
                    </a:lnTo>
                    <a:lnTo>
                      <a:pt x="53" y="152"/>
                    </a:lnTo>
                    <a:lnTo>
                      <a:pt x="55" y="152"/>
                    </a:lnTo>
                    <a:lnTo>
                      <a:pt x="56" y="152"/>
                    </a:lnTo>
                    <a:lnTo>
                      <a:pt x="56" y="150"/>
                    </a:lnTo>
                    <a:lnTo>
                      <a:pt x="58" y="150"/>
                    </a:lnTo>
                    <a:lnTo>
                      <a:pt x="60" y="150"/>
                    </a:lnTo>
                    <a:lnTo>
                      <a:pt x="60" y="152"/>
                    </a:lnTo>
                    <a:lnTo>
                      <a:pt x="61" y="152"/>
                    </a:lnTo>
                    <a:lnTo>
                      <a:pt x="61" y="153"/>
                    </a:lnTo>
                    <a:lnTo>
                      <a:pt x="61" y="152"/>
                    </a:lnTo>
                    <a:lnTo>
                      <a:pt x="63" y="153"/>
                    </a:lnTo>
                    <a:lnTo>
                      <a:pt x="63" y="155"/>
                    </a:lnTo>
                    <a:lnTo>
                      <a:pt x="63" y="157"/>
                    </a:lnTo>
                    <a:lnTo>
                      <a:pt x="65" y="159"/>
                    </a:lnTo>
                    <a:lnTo>
                      <a:pt x="65" y="160"/>
                    </a:lnTo>
                    <a:lnTo>
                      <a:pt x="65" y="162"/>
                    </a:lnTo>
                    <a:lnTo>
                      <a:pt x="67" y="164"/>
                    </a:lnTo>
                    <a:lnTo>
                      <a:pt x="68" y="165"/>
                    </a:lnTo>
                    <a:lnTo>
                      <a:pt x="70" y="165"/>
                    </a:lnTo>
                    <a:lnTo>
                      <a:pt x="70" y="167"/>
                    </a:lnTo>
                    <a:lnTo>
                      <a:pt x="72" y="167"/>
                    </a:lnTo>
                    <a:lnTo>
                      <a:pt x="73" y="167"/>
                    </a:lnTo>
                    <a:lnTo>
                      <a:pt x="75" y="167"/>
                    </a:lnTo>
                    <a:lnTo>
                      <a:pt x="75" y="169"/>
                    </a:lnTo>
                    <a:lnTo>
                      <a:pt x="77" y="169"/>
                    </a:lnTo>
                    <a:lnTo>
                      <a:pt x="78" y="169"/>
                    </a:lnTo>
                    <a:lnTo>
                      <a:pt x="80" y="169"/>
                    </a:lnTo>
                    <a:lnTo>
                      <a:pt x="80" y="167"/>
                    </a:lnTo>
                    <a:lnTo>
                      <a:pt x="80" y="165"/>
                    </a:lnTo>
                    <a:lnTo>
                      <a:pt x="82" y="165"/>
                    </a:lnTo>
                    <a:lnTo>
                      <a:pt x="84" y="165"/>
                    </a:lnTo>
                    <a:lnTo>
                      <a:pt x="82" y="164"/>
                    </a:lnTo>
                    <a:lnTo>
                      <a:pt x="84" y="164"/>
                    </a:lnTo>
                    <a:lnTo>
                      <a:pt x="84" y="162"/>
                    </a:lnTo>
                    <a:lnTo>
                      <a:pt x="82" y="162"/>
                    </a:lnTo>
                    <a:lnTo>
                      <a:pt x="84" y="162"/>
                    </a:lnTo>
                    <a:lnTo>
                      <a:pt x="84" y="160"/>
                    </a:lnTo>
                    <a:lnTo>
                      <a:pt x="84" y="159"/>
                    </a:lnTo>
                    <a:lnTo>
                      <a:pt x="85" y="157"/>
                    </a:lnTo>
                    <a:lnTo>
                      <a:pt x="87" y="157"/>
                    </a:lnTo>
                    <a:lnTo>
                      <a:pt x="89" y="157"/>
                    </a:lnTo>
                    <a:lnTo>
                      <a:pt x="90" y="155"/>
                    </a:lnTo>
                    <a:lnTo>
                      <a:pt x="90" y="153"/>
                    </a:lnTo>
                    <a:lnTo>
                      <a:pt x="92" y="152"/>
                    </a:lnTo>
                    <a:lnTo>
                      <a:pt x="92" y="150"/>
                    </a:lnTo>
                    <a:lnTo>
                      <a:pt x="94" y="150"/>
                    </a:lnTo>
                    <a:lnTo>
                      <a:pt x="92" y="148"/>
                    </a:lnTo>
                    <a:lnTo>
                      <a:pt x="92" y="147"/>
                    </a:lnTo>
                    <a:lnTo>
                      <a:pt x="92" y="145"/>
                    </a:lnTo>
                    <a:lnTo>
                      <a:pt x="94" y="143"/>
                    </a:lnTo>
                    <a:lnTo>
                      <a:pt x="92" y="143"/>
                    </a:lnTo>
                    <a:lnTo>
                      <a:pt x="92" y="141"/>
                    </a:lnTo>
                    <a:lnTo>
                      <a:pt x="94" y="141"/>
                    </a:lnTo>
                    <a:lnTo>
                      <a:pt x="94" y="140"/>
                    </a:lnTo>
                    <a:lnTo>
                      <a:pt x="94" y="138"/>
                    </a:lnTo>
                    <a:lnTo>
                      <a:pt x="95" y="138"/>
                    </a:lnTo>
                    <a:lnTo>
                      <a:pt x="95" y="136"/>
                    </a:lnTo>
                    <a:lnTo>
                      <a:pt x="94" y="136"/>
                    </a:lnTo>
                    <a:lnTo>
                      <a:pt x="94" y="135"/>
                    </a:lnTo>
                    <a:lnTo>
                      <a:pt x="95" y="135"/>
                    </a:lnTo>
                    <a:lnTo>
                      <a:pt x="95" y="133"/>
                    </a:lnTo>
                    <a:lnTo>
                      <a:pt x="97" y="133"/>
                    </a:lnTo>
                    <a:lnTo>
                      <a:pt x="97" y="131"/>
                    </a:lnTo>
                    <a:lnTo>
                      <a:pt x="97" y="130"/>
                    </a:lnTo>
                    <a:lnTo>
                      <a:pt x="99" y="130"/>
                    </a:lnTo>
                    <a:lnTo>
                      <a:pt x="99" y="128"/>
                    </a:lnTo>
                    <a:lnTo>
                      <a:pt x="99" y="126"/>
                    </a:lnTo>
                    <a:lnTo>
                      <a:pt x="99" y="124"/>
                    </a:lnTo>
                    <a:lnTo>
                      <a:pt x="101" y="124"/>
                    </a:lnTo>
                    <a:lnTo>
                      <a:pt x="101" y="123"/>
                    </a:lnTo>
                    <a:lnTo>
                      <a:pt x="99" y="123"/>
                    </a:lnTo>
                    <a:lnTo>
                      <a:pt x="101" y="123"/>
                    </a:lnTo>
                    <a:lnTo>
                      <a:pt x="101" y="121"/>
                    </a:lnTo>
                    <a:lnTo>
                      <a:pt x="101" y="119"/>
                    </a:lnTo>
                    <a:lnTo>
                      <a:pt x="101" y="118"/>
                    </a:lnTo>
                    <a:lnTo>
                      <a:pt x="101" y="116"/>
                    </a:lnTo>
                    <a:lnTo>
                      <a:pt x="102" y="116"/>
                    </a:lnTo>
                    <a:lnTo>
                      <a:pt x="101" y="114"/>
                    </a:lnTo>
                    <a:lnTo>
                      <a:pt x="102" y="114"/>
                    </a:lnTo>
                    <a:lnTo>
                      <a:pt x="101" y="114"/>
                    </a:lnTo>
                    <a:lnTo>
                      <a:pt x="102" y="114"/>
                    </a:lnTo>
                    <a:lnTo>
                      <a:pt x="104" y="114"/>
                    </a:lnTo>
                    <a:lnTo>
                      <a:pt x="106" y="114"/>
                    </a:lnTo>
                    <a:lnTo>
                      <a:pt x="106" y="116"/>
                    </a:lnTo>
                    <a:lnTo>
                      <a:pt x="106" y="118"/>
                    </a:lnTo>
                    <a:lnTo>
                      <a:pt x="107" y="118"/>
                    </a:lnTo>
                    <a:lnTo>
                      <a:pt x="109" y="118"/>
                    </a:lnTo>
                    <a:lnTo>
                      <a:pt x="109" y="116"/>
                    </a:lnTo>
                    <a:lnTo>
                      <a:pt x="107" y="116"/>
                    </a:lnTo>
                    <a:lnTo>
                      <a:pt x="107" y="114"/>
                    </a:lnTo>
                    <a:lnTo>
                      <a:pt x="107" y="113"/>
                    </a:lnTo>
                    <a:lnTo>
                      <a:pt x="109" y="113"/>
                    </a:lnTo>
                    <a:lnTo>
                      <a:pt x="109" y="111"/>
                    </a:lnTo>
                    <a:lnTo>
                      <a:pt x="111" y="109"/>
                    </a:lnTo>
                    <a:lnTo>
                      <a:pt x="111" y="107"/>
                    </a:lnTo>
                    <a:lnTo>
                      <a:pt x="112" y="107"/>
                    </a:lnTo>
                    <a:lnTo>
                      <a:pt x="112" y="106"/>
                    </a:lnTo>
                    <a:lnTo>
                      <a:pt x="114" y="106"/>
                    </a:lnTo>
                    <a:lnTo>
                      <a:pt x="114" y="104"/>
                    </a:lnTo>
                    <a:lnTo>
                      <a:pt x="116" y="104"/>
                    </a:lnTo>
                    <a:lnTo>
                      <a:pt x="119" y="101"/>
                    </a:lnTo>
                    <a:lnTo>
                      <a:pt x="123" y="99"/>
                    </a:lnTo>
                    <a:lnTo>
                      <a:pt x="128" y="99"/>
                    </a:lnTo>
                    <a:lnTo>
                      <a:pt x="141" y="94"/>
                    </a:lnTo>
                    <a:lnTo>
                      <a:pt x="153" y="89"/>
                    </a:lnTo>
                    <a:lnTo>
                      <a:pt x="155" y="89"/>
                    </a:lnTo>
                    <a:lnTo>
                      <a:pt x="157" y="89"/>
                    </a:lnTo>
                    <a:lnTo>
                      <a:pt x="158" y="87"/>
                    </a:lnTo>
                    <a:lnTo>
                      <a:pt x="160" y="87"/>
                    </a:lnTo>
                    <a:lnTo>
                      <a:pt x="162" y="85"/>
                    </a:lnTo>
                    <a:lnTo>
                      <a:pt x="163" y="85"/>
                    </a:lnTo>
                    <a:lnTo>
                      <a:pt x="165" y="82"/>
                    </a:lnTo>
                    <a:lnTo>
                      <a:pt x="167" y="80"/>
                    </a:lnTo>
                    <a:lnTo>
                      <a:pt x="170" y="79"/>
                    </a:lnTo>
                    <a:lnTo>
                      <a:pt x="175" y="75"/>
                    </a:lnTo>
                    <a:lnTo>
                      <a:pt x="179" y="73"/>
                    </a:lnTo>
                    <a:lnTo>
                      <a:pt x="179" y="72"/>
                    </a:lnTo>
                    <a:lnTo>
                      <a:pt x="180" y="70"/>
                    </a:lnTo>
                    <a:lnTo>
                      <a:pt x="184" y="65"/>
                    </a:lnTo>
                    <a:lnTo>
                      <a:pt x="187" y="62"/>
                    </a:lnTo>
                    <a:lnTo>
                      <a:pt x="187" y="60"/>
                    </a:lnTo>
                    <a:lnTo>
                      <a:pt x="191" y="58"/>
                    </a:lnTo>
                    <a:lnTo>
                      <a:pt x="192" y="55"/>
                    </a:lnTo>
                    <a:lnTo>
                      <a:pt x="194" y="53"/>
                    </a:lnTo>
                    <a:lnTo>
                      <a:pt x="194" y="51"/>
                    </a:lnTo>
                    <a:lnTo>
                      <a:pt x="196" y="53"/>
                    </a:lnTo>
                    <a:lnTo>
                      <a:pt x="196" y="51"/>
                    </a:lnTo>
                    <a:lnTo>
                      <a:pt x="196" y="50"/>
                    </a:lnTo>
                    <a:lnTo>
                      <a:pt x="197" y="48"/>
                    </a:lnTo>
                    <a:lnTo>
                      <a:pt x="199" y="41"/>
                    </a:lnTo>
                    <a:lnTo>
                      <a:pt x="199" y="39"/>
                    </a:lnTo>
                    <a:lnTo>
                      <a:pt x="201" y="33"/>
                    </a:lnTo>
                    <a:lnTo>
                      <a:pt x="201" y="31"/>
                    </a:lnTo>
                    <a:lnTo>
                      <a:pt x="203" y="31"/>
                    </a:lnTo>
                    <a:lnTo>
                      <a:pt x="203" y="33"/>
                    </a:lnTo>
                    <a:lnTo>
                      <a:pt x="204" y="33"/>
                    </a:lnTo>
                    <a:lnTo>
                      <a:pt x="206" y="33"/>
                    </a:lnTo>
                    <a:lnTo>
                      <a:pt x="208" y="33"/>
                    </a:lnTo>
                    <a:lnTo>
                      <a:pt x="206" y="31"/>
                    </a:lnTo>
                    <a:lnTo>
                      <a:pt x="208" y="31"/>
                    </a:lnTo>
                    <a:lnTo>
                      <a:pt x="208" y="29"/>
                    </a:lnTo>
                    <a:lnTo>
                      <a:pt x="206" y="29"/>
                    </a:lnTo>
                    <a:lnTo>
                      <a:pt x="206" y="28"/>
                    </a:lnTo>
                    <a:lnTo>
                      <a:pt x="206" y="26"/>
                    </a:lnTo>
                    <a:lnTo>
                      <a:pt x="206" y="24"/>
                    </a:lnTo>
                    <a:lnTo>
                      <a:pt x="206" y="22"/>
                    </a:lnTo>
                    <a:lnTo>
                      <a:pt x="206" y="21"/>
                    </a:lnTo>
                    <a:lnTo>
                      <a:pt x="206" y="22"/>
                    </a:lnTo>
                    <a:lnTo>
                      <a:pt x="206" y="21"/>
                    </a:lnTo>
                    <a:lnTo>
                      <a:pt x="206" y="22"/>
                    </a:lnTo>
                    <a:lnTo>
                      <a:pt x="208" y="21"/>
                    </a:lnTo>
                    <a:lnTo>
                      <a:pt x="206" y="21"/>
                    </a:lnTo>
                    <a:lnTo>
                      <a:pt x="206" y="19"/>
                    </a:lnTo>
                    <a:lnTo>
                      <a:pt x="208" y="19"/>
                    </a:lnTo>
                    <a:lnTo>
                      <a:pt x="206" y="19"/>
                    </a:lnTo>
                    <a:lnTo>
                      <a:pt x="206" y="17"/>
                    </a:lnTo>
                    <a:lnTo>
                      <a:pt x="204" y="17"/>
                    </a:lnTo>
                    <a:lnTo>
                      <a:pt x="204" y="16"/>
                    </a:lnTo>
                    <a:lnTo>
                      <a:pt x="203" y="16"/>
                    </a:lnTo>
                    <a:lnTo>
                      <a:pt x="201" y="14"/>
                    </a:lnTo>
                    <a:lnTo>
                      <a:pt x="201" y="12"/>
                    </a:lnTo>
                    <a:lnTo>
                      <a:pt x="199" y="12"/>
                    </a:lnTo>
                    <a:lnTo>
                      <a:pt x="199" y="11"/>
                    </a:lnTo>
                    <a:lnTo>
                      <a:pt x="199" y="9"/>
                    </a:lnTo>
                    <a:lnTo>
                      <a:pt x="197" y="9"/>
                    </a:lnTo>
                    <a:lnTo>
                      <a:pt x="199" y="9"/>
                    </a:lnTo>
                    <a:lnTo>
                      <a:pt x="197" y="7"/>
                    </a:lnTo>
                    <a:lnTo>
                      <a:pt x="196" y="7"/>
                    </a:lnTo>
                    <a:lnTo>
                      <a:pt x="196" y="5"/>
                    </a:lnTo>
                    <a:lnTo>
                      <a:pt x="194" y="5"/>
                    </a:lnTo>
                    <a:lnTo>
                      <a:pt x="194" y="4"/>
                    </a:lnTo>
                    <a:lnTo>
                      <a:pt x="196" y="4"/>
                    </a:lnTo>
                    <a:lnTo>
                      <a:pt x="197" y="4"/>
                    </a:lnTo>
                    <a:lnTo>
                      <a:pt x="199" y="4"/>
                    </a:lnTo>
                    <a:lnTo>
                      <a:pt x="199" y="5"/>
                    </a:lnTo>
                    <a:lnTo>
                      <a:pt x="201" y="5"/>
                    </a:lnTo>
                    <a:lnTo>
                      <a:pt x="203" y="5"/>
                    </a:lnTo>
                    <a:lnTo>
                      <a:pt x="204" y="5"/>
                    </a:lnTo>
                    <a:lnTo>
                      <a:pt x="206" y="4"/>
                    </a:lnTo>
                    <a:lnTo>
                      <a:pt x="208" y="2"/>
                    </a:lnTo>
                    <a:lnTo>
                      <a:pt x="208" y="0"/>
                    </a:lnTo>
                    <a:lnTo>
                      <a:pt x="208" y="2"/>
                    </a:lnTo>
                    <a:lnTo>
                      <a:pt x="209" y="2"/>
                    </a:lnTo>
                    <a:lnTo>
                      <a:pt x="211" y="2"/>
                    </a:lnTo>
                    <a:lnTo>
                      <a:pt x="213" y="4"/>
                    </a:lnTo>
                    <a:lnTo>
                      <a:pt x="214" y="5"/>
                    </a:lnTo>
                    <a:lnTo>
                      <a:pt x="216" y="5"/>
                    </a:lnTo>
                    <a:lnTo>
                      <a:pt x="216" y="7"/>
                    </a:lnTo>
                    <a:lnTo>
                      <a:pt x="218" y="7"/>
                    </a:lnTo>
                    <a:lnTo>
                      <a:pt x="218" y="9"/>
                    </a:lnTo>
                    <a:lnTo>
                      <a:pt x="220" y="7"/>
                    </a:lnTo>
                    <a:lnTo>
                      <a:pt x="221" y="7"/>
                    </a:lnTo>
                    <a:lnTo>
                      <a:pt x="221" y="5"/>
                    </a:lnTo>
                    <a:lnTo>
                      <a:pt x="221" y="7"/>
                    </a:lnTo>
                    <a:lnTo>
                      <a:pt x="223" y="7"/>
                    </a:lnTo>
                    <a:lnTo>
                      <a:pt x="223" y="9"/>
                    </a:lnTo>
                    <a:lnTo>
                      <a:pt x="223" y="11"/>
                    </a:lnTo>
                    <a:lnTo>
                      <a:pt x="223" y="12"/>
                    </a:lnTo>
                    <a:lnTo>
                      <a:pt x="225" y="12"/>
                    </a:lnTo>
                    <a:lnTo>
                      <a:pt x="225" y="11"/>
                    </a:lnTo>
                    <a:lnTo>
                      <a:pt x="225" y="12"/>
                    </a:lnTo>
                    <a:lnTo>
                      <a:pt x="226" y="12"/>
                    </a:lnTo>
                    <a:lnTo>
                      <a:pt x="228" y="12"/>
                    </a:lnTo>
                    <a:lnTo>
                      <a:pt x="230" y="14"/>
                    </a:lnTo>
                    <a:lnTo>
                      <a:pt x="230" y="16"/>
                    </a:lnTo>
                    <a:lnTo>
                      <a:pt x="231" y="16"/>
                    </a:lnTo>
                    <a:lnTo>
                      <a:pt x="233" y="16"/>
                    </a:lnTo>
                    <a:lnTo>
                      <a:pt x="233" y="17"/>
                    </a:lnTo>
                    <a:lnTo>
                      <a:pt x="235" y="17"/>
                    </a:lnTo>
                    <a:lnTo>
                      <a:pt x="233" y="17"/>
                    </a:lnTo>
                    <a:lnTo>
                      <a:pt x="233" y="19"/>
                    </a:lnTo>
                    <a:lnTo>
                      <a:pt x="235" y="19"/>
                    </a:lnTo>
                    <a:lnTo>
                      <a:pt x="235" y="17"/>
                    </a:lnTo>
                    <a:lnTo>
                      <a:pt x="235" y="19"/>
                    </a:lnTo>
                    <a:lnTo>
                      <a:pt x="235" y="21"/>
                    </a:lnTo>
                    <a:lnTo>
                      <a:pt x="237" y="21"/>
                    </a:lnTo>
                    <a:lnTo>
                      <a:pt x="235" y="22"/>
                    </a:lnTo>
                    <a:lnTo>
                      <a:pt x="237" y="22"/>
                    </a:lnTo>
                    <a:lnTo>
                      <a:pt x="237" y="24"/>
                    </a:lnTo>
                    <a:lnTo>
                      <a:pt x="235" y="24"/>
                    </a:lnTo>
                    <a:lnTo>
                      <a:pt x="237" y="24"/>
                    </a:lnTo>
                    <a:lnTo>
                      <a:pt x="237" y="26"/>
                    </a:lnTo>
                    <a:lnTo>
                      <a:pt x="238" y="26"/>
                    </a:lnTo>
                    <a:lnTo>
                      <a:pt x="238" y="28"/>
                    </a:lnTo>
                    <a:lnTo>
                      <a:pt x="240" y="28"/>
                    </a:lnTo>
                    <a:lnTo>
                      <a:pt x="238" y="29"/>
                    </a:lnTo>
                    <a:lnTo>
                      <a:pt x="240" y="29"/>
                    </a:lnTo>
                    <a:lnTo>
                      <a:pt x="238" y="29"/>
                    </a:lnTo>
                    <a:lnTo>
                      <a:pt x="238" y="31"/>
                    </a:lnTo>
                    <a:lnTo>
                      <a:pt x="238" y="29"/>
                    </a:lnTo>
                    <a:lnTo>
                      <a:pt x="238" y="31"/>
                    </a:lnTo>
                    <a:lnTo>
                      <a:pt x="240" y="31"/>
                    </a:lnTo>
                    <a:lnTo>
                      <a:pt x="240" y="33"/>
                    </a:lnTo>
                    <a:lnTo>
                      <a:pt x="238" y="33"/>
                    </a:lnTo>
                    <a:lnTo>
                      <a:pt x="240" y="33"/>
                    </a:lnTo>
                    <a:lnTo>
                      <a:pt x="240" y="34"/>
                    </a:lnTo>
                    <a:lnTo>
                      <a:pt x="242" y="34"/>
                    </a:lnTo>
                    <a:lnTo>
                      <a:pt x="243" y="34"/>
                    </a:lnTo>
                    <a:lnTo>
                      <a:pt x="245" y="34"/>
                    </a:lnTo>
                    <a:lnTo>
                      <a:pt x="245" y="36"/>
                    </a:lnTo>
                    <a:lnTo>
                      <a:pt x="247" y="36"/>
                    </a:lnTo>
                    <a:lnTo>
                      <a:pt x="247" y="34"/>
                    </a:lnTo>
                    <a:lnTo>
                      <a:pt x="248" y="34"/>
                    </a:lnTo>
                    <a:lnTo>
                      <a:pt x="247" y="34"/>
                    </a:lnTo>
                    <a:lnTo>
                      <a:pt x="247" y="36"/>
                    </a:lnTo>
                    <a:lnTo>
                      <a:pt x="248" y="36"/>
                    </a:lnTo>
                    <a:lnTo>
                      <a:pt x="248" y="38"/>
                    </a:lnTo>
                    <a:lnTo>
                      <a:pt x="248" y="36"/>
                    </a:lnTo>
                    <a:lnTo>
                      <a:pt x="250" y="36"/>
                    </a:lnTo>
                    <a:lnTo>
                      <a:pt x="250" y="38"/>
                    </a:lnTo>
                    <a:lnTo>
                      <a:pt x="252" y="38"/>
                    </a:lnTo>
                    <a:lnTo>
                      <a:pt x="252" y="39"/>
                    </a:lnTo>
                    <a:lnTo>
                      <a:pt x="252" y="41"/>
                    </a:lnTo>
                    <a:lnTo>
                      <a:pt x="254" y="41"/>
                    </a:lnTo>
                    <a:lnTo>
                      <a:pt x="255" y="43"/>
                    </a:lnTo>
                    <a:lnTo>
                      <a:pt x="255" y="41"/>
                    </a:lnTo>
                    <a:lnTo>
                      <a:pt x="255" y="43"/>
                    </a:lnTo>
                    <a:lnTo>
                      <a:pt x="257" y="43"/>
                    </a:lnTo>
                    <a:lnTo>
                      <a:pt x="257" y="41"/>
                    </a:lnTo>
                    <a:lnTo>
                      <a:pt x="259" y="43"/>
                    </a:lnTo>
                    <a:lnTo>
                      <a:pt x="259" y="41"/>
                    </a:lnTo>
                    <a:lnTo>
                      <a:pt x="260" y="43"/>
                    </a:lnTo>
                    <a:lnTo>
                      <a:pt x="262" y="45"/>
                    </a:lnTo>
                    <a:lnTo>
                      <a:pt x="262" y="46"/>
                    </a:lnTo>
                    <a:lnTo>
                      <a:pt x="264" y="46"/>
                    </a:lnTo>
                    <a:lnTo>
                      <a:pt x="264" y="48"/>
                    </a:lnTo>
                    <a:lnTo>
                      <a:pt x="262" y="48"/>
                    </a:lnTo>
                    <a:lnTo>
                      <a:pt x="264" y="48"/>
                    </a:lnTo>
                    <a:lnTo>
                      <a:pt x="264" y="50"/>
                    </a:lnTo>
                    <a:lnTo>
                      <a:pt x="265" y="50"/>
                    </a:lnTo>
                    <a:lnTo>
                      <a:pt x="265" y="51"/>
                    </a:lnTo>
                    <a:lnTo>
                      <a:pt x="265" y="53"/>
                    </a:lnTo>
                    <a:lnTo>
                      <a:pt x="267" y="53"/>
                    </a:lnTo>
                    <a:lnTo>
                      <a:pt x="265" y="53"/>
                    </a:lnTo>
                    <a:lnTo>
                      <a:pt x="265" y="55"/>
                    </a:lnTo>
                    <a:lnTo>
                      <a:pt x="265" y="56"/>
                    </a:lnTo>
                    <a:lnTo>
                      <a:pt x="264" y="56"/>
                    </a:lnTo>
                    <a:lnTo>
                      <a:pt x="264" y="58"/>
                    </a:lnTo>
                    <a:lnTo>
                      <a:pt x="265" y="58"/>
                    </a:lnTo>
                    <a:lnTo>
                      <a:pt x="267" y="58"/>
                    </a:lnTo>
                    <a:lnTo>
                      <a:pt x="267" y="60"/>
                    </a:lnTo>
                    <a:lnTo>
                      <a:pt x="269" y="60"/>
                    </a:lnTo>
                    <a:lnTo>
                      <a:pt x="271" y="60"/>
                    </a:lnTo>
                    <a:lnTo>
                      <a:pt x="271" y="62"/>
                    </a:lnTo>
                    <a:lnTo>
                      <a:pt x="272" y="62"/>
                    </a:lnTo>
                    <a:lnTo>
                      <a:pt x="272" y="60"/>
                    </a:lnTo>
                    <a:lnTo>
                      <a:pt x="274" y="60"/>
                    </a:lnTo>
                    <a:lnTo>
                      <a:pt x="274" y="62"/>
                    </a:lnTo>
                    <a:lnTo>
                      <a:pt x="274" y="60"/>
                    </a:lnTo>
                    <a:lnTo>
                      <a:pt x="274" y="58"/>
                    </a:lnTo>
                    <a:lnTo>
                      <a:pt x="276" y="60"/>
                    </a:lnTo>
                    <a:lnTo>
                      <a:pt x="277" y="62"/>
                    </a:lnTo>
                    <a:lnTo>
                      <a:pt x="277" y="63"/>
                    </a:lnTo>
                    <a:lnTo>
                      <a:pt x="279" y="63"/>
                    </a:lnTo>
                    <a:lnTo>
                      <a:pt x="277" y="65"/>
                    </a:lnTo>
                    <a:lnTo>
                      <a:pt x="277" y="67"/>
                    </a:lnTo>
                    <a:lnTo>
                      <a:pt x="277" y="68"/>
                    </a:lnTo>
                    <a:lnTo>
                      <a:pt x="279" y="68"/>
                    </a:lnTo>
                    <a:lnTo>
                      <a:pt x="279" y="70"/>
                    </a:lnTo>
                    <a:lnTo>
                      <a:pt x="279" y="72"/>
                    </a:lnTo>
                    <a:lnTo>
                      <a:pt x="277" y="72"/>
                    </a:lnTo>
                    <a:lnTo>
                      <a:pt x="277" y="73"/>
                    </a:lnTo>
                    <a:lnTo>
                      <a:pt x="276" y="73"/>
                    </a:lnTo>
                    <a:lnTo>
                      <a:pt x="276" y="75"/>
                    </a:lnTo>
                    <a:lnTo>
                      <a:pt x="277" y="77"/>
                    </a:lnTo>
                    <a:lnTo>
                      <a:pt x="277" y="79"/>
                    </a:lnTo>
                    <a:lnTo>
                      <a:pt x="279" y="79"/>
                    </a:lnTo>
                    <a:lnTo>
                      <a:pt x="279" y="80"/>
                    </a:lnTo>
                    <a:lnTo>
                      <a:pt x="281" y="79"/>
                    </a:lnTo>
                    <a:lnTo>
                      <a:pt x="282" y="80"/>
                    </a:lnTo>
                    <a:lnTo>
                      <a:pt x="282" y="79"/>
                    </a:lnTo>
                    <a:lnTo>
                      <a:pt x="282" y="80"/>
                    </a:lnTo>
                    <a:lnTo>
                      <a:pt x="284" y="80"/>
                    </a:lnTo>
                    <a:lnTo>
                      <a:pt x="284" y="82"/>
                    </a:lnTo>
                    <a:lnTo>
                      <a:pt x="286" y="82"/>
                    </a:lnTo>
                    <a:lnTo>
                      <a:pt x="288" y="82"/>
                    </a:lnTo>
                    <a:lnTo>
                      <a:pt x="289" y="82"/>
                    </a:lnTo>
                    <a:lnTo>
                      <a:pt x="289" y="80"/>
                    </a:lnTo>
                    <a:lnTo>
                      <a:pt x="291" y="80"/>
                    </a:lnTo>
                    <a:lnTo>
                      <a:pt x="291" y="82"/>
                    </a:lnTo>
                    <a:lnTo>
                      <a:pt x="291" y="80"/>
                    </a:lnTo>
                    <a:lnTo>
                      <a:pt x="293" y="82"/>
                    </a:lnTo>
                    <a:lnTo>
                      <a:pt x="294" y="82"/>
                    </a:lnTo>
                    <a:lnTo>
                      <a:pt x="294" y="80"/>
                    </a:lnTo>
                    <a:lnTo>
                      <a:pt x="296" y="80"/>
                    </a:lnTo>
                    <a:lnTo>
                      <a:pt x="298" y="80"/>
                    </a:lnTo>
                    <a:lnTo>
                      <a:pt x="298" y="82"/>
                    </a:lnTo>
                    <a:lnTo>
                      <a:pt x="299" y="82"/>
                    </a:lnTo>
                    <a:lnTo>
                      <a:pt x="301" y="82"/>
                    </a:lnTo>
                    <a:lnTo>
                      <a:pt x="303" y="82"/>
                    </a:lnTo>
                    <a:lnTo>
                      <a:pt x="303" y="84"/>
                    </a:lnTo>
                    <a:lnTo>
                      <a:pt x="305" y="84"/>
                    </a:lnTo>
                    <a:lnTo>
                      <a:pt x="306" y="84"/>
                    </a:lnTo>
                    <a:lnTo>
                      <a:pt x="306" y="82"/>
                    </a:lnTo>
                    <a:lnTo>
                      <a:pt x="306" y="84"/>
                    </a:lnTo>
                    <a:lnTo>
                      <a:pt x="306" y="82"/>
                    </a:lnTo>
                    <a:lnTo>
                      <a:pt x="308" y="82"/>
                    </a:lnTo>
                    <a:lnTo>
                      <a:pt x="310" y="82"/>
                    </a:lnTo>
                    <a:lnTo>
                      <a:pt x="310" y="84"/>
                    </a:lnTo>
                    <a:lnTo>
                      <a:pt x="311" y="84"/>
                    </a:lnTo>
                    <a:lnTo>
                      <a:pt x="311" y="82"/>
                    </a:lnTo>
                    <a:lnTo>
                      <a:pt x="311" y="80"/>
                    </a:lnTo>
                    <a:lnTo>
                      <a:pt x="313" y="80"/>
                    </a:lnTo>
                    <a:lnTo>
                      <a:pt x="313" y="79"/>
                    </a:lnTo>
                    <a:lnTo>
                      <a:pt x="315" y="79"/>
                    </a:lnTo>
                    <a:lnTo>
                      <a:pt x="315" y="80"/>
                    </a:lnTo>
                    <a:lnTo>
                      <a:pt x="316" y="80"/>
                    </a:lnTo>
                    <a:lnTo>
                      <a:pt x="318" y="80"/>
                    </a:lnTo>
                    <a:lnTo>
                      <a:pt x="318" y="79"/>
                    </a:lnTo>
                    <a:lnTo>
                      <a:pt x="320" y="79"/>
                    </a:lnTo>
                    <a:lnTo>
                      <a:pt x="320" y="77"/>
                    </a:lnTo>
                    <a:lnTo>
                      <a:pt x="320" y="75"/>
                    </a:lnTo>
                    <a:lnTo>
                      <a:pt x="322" y="75"/>
                    </a:lnTo>
                    <a:lnTo>
                      <a:pt x="322" y="73"/>
                    </a:lnTo>
                    <a:lnTo>
                      <a:pt x="322" y="75"/>
                    </a:lnTo>
                    <a:lnTo>
                      <a:pt x="323" y="73"/>
                    </a:lnTo>
                    <a:lnTo>
                      <a:pt x="325" y="72"/>
                    </a:lnTo>
                    <a:lnTo>
                      <a:pt x="325" y="73"/>
                    </a:lnTo>
                    <a:lnTo>
                      <a:pt x="325" y="75"/>
                    </a:lnTo>
                    <a:lnTo>
                      <a:pt x="327" y="75"/>
                    </a:lnTo>
                    <a:lnTo>
                      <a:pt x="327" y="73"/>
                    </a:lnTo>
                    <a:lnTo>
                      <a:pt x="328" y="73"/>
                    </a:lnTo>
                    <a:lnTo>
                      <a:pt x="328" y="75"/>
                    </a:lnTo>
                    <a:lnTo>
                      <a:pt x="330" y="75"/>
                    </a:lnTo>
                    <a:lnTo>
                      <a:pt x="332" y="75"/>
                    </a:lnTo>
                    <a:lnTo>
                      <a:pt x="332" y="77"/>
                    </a:lnTo>
                    <a:lnTo>
                      <a:pt x="332" y="79"/>
                    </a:lnTo>
                    <a:lnTo>
                      <a:pt x="333" y="79"/>
                    </a:lnTo>
                    <a:lnTo>
                      <a:pt x="333" y="77"/>
                    </a:lnTo>
                    <a:lnTo>
                      <a:pt x="335" y="77"/>
                    </a:lnTo>
                    <a:lnTo>
                      <a:pt x="335" y="79"/>
                    </a:lnTo>
                    <a:lnTo>
                      <a:pt x="337" y="79"/>
                    </a:lnTo>
                    <a:lnTo>
                      <a:pt x="337" y="80"/>
                    </a:lnTo>
                    <a:lnTo>
                      <a:pt x="335" y="80"/>
                    </a:lnTo>
                    <a:lnTo>
                      <a:pt x="337" y="82"/>
                    </a:lnTo>
                    <a:lnTo>
                      <a:pt x="337" y="80"/>
                    </a:lnTo>
                    <a:lnTo>
                      <a:pt x="339" y="80"/>
                    </a:lnTo>
                    <a:lnTo>
                      <a:pt x="339" y="79"/>
                    </a:lnTo>
                    <a:lnTo>
                      <a:pt x="340" y="79"/>
                    </a:lnTo>
                    <a:lnTo>
                      <a:pt x="340" y="80"/>
                    </a:lnTo>
                    <a:lnTo>
                      <a:pt x="340" y="79"/>
                    </a:lnTo>
                    <a:lnTo>
                      <a:pt x="342" y="79"/>
                    </a:lnTo>
                    <a:lnTo>
                      <a:pt x="342" y="80"/>
                    </a:lnTo>
                    <a:lnTo>
                      <a:pt x="344" y="80"/>
                    </a:lnTo>
                    <a:lnTo>
                      <a:pt x="344" y="79"/>
                    </a:lnTo>
                    <a:lnTo>
                      <a:pt x="345" y="79"/>
                    </a:lnTo>
                    <a:lnTo>
                      <a:pt x="345" y="77"/>
                    </a:lnTo>
                    <a:lnTo>
                      <a:pt x="347" y="77"/>
                    </a:lnTo>
                    <a:lnTo>
                      <a:pt x="349" y="77"/>
                    </a:lnTo>
                    <a:lnTo>
                      <a:pt x="350" y="77"/>
                    </a:lnTo>
                    <a:lnTo>
                      <a:pt x="349" y="77"/>
                    </a:lnTo>
                    <a:lnTo>
                      <a:pt x="349" y="75"/>
                    </a:lnTo>
                    <a:lnTo>
                      <a:pt x="350" y="75"/>
                    </a:lnTo>
                    <a:lnTo>
                      <a:pt x="352" y="75"/>
                    </a:lnTo>
                    <a:lnTo>
                      <a:pt x="354" y="75"/>
                    </a:lnTo>
                    <a:lnTo>
                      <a:pt x="354" y="77"/>
                    </a:lnTo>
                    <a:lnTo>
                      <a:pt x="356" y="77"/>
                    </a:lnTo>
                    <a:lnTo>
                      <a:pt x="357" y="77"/>
                    </a:lnTo>
                    <a:lnTo>
                      <a:pt x="357" y="79"/>
                    </a:lnTo>
                    <a:lnTo>
                      <a:pt x="359" y="79"/>
                    </a:lnTo>
                    <a:lnTo>
                      <a:pt x="361" y="79"/>
                    </a:lnTo>
                    <a:lnTo>
                      <a:pt x="361" y="80"/>
                    </a:lnTo>
                    <a:lnTo>
                      <a:pt x="361" y="82"/>
                    </a:lnTo>
                    <a:lnTo>
                      <a:pt x="362" y="80"/>
                    </a:lnTo>
                    <a:lnTo>
                      <a:pt x="362" y="82"/>
                    </a:lnTo>
                    <a:lnTo>
                      <a:pt x="362" y="84"/>
                    </a:lnTo>
                    <a:lnTo>
                      <a:pt x="364" y="84"/>
                    </a:lnTo>
                    <a:lnTo>
                      <a:pt x="364" y="82"/>
                    </a:lnTo>
                    <a:lnTo>
                      <a:pt x="366" y="82"/>
                    </a:lnTo>
                    <a:lnTo>
                      <a:pt x="366" y="84"/>
                    </a:lnTo>
                    <a:lnTo>
                      <a:pt x="367" y="84"/>
                    </a:lnTo>
                    <a:lnTo>
                      <a:pt x="367" y="82"/>
                    </a:lnTo>
                    <a:lnTo>
                      <a:pt x="367" y="84"/>
                    </a:lnTo>
                    <a:lnTo>
                      <a:pt x="367" y="85"/>
                    </a:lnTo>
                    <a:lnTo>
                      <a:pt x="369" y="85"/>
                    </a:lnTo>
                    <a:lnTo>
                      <a:pt x="371" y="84"/>
                    </a:lnTo>
                    <a:lnTo>
                      <a:pt x="373" y="84"/>
                    </a:lnTo>
                    <a:lnTo>
                      <a:pt x="373" y="85"/>
                    </a:lnTo>
                    <a:lnTo>
                      <a:pt x="371" y="85"/>
                    </a:lnTo>
                    <a:lnTo>
                      <a:pt x="371" y="87"/>
                    </a:lnTo>
                    <a:lnTo>
                      <a:pt x="373" y="87"/>
                    </a:lnTo>
                    <a:lnTo>
                      <a:pt x="374" y="85"/>
                    </a:lnTo>
                    <a:lnTo>
                      <a:pt x="376" y="87"/>
                    </a:lnTo>
                    <a:lnTo>
                      <a:pt x="376" y="89"/>
                    </a:lnTo>
                    <a:lnTo>
                      <a:pt x="376" y="90"/>
                    </a:lnTo>
                    <a:lnTo>
                      <a:pt x="376" y="89"/>
                    </a:lnTo>
                    <a:lnTo>
                      <a:pt x="378" y="89"/>
                    </a:lnTo>
                    <a:lnTo>
                      <a:pt x="378" y="90"/>
                    </a:lnTo>
                    <a:lnTo>
                      <a:pt x="379" y="90"/>
                    </a:lnTo>
                    <a:lnTo>
                      <a:pt x="381" y="89"/>
                    </a:lnTo>
                    <a:lnTo>
                      <a:pt x="381" y="90"/>
                    </a:lnTo>
                    <a:lnTo>
                      <a:pt x="381" y="92"/>
                    </a:lnTo>
                    <a:lnTo>
                      <a:pt x="381" y="94"/>
                    </a:lnTo>
                    <a:lnTo>
                      <a:pt x="379" y="97"/>
                    </a:lnTo>
                    <a:lnTo>
                      <a:pt x="378" y="99"/>
                    </a:lnTo>
                    <a:lnTo>
                      <a:pt x="374" y="104"/>
                    </a:lnTo>
                    <a:lnTo>
                      <a:pt x="373" y="106"/>
                    </a:lnTo>
                    <a:lnTo>
                      <a:pt x="373" y="107"/>
                    </a:lnTo>
                    <a:lnTo>
                      <a:pt x="371" y="109"/>
                    </a:lnTo>
                    <a:lnTo>
                      <a:pt x="369" y="113"/>
                    </a:lnTo>
                    <a:lnTo>
                      <a:pt x="367" y="116"/>
                    </a:lnTo>
                    <a:lnTo>
                      <a:pt x="366" y="116"/>
                    </a:lnTo>
                    <a:lnTo>
                      <a:pt x="364" y="119"/>
                    </a:lnTo>
                    <a:lnTo>
                      <a:pt x="362" y="124"/>
                    </a:lnTo>
                    <a:lnTo>
                      <a:pt x="361" y="124"/>
                    </a:lnTo>
                    <a:lnTo>
                      <a:pt x="359" y="128"/>
                    </a:lnTo>
                    <a:lnTo>
                      <a:pt x="361" y="128"/>
                    </a:lnTo>
                    <a:lnTo>
                      <a:pt x="361" y="130"/>
                    </a:lnTo>
                    <a:lnTo>
                      <a:pt x="362" y="130"/>
                    </a:lnTo>
                    <a:lnTo>
                      <a:pt x="364" y="130"/>
                    </a:lnTo>
                    <a:lnTo>
                      <a:pt x="366" y="131"/>
                    </a:lnTo>
                    <a:lnTo>
                      <a:pt x="367" y="131"/>
                    </a:lnTo>
                    <a:lnTo>
                      <a:pt x="367" y="130"/>
                    </a:lnTo>
                    <a:lnTo>
                      <a:pt x="369" y="130"/>
                    </a:lnTo>
                    <a:lnTo>
                      <a:pt x="371" y="130"/>
                    </a:lnTo>
                    <a:lnTo>
                      <a:pt x="371" y="128"/>
                    </a:lnTo>
                    <a:lnTo>
                      <a:pt x="373" y="128"/>
                    </a:lnTo>
                    <a:lnTo>
                      <a:pt x="373" y="130"/>
                    </a:lnTo>
                    <a:lnTo>
                      <a:pt x="374" y="130"/>
                    </a:lnTo>
                    <a:lnTo>
                      <a:pt x="374" y="131"/>
                    </a:lnTo>
                    <a:lnTo>
                      <a:pt x="376" y="131"/>
                    </a:lnTo>
                    <a:lnTo>
                      <a:pt x="376" y="133"/>
                    </a:lnTo>
                    <a:lnTo>
                      <a:pt x="378" y="133"/>
                    </a:lnTo>
                    <a:lnTo>
                      <a:pt x="378" y="135"/>
                    </a:lnTo>
                    <a:lnTo>
                      <a:pt x="378" y="136"/>
                    </a:lnTo>
                    <a:lnTo>
                      <a:pt x="379" y="136"/>
                    </a:lnTo>
                    <a:lnTo>
                      <a:pt x="381" y="138"/>
                    </a:lnTo>
                    <a:lnTo>
                      <a:pt x="381" y="140"/>
                    </a:lnTo>
                    <a:lnTo>
                      <a:pt x="383" y="140"/>
                    </a:lnTo>
                    <a:lnTo>
                      <a:pt x="383" y="141"/>
                    </a:lnTo>
                    <a:lnTo>
                      <a:pt x="384" y="141"/>
                    </a:lnTo>
                    <a:lnTo>
                      <a:pt x="384" y="143"/>
                    </a:lnTo>
                    <a:close/>
                    <a:moveTo>
                      <a:pt x="138" y="410"/>
                    </a:moveTo>
                    <a:lnTo>
                      <a:pt x="141" y="410"/>
                    </a:lnTo>
                    <a:lnTo>
                      <a:pt x="141" y="412"/>
                    </a:lnTo>
                    <a:lnTo>
                      <a:pt x="138" y="412"/>
                    </a:lnTo>
                    <a:lnTo>
                      <a:pt x="138" y="410"/>
                    </a:lnTo>
                    <a:close/>
                    <a:moveTo>
                      <a:pt x="16" y="216"/>
                    </a:moveTo>
                    <a:lnTo>
                      <a:pt x="17" y="216"/>
                    </a:lnTo>
                    <a:lnTo>
                      <a:pt x="17" y="220"/>
                    </a:lnTo>
                    <a:lnTo>
                      <a:pt x="16" y="220"/>
                    </a:lnTo>
                    <a:lnTo>
                      <a:pt x="16" y="216"/>
                    </a:lnTo>
                    <a:close/>
                    <a:moveTo>
                      <a:pt x="174" y="487"/>
                    </a:moveTo>
                    <a:lnTo>
                      <a:pt x="175" y="487"/>
                    </a:lnTo>
                    <a:lnTo>
                      <a:pt x="175" y="489"/>
                    </a:lnTo>
                    <a:lnTo>
                      <a:pt x="174" y="489"/>
                    </a:lnTo>
                    <a:lnTo>
                      <a:pt x="174" y="487"/>
                    </a:lnTo>
                    <a:close/>
                    <a:moveTo>
                      <a:pt x="165" y="472"/>
                    </a:moveTo>
                    <a:lnTo>
                      <a:pt x="167" y="472"/>
                    </a:lnTo>
                    <a:lnTo>
                      <a:pt x="167" y="473"/>
                    </a:lnTo>
                    <a:lnTo>
                      <a:pt x="165" y="473"/>
                    </a:lnTo>
                    <a:lnTo>
                      <a:pt x="165" y="472"/>
                    </a:lnTo>
                    <a:close/>
                    <a:moveTo>
                      <a:pt x="36" y="116"/>
                    </a:moveTo>
                    <a:lnTo>
                      <a:pt x="38" y="116"/>
                    </a:lnTo>
                    <a:lnTo>
                      <a:pt x="36" y="116"/>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23" name="Freeform 47">
                <a:extLst>
                  <a:ext uri="{FF2B5EF4-FFF2-40B4-BE49-F238E27FC236}">
                    <a16:creationId xmlns:a16="http://schemas.microsoft.com/office/drawing/2014/main" id="{7FE23177-6A6E-5C2B-4900-6291BCA39039}"/>
                  </a:ext>
                </a:extLst>
              </p:cNvPr>
              <p:cNvSpPr>
                <a:spLocks noEditPoints="1"/>
              </p:cNvSpPr>
              <p:nvPr/>
            </p:nvSpPr>
            <p:spPr bwMode="auto">
              <a:xfrm>
                <a:off x="6010275" y="1444625"/>
                <a:ext cx="146050" cy="34925"/>
              </a:xfrm>
              <a:custGeom>
                <a:avLst/>
                <a:gdLst>
                  <a:gd name="T0" fmla="*/ 26 w 92"/>
                  <a:gd name="T1" fmla="*/ 19 h 22"/>
                  <a:gd name="T2" fmla="*/ 26 w 92"/>
                  <a:gd name="T3" fmla="*/ 17 h 22"/>
                  <a:gd name="T4" fmla="*/ 26 w 92"/>
                  <a:gd name="T5" fmla="*/ 12 h 22"/>
                  <a:gd name="T6" fmla="*/ 26 w 92"/>
                  <a:gd name="T7" fmla="*/ 9 h 22"/>
                  <a:gd name="T8" fmla="*/ 24 w 92"/>
                  <a:gd name="T9" fmla="*/ 5 h 22"/>
                  <a:gd name="T10" fmla="*/ 24 w 92"/>
                  <a:gd name="T11" fmla="*/ 4 h 22"/>
                  <a:gd name="T12" fmla="*/ 28 w 92"/>
                  <a:gd name="T13" fmla="*/ 2 h 22"/>
                  <a:gd name="T14" fmla="*/ 28 w 92"/>
                  <a:gd name="T15" fmla="*/ 0 h 22"/>
                  <a:gd name="T16" fmla="*/ 33 w 92"/>
                  <a:gd name="T17" fmla="*/ 0 h 22"/>
                  <a:gd name="T18" fmla="*/ 38 w 92"/>
                  <a:gd name="T19" fmla="*/ 0 h 22"/>
                  <a:gd name="T20" fmla="*/ 43 w 92"/>
                  <a:gd name="T21" fmla="*/ 0 h 22"/>
                  <a:gd name="T22" fmla="*/ 48 w 92"/>
                  <a:gd name="T23" fmla="*/ 0 h 22"/>
                  <a:gd name="T24" fmla="*/ 51 w 92"/>
                  <a:gd name="T25" fmla="*/ 0 h 22"/>
                  <a:gd name="T26" fmla="*/ 57 w 92"/>
                  <a:gd name="T27" fmla="*/ 0 h 22"/>
                  <a:gd name="T28" fmla="*/ 60 w 92"/>
                  <a:gd name="T29" fmla="*/ 2 h 22"/>
                  <a:gd name="T30" fmla="*/ 62 w 92"/>
                  <a:gd name="T31" fmla="*/ 2 h 22"/>
                  <a:gd name="T32" fmla="*/ 63 w 92"/>
                  <a:gd name="T33" fmla="*/ 2 h 22"/>
                  <a:gd name="T34" fmla="*/ 68 w 92"/>
                  <a:gd name="T35" fmla="*/ 2 h 22"/>
                  <a:gd name="T36" fmla="*/ 72 w 92"/>
                  <a:gd name="T37" fmla="*/ 4 h 22"/>
                  <a:gd name="T38" fmla="*/ 75 w 92"/>
                  <a:gd name="T39" fmla="*/ 5 h 22"/>
                  <a:gd name="T40" fmla="*/ 79 w 92"/>
                  <a:gd name="T41" fmla="*/ 4 h 22"/>
                  <a:gd name="T42" fmla="*/ 79 w 92"/>
                  <a:gd name="T43" fmla="*/ 5 h 22"/>
                  <a:gd name="T44" fmla="*/ 80 w 92"/>
                  <a:gd name="T45" fmla="*/ 9 h 22"/>
                  <a:gd name="T46" fmla="*/ 80 w 92"/>
                  <a:gd name="T47" fmla="*/ 10 h 22"/>
                  <a:gd name="T48" fmla="*/ 79 w 92"/>
                  <a:gd name="T49" fmla="*/ 10 h 22"/>
                  <a:gd name="T50" fmla="*/ 75 w 92"/>
                  <a:gd name="T51" fmla="*/ 10 h 22"/>
                  <a:gd name="T52" fmla="*/ 74 w 92"/>
                  <a:gd name="T53" fmla="*/ 14 h 22"/>
                  <a:gd name="T54" fmla="*/ 72 w 92"/>
                  <a:gd name="T55" fmla="*/ 17 h 22"/>
                  <a:gd name="T56" fmla="*/ 70 w 92"/>
                  <a:gd name="T57" fmla="*/ 17 h 22"/>
                  <a:gd name="T58" fmla="*/ 67 w 92"/>
                  <a:gd name="T59" fmla="*/ 19 h 22"/>
                  <a:gd name="T60" fmla="*/ 62 w 92"/>
                  <a:gd name="T61" fmla="*/ 19 h 22"/>
                  <a:gd name="T62" fmla="*/ 58 w 92"/>
                  <a:gd name="T63" fmla="*/ 19 h 22"/>
                  <a:gd name="T64" fmla="*/ 60 w 92"/>
                  <a:gd name="T65" fmla="*/ 19 h 22"/>
                  <a:gd name="T66" fmla="*/ 57 w 92"/>
                  <a:gd name="T67" fmla="*/ 19 h 22"/>
                  <a:gd name="T68" fmla="*/ 55 w 92"/>
                  <a:gd name="T69" fmla="*/ 19 h 22"/>
                  <a:gd name="T70" fmla="*/ 53 w 92"/>
                  <a:gd name="T71" fmla="*/ 19 h 22"/>
                  <a:gd name="T72" fmla="*/ 48 w 92"/>
                  <a:gd name="T73" fmla="*/ 19 h 22"/>
                  <a:gd name="T74" fmla="*/ 43 w 92"/>
                  <a:gd name="T75" fmla="*/ 19 h 22"/>
                  <a:gd name="T76" fmla="*/ 41 w 92"/>
                  <a:gd name="T77" fmla="*/ 19 h 22"/>
                  <a:gd name="T78" fmla="*/ 40 w 92"/>
                  <a:gd name="T79" fmla="*/ 19 h 22"/>
                  <a:gd name="T80" fmla="*/ 34 w 92"/>
                  <a:gd name="T81" fmla="*/ 19 h 22"/>
                  <a:gd name="T82" fmla="*/ 33 w 92"/>
                  <a:gd name="T83" fmla="*/ 19 h 22"/>
                  <a:gd name="T84" fmla="*/ 87 w 92"/>
                  <a:gd name="T85" fmla="*/ 12 h 22"/>
                  <a:gd name="T86" fmla="*/ 91 w 92"/>
                  <a:gd name="T87" fmla="*/ 14 h 22"/>
                  <a:gd name="T88" fmla="*/ 85 w 92"/>
                  <a:gd name="T89" fmla="*/ 14 h 22"/>
                  <a:gd name="T90" fmla="*/ 82 w 92"/>
                  <a:gd name="T91" fmla="*/ 15 h 22"/>
                  <a:gd name="T92" fmla="*/ 82 w 92"/>
                  <a:gd name="T93" fmla="*/ 12 h 22"/>
                  <a:gd name="T94" fmla="*/ 85 w 92"/>
                  <a:gd name="T95" fmla="*/ 12 h 22"/>
                  <a:gd name="T96" fmla="*/ 4 w 92"/>
                  <a:gd name="T97" fmla="*/ 14 h 22"/>
                  <a:gd name="T98" fmla="*/ 0 w 92"/>
                  <a:gd name="T99" fmla="*/ 14 h 22"/>
                  <a:gd name="T100" fmla="*/ 92 w 92"/>
                  <a:gd name="T101" fmla="*/ 7 h 22"/>
                  <a:gd name="T102" fmla="*/ 91 w 92"/>
                  <a:gd name="T103" fmla="*/ 7 h 22"/>
                  <a:gd name="T104" fmla="*/ 62 w 92"/>
                  <a:gd name="T105" fmla="*/ 0 h 22"/>
                  <a:gd name="T106" fmla="*/ 62 w 92"/>
                  <a:gd name="T107" fmla="*/ 2 h 22"/>
                  <a:gd name="T108" fmla="*/ 50 w 92"/>
                  <a:gd name="T109" fmla="*/ 21 h 22"/>
                  <a:gd name="T110" fmla="*/ 48 w 92"/>
                  <a:gd name="T111" fmla="*/ 21 h 22"/>
                  <a:gd name="T112" fmla="*/ 91 w 92"/>
                  <a:gd name="T113" fmla="*/ 5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2" h="22">
                    <a:moveTo>
                      <a:pt x="29" y="19"/>
                    </a:moveTo>
                    <a:lnTo>
                      <a:pt x="28" y="19"/>
                    </a:lnTo>
                    <a:lnTo>
                      <a:pt x="26" y="19"/>
                    </a:lnTo>
                    <a:lnTo>
                      <a:pt x="26" y="21"/>
                    </a:lnTo>
                    <a:lnTo>
                      <a:pt x="26" y="19"/>
                    </a:lnTo>
                    <a:lnTo>
                      <a:pt x="26" y="17"/>
                    </a:lnTo>
                    <a:lnTo>
                      <a:pt x="26" y="15"/>
                    </a:lnTo>
                    <a:lnTo>
                      <a:pt x="26" y="14"/>
                    </a:lnTo>
                    <a:lnTo>
                      <a:pt x="26" y="12"/>
                    </a:lnTo>
                    <a:lnTo>
                      <a:pt x="28" y="10"/>
                    </a:lnTo>
                    <a:lnTo>
                      <a:pt x="26" y="10"/>
                    </a:lnTo>
                    <a:lnTo>
                      <a:pt x="26" y="9"/>
                    </a:lnTo>
                    <a:lnTo>
                      <a:pt x="26" y="7"/>
                    </a:lnTo>
                    <a:lnTo>
                      <a:pt x="24" y="7"/>
                    </a:lnTo>
                    <a:lnTo>
                      <a:pt x="24" y="5"/>
                    </a:lnTo>
                    <a:lnTo>
                      <a:pt x="23" y="5"/>
                    </a:lnTo>
                    <a:lnTo>
                      <a:pt x="24" y="5"/>
                    </a:lnTo>
                    <a:lnTo>
                      <a:pt x="24" y="4"/>
                    </a:lnTo>
                    <a:lnTo>
                      <a:pt x="26" y="4"/>
                    </a:lnTo>
                    <a:lnTo>
                      <a:pt x="28" y="4"/>
                    </a:lnTo>
                    <a:lnTo>
                      <a:pt x="28" y="2"/>
                    </a:lnTo>
                    <a:lnTo>
                      <a:pt x="26" y="2"/>
                    </a:lnTo>
                    <a:lnTo>
                      <a:pt x="26" y="0"/>
                    </a:lnTo>
                    <a:lnTo>
                      <a:pt x="28" y="0"/>
                    </a:lnTo>
                    <a:lnTo>
                      <a:pt x="29" y="0"/>
                    </a:lnTo>
                    <a:lnTo>
                      <a:pt x="31" y="0"/>
                    </a:lnTo>
                    <a:lnTo>
                      <a:pt x="33" y="0"/>
                    </a:lnTo>
                    <a:lnTo>
                      <a:pt x="34" y="0"/>
                    </a:lnTo>
                    <a:lnTo>
                      <a:pt x="36" y="0"/>
                    </a:lnTo>
                    <a:lnTo>
                      <a:pt x="38" y="0"/>
                    </a:lnTo>
                    <a:lnTo>
                      <a:pt x="40" y="0"/>
                    </a:lnTo>
                    <a:lnTo>
                      <a:pt x="41" y="0"/>
                    </a:lnTo>
                    <a:lnTo>
                      <a:pt x="43" y="0"/>
                    </a:lnTo>
                    <a:lnTo>
                      <a:pt x="45" y="0"/>
                    </a:lnTo>
                    <a:lnTo>
                      <a:pt x="46" y="0"/>
                    </a:lnTo>
                    <a:lnTo>
                      <a:pt x="48" y="0"/>
                    </a:lnTo>
                    <a:lnTo>
                      <a:pt x="50" y="0"/>
                    </a:lnTo>
                    <a:lnTo>
                      <a:pt x="51" y="2"/>
                    </a:lnTo>
                    <a:lnTo>
                      <a:pt x="51" y="0"/>
                    </a:lnTo>
                    <a:lnTo>
                      <a:pt x="53" y="0"/>
                    </a:lnTo>
                    <a:lnTo>
                      <a:pt x="55" y="0"/>
                    </a:lnTo>
                    <a:lnTo>
                      <a:pt x="57" y="0"/>
                    </a:lnTo>
                    <a:lnTo>
                      <a:pt x="58" y="0"/>
                    </a:lnTo>
                    <a:lnTo>
                      <a:pt x="58" y="2"/>
                    </a:lnTo>
                    <a:lnTo>
                      <a:pt x="60" y="2"/>
                    </a:lnTo>
                    <a:lnTo>
                      <a:pt x="60" y="0"/>
                    </a:lnTo>
                    <a:lnTo>
                      <a:pt x="60" y="2"/>
                    </a:lnTo>
                    <a:lnTo>
                      <a:pt x="62" y="2"/>
                    </a:lnTo>
                    <a:lnTo>
                      <a:pt x="62" y="0"/>
                    </a:lnTo>
                    <a:lnTo>
                      <a:pt x="62" y="2"/>
                    </a:lnTo>
                    <a:lnTo>
                      <a:pt x="63" y="2"/>
                    </a:lnTo>
                    <a:lnTo>
                      <a:pt x="65" y="2"/>
                    </a:lnTo>
                    <a:lnTo>
                      <a:pt x="67" y="2"/>
                    </a:lnTo>
                    <a:lnTo>
                      <a:pt x="68" y="2"/>
                    </a:lnTo>
                    <a:lnTo>
                      <a:pt x="70" y="2"/>
                    </a:lnTo>
                    <a:lnTo>
                      <a:pt x="72" y="2"/>
                    </a:lnTo>
                    <a:lnTo>
                      <a:pt x="72" y="4"/>
                    </a:lnTo>
                    <a:lnTo>
                      <a:pt x="74" y="4"/>
                    </a:lnTo>
                    <a:lnTo>
                      <a:pt x="75" y="4"/>
                    </a:lnTo>
                    <a:lnTo>
                      <a:pt x="75" y="5"/>
                    </a:lnTo>
                    <a:lnTo>
                      <a:pt x="77" y="5"/>
                    </a:lnTo>
                    <a:lnTo>
                      <a:pt x="79" y="5"/>
                    </a:lnTo>
                    <a:lnTo>
                      <a:pt x="79" y="4"/>
                    </a:lnTo>
                    <a:lnTo>
                      <a:pt x="79" y="5"/>
                    </a:lnTo>
                    <a:lnTo>
                      <a:pt x="79" y="4"/>
                    </a:lnTo>
                    <a:lnTo>
                      <a:pt x="79" y="5"/>
                    </a:lnTo>
                    <a:lnTo>
                      <a:pt x="79" y="7"/>
                    </a:lnTo>
                    <a:lnTo>
                      <a:pt x="79" y="9"/>
                    </a:lnTo>
                    <a:lnTo>
                      <a:pt x="80" y="9"/>
                    </a:lnTo>
                    <a:lnTo>
                      <a:pt x="80" y="10"/>
                    </a:lnTo>
                    <a:lnTo>
                      <a:pt x="79" y="10"/>
                    </a:lnTo>
                    <a:lnTo>
                      <a:pt x="80" y="10"/>
                    </a:lnTo>
                    <a:lnTo>
                      <a:pt x="79" y="10"/>
                    </a:lnTo>
                    <a:lnTo>
                      <a:pt x="79" y="9"/>
                    </a:lnTo>
                    <a:lnTo>
                      <a:pt x="79" y="10"/>
                    </a:lnTo>
                    <a:lnTo>
                      <a:pt x="77" y="10"/>
                    </a:lnTo>
                    <a:lnTo>
                      <a:pt x="77" y="12"/>
                    </a:lnTo>
                    <a:lnTo>
                      <a:pt x="75" y="10"/>
                    </a:lnTo>
                    <a:lnTo>
                      <a:pt x="75" y="12"/>
                    </a:lnTo>
                    <a:lnTo>
                      <a:pt x="74" y="12"/>
                    </a:lnTo>
                    <a:lnTo>
                      <a:pt x="74" y="14"/>
                    </a:lnTo>
                    <a:lnTo>
                      <a:pt x="74" y="15"/>
                    </a:lnTo>
                    <a:lnTo>
                      <a:pt x="72" y="15"/>
                    </a:lnTo>
                    <a:lnTo>
                      <a:pt x="72" y="17"/>
                    </a:lnTo>
                    <a:lnTo>
                      <a:pt x="70" y="17"/>
                    </a:lnTo>
                    <a:lnTo>
                      <a:pt x="70" y="19"/>
                    </a:lnTo>
                    <a:lnTo>
                      <a:pt x="70" y="17"/>
                    </a:lnTo>
                    <a:lnTo>
                      <a:pt x="70" y="19"/>
                    </a:lnTo>
                    <a:lnTo>
                      <a:pt x="68" y="19"/>
                    </a:lnTo>
                    <a:lnTo>
                      <a:pt x="67" y="19"/>
                    </a:lnTo>
                    <a:lnTo>
                      <a:pt x="65" y="19"/>
                    </a:lnTo>
                    <a:lnTo>
                      <a:pt x="63" y="19"/>
                    </a:lnTo>
                    <a:lnTo>
                      <a:pt x="62" y="19"/>
                    </a:lnTo>
                    <a:lnTo>
                      <a:pt x="62" y="21"/>
                    </a:lnTo>
                    <a:lnTo>
                      <a:pt x="60" y="21"/>
                    </a:lnTo>
                    <a:lnTo>
                      <a:pt x="58" y="19"/>
                    </a:lnTo>
                    <a:lnTo>
                      <a:pt x="60" y="19"/>
                    </a:lnTo>
                    <a:lnTo>
                      <a:pt x="60" y="21"/>
                    </a:lnTo>
                    <a:lnTo>
                      <a:pt x="60" y="19"/>
                    </a:lnTo>
                    <a:lnTo>
                      <a:pt x="58" y="19"/>
                    </a:lnTo>
                    <a:lnTo>
                      <a:pt x="58" y="21"/>
                    </a:lnTo>
                    <a:lnTo>
                      <a:pt x="57" y="19"/>
                    </a:lnTo>
                    <a:lnTo>
                      <a:pt x="57" y="21"/>
                    </a:lnTo>
                    <a:lnTo>
                      <a:pt x="57" y="19"/>
                    </a:lnTo>
                    <a:lnTo>
                      <a:pt x="55" y="19"/>
                    </a:lnTo>
                    <a:lnTo>
                      <a:pt x="53" y="19"/>
                    </a:lnTo>
                    <a:lnTo>
                      <a:pt x="53" y="21"/>
                    </a:lnTo>
                    <a:lnTo>
                      <a:pt x="53" y="19"/>
                    </a:lnTo>
                    <a:lnTo>
                      <a:pt x="51" y="19"/>
                    </a:lnTo>
                    <a:lnTo>
                      <a:pt x="50" y="19"/>
                    </a:lnTo>
                    <a:lnTo>
                      <a:pt x="48" y="19"/>
                    </a:lnTo>
                    <a:lnTo>
                      <a:pt x="46" y="19"/>
                    </a:lnTo>
                    <a:lnTo>
                      <a:pt x="45" y="19"/>
                    </a:lnTo>
                    <a:lnTo>
                      <a:pt x="43" y="19"/>
                    </a:lnTo>
                    <a:lnTo>
                      <a:pt x="41" y="19"/>
                    </a:lnTo>
                    <a:lnTo>
                      <a:pt x="41" y="17"/>
                    </a:lnTo>
                    <a:lnTo>
                      <a:pt x="41" y="19"/>
                    </a:lnTo>
                    <a:lnTo>
                      <a:pt x="41" y="17"/>
                    </a:lnTo>
                    <a:lnTo>
                      <a:pt x="40" y="17"/>
                    </a:lnTo>
                    <a:lnTo>
                      <a:pt x="40" y="19"/>
                    </a:lnTo>
                    <a:lnTo>
                      <a:pt x="38" y="19"/>
                    </a:lnTo>
                    <a:lnTo>
                      <a:pt x="36" y="19"/>
                    </a:lnTo>
                    <a:lnTo>
                      <a:pt x="34" y="19"/>
                    </a:lnTo>
                    <a:lnTo>
                      <a:pt x="36" y="19"/>
                    </a:lnTo>
                    <a:lnTo>
                      <a:pt x="34" y="21"/>
                    </a:lnTo>
                    <a:lnTo>
                      <a:pt x="33" y="19"/>
                    </a:lnTo>
                    <a:lnTo>
                      <a:pt x="31" y="19"/>
                    </a:lnTo>
                    <a:lnTo>
                      <a:pt x="29" y="19"/>
                    </a:lnTo>
                    <a:close/>
                    <a:moveTo>
                      <a:pt x="87" y="12"/>
                    </a:moveTo>
                    <a:lnTo>
                      <a:pt x="89" y="12"/>
                    </a:lnTo>
                    <a:lnTo>
                      <a:pt x="91" y="12"/>
                    </a:lnTo>
                    <a:lnTo>
                      <a:pt x="91" y="14"/>
                    </a:lnTo>
                    <a:lnTo>
                      <a:pt x="89" y="14"/>
                    </a:lnTo>
                    <a:lnTo>
                      <a:pt x="87" y="14"/>
                    </a:lnTo>
                    <a:lnTo>
                      <a:pt x="85" y="14"/>
                    </a:lnTo>
                    <a:lnTo>
                      <a:pt x="85" y="15"/>
                    </a:lnTo>
                    <a:lnTo>
                      <a:pt x="84" y="14"/>
                    </a:lnTo>
                    <a:lnTo>
                      <a:pt x="82" y="15"/>
                    </a:lnTo>
                    <a:lnTo>
                      <a:pt x="80" y="14"/>
                    </a:lnTo>
                    <a:lnTo>
                      <a:pt x="82" y="14"/>
                    </a:lnTo>
                    <a:lnTo>
                      <a:pt x="82" y="12"/>
                    </a:lnTo>
                    <a:lnTo>
                      <a:pt x="82" y="14"/>
                    </a:lnTo>
                    <a:lnTo>
                      <a:pt x="84" y="12"/>
                    </a:lnTo>
                    <a:lnTo>
                      <a:pt x="85" y="12"/>
                    </a:lnTo>
                    <a:lnTo>
                      <a:pt x="87" y="12"/>
                    </a:lnTo>
                    <a:close/>
                    <a:moveTo>
                      <a:pt x="0" y="14"/>
                    </a:moveTo>
                    <a:lnTo>
                      <a:pt x="4" y="14"/>
                    </a:lnTo>
                    <a:lnTo>
                      <a:pt x="4" y="15"/>
                    </a:lnTo>
                    <a:lnTo>
                      <a:pt x="0" y="15"/>
                    </a:lnTo>
                    <a:lnTo>
                      <a:pt x="0" y="14"/>
                    </a:lnTo>
                    <a:close/>
                    <a:moveTo>
                      <a:pt x="89" y="5"/>
                    </a:moveTo>
                    <a:lnTo>
                      <a:pt x="91" y="5"/>
                    </a:lnTo>
                    <a:lnTo>
                      <a:pt x="92" y="7"/>
                    </a:lnTo>
                    <a:lnTo>
                      <a:pt x="91" y="7"/>
                    </a:lnTo>
                    <a:lnTo>
                      <a:pt x="91" y="9"/>
                    </a:lnTo>
                    <a:lnTo>
                      <a:pt x="91" y="7"/>
                    </a:lnTo>
                    <a:lnTo>
                      <a:pt x="89" y="7"/>
                    </a:lnTo>
                    <a:lnTo>
                      <a:pt x="89" y="5"/>
                    </a:lnTo>
                    <a:close/>
                    <a:moveTo>
                      <a:pt x="62" y="0"/>
                    </a:moveTo>
                    <a:lnTo>
                      <a:pt x="63" y="0"/>
                    </a:lnTo>
                    <a:lnTo>
                      <a:pt x="63" y="2"/>
                    </a:lnTo>
                    <a:lnTo>
                      <a:pt x="62" y="2"/>
                    </a:lnTo>
                    <a:lnTo>
                      <a:pt x="62" y="0"/>
                    </a:lnTo>
                    <a:close/>
                    <a:moveTo>
                      <a:pt x="48" y="21"/>
                    </a:moveTo>
                    <a:lnTo>
                      <a:pt x="50" y="21"/>
                    </a:lnTo>
                    <a:lnTo>
                      <a:pt x="50" y="22"/>
                    </a:lnTo>
                    <a:lnTo>
                      <a:pt x="48" y="22"/>
                    </a:lnTo>
                    <a:lnTo>
                      <a:pt x="48" y="21"/>
                    </a:lnTo>
                    <a:close/>
                    <a:moveTo>
                      <a:pt x="91" y="5"/>
                    </a:moveTo>
                    <a:lnTo>
                      <a:pt x="92" y="5"/>
                    </a:lnTo>
                    <a:lnTo>
                      <a:pt x="91" y="5"/>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24" name="Freeform 49">
                <a:extLst>
                  <a:ext uri="{FF2B5EF4-FFF2-40B4-BE49-F238E27FC236}">
                    <a16:creationId xmlns:a16="http://schemas.microsoft.com/office/drawing/2014/main" id="{CC4CBB24-C8B7-8C71-AE68-566FE6D55D16}"/>
                  </a:ext>
                </a:extLst>
              </p:cNvPr>
              <p:cNvSpPr>
                <a:spLocks noEditPoints="1"/>
              </p:cNvSpPr>
              <p:nvPr/>
            </p:nvSpPr>
            <p:spPr bwMode="auto">
              <a:xfrm>
                <a:off x="6283325" y="1504950"/>
                <a:ext cx="15875" cy="17463"/>
              </a:xfrm>
              <a:custGeom>
                <a:avLst/>
                <a:gdLst>
                  <a:gd name="T0" fmla="*/ 2 w 10"/>
                  <a:gd name="T1" fmla="*/ 1 h 11"/>
                  <a:gd name="T2" fmla="*/ 4 w 10"/>
                  <a:gd name="T3" fmla="*/ 1 h 11"/>
                  <a:gd name="T4" fmla="*/ 5 w 10"/>
                  <a:gd name="T5" fmla="*/ 3 h 11"/>
                  <a:gd name="T6" fmla="*/ 5 w 10"/>
                  <a:gd name="T7" fmla="*/ 5 h 11"/>
                  <a:gd name="T8" fmla="*/ 7 w 10"/>
                  <a:gd name="T9" fmla="*/ 5 h 11"/>
                  <a:gd name="T10" fmla="*/ 7 w 10"/>
                  <a:gd name="T11" fmla="*/ 6 h 11"/>
                  <a:gd name="T12" fmla="*/ 9 w 10"/>
                  <a:gd name="T13" fmla="*/ 6 h 11"/>
                  <a:gd name="T14" fmla="*/ 7 w 10"/>
                  <a:gd name="T15" fmla="*/ 6 h 11"/>
                  <a:gd name="T16" fmla="*/ 7 w 10"/>
                  <a:gd name="T17" fmla="*/ 8 h 11"/>
                  <a:gd name="T18" fmla="*/ 7 w 10"/>
                  <a:gd name="T19" fmla="*/ 6 h 11"/>
                  <a:gd name="T20" fmla="*/ 5 w 10"/>
                  <a:gd name="T21" fmla="*/ 5 h 11"/>
                  <a:gd name="T22" fmla="*/ 4 w 10"/>
                  <a:gd name="T23" fmla="*/ 5 h 11"/>
                  <a:gd name="T24" fmla="*/ 2 w 10"/>
                  <a:gd name="T25" fmla="*/ 5 h 11"/>
                  <a:gd name="T26" fmla="*/ 2 w 10"/>
                  <a:gd name="T27" fmla="*/ 3 h 11"/>
                  <a:gd name="T28" fmla="*/ 0 w 10"/>
                  <a:gd name="T29" fmla="*/ 3 h 11"/>
                  <a:gd name="T30" fmla="*/ 0 w 10"/>
                  <a:gd name="T31" fmla="*/ 1 h 11"/>
                  <a:gd name="T32" fmla="*/ 2 w 10"/>
                  <a:gd name="T33" fmla="*/ 1 h 11"/>
                  <a:gd name="T34" fmla="*/ 2 w 10"/>
                  <a:gd name="T35" fmla="*/ 0 h 11"/>
                  <a:gd name="T36" fmla="*/ 2 w 10"/>
                  <a:gd name="T37" fmla="*/ 1 h 11"/>
                  <a:gd name="T38" fmla="*/ 10 w 10"/>
                  <a:gd name="T39" fmla="*/ 8 h 11"/>
                  <a:gd name="T40" fmla="*/ 10 w 10"/>
                  <a:gd name="T41" fmla="*/ 10 h 11"/>
                  <a:gd name="T42" fmla="*/ 10 w 10"/>
                  <a:gd name="T43" fmla="*/ 11 h 11"/>
                  <a:gd name="T44" fmla="*/ 9 w 10"/>
                  <a:gd name="T45" fmla="*/ 11 h 11"/>
                  <a:gd name="T46" fmla="*/ 9 w 10"/>
                  <a:gd name="T47" fmla="*/ 10 h 11"/>
                  <a:gd name="T48" fmla="*/ 9 w 10"/>
                  <a:gd name="T49" fmla="*/ 8 h 11"/>
                  <a:gd name="T50" fmla="*/ 10 w 10"/>
                  <a:gd name="T51" fmla="*/ 8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 h="11">
                    <a:moveTo>
                      <a:pt x="2" y="1"/>
                    </a:moveTo>
                    <a:lnTo>
                      <a:pt x="4" y="1"/>
                    </a:lnTo>
                    <a:lnTo>
                      <a:pt x="5" y="3"/>
                    </a:lnTo>
                    <a:lnTo>
                      <a:pt x="5" y="5"/>
                    </a:lnTo>
                    <a:lnTo>
                      <a:pt x="7" y="5"/>
                    </a:lnTo>
                    <a:lnTo>
                      <a:pt x="7" y="6"/>
                    </a:lnTo>
                    <a:lnTo>
                      <a:pt x="9" y="6"/>
                    </a:lnTo>
                    <a:lnTo>
                      <a:pt x="7" y="6"/>
                    </a:lnTo>
                    <a:lnTo>
                      <a:pt x="7" y="8"/>
                    </a:lnTo>
                    <a:lnTo>
                      <a:pt x="7" y="6"/>
                    </a:lnTo>
                    <a:lnTo>
                      <a:pt x="5" y="5"/>
                    </a:lnTo>
                    <a:lnTo>
                      <a:pt x="4" y="5"/>
                    </a:lnTo>
                    <a:lnTo>
                      <a:pt x="2" y="5"/>
                    </a:lnTo>
                    <a:lnTo>
                      <a:pt x="2" y="3"/>
                    </a:lnTo>
                    <a:lnTo>
                      <a:pt x="0" y="3"/>
                    </a:lnTo>
                    <a:lnTo>
                      <a:pt x="0" y="1"/>
                    </a:lnTo>
                    <a:lnTo>
                      <a:pt x="2" y="1"/>
                    </a:lnTo>
                    <a:lnTo>
                      <a:pt x="2" y="0"/>
                    </a:lnTo>
                    <a:lnTo>
                      <a:pt x="2" y="1"/>
                    </a:lnTo>
                    <a:close/>
                    <a:moveTo>
                      <a:pt x="10" y="8"/>
                    </a:moveTo>
                    <a:lnTo>
                      <a:pt x="10" y="10"/>
                    </a:lnTo>
                    <a:lnTo>
                      <a:pt x="10" y="11"/>
                    </a:lnTo>
                    <a:lnTo>
                      <a:pt x="9" y="11"/>
                    </a:lnTo>
                    <a:lnTo>
                      <a:pt x="9" y="10"/>
                    </a:lnTo>
                    <a:lnTo>
                      <a:pt x="9" y="8"/>
                    </a:lnTo>
                    <a:lnTo>
                      <a:pt x="10" y="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26" name="Freeform 50">
                <a:extLst>
                  <a:ext uri="{FF2B5EF4-FFF2-40B4-BE49-F238E27FC236}">
                    <a16:creationId xmlns:a16="http://schemas.microsoft.com/office/drawing/2014/main" id="{95CEA61F-DCA6-EC56-8A79-14D7C29A02A3}"/>
                  </a:ext>
                </a:extLst>
              </p:cNvPr>
              <p:cNvSpPr>
                <a:spLocks/>
              </p:cNvSpPr>
              <p:nvPr/>
            </p:nvSpPr>
            <p:spPr bwMode="auto">
              <a:xfrm>
                <a:off x="6378575" y="1690688"/>
                <a:ext cx="9525" cy="22225"/>
              </a:xfrm>
              <a:custGeom>
                <a:avLst/>
                <a:gdLst>
                  <a:gd name="T0" fmla="*/ 6 w 6"/>
                  <a:gd name="T1" fmla="*/ 0 h 14"/>
                  <a:gd name="T2" fmla="*/ 5 w 6"/>
                  <a:gd name="T3" fmla="*/ 0 h 14"/>
                  <a:gd name="T4" fmla="*/ 6 w 6"/>
                  <a:gd name="T5" fmla="*/ 0 h 14"/>
                  <a:gd name="T6" fmla="*/ 6 w 6"/>
                  <a:gd name="T7" fmla="*/ 2 h 14"/>
                  <a:gd name="T8" fmla="*/ 6 w 6"/>
                  <a:gd name="T9" fmla="*/ 3 h 14"/>
                  <a:gd name="T10" fmla="*/ 6 w 6"/>
                  <a:gd name="T11" fmla="*/ 5 h 14"/>
                  <a:gd name="T12" fmla="*/ 6 w 6"/>
                  <a:gd name="T13" fmla="*/ 7 h 14"/>
                  <a:gd name="T14" fmla="*/ 6 w 6"/>
                  <a:gd name="T15" fmla="*/ 8 h 14"/>
                  <a:gd name="T16" fmla="*/ 6 w 6"/>
                  <a:gd name="T17" fmla="*/ 10 h 14"/>
                  <a:gd name="T18" fmla="*/ 6 w 6"/>
                  <a:gd name="T19" fmla="*/ 12 h 14"/>
                  <a:gd name="T20" fmla="*/ 5 w 6"/>
                  <a:gd name="T21" fmla="*/ 12 h 14"/>
                  <a:gd name="T22" fmla="*/ 5 w 6"/>
                  <a:gd name="T23" fmla="*/ 14 h 14"/>
                  <a:gd name="T24" fmla="*/ 3 w 6"/>
                  <a:gd name="T25" fmla="*/ 12 h 14"/>
                  <a:gd name="T26" fmla="*/ 1 w 6"/>
                  <a:gd name="T27" fmla="*/ 12 h 14"/>
                  <a:gd name="T28" fmla="*/ 1 w 6"/>
                  <a:gd name="T29" fmla="*/ 10 h 14"/>
                  <a:gd name="T30" fmla="*/ 0 w 6"/>
                  <a:gd name="T31" fmla="*/ 10 h 14"/>
                  <a:gd name="T32" fmla="*/ 1 w 6"/>
                  <a:gd name="T33" fmla="*/ 10 h 14"/>
                  <a:gd name="T34" fmla="*/ 1 w 6"/>
                  <a:gd name="T35" fmla="*/ 8 h 14"/>
                  <a:gd name="T36" fmla="*/ 0 w 6"/>
                  <a:gd name="T37" fmla="*/ 8 h 14"/>
                  <a:gd name="T38" fmla="*/ 0 w 6"/>
                  <a:gd name="T39" fmla="*/ 7 h 14"/>
                  <a:gd name="T40" fmla="*/ 1 w 6"/>
                  <a:gd name="T41" fmla="*/ 7 h 14"/>
                  <a:gd name="T42" fmla="*/ 1 w 6"/>
                  <a:gd name="T43" fmla="*/ 5 h 14"/>
                  <a:gd name="T44" fmla="*/ 3 w 6"/>
                  <a:gd name="T45" fmla="*/ 5 h 14"/>
                  <a:gd name="T46" fmla="*/ 1 w 6"/>
                  <a:gd name="T47" fmla="*/ 3 h 14"/>
                  <a:gd name="T48" fmla="*/ 3 w 6"/>
                  <a:gd name="T49" fmla="*/ 3 h 14"/>
                  <a:gd name="T50" fmla="*/ 3 w 6"/>
                  <a:gd name="T51" fmla="*/ 2 h 14"/>
                  <a:gd name="T52" fmla="*/ 3 w 6"/>
                  <a:gd name="T53" fmla="*/ 3 h 14"/>
                  <a:gd name="T54" fmla="*/ 5 w 6"/>
                  <a:gd name="T55" fmla="*/ 2 h 14"/>
                  <a:gd name="T56" fmla="*/ 3 w 6"/>
                  <a:gd name="T57" fmla="*/ 2 h 14"/>
                  <a:gd name="T58" fmla="*/ 5 w 6"/>
                  <a:gd name="T59" fmla="*/ 0 h 14"/>
                  <a:gd name="T60" fmla="*/ 5 w 6"/>
                  <a:gd name="T61" fmla="*/ 2 h 14"/>
                  <a:gd name="T62" fmla="*/ 5 w 6"/>
                  <a:gd name="T63" fmla="*/ 0 h 14"/>
                  <a:gd name="T64" fmla="*/ 6 w 6"/>
                  <a:gd name="T6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14">
                    <a:moveTo>
                      <a:pt x="6" y="0"/>
                    </a:moveTo>
                    <a:lnTo>
                      <a:pt x="5" y="0"/>
                    </a:lnTo>
                    <a:lnTo>
                      <a:pt x="6" y="0"/>
                    </a:lnTo>
                    <a:lnTo>
                      <a:pt x="6" y="2"/>
                    </a:lnTo>
                    <a:lnTo>
                      <a:pt x="6" y="3"/>
                    </a:lnTo>
                    <a:lnTo>
                      <a:pt x="6" y="5"/>
                    </a:lnTo>
                    <a:lnTo>
                      <a:pt x="6" y="7"/>
                    </a:lnTo>
                    <a:lnTo>
                      <a:pt x="6" y="8"/>
                    </a:lnTo>
                    <a:lnTo>
                      <a:pt x="6" y="10"/>
                    </a:lnTo>
                    <a:lnTo>
                      <a:pt x="6" y="12"/>
                    </a:lnTo>
                    <a:lnTo>
                      <a:pt x="5" y="12"/>
                    </a:lnTo>
                    <a:lnTo>
                      <a:pt x="5" y="14"/>
                    </a:lnTo>
                    <a:lnTo>
                      <a:pt x="3" y="12"/>
                    </a:lnTo>
                    <a:lnTo>
                      <a:pt x="1" y="12"/>
                    </a:lnTo>
                    <a:lnTo>
                      <a:pt x="1" y="10"/>
                    </a:lnTo>
                    <a:lnTo>
                      <a:pt x="0" y="10"/>
                    </a:lnTo>
                    <a:lnTo>
                      <a:pt x="1" y="10"/>
                    </a:lnTo>
                    <a:lnTo>
                      <a:pt x="1" y="8"/>
                    </a:lnTo>
                    <a:lnTo>
                      <a:pt x="0" y="8"/>
                    </a:lnTo>
                    <a:lnTo>
                      <a:pt x="0" y="7"/>
                    </a:lnTo>
                    <a:lnTo>
                      <a:pt x="1" y="7"/>
                    </a:lnTo>
                    <a:lnTo>
                      <a:pt x="1" y="5"/>
                    </a:lnTo>
                    <a:lnTo>
                      <a:pt x="3" y="5"/>
                    </a:lnTo>
                    <a:lnTo>
                      <a:pt x="1" y="3"/>
                    </a:lnTo>
                    <a:lnTo>
                      <a:pt x="3" y="3"/>
                    </a:lnTo>
                    <a:lnTo>
                      <a:pt x="3" y="2"/>
                    </a:lnTo>
                    <a:lnTo>
                      <a:pt x="3" y="3"/>
                    </a:lnTo>
                    <a:lnTo>
                      <a:pt x="5" y="2"/>
                    </a:lnTo>
                    <a:lnTo>
                      <a:pt x="3" y="2"/>
                    </a:lnTo>
                    <a:lnTo>
                      <a:pt x="5" y="0"/>
                    </a:lnTo>
                    <a:lnTo>
                      <a:pt x="5" y="2"/>
                    </a:lnTo>
                    <a:lnTo>
                      <a:pt x="5" y="0"/>
                    </a:lnTo>
                    <a:lnTo>
                      <a:pt x="6"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27" name="Freeform 51">
                <a:extLst>
                  <a:ext uri="{FF2B5EF4-FFF2-40B4-BE49-F238E27FC236}">
                    <a16:creationId xmlns:a16="http://schemas.microsoft.com/office/drawing/2014/main" id="{F792E0D9-03F4-09E0-32DB-61D6C22941CF}"/>
                  </a:ext>
                </a:extLst>
              </p:cNvPr>
              <p:cNvSpPr>
                <a:spLocks noEditPoints="1"/>
              </p:cNvSpPr>
              <p:nvPr/>
            </p:nvSpPr>
            <p:spPr bwMode="auto">
              <a:xfrm>
                <a:off x="6267450" y="1466850"/>
                <a:ext cx="11112" cy="1588"/>
              </a:xfrm>
              <a:custGeom>
                <a:avLst/>
                <a:gdLst>
                  <a:gd name="T0" fmla="*/ 2 w 7"/>
                  <a:gd name="T1" fmla="*/ 0 h 1"/>
                  <a:gd name="T2" fmla="*/ 5 w 7"/>
                  <a:gd name="T3" fmla="*/ 0 h 1"/>
                  <a:gd name="T4" fmla="*/ 5 w 7"/>
                  <a:gd name="T5" fmla="*/ 1 h 1"/>
                  <a:gd name="T6" fmla="*/ 2 w 7"/>
                  <a:gd name="T7" fmla="*/ 1 h 1"/>
                  <a:gd name="T8" fmla="*/ 2 w 7"/>
                  <a:gd name="T9" fmla="*/ 0 h 1"/>
                  <a:gd name="T10" fmla="*/ 0 w 7"/>
                  <a:gd name="T11" fmla="*/ 1 h 1"/>
                  <a:gd name="T12" fmla="*/ 2 w 7"/>
                  <a:gd name="T13" fmla="*/ 1 h 1"/>
                  <a:gd name="T14" fmla="*/ 0 w 7"/>
                  <a:gd name="T15" fmla="*/ 1 h 1"/>
                  <a:gd name="T16" fmla="*/ 5 w 7"/>
                  <a:gd name="T17" fmla="*/ 0 h 1"/>
                  <a:gd name="T18" fmla="*/ 7 w 7"/>
                  <a:gd name="T19" fmla="*/ 0 h 1"/>
                  <a:gd name="T20" fmla="*/ 5 w 7"/>
                  <a:gd name="T2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
                    <a:moveTo>
                      <a:pt x="2" y="0"/>
                    </a:moveTo>
                    <a:lnTo>
                      <a:pt x="5" y="0"/>
                    </a:lnTo>
                    <a:lnTo>
                      <a:pt x="5" y="1"/>
                    </a:lnTo>
                    <a:lnTo>
                      <a:pt x="2" y="1"/>
                    </a:lnTo>
                    <a:lnTo>
                      <a:pt x="2" y="0"/>
                    </a:lnTo>
                    <a:close/>
                    <a:moveTo>
                      <a:pt x="0" y="1"/>
                    </a:moveTo>
                    <a:lnTo>
                      <a:pt x="2" y="1"/>
                    </a:lnTo>
                    <a:lnTo>
                      <a:pt x="0" y="1"/>
                    </a:lnTo>
                    <a:close/>
                    <a:moveTo>
                      <a:pt x="5" y="0"/>
                    </a:moveTo>
                    <a:lnTo>
                      <a:pt x="7" y="0"/>
                    </a:lnTo>
                    <a:lnTo>
                      <a:pt x="5"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024" name="Freeform 52">
                <a:extLst>
                  <a:ext uri="{FF2B5EF4-FFF2-40B4-BE49-F238E27FC236}">
                    <a16:creationId xmlns:a16="http://schemas.microsoft.com/office/drawing/2014/main" id="{F1B15382-56AC-C429-7B22-21510B1E2D7F}"/>
                  </a:ext>
                </a:extLst>
              </p:cNvPr>
              <p:cNvSpPr>
                <a:spLocks noEditPoints="1"/>
              </p:cNvSpPr>
              <p:nvPr/>
            </p:nvSpPr>
            <p:spPr bwMode="auto">
              <a:xfrm>
                <a:off x="6359525" y="1730375"/>
                <a:ext cx="19050" cy="44450"/>
              </a:xfrm>
              <a:custGeom>
                <a:avLst/>
                <a:gdLst>
                  <a:gd name="T0" fmla="*/ 10 w 12"/>
                  <a:gd name="T1" fmla="*/ 0 h 28"/>
                  <a:gd name="T2" fmla="*/ 12 w 12"/>
                  <a:gd name="T3" fmla="*/ 2 h 28"/>
                  <a:gd name="T4" fmla="*/ 12 w 12"/>
                  <a:gd name="T5" fmla="*/ 4 h 28"/>
                  <a:gd name="T6" fmla="*/ 12 w 12"/>
                  <a:gd name="T7" fmla="*/ 6 h 28"/>
                  <a:gd name="T8" fmla="*/ 10 w 12"/>
                  <a:gd name="T9" fmla="*/ 6 h 28"/>
                  <a:gd name="T10" fmla="*/ 10 w 12"/>
                  <a:gd name="T11" fmla="*/ 7 h 28"/>
                  <a:gd name="T12" fmla="*/ 10 w 12"/>
                  <a:gd name="T13" fmla="*/ 9 h 28"/>
                  <a:gd name="T14" fmla="*/ 8 w 12"/>
                  <a:gd name="T15" fmla="*/ 9 h 28"/>
                  <a:gd name="T16" fmla="*/ 7 w 12"/>
                  <a:gd name="T17" fmla="*/ 9 h 28"/>
                  <a:gd name="T18" fmla="*/ 7 w 12"/>
                  <a:gd name="T19" fmla="*/ 7 h 28"/>
                  <a:gd name="T20" fmla="*/ 5 w 12"/>
                  <a:gd name="T21" fmla="*/ 6 h 28"/>
                  <a:gd name="T22" fmla="*/ 5 w 12"/>
                  <a:gd name="T23" fmla="*/ 4 h 28"/>
                  <a:gd name="T24" fmla="*/ 7 w 12"/>
                  <a:gd name="T25" fmla="*/ 4 h 28"/>
                  <a:gd name="T26" fmla="*/ 7 w 12"/>
                  <a:gd name="T27" fmla="*/ 2 h 28"/>
                  <a:gd name="T28" fmla="*/ 8 w 12"/>
                  <a:gd name="T29" fmla="*/ 0 h 28"/>
                  <a:gd name="T30" fmla="*/ 10 w 12"/>
                  <a:gd name="T31" fmla="*/ 0 h 28"/>
                  <a:gd name="T32" fmla="*/ 5 w 12"/>
                  <a:gd name="T33" fmla="*/ 11 h 28"/>
                  <a:gd name="T34" fmla="*/ 8 w 12"/>
                  <a:gd name="T35" fmla="*/ 11 h 28"/>
                  <a:gd name="T36" fmla="*/ 8 w 12"/>
                  <a:gd name="T37" fmla="*/ 14 h 28"/>
                  <a:gd name="T38" fmla="*/ 5 w 12"/>
                  <a:gd name="T39" fmla="*/ 14 h 28"/>
                  <a:gd name="T40" fmla="*/ 5 w 12"/>
                  <a:gd name="T41" fmla="*/ 11 h 28"/>
                  <a:gd name="T42" fmla="*/ 0 w 12"/>
                  <a:gd name="T43" fmla="*/ 26 h 28"/>
                  <a:gd name="T44" fmla="*/ 1 w 12"/>
                  <a:gd name="T45" fmla="*/ 26 h 28"/>
                  <a:gd name="T46" fmla="*/ 1 w 12"/>
                  <a:gd name="T47" fmla="*/ 28 h 28"/>
                  <a:gd name="T48" fmla="*/ 0 w 12"/>
                  <a:gd name="T49" fmla="*/ 28 h 28"/>
                  <a:gd name="T50" fmla="*/ 0 w 12"/>
                  <a:gd name="T51" fmla="*/ 26 h 28"/>
                  <a:gd name="T52" fmla="*/ 3 w 12"/>
                  <a:gd name="T53" fmla="*/ 23 h 28"/>
                  <a:gd name="T54" fmla="*/ 5 w 12"/>
                  <a:gd name="T55" fmla="*/ 23 h 28"/>
                  <a:gd name="T56" fmla="*/ 5 w 12"/>
                  <a:gd name="T57" fmla="*/ 24 h 28"/>
                  <a:gd name="T58" fmla="*/ 3 w 12"/>
                  <a:gd name="T59" fmla="*/ 24 h 28"/>
                  <a:gd name="T60" fmla="*/ 3 w 12"/>
                  <a:gd name="T61" fmla="*/ 23 h 28"/>
                  <a:gd name="T62" fmla="*/ 8 w 12"/>
                  <a:gd name="T63" fmla="*/ 17 h 28"/>
                  <a:gd name="T64" fmla="*/ 10 w 12"/>
                  <a:gd name="T65" fmla="*/ 17 h 28"/>
                  <a:gd name="T66" fmla="*/ 8 w 12"/>
                  <a:gd name="T67" fmla="*/ 17 h 28"/>
                  <a:gd name="T68" fmla="*/ 1 w 12"/>
                  <a:gd name="T69" fmla="*/ 24 h 28"/>
                  <a:gd name="T70" fmla="*/ 1 w 12"/>
                  <a:gd name="T71" fmla="*/ 26 h 28"/>
                  <a:gd name="T72" fmla="*/ 1 w 12"/>
                  <a:gd name="T73" fmla="*/ 24 h 28"/>
                  <a:gd name="T74" fmla="*/ 10 w 12"/>
                  <a:gd name="T75" fmla="*/ 14 h 28"/>
                  <a:gd name="T76" fmla="*/ 10 w 12"/>
                  <a:gd name="T77" fmla="*/ 16 h 28"/>
                  <a:gd name="T78" fmla="*/ 10 w 12"/>
                  <a:gd name="T79"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 h="28">
                    <a:moveTo>
                      <a:pt x="10" y="0"/>
                    </a:moveTo>
                    <a:lnTo>
                      <a:pt x="12" y="2"/>
                    </a:lnTo>
                    <a:lnTo>
                      <a:pt x="12" y="4"/>
                    </a:lnTo>
                    <a:lnTo>
                      <a:pt x="12" y="6"/>
                    </a:lnTo>
                    <a:lnTo>
                      <a:pt x="10" y="6"/>
                    </a:lnTo>
                    <a:lnTo>
                      <a:pt x="10" y="7"/>
                    </a:lnTo>
                    <a:lnTo>
                      <a:pt x="10" y="9"/>
                    </a:lnTo>
                    <a:lnTo>
                      <a:pt x="8" y="9"/>
                    </a:lnTo>
                    <a:lnTo>
                      <a:pt x="7" y="9"/>
                    </a:lnTo>
                    <a:lnTo>
                      <a:pt x="7" y="7"/>
                    </a:lnTo>
                    <a:lnTo>
                      <a:pt x="5" y="6"/>
                    </a:lnTo>
                    <a:lnTo>
                      <a:pt x="5" y="4"/>
                    </a:lnTo>
                    <a:lnTo>
                      <a:pt x="7" y="4"/>
                    </a:lnTo>
                    <a:lnTo>
                      <a:pt x="7" y="2"/>
                    </a:lnTo>
                    <a:lnTo>
                      <a:pt x="8" y="0"/>
                    </a:lnTo>
                    <a:lnTo>
                      <a:pt x="10" y="0"/>
                    </a:lnTo>
                    <a:close/>
                    <a:moveTo>
                      <a:pt x="5" y="11"/>
                    </a:moveTo>
                    <a:lnTo>
                      <a:pt x="8" y="11"/>
                    </a:lnTo>
                    <a:lnTo>
                      <a:pt x="8" y="14"/>
                    </a:lnTo>
                    <a:lnTo>
                      <a:pt x="5" y="14"/>
                    </a:lnTo>
                    <a:lnTo>
                      <a:pt x="5" y="11"/>
                    </a:lnTo>
                    <a:close/>
                    <a:moveTo>
                      <a:pt x="0" y="26"/>
                    </a:moveTo>
                    <a:lnTo>
                      <a:pt x="1" y="26"/>
                    </a:lnTo>
                    <a:lnTo>
                      <a:pt x="1" y="28"/>
                    </a:lnTo>
                    <a:lnTo>
                      <a:pt x="0" y="28"/>
                    </a:lnTo>
                    <a:lnTo>
                      <a:pt x="0" y="26"/>
                    </a:lnTo>
                    <a:close/>
                    <a:moveTo>
                      <a:pt x="3" y="23"/>
                    </a:moveTo>
                    <a:lnTo>
                      <a:pt x="5" y="23"/>
                    </a:lnTo>
                    <a:lnTo>
                      <a:pt x="5" y="24"/>
                    </a:lnTo>
                    <a:lnTo>
                      <a:pt x="3" y="24"/>
                    </a:lnTo>
                    <a:lnTo>
                      <a:pt x="3" y="23"/>
                    </a:lnTo>
                    <a:close/>
                    <a:moveTo>
                      <a:pt x="8" y="17"/>
                    </a:moveTo>
                    <a:lnTo>
                      <a:pt x="10" y="17"/>
                    </a:lnTo>
                    <a:lnTo>
                      <a:pt x="8" y="17"/>
                    </a:lnTo>
                    <a:close/>
                    <a:moveTo>
                      <a:pt x="1" y="24"/>
                    </a:moveTo>
                    <a:lnTo>
                      <a:pt x="1" y="26"/>
                    </a:lnTo>
                    <a:lnTo>
                      <a:pt x="1" y="24"/>
                    </a:lnTo>
                    <a:close/>
                    <a:moveTo>
                      <a:pt x="10" y="14"/>
                    </a:moveTo>
                    <a:lnTo>
                      <a:pt x="10" y="16"/>
                    </a:lnTo>
                    <a:lnTo>
                      <a:pt x="10" y="1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025" name="Freeform 53">
                <a:extLst>
                  <a:ext uri="{FF2B5EF4-FFF2-40B4-BE49-F238E27FC236}">
                    <a16:creationId xmlns:a16="http://schemas.microsoft.com/office/drawing/2014/main" id="{3E1448B7-F6B9-2170-A50E-37636FC6CF1B}"/>
                  </a:ext>
                </a:extLst>
              </p:cNvPr>
              <p:cNvSpPr>
                <a:spLocks noEditPoints="1"/>
              </p:cNvSpPr>
              <p:nvPr/>
            </p:nvSpPr>
            <p:spPr bwMode="auto">
              <a:xfrm>
                <a:off x="6270625" y="1468438"/>
                <a:ext cx="4762" cy="3175"/>
              </a:xfrm>
              <a:custGeom>
                <a:avLst/>
                <a:gdLst>
                  <a:gd name="T0" fmla="*/ 0 w 3"/>
                  <a:gd name="T1" fmla="*/ 0 h 2"/>
                  <a:gd name="T2" fmla="*/ 3 w 3"/>
                  <a:gd name="T3" fmla="*/ 0 h 2"/>
                  <a:gd name="T4" fmla="*/ 3 w 3"/>
                  <a:gd name="T5" fmla="*/ 2 h 2"/>
                  <a:gd name="T6" fmla="*/ 0 w 3"/>
                  <a:gd name="T7" fmla="*/ 2 h 2"/>
                  <a:gd name="T8" fmla="*/ 0 w 3"/>
                  <a:gd name="T9" fmla="*/ 0 h 2"/>
                  <a:gd name="T10" fmla="*/ 0 w 3"/>
                  <a:gd name="T11" fmla="*/ 0 h 2"/>
                  <a:gd name="T12" fmla="*/ 0 w 3"/>
                  <a:gd name="T13" fmla="*/ 2 h 2"/>
                  <a:gd name="T14" fmla="*/ 0 w 3"/>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2">
                    <a:moveTo>
                      <a:pt x="0" y="0"/>
                    </a:moveTo>
                    <a:lnTo>
                      <a:pt x="3" y="0"/>
                    </a:lnTo>
                    <a:lnTo>
                      <a:pt x="3" y="2"/>
                    </a:lnTo>
                    <a:lnTo>
                      <a:pt x="0" y="2"/>
                    </a:lnTo>
                    <a:lnTo>
                      <a:pt x="0" y="0"/>
                    </a:lnTo>
                    <a:close/>
                    <a:moveTo>
                      <a:pt x="0" y="0"/>
                    </a:moveTo>
                    <a:lnTo>
                      <a:pt x="0" y="2"/>
                    </a:lnTo>
                    <a:lnTo>
                      <a:pt x="0"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026" name="Freeform 54">
                <a:extLst>
                  <a:ext uri="{FF2B5EF4-FFF2-40B4-BE49-F238E27FC236}">
                    <a16:creationId xmlns:a16="http://schemas.microsoft.com/office/drawing/2014/main" id="{777ABA2D-06B5-6B95-D6FB-F29C0D2532E7}"/>
                  </a:ext>
                </a:extLst>
              </p:cNvPr>
              <p:cNvSpPr>
                <a:spLocks noEditPoints="1"/>
              </p:cNvSpPr>
              <p:nvPr/>
            </p:nvSpPr>
            <p:spPr bwMode="auto">
              <a:xfrm>
                <a:off x="6540500" y="2130425"/>
                <a:ext cx="217487" cy="223838"/>
              </a:xfrm>
              <a:custGeom>
                <a:avLst/>
                <a:gdLst>
                  <a:gd name="T0" fmla="*/ 134 w 137"/>
                  <a:gd name="T1" fmla="*/ 19 h 141"/>
                  <a:gd name="T2" fmla="*/ 127 w 137"/>
                  <a:gd name="T3" fmla="*/ 27 h 141"/>
                  <a:gd name="T4" fmla="*/ 120 w 137"/>
                  <a:gd name="T5" fmla="*/ 38 h 141"/>
                  <a:gd name="T6" fmla="*/ 124 w 137"/>
                  <a:gd name="T7" fmla="*/ 50 h 141"/>
                  <a:gd name="T8" fmla="*/ 124 w 137"/>
                  <a:gd name="T9" fmla="*/ 60 h 141"/>
                  <a:gd name="T10" fmla="*/ 125 w 137"/>
                  <a:gd name="T11" fmla="*/ 68 h 141"/>
                  <a:gd name="T12" fmla="*/ 132 w 137"/>
                  <a:gd name="T13" fmla="*/ 75 h 141"/>
                  <a:gd name="T14" fmla="*/ 137 w 137"/>
                  <a:gd name="T15" fmla="*/ 80 h 141"/>
                  <a:gd name="T16" fmla="*/ 136 w 137"/>
                  <a:gd name="T17" fmla="*/ 92 h 141"/>
                  <a:gd name="T18" fmla="*/ 131 w 137"/>
                  <a:gd name="T19" fmla="*/ 97 h 141"/>
                  <a:gd name="T20" fmla="*/ 131 w 137"/>
                  <a:gd name="T21" fmla="*/ 106 h 141"/>
                  <a:gd name="T22" fmla="*/ 127 w 137"/>
                  <a:gd name="T23" fmla="*/ 116 h 141"/>
                  <a:gd name="T24" fmla="*/ 120 w 137"/>
                  <a:gd name="T25" fmla="*/ 123 h 141"/>
                  <a:gd name="T26" fmla="*/ 117 w 137"/>
                  <a:gd name="T27" fmla="*/ 126 h 141"/>
                  <a:gd name="T28" fmla="*/ 108 w 137"/>
                  <a:gd name="T29" fmla="*/ 121 h 141"/>
                  <a:gd name="T30" fmla="*/ 102 w 137"/>
                  <a:gd name="T31" fmla="*/ 118 h 141"/>
                  <a:gd name="T32" fmla="*/ 93 w 137"/>
                  <a:gd name="T33" fmla="*/ 119 h 141"/>
                  <a:gd name="T34" fmla="*/ 85 w 137"/>
                  <a:gd name="T35" fmla="*/ 121 h 141"/>
                  <a:gd name="T36" fmla="*/ 78 w 137"/>
                  <a:gd name="T37" fmla="*/ 121 h 141"/>
                  <a:gd name="T38" fmla="*/ 69 w 137"/>
                  <a:gd name="T39" fmla="*/ 119 h 141"/>
                  <a:gd name="T40" fmla="*/ 66 w 137"/>
                  <a:gd name="T41" fmla="*/ 124 h 141"/>
                  <a:gd name="T42" fmla="*/ 71 w 137"/>
                  <a:gd name="T43" fmla="*/ 131 h 141"/>
                  <a:gd name="T44" fmla="*/ 71 w 137"/>
                  <a:gd name="T45" fmla="*/ 141 h 141"/>
                  <a:gd name="T46" fmla="*/ 59 w 137"/>
                  <a:gd name="T47" fmla="*/ 138 h 141"/>
                  <a:gd name="T48" fmla="*/ 51 w 137"/>
                  <a:gd name="T49" fmla="*/ 136 h 141"/>
                  <a:gd name="T50" fmla="*/ 44 w 137"/>
                  <a:gd name="T51" fmla="*/ 129 h 141"/>
                  <a:gd name="T52" fmla="*/ 37 w 137"/>
                  <a:gd name="T53" fmla="*/ 121 h 141"/>
                  <a:gd name="T54" fmla="*/ 34 w 137"/>
                  <a:gd name="T55" fmla="*/ 114 h 141"/>
                  <a:gd name="T56" fmla="*/ 29 w 137"/>
                  <a:gd name="T57" fmla="*/ 107 h 141"/>
                  <a:gd name="T58" fmla="*/ 30 w 137"/>
                  <a:gd name="T59" fmla="*/ 102 h 141"/>
                  <a:gd name="T60" fmla="*/ 27 w 137"/>
                  <a:gd name="T61" fmla="*/ 99 h 141"/>
                  <a:gd name="T62" fmla="*/ 27 w 137"/>
                  <a:gd name="T63" fmla="*/ 90 h 141"/>
                  <a:gd name="T64" fmla="*/ 22 w 137"/>
                  <a:gd name="T65" fmla="*/ 90 h 141"/>
                  <a:gd name="T66" fmla="*/ 13 w 137"/>
                  <a:gd name="T67" fmla="*/ 85 h 141"/>
                  <a:gd name="T68" fmla="*/ 8 w 137"/>
                  <a:gd name="T69" fmla="*/ 80 h 141"/>
                  <a:gd name="T70" fmla="*/ 3 w 137"/>
                  <a:gd name="T71" fmla="*/ 72 h 141"/>
                  <a:gd name="T72" fmla="*/ 1 w 137"/>
                  <a:gd name="T73" fmla="*/ 61 h 141"/>
                  <a:gd name="T74" fmla="*/ 5 w 137"/>
                  <a:gd name="T75" fmla="*/ 55 h 141"/>
                  <a:gd name="T76" fmla="*/ 8 w 137"/>
                  <a:gd name="T77" fmla="*/ 44 h 141"/>
                  <a:gd name="T78" fmla="*/ 8 w 137"/>
                  <a:gd name="T79" fmla="*/ 38 h 141"/>
                  <a:gd name="T80" fmla="*/ 17 w 137"/>
                  <a:gd name="T81" fmla="*/ 34 h 141"/>
                  <a:gd name="T82" fmla="*/ 25 w 137"/>
                  <a:gd name="T83" fmla="*/ 34 h 141"/>
                  <a:gd name="T84" fmla="*/ 29 w 137"/>
                  <a:gd name="T85" fmla="*/ 31 h 141"/>
                  <a:gd name="T86" fmla="*/ 27 w 137"/>
                  <a:gd name="T87" fmla="*/ 26 h 141"/>
                  <a:gd name="T88" fmla="*/ 29 w 137"/>
                  <a:gd name="T89" fmla="*/ 15 h 141"/>
                  <a:gd name="T90" fmla="*/ 34 w 137"/>
                  <a:gd name="T91" fmla="*/ 4 h 141"/>
                  <a:gd name="T92" fmla="*/ 42 w 137"/>
                  <a:gd name="T93" fmla="*/ 2 h 141"/>
                  <a:gd name="T94" fmla="*/ 54 w 137"/>
                  <a:gd name="T95" fmla="*/ 4 h 141"/>
                  <a:gd name="T96" fmla="*/ 66 w 137"/>
                  <a:gd name="T97" fmla="*/ 7 h 141"/>
                  <a:gd name="T98" fmla="*/ 73 w 137"/>
                  <a:gd name="T99" fmla="*/ 2 h 141"/>
                  <a:gd name="T100" fmla="*/ 86 w 137"/>
                  <a:gd name="T101" fmla="*/ 2 h 141"/>
                  <a:gd name="T102" fmla="*/ 98 w 137"/>
                  <a:gd name="T103" fmla="*/ 4 h 141"/>
                  <a:gd name="T104" fmla="*/ 100 w 137"/>
                  <a:gd name="T105" fmla="*/ 2 h 141"/>
                  <a:gd name="T106" fmla="*/ 112 w 137"/>
                  <a:gd name="T107" fmla="*/ 2 h 141"/>
                  <a:gd name="T108" fmla="*/ 124 w 137"/>
                  <a:gd name="T109" fmla="*/ 4 h 141"/>
                  <a:gd name="T110" fmla="*/ 136 w 137"/>
                  <a:gd name="T111" fmla="*/ 5 h 141"/>
                  <a:gd name="T112" fmla="*/ 34 w 137"/>
                  <a:gd name="T113" fmla="*/ 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7" h="141">
                    <a:moveTo>
                      <a:pt x="137" y="10"/>
                    </a:moveTo>
                    <a:lnTo>
                      <a:pt x="137" y="12"/>
                    </a:lnTo>
                    <a:lnTo>
                      <a:pt x="137" y="14"/>
                    </a:lnTo>
                    <a:lnTo>
                      <a:pt x="137" y="15"/>
                    </a:lnTo>
                    <a:lnTo>
                      <a:pt x="137" y="17"/>
                    </a:lnTo>
                    <a:lnTo>
                      <a:pt x="136" y="17"/>
                    </a:lnTo>
                    <a:lnTo>
                      <a:pt x="136" y="19"/>
                    </a:lnTo>
                    <a:lnTo>
                      <a:pt x="134" y="19"/>
                    </a:lnTo>
                    <a:lnTo>
                      <a:pt x="134" y="21"/>
                    </a:lnTo>
                    <a:lnTo>
                      <a:pt x="132" y="21"/>
                    </a:lnTo>
                    <a:lnTo>
                      <a:pt x="132" y="22"/>
                    </a:lnTo>
                    <a:lnTo>
                      <a:pt x="131" y="24"/>
                    </a:lnTo>
                    <a:lnTo>
                      <a:pt x="129" y="24"/>
                    </a:lnTo>
                    <a:lnTo>
                      <a:pt x="129" y="26"/>
                    </a:lnTo>
                    <a:lnTo>
                      <a:pt x="127" y="26"/>
                    </a:lnTo>
                    <a:lnTo>
                      <a:pt x="127" y="27"/>
                    </a:lnTo>
                    <a:lnTo>
                      <a:pt x="125" y="29"/>
                    </a:lnTo>
                    <a:lnTo>
                      <a:pt x="125" y="31"/>
                    </a:lnTo>
                    <a:lnTo>
                      <a:pt x="124" y="31"/>
                    </a:lnTo>
                    <a:lnTo>
                      <a:pt x="124" y="32"/>
                    </a:lnTo>
                    <a:lnTo>
                      <a:pt x="122" y="34"/>
                    </a:lnTo>
                    <a:lnTo>
                      <a:pt x="122" y="36"/>
                    </a:lnTo>
                    <a:lnTo>
                      <a:pt x="122" y="38"/>
                    </a:lnTo>
                    <a:lnTo>
                      <a:pt x="120" y="38"/>
                    </a:lnTo>
                    <a:lnTo>
                      <a:pt x="122" y="39"/>
                    </a:lnTo>
                    <a:lnTo>
                      <a:pt x="122" y="41"/>
                    </a:lnTo>
                    <a:lnTo>
                      <a:pt x="122" y="43"/>
                    </a:lnTo>
                    <a:lnTo>
                      <a:pt x="122" y="44"/>
                    </a:lnTo>
                    <a:lnTo>
                      <a:pt x="122" y="46"/>
                    </a:lnTo>
                    <a:lnTo>
                      <a:pt x="122" y="48"/>
                    </a:lnTo>
                    <a:lnTo>
                      <a:pt x="124" y="48"/>
                    </a:lnTo>
                    <a:lnTo>
                      <a:pt x="124" y="50"/>
                    </a:lnTo>
                    <a:lnTo>
                      <a:pt x="122" y="50"/>
                    </a:lnTo>
                    <a:lnTo>
                      <a:pt x="122" y="51"/>
                    </a:lnTo>
                    <a:lnTo>
                      <a:pt x="122" y="53"/>
                    </a:lnTo>
                    <a:lnTo>
                      <a:pt x="122" y="55"/>
                    </a:lnTo>
                    <a:lnTo>
                      <a:pt x="122" y="56"/>
                    </a:lnTo>
                    <a:lnTo>
                      <a:pt x="124" y="56"/>
                    </a:lnTo>
                    <a:lnTo>
                      <a:pt x="124" y="58"/>
                    </a:lnTo>
                    <a:lnTo>
                      <a:pt x="124" y="60"/>
                    </a:lnTo>
                    <a:lnTo>
                      <a:pt x="124" y="61"/>
                    </a:lnTo>
                    <a:lnTo>
                      <a:pt x="124" y="63"/>
                    </a:lnTo>
                    <a:lnTo>
                      <a:pt x="125" y="63"/>
                    </a:lnTo>
                    <a:lnTo>
                      <a:pt x="127" y="63"/>
                    </a:lnTo>
                    <a:lnTo>
                      <a:pt x="127" y="65"/>
                    </a:lnTo>
                    <a:lnTo>
                      <a:pt x="125" y="65"/>
                    </a:lnTo>
                    <a:lnTo>
                      <a:pt x="125" y="67"/>
                    </a:lnTo>
                    <a:lnTo>
                      <a:pt x="125" y="68"/>
                    </a:lnTo>
                    <a:lnTo>
                      <a:pt x="127" y="68"/>
                    </a:lnTo>
                    <a:lnTo>
                      <a:pt x="127" y="70"/>
                    </a:lnTo>
                    <a:lnTo>
                      <a:pt x="127" y="72"/>
                    </a:lnTo>
                    <a:lnTo>
                      <a:pt x="129" y="72"/>
                    </a:lnTo>
                    <a:lnTo>
                      <a:pt x="129" y="73"/>
                    </a:lnTo>
                    <a:lnTo>
                      <a:pt x="131" y="73"/>
                    </a:lnTo>
                    <a:lnTo>
                      <a:pt x="131" y="75"/>
                    </a:lnTo>
                    <a:lnTo>
                      <a:pt x="132" y="75"/>
                    </a:lnTo>
                    <a:lnTo>
                      <a:pt x="134" y="75"/>
                    </a:lnTo>
                    <a:lnTo>
                      <a:pt x="134" y="77"/>
                    </a:lnTo>
                    <a:lnTo>
                      <a:pt x="134" y="78"/>
                    </a:lnTo>
                    <a:lnTo>
                      <a:pt x="134" y="80"/>
                    </a:lnTo>
                    <a:lnTo>
                      <a:pt x="136" y="80"/>
                    </a:lnTo>
                    <a:lnTo>
                      <a:pt x="136" y="82"/>
                    </a:lnTo>
                    <a:lnTo>
                      <a:pt x="136" y="80"/>
                    </a:lnTo>
                    <a:lnTo>
                      <a:pt x="137" y="80"/>
                    </a:lnTo>
                    <a:lnTo>
                      <a:pt x="137" y="82"/>
                    </a:lnTo>
                    <a:lnTo>
                      <a:pt x="137" y="84"/>
                    </a:lnTo>
                    <a:lnTo>
                      <a:pt x="137" y="85"/>
                    </a:lnTo>
                    <a:lnTo>
                      <a:pt x="137" y="87"/>
                    </a:lnTo>
                    <a:lnTo>
                      <a:pt x="137" y="89"/>
                    </a:lnTo>
                    <a:lnTo>
                      <a:pt x="136" y="89"/>
                    </a:lnTo>
                    <a:lnTo>
                      <a:pt x="136" y="90"/>
                    </a:lnTo>
                    <a:lnTo>
                      <a:pt x="136" y="92"/>
                    </a:lnTo>
                    <a:lnTo>
                      <a:pt x="134" y="92"/>
                    </a:lnTo>
                    <a:lnTo>
                      <a:pt x="132" y="92"/>
                    </a:lnTo>
                    <a:lnTo>
                      <a:pt x="132" y="94"/>
                    </a:lnTo>
                    <a:lnTo>
                      <a:pt x="132" y="95"/>
                    </a:lnTo>
                    <a:lnTo>
                      <a:pt x="131" y="95"/>
                    </a:lnTo>
                    <a:lnTo>
                      <a:pt x="131" y="97"/>
                    </a:lnTo>
                    <a:lnTo>
                      <a:pt x="131" y="99"/>
                    </a:lnTo>
                    <a:lnTo>
                      <a:pt x="131" y="97"/>
                    </a:lnTo>
                    <a:lnTo>
                      <a:pt x="131" y="99"/>
                    </a:lnTo>
                    <a:lnTo>
                      <a:pt x="131" y="101"/>
                    </a:lnTo>
                    <a:lnTo>
                      <a:pt x="131" y="102"/>
                    </a:lnTo>
                    <a:lnTo>
                      <a:pt x="132" y="102"/>
                    </a:lnTo>
                    <a:lnTo>
                      <a:pt x="131" y="102"/>
                    </a:lnTo>
                    <a:lnTo>
                      <a:pt x="132" y="104"/>
                    </a:lnTo>
                    <a:lnTo>
                      <a:pt x="131" y="104"/>
                    </a:lnTo>
                    <a:lnTo>
                      <a:pt x="131" y="106"/>
                    </a:lnTo>
                    <a:lnTo>
                      <a:pt x="131" y="107"/>
                    </a:lnTo>
                    <a:lnTo>
                      <a:pt x="131" y="109"/>
                    </a:lnTo>
                    <a:lnTo>
                      <a:pt x="131" y="111"/>
                    </a:lnTo>
                    <a:lnTo>
                      <a:pt x="129" y="111"/>
                    </a:lnTo>
                    <a:lnTo>
                      <a:pt x="129" y="112"/>
                    </a:lnTo>
                    <a:lnTo>
                      <a:pt x="127" y="112"/>
                    </a:lnTo>
                    <a:lnTo>
                      <a:pt x="127" y="114"/>
                    </a:lnTo>
                    <a:lnTo>
                      <a:pt x="127" y="116"/>
                    </a:lnTo>
                    <a:lnTo>
                      <a:pt x="125" y="116"/>
                    </a:lnTo>
                    <a:lnTo>
                      <a:pt x="125" y="118"/>
                    </a:lnTo>
                    <a:lnTo>
                      <a:pt x="125" y="119"/>
                    </a:lnTo>
                    <a:lnTo>
                      <a:pt x="124" y="119"/>
                    </a:lnTo>
                    <a:lnTo>
                      <a:pt x="124" y="121"/>
                    </a:lnTo>
                    <a:lnTo>
                      <a:pt x="122" y="121"/>
                    </a:lnTo>
                    <a:lnTo>
                      <a:pt x="122" y="123"/>
                    </a:lnTo>
                    <a:lnTo>
                      <a:pt x="120" y="123"/>
                    </a:lnTo>
                    <a:lnTo>
                      <a:pt x="120" y="124"/>
                    </a:lnTo>
                    <a:lnTo>
                      <a:pt x="120" y="126"/>
                    </a:lnTo>
                    <a:lnTo>
                      <a:pt x="120" y="124"/>
                    </a:lnTo>
                    <a:lnTo>
                      <a:pt x="119" y="126"/>
                    </a:lnTo>
                    <a:lnTo>
                      <a:pt x="120" y="126"/>
                    </a:lnTo>
                    <a:lnTo>
                      <a:pt x="119" y="128"/>
                    </a:lnTo>
                    <a:lnTo>
                      <a:pt x="119" y="126"/>
                    </a:lnTo>
                    <a:lnTo>
                      <a:pt x="117" y="126"/>
                    </a:lnTo>
                    <a:lnTo>
                      <a:pt x="117" y="124"/>
                    </a:lnTo>
                    <a:lnTo>
                      <a:pt x="115" y="124"/>
                    </a:lnTo>
                    <a:lnTo>
                      <a:pt x="114" y="124"/>
                    </a:lnTo>
                    <a:lnTo>
                      <a:pt x="114" y="123"/>
                    </a:lnTo>
                    <a:lnTo>
                      <a:pt x="114" y="121"/>
                    </a:lnTo>
                    <a:lnTo>
                      <a:pt x="112" y="121"/>
                    </a:lnTo>
                    <a:lnTo>
                      <a:pt x="110" y="121"/>
                    </a:lnTo>
                    <a:lnTo>
                      <a:pt x="108" y="121"/>
                    </a:lnTo>
                    <a:lnTo>
                      <a:pt x="107" y="121"/>
                    </a:lnTo>
                    <a:lnTo>
                      <a:pt x="107" y="119"/>
                    </a:lnTo>
                    <a:lnTo>
                      <a:pt x="105" y="119"/>
                    </a:lnTo>
                    <a:lnTo>
                      <a:pt x="105" y="118"/>
                    </a:lnTo>
                    <a:lnTo>
                      <a:pt x="105" y="116"/>
                    </a:lnTo>
                    <a:lnTo>
                      <a:pt x="103" y="116"/>
                    </a:lnTo>
                    <a:lnTo>
                      <a:pt x="103" y="118"/>
                    </a:lnTo>
                    <a:lnTo>
                      <a:pt x="102" y="118"/>
                    </a:lnTo>
                    <a:lnTo>
                      <a:pt x="100" y="118"/>
                    </a:lnTo>
                    <a:lnTo>
                      <a:pt x="100" y="119"/>
                    </a:lnTo>
                    <a:lnTo>
                      <a:pt x="100" y="118"/>
                    </a:lnTo>
                    <a:lnTo>
                      <a:pt x="98" y="118"/>
                    </a:lnTo>
                    <a:lnTo>
                      <a:pt x="97" y="118"/>
                    </a:lnTo>
                    <a:lnTo>
                      <a:pt x="97" y="119"/>
                    </a:lnTo>
                    <a:lnTo>
                      <a:pt x="95" y="119"/>
                    </a:lnTo>
                    <a:lnTo>
                      <a:pt x="93" y="119"/>
                    </a:lnTo>
                    <a:lnTo>
                      <a:pt x="91" y="119"/>
                    </a:lnTo>
                    <a:lnTo>
                      <a:pt x="91" y="121"/>
                    </a:lnTo>
                    <a:lnTo>
                      <a:pt x="91" y="123"/>
                    </a:lnTo>
                    <a:lnTo>
                      <a:pt x="90" y="123"/>
                    </a:lnTo>
                    <a:lnTo>
                      <a:pt x="90" y="121"/>
                    </a:lnTo>
                    <a:lnTo>
                      <a:pt x="88" y="121"/>
                    </a:lnTo>
                    <a:lnTo>
                      <a:pt x="86" y="121"/>
                    </a:lnTo>
                    <a:lnTo>
                      <a:pt x="85" y="121"/>
                    </a:lnTo>
                    <a:lnTo>
                      <a:pt x="85" y="123"/>
                    </a:lnTo>
                    <a:lnTo>
                      <a:pt x="85" y="121"/>
                    </a:lnTo>
                    <a:lnTo>
                      <a:pt x="83" y="121"/>
                    </a:lnTo>
                    <a:lnTo>
                      <a:pt x="83" y="123"/>
                    </a:lnTo>
                    <a:lnTo>
                      <a:pt x="81" y="123"/>
                    </a:lnTo>
                    <a:lnTo>
                      <a:pt x="80" y="123"/>
                    </a:lnTo>
                    <a:lnTo>
                      <a:pt x="78" y="123"/>
                    </a:lnTo>
                    <a:lnTo>
                      <a:pt x="78" y="121"/>
                    </a:lnTo>
                    <a:lnTo>
                      <a:pt x="76" y="121"/>
                    </a:lnTo>
                    <a:lnTo>
                      <a:pt x="74" y="121"/>
                    </a:lnTo>
                    <a:lnTo>
                      <a:pt x="74" y="119"/>
                    </a:lnTo>
                    <a:lnTo>
                      <a:pt x="73" y="119"/>
                    </a:lnTo>
                    <a:lnTo>
                      <a:pt x="73" y="118"/>
                    </a:lnTo>
                    <a:lnTo>
                      <a:pt x="71" y="118"/>
                    </a:lnTo>
                    <a:lnTo>
                      <a:pt x="71" y="119"/>
                    </a:lnTo>
                    <a:lnTo>
                      <a:pt x="69" y="119"/>
                    </a:lnTo>
                    <a:lnTo>
                      <a:pt x="71" y="119"/>
                    </a:lnTo>
                    <a:lnTo>
                      <a:pt x="69" y="119"/>
                    </a:lnTo>
                    <a:lnTo>
                      <a:pt x="69" y="121"/>
                    </a:lnTo>
                    <a:lnTo>
                      <a:pt x="69" y="123"/>
                    </a:lnTo>
                    <a:lnTo>
                      <a:pt x="68" y="124"/>
                    </a:lnTo>
                    <a:lnTo>
                      <a:pt x="69" y="124"/>
                    </a:lnTo>
                    <a:lnTo>
                      <a:pt x="68" y="124"/>
                    </a:lnTo>
                    <a:lnTo>
                      <a:pt x="66" y="124"/>
                    </a:lnTo>
                    <a:lnTo>
                      <a:pt x="66" y="126"/>
                    </a:lnTo>
                    <a:lnTo>
                      <a:pt x="64" y="128"/>
                    </a:lnTo>
                    <a:lnTo>
                      <a:pt x="66" y="128"/>
                    </a:lnTo>
                    <a:lnTo>
                      <a:pt x="68" y="128"/>
                    </a:lnTo>
                    <a:lnTo>
                      <a:pt x="68" y="129"/>
                    </a:lnTo>
                    <a:lnTo>
                      <a:pt x="68" y="131"/>
                    </a:lnTo>
                    <a:lnTo>
                      <a:pt x="69" y="131"/>
                    </a:lnTo>
                    <a:lnTo>
                      <a:pt x="71" y="131"/>
                    </a:lnTo>
                    <a:lnTo>
                      <a:pt x="71" y="133"/>
                    </a:lnTo>
                    <a:lnTo>
                      <a:pt x="73" y="133"/>
                    </a:lnTo>
                    <a:lnTo>
                      <a:pt x="73" y="135"/>
                    </a:lnTo>
                    <a:lnTo>
                      <a:pt x="73" y="136"/>
                    </a:lnTo>
                    <a:lnTo>
                      <a:pt x="71" y="136"/>
                    </a:lnTo>
                    <a:lnTo>
                      <a:pt x="73" y="138"/>
                    </a:lnTo>
                    <a:lnTo>
                      <a:pt x="73" y="140"/>
                    </a:lnTo>
                    <a:lnTo>
                      <a:pt x="71" y="141"/>
                    </a:lnTo>
                    <a:lnTo>
                      <a:pt x="69" y="141"/>
                    </a:lnTo>
                    <a:lnTo>
                      <a:pt x="68" y="141"/>
                    </a:lnTo>
                    <a:lnTo>
                      <a:pt x="66" y="141"/>
                    </a:lnTo>
                    <a:lnTo>
                      <a:pt x="64" y="140"/>
                    </a:lnTo>
                    <a:lnTo>
                      <a:pt x="63" y="140"/>
                    </a:lnTo>
                    <a:lnTo>
                      <a:pt x="61" y="140"/>
                    </a:lnTo>
                    <a:lnTo>
                      <a:pt x="59" y="140"/>
                    </a:lnTo>
                    <a:lnTo>
                      <a:pt x="59" y="138"/>
                    </a:lnTo>
                    <a:lnTo>
                      <a:pt x="57" y="138"/>
                    </a:lnTo>
                    <a:lnTo>
                      <a:pt x="56" y="138"/>
                    </a:lnTo>
                    <a:lnTo>
                      <a:pt x="56" y="140"/>
                    </a:lnTo>
                    <a:lnTo>
                      <a:pt x="56" y="138"/>
                    </a:lnTo>
                    <a:lnTo>
                      <a:pt x="54" y="138"/>
                    </a:lnTo>
                    <a:lnTo>
                      <a:pt x="52" y="138"/>
                    </a:lnTo>
                    <a:lnTo>
                      <a:pt x="52" y="136"/>
                    </a:lnTo>
                    <a:lnTo>
                      <a:pt x="51" y="136"/>
                    </a:lnTo>
                    <a:lnTo>
                      <a:pt x="49" y="136"/>
                    </a:lnTo>
                    <a:lnTo>
                      <a:pt x="47" y="136"/>
                    </a:lnTo>
                    <a:lnTo>
                      <a:pt x="47" y="135"/>
                    </a:lnTo>
                    <a:lnTo>
                      <a:pt x="46" y="135"/>
                    </a:lnTo>
                    <a:lnTo>
                      <a:pt x="46" y="133"/>
                    </a:lnTo>
                    <a:lnTo>
                      <a:pt x="44" y="133"/>
                    </a:lnTo>
                    <a:lnTo>
                      <a:pt x="44" y="131"/>
                    </a:lnTo>
                    <a:lnTo>
                      <a:pt x="44" y="129"/>
                    </a:lnTo>
                    <a:lnTo>
                      <a:pt x="42" y="129"/>
                    </a:lnTo>
                    <a:lnTo>
                      <a:pt x="42" y="128"/>
                    </a:lnTo>
                    <a:lnTo>
                      <a:pt x="40" y="126"/>
                    </a:lnTo>
                    <a:lnTo>
                      <a:pt x="40" y="124"/>
                    </a:lnTo>
                    <a:lnTo>
                      <a:pt x="39" y="124"/>
                    </a:lnTo>
                    <a:lnTo>
                      <a:pt x="39" y="123"/>
                    </a:lnTo>
                    <a:lnTo>
                      <a:pt x="39" y="121"/>
                    </a:lnTo>
                    <a:lnTo>
                      <a:pt x="37" y="121"/>
                    </a:lnTo>
                    <a:lnTo>
                      <a:pt x="39" y="121"/>
                    </a:lnTo>
                    <a:lnTo>
                      <a:pt x="39" y="119"/>
                    </a:lnTo>
                    <a:lnTo>
                      <a:pt x="37" y="119"/>
                    </a:lnTo>
                    <a:lnTo>
                      <a:pt x="37" y="118"/>
                    </a:lnTo>
                    <a:lnTo>
                      <a:pt x="35" y="118"/>
                    </a:lnTo>
                    <a:lnTo>
                      <a:pt x="35" y="116"/>
                    </a:lnTo>
                    <a:lnTo>
                      <a:pt x="35" y="114"/>
                    </a:lnTo>
                    <a:lnTo>
                      <a:pt x="34" y="114"/>
                    </a:lnTo>
                    <a:lnTo>
                      <a:pt x="34" y="112"/>
                    </a:lnTo>
                    <a:lnTo>
                      <a:pt x="32" y="111"/>
                    </a:lnTo>
                    <a:lnTo>
                      <a:pt x="34" y="111"/>
                    </a:lnTo>
                    <a:lnTo>
                      <a:pt x="32" y="111"/>
                    </a:lnTo>
                    <a:lnTo>
                      <a:pt x="32" y="109"/>
                    </a:lnTo>
                    <a:lnTo>
                      <a:pt x="30" y="109"/>
                    </a:lnTo>
                    <a:lnTo>
                      <a:pt x="29" y="109"/>
                    </a:lnTo>
                    <a:lnTo>
                      <a:pt x="29" y="107"/>
                    </a:lnTo>
                    <a:lnTo>
                      <a:pt x="30" y="107"/>
                    </a:lnTo>
                    <a:lnTo>
                      <a:pt x="29" y="107"/>
                    </a:lnTo>
                    <a:lnTo>
                      <a:pt x="29" y="106"/>
                    </a:lnTo>
                    <a:lnTo>
                      <a:pt x="30" y="106"/>
                    </a:lnTo>
                    <a:lnTo>
                      <a:pt x="30" y="104"/>
                    </a:lnTo>
                    <a:lnTo>
                      <a:pt x="29" y="104"/>
                    </a:lnTo>
                    <a:lnTo>
                      <a:pt x="29" y="102"/>
                    </a:lnTo>
                    <a:lnTo>
                      <a:pt x="30" y="102"/>
                    </a:lnTo>
                    <a:lnTo>
                      <a:pt x="30" y="101"/>
                    </a:lnTo>
                    <a:lnTo>
                      <a:pt x="29" y="101"/>
                    </a:lnTo>
                    <a:lnTo>
                      <a:pt x="29" y="99"/>
                    </a:lnTo>
                    <a:lnTo>
                      <a:pt x="27" y="99"/>
                    </a:lnTo>
                    <a:lnTo>
                      <a:pt x="29" y="99"/>
                    </a:lnTo>
                    <a:lnTo>
                      <a:pt x="29" y="97"/>
                    </a:lnTo>
                    <a:lnTo>
                      <a:pt x="27" y="97"/>
                    </a:lnTo>
                    <a:lnTo>
                      <a:pt x="27" y="99"/>
                    </a:lnTo>
                    <a:lnTo>
                      <a:pt x="27" y="97"/>
                    </a:lnTo>
                    <a:lnTo>
                      <a:pt x="25" y="97"/>
                    </a:lnTo>
                    <a:lnTo>
                      <a:pt x="25" y="95"/>
                    </a:lnTo>
                    <a:lnTo>
                      <a:pt x="27" y="95"/>
                    </a:lnTo>
                    <a:lnTo>
                      <a:pt x="27" y="94"/>
                    </a:lnTo>
                    <a:lnTo>
                      <a:pt x="25" y="92"/>
                    </a:lnTo>
                    <a:lnTo>
                      <a:pt x="27" y="92"/>
                    </a:lnTo>
                    <a:lnTo>
                      <a:pt x="27" y="90"/>
                    </a:lnTo>
                    <a:lnTo>
                      <a:pt x="25" y="90"/>
                    </a:lnTo>
                    <a:lnTo>
                      <a:pt x="27" y="90"/>
                    </a:lnTo>
                    <a:lnTo>
                      <a:pt x="25" y="89"/>
                    </a:lnTo>
                    <a:lnTo>
                      <a:pt x="25" y="90"/>
                    </a:lnTo>
                    <a:lnTo>
                      <a:pt x="23" y="90"/>
                    </a:lnTo>
                    <a:lnTo>
                      <a:pt x="22" y="90"/>
                    </a:lnTo>
                    <a:lnTo>
                      <a:pt x="22" y="89"/>
                    </a:lnTo>
                    <a:lnTo>
                      <a:pt x="22" y="90"/>
                    </a:lnTo>
                    <a:lnTo>
                      <a:pt x="20" y="90"/>
                    </a:lnTo>
                    <a:lnTo>
                      <a:pt x="18" y="90"/>
                    </a:lnTo>
                    <a:lnTo>
                      <a:pt x="17" y="90"/>
                    </a:lnTo>
                    <a:lnTo>
                      <a:pt x="15" y="90"/>
                    </a:lnTo>
                    <a:lnTo>
                      <a:pt x="13" y="90"/>
                    </a:lnTo>
                    <a:lnTo>
                      <a:pt x="13" y="89"/>
                    </a:lnTo>
                    <a:lnTo>
                      <a:pt x="13" y="87"/>
                    </a:lnTo>
                    <a:lnTo>
                      <a:pt x="13" y="85"/>
                    </a:lnTo>
                    <a:lnTo>
                      <a:pt x="15" y="85"/>
                    </a:lnTo>
                    <a:lnTo>
                      <a:pt x="15" y="84"/>
                    </a:lnTo>
                    <a:lnTo>
                      <a:pt x="13" y="84"/>
                    </a:lnTo>
                    <a:lnTo>
                      <a:pt x="12" y="84"/>
                    </a:lnTo>
                    <a:lnTo>
                      <a:pt x="12" y="82"/>
                    </a:lnTo>
                    <a:lnTo>
                      <a:pt x="10" y="82"/>
                    </a:lnTo>
                    <a:lnTo>
                      <a:pt x="10" y="80"/>
                    </a:lnTo>
                    <a:lnTo>
                      <a:pt x="8" y="80"/>
                    </a:lnTo>
                    <a:lnTo>
                      <a:pt x="8" y="78"/>
                    </a:lnTo>
                    <a:lnTo>
                      <a:pt x="8" y="77"/>
                    </a:lnTo>
                    <a:lnTo>
                      <a:pt x="6" y="77"/>
                    </a:lnTo>
                    <a:lnTo>
                      <a:pt x="6" y="75"/>
                    </a:lnTo>
                    <a:lnTo>
                      <a:pt x="6" y="73"/>
                    </a:lnTo>
                    <a:lnTo>
                      <a:pt x="5" y="73"/>
                    </a:lnTo>
                    <a:lnTo>
                      <a:pt x="5" y="72"/>
                    </a:lnTo>
                    <a:lnTo>
                      <a:pt x="3" y="72"/>
                    </a:lnTo>
                    <a:lnTo>
                      <a:pt x="3" y="70"/>
                    </a:lnTo>
                    <a:lnTo>
                      <a:pt x="1" y="70"/>
                    </a:lnTo>
                    <a:lnTo>
                      <a:pt x="1" y="68"/>
                    </a:lnTo>
                    <a:lnTo>
                      <a:pt x="1" y="67"/>
                    </a:lnTo>
                    <a:lnTo>
                      <a:pt x="1" y="65"/>
                    </a:lnTo>
                    <a:lnTo>
                      <a:pt x="0" y="63"/>
                    </a:lnTo>
                    <a:lnTo>
                      <a:pt x="1" y="63"/>
                    </a:lnTo>
                    <a:lnTo>
                      <a:pt x="1" y="61"/>
                    </a:lnTo>
                    <a:lnTo>
                      <a:pt x="1" y="60"/>
                    </a:lnTo>
                    <a:lnTo>
                      <a:pt x="3" y="60"/>
                    </a:lnTo>
                    <a:lnTo>
                      <a:pt x="3" y="58"/>
                    </a:lnTo>
                    <a:lnTo>
                      <a:pt x="5" y="58"/>
                    </a:lnTo>
                    <a:lnTo>
                      <a:pt x="5" y="56"/>
                    </a:lnTo>
                    <a:lnTo>
                      <a:pt x="3" y="56"/>
                    </a:lnTo>
                    <a:lnTo>
                      <a:pt x="3" y="55"/>
                    </a:lnTo>
                    <a:lnTo>
                      <a:pt x="5" y="55"/>
                    </a:lnTo>
                    <a:lnTo>
                      <a:pt x="5" y="53"/>
                    </a:lnTo>
                    <a:lnTo>
                      <a:pt x="5" y="51"/>
                    </a:lnTo>
                    <a:lnTo>
                      <a:pt x="6" y="51"/>
                    </a:lnTo>
                    <a:lnTo>
                      <a:pt x="6" y="50"/>
                    </a:lnTo>
                    <a:lnTo>
                      <a:pt x="6" y="48"/>
                    </a:lnTo>
                    <a:lnTo>
                      <a:pt x="8" y="48"/>
                    </a:lnTo>
                    <a:lnTo>
                      <a:pt x="8" y="46"/>
                    </a:lnTo>
                    <a:lnTo>
                      <a:pt x="8" y="44"/>
                    </a:lnTo>
                    <a:lnTo>
                      <a:pt x="6" y="44"/>
                    </a:lnTo>
                    <a:lnTo>
                      <a:pt x="6" y="43"/>
                    </a:lnTo>
                    <a:lnTo>
                      <a:pt x="5" y="43"/>
                    </a:lnTo>
                    <a:lnTo>
                      <a:pt x="5" y="41"/>
                    </a:lnTo>
                    <a:lnTo>
                      <a:pt x="5" y="39"/>
                    </a:lnTo>
                    <a:lnTo>
                      <a:pt x="6" y="39"/>
                    </a:lnTo>
                    <a:lnTo>
                      <a:pt x="6" y="38"/>
                    </a:lnTo>
                    <a:lnTo>
                      <a:pt x="8" y="38"/>
                    </a:lnTo>
                    <a:lnTo>
                      <a:pt x="10" y="38"/>
                    </a:lnTo>
                    <a:lnTo>
                      <a:pt x="10" y="36"/>
                    </a:lnTo>
                    <a:lnTo>
                      <a:pt x="12" y="36"/>
                    </a:lnTo>
                    <a:lnTo>
                      <a:pt x="12" y="34"/>
                    </a:lnTo>
                    <a:lnTo>
                      <a:pt x="13" y="34"/>
                    </a:lnTo>
                    <a:lnTo>
                      <a:pt x="15" y="36"/>
                    </a:lnTo>
                    <a:lnTo>
                      <a:pt x="15" y="34"/>
                    </a:lnTo>
                    <a:lnTo>
                      <a:pt x="17" y="34"/>
                    </a:lnTo>
                    <a:lnTo>
                      <a:pt x="18" y="34"/>
                    </a:lnTo>
                    <a:lnTo>
                      <a:pt x="20" y="36"/>
                    </a:lnTo>
                    <a:lnTo>
                      <a:pt x="20" y="34"/>
                    </a:lnTo>
                    <a:lnTo>
                      <a:pt x="22" y="34"/>
                    </a:lnTo>
                    <a:lnTo>
                      <a:pt x="22" y="36"/>
                    </a:lnTo>
                    <a:lnTo>
                      <a:pt x="22" y="34"/>
                    </a:lnTo>
                    <a:lnTo>
                      <a:pt x="23" y="34"/>
                    </a:lnTo>
                    <a:lnTo>
                      <a:pt x="25" y="34"/>
                    </a:lnTo>
                    <a:lnTo>
                      <a:pt x="27" y="34"/>
                    </a:lnTo>
                    <a:lnTo>
                      <a:pt x="27" y="32"/>
                    </a:lnTo>
                    <a:lnTo>
                      <a:pt x="25" y="32"/>
                    </a:lnTo>
                    <a:lnTo>
                      <a:pt x="25" y="31"/>
                    </a:lnTo>
                    <a:lnTo>
                      <a:pt x="25" y="29"/>
                    </a:lnTo>
                    <a:lnTo>
                      <a:pt x="27" y="29"/>
                    </a:lnTo>
                    <a:lnTo>
                      <a:pt x="29" y="29"/>
                    </a:lnTo>
                    <a:lnTo>
                      <a:pt x="29" y="31"/>
                    </a:lnTo>
                    <a:lnTo>
                      <a:pt x="29" y="29"/>
                    </a:lnTo>
                    <a:lnTo>
                      <a:pt x="30" y="29"/>
                    </a:lnTo>
                    <a:lnTo>
                      <a:pt x="30" y="27"/>
                    </a:lnTo>
                    <a:lnTo>
                      <a:pt x="29" y="27"/>
                    </a:lnTo>
                    <a:lnTo>
                      <a:pt x="29" y="26"/>
                    </a:lnTo>
                    <a:lnTo>
                      <a:pt x="27" y="26"/>
                    </a:lnTo>
                    <a:lnTo>
                      <a:pt x="27" y="27"/>
                    </a:lnTo>
                    <a:lnTo>
                      <a:pt x="27" y="26"/>
                    </a:lnTo>
                    <a:lnTo>
                      <a:pt x="27" y="24"/>
                    </a:lnTo>
                    <a:lnTo>
                      <a:pt x="25" y="24"/>
                    </a:lnTo>
                    <a:lnTo>
                      <a:pt x="25" y="22"/>
                    </a:lnTo>
                    <a:lnTo>
                      <a:pt x="27" y="22"/>
                    </a:lnTo>
                    <a:lnTo>
                      <a:pt x="27" y="21"/>
                    </a:lnTo>
                    <a:lnTo>
                      <a:pt x="27" y="19"/>
                    </a:lnTo>
                    <a:lnTo>
                      <a:pt x="29" y="17"/>
                    </a:lnTo>
                    <a:lnTo>
                      <a:pt x="29" y="15"/>
                    </a:lnTo>
                    <a:lnTo>
                      <a:pt x="30" y="14"/>
                    </a:lnTo>
                    <a:lnTo>
                      <a:pt x="30" y="12"/>
                    </a:lnTo>
                    <a:lnTo>
                      <a:pt x="32" y="12"/>
                    </a:lnTo>
                    <a:lnTo>
                      <a:pt x="32" y="10"/>
                    </a:lnTo>
                    <a:lnTo>
                      <a:pt x="32" y="9"/>
                    </a:lnTo>
                    <a:lnTo>
                      <a:pt x="32" y="7"/>
                    </a:lnTo>
                    <a:lnTo>
                      <a:pt x="34" y="5"/>
                    </a:lnTo>
                    <a:lnTo>
                      <a:pt x="34" y="4"/>
                    </a:lnTo>
                    <a:lnTo>
                      <a:pt x="34" y="2"/>
                    </a:lnTo>
                    <a:lnTo>
                      <a:pt x="35" y="2"/>
                    </a:lnTo>
                    <a:lnTo>
                      <a:pt x="37" y="2"/>
                    </a:lnTo>
                    <a:lnTo>
                      <a:pt x="37" y="0"/>
                    </a:lnTo>
                    <a:lnTo>
                      <a:pt x="39" y="0"/>
                    </a:lnTo>
                    <a:lnTo>
                      <a:pt x="39" y="2"/>
                    </a:lnTo>
                    <a:lnTo>
                      <a:pt x="40" y="2"/>
                    </a:lnTo>
                    <a:lnTo>
                      <a:pt x="42" y="2"/>
                    </a:lnTo>
                    <a:lnTo>
                      <a:pt x="44" y="2"/>
                    </a:lnTo>
                    <a:lnTo>
                      <a:pt x="46" y="2"/>
                    </a:lnTo>
                    <a:lnTo>
                      <a:pt x="47" y="2"/>
                    </a:lnTo>
                    <a:lnTo>
                      <a:pt x="49" y="2"/>
                    </a:lnTo>
                    <a:lnTo>
                      <a:pt x="49" y="4"/>
                    </a:lnTo>
                    <a:lnTo>
                      <a:pt x="51" y="4"/>
                    </a:lnTo>
                    <a:lnTo>
                      <a:pt x="52" y="4"/>
                    </a:lnTo>
                    <a:lnTo>
                      <a:pt x="54" y="4"/>
                    </a:lnTo>
                    <a:lnTo>
                      <a:pt x="56" y="4"/>
                    </a:lnTo>
                    <a:lnTo>
                      <a:pt x="57" y="4"/>
                    </a:lnTo>
                    <a:lnTo>
                      <a:pt x="59" y="5"/>
                    </a:lnTo>
                    <a:lnTo>
                      <a:pt x="61" y="5"/>
                    </a:lnTo>
                    <a:lnTo>
                      <a:pt x="63" y="5"/>
                    </a:lnTo>
                    <a:lnTo>
                      <a:pt x="64" y="5"/>
                    </a:lnTo>
                    <a:lnTo>
                      <a:pt x="66" y="5"/>
                    </a:lnTo>
                    <a:lnTo>
                      <a:pt x="66" y="7"/>
                    </a:lnTo>
                    <a:lnTo>
                      <a:pt x="68" y="7"/>
                    </a:lnTo>
                    <a:lnTo>
                      <a:pt x="69" y="7"/>
                    </a:lnTo>
                    <a:lnTo>
                      <a:pt x="71" y="7"/>
                    </a:lnTo>
                    <a:lnTo>
                      <a:pt x="73" y="7"/>
                    </a:lnTo>
                    <a:lnTo>
                      <a:pt x="71" y="5"/>
                    </a:lnTo>
                    <a:lnTo>
                      <a:pt x="71" y="4"/>
                    </a:lnTo>
                    <a:lnTo>
                      <a:pt x="73" y="4"/>
                    </a:lnTo>
                    <a:lnTo>
                      <a:pt x="73" y="2"/>
                    </a:lnTo>
                    <a:lnTo>
                      <a:pt x="74" y="2"/>
                    </a:lnTo>
                    <a:lnTo>
                      <a:pt x="76" y="2"/>
                    </a:lnTo>
                    <a:lnTo>
                      <a:pt x="78" y="2"/>
                    </a:lnTo>
                    <a:lnTo>
                      <a:pt x="80" y="2"/>
                    </a:lnTo>
                    <a:lnTo>
                      <a:pt x="81" y="2"/>
                    </a:lnTo>
                    <a:lnTo>
                      <a:pt x="83" y="0"/>
                    </a:lnTo>
                    <a:lnTo>
                      <a:pt x="85" y="2"/>
                    </a:lnTo>
                    <a:lnTo>
                      <a:pt x="86" y="2"/>
                    </a:lnTo>
                    <a:lnTo>
                      <a:pt x="88" y="2"/>
                    </a:lnTo>
                    <a:lnTo>
                      <a:pt x="90" y="2"/>
                    </a:lnTo>
                    <a:lnTo>
                      <a:pt x="91" y="2"/>
                    </a:lnTo>
                    <a:lnTo>
                      <a:pt x="93" y="2"/>
                    </a:lnTo>
                    <a:lnTo>
                      <a:pt x="93" y="4"/>
                    </a:lnTo>
                    <a:lnTo>
                      <a:pt x="95" y="4"/>
                    </a:lnTo>
                    <a:lnTo>
                      <a:pt x="97" y="4"/>
                    </a:lnTo>
                    <a:lnTo>
                      <a:pt x="98" y="4"/>
                    </a:lnTo>
                    <a:lnTo>
                      <a:pt x="100" y="5"/>
                    </a:lnTo>
                    <a:lnTo>
                      <a:pt x="102" y="5"/>
                    </a:lnTo>
                    <a:lnTo>
                      <a:pt x="103" y="5"/>
                    </a:lnTo>
                    <a:lnTo>
                      <a:pt x="102" y="4"/>
                    </a:lnTo>
                    <a:lnTo>
                      <a:pt x="100" y="4"/>
                    </a:lnTo>
                    <a:lnTo>
                      <a:pt x="98" y="4"/>
                    </a:lnTo>
                    <a:lnTo>
                      <a:pt x="98" y="2"/>
                    </a:lnTo>
                    <a:lnTo>
                      <a:pt x="100" y="2"/>
                    </a:lnTo>
                    <a:lnTo>
                      <a:pt x="102" y="2"/>
                    </a:lnTo>
                    <a:lnTo>
                      <a:pt x="103" y="0"/>
                    </a:lnTo>
                    <a:lnTo>
                      <a:pt x="103" y="2"/>
                    </a:lnTo>
                    <a:lnTo>
                      <a:pt x="105" y="2"/>
                    </a:lnTo>
                    <a:lnTo>
                      <a:pt x="107" y="2"/>
                    </a:lnTo>
                    <a:lnTo>
                      <a:pt x="108" y="2"/>
                    </a:lnTo>
                    <a:lnTo>
                      <a:pt x="110" y="2"/>
                    </a:lnTo>
                    <a:lnTo>
                      <a:pt x="112" y="2"/>
                    </a:lnTo>
                    <a:lnTo>
                      <a:pt x="114" y="2"/>
                    </a:lnTo>
                    <a:lnTo>
                      <a:pt x="115" y="2"/>
                    </a:lnTo>
                    <a:lnTo>
                      <a:pt x="117" y="2"/>
                    </a:lnTo>
                    <a:lnTo>
                      <a:pt x="119" y="2"/>
                    </a:lnTo>
                    <a:lnTo>
                      <a:pt x="120" y="2"/>
                    </a:lnTo>
                    <a:lnTo>
                      <a:pt x="120" y="4"/>
                    </a:lnTo>
                    <a:lnTo>
                      <a:pt x="122" y="4"/>
                    </a:lnTo>
                    <a:lnTo>
                      <a:pt x="124" y="4"/>
                    </a:lnTo>
                    <a:lnTo>
                      <a:pt x="125" y="4"/>
                    </a:lnTo>
                    <a:lnTo>
                      <a:pt x="127" y="4"/>
                    </a:lnTo>
                    <a:lnTo>
                      <a:pt x="129" y="4"/>
                    </a:lnTo>
                    <a:lnTo>
                      <a:pt x="129" y="5"/>
                    </a:lnTo>
                    <a:lnTo>
                      <a:pt x="131" y="5"/>
                    </a:lnTo>
                    <a:lnTo>
                      <a:pt x="132" y="5"/>
                    </a:lnTo>
                    <a:lnTo>
                      <a:pt x="134" y="5"/>
                    </a:lnTo>
                    <a:lnTo>
                      <a:pt x="136" y="5"/>
                    </a:lnTo>
                    <a:lnTo>
                      <a:pt x="136" y="7"/>
                    </a:lnTo>
                    <a:lnTo>
                      <a:pt x="137" y="7"/>
                    </a:lnTo>
                    <a:lnTo>
                      <a:pt x="137" y="9"/>
                    </a:lnTo>
                    <a:lnTo>
                      <a:pt x="137" y="10"/>
                    </a:lnTo>
                    <a:close/>
                    <a:moveTo>
                      <a:pt x="32" y="9"/>
                    </a:moveTo>
                    <a:lnTo>
                      <a:pt x="32" y="7"/>
                    </a:lnTo>
                    <a:lnTo>
                      <a:pt x="32" y="5"/>
                    </a:lnTo>
                    <a:lnTo>
                      <a:pt x="34" y="4"/>
                    </a:lnTo>
                    <a:lnTo>
                      <a:pt x="34" y="5"/>
                    </a:lnTo>
                    <a:lnTo>
                      <a:pt x="32" y="7"/>
                    </a:lnTo>
                    <a:lnTo>
                      <a:pt x="32" y="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028" name="Freeform 55">
                <a:extLst>
                  <a:ext uri="{FF2B5EF4-FFF2-40B4-BE49-F238E27FC236}">
                    <a16:creationId xmlns:a16="http://schemas.microsoft.com/office/drawing/2014/main" id="{E80C7005-81F5-09D7-C8EF-72DF59143D05}"/>
                  </a:ext>
                </a:extLst>
              </p:cNvPr>
              <p:cNvSpPr>
                <a:spLocks noEditPoints="1"/>
              </p:cNvSpPr>
              <p:nvPr/>
            </p:nvSpPr>
            <p:spPr bwMode="auto">
              <a:xfrm>
                <a:off x="6334125" y="1841500"/>
                <a:ext cx="73025" cy="69850"/>
              </a:xfrm>
              <a:custGeom>
                <a:avLst/>
                <a:gdLst>
                  <a:gd name="T0" fmla="*/ 34 w 46"/>
                  <a:gd name="T1" fmla="*/ 17 h 44"/>
                  <a:gd name="T2" fmla="*/ 33 w 46"/>
                  <a:gd name="T3" fmla="*/ 21 h 44"/>
                  <a:gd name="T4" fmla="*/ 29 w 46"/>
                  <a:gd name="T5" fmla="*/ 22 h 44"/>
                  <a:gd name="T6" fmla="*/ 31 w 46"/>
                  <a:gd name="T7" fmla="*/ 26 h 44"/>
                  <a:gd name="T8" fmla="*/ 29 w 46"/>
                  <a:gd name="T9" fmla="*/ 29 h 44"/>
                  <a:gd name="T10" fmla="*/ 31 w 46"/>
                  <a:gd name="T11" fmla="*/ 32 h 44"/>
                  <a:gd name="T12" fmla="*/ 31 w 46"/>
                  <a:gd name="T13" fmla="*/ 36 h 44"/>
                  <a:gd name="T14" fmla="*/ 31 w 46"/>
                  <a:gd name="T15" fmla="*/ 41 h 44"/>
                  <a:gd name="T16" fmla="*/ 28 w 46"/>
                  <a:gd name="T17" fmla="*/ 43 h 44"/>
                  <a:gd name="T18" fmla="*/ 24 w 46"/>
                  <a:gd name="T19" fmla="*/ 44 h 44"/>
                  <a:gd name="T20" fmla="*/ 23 w 46"/>
                  <a:gd name="T21" fmla="*/ 44 h 44"/>
                  <a:gd name="T22" fmla="*/ 19 w 46"/>
                  <a:gd name="T23" fmla="*/ 44 h 44"/>
                  <a:gd name="T24" fmla="*/ 14 w 46"/>
                  <a:gd name="T25" fmla="*/ 44 h 44"/>
                  <a:gd name="T26" fmla="*/ 9 w 46"/>
                  <a:gd name="T27" fmla="*/ 44 h 44"/>
                  <a:gd name="T28" fmla="*/ 6 w 46"/>
                  <a:gd name="T29" fmla="*/ 43 h 44"/>
                  <a:gd name="T30" fmla="*/ 4 w 46"/>
                  <a:gd name="T31" fmla="*/ 43 h 44"/>
                  <a:gd name="T32" fmla="*/ 0 w 46"/>
                  <a:gd name="T33" fmla="*/ 44 h 44"/>
                  <a:gd name="T34" fmla="*/ 4 w 46"/>
                  <a:gd name="T35" fmla="*/ 43 h 44"/>
                  <a:gd name="T36" fmla="*/ 7 w 46"/>
                  <a:gd name="T37" fmla="*/ 41 h 44"/>
                  <a:gd name="T38" fmla="*/ 9 w 46"/>
                  <a:gd name="T39" fmla="*/ 38 h 44"/>
                  <a:gd name="T40" fmla="*/ 12 w 46"/>
                  <a:gd name="T41" fmla="*/ 38 h 44"/>
                  <a:gd name="T42" fmla="*/ 16 w 46"/>
                  <a:gd name="T43" fmla="*/ 36 h 44"/>
                  <a:gd name="T44" fmla="*/ 14 w 46"/>
                  <a:gd name="T45" fmla="*/ 32 h 44"/>
                  <a:gd name="T46" fmla="*/ 16 w 46"/>
                  <a:gd name="T47" fmla="*/ 27 h 44"/>
                  <a:gd name="T48" fmla="*/ 12 w 46"/>
                  <a:gd name="T49" fmla="*/ 24 h 44"/>
                  <a:gd name="T50" fmla="*/ 9 w 46"/>
                  <a:gd name="T51" fmla="*/ 24 h 44"/>
                  <a:gd name="T52" fmla="*/ 11 w 46"/>
                  <a:gd name="T53" fmla="*/ 21 h 44"/>
                  <a:gd name="T54" fmla="*/ 16 w 46"/>
                  <a:gd name="T55" fmla="*/ 19 h 44"/>
                  <a:gd name="T56" fmla="*/ 19 w 46"/>
                  <a:gd name="T57" fmla="*/ 19 h 44"/>
                  <a:gd name="T58" fmla="*/ 24 w 46"/>
                  <a:gd name="T59" fmla="*/ 19 h 44"/>
                  <a:gd name="T60" fmla="*/ 29 w 46"/>
                  <a:gd name="T61" fmla="*/ 17 h 44"/>
                  <a:gd name="T62" fmla="*/ 46 w 46"/>
                  <a:gd name="T63" fmla="*/ 2 h 44"/>
                  <a:gd name="T64" fmla="*/ 45 w 46"/>
                  <a:gd name="T65" fmla="*/ 5 h 44"/>
                  <a:gd name="T66" fmla="*/ 41 w 46"/>
                  <a:gd name="T67" fmla="*/ 7 h 44"/>
                  <a:gd name="T68" fmla="*/ 38 w 46"/>
                  <a:gd name="T69" fmla="*/ 7 h 44"/>
                  <a:gd name="T70" fmla="*/ 38 w 46"/>
                  <a:gd name="T71" fmla="*/ 7 h 44"/>
                  <a:gd name="T72" fmla="*/ 38 w 46"/>
                  <a:gd name="T73" fmla="*/ 4 h 44"/>
                  <a:gd name="T74" fmla="*/ 41 w 46"/>
                  <a:gd name="T75" fmla="*/ 2 h 44"/>
                  <a:gd name="T76" fmla="*/ 45 w 46"/>
                  <a:gd name="T77" fmla="*/ 0 h 44"/>
                  <a:gd name="T78" fmla="*/ 7 w 46"/>
                  <a:gd name="T79" fmla="*/ 22 h 44"/>
                  <a:gd name="T80" fmla="*/ 6 w 46"/>
                  <a:gd name="T81" fmla="*/ 22 h 44"/>
                  <a:gd name="T82" fmla="*/ 6 w 46"/>
                  <a:gd name="T83"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6" h="44">
                    <a:moveTo>
                      <a:pt x="31" y="17"/>
                    </a:moveTo>
                    <a:lnTo>
                      <a:pt x="33" y="17"/>
                    </a:lnTo>
                    <a:lnTo>
                      <a:pt x="34" y="17"/>
                    </a:lnTo>
                    <a:lnTo>
                      <a:pt x="34" y="19"/>
                    </a:lnTo>
                    <a:lnTo>
                      <a:pt x="33" y="19"/>
                    </a:lnTo>
                    <a:lnTo>
                      <a:pt x="33" y="21"/>
                    </a:lnTo>
                    <a:lnTo>
                      <a:pt x="31" y="21"/>
                    </a:lnTo>
                    <a:lnTo>
                      <a:pt x="31" y="22"/>
                    </a:lnTo>
                    <a:lnTo>
                      <a:pt x="29" y="22"/>
                    </a:lnTo>
                    <a:lnTo>
                      <a:pt x="29" y="24"/>
                    </a:lnTo>
                    <a:lnTo>
                      <a:pt x="29" y="26"/>
                    </a:lnTo>
                    <a:lnTo>
                      <a:pt x="31" y="26"/>
                    </a:lnTo>
                    <a:lnTo>
                      <a:pt x="31" y="27"/>
                    </a:lnTo>
                    <a:lnTo>
                      <a:pt x="31" y="29"/>
                    </a:lnTo>
                    <a:lnTo>
                      <a:pt x="29" y="29"/>
                    </a:lnTo>
                    <a:lnTo>
                      <a:pt x="29" y="31"/>
                    </a:lnTo>
                    <a:lnTo>
                      <a:pt x="29" y="32"/>
                    </a:lnTo>
                    <a:lnTo>
                      <a:pt x="31" y="32"/>
                    </a:lnTo>
                    <a:lnTo>
                      <a:pt x="31" y="34"/>
                    </a:lnTo>
                    <a:lnTo>
                      <a:pt x="33" y="34"/>
                    </a:lnTo>
                    <a:lnTo>
                      <a:pt x="31" y="36"/>
                    </a:lnTo>
                    <a:lnTo>
                      <a:pt x="31" y="38"/>
                    </a:lnTo>
                    <a:lnTo>
                      <a:pt x="31" y="39"/>
                    </a:lnTo>
                    <a:lnTo>
                      <a:pt x="31" y="41"/>
                    </a:lnTo>
                    <a:lnTo>
                      <a:pt x="29" y="41"/>
                    </a:lnTo>
                    <a:lnTo>
                      <a:pt x="29" y="43"/>
                    </a:lnTo>
                    <a:lnTo>
                      <a:pt x="28" y="43"/>
                    </a:lnTo>
                    <a:lnTo>
                      <a:pt x="26" y="43"/>
                    </a:lnTo>
                    <a:lnTo>
                      <a:pt x="26" y="44"/>
                    </a:lnTo>
                    <a:lnTo>
                      <a:pt x="24" y="44"/>
                    </a:lnTo>
                    <a:lnTo>
                      <a:pt x="23" y="44"/>
                    </a:lnTo>
                    <a:lnTo>
                      <a:pt x="23" y="43"/>
                    </a:lnTo>
                    <a:lnTo>
                      <a:pt x="23" y="44"/>
                    </a:lnTo>
                    <a:lnTo>
                      <a:pt x="21" y="43"/>
                    </a:lnTo>
                    <a:lnTo>
                      <a:pt x="21" y="44"/>
                    </a:lnTo>
                    <a:lnTo>
                      <a:pt x="19" y="44"/>
                    </a:lnTo>
                    <a:lnTo>
                      <a:pt x="17" y="44"/>
                    </a:lnTo>
                    <a:lnTo>
                      <a:pt x="16" y="44"/>
                    </a:lnTo>
                    <a:lnTo>
                      <a:pt x="14" y="44"/>
                    </a:lnTo>
                    <a:lnTo>
                      <a:pt x="12" y="44"/>
                    </a:lnTo>
                    <a:lnTo>
                      <a:pt x="11" y="44"/>
                    </a:lnTo>
                    <a:lnTo>
                      <a:pt x="9" y="44"/>
                    </a:lnTo>
                    <a:lnTo>
                      <a:pt x="7" y="44"/>
                    </a:lnTo>
                    <a:lnTo>
                      <a:pt x="7" y="43"/>
                    </a:lnTo>
                    <a:lnTo>
                      <a:pt x="6" y="43"/>
                    </a:lnTo>
                    <a:lnTo>
                      <a:pt x="6" y="44"/>
                    </a:lnTo>
                    <a:lnTo>
                      <a:pt x="4" y="44"/>
                    </a:lnTo>
                    <a:lnTo>
                      <a:pt x="4" y="43"/>
                    </a:lnTo>
                    <a:lnTo>
                      <a:pt x="4" y="44"/>
                    </a:lnTo>
                    <a:lnTo>
                      <a:pt x="2" y="44"/>
                    </a:lnTo>
                    <a:lnTo>
                      <a:pt x="0" y="44"/>
                    </a:lnTo>
                    <a:lnTo>
                      <a:pt x="0" y="43"/>
                    </a:lnTo>
                    <a:lnTo>
                      <a:pt x="2" y="43"/>
                    </a:lnTo>
                    <a:lnTo>
                      <a:pt x="4" y="43"/>
                    </a:lnTo>
                    <a:lnTo>
                      <a:pt x="4" y="41"/>
                    </a:lnTo>
                    <a:lnTo>
                      <a:pt x="6" y="41"/>
                    </a:lnTo>
                    <a:lnTo>
                      <a:pt x="7" y="41"/>
                    </a:lnTo>
                    <a:lnTo>
                      <a:pt x="7" y="39"/>
                    </a:lnTo>
                    <a:lnTo>
                      <a:pt x="9" y="39"/>
                    </a:lnTo>
                    <a:lnTo>
                      <a:pt x="9" y="38"/>
                    </a:lnTo>
                    <a:lnTo>
                      <a:pt x="11" y="38"/>
                    </a:lnTo>
                    <a:lnTo>
                      <a:pt x="12" y="39"/>
                    </a:lnTo>
                    <a:lnTo>
                      <a:pt x="12" y="38"/>
                    </a:lnTo>
                    <a:lnTo>
                      <a:pt x="14" y="38"/>
                    </a:lnTo>
                    <a:lnTo>
                      <a:pt x="16" y="38"/>
                    </a:lnTo>
                    <a:lnTo>
                      <a:pt x="16" y="36"/>
                    </a:lnTo>
                    <a:lnTo>
                      <a:pt x="16" y="34"/>
                    </a:lnTo>
                    <a:lnTo>
                      <a:pt x="14" y="34"/>
                    </a:lnTo>
                    <a:lnTo>
                      <a:pt x="14" y="32"/>
                    </a:lnTo>
                    <a:lnTo>
                      <a:pt x="14" y="31"/>
                    </a:lnTo>
                    <a:lnTo>
                      <a:pt x="16" y="29"/>
                    </a:lnTo>
                    <a:lnTo>
                      <a:pt x="16" y="27"/>
                    </a:lnTo>
                    <a:lnTo>
                      <a:pt x="14" y="26"/>
                    </a:lnTo>
                    <a:lnTo>
                      <a:pt x="14" y="24"/>
                    </a:lnTo>
                    <a:lnTo>
                      <a:pt x="12" y="24"/>
                    </a:lnTo>
                    <a:lnTo>
                      <a:pt x="11" y="22"/>
                    </a:lnTo>
                    <a:lnTo>
                      <a:pt x="11" y="24"/>
                    </a:lnTo>
                    <a:lnTo>
                      <a:pt x="9" y="24"/>
                    </a:lnTo>
                    <a:lnTo>
                      <a:pt x="9" y="22"/>
                    </a:lnTo>
                    <a:lnTo>
                      <a:pt x="9" y="21"/>
                    </a:lnTo>
                    <a:lnTo>
                      <a:pt x="11" y="21"/>
                    </a:lnTo>
                    <a:lnTo>
                      <a:pt x="12" y="21"/>
                    </a:lnTo>
                    <a:lnTo>
                      <a:pt x="14" y="21"/>
                    </a:lnTo>
                    <a:lnTo>
                      <a:pt x="16" y="19"/>
                    </a:lnTo>
                    <a:lnTo>
                      <a:pt x="16" y="21"/>
                    </a:lnTo>
                    <a:lnTo>
                      <a:pt x="17" y="19"/>
                    </a:lnTo>
                    <a:lnTo>
                      <a:pt x="19" y="19"/>
                    </a:lnTo>
                    <a:lnTo>
                      <a:pt x="21" y="19"/>
                    </a:lnTo>
                    <a:lnTo>
                      <a:pt x="23" y="19"/>
                    </a:lnTo>
                    <a:lnTo>
                      <a:pt x="24" y="19"/>
                    </a:lnTo>
                    <a:lnTo>
                      <a:pt x="26" y="19"/>
                    </a:lnTo>
                    <a:lnTo>
                      <a:pt x="28" y="19"/>
                    </a:lnTo>
                    <a:lnTo>
                      <a:pt x="29" y="17"/>
                    </a:lnTo>
                    <a:lnTo>
                      <a:pt x="31" y="17"/>
                    </a:lnTo>
                    <a:close/>
                    <a:moveTo>
                      <a:pt x="46" y="0"/>
                    </a:moveTo>
                    <a:lnTo>
                      <a:pt x="46" y="2"/>
                    </a:lnTo>
                    <a:lnTo>
                      <a:pt x="46" y="4"/>
                    </a:lnTo>
                    <a:lnTo>
                      <a:pt x="45" y="4"/>
                    </a:lnTo>
                    <a:lnTo>
                      <a:pt x="45" y="5"/>
                    </a:lnTo>
                    <a:lnTo>
                      <a:pt x="43" y="5"/>
                    </a:lnTo>
                    <a:lnTo>
                      <a:pt x="41" y="5"/>
                    </a:lnTo>
                    <a:lnTo>
                      <a:pt x="41" y="7"/>
                    </a:lnTo>
                    <a:lnTo>
                      <a:pt x="40" y="5"/>
                    </a:lnTo>
                    <a:lnTo>
                      <a:pt x="40" y="7"/>
                    </a:lnTo>
                    <a:lnTo>
                      <a:pt x="38" y="7"/>
                    </a:lnTo>
                    <a:lnTo>
                      <a:pt x="36" y="7"/>
                    </a:lnTo>
                    <a:lnTo>
                      <a:pt x="36" y="5"/>
                    </a:lnTo>
                    <a:lnTo>
                      <a:pt x="38" y="7"/>
                    </a:lnTo>
                    <a:lnTo>
                      <a:pt x="36" y="5"/>
                    </a:lnTo>
                    <a:lnTo>
                      <a:pt x="38" y="5"/>
                    </a:lnTo>
                    <a:lnTo>
                      <a:pt x="38" y="4"/>
                    </a:lnTo>
                    <a:lnTo>
                      <a:pt x="40" y="4"/>
                    </a:lnTo>
                    <a:lnTo>
                      <a:pt x="41" y="4"/>
                    </a:lnTo>
                    <a:lnTo>
                      <a:pt x="41" y="2"/>
                    </a:lnTo>
                    <a:lnTo>
                      <a:pt x="43" y="2"/>
                    </a:lnTo>
                    <a:lnTo>
                      <a:pt x="45" y="2"/>
                    </a:lnTo>
                    <a:lnTo>
                      <a:pt x="45" y="0"/>
                    </a:lnTo>
                    <a:lnTo>
                      <a:pt x="46" y="2"/>
                    </a:lnTo>
                    <a:lnTo>
                      <a:pt x="46" y="0"/>
                    </a:lnTo>
                    <a:close/>
                    <a:moveTo>
                      <a:pt x="7" y="22"/>
                    </a:moveTo>
                    <a:lnTo>
                      <a:pt x="9" y="22"/>
                    </a:lnTo>
                    <a:lnTo>
                      <a:pt x="7" y="22"/>
                    </a:lnTo>
                    <a:close/>
                    <a:moveTo>
                      <a:pt x="6" y="22"/>
                    </a:moveTo>
                    <a:lnTo>
                      <a:pt x="6" y="24"/>
                    </a:lnTo>
                    <a:lnTo>
                      <a:pt x="6" y="22"/>
                    </a:lnTo>
                    <a:close/>
                    <a:moveTo>
                      <a:pt x="6" y="22"/>
                    </a:moveTo>
                    <a:lnTo>
                      <a:pt x="7" y="22"/>
                    </a:lnTo>
                    <a:lnTo>
                      <a:pt x="6" y="2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029" name="Freeform 56">
                <a:extLst>
                  <a:ext uri="{FF2B5EF4-FFF2-40B4-BE49-F238E27FC236}">
                    <a16:creationId xmlns:a16="http://schemas.microsoft.com/office/drawing/2014/main" id="{6599FDC1-5360-1923-9E23-BAB0F425795B}"/>
                  </a:ext>
                </a:extLst>
              </p:cNvPr>
              <p:cNvSpPr>
                <a:spLocks noEditPoints="1"/>
              </p:cNvSpPr>
              <p:nvPr/>
            </p:nvSpPr>
            <p:spPr bwMode="auto">
              <a:xfrm>
                <a:off x="5767388" y="1247775"/>
                <a:ext cx="76200" cy="42863"/>
              </a:xfrm>
              <a:custGeom>
                <a:avLst/>
                <a:gdLst>
                  <a:gd name="T0" fmla="*/ 26 w 48"/>
                  <a:gd name="T1" fmla="*/ 3 h 27"/>
                  <a:gd name="T2" fmla="*/ 29 w 48"/>
                  <a:gd name="T3" fmla="*/ 7 h 27"/>
                  <a:gd name="T4" fmla="*/ 26 w 48"/>
                  <a:gd name="T5" fmla="*/ 8 h 27"/>
                  <a:gd name="T6" fmla="*/ 24 w 48"/>
                  <a:gd name="T7" fmla="*/ 8 h 27"/>
                  <a:gd name="T8" fmla="*/ 23 w 48"/>
                  <a:gd name="T9" fmla="*/ 7 h 27"/>
                  <a:gd name="T10" fmla="*/ 23 w 48"/>
                  <a:gd name="T11" fmla="*/ 8 h 27"/>
                  <a:gd name="T12" fmla="*/ 21 w 48"/>
                  <a:gd name="T13" fmla="*/ 5 h 27"/>
                  <a:gd name="T14" fmla="*/ 23 w 48"/>
                  <a:gd name="T15" fmla="*/ 5 h 27"/>
                  <a:gd name="T16" fmla="*/ 21 w 48"/>
                  <a:gd name="T17" fmla="*/ 3 h 27"/>
                  <a:gd name="T18" fmla="*/ 19 w 48"/>
                  <a:gd name="T19" fmla="*/ 0 h 27"/>
                  <a:gd name="T20" fmla="*/ 21 w 48"/>
                  <a:gd name="T21" fmla="*/ 5 h 27"/>
                  <a:gd name="T22" fmla="*/ 19 w 48"/>
                  <a:gd name="T23" fmla="*/ 5 h 27"/>
                  <a:gd name="T24" fmla="*/ 16 w 48"/>
                  <a:gd name="T25" fmla="*/ 3 h 27"/>
                  <a:gd name="T26" fmla="*/ 17 w 48"/>
                  <a:gd name="T27" fmla="*/ 0 h 27"/>
                  <a:gd name="T28" fmla="*/ 31 w 48"/>
                  <a:gd name="T29" fmla="*/ 7 h 27"/>
                  <a:gd name="T30" fmla="*/ 34 w 48"/>
                  <a:gd name="T31" fmla="*/ 10 h 27"/>
                  <a:gd name="T32" fmla="*/ 34 w 48"/>
                  <a:gd name="T33" fmla="*/ 12 h 27"/>
                  <a:gd name="T34" fmla="*/ 33 w 48"/>
                  <a:gd name="T35" fmla="*/ 12 h 27"/>
                  <a:gd name="T36" fmla="*/ 31 w 48"/>
                  <a:gd name="T37" fmla="*/ 12 h 27"/>
                  <a:gd name="T38" fmla="*/ 29 w 48"/>
                  <a:gd name="T39" fmla="*/ 10 h 27"/>
                  <a:gd name="T40" fmla="*/ 29 w 48"/>
                  <a:gd name="T41" fmla="*/ 7 h 27"/>
                  <a:gd name="T42" fmla="*/ 7 w 48"/>
                  <a:gd name="T43" fmla="*/ 3 h 27"/>
                  <a:gd name="T44" fmla="*/ 11 w 48"/>
                  <a:gd name="T45" fmla="*/ 5 h 27"/>
                  <a:gd name="T46" fmla="*/ 11 w 48"/>
                  <a:gd name="T47" fmla="*/ 5 h 27"/>
                  <a:gd name="T48" fmla="*/ 7 w 48"/>
                  <a:gd name="T49" fmla="*/ 7 h 27"/>
                  <a:gd name="T50" fmla="*/ 6 w 48"/>
                  <a:gd name="T51" fmla="*/ 3 h 27"/>
                  <a:gd name="T52" fmla="*/ 2 w 48"/>
                  <a:gd name="T53" fmla="*/ 12 h 27"/>
                  <a:gd name="T54" fmla="*/ 33 w 48"/>
                  <a:gd name="T55" fmla="*/ 14 h 27"/>
                  <a:gd name="T56" fmla="*/ 33 w 48"/>
                  <a:gd name="T57" fmla="*/ 17 h 27"/>
                  <a:gd name="T58" fmla="*/ 46 w 48"/>
                  <a:gd name="T59" fmla="*/ 15 h 27"/>
                  <a:gd name="T60" fmla="*/ 45 w 48"/>
                  <a:gd name="T61" fmla="*/ 15 h 27"/>
                  <a:gd name="T62" fmla="*/ 21 w 48"/>
                  <a:gd name="T63" fmla="*/ 3 h 27"/>
                  <a:gd name="T64" fmla="*/ 43 w 48"/>
                  <a:gd name="T65" fmla="*/ 22 h 27"/>
                  <a:gd name="T66" fmla="*/ 43 w 48"/>
                  <a:gd name="T67" fmla="*/ 24 h 27"/>
                  <a:gd name="T68" fmla="*/ 28 w 48"/>
                  <a:gd name="T69" fmla="*/ 24 h 27"/>
                  <a:gd name="T70" fmla="*/ 16 w 48"/>
                  <a:gd name="T71" fmla="*/ 0 h 27"/>
                  <a:gd name="T72" fmla="*/ 14 w 48"/>
                  <a:gd name="T73" fmla="*/ 0 h 27"/>
                  <a:gd name="T74" fmla="*/ 29 w 48"/>
                  <a:gd name="T75" fmla="*/ 22 h 27"/>
                  <a:gd name="T76" fmla="*/ 14 w 48"/>
                  <a:gd name="T77" fmla="*/ 3 h 27"/>
                  <a:gd name="T78" fmla="*/ 12 w 48"/>
                  <a:gd name="T79" fmla="*/ 3 h 27"/>
                  <a:gd name="T80" fmla="*/ 19 w 48"/>
                  <a:gd name="T81" fmla="*/ 0 h 27"/>
                  <a:gd name="T82" fmla="*/ 33 w 48"/>
                  <a:gd name="T83" fmla="*/ 12 h 27"/>
                  <a:gd name="T84" fmla="*/ 31 w 48"/>
                  <a:gd name="T85" fmla="*/ 17 h 27"/>
                  <a:gd name="T86" fmla="*/ 45 w 48"/>
                  <a:gd name="T87" fmla="*/ 20 h 27"/>
                  <a:gd name="T88" fmla="*/ 41 w 48"/>
                  <a:gd name="T89" fmla="*/ 27 h 27"/>
                  <a:gd name="T90" fmla="*/ 48 w 48"/>
                  <a:gd name="T91" fmla="*/ 20 h 27"/>
                  <a:gd name="T92" fmla="*/ 33 w 48"/>
                  <a:gd name="T93" fmla="*/ 12 h 27"/>
                  <a:gd name="T94" fmla="*/ 34 w 48"/>
                  <a:gd name="T95" fmla="*/ 12 h 27"/>
                  <a:gd name="T96" fmla="*/ 46 w 48"/>
                  <a:gd name="T9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8" h="27">
                    <a:moveTo>
                      <a:pt x="23" y="3"/>
                    </a:moveTo>
                    <a:lnTo>
                      <a:pt x="24" y="3"/>
                    </a:lnTo>
                    <a:lnTo>
                      <a:pt x="26" y="3"/>
                    </a:lnTo>
                    <a:lnTo>
                      <a:pt x="28" y="3"/>
                    </a:lnTo>
                    <a:lnTo>
                      <a:pt x="28" y="5"/>
                    </a:lnTo>
                    <a:lnTo>
                      <a:pt x="29" y="7"/>
                    </a:lnTo>
                    <a:lnTo>
                      <a:pt x="29" y="8"/>
                    </a:lnTo>
                    <a:lnTo>
                      <a:pt x="28" y="8"/>
                    </a:lnTo>
                    <a:lnTo>
                      <a:pt x="26" y="8"/>
                    </a:lnTo>
                    <a:lnTo>
                      <a:pt x="24" y="8"/>
                    </a:lnTo>
                    <a:lnTo>
                      <a:pt x="24" y="7"/>
                    </a:lnTo>
                    <a:lnTo>
                      <a:pt x="24" y="8"/>
                    </a:lnTo>
                    <a:lnTo>
                      <a:pt x="23" y="8"/>
                    </a:lnTo>
                    <a:lnTo>
                      <a:pt x="24" y="7"/>
                    </a:lnTo>
                    <a:lnTo>
                      <a:pt x="23" y="7"/>
                    </a:lnTo>
                    <a:lnTo>
                      <a:pt x="24" y="7"/>
                    </a:lnTo>
                    <a:lnTo>
                      <a:pt x="23" y="7"/>
                    </a:lnTo>
                    <a:lnTo>
                      <a:pt x="23" y="8"/>
                    </a:lnTo>
                    <a:lnTo>
                      <a:pt x="21" y="7"/>
                    </a:lnTo>
                    <a:lnTo>
                      <a:pt x="19" y="7"/>
                    </a:lnTo>
                    <a:lnTo>
                      <a:pt x="21" y="5"/>
                    </a:lnTo>
                    <a:lnTo>
                      <a:pt x="19" y="5"/>
                    </a:lnTo>
                    <a:lnTo>
                      <a:pt x="21" y="5"/>
                    </a:lnTo>
                    <a:lnTo>
                      <a:pt x="23" y="5"/>
                    </a:lnTo>
                    <a:lnTo>
                      <a:pt x="21" y="5"/>
                    </a:lnTo>
                    <a:lnTo>
                      <a:pt x="23" y="5"/>
                    </a:lnTo>
                    <a:lnTo>
                      <a:pt x="21" y="3"/>
                    </a:lnTo>
                    <a:lnTo>
                      <a:pt x="23" y="3"/>
                    </a:lnTo>
                    <a:close/>
                    <a:moveTo>
                      <a:pt x="17" y="0"/>
                    </a:moveTo>
                    <a:lnTo>
                      <a:pt x="19" y="0"/>
                    </a:lnTo>
                    <a:lnTo>
                      <a:pt x="19" y="2"/>
                    </a:lnTo>
                    <a:lnTo>
                      <a:pt x="21" y="3"/>
                    </a:lnTo>
                    <a:lnTo>
                      <a:pt x="21" y="5"/>
                    </a:lnTo>
                    <a:lnTo>
                      <a:pt x="19" y="5"/>
                    </a:lnTo>
                    <a:lnTo>
                      <a:pt x="17" y="5"/>
                    </a:lnTo>
                    <a:lnTo>
                      <a:pt x="19" y="5"/>
                    </a:lnTo>
                    <a:lnTo>
                      <a:pt x="17" y="5"/>
                    </a:lnTo>
                    <a:lnTo>
                      <a:pt x="17" y="3"/>
                    </a:lnTo>
                    <a:lnTo>
                      <a:pt x="16" y="3"/>
                    </a:lnTo>
                    <a:lnTo>
                      <a:pt x="16" y="2"/>
                    </a:lnTo>
                    <a:lnTo>
                      <a:pt x="16" y="0"/>
                    </a:lnTo>
                    <a:lnTo>
                      <a:pt x="17" y="0"/>
                    </a:lnTo>
                    <a:close/>
                    <a:moveTo>
                      <a:pt x="31" y="7"/>
                    </a:moveTo>
                    <a:lnTo>
                      <a:pt x="29" y="7"/>
                    </a:lnTo>
                    <a:lnTo>
                      <a:pt x="31" y="7"/>
                    </a:lnTo>
                    <a:lnTo>
                      <a:pt x="33" y="8"/>
                    </a:lnTo>
                    <a:lnTo>
                      <a:pt x="34" y="8"/>
                    </a:lnTo>
                    <a:lnTo>
                      <a:pt x="34" y="10"/>
                    </a:lnTo>
                    <a:lnTo>
                      <a:pt x="34" y="12"/>
                    </a:lnTo>
                    <a:lnTo>
                      <a:pt x="34" y="10"/>
                    </a:lnTo>
                    <a:lnTo>
                      <a:pt x="34" y="12"/>
                    </a:lnTo>
                    <a:lnTo>
                      <a:pt x="33" y="12"/>
                    </a:lnTo>
                    <a:lnTo>
                      <a:pt x="33" y="14"/>
                    </a:lnTo>
                    <a:lnTo>
                      <a:pt x="33" y="12"/>
                    </a:lnTo>
                    <a:lnTo>
                      <a:pt x="33" y="14"/>
                    </a:lnTo>
                    <a:lnTo>
                      <a:pt x="31" y="14"/>
                    </a:lnTo>
                    <a:lnTo>
                      <a:pt x="31" y="12"/>
                    </a:lnTo>
                    <a:lnTo>
                      <a:pt x="31" y="10"/>
                    </a:lnTo>
                    <a:lnTo>
                      <a:pt x="29" y="8"/>
                    </a:lnTo>
                    <a:lnTo>
                      <a:pt x="29" y="10"/>
                    </a:lnTo>
                    <a:lnTo>
                      <a:pt x="28" y="10"/>
                    </a:lnTo>
                    <a:lnTo>
                      <a:pt x="29" y="8"/>
                    </a:lnTo>
                    <a:lnTo>
                      <a:pt x="29" y="7"/>
                    </a:lnTo>
                    <a:lnTo>
                      <a:pt x="31" y="7"/>
                    </a:lnTo>
                    <a:close/>
                    <a:moveTo>
                      <a:pt x="6" y="3"/>
                    </a:moveTo>
                    <a:lnTo>
                      <a:pt x="7" y="3"/>
                    </a:lnTo>
                    <a:lnTo>
                      <a:pt x="7" y="5"/>
                    </a:lnTo>
                    <a:lnTo>
                      <a:pt x="9" y="5"/>
                    </a:lnTo>
                    <a:lnTo>
                      <a:pt x="11" y="5"/>
                    </a:lnTo>
                    <a:lnTo>
                      <a:pt x="12" y="3"/>
                    </a:lnTo>
                    <a:lnTo>
                      <a:pt x="12" y="5"/>
                    </a:lnTo>
                    <a:lnTo>
                      <a:pt x="11" y="5"/>
                    </a:lnTo>
                    <a:lnTo>
                      <a:pt x="11" y="7"/>
                    </a:lnTo>
                    <a:lnTo>
                      <a:pt x="9" y="7"/>
                    </a:lnTo>
                    <a:lnTo>
                      <a:pt x="7" y="7"/>
                    </a:lnTo>
                    <a:lnTo>
                      <a:pt x="6" y="7"/>
                    </a:lnTo>
                    <a:lnTo>
                      <a:pt x="6" y="5"/>
                    </a:lnTo>
                    <a:lnTo>
                      <a:pt x="6" y="3"/>
                    </a:lnTo>
                    <a:close/>
                    <a:moveTo>
                      <a:pt x="0" y="8"/>
                    </a:moveTo>
                    <a:lnTo>
                      <a:pt x="2" y="8"/>
                    </a:lnTo>
                    <a:lnTo>
                      <a:pt x="2" y="12"/>
                    </a:lnTo>
                    <a:lnTo>
                      <a:pt x="0" y="12"/>
                    </a:lnTo>
                    <a:lnTo>
                      <a:pt x="0" y="8"/>
                    </a:lnTo>
                    <a:close/>
                    <a:moveTo>
                      <a:pt x="33" y="14"/>
                    </a:moveTo>
                    <a:lnTo>
                      <a:pt x="34" y="14"/>
                    </a:lnTo>
                    <a:lnTo>
                      <a:pt x="34" y="17"/>
                    </a:lnTo>
                    <a:lnTo>
                      <a:pt x="33" y="17"/>
                    </a:lnTo>
                    <a:lnTo>
                      <a:pt x="33" y="14"/>
                    </a:lnTo>
                    <a:close/>
                    <a:moveTo>
                      <a:pt x="45" y="15"/>
                    </a:moveTo>
                    <a:lnTo>
                      <a:pt x="46" y="15"/>
                    </a:lnTo>
                    <a:lnTo>
                      <a:pt x="46" y="19"/>
                    </a:lnTo>
                    <a:lnTo>
                      <a:pt x="45" y="19"/>
                    </a:lnTo>
                    <a:lnTo>
                      <a:pt x="45" y="15"/>
                    </a:lnTo>
                    <a:close/>
                    <a:moveTo>
                      <a:pt x="19" y="0"/>
                    </a:moveTo>
                    <a:lnTo>
                      <a:pt x="21" y="0"/>
                    </a:lnTo>
                    <a:lnTo>
                      <a:pt x="21" y="3"/>
                    </a:lnTo>
                    <a:lnTo>
                      <a:pt x="19" y="3"/>
                    </a:lnTo>
                    <a:lnTo>
                      <a:pt x="19" y="0"/>
                    </a:lnTo>
                    <a:close/>
                    <a:moveTo>
                      <a:pt x="43" y="22"/>
                    </a:moveTo>
                    <a:lnTo>
                      <a:pt x="45" y="22"/>
                    </a:lnTo>
                    <a:lnTo>
                      <a:pt x="45" y="24"/>
                    </a:lnTo>
                    <a:lnTo>
                      <a:pt x="43" y="24"/>
                    </a:lnTo>
                    <a:lnTo>
                      <a:pt x="43" y="22"/>
                    </a:lnTo>
                    <a:close/>
                    <a:moveTo>
                      <a:pt x="26" y="24"/>
                    </a:moveTo>
                    <a:lnTo>
                      <a:pt x="28" y="24"/>
                    </a:lnTo>
                    <a:lnTo>
                      <a:pt x="26" y="24"/>
                    </a:lnTo>
                    <a:close/>
                    <a:moveTo>
                      <a:pt x="14" y="0"/>
                    </a:moveTo>
                    <a:lnTo>
                      <a:pt x="16" y="0"/>
                    </a:lnTo>
                    <a:lnTo>
                      <a:pt x="16" y="2"/>
                    </a:lnTo>
                    <a:lnTo>
                      <a:pt x="14" y="2"/>
                    </a:lnTo>
                    <a:lnTo>
                      <a:pt x="14" y="0"/>
                    </a:lnTo>
                    <a:close/>
                    <a:moveTo>
                      <a:pt x="29" y="22"/>
                    </a:moveTo>
                    <a:lnTo>
                      <a:pt x="29" y="24"/>
                    </a:lnTo>
                    <a:lnTo>
                      <a:pt x="29" y="22"/>
                    </a:lnTo>
                    <a:close/>
                    <a:moveTo>
                      <a:pt x="12" y="2"/>
                    </a:moveTo>
                    <a:lnTo>
                      <a:pt x="14" y="2"/>
                    </a:lnTo>
                    <a:lnTo>
                      <a:pt x="14" y="3"/>
                    </a:lnTo>
                    <a:lnTo>
                      <a:pt x="12" y="3"/>
                    </a:lnTo>
                    <a:lnTo>
                      <a:pt x="12" y="2"/>
                    </a:lnTo>
                    <a:close/>
                    <a:moveTo>
                      <a:pt x="12" y="3"/>
                    </a:moveTo>
                    <a:lnTo>
                      <a:pt x="14" y="3"/>
                    </a:lnTo>
                    <a:lnTo>
                      <a:pt x="12" y="3"/>
                    </a:lnTo>
                    <a:close/>
                    <a:moveTo>
                      <a:pt x="19" y="0"/>
                    </a:moveTo>
                    <a:lnTo>
                      <a:pt x="19" y="2"/>
                    </a:lnTo>
                    <a:lnTo>
                      <a:pt x="19" y="0"/>
                    </a:lnTo>
                    <a:close/>
                    <a:moveTo>
                      <a:pt x="33" y="12"/>
                    </a:moveTo>
                    <a:lnTo>
                      <a:pt x="33" y="14"/>
                    </a:lnTo>
                    <a:lnTo>
                      <a:pt x="33" y="12"/>
                    </a:lnTo>
                    <a:close/>
                    <a:moveTo>
                      <a:pt x="31" y="17"/>
                    </a:moveTo>
                    <a:lnTo>
                      <a:pt x="33" y="17"/>
                    </a:lnTo>
                    <a:lnTo>
                      <a:pt x="31" y="17"/>
                    </a:lnTo>
                    <a:close/>
                    <a:moveTo>
                      <a:pt x="45" y="20"/>
                    </a:moveTo>
                    <a:lnTo>
                      <a:pt x="46" y="20"/>
                    </a:lnTo>
                    <a:lnTo>
                      <a:pt x="45" y="20"/>
                    </a:lnTo>
                    <a:close/>
                    <a:moveTo>
                      <a:pt x="41" y="27"/>
                    </a:moveTo>
                    <a:lnTo>
                      <a:pt x="43" y="27"/>
                    </a:lnTo>
                    <a:lnTo>
                      <a:pt x="41" y="27"/>
                    </a:lnTo>
                    <a:close/>
                    <a:moveTo>
                      <a:pt x="48" y="20"/>
                    </a:moveTo>
                    <a:lnTo>
                      <a:pt x="48" y="22"/>
                    </a:lnTo>
                    <a:lnTo>
                      <a:pt x="48" y="20"/>
                    </a:lnTo>
                    <a:close/>
                    <a:moveTo>
                      <a:pt x="33" y="12"/>
                    </a:moveTo>
                    <a:lnTo>
                      <a:pt x="34" y="12"/>
                    </a:lnTo>
                    <a:lnTo>
                      <a:pt x="33" y="12"/>
                    </a:lnTo>
                    <a:close/>
                    <a:moveTo>
                      <a:pt x="34" y="12"/>
                    </a:moveTo>
                    <a:lnTo>
                      <a:pt x="34" y="14"/>
                    </a:lnTo>
                    <a:lnTo>
                      <a:pt x="34" y="12"/>
                    </a:lnTo>
                    <a:close/>
                    <a:moveTo>
                      <a:pt x="46" y="19"/>
                    </a:moveTo>
                    <a:lnTo>
                      <a:pt x="48" y="19"/>
                    </a:lnTo>
                    <a:lnTo>
                      <a:pt x="46" y="1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030" name="Freeform 57">
                <a:extLst>
                  <a:ext uri="{FF2B5EF4-FFF2-40B4-BE49-F238E27FC236}">
                    <a16:creationId xmlns:a16="http://schemas.microsoft.com/office/drawing/2014/main" id="{E9D98439-E2B5-8581-9C25-DEB13F7A3A2F}"/>
                  </a:ext>
                </a:extLst>
              </p:cNvPr>
              <p:cNvSpPr>
                <a:spLocks noEditPoints="1"/>
              </p:cNvSpPr>
              <p:nvPr/>
            </p:nvSpPr>
            <p:spPr bwMode="auto">
              <a:xfrm>
                <a:off x="6518275" y="4148138"/>
                <a:ext cx="288925" cy="311150"/>
              </a:xfrm>
              <a:custGeom>
                <a:avLst/>
                <a:gdLst>
                  <a:gd name="T0" fmla="*/ 167 w 182"/>
                  <a:gd name="T1" fmla="*/ 153 h 196"/>
                  <a:gd name="T2" fmla="*/ 162 w 182"/>
                  <a:gd name="T3" fmla="*/ 163 h 196"/>
                  <a:gd name="T4" fmla="*/ 156 w 182"/>
                  <a:gd name="T5" fmla="*/ 172 h 196"/>
                  <a:gd name="T6" fmla="*/ 146 w 182"/>
                  <a:gd name="T7" fmla="*/ 182 h 196"/>
                  <a:gd name="T8" fmla="*/ 134 w 182"/>
                  <a:gd name="T9" fmla="*/ 187 h 196"/>
                  <a:gd name="T10" fmla="*/ 128 w 182"/>
                  <a:gd name="T11" fmla="*/ 190 h 196"/>
                  <a:gd name="T12" fmla="*/ 117 w 182"/>
                  <a:gd name="T13" fmla="*/ 192 h 196"/>
                  <a:gd name="T14" fmla="*/ 107 w 182"/>
                  <a:gd name="T15" fmla="*/ 192 h 196"/>
                  <a:gd name="T16" fmla="*/ 100 w 182"/>
                  <a:gd name="T17" fmla="*/ 187 h 196"/>
                  <a:gd name="T18" fmla="*/ 87 w 182"/>
                  <a:gd name="T19" fmla="*/ 189 h 196"/>
                  <a:gd name="T20" fmla="*/ 78 w 182"/>
                  <a:gd name="T21" fmla="*/ 192 h 196"/>
                  <a:gd name="T22" fmla="*/ 70 w 182"/>
                  <a:gd name="T23" fmla="*/ 189 h 196"/>
                  <a:gd name="T24" fmla="*/ 63 w 182"/>
                  <a:gd name="T25" fmla="*/ 185 h 196"/>
                  <a:gd name="T26" fmla="*/ 53 w 182"/>
                  <a:gd name="T27" fmla="*/ 180 h 196"/>
                  <a:gd name="T28" fmla="*/ 44 w 182"/>
                  <a:gd name="T29" fmla="*/ 173 h 196"/>
                  <a:gd name="T30" fmla="*/ 32 w 182"/>
                  <a:gd name="T31" fmla="*/ 173 h 196"/>
                  <a:gd name="T32" fmla="*/ 24 w 182"/>
                  <a:gd name="T33" fmla="*/ 173 h 196"/>
                  <a:gd name="T34" fmla="*/ 19 w 182"/>
                  <a:gd name="T35" fmla="*/ 168 h 196"/>
                  <a:gd name="T36" fmla="*/ 9 w 182"/>
                  <a:gd name="T37" fmla="*/ 161 h 196"/>
                  <a:gd name="T38" fmla="*/ 2 w 182"/>
                  <a:gd name="T39" fmla="*/ 151 h 196"/>
                  <a:gd name="T40" fmla="*/ 0 w 182"/>
                  <a:gd name="T41" fmla="*/ 134 h 196"/>
                  <a:gd name="T42" fmla="*/ 5 w 182"/>
                  <a:gd name="T43" fmla="*/ 119 h 196"/>
                  <a:gd name="T44" fmla="*/ 14 w 182"/>
                  <a:gd name="T45" fmla="*/ 112 h 196"/>
                  <a:gd name="T46" fmla="*/ 10 w 182"/>
                  <a:gd name="T47" fmla="*/ 100 h 196"/>
                  <a:gd name="T48" fmla="*/ 10 w 182"/>
                  <a:gd name="T49" fmla="*/ 90 h 196"/>
                  <a:gd name="T50" fmla="*/ 10 w 182"/>
                  <a:gd name="T51" fmla="*/ 82 h 196"/>
                  <a:gd name="T52" fmla="*/ 10 w 182"/>
                  <a:gd name="T53" fmla="*/ 70 h 196"/>
                  <a:gd name="T54" fmla="*/ 17 w 182"/>
                  <a:gd name="T55" fmla="*/ 56 h 196"/>
                  <a:gd name="T56" fmla="*/ 17 w 182"/>
                  <a:gd name="T57" fmla="*/ 48 h 196"/>
                  <a:gd name="T58" fmla="*/ 20 w 182"/>
                  <a:gd name="T59" fmla="*/ 36 h 196"/>
                  <a:gd name="T60" fmla="*/ 22 w 182"/>
                  <a:gd name="T61" fmla="*/ 25 h 196"/>
                  <a:gd name="T62" fmla="*/ 22 w 182"/>
                  <a:gd name="T63" fmla="*/ 13 h 196"/>
                  <a:gd name="T64" fmla="*/ 29 w 182"/>
                  <a:gd name="T65" fmla="*/ 5 h 196"/>
                  <a:gd name="T66" fmla="*/ 34 w 182"/>
                  <a:gd name="T67" fmla="*/ 7 h 196"/>
                  <a:gd name="T68" fmla="*/ 41 w 182"/>
                  <a:gd name="T69" fmla="*/ 7 h 196"/>
                  <a:gd name="T70" fmla="*/ 51 w 182"/>
                  <a:gd name="T71" fmla="*/ 0 h 196"/>
                  <a:gd name="T72" fmla="*/ 61 w 182"/>
                  <a:gd name="T73" fmla="*/ 5 h 196"/>
                  <a:gd name="T74" fmla="*/ 66 w 182"/>
                  <a:gd name="T75" fmla="*/ 10 h 196"/>
                  <a:gd name="T76" fmla="*/ 70 w 182"/>
                  <a:gd name="T77" fmla="*/ 15 h 196"/>
                  <a:gd name="T78" fmla="*/ 77 w 182"/>
                  <a:gd name="T79" fmla="*/ 19 h 196"/>
                  <a:gd name="T80" fmla="*/ 82 w 182"/>
                  <a:gd name="T81" fmla="*/ 25 h 196"/>
                  <a:gd name="T82" fmla="*/ 88 w 182"/>
                  <a:gd name="T83" fmla="*/ 36 h 196"/>
                  <a:gd name="T84" fmla="*/ 95 w 182"/>
                  <a:gd name="T85" fmla="*/ 34 h 196"/>
                  <a:gd name="T86" fmla="*/ 100 w 182"/>
                  <a:gd name="T87" fmla="*/ 32 h 196"/>
                  <a:gd name="T88" fmla="*/ 105 w 182"/>
                  <a:gd name="T89" fmla="*/ 39 h 196"/>
                  <a:gd name="T90" fmla="*/ 109 w 182"/>
                  <a:gd name="T91" fmla="*/ 46 h 196"/>
                  <a:gd name="T92" fmla="*/ 117 w 182"/>
                  <a:gd name="T93" fmla="*/ 48 h 196"/>
                  <a:gd name="T94" fmla="*/ 124 w 182"/>
                  <a:gd name="T95" fmla="*/ 53 h 196"/>
                  <a:gd name="T96" fmla="*/ 134 w 182"/>
                  <a:gd name="T97" fmla="*/ 56 h 196"/>
                  <a:gd name="T98" fmla="*/ 143 w 182"/>
                  <a:gd name="T99" fmla="*/ 68 h 196"/>
                  <a:gd name="T100" fmla="*/ 151 w 182"/>
                  <a:gd name="T101" fmla="*/ 71 h 196"/>
                  <a:gd name="T102" fmla="*/ 158 w 182"/>
                  <a:gd name="T103" fmla="*/ 78 h 196"/>
                  <a:gd name="T104" fmla="*/ 162 w 182"/>
                  <a:gd name="T105" fmla="*/ 85 h 196"/>
                  <a:gd name="T106" fmla="*/ 168 w 182"/>
                  <a:gd name="T107" fmla="*/ 93 h 196"/>
                  <a:gd name="T108" fmla="*/ 175 w 182"/>
                  <a:gd name="T109" fmla="*/ 99 h 196"/>
                  <a:gd name="T110" fmla="*/ 179 w 182"/>
                  <a:gd name="T111" fmla="*/ 105 h 196"/>
                  <a:gd name="T112" fmla="*/ 170 w 182"/>
                  <a:gd name="T113" fmla="*/ 119 h 196"/>
                  <a:gd name="T114" fmla="*/ 168 w 182"/>
                  <a:gd name="T115" fmla="*/ 129 h 196"/>
                  <a:gd name="T116" fmla="*/ 168 w 182"/>
                  <a:gd name="T117" fmla="*/ 143 h 196"/>
                  <a:gd name="T118" fmla="*/ 71 w 182"/>
                  <a:gd name="T119" fmla="*/ 187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2" h="196">
                    <a:moveTo>
                      <a:pt x="172" y="144"/>
                    </a:moveTo>
                    <a:lnTo>
                      <a:pt x="172" y="146"/>
                    </a:lnTo>
                    <a:lnTo>
                      <a:pt x="170" y="146"/>
                    </a:lnTo>
                    <a:lnTo>
                      <a:pt x="170" y="148"/>
                    </a:lnTo>
                    <a:lnTo>
                      <a:pt x="168" y="150"/>
                    </a:lnTo>
                    <a:lnTo>
                      <a:pt x="168" y="151"/>
                    </a:lnTo>
                    <a:lnTo>
                      <a:pt x="168" y="153"/>
                    </a:lnTo>
                    <a:lnTo>
                      <a:pt x="167" y="153"/>
                    </a:lnTo>
                    <a:lnTo>
                      <a:pt x="167" y="155"/>
                    </a:lnTo>
                    <a:lnTo>
                      <a:pt x="167" y="156"/>
                    </a:lnTo>
                    <a:lnTo>
                      <a:pt x="167" y="158"/>
                    </a:lnTo>
                    <a:lnTo>
                      <a:pt x="165" y="158"/>
                    </a:lnTo>
                    <a:lnTo>
                      <a:pt x="163" y="160"/>
                    </a:lnTo>
                    <a:lnTo>
                      <a:pt x="163" y="161"/>
                    </a:lnTo>
                    <a:lnTo>
                      <a:pt x="162" y="161"/>
                    </a:lnTo>
                    <a:lnTo>
                      <a:pt x="162" y="163"/>
                    </a:lnTo>
                    <a:lnTo>
                      <a:pt x="160" y="163"/>
                    </a:lnTo>
                    <a:lnTo>
                      <a:pt x="160" y="165"/>
                    </a:lnTo>
                    <a:lnTo>
                      <a:pt x="158" y="167"/>
                    </a:lnTo>
                    <a:lnTo>
                      <a:pt x="158" y="168"/>
                    </a:lnTo>
                    <a:lnTo>
                      <a:pt x="160" y="170"/>
                    </a:lnTo>
                    <a:lnTo>
                      <a:pt x="158" y="170"/>
                    </a:lnTo>
                    <a:lnTo>
                      <a:pt x="158" y="172"/>
                    </a:lnTo>
                    <a:lnTo>
                      <a:pt x="156" y="172"/>
                    </a:lnTo>
                    <a:lnTo>
                      <a:pt x="155" y="173"/>
                    </a:lnTo>
                    <a:lnTo>
                      <a:pt x="153" y="173"/>
                    </a:lnTo>
                    <a:lnTo>
                      <a:pt x="151" y="175"/>
                    </a:lnTo>
                    <a:lnTo>
                      <a:pt x="150" y="177"/>
                    </a:lnTo>
                    <a:lnTo>
                      <a:pt x="148" y="178"/>
                    </a:lnTo>
                    <a:lnTo>
                      <a:pt x="148" y="180"/>
                    </a:lnTo>
                    <a:lnTo>
                      <a:pt x="146" y="180"/>
                    </a:lnTo>
                    <a:lnTo>
                      <a:pt x="146" y="182"/>
                    </a:lnTo>
                    <a:lnTo>
                      <a:pt x="145" y="182"/>
                    </a:lnTo>
                    <a:lnTo>
                      <a:pt x="143" y="182"/>
                    </a:lnTo>
                    <a:lnTo>
                      <a:pt x="141" y="184"/>
                    </a:lnTo>
                    <a:lnTo>
                      <a:pt x="139" y="184"/>
                    </a:lnTo>
                    <a:lnTo>
                      <a:pt x="139" y="185"/>
                    </a:lnTo>
                    <a:lnTo>
                      <a:pt x="138" y="185"/>
                    </a:lnTo>
                    <a:lnTo>
                      <a:pt x="136" y="185"/>
                    </a:lnTo>
                    <a:lnTo>
                      <a:pt x="134" y="187"/>
                    </a:lnTo>
                    <a:lnTo>
                      <a:pt x="133" y="187"/>
                    </a:lnTo>
                    <a:lnTo>
                      <a:pt x="133" y="189"/>
                    </a:lnTo>
                    <a:lnTo>
                      <a:pt x="131" y="189"/>
                    </a:lnTo>
                    <a:lnTo>
                      <a:pt x="129" y="189"/>
                    </a:lnTo>
                    <a:lnTo>
                      <a:pt x="129" y="190"/>
                    </a:lnTo>
                    <a:lnTo>
                      <a:pt x="129" y="189"/>
                    </a:lnTo>
                    <a:lnTo>
                      <a:pt x="129" y="190"/>
                    </a:lnTo>
                    <a:lnTo>
                      <a:pt x="128" y="190"/>
                    </a:lnTo>
                    <a:lnTo>
                      <a:pt x="126" y="190"/>
                    </a:lnTo>
                    <a:lnTo>
                      <a:pt x="124" y="192"/>
                    </a:lnTo>
                    <a:lnTo>
                      <a:pt x="122" y="192"/>
                    </a:lnTo>
                    <a:lnTo>
                      <a:pt x="121" y="194"/>
                    </a:lnTo>
                    <a:lnTo>
                      <a:pt x="119" y="196"/>
                    </a:lnTo>
                    <a:lnTo>
                      <a:pt x="119" y="194"/>
                    </a:lnTo>
                    <a:lnTo>
                      <a:pt x="119" y="192"/>
                    </a:lnTo>
                    <a:lnTo>
                      <a:pt x="117" y="192"/>
                    </a:lnTo>
                    <a:lnTo>
                      <a:pt x="116" y="192"/>
                    </a:lnTo>
                    <a:lnTo>
                      <a:pt x="116" y="190"/>
                    </a:lnTo>
                    <a:lnTo>
                      <a:pt x="114" y="190"/>
                    </a:lnTo>
                    <a:lnTo>
                      <a:pt x="112" y="190"/>
                    </a:lnTo>
                    <a:lnTo>
                      <a:pt x="112" y="192"/>
                    </a:lnTo>
                    <a:lnTo>
                      <a:pt x="111" y="192"/>
                    </a:lnTo>
                    <a:lnTo>
                      <a:pt x="109" y="192"/>
                    </a:lnTo>
                    <a:lnTo>
                      <a:pt x="107" y="192"/>
                    </a:lnTo>
                    <a:lnTo>
                      <a:pt x="109" y="190"/>
                    </a:lnTo>
                    <a:lnTo>
                      <a:pt x="107" y="190"/>
                    </a:lnTo>
                    <a:lnTo>
                      <a:pt x="107" y="189"/>
                    </a:lnTo>
                    <a:lnTo>
                      <a:pt x="105" y="189"/>
                    </a:lnTo>
                    <a:lnTo>
                      <a:pt x="104" y="189"/>
                    </a:lnTo>
                    <a:lnTo>
                      <a:pt x="104" y="187"/>
                    </a:lnTo>
                    <a:lnTo>
                      <a:pt x="102" y="187"/>
                    </a:lnTo>
                    <a:lnTo>
                      <a:pt x="100" y="187"/>
                    </a:lnTo>
                    <a:lnTo>
                      <a:pt x="99" y="187"/>
                    </a:lnTo>
                    <a:lnTo>
                      <a:pt x="97" y="187"/>
                    </a:lnTo>
                    <a:lnTo>
                      <a:pt x="95" y="187"/>
                    </a:lnTo>
                    <a:lnTo>
                      <a:pt x="94" y="187"/>
                    </a:lnTo>
                    <a:lnTo>
                      <a:pt x="92" y="187"/>
                    </a:lnTo>
                    <a:lnTo>
                      <a:pt x="90" y="187"/>
                    </a:lnTo>
                    <a:lnTo>
                      <a:pt x="88" y="187"/>
                    </a:lnTo>
                    <a:lnTo>
                      <a:pt x="87" y="189"/>
                    </a:lnTo>
                    <a:lnTo>
                      <a:pt x="85" y="189"/>
                    </a:lnTo>
                    <a:lnTo>
                      <a:pt x="85" y="190"/>
                    </a:lnTo>
                    <a:lnTo>
                      <a:pt x="83" y="190"/>
                    </a:lnTo>
                    <a:lnTo>
                      <a:pt x="82" y="192"/>
                    </a:lnTo>
                    <a:lnTo>
                      <a:pt x="80" y="192"/>
                    </a:lnTo>
                    <a:lnTo>
                      <a:pt x="78" y="192"/>
                    </a:lnTo>
                    <a:lnTo>
                      <a:pt x="78" y="194"/>
                    </a:lnTo>
                    <a:lnTo>
                      <a:pt x="78" y="192"/>
                    </a:lnTo>
                    <a:lnTo>
                      <a:pt x="77" y="192"/>
                    </a:lnTo>
                    <a:lnTo>
                      <a:pt x="77" y="190"/>
                    </a:lnTo>
                    <a:lnTo>
                      <a:pt x="75" y="190"/>
                    </a:lnTo>
                    <a:lnTo>
                      <a:pt x="75" y="192"/>
                    </a:lnTo>
                    <a:lnTo>
                      <a:pt x="73" y="192"/>
                    </a:lnTo>
                    <a:lnTo>
                      <a:pt x="71" y="190"/>
                    </a:lnTo>
                    <a:lnTo>
                      <a:pt x="70" y="190"/>
                    </a:lnTo>
                    <a:lnTo>
                      <a:pt x="70" y="189"/>
                    </a:lnTo>
                    <a:lnTo>
                      <a:pt x="71" y="187"/>
                    </a:lnTo>
                    <a:lnTo>
                      <a:pt x="70" y="187"/>
                    </a:lnTo>
                    <a:lnTo>
                      <a:pt x="70" y="185"/>
                    </a:lnTo>
                    <a:lnTo>
                      <a:pt x="68" y="185"/>
                    </a:lnTo>
                    <a:lnTo>
                      <a:pt x="66" y="185"/>
                    </a:lnTo>
                    <a:lnTo>
                      <a:pt x="65" y="187"/>
                    </a:lnTo>
                    <a:lnTo>
                      <a:pt x="65" y="185"/>
                    </a:lnTo>
                    <a:lnTo>
                      <a:pt x="63" y="185"/>
                    </a:lnTo>
                    <a:lnTo>
                      <a:pt x="61" y="185"/>
                    </a:lnTo>
                    <a:lnTo>
                      <a:pt x="61" y="184"/>
                    </a:lnTo>
                    <a:lnTo>
                      <a:pt x="60" y="184"/>
                    </a:lnTo>
                    <a:lnTo>
                      <a:pt x="58" y="184"/>
                    </a:lnTo>
                    <a:lnTo>
                      <a:pt x="56" y="184"/>
                    </a:lnTo>
                    <a:lnTo>
                      <a:pt x="54" y="182"/>
                    </a:lnTo>
                    <a:lnTo>
                      <a:pt x="53" y="182"/>
                    </a:lnTo>
                    <a:lnTo>
                      <a:pt x="53" y="180"/>
                    </a:lnTo>
                    <a:lnTo>
                      <a:pt x="51" y="180"/>
                    </a:lnTo>
                    <a:lnTo>
                      <a:pt x="51" y="178"/>
                    </a:lnTo>
                    <a:lnTo>
                      <a:pt x="49" y="177"/>
                    </a:lnTo>
                    <a:lnTo>
                      <a:pt x="48" y="177"/>
                    </a:lnTo>
                    <a:lnTo>
                      <a:pt x="48" y="175"/>
                    </a:lnTo>
                    <a:lnTo>
                      <a:pt x="46" y="175"/>
                    </a:lnTo>
                    <a:lnTo>
                      <a:pt x="46" y="173"/>
                    </a:lnTo>
                    <a:lnTo>
                      <a:pt x="44" y="173"/>
                    </a:lnTo>
                    <a:lnTo>
                      <a:pt x="43" y="173"/>
                    </a:lnTo>
                    <a:lnTo>
                      <a:pt x="41" y="173"/>
                    </a:lnTo>
                    <a:lnTo>
                      <a:pt x="39" y="173"/>
                    </a:lnTo>
                    <a:lnTo>
                      <a:pt x="37" y="173"/>
                    </a:lnTo>
                    <a:lnTo>
                      <a:pt x="37" y="172"/>
                    </a:lnTo>
                    <a:lnTo>
                      <a:pt x="36" y="173"/>
                    </a:lnTo>
                    <a:lnTo>
                      <a:pt x="34" y="173"/>
                    </a:lnTo>
                    <a:lnTo>
                      <a:pt x="32" y="173"/>
                    </a:lnTo>
                    <a:lnTo>
                      <a:pt x="31" y="173"/>
                    </a:lnTo>
                    <a:lnTo>
                      <a:pt x="31" y="172"/>
                    </a:lnTo>
                    <a:lnTo>
                      <a:pt x="29" y="173"/>
                    </a:lnTo>
                    <a:lnTo>
                      <a:pt x="27" y="173"/>
                    </a:lnTo>
                    <a:lnTo>
                      <a:pt x="26" y="173"/>
                    </a:lnTo>
                    <a:lnTo>
                      <a:pt x="24" y="173"/>
                    </a:lnTo>
                    <a:lnTo>
                      <a:pt x="24" y="175"/>
                    </a:lnTo>
                    <a:lnTo>
                      <a:pt x="24" y="173"/>
                    </a:lnTo>
                    <a:lnTo>
                      <a:pt x="22" y="175"/>
                    </a:lnTo>
                    <a:lnTo>
                      <a:pt x="20" y="175"/>
                    </a:lnTo>
                    <a:lnTo>
                      <a:pt x="22" y="173"/>
                    </a:lnTo>
                    <a:lnTo>
                      <a:pt x="20" y="173"/>
                    </a:lnTo>
                    <a:lnTo>
                      <a:pt x="20" y="172"/>
                    </a:lnTo>
                    <a:lnTo>
                      <a:pt x="20" y="170"/>
                    </a:lnTo>
                    <a:lnTo>
                      <a:pt x="19" y="170"/>
                    </a:lnTo>
                    <a:lnTo>
                      <a:pt x="19" y="168"/>
                    </a:lnTo>
                    <a:lnTo>
                      <a:pt x="17" y="168"/>
                    </a:lnTo>
                    <a:lnTo>
                      <a:pt x="17" y="167"/>
                    </a:lnTo>
                    <a:lnTo>
                      <a:pt x="15" y="165"/>
                    </a:lnTo>
                    <a:lnTo>
                      <a:pt x="14" y="165"/>
                    </a:lnTo>
                    <a:lnTo>
                      <a:pt x="14" y="163"/>
                    </a:lnTo>
                    <a:lnTo>
                      <a:pt x="12" y="161"/>
                    </a:lnTo>
                    <a:lnTo>
                      <a:pt x="10" y="161"/>
                    </a:lnTo>
                    <a:lnTo>
                      <a:pt x="9" y="161"/>
                    </a:lnTo>
                    <a:lnTo>
                      <a:pt x="9" y="160"/>
                    </a:lnTo>
                    <a:lnTo>
                      <a:pt x="9" y="158"/>
                    </a:lnTo>
                    <a:lnTo>
                      <a:pt x="7" y="156"/>
                    </a:lnTo>
                    <a:lnTo>
                      <a:pt x="7" y="155"/>
                    </a:lnTo>
                    <a:lnTo>
                      <a:pt x="5" y="155"/>
                    </a:lnTo>
                    <a:lnTo>
                      <a:pt x="5" y="153"/>
                    </a:lnTo>
                    <a:lnTo>
                      <a:pt x="3" y="153"/>
                    </a:lnTo>
                    <a:lnTo>
                      <a:pt x="2" y="151"/>
                    </a:lnTo>
                    <a:lnTo>
                      <a:pt x="2" y="150"/>
                    </a:lnTo>
                    <a:lnTo>
                      <a:pt x="2" y="148"/>
                    </a:lnTo>
                    <a:lnTo>
                      <a:pt x="2" y="146"/>
                    </a:lnTo>
                    <a:lnTo>
                      <a:pt x="0" y="144"/>
                    </a:lnTo>
                    <a:lnTo>
                      <a:pt x="0" y="143"/>
                    </a:lnTo>
                    <a:lnTo>
                      <a:pt x="0" y="138"/>
                    </a:lnTo>
                    <a:lnTo>
                      <a:pt x="0" y="136"/>
                    </a:lnTo>
                    <a:lnTo>
                      <a:pt x="0" y="134"/>
                    </a:lnTo>
                    <a:lnTo>
                      <a:pt x="0" y="131"/>
                    </a:lnTo>
                    <a:lnTo>
                      <a:pt x="2" y="129"/>
                    </a:lnTo>
                    <a:lnTo>
                      <a:pt x="2" y="127"/>
                    </a:lnTo>
                    <a:lnTo>
                      <a:pt x="3" y="127"/>
                    </a:lnTo>
                    <a:lnTo>
                      <a:pt x="3" y="126"/>
                    </a:lnTo>
                    <a:lnTo>
                      <a:pt x="3" y="121"/>
                    </a:lnTo>
                    <a:lnTo>
                      <a:pt x="3" y="119"/>
                    </a:lnTo>
                    <a:lnTo>
                      <a:pt x="5" y="119"/>
                    </a:lnTo>
                    <a:lnTo>
                      <a:pt x="7" y="119"/>
                    </a:lnTo>
                    <a:lnTo>
                      <a:pt x="9" y="119"/>
                    </a:lnTo>
                    <a:lnTo>
                      <a:pt x="10" y="117"/>
                    </a:lnTo>
                    <a:lnTo>
                      <a:pt x="12" y="117"/>
                    </a:lnTo>
                    <a:lnTo>
                      <a:pt x="12" y="116"/>
                    </a:lnTo>
                    <a:lnTo>
                      <a:pt x="14" y="116"/>
                    </a:lnTo>
                    <a:lnTo>
                      <a:pt x="14" y="114"/>
                    </a:lnTo>
                    <a:lnTo>
                      <a:pt x="14" y="112"/>
                    </a:lnTo>
                    <a:lnTo>
                      <a:pt x="12" y="110"/>
                    </a:lnTo>
                    <a:lnTo>
                      <a:pt x="12" y="109"/>
                    </a:lnTo>
                    <a:lnTo>
                      <a:pt x="12" y="107"/>
                    </a:lnTo>
                    <a:lnTo>
                      <a:pt x="12" y="105"/>
                    </a:lnTo>
                    <a:lnTo>
                      <a:pt x="12" y="104"/>
                    </a:lnTo>
                    <a:lnTo>
                      <a:pt x="12" y="102"/>
                    </a:lnTo>
                    <a:lnTo>
                      <a:pt x="12" y="100"/>
                    </a:lnTo>
                    <a:lnTo>
                      <a:pt x="10" y="100"/>
                    </a:lnTo>
                    <a:lnTo>
                      <a:pt x="12" y="100"/>
                    </a:lnTo>
                    <a:lnTo>
                      <a:pt x="10" y="99"/>
                    </a:lnTo>
                    <a:lnTo>
                      <a:pt x="10" y="97"/>
                    </a:lnTo>
                    <a:lnTo>
                      <a:pt x="10" y="95"/>
                    </a:lnTo>
                    <a:lnTo>
                      <a:pt x="10" y="93"/>
                    </a:lnTo>
                    <a:lnTo>
                      <a:pt x="9" y="93"/>
                    </a:lnTo>
                    <a:lnTo>
                      <a:pt x="10" y="92"/>
                    </a:lnTo>
                    <a:lnTo>
                      <a:pt x="10" y="90"/>
                    </a:lnTo>
                    <a:lnTo>
                      <a:pt x="10" y="88"/>
                    </a:lnTo>
                    <a:lnTo>
                      <a:pt x="12" y="88"/>
                    </a:lnTo>
                    <a:lnTo>
                      <a:pt x="12" y="87"/>
                    </a:lnTo>
                    <a:lnTo>
                      <a:pt x="14" y="87"/>
                    </a:lnTo>
                    <a:lnTo>
                      <a:pt x="14" y="85"/>
                    </a:lnTo>
                    <a:lnTo>
                      <a:pt x="12" y="85"/>
                    </a:lnTo>
                    <a:lnTo>
                      <a:pt x="12" y="83"/>
                    </a:lnTo>
                    <a:lnTo>
                      <a:pt x="10" y="82"/>
                    </a:lnTo>
                    <a:lnTo>
                      <a:pt x="10" y="80"/>
                    </a:lnTo>
                    <a:lnTo>
                      <a:pt x="10" y="78"/>
                    </a:lnTo>
                    <a:lnTo>
                      <a:pt x="12" y="78"/>
                    </a:lnTo>
                    <a:lnTo>
                      <a:pt x="12" y="76"/>
                    </a:lnTo>
                    <a:lnTo>
                      <a:pt x="12" y="75"/>
                    </a:lnTo>
                    <a:lnTo>
                      <a:pt x="10" y="73"/>
                    </a:lnTo>
                    <a:lnTo>
                      <a:pt x="10" y="71"/>
                    </a:lnTo>
                    <a:lnTo>
                      <a:pt x="10" y="70"/>
                    </a:lnTo>
                    <a:lnTo>
                      <a:pt x="10" y="68"/>
                    </a:lnTo>
                    <a:lnTo>
                      <a:pt x="12" y="68"/>
                    </a:lnTo>
                    <a:lnTo>
                      <a:pt x="14" y="68"/>
                    </a:lnTo>
                    <a:lnTo>
                      <a:pt x="15" y="65"/>
                    </a:lnTo>
                    <a:lnTo>
                      <a:pt x="15" y="63"/>
                    </a:lnTo>
                    <a:lnTo>
                      <a:pt x="17" y="59"/>
                    </a:lnTo>
                    <a:lnTo>
                      <a:pt x="17" y="58"/>
                    </a:lnTo>
                    <a:lnTo>
                      <a:pt x="17" y="56"/>
                    </a:lnTo>
                    <a:lnTo>
                      <a:pt x="15" y="56"/>
                    </a:lnTo>
                    <a:lnTo>
                      <a:pt x="15" y="54"/>
                    </a:lnTo>
                    <a:lnTo>
                      <a:pt x="14" y="54"/>
                    </a:lnTo>
                    <a:lnTo>
                      <a:pt x="14" y="53"/>
                    </a:lnTo>
                    <a:lnTo>
                      <a:pt x="15" y="51"/>
                    </a:lnTo>
                    <a:lnTo>
                      <a:pt x="17" y="51"/>
                    </a:lnTo>
                    <a:lnTo>
                      <a:pt x="17" y="49"/>
                    </a:lnTo>
                    <a:lnTo>
                      <a:pt x="17" y="48"/>
                    </a:lnTo>
                    <a:lnTo>
                      <a:pt x="19" y="46"/>
                    </a:lnTo>
                    <a:lnTo>
                      <a:pt x="19" y="44"/>
                    </a:lnTo>
                    <a:lnTo>
                      <a:pt x="19" y="42"/>
                    </a:lnTo>
                    <a:lnTo>
                      <a:pt x="19" y="41"/>
                    </a:lnTo>
                    <a:lnTo>
                      <a:pt x="19" y="39"/>
                    </a:lnTo>
                    <a:lnTo>
                      <a:pt x="20" y="39"/>
                    </a:lnTo>
                    <a:lnTo>
                      <a:pt x="20" y="37"/>
                    </a:lnTo>
                    <a:lnTo>
                      <a:pt x="20" y="36"/>
                    </a:lnTo>
                    <a:lnTo>
                      <a:pt x="20" y="34"/>
                    </a:lnTo>
                    <a:lnTo>
                      <a:pt x="19" y="34"/>
                    </a:lnTo>
                    <a:lnTo>
                      <a:pt x="19" y="32"/>
                    </a:lnTo>
                    <a:lnTo>
                      <a:pt x="20" y="32"/>
                    </a:lnTo>
                    <a:lnTo>
                      <a:pt x="22" y="32"/>
                    </a:lnTo>
                    <a:lnTo>
                      <a:pt x="22" y="31"/>
                    </a:lnTo>
                    <a:lnTo>
                      <a:pt x="22" y="27"/>
                    </a:lnTo>
                    <a:lnTo>
                      <a:pt x="22" y="25"/>
                    </a:lnTo>
                    <a:lnTo>
                      <a:pt x="22" y="24"/>
                    </a:lnTo>
                    <a:lnTo>
                      <a:pt x="22" y="22"/>
                    </a:lnTo>
                    <a:lnTo>
                      <a:pt x="22" y="20"/>
                    </a:lnTo>
                    <a:lnTo>
                      <a:pt x="20" y="19"/>
                    </a:lnTo>
                    <a:lnTo>
                      <a:pt x="20" y="17"/>
                    </a:lnTo>
                    <a:lnTo>
                      <a:pt x="20" y="15"/>
                    </a:lnTo>
                    <a:lnTo>
                      <a:pt x="20" y="13"/>
                    </a:lnTo>
                    <a:lnTo>
                      <a:pt x="22" y="13"/>
                    </a:lnTo>
                    <a:lnTo>
                      <a:pt x="24" y="13"/>
                    </a:lnTo>
                    <a:lnTo>
                      <a:pt x="24" y="12"/>
                    </a:lnTo>
                    <a:lnTo>
                      <a:pt x="26" y="12"/>
                    </a:lnTo>
                    <a:lnTo>
                      <a:pt x="27" y="10"/>
                    </a:lnTo>
                    <a:lnTo>
                      <a:pt x="29" y="10"/>
                    </a:lnTo>
                    <a:lnTo>
                      <a:pt x="29" y="8"/>
                    </a:lnTo>
                    <a:lnTo>
                      <a:pt x="29" y="7"/>
                    </a:lnTo>
                    <a:lnTo>
                      <a:pt x="29" y="5"/>
                    </a:lnTo>
                    <a:lnTo>
                      <a:pt x="29" y="3"/>
                    </a:lnTo>
                    <a:lnTo>
                      <a:pt x="27" y="3"/>
                    </a:lnTo>
                    <a:lnTo>
                      <a:pt x="29" y="3"/>
                    </a:lnTo>
                    <a:lnTo>
                      <a:pt x="31" y="3"/>
                    </a:lnTo>
                    <a:lnTo>
                      <a:pt x="31" y="5"/>
                    </a:lnTo>
                    <a:lnTo>
                      <a:pt x="31" y="7"/>
                    </a:lnTo>
                    <a:lnTo>
                      <a:pt x="32" y="7"/>
                    </a:lnTo>
                    <a:lnTo>
                      <a:pt x="34" y="7"/>
                    </a:lnTo>
                    <a:lnTo>
                      <a:pt x="36" y="7"/>
                    </a:lnTo>
                    <a:lnTo>
                      <a:pt x="36" y="8"/>
                    </a:lnTo>
                    <a:lnTo>
                      <a:pt x="37" y="8"/>
                    </a:lnTo>
                    <a:lnTo>
                      <a:pt x="37" y="7"/>
                    </a:lnTo>
                    <a:lnTo>
                      <a:pt x="39" y="7"/>
                    </a:lnTo>
                    <a:lnTo>
                      <a:pt x="39" y="5"/>
                    </a:lnTo>
                    <a:lnTo>
                      <a:pt x="39" y="7"/>
                    </a:lnTo>
                    <a:lnTo>
                      <a:pt x="41" y="7"/>
                    </a:lnTo>
                    <a:lnTo>
                      <a:pt x="43" y="7"/>
                    </a:lnTo>
                    <a:lnTo>
                      <a:pt x="44" y="5"/>
                    </a:lnTo>
                    <a:lnTo>
                      <a:pt x="44" y="3"/>
                    </a:lnTo>
                    <a:lnTo>
                      <a:pt x="46" y="2"/>
                    </a:lnTo>
                    <a:lnTo>
                      <a:pt x="46" y="0"/>
                    </a:lnTo>
                    <a:lnTo>
                      <a:pt x="48" y="0"/>
                    </a:lnTo>
                    <a:lnTo>
                      <a:pt x="49" y="0"/>
                    </a:lnTo>
                    <a:lnTo>
                      <a:pt x="51" y="0"/>
                    </a:lnTo>
                    <a:lnTo>
                      <a:pt x="53" y="0"/>
                    </a:lnTo>
                    <a:lnTo>
                      <a:pt x="54" y="0"/>
                    </a:lnTo>
                    <a:lnTo>
                      <a:pt x="56" y="0"/>
                    </a:lnTo>
                    <a:lnTo>
                      <a:pt x="58" y="0"/>
                    </a:lnTo>
                    <a:lnTo>
                      <a:pt x="58" y="2"/>
                    </a:lnTo>
                    <a:lnTo>
                      <a:pt x="60" y="3"/>
                    </a:lnTo>
                    <a:lnTo>
                      <a:pt x="61" y="3"/>
                    </a:lnTo>
                    <a:lnTo>
                      <a:pt x="61" y="5"/>
                    </a:lnTo>
                    <a:lnTo>
                      <a:pt x="63" y="5"/>
                    </a:lnTo>
                    <a:lnTo>
                      <a:pt x="63" y="7"/>
                    </a:lnTo>
                    <a:lnTo>
                      <a:pt x="65" y="7"/>
                    </a:lnTo>
                    <a:lnTo>
                      <a:pt x="65" y="8"/>
                    </a:lnTo>
                    <a:lnTo>
                      <a:pt x="66" y="8"/>
                    </a:lnTo>
                    <a:lnTo>
                      <a:pt x="65" y="8"/>
                    </a:lnTo>
                    <a:lnTo>
                      <a:pt x="65" y="10"/>
                    </a:lnTo>
                    <a:lnTo>
                      <a:pt x="66" y="10"/>
                    </a:lnTo>
                    <a:lnTo>
                      <a:pt x="66" y="12"/>
                    </a:lnTo>
                    <a:lnTo>
                      <a:pt x="68" y="12"/>
                    </a:lnTo>
                    <a:lnTo>
                      <a:pt x="68" y="10"/>
                    </a:lnTo>
                    <a:lnTo>
                      <a:pt x="68" y="12"/>
                    </a:lnTo>
                    <a:lnTo>
                      <a:pt x="70" y="13"/>
                    </a:lnTo>
                    <a:lnTo>
                      <a:pt x="70" y="12"/>
                    </a:lnTo>
                    <a:lnTo>
                      <a:pt x="70" y="13"/>
                    </a:lnTo>
                    <a:lnTo>
                      <a:pt x="70" y="15"/>
                    </a:lnTo>
                    <a:lnTo>
                      <a:pt x="71" y="15"/>
                    </a:lnTo>
                    <a:lnTo>
                      <a:pt x="73" y="15"/>
                    </a:lnTo>
                    <a:lnTo>
                      <a:pt x="73" y="17"/>
                    </a:lnTo>
                    <a:lnTo>
                      <a:pt x="75" y="17"/>
                    </a:lnTo>
                    <a:lnTo>
                      <a:pt x="75" y="19"/>
                    </a:lnTo>
                    <a:lnTo>
                      <a:pt x="77" y="19"/>
                    </a:lnTo>
                    <a:lnTo>
                      <a:pt x="77" y="20"/>
                    </a:lnTo>
                    <a:lnTo>
                      <a:pt x="77" y="19"/>
                    </a:lnTo>
                    <a:lnTo>
                      <a:pt x="78" y="20"/>
                    </a:lnTo>
                    <a:lnTo>
                      <a:pt x="78" y="22"/>
                    </a:lnTo>
                    <a:lnTo>
                      <a:pt x="78" y="24"/>
                    </a:lnTo>
                    <a:lnTo>
                      <a:pt x="80" y="24"/>
                    </a:lnTo>
                    <a:lnTo>
                      <a:pt x="80" y="25"/>
                    </a:lnTo>
                    <a:lnTo>
                      <a:pt x="80" y="24"/>
                    </a:lnTo>
                    <a:lnTo>
                      <a:pt x="80" y="25"/>
                    </a:lnTo>
                    <a:lnTo>
                      <a:pt x="82" y="25"/>
                    </a:lnTo>
                    <a:lnTo>
                      <a:pt x="83" y="27"/>
                    </a:lnTo>
                    <a:lnTo>
                      <a:pt x="83" y="29"/>
                    </a:lnTo>
                    <a:lnTo>
                      <a:pt x="85" y="31"/>
                    </a:lnTo>
                    <a:lnTo>
                      <a:pt x="85" y="32"/>
                    </a:lnTo>
                    <a:lnTo>
                      <a:pt x="87" y="32"/>
                    </a:lnTo>
                    <a:lnTo>
                      <a:pt x="87" y="34"/>
                    </a:lnTo>
                    <a:lnTo>
                      <a:pt x="88" y="34"/>
                    </a:lnTo>
                    <a:lnTo>
                      <a:pt x="88" y="36"/>
                    </a:lnTo>
                    <a:lnTo>
                      <a:pt x="90" y="36"/>
                    </a:lnTo>
                    <a:lnTo>
                      <a:pt x="92" y="36"/>
                    </a:lnTo>
                    <a:lnTo>
                      <a:pt x="92" y="34"/>
                    </a:lnTo>
                    <a:lnTo>
                      <a:pt x="94" y="34"/>
                    </a:lnTo>
                    <a:lnTo>
                      <a:pt x="94" y="32"/>
                    </a:lnTo>
                    <a:lnTo>
                      <a:pt x="94" y="34"/>
                    </a:lnTo>
                    <a:lnTo>
                      <a:pt x="94" y="32"/>
                    </a:lnTo>
                    <a:lnTo>
                      <a:pt x="95" y="34"/>
                    </a:lnTo>
                    <a:lnTo>
                      <a:pt x="95" y="32"/>
                    </a:lnTo>
                    <a:lnTo>
                      <a:pt x="95" y="31"/>
                    </a:lnTo>
                    <a:lnTo>
                      <a:pt x="95" y="29"/>
                    </a:lnTo>
                    <a:lnTo>
                      <a:pt x="97" y="29"/>
                    </a:lnTo>
                    <a:lnTo>
                      <a:pt x="99" y="29"/>
                    </a:lnTo>
                    <a:lnTo>
                      <a:pt x="99" y="31"/>
                    </a:lnTo>
                    <a:lnTo>
                      <a:pt x="100" y="31"/>
                    </a:lnTo>
                    <a:lnTo>
                      <a:pt x="100" y="32"/>
                    </a:lnTo>
                    <a:lnTo>
                      <a:pt x="102" y="32"/>
                    </a:lnTo>
                    <a:lnTo>
                      <a:pt x="102" y="34"/>
                    </a:lnTo>
                    <a:lnTo>
                      <a:pt x="104" y="34"/>
                    </a:lnTo>
                    <a:lnTo>
                      <a:pt x="102" y="36"/>
                    </a:lnTo>
                    <a:lnTo>
                      <a:pt x="104" y="36"/>
                    </a:lnTo>
                    <a:lnTo>
                      <a:pt x="105" y="36"/>
                    </a:lnTo>
                    <a:lnTo>
                      <a:pt x="105" y="37"/>
                    </a:lnTo>
                    <a:lnTo>
                      <a:pt x="105" y="39"/>
                    </a:lnTo>
                    <a:lnTo>
                      <a:pt x="107" y="39"/>
                    </a:lnTo>
                    <a:lnTo>
                      <a:pt x="105" y="41"/>
                    </a:lnTo>
                    <a:lnTo>
                      <a:pt x="107" y="41"/>
                    </a:lnTo>
                    <a:lnTo>
                      <a:pt x="109" y="42"/>
                    </a:lnTo>
                    <a:lnTo>
                      <a:pt x="107" y="42"/>
                    </a:lnTo>
                    <a:lnTo>
                      <a:pt x="109" y="42"/>
                    </a:lnTo>
                    <a:lnTo>
                      <a:pt x="109" y="44"/>
                    </a:lnTo>
                    <a:lnTo>
                      <a:pt x="109" y="46"/>
                    </a:lnTo>
                    <a:lnTo>
                      <a:pt x="111" y="46"/>
                    </a:lnTo>
                    <a:lnTo>
                      <a:pt x="112" y="46"/>
                    </a:lnTo>
                    <a:lnTo>
                      <a:pt x="112" y="48"/>
                    </a:lnTo>
                    <a:lnTo>
                      <a:pt x="114" y="48"/>
                    </a:lnTo>
                    <a:lnTo>
                      <a:pt x="116" y="48"/>
                    </a:lnTo>
                    <a:lnTo>
                      <a:pt x="116" y="46"/>
                    </a:lnTo>
                    <a:lnTo>
                      <a:pt x="117" y="46"/>
                    </a:lnTo>
                    <a:lnTo>
                      <a:pt x="117" y="48"/>
                    </a:lnTo>
                    <a:lnTo>
                      <a:pt x="119" y="48"/>
                    </a:lnTo>
                    <a:lnTo>
                      <a:pt x="119" y="49"/>
                    </a:lnTo>
                    <a:lnTo>
                      <a:pt x="119" y="51"/>
                    </a:lnTo>
                    <a:lnTo>
                      <a:pt x="121" y="51"/>
                    </a:lnTo>
                    <a:lnTo>
                      <a:pt x="121" y="49"/>
                    </a:lnTo>
                    <a:lnTo>
                      <a:pt x="122" y="51"/>
                    </a:lnTo>
                    <a:lnTo>
                      <a:pt x="122" y="53"/>
                    </a:lnTo>
                    <a:lnTo>
                      <a:pt x="124" y="53"/>
                    </a:lnTo>
                    <a:lnTo>
                      <a:pt x="126" y="53"/>
                    </a:lnTo>
                    <a:lnTo>
                      <a:pt x="126" y="51"/>
                    </a:lnTo>
                    <a:lnTo>
                      <a:pt x="128" y="53"/>
                    </a:lnTo>
                    <a:lnTo>
                      <a:pt x="129" y="53"/>
                    </a:lnTo>
                    <a:lnTo>
                      <a:pt x="131" y="53"/>
                    </a:lnTo>
                    <a:lnTo>
                      <a:pt x="133" y="54"/>
                    </a:lnTo>
                    <a:lnTo>
                      <a:pt x="134" y="54"/>
                    </a:lnTo>
                    <a:lnTo>
                      <a:pt x="134" y="56"/>
                    </a:lnTo>
                    <a:lnTo>
                      <a:pt x="134" y="58"/>
                    </a:lnTo>
                    <a:lnTo>
                      <a:pt x="136" y="58"/>
                    </a:lnTo>
                    <a:lnTo>
                      <a:pt x="136" y="59"/>
                    </a:lnTo>
                    <a:lnTo>
                      <a:pt x="136" y="61"/>
                    </a:lnTo>
                    <a:lnTo>
                      <a:pt x="139" y="65"/>
                    </a:lnTo>
                    <a:lnTo>
                      <a:pt x="141" y="66"/>
                    </a:lnTo>
                    <a:lnTo>
                      <a:pt x="143" y="66"/>
                    </a:lnTo>
                    <a:lnTo>
                      <a:pt x="143" y="68"/>
                    </a:lnTo>
                    <a:lnTo>
                      <a:pt x="145" y="68"/>
                    </a:lnTo>
                    <a:lnTo>
                      <a:pt x="145" y="70"/>
                    </a:lnTo>
                    <a:lnTo>
                      <a:pt x="146" y="70"/>
                    </a:lnTo>
                    <a:lnTo>
                      <a:pt x="146" y="71"/>
                    </a:lnTo>
                    <a:lnTo>
                      <a:pt x="148" y="71"/>
                    </a:lnTo>
                    <a:lnTo>
                      <a:pt x="150" y="71"/>
                    </a:lnTo>
                    <a:lnTo>
                      <a:pt x="150" y="70"/>
                    </a:lnTo>
                    <a:lnTo>
                      <a:pt x="151" y="71"/>
                    </a:lnTo>
                    <a:lnTo>
                      <a:pt x="153" y="71"/>
                    </a:lnTo>
                    <a:lnTo>
                      <a:pt x="151" y="71"/>
                    </a:lnTo>
                    <a:lnTo>
                      <a:pt x="153" y="73"/>
                    </a:lnTo>
                    <a:lnTo>
                      <a:pt x="155" y="73"/>
                    </a:lnTo>
                    <a:lnTo>
                      <a:pt x="155" y="75"/>
                    </a:lnTo>
                    <a:lnTo>
                      <a:pt x="156" y="75"/>
                    </a:lnTo>
                    <a:lnTo>
                      <a:pt x="156" y="76"/>
                    </a:lnTo>
                    <a:lnTo>
                      <a:pt x="158" y="78"/>
                    </a:lnTo>
                    <a:lnTo>
                      <a:pt x="158" y="76"/>
                    </a:lnTo>
                    <a:lnTo>
                      <a:pt x="160" y="78"/>
                    </a:lnTo>
                    <a:lnTo>
                      <a:pt x="160" y="80"/>
                    </a:lnTo>
                    <a:lnTo>
                      <a:pt x="162" y="80"/>
                    </a:lnTo>
                    <a:lnTo>
                      <a:pt x="160" y="82"/>
                    </a:lnTo>
                    <a:lnTo>
                      <a:pt x="162" y="82"/>
                    </a:lnTo>
                    <a:lnTo>
                      <a:pt x="162" y="83"/>
                    </a:lnTo>
                    <a:lnTo>
                      <a:pt x="162" y="85"/>
                    </a:lnTo>
                    <a:lnTo>
                      <a:pt x="163" y="85"/>
                    </a:lnTo>
                    <a:lnTo>
                      <a:pt x="163" y="87"/>
                    </a:lnTo>
                    <a:lnTo>
                      <a:pt x="163" y="88"/>
                    </a:lnTo>
                    <a:lnTo>
                      <a:pt x="163" y="90"/>
                    </a:lnTo>
                    <a:lnTo>
                      <a:pt x="165" y="90"/>
                    </a:lnTo>
                    <a:lnTo>
                      <a:pt x="165" y="92"/>
                    </a:lnTo>
                    <a:lnTo>
                      <a:pt x="167" y="93"/>
                    </a:lnTo>
                    <a:lnTo>
                      <a:pt x="168" y="93"/>
                    </a:lnTo>
                    <a:lnTo>
                      <a:pt x="170" y="93"/>
                    </a:lnTo>
                    <a:lnTo>
                      <a:pt x="170" y="95"/>
                    </a:lnTo>
                    <a:lnTo>
                      <a:pt x="170" y="97"/>
                    </a:lnTo>
                    <a:lnTo>
                      <a:pt x="172" y="97"/>
                    </a:lnTo>
                    <a:lnTo>
                      <a:pt x="172" y="99"/>
                    </a:lnTo>
                    <a:lnTo>
                      <a:pt x="172" y="97"/>
                    </a:lnTo>
                    <a:lnTo>
                      <a:pt x="173" y="99"/>
                    </a:lnTo>
                    <a:lnTo>
                      <a:pt x="175" y="99"/>
                    </a:lnTo>
                    <a:lnTo>
                      <a:pt x="177" y="99"/>
                    </a:lnTo>
                    <a:lnTo>
                      <a:pt x="177" y="100"/>
                    </a:lnTo>
                    <a:lnTo>
                      <a:pt x="179" y="100"/>
                    </a:lnTo>
                    <a:lnTo>
                      <a:pt x="179" y="102"/>
                    </a:lnTo>
                    <a:lnTo>
                      <a:pt x="182" y="104"/>
                    </a:lnTo>
                    <a:lnTo>
                      <a:pt x="180" y="104"/>
                    </a:lnTo>
                    <a:lnTo>
                      <a:pt x="180" y="105"/>
                    </a:lnTo>
                    <a:lnTo>
                      <a:pt x="179" y="105"/>
                    </a:lnTo>
                    <a:lnTo>
                      <a:pt x="177" y="107"/>
                    </a:lnTo>
                    <a:lnTo>
                      <a:pt x="177" y="109"/>
                    </a:lnTo>
                    <a:lnTo>
                      <a:pt x="175" y="109"/>
                    </a:lnTo>
                    <a:lnTo>
                      <a:pt x="175" y="110"/>
                    </a:lnTo>
                    <a:lnTo>
                      <a:pt x="175" y="112"/>
                    </a:lnTo>
                    <a:lnTo>
                      <a:pt x="175" y="114"/>
                    </a:lnTo>
                    <a:lnTo>
                      <a:pt x="173" y="114"/>
                    </a:lnTo>
                    <a:lnTo>
                      <a:pt x="170" y="119"/>
                    </a:lnTo>
                    <a:lnTo>
                      <a:pt x="168" y="119"/>
                    </a:lnTo>
                    <a:lnTo>
                      <a:pt x="168" y="121"/>
                    </a:lnTo>
                    <a:lnTo>
                      <a:pt x="168" y="122"/>
                    </a:lnTo>
                    <a:lnTo>
                      <a:pt x="167" y="122"/>
                    </a:lnTo>
                    <a:lnTo>
                      <a:pt x="167" y="124"/>
                    </a:lnTo>
                    <a:lnTo>
                      <a:pt x="167" y="126"/>
                    </a:lnTo>
                    <a:lnTo>
                      <a:pt x="167" y="127"/>
                    </a:lnTo>
                    <a:lnTo>
                      <a:pt x="168" y="129"/>
                    </a:lnTo>
                    <a:lnTo>
                      <a:pt x="168" y="131"/>
                    </a:lnTo>
                    <a:lnTo>
                      <a:pt x="168" y="134"/>
                    </a:lnTo>
                    <a:lnTo>
                      <a:pt x="167" y="136"/>
                    </a:lnTo>
                    <a:lnTo>
                      <a:pt x="167" y="138"/>
                    </a:lnTo>
                    <a:lnTo>
                      <a:pt x="167" y="139"/>
                    </a:lnTo>
                    <a:lnTo>
                      <a:pt x="167" y="141"/>
                    </a:lnTo>
                    <a:lnTo>
                      <a:pt x="167" y="143"/>
                    </a:lnTo>
                    <a:lnTo>
                      <a:pt x="168" y="143"/>
                    </a:lnTo>
                    <a:lnTo>
                      <a:pt x="170" y="143"/>
                    </a:lnTo>
                    <a:lnTo>
                      <a:pt x="170" y="144"/>
                    </a:lnTo>
                    <a:lnTo>
                      <a:pt x="172" y="144"/>
                    </a:lnTo>
                    <a:close/>
                    <a:moveTo>
                      <a:pt x="3" y="153"/>
                    </a:moveTo>
                    <a:lnTo>
                      <a:pt x="3" y="155"/>
                    </a:lnTo>
                    <a:lnTo>
                      <a:pt x="3" y="153"/>
                    </a:lnTo>
                    <a:close/>
                    <a:moveTo>
                      <a:pt x="70" y="187"/>
                    </a:moveTo>
                    <a:lnTo>
                      <a:pt x="71" y="187"/>
                    </a:lnTo>
                    <a:lnTo>
                      <a:pt x="70" y="187"/>
                    </a:lnTo>
                    <a:close/>
                    <a:moveTo>
                      <a:pt x="5" y="156"/>
                    </a:moveTo>
                    <a:lnTo>
                      <a:pt x="5" y="158"/>
                    </a:lnTo>
                    <a:lnTo>
                      <a:pt x="5" y="156"/>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031" name="Freeform 58">
                <a:extLst>
                  <a:ext uri="{FF2B5EF4-FFF2-40B4-BE49-F238E27FC236}">
                    <a16:creationId xmlns:a16="http://schemas.microsoft.com/office/drawing/2014/main" id="{D8E40551-481E-116E-1E44-34A23077D4CE}"/>
                  </a:ext>
                </a:extLst>
              </p:cNvPr>
              <p:cNvSpPr>
                <a:spLocks noEditPoints="1"/>
              </p:cNvSpPr>
              <p:nvPr/>
            </p:nvSpPr>
            <p:spPr bwMode="auto">
              <a:xfrm>
                <a:off x="6167438" y="1450975"/>
                <a:ext cx="23812" cy="39688"/>
              </a:xfrm>
              <a:custGeom>
                <a:avLst/>
                <a:gdLst>
                  <a:gd name="T0" fmla="*/ 10 w 15"/>
                  <a:gd name="T1" fmla="*/ 22 h 25"/>
                  <a:gd name="T2" fmla="*/ 12 w 15"/>
                  <a:gd name="T3" fmla="*/ 23 h 25"/>
                  <a:gd name="T4" fmla="*/ 14 w 15"/>
                  <a:gd name="T5" fmla="*/ 22 h 25"/>
                  <a:gd name="T6" fmla="*/ 15 w 15"/>
                  <a:gd name="T7" fmla="*/ 23 h 25"/>
                  <a:gd name="T8" fmla="*/ 12 w 15"/>
                  <a:gd name="T9" fmla="*/ 23 h 25"/>
                  <a:gd name="T10" fmla="*/ 10 w 15"/>
                  <a:gd name="T11" fmla="*/ 25 h 25"/>
                  <a:gd name="T12" fmla="*/ 9 w 15"/>
                  <a:gd name="T13" fmla="*/ 23 h 25"/>
                  <a:gd name="T14" fmla="*/ 7 w 15"/>
                  <a:gd name="T15" fmla="*/ 25 h 25"/>
                  <a:gd name="T16" fmla="*/ 3 w 15"/>
                  <a:gd name="T17" fmla="*/ 25 h 25"/>
                  <a:gd name="T18" fmla="*/ 5 w 15"/>
                  <a:gd name="T19" fmla="*/ 23 h 25"/>
                  <a:gd name="T20" fmla="*/ 7 w 15"/>
                  <a:gd name="T21" fmla="*/ 22 h 25"/>
                  <a:gd name="T22" fmla="*/ 3 w 15"/>
                  <a:gd name="T23" fmla="*/ 0 h 25"/>
                  <a:gd name="T24" fmla="*/ 5 w 15"/>
                  <a:gd name="T25" fmla="*/ 1 h 25"/>
                  <a:gd name="T26" fmla="*/ 5 w 15"/>
                  <a:gd name="T27" fmla="*/ 3 h 25"/>
                  <a:gd name="T28" fmla="*/ 5 w 15"/>
                  <a:gd name="T29" fmla="*/ 3 h 25"/>
                  <a:gd name="T30" fmla="*/ 3 w 15"/>
                  <a:gd name="T31" fmla="*/ 1 h 25"/>
                  <a:gd name="T32" fmla="*/ 2 w 15"/>
                  <a:gd name="T33" fmla="*/ 3 h 25"/>
                  <a:gd name="T34" fmla="*/ 0 w 15"/>
                  <a:gd name="T35" fmla="*/ 1 h 25"/>
                  <a:gd name="T36" fmla="*/ 2 w 15"/>
                  <a:gd name="T37" fmla="*/ 0 h 25"/>
                  <a:gd name="T38" fmla="*/ 3 w 15"/>
                  <a:gd name="T39" fmla="*/ 0 h 25"/>
                  <a:gd name="T40" fmla="*/ 12 w 15"/>
                  <a:gd name="T41" fmla="*/ 1 h 25"/>
                  <a:gd name="T42" fmla="*/ 12 w 15"/>
                  <a:gd name="T43" fmla="*/ 3 h 25"/>
                  <a:gd name="T44" fmla="*/ 9 w 15"/>
                  <a:gd name="T45" fmla="*/ 3 h 25"/>
                  <a:gd name="T46" fmla="*/ 10 w 15"/>
                  <a:gd name="T47" fmla="*/ 1 h 25"/>
                  <a:gd name="T48" fmla="*/ 3 w 15"/>
                  <a:gd name="T49" fmla="*/ 1 h 25"/>
                  <a:gd name="T50" fmla="*/ 2 w 15"/>
                  <a:gd name="T51" fmla="*/ 3 h 25"/>
                  <a:gd name="T52" fmla="*/ 3 w 15"/>
                  <a:gd name="T53" fmla="*/ 0 h 25"/>
                  <a:gd name="T54" fmla="*/ 3 w 15"/>
                  <a:gd name="T55" fmla="*/ 0 h 25"/>
                  <a:gd name="T56" fmla="*/ 7 w 15"/>
                  <a:gd name="T57" fmla="*/ 1 h 25"/>
                  <a:gd name="T58" fmla="*/ 3 w 15"/>
                  <a:gd name="T59" fmla="*/ 1 h 25"/>
                  <a:gd name="T60" fmla="*/ 3 w 15"/>
                  <a:gd name="T61" fmla="*/ 1 h 25"/>
                  <a:gd name="T62" fmla="*/ 9 w 15"/>
                  <a:gd name="T63" fmla="*/ 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 h="25">
                    <a:moveTo>
                      <a:pt x="9" y="22"/>
                    </a:moveTo>
                    <a:lnTo>
                      <a:pt x="10" y="22"/>
                    </a:lnTo>
                    <a:lnTo>
                      <a:pt x="10" y="23"/>
                    </a:lnTo>
                    <a:lnTo>
                      <a:pt x="12" y="23"/>
                    </a:lnTo>
                    <a:lnTo>
                      <a:pt x="12" y="22"/>
                    </a:lnTo>
                    <a:lnTo>
                      <a:pt x="14" y="22"/>
                    </a:lnTo>
                    <a:lnTo>
                      <a:pt x="15" y="22"/>
                    </a:lnTo>
                    <a:lnTo>
                      <a:pt x="15" y="23"/>
                    </a:lnTo>
                    <a:lnTo>
                      <a:pt x="14" y="23"/>
                    </a:lnTo>
                    <a:lnTo>
                      <a:pt x="12" y="23"/>
                    </a:lnTo>
                    <a:lnTo>
                      <a:pt x="10" y="23"/>
                    </a:lnTo>
                    <a:lnTo>
                      <a:pt x="10" y="25"/>
                    </a:lnTo>
                    <a:lnTo>
                      <a:pt x="9" y="25"/>
                    </a:lnTo>
                    <a:lnTo>
                      <a:pt x="9" y="23"/>
                    </a:lnTo>
                    <a:lnTo>
                      <a:pt x="9" y="25"/>
                    </a:lnTo>
                    <a:lnTo>
                      <a:pt x="7" y="25"/>
                    </a:lnTo>
                    <a:lnTo>
                      <a:pt x="5" y="25"/>
                    </a:lnTo>
                    <a:lnTo>
                      <a:pt x="3" y="25"/>
                    </a:lnTo>
                    <a:lnTo>
                      <a:pt x="5" y="25"/>
                    </a:lnTo>
                    <a:lnTo>
                      <a:pt x="5" y="23"/>
                    </a:lnTo>
                    <a:lnTo>
                      <a:pt x="5" y="22"/>
                    </a:lnTo>
                    <a:lnTo>
                      <a:pt x="7" y="22"/>
                    </a:lnTo>
                    <a:lnTo>
                      <a:pt x="9" y="22"/>
                    </a:lnTo>
                    <a:close/>
                    <a:moveTo>
                      <a:pt x="3" y="0"/>
                    </a:moveTo>
                    <a:lnTo>
                      <a:pt x="3" y="1"/>
                    </a:lnTo>
                    <a:lnTo>
                      <a:pt x="5" y="1"/>
                    </a:lnTo>
                    <a:lnTo>
                      <a:pt x="7" y="1"/>
                    </a:lnTo>
                    <a:lnTo>
                      <a:pt x="5" y="3"/>
                    </a:lnTo>
                    <a:lnTo>
                      <a:pt x="7" y="3"/>
                    </a:lnTo>
                    <a:lnTo>
                      <a:pt x="5" y="3"/>
                    </a:lnTo>
                    <a:lnTo>
                      <a:pt x="3" y="3"/>
                    </a:lnTo>
                    <a:lnTo>
                      <a:pt x="3" y="1"/>
                    </a:lnTo>
                    <a:lnTo>
                      <a:pt x="2" y="1"/>
                    </a:lnTo>
                    <a:lnTo>
                      <a:pt x="2" y="3"/>
                    </a:lnTo>
                    <a:lnTo>
                      <a:pt x="2" y="1"/>
                    </a:lnTo>
                    <a:lnTo>
                      <a:pt x="0" y="1"/>
                    </a:lnTo>
                    <a:lnTo>
                      <a:pt x="2" y="1"/>
                    </a:lnTo>
                    <a:lnTo>
                      <a:pt x="2" y="0"/>
                    </a:lnTo>
                    <a:lnTo>
                      <a:pt x="3" y="1"/>
                    </a:lnTo>
                    <a:lnTo>
                      <a:pt x="3" y="0"/>
                    </a:lnTo>
                    <a:close/>
                    <a:moveTo>
                      <a:pt x="10" y="1"/>
                    </a:moveTo>
                    <a:lnTo>
                      <a:pt x="12" y="1"/>
                    </a:lnTo>
                    <a:lnTo>
                      <a:pt x="10" y="1"/>
                    </a:lnTo>
                    <a:lnTo>
                      <a:pt x="12" y="3"/>
                    </a:lnTo>
                    <a:lnTo>
                      <a:pt x="10" y="3"/>
                    </a:lnTo>
                    <a:lnTo>
                      <a:pt x="9" y="3"/>
                    </a:lnTo>
                    <a:lnTo>
                      <a:pt x="9" y="1"/>
                    </a:lnTo>
                    <a:lnTo>
                      <a:pt x="10" y="1"/>
                    </a:lnTo>
                    <a:close/>
                    <a:moveTo>
                      <a:pt x="2" y="1"/>
                    </a:moveTo>
                    <a:lnTo>
                      <a:pt x="3" y="1"/>
                    </a:lnTo>
                    <a:lnTo>
                      <a:pt x="3" y="3"/>
                    </a:lnTo>
                    <a:lnTo>
                      <a:pt x="2" y="3"/>
                    </a:lnTo>
                    <a:lnTo>
                      <a:pt x="2" y="1"/>
                    </a:lnTo>
                    <a:close/>
                    <a:moveTo>
                      <a:pt x="3" y="0"/>
                    </a:moveTo>
                    <a:lnTo>
                      <a:pt x="5" y="0"/>
                    </a:lnTo>
                    <a:lnTo>
                      <a:pt x="3" y="0"/>
                    </a:lnTo>
                    <a:close/>
                    <a:moveTo>
                      <a:pt x="5" y="1"/>
                    </a:moveTo>
                    <a:lnTo>
                      <a:pt x="7" y="1"/>
                    </a:lnTo>
                    <a:lnTo>
                      <a:pt x="5" y="1"/>
                    </a:lnTo>
                    <a:close/>
                    <a:moveTo>
                      <a:pt x="3" y="1"/>
                    </a:moveTo>
                    <a:lnTo>
                      <a:pt x="3" y="3"/>
                    </a:lnTo>
                    <a:lnTo>
                      <a:pt x="3" y="1"/>
                    </a:lnTo>
                    <a:close/>
                    <a:moveTo>
                      <a:pt x="7" y="1"/>
                    </a:moveTo>
                    <a:lnTo>
                      <a:pt x="9" y="1"/>
                    </a:lnTo>
                    <a:lnTo>
                      <a:pt x="7" y="1"/>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032" name="Freeform 59">
                <a:extLst>
                  <a:ext uri="{FF2B5EF4-FFF2-40B4-BE49-F238E27FC236}">
                    <a16:creationId xmlns:a16="http://schemas.microsoft.com/office/drawing/2014/main" id="{DA9518B7-2A67-5285-0C45-32F3F1DD252A}"/>
                  </a:ext>
                </a:extLst>
              </p:cNvPr>
              <p:cNvSpPr>
                <a:spLocks noEditPoints="1"/>
              </p:cNvSpPr>
              <p:nvPr/>
            </p:nvSpPr>
            <p:spPr bwMode="auto">
              <a:xfrm>
                <a:off x="5722938" y="1795463"/>
                <a:ext cx="725487" cy="623888"/>
              </a:xfrm>
              <a:custGeom>
                <a:avLst/>
                <a:gdLst>
                  <a:gd name="T0" fmla="*/ 428 w 457"/>
                  <a:gd name="T1" fmla="*/ 157 h 393"/>
                  <a:gd name="T2" fmla="*/ 433 w 457"/>
                  <a:gd name="T3" fmla="*/ 181 h 393"/>
                  <a:gd name="T4" fmla="*/ 409 w 457"/>
                  <a:gd name="T5" fmla="*/ 194 h 393"/>
                  <a:gd name="T6" fmla="*/ 426 w 457"/>
                  <a:gd name="T7" fmla="*/ 238 h 393"/>
                  <a:gd name="T8" fmla="*/ 408 w 457"/>
                  <a:gd name="T9" fmla="*/ 262 h 393"/>
                  <a:gd name="T10" fmla="*/ 380 w 457"/>
                  <a:gd name="T11" fmla="*/ 276 h 393"/>
                  <a:gd name="T12" fmla="*/ 357 w 457"/>
                  <a:gd name="T13" fmla="*/ 286 h 393"/>
                  <a:gd name="T14" fmla="*/ 333 w 457"/>
                  <a:gd name="T15" fmla="*/ 281 h 393"/>
                  <a:gd name="T16" fmla="*/ 311 w 457"/>
                  <a:gd name="T17" fmla="*/ 279 h 393"/>
                  <a:gd name="T18" fmla="*/ 292 w 457"/>
                  <a:gd name="T19" fmla="*/ 279 h 393"/>
                  <a:gd name="T20" fmla="*/ 312 w 457"/>
                  <a:gd name="T21" fmla="*/ 317 h 393"/>
                  <a:gd name="T22" fmla="*/ 336 w 457"/>
                  <a:gd name="T23" fmla="*/ 334 h 393"/>
                  <a:gd name="T24" fmla="*/ 312 w 457"/>
                  <a:gd name="T25" fmla="*/ 352 h 393"/>
                  <a:gd name="T26" fmla="*/ 292 w 457"/>
                  <a:gd name="T27" fmla="*/ 371 h 393"/>
                  <a:gd name="T28" fmla="*/ 270 w 457"/>
                  <a:gd name="T29" fmla="*/ 383 h 393"/>
                  <a:gd name="T30" fmla="*/ 249 w 457"/>
                  <a:gd name="T31" fmla="*/ 385 h 393"/>
                  <a:gd name="T32" fmla="*/ 212 w 457"/>
                  <a:gd name="T33" fmla="*/ 352 h 393"/>
                  <a:gd name="T34" fmla="*/ 192 w 457"/>
                  <a:gd name="T35" fmla="*/ 320 h 393"/>
                  <a:gd name="T36" fmla="*/ 192 w 457"/>
                  <a:gd name="T37" fmla="*/ 288 h 393"/>
                  <a:gd name="T38" fmla="*/ 185 w 457"/>
                  <a:gd name="T39" fmla="*/ 252 h 393"/>
                  <a:gd name="T40" fmla="*/ 195 w 457"/>
                  <a:gd name="T41" fmla="*/ 216 h 393"/>
                  <a:gd name="T42" fmla="*/ 171 w 457"/>
                  <a:gd name="T43" fmla="*/ 206 h 393"/>
                  <a:gd name="T44" fmla="*/ 120 w 457"/>
                  <a:gd name="T45" fmla="*/ 194 h 393"/>
                  <a:gd name="T46" fmla="*/ 76 w 457"/>
                  <a:gd name="T47" fmla="*/ 179 h 393"/>
                  <a:gd name="T48" fmla="*/ 40 w 457"/>
                  <a:gd name="T49" fmla="*/ 167 h 393"/>
                  <a:gd name="T50" fmla="*/ 32 w 457"/>
                  <a:gd name="T51" fmla="*/ 141 h 393"/>
                  <a:gd name="T52" fmla="*/ 11 w 457"/>
                  <a:gd name="T53" fmla="*/ 106 h 393"/>
                  <a:gd name="T54" fmla="*/ 11 w 457"/>
                  <a:gd name="T55" fmla="*/ 82 h 393"/>
                  <a:gd name="T56" fmla="*/ 25 w 457"/>
                  <a:gd name="T57" fmla="*/ 44 h 393"/>
                  <a:gd name="T58" fmla="*/ 64 w 457"/>
                  <a:gd name="T59" fmla="*/ 16 h 393"/>
                  <a:gd name="T60" fmla="*/ 57 w 457"/>
                  <a:gd name="T61" fmla="*/ 41 h 393"/>
                  <a:gd name="T62" fmla="*/ 49 w 457"/>
                  <a:gd name="T63" fmla="*/ 72 h 393"/>
                  <a:gd name="T64" fmla="*/ 47 w 457"/>
                  <a:gd name="T65" fmla="*/ 97 h 393"/>
                  <a:gd name="T66" fmla="*/ 62 w 457"/>
                  <a:gd name="T67" fmla="*/ 107 h 393"/>
                  <a:gd name="T68" fmla="*/ 71 w 457"/>
                  <a:gd name="T69" fmla="*/ 77 h 393"/>
                  <a:gd name="T70" fmla="*/ 62 w 457"/>
                  <a:gd name="T71" fmla="*/ 44 h 393"/>
                  <a:gd name="T72" fmla="*/ 96 w 457"/>
                  <a:gd name="T73" fmla="*/ 31 h 393"/>
                  <a:gd name="T74" fmla="*/ 113 w 457"/>
                  <a:gd name="T75" fmla="*/ 24 h 393"/>
                  <a:gd name="T76" fmla="*/ 105 w 457"/>
                  <a:gd name="T77" fmla="*/ 19 h 393"/>
                  <a:gd name="T78" fmla="*/ 119 w 457"/>
                  <a:gd name="T79" fmla="*/ 9 h 393"/>
                  <a:gd name="T80" fmla="*/ 153 w 457"/>
                  <a:gd name="T81" fmla="*/ 27 h 393"/>
                  <a:gd name="T82" fmla="*/ 170 w 457"/>
                  <a:gd name="T83" fmla="*/ 48 h 393"/>
                  <a:gd name="T84" fmla="*/ 200 w 457"/>
                  <a:gd name="T85" fmla="*/ 56 h 393"/>
                  <a:gd name="T86" fmla="*/ 244 w 457"/>
                  <a:gd name="T87" fmla="*/ 56 h 393"/>
                  <a:gd name="T88" fmla="*/ 282 w 457"/>
                  <a:gd name="T89" fmla="*/ 73 h 393"/>
                  <a:gd name="T90" fmla="*/ 307 w 457"/>
                  <a:gd name="T91" fmla="*/ 61 h 393"/>
                  <a:gd name="T92" fmla="*/ 311 w 457"/>
                  <a:gd name="T93" fmla="*/ 56 h 393"/>
                  <a:gd name="T94" fmla="*/ 329 w 457"/>
                  <a:gd name="T95" fmla="*/ 53 h 393"/>
                  <a:gd name="T96" fmla="*/ 370 w 457"/>
                  <a:gd name="T97" fmla="*/ 51 h 393"/>
                  <a:gd name="T98" fmla="*/ 363 w 457"/>
                  <a:gd name="T99" fmla="*/ 56 h 393"/>
                  <a:gd name="T100" fmla="*/ 370 w 457"/>
                  <a:gd name="T101" fmla="*/ 78 h 393"/>
                  <a:gd name="T102" fmla="*/ 399 w 457"/>
                  <a:gd name="T103" fmla="*/ 82 h 393"/>
                  <a:gd name="T104" fmla="*/ 419 w 457"/>
                  <a:gd name="T105" fmla="*/ 101 h 393"/>
                  <a:gd name="T106" fmla="*/ 423 w 457"/>
                  <a:gd name="T107" fmla="*/ 116 h 393"/>
                  <a:gd name="T108" fmla="*/ 436 w 457"/>
                  <a:gd name="T109" fmla="*/ 124 h 393"/>
                  <a:gd name="T110" fmla="*/ 311 w 457"/>
                  <a:gd name="T111" fmla="*/ 44 h 393"/>
                  <a:gd name="T112" fmla="*/ 309 w 457"/>
                  <a:gd name="T113" fmla="*/ 39 h 393"/>
                  <a:gd name="T114" fmla="*/ 295 w 457"/>
                  <a:gd name="T115" fmla="*/ 10 h 393"/>
                  <a:gd name="T116" fmla="*/ 226 w 457"/>
                  <a:gd name="T117" fmla="*/ 14 h 393"/>
                  <a:gd name="T118" fmla="*/ 221 w 457"/>
                  <a:gd name="T119" fmla="*/ 10 h 393"/>
                  <a:gd name="T120" fmla="*/ 302 w 457"/>
                  <a:gd name="T121" fmla="*/ 63 h 393"/>
                  <a:gd name="T122" fmla="*/ 190 w 457"/>
                  <a:gd name="T123" fmla="*/ 7 h 393"/>
                  <a:gd name="T124" fmla="*/ 219 w 457"/>
                  <a:gd name="T125"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7" h="393">
                    <a:moveTo>
                      <a:pt x="450" y="126"/>
                    </a:moveTo>
                    <a:lnTo>
                      <a:pt x="452" y="128"/>
                    </a:lnTo>
                    <a:lnTo>
                      <a:pt x="453" y="130"/>
                    </a:lnTo>
                    <a:lnTo>
                      <a:pt x="455" y="133"/>
                    </a:lnTo>
                    <a:lnTo>
                      <a:pt x="457" y="135"/>
                    </a:lnTo>
                    <a:lnTo>
                      <a:pt x="455" y="135"/>
                    </a:lnTo>
                    <a:lnTo>
                      <a:pt x="455" y="136"/>
                    </a:lnTo>
                    <a:lnTo>
                      <a:pt x="452" y="136"/>
                    </a:lnTo>
                    <a:lnTo>
                      <a:pt x="450" y="138"/>
                    </a:lnTo>
                    <a:lnTo>
                      <a:pt x="450" y="140"/>
                    </a:lnTo>
                    <a:lnTo>
                      <a:pt x="450" y="141"/>
                    </a:lnTo>
                    <a:lnTo>
                      <a:pt x="448" y="141"/>
                    </a:lnTo>
                    <a:lnTo>
                      <a:pt x="448" y="143"/>
                    </a:lnTo>
                    <a:lnTo>
                      <a:pt x="447" y="143"/>
                    </a:lnTo>
                    <a:lnTo>
                      <a:pt x="445" y="143"/>
                    </a:lnTo>
                    <a:lnTo>
                      <a:pt x="445" y="145"/>
                    </a:lnTo>
                    <a:lnTo>
                      <a:pt x="443" y="145"/>
                    </a:lnTo>
                    <a:lnTo>
                      <a:pt x="442" y="145"/>
                    </a:lnTo>
                    <a:lnTo>
                      <a:pt x="442" y="147"/>
                    </a:lnTo>
                    <a:lnTo>
                      <a:pt x="440" y="148"/>
                    </a:lnTo>
                    <a:lnTo>
                      <a:pt x="438" y="148"/>
                    </a:lnTo>
                    <a:lnTo>
                      <a:pt x="438" y="150"/>
                    </a:lnTo>
                    <a:lnTo>
                      <a:pt x="436" y="150"/>
                    </a:lnTo>
                    <a:lnTo>
                      <a:pt x="435" y="150"/>
                    </a:lnTo>
                    <a:lnTo>
                      <a:pt x="433" y="150"/>
                    </a:lnTo>
                    <a:lnTo>
                      <a:pt x="431" y="150"/>
                    </a:lnTo>
                    <a:lnTo>
                      <a:pt x="431" y="152"/>
                    </a:lnTo>
                    <a:lnTo>
                      <a:pt x="430" y="153"/>
                    </a:lnTo>
                    <a:lnTo>
                      <a:pt x="430" y="155"/>
                    </a:lnTo>
                    <a:lnTo>
                      <a:pt x="430" y="157"/>
                    </a:lnTo>
                    <a:lnTo>
                      <a:pt x="428" y="157"/>
                    </a:lnTo>
                    <a:lnTo>
                      <a:pt x="428" y="158"/>
                    </a:lnTo>
                    <a:lnTo>
                      <a:pt x="428" y="160"/>
                    </a:lnTo>
                    <a:lnTo>
                      <a:pt x="428" y="162"/>
                    </a:lnTo>
                    <a:lnTo>
                      <a:pt x="428" y="164"/>
                    </a:lnTo>
                    <a:lnTo>
                      <a:pt x="428" y="165"/>
                    </a:lnTo>
                    <a:lnTo>
                      <a:pt x="430" y="165"/>
                    </a:lnTo>
                    <a:lnTo>
                      <a:pt x="430" y="167"/>
                    </a:lnTo>
                    <a:lnTo>
                      <a:pt x="430" y="169"/>
                    </a:lnTo>
                    <a:lnTo>
                      <a:pt x="428" y="169"/>
                    </a:lnTo>
                    <a:lnTo>
                      <a:pt x="428" y="170"/>
                    </a:lnTo>
                    <a:lnTo>
                      <a:pt x="430" y="170"/>
                    </a:lnTo>
                    <a:lnTo>
                      <a:pt x="430" y="172"/>
                    </a:lnTo>
                    <a:lnTo>
                      <a:pt x="431" y="172"/>
                    </a:lnTo>
                    <a:lnTo>
                      <a:pt x="431" y="174"/>
                    </a:lnTo>
                    <a:lnTo>
                      <a:pt x="431" y="172"/>
                    </a:lnTo>
                    <a:lnTo>
                      <a:pt x="433" y="172"/>
                    </a:lnTo>
                    <a:lnTo>
                      <a:pt x="433" y="170"/>
                    </a:lnTo>
                    <a:lnTo>
                      <a:pt x="435" y="172"/>
                    </a:lnTo>
                    <a:lnTo>
                      <a:pt x="435" y="170"/>
                    </a:lnTo>
                    <a:lnTo>
                      <a:pt x="435" y="172"/>
                    </a:lnTo>
                    <a:lnTo>
                      <a:pt x="436" y="172"/>
                    </a:lnTo>
                    <a:lnTo>
                      <a:pt x="438" y="172"/>
                    </a:lnTo>
                    <a:lnTo>
                      <a:pt x="438" y="174"/>
                    </a:lnTo>
                    <a:lnTo>
                      <a:pt x="438" y="175"/>
                    </a:lnTo>
                    <a:lnTo>
                      <a:pt x="438" y="177"/>
                    </a:lnTo>
                    <a:lnTo>
                      <a:pt x="438" y="179"/>
                    </a:lnTo>
                    <a:lnTo>
                      <a:pt x="436" y="179"/>
                    </a:lnTo>
                    <a:lnTo>
                      <a:pt x="436" y="181"/>
                    </a:lnTo>
                    <a:lnTo>
                      <a:pt x="436" y="179"/>
                    </a:lnTo>
                    <a:lnTo>
                      <a:pt x="435" y="181"/>
                    </a:lnTo>
                    <a:lnTo>
                      <a:pt x="433" y="181"/>
                    </a:lnTo>
                    <a:lnTo>
                      <a:pt x="433" y="182"/>
                    </a:lnTo>
                    <a:lnTo>
                      <a:pt x="431" y="182"/>
                    </a:lnTo>
                    <a:lnTo>
                      <a:pt x="430" y="182"/>
                    </a:lnTo>
                    <a:lnTo>
                      <a:pt x="430" y="184"/>
                    </a:lnTo>
                    <a:lnTo>
                      <a:pt x="428" y="184"/>
                    </a:lnTo>
                    <a:lnTo>
                      <a:pt x="426" y="184"/>
                    </a:lnTo>
                    <a:lnTo>
                      <a:pt x="426" y="186"/>
                    </a:lnTo>
                    <a:lnTo>
                      <a:pt x="425" y="186"/>
                    </a:lnTo>
                    <a:lnTo>
                      <a:pt x="423" y="186"/>
                    </a:lnTo>
                    <a:lnTo>
                      <a:pt x="423" y="184"/>
                    </a:lnTo>
                    <a:lnTo>
                      <a:pt x="423" y="186"/>
                    </a:lnTo>
                    <a:lnTo>
                      <a:pt x="421" y="186"/>
                    </a:lnTo>
                    <a:lnTo>
                      <a:pt x="419" y="186"/>
                    </a:lnTo>
                    <a:lnTo>
                      <a:pt x="419" y="184"/>
                    </a:lnTo>
                    <a:lnTo>
                      <a:pt x="418" y="184"/>
                    </a:lnTo>
                    <a:lnTo>
                      <a:pt x="418" y="186"/>
                    </a:lnTo>
                    <a:lnTo>
                      <a:pt x="419" y="186"/>
                    </a:lnTo>
                    <a:lnTo>
                      <a:pt x="418" y="187"/>
                    </a:lnTo>
                    <a:lnTo>
                      <a:pt x="416" y="187"/>
                    </a:lnTo>
                    <a:lnTo>
                      <a:pt x="414" y="187"/>
                    </a:lnTo>
                    <a:lnTo>
                      <a:pt x="413" y="187"/>
                    </a:lnTo>
                    <a:lnTo>
                      <a:pt x="411" y="187"/>
                    </a:lnTo>
                    <a:lnTo>
                      <a:pt x="411" y="189"/>
                    </a:lnTo>
                    <a:lnTo>
                      <a:pt x="409" y="189"/>
                    </a:lnTo>
                    <a:lnTo>
                      <a:pt x="409" y="191"/>
                    </a:lnTo>
                    <a:lnTo>
                      <a:pt x="409" y="192"/>
                    </a:lnTo>
                    <a:lnTo>
                      <a:pt x="408" y="192"/>
                    </a:lnTo>
                    <a:lnTo>
                      <a:pt x="409" y="192"/>
                    </a:lnTo>
                    <a:lnTo>
                      <a:pt x="408" y="192"/>
                    </a:lnTo>
                    <a:lnTo>
                      <a:pt x="409" y="192"/>
                    </a:lnTo>
                    <a:lnTo>
                      <a:pt x="409" y="194"/>
                    </a:lnTo>
                    <a:lnTo>
                      <a:pt x="411" y="194"/>
                    </a:lnTo>
                    <a:lnTo>
                      <a:pt x="409" y="196"/>
                    </a:lnTo>
                    <a:lnTo>
                      <a:pt x="411" y="196"/>
                    </a:lnTo>
                    <a:lnTo>
                      <a:pt x="411" y="198"/>
                    </a:lnTo>
                    <a:lnTo>
                      <a:pt x="411" y="199"/>
                    </a:lnTo>
                    <a:lnTo>
                      <a:pt x="411" y="201"/>
                    </a:lnTo>
                    <a:lnTo>
                      <a:pt x="409" y="201"/>
                    </a:lnTo>
                    <a:lnTo>
                      <a:pt x="411" y="201"/>
                    </a:lnTo>
                    <a:lnTo>
                      <a:pt x="411" y="203"/>
                    </a:lnTo>
                    <a:lnTo>
                      <a:pt x="413" y="203"/>
                    </a:lnTo>
                    <a:lnTo>
                      <a:pt x="411" y="203"/>
                    </a:lnTo>
                    <a:lnTo>
                      <a:pt x="411" y="204"/>
                    </a:lnTo>
                    <a:lnTo>
                      <a:pt x="413" y="204"/>
                    </a:lnTo>
                    <a:lnTo>
                      <a:pt x="411" y="206"/>
                    </a:lnTo>
                    <a:lnTo>
                      <a:pt x="409" y="206"/>
                    </a:lnTo>
                    <a:lnTo>
                      <a:pt x="409" y="208"/>
                    </a:lnTo>
                    <a:lnTo>
                      <a:pt x="408" y="208"/>
                    </a:lnTo>
                    <a:lnTo>
                      <a:pt x="406" y="209"/>
                    </a:lnTo>
                    <a:lnTo>
                      <a:pt x="406" y="211"/>
                    </a:lnTo>
                    <a:lnTo>
                      <a:pt x="404" y="211"/>
                    </a:lnTo>
                    <a:lnTo>
                      <a:pt x="404" y="213"/>
                    </a:lnTo>
                    <a:lnTo>
                      <a:pt x="402" y="213"/>
                    </a:lnTo>
                    <a:lnTo>
                      <a:pt x="402" y="215"/>
                    </a:lnTo>
                    <a:lnTo>
                      <a:pt x="404" y="216"/>
                    </a:lnTo>
                    <a:lnTo>
                      <a:pt x="409" y="221"/>
                    </a:lnTo>
                    <a:lnTo>
                      <a:pt x="413" y="223"/>
                    </a:lnTo>
                    <a:lnTo>
                      <a:pt x="414" y="228"/>
                    </a:lnTo>
                    <a:lnTo>
                      <a:pt x="421" y="235"/>
                    </a:lnTo>
                    <a:lnTo>
                      <a:pt x="423" y="237"/>
                    </a:lnTo>
                    <a:lnTo>
                      <a:pt x="425" y="238"/>
                    </a:lnTo>
                    <a:lnTo>
                      <a:pt x="426" y="238"/>
                    </a:lnTo>
                    <a:lnTo>
                      <a:pt x="426" y="240"/>
                    </a:lnTo>
                    <a:lnTo>
                      <a:pt x="428" y="240"/>
                    </a:lnTo>
                    <a:lnTo>
                      <a:pt x="428" y="242"/>
                    </a:lnTo>
                    <a:lnTo>
                      <a:pt x="428" y="243"/>
                    </a:lnTo>
                    <a:lnTo>
                      <a:pt x="428" y="245"/>
                    </a:lnTo>
                    <a:lnTo>
                      <a:pt x="430" y="245"/>
                    </a:lnTo>
                    <a:lnTo>
                      <a:pt x="430" y="247"/>
                    </a:lnTo>
                    <a:lnTo>
                      <a:pt x="430" y="249"/>
                    </a:lnTo>
                    <a:lnTo>
                      <a:pt x="428" y="249"/>
                    </a:lnTo>
                    <a:lnTo>
                      <a:pt x="428" y="250"/>
                    </a:lnTo>
                    <a:lnTo>
                      <a:pt x="426" y="250"/>
                    </a:lnTo>
                    <a:lnTo>
                      <a:pt x="426" y="252"/>
                    </a:lnTo>
                    <a:lnTo>
                      <a:pt x="425" y="252"/>
                    </a:lnTo>
                    <a:lnTo>
                      <a:pt x="425" y="254"/>
                    </a:lnTo>
                    <a:lnTo>
                      <a:pt x="423" y="254"/>
                    </a:lnTo>
                    <a:lnTo>
                      <a:pt x="423" y="255"/>
                    </a:lnTo>
                    <a:lnTo>
                      <a:pt x="421" y="255"/>
                    </a:lnTo>
                    <a:lnTo>
                      <a:pt x="419" y="255"/>
                    </a:lnTo>
                    <a:lnTo>
                      <a:pt x="419" y="257"/>
                    </a:lnTo>
                    <a:lnTo>
                      <a:pt x="418" y="257"/>
                    </a:lnTo>
                    <a:lnTo>
                      <a:pt x="418" y="259"/>
                    </a:lnTo>
                    <a:lnTo>
                      <a:pt x="418" y="261"/>
                    </a:lnTo>
                    <a:lnTo>
                      <a:pt x="416" y="261"/>
                    </a:lnTo>
                    <a:lnTo>
                      <a:pt x="416" y="262"/>
                    </a:lnTo>
                    <a:lnTo>
                      <a:pt x="414" y="262"/>
                    </a:lnTo>
                    <a:lnTo>
                      <a:pt x="413" y="262"/>
                    </a:lnTo>
                    <a:lnTo>
                      <a:pt x="411" y="262"/>
                    </a:lnTo>
                    <a:lnTo>
                      <a:pt x="411" y="264"/>
                    </a:lnTo>
                    <a:lnTo>
                      <a:pt x="411" y="262"/>
                    </a:lnTo>
                    <a:lnTo>
                      <a:pt x="409" y="262"/>
                    </a:lnTo>
                    <a:lnTo>
                      <a:pt x="408" y="262"/>
                    </a:lnTo>
                    <a:lnTo>
                      <a:pt x="406" y="262"/>
                    </a:lnTo>
                    <a:lnTo>
                      <a:pt x="404" y="262"/>
                    </a:lnTo>
                    <a:lnTo>
                      <a:pt x="406" y="262"/>
                    </a:lnTo>
                    <a:lnTo>
                      <a:pt x="406" y="264"/>
                    </a:lnTo>
                    <a:lnTo>
                      <a:pt x="406" y="266"/>
                    </a:lnTo>
                    <a:lnTo>
                      <a:pt x="404" y="266"/>
                    </a:lnTo>
                    <a:lnTo>
                      <a:pt x="402" y="266"/>
                    </a:lnTo>
                    <a:lnTo>
                      <a:pt x="401" y="266"/>
                    </a:lnTo>
                    <a:lnTo>
                      <a:pt x="399" y="266"/>
                    </a:lnTo>
                    <a:lnTo>
                      <a:pt x="399" y="267"/>
                    </a:lnTo>
                    <a:lnTo>
                      <a:pt x="399" y="269"/>
                    </a:lnTo>
                    <a:lnTo>
                      <a:pt x="399" y="271"/>
                    </a:lnTo>
                    <a:lnTo>
                      <a:pt x="397" y="271"/>
                    </a:lnTo>
                    <a:lnTo>
                      <a:pt x="396" y="271"/>
                    </a:lnTo>
                    <a:lnTo>
                      <a:pt x="394" y="271"/>
                    </a:lnTo>
                    <a:lnTo>
                      <a:pt x="394" y="272"/>
                    </a:lnTo>
                    <a:lnTo>
                      <a:pt x="394" y="271"/>
                    </a:lnTo>
                    <a:lnTo>
                      <a:pt x="392" y="271"/>
                    </a:lnTo>
                    <a:lnTo>
                      <a:pt x="391" y="271"/>
                    </a:lnTo>
                    <a:lnTo>
                      <a:pt x="391" y="272"/>
                    </a:lnTo>
                    <a:lnTo>
                      <a:pt x="389" y="272"/>
                    </a:lnTo>
                    <a:lnTo>
                      <a:pt x="389" y="274"/>
                    </a:lnTo>
                    <a:lnTo>
                      <a:pt x="387" y="274"/>
                    </a:lnTo>
                    <a:lnTo>
                      <a:pt x="385" y="274"/>
                    </a:lnTo>
                    <a:lnTo>
                      <a:pt x="385" y="276"/>
                    </a:lnTo>
                    <a:lnTo>
                      <a:pt x="384" y="276"/>
                    </a:lnTo>
                    <a:lnTo>
                      <a:pt x="384" y="274"/>
                    </a:lnTo>
                    <a:lnTo>
                      <a:pt x="382" y="274"/>
                    </a:lnTo>
                    <a:lnTo>
                      <a:pt x="380" y="274"/>
                    </a:lnTo>
                    <a:lnTo>
                      <a:pt x="379" y="274"/>
                    </a:lnTo>
                    <a:lnTo>
                      <a:pt x="380" y="276"/>
                    </a:lnTo>
                    <a:lnTo>
                      <a:pt x="379" y="276"/>
                    </a:lnTo>
                    <a:lnTo>
                      <a:pt x="377" y="278"/>
                    </a:lnTo>
                    <a:lnTo>
                      <a:pt x="377" y="276"/>
                    </a:lnTo>
                    <a:lnTo>
                      <a:pt x="375" y="276"/>
                    </a:lnTo>
                    <a:lnTo>
                      <a:pt x="374" y="276"/>
                    </a:lnTo>
                    <a:lnTo>
                      <a:pt x="372" y="274"/>
                    </a:lnTo>
                    <a:lnTo>
                      <a:pt x="372" y="276"/>
                    </a:lnTo>
                    <a:lnTo>
                      <a:pt x="372" y="274"/>
                    </a:lnTo>
                    <a:lnTo>
                      <a:pt x="372" y="276"/>
                    </a:lnTo>
                    <a:lnTo>
                      <a:pt x="370" y="274"/>
                    </a:lnTo>
                    <a:lnTo>
                      <a:pt x="368" y="274"/>
                    </a:lnTo>
                    <a:lnTo>
                      <a:pt x="367" y="274"/>
                    </a:lnTo>
                    <a:lnTo>
                      <a:pt x="367" y="276"/>
                    </a:lnTo>
                    <a:lnTo>
                      <a:pt x="365" y="274"/>
                    </a:lnTo>
                    <a:lnTo>
                      <a:pt x="365" y="276"/>
                    </a:lnTo>
                    <a:lnTo>
                      <a:pt x="363" y="276"/>
                    </a:lnTo>
                    <a:lnTo>
                      <a:pt x="363" y="278"/>
                    </a:lnTo>
                    <a:lnTo>
                      <a:pt x="363" y="279"/>
                    </a:lnTo>
                    <a:lnTo>
                      <a:pt x="362" y="279"/>
                    </a:lnTo>
                    <a:lnTo>
                      <a:pt x="362" y="278"/>
                    </a:lnTo>
                    <a:lnTo>
                      <a:pt x="360" y="278"/>
                    </a:lnTo>
                    <a:lnTo>
                      <a:pt x="360" y="279"/>
                    </a:lnTo>
                    <a:lnTo>
                      <a:pt x="360" y="278"/>
                    </a:lnTo>
                    <a:lnTo>
                      <a:pt x="358" y="279"/>
                    </a:lnTo>
                    <a:lnTo>
                      <a:pt x="357" y="278"/>
                    </a:lnTo>
                    <a:lnTo>
                      <a:pt x="357" y="279"/>
                    </a:lnTo>
                    <a:lnTo>
                      <a:pt x="357" y="281"/>
                    </a:lnTo>
                    <a:lnTo>
                      <a:pt x="357" y="283"/>
                    </a:lnTo>
                    <a:lnTo>
                      <a:pt x="355" y="283"/>
                    </a:lnTo>
                    <a:lnTo>
                      <a:pt x="357" y="284"/>
                    </a:lnTo>
                    <a:lnTo>
                      <a:pt x="357" y="286"/>
                    </a:lnTo>
                    <a:lnTo>
                      <a:pt x="358" y="286"/>
                    </a:lnTo>
                    <a:lnTo>
                      <a:pt x="357" y="286"/>
                    </a:lnTo>
                    <a:lnTo>
                      <a:pt x="358" y="288"/>
                    </a:lnTo>
                    <a:lnTo>
                      <a:pt x="357" y="288"/>
                    </a:lnTo>
                    <a:lnTo>
                      <a:pt x="358" y="289"/>
                    </a:lnTo>
                    <a:lnTo>
                      <a:pt x="357" y="289"/>
                    </a:lnTo>
                    <a:lnTo>
                      <a:pt x="357" y="291"/>
                    </a:lnTo>
                    <a:lnTo>
                      <a:pt x="357" y="289"/>
                    </a:lnTo>
                    <a:lnTo>
                      <a:pt x="355" y="289"/>
                    </a:lnTo>
                    <a:lnTo>
                      <a:pt x="355" y="288"/>
                    </a:lnTo>
                    <a:lnTo>
                      <a:pt x="353" y="289"/>
                    </a:lnTo>
                    <a:lnTo>
                      <a:pt x="351" y="291"/>
                    </a:lnTo>
                    <a:lnTo>
                      <a:pt x="351" y="293"/>
                    </a:lnTo>
                    <a:lnTo>
                      <a:pt x="350" y="293"/>
                    </a:lnTo>
                    <a:lnTo>
                      <a:pt x="348" y="293"/>
                    </a:lnTo>
                    <a:lnTo>
                      <a:pt x="348" y="291"/>
                    </a:lnTo>
                    <a:lnTo>
                      <a:pt x="346" y="291"/>
                    </a:lnTo>
                    <a:lnTo>
                      <a:pt x="346" y="289"/>
                    </a:lnTo>
                    <a:lnTo>
                      <a:pt x="346" y="288"/>
                    </a:lnTo>
                    <a:lnTo>
                      <a:pt x="345" y="288"/>
                    </a:lnTo>
                    <a:lnTo>
                      <a:pt x="345" y="286"/>
                    </a:lnTo>
                    <a:lnTo>
                      <a:pt x="343" y="286"/>
                    </a:lnTo>
                    <a:lnTo>
                      <a:pt x="341" y="286"/>
                    </a:lnTo>
                    <a:lnTo>
                      <a:pt x="341" y="284"/>
                    </a:lnTo>
                    <a:lnTo>
                      <a:pt x="341" y="283"/>
                    </a:lnTo>
                    <a:lnTo>
                      <a:pt x="341" y="281"/>
                    </a:lnTo>
                    <a:lnTo>
                      <a:pt x="340" y="281"/>
                    </a:lnTo>
                    <a:lnTo>
                      <a:pt x="338" y="281"/>
                    </a:lnTo>
                    <a:lnTo>
                      <a:pt x="336" y="281"/>
                    </a:lnTo>
                    <a:lnTo>
                      <a:pt x="334" y="281"/>
                    </a:lnTo>
                    <a:lnTo>
                      <a:pt x="333" y="281"/>
                    </a:lnTo>
                    <a:lnTo>
                      <a:pt x="334" y="281"/>
                    </a:lnTo>
                    <a:lnTo>
                      <a:pt x="334" y="283"/>
                    </a:lnTo>
                    <a:lnTo>
                      <a:pt x="334" y="284"/>
                    </a:lnTo>
                    <a:lnTo>
                      <a:pt x="333" y="284"/>
                    </a:lnTo>
                    <a:lnTo>
                      <a:pt x="331" y="284"/>
                    </a:lnTo>
                    <a:lnTo>
                      <a:pt x="329" y="284"/>
                    </a:lnTo>
                    <a:lnTo>
                      <a:pt x="329" y="283"/>
                    </a:lnTo>
                    <a:lnTo>
                      <a:pt x="329" y="284"/>
                    </a:lnTo>
                    <a:lnTo>
                      <a:pt x="328" y="283"/>
                    </a:lnTo>
                    <a:lnTo>
                      <a:pt x="329" y="283"/>
                    </a:lnTo>
                    <a:lnTo>
                      <a:pt x="328" y="283"/>
                    </a:lnTo>
                    <a:lnTo>
                      <a:pt x="328" y="281"/>
                    </a:lnTo>
                    <a:lnTo>
                      <a:pt x="326" y="281"/>
                    </a:lnTo>
                    <a:lnTo>
                      <a:pt x="326" y="279"/>
                    </a:lnTo>
                    <a:lnTo>
                      <a:pt x="324" y="281"/>
                    </a:lnTo>
                    <a:lnTo>
                      <a:pt x="326" y="283"/>
                    </a:lnTo>
                    <a:lnTo>
                      <a:pt x="324" y="283"/>
                    </a:lnTo>
                    <a:lnTo>
                      <a:pt x="323" y="281"/>
                    </a:lnTo>
                    <a:lnTo>
                      <a:pt x="323" y="283"/>
                    </a:lnTo>
                    <a:lnTo>
                      <a:pt x="321" y="283"/>
                    </a:lnTo>
                    <a:lnTo>
                      <a:pt x="321" y="281"/>
                    </a:lnTo>
                    <a:lnTo>
                      <a:pt x="319" y="281"/>
                    </a:lnTo>
                    <a:lnTo>
                      <a:pt x="319" y="283"/>
                    </a:lnTo>
                    <a:lnTo>
                      <a:pt x="317" y="283"/>
                    </a:lnTo>
                    <a:lnTo>
                      <a:pt x="316" y="283"/>
                    </a:lnTo>
                    <a:lnTo>
                      <a:pt x="316" y="284"/>
                    </a:lnTo>
                    <a:lnTo>
                      <a:pt x="316" y="283"/>
                    </a:lnTo>
                    <a:lnTo>
                      <a:pt x="314" y="283"/>
                    </a:lnTo>
                    <a:lnTo>
                      <a:pt x="312" y="281"/>
                    </a:lnTo>
                    <a:lnTo>
                      <a:pt x="312" y="279"/>
                    </a:lnTo>
                    <a:lnTo>
                      <a:pt x="311" y="279"/>
                    </a:lnTo>
                    <a:lnTo>
                      <a:pt x="312" y="278"/>
                    </a:lnTo>
                    <a:lnTo>
                      <a:pt x="311" y="278"/>
                    </a:lnTo>
                    <a:lnTo>
                      <a:pt x="311" y="276"/>
                    </a:lnTo>
                    <a:lnTo>
                      <a:pt x="309" y="276"/>
                    </a:lnTo>
                    <a:lnTo>
                      <a:pt x="307" y="276"/>
                    </a:lnTo>
                    <a:lnTo>
                      <a:pt x="306" y="276"/>
                    </a:lnTo>
                    <a:lnTo>
                      <a:pt x="306" y="274"/>
                    </a:lnTo>
                    <a:lnTo>
                      <a:pt x="304" y="276"/>
                    </a:lnTo>
                    <a:lnTo>
                      <a:pt x="302" y="276"/>
                    </a:lnTo>
                    <a:lnTo>
                      <a:pt x="302" y="274"/>
                    </a:lnTo>
                    <a:lnTo>
                      <a:pt x="300" y="276"/>
                    </a:lnTo>
                    <a:lnTo>
                      <a:pt x="300" y="274"/>
                    </a:lnTo>
                    <a:lnTo>
                      <a:pt x="300" y="276"/>
                    </a:lnTo>
                    <a:lnTo>
                      <a:pt x="299" y="276"/>
                    </a:lnTo>
                    <a:lnTo>
                      <a:pt x="297" y="276"/>
                    </a:lnTo>
                    <a:lnTo>
                      <a:pt x="295" y="276"/>
                    </a:lnTo>
                    <a:lnTo>
                      <a:pt x="294" y="276"/>
                    </a:lnTo>
                    <a:lnTo>
                      <a:pt x="294" y="274"/>
                    </a:lnTo>
                    <a:lnTo>
                      <a:pt x="292" y="272"/>
                    </a:lnTo>
                    <a:lnTo>
                      <a:pt x="292" y="271"/>
                    </a:lnTo>
                    <a:lnTo>
                      <a:pt x="290" y="271"/>
                    </a:lnTo>
                    <a:lnTo>
                      <a:pt x="289" y="271"/>
                    </a:lnTo>
                    <a:lnTo>
                      <a:pt x="287" y="271"/>
                    </a:lnTo>
                    <a:lnTo>
                      <a:pt x="287" y="272"/>
                    </a:lnTo>
                    <a:lnTo>
                      <a:pt x="287" y="274"/>
                    </a:lnTo>
                    <a:lnTo>
                      <a:pt x="289" y="274"/>
                    </a:lnTo>
                    <a:lnTo>
                      <a:pt x="289" y="276"/>
                    </a:lnTo>
                    <a:lnTo>
                      <a:pt x="290" y="276"/>
                    </a:lnTo>
                    <a:lnTo>
                      <a:pt x="290" y="278"/>
                    </a:lnTo>
                    <a:lnTo>
                      <a:pt x="292" y="278"/>
                    </a:lnTo>
                    <a:lnTo>
                      <a:pt x="292" y="279"/>
                    </a:lnTo>
                    <a:lnTo>
                      <a:pt x="294" y="281"/>
                    </a:lnTo>
                    <a:lnTo>
                      <a:pt x="295" y="283"/>
                    </a:lnTo>
                    <a:lnTo>
                      <a:pt x="295" y="284"/>
                    </a:lnTo>
                    <a:lnTo>
                      <a:pt x="297" y="284"/>
                    </a:lnTo>
                    <a:lnTo>
                      <a:pt x="297" y="286"/>
                    </a:lnTo>
                    <a:lnTo>
                      <a:pt x="299" y="286"/>
                    </a:lnTo>
                    <a:lnTo>
                      <a:pt x="299" y="288"/>
                    </a:lnTo>
                    <a:lnTo>
                      <a:pt x="300" y="288"/>
                    </a:lnTo>
                    <a:lnTo>
                      <a:pt x="302" y="288"/>
                    </a:lnTo>
                    <a:lnTo>
                      <a:pt x="304" y="288"/>
                    </a:lnTo>
                    <a:lnTo>
                      <a:pt x="304" y="289"/>
                    </a:lnTo>
                    <a:lnTo>
                      <a:pt x="306" y="289"/>
                    </a:lnTo>
                    <a:lnTo>
                      <a:pt x="306" y="291"/>
                    </a:lnTo>
                    <a:lnTo>
                      <a:pt x="307" y="293"/>
                    </a:lnTo>
                    <a:lnTo>
                      <a:pt x="309" y="295"/>
                    </a:lnTo>
                    <a:lnTo>
                      <a:pt x="309" y="296"/>
                    </a:lnTo>
                    <a:lnTo>
                      <a:pt x="307" y="298"/>
                    </a:lnTo>
                    <a:lnTo>
                      <a:pt x="306" y="300"/>
                    </a:lnTo>
                    <a:lnTo>
                      <a:pt x="307" y="300"/>
                    </a:lnTo>
                    <a:lnTo>
                      <a:pt x="307" y="301"/>
                    </a:lnTo>
                    <a:lnTo>
                      <a:pt x="307" y="303"/>
                    </a:lnTo>
                    <a:lnTo>
                      <a:pt x="307" y="305"/>
                    </a:lnTo>
                    <a:lnTo>
                      <a:pt x="307" y="306"/>
                    </a:lnTo>
                    <a:lnTo>
                      <a:pt x="307" y="308"/>
                    </a:lnTo>
                    <a:lnTo>
                      <a:pt x="307" y="310"/>
                    </a:lnTo>
                    <a:lnTo>
                      <a:pt x="309" y="312"/>
                    </a:lnTo>
                    <a:lnTo>
                      <a:pt x="309" y="313"/>
                    </a:lnTo>
                    <a:lnTo>
                      <a:pt x="311" y="313"/>
                    </a:lnTo>
                    <a:lnTo>
                      <a:pt x="311" y="315"/>
                    </a:lnTo>
                    <a:lnTo>
                      <a:pt x="312" y="315"/>
                    </a:lnTo>
                    <a:lnTo>
                      <a:pt x="312" y="317"/>
                    </a:lnTo>
                    <a:lnTo>
                      <a:pt x="312" y="318"/>
                    </a:lnTo>
                    <a:lnTo>
                      <a:pt x="314" y="320"/>
                    </a:lnTo>
                    <a:lnTo>
                      <a:pt x="314" y="322"/>
                    </a:lnTo>
                    <a:lnTo>
                      <a:pt x="316" y="322"/>
                    </a:lnTo>
                    <a:lnTo>
                      <a:pt x="314" y="322"/>
                    </a:lnTo>
                    <a:lnTo>
                      <a:pt x="316" y="323"/>
                    </a:lnTo>
                    <a:lnTo>
                      <a:pt x="314" y="323"/>
                    </a:lnTo>
                    <a:lnTo>
                      <a:pt x="316" y="323"/>
                    </a:lnTo>
                    <a:lnTo>
                      <a:pt x="316" y="325"/>
                    </a:lnTo>
                    <a:lnTo>
                      <a:pt x="314" y="325"/>
                    </a:lnTo>
                    <a:lnTo>
                      <a:pt x="314" y="327"/>
                    </a:lnTo>
                    <a:lnTo>
                      <a:pt x="314" y="329"/>
                    </a:lnTo>
                    <a:lnTo>
                      <a:pt x="312" y="329"/>
                    </a:lnTo>
                    <a:lnTo>
                      <a:pt x="312" y="330"/>
                    </a:lnTo>
                    <a:lnTo>
                      <a:pt x="314" y="330"/>
                    </a:lnTo>
                    <a:lnTo>
                      <a:pt x="314" y="332"/>
                    </a:lnTo>
                    <a:lnTo>
                      <a:pt x="314" y="330"/>
                    </a:lnTo>
                    <a:lnTo>
                      <a:pt x="316" y="332"/>
                    </a:lnTo>
                    <a:lnTo>
                      <a:pt x="317" y="332"/>
                    </a:lnTo>
                    <a:lnTo>
                      <a:pt x="319" y="332"/>
                    </a:lnTo>
                    <a:lnTo>
                      <a:pt x="321" y="334"/>
                    </a:lnTo>
                    <a:lnTo>
                      <a:pt x="323" y="334"/>
                    </a:lnTo>
                    <a:lnTo>
                      <a:pt x="324" y="334"/>
                    </a:lnTo>
                    <a:lnTo>
                      <a:pt x="326" y="334"/>
                    </a:lnTo>
                    <a:lnTo>
                      <a:pt x="328" y="334"/>
                    </a:lnTo>
                    <a:lnTo>
                      <a:pt x="329" y="334"/>
                    </a:lnTo>
                    <a:lnTo>
                      <a:pt x="331" y="334"/>
                    </a:lnTo>
                    <a:lnTo>
                      <a:pt x="333" y="332"/>
                    </a:lnTo>
                    <a:lnTo>
                      <a:pt x="334" y="332"/>
                    </a:lnTo>
                    <a:lnTo>
                      <a:pt x="336" y="332"/>
                    </a:lnTo>
                    <a:lnTo>
                      <a:pt x="336" y="334"/>
                    </a:lnTo>
                    <a:lnTo>
                      <a:pt x="336" y="335"/>
                    </a:lnTo>
                    <a:lnTo>
                      <a:pt x="336" y="337"/>
                    </a:lnTo>
                    <a:lnTo>
                      <a:pt x="336" y="339"/>
                    </a:lnTo>
                    <a:lnTo>
                      <a:pt x="336" y="340"/>
                    </a:lnTo>
                    <a:lnTo>
                      <a:pt x="334" y="340"/>
                    </a:lnTo>
                    <a:lnTo>
                      <a:pt x="336" y="340"/>
                    </a:lnTo>
                    <a:lnTo>
                      <a:pt x="334" y="342"/>
                    </a:lnTo>
                    <a:lnTo>
                      <a:pt x="333" y="344"/>
                    </a:lnTo>
                    <a:lnTo>
                      <a:pt x="333" y="342"/>
                    </a:lnTo>
                    <a:lnTo>
                      <a:pt x="333" y="344"/>
                    </a:lnTo>
                    <a:lnTo>
                      <a:pt x="331" y="344"/>
                    </a:lnTo>
                    <a:lnTo>
                      <a:pt x="331" y="342"/>
                    </a:lnTo>
                    <a:lnTo>
                      <a:pt x="329" y="342"/>
                    </a:lnTo>
                    <a:lnTo>
                      <a:pt x="329" y="344"/>
                    </a:lnTo>
                    <a:lnTo>
                      <a:pt x="328" y="344"/>
                    </a:lnTo>
                    <a:lnTo>
                      <a:pt x="328" y="346"/>
                    </a:lnTo>
                    <a:lnTo>
                      <a:pt x="326" y="346"/>
                    </a:lnTo>
                    <a:lnTo>
                      <a:pt x="326" y="347"/>
                    </a:lnTo>
                    <a:lnTo>
                      <a:pt x="324" y="346"/>
                    </a:lnTo>
                    <a:lnTo>
                      <a:pt x="324" y="347"/>
                    </a:lnTo>
                    <a:lnTo>
                      <a:pt x="323" y="347"/>
                    </a:lnTo>
                    <a:lnTo>
                      <a:pt x="321" y="347"/>
                    </a:lnTo>
                    <a:lnTo>
                      <a:pt x="321" y="349"/>
                    </a:lnTo>
                    <a:lnTo>
                      <a:pt x="319" y="347"/>
                    </a:lnTo>
                    <a:lnTo>
                      <a:pt x="317" y="347"/>
                    </a:lnTo>
                    <a:lnTo>
                      <a:pt x="316" y="347"/>
                    </a:lnTo>
                    <a:lnTo>
                      <a:pt x="314" y="347"/>
                    </a:lnTo>
                    <a:lnTo>
                      <a:pt x="314" y="349"/>
                    </a:lnTo>
                    <a:lnTo>
                      <a:pt x="312" y="349"/>
                    </a:lnTo>
                    <a:lnTo>
                      <a:pt x="312" y="351"/>
                    </a:lnTo>
                    <a:lnTo>
                      <a:pt x="312" y="352"/>
                    </a:lnTo>
                    <a:lnTo>
                      <a:pt x="312" y="354"/>
                    </a:lnTo>
                    <a:lnTo>
                      <a:pt x="312" y="356"/>
                    </a:lnTo>
                    <a:lnTo>
                      <a:pt x="312" y="357"/>
                    </a:lnTo>
                    <a:lnTo>
                      <a:pt x="312" y="359"/>
                    </a:lnTo>
                    <a:lnTo>
                      <a:pt x="312" y="361"/>
                    </a:lnTo>
                    <a:lnTo>
                      <a:pt x="311" y="361"/>
                    </a:lnTo>
                    <a:lnTo>
                      <a:pt x="309" y="361"/>
                    </a:lnTo>
                    <a:lnTo>
                      <a:pt x="309" y="363"/>
                    </a:lnTo>
                    <a:lnTo>
                      <a:pt x="309" y="364"/>
                    </a:lnTo>
                    <a:lnTo>
                      <a:pt x="307" y="364"/>
                    </a:lnTo>
                    <a:lnTo>
                      <a:pt x="306" y="364"/>
                    </a:lnTo>
                    <a:lnTo>
                      <a:pt x="304" y="366"/>
                    </a:lnTo>
                    <a:lnTo>
                      <a:pt x="304" y="368"/>
                    </a:lnTo>
                    <a:lnTo>
                      <a:pt x="304" y="369"/>
                    </a:lnTo>
                    <a:lnTo>
                      <a:pt x="302" y="368"/>
                    </a:lnTo>
                    <a:lnTo>
                      <a:pt x="300" y="368"/>
                    </a:lnTo>
                    <a:lnTo>
                      <a:pt x="302" y="368"/>
                    </a:lnTo>
                    <a:lnTo>
                      <a:pt x="302" y="366"/>
                    </a:lnTo>
                    <a:lnTo>
                      <a:pt x="302" y="364"/>
                    </a:lnTo>
                    <a:lnTo>
                      <a:pt x="302" y="363"/>
                    </a:lnTo>
                    <a:lnTo>
                      <a:pt x="302" y="364"/>
                    </a:lnTo>
                    <a:lnTo>
                      <a:pt x="302" y="363"/>
                    </a:lnTo>
                    <a:lnTo>
                      <a:pt x="300" y="364"/>
                    </a:lnTo>
                    <a:lnTo>
                      <a:pt x="299" y="364"/>
                    </a:lnTo>
                    <a:lnTo>
                      <a:pt x="299" y="366"/>
                    </a:lnTo>
                    <a:lnTo>
                      <a:pt x="297" y="366"/>
                    </a:lnTo>
                    <a:lnTo>
                      <a:pt x="295" y="368"/>
                    </a:lnTo>
                    <a:lnTo>
                      <a:pt x="295" y="369"/>
                    </a:lnTo>
                    <a:lnTo>
                      <a:pt x="294" y="369"/>
                    </a:lnTo>
                    <a:lnTo>
                      <a:pt x="294" y="371"/>
                    </a:lnTo>
                    <a:lnTo>
                      <a:pt x="292" y="371"/>
                    </a:lnTo>
                    <a:lnTo>
                      <a:pt x="290" y="371"/>
                    </a:lnTo>
                    <a:lnTo>
                      <a:pt x="290" y="373"/>
                    </a:lnTo>
                    <a:lnTo>
                      <a:pt x="289" y="373"/>
                    </a:lnTo>
                    <a:lnTo>
                      <a:pt x="289" y="371"/>
                    </a:lnTo>
                    <a:lnTo>
                      <a:pt x="287" y="371"/>
                    </a:lnTo>
                    <a:lnTo>
                      <a:pt x="285" y="371"/>
                    </a:lnTo>
                    <a:lnTo>
                      <a:pt x="287" y="373"/>
                    </a:lnTo>
                    <a:lnTo>
                      <a:pt x="285" y="373"/>
                    </a:lnTo>
                    <a:lnTo>
                      <a:pt x="283" y="373"/>
                    </a:lnTo>
                    <a:lnTo>
                      <a:pt x="283" y="374"/>
                    </a:lnTo>
                    <a:lnTo>
                      <a:pt x="283" y="373"/>
                    </a:lnTo>
                    <a:lnTo>
                      <a:pt x="282" y="373"/>
                    </a:lnTo>
                    <a:lnTo>
                      <a:pt x="282" y="374"/>
                    </a:lnTo>
                    <a:lnTo>
                      <a:pt x="282" y="376"/>
                    </a:lnTo>
                    <a:lnTo>
                      <a:pt x="280" y="376"/>
                    </a:lnTo>
                    <a:lnTo>
                      <a:pt x="280" y="378"/>
                    </a:lnTo>
                    <a:lnTo>
                      <a:pt x="278" y="378"/>
                    </a:lnTo>
                    <a:lnTo>
                      <a:pt x="278" y="376"/>
                    </a:lnTo>
                    <a:lnTo>
                      <a:pt x="277" y="376"/>
                    </a:lnTo>
                    <a:lnTo>
                      <a:pt x="275" y="376"/>
                    </a:lnTo>
                    <a:lnTo>
                      <a:pt x="277" y="378"/>
                    </a:lnTo>
                    <a:lnTo>
                      <a:pt x="275" y="378"/>
                    </a:lnTo>
                    <a:lnTo>
                      <a:pt x="275" y="380"/>
                    </a:lnTo>
                    <a:lnTo>
                      <a:pt x="277" y="381"/>
                    </a:lnTo>
                    <a:lnTo>
                      <a:pt x="275" y="381"/>
                    </a:lnTo>
                    <a:lnTo>
                      <a:pt x="275" y="383"/>
                    </a:lnTo>
                    <a:lnTo>
                      <a:pt x="275" y="385"/>
                    </a:lnTo>
                    <a:lnTo>
                      <a:pt x="273" y="385"/>
                    </a:lnTo>
                    <a:lnTo>
                      <a:pt x="273" y="383"/>
                    </a:lnTo>
                    <a:lnTo>
                      <a:pt x="272" y="383"/>
                    </a:lnTo>
                    <a:lnTo>
                      <a:pt x="270" y="383"/>
                    </a:lnTo>
                    <a:lnTo>
                      <a:pt x="270" y="385"/>
                    </a:lnTo>
                    <a:lnTo>
                      <a:pt x="268" y="385"/>
                    </a:lnTo>
                    <a:lnTo>
                      <a:pt x="270" y="385"/>
                    </a:lnTo>
                    <a:lnTo>
                      <a:pt x="268" y="386"/>
                    </a:lnTo>
                    <a:lnTo>
                      <a:pt x="266" y="388"/>
                    </a:lnTo>
                    <a:lnTo>
                      <a:pt x="268" y="388"/>
                    </a:lnTo>
                    <a:lnTo>
                      <a:pt x="268" y="390"/>
                    </a:lnTo>
                    <a:lnTo>
                      <a:pt x="266" y="390"/>
                    </a:lnTo>
                    <a:lnTo>
                      <a:pt x="266" y="391"/>
                    </a:lnTo>
                    <a:lnTo>
                      <a:pt x="265" y="391"/>
                    </a:lnTo>
                    <a:lnTo>
                      <a:pt x="263" y="391"/>
                    </a:lnTo>
                    <a:lnTo>
                      <a:pt x="263" y="393"/>
                    </a:lnTo>
                    <a:lnTo>
                      <a:pt x="261" y="391"/>
                    </a:lnTo>
                    <a:lnTo>
                      <a:pt x="261" y="390"/>
                    </a:lnTo>
                    <a:lnTo>
                      <a:pt x="263" y="388"/>
                    </a:lnTo>
                    <a:lnTo>
                      <a:pt x="263" y="386"/>
                    </a:lnTo>
                    <a:lnTo>
                      <a:pt x="265" y="386"/>
                    </a:lnTo>
                    <a:lnTo>
                      <a:pt x="265" y="385"/>
                    </a:lnTo>
                    <a:lnTo>
                      <a:pt x="263" y="385"/>
                    </a:lnTo>
                    <a:lnTo>
                      <a:pt x="263" y="383"/>
                    </a:lnTo>
                    <a:lnTo>
                      <a:pt x="263" y="381"/>
                    </a:lnTo>
                    <a:lnTo>
                      <a:pt x="261" y="381"/>
                    </a:lnTo>
                    <a:lnTo>
                      <a:pt x="260" y="381"/>
                    </a:lnTo>
                    <a:lnTo>
                      <a:pt x="258" y="381"/>
                    </a:lnTo>
                    <a:lnTo>
                      <a:pt x="256" y="381"/>
                    </a:lnTo>
                    <a:lnTo>
                      <a:pt x="255" y="381"/>
                    </a:lnTo>
                    <a:lnTo>
                      <a:pt x="255" y="383"/>
                    </a:lnTo>
                    <a:lnTo>
                      <a:pt x="253" y="383"/>
                    </a:lnTo>
                    <a:lnTo>
                      <a:pt x="251" y="383"/>
                    </a:lnTo>
                    <a:lnTo>
                      <a:pt x="251" y="385"/>
                    </a:lnTo>
                    <a:lnTo>
                      <a:pt x="249" y="385"/>
                    </a:lnTo>
                    <a:lnTo>
                      <a:pt x="249" y="386"/>
                    </a:lnTo>
                    <a:lnTo>
                      <a:pt x="248" y="386"/>
                    </a:lnTo>
                    <a:lnTo>
                      <a:pt x="248" y="388"/>
                    </a:lnTo>
                    <a:lnTo>
                      <a:pt x="246" y="388"/>
                    </a:lnTo>
                    <a:lnTo>
                      <a:pt x="244" y="388"/>
                    </a:lnTo>
                    <a:lnTo>
                      <a:pt x="244" y="390"/>
                    </a:lnTo>
                    <a:lnTo>
                      <a:pt x="243" y="390"/>
                    </a:lnTo>
                    <a:lnTo>
                      <a:pt x="241" y="390"/>
                    </a:lnTo>
                    <a:lnTo>
                      <a:pt x="241" y="388"/>
                    </a:lnTo>
                    <a:lnTo>
                      <a:pt x="239" y="388"/>
                    </a:lnTo>
                    <a:lnTo>
                      <a:pt x="238" y="390"/>
                    </a:lnTo>
                    <a:lnTo>
                      <a:pt x="236" y="390"/>
                    </a:lnTo>
                    <a:lnTo>
                      <a:pt x="219" y="373"/>
                    </a:lnTo>
                    <a:lnTo>
                      <a:pt x="217" y="373"/>
                    </a:lnTo>
                    <a:lnTo>
                      <a:pt x="217" y="371"/>
                    </a:lnTo>
                    <a:lnTo>
                      <a:pt x="219" y="371"/>
                    </a:lnTo>
                    <a:lnTo>
                      <a:pt x="219" y="369"/>
                    </a:lnTo>
                    <a:lnTo>
                      <a:pt x="219" y="368"/>
                    </a:lnTo>
                    <a:lnTo>
                      <a:pt x="217" y="368"/>
                    </a:lnTo>
                    <a:lnTo>
                      <a:pt x="217" y="366"/>
                    </a:lnTo>
                    <a:lnTo>
                      <a:pt x="217" y="364"/>
                    </a:lnTo>
                    <a:lnTo>
                      <a:pt x="215" y="364"/>
                    </a:lnTo>
                    <a:lnTo>
                      <a:pt x="215" y="363"/>
                    </a:lnTo>
                    <a:lnTo>
                      <a:pt x="215" y="361"/>
                    </a:lnTo>
                    <a:lnTo>
                      <a:pt x="215" y="359"/>
                    </a:lnTo>
                    <a:lnTo>
                      <a:pt x="214" y="359"/>
                    </a:lnTo>
                    <a:lnTo>
                      <a:pt x="214" y="357"/>
                    </a:lnTo>
                    <a:lnTo>
                      <a:pt x="214" y="356"/>
                    </a:lnTo>
                    <a:lnTo>
                      <a:pt x="212" y="356"/>
                    </a:lnTo>
                    <a:lnTo>
                      <a:pt x="212" y="354"/>
                    </a:lnTo>
                    <a:lnTo>
                      <a:pt x="212" y="352"/>
                    </a:lnTo>
                    <a:lnTo>
                      <a:pt x="212" y="351"/>
                    </a:lnTo>
                    <a:lnTo>
                      <a:pt x="210" y="349"/>
                    </a:lnTo>
                    <a:lnTo>
                      <a:pt x="209" y="347"/>
                    </a:lnTo>
                    <a:lnTo>
                      <a:pt x="210" y="347"/>
                    </a:lnTo>
                    <a:lnTo>
                      <a:pt x="210" y="346"/>
                    </a:lnTo>
                    <a:lnTo>
                      <a:pt x="210" y="344"/>
                    </a:lnTo>
                    <a:lnTo>
                      <a:pt x="209" y="342"/>
                    </a:lnTo>
                    <a:lnTo>
                      <a:pt x="209" y="344"/>
                    </a:lnTo>
                    <a:lnTo>
                      <a:pt x="209" y="342"/>
                    </a:lnTo>
                    <a:lnTo>
                      <a:pt x="207" y="342"/>
                    </a:lnTo>
                    <a:lnTo>
                      <a:pt x="207" y="340"/>
                    </a:lnTo>
                    <a:lnTo>
                      <a:pt x="207" y="339"/>
                    </a:lnTo>
                    <a:lnTo>
                      <a:pt x="205" y="339"/>
                    </a:lnTo>
                    <a:lnTo>
                      <a:pt x="207" y="339"/>
                    </a:lnTo>
                    <a:lnTo>
                      <a:pt x="207" y="337"/>
                    </a:lnTo>
                    <a:lnTo>
                      <a:pt x="207" y="335"/>
                    </a:lnTo>
                    <a:lnTo>
                      <a:pt x="207" y="334"/>
                    </a:lnTo>
                    <a:lnTo>
                      <a:pt x="205" y="334"/>
                    </a:lnTo>
                    <a:lnTo>
                      <a:pt x="205" y="332"/>
                    </a:lnTo>
                    <a:lnTo>
                      <a:pt x="204" y="332"/>
                    </a:lnTo>
                    <a:lnTo>
                      <a:pt x="202" y="330"/>
                    </a:lnTo>
                    <a:lnTo>
                      <a:pt x="202" y="329"/>
                    </a:lnTo>
                    <a:lnTo>
                      <a:pt x="200" y="329"/>
                    </a:lnTo>
                    <a:lnTo>
                      <a:pt x="200" y="327"/>
                    </a:lnTo>
                    <a:lnTo>
                      <a:pt x="198" y="327"/>
                    </a:lnTo>
                    <a:lnTo>
                      <a:pt x="197" y="325"/>
                    </a:lnTo>
                    <a:lnTo>
                      <a:pt x="195" y="325"/>
                    </a:lnTo>
                    <a:lnTo>
                      <a:pt x="195" y="323"/>
                    </a:lnTo>
                    <a:lnTo>
                      <a:pt x="193" y="322"/>
                    </a:lnTo>
                    <a:lnTo>
                      <a:pt x="193" y="320"/>
                    </a:lnTo>
                    <a:lnTo>
                      <a:pt x="192" y="320"/>
                    </a:lnTo>
                    <a:lnTo>
                      <a:pt x="190" y="320"/>
                    </a:lnTo>
                    <a:lnTo>
                      <a:pt x="188" y="320"/>
                    </a:lnTo>
                    <a:lnTo>
                      <a:pt x="188" y="318"/>
                    </a:lnTo>
                    <a:lnTo>
                      <a:pt x="187" y="320"/>
                    </a:lnTo>
                    <a:lnTo>
                      <a:pt x="187" y="318"/>
                    </a:lnTo>
                    <a:lnTo>
                      <a:pt x="185" y="320"/>
                    </a:lnTo>
                    <a:lnTo>
                      <a:pt x="185" y="318"/>
                    </a:lnTo>
                    <a:lnTo>
                      <a:pt x="187" y="317"/>
                    </a:lnTo>
                    <a:lnTo>
                      <a:pt x="190" y="313"/>
                    </a:lnTo>
                    <a:lnTo>
                      <a:pt x="193" y="310"/>
                    </a:lnTo>
                    <a:lnTo>
                      <a:pt x="197" y="308"/>
                    </a:lnTo>
                    <a:lnTo>
                      <a:pt x="198" y="305"/>
                    </a:lnTo>
                    <a:lnTo>
                      <a:pt x="200" y="305"/>
                    </a:lnTo>
                    <a:lnTo>
                      <a:pt x="200" y="303"/>
                    </a:lnTo>
                    <a:lnTo>
                      <a:pt x="202" y="303"/>
                    </a:lnTo>
                    <a:lnTo>
                      <a:pt x="202" y="301"/>
                    </a:lnTo>
                    <a:lnTo>
                      <a:pt x="204" y="301"/>
                    </a:lnTo>
                    <a:lnTo>
                      <a:pt x="204" y="300"/>
                    </a:lnTo>
                    <a:lnTo>
                      <a:pt x="202" y="300"/>
                    </a:lnTo>
                    <a:lnTo>
                      <a:pt x="202" y="298"/>
                    </a:lnTo>
                    <a:lnTo>
                      <a:pt x="200" y="298"/>
                    </a:lnTo>
                    <a:lnTo>
                      <a:pt x="200" y="296"/>
                    </a:lnTo>
                    <a:lnTo>
                      <a:pt x="200" y="295"/>
                    </a:lnTo>
                    <a:lnTo>
                      <a:pt x="198" y="295"/>
                    </a:lnTo>
                    <a:lnTo>
                      <a:pt x="198" y="293"/>
                    </a:lnTo>
                    <a:lnTo>
                      <a:pt x="198" y="291"/>
                    </a:lnTo>
                    <a:lnTo>
                      <a:pt x="197" y="289"/>
                    </a:lnTo>
                    <a:lnTo>
                      <a:pt x="197" y="288"/>
                    </a:lnTo>
                    <a:lnTo>
                      <a:pt x="195" y="288"/>
                    </a:lnTo>
                    <a:lnTo>
                      <a:pt x="193" y="288"/>
                    </a:lnTo>
                    <a:lnTo>
                      <a:pt x="192" y="288"/>
                    </a:lnTo>
                    <a:lnTo>
                      <a:pt x="192" y="286"/>
                    </a:lnTo>
                    <a:lnTo>
                      <a:pt x="192" y="284"/>
                    </a:lnTo>
                    <a:lnTo>
                      <a:pt x="192" y="283"/>
                    </a:lnTo>
                    <a:lnTo>
                      <a:pt x="190" y="283"/>
                    </a:lnTo>
                    <a:lnTo>
                      <a:pt x="190" y="281"/>
                    </a:lnTo>
                    <a:lnTo>
                      <a:pt x="190" y="279"/>
                    </a:lnTo>
                    <a:lnTo>
                      <a:pt x="190" y="278"/>
                    </a:lnTo>
                    <a:lnTo>
                      <a:pt x="188" y="276"/>
                    </a:lnTo>
                    <a:lnTo>
                      <a:pt x="188" y="274"/>
                    </a:lnTo>
                    <a:lnTo>
                      <a:pt x="187" y="274"/>
                    </a:lnTo>
                    <a:lnTo>
                      <a:pt x="187" y="272"/>
                    </a:lnTo>
                    <a:lnTo>
                      <a:pt x="187" y="271"/>
                    </a:lnTo>
                    <a:lnTo>
                      <a:pt x="187" y="269"/>
                    </a:lnTo>
                    <a:lnTo>
                      <a:pt x="187" y="267"/>
                    </a:lnTo>
                    <a:lnTo>
                      <a:pt x="188" y="269"/>
                    </a:lnTo>
                    <a:lnTo>
                      <a:pt x="188" y="267"/>
                    </a:lnTo>
                    <a:lnTo>
                      <a:pt x="187" y="267"/>
                    </a:lnTo>
                    <a:lnTo>
                      <a:pt x="187" y="266"/>
                    </a:lnTo>
                    <a:lnTo>
                      <a:pt x="188" y="266"/>
                    </a:lnTo>
                    <a:lnTo>
                      <a:pt x="187" y="266"/>
                    </a:lnTo>
                    <a:lnTo>
                      <a:pt x="187" y="264"/>
                    </a:lnTo>
                    <a:lnTo>
                      <a:pt x="187" y="262"/>
                    </a:lnTo>
                    <a:lnTo>
                      <a:pt x="185" y="262"/>
                    </a:lnTo>
                    <a:lnTo>
                      <a:pt x="185" y="261"/>
                    </a:lnTo>
                    <a:lnTo>
                      <a:pt x="185" y="259"/>
                    </a:lnTo>
                    <a:lnTo>
                      <a:pt x="185" y="257"/>
                    </a:lnTo>
                    <a:lnTo>
                      <a:pt x="185" y="255"/>
                    </a:lnTo>
                    <a:lnTo>
                      <a:pt x="187" y="255"/>
                    </a:lnTo>
                    <a:lnTo>
                      <a:pt x="187" y="254"/>
                    </a:lnTo>
                    <a:lnTo>
                      <a:pt x="185" y="254"/>
                    </a:lnTo>
                    <a:lnTo>
                      <a:pt x="185" y="252"/>
                    </a:lnTo>
                    <a:lnTo>
                      <a:pt x="185" y="250"/>
                    </a:lnTo>
                    <a:lnTo>
                      <a:pt x="185" y="249"/>
                    </a:lnTo>
                    <a:lnTo>
                      <a:pt x="185" y="247"/>
                    </a:lnTo>
                    <a:lnTo>
                      <a:pt x="187" y="247"/>
                    </a:lnTo>
                    <a:lnTo>
                      <a:pt x="187" y="245"/>
                    </a:lnTo>
                    <a:lnTo>
                      <a:pt x="187" y="243"/>
                    </a:lnTo>
                    <a:lnTo>
                      <a:pt x="185" y="243"/>
                    </a:lnTo>
                    <a:lnTo>
                      <a:pt x="187" y="243"/>
                    </a:lnTo>
                    <a:lnTo>
                      <a:pt x="185" y="242"/>
                    </a:lnTo>
                    <a:lnTo>
                      <a:pt x="185" y="240"/>
                    </a:lnTo>
                    <a:lnTo>
                      <a:pt x="185" y="238"/>
                    </a:lnTo>
                    <a:lnTo>
                      <a:pt x="187" y="237"/>
                    </a:lnTo>
                    <a:lnTo>
                      <a:pt x="185" y="237"/>
                    </a:lnTo>
                    <a:lnTo>
                      <a:pt x="185" y="235"/>
                    </a:lnTo>
                    <a:lnTo>
                      <a:pt x="187" y="235"/>
                    </a:lnTo>
                    <a:lnTo>
                      <a:pt x="187" y="233"/>
                    </a:lnTo>
                    <a:lnTo>
                      <a:pt x="188" y="233"/>
                    </a:lnTo>
                    <a:lnTo>
                      <a:pt x="188" y="232"/>
                    </a:lnTo>
                    <a:lnTo>
                      <a:pt x="190" y="232"/>
                    </a:lnTo>
                    <a:lnTo>
                      <a:pt x="192" y="230"/>
                    </a:lnTo>
                    <a:lnTo>
                      <a:pt x="192" y="228"/>
                    </a:lnTo>
                    <a:lnTo>
                      <a:pt x="193" y="228"/>
                    </a:lnTo>
                    <a:lnTo>
                      <a:pt x="193" y="226"/>
                    </a:lnTo>
                    <a:lnTo>
                      <a:pt x="193" y="225"/>
                    </a:lnTo>
                    <a:lnTo>
                      <a:pt x="192" y="225"/>
                    </a:lnTo>
                    <a:lnTo>
                      <a:pt x="192" y="223"/>
                    </a:lnTo>
                    <a:lnTo>
                      <a:pt x="192" y="221"/>
                    </a:lnTo>
                    <a:lnTo>
                      <a:pt x="193" y="220"/>
                    </a:lnTo>
                    <a:lnTo>
                      <a:pt x="193" y="218"/>
                    </a:lnTo>
                    <a:lnTo>
                      <a:pt x="193" y="216"/>
                    </a:lnTo>
                    <a:lnTo>
                      <a:pt x="195" y="216"/>
                    </a:lnTo>
                    <a:lnTo>
                      <a:pt x="195" y="215"/>
                    </a:lnTo>
                    <a:lnTo>
                      <a:pt x="197" y="215"/>
                    </a:lnTo>
                    <a:lnTo>
                      <a:pt x="198" y="213"/>
                    </a:lnTo>
                    <a:lnTo>
                      <a:pt x="200" y="213"/>
                    </a:lnTo>
                    <a:lnTo>
                      <a:pt x="200" y="211"/>
                    </a:lnTo>
                    <a:lnTo>
                      <a:pt x="198" y="211"/>
                    </a:lnTo>
                    <a:lnTo>
                      <a:pt x="198" y="209"/>
                    </a:lnTo>
                    <a:lnTo>
                      <a:pt x="197" y="208"/>
                    </a:lnTo>
                    <a:lnTo>
                      <a:pt x="197" y="206"/>
                    </a:lnTo>
                    <a:lnTo>
                      <a:pt x="198" y="206"/>
                    </a:lnTo>
                    <a:lnTo>
                      <a:pt x="198" y="204"/>
                    </a:lnTo>
                    <a:lnTo>
                      <a:pt x="197" y="204"/>
                    </a:lnTo>
                    <a:lnTo>
                      <a:pt x="195" y="203"/>
                    </a:lnTo>
                    <a:lnTo>
                      <a:pt x="193" y="203"/>
                    </a:lnTo>
                    <a:lnTo>
                      <a:pt x="192" y="203"/>
                    </a:lnTo>
                    <a:lnTo>
                      <a:pt x="190" y="203"/>
                    </a:lnTo>
                    <a:lnTo>
                      <a:pt x="190" y="201"/>
                    </a:lnTo>
                    <a:lnTo>
                      <a:pt x="188" y="201"/>
                    </a:lnTo>
                    <a:lnTo>
                      <a:pt x="188" y="203"/>
                    </a:lnTo>
                    <a:lnTo>
                      <a:pt x="188" y="201"/>
                    </a:lnTo>
                    <a:lnTo>
                      <a:pt x="187" y="201"/>
                    </a:lnTo>
                    <a:lnTo>
                      <a:pt x="185" y="201"/>
                    </a:lnTo>
                    <a:lnTo>
                      <a:pt x="183" y="203"/>
                    </a:lnTo>
                    <a:lnTo>
                      <a:pt x="181" y="204"/>
                    </a:lnTo>
                    <a:lnTo>
                      <a:pt x="180" y="204"/>
                    </a:lnTo>
                    <a:lnTo>
                      <a:pt x="178" y="204"/>
                    </a:lnTo>
                    <a:lnTo>
                      <a:pt x="176" y="204"/>
                    </a:lnTo>
                    <a:lnTo>
                      <a:pt x="175" y="204"/>
                    </a:lnTo>
                    <a:lnTo>
                      <a:pt x="173" y="204"/>
                    </a:lnTo>
                    <a:lnTo>
                      <a:pt x="171" y="204"/>
                    </a:lnTo>
                    <a:lnTo>
                      <a:pt x="171" y="206"/>
                    </a:lnTo>
                    <a:lnTo>
                      <a:pt x="170" y="206"/>
                    </a:lnTo>
                    <a:lnTo>
                      <a:pt x="168" y="206"/>
                    </a:lnTo>
                    <a:lnTo>
                      <a:pt x="166" y="206"/>
                    </a:lnTo>
                    <a:lnTo>
                      <a:pt x="164" y="206"/>
                    </a:lnTo>
                    <a:lnTo>
                      <a:pt x="163" y="206"/>
                    </a:lnTo>
                    <a:lnTo>
                      <a:pt x="161" y="206"/>
                    </a:lnTo>
                    <a:lnTo>
                      <a:pt x="159" y="206"/>
                    </a:lnTo>
                    <a:lnTo>
                      <a:pt x="158" y="208"/>
                    </a:lnTo>
                    <a:lnTo>
                      <a:pt x="156" y="208"/>
                    </a:lnTo>
                    <a:lnTo>
                      <a:pt x="156" y="206"/>
                    </a:lnTo>
                    <a:lnTo>
                      <a:pt x="154" y="206"/>
                    </a:lnTo>
                    <a:lnTo>
                      <a:pt x="153" y="206"/>
                    </a:lnTo>
                    <a:lnTo>
                      <a:pt x="151" y="206"/>
                    </a:lnTo>
                    <a:lnTo>
                      <a:pt x="149" y="206"/>
                    </a:lnTo>
                    <a:lnTo>
                      <a:pt x="147" y="206"/>
                    </a:lnTo>
                    <a:lnTo>
                      <a:pt x="147" y="204"/>
                    </a:lnTo>
                    <a:lnTo>
                      <a:pt x="146" y="206"/>
                    </a:lnTo>
                    <a:lnTo>
                      <a:pt x="146" y="204"/>
                    </a:lnTo>
                    <a:lnTo>
                      <a:pt x="144" y="204"/>
                    </a:lnTo>
                    <a:lnTo>
                      <a:pt x="142" y="204"/>
                    </a:lnTo>
                    <a:lnTo>
                      <a:pt x="142" y="206"/>
                    </a:lnTo>
                    <a:lnTo>
                      <a:pt x="141" y="206"/>
                    </a:lnTo>
                    <a:lnTo>
                      <a:pt x="139" y="208"/>
                    </a:lnTo>
                    <a:lnTo>
                      <a:pt x="137" y="209"/>
                    </a:lnTo>
                    <a:lnTo>
                      <a:pt x="136" y="209"/>
                    </a:lnTo>
                    <a:lnTo>
                      <a:pt x="136" y="208"/>
                    </a:lnTo>
                    <a:lnTo>
                      <a:pt x="134" y="208"/>
                    </a:lnTo>
                    <a:lnTo>
                      <a:pt x="132" y="208"/>
                    </a:lnTo>
                    <a:lnTo>
                      <a:pt x="127" y="203"/>
                    </a:lnTo>
                    <a:lnTo>
                      <a:pt x="127" y="201"/>
                    </a:lnTo>
                    <a:lnTo>
                      <a:pt x="120" y="194"/>
                    </a:lnTo>
                    <a:lnTo>
                      <a:pt x="113" y="186"/>
                    </a:lnTo>
                    <a:lnTo>
                      <a:pt x="110" y="181"/>
                    </a:lnTo>
                    <a:lnTo>
                      <a:pt x="108" y="179"/>
                    </a:lnTo>
                    <a:lnTo>
                      <a:pt x="107" y="179"/>
                    </a:lnTo>
                    <a:lnTo>
                      <a:pt x="105" y="179"/>
                    </a:lnTo>
                    <a:lnTo>
                      <a:pt x="103" y="179"/>
                    </a:lnTo>
                    <a:lnTo>
                      <a:pt x="103" y="181"/>
                    </a:lnTo>
                    <a:lnTo>
                      <a:pt x="102" y="181"/>
                    </a:lnTo>
                    <a:lnTo>
                      <a:pt x="100" y="181"/>
                    </a:lnTo>
                    <a:lnTo>
                      <a:pt x="100" y="179"/>
                    </a:lnTo>
                    <a:lnTo>
                      <a:pt x="98" y="179"/>
                    </a:lnTo>
                    <a:lnTo>
                      <a:pt x="98" y="177"/>
                    </a:lnTo>
                    <a:lnTo>
                      <a:pt x="96" y="177"/>
                    </a:lnTo>
                    <a:lnTo>
                      <a:pt x="95" y="177"/>
                    </a:lnTo>
                    <a:lnTo>
                      <a:pt x="95" y="175"/>
                    </a:lnTo>
                    <a:lnTo>
                      <a:pt x="93" y="175"/>
                    </a:lnTo>
                    <a:lnTo>
                      <a:pt x="91" y="175"/>
                    </a:lnTo>
                    <a:lnTo>
                      <a:pt x="90" y="175"/>
                    </a:lnTo>
                    <a:lnTo>
                      <a:pt x="90" y="174"/>
                    </a:lnTo>
                    <a:lnTo>
                      <a:pt x="88" y="175"/>
                    </a:lnTo>
                    <a:lnTo>
                      <a:pt x="86" y="174"/>
                    </a:lnTo>
                    <a:lnTo>
                      <a:pt x="86" y="175"/>
                    </a:lnTo>
                    <a:lnTo>
                      <a:pt x="85" y="175"/>
                    </a:lnTo>
                    <a:lnTo>
                      <a:pt x="83" y="175"/>
                    </a:lnTo>
                    <a:lnTo>
                      <a:pt x="81" y="177"/>
                    </a:lnTo>
                    <a:lnTo>
                      <a:pt x="81" y="175"/>
                    </a:lnTo>
                    <a:lnTo>
                      <a:pt x="81" y="177"/>
                    </a:lnTo>
                    <a:lnTo>
                      <a:pt x="79" y="177"/>
                    </a:lnTo>
                    <a:lnTo>
                      <a:pt x="79" y="179"/>
                    </a:lnTo>
                    <a:lnTo>
                      <a:pt x="78" y="179"/>
                    </a:lnTo>
                    <a:lnTo>
                      <a:pt x="76" y="179"/>
                    </a:lnTo>
                    <a:lnTo>
                      <a:pt x="74" y="179"/>
                    </a:lnTo>
                    <a:lnTo>
                      <a:pt x="74" y="177"/>
                    </a:lnTo>
                    <a:lnTo>
                      <a:pt x="73" y="177"/>
                    </a:lnTo>
                    <a:lnTo>
                      <a:pt x="71" y="177"/>
                    </a:lnTo>
                    <a:lnTo>
                      <a:pt x="69" y="177"/>
                    </a:lnTo>
                    <a:lnTo>
                      <a:pt x="68" y="177"/>
                    </a:lnTo>
                    <a:lnTo>
                      <a:pt x="66" y="177"/>
                    </a:lnTo>
                    <a:lnTo>
                      <a:pt x="64" y="177"/>
                    </a:lnTo>
                    <a:lnTo>
                      <a:pt x="62" y="177"/>
                    </a:lnTo>
                    <a:lnTo>
                      <a:pt x="61" y="177"/>
                    </a:lnTo>
                    <a:lnTo>
                      <a:pt x="59" y="177"/>
                    </a:lnTo>
                    <a:lnTo>
                      <a:pt x="59" y="175"/>
                    </a:lnTo>
                    <a:lnTo>
                      <a:pt x="57" y="177"/>
                    </a:lnTo>
                    <a:lnTo>
                      <a:pt x="57" y="175"/>
                    </a:lnTo>
                    <a:lnTo>
                      <a:pt x="56" y="177"/>
                    </a:lnTo>
                    <a:lnTo>
                      <a:pt x="54" y="177"/>
                    </a:lnTo>
                    <a:lnTo>
                      <a:pt x="54" y="175"/>
                    </a:lnTo>
                    <a:lnTo>
                      <a:pt x="52" y="175"/>
                    </a:lnTo>
                    <a:lnTo>
                      <a:pt x="51" y="175"/>
                    </a:lnTo>
                    <a:lnTo>
                      <a:pt x="51" y="177"/>
                    </a:lnTo>
                    <a:lnTo>
                      <a:pt x="49" y="177"/>
                    </a:lnTo>
                    <a:lnTo>
                      <a:pt x="47" y="177"/>
                    </a:lnTo>
                    <a:lnTo>
                      <a:pt x="45" y="177"/>
                    </a:lnTo>
                    <a:lnTo>
                      <a:pt x="44" y="177"/>
                    </a:lnTo>
                    <a:lnTo>
                      <a:pt x="42" y="175"/>
                    </a:lnTo>
                    <a:lnTo>
                      <a:pt x="40" y="172"/>
                    </a:lnTo>
                    <a:lnTo>
                      <a:pt x="40" y="170"/>
                    </a:lnTo>
                    <a:lnTo>
                      <a:pt x="39" y="170"/>
                    </a:lnTo>
                    <a:lnTo>
                      <a:pt x="39" y="169"/>
                    </a:lnTo>
                    <a:lnTo>
                      <a:pt x="39" y="167"/>
                    </a:lnTo>
                    <a:lnTo>
                      <a:pt x="40" y="167"/>
                    </a:lnTo>
                    <a:lnTo>
                      <a:pt x="39" y="167"/>
                    </a:lnTo>
                    <a:lnTo>
                      <a:pt x="39" y="165"/>
                    </a:lnTo>
                    <a:lnTo>
                      <a:pt x="37" y="164"/>
                    </a:lnTo>
                    <a:lnTo>
                      <a:pt x="37" y="165"/>
                    </a:lnTo>
                    <a:lnTo>
                      <a:pt x="35" y="165"/>
                    </a:lnTo>
                    <a:lnTo>
                      <a:pt x="34" y="165"/>
                    </a:lnTo>
                    <a:lnTo>
                      <a:pt x="34" y="164"/>
                    </a:lnTo>
                    <a:lnTo>
                      <a:pt x="32" y="165"/>
                    </a:lnTo>
                    <a:lnTo>
                      <a:pt x="32" y="164"/>
                    </a:lnTo>
                    <a:lnTo>
                      <a:pt x="30" y="164"/>
                    </a:lnTo>
                    <a:lnTo>
                      <a:pt x="30" y="162"/>
                    </a:lnTo>
                    <a:lnTo>
                      <a:pt x="28" y="162"/>
                    </a:lnTo>
                    <a:lnTo>
                      <a:pt x="28" y="160"/>
                    </a:lnTo>
                    <a:lnTo>
                      <a:pt x="30" y="160"/>
                    </a:lnTo>
                    <a:lnTo>
                      <a:pt x="30" y="158"/>
                    </a:lnTo>
                    <a:lnTo>
                      <a:pt x="28" y="158"/>
                    </a:lnTo>
                    <a:lnTo>
                      <a:pt x="28" y="157"/>
                    </a:lnTo>
                    <a:lnTo>
                      <a:pt x="28" y="155"/>
                    </a:lnTo>
                    <a:lnTo>
                      <a:pt x="28" y="153"/>
                    </a:lnTo>
                    <a:lnTo>
                      <a:pt x="28" y="152"/>
                    </a:lnTo>
                    <a:lnTo>
                      <a:pt x="30" y="150"/>
                    </a:lnTo>
                    <a:lnTo>
                      <a:pt x="30" y="148"/>
                    </a:lnTo>
                    <a:lnTo>
                      <a:pt x="28" y="148"/>
                    </a:lnTo>
                    <a:lnTo>
                      <a:pt x="28" y="147"/>
                    </a:lnTo>
                    <a:lnTo>
                      <a:pt x="28" y="145"/>
                    </a:lnTo>
                    <a:lnTo>
                      <a:pt x="30" y="145"/>
                    </a:lnTo>
                    <a:lnTo>
                      <a:pt x="30" y="143"/>
                    </a:lnTo>
                    <a:lnTo>
                      <a:pt x="32" y="143"/>
                    </a:lnTo>
                    <a:lnTo>
                      <a:pt x="34" y="143"/>
                    </a:lnTo>
                    <a:lnTo>
                      <a:pt x="34" y="141"/>
                    </a:lnTo>
                    <a:lnTo>
                      <a:pt x="32" y="141"/>
                    </a:lnTo>
                    <a:lnTo>
                      <a:pt x="32" y="140"/>
                    </a:lnTo>
                    <a:lnTo>
                      <a:pt x="32" y="138"/>
                    </a:lnTo>
                    <a:lnTo>
                      <a:pt x="34" y="138"/>
                    </a:lnTo>
                    <a:lnTo>
                      <a:pt x="32" y="138"/>
                    </a:lnTo>
                    <a:lnTo>
                      <a:pt x="32" y="136"/>
                    </a:lnTo>
                    <a:lnTo>
                      <a:pt x="32" y="135"/>
                    </a:lnTo>
                    <a:lnTo>
                      <a:pt x="32" y="133"/>
                    </a:lnTo>
                    <a:lnTo>
                      <a:pt x="32" y="131"/>
                    </a:lnTo>
                    <a:lnTo>
                      <a:pt x="30" y="131"/>
                    </a:lnTo>
                    <a:lnTo>
                      <a:pt x="28" y="130"/>
                    </a:lnTo>
                    <a:lnTo>
                      <a:pt x="28" y="128"/>
                    </a:lnTo>
                    <a:lnTo>
                      <a:pt x="27" y="126"/>
                    </a:lnTo>
                    <a:lnTo>
                      <a:pt x="25" y="126"/>
                    </a:lnTo>
                    <a:lnTo>
                      <a:pt x="25" y="124"/>
                    </a:lnTo>
                    <a:lnTo>
                      <a:pt x="23" y="124"/>
                    </a:lnTo>
                    <a:lnTo>
                      <a:pt x="23" y="123"/>
                    </a:lnTo>
                    <a:lnTo>
                      <a:pt x="22" y="121"/>
                    </a:lnTo>
                    <a:lnTo>
                      <a:pt x="22" y="118"/>
                    </a:lnTo>
                    <a:lnTo>
                      <a:pt x="20" y="113"/>
                    </a:lnTo>
                    <a:lnTo>
                      <a:pt x="20" y="111"/>
                    </a:lnTo>
                    <a:lnTo>
                      <a:pt x="20" y="109"/>
                    </a:lnTo>
                    <a:lnTo>
                      <a:pt x="18" y="107"/>
                    </a:lnTo>
                    <a:lnTo>
                      <a:pt x="18" y="106"/>
                    </a:lnTo>
                    <a:lnTo>
                      <a:pt x="17" y="106"/>
                    </a:lnTo>
                    <a:lnTo>
                      <a:pt x="17" y="104"/>
                    </a:lnTo>
                    <a:lnTo>
                      <a:pt x="17" y="106"/>
                    </a:lnTo>
                    <a:lnTo>
                      <a:pt x="15" y="106"/>
                    </a:lnTo>
                    <a:lnTo>
                      <a:pt x="13" y="106"/>
                    </a:lnTo>
                    <a:lnTo>
                      <a:pt x="13" y="107"/>
                    </a:lnTo>
                    <a:lnTo>
                      <a:pt x="13" y="106"/>
                    </a:lnTo>
                    <a:lnTo>
                      <a:pt x="11" y="106"/>
                    </a:lnTo>
                    <a:lnTo>
                      <a:pt x="11" y="104"/>
                    </a:lnTo>
                    <a:lnTo>
                      <a:pt x="13" y="104"/>
                    </a:lnTo>
                    <a:lnTo>
                      <a:pt x="11" y="104"/>
                    </a:lnTo>
                    <a:lnTo>
                      <a:pt x="11" y="102"/>
                    </a:lnTo>
                    <a:lnTo>
                      <a:pt x="11" y="101"/>
                    </a:lnTo>
                    <a:lnTo>
                      <a:pt x="11" y="99"/>
                    </a:lnTo>
                    <a:lnTo>
                      <a:pt x="10" y="101"/>
                    </a:lnTo>
                    <a:lnTo>
                      <a:pt x="8" y="101"/>
                    </a:lnTo>
                    <a:lnTo>
                      <a:pt x="8" y="102"/>
                    </a:lnTo>
                    <a:lnTo>
                      <a:pt x="6" y="102"/>
                    </a:lnTo>
                    <a:lnTo>
                      <a:pt x="5" y="104"/>
                    </a:lnTo>
                    <a:lnTo>
                      <a:pt x="3" y="104"/>
                    </a:lnTo>
                    <a:lnTo>
                      <a:pt x="1" y="104"/>
                    </a:lnTo>
                    <a:lnTo>
                      <a:pt x="0" y="104"/>
                    </a:lnTo>
                    <a:lnTo>
                      <a:pt x="0" y="102"/>
                    </a:lnTo>
                    <a:lnTo>
                      <a:pt x="0" y="101"/>
                    </a:lnTo>
                    <a:lnTo>
                      <a:pt x="1" y="101"/>
                    </a:lnTo>
                    <a:lnTo>
                      <a:pt x="1" y="99"/>
                    </a:lnTo>
                    <a:lnTo>
                      <a:pt x="3" y="97"/>
                    </a:lnTo>
                    <a:lnTo>
                      <a:pt x="3" y="96"/>
                    </a:lnTo>
                    <a:lnTo>
                      <a:pt x="5" y="96"/>
                    </a:lnTo>
                    <a:lnTo>
                      <a:pt x="5" y="94"/>
                    </a:lnTo>
                    <a:lnTo>
                      <a:pt x="5" y="92"/>
                    </a:lnTo>
                    <a:lnTo>
                      <a:pt x="6" y="92"/>
                    </a:lnTo>
                    <a:lnTo>
                      <a:pt x="6" y="90"/>
                    </a:lnTo>
                    <a:lnTo>
                      <a:pt x="8" y="89"/>
                    </a:lnTo>
                    <a:lnTo>
                      <a:pt x="8" y="87"/>
                    </a:lnTo>
                    <a:lnTo>
                      <a:pt x="10" y="87"/>
                    </a:lnTo>
                    <a:lnTo>
                      <a:pt x="10" y="85"/>
                    </a:lnTo>
                    <a:lnTo>
                      <a:pt x="11" y="84"/>
                    </a:lnTo>
                    <a:lnTo>
                      <a:pt x="11" y="82"/>
                    </a:lnTo>
                    <a:lnTo>
                      <a:pt x="13" y="82"/>
                    </a:lnTo>
                    <a:lnTo>
                      <a:pt x="13" y="80"/>
                    </a:lnTo>
                    <a:lnTo>
                      <a:pt x="11" y="80"/>
                    </a:lnTo>
                    <a:lnTo>
                      <a:pt x="11" y="78"/>
                    </a:lnTo>
                    <a:lnTo>
                      <a:pt x="11" y="77"/>
                    </a:lnTo>
                    <a:lnTo>
                      <a:pt x="11" y="75"/>
                    </a:lnTo>
                    <a:lnTo>
                      <a:pt x="13" y="75"/>
                    </a:lnTo>
                    <a:lnTo>
                      <a:pt x="13" y="73"/>
                    </a:lnTo>
                    <a:lnTo>
                      <a:pt x="13" y="72"/>
                    </a:lnTo>
                    <a:lnTo>
                      <a:pt x="15" y="72"/>
                    </a:lnTo>
                    <a:lnTo>
                      <a:pt x="13" y="70"/>
                    </a:lnTo>
                    <a:lnTo>
                      <a:pt x="15" y="70"/>
                    </a:lnTo>
                    <a:lnTo>
                      <a:pt x="15" y="68"/>
                    </a:lnTo>
                    <a:lnTo>
                      <a:pt x="15" y="67"/>
                    </a:lnTo>
                    <a:lnTo>
                      <a:pt x="15" y="65"/>
                    </a:lnTo>
                    <a:lnTo>
                      <a:pt x="15" y="63"/>
                    </a:lnTo>
                    <a:lnTo>
                      <a:pt x="15" y="61"/>
                    </a:lnTo>
                    <a:lnTo>
                      <a:pt x="15" y="60"/>
                    </a:lnTo>
                    <a:lnTo>
                      <a:pt x="17" y="60"/>
                    </a:lnTo>
                    <a:lnTo>
                      <a:pt x="17" y="58"/>
                    </a:lnTo>
                    <a:lnTo>
                      <a:pt x="17" y="56"/>
                    </a:lnTo>
                    <a:lnTo>
                      <a:pt x="18" y="55"/>
                    </a:lnTo>
                    <a:lnTo>
                      <a:pt x="20" y="55"/>
                    </a:lnTo>
                    <a:lnTo>
                      <a:pt x="20" y="53"/>
                    </a:lnTo>
                    <a:lnTo>
                      <a:pt x="20" y="51"/>
                    </a:lnTo>
                    <a:lnTo>
                      <a:pt x="20" y="50"/>
                    </a:lnTo>
                    <a:lnTo>
                      <a:pt x="22" y="50"/>
                    </a:lnTo>
                    <a:lnTo>
                      <a:pt x="22" y="48"/>
                    </a:lnTo>
                    <a:lnTo>
                      <a:pt x="22" y="46"/>
                    </a:lnTo>
                    <a:lnTo>
                      <a:pt x="23" y="44"/>
                    </a:lnTo>
                    <a:lnTo>
                      <a:pt x="25" y="44"/>
                    </a:lnTo>
                    <a:lnTo>
                      <a:pt x="27" y="43"/>
                    </a:lnTo>
                    <a:lnTo>
                      <a:pt x="27" y="41"/>
                    </a:lnTo>
                    <a:lnTo>
                      <a:pt x="28" y="39"/>
                    </a:lnTo>
                    <a:lnTo>
                      <a:pt x="28" y="38"/>
                    </a:lnTo>
                    <a:lnTo>
                      <a:pt x="30" y="36"/>
                    </a:lnTo>
                    <a:lnTo>
                      <a:pt x="30" y="38"/>
                    </a:lnTo>
                    <a:lnTo>
                      <a:pt x="30" y="36"/>
                    </a:lnTo>
                    <a:lnTo>
                      <a:pt x="32" y="36"/>
                    </a:lnTo>
                    <a:lnTo>
                      <a:pt x="34" y="36"/>
                    </a:lnTo>
                    <a:lnTo>
                      <a:pt x="35" y="36"/>
                    </a:lnTo>
                    <a:lnTo>
                      <a:pt x="37" y="36"/>
                    </a:lnTo>
                    <a:lnTo>
                      <a:pt x="39" y="33"/>
                    </a:lnTo>
                    <a:lnTo>
                      <a:pt x="40" y="29"/>
                    </a:lnTo>
                    <a:lnTo>
                      <a:pt x="40" y="27"/>
                    </a:lnTo>
                    <a:lnTo>
                      <a:pt x="42" y="27"/>
                    </a:lnTo>
                    <a:lnTo>
                      <a:pt x="42" y="26"/>
                    </a:lnTo>
                    <a:lnTo>
                      <a:pt x="44" y="24"/>
                    </a:lnTo>
                    <a:lnTo>
                      <a:pt x="44" y="22"/>
                    </a:lnTo>
                    <a:lnTo>
                      <a:pt x="45" y="21"/>
                    </a:lnTo>
                    <a:lnTo>
                      <a:pt x="45" y="19"/>
                    </a:lnTo>
                    <a:lnTo>
                      <a:pt x="52" y="17"/>
                    </a:lnTo>
                    <a:lnTo>
                      <a:pt x="57" y="16"/>
                    </a:lnTo>
                    <a:lnTo>
                      <a:pt x="62" y="14"/>
                    </a:lnTo>
                    <a:lnTo>
                      <a:pt x="66" y="12"/>
                    </a:lnTo>
                    <a:lnTo>
                      <a:pt x="66" y="14"/>
                    </a:lnTo>
                    <a:lnTo>
                      <a:pt x="66" y="12"/>
                    </a:lnTo>
                    <a:lnTo>
                      <a:pt x="68" y="12"/>
                    </a:lnTo>
                    <a:lnTo>
                      <a:pt x="68" y="14"/>
                    </a:lnTo>
                    <a:lnTo>
                      <a:pt x="66" y="14"/>
                    </a:lnTo>
                    <a:lnTo>
                      <a:pt x="66" y="16"/>
                    </a:lnTo>
                    <a:lnTo>
                      <a:pt x="64" y="16"/>
                    </a:lnTo>
                    <a:lnTo>
                      <a:pt x="62" y="17"/>
                    </a:lnTo>
                    <a:lnTo>
                      <a:pt x="61" y="17"/>
                    </a:lnTo>
                    <a:lnTo>
                      <a:pt x="59" y="17"/>
                    </a:lnTo>
                    <a:lnTo>
                      <a:pt x="57" y="17"/>
                    </a:lnTo>
                    <a:lnTo>
                      <a:pt x="56" y="17"/>
                    </a:lnTo>
                    <a:lnTo>
                      <a:pt x="54" y="19"/>
                    </a:lnTo>
                    <a:lnTo>
                      <a:pt x="52" y="19"/>
                    </a:lnTo>
                    <a:lnTo>
                      <a:pt x="51" y="19"/>
                    </a:lnTo>
                    <a:lnTo>
                      <a:pt x="49" y="19"/>
                    </a:lnTo>
                    <a:lnTo>
                      <a:pt x="49" y="21"/>
                    </a:lnTo>
                    <a:lnTo>
                      <a:pt x="47" y="21"/>
                    </a:lnTo>
                    <a:lnTo>
                      <a:pt x="45" y="21"/>
                    </a:lnTo>
                    <a:lnTo>
                      <a:pt x="45" y="22"/>
                    </a:lnTo>
                    <a:lnTo>
                      <a:pt x="45" y="24"/>
                    </a:lnTo>
                    <a:lnTo>
                      <a:pt x="45" y="26"/>
                    </a:lnTo>
                    <a:lnTo>
                      <a:pt x="45" y="27"/>
                    </a:lnTo>
                    <a:lnTo>
                      <a:pt x="47" y="27"/>
                    </a:lnTo>
                    <a:lnTo>
                      <a:pt x="47" y="29"/>
                    </a:lnTo>
                    <a:lnTo>
                      <a:pt x="47" y="31"/>
                    </a:lnTo>
                    <a:lnTo>
                      <a:pt x="49" y="33"/>
                    </a:lnTo>
                    <a:lnTo>
                      <a:pt x="49" y="34"/>
                    </a:lnTo>
                    <a:lnTo>
                      <a:pt x="51" y="34"/>
                    </a:lnTo>
                    <a:lnTo>
                      <a:pt x="51" y="36"/>
                    </a:lnTo>
                    <a:lnTo>
                      <a:pt x="52" y="38"/>
                    </a:lnTo>
                    <a:lnTo>
                      <a:pt x="54" y="38"/>
                    </a:lnTo>
                    <a:lnTo>
                      <a:pt x="54" y="39"/>
                    </a:lnTo>
                    <a:lnTo>
                      <a:pt x="56" y="39"/>
                    </a:lnTo>
                    <a:lnTo>
                      <a:pt x="56" y="41"/>
                    </a:lnTo>
                    <a:lnTo>
                      <a:pt x="57" y="41"/>
                    </a:lnTo>
                    <a:lnTo>
                      <a:pt x="57" y="43"/>
                    </a:lnTo>
                    <a:lnTo>
                      <a:pt x="57" y="41"/>
                    </a:lnTo>
                    <a:lnTo>
                      <a:pt x="56" y="41"/>
                    </a:lnTo>
                    <a:lnTo>
                      <a:pt x="54" y="41"/>
                    </a:lnTo>
                    <a:lnTo>
                      <a:pt x="52" y="41"/>
                    </a:lnTo>
                    <a:lnTo>
                      <a:pt x="54" y="43"/>
                    </a:lnTo>
                    <a:lnTo>
                      <a:pt x="54" y="44"/>
                    </a:lnTo>
                    <a:lnTo>
                      <a:pt x="54" y="46"/>
                    </a:lnTo>
                    <a:lnTo>
                      <a:pt x="56" y="46"/>
                    </a:lnTo>
                    <a:lnTo>
                      <a:pt x="56" y="48"/>
                    </a:lnTo>
                    <a:lnTo>
                      <a:pt x="56" y="50"/>
                    </a:lnTo>
                    <a:lnTo>
                      <a:pt x="57" y="50"/>
                    </a:lnTo>
                    <a:lnTo>
                      <a:pt x="56" y="50"/>
                    </a:lnTo>
                    <a:lnTo>
                      <a:pt x="57" y="50"/>
                    </a:lnTo>
                    <a:lnTo>
                      <a:pt x="59" y="51"/>
                    </a:lnTo>
                    <a:lnTo>
                      <a:pt x="59" y="53"/>
                    </a:lnTo>
                    <a:lnTo>
                      <a:pt x="57" y="53"/>
                    </a:lnTo>
                    <a:lnTo>
                      <a:pt x="57" y="55"/>
                    </a:lnTo>
                    <a:lnTo>
                      <a:pt x="57" y="56"/>
                    </a:lnTo>
                    <a:lnTo>
                      <a:pt x="57" y="58"/>
                    </a:lnTo>
                    <a:lnTo>
                      <a:pt x="57" y="60"/>
                    </a:lnTo>
                    <a:lnTo>
                      <a:pt x="56" y="60"/>
                    </a:lnTo>
                    <a:lnTo>
                      <a:pt x="56" y="61"/>
                    </a:lnTo>
                    <a:lnTo>
                      <a:pt x="54" y="61"/>
                    </a:lnTo>
                    <a:lnTo>
                      <a:pt x="54" y="63"/>
                    </a:lnTo>
                    <a:lnTo>
                      <a:pt x="52" y="63"/>
                    </a:lnTo>
                    <a:lnTo>
                      <a:pt x="52" y="65"/>
                    </a:lnTo>
                    <a:lnTo>
                      <a:pt x="51" y="65"/>
                    </a:lnTo>
                    <a:lnTo>
                      <a:pt x="51" y="67"/>
                    </a:lnTo>
                    <a:lnTo>
                      <a:pt x="51" y="68"/>
                    </a:lnTo>
                    <a:lnTo>
                      <a:pt x="49" y="68"/>
                    </a:lnTo>
                    <a:lnTo>
                      <a:pt x="49" y="70"/>
                    </a:lnTo>
                    <a:lnTo>
                      <a:pt x="49" y="72"/>
                    </a:lnTo>
                    <a:lnTo>
                      <a:pt x="47" y="72"/>
                    </a:lnTo>
                    <a:lnTo>
                      <a:pt x="45" y="72"/>
                    </a:lnTo>
                    <a:lnTo>
                      <a:pt x="45" y="73"/>
                    </a:lnTo>
                    <a:lnTo>
                      <a:pt x="45" y="75"/>
                    </a:lnTo>
                    <a:lnTo>
                      <a:pt x="44" y="75"/>
                    </a:lnTo>
                    <a:lnTo>
                      <a:pt x="44" y="77"/>
                    </a:lnTo>
                    <a:lnTo>
                      <a:pt x="44" y="78"/>
                    </a:lnTo>
                    <a:lnTo>
                      <a:pt x="42" y="78"/>
                    </a:lnTo>
                    <a:lnTo>
                      <a:pt x="42" y="80"/>
                    </a:lnTo>
                    <a:lnTo>
                      <a:pt x="40" y="80"/>
                    </a:lnTo>
                    <a:lnTo>
                      <a:pt x="40" y="82"/>
                    </a:lnTo>
                    <a:lnTo>
                      <a:pt x="40" y="84"/>
                    </a:lnTo>
                    <a:lnTo>
                      <a:pt x="42" y="84"/>
                    </a:lnTo>
                    <a:lnTo>
                      <a:pt x="42" y="85"/>
                    </a:lnTo>
                    <a:lnTo>
                      <a:pt x="44" y="85"/>
                    </a:lnTo>
                    <a:lnTo>
                      <a:pt x="44" y="87"/>
                    </a:lnTo>
                    <a:lnTo>
                      <a:pt x="45" y="87"/>
                    </a:lnTo>
                    <a:lnTo>
                      <a:pt x="45" y="89"/>
                    </a:lnTo>
                    <a:lnTo>
                      <a:pt x="45" y="90"/>
                    </a:lnTo>
                    <a:lnTo>
                      <a:pt x="45" y="89"/>
                    </a:lnTo>
                    <a:lnTo>
                      <a:pt x="45" y="90"/>
                    </a:lnTo>
                    <a:lnTo>
                      <a:pt x="44" y="90"/>
                    </a:lnTo>
                    <a:lnTo>
                      <a:pt x="45" y="90"/>
                    </a:lnTo>
                    <a:lnTo>
                      <a:pt x="45" y="92"/>
                    </a:lnTo>
                    <a:lnTo>
                      <a:pt x="47" y="92"/>
                    </a:lnTo>
                    <a:lnTo>
                      <a:pt x="47" y="94"/>
                    </a:lnTo>
                    <a:lnTo>
                      <a:pt x="49" y="94"/>
                    </a:lnTo>
                    <a:lnTo>
                      <a:pt x="51" y="96"/>
                    </a:lnTo>
                    <a:lnTo>
                      <a:pt x="49" y="96"/>
                    </a:lnTo>
                    <a:lnTo>
                      <a:pt x="47" y="96"/>
                    </a:lnTo>
                    <a:lnTo>
                      <a:pt x="47" y="97"/>
                    </a:lnTo>
                    <a:lnTo>
                      <a:pt x="49" y="97"/>
                    </a:lnTo>
                    <a:lnTo>
                      <a:pt x="49" y="96"/>
                    </a:lnTo>
                    <a:lnTo>
                      <a:pt x="51" y="96"/>
                    </a:lnTo>
                    <a:lnTo>
                      <a:pt x="51" y="97"/>
                    </a:lnTo>
                    <a:lnTo>
                      <a:pt x="52" y="97"/>
                    </a:lnTo>
                    <a:lnTo>
                      <a:pt x="52" y="96"/>
                    </a:lnTo>
                    <a:lnTo>
                      <a:pt x="52" y="97"/>
                    </a:lnTo>
                    <a:lnTo>
                      <a:pt x="54" y="97"/>
                    </a:lnTo>
                    <a:lnTo>
                      <a:pt x="54" y="96"/>
                    </a:lnTo>
                    <a:lnTo>
                      <a:pt x="54" y="97"/>
                    </a:lnTo>
                    <a:lnTo>
                      <a:pt x="54" y="99"/>
                    </a:lnTo>
                    <a:lnTo>
                      <a:pt x="54" y="101"/>
                    </a:lnTo>
                    <a:lnTo>
                      <a:pt x="52" y="101"/>
                    </a:lnTo>
                    <a:lnTo>
                      <a:pt x="51" y="102"/>
                    </a:lnTo>
                    <a:lnTo>
                      <a:pt x="52" y="102"/>
                    </a:lnTo>
                    <a:lnTo>
                      <a:pt x="54" y="102"/>
                    </a:lnTo>
                    <a:lnTo>
                      <a:pt x="52" y="102"/>
                    </a:lnTo>
                    <a:lnTo>
                      <a:pt x="54" y="102"/>
                    </a:lnTo>
                    <a:lnTo>
                      <a:pt x="54" y="104"/>
                    </a:lnTo>
                    <a:lnTo>
                      <a:pt x="54" y="106"/>
                    </a:lnTo>
                    <a:lnTo>
                      <a:pt x="52" y="106"/>
                    </a:lnTo>
                    <a:lnTo>
                      <a:pt x="54" y="106"/>
                    </a:lnTo>
                    <a:lnTo>
                      <a:pt x="54" y="107"/>
                    </a:lnTo>
                    <a:lnTo>
                      <a:pt x="56" y="107"/>
                    </a:lnTo>
                    <a:lnTo>
                      <a:pt x="57" y="107"/>
                    </a:lnTo>
                    <a:lnTo>
                      <a:pt x="57" y="109"/>
                    </a:lnTo>
                    <a:lnTo>
                      <a:pt x="59" y="109"/>
                    </a:lnTo>
                    <a:lnTo>
                      <a:pt x="59" y="107"/>
                    </a:lnTo>
                    <a:lnTo>
                      <a:pt x="61" y="109"/>
                    </a:lnTo>
                    <a:lnTo>
                      <a:pt x="61" y="107"/>
                    </a:lnTo>
                    <a:lnTo>
                      <a:pt x="62" y="107"/>
                    </a:lnTo>
                    <a:lnTo>
                      <a:pt x="64" y="107"/>
                    </a:lnTo>
                    <a:lnTo>
                      <a:pt x="66" y="107"/>
                    </a:lnTo>
                    <a:lnTo>
                      <a:pt x="68" y="107"/>
                    </a:lnTo>
                    <a:lnTo>
                      <a:pt x="68" y="106"/>
                    </a:lnTo>
                    <a:lnTo>
                      <a:pt x="69" y="106"/>
                    </a:lnTo>
                    <a:lnTo>
                      <a:pt x="69" y="104"/>
                    </a:lnTo>
                    <a:lnTo>
                      <a:pt x="71" y="104"/>
                    </a:lnTo>
                    <a:lnTo>
                      <a:pt x="71" y="102"/>
                    </a:lnTo>
                    <a:lnTo>
                      <a:pt x="73" y="102"/>
                    </a:lnTo>
                    <a:lnTo>
                      <a:pt x="73" y="101"/>
                    </a:lnTo>
                    <a:lnTo>
                      <a:pt x="74" y="101"/>
                    </a:lnTo>
                    <a:lnTo>
                      <a:pt x="74" y="99"/>
                    </a:lnTo>
                    <a:lnTo>
                      <a:pt x="76" y="99"/>
                    </a:lnTo>
                    <a:lnTo>
                      <a:pt x="76" y="97"/>
                    </a:lnTo>
                    <a:lnTo>
                      <a:pt x="76" y="96"/>
                    </a:lnTo>
                    <a:lnTo>
                      <a:pt x="76" y="94"/>
                    </a:lnTo>
                    <a:lnTo>
                      <a:pt x="76" y="92"/>
                    </a:lnTo>
                    <a:lnTo>
                      <a:pt x="76" y="90"/>
                    </a:lnTo>
                    <a:lnTo>
                      <a:pt x="76" y="89"/>
                    </a:lnTo>
                    <a:lnTo>
                      <a:pt x="76" y="87"/>
                    </a:lnTo>
                    <a:lnTo>
                      <a:pt x="78" y="87"/>
                    </a:lnTo>
                    <a:lnTo>
                      <a:pt x="76" y="85"/>
                    </a:lnTo>
                    <a:lnTo>
                      <a:pt x="78" y="85"/>
                    </a:lnTo>
                    <a:lnTo>
                      <a:pt x="78" y="84"/>
                    </a:lnTo>
                    <a:lnTo>
                      <a:pt x="76" y="84"/>
                    </a:lnTo>
                    <a:lnTo>
                      <a:pt x="76" y="82"/>
                    </a:lnTo>
                    <a:lnTo>
                      <a:pt x="76" y="80"/>
                    </a:lnTo>
                    <a:lnTo>
                      <a:pt x="74" y="78"/>
                    </a:lnTo>
                    <a:lnTo>
                      <a:pt x="74" y="77"/>
                    </a:lnTo>
                    <a:lnTo>
                      <a:pt x="73" y="77"/>
                    </a:lnTo>
                    <a:lnTo>
                      <a:pt x="71" y="77"/>
                    </a:lnTo>
                    <a:lnTo>
                      <a:pt x="71" y="75"/>
                    </a:lnTo>
                    <a:lnTo>
                      <a:pt x="71" y="73"/>
                    </a:lnTo>
                    <a:lnTo>
                      <a:pt x="71" y="72"/>
                    </a:lnTo>
                    <a:lnTo>
                      <a:pt x="69" y="72"/>
                    </a:lnTo>
                    <a:lnTo>
                      <a:pt x="69" y="70"/>
                    </a:lnTo>
                    <a:lnTo>
                      <a:pt x="68" y="68"/>
                    </a:lnTo>
                    <a:lnTo>
                      <a:pt x="66" y="68"/>
                    </a:lnTo>
                    <a:lnTo>
                      <a:pt x="66" y="67"/>
                    </a:lnTo>
                    <a:lnTo>
                      <a:pt x="66" y="65"/>
                    </a:lnTo>
                    <a:lnTo>
                      <a:pt x="64" y="65"/>
                    </a:lnTo>
                    <a:lnTo>
                      <a:pt x="64" y="63"/>
                    </a:lnTo>
                    <a:lnTo>
                      <a:pt x="62" y="63"/>
                    </a:lnTo>
                    <a:lnTo>
                      <a:pt x="62" y="61"/>
                    </a:lnTo>
                    <a:lnTo>
                      <a:pt x="62" y="60"/>
                    </a:lnTo>
                    <a:lnTo>
                      <a:pt x="62" y="58"/>
                    </a:lnTo>
                    <a:lnTo>
                      <a:pt x="61" y="58"/>
                    </a:lnTo>
                    <a:lnTo>
                      <a:pt x="61" y="56"/>
                    </a:lnTo>
                    <a:lnTo>
                      <a:pt x="61" y="55"/>
                    </a:lnTo>
                    <a:lnTo>
                      <a:pt x="62" y="55"/>
                    </a:lnTo>
                    <a:lnTo>
                      <a:pt x="61" y="55"/>
                    </a:lnTo>
                    <a:lnTo>
                      <a:pt x="61" y="53"/>
                    </a:lnTo>
                    <a:lnTo>
                      <a:pt x="61" y="51"/>
                    </a:lnTo>
                    <a:lnTo>
                      <a:pt x="61" y="50"/>
                    </a:lnTo>
                    <a:lnTo>
                      <a:pt x="59" y="50"/>
                    </a:lnTo>
                    <a:lnTo>
                      <a:pt x="59" y="48"/>
                    </a:lnTo>
                    <a:lnTo>
                      <a:pt x="61" y="48"/>
                    </a:lnTo>
                    <a:lnTo>
                      <a:pt x="62" y="48"/>
                    </a:lnTo>
                    <a:lnTo>
                      <a:pt x="64" y="48"/>
                    </a:lnTo>
                    <a:lnTo>
                      <a:pt x="64" y="46"/>
                    </a:lnTo>
                    <a:lnTo>
                      <a:pt x="64" y="44"/>
                    </a:lnTo>
                    <a:lnTo>
                      <a:pt x="62" y="44"/>
                    </a:lnTo>
                    <a:lnTo>
                      <a:pt x="62" y="43"/>
                    </a:lnTo>
                    <a:lnTo>
                      <a:pt x="64" y="43"/>
                    </a:lnTo>
                    <a:lnTo>
                      <a:pt x="64" y="44"/>
                    </a:lnTo>
                    <a:lnTo>
                      <a:pt x="64" y="43"/>
                    </a:lnTo>
                    <a:lnTo>
                      <a:pt x="62" y="43"/>
                    </a:lnTo>
                    <a:lnTo>
                      <a:pt x="64" y="43"/>
                    </a:lnTo>
                    <a:lnTo>
                      <a:pt x="66" y="43"/>
                    </a:lnTo>
                    <a:lnTo>
                      <a:pt x="68" y="43"/>
                    </a:lnTo>
                    <a:lnTo>
                      <a:pt x="69" y="43"/>
                    </a:lnTo>
                    <a:lnTo>
                      <a:pt x="69" y="41"/>
                    </a:lnTo>
                    <a:lnTo>
                      <a:pt x="71" y="41"/>
                    </a:lnTo>
                    <a:lnTo>
                      <a:pt x="73" y="41"/>
                    </a:lnTo>
                    <a:lnTo>
                      <a:pt x="73" y="39"/>
                    </a:lnTo>
                    <a:lnTo>
                      <a:pt x="74" y="39"/>
                    </a:lnTo>
                    <a:lnTo>
                      <a:pt x="76" y="39"/>
                    </a:lnTo>
                    <a:lnTo>
                      <a:pt x="76" y="38"/>
                    </a:lnTo>
                    <a:lnTo>
                      <a:pt x="78" y="38"/>
                    </a:lnTo>
                    <a:lnTo>
                      <a:pt x="79" y="38"/>
                    </a:lnTo>
                    <a:lnTo>
                      <a:pt x="79" y="36"/>
                    </a:lnTo>
                    <a:lnTo>
                      <a:pt x="81" y="36"/>
                    </a:lnTo>
                    <a:lnTo>
                      <a:pt x="83" y="36"/>
                    </a:lnTo>
                    <a:lnTo>
                      <a:pt x="83" y="34"/>
                    </a:lnTo>
                    <a:lnTo>
                      <a:pt x="85" y="34"/>
                    </a:lnTo>
                    <a:lnTo>
                      <a:pt x="86" y="34"/>
                    </a:lnTo>
                    <a:lnTo>
                      <a:pt x="88" y="34"/>
                    </a:lnTo>
                    <a:lnTo>
                      <a:pt x="88" y="33"/>
                    </a:lnTo>
                    <a:lnTo>
                      <a:pt x="90" y="33"/>
                    </a:lnTo>
                    <a:lnTo>
                      <a:pt x="91" y="33"/>
                    </a:lnTo>
                    <a:lnTo>
                      <a:pt x="93" y="33"/>
                    </a:lnTo>
                    <a:lnTo>
                      <a:pt x="95" y="33"/>
                    </a:lnTo>
                    <a:lnTo>
                      <a:pt x="96" y="31"/>
                    </a:lnTo>
                    <a:lnTo>
                      <a:pt x="95" y="33"/>
                    </a:lnTo>
                    <a:lnTo>
                      <a:pt x="95" y="31"/>
                    </a:lnTo>
                    <a:lnTo>
                      <a:pt x="96" y="31"/>
                    </a:lnTo>
                    <a:lnTo>
                      <a:pt x="98" y="31"/>
                    </a:lnTo>
                    <a:lnTo>
                      <a:pt x="100" y="31"/>
                    </a:lnTo>
                    <a:lnTo>
                      <a:pt x="102" y="31"/>
                    </a:lnTo>
                    <a:lnTo>
                      <a:pt x="102" y="29"/>
                    </a:lnTo>
                    <a:lnTo>
                      <a:pt x="103" y="29"/>
                    </a:lnTo>
                    <a:lnTo>
                      <a:pt x="105" y="29"/>
                    </a:lnTo>
                    <a:lnTo>
                      <a:pt x="107" y="29"/>
                    </a:lnTo>
                    <a:lnTo>
                      <a:pt x="107" y="27"/>
                    </a:lnTo>
                    <a:lnTo>
                      <a:pt x="107" y="26"/>
                    </a:lnTo>
                    <a:lnTo>
                      <a:pt x="108" y="26"/>
                    </a:lnTo>
                    <a:lnTo>
                      <a:pt x="107" y="26"/>
                    </a:lnTo>
                    <a:lnTo>
                      <a:pt x="108" y="26"/>
                    </a:lnTo>
                    <a:lnTo>
                      <a:pt x="110" y="26"/>
                    </a:lnTo>
                    <a:lnTo>
                      <a:pt x="110" y="24"/>
                    </a:lnTo>
                    <a:lnTo>
                      <a:pt x="112" y="24"/>
                    </a:lnTo>
                    <a:lnTo>
                      <a:pt x="110" y="24"/>
                    </a:lnTo>
                    <a:lnTo>
                      <a:pt x="110" y="22"/>
                    </a:lnTo>
                    <a:lnTo>
                      <a:pt x="108" y="22"/>
                    </a:lnTo>
                    <a:lnTo>
                      <a:pt x="110" y="22"/>
                    </a:lnTo>
                    <a:lnTo>
                      <a:pt x="108" y="22"/>
                    </a:lnTo>
                    <a:lnTo>
                      <a:pt x="110" y="22"/>
                    </a:lnTo>
                    <a:lnTo>
                      <a:pt x="110" y="24"/>
                    </a:lnTo>
                    <a:lnTo>
                      <a:pt x="112" y="24"/>
                    </a:lnTo>
                    <a:lnTo>
                      <a:pt x="112" y="22"/>
                    </a:lnTo>
                    <a:lnTo>
                      <a:pt x="112" y="24"/>
                    </a:lnTo>
                    <a:lnTo>
                      <a:pt x="113" y="24"/>
                    </a:lnTo>
                    <a:lnTo>
                      <a:pt x="113" y="22"/>
                    </a:lnTo>
                    <a:lnTo>
                      <a:pt x="113" y="24"/>
                    </a:lnTo>
                    <a:lnTo>
                      <a:pt x="115" y="22"/>
                    </a:lnTo>
                    <a:lnTo>
                      <a:pt x="115" y="24"/>
                    </a:lnTo>
                    <a:lnTo>
                      <a:pt x="117" y="24"/>
                    </a:lnTo>
                    <a:lnTo>
                      <a:pt x="117" y="26"/>
                    </a:lnTo>
                    <a:lnTo>
                      <a:pt x="119" y="26"/>
                    </a:lnTo>
                    <a:lnTo>
                      <a:pt x="120" y="26"/>
                    </a:lnTo>
                    <a:lnTo>
                      <a:pt x="120" y="24"/>
                    </a:lnTo>
                    <a:lnTo>
                      <a:pt x="122" y="24"/>
                    </a:lnTo>
                    <a:lnTo>
                      <a:pt x="120" y="22"/>
                    </a:lnTo>
                    <a:lnTo>
                      <a:pt x="120" y="21"/>
                    </a:lnTo>
                    <a:lnTo>
                      <a:pt x="120" y="19"/>
                    </a:lnTo>
                    <a:lnTo>
                      <a:pt x="119" y="19"/>
                    </a:lnTo>
                    <a:lnTo>
                      <a:pt x="119" y="17"/>
                    </a:lnTo>
                    <a:lnTo>
                      <a:pt x="117" y="17"/>
                    </a:lnTo>
                    <a:lnTo>
                      <a:pt x="117" y="19"/>
                    </a:lnTo>
                    <a:lnTo>
                      <a:pt x="117" y="17"/>
                    </a:lnTo>
                    <a:lnTo>
                      <a:pt x="115" y="17"/>
                    </a:lnTo>
                    <a:lnTo>
                      <a:pt x="115" y="19"/>
                    </a:lnTo>
                    <a:lnTo>
                      <a:pt x="113" y="19"/>
                    </a:lnTo>
                    <a:lnTo>
                      <a:pt x="115" y="19"/>
                    </a:lnTo>
                    <a:lnTo>
                      <a:pt x="113" y="17"/>
                    </a:lnTo>
                    <a:lnTo>
                      <a:pt x="113" y="19"/>
                    </a:lnTo>
                    <a:lnTo>
                      <a:pt x="113" y="17"/>
                    </a:lnTo>
                    <a:lnTo>
                      <a:pt x="113" y="19"/>
                    </a:lnTo>
                    <a:lnTo>
                      <a:pt x="112" y="19"/>
                    </a:lnTo>
                    <a:lnTo>
                      <a:pt x="110" y="19"/>
                    </a:lnTo>
                    <a:lnTo>
                      <a:pt x="108" y="19"/>
                    </a:lnTo>
                    <a:lnTo>
                      <a:pt x="107" y="19"/>
                    </a:lnTo>
                    <a:lnTo>
                      <a:pt x="107" y="21"/>
                    </a:lnTo>
                    <a:lnTo>
                      <a:pt x="105" y="21"/>
                    </a:lnTo>
                    <a:lnTo>
                      <a:pt x="105" y="19"/>
                    </a:lnTo>
                    <a:lnTo>
                      <a:pt x="105" y="17"/>
                    </a:lnTo>
                    <a:lnTo>
                      <a:pt x="105" y="16"/>
                    </a:lnTo>
                    <a:lnTo>
                      <a:pt x="105" y="17"/>
                    </a:lnTo>
                    <a:lnTo>
                      <a:pt x="105" y="16"/>
                    </a:lnTo>
                    <a:lnTo>
                      <a:pt x="105" y="14"/>
                    </a:lnTo>
                    <a:lnTo>
                      <a:pt x="105" y="16"/>
                    </a:lnTo>
                    <a:lnTo>
                      <a:pt x="103" y="14"/>
                    </a:lnTo>
                    <a:lnTo>
                      <a:pt x="103" y="12"/>
                    </a:lnTo>
                    <a:lnTo>
                      <a:pt x="102" y="12"/>
                    </a:lnTo>
                    <a:lnTo>
                      <a:pt x="103" y="10"/>
                    </a:lnTo>
                    <a:lnTo>
                      <a:pt x="102" y="10"/>
                    </a:lnTo>
                    <a:lnTo>
                      <a:pt x="103" y="9"/>
                    </a:lnTo>
                    <a:lnTo>
                      <a:pt x="103" y="7"/>
                    </a:lnTo>
                    <a:lnTo>
                      <a:pt x="105" y="5"/>
                    </a:lnTo>
                    <a:lnTo>
                      <a:pt x="105" y="4"/>
                    </a:lnTo>
                    <a:lnTo>
                      <a:pt x="107" y="4"/>
                    </a:lnTo>
                    <a:lnTo>
                      <a:pt x="107" y="2"/>
                    </a:lnTo>
                    <a:lnTo>
                      <a:pt x="108" y="2"/>
                    </a:lnTo>
                    <a:lnTo>
                      <a:pt x="110" y="0"/>
                    </a:lnTo>
                    <a:lnTo>
                      <a:pt x="112" y="0"/>
                    </a:lnTo>
                    <a:lnTo>
                      <a:pt x="113" y="0"/>
                    </a:lnTo>
                    <a:lnTo>
                      <a:pt x="115" y="0"/>
                    </a:lnTo>
                    <a:lnTo>
                      <a:pt x="115" y="2"/>
                    </a:lnTo>
                    <a:lnTo>
                      <a:pt x="117" y="2"/>
                    </a:lnTo>
                    <a:lnTo>
                      <a:pt x="117" y="4"/>
                    </a:lnTo>
                    <a:lnTo>
                      <a:pt x="117" y="5"/>
                    </a:lnTo>
                    <a:lnTo>
                      <a:pt x="117" y="7"/>
                    </a:lnTo>
                    <a:lnTo>
                      <a:pt x="117" y="5"/>
                    </a:lnTo>
                    <a:lnTo>
                      <a:pt x="119" y="5"/>
                    </a:lnTo>
                    <a:lnTo>
                      <a:pt x="119" y="7"/>
                    </a:lnTo>
                    <a:lnTo>
                      <a:pt x="119" y="9"/>
                    </a:lnTo>
                    <a:lnTo>
                      <a:pt x="119" y="10"/>
                    </a:lnTo>
                    <a:lnTo>
                      <a:pt x="119" y="12"/>
                    </a:lnTo>
                    <a:lnTo>
                      <a:pt x="119" y="14"/>
                    </a:lnTo>
                    <a:lnTo>
                      <a:pt x="120" y="16"/>
                    </a:lnTo>
                    <a:lnTo>
                      <a:pt x="120" y="17"/>
                    </a:lnTo>
                    <a:lnTo>
                      <a:pt x="122" y="19"/>
                    </a:lnTo>
                    <a:lnTo>
                      <a:pt x="122" y="21"/>
                    </a:lnTo>
                    <a:lnTo>
                      <a:pt x="122" y="22"/>
                    </a:lnTo>
                    <a:lnTo>
                      <a:pt x="124" y="22"/>
                    </a:lnTo>
                    <a:lnTo>
                      <a:pt x="124" y="24"/>
                    </a:lnTo>
                    <a:lnTo>
                      <a:pt x="125" y="24"/>
                    </a:lnTo>
                    <a:lnTo>
                      <a:pt x="125" y="26"/>
                    </a:lnTo>
                    <a:lnTo>
                      <a:pt x="127" y="26"/>
                    </a:lnTo>
                    <a:lnTo>
                      <a:pt x="127" y="24"/>
                    </a:lnTo>
                    <a:lnTo>
                      <a:pt x="129" y="24"/>
                    </a:lnTo>
                    <a:lnTo>
                      <a:pt x="130" y="24"/>
                    </a:lnTo>
                    <a:lnTo>
                      <a:pt x="132" y="24"/>
                    </a:lnTo>
                    <a:lnTo>
                      <a:pt x="134" y="24"/>
                    </a:lnTo>
                    <a:lnTo>
                      <a:pt x="136" y="24"/>
                    </a:lnTo>
                    <a:lnTo>
                      <a:pt x="136" y="22"/>
                    </a:lnTo>
                    <a:lnTo>
                      <a:pt x="137" y="22"/>
                    </a:lnTo>
                    <a:lnTo>
                      <a:pt x="139" y="24"/>
                    </a:lnTo>
                    <a:lnTo>
                      <a:pt x="141" y="24"/>
                    </a:lnTo>
                    <a:lnTo>
                      <a:pt x="142" y="24"/>
                    </a:lnTo>
                    <a:lnTo>
                      <a:pt x="144" y="26"/>
                    </a:lnTo>
                    <a:lnTo>
                      <a:pt x="146" y="26"/>
                    </a:lnTo>
                    <a:lnTo>
                      <a:pt x="147" y="26"/>
                    </a:lnTo>
                    <a:lnTo>
                      <a:pt x="149" y="26"/>
                    </a:lnTo>
                    <a:lnTo>
                      <a:pt x="151" y="26"/>
                    </a:lnTo>
                    <a:lnTo>
                      <a:pt x="153" y="26"/>
                    </a:lnTo>
                    <a:lnTo>
                      <a:pt x="153" y="27"/>
                    </a:lnTo>
                    <a:lnTo>
                      <a:pt x="154" y="27"/>
                    </a:lnTo>
                    <a:lnTo>
                      <a:pt x="154" y="29"/>
                    </a:lnTo>
                    <a:lnTo>
                      <a:pt x="156" y="29"/>
                    </a:lnTo>
                    <a:lnTo>
                      <a:pt x="158" y="29"/>
                    </a:lnTo>
                    <a:lnTo>
                      <a:pt x="158" y="31"/>
                    </a:lnTo>
                    <a:lnTo>
                      <a:pt x="159" y="31"/>
                    </a:lnTo>
                    <a:lnTo>
                      <a:pt x="161" y="31"/>
                    </a:lnTo>
                    <a:lnTo>
                      <a:pt x="161" y="33"/>
                    </a:lnTo>
                    <a:lnTo>
                      <a:pt x="163" y="33"/>
                    </a:lnTo>
                    <a:lnTo>
                      <a:pt x="163" y="34"/>
                    </a:lnTo>
                    <a:lnTo>
                      <a:pt x="164" y="34"/>
                    </a:lnTo>
                    <a:lnTo>
                      <a:pt x="166" y="34"/>
                    </a:lnTo>
                    <a:lnTo>
                      <a:pt x="166" y="36"/>
                    </a:lnTo>
                    <a:lnTo>
                      <a:pt x="168" y="38"/>
                    </a:lnTo>
                    <a:lnTo>
                      <a:pt x="168" y="39"/>
                    </a:lnTo>
                    <a:lnTo>
                      <a:pt x="170" y="39"/>
                    </a:lnTo>
                    <a:lnTo>
                      <a:pt x="170" y="41"/>
                    </a:lnTo>
                    <a:lnTo>
                      <a:pt x="170" y="43"/>
                    </a:lnTo>
                    <a:lnTo>
                      <a:pt x="171" y="43"/>
                    </a:lnTo>
                    <a:lnTo>
                      <a:pt x="171" y="44"/>
                    </a:lnTo>
                    <a:lnTo>
                      <a:pt x="170" y="44"/>
                    </a:lnTo>
                    <a:lnTo>
                      <a:pt x="170" y="43"/>
                    </a:lnTo>
                    <a:lnTo>
                      <a:pt x="168" y="43"/>
                    </a:lnTo>
                    <a:lnTo>
                      <a:pt x="168" y="44"/>
                    </a:lnTo>
                    <a:lnTo>
                      <a:pt x="170" y="44"/>
                    </a:lnTo>
                    <a:lnTo>
                      <a:pt x="171" y="44"/>
                    </a:lnTo>
                    <a:lnTo>
                      <a:pt x="173" y="44"/>
                    </a:lnTo>
                    <a:lnTo>
                      <a:pt x="173" y="46"/>
                    </a:lnTo>
                    <a:lnTo>
                      <a:pt x="171" y="46"/>
                    </a:lnTo>
                    <a:lnTo>
                      <a:pt x="170" y="46"/>
                    </a:lnTo>
                    <a:lnTo>
                      <a:pt x="170" y="48"/>
                    </a:lnTo>
                    <a:lnTo>
                      <a:pt x="170" y="50"/>
                    </a:lnTo>
                    <a:lnTo>
                      <a:pt x="170" y="51"/>
                    </a:lnTo>
                    <a:lnTo>
                      <a:pt x="170" y="53"/>
                    </a:lnTo>
                    <a:lnTo>
                      <a:pt x="171" y="53"/>
                    </a:lnTo>
                    <a:lnTo>
                      <a:pt x="171" y="55"/>
                    </a:lnTo>
                    <a:lnTo>
                      <a:pt x="171" y="56"/>
                    </a:lnTo>
                    <a:lnTo>
                      <a:pt x="173" y="56"/>
                    </a:lnTo>
                    <a:lnTo>
                      <a:pt x="173" y="58"/>
                    </a:lnTo>
                    <a:lnTo>
                      <a:pt x="175" y="58"/>
                    </a:lnTo>
                    <a:lnTo>
                      <a:pt x="176" y="58"/>
                    </a:lnTo>
                    <a:lnTo>
                      <a:pt x="178" y="58"/>
                    </a:lnTo>
                    <a:lnTo>
                      <a:pt x="178" y="60"/>
                    </a:lnTo>
                    <a:lnTo>
                      <a:pt x="180" y="60"/>
                    </a:lnTo>
                    <a:lnTo>
                      <a:pt x="180" y="58"/>
                    </a:lnTo>
                    <a:lnTo>
                      <a:pt x="180" y="60"/>
                    </a:lnTo>
                    <a:lnTo>
                      <a:pt x="180" y="58"/>
                    </a:lnTo>
                    <a:lnTo>
                      <a:pt x="181" y="60"/>
                    </a:lnTo>
                    <a:lnTo>
                      <a:pt x="183" y="60"/>
                    </a:lnTo>
                    <a:lnTo>
                      <a:pt x="185" y="60"/>
                    </a:lnTo>
                    <a:lnTo>
                      <a:pt x="187" y="58"/>
                    </a:lnTo>
                    <a:lnTo>
                      <a:pt x="187" y="60"/>
                    </a:lnTo>
                    <a:lnTo>
                      <a:pt x="187" y="58"/>
                    </a:lnTo>
                    <a:lnTo>
                      <a:pt x="188" y="58"/>
                    </a:lnTo>
                    <a:lnTo>
                      <a:pt x="190" y="58"/>
                    </a:lnTo>
                    <a:lnTo>
                      <a:pt x="192" y="58"/>
                    </a:lnTo>
                    <a:lnTo>
                      <a:pt x="193" y="58"/>
                    </a:lnTo>
                    <a:lnTo>
                      <a:pt x="195" y="58"/>
                    </a:lnTo>
                    <a:lnTo>
                      <a:pt x="197" y="58"/>
                    </a:lnTo>
                    <a:lnTo>
                      <a:pt x="197" y="56"/>
                    </a:lnTo>
                    <a:lnTo>
                      <a:pt x="198" y="56"/>
                    </a:lnTo>
                    <a:lnTo>
                      <a:pt x="200" y="56"/>
                    </a:lnTo>
                    <a:lnTo>
                      <a:pt x="202" y="56"/>
                    </a:lnTo>
                    <a:lnTo>
                      <a:pt x="204" y="56"/>
                    </a:lnTo>
                    <a:lnTo>
                      <a:pt x="205" y="56"/>
                    </a:lnTo>
                    <a:lnTo>
                      <a:pt x="207" y="56"/>
                    </a:lnTo>
                    <a:lnTo>
                      <a:pt x="209" y="56"/>
                    </a:lnTo>
                    <a:lnTo>
                      <a:pt x="210" y="55"/>
                    </a:lnTo>
                    <a:lnTo>
                      <a:pt x="212" y="55"/>
                    </a:lnTo>
                    <a:lnTo>
                      <a:pt x="214" y="55"/>
                    </a:lnTo>
                    <a:lnTo>
                      <a:pt x="215" y="55"/>
                    </a:lnTo>
                    <a:lnTo>
                      <a:pt x="217" y="55"/>
                    </a:lnTo>
                    <a:lnTo>
                      <a:pt x="219" y="55"/>
                    </a:lnTo>
                    <a:lnTo>
                      <a:pt x="221" y="55"/>
                    </a:lnTo>
                    <a:lnTo>
                      <a:pt x="222" y="55"/>
                    </a:lnTo>
                    <a:lnTo>
                      <a:pt x="224" y="55"/>
                    </a:lnTo>
                    <a:lnTo>
                      <a:pt x="226" y="55"/>
                    </a:lnTo>
                    <a:lnTo>
                      <a:pt x="227" y="55"/>
                    </a:lnTo>
                    <a:lnTo>
                      <a:pt x="227" y="53"/>
                    </a:lnTo>
                    <a:lnTo>
                      <a:pt x="229" y="55"/>
                    </a:lnTo>
                    <a:lnTo>
                      <a:pt x="229" y="53"/>
                    </a:lnTo>
                    <a:lnTo>
                      <a:pt x="231" y="53"/>
                    </a:lnTo>
                    <a:lnTo>
                      <a:pt x="232" y="53"/>
                    </a:lnTo>
                    <a:lnTo>
                      <a:pt x="232" y="55"/>
                    </a:lnTo>
                    <a:lnTo>
                      <a:pt x="234" y="53"/>
                    </a:lnTo>
                    <a:lnTo>
                      <a:pt x="234" y="55"/>
                    </a:lnTo>
                    <a:lnTo>
                      <a:pt x="236" y="55"/>
                    </a:lnTo>
                    <a:lnTo>
                      <a:pt x="238" y="53"/>
                    </a:lnTo>
                    <a:lnTo>
                      <a:pt x="239" y="53"/>
                    </a:lnTo>
                    <a:lnTo>
                      <a:pt x="241" y="55"/>
                    </a:lnTo>
                    <a:lnTo>
                      <a:pt x="243" y="55"/>
                    </a:lnTo>
                    <a:lnTo>
                      <a:pt x="244" y="55"/>
                    </a:lnTo>
                    <a:lnTo>
                      <a:pt x="244" y="56"/>
                    </a:lnTo>
                    <a:lnTo>
                      <a:pt x="244" y="55"/>
                    </a:lnTo>
                    <a:lnTo>
                      <a:pt x="246" y="56"/>
                    </a:lnTo>
                    <a:lnTo>
                      <a:pt x="244" y="56"/>
                    </a:lnTo>
                    <a:lnTo>
                      <a:pt x="243" y="56"/>
                    </a:lnTo>
                    <a:lnTo>
                      <a:pt x="244" y="56"/>
                    </a:lnTo>
                    <a:lnTo>
                      <a:pt x="243" y="58"/>
                    </a:lnTo>
                    <a:lnTo>
                      <a:pt x="244" y="58"/>
                    </a:lnTo>
                    <a:lnTo>
                      <a:pt x="244" y="60"/>
                    </a:lnTo>
                    <a:lnTo>
                      <a:pt x="246" y="60"/>
                    </a:lnTo>
                    <a:lnTo>
                      <a:pt x="246" y="61"/>
                    </a:lnTo>
                    <a:lnTo>
                      <a:pt x="248" y="61"/>
                    </a:lnTo>
                    <a:lnTo>
                      <a:pt x="248" y="63"/>
                    </a:lnTo>
                    <a:lnTo>
                      <a:pt x="249" y="63"/>
                    </a:lnTo>
                    <a:lnTo>
                      <a:pt x="251" y="65"/>
                    </a:lnTo>
                    <a:lnTo>
                      <a:pt x="253" y="65"/>
                    </a:lnTo>
                    <a:lnTo>
                      <a:pt x="255" y="67"/>
                    </a:lnTo>
                    <a:lnTo>
                      <a:pt x="256" y="67"/>
                    </a:lnTo>
                    <a:lnTo>
                      <a:pt x="258" y="68"/>
                    </a:lnTo>
                    <a:lnTo>
                      <a:pt x="260" y="68"/>
                    </a:lnTo>
                    <a:lnTo>
                      <a:pt x="263" y="70"/>
                    </a:lnTo>
                    <a:lnTo>
                      <a:pt x="265" y="70"/>
                    </a:lnTo>
                    <a:lnTo>
                      <a:pt x="266" y="70"/>
                    </a:lnTo>
                    <a:lnTo>
                      <a:pt x="268" y="72"/>
                    </a:lnTo>
                    <a:lnTo>
                      <a:pt x="270" y="72"/>
                    </a:lnTo>
                    <a:lnTo>
                      <a:pt x="272" y="72"/>
                    </a:lnTo>
                    <a:lnTo>
                      <a:pt x="273" y="72"/>
                    </a:lnTo>
                    <a:lnTo>
                      <a:pt x="275" y="72"/>
                    </a:lnTo>
                    <a:lnTo>
                      <a:pt x="277" y="73"/>
                    </a:lnTo>
                    <a:lnTo>
                      <a:pt x="278" y="73"/>
                    </a:lnTo>
                    <a:lnTo>
                      <a:pt x="280" y="73"/>
                    </a:lnTo>
                    <a:lnTo>
                      <a:pt x="282" y="73"/>
                    </a:lnTo>
                    <a:lnTo>
                      <a:pt x="282" y="72"/>
                    </a:lnTo>
                    <a:lnTo>
                      <a:pt x="283" y="72"/>
                    </a:lnTo>
                    <a:lnTo>
                      <a:pt x="285" y="72"/>
                    </a:lnTo>
                    <a:lnTo>
                      <a:pt x="287" y="72"/>
                    </a:lnTo>
                    <a:lnTo>
                      <a:pt x="289" y="72"/>
                    </a:lnTo>
                    <a:lnTo>
                      <a:pt x="290" y="72"/>
                    </a:lnTo>
                    <a:lnTo>
                      <a:pt x="290" y="70"/>
                    </a:lnTo>
                    <a:lnTo>
                      <a:pt x="292" y="68"/>
                    </a:lnTo>
                    <a:lnTo>
                      <a:pt x="290" y="68"/>
                    </a:lnTo>
                    <a:lnTo>
                      <a:pt x="292" y="68"/>
                    </a:lnTo>
                    <a:lnTo>
                      <a:pt x="294" y="68"/>
                    </a:lnTo>
                    <a:lnTo>
                      <a:pt x="294" y="67"/>
                    </a:lnTo>
                    <a:lnTo>
                      <a:pt x="295" y="67"/>
                    </a:lnTo>
                    <a:lnTo>
                      <a:pt x="297" y="67"/>
                    </a:lnTo>
                    <a:lnTo>
                      <a:pt x="299" y="67"/>
                    </a:lnTo>
                    <a:lnTo>
                      <a:pt x="300" y="67"/>
                    </a:lnTo>
                    <a:lnTo>
                      <a:pt x="300" y="65"/>
                    </a:lnTo>
                    <a:lnTo>
                      <a:pt x="302" y="65"/>
                    </a:lnTo>
                    <a:lnTo>
                      <a:pt x="300" y="65"/>
                    </a:lnTo>
                    <a:lnTo>
                      <a:pt x="299" y="65"/>
                    </a:lnTo>
                    <a:lnTo>
                      <a:pt x="300" y="65"/>
                    </a:lnTo>
                    <a:lnTo>
                      <a:pt x="300" y="63"/>
                    </a:lnTo>
                    <a:lnTo>
                      <a:pt x="302" y="63"/>
                    </a:lnTo>
                    <a:lnTo>
                      <a:pt x="302" y="61"/>
                    </a:lnTo>
                    <a:lnTo>
                      <a:pt x="304" y="61"/>
                    </a:lnTo>
                    <a:lnTo>
                      <a:pt x="304" y="63"/>
                    </a:lnTo>
                    <a:lnTo>
                      <a:pt x="302" y="63"/>
                    </a:lnTo>
                    <a:lnTo>
                      <a:pt x="304" y="63"/>
                    </a:lnTo>
                    <a:lnTo>
                      <a:pt x="304" y="61"/>
                    </a:lnTo>
                    <a:lnTo>
                      <a:pt x="306" y="61"/>
                    </a:lnTo>
                    <a:lnTo>
                      <a:pt x="307" y="61"/>
                    </a:lnTo>
                    <a:lnTo>
                      <a:pt x="309" y="60"/>
                    </a:lnTo>
                    <a:lnTo>
                      <a:pt x="309" y="58"/>
                    </a:lnTo>
                    <a:lnTo>
                      <a:pt x="309" y="60"/>
                    </a:lnTo>
                    <a:lnTo>
                      <a:pt x="311" y="60"/>
                    </a:lnTo>
                    <a:lnTo>
                      <a:pt x="312" y="60"/>
                    </a:lnTo>
                    <a:lnTo>
                      <a:pt x="314" y="60"/>
                    </a:lnTo>
                    <a:lnTo>
                      <a:pt x="316" y="60"/>
                    </a:lnTo>
                    <a:lnTo>
                      <a:pt x="317" y="60"/>
                    </a:lnTo>
                    <a:lnTo>
                      <a:pt x="319" y="60"/>
                    </a:lnTo>
                    <a:lnTo>
                      <a:pt x="321" y="60"/>
                    </a:lnTo>
                    <a:lnTo>
                      <a:pt x="323" y="60"/>
                    </a:lnTo>
                    <a:lnTo>
                      <a:pt x="324" y="60"/>
                    </a:lnTo>
                    <a:lnTo>
                      <a:pt x="326" y="60"/>
                    </a:lnTo>
                    <a:lnTo>
                      <a:pt x="326" y="58"/>
                    </a:lnTo>
                    <a:lnTo>
                      <a:pt x="324" y="58"/>
                    </a:lnTo>
                    <a:lnTo>
                      <a:pt x="323" y="58"/>
                    </a:lnTo>
                    <a:lnTo>
                      <a:pt x="321" y="56"/>
                    </a:lnTo>
                    <a:lnTo>
                      <a:pt x="319" y="56"/>
                    </a:lnTo>
                    <a:lnTo>
                      <a:pt x="317" y="56"/>
                    </a:lnTo>
                    <a:lnTo>
                      <a:pt x="316" y="56"/>
                    </a:lnTo>
                    <a:lnTo>
                      <a:pt x="316" y="55"/>
                    </a:lnTo>
                    <a:lnTo>
                      <a:pt x="316" y="56"/>
                    </a:lnTo>
                    <a:lnTo>
                      <a:pt x="314" y="55"/>
                    </a:lnTo>
                    <a:lnTo>
                      <a:pt x="314" y="56"/>
                    </a:lnTo>
                    <a:lnTo>
                      <a:pt x="314" y="55"/>
                    </a:lnTo>
                    <a:lnTo>
                      <a:pt x="314" y="56"/>
                    </a:lnTo>
                    <a:lnTo>
                      <a:pt x="312" y="55"/>
                    </a:lnTo>
                    <a:lnTo>
                      <a:pt x="314" y="55"/>
                    </a:lnTo>
                    <a:lnTo>
                      <a:pt x="312" y="55"/>
                    </a:lnTo>
                    <a:lnTo>
                      <a:pt x="312" y="56"/>
                    </a:lnTo>
                    <a:lnTo>
                      <a:pt x="311" y="56"/>
                    </a:lnTo>
                    <a:lnTo>
                      <a:pt x="311" y="55"/>
                    </a:lnTo>
                    <a:lnTo>
                      <a:pt x="309" y="56"/>
                    </a:lnTo>
                    <a:lnTo>
                      <a:pt x="307" y="56"/>
                    </a:lnTo>
                    <a:lnTo>
                      <a:pt x="307" y="58"/>
                    </a:lnTo>
                    <a:lnTo>
                      <a:pt x="306" y="56"/>
                    </a:lnTo>
                    <a:lnTo>
                      <a:pt x="306" y="55"/>
                    </a:lnTo>
                    <a:lnTo>
                      <a:pt x="306" y="53"/>
                    </a:lnTo>
                    <a:lnTo>
                      <a:pt x="307" y="53"/>
                    </a:lnTo>
                    <a:lnTo>
                      <a:pt x="309" y="53"/>
                    </a:lnTo>
                    <a:lnTo>
                      <a:pt x="309" y="55"/>
                    </a:lnTo>
                    <a:lnTo>
                      <a:pt x="309" y="53"/>
                    </a:lnTo>
                    <a:lnTo>
                      <a:pt x="309" y="55"/>
                    </a:lnTo>
                    <a:lnTo>
                      <a:pt x="311" y="55"/>
                    </a:lnTo>
                    <a:lnTo>
                      <a:pt x="311" y="53"/>
                    </a:lnTo>
                    <a:lnTo>
                      <a:pt x="312" y="53"/>
                    </a:lnTo>
                    <a:lnTo>
                      <a:pt x="314" y="53"/>
                    </a:lnTo>
                    <a:lnTo>
                      <a:pt x="316" y="53"/>
                    </a:lnTo>
                    <a:lnTo>
                      <a:pt x="317" y="55"/>
                    </a:lnTo>
                    <a:lnTo>
                      <a:pt x="317" y="53"/>
                    </a:lnTo>
                    <a:lnTo>
                      <a:pt x="319" y="53"/>
                    </a:lnTo>
                    <a:lnTo>
                      <a:pt x="321" y="53"/>
                    </a:lnTo>
                    <a:lnTo>
                      <a:pt x="323" y="53"/>
                    </a:lnTo>
                    <a:lnTo>
                      <a:pt x="321" y="51"/>
                    </a:lnTo>
                    <a:lnTo>
                      <a:pt x="321" y="53"/>
                    </a:lnTo>
                    <a:lnTo>
                      <a:pt x="321" y="51"/>
                    </a:lnTo>
                    <a:lnTo>
                      <a:pt x="323" y="51"/>
                    </a:lnTo>
                    <a:lnTo>
                      <a:pt x="323" y="53"/>
                    </a:lnTo>
                    <a:lnTo>
                      <a:pt x="324" y="53"/>
                    </a:lnTo>
                    <a:lnTo>
                      <a:pt x="326" y="53"/>
                    </a:lnTo>
                    <a:lnTo>
                      <a:pt x="328" y="53"/>
                    </a:lnTo>
                    <a:lnTo>
                      <a:pt x="329" y="53"/>
                    </a:lnTo>
                    <a:lnTo>
                      <a:pt x="331" y="55"/>
                    </a:lnTo>
                    <a:lnTo>
                      <a:pt x="331" y="53"/>
                    </a:lnTo>
                    <a:lnTo>
                      <a:pt x="333" y="53"/>
                    </a:lnTo>
                    <a:lnTo>
                      <a:pt x="334" y="53"/>
                    </a:lnTo>
                    <a:lnTo>
                      <a:pt x="334" y="51"/>
                    </a:lnTo>
                    <a:lnTo>
                      <a:pt x="336" y="51"/>
                    </a:lnTo>
                    <a:lnTo>
                      <a:pt x="336" y="53"/>
                    </a:lnTo>
                    <a:lnTo>
                      <a:pt x="338" y="53"/>
                    </a:lnTo>
                    <a:lnTo>
                      <a:pt x="338" y="51"/>
                    </a:lnTo>
                    <a:lnTo>
                      <a:pt x="338" y="53"/>
                    </a:lnTo>
                    <a:lnTo>
                      <a:pt x="340" y="53"/>
                    </a:lnTo>
                    <a:lnTo>
                      <a:pt x="341" y="53"/>
                    </a:lnTo>
                    <a:lnTo>
                      <a:pt x="341" y="51"/>
                    </a:lnTo>
                    <a:lnTo>
                      <a:pt x="343" y="51"/>
                    </a:lnTo>
                    <a:lnTo>
                      <a:pt x="345" y="51"/>
                    </a:lnTo>
                    <a:lnTo>
                      <a:pt x="346" y="51"/>
                    </a:lnTo>
                    <a:lnTo>
                      <a:pt x="348" y="51"/>
                    </a:lnTo>
                    <a:lnTo>
                      <a:pt x="350" y="51"/>
                    </a:lnTo>
                    <a:lnTo>
                      <a:pt x="351" y="51"/>
                    </a:lnTo>
                    <a:lnTo>
                      <a:pt x="353" y="51"/>
                    </a:lnTo>
                    <a:lnTo>
                      <a:pt x="355" y="51"/>
                    </a:lnTo>
                    <a:lnTo>
                      <a:pt x="355" y="50"/>
                    </a:lnTo>
                    <a:lnTo>
                      <a:pt x="357" y="50"/>
                    </a:lnTo>
                    <a:lnTo>
                      <a:pt x="358" y="50"/>
                    </a:lnTo>
                    <a:lnTo>
                      <a:pt x="360" y="50"/>
                    </a:lnTo>
                    <a:lnTo>
                      <a:pt x="362" y="50"/>
                    </a:lnTo>
                    <a:lnTo>
                      <a:pt x="363" y="50"/>
                    </a:lnTo>
                    <a:lnTo>
                      <a:pt x="365" y="50"/>
                    </a:lnTo>
                    <a:lnTo>
                      <a:pt x="367" y="51"/>
                    </a:lnTo>
                    <a:lnTo>
                      <a:pt x="368" y="51"/>
                    </a:lnTo>
                    <a:lnTo>
                      <a:pt x="370" y="51"/>
                    </a:lnTo>
                    <a:lnTo>
                      <a:pt x="372" y="51"/>
                    </a:lnTo>
                    <a:lnTo>
                      <a:pt x="374" y="51"/>
                    </a:lnTo>
                    <a:lnTo>
                      <a:pt x="375" y="51"/>
                    </a:lnTo>
                    <a:lnTo>
                      <a:pt x="377" y="51"/>
                    </a:lnTo>
                    <a:lnTo>
                      <a:pt x="379" y="51"/>
                    </a:lnTo>
                    <a:lnTo>
                      <a:pt x="380" y="51"/>
                    </a:lnTo>
                    <a:lnTo>
                      <a:pt x="382" y="51"/>
                    </a:lnTo>
                    <a:lnTo>
                      <a:pt x="384" y="51"/>
                    </a:lnTo>
                    <a:lnTo>
                      <a:pt x="385" y="51"/>
                    </a:lnTo>
                    <a:lnTo>
                      <a:pt x="385" y="50"/>
                    </a:lnTo>
                    <a:lnTo>
                      <a:pt x="387" y="50"/>
                    </a:lnTo>
                    <a:lnTo>
                      <a:pt x="387" y="51"/>
                    </a:lnTo>
                    <a:lnTo>
                      <a:pt x="385" y="51"/>
                    </a:lnTo>
                    <a:lnTo>
                      <a:pt x="385" y="53"/>
                    </a:lnTo>
                    <a:lnTo>
                      <a:pt x="385" y="51"/>
                    </a:lnTo>
                    <a:lnTo>
                      <a:pt x="385" y="53"/>
                    </a:lnTo>
                    <a:lnTo>
                      <a:pt x="384" y="53"/>
                    </a:lnTo>
                    <a:lnTo>
                      <a:pt x="382" y="53"/>
                    </a:lnTo>
                    <a:lnTo>
                      <a:pt x="380" y="53"/>
                    </a:lnTo>
                    <a:lnTo>
                      <a:pt x="379" y="53"/>
                    </a:lnTo>
                    <a:lnTo>
                      <a:pt x="377" y="53"/>
                    </a:lnTo>
                    <a:lnTo>
                      <a:pt x="375" y="53"/>
                    </a:lnTo>
                    <a:lnTo>
                      <a:pt x="374" y="53"/>
                    </a:lnTo>
                    <a:lnTo>
                      <a:pt x="374" y="55"/>
                    </a:lnTo>
                    <a:lnTo>
                      <a:pt x="372" y="55"/>
                    </a:lnTo>
                    <a:lnTo>
                      <a:pt x="372" y="56"/>
                    </a:lnTo>
                    <a:lnTo>
                      <a:pt x="370" y="56"/>
                    </a:lnTo>
                    <a:lnTo>
                      <a:pt x="368" y="56"/>
                    </a:lnTo>
                    <a:lnTo>
                      <a:pt x="367" y="56"/>
                    </a:lnTo>
                    <a:lnTo>
                      <a:pt x="365" y="56"/>
                    </a:lnTo>
                    <a:lnTo>
                      <a:pt x="363" y="56"/>
                    </a:lnTo>
                    <a:lnTo>
                      <a:pt x="362" y="56"/>
                    </a:lnTo>
                    <a:lnTo>
                      <a:pt x="360" y="56"/>
                    </a:lnTo>
                    <a:lnTo>
                      <a:pt x="358" y="56"/>
                    </a:lnTo>
                    <a:lnTo>
                      <a:pt x="357" y="56"/>
                    </a:lnTo>
                    <a:lnTo>
                      <a:pt x="355" y="56"/>
                    </a:lnTo>
                    <a:lnTo>
                      <a:pt x="353" y="58"/>
                    </a:lnTo>
                    <a:lnTo>
                      <a:pt x="355" y="58"/>
                    </a:lnTo>
                    <a:lnTo>
                      <a:pt x="357" y="58"/>
                    </a:lnTo>
                    <a:lnTo>
                      <a:pt x="357" y="60"/>
                    </a:lnTo>
                    <a:lnTo>
                      <a:pt x="358" y="60"/>
                    </a:lnTo>
                    <a:lnTo>
                      <a:pt x="358" y="61"/>
                    </a:lnTo>
                    <a:lnTo>
                      <a:pt x="360" y="63"/>
                    </a:lnTo>
                    <a:lnTo>
                      <a:pt x="360" y="65"/>
                    </a:lnTo>
                    <a:lnTo>
                      <a:pt x="360" y="67"/>
                    </a:lnTo>
                    <a:lnTo>
                      <a:pt x="360" y="68"/>
                    </a:lnTo>
                    <a:lnTo>
                      <a:pt x="360" y="70"/>
                    </a:lnTo>
                    <a:lnTo>
                      <a:pt x="362" y="70"/>
                    </a:lnTo>
                    <a:lnTo>
                      <a:pt x="362" y="68"/>
                    </a:lnTo>
                    <a:lnTo>
                      <a:pt x="362" y="67"/>
                    </a:lnTo>
                    <a:lnTo>
                      <a:pt x="363" y="68"/>
                    </a:lnTo>
                    <a:lnTo>
                      <a:pt x="365" y="68"/>
                    </a:lnTo>
                    <a:lnTo>
                      <a:pt x="365" y="70"/>
                    </a:lnTo>
                    <a:lnTo>
                      <a:pt x="367" y="70"/>
                    </a:lnTo>
                    <a:lnTo>
                      <a:pt x="367" y="72"/>
                    </a:lnTo>
                    <a:lnTo>
                      <a:pt x="367" y="73"/>
                    </a:lnTo>
                    <a:lnTo>
                      <a:pt x="367" y="75"/>
                    </a:lnTo>
                    <a:lnTo>
                      <a:pt x="368" y="75"/>
                    </a:lnTo>
                    <a:lnTo>
                      <a:pt x="368" y="77"/>
                    </a:lnTo>
                    <a:lnTo>
                      <a:pt x="367" y="77"/>
                    </a:lnTo>
                    <a:lnTo>
                      <a:pt x="368" y="78"/>
                    </a:lnTo>
                    <a:lnTo>
                      <a:pt x="370" y="78"/>
                    </a:lnTo>
                    <a:lnTo>
                      <a:pt x="370" y="80"/>
                    </a:lnTo>
                    <a:lnTo>
                      <a:pt x="370" y="78"/>
                    </a:lnTo>
                    <a:lnTo>
                      <a:pt x="372" y="78"/>
                    </a:lnTo>
                    <a:lnTo>
                      <a:pt x="370" y="77"/>
                    </a:lnTo>
                    <a:lnTo>
                      <a:pt x="372" y="77"/>
                    </a:lnTo>
                    <a:lnTo>
                      <a:pt x="374" y="77"/>
                    </a:lnTo>
                    <a:lnTo>
                      <a:pt x="375" y="75"/>
                    </a:lnTo>
                    <a:lnTo>
                      <a:pt x="377" y="75"/>
                    </a:lnTo>
                    <a:lnTo>
                      <a:pt x="379" y="75"/>
                    </a:lnTo>
                    <a:lnTo>
                      <a:pt x="380" y="77"/>
                    </a:lnTo>
                    <a:lnTo>
                      <a:pt x="382" y="77"/>
                    </a:lnTo>
                    <a:lnTo>
                      <a:pt x="382" y="78"/>
                    </a:lnTo>
                    <a:lnTo>
                      <a:pt x="384" y="78"/>
                    </a:lnTo>
                    <a:lnTo>
                      <a:pt x="385" y="80"/>
                    </a:lnTo>
                    <a:lnTo>
                      <a:pt x="385" y="82"/>
                    </a:lnTo>
                    <a:lnTo>
                      <a:pt x="387" y="82"/>
                    </a:lnTo>
                    <a:lnTo>
                      <a:pt x="389" y="82"/>
                    </a:lnTo>
                    <a:lnTo>
                      <a:pt x="391" y="82"/>
                    </a:lnTo>
                    <a:lnTo>
                      <a:pt x="392" y="82"/>
                    </a:lnTo>
                    <a:lnTo>
                      <a:pt x="394" y="82"/>
                    </a:lnTo>
                    <a:lnTo>
                      <a:pt x="396" y="82"/>
                    </a:lnTo>
                    <a:lnTo>
                      <a:pt x="394" y="82"/>
                    </a:lnTo>
                    <a:lnTo>
                      <a:pt x="396" y="82"/>
                    </a:lnTo>
                    <a:lnTo>
                      <a:pt x="396" y="80"/>
                    </a:lnTo>
                    <a:lnTo>
                      <a:pt x="394" y="80"/>
                    </a:lnTo>
                    <a:lnTo>
                      <a:pt x="396" y="80"/>
                    </a:lnTo>
                    <a:lnTo>
                      <a:pt x="394" y="80"/>
                    </a:lnTo>
                    <a:lnTo>
                      <a:pt x="394" y="78"/>
                    </a:lnTo>
                    <a:lnTo>
                      <a:pt x="396" y="80"/>
                    </a:lnTo>
                    <a:lnTo>
                      <a:pt x="397" y="80"/>
                    </a:lnTo>
                    <a:lnTo>
                      <a:pt x="399" y="82"/>
                    </a:lnTo>
                    <a:lnTo>
                      <a:pt x="401" y="82"/>
                    </a:lnTo>
                    <a:lnTo>
                      <a:pt x="401" y="84"/>
                    </a:lnTo>
                    <a:lnTo>
                      <a:pt x="401" y="82"/>
                    </a:lnTo>
                    <a:lnTo>
                      <a:pt x="399" y="82"/>
                    </a:lnTo>
                    <a:lnTo>
                      <a:pt x="399" y="80"/>
                    </a:lnTo>
                    <a:lnTo>
                      <a:pt x="399" y="82"/>
                    </a:lnTo>
                    <a:lnTo>
                      <a:pt x="401" y="82"/>
                    </a:lnTo>
                    <a:lnTo>
                      <a:pt x="402" y="82"/>
                    </a:lnTo>
                    <a:lnTo>
                      <a:pt x="402" y="84"/>
                    </a:lnTo>
                    <a:lnTo>
                      <a:pt x="404" y="84"/>
                    </a:lnTo>
                    <a:lnTo>
                      <a:pt x="404" y="85"/>
                    </a:lnTo>
                    <a:lnTo>
                      <a:pt x="406" y="85"/>
                    </a:lnTo>
                    <a:lnTo>
                      <a:pt x="406" y="87"/>
                    </a:lnTo>
                    <a:lnTo>
                      <a:pt x="408" y="87"/>
                    </a:lnTo>
                    <a:lnTo>
                      <a:pt x="408" y="89"/>
                    </a:lnTo>
                    <a:lnTo>
                      <a:pt x="409" y="89"/>
                    </a:lnTo>
                    <a:lnTo>
                      <a:pt x="411" y="90"/>
                    </a:lnTo>
                    <a:lnTo>
                      <a:pt x="413" y="90"/>
                    </a:lnTo>
                    <a:lnTo>
                      <a:pt x="414" y="90"/>
                    </a:lnTo>
                    <a:lnTo>
                      <a:pt x="416" y="90"/>
                    </a:lnTo>
                    <a:lnTo>
                      <a:pt x="416" y="92"/>
                    </a:lnTo>
                    <a:lnTo>
                      <a:pt x="418" y="92"/>
                    </a:lnTo>
                    <a:lnTo>
                      <a:pt x="419" y="94"/>
                    </a:lnTo>
                    <a:lnTo>
                      <a:pt x="421" y="94"/>
                    </a:lnTo>
                    <a:lnTo>
                      <a:pt x="421" y="96"/>
                    </a:lnTo>
                    <a:lnTo>
                      <a:pt x="423" y="96"/>
                    </a:lnTo>
                    <a:lnTo>
                      <a:pt x="423" y="97"/>
                    </a:lnTo>
                    <a:lnTo>
                      <a:pt x="423" y="99"/>
                    </a:lnTo>
                    <a:lnTo>
                      <a:pt x="423" y="101"/>
                    </a:lnTo>
                    <a:lnTo>
                      <a:pt x="421" y="101"/>
                    </a:lnTo>
                    <a:lnTo>
                      <a:pt x="419" y="101"/>
                    </a:lnTo>
                    <a:lnTo>
                      <a:pt x="419" y="102"/>
                    </a:lnTo>
                    <a:lnTo>
                      <a:pt x="418" y="102"/>
                    </a:lnTo>
                    <a:lnTo>
                      <a:pt x="418" y="104"/>
                    </a:lnTo>
                    <a:lnTo>
                      <a:pt x="419" y="104"/>
                    </a:lnTo>
                    <a:lnTo>
                      <a:pt x="419" y="102"/>
                    </a:lnTo>
                    <a:lnTo>
                      <a:pt x="421" y="102"/>
                    </a:lnTo>
                    <a:lnTo>
                      <a:pt x="423" y="102"/>
                    </a:lnTo>
                    <a:lnTo>
                      <a:pt x="425" y="102"/>
                    </a:lnTo>
                    <a:lnTo>
                      <a:pt x="425" y="104"/>
                    </a:lnTo>
                    <a:lnTo>
                      <a:pt x="423" y="104"/>
                    </a:lnTo>
                    <a:lnTo>
                      <a:pt x="425" y="104"/>
                    </a:lnTo>
                    <a:lnTo>
                      <a:pt x="425" y="106"/>
                    </a:lnTo>
                    <a:lnTo>
                      <a:pt x="423" y="106"/>
                    </a:lnTo>
                    <a:lnTo>
                      <a:pt x="423" y="107"/>
                    </a:lnTo>
                    <a:lnTo>
                      <a:pt x="425" y="107"/>
                    </a:lnTo>
                    <a:lnTo>
                      <a:pt x="423" y="107"/>
                    </a:lnTo>
                    <a:lnTo>
                      <a:pt x="423" y="109"/>
                    </a:lnTo>
                    <a:lnTo>
                      <a:pt x="423" y="111"/>
                    </a:lnTo>
                    <a:lnTo>
                      <a:pt x="421" y="111"/>
                    </a:lnTo>
                    <a:lnTo>
                      <a:pt x="421" y="109"/>
                    </a:lnTo>
                    <a:lnTo>
                      <a:pt x="421" y="111"/>
                    </a:lnTo>
                    <a:lnTo>
                      <a:pt x="423" y="111"/>
                    </a:lnTo>
                    <a:lnTo>
                      <a:pt x="425" y="111"/>
                    </a:lnTo>
                    <a:lnTo>
                      <a:pt x="423" y="111"/>
                    </a:lnTo>
                    <a:lnTo>
                      <a:pt x="423" y="113"/>
                    </a:lnTo>
                    <a:lnTo>
                      <a:pt x="421" y="113"/>
                    </a:lnTo>
                    <a:lnTo>
                      <a:pt x="421" y="114"/>
                    </a:lnTo>
                    <a:lnTo>
                      <a:pt x="423" y="114"/>
                    </a:lnTo>
                    <a:lnTo>
                      <a:pt x="425" y="114"/>
                    </a:lnTo>
                    <a:lnTo>
                      <a:pt x="423" y="114"/>
                    </a:lnTo>
                    <a:lnTo>
                      <a:pt x="423" y="116"/>
                    </a:lnTo>
                    <a:lnTo>
                      <a:pt x="425" y="116"/>
                    </a:lnTo>
                    <a:lnTo>
                      <a:pt x="426" y="116"/>
                    </a:lnTo>
                    <a:lnTo>
                      <a:pt x="426" y="118"/>
                    </a:lnTo>
                    <a:lnTo>
                      <a:pt x="425" y="118"/>
                    </a:lnTo>
                    <a:lnTo>
                      <a:pt x="425" y="119"/>
                    </a:lnTo>
                    <a:lnTo>
                      <a:pt x="423" y="119"/>
                    </a:lnTo>
                    <a:lnTo>
                      <a:pt x="423" y="121"/>
                    </a:lnTo>
                    <a:lnTo>
                      <a:pt x="421" y="121"/>
                    </a:lnTo>
                    <a:lnTo>
                      <a:pt x="419" y="121"/>
                    </a:lnTo>
                    <a:lnTo>
                      <a:pt x="419" y="123"/>
                    </a:lnTo>
                    <a:lnTo>
                      <a:pt x="418" y="123"/>
                    </a:lnTo>
                    <a:lnTo>
                      <a:pt x="416" y="123"/>
                    </a:lnTo>
                    <a:lnTo>
                      <a:pt x="416" y="124"/>
                    </a:lnTo>
                    <a:lnTo>
                      <a:pt x="414" y="126"/>
                    </a:lnTo>
                    <a:lnTo>
                      <a:pt x="416" y="126"/>
                    </a:lnTo>
                    <a:lnTo>
                      <a:pt x="416" y="124"/>
                    </a:lnTo>
                    <a:lnTo>
                      <a:pt x="418" y="124"/>
                    </a:lnTo>
                    <a:lnTo>
                      <a:pt x="419" y="123"/>
                    </a:lnTo>
                    <a:lnTo>
                      <a:pt x="421" y="124"/>
                    </a:lnTo>
                    <a:lnTo>
                      <a:pt x="423" y="124"/>
                    </a:lnTo>
                    <a:lnTo>
                      <a:pt x="425" y="123"/>
                    </a:lnTo>
                    <a:lnTo>
                      <a:pt x="426" y="123"/>
                    </a:lnTo>
                    <a:lnTo>
                      <a:pt x="426" y="124"/>
                    </a:lnTo>
                    <a:lnTo>
                      <a:pt x="428" y="124"/>
                    </a:lnTo>
                    <a:lnTo>
                      <a:pt x="430" y="124"/>
                    </a:lnTo>
                    <a:lnTo>
                      <a:pt x="430" y="126"/>
                    </a:lnTo>
                    <a:lnTo>
                      <a:pt x="431" y="126"/>
                    </a:lnTo>
                    <a:lnTo>
                      <a:pt x="433" y="126"/>
                    </a:lnTo>
                    <a:lnTo>
                      <a:pt x="435" y="126"/>
                    </a:lnTo>
                    <a:lnTo>
                      <a:pt x="435" y="124"/>
                    </a:lnTo>
                    <a:lnTo>
                      <a:pt x="436" y="124"/>
                    </a:lnTo>
                    <a:lnTo>
                      <a:pt x="435" y="123"/>
                    </a:lnTo>
                    <a:lnTo>
                      <a:pt x="436" y="123"/>
                    </a:lnTo>
                    <a:lnTo>
                      <a:pt x="438" y="123"/>
                    </a:lnTo>
                    <a:lnTo>
                      <a:pt x="440" y="123"/>
                    </a:lnTo>
                    <a:lnTo>
                      <a:pt x="442" y="123"/>
                    </a:lnTo>
                    <a:lnTo>
                      <a:pt x="443" y="123"/>
                    </a:lnTo>
                    <a:lnTo>
                      <a:pt x="445" y="123"/>
                    </a:lnTo>
                    <a:lnTo>
                      <a:pt x="447" y="123"/>
                    </a:lnTo>
                    <a:lnTo>
                      <a:pt x="447" y="124"/>
                    </a:lnTo>
                    <a:lnTo>
                      <a:pt x="448" y="124"/>
                    </a:lnTo>
                    <a:lnTo>
                      <a:pt x="450" y="124"/>
                    </a:lnTo>
                    <a:lnTo>
                      <a:pt x="450" y="126"/>
                    </a:lnTo>
                    <a:close/>
                    <a:moveTo>
                      <a:pt x="321" y="38"/>
                    </a:moveTo>
                    <a:lnTo>
                      <a:pt x="321" y="39"/>
                    </a:lnTo>
                    <a:lnTo>
                      <a:pt x="321" y="41"/>
                    </a:lnTo>
                    <a:lnTo>
                      <a:pt x="323" y="41"/>
                    </a:lnTo>
                    <a:lnTo>
                      <a:pt x="321" y="41"/>
                    </a:lnTo>
                    <a:lnTo>
                      <a:pt x="321" y="43"/>
                    </a:lnTo>
                    <a:lnTo>
                      <a:pt x="319" y="43"/>
                    </a:lnTo>
                    <a:lnTo>
                      <a:pt x="319" y="44"/>
                    </a:lnTo>
                    <a:lnTo>
                      <a:pt x="317" y="44"/>
                    </a:lnTo>
                    <a:lnTo>
                      <a:pt x="316" y="43"/>
                    </a:lnTo>
                    <a:lnTo>
                      <a:pt x="317" y="44"/>
                    </a:lnTo>
                    <a:lnTo>
                      <a:pt x="316" y="44"/>
                    </a:lnTo>
                    <a:lnTo>
                      <a:pt x="317" y="44"/>
                    </a:lnTo>
                    <a:lnTo>
                      <a:pt x="316" y="44"/>
                    </a:lnTo>
                    <a:lnTo>
                      <a:pt x="314" y="44"/>
                    </a:lnTo>
                    <a:lnTo>
                      <a:pt x="314" y="46"/>
                    </a:lnTo>
                    <a:lnTo>
                      <a:pt x="312" y="46"/>
                    </a:lnTo>
                    <a:lnTo>
                      <a:pt x="312" y="44"/>
                    </a:lnTo>
                    <a:lnTo>
                      <a:pt x="311" y="44"/>
                    </a:lnTo>
                    <a:lnTo>
                      <a:pt x="311" y="43"/>
                    </a:lnTo>
                    <a:lnTo>
                      <a:pt x="311" y="44"/>
                    </a:lnTo>
                    <a:lnTo>
                      <a:pt x="311" y="43"/>
                    </a:lnTo>
                    <a:lnTo>
                      <a:pt x="309" y="43"/>
                    </a:lnTo>
                    <a:lnTo>
                      <a:pt x="309" y="41"/>
                    </a:lnTo>
                    <a:lnTo>
                      <a:pt x="311" y="41"/>
                    </a:lnTo>
                    <a:lnTo>
                      <a:pt x="311" y="43"/>
                    </a:lnTo>
                    <a:lnTo>
                      <a:pt x="311" y="41"/>
                    </a:lnTo>
                    <a:lnTo>
                      <a:pt x="311" y="43"/>
                    </a:lnTo>
                    <a:lnTo>
                      <a:pt x="312" y="41"/>
                    </a:lnTo>
                    <a:lnTo>
                      <a:pt x="314" y="43"/>
                    </a:lnTo>
                    <a:lnTo>
                      <a:pt x="314" y="41"/>
                    </a:lnTo>
                    <a:lnTo>
                      <a:pt x="312" y="41"/>
                    </a:lnTo>
                    <a:lnTo>
                      <a:pt x="311" y="41"/>
                    </a:lnTo>
                    <a:lnTo>
                      <a:pt x="309" y="41"/>
                    </a:lnTo>
                    <a:lnTo>
                      <a:pt x="309" y="43"/>
                    </a:lnTo>
                    <a:lnTo>
                      <a:pt x="307" y="43"/>
                    </a:lnTo>
                    <a:lnTo>
                      <a:pt x="306" y="43"/>
                    </a:lnTo>
                    <a:lnTo>
                      <a:pt x="304" y="43"/>
                    </a:lnTo>
                    <a:lnTo>
                      <a:pt x="302" y="43"/>
                    </a:lnTo>
                    <a:lnTo>
                      <a:pt x="300" y="43"/>
                    </a:lnTo>
                    <a:lnTo>
                      <a:pt x="300" y="41"/>
                    </a:lnTo>
                    <a:lnTo>
                      <a:pt x="302" y="41"/>
                    </a:lnTo>
                    <a:lnTo>
                      <a:pt x="302" y="39"/>
                    </a:lnTo>
                    <a:lnTo>
                      <a:pt x="304" y="39"/>
                    </a:lnTo>
                    <a:lnTo>
                      <a:pt x="306" y="39"/>
                    </a:lnTo>
                    <a:lnTo>
                      <a:pt x="307" y="38"/>
                    </a:lnTo>
                    <a:lnTo>
                      <a:pt x="309" y="38"/>
                    </a:lnTo>
                    <a:lnTo>
                      <a:pt x="309" y="39"/>
                    </a:lnTo>
                    <a:lnTo>
                      <a:pt x="307" y="39"/>
                    </a:lnTo>
                    <a:lnTo>
                      <a:pt x="309" y="39"/>
                    </a:lnTo>
                    <a:lnTo>
                      <a:pt x="309" y="41"/>
                    </a:lnTo>
                    <a:lnTo>
                      <a:pt x="311" y="41"/>
                    </a:lnTo>
                    <a:lnTo>
                      <a:pt x="312" y="41"/>
                    </a:lnTo>
                    <a:lnTo>
                      <a:pt x="314" y="41"/>
                    </a:lnTo>
                    <a:lnTo>
                      <a:pt x="314" y="39"/>
                    </a:lnTo>
                    <a:lnTo>
                      <a:pt x="316" y="39"/>
                    </a:lnTo>
                    <a:lnTo>
                      <a:pt x="316" y="38"/>
                    </a:lnTo>
                    <a:lnTo>
                      <a:pt x="317" y="38"/>
                    </a:lnTo>
                    <a:lnTo>
                      <a:pt x="317" y="36"/>
                    </a:lnTo>
                    <a:lnTo>
                      <a:pt x="319" y="36"/>
                    </a:lnTo>
                    <a:lnTo>
                      <a:pt x="319" y="34"/>
                    </a:lnTo>
                    <a:lnTo>
                      <a:pt x="319" y="36"/>
                    </a:lnTo>
                    <a:lnTo>
                      <a:pt x="321" y="36"/>
                    </a:lnTo>
                    <a:lnTo>
                      <a:pt x="321" y="38"/>
                    </a:lnTo>
                    <a:close/>
                    <a:moveTo>
                      <a:pt x="272" y="43"/>
                    </a:moveTo>
                    <a:lnTo>
                      <a:pt x="273" y="43"/>
                    </a:lnTo>
                    <a:lnTo>
                      <a:pt x="275" y="43"/>
                    </a:lnTo>
                    <a:lnTo>
                      <a:pt x="275" y="44"/>
                    </a:lnTo>
                    <a:lnTo>
                      <a:pt x="273" y="44"/>
                    </a:lnTo>
                    <a:lnTo>
                      <a:pt x="272" y="44"/>
                    </a:lnTo>
                    <a:lnTo>
                      <a:pt x="270" y="44"/>
                    </a:lnTo>
                    <a:lnTo>
                      <a:pt x="268" y="44"/>
                    </a:lnTo>
                    <a:lnTo>
                      <a:pt x="266" y="44"/>
                    </a:lnTo>
                    <a:lnTo>
                      <a:pt x="266" y="43"/>
                    </a:lnTo>
                    <a:lnTo>
                      <a:pt x="268" y="43"/>
                    </a:lnTo>
                    <a:lnTo>
                      <a:pt x="268" y="41"/>
                    </a:lnTo>
                    <a:lnTo>
                      <a:pt x="270" y="41"/>
                    </a:lnTo>
                    <a:lnTo>
                      <a:pt x="272" y="41"/>
                    </a:lnTo>
                    <a:lnTo>
                      <a:pt x="272" y="43"/>
                    </a:lnTo>
                    <a:close/>
                    <a:moveTo>
                      <a:pt x="294" y="10"/>
                    </a:moveTo>
                    <a:lnTo>
                      <a:pt x="295" y="10"/>
                    </a:lnTo>
                    <a:lnTo>
                      <a:pt x="295" y="14"/>
                    </a:lnTo>
                    <a:lnTo>
                      <a:pt x="294" y="14"/>
                    </a:lnTo>
                    <a:lnTo>
                      <a:pt x="294" y="10"/>
                    </a:lnTo>
                    <a:close/>
                    <a:moveTo>
                      <a:pt x="316" y="48"/>
                    </a:moveTo>
                    <a:lnTo>
                      <a:pt x="317" y="48"/>
                    </a:lnTo>
                    <a:lnTo>
                      <a:pt x="319" y="50"/>
                    </a:lnTo>
                    <a:lnTo>
                      <a:pt x="317" y="50"/>
                    </a:lnTo>
                    <a:lnTo>
                      <a:pt x="316" y="50"/>
                    </a:lnTo>
                    <a:lnTo>
                      <a:pt x="317" y="50"/>
                    </a:lnTo>
                    <a:lnTo>
                      <a:pt x="316" y="50"/>
                    </a:lnTo>
                    <a:lnTo>
                      <a:pt x="314" y="48"/>
                    </a:lnTo>
                    <a:lnTo>
                      <a:pt x="316" y="48"/>
                    </a:lnTo>
                    <a:close/>
                    <a:moveTo>
                      <a:pt x="244" y="14"/>
                    </a:moveTo>
                    <a:lnTo>
                      <a:pt x="243" y="14"/>
                    </a:lnTo>
                    <a:lnTo>
                      <a:pt x="241" y="14"/>
                    </a:lnTo>
                    <a:lnTo>
                      <a:pt x="241" y="12"/>
                    </a:lnTo>
                    <a:lnTo>
                      <a:pt x="243" y="12"/>
                    </a:lnTo>
                    <a:lnTo>
                      <a:pt x="244" y="14"/>
                    </a:lnTo>
                    <a:close/>
                    <a:moveTo>
                      <a:pt x="307" y="46"/>
                    </a:moveTo>
                    <a:lnTo>
                      <a:pt x="311" y="46"/>
                    </a:lnTo>
                    <a:lnTo>
                      <a:pt x="311" y="48"/>
                    </a:lnTo>
                    <a:lnTo>
                      <a:pt x="307" y="48"/>
                    </a:lnTo>
                    <a:lnTo>
                      <a:pt x="307" y="46"/>
                    </a:lnTo>
                    <a:close/>
                    <a:moveTo>
                      <a:pt x="227" y="14"/>
                    </a:moveTo>
                    <a:lnTo>
                      <a:pt x="227" y="16"/>
                    </a:lnTo>
                    <a:lnTo>
                      <a:pt x="226" y="16"/>
                    </a:lnTo>
                    <a:lnTo>
                      <a:pt x="224" y="16"/>
                    </a:lnTo>
                    <a:lnTo>
                      <a:pt x="224" y="14"/>
                    </a:lnTo>
                    <a:lnTo>
                      <a:pt x="224" y="16"/>
                    </a:lnTo>
                    <a:lnTo>
                      <a:pt x="226" y="16"/>
                    </a:lnTo>
                    <a:lnTo>
                      <a:pt x="226" y="14"/>
                    </a:lnTo>
                    <a:lnTo>
                      <a:pt x="227" y="14"/>
                    </a:lnTo>
                    <a:lnTo>
                      <a:pt x="226" y="12"/>
                    </a:lnTo>
                    <a:lnTo>
                      <a:pt x="227" y="14"/>
                    </a:lnTo>
                    <a:close/>
                    <a:moveTo>
                      <a:pt x="59" y="41"/>
                    </a:moveTo>
                    <a:lnTo>
                      <a:pt x="61" y="41"/>
                    </a:lnTo>
                    <a:lnTo>
                      <a:pt x="61" y="43"/>
                    </a:lnTo>
                    <a:lnTo>
                      <a:pt x="59" y="43"/>
                    </a:lnTo>
                    <a:lnTo>
                      <a:pt x="59" y="41"/>
                    </a:lnTo>
                    <a:close/>
                    <a:moveTo>
                      <a:pt x="292" y="65"/>
                    </a:moveTo>
                    <a:lnTo>
                      <a:pt x="294" y="65"/>
                    </a:lnTo>
                    <a:lnTo>
                      <a:pt x="294" y="67"/>
                    </a:lnTo>
                    <a:lnTo>
                      <a:pt x="292" y="67"/>
                    </a:lnTo>
                    <a:lnTo>
                      <a:pt x="292" y="65"/>
                    </a:lnTo>
                    <a:close/>
                    <a:moveTo>
                      <a:pt x="289" y="65"/>
                    </a:moveTo>
                    <a:lnTo>
                      <a:pt x="290" y="65"/>
                    </a:lnTo>
                    <a:lnTo>
                      <a:pt x="290" y="67"/>
                    </a:lnTo>
                    <a:lnTo>
                      <a:pt x="289" y="67"/>
                    </a:lnTo>
                    <a:lnTo>
                      <a:pt x="289" y="65"/>
                    </a:lnTo>
                    <a:close/>
                    <a:moveTo>
                      <a:pt x="57" y="41"/>
                    </a:moveTo>
                    <a:lnTo>
                      <a:pt x="57" y="43"/>
                    </a:lnTo>
                    <a:lnTo>
                      <a:pt x="57" y="41"/>
                    </a:lnTo>
                    <a:close/>
                    <a:moveTo>
                      <a:pt x="56" y="43"/>
                    </a:moveTo>
                    <a:lnTo>
                      <a:pt x="57" y="43"/>
                    </a:lnTo>
                    <a:lnTo>
                      <a:pt x="56" y="43"/>
                    </a:lnTo>
                    <a:close/>
                    <a:moveTo>
                      <a:pt x="300" y="61"/>
                    </a:moveTo>
                    <a:lnTo>
                      <a:pt x="300" y="63"/>
                    </a:lnTo>
                    <a:lnTo>
                      <a:pt x="300" y="61"/>
                    </a:lnTo>
                    <a:close/>
                    <a:moveTo>
                      <a:pt x="345" y="27"/>
                    </a:moveTo>
                    <a:lnTo>
                      <a:pt x="345" y="29"/>
                    </a:lnTo>
                    <a:lnTo>
                      <a:pt x="345" y="27"/>
                    </a:lnTo>
                    <a:close/>
                    <a:moveTo>
                      <a:pt x="221" y="10"/>
                    </a:moveTo>
                    <a:lnTo>
                      <a:pt x="221" y="12"/>
                    </a:lnTo>
                    <a:lnTo>
                      <a:pt x="222" y="12"/>
                    </a:lnTo>
                    <a:lnTo>
                      <a:pt x="224" y="10"/>
                    </a:lnTo>
                    <a:lnTo>
                      <a:pt x="224" y="12"/>
                    </a:lnTo>
                    <a:lnTo>
                      <a:pt x="222" y="12"/>
                    </a:lnTo>
                    <a:lnTo>
                      <a:pt x="221" y="12"/>
                    </a:lnTo>
                    <a:lnTo>
                      <a:pt x="221" y="10"/>
                    </a:lnTo>
                    <a:lnTo>
                      <a:pt x="219" y="10"/>
                    </a:lnTo>
                    <a:lnTo>
                      <a:pt x="221" y="10"/>
                    </a:lnTo>
                    <a:close/>
                    <a:moveTo>
                      <a:pt x="299" y="63"/>
                    </a:moveTo>
                    <a:lnTo>
                      <a:pt x="300" y="63"/>
                    </a:lnTo>
                    <a:lnTo>
                      <a:pt x="299" y="63"/>
                    </a:lnTo>
                    <a:close/>
                    <a:moveTo>
                      <a:pt x="170" y="46"/>
                    </a:moveTo>
                    <a:lnTo>
                      <a:pt x="170" y="48"/>
                    </a:lnTo>
                    <a:lnTo>
                      <a:pt x="170" y="46"/>
                    </a:lnTo>
                    <a:close/>
                    <a:moveTo>
                      <a:pt x="243" y="10"/>
                    </a:moveTo>
                    <a:lnTo>
                      <a:pt x="244" y="10"/>
                    </a:lnTo>
                    <a:lnTo>
                      <a:pt x="244" y="12"/>
                    </a:lnTo>
                    <a:lnTo>
                      <a:pt x="243" y="12"/>
                    </a:lnTo>
                    <a:lnTo>
                      <a:pt x="243" y="10"/>
                    </a:lnTo>
                    <a:close/>
                    <a:moveTo>
                      <a:pt x="282" y="70"/>
                    </a:moveTo>
                    <a:lnTo>
                      <a:pt x="283" y="70"/>
                    </a:lnTo>
                    <a:lnTo>
                      <a:pt x="282" y="70"/>
                    </a:lnTo>
                    <a:close/>
                    <a:moveTo>
                      <a:pt x="227" y="12"/>
                    </a:moveTo>
                    <a:lnTo>
                      <a:pt x="227" y="14"/>
                    </a:lnTo>
                    <a:lnTo>
                      <a:pt x="227" y="12"/>
                    </a:lnTo>
                    <a:close/>
                    <a:moveTo>
                      <a:pt x="224" y="9"/>
                    </a:moveTo>
                    <a:lnTo>
                      <a:pt x="226" y="9"/>
                    </a:lnTo>
                    <a:lnTo>
                      <a:pt x="224" y="9"/>
                    </a:lnTo>
                    <a:close/>
                    <a:moveTo>
                      <a:pt x="300" y="63"/>
                    </a:moveTo>
                    <a:lnTo>
                      <a:pt x="302" y="63"/>
                    </a:lnTo>
                    <a:lnTo>
                      <a:pt x="300" y="63"/>
                    </a:lnTo>
                    <a:close/>
                    <a:moveTo>
                      <a:pt x="226" y="10"/>
                    </a:moveTo>
                    <a:lnTo>
                      <a:pt x="227" y="10"/>
                    </a:lnTo>
                    <a:lnTo>
                      <a:pt x="227" y="12"/>
                    </a:lnTo>
                    <a:lnTo>
                      <a:pt x="226" y="12"/>
                    </a:lnTo>
                    <a:lnTo>
                      <a:pt x="226" y="10"/>
                    </a:lnTo>
                    <a:close/>
                    <a:moveTo>
                      <a:pt x="59" y="43"/>
                    </a:moveTo>
                    <a:lnTo>
                      <a:pt x="59" y="44"/>
                    </a:lnTo>
                    <a:lnTo>
                      <a:pt x="59" y="43"/>
                    </a:lnTo>
                    <a:close/>
                    <a:moveTo>
                      <a:pt x="170" y="46"/>
                    </a:moveTo>
                    <a:lnTo>
                      <a:pt x="171" y="46"/>
                    </a:lnTo>
                    <a:lnTo>
                      <a:pt x="171" y="48"/>
                    </a:lnTo>
                    <a:lnTo>
                      <a:pt x="170" y="48"/>
                    </a:lnTo>
                    <a:lnTo>
                      <a:pt x="170" y="46"/>
                    </a:lnTo>
                    <a:close/>
                    <a:moveTo>
                      <a:pt x="222" y="14"/>
                    </a:moveTo>
                    <a:lnTo>
                      <a:pt x="222" y="16"/>
                    </a:lnTo>
                    <a:lnTo>
                      <a:pt x="221" y="16"/>
                    </a:lnTo>
                    <a:lnTo>
                      <a:pt x="219" y="16"/>
                    </a:lnTo>
                    <a:lnTo>
                      <a:pt x="221" y="16"/>
                    </a:lnTo>
                    <a:lnTo>
                      <a:pt x="222" y="16"/>
                    </a:lnTo>
                    <a:lnTo>
                      <a:pt x="222" y="14"/>
                    </a:lnTo>
                    <a:close/>
                    <a:moveTo>
                      <a:pt x="295" y="67"/>
                    </a:moveTo>
                    <a:lnTo>
                      <a:pt x="297" y="67"/>
                    </a:lnTo>
                    <a:lnTo>
                      <a:pt x="295" y="67"/>
                    </a:lnTo>
                    <a:close/>
                    <a:moveTo>
                      <a:pt x="171" y="46"/>
                    </a:moveTo>
                    <a:lnTo>
                      <a:pt x="171" y="48"/>
                    </a:lnTo>
                    <a:lnTo>
                      <a:pt x="171" y="46"/>
                    </a:lnTo>
                    <a:close/>
                    <a:moveTo>
                      <a:pt x="61" y="43"/>
                    </a:moveTo>
                    <a:lnTo>
                      <a:pt x="62" y="43"/>
                    </a:lnTo>
                    <a:lnTo>
                      <a:pt x="61" y="43"/>
                    </a:lnTo>
                    <a:close/>
                    <a:moveTo>
                      <a:pt x="190" y="7"/>
                    </a:moveTo>
                    <a:lnTo>
                      <a:pt x="192" y="7"/>
                    </a:lnTo>
                    <a:lnTo>
                      <a:pt x="190" y="7"/>
                    </a:lnTo>
                    <a:close/>
                    <a:moveTo>
                      <a:pt x="294" y="65"/>
                    </a:moveTo>
                    <a:lnTo>
                      <a:pt x="295" y="65"/>
                    </a:lnTo>
                    <a:lnTo>
                      <a:pt x="294" y="65"/>
                    </a:lnTo>
                    <a:close/>
                    <a:moveTo>
                      <a:pt x="297" y="63"/>
                    </a:moveTo>
                    <a:lnTo>
                      <a:pt x="299" y="63"/>
                    </a:lnTo>
                    <a:lnTo>
                      <a:pt x="297" y="63"/>
                    </a:lnTo>
                    <a:close/>
                    <a:moveTo>
                      <a:pt x="224" y="10"/>
                    </a:moveTo>
                    <a:lnTo>
                      <a:pt x="224" y="12"/>
                    </a:lnTo>
                    <a:lnTo>
                      <a:pt x="224" y="10"/>
                    </a:lnTo>
                    <a:close/>
                    <a:moveTo>
                      <a:pt x="345" y="27"/>
                    </a:moveTo>
                    <a:lnTo>
                      <a:pt x="346" y="27"/>
                    </a:lnTo>
                    <a:lnTo>
                      <a:pt x="345" y="27"/>
                    </a:lnTo>
                    <a:close/>
                    <a:moveTo>
                      <a:pt x="170" y="46"/>
                    </a:moveTo>
                    <a:lnTo>
                      <a:pt x="170" y="48"/>
                    </a:lnTo>
                    <a:lnTo>
                      <a:pt x="170" y="46"/>
                    </a:lnTo>
                    <a:close/>
                    <a:moveTo>
                      <a:pt x="198" y="9"/>
                    </a:moveTo>
                    <a:lnTo>
                      <a:pt x="200" y="9"/>
                    </a:lnTo>
                    <a:lnTo>
                      <a:pt x="198" y="9"/>
                    </a:lnTo>
                    <a:close/>
                    <a:moveTo>
                      <a:pt x="170" y="46"/>
                    </a:moveTo>
                    <a:lnTo>
                      <a:pt x="171" y="46"/>
                    </a:lnTo>
                    <a:lnTo>
                      <a:pt x="170" y="46"/>
                    </a:lnTo>
                    <a:close/>
                    <a:moveTo>
                      <a:pt x="171" y="46"/>
                    </a:moveTo>
                    <a:lnTo>
                      <a:pt x="173" y="46"/>
                    </a:lnTo>
                    <a:lnTo>
                      <a:pt x="171" y="46"/>
                    </a:lnTo>
                    <a:close/>
                    <a:moveTo>
                      <a:pt x="226" y="7"/>
                    </a:moveTo>
                    <a:lnTo>
                      <a:pt x="226" y="9"/>
                    </a:lnTo>
                    <a:lnTo>
                      <a:pt x="226" y="7"/>
                    </a:lnTo>
                    <a:close/>
                    <a:moveTo>
                      <a:pt x="217" y="10"/>
                    </a:moveTo>
                    <a:lnTo>
                      <a:pt x="219" y="10"/>
                    </a:lnTo>
                    <a:lnTo>
                      <a:pt x="217" y="10"/>
                    </a:lnTo>
                    <a:close/>
                    <a:moveTo>
                      <a:pt x="272" y="44"/>
                    </a:moveTo>
                    <a:lnTo>
                      <a:pt x="273" y="44"/>
                    </a:lnTo>
                    <a:lnTo>
                      <a:pt x="272" y="4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
          <p:nvSpPr>
            <p:cNvPr id="1035" name="Freeform 41">
              <a:extLst>
                <a:ext uri="{FF2B5EF4-FFF2-40B4-BE49-F238E27FC236}">
                  <a16:creationId xmlns:a16="http://schemas.microsoft.com/office/drawing/2014/main" id="{7BDD9071-5F66-2853-68A4-89540B6C2331}"/>
                </a:ext>
              </a:extLst>
            </p:cNvPr>
            <p:cNvSpPr>
              <a:spLocks noEditPoints="1"/>
            </p:cNvSpPr>
            <p:nvPr/>
          </p:nvSpPr>
          <p:spPr bwMode="auto">
            <a:xfrm>
              <a:off x="4011088" y="2926887"/>
              <a:ext cx="719176" cy="453435"/>
            </a:xfrm>
            <a:custGeom>
              <a:avLst/>
              <a:gdLst>
                <a:gd name="T0" fmla="*/ 695 w 1069"/>
                <a:gd name="T1" fmla="*/ 362 h 674"/>
                <a:gd name="T2" fmla="*/ 712 w 1069"/>
                <a:gd name="T3" fmla="*/ 447 h 674"/>
                <a:gd name="T4" fmla="*/ 761 w 1069"/>
                <a:gd name="T5" fmla="*/ 522 h 674"/>
                <a:gd name="T6" fmla="*/ 848 w 1069"/>
                <a:gd name="T7" fmla="*/ 536 h 674"/>
                <a:gd name="T8" fmla="*/ 911 w 1069"/>
                <a:gd name="T9" fmla="*/ 520 h 674"/>
                <a:gd name="T10" fmla="*/ 940 w 1069"/>
                <a:gd name="T11" fmla="*/ 466 h 674"/>
                <a:gd name="T12" fmla="*/ 1005 w 1069"/>
                <a:gd name="T13" fmla="*/ 425 h 674"/>
                <a:gd name="T14" fmla="*/ 1062 w 1069"/>
                <a:gd name="T15" fmla="*/ 432 h 674"/>
                <a:gd name="T16" fmla="*/ 1044 w 1069"/>
                <a:gd name="T17" fmla="*/ 485 h 674"/>
                <a:gd name="T18" fmla="*/ 1042 w 1069"/>
                <a:gd name="T19" fmla="*/ 505 h 674"/>
                <a:gd name="T20" fmla="*/ 1020 w 1069"/>
                <a:gd name="T21" fmla="*/ 524 h 674"/>
                <a:gd name="T22" fmla="*/ 931 w 1069"/>
                <a:gd name="T23" fmla="*/ 558 h 674"/>
                <a:gd name="T24" fmla="*/ 942 w 1069"/>
                <a:gd name="T25" fmla="*/ 612 h 674"/>
                <a:gd name="T26" fmla="*/ 886 w 1069"/>
                <a:gd name="T27" fmla="*/ 658 h 674"/>
                <a:gd name="T28" fmla="*/ 826 w 1069"/>
                <a:gd name="T29" fmla="*/ 623 h 674"/>
                <a:gd name="T30" fmla="*/ 741 w 1069"/>
                <a:gd name="T31" fmla="*/ 633 h 674"/>
                <a:gd name="T32" fmla="*/ 663 w 1069"/>
                <a:gd name="T33" fmla="*/ 606 h 674"/>
                <a:gd name="T34" fmla="*/ 580 w 1069"/>
                <a:gd name="T35" fmla="*/ 572 h 674"/>
                <a:gd name="T36" fmla="*/ 505 w 1069"/>
                <a:gd name="T37" fmla="*/ 541 h 674"/>
                <a:gd name="T38" fmla="*/ 445 w 1069"/>
                <a:gd name="T39" fmla="*/ 495 h 674"/>
                <a:gd name="T40" fmla="*/ 444 w 1069"/>
                <a:gd name="T41" fmla="*/ 439 h 674"/>
                <a:gd name="T42" fmla="*/ 408 w 1069"/>
                <a:gd name="T43" fmla="*/ 367 h 674"/>
                <a:gd name="T44" fmla="*/ 359 w 1069"/>
                <a:gd name="T45" fmla="*/ 318 h 674"/>
                <a:gd name="T46" fmla="*/ 348 w 1069"/>
                <a:gd name="T47" fmla="*/ 294 h 674"/>
                <a:gd name="T48" fmla="*/ 314 w 1069"/>
                <a:gd name="T49" fmla="*/ 281 h 674"/>
                <a:gd name="T50" fmla="*/ 309 w 1069"/>
                <a:gd name="T51" fmla="*/ 250 h 674"/>
                <a:gd name="T52" fmla="*/ 285 w 1069"/>
                <a:gd name="T53" fmla="*/ 223 h 674"/>
                <a:gd name="T54" fmla="*/ 251 w 1069"/>
                <a:gd name="T55" fmla="*/ 189 h 674"/>
                <a:gd name="T56" fmla="*/ 202 w 1069"/>
                <a:gd name="T57" fmla="*/ 133 h 674"/>
                <a:gd name="T58" fmla="*/ 177 w 1069"/>
                <a:gd name="T59" fmla="*/ 60 h 674"/>
                <a:gd name="T60" fmla="*/ 117 w 1069"/>
                <a:gd name="T61" fmla="*/ 60 h 674"/>
                <a:gd name="T62" fmla="*/ 156 w 1069"/>
                <a:gd name="T63" fmla="*/ 131 h 674"/>
                <a:gd name="T64" fmla="*/ 192 w 1069"/>
                <a:gd name="T65" fmla="*/ 194 h 674"/>
                <a:gd name="T66" fmla="*/ 224 w 1069"/>
                <a:gd name="T67" fmla="*/ 228 h 674"/>
                <a:gd name="T68" fmla="*/ 258 w 1069"/>
                <a:gd name="T69" fmla="*/ 299 h 674"/>
                <a:gd name="T70" fmla="*/ 289 w 1069"/>
                <a:gd name="T71" fmla="*/ 338 h 674"/>
                <a:gd name="T72" fmla="*/ 262 w 1069"/>
                <a:gd name="T73" fmla="*/ 345 h 674"/>
                <a:gd name="T74" fmla="*/ 212 w 1069"/>
                <a:gd name="T75" fmla="*/ 306 h 674"/>
                <a:gd name="T76" fmla="*/ 204 w 1069"/>
                <a:gd name="T77" fmla="*/ 257 h 674"/>
                <a:gd name="T78" fmla="*/ 155 w 1069"/>
                <a:gd name="T79" fmla="*/ 226 h 674"/>
                <a:gd name="T80" fmla="*/ 138 w 1069"/>
                <a:gd name="T81" fmla="*/ 189 h 674"/>
                <a:gd name="T82" fmla="*/ 126 w 1069"/>
                <a:gd name="T83" fmla="*/ 141 h 674"/>
                <a:gd name="T84" fmla="*/ 80 w 1069"/>
                <a:gd name="T85" fmla="*/ 94 h 674"/>
                <a:gd name="T86" fmla="*/ 49 w 1069"/>
                <a:gd name="T87" fmla="*/ 20 h 674"/>
                <a:gd name="T88" fmla="*/ 131 w 1069"/>
                <a:gd name="T89" fmla="*/ 12 h 674"/>
                <a:gd name="T90" fmla="*/ 277 w 1069"/>
                <a:gd name="T91" fmla="*/ 54 h 674"/>
                <a:gd name="T92" fmla="*/ 410 w 1069"/>
                <a:gd name="T93" fmla="*/ 49 h 674"/>
                <a:gd name="T94" fmla="*/ 462 w 1069"/>
                <a:gd name="T95" fmla="*/ 107 h 674"/>
                <a:gd name="T96" fmla="*/ 517 w 1069"/>
                <a:gd name="T97" fmla="*/ 141 h 674"/>
                <a:gd name="T98" fmla="*/ 568 w 1069"/>
                <a:gd name="T99" fmla="*/ 114 h 674"/>
                <a:gd name="T100" fmla="*/ 612 w 1069"/>
                <a:gd name="T101" fmla="*/ 175 h 674"/>
                <a:gd name="T102" fmla="*/ 651 w 1069"/>
                <a:gd name="T103" fmla="*/ 243 h 674"/>
                <a:gd name="T104" fmla="*/ 700 w 1069"/>
                <a:gd name="T105" fmla="*/ 262 h 674"/>
                <a:gd name="T106" fmla="*/ 173 w 1069"/>
                <a:gd name="T107" fmla="*/ 143 h 674"/>
                <a:gd name="T108" fmla="*/ 1066 w 1069"/>
                <a:gd name="T109" fmla="*/ 461 h 674"/>
                <a:gd name="T110" fmla="*/ 209 w 1069"/>
                <a:gd name="T111" fmla="*/ 306 h 674"/>
                <a:gd name="T112" fmla="*/ 246 w 1069"/>
                <a:gd name="T113" fmla="*/ 259 h 674"/>
                <a:gd name="T114" fmla="*/ 906 w 1069"/>
                <a:gd name="T115" fmla="*/ 526 h 674"/>
                <a:gd name="T116" fmla="*/ 401 w 1069"/>
                <a:gd name="T117" fmla="*/ 429 h 674"/>
                <a:gd name="T118" fmla="*/ 211 w 1069"/>
                <a:gd name="T119" fmla="*/ 282 h 674"/>
                <a:gd name="T120" fmla="*/ 178 w 1069"/>
                <a:gd name="T121" fmla="*/ 235 h 674"/>
                <a:gd name="T122" fmla="*/ 262 w 1069"/>
                <a:gd name="T123" fmla="*/ 303 h 674"/>
                <a:gd name="T124" fmla="*/ 1022 w 1069"/>
                <a:gd name="T125" fmla="*/ 524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69" h="674">
                  <a:moveTo>
                    <a:pt x="716" y="262"/>
                  </a:moveTo>
                  <a:lnTo>
                    <a:pt x="716" y="264"/>
                  </a:lnTo>
                  <a:lnTo>
                    <a:pt x="716" y="265"/>
                  </a:lnTo>
                  <a:lnTo>
                    <a:pt x="716" y="267"/>
                  </a:lnTo>
                  <a:lnTo>
                    <a:pt x="716" y="269"/>
                  </a:lnTo>
                  <a:lnTo>
                    <a:pt x="716" y="270"/>
                  </a:lnTo>
                  <a:lnTo>
                    <a:pt x="716" y="272"/>
                  </a:lnTo>
                  <a:lnTo>
                    <a:pt x="714" y="274"/>
                  </a:lnTo>
                  <a:lnTo>
                    <a:pt x="714" y="276"/>
                  </a:lnTo>
                  <a:lnTo>
                    <a:pt x="712" y="276"/>
                  </a:lnTo>
                  <a:lnTo>
                    <a:pt x="712" y="277"/>
                  </a:lnTo>
                  <a:lnTo>
                    <a:pt x="712" y="279"/>
                  </a:lnTo>
                  <a:lnTo>
                    <a:pt x="710" y="279"/>
                  </a:lnTo>
                  <a:lnTo>
                    <a:pt x="710" y="281"/>
                  </a:lnTo>
                  <a:lnTo>
                    <a:pt x="710" y="282"/>
                  </a:lnTo>
                  <a:lnTo>
                    <a:pt x="709" y="282"/>
                  </a:lnTo>
                  <a:lnTo>
                    <a:pt x="709" y="284"/>
                  </a:lnTo>
                  <a:lnTo>
                    <a:pt x="709" y="286"/>
                  </a:lnTo>
                  <a:lnTo>
                    <a:pt x="707" y="286"/>
                  </a:lnTo>
                  <a:lnTo>
                    <a:pt x="707" y="287"/>
                  </a:lnTo>
                  <a:lnTo>
                    <a:pt x="707" y="289"/>
                  </a:lnTo>
                  <a:lnTo>
                    <a:pt x="705" y="289"/>
                  </a:lnTo>
                  <a:lnTo>
                    <a:pt x="705" y="291"/>
                  </a:lnTo>
                  <a:lnTo>
                    <a:pt x="705" y="293"/>
                  </a:lnTo>
                  <a:lnTo>
                    <a:pt x="704" y="294"/>
                  </a:lnTo>
                  <a:lnTo>
                    <a:pt x="704" y="296"/>
                  </a:lnTo>
                  <a:lnTo>
                    <a:pt x="704" y="298"/>
                  </a:lnTo>
                  <a:lnTo>
                    <a:pt x="702" y="299"/>
                  </a:lnTo>
                  <a:lnTo>
                    <a:pt x="702" y="301"/>
                  </a:lnTo>
                  <a:lnTo>
                    <a:pt x="702" y="303"/>
                  </a:lnTo>
                  <a:lnTo>
                    <a:pt x="700" y="304"/>
                  </a:lnTo>
                  <a:lnTo>
                    <a:pt x="700" y="306"/>
                  </a:lnTo>
                  <a:lnTo>
                    <a:pt x="700" y="308"/>
                  </a:lnTo>
                  <a:lnTo>
                    <a:pt x="700" y="310"/>
                  </a:lnTo>
                  <a:lnTo>
                    <a:pt x="699" y="311"/>
                  </a:lnTo>
                  <a:lnTo>
                    <a:pt x="699" y="313"/>
                  </a:lnTo>
                  <a:lnTo>
                    <a:pt x="699" y="315"/>
                  </a:lnTo>
                  <a:lnTo>
                    <a:pt x="699" y="316"/>
                  </a:lnTo>
                  <a:lnTo>
                    <a:pt x="699" y="318"/>
                  </a:lnTo>
                  <a:lnTo>
                    <a:pt x="697" y="320"/>
                  </a:lnTo>
                  <a:lnTo>
                    <a:pt x="697" y="321"/>
                  </a:lnTo>
                  <a:lnTo>
                    <a:pt x="697" y="323"/>
                  </a:lnTo>
                  <a:lnTo>
                    <a:pt x="697" y="325"/>
                  </a:lnTo>
                  <a:lnTo>
                    <a:pt x="697" y="327"/>
                  </a:lnTo>
                  <a:lnTo>
                    <a:pt x="697" y="328"/>
                  </a:lnTo>
                  <a:lnTo>
                    <a:pt x="697" y="330"/>
                  </a:lnTo>
                  <a:lnTo>
                    <a:pt x="697" y="332"/>
                  </a:lnTo>
                  <a:lnTo>
                    <a:pt x="697" y="333"/>
                  </a:lnTo>
                  <a:lnTo>
                    <a:pt x="697" y="335"/>
                  </a:lnTo>
                  <a:lnTo>
                    <a:pt x="697" y="337"/>
                  </a:lnTo>
                  <a:lnTo>
                    <a:pt x="697" y="338"/>
                  </a:lnTo>
                  <a:lnTo>
                    <a:pt x="697" y="340"/>
                  </a:lnTo>
                  <a:lnTo>
                    <a:pt x="697" y="342"/>
                  </a:lnTo>
                  <a:lnTo>
                    <a:pt x="697" y="344"/>
                  </a:lnTo>
                  <a:lnTo>
                    <a:pt x="697" y="345"/>
                  </a:lnTo>
                  <a:lnTo>
                    <a:pt x="697" y="347"/>
                  </a:lnTo>
                  <a:lnTo>
                    <a:pt x="695" y="347"/>
                  </a:lnTo>
                  <a:lnTo>
                    <a:pt x="695" y="349"/>
                  </a:lnTo>
                  <a:lnTo>
                    <a:pt x="695" y="350"/>
                  </a:lnTo>
                  <a:lnTo>
                    <a:pt x="695" y="352"/>
                  </a:lnTo>
                  <a:lnTo>
                    <a:pt x="695" y="354"/>
                  </a:lnTo>
                  <a:lnTo>
                    <a:pt x="695" y="355"/>
                  </a:lnTo>
                  <a:lnTo>
                    <a:pt x="695" y="357"/>
                  </a:lnTo>
                  <a:lnTo>
                    <a:pt x="695" y="359"/>
                  </a:lnTo>
                  <a:lnTo>
                    <a:pt x="695" y="361"/>
                  </a:lnTo>
                  <a:lnTo>
                    <a:pt x="695" y="362"/>
                  </a:lnTo>
                  <a:lnTo>
                    <a:pt x="695" y="364"/>
                  </a:lnTo>
                  <a:lnTo>
                    <a:pt x="695" y="366"/>
                  </a:lnTo>
                  <a:lnTo>
                    <a:pt x="695" y="367"/>
                  </a:lnTo>
                  <a:lnTo>
                    <a:pt x="695" y="369"/>
                  </a:lnTo>
                  <a:lnTo>
                    <a:pt x="695" y="371"/>
                  </a:lnTo>
                  <a:lnTo>
                    <a:pt x="695" y="373"/>
                  </a:lnTo>
                  <a:lnTo>
                    <a:pt x="695" y="374"/>
                  </a:lnTo>
                  <a:lnTo>
                    <a:pt x="695" y="376"/>
                  </a:lnTo>
                  <a:lnTo>
                    <a:pt x="695" y="378"/>
                  </a:lnTo>
                  <a:lnTo>
                    <a:pt x="695" y="379"/>
                  </a:lnTo>
                  <a:lnTo>
                    <a:pt x="693" y="379"/>
                  </a:lnTo>
                  <a:lnTo>
                    <a:pt x="693" y="381"/>
                  </a:lnTo>
                  <a:lnTo>
                    <a:pt x="693" y="383"/>
                  </a:lnTo>
                  <a:lnTo>
                    <a:pt x="692" y="384"/>
                  </a:lnTo>
                  <a:lnTo>
                    <a:pt x="692" y="386"/>
                  </a:lnTo>
                  <a:lnTo>
                    <a:pt x="692" y="388"/>
                  </a:lnTo>
                  <a:lnTo>
                    <a:pt x="692" y="390"/>
                  </a:lnTo>
                  <a:lnTo>
                    <a:pt x="692" y="391"/>
                  </a:lnTo>
                  <a:lnTo>
                    <a:pt x="692" y="390"/>
                  </a:lnTo>
                  <a:lnTo>
                    <a:pt x="692" y="391"/>
                  </a:lnTo>
                  <a:lnTo>
                    <a:pt x="692" y="393"/>
                  </a:lnTo>
                  <a:lnTo>
                    <a:pt x="693" y="395"/>
                  </a:lnTo>
                  <a:lnTo>
                    <a:pt x="693" y="396"/>
                  </a:lnTo>
                  <a:lnTo>
                    <a:pt x="693" y="398"/>
                  </a:lnTo>
                  <a:lnTo>
                    <a:pt x="695" y="398"/>
                  </a:lnTo>
                  <a:lnTo>
                    <a:pt x="693" y="398"/>
                  </a:lnTo>
                  <a:lnTo>
                    <a:pt x="693" y="400"/>
                  </a:lnTo>
                  <a:lnTo>
                    <a:pt x="695" y="401"/>
                  </a:lnTo>
                  <a:lnTo>
                    <a:pt x="695" y="403"/>
                  </a:lnTo>
                  <a:lnTo>
                    <a:pt x="695" y="405"/>
                  </a:lnTo>
                  <a:lnTo>
                    <a:pt x="695" y="407"/>
                  </a:lnTo>
                  <a:lnTo>
                    <a:pt x="697" y="407"/>
                  </a:lnTo>
                  <a:lnTo>
                    <a:pt x="697" y="408"/>
                  </a:lnTo>
                  <a:lnTo>
                    <a:pt x="697" y="410"/>
                  </a:lnTo>
                  <a:lnTo>
                    <a:pt x="699" y="410"/>
                  </a:lnTo>
                  <a:lnTo>
                    <a:pt x="699" y="412"/>
                  </a:lnTo>
                  <a:lnTo>
                    <a:pt x="700" y="413"/>
                  </a:lnTo>
                  <a:lnTo>
                    <a:pt x="700" y="415"/>
                  </a:lnTo>
                  <a:lnTo>
                    <a:pt x="702" y="415"/>
                  </a:lnTo>
                  <a:lnTo>
                    <a:pt x="702" y="417"/>
                  </a:lnTo>
                  <a:lnTo>
                    <a:pt x="704" y="418"/>
                  </a:lnTo>
                  <a:lnTo>
                    <a:pt x="705" y="418"/>
                  </a:lnTo>
                  <a:lnTo>
                    <a:pt x="705" y="420"/>
                  </a:lnTo>
                  <a:lnTo>
                    <a:pt x="707" y="420"/>
                  </a:lnTo>
                  <a:lnTo>
                    <a:pt x="707" y="422"/>
                  </a:lnTo>
                  <a:lnTo>
                    <a:pt x="709" y="422"/>
                  </a:lnTo>
                  <a:lnTo>
                    <a:pt x="709" y="424"/>
                  </a:lnTo>
                  <a:lnTo>
                    <a:pt x="710" y="424"/>
                  </a:lnTo>
                  <a:lnTo>
                    <a:pt x="710" y="425"/>
                  </a:lnTo>
                  <a:lnTo>
                    <a:pt x="709" y="427"/>
                  </a:lnTo>
                  <a:lnTo>
                    <a:pt x="709" y="429"/>
                  </a:lnTo>
                  <a:lnTo>
                    <a:pt x="709" y="430"/>
                  </a:lnTo>
                  <a:lnTo>
                    <a:pt x="707" y="430"/>
                  </a:lnTo>
                  <a:lnTo>
                    <a:pt x="707" y="432"/>
                  </a:lnTo>
                  <a:lnTo>
                    <a:pt x="707" y="434"/>
                  </a:lnTo>
                  <a:lnTo>
                    <a:pt x="707" y="435"/>
                  </a:lnTo>
                  <a:lnTo>
                    <a:pt x="707" y="437"/>
                  </a:lnTo>
                  <a:lnTo>
                    <a:pt x="707" y="439"/>
                  </a:lnTo>
                  <a:lnTo>
                    <a:pt x="709" y="439"/>
                  </a:lnTo>
                  <a:lnTo>
                    <a:pt x="709" y="441"/>
                  </a:lnTo>
                  <a:lnTo>
                    <a:pt x="709" y="442"/>
                  </a:lnTo>
                  <a:lnTo>
                    <a:pt x="710" y="442"/>
                  </a:lnTo>
                  <a:lnTo>
                    <a:pt x="710" y="444"/>
                  </a:lnTo>
                  <a:lnTo>
                    <a:pt x="710" y="446"/>
                  </a:lnTo>
                  <a:lnTo>
                    <a:pt x="710" y="447"/>
                  </a:lnTo>
                  <a:lnTo>
                    <a:pt x="712" y="447"/>
                  </a:lnTo>
                  <a:lnTo>
                    <a:pt x="712" y="449"/>
                  </a:lnTo>
                  <a:lnTo>
                    <a:pt x="714" y="451"/>
                  </a:lnTo>
                  <a:lnTo>
                    <a:pt x="714" y="452"/>
                  </a:lnTo>
                  <a:lnTo>
                    <a:pt x="714" y="454"/>
                  </a:lnTo>
                  <a:lnTo>
                    <a:pt x="714" y="456"/>
                  </a:lnTo>
                  <a:lnTo>
                    <a:pt x="716" y="456"/>
                  </a:lnTo>
                  <a:lnTo>
                    <a:pt x="716" y="458"/>
                  </a:lnTo>
                  <a:lnTo>
                    <a:pt x="717" y="459"/>
                  </a:lnTo>
                  <a:lnTo>
                    <a:pt x="719" y="461"/>
                  </a:lnTo>
                  <a:lnTo>
                    <a:pt x="719" y="463"/>
                  </a:lnTo>
                  <a:lnTo>
                    <a:pt x="721" y="463"/>
                  </a:lnTo>
                  <a:lnTo>
                    <a:pt x="722" y="464"/>
                  </a:lnTo>
                  <a:lnTo>
                    <a:pt x="722" y="466"/>
                  </a:lnTo>
                  <a:lnTo>
                    <a:pt x="724" y="466"/>
                  </a:lnTo>
                  <a:lnTo>
                    <a:pt x="724" y="468"/>
                  </a:lnTo>
                  <a:lnTo>
                    <a:pt x="726" y="468"/>
                  </a:lnTo>
                  <a:lnTo>
                    <a:pt x="726" y="469"/>
                  </a:lnTo>
                  <a:lnTo>
                    <a:pt x="727" y="469"/>
                  </a:lnTo>
                  <a:lnTo>
                    <a:pt x="727" y="471"/>
                  </a:lnTo>
                  <a:lnTo>
                    <a:pt x="729" y="471"/>
                  </a:lnTo>
                  <a:lnTo>
                    <a:pt x="729" y="473"/>
                  </a:lnTo>
                  <a:lnTo>
                    <a:pt x="731" y="475"/>
                  </a:lnTo>
                  <a:lnTo>
                    <a:pt x="731" y="476"/>
                  </a:lnTo>
                  <a:lnTo>
                    <a:pt x="733" y="476"/>
                  </a:lnTo>
                  <a:lnTo>
                    <a:pt x="733" y="478"/>
                  </a:lnTo>
                  <a:lnTo>
                    <a:pt x="734" y="478"/>
                  </a:lnTo>
                  <a:lnTo>
                    <a:pt x="734" y="480"/>
                  </a:lnTo>
                  <a:lnTo>
                    <a:pt x="736" y="480"/>
                  </a:lnTo>
                  <a:lnTo>
                    <a:pt x="736" y="481"/>
                  </a:lnTo>
                  <a:lnTo>
                    <a:pt x="736" y="483"/>
                  </a:lnTo>
                  <a:lnTo>
                    <a:pt x="738" y="483"/>
                  </a:lnTo>
                  <a:lnTo>
                    <a:pt x="738" y="485"/>
                  </a:lnTo>
                  <a:lnTo>
                    <a:pt x="739" y="485"/>
                  </a:lnTo>
                  <a:lnTo>
                    <a:pt x="739" y="486"/>
                  </a:lnTo>
                  <a:lnTo>
                    <a:pt x="741" y="488"/>
                  </a:lnTo>
                  <a:lnTo>
                    <a:pt x="741" y="490"/>
                  </a:lnTo>
                  <a:lnTo>
                    <a:pt x="741" y="492"/>
                  </a:lnTo>
                  <a:lnTo>
                    <a:pt x="741" y="493"/>
                  </a:lnTo>
                  <a:lnTo>
                    <a:pt x="743" y="493"/>
                  </a:lnTo>
                  <a:lnTo>
                    <a:pt x="743" y="495"/>
                  </a:lnTo>
                  <a:lnTo>
                    <a:pt x="743" y="497"/>
                  </a:lnTo>
                  <a:lnTo>
                    <a:pt x="743" y="498"/>
                  </a:lnTo>
                  <a:lnTo>
                    <a:pt x="744" y="498"/>
                  </a:lnTo>
                  <a:lnTo>
                    <a:pt x="744" y="500"/>
                  </a:lnTo>
                  <a:lnTo>
                    <a:pt x="744" y="502"/>
                  </a:lnTo>
                  <a:lnTo>
                    <a:pt x="744" y="503"/>
                  </a:lnTo>
                  <a:lnTo>
                    <a:pt x="744" y="505"/>
                  </a:lnTo>
                  <a:lnTo>
                    <a:pt x="746" y="505"/>
                  </a:lnTo>
                  <a:lnTo>
                    <a:pt x="748" y="507"/>
                  </a:lnTo>
                  <a:lnTo>
                    <a:pt x="750" y="509"/>
                  </a:lnTo>
                  <a:lnTo>
                    <a:pt x="751" y="509"/>
                  </a:lnTo>
                  <a:lnTo>
                    <a:pt x="750" y="509"/>
                  </a:lnTo>
                  <a:lnTo>
                    <a:pt x="751" y="509"/>
                  </a:lnTo>
                  <a:lnTo>
                    <a:pt x="751" y="510"/>
                  </a:lnTo>
                  <a:lnTo>
                    <a:pt x="751" y="512"/>
                  </a:lnTo>
                  <a:lnTo>
                    <a:pt x="751" y="514"/>
                  </a:lnTo>
                  <a:lnTo>
                    <a:pt x="753" y="514"/>
                  </a:lnTo>
                  <a:lnTo>
                    <a:pt x="755" y="514"/>
                  </a:lnTo>
                  <a:lnTo>
                    <a:pt x="756" y="514"/>
                  </a:lnTo>
                  <a:lnTo>
                    <a:pt x="756" y="515"/>
                  </a:lnTo>
                  <a:lnTo>
                    <a:pt x="756" y="517"/>
                  </a:lnTo>
                  <a:lnTo>
                    <a:pt x="756" y="519"/>
                  </a:lnTo>
                  <a:lnTo>
                    <a:pt x="758" y="520"/>
                  </a:lnTo>
                  <a:lnTo>
                    <a:pt x="758" y="522"/>
                  </a:lnTo>
                  <a:lnTo>
                    <a:pt x="760" y="522"/>
                  </a:lnTo>
                  <a:lnTo>
                    <a:pt x="761" y="522"/>
                  </a:lnTo>
                  <a:lnTo>
                    <a:pt x="761" y="524"/>
                  </a:lnTo>
                  <a:lnTo>
                    <a:pt x="763" y="524"/>
                  </a:lnTo>
                  <a:lnTo>
                    <a:pt x="765" y="524"/>
                  </a:lnTo>
                  <a:lnTo>
                    <a:pt x="765" y="526"/>
                  </a:lnTo>
                  <a:lnTo>
                    <a:pt x="767" y="526"/>
                  </a:lnTo>
                  <a:lnTo>
                    <a:pt x="768" y="526"/>
                  </a:lnTo>
                  <a:lnTo>
                    <a:pt x="770" y="526"/>
                  </a:lnTo>
                  <a:lnTo>
                    <a:pt x="772" y="526"/>
                  </a:lnTo>
                  <a:lnTo>
                    <a:pt x="773" y="526"/>
                  </a:lnTo>
                  <a:lnTo>
                    <a:pt x="775" y="526"/>
                  </a:lnTo>
                  <a:lnTo>
                    <a:pt x="777" y="526"/>
                  </a:lnTo>
                  <a:lnTo>
                    <a:pt x="778" y="526"/>
                  </a:lnTo>
                  <a:lnTo>
                    <a:pt x="780" y="527"/>
                  </a:lnTo>
                  <a:lnTo>
                    <a:pt x="782" y="527"/>
                  </a:lnTo>
                  <a:lnTo>
                    <a:pt x="784" y="527"/>
                  </a:lnTo>
                  <a:lnTo>
                    <a:pt x="785" y="529"/>
                  </a:lnTo>
                  <a:lnTo>
                    <a:pt x="787" y="529"/>
                  </a:lnTo>
                  <a:lnTo>
                    <a:pt x="787" y="531"/>
                  </a:lnTo>
                  <a:lnTo>
                    <a:pt x="789" y="532"/>
                  </a:lnTo>
                  <a:lnTo>
                    <a:pt x="790" y="532"/>
                  </a:lnTo>
                  <a:lnTo>
                    <a:pt x="792" y="532"/>
                  </a:lnTo>
                  <a:lnTo>
                    <a:pt x="794" y="532"/>
                  </a:lnTo>
                  <a:lnTo>
                    <a:pt x="795" y="532"/>
                  </a:lnTo>
                  <a:lnTo>
                    <a:pt x="795" y="534"/>
                  </a:lnTo>
                  <a:lnTo>
                    <a:pt x="795" y="536"/>
                  </a:lnTo>
                  <a:lnTo>
                    <a:pt x="797" y="536"/>
                  </a:lnTo>
                  <a:lnTo>
                    <a:pt x="797" y="538"/>
                  </a:lnTo>
                  <a:lnTo>
                    <a:pt x="799" y="539"/>
                  </a:lnTo>
                  <a:lnTo>
                    <a:pt x="801" y="539"/>
                  </a:lnTo>
                  <a:lnTo>
                    <a:pt x="801" y="541"/>
                  </a:lnTo>
                  <a:lnTo>
                    <a:pt x="801" y="543"/>
                  </a:lnTo>
                  <a:lnTo>
                    <a:pt x="802" y="544"/>
                  </a:lnTo>
                  <a:lnTo>
                    <a:pt x="802" y="546"/>
                  </a:lnTo>
                  <a:lnTo>
                    <a:pt x="804" y="546"/>
                  </a:lnTo>
                  <a:lnTo>
                    <a:pt x="806" y="546"/>
                  </a:lnTo>
                  <a:lnTo>
                    <a:pt x="807" y="546"/>
                  </a:lnTo>
                  <a:lnTo>
                    <a:pt x="809" y="546"/>
                  </a:lnTo>
                  <a:lnTo>
                    <a:pt x="809" y="548"/>
                  </a:lnTo>
                  <a:lnTo>
                    <a:pt x="809" y="546"/>
                  </a:lnTo>
                  <a:lnTo>
                    <a:pt x="811" y="546"/>
                  </a:lnTo>
                  <a:lnTo>
                    <a:pt x="812" y="546"/>
                  </a:lnTo>
                  <a:lnTo>
                    <a:pt x="814" y="546"/>
                  </a:lnTo>
                  <a:lnTo>
                    <a:pt x="814" y="544"/>
                  </a:lnTo>
                  <a:lnTo>
                    <a:pt x="816" y="544"/>
                  </a:lnTo>
                  <a:lnTo>
                    <a:pt x="818" y="544"/>
                  </a:lnTo>
                  <a:lnTo>
                    <a:pt x="819" y="544"/>
                  </a:lnTo>
                  <a:lnTo>
                    <a:pt x="819" y="543"/>
                  </a:lnTo>
                  <a:lnTo>
                    <a:pt x="821" y="543"/>
                  </a:lnTo>
                  <a:lnTo>
                    <a:pt x="823" y="543"/>
                  </a:lnTo>
                  <a:lnTo>
                    <a:pt x="824" y="543"/>
                  </a:lnTo>
                  <a:lnTo>
                    <a:pt x="824" y="541"/>
                  </a:lnTo>
                  <a:lnTo>
                    <a:pt x="826" y="541"/>
                  </a:lnTo>
                  <a:lnTo>
                    <a:pt x="828" y="541"/>
                  </a:lnTo>
                  <a:lnTo>
                    <a:pt x="829" y="541"/>
                  </a:lnTo>
                  <a:lnTo>
                    <a:pt x="829" y="539"/>
                  </a:lnTo>
                  <a:lnTo>
                    <a:pt x="831" y="539"/>
                  </a:lnTo>
                  <a:lnTo>
                    <a:pt x="835" y="538"/>
                  </a:lnTo>
                  <a:lnTo>
                    <a:pt x="836" y="538"/>
                  </a:lnTo>
                  <a:lnTo>
                    <a:pt x="838" y="538"/>
                  </a:lnTo>
                  <a:lnTo>
                    <a:pt x="840" y="538"/>
                  </a:lnTo>
                  <a:lnTo>
                    <a:pt x="840" y="536"/>
                  </a:lnTo>
                  <a:lnTo>
                    <a:pt x="841" y="536"/>
                  </a:lnTo>
                  <a:lnTo>
                    <a:pt x="843" y="536"/>
                  </a:lnTo>
                  <a:lnTo>
                    <a:pt x="845" y="536"/>
                  </a:lnTo>
                  <a:lnTo>
                    <a:pt x="846" y="536"/>
                  </a:lnTo>
                  <a:lnTo>
                    <a:pt x="848" y="536"/>
                  </a:lnTo>
                  <a:lnTo>
                    <a:pt x="850" y="536"/>
                  </a:lnTo>
                  <a:lnTo>
                    <a:pt x="852" y="536"/>
                  </a:lnTo>
                  <a:lnTo>
                    <a:pt x="853" y="536"/>
                  </a:lnTo>
                  <a:lnTo>
                    <a:pt x="855" y="536"/>
                  </a:lnTo>
                  <a:lnTo>
                    <a:pt x="857" y="536"/>
                  </a:lnTo>
                  <a:lnTo>
                    <a:pt x="858" y="536"/>
                  </a:lnTo>
                  <a:lnTo>
                    <a:pt x="860" y="536"/>
                  </a:lnTo>
                  <a:lnTo>
                    <a:pt x="862" y="536"/>
                  </a:lnTo>
                  <a:lnTo>
                    <a:pt x="862" y="534"/>
                  </a:lnTo>
                  <a:lnTo>
                    <a:pt x="863" y="534"/>
                  </a:lnTo>
                  <a:lnTo>
                    <a:pt x="865" y="532"/>
                  </a:lnTo>
                  <a:lnTo>
                    <a:pt x="865" y="531"/>
                  </a:lnTo>
                  <a:lnTo>
                    <a:pt x="867" y="531"/>
                  </a:lnTo>
                  <a:lnTo>
                    <a:pt x="867" y="532"/>
                  </a:lnTo>
                  <a:lnTo>
                    <a:pt x="867" y="531"/>
                  </a:lnTo>
                  <a:lnTo>
                    <a:pt x="867" y="529"/>
                  </a:lnTo>
                  <a:lnTo>
                    <a:pt x="867" y="531"/>
                  </a:lnTo>
                  <a:lnTo>
                    <a:pt x="869" y="531"/>
                  </a:lnTo>
                  <a:lnTo>
                    <a:pt x="869" y="529"/>
                  </a:lnTo>
                  <a:lnTo>
                    <a:pt x="870" y="529"/>
                  </a:lnTo>
                  <a:lnTo>
                    <a:pt x="872" y="529"/>
                  </a:lnTo>
                  <a:lnTo>
                    <a:pt x="874" y="529"/>
                  </a:lnTo>
                  <a:lnTo>
                    <a:pt x="875" y="529"/>
                  </a:lnTo>
                  <a:lnTo>
                    <a:pt x="877" y="527"/>
                  </a:lnTo>
                  <a:lnTo>
                    <a:pt x="879" y="527"/>
                  </a:lnTo>
                  <a:lnTo>
                    <a:pt x="880" y="527"/>
                  </a:lnTo>
                  <a:lnTo>
                    <a:pt x="882" y="527"/>
                  </a:lnTo>
                  <a:lnTo>
                    <a:pt x="884" y="527"/>
                  </a:lnTo>
                  <a:lnTo>
                    <a:pt x="886" y="527"/>
                  </a:lnTo>
                  <a:lnTo>
                    <a:pt x="887" y="527"/>
                  </a:lnTo>
                  <a:lnTo>
                    <a:pt x="889" y="527"/>
                  </a:lnTo>
                  <a:lnTo>
                    <a:pt x="891" y="527"/>
                  </a:lnTo>
                  <a:lnTo>
                    <a:pt x="892" y="527"/>
                  </a:lnTo>
                  <a:lnTo>
                    <a:pt x="892" y="529"/>
                  </a:lnTo>
                  <a:lnTo>
                    <a:pt x="894" y="529"/>
                  </a:lnTo>
                  <a:lnTo>
                    <a:pt x="894" y="531"/>
                  </a:lnTo>
                  <a:lnTo>
                    <a:pt x="894" y="532"/>
                  </a:lnTo>
                  <a:lnTo>
                    <a:pt x="894" y="531"/>
                  </a:lnTo>
                  <a:lnTo>
                    <a:pt x="894" y="532"/>
                  </a:lnTo>
                  <a:lnTo>
                    <a:pt x="894" y="534"/>
                  </a:lnTo>
                  <a:lnTo>
                    <a:pt x="896" y="534"/>
                  </a:lnTo>
                  <a:lnTo>
                    <a:pt x="897" y="534"/>
                  </a:lnTo>
                  <a:lnTo>
                    <a:pt x="899" y="534"/>
                  </a:lnTo>
                  <a:lnTo>
                    <a:pt x="899" y="536"/>
                  </a:lnTo>
                  <a:lnTo>
                    <a:pt x="901" y="536"/>
                  </a:lnTo>
                  <a:lnTo>
                    <a:pt x="903" y="536"/>
                  </a:lnTo>
                  <a:lnTo>
                    <a:pt x="904" y="536"/>
                  </a:lnTo>
                  <a:lnTo>
                    <a:pt x="906" y="536"/>
                  </a:lnTo>
                  <a:lnTo>
                    <a:pt x="906" y="534"/>
                  </a:lnTo>
                  <a:lnTo>
                    <a:pt x="908" y="534"/>
                  </a:lnTo>
                  <a:lnTo>
                    <a:pt x="909" y="534"/>
                  </a:lnTo>
                  <a:lnTo>
                    <a:pt x="909" y="532"/>
                  </a:lnTo>
                  <a:lnTo>
                    <a:pt x="911" y="532"/>
                  </a:lnTo>
                  <a:lnTo>
                    <a:pt x="913" y="532"/>
                  </a:lnTo>
                  <a:lnTo>
                    <a:pt x="913" y="531"/>
                  </a:lnTo>
                  <a:lnTo>
                    <a:pt x="914" y="531"/>
                  </a:lnTo>
                  <a:lnTo>
                    <a:pt x="914" y="529"/>
                  </a:lnTo>
                  <a:lnTo>
                    <a:pt x="914" y="527"/>
                  </a:lnTo>
                  <a:lnTo>
                    <a:pt x="916" y="526"/>
                  </a:lnTo>
                  <a:lnTo>
                    <a:pt x="914" y="524"/>
                  </a:lnTo>
                  <a:lnTo>
                    <a:pt x="913" y="524"/>
                  </a:lnTo>
                  <a:lnTo>
                    <a:pt x="911" y="524"/>
                  </a:lnTo>
                  <a:lnTo>
                    <a:pt x="911" y="522"/>
                  </a:lnTo>
                  <a:lnTo>
                    <a:pt x="911" y="524"/>
                  </a:lnTo>
                  <a:lnTo>
                    <a:pt x="911" y="522"/>
                  </a:lnTo>
                  <a:lnTo>
                    <a:pt x="911" y="520"/>
                  </a:lnTo>
                  <a:lnTo>
                    <a:pt x="909" y="522"/>
                  </a:lnTo>
                  <a:lnTo>
                    <a:pt x="908" y="522"/>
                  </a:lnTo>
                  <a:lnTo>
                    <a:pt x="908" y="524"/>
                  </a:lnTo>
                  <a:lnTo>
                    <a:pt x="906" y="524"/>
                  </a:lnTo>
                  <a:lnTo>
                    <a:pt x="908" y="524"/>
                  </a:lnTo>
                  <a:lnTo>
                    <a:pt x="908" y="522"/>
                  </a:lnTo>
                  <a:lnTo>
                    <a:pt x="909" y="522"/>
                  </a:lnTo>
                  <a:lnTo>
                    <a:pt x="909" y="520"/>
                  </a:lnTo>
                  <a:lnTo>
                    <a:pt x="911" y="520"/>
                  </a:lnTo>
                  <a:lnTo>
                    <a:pt x="911" y="519"/>
                  </a:lnTo>
                  <a:lnTo>
                    <a:pt x="913" y="519"/>
                  </a:lnTo>
                  <a:lnTo>
                    <a:pt x="914" y="519"/>
                  </a:lnTo>
                  <a:lnTo>
                    <a:pt x="914" y="517"/>
                  </a:lnTo>
                  <a:lnTo>
                    <a:pt x="916" y="517"/>
                  </a:lnTo>
                  <a:lnTo>
                    <a:pt x="918" y="517"/>
                  </a:lnTo>
                  <a:lnTo>
                    <a:pt x="918" y="515"/>
                  </a:lnTo>
                  <a:lnTo>
                    <a:pt x="920" y="515"/>
                  </a:lnTo>
                  <a:lnTo>
                    <a:pt x="920" y="514"/>
                  </a:lnTo>
                  <a:lnTo>
                    <a:pt x="921" y="514"/>
                  </a:lnTo>
                  <a:lnTo>
                    <a:pt x="923" y="512"/>
                  </a:lnTo>
                  <a:lnTo>
                    <a:pt x="925" y="512"/>
                  </a:lnTo>
                  <a:lnTo>
                    <a:pt x="925" y="510"/>
                  </a:lnTo>
                  <a:lnTo>
                    <a:pt x="926" y="510"/>
                  </a:lnTo>
                  <a:lnTo>
                    <a:pt x="926" y="509"/>
                  </a:lnTo>
                  <a:lnTo>
                    <a:pt x="928" y="509"/>
                  </a:lnTo>
                  <a:lnTo>
                    <a:pt x="928" y="507"/>
                  </a:lnTo>
                  <a:lnTo>
                    <a:pt x="930" y="507"/>
                  </a:lnTo>
                  <a:lnTo>
                    <a:pt x="931" y="505"/>
                  </a:lnTo>
                  <a:lnTo>
                    <a:pt x="933" y="503"/>
                  </a:lnTo>
                  <a:lnTo>
                    <a:pt x="933" y="502"/>
                  </a:lnTo>
                  <a:lnTo>
                    <a:pt x="933" y="500"/>
                  </a:lnTo>
                  <a:lnTo>
                    <a:pt x="933" y="498"/>
                  </a:lnTo>
                  <a:lnTo>
                    <a:pt x="933" y="497"/>
                  </a:lnTo>
                  <a:lnTo>
                    <a:pt x="933" y="495"/>
                  </a:lnTo>
                  <a:lnTo>
                    <a:pt x="935" y="495"/>
                  </a:lnTo>
                  <a:lnTo>
                    <a:pt x="935" y="493"/>
                  </a:lnTo>
                  <a:lnTo>
                    <a:pt x="933" y="493"/>
                  </a:lnTo>
                  <a:lnTo>
                    <a:pt x="933" y="492"/>
                  </a:lnTo>
                  <a:lnTo>
                    <a:pt x="935" y="492"/>
                  </a:lnTo>
                  <a:lnTo>
                    <a:pt x="935" y="490"/>
                  </a:lnTo>
                  <a:lnTo>
                    <a:pt x="935" y="488"/>
                  </a:lnTo>
                  <a:lnTo>
                    <a:pt x="937" y="488"/>
                  </a:lnTo>
                  <a:lnTo>
                    <a:pt x="937" y="486"/>
                  </a:lnTo>
                  <a:lnTo>
                    <a:pt x="938" y="486"/>
                  </a:lnTo>
                  <a:lnTo>
                    <a:pt x="940" y="485"/>
                  </a:lnTo>
                  <a:lnTo>
                    <a:pt x="942" y="483"/>
                  </a:lnTo>
                  <a:lnTo>
                    <a:pt x="942" y="481"/>
                  </a:lnTo>
                  <a:lnTo>
                    <a:pt x="942" y="480"/>
                  </a:lnTo>
                  <a:lnTo>
                    <a:pt x="942" y="478"/>
                  </a:lnTo>
                  <a:lnTo>
                    <a:pt x="940" y="478"/>
                  </a:lnTo>
                  <a:lnTo>
                    <a:pt x="942" y="476"/>
                  </a:lnTo>
                  <a:lnTo>
                    <a:pt x="942" y="475"/>
                  </a:lnTo>
                  <a:lnTo>
                    <a:pt x="940" y="475"/>
                  </a:lnTo>
                  <a:lnTo>
                    <a:pt x="942" y="475"/>
                  </a:lnTo>
                  <a:lnTo>
                    <a:pt x="942" y="473"/>
                  </a:lnTo>
                  <a:lnTo>
                    <a:pt x="940" y="473"/>
                  </a:lnTo>
                  <a:lnTo>
                    <a:pt x="942" y="473"/>
                  </a:lnTo>
                  <a:lnTo>
                    <a:pt x="942" y="471"/>
                  </a:lnTo>
                  <a:lnTo>
                    <a:pt x="940" y="471"/>
                  </a:lnTo>
                  <a:lnTo>
                    <a:pt x="940" y="469"/>
                  </a:lnTo>
                  <a:lnTo>
                    <a:pt x="940" y="468"/>
                  </a:lnTo>
                  <a:lnTo>
                    <a:pt x="942" y="468"/>
                  </a:lnTo>
                  <a:lnTo>
                    <a:pt x="940" y="468"/>
                  </a:lnTo>
                  <a:lnTo>
                    <a:pt x="942" y="468"/>
                  </a:lnTo>
                  <a:lnTo>
                    <a:pt x="942" y="466"/>
                  </a:lnTo>
                  <a:lnTo>
                    <a:pt x="940" y="466"/>
                  </a:lnTo>
                  <a:lnTo>
                    <a:pt x="940" y="464"/>
                  </a:lnTo>
                  <a:lnTo>
                    <a:pt x="942" y="463"/>
                  </a:lnTo>
                  <a:lnTo>
                    <a:pt x="940" y="463"/>
                  </a:lnTo>
                  <a:lnTo>
                    <a:pt x="940" y="461"/>
                  </a:lnTo>
                  <a:lnTo>
                    <a:pt x="942" y="461"/>
                  </a:lnTo>
                  <a:lnTo>
                    <a:pt x="942" y="459"/>
                  </a:lnTo>
                  <a:lnTo>
                    <a:pt x="942" y="458"/>
                  </a:lnTo>
                  <a:lnTo>
                    <a:pt x="942" y="456"/>
                  </a:lnTo>
                  <a:lnTo>
                    <a:pt x="942" y="454"/>
                  </a:lnTo>
                  <a:lnTo>
                    <a:pt x="942" y="456"/>
                  </a:lnTo>
                  <a:lnTo>
                    <a:pt x="942" y="454"/>
                  </a:lnTo>
                  <a:lnTo>
                    <a:pt x="943" y="454"/>
                  </a:lnTo>
                  <a:lnTo>
                    <a:pt x="943" y="452"/>
                  </a:lnTo>
                  <a:lnTo>
                    <a:pt x="943" y="451"/>
                  </a:lnTo>
                  <a:lnTo>
                    <a:pt x="943" y="449"/>
                  </a:lnTo>
                  <a:lnTo>
                    <a:pt x="943" y="447"/>
                  </a:lnTo>
                  <a:lnTo>
                    <a:pt x="945" y="447"/>
                  </a:lnTo>
                  <a:lnTo>
                    <a:pt x="945" y="446"/>
                  </a:lnTo>
                  <a:lnTo>
                    <a:pt x="945" y="444"/>
                  </a:lnTo>
                  <a:lnTo>
                    <a:pt x="947" y="444"/>
                  </a:lnTo>
                  <a:lnTo>
                    <a:pt x="947" y="442"/>
                  </a:lnTo>
                  <a:lnTo>
                    <a:pt x="948" y="442"/>
                  </a:lnTo>
                  <a:lnTo>
                    <a:pt x="950" y="442"/>
                  </a:lnTo>
                  <a:lnTo>
                    <a:pt x="950" y="441"/>
                  </a:lnTo>
                  <a:lnTo>
                    <a:pt x="952" y="441"/>
                  </a:lnTo>
                  <a:lnTo>
                    <a:pt x="952" y="439"/>
                  </a:lnTo>
                  <a:lnTo>
                    <a:pt x="954" y="439"/>
                  </a:lnTo>
                  <a:lnTo>
                    <a:pt x="955" y="439"/>
                  </a:lnTo>
                  <a:lnTo>
                    <a:pt x="957" y="439"/>
                  </a:lnTo>
                  <a:lnTo>
                    <a:pt x="957" y="437"/>
                  </a:lnTo>
                  <a:lnTo>
                    <a:pt x="959" y="437"/>
                  </a:lnTo>
                  <a:lnTo>
                    <a:pt x="960" y="437"/>
                  </a:lnTo>
                  <a:lnTo>
                    <a:pt x="960" y="435"/>
                  </a:lnTo>
                  <a:lnTo>
                    <a:pt x="962" y="435"/>
                  </a:lnTo>
                  <a:lnTo>
                    <a:pt x="964" y="435"/>
                  </a:lnTo>
                  <a:lnTo>
                    <a:pt x="965" y="434"/>
                  </a:lnTo>
                  <a:lnTo>
                    <a:pt x="967" y="434"/>
                  </a:lnTo>
                  <a:lnTo>
                    <a:pt x="967" y="435"/>
                  </a:lnTo>
                  <a:lnTo>
                    <a:pt x="969" y="434"/>
                  </a:lnTo>
                  <a:lnTo>
                    <a:pt x="967" y="434"/>
                  </a:lnTo>
                  <a:lnTo>
                    <a:pt x="969" y="434"/>
                  </a:lnTo>
                  <a:lnTo>
                    <a:pt x="969" y="432"/>
                  </a:lnTo>
                  <a:lnTo>
                    <a:pt x="969" y="434"/>
                  </a:lnTo>
                  <a:lnTo>
                    <a:pt x="971" y="434"/>
                  </a:lnTo>
                  <a:lnTo>
                    <a:pt x="972" y="434"/>
                  </a:lnTo>
                  <a:lnTo>
                    <a:pt x="974" y="432"/>
                  </a:lnTo>
                  <a:lnTo>
                    <a:pt x="976" y="432"/>
                  </a:lnTo>
                  <a:lnTo>
                    <a:pt x="977" y="432"/>
                  </a:lnTo>
                  <a:lnTo>
                    <a:pt x="979" y="432"/>
                  </a:lnTo>
                  <a:lnTo>
                    <a:pt x="981" y="432"/>
                  </a:lnTo>
                  <a:lnTo>
                    <a:pt x="982" y="432"/>
                  </a:lnTo>
                  <a:lnTo>
                    <a:pt x="984" y="432"/>
                  </a:lnTo>
                  <a:lnTo>
                    <a:pt x="986" y="432"/>
                  </a:lnTo>
                  <a:lnTo>
                    <a:pt x="988" y="430"/>
                  </a:lnTo>
                  <a:lnTo>
                    <a:pt x="989" y="430"/>
                  </a:lnTo>
                  <a:lnTo>
                    <a:pt x="991" y="430"/>
                  </a:lnTo>
                  <a:lnTo>
                    <a:pt x="993" y="430"/>
                  </a:lnTo>
                  <a:lnTo>
                    <a:pt x="994" y="430"/>
                  </a:lnTo>
                  <a:lnTo>
                    <a:pt x="996" y="430"/>
                  </a:lnTo>
                  <a:lnTo>
                    <a:pt x="998" y="429"/>
                  </a:lnTo>
                  <a:lnTo>
                    <a:pt x="999" y="429"/>
                  </a:lnTo>
                  <a:lnTo>
                    <a:pt x="1001" y="429"/>
                  </a:lnTo>
                  <a:lnTo>
                    <a:pt x="1001" y="427"/>
                  </a:lnTo>
                  <a:lnTo>
                    <a:pt x="1003" y="427"/>
                  </a:lnTo>
                  <a:lnTo>
                    <a:pt x="1003" y="425"/>
                  </a:lnTo>
                  <a:lnTo>
                    <a:pt x="1005" y="425"/>
                  </a:lnTo>
                  <a:lnTo>
                    <a:pt x="1006" y="425"/>
                  </a:lnTo>
                  <a:lnTo>
                    <a:pt x="1008" y="425"/>
                  </a:lnTo>
                  <a:lnTo>
                    <a:pt x="1010" y="424"/>
                  </a:lnTo>
                  <a:lnTo>
                    <a:pt x="1011" y="424"/>
                  </a:lnTo>
                  <a:lnTo>
                    <a:pt x="1013" y="424"/>
                  </a:lnTo>
                  <a:lnTo>
                    <a:pt x="1015" y="424"/>
                  </a:lnTo>
                  <a:lnTo>
                    <a:pt x="1016" y="424"/>
                  </a:lnTo>
                  <a:lnTo>
                    <a:pt x="1018" y="424"/>
                  </a:lnTo>
                  <a:lnTo>
                    <a:pt x="1016" y="424"/>
                  </a:lnTo>
                  <a:lnTo>
                    <a:pt x="1018" y="422"/>
                  </a:lnTo>
                  <a:lnTo>
                    <a:pt x="1020" y="422"/>
                  </a:lnTo>
                  <a:lnTo>
                    <a:pt x="1022" y="422"/>
                  </a:lnTo>
                  <a:lnTo>
                    <a:pt x="1023" y="422"/>
                  </a:lnTo>
                  <a:lnTo>
                    <a:pt x="1025" y="422"/>
                  </a:lnTo>
                  <a:lnTo>
                    <a:pt x="1027" y="422"/>
                  </a:lnTo>
                  <a:lnTo>
                    <a:pt x="1028" y="422"/>
                  </a:lnTo>
                  <a:lnTo>
                    <a:pt x="1028" y="424"/>
                  </a:lnTo>
                  <a:lnTo>
                    <a:pt x="1030" y="424"/>
                  </a:lnTo>
                  <a:lnTo>
                    <a:pt x="1032" y="424"/>
                  </a:lnTo>
                  <a:lnTo>
                    <a:pt x="1033" y="425"/>
                  </a:lnTo>
                  <a:lnTo>
                    <a:pt x="1035" y="425"/>
                  </a:lnTo>
                  <a:lnTo>
                    <a:pt x="1037" y="425"/>
                  </a:lnTo>
                  <a:lnTo>
                    <a:pt x="1039" y="425"/>
                  </a:lnTo>
                  <a:lnTo>
                    <a:pt x="1040" y="427"/>
                  </a:lnTo>
                  <a:lnTo>
                    <a:pt x="1042" y="427"/>
                  </a:lnTo>
                  <a:lnTo>
                    <a:pt x="1044" y="427"/>
                  </a:lnTo>
                  <a:lnTo>
                    <a:pt x="1045" y="427"/>
                  </a:lnTo>
                  <a:lnTo>
                    <a:pt x="1047" y="429"/>
                  </a:lnTo>
                  <a:lnTo>
                    <a:pt x="1049" y="429"/>
                  </a:lnTo>
                  <a:lnTo>
                    <a:pt x="1050" y="429"/>
                  </a:lnTo>
                  <a:lnTo>
                    <a:pt x="1052" y="429"/>
                  </a:lnTo>
                  <a:lnTo>
                    <a:pt x="1054" y="427"/>
                  </a:lnTo>
                  <a:lnTo>
                    <a:pt x="1056" y="427"/>
                  </a:lnTo>
                  <a:lnTo>
                    <a:pt x="1056" y="425"/>
                  </a:lnTo>
                  <a:lnTo>
                    <a:pt x="1056" y="424"/>
                  </a:lnTo>
                  <a:lnTo>
                    <a:pt x="1054" y="424"/>
                  </a:lnTo>
                  <a:lnTo>
                    <a:pt x="1052" y="424"/>
                  </a:lnTo>
                  <a:lnTo>
                    <a:pt x="1052" y="425"/>
                  </a:lnTo>
                  <a:lnTo>
                    <a:pt x="1050" y="425"/>
                  </a:lnTo>
                  <a:lnTo>
                    <a:pt x="1049" y="425"/>
                  </a:lnTo>
                  <a:lnTo>
                    <a:pt x="1047" y="425"/>
                  </a:lnTo>
                  <a:lnTo>
                    <a:pt x="1047" y="424"/>
                  </a:lnTo>
                  <a:lnTo>
                    <a:pt x="1047" y="425"/>
                  </a:lnTo>
                  <a:lnTo>
                    <a:pt x="1045" y="425"/>
                  </a:lnTo>
                  <a:lnTo>
                    <a:pt x="1047" y="425"/>
                  </a:lnTo>
                  <a:lnTo>
                    <a:pt x="1047" y="424"/>
                  </a:lnTo>
                  <a:lnTo>
                    <a:pt x="1049" y="424"/>
                  </a:lnTo>
                  <a:lnTo>
                    <a:pt x="1049" y="425"/>
                  </a:lnTo>
                  <a:lnTo>
                    <a:pt x="1050" y="425"/>
                  </a:lnTo>
                  <a:lnTo>
                    <a:pt x="1052" y="424"/>
                  </a:lnTo>
                  <a:lnTo>
                    <a:pt x="1054" y="424"/>
                  </a:lnTo>
                  <a:lnTo>
                    <a:pt x="1054" y="422"/>
                  </a:lnTo>
                  <a:lnTo>
                    <a:pt x="1056" y="422"/>
                  </a:lnTo>
                  <a:lnTo>
                    <a:pt x="1057" y="424"/>
                  </a:lnTo>
                  <a:lnTo>
                    <a:pt x="1059" y="424"/>
                  </a:lnTo>
                  <a:lnTo>
                    <a:pt x="1059" y="425"/>
                  </a:lnTo>
                  <a:lnTo>
                    <a:pt x="1061" y="425"/>
                  </a:lnTo>
                  <a:lnTo>
                    <a:pt x="1059" y="425"/>
                  </a:lnTo>
                  <a:lnTo>
                    <a:pt x="1061" y="425"/>
                  </a:lnTo>
                  <a:lnTo>
                    <a:pt x="1061" y="427"/>
                  </a:lnTo>
                  <a:lnTo>
                    <a:pt x="1061" y="429"/>
                  </a:lnTo>
                  <a:lnTo>
                    <a:pt x="1062" y="429"/>
                  </a:lnTo>
                  <a:lnTo>
                    <a:pt x="1062" y="430"/>
                  </a:lnTo>
                  <a:lnTo>
                    <a:pt x="1062" y="432"/>
                  </a:lnTo>
                  <a:lnTo>
                    <a:pt x="1064" y="432"/>
                  </a:lnTo>
                  <a:lnTo>
                    <a:pt x="1062" y="432"/>
                  </a:lnTo>
                  <a:lnTo>
                    <a:pt x="1062" y="434"/>
                  </a:lnTo>
                  <a:lnTo>
                    <a:pt x="1064" y="434"/>
                  </a:lnTo>
                  <a:lnTo>
                    <a:pt x="1064" y="435"/>
                  </a:lnTo>
                  <a:lnTo>
                    <a:pt x="1064" y="434"/>
                  </a:lnTo>
                  <a:lnTo>
                    <a:pt x="1064" y="432"/>
                  </a:lnTo>
                  <a:lnTo>
                    <a:pt x="1066" y="432"/>
                  </a:lnTo>
                  <a:lnTo>
                    <a:pt x="1066" y="430"/>
                  </a:lnTo>
                  <a:lnTo>
                    <a:pt x="1064" y="430"/>
                  </a:lnTo>
                  <a:lnTo>
                    <a:pt x="1066" y="430"/>
                  </a:lnTo>
                  <a:lnTo>
                    <a:pt x="1064" y="429"/>
                  </a:lnTo>
                  <a:lnTo>
                    <a:pt x="1066" y="429"/>
                  </a:lnTo>
                  <a:lnTo>
                    <a:pt x="1066" y="430"/>
                  </a:lnTo>
                  <a:lnTo>
                    <a:pt x="1066" y="429"/>
                  </a:lnTo>
                  <a:lnTo>
                    <a:pt x="1066" y="430"/>
                  </a:lnTo>
                  <a:lnTo>
                    <a:pt x="1066" y="432"/>
                  </a:lnTo>
                  <a:lnTo>
                    <a:pt x="1066" y="434"/>
                  </a:lnTo>
                  <a:lnTo>
                    <a:pt x="1064" y="434"/>
                  </a:lnTo>
                  <a:lnTo>
                    <a:pt x="1066" y="435"/>
                  </a:lnTo>
                  <a:lnTo>
                    <a:pt x="1066" y="437"/>
                  </a:lnTo>
                  <a:lnTo>
                    <a:pt x="1066" y="439"/>
                  </a:lnTo>
                  <a:lnTo>
                    <a:pt x="1067" y="439"/>
                  </a:lnTo>
                  <a:lnTo>
                    <a:pt x="1067" y="441"/>
                  </a:lnTo>
                  <a:lnTo>
                    <a:pt x="1066" y="441"/>
                  </a:lnTo>
                  <a:lnTo>
                    <a:pt x="1066" y="442"/>
                  </a:lnTo>
                  <a:lnTo>
                    <a:pt x="1064" y="444"/>
                  </a:lnTo>
                  <a:lnTo>
                    <a:pt x="1064" y="446"/>
                  </a:lnTo>
                  <a:lnTo>
                    <a:pt x="1064" y="447"/>
                  </a:lnTo>
                  <a:lnTo>
                    <a:pt x="1062" y="449"/>
                  </a:lnTo>
                  <a:lnTo>
                    <a:pt x="1062" y="451"/>
                  </a:lnTo>
                  <a:lnTo>
                    <a:pt x="1061" y="451"/>
                  </a:lnTo>
                  <a:lnTo>
                    <a:pt x="1061" y="452"/>
                  </a:lnTo>
                  <a:lnTo>
                    <a:pt x="1059" y="454"/>
                  </a:lnTo>
                  <a:lnTo>
                    <a:pt x="1061" y="454"/>
                  </a:lnTo>
                  <a:lnTo>
                    <a:pt x="1059" y="454"/>
                  </a:lnTo>
                  <a:lnTo>
                    <a:pt x="1057" y="456"/>
                  </a:lnTo>
                  <a:lnTo>
                    <a:pt x="1057" y="458"/>
                  </a:lnTo>
                  <a:lnTo>
                    <a:pt x="1056" y="458"/>
                  </a:lnTo>
                  <a:lnTo>
                    <a:pt x="1056" y="459"/>
                  </a:lnTo>
                  <a:lnTo>
                    <a:pt x="1054" y="459"/>
                  </a:lnTo>
                  <a:lnTo>
                    <a:pt x="1054" y="461"/>
                  </a:lnTo>
                  <a:lnTo>
                    <a:pt x="1052" y="461"/>
                  </a:lnTo>
                  <a:lnTo>
                    <a:pt x="1050" y="463"/>
                  </a:lnTo>
                  <a:lnTo>
                    <a:pt x="1049" y="464"/>
                  </a:lnTo>
                  <a:lnTo>
                    <a:pt x="1049" y="466"/>
                  </a:lnTo>
                  <a:lnTo>
                    <a:pt x="1047" y="466"/>
                  </a:lnTo>
                  <a:lnTo>
                    <a:pt x="1047" y="468"/>
                  </a:lnTo>
                  <a:lnTo>
                    <a:pt x="1047" y="469"/>
                  </a:lnTo>
                  <a:lnTo>
                    <a:pt x="1045" y="469"/>
                  </a:lnTo>
                  <a:lnTo>
                    <a:pt x="1045" y="471"/>
                  </a:lnTo>
                  <a:lnTo>
                    <a:pt x="1044" y="473"/>
                  </a:lnTo>
                  <a:lnTo>
                    <a:pt x="1044" y="475"/>
                  </a:lnTo>
                  <a:lnTo>
                    <a:pt x="1044" y="476"/>
                  </a:lnTo>
                  <a:lnTo>
                    <a:pt x="1042" y="476"/>
                  </a:lnTo>
                  <a:lnTo>
                    <a:pt x="1042" y="478"/>
                  </a:lnTo>
                  <a:lnTo>
                    <a:pt x="1042" y="480"/>
                  </a:lnTo>
                  <a:lnTo>
                    <a:pt x="1044" y="480"/>
                  </a:lnTo>
                  <a:lnTo>
                    <a:pt x="1042" y="481"/>
                  </a:lnTo>
                  <a:lnTo>
                    <a:pt x="1044" y="481"/>
                  </a:lnTo>
                  <a:lnTo>
                    <a:pt x="1044" y="483"/>
                  </a:lnTo>
                  <a:lnTo>
                    <a:pt x="1044" y="485"/>
                  </a:lnTo>
                  <a:lnTo>
                    <a:pt x="1044" y="486"/>
                  </a:lnTo>
                  <a:lnTo>
                    <a:pt x="1042" y="486"/>
                  </a:lnTo>
                  <a:lnTo>
                    <a:pt x="1042" y="488"/>
                  </a:lnTo>
                  <a:lnTo>
                    <a:pt x="1042" y="486"/>
                  </a:lnTo>
                  <a:lnTo>
                    <a:pt x="1044" y="486"/>
                  </a:lnTo>
                  <a:lnTo>
                    <a:pt x="1044" y="485"/>
                  </a:lnTo>
                  <a:lnTo>
                    <a:pt x="1044" y="483"/>
                  </a:lnTo>
                  <a:lnTo>
                    <a:pt x="1042" y="483"/>
                  </a:lnTo>
                  <a:lnTo>
                    <a:pt x="1044" y="483"/>
                  </a:lnTo>
                  <a:lnTo>
                    <a:pt x="1044" y="485"/>
                  </a:lnTo>
                  <a:lnTo>
                    <a:pt x="1042" y="485"/>
                  </a:lnTo>
                  <a:lnTo>
                    <a:pt x="1042" y="486"/>
                  </a:lnTo>
                  <a:lnTo>
                    <a:pt x="1040" y="488"/>
                  </a:lnTo>
                  <a:lnTo>
                    <a:pt x="1040" y="486"/>
                  </a:lnTo>
                  <a:lnTo>
                    <a:pt x="1039" y="488"/>
                  </a:lnTo>
                  <a:lnTo>
                    <a:pt x="1039" y="490"/>
                  </a:lnTo>
                  <a:lnTo>
                    <a:pt x="1037" y="490"/>
                  </a:lnTo>
                  <a:lnTo>
                    <a:pt x="1037" y="492"/>
                  </a:lnTo>
                  <a:lnTo>
                    <a:pt x="1037" y="493"/>
                  </a:lnTo>
                  <a:lnTo>
                    <a:pt x="1035" y="493"/>
                  </a:lnTo>
                  <a:lnTo>
                    <a:pt x="1037" y="493"/>
                  </a:lnTo>
                  <a:lnTo>
                    <a:pt x="1037" y="492"/>
                  </a:lnTo>
                  <a:lnTo>
                    <a:pt x="1035" y="492"/>
                  </a:lnTo>
                  <a:lnTo>
                    <a:pt x="1033" y="492"/>
                  </a:lnTo>
                  <a:lnTo>
                    <a:pt x="1033" y="493"/>
                  </a:lnTo>
                  <a:lnTo>
                    <a:pt x="1033" y="495"/>
                  </a:lnTo>
                  <a:lnTo>
                    <a:pt x="1035" y="495"/>
                  </a:lnTo>
                  <a:lnTo>
                    <a:pt x="1035" y="497"/>
                  </a:lnTo>
                  <a:lnTo>
                    <a:pt x="1035" y="495"/>
                  </a:lnTo>
                  <a:lnTo>
                    <a:pt x="1037" y="497"/>
                  </a:lnTo>
                  <a:lnTo>
                    <a:pt x="1035" y="497"/>
                  </a:lnTo>
                  <a:lnTo>
                    <a:pt x="1037" y="497"/>
                  </a:lnTo>
                  <a:lnTo>
                    <a:pt x="1035" y="498"/>
                  </a:lnTo>
                  <a:lnTo>
                    <a:pt x="1037" y="498"/>
                  </a:lnTo>
                  <a:lnTo>
                    <a:pt x="1037" y="497"/>
                  </a:lnTo>
                  <a:lnTo>
                    <a:pt x="1039" y="497"/>
                  </a:lnTo>
                  <a:lnTo>
                    <a:pt x="1040" y="497"/>
                  </a:lnTo>
                  <a:lnTo>
                    <a:pt x="1042" y="497"/>
                  </a:lnTo>
                  <a:lnTo>
                    <a:pt x="1042" y="495"/>
                  </a:lnTo>
                  <a:lnTo>
                    <a:pt x="1040" y="495"/>
                  </a:lnTo>
                  <a:lnTo>
                    <a:pt x="1042" y="495"/>
                  </a:lnTo>
                  <a:lnTo>
                    <a:pt x="1044" y="495"/>
                  </a:lnTo>
                  <a:lnTo>
                    <a:pt x="1042" y="495"/>
                  </a:lnTo>
                  <a:lnTo>
                    <a:pt x="1044" y="495"/>
                  </a:lnTo>
                  <a:lnTo>
                    <a:pt x="1044" y="493"/>
                  </a:lnTo>
                  <a:lnTo>
                    <a:pt x="1045" y="495"/>
                  </a:lnTo>
                  <a:lnTo>
                    <a:pt x="1045" y="497"/>
                  </a:lnTo>
                  <a:lnTo>
                    <a:pt x="1044" y="497"/>
                  </a:lnTo>
                  <a:lnTo>
                    <a:pt x="1044" y="498"/>
                  </a:lnTo>
                  <a:lnTo>
                    <a:pt x="1044" y="500"/>
                  </a:lnTo>
                  <a:lnTo>
                    <a:pt x="1042" y="500"/>
                  </a:lnTo>
                  <a:lnTo>
                    <a:pt x="1042" y="502"/>
                  </a:lnTo>
                  <a:lnTo>
                    <a:pt x="1040" y="502"/>
                  </a:lnTo>
                  <a:lnTo>
                    <a:pt x="1039" y="502"/>
                  </a:lnTo>
                  <a:lnTo>
                    <a:pt x="1040" y="502"/>
                  </a:lnTo>
                  <a:lnTo>
                    <a:pt x="1040" y="500"/>
                  </a:lnTo>
                  <a:lnTo>
                    <a:pt x="1040" y="502"/>
                  </a:lnTo>
                  <a:lnTo>
                    <a:pt x="1039" y="502"/>
                  </a:lnTo>
                  <a:lnTo>
                    <a:pt x="1037" y="502"/>
                  </a:lnTo>
                  <a:lnTo>
                    <a:pt x="1037" y="503"/>
                  </a:lnTo>
                  <a:lnTo>
                    <a:pt x="1037" y="505"/>
                  </a:lnTo>
                  <a:lnTo>
                    <a:pt x="1035" y="505"/>
                  </a:lnTo>
                  <a:lnTo>
                    <a:pt x="1037" y="505"/>
                  </a:lnTo>
                  <a:lnTo>
                    <a:pt x="1037" y="507"/>
                  </a:lnTo>
                  <a:lnTo>
                    <a:pt x="1035" y="507"/>
                  </a:lnTo>
                  <a:lnTo>
                    <a:pt x="1035" y="509"/>
                  </a:lnTo>
                  <a:lnTo>
                    <a:pt x="1037" y="510"/>
                  </a:lnTo>
                  <a:lnTo>
                    <a:pt x="1037" y="509"/>
                  </a:lnTo>
                  <a:lnTo>
                    <a:pt x="1039" y="509"/>
                  </a:lnTo>
                  <a:lnTo>
                    <a:pt x="1039" y="507"/>
                  </a:lnTo>
                  <a:lnTo>
                    <a:pt x="1040" y="505"/>
                  </a:lnTo>
                  <a:lnTo>
                    <a:pt x="1042" y="505"/>
                  </a:lnTo>
                  <a:lnTo>
                    <a:pt x="1042" y="507"/>
                  </a:lnTo>
                  <a:lnTo>
                    <a:pt x="1042" y="505"/>
                  </a:lnTo>
                  <a:lnTo>
                    <a:pt x="1044" y="505"/>
                  </a:lnTo>
                  <a:lnTo>
                    <a:pt x="1042" y="505"/>
                  </a:lnTo>
                  <a:lnTo>
                    <a:pt x="1042" y="507"/>
                  </a:lnTo>
                  <a:lnTo>
                    <a:pt x="1040" y="509"/>
                  </a:lnTo>
                  <a:lnTo>
                    <a:pt x="1040" y="510"/>
                  </a:lnTo>
                  <a:lnTo>
                    <a:pt x="1040" y="512"/>
                  </a:lnTo>
                  <a:lnTo>
                    <a:pt x="1040" y="514"/>
                  </a:lnTo>
                  <a:lnTo>
                    <a:pt x="1039" y="515"/>
                  </a:lnTo>
                  <a:lnTo>
                    <a:pt x="1039" y="517"/>
                  </a:lnTo>
                  <a:lnTo>
                    <a:pt x="1037" y="519"/>
                  </a:lnTo>
                  <a:lnTo>
                    <a:pt x="1037" y="520"/>
                  </a:lnTo>
                  <a:lnTo>
                    <a:pt x="1037" y="522"/>
                  </a:lnTo>
                  <a:lnTo>
                    <a:pt x="1037" y="524"/>
                  </a:lnTo>
                  <a:lnTo>
                    <a:pt x="1035" y="524"/>
                  </a:lnTo>
                  <a:lnTo>
                    <a:pt x="1037" y="524"/>
                  </a:lnTo>
                  <a:lnTo>
                    <a:pt x="1035" y="526"/>
                  </a:lnTo>
                  <a:lnTo>
                    <a:pt x="1035" y="527"/>
                  </a:lnTo>
                  <a:lnTo>
                    <a:pt x="1033" y="527"/>
                  </a:lnTo>
                  <a:lnTo>
                    <a:pt x="1033" y="529"/>
                  </a:lnTo>
                  <a:lnTo>
                    <a:pt x="1033" y="531"/>
                  </a:lnTo>
                  <a:lnTo>
                    <a:pt x="1033" y="532"/>
                  </a:lnTo>
                  <a:lnTo>
                    <a:pt x="1033" y="534"/>
                  </a:lnTo>
                  <a:lnTo>
                    <a:pt x="1033" y="536"/>
                  </a:lnTo>
                  <a:lnTo>
                    <a:pt x="1033" y="538"/>
                  </a:lnTo>
                  <a:lnTo>
                    <a:pt x="1032" y="538"/>
                  </a:lnTo>
                  <a:lnTo>
                    <a:pt x="1032" y="539"/>
                  </a:lnTo>
                  <a:lnTo>
                    <a:pt x="1030" y="541"/>
                  </a:lnTo>
                  <a:lnTo>
                    <a:pt x="1030" y="543"/>
                  </a:lnTo>
                  <a:lnTo>
                    <a:pt x="1030" y="544"/>
                  </a:lnTo>
                  <a:lnTo>
                    <a:pt x="1028" y="544"/>
                  </a:lnTo>
                  <a:lnTo>
                    <a:pt x="1030" y="544"/>
                  </a:lnTo>
                  <a:lnTo>
                    <a:pt x="1030" y="543"/>
                  </a:lnTo>
                  <a:lnTo>
                    <a:pt x="1028" y="543"/>
                  </a:lnTo>
                  <a:lnTo>
                    <a:pt x="1028" y="544"/>
                  </a:lnTo>
                  <a:lnTo>
                    <a:pt x="1028" y="543"/>
                  </a:lnTo>
                  <a:lnTo>
                    <a:pt x="1028" y="541"/>
                  </a:lnTo>
                  <a:lnTo>
                    <a:pt x="1030" y="541"/>
                  </a:lnTo>
                  <a:lnTo>
                    <a:pt x="1028" y="541"/>
                  </a:lnTo>
                  <a:lnTo>
                    <a:pt x="1028" y="543"/>
                  </a:lnTo>
                  <a:lnTo>
                    <a:pt x="1028" y="541"/>
                  </a:lnTo>
                  <a:lnTo>
                    <a:pt x="1028" y="539"/>
                  </a:lnTo>
                  <a:lnTo>
                    <a:pt x="1028" y="538"/>
                  </a:lnTo>
                  <a:lnTo>
                    <a:pt x="1027" y="538"/>
                  </a:lnTo>
                  <a:lnTo>
                    <a:pt x="1027" y="536"/>
                  </a:lnTo>
                  <a:lnTo>
                    <a:pt x="1025" y="536"/>
                  </a:lnTo>
                  <a:lnTo>
                    <a:pt x="1023" y="536"/>
                  </a:lnTo>
                  <a:lnTo>
                    <a:pt x="1023" y="534"/>
                  </a:lnTo>
                  <a:lnTo>
                    <a:pt x="1022" y="534"/>
                  </a:lnTo>
                  <a:lnTo>
                    <a:pt x="1023" y="534"/>
                  </a:lnTo>
                  <a:lnTo>
                    <a:pt x="1022" y="534"/>
                  </a:lnTo>
                  <a:lnTo>
                    <a:pt x="1023" y="534"/>
                  </a:lnTo>
                  <a:lnTo>
                    <a:pt x="1023" y="532"/>
                  </a:lnTo>
                  <a:lnTo>
                    <a:pt x="1023" y="531"/>
                  </a:lnTo>
                  <a:lnTo>
                    <a:pt x="1025" y="529"/>
                  </a:lnTo>
                  <a:lnTo>
                    <a:pt x="1025" y="527"/>
                  </a:lnTo>
                  <a:lnTo>
                    <a:pt x="1025" y="526"/>
                  </a:lnTo>
                  <a:lnTo>
                    <a:pt x="1025" y="524"/>
                  </a:lnTo>
                  <a:lnTo>
                    <a:pt x="1023" y="522"/>
                  </a:lnTo>
                  <a:lnTo>
                    <a:pt x="1023" y="520"/>
                  </a:lnTo>
                  <a:lnTo>
                    <a:pt x="1022" y="522"/>
                  </a:lnTo>
                  <a:lnTo>
                    <a:pt x="1022" y="524"/>
                  </a:lnTo>
                  <a:lnTo>
                    <a:pt x="1020" y="524"/>
                  </a:lnTo>
                  <a:lnTo>
                    <a:pt x="1020" y="526"/>
                  </a:lnTo>
                  <a:lnTo>
                    <a:pt x="1020" y="524"/>
                  </a:lnTo>
                  <a:lnTo>
                    <a:pt x="1020" y="526"/>
                  </a:lnTo>
                  <a:lnTo>
                    <a:pt x="1018" y="526"/>
                  </a:lnTo>
                  <a:lnTo>
                    <a:pt x="1018" y="527"/>
                  </a:lnTo>
                  <a:lnTo>
                    <a:pt x="1018" y="526"/>
                  </a:lnTo>
                  <a:lnTo>
                    <a:pt x="1020" y="526"/>
                  </a:lnTo>
                  <a:lnTo>
                    <a:pt x="1020" y="527"/>
                  </a:lnTo>
                  <a:lnTo>
                    <a:pt x="1018" y="527"/>
                  </a:lnTo>
                  <a:lnTo>
                    <a:pt x="1018" y="529"/>
                  </a:lnTo>
                  <a:lnTo>
                    <a:pt x="1016" y="531"/>
                  </a:lnTo>
                  <a:lnTo>
                    <a:pt x="1016" y="532"/>
                  </a:lnTo>
                  <a:lnTo>
                    <a:pt x="1015" y="534"/>
                  </a:lnTo>
                  <a:lnTo>
                    <a:pt x="1013" y="534"/>
                  </a:lnTo>
                  <a:lnTo>
                    <a:pt x="1011" y="534"/>
                  </a:lnTo>
                  <a:lnTo>
                    <a:pt x="1010" y="534"/>
                  </a:lnTo>
                  <a:lnTo>
                    <a:pt x="1008" y="534"/>
                  </a:lnTo>
                  <a:lnTo>
                    <a:pt x="1008" y="536"/>
                  </a:lnTo>
                  <a:lnTo>
                    <a:pt x="1006" y="536"/>
                  </a:lnTo>
                  <a:lnTo>
                    <a:pt x="1006" y="538"/>
                  </a:lnTo>
                  <a:lnTo>
                    <a:pt x="1006" y="539"/>
                  </a:lnTo>
                  <a:lnTo>
                    <a:pt x="1006" y="541"/>
                  </a:lnTo>
                  <a:lnTo>
                    <a:pt x="1005" y="541"/>
                  </a:lnTo>
                  <a:lnTo>
                    <a:pt x="1005" y="543"/>
                  </a:lnTo>
                  <a:lnTo>
                    <a:pt x="1005" y="544"/>
                  </a:lnTo>
                  <a:lnTo>
                    <a:pt x="1003" y="544"/>
                  </a:lnTo>
                  <a:lnTo>
                    <a:pt x="1001" y="544"/>
                  </a:lnTo>
                  <a:lnTo>
                    <a:pt x="1001" y="546"/>
                  </a:lnTo>
                  <a:lnTo>
                    <a:pt x="1001" y="548"/>
                  </a:lnTo>
                  <a:lnTo>
                    <a:pt x="1001" y="549"/>
                  </a:lnTo>
                  <a:lnTo>
                    <a:pt x="999" y="549"/>
                  </a:lnTo>
                  <a:lnTo>
                    <a:pt x="999" y="551"/>
                  </a:lnTo>
                  <a:lnTo>
                    <a:pt x="998" y="551"/>
                  </a:lnTo>
                  <a:lnTo>
                    <a:pt x="998" y="553"/>
                  </a:lnTo>
                  <a:lnTo>
                    <a:pt x="996" y="553"/>
                  </a:lnTo>
                  <a:lnTo>
                    <a:pt x="996" y="555"/>
                  </a:lnTo>
                  <a:lnTo>
                    <a:pt x="996" y="556"/>
                  </a:lnTo>
                  <a:lnTo>
                    <a:pt x="994" y="556"/>
                  </a:lnTo>
                  <a:lnTo>
                    <a:pt x="994" y="555"/>
                  </a:lnTo>
                  <a:lnTo>
                    <a:pt x="993" y="555"/>
                  </a:lnTo>
                  <a:lnTo>
                    <a:pt x="993" y="553"/>
                  </a:lnTo>
                  <a:lnTo>
                    <a:pt x="991" y="553"/>
                  </a:lnTo>
                  <a:lnTo>
                    <a:pt x="991" y="551"/>
                  </a:lnTo>
                  <a:lnTo>
                    <a:pt x="989" y="551"/>
                  </a:lnTo>
                  <a:lnTo>
                    <a:pt x="989" y="553"/>
                  </a:lnTo>
                  <a:lnTo>
                    <a:pt x="989" y="551"/>
                  </a:lnTo>
                  <a:lnTo>
                    <a:pt x="988" y="553"/>
                  </a:lnTo>
                  <a:lnTo>
                    <a:pt x="986" y="553"/>
                  </a:lnTo>
                  <a:lnTo>
                    <a:pt x="986" y="555"/>
                  </a:lnTo>
                  <a:lnTo>
                    <a:pt x="986" y="556"/>
                  </a:lnTo>
                  <a:lnTo>
                    <a:pt x="986" y="558"/>
                  </a:lnTo>
                  <a:lnTo>
                    <a:pt x="984" y="558"/>
                  </a:lnTo>
                  <a:lnTo>
                    <a:pt x="982" y="558"/>
                  </a:lnTo>
                  <a:lnTo>
                    <a:pt x="981" y="558"/>
                  </a:lnTo>
                  <a:lnTo>
                    <a:pt x="974" y="558"/>
                  </a:lnTo>
                  <a:lnTo>
                    <a:pt x="967" y="558"/>
                  </a:lnTo>
                  <a:lnTo>
                    <a:pt x="960" y="558"/>
                  </a:lnTo>
                  <a:lnTo>
                    <a:pt x="959" y="558"/>
                  </a:lnTo>
                  <a:lnTo>
                    <a:pt x="957" y="558"/>
                  </a:lnTo>
                  <a:lnTo>
                    <a:pt x="955" y="558"/>
                  </a:lnTo>
                  <a:lnTo>
                    <a:pt x="952" y="558"/>
                  </a:lnTo>
                  <a:lnTo>
                    <a:pt x="950" y="558"/>
                  </a:lnTo>
                  <a:lnTo>
                    <a:pt x="947" y="558"/>
                  </a:lnTo>
                  <a:lnTo>
                    <a:pt x="945" y="558"/>
                  </a:lnTo>
                  <a:lnTo>
                    <a:pt x="942" y="558"/>
                  </a:lnTo>
                  <a:lnTo>
                    <a:pt x="940" y="558"/>
                  </a:lnTo>
                  <a:lnTo>
                    <a:pt x="937" y="558"/>
                  </a:lnTo>
                  <a:lnTo>
                    <a:pt x="931" y="558"/>
                  </a:lnTo>
                  <a:lnTo>
                    <a:pt x="930" y="558"/>
                  </a:lnTo>
                  <a:lnTo>
                    <a:pt x="925" y="558"/>
                  </a:lnTo>
                  <a:lnTo>
                    <a:pt x="925" y="560"/>
                  </a:lnTo>
                  <a:lnTo>
                    <a:pt x="925" y="565"/>
                  </a:lnTo>
                  <a:lnTo>
                    <a:pt x="925" y="566"/>
                  </a:lnTo>
                  <a:lnTo>
                    <a:pt x="925" y="572"/>
                  </a:lnTo>
                  <a:lnTo>
                    <a:pt x="925" y="577"/>
                  </a:lnTo>
                  <a:lnTo>
                    <a:pt x="925" y="578"/>
                  </a:lnTo>
                  <a:lnTo>
                    <a:pt x="923" y="578"/>
                  </a:lnTo>
                  <a:lnTo>
                    <a:pt x="921" y="578"/>
                  </a:lnTo>
                  <a:lnTo>
                    <a:pt x="920" y="578"/>
                  </a:lnTo>
                  <a:lnTo>
                    <a:pt x="914" y="578"/>
                  </a:lnTo>
                  <a:lnTo>
                    <a:pt x="909" y="578"/>
                  </a:lnTo>
                  <a:lnTo>
                    <a:pt x="909" y="580"/>
                  </a:lnTo>
                  <a:lnTo>
                    <a:pt x="911" y="580"/>
                  </a:lnTo>
                  <a:lnTo>
                    <a:pt x="911" y="582"/>
                  </a:lnTo>
                  <a:lnTo>
                    <a:pt x="913" y="582"/>
                  </a:lnTo>
                  <a:lnTo>
                    <a:pt x="913" y="580"/>
                  </a:lnTo>
                  <a:lnTo>
                    <a:pt x="914" y="580"/>
                  </a:lnTo>
                  <a:lnTo>
                    <a:pt x="914" y="582"/>
                  </a:lnTo>
                  <a:lnTo>
                    <a:pt x="914" y="583"/>
                  </a:lnTo>
                  <a:lnTo>
                    <a:pt x="916" y="583"/>
                  </a:lnTo>
                  <a:lnTo>
                    <a:pt x="916" y="585"/>
                  </a:lnTo>
                  <a:lnTo>
                    <a:pt x="918" y="585"/>
                  </a:lnTo>
                  <a:lnTo>
                    <a:pt x="918" y="587"/>
                  </a:lnTo>
                  <a:lnTo>
                    <a:pt x="920" y="587"/>
                  </a:lnTo>
                  <a:lnTo>
                    <a:pt x="920" y="589"/>
                  </a:lnTo>
                  <a:lnTo>
                    <a:pt x="921" y="589"/>
                  </a:lnTo>
                  <a:lnTo>
                    <a:pt x="921" y="590"/>
                  </a:lnTo>
                  <a:lnTo>
                    <a:pt x="923" y="590"/>
                  </a:lnTo>
                  <a:lnTo>
                    <a:pt x="923" y="592"/>
                  </a:lnTo>
                  <a:lnTo>
                    <a:pt x="925" y="592"/>
                  </a:lnTo>
                  <a:lnTo>
                    <a:pt x="925" y="590"/>
                  </a:lnTo>
                  <a:lnTo>
                    <a:pt x="925" y="592"/>
                  </a:lnTo>
                  <a:lnTo>
                    <a:pt x="926" y="592"/>
                  </a:lnTo>
                  <a:lnTo>
                    <a:pt x="926" y="594"/>
                  </a:lnTo>
                  <a:lnTo>
                    <a:pt x="928" y="594"/>
                  </a:lnTo>
                  <a:lnTo>
                    <a:pt x="930" y="594"/>
                  </a:lnTo>
                  <a:lnTo>
                    <a:pt x="930" y="595"/>
                  </a:lnTo>
                  <a:lnTo>
                    <a:pt x="931" y="595"/>
                  </a:lnTo>
                  <a:lnTo>
                    <a:pt x="933" y="597"/>
                  </a:lnTo>
                  <a:lnTo>
                    <a:pt x="935" y="599"/>
                  </a:lnTo>
                  <a:lnTo>
                    <a:pt x="935" y="600"/>
                  </a:lnTo>
                  <a:lnTo>
                    <a:pt x="935" y="602"/>
                  </a:lnTo>
                  <a:lnTo>
                    <a:pt x="937" y="602"/>
                  </a:lnTo>
                  <a:lnTo>
                    <a:pt x="935" y="602"/>
                  </a:lnTo>
                  <a:lnTo>
                    <a:pt x="935" y="604"/>
                  </a:lnTo>
                  <a:lnTo>
                    <a:pt x="937" y="604"/>
                  </a:lnTo>
                  <a:lnTo>
                    <a:pt x="937" y="606"/>
                  </a:lnTo>
                  <a:lnTo>
                    <a:pt x="938" y="606"/>
                  </a:lnTo>
                  <a:lnTo>
                    <a:pt x="940" y="606"/>
                  </a:lnTo>
                  <a:lnTo>
                    <a:pt x="942" y="606"/>
                  </a:lnTo>
                  <a:lnTo>
                    <a:pt x="942" y="607"/>
                  </a:lnTo>
                  <a:lnTo>
                    <a:pt x="943" y="607"/>
                  </a:lnTo>
                  <a:lnTo>
                    <a:pt x="943" y="609"/>
                  </a:lnTo>
                  <a:lnTo>
                    <a:pt x="945" y="609"/>
                  </a:lnTo>
                  <a:lnTo>
                    <a:pt x="943" y="609"/>
                  </a:lnTo>
                  <a:lnTo>
                    <a:pt x="943" y="611"/>
                  </a:lnTo>
                  <a:lnTo>
                    <a:pt x="943" y="609"/>
                  </a:lnTo>
                  <a:lnTo>
                    <a:pt x="943" y="611"/>
                  </a:lnTo>
                  <a:lnTo>
                    <a:pt x="945" y="611"/>
                  </a:lnTo>
                  <a:lnTo>
                    <a:pt x="943" y="611"/>
                  </a:lnTo>
                  <a:lnTo>
                    <a:pt x="943" y="612"/>
                  </a:lnTo>
                  <a:lnTo>
                    <a:pt x="942" y="612"/>
                  </a:lnTo>
                  <a:lnTo>
                    <a:pt x="943" y="614"/>
                  </a:lnTo>
                  <a:lnTo>
                    <a:pt x="942" y="612"/>
                  </a:lnTo>
                  <a:lnTo>
                    <a:pt x="942" y="614"/>
                  </a:lnTo>
                  <a:lnTo>
                    <a:pt x="943" y="614"/>
                  </a:lnTo>
                  <a:lnTo>
                    <a:pt x="942" y="614"/>
                  </a:lnTo>
                  <a:lnTo>
                    <a:pt x="942" y="616"/>
                  </a:lnTo>
                  <a:lnTo>
                    <a:pt x="943" y="616"/>
                  </a:lnTo>
                  <a:lnTo>
                    <a:pt x="942" y="617"/>
                  </a:lnTo>
                  <a:lnTo>
                    <a:pt x="943" y="617"/>
                  </a:lnTo>
                  <a:lnTo>
                    <a:pt x="942" y="617"/>
                  </a:lnTo>
                  <a:lnTo>
                    <a:pt x="942" y="619"/>
                  </a:lnTo>
                  <a:lnTo>
                    <a:pt x="943" y="619"/>
                  </a:lnTo>
                  <a:lnTo>
                    <a:pt x="942" y="619"/>
                  </a:lnTo>
                  <a:lnTo>
                    <a:pt x="938" y="619"/>
                  </a:lnTo>
                  <a:lnTo>
                    <a:pt x="933" y="619"/>
                  </a:lnTo>
                  <a:lnTo>
                    <a:pt x="930" y="619"/>
                  </a:lnTo>
                  <a:lnTo>
                    <a:pt x="926" y="619"/>
                  </a:lnTo>
                  <a:lnTo>
                    <a:pt x="925" y="619"/>
                  </a:lnTo>
                  <a:lnTo>
                    <a:pt x="921" y="619"/>
                  </a:lnTo>
                  <a:lnTo>
                    <a:pt x="920" y="619"/>
                  </a:lnTo>
                  <a:lnTo>
                    <a:pt x="918" y="619"/>
                  </a:lnTo>
                  <a:lnTo>
                    <a:pt x="916" y="619"/>
                  </a:lnTo>
                  <a:lnTo>
                    <a:pt x="914" y="619"/>
                  </a:lnTo>
                  <a:lnTo>
                    <a:pt x="913" y="619"/>
                  </a:lnTo>
                  <a:lnTo>
                    <a:pt x="911" y="619"/>
                  </a:lnTo>
                  <a:lnTo>
                    <a:pt x="909" y="619"/>
                  </a:lnTo>
                  <a:lnTo>
                    <a:pt x="908" y="619"/>
                  </a:lnTo>
                  <a:lnTo>
                    <a:pt x="906" y="619"/>
                  </a:lnTo>
                  <a:lnTo>
                    <a:pt x="904" y="619"/>
                  </a:lnTo>
                  <a:lnTo>
                    <a:pt x="903" y="619"/>
                  </a:lnTo>
                  <a:lnTo>
                    <a:pt x="901" y="619"/>
                  </a:lnTo>
                  <a:lnTo>
                    <a:pt x="899" y="619"/>
                  </a:lnTo>
                  <a:lnTo>
                    <a:pt x="899" y="621"/>
                  </a:lnTo>
                  <a:lnTo>
                    <a:pt x="897" y="621"/>
                  </a:lnTo>
                  <a:lnTo>
                    <a:pt x="897" y="623"/>
                  </a:lnTo>
                  <a:lnTo>
                    <a:pt x="897" y="624"/>
                  </a:lnTo>
                  <a:lnTo>
                    <a:pt x="896" y="624"/>
                  </a:lnTo>
                  <a:lnTo>
                    <a:pt x="896" y="626"/>
                  </a:lnTo>
                  <a:lnTo>
                    <a:pt x="894" y="628"/>
                  </a:lnTo>
                  <a:lnTo>
                    <a:pt x="894" y="629"/>
                  </a:lnTo>
                  <a:lnTo>
                    <a:pt x="892" y="629"/>
                  </a:lnTo>
                  <a:lnTo>
                    <a:pt x="892" y="631"/>
                  </a:lnTo>
                  <a:lnTo>
                    <a:pt x="892" y="633"/>
                  </a:lnTo>
                  <a:lnTo>
                    <a:pt x="891" y="633"/>
                  </a:lnTo>
                  <a:lnTo>
                    <a:pt x="891" y="634"/>
                  </a:lnTo>
                  <a:lnTo>
                    <a:pt x="891" y="636"/>
                  </a:lnTo>
                  <a:lnTo>
                    <a:pt x="889" y="636"/>
                  </a:lnTo>
                  <a:lnTo>
                    <a:pt x="889" y="638"/>
                  </a:lnTo>
                  <a:lnTo>
                    <a:pt x="887" y="640"/>
                  </a:lnTo>
                  <a:lnTo>
                    <a:pt x="887" y="641"/>
                  </a:lnTo>
                  <a:lnTo>
                    <a:pt x="886" y="641"/>
                  </a:lnTo>
                  <a:lnTo>
                    <a:pt x="886" y="643"/>
                  </a:lnTo>
                  <a:lnTo>
                    <a:pt x="886" y="645"/>
                  </a:lnTo>
                  <a:lnTo>
                    <a:pt x="884" y="645"/>
                  </a:lnTo>
                  <a:lnTo>
                    <a:pt x="884" y="646"/>
                  </a:lnTo>
                  <a:lnTo>
                    <a:pt x="884" y="648"/>
                  </a:lnTo>
                  <a:lnTo>
                    <a:pt x="882" y="648"/>
                  </a:lnTo>
                  <a:lnTo>
                    <a:pt x="884" y="648"/>
                  </a:lnTo>
                  <a:lnTo>
                    <a:pt x="884" y="650"/>
                  </a:lnTo>
                  <a:lnTo>
                    <a:pt x="886" y="651"/>
                  </a:lnTo>
                  <a:lnTo>
                    <a:pt x="886" y="653"/>
                  </a:lnTo>
                  <a:lnTo>
                    <a:pt x="887" y="653"/>
                  </a:lnTo>
                  <a:lnTo>
                    <a:pt x="887" y="655"/>
                  </a:lnTo>
                  <a:lnTo>
                    <a:pt x="887" y="657"/>
                  </a:lnTo>
                  <a:lnTo>
                    <a:pt x="886" y="657"/>
                  </a:lnTo>
                  <a:lnTo>
                    <a:pt x="886" y="658"/>
                  </a:lnTo>
                  <a:lnTo>
                    <a:pt x="884" y="658"/>
                  </a:lnTo>
                  <a:lnTo>
                    <a:pt x="886" y="658"/>
                  </a:lnTo>
                  <a:lnTo>
                    <a:pt x="886" y="660"/>
                  </a:lnTo>
                  <a:lnTo>
                    <a:pt x="886" y="662"/>
                  </a:lnTo>
                  <a:lnTo>
                    <a:pt x="884" y="662"/>
                  </a:lnTo>
                  <a:lnTo>
                    <a:pt x="884" y="663"/>
                  </a:lnTo>
                  <a:lnTo>
                    <a:pt x="884" y="665"/>
                  </a:lnTo>
                  <a:lnTo>
                    <a:pt x="884" y="667"/>
                  </a:lnTo>
                  <a:lnTo>
                    <a:pt x="886" y="667"/>
                  </a:lnTo>
                  <a:lnTo>
                    <a:pt x="886" y="668"/>
                  </a:lnTo>
                  <a:lnTo>
                    <a:pt x="884" y="670"/>
                  </a:lnTo>
                  <a:lnTo>
                    <a:pt x="884" y="672"/>
                  </a:lnTo>
                  <a:lnTo>
                    <a:pt x="882" y="674"/>
                  </a:lnTo>
                  <a:lnTo>
                    <a:pt x="880" y="674"/>
                  </a:lnTo>
                  <a:lnTo>
                    <a:pt x="880" y="672"/>
                  </a:lnTo>
                  <a:lnTo>
                    <a:pt x="879" y="670"/>
                  </a:lnTo>
                  <a:lnTo>
                    <a:pt x="877" y="670"/>
                  </a:lnTo>
                  <a:lnTo>
                    <a:pt x="877" y="668"/>
                  </a:lnTo>
                  <a:lnTo>
                    <a:pt x="875" y="668"/>
                  </a:lnTo>
                  <a:lnTo>
                    <a:pt x="877" y="668"/>
                  </a:lnTo>
                  <a:lnTo>
                    <a:pt x="877" y="667"/>
                  </a:lnTo>
                  <a:lnTo>
                    <a:pt x="875" y="668"/>
                  </a:lnTo>
                  <a:lnTo>
                    <a:pt x="875" y="667"/>
                  </a:lnTo>
                  <a:lnTo>
                    <a:pt x="874" y="665"/>
                  </a:lnTo>
                  <a:lnTo>
                    <a:pt x="872" y="665"/>
                  </a:lnTo>
                  <a:lnTo>
                    <a:pt x="872" y="663"/>
                  </a:lnTo>
                  <a:lnTo>
                    <a:pt x="870" y="662"/>
                  </a:lnTo>
                  <a:lnTo>
                    <a:pt x="869" y="660"/>
                  </a:lnTo>
                  <a:lnTo>
                    <a:pt x="867" y="658"/>
                  </a:lnTo>
                  <a:lnTo>
                    <a:pt x="867" y="657"/>
                  </a:lnTo>
                  <a:lnTo>
                    <a:pt x="865" y="657"/>
                  </a:lnTo>
                  <a:lnTo>
                    <a:pt x="865" y="655"/>
                  </a:lnTo>
                  <a:lnTo>
                    <a:pt x="863" y="655"/>
                  </a:lnTo>
                  <a:lnTo>
                    <a:pt x="863" y="653"/>
                  </a:lnTo>
                  <a:lnTo>
                    <a:pt x="862" y="653"/>
                  </a:lnTo>
                  <a:lnTo>
                    <a:pt x="862" y="651"/>
                  </a:lnTo>
                  <a:lnTo>
                    <a:pt x="860" y="651"/>
                  </a:lnTo>
                  <a:lnTo>
                    <a:pt x="860" y="650"/>
                  </a:lnTo>
                  <a:lnTo>
                    <a:pt x="858" y="650"/>
                  </a:lnTo>
                  <a:lnTo>
                    <a:pt x="858" y="648"/>
                  </a:lnTo>
                  <a:lnTo>
                    <a:pt x="857" y="648"/>
                  </a:lnTo>
                  <a:lnTo>
                    <a:pt x="857" y="646"/>
                  </a:lnTo>
                  <a:lnTo>
                    <a:pt x="855" y="646"/>
                  </a:lnTo>
                  <a:lnTo>
                    <a:pt x="855" y="645"/>
                  </a:lnTo>
                  <a:lnTo>
                    <a:pt x="853" y="645"/>
                  </a:lnTo>
                  <a:lnTo>
                    <a:pt x="853" y="643"/>
                  </a:lnTo>
                  <a:lnTo>
                    <a:pt x="852" y="643"/>
                  </a:lnTo>
                  <a:lnTo>
                    <a:pt x="850" y="641"/>
                  </a:lnTo>
                  <a:lnTo>
                    <a:pt x="848" y="640"/>
                  </a:lnTo>
                  <a:lnTo>
                    <a:pt x="846" y="638"/>
                  </a:lnTo>
                  <a:lnTo>
                    <a:pt x="845" y="638"/>
                  </a:lnTo>
                  <a:lnTo>
                    <a:pt x="845" y="636"/>
                  </a:lnTo>
                  <a:lnTo>
                    <a:pt x="843" y="636"/>
                  </a:lnTo>
                  <a:lnTo>
                    <a:pt x="843" y="634"/>
                  </a:lnTo>
                  <a:lnTo>
                    <a:pt x="841" y="634"/>
                  </a:lnTo>
                  <a:lnTo>
                    <a:pt x="841" y="633"/>
                  </a:lnTo>
                  <a:lnTo>
                    <a:pt x="840" y="633"/>
                  </a:lnTo>
                  <a:lnTo>
                    <a:pt x="838" y="631"/>
                  </a:lnTo>
                  <a:lnTo>
                    <a:pt x="836" y="629"/>
                  </a:lnTo>
                  <a:lnTo>
                    <a:pt x="835" y="629"/>
                  </a:lnTo>
                  <a:lnTo>
                    <a:pt x="835" y="628"/>
                  </a:lnTo>
                  <a:lnTo>
                    <a:pt x="833" y="628"/>
                  </a:lnTo>
                  <a:lnTo>
                    <a:pt x="831" y="626"/>
                  </a:lnTo>
                  <a:lnTo>
                    <a:pt x="829" y="626"/>
                  </a:lnTo>
                  <a:lnTo>
                    <a:pt x="829" y="624"/>
                  </a:lnTo>
                  <a:lnTo>
                    <a:pt x="828" y="624"/>
                  </a:lnTo>
                  <a:lnTo>
                    <a:pt x="826" y="624"/>
                  </a:lnTo>
                  <a:lnTo>
                    <a:pt x="826" y="623"/>
                  </a:lnTo>
                  <a:lnTo>
                    <a:pt x="824" y="623"/>
                  </a:lnTo>
                  <a:lnTo>
                    <a:pt x="823" y="623"/>
                  </a:lnTo>
                  <a:lnTo>
                    <a:pt x="821" y="623"/>
                  </a:lnTo>
                  <a:lnTo>
                    <a:pt x="821" y="621"/>
                  </a:lnTo>
                  <a:lnTo>
                    <a:pt x="819" y="621"/>
                  </a:lnTo>
                  <a:lnTo>
                    <a:pt x="818" y="621"/>
                  </a:lnTo>
                  <a:lnTo>
                    <a:pt x="818" y="619"/>
                  </a:lnTo>
                  <a:lnTo>
                    <a:pt x="816" y="619"/>
                  </a:lnTo>
                  <a:lnTo>
                    <a:pt x="814" y="619"/>
                  </a:lnTo>
                  <a:lnTo>
                    <a:pt x="814" y="617"/>
                  </a:lnTo>
                  <a:lnTo>
                    <a:pt x="812" y="617"/>
                  </a:lnTo>
                  <a:lnTo>
                    <a:pt x="811" y="617"/>
                  </a:lnTo>
                  <a:lnTo>
                    <a:pt x="809" y="617"/>
                  </a:lnTo>
                  <a:lnTo>
                    <a:pt x="809" y="616"/>
                  </a:lnTo>
                  <a:lnTo>
                    <a:pt x="807" y="616"/>
                  </a:lnTo>
                  <a:lnTo>
                    <a:pt x="806" y="616"/>
                  </a:lnTo>
                  <a:lnTo>
                    <a:pt x="804" y="616"/>
                  </a:lnTo>
                  <a:lnTo>
                    <a:pt x="802" y="616"/>
                  </a:lnTo>
                  <a:lnTo>
                    <a:pt x="801" y="616"/>
                  </a:lnTo>
                  <a:lnTo>
                    <a:pt x="799" y="616"/>
                  </a:lnTo>
                  <a:lnTo>
                    <a:pt x="797" y="616"/>
                  </a:lnTo>
                  <a:lnTo>
                    <a:pt x="795" y="614"/>
                  </a:lnTo>
                  <a:lnTo>
                    <a:pt x="794" y="614"/>
                  </a:lnTo>
                  <a:lnTo>
                    <a:pt x="792" y="614"/>
                  </a:lnTo>
                  <a:lnTo>
                    <a:pt x="792" y="616"/>
                  </a:lnTo>
                  <a:lnTo>
                    <a:pt x="790" y="616"/>
                  </a:lnTo>
                  <a:lnTo>
                    <a:pt x="787" y="616"/>
                  </a:lnTo>
                  <a:lnTo>
                    <a:pt x="785" y="616"/>
                  </a:lnTo>
                  <a:lnTo>
                    <a:pt x="784" y="616"/>
                  </a:lnTo>
                  <a:lnTo>
                    <a:pt x="782" y="616"/>
                  </a:lnTo>
                  <a:lnTo>
                    <a:pt x="782" y="617"/>
                  </a:lnTo>
                  <a:lnTo>
                    <a:pt x="782" y="616"/>
                  </a:lnTo>
                  <a:lnTo>
                    <a:pt x="782" y="617"/>
                  </a:lnTo>
                  <a:lnTo>
                    <a:pt x="780" y="617"/>
                  </a:lnTo>
                  <a:lnTo>
                    <a:pt x="778" y="617"/>
                  </a:lnTo>
                  <a:lnTo>
                    <a:pt x="778" y="619"/>
                  </a:lnTo>
                  <a:lnTo>
                    <a:pt x="777" y="619"/>
                  </a:lnTo>
                  <a:lnTo>
                    <a:pt x="775" y="621"/>
                  </a:lnTo>
                  <a:lnTo>
                    <a:pt x="777" y="621"/>
                  </a:lnTo>
                  <a:lnTo>
                    <a:pt x="775" y="623"/>
                  </a:lnTo>
                  <a:lnTo>
                    <a:pt x="773" y="623"/>
                  </a:lnTo>
                  <a:lnTo>
                    <a:pt x="772" y="623"/>
                  </a:lnTo>
                  <a:lnTo>
                    <a:pt x="772" y="624"/>
                  </a:lnTo>
                  <a:lnTo>
                    <a:pt x="770" y="624"/>
                  </a:lnTo>
                  <a:lnTo>
                    <a:pt x="768" y="624"/>
                  </a:lnTo>
                  <a:lnTo>
                    <a:pt x="767" y="624"/>
                  </a:lnTo>
                  <a:lnTo>
                    <a:pt x="767" y="626"/>
                  </a:lnTo>
                  <a:lnTo>
                    <a:pt x="765" y="626"/>
                  </a:lnTo>
                  <a:lnTo>
                    <a:pt x="763" y="626"/>
                  </a:lnTo>
                  <a:lnTo>
                    <a:pt x="763" y="628"/>
                  </a:lnTo>
                  <a:lnTo>
                    <a:pt x="761" y="628"/>
                  </a:lnTo>
                  <a:lnTo>
                    <a:pt x="760" y="628"/>
                  </a:lnTo>
                  <a:lnTo>
                    <a:pt x="758" y="628"/>
                  </a:lnTo>
                  <a:lnTo>
                    <a:pt x="756" y="628"/>
                  </a:lnTo>
                  <a:lnTo>
                    <a:pt x="756" y="629"/>
                  </a:lnTo>
                  <a:lnTo>
                    <a:pt x="755" y="629"/>
                  </a:lnTo>
                  <a:lnTo>
                    <a:pt x="753" y="629"/>
                  </a:lnTo>
                  <a:lnTo>
                    <a:pt x="753" y="631"/>
                  </a:lnTo>
                  <a:lnTo>
                    <a:pt x="751" y="631"/>
                  </a:lnTo>
                  <a:lnTo>
                    <a:pt x="750" y="631"/>
                  </a:lnTo>
                  <a:lnTo>
                    <a:pt x="750" y="633"/>
                  </a:lnTo>
                  <a:lnTo>
                    <a:pt x="748" y="633"/>
                  </a:lnTo>
                  <a:lnTo>
                    <a:pt x="746" y="633"/>
                  </a:lnTo>
                  <a:lnTo>
                    <a:pt x="744" y="633"/>
                  </a:lnTo>
                  <a:lnTo>
                    <a:pt x="743" y="633"/>
                  </a:lnTo>
                  <a:lnTo>
                    <a:pt x="741" y="633"/>
                  </a:lnTo>
                  <a:lnTo>
                    <a:pt x="739" y="633"/>
                  </a:lnTo>
                  <a:lnTo>
                    <a:pt x="739" y="634"/>
                  </a:lnTo>
                  <a:lnTo>
                    <a:pt x="738" y="634"/>
                  </a:lnTo>
                  <a:lnTo>
                    <a:pt x="736" y="634"/>
                  </a:lnTo>
                  <a:lnTo>
                    <a:pt x="734" y="634"/>
                  </a:lnTo>
                  <a:lnTo>
                    <a:pt x="734" y="633"/>
                  </a:lnTo>
                  <a:lnTo>
                    <a:pt x="733" y="633"/>
                  </a:lnTo>
                  <a:lnTo>
                    <a:pt x="731" y="633"/>
                  </a:lnTo>
                  <a:lnTo>
                    <a:pt x="729" y="633"/>
                  </a:lnTo>
                  <a:lnTo>
                    <a:pt x="729" y="631"/>
                  </a:lnTo>
                  <a:lnTo>
                    <a:pt x="727" y="631"/>
                  </a:lnTo>
                  <a:lnTo>
                    <a:pt x="726" y="631"/>
                  </a:lnTo>
                  <a:lnTo>
                    <a:pt x="724" y="631"/>
                  </a:lnTo>
                  <a:lnTo>
                    <a:pt x="724" y="629"/>
                  </a:lnTo>
                  <a:lnTo>
                    <a:pt x="722" y="629"/>
                  </a:lnTo>
                  <a:lnTo>
                    <a:pt x="721" y="629"/>
                  </a:lnTo>
                  <a:lnTo>
                    <a:pt x="719" y="628"/>
                  </a:lnTo>
                  <a:lnTo>
                    <a:pt x="717" y="628"/>
                  </a:lnTo>
                  <a:lnTo>
                    <a:pt x="717" y="626"/>
                  </a:lnTo>
                  <a:lnTo>
                    <a:pt x="716" y="626"/>
                  </a:lnTo>
                  <a:lnTo>
                    <a:pt x="714" y="626"/>
                  </a:lnTo>
                  <a:lnTo>
                    <a:pt x="714" y="624"/>
                  </a:lnTo>
                  <a:lnTo>
                    <a:pt x="712" y="624"/>
                  </a:lnTo>
                  <a:lnTo>
                    <a:pt x="710" y="624"/>
                  </a:lnTo>
                  <a:lnTo>
                    <a:pt x="709" y="624"/>
                  </a:lnTo>
                  <a:lnTo>
                    <a:pt x="707" y="624"/>
                  </a:lnTo>
                  <a:lnTo>
                    <a:pt x="705" y="624"/>
                  </a:lnTo>
                  <a:lnTo>
                    <a:pt x="704" y="624"/>
                  </a:lnTo>
                  <a:lnTo>
                    <a:pt x="704" y="623"/>
                  </a:lnTo>
                  <a:lnTo>
                    <a:pt x="704" y="624"/>
                  </a:lnTo>
                  <a:lnTo>
                    <a:pt x="704" y="623"/>
                  </a:lnTo>
                  <a:lnTo>
                    <a:pt x="702" y="624"/>
                  </a:lnTo>
                  <a:lnTo>
                    <a:pt x="700" y="623"/>
                  </a:lnTo>
                  <a:lnTo>
                    <a:pt x="699" y="623"/>
                  </a:lnTo>
                  <a:lnTo>
                    <a:pt x="699" y="624"/>
                  </a:lnTo>
                  <a:lnTo>
                    <a:pt x="697" y="624"/>
                  </a:lnTo>
                  <a:lnTo>
                    <a:pt x="697" y="623"/>
                  </a:lnTo>
                  <a:lnTo>
                    <a:pt x="695" y="623"/>
                  </a:lnTo>
                  <a:lnTo>
                    <a:pt x="693" y="623"/>
                  </a:lnTo>
                  <a:lnTo>
                    <a:pt x="692" y="621"/>
                  </a:lnTo>
                  <a:lnTo>
                    <a:pt x="690" y="621"/>
                  </a:lnTo>
                  <a:lnTo>
                    <a:pt x="690" y="619"/>
                  </a:lnTo>
                  <a:lnTo>
                    <a:pt x="688" y="619"/>
                  </a:lnTo>
                  <a:lnTo>
                    <a:pt x="688" y="617"/>
                  </a:lnTo>
                  <a:lnTo>
                    <a:pt x="687" y="617"/>
                  </a:lnTo>
                  <a:lnTo>
                    <a:pt x="685" y="617"/>
                  </a:lnTo>
                  <a:lnTo>
                    <a:pt x="685" y="616"/>
                  </a:lnTo>
                  <a:lnTo>
                    <a:pt x="683" y="616"/>
                  </a:lnTo>
                  <a:lnTo>
                    <a:pt x="682" y="616"/>
                  </a:lnTo>
                  <a:lnTo>
                    <a:pt x="682" y="614"/>
                  </a:lnTo>
                  <a:lnTo>
                    <a:pt x="680" y="614"/>
                  </a:lnTo>
                  <a:lnTo>
                    <a:pt x="678" y="614"/>
                  </a:lnTo>
                  <a:lnTo>
                    <a:pt x="676" y="614"/>
                  </a:lnTo>
                  <a:lnTo>
                    <a:pt x="676" y="612"/>
                  </a:lnTo>
                  <a:lnTo>
                    <a:pt x="675" y="612"/>
                  </a:lnTo>
                  <a:lnTo>
                    <a:pt x="673" y="612"/>
                  </a:lnTo>
                  <a:lnTo>
                    <a:pt x="671" y="612"/>
                  </a:lnTo>
                  <a:lnTo>
                    <a:pt x="670" y="612"/>
                  </a:lnTo>
                  <a:lnTo>
                    <a:pt x="670" y="611"/>
                  </a:lnTo>
                  <a:lnTo>
                    <a:pt x="668" y="611"/>
                  </a:lnTo>
                  <a:lnTo>
                    <a:pt x="668" y="609"/>
                  </a:lnTo>
                  <a:lnTo>
                    <a:pt x="666" y="609"/>
                  </a:lnTo>
                  <a:lnTo>
                    <a:pt x="666" y="607"/>
                  </a:lnTo>
                  <a:lnTo>
                    <a:pt x="665" y="607"/>
                  </a:lnTo>
                  <a:lnTo>
                    <a:pt x="665" y="606"/>
                  </a:lnTo>
                  <a:lnTo>
                    <a:pt x="663" y="606"/>
                  </a:lnTo>
                  <a:lnTo>
                    <a:pt x="663" y="604"/>
                  </a:lnTo>
                  <a:lnTo>
                    <a:pt x="661" y="604"/>
                  </a:lnTo>
                  <a:lnTo>
                    <a:pt x="661" y="602"/>
                  </a:lnTo>
                  <a:lnTo>
                    <a:pt x="659" y="602"/>
                  </a:lnTo>
                  <a:lnTo>
                    <a:pt x="659" y="604"/>
                  </a:lnTo>
                  <a:lnTo>
                    <a:pt x="658" y="604"/>
                  </a:lnTo>
                  <a:lnTo>
                    <a:pt x="656" y="604"/>
                  </a:lnTo>
                  <a:lnTo>
                    <a:pt x="654" y="602"/>
                  </a:lnTo>
                  <a:lnTo>
                    <a:pt x="653" y="602"/>
                  </a:lnTo>
                  <a:lnTo>
                    <a:pt x="651" y="602"/>
                  </a:lnTo>
                  <a:lnTo>
                    <a:pt x="649" y="600"/>
                  </a:lnTo>
                  <a:lnTo>
                    <a:pt x="648" y="600"/>
                  </a:lnTo>
                  <a:lnTo>
                    <a:pt x="646" y="600"/>
                  </a:lnTo>
                  <a:lnTo>
                    <a:pt x="644" y="600"/>
                  </a:lnTo>
                  <a:lnTo>
                    <a:pt x="644" y="599"/>
                  </a:lnTo>
                  <a:lnTo>
                    <a:pt x="642" y="599"/>
                  </a:lnTo>
                  <a:lnTo>
                    <a:pt x="639" y="599"/>
                  </a:lnTo>
                  <a:lnTo>
                    <a:pt x="637" y="599"/>
                  </a:lnTo>
                  <a:lnTo>
                    <a:pt x="636" y="599"/>
                  </a:lnTo>
                  <a:lnTo>
                    <a:pt x="634" y="599"/>
                  </a:lnTo>
                  <a:lnTo>
                    <a:pt x="632" y="599"/>
                  </a:lnTo>
                  <a:lnTo>
                    <a:pt x="632" y="597"/>
                  </a:lnTo>
                  <a:lnTo>
                    <a:pt x="631" y="597"/>
                  </a:lnTo>
                  <a:lnTo>
                    <a:pt x="629" y="597"/>
                  </a:lnTo>
                  <a:lnTo>
                    <a:pt x="627" y="595"/>
                  </a:lnTo>
                  <a:lnTo>
                    <a:pt x="625" y="595"/>
                  </a:lnTo>
                  <a:lnTo>
                    <a:pt x="625" y="594"/>
                  </a:lnTo>
                  <a:lnTo>
                    <a:pt x="624" y="594"/>
                  </a:lnTo>
                  <a:lnTo>
                    <a:pt x="625" y="594"/>
                  </a:lnTo>
                  <a:lnTo>
                    <a:pt x="624" y="592"/>
                  </a:lnTo>
                  <a:lnTo>
                    <a:pt x="622" y="592"/>
                  </a:lnTo>
                  <a:lnTo>
                    <a:pt x="624" y="594"/>
                  </a:lnTo>
                  <a:lnTo>
                    <a:pt x="622" y="594"/>
                  </a:lnTo>
                  <a:lnTo>
                    <a:pt x="622" y="592"/>
                  </a:lnTo>
                  <a:lnTo>
                    <a:pt x="620" y="590"/>
                  </a:lnTo>
                  <a:lnTo>
                    <a:pt x="619" y="590"/>
                  </a:lnTo>
                  <a:lnTo>
                    <a:pt x="617" y="589"/>
                  </a:lnTo>
                  <a:lnTo>
                    <a:pt x="615" y="589"/>
                  </a:lnTo>
                  <a:lnTo>
                    <a:pt x="614" y="589"/>
                  </a:lnTo>
                  <a:lnTo>
                    <a:pt x="612" y="587"/>
                  </a:lnTo>
                  <a:lnTo>
                    <a:pt x="610" y="587"/>
                  </a:lnTo>
                  <a:lnTo>
                    <a:pt x="608" y="587"/>
                  </a:lnTo>
                  <a:lnTo>
                    <a:pt x="608" y="585"/>
                  </a:lnTo>
                  <a:lnTo>
                    <a:pt x="607" y="585"/>
                  </a:lnTo>
                  <a:lnTo>
                    <a:pt x="605" y="585"/>
                  </a:lnTo>
                  <a:lnTo>
                    <a:pt x="603" y="585"/>
                  </a:lnTo>
                  <a:lnTo>
                    <a:pt x="603" y="583"/>
                  </a:lnTo>
                  <a:lnTo>
                    <a:pt x="602" y="583"/>
                  </a:lnTo>
                  <a:lnTo>
                    <a:pt x="600" y="583"/>
                  </a:lnTo>
                  <a:lnTo>
                    <a:pt x="598" y="583"/>
                  </a:lnTo>
                  <a:lnTo>
                    <a:pt x="598" y="582"/>
                  </a:lnTo>
                  <a:lnTo>
                    <a:pt x="597" y="582"/>
                  </a:lnTo>
                  <a:lnTo>
                    <a:pt x="595" y="582"/>
                  </a:lnTo>
                  <a:lnTo>
                    <a:pt x="593" y="582"/>
                  </a:lnTo>
                  <a:lnTo>
                    <a:pt x="593" y="580"/>
                  </a:lnTo>
                  <a:lnTo>
                    <a:pt x="591" y="580"/>
                  </a:lnTo>
                  <a:lnTo>
                    <a:pt x="590" y="580"/>
                  </a:lnTo>
                  <a:lnTo>
                    <a:pt x="588" y="578"/>
                  </a:lnTo>
                  <a:lnTo>
                    <a:pt x="586" y="578"/>
                  </a:lnTo>
                  <a:lnTo>
                    <a:pt x="585" y="578"/>
                  </a:lnTo>
                  <a:lnTo>
                    <a:pt x="585" y="577"/>
                  </a:lnTo>
                  <a:lnTo>
                    <a:pt x="583" y="575"/>
                  </a:lnTo>
                  <a:lnTo>
                    <a:pt x="581" y="575"/>
                  </a:lnTo>
                  <a:lnTo>
                    <a:pt x="581" y="573"/>
                  </a:lnTo>
                  <a:lnTo>
                    <a:pt x="580" y="573"/>
                  </a:lnTo>
                  <a:lnTo>
                    <a:pt x="580" y="572"/>
                  </a:lnTo>
                  <a:lnTo>
                    <a:pt x="578" y="572"/>
                  </a:lnTo>
                  <a:lnTo>
                    <a:pt x="576" y="572"/>
                  </a:lnTo>
                  <a:lnTo>
                    <a:pt x="576" y="570"/>
                  </a:lnTo>
                  <a:lnTo>
                    <a:pt x="574" y="570"/>
                  </a:lnTo>
                  <a:lnTo>
                    <a:pt x="573" y="570"/>
                  </a:lnTo>
                  <a:lnTo>
                    <a:pt x="573" y="568"/>
                  </a:lnTo>
                  <a:lnTo>
                    <a:pt x="571" y="568"/>
                  </a:lnTo>
                  <a:lnTo>
                    <a:pt x="571" y="566"/>
                  </a:lnTo>
                  <a:lnTo>
                    <a:pt x="569" y="565"/>
                  </a:lnTo>
                  <a:lnTo>
                    <a:pt x="568" y="565"/>
                  </a:lnTo>
                  <a:lnTo>
                    <a:pt x="566" y="565"/>
                  </a:lnTo>
                  <a:lnTo>
                    <a:pt x="566" y="563"/>
                  </a:lnTo>
                  <a:lnTo>
                    <a:pt x="564" y="563"/>
                  </a:lnTo>
                  <a:lnTo>
                    <a:pt x="564" y="561"/>
                  </a:lnTo>
                  <a:lnTo>
                    <a:pt x="563" y="561"/>
                  </a:lnTo>
                  <a:lnTo>
                    <a:pt x="563" y="560"/>
                  </a:lnTo>
                  <a:lnTo>
                    <a:pt x="561" y="560"/>
                  </a:lnTo>
                  <a:lnTo>
                    <a:pt x="561" y="558"/>
                  </a:lnTo>
                  <a:lnTo>
                    <a:pt x="559" y="556"/>
                  </a:lnTo>
                  <a:lnTo>
                    <a:pt x="557" y="555"/>
                  </a:lnTo>
                  <a:lnTo>
                    <a:pt x="556" y="555"/>
                  </a:lnTo>
                  <a:lnTo>
                    <a:pt x="554" y="553"/>
                  </a:lnTo>
                  <a:lnTo>
                    <a:pt x="552" y="553"/>
                  </a:lnTo>
                  <a:lnTo>
                    <a:pt x="551" y="553"/>
                  </a:lnTo>
                  <a:lnTo>
                    <a:pt x="549" y="553"/>
                  </a:lnTo>
                  <a:lnTo>
                    <a:pt x="547" y="553"/>
                  </a:lnTo>
                  <a:lnTo>
                    <a:pt x="547" y="555"/>
                  </a:lnTo>
                  <a:lnTo>
                    <a:pt x="546" y="555"/>
                  </a:lnTo>
                  <a:lnTo>
                    <a:pt x="547" y="553"/>
                  </a:lnTo>
                  <a:lnTo>
                    <a:pt x="546" y="555"/>
                  </a:lnTo>
                  <a:lnTo>
                    <a:pt x="546" y="553"/>
                  </a:lnTo>
                  <a:lnTo>
                    <a:pt x="546" y="555"/>
                  </a:lnTo>
                  <a:lnTo>
                    <a:pt x="547" y="555"/>
                  </a:lnTo>
                  <a:lnTo>
                    <a:pt x="546" y="555"/>
                  </a:lnTo>
                  <a:lnTo>
                    <a:pt x="544" y="555"/>
                  </a:lnTo>
                  <a:lnTo>
                    <a:pt x="544" y="553"/>
                  </a:lnTo>
                  <a:lnTo>
                    <a:pt x="542" y="553"/>
                  </a:lnTo>
                  <a:lnTo>
                    <a:pt x="540" y="553"/>
                  </a:lnTo>
                  <a:lnTo>
                    <a:pt x="539" y="553"/>
                  </a:lnTo>
                  <a:lnTo>
                    <a:pt x="539" y="551"/>
                  </a:lnTo>
                  <a:lnTo>
                    <a:pt x="537" y="551"/>
                  </a:lnTo>
                  <a:lnTo>
                    <a:pt x="535" y="551"/>
                  </a:lnTo>
                  <a:lnTo>
                    <a:pt x="534" y="551"/>
                  </a:lnTo>
                  <a:lnTo>
                    <a:pt x="532" y="549"/>
                  </a:lnTo>
                  <a:lnTo>
                    <a:pt x="530" y="549"/>
                  </a:lnTo>
                  <a:lnTo>
                    <a:pt x="529" y="549"/>
                  </a:lnTo>
                  <a:lnTo>
                    <a:pt x="527" y="549"/>
                  </a:lnTo>
                  <a:lnTo>
                    <a:pt x="525" y="549"/>
                  </a:lnTo>
                  <a:lnTo>
                    <a:pt x="525" y="548"/>
                  </a:lnTo>
                  <a:lnTo>
                    <a:pt x="523" y="548"/>
                  </a:lnTo>
                  <a:lnTo>
                    <a:pt x="522" y="548"/>
                  </a:lnTo>
                  <a:lnTo>
                    <a:pt x="522" y="546"/>
                  </a:lnTo>
                  <a:lnTo>
                    <a:pt x="520" y="546"/>
                  </a:lnTo>
                  <a:lnTo>
                    <a:pt x="518" y="546"/>
                  </a:lnTo>
                  <a:lnTo>
                    <a:pt x="518" y="544"/>
                  </a:lnTo>
                  <a:lnTo>
                    <a:pt x="517" y="544"/>
                  </a:lnTo>
                  <a:lnTo>
                    <a:pt x="515" y="544"/>
                  </a:lnTo>
                  <a:lnTo>
                    <a:pt x="513" y="544"/>
                  </a:lnTo>
                  <a:lnTo>
                    <a:pt x="512" y="544"/>
                  </a:lnTo>
                  <a:lnTo>
                    <a:pt x="512" y="543"/>
                  </a:lnTo>
                  <a:lnTo>
                    <a:pt x="510" y="544"/>
                  </a:lnTo>
                  <a:lnTo>
                    <a:pt x="510" y="543"/>
                  </a:lnTo>
                  <a:lnTo>
                    <a:pt x="508" y="543"/>
                  </a:lnTo>
                  <a:lnTo>
                    <a:pt x="506" y="543"/>
                  </a:lnTo>
                  <a:lnTo>
                    <a:pt x="506" y="541"/>
                  </a:lnTo>
                  <a:lnTo>
                    <a:pt x="505" y="541"/>
                  </a:lnTo>
                  <a:lnTo>
                    <a:pt x="503" y="541"/>
                  </a:lnTo>
                  <a:lnTo>
                    <a:pt x="503" y="539"/>
                  </a:lnTo>
                  <a:lnTo>
                    <a:pt x="501" y="539"/>
                  </a:lnTo>
                  <a:lnTo>
                    <a:pt x="501" y="538"/>
                  </a:lnTo>
                  <a:lnTo>
                    <a:pt x="500" y="538"/>
                  </a:lnTo>
                  <a:lnTo>
                    <a:pt x="500" y="536"/>
                  </a:lnTo>
                  <a:lnTo>
                    <a:pt x="500" y="534"/>
                  </a:lnTo>
                  <a:lnTo>
                    <a:pt x="498" y="534"/>
                  </a:lnTo>
                  <a:lnTo>
                    <a:pt x="498" y="532"/>
                  </a:lnTo>
                  <a:lnTo>
                    <a:pt x="496" y="532"/>
                  </a:lnTo>
                  <a:lnTo>
                    <a:pt x="496" y="531"/>
                  </a:lnTo>
                  <a:lnTo>
                    <a:pt x="495" y="531"/>
                  </a:lnTo>
                  <a:lnTo>
                    <a:pt x="496" y="529"/>
                  </a:lnTo>
                  <a:lnTo>
                    <a:pt x="495" y="529"/>
                  </a:lnTo>
                  <a:lnTo>
                    <a:pt x="495" y="527"/>
                  </a:lnTo>
                  <a:lnTo>
                    <a:pt x="493" y="527"/>
                  </a:lnTo>
                  <a:lnTo>
                    <a:pt x="493" y="526"/>
                  </a:lnTo>
                  <a:lnTo>
                    <a:pt x="491" y="526"/>
                  </a:lnTo>
                  <a:lnTo>
                    <a:pt x="491" y="524"/>
                  </a:lnTo>
                  <a:lnTo>
                    <a:pt x="489" y="524"/>
                  </a:lnTo>
                  <a:lnTo>
                    <a:pt x="488" y="522"/>
                  </a:lnTo>
                  <a:lnTo>
                    <a:pt x="486" y="522"/>
                  </a:lnTo>
                  <a:lnTo>
                    <a:pt x="486" y="520"/>
                  </a:lnTo>
                  <a:lnTo>
                    <a:pt x="484" y="520"/>
                  </a:lnTo>
                  <a:lnTo>
                    <a:pt x="483" y="519"/>
                  </a:lnTo>
                  <a:lnTo>
                    <a:pt x="481" y="519"/>
                  </a:lnTo>
                  <a:lnTo>
                    <a:pt x="479" y="517"/>
                  </a:lnTo>
                  <a:lnTo>
                    <a:pt x="478" y="517"/>
                  </a:lnTo>
                  <a:lnTo>
                    <a:pt x="476" y="515"/>
                  </a:lnTo>
                  <a:lnTo>
                    <a:pt x="474" y="515"/>
                  </a:lnTo>
                  <a:lnTo>
                    <a:pt x="474" y="514"/>
                  </a:lnTo>
                  <a:lnTo>
                    <a:pt x="474" y="512"/>
                  </a:lnTo>
                  <a:lnTo>
                    <a:pt x="472" y="512"/>
                  </a:lnTo>
                  <a:lnTo>
                    <a:pt x="471" y="512"/>
                  </a:lnTo>
                  <a:lnTo>
                    <a:pt x="471" y="514"/>
                  </a:lnTo>
                  <a:lnTo>
                    <a:pt x="471" y="512"/>
                  </a:lnTo>
                  <a:lnTo>
                    <a:pt x="471" y="514"/>
                  </a:lnTo>
                  <a:lnTo>
                    <a:pt x="469" y="512"/>
                  </a:lnTo>
                  <a:lnTo>
                    <a:pt x="467" y="512"/>
                  </a:lnTo>
                  <a:lnTo>
                    <a:pt x="467" y="510"/>
                  </a:lnTo>
                  <a:lnTo>
                    <a:pt x="466" y="510"/>
                  </a:lnTo>
                  <a:lnTo>
                    <a:pt x="464" y="510"/>
                  </a:lnTo>
                  <a:lnTo>
                    <a:pt x="462" y="510"/>
                  </a:lnTo>
                  <a:lnTo>
                    <a:pt x="461" y="510"/>
                  </a:lnTo>
                  <a:lnTo>
                    <a:pt x="462" y="509"/>
                  </a:lnTo>
                  <a:lnTo>
                    <a:pt x="461" y="509"/>
                  </a:lnTo>
                  <a:lnTo>
                    <a:pt x="461" y="507"/>
                  </a:lnTo>
                  <a:lnTo>
                    <a:pt x="459" y="509"/>
                  </a:lnTo>
                  <a:lnTo>
                    <a:pt x="459" y="507"/>
                  </a:lnTo>
                  <a:lnTo>
                    <a:pt x="457" y="509"/>
                  </a:lnTo>
                  <a:lnTo>
                    <a:pt x="457" y="507"/>
                  </a:lnTo>
                  <a:lnTo>
                    <a:pt x="459" y="505"/>
                  </a:lnTo>
                  <a:lnTo>
                    <a:pt x="457" y="505"/>
                  </a:lnTo>
                  <a:lnTo>
                    <a:pt x="455" y="505"/>
                  </a:lnTo>
                  <a:lnTo>
                    <a:pt x="455" y="507"/>
                  </a:lnTo>
                  <a:lnTo>
                    <a:pt x="455" y="505"/>
                  </a:lnTo>
                  <a:lnTo>
                    <a:pt x="454" y="505"/>
                  </a:lnTo>
                  <a:lnTo>
                    <a:pt x="452" y="505"/>
                  </a:lnTo>
                  <a:lnTo>
                    <a:pt x="452" y="503"/>
                  </a:lnTo>
                  <a:lnTo>
                    <a:pt x="450" y="502"/>
                  </a:lnTo>
                  <a:lnTo>
                    <a:pt x="450" y="500"/>
                  </a:lnTo>
                  <a:lnTo>
                    <a:pt x="449" y="500"/>
                  </a:lnTo>
                  <a:lnTo>
                    <a:pt x="449" y="498"/>
                  </a:lnTo>
                  <a:lnTo>
                    <a:pt x="449" y="497"/>
                  </a:lnTo>
                  <a:lnTo>
                    <a:pt x="447" y="495"/>
                  </a:lnTo>
                  <a:lnTo>
                    <a:pt x="445" y="495"/>
                  </a:lnTo>
                  <a:lnTo>
                    <a:pt x="445" y="493"/>
                  </a:lnTo>
                  <a:lnTo>
                    <a:pt x="444" y="493"/>
                  </a:lnTo>
                  <a:lnTo>
                    <a:pt x="444" y="492"/>
                  </a:lnTo>
                  <a:lnTo>
                    <a:pt x="442" y="492"/>
                  </a:lnTo>
                  <a:lnTo>
                    <a:pt x="442" y="490"/>
                  </a:lnTo>
                  <a:lnTo>
                    <a:pt x="440" y="490"/>
                  </a:lnTo>
                  <a:lnTo>
                    <a:pt x="440" y="488"/>
                  </a:lnTo>
                  <a:lnTo>
                    <a:pt x="440" y="486"/>
                  </a:lnTo>
                  <a:lnTo>
                    <a:pt x="438" y="486"/>
                  </a:lnTo>
                  <a:lnTo>
                    <a:pt x="438" y="485"/>
                  </a:lnTo>
                  <a:lnTo>
                    <a:pt x="437" y="485"/>
                  </a:lnTo>
                  <a:lnTo>
                    <a:pt x="437" y="483"/>
                  </a:lnTo>
                  <a:lnTo>
                    <a:pt x="435" y="483"/>
                  </a:lnTo>
                  <a:lnTo>
                    <a:pt x="435" y="481"/>
                  </a:lnTo>
                  <a:lnTo>
                    <a:pt x="435" y="480"/>
                  </a:lnTo>
                  <a:lnTo>
                    <a:pt x="433" y="480"/>
                  </a:lnTo>
                  <a:lnTo>
                    <a:pt x="433" y="478"/>
                  </a:lnTo>
                  <a:lnTo>
                    <a:pt x="433" y="476"/>
                  </a:lnTo>
                  <a:lnTo>
                    <a:pt x="433" y="475"/>
                  </a:lnTo>
                  <a:lnTo>
                    <a:pt x="433" y="473"/>
                  </a:lnTo>
                  <a:lnTo>
                    <a:pt x="432" y="473"/>
                  </a:lnTo>
                  <a:lnTo>
                    <a:pt x="432" y="471"/>
                  </a:lnTo>
                  <a:lnTo>
                    <a:pt x="430" y="469"/>
                  </a:lnTo>
                  <a:lnTo>
                    <a:pt x="428" y="469"/>
                  </a:lnTo>
                  <a:lnTo>
                    <a:pt x="428" y="468"/>
                  </a:lnTo>
                  <a:lnTo>
                    <a:pt x="428" y="466"/>
                  </a:lnTo>
                  <a:lnTo>
                    <a:pt x="428" y="464"/>
                  </a:lnTo>
                  <a:lnTo>
                    <a:pt x="430" y="464"/>
                  </a:lnTo>
                  <a:lnTo>
                    <a:pt x="430" y="463"/>
                  </a:lnTo>
                  <a:lnTo>
                    <a:pt x="432" y="463"/>
                  </a:lnTo>
                  <a:lnTo>
                    <a:pt x="433" y="463"/>
                  </a:lnTo>
                  <a:lnTo>
                    <a:pt x="435" y="463"/>
                  </a:lnTo>
                  <a:lnTo>
                    <a:pt x="437" y="463"/>
                  </a:lnTo>
                  <a:lnTo>
                    <a:pt x="438" y="463"/>
                  </a:lnTo>
                  <a:lnTo>
                    <a:pt x="440" y="463"/>
                  </a:lnTo>
                  <a:lnTo>
                    <a:pt x="440" y="461"/>
                  </a:lnTo>
                  <a:lnTo>
                    <a:pt x="440" y="463"/>
                  </a:lnTo>
                  <a:lnTo>
                    <a:pt x="440" y="461"/>
                  </a:lnTo>
                  <a:lnTo>
                    <a:pt x="442" y="461"/>
                  </a:lnTo>
                  <a:lnTo>
                    <a:pt x="442" y="459"/>
                  </a:lnTo>
                  <a:lnTo>
                    <a:pt x="444" y="459"/>
                  </a:lnTo>
                  <a:lnTo>
                    <a:pt x="444" y="458"/>
                  </a:lnTo>
                  <a:lnTo>
                    <a:pt x="444" y="456"/>
                  </a:lnTo>
                  <a:lnTo>
                    <a:pt x="442" y="456"/>
                  </a:lnTo>
                  <a:lnTo>
                    <a:pt x="440" y="454"/>
                  </a:lnTo>
                  <a:lnTo>
                    <a:pt x="440" y="452"/>
                  </a:lnTo>
                  <a:lnTo>
                    <a:pt x="438" y="452"/>
                  </a:lnTo>
                  <a:lnTo>
                    <a:pt x="438" y="454"/>
                  </a:lnTo>
                  <a:lnTo>
                    <a:pt x="437" y="454"/>
                  </a:lnTo>
                  <a:lnTo>
                    <a:pt x="437" y="452"/>
                  </a:lnTo>
                  <a:lnTo>
                    <a:pt x="435" y="452"/>
                  </a:lnTo>
                  <a:lnTo>
                    <a:pt x="433" y="452"/>
                  </a:lnTo>
                  <a:lnTo>
                    <a:pt x="435" y="452"/>
                  </a:lnTo>
                  <a:lnTo>
                    <a:pt x="435" y="451"/>
                  </a:lnTo>
                  <a:lnTo>
                    <a:pt x="435" y="449"/>
                  </a:lnTo>
                  <a:lnTo>
                    <a:pt x="437" y="449"/>
                  </a:lnTo>
                  <a:lnTo>
                    <a:pt x="437" y="447"/>
                  </a:lnTo>
                  <a:lnTo>
                    <a:pt x="438" y="446"/>
                  </a:lnTo>
                  <a:lnTo>
                    <a:pt x="440" y="446"/>
                  </a:lnTo>
                  <a:lnTo>
                    <a:pt x="440" y="444"/>
                  </a:lnTo>
                  <a:lnTo>
                    <a:pt x="440" y="442"/>
                  </a:lnTo>
                  <a:lnTo>
                    <a:pt x="442" y="444"/>
                  </a:lnTo>
                  <a:lnTo>
                    <a:pt x="442" y="442"/>
                  </a:lnTo>
                  <a:lnTo>
                    <a:pt x="444" y="442"/>
                  </a:lnTo>
                  <a:lnTo>
                    <a:pt x="444" y="441"/>
                  </a:lnTo>
                  <a:lnTo>
                    <a:pt x="444" y="439"/>
                  </a:lnTo>
                  <a:lnTo>
                    <a:pt x="444" y="437"/>
                  </a:lnTo>
                  <a:lnTo>
                    <a:pt x="444" y="435"/>
                  </a:lnTo>
                  <a:lnTo>
                    <a:pt x="444" y="434"/>
                  </a:lnTo>
                  <a:lnTo>
                    <a:pt x="444" y="432"/>
                  </a:lnTo>
                  <a:lnTo>
                    <a:pt x="442" y="432"/>
                  </a:lnTo>
                  <a:lnTo>
                    <a:pt x="444" y="432"/>
                  </a:lnTo>
                  <a:lnTo>
                    <a:pt x="444" y="430"/>
                  </a:lnTo>
                  <a:lnTo>
                    <a:pt x="444" y="429"/>
                  </a:lnTo>
                  <a:lnTo>
                    <a:pt x="445" y="429"/>
                  </a:lnTo>
                  <a:lnTo>
                    <a:pt x="445" y="427"/>
                  </a:lnTo>
                  <a:lnTo>
                    <a:pt x="444" y="427"/>
                  </a:lnTo>
                  <a:lnTo>
                    <a:pt x="444" y="425"/>
                  </a:lnTo>
                  <a:lnTo>
                    <a:pt x="442" y="425"/>
                  </a:lnTo>
                  <a:lnTo>
                    <a:pt x="440" y="425"/>
                  </a:lnTo>
                  <a:lnTo>
                    <a:pt x="440" y="424"/>
                  </a:lnTo>
                  <a:lnTo>
                    <a:pt x="438" y="424"/>
                  </a:lnTo>
                  <a:lnTo>
                    <a:pt x="437" y="422"/>
                  </a:lnTo>
                  <a:lnTo>
                    <a:pt x="435" y="422"/>
                  </a:lnTo>
                  <a:lnTo>
                    <a:pt x="435" y="420"/>
                  </a:lnTo>
                  <a:lnTo>
                    <a:pt x="435" y="418"/>
                  </a:lnTo>
                  <a:lnTo>
                    <a:pt x="435" y="417"/>
                  </a:lnTo>
                  <a:lnTo>
                    <a:pt x="433" y="417"/>
                  </a:lnTo>
                  <a:lnTo>
                    <a:pt x="433" y="415"/>
                  </a:lnTo>
                  <a:lnTo>
                    <a:pt x="433" y="413"/>
                  </a:lnTo>
                  <a:lnTo>
                    <a:pt x="432" y="413"/>
                  </a:lnTo>
                  <a:lnTo>
                    <a:pt x="432" y="412"/>
                  </a:lnTo>
                  <a:lnTo>
                    <a:pt x="430" y="412"/>
                  </a:lnTo>
                  <a:lnTo>
                    <a:pt x="430" y="410"/>
                  </a:lnTo>
                  <a:lnTo>
                    <a:pt x="430" y="408"/>
                  </a:lnTo>
                  <a:lnTo>
                    <a:pt x="428" y="407"/>
                  </a:lnTo>
                  <a:lnTo>
                    <a:pt x="428" y="405"/>
                  </a:lnTo>
                  <a:lnTo>
                    <a:pt x="430" y="405"/>
                  </a:lnTo>
                  <a:lnTo>
                    <a:pt x="430" y="403"/>
                  </a:lnTo>
                  <a:lnTo>
                    <a:pt x="430" y="401"/>
                  </a:lnTo>
                  <a:lnTo>
                    <a:pt x="430" y="400"/>
                  </a:lnTo>
                  <a:lnTo>
                    <a:pt x="428" y="400"/>
                  </a:lnTo>
                  <a:lnTo>
                    <a:pt x="428" y="398"/>
                  </a:lnTo>
                  <a:lnTo>
                    <a:pt x="428" y="396"/>
                  </a:lnTo>
                  <a:lnTo>
                    <a:pt x="428" y="395"/>
                  </a:lnTo>
                  <a:lnTo>
                    <a:pt x="428" y="393"/>
                  </a:lnTo>
                  <a:lnTo>
                    <a:pt x="427" y="393"/>
                  </a:lnTo>
                  <a:lnTo>
                    <a:pt x="427" y="391"/>
                  </a:lnTo>
                  <a:lnTo>
                    <a:pt x="427" y="390"/>
                  </a:lnTo>
                  <a:lnTo>
                    <a:pt x="425" y="390"/>
                  </a:lnTo>
                  <a:lnTo>
                    <a:pt x="425" y="388"/>
                  </a:lnTo>
                  <a:lnTo>
                    <a:pt x="425" y="386"/>
                  </a:lnTo>
                  <a:lnTo>
                    <a:pt x="425" y="384"/>
                  </a:lnTo>
                  <a:lnTo>
                    <a:pt x="423" y="384"/>
                  </a:lnTo>
                  <a:lnTo>
                    <a:pt x="423" y="383"/>
                  </a:lnTo>
                  <a:lnTo>
                    <a:pt x="421" y="383"/>
                  </a:lnTo>
                  <a:lnTo>
                    <a:pt x="421" y="381"/>
                  </a:lnTo>
                  <a:lnTo>
                    <a:pt x="420" y="381"/>
                  </a:lnTo>
                  <a:lnTo>
                    <a:pt x="420" y="379"/>
                  </a:lnTo>
                  <a:lnTo>
                    <a:pt x="418" y="379"/>
                  </a:lnTo>
                  <a:lnTo>
                    <a:pt x="418" y="378"/>
                  </a:lnTo>
                  <a:lnTo>
                    <a:pt x="416" y="378"/>
                  </a:lnTo>
                  <a:lnTo>
                    <a:pt x="415" y="376"/>
                  </a:lnTo>
                  <a:lnTo>
                    <a:pt x="415" y="374"/>
                  </a:lnTo>
                  <a:lnTo>
                    <a:pt x="413" y="374"/>
                  </a:lnTo>
                  <a:lnTo>
                    <a:pt x="413" y="373"/>
                  </a:lnTo>
                  <a:lnTo>
                    <a:pt x="411" y="373"/>
                  </a:lnTo>
                  <a:lnTo>
                    <a:pt x="411" y="371"/>
                  </a:lnTo>
                  <a:lnTo>
                    <a:pt x="410" y="371"/>
                  </a:lnTo>
                  <a:lnTo>
                    <a:pt x="410" y="369"/>
                  </a:lnTo>
                  <a:lnTo>
                    <a:pt x="408" y="369"/>
                  </a:lnTo>
                  <a:lnTo>
                    <a:pt x="408" y="367"/>
                  </a:lnTo>
                  <a:lnTo>
                    <a:pt x="406" y="367"/>
                  </a:lnTo>
                  <a:lnTo>
                    <a:pt x="406" y="366"/>
                  </a:lnTo>
                  <a:lnTo>
                    <a:pt x="404" y="366"/>
                  </a:lnTo>
                  <a:lnTo>
                    <a:pt x="404" y="364"/>
                  </a:lnTo>
                  <a:lnTo>
                    <a:pt x="403" y="364"/>
                  </a:lnTo>
                  <a:lnTo>
                    <a:pt x="404" y="364"/>
                  </a:lnTo>
                  <a:lnTo>
                    <a:pt x="406" y="366"/>
                  </a:lnTo>
                  <a:lnTo>
                    <a:pt x="406" y="364"/>
                  </a:lnTo>
                  <a:lnTo>
                    <a:pt x="404" y="364"/>
                  </a:lnTo>
                  <a:lnTo>
                    <a:pt x="403" y="364"/>
                  </a:lnTo>
                  <a:lnTo>
                    <a:pt x="403" y="366"/>
                  </a:lnTo>
                  <a:lnTo>
                    <a:pt x="403" y="364"/>
                  </a:lnTo>
                  <a:lnTo>
                    <a:pt x="403" y="362"/>
                  </a:lnTo>
                  <a:lnTo>
                    <a:pt x="401" y="362"/>
                  </a:lnTo>
                  <a:lnTo>
                    <a:pt x="401" y="361"/>
                  </a:lnTo>
                  <a:lnTo>
                    <a:pt x="401" y="359"/>
                  </a:lnTo>
                  <a:lnTo>
                    <a:pt x="399" y="357"/>
                  </a:lnTo>
                  <a:lnTo>
                    <a:pt x="399" y="355"/>
                  </a:lnTo>
                  <a:lnTo>
                    <a:pt x="398" y="355"/>
                  </a:lnTo>
                  <a:lnTo>
                    <a:pt x="398" y="354"/>
                  </a:lnTo>
                  <a:lnTo>
                    <a:pt x="396" y="354"/>
                  </a:lnTo>
                  <a:lnTo>
                    <a:pt x="396" y="352"/>
                  </a:lnTo>
                  <a:lnTo>
                    <a:pt x="394" y="352"/>
                  </a:lnTo>
                  <a:lnTo>
                    <a:pt x="394" y="350"/>
                  </a:lnTo>
                  <a:lnTo>
                    <a:pt x="393" y="350"/>
                  </a:lnTo>
                  <a:lnTo>
                    <a:pt x="393" y="349"/>
                  </a:lnTo>
                  <a:lnTo>
                    <a:pt x="391" y="349"/>
                  </a:lnTo>
                  <a:lnTo>
                    <a:pt x="391" y="347"/>
                  </a:lnTo>
                  <a:lnTo>
                    <a:pt x="389" y="347"/>
                  </a:lnTo>
                  <a:lnTo>
                    <a:pt x="391" y="347"/>
                  </a:lnTo>
                  <a:lnTo>
                    <a:pt x="391" y="345"/>
                  </a:lnTo>
                  <a:lnTo>
                    <a:pt x="389" y="345"/>
                  </a:lnTo>
                  <a:lnTo>
                    <a:pt x="389" y="344"/>
                  </a:lnTo>
                  <a:lnTo>
                    <a:pt x="387" y="342"/>
                  </a:lnTo>
                  <a:lnTo>
                    <a:pt x="387" y="340"/>
                  </a:lnTo>
                  <a:lnTo>
                    <a:pt x="386" y="340"/>
                  </a:lnTo>
                  <a:lnTo>
                    <a:pt x="386" y="338"/>
                  </a:lnTo>
                  <a:lnTo>
                    <a:pt x="384" y="338"/>
                  </a:lnTo>
                  <a:lnTo>
                    <a:pt x="384" y="337"/>
                  </a:lnTo>
                  <a:lnTo>
                    <a:pt x="382" y="337"/>
                  </a:lnTo>
                  <a:lnTo>
                    <a:pt x="382" y="335"/>
                  </a:lnTo>
                  <a:lnTo>
                    <a:pt x="381" y="333"/>
                  </a:lnTo>
                  <a:lnTo>
                    <a:pt x="379" y="333"/>
                  </a:lnTo>
                  <a:lnTo>
                    <a:pt x="379" y="332"/>
                  </a:lnTo>
                  <a:lnTo>
                    <a:pt x="377" y="332"/>
                  </a:lnTo>
                  <a:lnTo>
                    <a:pt x="377" y="330"/>
                  </a:lnTo>
                  <a:lnTo>
                    <a:pt x="376" y="330"/>
                  </a:lnTo>
                  <a:lnTo>
                    <a:pt x="374" y="328"/>
                  </a:lnTo>
                  <a:lnTo>
                    <a:pt x="372" y="328"/>
                  </a:lnTo>
                  <a:lnTo>
                    <a:pt x="372" y="327"/>
                  </a:lnTo>
                  <a:lnTo>
                    <a:pt x="370" y="327"/>
                  </a:lnTo>
                  <a:lnTo>
                    <a:pt x="370" y="325"/>
                  </a:lnTo>
                  <a:lnTo>
                    <a:pt x="369" y="325"/>
                  </a:lnTo>
                  <a:lnTo>
                    <a:pt x="367" y="323"/>
                  </a:lnTo>
                  <a:lnTo>
                    <a:pt x="365" y="321"/>
                  </a:lnTo>
                  <a:lnTo>
                    <a:pt x="364" y="321"/>
                  </a:lnTo>
                  <a:lnTo>
                    <a:pt x="364" y="320"/>
                  </a:lnTo>
                  <a:lnTo>
                    <a:pt x="362" y="320"/>
                  </a:lnTo>
                  <a:lnTo>
                    <a:pt x="360" y="318"/>
                  </a:lnTo>
                  <a:lnTo>
                    <a:pt x="359" y="318"/>
                  </a:lnTo>
                  <a:lnTo>
                    <a:pt x="359" y="316"/>
                  </a:lnTo>
                  <a:lnTo>
                    <a:pt x="357" y="316"/>
                  </a:lnTo>
                  <a:lnTo>
                    <a:pt x="357" y="315"/>
                  </a:lnTo>
                  <a:lnTo>
                    <a:pt x="357" y="316"/>
                  </a:lnTo>
                  <a:lnTo>
                    <a:pt x="359" y="316"/>
                  </a:lnTo>
                  <a:lnTo>
                    <a:pt x="359" y="318"/>
                  </a:lnTo>
                  <a:lnTo>
                    <a:pt x="360" y="318"/>
                  </a:lnTo>
                  <a:lnTo>
                    <a:pt x="362" y="318"/>
                  </a:lnTo>
                  <a:lnTo>
                    <a:pt x="362" y="320"/>
                  </a:lnTo>
                  <a:lnTo>
                    <a:pt x="364" y="320"/>
                  </a:lnTo>
                  <a:lnTo>
                    <a:pt x="364" y="321"/>
                  </a:lnTo>
                  <a:lnTo>
                    <a:pt x="365" y="321"/>
                  </a:lnTo>
                  <a:lnTo>
                    <a:pt x="367" y="321"/>
                  </a:lnTo>
                  <a:lnTo>
                    <a:pt x="367" y="323"/>
                  </a:lnTo>
                  <a:lnTo>
                    <a:pt x="367" y="321"/>
                  </a:lnTo>
                  <a:lnTo>
                    <a:pt x="365" y="321"/>
                  </a:lnTo>
                  <a:lnTo>
                    <a:pt x="365" y="320"/>
                  </a:lnTo>
                  <a:lnTo>
                    <a:pt x="365" y="321"/>
                  </a:lnTo>
                  <a:lnTo>
                    <a:pt x="367" y="321"/>
                  </a:lnTo>
                  <a:lnTo>
                    <a:pt x="367" y="320"/>
                  </a:lnTo>
                  <a:lnTo>
                    <a:pt x="367" y="318"/>
                  </a:lnTo>
                  <a:lnTo>
                    <a:pt x="367" y="316"/>
                  </a:lnTo>
                  <a:lnTo>
                    <a:pt x="365" y="316"/>
                  </a:lnTo>
                  <a:lnTo>
                    <a:pt x="365" y="315"/>
                  </a:lnTo>
                  <a:lnTo>
                    <a:pt x="364" y="315"/>
                  </a:lnTo>
                  <a:lnTo>
                    <a:pt x="362" y="316"/>
                  </a:lnTo>
                  <a:lnTo>
                    <a:pt x="364" y="316"/>
                  </a:lnTo>
                  <a:lnTo>
                    <a:pt x="362" y="316"/>
                  </a:lnTo>
                  <a:lnTo>
                    <a:pt x="362" y="318"/>
                  </a:lnTo>
                  <a:lnTo>
                    <a:pt x="362" y="316"/>
                  </a:lnTo>
                  <a:lnTo>
                    <a:pt x="360" y="316"/>
                  </a:lnTo>
                  <a:lnTo>
                    <a:pt x="360" y="315"/>
                  </a:lnTo>
                  <a:lnTo>
                    <a:pt x="360" y="316"/>
                  </a:lnTo>
                  <a:lnTo>
                    <a:pt x="359" y="316"/>
                  </a:lnTo>
                  <a:lnTo>
                    <a:pt x="359" y="315"/>
                  </a:lnTo>
                  <a:lnTo>
                    <a:pt x="357" y="315"/>
                  </a:lnTo>
                  <a:lnTo>
                    <a:pt x="357" y="313"/>
                  </a:lnTo>
                  <a:lnTo>
                    <a:pt x="355" y="313"/>
                  </a:lnTo>
                  <a:lnTo>
                    <a:pt x="353" y="313"/>
                  </a:lnTo>
                  <a:lnTo>
                    <a:pt x="353" y="311"/>
                  </a:lnTo>
                  <a:lnTo>
                    <a:pt x="352" y="311"/>
                  </a:lnTo>
                  <a:lnTo>
                    <a:pt x="353" y="311"/>
                  </a:lnTo>
                  <a:lnTo>
                    <a:pt x="352" y="311"/>
                  </a:lnTo>
                  <a:lnTo>
                    <a:pt x="352" y="310"/>
                  </a:lnTo>
                  <a:lnTo>
                    <a:pt x="350" y="310"/>
                  </a:lnTo>
                  <a:lnTo>
                    <a:pt x="350" y="311"/>
                  </a:lnTo>
                  <a:lnTo>
                    <a:pt x="352" y="311"/>
                  </a:lnTo>
                  <a:lnTo>
                    <a:pt x="353" y="313"/>
                  </a:lnTo>
                  <a:lnTo>
                    <a:pt x="352" y="311"/>
                  </a:lnTo>
                  <a:lnTo>
                    <a:pt x="350" y="311"/>
                  </a:lnTo>
                  <a:lnTo>
                    <a:pt x="350" y="310"/>
                  </a:lnTo>
                  <a:lnTo>
                    <a:pt x="348" y="310"/>
                  </a:lnTo>
                  <a:lnTo>
                    <a:pt x="348" y="308"/>
                  </a:lnTo>
                  <a:lnTo>
                    <a:pt x="350" y="308"/>
                  </a:lnTo>
                  <a:lnTo>
                    <a:pt x="348" y="308"/>
                  </a:lnTo>
                  <a:lnTo>
                    <a:pt x="348" y="306"/>
                  </a:lnTo>
                  <a:lnTo>
                    <a:pt x="347" y="306"/>
                  </a:lnTo>
                  <a:lnTo>
                    <a:pt x="348" y="304"/>
                  </a:lnTo>
                  <a:lnTo>
                    <a:pt x="348" y="306"/>
                  </a:lnTo>
                  <a:lnTo>
                    <a:pt x="350" y="306"/>
                  </a:lnTo>
                  <a:lnTo>
                    <a:pt x="350" y="308"/>
                  </a:lnTo>
                  <a:lnTo>
                    <a:pt x="350" y="306"/>
                  </a:lnTo>
                  <a:lnTo>
                    <a:pt x="350" y="304"/>
                  </a:lnTo>
                  <a:lnTo>
                    <a:pt x="350" y="303"/>
                  </a:lnTo>
                  <a:lnTo>
                    <a:pt x="350" y="301"/>
                  </a:lnTo>
                  <a:lnTo>
                    <a:pt x="348" y="301"/>
                  </a:lnTo>
                  <a:lnTo>
                    <a:pt x="350" y="301"/>
                  </a:lnTo>
                  <a:lnTo>
                    <a:pt x="350" y="299"/>
                  </a:lnTo>
                  <a:lnTo>
                    <a:pt x="350" y="298"/>
                  </a:lnTo>
                  <a:lnTo>
                    <a:pt x="348" y="298"/>
                  </a:lnTo>
                  <a:lnTo>
                    <a:pt x="348" y="296"/>
                  </a:lnTo>
                  <a:lnTo>
                    <a:pt x="348" y="294"/>
                  </a:lnTo>
                  <a:lnTo>
                    <a:pt x="347" y="294"/>
                  </a:lnTo>
                  <a:lnTo>
                    <a:pt x="347" y="293"/>
                  </a:lnTo>
                  <a:lnTo>
                    <a:pt x="345" y="293"/>
                  </a:lnTo>
                  <a:lnTo>
                    <a:pt x="345" y="294"/>
                  </a:lnTo>
                  <a:lnTo>
                    <a:pt x="345" y="293"/>
                  </a:lnTo>
                  <a:lnTo>
                    <a:pt x="343" y="293"/>
                  </a:lnTo>
                  <a:lnTo>
                    <a:pt x="343" y="291"/>
                  </a:lnTo>
                  <a:lnTo>
                    <a:pt x="342" y="291"/>
                  </a:lnTo>
                  <a:lnTo>
                    <a:pt x="343" y="291"/>
                  </a:lnTo>
                  <a:lnTo>
                    <a:pt x="342" y="291"/>
                  </a:lnTo>
                  <a:lnTo>
                    <a:pt x="340" y="291"/>
                  </a:lnTo>
                  <a:lnTo>
                    <a:pt x="342" y="291"/>
                  </a:lnTo>
                  <a:lnTo>
                    <a:pt x="342" y="289"/>
                  </a:lnTo>
                  <a:lnTo>
                    <a:pt x="340" y="289"/>
                  </a:lnTo>
                  <a:lnTo>
                    <a:pt x="340" y="291"/>
                  </a:lnTo>
                  <a:lnTo>
                    <a:pt x="340" y="289"/>
                  </a:lnTo>
                  <a:lnTo>
                    <a:pt x="340" y="291"/>
                  </a:lnTo>
                  <a:lnTo>
                    <a:pt x="338" y="289"/>
                  </a:lnTo>
                  <a:lnTo>
                    <a:pt x="340" y="289"/>
                  </a:lnTo>
                  <a:lnTo>
                    <a:pt x="338" y="287"/>
                  </a:lnTo>
                  <a:lnTo>
                    <a:pt x="336" y="287"/>
                  </a:lnTo>
                  <a:lnTo>
                    <a:pt x="336" y="289"/>
                  </a:lnTo>
                  <a:lnTo>
                    <a:pt x="336" y="291"/>
                  </a:lnTo>
                  <a:lnTo>
                    <a:pt x="336" y="289"/>
                  </a:lnTo>
                  <a:lnTo>
                    <a:pt x="335" y="289"/>
                  </a:lnTo>
                  <a:lnTo>
                    <a:pt x="335" y="287"/>
                  </a:lnTo>
                  <a:lnTo>
                    <a:pt x="333" y="287"/>
                  </a:lnTo>
                  <a:lnTo>
                    <a:pt x="331" y="286"/>
                  </a:lnTo>
                  <a:lnTo>
                    <a:pt x="330" y="286"/>
                  </a:lnTo>
                  <a:lnTo>
                    <a:pt x="328" y="284"/>
                  </a:lnTo>
                  <a:lnTo>
                    <a:pt x="326" y="284"/>
                  </a:lnTo>
                  <a:lnTo>
                    <a:pt x="325" y="284"/>
                  </a:lnTo>
                  <a:lnTo>
                    <a:pt x="326" y="284"/>
                  </a:lnTo>
                  <a:lnTo>
                    <a:pt x="328" y="284"/>
                  </a:lnTo>
                  <a:lnTo>
                    <a:pt x="328" y="282"/>
                  </a:lnTo>
                  <a:lnTo>
                    <a:pt x="326" y="282"/>
                  </a:lnTo>
                  <a:lnTo>
                    <a:pt x="325" y="282"/>
                  </a:lnTo>
                  <a:lnTo>
                    <a:pt x="325" y="284"/>
                  </a:lnTo>
                  <a:lnTo>
                    <a:pt x="323" y="284"/>
                  </a:lnTo>
                  <a:lnTo>
                    <a:pt x="323" y="282"/>
                  </a:lnTo>
                  <a:lnTo>
                    <a:pt x="325" y="282"/>
                  </a:lnTo>
                  <a:lnTo>
                    <a:pt x="325" y="281"/>
                  </a:lnTo>
                  <a:lnTo>
                    <a:pt x="323" y="281"/>
                  </a:lnTo>
                  <a:lnTo>
                    <a:pt x="323" y="282"/>
                  </a:lnTo>
                  <a:lnTo>
                    <a:pt x="323" y="281"/>
                  </a:lnTo>
                  <a:lnTo>
                    <a:pt x="325" y="281"/>
                  </a:lnTo>
                  <a:lnTo>
                    <a:pt x="323" y="281"/>
                  </a:lnTo>
                  <a:lnTo>
                    <a:pt x="323" y="279"/>
                  </a:lnTo>
                  <a:lnTo>
                    <a:pt x="325" y="279"/>
                  </a:lnTo>
                  <a:lnTo>
                    <a:pt x="323" y="279"/>
                  </a:lnTo>
                  <a:lnTo>
                    <a:pt x="325" y="277"/>
                  </a:lnTo>
                  <a:lnTo>
                    <a:pt x="323" y="277"/>
                  </a:lnTo>
                  <a:lnTo>
                    <a:pt x="321" y="277"/>
                  </a:lnTo>
                  <a:lnTo>
                    <a:pt x="321" y="276"/>
                  </a:lnTo>
                  <a:lnTo>
                    <a:pt x="321" y="277"/>
                  </a:lnTo>
                  <a:lnTo>
                    <a:pt x="319" y="276"/>
                  </a:lnTo>
                  <a:lnTo>
                    <a:pt x="319" y="277"/>
                  </a:lnTo>
                  <a:lnTo>
                    <a:pt x="319" y="279"/>
                  </a:lnTo>
                  <a:lnTo>
                    <a:pt x="319" y="281"/>
                  </a:lnTo>
                  <a:lnTo>
                    <a:pt x="318" y="281"/>
                  </a:lnTo>
                  <a:lnTo>
                    <a:pt x="318" y="279"/>
                  </a:lnTo>
                  <a:lnTo>
                    <a:pt x="316" y="279"/>
                  </a:lnTo>
                  <a:lnTo>
                    <a:pt x="314" y="279"/>
                  </a:lnTo>
                  <a:lnTo>
                    <a:pt x="316" y="279"/>
                  </a:lnTo>
                  <a:lnTo>
                    <a:pt x="316" y="281"/>
                  </a:lnTo>
                  <a:lnTo>
                    <a:pt x="314" y="281"/>
                  </a:lnTo>
                  <a:lnTo>
                    <a:pt x="314" y="279"/>
                  </a:lnTo>
                  <a:lnTo>
                    <a:pt x="314" y="281"/>
                  </a:lnTo>
                  <a:lnTo>
                    <a:pt x="314" y="279"/>
                  </a:lnTo>
                  <a:lnTo>
                    <a:pt x="313" y="279"/>
                  </a:lnTo>
                  <a:lnTo>
                    <a:pt x="313" y="277"/>
                  </a:lnTo>
                  <a:lnTo>
                    <a:pt x="314" y="277"/>
                  </a:lnTo>
                  <a:lnTo>
                    <a:pt x="314" y="276"/>
                  </a:lnTo>
                  <a:lnTo>
                    <a:pt x="313" y="276"/>
                  </a:lnTo>
                  <a:lnTo>
                    <a:pt x="311" y="276"/>
                  </a:lnTo>
                  <a:lnTo>
                    <a:pt x="311" y="274"/>
                  </a:lnTo>
                  <a:lnTo>
                    <a:pt x="309" y="274"/>
                  </a:lnTo>
                  <a:lnTo>
                    <a:pt x="311" y="274"/>
                  </a:lnTo>
                  <a:lnTo>
                    <a:pt x="309" y="274"/>
                  </a:lnTo>
                  <a:lnTo>
                    <a:pt x="311" y="272"/>
                  </a:lnTo>
                  <a:lnTo>
                    <a:pt x="309" y="272"/>
                  </a:lnTo>
                  <a:lnTo>
                    <a:pt x="308" y="270"/>
                  </a:lnTo>
                  <a:lnTo>
                    <a:pt x="308" y="272"/>
                  </a:lnTo>
                  <a:lnTo>
                    <a:pt x="308" y="274"/>
                  </a:lnTo>
                  <a:lnTo>
                    <a:pt x="309" y="274"/>
                  </a:lnTo>
                  <a:lnTo>
                    <a:pt x="311" y="276"/>
                  </a:lnTo>
                  <a:lnTo>
                    <a:pt x="311" y="277"/>
                  </a:lnTo>
                  <a:lnTo>
                    <a:pt x="311" y="276"/>
                  </a:lnTo>
                  <a:lnTo>
                    <a:pt x="309" y="276"/>
                  </a:lnTo>
                  <a:lnTo>
                    <a:pt x="309" y="274"/>
                  </a:lnTo>
                  <a:lnTo>
                    <a:pt x="308" y="274"/>
                  </a:lnTo>
                  <a:lnTo>
                    <a:pt x="306" y="274"/>
                  </a:lnTo>
                  <a:lnTo>
                    <a:pt x="304" y="274"/>
                  </a:lnTo>
                  <a:lnTo>
                    <a:pt x="302" y="274"/>
                  </a:lnTo>
                  <a:lnTo>
                    <a:pt x="304" y="274"/>
                  </a:lnTo>
                  <a:lnTo>
                    <a:pt x="304" y="272"/>
                  </a:lnTo>
                  <a:lnTo>
                    <a:pt x="306" y="272"/>
                  </a:lnTo>
                  <a:lnTo>
                    <a:pt x="306" y="270"/>
                  </a:lnTo>
                  <a:lnTo>
                    <a:pt x="306" y="269"/>
                  </a:lnTo>
                  <a:lnTo>
                    <a:pt x="304" y="270"/>
                  </a:lnTo>
                  <a:lnTo>
                    <a:pt x="304" y="269"/>
                  </a:lnTo>
                  <a:lnTo>
                    <a:pt x="302" y="269"/>
                  </a:lnTo>
                  <a:lnTo>
                    <a:pt x="302" y="270"/>
                  </a:lnTo>
                  <a:lnTo>
                    <a:pt x="302" y="272"/>
                  </a:lnTo>
                  <a:lnTo>
                    <a:pt x="302" y="270"/>
                  </a:lnTo>
                  <a:lnTo>
                    <a:pt x="302" y="269"/>
                  </a:lnTo>
                  <a:lnTo>
                    <a:pt x="302" y="267"/>
                  </a:lnTo>
                  <a:lnTo>
                    <a:pt x="301" y="267"/>
                  </a:lnTo>
                  <a:lnTo>
                    <a:pt x="302" y="267"/>
                  </a:lnTo>
                  <a:lnTo>
                    <a:pt x="302" y="265"/>
                  </a:lnTo>
                  <a:lnTo>
                    <a:pt x="302" y="264"/>
                  </a:lnTo>
                  <a:lnTo>
                    <a:pt x="301" y="264"/>
                  </a:lnTo>
                  <a:lnTo>
                    <a:pt x="301" y="262"/>
                  </a:lnTo>
                  <a:lnTo>
                    <a:pt x="301" y="260"/>
                  </a:lnTo>
                  <a:lnTo>
                    <a:pt x="302" y="259"/>
                  </a:lnTo>
                  <a:lnTo>
                    <a:pt x="302" y="257"/>
                  </a:lnTo>
                  <a:lnTo>
                    <a:pt x="304" y="257"/>
                  </a:lnTo>
                  <a:lnTo>
                    <a:pt x="304" y="255"/>
                  </a:lnTo>
                  <a:lnTo>
                    <a:pt x="304" y="253"/>
                  </a:lnTo>
                  <a:lnTo>
                    <a:pt x="306" y="253"/>
                  </a:lnTo>
                  <a:lnTo>
                    <a:pt x="306" y="252"/>
                  </a:lnTo>
                  <a:lnTo>
                    <a:pt x="306" y="250"/>
                  </a:lnTo>
                  <a:lnTo>
                    <a:pt x="308" y="248"/>
                  </a:lnTo>
                  <a:lnTo>
                    <a:pt x="308" y="250"/>
                  </a:lnTo>
                  <a:lnTo>
                    <a:pt x="306" y="250"/>
                  </a:lnTo>
                  <a:lnTo>
                    <a:pt x="306" y="252"/>
                  </a:lnTo>
                  <a:lnTo>
                    <a:pt x="306" y="253"/>
                  </a:lnTo>
                  <a:lnTo>
                    <a:pt x="306" y="255"/>
                  </a:lnTo>
                  <a:lnTo>
                    <a:pt x="308" y="253"/>
                  </a:lnTo>
                  <a:lnTo>
                    <a:pt x="308" y="252"/>
                  </a:lnTo>
                  <a:lnTo>
                    <a:pt x="308" y="250"/>
                  </a:lnTo>
                  <a:lnTo>
                    <a:pt x="309" y="250"/>
                  </a:lnTo>
                  <a:lnTo>
                    <a:pt x="309" y="248"/>
                  </a:lnTo>
                  <a:lnTo>
                    <a:pt x="309" y="247"/>
                  </a:lnTo>
                  <a:lnTo>
                    <a:pt x="309" y="248"/>
                  </a:lnTo>
                  <a:lnTo>
                    <a:pt x="311" y="248"/>
                  </a:lnTo>
                  <a:lnTo>
                    <a:pt x="311" y="250"/>
                  </a:lnTo>
                  <a:lnTo>
                    <a:pt x="309" y="250"/>
                  </a:lnTo>
                  <a:lnTo>
                    <a:pt x="311" y="250"/>
                  </a:lnTo>
                  <a:lnTo>
                    <a:pt x="311" y="252"/>
                  </a:lnTo>
                  <a:lnTo>
                    <a:pt x="313" y="252"/>
                  </a:lnTo>
                  <a:lnTo>
                    <a:pt x="313" y="250"/>
                  </a:lnTo>
                  <a:lnTo>
                    <a:pt x="311" y="250"/>
                  </a:lnTo>
                  <a:lnTo>
                    <a:pt x="311" y="248"/>
                  </a:lnTo>
                  <a:lnTo>
                    <a:pt x="313" y="248"/>
                  </a:lnTo>
                  <a:lnTo>
                    <a:pt x="311" y="248"/>
                  </a:lnTo>
                  <a:lnTo>
                    <a:pt x="311" y="247"/>
                  </a:lnTo>
                  <a:lnTo>
                    <a:pt x="311" y="245"/>
                  </a:lnTo>
                  <a:lnTo>
                    <a:pt x="309" y="245"/>
                  </a:lnTo>
                  <a:lnTo>
                    <a:pt x="309" y="247"/>
                  </a:lnTo>
                  <a:lnTo>
                    <a:pt x="309" y="245"/>
                  </a:lnTo>
                  <a:lnTo>
                    <a:pt x="308" y="245"/>
                  </a:lnTo>
                  <a:lnTo>
                    <a:pt x="308" y="247"/>
                  </a:lnTo>
                  <a:lnTo>
                    <a:pt x="308" y="248"/>
                  </a:lnTo>
                  <a:lnTo>
                    <a:pt x="308" y="247"/>
                  </a:lnTo>
                  <a:lnTo>
                    <a:pt x="308" y="245"/>
                  </a:lnTo>
                  <a:lnTo>
                    <a:pt x="308" y="243"/>
                  </a:lnTo>
                  <a:lnTo>
                    <a:pt x="308" y="242"/>
                  </a:lnTo>
                  <a:lnTo>
                    <a:pt x="308" y="240"/>
                  </a:lnTo>
                  <a:lnTo>
                    <a:pt x="306" y="240"/>
                  </a:lnTo>
                  <a:lnTo>
                    <a:pt x="306" y="238"/>
                  </a:lnTo>
                  <a:lnTo>
                    <a:pt x="304" y="238"/>
                  </a:lnTo>
                  <a:lnTo>
                    <a:pt x="304" y="236"/>
                  </a:lnTo>
                  <a:lnTo>
                    <a:pt x="302" y="236"/>
                  </a:lnTo>
                  <a:lnTo>
                    <a:pt x="302" y="235"/>
                  </a:lnTo>
                  <a:lnTo>
                    <a:pt x="301" y="235"/>
                  </a:lnTo>
                  <a:lnTo>
                    <a:pt x="299" y="235"/>
                  </a:lnTo>
                  <a:lnTo>
                    <a:pt x="301" y="235"/>
                  </a:lnTo>
                  <a:lnTo>
                    <a:pt x="301" y="233"/>
                  </a:lnTo>
                  <a:lnTo>
                    <a:pt x="299" y="231"/>
                  </a:lnTo>
                  <a:lnTo>
                    <a:pt x="299" y="233"/>
                  </a:lnTo>
                  <a:lnTo>
                    <a:pt x="299" y="231"/>
                  </a:lnTo>
                  <a:lnTo>
                    <a:pt x="297" y="231"/>
                  </a:lnTo>
                  <a:lnTo>
                    <a:pt x="297" y="233"/>
                  </a:lnTo>
                  <a:lnTo>
                    <a:pt x="299" y="233"/>
                  </a:lnTo>
                  <a:lnTo>
                    <a:pt x="297" y="233"/>
                  </a:lnTo>
                  <a:lnTo>
                    <a:pt x="299" y="235"/>
                  </a:lnTo>
                  <a:lnTo>
                    <a:pt x="297" y="235"/>
                  </a:lnTo>
                  <a:lnTo>
                    <a:pt x="296" y="233"/>
                  </a:lnTo>
                  <a:lnTo>
                    <a:pt x="294" y="233"/>
                  </a:lnTo>
                  <a:lnTo>
                    <a:pt x="294" y="235"/>
                  </a:lnTo>
                  <a:lnTo>
                    <a:pt x="292" y="235"/>
                  </a:lnTo>
                  <a:lnTo>
                    <a:pt x="291" y="233"/>
                  </a:lnTo>
                  <a:lnTo>
                    <a:pt x="289" y="233"/>
                  </a:lnTo>
                  <a:lnTo>
                    <a:pt x="289" y="231"/>
                  </a:lnTo>
                  <a:lnTo>
                    <a:pt x="287" y="231"/>
                  </a:lnTo>
                  <a:lnTo>
                    <a:pt x="287" y="230"/>
                  </a:lnTo>
                  <a:lnTo>
                    <a:pt x="287" y="228"/>
                  </a:lnTo>
                  <a:lnTo>
                    <a:pt x="287" y="226"/>
                  </a:lnTo>
                  <a:lnTo>
                    <a:pt x="285" y="226"/>
                  </a:lnTo>
                  <a:lnTo>
                    <a:pt x="285" y="225"/>
                  </a:lnTo>
                  <a:lnTo>
                    <a:pt x="285" y="223"/>
                  </a:lnTo>
                  <a:lnTo>
                    <a:pt x="284" y="223"/>
                  </a:lnTo>
                  <a:lnTo>
                    <a:pt x="284" y="221"/>
                  </a:lnTo>
                  <a:lnTo>
                    <a:pt x="284" y="223"/>
                  </a:lnTo>
                  <a:lnTo>
                    <a:pt x="285" y="223"/>
                  </a:lnTo>
                  <a:lnTo>
                    <a:pt x="285" y="225"/>
                  </a:lnTo>
                  <a:lnTo>
                    <a:pt x="285" y="223"/>
                  </a:lnTo>
                  <a:lnTo>
                    <a:pt x="285" y="221"/>
                  </a:lnTo>
                  <a:lnTo>
                    <a:pt x="285" y="219"/>
                  </a:lnTo>
                  <a:lnTo>
                    <a:pt x="284" y="219"/>
                  </a:lnTo>
                  <a:lnTo>
                    <a:pt x="284" y="218"/>
                  </a:lnTo>
                  <a:lnTo>
                    <a:pt x="282" y="218"/>
                  </a:lnTo>
                  <a:lnTo>
                    <a:pt x="280" y="218"/>
                  </a:lnTo>
                  <a:lnTo>
                    <a:pt x="280" y="219"/>
                  </a:lnTo>
                  <a:lnTo>
                    <a:pt x="279" y="218"/>
                  </a:lnTo>
                  <a:lnTo>
                    <a:pt x="277" y="218"/>
                  </a:lnTo>
                  <a:lnTo>
                    <a:pt x="275" y="218"/>
                  </a:lnTo>
                  <a:lnTo>
                    <a:pt x="274" y="218"/>
                  </a:lnTo>
                  <a:lnTo>
                    <a:pt x="274" y="216"/>
                  </a:lnTo>
                  <a:lnTo>
                    <a:pt x="272" y="216"/>
                  </a:lnTo>
                  <a:lnTo>
                    <a:pt x="270" y="214"/>
                  </a:lnTo>
                  <a:lnTo>
                    <a:pt x="268" y="214"/>
                  </a:lnTo>
                  <a:lnTo>
                    <a:pt x="268" y="213"/>
                  </a:lnTo>
                  <a:lnTo>
                    <a:pt x="267" y="211"/>
                  </a:lnTo>
                  <a:lnTo>
                    <a:pt x="265" y="211"/>
                  </a:lnTo>
                  <a:lnTo>
                    <a:pt x="267" y="211"/>
                  </a:lnTo>
                  <a:lnTo>
                    <a:pt x="267" y="209"/>
                  </a:lnTo>
                  <a:lnTo>
                    <a:pt x="267" y="208"/>
                  </a:lnTo>
                  <a:lnTo>
                    <a:pt x="265" y="208"/>
                  </a:lnTo>
                  <a:lnTo>
                    <a:pt x="263" y="208"/>
                  </a:lnTo>
                  <a:lnTo>
                    <a:pt x="263" y="206"/>
                  </a:lnTo>
                  <a:lnTo>
                    <a:pt x="262" y="206"/>
                  </a:lnTo>
                  <a:lnTo>
                    <a:pt x="262" y="204"/>
                  </a:lnTo>
                  <a:lnTo>
                    <a:pt x="262" y="202"/>
                  </a:lnTo>
                  <a:lnTo>
                    <a:pt x="262" y="201"/>
                  </a:lnTo>
                  <a:lnTo>
                    <a:pt x="262" y="199"/>
                  </a:lnTo>
                  <a:lnTo>
                    <a:pt x="262" y="197"/>
                  </a:lnTo>
                  <a:lnTo>
                    <a:pt x="262" y="196"/>
                  </a:lnTo>
                  <a:lnTo>
                    <a:pt x="263" y="196"/>
                  </a:lnTo>
                  <a:lnTo>
                    <a:pt x="263" y="194"/>
                  </a:lnTo>
                  <a:lnTo>
                    <a:pt x="262" y="194"/>
                  </a:lnTo>
                  <a:lnTo>
                    <a:pt x="262" y="192"/>
                  </a:lnTo>
                  <a:lnTo>
                    <a:pt x="262" y="190"/>
                  </a:lnTo>
                  <a:lnTo>
                    <a:pt x="263" y="190"/>
                  </a:lnTo>
                  <a:lnTo>
                    <a:pt x="262" y="190"/>
                  </a:lnTo>
                  <a:lnTo>
                    <a:pt x="263" y="190"/>
                  </a:lnTo>
                  <a:lnTo>
                    <a:pt x="265" y="190"/>
                  </a:lnTo>
                  <a:lnTo>
                    <a:pt x="265" y="189"/>
                  </a:lnTo>
                  <a:lnTo>
                    <a:pt x="265" y="190"/>
                  </a:lnTo>
                  <a:lnTo>
                    <a:pt x="263" y="190"/>
                  </a:lnTo>
                  <a:lnTo>
                    <a:pt x="263" y="189"/>
                  </a:lnTo>
                  <a:lnTo>
                    <a:pt x="262" y="189"/>
                  </a:lnTo>
                  <a:lnTo>
                    <a:pt x="260" y="189"/>
                  </a:lnTo>
                  <a:lnTo>
                    <a:pt x="260" y="187"/>
                  </a:lnTo>
                  <a:lnTo>
                    <a:pt x="260" y="189"/>
                  </a:lnTo>
                  <a:lnTo>
                    <a:pt x="262" y="189"/>
                  </a:lnTo>
                  <a:lnTo>
                    <a:pt x="260" y="189"/>
                  </a:lnTo>
                  <a:lnTo>
                    <a:pt x="258" y="189"/>
                  </a:lnTo>
                  <a:lnTo>
                    <a:pt x="258" y="187"/>
                  </a:lnTo>
                  <a:lnTo>
                    <a:pt x="257" y="187"/>
                  </a:lnTo>
                  <a:lnTo>
                    <a:pt x="255" y="187"/>
                  </a:lnTo>
                  <a:lnTo>
                    <a:pt x="253" y="187"/>
                  </a:lnTo>
                  <a:lnTo>
                    <a:pt x="255" y="187"/>
                  </a:lnTo>
                  <a:lnTo>
                    <a:pt x="255" y="185"/>
                  </a:lnTo>
                  <a:lnTo>
                    <a:pt x="253" y="185"/>
                  </a:lnTo>
                  <a:lnTo>
                    <a:pt x="253" y="187"/>
                  </a:lnTo>
                  <a:lnTo>
                    <a:pt x="251" y="187"/>
                  </a:lnTo>
                  <a:lnTo>
                    <a:pt x="251" y="189"/>
                  </a:lnTo>
                  <a:lnTo>
                    <a:pt x="253" y="187"/>
                  </a:lnTo>
                  <a:lnTo>
                    <a:pt x="253" y="189"/>
                  </a:lnTo>
                  <a:lnTo>
                    <a:pt x="253" y="190"/>
                  </a:lnTo>
                  <a:lnTo>
                    <a:pt x="251" y="190"/>
                  </a:lnTo>
                  <a:lnTo>
                    <a:pt x="251" y="189"/>
                  </a:lnTo>
                  <a:lnTo>
                    <a:pt x="250" y="189"/>
                  </a:lnTo>
                  <a:lnTo>
                    <a:pt x="250" y="187"/>
                  </a:lnTo>
                  <a:lnTo>
                    <a:pt x="250" y="185"/>
                  </a:lnTo>
                  <a:lnTo>
                    <a:pt x="248" y="185"/>
                  </a:lnTo>
                  <a:lnTo>
                    <a:pt x="246" y="185"/>
                  </a:lnTo>
                  <a:lnTo>
                    <a:pt x="246" y="187"/>
                  </a:lnTo>
                  <a:lnTo>
                    <a:pt x="246" y="185"/>
                  </a:lnTo>
                  <a:lnTo>
                    <a:pt x="246" y="187"/>
                  </a:lnTo>
                  <a:lnTo>
                    <a:pt x="245" y="187"/>
                  </a:lnTo>
                  <a:lnTo>
                    <a:pt x="245" y="185"/>
                  </a:lnTo>
                  <a:lnTo>
                    <a:pt x="243" y="185"/>
                  </a:lnTo>
                  <a:lnTo>
                    <a:pt x="243" y="184"/>
                  </a:lnTo>
                  <a:lnTo>
                    <a:pt x="241" y="184"/>
                  </a:lnTo>
                  <a:lnTo>
                    <a:pt x="241" y="182"/>
                  </a:lnTo>
                  <a:lnTo>
                    <a:pt x="240" y="182"/>
                  </a:lnTo>
                  <a:lnTo>
                    <a:pt x="240" y="180"/>
                  </a:lnTo>
                  <a:lnTo>
                    <a:pt x="238" y="179"/>
                  </a:lnTo>
                  <a:lnTo>
                    <a:pt x="238" y="177"/>
                  </a:lnTo>
                  <a:lnTo>
                    <a:pt x="236" y="177"/>
                  </a:lnTo>
                  <a:lnTo>
                    <a:pt x="236" y="175"/>
                  </a:lnTo>
                  <a:lnTo>
                    <a:pt x="236" y="173"/>
                  </a:lnTo>
                  <a:lnTo>
                    <a:pt x="234" y="173"/>
                  </a:lnTo>
                  <a:lnTo>
                    <a:pt x="233" y="172"/>
                  </a:lnTo>
                  <a:lnTo>
                    <a:pt x="233" y="170"/>
                  </a:lnTo>
                  <a:lnTo>
                    <a:pt x="231" y="168"/>
                  </a:lnTo>
                  <a:lnTo>
                    <a:pt x="229" y="168"/>
                  </a:lnTo>
                  <a:lnTo>
                    <a:pt x="228" y="168"/>
                  </a:lnTo>
                  <a:lnTo>
                    <a:pt x="226" y="167"/>
                  </a:lnTo>
                  <a:lnTo>
                    <a:pt x="224" y="167"/>
                  </a:lnTo>
                  <a:lnTo>
                    <a:pt x="224" y="165"/>
                  </a:lnTo>
                  <a:lnTo>
                    <a:pt x="224" y="163"/>
                  </a:lnTo>
                  <a:lnTo>
                    <a:pt x="223" y="163"/>
                  </a:lnTo>
                  <a:lnTo>
                    <a:pt x="223" y="162"/>
                  </a:lnTo>
                  <a:lnTo>
                    <a:pt x="223" y="160"/>
                  </a:lnTo>
                  <a:lnTo>
                    <a:pt x="221" y="160"/>
                  </a:lnTo>
                  <a:lnTo>
                    <a:pt x="219" y="158"/>
                  </a:lnTo>
                  <a:lnTo>
                    <a:pt x="217" y="156"/>
                  </a:lnTo>
                  <a:lnTo>
                    <a:pt x="216" y="155"/>
                  </a:lnTo>
                  <a:lnTo>
                    <a:pt x="217" y="155"/>
                  </a:lnTo>
                  <a:lnTo>
                    <a:pt x="219" y="155"/>
                  </a:lnTo>
                  <a:lnTo>
                    <a:pt x="219" y="153"/>
                  </a:lnTo>
                  <a:lnTo>
                    <a:pt x="217" y="153"/>
                  </a:lnTo>
                  <a:lnTo>
                    <a:pt x="216" y="153"/>
                  </a:lnTo>
                  <a:lnTo>
                    <a:pt x="216" y="151"/>
                  </a:lnTo>
                  <a:lnTo>
                    <a:pt x="214" y="151"/>
                  </a:lnTo>
                  <a:lnTo>
                    <a:pt x="214" y="150"/>
                  </a:lnTo>
                  <a:lnTo>
                    <a:pt x="212" y="150"/>
                  </a:lnTo>
                  <a:lnTo>
                    <a:pt x="212" y="148"/>
                  </a:lnTo>
                  <a:lnTo>
                    <a:pt x="211" y="148"/>
                  </a:lnTo>
                  <a:lnTo>
                    <a:pt x="209" y="148"/>
                  </a:lnTo>
                  <a:lnTo>
                    <a:pt x="209" y="146"/>
                  </a:lnTo>
                  <a:lnTo>
                    <a:pt x="209" y="145"/>
                  </a:lnTo>
                  <a:lnTo>
                    <a:pt x="209" y="143"/>
                  </a:lnTo>
                  <a:lnTo>
                    <a:pt x="209" y="141"/>
                  </a:lnTo>
                  <a:lnTo>
                    <a:pt x="209" y="139"/>
                  </a:lnTo>
                  <a:lnTo>
                    <a:pt x="207" y="139"/>
                  </a:lnTo>
                  <a:lnTo>
                    <a:pt x="207" y="138"/>
                  </a:lnTo>
                  <a:lnTo>
                    <a:pt x="207" y="136"/>
                  </a:lnTo>
                  <a:lnTo>
                    <a:pt x="207" y="134"/>
                  </a:lnTo>
                  <a:lnTo>
                    <a:pt x="207" y="133"/>
                  </a:lnTo>
                  <a:lnTo>
                    <a:pt x="206" y="133"/>
                  </a:lnTo>
                  <a:lnTo>
                    <a:pt x="204" y="133"/>
                  </a:lnTo>
                  <a:lnTo>
                    <a:pt x="206" y="133"/>
                  </a:lnTo>
                  <a:lnTo>
                    <a:pt x="204" y="133"/>
                  </a:lnTo>
                  <a:lnTo>
                    <a:pt x="204" y="134"/>
                  </a:lnTo>
                  <a:lnTo>
                    <a:pt x="202" y="133"/>
                  </a:lnTo>
                  <a:lnTo>
                    <a:pt x="200" y="133"/>
                  </a:lnTo>
                  <a:lnTo>
                    <a:pt x="200" y="131"/>
                  </a:lnTo>
                  <a:lnTo>
                    <a:pt x="200" y="129"/>
                  </a:lnTo>
                  <a:lnTo>
                    <a:pt x="202" y="129"/>
                  </a:lnTo>
                  <a:lnTo>
                    <a:pt x="202" y="128"/>
                  </a:lnTo>
                  <a:lnTo>
                    <a:pt x="202" y="126"/>
                  </a:lnTo>
                  <a:lnTo>
                    <a:pt x="200" y="126"/>
                  </a:lnTo>
                  <a:lnTo>
                    <a:pt x="200" y="124"/>
                  </a:lnTo>
                  <a:lnTo>
                    <a:pt x="199" y="124"/>
                  </a:lnTo>
                  <a:lnTo>
                    <a:pt x="199" y="122"/>
                  </a:lnTo>
                  <a:lnTo>
                    <a:pt x="197" y="122"/>
                  </a:lnTo>
                  <a:lnTo>
                    <a:pt x="197" y="121"/>
                  </a:lnTo>
                  <a:lnTo>
                    <a:pt x="197" y="119"/>
                  </a:lnTo>
                  <a:lnTo>
                    <a:pt x="195" y="119"/>
                  </a:lnTo>
                  <a:lnTo>
                    <a:pt x="195" y="117"/>
                  </a:lnTo>
                  <a:lnTo>
                    <a:pt x="195" y="116"/>
                  </a:lnTo>
                  <a:lnTo>
                    <a:pt x="194" y="116"/>
                  </a:lnTo>
                  <a:lnTo>
                    <a:pt x="194" y="114"/>
                  </a:lnTo>
                  <a:lnTo>
                    <a:pt x="194" y="112"/>
                  </a:lnTo>
                  <a:lnTo>
                    <a:pt x="192" y="112"/>
                  </a:lnTo>
                  <a:lnTo>
                    <a:pt x="192" y="111"/>
                  </a:lnTo>
                  <a:lnTo>
                    <a:pt x="190" y="111"/>
                  </a:lnTo>
                  <a:lnTo>
                    <a:pt x="190" y="109"/>
                  </a:lnTo>
                  <a:lnTo>
                    <a:pt x="190" y="107"/>
                  </a:lnTo>
                  <a:lnTo>
                    <a:pt x="190" y="105"/>
                  </a:lnTo>
                  <a:lnTo>
                    <a:pt x="189" y="105"/>
                  </a:lnTo>
                  <a:lnTo>
                    <a:pt x="189" y="104"/>
                  </a:lnTo>
                  <a:lnTo>
                    <a:pt x="189" y="102"/>
                  </a:lnTo>
                  <a:lnTo>
                    <a:pt x="190" y="100"/>
                  </a:lnTo>
                  <a:lnTo>
                    <a:pt x="189" y="100"/>
                  </a:lnTo>
                  <a:lnTo>
                    <a:pt x="189" y="99"/>
                  </a:lnTo>
                  <a:lnTo>
                    <a:pt x="189" y="97"/>
                  </a:lnTo>
                  <a:lnTo>
                    <a:pt x="187" y="97"/>
                  </a:lnTo>
                  <a:lnTo>
                    <a:pt x="185" y="97"/>
                  </a:lnTo>
                  <a:lnTo>
                    <a:pt x="187" y="95"/>
                  </a:lnTo>
                  <a:lnTo>
                    <a:pt x="187" y="94"/>
                  </a:lnTo>
                  <a:lnTo>
                    <a:pt x="187" y="92"/>
                  </a:lnTo>
                  <a:lnTo>
                    <a:pt x="185" y="92"/>
                  </a:lnTo>
                  <a:lnTo>
                    <a:pt x="185" y="90"/>
                  </a:lnTo>
                  <a:lnTo>
                    <a:pt x="185" y="88"/>
                  </a:lnTo>
                  <a:lnTo>
                    <a:pt x="183" y="88"/>
                  </a:lnTo>
                  <a:lnTo>
                    <a:pt x="183" y="87"/>
                  </a:lnTo>
                  <a:lnTo>
                    <a:pt x="182" y="87"/>
                  </a:lnTo>
                  <a:lnTo>
                    <a:pt x="182" y="85"/>
                  </a:lnTo>
                  <a:lnTo>
                    <a:pt x="180" y="85"/>
                  </a:lnTo>
                  <a:lnTo>
                    <a:pt x="180" y="83"/>
                  </a:lnTo>
                  <a:lnTo>
                    <a:pt x="178" y="82"/>
                  </a:lnTo>
                  <a:lnTo>
                    <a:pt x="178" y="80"/>
                  </a:lnTo>
                  <a:lnTo>
                    <a:pt x="178" y="78"/>
                  </a:lnTo>
                  <a:lnTo>
                    <a:pt x="177" y="77"/>
                  </a:lnTo>
                  <a:lnTo>
                    <a:pt x="177" y="75"/>
                  </a:lnTo>
                  <a:lnTo>
                    <a:pt x="177" y="73"/>
                  </a:lnTo>
                  <a:lnTo>
                    <a:pt x="178" y="71"/>
                  </a:lnTo>
                  <a:lnTo>
                    <a:pt x="178" y="70"/>
                  </a:lnTo>
                  <a:lnTo>
                    <a:pt x="178" y="68"/>
                  </a:lnTo>
                  <a:lnTo>
                    <a:pt x="177" y="68"/>
                  </a:lnTo>
                  <a:lnTo>
                    <a:pt x="177" y="66"/>
                  </a:lnTo>
                  <a:lnTo>
                    <a:pt x="177" y="65"/>
                  </a:lnTo>
                  <a:lnTo>
                    <a:pt x="177" y="66"/>
                  </a:lnTo>
                  <a:lnTo>
                    <a:pt x="178" y="66"/>
                  </a:lnTo>
                  <a:lnTo>
                    <a:pt x="178" y="68"/>
                  </a:lnTo>
                  <a:lnTo>
                    <a:pt x="178" y="66"/>
                  </a:lnTo>
                  <a:lnTo>
                    <a:pt x="178" y="65"/>
                  </a:lnTo>
                  <a:lnTo>
                    <a:pt x="178" y="63"/>
                  </a:lnTo>
                  <a:lnTo>
                    <a:pt x="178" y="61"/>
                  </a:lnTo>
                  <a:lnTo>
                    <a:pt x="177" y="60"/>
                  </a:lnTo>
                  <a:lnTo>
                    <a:pt x="175" y="60"/>
                  </a:lnTo>
                  <a:lnTo>
                    <a:pt x="173" y="58"/>
                  </a:lnTo>
                  <a:lnTo>
                    <a:pt x="172" y="58"/>
                  </a:lnTo>
                  <a:lnTo>
                    <a:pt x="170" y="58"/>
                  </a:lnTo>
                  <a:lnTo>
                    <a:pt x="168" y="58"/>
                  </a:lnTo>
                  <a:lnTo>
                    <a:pt x="166" y="56"/>
                  </a:lnTo>
                  <a:lnTo>
                    <a:pt x="165" y="56"/>
                  </a:lnTo>
                  <a:lnTo>
                    <a:pt x="163" y="56"/>
                  </a:lnTo>
                  <a:lnTo>
                    <a:pt x="161" y="54"/>
                  </a:lnTo>
                  <a:lnTo>
                    <a:pt x="160" y="54"/>
                  </a:lnTo>
                  <a:lnTo>
                    <a:pt x="160" y="53"/>
                  </a:lnTo>
                  <a:lnTo>
                    <a:pt x="160" y="51"/>
                  </a:lnTo>
                  <a:lnTo>
                    <a:pt x="160" y="49"/>
                  </a:lnTo>
                  <a:lnTo>
                    <a:pt x="158" y="48"/>
                  </a:lnTo>
                  <a:lnTo>
                    <a:pt x="156" y="48"/>
                  </a:lnTo>
                  <a:lnTo>
                    <a:pt x="156" y="46"/>
                  </a:lnTo>
                  <a:lnTo>
                    <a:pt x="155" y="46"/>
                  </a:lnTo>
                  <a:lnTo>
                    <a:pt x="153" y="46"/>
                  </a:lnTo>
                  <a:lnTo>
                    <a:pt x="153" y="44"/>
                  </a:lnTo>
                  <a:lnTo>
                    <a:pt x="151" y="44"/>
                  </a:lnTo>
                  <a:lnTo>
                    <a:pt x="149" y="44"/>
                  </a:lnTo>
                  <a:lnTo>
                    <a:pt x="149" y="46"/>
                  </a:lnTo>
                  <a:lnTo>
                    <a:pt x="148" y="46"/>
                  </a:lnTo>
                  <a:lnTo>
                    <a:pt x="148" y="48"/>
                  </a:lnTo>
                  <a:lnTo>
                    <a:pt x="146" y="48"/>
                  </a:lnTo>
                  <a:lnTo>
                    <a:pt x="146" y="49"/>
                  </a:lnTo>
                  <a:lnTo>
                    <a:pt x="146" y="48"/>
                  </a:lnTo>
                  <a:lnTo>
                    <a:pt x="144" y="48"/>
                  </a:lnTo>
                  <a:lnTo>
                    <a:pt x="143" y="48"/>
                  </a:lnTo>
                  <a:lnTo>
                    <a:pt x="141" y="48"/>
                  </a:lnTo>
                  <a:lnTo>
                    <a:pt x="139" y="48"/>
                  </a:lnTo>
                  <a:lnTo>
                    <a:pt x="139" y="46"/>
                  </a:lnTo>
                  <a:lnTo>
                    <a:pt x="138" y="46"/>
                  </a:lnTo>
                  <a:lnTo>
                    <a:pt x="136" y="44"/>
                  </a:lnTo>
                  <a:lnTo>
                    <a:pt x="134" y="44"/>
                  </a:lnTo>
                  <a:lnTo>
                    <a:pt x="134" y="42"/>
                  </a:lnTo>
                  <a:lnTo>
                    <a:pt x="132" y="42"/>
                  </a:lnTo>
                  <a:lnTo>
                    <a:pt x="132" y="41"/>
                  </a:lnTo>
                  <a:lnTo>
                    <a:pt x="131" y="41"/>
                  </a:lnTo>
                  <a:lnTo>
                    <a:pt x="129" y="41"/>
                  </a:lnTo>
                  <a:lnTo>
                    <a:pt x="129" y="39"/>
                  </a:lnTo>
                  <a:lnTo>
                    <a:pt x="127" y="39"/>
                  </a:lnTo>
                  <a:lnTo>
                    <a:pt x="126" y="39"/>
                  </a:lnTo>
                  <a:lnTo>
                    <a:pt x="124" y="37"/>
                  </a:lnTo>
                  <a:lnTo>
                    <a:pt x="124" y="39"/>
                  </a:lnTo>
                  <a:lnTo>
                    <a:pt x="126" y="39"/>
                  </a:lnTo>
                  <a:lnTo>
                    <a:pt x="126" y="41"/>
                  </a:lnTo>
                  <a:lnTo>
                    <a:pt x="126" y="42"/>
                  </a:lnTo>
                  <a:lnTo>
                    <a:pt x="124" y="42"/>
                  </a:lnTo>
                  <a:lnTo>
                    <a:pt x="124" y="41"/>
                  </a:lnTo>
                  <a:lnTo>
                    <a:pt x="122" y="41"/>
                  </a:lnTo>
                  <a:lnTo>
                    <a:pt x="121" y="39"/>
                  </a:lnTo>
                  <a:lnTo>
                    <a:pt x="121" y="41"/>
                  </a:lnTo>
                  <a:lnTo>
                    <a:pt x="122" y="41"/>
                  </a:lnTo>
                  <a:lnTo>
                    <a:pt x="122" y="42"/>
                  </a:lnTo>
                  <a:lnTo>
                    <a:pt x="121" y="44"/>
                  </a:lnTo>
                  <a:lnTo>
                    <a:pt x="121" y="46"/>
                  </a:lnTo>
                  <a:lnTo>
                    <a:pt x="119" y="46"/>
                  </a:lnTo>
                  <a:lnTo>
                    <a:pt x="119" y="48"/>
                  </a:lnTo>
                  <a:lnTo>
                    <a:pt x="119" y="49"/>
                  </a:lnTo>
                  <a:lnTo>
                    <a:pt x="119" y="51"/>
                  </a:lnTo>
                  <a:lnTo>
                    <a:pt x="119" y="53"/>
                  </a:lnTo>
                  <a:lnTo>
                    <a:pt x="119" y="54"/>
                  </a:lnTo>
                  <a:lnTo>
                    <a:pt x="117" y="56"/>
                  </a:lnTo>
                  <a:lnTo>
                    <a:pt x="117" y="58"/>
                  </a:lnTo>
                  <a:lnTo>
                    <a:pt x="117" y="60"/>
                  </a:lnTo>
                  <a:lnTo>
                    <a:pt x="117" y="61"/>
                  </a:lnTo>
                  <a:lnTo>
                    <a:pt x="117" y="63"/>
                  </a:lnTo>
                  <a:lnTo>
                    <a:pt x="117" y="65"/>
                  </a:lnTo>
                  <a:lnTo>
                    <a:pt x="119" y="65"/>
                  </a:lnTo>
                  <a:lnTo>
                    <a:pt x="121" y="66"/>
                  </a:lnTo>
                  <a:lnTo>
                    <a:pt x="119" y="66"/>
                  </a:lnTo>
                  <a:lnTo>
                    <a:pt x="119" y="68"/>
                  </a:lnTo>
                  <a:lnTo>
                    <a:pt x="121" y="68"/>
                  </a:lnTo>
                  <a:lnTo>
                    <a:pt x="121" y="70"/>
                  </a:lnTo>
                  <a:lnTo>
                    <a:pt x="122" y="70"/>
                  </a:lnTo>
                  <a:lnTo>
                    <a:pt x="122" y="71"/>
                  </a:lnTo>
                  <a:lnTo>
                    <a:pt x="124" y="71"/>
                  </a:lnTo>
                  <a:lnTo>
                    <a:pt x="124" y="73"/>
                  </a:lnTo>
                  <a:lnTo>
                    <a:pt x="124" y="75"/>
                  </a:lnTo>
                  <a:lnTo>
                    <a:pt x="124" y="77"/>
                  </a:lnTo>
                  <a:lnTo>
                    <a:pt x="124" y="78"/>
                  </a:lnTo>
                  <a:lnTo>
                    <a:pt x="124" y="80"/>
                  </a:lnTo>
                  <a:lnTo>
                    <a:pt x="124" y="82"/>
                  </a:lnTo>
                  <a:lnTo>
                    <a:pt x="124" y="83"/>
                  </a:lnTo>
                  <a:lnTo>
                    <a:pt x="126" y="85"/>
                  </a:lnTo>
                  <a:lnTo>
                    <a:pt x="126" y="87"/>
                  </a:lnTo>
                  <a:lnTo>
                    <a:pt x="126" y="88"/>
                  </a:lnTo>
                  <a:lnTo>
                    <a:pt x="126" y="90"/>
                  </a:lnTo>
                  <a:lnTo>
                    <a:pt x="126" y="92"/>
                  </a:lnTo>
                  <a:lnTo>
                    <a:pt x="126" y="94"/>
                  </a:lnTo>
                  <a:lnTo>
                    <a:pt x="126" y="95"/>
                  </a:lnTo>
                  <a:lnTo>
                    <a:pt x="126" y="97"/>
                  </a:lnTo>
                  <a:lnTo>
                    <a:pt x="126" y="99"/>
                  </a:lnTo>
                  <a:lnTo>
                    <a:pt x="124" y="99"/>
                  </a:lnTo>
                  <a:lnTo>
                    <a:pt x="126" y="100"/>
                  </a:lnTo>
                  <a:lnTo>
                    <a:pt x="126" y="102"/>
                  </a:lnTo>
                  <a:lnTo>
                    <a:pt x="127" y="102"/>
                  </a:lnTo>
                  <a:lnTo>
                    <a:pt x="127" y="104"/>
                  </a:lnTo>
                  <a:lnTo>
                    <a:pt x="127" y="105"/>
                  </a:lnTo>
                  <a:lnTo>
                    <a:pt x="129" y="107"/>
                  </a:lnTo>
                  <a:lnTo>
                    <a:pt x="129" y="109"/>
                  </a:lnTo>
                  <a:lnTo>
                    <a:pt x="131" y="109"/>
                  </a:lnTo>
                  <a:lnTo>
                    <a:pt x="131" y="111"/>
                  </a:lnTo>
                  <a:lnTo>
                    <a:pt x="132" y="111"/>
                  </a:lnTo>
                  <a:lnTo>
                    <a:pt x="134" y="111"/>
                  </a:lnTo>
                  <a:lnTo>
                    <a:pt x="134" y="112"/>
                  </a:lnTo>
                  <a:lnTo>
                    <a:pt x="132" y="112"/>
                  </a:lnTo>
                  <a:lnTo>
                    <a:pt x="134" y="112"/>
                  </a:lnTo>
                  <a:lnTo>
                    <a:pt x="134" y="114"/>
                  </a:lnTo>
                  <a:lnTo>
                    <a:pt x="134" y="116"/>
                  </a:lnTo>
                  <a:lnTo>
                    <a:pt x="136" y="116"/>
                  </a:lnTo>
                  <a:lnTo>
                    <a:pt x="136" y="117"/>
                  </a:lnTo>
                  <a:lnTo>
                    <a:pt x="138" y="117"/>
                  </a:lnTo>
                  <a:lnTo>
                    <a:pt x="138" y="116"/>
                  </a:lnTo>
                  <a:lnTo>
                    <a:pt x="139" y="116"/>
                  </a:lnTo>
                  <a:lnTo>
                    <a:pt x="139" y="117"/>
                  </a:lnTo>
                  <a:lnTo>
                    <a:pt x="141" y="117"/>
                  </a:lnTo>
                  <a:lnTo>
                    <a:pt x="141" y="119"/>
                  </a:lnTo>
                  <a:lnTo>
                    <a:pt x="143" y="119"/>
                  </a:lnTo>
                  <a:lnTo>
                    <a:pt x="144" y="121"/>
                  </a:lnTo>
                  <a:lnTo>
                    <a:pt x="146" y="122"/>
                  </a:lnTo>
                  <a:lnTo>
                    <a:pt x="146" y="124"/>
                  </a:lnTo>
                  <a:lnTo>
                    <a:pt x="148" y="124"/>
                  </a:lnTo>
                  <a:lnTo>
                    <a:pt x="149" y="124"/>
                  </a:lnTo>
                  <a:lnTo>
                    <a:pt x="149" y="126"/>
                  </a:lnTo>
                  <a:lnTo>
                    <a:pt x="151" y="128"/>
                  </a:lnTo>
                  <a:lnTo>
                    <a:pt x="153" y="128"/>
                  </a:lnTo>
                  <a:lnTo>
                    <a:pt x="153" y="129"/>
                  </a:lnTo>
                  <a:lnTo>
                    <a:pt x="155" y="129"/>
                  </a:lnTo>
                  <a:lnTo>
                    <a:pt x="155" y="131"/>
                  </a:lnTo>
                  <a:lnTo>
                    <a:pt x="156" y="131"/>
                  </a:lnTo>
                  <a:lnTo>
                    <a:pt x="156" y="133"/>
                  </a:lnTo>
                  <a:lnTo>
                    <a:pt x="158" y="133"/>
                  </a:lnTo>
                  <a:lnTo>
                    <a:pt x="158" y="134"/>
                  </a:lnTo>
                  <a:lnTo>
                    <a:pt x="160" y="134"/>
                  </a:lnTo>
                  <a:lnTo>
                    <a:pt x="160" y="136"/>
                  </a:lnTo>
                  <a:lnTo>
                    <a:pt x="160" y="138"/>
                  </a:lnTo>
                  <a:lnTo>
                    <a:pt x="160" y="139"/>
                  </a:lnTo>
                  <a:lnTo>
                    <a:pt x="161" y="139"/>
                  </a:lnTo>
                  <a:lnTo>
                    <a:pt x="161" y="141"/>
                  </a:lnTo>
                  <a:lnTo>
                    <a:pt x="161" y="143"/>
                  </a:lnTo>
                  <a:lnTo>
                    <a:pt x="163" y="143"/>
                  </a:lnTo>
                  <a:lnTo>
                    <a:pt x="163" y="145"/>
                  </a:lnTo>
                  <a:lnTo>
                    <a:pt x="161" y="145"/>
                  </a:lnTo>
                  <a:lnTo>
                    <a:pt x="161" y="146"/>
                  </a:lnTo>
                  <a:lnTo>
                    <a:pt x="163" y="146"/>
                  </a:lnTo>
                  <a:lnTo>
                    <a:pt x="163" y="148"/>
                  </a:lnTo>
                  <a:lnTo>
                    <a:pt x="163" y="150"/>
                  </a:lnTo>
                  <a:lnTo>
                    <a:pt x="165" y="150"/>
                  </a:lnTo>
                  <a:lnTo>
                    <a:pt x="165" y="148"/>
                  </a:lnTo>
                  <a:lnTo>
                    <a:pt x="166" y="148"/>
                  </a:lnTo>
                  <a:lnTo>
                    <a:pt x="168" y="148"/>
                  </a:lnTo>
                  <a:lnTo>
                    <a:pt x="168" y="150"/>
                  </a:lnTo>
                  <a:lnTo>
                    <a:pt x="168" y="151"/>
                  </a:lnTo>
                  <a:lnTo>
                    <a:pt x="170" y="153"/>
                  </a:lnTo>
                  <a:lnTo>
                    <a:pt x="172" y="153"/>
                  </a:lnTo>
                  <a:lnTo>
                    <a:pt x="172" y="151"/>
                  </a:lnTo>
                  <a:lnTo>
                    <a:pt x="173" y="151"/>
                  </a:lnTo>
                  <a:lnTo>
                    <a:pt x="173" y="153"/>
                  </a:lnTo>
                  <a:lnTo>
                    <a:pt x="175" y="153"/>
                  </a:lnTo>
                  <a:lnTo>
                    <a:pt x="175" y="155"/>
                  </a:lnTo>
                  <a:lnTo>
                    <a:pt x="175" y="156"/>
                  </a:lnTo>
                  <a:lnTo>
                    <a:pt x="175" y="158"/>
                  </a:lnTo>
                  <a:lnTo>
                    <a:pt x="177" y="160"/>
                  </a:lnTo>
                  <a:lnTo>
                    <a:pt x="177" y="162"/>
                  </a:lnTo>
                  <a:lnTo>
                    <a:pt x="177" y="163"/>
                  </a:lnTo>
                  <a:lnTo>
                    <a:pt x="178" y="165"/>
                  </a:lnTo>
                  <a:lnTo>
                    <a:pt x="178" y="167"/>
                  </a:lnTo>
                  <a:lnTo>
                    <a:pt x="180" y="167"/>
                  </a:lnTo>
                  <a:lnTo>
                    <a:pt x="182" y="167"/>
                  </a:lnTo>
                  <a:lnTo>
                    <a:pt x="183" y="167"/>
                  </a:lnTo>
                  <a:lnTo>
                    <a:pt x="185" y="167"/>
                  </a:lnTo>
                  <a:lnTo>
                    <a:pt x="185" y="168"/>
                  </a:lnTo>
                  <a:lnTo>
                    <a:pt x="187" y="167"/>
                  </a:lnTo>
                  <a:lnTo>
                    <a:pt x="187" y="168"/>
                  </a:lnTo>
                  <a:lnTo>
                    <a:pt x="185" y="168"/>
                  </a:lnTo>
                  <a:lnTo>
                    <a:pt x="187" y="170"/>
                  </a:lnTo>
                  <a:lnTo>
                    <a:pt x="185" y="170"/>
                  </a:lnTo>
                  <a:lnTo>
                    <a:pt x="185" y="172"/>
                  </a:lnTo>
                  <a:lnTo>
                    <a:pt x="185" y="173"/>
                  </a:lnTo>
                  <a:lnTo>
                    <a:pt x="187" y="175"/>
                  </a:lnTo>
                  <a:lnTo>
                    <a:pt x="187" y="177"/>
                  </a:lnTo>
                  <a:lnTo>
                    <a:pt x="189" y="177"/>
                  </a:lnTo>
                  <a:lnTo>
                    <a:pt x="187" y="179"/>
                  </a:lnTo>
                  <a:lnTo>
                    <a:pt x="187" y="180"/>
                  </a:lnTo>
                  <a:lnTo>
                    <a:pt x="189" y="180"/>
                  </a:lnTo>
                  <a:lnTo>
                    <a:pt x="189" y="182"/>
                  </a:lnTo>
                  <a:lnTo>
                    <a:pt x="187" y="184"/>
                  </a:lnTo>
                  <a:lnTo>
                    <a:pt x="189" y="184"/>
                  </a:lnTo>
                  <a:lnTo>
                    <a:pt x="189" y="185"/>
                  </a:lnTo>
                  <a:lnTo>
                    <a:pt x="189" y="187"/>
                  </a:lnTo>
                  <a:lnTo>
                    <a:pt x="189" y="189"/>
                  </a:lnTo>
                  <a:lnTo>
                    <a:pt x="189" y="190"/>
                  </a:lnTo>
                  <a:lnTo>
                    <a:pt x="190" y="190"/>
                  </a:lnTo>
                  <a:lnTo>
                    <a:pt x="190" y="192"/>
                  </a:lnTo>
                  <a:lnTo>
                    <a:pt x="190" y="194"/>
                  </a:lnTo>
                  <a:lnTo>
                    <a:pt x="192" y="194"/>
                  </a:lnTo>
                  <a:lnTo>
                    <a:pt x="192" y="196"/>
                  </a:lnTo>
                  <a:lnTo>
                    <a:pt x="194" y="196"/>
                  </a:lnTo>
                  <a:lnTo>
                    <a:pt x="194" y="197"/>
                  </a:lnTo>
                  <a:lnTo>
                    <a:pt x="195" y="197"/>
                  </a:lnTo>
                  <a:lnTo>
                    <a:pt x="197" y="197"/>
                  </a:lnTo>
                  <a:lnTo>
                    <a:pt x="197" y="199"/>
                  </a:lnTo>
                  <a:lnTo>
                    <a:pt x="199" y="199"/>
                  </a:lnTo>
                  <a:lnTo>
                    <a:pt x="200" y="199"/>
                  </a:lnTo>
                  <a:lnTo>
                    <a:pt x="200" y="201"/>
                  </a:lnTo>
                  <a:lnTo>
                    <a:pt x="202" y="201"/>
                  </a:lnTo>
                  <a:lnTo>
                    <a:pt x="202" y="202"/>
                  </a:lnTo>
                  <a:lnTo>
                    <a:pt x="204" y="202"/>
                  </a:lnTo>
                  <a:lnTo>
                    <a:pt x="204" y="204"/>
                  </a:lnTo>
                  <a:lnTo>
                    <a:pt x="204" y="206"/>
                  </a:lnTo>
                  <a:lnTo>
                    <a:pt x="206" y="208"/>
                  </a:lnTo>
                  <a:lnTo>
                    <a:pt x="204" y="208"/>
                  </a:lnTo>
                  <a:lnTo>
                    <a:pt x="206" y="209"/>
                  </a:lnTo>
                  <a:lnTo>
                    <a:pt x="207" y="211"/>
                  </a:lnTo>
                  <a:lnTo>
                    <a:pt x="207" y="213"/>
                  </a:lnTo>
                  <a:lnTo>
                    <a:pt x="209" y="213"/>
                  </a:lnTo>
                  <a:lnTo>
                    <a:pt x="207" y="214"/>
                  </a:lnTo>
                  <a:lnTo>
                    <a:pt x="209" y="213"/>
                  </a:lnTo>
                  <a:lnTo>
                    <a:pt x="207" y="213"/>
                  </a:lnTo>
                  <a:lnTo>
                    <a:pt x="207" y="214"/>
                  </a:lnTo>
                  <a:lnTo>
                    <a:pt x="209" y="214"/>
                  </a:lnTo>
                  <a:lnTo>
                    <a:pt x="209" y="216"/>
                  </a:lnTo>
                  <a:lnTo>
                    <a:pt x="211" y="216"/>
                  </a:lnTo>
                  <a:lnTo>
                    <a:pt x="211" y="218"/>
                  </a:lnTo>
                  <a:lnTo>
                    <a:pt x="212" y="218"/>
                  </a:lnTo>
                  <a:lnTo>
                    <a:pt x="214" y="218"/>
                  </a:lnTo>
                  <a:lnTo>
                    <a:pt x="216" y="219"/>
                  </a:lnTo>
                  <a:lnTo>
                    <a:pt x="217" y="219"/>
                  </a:lnTo>
                  <a:lnTo>
                    <a:pt x="216" y="219"/>
                  </a:lnTo>
                  <a:lnTo>
                    <a:pt x="214" y="221"/>
                  </a:lnTo>
                  <a:lnTo>
                    <a:pt x="214" y="223"/>
                  </a:lnTo>
                  <a:lnTo>
                    <a:pt x="214" y="225"/>
                  </a:lnTo>
                  <a:lnTo>
                    <a:pt x="216" y="225"/>
                  </a:lnTo>
                  <a:lnTo>
                    <a:pt x="216" y="226"/>
                  </a:lnTo>
                  <a:lnTo>
                    <a:pt x="217" y="226"/>
                  </a:lnTo>
                  <a:lnTo>
                    <a:pt x="217" y="228"/>
                  </a:lnTo>
                  <a:lnTo>
                    <a:pt x="219" y="228"/>
                  </a:lnTo>
                  <a:lnTo>
                    <a:pt x="219" y="230"/>
                  </a:lnTo>
                  <a:lnTo>
                    <a:pt x="219" y="231"/>
                  </a:lnTo>
                  <a:lnTo>
                    <a:pt x="217" y="233"/>
                  </a:lnTo>
                  <a:lnTo>
                    <a:pt x="219" y="233"/>
                  </a:lnTo>
                  <a:lnTo>
                    <a:pt x="219" y="235"/>
                  </a:lnTo>
                  <a:lnTo>
                    <a:pt x="219" y="236"/>
                  </a:lnTo>
                  <a:lnTo>
                    <a:pt x="221" y="236"/>
                  </a:lnTo>
                  <a:lnTo>
                    <a:pt x="223" y="238"/>
                  </a:lnTo>
                  <a:lnTo>
                    <a:pt x="223" y="240"/>
                  </a:lnTo>
                  <a:lnTo>
                    <a:pt x="224" y="240"/>
                  </a:lnTo>
                  <a:lnTo>
                    <a:pt x="224" y="238"/>
                  </a:lnTo>
                  <a:lnTo>
                    <a:pt x="226" y="238"/>
                  </a:lnTo>
                  <a:lnTo>
                    <a:pt x="226" y="236"/>
                  </a:lnTo>
                  <a:lnTo>
                    <a:pt x="224" y="236"/>
                  </a:lnTo>
                  <a:lnTo>
                    <a:pt x="224" y="235"/>
                  </a:lnTo>
                  <a:lnTo>
                    <a:pt x="223" y="235"/>
                  </a:lnTo>
                  <a:lnTo>
                    <a:pt x="221" y="233"/>
                  </a:lnTo>
                  <a:lnTo>
                    <a:pt x="221" y="231"/>
                  </a:lnTo>
                  <a:lnTo>
                    <a:pt x="221" y="230"/>
                  </a:lnTo>
                  <a:lnTo>
                    <a:pt x="221" y="228"/>
                  </a:lnTo>
                  <a:lnTo>
                    <a:pt x="219" y="226"/>
                  </a:lnTo>
                  <a:lnTo>
                    <a:pt x="221" y="226"/>
                  </a:lnTo>
                  <a:lnTo>
                    <a:pt x="223" y="226"/>
                  </a:lnTo>
                  <a:lnTo>
                    <a:pt x="223" y="228"/>
                  </a:lnTo>
                  <a:lnTo>
                    <a:pt x="224" y="228"/>
                  </a:lnTo>
                  <a:lnTo>
                    <a:pt x="224" y="230"/>
                  </a:lnTo>
                  <a:lnTo>
                    <a:pt x="226" y="231"/>
                  </a:lnTo>
                  <a:lnTo>
                    <a:pt x="228" y="231"/>
                  </a:lnTo>
                  <a:lnTo>
                    <a:pt x="228" y="233"/>
                  </a:lnTo>
                  <a:lnTo>
                    <a:pt x="229" y="233"/>
                  </a:lnTo>
                  <a:lnTo>
                    <a:pt x="229" y="235"/>
                  </a:lnTo>
                  <a:lnTo>
                    <a:pt x="229" y="236"/>
                  </a:lnTo>
                  <a:lnTo>
                    <a:pt x="229" y="238"/>
                  </a:lnTo>
                  <a:lnTo>
                    <a:pt x="229" y="240"/>
                  </a:lnTo>
                  <a:lnTo>
                    <a:pt x="231" y="240"/>
                  </a:lnTo>
                  <a:lnTo>
                    <a:pt x="233" y="240"/>
                  </a:lnTo>
                  <a:lnTo>
                    <a:pt x="234" y="240"/>
                  </a:lnTo>
                  <a:lnTo>
                    <a:pt x="233" y="240"/>
                  </a:lnTo>
                  <a:lnTo>
                    <a:pt x="233" y="242"/>
                  </a:lnTo>
                  <a:lnTo>
                    <a:pt x="233" y="243"/>
                  </a:lnTo>
                  <a:lnTo>
                    <a:pt x="233" y="245"/>
                  </a:lnTo>
                  <a:lnTo>
                    <a:pt x="234" y="245"/>
                  </a:lnTo>
                  <a:lnTo>
                    <a:pt x="234" y="247"/>
                  </a:lnTo>
                  <a:lnTo>
                    <a:pt x="236" y="248"/>
                  </a:lnTo>
                  <a:lnTo>
                    <a:pt x="236" y="250"/>
                  </a:lnTo>
                  <a:lnTo>
                    <a:pt x="234" y="250"/>
                  </a:lnTo>
                  <a:lnTo>
                    <a:pt x="236" y="250"/>
                  </a:lnTo>
                  <a:lnTo>
                    <a:pt x="236" y="252"/>
                  </a:lnTo>
                  <a:lnTo>
                    <a:pt x="236" y="253"/>
                  </a:lnTo>
                  <a:lnTo>
                    <a:pt x="236" y="255"/>
                  </a:lnTo>
                  <a:lnTo>
                    <a:pt x="238" y="257"/>
                  </a:lnTo>
                  <a:lnTo>
                    <a:pt x="238" y="259"/>
                  </a:lnTo>
                  <a:lnTo>
                    <a:pt x="236" y="259"/>
                  </a:lnTo>
                  <a:lnTo>
                    <a:pt x="238" y="260"/>
                  </a:lnTo>
                  <a:lnTo>
                    <a:pt x="236" y="262"/>
                  </a:lnTo>
                  <a:lnTo>
                    <a:pt x="238" y="264"/>
                  </a:lnTo>
                  <a:lnTo>
                    <a:pt x="238" y="265"/>
                  </a:lnTo>
                  <a:lnTo>
                    <a:pt x="238" y="267"/>
                  </a:lnTo>
                  <a:lnTo>
                    <a:pt x="238" y="269"/>
                  </a:lnTo>
                  <a:lnTo>
                    <a:pt x="240" y="269"/>
                  </a:lnTo>
                  <a:lnTo>
                    <a:pt x="240" y="270"/>
                  </a:lnTo>
                  <a:lnTo>
                    <a:pt x="241" y="270"/>
                  </a:lnTo>
                  <a:lnTo>
                    <a:pt x="241" y="272"/>
                  </a:lnTo>
                  <a:lnTo>
                    <a:pt x="241" y="274"/>
                  </a:lnTo>
                  <a:lnTo>
                    <a:pt x="243" y="276"/>
                  </a:lnTo>
                  <a:lnTo>
                    <a:pt x="243" y="277"/>
                  </a:lnTo>
                  <a:lnTo>
                    <a:pt x="245" y="277"/>
                  </a:lnTo>
                  <a:lnTo>
                    <a:pt x="246" y="277"/>
                  </a:lnTo>
                  <a:lnTo>
                    <a:pt x="246" y="279"/>
                  </a:lnTo>
                  <a:lnTo>
                    <a:pt x="248" y="277"/>
                  </a:lnTo>
                  <a:lnTo>
                    <a:pt x="248" y="279"/>
                  </a:lnTo>
                  <a:lnTo>
                    <a:pt x="248" y="281"/>
                  </a:lnTo>
                  <a:lnTo>
                    <a:pt x="248" y="282"/>
                  </a:lnTo>
                  <a:lnTo>
                    <a:pt x="250" y="284"/>
                  </a:lnTo>
                  <a:lnTo>
                    <a:pt x="250" y="286"/>
                  </a:lnTo>
                  <a:lnTo>
                    <a:pt x="251" y="286"/>
                  </a:lnTo>
                  <a:lnTo>
                    <a:pt x="251" y="287"/>
                  </a:lnTo>
                  <a:lnTo>
                    <a:pt x="250" y="287"/>
                  </a:lnTo>
                  <a:lnTo>
                    <a:pt x="251" y="287"/>
                  </a:lnTo>
                  <a:lnTo>
                    <a:pt x="250" y="289"/>
                  </a:lnTo>
                  <a:lnTo>
                    <a:pt x="251" y="289"/>
                  </a:lnTo>
                  <a:lnTo>
                    <a:pt x="251" y="291"/>
                  </a:lnTo>
                  <a:lnTo>
                    <a:pt x="251" y="293"/>
                  </a:lnTo>
                  <a:lnTo>
                    <a:pt x="253" y="293"/>
                  </a:lnTo>
                  <a:lnTo>
                    <a:pt x="253" y="294"/>
                  </a:lnTo>
                  <a:lnTo>
                    <a:pt x="255" y="294"/>
                  </a:lnTo>
                  <a:lnTo>
                    <a:pt x="255" y="296"/>
                  </a:lnTo>
                  <a:lnTo>
                    <a:pt x="257" y="296"/>
                  </a:lnTo>
                  <a:lnTo>
                    <a:pt x="257" y="298"/>
                  </a:lnTo>
                  <a:lnTo>
                    <a:pt x="257" y="299"/>
                  </a:lnTo>
                  <a:lnTo>
                    <a:pt x="258" y="299"/>
                  </a:lnTo>
                  <a:lnTo>
                    <a:pt x="258" y="301"/>
                  </a:lnTo>
                  <a:lnTo>
                    <a:pt x="260" y="301"/>
                  </a:lnTo>
                  <a:lnTo>
                    <a:pt x="260" y="303"/>
                  </a:lnTo>
                  <a:lnTo>
                    <a:pt x="260" y="304"/>
                  </a:lnTo>
                  <a:lnTo>
                    <a:pt x="260" y="306"/>
                  </a:lnTo>
                  <a:lnTo>
                    <a:pt x="258" y="308"/>
                  </a:lnTo>
                  <a:lnTo>
                    <a:pt x="258" y="310"/>
                  </a:lnTo>
                  <a:lnTo>
                    <a:pt x="258" y="311"/>
                  </a:lnTo>
                  <a:lnTo>
                    <a:pt x="257" y="311"/>
                  </a:lnTo>
                  <a:lnTo>
                    <a:pt x="257" y="313"/>
                  </a:lnTo>
                  <a:lnTo>
                    <a:pt x="258" y="313"/>
                  </a:lnTo>
                  <a:lnTo>
                    <a:pt x="257" y="315"/>
                  </a:lnTo>
                  <a:lnTo>
                    <a:pt x="258" y="315"/>
                  </a:lnTo>
                  <a:lnTo>
                    <a:pt x="258" y="316"/>
                  </a:lnTo>
                  <a:lnTo>
                    <a:pt x="260" y="318"/>
                  </a:lnTo>
                  <a:lnTo>
                    <a:pt x="258" y="318"/>
                  </a:lnTo>
                  <a:lnTo>
                    <a:pt x="258" y="320"/>
                  </a:lnTo>
                  <a:lnTo>
                    <a:pt x="260" y="320"/>
                  </a:lnTo>
                  <a:lnTo>
                    <a:pt x="260" y="321"/>
                  </a:lnTo>
                  <a:lnTo>
                    <a:pt x="260" y="323"/>
                  </a:lnTo>
                  <a:lnTo>
                    <a:pt x="262" y="323"/>
                  </a:lnTo>
                  <a:lnTo>
                    <a:pt x="262" y="325"/>
                  </a:lnTo>
                  <a:lnTo>
                    <a:pt x="263" y="325"/>
                  </a:lnTo>
                  <a:lnTo>
                    <a:pt x="263" y="327"/>
                  </a:lnTo>
                  <a:lnTo>
                    <a:pt x="265" y="327"/>
                  </a:lnTo>
                  <a:lnTo>
                    <a:pt x="267" y="328"/>
                  </a:lnTo>
                  <a:lnTo>
                    <a:pt x="268" y="328"/>
                  </a:lnTo>
                  <a:lnTo>
                    <a:pt x="270" y="328"/>
                  </a:lnTo>
                  <a:lnTo>
                    <a:pt x="272" y="328"/>
                  </a:lnTo>
                  <a:lnTo>
                    <a:pt x="270" y="328"/>
                  </a:lnTo>
                  <a:lnTo>
                    <a:pt x="268" y="328"/>
                  </a:lnTo>
                  <a:lnTo>
                    <a:pt x="268" y="330"/>
                  </a:lnTo>
                  <a:lnTo>
                    <a:pt x="270" y="330"/>
                  </a:lnTo>
                  <a:lnTo>
                    <a:pt x="272" y="328"/>
                  </a:lnTo>
                  <a:lnTo>
                    <a:pt x="272" y="327"/>
                  </a:lnTo>
                  <a:lnTo>
                    <a:pt x="272" y="325"/>
                  </a:lnTo>
                  <a:lnTo>
                    <a:pt x="270" y="325"/>
                  </a:lnTo>
                  <a:lnTo>
                    <a:pt x="272" y="325"/>
                  </a:lnTo>
                  <a:lnTo>
                    <a:pt x="270" y="323"/>
                  </a:lnTo>
                  <a:lnTo>
                    <a:pt x="272" y="323"/>
                  </a:lnTo>
                  <a:lnTo>
                    <a:pt x="270" y="323"/>
                  </a:lnTo>
                  <a:lnTo>
                    <a:pt x="272" y="323"/>
                  </a:lnTo>
                  <a:lnTo>
                    <a:pt x="272" y="321"/>
                  </a:lnTo>
                  <a:lnTo>
                    <a:pt x="274" y="321"/>
                  </a:lnTo>
                  <a:lnTo>
                    <a:pt x="275" y="321"/>
                  </a:lnTo>
                  <a:lnTo>
                    <a:pt x="274" y="323"/>
                  </a:lnTo>
                  <a:lnTo>
                    <a:pt x="275" y="323"/>
                  </a:lnTo>
                  <a:lnTo>
                    <a:pt x="275" y="325"/>
                  </a:lnTo>
                  <a:lnTo>
                    <a:pt x="277" y="325"/>
                  </a:lnTo>
                  <a:lnTo>
                    <a:pt x="279" y="327"/>
                  </a:lnTo>
                  <a:lnTo>
                    <a:pt x="280" y="327"/>
                  </a:lnTo>
                  <a:lnTo>
                    <a:pt x="280" y="328"/>
                  </a:lnTo>
                  <a:lnTo>
                    <a:pt x="282" y="328"/>
                  </a:lnTo>
                  <a:lnTo>
                    <a:pt x="282" y="330"/>
                  </a:lnTo>
                  <a:lnTo>
                    <a:pt x="282" y="332"/>
                  </a:lnTo>
                  <a:lnTo>
                    <a:pt x="282" y="333"/>
                  </a:lnTo>
                  <a:lnTo>
                    <a:pt x="284" y="333"/>
                  </a:lnTo>
                  <a:lnTo>
                    <a:pt x="285" y="333"/>
                  </a:lnTo>
                  <a:lnTo>
                    <a:pt x="287" y="333"/>
                  </a:lnTo>
                  <a:lnTo>
                    <a:pt x="287" y="332"/>
                  </a:lnTo>
                  <a:lnTo>
                    <a:pt x="289" y="332"/>
                  </a:lnTo>
                  <a:lnTo>
                    <a:pt x="289" y="333"/>
                  </a:lnTo>
                  <a:lnTo>
                    <a:pt x="289" y="335"/>
                  </a:lnTo>
                  <a:lnTo>
                    <a:pt x="287" y="335"/>
                  </a:lnTo>
                  <a:lnTo>
                    <a:pt x="287" y="337"/>
                  </a:lnTo>
                  <a:lnTo>
                    <a:pt x="289" y="338"/>
                  </a:lnTo>
                  <a:lnTo>
                    <a:pt x="291" y="338"/>
                  </a:lnTo>
                  <a:lnTo>
                    <a:pt x="291" y="340"/>
                  </a:lnTo>
                  <a:lnTo>
                    <a:pt x="292" y="342"/>
                  </a:lnTo>
                  <a:lnTo>
                    <a:pt x="292" y="344"/>
                  </a:lnTo>
                  <a:lnTo>
                    <a:pt x="292" y="345"/>
                  </a:lnTo>
                  <a:lnTo>
                    <a:pt x="292" y="347"/>
                  </a:lnTo>
                  <a:lnTo>
                    <a:pt x="294" y="347"/>
                  </a:lnTo>
                  <a:lnTo>
                    <a:pt x="294" y="349"/>
                  </a:lnTo>
                  <a:lnTo>
                    <a:pt x="296" y="349"/>
                  </a:lnTo>
                  <a:lnTo>
                    <a:pt x="297" y="349"/>
                  </a:lnTo>
                  <a:lnTo>
                    <a:pt x="299" y="350"/>
                  </a:lnTo>
                  <a:lnTo>
                    <a:pt x="301" y="350"/>
                  </a:lnTo>
                  <a:lnTo>
                    <a:pt x="299" y="352"/>
                  </a:lnTo>
                  <a:lnTo>
                    <a:pt x="301" y="354"/>
                  </a:lnTo>
                  <a:lnTo>
                    <a:pt x="302" y="355"/>
                  </a:lnTo>
                  <a:lnTo>
                    <a:pt x="301" y="355"/>
                  </a:lnTo>
                  <a:lnTo>
                    <a:pt x="302" y="357"/>
                  </a:lnTo>
                  <a:lnTo>
                    <a:pt x="301" y="357"/>
                  </a:lnTo>
                  <a:lnTo>
                    <a:pt x="302" y="359"/>
                  </a:lnTo>
                  <a:lnTo>
                    <a:pt x="302" y="361"/>
                  </a:lnTo>
                  <a:lnTo>
                    <a:pt x="301" y="361"/>
                  </a:lnTo>
                  <a:lnTo>
                    <a:pt x="301" y="362"/>
                  </a:lnTo>
                  <a:lnTo>
                    <a:pt x="301" y="364"/>
                  </a:lnTo>
                  <a:lnTo>
                    <a:pt x="301" y="366"/>
                  </a:lnTo>
                  <a:lnTo>
                    <a:pt x="299" y="366"/>
                  </a:lnTo>
                  <a:lnTo>
                    <a:pt x="299" y="367"/>
                  </a:lnTo>
                  <a:lnTo>
                    <a:pt x="297" y="367"/>
                  </a:lnTo>
                  <a:lnTo>
                    <a:pt x="297" y="369"/>
                  </a:lnTo>
                  <a:lnTo>
                    <a:pt x="296" y="369"/>
                  </a:lnTo>
                  <a:lnTo>
                    <a:pt x="294" y="369"/>
                  </a:lnTo>
                  <a:lnTo>
                    <a:pt x="292" y="369"/>
                  </a:lnTo>
                  <a:lnTo>
                    <a:pt x="292" y="371"/>
                  </a:lnTo>
                  <a:lnTo>
                    <a:pt x="291" y="373"/>
                  </a:lnTo>
                  <a:lnTo>
                    <a:pt x="289" y="373"/>
                  </a:lnTo>
                  <a:lnTo>
                    <a:pt x="289" y="374"/>
                  </a:lnTo>
                  <a:lnTo>
                    <a:pt x="287" y="374"/>
                  </a:lnTo>
                  <a:lnTo>
                    <a:pt x="287" y="376"/>
                  </a:lnTo>
                  <a:lnTo>
                    <a:pt x="285" y="376"/>
                  </a:lnTo>
                  <a:lnTo>
                    <a:pt x="284" y="376"/>
                  </a:lnTo>
                  <a:lnTo>
                    <a:pt x="282" y="376"/>
                  </a:lnTo>
                  <a:lnTo>
                    <a:pt x="282" y="374"/>
                  </a:lnTo>
                  <a:lnTo>
                    <a:pt x="280" y="374"/>
                  </a:lnTo>
                  <a:lnTo>
                    <a:pt x="280" y="373"/>
                  </a:lnTo>
                  <a:lnTo>
                    <a:pt x="279" y="373"/>
                  </a:lnTo>
                  <a:lnTo>
                    <a:pt x="279" y="371"/>
                  </a:lnTo>
                  <a:lnTo>
                    <a:pt x="279" y="369"/>
                  </a:lnTo>
                  <a:lnTo>
                    <a:pt x="279" y="367"/>
                  </a:lnTo>
                  <a:lnTo>
                    <a:pt x="279" y="366"/>
                  </a:lnTo>
                  <a:lnTo>
                    <a:pt x="277" y="366"/>
                  </a:lnTo>
                  <a:lnTo>
                    <a:pt x="277" y="364"/>
                  </a:lnTo>
                  <a:lnTo>
                    <a:pt x="277" y="362"/>
                  </a:lnTo>
                  <a:lnTo>
                    <a:pt x="277" y="361"/>
                  </a:lnTo>
                  <a:lnTo>
                    <a:pt x="277" y="359"/>
                  </a:lnTo>
                  <a:lnTo>
                    <a:pt x="275" y="359"/>
                  </a:lnTo>
                  <a:lnTo>
                    <a:pt x="275" y="357"/>
                  </a:lnTo>
                  <a:lnTo>
                    <a:pt x="274" y="355"/>
                  </a:lnTo>
                  <a:lnTo>
                    <a:pt x="274" y="354"/>
                  </a:lnTo>
                  <a:lnTo>
                    <a:pt x="272" y="352"/>
                  </a:lnTo>
                  <a:lnTo>
                    <a:pt x="272" y="350"/>
                  </a:lnTo>
                  <a:lnTo>
                    <a:pt x="270" y="350"/>
                  </a:lnTo>
                  <a:lnTo>
                    <a:pt x="268" y="349"/>
                  </a:lnTo>
                  <a:lnTo>
                    <a:pt x="267" y="349"/>
                  </a:lnTo>
                  <a:lnTo>
                    <a:pt x="267" y="347"/>
                  </a:lnTo>
                  <a:lnTo>
                    <a:pt x="265" y="347"/>
                  </a:lnTo>
                  <a:lnTo>
                    <a:pt x="263" y="347"/>
                  </a:lnTo>
                  <a:lnTo>
                    <a:pt x="262" y="345"/>
                  </a:lnTo>
                  <a:lnTo>
                    <a:pt x="260" y="344"/>
                  </a:lnTo>
                  <a:lnTo>
                    <a:pt x="258" y="344"/>
                  </a:lnTo>
                  <a:lnTo>
                    <a:pt x="258" y="342"/>
                  </a:lnTo>
                  <a:lnTo>
                    <a:pt x="257" y="340"/>
                  </a:lnTo>
                  <a:lnTo>
                    <a:pt x="257" y="338"/>
                  </a:lnTo>
                  <a:lnTo>
                    <a:pt x="255" y="338"/>
                  </a:lnTo>
                  <a:lnTo>
                    <a:pt x="255" y="337"/>
                  </a:lnTo>
                  <a:lnTo>
                    <a:pt x="253" y="337"/>
                  </a:lnTo>
                  <a:lnTo>
                    <a:pt x="253" y="335"/>
                  </a:lnTo>
                  <a:lnTo>
                    <a:pt x="251" y="335"/>
                  </a:lnTo>
                  <a:lnTo>
                    <a:pt x="251" y="333"/>
                  </a:lnTo>
                  <a:lnTo>
                    <a:pt x="250" y="333"/>
                  </a:lnTo>
                  <a:lnTo>
                    <a:pt x="250" y="332"/>
                  </a:lnTo>
                  <a:lnTo>
                    <a:pt x="248" y="332"/>
                  </a:lnTo>
                  <a:lnTo>
                    <a:pt x="246" y="330"/>
                  </a:lnTo>
                  <a:lnTo>
                    <a:pt x="245" y="330"/>
                  </a:lnTo>
                  <a:lnTo>
                    <a:pt x="245" y="328"/>
                  </a:lnTo>
                  <a:lnTo>
                    <a:pt x="243" y="328"/>
                  </a:lnTo>
                  <a:lnTo>
                    <a:pt x="241" y="327"/>
                  </a:lnTo>
                  <a:lnTo>
                    <a:pt x="240" y="327"/>
                  </a:lnTo>
                  <a:lnTo>
                    <a:pt x="240" y="325"/>
                  </a:lnTo>
                  <a:lnTo>
                    <a:pt x="236" y="323"/>
                  </a:lnTo>
                  <a:lnTo>
                    <a:pt x="234" y="323"/>
                  </a:lnTo>
                  <a:lnTo>
                    <a:pt x="234" y="321"/>
                  </a:lnTo>
                  <a:lnTo>
                    <a:pt x="233" y="321"/>
                  </a:lnTo>
                  <a:lnTo>
                    <a:pt x="233" y="320"/>
                  </a:lnTo>
                  <a:lnTo>
                    <a:pt x="231" y="320"/>
                  </a:lnTo>
                  <a:lnTo>
                    <a:pt x="229" y="320"/>
                  </a:lnTo>
                  <a:lnTo>
                    <a:pt x="229" y="318"/>
                  </a:lnTo>
                  <a:lnTo>
                    <a:pt x="228" y="318"/>
                  </a:lnTo>
                  <a:lnTo>
                    <a:pt x="228" y="316"/>
                  </a:lnTo>
                  <a:lnTo>
                    <a:pt x="228" y="315"/>
                  </a:lnTo>
                  <a:lnTo>
                    <a:pt x="226" y="315"/>
                  </a:lnTo>
                  <a:lnTo>
                    <a:pt x="228" y="315"/>
                  </a:lnTo>
                  <a:lnTo>
                    <a:pt x="226" y="313"/>
                  </a:lnTo>
                  <a:lnTo>
                    <a:pt x="224" y="313"/>
                  </a:lnTo>
                  <a:lnTo>
                    <a:pt x="226" y="315"/>
                  </a:lnTo>
                  <a:lnTo>
                    <a:pt x="224" y="315"/>
                  </a:lnTo>
                  <a:lnTo>
                    <a:pt x="224" y="313"/>
                  </a:lnTo>
                  <a:lnTo>
                    <a:pt x="224" y="315"/>
                  </a:lnTo>
                  <a:lnTo>
                    <a:pt x="223" y="315"/>
                  </a:lnTo>
                  <a:lnTo>
                    <a:pt x="221" y="313"/>
                  </a:lnTo>
                  <a:lnTo>
                    <a:pt x="223" y="313"/>
                  </a:lnTo>
                  <a:lnTo>
                    <a:pt x="221" y="313"/>
                  </a:lnTo>
                  <a:lnTo>
                    <a:pt x="221" y="315"/>
                  </a:lnTo>
                  <a:lnTo>
                    <a:pt x="223" y="315"/>
                  </a:lnTo>
                  <a:lnTo>
                    <a:pt x="221" y="315"/>
                  </a:lnTo>
                  <a:lnTo>
                    <a:pt x="221" y="316"/>
                  </a:lnTo>
                  <a:lnTo>
                    <a:pt x="221" y="315"/>
                  </a:lnTo>
                  <a:lnTo>
                    <a:pt x="221" y="313"/>
                  </a:lnTo>
                  <a:lnTo>
                    <a:pt x="221" y="311"/>
                  </a:lnTo>
                  <a:lnTo>
                    <a:pt x="219" y="310"/>
                  </a:lnTo>
                  <a:lnTo>
                    <a:pt x="217" y="308"/>
                  </a:lnTo>
                  <a:lnTo>
                    <a:pt x="217" y="306"/>
                  </a:lnTo>
                  <a:lnTo>
                    <a:pt x="216" y="306"/>
                  </a:lnTo>
                  <a:lnTo>
                    <a:pt x="216" y="304"/>
                  </a:lnTo>
                  <a:lnTo>
                    <a:pt x="216" y="306"/>
                  </a:lnTo>
                  <a:lnTo>
                    <a:pt x="216" y="308"/>
                  </a:lnTo>
                  <a:lnTo>
                    <a:pt x="216" y="306"/>
                  </a:lnTo>
                  <a:lnTo>
                    <a:pt x="216" y="308"/>
                  </a:lnTo>
                  <a:lnTo>
                    <a:pt x="214" y="308"/>
                  </a:lnTo>
                  <a:lnTo>
                    <a:pt x="214" y="306"/>
                  </a:lnTo>
                  <a:lnTo>
                    <a:pt x="214" y="304"/>
                  </a:lnTo>
                  <a:lnTo>
                    <a:pt x="212" y="306"/>
                  </a:lnTo>
                  <a:lnTo>
                    <a:pt x="214" y="306"/>
                  </a:lnTo>
                  <a:lnTo>
                    <a:pt x="212" y="306"/>
                  </a:lnTo>
                  <a:lnTo>
                    <a:pt x="212" y="308"/>
                  </a:lnTo>
                  <a:lnTo>
                    <a:pt x="212" y="306"/>
                  </a:lnTo>
                  <a:lnTo>
                    <a:pt x="212" y="304"/>
                  </a:lnTo>
                  <a:lnTo>
                    <a:pt x="211" y="304"/>
                  </a:lnTo>
                  <a:lnTo>
                    <a:pt x="212" y="306"/>
                  </a:lnTo>
                  <a:lnTo>
                    <a:pt x="211" y="304"/>
                  </a:lnTo>
                  <a:lnTo>
                    <a:pt x="212" y="304"/>
                  </a:lnTo>
                  <a:lnTo>
                    <a:pt x="211" y="303"/>
                  </a:lnTo>
                  <a:lnTo>
                    <a:pt x="211" y="301"/>
                  </a:lnTo>
                  <a:lnTo>
                    <a:pt x="212" y="301"/>
                  </a:lnTo>
                  <a:lnTo>
                    <a:pt x="211" y="301"/>
                  </a:lnTo>
                  <a:lnTo>
                    <a:pt x="211" y="299"/>
                  </a:lnTo>
                  <a:lnTo>
                    <a:pt x="212" y="299"/>
                  </a:lnTo>
                  <a:lnTo>
                    <a:pt x="211" y="298"/>
                  </a:lnTo>
                  <a:lnTo>
                    <a:pt x="211" y="299"/>
                  </a:lnTo>
                  <a:lnTo>
                    <a:pt x="211" y="301"/>
                  </a:lnTo>
                  <a:lnTo>
                    <a:pt x="211" y="303"/>
                  </a:lnTo>
                  <a:lnTo>
                    <a:pt x="211" y="304"/>
                  </a:lnTo>
                  <a:lnTo>
                    <a:pt x="209" y="304"/>
                  </a:lnTo>
                  <a:lnTo>
                    <a:pt x="211" y="303"/>
                  </a:lnTo>
                  <a:lnTo>
                    <a:pt x="209" y="303"/>
                  </a:lnTo>
                  <a:lnTo>
                    <a:pt x="209" y="304"/>
                  </a:lnTo>
                  <a:lnTo>
                    <a:pt x="209" y="303"/>
                  </a:lnTo>
                  <a:lnTo>
                    <a:pt x="209" y="301"/>
                  </a:lnTo>
                  <a:lnTo>
                    <a:pt x="209" y="299"/>
                  </a:lnTo>
                  <a:lnTo>
                    <a:pt x="211" y="299"/>
                  </a:lnTo>
                  <a:lnTo>
                    <a:pt x="209" y="298"/>
                  </a:lnTo>
                  <a:lnTo>
                    <a:pt x="211" y="298"/>
                  </a:lnTo>
                  <a:lnTo>
                    <a:pt x="211" y="296"/>
                  </a:lnTo>
                  <a:lnTo>
                    <a:pt x="211" y="294"/>
                  </a:lnTo>
                  <a:lnTo>
                    <a:pt x="209" y="294"/>
                  </a:lnTo>
                  <a:lnTo>
                    <a:pt x="211" y="293"/>
                  </a:lnTo>
                  <a:lnTo>
                    <a:pt x="209" y="293"/>
                  </a:lnTo>
                  <a:lnTo>
                    <a:pt x="211" y="293"/>
                  </a:lnTo>
                  <a:lnTo>
                    <a:pt x="211" y="291"/>
                  </a:lnTo>
                  <a:lnTo>
                    <a:pt x="211" y="289"/>
                  </a:lnTo>
                  <a:lnTo>
                    <a:pt x="211" y="287"/>
                  </a:lnTo>
                  <a:lnTo>
                    <a:pt x="212" y="287"/>
                  </a:lnTo>
                  <a:lnTo>
                    <a:pt x="212" y="286"/>
                  </a:lnTo>
                  <a:lnTo>
                    <a:pt x="212" y="284"/>
                  </a:lnTo>
                  <a:lnTo>
                    <a:pt x="211" y="284"/>
                  </a:lnTo>
                  <a:lnTo>
                    <a:pt x="212" y="284"/>
                  </a:lnTo>
                  <a:lnTo>
                    <a:pt x="212" y="282"/>
                  </a:lnTo>
                  <a:lnTo>
                    <a:pt x="212" y="281"/>
                  </a:lnTo>
                  <a:lnTo>
                    <a:pt x="212" y="282"/>
                  </a:lnTo>
                  <a:lnTo>
                    <a:pt x="212" y="281"/>
                  </a:lnTo>
                  <a:lnTo>
                    <a:pt x="212" y="279"/>
                  </a:lnTo>
                  <a:lnTo>
                    <a:pt x="212" y="277"/>
                  </a:lnTo>
                  <a:lnTo>
                    <a:pt x="212" y="276"/>
                  </a:lnTo>
                  <a:lnTo>
                    <a:pt x="212" y="274"/>
                  </a:lnTo>
                  <a:lnTo>
                    <a:pt x="212" y="272"/>
                  </a:lnTo>
                  <a:lnTo>
                    <a:pt x="211" y="272"/>
                  </a:lnTo>
                  <a:lnTo>
                    <a:pt x="211" y="270"/>
                  </a:lnTo>
                  <a:lnTo>
                    <a:pt x="211" y="269"/>
                  </a:lnTo>
                  <a:lnTo>
                    <a:pt x="211" y="267"/>
                  </a:lnTo>
                  <a:lnTo>
                    <a:pt x="211" y="265"/>
                  </a:lnTo>
                  <a:lnTo>
                    <a:pt x="209" y="265"/>
                  </a:lnTo>
                  <a:lnTo>
                    <a:pt x="209" y="264"/>
                  </a:lnTo>
                  <a:lnTo>
                    <a:pt x="209" y="262"/>
                  </a:lnTo>
                  <a:lnTo>
                    <a:pt x="209" y="260"/>
                  </a:lnTo>
                  <a:lnTo>
                    <a:pt x="207" y="260"/>
                  </a:lnTo>
                  <a:lnTo>
                    <a:pt x="207" y="259"/>
                  </a:lnTo>
                  <a:lnTo>
                    <a:pt x="206" y="259"/>
                  </a:lnTo>
                  <a:lnTo>
                    <a:pt x="206" y="257"/>
                  </a:lnTo>
                  <a:lnTo>
                    <a:pt x="206" y="259"/>
                  </a:lnTo>
                  <a:lnTo>
                    <a:pt x="204" y="257"/>
                  </a:lnTo>
                  <a:lnTo>
                    <a:pt x="204" y="255"/>
                  </a:lnTo>
                  <a:lnTo>
                    <a:pt x="204" y="253"/>
                  </a:lnTo>
                  <a:lnTo>
                    <a:pt x="202" y="253"/>
                  </a:lnTo>
                  <a:lnTo>
                    <a:pt x="202" y="252"/>
                  </a:lnTo>
                  <a:lnTo>
                    <a:pt x="200" y="250"/>
                  </a:lnTo>
                  <a:lnTo>
                    <a:pt x="199" y="250"/>
                  </a:lnTo>
                  <a:lnTo>
                    <a:pt x="199" y="252"/>
                  </a:lnTo>
                  <a:lnTo>
                    <a:pt x="197" y="250"/>
                  </a:lnTo>
                  <a:lnTo>
                    <a:pt x="195" y="250"/>
                  </a:lnTo>
                  <a:lnTo>
                    <a:pt x="195" y="248"/>
                  </a:lnTo>
                  <a:lnTo>
                    <a:pt x="194" y="248"/>
                  </a:lnTo>
                  <a:lnTo>
                    <a:pt x="192" y="248"/>
                  </a:lnTo>
                  <a:lnTo>
                    <a:pt x="192" y="247"/>
                  </a:lnTo>
                  <a:lnTo>
                    <a:pt x="190" y="247"/>
                  </a:lnTo>
                  <a:lnTo>
                    <a:pt x="189" y="245"/>
                  </a:lnTo>
                  <a:lnTo>
                    <a:pt x="187" y="243"/>
                  </a:lnTo>
                  <a:lnTo>
                    <a:pt x="185" y="242"/>
                  </a:lnTo>
                  <a:lnTo>
                    <a:pt x="183" y="242"/>
                  </a:lnTo>
                  <a:lnTo>
                    <a:pt x="183" y="240"/>
                  </a:lnTo>
                  <a:lnTo>
                    <a:pt x="182" y="240"/>
                  </a:lnTo>
                  <a:lnTo>
                    <a:pt x="180" y="238"/>
                  </a:lnTo>
                  <a:lnTo>
                    <a:pt x="178" y="238"/>
                  </a:lnTo>
                  <a:lnTo>
                    <a:pt x="178" y="236"/>
                  </a:lnTo>
                  <a:lnTo>
                    <a:pt x="180" y="236"/>
                  </a:lnTo>
                  <a:lnTo>
                    <a:pt x="178" y="235"/>
                  </a:lnTo>
                  <a:lnTo>
                    <a:pt x="178" y="233"/>
                  </a:lnTo>
                  <a:lnTo>
                    <a:pt x="177" y="233"/>
                  </a:lnTo>
                  <a:lnTo>
                    <a:pt x="177" y="231"/>
                  </a:lnTo>
                  <a:lnTo>
                    <a:pt x="177" y="230"/>
                  </a:lnTo>
                  <a:lnTo>
                    <a:pt x="175" y="230"/>
                  </a:lnTo>
                  <a:lnTo>
                    <a:pt x="175" y="231"/>
                  </a:lnTo>
                  <a:lnTo>
                    <a:pt x="173" y="231"/>
                  </a:lnTo>
                  <a:lnTo>
                    <a:pt x="175" y="231"/>
                  </a:lnTo>
                  <a:lnTo>
                    <a:pt x="173" y="231"/>
                  </a:lnTo>
                  <a:lnTo>
                    <a:pt x="173" y="230"/>
                  </a:lnTo>
                  <a:lnTo>
                    <a:pt x="175" y="230"/>
                  </a:lnTo>
                  <a:lnTo>
                    <a:pt x="173" y="230"/>
                  </a:lnTo>
                  <a:lnTo>
                    <a:pt x="175" y="230"/>
                  </a:lnTo>
                  <a:lnTo>
                    <a:pt x="175" y="228"/>
                  </a:lnTo>
                  <a:lnTo>
                    <a:pt x="177" y="228"/>
                  </a:lnTo>
                  <a:lnTo>
                    <a:pt x="177" y="226"/>
                  </a:lnTo>
                  <a:lnTo>
                    <a:pt x="177" y="225"/>
                  </a:lnTo>
                  <a:lnTo>
                    <a:pt x="177" y="223"/>
                  </a:lnTo>
                  <a:lnTo>
                    <a:pt x="175" y="223"/>
                  </a:lnTo>
                  <a:lnTo>
                    <a:pt x="175" y="225"/>
                  </a:lnTo>
                  <a:lnTo>
                    <a:pt x="175" y="226"/>
                  </a:lnTo>
                  <a:lnTo>
                    <a:pt x="175" y="228"/>
                  </a:lnTo>
                  <a:lnTo>
                    <a:pt x="173" y="228"/>
                  </a:lnTo>
                  <a:lnTo>
                    <a:pt x="172" y="230"/>
                  </a:lnTo>
                  <a:lnTo>
                    <a:pt x="172" y="231"/>
                  </a:lnTo>
                  <a:lnTo>
                    <a:pt x="170" y="231"/>
                  </a:lnTo>
                  <a:lnTo>
                    <a:pt x="170" y="230"/>
                  </a:lnTo>
                  <a:lnTo>
                    <a:pt x="168" y="230"/>
                  </a:lnTo>
                  <a:lnTo>
                    <a:pt x="166" y="230"/>
                  </a:lnTo>
                  <a:lnTo>
                    <a:pt x="165" y="230"/>
                  </a:lnTo>
                  <a:lnTo>
                    <a:pt x="163" y="230"/>
                  </a:lnTo>
                  <a:lnTo>
                    <a:pt x="163" y="231"/>
                  </a:lnTo>
                  <a:lnTo>
                    <a:pt x="163" y="233"/>
                  </a:lnTo>
                  <a:lnTo>
                    <a:pt x="161" y="233"/>
                  </a:lnTo>
                  <a:lnTo>
                    <a:pt x="160" y="233"/>
                  </a:lnTo>
                  <a:lnTo>
                    <a:pt x="160" y="231"/>
                  </a:lnTo>
                  <a:lnTo>
                    <a:pt x="158" y="231"/>
                  </a:lnTo>
                  <a:lnTo>
                    <a:pt x="158" y="230"/>
                  </a:lnTo>
                  <a:lnTo>
                    <a:pt x="156" y="230"/>
                  </a:lnTo>
                  <a:lnTo>
                    <a:pt x="156" y="228"/>
                  </a:lnTo>
                  <a:lnTo>
                    <a:pt x="155" y="226"/>
                  </a:lnTo>
                  <a:lnTo>
                    <a:pt x="155" y="225"/>
                  </a:lnTo>
                  <a:lnTo>
                    <a:pt x="153" y="225"/>
                  </a:lnTo>
                  <a:lnTo>
                    <a:pt x="153" y="223"/>
                  </a:lnTo>
                  <a:lnTo>
                    <a:pt x="151" y="223"/>
                  </a:lnTo>
                  <a:lnTo>
                    <a:pt x="149" y="223"/>
                  </a:lnTo>
                  <a:lnTo>
                    <a:pt x="148" y="223"/>
                  </a:lnTo>
                  <a:lnTo>
                    <a:pt x="146" y="223"/>
                  </a:lnTo>
                  <a:lnTo>
                    <a:pt x="146" y="221"/>
                  </a:lnTo>
                  <a:lnTo>
                    <a:pt x="144" y="219"/>
                  </a:lnTo>
                  <a:lnTo>
                    <a:pt x="143" y="218"/>
                  </a:lnTo>
                  <a:lnTo>
                    <a:pt x="141" y="218"/>
                  </a:lnTo>
                  <a:lnTo>
                    <a:pt x="141" y="216"/>
                  </a:lnTo>
                  <a:lnTo>
                    <a:pt x="139" y="216"/>
                  </a:lnTo>
                  <a:lnTo>
                    <a:pt x="138" y="216"/>
                  </a:lnTo>
                  <a:lnTo>
                    <a:pt x="138" y="218"/>
                  </a:lnTo>
                  <a:lnTo>
                    <a:pt x="136" y="216"/>
                  </a:lnTo>
                  <a:lnTo>
                    <a:pt x="134" y="216"/>
                  </a:lnTo>
                  <a:lnTo>
                    <a:pt x="132" y="216"/>
                  </a:lnTo>
                  <a:lnTo>
                    <a:pt x="132" y="214"/>
                  </a:lnTo>
                  <a:lnTo>
                    <a:pt x="131" y="214"/>
                  </a:lnTo>
                  <a:lnTo>
                    <a:pt x="131" y="213"/>
                  </a:lnTo>
                  <a:lnTo>
                    <a:pt x="131" y="211"/>
                  </a:lnTo>
                  <a:lnTo>
                    <a:pt x="131" y="209"/>
                  </a:lnTo>
                  <a:lnTo>
                    <a:pt x="131" y="208"/>
                  </a:lnTo>
                  <a:lnTo>
                    <a:pt x="131" y="206"/>
                  </a:lnTo>
                  <a:lnTo>
                    <a:pt x="129" y="206"/>
                  </a:lnTo>
                  <a:lnTo>
                    <a:pt x="127" y="206"/>
                  </a:lnTo>
                  <a:lnTo>
                    <a:pt x="127" y="204"/>
                  </a:lnTo>
                  <a:lnTo>
                    <a:pt x="126" y="204"/>
                  </a:lnTo>
                  <a:lnTo>
                    <a:pt x="124" y="202"/>
                  </a:lnTo>
                  <a:lnTo>
                    <a:pt x="122" y="202"/>
                  </a:lnTo>
                  <a:lnTo>
                    <a:pt x="122" y="201"/>
                  </a:lnTo>
                  <a:lnTo>
                    <a:pt x="121" y="199"/>
                  </a:lnTo>
                  <a:lnTo>
                    <a:pt x="119" y="199"/>
                  </a:lnTo>
                  <a:lnTo>
                    <a:pt x="117" y="197"/>
                  </a:lnTo>
                  <a:lnTo>
                    <a:pt x="119" y="197"/>
                  </a:lnTo>
                  <a:lnTo>
                    <a:pt x="119" y="196"/>
                  </a:lnTo>
                  <a:lnTo>
                    <a:pt x="117" y="196"/>
                  </a:lnTo>
                  <a:lnTo>
                    <a:pt x="117" y="197"/>
                  </a:lnTo>
                  <a:lnTo>
                    <a:pt x="115" y="196"/>
                  </a:lnTo>
                  <a:lnTo>
                    <a:pt x="114" y="194"/>
                  </a:lnTo>
                  <a:lnTo>
                    <a:pt x="114" y="196"/>
                  </a:lnTo>
                  <a:lnTo>
                    <a:pt x="114" y="194"/>
                  </a:lnTo>
                  <a:lnTo>
                    <a:pt x="112" y="194"/>
                  </a:lnTo>
                  <a:lnTo>
                    <a:pt x="112" y="192"/>
                  </a:lnTo>
                  <a:lnTo>
                    <a:pt x="112" y="190"/>
                  </a:lnTo>
                  <a:lnTo>
                    <a:pt x="110" y="190"/>
                  </a:lnTo>
                  <a:lnTo>
                    <a:pt x="112" y="189"/>
                  </a:lnTo>
                  <a:lnTo>
                    <a:pt x="112" y="190"/>
                  </a:lnTo>
                  <a:lnTo>
                    <a:pt x="114" y="190"/>
                  </a:lnTo>
                  <a:lnTo>
                    <a:pt x="115" y="190"/>
                  </a:lnTo>
                  <a:lnTo>
                    <a:pt x="117" y="190"/>
                  </a:lnTo>
                  <a:lnTo>
                    <a:pt x="119" y="190"/>
                  </a:lnTo>
                  <a:lnTo>
                    <a:pt x="119" y="192"/>
                  </a:lnTo>
                  <a:lnTo>
                    <a:pt x="121" y="190"/>
                  </a:lnTo>
                  <a:lnTo>
                    <a:pt x="122" y="192"/>
                  </a:lnTo>
                  <a:lnTo>
                    <a:pt x="124" y="192"/>
                  </a:lnTo>
                  <a:lnTo>
                    <a:pt x="126" y="192"/>
                  </a:lnTo>
                  <a:lnTo>
                    <a:pt x="127" y="192"/>
                  </a:lnTo>
                  <a:lnTo>
                    <a:pt x="129" y="192"/>
                  </a:lnTo>
                  <a:lnTo>
                    <a:pt x="131" y="192"/>
                  </a:lnTo>
                  <a:lnTo>
                    <a:pt x="132" y="192"/>
                  </a:lnTo>
                  <a:lnTo>
                    <a:pt x="134" y="190"/>
                  </a:lnTo>
                  <a:lnTo>
                    <a:pt x="136" y="190"/>
                  </a:lnTo>
                  <a:lnTo>
                    <a:pt x="136" y="189"/>
                  </a:lnTo>
                  <a:lnTo>
                    <a:pt x="138" y="189"/>
                  </a:lnTo>
                  <a:lnTo>
                    <a:pt x="138" y="190"/>
                  </a:lnTo>
                  <a:lnTo>
                    <a:pt x="138" y="192"/>
                  </a:lnTo>
                  <a:lnTo>
                    <a:pt x="138" y="194"/>
                  </a:lnTo>
                  <a:lnTo>
                    <a:pt x="139" y="194"/>
                  </a:lnTo>
                  <a:lnTo>
                    <a:pt x="139" y="192"/>
                  </a:lnTo>
                  <a:lnTo>
                    <a:pt x="139" y="194"/>
                  </a:lnTo>
                  <a:lnTo>
                    <a:pt x="141" y="194"/>
                  </a:lnTo>
                  <a:lnTo>
                    <a:pt x="141" y="192"/>
                  </a:lnTo>
                  <a:lnTo>
                    <a:pt x="141" y="194"/>
                  </a:lnTo>
                  <a:lnTo>
                    <a:pt x="143" y="194"/>
                  </a:lnTo>
                  <a:lnTo>
                    <a:pt x="143" y="192"/>
                  </a:lnTo>
                  <a:lnTo>
                    <a:pt x="141" y="192"/>
                  </a:lnTo>
                  <a:lnTo>
                    <a:pt x="141" y="190"/>
                  </a:lnTo>
                  <a:lnTo>
                    <a:pt x="143" y="190"/>
                  </a:lnTo>
                  <a:lnTo>
                    <a:pt x="143" y="189"/>
                  </a:lnTo>
                  <a:lnTo>
                    <a:pt x="141" y="187"/>
                  </a:lnTo>
                  <a:lnTo>
                    <a:pt x="139" y="187"/>
                  </a:lnTo>
                  <a:lnTo>
                    <a:pt x="138" y="189"/>
                  </a:lnTo>
                  <a:lnTo>
                    <a:pt x="138" y="187"/>
                  </a:lnTo>
                  <a:lnTo>
                    <a:pt x="139" y="185"/>
                  </a:lnTo>
                  <a:lnTo>
                    <a:pt x="141" y="184"/>
                  </a:lnTo>
                  <a:lnTo>
                    <a:pt x="141" y="182"/>
                  </a:lnTo>
                  <a:lnTo>
                    <a:pt x="143" y="182"/>
                  </a:lnTo>
                  <a:lnTo>
                    <a:pt x="143" y="180"/>
                  </a:lnTo>
                  <a:lnTo>
                    <a:pt x="143" y="182"/>
                  </a:lnTo>
                  <a:lnTo>
                    <a:pt x="144" y="182"/>
                  </a:lnTo>
                  <a:lnTo>
                    <a:pt x="144" y="180"/>
                  </a:lnTo>
                  <a:lnTo>
                    <a:pt x="143" y="180"/>
                  </a:lnTo>
                  <a:lnTo>
                    <a:pt x="143" y="179"/>
                  </a:lnTo>
                  <a:lnTo>
                    <a:pt x="144" y="179"/>
                  </a:lnTo>
                  <a:lnTo>
                    <a:pt x="144" y="177"/>
                  </a:lnTo>
                  <a:lnTo>
                    <a:pt x="146" y="177"/>
                  </a:lnTo>
                  <a:lnTo>
                    <a:pt x="144" y="175"/>
                  </a:lnTo>
                  <a:lnTo>
                    <a:pt x="143" y="173"/>
                  </a:lnTo>
                  <a:lnTo>
                    <a:pt x="144" y="173"/>
                  </a:lnTo>
                  <a:lnTo>
                    <a:pt x="144" y="172"/>
                  </a:lnTo>
                  <a:lnTo>
                    <a:pt x="144" y="170"/>
                  </a:lnTo>
                  <a:lnTo>
                    <a:pt x="144" y="168"/>
                  </a:lnTo>
                  <a:lnTo>
                    <a:pt x="146" y="168"/>
                  </a:lnTo>
                  <a:lnTo>
                    <a:pt x="146" y="167"/>
                  </a:lnTo>
                  <a:lnTo>
                    <a:pt x="144" y="165"/>
                  </a:lnTo>
                  <a:lnTo>
                    <a:pt x="144" y="163"/>
                  </a:lnTo>
                  <a:lnTo>
                    <a:pt x="143" y="163"/>
                  </a:lnTo>
                  <a:lnTo>
                    <a:pt x="143" y="162"/>
                  </a:lnTo>
                  <a:lnTo>
                    <a:pt x="143" y="160"/>
                  </a:lnTo>
                  <a:lnTo>
                    <a:pt x="141" y="160"/>
                  </a:lnTo>
                  <a:lnTo>
                    <a:pt x="141" y="158"/>
                  </a:lnTo>
                  <a:lnTo>
                    <a:pt x="139" y="158"/>
                  </a:lnTo>
                  <a:lnTo>
                    <a:pt x="139" y="160"/>
                  </a:lnTo>
                  <a:lnTo>
                    <a:pt x="138" y="158"/>
                  </a:lnTo>
                  <a:lnTo>
                    <a:pt x="138" y="156"/>
                  </a:lnTo>
                  <a:lnTo>
                    <a:pt x="136" y="156"/>
                  </a:lnTo>
                  <a:lnTo>
                    <a:pt x="136" y="155"/>
                  </a:lnTo>
                  <a:lnTo>
                    <a:pt x="136" y="153"/>
                  </a:lnTo>
                  <a:lnTo>
                    <a:pt x="134" y="153"/>
                  </a:lnTo>
                  <a:lnTo>
                    <a:pt x="134" y="151"/>
                  </a:lnTo>
                  <a:lnTo>
                    <a:pt x="132" y="150"/>
                  </a:lnTo>
                  <a:lnTo>
                    <a:pt x="131" y="150"/>
                  </a:lnTo>
                  <a:lnTo>
                    <a:pt x="131" y="148"/>
                  </a:lnTo>
                  <a:lnTo>
                    <a:pt x="129" y="148"/>
                  </a:lnTo>
                  <a:lnTo>
                    <a:pt x="129" y="146"/>
                  </a:lnTo>
                  <a:lnTo>
                    <a:pt x="127" y="146"/>
                  </a:lnTo>
                  <a:lnTo>
                    <a:pt x="127" y="145"/>
                  </a:lnTo>
                  <a:lnTo>
                    <a:pt x="127" y="143"/>
                  </a:lnTo>
                  <a:lnTo>
                    <a:pt x="126" y="143"/>
                  </a:lnTo>
                  <a:lnTo>
                    <a:pt x="126" y="141"/>
                  </a:lnTo>
                  <a:lnTo>
                    <a:pt x="124" y="141"/>
                  </a:lnTo>
                  <a:lnTo>
                    <a:pt x="122" y="141"/>
                  </a:lnTo>
                  <a:lnTo>
                    <a:pt x="122" y="139"/>
                  </a:lnTo>
                  <a:lnTo>
                    <a:pt x="121" y="138"/>
                  </a:lnTo>
                  <a:lnTo>
                    <a:pt x="119" y="136"/>
                  </a:lnTo>
                  <a:lnTo>
                    <a:pt x="119" y="134"/>
                  </a:lnTo>
                  <a:lnTo>
                    <a:pt x="117" y="134"/>
                  </a:lnTo>
                  <a:lnTo>
                    <a:pt x="115" y="133"/>
                  </a:lnTo>
                  <a:lnTo>
                    <a:pt x="115" y="131"/>
                  </a:lnTo>
                  <a:lnTo>
                    <a:pt x="114" y="131"/>
                  </a:lnTo>
                  <a:lnTo>
                    <a:pt x="112" y="131"/>
                  </a:lnTo>
                  <a:lnTo>
                    <a:pt x="112" y="129"/>
                  </a:lnTo>
                  <a:lnTo>
                    <a:pt x="110" y="129"/>
                  </a:lnTo>
                  <a:lnTo>
                    <a:pt x="109" y="129"/>
                  </a:lnTo>
                  <a:lnTo>
                    <a:pt x="107" y="129"/>
                  </a:lnTo>
                  <a:lnTo>
                    <a:pt x="107" y="128"/>
                  </a:lnTo>
                  <a:lnTo>
                    <a:pt x="105" y="128"/>
                  </a:lnTo>
                  <a:lnTo>
                    <a:pt x="105" y="126"/>
                  </a:lnTo>
                  <a:lnTo>
                    <a:pt x="104" y="126"/>
                  </a:lnTo>
                  <a:lnTo>
                    <a:pt x="104" y="124"/>
                  </a:lnTo>
                  <a:lnTo>
                    <a:pt x="102" y="124"/>
                  </a:lnTo>
                  <a:lnTo>
                    <a:pt x="100" y="124"/>
                  </a:lnTo>
                  <a:lnTo>
                    <a:pt x="100" y="122"/>
                  </a:lnTo>
                  <a:lnTo>
                    <a:pt x="98" y="122"/>
                  </a:lnTo>
                  <a:lnTo>
                    <a:pt x="98" y="121"/>
                  </a:lnTo>
                  <a:lnTo>
                    <a:pt x="97" y="121"/>
                  </a:lnTo>
                  <a:lnTo>
                    <a:pt x="97" y="122"/>
                  </a:lnTo>
                  <a:lnTo>
                    <a:pt x="95" y="121"/>
                  </a:lnTo>
                  <a:lnTo>
                    <a:pt x="93" y="119"/>
                  </a:lnTo>
                  <a:lnTo>
                    <a:pt x="92" y="119"/>
                  </a:lnTo>
                  <a:lnTo>
                    <a:pt x="92" y="117"/>
                  </a:lnTo>
                  <a:lnTo>
                    <a:pt x="90" y="117"/>
                  </a:lnTo>
                  <a:lnTo>
                    <a:pt x="90" y="116"/>
                  </a:lnTo>
                  <a:lnTo>
                    <a:pt x="90" y="114"/>
                  </a:lnTo>
                  <a:lnTo>
                    <a:pt x="90" y="112"/>
                  </a:lnTo>
                  <a:lnTo>
                    <a:pt x="90" y="111"/>
                  </a:lnTo>
                  <a:lnTo>
                    <a:pt x="88" y="109"/>
                  </a:lnTo>
                  <a:lnTo>
                    <a:pt x="87" y="109"/>
                  </a:lnTo>
                  <a:lnTo>
                    <a:pt x="87" y="107"/>
                  </a:lnTo>
                  <a:lnTo>
                    <a:pt x="87" y="105"/>
                  </a:lnTo>
                  <a:lnTo>
                    <a:pt x="87" y="104"/>
                  </a:lnTo>
                  <a:lnTo>
                    <a:pt x="87" y="102"/>
                  </a:lnTo>
                  <a:lnTo>
                    <a:pt x="87" y="100"/>
                  </a:lnTo>
                  <a:lnTo>
                    <a:pt x="87" y="99"/>
                  </a:lnTo>
                  <a:lnTo>
                    <a:pt x="87" y="97"/>
                  </a:lnTo>
                  <a:lnTo>
                    <a:pt x="87" y="95"/>
                  </a:lnTo>
                  <a:lnTo>
                    <a:pt x="85" y="95"/>
                  </a:lnTo>
                  <a:lnTo>
                    <a:pt x="85" y="94"/>
                  </a:lnTo>
                  <a:lnTo>
                    <a:pt x="85" y="92"/>
                  </a:lnTo>
                  <a:lnTo>
                    <a:pt x="83" y="92"/>
                  </a:lnTo>
                  <a:lnTo>
                    <a:pt x="81" y="92"/>
                  </a:lnTo>
                  <a:lnTo>
                    <a:pt x="80" y="92"/>
                  </a:lnTo>
                  <a:lnTo>
                    <a:pt x="81" y="90"/>
                  </a:lnTo>
                  <a:lnTo>
                    <a:pt x="81" y="92"/>
                  </a:lnTo>
                  <a:lnTo>
                    <a:pt x="81" y="90"/>
                  </a:lnTo>
                  <a:lnTo>
                    <a:pt x="81" y="88"/>
                  </a:lnTo>
                  <a:lnTo>
                    <a:pt x="80" y="88"/>
                  </a:lnTo>
                  <a:lnTo>
                    <a:pt x="80" y="87"/>
                  </a:lnTo>
                  <a:lnTo>
                    <a:pt x="80" y="88"/>
                  </a:lnTo>
                  <a:lnTo>
                    <a:pt x="81" y="88"/>
                  </a:lnTo>
                  <a:lnTo>
                    <a:pt x="81" y="90"/>
                  </a:lnTo>
                  <a:lnTo>
                    <a:pt x="80" y="90"/>
                  </a:lnTo>
                  <a:lnTo>
                    <a:pt x="78" y="90"/>
                  </a:lnTo>
                  <a:lnTo>
                    <a:pt x="80" y="90"/>
                  </a:lnTo>
                  <a:lnTo>
                    <a:pt x="80" y="92"/>
                  </a:lnTo>
                  <a:lnTo>
                    <a:pt x="80" y="94"/>
                  </a:lnTo>
                  <a:lnTo>
                    <a:pt x="80" y="92"/>
                  </a:lnTo>
                  <a:lnTo>
                    <a:pt x="80" y="90"/>
                  </a:lnTo>
                  <a:lnTo>
                    <a:pt x="78" y="90"/>
                  </a:lnTo>
                  <a:lnTo>
                    <a:pt x="78" y="88"/>
                  </a:lnTo>
                  <a:lnTo>
                    <a:pt x="78" y="87"/>
                  </a:lnTo>
                  <a:lnTo>
                    <a:pt x="78" y="85"/>
                  </a:lnTo>
                  <a:lnTo>
                    <a:pt x="78" y="83"/>
                  </a:lnTo>
                  <a:lnTo>
                    <a:pt x="78" y="82"/>
                  </a:lnTo>
                  <a:lnTo>
                    <a:pt x="78" y="80"/>
                  </a:lnTo>
                  <a:lnTo>
                    <a:pt x="78" y="78"/>
                  </a:lnTo>
                  <a:lnTo>
                    <a:pt x="78" y="77"/>
                  </a:lnTo>
                  <a:lnTo>
                    <a:pt x="78" y="75"/>
                  </a:lnTo>
                  <a:lnTo>
                    <a:pt x="76" y="75"/>
                  </a:lnTo>
                  <a:lnTo>
                    <a:pt x="75" y="73"/>
                  </a:lnTo>
                  <a:lnTo>
                    <a:pt x="73" y="73"/>
                  </a:lnTo>
                  <a:lnTo>
                    <a:pt x="73" y="71"/>
                  </a:lnTo>
                  <a:lnTo>
                    <a:pt x="71" y="70"/>
                  </a:lnTo>
                  <a:lnTo>
                    <a:pt x="70" y="70"/>
                  </a:lnTo>
                  <a:lnTo>
                    <a:pt x="68" y="70"/>
                  </a:lnTo>
                  <a:lnTo>
                    <a:pt x="68" y="68"/>
                  </a:lnTo>
                  <a:lnTo>
                    <a:pt x="70" y="66"/>
                  </a:lnTo>
                  <a:lnTo>
                    <a:pt x="70" y="65"/>
                  </a:lnTo>
                  <a:lnTo>
                    <a:pt x="70" y="63"/>
                  </a:lnTo>
                  <a:lnTo>
                    <a:pt x="70" y="61"/>
                  </a:lnTo>
                  <a:lnTo>
                    <a:pt x="68" y="60"/>
                  </a:lnTo>
                  <a:lnTo>
                    <a:pt x="68" y="58"/>
                  </a:lnTo>
                  <a:lnTo>
                    <a:pt x="66" y="58"/>
                  </a:lnTo>
                  <a:lnTo>
                    <a:pt x="66" y="56"/>
                  </a:lnTo>
                  <a:lnTo>
                    <a:pt x="64" y="56"/>
                  </a:lnTo>
                  <a:lnTo>
                    <a:pt x="64" y="54"/>
                  </a:lnTo>
                  <a:lnTo>
                    <a:pt x="63" y="53"/>
                  </a:lnTo>
                  <a:lnTo>
                    <a:pt x="63" y="51"/>
                  </a:lnTo>
                  <a:lnTo>
                    <a:pt x="61" y="49"/>
                  </a:lnTo>
                  <a:lnTo>
                    <a:pt x="59" y="49"/>
                  </a:lnTo>
                  <a:lnTo>
                    <a:pt x="59" y="48"/>
                  </a:lnTo>
                  <a:lnTo>
                    <a:pt x="58" y="48"/>
                  </a:lnTo>
                  <a:lnTo>
                    <a:pt x="58" y="46"/>
                  </a:lnTo>
                  <a:lnTo>
                    <a:pt x="56" y="46"/>
                  </a:lnTo>
                  <a:lnTo>
                    <a:pt x="58" y="44"/>
                  </a:lnTo>
                  <a:lnTo>
                    <a:pt x="58" y="42"/>
                  </a:lnTo>
                  <a:lnTo>
                    <a:pt x="58" y="41"/>
                  </a:lnTo>
                  <a:lnTo>
                    <a:pt x="56" y="39"/>
                  </a:lnTo>
                  <a:lnTo>
                    <a:pt x="54" y="39"/>
                  </a:lnTo>
                  <a:lnTo>
                    <a:pt x="56" y="37"/>
                  </a:lnTo>
                  <a:lnTo>
                    <a:pt x="56" y="39"/>
                  </a:lnTo>
                  <a:lnTo>
                    <a:pt x="58" y="39"/>
                  </a:lnTo>
                  <a:lnTo>
                    <a:pt x="58" y="37"/>
                  </a:lnTo>
                  <a:lnTo>
                    <a:pt x="59" y="37"/>
                  </a:lnTo>
                  <a:lnTo>
                    <a:pt x="59" y="36"/>
                  </a:lnTo>
                  <a:lnTo>
                    <a:pt x="59" y="34"/>
                  </a:lnTo>
                  <a:lnTo>
                    <a:pt x="58" y="34"/>
                  </a:lnTo>
                  <a:lnTo>
                    <a:pt x="59" y="34"/>
                  </a:lnTo>
                  <a:lnTo>
                    <a:pt x="58" y="34"/>
                  </a:lnTo>
                  <a:lnTo>
                    <a:pt x="56" y="32"/>
                  </a:lnTo>
                  <a:lnTo>
                    <a:pt x="54" y="32"/>
                  </a:lnTo>
                  <a:lnTo>
                    <a:pt x="54" y="31"/>
                  </a:lnTo>
                  <a:lnTo>
                    <a:pt x="54" y="29"/>
                  </a:lnTo>
                  <a:lnTo>
                    <a:pt x="53" y="29"/>
                  </a:lnTo>
                  <a:lnTo>
                    <a:pt x="51" y="29"/>
                  </a:lnTo>
                  <a:lnTo>
                    <a:pt x="51" y="27"/>
                  </a:lnTo>
                  <a:lnTo>
                    <a:pt x="49" y="27"/>
                  </a:lnTo>
                  <a:lnTo>
                    <a:pt x="51" y="25"/>
                  </a:lnTo>
                  <a:lnTo>
                    <a:pt x="49" y="25"/>
                  </a:lnTo>
                  <a:lnTo>
                    <a:pt x="49" y="24"/>
                  </a:lnTo>
                  <a:lnTo>
                    <a:pt x="49" y="22"/>
                  </a:lnTo>
                  <a:lnTo>
                    <a:pt x="49" y="20"/>
                  </a:lnTo>
                  <a:lnTo>
                    <a:pt x="49" y="19"/>
                  </a:lnTo>
                  <a:lnTo>
                    <a:pt x="47" y="19"/>
                  </a:lnTo>
                  <a:lnTo>
                    <a:pt x="47" y="17"/>
                  </a:lnTo>
                  <a:lnTo>
                    <a:pt x="46" y="17"/>
                  </a:lnTo>
                  <a:lnTo>
                    <a:pt x="44" y="17"/>
                  </a:lnTo>
                  <a:lnTo>
                    <a:pt x="44" y="15"/>
                  </a:lnTo>
                  <a:lnTo>
                    <a:pt x="44" y="14"/>
                  </a:lnTo>
                  <a:lnTo>
                    <a:pt x="42" y="12"/>
                  </a:lnTo>
                  <a:lnTo>
                    <a:pt x="42" y="10"/>
                  </a:lnTo>
                  <a:lnTo>
                    <a:pt x="42" y="8"/>
                  </a:lnTo>
                  <a:lnTo>
                    <a:pt x="42" y="7"/>
                  </a:lnTo>
                  <a:lnTo>
                    <a:pt x="44" y="7"/>
                  </a:lnTo>
                  <a:lnTo>
                    <a:pt x="46" y="7"/>
                  </a:lnTo>
                  <a:lnTo>
                    <a:pt x="47" y="7"/>
                  </a:lnTo>
                  <a:lnTo>
                    <a:pt x="49" y="7"/>
                  </a:lnTo>
                  <a:lnTo>
                    <a:pt x="51" y="7"/>
                  </a:lnTo>
                  <a:lnTo>
                    <a:pt x="51" y="5"/>
                  </a:lnTo>
                  <a:lnTo>
                    <a:pt x="53" y="5"/>
                  </a:lnTo>
                  <a:lnTo>
                    <a:pt x="54" y="5"/>
                  </a:lnTo>
                  <a:lnTo>
                    <a:pt x="56" y="5"/>
                  </a:lnTo>
                  <a:lnTo>
                    <a:pt x="58" y="5"/>
                  </a:lnTo>
                  <a:lnTo>
                    <a:pt x="59" y="5"/>
                  </a:lnTo>
                  <a:lnTo>
                    <a:pt x="61" y="5"/>
                  </a:lnTo>
                  <a:lnTo>
                    <a:pt x="63" y="5"/>
                  </a:lnTo>
                  <a:lnTo>
                    <a:pt x="64" y="5"/>
                  </a:lnTo>
                  <a:lnTo>
                    <a:pt x="66" y="5"/>
                  </a:lnTo>
                  <a:lnTo>
                    <a:pt x="68" y="5"/>
                  </a:lnTo>
                  <a:lnTo>
                    <a:pt x="68" y="3"/>
                  </a:lnTo>
                  <a:lnTo>
                    <a:pt x="70" y="3"/>
                  </a:lnTo>
                  <a:lnTo>
                    <a:pt x="71" y="3"/>
                  </a:lnTo>
                  <a:lnTo>
                    <a:pt x="73" y="3"/>
                  </a:lnTo>
                  <a:lnTo>
                    <a:pt x="75" y="3"/>
                  </a:lnTo>
                  <a:lnTo>
                    <a:pt x="76" y="3"/>
                  </a:lnTo>
                  <a:lnTo>
                    <a:pt x="78" y="3"/>
                  </a:lnTo>
                  <a:lnTo>
                    <a:pt x="80" y="3"/>
                  </a:lnTo>
                  <a:lnTo>
                    <a:pt x="83" y="3"/>
                  </a:lnTo>
                  <a:lnTo>
                    <a:pt x="87" y="2"/>
                  </a:lnTo>
                  <a:lnTo>
                    <a:pt x="88" y="2"/>
                  </a:lnTo>
                  <a:lnTo>
                    <a:pt x="92" y="2"/>
                  </a:lnTo>
                  <a:lnTo>
                    <a:pt x="93" y="2"/>
                  </a:lnTo>
                  <a:lnTo>
                    <a:pt x="95" y="2"/>
                  </a:lnTo>
                  <a:lnTo>
                    <a:pt x="97" y="2"/>
                  </a:lnTo>
                  <a:lnTo>
                    <a:pt x="98" y="2"/>
                  </a:lnTo>
                  <a:lnTo>
                    <a:pt x="100" y="2"/>
                  </a:lnTo>
                  <a:lnTo>
                    <a:pt x="102" y="2"/>
                  </a:lnTo>
                  <a:lnTo>
                    <a:pt x="104" y="2"/>
                  </a:lnTo>
                  <a:lnTo>
                    <a:pt x="105" y="2"/>
                  </a:lnTo>
                  <a:lnTo>
                    <a:pt x="105" y="0"/>
                  </a:lnTo>
                  <a:lnTo>
                    <a:pt x="107" y="0"/>
                  </a:lnTo>
                  <a:lnTo>
                    <a:pt x="109" y="0"/>
                  </a:lnTo>
                  <a:lnTo>
                    <a:pt x="114" y="0"/>
                  </a:lnTo>
                  <a:lnTo>
                    <a:pt x="117" y="0"/>
                  </a:lnTo>
                  <a:lnTo>
                    <a:pt x="121" y="0"/>
                  </a:lnTo>
                  <a:lnTo>
                    <a:pt x="122" y="0"/>
                  </a:lnTo>
                  <a:lnTo>
                    <a:pt x="122" y="2"/>
                  </a:lnTo>
                  <a:lnTo>
                    <a:pt x="121" y="3"/>
                  </a:lnTo>
                  <a:lnTo>
                    <a:pt x="121" y="5"/>
                  </a:lnTo>
                  <a:lnTo>
                    <a:pt x="121" y="7"/>
                  </a:lnTo>
                  <a:lnTo>
                    <a:pt x="121" y="8"/>
                  </a:lnTo>
                  <a:lnTo>
                    <a:pt x="122" y="8"/>
                  </a:lnTo>
                  <a:lnTo>
                    <a:pt x="122" y="10"/>
                  </a:lnTo>
                  <a:lnTo>
                    <a:pt x="124" y="10"/>
                  </a:lnTo>
                  <a:lnTo>
                    <a:pt x="126" y="10"/>
                  </a:lnTo>
                  <a:lnTo>
                    <a:pt x="127" y="10"/>
                  </a:lnTo>
                  <a:lnTo>
                    <a:pt x="129" y="12"/>
                  </a:lnTo>
                  <a:lnTo>
                    <a:pt x="131" y="12"/>
                  </a:lnTo>
                  <a:lnTo>
                    <a:pt x="139" y="15"/>
                  </a:lnTo>
                  <a:lnTo>
                    <a:pt x="148" y="19"/>
                  </a:lnTo>
                  <a:lnTo>
                    <a:pt x="149" y="19"/>
                  </a:lnTo>
                  <a:lnTo>
                    <a:pt x="151" y="19"/>
                  </a:lnTo>
                  <a:lnTo>
                    <a:pt x="151" y="20"/>
                  </a:lnTo>
                  <a:lnTo>
                    <a:pt x="153" y="20"/>
                  </a:lnTo>
                  <a:lnTo>
                    <a:pt x="155" y="20"/>
                  </a:lnTo>
                  <a:lnTo>
                    <a:pt x="156" y="22"/>
                  </a:lnTo>
                  <a:lnTo>
                    <a:pt x="160" y="24"/>
                  </a:lnTo>
                  <a:lnTo>
                    <a:pt x="165" y="24"/>
                  </a:lnTo>
                  <a:lnTo>
                    <a:pt x="170" y="27"/>
                  </a:lnTo>
                  <a:lnTo>
                    <a:pt x="172" y="27"/>
                  </a:lnTo>
                  <a:lnTo>
                    <a:pt x="173" y="27"/>
                  </a:lnTo>
                  <a:lnTo>
                    <a:pt x="173" y="29"/>
                  </a:lnTo>
                  <a:lnTo>
                    <a:pt x="177" y="29"/>
                  </a:lnTo>
                  <a:lnTo>
                    <a:pt x="178" y="31"/>
                  </a:lnTo>
                  <a:lnTo>
                    <a:pt x="180" y="31"/>
                  </a:lnTo>
                  <a:lnTo>
                    <a:pt x="182" y="31"/>
                  </a:lnTo>
                  <a:lnTo>
                    <a:pt x="185" y="32"/>
                  </a:lnTo>
                  <a:lnTo>
                    <a:pt x="187" y="32"/>
                  </a:lnTo>
                  <a:lnTo>
                    <a:pt x="189" y="32"/>
                  </a:lnTo>
                  <a:lnTo>
                    <a:pt x="189" y="34"/>
                  </a:lnTo>
                  <a:lnTo>
                    <a:pt x="190" y="34"/>
                  </a:lnTo>
                  <a:lnTo>
                    <a:pt x="194" y="36"/>
                  </a:lnTo>
                  <a:lnTo>
                    <a:pt x="195" y="36"/>
                  </a:lnTo>
                  <a:lnTo>
                    <a:pt x="197" y="37"/>
                  </a:lnTo>
                  <a:lnTo>
                    <a:pt x="200" y="37"/>
                  </a:lnTo>
                  <a:lnTo>
                    <a:pt x="202" y="37"/>
                  </a:lnTo>
                  <a:lnTo>
                    <a:pt x="202" y="39"/>
                  </a:lnTo>
                  <a:lnTo>
                    <a:pt x="204" y="39"/>
                  </a:lnTo>
                  <a:lnTo>
                    <a:pt x="206" y="39"/>
                  </a:lnTo>
                  <a:lnTo>
                    <a:pt x="207" y="39"/>
                  </a:lnTo>
                  <a:lnTo>
                    <a:pt x="207" y="41"/>
                  </a:lnTo>
                  <a:lnTo>
                    <a:pt x="211" y="41"/>
                  </a:lnTo>
                  <a:lnTo>
                    <a:pt x="216" y="42"/>
                  </a:lnTo>
                  <a:lnTo>
                    <a:pt x="219" y="44"/>
                  </a:lnTo>
                  <a:lnTo>
                    <a:pt x="223" y="46"/>
                  </a:lnTo>
                  <a:lnTo>
                    <a:pt x="224" y="46"/>
                  </a:lnTo>
                  <a:lnTo>
                    <a:pt x="226" y="48"/>
                  </a:lnTo>
                  <a:lnTo>
                    <a:pt x="228" y="48"/>
                  </a:lnTo>
                  <a:lnTo>
                    <a:pt x="229" y="48"/>
                  </a:lnTo>
                  <a:lnTo>
                    <a:pt x="229" y="49"/>
                  </a:lnTo>
                  <a:lnTo>
                    <a:pt x="231" y="49"/>
                  </a:lnTo>
                  <a:lnTo>
                    <a:pt x="233" y="49"/>
                  </a:lnTo>
                  <a:lnTo>
                    <a:pt x="236" y="51"/>
                  </a:lnTo>
                  <a:lnTo>
                    <a:pt x="238" y="51"/>
                  </a:lnTo>
                  <a:lnTo>
                    <a:pt x="240" y="53"/>
                  </a:lnTo>
                  <a:lnTo>
                    <a:pt x="241" y="53"/>
                  </a:lnTo>
                  <a:lnTo>
                    <a:pt x="243" y="53"/>
                  </a:lnTo>
                  <a:lnTo>
                    <a:pt x="245" y="54"/>
                  </a:lnTo>
                  <a:lnTo>
                    <a:pt x="246" y="54"/>
                  </a:lnTo>
                  <a:lnTo>
                    <a:pt x="248" y="54"/>
                  </a:lnTo>
                  <a:lnTo>
                    <a:pt x="250" y="54"/>
                  </a:lnTo>
                  <a:lnTo>
                    <a:pt x="251" y="54"/>
                  </a:lnTo>
                  <a:lnTo>
                    <a:pt x="253" y="54"/>
                  </a:lnTo>
                  <a:lnTo>
                    <a:pt x="255" y="54"/>
                  </a:lnTo>
                  <a:lnTo>
                    <a:pt x="257" y="54"/>
                  </a:lnTo>
                  <a:lnTo>
                    <a:pt x="260" y="54"/>
                  </a:lnTo>
                  <a:lnTo>
                    <a:pt x="262" y="54"/>
                  </a:lnTo>
                  <a:lnTo>
                    <a:pt x="265" y="54"/>
                  </a:lnTo>
                  <a:lnTo>
                    <a:pt x="267" y="54"/>
                  </a:lnTo>
                  <a:lnTo>
                    <a:pt x="270" y="54"/>
                  </a:lnTo>
                  <a:lnTo>
                    <a:pt x="272" y="54"/>
                  </a:lnTo>
                  <a:lnTo>
                    <a:pt x="274" y="54"/>
                  </a:lnTo>
                  <a:lnTo>
                    <a:pt x="275" y="54"/>
                  </a:lnTo>
                  <a:lnTo>
                    <a:pt x="277" y="54"/>
                  </a:lnTo>
                  <a:lnTo>
                    <a:pt x="282" y="54"/>
                  </a:lnTo>
                  <a:lnTo>
                    <a:pt x="284" y="54"/>
                  </a:lnTo>
                  <a:lnTo>
                    <a:pt x="285" y="54"/>
                  </a:lnTo>
                  <a:lnTo>
                    <a:pt x="287" y="54"/>
                  </a:lnTo>
                  <a:lnTo>
                    <a:pt x="289" y="54"/>
                  </a:lnTo>
                  <a:lnTo>
                    <a:pt x="291" y="54"/>
                  </a:lnTo>
                  <a:lnTo>
                    <a:pt x="292" y="54"/>
                  </a:lnTo>
                  <a:lnTo>
                    <a:pt x="294" y="54"/>
                  </a:lnTo>
                  <a:lnTo>
                    <a:pt x="296" y="54"/>
                  </a:lnTo>
                  <a:lnTo>
                    <a:pt x="297" y="54"/>
                  </a:lnTo>
                  <a:lnTo>
                    <a:pt x="299" y="54"/>
                  </a:lnTo>
                  <a:lnTo>
                    <a:pt x="301" y="54"/>
                  </a:lnTo>
                  <a:lnTo>
                    <a:pt x="302" y="54"/>
                  </a:lnTo>
                  <a:lnTo>
                    <a:pt x="304" y="54"/>
                  </a:lnTo>
                  <a:lnTo>
                    <a:pt x="306" y="54"/>
                  </a:lnTo>
                  <a:lnTo>
                    <a:pt x="308" y="54"/>
                  </a:lnTo>
                  <a:lnTo>
                    <a:pt x="313" y="54"/>
                  </a:lnTo>
                  <a:lnTo>
                    <a:pt x="314" y="54"/>
                  </a:lnTo>
                  <a:lnTo>
                    <a:pt x="316" y="54"/>
                  </a:lnTo>
                  <a:lnTo>
                    <a:pt x="318" y="54"/>
                  </a:lnTo>
                  <a:lnTo>
                    <a:pt x="323" y="54"/>
                  </a:lnTo>
                  <a:lnTo>
                    <a:pt x="325" y="54"/>
                  </a:lnTo>
                  <a:lnTo>
                    <a:pt x="326" y="54"/>
                  </a:lnTo>
                  <a:lnTo>
                    <a:pt x="331" y="54"/>
                  </a:lnTo>
                  <a:lnTo>
                    <a:pt x="335" y="54"/>
                  </a:lnTo>
                  <a:lnTo>
                    <a:pt x="342" y="54"/>
                  </a:lnTo>
                  <a:lnTo>
                    <a:pt x="343" y="54"/>
                  </a:lnTo>
                  <a:lnTo>
                    <a:pt x="343" y="49"/>
                  </a:lnTo>
                  <a:lnTo>
                    <a:pt x="343" y="48"/>
                  </a:lnTo>
                  <a:lnTo>
                    <a:pt x="343" y="46"/>
                  </a:lnTo>
                  <a:lnTo>
                    <a:pt x="343" y="44"/>
                  </a:lnTo>
                  <a:lnTo>
                    <a:pt x="343" y="42"/>
                  </a:lnTo>
                  <a:lnTo>
                    <a:pt x="343" y="39"/>
                  </a:lnTo>
                  <a:lnTo>
                    <a:pt x="343" y="37"/>
                  </a:lnTo>
                  <a:lnTo>
                    <a:pt x="347" y="37"/>
                  </a:lnTo>
                  <a:lnTo>
                    <a:pt x="350" y="37"/>
                  </a:lnTo>
                  <a:lnTo>
                    <a:pt x="353" y="37"/>
                  </a:lnTo>
                  <a:lnTo>
                    <a:pt x="355" y="37"/>
                  </a:lnTo>
                  <a:lnTo>
                    <a:pt x="359" y="37"/>
                  </a:lnTo>
                  <a:lnTo>
                    <a:pt x="362" y="37"/>
                  </a:lnTo>
                  <a:lnTo>
                    <a:pt x="364" y="37"/>
                  </a:lnTo>
                  <a:lnTo>
                    <a:pt x="369" y="37"/>
                  </a:lnTo>
                  <a:lnTo>
                    <a:pt x="374" y="37"/>
                  </a:lnTo>
                  <a:lnTo>
                    <a:pt x="376" y="37"/>
                  </a:lnTo>
                  <a:lnTo>
                    <a:pt x="377" y="37"/>
                  </a:lnTo>
                  <a:lnTo>
                    <a:pt x="384" y="37"/>
                  </a:lnTo>
                  <a:lnTo>
                    <a:pt x="386" y="37"/>
                  </a:lnTo>
                  <a:lnTo>
                    <a:pt x="387" y="37"/>
                  </a:lnTo>
                  <a:lnTo>
                    <a:pt x="389" y="37"/>
                  </a:lnTo>
                  <a:lnTo>
                    <a:pt x="391" y="37"/>
                  </a:lnTo>
                  <a:lnTo>
                    <a:pt x="393" y="37"/>
                  </a:lnTo>
                  <a:lnTo>
                    <a:pt x="394" y="37"/>
                  </a:lnTo>
                  <a:lnTo>
                    <a:pt x="396" y="37"/>
                  </a:lnTo>
                  <a:lnTo>
                    <a:pt x="398" y="37"/>
                  </a:lnTo>
                  <a:lnTo>
                    <a:pt x="399" y="37"/>
                  </a:lnTo>
                  <a:lnTo>
                    <a:pt x="401" y="37"/>
                  </a:lnTo>
                  <a:lnTo>
                    <a:pt x="403" y="37"/>
                  </a:lnTo>
                  <a:lnTo>
                    <a:pt x="404" y="39"/>
                  </a:lnTo>
                  <a:lnTo>
                    <a:pt x="406" y="41"/>
                  </a:lnTo>
                  <a:lnTo>
                    <a:pt x="406" y="42"/>
                  </a:lnTo>
                  <a:lnTo>
                    <a:pt x="408" y="42"/>
                  </a:lnTo>
                  <a:lnTo>
                    <a:pt x="408" y="44"/>
                  </a:lnTo>
                  <a:lnTo>
                    <a:pt x="408" y="46"/>
                  </a:lnTo>
                  <a:lnTo>
                    <a:pt x="410" y="46"/>
                  </a:lnTo>
                  <a:lnTo>
                    <a:pt x="410" y="48"/>
                  </a:lnTo>
                  <a:lnTo>
                    <a:pt x="410" y="49"/>
                  </a:lnTo>
                  <a:lnTo>
                    <a:pt x="411" y="49"/>
                  </a:lnTo>
                  <a:lnTo>
                    <a:pt x="411" y="51"/>
                  </a:lnTo>
                  <a:lnTo>
                    <a:pt x="413" y="51"/>
                  </a:lnTo>
                  <a:lnTo>
                    <a:pt x="415" y="51"/>
                  </a:lnTo>
                  <a:lnTo>
                    <a:pt x="415" y="53"/>
                  </a:lnTo>
                  <a:lnTo>
                    <a:pt x="416" y="53"/>
                  </a:lnTo>
                  <a:lnTo>
                    <a:pt x="418" y="53"/>
                  </a:lnTo>
                  <a:lnTo>
                    <a:pt x="420" y="54"/>
                  </a:lnTo>
                  <a:lnTo>
                    <a:pt x="420" y="56"/>
                  </a:lnTo>
                  <a:lnTo>
                    <a:pt x="421" y="56"/>
                  </a:lnTo>
                  <a:lnTo>
                    <a:pt x="421" y="58"/>
                  </a:lnTo>
                  <a:lnTo>
                    <a:pt x="423" y="58"/>
                  </a:lnTo>
                  <a:lnTo>
                    <a:pt x="425" y="60"/>
                  </a:lnTo>
                  <a:lnTo>
                    <a:pt x="425" y="61"/>
                  </a:lnTo>
                  <a:lnTo>
                    <a:pt x="427" y="61"/>
                  </a:lnTo>
                  <a:lnTo>
                    <a:pt x="427" y="63"/>
                  </a:lnTo>
                  <a:lnTo>
                    <a:pt x="428" y="63"/>
                  </a:lnTo>
                  <a:lnTo>
                    <a:pt x="430" y="63"/>
                  </a:lnTo>
                  <a:lnTo>
                    <a:pt x="430" y="65"/>
                  </a:lnTo>
                  <a:lnTo>
                    <a:pt x="432" y="65"/>
                  </a:lnTo>
                  <a:lnTo>
                    <a:pt x="432" y="66"/>
                  </a:lnTo>
                  <a:lnTo>
                    <a:pt x="432" y="68"/>
                  </a:lnTo>
                  <a:lnTo>
                    <a:pt x="433" y="68"/>
                  </a:lnTo>
                  <a:lnTo>
                    <a:pt x="433" y="70"/>
                  </a:lnTo>
                  <a:lnTo>
                    <a:pt x="435" y="70"/>
                  </a:lnTo>
                  <a:lnTo>
                    <a:pt x="435" y="71"/>
                  </a:lnTo>
                  <a:lnTo>
                    <a:pt x="437" y="71"/>
                  </a:lnTo>
                  <a:lnTo>
                    <a:pt x="438" y="73"/>
                  </a:lnTo>
                  <a:lnTo>
                    <a:pt x="438" y="75"/>
                  </a:lnTo>
                  <a:lnTo>
                    <a:pt x="440" y="75"/>
                  </a:lnTo>
                  <a:lnTo>
                    <a:pt x="442" y="75"/>
                  </a:lnTo>
                  <a:lnTo>
                    <a:pt x="442" y="77"/>
                  </a:lnTo>
                  <a:lnTo>
                    <a:pt x="444" y="75"/>
                  </a:lnTo>
                  <a:lnTo>
                    <a:pt x="444" y="77"/>
                  </a:lnTo>
                  <a:lnTo>
                    <a:pt x="445" y="77"/>
                  </a:lnTo>
                  <a:lnTo>
                    <a:pt x="445" y="78"/>
                  </a:lnTo>
                  <a:lnTo>
                    <a:pt x="447" y="78"/>
                  </a:lnTo>
                  <a:lnTo>
                    <a:pt x="449" y="78"/>
                  </a:lnTo>
                  <a:lnTo>
                    <a:pt x="449" y="80"/>
                  </a:lnTo>
                  <a:lnTo>
                    <a:pt x="450" y="80"/>
                  </a:lnTo>
                  <a:lnTo>
                    <a:pt x="452" y="82"/>
                  </a:lnTo>
                  <a:lnTo>
                    <a:pt x="452" y="83"/>
                  </a:lnTo>
                  <a:lnTo>
                    <a:pt x="454" y="83"/>
                  </a:lnTo>
                  <a:lnTo>
                    <a:pt x="454" y="85"/>
                  </a:lnTo>
                  <a:lnTo>
                    <a:pt x="455" y="85"/>
                  </a:lnTo>
                  <a:lnTo>
                    <a:pt x="455" y="87"/>
                  </a:lnTo>
                  <a:lnTo>
                    <a:pt x="455" y="88"/>
                  </a:lnTo>
                  <a:lnTo>
                    <a:pt x="455" y="90"/>
                  </a:lnTo>
                  <a:lnTo>
                    <a:pt x="455" y="92"/>
                  </a:lnTo>
                  <a:lnTo>
                    <a:pt x="457" y="92"/>
                  </a:lnTo>
                  <a:lnTo>
                    <a:pt x="457" y="94"/>
                  </a:lnTo>
                  <a:lnTo>
                    <a:pt x="459" y="94"/>
                  </a:lnTo>
                  <a:lnTo>
                    <a:pt x="459" y="95"/>
                  </a:lnTo>
                  <a:lnTo>
                    <a:pt x="459" y="97"/>
                  </a:lnTo>
                  <a:lnTo>
                    <a:pt x="461" y="97"/>
                  </a:lnTo>
                  <a:lnTo>
                    <a:pt x="461" y="99"/>
                  </a:lnTo>
                  <a:lnTo>
                    <a:pt x="462" y="100"/>
                  </a:lnTo>
                  <a:lnTo>
                    <a:pt x="462" y="102"/>
                  </a:lnTo>
                  <a:lnTo>
                    <a:pt x="461" y="102"/>
                  </a:lnTo>
                  <a:lnTo>
                    <a:pt x="462" y="102"/>
                  </a:lnTo>
                  <a:lnTo>
                    <a:pt x="462" y="104"/>
                  </a:lnTo>
                  <a:lnTo>
                    <a:pt x="461" y="104"/>
                  </a:lnTo>
                  <a:lnTo>
                    <a:pt x="461" y="105"/>
                  </a:lnTo>
                  <a:lnTo>
                    <a:pt x="462" y="107"/>
                  </a:lnTo>
                  <a:lnTo>
                    <a:pt x="461" y="107"/>
                  </a:lnTo>
                  <a:lnTo>
                    <a:pt x="462" y="107"/>
                  </a:lnTo>
                  <a:lnTo>
                    <a:pt x="462" y="109"/>
                  </a:lnTo>
                  <a:lnTo>
                    <a:pt x="462" y="111"/>
                  </a:lnTo>
                  <a:lnTo>
                    <a:pt x="464" y="112"/>
                  </a:lnTo>
                  <a:lnTo>
                    <a:pt x="464" y="114"/>
                  </a:lnTo>
                  <a:lnTo>
                    <a:pt x="466" y="114"/>
                  </a:lnTo>
                  <a:lnTo>
                    <a:pt x="466" y="116"/>
                  </a:lnTo>
                  <a:lnTo>
                    <a:pt x="466" y="117"/>
                  </a:lnTo>
                  <a:lnTo>
                    <a:pt x="466" y="119"/>
                  </a:lnTo>
                  <a:lnTo>
                    <a:pt x="467" y="119"/>
                  </a:lnTo>
                  <a:lnTo>
                    <a:pt x="466" y="119"/>
                  </a:lnTo>
                  <a:lnTo>
                    <a:pt x="467" y="119"/>
                  </a:lnTo>
                  <a:lnTo>
                    <a:pt x="467" y="121"/>
                  </a:lnTo>
                  <a:lnTo>
                    <a:pt x="469" y="121"/>
                  </a:lnTo>
                  <a:lnTo>
                    <a:pt x="469" y="122"/>
                  </a:lnTo>
                  <a:lnTo>
                    <a:pt x="471" y="122"/>
                  </a:lnTo>
                  <a:lnTo>
                    <a:pt x="471" y="124"/>
                  </a:lnTo>
                  <a:lnTo>
                    <a:pt x="472" y="124"/>
                  </a:lnTo>
                  <a:lnTo>
                    <a:pt x="472" y="126"/>
                  </a:lnTo>
                  <a:lnTo>
                    <a:pt x="474" y="126"/>
                  </a:lnTo>
                  <a:lnTo>
                    <a:pt x="476" y="126"/>
                  </a:lnTo>
                  <a:lnTo>
                    <a:pt x="478" y="126"/>
                  </a:lnTo>
                  <a:lnTo>
                    <a:pt x="478" y="128"/>
                  </a:lnTo>
                  <a:lnTo>
                    <a:pt x="478" y="129"/>
                  </a:lnTo>
                  <a:lnTo>
                    <a:pt x="479" y="129"/>
                  </a:lnTo>
                  <a:lnTo>
                    <a:pt x="479" y="131"/>
                  </a:lnTo>
                  <a:lnTo>
                    <a:pt x="481" y="131"/>
                  </a:lnTo>
                  <a:lnTo>
                    <a:pt x="481" y="133"/>
                  </a:lnTo>
                  <a:lnTo>
                    <a:pt x="483" y="133"/>
                  </a:lnTo>
                  <a:lnTo>
                    <a:pt x="484" y="133"/>
                  </a:lnTo>
                  <a:lnTo>
                    <a:pt x="484" y="134"/>
                  </a:lnTo>
                  <a:lnTo>
                    <a:pt x="486" y="134"/>
                  </a:lnTo>
                  <a:lnTo>
                    <a:pt x="488" y="134"/>
                  </a:lnTo>
                  <a:lnTo>
                    <a:pt x="489" y="134"/>
                  </a:lnTo>
                  <a:lnTo>
                    <a:pt x="491" y="136"/>
                  </a:lnTo>
                  <a:lnTo>
                    <a:pt x="491" y="134"/>
                  </a:lnTo>
                  <a:lnTo>
                    <a:pt x="491" y="136"/>
                  </a:lnTo>
                  <a:lnTo>
                    <a:pt x="493" y="136"/>
                  </a:lnTo>
                  <a:lnTo>
                    <a:pt x="493" y="138"/>
                  </a:lnTo>
                  <a:lnTo>
                    <a:pt x="493" y="136"/>
                  </a:lnTo>
                  <a:lnTo>
                    <a:pt x="493" y="138"/>
                  </a:lnTo>
                  <a:lnTo>
                    <a:pt x="495" y="138"/>
                  </a:lnTo>
                  <a:lnTo>
                    <a:pt x="495" y="139"/>
                  </a:lnTo>
                  <a:lnTo>
                    <a:pt x="495" y="138"/>
                  </a:lnTo>
                  <a:lnTo>
                    <a:pt x="495" y="139"/>
                  </a:lnTo>
                  <a:lnTo>
                    <a:pt x="496" y="139"/>
                  </a:lnTo>
                  <a:lnTo>
                    <a:pt x="498" y="139"/>
                  </a:lnTo>
                  <a:lnTo>
                    <a:pt x="500" y="139"/>
                  </a:lnTo>
                  <a:lnTo>
                    <a:pt x="501" y="141"/>
                  </a:lnTo>
                  <a:lnTo>
                    <a:pt x="501" y="143"/>
                  </a:lnTo>
                  <a:lnTo>
                    <a:pt x="503" y="143"/>
                  </a:lnTo>
                  <a:lnTo>
                    <a:pt x="505" y="145"/>
                  </a:lnTo>
                  <a:lnTo>
                    <a:pt x="506" y="145"/>
                  </a:lnTo>
                  <a:lnTo>
                    <a:pt x="508" y="145"/>
                  </a:lnTo>
                  <a:lnTo>
                    <a:pt x="506" y="145"/>
                  </a:lnTo>
                  <a:lnTo>
                    <a:pt x="508" y="145"/>
                  </a:lnTo>
                  <a:lnTo>
                    <a:pt x="508" y="146"/>
                  </a:lnTo>
                  <a:lnTo>
                    <a:pt x="510" y="146"/>
                  </a:lnTo>
                  <a:lnTo>
                    <a:pt x="512" y="146"/>
                  </a:lnTo>
                  <a:lnTo>
                    <a:pt x="513" y="146"/>
                  </a:lnTo>
                  <a:lnTo>
                    <a:pt x="515" y="146"/>
                  </a:lnTo>
                  <a:lnTo>
                    <a:pt x="515" y="145"/>
                  </a:lnTo>
                  <a:lnTo>
                    <a:pt x="515" y="143"/>
                  </a:lnTo>
                  <a:lnTo>
                    <a:pt x="517" y="143"/>
                  </a:lnTo>
                  <a:lnTo>
                    <a:pt x="517" y="141"/>
                  </a:lnTo>
                  <a:lnTo>
                    <a:pt x="517" y="143"/>
                  </a:lnTo>
                  <a:lnTo>
                    <a:pt x="517" y="141"/>
                  </a:lnTo>
                  <a:lnTo>
                    <a:pt x="518" y="141"/>
                  </a:lnTo>
                  <a:lnTo>
                    <a:pt x="518" y="139"/>
                  </a:lnTo>
                  <a:lnTo>
                    <a:pt x="520" y="138"/>
                  </a:lnTo>
                  <a:lnTo>
                    <a:pt x="520" y="139"/>
                  </a:lnTo>
                  <a:lnTo>
                    <a:pt x="520" y="138"/>
                  </a:lnTo>
                  <a:lnTo>
                    <a:pt x="522" y="138"/>
                  </a:lnTo>
                  <a:lnTo>
                    <a:pt x="523" y="138"/>
                  </a:lnTo>
                  <a:lnTo>
                    <a:pt x="523" y="136"/>
                  </a:lnTo>
                  <a:lnTo>
                    <a:pt x="522" y="136"/>
                  </a:lnTo>
                  <a:lnTo>
                    <a:pt x="522" y="134"/>
                  </a:lnTo>
                  <a:lnTo>
                    <a:pt x="523" y="133"/>
                  </a:lnTo>
                  <a:lnTo>
                    <a:pt x="522" y="133"/>
                  </a:lnTo>
                  <a:lnTo>
                    <a:pt x="523" y="133"/>
                  </a:lnTo>
                  <a:lnTo>
                    <a:pt x="523" y="131"/>
                  </a:lnTo>
                  <a:lnTo>
                    <a:pt x="525" y="131"/>
                  </a:lnTo>
                  <a:lnTo>
                    <a:pt x="523" y="129"/>
                  </a:lnTo>
                  <a:lnTo>
                    <a:pt x="525" y="129"/>
                  </a:lnTo>
                  <a:lnTo>
                    <a:pt x="523" y="129"/>
                  </a:lnTo>
                  <a:lnTo>
                    <a:pt x="525" y="128"/>
                  </a:lnTo>
                  <a:lnTo>
                    <a:pt x="525" y="126"/>
                  </a:lnTo>
                  <a:lnTo>
                    <a:pt x="525" y="124"/>
                  </a:lnTo>
                  <a:lnTo>
                    <a:pt x="527" y="124"/>
                  </a:lnTo>
                  <a:lnTo>
                    <a:pt x="527" y="122"/>
                  </a:lnTo>
                  <a:lnTo>
                    <a:pt x="527" y="121"/>
                  </a:lnTo>
                  <a:lnTo>
                    <a:pt x="529" y="121"/>
                  </a:lnTo>
                  <a:lnTo>
                    <a:pt x="529" y="119"/>
                  </a:lnTo>
                  <a:lnTo>
                    <a:pt x="529" y="117"/>
                  </a:lnTo>
                  <a:lnTo>
                    <a:pt x="530" y="117"/>
                  </a:lnTo>
                  <a:lnTo>
                    <a:pt x="532" y="117"/>
                  </a:lnTo>
                  <a:lnTo>
                    <a:pt x="534" y="116"/>
                  </a:lnTo>
                  <a:lnTo>
                    <a:pt x="534" y="117"/>
                  </a:lnTo>
                  <a:lnTo>
                    <a:pt x="534" y="116"/>
                  </a:lnTo>
                  <a:lnTo>
                    <a:pt x="535" y="116"/>
                  </a:lnTo>
                  <a:lnTo>
                    <a:pt x="537" y="116"/>
                  </a:lnTo>
                  <a:lnTo>
                    <a:pt x="539" y="116"/>
                  </a:lnTo>
                  <a:lnTo>
                    <a:pt x="539" y="114"/>
                  </a:lnTo>
                  <a:lnTo>
                    <a:pt x="540" y="114"/>
                  </a:lnTo>
                  <a:lnTo>
                    <a:pt x="540" y="112"/>
                  </a:lnTo>
                  <a:lnTo>
                    <a:pt x="542" y="112"/>
                  </a:lnTo>
                  <a:lnTo>
                    <a:pt x="544" y="112"/>
                  </a:lnTo>
                  <a:lnTo>
                    <a:pt x="546" y="114"/>
                  </a:lnTo>
                  <a:lnTo>
                    <a:pt x="546" y="112"/>
                  </a:lnTo>
                  <a:lnTo>
                    <a:pt x="546" y="114"/>
                  </a:lnTo>
                  <a:lnTo>
                    <a:pt x="547" y="114"/>
                  </a:lnTo>
                  <a:lnTo>
                    <a:pt x="549" y="116"/>
                  </a:lnTo>
                  <a:lnTo>
                    <a:pt x="551" y="116"/>
                  </a:lnTo>
                  <a:lnTo>
                    <a:pt x="551" y="114"/>
                  </a:lnTo>
                  <a:lnTo>
                    <a:pt x="552" y="116"/>
                  </a:lnTo>
                  <a:lnTo>
                    <a:pt x="552" y="114"/>
                  </a:lnTo>
                  <a:lnTo>
                    <a:pt x="552" y="116"/>
                  </a:lnTo>
                  <a:lnTo>
                    <a:pt x="552" y="114"/>
                  </a:lnTo>
                  <a:lnTo>
                    <a:pt x="554" y="116"/>
                  </a:lnTo>
                  <a:lnTo>
                    <a:pt x="554" y="114"/>
                  </a:lnTo>
                  <a:lnTo>
                    <a:pt x="554" y="116"/>
                  </a:lnTo>
                  <a:lnTo>
                    <a:pt x="556" y="116"/>
                  </a:lnTo>
                  <a:lnTo>
                    <a:pt x="557" y="114"/>
                  </a:lnTo>
                  <a:lnTo>
                    <a:pt x="557" y="116"/>
                  </a:lnTo>
                  <a:lnTo>
                    <a:pt x="559" y="114"/>
                  </a:lnTo>
                  <a:lnTo>
                    <a:pt x="559" y="116"/>
                  </a:lnTo>
                  <a:lnTo>
                    <a:pt x="561" y="116"/>
                  </a:lnTo>
                  <a:lnTo>
                    <a:pt x="563" y="116"/>
                  </a:lnTo>
                  <a:lnTo>
                    <a:pt x="564" y="116"/>
                  </a:lnTo>
                  <a:lnTo>
                    <a:pt x="564" y="117"/>
                  </a:lnTo>
                  <a:lnTo>
                    <a:pt x="564" y="116"/>
                  </a:lnTo>
                  <a:lnTo>
                    <a:pt x="566" y="116"/>
                  </a:lnTo>
                  <a:lnTo>
                    <a:pt x="568" y="114"/>
                  </a:lnTo>
                  <a:lnTo>
                    <a:pt x="568" y="116"/>
                  </a:lnTo>
                  <a:lnTo>
                    <a:pt x="569" y="116"/>
                  </a:lnTo>
                  <a:lnTo>
                    <a:pt x="571" y="116"/>
                  </a:lnTo>
                  <a:lnTo>
                    <a:pt x="571" y="117"/>
                  </a:lnTo>
                  <a:lnTo>
                    <a:pt x="571" y="116"/>
                  </a:lnTo>
                  <a:lnTo>
                    <a:pt x="573" y="116"/>
                  </a:lnTo>
                  <a:lnTo>
                    <a:pt x="573" y="117"/>
                  </a:lnTo>
                  <a:lnTo>
                    <a:pt x="573" y="119"/>
                  </a:lnTo>
                  <a:lnTo>
                    <a:pt x="574" y="119"/>
                  </a:lnTo>
                  <a:lnTo>
                    <a:pt x="574" y="121"/>
                  </a:lnTo>
                  <a:lnTo>
                    <a:pt x="576" y="121"/>
                  </a:lnTo>
                  <a:lnTo>
                    <a:pt x="576" y="122"/>
                  </a:lnTo>
                  <a:lnTo>
                    <a:pt x="576" y="124"/>
                  </a:lnTo>
                  <a:lnTo>
                    <a:pt x="576" y="122"/>
                  </a:lnTo>
                  <a:lnTo>
                    <a:pt x="576" y="121"/>
                  </a:lnTo>
                  <a:lnTo>
                    <a:pt x="578" y="121"/>
                  </a:lnTo>
                  <a:lnTo>
                    <a:pt x="578" y="122"/>
                  </a:lnTo>
                  <a:lnTo>
                    <a:pt x="578" y="124"/>
                  </a:lnTo>
                  <a:lnTo>
                    <a:pt x="578" y="126"/>
                  </a:lnTo>
                  <a:lnTo>
                    <a:pt x="580" y="126"/>
                  </a:lnTo>
                  <a:lnTo>
                    <a:pt x="581" y="128"/>
                  </a:lnTo>
                  <a:lnTo>
                    <a:pt x="583" y="128"/>
                  </a:lnTo>
                  <a:lnTo>
                    <a:pt x="585" y="128"/>
                  </a:lnTo>
                  <a:lnTo>
                    <a:pt x="585" y="129"/>
                  </a:lnTo>
                  <a:lnTo>
                    <a:pt x="585" y="131"/>
                  </a:lnTo>
                  <a:lnTo>
                    <a:pt x="586" y="131"/>
                  </a:lnTo>
                  <a:lnTo>
                    <a:pt x="586" y="133"/>
                  </a:lnTo>
                  <a:lnTo>
                    <a:pt x="588" y="133"/>
                  </a:lnTo>
                  <a:lnTo>
                    <a:pt x="590" y="134"/>
                  </a:lnTo>
                  <a:lnTo>
                    <a:pt x="591" y="134"/>
                  </a:lnTo>
                  <a:lnTo>
                    <a:pt x="591" y="136"/>
                  </a:lnTo>
                  <a:lnTo>
                    <a:pt x="593" y="136"/>
                  </a:lnTo>
                  <a:lnTo>
                    <a:pt x="591" y="136"/>
                  </a:lnTo>
                  <a:lnTo>
                    <a:pt x="593" y="136"/>
                  </a:lnTo>
                  <a:lnTo>
                    <a:pt x="593" y="138"/>
                  </a:lnTo>
                  <a:lnTo>
                    <a:pt x="593" y="139"/>
                  </a:lnTo>
                  <a:lnTo>
                    <a:pt x="595" y="139"/>
                  </a:lnTo>
                  <a:lnTo>
                    <a:pt x="595" y="141"/>
                  </a:lnTo>
                  <a:lnTo>
                    <a:pt x="597" y="141"/>
                  </a:lnTo>
                  <a:lnTo>
                    <a:pt x="597" y="143"/>
                  </a:lnTo>
                  <a:lnTo>
                    <a:pt x="598" y="145"/>
                  </a:lnTo>
                  <a:lnTo>
                    <a:pt x="598" y="146"/>
                  </a:lnTo>
                  <a:lnTo>
                    <a:pt x="598" y="148"/>
                  </a:lnTo>
                  <a:lnTo>
                    <a:pt x="598" y="150"/>
                  </a:lnTo>
                  <a:lnTo>
                    <a:pt x="600" y="150"/>
                  </a:lnTo>
                  <a:lnTo>
                    <a:pt x="600" y="151"/>
                  </a:lnTo>
                  <a:lnTo>
                    <a:pt x="600" y="153"/>
                  </a:lnTo>
                  <a:lnTo>
                    <a:pt x="602" y="153"/>
                  </a:lnTo>
                  <a:lnTo>
                    <a:pt x="602" y="155"/>
                  </a:lnTo>
                  <a:lnTo>
                    <a:pt x="603" y="156"/>
                  </a:lnTo>
                  <a:lnTo>
                    <a:pt x="603" y="158"/>
                  </a:lnTo>
                  <a:lnTo>
                    <a:pt x="603" y="160"/>
                  </a:lnTo>
                  <a:lnTo>
                    <a:pt x="605" y="160"/>
                  </a:lnTo>
                  <a:lnTo>
                    <a:pt x="605" y="162"/>
                  </a:lnTo>
                  <a:lnTo>
                    <a:pt x="607" y="162"/>
                  </a:lnTo>
                  <a:lnTo>
                    <a:pt x="607" y="163"/>
                  </a:lnTo>
                  <a:lnTo>
                    <a:pt x="607" y="165"/>
                  </a:lnTo>
                  <a:lnTo>
                    <a:pt x="608" y="165"/>
                  </a:lnTo>
                  <a:lnTo>
                    <a:pt x="607" y="167"/>
                  </a:lnTo>
                  <a:lnTo>
                    <a:pt x="608" y="167"/>
                  </a:lnTo>
                  <a:lnTo>
                    <a:pt x="608" y="168"/>
                  </a:lnTo>
                  <a:lnTo>
                    <a:pt x="608" y="170"/>
                  </a:lnTo>
                  <a:lnTo>
                    <a:pt x="610" y="172"/>
                  </a:lnTo>
                  <a:lnTo>
                    <a:pt x="610" y="173"/>
                  </a:lnTo>
                  <a:lnTo>
                    <a:pt x="610" y="175"/>
                  </a:lnTo>
                  <a:lnTo>
                    <a:pt x="612" y="175"/>
                  </a:lnTo>
                  <a:lnTo>
                    <a:pt x="612" y="177"/>
                  </a:lnTo>
                  <a:lnTo>
                    <a:pt x="614" y="177"/>
                  </a:lnTo>
                  <a:lnTo>
                    <a:pt x="615" y="177"/>
                  </a:lnTo>
                  <a:lnTo>
                    <a:pt x="615" y="179"/>
                  </a:lnTo>
                  <a:lnTo>
                    <a:pt x="617" y="179"/>
                  </a:lnTo>
                  <a:lnTo>
                    <a:pt x="619" y="180"/>
                  </a:lnTo>
                  <a:lnTo>
                    <a:pt x="619" y="182"/>
                  </a:lnTo>
                  <a:lnTo>
                    <a:pt x="620" y="184"/>
                  </a:lnTo>
                  <a:lnTo>
                    <a:pt x="620" y="185"/>
                  </a:lnTo>
                  <a:lnTo>
                    <a:pt x="622" y="185"/>
                  </a:lnTo>
                  <a:lnTo>
                    <a:pt x="622" y="187"/>
                  </a:lnTo>
                  <a:lnTo>
                    <a:pt x="624" y="187"/>
                  </a:lnTo>
                  <a:lnTo>
                    <a:pt x="624" y="189"/>
                  </a:lnTo>
                  <a:lnTo>
                    <a:pt x="624" y="190"/>
                  </a:lnTo>
                  <a:lnTo>
                    <a:pt x="624" y="192"/>
                  </a:lnTo>
                  <a:lnTo>
                    <a:pt x="625" y="192"/>
                  </a:lnTo>
                  <a:lnTo>
                    <a:pt x="625" y="194"/>
                  </a:lnTo>
                  <a:lnTo>
                    <a:pt x="625" y="192"/>
                  </a:lnTo>
                  <a:lnTo>
                    <a:pt x="627" y="194"/>
                  </a:lnTo>
                  <a:lnTo>
                    <a:pt x="627" y="196"/>
                  </a:lnTo>
                  <a:lnTo>
                    <a:pt x="629" y="196"/>
                  </a:lnTo>
                  <a:lnTo>
                    <a:pt x="629" y="197"/>
                  </a:lnTo>
                  <a:lnTo>
                    <a:pt x="631" y="197"/>
                  </a:lnTo>
                  <a:lnTo>
                    <a:pt x="632" y="199"/>
                  </a:lnTo>
                  <a:lnTo>
                    <a:pt x="632" y="197"/>
                  </a:lnTo>
                  <a:lnTo>
                    <a:pt x="634" y="197"/>
                  </a:lnTo>
                  <a:lnTo>
                    <a:pt x="634" y="199"/>
                  </a:lnTo>
                  <a:lnTo>
                    <a:pt x="636" y="199"/>
                  </a:lnTo>
                  <a:lnTo>
                    <a:pt x="636" y="201"/>
                  </a:lnTo>
                  <a:lnTo>
                    <a:pt x="636" y="202"/>
                  </a:lnTo>
                  <a:lnTo>
                    <a:pt x="636" y="204"/>
                  </a:lnTo>
                  <a:lnTo>
                    <a:pt x="637" y="202"/>
                  </a:lnTo>
                  <a:lnTo>
                    <a:pt x="637" y="204"/>
                  </a:lnTo>
                  <a:lnTo>
                    <a:pt x="637" y="206"/>
                  </a:lnTo>
                  <a:lnTo>
                    <a:pt x="637" y="208"/>
                  </a:lnTo>
                  <a:lnTo>
                    <a:pt x="636" y="209"/>
                  </a:lnTo>
                  <a:lnTo>
                    <a:pt x="637" y="209"/>
                  </a:lnTo>
                  <a:lnTo>
                    <a:pt x="636" y="209"/>
                  </a:lnTo>
                  <a:lnTo>
                    <a:pt x="636" y="211"/>
                  </a:lnTo>
                  <a:lnTo>
                    <a:pt x="637" y="211"/>
                  </a:lnTo>
                  <a:lnTo>
                    <a:pt x="637" y="213"/>
                  </a:lnTo>
                  <a:lnTo>
                    <a:pt x="639" y="213"/>
                  </a:lnTo>
                  <a:lnTo>
                    <a:pt x="639" y="214"/>
                  </a:lnTo>
                  <a:lnTo>
                    <a:pt x="639" y="216"/>
                  </a:lnTo>
                  <a:lnTo>
                    <a:pt x="639" y="218"/>
                  </a:lnTo>
                  <a:lnTo>
                    <a:pt x="639" y="219"/>
                  </a:lnTo>
                  <a:lnTo>
                    <a:pt x="639" y="221"/>
                  </a:lnTo>
                  <a:lnTo>
                    <a:pt x="641" y="223"/>
                  </a:lnTo>
                  <a:lnTo>
                    <a:pt x="641" y="225"/>
                  </a:lnTo>
                  <a:lnTo>
                    <a:pt x="642" y="225"/>
                  </a:lnTo>
                  <a:lnTo>
                    <a:pt x="642" y="226"/>
                  </a:lnTo>
                  <a:lnTo>
                    <a:pt x="642" y="228"/>
                  </a:lnTo>
                  <a:lnTo>
                    <a:pt x="644" y="228"/>
                  </a:lnTo>
                  <a:lnTo>
                    <a:pt x="644" y="230"/>
                  </a:lnTo>
                  <a:lnTo>
                    <a:pt x="646" y="230"/>
                  </a:lnTo>
                  <a:lnTo>
                    <a:pt x="646" y="231"/>
                  </a:lnTo>
                  <a:lnTo>
                    <a:pt x="646" y="233"/>
                  </a:lnTo>
                  <a:lnTo>
                    <a:pt x="646" y="235"/>
                  </a:lnTo>
                  <a:lnTo>
                    <a:pt x="648" y="235"/>
                  </a:lnTo>
                  <a:lnTo>
                    <a:pt x="648" y="236"/>
                  </a:lnTo>
                  <a:lnTo>
                    <a:pt x="648" y="238"/>
                  </a:lnTo>
                  <a:lnTo>
                    <a:pt x="648" y="240"/>
                  </a:lnTo>
                  <a:lnTo>
                    <a:pt x="649" y="240"/>
                  </a:lnTo>
                  <a:lnTo>
                    <a:pt x="649" y="242"/>
                  </a:lnTo>
                  <a:lnTo>
                    <a:pt x="651" y="242"/>
                  </a:lnTo>
                  <a:lnTo>
                    <a:pt x="651" y="243"/>
                  </a:lnTo>
                  <a:lnTo>
                    <a:pt x="649" y="243"/>
                  </a:lnTo>
                  <a:lnTo>
                    <a:pt x="651" y="245"/>
                  </a:lnTo>
                  <a:lnTo>
                    <a:pt x="653" y="245"/>
                  </a:lnTo>
                  <a:lnTo>
                    <a:pt x="654" y="245"/>
                  </a:lnTo>
                  <a:lnTo>
                    <a:pt x="656" y="247"/>
                  </a:lnTo>
                  <a:lnTo>
                    <a:pt x="656" y="245"/>
                  </a:lnTo>
                  <a:lnTo>
                    <a:pt x="656" y="247"/>
                  </a:lnTo>
                  <a:lnTo>
                    <a:pt x="658" y="247"/>
                  </a:lnTo>
                  <a:lnTo>
                    <a:pt x="659" y="247"/>
                  </a:lnTo>
                  <a:lnTo>
                    <a:pt x="661" y="247"/>
                  </a:lnTo>
                  <a:lnTo>
                    <a:pt x="661" y="248"/>
                  </a:lnTo>
                  <a:lnTo>
                    <a:pt x="663" y="248"/>
                  </a:lnTo>
                  <a:lnTo>
                    <a:pt x="661" y="248"/>
                  </a:lnTo>
                  <a:lnTo>
                    <a:pt x="663" y="248"/>
                  </a:lnTo>
                  <a:lnTo>
                    <a:pt x="663" y="250"/>
                  </a:lnTo>
                  <a:lnTo>
                    <a:pt x="665" y="250"/>
                  </a:lnTo>
                  <a:lnTo>
                    <a:pt x="665" y="252"/>
                  </a:lnTo>
                  <a:lnTo>
                    <a:pt x="666" y="250"/>
                  </a:lnTo>
                  <a:lnTo>
                    <a:pt x="668" y="250"/>
                  </a:lnTo>
                  <a:lnTo>
                    <a:pt x="668" y="252"/>
                  </a:lnTo>
                  <a:lnTo>
                    <a:pt x="670" y="252"/>
                  </a:lnTo>
                  <a:lnTo>
                    <a:pt x="668" y="250"/>
                  </a:lnTo>
                  <a:lnTo>
                    <a:pt x="670" y="250"/>
                  </a:lnTo>
                  <a:lnTo>
                    <a:pt x="670" y="252"/>
                  </a:lnTo>
                  <a:lnTo>
                    <a:pt x="671" y="252"/>
                  </a:lnTo>
                  <a:lnTo>
                    <a:pt x="673" y="252"/>
                  </a:lnTo>
                  <a:lnTo>
                    <a:pt x="673" y="253"/>
                  </a:lnTo>
                  <a:lnTo>
                    <a:pt x="675" y="253"/>
                  </a:lnTo>
                  <a:lnTo>
                    <a:pt x="675" y="255"/>
                  </a:lnTo>
                  <a:lnTo>
                    <a:pt x="676" y="253"/>
                  </a:lnTo>
                  <a:lnTo>
                    <a:pt x="676" y="255"/>
                  </a:lnTo>
                  <a:lnTo>
                    <a:pt x="676" y="257"/>
                  </a:lnTo>
                  <a:lnTo>
                    <a:pt x="678" y="255"/>
                  </a:lnTo>
                  <a:lnTo>
                    <a:pt x="678" y="257"/>
                  </a:lnTo>
                  <a:lnTo>
                    <a:pt x="680" y="257"/>
                  </a:lnTo>
                  <a:lnTo>
                    <a:pt x="680" y="259"/>
                  </a:lnTo>
                  <a:lnTo>
                    <a:pt x="682" y="257"/>
                  </a:lnTo>
                  <a:lnTo>
                    <a:pt x="682" y="259"/>
                  </a:lnTo>
                  <a:lnTo>
                    <a:pt x="683" y="259"/>
                  </a:lnTo>
                  <a:lnTo>
                    <a:pt x="683" y="257"/>
                  </a:lnTo>
                  <a:lnTo>
                    <a:pt x="685" y="259"/>
                  </a:lnTo>
                  <a:lnTo>
                    <a:pt x="685" y="257"/>
                  </a:lnTo>
                  <a:lnTo>
                    <a:pt x="685" y="259"/>
                  </a:lnTo>
                  <a:lnTo>
                    <a:pt x="687" y="259"/>
                  </a:lnTo>
                  <a:lnTo>
                    <a:pt x="687" y="257"/>
                  </a:lnTo>
                  <a:lnTo>
                    <a:pt x="687" y="259"/>
                  </a:lnTo>
                  <a:lnTo>
                    <a:pt x="688" y="259"/>
                  </a:lnTo>
                  <a:lnTo>
                    <a:pt x="688" y="257"/>
                  </a:lnTo>
                  <a:lnTo>
                    <a:pt x="688" y="259"/>
                  </a:lnTo>
                  <a:lnTo>
                    <a:pt x="688" y="257"/>
                  </a:lnTo>
                  <a:lnTo>
                    <a:pt x="690" y="259"/>
                  </a:lnTo>
                  <a:lnTo>
                    <a:pt x="690" y="257"/>
                  </a:lnTo>
                  <a:lnTo>
                    <a:pt x="690" y="259"/>
                  </a:lnTo>
                  <a:lnTo>
                    <a:pt x="692" y="259"/>
                  </a:lnTo>
                  <a:lnTo>
                    <a:pt x="692" y="257"/>
                  </a:lnTo>
                  <a:lnTo>
                    <a:pt x="692" y="259"/>
                  </a:lnTo>
                  <a:lnTo>
                    <a:pt x="692" y="257"/>
                  </a:lnTo>
                  <a:lnTo>
                    <a:pt x="692" y="259"/>
                  </a:lnTo>
                  <a:lnTo>
                    <a:pt x="693" y="259"/>
                  </a:lnTo>
                  <a:lnTo>
                    <a:pt x="695" y="259"/>
                  </a:lnTo>
                  <a:lnTo>
                    <a:pt x="697" y="259"/>
                  </a:lnTo>
                  <a:lnTo>
                    <a:pt x="699" y="259"/>
                  </a:lnTo>
                  <a:lnTo>
                    <a:pt x="700" y="259"/>
                  </a:lnTo>
                  <a:lnTo>
                    <a:pt x="699" y="260"/>
                  </a:lnTo>
                  <a:lnTo>
                    <a:pt x="700" y="260"/>
                  </a:lnTo>
                  <a:lnTo>
                    <a:pt x="700" y="262"/>
                  </a:lnTo>
                  <a:lnTo>
                    <a:pt x="702" y="262"/>
                  </a:lnTo>
                  <a:lnTo>
                    <a:pt x="702" y="264"/>
                  </a:lnTo>
                  <a:lnTo>
                    <a:pt x="704" y="262"/>
                  </a:lnTo>
                  <a:lnTo>
                    <a:pt x="702" y="264"/>
                  </a:lnTo>
                  <a:lnTo>
                    <a:pt x="704" y="264"/>
                  </a:lnTo>
                  <a:lnTo>
                    <a:pt x="705" y="264"/>
                  </a:lnTo>
                  <a:lnTo>
                    <a:pt x="705" y="265"/>
                  </a:lnTo>
                  <a:lnTo>
                    <a:pt x="705" y="264"/>
                  </a:lnTo>
                  <a:lnTo>
                    <a:pt x="705" y="265"/>
                  </a:lnTo>
                  <a:lnTo>
                    <a:pt x="707" y="265"/>
                  </a:lnTo>
                  <a:lnTo>
                    <a:pt x="709" y="265"/>
                  </a:lnTo>
                  <a:lnTo>
                    <a:pt x="709" y="264"/>
                  </a:lnTo>
                  <a:lnTo>
                    <a:pt x="709" y="262"/>
                  </a:lnTo>
                  <a:lnTo>
                    <a:pt x="710" y="264"/>
                  </a:lnTo>
                  <a:lnTo>
                    <a:pt x="710" y="262"/>
                  </a:lnTo>
                  <a:lnTo>
                    <a:pt x="712" y="262"/>
                  </a:lnTo>
                  <a:lnTo>
                    <a:pt x="714" y="262"/>
                  </a:lnTo>
                  <a:lnTo>
                    <a:pt x="716" y="262"/>
                  </a:lnTo>
                  <a:close/>
                  <a:moveTo>
                    <a:pt x="209" y="146"/>
                  </a:moveTo>
                  <a:lnTo>
                    <a:pt x="207" y="146"/>
                  </a:lnTo>
                  <a:lnTo>
                    <a:pt x="207" y="148"/>
                  </a:lnTo>
                  <a:lnTo>
                    <a:pt x="207" y="150"/>
                  </a:lnTo>
                  <a:lnTo>
                    <a:pt x="207" y="151"/>
                  </a:lnTo>
                  <a:lnTo>
                    <a:pt x="206" y="151"/>
                  </a:lnTo>
                  <a:lnTo>
                    <a:pt x="206" y="153"/>
                  </a:lnTo>
                  <a:lnTo>
                    <a:pt x="206" y="155"/>
                  </a:lnTo>
                  <a:lnTo>
                    <a:pt x="204" y="155"/>
                  </a:lnTo>
                  <a:lnTo>
                    <a:pt x="202" y="155"/>
                  </a:lnTo>
                  <a:lnTo>
                    <a:pt x="200" y="153"/>
                  </a:lnTo>
                  <a:lnTo>
                    <a:pt x="199" y="153"/>
                  </a:lnTo>
                  <a:lnTo>
                    <a:pt x="199" y="151"/>
                  </a:lnTo>
                  <a:lnTo>
                    <a:pt x="197" y="151"/>
                  </a:lnTo>
                  <a:lnTo>
                    <a:pt x="195" y="151"/>
                  </a:lnTo>
                  <a:lnTo>
                    <a:pt x="195" y="150"/>
                  </a:lnTo>
                  <a:lnTo>
                    <a:pt x="197" y="150"/>
                  </a:lnTo>
                  <a:lnTo>
                    <a:pt x="197" y="148"/>
                  </a:lnTo>
                  <a:lnTo>
                    <a:pt x="199" y="148"/>
                  </a:lnTo>
                  <a:lnTo>
                    <a:pt x="199" y="146"/>
                  </a:lnTo>
                  <a:lnTo>
                    <a:pt x="197" y="145"/>
                  </a:lnTo>
                  <a:lnTo>
                    <a:pt x="199" y="145"/>
                  </a:lnTo>
                  <a:lnTo>
                    <a:pt x="197" y="143"/>
                  </a:lnTo>
                  <a:lnTo>
                    <a:pt x="199" y="143"/>
                  </a:lnTo>
                  <a:lnTo>
                    <a:pt x="199" y="141"/>
                  </a:lnTo>
                  <a:lnTo>
                    <a:pt x="199" y="139"/>
                  </a:lnTo>
                  <a:lnTo>
                    <a:pt x="199" y="138"/>
                  </a:lnTo>
                  <a:lnTo>
                    <a:pt x="200" y="138"/>
                  </a:lnTo>
                  <a:lnTo>
                    <a:pt x="202" y="138"/>
                  </a:lnTo>
                  <a:lnTo>
                    <a:pt x="204" y="138"/>
                  </a:lnTo>
                  <a:lnTo>
                    <a:pt x="206" y="138"/>
                  </a:lnTo>
                  <a:lnTo>
                    <a:pt x="206" y="136"/>
                  </a:lnTo>
                  <a:lnTo>
                    <a:pt x="206" y="138"/>
                  </a:lnTo>
                  <a:lnTo>
                    <a:pt x="206" y="139"/>
                  </a:lnTo>
                  <a:lnTo>
                    <a:pt x="206" y="141"/>
                  </a:lnTo>
                  <a:lnTo>
                    <a:pt x="207" y="141"/>
                  </a:lnTo>
                  <a:lnTo>
                    <a:pt x="207" y="143"/>
                  </a:lnTo>
                  <a:lnTo>
                    <a:pt x="207" y="145"/>
                  </a:lnTo>
                  <a:lnTo>
                    <a:pt x="209" y="145"/>
                  </a:lnTo>
                  <a:lnTo>
                    <a:pt x="209" y="146"/>
                  </a:lnTo>
                  <a:lnTo>
                    <a:pt x="207" y="146"/>
                  </a:lnTo>
                  <a:lnTo>
                    <a:pt x="207" y="148"/>
                  </a:lnTo>
                  <a:lnTo>
                    <a:pt x="209" y="146"/>
                  </a:lnTo>
                  <a:close/>
                  <a:moveTo>
                    <a:pt x="178" y="143"/>
                  </a:moveTo>
                  <a:lnTo>
                    <a:pt x="177" y="145"/>
                  </a:lnTo>
                  <a:lnTo>
                    <a:pt x="177" y="146"/>
                  </a:lnTo>
                  <a:lnTo>
                    <a:pt x="175" y="145"/>
                  </a:lnTo>
                  <a:lnTo>
                    <a:pt x="173" y="143"/>
                  </a:lnTo>
                  <a:lnTo>
                    <a:pt x="172" y="143"/>
                  </a:lnTo>
                  <a:lnTo>
                    <a:pt x="172" y="141"/>
                  </a:lnTo>
                  <a:lnTo>
                    <a:pt x="172" y="139"/>
                  </a:lnTo>
                  <a:lnTo>
                    <a:pt x="170" y="139"/>
                  </a:lnTo>
                  <a:lnTo>
                    <a:pt x="168" y="138"/>
                  </a:lnTo>
                  <a:lnTo>
                    <a:pt x="166" y="138"/>
                  </a:lnTo>
                  <a:lnTo>
                    <a:pt x="166" y="136"/>
                  </a:lnTo>
                  <a:lnTo>
                    <a:pt x="166" y="134"/>
                  </a:lnTo>
                  <a:lnTo>
                    <a:pt x="165" y="134"/>
                  </a:lnTo>
                  <a:lnTo>
                    <a:pt x="165" y="133"/>
                  </a:lnTo>
                  <a:lnTo>
                    <a:pt x="163" y="133"/>
                  </a:lnTo>
                  <a:lnTo>
                    <a:pt x="163" y="131"/>
                  </a:lnTo>
                  <a:lnTo>
                    <a:pt x="161" y="131"/>
                  </a:lnTo>
                  <a:lnTo>
                    <a:pt x="161" y="129"/>
                  </a:lnTo>
                  <a:lnTo>
                    <a:pt x="161" y="128"/>
                  </a:lnTo>
                  <a:lnTo>
                    <a:pt x="161" y="126"/>
                  </a:lnTo>
                  <a:lnTo>
                    <a:pt x="161" y="124"/>
                  </a:lnTo>
                  <a:lnTo>
                    <a:pt x="163" y="126"/>
                  </a:lnTo>
                  <a:lnTo>
                    <a:pt x="163" y="124"/>
                  </a:lnTo>
                  <a:lnTo>
                    <a:pt x="165" y="126"/>
                  </a:lnTo>
                  <a:lnTo>
                    <a:pt x="166" y="126"/>
                  </a:lnTo>
                  <a:lnTo>
                    <a:pt x="166" y="128"/>
                  </a:lnTo>
                  <a:lnTo>
                    <a:pt x="168" y="128"/>
                  </a:lnTo>
                  <a:lnTo>
                    <a:pt x="168" y="129"/>
                  </a:lnTo>
                  <a:lnTo>
                    <a:pt x="168" y="131"/>
                  </a:lnTo>
                  <a:lnTo>
                    <a:pt x="170" y="131"/>
                  </a:lnTo>
                  <a:lnTo>
                    <a:pt x="168" y="131"/>
                  </a:lnTo>
                  <a:lnTo>
                    <a:pt x="168" y="133"/>
                  </a:lnTo>
                  <a:lnTo>
                    <a:pt x="168" y="134"/>
                  </a:lnTo>
                  <a:lnTo>
                    <a:pt x="170" y="134"/>
                  </a:lnTo>
                  <a:lnTo>
                    <a:pt x="172" y="134"/>
                  </a:lnTo>
                  <a:lnTo>
                    <a:pt x="173" y="134"/>
                  </a:lnTo>
                  <a:lnTo>
                    <a:pt x="175" y="134"/>
                  </a:lnTo>
                  <a:lnTo>
                    <a:pt x="175" y="136"/>
                  </a:lnTo>
                  <a:lnTo>
                    <a:pt x="175" y="138"/>
                  </a:lnTo>
                  <a:lnTo>
                    <a:pt x="175" y="139"/>
                  </a:lnTo>
                  <a:lnTo>
                    <a:pt x="175" y="141"/>
                  </a:lnTo>
                  <a:lnTo>
                    <a:pt x="177" y="143"/>
                  </a:lnTo>
                  <a:lnTo>
                    <a:pt x="178" y="143"/>
                  </a:lnTo>
                  <a:close/>
                  <a:moveTo>
                    <a:pt x="1067" y="459"/>
                  </a:moveTo>
                  <a:lnTo>
                    <a:pt x="1067" y="461"/>
                  </a:lnTo>
                  <a:lnTo>
                    <a:pt x="1066" y="463"/>
                  </a:lnTo>
                  <a:lnTo>
                    <a:pt x="1066" y="464"/>
                  </a:lnTo>
                  <a:lnTo>
                    <a:pt x="1064" y="464"/>
                  </a:lnTo>
                  <a:lnTo>
                    <a:pt x="1064" y="466"/>
                  </a:lnTo>
                  <a:lnTo>
                    <a:pt x="1062" y="466"/>
                  </a:lnTo>
                  <a:lnTo>
                    <a:pt x="1062" y="468"/>
                  </a:lnTo>
                  <a:lnTo>
                    <a:pt x="1061" y="468"/>
                  </a:lnTo>
                  <a:lnTo>
                    <a:pt x="1061" y="469"/>
                  </a:lnTo>
                  <a:lnTo>
                    <a:pt x="1059" y="469"/>
                  </a:lnTo>
                  <a:lnTo>
                    <a:pt x="1059" y="471"/>
                  </a:lnTo>
                  <a:lnTo>
                    <a:pt x="1059" y="469"/>
                  </a:lnTo>
                  <a:lnTo>
                    <a:pt x="1057" y="469"/>
                  </a:lnTo>
                  <a:lnTo>
                    <a:pt x="1059" y="469"/>
                  </a:lnTo>
                  <a:lnTo>
                    <a:pt x="1057" y="468"/>
                  </a:lnTo>
                  <a:lnTo>
                    <a:pt x="1057" y="466"/>
                  </a:lnTo>
                  <a:lnTo>
                    <a:pt x="1059" y="464"/>
                  </a:lnTo>
                  <a:lnTo>
                    <a:pt x="1059" y="463"/>
                  </a:lnTo>
                  <a:lnTo>
                    <a:pt x="1061" y="463"/>
                  </a:lnTo>
                  <a:lnTo>
                    <a:pt x="1061" y="461"/>
                  </a:lnTo>
                  <a:lnTo>
                    <a:pt x="1062" y="459"/>
                  </a:lnTo>
                  <a:lnTo>
                    <a:pt x="1062" y="461"/>
                  </a:lnTo>
                  <a:lnTo>
                    <a:pt x="1064" y="461"/>
                  </a:lnTo>
                  <a:lnTo>
                    <a:pt x="1062" y="461"/>
                  </a:lnTo>
                  <a:lnTo>
                    <a:pt x="1064" y="461"/>
                  </a:lnTo>
                  <a:lnTo>
                    <a:pt x="1066" y="461"/>
                  </a:lnTo>
                  <a:lnTo>
                    <a:pt x="1066" y="459"/>
                  </a:lnTo>
                  <a:lnTo>
                    <a:pt x="1067" y="459"/>
                  </a:lnTo>
                  <a:close/>
                  <a:moveTo>
                    <a:pt x="109" y="177"/>
                  </a:moveTo>
                  <a:lnTo>
                    <a:pt x="109" y="179"/>
                  </a:lnTo>
                  <a:lnTo>
                    <a:pt x="107" y="180"/>
                  </a:lnTo>
                  <a:lnTo>
                    <a:pt x="107" y="182"/>
                  </a:lnTo>
                  <a:lnTo>
                    <a:pt x="107" y="184"/>
                  </a:lnTo>
                  <a:lnTo>
                    <a:pt x="107" y="182"/>
                  </a:lnTo>
                  <a:lnTo>
                    <a:pt x="105" y="184"/>
                  </a:lnTo>
                  <a:lnTo>
                    <a:pt x="105" y="182"/>
                  </a:lnTo>
                  <a:lnTo>
                    <a:pt x="104" y="180"/>
                  </a:lnTo>
                  <a:lnTo>
                    <a:pt x="102" y="180"/>
                  </a:lnTo>
                  <a:lnTo>
                    <a:pt x="102" y="182"/>
                  </a:lnTo>
                  <a:lnTo>
                    <a:pt x="102" y="180"/>
                  </a:lnTo>
                  <a:lnTo>
                    <a:pt x="104" y="179"/>
                  </a:lnTo>
                  <a:lnTo>
                    <a:pt x="104" y="177"/>
                  </a:lnTo>
                  <a:lnTo>
                    <a:pt x="105" y="177"/>
                  </a:lnTo>
                  <a:lnTo>
                    <a:pt x="105" y="175"/>
                  </a:lnTo>
                  <a:lnTo>
                    <a:pt x="105" y="173"/>
                  </a:lnTo>
                  <a:lnTo>
                    <a:pt x="105" y="172"/>
                  </a:lnTo>
                  <a:lnTo>
                    <a:pt x="105" y="170"/>
                  </a:lnTo>
                  <a:lnTo>
                    <a:pt x="107" y="170"/>
                  </a:lnTo>
                  <a:lnTo>
                    <a:pt x="107" y="172"/>
                  </a:lnTo>
                  <a:lnTo>
                    <a:pt x="107" y="173"/>
                  </a:lnTo>
                  <a:lnTo>
                    <a:pt x="109" y="173"/>
                  </a:lnTo>
                  <a:lnTo>
                    <a:pt x="107" y="175"/>
                  </a:lnTo>
                  <a:lnTo>
                    <a:pt x="109" y="177"/>
                  </a:lnTo>
                  <a:close/>
                  <a:moveTo>
                    <a:pt x="212" y="315"/>
                  </a:moveTo>
                  <a:lnTo>
                    <a:pt x="211" y="313"/>
                  </a:lnTo>
                  <a:lnTo>
                    <a:pt x="211" y="311"/>
                  </a:lnTo>
                  <a:lnTo>
                    <a:pt x="209" y="311"/>
                  </a:lnTo>
                  <a:lnTo>
                    <a:pt x="209" y="310"/>
                  </a:lnTo>
                  <a:lnTo>
                    <a:pt x="211" y="310"/>
                  </a:lnTo>
                  <a:lnTo>
                    <a:pt x="211" y="308"/>
                  </a:lnTo>
                  <a:lnTo>
                    <a:pt x="209" y="306"/>
                  </a:lnTo>
                  <a:lnTo>
                    <a:pt x="207" y="306"/>
                  </a:lnTo>
                  <a:lnTo>
                    <a:pt x="207" y="304"/>
                  </a:lnTo>
                  <a:lnTo>
                    <a:pt x="206" y="306"/>
                  </a:lnTo>
                  <a:lnTo>
                    <a:pt x="206" y="304"/>
                  </a:lnTo>
                  <a:lnTo>
                    <a:pt x="204" y="304"/>
                  </a:lnTo>
                  <a:lnTo>
                    <a:pt x="206" y="304"/>
                  </a:lnTo>
                  <a:lnTo>
                    <a:pt x="206" y="303"/>
                  </a:lnTo>
                  <a:lnTo>
                    <a:pt x="206" y="301"/>
                  </a:lnTo>
                  <a:lnTo>
                    <a:pt x="207" y="301"/>
                  </a:lnTo>
                  <a:lnTo>
                    <a:pt x="207" y="299"/>
                  </a:lnTo>
                  <a:lnTo>
                    <a:pt x="207" y="298"/>
                  </a:lnTo>
                  <a:lnTo>
                    <a:pt x="207" y="296"/>
                  </a:lnTo>
                  <a:lnTo>
                    <a:pt x="209" y="296"/>
                  </a:lnTo>
                  <a:lnTo>
                    <a:pt x="209" y="294"/>
                  </a:lnTo>
                  <a:lnTo>
                    <a:pt x="209" y="293"/>
                  </a:lnTo>
                  <a:lnTo>
                    <a:pt x="209" y="291"/>
                  </a:lnTo>
                  <a:lnTo>
                    <a:pt x="211" y="289"/>
                  </a:lnTo>
                  <a:lnTo>
                    <a:pt x="211" y="287"/>
                  </a:lnTo>
                  <a:lnTo>
                    <a:pt x="211" y="289"/>
                  </a:lnTo>
                  <a:lnTo>
                    <a:pt x="211" y="291"/>
                  </a:lnTo>
                  <a:lnTo>
                    <a:pt x="209" y="293"/>
                  </a:lnTo>
                  <a:lnTo>
                    <a:pt x="209" y="294"/>
                  </a:lnTo>
                  <a:lnTo>
                    <a:pt x="209" y="296"/>
                  </a:lnTo>
                  <a:lnTo>
                    <a:pt x="209" y="298"/>
                  </a:lnTo>
                  <a:lnTo>
                    <a:pt x="209" y="299"/>
                  </a:lnTo>
                  <a:lnTo>
                    <a:pt x="209" y="301"/>
                  </a:lnTo>
                  <a:lnTo>
                    <a:pt x="209" y="303"/>
                  </a:lnTo>
                  <a:lnTo>
                    <a:pt x="207" y="303"/>
                  </a:lnTo>
                  <a:lnTo>
                    <a:pt x="207" y="304"/>
                  </a:lnTo>
                  <a:lnTo>
                    <a:pt x="209" y="304"/>
                  </a:lnTo>
                  <a:lnTo>
                    <a:pt x="209" y="306"/>
                  </a:lnTo>
                  <a:lnTo>
                    <a:pt x="211" y="308"/>
                  </a:lnTo>
                  <a:lnTo>
                    <a:pt x="211" y="310"/>
                  </a:lnTo>
                  <a:lnTo>
                    <a:pt x="211" y="311"/>
                  </a:lnTo>
                  <a:lnTo>
                    <a:pt x="212" y="313"/>
                  </a:lnTo>
                  <a:lnTo>
                    <a:pt x="212" y="315"/>
                  </a:lnTo>
                  <a:close/>
                  <a:moveTo>
                    <a:pt x="5" y="148"/>
                  </a:moveTo>
                  <a:lnTo>
                    <a:pt x="5" y="150"/>
                  </a:lnTo>
                  <a:lnTo>
                    <a:pt x="3" y="150"/>
                  </a:lnTo>
                  <a:lnTo>
                    <a:pt x="2" y="148"/>
                  </a:lnTo>
                  <a:lnTo>
                    <a:pt x="3" y="146"/>
                  </a:lnTo>
                  <a:lnTo>
                    <a:pt x="2" y="146"/>
                  </a:lnTo>
                  <a:lnTo>
                    <a:pt x="2" y="145"/>
                  </a:lnTo>
                  <a:lnTo>
                    <a:pt x="2" y="143"/>
                  </a:lnTo>
                  <a:lnTo>
                    <a:pt x="0" y="143"/>
                  </a:lnTo>
                  <a:lnTo>
                    <a:pt x="0" y="141"/>
                  </a:lnTo>
                  <a:lnTo>
                    <a:pt x="0" y="139"/>
                  </a:lnTo>
                  <a:lnTo>
                    <a:pt x="2" y="139"/>
                  </a:lnTo>
                  <a:lnTo>
                    <a:pt x="3" y="139"/>
                  </a:lnTo>
                  <a:lnTo>
                    <a:pt x="3" y="138"/>
                  </a:lnTo>
                  <a:lnTo>
                    <a:pt x="3" y="139"/>
                  </a:lnTo>
                  <a:lnTo>
                    <a:pt x="3" y="141"/>
                  </a:lnTo>
                  <a:lnTo>
                    <a:pt x="3" y="143"/>
                  </a:lnTo>
                  <a:lnTo>
                    <a:pt x="5" y="143"/>
                  </a:lnTo>
                  <a:lnTo>
                    <a:pt x="5" y="145"/>
                  </a:lnTo>
                  <a:lnTo>
                    <a:pt x="5" y="146"/>
                  </a:lnTo>
                  <a:lnTo>
                    <a:pt x="5" y="148"/>
                  </a:lnTo>
                  <a:close/>
                  <a:moveTo>
                    <a:pt x="224" y="321"/>
                  </a:moveTo>
                  <a:lnTo>
                    <a:pt x="224" y="323"/>
                  </a:lnTo>
                  <a:lnTo>
                    <a:pt x="224" y="321"/>
                  </a:lnTo>
                  <a:lnTo>
                    <a:pt x="223" y="321"/>
                  </a:lnTo>
                  <a:lnTo>
                    <a:pt x="221" y="320"/>
                  </a:lnTo>
                  <a:lnTo>
                    <a:pt x="219" y="318"/>
                  </a:lnTo>
                  <a:lnTo>
                    <a:pt x="217" y="318"/>
                  </a:lnTo>
                  <a:lnTo>
                    <a:pt x="217" y="316"/>
                  </a:lnTo>
                  <a:lnTo>
                    <a:pt x="216" y="316"/>
                  </a:lnTo>
                  <a:lnTo>
                    <a:pt x="214" y="315"/>
                  </a:lnTo>
                  <a:lnTo>
                    <a:pt x="216" y="315"/>
                  </a:lnTo>
                  <a:lnTo>
                    <a:pt x="217" y="315"/>
                  </a:lnTo>
                  <a:lnTo>
                    <a:pt x="219" y="315"/>
                  </a:lnTo>
                  <a:lnTo>
                    <a:pt x="219" y="316"/>
                  </a:lnTo>
                  <a:lnTo>
                    <a:pt x="221" y="316"/>
                  </a:lnTo>
                  <a:lnTo>
                    <a:pt x="221" y="318"/>
                  </a:lnTo>
                  <a:lnTo>
                    <a:pt x="223" y="318"/>
                  </a:lnTo>
                  <a:lnTo>
                    <a:pt x="224" y="320"/>
                  </a:lnTo>
                  <a:lnTo>
                    <a:pt x="224" y="321"/>
                  </a:lnTo>
                  <a:close/>
                  <a:moveTo>
                    <a:pt x="265" y="301"/>
                  </a:moveTo>
                  <a:lnTo>
                    <a:pt x="265" y="303"/>
                  </a:lnTo>
                  <a:lnTo>
                    <a:pt x="263" y="303"/>
                  </a:lnTo>
                  <a:lnTo>
                    <a:pt x="262" y="303"/>
                  </a:lnTo>
                  <a:lnTo>
                    <a:pt x="263" y="301"/>
                  </a:lnTo>
                  <a:lnTo>
                    <a:pt x="262" y="301"/>
                  </a:lnTo>
                  <a:lnTo>
                    <a:pt x="260" y="301"/>
                  </a:lnTo>
                  <a:lnTo>
                    <a:pt x="262" y="299"/>
                  </a:lnTo>
                  <a:lnTo>
                    <a:pt x="260" y="299"/>
                  </a:lnTo>
                  <a:lnTo>
                    <a:pt x="260" y="298"/>
                  </a:lnTo>
                  <a:lnTo>
                    <a:pt x="260" y="296"/>
                  </a:lnTo>
                  <a:lnTo>
                    <a:pt x="258" y="296"/>
                  </a:lnTo>
                  <a:lnTo>
                    <a:pt x="258" y="294"/>
                  </a:lnTo>
                  <a:lnTo>
                    <a:pt x="260" y="296"/>
                  </a:lnTo>
                  <a:lnTo>
                    <a:pt x="262" y="296"/>
                  </a:lnTo>
                  <a:lnTo>
                    <a:pt x="263" y="298"/>
                  </a:lnTo>
                  <a:lnTo>
                    <a:pt x="263" y="299"/>
                  </a:lnTo>
                  <a:lnTo>
                    <a:pt x="263" y="301"/>
                  </a:lnTo>
                  <a:lnTo>
                    <a:pt x="265" y="301"/>
                  </a:lnTo>
                  <a:close/>
                  <a:moveTo>
                    <a:pt x="246" y="257"/>
                  </a:moveTo>
                  <a:lnTo>
                    <a:pt x="246" y="259"/>
                  </a:lnTo>
                  <a:lnTo>
                    <a:pt x="246" y="260"/>
                  </a:lnTo>
                  <a:lnTo>
                    <a:pt x="246" y="262"/>
                  </a:lnTo>
                  <a:lnTo>
                    <a:pt x="246" y="260"/>
                  </a:lnTo>
                  <a:lnTo>
                    <a:pt x="245" y="260"/>
                  </a:lnTo>
                  <a:lnTo>
                    <a:pt x="245" y="262"/>
                  </a:lnTo>
                  <a:lnTo>
                    <a:pt x="243" y="262"/>
                  </a:lnTo>
                  <a:lnTo>
                    <a:pt x="243" y="264"/>
                  </a:lnTo>
                  <a:lnTo>
                    <a:pt x="243" y="265"/>
                  </a:lnTo>
                  <a:lnTo>
                    <a:pt x="241" y="265"/>
                  </a:lnTo>
                  <a:lnTo>
                    <a:pt x="241" y="267"/>
                  </a:lnTo>
                  <a:lnTo>
                    <a:pt x="241" y="265"/>
                  </a:lnTo>
                  <a:lnTo>
                    <a:pt x="241" y="264"/>
                  </a:lnTo>
                  <a:lnTo>
                    <a:pt x="241" y="262"/>
                  </a:lnTo>
                  <a:lnTo>
                    <a:pt x="243" y="260"/>
                  </a:lnTo>
                  <a:lnTo>
                    <a:pt x="243" y="259"/>
                  </a:lnTo>
                  <a:lnTo>
                    <a:pt x="245" y="259"/>
                  </a:lnTo>
                  <a:lnTo>
                    <a:pt x="245" y="257"/>
                  </a:lnTo>
                  <a:lnTo>
                    <a:pt x="245" y="259"/>
                  </a:lnTo>
                  <a:lnTo>
                    <a:pt x="246" y="259"/>
                  </a:lnTo>
                  <a:lnTo>
                    <a:pt x="246" y="257"/>
                  </a:lnTo>
                  <a:close/>
                  <a:moveTo>
                    <a:pt x="401" y="422"/>
                  </a:moveTo>
                  <a:lnTo>
                    <a:pt x="399" y="424"/>
                  </a:lnTo>
                  <a:lnTo>
                    <a:pt x="399" y="425"/>
                  </a:lnTo>
                  <a:lnTo>
                    <a:pt x="399" y="424"/>
                  </a:lnTo>
                  <a:lnTo>
                    <a:pt x="398" y="424"/>
                  </a:lnTo>
                  <a:lnTo>
                    <a:pt x="396" y="422"/>
                  </a:lnTo>
                  <a:lnTo>
                    <a:pt x="396" y="420"/>
                  </a:lnTo>
                  <a:lnTo>
                    <a:pt x="394" y="418"/>
                  </a:lnTo>
                  <a:lnTo>
                    <a:pt x="396" y="418"/>
                  </a:lnTo>
                  <a:lnTo>
                    <a:pt x="398" y="418"/>
                  </a:lnTo>
                  <a:lnTo>
                    <a:pt x="398" y="420"/>
                  </a:lnTo>
                  <a:lnTo>
                    <a:pt x="399" y="420"/>
                  </a:lnTo>
                  <a:lnTo>
                    <a:pt x="399" y="422"/>
                  </a:lnTo>
                  <a:lnTo>
                    <a:pt x="401" y="422"/>
                  </a:lnTo>
                  <a:close/>
                  <a:moveTo>
                    <a:pt x="289" y="330"/>
                  </a:moveTo>
                  <a:lnTo>
                    <a:pt x="287" y="328"/>
                  </a:lnTo>
                  <a:lnTo>
                    <a:pt x="285" y="328"/>
                  </a:lnTo>
                  <a:lnTo>
                    <a:pt x="285" y="327"/>
                  </a:lnTo>
                  <a:lnTo>
                    <a:pt x="285" y="325"/>
                  </a:lnTo>
                  <a:lnTo>
                    <a:pt x="285" y="323"/>
                  </a:lnTo>
                  <a:lnTo>
                    <a:pt x="284" y="323"/>
                  </a:lnTo>
                  <a:lnTo>
                    <a:pt x="284" y="321"/>
                  </a:lnTo>
                  <a:lnTo>
                    <a:pt x="285" y="321"/>
                  </a:lnTo>
                  <a:lnTo>
                    <a:pt x="285" y="323"/>
                  </a:lnTo>
                  <a:lnTo>
                    <a:pt x="287" y="325"/>
                  </a:lnTo>
                  <a:lnTo>
                    <a:pt x="287" y="327"/>
                  </a:lnTo>
                  <a:lnTo>
                    <a:pt x="289" y="327"/>
                  </a:lnTo>
                  <a:lnTo>
                    <a:pt x="289" y="328"/>
                  </a:lnTo>
                  <a:lnTo>
                    <a:pt x="289" y="330"/>
                  </a:lnTo>
                  <a:close/>
                  <a:moveTo>
                    <a:pt x="348" y="299"/>
                  </a:moveTo>
                  <a:lnTo>
                    <a:pt x="348" y="301"/>
                  </a:lnTo>
                  <a:lnTo>
                    <a:pt x="348" y="303"/>
                  </a:lnTo>
                  <a:lnTo>
                    <a:pt x="348" y="304"/>
                  </a:lnTo>
                  <a:lnTo>
                    <a:pt x="347" y="304"/>
                  </a:lnTo>
                  <a:lnTo>
                    <a:pt x="347" y="303"/>
                  </a:lnTo>
                  <a:lnTo>
                    <a:pt x="347" y="301"/>
                  </a:lnTo>
                  <a:lnTo>
                    <a:pt x="347" y="299"/>
                  </a:lnTo>
                  <a:lnTo>
                    <a:pt x="347" y="301"/>
                  </a:lnTo>
                  <a:lnTo>
                    <a:pt x="345" y="299"/>
                  </a:lnTo>
                  <a:lnTo>
                    <a:pt x="345" y="298"/>
                  </a:lnTo>
                  <a:lnTo>
                    <a:pt x="345" y="296"/>
                  </a:lnTo>
                  <a:lnTo>
                    <a:pt x="347" y="296"/>
                  </a:lnTo>
                  <a:lnTo>
                    <a:pt x="347" y="298"/>
                  </a:lnTo>
                  <a:lnTo>
                    <a:pt x="348" y="298"/>
                  </a:lnTo>
                  <a:lnTo>
                    <a:pt x="348" y="299"/>
                  </a:lnTo>
                  <a:close/>
                  <a:moveTo>
                    <a:pt x="906" y="526"/>
                  </a:moveTo>
                  <a:lnTo>
                    <a:pt x="904" y="526"/>
                  </a:lnTo>
                  <a:lnTo>
                    <a:pt x="906" y="526"/>
                  </a:lnTo>
                  <a:lnTo>
                    <a:pt x="906" y="524"/>
                  </a:lnTo>
                  <a:lnTo>
                    <a:pt x="904" y="526"/>
                  </a:lnTo>
                  <a:lnTo>
                    <a:pt x="903" y="526"/>
                  </a:lnTo>
                  <a:lnTo>
                    <a:pt x="904" y="526"/>
                  </a:lnTo>
                  <a:lnTo>
                    <a:pt x="903" y="527"/>
                  </a:lnTo>
                  <a:lnTo>
                    <a:pt x="901" y="527"/>
                  </a:lnTo>
                  <a:lnTo>
                    <a:pt x="899" y="527"/>
                  </a:lnTo>
                  <a:lnTo>
                    <a:pt x="899" y="529"/>
                  </a:lnTo>
                  <a:lnTo>
                    <a:pt x="897" y="529"/>
                  </a:lnTo>
                  <a:lnTo>
                    <a:pt x="896" y="529"/>
                  </a:lnTo>
                  <a:lnTo>
                    <a:pt x="894" y="529"/>
                  </a:lnTo>
                  <a:lnTo>
                    <a:pt x="896" y="527"/>
                  </a:lnTo>
                  <a:lnTo>
                    <a:pt x="897" y="527"/>
                  </a:lnTo>
                  <a:lnTo>
                    <a:pt x="899" y="527"/>
                  </a:lnTo>
                  <a:lnTo>
                    <a:pt x="901" y="527"/>
                  </a:lnTo>
                  <a:lnTo>
                    <a:pt x="901" y="526"/>
                  </a:lnTo>
                  <a:lnTo>
                    <a:pt x="903" y="526"/>
                  </a:lnTo>
                  <a:lnTo>
                    <a:pt x="904" y="526"/>
                  </a:lnTo>
                  <a:lnTo>
                    <a:pt x="904" y="524"/>
                  </a:lnTo>
                  <a:lnTo>
                    <a:pt x="906" y="524"/>
                  </a:lnTo>
                  <a:lnTo>
                    <a:pt x="906" y="526"/>
                  </a:lnTo>
                  <a:close/>
                  <a:moveTo>
                    <a:pt x="272" y="318"/>
                  </a:moveTo>
                  <a:lnTo>
                    <a:pt x="272" y="320"/>
                  </a:lnTo>
                  <a:lnTo>
                    <a:pt x="270" y="320"/>
                  </a:lnTo>
                  <a:lnTo>
                    <a:pt x="270" y="318"/>
                  </a:lnTo>
                  <a:lnTo>
                    <a:pt x="270" y="316"/>
                  </a:lnTo>
                  <a:lnTo>
                    <a:pt x="268" y="316"/>
                  </a:lnTo>
                  <a:lnTo>
                    <a:pt x="270" y="316"/>
                  </a:lnTo>
                  <a:lnTo>
                    <a:pt x="268" y="315"/>
                  </a:lnTo>
                  <a:lnTo>
                    <a:pt x="270" y="315"/>
                  </a:lnTo>
                  <a:lnTo>
                    <a:pt x="268" y="315"/>
                  </a:lnTo>
                  <a:lnTo>
                    <a:pt x="270" y="315"/>
                  </a:lnTo>
                  <a:lnTo>
                    <a:pt x="268" y="315"/>
                  </a:lnTo>
                  <a:lnTo>
                    <a:pt x="268" y="313"/>
                  </a:lnTo>
                  <a:lnTo>
                    <a:pt x="270" y="313"/>
                  </a:lnTo>
                  <a:lnTo>
                    <a:pt x="270" y="315"/>
                  </a:lnTo>
                  <a:lnTo>
                    <a:pt x="272" y="316"/>
                  </a:lnTo>
                  <a:lnTo>
                    <a:pt x="272" y="318"/>
                  </a:lnTo>
                  <a:close/>
                  <a:moveTo>
                    <a:pt x="347" y="304"/>
                  </a:moveTo>
                  <a:lnTo>
                    <a:pt x="345" y="304"/>
                  </a:lnTo>
                  <a:lnTo>
                    <a:pt x="345" y="303"/>
                  </a:lnTo>
                  <a:lnTo>
                    <a:pt x="345" y="301"/>
                  </a:lnTo>
                  <a:lnTo>
                    <a:pt x="343" y="299"/>
                  </a:lnTo>
                  <a:lnTo>
                    <a:pt x="343" y="298"/>
                  </a:lnTo>
                  <a:lnTo>
                    <a:pt x="342" y="296"/>
                  </a:lnTo>
                  <a:lnTo>
                    <a:pt x="342" y="294"/>
                  </a:lnTo>
                  <a:lnTo>
                    <a:pt x="340" y="294"/>
                  </a:lnTo>
                  <a:lnTo>
                    <a:pt x="338" y="294"/>
                  </a:lnTo>
                  <a:lnTo>
                    <a:pt x="338" y="293"/>
                  </a:lnTo>
                  <a:lnTo>
                    <a:pt x="340" y="293"/>
                  </a:lnTo>
                  <a:lnTo>
                    <a:pt x="340" y="294"/>
                  </a:lnTo>
                  <a:lnTo>
                    <a:pt x="342" y="294"/>
                  </a:lnTo>
                  <a:lnTo>
                    <a:pt x="342" y="296"/>
                  </a:lnTo>
                  <a:lnTo>
                    <a:pt x="343" y="296"/>
                  </a:lnTo>
                  <a:lnTo>
                    <a:pt x="343" y="298"/>
                  </a:lnTo>
                  <a:lnTo>
                    <a:pt x="345" y="299"/>
                  </a:lnTo>
                  <a:lnTo>
                    <a:pt x="345" y="301"/>
                  </a:lnTo>
                  <a:lnTo>
                    <a:pt x="347" y="301"/>
                  </a:lnTo>
                  <a:lnTo>
                    <a:pt x="347" y="303"/>
                  </a:lnTo>
                  <a:lnTo>
                    <a:pt x="347" y="304"/>
                  </a:lnTo>
                  <a:close/>
                  <a:moveTo>
                    <a:pt x="404" y="427"/>
                  </a:moveTo>
                  <a:lnTo>
                    <a:pt x="404" y="429"/>
                  </a:lnTo>
                  <a:lnTo>
                    <a:pt x="403" y="429"/>
                  </a:lnTo>
                  <a:lnTo>
                    <a:pt x="401" y="429"/>
                  </a:lnTo>
                  <a:lnTo>
                    <a:pt x="401" y="427"/>
                  </a:lnTo>
                  <a:lnTo>
                    <a:pt x="403" y="427"/>
                  </a:lnTo>
                  <a:lnTo>
                    <a:pt x="404" y="427"/>
                  </a:lnTo>
                  <a:close/>
                  <a:moveTo>
                    <a:pt x="194" y="156"/>
                  </a:moveTo>
                  <a:lnTo>
                    <a:pt x="197" y="156"/>
                  </a:lnTo>
                  <a:lnTo>
                    <a:pt x="197" y="158"/>
                  </a:lnTo>
                  <a:lnTo>
                    <a:pt x="194" y="158"/>
                  </a:lnTo>
                  <a:lnTo>
                    <a:pt x="194" y="156"/>
                  </a:lnTo>
                  <a:close/>
                  <a:moveTo>
                    <a:pt x="177" y="235"/>
                  </a:moveTo>
                  <a:lnTo>
                    <a:pt x="175" y="235"/>
                  </a:lnTo>
                  <a:lnTo>
                    <a:pt x="173" y="233"/>
                  </a:lnTo>
                  <a:lnTo>
                    <a:pt x="172" y="233"/>
                  </a:lnTo>
                  <a:lnTo>
                    <a:pt x="173" y="233"/>
                  </a:lnTo>
                  <a:lnTo>
                    <a:pt x="175" y="233"/>
                  </a:lnTo>
                  <a:lnTo>
                    <a:pt x="177" y="233"/>
                  </a:lnTo>
                  <a:lnTo>
                    <a:pt x="177" y="235"/>
                  </a:lnTo>
                  <a:close/>
                  <a:moveTo>
                    <a:pt x="257" y="276"/>
                  </a:moveTo>
                  <a:lnTo>
                    <a:pt x="255" y="274"/>
                  </a:lnTo>
                  <a:lnTo>
                    <a:pt x="255" y="272"/>
                  </a:lnTo>
                  <a:lnTo>
                    <a:pt x="257" y="270"/>
                  </a:lnTo>
                  <a:lnTo>
                    <a:pt x="257" y="272"/>
                  </a:lnTo>
                  <a:lnTo>
                    <a:pt x="257" y="274"/>
                  </a:lnTo>
                  <a:lnTo>
                    <a:pt x="257" y="276"/>
                  </a:lnTo>
                  <a:close/>
                  <a:moveTo>
                    <a:pt x="323" y="284"/>
                  </a:moveTo>
                  <a:lnTo>
                    <a:pt x="321" y="282"/>
                  </a:lnTo>
                  <a:lnTo>
                    <a:pt x="319" y="282"/>
                  </a:lnTo>
                  <a:lnTo>
                    <a:pt x="318" y="282"/>
                  </a:lnTo>
                  <a:lnTo>
                    <a:pt x="318" y="281"/>
                  </a:lnTo>
                  <a:lnTo>
                    <a:pt x="316" y="281"/>
                  </a:lnTo>
                  <a:lnTo>
                    <a:pt x="314" y="281"/>
                  </a:lnTo>
                  <a:lnTo>
                    <a:pt x="316" y="281"/>
                  </a:lnTo>
                  <a:lnTo>
                    <a:pt x="318" y="281"/>
                  </a:lnTo>
                  <a:lnTo>
                    <a:pt x="319" y="281"/>
                  </a:lnTo>
                  <a:lnTo>
                    <a:pt x="321" y="282"/>
                  </a:lnTo>
                  <a:lnTo>
                    <a:pt x="323" y="282"/>
                  </a:lnTo>
                  <a:lnTo>
                    <a:pt x="323" y="284"/>
                  </a:lnTo>
                  <a:close/>
                  <a:moveTo>
                    <a:pt x="189" y="162"/>
                  </a:moveTo>
                  <a:lnTo>
                    <a:pt x="187" y="160"/>
                  </a:lnTo>
                  <a:lnTo>
                    <a:pt x="185" y="160"/>
                  </a:lnTo>
                  <a:lnTo>
                    <a:pt x="185" y="158"/>
                  </a:lnTo>
                  <a:lnTo>
                    <a:pt x="187" y="158"/>
                  </a:lnTo>
                  <a:lnTo>
                    <a:pt x="187" y="160"/>
                  </a:lnTo>
                  <a:lnTo>
                    <a:pt x="189" y="160"/>
                  </a:lnTo>
                  <a:lnTo>
                    <a:pt x="189" y="162"/>
                  </a:lnTo>
                  <a:close/>
                  <a:moveTo>
                    <a:pt x="211" y="213"/>
                  </a:moveTo>
                  <a:lnTo>
                    <a:pt x="214" y="213"/>
                  </a:lnTo>
                  <a:lnTo>
                    <a:pt x="214" y="216"/>
                  </a:lnTo>
                  <a:lnTo>
                    <a:pt x="211" y="216"/>
                  </a:lnTo>
                  <a:lnTo>
                    <a:pt x="211" y="213"/>
                  </a:lnTo>
                  <a:close/>
                  <a:moveTo>
                    <a:pt x="340" y="293"/>
                  </a:moveTo>
                  <a:lnTo>
                    <a:pt x="340" y="291"/>
                  </a:lnTo>
                  <a:lnTo>
                    <a:pt x="338" y="291"/>
                  </a:lnTo>
                  <a:lnTo>
                    <a:pt x="338" y="289"/>
                  </a:lnTo>
                  <a:lnTo>
                    <a:pt x="338" y="291"/>
                  </a:lnTo>
                  <a:lnTo>
                    <a:pt x="340" y="291"/>
                  </a:lnTo>
                  <a:lnTo>
                    <a:pt x="340" y="293"/>
                  </a:lnTo>
                  <a:close/>
                  <a:moveTo>
                    <a:pt x="212" y="281"/>
                  </a:moveTo>
                  <a:lnTo>
                    <a:pt x="211" y="281"/>
                  </a:lnTo>
                  <a:lnTo>
                    <a:pt x="212" y="282"/>
                  </a:lnTo>
                  <a:lnTo>
                    <a:pt x="211" y="282"/>
                  </a:lnTo>
                  <a:lnTo>
                    <a:pt x="211" y="284"/>
                  </a:lnTo>
                  <a:lnTo>
                    <a:pt x="211" y="286"/>
                  </a:lnTo>
                  <a:lnTo>
                    <a:pt x="211" y="287"/>
                  </a:lnTo>
                  <a:lnTo>
                    <a:pt x="211" y="286"/>
                  </a:lnTo>
                  <a:lnTo>
                    <a:pt x="211" y="284"/>
                  </a:lnTo>
                  <a:lnTo>
                    <a:pt x="211" y="282"/>
                  </a:lnTo>
                  <a:lnTo>
                    <a:pt x="211" y="281"/>
                  </a:lnTo>
                  <a:lnTo>
                    <a:pt x="211" y="279"/>
                  </a:lnTo>
                  <a:lnTo>
                    <a:pt x="212" y="279"/>
                  </a:lnTo>
                  <a:lnTo>
                    <a:pt x="212" y="281"/>
                  </a:lnTo>
                  <a:close/>
                  <a:moveTo>
                    <a:pt x="265" y="211"/>
                  </a:moveTo>
                  <a:lnTo>
                    <a:pt x="263" y="211"/>
                  </a:lnTo>
                  <a:lnTo>
                    <a:pt x="262" y="211"/>
                  </a:lnTo>
                  <a:lnTo>
                    <a:pt x="262" y="209"/>
                  </a:lnTo>
                  <a:lnTo>
                    <a:pt x="262" y="208"/>
                  </a:lnTo>
                  <a:lnTo>
                    <a:pt x="262" y="206"/>
                  </a:lnTo>
                  <a:lnTo>
                    <a:pt x="262" y="208"/>
                  </a:lnTo>
                  <a:lnTo>
                    <a:pt x="262" y="209"/>
                  </a:lnTo>
                  <a:lnTo>
                    <a:pt x="263" y="209"/>
                  </a:lnTo>
                  <a:lnTo>
                    <a:pt x="263" y="211"/>
                  </a:lnTo>
                  <a:lnTo>
                    <a:pt x="265" y="211"/>
                  </a:lnTo>
                  <a:close/>
                  <a:moveTo>
                    <a:pt x="246" y="270"/>
                  </a:moveTo>
                  <a:lnTo>
                    <a:pt x="248" y="270"/>
                  </a:lnTo>
                  <a:lnTo>
                    <a:pt x="248" y="274"/>
                  </a:lnTo>
                  <a:lnTo>
                    <a:pt x="246" y="274"/>
                  </a:lnTo>
                  <a:lnTo>
                    <a:pt x="246" y="270"/>
                  </a:lnTo>
                  <a:close/>
                  <a:moveTo>
                    <a:pt x="408" y="432"/>
                  </a:moveTo>
                  <a:lnTo>
                    <a:pt x="410" y="432"/>
                  </a:lnTo>
                  <a:lnTo>
                    <a:pt x="410" y="434"/>
                  </a:lnTo>
                  <a:lnTo>
                    <a:pt x="408" y="434"/>
                  </a:lnTo>
                  <a:lnTo>
                    <a:pt x="408" y="432"/>
                  </a:lnTo>
                  <a:close/>
                  <a:moveTo>
                    <a:pt x="233" y="323"/>
                  </a:moveTo>
                  <a:lnTo>
                    <a:pt x="233" y="321"/>
                  </a:lnTo>
                  <a:lnTo>
                    <a:pt x="231" y="321"/>
                  </a:lnTo>
                  <a:lnTo>
                    <a:pt x="229" y="321"/>
                  </a:lnTo>
                  <a:lnTo>
                    <a:pt x="228" y="321"/>
                  </a:lnTo>
                  <a:lnTo>
                    <a:pt x="226" y="321"/>
                  </a:lnTo>
                  <a:lnTo>
                    <a:pt x="226" y="320"/>
                  </a:lnTo>
                  <a:lnTo>
                    <a:pt x="226" y="321"/>
                  </a:lnTo>
                  <a:lnTo>
                    <a:pt x="228" y="320"/>
                  </a:lnTo>
                  <a:lnTo>
                    <a:pt x="229" y="320"/>
                  </a:lnTo>
                  <a:lnTo>
                    <a:pt x="229" y="321"/>
                  </a:lnTo>
                  <a:lnTo>
                    <a:pt x="229" y="320"/>
                  </a:lnTo>
                  <a:lnTo>
                    <a:pt x="229" y="321"/>
                  </a:lnTo>
                  <a:lnTo>
                    <a:pt x="231" y="321"/>
                  </a:lnTo>
                  <a:lnTo>
                    <a:pt x="233" y="321"/>
                  </a:lnTo>
                  <a:lnTo>
                    <a:pt x="233" y="323"/>
                  </a:lnTo>
                  <a:close/>
                  <a:moveTo>
                    <a:pt x="93" y="172"/>
                  </a:moveTo>
                  <a:lnTo>
                    <a:pt x="95" y="172"/>
                  </a:lnTo>
                  <a:lnTo>
                    <a:pt x="95" y="173"/>
                  </a:lnTo>
                  <a:lnTo>
                    <a:pt x="93" y="173"/>
                  </a:lnTo>
                  <a:lnTo>
                    <a:pt x="93" y="172"/>
                  </a:lnTo>
                  <a:close/>
                  <a:moveTo>
                    <a:pt x="258" y="286"/>
                  </a:moveTo>
                  <a:lnTo>
                    <a:pt x="258" y="287"/>
                  </a:lnTo>
                  <a:lnTo>
                    <a:pt x="258" y="286"/>
                  </a:lnTo>
                  <a:close/>
                  <a:moveTo>
                    <a:pt x="217" y="204"/>
                  </a:moveTo>
                  <a:lnTo>
                    <a:pt x="219" y="204"/>
                  </a:lnTo>
                  <a:lnTo>
                    <a:pt x="219" y="206"/>
                  </a:lnTo>
                  <a:lnTo>
                    <a:pt x="217" y="206"/>
                  </a:lnTo>
                  <a:lnTo>
                    <a:pt x="217" y="204"/>
                  </a:lnTo>
                  <a:close/>
                  <a:moveTo>
                    <a:pt x="212" y="276"/>
                  </a:moveTo>
                  <a:lnTo>
                    <a:pt x="212" y="277"/>
                  </a:lnTo>
                  <a:lnTo>
                    <a:pt x="212" y="279"/>
                  </a:lnTo>
                  <a:lnTo>
                    <a:pt x="211" y="279"/>
                  </a:lnTo>
                  <a:lnTo>
                    <a:pt x="211" y="277"/>
                  </a:lnTo>
                  <a:lnTo>
                    <a:pt x="211" y="276"/>
                  </a:lnTo>
                  <a:lnTo>
                    <a:pt x="212" y="276"/>
                  </a:lnTo>
                  <a:lnTo>
                    <a:pt x="212" y="272"/>
                  </a:lnTo>
                  <a:lnTo>
                    <a:pt x="212" y="274"/>
                  </a:lnTo>
                  <a:lnTo>
                    <a:pt x="212" y="276"/>
                  </a:lnTo>
                  <a:close/>
                  <a:moveTo>
                    <a:pt x="177" y="235"/>
                  </a:moveTo>
                  <a:lnTo>
                    <a:pt x="178" y="235"/>
                  </a:lnTo>
                  <a:lnTo>
                    <a:pt x="178" y="236"/>
                  </a:lnTo>
                  <a:lnTo>
                    <a:pt x="177" y="236"/>
                  </a:lnTo>
                  <a:lnTo>
                    <a:pt x="177" y="235"/>
                  </a:lnTo>
                  <a:close/>
                  <a:moveTo>
                    <a:pt x="126" y="39"/>
                  </a:moveTo>
                  <a:lnTo>
                    <a:pt x="127" y="39"/>
                  </a:lnTo>
                  <a:lnTo>
                    <a:pt x="127" y="41"/>
                  </a:lnTo>
                  <a:lnTo>
                    <a:pt x="126" y="41"/>
                  </a:lnTo>
                  <a:lnTo>
                    <a:pt x="126" y="39"/>
                  </a:lnTo>
                  <a:close/>
                  <a:moveTo>
                    <a:pt x="163" y="143"/>
                  </a:moveTo>
                  <a:lnTo>
                    <a:pt x="165" y="143"/>
                  </a:lnTo>
                  <a:lnTo>
                    <a:pt x="165" y="145"/>
                  </a:lnTo>
                  <a:lnTo>
                    <a:pt x="163" y="145"/>
                  </a:lnTo>
                  <a:lnTo>
                    <a:pt x="163" y="143"/>
                  </a:lnTo>
                  <a:close/>
                  <a:moveTo>
                    <a:pt x="394" y="417"/>
                  </a:moveTo>
                  <a:lnTo>
                    <a:pt x="394" y="418"/>
                  </a:lnTo>
                  <a:lnTo>
                    <a:pt x="394" y="417"/>
                  </a:lnTo>
                  <a:close/>
                  <a:moveTo>
                    <a:pt x="107" y="189"/>
                  </a:moveTo>
                  <a:lnTo>
                    <a:pt x="109" y="189"/>
                  </a:lnTo>
                  <a:lnTo>
                    <a:pt x="109" y="190"/>
                  </a:lnTo>
                  <a:lnTo>
                    <a:pt x="107" y="190"/>
                  </a:lnTo>
                  <a:lnTo>
                    <a:pt x="107" y="189"/>
                  </a:lnTo>
                  <a:close/>
                  <a:moveTo>
                    <a:pt x="238" y="255"/>
                  </a:moveTo>
                  <a:lnTo>
                    <a:pt x="240" y="255"/>
                  </a:lnTo>
                  <a:lnTo>
                    <a:pt x="240" y="257"/>
                  </a:lnTo>
                  <a:lnTo>
                    <a:pt x="238" y="257"/>
                  </a:lnTo>
                  <a:lnTo>
                    <a:pt x="238" y="255"/>
                  </a:lnTo>
                  <a:close/>
                  <a:moveTo>
                    <a:pt x="284" y="221"/>
                  </a:moveTo>
                  <a:lnTo>
                    <a:pt x="284" y="219"/>
                  </a:lnTo>
                  <a:lnTo>
                    <a:pt x="282" y="219"/>
                  </a:lnTo>
                  <a:lnTo>
                    <a:pt x="280" y="219"/>
                  </a:lnTo>
                  <a:lnTo>
                    <a:pt x="282" y="219"/>
                  </a:lnTo>
                  <a:lnTo>
                    <a:pt x="284" y="219"/>
                  </a:lnTo>
                  <a:lnTo>
                    <a:pt x="284" y="221"/>
                  </a:lnTo>
                  <a:close/>
                  <a:moveTo>
                    <a:pt x="132" y="107"/>
                  </a:moveTo>
                  <a:lnTo>
                    <a:pt x="134" y="107"/>
                  </a:lnTo>
                  <a:lnTo>
                    <a:pt x="134" y="109"/>
                  </a:lnTo>
                  <a:lnTo>
                    <a:pt x="132" y="109"/>
                  </a:lnTo>
                  <a:lnTo>
                    <a:pt x="132" y="107"/>
                  </a:lnTo>
                  <a:close/>
                  <a:moveTo>
                    <a:pt x="319" y="279"/>
                  </a:moveTo>
                  <a:lnTo>
                    <a:pt x="321" y="279"/>
                  </a:lnTo>
                  <a:lnTo>
                    <a:pt x="319" y="279"/>
                  </a:lnTo>
                  <a:close/>
                  <a:moveTo>
                    <a:pt x="1047" y="531"/>
                  </a:moveTo>
                  <a:lnTo>
                    <a:pt x="1049" y="531"/>
                  </a:lnTo>
                  <a:lnTo>
                    <a:pt x="1047" y="531"/>
                  </a:lnTo>
                  <a:close/>
                  <a:moveTo>
                    <a:pt x="321" y="279"/>
                  </a:moveTo>
                  <a:lnTo>
                    <a:pt x="323" y="279"/>
                  </a:lnTo>
                  <a:lnTo>
                    <a:pt x="321" y="279"/>
                  </a:lnTo>
                  <a:close/>
                  <a:moveTo>
                    <a:pt x="1028" y="544"/>
                  </a:moveTo>
                  <a:lnTo>
                    <a:pt x="1028" y="546"/>
                  </a:lnTo>
                  <a:lnTo>
                    <a:pt x="1028" y="544"/>
                  </a:lnTo>
                  <a:close/>
                  <a:moveTo>
                    <a:pt x="212" y="277"/>
                  </a:moveTo>
                  <a:lnTo>
                    <a:pt x="212" y="279"/>
                  </a:lnTo>
                  <a:lnTo>
                    <a:pt x="212" y="277"/>
                  </a:lnTo>
                  <a:close/>
                  <a:moveTo>
                    <a:pt x="240" y="267"/>
                  </a:moveTo>
                  <a:lnTo>
                    <a:pt x="240" y="269"/>
                  </a:lnTo>
                  <a:lnTo>
                    <a:pt x="240" y="267"/>
                  </a:lnTo>
                  <a:close/>
                  <a:moveTo>
                    <a:pt x="1067" y="434"/>
                  </a:moveTo>
                  <a:lnTo>
                    <a:pt x="1069" y="434"/>
                  </a:lnTo>
                  <a:lnTo>
                    <a:pt x="1069" y="437"/>
                  </a:lnTo>
                  <a:lnTo>
                    <a:pt x="1067" y="437"/>
                  </a:lnTo>
                  <a:lnTo>
                    <a:pt x="1067" y="434"/>
                  </a:lnTo>
                  <a:close/>
                  <a:moveTo>
                    <a:pt x="262" y="303"/>
                  </a:moveTo>
                  <a:lnTo>
                    <a:pt x="263" y="303"/>
                  </a:lnTo>
                  <a:lnTo>
                    <a:pt x="263" y="304"/>
                  </a:lnTo>
                  <a:lnTo>
                    <a:pt x="262" y="304"/>
                  </a:lnTo>
                  <a:lnTo>
                    <a:pt x="262" y="303"/>
                  </a:lnTo>
                  <a:close/>
                  <a:moveTo>
                    <a:pt x="183" y="156"/>
                  </a:moveTo>
                  <a:lnTo>
                    <a:pt x="185" y="156"/>
                  </a:lnTo>
                  <a:lnTo>
                    <a:pt x="185" y="158"/>
                  </a:lnTo>
                  <a:lnTo>
                    <a:pt x="183" y="158"/>
                  </a:lnTo>
                  <a:lnTo>
                    <a:pt x="183" y="156"/>
                  </a:lnTo>
                  <a:close/>
                  <a:moveTo>
                    <a:pt x="1016" y="529"/>
                  </a:moveTo>
                  <a:lnTo>
                    <a:pt x="1018" y="529"/>
                  </a:lnTo>
                  <a:lnTo>
                    <a:pt x="1018" y="532"/>
                  </a:lnTo>
                  <a:lnTo>
                    <a:pt x="1016" y="532"/>
                  </a:lnTo>
                  <a:lnTo>
                    <a:pt x="1016" y="529"/>
                  </a:lnTo>
                  <a:close/>
                  <a:moveTo>
                    <a:pt x="1040" y="503"/>
                  </a:moveTo>
                  <a:lnTo>
                    <a:pt x="1042" y="503"/>
                  </a:lnTo>
                  <a:lnTo>
                    <a:pt x="1040" y="503"/>
                  </a:lnTo>
                  <a:close/>
                  <a:moveTo>
                    <a:pt x="211" y="286"/>
                  </a:moveTo>
                  <a:lnTo>
                    <a:pt x="212" y="286"/>
                  </a:lnTo>
                  <a:lnTo>
                    <a:pt x="211" y="286"/>
                  </a:lnTo>
                  <a:close/>
                  <a:moveTo>
                    <a:pt x="212" y="272"/>
                  </a:moveTo>
                  <a:lnTo>
                    <a:pt x="212" y="274"/>
                  </a:lnTo>
                  <a:lnTo>
                    <a:pt x="212" y="272"/>
                  </a:lnTo>
                  <a:close/>
                  <a:moveTo>
                    <a:pt x="353" y="313"/>
                  </a:moveTo>
                  <a:lnTo>
                    <a:pt x="357" y="313"/>
                  </a:lnTo>
                  <a:lnTo>
                    <a:pt x="357" y="315"/>
                  </a:lnTo>
                  <a:lnTo>
                    <a:pt x="353" y="315"/>
                  </a:lnTo>
                  <a:lnTo>
                    <a:pt x="353" y="313"/>
                  </a:lnTo>
                  <a:close/>
                  <a:moveTo>
                    <a:pt x="76" y="87"/>
                  </a:moveTo>
                  <a:lnTo>
                    <a:pt x="76" y="88"/>
                  </a:lnTo>
                  <a:lnTo>
                    <a:pt x="76" y="87"/>
                  </a:lnTo>
                  <a:close/>
                  <a:moveTo>
                    <a:pt x="212" y="276"/>
                  </a:moveTo>
                  <a:lnTo>
                    <a:pt x="212" y="277"/>
                  </a:lnTo>
                  <a:lnTo>
                    <a:pt x="212" y="276"/>
                  </a:lnTo>
                  <a:close/>
                  <a:moveTo>
                    <a:pt x="212" y="274"/>
                  </a:moveTo>
                  <a:lnTo>
                    <a:pt x="212" y="276"/>
                  </a:lnTo>
                  <a:lnTo>
                    <a:pt x="212" y="274"/>
                  </a:lnTo>
                  <a:close/>
                  <a:moveTo>
                    <a:pt x="209" y="296"/>
                  </a:moveTo>
                  <a:lnTo>
                    <a:pt x="211" y="296"/>
                  </a:lnTo>
                  <a:lnTo>
                    <a:pt x="209" y="296"/>
                  </a:lnTo>
                  <a:close/>
                  <a:moveTo>
                    <a:pt x="364" y="316"/>
                  </a:moveTo>
                  <a:lnTo>
                    <a:pt x="365" y="316"/>
                  </a:lnTo>
                  <a:lnTo>
                    <a:pt x="364" y="316"/>
                  </a:lnTo>
                  <a:close/>
                  <a:moveTo>
                    <a:pt x="1066" y="425"/>
                  </a:moveTo>
                  <a:lnTo>
                    <a:pt x="1066" y="427"/>
                  </a:lnTo>
                  <a:lnTo>
                    <a:pt x="1066" y="425"/>
                  </a:lnTo>
                  <a:close/>
                  <a:moveTo>
                    <a:pt x="139" y="187"/>
                  </a:moveTo>
                  <a:lnTo>
                    <a:pt x="139" y="189"/>
                  </a:lnTo>
                  <a:lnTo>
                    <a:pt x="139" y="187"/>
                  </a:lnTo>
                  <a:close/>
                  <a:moveTo>
                    <a:pt x="212" y="284"/>
                  </a:moveTo>
                  <a:lnTo>
                    <a:pt x="212" y="286"/>
                  </a:lnTo>
                  <a:lnTo>
                    <a:pt x="212" y="284"/>
                  </a:lnTo>
                  <a:close/>
                  <a:moveTo>
                    <a:pt x="336" y="291"/>
                  </a:moveTo>
                  <a:lnTo>
                    <a:pt x="338" y="291"/>
                  </a:lnTo>
                  <a:lnTo>
                    <a:pt x="338" y="293"/>
                  </a:lnTo>
                  <a:lnTo>
                    <a:pt x="336" y="293"/>
                  </a:lnTo>
                  <a:lnTo>
                    <a:pt x="336" y="291"/>
                  </a:lnTo>
                  <a:close/>
                  <a:moveTo>
                    <a:pt x="175" y="226"/>
                  </a:moveTo>
                  <a:lnTo>
                    <a:pt x="177" y="226"/>
                  </a:lnTo>
                  <a:lnTo>
                    <a:pt x="175" y="226"/>
                  </a:lnTo>
                  <a:close/>
                  <a:moveTo>
                    <a:pt x="211" y="286"/>
                  </a:moveTo>
                  <a:lnTo>
                    <a:pt x="212" y="286"/>
                  </a:lnTo>
                  <a:lnTo>
                    <a:pt x="212" y="287"/>
                  </a:lnTo>
                  <a:lnTo>
                    <a:pt x="211" y="287"/>
                  </a:lnTo>
                  <a:lnTo>
                    <a:pt x="211" y="286"/>
                  </a:lnTo>
                  <a:close/>
                  <a:moveTo>
                    <a:pt x="163" y="146"/>
                  </a:moveTo>
                  <a:lnTo>
                    <a:pt x="165" y="146"/>
                  </a:lnTo>
                  <a:lnTo>
                    <a:pt x="163" y="146"/>
                  </a:lnTo>
                  <a:close/>
                  <a:moveTo>
                    <a:pt x="1022" y="522"/>
                  </a:moveTo>
                  <a:lnTo>
                    <a:pt x="1022" y="524"/>
                  </a:lnTo>
                  <a:lnTo>
                    <a:pt x="1022" y="522"/>
                  </a:lnTo>
                  <a:close/>
                  <a:moveTo>
                    <a:pt x="899" y="527"/>
                  </a:moveTo>
                  <a:lnTo>
                    <a:pt x="901" y="527"/>
                  </a:lnTo>
                  <a:lnTo>
                    <a:pt x="901" y="529"/>
                  </a:lnTo>
                  <a:lnTo>
                    <a:pt x="899" y="529"/>
                  </a:lnTo>
                  <a:lnTo>
                    <a:pt x="899" y="527"/>
                  </a:lnTo>
                  <a:close/>
                  <a:moveTo>
                    <a:pt x="267" y="209"/>
                  </a:moveTo>
                  <a:lnTo>
                    <a:pt x="267" y="211"/>
                  </a:lnTo>
                  <a:lnTo>
                    <a:pt x="267" y="209"/>
                  </a:lnTo>
                  <a:close/>
                  <a:moveTo>
                    <a:pt x="347" y="304"/>
                  </a:moveTo>
                  <a:lnTo>
                    <a:pt x="348" y="304"/>
                  </a:lnTo>
                  <a:lnTo>
                    <a:pt x="347" y="304"/>
                  </a:lnTo>
                  <a:close/>
                  <a:moveTo>
                    <a:pt x="182" y="156"/>
                  </a:moveTo>
                  <a:lnTo>
                    <a:pt x="183" y="156"/>
                  </a:lnTo>
                  <a:lnTo>
                    <a:pt x="182" y="156"/>
                  </a:lnTo>
                  <a:close/>
                  <a:moveTo>
                    <a:pt x="253" y="187"/>
                  </a:moveTo>
                  <a:lnTo>
                    <a:pt x="255" y="187"/>
                  </a:lnTo>
                  <a:lnTo>
                    <a:pt x="255" y="189"/>
                  </a:lnTo>
                  <a:lnTo>
                    <a:pt x="253" y="189"/>
                  </a:lnTo>
                  <a:lnTo>
                    <a:pt x="253" y="187"/>
                  </a:lnTo>
                  <a:close/>
                  <a:moveTo>
                    <a:pt x="284" y="223"/>
                  </a:moveTo>
                  <a:lnTo>
                    <a:pt x="285" y="223"/>
                  </a:lnTo>
                  <a:lnTo>
                    <a:pt x="284" y="223"/>
                  </a:lnTo>
                  <a:close/>
                  <a:moveTo>
                    <a:pt x="401" y="362"/>
                  </a:moveTo>
                  <a:lnTo>
                    <a:pt x="401" y="364"/>
                  </a:lnTo>
                  <a:lnTo>
                    <a:pt x="401" y="362"/>
                  </a:lnTo>
                  <a:close/>
                  <a:moveTo>
                    <a:pt x="141" y="187"/>
                  </a:moveTo>
                  <a:lnTo>
                    <a:pt x="141" y="189"/>
                  </a:lnTo>
                  <a:lnTo>
                    <a:pt x="141" y="187"/>
                  </a:lnTo>
                  <a:close/>
                  <a:moveTo>
                    <a:pt x="908" y="522"/>
                  </a:moveTo>
                  <a:lnTo>
                    <a:pt x="909" y="522"/>
                  </a:lnTo>
                  <a:lnTo>
                    <a:pt x="908" y="522"/>
                  </a:lnTo>
                  <a:close/>
                  <a:moveTo>
                    <a:pt x="319" y="277"/>
                  </a:moveTo>
                  <a:lnTo>
                    <a:pt x="319" y="279"/>
                  </a:lnTo>
                  <a:lnTo>
                    <a:pt x="319" y="277"/>
                  </a:lnTo>
                  <a:close/>
                  <a:moveTo>
                    <a:pt x="1042" y="490"/>
                  </a:moveTo>
                  <a:lnTo>
                    <a:pt x="1042" y="492"/>
                  </a:lnTo>
                  <a:lnTo>
                    <a:pt x="1042" y="490"/>
                  </a:lnTo>
                  <a:close/>
                  <a:moveTo>
                    <a:pt x="622" y="594"/>
                  </a:moveTo>
                  <a:lnTo>
                    <a:pt x="624" y="594"/>
                  </a:lnTo>
                  <a:lnTo>
                    <a:pt x="622" y="594"/>
                  </a:lnTo>
                  <a:close/>
                  <a:moveTo>
                    <a:pt x="258" y="289"/>
                  </a:moveTo>
                  <a:lnTo>
                    <a:pt x="258" y="291"/>
                  </a:lnTo>
                  <a:lnTo>
                    <a:pt x="258" y="289"/>
                  </a:lnTo>
                  <a:close/>
                  <a:moveTo>
                    <a:pt x="365" y="320"/>
                  </a:moveTo>
                  <a:lnTo>
                    <a:pt x="367" y="320"/>
                  </a:lnTo>
                  <a:lnTo>
                    <a:pt x="365" y="320"/>
                  </a:lnTo>
                  <a:close/>
                  <a:moveTo>
                    <a:pt x="1062" y="429"/>
                  </a:moveTo>
                  <a:lnTo>
                    <a:pt x="1064" y="429"/>
                  </a:lnTo>
                  <a:lnTo>
                    <a:pt x="1062" y="429"/>
                  </a:lnTo>
                  <a:close/>
                  <a:moveTo>
                    <a:pt x="343" y="296"/>
                  </a:moveTo>
                  <a:lnTo>
                    <a:pt x="343" y="298"/>
                  </a:lnTo>
                  <a:lnTo>
                    <a:pt x="343" y="296"/>
                  </a:lnTo>
                  <a:close/>
                  <a:moveTo>
                    <a:pt x="224" y="320"/>
                  </a:moveTo>
                  <a:lnTo>
                    <a:pt x="226" y="320"/>
                  </a:lnTo>
                  <a:lnTo>
                    <a:pt x="226" y="321"/>
                  </a:lnTo>
                  <a:lnTo>
                    <a:pt x="224" y="321"/>
                  </a:lnTo>
                  <a:lnTo>
                    <a:pt x="224" y="320"/>
                  </a:lnTo>
                  <a:close/>
                  <a:moveTo>
                    <a:pt x="364" y="318"/>
                  </a:moveTo>
                  <a:lnTo>
                    <a:pt x="365" y="318"/>
                  </a:lnTo>
                  <a:lnTo>
                    <a:pt x="364" y="318"/>
                  </a:lnTo>
                  <a:close/>
                </a:path>
              </a:pathLst>
            </a:custGeom>
            <a:solidFill>
              <a:schemeClr val="accent1"/>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
        <p:nvSpPr>
          <p:cNvPr id="3" name="Rectangle 5">
            <a:extLst>
              <a:ext uri="{FF2B5EF4-FFF2-40B4-BE49-F238E27FC236}">
                <a16:creationId xmlns:a16="http://schemas.microsoft.com/office/drawing/2014/main" id="{6266A7E2-9001-6B29-3C07-96F3E092AEB6}"/>
              </a:ext>
            </a:extLst>
          </p:cNvPr>
          <p:cNvSpPr txBox="1">
            <a:spLocks/>
          </p:cNvSpPr>
          <p:nvPr>
            <p:custDataLst>
              <p:tags r:id="rId8"/>
            </p:custDataLst>
          </p:nvPr>
        </p:nvSpPr>
        <p:spPr>
          <a:xfrm>
            <a:off x="346074" y="5064759"/>
            <a:ext cx="5524265" cy="1296355"/>
          </a:xfrm>
          <a:prstGeom prst="rect">
            <a:avLst/>
          </a:prstGeom>
          <a:noFill/>
          <a:ln w="6350">
            <a:solidFill>
              <a:schemeClr val="accent1"/>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C9A319"/>
              </a:buClr>
              <a:buSzTx/>
              <a:buFontTx/>
              <a:buNone/>
              <a:tabLst/>
              <a:defRPr/>
            </a:pPr>
            <a:endParaRPr kumimoji="0" lang="en-CA" sz="1200" b="0" i="0" u="none" strike="noStrike" kern="1200" cap="none" spc="0" normalizeH="0" baseline="0" noProof="0" dirty="0">
              <a:ln>
                <a:noFill/>
              </a:ln>
              <a:solidFill>
                <a:srgbClr val="FF0000"/>
              </a:solidFill>
              <a:effectLst/>
              <a:uLnTx/>
              <a:uFillTx/>
              <a:latin typeface="Calibri" panose="020F0502020204030204" pitchFamily="34" charset="0"/>
              <a:ea typeface="ＭＳ Ｐゴシック"/>
              <a:cs typeface="Calibri" panose="020F0502020204030204" pitchFamily="34" charset="0"/>
            </a:endParaRPr>
          </a:p>
        </p:txBody>
      </p:sp>
      <p:sp>
        <p:nvSpPr>
          <p:cNvPr id="4" name="Rectangle 5">
            <a:extLst>
              <a:ext uri="{FF2B5EF4-FFF2-40B4-BE49-F238E27FC236}">
                <a16:creationId xmlns:a16="http://schemas.microsoft.com/office/drawing/2014/main" id="{F267D495-63CF-361A-3DA9-C11BA073F78C}"/>
              </a:ext>
            </a:extLst>
          </p:cNvPr>
          <p:cNvSpPr txBox="1">
            <a:spLocks/>
          </p:cNvSpPr>
          <p:nvPr>
            <p:custDataLst>
              <p:tags r:id="rId9"/>
            </p:custDataLst>
          </p:nvPr>
        </p:nvSpPr>
        <p:spPr>
          <a:xfrm>
            <a:off x="6197600" y="5064759"/>
            <a:ext cx="5689601" cy="1296355"/>
          </a:xfrm>
          <a:prstGeom prst="rect">
            <a:avLst/>
          </a:prstGeom>
          <a:noFill/>
          <a:ln w="6350">
            <a:solidFill>
              <a:schemeClr val="accent1"/>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C9A319"/>
              </a:buClr>
              <a:buSzTx/>
              <a:buFontTx/>
              <a:buNone/>
              <a:tabLst/>
              <a:defRPr/>
            </a:pPr>
            <a:endParaRPr kumimoji="0" lang="en-CA" sz="1200" b="0" i="0" u="none" strike="noStrike" kern="1200" cap="none" spc="0" normalizeH="0" baseline="0" noProof="0" dirty="0">
              <a:ln>
                <a:noFill/>
              </a:ln>
              <a:solidFill>
                <a:srgbClr val="FF0000"/>
              </a:solidFill>
              <a:effectLst/>
              <a:uLnTx/>
              <a:uFillTx/>
              <a:latin typeface="Calibri" panose="020F0502020204030204" pitchFamily="34" charset="0"/>
              <a:ea typeface="ＭＳ Ｐゴシック"/>
              <a:cs typeface="Calibri" panose="020F0502020204030204" pitchFamily="34" charset="0"/>
            </a:endParaRPr>
          </a:p>
        </p:txBody>
      </p:sp>
      <p:sp>
        <p:nvSpPr>
          <p:cNvPr id="11" name="AutoShape 250">
            <a:extLst>
              <a:ext uri="{FF2B5EF4-FFF2-40B4-BE49-F238E27FC236}">
                <a16:creationId xmlns:a16="http://schemas.microsoft.com/office/drawing/2014/main" id="{E3E62042-1C7D-6E72-DFA1-CC382E99C984}"/>
              </a:ext>
            </a:extLst>
          </p:cNvPr>
          <p:cNvSpPr>
            <a:spLocks noChangeArrowheads="1"/>
          </p:cNvSpPr>
          <p:nvPr/>
        </p:nvSpPr>
        <p:spPr bwMode="auto">
          <a:xfrm>
            <a:off x="429449" y="5337175"/>
            <a:ext cx="5195032" cy="153888"/>
          </a:xfrm>
          <a:prstGeom prst="leftRightArrow">
            <a:avLst>
              <a:gd name="adj1" fmla="val 100000"/>
              <a:gd name="adj2" fmla="val 0"/>
            </a:avLst>
          </a:prstGeom>
          <a:noFill/>
          <a:ln w="9525">
            <a:noFill/>
            <a:miter lim="800000"/>
            <a:headEnd/>
            <a:tailEnd/>
          </a:ln>
          <a:effectLst/>
        </p:spPr>
        <p:txBody>
          <a:bodyPr vert="horz" wrap="square" lIns="0" tIns="0" rIns="0" bIns="0" numCol="1" anchor="ctr" anchorCtr="0" compatLnSpc="1">
            <a:prstTxWarp prst="textNoShape">
              <a:avLst/>
            </a:prstTxWarp>
            <a:spAutoFit/>
          </a:body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Contribution of mining to national GDP, </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a:t>
            </a:r>
          </a:p>
        </p:txBody>
      </p:sp>
      <p:sp>
        <p:nvSpPr>
          <p:cNvPr id="12" name="Rectangle 8">
            <a:extLst>
              <a:ext uri="{FF2B5EF4-FFF2-40B4-BE49-F238E27FC236}">
                <a16:creationId xmlns:a16="http://schemas.microsoft.com/office/drawing/2014/main" id="{069D3604-E42D-B65D-094C-6B06728B32FC}"/>
              </a:ext>
            </a:extLst>
          </p:cNvPr>
          <p:cNvSpPr txBox="1">
            <a:spLocks/>
          </p:cNvSpPr>
          <p:nvPr>
            <p:custDataLst>
              <p:tags r:id="rId10"/>
            </p:custDataLst>
          </p:nvPr>
        </p:nvSpPr>
        <p:spPr>
          <a:xfrm>
            <a:off x="429449" y="5097205"/>
            <a:ext cx="5195032" cy="184666"/>
          </a:xfrm>
          <a:prstGeom prst="rect">
            <a:avLst/>
          </a:prstGeom>
          <a:noFill/>
          <a:ln w="9525">
            <a:noFill/>
            <a:miter lim="800000"/>
            <a:headEnd/>
            <a:tailEnd/>
          </a:ln>
          <a:effectLst/>
        </p:spPr>
        <p:txBody>
          <a:bodyPr vert="horz" wrap="square" lIns="0" tIns="0" rIns="0" bIns="0" numCol="1" anchor="ctr"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Mining corresponds to ~1.2% of the country’s GDP</a:t>
            </a:r>
            <a:endParaRPr kumimoji="0" lang="en-CA" sz="12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4" name="Rectangle 8">
            <a:extLst>
              <a:ext uri="{FF2B5EF4-FFF2-40B4-BE49-F238E27FC236}">
                <a16:creationId xmlns:a16="http://schemas.microsoft.com/office/drawing/2014/main" id="{144AD97C-8781-8986-AA21-CCB7A83D9A62}"/>
              </a:ext>
            </a:extLst>
          </p:cNvPr>
          <p:cNvSpPr txBox="1">
            <a:spLocks/>
          </p:cNvSpPr>
          <p:nvPr>
            <p:custDataLst>
              <p:tags r:id="rId11"/>
            </p:custDataLst>
          </p:nvPr>
        </p:nvSpPr>
        <p:spPr>
          <a:xfrm>
            <a:off x="6300402" y="5097205"/>
            <a:ext cx="5483996" cy="184666"/>
          </a:xfrm>
          <a:prstGeom prst="rect">
            <a:avLst/>
          </a:prstGeom>
          <a:noFill/>
          <a:ln w="9525">
            <a:noFill/>
            <a:miter lim="800000"/>
            <a:headEnd/>
            <a:tailEnd/>
          </a:ln>
          <a:effectLst/>
        </p:spPr>
        <p:txBody>
          <a:bodyPr vert="horz" wrap="square" lIns="0" tIns="0" rIns="0" bIns="0" numCol="1" anchor="ctr"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CA" sz="12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Over half of Mexican gold is mines in states of Sonora and Zacatecas</a:t>
            </a:r>
          </a:p>
        </p:txBody>
      </p:sp>
      <p:sp>
        <p:nvSpPr>
          <p:cNvPr id="18" name="Rectangle 17">
            <a:extLst>
              <a:ext uri="{FF2B5EF4-FFF2-40B4-BE49-F238E27FC236}">
                <a16:creationId xmlns:a16="http://schemas.microsoft.com/office/drawing/2014/main" id="{2AF65BE1-4DF4-A73D-9365-EB0D3EF77229}"/>
              </a:ext>
            </a:extLst>
          </p:cNvPr>
          <p:cNvSpPr/>
          <p:nvPr>
            <p:custDataLst>
              <p:tags r:id="rId12"/>
            </p:custDataLst>
          </p:nvPr>
        </p:nvSpPr>
        <p:spPr bwMode="auto">
          <a:xfrm>
            <a:off x="3868739" y="5308600"/>
            <a:ext cx="123825" cy="123825"/>
          </a:xfrm>
          <a:prstGeom prst="rect">
            <a:avLst/>
          </a:prstGeom>
          <a:solidFill>
            <a:schemeClr val="accent3"/>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pt-BR" sz="1600" b="0" i="0" u="none" strike="noStrike" kern="1200" cap="none" spc="0" normalizeH="0" baseline="0" noProof="0" dirty="0" err="1">
              <a:ln>
                <a:noFill/>
              </a:ln>
              <a:solidFill>
                <a:srgbClr val="FFFFFF"/>
              </a:solidFill>
              <a:effectLst/>
              <a:uLnTx/>
              <a:uFillTx/>
              <a:latin typeface="Calibri" panose="020F0502020204030204" pitchFamily="34" charset="0"/>
              <a:ea typeface="+mn-ea"/>
              <a:cs typeface="+mn-cs"/>
            </a:endParaRPr>
          </a:p>
        </p:txBody>
      </p:sp>
      <p:sp>
        <p:nvSpPr>
          <p:cNvPr id="17" name="Rectangle 16">
            <a:extLst>
              <a:ext uri="{FF2B5EF4-FFF2-40B4-BE49-F238E27FC236}">
                <a16:creationId xmlns:a16="http://schemas.microsoft.com/office/drawing/2014/main" id="{BCE18761-8758-7EBB-0A6F-C88DC152C475}"/>
              </a:ext>
            </a:extLst>
          </p:cNvPr>
          <p:cNvSpPr/>
          <p:nvPr>
            <p:custDataLst>
              <p:tags r:id="rId13"/>
            </p:custDataLst>
          </p:nvPr>
        </p:nvSpPr>
        <p:spPr bwMode="auto">
          <a:xfrm>
            <a:off x="4710114" y="5308600"/>
            <a:ext cx="123825" cy="123825"/>
          </a:xfrm>
          <a:prstGeom prst="rect">
            <a:avLst/>
          </a:prstGeom>
          <a:solidFill>
            <a:schemeClr val="accent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9" name="Text Placeholder 2">
            <a:extLst>
              <a:ext uri="{FF2B5EF4-FFF2-40B4-BE49-F238E27FC236}">
                <a16:creationId xmlns:a16="http://schemas.microsoft.com/office/drawing/2014/main" id="{89E29BB4-7A09-DB41-A7F3-67762EBA0C9A}"/>
              </a:ext>
            </a:extLst>
          </p:cNvPr>
          <p:cNvSpPr>
            <a:spLocks noGrp="1"/>
          </p:cNvSpPr>
          <p:nvPr>
            <p:custDataLst>
              <p:tags r:id="rId14"/>
            </p:custDataLst>
          </p:nvPr>
        </p:nvSpPr>
        <p:spPr bwMode="auto">
          <a:xfrm>
            <a:off x="4043363" y="5307013"/>
            <a:ext cx="5651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A2947F2D-1410-43AE-9825-237267973DF9}" type="datetime'''G''o''l''''''d'''''' m''in''''''''''''''i''n''''''''''g'">
              <a:rPr kumimoji="0" lang="pt-BR" altLang="en-US" sz="900" b="0" i="0" u="none" strike="noStrike" kern="1200" cap="none" spc="0" normalizeH="0" baseline="0" noProof="0" smtClean="0">
                <a:ln>
                  <a:noFill/>
                </a:ln>
                <a:solidFill>
                  <a:srgbClr val="000000"/>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Gold mining</a:t>
            </a:fld>
            <a:endParaRPr kumimoji="0" lang="pt-BR" sz="9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endParaRPr>
          </a:p>
        </p:txBody>
      </p:sp>
      <p:sp>
        <p:nvSpPr>
          <p:cNvPr id="27" name="Text Placeholder 2">
            <a:extLst>
              <a:ext uri="{FF2B5EF4-FFF2-40B4-BE49-F238E27FC236}">
                <a16:creationId xmlns:a16="http://schemas.microsoft.com/office/drawing/2014/main" id="{8E7BC9FA-944A-CB04-5CF4-7C0151842384}"/>
              </a:ext>
            </a:extLst>
          </p:cNvPr>
          <p:cNvSpPr>
            <a:spLocks noGrp="1"/>
          </p:cNvSpPr>
          <p:nvPr>
            <p:custDataLst>
              <p:tags r:id="rId15"/>
            </p:custDataLst>
          </p:nvPr>
        </p:nvSpPr>
        <p:spPr bwMode="auto">
          <a:xfrm>
            <a:off x="4884738" y="5307013"/>
            <a:ext cx="6175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74C2180D-4A8F-4199-9B09-353BC77F339E}" type="datetime'''''''''''''''Oth''er'''' ''''m''''''ini''''''n''''g'''">
              <a:rPr kumimoji="0" lang="pt-BR" altLang="en-US" sz="900" b="0" i="0" u="none" strike="noStrike" kern="1200" cap="none" spc="0" normalizeH="0" baseline="0" noProof="0" smtClean="0">
                <a:ln>
                  <a:noFill/>
                </a:ln>
                <a:solidFill>
                  <a:srgbClr val="000000"/>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Other mining</a:t>
            </a:fld>
            <a:endParaRPr kumimoji="0" lang="pt-BR" sz="9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endParaRPr>
          </a:p>
        </p:txBody>
      </p:sp>
      <p:graphicFrame>
        <p:nvGraphicFramePr>
          <p:cNvPr id="28" name="Chart 27">
            <a:extLst>
              <a:ext uri="{FF2B5EF4-FFF2-40B4-BE49-F238E27FC236}">
                <a16:creationId xmlns:a16="http://schemas.microsoft.com/office/drawing/2014/main" id="{CB13140C-7103-8F8E-63E2-8088591A34BE}"/>
              </a:ext>
            </a:extLst>
          </p:cNvPr>
          <p:cNvGraphicFramePr/>
          <p:nvPr>
            <p:custDataLst>
              <p:tags r:id="rId16"/>
            </p:custDataLst>
            <p:extLst>
              <p:ext uri="{D42A27DB-BD31-4B8C-83A1-F6EECF244321}">
                <p14:modId xmlns:p14="http://schemas.microsoft.com/office/powerpoint/2010/main" val="2582957948"/>
              </p:ext>
            </p:extLst>
          </p:nvPr>
        </p:nvGraphicFramePr>
        <p:xfrm>
          <a:off x="344488" y="5683250"/>
          <a:ext cx="5359400" cy="523875"/>
        </p:xfrm>
        <a:graphic>
          <a:graphicData uri="http://schemas.openxmlformats.org/drawingml/2006/chart">
            <c:chart xmlns:c="http://schemas.openxmlformats.org/drawingml/2006/chart" xmlns:r="http://schemas.openxmlformats.org/officeDocument/2006/relationships" r:id="rId73"/>
          </a:graphicData>
        </a:graphic>
      </p:graphicFrame>
      <p:cxnSp>
        <p:nvCxnSpPr>
          <p:cNvPr id="23" name="Straight Connector 22">
            <a:extLst>
              <a:ext uri="{FF2B5EF4-FFF2-40B4-BE49-F238E27FC236}">
                <a16:creationId xmlns:a16="http://schemas.microsoft.com/office/drawing/2014/main" id="{47AB3630-11E2-EC17-A82B-C8E3CD54C4C5}"/>
              </a:ext>
            </a:extLst>
          </p:cNvPr>
          <p:cNvCxnSpPr/>
          <p:nvPr>
            <p:custDataLst>
              <p:tags r:id="rId17"/>
            </p:custDataLst>
          </p:nvPr>
        </p:nvCxnSpPr>
        <p:spPr bwMode="auto">
          <a:xfrm flipH="1">
            <a:off x="2279650" y="5856288"/>
            <a:ext cx="920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E016378-4AF2-14D6-2ECF-6AC36CE6612C}"/>
              </a:ext>
            </a:extLst>
          </p:cNvPr>
          <p:cNvCxnSpPr/>
          <p:nvPr>
            <p:custDataLst>
              <p:tags r:id="rId18"/>
            </p:custDataLst>
          </p:nvPr>
        </p:nvCxnSpPr>
        <p:spPr bwMode="auto">
          <a:xfrm flipH="1" flipV="1">
            <a:off x="4357688" y="5826125"/>
            <a:ext cx="92075" cy="1587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2" name="Text Placeholder 2">
            <a:extLst>
              <a:ext uri="{FF2B5EF4-FFF2-40B4-BE49-F238E27FC236}">
                <a16:creationId xmlns:a16="http://schemas.microsoft.com/office/drawing/2014/main" id="{ED07450B-3BD6-3641-A9C9-D7BD29BF765C}"/>
              </a:ext>
            </a:extLst>
          </p:cNvPr>
          <p:cNvSpPr>
            <a:spLocks noGrp="1"/>
          </p:cNvSpPr>
          <p:nvPr>
            <p:custDataLst>
              <p:tags r:id="rId19"/>
            </p:custDataLst>
          </p:nvPr>
        </p:nvSpPr>
        <p:spPr bwMode="gray">
          <a:xfrm>
            <a:off x="847725" y="5794375"/>
            <a:ext cx="196850" cy="152400"/>
          </a:xfrm>
          <a:prstGeom prst="rect">
            <a:avLst/>
          </a:prstGeom>
          <a:solidFill>
            <a:schemeClr val="accent3"/>
          </a:solidFill>
          <a:ln>
            <a:noFill/>
          </a:ln>
          <a:effec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69DB6C14-548C-4AD6-ACA2-F7769532F7D4}" type="datetime'''''''0.''''''''''3'''''">
              <a:rPr kumimoji="0" lang="pt-BR" altLang="en-US" sz="1000" b="0" i="0" u="none" strike="noStrike" kern="1200" cap="none" spc="0" normalizeH="0" baseline="0" noProof="0" smtClean="0">
                <a:ln>
                  <a:noFill/>
                </a:ln>
                <a:solidFill>
                  <a:srgbClr val="FFFFFF"/>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0.3</a:t>
            </a:fld>
            <a:endParaRPr kumimoji="0" lang="pt-BR" sz="1000" b="0"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endParaRPr>
          </a:p>
        </p:txBody>
      </p:sp>
      <p:sp>
        <p:nvSpPr>
          <p:cNvPr id="29" name="Text Placeholder 2">
            <a:extLst>
              <a:ext uri="{FF2B5EF4-FFF2-40B4-BE49-F238E27FC236}">
                <a16:creationId xmlns:a16="http://schemas.microsoft.com/office/drawing/2014/main" id="{D44C37E4-BD19-98E4-8FB8-AB78453594B9}"/>
              </a:ext>
            </a:extLst>
          </p:cNvPr>
          <p:cNvSpPr>
            <a:spLocks noGrp="1"/>
          </p:cNvSpPr>
          <p:nvPr>
            <p:custDataLst>
              <p:tags r:id="rId20"/>
            </p:custDataLst>
          </p:nvPr>
        </p:nvSpPr>
        <p:spPr bwMode="auto">
          <a:xfrm>
            <a:off x="809625" y="6167438"/>
            <a:ext cx="2730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8F3F9ED1-FD39-4CEE-8B0D-DBB03765B110}" type="datetime'''''''''''''''20''''''''''''1''''''''''''''''''8'''''''''''''">
              <a:rPr kumimoji="0" lang="pt-BR" altLang="en-US" sz="1000" b="0" i="0" u="none" strike="noStrike" kern="1200" cap="none" spc="0" normalizeH="0" baseline="0" noProof="0" smtClean="0">
                <a:ln>
                  <a:noFill/>
                </a:ln>
                <a:solidFill>
                  <a:srgbClr val="000000"/>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18</a:t>
            </a:fld>
            <a:endParaRPr kumimoji="0" lang="pt-BR" sz="10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endParaRPr>
          </a:p>
        </p:txBody>
      </p:sp>
      <p:sp>
        <p:nvSpPr>
          <p:cNvPr id="79" name="Text Placeholder 2">
            <a:extLst>
              <a:ext uri="{FF2B5EF4-FFF2-40B4-BE49-F238E27FC236}">
                <a16:creationId xmlns:a16="http://schemas.microsoft.com/office/drawing/2014/main" id="{1A9523D9-FAA2-5120-228C-49D9D2F6BE8C}"/>
              </a:ext>
            </a:extLst>
          </p:cNvPr>
          <p:cNvSpPr>
            <a:spLocks noGrp="1"/>
          </p:cNvSpPr>
          <p:nvPr>
            <p:custDataLst>
              <p:tags r:id="rId21"/>
            </p:custDataLst>
          </p:nvPr>
        </p:nvSpPr>
        <p:spPr bwMode="gray">
          <a:xfrm>
            <a:off x="2371725" y="5780088"/>
            <a:ext cx="196850" cy="152400"/>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E0C2A556-B956-49CD-8E78-82370D884078}" type="datetime'''''''''''''''''''''''''''''''''''''''''''''''0''''.''''3'">
              <a:rPr kumimoji="0" lang="pt-BR" altLang="en-US" sz="1000" b="0" i="0" u="none" strike="noStrike" kern="1200" cap="none" spc="0" normalizeH="0" baseline="0" noProof="0" smtClean="0">
                <a:ln>
                  <a:noFill/>
                </a:ln>
                <a:solidFill>
                  <a:srgbClr val="FFFFFF"/>
                </a:solidFill>
                <a:effectLst/>
                <a:uLnTx/>
                <a:uFillTx/>
                <a:latin typeface="Calibri" panose="020F0502020204030204"/>
                <a:ea typeface="+mn-ea"/>
                <a:cs typeface="Calibri" panose="020F0502020204030204" pitchFamily="34" charset="0"/>
              </a:rPr>
              <a:pPr marL="0" marR="0" lvl="0" indent="0" defTabSz="914400" rtl="0" eaLnBrk="1" fontAlgn="auto" latinLnBrk="0" hangingPunct="1">
                <a:lnSpc>
                  <a:spcPct val="100000"/>
                </a:lnSpc>
                <a:spcBef>
                  <a:spcPct val="0"/>
                </a:spcBef>
                <a:spcAft>
                  <a:spcPct val="0"/>
                </a:spcAft>
                <a:buClrTx/>
                <a:buSzTx/>
                <a:buFont typeface="Arial" panose="020B0604020202020204" pitchFamily="34" charset="0"/>
                <a:buNone/>
                <a:tabLst/>
                <a:defRPr/>
              </a:pPr>
              <a:t>0.3</a:t>
            </a:fld>
            <a:endParaRPr kumimoji="0" lang="pt-BR" sz="1000" b="0"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endParaRPr>
          </a:p>
        </p:txBody>
      </p:sp>
      <p:sp>
        <p:nvSpPr>
          <p:cNvPr id="30" name="Text Placeholder 2">
            <a:extLst>
              <a:ext uri="{FF2B5EF4-FFF2-40B4-BE49-F238E27FC236}">
                <a16:creationId xmlns:a16="http://schemas.microsoft.com/office/drawing/2014/main" id="{68C88E92-4179-CC27-2974-1C69AD57BA1D}"/>
              </a:ext>
            </a:extLst>
          </p:cNvPr>
          <p:cNvSpPr>
            <a:spLocks noGrp="1"/>
          </p:cNvSpPr>
          <p:nvPr>
            <p:custDataLst>
              <p:tags r:id="rId22"/>
            </p:custDataLst>
          </p:nvPr>
        </p:nvSpPr>
        <p:spPr bwMode="auto">
          <a:xfrm>
            <a:off x="1912938" y="6167438"/>
            <a:ext cx="1428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324FEE63-9CC6-46DF-86C7-1595E3CE7155}" type="datetime'''''''''1''''''''''''''''''''''''''9'">
              <a:rPr kumimoji="0" lang="pt-BR" altLang="en-US" sz="1000" b="0" i="0" u="none" strike="noStrike" kern="1200" cap="none" spc="0" normalizeH="0" baseline="0" noProof="0" smtClean="0">
                <a:ln>
                  <a:noFill/>
                </a:ln>
                <a:solidFill>
                  <a:srgbClr val="000000"/>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19</a:t>
            </a:fld>
            <a:endParaRPr kumimoji="0" lang="pt-BR" sz="10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endParaRPr>
          </a:p>
        </p:txBody>
      </p:sp>
      <p:sp>
        <p:nvSpPr>
          <p:cNvPr id="1038" name="Text Placeholder 2">
            <a:extLst>
              <a:ext uri="{FF2B5EF4-FFF2-40B4-BE49-F238E27FC236}">
                <a16:creationId xmlns:a16="http://schemas.microsoft.com/office/drawing/2014/main" id="{3B1313B2-A4E0-0858-8C1E-94C3EC0EB4E5}"/>
              </a:ext>
            </a:extLst>
          </p:cNvPr>
          <p:cNvSpPr>
            <a:spLocks noGrp="1"/>
          </p:cNvSpPr>
          <p:nvPr>
            <p:custDataLst>
              <p:tags r:id="rId23"/>
            </p:custDataLst>
          </p:nvPr>
        </p:nvSpPr>
        <p:spPr bwMode="gray">
          <a:xfrm>
            <a:off x="2925763" y="5743575"/>
            <a:ext cx="196850" cy="152400"/>
          </a:xfrm>
          <a:prstGeom prst="rect">
            <a:avLst/>
          </a:prstGeom>
          <a:solidFill>
            <a:schemeClr val="accent3"/>
          </a:solidFill>
          <a:ln>
            <a:noFill/>
          </a:ln>
          <a:effec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B3C14EE5-D2DB-44DA-8AD6-B44060AE1800}" type="datetime'''''''''''''''''''''''''''''0''''''''''.''''''''''''''''4'''''">
              <a:rPr kumimoji="0" lang="pt-BR" altLang="en-US" sz="1000" b="0" i="0" u="none" strike="noStrike" kern="1200" cap="none" spc="0" normalizeH="0" baseline="0" noProof="0" smtClean="0">
                <a:ln>
                  <a:noFill/>
                </a:ln>
                <a:solidFill>
                  <a:srgbClr val="FFFFFF"/>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0.4</a:t>
            </a:fld>
            <a:endParaRPr kumimoji="0" lang="pt-BR" sz="1000" b="0"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endParaRPr>
          </a:p>
        </p:txBody>
      </p:sp>
      <p:sp>
        <p:nvSpPr>
          <p:cNvPr id="39" name="Text Placeholder 2">
            <a:extLst>
              <a:ext uri="{FF2B5EF4-FFF2-40B4-BE49-F238E27FC236}">
                <a16:creationId xmlns:a16="http://schemas.microsoft.com/office/drawing/2014/main" id="{BB2CFFCA-DB44-EFED-8FF4-E7D33266956A}"/>
              </a:ext>
            </a:extLst>
          </p:cNvPr>
          <p:cNvSpPr>
            <a:spLocks noGrp="1"/>
          </p:cNvSpPr>
          <p:nvPr>
            <p:custDataLst>
              <p:tags r:id="rId24"/>
            </p:custDataLst>
          </p:nvPr>
        </p:nvSpPr>
        <p:spPr bwMode="auto">
          <a:xfrm>
            <a:off x="2952750" y="6167438"/>
            <a:ext cx="1428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302E2294-9018-4368-B0E6-4C7C72043E05}" type="datetime'''''''''''''''''''''''''''''20'''''''''''''''''''''''''''''">
              <a:rPr kumimoji="0" lang="pt-BR" altLang="en-US" sz="1000" b="0" i="0" u="none" strike="noStrike" kern="1200" cap="none" spc="0" normalizeH="0" baseline="0" noProof="0" smtClean="0">
                <a:ln>
                  <a:noFill/>
                </a:ln>
                <a:solidFill>
                  <a:srgbClr val="000000"/>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a:t>
            </a:fld>
            <a:endParaRPr kumimoji="0" lang="pt-BR" sz="10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endParaRPr>
          </a:p>
        </p:txBody>
      </p:sp>
      <p:sp>
        <p:nvSpPr>
          <p:cNvPr id="1039" name="Text Placeholder 2">
            <a:extLst>
              <a:ext uri="{FF2B5EF4-FFF2-40B4-BE49-F238E27FC236}">
                <a16:creationId xmlns:a16="http://schemas.microsoft.com/office/drawing/2014/main" id="{7B64CCC1-5507-9DA1-E78A-95382B64A100}"/>
              </a:ext>
            </a:extLst>
          </p:cNvPr>
          <p:cNvSpPr>
            <a:spLocks noGrp="1"/>
          </p:cNvSpPr>
          <p:nvPr>
            <p:custDataLst>
              <p:tags r:id="rId25"/>
            </p:custDataLst>
          </p:nvPr>
        </p:nvSpPr>
        <p:spPr bwMode="gray">
          <a:xfrm>
            <a:off x="4449763" y="5765800"/>
            <a:ext cx="196850" cy="152400"/>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21BAA1C6-E0E0-497F-B046-ADF50FA6BBEE}" type="datetime'''''''''''''''''0''''''''''''''''''''''''''''''.''''''''''''3'">
              <a:rPr kumimoji="0" lang="pt-BR" altLang="en-US" sz="1000" b="0" i="0" u="none" strike="noStrike" kern="1200" cap="none" spc="0" normalizeH="0" baseline="0" noProof="0" smtClean="0">
                <a:ln>
                  <a:noFill/>
                </a:ln>
                <a:solidFill>
                  <a:srgbClr val="FFFFFF"/>
                </a:solidFill>
                <a:effectLst/>
                <a:uLnTx/>
                <a:uFillTx/>
                <a:latin typeface="Calibri" panose="020F0502020204030204"/>
                <a:ea typeface="+mn-ea"/>
                <a:cs typeface="Calibri" panose="020F0502020204030204" pitchFamily="34" charset="0"/>
              </a:rPr>
              <a:pPr marL="0" marR="0" lvl="0" indent="0" defTabSz="914400" rtl="0" eaLnBrk="1" fontAlgn="auto" latinLnBrk="0" hangingPunct="1">
                <a:lnSpc>
                  <a:spcPct val="100000"/>
                </a:lnSpc>
                <a:spcBef>
                  <a:spcPct val="0"/>
                </a:spcBef>
                <a:spcAft>
                  <a:spcPct val="0"/>
                </a:spcAft>
                <a:buClrTx/>
                <a:buSzTx/>
                <a:buFont typeface="Arial" panose="020B0604020202020204" pitchFamily="34" charset="0"/>
                <a:buNone/>
                <a:tabLst/>
                <a:defRPr/>
              </a:pPr>
              <a:t>0.3</a:t>
            </a:fld>
            <a:endParaRPr kumimoji="0" lang="pt-BR" sz="1000" b="0"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endParaRPr>
          </a:p>
        </p:txBody>
      </p:sp>
      <p:sp>
        <p:nvSpPr>
          <p:cNvPr id="50" name="Text Placeholder 2">
            <a:extLst>
              <a:ext uri="{FF2B5EF4-FFF2-40B4-BE49-F238E27FC236}">
                <a16:creationId xmlns:a16="http://schemas.microsoft.com/office/drawing/2014/main" id="{25FAABE1-6DE2-51B9-5455-AB8BEA311C16}"/>
              </a:ext>
            </a:extLst>
          </p:cNvPr>
          <p:cNvSpPr>
            <a:spLocks noGrp="1"/>
          </p:cNvSpPr>
          <p:nvPr>
            <p:custDataLst>
              <p:tags r:id="rId26"/>
            </p:custDataLst>
          </p:nvPr>
        </p:nvSpPr>
        <p:spPr bwMode="auto">
          <a:xfrm>
            <a:off x="3990975" y="6167438"/>
            <a:ext cx="1428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B9030DBE-7E37-4912-AF43-D440D62044DB}" type="datetime'''''''''''''''''''''''''2''''''1'''''">
              <a:rPr kumimoji="0" lang="pt-BR" altLang="en-US" sz="1000" b="0" i="0" u="none" strike="noStrike" kern="1200" cap="none" spc="0" normalizeH="0" baseline="0" noProof="0" smtClean="0">
                <a:ln>
                  <a:noFill/>
                </a:ln>
                <a:solidFill>
                  <a:srgbClr val="000000"/>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1</a:t>
            </a:fld>
            <a:endParaRPr kumimoji="0" lang="pt-BR" sz="10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endParaRPr>
          </a:p>
        </p:txBody>
      </p:sp>
      <p:sp>
        <p:nvSpPr>
          <p:cNvPr id="1040" name="Text Placeholder 2">
            <a:extLst>
              <a:ext uri="{FF2B5EF4-FFF2-40B4-BE49-F238E27FC236}">
                <a16:creationId xmlns:a16="http://schemas.microsoft.com/office/drawing/2014/main" id="{6C92F1A0-10D3-A3D5-1623-F1BA5280BDFD}"/>
              </a:ext>
            </a:extLst>
          </p:cNvPr>
          <p:cNvSpPr>
            <a:spLocks noGrp="1"/>
          </p:cNvSpPr>
          <p:nvPr>
            <p:custDataLst>
              <p:tags r:id="rId27"/>
            </p:custDataLst>
          </p:nvPr>
        </p:nvSpPr>
        <p:spPr bwMode="gray">
          <a:xfrm>
            <a:off x="5003800" y="5764213"/>
            <a:ext cx="196850" cy="152400"/>
          </a:xfrm>
          <a:prstGeom prst="rect">
            <a:avLst/>
          </a:prstGeom>
          <a:solidFill>
            <a:schemeClr val="accent3"/>
          </a:solidFill>
          <a:ln>
            <a:noFill/>
          </a:ln>
          <a:effec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336BF96E-0551-4A32-96AC-2423EC5EFF6C}" type="datetime'''0.''''''''''''''''''''''''3'''''''''''''''''''''''''">
              <a:rPr kumimoji="0" lang="pt-BR" altLang="en-US" sz="1000" b="0" i="0" u="none" strike="noStrike" kern="1200" cap="none" spc="0" normalizeH="0" baseline="0" noProof="0" smtClean="0">
                <a:ln>
                  <a:noFill/>
                </a:ln>
                <a:solidFill>
                  <a:srgbClr val="FFFFFF"/>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0.3</a:t>
            </a:fld>
            <a:endParaRPr kumimoji="0" lang="pt-BR" sz="1000" b="0"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endParaRPr>
          </a:p>
        </p:txBody>
      </p:sp>
      <p:sp>
        <p:nvSpPr>
          <p:cNvPr id="66" name="Text Placeholder 2">
            <a:extLst>
              <a:ext uri="{FF2B5EF4-FFF2-40B4-BE49-F238E27FC236}">
                <a16:creationId xmlns:a16="http://schemas.microsoft.com/office/drawing/2014/main" id="{75DD964E-6E27-5EB1-18D9-16E72C6AD6BF}"/>
              </a:ext>
            </a:extLst>
          </p:cNvPr>
          <p:cNvSpPr>
            <a:spLocks noGrp="1"/>
          </p:cNvSpPr>
          <p:nvPr>
            <p:custDataLst>
              <p:tags r:id="rId28"/>
            </p:custDataLst>
          </p:nvPr>
        </p:nvSpPr>
        <p:spPr bwMode="auto">
          <a:xfrm>
            <a:off x="4965700" y="6167438"/>
            <a:ext cx="2730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25A327AB-D055-43C6-8DA5-D5BCB5157D7A}" type="datetime'''''''''''''2''''''''''''''''''02''''''2'''''''''''''">
              <a:rPr kumimoji="0" lang="pt-BR" altLang="en-US" sz="1000" b="0" i="0" u="none" strike="noStrike" kern="1200" cap="none" spc="0" normalizeH="0" baseline="0" noProof="0" smtClean="0">
                <a:ln>
                  <a:noFill/>
                </a:ln>
                <a:solidFill>
                  <a:srgbClr val="000000"/>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22</a:t>
            </a:fld>
            <a:endParaRPr kumimoji="0" lang="pt-BR" sz="10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endParaRPr>
          </a:p>
        </p:txBody>
      </p:sp>
      <p:sp>
        <p:nvSpPr>
          <p:cNvPr id="32" name="Text Placeholder 2">
            <a:extLst>
              <a:ext uri="{FF2B5EF4-FFF2-40B4-BE49-F238E27FC236}">
                <a16:creationId xmlns:a16="http://schemas.microsoft.com/office/drawing/2014/main" id="{FBC15207-349F-5289-01ED-5AB2BDAF5493}"/>
              </a:ext>
            </a:extLst>
          </p:cNvPr>
          <p:cNvSpPr>
            <a:spLocks noGrp="1"/>
          </p:cNvSpPr>
          <p:nvPr>
            <p:custDataLst>
              <p:tags r:id="rId29"/>
            </p:custDataLst>
          </p:nvPr>
        </p:nvSpPr>
        <p:spPr bwMode="gray">
          <a:xfrm>
            <a:off x="847725" y="5657850"/>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48690D04-DF49-4E67-8D94-207AA56CE88F}" type="datetime'''1''''''''''.''1'''''">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1</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78" name="Text Placeholder 2">
            <a:extLst>
              <a:ext uri="{FF2B5EF4-FFF2-40B4-BE49-F238E27FC236}">
                <a16:creationId xmlns:a16="http://schemas.microsoft.com/office/drawing/2014/main" id="{2585851D-83CE-8BDD-1D70-4EB68716B1FE}"/>
              </a:ext>
            </a:extLst>
          </p:cNvPr>
          <p:cNvSpPr>
            <a:spLocks noGrp="1"/>
          </p:cNvSpPr>
          <p:nvPr>
            <p:custDataLst>
              <p:tags r:id="rId30"/>
            </p:custDataLst>
          </p:nvPr>
        </p:nvSpPr>
        <p:spPr bwMode="gray">
          <a:xfrm>
            <a:off x="1885950" y="5649913"/>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39CCDE2D-FCC4-4006-8390-24017B3A3F0D}" type="datetime'''''1.''''''''''''''''''''''''''''''1'''''''''''''''''''">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1</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1036" name="Text Placeholder 2">
            <a:extLst>
              <a:ext uri="{FF2B5EF4-FFF2-40B4-BE49-F238E27FC236}">
                <a16:creationId xmlns:a16="http://schemas.microsoft.com/office/drawing/2014/main" id="{F5B32184-E4DD-36D2-2A1F-1250E2550199}"/>
              </a:ext>
            </a:extLst>
          </p:cNvPr>
          <p:cNvSpPr>
            <a:spLocks noGrp="1"/>
          </p:cNvSpPr>
          <p:nvPr>
            <p:custDataLst>
              <p:tags r:id="rId31"/>
            </p:custDataLst>
          </p:nvPr>
        </p:nvSpPr>
        <p:spPr bwMode="gray">
          <a:xfrm>
            <a:off x="2925763" y="5603875"/>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B7892293-24F1-40D7-9AB6-1549AEF5A287}" type="datetime'''''''1''''''''''''''''''''''.3'''''''''''''''''''''''">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3</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1037" name="Text Placeholder 2">
            <a:extLst>
              <a:ext uri="{FF2B5EF4-FFF2-40B4-BE49-F238E27FC236}">
                <a16:creationId xmlns:a16="http://schemas.microsoft.com/office/drawing/2014/main" id="{2D36DC7B-3047-CE6F-7285-7881FC3301C1}"/>
              </a:ext>
            </a:extLst>
          </p:cNvPr>
          <p:cNvSpPr>
            <a:spLocks noGrp="1"/>
          </p:cNvSpPr>
          <p:nvPr>
            <p:custDataLst>
              <p:tags r:id="rId32"/>
            </p:custDataLst>
          </p:nvPr>
        </p:nvSpPr>
        <p:spPr bwMode="gray">
          <a:xfrm>
            <a:off x="3963988" y="5618163"/>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47B5E606-DC3A-46D7-9CD7-C1B4A0F9FAD6}" type="datetime'''''''''''''''''''''''''1''''.''''2'''''''''''">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2</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65" name="Text Placeholder 2">
            <a:extLst>
              <a:ext uri="{FF2B5EF4-FFF2-40B4-BE49-F238E27FC236}">
                <a16:creationId xmlns:a16="http://schemas.microsoft.com/office/drawing/2014/main" id="{A7F4D025-AD83-583F-BDCF-C0054DB0FE64}"/>
              </a:ext>
            </a:extLst>
          </p:cNvPr>
          <p:cNvSpPr>
            <a:spLocks noGrp="1"/>
          </p:cNvSpPr>
          <p:nvPr>
            <p:custDataLst>
              <p:tags r:id="rId33"/>
            </p:custDataLst>
          </p:nvPr>
        </p:nvSpPr>
        <p:spPr bwMode="gray">
          <a:xfrm>
            <a:off x="5003800" y="5627688"/>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4CB13EC8-C452-4095-89C7-A734EC7AED49}" type="datetime'''''''''''''''''''''''''''''''''1''''.''''''2'''''''''''''''''">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2</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6" name="Text Placeholder 4">
            <a:extLst>
              <a:ext uri="{FF2B5EF4-FFF2-40B4-BE49-F238E27FC236}">
                <a16:creationId xmlns:a16="http://schemas.microsoft.com/office/drawing/2014/main" id="{4C1F3293-4EFE-461D-940D-7EE66BAE31C5}"/>
              </a:ext>
            </a:extLst>
          </p:cNvPr>
          <p:cNvSpPr>
            <a:spLocks noGrp="1"/>
          </p:cNvSpPr>
          <p:nvPr>
            <p:custDataLst>
              <p:tags r:id="rId34"/>
            </p:custDataLst>
          </p:nvPr>
        </p:nvSpPr>
        <p:spPr bwMode="gray">
          <a:xfrm>
            <a:off x="847725" y="5943600"/>
            <a:ext cx="196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F731648-A6B0-4CF8-A82D-D2E6319D5B9A}" type="datetime'''''''''''''0.''''''''''''''''''''''''''''7'''''">
              <a:rPr lang="pt-BR" altLang="en-US" sz="1000" smtClean="0">
                <a:solidFill>
                  <a:srgbClr val="FFFFFF"/>
                </a:solidFill>
                <a:effectLst/>
                <a:cs typeface="Calibri" panose="020F0502020204030204" pitchFamily="34" charset="0"/>
              </a:rPr>
              <a:pPr lvl="0" algn="ctr">
                <a:spcBef>
                  <a:spcPct val="0"/>
                </a:spcBef>
                <a:spcAft>
                  <a:spcPct val="0"/>
                </a:spcAft>
              </a:pPr>
              <a:t>0.7</a:t>
            </a:fld>
            <a:endParaRPr lang="pt-BR" sz="1000" dirty="0">
              <a:solidFill>
                <a:srgbClr val="FFFFFF"/>
              </a:solidFill>
              <a:cs typeface="Calibri" panose="020F0502020204030204" pitchFamily="34" charset="0"/>
            </a:endParaRPr>
          </a:p>
        </p:txBody>
      </p:sp>
      <p:sp>
        <p:nvSpPr>
          <p:cNvPr id="7" name="Text Placeholder 4">
            <a:extLst>
              <a:ext uri="{FF2B5EF4-FFF2-40B4-BE49-F238E27FC236}">
                <a16:creationId xmlns:a16="http://schemas.microsoft.com/office/drawing/2014/main" id="{4C1F3293-4EFE-461D-940D-7EE66BAE31C5}"/>
              </a:ext>
            </a:extLst>
          </p:cNvPr>
          <p:cNvSpPr>
            <a:spLocks noGrp="1"/>
          </p:cNvSpPr>
          <p:nvPr>
            <p:custDataLst>
              <p:tags r:id="rId35"/>
            </p:custDataLst>
          </p:nvPr>
        </p:nvSpPr>
        <p:spPr bwMode="gray">
          <a:xfrm>
            <a:off x="1885950" y="5935663"/>
            <a:ext cx="196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F48E12D-1E96-4525-8E9D-509B9F369E62}" type="datetime'''''''''''''''''''''''''''''''''''''0.''''''''''''''''8'">
              <a:rPr lang="pt-BR" altLang="en-US" sz="1000" smtClean="0">
                <a:solidFill>
                  <a:srgbClr val="FFFFFF"/>
                </a:solidFill>
                <a:effectLst/>
                <a:cs typeface="Calibri" panose="020F0502020204030204" pitchFamily="34" charset="0"/>
              </a:rPr>
              <a:pPr lvl="0" algn="ctr">
                <a:spcBef>
                  <a:spcPct val="0"/>
                </a:spcBef>
                <a:spcAft>
                  <a:spcPct val="0"/>
                </a:spcAft>
              </a:pPr>
              <a:t>0.8</a:t>
            </a:fld>
            <a:endParaRPr lang="pt-BR" sz="1000" dirty="0">
              <a:solidFill>
                <a:srgbClr val="FFFFFF"/>
              </a:solidFill>
              <a:cs typeface="Calibri" panose="020F0502020204030204" pitchFamily="34" charset="0"/>
            </a:endParaRPr>
          </a:p>
        </p:txBody>
      </p:sp>
      <p:sp>
        <p:nvSpPr>
          <p:cNvPr id="20" name="Text Placeholder 4">
            <a:extLst>
              <a:ext uri="{FF2B5EF4-FFF2-40B4-BE49-F238E27FC236}">
                <a16:creationId xmlns:a16="http://schemas.microsoft.com/office/drawing/2014/main" id="{4C1F3293-4EFE-461D-940D-7EE66BAE31C5}"/>
              </a:ext>
            </a:extLst>
          </p:cNvPr>
          <p:cNvSpPr>
            <a:spLocks noGrp="1"/>
          </p:cNvSpPr>
          <p:nvPr>
            <p:custDataLst>
              <p:tags r:id="rId36"/>
            </p:custDataLst>
          </p:nvPr>
        </p:nvSpPr>
        <p:spPr bwMode="gray">
          <a:xfrm>
            <a:off x="2925763" y="5922963"/>
            <a:ext cx="196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9ADA9CD4-D873-4BD1-BAAF-C572A7731170}" type="datetime'''0''''''''''''''''.''''''''''''''''''9'''''''''''''">
              <a:rPr lang="pt-BR" altLang="en-US" sz="1000" smtClean="0">
                <a:solidFill>
                  <a:srgbClr val="FFFFFF"/>
                </a:solidFill>
                <a:effectLst/>
                <a:cs typeface="Calibri" panose="020F0502020204030204" pitchFamily="34" charset="0"/>
              </a:rPr>
              <a:pPr lvl="0" algn="ctr">
                <a:spcBef>
                  <a:spcPct val="0"/>
                </a:spcBef>
                <a:spcAft>
                  <a:spcPct val="0"/>
                </a:spcAft>
              </a:pPr>
              <a:t>0.9</a:t>
            </a:fld>
            <a:endParaRPr lang="pt-BR" sz="1000" dirty="0">
              <a:solidFill>
                <a:srgbClr val="FFFFFF"/>
              </a:solidFill>
              <a:cs typeface="Calibri" panose="020F0502020204030204" pitchFamily="34" charset="0"/>
            </a:endParaRPr>
          </a:p>
        </p:txBody>
      </p:sp>
      <p:sp>
        <p:nvSpPr>
          <p:cNvPr id="21" name="Text Placeholder 4">
            <a:extLst>
              <a:ext uri="{FF2B5EF4-FFF2-40B4-BE49-F238E27FC236}">
                <a16:creationId xmlns:a16="http://schemas.microsoft.com/office/drawing/2014/main" id="{4C1F3293-4EFE-461D-940D-7EE66BAE31C5}"/>
              </a:ext>
            </a:extLst>
          </p:cNvPr>
          <p:cNvSpPr>
            <a:spLocks noGrp="1"/>
          </p:cNvSpPr>
          <p:nvPr>
            <p:custDataLst>
              <p:tags r:id="rId37"/>
            </p:custDataLst>
          </p:nvPr>
        </p:nvSpPr>
        <p:spPr bwMode="gray">
          <a:xfrm>
            <a:off x="3963988" y="5921375"/>
            <a:ext cx="196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D49B2B1-9297-415F-B9CE-B9F27E1F4B82}" type="datetime'''''0''''''''''.''''''''''9'''''''''''''''''''''''''">
              <a:rPr lang="pt-BR" altLang="en-US" sz="1000" smtClean="0">
                <a:solidFill>
                  <a:srgbClr val="FFFFFF"/>
                </a:solidFill>
                <a:effectLst/>
                <a:cs typeface="Calibri" panose="020F0502020204030204" pitchFamily="34" charset="0"/>
              </a:rPr>
              <a:pPr lvl="0" algn="ctr">
                <a:spcBef>
                  <a:spcPct val="0"/>
                </a:spcBef>
                <a:spcAft>
                  <a:spcPct val="0"/>
                </a:spcAft>
              </a:pPr>
              <a:t>0.9</a:t>
            </a:fld>
            <a:endParaRPr lang="pt-BR" sz="1000" dirty="0">
              <a:solidFill>
                <a:srgbClr val="FFFFFF"/>
              </a:solidFill>
              <a:cs typeface="Calibri" panose="020F0502020204030204" pitchFamily="34" charset="0"/>
            </a:endParaRPr>
          </a:p>
        </p:txBody>
      </p:sp>
      <p:sp>
        <p:nvSpPr>
          <p:cNvPr id="22" name="Text Placeholder 4">
            <a:extLst>
              <a:ext uri="{FF2B5EF4-FFF2-40B4-BE49-F238E27FC236}">
                <a16:creationId xmlns:a16="http://schemas.microsoft.com/office/drawing/2014/main" id="{4C1F3293-4EFE-461D-940D-7EE66BAE31C5}"/>
              </a:ext>
            </a:extLst>
          </p:cNvPr>
          <p:cNvSpPr>
            <a:spLocks noGrp="1"/>
          </p:cNvSpPr>
          <p:nvPr>
            <p:custDataLst>
              <p:tags r:id="rId38"/>
            </p:custDataLst>
          </p:nvPr>
        </p:nvSpPr>
        <p:spPr bwMode="gray">
          <a:xfrm>
            <a:off x="5003800" y="5929313"/>
            <a:ext cx="196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D7E8724B-4C06-46DD-AFB1-6CA1EB3571AA}" type="datetime'''''''''''''''''''''''''0''''''''''''.''''''''''8'''''">
              <a:rPr lang="pt-BR" altLang="en-US" sz="1000" smtClean="0">
                <a:solidFill>
                  <a:srgbClr val="FFFFFF"/>
                </a:solidFill>
                <a:effectLst/>
                <a:cs typeface="Calibri" panose="020F0502020204030204" pitchFamily="34" charset="0"/>
              </a:rPr>
              <a:pPr lvl="0" algn="ctr">
                <a:spcBef>
                  <a:spcPct val="0"/>
                </a:spcBef>
                <a:spcAft>
                  <a:spcPct val="0"/>
                </a:spcAft>
              </a:pPr>
              <a:t>0.8</a:t>
            </a:fld>
            <a:endParaRPr lang="pt-BR" sz="1000" dirty="0">
              <a:solidFill>
                <a:srgbClr val="FFFFFF"/>
              </a:solidFill>
              <a:cs typeface="Calibri" panose="020F0502020204030204" pitchFamily="34" charset="0"/>
            </a:endParaRPr>
          </a:p>
        </p:txBody>
      </p:sp>
      <p:sp>
        <p:nvSpPr>
          <p:cNvPr id="1041" name="AutoShape 250">
            <a:extLst>
              <a:ext uri="{FF2B5EF4-FFF2-40B4-BE49-F238E27FC236}">
                <a16:creationId xmlns:a16="http://schemas.microsoft.com/office/drawing/2014/main" id="{DE4B512D-E4EA-277B-3BD4-17D32D46C7A9}"/>
              </a:ext>
            </a:extLst>
          </p:cNvPr>
          <p:cNvSpPr>
            <a:spLocks noChangeArrowheads="1"/>
          </p:cNvSpPr>
          <p:nvPr/>
        </p:nvSpPr>
        <p:spPr bwMode="auto">
          <a:xfrm>
            <a:off x="6300402" y="5337175"/>
            <a:ext cx="5483996" cy="153888"/>
          </a:xfrm>
          <a:prstGeom prst="leftRightArrow">
            <a:avLst>
              <a:gd name="adj1" fmla="val 100000"/>
              <a:gd name="adj2" fmla="val 0"/>
            </a:avLst>
          </a:prstGeom>
          <a:noFill/>
          <a:ln w="9525">
            <a:noFill/>
            <a:miter lim="800000"/>
            <a:headEnd/>
            <a:tailEnd/>
          </a:ln>
          <a:effectLst/>
        </p:spPr>
        <p:txBody>
          <a:bodyPr vert="horz" wrap="square" lIns="0" tIns="0" rIns="0" bIns="0" numCol="1" anchor="ctr" anchorCtr="0" compatLnSpc="1">
            <a:prstTxWarp prst="textNoShape">
              <a:avLst/>
            </a:prstTxWarp>
            <a:spAutoFit/>
          </a:body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Gold production by state (2022), </a:t>
            </a: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a:cs typeface="Calibri" panose="020F0502020204030204" pitchFamily="34" charset="0"/>
              </a:rPr>
              <a:t>koz</a:t>
            </a:r>
            <a:endPar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cxnSp>
        <p:nvCxnSpPr>
          <p:cNvPr id="1042" name="Straight Connector 1041">
            <a:extLst>
              <a:ext uri="{FF2B5EF4-FFF2-40B4-BE49-F238E27FC236}">
                <a16:creationId xmlns:a16="http://schemas.microsoft.com/office/drawing/2014/main" id="{3D15C60F-551E-1EC2-2A40-9C1E4E35F6EF}"/>
              </a:ext>
            </a:extLst>
          </p:cNvPr>
          <p:cNvCxnSpPr/>
          <p:nvPr>
            <p:custDataLst>
              <p:tags r:id="rId39"/>
            </p:custDataLst>
          </p:nvPr>
        </p:nvCxnSpPr>
        <p:spPr bwMode="auto">
          <a:xfrm>
            <a:off x="7004050" y="5969000"/>
            <a:ext cx="39528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43" name="Straight Connector 1042">
            <a:extLst>
              <a:ext uri="{FF2B5EF4-FFF2-40B4-BE49-F238E27FC236}">
                <a16:creationId xmlns:a16="http://schemas.microsoft.com/office/drawing/2014/main" id="{DBF6DDB3-6A8D-7E10-DC73-8A2AB4D49B7F}"/>
              </a:ext>
            </a:extLst>
          </p:cNvPr>
          <p:cNvCxnSpPr/>
          <p:nvPr>
            <p:custDataLst>
              <p:tags r:id="rId40"/>
            </p:custDataLst>
          </p:nvPr>
        </p:nvCxnSpPr>
        <p:spPr bwMode="auto">
          <a:xfrm>
            <a:off x="7894638" y="5846763"/>
            <a:ext cx="3937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44" name="Straight Connector 1043">
            <a:extLst>
              <a:ext uri="{FF2B5EF4-FFF2-40B4-BE49-F238E27FC236}">
                <a16:creationId xmlns:a16="http://schemas.microsoft.com/office/drawing/2014/main" id="{0189D205-9A34-81F0-DDA5-9B7BDF3C421A}"/>
              </a:ext>
            </a:extLst>
          </p:cNvPr>
          <p:cNvCxnSpPr/>
          <p:nvPr>
            <p:custDataLst>
              <p:tags r:id="rId41"/>
            </p:custDataLst>
          </p:nvPr>
        </p:nvCxnSpPr>
        <p:spPr bwMode="auto">
          <a:xfrm>
            <a:off x="8783638" y="5764213"/>
            <a:ext cx="793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47" name="Straight Connector 1046">
            <a:extLst>
              <a:ext uri="{FF2B5EF4-FFF2-40B4-BE49-F238E27FC236}">
                <a16:creationId xmlns:a16="http://schemas.microsoft.com/office/drawing/2014/main" id="{DED0CF4D-92C6-2050-62AA-5249A605A16B}"/>
              </a:ext>
            </a:extLst>
          </p:cNvPr>
          <p:cNvCxnSpPr/>
          <p:nvPr>
            <p:custDataLst>
              <p:tags r:id="rId42"/>
            </p:custDataLst>
          </p:nvPr>
        </p:nvCxnSpPr>
        <p:spPr bwMode="auto">
          <a:xfrm>
            <a:off x="9674225" y="5691188"/>
            <a:ext cx="39528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45" name="Straight Connector 1044">
            <a:extLst>
              <a:ext uri="{FF2B5EF4-FFF2-40B4-BE49-F238E27FC236}">
                <a16:creationId xmlns:a16="http://schemas.microsoft.com/office/drawing/2014/main" id="{9ADA300A-51D4-6BAA-3E24-D47B647AAA61}"/>
              </a:ext>
            </a:extLst>
          </p:cNvPr>
          <p:cNvCxnSpPr/>
          <p:nvPr>
            <p:custDataLst>
              <p:tags r:id="rId43"/>
            </p:custDataLst>
          </p:nvPr>
        </p:nvCxnSpPr>
        <p:spPr bwMode="auto">
          <a:xfrm>
            <a:off x="10564813" y="5616575"/>
            <a:ext cx="3937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08A1CD29-00A8-EA36-9975-AA00B195FAC7}"/>
              </a:ext>
            </a:extLst>
          </p:cNvPr>
          <p:cNvCxnSpPr/>
          <p:nvPr>
            <p:custDataLst>
              <p:tags r:id="rId44"/>
            </p:custDataLst>
          </p:nvPr>
        </p:nvCxnSpPr>
        <p:spPr bwMode="auto">
          <a:xfrm>
            <a:off x="9037638" y="5764213"/>
            <a:ext cx="141287"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57" name="Chart 56">
            <a:extLst>
              <a:ext uri="{FF2B5EF4-FFF2-40B4-BE49-F238E27FC236}">
                <a16:creationId xmlns:a16="http://schemas.microsoft.com/office/drawing/2014/main" id="{D58D894D-49D4-C950-4EE0-6F4F9ED76525}"/>
              </a:ext>
            </a:extLst>
          </p:cNvPr>
          <p:cNvGraphicFramePr/>
          <p:nvPr>
            <p:custDataLst>
              <p:tags r:id="rId45"/>
            </p:custDataLst>
            <p:extLst>
              <p:ext uri="{D42A27DB-BD31-4B8C-83A1-F6EECF244321}">
                <p14:modId xmlns:p14="http://schemas.microsoft.com/office/powerpoint/2010/main" val="3361730833"/>
              </p:ext>
            </p:extLst>
          </p:nvPr>
        </p:nvGraphicFramePr>
        <p:xfrm>
          <a:off x="6229350" y="5391150"/>
          <a:ext cx="5505450" cy="958850"/>
        </p:xfrm>
        <a:graphic>
          <a:graphicData uri="http://schemas.openxmlformats.org/drawingml/2006/chart">
            <c:chart xmlns:c="http://schemas.openxmlformats.org/drawingml/2006/chart" xmlns:r="http://schemas.openxmlformats.org/officeDocument/2006/relationships" r:id="rId74"/>
          </a:graphicData>
        </a:graphic>
      </p:graphicFrame>
      <p:cxnSp>
        <p:nvCxnSpPr>
          <p:cNvPr id="52" name="Straight Connector 51">
            <a:extLst>
              <a:ext uri="{FF2B5EF4-FFF2-40B4-BE49-F238E27FC236}">
                <a16:creationId xmlns:a16="http://schemas.microsoft.com/office/drawing/2014/main" id="{C10E121D-15BF-D04B-7F26-E60662C4A59F}"/>
              </a:ext>
            </a:extLst>
          </p:cNvPr>
          <p:cNvCxnSpPr/>
          <p:nvPr>
            <p:custDataLst>
              <p:tags r:id="rId46"/>
            </p:custDataLst>
          </p:nvPr>
        </p:nvCxnSpPr>
        <p:spPr bwMode="auto">
          <a:xfrm flipH="1">
            <a:off x="8721725" y="5805488"/>
            <a:ext cx="7778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D17F8AF0-738A-2539-1198-955B53CDA2E5}"/>
              </a:ext>
            </a:extLst>
          </p:cNvPr>
          <p:cNvCxnSpPr/>
          <p:nvPr>
            <p:custDataLst>
              <p:tags r:id="rId47"/>
            </p:custDataLst>
          </p:nvPr>
        </p:nvCxnSpPr>
        <p:spPr bwMode="auto">
          <a:xfrm flipH="1" flipV="1">
            <a:off x="9612313" y="5727700"/>
            <a:ext cx="77787" cy="571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37D607BE-8A7F-A314-75BD-B887C5F99330}"/>
              </a:ext>
            </a:extLst>
          </p:cNvPr>
          <p:cNvCxnSpPr/>
          <p:nvPr>
            <p:custDataLst>
              <p:tags r:id="rId48"/>
            </p:custDataLst>
          </p:nvPr>
        </p:nvCxnSpPr>
        <p:spPr bwMode="auto">
          <a:xfrm flipH="1" flipV="1">
            <a:off x="10502900" y="5653088"/>
            <a:ext cx="77788" cy="571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55" name="Text Placeholder 2">
            <a:extLst>
              <a:ext uri="{FF2B5EF4-FFF2-40B4-BE49-F238E27FC236}">
                <a16:creationId xmlns:a16="http://schemas.microsoft.com/office/drawing/2014/main" id="{ADDF4841-8EF8-849A-B711-8A35DEC8C4C9}"/>
              </a:ext>
            </a:extLst>
          </p:cNvPr>
          <p:cNvSpPr>
            <a:spLocks noGrp="1"/>
          </p:cNvSpPr>
          <p:nvPr>
            <p:custDataLst>
              <p:tags r:id="rId49"/>
            </p:custDataLst>
          </p:nvPr>
        </p:nvSpPr>
        <p:spPr bwMode="auto">
          <a:xfrm>
            <a:off x="6569075" y="6167438"/>
            <a:ext cx="3762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B5404244-FBC0-46D2-A631-5913542716EA}" type="datetime'S''''''o''''''no''''''''''''''''''''''''''''''r''''''''''a'">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Sonora</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mn-cs"/>
            </a:endParaRPr>
          </a:p>
        </p:txBody>
      </p:sp>
      <p:sp>
        <p:nvSpPr>
          <p:cNvPr id="1056" name="Text Placeholder 2">
            <a:extLst>
              <a:ext uri="{FF2B5EF4-FFF2-40B4-BE49-F238E27FC236}">
                <a16:creationId xmlns:a16="http://schemas.microsoft.com/office/drawing/2014/main" id="{1D28E21E-216A-24CC-B102-0F577C909B40}"/>
              </a:ext>
            </a:extLst>
          </p:cNvPr>
          <p:cNvSpPr>
            <a:spLocks noGrp="1"/>
          </p:cNvSpPr>
          <p:nvPr>
            <p:custDataLst>
              <p:tags r:id="rId50"/>
            </p:custDataLst>
          </p:nvPr>
        </p:nvSpPr>
        <p:spPr bwMode="auto">
          <a:xfrm>
            <a:off x="7389813" y="6167438"/>
            <a:ext cx="5159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881E5AC8-5E7D-44C5-BBA3-A5749A93D341}" type="datetime'Z''''a''''''c''a''t''''''ec''''''a''''''''''''''''''s'''''">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Zacatecas</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mn-cs"/>
            </a:endParaRPr>
          </a:p>
        </p:txBody>
      </p:sp>
      <p:sp>
        <p:nvSpPr>
          <p:cNvPr id="1054" name="Text Placeholder 2">
            <a:extLst>
              <a:ext uri="{FF2B5EF4-FFF2-40B4-BE49-F238E27FC236}">
                <a16:creationId xmlns:a16="http://schemas.microsoft.com/office/drawing/2014/main" id="{5B7476E1-8E4F-18A2-CDE3-F72C745773F2}"/>
              </a:ext>
            </a:extLst>
          </p:cNvPr>
          <p:cNvSpPr>
            <a:spLocks noGrp="1"/>
          </p:cNvSpPr>
          <p:nvPr>
            <p:custDataLst>
              <p:tags r:id="rId51"/>
            </p:custDataLst>
          </p:nvPr>
        </p:nvSpPr>
        <p:spPr bwMode="auto">
          <a:xfrm>
            <a:off x="8293100" y="6167438"/>
            <a:ext cx="4857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A64A2CB2-6581-452E-B4AB-86EC0179BD07}" type="datetime'''''Gue''''r''r''''''''''''''e''''''''''''''r''''''o'''''''">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Guerrero</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mn-cs"/>
            </a:endParaRPr>
          </a:p>
        </p:txBody>
      </p:sp>
      <p:sp>
        <p:nvSpPr>
          <p:cNvPr id="1057" name="Text Placeholder 2">
            <a:extLst>
              <a:ext uri="{FF2B5EF4-FFF2-40B4-BE49-F238E27FC236}">
                <a16:creationId xmlns:a16="http://schemas.microsoft.com/office/drawing/2014/main" id="{572AD957-C5BE-5454-39AA-D577080D8F13}"/>
              </a:ext>
            </a:extLst>
          </p:cNvPr>
          <p:cNvSpPr>
            <a:spLocks noGrp="1"/>
          </p:cNvSpPr>
          <p:nvPr>
            <p:custDataLst>
              <p:tags r:id="rId52"/>
            </p:custDataLst>
          </p:nvPr>
        </p:nvSpPr>
        <p:spPr bwMode="auto">
          <a:xfrm>
            <a:off x="9145588" y="6167438"/>
            <a:ext cx="5635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954F21DF-438F-4E15-A6B7-11C32D349BFE}" type="datetime'''''''''''C''''''''hi''''h''''''ua''''''''''''h''u''''a'''''''">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Chihuahua</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mn-cs"/>
            </a:endParaRPr>
          </a:p>
        </p:txBody>
      </p:sp>
      <p:sp>
        <p:nvSpPr>
          <p:cNvPr id="1064" name="Text Placeholder 2">
            <a:extLst>
              <a:ext uri="{FF2B5EF4-FFF2-40B4-BE49-F238E27FC236}">
                <a16:creationId xmlns:a16="http://schemas.microsoft.com/office/drawing/2014/main" id="{C4E5DE01-A61B-2349-75D8-9F25D106142E}"/>
              </a:ext>
            </a:extLst>
          </p:cNvPr>
          <p:cNvSpPr>
            <a:spLocks noGrp="1"/>
          </p:cNvSpPr>
          <p:nvPr>
            <p:custDataLst>
              <p:tags r:id="rId53"/>
            </p:custDataLst>
          </p:nvPr>
        </p:nvSpPr>
        <p:spPr bwMode="auto">
          <a:xfrm>
            <a:off x="9815512" y="6167438"/>
            <a:ext cx="10048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82BC4400-D376-45AA-A63A-C7B0DA6E3F5B}" type="datetime'''Ot''''h''''ers''/un''''s''''''p''ec''i''fi''''''''''e''d'">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Others/unspecified</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mn-cs"/>
            </a:endParaRPr>
          </a:p>
        </p:txBody>
      </p:sp>
      <p:sp>
        <p:nvSpPr>
          <p:cNvPr id="1063" name="Text Placeholder 2">
            <a:extLst>
              <a:ext uri="{FF2B5EF4-FFF2-40B4-BE49-F238E27FC236}">
                <a16:creationId xmlns:a16="http://schemas.microsoft.com/office/drawing/2014/main" id="{1F0D7CD8-9807-10DC-84A6-A0D6129FF791}"/>
              </a:ext>
            </a:extLst>
          </p:cNvPr>
          <p:cNvSpPr>
            <a:spLocks noGrp="1"/>
          </p:cNvSpPr>
          <p:nvPr>
            <p:custDataLst>
              <p:tags r:id="rId54"/>
            </p:custDataLst>
          </p:nvPr>
        </p:nvSpPr>
        <p:spPr bwMode="auto">
          <a:xfrm>
            <a:off x="11069638" y="6167438"/>
            <a:ext cx="2730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12A7380C-B478-4EFA-BB79-D28F4FA2372B}" type="datetime'''''''''To''''''''''''''t''''a''''''''''''''''''''''''''l'''''">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Total</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mn-cs"/>
            </a:endParaRPr>
          </a:p>
        </p:txBody>
      </p:sp>
      <p:sp>
        <p:nvSpPr>
          <p:cNvPr id="48" name="Text Placeholder 4">
            <a:extLst>
              <a:ext uri="{FF2B5EF4-FFF2-40B4-BE49-F238E27FC236}">
                <a16:creationId xmlns:a16="http://schemas.microsoft.com/office/drawing/2014/main" id="{4C1F3293-4EFE-461D-940D-7EE66BAE31C5}"/>
              </a:ext>
            </a:extLst>
          </p:cNvPr>
          <p:cNvSpPr>
            <a:spLocks noGrp="1"/>
          </p:cNvSpPr>
          <p:nvPr>
            <p:custDataLst>
              <p:tags r:id="rId55"/>
            </p:custDataLst>
          </p:nvPr>
        </p:nvSpPr>
        <p:spPr bwMode="gray">
          <a:xfrm>
            <a:off x="6592888" y="5807076"/>
            <a:ext cx="3270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lnSpc>
                <a:spcPct val="90000"/>
              </a:lnSpc>
              <a:spcBef>
                <a:spcPct val="0"/>
              </a:spcBef>
              <a:spcAft>
                <a:spcPct val="0"/>
              </a:spcAft>
            </a:pPr>
            <a:fld id="{40E89E87-4979-460B-AB70-6568AD2A085E}" type="datetime'1'''''''''''''''''''''''''''''''''',2''''''0''''''''''8'''''">
              <a:rPr lang="pt-BR" altLang="en-US" sz="1000" smtClean="0">
                <a:effectLst/>
                <a:cs typeface="+mn-cs"/>
              </a:rPr>
              <a:pPr lvl="0" algn="ctr">
                <a:lnSpc>
                  <a:spcPct val="90000"/>
                </a:lnSpc>
                <a:spcBef>
                  <a:spcPct val="0"/>
                </a:spcBef>
                <a:spcAft>
                  <a:spcPct val="0"/>
                </a:spcAft>
              </a:pPr>
              <a:t>1,208</a:t>
            </a:fld>
            <a:endParaRPr lang="pt-BR" sz="1000" dirty="0">
              <a:cs typeface="+mn-cs"/>
            </a:endParaRPr>
          </a:p>
        </p:txBody>
      </p:sp>
      <p:sp>
        <p:nvSpPr>
          <p:cNvPr id="49" name="Text Placeholder 4">
            <a:extLst>
              <a:ext uri="{FF2B5EF4-FFF2-40B4-BE49-F238E27FC236}">
                <a16:creationId xmlns:a16="http://schemas.microsoft.com/office/drawing/2014/main" id="{4C1F3293-4EFE-461D-940D-7EE66BAE31C5}"/>
              </a:ext>
            </a:extLst>
          </p:cNvPr>
          <p:cNvSpPr>
            <a:spLocks noGrp="1"/>
          </p:cNvSpPr>
          <p:nvPr>
            <p:custDataLst>
              <p:tags r:id="rId56"/>
            </p:custDataLst>
          </p:nvPr>
        </p:nvSpPr>
        <p:spPr bwMode="gray">
          <a:xfrm>
            <a:off x="11042650" y="5454651"/>
            <a:ext cx="3270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lnSpc>
                <a:spcPct val="90000"/>
              </a:lnSpc>
              <a:spcBef>
                <a:spcPct val="0"/>
              </a:spcBef>
              <a:spcAft>
                <a:spcPct val="0"/>
              </a:spcAft>
            </a:pPr>
            <a:fld id="{982AF3CC-0174-4F74-B6B8-392E41C38BF9}" type="datetime'''''''''''''3,''''''''9''''''''4''''''6'''''''''''''''">
              <a:rPr lang="pt-BR" altLang="en-US" sz="1000" smtClean="0">
                <a:effectLst/>
                <a:cs typeface="+mn-cs"/>
              </a:rPr>
              <a:pPr lvl="0" algn="ctr">
                <a:lnSpc>
                  <a:spcPct val="90000"/>
                </a:lnSpc>
                <a:spcBef>
                  <a:spcPct val="0"/>
                </a:spcBef>
                <a:spcAft>
                  <a:spcPct val="0"/>
                </a:spcAft>
              </a:pPr>
              <a:t>3,946</a:t>
            </a:fld>
            <a:endParaRPr lang="pt-BR" sz="1000" dirty="0">
              <a:cs typeface="+mn-cs"/>
            </a:endParaRPr>
          </a:p>
        </p:txBody>
      </p:sp>
      <p:pic>
        <p:nvPicPr>
          <p:cNvPr id="1069" name="Picture 2">
            <a:extLst>
              <a:ext uri="{FF2B5EF4-FFF2-40B4-BE49-F238E27FC236}">
                <a16:creationId xmlns:a16="http://schemas.microsoft.com/office/drawing/2014/main" id="{7E8E8456-7410-577A-BC6F-8BDC424A5D11}"/>
              </a:ext>
            </a:extLst>
          </p:cNvPr>
          <p:cNvPicPr>
            <a:picLocks noChangeAspect="1" noChangeArrowheads="1"/>
          </p:cNvPicPr>
          <p:nvPr/>
        </p:nvPicPr>
        <p:blipFill rotWithShape="1">
          <a:blip r:embed="rId75" cstate="print">
            <a:extLst>
              <a:ext uri="{28A0092B-C50C-407E-A947-70E740481C1C}">
                <a14:useLocalDpi xmlns:a14="http://schemas.microsoft.com/office/drawing/2010/main"/>
              </a:ext>
            </a:extLst>
          </a:blip>
          <a:srcRect l="12122" t="29222" r="13186" b="31605"/>
          <a:stretch/>
        </p:blipFill>
        <p:spPr bwMode="auto">
          <a:xfrm>
            <a:off x="7221922" y="2403367"/>
            <a:ext cx="846614" cy="231333"/>
          </a:xfrm>
          <a:prstGeom prst="rect">
            <a:avLst/>
          </a:prstGeom>
          <a:noFill/>
          <a:extLst>
            <a:ext uri="{909E8E84-426E-40DD-AFC4-6F175D3DCCD1}">
              <a14:hiddenFill xmlns:a14="http://schemas.microsoft.com/office/drawing/2010/main">
                <a:solidFill>
                  <a:srgbClr val="FFFFFF"/>
                </a:solidFill>
              </a14:hiddenFill>
            </a:ext>
          </a:extLst>
        </p:spPr>
      </p:pic>
      <p:sp>
        <p:nvSpPr>
          <p:cNvPr id="1070" name="Rectangle 8">
            <a:extLst>
              <a:ext uri="{FF2B5EF4-FFF2-40B4-BE49-F238E27FC236}">
                <a16:creationId xmlns:a16="http://schemas.microsoft.com/office/drawing/2014/main" id="{79AE10A3-3421-3C2C-65F7-C5A1FBB17D9A}"/>
              </a:ext>
            </a:extLst>
          </p:cNvPr>
          <p:cNvSpPr txBox="1">
            <a:spLocks/>
          </p:cNvSpPr>
          <p:nvPr>
            <p:custDataLst>
              <p:tags r:id="rId57"/>
            </p:custDataLst>
          </p:nvPr>
        </p:nvSpPr>
        <p:spPr>
          <a:xfrm>
            <a:off x="6197599" y="1370013"/>
            <a:ext cx="896621" cy="1698307"/>
          </a:xfrm>
          <a:prstGeom prst="rect">
            <a:avLst/>
          </a:prstGeom>
          <a:solidFill>
            <a:schemeClr val="accent1"/>
          </a:solidFill>
          <a:ln w="9525">
            <a:noFill/>
            <a:miter lim="800000"/>
            <a:headEnd/>
            <a:tailEnd/>
          </a:ln>
          <a:effectLst/>
        </p:spPr>
        <p:txBody>
          <a:bodyPr vert="horz" wrap="square" lIns="36576" tIns="76200" rIns="36576" bIns="76200" numCol="1" anchor="ctr"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Gold industry context</a:t>
            </a:r>
            <a:endParaRPr kumimoji="0" lang="en-CA"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endParaRPr>
          </a:p>
        </p:txBody>
      </p:sp>
      <p:sp>
        <p:nvSpPr>
          <p:cNvPr id="1071" name="TextBox 1070">
            <a:extLst>
              <a:ext uri="{FF2B5EF4-FFF2-40B4-BE49-F238E27FC236}">
                <a16:creationId xmlns:a16="http://schemas.microsoft.com/office/drawing/2014/main" id="{41519E71-268D-B983-B88E-6AFA952E24BF}"/>
              </a:ext>
            </a:extLst>
          </p:cNvPr>
          <p:cNvSpPr txBox="1">
            <a:spLocks/>
          </p:cNvSpPr>
          <p:nvPr/>
        </p:nvSpPr>
        <p:spPr>
          <a:xfrm>
            <a:off x="7174991" y="1371594"/>
            <a:ext cx="4712209" cy="66941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5425"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Gold is often associated with silver and zinc production</a:t>
            </a:r>
          </a:p>
          <a:p>
            <a:pPr marL="228600" marR="0" lvl="1" indent="-225425"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Presence of major international companies, e.g., Newmont and Agnico Eagle that in 2022 entered a JV with Teck to develop the San Nicolas Copper-Zinc project</a:t>
            </a:r>
          </a:p>
          <a:p>
            <a:pPr marL="228600" marR="0" lvl="1" indent="-225425"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Approx 25% of gold produced by local companies, e.g. Fresnillo, Minera Frisco</a:t>
            </a:r>
          </a:p>
          <a:p>
            <a:pPr marL="228600" marR="0" lvl="1" indent="-225425"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endPar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endParaRPr>
          </a:p>
          <a:p>
            <a:pPr marL="228600" marR="0" lvl="1" indent="-225425"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endPar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endParaRPr>
          </a:p>
          <a:p>
            <a:pPr marL="228600" marR="0" lvl="1" indent="-225425"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endPar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endParaRPr>
          </a:p>
          <a:p>
            <a:pPr marL="228600" marR="0" lvl="1" indent="-225425"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endPar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endParaRPr>
          </a:p>
        </p:txBody>
      </p:sp>
      <p:sp>
        <p:nvSpPr>
          <p:cNvPr id="1072" name="TextBox 1071">
            <a:extLst>
              <a:ext uri="{FF2B5EF4-FFF2-40B4-BE49-F238E27FC236}">
                <a16:creationId xmlns:a16="http://schemas.microsoft.com/office/drawing/2014/main" id="{5DEC3904-5295-B227-04F4-9261196AFFCF}"/>
              </a:ext>
            </a:extLst>
          </p:cNvPr>
          <p:cNvSpPr txBox="1">
            <a:spLocks/>
          </p:cNvSpPr>
          <p:nvPr/>
        </p:nvSpPr>
        <p:spPr>
          <a:xfrm>
            <a:off x="7254089" y="2016152"/>
            <a:ext cx="4554013" cy="153888"/>
          </a:xfrm>
          <a:prstGeom prst="rect">
            <a:avLst/>
          </a:prstGeom>
          <a:noFill/>
          <a:ln w="9525">
            <a:noFill/>
            <a:miter lim="800000"/>
            <a:headEnd/>
            <a:tailEnd/>
          </a:ln>
          <a:effectLst/>
        </p:spPr>
        <p:txBody>
          <a:bodyPr vert="horz" wrap="square" lIns="0" tIns="0" rIns="0" bIns="0" numCol="1" anchor="ctr"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C9A319"/>
              </a:buClr>
              <a:buSzTx/>
              <a:buFontTx/>
              <a:buNone/>
              <a:tabLst/>
              <a:defRPr/>
            </a:pPr>
            <a:r>
              <a:rPr kumimoji="0" lang="en-CA" sz="10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Largest gold mines by production </a:t>
            </a:r>
          </a:p>
        </p:txBody>
      </p:sp>
      <p:cxnSp>
        <p:nvCxnSpPr>
          <p:cNvPr id="1073" name="Straight Connector 1072">
            <a:extLst>
              <a:ext uri="{FF2B5EF4-FFF2-40B4-BE49-F238E27FC236}">
                <a16:creationId xmlns:a16="http://schemas.microsoft.com/office/drawing/2014/main" id="{87E9EB64-FFC7-0786-225D-7CB90F4AF308}"/>
              </a:ext>
            </a:extLst>
          </p:cNvPr>
          <p:cNvCxnSpPr>
            <a:cxnSpLocks/>
          </p:cNvCxnSpPr>
          <p:nvPr>
            <p:custDataLst>
              <p:tags r:id="rId58"/>
            </p:custDataLst>
          </p:nvPr>
        </p:nvCxnSpPr>
        <p:spPr>
          <a:xfrm>
            <a:off x="8710559" y="2400347"/>
            <a:ext cx="784899" cy="0"/>
          </a:xfrm>
          <a:prstGeom prst="line">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sp>
        <p:nvSpPr>
          <p:cNvPr id="1074" name="TextBox 1073">
            <a:extLst>
              <a:ext uri="{FF2B5EF4-FFF2-40B4-BE49-F238E27FC236}">
                <a16:creationId xmlns:a16="http://schemas.microsoft.com/office/drawing/2014/main" id="{2733C6BC-519F-C54A-76CC-B3FF44788E36}"/>
              </a:ext>
            </a:extLst>
          </p:cNvPr>
          <p:cNvSpPr txBox="1">
            <a:spLocks/>
          </p:cNvSpPr>
          <p:nvPr/>
        </p:nvSpPr>
        <p:spPr>
          <a:xfrm>
            <a:off x="8710559" y="2238248"/>
            <a:ext cx="401691" cy="1384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Mine</a:t>
            </a:r>
          </a:p>
        </p:txBody>
      </p:sp>
      <p:cxnSp>
        <p:nvCxnSpPr>
          <p:cNvPr id="1075" name="Straight Connector 1074">
            <a:extLst>
              <a:ext uri="{FF2B5EF4-FFF2-40B4-BE49-F238E27FC236}">
                <a16:creationId xmlns:a16="http://schemas.microsoft.com/office/drawing/2014/main" id="{23E9DA9A-1EEC-C9E3-5B7C-D6583B02A55D}"/>
              </a:ext>
            </a:extLst>
          </p:cNvPr>
          <p:cNvCxnSpPr>
            <a:cxnSpLocks/>
          </p:cNvCxnSpPr>
          <p:nvPr>
            <p:custDataLst>
              <p:tags r:id="rId59"/>
            </p:custDataLst>
          </p:nvPr>
        </p:nvCxnSpPr>
        <p:spPr>
          <a:xfrm>
            <a:off x="9703779" y="2400347"/>
            <a:ext cx="797529" cy="0"/>
          </a:xfrm>
          <a:prstGeom prst="line">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sp>
        <p:nvSpPr>
          <p:cNvPr id="1076" name="TextBox 1075">
            <a:extLst>
              <a:ext uri="{FF2B5EF4-FFF2-40B4-BE49-F238E27FC236}">
                <a16:creationId xmlns:a16="http://schemas.microsoft.com/office/drawing/2014/main" id="{CE2C5FC7-86B1-5B66-F245-A529C7F8313C}"/>
              </a:ext>
            </a:extLst>
          </p:cNvPr>
          <p:cNvSpPr txBox="1">
            <a:spLocks/>
          </p:cNvSpPr>
          <p:nvPr/>
        </p:nvSpPr>
        <p:spPr>
          <a:xfrm>
            <a:off x="9703779" y="2227723"/>
            <a:ext cx="797529" cy="1384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Output</a:t>
            </a: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oz / year</a:t>
            </a:r>
          </a:p>
        </p:txBody>
      </p:sp>
      <p:cxnSp>
        <p:nvCxnSpPr>
          <p:cNvPr id="1077" name="Straight Connector 1076">
            <a:extLst>
              <a:ext uri="{FF2B5EF4-FFF2-40B4-BE49-F238E27FC236}">
                <a16:creationId xmlns:a16="http://schemas.microsoft.com/office/drawing/2014/main" id="{5073AE18-5067-261F-F3F0-B7926E7507CF}"/>
              </a:ext>
            </a:extLst>
          </p:cNvPr>
          <p:cNvCxnSpPr>
            <a:cxnSpLocks/>
          </p:cNvCxnSpPr>
          <p:nvPr>
            <p:custDataLst>
              <p:tags r:id="rId60"/>
            </p:custDataLst>
          </p:nvPr>
        </p:nvCxnSpPr>
        <p:spPr>
          <a:xfrm>
            <a:off x="10683198" y="2400347"/>
            <a:ext cx="1124902" cy="0"/>
          </a:xfrm>
          <a:prstGeom prst="line">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sp>
        <p:nvSpPr>
          <p:cNvPr id="1078" name="TextBox 1077">
            <a:extLst>
              <a:ext uri="{FF2B5EF4-FFF2-40B4-BE49-F238E27FC236}">
                <a16:creationId xmlns:a16="http://schemas.microsoft.com/office/drawing/2014/main" id="{2A48946D-5BB8-86B0-22D7-024B867538CD}"/>
              </a:ext>
            </a:extLst>
          </p:cNvPr>
          <p:cNvSpPr txBox="1">
            <a:spLocks/>
          </p:cNvSpPr>
          <p:nvPr/>
        </p:nvSpPr>
        <p:spPr>
          <a:xfrm>
            <a:off x="10683198" y="2226739"/>
            <a:ext cx="1124902" cy="1384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Date of first production</a:t>
            </a:r>
          </a:p>
        </p:txBody>
      </p:sp>
      <p:cxnSp>
        <p:nvCxnSpPr>
          <p:cNvPr id="1079" name="Straight Connector 1078">
            <a:extLst>
              <a:ext uri="{FF2B5EF4-FFF2-40B4-BE49-F238E27FC236}">
                <a16:creationId xmlns:a16="http://schemas.microsoft.com/office/drawing/2014/main" id="{85459530-B480-1C48-F55C-373FD4CBC324}"/>
              </a:ext>
            </a:extLst>
          </p:cNvPr>
          <p:cNvCxnSpPr>
            <a:cxnSpLocks/>
          </p:cNvCxnSpPr>
          <p:nvPr>
            <p:custDataLst>
              <p:tags r:id="rId61"/>
            </p:custDataLst>
          </p:nvPr>
        </p:nvCxnSpPr>
        <p:spPr>
          <a:xfrm>
            <a:off x="7254089" y="2640274"/>
            <a:ext cx="4554013" cy="0"/>
          </a:xfrm>
          <a:prstGeom prst="line">
            <a:avLst/>
          </a:prstGeom>
          <a:ln w="6350">
            <a:solidFill>
              <a:srgbClr val="757575"/>
            </a:solidFill>
            <a:prstDash val="solid"/>
          </a:ln>
        </p:spPr>
        <p:style>
          <a:lnRef idx="1">
            <a:schemeClr val="accent1"/>
          </a:lnRef>
          <a:fillRef idx="0">
            <a:schemeClr val="accent1"/>
          </a:fillRef>
          <a:effectRef idx="0">
            <a:schemeClr val="accent1"/>
          </a:effectRef>
          <a:fontRef idx="minor">
            <a:schemeClr val="tx1"/>
          </a:fontRef>
        </p:style>
      </p:cxnSp>
      <p:sp>
        <p:nvSpPr>
          <p:cNvPr id="1080" name="TextBox 1079">
            <a:extLst>
              <a:ext uri="{FF2B5EF4-FFF2-40B4-BE49-F238E27FC236}">
                <a16:creationId xmlns:a16="http://schemas.microsoft.com/office/drawing/2014/main" id="{5EB94CF3-DE0F-AD24-8883-274989FB0F89}"/>
              </a:ext>
            </a:extLst>
          </p:cNvPr>
          <p:cNvSpPr txBox="1">
            <a:spLocks/>
          </p:cNvSpPr>
          <p:nvPr/>
        </p:nvSpPr>
        <p:spPr>
          <a:xfrm>
            <a:off x="7254089" y="2245973"/>
            <a:ext cx="1248149" cy="1384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Company</a:t>
            </a:r>
          </a:p>
        </p:txBody>
      </p:sp>
      <p:sp>
        <p:nvSpPr>
          <p:cNvPr id="1081" name="TextBox 1080">
            <a:extLst>
              <a:ext uri="{FF2B5EF4-FFF2-40B4-BE49-F238E27FC236}">
                <a16:creationId xmlns:a16="http://schemas.microsoft.com/office/drawing/2014/main" id="{A62A9300-2C34-FF03-6AC3-BF7B88AF9E64}"/>
              </a:ext>
            </a:extLst>
          </p:cNvPr>
          <p:cNvSpPr txBox="1">
            <a:spLocks/>
          </p:cNvSpPr>
          <p:nvPr/>
        </p:nvSpPr>
        <p:spPr>
          <a:xfrm>
            <a:off x="8710560" y="2495655"/>
            <a:ext cx="664862" cy="12906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Penasquito</a:t>
            </a:r>
          </a:p>
        </p:txBody>
      </p:sp>
      <p:sp>
        <p:nvSpPr>
          <p:cNvPr id="1082" name="TextBox 1081">
            <a:extLst>
              <a:ext uri="{FF2B5EF4-FFF2-40B4-BE49-F238E27FC236}">
                <a16:creationId xmlns:a16="http://schemas.microsoft.com/office/drawing/2014/main" id="{EC7FEF8F-A33B-EC24-68AE-650F745D2EA3}"/>
              </a:ext>
            </a:extLst>
          </p:cNvPr>
          <p:cNvSpPr txBox="1">
            <a:spLocks/>
          </p:cNvSpPr>
          <p:nvPr/>
        </p:nvSpPr>
        <p:spPr>
          <a:xfrm>
            <a:off x="9704901" y="2495655"/>
            <a:ext cx="796688" cy="13512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570</a:t>
            </a:r>
          </a:p>
        </p:txBody>
      </p:sp>
      <p:sp>
        <p:nvSpPr>
          <p:cNvPr id="1083" name="TextBox 1082">
            <a:extLst>
              <a:ext uri="{FF2B5EF4-FFF2-40B4-BE49-F238E27FC236}">
                <a16:creationId xmlns:a16="http://schemas.microsoft.com/office/drawing/2014/main" id="{01E2FABB-DCA7-0665-88EF-429F30C1BCF7}"/>
              </a:ext>
            </a:extLst>
          </p:cNvPr>
          <p:cNvSpPr txBox="1">
            <a:spLocks/>
          </p:cNvSpPr>
          <p:nvPr/>
        </p:nvSpPr>
        <p:spPr>
          <a:xfrm>
            <a:off x="10682552" y="2495655"/>
            <a:ext cx="899848" cy="13715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2010</a:t>
            </a:r>
          </a:p>
        </p:txBody>
      </p:sp>
      <p:sp>
        <p:nvSpPr>
          <p:cNvPr id="1084" name="TextBox 1083">
            <a:extLst>
              <a:ext uri="{FF2B5EF4-FFF2-40B4-BE49-F238E27FC236}">
                <a16:creationId xmlns:a16="http://schemas.microsoft.com/office/drawing/2014/main" id="{B04C61C8-A9AB-B87D-80D0-2E6B904852BB}"/>
              </a:ext>
            </a:extLst>
          </p:cNvPr>
          <p:cNvSpPr txBox="1">
            <a:spLocks/>
          </p:cNvSpPr>
          <p:nvPr/>
        </p:nvSpPr>
        <p:spPr>
          <a:xfrm>
            <a:off x="8710559" y="2707552"/>
            <a:ext cx="784899" cy="13512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El Limon-Guajes</a:t>
            </a:r>
          </a:p>
        </p:txBody>
      </p:sp>
      <p:sp>
        <p:nvSpPr>
          <p:cNvPr id="1085" name="TextBox 1084">
            <a:extLst>
              <a:ext uri="{FF2B5EF4-FFF2-40B4-BE49-F238E27FC236}">
                <a16:creationId xmlns:a16="http://schemas.microsoft.com/office/drawing/2014/main" id="{7B90ABFC-CA61-3A10-00D3-3AAA1ED40EF8}"/>
              </a:ext>
            </a:extLst>
          </p:cNvPr>
          <p:cNvSpPr txBox="1">
            <a:spLocks/>
          </p:cNvSpPr>
          <p:nvPr/>
        </p:nvSpPr>
        <p:spPr>
          <a:xfrm>
            <a:off x="9704901" y="2707552"/>
            <a:ext cx="796688" cy="13512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330</a:t>
            </a:r>
          </a:p>
        </p:txBody>
      </p:sp>
      <p:sp>
        <p:nvSpPr>
          <p:cNvPr id="1086" name="TextBox 1085">
            <a:extLst>
              <a:ext uri="{FF2B5EF4-FFF2-40B4-BE49-F238E27FC236}">
                <a16:creationId xmlns:a16="http://schemas.microsoft.com/office/drawing/2014/main" id="{ED2D2603-1896-7197-2B69-FC00DC2E6474}"/>
              </a:ext>
            </a:extLst>
          </p:cNvPr>
          <p:cNvSpPr txBox="1">
            <a:spLocks/>
          </p:cNvSpPr>
          <p:nvPr/>
        </p:nvSpPr>
        <p:spPr>
          <a:xfrm>
            <a:off x="10682552" y="2707552"/>
            <a:ext cx="1125550" cy="13512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2015</a:t>
            </a:r>
          </a:p>
        </p:txBody>
      </p:sp>
      <p:cxnSp>
        <p:nvCxnSpPr>
          <p:cNvPr id="1087" name="Straight Connector 1086">
            <a:extLst>
              <a:ext uri="{FF2B5EF4-FFF2-40B4-BE49-F238E27FC236}">
                <a16:creationId xmlns:a16="http://schemas.microsoft.com/office/drawing/2014/main" id="{93A35A3C-09E1-DF7F-56ED-CE34AB80CE7D}"/>
              </a:ext>
            </a:extLst>
          </p:cNvPr>
          <p:cNvCxnSpPr>
            <a:cxnSpLocks/>
          </p:cNvCxnSpPr>
          <p:nvPr>
            <p:custDataLst>
              <p:tags r:id="rId62"/>
            </p:custDataLst>
          </p:nvPr>
        </p:nvCxnSpPr>
        <p:spPr>
          <a:xfrm>
            <a:off x="7254089" y="2400347"/>
            <a:ext cx="1248149" cy="0"/>
          </a:xfrm>
          <a:prstGeom prst="line">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sp>
        <p:nvSpPr>
          <p:cNvPr id="130" name="TextBox 129">
            <a:extLst>
              <a:ext uri="{FF2B5EF4-FFF2-40B4-BE49-F238E27FC236}">
                <a16:creationId xmlns:a16="http://schemas.microsoft.com/office/drawing/2014/main" id="{FED57B12-3522-1E2C-B4A2-7A4C8FBC7489}"/>
              </a:ext>
            </a:extLst>
          </p:cNvPr>
          <p:cNvSpPr txBox="1">
            <a:spLocks/>
          </p:cNvSpPr>
          <p:nvPr/>
        </p:nvSpPr>
        <p:spPr>
          <a:xfrm>
            <a:off x="8710559" y="2902987"/>
            <a:ext cx="784899" cy="13512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La Herradura</a:t>
            </a:r>
          </a:p>
        </p:txBody>
      </p:sp>
      <p:cxnSp>
        <p:nvCxnSpPr>
          <p:cNvPr id="131" name="Straight Connector 130">
            <a:extLst>
              <a:ext uri="{FF2B5EF4-FFF2-40B4-BE49-F238E27FC236}">
                <a16:creationId xmlns:a16="http://schemas.microsoft.com/office/drawing/2014/main" id="{D921CC7B-621F-0C95-4789-AC9E2EA55C46}"/>
              </a:ext>
            </a:extLst>
          </p:cNvPr>
          <p:cNvCxnSpPr>
            <a:cxnSpLocks/>
          </p:cNvCxnSpPr>
          <p:nvPr>
            <p:custDataLst>
              <p:tags r:id="rId63"/>
            </p:custDataLst>
          </p:nvPr>
        </p:nvCxnSpPr>
        <p:spPr>
          <a:xfrm>
            <a:off x="7254089" y="2844250"/>
            <a:ext cx="4554013" cy="0"/>
          </a:xfrm>
          <a:prstGeom prst="line">
            <a:avLst/>
          </a:prstGeom>
          <a:ln w="6350">
            <a:solidFill>
              <a:srgbClr val="757575"/>
            </a:solidFill>
            <a:prstDash val="solid"/>
          </a:ln>
        </p:spPr>
        <p:style>
          <a:lnRef idx="1">
            <a:schemeClr val="accent1"/>
          </a:lnRef>
          <a:fillRef idx="0">
            <a:schemeClr val="accent1"/>
          </a:fillRef>
          <a:effectRef idx="0">
            <a:schemeClr val="accent1"/>
          </a:effectRef>
          <a:fontRef idx="minor">
            <a:schemeClr val="tx1"/>
          </a:fontRef>
        </p:style>
      </p:cxnSp>
      <p:sp>
        <p:nvSpPr>
          <p:cNvPr id="134" name="TextBox 133">
            <a:extLst>
              <a:ext uri="{FF2B5EF4-FFF2-40B4-BE49-F238E27FC236}">
                <a16:creationId xmlns:a16="http://schemas.microsoft.com/office/drawing/2014/main" id="{6698F9B6-EEA2-CE5B-629E-DA7A71D7975C}"/>
              </a:ext>
            </a:extLst>
          </p:cNvPr>
          <p:cNvSpPr txBox="1">
            <a:spLocks/>
          </p:cNvSpPr>
          <p:nvPr/>
        </p:nvSpPr>
        <p:spPr>
          <a:xfrm>
            <a:off x="9704901" y="2892708"/>
            <a:ext cx="796688" cy="13512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200</a:t>
            </a:r>
          </a:p>
        </p:txBody>
      </p:sp>
      <p:sp>
        <p:nvSpPr>
          <p:cNvPr id="137" name="Rectangle 136">
            <a:extLst>
              <a:ext uri="{FF2B5EF4-FFF2-40B4-BE49-F238E27FC236}">
                <a16:creationId xmlns:a16="http://schemas.microsoft.com/office/drawing/2014/main" id="{97A88247-7D3D-0A04-2F58-6FFBC9A5FA5B}"/>
              </a:ext>
            </a:extLst>
          </p:cNvPr>
          <p:cNvSpPr>
            <a:spLocks/>
          </p:cNvSpPr>
          <p:nvPr/>
        </p:nvSpPr>
        <p:spPr>
          <a:xfrm>
            <a:off x="7174991" y="2201086"/>
            <a:ext cx="4712207" cy="867235"/>
          </a:xfrm>
          <a:prstGeom prst="rect">
            <a:avLst/>
          </a:prstGeom>
          <a:no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CA" sz="1400" b="0" i="0" u="none" strike="noStrike" kern="1200" cap="none" spc="0" normalizeH="0" baseline="0" noProof="0" dirty="0" err="1">
              <a:ln>
                <a:noFill/>
              </a:ln>
              <a:solidFill>
                <a:srgbClr val="2A516C"/>
              </a:solidFill>
              <a:effectLst/>
              <a:uLnTx/>
              <a:uFillTx/>
              <a:latin typeface="Calibri" panose="020F0502020204030204" pitchFamily="34" charset="0"/>
              <a:ea typeface="ＭＳ Ｐゴシック"/>
              <a:cs typeface="Calibri" panose="020F0502020204030204" pitchFamily="34" charset="0"/>
            </a:endParaRPr>
          </a:p>
        </p:txBody>
      </p:sp>
      <p:sp>
        <p:nvSpPr>
          <p:cNvPr id="138" name="TextBox 137">
            <a:extLst>
              <a:ext uri="{FF2B5EF4-FFF2-40B4-BE49-F238E27FC236}">
                <a16:creationId xmlns:a16="http://schemas.microsoft.com/office/drawing/2014/main" id="{75853DDB-1744-AB54-53A3-3BFD187C8164}"/>
              </a:ext>
            </a:extLst>
          </p:cNvPr>
          <p:cNvSpPr txBox="1">
            <a:spLocks/>
          </p:cNvSpPr>
          <p:nvPr/>
        </p:nvSpPr>
        <p:spPr>
          <a:xfrm>
            <a:off x="10682552" y="2892552"/>
            <a:ext cx="1125550" cy="13512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1997</a:t>
            </a:r>
          </a:p>
        </p:txBody>
      </p:sp>
      <p:pic>
        <p:nvPicPr>
          <p:cNvPr id="141" name="Picture 4">
            <a:extLst>
              <a:ext uri="{FF2B5EF4-FFF2-40B4-BE49-F238E27FC236}">
                <a16:creationId xmlns:a16="http://schemas.microsoft.com/office/drawing/2014/main" id="{CFEB219C-22D6-13CC-422A-61162235D313}"/>
              </a:ext>
            </a:extLst>
          </p:cNvPr>
          <p:cNvPicPr>
            <a:picLocks noChangeAspect="1" noChangeArrowheads="1"/>
          </p:cNvPicPr>
          <p:nvPr/>
        </p:nvPicPr>
        <p:blipFill>
          <a:blip r:embed="rId76" cstate="screen">
            <a:extLst>
              <a:ext uri="{28A0092B-C50C-407E-A947-70E740481C1C}">
                <a14:useLocalDpi xmlns:a14="http://schemas.microsoft.com/office/drawing/2010/main"/>
              </a:ext>
            </a:extLst>
          </a:blip>
          <a:srcRect/>
          <a:stretch>
            <a:fillRect/>
          </a:stretch>
        </p:blipFill>
        <p:spPr bwMode="auto">
          <a:xfrm>
            <a:off x="7284998" y="2649164"/>
            <a:ext cx="335843" cy="180622"/>
          </a:xfrm>
          <a:prstGeom prst="rect">
            <a:avLst/>
          </a:prstGeom>
          <a:noFill/>
          <a:extLst>
            <a:ext uri="{909E8E84-426E-40DD-AFC4-6F175D3DCCD1}">
              <a14:hiddenFill xmlns:a14="http://schemas.microsoft.com/office/drawing/2010/main">
                <a:solidFill>
                  <a:srgbClr val="FFFFFF"/>
                </a:solidFill>
              </a14:hiddenFill>
            </a:ext>
          </a:extLst>
        </p:spPr>
      </p:pic>
      <p:pic>
        <p:nvPicPr>
          <p:cNvPr id="142" name="Picture 6">
            <a:extLst>
              <a:ext uri="{FF2B5EF4-FFF2-40B4-BE49-F238E27FC236}">
                <a16:creationId xmlns:a16="http://schemas.microsoft.com/office/drawing/2014/main" id="{3B14E2FF-8B6E-3D94-0BD5-B1820542A094}"/>
              </a:ext>
            </a:extLst>
          </p:cNvPr>
          <p:cNvPicPr>
            <a:picLocks noChangeAspect="1" noChangeArrowheads="1"/>
          </p:cNvPicPr>
          <p:nvPr/>
        </p:nvPicPr>
        <p:blipFill>
          <a:blip r:embed="rId77" cstate="screen">
            <a:extLst>
              <a:ext uri="{28A0092B-C50C-407E-A947-70E740481C1C}">
                <a14:useLocalDpi xmlns:a14="http://schemas.microsoft.com/office/drawing/2010/main"/>
              </a:ext>
            </a:extLst>
          </a:blip>
          <a:srcRect/>
          <a:stretch>
            <a:fillRect/>
          </a:stretch>
        </p:blipFill>
        <p:spPr bwMode="auto">
          <a:xfrm>
            <a:off x="7265016" y="2871878"/>
            <a:ext cx="482152" cy="1539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91419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 hidden="1">
            <a:extLst>
              <a:ext uri="{FF2B5EF4-FFF2-40B4-BE49-F238E27FC236}">
                <a16:creationId xmlns:a16="http://schemas.microsoft.com/office/drawing/2014/main" id="{578D55DE-3BB1-3BCB-BC1B-44EF337F1908}"/>
              </a:ext>
            </a:extLst>
          </p:cNvPr>
          <p:cNvGraphicFramePr>
            <a:graphicFrameLocks noChangeAspect="1"/>
          </p:cNvGraphicFramePr>
          <p:nvPr>
            <p:custDataLst>
              <p:tags r:id="rId1"/>
            </p:custDataLst>
            <p:extLst>
              <p:ext uri="{D42A27DB-BD31-4B8C-83A1-F6EECF244321}">
                <p14:modId xmlns:p14="http://schemas.microsoft.com/office/powerpoint/2010/main" val="4058387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5" imgW="395" imgH="396" progId="TCLayout.ActiveDocument.1">
                  <p:embed/>
                </p:oleObj>
              </mc:Choice>
              <mc:Fallback>
                <p:oleObj name="think-cell Slide" r:id="rId95" imgW="395" imgH="396" progId="TCLayout.ActiveDocument.1">
                  <p:embed/>
                  <p:pic>
                    <p:nvPicPr>
                      <p:cNvPr id="15" name="Object 1" hidden="1">
                        <a:extLst>
                          <a:ext uri="{FF2B5EF4-FFF2-40B4-BE49-F238E27FC236}">
                            <a16:creationId xmlns:a16="http://schemas.microsoft.com/office/drawing/2014/main" id="{578D55DE-3BB1-3BCB-BC1B-44EF337F1908}"/>
                          </a:ext>
                        </a:extLst>
                      </p:cNvPr>
                      <p:cNvPicPr/>
                      <p:nvPr/>
                    </p:nvPicPr>
                    <p:blipFill>
                      <a:blip r:embed="rId9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idx="4294967295"/>
          </p:nvPr>
        </p:nvSpPr>
        <p:spPr>
          <a:xfrm>
            <a:off x="262527" y="236449"/>
            <a:ext cx="9166496" cy="830997"/>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ctr" anchorCtr="0">
            <a:spAutoFit/>
          </a:bodyPr>
          <a:lstStyle/>
          <a:p>
            <a:r>
              <a:rPr lang="en-CA" sz="2400" dirty="0"/>
              <a:t>Colombia has been struggling to move from artisan/illegal to industrial gold production, despite its large undeveloped resources</a:t>
            </a:r>
          </a:p>
        </p:txBody>
      </p:sp>
      <p:sp>
        <p:nvSpPr>
          <p:cNvPr id="51" name="5. Source">
            <a:extLst>
              <a:ext uri="{FF2B5EF4-FFF2-40B4-BE49-F238E27FC236}">
                <a16:creationId xmlns:a16="http://schemas.microsoft.com/office/drawing/2014/main" id="{FEA89F67-585A-557F-A85D-1AAFAD031886}"/>
              </a:ext>
            </a:extLst>
          </p:cNvPr>
          <p:cNvSpPr txBox="1"/>
          <p:nvPr>
            <p:custDataLst>
              <p:tags r:id="rId2"/>
            </p:custDataLst>
          </p:nvPr>
        </p:nvSpPr>
        <p:spPr>
          <a:xfrm>
            <a:off x="346356"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ource: CIA World Factbook, World Bank WDI, IMF (WEO), Oxford Economics, </a:t>
            </a:r>
            <a:r>
              <a:rPr kumimoji="0" lang="en-US" sz="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MineSpans</a:t>
            </a: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en-US" sz="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Dentos</a:t>
            </a: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Global Mining Guide, </a:t>
            </a:r>
            <a:r>
              <a:rPr kumimoji="0" lang="en-US" sz="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Lexology</a:t>
            </a: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press search</a:t>
            </a:r>
          </a:p>
        </p:txBody>
      </p:sp>
      <p:cxnSp>
        <p:nvCxnSpPr>
          <p:cNvPr id="34" name="Straight Connector 33">
            <a:extLst>
              <a:ext uri="{FF2B5EF4-FFF2-40B4-BE49-F238E27FC236}">
                <a16:creationId xmlns:a16="http://schemas.microsoft.com/office/drawing/2014/main" id="{EB3C492B-2B23-BBB8-FD5D-B1EF650D1AA8}"/>
              </a:ext>
            </a:extLst>
          </p:cNvPr>
          <p:cNvCxnSpPr>
            <a:cxnSpLocks/>
          </p:cNvCxnSpPr>
          <p:nvPr>
            <p:custDataLst>
              <p:tags r:id="rId3"/>
            </p:custDataLst>
          </p:nvPr>
        </p:nvCxnSpPr>
        <p:spPr>
          <a:xfrm>
            <a:off x="346074" y="4179956"/>
            <a:ext cx="5524265" cy="0"/>
          </a:xfrm>
          <a:prstGeom prst="line">
            <a:avLst/>
          </a:prstGeom>
          <a:ln w="6350">
            <a:solidFill>
              <a:srgbClr val="757575"/>
            </a:solidFill>
            <a:prstDash val="soli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D80A1D05-FAF3-BED8-FD5C-2BE9D20B7596}"/>
              </a:ext>
            </a:extLst>
          </p:cNvPr>
          <p:cNvCxnSpPr>
            <a:cxnSpLocks/>
          </p:cNvCxnSpPr>
          <p:nvPr>
            <p:custDataLst>
              <p:tags r:id="rId4"/>
            </p:custDataLst>
          </p:nvPr>
        </p:nvCxnSpPr>
        <p:spPr>
          <a:xfrm>
            <a:off x="346074" y="2250130"/>
            <a:ext cx="5524265" cy="0"/>
          </a:xfrm>
          <a:prstGeom prst="line">
            <a:avLst/>
          </a:prstGeom>
          <a:ln w="6350">
            <a:solidFill>
              <a:srgbClr val="757575"/>
            </a:solidFill>
            <a:prstDash val="soli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E48FF427-B204-0939-2F10-F61E62D6A4AB}"/>
              </a:ext>
            </a:extLst>
          </p:cNvPr>
          <p:cNvCxnSpPr>
            <a:cxnSpLocks/>
          </p:cNvCxnSpPr>
          <p:nvPr>
            <p:custDataLst>
              <p:tags r:id="rId5"/>
            </p:custDataLst>
          </p:nvPr>
        </p:nvCxnSpPr>
        <p:spPr>
          <a:xfrm>
            <a:off x="346074" y="3353473"/>
            <a:ext cx="5524265" cy="0"/>
          </a:xfrm>
          <a:prstGeom prst="line">
            <a:avLst/>
          </a:prstGeom>
          <a:ln w="6350">
            <a:solidFill>
              <a:srgbClr val="757575"/>
            </a:solidFill>
            <a:prstDash val="soli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64A3520-D2D9-CE31-EF86-4AF475BF887E}"/>
              </a:ext>
            </a:extLst>
          </p:cNvPr>
          <p:cNvCxnSpPr>
            <a:cxnSpLocks/>
          </p:cNvCxnSpPr>
          <p:nvPr>
            <p:custDataLst>
              <p:tags r:id="rId6"/>
            </p:custDataLst>
          </p:nvPr>
        </p:nvCxnSpPr>
        <p:spPr>
          <a:xfrm>
            <a:off x="6197600" y="3128633"/>
            <a:ext cx="5689601" cy="0"/>
          </a:xfrm>
          <a:prstGeom prst="line">
            <a:avLst/>
          </a:prstGeom>
          <a:ln w="6350">
            <a:solidFill>
              <a:srgbClr val="757575"/>
            </a:solidFill>
            <a:prstDash val="solid"/>
          </a:ln>
        </p:spPr>
        <p:style>
          <a:lnRef idx="1">
            <a:schemeClr val="accent1"/>
          </a:lnRef>
          <a:fillRef idx="0">
            <a:schemeClr val="accent1"/>
          </a:fillRef>
          <a:effectRef idx="0">
            <a:schemeClr val="accent1"/>
          </a:effectRef>
          <a:fontRef idx="minor">
            <a:schemeClr val="tx1"/>
          </a:fontRef>
        </p:style>
      </p:cxnSp>
      <p:sp>
        <p:nvSpPr>
          <p:cNvPr id="42" name="Rectangle 8">
            <a:extLst>
              <a:ext uri="{FF2B5EF4-FFF2-40B4-BE49-F238E27FC236}">
                <a16:creationId xmlns:a16="http://schemas.microsoft.com/office/drawing/2014/main" id="{EF0C4F77-5819-4FF8-28E6-3CC6E87DC0F5}"/>
              </a:ext>
            </a:extLst>
          </p:cNvPr>
          <p:cNvSpPr txBox="1">
            <a:spLocks/>
          </p:cNvSpPr>
          <p:nvPr>
            <p:custDataLst>
              <p:tags r:id="rId7"/>
            </p:custDataLst>
          </p:nvPr>
        </p:nvSpPr>
        <p:spPr>
          <a:xfrm>
            <a:off x="6197598" y="3188945"/>
            <a:ext cx="896621" cy="1801067"/>
          </a:xfrm>
          <a:prstGeom prst="rect">
            <a:avLst/>
          </a:prstGeom>
          <a:solidFill>
            <a:schemeClr val="accent1"/>
          </a:solidFill>
          <a:ln w="9525">
            <a:noFill/>
            <a:miter lim="800000"/>
            <a:headEnd/>
            <a:tailEnd/>
          </a:ln>
          <a:effectLst/>
        </p:spPr>
        <p:txBody>
          <a:bodyPr vert="horz" wrap="square" lIns="36576" tIns="76200" rIns="36576" bIns="76200" numCol="1" anchor="ctr" anchorCtr="0" compatLnSpc="1">
            <a:prstTxWarp prst="textNoShape">
              <a:avLst/>
            </a:prstTxWarp>
            <a:noAutofit/>
          </a:bodyPr>
          <a:lstStyle>
            <a:defPPr>
              <a:defRPr lang="en-US"/>
            </a:defPPr>
            <a:lvl1pPr marL="0" lvl="0" indent="0" defTabSz="913526" eaLnBrk="1" hangingPunct="1">
              <a:buClr>
                <a:schemeClr val="tx2"/>
              </a:buClr>
              <a:defRPr sz="1000" b="1"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Fiscal and regulatory terms relevant to gold industry</a:t>
            </a:r>
            <a:endParaRPr kumimoji="0" lang="en-CA"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endParaRPr>
          </a:p>
        </p:txBody>
      </p:sp>
      <p:sp>
        <p:nvSpPr>
          <p:cNvPr id="93" name="TextBox 92">
            <a:extLst>
              <a:ext uri="{FF2B5EF4-FFF2-40B4-BE49-F238E27FC236}">
                <a16:creationId xmlns:a16="http://schemas.microsoft.com/office/drawing/2014/main" id="{973EABFE-AA29-2CE1-B02E-CAAF3B875086}"/>
              </a:ext>
            </a:extLst>
          </p:cNvPr>
          <p:cNvSpPr txBox="1">
            <a:spLocks/>
          </p:cNvSpPr>
          <p:nvPr/>
        </p:nvSpPr>
        <p:spPr>
          <a:xfrm>
            <a:off x="7174991" y="3188945"/>
            <a:ext cx="4712209" cy="180106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The Colombian mining regime is based on the civil legal system and relies on </a:t>
            </a: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three fundamental legal and regulatory instruments: (i) The 1991 Political Constitution of the Republic of Colombia</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ii) </a:t>
            </a: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The Colombian Mining Code </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Law No. 685 enacted in 2001) which provides the basic rules for the exploration and production of minerals in the country; and (iii) </a:t>
            </a: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Administrative Acts</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decrees, resolutions, etc.)</a:t>
            </a:r>
          </a:p>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Taxes: </a:t>
            </a: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CIT – 30%;  Dividends</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depending on taxation, from 10-32%); </a:t>
            </a: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Capital gains, 10%; VAT – 19%; </a:t>
            </a:r>
          </a:p>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Depending on the activities and the nature of a company’s assets, </a:t>
            </a: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other taxes may apply, </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such as real estate tax, industry and commerce tax, financial transactions tax, etc.</a:t>
            </a:r>
          </a:p>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The </a:t>
            </a: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royalty for gold is 4 percent of the mouth of mine value of production</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Mouth of mine value is deemed as 80 percent of the international gold price, as determined by the mining authority</a:t>
            </a:r>
          </a:p>
        </p:txBody>
      </p:sp>
      <p:grpSp>
        <p:nvGrpSpPr>
          <p:cNvPr id="94" name="Group 93">
            <a:extLst>
              <a:ext uri="{FF2B5EF4-FFF2-40B4-BE49-F238E27FC236}">
                <a16:creationId xmlns:a16="http://schemas.microsoft.com/office/drawing/2014/main" id="{7AF60622-487E-3162-6208-3FADC957CDCB}"/>
              </a:ext>
            </a:extLst>
          </p:cNvPr>
          <p:cNvGrpSpPr/>
          <p:nvPr/>
        </p:nvGrpSpPr>
        <p:grpSpPr>
          <a:xfrm>
            <a:off x="346075" y="3462838"/>
            <a:ext cx="5605035" cy="607753"/>
            <a:chOff x="346075" y="3633547"/>
            <a:chExt cx="5605035" cy="607753"/>
          </a:xfrm>
        </p:grpSpPr>
        <p:sp>
          <p:nvSpPr>
            <p:cNvPr id="33" name="Rectangle 8">
              <a:extLst>
                <a:ext uri="{FF2B5EF4-FFF2-40B4-BE49-F238E27FC236}">
                  <a16:creationId xmlns:a16="http://schemas.microsoft.com/office/drawing/2014/main" id="{CB027349-3B9C-8384-4834-48368D61E2E8}"/>
                </a:ext>
              </a:extLst>
            </p:cNvPr>
            <p:cNvSpPr txBox="1">
              <a:spLocks/>
            </p:cNvSpPr>
            <p:nvPr>
              <p:custDataLst>
                <p:tags r:id="rId92"/>
              </p:custDataLst>
            </p:nvPr>
          </p:nvSpPr>
          <p:spPr>
            <a:xfrm>
              <a:off x="346075" y="3633547"/>
              <a:ext cx="1194435" cy="539387"/>
            </a:xfrm>
            <a:prstGeom prst="rect">
              <a:avLst/>
            </a:prstGeom>
            <a:solidFill>
              <a:schemeClr val="accent1"/>
            </a:solidFill>
            <a:ln w="9525">
              <a:noFill/>
              <a:miter lim="800000"/>
              <a:headEnd/>
              <a:tailEnd/>
            </a:ln>
            <a:effectLst/>
          </p:spPr>
          <p:txBody>
            <a:bodyPr vert="horz" wrap="square" lIns="36576" tIns="76200" rIns="36576" bIns="76200" numCol="1" anchor="ctr" anchorCtr="0" compatLnSpc="1">
              <a:prstTxWarp prst="textNoShape">
                <a:avLst/>
              </a:prstTxWarp>
              <a:noAutofit/>
            </a:bodyPr>
            <a:lstStyle>
              <a:defPPr>
                <a:defRPr lang="en-US"/>
              </a:defPPr>
              <a:lvl1pPr marL="0" lvl="0" indent="0" defTabSz="913526" eaLnBrk="1" hangingPunct="1">
                <a:buClr>
                  <a:schemeClr val="tx2"/>
                </a:buClr>
                <a:defRPr sz="1000" b="1"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Comparable opera-</a:t>
              </a:r>
              <a:r>
                <a:rPr kumimoji="0" lang="en-US" sz="1000" b="1" i="0" u="none" strike="noStrike" kern="1200" cap="none" spc="0" normalizeH="0" baseline="0" noProof="0" dirty="0" err="1">
                  <a:ln>
                    <a:noFill/>
                  </a:ln>
                  <a:solidFill>
                    <a:srgbClr val="FFFFFF"/>
                  </a:solidFill>
                  <a:effectLst/>
                  <a:uLnTx/>
                  <a:uFillTx/>
                  <a:latin typeface="Calibri" panose="020F0502020204030204" pitchFamily="34" charset="0"/>
                  <a:ea typeface="ＭＳ Ｐゴシック"/>
                  <a:cs typeface="Calibri" panose="020F0502020204030204" pitchFamily="34" charset="0"/>
                </a:rPr>
                <a:t>tional</a:t>
              </a: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 environments</a:t>
              </a:r>
              <a:endParaRPr kumimoji="0" lang="en-CA"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endParaRPr>
            </a:p>
          </p:txBody>
        </p:sp>
        <p:sp>
          <p:nvSpPr>
            <p:cNvPr id="91" name="TextBox 90">
              <a:extLst>
                <a:ext uri="{FF2B5EF4-FFF2-40B4-BE49-F238E27FC236}">
                  <a16:creationId xmlns:a16="http://schemas.microsoft.com/office/drawing/2014/main" id="{BEE782B9-C50C-7145-E203-58E3D3C475B7}"/>
                </a:ext>
              </a:extLst>
            </p:cNvPr>
            <p:cNvSpPr txBox="1">
              <a:spLocks/>
            </p:cNvSpPr>
            <p:nvPr/>
          </p:nvSpPr>
          <p:spPr>
            <a:xfrm>
              <a:off x="1615439" y="3633548"/>
              <a:ext cx="4335671" cy="60775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Ecuador – emerging market without a long history of significant mining investments</a:t>
              </a:r>
            </a:p>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Peru – complicated history of mining conflicts with traditional communities</a:t>
              </a:r>
            </a:p>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Chile/Peru – presence of copper-gold porphyric deposits</a:t>
              </a:r>
            </a:p>
          </p:txBody>
        </p:sp>
      </p:grpSp>
      <p:grpSp>
        <p:nvGrpSpPr>
          <p:cNvPr id="97" name="Group 96">
            <a:extLst>
              <a:ext uri="{FF2B5EF4-FFF2-40B4-BE49-F238E27FC236}">
                <a16:creationId xmlns:a16="http://schemas.microsoft.com/office/drawing/2014/main" id="{1C907EDE-AE89-C168-0DB1-C44E5EC54698}"/>
              </a:ext>
            </a:extLst>
          </p:cNvPr>
          <p:cNvGrpSpPr/>
          <p:nvPr/>
        </p:nvGrpSpPr>
        <p:grpSpPr>
          <a:xfrm>
            <a:off x="346075" y="4289323"/>
            <a:ext cx="5605036" cy="700689"/>
            <a:chOff x="346075" y="4289323"/>
            <a:chExt cx="5605036" cy="700689"/>
          </a:xfrm>
        </p:grpSpPr>
        <p:sp>
          <p:nvSpPr>
            <p:cNvPr id="41" name="Rectangle 8">
              <a:extLst>
                <a:ext uri="{FF2B5EF4-FFF2-40B4-BE49-F238E27FC236}">
                  <a16:creationId xmlns:a16="http://schemas.microsoft.com/office/drawing/2014/main" id="{EA08B892-A175-5A1E-4459-FB7C21FBFBD3}"/>
                </a:ext>
              </a:extLst>
            </p:cNvPr>
            <p:cNvSpPr txBox="1">
              <a:spLocks/>
            </p:cNvSpPr>
            <p:nvPr>
              <p:custDataLst>
                <p:tags r:id="rId91"/>
              </p:custDataLst>
            </p:nvPr>
          </p:nvSpPr>
          <p:spPr>
            <a:xfrm>
              <a:off x="346075" y="4289323"/>
              <a:ext cx="1194435" cy="700689"/>
            </a:xfrm>
            <a:prstGeom prst="rect">
              <a:avLst/>
            </a:prstGeom>
            <a:solidFill>
              <a:schemeClr val="accent1"/>
            </a:solidFill>
            <a:ln w="9525">
              <a:noFill/>
              <a:miter lim="800000"/>
              <a:headEnd/>
              <a:tailEnd/>
            </a:ln>
            <a:effectLst/>
          </p:spPr>
          <p:txBody>
            <a:bodyPr vert="horz" wrap="square" lIns="36576" tIns="76200" rIns="36576" bIns="76200" numCol="1" anchor="ctr"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Other relevant factors</a:t>
              </a:r>
              <a:endParaRPr kumimoji="0" lang="en-CA"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endParaRPr>
            </a:p>
          </p:txBody>
        </p:sp>
        <p:sp>
          <p:nvSpPr>
            <p:cNvPr id="92" name="TextBox 91">
              <a:extLst>
                <a:ext uri="{FF2B5EF4-FFF2-40B4-BE49-F238E27FC236}">
                  <a16:creationId xmlns:a16="http://schemas.microsoft.com/office/drawing/2014/main" id="{234F2287-030E-8A2F-7325-FADEC940D7CA}"/>
                </a:ext>
              </a:extLst>
            </p:cNvPr>
            <p:cNvSpPr txBox="1">
              <a:spLocks/>
            </p:cNvSpPr>
            <p:nvPr/>
          </p:nvSpPr>
          <p:spPr>
            <a:xfrm>
              <a:off x="1615441" y="4289323"/>
              <a:ext cx="4335670" cy="69130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Colombia’s considerable geological potential has been out of the radar for decades due to security reasons, but interest reemerged following the pacification of the country</a:t>
              </a:r>
            </a:p>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There are pockets of Colombia where political support for mining is found, particularly Antioquia, but 3 of the 4 most significant projects in the country’s pipeline are facing delays due to community and environmental issues</a:t>
              </a:r>
              <a:endPar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endParaRPr>
            </a:p>
          </p:txBody>
        </p:sp>
      </p:grpSp>
      <p:grpSp>
        <p:nvGrpSpPr>
          <p:cNvPr id="89" name="Group 88">
            <a:extLst>
              <a:ext uri="{FF2B5EF4-FFF2-40B4-BE49-F238E27FC236}">
                <a16:creationId xmlns:a16="http://schemas.microsoft.com/office/drawing/2014/main" id="{5C4C878D-80B8-689F-65BC-CDF3EE867772}"/>
              </a:ext>
            </a:extLst>
          </p:cNvPr>
          <p:cNvGrpSpPr/>
          <p:nvPr/>
        </p:nvGrpSpPr>
        <p:grpSpPr>
          <a:xfrm>
            <a:off x="346075" y="1267253"/>
            <a:ext cx="5524265" cy="873512"/>
            <a:chOff x="346075" y="1637183"/>
            <a:chExt cx="5524265" cy="873512"/>
          </a:xfrm>
        </p:grpSpPr>
        <p:sp>
          <p:nvSpPr>
            <p:cNvPr id="46" name="Rectangle 8">
              <a:extLst>
                <a:ext uri="{FF2B5EF4-FFF2-40B4-BE49-F238E27FC236}">
                  <a16:creationId xmlns:a16="http://schemas.microsoft.com/office/drawing/2014/main" id="{DF62B165-B198-85FE-915A-1686D3ACAA0E}"/>
                </a:ext>
              </a:extLst>
            </p:cNvPr>
            <p:cNvSpPr txBox="1">
              <a:spLocks/>
            </p:cNvSpPr>
            <p:nvPr>
              <p:custDataLst>
                <p:tags r:id="rId90"/>
              </p:custDataLst>
            </p:nvPr>
          </p:nvSpPr>
          <p:spPr>
            <a:xfrm>
              <a:off x="346075" y="1637183"/>
              <a:ext cx="1194435" cy="873512"/>
            </a:xfrm>
            <a:prstGeom prst="rect">
              <a:avLst/>
            </a:prstGeom>
            <a:solidFill>
              <a:schemeClr val="accent1"/>
            </a:solidFill>
            <a:ln w="9525">
              <a:noFill/>
              <a:miter lim="800000"/>
              <a:headEnd/>
              <a:tailEnd/>
            </a:ln>
            <a:effectLst/>
          </p:spPr>
          <p:txBody>
            <a:bodyPr vert="horz" wrap="square" lIns="36576" tIns="76200" rIns="36576" bIns="76200" numCol="1" anchor="ctr"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Government overview and key stakeholders</a:t>
              </a:r>
              <a:endParaRPr kumimoji="0" lang="en-CA"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endParaRPr>
            </a:p>
          </p:txBody>
        </p:sp>
        <p:sp>
          <p:nvSpPr>
            <p:cNvPr id="132" name="TextBox 131">
              <a:extLst>
                <a:ext uri="{FF2B5EF4-FFF2-40B4-BE49-F238E27FC236}">
                  <a16:creationId xmlns:a16="http://schemas.microsoft.com/office/drawing/2014/main" id="{92FF2AEE-7746-7067-2EA0-26A153EB1600}"/>
                </a:ext>
              </a:extLst>
            </p:cNvPr>
            <p:cNvSpPr txBox="1">
              <a:spLocks/>
            </p:cNvSpPr>
            <p:nvPr/>
          </p:nvSpPr>
          <p:spPr>
            <a:xfrm>
              <a:off x="1615442" y="1782606"/>
              <a:ext cx="913446" cy="13652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Parliament type:</a:t>
              </a:r>
            </a:p>
          </p:txBody>
        </p:sp>
        <p:sp>
          <p:nvSpPr>
            <p:cNvPr id="133" name="TextBox 132">
              <a:extLst>
                <a:ext uri="{FF2B5EF4-FFF2-40B4-BE49-F238E27FC236}">
                  <a16:creationId xmlns:a16="http://schemas.microsoft.com/office/drawing/2014/main" id="{045FCAF2-5034-7D0C-CAC2-3B228E3769BA}"/>
                </a:ext>
              </a:extLst>
            </p:cNvPr>
            <p:cNvSpPr txBox="1">
              <a:spLocks/>
            </p:cNvSpPr>
            <p:nvPr/>
          </p:nvSpPr>
          <p:spPr>
            <a:xfrm>
              <a:off x="2600326" y="1782606"/>
              <a:ext cx="3270014"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bicameral Congress</a:t>
              </a:r>
              <a:endPar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endParaRPr>
            </a:p>
          </p:txBody>
        </p:sp>
        <p:sp>
          <p:nvSpPr>
            <p:cNvPr id="128" name="TextBox 127">
              <a:extLst>
                <a:ext uri="{FF2B5EF4-FFF2-40B4-BE49-F238E27FC236}">
                  <a16:creationId xmlns:a16="http://schemas.microsoft.com/office/drawing/2014/main" id="{08BB0351-7469-B33B-7341-A6C5B691B92D}"/>
                </a:ext>
              </a:extLst>
            </p:cNvPr>
            <p:cNvSpPr txBox="1">
              <a:spLocks/>
            </p:cNvSpPr>
            <p:nvPr/>
          </p:nvSpPr>
          <p:spPr>
            <a:xfrm>
              <a:off x="1615442" y="1637183"/>
              <a:ext cx="913446" cy="13652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Government type:</a:t>
              </a:r>
            </a:p>
          </p:txBody>
        </p:sp>
        <p:sp>
          <p:nvSpPr>
            <p:cNvPr id="129" name="TextBox 128">
              <a:extLst>
                <a:ext uri="{FF2B5EF4-FFF2-40B4-BE49-F238E27FC236}">
                  <a16:creationId xmlns:a16="http://schemas.microsoft.com/office/drawing/2014/main" id="{1591AFA9-25E4-06CF-CED4-57D391FB4D61}"/>
                </a:ext>
              </a:extLst>
            </p:cNvPr>
            <p:cNvSpPr txBox="1">
              <a:spLocks/>
            </p:cNvSpPr>
            <p:nvPr/>
          </p:nvSpPr>
          <p:spPr>
            <a:xfrm>
              <a:off x="2600326" y="1637183"/>
              <a:ext cx="3270014" cy="13652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Democracy</a:t>
              </a:r>
            </a:p>
          </p:txBody>
        </p:sp>
        <p:sp>
          <p:nvSpPr>
            <p:cNvPr id="135" name="TextBox 134">
              <a:extLst>
                <a:ext uri="{FF2B5EF4-FFF2-40B4-BE49-F238E27FC236}">
                  <a16:creationId xmlns:a16="http://schemas.microsoft.com/office/drawing/2014/main" id="{8FC8F185-8320-ED7C-8C9C-C417ECD7A218}"/>
                </a:ext>
              </a:extLst>
            </p:cNvPr>
            <p:cNvSpPr txBox="1">
              <a:spLocks/>
            </p:cNvSpPr>
            <p:nvPr/>
          </p:nvSpPr>
          <p:spPr>
            <a:xfrm>
              <a:off x="1615442" y="1930003"/>
              <a:ext cx="913446" cy="13493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President:</a:t>
              </a:r>
            </a:p>
          </p:txBody>
        </p:sp>
        <p:sp>
          <p:nvSpPr>
            <p:cNvPr id="136" name="TextBox 135">
              <a:extLst>
                <a:ext uri="{FF2B5EF4-FFF2-40B4-BE49-F238E27FC236}">
                  <a16:creationId xmlns:a16="http://schemas.microsoft.com/office/drawing/2014/main" id="{286FD3F8-A9FB-E0FA-11D2-E82BA030CF9B}"/>
                </a:ext>
              </a:extLst>
            </p:cNvPr>
            <p:cNvSpPr txBox="1">
              <a:spLocks/>
            </p:cNvSpPr>
            <p:nvPr/>
          </p:nvSpPr>
          <p:spPr>
            <a:xfrm>
              <a:off x="2600326" y="1930003"/>
              <a:ext cx="3270014" cy="138499"/>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Gustavo Francisco Petro Urrego </a:t>
              </a:r>
              <a:r>
                <a:rPr kumimoji="0" lang="es-E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a:t>
              </a:r>
              <a:r>
                <a:rPr kumimoji="0" lang="es-ES" sz="9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since</a:t>
              </a:r>
              <a:r>
                <a:rPr kumimoji="0" lang="es-E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2022)</a:t>
              </a:r>
              <a:endPar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endParaRPr>
            </a:p>
          </p:txBody>
        </p:sp>
        <p:sp>
          <p:nvSpPr>
            <p:cNvPr id="139" name="TextBox 138">
              <a:extLst>
                <a:ext uri="{FF2B5EF4-FFF2-40B4-BE49-F238E27FC236}">
                  <a16:creationId xmlns:a16="http://schemas.microsoft.com/office/drawing/2014/main" id="{CC8673C0-B27B-4146-B381-90AA05457754}"/>
                </a:ext>
              </a:extLst>
            </p:cNvPr>
            <p:cNvSpPr txBox="1">
              <a:spLocks/>
            </p:cNvSpPr>
            <p:nvPr/>
          </p:nvSpPr>
          <p:spPr>
            <a:xfrm>
              <a:off x="1615442" y="2077400"/>
              <a:ext cx="913446"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Next election:</a:t>
              </a:r>
            </a:p>
          </p:txBody>
        </p:sp>
        <p:sp>
          <p:nvSpPr>
            <p:cNvPr id="140" name="TextBox 139">
              <a:extLst>
                <a:ext uri="{FF2B5EF4-FFF2-40B4-BE49-F238E27FC236}">
                  <a16:creationId xmlns:a16="http://schemas.microsoft.com/office/drawing/2014/main" id="{3ED62777-DDCE-5F21-D331-4AEE1668ECF3}"/>
                </a:ext>
              </a:extLst>
            </p:cNvPr>
            <p:cNvSpPr txBox="1">
              <a:spLocks/>
            </p:cNvSpPr>
            <p:nvPr/>
          </p:nvSpPr>
          <p:spPr>
            <a:xfrm>
              <a:off x="2600326" y="2077400"/>
              <a:ext cx="3270014"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2026</a:t>
              </a:r>
            </a:p>
          </p:txBody>
        </p:sp>
        <p:sp>
          <p:nvSpPr>
            <p:cNvPr id="143" name="TextBox 142">
              <a:extLst>
                <a:ext uri="{FF2B5EF4-FFF2-40B4-BE49-F238E27FC236}">
                  <a16:creationId xmlns:a16="http://schemas.microsoft.com/office/drawing/2014/main" id="{CA777830-90B0-AC47-B276-1B852CEBD625}"/>
                </a:ext>
              </a:extLst>
            </p:cNvPr>
            <p:cNvSpPr txBox="1">
              <a:spLocks/>
            </p:cNvSpPr>
            <p:nvPr/>
          </p:nvSpPr>
          <p:spPr>
            <a:xfrm>
              <a:off x="1615442" y="2224797"/>
              <a:ext cx="913446" cy="13493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Mining ministry:</a:t>
              </a:r>
            </a:p>
          </p:txBody>
        </p:sp>
        <p:sp>
          <p:nvSpPr>
            <p:cNvPr id="144" name="TextBox 143">
              <a:extLst>
                <a:ext uri="{FF2B5EF4-FFF2-40B4-BE49-F238E27FC236}">
                  <a16:creationId xmlns:a16="http://schemas.microsoft.com/office/drawing/2014/main" id="{0F6E1B82-5A40-B08E-4FCB-69D6C6C2E0A8}"/>
                </a:ext>
              </a:extLst>
            </p:cNvPr>
            <p:cNvSpPr txBox="1">
              <a:spLocks/>
            </p:cNvSpPr>
            <p:nvPr/>
          </p:nvSpPr>
          <p:spPr>
            <a:xfrm>
              <a:off x="2600326" y="2224797"/>
              <a:ext cx="3270014"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Ministry of Mines and Energy</a:t>
              </a:r>
            </a:p>
          </p:txBody>
        </p:sp>
        <p:sp>
          <p:nvSpPr>
            <p:cNvPr id="146" name="TextBox 145">
              <a:extLst>
                <a:ext uri="{FF2B5EF4-FFF2-40B4-BE49-F238E27FC236}">
                  <a16:creationId xmlns:a16="http://schemas.microsoft.com/office/drawing/2014/main" id="{C9C2C543-5312-BA95-CE37-7BA9D157C26F}"/>
                </a:ext>
              </a:extLst>
            </p:cNvPr>
            <p:cNvSpPr txBox="1">
              <a:spLocks/>
            </p:cNvSpPr>
            <p:nvPr/>
          </p:nvSpPr>
          <p:spPr>
            <a:xfrm>
              <a:off x="1615442" y="2372196"/>
              <a:ext cx="913446" cy="13493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Affiliations:</a:t>
              </a:r>
            </a:p>
          </p:txBody>
        </p:sp>
        <p:sp>
          <p:nvSpPr>
            <p:cNvPr id="147" name="TextBox 146">
              <a:extLst>
                <a:ext uri="{FF2B5EF4-FFF2-40B4-BE49-F238E27FC236}">
                  <a16:creationId xmlns:a16="http://schemas.microsoft.com/office/drawing/2014/main" id="{7343889F-A382-98A9-7730-3C431ABAD8B5}"/>
                </a:ext>
              </a:extLst>
            </p:cNvPr>
            <p:cNvSpPr txBox="1">
              <a:spLocks/>
            </p:cNvSpPr>
            <p:nvPr/>
          </p:nvSpPr>
          <p:spPr>
            <a:xfrm>
              <a:off x="2600326" y="2372196"/>
              <a:ext cx="3270014"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CAN, WTO, IFC, OAS, UN, Mercosur (associate), Pacific Alliance</a:t>
              </a:r>
            </a:p>
          </p:txBody>
        </p:sp>
      </p:grpSp>
      <p:cxnSp>
        <p:nvCxnSpPr>
          <p:cNvPr id="112" name="Straight Connector 111">
            <a:extLst>
              <a:ext uri="{FF2B5EF4-FFF2-40B4-BE49-F238E27FC236}">
                <a16:creationId xmlns:a16="http://schemas.microsoft.com/office/drawing/2014/main" id="{5F66926C-576E-AABA-7FC9-3DE28A7C9518}"/>
              </a:ext>
            </a:extLst>
          </p:cNvPr>
          <p:cNvCxnSpPr>
            <a:cxnSpLocks/>
          </p:cNvCxnSpPr>
          <p:nvPr/>
        </p:nvCxnSpPr>
        <p:spPr>
          <a:xfrm>
            <a:off x="6033969" y="1370014"/>
            <a:ext cx="0" cy="4991101"/>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 name="Rectangle 5">
            <a:extLst>
              <a:ext uri="{FF2B5EF4-FFF2-40B4-BE49-F238E27FC236}">
                <a16:creationId xmlns:a16="http://schemas.microsoft.com/office/drawing/2014/main" id="{18C89DB0-878D-FFE4-29D4-9099729BAA00}"/>
              </a:ext>
            </a:extLst>
          </p:cNvPr>
          <p:cNvSpPr txBox="1">
            <a:spLocks/>
          </p:cNvSpPr>
          <p:nvPr>
            <p:custDataLst>
              <p:tags r:id="rId8"/>
            </p:custDataLst>
          </p:nvPr>
        </p:nvSpPr>
        <p:spPr>
          <a:xfrm>
            <a:off x="346074" y="5064759"/>
            <a:ext cx="5524265" cy="1296355"/>
          </a:xfrm>
          <a:prstGeom prst="rect">
            <a:avLst/>
          </a:prstGeom>
          <a:noFill/>
          <a:ln w="6350">
            <a:solidFill>
              <a:schemeClr val="accent1"/>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C9A319"/>
              </a:buClr>
              <a:buSzTx/>
              <a:buFontTx/>
              <a:buNone/>
              <a:tabLst/>
              <a:defRPr/>
            </a:pPr>
            <a:endParaRPr kumimoji="0" lang="en-CA" sz="1200" b="0" i="0" u="none" strike="noStrike" kern="1200" cap="none" spc="0" normalizeH="0" baseline="0" noProof="0" dirty="0">
              <a:ln>
                <a:noFill/>
              </a:ln>
              <a:solidFill>
                <a:srgbClr val="FF0000"/>
              </a:solidFill>
              <a:effectLst/>
              <a:uLnTx/>
              <a:uFillTx/>
              <a:latin typeface="Calibri" panose="020F0502020204030204" pitchFamily="34" charset="0"/>
              <a:ea typeface="ＭＳ Ｐゴシック"/>
              <a:cs typeface="Calibri" panose="020F0502020204030204" pitchFamily="34" charset="0"/>
            </a:endParaRPr>
          </a:p>
        </p:txBody>
      </p:sp>
      <p:sp>
        <p:nvSpPr>
          <p:cNvPr id="10" name="AutoShape 250">
            <a:extLst>
              <a:ext uri="{FF2B5EF4-FFF2-40B4-BE49-F238E27FC236}">
                <a16:creationId xmlns:a16="http://schemas.microsoft.com/office/drawing/2014/main" id="{05119A4F-7C11-9FEE-34F2-112D0C75F132}"/>
              </a:ext>
            </a:extLst>
          </p:cNvPr>
          <p:cNvSpPr>
            <a:spLocks noChangeArrowheads="1"/>
          </p:cNvSpPr>
          <p:nvPr/>
        </p:nvSpPr>
        <p:spPr bwMode="auto">
          <a:xfrm>
            <a:off x="429449" y="5337175"/>
            <a:ext cx="5195032" cy="153888"/>
          </a:xfrm>
          <a:prstGeom prst="leftRightArrow">
            <a:avLst>
              <a:gd name="adj1" fmla="val 100000"/>
              <a:gd name="adj2" fmla="val 0"/>
            </a:avLst>
          </a:prstGeom>
          <a:noFill/>
          <a:ln w="9525">
            <a:noFill/>
            <a:miter lim="800000"/>
            <a:headEnd/>
            <a:tailEnd/>
          </a:ln>
          <a:effectLst/>
        </p:spPr>
        <p:txBody>
          <a:bodyPr vert="horz" wrap="square" lIns="0" tIns="0" rIns="0" bIns="0" numCol="1" anchor="ctr" anchorCtr="0" compatLnSpc="1">
            <a:prstTxWarp prst="textNoShape">
              <a:avLst/>
            </a:prstTxWarp>
            <a:spAutoFit/>
          </a:body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Contribution of mining to national GDP, </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a:t>
            </a:r>
          </a:p>
        </p:txBody>
      </p:sp>
      <p:sp>
        <p:nvSpPr>
          <p:cNvPr id="13" name="Rectangle 8">
            <a:extLst>
              <a:ext uri="{FF2B5EF4-FFF2-40B4-BE49-F238E27FC236}">
                <a16:creationId xmlns:a16="http://schemas.microsoft.com/office/drawing/2014/main" id="{B07FC199-360C-974C-EF20-1F816E02F11A}"/>
              </a:ext>
            </a:extLst>
          </p:cNvPr>
          <p:cNvSpPr txBox="1">
            <a:spLocks/>
          </p:cNvSpPr>
          <p:nvPr>
            <p:custDataLst>
              <p:tags r:id="rId9"/>
            </p:custDataLst>
          </p:nvPr>
        </p:nvSpPr>
        <p:spPr>
          <a:xfrm>
            <a:off x="428224" y="5102417"/>
            <a:ext cx="5452825" cy="196207"/>
          </a:xfrm>
          <a:prstGeom prst="rect">
            <a:avLst/>
          </a:prstGeom>
          <a:noFill/>
          <a:ln w="9525">
            <a:noFill/>
            <a:miter lim="800000"/>
            <a:headEnd/>
            <a:tailEnd/>
          </a:ln>
          <a:effectLst/>
        </p:spPr>
        <p:txBody>
          <a:bodyPr vert="horz" wrap="square" lIns="0" tIns="0" rIns="0" bIns="0" numCol="1" anchor="ctr"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Metal mining corresponds to ~0.6% of the country’s GDP, mostly from gold</a:t>
            </a:r>
            <a:endParaRPr kumimoji="0" lang="en-CA" sz="12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26" name="Rectangle 25">
            <a:extLst>
              <a:ext uri="{FF2B5EF4-FFF2-40B4-BE49-F238E27FC236}">
                <a16:creationId xmlns:a16="http://schemas.microsoft.com/office/drawing/2014/main" id="{8153BFA0-ED1B-D90A-7281-186BCCA8734C}"/>
              </a:ext>
            </a:extLst>
          </p:cNvPr>
          <p:cNvSpPr/>
          <p:nvPr>
            <p:custDataLst>
              <p:tags r:id="rId10"/>
            </p:custDataLst>
          </p:nvPr>
        </p:nvSpPr>
        <p:spPr bwMode="auto">
          <a:xfrm>
            <a:off x="3868739" y="5308600"/>
            <a:ext cx="123825" cy="123825"/>
          </a:xfrm>
          <a:prstGeom prst="rect">
            <a:avLst/>
          </a:prstGeom>
          <a:solidFill>
            <a:schemeClr val="accent3"/>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pt-BR" sz="1600" b="0" i="0" u="none" strike="noStrike" kern="1200" cap="none" spc="0" normalizeH="0" baseline="0" noProof="0" dirty="0" err="1">
              <a:ln>
                <a:noFill/>
              </a:ln>
              <a:solidFill>
                <a:srgbClr val="FFFFFF"/>
              </a:solidFill>
              <a:effectLst/>
              <a:uLnTx/>
              <a:uFillTx/>
              <a:latin typeface="Calibri" panose="020F0502020204030204" pitchFamily="34" charset="0"/>
              <a:ea typeface="+mn-ea"/>
              <a:cs typeface="+mn-cs"/>
            </a:endParaRPr>
          </a:p>
        </p:txBody>
      </p:sp>
      <p:sp>
        <p:nvSpPr>
          <p:cNvPr id="40" name="Rectangle 39">
            <a:extLst>
              <a:ext uri="{FF2B5EF4-FFF2-40B4-BE49-F238E27FC236}">
                <a16:creationId xmlns:a16="http://schemas.microsoft.com/office/drawing/2014/main" id="{ABFFE11A-18BF-8CDA-8C47-AFC4D074282E}"/>
              </a:ext>
            </a:extLst>
          </p:cNvPr>
          <p:cNvSpPr/>
          <p:nvPr>
            <p:custDataLst>
              <p:tags r:id="rId11"/>
            </p:custDataLst>
          </p:nvPr>
        </p:nvSpPr>
        <p:spPr bwMode="auto">
          <a:xfrm>
            <a:off x="4710114" y="5308600"/>
            <a:ext cx="123825" cy="123825"/>
          </a:xfrm>
          <a:prstGeom prst="rect">
            <a:avLst/>
          </a:prstGeom>
          <a:solidFill>
            <a:schemeClr val="accent1"/>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pt-BR" sz="1600" b="0" i="0" u="none" strike="noStrike" kern="1200" cap="none" spc="0" normalizeH="0" baseline="0" noProof="0" dirty="0" err="1">
              <a:ln>
                <a:noFill/>
              </a:ln>
              <a:solidFill>
                <a:srgbClr val="FFFFFF"/>
              </a:solidFill>
              <a:effectLst/>
              <a:uLnTx/>
              <a:uFillTx/>
              <a:latin typeface="Calibri" panose="020F0502020204030204" pitchFamily="34" charset="0"/>
              <a:ea typeface="+mn-ea"/>
              <a:cs typeface="+mn-cs"/>
            </a:endParaRPr>
          </a:p>
        </p:txBody>
      </p:sp>
      <p:sp>
        <p:nvSpPr>
          <p:cNvPr id="44" name="Text Placeholder 2">
            <a:extLst>
              <a:ext uri="{FF2B5EF4-FFF2-40B4-BE49-F238E27FC236}">
                <a16:creationId xmlns:a16="http://schemas.microsoft.com/office/drawing/2014/main" id="{9460A1D7-D3E8-0A62-CBB5-226D67100E47}"/>
              </a:ext>
            </a:extLst>
          </p:cNvPr>
          <p:cNvSpPr>
            <a:spLocks noGrp="1"/>
          </p:cNvSpPr>
          <p:nvPr>
            <p:custDataLst>
              <p:tags r:id="rId12"/>
            </p:custDataLst>
          </p:nvPr>
        </p:nvSpPr>
        <p:spPr bwMode="auto">
          <a:xfrm>
            <a:off x="4043363" y="5307013"/>
            <a:ext cx="5651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CFD9687A-E157-48A4-B000-F980DBB88AEF}" type="datetime'G''o''''''''''''''''''ld'''' m''ini''''''''''''n''g'''">
              <a:rPr kumimoji="0" lang="pt-BR" altLang="en-US" sz="900" b="0" i="0" u="none" strike="noStrike" kern="1200" cap="none" spc="0" normalizeH="0" baseline="0" noProof="0" smtClean="0">
                <a:ln>
                  <a:noFill/>
                </a:ln>
                <a:solidFill>
                  <a:srgbClr val="000000"/>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Gold mining</a:t>
            </a:fld>
            <a:endParaRPr kumimoji="0" lang="pt-BR" sz="9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endParaRPr>
          </a:p>
        </p:txBody>
      </p:sp>
      <p:sp>
        <p:nvSpPr>
          <p:cNvPr id="45" name="Text Placeholder 2">
            <a:extLst>
              <a:ext uri="{FF2B5EF4-FFF2-40B4-BE49-F238E27FC236}">
                <a16:creationId xmlns:a16="http://schemas.microsoft.com/office/drawing/2014/main" id="{8E145F4B-153E-0965-5F7E-EB23AB5430C9}"/>
              </a:ext>
            </a:extLst>
          </p:cNvPr>
          <p:cNvSpPr>
            <a:spLocks noGrp="1"/>
          </p:cNvSpPr>
          <p:nvPr>
            <p:custDataLst>
              <p:tags r:id="rId13"/>
            </p:custDataLst>
          </p:nvPr>
        </p:nvSpPr>
        <p:spPr bwMode="auto">
          <a:xfrm>
            <a:off x="4884738" y="5307013"/>
            <a:ext cx="6810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1E82F7BC-63FB-44EB-99DD-3F4C92115308}" type="datetime'''O''''''''''the''''''''''''''''r mi''''n''''i''''''''n''g'">
              <a:rPr kumimoji="0" lang="pt-BR" altLang="en-US" sz="900" b="0" i="0" u="none" strike="noStrike" kern="1200" cap="none" spc="0" normalizeH="0" baseline="0" noProof="0" smtClean="0">
                <a:ln>
                  <a:noFill/>
                </a:ln>
                <a:solidFill>
                  <a:srgbClr val="000000"/>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Other mining</a:t>
            </a:fld>
            <a:r>
              <a:rPr kumimoji="0" lang="pt-BR" altLang="en-US" sz="900" b="0" i="0" u="none" strike="noStrike" kern="1200" cap="none" spc="0" normalizeH="0" baseline="30000" noProof="0" dirty="0">
                <a:ln>
                  <a:noFill/>
                </a:ln>
                <a:solidFill>
                  <a:srgbClr val="000000"/>
                </a:solidFill>
                <a:effectLst/>
                <a:uLnTx/>
                <a:uFillTx/>
                <a:latin typeface="Calibri" panose="020F0502020204030204"/>
                <a:ea typeface="+mn-ea"/>
                <a:cs typeface="Arial" panose="020B0604020202020204" pitchFamily="34" charset="0"/>
              </a:rPr>
              <a:t>1</a:t>
            </a:r>
            <a:r>
              <a:rPr kumimoji="0" lang="pt-BR" altLang="en-US" sz="9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 </a:t>
            </a:r>
            <a:endParaRPr kumimoji="0" lang="pt-BR" sz="9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endParaRPr>
          </a:p>
        </p:txBody>
      </p:sp>
      <p:graphicFrame>
        <p:nvGraphicFramePr>
          <p:cNvPr id="54" name="Chart 53">
            <a:extLst>
              <a:ext uri="{FF2B5EF4-FFF2-40B4-BE49-F238E27FC236}">
                <a16:creationId xmlns:a16="http://schemas.microsoft.com/office/drawing/2014/main" id="{B33AACA1-0384-C4B9-1227-60BF7D733556}"/>
              </a:ext>
            </a:extLst>
          </p:cNvPr>
          <p:cNvGraphicFramePr/>
          <p:nvPr>
            <p:custDataLst>
              <p:tags r:id="rId14"/>
            </p:custDataLst>
            <p:extLst>
              <p:ext uri="{D42A27DB-BD31-4B8C-83A1-F6EECF244321}">
                <p14:modId xmlns:p14="http://schemas.microsoft.com/office/powerpoint/2010/main" val="1111554155"/>
              </p:ext>
            </p:extLst>
          </p:nvPr>
        </p:nvGraphicFramePr>
        <p:xfrm>
          <a:off x="344488" y="5683250"/>
          <a:ext cx="5359400" cy="523875"/>
        </p:xfrm>
        <a:graphic>
          <a:graphicData uri="http://schemas.openxmlformats.org/drawingml/2006/chart">
            <c:chart xmlns:c="http://schemas.openxmlformats.org/drawingml/2006/chart" xmlns:r="http://schemas.openxmlformats.org/officeDocument/2006/relationships" r:id="rId97"/>
          </a:graphicData>
        </a:graphic>
      </p:graphicFrame>
      <p:cxnSp>
        <p:nvCxnSpPr>
          <p:cNvPr id="25" name="Straight Connector 24">
            <a:extLst>
              <a:ext uri="{FF2B5EF4-FFF2-40B4-BE49-F238E27FC236}">
                <a16:creationId xmlns:a16="http://schemas.microsoft.com/office/drawing/2014/main" id="{AD301882-F070-CEBF-FA0F-3D2C25DF258E}"/>
              </a:ext>
            </a:extLst>
          </p:cNvPr>
          <p:cNvCxnSpPr/>
          <p:nvPr>
            <p:custDataLst>
              <p:tags r:id="rId15"/>
            </p:custDataLst>
          </p:nvPr>
        </p:nvCxnSpPr>
        <p:spPr bwMode="auto">
          <a:xfrm flipH="1">
            <a:off x="2279650" y="6022975"/>
            <a:ext cx="92075" cy="460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C850D59D-9487-E06F-DF86-F5EEFDAB0476}"/>
              </a:ext>
            </a:extLst>
          </p:cNvPr>
          <p:cNvCxnSpPr/>
          <p:nvPr>
            <p:custDataLst>
              <p:tags r:id="rId16"/>
            </p:custDataLst>
          </p:nvPr>
        </p:nvCxnSpPr>
        <p:spPr bwMode="auto">
          <a:xfrm flipH="1">
            <a:off x="4357688" y="6022975"/>
            <a:ext cx="92075" cy="5238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4" name="Text Placeholder 2">
            <a:extLst>
              <a:ext uri="{FF2B5EF4-FFF2-40B4-BE49-F238E27FC236}">
                <a16:creationId xmlns:a16="http://schemas.microsoft.com/office/drawing/2014/main" id="{B946D9DD-DA0A-BE42-839C-B2B1D503385A}"/>
              </a:ext>
            </a:extLst>
          </p:cNvPr>
          <p:cNvSpPr>
            <a:spLocks noGrp="1"/>
          </p:cNvSpPr>
          <p:nvPr>
            <p:custDataLst>
              <p:tags r:id="rId17"/>
            </p:custDataLst>
          </p:nvPr>
        </p:nvSpPr>
        <p:spPr bwMode="gray">
          <a:xfrm>
            <a:off x="847725" y="5989638"/>
            <a:ext cx="196850" cy="152400"/>
          </a:xfrm>
          <a:prstGeom prst="rect">
            <a:avLst/>
          </a:prstGeom>
          <a:solidFill>
            <a:schemeClr val="accent1"/>
          </a:solidFill>
          <a:ln>
            <a:noFill/>
          </a:ln>
          <a:effec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8A17B3A0-C26C-49A2-9468-38BC73F518BB}" type="datetime'''''''''''''''''0''''''''.''''''''''''''2'''''">
              <a:rPr kumimoji="0" lang="pt-BR" altLang="en-US" sz="1000" b="0" i="0" u="none" strike="noStrike" kern="1200" cap="none" spc="0" normalizeH="0" baseline="0" noProof="0" smtClean="0">
                <a:ln>
                  <a:noFill/>
                </a:ln>
                <a:solidFill>
                  <a:srgbClr val="FFFFFF"/>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0.2</a:t>
            </a:fld>
            <a:endParaRPr kumimoji="0" lang="pt-BR" sz="1000" b="0"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endParaRPr>
          </a:p>
        </p:txBody>
      </p:sp>
      <p:sp>
        <p:nvSpPr>
          <p:cNvPr id="69" name="Text Placeholder 2">
            <a:extLst>
              <a:ext uri="{FF2B5EF4-FFF2-40B4-BE49-F238E27FC236}">
                <a16:creationId xmlns:a16="http://schemas.microsoft.com/office/drawing/2014/main" id="{757A9A4F-4961-86FC-AC9D-3FC11F38A742}"/>
              </a:ext>
            </a:extLst>
          </p:cNvPr>
          <p:cNvSpPr>
            <a:spLocks noGrp="1"/>
          </p:cNvSpPr>
          <p:nvPr>
            <p:custDataLst>
              <p:tags r:id="rId18"/>
            </p:custDataLst>
          </p:nvPr>
        </p:nvSpPr>
        <p:spPr bwMode="auto">
          <a:xfrm>
            <a:off x="809625" y="6200775"/>
            <a:ext cx="2730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0E1A8222-B5A6-48E4-8A6D-84CBC8B66705}" type="datetime'''''''''''2''''''''''''''''''''''''''''''''0''''18'''''''''''">
              <a:rPr kumimoji="0" lang="pt-BR" altLang="en-US" sz="1000" b="0" i="0" u="none" strike="noStrike" kern="1200" cap="none" spc="0" normalizeH="0" baseline="0" noProof="0" smtClean="0">
                <a:ln>
                  <a:noFill/>
                </a:ln>
                <a:solidFill>
                  <a:srgbClr val="000000"/>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18</a:t>
            </a:fld>
            <a:endParaRPr kumimoji="0" lang="pt-BR" sz="10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endParaRPr>
          </a:p>
        </p:txBody>
      </p:sp>
      <p:sp>
        <p:nvSpPr>
          <p:cNvPr id="27" name="Text Placeholder 2">
            <a:extLst>
              <a:ext uri="{FF2B5EF4-FFF2-40B4-BE49-F238E27FC236}">
                <a16:creationId xmlns:a16="http://schemas.microsoft.com/office/drawing/2014/main" id="{B946D9DD-DA0A-BE42-839C-B2B1D503385A}"/>
              </a:ext>
            </a:extLst>
          </p:cNvPr>
          <p:cNvSpPr>
            <a:spLocks noGrp="1"/>
          </p:cNvSpPr>
          <p:nvPr>
            <p:custDataLst>
              <p:tags r:id="rId19"/>
            </p:custDataLst>
          </p:nvPr>
        </p:nvSpPr>
        <p:spPr bwMode="gray">
          <a:xfrm>
            <a:off x="2371725" y="5946775"/>
            <a:ext cx="196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FA7F22C9-BD73-4513-9CB8-F8E01097A64D}" type="datetime'''''0''''''''.''''''''2'''''''''''''''">
              <a:rPr kumimoji="0" lang="pt-BR" altLang="en-US" sz="1000" b="0" i="0" u="none" strike="noStrike" kern="1200" cap="none" spc="0" normalizeH="0" baseline="0" noProof="0" smtClean="0">
                <a:ln>
                  <a:noFill/>
                </a:ln>
                <a:solidFill>
                  <a:srgbClr val="FFFFFF"/>
                </a:solidFill>
                <a:effectLst/>
                <a:uLnTx/>
                <a:uFillTx/>
                <a:latin typeface="Calibri" panose="020F0502020204030204"/>
                <a:ea typeface="+mn-ea"/>
                <a:cs typeface="Calibri" panose="020F0502020204030204" pitchFamily="34" charset="0"/>
              </a:rPr>
              <a:pPr marL="0" marR="0" lvl="0" indent="0" defTabSz="914400" rtl="0" eaLnBrk="1" fontAlgn="auto" latinLnBrk="0" hangingPunct="1">
                <a:lnSpc>
                  <a:spcPct val="100000"/>
                </a:lnSpc>
                <a:spcBef>
                  <a:spcPct val="0"/>
                </a:spcBef>
                <a:spcAft>
                  <a:spcPct val="0"/>
                </a:spcAft>
                <a:buClrTx/>
                <a:buSzTx/>
                <a:buFont typeface="Arial" panose="020B0604020202020204" pitchFamily="34" charset="0"/>
                <a:buNone/>
                <a:tabLst/>
                <a:defRPr/>
              </a:pPr>
              <a:t>0.2</a:t>
            </a:fld>
            <a:endParaRPr kumimoji="0" lang="pt-BR" sz="1000" b="0"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endParaRPr>
          </a:p>
        </p:txBody>
      </p:sp>
      <p:sp>
        <p:nvSpPr>
          <p:cNvPr id="63" name="Text Placeholder 2">
            <a:extLst>
              <a:ext uri="{FF2B5EF4-FFF2-40B4-BE49-F238E27FC236}">
                <a16:creationId xmlns:a16="http://schemas.microsoft.com/office/drawing/2014/main" id="{02DBBEF8-168D-E242-2E5A-68ED86AFBF3C}"/>
              </a:ext>
            </a:extLst>
          </p:cNvPr>
          <p:cNvSpPr>
            <a:spLocks noGrp="1"/>
          </p:cNvSpPr>
          <p:nvPr>
            <p:custDataLst>
              <p:tags r:id="rId20"/>
            </p:custDataLst>
          </p:nvPr>
        </p:nvSpPr>
        <p:spPr bwMode="auto">
          <a:xfrm>
            <a:off x="1912938" y="6200775"/>
            <a:ext cx="1428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D45D1B56-59A3-4A92-A416-1532367D4132}" type="datetime'''''19'''''''''''''''''''''''''''''''''''">
              <a:rPr kumimoji="0" lang="pt-BR" altLang="en-US" sz="1000" b="0" i="0" u="none" strike="noStrike" kern="1200" cap="none" spc="0" normalizeH="0" baseline="0" noProof="0" smtClean="0">
                <a:ln>
                  <a:noFill/>
                </a:ln>
                <a:solidFill>
                  <a:srgbClr val="000000"/>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19</a:t>
            </a:fld>
            <a:endParaRPr kumimoji="0" lang="pt-BR" sz="10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endParaRPr>
          </a:p>
        </p:txBody>
      </p:sp>
      <p:sp>
        <p:nvSpPr>
          <p:cNvPr id="32" name="Text Placeholder 2">
            <a:extLst>
              <a:ext uri="{FF2B5EF4-FFF2-40B4-BE49-F238E27FC236}">
                <a16:creationId xmlns:a16="http://schemas.microsoft.com/office/drawing/2014/main" id="{B946D9DD-DA0A-BE42-839C-B2B1D503385A}"/>
              </a:ext>
            </a:extLst>
          </p:cNvPr>
          <p:cNvSpPr>
            <a:spLocks noGrp="1"/>
          </p:cNvSpPr>
          <p:nvPr>
            <p:custDataLst>
              <p:tags r:id="rId21"/>
            </p:custDataLst>
          </p:nvPr>
        </p:nvSpPr>
        <p:spPr bwMode="gray">
          <a:xfrm>
            <a:off x="2925763" y="6005513"/>
            <a:ext cx="196850" cy="152400"/>
          </a:xfrm>
          <a:prstGeom prst="rect">
            <a:avLst/>
          </a:prstGeom>
          <a:solidFill>
            <a:schemeClr val="accent1"/>
          </a:solidFill>
          <a:ln>
            <a:noFill/>
          </a:ln>
          <a:effec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6A52A405-B423-43DE-B7D0-1F3CEDED2604}" type="datetime'''''''''0''.''''''''''''''''''''''''''''''''''2'''''''''">
              <a:rPr kumimoji="0" lang="pt-BR" altLang="en-US" sz="1000" b="0" i="0" u="none" strike="noStrike" kern="1200" cap="none" spc="0" normalizeH="0" baseline="0" noProof="0" smtClean="0">
                <a:ln>
                  <a:noFill/>
                </a:ln>
                <a:solidFill>
                  <a:srgbClr val="FFFFFF"/>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0.2</a:t>
            </a:fld>
            <a:endParaRPr kumimoji="0" lang="pt-BR" sz="1000" b="0"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endParaRPr>
          </a:p>
        </p:txBody>
      </p:sp>
      <p:sp>
        <p:nvSpPr>
          <p:cNvPr id="53" name="Text Placeholder 2">
            <a:extLst>
              <a:ext uri="{FF2B5EF4-FFF2-40B4-BE49-F238E27FC236}">
                <a16:creationId xmlns:a16="http://schemas.microsoft.com/office/drawing/2014/main" id="{76EF615D-74F3-82BB-467C-58CE260C02BC}"/>
              </a:ext>
            </a:extLst>
          </p:cNvPr>
          <p:cNvSpPr>
            <a:spLocks noGrp="1"/>
          </p:cNvSpPr>
          <p:nvPr>
            <p:custDataLst>
              <p:tags r:id="rId22"/>
            </p:custDataLst>
          </p:nvPr>
        </p:nvSpPr>
        <p:spPr bwMode="auto">
          <a:xfrm>
            <a:off x="2952750" y="6200775"/>
            <a:ext cx="1428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F17FD67C-2897-4C72-ABAC-8FD7B2ACCD16}" type="datetime'''''''''''2''''''''''''''''''''0'''''''''''''''">
              <a:rPr kumimoji="0" lang="pt-BR" altLang="en-US" sz="1000" b="0" i="0" u="none" strike="noStrike" kern="1200" cap="none" spc="0" normalizeH="0" baseline="0" noProof="0" smtClean="0">
                <a:ln>
                  <a:noFill/>
                </a:ln>
                <a:solidFill>
                  <a:srgbClr val="000000"/>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a:t>
            </a:fld>
            <a:endParaRPr kumimoji="0" lang="pt-BR" sz="10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endParaRPr>
          </a:p>
        </p:txBody>
      </p:sp>
      <p:sp>
        <p:nvSpPr>
          <p:cNvPr id="47" name="Text Placeholder 2">
            <a:extLst>
              <a:ext uri="{FF2B5EF4-FFF2-40B4-BE49-F238E27FC236}">
                <a16:creationId xmlns:a16="http://schemas.microsoft.com/office/drawing/2014/main" id="{B946D9DD-DA0A-BE42-839C-B2B1D503385A}"/>
              </a:ext>
            </a:extLst>
          </p:cNvPr>
          <p:cNvSpPr>
            <a:spLocks noGrp="1"/>
          </p:cNvSpPr>
          <p:nvPr>
            <p:custDataLst>
              <p:tags r:id="rId23"/>
            </p:custDataLst>
          </p:nvPr>
        </p:nvSpPr>
        <p:spPr bwMode="gray">
          <a:xfrm>
            <a:off x="4449763" y="5946775"/>
            <a:ext cx="196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EA11986C-5A2D-4B28-A5BA-261350973A1B}" type="datetime'''''''''''''''''''''''''''''''''''''0''.''''''''''''''2'''''''">
              <a:rPr kumimoji="0" lang="pt-BR" altLang="en-US" sz="1000" b="0" i="0" u="none" strike="noStrike" kern="1200" cap="none" spc="0" normalizeH="0" baseline="0" noProof="0" smtClean="0">
                <a:ln>
                  <a:noFill/>
                </a:ln>
                <a:solidFill>
                  <a:srgbClr val="FFFFFF"/>
                </a:solidFill>
                <a:effectLst/>
                <a:uLnTx/>
                <a:uFillTx/>
                <a:latin typeface="Calibri" panose="020F0502020204030204"/>
                <a:ea typeface="+mn-ea"/>
                <a:cs typeface="Calibri" panose="020F0502020204030204" pitchFamily="34" charset="0"/>
              </a:rPr>
              <a:pPr marL="0" marR="0" lvl="0" indent="0" defTabSz="914400" rtl="0" eaLnBrk="1" fontAlgn="auto" latinLnBrk="0" hangingPunct="1">
                <a:lnSpc>
                  <a:spcPct val="100000"/>
                </a:lnSpc>
                <a:spcBef>
                  <a:spcPct val="0"/>
                </a:spcBef>
                <a:spcAft>
                  <a:spcPct val="0"/>
                </a:spcAft>
                <a:buClrTx/>
                <a:buSzTx/>
                <a:buFont typeface="Arial" panose="020B0604020202020204" pitchFamily="34" charset="0"/>
                <a:buNone/>
                <a:tabLst/>
                <a:defRPr/>
              </a:pPr>
              <a:t>0.2</a:t>
            </a:fld>
            <a:endParaRPr kumimoji="0" lang="pt-BR" sz="1000" b="0"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endParaRPr>
          </a:p>
        </p:txBody>
      </p:sp>
      <p:sp>
        <p:nvSpPr>
          <p:cNvPr id="73" name="Text Placeholder 2">
            <a:extLst>
              <a:ext uri="{FF2B5EF4-FFF2-40B4-BE49-F238E27FC236}">
                <a16:creationId xmlns:a16="http://schemas.microsoft.com/office/drawing/2014/main" id="{605BFAE5-9BA1-A9F6-5551-448877CBADB0}"/>
              </a:ext>
            </a:extLst>
          </p:cNvPr>
          <p:cNvSpPr>
            <a:spLocks noGrp="1"/>
          </p:cNvSpPr>
          <p:nvPr>
            <p:custDataLst>
              <p:tags r:id="rId24"/>
            </p:custDataLst>
          </p:nvPr>
        </p:nvSpPr>
        <p:spPr bwMode="auto">
          <a:xfrm>
            <a:off x="3990975" y="6200775"/>
            <a:ext cx="1428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5C738A93-CA81-43BE-9B8D-28CD29A68858}" type="datetime'''''''''''2''''''''''''1'''''''''''''''''''">
              <a:rPr kumimoji="0" lang="pt-BR" altLang="en-US" sz="1000" b="0" i="0" u="none" strike="noStrike" kern="1200" cap="none" spc="0" normalizeH="0" baseline="0" noProof="0" smtClean="0">
                <a:ln>
                  <a:noFill/>
                </a:ln>
                <a:solidFill>
                  <a:srgbClr val="000000"/>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1</a:t>
            </a:fld>
            <a:endParaRPr kumimoji="0" lang="pt-BR" sz="10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endParaRPr>
          </a:p>
        </p:txBody>
      </p:sp>
      <p:sp>
        <p:nvSpPr>
          <p:cNvPr id="48" name="Text Placeholder 2">
            <a:extLst>
              <a:ext uri="{FF2B5EF4-FFF2-40B4-BE49-F238E27FC236}">
                <a16:creationId xmlns:a16="http://schemas.microsoft.com/office/drawing/2014/main" id="{B946D9DD-DA0A-BE42-839C-B2B1D503385A}"/>
              </a:ext>
            </a:extLst>
          </p:cNvPr>
          <p:cNvSpPr>
            <a:spLocks noGrp="1"/>
          </p:cNvSpPr>
          <p:nvPr>
            <p:custDataLst>
              <p:tags r:id="rId25"/>
            </p:custDataLst>
          </p:nvPr>
        </p:nvSpPr>
        <p:spPr bwMode="gray">
          <a:xfrm>
            <a:off x="5003800" y="5988050"/>
            <a:ext cx="196850" cy="152400"/>
          </a:xfrm>
          <a:prstGeom prst="rect">
            <a:avLst/>
          </a:prstGeom>
          <a:solidFill>
            <a:schemeClr val="accent1"/>
          </a:solidFill>
          <a:ln>
            <a:noFill/>
          </a:ln>
          <a:effec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EED78D13-13B5-483D-ADDE-113D23AA4A9A}" type="datetime'''''''''''''''''''''''''''''0''''''''''''''''''''''''''.2'''">
              <a:rPr kumimoji="0" lang="pt-BR" altLang="en-US" sz="1000" b="0" i="0" u="none" strike="noStrike" kern="1200" cap="none" spc="0" normalizeH="0" baseline="0" noProof="0" smtClean="0">
                <a:ln>
                  <a:noFill/>
                </a:ln>
                <a:solidFill>
                  <a:srgbClr val="FFFFFF"/>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0.2</a:t>
            </a:fld>
            <a:endParaRPr kumimoji="0" lang="pt-BR" sz="1000" b="0"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endParaRPr>
          </a:p>
        </p:txBody>
      </p:sp>
      <p:sp>
        <p:nvSpPr>
          <p:cNvPr id="74" name="Text Placeholder 2">
            <a:extLst>
              <a:ext uri="{FF2B5EF4-FFF2-40B4-BE49-F238E27FC236}">
                <a16:creationId xmlns:a16="http://schemas.microsoft.com/office/drawing/2014/main" id="{5C8AB9D4-23A4-6267-D72E-5D4D2B621013}"/>
              </a:ext>
            </a:extLst>
          </p:cNvPr>
          <p:cNvSpPr>
            <a:spLocks noGrp="1"/>
          </p:cNvSpPr>
          <p:nvPr>
            <p:custDataLst>
              <p:tags r:id="rId26"/>
            </p:custDataLst>
          </p:nvPr>
        </p:nvSpPr>
        <p:spPr bwMode="auto">
          <a:xfrm>
            <a:off x="4965700" y="6200775"/>
            <a:ext cx="2730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6D39530B-660B-42DB-924D-3270D7ADF377}" type="datetime'''''''2''''''''''''0''''''''''''''''''''2''2'">
              <a:rPr kumimoji="0" lang="pt-BR" altLang="en-US" sz="1000" b="0" i="0" u="none" strike="noStrike" kern="1200" cap="none" spc="0" normalizeH="0" baseline="0" noProof="0" smtClean="0">
                <a:ln>
                  <a:noFill/>
                </a:ln>
                <a:solidFill>
                  <a:srgbClr val="000000"/>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22</a:t>
            </a:fld>
            <a:endParaRPr kumimoji="0" lang="pt-BR" sz="10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endParaRPr>
          </a:p>
        </p:txBody>
      </p:sp>
      <p:sp>
        <p:nvSpPr>
          <p:cNvPr id="75" name="Text Placeholder 2">
            <a:extLst>
              <a:ext uri="{FF2B5EF4-FFF2-40B4-BE49-F238E27FC236}">
                <a16:creationId xmlns:a16="http://schemas.microsoft.com/office/drawing/2014/main" id="{3840D0A7-DF95-D46A-2B66-05FCC06B4C39}"/>
              </a:ext>
            </a:extLst>
          </p:cNvPr>
          <p:cNvSpPr>
            <a:spLocks noGrp="1"/>
          </p:cNvSpPr>
          <p:nvPr>
            <p:custDataLst>
              <p:tags r:id="rId27"/>
            </p:custDataLst>
          </p:nvPr>
        </p:nvSpPr>
        <p:spPr bwMode="gray">
          <a:xfrm>
            <a:off x="847725" y="5618163"/>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34E3DD1C-E5C1-4B17-B7B6-70D2E75EB97A}" type="datetime'''''0.''''''''''6'''''''''''''''''''''''''''''''''''''''''''''">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0.6</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76" name="Text Placeholder 2">
            <a:extLst>
              <a:ext uri="{FF2B5EF4-FFF2-40B4-BE49-F238E27FC236}">
                <a16:creationId xmlns:a16="http://schemas.microsoft.com/office/drawing/2014/main" id="{F28CD8A8-D0B5-7272-A332-3D0B8FC3049F}"/>
              </a:ext>
            </a:extLst>
          </p:cNvPr>
          <p:cNvSpPr>
            <a:spLocks noGrp="1"/>
          </p:cNvSpPr>
          <p:nvPr>
            <p:custDataLst>
              <p:tags r:id="rId28"/>
            </p:custDataLst>
          </p:nvPr>
        </p:nvSpPr>
        <p:spPr bwMode="gray">
          <a:xfrm>
            <a:off x="1885950" y="5613400"/>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35FA9BE3-98A0-48A4-8BD1-A09246C255F3}" type="datetime'''''''''0''''''''''''''.''''''''''6'''''''''''''">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0.6</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80" name="Text Placeholder 2">
            <a:extLst>
              <a:ext uri="{FF2B5EF4-FFF2-40B4-BE49-F238E27FC236}">
                <a16:creationId xmlns:a16="http://schemas.microsoft.com/office/drawing/2014/main" id="{F20754C6-CD75-473F-403A-8DC50C254EF8}"/>
              </a:ext>
            </a:extLst>
          </p:cNvPr>
          <p:cNvSpPr>
            <a:spLocks noGrp="1"/>
          </p:cNvSpPr>
          <p:nvPr>
            <p:custDataLst>
              <p:tags r:id="rId29"/>
            </p:custDataLst>
          </p:nvPr>
        </p:nvSpPr>
        <p:spPr bwMode="gray">
          <a:xfrm>
            <a:off x="2925763" y="5603875"/>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021229B0-3EBF-44E8-AA74-A39DD9B6C4D6}" type="datetime'''''''0.''''''''6'''''''''''''''''''''''''">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0.6</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81" name="Text Placeholder 2">
            <a:extLst>
              <a:ext uri="{FF2B5EF4-FFF2-40B4-BE49-F238E27FC236}">
                <a16:creationId xmlns:a16="http://schemas.microsoft.com/office/drawing/2014/main" id="{042D86B2-CB3F-91E5-0C90-E7D2EA216A8A}"/>
              </a:ext>
            </a:extLst>
          </p:cNvPr>
          <p:cNvSpPr>
            <a:spLocks noGrp="1"/>
          </p:cNvSpPr>
          <p:nvPr>
            <p:custDataLst>
              <p:tags r:id="rId30"/>
            </p:custDataLst>
          </p:nvPr>
        </p:nvSpPr>
        <p:spPr bwMode="gray">
          <a:xfrm>
            <a:off x="3963988" y="5603875"/>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61A4B497-CAFA-410B-A4A9-BFF16CED4AF0}" type="datetime'''''''''0''''.''6'''''''''''''''''''''''''''''''''''">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0.6</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82" name="Text Placeholder 2">
            <a:extLst>
              <a:ext uri="{FF2B5EF4-FFF2-40B4-BE49-F238E27FC236}">
                <a16:creationId xmlns:a16="http://schemas.microsoft.com/office/drawing/2014/main" id="{A714BA8C-ECE0-E1FC-A46C-D62216F2F495}"/>
              </a:ext>
            </a:extLst>
          </p:cNvPr>
          <p:cNvSpPr>
            <a:spLocks noGrp="1"/>
          </p:cNvSpPr>
          <p:nvPr>
            <p:custDataLst>
              <p:tags r:id="rId31"/>
            </p:custDataLst>
          </p:nvPr>
        </p:nvSpPr>
        <p:spPr bwMode="gray">
          <a:xfrm>
            <a:off x="5003800" y="5629275"/>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ED8788DF-9178-48E0-B25F-8E04E8D060C9}" type="datetime'''''''''''''''''''''''''''''''''''''''''''''''0.''''6'''''''''">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0.6</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9" name="Text Placeholder 4">
            <a:extLst>
              <a:ext uri="{FF2B5EF4-FFF2-40B4-BE49-F238E27FC236}">
                <a16:creationId xmlns:a16="http://schemas.microsoft.com/office/drawing/2014/main" id="{4C1F3293-4EFE-461D-940D-7EE66BAE31C5}"/>
              </a:ext>
            </a:extLst>
          </p:cNvPr>
          <p:cNvSpPr>
            <a:spLocks noGrp="1"/>
          </p:cNvSpPr>
          <p:nvPr>
            <p:custDataLst>
              <p:tags r:id="rId32"/>
            </p:custDataLst>
          </p:nvPr>
        </p:nvSpPr>
        <p:spPr bwMode="gray">
          <a:xfrm>
            <a:off x="847725" y="5818188"/>
            <a:ext cx="196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4278C0BD-CDA2-4211-86AC-125CDD5440B7}" type="datetime'''''''''''''''''''''''''''''''''''0''''''''''.''4'''''''''''">
              <a:rPr lang="pt-BR" altLang="en-US" sz="1000" smtClean="0">
                <a:solidFill>
                  <a:srgbClr val="FFFFFF"/>
                </a:solidFill>
                <a:effectLst/>
                <a:cs typeface="Calibri" panose="020F0502020204030204" pitchFamily="34" charset="0"/>
              </a:rPr>
              <a:pPr lvl="0" algn="ctr">
                <a:spcBef>
                  <a:spcPct val="0"/>
                </a:spcBef>
                <a:spcAft>
                  <a:spcPct val="0"/>
                </a:spcAft>
              </a:pPr>
              <a:t>0.4</a:t>
            </a:fld>
            <a:endParaRPr lang="pt-BR" sz="1000" dirty="0">
              <a:solidFill>
                <a:srgbClr val="FFFFFF"/>
              </a:solidFill>
              <a:cs typeface="Calibri" panose="020F0502020204030204" pitchFamily="34" charset="0"/>
            </a:endParaRPr>
          </a:p>
        </p:txBody>
      </p:sp>
      <p:sp>
        <p:nvSpPr>
          <p:cNvPr id="20" name="Text Placeholder 4">
            <a:extLst>
              <a:ext uri="{FF2B5EF4-FFF2-40B4-BE49-F238E27FC236}">
                <a16:creationId xmlns:a16="http://schemas.microsoft.com/office/drawing/2014/main" id="{4C1F3293-4EFE-461D-940D-7EE66BAE31C5}"/>
              </a:ext>
            </a:extLst>
          </p:cNvPr>
          <p:cNvSpPr>
            <a:spLocks noGrp="1"/>
          </p:cNvSpPr>
          <p:nvPr>
            <p:custDataLst>
              <p:tags r:id="rId33"/>
            </p:custDataLst>
          </p:nvPr>
        </p:nvSpPr>
        <p:spPr bwMode="gray">
          <a:xfrm>
            <a:off x="1885950" y="5818188"/>
            <a:ext cx="196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60D18C8-CEBD-4E6A-AE8F-BACF39A9319C}" type="datetime'''0''''''.''''''''''''''''''''''''''''''''''''4'''''''''''">
              <a:rPr lang="pt-BR" altLang="en-US" sz="1000" smtClean="0">
                <a:solidFill>
                  <a:srgbClr val="FFFFFF"/>
                </a:solidFill>
                <a:effectLst/>
                <a:cs typeface="Calibri" panose="020F0502020204030204" pitchFamily="34" charset="0"/>
              </a:rPr>
              <a:pPr lvl="0" algn="ctr">
                <a:spcBef>
                  <a:spcPct val="0"/>
                </a:spcBef>
                <a:spcAft>
                  <a:spcPct val="0"/>
                </a:spcAft>
              </a:pPr>
              <a:t>0.4</a:t>
            </a:fld>
            <a:endParaRPr lang="pt-BR" sz="1000" dirty="0">
              <a:solidFill>
                <a:srgbClr val="FFFFFF"/>
              </a:solidFill>
              <a:cs typeface="Calibri" panose="020F0502020204030204" pitchFamily="34" charset="0"/>
            </a:endParaRPr>
          </a:p>
        </p:txBody>
      </p:sp>
      <p:sp>
        <p:nvSpPr>
          <p:cNvPr id="21" name="Text Placeholder 4">
            <a:extLst>
              <a:ext uri="{FF2B5EF4-FFF2-40B4-BE49-F238E27FC236}">
                <a16:creationId xmlns:a16="http://schemas.microsoft.com/office/drawing/2014/main" id="{4C1F3293-4EFE-461D-940D-7EE66BAE31C5}"/>
              </a:ext>
            </a:extLst>
          </p:cNvPr>
          <p:cNvSpPr>
            <a:spLocks noGrp="1"/>
          </p:cNvSpPr>
          <p:nvPr>
            <p:custDataLst>
              <p:tags r:id="rId34"/>
            </p:custDataLst>
          </p:nvPr>
        </p:nvSpPr>
        <p:spPr bwMode="gray">
          <a:xfrm>
            <a:off x="2925763" y="5826125"/>
            <a:ext cx="196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D24DEB3-75B3-4DC0-8F77-010BE3830765}" type="datetime'''''0''''''''''''''''''''''''''''''.''''''''''''''5'''''''''''">
              <a:rPr lang="pt-BR" altLang="en-US" sz="1000" smtClean="0">
                <a:solidFill>
                  <a:srgbClr val="FFFFFF"/>
                </a:solidFill>
                <a:effectLst/>
                <a:cs typeface="Calibri" panose="020F0502020204030204" pitchFamily="34" charset="0"/>
              </a:rPr>
              <a:pPr lvl="0" algn="ctr">
                <a:spcBef>
                  <a:spcPct val="0"/>
                </a:spcBef>
                <a:spcAft>
                  <a:spcPct val="0"/>
                </a:spcAft>
              </a:pPr>
              <a:t>0.5</a:t>
            </a:fld>
            <a:endParaRPr lang="pt-BR" sz="1000" dirty="0">
              <a:solidFill>
                <a:srgbClr val="FFFFFF"/>
              </a:solidFill>
              <a:cs typeface="Calibri" panose="020F0502020204030204" pitchFamily="34" charset="0"/>
            </a:endParaRPr>
          </a:p>
        </p:txBody>
      </p:sp>
      <p:sp>
        <p:nvSpPr>
          <p:cNvPr id="22" name="Text Placeholder 4">
            <a:extLst>
              <a:ext uri="{FF2B5EF4-FFF2-40B4-BE49-F238E27FC236}">
                <a16:creationId xmlns:a16="http://schemas.microsoft.com/office/drawing/2014/main" id="{4C1F3293-4EFE-461D-940D-7EE66BAE31C5}"/>
              </a:ext>
            </a:extLst>
          </p:cNvPr>
          <p:cNvSpPr>
            <a:spLocks noGrp="1"/>
          </p:cNvSpPr>
          <p:nvPr>
            <p:custDataLst>
              <p:tags r:id="rId35"/>
            </p:custDataLst>
          </p:nvPr>
        </p:nvSpPr>
        <p:spPr bwMode="gray">
          <a:xfrm>
            <a:off x="3963988" y="5819775"/>
            <a:ext cx="196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672FC30-0EB7-4E10-9816-9EA41247F8D6}" type="datetime'''''''0.''5'''''''''''''''''''''''''''''''''">
              <a:rPr lang="pt-BR" altLang="en-US" sz="1000" smtClean="0">
                <a:solidFill>
                  <a:srgbClr val="FFFFFF"/>
                </a:solidFill>
                <a:effectLst/>
                <a:cs typeface="Calibri" panose="020F0502020204030204" pitchFamily="34" charset="0"/>
              </a:rPr>
              <a:pPr lvl="0" algn="ctr">
                <a:spcBef>
                  <a:spcPct val="0"/>
                </a:spcBef>
                <a:spcAft>
                  <a:spcPct val="0"/>
                </a:spcAft>
              </a:pPr>
              <a:t>0.5</a:t>
            </a:fld>
            <a:endParaRPr lang="pt-BR" sz="1000" dirty="0">
              <a:solidFill>
                <a:srgbClr val="FFFFFF"/>
              </a:solidFill>
              <a:cs typeface="Calibri" panose="020F0502020204030204" pitchFamily="34" charset="0"/>
            </a:endParaRPr>
          </a:p>
        </p:txBody>
      </p:sp>
      <p:sp>
        <p:nvSpPr>
          <p:cNvPr id="23" name="Text Placeholder 4">
            <a:extLst>
              <a:ext uri="{FF2B5EF4-FFF2-40B4-BE49-F238E27FC236}">
                <a16:creationId xmlns:a16="http://schemas.microsoft.com/office/drawing/2014/main" id="{4C1F3293-4EFE-461D-940D-7EE66BAE31C5}"/>
              </a:ext>
            </a:extLst>
          </p:cNvPr>
          <p:cNvSpPr>
            <a:spLocks noGrp="1"/>
          </p:cNvSpPr>
          <p:nvPr>
            <p:custDataLst>
              <p:tags r:id="rId36"/>
            </p:custDataLst>
          </p:nvPr>
        </p:nvSpPr>
        <p:spPr bwMode="gray">
          <a:xfrm>
            <a:off x="5003800" y="5821363"/>
            <a:ext cx="196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E4431693-53C8-4983-A92B-1D8139804297}" type="datetime'''''''''''''''''''''''''''''''''''''''''''''0''''''''''.4'''''">
              <a:rPr lang="pt-BR" altLang="en-US" sz="1000" smtClean="0">
                <a:solidFill>
                  <a:srgbClr val="FFFFFF"/>
                </a:solidFill>
                <a:effectLst/>
                <a:cs typeface="Calibri" panose="020F0502020204030204" pitchFamily="34" charset="0"/>
              </a:rPr>
              <a:pPr lvl="0" algn="ctr">
                <a:spcBef>
                  <a:spcPct val="0"/>
                </a:spcBef>
                <a:spcAft>
                  <a:spcPct val="0"/>
                </a:spcAft>
              </a:pPr>
              <a:t>0.4</a:t>
            </a:fld>
            <a:endParaRPr lang="pt-BR" sz="1000" dirty="0">
              <a:solidFill>
                <a:srgbClr val="FFFFFF"/>
              </a:solidFill>
              <a:cs typeface="Calibri" panose="020F0502020204030204" pitchFamily="34" charset="0"/>
            </a:endParaRPr>
          </a:p>
        </p:txBody>
      </p:sp>
      <p:sp>
        <p:nvSpPr>
          <p:cNvPr id="1024" name="Rectangle 8">
            <a:extLst>
              <a:ext uri="{FF2B5EF4-FFF2-40B4-BE49-F238E27FC236}">
                <a16:creationId xmlns:a16="http://schemas.microsoft.com/office/drawing/2014/main" id="{A3F78508-A964-0314-D537-B58AC27C34DF}"/>
              </a:ext>
            </a:extLst>
          </p:cNvPr>
          <p:cNvSpPr txBox="1">
            <a:spLocks/>
          </p:cNvSpPr>
          <p:nvPr>
            <p:custDataLst>
              <p:tags r:id="rId37"/>
            </p:custDataLst>
          </p:nvPr>
        </p:nvSpPr>
        <p:spPr>
          <a:xfrm>
            <a:off x="6197599" y="1267253"/>
            <a:ext cx="896621" cy="1801067"/>
          </a:xfrm>
          <a:prstGeom prst="rect">
            <a:avLst/>
          </a:prstGeom>
          <a:solidFill>
            <a:schemeClr val="accent1"/>
          </a:solidFill>
          <a:ln w="9525">
            <a:noFill/>
            <a:miter lim="800000"/>
            <a:headEnd/>
            <a:tailEnd/>
          </a:ln>
          <a:effectLst/>
        </p:spPr>
        <p:txBody>
          <a:bodyPr vert="horz" wrap="square" lIns="36576" tIns="76200" rIns="36576" bIns="76200" numCol="1" anchor="ctr"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Gold industry context</a:t>
            </a:r>
            <a:endParaRPr kumimoji="0" lang="en-CA"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endParaRPr>
          </a:p>
        </p:txBody>
      </p:sp>
      <p:sp>
        <p:nvSpPr>
          <p:cNvPr id="1025" name="TextBox 1024">
            <a:extLst>
              <a:ext uri="{FF2B5EF4-FFF2-40B4-BE49-F238E27FC236}">
                <a16:creationId xmlns:a16="http://schemas.microsoft.com/office/drawing/2014/main" id="{DAD314E2-AD5F-2097-3D88-678F0CCF4CBE}"/>
              </a:ext>
            </a:extLst>
          </p:cNvPr>
          <p:cNvSpPr txBox="1">
            <a:spLocks/>
          </p:cNvSpPr>
          <p:nvPr/>
        </p:nvSpPr>
        <p:spPr>
          <a:xfrm>
            <a:off x="7171817" y="1303710"/>
            <a:ext cx="4712209" cy="73691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5425"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Colombia is a top-20 gold-producing country, although most of the country’s production comes from artisan operations (~70%) and smaller industry players – with the exception of Zijin Mining</a:t>
            </a:r>
          </a:p>
          <a:p>
            <a:pPr marL="228600" marR="0" lvl="1" indent="-225425"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Colombia has large undeveloped gold projects, but many of them are involved in complex social and environmental litigations; AngloGold has ~35Moz of gold R&amp;R in La </a:t>
            </a:r>
            <a:r>
              <a:rPr kumimoji="0" lang="en-US" sz="9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Colosa</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and </a:t>
            </a:r>
            <a:r>
              <a:rPr kumimoji="0" lang="en-US" sz="9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Quebradona</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both stalled for many years waiting on government and community approvals</a:t>
            </a:r>
          </a:p>
        </p:txBody>
      </p:sp>
      <p:sp>
        <p:nvSpPr>
          <p:cNvPr id="1026" name="TextBox 1025">
            <a:extLst>
              <a:ext uri="{FF2B5EF4-FFF2-40B4-BE49-F238E27FC236}">
                <a16:creationId xmlns:a16="http://schemas.microsoft.com/office/drawing/2014/main" id="{1E4E2C97-85F2-E614-DACB-CADA4522D9BA}"/>
              </a:ext>
            </a:extLst>
          </p:cNvPr>
          <p:cNvSpPr txBox="1">
            <a:spLocks/>
          </p:cNvSpPr>
          <p:nvPr/>
        </p:nvSpPr>
        <p:spPr>
          <a:xfrm>
            <a:off x="7254089" y="2056924"/>
            <a:ext cx="4554013" cy="153888"/>
          </a:xfrm>
          <a:prstGeom prst="rect">
            <a:avLst/>
          </a:prstGeom>
          <a:noFill/>
          <a:ln w="9525">
            <a:noFill/>
            <a:miter lim="800000"/>
            <a:headEnd/>
            <a:tailEnd/>
          </a:ln>
          <a:effectLst/>
        </p:spPr>
        <p:txBody>
          <a:bodyPr vert="horz" wrap="square" lIns="0" tIns="0" rIns="0" bIns="0" numCol="1" anchor="ctr"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C9A319"/>
              </a:buClr>
              <a:buSzTx/>
              <a:buFontTx/>
              <a:buNone/>
              <a:tabLst/>
              <a:defRPr/>
            </a:pPr>
            <a:r>
              <a:rPr kumimoji="0" lang="en-CA" sz="10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Largest gold mines by production </a:t>
            </a:r>
          </a:p>
        </p:txBody>
      </p:sp>
      <p:cxnSp>
        <p:nvCxnSpPr>
          <p:cNvPr id="1028" name="Straight Connector 1027">
            <a:extLst>
              <a:ext uri="{FF2B5EF4-FFF2-40B4-BE49-F238E27FC236}">
                <a16:creationId xmlns:a16="http://schemas.microsoft.com/office/drawing/2014/main" id="{FF0B593C-D848-9FB4-A4F6-0E12D9A887D3}"/>
              </a:ext>
            </a:extLst>
          </p:cNvPr>
          <p:cNvCxnSpPr>
            <a:cxnSpLocks/>
          </p:cNvCxnSpPr>
          <p:nvPr>
            <p:custDataLst>
              <p:tags r:id="rId38"/>
            </p:custDataLst>
          </p:nvPr>
        </p:nvCxnSpPr>
        <p:spPr>
          <a:xfrm>
            <a:off x="8710559" y="2434531"/>
            <a:ext cx="784899" cy="0"/>
          </a:xfrm>
          <a:prstGeom prst="line">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sp>
        <p:nvSpPr>
          <p:cNvPr id="1029" name="TextBox 1028">
            <a:extLst>
              <a:ext uri="{FF2B5EF4-FFF2-40B4-BE49-F238E27FC236}">
                <a16:creationId xmlns:a16="http://schemas.microsoft.com/office/drawing/2014/main" id="{482CA360-9D79-17B5-9ADF-D4357DEB7783}"/>
              </a:ext>
            </a:extLst>
          </p:cNvPr>
          <p:cNvSpPr txBox="1">
            <a:spLocks/>
          </p:cNvSpPr>
          <p:nvPr/>
        </p:nvSpPr>
        <p:spPr>
          <a:xfrm>
            <a:off x="8710559" y="2272432"/>
            <a:ext cx="401691" cy="1384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Mine</a:t>
            </a:r>
          </a:p>
        </p:txBody>
      </p:sp>
      <p:cxnSp>
        <p:nvCxnSpPr>
          <p:cNvPr id="1030" name="Straight Connector 1029">
            <a:extLst>
              <a:ext uri="{FF2B5EF4-FFF2-40B4-BE49-F238E27FC236}">
                <a16:creationId xmlns:a16="http://schemas.microsoft.com/office/drawing/2014/main" id="{58FAC8FE-427B-945B-18CE-2D531EF1CB05}"/>
              </a:ext>
            </a:extLst>
          </p:cNvPr>
          <p:cNvCxnSpPr>
            <a:cxnSpLocks/>
          </p:cNvCxnSpPr>
          <p:nvPr>
            <p:custDataLst>
              <p:tags r:id="rId39"/>
            </p:custDataLst>
          </p:nvPr>
        </p:nvCxnSpPr>
        <p:spPr>
          <a:xfrm>
            <a:off x="9703779" y="2434531"/>
            <a:ext cx="797529" cy="0"/>
          </a:xfrm>
          <a:prstGeom prst="line">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sp>
        <p:nvSpPr>
          <p:cNvPr id="1031" name="TextBox 1030">
            <a:extLst>
              <a:ext uri="{FF2B5EF4-FFF2-40B4-BE49-F238E27FC236}">
                <a16:creationId xmlns:a16="http://schemas.microsoft.com/office/drawing/2014/main" id="{DA9AE0B7-F515-5E02-EE91-A9C47C13156C}"/>
              </a:ext>
            </a:extLst>
          </p:cNvPr>
          <p:cNvSpPr txBox="1">
            <a:spLocks/>
          </p:cNvSpPr>
          <p:nvPr/>
        </p:nvSpPr>
        <p:spPr>
          <a:xfrm>
            <a:off x="9703779" y="2261907"/>
            <a:ext cx="797529" cy="1384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Output</a:t>
            </a: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oz / year</a:t>
            </a:r>
          </a:p>
        </p:txBody>
      </p:sp>
      <p:cxnSp>
        <p:nvCxnSpPr>
          <p:cNvPr id="1032" name="Straight Connector 1031">
            <a:extLst>
              <a:ext uri="{FF2B5EF4-FFF2-40B4-BE49-F238E27FC236}">
                <a16:creationId xmlns:a16="http://schemas.microsoft.com/office/drawing/2014/main" id="{B7C007AA-56BB-619C-F2A8-85C273755624}"/>
              </a:ext>
            </a:extLst>
          </p:cNvPr>
          <p:cNvCxnSpPr>
            <a:cxnSpLocks/>
          </p:cNvCxnSpPr>
          <p:nvPr>
            <p:custDataLst>
              <p:tags r:id="rId40"/>
            </p:custDataLst>
          </p:nvPr>
        </p:nvCxnSpPr>
        <p:spPr>
          <a:xfrm>
            <a:off x="10683198" y="2434531"/>
            <a:ext cx="1124902" cy="0"/>
          </a:xfrm>
          <a:prstGeom prst="line">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sp>
        <p:nvSpPr>
          <p:cNvPr id="1035" name="TextBox 1034">
            <a:extLst>
              <a:ext uri="{FF2B5EF4-FFF2-40B4-BE49-F238E27FC236}">
                <a16:creationId xmlns:a16="http://schemas.microsoft.com/office/drawing/2014/main" id="{1E4CD653-A35E-0DCD-6A78-C2E1878AC761}"/>
              </a:ext>
            </a:extLst>
          </p:cNvPr>
          <p:cNvSpPr txBox="1">
            <a:spLocks/>
          </p:cNvSpPr>
          <p:nvPr/>
        </p:nvSpPr>
        <p:spPr>
          <a:xfrm>
            <a:off x="10683198" y="2260923"/>
            <a:ext cx="1124902" cy="1384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Date of first production</a:t>
            </a:r>
          </a:p>
        </p:txBody>
      </p:sp>
      <p:cxnSp>
        <p:nvCxnSpPr>
          <p:cNvPr id="1036" name="Straight Connector 1035">
            <a:extLst>
              <a:ext uri="{FF2B5EF4-FFF2-40B4-BE49-F238E27FC236}">
                <a16:creationId xmlns:a16="http://schemas.microsoft.com/office/drawing/2014/main" id="{20C0DD8D-3E62-EAEC-AD24-6B42F5A37BCA}"/>
              </a:ext>
            </a:extLst>
          </p:cNvPr>
          <p:cNvCxnSpPr>
            <a:cxnSpLocks/>
          </p:cNvCxnSpPr>
          <p:nvPr>
            <p:custDataLst>
              <p:tags r:id="rId41"/>
            </p:custDataLst>
          </p:nvPr>
        </p:nvCxnSpPr>
        <p:spPr>
          <a:xfrm>
            <a:off x="7254089" y="2626833"/>
            <a:ext cx="4554013" cy="0"/>
          </a:xfrm>
          <a:prstGeom prst="line">
            <a:avLst/>
          </a:prstGeom>
          <a:ln w="6350">
            <a:solidFill>
              <a:srgbClr val="757575"/>
            </a:solidFill>
            <a:prstDash val="solid"/>
          </a:ln>
        </p:spPr>
        <p:style>
          <a:lnRef idx="1">
            <a:schemeClr val="accent1"/>
          </a:lnRef>
          <a:fillRef idx="0">
            <a:schemeClr val="accent1"/>
          </a:fillRef>
          <a:effectRef idx="0">
            <a:schemeClr val="accent1"/>
          </a:effectRef>
          <a:fontRef idx="minor">
            <a:schemeClr val="tx1"/>
          </a:fontRef>
        </p:style>
      </p:cxnSp>
      <p:sp>
        <p:nvSpPr>
          <p:cNvPr id="1037" name="TextBox 1036">
            <a:extLst>
              <a:ext uri="{FF2B5EF4-FFF2-40B4-BE49-F238E27FC236}">
                <a16:creationId xmlns:a16="http://schemas.microsoft.com/office/drawing/2014/main" id="{55A506C1-33E5-6199-554D-45AAA2FC19BF}"/>
              </a:ext>
            </a:extLst>
          </p:cNvPr>
          <p:cNvSpPr txBox="1">
            <a:spLocks/>
          </p:cNvSpPr>
          <p:nvPr/>
        </p:nvSpPr>
        <p:spPr>
          <a:xfrm>
            <a:off x="7254089" y="2280157"/>
            <a:ext cx="1248149" cy="1384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Company</a:t>
            </a:r>
          </a:p>
        </p:txBody>
      </p:sp>
      <p:sp>
        <p:nvSpPr>
          <p:cNvPr id="1038" name="TextBox 1037">
            <a:extLst>
              <a:ext uri="{FF2B5EF4-FFF2-40B4-BE49-F238E27FC236}">
                <a16:creationId xmlns:a16="http://schemas.microsoft.com/office/drawing/2014/main" id="{3CDE89D9-6FA6-CBBA-BD5F-E04EA230D579}"/>
              </a:ext>
            </a:extLst>
          </p:cNvPr>
          <p:cNvSpPr txBox="1">
            <a:spLocks/>
          </p:cNvSpPr>
          <p:nvPr/>
        </p:nvSpPr>
        <p:spPr>
          <a:xfrm>
            <a:off x="8710560" y="2482214"/>
            <a:ext cx="664862" cy="12906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Buritica</a:t>
            </a:r>
          </a:p>
        </p:txBody>
      </p:sp>
      <p:sp>
        <p:nvSpPr>
          <p:cNvPr id="1039" name="TextBox 1038">
            <a:extLst>
              <a:ext uri="{FF2B5EF4-FFF2-40B4-BE49-F238E27FC236}">
                <a16:creationId xmlns:a16="http://schemas.microsoft.com/office/drawing/2014/main" id="{A4920BEE-2966-562A-5E1C-6303979D945F}"/>
              </a:ext>
            </a:extLst>
          </p:cNvPr>
          <p:cNvSpPr txBox="1">
            <a:spLocks/>
          </p:cNvSpPr>
          <p:nvPr/>
        </p:nvSpPr>
        <p:spPr>
          <a:xfrm>
            <a:off x="9704901" y="2482214"/>
            <a:ext cx="796688" cy="13512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266</a:t>
            </a:r>
          </a:p>
        </p:txBody>
      </p:sp>
      <p:sp>
        <p:nvSpPr>
          <p:cNvPr id="1040" name="TextBox 1039">
            <a:extLst>
              <a:ext uri="{FF2B5EF4-FFF2-40B4-BE49-F238E27FC236}">
                <a16:creationId xmlns:a16="http://schemas.microsoft.com/office/drawing/2014/main" id="{979CE3AE-03C8-53BF-EC59-82861F799DD9}"/>
              </a:ext>
            </a:extLst>
          </p:cNvPr>
          <p:cNvSpPr txBox="1">
            <a:spLocks/>
          </p:cNvSpPr>
          <p:nvPr/>
        </p:nvSpPr>
        <p:spPr>
          <a:xfrm>
            <a:off x="10682552" y="2482214"/>
            <a:ext cx="899848" cy="13715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2020</a:t>
            </a:r>
          </a:p>
        </p:txBody>
      </p:sp>
      <p:sp>
        <p:nvSpPr>
          <p:cNvPr id="1041" name="TextBox 1040">
            <a:extLst>
              <a:ext uri="{FF2B5EF4-FFF2-40B4-BE49-F238E27FC236}">
                <a16:creationId xmlns:a16="http://schemas.microsoft.com/office/drawing/2014/main" id="{7AB8DAED-410A-1785-BA6A-54FA0D33E14A}"/>
              </a:ext>
            </a:extLst>
          </p:cNvPr>
          <p:cNvSpPr txBox="1">
            <a:spLocks/>
          </p:cNvSpPr>
          <p:nvPr/>
        </p:nvSpPr>
        <p:spPr>
          <a:xfrm>
            <a:off x="8710559" y="2889546"/>
            <a:ext cx="784899" cy="13512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9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Nechi</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Alluvial</a:t>
            </a:r>
          </a:p>
        </p:txBody>
      </p:sp>
      <p:sp>
        <p:nvSpPr>
          <p:cNvPr id="1042" name="TextBox 1041">
            <a:extLst>
              <a:ext uri="{FF2B5EF4-FFF2-40B4-BE49-F238E27FC236}">
                <a16:creationId xmlns:a16="http://schemas.microsoft.com/office/drawing/2014/main" id="{2F0723F8-8636-5C2B-6250-520F196B1975}"/>
              </a:ext>
            </a:extLst>
          </p:cNvPr>
          <p:cNvSpPr txBox="1">
            <a:spLocks/>
          </p:cNvSpPr>
          <p:nvPr/>
        </p:nvSpPr>
        <p:spPr>
          <a:xfrm>
            <a:off x="9704901" y="2675061"/>
            <a:ext cx="796688" cy="13512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175</a:t>
            </a:r>
          </a:p>
        </p:txBody>
      </p:sp>
      <p:sp>
        <p:nvSpPr>
          <p:cNvPr id="1043" name="TextBox 1042">
            <a:extLst>
              <a:ext uri="{FF2B5EF4-FFF2-40B4-BE49-F238E27FC236}">
                <a16:creationId xmlns:a16="http://schemas.microsoft.com/office/drawing/2014/main" id="{6781E4CB-4C92-17B9-973F-766FAD006728}"/>
              </a:ext>
            </a:extLst>
          </p:cNvPr>
          <p:cNvSpPr txBox="1">
            <a:spLocks/>
          </p:cNvSpPr>
          <p:nvPr/>
        </p:nvSpPr>
        <p:spPr>
          <a:xfrm>
            <a:off x="10682552" y="2675061"/>
            <a:ext cx="1125550" cy="13512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1900</a:t>
            </a:r>
          </a:p>
        </p:txBody>
      </p:sp>
      <p:cxnSp>
        <p:nvCxnSpPr>
          <p:cNvPr id="1044" name="Straight Connector 1043">
            <a:extLst>
              <a:ext uri="{FF2B5EF4-FFF2-40B4-BE49-F238E27FC236}">
                <a16:creationId xmlns:a16="http://schemas.microsoft.com/office/drawing/2014/main" id="{F6C248A5-3840-C9CD-27E4-804CF784D90E}"/>
              </a:ext>
            </a:extLst>
          </p:cNvPr>
          <p:cNvCxnSpPr>
            <a:cxnSpLocks/>
          </p:cNvCxnSpPr>
          <p:nvPr>
            <p:custDataLst>
              <p:tags r:id="rId42"/>
            </p:custDataLst>
          </p:nvPr>
        </p:nvCxnSpPr>
        <p:spPr>
          <a:xfrm>
            <a:off x="7254089" y="2434531"/>
            <a:ext cx="1248149" cy="0"/>
          </a:xfrm>
          <a:prstGeom prst="line">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sp>
        <p:nvSpPr>
          <p:cNvPr id="1045" name="TextBox 1044">
            <a:extLst>
              <a:ext uri="{FF2B5EF4-FFF2-40B4-BE49-F238E27FC236}">
                <a16:creationId xmlns:a16="http://schemas.microsoft.com/office/drawing/2014/main" id="{0F70E0E6-7F12-F8E3-2C93-0FE87EC65599}"/>
              </a:ext>
            </a:extLst>
          </p:cNvPr>
          <p:cNvSpPr txBox="1">
            <a:spLocks/>
          </p:cNvSpPr>
          <p:nvPr/>
        </p:nvSpPr>
        <p:spPr>
          <a:xfrm>
            <a:off x="8710559" y="2675061"/>
            <a:ext cx="784899" cy="13512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Segovia</a:t>
            </a:r>
          </a:p>
        </p:txBody>
      </p:sp>
      <p:cxnSp>
        <p:nvCxnSpPr>
          <p:cNvPr id="1047" name="Straight Connector 1046">
            <a:extLst>
              <a:ext uri="{FF2B5EF4-FFF2-40B4-BE49-F238E27FC236}">
                <a16:creationId xmlns:a16="http://schemas.microsoft.com/office/drawing/2014/main" id="{E6F1B657-E941-F2D9-BB7D-5A399E512644}"/>
              </a:ext>
            </a:extLst>
          </p:cNvPr>
          <p:cNvCxnSpPr>
            <a:cxnSpLocks/>
          </p:cNvCxnSpPr>
          <p:nvPr>
            <p:custDataLst>
              <p:tags r:id="rId43"/>
            </p:custDataLst>
          </p:nvPr>
        </p:nvCxnSpPr>
        <p:spPr>
          <a:xfrm>
            <a:off x="7254089" y="2830809"/>
            <a:ext cx="4554013" cy="0"/>
          </a:xfrm>
          <a:prstGeom prst="line">
            <a:avLst/>
          </a:prstGeom>
          <a:ln w="6350">
            <a:solidFill>
              <a:srgbClr val="757575"/>
            </a:solidFill>
            <a:prstDash val="solid"/>
          </a:ln>
        </p:spPr>
        <p:style>
          <a:lnRef idx="1">
            <a:schemeClr val="accent1"/>
          </a:lnRef>
          <a:fillRef idx="0">
            <a:schemeClr val="accent1"/>
          </a:fillRef>
          <a:effectRef idx="0">
            <a:schemeClr val="accent1"/>
          </a:effectRef>
          <a:fontRef idx="minor">
            <a:schemeClr val="tx1"/>
          </a:fontRef>
        </p:style>
      </p:cxnSp>
      <p:sp>
        <p:nvSpPr>
          <p:cNvPr id="1052" name="TextBox 1051">
            <a:extLst>
              <a:ext uri="{FF2B5EF4-FFF2-40B4-BE49-F238E27FC236}">
                <a16:creationId xmlns:a16="http://schemas.microsoft.com/office/drawing/2014/main" id="{BFA83F51-2CB3-C5BF-5DF7-C6EFC7EA480C}"/>
              </a:ext>
            </a:extLst>
          </p:cNvPr>
          <p:cNvSpPr txBox="1">
            <a:spLocks/>
          </p:cNvSpPr>
          <p:nvPr/>
        </p:nvSpPr>
        <p:spPr>
          <a:xfrm>
            <a:off x="9704901" y="2879267"/>
            <a:ext cx="796688" cy="13512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85</a:t>
            </a:r>
          </a:p>
        </p:txBody>
      </p:sp>
      <p:sp>
        <p:nvSpPr>
          <p:cNvPr id="1055" name="Rectangle 1054">
            <a:extLst>
              <a:ext uri="{FF2B5EF4-FFF2-40B4-BE49-F238E27FC236}">
                <a16:creationId xmlns:a16="http://schemas.microsoft.com/office/drawing/2014/main" id="{F7B0F23C-8F86-927D-0684-1B9FFDBF2FF1}"/>
              </a:ext>
            </a:extLst>
          </p:cNvPr>
          <p:cNvSpPr>
            <a:spLocks/>
          </p:cNvSpPr>
          <p:nvPr/>
        </p:nvSpPr>
        <p:spPr>
          <a:xfrm>
            <a:off x="7174991" y="2234624"/>
            <a:ext cx="4712207" cy="833697"/>
          </a:xfrm>
          <a:prstGeom prst="rect">
            <a:avLst/>
          </a:prstGeom>
          <a:no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CA" sz="1400" b="0" i="0" u="none" strike="noStrike" kern="1200" cap="none" spc="0" normalizeH="0" baseline="0" noProof="0" dirty="0" err="1">
              <a:ln>
                <a:noFill/>
              </a:ln>
              <a:solidFill>
                <a:srgbClr val="2A516C"/>
              </a:solidFill>
              <a:effectLst/>
              <a:uLnTx/>
              <a:uFillTx/>
              <a:latin typeface="Calibri" panose="020F0502020204030204" pitchFamily="34" charset="0"/>
              <a:ea typeface="ＭＳ Ｐゴシック"/>
              <a:cs typeface="Calibri" panose="020F0502020204030204" pitchFamily="34" charset="0"/>
            </a:endParaRPr>
          </a:p>
        </p:txBody>
      </p:sp>
      <p:sp>
        <p:nvSpPr>
          <p:cNvPr id="1056" name="TextBox 1055">
            <a:extLst>
              <a:ext uri="{FF2B5EF4-FFF2-40B4-BE49-F238E27FC236}">
                <a16:creationId xmlns:a16="http://schemas.microsoft.com/office/drawing/2014/main" id="{7F9AD6BC-E650-7D16-2477-8F96CA86DA2C}"/>
              </a:ext>
            </a:extLst>
          </p:cNvPr>
          <p:cNvSpPr txBox="1">
            <a:spLocks/>
          </p:cNvSpPr>
          <p:nvPr/>
        </p:nvSpPr>
        <p:spPr>
          <a:xfrm>
            <a:off x="10682552" y="2879111"/>
            <a:ext cx="1125550" cy="13512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1906</a:t>
            </a:r>
          </a:p>
        </p:txBody>
      </p:sp>
      <p:grpSp>
        <p:nvGrpSpPr>
          <p:cNvPr id="90" name="Group 89">
            <a:extLst>
              <a:ext uri="{FF2B5EF4-FFF2-40B4-BE49-F238E27FC236}">
                <a16:creationId xmlns:a16="http://schemas.microsoft.com/office/drawing/2014/main" id="{F6651EEB-F629-E5C8-C6CA-C1E67DF4ED29}"/>
              </a:ext>
            </a:extLst>
          </p:cNvPr>
          <p:cNvGrpSpPr/>
          <p:nvPr/>
        </p:nvGrpSpPr>
        <p:grpSpPr>
          <a:xfrm>
            <a:off x="346075" y="2359495"/>
            <a:ext cx="5524265" cy="884613"/>
            <a:chOff x="346075" y="2629815"/>
            <a:chExt cx="5524265" cy="884613"/>
          </a:xfrm>
        </p:grpSpPr>
        <p:sp>
          <p:nvSpPr>
            <p:cNvPr id="43" name="Rectangle 8">
              <a:extLst>
                <a:ext uri="{FF2B5EF4-FFF2-40B4-BE49-F238E27FC236}">
                  <a16:creationId xmlns:a16="http://schemas.microsoft.com/office/drawing/2014/main" id="{F8D474FE-B311-2170-5018-2B21548A87C7}"/>
                </a:ext>
              </a:extLst>
            </p:cNvPr>
            <p:cNvSpPr txBox="1">
              <a:spLocks/>
            </p:cNvSpPr>
            <p:nvPr>
              <p:custDataLst>
                <p:tags r:id="rId89"/>
              </p:custDataLst>
            </p:nvPr>
          </p:nvSpPr>
          <p:spPr>
            <a:xfrm>
              <a:off x="346075" y="2629815"/>
              <a:ext cx="1194435" cy="884613"/>
            </a:xfrm>
            <a:prstGeom prst="rect">
              <a:avLst/>
            </a:prstGeom>
            <a:solidFill>
              <a:schemeClr val="accent1"/>
            </a:solidFill>
            <a:ln w="9525">
              <a:noFill/>
              <a:miter lim="800000"/>
              <a:headEnd/>
              <a:tailEnd/>
            </a:ln>
            <a:effectLst/>
          </p:spPr>
          <p:txBody>
            <a:bodyPr vert="horz" wrap="square" lIns="36576" tIns="76200" rIns="36576" bIns="76200" numCol="1" anchor="ctr"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Country overview</a:t>
              </a:r>
              <a:endParaRPr kumimoji="0" lang="en-CA"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endParaRPr>
            </a:p>
          </p:txBody>
        </p:sp>
        <p:grpSp>
          <p:nvGrpSpPr>
            <p:cNvPr id="117" name="Group 116">
              <a:extLst>
                <a:ext uri="{FF2B5EF4-FFF2-40B4-BE49-F238E27FC236}">
                  <a16:creationId xmlns:a16="http://schemas.microsoft.com/office/drawing/2014/main" id="{0D700741-E291-821A-8C10-BB317B1AF13D}"/>
                </a:ext>
              </a:extLst>
            </p:cNvPr>
            <p:cNvGrpSpPr/>
            <p:nvPr/>
          </p:nvGrpSpPr>
          <p:grpSpPr>
            <a:xfrm>
              <a:off x="1615442" y="2629815"/>
              <a:ext cx="4254898" cy="138499"/>
              <a:chOff x="1615442" y="2734812"/>
              <a:chExt cx="4254898" cy="138499"/>
            </a:xfrm>
          </p:grpSpPr>
          <p:sp>
            <p:nvSpPr>
              <p:cNvPr id="149" name="TextBox 148">
                <a:extLst>
                  <a:ext uri="{FF2B5EF4-FFF2-40B4-BE49-F238E27FC236}">
                    <a16:creationId xmlns:a16="http://schemas.microsoft.com/office/drawing/2014/main" id="{AE99F63B-9356-119E-2124-9025192EC592}"/>
                  </a:ext>
                </a:extLst>
              </p:cNvPr>
              <p:cNvSpPr txBox="1">
                <a:spLocks/>
              </p:cNvSpPr>
              <p:nvPr/>
            </p:nvSpPr>
            <p:spPr>
              <a:xfrm>
                <a:off x="1615442" y="2734812"/>
                <a:ext cx="913446" cy="13493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Population:</a:t>
                </a:r>
              </a:p>
            </p:txBody>
          </p:sp>
          <p:sp>
            <p:nvSpPr>
              <p:cNvPr id="150" name="TextBox 149">
                <a:extLst>
                  <a:ext uri="{FF2B5EF4-FFF2-40B4-BE49-F238E27FC236}">
                    <a16:creationId xmlns:a16="http://schemas.microsoft.com/office/drawing/2014/main" id="{AB7C5F20-D7EE-1CF5-FE7D-7AAB651A0DE7}"/>
                  </a:ext>
                </a:extLst>
              </p:cNvPr>
              <p:cNvSpPr txBox="1">
                <a:spLocks/>
              </p:cNvSpPr>
              <p:nvPr/>
            </p:nvSpPr>
            <p:spPr>
              <a:xfrm>
                <a:off x="2600326" y="2734812"/>
                <a:ext cx="3270014" cy="138499"/>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49 M</a:t>
                </a:r>
              </a:p>
            </p:txBody>
          </p:sp>
        </p:grpSp>
        <p:grpSp>
          <p:nvGrpSpPr>
            <p:cNvPr id="118" name="Group 117">
              <a:extLst>
                <a:ext uri="{FF2B5EF4-FFF2-40B4-BE49-F238E27FC236}">
                  <a16:creationId xmlns:a16="http://schemas.microsoft.com/office/drawing/2014/main" id="{75D92D83-F78D-2A33-183E-21E55BE40F5E}"/>
                </a:ext>
              </a:extLst>
            </p:cNvPr>
            <p:cNvGrpSpPr/>
            <p:nvPr/>
          </p:nvGrpSpPr>
          <p:grpSpPr>
            <a:xfrm>
              <a:off x="1615442" y="2779750"/>
              <a:ext cx="4254898" cy="134938"/>
              <a:chOff x="1615442" y="2884747"/>
              <a:chExt cx="4254898" cy="134938"/>
            </a:xfrm>
          </p:grpSpPr>
          <p:sp>
            <p:nvSpPr>
              <p:cNvPr id="152" name="TextBox 151">
                <a:extLst>
                  <a:ext uri="{FF2B5EF4-FFF2-40B4-BE49-F238E27FC236}">
                    <a16:creationId xmlns:a16="http://schemas.microsoft.com/office/drawing/2014/main" id="{313CD90E-654F-4BD9-14E0-95192A35D357}"/>
                  </a:ext>
                </a:extLst>
              </p:cNvPr>
              <p:cNvSpPr txBox="1">
                <a:spLocks/>
              </p:cNvSpPr>
              <p:nvPr/>
            </p:nvSpPr>
            <p:spPr>
              <a:xfrm>
                <a:off x="1615442" y="2884747"/>
                <a:ext cx="913446" cy="13493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Language:</a:t>
                </a:r>
              </a:p>
            </p:txBody>
          </p:sp>
          <p:sp>
            <p:nvSpPr>
              <p:cNvPr id="153" name="TextBox 152">
                <a:extLst>
                  <a:ext uri="{FF2B5EF4-FFF2-40B4-BE49-F238E27FC236}">
                    <a16:creationId xmlns:a16="http://schemas.microsoft.com/office/drawing/2014/main" id="{E254005B-DA49-EDF3-48A6-CCA356330855}"/>
                  </a:ext>
                </a:extLst>
              </p:cNvPr>
              <p:cNvSpPr txBox="1">
                <a:spLocks/>
              </p:cNvSpPr>
              <p:nvPr/>
            </p:nvSpPr>
            <p:spPr>
              <a:xfrm>
                <a:off x="2600326" y="2884747"/>
                <a:ext cx="3270014" cy="134938"/>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Spanish</a:t>
                </a:r>
              </a:p>
            </p:txBody>
          </p:sp>
        </p:grpSp>
        <p:grpSp>
          <p:nvGrpSpPr>
            <p:cNvPr id="119" name="Group 118">
              <a:extLst>
                <a:ext uri="{FF2B5EF4-FFF2-40B4-BE49-F238E27FC236}">
                  <a16:creationId xmlns:a16="http://schemas.microsoft.com/office/drawing/2014/main" id="{E3276519-0FBA-B8DD-DEB5-94D4112A275E}"/>
                </a:ext>
              </a:extLst>
            </p:cNvPr>
            <p:cNvGrpSpPr/>
            <p:nvPr/>
          </p:nvGrpSpPr>
          <p:grpSpPr>
            <a:xfrm>
              <a:off x="1615442" y="2926124"/>
              <a:ext cx="4254898" cy="138499"/>
              <a:chOff x="1615442" y="3031121"/>
              <a:chExt cx="4254898" cy="138499"/>
            </a:xfrm>
          </p:grpSpPr>
          <p:sp>
            <p:nvSpPr>
              <p:cNvPr id="155" name="TextBox 154">
                <a:extLst>
                  <a:ext uri="{FF2B5EF4-FFF2-40B4-BE49-F238E27FC236}">
                    <a16:creationId xmlns:a16="http://schemas.microsoft.com/office/drawing/2014/main" id="{E1CEF0DF-2075-199B-7D67-0C756649C778}"/>
                  </a:ext>
                </a:extLst>
              </p:cNvPr>
              <p:cNvSpPr txBox="1">
                <a:spLocks/>
              </p:cNvSpPr>
              <p:nvPr/>
            </p:nvSpPr>
            <p:spPr>
              <a:xfrm>
                <a:off x="1615442" y="3031121"/>
                <a:ext cx="913446" cy="13493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Currency:</a:t>
                </a:r>
              </a:p>
            </p:txBody>
          </p:sp>
          <p:sp>
            <p:nvSpPr>
              <p:cNvPr id="156" name="TextBox 155">
                <a:extLst>
                  <a:ext uri="{FF2B5EF4-FFF2-40B4-BE49-F238E27FC236}">
                    <a16:creationId xmlns:a16="http://schemas.microsoft.com/office/drawing/2014/main" id="{E8E68DDD-ED49-C541-1AE5-B7EEC7DC9112}"/>
                  </a:ext>
                </a:extLst>
              </p:cNvPr>
              <p:cNvSpPr txBox="1">
                <a:spLocks/>
              </p:cNvSpPr>
              <p:nvPr/>
            </p:nvSpPr>
            <p:spPr>
              <a:xfrm>
                <a:off x="2600326" y="3031121"/>
                <a:ext cx="3270014" cy="138499"/>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Colombian pesos (COP)</a:t>
                </a:r>
              </a:p>
            </p:txBody>
          </p:sp>
        </p:grpSp>
        <p:grpSp>
          <p:nvGrpSpPr>
            <p:cNvPr id="120" name="Group 119">
              <a:extLst>
                <a:ext uri="{FF2B5EF4-FFF2-40B4-BE49-F238E27FC236}">
                  <a16:creationId xmlns:a16="http://schemas.microsoft.com/office/drawing/2014/main" id="{35AFA302-D84E-EE58-CF86-DF61DA597128}"/>
                </a:ext>
              </a:extLst>
            </p:cNvPr>
            <p:cNvGrpSpPr/>
            <p:nvPr/>
          </p:nvGrpSpPr>
          <p:grpSpPr>
            <a:xfrm>
              <a:off x="1615442" y="3076059"/>
              <a:ext cx="4254898" cy="138499"/>
              <a:chOff x="1615442" y="3181056"/>
              <a:chExt cx="4254898" cy="138499"/>
            </a:xfrm>
          </p:grpSpPr>
          <p:sp>
            <p:nvSpPr>
              <p:cNvPr id="159" name="TextBox 158">
                <a:extLst>
                  <a:ext uri="{FF2B5EF4-FFF2-40B4-BE49-F238E27FC236}">
                    <a16:creationId xmlns:a16="http://schemas.microsoft.com/office/drawing/2014/main" id="{E77F8775-5EF5-5DA0-F571-01185669986D}"/>
                  </a:ext>
                </a:extLst>
              </p:cNvPr>
              <p:cNvSpPr txBox="1">
                <a:spLocks/>
              </p:cNvSpPr>
              <p:nvPr/>
            </p:nvSpPr>
            <p:spPr>
              <a:xfrm>
                <a:off x="1615442" y="3181056"/>
                <a:ext cx="913446"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Exchange rate:</a:t>
                </a:r>
              </a:p>
            </p:txBody>
          </p:sp>
          <p:sp>
            <p:nvSpPr>
              <p:cNvPr id="160" name="TextBox 159">
                <a:extLst>
                  <a:ext uri="{FF2B5EF4-FFF2-40B4-BE49-F238E27FC236}">
                    <a16:creationId xmlns:a16="http://schemas.microsoft.com/office/drawing/2014/main" id="{8D2084E0-1F0A-EA53-2101-573D4A0B7D35}"/>
                  </a:ext>
                </a:extLst>
              </p:cNvPr>
              <p:cNvSpPr txBox="1">
                <a:spLocks/>
              </p:cNvSpPr>
              <p:nvPr/>
            </p:nvSpPr>
            <p:spPr>
              <a:xfrm>
                <a:off x="2600326" y="3181056"/>
                <a:ext cx="3270014" cy="138499"/>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1 USD = 4,237 COP</a:t>
                </a:r>
              </a:p>
            </p:txBody>
          </p:sp>
        </p:grpSp>
        <p:grpSp>
          <p:nvGrpSpPr>
            <p:cNvPr id="122" name="Group 121">
              <a:extLst>
                <a:ext uri="{FF2B5EF4-FFF2-40B4-BE49-F238E27FC236}">
                  <a16:creationId xmlns:a16="http://schemas.microsoft.com/office/drawing/2014/main" id="{1B8844CB-0FC0-9D73-DA72-21471BD615A7}"/>
                </a:ext>
              </a:extLst>
            </p:cNvPr>
            <p:cNvGrpSpPr/>
            <p:nvPr/>
          </p:nvGrpSpPr>
          <p:grpSpPr>
            <a:xfrm>
              <a:off x="1615442" y="3225994"/>
              <a:ext cx="4254898" cy="138499"/>
              <a:chOff x="1615442" y="3330991"/>
              <a:chExt cx="4254898" cy="138499"/>
            </a:xfrm>
          </p:grpSpPr>
          <p:sp>
            <p:nvSpPr>
              <p:cNvPr id="162" name="TextBox 161">
                <a:extLst>
                  <a:ext uri="{FF2B5EF4-FFF2-40B4-BE49-F238E27FC236}">
                    <a16:creationId xmlns:a16="http://schemas.microsoft.com/office/drawing/2014/main" id="{76B76856-C654-E263-B4BA-6F7F2F92C6D5}"/>
                  </a:ext>
                </a:extLst>
              </p:cNvPr>
              <p:cNvSpPr txBox="1">
                <a:spLocks/>
              </p:cNvSpPr>
              <p:nvPr/>
            </p:nvSpPr>
            <p:spPr>
              <a:xfrm>
                <a:off x="1615442" y="3330991"/>
                <a:ext cx="913446" cy="13652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Unemployment:</a:t>
                </a:r>
              </a:p>
            </p:txBody>
          </p:sp>
          <p:sp>
            <p:nvSpPr>
              <p:cNvPr id="163" name="TextBox 162">
                <a:extLst>
                  <a:ext uri="{FF2B5EF4-FFF2-40B4-BE49-F238E27FC236}">
                    <a16:creationId xmlns:a16="http://schemas.microsoft.com/office/drawing/2014/main" id="{5056F202-CE90-6AAF-63E3-548B804AE4F1}"/>
                  </a:ext>
                </a:extLst>
              </p:cNvPr>
              <p:cNvSpPr txBox="1">
                <a:spLocks/>
              </p:cNvSpPr>
              <p:nvPr/>
            </p:nvSpPr>
            <p:spPr>
              <a:xfrm>
                <a:off x="2600326" y="3330991"/>
                <a:ext cx="3270014" cy="138499"/>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10.73% (2022)</a:t>
                </a:r>
              </a:p>
            </p:txBody>
          </p:sp>
        </p:grpSp>
        <p:grpSp>
          <p:nvGrpSpPr>
            <p:cNvPr id="121" name="Group 120">
              <a:extLst>
                <a:ext uri="{FF2B5EF4-FFF2-40B4-BE49-F238E27FC236}">
                  <a16:creationId xmlns:a16="http://schemas.microsoft.com/office/drawing/2014/main" id="{6996271A-FA53-38D8-C9B4-8E1C1D06E063}"/>
                </a:ext>
              </a:extLst>
            </p:cNvPr>
            <p:cNvGrpSpPr/>
            <p:nvPr/>
          </p:nvGrpSpPr>
          <p:grpSpPr>
            <a:xfrm>
              <a:off x="1615442" y="3375929"/>
              <a:ext cx="4254898" cy="138499"/>
              <a:chOff x="1615442" y="3480926"/>
              <a:chExt cx="4254898" cy="138499"/>
            </a:xfrm>
          </p:grpSpPr>
          <p:sp>
            <p:nvSpPr>
              <p:cNvPr id="165" name="TextBox 164">
                <a:extLst>
                  <a:ext uri="{FF2B5EF4-FFF2-40B4-BE49-F238E27FC236}">
                    <a16:creationId xmlns:a16="http://schemas.microsoft.com/office/drawing/2014/main" id="{444C5EFD-7B02-49E1-5490-7F10EC8CD8AC}"/>
                  </a:ext>
                </a:extLst>
              </p:cNvPr>
              <p:cNvSpPr txBox="1">
                <a:spLocks/>
              </p:cNvSpPr>
              <p:nvPr/>
            </p:nvSpPr>
            <p:spPr>
              <a:xfrm>
                <a:off x="1615442" y="3480926"/>
                <a:ext cx="913446"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Inflation (CPI):</a:t>
                </a:r>
              </a:p>
            </p:txBody>
          </p:sp>
          <p:sp>
            <p:nvSpPr>
              <p:cNvPr id="166" name="TextBox 165">
                <a:extLst>
                  <a:ext uri="{FF2B5EF4-FFF2-40B4-BE49-F238E27FC236}">
                    <a16:creationId xmlns:a16="http://schemas.microsoft.com/office/drawing/2014/main" id="{0740A040-C3E7-6D3E-153A-B12C72258648}"/>
                  </a:ext>
                </a:extLst>
              </p:cNvPr>
              <p:cNvSpPr txBox="1">
                <a:spLocks/>
              </p:cNvSpPr>
              <p:nvPr/>
            </p:nvSpPr>
            <p:spPr>
              <a:xfrm>
                <a:off x="2600326" y="3480926"/>
                <a:ext cx="3270014" cy="138499"/>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3.5% (2022)</a:t>
                </a:r>
              </a:p>
            </p:txBody>
          </p:sp>
        </p:grpSp>
        <p:grpSp>
          <p:nvGrpSpPr>
            <p:cNvPr id="30" name="Group 29">
              <a:extLst>
                <a:ext uri="{FF2B5EF4-FFF2-40B4-BE49-F238E27FC236}">
                  <a16:creationId xmlns:a16="http://schemas.microsoft.com/office/drawing/2014/main" id="{01DCF41D-C81B-9E91-E9BE-BB08DC5EDC92}"/>
                </a:ext>
              </a:extLst>
            </p:cNvPr>
            <p:cNvGrpSpPr/>
            <p:nvPr/>
          </p:nvGrpSpPr>
          <p:grpSpPr>
            <a:xfrm>
              <a:off x="3740224" y="2646670"/>
              <a:ext cx="2130116" cy="850903"/>
              <a:chOff x="3957324" y="2769132"/>
              <a:chExt cx="2130116" cy="850903"/>
            </a:xfrm>
          </p:grpSpPr>
          <p:sp>
            <p:nvSpPr>
              <p:cNvPr id="16" name="Freeform: Shape 15">
                <a:extLst>
                  <a:ext uri="{FF2B5EF4-FFF2-40B4-BE49-F238E27FC236}">
                    <a16:creationId xmlns:a16="http://schemas.microsoft.com/office/drawing/2014/main" id="{F9B5D8D3-C6A0-E8FB-9318-5C03935D715E}"/>
                  </a:ext>
                </a:extLst>
              </p:cNvPr>
              <p:cNvSpPr/>
              <p:nvPr/>
            </p:nvSpPr>
            <p:spPr>
              <a:xfrm>
                <a:off x="4503493" y="2851785"/>
                <a:ext cx="1186750" cy="529625"/>
              </a:xfrm>
              <a:custGeom>
                <a:avLst/>
                <a:gdLst>
                  <a:gd name="connsiteX0" fmla="*/ 1013460 w 1018540"/>
                  <a:gd name="connsiteY0" fmla="*/ 88900 h 624840"/>
                  <a:gd name="connsiteX1" fmla="*/ 0 w 1018540"/>
                  <a:gd name="connsiteY1" fmla="*/ 0 h 624840"/>
                  <a:gd name="connsiteX2" fmla="*/ 0 w 1018540"/>
                  <a:gd name="connsiteY2" fmla="*/ 624840 h 624840"/>
                  <a:gd name="connsiteX3" fmla="*/ 1018540 w 1018540"/>
                  <a:gd name="connsiteY3" fmla="*/ 147320 h 624840"/>
                  <a:gd name="connsiteX4" fmla="*/ 1013460 w 1018540"/>
                  <a:gd name="connsiteY4" fmla="*/ 88900 h 624840"/>
                  <a:gd name="connsiteX0" fmla="*/ 1013460 w 1018540"/>
                  <a:gd name="connsiteY0" fmla="*/ 88900 h 501015"/>
                  <a:gd name="connsiteX1" fmla="*/ 0 w 1018540"/>
                  <a:gd name="connsiteY1" fmla="*/ 0 h 501015"/>
                  <a:gd name="connsiteX2" fmla="*/ 470535 w 1018540"/>
                  <a:gd name="connsiteY2" fmla="*/ 501015 h 501015"/>
                  <a:gd name="connsiteX3" fmla="*/ 1018540 w 1018540"/>
                  <a:gd name="connsiteY3" fmla="*/ 147320 h 501015"/>
                  <a:gd name="connsiteX4" fmla="*/ 1013460 w 1018540"/>
                  <a:gd name="connsiteY4" fmla="*/ 88900 h 501015"/>
                  <a:gd name="connsiteX0" fmla="*/ 691515 w 696595"/>
                  <a:gd name="connsiteY0" fmla="*/ 41275 h 453390"/>
                  <a:gd name="connsiteX1" fmla="*/ 0 w 696595"/>
                  <a:gd name="connsiteY1" fmla="*/ 0 h 453390"/>
                  <a:gd name="connsiteX2" fmla="*/ 148590 w 696595"/>
                  <a:gd name="connsiteY2" fmla="*/ 453390 h 453390"/>
                  <a:gd name="connsiteX3" fmla="*/ 696595 w 696595"/>
                  <a:gd name="connsiteY3" fmla="*/ 99695 h 453390"/>
                  <a:gd name="connsiteX4" fmla="*/ 691515 w 696595"/>
                  <a:gd name="connsiteY4" fmla="*/ 41275 h 453390"/>
                  <a:gd name="connsiteX0" fmla="*/ 691515 w 692785"/>
                  <a:gd name="connsiteY0" fmla="*/ 41275 h 453390"/>
                  <a:gd name="connsiteX1" fmla="*/ 0 w 692785"/>
                  <a:gd name="connsiteY1" fmla="*/ 0 h 453390"/>
                  <a:gd name="connsiteX2" fmla="*/ 148590 w 692785"/>
                  <a:gd name="connsiteY2" fmla="*/ 453390 h 453390"/>
                  <a:gd name="connsiteX3" fmla="*/ 692785 w 692785"/>
                  <a:gd name="connsiteY3" fmla="*/ 76835 h 453390"/>
                  <a:gd name="connsiteX4" fmla="*/ 691515 w 692785"/>
                  <a:gd name="connsiteY4" fmla="*/ 41275 h 453390"/>
                  <a:gd name="connsiteX0" fmla="*/ 874395 w 875665"/>
                  <a:gd name="connsiteY0" fmla="*/ 79375 h 491490"/>
                  <a:gd name="connsiteX1" fmla="*/ 0 w 875665"/>
                  <a:gd name="connsiteY1" fmla="*/ 0 h 491490"/>
                  <a:gd name="connsiteX2" fmla="*/ 331470 w 875665"/>
                  <a:gd name="connsiteY2" fmla="*/ 491490 h 491490"/>
                  <a:gd name="connsiteX3" fmla="*/ 875665 w 875665"/>
                  <a:gd name="connsiteY3" fmla="*/ 114935 h 491490"/>
                  <a:gd name="connsiteX4" fmla="*/ 874395 w 875665"/>
                  <a:gd name="connsiteY4" fmla="*/ 79375 h 491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5665" h="491490">
                    <a:moveTo>
                      <a:pt x="874395" y="79375"/>
                    </a:moveTo>
                    <a:lnTo>
                      <a:pt x="0" y="0"/>
                    </a:lnTo>
                    <a:lnTo>
                      <a:pt x="331470" y="491490"/>
                    </a:lnTo>
                    <a:lnTo>
                      <a:pt x="875665" y="114935"/>
                    </a:lnTo>
                    <a:cubicBezTo>
                      <a:pt x="875242" y="103082"/>
                      <a:pt x="874818" y="91228"/>
                      <a:pt x="874395" y="79375"/>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Freeform 11">
                <a:extLst>
                  <a:ext uri="{FF2B5EF4-FFF2-40B4-BE49-F238E27FC236}">
                    <a16:creationId xmlns:a16="http://schemas.microsoft.com/office/drawing/2014/main" id="{ED43C623-77B2-0000-B9F1-AF0F22E61AA1}"/>
                  </a:ext>
                </a:extLst>
              </p:cNvPr>
              <p:cNvSpPr>
                <a:spLocks noEditPoints="1"/>
              </p:cNvSpPr>
              <p:nvPr/>
            </p:nvSpPr>
            <p:spPr bwMode="auto">
              <a:xfrm>
                <a:off x="5648622" y="3168297"/>
                <a:ext cx="197672" cy="435584"/>
              </a:xfrm>
              <a:custGeom>
                <a:avLst/>
                <a:gdLst>
                  <a:gd name="T0" fmla="*/ 418 w 673"/>
                  <a:gd name="T1" fmla="*/ 65 h 1483"/>
                  <a:gd name="T2" fmla="*/ 512 w 673"/>
                  <a:gd name="T3" fmla="*/ 116 h 1483"/>
                  <a:gd name="T4" fmla="*/ 527 w 673"/>
                  <a:gd name="T5" fmla="*/ 158 h 1483"/>
                  <a:gd name="T6" fmla="*/ 513 w 673"/>
                  <a:gd name="T7" fmla="*/ 204 h 1483"/>
                  <a:gd name="T8" fmla="*/ 597 w 673"/>
                  <a:gd name="T9" fmla="*/ 206 h 1483"/>
                  <a:gd name="T10" fmla="*/ 641 w 673"/>
                  <a:gd name="T11" fmla="*/ 155 h 1483"/>
                  <a:gd name="T12" fmla="*/ 668 w 673"/>
                  <a:gd name="T13" fmla="*/ 155 h 1483"/>
                  <a:gd name="T14" fmla="*/ 658 w 673"/>
                  <a:gd name="T15" fmla="*/ 204 h 1483"/>
                  <a:gd name="T16" fmla="*/ 614 w 673"/>
                  <a:gd name="T17" fmla="*/ 233 h 1483"/>
                  <a:gd name="T18" fmla="*/ 566 w 673"/>
                  <a:gd name="T19" fmla="*/ 287 h 1483"/>
                  <a:gd name="T20" fmla="*/ 529 w 673"/>
                  <a:gd name="T21" fmla="*/ 357 h 1483"/>
                  <a:gd name="T22" fmla="*/ 512 w 673"/>
                  <a:gd name="T23" fmla="*/ 440 h 1483"/>
                  <a:gd name="T24" fmla="*/ 530 w 673"/>
                  <a:gd name="T25" fmla="*/ 502 h 1483"/>
                  <a:gd name="T26" fmla="*/ 566 w 673"/>
                  <a:gd name="T27" fmla="*/ 565 h 1483"/>
                  <a:gd name="T28" fmla="*/ 532 w 673"/>
                  <a:gd name="T29" fmla="*/ 648 h 1483"/>
                  <a:gd name="T30" fmla="*/ 430 w 673"/>
                  <a:gd name="T31" fmla="*/ 677 h 1483"/>
                  <a:gd name="T32" fmla="*/ 384 w 673"/>
                  <a:gd name="T33" fmla="*/ 691 h 1483"/>
                  <a:gd name="T34" fmla="*/ 376 w 673"/>
                  <a:gd name="T35" fmla="*/ 738 h 1483"/>
                  <a:gd name="T36" fmla="*/ 320 w 673"/>
                  <a:gd name="T37" fmla="*/ 767 h 1483"/>
                  <a:gd name="T38" fmla="*/ 286 w 673"/>
                  <a:gd name="T39" fmla="*/ 774 h 1483"/>
                  <a:gd name="T40" fmla="*/ 309 w 673"/>
                  <a:gd name="T41" fmla="*/ 832 h 1483"/>
                  <a:gd name="T42" fmla="*/ 330 w 673"/>
                  <a:gd name="T43" fmla="*/ 849 h 1483"/>
                  <a:gd name="T44" fmla="*/ 311 w 673"/>
                  <a:gd name="T45" fmla="*/ 856 h 1483"/>
                  <a:gd name="T46" fmla="*/ 281 w 673"/>
                  <a:gd name="T47" fmla="*/ 920 h 1483"/>
                  <a:gd name="T48" fmla="*/ 248 w 673"/>
                  <a:gd name="T49" fmla="*/ 952 h 1483"/>
                  <a:gd name="T50" fmla="*/ 202 w 673"/>
                  <a:gd name="T51" fmla="*/ 1002 h 1483"/>
                  <a:gd name="T52" fmla="*/ 265 w 673"/>
                  <a:gd name="T53" fmla="*/ 1065 h 1483"/>
                  <a:gd name="T54" fmla="*/ 235 w 673"/>
                  <a:gd name="T55" fmla="*/ 1121 h 1483"/>
                  <a:gd name="T56" fmla="*/ 192 w 673"/>
                  <a:gd name="T57" fmla="*/ 1203 h 1483"/>
                  <a:gd name="T58" fmla="*/ 155 w 673"/>
                  <a:gd name="T59" fmla="*/ 1279 h 1483"/>
                  <a:gd name="T60" fmla="*/ 56 w 673"/>
                  <a:gd name="T61" fmla="*/ 1308 h 1483"/>
                  <a:gd name="T62" fmla="*/ 43 w 673"/>
                  <a:gd name="T63" fmla="*/ 1242 h 1483"/>
                  <a:gd name="T64" fmla="*/ 2 w 673"/>
                  <a:gd name="T65" fmla="*/ 1201 h 1483"/>
                  <a:gd name="T66" fmla="*/ 36 w 673"/>
                  <a:gd name="T67" fmla="*/ 1131 h 1483"/>
                  <a:gd name="T68" fmla="*/ 43 w 673"/>
                  <a:gd name="T69" fmla="*/ 1072 h 1483"/>
                  <a:gd name="T70" fmla="*/ 60 w 673"/>
                  <a:gd name="T71" fmla="*/ 1009 h 1483"/>
                  <a:gd name="T72" fmla="*/ 66 w 673"/>
                  <a:gd name="T73" fmla="*/ 951 h 1483"/>
                  <a:gd name="T74" fmla="*/ 85 w 673"/>
                  <a:gd name="T75" fmla="*/ 929 h 1483"/>
                  <a:gd name="T76" fmla="*/ 68 w 673"/>
                  <a:gd name="T77" fmla="*/ 886 h 1483"/>
                  <a:gd name="T78" fmla="*/ 53 w 673"/>
                  <a:gd name="T79" fmla="*/ 830 h 1483"/>
                  <a:gd name="T80" fmla="*/ 58 w 673"/>
                  <a:gd name="T81" fmla="*/ 774 h 1483"/>
                  <a:gd name="T82" fmla="*/ 65 w 673"/>
                  <a:gd name="T83" fmla="*/ 716 h 1483"/>
                  <a:gd name="T84" fmla="*/ 90 w 673"/>
                  <a:gd name="T85" fmla="*/ 663 h 1483"/>
                  <a:gd name="T86" fmla="*/ 83 w 673"/>
                  <a:gd name="T87" fmla="*/ 597 h 1483"/>
                  <a:gd name="T88" fmla="*/ 107 w 673"/>
                  <a:gd name="T89" fmla="*/ 554 h 1483"/>
                  <a:gd name="T90" fmla="*/ 119 w 673"/>
                  <a:gd name="T91" fmla="*/ 486 h 1483"/>
                  <a:gd name="T92" fmla="*/ 121 w 673"/>
                  <a:gd name="T93" fmla="*/ 427 h 1483"/>
                  <a:gd name="T94" fmla="*/ 104 w 673"/>
                  <a:gd name="T95" fmla="*/ 354 h 1483"/>
                  <a:gd name="T96" fmla="*/ 126 w 673"/>
                  <a:gd name="T97" fmla="*/ 304 h 1483"/>
                  <a:gd name="T98" fmla="*/ 138 w 673"/>
                  <a:gd name="T99" fmla="*/ 243 h 1483"/>
                  <a:gd name="T100" fmla="*/ 175 w 673"/>
                  <a:gd name="T101" fmla="*/ 196 h 1483"/>
                  <a:gd name="T102" fmla="*/ 170 w 673"/>
                  <a:gd name="T103" fmla="*/ 110 h 1483"/>
                  <a:gd name="T104" fmla="*/ 253 w 673"/>
                  <a:gd name="T105" fmla="*/ 2 h 1483"/>
                  <a:gd name="T106" fmla="*/ 315 w 673"/>
                  <a:gd name="T107" fmla="*/ 32 h 1483"/>
                  <a:gd name="T108" fmla="*/ 180 w 673"/>
                  <a:gd name="T109" fmla="*/ 1362 h 1483"/>
                  <a:gd name="T110" fmla="*/ 213 w 673"/>
                  <a:gd name="T111" fmla="*/ 1425 h 1483"/>
                  <a:gd name="T112" fmla="*/ 282 w 673"/>
                  <a:gd name="T113" fmla="*/ 1466 h 1483"/>
                  <a:gd name="T114" fmla="*/ 223 w 673"/>
                  <a:gd name="T115" fmla="*/ 1475 h 1483"/>
                  <a:gd name="T116" fmla="*/ 320 w 673"/>
                  <a:gd name="T117" fmla="*/ 1465 h 1483"/>
                  <a:gd name="T118" fmla="*/ 301 w 673"/>
                  <a:gd name="T119" fmla="*/ 1466 h 1483"/>
                  <a:gd name="T120" fmla="*/ 206 w 673"/>
                  <a:gd name="T121" fmla="*/ 1473 h 1483"/>
                  <a:gd name="T122" fmla="*/ 269 w 673"/>
                  <a:gd name="T123" fmla="*/ 954 h 1483"/>
                  <a:gd name="T124" fmla="*/ 383 w 673"/>
                  <a:gd name="T125" fmla="*/ 721 h 1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73" h="1483">
                    <a:moveTo>
                      <a:pt x="369" y="17"/>
                    </a:moveTo>
                    <a:lnTo>
                      <a:pt x="371" y="17"/>
                    </a:lnTo>
                    <a:lnTo>
                      <a:pt x="371" y="19"/>
                    </a:lnTo>
                    <a:lnTo>
                      <a:pt x="369" y="19"/>
                    </a:lnTo>
                    <a:lnTo>
                      <a:pt x="371" y="19"/>
                    </a:lnTo>
                    <a:lnTo>
                      <a:pt x="372" y="20"/>
                    </a:lnTo>
                    <a:lnTo>
                      <a:pt x="372" y="22"/>
                    </a:lnTo>
                    <a:lnTo>
                      <a:pt x="374" y="22"/>
                    </a:lnTo>
                    <a:lnTo>
                      <a:pt x="376" y="22"/>
                    </a:lnTo>
                    <a:lnTo>
                      <a:pt x="376" y="24"/>
                    </a:lnTo>
                    <a:lnTo>
                      <a:pt x="377" y="24"/>
                    </a:lnTo>
                    <a:lnTo>
                      <a:pt x="379" y="24"/>
                    </a:lnTo>
                    <a:lnTo>
                      <a:pt x="379" y="25"/>
                    </a:lnTo>
                    <a:lnTo>
                      <a:pt x="379" y="24"/>
                    </a:lnTo>
                    <a:lnTo>
                      <a:pt x="379" y="25"/>
                    </a:lnTo>
                    <a:lnTo>
                      <a:pt x="381" y="25"/>
                    </a:lnTo>
                    <a:lnTo>
                      <a:pt x="379" y="25"/>
                    </a:lnTo>
                    <a:lnTo>
                      <a:pt x="381" y="25"/>
                    </a:lnTo>
                    <a:lnTo>
                      <a:pt x="381" y="27"/>
                    </a:lnTo>
                    <a:lnTo>
                      <a:pt x="383" y="27"/>
                    </a:lnTo>
                    <a:lnTo>
                      <a:pt x="384" y="27"/>
                    </a:lnTo>
                    <a:lnTo>
                      <a:pt x="383" y="29"/>
                    </a:lnTo>
                    <a:lnTo>
                      <a:pt x="384" y="29"/>
                    </a:lnTo>
                    <a:lnTo>
                      <a:pt x="383" y="29"/>
                    </a:lnTo>
                    <a:lnTo>
                      <a:pt x="383" y="31"/>
                    </a:lnTo>
                    <a:lnTo>
                      <a:pt x="383" y="32"/>
                    </a:lnTo>
                    <a:lnTo>
                      <a:pt x="384" y="31"/>
                    </a:lnTo>
                    <a:lnTo>
                      <a:pt x="384" y="32"/>
                    </a:lnTo>
                    <a:lnTo>
                      <a:pt x="384" y="34"/>
                    </a:lnTo>
                    <a:lnTo>
                      <a:pt x="384" y="36"/>
                    </a:lnTo>
                    <a:lnTo>
                      <a:pt x="386" y="37"/>
                    </a:lnTo>
                    <a:lnTo>
                      <a:pt x="388" y="39"/>
                    </a:lnTo>
                    <a:lnTo>
                      <a:pt x="388" y="41"/>
                    </a:lnTo>
                    <a:lnTo>
                      <a:pt x="389" y="42"/>
                    </a:lnTo>
                    <a:lnTo>
                      <a:pt x="389" y="44"/>
                    </a:lnTo>
                    <a:lnTo>
                      <a:pt x="391" y="44"/>
                    </a:lnTo>
                    <a:lnTo>
                      <a:pt x="391" y="46"/>
                    </a:lnTo>
                    <a:lnTo>
                      <a:pt x="393" y="46"/>
                    </a:lnTo>
                    <a:lnTo>
                      <a:pt x="394" y="48"/>
                    </a:lnTo>
                    <a:lnTo>
                      <a:pt x="396" y="48"/>
                    </a:lnTo>
                    <a:lnTo>
                      <a:pt x="396" y="49"/>
                    </a:lnTo>
                    <a:lnTo>
                      <a:pt x="398" y="49"/>
                    </a:lnTo>
                    <a:lnTo>
                      <a:pt x="398" y="51"/>
                    </a:lnTo>
                    <a:lnTo>
                      <a:pt x="400" y="51"/>
                    </a:lnTo>
                    <a:lnTo>
                      <a:pt x="400" y="53"/>
                    </a:lnTo>
                    <a:lnTo>
                      <a:pt x="401" y="53"/>
                    </a:lnTo>
                    <a:lnTo>
                      <a:pt x="401" y="54"/>
                    </a:lnTo>
                    <a:lnTo>
                      <a:pt x="403" y="54"/>
                    </a:lnTo>
                    <a:lnTo>
                      <a:pt x="405" y="54"/>
                    </a:lnTo>
                    <a:lnTo>
                      <a:pt x="405" y="56"/>
                    </a:lnTo>
                    <a:lnTo>
                      <a:pt x="406" y="56"/>
                    </a:lnTo>
                    <a:lnTo>
                      <a:pt x="406" y="58"/>
                    </a:lnTo>
                    <a:lnTo>
                      <a:pt x="408" y="58"/>
                    </a:lnTo>
                    <a:lnTo>
                      <a:pt x="408" y="59"/>
                    </a:lnTo>
                    <a:lnTo>
                      <a:pt x="410" y="59"/>
                    </a:lnTo>
                    <a:lnTo>
                      <a:pt x="410" y="61"/>
                    </a:lnTo>
                    <a:lnTo>
                      <a:pt x="411" y="61"/>
                    </a:lnTo>
                    <a:lnTo>
                      <a:pt x="413" y="61"/>
                    </a:lnTo>
                    <a:lnTo>
                      <a:pt x="415" y="61"/>
                    </a:lnTo>
                    <a:lnTo>
                      <a:pt x="415" y="63"/>
                    </a:lnTo>
                    <a:lnTo>
                      <a:pt x="417" y="63"/>
                    </a:lnTo>
                    <a:lnTo>
                      <a:pt x="417" y="65"/>
                    </a:lnTo>
                    <a:lnTo>
                      <a:pt x="418" y="65"/>
                    </a:lnTo>
                    <a:lnTo>
                      <a:pt x="420" y="65"/>
                    </a:lnTo>
                    <a:lnTo>
                      <a:pt x="420" y="66"/>
                    </a:lnTo>
                    <a:lnTo>
                      <a:pt x="422" y="66"/>
                    </a:lnTo>
                    <a:lnTo>
                      <a:pt x="422" y="68"/>
                    </a:lnTo>
                    <a:lnTo>
                      <a:pt x="422" y="70"/>
                    </a:lnTo>
                    <a:lnTo>
                      <a:pt x="423" y="70"/>
                    </a:lnTo>
                    <a:lnTo>
                      <a:pt x="423" y="71"/>
                    </a:lnTo>
                    <a:lnTo>
                      <a:pt x="425" y="73"/>
                    </a:lnTo>
                    <a:lnTo>
                      <a:pt x="425" y="75"/>
                    </a:lnTo>
                    <a:lnTo>
                      <a:pt x="427" y="75"/>
                    </a:lnTo>
                    <a:lnTo>
                      <a:pt x="427" y="73"/>
                    </a:lnTo>
                    <a:lnTo>
                      <a:pt x="428" y="75"/>
                    </a:lnTo>
                    <a:lnTo>
                      <a:pt x="430" y="76"/>
                    </a:lnTo>
                    <a:lnTo>
                      <a:pt x="432" y="76"/>
                    </a:lnTo>
                    <a:lnTo>
                      <a:pt x="434" y="76"/>
                    </a:lnTo>
                    <a:lnTo>
                      <a:pt x="435" y="76"/>
                    </a:lnTo>
                    <a:lnTo>
                      <a:pt x="435" y="78"/>
                    </a:lnTo>
                    <a:lnTo>
                      <a:pt x="437" y="78"/>
                    </a:lnTo>
                    <a:lnTo>
                      <a:pt x="439" y="78"/>
                    </a:lnTo>
                    <a:lnTo>
                      <a:pt x="439" y="80"/>
                    </a:lnTo>
                    <a:lnTo>
                      <a:pt x="440" y="80"/>
                    </a:lnTo>
                    <a:lnTo>
                      <a:pt x="442" y="80"/>
                    </a:lnTo>
                    <a:lnTo>
                      <a:pt x="444" y="80"/>
                    </a:lnTo>
                    <a:lnTo>
                      <a:pt x="445" y="80"/>
                    </a:lnTo>
                    <a:lnTo>
                      <a:pt x="445" y="82"/>
                    </a:lnTo>
                    <a:lnTo>
                      <a:pt x="447" y="82"/>
                    </a:lnTo>
                    <a:lnTo>
                      <a:pt x="449" y="83"/>
                    </a:lnTo>
                    <a:lnTo>
                      <a:pt x="451" y="83"/>
                    </a:lnTo>
                    <a:lnTo>
                      <a:pt x="452" y="83"/>
                    </a:lnTo>
                    <a:lnTo>
                      <a:pt x="454" y="83"/>
                    </a:lnTo>
                    <a:lnTo>
                      <a:pt x="456" y="82"/>
                    </a:lnTo>
                    <a:lnTo>
                      <a:pt x="457" y="82"/>
                    </a:lnTo>
                    <a:lnTo>
                      <a:pt x="466" y="87"/>
                    </a:lnTo>
                    <a:lnTo>
                      <a:pt x="473" y="92"/>
                    </a:lnTo>
                    <a:lnTo>
                      <a:pt x="476" y="93"/>
                    </a:lnTo>
                    <a:lnTo>
                      <a:pt x="478" y="95"/>
                    </a:lnTo>
                    <a:lnTo>
                      <a:pt x="478" y="97"/>
                    </a:lnTo>
                    <a:lnTo>
                      <a:pt x="479" y="97"/>
                    </a:lnTo>
                    <a:lnTo>
                      <a:pt x="481" y="99"/>
                    </a:lnTo>
                    <a:lnTo>
                      <a:pt x="483" y="100"/>
                    </a:lnTo>
                    <a:lnTo>
                      <a:pt x="485" y="100"/>
                    </a:lnTo>
                    <a:lnTo>
                      <a:pt x="485" y="102"/>
                    </a:lnTo>
                    <a:lnTo>
                      <a:pt x="486" y="102"/>
                    </a:lnTo>
                    <a:lnTo>
                      <a:pt x="488" y="104"/>
                    </a:lnTo>
                    <a:lnTo>
                      <a:pt x="490" y="104"/>
                    </a:lnTo>
                    <a:lnTo>
                      <a:pt x="491" y="105"/>
                    </a:lnTo>
                    <a:lnTo>
                      <a:pt x="493" y="105"/>
                    </a:lnTo>
                    <a:lnTo>
                      <a:pt x="495" y="107"/>
                    </a:lnTo>
                    <a:lnTo>
                      <a:pt x="496" y="107"/>
                    </a:lnTo>
                    <a:lnTo>
                      <a:pt x="496" y="109"/>
                    </a:lnTo>
                    <a:lnTo>
                      <a:pt x="498" y="109"/>
                    </a:lnTo>
                    <a:lnTo>
                      <a:pt x="498" y="110"/>
                    </a:lnTo>
                    <a:lnTo>
                      <a:pt x="500" y="110"/>
                    </a:lnTo>
                    <a:lnTo>
                      <a:pt x="502" y="110"/>
                    </a:lnTo>
                    <a:lnTo>
                      <a:pt x="503" y="110"/>
                    </a:lnTo>
                    <a:lnTo>
                      <a:pt x="503" y="112"/>
                    </a:lnTo>
                    <a:lnTo>
                      <a:pt x="505" y="112"/>
                    </a:lnTo>
                    <a:lnTo>
                      <a:pt x="507" y="112"/>
                    </a:lnTo>
                    <a:lnTo>
                      <a:pt x="508" y="112"/>
                    </a:lnTo>
                    <a:lnTo>
                      <a:pt x="510" y="112"/>
                    </a:lnTo>
                    <a:lnTo>
                      <a:pt x="510" y="114"/>
                    </a:lnTo>
                    <a:lnTo>
                      <a:pt x="512" y="114"/>
                    </a:lnTo>
                    <a:lnTo>
                      <a:pt x="512" y="116"/>
                    </a:lnTo>
                    <a:lnTo>
                      <a:pt x="513" y="116"/>
                    </a:lnTo>
                    <a:lnTo>
                      <a:pt x="513" y="117"/>
                    </a:lnTo>
                    <a:lnTo>
                      <a:pt x="515" y="117"/>
                    </a:lnTo>
                    <a:lnTo>
                      <a:pt x="515" y="119"/>
                    </a:lnTo>
                    <a:lnTo>
                      <a:pt x="515" y="117"/>
                    </a:lnTo>
                    <a:lnTo>
                      <a:pt x="517" y="117"/>
                    </a:lnTo>
                    <a:lnTo>
                      <a:pt x="517" y="116"/>
                    </a:lnTo>
                    <a:lnTo>
                      <a:pt x="519" y="116"/>
                    </a:lnTo>
                    <a:lnTo>
                      <a:pt x="520" y="117"/>
                    </a:lnTo>
                    <a:lnTo>
                      <a:pt x="522" y="117"/>
                    </a:lnTo>
                    <a:lnTo>
                      <a:pt x="522" y="119"/>
                    </a:lnTo>
                    <a:lnTo>
                      <a:pt x="524" y="119"/>
                    </a:lnTo>
                    <a:lnTo>
                      <a:pt x="524" y="121"/>
                    </a:lnTo>
                    <a:lnTo>
                      <a:pt x="525" y="119"/>
                    </a:lnTo>
                    <a:lnTo>
                      <a:pt x="525" y="121"/>
                    </a:lnTo>
                    <a:lnTo>
                      <a:pt x="525" y="119"/>
                    </a:lnTo>
                    <a:lnTo>
                      <a:pt x="525" y="121"/>
                    </a:lnTo>
                    <a:lnTo>
                      <a:pt x="525" y="119"/>
                    </a:lnTo>
                    <a:lnTo>
                      <a:pt x="527" y="121"/>
                    </a:lnTo>
                    <a:lnTo>
                      <a:pt x="529" y="121"/>
                    </a:lnTo>
                    <a:lnTo>
                      <a:pt x="530" y="121"/>
                    </a:lnTo>
                    <a:lnTo>
                      <a:pt x="532" y="122"/>
                    </a:lnTo>
                    <a:lnTo>
                      <a:pt x="532" y="124"/>
                    </a:lnTo>
                    <a:lnTo>
                      <a:pt x="534" y="124"/>
                    </a:lnTo>
                    <a:lnTo>
                      <a:pt x="534" y="126"/>
                    </a:lnTo>
                    <a:lnTo>
                      <a:pt x="536" y="126"/>
                    </a:lnTo>
                    <a:lnTo>
                      <a:pt x="534" y="126"/>
                    </a:lnTo>
                    <a:lnTo>
                      <a:pt x="536" y="127"/>
                    </a:lnTo>
                    <a:lnTo>
                      <a:pt x="536" y="129"/>
                    </a:lnTo>
                    <a:lnTo>
                      <a:pt x="537" y="129"/>
                    </a:lnTo>
                    <a:lnTo>
                      <a:pt x="536" y="129"/>
                    </a:lnTo>
                    <a:lnTo>
                      <a:pt x="536" y="131"/>
                    </a:lnTo>
                    <a:lnTo>
                      <a:pt x="537" y="131"/>
                    </a:lnTo>
                    <a:lnTo>
                      <a:pt x="537" y="133"/>
                    </a:lnTo>
                    <a:lnTo>
                      <a:pt x="539" y="133"/>
                    </a:lnTo>
                    <a:lnTo>
                      <a:pt x="541" y="133"/>
                    </a:lnTo>
                    <a:lnTo>
                      <a:pt x="541" y="134"/>
                    </a:lnTo>
                    <a:lnTo>
                      <a:pt x="541" y="136"/>
                    </a:lnTo>
                    <a:lnTo>
                      <a:pt x="541" y="138"/>
                    </a:lnTo>
                    <a:lnTo>
                      <a:pt x="541" y="139"/>
                    </a:lnTo>
                    <a:lnTo>
                      <a:pt x="539" y="139"/>
                    </a:lnTo>
                    <a:lnTo>
                      <a:pt x="539" y="141"/>
                    </a:lnTo>
                    <a:lnTo>
                      <a:pt x="537" y="141"/>
                    </a:lnTo>
                    <a:lnTo>
                      <a:pt x="537" y="143"/>
                    </a:lnTo>
                    <a:lnTo>
                      <a:pt x="536" y="143"/>
                    </a:lnTo>
                    <a:lnTo>
                      <a:pt x="534" y="144"/>
                    </a:lnTo>
                    <a:lnTo>
                      <a:pt x="536" y="144"/>
                    </a:lnTo>
                    <a:lnTo>
                      <a:pt x="536" y="146"/>
                    </a:lnTo>
                    <a:lnTo>
                      <a:pt x="534" y="146"/>
                    </a:lnTo>
                    <a:lnTo>
                      <a:pt x="532" y="146"/>
                    </a:lnTo>
                    <a:lnTo>
                      <a:pt x="532" y="148"/>
                    </a:lnTo>
                    <a:lnTo>
                      <a:pt x="534" y="148"/>
                    </a:lnTo>
                    <a:lnTo>
                      <a:pt x="534" y="150"/>
                    </a:lnTo>
                    <a:lnTo>
                      <a:pt x="532" y="150"/>
                    </a:lnTo>
                    <a:lnTo>
                      <a:pt x="530" y="150"/>
                    </a:lnTo>
                    <a:lnTo>
                      <a:pt x="530" y="151"/>
                    </a:lnTo>
                    <a:lnTo>
                      <a:pt x="532" y="153"/>
                    </a:lnTo>
                    <a:lnTo>
                      <a:pt x="530" y="153"/>
                    </a:lnTo>
                    <a:lnTo>
                      <a:pt x="530" y="155"/>
                    </a:lnTo>
                    <a:lnTo>
                      <a:pt x="530" y="156"/>
                    </a:lnTo>
                    <a:lnTo>
                      <a:pt x="529" y="156"/>
                    </a:lnTo>
                    <a:lnTo>
                      <a:pt x="529" y="158"/>
                    </a:lnTo>
                    <a:lnTo>
                      <a:pt x="527" y="158"/>
                    </a:lnTo>
                    <a:lnTo>
                      <a:pt x="527" y="160"/>
                    </a:lnTo>
                    <a:lnTo>
                      <a:pt x="525" y="160"/>
                    </a:lnTo>
                    <a:lnTo>
                      <a:pt x="524" y="160"/>
                    </a:lnTo>
                    <a:lnTo>
                      <a:pt x="524" y="161"/>
                    </a:lnTo>
                    <a:lnTo>
                      <a:pt x="522" y="161"/>
                    </a:lnTo>
                    <a:lnTo>
                      <a:pt x="522" y="163"/>
                    </a:lnTo>
                    <a:lnTo>
                      <a:pt x="520" y="163"/>
                    </a:lnTo>
                    <a:lnTo>
                      <a:pt x="522" y="163"/>
                    </a:lnTo>
                    <a:lnTo>
                      <a:pt x="522" y="165"/>
                    </a:lnTo>
                    <a:lnTo>
                      <a:pt x="520" y="165"/>
                    </a:lnTo>
                    <a:lnTo>
                      <a:pt x="520" y="167"/>
                    </a:lnTo>
                    <a:lnTo>
                      <a:pt x="520" y="168"/>
                    </a:lnTo>
                    <a:lnTo>
                      <a:pt x="520" y="170"/>
                    </a:lnTo>
                    <a:lnTo>
                      <a:pt x="519" y="170"/>
                    </a:lnTo>
                    <a:lnTo>
                      <a:pt x="519" y="172"/>
                    </a:lnTo>
                    <a:lnTo>
                      <a:pt x="520" y="172"/>
                    </a:lnTo>
                    <a:lnTo>
                      <a:pt x="520" y="173"/>
                    </a:lnTo>
                    <a:lnTo>
                      <a:pt x="519" y="173"/>
                    </a:lnTo>
                    <a:lnTo>
                      <a:pt x="519" y="175"/>
                    </a:lnTo>
                    <a:lnTo>
                      <a:pt x="519" y="177"/>
                    </a:lnTo>
                    <a:lnTo>
                      <a:pt x="520" y="177"/>
                    </a:lnTo>
                    <a:lnTo>
                      <a:pt x="520" y="178"/>
                    </a:lnTo>
                    <a:lnTo>
                      <a:pt x="519" y="178"/>
                    </a:lnTo>
                    <a:lnTo>
                      <a:pt x="520" y="180"/>
                    </a:lnTo>
                    <a:lnTo>
                      <a:pt x="519" y="180"/>
                    </a:lnTo>
                    <a:lnTo>
                      <a:pt x="517" y="180"/>
                    </a:lnTo>
                    <a:lnTo>
                      <a:pt x="517" y="182"/>
                    </a:lnTo>
                    <a:lnTo>
                      <a:pt x="519" y="184"/>
                    </a:lnTo>
                    <a:lnTo>
                      <a:pt x="517" y="184"/>
                    </a:lnTo>
                    <a:lnTo>
                      <a:pt x="517" y="185"/>
                    </a:lnTo>
                    <a:lnTo>
                      <a:pt x="515" y="185"/>
                    </a:lnTo>
                    <a:lnTo>
                      <a:pt x="515" y="187"/>
                    </a:lnTo>
                    <a:lnTo>
                      <a:pt x="515" y="189"/>
                    </a:lnTo>
                    <a:lnTo>
                      <a:pt x="513" y="189"/>
                    </a:lnTo>
                    <a:lnTo>
                      <a:pt x="513" y="190"/>
                    </a:lnTo>
                    <a:lnTo>
                      <a:pt x="512" y="190"/>
                    </a:lnTo>
                    <a:lnTo>
                      <a:pt x="510" y="190"/>
                    </a:lnTo>
                    <a:lnTo>
                      <a:pt x="510" y="192"/>
                    </a:lnTo>
                    <a:lnTo>
                      <a:pt x="510" y="194"/>
                    </a:lnTo>
                    <a:lnTo>
                      <a:pt x="508" y="194"/>
                    </a:lnTo>
                    <a:lnTo>
                      <a:pt x="510" y="196"/>
                    </a:lnTo>
                    <a:lnTo>
                      <a:pt x="508" y="196"/>
                    </a:lnTo>
                    <a:lnTo>
                      <a:pt x="507" y="196"/>
                    </a:lnTo>
                    <a:lnTo>
                      <a:pt x="508" y="196"/>
                    </a:lnTo>
                    <a:lnTo>
                      <a:pt x="507" y="197"/>
                    </a:lnTo>
                    <a:lnTo>
                      <a:pt x="508" y="197"/>
                    </a:lnTo>
                    <a:lnTo>
                      <a:pt x="507" y="197"/>
                    </a:lnTo>
                    <a:lnTo>
                      <a:pt x="505" y="197"/>
                    </a:lnTo>
                    <a:lnTo>
                      <a:pt x="505" y="199"/>
                    </a:lnTo>
                    <a:lnTo>
                      <a:pt x="503" y="199"/>
                    </a:lnTo>
                    <a:lnTo>
                      <a:pt x="503" y="201"/>
                    </a:lnTo>
                    <a:lnTo>
                      <a:pt x="505" y="201"/>
                    </a:lnTo>
                    <a:lnTo>
                      <a:pt x="505" y="202"/>
                    </a:lnTo>
                    <a:lnTo>
                      <a:pt x="507" y="202"/>
                    </a:lnTo>
                    <a:lnTo>
                      <a:pt x="507" y="204"/>
                    </a:lnTo>
                    <a:lnTo>
                      <a:pt x="505" y="204"/>
                    </a:lnTo>
                    <a:lnTo>
                      <a:pt x="505" y="206"/>
                    </a:lnTo>
                    <a:lnTo>
                      <a:pt x="507" y="206"/>
                    </a:lnTo>
                    <a:lnTo>
                      <a:pt x="507" y="204"/>
                    </a:lnTo>
                    <a:lnTo>
                      <a:pt x="508" y="204"/>
                    </a:lnTo>
                    <a:lnTo>
                      <a:pt x="510" y="204"/>
                    </a:lnTo>
                    <a:lnTo>
                      <a:pt x="512" y="204"/>
                    </a:lnTo>
                    <a:lnTo>
                      <a:pt x="513" y="204"/>
                    </a:lnTo>
                    <a:lnTo>
                      <a:pt x="515" y="204"/>
                    </a:lnTo>
                    <a:lnTo>
                      <a:pt x="517" y="204"/>
                    </a:lnTo>
                    <a:lnTo>
                      <a:pt x="519" y="204"/>
                    </a:lnTo>
                    <a:lnTo>
                      <a:pt x="520" y="204"/>
                    </a:lnTo>
                    <a:lnTo>
                      <a:pt x="522" y="204"/>
                    </a:lnTo>
                    <a:lnTo>
                      <a:pt x="524" y="204"/>
                    </a:lnTo>
                    <a:lnTo>
                      <a:pt x="525" y="204"/>
                    </a:lnTo>
                    <a:lnTo>
                      <a:pt x="527" y="204"/>
                    </a:lnTo>
                    <a:lnTo>
                      <a:pt x="529" y="204"/>
                    </a:lnTo>
                    <a:lnTo>
                      <a:pt x="530" y="204"/>
                    </a:lnTo>
                    <a:lnTo>
                      <a:pt x="532" y="206"/>
                    </a:lnTo>
                    <a:lnTo>
                      <a:pt x="534" y="206"/>
                    </a:lnTo>
                    <a:lnTo>
                      <a:pt x="536" y="206"/>
                    </a:lnTo>
                    <a:lnTo>
                      <a:pt x="537" y="206"/>
                    </a:lnTo>
                    <a:lnTo>
                      <a:pt x="537" y="207"/>
                    </a:lnTo>
                    <a:lnTo>
                      <a:pt x="539" y="207"/>
                    </a:lnTo>
                    <a:lnTo>
                      <a:pt x="541" y="209"/>
                    </a:lnTo>
                    <a:lnTo>
                      <a:pt x="542" y="209"/>
                    </a:lnTo>
                    <a:lnTo>
                      <a:pt x="542" y="211"/>
                    </a:lnTo>
                    <a:lnTo>
                      <a:pt x="544" y="211"/>
                    </a:lnTo>
                    <a:lnTo>
                      <a:pt x="546" y="211"/>
                    </a:lnTo>
                    <a:lnTo>
                      <a:pt x="546" y="209"/>
                    </a:lnTo>
                    <a:lnTo>
                      <a:pt x="547" y="209"/>
                    </a:lnTo>
                    <a:lnTo>
                      <a:pt x="549" y="209"/>
                    </a:lnTo>
                    <a:lnTo>
                      <a:pt x="551" y="211"/>
                    </a:lnTo>
                    <a:lnTo>
                      <a:pt x="553" y="211"/>
                    </a:lnTo>
                    <a:lnTo>
                      <a:pt x="554" y="211"/>
                    </a:lnTo>
                    <a:lnTo>
                      <a:pt x="556" y="213"/>
                    </a:lnTo>
                    <a:lnTo>
                      <a:pt x="558" y="213"/>
                    </a:lnTo>
                    <a:lnTo>
                      <a:pt x="559" y="213"/>
                    </a:lnTo>
                    <a:lnTo>
                      <a:pt x="559" y="211"/>
                    </a:lnTo>
                    <a:lnTo>
                      <a:pt x="561" y="211"/>
                    </a:lnTo>
                    <a:lnTo>
                      <a:pt x="561" y="209"/>
                    </a:lnTo>
                    <a:lnTo>
                      <a:pt x="563" y="209"/>
                    </a:lnTo>
                    <a:lnTo>
                      <a:pt x="564" y="209"/>
                    </a:lnTo>
                    <a:lnTo>
                      <a:pt x="564" y="211"/>
                    </a:lnTo>
                    <a:lnTo>
                      <a:pt x="566" y="211"/>
                    </a:lnTo>
                    <a:lnTo>
                      <a:pt x="568" y="213"/>
                    </a:lnTo>
                    <a:lnTo>
                      <a:pt x="570" y="213"/>
                    </a:lnTo>
                    <a:lnTo>
                      <a:pt x="570" y="211"/>
                    </a:lnTo>
                    <a:lnTo>
                      <a:pt x="571" y="211"/>
                    </a:lnTo>
                    <a:lnTo>
                      <a:pt x="573" y="211"/>
                    </a:lnTo>
                    <a:lnTo>
                      <a:pt x="575" y="211"/>
                    </a:lnTo>
                    <a:lnTo>
                      <a:pt x="576" y="211"/>
                    </a:lnTo>
                    <a:lnTo>
                      <a:pt x="576" y="213"/>
                    </a:lnTo>
                    <a:lnTo>
                      <a:pt x="578" y="213"/>
                    </a:lnTo>
                    <a:lnTo>
                      <a:pt x="578" y="214"/>
                    </a:lnTo>
                    <a:lnTo>
                      <a:pt x="581" y="216"/>
                    </a:lnTo>
                    <a:lnTo>
                      <a:pt x="581" y="214"/>
                    </a:lnTo>
                    <a:lnTo>
                      <a:pt x="583" y="214"/>
                    </a:lnTo>
                    <a:lnTo>
                      <a:pt x="583" y="213"/>
                    </a:lnTo>
                    <a:lnTo>
                      <a:pt x="585" y="211"/>
                    </a:lnTo>
                    <a:lnTo>
                      <a:pt x="583" y="211"/>
                    </a:lnTo>
                    <a:lnTo>
                      <a:pt x="583" y="209"/>
                    </a:lnTo>
                    <a:lnTo>
                      <a:pt x="585" y="209"/>
                    </a:lnTo>
                    <a:lnTo>
                      <a:pt x="587" y="209"/>
                    </a:lnTo>
                    <a:lnTo>
                      <a:pt x="587" y="207"/>
                    </a:lnTo>
                    <a:lnTo>
                      <a:pt x="588" y="206"/>
                    </a:lnTo>
                    <a:lnTo>
                      <a:pt x="590" y="206"/>
                    </a:lnTo>
                    <a:lnTo>
                      <a:pt x="592" y="206"/>
                    </a:lnTo>
                    <a:lnTo>
                      <a:pt x="593" y="206"/>
                    </a:lnTo>
                    <a:lnTo>
                      <a:pt x="595" y="207"/>
                    </a:lnTo>
                    <a:lnTo>
                      <a:pt x="597" y="206"/>
                    </a:lnTo>
                    <a:lnTo>
                      <a:pt x="598" y="207"/>
                    </a:lnTo>
                    <a:lnTo>
                      <a:pt x="598" y="209"/>
                    </a:lnTo>
                    <a:lnTo>
                      <a:pt x="600" y="209"/>
                    </a:lnTo>
                    <a:lnTo>
                      <a:pt x="600" y="211"/>
                    </a:lnTo>
                    <a:lnTo>
                      <a:pt x="602" y="211"/>
                    </a:lnTo>
                    <a:lnTo>
                      <a:pt x="604" y="209"/>
                    </a:lnTo>
                    <a:lnTo>
                      <a:pt x="604" y="207"/>
                    </a:lnTo>
                    <a:lnTo>
                      <a:pt x="605" y="207"/>
                    </a:lnTo>
                    <a:lnTo>
                      <a:pt x="607" y="207"/>
                    </a:lnTo>
                    <a:lnTo>
                      <a:pt x="607" y="206"/>
                    </a:lnTo>
                    <a:lnTo>
                      <a:pt x="607" y="204"/>
                    </a:lnTo>
                    <a:lnTo>
                      <a:pt x="609" y="204"/>
                    </a:lnTo>
                    <a:lnTo>
                      <a:pt x="609" y="202"/>
                    </a:lnTo>
                    <a:lnTo>
                      <a:pt x="607" y="202"/>
                    </a:lnTo>
                    <a:lnTo>
                      <a:pt x="607" y="201"/>
                    </a:lnTo>
                    <a:lnTo>
                      <a:pt x="607" y="199"/>
                    </a:lnTo>
                    <a:lnTo>
                      <a:pt x="609" y="201"/>
                    </a:lnTo>
                    <a:lnTo>
                      <a:pt x="609" y="199"/>
                    </a:lnTo>
                    <a:lnTo>
                      <a:pt x="609" y="197"/>
                    </a:lnTo>
                    <a:lnTo>
                      <a:pt x="610" y="197"/>
                    </a:lnTo>
                    <a:lnTo>
                      <a:pt x="612" y="197"/>
                    </a:lnTo>
                    <a:lnTo>
                      <a:pt x="612" y="196"/>
                    </a:lnTo>
                    <a:lnTo>
                      <a:pt x="612" y="194"/>
                    </a:lnTo>
                    <a:lnTo>
                      <a:pt x="614" y="194"/>
                    </a:lnTo>
                    <a:lnTo>
                      <a:pt x="615" y="192"/>
                    </a:lnTo>
                    <a:lnTo>
                      <a:pt x="617" y="192"/>
                    </a:lnTo>
                    <a:lnTo>
                      <a:pt x="619" y="190"/>
                    </a:lnTo>
                    <a:lnTo>
                      <a:pt x="621" y="192"/>
                    </a:lnTo>
                    <a:lnTo>
                      <a:pt x="622" y="192"/>
                    </a:lnTo>
                    <a:lnTo>
                      <a:pt x="622" y="190"/>
                    </a:lnTo>
                    <a:lnTo>
                      <a:pt x="622" y="189"/>
                    </a:lnTo>
                    <a:lnTo>
                      <a:pt x="624" y="187"/>
                    </a:lnTo>
                    <a:lnTo>
                      <a:pt x="626" y="185"/>
                    </a:lnTo>
                    <a:lnTo>
                      <a:pt x="627" y="185"/>
                    </a:lnTo>
                    <a:lnTo>
                      <a:pt x="629" y="185"/>
                    </a:lnTo>
                    <a:lnTo>
                      <a:pt x="629" y="184"/>
                    </a:lnTo>
                    <a:lnTo>
                      <a:pt x="629" y="182"/>
                    </a:lnTo>
                    <a:lnTo>
                      <a:pt x="631" y="180"/>
                    </a:lnTo>
                    <a:lnTo>
                      <a:pt x="632" y="180"/>
                    </a:lnTo>
                    <a:lnTo>
                      <a:pt x="632" y="182"/>
                    </a:lnTo>
                    <a:lnTo>
                      <a:pt x="634" y="180"/>
                    </a:lnTo>
                    <a:lnTo>
                      <a:pt x="634" y="178"/>
                    </a:lnTo>
                    <a:lnTo>
                      <a:pt x="634" y="177"/>
                    </a:lnTo>
                    <a:lnTo>
                      <a:pt x="634" y="175"/>
                    </a:lnTo>
                    <a:lnTo>
                      <a:pt x="636" y="175"/>
                    </a:lnTo>
                    <a:lnTo>
                      <a:pt x="636" y="173"/>
                    </a:lnTo>
                    <a:lnTo>
                      <a:pt x="638" y="173"/>
                    </a:lnTo>
                    <a:lnTo>
                      <a:pt x="638" y="172"/>
                    </a:lnTo>
                    <a:lnTo>
                      <a:pt x="638" y="170"/>
                    </a:lnTo>
                    <a:lnTo>
                      <a:pt x="638" y="168"/>
                    </a:lnTo>
                    <a:lnTo>
                      <a:pt x="639" y="168"/>
                    </a:lnTo>
                    <a:lnTo>
                      <a:pt x="639" y="167"/>
                    </a:lnTo>
                    <a:lnTo>
                      <a:pt x="638" y="165"/>
                    </a:lnTo>
                    <a:lnTo>
                      <a:pt x="639" y="165"/>
                    </a:lnTo>
                    <a:lnTo>
                      <a:pt x="641" y="165"/>
                    </a:lnTo>
                    <a:lnTo>
                      <a:pt x="641" y="163"/>
                    </a:lnTo>
                    <a:lnTo>
                      <a:pt x="639" y="163"/>
                    </a:lnTo>
                    <a:lnTo>
                      <a:pt x="639" y="161"/>
                    </a:lnTo>
                    <a:lnTo>
                      <a:pt x="639" y="160"/>
                    </a:lnTo>
                    <a:lnTo>
                      <a:pt x="639" y="158"/>
                    </a:lnTo>
                    <a:lnTo>
                      <a:pt x="638" y="156"/>
                    </a:lnTo>
                    <a:lnTo>
                      <a:pt x="639" y="155"/>
                    </a:lnTo>
                    <a:lnTo>
                      <a:pt x="641" y="155"/>
                    </a:lnTo>
                    <a:lnTo>
                      <a:pt x="641" y="153"/>
                    </a:lnTo>
                    <a:lnTo>
                      <a:pt x="641" y="151"/>
                    </a:lnTo>
                    <a:lnTo>
                      <a:pt x="641" y="150"/>
                    </a:lnTo>
                    <a:lnTo>
                      <a:pt x="641" y="148"/>
                    </a:lnTo>
                    <a:lnTo>
                      <a:pt x="639" y="148"/>
                    </a:lnTo>
                    <a:lnTo>
                      <a:pt x="639" y="146"/>
                    </a:lnTo>
                    <a:lnTo>
                      <a:pt x="639" y="144"/>
                    </a:lnTo>
                    <a:lnTo>
                      <a:pt x="639" y="143"/>
                    </a:lnTo>
                    <a:lnTo>
                      <a:pt x="641" y="143"/>
                    </a:lnTo>
                    <a:lnTo>
                      <a:pt x="641" y="141"/>
                    </a:lnTo>
                    <a:lnTo>
                      <a:pt x="643" y="141"/>
                    </a:lnTo>
                    <a:lnTo>
                      <a:pt x="643" y="139"/>
                    </a:lnTo>
                    <a:lnTo>
                      <a:pt x="643" y="141"/>
                    </a:lnTo>
                    <a:lnTo>
                      <a:pt x="644" y="141"/>
                    </a:lnTo>
                    <a:lnTo>
                      <a:pt x="646" y="143"/>
                    </a:lnTo>
                    <a:lnTo>
                      <a:pt x="646" y="144"/>
                    </a:lnTo>
                    <a:lnTo>
                      <a:pt x="648" y="144"/>
                    </a:lnTo>
                    <a:lnTo>
                      <a:pt x="646" y="143"/>
                    </a:lnTo>
                    <a:lnTo>
                      <a:pt x="648" y="143"/>
                    </a:lnTo>
                    <a:lnTo>
                      <a:pt x="648" y="141"/>
                    </a:lnTo>
                    <a:lnTo>
                      <a:pt x="649" y="141"/>
                    </a:lnTo>
                    <a:lnTo>
                      <a:pt x="649" y="139"/>
                    </a:lnTo>
                    <a:lnTo>
                      <a:pt x="651" y="139"/>
                    </a:lnTo>
                    <a:lnTo>
                      <a:pt x="653" y="141"/>
                    </a:lnTo>
                    <a:lnTo>
                      <a:pt x="653" y="139"/>
                    </a:lnTo>
                    <a:lnTo>
                      <a:pt x="655" y="139"/>
                    </a:lnTo>
                    <a:lnTo>
                      <a:pt x="655" y="138"/>
                    </a:lnTo>
                    <a:lnTo>
                      <a:pt x="656" y="138"/>
                    </a:lnTo>
                    <a:lnTo>
                      <a:pt x="658" y="136"/>
                    </a:lnTo>
                    <a:lnTo>
                      <a:pt x="658" y="138"/>
                    </a:lnTo>
                    <a:lnTo>
                      <a:pt x="658" y="139"/>
                    </a:lnTo>
                    <a:lnTo>
                      <a:pt x="656" y="139"/>
                    </a:lnTo>
                    <a:lnTo>
                      <a:pt x="658" y="141"/>
                    </a:lnTo>
                    <a:lnTo>
                      <a:pt x="658" y="139"/>
                    </a:lnTo>
                    <a:lnTo>
                      <a:pt x="660" y="139"/>
                    </a:lnTo>
                    <a:lnTo>
                      <a:pt x="661" y="139"/>
                    </a:lnTo>
                    <a:lnTo>
                      <a:pt x="661" y="141"/>
                    </a:lnTo>
                    <a:lnTo>
                      <a:pt x="663" y="141"/>
                    </a:lnTo>
                    <a:lnTo>
                      <a:pt x="661" y="141"/>
                    </a:lnTo>
                    <a:lnTo>
                      <a:pt x="663" y="141"/>
                    </a:lnTo>
                    <a:lnTo>
                      <a:pt x="663" y="143"/>
                    </a:lnTo>
                    <a:lnTo>
                      <a:pt x="663" y="141"/>
                    </a:lnTo>
                    <a:lnTo>
                      <a:pt x="665" y="141"/>
                    </a:lnTo>
                    <a:lnTo>
                      <a:pt x="665" y="143"/>
                    </a:lnTo>
                    <a:lnTo>
                      <a:pt x="665" y="141"/>
                    </a:lnTo>
                    <a:lnTo>
                      <a:pt x="665" y="143"/>
                    </a:lnTo>
                    <a:lnTo>
                      <a:pt x="666" y="143"/>
                    </a:lnTo>
                    <a:lnTo>
                      <a:pt x="666" y="144"/>
                    </a:lnTo>
                    <a:lnTo>
                      <a:pt x="665" y="144"/>
                    </a:lnTo>
                    <a:lnTo>
                      <a:pt x="666" y="144"/>
                    </a:lnTo>
                    <a:lnTo>
                      <a:pt x="665" y="144"/>
                    </a:lnTo>
                    <a:lnTo>
                      <a:pt x="666" y="144"/>
                    </a:lnTo>
                    <a:lnTo>
                      <a:pt x="666" y="146"/>
                    </a:lnTo>
                    <a:lnTo>
                      <a:pt x="666" y="148"/>
                    </a:lnTo>
                    <a:lnTo>
                      <a:pt x="668" y="150"/>
                    </a:lnTo>
                    <a:lnTo>
                      <a:pt x="666" y="150"/>
                    </a:lnTo>
                    <a:lnTo>
                      <a:pt x="666" y="151"/>
                    </a:lnTo>
                    <a:lnTo>
                      <a:pt x="668" y="151"/>
                    </a:lnTo>
                    <a:lnTo>
                      <a:pt x="666" y="153"/>
                    </a:lnTo>
                    <a:lnTo>
                      <a:pt x="668" y="153"/>
                    </a:lnTo>
                    <a:lnTo>
                      <a:pt x="666" y="153"/>
                    </a:lnTo>
                    <a:lnTo>
                      <a:pt x="666" y="155"/>
                    </a:lnTo>
                    <a:lnTo>
                      <a:pt x="668" y="155"/>
                    </a:lnTo>
                    <a:lnTo>
                      <a:pt x="668" y="156"/>
                    </a:lnTo>
                    <a:lnTo>
                      <a:pt x="670" y="158"/>
                    </a:lnTo>
                    <a:lnTo>
                      <a:pt x="670" y="160"/>
                    </a:lnTo>
                    <a:lnTo>
                      <a:pt x="672" y="161"/>
                    </a:lnTo>
                    <a:lnTo>
                      <a:pt x="673" y="163"/>
                    </a:lnTo>
                    <a:lnTo>
                      <a:pt x="673" y="165"/>
                    </a:lnTo>
                    <a:lnTo>
                      <a:pt x="673" y="167"/>
                    </a:lnTo>
                    <a:lnTo>
                      <a:pt x="673" y="168"/>
                    </a:lnTo>
                    <a:lnTo>
                      <a:pt x="672" y="168"/>
                    </a:lnTo>
                    <a:lnTo>
                      <a:pt x="672" y="170"/>
                    </a:lnTo>
                    <a:lnTo>
                      <a:pt x="672" y="172"/>
                    </a:lnTo>
                    <a:lnTo>
                      <a:pt x="672" y="173"/>
                    </a:lnTo>
                    <a:lnTo>
                      <a:pt x="672" y="175"/>
                    </a:lnTo>
                    <a:lnTo>
                      <a:pt x="670" y="175"/>
                    </a:lnTo>
                    <a:lnTo>
                      <a:pt x="672" y="175"/>
                    </a:lnTo>
                    <a:lnTo>
                      <a:pt x="670" y="177"/>
                    </a:lnTo>
                    <a:lnTo>
                      <a:pt x="672" y="177"/>
                    </a:lnTo>
                    <a:lnTo>
                      <a:pt x="670" y="177"/>
                    </a:lnTo>
                    <a:lnTo>
                      <a:pt x="670" y="178"/>
                    </a:lnTo>
                    <a:lnTo>
                      <a:pt x="670" y="180"/>
                    </a:lnTo>
                    <a:lnTo>
                      <a:pt x="672" y="180"/>
                    </a:lnTo>
                    <a:lnTo>
                      <a:pt x="670" y="182"/>
                    </a:lnTo>
                    <a:lnTo>
                      <a:pt x="672" y="182"/>
                    </a:lnTo>
                    <a:lnTo>
                      <a:pt x="670" y="182"/>
                    </a:lnTo>
                    <a:lnTo>
                      <a:pt x="670" y="184"/>
                    </a:lnTo>
                    <a:lnTo>
                      <a:pt x="670" y="182"/>
                    </a:lnTo>
                    <a:lnTo>
                      <a:pt x="670" y="184"/>
                    </a:lnTo>
                    <a:lnTo>
                      <a:pt x="672" y="184"/>
                    </a:lnTo>
                    <a:lnTo>
                      <a:pt x="670" y="185"/>
                    </a:lnTo>
                    <a:lnTo>
                      <a:pt x="672" y="185"/>
                    </a:lnTo>
                    <a:lnTo>
                      <a:pt x="672" y="187"/>
                    </a:lnTo>
                    <a:lnTo>
                      <a:pt x="673" y="189"/>
                    </a:lnTo>
                    <a:lnTo>
                      <a:pt x="672" y="189"/>
                    </a:lnTo>
                    <a:lnTo>
                      <a:pt x="672" y="190"/>
                    </a:lnTo>
                    <a:lnTo>
                      <a:pt x="672" y="192"/>
                    </a:lnTo>
                    <a:lnTo>
                      <a:pt x="672" y="190"/>
                    </a:lnTo>
                    <a:lnTo>
                      <a:pt x="672" y="192"/>
                    </a:lnTo>
                    <a:lnTo>
                      <a:pt x="670" y="192"/>
                    </a:lnTo>
                    <a:lnTo>
                      <a:pt x="672" y="194"/>
                    </a:lnTo>
                    <a:lnTo>
                      <a:pt x="670" y="194"/>
                    </a:lnTo>
                    <a:lnTo>
                      <a:pt x="670" y="196"/>
                    </a:lnTo>
                    <a:lnTo>
                      <a:pt x="668" y="194"/>
                    </a:lnTo>
                    <a:lnTo>
                      <a:pt x="668" y="196"/>
                    </a:lnTo>
                    <a:lnTo>
                      <a:pt x="670" y="196"/>
                    </a:lnTo>
                    <a:lnTo>
                      <a:pt x="668" y="196"/>
                    </a:lnTo>
                    <a:lnTo>
                      <a:pt x="668" y="197"/>
                    </a:lnTo>
                    <a:lnTo>
                      <a:pt x="668" y="196"/>
                    </a:lnTo>
                    <a:lnTo>
                      <a:pt x="668" y="197"/>
                    </a:lnTo>
                    <a:lnTo>
                      <a:pt x="668" y="199"/>
                    </a:lnTo>
                    <a:lnTo>
                      <a:pt x="666" y="199"/>
                    </a:lnTo>
                    <a:lnTo>
                      <a:pt x="668" y="199"/>
                    </a:lnTo>
                    <a:lnTo>
                      <a:pt x="666" y="199"/>
                    </a:lnTo>
                    <a:lnTo>
                      <a:pt x="666" y="201"/>
                    </a:lnTo>
                    <a:lnTo>
                      <a:pt x="666" y="199"/>
                    </a:lnTo>
                    <a:lnTo>
                      <a:pt x="665" y="199"/>
                    </a:lnTo>
                    <a:lnTo>
                      <a:pt x="665" y="201"/>
                    </a:lnTo>
                    <a:lnTo>
                      <a:pt x="663" y="199"/>
                    </a:lnTo>
                    <a:lnTo>
                      <a:pt x="663" y="201"/>
                    </a:lnTo>
                    <a:lnTo>
                      <a:pt x="661" y="201"/>
                    </a:lnTo>
                    <a:lnTo>
                      <a:pt x="661" y="202"/>
                    </a:lnTo>
                    <a:lnTo>
                      <a:pt x="660" y="202"/>
                    </a:lnTo>
                    <a:lnTo>
                      <a:pt x="660" y="204"/>
                    </a:lnTo>
                    <a:lnTo>
                      <a:pt x="658" y="204"/>
                    </a:lnTo>
                    <a:lnTo>
                      <a:pt x="658" y="206"/>
                    </a:lnTo>
                    <a:lnTo>
                      <a:pt x="656" y="206"/>
                    </a:lnTo>
                    <a:lnTo>
                      <a:pt x="656" y="204"/>
                    </a:lnTo>
                    <a:lnTo>
                      <a:pt x="655" y="204"/>
                    </a:lnTo>
                    <a:lnTo>
                      <a:pt x="655" y="206"/>
                    </a:lnTo>
                    <a:lnTo>
                      <a:pt x="655" y="207"/>
                    </a:lnTo>
                    <a:lnTo>
                      <a:pt x="653" y="209"/>
                    </a:lnTo>
                    <a:lnTo>
                      <a:pt x="653" y="211"/>
                    </a:lnTo>
                    <a:lnTo>
                      <a:pt x="651" y="211"/>
                    </a:lnTo>
                    <a:lnTo>
                      <a:pt x="651" y="209"/>
                    </a:lnTo>
                    <a:lnTo>
                      <a:pt x="649" y="209"/>
                    </a:lnTo>
                    <a:lnTo>
                      <a:pt x="649" y="211"/>
                    </a:lnTo>
                    <a:lnTo>
                      <a:pt x="648" y="211"/>
                    </a:lnTo>
                    <a:lnTo>
                      <a:pt x="648" y="209"/>
                    </a:lnTo>
                    <a:lnTo>
                      <a:pt x="646" y="209"/>
                    </a:lnTo>
                    <a:lnTo>
                      <a:pt x="646" y="211"/>
                    </a:lnTo>
                    <a:lnTo>
                      <a:pt x="646" y="213"/>
                    </a:lnTo>
                    <a:lnTo>
                      <a:pt x="644" y="213"/>
                    </a:lnTo>
                    <a:lnTo>
                      <a:pt x="643" y="213"/>
                    </a:lnTo>
                    <a:lnTo>
                      <a:pt x="643" y="211"/>
                    </a:lnTo>
                    <a:lnTo>
                      <a:pt x="641" y="211"/>
                    </a:lnTo>
                    <a:lnTo>
                      <a:pt x="641" y="213"/>
                    </a:lnTo>
                    <a:lnTo>
                      <a:pt x="641" y="214"/>
                    </a:lnTo>
                    <a:lnTo>
                      <a:pt x="639" y="214"/>
                    </a:lnTo>
                    <a:lnTo>
                      <a:pt x="639" y="213"/>
                    </a:lnTo>
                    <a:lnTo>
                      <a:pt x="638" y="213"/>
                    </a:lnTo>
                    <a:lnTo>
                      <a:pt x="638" y="214"/>
                    </a:lnTo>
                    <a:lnTo>
                      <a:pt x="639" y="214"/>
                    </a:lnTo>
                    <a:lnTo>
                      <a:pt x="638" y="216"/>
                    </a:lnTo>
                    <a:lnTo>
                      <a:pt x="638" y="214"/>
                    </a:lnTo>
                    <a:lnTo>
                      <a:pt x="636" y="214"/>
                    </a:lnTo>
                    <a:lnTo>
                      <a:pt x="636" y="216"/>
                    </a:lnTo>
                    <a:lnTo>
                      <a:pt x="634" y="216"/>
                    </a:lnTo>
                    <a:lnTo>
                      <a:pt x="634" y="214"/>
                    </a:lnTo>
                    <a:lnTo>
                      <a:pt x="632" y="216"/>
                    </a:lnTo>
                    <a:lnTo>
                      <a:pt x="632" y="218"/>
                    </a:lnTo>
                    <a:lnTo>
                      <a:pt x="631" y="218"/>
                    </a:lnTo>
                    <a:lnTo>
                      <a:pt x="631" y="219"/>
                    </a:lnTo>
                    <a:lnTo>
                      <a:pt x="631" y="221"/>
                    </a:lnTo>
                    <a:lnTo>
                      <a:pt x="631" y="223"/>
                    </a:lnTo>
                    <a:lnTo>
                      <a:pt x="629" y="223"/>
                    </a:lnTo>
                    <a:lnTo>
                      <a:pt x="627" y="223"/>
                    </a:lnTo>
                    <a:lnTo>
                      <a:pt x="627" y="224"/>
                    </a:lnTo>
                    <a:lnTo>
                      <a:pt x="626" y="223"/>
                    </a:lnTo>
                    <a:lnTo>
                      <a:pt x="624" y="223"/>
                    </a:lnTo>
                    <a:lnTo>
                      <a:pt x="624" y="224"/>
                    </a:lnTo>
                    <a:lnTo>
                      <a:pt x="626" y="224"/>
                    </a:lnTo>
                    <a:lnTo>
                      <a:pt x="627" y="224"/>
                    </a:lnTo>
                    <a:lnTo>
                      <a:pt x="626" y="226"/>
                    </a:lnTo>
                    <a:lnTo>
                      <a:pt x="624" y="226"/>
                    </a:lnTo>
                    <a:lnTo>
                      <a:pt x="624" y="228"/>
                    </a:lnTo>
                    <a:lnTo>
                      <a:pt x="622" y="228"/>
                    </a:lnTo>
                    <a:lnTo>
                      <a:pt x="622" y="226"/>
                    </a:lnTo>
                    <a:lnTo>
                      <a:pt x="621" y="226"/>
                    </a:lnTo>
                    <a:lnTo>
                      <a:pt x="621" y="228"/>
                    </a:lnTo>
                    <a:lnTo>
                      <a:pt x="619" y="228"/>
                    </a:lnTo>
                    <a:lnTo>
                      <a:pt x="619" y="230"/>
                    </a:lnTo>
                    <a:lnTo>
                      <a:pt x="617" y="228"/>
                    </a:lnTo>
                    <a:lnTo>
                      <a:pt x="615" y="230"/>
                    </a:lnTo>
                    <a:lnTo>
                      <a:pt x="615" y="231"/>
                    </a:lnTo>
                    <a:lnTo>
                      <a:pt x="614" y="231"/>
                    </a:lnTo>
                    <a:lnTo>
                      <a:pt x="615" y="233"/>
                    </a:lnTo>
                    <a:lnTo>
                      <a:pt x="614" y="233"/>
                    </a:lnTo>
                    <a:lnTo>
                      <a:pt x="612" y="235"/>
                    </a:lnTo>
                    <a:lnTo>
                      <a:pt x="610" y="235"/>
                    </a:lnTo>
                    <a:lnTo>
                      <a:pt x="610" y="236"/>
                    </a:lnTo>
                    <a:lnTo>
                      <a:pt x="609" y="236"/>
                    </a:lnTo>
                    <a:lnTo>
                      <a:pt x="609" y="238"/>
                    </a:lnTo>
                    <a:lnTo>
                      <a:pt x="607" y="238"/>
                    </a:lnTo>
                    <a:lnTo>
                      <a:pt x="607" y="236"/>
                    </a:lnTo>
                    <a:lnTo>
                      <a:pt x="607" y="238"/>
                    </a:lnTo>
                    <a:lnTo>
                      <a:pt x="605" y="238"/>
                    </a:lnTo>
                    <a:lnTo>
                      <a:pt x="605" y="240"/>
                    </a:lnTo>
                    <a:lnTo>
                      <a:pt x="604" y="240"/>
                    </a:lnTo>
                    <a:lnTo>
                      <a:pt x="602" y="240"/>
                    </a:lnTo>
                    <a:lnTo>
                      <a:pt x="602" y="241"/>
                    </a:lnTo>
                    <a:lnTo>
                      <a:pt x="602" y="243"/>
                    </a:lnTo>
                    <a:lnTo>
                      <a:pt x="604" y="243"/>
                    </a:lnTo>
                    <a:lnTo>
                      <a:pt x="605" y="243"/>
                    </a:lnTo>
                    <a:lnTo>
                      <a:pt x="605" y="245"/>
                    </a:lnTo>
                    <a:lnTo>
                      <a:pt x="604" y="247"/>
                    </a:lnTo>
                    <a:lnTo>
                      <a:pt x="604" y="248"/>
                    </a:lnTo>
                    <a:lnTo>
                      <a:pt x="604" y="247"/>
                    </a:lnTo>
                    <a:lnTo>
                      <a:pt x="602" y="245"/>
                    </a:lnTo>
                    <a:lnTo>
                      <a:pt x="600" y="245"/>
                    </a:lnTo>
                    <a:lnTo>
                      <a:pt x="598" y="245"/>
                    </a:lnTo>
                    <a:lnTo>
                      <a:pt x="597" y="247"/>
                    </a:lnTo>
                    <a:lnTo>
                      <a:pt x="597" y="248"/>
                    </a:lnTo>
                    <a:lnTo>
                      <a:pt x="598" y="250"/>
                    </a:lnTo>
                    <a:lnTo>
                      <a:pt x="597" y="250"/>
                    </a:lnTo>
                    <a:lnTo>
                      <a:pt x="595" y="250"/>
                    </a:lnTo>
                    <a:lnTo>
                      <a:pt x="593" y="250"/>
                    </a:lnTo>
                    <a:lnTo>
                      <a:pt x="593" y="252"/>
                    </a:lnTo>
                    <a:lnTo>
                      <a:pt x="593" y="253"/>
                    </a:lnTo>
                    <a:lnTo>
                      <a:pt x="593" y="255"/>
                    </a:lnTo>
                    <a:lnTo>
                      <a:pt x="592" y="255"/>
                    </a:lnTo>
                    <a:lnTo>
                      <a:pt x="592" y="257"/>
                    </a:lnTo>
                    <a:lnTo>
                      <a:pt x="590" y="257"/>
                    </a:lnTo>
                    <a:lnTo>
                      <a:pt x="590" y="258"/>
                    </a:lnTo>
                    <a:lnTo>
                      <a:pt x="588" y="258"/>
                    </a:lnTo>
                    <a:lnTo>
                      <a:pt x="588" y="260"/>
                    </a:lnTo>
                    <a:lnTo>
                      <a:pt x="587" y="262"/>
                    </a:lnTo>
                    <a:lnTo>
                      <a:pt x="585" y="262"/>
                    </a:lnTo>
                    <a:lnTo>
                      <a:pt x="583" y="262"/>
                    </a:lnTo>
                    <a:lnTo>
                      <a:pt x="583" y="264"/>
                    </a:lnTo>
                    <a:lnTo>
                      <a:pt x="583" y="265"/>
                    </a:lnTo>
                    <a:lnTo>
                      <a:pt x="583" y="267"/>
                    </a:lnTo>
                    <a:lnTo>
                      <a:pt x="581" y="267"/>
                    </a:lnTo>
                    <a:lnTo>
                      <a:pt x="581" y="269"/>
                    </a:lnTo>
                    <a:lnTo>
                      <a:pt x="580" y="269"/>
                    </a:lnTo>
                    <a:lnTo>
                      <a:pt x="580" y="270"/>
                    </a:lnTo>
                    <a:lnTo>
                      <a:pt x="580" y="272"/>
                    </a:lnTo>
                    <a:lnTo>
                      <a:pt x="580" y="274"/>
                    </a:lnTo>
                    <a:lnTo>
                      <a:pt x="576" y="274"/>
                    </a:lnTo>
                    <a:lnTo>
                      <a:pt x="575" y="274"/>
                    </a:lnTo>
                    <a:lnTo>
                      <a:pt x="575" y="275"/>
                    </a:lnTo>
                    <a:lnTo>
                      <a:pt x="573" y="275"/>
                    </a:lnTo>
                    <a:lnTo>
                      <a:pt x="573" y="277"/>
                    </a:lnTo>
                    <a:lnTo>
                      <a:pt x="571" y="277"/>
                    </a:lnTo>
                    <a:lnTo>
                      <a:pt x="571" y="279"/>
                    </a:lnTo>
                    <a:lnTo>
                      <a:pt x="571" y="281"/>
                    </a:lnTo>
                    <a:lnTo>
                      <a:pt x="570" y="284"/>
                    </a:lnTo>
                    <a:lnTo>
                      <a:pt x="568" y="284"/>
                    </a:lnTo>
                    <a:lnTo>
                      <a:pt x="568" y="286"/>
                    </a:lnTo>
                    <a:lnTo>
                      <a:pt x="568" y="287"/>
                    </a:lnTo>
                    <a:lnTo>
                      <a:pt x="566" y="287"/>
                    </a:lnTo>
                    <a:lnTo>
                      <a:pt x="566" y="289"/>
                    </a:lnTo>
                    <a:lnTo>
                      <a:pt x="564" y="289"/>
                    </a:lnTo>
                    <a:lnTo>
                      <a:pt x="564" y="291"/>
                    </a:lnTo>
                    <a:lnTo>
                      <a:pt x="563" y="291"/>
                    </a:lnTo>
                    <a:lnTo>
                      <a:pt x="563" y="292"/>
                    </a:lnTo>
                    <a:lnTo>
                      <a:pt x="561" y="292"/>
                    </a:lnTo>
                    <a:lnTo>
                      <a:pt x="561" y="294"/>
                    </a:lnTo>
                    <a:lnTo>
                      <a:pt x="561" y="296"/>
                    </a:lnTo>
                    <a:lnTo>
                      <a:pt x="559" y="296"/>
                    </a:lnTo>
                    <a:lnTo>
                      <a:pt x="559" y="298"/>
                    </a:lnTo>
                    <a:lnTo>
                      <a:pt x="558" y="298"/>
                    </a:lnTo>
                    <a:lnTo>
                      <a:pt x="558" y="299"/>
                    </a:lnTo>
                    <a:lnTo>
                      <a:pt x="556" y="299"/>
                    </a:lnTo>
                    <a:lnTo>
                      <a:pt x="554" y="301"/>
                    </a:lnTo>
                    <a:lnTo>
                      <a:pt x="553" y="299"/>
                    </a:lnTo>
                    <a:lnTo>
                      <a:pt x="553" y="301"/>
                    </a:lnTo>
                    <a:lnTo>
                      <a:pt x="551" y="301"/>
                    </a:lnTo>
                    <a:lnTo>
                      <a:pt x="549" y="303"/>
                    </a:lnTo>
                    <a:lnTo>
                      <a:pt x="549" y="304"/>
                    </a:lnTo>
                    <a:lnTo>
                      <a:pt x="549" y="306"/>
                    </a:lnTo>
                    <a:lnTo>
                      <a:pt x="549" y="308"/>
                    </a:lnTo>
                    <a:lnTo>
                      <a:pt x="549" y="309"/>
                    </a:lnTo>
                    <a:lnTo>
                      <a:pt x="547" y="309"/>
                    </a:lnTo>
                    <a:lnTo>
                      <a:pt x="546" y="309"/>
                    </a:lnTo>
                    <a:lnTo>
                      <a:pt x="546" y="311"/>
                    </a:lnTo>
                    <a:lnTo>
                      <a:pt x="544" y="311"/>
                    </a:lnTo>
                    <a:lnTo>
                      <a:pt x="544" y="313"/>
                    </a:lnTo>
                    <a:lnTo>
                      <a:pt x="542" y="315"/>
                    </a:lnTo>
                    <a:lnTo>
                      <a:pt x="541" y="316"/>
                    </a:lnTo>
                    <a:lnTo>
                      <a:pt x="539" y="316"/>
                    </a:lnTo>
                    <a:lnTo>
                      <a:pt x="537" y="316"/>
                    </a:lnTo>
                    <a:lnTo>
                      <a:pt x="539" y="316"/>
                    </a:lnTo>
                    <a:lnTo>
                      <a:pt x="539" y="318"/>
                    </a:lnTo>
                    <a:lnTo>
                      <a:pt x="539" y="320"/>
                    </a:lnTo>
                    <a:lnTo>
                      <a:pt x="539" y="321"/>
                    </a:lnTo>
                    <a:lnTo>
                      <a:pt x="539" y="323"/>
                    </a:lnTo>
                    <a:lnTo>
                      <a:pt x="537" y="323"/>
                    </a:lnTo>
                    <a:lnTo>
                      <a:pt x="536" y="325"/>
                    </a:lnTo>
                    <a:lnTo>
                      <a:pt x="534" y="325"/>
                    </a:lnTo>
                    <a:lnTo>
                      <a:pt x="534" y="326"/>
                    </a:lnTo>
                    <a:lnTo>
                      <a:pt x="532" y="326"/>
                    </a:lnTo>
                    <a:lnTo>
                      <a:pt x="530" y="326"/>
                    </a:lnTo>
                    <a:lnTo>
                      <a:pt x="530" y="328"/>
                    </a:lnTo>
                    <a:lnTo>
                      <a:pt x="530" y="330"/>
                    </a:lnTo>
                    <a:lnTo>
                      <a:pt x="530" y="332"/>
                    </a:lnTo>
                    <a:lnTo>
                      <a:pt x="532" y="333"/>
                    </a:lnTo>
                    <a:lnTo>
                      <a:pt x="532" y="335"/>
                    </a:lnTo>
                    <a:lnTo>
                      <a:pt x="532" y="337"/>
                    </a:lnTo>
                    <a:lnTo>
                      <a:pt x="532" y="338"/>
                    </a:lnTo>
                    <a:lnTo>
                      <a:pt x="532" y="340"/>
                    </a:lnTo>
                    <a:lnTo>
                      <a:pt x="532" y="344"/>
                    </a:lnTo>
                    <a:lnTo>
                      <a:pt x="532" y="345"/>
                    </a:lnTo>
                    <a:lnTo>
                      <a:pt x="530" y="345"/>
                    </a:lnTo>
                    <a:lnTo>
                      <a:pt x="529" y="345"/>
                    </a:lnTo>
                    <a:lnTo>
                      <a:pt x="529" y="347"/>
                    </a:lnTo>
                    <a:lnTo>
                      <a:pt x="530" y="347"/>
                    </a:lnTo>
                    <a:lnTo>
                      <a:pt x="530" y="349"/>
                    </a:lnTo>
                    <a:lnTo>
                      <a:pt x="530" y="350"/>
                    </a:lnTo>
                    <a:lnTo>
                      <a:pt x="530" y="352"/>
                    </a:lnTo>
                    <a:lnTo>
                      <a:pt x="529" y="352"/>
                    </a:lnTo>
                    <a:lnTo>
                      <a:pt x="529" y="354"/>
                    </a:lnTo>
                    <a:lnTo>
                      <a:pt x="529" y="355"/>
                    </a:lnTo>
                    <a:lnTo>
                      <a:pt x="529" y="357"/>
                    </a:lnTo>
                    <a:lnTo>
                      <a:pt x="529" y="359"/>
                    </a:lnTo>
                    <a:lnTo>
                      <a:pt x="527" y="361"/>
                    </a:lnTo>
                    <a:lnTo>
                      <a:pt x="527" y="362"/>
                    </a:lnTo>
                    <a:lnTo>
                      <a:pt x="527" y="364"/>
                    </a:lnTo>
                    <a:lnTo>
                      <a:pt x="525" y="364"/>
                    </a:lnTo>
                    <a:lnTo>
                      <a:pt x="524" y="366"/>
                    </a:lnTo>
                    <a:lnTo>
                      <a:pt x="524" y="367"/>
                    </a:lnTo>
                    <a:lnTo>
                      <a:pt x="525" y="367"/>
                    </a:lnTo>
                    <a:lnTo>
                      <a:pt x="525" y="369"/>
                    </a:lnTo>
                    <a:lnTo>
                      <a:pt x="527" y="369"/>
                    </a:lnTo>
                    <a:lnTo>
                      <a:pt x="527" y="371"/>
                    </a:lnTo>
                    <a:lnTo>
                      <a:pt x="527" y="372"/>
                    </a:lnTo>
                    <a:lnTo>
                      <a:pt x="525" y="376"/>
                    </a:lnTo>
                    <a:lnTo>
                      <a:pt x="525" y="378"/>
                    </a:lnTo>
                    <a:lnTo>
                      <a:pt x="524" y="381"/>
                    </a:lnTo>
                    <a:lnTo>
                      <a:pt x="522" y="381"/>
                    </a:lnTo>
                    <a:lnTo>
                      <a:pt x="520" y="381"/>
                    </a:lnTo>
                    <a:lnTo>
                      <a:pt x="520" y="383"/>
                    </a:lnTo>
                    <a:lnTo>
                      <a:pt x="520" y="384"/>
                    </a:lnTo>
                    <a:lnTo>
                      <a:pt x="520" y="386"/>
                    </a:lnTo>
                    <a:lnTo>
                      <a:pt x="522" y="388"/>
                    </a:lnTo>
                    <a:lnTo>
                      <a:pt x="522" y="389"/>
                    </a:lnTo>
                    <a:lnTo>
                      <a:pt x="522" y="391"/>
                    </a:lnTo>
                    <a:lnTo>
                      <a:pt x="520" y="391"/>
                    </a:lnTo>
                    <a:lnTo>
                      <a:pt x="520" y="393"/>
                    </a:lnTo>
                    <a:lnTo>
                      <a:pt x="520" y="395"/>
                    </a:lnTo>
                    <a:lnTo>
                      <a:pt x="522" y="396"/>
                    </a:lnTo>
                    <a:lnTo>
                      <a:pt x="522" y="398"/>
                    </a:lnTo>
                    <a:lnTo>
                      <a:pt x="524" y="398"/>
                    </a:lnTo>
                    <a:lnTo>
                      <a:pt x="524" y="400"/>
                    </a:lnTo>
                    <a:lnTo>
                      <a:pt x="522" y="400"/>
                    </a:lnTo>
                    <a:lnTo>
                      <a:pt x="522" y="401"/>
                    </a:lnTo>
                    <a:lnTo>
                      <a:pt x="520" y="401"/>
                    </a:lnTo>
                    <a:lnTo>
                      <a:pt x="520" y="403"/>
                    </a:lnTo>
                    <a:lnTo>
                      <a:pt x="520" y="405"/>
                    </a:lnTo>
                    <a:lnTo>
                      <a:pt x="519" y="406"/>
                    </a:lnTo>
                    <a:lnTo>
                      <a:pt x="520" y="406"/>
                    </a:lnTo>
                    <a:lnTo>
                      <a:pt x="520" y="408"/>
                    </a:lnTo>
                    <a:lnTo>
                      <a:pt x="520" y="410"/>
                    </a:lnTo>
                    <a:lnTo>
                      <a:pt x="520" y="412"/>
                    </a:lnTo>
                    <a:lnTo>
                      <a:pt x="522" y="413"/>
                    </a:lnTo>
                    <a:lnTo>
                      <a:pt x="520" y="413"/>
                    </a:lnTo>
                    <a:lnTo>
                      <a:pt x="522" y="413"/>
                    </a:lnTo>
                    <a:lnTo>
                      <a:pt x="522" y="415"/>
                    </a:lnTo>
                    <a:lnTo>
                      <a:pt x="522" y="417"/>
                    </a:lnTo>
                    <a:lnTo>
                      <a:pt x="522" y="418"/>
                    </a:lnTo>
                    <a:lnTo>
                      <a:pt x="522" y="420"/>
                    </a:lnTo>
                    <a:lnTo>
                      <a:pt x="522" y="422"/>
                    </a:lnTo>
                    <a:lnTo>
                      <a:pt x="522" y="423"/>
                    </a:lnTo>
                    <a:lnTo>
                      <a:pt x="524" y="425"/>
                    </a:lnTo>
                    <a:lnTo>
                      <a:pt x="524" y="427"/>
                    </a:lnTo>
                    <a:lnTo>
                      <a:pt x="524" y="429"/>
                    </a:lnTo>
                    <a:lnTo>
                      <a:pt x="522" y="429"/>
                    </a:lnTo>
                    <a:lnTo>
                      <a:pt x="522" y="430"/>
                    </a:lnTo>
                    <a:lnTo>
                      <a:pt x="520" y="430"/>
                    </a:lnTo>
                    <a:lnTo>
                      <a:pt x="519" y="432"/>
                    </a:lnTo>
                    <a:lnTo>
                      <a:pt x="517" y="432"/>
                    </a:lnTo>
                    <a:lnTo>
                      <a:pt x="515" y="432"/>
                    </a:lnTo>
                    <a:lnTo>
                      <a:pt x="513" y="432"/>
                    </a:lnTo>
                    <a:lnTo>
                      <a:pt x="513" y="434"/>
                    </a:lnTo>
                    <a:lnTo>
                      <a:pt x="513" y="439"/>
                    </a:lnTo>
                    <a:lnTo>
                      <a:pt x="513" y="440"/>
                    </a:lnTo>
                    <a:lnTo>
                      <a:pt x="512" y="440"/>
                    </a:lnTo>
                    <a:lnTo>
                      <a:pt x="512" y="442"/>
                    </a:lnTo>
                    <a:lnTo>
                      <a:pt x="510" y="444"/>
                    </a:lnTo>
                    <a:lnTo>
                      <a:pt x="510" y="447"/>
                    </a:lnTo>
                    <a:lnTo>
                      <a:pt x="510" y="449"/>
                    </a:lnTo>
                    <a:lnTo>
                      <a:pt x="510" y="451"/>
                    </a:lnTo>
                    <a:lnTo>
                      <a:pt x="510" y="456"/>
                    </a:lnTo>
                    <a:lnTo>
                      <a:pt x="510" y="457"/>
                    </a:lnTo>
                    <a:lnTo>
                      <a:pt x="512" y="459"/>
                    </a:lnTo>
                    <a:lnTo>
                      <a:pt x="512" y="461"/>
                    </a:lnTo>
                    <a:lnTo>
                      <a:pt x="512" y="463"/>
                    </a:lnTo>
                    <a:lnTo>
                      <a:pt x="512" y="464"/>
                    </a:lnTo>
                    <a:lnTo>
                      <a:pt x="512" y="466"/>
                    </a:lnTo>
                    <a:lnTo>
                      <a:pt x="512" y="468"/>
                    </a:lnTo>
                    <a:lnTo>
                      <a:pt x="513" y="469"/>
                    </a:lnTo>
                    <a:lnTo>
                      <a:pt x="515" y="469"/>
                    </a:lnTo>
                    <a:lnTo>
                      <a:pt x="513" y="469"/>
                    </a:lnTo>
                    <a:lnTo>
                      <a:pt x="513" y="471"/>
                    </a:lnTo>
                    <a:lnTo>
                      <a:pt x="513" y="473"/>
                    </a:lnTo>
                    <a:lnTo>
                      <a:pt x="513" y="474"/>
                    </a:lnTo>
                    <a:lnTo>
                      <a:pt x="513" y="476"/>
                    </a:lnTo>
                    <a:lnTo>
                      <a:pt x="513" y="478"/>
                    </a:lnTo>
                    <a:lnTo>
                      <a:pt x="512" y="480"/>
                    </a:lnTo>
                    <a:lnTo>
                      <a:pt x="510" y="480"/>
                    </a:lnTo>
                    <a:lnTo>
                      <a:pt x="510" y="481"/>
                    </a:lnTo>
                    <a:lnTo>
                      <a:pt x="512" y="481"/>
                    </a:lnTo>
                    <a:lnTo>
                      <a:pt x="512" y="483"/>
                    </a:lnTo>
                    <a:lnTo>
                      <a:pt x="512" y="485"/>
                    </a:lnTo>
                    <a:lnTo>
                      <a:pt x="510" y="483"/>
                    </a:lnTo>
                    <a:lnTo>
                      <a:pt x="510" y="485"/>
                    </a:lnTo>
                    <a:lnTo>
                      <a:pt x="510" y="486"/>
                    </a:lnTo>
                    <a:lnTo>
                      <a:pt x="508" y="486"/>
                    </a:lnTo>
                    <a:lnTo>
                      <a:pt x="508" y="485"/>
                    </a:lnTo>
                    <a:lnTo>
                      <a:pt x="507" y="485"/>
                    </a:lnTo>
                    <a:lnTo>
                      <a:pt x="507" y="486"/>
                    </a:lnTo>
                    <a:lnTo>
                      <a:pt x="508" y="486"/>
                    </a:lnTo>
                    <a:lnTo>
                      <a:pt x="510" y="486"/>
                    </a:lnTo>
                    <a:lnTo>
                      <a:pt x="510" y="488"/>
                    </a:lnTo>
                    <a:lnTo>
                      <a:pt x="510" y="490"/>
                    </a:lnTo>
                    <a:lnTo>
                      <a:pt x="512" y="490"/>
                    </a:lnTo>
                    <a:lnTo>
                      <a:pt x="510" y="490"/>
                    </a:lnTo>
                    <a:lnTo>
                      <a:pt x="512" y="490"/>
                    </a:lnTo>
                    <a:lnTo>
                      <a:pt x="512" y="491"/>
                    </a:lnTo>
                    <a:lnTo>
                      <a:pt x="513" y="491"/>
                    </a:lnTo>
                    <a:lnTo>
                      <a:pt x="513" y="493"/>
                    </a:lnTo>
                    <a:lnTo>
                      <a:pt x="515" y="495"/>
                    </a:lnTo>
                    <a:lnTo>
                      <a:pt x="515" y="493"/>
                    </a:lnTo>
                    <a:lnTo>
                      <a:pt x="515" y="495"/>
                    </a:lnTo>
                    <a:lnTo>
                      <a:pt x="517" y="495"/>
                    </a:lnTo>
                    <a:lnTo>
                      <a:pt x="517" y="497"/>
                    </a:lnTo>
                    <a:lnTo>
                      <a:pt x="519" y="497"/>
                    </a:lnTo>
                    <a:lnTo>
                      <a:pt x="519" y="498"/>
                    </a:lnTo>
                    <a:lnTo>
                      <a:pt x="520" y="498"/>
                    </a:lnTo>
                    <a:lnTo>
                      <a:pt x="522" y="498"/>
                    </a:lnTo>
                    <a:lnTo>
                      <a:pt x="524" y="498"/>
                    </a:lnTo>
                    <a:lnTo>
                      <a:pt x="524" y="500"/>
                    </a:lnTo>
                    <a:lnTo>
                      <a:pt x="525" y="500"/>
                    </a:lnTo>
                    <a:lnTo>
                      <a:pt x="527" y="500"/>
                    </a:lnTo>
                    <a:lnTo>
                      <a:pt x="527" y="502"/>
                    </a:lnTo>
                    <a:lnTo>
                      <a:pt x="529" y="502"/>
                    </a:lnTo>
                    <a:lnTo>
                      <a:pt x="529" y="503"/>
                    </a:lnTo>
                    <a:lnTo>
                      <a:pt x="529" y="502"/>
                    </a:lnTo>
                    <a:lnTo>
                      <a:pt x="530" y="503"/>
                    </a:lnTo>
                    <a:lnTo>
                      <a:pt x="530" y="502"/>
                    </a:lnTo>
                    <a:lnTo>
                      <a:pt x="532" y="503"/>
                    </a:lnTo>
                    <a:lnTo>
                      <a:pt x="534" y="505"/>
                    </a:lnTo>
                    <a:lnTo>
                      <a:pt x="536" y="505"/>
                    </a:lnTo>
                    <a:lnTo>
                      <a:pt x="536" y="507"/>
                    </a:lnTo>
                    <a:lnTo>
                      <a:pt x="537" y="507"/>
                    </a:lnTo>
                    <a:lnTo>
                      <a:pt x="539" y="507"/>
                    </a:lnTo>
                    <a:lnTo>
                      <a:pt x="539" y="509"/>
                    </a:lnTo>
                    <a:lnTo>
                      <a:pt x="541" y="509"/>
                    </a:lnTo>
                    <a:lnTo>
                      <a:pt x="542" y="510"/>
                    </a:lnTo>
                    <a:lnTo>
                      <a:pt x="544" y="510"/>
                    </a:lnTo>
                    <a:lnTo>
                      <a:pt x="544" y="512"/>
                    </a:lnTo>
                    <a:lnTo>
                      <a:pt x="546" y="512"/>
                    </a:lnTo>
                    <a:lnTo>
                      <a:pt x="546" y="514"/>
                    </a:lnTo>
                    <a:lnTo>
                      <a:pt x="547" y="514"/>
                    </a:lnTo>
                    <a:lnTo>
                      <a:pt x="547" y="515"/>
                    </a:lnTo>
                    <a:lnTo>
                      <a:pt x="549" y="515"/>
                    </a:lnTo>
                    <a:lnTo>
                      <a:pt x="549" y="517"/>
                    </a:lnTo>
                    <a:lnTo>
                      <a:pt x="551" y="517"/>
                    </a:lnTo>
                    <a:lnTo>
                      <a:pt x="551" y="519"/>
                    </a:lnTo>
                    <a:lnTo>
                      <a:pt x="553" y="520"/>
                    </a:lnTo>
                    <a:lnTo>
                      <a:pt x="553" y="522"/>
                    </a:lnTo>
                    <a:lnTo>
                      <a:pt x="554" y="522"/>
                    </a:lnTo>
                    <a:lnTo>
                      <a:pt x="554" y="524"/>
                    </a:lnTo>
                    <a:lnTo>
                      <a:pt x="554" y="526"/>
                    </a:lnTo>
                    <a:lnTo>
                      <a:pt x="556" y="526"/>
                    </a:lnTo>
                    <a:lnTo>
                      <a:pt x="556" y="527"/>
                    </a:lnTo>
                    <a:lnTo>
                      <a:pt x="556" y="529"/>
                    </a:lnTo>
                    <a:lnTo>
                      <a:pt x="554" y="529"/>
                    </a:lnTo>
                    <a:lnTo>
                      <a:pt x="554" y="531"/>
                    </a:lnTo>
                    <a:lnTo>
                      <a:pt x="553" y="531"/>
                    </a:lnTo>
                    <a:lnTo>
                      <a:pt x="553" y="532"/>
                    </a:lnTo>
                    <a:lnTo>
                      <a:pt x="551" y="534"/>
                    </a:lnTo>
                    <a:lnTo>
                      <a:pt x="551" y="536"/>
                    </a:lnTo>
                    <a:lnTo>
                      <a:pt x="549" y="537"/>
                    </a:lnTo>
                    <a:lnTo>
                      <a:pt x="549" y="539"/>
                    </a:lnTo>
                    <a:lnTo>
                      <a:pt x="547" y="539"/>
                    </a:lnTo>
                    <a:lnTo>
                      <a:pt x="549" y="539"/>
                    </a:lnTo>
                    <a:lnTo>
                      <a:pt x="547" y="539"/>
                    </a:lnTo>
                    <a:lnTo>
                      <a:pt x="547" y="541"/>
                    </a:lnTo>
                    <a:lnTo>
                      <a:pt x="547" y="543"/>
                    </a:lnTo>
                    <a:lnTo>
                      <a:pt x="547" y="544"/>
                    </a:lnTo>
                    <a:lnTo>
                      <a:pt x="547" y="546"/>
                    </a:lnTo>
                    <a:lnTo>
                      <a:pt x="547" y="548"/>
                    </a:lnTo>
                    <a:lnTo>
                      <a:pt x="547" y="549"/>
                    </a:lnTo>
                    <a:lnTo>
                      <a:pt x="547" y="551"/>
                    </a:lnTo>
                    <a:lnTo>
                      <a:pt x="549" y="551"/>
                    </a:lnTo>
                    <a:lnTo>
                      <a:pt x="549" y="553"/>
                    </a:lnTo>
                    <a:lnTo>
                      <a:pt x="549" y="554"/>
                    </a:lnTo>
                    <a:lnTo>
                      <a:pt x="551" y="554"/>
                    </a:lnTo>
                    <a:lnTo>
                      <a:pt x="551" y="556"/>
                    </a:lnTo>
                    <a:lnTo>
                      <a:pt x="551" y="558"/>
                    </a:lnTo>
                    <a:lnTo>
                      <a:pt x="553" y="558"/>
                    </a:lnTo>
                    <a:lnTo>
                      <a:pt x="553" y="560"/>
                    </a:lnTo>
                    <a:lnTo>
                      <a:pt x="554" y="560"/>
                    </a:lnTo>
                    <a:lnTo>
                      <a:pt x="554" y="561"/>
                    </a:lnTo>
                    <a:lnTo>
                      <a:pt x="556" y="561"/>
                    </a:lnTo>
                    <a:lnTo>
                      <a:pt x="556" y="563"/>
                    </a:lnTo>
                    <a:lnTo>
                      <a:pt x="558" y="563"/>
                    </a:lnTo>
                    <a:lnTo>
                      <a:pt x="559" y="565"/>
                    </a:lnTo>
                    <a:lnTo>
                      <a:pt x="561" y="565"/>
                    </a:lnTo>
                    <a:lnTo>
                      <a:pt x="563" y="565"/>
                    </a:lnTo>
                    <a:lnTo>
                      <a:pt x="564" y="565"/>
                    </a:lnTo>
                    <a:lnTo>
                      <a:pt x="566" y="565"/>
                    </a:lnTo>
                    <a:lnTo>
                      <a:pt x="568" y="565"/>
                    </a:lnTo>
                    <a:lnTo>
                      <a:pt x="568" y="563"/>
                    </a:lnTo>
                    <a:lnTo>
                      <a:pt x="570" y="563"/>
                    </a:lnTo>
                    <a:lnTo>
                      <a:pt x="570" y="565"/>
                    </a:lnTo>
                    <a:lnTo>
                      <a:pt x="570" y="566"/>
                    </a:lnTo>
                    <a:lnTo>
                      <a:pt x="570" y="568"/>
                    </a:lnTo>
                    <a:lnTo>
                      <a:pt x="571" y="571"/>
                    </a:lnTo>
                    <a:lnTo>
                      <a:pt x="571" y="573"/>
                    </a:lnTo>
                    <a:lnTo>
                      <a:pt x="571" y="575"/>
                    </a:lnTo>
                    <a:lnTo>
                      <a:pt x="571" y="577"/>
                    </a:lnTo>
                    <a:lnTo>
                      <a:pt x="571" y="578"/>
                    </a:lnTo>
                    <a:lnTo>
                      <a:pt x="571" y="580"/>
                    </a:lnTo>
                    <a:lnTo>
                      <a:pt x="571" y="582"/>
                    </a:lnTo>
                    <a:lnTo>
                      <a:pt x="571" y="583"/>
                    </a:lnTo>
                    <a:lnTo>
                      <a:pt x="571" y="585"/>
                    </a:lnTo>
                    <a:lnTo>
                      <a:pt x="571" y="587"/>
                    </a:lnTo>
                    <a:lnTo>
                      <a:pt x="571" y="588"/>
                    </a:lnTo>
                    <a:lnTo>
                      <a:pt x="570" y="590"/>
                    </a:lnTo>
                    <a:lnTo>
                      <a:pt x="568" y="592"/>
                    </a:lnTo>
                    <a:lnTo>
                      <a:pt x="568" y="594"/>
                    </a:lnTo>
                    <a:lnTo>
                      <a:pt x="566" y="595"/>
                    </a:lnTo>
                    <a:lnTo>
                      <a:pt x="566" y="597"/>
                    </a:lnTo>
                    <a:lnTo>
                      <a:pt x="564" y="599"/>
                    </a:lnTo>
                    <a:lnTo>
                      <a:pt x="563" y="600"/>
                    </a:lnTo>
                    <a:lnTo>
                      <a:pt x="563" y="602"/>
                    </a:lnTo>
                    <a:lnTo>
                      <a:pt x="561" y="604"/>
                    </a:lnTo>
                    <a:lnTo>
                      <a:pt x="561" y="605"/>
                    </a:lnTo>
                    <a:lnTo>
                      <a:pt x="559" y="605"/>
                    </a:lnTo>
                    <a:lnTo>
                      <a:pt x="559" y="607"/>
                    </a:lnTo>
                    <a:lnTo>
                      <a:pt x="558" y="609"/>
                    </a:lnTo>
                    <a:lnTo>
                      <a:pt x="558" y="611"/>
                    </a:lnTo>
                    <a:lnTo>
                      <a:pt x="558" y="612"/>
                    </a:lnTo>
                    <a:lnTo>
                      <a:pt x="556" y="612"/>
                    </a:lnTo>
                    <a:lnTo>
                      <a:pt x="556" y="614"/>
                    </a:lnTo>
                    <a:lnTo>
                      <a:pt x="554" y="614"/>
                    </a:lnTo>
                    <a:lnTo>
                      <a:pt x="554" y="616"/>
                    </a:lnTo>
                    <a:lnTo>
                      <a:pt x="553" y="617"/>
                    </a:lnTo>
                    <a:lnTo>
                      <a:pt x="551" y="619"/>
                    </a:lnTo>
                    <a:lnTo>
                      <a:pt x="549" y="621"/>
                    </a:lnTo>
                    <a:lnTo>
                      <a:pt x="547" y="622"/>
                    </a:lnTo>
                    <a:lnTo>
                      <a:pt x="546" y="624"/>
                    </a:lnTo>
                    <a:lnTo>
                      <a:pt x="546" y="626"/>
                    </a:lnTo>
                    <a:lnTo>
                      <a:pt x="544" y="626"/>
                    </a:lnTo>
                    <a:lnTo>
                      <a:pt x="544" y="628"/>
                    </a:lnTo>
                    <a:lnTo>
                      <a:pt x="542" y="629"/>
                    </a:lnTo>
                    <a:lnTo>
                      <a:pt x="542" y="631"/>
                    </a:lnTo>
                    <a:lnTo>
                      <a:pt x="542" y="633"/>
                    </a:lnTo>
                    <a:lnTo>
                      <a:pt x="542" y="634"/>
                    </a:lnTo>
                    <a:lnTo>
                      <a:pt x="542" y="636"/>
                    </a:lnTo>
                    <a:lnTo>
                      <a:pt x="542" y="638"/>
                    </a:lnTo>
                    <a:lnTo>
                      <a:pt x="542" y="636"/>
                    </a:lnTo>
                    <a:lnTo>
                      <a:pt x="542" y="638"/>
                    </a:lnTo>
                    <a:lnTo>
                      <a:pt x="542" y="639"/>
                    </a:lnTo>
                    <a:lnTo>
                      <a:pt x="541" y="639"/>
                    </a:lnTo>
                    <a:lnTo>
                      <a:pt x="539" y="641"/>
                    </a:lnTo>
                    <a:lnTo>
                      <a:pt x="539" y="643"/>
                    </a:lnTo>
                    <a:lnTo>
                      <a:pt x="537" y="643"/>
                    </a:lnTo>
                    <a:lnTo>
                      <a:pt x="537" y="645"/>
                    </a:lnTo>
                    <a:lnTo>
                      <a:pt x="536" y="645"/>
                    </a:lnTo>
                    <a:lnTo>
                      <a:pt x="534" y="645"/>
                    </a:lnTo>
                    <a:lnTo>
                      <a:pt x="534" y="646"/>
                    </a:lnTo>
                    <a:lnTo>
                      <a:pt x="532" y="646"/>
                    </a:lnTo>
                    <a:lnTo>
                      <a:pt x="532" y="648"/>
                    </a:lnTo>
                    <a:lnTo>
                      <a:pt x="530" y="648"/>
                    </a:lnTo>
                    <a:lnTo>
                      <a:pt x="529" y="648"/>
                    </a:lnTo>
                    <a:lnTo>
                      <a:pt x="527" y="650"/>
                    </a:lnTo>
                    <a:lnTo>
                      <a:pt x="525" y="650"/>
                    </a:lnTo>
                    <a:lnTo>
                      <a:pt x="525" y="651"/>
                    </a:lnTo>
                    <a:lnTo>
                      <a:pt x="524" y="651"/>
                    </a:lnTo>
                    <a:lnTo>
                      <a:pt x="522" y="653"/>
                    </a:lnTo>
                    <a:lnTo>
                      <a:pt x="520" y="653"/>
                    </a:lnTo>
                    <a:lnTo>
                      <a:pt x="519" y="655"/>
                    </a:lnTo>
                    <a:lnTo>
                      <a:pt x="517" y="655"/>
                    </a:lnTo>
                    <a:lnTo>
                      <a:pt x="515" y="655"/>
                    </a:lnTo>
                    <a:lnTo>
                      <a:pt x="515" y="656"/>
                    </a:lnTo>
                    <a:lnTo>
                      <a:pt x="513" y="656"/>
                    </a:lnTo>
                    <a:lnTo>
                      <a:pt x="512" y="656"/>
                    </a:lnTo>
                    <a:lnTo>
                      <a:pt x="510" y="658"/>
                    </a:lnTo>
                    <a:lnTo>
                      <a:pt x="508" y="658"/>
                    </a:lnTo>
                    <a:lnTo>
                      <a:pt x="507" y="658"/>
                    </a:lnTo>
                    <a:lnTo>
                      <a:pt x="507" y="660"/>
                    </a:lnTo>
                    <a:lnTo>
                      <a:pt x="505" y="660"/>
                    </a:lnTo>
                    <a:lnTo>
                      <a:pt x="503" y="660"/>
                    </a:lnTo>
                    <a:lnTo>
                      <a:pt x="502" y="660"/>
                    </a:lnTo>
                    <a:lnTo>
                      <a:pt x="500" y="662"/>
                    </a:lnTo>
                    <a:lnTo>
                      <a:pt x="498" y="662"/>
                    </a:lnTo>
                    <a:lnTo>
                      <a:pt x="496" y="663"/>
                    </a:lnTo>
                    <a:lnTo>
                      <a:pt x="495" y="663"/>
                    </a:lnTo>
                    <a:lnTo>
                      <a:pt x="493" y="663"/>
                    </a:lnTo>
                    <a:lnTo>
                      <a:pt x="491" y="665"/>
                    </a:lnTo>
                    <a:lnTo>
                      <a:pt x="490" y="665"/>
                    </a:lnTo>
                    <a:lnTo>
                      <a:pt x="488" y="665"/>
                    </a:lnTo>
                    <a:lnTo>
                      <a:pt x="486" y="665"/>
                    </a:lnTo>
                    <a:lnTo>
                      <a:pt x="485" y="667"/>
                    </a:lnTo>
                    <a:lnTo>
                      <a:pt x="483" y="667"/>
                    </a:lnTo>
                    <a:lnTo>
                      <a:pt x="481" y="667"/>
                    </a:lnTo>
                    <a:lnTo>
                      <a:pt x="479" y="667"/>
                    </a:lnTo>
                    <a:lnTo>
                      <a:pt x="479" y="668"/>
                    </a:lnTo>
                    <a:lnTo>
                      <a:pt x="478" y="668"/>
                    </a:lnTo>
                    <a:lnTo>
                      <a:pt x="476" y="668"/>
                    </a:lnTo>
                    <a:lnTo>
                      <a:pt x="474" y="668"/>
                    </a:lnTo>
                    <a:lnTo>
                      <a:pt x="473" y="668"/>
                    </a:lnTo>
                    <a:lnTo>
                      <a:pt x="471" y="668"/>
                    </a:lnTo>
                    <a:lnTo>
                      <a:pt x="469" y="670"/>
                    </a:lnTo>
                    <a:lnTo>
                      <a:pt x="468" y="670"/>
                    </a:lnTo>
                    <a:lnTo>
                      <a:pt x="466" y="670"/>
                    </a:lnTo>
                    <a:lnTo>
                      <a:pt x="464" y="672"/>
                    </a:lnTo>
                    <a:lnTo>
                      <a:pt x="462" y="672"/>
                    </a:lnTo>
                    <a:lnTo>
                      <a:pt x="461" y="672"/>
                    </a:lnTo>
                    <a:lnTo>
                      <a:pt x="459" y="672"/>
                    </a:lnTo>
                    <a:lnTo>
                      <a:pt x="457" y="672"/>
                    </a:lnTo>
                    <a:lnTo>
                      <a:pt x="456" y="672"/>
                    </a:lnTo>
                    <a:lnTo>
                      <a:pt x="454" y="672"/>
                    </a:lnTo>
                    <a:lnTo>
                      <a:pt x="454" y="674"/>
                    </a:lnTo>
                    <a:lnTo>
                      <a:pt x="452" y="674"/>
                    </a:lnTo>
                    <a:lnTo>
                      <a:pt x="449" y="674"/>
                    </a:lnTo>
                    <a:lnTo>
                      <a:pt x="447" y="674"/>
                    </a:lnTo>
                    <a:lnTo>
                      <a:pt x="445" y="675"/>
                    </a:lnTo>
                    <a:lnTo>
                      <a:pt x="444" y="675"/>
                    </a:lnTo>
                    <a:lnTo>
                      <a:pt x="442" y="675"/>
                    </a:lnTo>
                    <a:lnTo>
                      <a:pt x="440" y="675"/>
                    </a:lnTo>
                    <a:lnTo>
                      <a:pt x="439" y="675"/>
                    </a:lnTo>
                    <a:lnTo>
                      <a:pt x="435" y="677"/>
                    </a:lnTo>
                    <a:lnTo>
                      <a:pt x="434" y="677"/>
                    </a:lnTo>
                    <a:lnTo>
                      <a:pt x="432" y="677"/>
                    </a:lnTo>
                    <a:lnTo>
                      <a:pt x="430" y="677"/>
                    </a:lnTo>
                    <a:lnTo>
                      <a:pt x="428" y="677"/>
                    </a:lnTo>
                    <a:lnTo>
                      <a:pt x="427" y="677"/>
                    </a:lnTo>
                    <a:lnTo>
                      <a:pt x="425" y="677"/>
                    </a:lnTo>
                    <a:lnTo>
                      <a:pt x="423" y="679"/>
                    </a:lnTo>
                    <a:lnTo>
                      <a:pt x="422" y="679"/>
                    </a:lnTo>
                    <a:lnTo>
                      <a:pt x="420" y="679"/>
                    </a:lnTo>
                    <a:lnTo>
                      <a:pt x="418" y="679"/>
                    </a:lnTo>
                    <a:lnTo>
                      <a:pt x="417" y="679"/>
                    </a:lnTo>
                    <a:lnTo>
                      <a:pt x="415" y="679"/>
                    </a:lnTo>
                    <a:lnTo>
                      <a:pt x="411" y="679"/>
                    </a:lnTo>
                    <a:lnTo>
                      <a:pt x="410" y="679"/>
                    </a:lnTo>
                    <a:lnTo>
                      <a:pt x="408" y="679"/>
                    </a:lnTo>
                    <a:lnTo>
                      <a:pt x="406" y="679"/>
                    </a:lnTo>
                    <a:lnTo>
                      <a:pt x="405" y="679"/>
                    </a:lnTo>
                    <a:lnTo>
                      <a:pt x="403" y="679"/>
                    </a:lnTo>
                    <a:lnTo>
                      <a:pt x="401" y="677"/>
                    </a:lnTo>
                    <a:lnTo>
                      <a:pt x="400" y="677"/>
                    </a:lnTo>
                    <a:lnTo>
                      <a:pt x="398" y="679"/>
                    </a:lnTo>
                    <a:lnTo>
                      <a:pt x="396" y="677"/>
                    </a:lnTo>
                    <a:lnTo>
                      <a:pt x="394" y="677"/>
                    </a:lnTo>
                    <a:lnTo>
                      <a:pt x="393" y="677"/>
                    </a:lnTo>
                    <a:lnTo>
                      <a:pt x="393" y="675"/>
                    </a:lnTo>
                    <a:lnTo>
                      <a:pt x="391" y="675"/>
                    </a:lnTo>
                    <a:lnTo>
                      <a:pt x="389" y="675"/>
                    </a:lnTo>
                    <a:lnTo>
                      <a:pt x="389" y="674"/>
                    </a:lnTo>
                    <a:lnTo>
                      <a:pt x="388" y="674"/>
                    </a:lnTo>
                    <a:lnTo>
                      <a:pt x="388" y="672"/>
                    </a:lnTo>
                    <a:lnTo>
                      <a:pt x="386" y="670"/>
                    </a:lnTo>
                    <a:lnTo>
                      <a:pt x="384" y="670"/>
                    </a:lnTo>
                    <a:lnTo>
                      <a:pt x="383" y="668"/>
                    </a:lnTo>
                    <a:lnTo>
                      <a:pt x="383" y="670"/>
                    </a:lnTo>
                    <a:lnTo>
                      <a:pt x="381" y="668"/>
                    </a:lnTo>
                    <a:lnTo>
                      <a:pt x="379" y="668"/>
                    </a:lnTo>
                    <a:lnTo>
                      <a:pt x="381" y="668"/>
                    </a:lnTo>
                    <a:lnTo>
                      <a:pt x="381" y="670"/>
                    </a:lnTo>
                    <a:lnTo>
                      <a:pt x="379" y="670"/>
                    </a:lnTo>
                    <a:lnTo>
                      <a:pt x="379" y="672"/>
                    </a:lnTo>
                    <a:lnTo>
                      <a:pt x="381" y="670"/>
                    </a:lnTo>
                    <a:lnTo>
                      <a:pt x="381" y="672"/>
                    </a:lnTo>
                    <a:lnTo>
                      <a:pt x="383" y="672"/>
                    </a:lnTo>
                    <a:lnTo>
                      <a:pt x="381" y="672"/>
                    </a:lnTo>
                    <a:lnTo>
                      <a:pt x="379" y="672"/>
                    </a:lnTo>
                    <a:lnTo>
                      <a:pt x="379" y="674"/>
                    </a:lnTo>
                    <a:lnTo>
                      <a:pt x="381" y="674"/>
                    </a:lnTo>
                    <a:lnTo>
                      <a:pt x="379" y="675"/>
                    </a:lnTo>
                    <a:lnTo>
                      <a:pt x="379" y="677"/>
                    </a:lnTo>
                    <a:lnTo>
                      <a:pt x="381" y="677"/>
                    </a:lnTo>
                    <a:lnTo>
                      <a:pt x="383" y="677"/>
                    </a:lnTo>
                    <a:lnTo>
                      <a:pt x="384" y="677"/>
                    </a:lnTo>
                    <a:lnTo>
                      <a:pt x="386" y="679"/>
                    </a:lnTo>
                    <a:lnTo>
                      <a:pt x="384" y="679"/>
                    </a:lnTo>
                    <a:lnTo>
                      <a:pt x="383" y="680"/>
                    </a:lnTo>
                    <a:lnTo>
                      <a:pt x="381" y="680"/>
                    </a:lnTo>
                    <a:lnTo>
                      <a:pt x="381" y="682"/>
                    </a:lnTo>
                    <a:lnTo>
                      <a:pt x="381" y="684"/>
                    </a:lnTo>
                    <a:lnTo>
                      <a:pt x="381" y="685"/>
                    </a:lnTo>
                    <a:lnTo>
                      <a:pt x="381" y="687"/>
                    </a:lnTo>
                    <a:lnTo>
                      <a:pt x="381" y="689"/>
                    </a:lnTo>
                    <a:lnTo>
                      <a:pt x="383" y="689"/>
                    </a:lnTo>
                    <a:lnTo>
                      <a:pt x="381" y="689"/>
                    </a:lnTo>
                    <a:lnTo>
                      <a:pt x="381" y="691"/>
                    </a:lnTo>
                    <a:lnTo>
                      <a:pt x="383" y="691"/>
                    </a:lnTo>
                    <a:lnTo>
                      <a:pt x="384" y="691"/>
                    </a:lnTo>
                    <a:lnTo>
                      <a:pt x="386" y="691"/>
                    </a:lnTo>
                    <a:lnTo>
                      <a:pt x="388" y="691"/>
                    </a:lnTo>
                    <a:lnTo>
                      <a:pt x="388" y="692"/>
                    </a:lnTo>
                    <a:lnTo>
                      <a:pt x="389" y="692"/>
                    </a:lnTo>
                    <a:lnTo>
                      <a:pt x="389" y="694"/>
                    </a:lnTo>
                    <a:lnTo>
                      <a:pt x="391" y="694"/>
                    </a:lnTo>
                    <a:lnTo>
                      <a:pt x="391" y="696"/>
                    </a:lnTo>
                    <a:lnTo>
                      <a:pt x="391" y="697"/>
                    </a:lnTo>
                    <a:lnTo>
                      <a:pt x="389" y="696"/>
                    </a:lnTo>
                    <a:lnTo>
                      <a:pt x="388" y="696"/>
                    </a:lnTo>
                    <a:lnTo>
                      <a:pt x="388" y="694"/>
                    </a:lnTo>
                    <a:lnTo>
                      <a:pt x="386" y="694"/>
                    </a:lnTo>
                    <a:lnTo>
                      <a:pt x="386" y="692"/>
                    </a:lnTo>
                    <a:lnTo>
                      <a:pt x="384" y="691"/>
                    </a:lnTo>
                    <a:lnTo>
                      <a:pt x="384" y="692"/>
                    </a:lnTo>
                    <a:lnTo>
                      <a:pt x="384" y="691"/>
                    </a:lnTo>
                    <a:lnTo>
                      <a:pt x="383" y="692"/>
                    </a:lnTo>
                    <a:lnTo>
                      <a:pt x="384" y="692"/>
                    </a:lnTo>
                    <a:lnTo>
                      <a:pt x="384" y="694"/>
                    </a:lnTo>
                    <a:lnTo>
                      <a:pt x="386" y="694"/>
                    </a:lnTo>
                    <a:lnTo>
                      <a:pt x="386" y="696"/>
                    </a:lnTo>
                    <a:lnTo>
                      <a:pt x="388" y="696"/>
                    </a:lnTo>
                    <a:lnTo>
                      <a:pt x="388" y="697"/>
                    </a:lnTo>
                    <a:lnTo>
                      <a:pt x="389" y="697"/>
                    </a:lnTo>
                    <a:lnTo>
                      <a:pt x="389" y="699"/>
                    </a:lnTo>
                    <a:lnTo>
                      <a:pt x="389" y="701"/>
                    </a:lnTo>
                    <a:lnTo>
                      <a:pt x="389" y="702"/>
                    </a:lnTo>
                    <a:lnTo>
                      <a:pt x="388" y="702"/>
                    </a:lnTo>
                    <a:lnTo>
                      <a:pt x="388" y="704"/>
                    </a:lnTo>
                    <a:lnTo>
                      <a:pt x="388" y="706"/>
                    </a:lnTo>
                    <a:lnTo>
                      <a:pt x="388" y="708"/>
                    </a:lnTo>
                    <a:lnTo>
                      <a:pt x="388" y="709"/>
                    </a:lnTo>
                    <a:lnTo>
                      <a:pt x="388" y="711"/>
                    </a:lnTo>
                    <a:lnTo>
                      <a:pt x="388" y="713"/>
                    </a:lnTo>
                    <a:lnTo>
                      <a:pt x="388" y="714"/>
                    </a:lnTo>
                    <a:lnTo>
                      <a:pt x="388" y="716"/>
                    </a:lnTo>
                    <a:lnTo>
                      <a:pt x="388" y="718"/>
                    </a:lnTo>
                    <a:lnTo>
                      <a:pt x="386" y="718"/>
                    </a:lnTo>
                    <a:lnTo>
                      <a:pt x="386" y="716"/>
                    </a:lnTo>
                    <a:lnTo>
                      <a:pt x="384" y="716"/>
                    </a:lnTo>
                    <a:lnTo>
                      <a:pt x="384" y="718"/>
                    </a:lnTo>
                    <a:lnTo>
                      <a:pt x="383" y="718"/>
                    </a:lnTo>
                    <a:lnTo>
                      <a:pt x="383" y="716"/>
                    </a:lnTo>
                    <a:lnTo>
                      <a:pt x="381" y="716"/>
                    </a:lnTo>
                    <a:lnTo>
                      <a:pt x="381" y="718"/>
                    </a:lnTo>
                    <a:lnTo>
                      <a:pt x="381" y="719"/>
                    </a:lnTo>
                    <a:lnTo>
                      <a:pt x="381" y="721"/>
                    </a:lnTo>
                    <a:lnTo>
                      <a:pt x="381" y="723"/>
                    </a:lnTo>
                    <a:lnTo>
                      <a:pt x="379" y="723"/>
                    </a:lnTo>
                    <a:lnTo>
                      <a:pt x="379" y="725"/>
                    </a:lnTo>
                    <a:lnTo>
                      <a:pt x="379" y="726"/>
                    </a:lnTo>
                    <a:lnTo>
                      <a:pt x="379" y="728"/>
                    </a:lnTo>
                    <a:lnTo>
                      <a:pt x="381" y="728"/>
                    </a:lnTo>
                    <a:lnTo>
                      <a:pt x="381" y="730"/>
                    </a:lnTo>
                    <a:lnTo>
                      <a:pt x="379" y="730"/>
                    </a:lnTo>
                    <a:lnTo>
                      <a:pt x="379" y="731"/>
                    </a:lnTo>
                    <a:lnTo>
                      <a:pt x="377" y="731"/>
                    </a:lnTo>
                    <a:lnTo>
                      <a:pt x="377" y="733"/>
                    </a:lnTo>
                    <a:lnTo>
                      <a:pt x="376" y="733"/>
                    </a:lnTo>
                    <a:lnTo>
                      <a:pt x="376" y="735"/>
                    </a:lnTo>
                    <a:lnTo>
                      <a:pt x="374" y="735"/>
                    </a:lnTo>
                    <a:lnTo>
                      <a:pt x="374" y="736"/>
                    </a:lnTo>
                    <a:lnTo>
                      <a:pt x="376" y="738"/>
                    </a:lnTo>
                    <a:lnTo>
                      <a:pt x="376" y="740"/>
                    </a:lnTo>
                    <a:lnTo>
                      <a:pt x="376" y="742"/>
                    </a:lnTo>
                    <a:lnTo>
                      <a:pt x="377" y="742"/>
                    </a:lnTo>
                    <a:lnTo>
                      <a:pt x="377" y="743"/>
                    </a:lnTo>
                    <a:lnTo>
                      <a:pt x="379" y="743"/>
                    </a:lnTo>
                    <a:lnTo>
                      <a:pt x="381" y="745"/>
                    </a:lnTo>
                    <a:lnTo>
                      <a:pt x="383" y="747"/>
                    </a:lnTo>
                    <a:lnTo>
                      <a:pt x="384" y="747"/>
                    </a:lnTo>
                    <a:lnTo>
                      <a:pt x="384" y="748"/>
                    </a:lnTo>
                    <a:lnTo>
                      <a:pt x="386" y="748"/>
                    </a:lnTo>
                    <a:lnTo>
                      <a:pt x="386" y="750"/>
                    </a:lnTo>
                    <a:lnTo>
                      <a:pt x="384" y="752"/>
                    </a:lnTo>
                    <a:lnTo>
                      <a:pt x="383" y="753"/>
                    </a:lnTo>
                    <a:lnTo>
                      <a:pt x="383" y="755"/>
                    </a:lnTo>
                    <a:lnTo>
                      <a:pt x="383" y="757"/>
                    </a:lnTo>
                    <a:lnTo>
                      <a:pt x="381" y="759"/>
                    </a:lnTo>
                    <a:lnTo>
                      <a:pt x="381" y="760"/>
                    </a:lnTo>
                    <a:lnTo>
                      <a:pt x="379" y="762"/>
                    </a:lnTo>
                    <a:lnTo>
                      <a:pt x="377" y="762"/>
                    </a:lnTo>
                    <a:lnTo>
                      <a:pt x="377" y="764"/>
                    </a:lnTo>
                    <a:lnTo>
                      <a:pt x="376" y="764"/>
                    </a:lnTo>
                    <a:lnTo>
                      <a:pt x="374" y="764"/>
                    </a:lnTo>
                    <a:lnTo>
                      <a:pt x="372" y="764"/>
                    </a:lnTo>
                    <a:lnTo>
                      <a:pt x="372" y="765"/>
                    </a:lnTo>
                    <a:lnTo>
                      <a:pt x="371" y="765"/>
                    </a:lnTo>
                    <a:lnTo>
                      <a:pt x="369" y="767"/>
                    </a:lnTo>
                    <a:lnTo>
                      <a:pt x="367" y="767"/>
                    </a:lnTo>
                    <a:lnTo>
                      <a:pt x="367" y="769"/>
                    </a:lnTo>
                    <a:lnTo>
                      <a:pt x="366" y="769"/>
                    </a:lnTo>
                    <a:lnTo>
                      <a:pt x="366" y="767"/>
                    </a:lnTo>
                    <a:lnTo>
                      <a:pt x="364" y="767"/>
                    </a:lnTo>
                    <a:lnTo>
                      <a:pt x="364" y="769"/>
                    </a:lnTo>
                    <a:lnTo>
                      <a:pt x="362" y="769"/>
                    </a:lnTo>
                    <a:lnTo>
                      <a:pt x="362" y="770"/>
                    </a:lnTo>
                    <a:lnTo>
                      <a:pt x="360" y="770"/>
                    </a:lnTo>
                    <a:lnTo>
                      <a:pt x="359" y="770"/>
                    </a:lnTo>
                    <a:lnTo>
                      <a:pt x="357" y="772"/>
                    </a:lnTo>
                    <a:lnTo>
                      <a:pt x="355" y="772"/>
                    </a:lnTo>
                    <a:lnTo>
                      <a:pt x="355" y="774"/>
                    </a:lnTo>
                    <a:lnTo>
                      <a:pt x="354" y="774"/>
                    </a:lnTo>
                    <a:lnTo>
                      <a:pt x="352" y="774"/>
                    </a:lnTo>
                    <a:lnTo>
                      <a:pt x="350" y="774"/>
                    </a:lnTo>
                    <a:lnTo>
                      <a:pt x="349" y="774"/>
                    </a:lnTo>
                    <a:lnTo>
                      <a:pt x="347" y="774"/>
                    </a:lnTo>
                    <a:lnTo>
                      <a:pt x="345" y="774"/>
                    </a:lnTo>
                    <a:lnTo>
                      <a:pt x="343" y="774"/>
                    </a:lnTo>
                    <a:lnTo>
                      <a:pt x="342" y="774"/>
                    </a:lnTo>
                    <a:lnTo>
                      <a:pt x="340" y="774"/>
                    </a:lnTo>
                    <a:lnTo>
                      <a:pt x="338" y="774"/>
                    </a:lnTo>
                    <a:lnTo>
                      <a:pt x="337" y="774"/>
                    </a:lnTo>
                    <a:lnTo>
                      <a:pt x="335" y="774"/>
                    </a:lnTo>
                    <a:lnTo>
                      <a:pt x="333" y="774"/>
                    </a:lnTo>
                    <a:lnTo>
                      <a:pt x="332" y="774"/>
                    </a:lnTo>
                    <a:lnTo>
                      <a:pt x="330" y="774"/>
                    </a:lnTo>
                    <a:lnTo>
                      <a:pt x="330" y="772"/>
                    </a:lnTo>
                    <a:lnTo>
                      <a:pt x="328" y="772"/>
                    </a:lnTo>
                    <a:lnTo>
                      <a:pt x="326" y="772"/>
                    </a:lnTo>
                    <a:lnTo>
                      <a:pt x="326" y="770"/>
                    </a:lnTo>
                    <a:lnTo>
                      <a:pt x="325" y="769"/>
                    </a:lnTo>
                    <a:lnTo>
                      <a:pt x="323" y="769"/>
                    </a:lnTo>
                    <a:lnTo>
                      <a:pt x="321" y="769"/>
                    </a:lnTo>
                    <a:lnTo>
                      <a:pt x="321" y="767"/>
                    </a:lnTo>
                    <a:lnTo>
                      <a:pt x="320" y="767"/>
                    </a:lnTo>
                    <a:lnTo>
                      <a:pt x="321" y="767"/>
                    </a:lnTo>
                    <a:lnTo>
                      <a:pt x="321" y="765"/>
                    </a:lnTo>
                    <a:lnTo>
                      <a:pt x="320" y="765"/>
                    </a:lnTo>
                    <a:lnTo>
                      <a:pt x="320" y="767"/>
                    </a:lnTo>
                    <a:lnTo>
                      <a:pt x="318" y="767"/>
                    </a:lnTo>
                    <a:lnTo>
                      <a:pt x="316" y="767"/>
                    </a:lnTo>
                    <a:lnTo>
                      <a:pt x="315" y="765"/>
                    </a:lnTo>
                    <a:lnTo>
                      <a:pt x="313" y="765"/>
                    </a:lnTo>
                    <a:lnTo>
                      <a:pt x="313" y="764"/>
                    </a:lnTo>
                    <a:lnTo>
                      <a:pt x="311" y="764"/>
                    </a:lnTo>
                    <a:lnTo>
                      <a:pt x="309" y="762"/>
                    </a:lnTo>
                    <a:lnTo>
                      <a:pt x="308" y="762"/>
                    </a:lnTo>
                    <a:lnTo>
                      <a:pt x="306" y="760"/>
                    </a:lnTo>
                    <a:lnTo>
                      <a:pt x="304" y="760"/>
                    </a:lnTo>
                    <a:lnTo>
                      <a:pt x="303" y="760"/>
                    </a:lnTo>
                    <a:lnTo>
                      <a:pt x="301" y="759"/>
                    </a:lnTo>
                    <a:lnTo>
                      <a:pt x="299" y="759"/>
                    </a:lnTo>
                    <a:lnTo>
                      <a:pt x="298" y="759"/>
                    </a:lnTo>
                    <a:lnTo>
                      <a:pt x="296" y="759"/>
                    </a:lnTo>
                    <a:lnTo>
                      <a:pt x="294" y="759"/>
                    </a:lnTo>
                    <a:lnTo>
                      <a:pt x="292" y="759"/>
                    </a:lnTo>
                    <a:lnTo>
                      <a:pt x="294" y="757"/>
                    </a:lnTo>
                    <a:lnTo>
                      <a:pt x="296" y="757"/>
                    </a:lnTo>
                    <a:lnTo>
                      <a:pt x="298" y="757"/>
                    </a:lnTo>
                    <a:lnTo>
                      <a:pt x="298" y="759"/>
                    </a:lnTo>
                    <a:lnTo>
                      <a:pt x="299" y="757"/>
                    </a:lnTo>
                    <a:lnTo>
                      <a:pt x="298" y="757"/>
                    </a:lnTo>
                    <a:lnTo>
                      <a:pt x="299" y="757"/>
                    </a:lnTo>
                    <a:lnTo>
                      <a:pt x="298" y="757"/>
                    </a:lnTo>
                    <a:lnTo>
                      <a:pt x="296" y="757"/>
                    </a:lnTo>
                    <a:lnTo>
                      <a:pt x="298" y="755"/>
                    </a:lnTo>
                    <a:lnTo>
                      <a:pt x="296" y="755"/>
                    </a:lnTo>
                    <a:lnTo>
                      <a:pt x="298" y="755"/>
                    </a:lnTo>
                    <a:lnTo>
                      <a:pt x="296" y="755"/>
                    </a:lnTo>
                    <a:lnTo>
                      <a:pt x="296" y="753"/>
                    </a:lnTo>
                    <a:lnTo>
                      <a:pt x="294" y="753"/>
                    </a:lnTo>
                    <a:lnTo>
                      <a:pt x="292" y="753"/>
                    </a:lnTo>
                    <a:lnTo>
                      <a:pt x="291" y="753"/>
                    </a:lnTo>
                    <a:lnTo>
                      <a:pt x="292" y="753"/>
                    </a:lnTo>
                    <a:lnTo>
                      <a:pt x="291" y="753"/>
                    </a:lnTo>
                    <a:lnTo>
                      <a:pt x="291" y="755"/>
                    </a:lnTo>
                    <a:lnTo>
                      <a:pt x="292" y="753"/>
                    </a:lnTo>
                    <a:lnTo>
                      <a:pt x="292" y="755"/>
                    </a:lnTo>
                    <a:lnTo>
                      <a:pt x="294" y="755"/>
                    </a:lnTo>
                    <a:lnTo>
                      <a:pt x="292" y="755"/>
                    </a:lnTo>
                    <a:lnTo>
                      <a:pt x="291" y="755"/>
                    </a:lnTo>
                    <a:lnTo>
                      <a:pt x="289" y="755"/>
                    </a:lnTo>
                    <a:lnTo>
                      <a:pt x="289" y="757"/>
                    </a:lnTo>
                    <a:lnTo>
                      <a:pt x="287" y="757"/>
                    </a:lnTo>
                    <a:lnTo>
                      <a:pt x="287" y="759"/>
                    </a:lnTo>
                    <a:lnTo>
                      <a:pt x="286" y="759"/>
                    </a:lnTo>
                    <a:lnTo>
                      <a:pt x="286" y="760"/>
                    </a:lnTo>
                    <a:lnTo>
                      <a:pt x="286" y="762"/>
                    </a:lnTo>
                    <a:lnTo>
                      <a:pt x="284" y="764"/>
                    </a:lnTo>
                    <a:lnTo>
                      <a:pt x="284" y="765"/>
                    </a:lnTo>
                    <a:lnTo>
                      <a:pt x="284" y="767"/>
                    </a:lnTo>
                    <a:lnTo>
                      <a:pt x="284" y="769"/>
                    </a:lnTo>
                    <a:lnTo>
                      <a:pt x="284" y="770"/>
                    </a:lnTo>
                    <a:lnTo>
                      <a:pt x="286" y="770"/>
                    </a:lnTo>
                    <a:lnTo>
                      <a:pt x="286" y="772"/>
                    </a:lnTo>
                    <a:lnTo>
                      <a:pt x="286" y="774"/>
                    </a:lnTo>
                    <a:lnTo>
                      <a:pt x="284" y="774"/>
                    </a:lnTo>
                    <a:lnTo>
                      <a:pt x="286" y="774"/>
                    </a:lnTo>
                    <a:lnTo>
                      <a:pt x="286" y="776"/>
                    </a:lnTo>
                    <a:lnTo>
                      <a:pt x="286" y="777"/>
                    </a:lnTo>
                    <a:lnTo>
                      <a:pt x="286" y="779"/>
                    </a:lnTo>
                    <a:lnTo>
                      <a:pt x="286" y="781"/>
                    </a:lnTo>
                    <a:lnTo>
                      <a:pt x="287" y="781"/>
                    </a:lnTo>
                    <a:lnTo>
                      <a:pt x="287" y="782"/>
                    </a:lnTo>
                    <a:lnTo>
                      <a:pt x="287" y="784"/>
                    </a:lnTo>
                    <a:lnTo>
                      <a:pt x="287" y="786"/>
                    </a:lnTo>
                    <a:lnTo>
                      <a:pt x="289" y="787"/>
                    </a:lnTo>
                    <a:lnTo>
                      <a:pt x="291" y="789"/>
                    </a:lnTo>
                    <a:lnTo>
                      <a:pt x="291" y="791"/>
                    </a:lnTo>
                    <a:lnTo>
                      <a:pt x="289" y="791"/>
                    </a:lnTo>
                    <a:lnTo>
                      <a:pt x="291" y="793"/>
                    </a:lnTo>
                    <a:lnTo>
                      <a:pt x="289" y="793"/>
                    </a:lnTo>
                    <a:lnTo>
                      <a:pt x="289" y="794"/>
                    </a:lnTo>
                    <a:lnTo>
                      <a:pt x="289" y="796"/>
                    </a:lnTo>
                    <a:lnTo>
                      <a:pt x="289" y="798"/>
                    </a:lnTo>
                    <a:lnTo>
                      <a:pt x="289" y="799"/>
                    </a:lnTo>
                    <a:lnTo>
                      <a:pt x="289" y="801"/>
                    </a:lnTo>
                    <a:lnTo>
                      <a:pt x="291" y="801"/>
                    </a:lnTo>
                    <a:lnTo>
                      <a:pt x="289" y="801"/>
                    </a:lnTo>
                    <a:lnTo>
                      <a:pt x="289" y="803"/>
                    </a:lnTo>
                    <a:lnTo>
                      <a:pt x="289" y="804"/>
                    </a:lnTo>
                    <a:lnTo>
                      <a:pt x="289" y="806"/>
                    </a:lnTo>
                    <a:lnTo>
                      <a:pt x="287" y="806"/>
                    </a:lnTo>
                    <a:lnTo>
                      <a:pt x="287" y="808"/>
                    </a:lnTo>
                    <a:lnTo>
                      <a:pt x="287" y="810"/>
                    </a:lnTo>
                    <a:lnTo>
                      <a:pt x="287" y="811"/>
                    </a:lnTo>
                    <a:lnTo>
                      <a:pt x="287" y="813"/>
                    </a:lnTo>
                    <a:lnTo>
                      <a:pt x="289" y="815"/>
                    </a:lnTo>
                    <a:lnTo>
                      <a:pt x="289" y="816"/>
                    </a:lnTo>
                    <a:lnTo>
                      <a:pt x="291" y="816"/>
                    </a:lnTo>
                    <a:lnTo>
                      <a:pt x="291" y="818"/>
                    </a:lnTo>
                    <a:lnTo>
                      <a:pt x="292" y="818"/>
                    </a:lnTo>
                    <a:lnTo>
                      <a:pt x="292" y="820"/>
                    </a:lnTo>
                    <a:lnTo>
                      <a:pt x="294" y="820"/>
                    </a:lnTo>
                    <a:lnTo>
                      <a:pt x="296" y="820"/>
                    </a:lnTo>
                    <a:lnTo>
                      <a:pt x="298" y="820"/>
                    </a:lnTo>
                    <a:lnTo>
                      <a:pt x="298" y="822"/>
                    </a:lnTo>
                    <a:lnTo>
                      <a:pt x="299" y="822"/>
                    </a:lnTo>
                    <a:lnTo>
                      <a:pt x="301" y="822"/>
                    </a:lnTo>
                    <a:lnTo>
                      <a:pt x="303" y="822"/>
                    </a:lnTo>
                    <a:lnTo>
                      <a:pt x="304" y="822"/>
                    </a:lnTo>
                    <a:lnTo>
                      <a:pt x="306" y="822"/>
                    </a:lnTo>
                    <a:lnTo>
                      <a:pt x="306" y="823"/>
                    </a:lnTo>
                    <a:lnTo>
                      <a:pt x="306" y="822"/>
                    </a:lnTo>
                    <a:lnTo>
                      <a:pt x="308" y="823"/>
                    </a:lnTo>
                    <a:lnTo>
                      <a:pt x="306" y="823"/>
                    </a:lnTo>
                    <a:lnTo>
                      <a:pt x="306" y="825"/>
                    </a:lnTo>
                    <a:lnTo>
                      <a:pt x="304" y="825"/>
                    </a:lnTo>
                    <a:lnTo>
                      <a:pt x="304" y="827"/>
                    </a:lnTo>
                    <a:lnTo>
                      <a:pt x="304" y="828"/>
                    </a:lnTo>
                    <a:lnTo>
                      <a:pt x="303" y="830"/>
                    </a:lnTo>
                    <a:lnTo>
                      <a:pt x="303" y="832"/>
                    </a:lnTo>
                    <a:lnTo>
                      <a:pt x="304" y="832"/>
                    </a:lnTo>
                    <a:lnTo>
                      <a:pt x="304" y="830"/>
                    </a:lnTo>
                    <a:lnTo>
                      <a:pt x="304" y="832"/>
                    </a:lnTo>
                    <a:lnTo>
                      <a:pt x="306" y="830"/>
                    </a:lnTo>
                    <a:lnTo>
                      <a:pt x="306" y="832"/>
                    </a:lnTo>
                    <a:lnTo>
                      <a:pt x="308" y="832"/>
                    </a:lnTo>
                    <a:lnTo>
                      <a:pt x="308" y="830"/>
                    </a:lnTo>
                    <a:lnTo>
                      <a:pt x="308" y="832"/>
                    </a:lnTo>
                    <a:lnTo>
                      <a:pt x="309" y="832"/>
                    </a:lnTo>
                    <a:lnTo>
                      <a:pt x="311" y="832"/>
                    </a:lnTo>
                    <a:lnTo>
                      <a:pt x="311" y="830"/>
                    </a:lnTo>
                    <a:lnTo>
                      <a:pt x="311" y="832"/>
                    </a:lnTo>
                    <a:lnTo>
                      <a:pt x="313" y="830"/>
                    </a:lnTo>
                    <a:lnTo>
                      <a:pt x="315" y="830"/>
                    </a:lnTo>
                    <a:lnTo>
                      <a:pt x="316" y="830"/>
                    </a:lnTo>
                    <a:lnTo>
                      <a:pt x="318" y="830"/>
                    </a:lnTo>
                    <a:lnTo>
                      <a:pt x="320" y="832"/>
                    </a:lnTo>
                    <a:lnTo>
                      <a:pt x="320" y="830"/>
                    </a:lnTo>
                    <a:lnTo>
                      <a:pt x="321" y="830"/>
                    </a:lnTo>
                    <a:lnTo>
                      <a:pt x="321" y="828"/>
                    </a:lnTo>
                    <a:lnTo>
                      <a:pt x="323" y="828"/>
                    </a:lnTo>
                    <a:lnTo>
                      <a:pt x="321" y="827"/>
                    </a:lnTo>
                    <a:lnTo>
                      <a:pt x="323" y="827"/>
                    </a:lnTo>
                    <a:lnTo>
                      <a:pt x="321" y="825"/>
                    </a:lnTo>
                    <a:lnTo>
                      <a:pt x="321" y="823"/>
                    </a:lnTo>
                    <a:lnTo>
                      <a:pt x="320" y="823"/>
                    </a:lnTo>
                    <a:lnTo>
                      <a:pt x="318" y="823"/>
                    </a:lnTo>
                    <a:lnTo>
                      <a:pt x="316" y="823"/>
                    </a:lnTo>
                    <a:lnTo>
                      <a:pt x="316" y="822"/>
                    </a:lnTo>
                    <a:lnTo>
                      <a:pt x="315" y="823"/>
                    </a:lnTo>
                    <a:lnTo>
                      <a:pt x="313" y="823"/>
                    </a:lnTo>
                    <a:lnTo>
                      <a:pt x="311" y="823"/>
                    </a:lnTo>
                    <a:lnTo>
                      <a:pt x="311" y="822"/>
                    </a:lnTo>
                    <a:lnTo>
                      <a:pt x="313" y="822"/>
                    </a:lnTo>
                    <a:lnTo>
                      <a:pt x="316" y="822"/>
                    </a:lnTo>
                    <a:lnTo>
                      <a:pt x="318" y="820"/>
                    </a:lnTo>
                    <a:lnTo>
                      <a:pt x="320" y="820"/>
                    </a:lnTo>
                    <a:lnTo>
                      <a:pt x="321" y="820"/>
                    </a:lnTo>
                    <a:lnTo>
                      <a:pt x="323" y="820"/>
                    </a:lnTo>
                    <a:lnTo>
                      <a:pt x="323" y="818"/>
                    </a:lnTo>
                    <a:lnTo>
                      <a:pt x="325" y="818"/>
                    </a:lnTo>
                    <a:lnTo>
                      <a:pt x="325" y="816"/>
                    </a:lnTo>
                    <a:lnTo>
                      <a:pt x="326" y="816"/>
                    </a:lnTo>
                    <a:lnTo>
                      <a:pt x="328" y="816"/>
                    </a:lnTo>
                    <a:lnTo>
                      <a:pt x="328" y="815"/>
                    </a:lnTo>
                    <a:lnTo>
                      <a:pt x="330" y="815"/>
                    </a:lnTo>
                    <a:lnTo>
                      <a:pt x="332" y="815"/>
                    </a:lnTo>
                    <a:lnTo>
                      <a:pt x="333" y="816"/>
                    </a:lnTo>
                    <a:lnTo>
                      <a:pt x="333" y="818"/>
                    </a:lnTo>
                    <a:lnTo>
                      <a:pt x="333" y="820"/>
                    </a:lnTo>
                    <a:lnTo>
                      <a:pt x="335" y="822"/>
                    </a:lnTo>
                    <a:lnTo>
                      <a:pt x="335" y="823"/>
                    </a:lnTo>
                    <a:lnTo>
                      <a:pt x="337" y="825"/>
                    </a:lnTo>
                    <a:lnTo>
                      <a:pt x="337" y="827"/>
                    </a:lnTo>
                    <a:lnTo>
                      <a:pt x="337" y="828"/>
                    </a:lnTo>
                    <a:lnTo>
                      <a:pt x="337" y="830"/>
                    </a:lnTo>
                    <a:lnTo>
                      <a:pt x="337" y="832"/>
                    </a:lnTo>
                    <a:lnTo>
                      <a:pt x="337" y="833"/>
                    </a:lnTo>
                    <a:lnTo>
                      <a:pt x="337" y="835"/>
                    </a:lnTo>
                    <a:lnTo>
                      <a:pt x="337" y="837"/>
                    </a:lnTo>
                    <a:lnTo>
                      <a:pt x="338" y="837"/>
                    </a:lnTo>
                    <a:lnTo>
                      <a:pt x="338" y="839"/>
                    </a:lnTo>
                    <a:lnTo>
                      <a:pt x="338" y="840"/>
                    </a:lnTo>
                    <a:lnTo>
                      <a:pt x="337" y="840"/>
                    </a:lnTo>
                    <a:lnTo>
                      <a:pt x="337" y="842"/>
                    </a:lnTo>
                    <a:lnTo>
                      <a:pt x="337" y="844"/>
                    </a:lnTo>
                    <a:lnTo>
                      <a:pt x="337" y="845"/>
                    </a:lnTo>
                    <a:lnTo>
                      <a:pt x="337" y="847"/>
                    </a:lnTo>
                    <a:lnTo>
                      <a:pt x="335" y="847"/>
                    </a:lnTo>
                    <a:lnTo>
                      <a:pt x="333" y="849"/>
                    </a:lnTo>
                    <a:lnTo>
                      <a:pt x="332" y="849"/>
                    </a:lnTo>
                    <a:lnTo>
                      <a:pt x="330" y="849"/>
                    </a:lnTo>
                    <a:lnTo>
                      <a:pt x="328" y="849"/>
                    </a:lnTo>
                    <a:lnTo>
                      <a:pt x="328" y="850"/>
                    </a:lnTo>
                    <a:lnTo>
                      <a:pt x="326" y="850"/>
                    </a:lnTo>
                    <a:lnTo>
                      <a:pt x="325" y="850"/>
                    </a:lnTo>
                    <a:lnTo>
                      <a:pt x="323" y="850"/>
                    </a:lnTo>
                    <a:lnTo>
                      <a:pt x="321" y="850"/>
                    </a:lnTo>
                    <a:lnTo>
                      <a:pt x="321" y="852"/>
                    </a:lnTo>
                    <a:lnTo>
                      <a:pt x="320" y="852"/>
                    </a:lnTo>
                    <a:lnTo>
                      <a:pt x="318" y="850"/>
                    </a:lnTo>
                    <a:lnTo>
                      <a:pt x="316" y="849"/>
                    </a:lnTo>
                    <a:lnTo>
                      <a:pt x="316" y="847"/>
                    </a:lnTo>
                    <a:lnTo>
                      <a:pt x="315" y="847"/>
                    </a:lnTo>
                    <a:lnTo>
                      <a:pt x="315" y="845"/>
                    </a:lnTo>
                    <a:lnTo>
                      <a:pt x="316" y="844"/>
                    </a:lnTo>
                    <a:lnTo>
                      <a:pt x="315" y="842"/>
                    </a:lnTo>
                    <a:lnTo>
                      <a:pt x="316" y="842"/>
                    </a:lnTo>
                    <a:lnTo>
                      <a:pt x="316" y="840"/>
                    </a:lnTo>
                    <a:lnTo>
                      <a:pt x="315" y="840"/>
                    </a:lnTo>
                    <a:lnTo>
                      <a:pt x="315" y="839"/>
                    </a:lnTo>
                    <a:lnTo>
                      <a:pt x="313" y="839"/>
                    </a:lnTo>
                    <a:lnTo>
                      <a:pt x="313" y="837"/>
                    </a:lnTo>
                    <a:lnTo>
                      <a:pt x="311" y="837"/>
                    </a:lnTo>
                    <a:lnTo>
                      <a:pt x="311" y="835"/>
                    </a:lnTo>
                    <a:lnTo>
                      <a:pt x="309" y="835"/>
                    </a:lnTo>
                    <a:lnTo>
                      <a:pt x="308" y="835"/>
                    </a:lnTo>
                    <a:lnTo>
                      <a:pt x="306" y="835"/>
                    </a:lnTo>
                    <a:lnTo>
                      <a:pt x="306" y="833"/>
                    </a:lnTo>
                    <a:lnTo>
                      <a:pt x="304" y="833"/>
                    </a:lnTo>
                    <a:lnTo>
                      <a:pt x="303" y="835"/>
                    </a:lnTo>
                    <a:lnTo>
                      <a:pt x="301" y="835"/>
                    </a:lnTo>
                    <a:lnTo>
                      <a:pt x="299" y="835"/>
                    </a:lnTo>
                    <a:lnTo>
                      <a:pt x="299" y="837"/>
                    </a:lnTo>
                    <a:lnTo>
                      <a:pt x="298" y="837"/>
                    </a:lnTo>
                    <a:lnTo>
                      <a:pt x="298" y="839"/>
                    </a:lnTo>
                    <a:lnTo>
                      <a:pt x="296" y="839"/>
                    </a:lnTo>
                    <a:lnTo>
                      <a:pt x="296" y="840"/>
                    </a:lnTo>
                    <a:lnTo>
                      <a:pt x="294" y="840"/>
                    </a:lnTo>
                    <a:lnTo>
                      <a:pt x="292" y="840"/>
                    </a:lnTo>
                    <a:lnTo>
                      <a:pt x="291" y="840"/>
                    </a:lnTo>
                    <a:lnTo>
                      <a:pt x="291" y="842"/>
                    </a:lnTo>
                    <a:lnTo>
                      <a:pt x="291" y="844"/>
                    </a:lnTo>
                    <a:lnTo>
                      <a:pt x="289" y="844"/>
                    </a:lnTo>
                    <a:lnTo>
                      <a:pt x="289" y="845"/>
                    </a:lnTo>
                    <a:lnTo>
                      <a:pt x="289" y="847"/>
                    </a:lnTo>
                    <a:lnTo>
                      <a:pt x="291" y="847"/>
                    </a:lnTo>
                    <a:lnTo>
                      <a:pt x="291" y="849"/>
                    </a:lnTo>
                    <a:lnTo>
                      <a:pt x="291" y="847"/>
                    </a:lnTo>
                    <a:lnTo>
                      <a:pt x="292" y="847"/>
                    </a:lnTo>
                    <a:lnTo>
                      <a:pt x="292" y="849"/>
                    </a:lnTo>
                    <a:lnTo>
                      <a:pt x="294" y="849"/>
                    </a:lnTo>
                    <a:lnTo>
                      <a:pt x="294" y="850"/>
                    </a:lnTo>
                    <a:lnTo>
                      <a:pt x="296" y="850"/>
                    </a:lnTo>
                    <a:lnTo>
                      <a:pt x="298" y="850"/>
                    </a:lnTo>
                    <a:lnTo>
                      <a:pt x="299" y="852"/>
                    </a:lnTo>
                    <a:lnTo>
                      <a:pt x="301" y="852"/>
                    </a:lnTo>
                    <a:lnTo>
                      <a:pt x="301" y="854"/>
                    </a:lnTo>
                    <a:lnTo>
                      <a:pt x="303" y="854"/>
                    </a:lnTo>
                    <a:lnTo>
                      <a:pt x="304" y="854"/>
                    </a:lnTo>
                    <a:lnTo>
                      <a:pt x="306" y="854"/>
                    </a:lnTo>
                    <a:lnTo>
                      <a:pt x="306" y="856"/>
                    </a:lnTo>
                    <a:lnTo>
                      <a:pt x="308" y="856"/>
                    </a:lnTo>
                    <a:lnTo>
                      <a:pt x="309" y="856"/>
                    </a:lnTo>
                    <a:lnTo>
                      <a:pt x="311" y="856"/>
                    </a:lnTo>
                    <a:lnTo>
                      <a:pt x="313" y="854"/>
                    </a:lnTo>
                    <a:lnTo>
                      <a:pt x="313" y="856"/>
                    </a:lnTo>
                    <a:lnTo>
                      <a:pt x="313" y="857"/>
                    </a:lnTo>
                    <a:lnTo>
                      <a:pt x="311" y="857"/>
                    </a:lnTo>
                    <a:lnTo>
                      <a:pt x="311" y="859"/>
                    </a:lnTo>
                    <a:lnTo>
                      <a:pt x="309" y="859"/>
                    </a:lnTo>
                    <a:lnTo>
                      <a:pt x="309" y="861"/>
                    </a:lnTo>
                    <a:lnTo>
                      <a:pt x="308" y="861"/>
                    </a:lnTo>
                    <a:lnTo>
                      <a:pt x="306" y="861"/>
                    </a:lnTo>
                    <a:lnTo>
                      <a:pt x="304" y="862"/>
                    </a:lnTo>
                    <a:lnTo>
                      <a:pt x="303" y="862"/>
                    </a:lnTo>
                    <a:lnTo>
                      <a:pt x="301" y="864"/>
                    </a:lnTo>
                    <a:lnTo>
                      <a:pt x="298" y="864"/>
                    </a:lnTo>
                    <a:lnTo>
                      <a:pt x="294" y="866"/>
                    </a:lnTo>
                    <a:lnTo>
                      <a:pt x="294" y="867"/>
                    </a:lnTo>
                    <a:lnTo>
                      <a:pt x="291" y="869"/>
                    </a:lnTo>
                    <a:lnTo>
                      <a:pt x="289" y="871"/>
                    </a:lnTo>
                    <a:lnTo>
                      <a:pt x="289" y="873"/>
                    </a:lnTo>
                    <a:lnTo>
                      <a:pt x="287" y="874"/>
                    </a:lnTo>
                    <a:lnTo>
                      <a:pt x="289" y="874"/>
                    </a:lnTo>
                    <a:lnTo>
                      <a:pt x="289" y="876"/>
                    </a:lnTo>
                    <a:lnTo>
                      <a:pt x="287" y="876"/>
                    </a:lnTo>
                    <a:lnTo>
                      <a:pt x="287" y="878"/>
                    </a:lnTo>
                    <a:lnTo>
                      <a:pt x="286" y="878"/>
                    </a:lnTo>
                    <a:lnTo>
                      <a:pt x="286" y="879"/>
                    </a:lnTo>
                    <a:lnTo>
                      <a:pt x="284" y="879"/>
                    </a:lnTo>
                    <a:lnTo>
                      <a:pt x="284" y="881"/>
                    </a:lnTo>
                    <a:lnTo>
                      <a:pt x="284" y="883"/>
                    </a:lnTo>
                    <a:lnTo>
                      <a:pt x="282" y="883"/>
                    </a:lnTo>
                    <a:lnTo>
                      <a:pt x="282" y="884"/>
                    </a:lnTo>
                    <a:lnTo>
                      <a:pt x="281" y="884"/>
                    </a:lnTo>
                    <a:lnTo>
                      <a:pt x="281" y="886"/>
                    </a:lnTo>
                    <a:lnTo>
                      <a:pt x="279" y="886"/>
                    </a:lnTo>
                    <a:lnTo>
                      <a:pt x="279" y="888"/>
                    </a:lnTo>
                    <a:lnTo>
                      <a:pt x="279" y="890"/>
                    </a:lnTo>
                    <a:lnTo>
                      <a:pt x="279" y="891"/>
                    </a:lnTo>
                    <a:lnTo>
                      <a:pt x="279" y="893"/>
                    </a:lnTo>
                    <a:lnTo>
                      <a:pt x="279" y="895"/>
                    </a:lnTo>
                    <a:lnTo>
                      <a:pt x="279" y="896"/>
                    </a:lnTo>
                    <a:lnTo>
                      <a:pt x="279" y="898"/>
                    </a:lnTo>
                    <a:lnTo>
                      <a:pt x="279" y="900"/>
                    </a:lnTo>
                    <a:lnTo>
                      <a:pt x="281" y="900"/>
                    </a:lnTo>
                    <a:lnTo>
                      <a:pt x="281" y="901"/>
                    </a:lnTo>
                    <a:lnTo>
                      <a:pt x="281" y="903"/>
                    </a:lnTo>
                    <a:lnTo>
                      <a:pt x="282" y="903"/>
                    </a:lnTo>
                    <a:lnTo>
                      <a:pt x="281" y="903"/>
                    </a:lnTo>
                    <a:lnTo>
                      <a:pt x="282" y="905"/>
                    </a:lnTo>
                    <a:lnTo>
                      <a:pt x="282" y="907"/>
                    </a:lnTo>
                    <a:lnTo>
                      <a:pt x="284" y="905"/>
                    </a:lnTo>
                    <a:lnTo>
                      <a:pt x="282" y="907"/>
                    </a:lnTo>
                    <a:lnTo>
                      <a:pt x="282" y="908"/>
                    </a:lnTo>
                    <a:lnTo>
                      <a:pt x="282" y="910"/>
                    </a:lnTo>
                    <a:lnTo>
                      <a:pt x="282" y="912"/>
                    </a:lnTo>
                    <a:lnTo>
                      <a:pt x="281" y="910"/>
                    </a:lnTo>
                    <a:lnTo>
                      <a:pt x="281" y="912"/>
                    </a:lnTo>
                    <a:lnTo>
                      <a:pt x="279" y="912"/>
                    </a:lnTo>
                    <a:lnTo>
                      <a:pt x="279" y="913"/>
                    </a:lnTo>
                    <a:lnTo>
                      <a:pt x="279" y="915"/>
                    </a:lnTo>
                    <a:lnTo>
                      <a:pt x="281" y="915"/>
                    </a:lnTo>
                    <a:lnTo>
                      <a:pt x="281" y="917"/>
                    </a:lnTo>
                    <a:lnTo>
                      <a:pt x="281" y="918"/>
                    </a:lnTo>
                    <a:lnTo>
                      <a:pt x="282" y="918"/>
                    </a:lnTo>
                    <a:lnTo>
                      <a:pt x="281" y="920"/>
                    </a:lnTo>
                    <a:lnTo>
                      <a:pt x="282" y="920"/>
                    </a:lnTo>
                    <a:lnTo>
                      <a:pt x="282" y="922"/>
                    </a:lnTo>
                    <a:lnTo>
                      <a:pt x="281" y="922"/>
                    </a:lnTo>
                    <a:lnTo>
                      <a:pt x="281" y="924"/>
                    </a:lnTo>
                    <a:lnTo>
                      <a:pt x="279" y="924"/>
                    </a:lnTo>
                    <a:lnTo>
                      <a:pt x="279" y="925"/>
                    </a:lnTo>
                    <a:lnTo>
                      <a:pt x="279" y="927"/>
                    </a:lnTo>
                    <a:lnTo>
                      <a:pt x="281" y="927"/>
                    </a:lnTo>
                    <a:lnTo>
                      <a:pt x="281" y="929"/>
                    </a:lnTo>
                    <a:lnTo>
                      <a:pt x="279" y="929"/>
                    </a:lnTo>
                    <a:lnTo>
                      <a:pt x="277" y="929"/>
                    </a:lnTo>
                    <a:lnTo>
                      <a:pt x="277" y="930"/>
                    </a:lnTo>
                    <a:lnTo>
                      <a:pt x="277" y="932"/>
                    </a:lnTo>
                    <a:lnTo>
                      <a:pt x="277" y="930"/>
                    </a:lnTo>
                    <a:lnTo>
                      <a:pt x="277" y="932"/>
                    </a:lnTo>
                    <a:lnTo>
                      <a:pt x="275" y="930"/>
                    </a:lnTo>
                    <a:lnTo>
                      <a:pt x="274" y="930"/>
                    </a:lnTo>
                    <a:lnTo>
                      <a:pt x="274" y="932"/>
                    </a:lnTo>
                    <a:lnTo>
                      <a:pt x="272" y="932"/>
                    </a:lnTo>
                    <a:lnTo>
                      <a:pt x="272" y="934"/>
                    </a:lnTo>
                    <a:lnTo>
                      <a:pt x="270" y="934"/>
                    </a:lnTo>
                    <a:lnTo>
                      <a:pt x="269" y="935"/>
                    </a:lnTo>
                    <a:lnTo>
                      <a:pt x="267" y="937"/>
                    </a:lnTo>
                    <a:lnTo>
                      <a:pt x="267" y="939"/>
                    </a:lnTo>
                    <a:lnTo>
                      <a:pt x="267" y="941"/>
                    </a:lnTo>
                    <a:lnTo>
                      <a:pt x="267" y="942"/>
                    </a:lnTo>
                    <a:lnTo>
                      <a:pt x="265" y="942"/>
                    </a:lnTo>
                    <a:lnTo>
                      <a:pt x="265" y="944"/>
                    </a:lnTo>
                    <a:lnTo>
                      <a:pt x="265" y="946"/>
                    </a:lnTo>
                    <a:lnTo>
                      <a:pt x="267" y="946"/>
                    </a:lnTo>
                    <a:lnTo>
                      <a:pt x="269" y="946"/>
                    </a:lnTo>
                    <a:lnTo>
                      <a:pt x="270" y="947"/>
                    </a:lnTo>
                    <a:lnTo>
                      <a:pt x="270" y="946"/>
                    </a:lnTo>
                    <a:lnTo>
                      <a:pt x="270" y="947"/>
                    </a:lnTo>
                    <a:lnTo>
                      <a:pt x="272" y="947"/>
                    </a:lnTo>
                    <a:lnTo>
                      <a:pt x="272" y="949"/>
                    </a:lnTo>
                    <a:lnTo>
                      <a:pt x="270" y="949"/>
                    </a:lnTo>
                    <a:lnTo>
                      <a:pt x="270" y="951"/>
                    </a:lnTo>
                    <a:lnTo>
                      <a:pt x="269" y="951"/>
                    </a:lnTo>
                    <a:lnTo>
                      <a:pt x="269" y="952"/>
                    </a:lnTo>
                    <a:lnTo>
                      <a:pt x="270" y="952"/>
                    </a:lnTo>
                    <a:lnTo>
                      <a:pt x="269" y="952"/>
                    </a:lnTo>
                    <a:lnTo>
                      <a:pt x="269" y="954"/>
                    </a:lnTo>
                    <a:lnTo>
                      <a:pt x="269" y="952"/>
                    </a:lnTo>
                    <a:lnTo>
                      <a:pt x="267" y="952"/>
                    </a:lnTo>
                    <a:lnTo>
                      <a:pt x="267" y="954"/>
                    </a:lnTo>
                    <a:lnTo>
                      <a:pt x="265" y="952"/>
                    </a:lnTo>
                    <a:lnTo>
                      <a:pt x="264" y="952"/>
                    </a:lnTo>
                    <a:lnTo>
                      <a:pt x="262" y="952"/>
                    </a:lnTo>
                    <a:lnTo>
                      <a:pt x="264" y="952"/>
                    </a:lnTo>
                    <a:lnTo>
                      <a:pt x="262" y="952"/>
                    </a:lnTo>
                    <a:lnTo>
                      <a:pt x="262" y="951"/>
                    </a:lnTo>
                    <a:lnTo>
                      <a:pt x="260" y="951"/>
                    </a:lnTo>
                    <a:lnTo>
                      <a:pt x="260" y="952"/>
                    </a:lnTo>
                    <a:lnTo>
                      <a:pt x="258" y="952"/>
                    </a:lnTo>
                    <a:lnTo>
                      <a:pt x="258" y="954"/>
                    </a:lnTo>
                    <a:lnTo>
                      <a:pt x="257" y="954"/>
                    </a:lnTo>
                    <a:lnTo>
                      <a:pt x="257" y="952"/>
                    </a:lnTo>
                    <a:lnTo>
                      <a:pt x="255" y="951"/>
                    </a:lnTo>
                    <a:lnTo>
                      <a:pt x="253" y="951"/>
                    </a:lnTo>
                    <a:lnTo>
                      <a:pt x="252" y="951"/>
                    </a:lnTo>
                    <a:lnTo>
                      <a:pt x="250" y="951"/>
                    </a:lnTo>
                    <a:lnTo>
                      <a:pt x="248" y="952"/>
                    </a:lnTo>
                    <a:lnTo>
                      <a:pt x="247" y="954"/>
                    </a:lnTo>
                    <a:lnTo>
                      <a:pt x="245" y="954"/>
                    </a:lnTo>
                    <a:lnTo>
                      <a:pt x="245" y="952"/>
                    </a:lnTo>
                    <a:lnTo>
                      <a:pt x="243" y="954"/>
                    </a:lnTo>
                    <a:lnTo>
                      <a:pt x="245" y="954"/>
                    </a:lnTo>
                    <a:lnTo>
                      <a:pt x="243" y="954"/>
                    </a:lnTo>
                    <a:lnTo>
                      <a:pt x="241" y="954"/>
                    </a:lnTo>
                    <a:lnTo>
                      <a:pt x="240" y="954"/>
                    </a:lnTo>
                    <a:lnTo>
                      <a:pt x="240" y="956"/>
                    </a:lnTo>
                    <a:lnTo>
                      <a:pt x="238" y="958"/>
                    </a:lnTo>
                    <a:lnTo>
                      <a:pt x="238" y="959"/>
                    </a:lnTo>
                    <a:lnTo>
                      <a:pt x="240" y="958"/>
                    </a:lnTo>
                    <a:lnTo>
                      <a:pt x="240" y="959"/>
                    </a:lnTo>
                    <a:lnTo>
                      <a:pt x="238" y="959"/>
                    </a:lnTo>
                    <a:lnTo>
                      <a:pt x="238" y="958"/>
                    </a:lnTo>
                    <a:lnTo>
                      <a:pt x="236" y="958"/>
                    </a:lnTo>
                    <a:lnTo>
                      <a:pt x="236" y="959"/>
                    </a:lnTo>
                    <a:lnTo>
                      <a:pt x="238" y="959"/>
                    </a:lnTo>
                    <a:lnTo>
                      <a:pt x="238" y="961"/>
                    </a:lnTo>
                    <a:lnTo>
                      <a:pt x="238" y="963"/>
                    </a:lnTo>
                    <a:lnTo>
                      <a:pt x="238" y="961"/>
                    </a:lnTo>
                    <a:lnTo>
                      <a:pt x="236" y="961"/>
                    </a:lnTo>
                    <a:lnTo>
                      <a:pt x="235" y="961"/>
                    </a:lnTo>
                    <a:lnTo>
                      <a:pt x="233" y="961"/>
                    </a:lnTo>
                    <a:lnTo>
                      <a:pt x="233" y="963"/>
                    </a:lnTo>
                    <a:lnTo>
                      <a:pt x="231" y="963"/>
                    </a:lnTo>
                    <a:lnTo>
                      <a:pt x="230" y="963"/>
                    </a:lnTo>
                    <a:lnTo>
                      <a:pt x="228" y="963"/>
                    </a:lnTo>
                    <a:lnTo>
                      <a:pt x="226" y="963"/>
                    </a:lnTo>
                    <a:lnTo>
                      <a:pt x="224" y="964"/>
                    </a:lnTo>
                    <a:lnTo>
                      <a:pt x="223" y="966"/>
                    </a:lnTo>
                    <a:lnTo>
                      <a:pt x="221" y="966"/>
                    </a:lnTo>
                    <a:lnTo>
                      <a:pt x="221" y="968"/>
                    </a:lnTo>
                    <a:lnTo>
                      <a:pt x="219" y="969"/>
                    </a:lnTo>
                    <a:lnTo>
                      <a:pt x="218" y="971"/>
                    </a:lnTo>
                    <a:lnTo>
                      <a:pt x="218" y="973"/>
                    </a:lnTo>
                    <a:lnTo>
                      <a:pt x="216" y="975"/>
                    </a:lnTo>
                    <a:lnTo>
                      <a:pt x="214" y="976"/>
                    </a:lnTo>
                    <a:lnTo>
                      <a:pt x="214" y="978"/>
                    </a:lnTo>
                    <a:lnTo>
                      <a:pt x="213" y="978"/>
                    </a:lnTo>
                    <a:lnTo>
                      <a:pt x="213" y="980"/>
                    </a:lnTo>
                    <a:lnTo>
                      <a:pt x="211" y="980"/>
                    </a:lnTo>
                    <a:lnTo>
                      <a:pt x="211" y="981"/>
                    </a:lnTo>
                    <a:lnTo>
                      <a:pt x="211" y="983"/>
                    </a:lnTo>
                    <a:lnTo>
                      <a:pt x="211" y="985"/>
                    </a:lnTo>
                    <a:lnTo>
                      <a:pt x="211" y="987"/>
                    </a:lnTo>
                    <a:lnTo>
                      <a:pt x="209" y="987"/>
                    </a:lnTo>
                    <a:lnTo>
                      <a:pt x="211" y="988"/>
                    </a:lnTo>
                    <a:lnTo>
                      <a:pt x="209" y="988"/>
                    </a:lnTo>
                    <a:lnTo>
                      <a:pt x="211" y="990"/>
                    </a:lnTo>
                    <a:lnTo>
                      <a:pt x="209" y="990"/>
                    </a:lnTo>
                    <a:lnTo>
                      <a:pt x="207" y="990"/>
                    </a:lnTo>
                    <a:lnTo>
                      <a:pt x="207" y="992"/>
                    </a:lnTo>
                    <a:lnTo>
                      <a:pt x="206" y="992"/>
                    </a:lnTo>
                    <a:lnTo>
                      <a:pt x="207" y="993"/>
                    </a:lnTo>
                    <a:lnTo>
                      <a:pt x="206" y="993"/>
                    </a:lnTo>
                    <a:lnTo>
                      <a:pt x="206" y="995"/>
                    </a:lnTo>
                    <a:lnTo>
                      <a:pt x="204" y="995"/>
                    </a:lnTo>
                    <a:lnTo>
                      <a:pt x="204" y="997"/>
                    </a:lnTo>
                    <a:lnTo>
                      <a:pt x="204" y="998"/>
                    </a:lnTo>
                    <a:lnTo>
                      <a:pt x="202" y="998"/>
                    </a:lnTo>
                    <a:lnTo>
                      <a:pt x="202" y="1000"/>
                    </a:lnTo>
                    <a:lnTo>
                      <a:pt x="202" y="1002"/>
                    </a:lnTo>
                    <a:lnTo>
                      <a:pt x="201" y="1002"/>
                    </a:lnTo>
                    <a:lnTo>
                      <a:pt x="202" y="1002"/>
                    </a:lnTo>
                    <a:lnTo>
                      <a:pt x="201" y="1004"/>
                    </a:lnTo>
                    <a:lnTo>
                      <a:pt x="201" y="1005"/>
                    </a:lnTo>
                    <a:lnTo>
                      <a:pt x="201" y="1007"/>
                    </a:lnTo>
                    <a:lnTo>
                      <a:pt x="202" y="1009"/>
                    </a:lnTo>
                    <a:lnTo>
                      <a:pt x="202" y="1012"/>
                    </a:lnTo>
                    <a:lnTo>
                      <a:pt x="202" y="1014"/>
                    </a:lnTo>
                    <a:lnTo>
                      <a:pt x="202" y="1015"/>
                    </a:lnTo>
                    <a:lnTo>
                      <a:pt x="204" y="1017"/>
                    </a:lnTo>
                    <a:lnTo>
                      <a:pt x="204" y="1019"/>
                    </a:lnTo>
                    <a:lnTo>
                      <a:pt x="206" y="1021"/>
                    </a:lnTo>
                    <a:lnTo>
                      <a:pt x="206" y="1022"/>
                    </a:lnTo>
                    <a:lnTo>
                      <a:pt x="206" y="1024"/>
                    </a:lnTo>
                    <a:lnTo>
                      <a:pt x="207" y="1024"/>
                    </a:lnTo>
                    <a:lnTo>
                      <a:pt x="207" y="1027"/>
                    </a:lnTo>
                    <a:lnTo>
                      <a:pt x="209" y="1027"/>
                    </a:lnTo>
                    <a:lnTo>
                      <a:pt x="209" y="1029"/>
                    </a:lnTo>
                    <a:lnTo>
                      <a:pt x="211" y="1029"/>
                    </a:lnTo>
                    <a:lnTo>
                      <a:pt x="211" y="1031"/>
                    </a:lnTo>
                    <a:lnTo>
                      <a:pt x="213" y="1031"/>
                    </a:lnTo>
                    <a:lnTo>
                      <a:pt x="214" y="1031"/>
                    </a:lnTo>
                    <a:lnTo>
                      <a:pt x="214" y="1032"/>
                    </a:lnTo>
                    <a:lnTo>
                      <a:pt x="216" y="1032"/>
                    </a:lnTo>
                    <a:lnTo>
                      <a:pt x="218" y="1034"/>
                    </a:lnTo>
                    <a:lnTo>
                      <a:pt x="219" y="1036"/>
                    </a:lnTo>
                    <a:lnTo>
                      <a:pt x="219" y="1038"/>
                    </a:lnTo>
                    <a:lnTo>
                      <a:pt x="221" y="1038"/>
                    </a:lnTo>
                    <a:lnTo>
                      <a:pt x="221" y="1039"/>
                    </a:lnTo>
                    <a:lnTo>
                      <a:pt x="223" y="1041"/>
                    </a:lnTo>
                    <a:lnTo>
                      <a:pt x="224" y="1043"/>
                    </a:lnTo>
                    <a:lnTo>
                      <a:pt x="226" y="1044"/>
                    </a:lnTo>
                    <a:lnTo>
                      <a:pt x="228" y="1046"/>
                    </a:lnTo>
                    <a:lnTo>
                      <a:pt x="228" y="1048"/>
                    </a:lnTo>
                    <a:lnTo>
                      <a:pt x="230" y="1048"/>
                    </a:lnTo>
                    <a:lnTo>
                      <a:pt x="230" y="1049"/>
                    </a:lnTo>
                    <a:lnTo>
                      <a:pt x="231" y="1049"/>
                    </a:lnTo>
                    <a:lnTo>
                      <a:pt x="233" y="1049"/>
                    </a:lnTo>
                    <a:lnTo>
                      <a:pt x="235" y="1051"/>
                    </a:lnTo>
                    <a:lnTo>
                      <a:pt x="236" y="1051"/>
                    </a:lnTo>
                    <a:lnTo>
                      <a:pt x="238" y="1051"/>
                    </a:lnTo>
                    <a:lnTo>
                      <a:pt x="240" y="1051"/>
                    </a:lnTo>
                    <a:lnTo>
                      <a:pt x="241" y="1051"/>
                    </a:lnTo>
                    <a:lnTo>
                      <a:pt x="243" y="1051"/>
                    </a:lnTo>
                    <a:lnTo>
                      <a:pt x="245" y="1051"/>
                    </a:lnTo>
                    <a:lnTo>
                      <a:pt x="245" y="1053"/>
                    </a:lnTo>
                    <a:lnTo>
                      <a:pt x="247" y="1053"/>
                    </a:lnTo>
                    <a:lnTo>
                      <a:pt x="248" y="1053"/>
                    </a:lnTo>
                    <a:lnTo>
                      <a:pt x="250" y="1053"/>
                    </a:lnTo>
                    <a:lnTo>
                      <a:pt x="252" y="1053"/>
                    </a:lnTo>
                    <a:lnTo>
                      <a:pt x="253" y="1053"/>
                    </a:lnTo>
                    <a:lnTo>
                      <a:pt x="255" y="1053"/>
                    </a:lnTo>
                    <a:lnTo>
                      <a:pt x="257" y="1053"/>
                    </a:lnTo>
                    <a:lnTo>
                      <a:pt x="258" y="1053"/>
                    </a:lnTo>
                    <a:lnTo>
                      <a:pt x="260" y="1053"/>
                    </a:lnTo>
                    <a:lnTo>
                      <a:pt x="262" y="1055"/>
                    </a:lnTo>
                    <a:lnTo>
                      <a:pt x="262" y="1056"/>
                    </a:lnTo>
                    <a:lnTo>
                      <a:pt x="264" y="1056"/>
                    </a:lnTo>
                    <a:lnTo>
                      <a:pt x="265" y="1058"/>
                    </a:lnTo>
                    <a:lnTo>
                      <a:pt x="265" y="1060"/>
                    </a:lnTo>
                    <a:lnTo>
                      <a:pt x="265" y="1061"/>
                    </a:lnTo>
                    <a:lnTo>
                      <a:pt x="265" y="1063"/>
                    </a:lnTo>
                    <a:lnTo>
                      <a:pt x="265" y="1065"/>
                    </a:lnTo>
                    <a:lnTo>
                      <a:pt x="265" y="1066"/>
                    </a:lnTo>
                    <a:lnTo>
                      <a:pt x="265" y="1068"/>
                    </a:lnTo>
                    <a:lnTo>
                      <a:pt x="265" y="1070"/>
                    </a:lnTo>
                    <a:lnTo>
                      <a:pt x="265" y="1072"/>
                    </a:lnTo>
                    <a:lnTo>
                      <a:pt x="265" y="1073"/>
                    </a:lnTo>
                    <a:lnTo>
                      <a:pt x="265" y="1075"/>
                    </a:lnTo>
                    <a:lnTo>
                      <a:pt x="265" y="1077"/>
                    </a:lnTo>
                    <a:lnTo>
                      <a:pt x="264" y="1077"/>
                    </a:lnTo>
                    <a:lnTo>
                      <a:pt x="264" y="1078"/>
                    </a:lnTo>
                    <a:lnTo>
                      <a:pt x="264" y="1080"/>
                    </a:lnTo>
                    <a:lnTo>
                      <a:pt x="262" y="1082"/>
                    </a:lnTo>
                    <a:lnTo>
                      <a:pt x="262" y="1083"/>
                    </a:lnTo>
                    <a:lnTo>
                      <a:pt x="262" y="1085"/>
                    </a:lnTo>
                    <a:lnTo>
                      <a:pt x="260" y="1087"/>
                    </a:lnTo>
                    <a:lnTo>
                      <a:pt x="260" y="1089"/>
                    </a:lnTo>
                    <a:lnTo>
                      <a:pt x="260" y="1090"/>
                    </a:lnTo>
                    <a:lnTo>
                      <a:pt x="260" y="1092"/>
                    </a:lnTo>
                    <a:lnTo>
                      <a:pt x="262" y="1092"/>
                    </a:lnTo>
                    <a:lnTo>
                      <a:pt x="262" y="1094"/>
                    </a:lnTo>
                    <a:lnTo>
                      <a:pt x="264" y="1094"/>
                    </a:lnTo>
                    <a:lnTo>
                      <a:pt x="264" y="1095"/>
                    </a:lnTo>
                    <a:lnTo>
                      <a:pt x="262" y="1097"/>
                    </a:lnTo>
                    <a:lnTo>
                      <a:pt x="262" y="1095"/>
                    </a:lnTo>
                    <a:lnTo>
                      <a:pt x="260" y="1095"/>
                    </a:lnTo>
                    <a:lnTo>
                      <a:pt x="258" y="1095"/>
                    </a:lnTo>
                    <a:lnTo>
                      <a:pt x="258" y="1097"/>
                    </a:lnTo>
                    <a:lnTo>
                      <a:pt x="258" y="1099"/>
                    </a:lnTo>
                    <a:lnTo>
                      <a:pt x="258" y="1100"/>
                    </a:lnTo>
                    <a:lnTo>
                      <a:pt x="257" y="1100"/>
                    </a:lnTo>
                    <a:lnTo>
                      <a:pt x="257" y="1102"/>
                    </a:lnTo>
                    <a:lnTo>
                      <a:pt x="258" y="1102"/>
                    </a:lnTo>
                    <a:lnTo>
                      <a:pt x="260" y="1102"/>
                    </a:lnTo>
                    <a:lnTo>
                      <a:pt x="260" y="1104"/>
                    </a:lnTo>
                    <a:lnTo>
                      <a:pt x="258" y="1104"/>
                    </a:lnTo>
                    <a:lnTo>
                      <a:pt x="260" y="1104"/>
                    </a:lnTo>
                    <a:lnTo>
                      <a:pt x="258" y="1104"/>
                    </a:lnTo>
                    <a:lnTo>
                      <a:pt x="257" y="1104"/>
                    </a:lnTo>
                    <a:lnTo>
                      <a:pt x="255" y="1104"/>
                    </a:lnTo>
                    <a:lnTo>
                      <a:pt x="253" y="1104"/>
                    </a:lnTo>
                    <a:lnTo>
                      <a:pt x="252" y="1104"/>
                    </a:lnTo>
                    <a:lnTo>
                      <a:pt x="252" y="1106"/>
                    </a:lnTo>
                    <a:lnTo>
                      <a:pt x="252" y="1107"/>
                    </a:lnTo>
                    <a:lnTo>
                      <a:pt x="250" y="1107"/>
                    </a:lnTo>
                    <a:lnTo>
                      <a:pt x="252" y="1109"/>
                    </a:lnTo>
                    <a:lnTo>
                      <a:pt x="250" y="1109"/>
                    </a:lnTo>
                    <a:lnTo>
                      <a:pt x="248" y="1109"/>
                    </a:lnTo>
                    <a:lnTo>
                      <a:pt x="247" y="1111"/>
                    </a:lnTo>
                    <a:lnTo>
                      <a:pt x="247" y="1112"/>
                    </a:lnTo>
                    <a:lnTo>
                      <a:pt x="245" y="1112"/>
                    </a:lnTo>
                    <a:lnTo>
                      <a:pt x="245" y="1114"/>
                    </a:lnTo>
                    <a:lnTo>
                      <a:pt x="245" y="1116"/>
                    </a:lnTo>
                    <a:lnTo>
                      <a:pt x="245" y="1117"/>
                    </a:lnTo>
                    <a:lnTo>
                      <a:pt x="245" y="1116"/>
                    </a:lnTo>
                    <a:lnTo>
                      <a:pt x="245" y="1117"/>
                    </a:lnTo>
                    <a:lnTo>
                      <a:pt x="243" y="1116"/>
                    </a:lnTo>
                    <a:lnTo>
                      <a:pt x="241" y="1116"/>
                    </a:lnTo>
                    <a:lnTo>
                      <a:pt x="240" y="1117"/>
                    </a:lnTo>
                    <a:lnTo>
                      <a:pt x="240" y="1119"/>
                    </a:lnTo>
                    <a:lnTo>
                      <a:pt x="238" y="1119"/>
                    </a:lnTo>
                    <a:lnTo>
                      <a:pt x="238" y="1121"/>
                    </a:lnTo>
                    <a:lnTo>
                      <a:pt x="238" y="1119"/>
                    </a:lnTo>
                    <a:lnTo>
                      <a:pt x="236" y="1119"/>
                    </a:lnTo>
                    <a:lnTo>
                      <a:pt x="235" y="1121"/>
                    </a:lnTo>
                    <a:lnTo>
                      <a:pt x="233" y="1121"/>
                    </a:lnTo>
                    <a:lnTo>
                      <a:pt x="231" y="1123"/>
                    </a:lnTo>
                    <a:lnTo>
                      <a:pt x="230" y="1124"/>
                    </a:lnTo>
                    <a:lnTo>
                      <a:pt x="228" y="1124"/>
                    </a:lnTo>
                    <a:lnTo>
                      <a:pt x="228" y="1126"/>
                    </a:lnTo>
                    <a:lnTo>
                      <a:pt x="226" y="1128"/>
                    </a:lnTo>
                    <a:lnTo>
                      <a:pt x="226" y="1129"/>
                    </a:lnTo>
                    <a:lnTo>
                      <a:pt x="224" y="1129"/>
                    </a:lnTo>
                    <a:lnTo>
                      <a:pt x="223" y="1129"/>
                    </a:lnTo>
                    <a:lnTo>
                      <a:pt x="221" y="1131"/>
                    </a:lnTo>
                    <a:lnTo>
                      <a:pt x="219" y="1133"/>
                    </a:lnTo>
                    <a:lnTo>
                      <a:pt x="218" y="1133"/>
                    </a:lnTo>
                    <a:lnTo>
                      <a:pt x="218" y="1135"/>
                    </a:lnTo>
                    <a:lnTo>
                      <a:pt x="218" y="1136"/>
                    </a:lnTo>
                    <a:lnTo>
                      <a:pt x="218" y="1138"/>
                    </a:lnTo>
                    <a:lnTo>
                      <a:pt x="216" y="1138"/>
                    </a:lnTo>
                    <a:lnTo>
                      <a:pt x="216" y="1140"/>
                    </a:lnTo>
                    <a:lnTo>
                      <a:pt x="216" y="1141"/>
                    </a:lnTo>
                    <a:lnTo>
                      <a:pt x="214" y="1141"/>
                    </a:lnTo>
                    <a:lnTo>
                      <a:pt x="213" y="1143"/>
                    </a:lnTo>
                    <a:lnTo>
                      <a:pt x="211" y="1143"/>
                    </a:lnTo>
                    <a:lnTo>
                      <a:pt x="209" y="1145"/>
                    </a:lnTo>
                    <a:lnTo>
                      <a:pt x="206" y="1146"/>
                    </a:lnTo>
                    <a:lnTo>
                      <a:pt x="206" y="1148"/>
                    </a:lnTo>
                    <a:lnTo>
                      <a:pt x="204" y="1150"/>
                    </a:lnTo>
                    <a:lnTo>
                      <a:pt x="204" y="1152"/>
                    </a:lnTo>
                    <a:lnTo>
                      <a:pt x="202" y="1152"/>
                    </a:lnTo>
                    <a:lnTo>
                      <a:pt x="202" y="1155"/>
                    </a:lnTo>
                    <a:lnTo>
                      <a:pt x="201" y="1157"/>
                    </a:lnTo>
                    <a:lnTo>
                      <a:pt x="202" y="1158"/>
                    </a:lnTo>
                    <a:lnTo>
                      <a:pt x="201" y="1160"/>
                    </a:lnTo>
                    <a:lnTo>
                      <a:pt x="199" y="1162"/>
                    </a:lnTo>
                    <a:lnTo>
                      <a:pt x="201" y="1162"/>
                    </a:lnTo>
                    <a:lnTo>
                      <a:pt x="199" y="1162"/>
                    </a:lnTo>
                    <a:lnTo>
                      <a:pt x="201" y="1163"/>
                    </a:lnTo>
                    <a:lnTo>
                      <a:pt x="202" y="1162"/>
                    </a:lnTo>
                    <a:lnTo>
                      <a:pt x="202" y="1163"/>
                    </a:lnTo>
                    <a:lnTo>
                      <a:pt x="202" y="1165"/>
                    </a:lnTo>
                    <a:lnTo>
                      <a:pt x="202" y="1167"/>
                    </a:lnTo>
                    <a:lnTo>
                      <a:pt x="201" y="1167"/>
                    </a:lnTo>
                    <a:lnTo>
                      <a:pt x="201" y="1169"/>
                    </a:lnTo>
                    <a:lnTo>
                      <a:pt x="201" y="1170"/>
                    </a:lnTo>
                    <a:lnTo>
                      <a:pt x="201" y="1172"/>
                    </a:lnTo>
                    <a:lnTo>
                      <a:pt x="199" y="1174"/>
                    </a:lnTo>
                    <a:lnTo>
                      <a:pt x="199" y="1175"/>
                    </a:lnTo>
                    <a:lnTo>
                      <a:pt x="199" y="1177"/>
                    </a:lnTo>
                    <a:lnTo>
                      <a:pt x="199" y="1179"/>
                    </a:lnTo>
                    <a:lnTo>
                      <a:pt x="199" y="1180"/>
                    </a:lnTo>
                    <a:lnTo>
                      <a:pt x="199" y="1182"/>
                    </a:lnTo>
                    <a:lnTo>
                      <a:pt x="199" y="1184"/>
                    </a:lnTo>
                    <a:lnTo>
                      <a:pt x="199" y="1186"/>
                    </a:lnTo>
                    <a:lnTo>
                      <a:pt x="199" y="1187"/>
                    </a:lnTo>
                    <a:lnTo>
                      <a:pt x="197" y="1189"/>
                    </a:lnTo>
                    <a:lnTo>
                      <a:pt x="197" y="1191"/>
                    </a:lnTo>
                    <a:lnTo>
                      <a:pt x="197" y="1192"/>
                    </a:lnTo>
                    <a:lnTo>
                      <a:pt x="196" y="1194"/>
                    </a:lnTo>
                    <a:lnTo>
                      <a:pt x="196" y="1196"/>
                    </a:lnTo>
                    <a:lnTo>
                      <a:pt x="196" y="1197"/>
                    </a:lnTo>
                    <a:lnTo>
                      <a:pt x="194" y="1197"/>
                    </a:lnTo>
                    <a:lnTo>
                      <a:pt x="194" y="1199"/>
                    </a:lnTo>
                    <a:lnTo>
                      <a:pt x="194" y="1201"/>
                    </a:lnTo>
                    <a:lnTo>
                      <a:pt x="192" y="1201"/>
                    </a:lnTo>
                    <a:lnTo>
                      <a:pt x="192" y="1203"/>
                    </a:lnTo>
                    <a:lnTo>
                      <a:pt x="190" y="1203"/>
                    </a:lnTo>
                    <a:lnTo>
                      <a:pt x="189" y="1204"/>
                    </a:lnTo>
                    <a:lnTo>
                      <a:pt x="187" y="1204"/>
                    </a:lnTo>
                    <a:lnTo>
                      <a:pt x="187" y="1206"/>
                    </a:lnTo>
                    <a:lnTo>
                      <a:pt x="185" y="1206"/>
                    </a:lnTo>
                    <a:lnTo>
                      <a:pt x="184" y="1208"/>
                    </a:lnTo>
                    <a:lnTo>
                      <a:pt x="182" y="1208"/>
                    </a:lnTo>
                    <a:lnTo>
                      <a:pt x="180" y="1208"/>
                    </a:lnTo>
                    <a:lnTo>
                      <a:pt x="179" y="1208"/>
                    </a:lnTo>
                    <a:lnTo>
                      <a:pt x="177" y="1208"/>
                    </a:lnTo>
                    <a:lnTo>
                      <a:pt x="177" y="1209"/>
                    </a:lnTo>
                    <a:lnTo>
                      <a:pt x="177" y="1211"/>
                    </a:lnTo>
                    <a:lnTo>
                      <a:pt x="175" y="1211"/>
                    </a:lnTo>
                    <a:lnTo>
                      <a:pt x="173" y="1213"/>
                    </a:lnTo>
                    <a:lnTo>
                      <a:pt x="172" y="1213"/>
                    </a:lnTo>
                    <a:lnTo>
                      <a:pt x="170" y="1213"/>
                    </a:lnTo>
                    <a:lnTo>
                      <a:pt x="170" y="1214"/>
                    </a:lnTo>
                    <a:lnTo>
                      <a:pt x="168" y="1214"/>
                    </a:lnTo>
                    <a:lnTo>
                      <a:pt x="167" y="1214"/>
                    </a:lnTo>
                    <a:lnTo>
                      <a:pt x="167" y="1216"/>
                    </a:lnTo>
                    <a:lnTo>
                      <a:pt x="167" y="1214"/>
                    </a:lnTo>
                    <a:lnTo>
                      <a:pt x="167" y="1216"/>
                    </a:lnTo>
                    <a:lnTo>
                      <a:pt x="165" y="1216"/>
                    </a:lnTo>
                    <a:lnTo>
                      <a:pt x="163" y="1216"/>
                    </a:lnTo>
                    <a:lnTo>
                      <a:pt x="162" y="1218"/>
                    </a:lnTo>
                    <a:lnTo>
                      <a:pt x="160" y="1218"/>
                    </a:lnTo>
                    <a:lnTo>
                      <a:pt x="160" y="1220"/>
                    </a:lnTo>
                    <a:lnTo>
                      <a:pt x="158" y="1220"/>
                    </a:lnTo>
                    <a:lnTo>
                      <a:pt x="160" y="1221"/>
                    </a:lnTo>
                    <a:lnTo>
                      <a:pt x="158" y="1221"/>
                    </a:lnTo>
                    <a:lnTo>
                      <a:pt x="156" y="1223"/>
                    </a:lnTo>
                    <a:lnTo>
                      <a:pt x="156" y="1225"/>
                    </a:lnTo>
                    <a:lnTo>
                      <a:pt x="155" y="1225"/>
                    </a:lnTo>
                    <a:lnTo>
                      <a:pt x="155" y="1226"/>
                    </a:lnTo>
                    <a:lnTo>
                      <a:pt x="153" y="1228"/>
                    </a:lnTo>
                    <a:lnTo>
                      <a:pt x="153" y="1230"/>
                    </a:lnTo>
                    <a:lnTo>
                      <a:pt x="153" y="1231"/>
                    </a:lnTo>
                    <a:lnTo>
                      <a:pt x="153" y="1233"/>
                    </a:lnTo>
                    <a:lnTo>
                      <a:pt x="151" y="1233"/>
                    </a:lnTo>
                    <a:lnTo>
                      <a:pt x="151" y="1235"/>
                    </a:lnTo>
                    <a:lnTo>
                      <a:pt x="151" y="1237"/>
                    </a:lnTo>
                    <a:lnTo>
                      <a:pt x="151" y="1238"/>
                    </a:lnTo>
                    <a:lnTo>
                      <a:pt x="150" y="1240"/>
                    </a:lnTo>
                    <a:lnTo>
                      <a:pt x="150" y="1242"/>
                    </a:lnTo>
                    <a:lnTo>
                      <a:pt x="151" y="1243"/>
                    </a:lnTo>
                    <a:lnTo>
                      <a:pt x="151" y="1245"/>
                    </a:lnTo>
                    <a:lnTo>
                      <a:pt x="151" y="1247"/>
                    </a:lnTo>
                    <a:lnTo>
                      <a:pt x="151" y="1248"/>
                    </a:lnTo>
                    <a:lnTo>
                      <a:pt x="150" y="1250"/>
                    </a:lnTo>
                    <a:lnTo>
                      <a:pt x="148" y="1252"/>
                    </a:lnTo>
                    <a:lnTo>
                      <a:pt x="148" y="1254"/>
                    </a:lnTo>
                    <a:lnTo>
                      <a:pt x="150" y="1254"/>
                    </a:lnTo>
                    <a:lnTo>
                      <a:pt x="150" y="1255"/>
                    </a:lnTo>
                    <a:lnTo>
                      <a:pt x="150" y="1257"/>
                    </a:lnTo>
                    <a:lnTo>
                      <a:pt x="150" y="1259"/>
                    </a:lnTo>
                    <a:lnTo>
                      <a:pt x="151" y="1264"/>
                    </a:lnTo>
                    <a:lnTo>
                      <a:pt x="151" y="1265"/>
                    </a:lnTo>
                    <a:lnTo>
                      <a:pt x="153" y="1267"/>
                    </a:lnTo>
                    <a:lnTo>
                      <a:pt x="153" y="1269"/>
                    </a:lnTo>
                    <a:lnTo>
                      <a:pt x="153" y="1271"/>
                    </a:lnTo>
                    <a:lnTo>
                      <a:pt x="155" y="1274"/>
                    </a:lnTo>
                    <a:lnTo>
                      <a:pt x="155" y="1276"/>
                    </a:lnTo>
                    <a:lnTo>
                      <a:pt x="155" y="1279"/>
                    </a:lnTo>
                    <a:lnTo>
                      <a:pt x="156" y="1281"/>
                    </a:lnTo>
                    <a:lnTo>
                      <a:pt x="156" y="1282"/>
                    </a:lnTo>
                    <a:lnTo>
                      <a:pt x="156" y="1284"/>
                    </a:lnTo>
                    <a:lnTo>
                      <a:pt x="156" y="1286"/>
                    </a:lnTo>
                    <a:lnTo>
                      <a:pt x="155" y="1286"/>
                    </a:lnTo>
                    <a:lnTo>
                      <a:pt x="155" y="1288"/>
                    </a:lnTo>
                    <a:lnTo>
                      <a:pt x="156" y="1288"/>
                    </a:lnTo>
                    <a:lnTo>
                      <a:pt x="156" y="1289"/>
                    </a:lnTo>
                    <a:lnTo>
                      <a:pt x="156" y="1291"/>
                    </a:lnTo>
                    <a:lnTo>
                      <a:pt x="158" y="1293"/>
                    </a:lnTo>
                    <a:lnTo>
                      <a:pt x="160" y="1296"/>
                    </a:lnTo>
                    <a:lnTo>
                      <a:pt x="162" y="1300"/>
                    </a:lnTo>
                    <a:lnTo>
                      <a:pt x="163" y="1305"/>
                    </a:lnTo>
                    <a:lnTo>
                      <a:pt x="165" y="1308"/>
                    </a:lnTo>
                    <a:lnTo>
                      <a:pt x="167" y="1310"/>
                    </a:lnTo>
                    <a:lnTo>
                      <a:pt x="168" y="1315"/>
                    </a:lnTo>
                    <a:lnTo>
                      <a:pt x="170" y="1317"/>
                    </a:lnTo>
                    <a:lnTo>
                      <a:pt x="173" y="1322"/>
                    </a:lnTo>
                    <a:lnTo>
                      <a:pt x="175" y="1325"/>
                    </a:lnTo>
                    <a:lnTo>
                      <a:pt x="177" y="1325"/>
                    </a:lnTo>
                    <a:lnTo>
                      <a:pt x="177" y="1327"/>
                    </a:lnTo>
                    <a:lnTo>
                      <a:pt x="177" y="1328"/>
                    </a:lnTo>
                    <a:lnTo>
                      <a:pt x="175" y="1328"/>
                    </a:lnTo>
                    <a:lnTo>
                      <a:pt x="175" y="1330"/>
                    </a:lnTo>
                    <a:lnTo>
                      <a:pt x="175" y="1328"/>
                    </a:lnTo>
                    <a:lnTo>
                      <a:pt x="175" y="1327"/>
                    </a:lnTo>
                    <a:lnTo>
                      <a:pt x="173" y="1327"/>
                    </a:lnTo>
                    <a:lnTo>
                      <a:pt x="172" y="1327"/>
                    </a:lnTo>
                    <a:lnTo>
                      <a:pt x="170" y="1327"/>
                    </a:lnTo>
                    <a:lnTo>
                      <a:pt x="168" y="1327"/>
                    </a:lnTo>
                    <a:lnTo>
                      <a:pt x="168" y="1325"/>
                    </a:lnTo>
                    <a:lnTo>
                      <a:pt x="167" y="1325"/>
                    </a:lnTo>
                    <a:lnTo>
                      <a:pt x="165" y="1325"/>
                    </a:lnTo>
                    <a:lnTo>
                      <a:pt x="163" y="1325"/>
                    </a:lnTo>
                    <a:lnTo>
                      <a:pt x="163" y="1323"/>
                    </a:lnTo>
                    <a:lnTo>
                      <a:pt x="162" y="1323"/>
                    </a:lnTo>
                    <a:lnTo>
                      <a:pt x="158" y="1322"/>
                    </a:lnTo>
                    <a:lnTo>
                      <a:pt x="156" y="1322"/>
                    </a:lnTo>
                    <a:lnTo>
                      <a:pt x="155" y="1320"/>
                    </a:lnTo>
                    <a:lnTo>
                      <a:pt x="153" y="1320"/>
                    </a:lnTo>
                    <a:lnTo>
                      <a:pt x="151" y="1320"/>
                    </a:lnTo>
                    <a:lnTo>
                      <a:pt x="150" y="1318"/>
                    </a:lnTo>
                    <a:lnTo>
                      <a:pt x="148" y="1318"/>
                    </a:lnTo>
                    <a:lnTo>
                      <a:pt x="145" y="1318"/>
                    </a:lnTo>
                    <a:lnTo>
                      <a:pt x="141" y="1318"/>
                    </a:lnTo>
                    <a:lnTo>
                      <a:pt x="139" y="1317"/>
                    </a:lnTo>
                    <a:lnTo>
                      <a:pt x="138" y="1317"/>
                    </a:lnTo>
                    <a:lnTo>
                      <a:pt x="134" y="1315"/>
                    </a:lnTo>
                    <a:lnTo>
                      <a:pt x="131" y="1313"/>
                    </a:lnTo>
                    <a:lnTo>
                      <a:pt x="128" y="1313"/>
                    </a:lnTo>
                    <a:lnTo>
                      <a:pt x="126" y="1311"/>
                    </a:lnTo>
                    <a:lnTo>
                      <a:pt x="124" y="1310"/>
                    </a:lnTo>
                    <a:lnTo>
                      <a:pt x="121" y="1308"/>
                    </a:lnTo>
                    <a:lnTo>
                      <a:pt x="109" y="1310"/>
                    </a:lnTo>
                    <a:lnTo>
                      <a:pt x="104" y="1308"/>
                    </a:lnTo>
                    <a:lnTo>
                      <a:pt x="99" y="1310"/>
                    </a:lnTo>
                    <a:lnTo>
                      <a:pt x="92" y="1308"/>
                    </a:lnTo>
                    <a:lnTo>
                      <a:pt x="78" y="1310"/>
                    </a:lnTo>
                    <a:lnTo>
                      <a:pt x="75" y="1308"/>
                    </a:lnTo>
                    <a:lnTo>
                      <a:pt x="73" y="1308"/>
                    </a:lnTo>
                    <a:lnTo>
                      <a:pt x="65" y="1308"/>
                    </a:lnTo>
                    <a:lnTo>
                      <a:pt x="56" y="1310"/>
                    </a:lnTo>
                    <a:lnTo>
                      <a:pt x="56" y="1308"/>
                    </a:lnTo>
                    <a:lnTo>
                      <a:pt x="54" y="1308"/>
                    </a:lnTo>
                    <a:lnTo>
                      <a:pt x="53" y="1308"/>
                    </a:lnTo>
                    <a:lnTo>
                      <a:pt x="53" y="1306"/>
                    </a:lnTo>
                    <a:lnTo>
                      <a:pt x="54" y="1306"/>
                    </a:lnTo>
                    <a:lnTo>
                      <a:pt x="54" y="1305"/>
                    </a:lnTo>
                    <a:lnTo>
                      <a:pt x="56" y="1305"/>
                    </a:lnTo>
                    <a:lnTo>
                      <a:pt x="56" y="1303"/>
                    </a:lnTo>
                    <a:lnTo>
                      <a:pt x="54" y="1301"/>
                    </a:lnTo>
                    <a:lnTo>
                      <a:pt x="54" y="1300"/>
                    </a:lnTo>
                    <a:lnTo>
                      <a:pt x="53" y="1300"/>
                    </a:lnTo>
                    <a:lnTo>
                      <a:pt x="53" y="1298"/>
                    </a:lnTo>
                    <a:lnTo>
                      <a:pt x="51" y="1298"/>
                    </a:lnTo>
                    <a:lnTo>
                      <a:pt x="51" y="1296"/>
                    </a:lnTo>
                    <a:lnTo>
                      <a:pt x="49" y="1296"/>
                    </a:lnTo>
                    <a:lnTo>
                      <a:pt x="49" y="1294"/>
                    </a:lnTo>
                    <a:lnTo>
                      <a:pt x="48" y="1294"/>
                    </a:lnTo>
                    <a:lnTo>
                      <a:pt x="48" y="1293"/>
                    </a:lnTo>
                    <a:lnTo>
                      <a:pt x="46" y="1293"/>
                    </a:lnTo>
                    <a:lnTo>
                      <a:pt x="44" y="1293"/>
                    </a:lnTo>
                    <a:lnTo>
                      <a:pt x="44" y="1291"/>
                    </a:lnTo>
                    <a:lnTo>
                      <a:pt x="44" y="1289"/>
                    </a:lnTo>
                    <a:lnTo>
                      <a:pt x="43" y="1288"/>
                    </a:lnTo>
                    <a:lnTo>
                      <a:pt x="43" y="1286"/>
                    </a:lnTo>
                    <a:lnTo>
                      <a:pt x="41" y="1286"/>
                    </a:lnTo>
                    <a:lnTo>
                      <a:pt x="39" y="1286"/>
                    </a:lnTo>
                    <a:lnTo>
                      <a:pt x="39" y="1284"/>
                    </a:lnTo>
                    <a:lnTo>
                      <a:pt x="41" y="1282"/>
                    </a:lnTo>
                    <a:lnTo>
                      <a:pt x="39" y="1282"/>
                    </a:lnTo>
                    <a:lnTo>
                      <a:pt x="41" y="1282"/>
                    </a:lnTo>
                    <a:lnTo>
                      <a:pt x="43" y="1282"/>
                    </a:lnTo>
                    <a:lnTo>
                      <a:pt x="43" y="1281"/>
                    </a:lnTo>
                    <a:lnTo>
                      <a:pt x="43" y="1279"/>
                    </a:lnTo>
                    <a:lnTo>
                      <a:pt x="43" y="1277"/>
                    </a:lnTo>
                    <a:lnTo>
                      <a:pt x="43" y="1276"/>
                    </a:lnTo>
                    <a:lnTo>
                      <a:pt x="43" y="1274"/>
                    </a:lnTo>
                    <a:lnTo>
                      <a:pt x="41" y="1272"/>
                    </a:lnTo>
                    <a:lnTo>
                      <a:pt x="43" y="1272"/>
                    </a:lnTo>
                    <a:lnTo>
                      <a:pt x="43" y="1271"/>
                    </a:lnTo>
                    <a:lnTo>
                      <a:pt x="44" y="1271"/>
                    </a:lnTo>
                    <a:lnTo>
                      <a:pt x="44" y="1269"/>
                    </a:lnTo>
                    <a:lnTo>
                      <a:pt x="44" y="1267"/>
                    </a:lnTo>
                    <a:lnTo>
                      <a:pt x="44" y="1265"/>
                    </a:lnTo>
                    <a:lnTo>
                      <a:pt x="43" y="1265"/>
                    </a:lnTo>
                    <a:lnTo>
                      <a:pt x="41" y="1264"/>
                    </a:lnTo>
                    <a:lnTo>
                      <a:pt x="41" y="1262"/>
                    </a:lnTo>
                    <a:lnTo>
                      <a:pt x="41" y="1260"/>
                    </a:lnTo>
                    <a:lnTo>
                      <a:pt x="39" y="1260"/>
                    </a:lnTo>
                    <a:lnTo>
                      <a:pt x="41" y="1259"/>
                    </a:lnTo>
                    <a:lnTo>
                      <a:pt x="41" y="1257"/>
                    </a:lnTo>
                    <a:lnTo>
                      <a:pt x="41" y="1255"/>
                    </a:lnTo>
                    <a:lnTo>
                      <a:pt x="43" y="1255"/>
                    </a:lnTo>
                    <a:lnTo>
                      <a:pt x="43" y="1257"/>
                    </a:lnTo>
                    <a:lnTo>
                      <a:pt x="44" y="1257"/>
                    </a:lnTo>
                    <a:lnTo>
                      <a:pt x="44" y="1255"/>
                    </a:lnTo>
                    <a:lnTo>
                      <a:pt x="44" y="1254"/>
                    </a:lnTo>
                    <a:lnTo>
                      <a:pt x="44" y="1252"/>
                    </a:lnTo>
                    <a:lnTo>
                      <a:pt x="46" y="1250"/>
                    </a:lnTo>
                    <a:lnTo>
                      <a:pt x="46" y="1248"/>
                    </a:lnTo>
                    <a:lnTo>
                      <a:pt x="44" y="1247"/>
                    </a:lnTo>
                    <a:lnTo>
                      <a:pt x="44" y="1245"/>
                    </a:lnTo>
                    <a:lnTo>
                      <a:pt x="44" y="1243"/>
                    </a:lnTo>
                    <a:lnTo>
                      <a:pt x="43" y="1243"/>
                    </a:lnTo>
                    <a:lnTo>
                      <a:pt x="43" y="1242"/>
                    </a:lnTo>
                    <a:lnTo>
                      <a:pt x="43" y="1240"/>
                    </a:lnTo>
                    <a:lnTo>
                      <a:pt x="44" y="1238"/>
                    </a:lnTo>
                    <a:lnTo>
                      <a:pt x="44" y="1237"/>
                    </a:lnTo>
                    <a:lnTo>
                      <a:pt x="43" y="1237"/>
                    </a:lnTo>
                    <a:lnTo>
                      <a:pt x="43" y="1235"/>
                    </a:lnTo>
                    <a:lnTo>
                      <a:pt x="41" y="1235"/>
                    </a:lnTo>
                    <a:lnTo>
                      <a:pt x="39" y="1235"/>
                    </a:lnTo>
                    <a:lnTo>
                      <a:pt x="37" y="1233"/>
                    </a:lnTo>
                    <a:lnTo>
                      <a:pt x="36" y="1235"/>
                    </a:lnTo>
                    <a:lnTo>
                      <a:pt x="34" y="1235"/>
                    </a:lnTo>
                    <a:lnTo>
                      <a:pt x="34" y="1237"/>
                    </a:lnTo>
                    <a:lnTo>
                      <a:pt x="34" y="1238"/>
                    </a:lnTo>
                    <a:lnTo>
                      <a:pt x="32" y="1237"/>
                    </a:lnTo>
                    <a:lnTo>
                      <a:pt x="31" y="1235"/>
                    </a:lnTo>
                    <a:lnTo>
                      <a:pt x="31" y="1237"/>
                    </a:lnTo>
                    <a:lnTo>
                      <a:pt x="29" y="1235"/>
                    </a:lnTo>
                    <a:lnTo>
                      <a:pt x="27" y="1235"/>
                    </a:lnTo>
                    <a:lnTo>
                      <a:pt x="26" y="1237"/>
                    </a:lnTo>
                    <a:lnTo>
                      <a:pt x="24" y="1237"/>
                    </a:lnTo>
                    <a:lnTo>
                      <a:pt x="24" y="1238"/>
                    </a:lnTo>
                    <a:lnTo>
                      <a:pt x="22" y="1238"/>
                    </a:lnTo>
                    <a:lnTo>
                      <a:pt x="22" y="1240"/>
                    </a:lnTo>
                    <a:lnTo>
                      <a:pt x="20" y="1242"/>
                    </a:lnTo>
                    <a:lnTo>
                      <a:pt x="19" y="1242"/>
                    </a:lnTo>
                    <a:lnTo>
                      <a:pt x="17" y="1243"/>
                    </a:lnTo>
                    <a:lnTo>
                      <a:pt x="17" y="1242"/>
                    </a:lnTo>
                    <a:lnTo>
                      <a:pt x="15" y="1243"/>
                    </a:lnTo>
                    <a:lnTo>
                      <a:pt x="14" y="1245"/>
                    </a:lnTo>
                    <a:lnTo>
                      <a:pt x="12" y="1245"/>
                    </a:lnTo>
                    <a:lnTo>
                      <a:pt x="10" y="1245"/>
                    </a:lnTo>
                    <a:lnTo>
                      <a:pt x="10" y="1243"/>
                    </a:lnTo>
                    <a:lnTo>
                      <a:pt x="10" y="1242"/>
                    </a:lnTo>
                    <a:lnTo>
                      <a:pt x="10" y="1240"/>
                    </a:lnTo>
                    <a:lnTo>
                      <a:pt x="12" y="1240"/>
                    </a:lnTo>
                    <a:lnTo>
                      <a:pt x="14" y="1238"/>
                    </a:lnTo>
                    <a:lnTo>
                      <a:pt x="14" y="1237"/>
                    </a:lnTo>
                    <a:lnTo>
                      <a:pt x="12" y="1237"/>
                    </a:lnTo>
                    <a:lnTo>
                      <a:pt x="10" y="1235"/>
                    </a:lnTo>
                    <a:lnTo>
                      <a:pt x="10" y="1233"/>
                    </a:lnTo>
                    <a:lnTo>
                      <a:pt x="10" y="1231"/>
                    </a:lnTo>
                    <a:lnTo>
                      <a:pt x="9" y="1231"/>
                    </a:lnTo>
                    <a:lnTo>
                      <a:pt x="9" y="1230"/>
                    </a:lnTo>
                    <a:lnTo>
                      <a:pt x="7" y="1228"/>
                    </a:lnTo>
                    <a:lnTo>
                      <a:pt x="9" y="1228"/>
                    </a:lnTo>
                    <a:lnTo>
                      <a:pt x="7" y="1226"/>
                    </a:lnTo>
                    <a:lnTo>
                      <a:pt x="5" y="1226"/>
                    </a:lnTo>
                    <a:lnTo>
                      <a:pt x="7" y="1226"/>
                    </a:lnTo>
                    <a:lnTo>
                      <a:pt x="5" y="1225"/>
                    </a:lnTo>
                    <a:lnTo>
                      <a:pt x="3" y="1221"/>
                    </a:lnTo>
                    <a:lnTo>
                      <a:pt x="3" y="1220"/>
                    </a:lnTo>
                    <a:lnTo>
                      <a:pt x="3" y="1218"/>
                    </a:lnTo>
                    <a:lnTo>
                      <a:pt x="2" y="1218"/>
                    </a:lnTo>
                    <a:lnTo>
                      <a:pt x="2" y="1216"/>
                    </a:lnTo>
                    <a:lnTo>
                      <a:pt x="0" y="1214"/>
                    </a:lnTo>
                    <a:lnTo>
                      <a:pt x="2" y="1213"/>
                    </a:lnTo>
                    <a:lnTo>
                      <a:pt x="2" y="1211"/>
                    </a:lnTo>
                    <a:lnTo>
                      <a:pt x="2" y="1209"/>
                    </a:lnTo>
                    <a:lnTo>
                      <a:pt x="2" y="1208"/>
                    </a:lnTo>
                    <a:lnTo>
                      <a:pt x="3" y="1206"/>
                    </a:lnTo>
                    <a:lnTo>
                      <a:pt x="3" y="1204"/>
                    </a:lnTo>
                    <a:lnTo>
                      <a:pt x="2" y="1204"/>
                    </a:lnTo>
                    <a:lnTo>
                      <a:pt x="2" y="1203"/>
                    </a:lnTo>
                    <a:lnTo>
                      <a:pt x="2" y="1201"/>
                    </a:lnTo>
                    <a:lnTo>
                      <a:pt x="3" y="1199"/>
                    </a:lnTo>
                    <a:lnTo>
                      <a:pt x="2" y="1199"/>
                    </a:lnTo>
                    <a:lnTo>
                      <a:pt x="2" y="1197"/>
                    </a:lnTo>
                    <a:lnTo>
                      <a:pt x="2" y="1196"/>
                    </a:lnTo>
                    <a:lnTo>
                      <a:pt x="3" y="1196"/>
                    </a:lnTo>
                    <a:lnTo>
                      <a:pt x="3" y="1194"/>
                    </a:lnTo>
                    <a:lnTo>
                      <a:pt x="3" y="1192"/>
                    </a:lnTo>
                    <a:lnTo>
                      <a:pt x="5" y="1191"/>
                    </a:lnTo>
                    <a:lnTo>
                      <a:pt x="5" y="1189"/>
                    </a:lnTo>
                    <a:lnTo>
                      <a:pt x="3" y="1187"/>
                    </a:lnTo>
                    <a:lnTo>
                      <a:pt x="3" y="1186"/>
                    </a:lnTo>
                    <a:lnTo>
                      <a:pt x="3" y="1184"/>
                    </a:lnTo>
                    <a:lnTo>
                      <a:pt x="3" y="1182"/>
                    </a:lnTo>
                    <a:lnTo>
                      <a:pt x="5" y="1182"/>
                    </a:lnTo>
                    <a:lnTo>
                      <a:pt x="3" y="1180"/>
                    </a:lnTo>
                    <a:lnTo>
                      <a:pt x="3" y="1179"/>
                    </a:lnTo>
                    <a:lnTo>
                      <a:pt x="2" y="1179"/>
                    </a:lnTo>
                    <a:lnTo>
                      <a:pt x="2" y="1177"/>
                    </a:lnTo>
                    <a:lnTo>
                      <a:pt x="2" y="1175"/>
                    </a:lnTo>
                    <a:lnTo>
                      <a:pt x="3" y="1175"/>
                    </a:lnTo>
                    <a:lnTo>
                      <a:pt x="3" y="1174"/>
                    </a:lnTo>
                    <a:lnTo>
                      <a:pt x="3" y="1172"/>
                    </a:lnTo>
                    <a:lnTo>
                      <a:pt x="3" y="1170"/>
                    </a:lnTo>
                    <a:lnTo>
                      <a:pt x="5" y="1170"/>
                    </a:lnTo>
                    <a:lnTo>
                      <a:pt x="5" y="1169"/>
                    </a:lnTo>
                    <a:lnTo>
                      <a:pt x="5" y="1167"/>
                    </a:lnTo>
                    <a:lnTo>
                      <a:pt x="7" y="1165"/>
                    </a:lnTo>
                    <a:lnTo>
                      <a:pt x="5" y="1165"/>
                    </a:lnTo>
                    <a:lnTo>
                      <a:pt x="3" y="1163"/>
                    </a:lnTo>
                    <a:lnTo>
                      <a:pt x="3" y="1162"/>
                    </a:lnTo>
                    <a:lnTo>
                      <a:pt x="3" y="1160"/>
                    </a:lnTo>
                    <a:lnTo>
                      <a:pt x="17" y="1163"/>
                    </a:lnTo>
                    <a:lnTo>
                      <a:pt x="19" y="1163"/>
                    </a:lnTo>
                    <a:lnTo>
                      <a:pt x="17" y="1163"/>
                    </a:lnTo>
                    <a:lnTo>
                      <a:pt x="17" y="1162"/>
                    </a:lnTo>
                    <a:lnTo>
                      <a:pt x="17" y="1163"/>
                    </a:lnTo>
                    <a:lnTo>
                      <a:pt x="15" y="1163"/>
                    </a:lnTo>
                    <a:lnTo>
                      <a:pt x="15" y="1162"/>
                    </a:lnTo>
                    <a:lnTo>
                      <a:pt x="15" y="1160"/>
                    </a:lnTo>
                    <a:lnTo>
                      <a:pt x="15" y="1158"/>
                    </a:lnTo>
                    <a:lnTo>
                      <a:pt x="17" y="1157"/>
                    </a:lnTo>
                    <a:lnTo>
                      <a:pt x="19" y="1155"/>
                    </a:lnTo>
                    <a:lnTo>
                      <a:pt x="19" y="1153"/>
                    </a:lnTo>
                    <a:lnTo>
                      <a:pt x="20" y="1153"/>
                    </a:lnTo>
                    <a:lnTo>
                      <a:pt x="20" y="1152"/>
                    </a:lnTo>
                    <a:lnTo>
                      <a:pt x="20" y="1150"/>
                    </a:lnTo>
                    <a:lnTo>
                      <a:pt x="20" y="1148"/>
                    </a:lnTo>
                    <a:lnTo>
                      <a:pt x="22" y="1148"/>
                    </a:lnTo>
                    <a:lnTo>
                      <a:pt x="22" y="1146"/>
                    </a:lnTo>
                    <a:lnTo>
                      <a:pt x="24" y="1146"/>
                    </a:lnTo>
                    <a:lnTo>
                      <a:pt x="26" y="1148"/>
                    </a:lnTo>
                    <a:lnTo>
                      <a:pt x="27" y="1148"/>
                    </a:lnTo>
                    <a:lnTo>
                      <a:pt x="27" y="1146"/>
                    </a:lnTo>
                    <a:lnTo>
                      <a:pt x="29" y="1145"/>
                    </a:lnTo>
                    <a:lnTo>
                      <a:pt x="31" y="1145"/>
                    </a:lnTo>
                    <a:lnTo>
                      <a:pt x="31" y="1143"/>
                    </a:lnTo>
                    <a:lnTo>
                      <a:pt x="32" y="1141"/>
                    </a:lnTo>
                    <a:lnTo>
                      <a:pt x="34" y="1140"/>
                    </a:lnTo>
                    <a:lnTo>
                      <a:pt x="36" y="1140"/>
                    </a:lnTo>
                    <a:lnTo>
                      <a:pt x="36" y="1138"/>
                    </a:lnTo>
                    <a:lnTo>
                      <a:pt x="36" y="1136"/>
                    </a:lnTo>
                    <a:lnTo>
                      <a:pt x="36" y="1135"/>
                    </a:lnTo>
                    <a:lnTo>
                      <a:pt x="36" y="1131"/>
                    </a:lnTo>
                    <a:lnTo>
                      <a:pt x="34" y="1124"/>
                    </a:lnTo>
                    <a:lnTo>
                      <a:pt x="34" y="1123"/>
                    </a:lnTo>
                    <a:lnTo>
                      <a:pt x="36" y="1123"/>
                    </a:lnTo>
                    <a:lnTo>
                      <a:pt x="36" y="1124"/>
                    </a:lnTo>
                    <a:lnTo>
                      <a:pt x="37" y="1124"/>
                    </a:lnTo>
                    <a:lnTo>
                      <a:pt x="39" y="1124"/>
                    </a:lnTo>
                    <a:lnTo>
                      <a:pt x="41" y="1123"/>
                    </a:lnTo>
                    <a:lnTo>
                      <a:pt x="41" y="1121"/>
                    </a:lnTo>
                    <a:lnTo>
                      <a:pt x="39" y="1121"/>
                    </a:lnTo>
                    <a:lnTo>
                      <a:pt x="39" y="1119"/>
                    </a:lnTo>
                    <a:lnTo>
                      <a:pt x="41" y="1119"/>
                    </a:lnTo>
                    <a:lnTo>
                      <a:pt x="43" y="1117"/>
                    </a:lnTo>
                    <a:lnTo>
                      <a:pt x="41" y="1117"/>
                    </a:lnTo>
                    <a:lnTo>
                      <a:pt x="41" y="1116"/>
                    </a:lnTo>
                    <a:lnTo>
                      <a:pt x="43" y="1116"/>
                    </a:lnTo>
                    <a:lnTo>
                      <a:pt x="43" y="1117"/>
                    </a:lnTo>
                    <a:lnTo>
                      <a:pt x="43" y="1116"/>
                    </a:lnTo>
                    <a:lnTo>
                      <a:pt x="44" y="1117"/>
                    </a:lnTo>
                    <a:lnTo>
                      <a:pt x="44" y="1116"/>
                    </a:lnTo>
                    <a:lnTo>
                      <a:pt x="46" y="1116"/>
                    </a:lnTo>
                    <a:lnTo>
                      <a:pt x="46" y="1114"/>
                    </a:lnTo>
                    <a:lnTo>
                      <a:pt x="44" y="1112"/>
                    </a:lnTo>
                    <a:lnTo>
                      <a:pt x="44" y="1111"/>
                    </a:lnTo>
                    <a:lnTo>
                      <a:pt x="43" y="1111"/>
                    </a:lnTo>
                    <a:lnTo>
                      <a:pt x="43" y="1109"/>
                    </a:lnTo>
                    <a:lnTo>
                      <a:pt x="44" y="1109"/>
                    </a:lnTo>
                    <a:lnTo>
                      <a:pt x="43" y="1107"/>
                    </a:lnTo>
                    <a:lnTo>
                      <a:pt x="44" y="1106"/>
                    </a:lnTo>
                    <a:lnTo>
                      <a:pt x="43" y="1106"/>
                    </a:lnTo>
                    <a:lnTo>
                      <a:pt x="43" y="1104"/>
                    </a:lnTo>
                    <a:lnTo>
                      <a:pt x="41" y="1104"/>
                    </a:lnTo>
                    <a:lnTo>
                      <a:pt x="41" y="1102"/>
                    </a:lnTo>
                    <a:lnTo>
                      <a:pt x="39" y="1102"/>
                    </a:lnTo>
                    <a:lnTo>
                      <a:pt x="39" y="1100"/>
                    </a:lnTo>
                    <a:lnTo>
                      <a:pt x="39" y="1099"/>
                    </a:lnTo>
                    <a:lnTo>
                      <a:pt x="39" y="1097"/>
                    </a:lnTo>
                    <a:lnTo>
                      <a:pt x="37" y="1097"/>
                    </a:lnTo>
                    <a:lnTo>
                      <a:pt x="36" y="1095"/>
                    </a:lnTo>
                    <a:lnTo>
                      <a:pt x="36" y="1094"/>
                    </a:lnTo>
                    <a:lnTo>
                      <a:pt x="37" y="1094"/>
                    </a:lnTo>
                    <a:lnTo>
                      <a:pt x="37" y="1092"/>
                    </a:lnTo>
                    <a:lnTo>
                      <a:pt x="37" y="1090"/>
                    </a:lnTo>
                    <a:lnTo>
                      <a:pt x="37" y="1089"/>
                    </a:lnTo>
                    <a:lnTo>
                      <a:pt x="37" y="1087"/>
                    </a:lnTo>
                    <a:lnTo>
                      <a:pt x="36" y="1087"/>
                    </a:lnTo>
                    <a:lnTo>
                      <a:pt x="36" y="1085"/>
                    </a:lnTo>
                    <a:lnTo>
                      <a:pt x="37" y="1087"/>
                    </a:lnTo>
                    <a:lnTo>
                      <a:pt x="39" y="1087"/>
                    </a:lnTo>
                    <a:lnTo>
                      <a:pt x="41" y="1087"/>
                    </a:lnTo>
                    <a:lnTo>
                      <a:pt x="41" y="1085"/>
                    </a:lnTo>
                    <a:lnTo>
                      <a:pt x="39" y="1085"/>
                    </a:lnTo>
                    <a:lnTo>
                      <a:pt x="39" y="1083"/>
                    </a:lnTo>
                    <a:lnTo>
                      <a:pt x="39" y="1082"/>
                    </a:lnTo>
                    <a:lnTo>
                      <a:pt x="41" y="1082"/>
                    </a:lnTo>
                    <a:lnTo>
                      <a:pt x="41" y="1080"/>
                    </a:lnTo>
                    <a:lnTo>
                      <a:pt x="43" y="1080"/>
                    </a:lnTo>
                    <a:lnTo>
                      <a:pt x="43" y="1078"/>
                    </a:lnTo>
                    <a:lnTo>
                      <a:pt x="43" y="1077"/>
                    </a:lnTo>
                    <a:lnTo>
                      <a:pt x="43" y="1075"/>
                    </a:lnTo>
                    <a:lnTo>
                      <a:pt x="44" y="1075"/>
                    </a:lnTo>
                    <a:lnTo>
                      <a:pt x="44" y="1073"/>
                    </a:lnTo>
                    <a:lnTo>
                      <a:pt x="43" y="1073"/>
                    </a:lnTo>
                    <a:lnTo>
                      <a:pt x="43" y="1072"/>
                    </a:lnTo>
                    <a:lnTo>
                      <a:pt x="43" y="1073"/>
                    </a:lnTo>
                    <a:lnTo>
                      <a:pt x="43" y="1072"/>
                    </a:lnTo>
                    <a:lnTo>
                      <a:pt x="44" y="1072"/>
                    </a:lnTo>
                    <a:lnTo>
                      <a:pt x="44" y="1070"/>
                    </a:lnTo>
                    <a:lnTo>
                      <a:pt x="46" y="1070"/>
                    </a:lnTo>
                    <a:lnTo>
                      <a:pt x="46" y="1068"/>
                    </a:lnTo>
                    <a:lnTo>
                      <a:pt x="48" y="1070"/>
                    </a:lnTo>
                    <a:lnTo>
                      <a:pt x="48" y="1068"/>
                    </a:lnTo>
                    <a:lnTo>
                      <a:pt x="49" y="1066"/>
                    </a:lnTo>
                    <a:lnTo>
                      <a:pt x="49" y="1065"/>
                    </a:lnTo>
                    <a:lnTo>
                      <a:pt x="51" y="1065"/>
                    </a:lnTo>
                    <a:lnTo>
                      <a:pt x="53" y="1065"/>
                    </a:lnTo>
                    <a:lnTo>
                      <a:pt x="53" y="1063"/>
                    </a:lnTo>
                    <a:lnTo>
                      <a:pt x="54" y="1063"/>
                    </a:lnTo>
                    <a:lnTo>
                      <a:pt x="53" y="1061"/>
                    </a:lnTo>
                    <a:lnTo>
                      <a:pt x="54" y="1060"/>
                    </a:lnTo>
                    <a:lnTo>
                      <a:pt x="53" y="1058"/>
                    </a:lnTo>
                    <a:lnTo>
                      <a:pt x="54" y="1060"/>
                    </a:lnTo>
                    <a:lnTo>
                      <a:pt x="56" y="1060"/>
                    </a:lnTo>
                    <a:lnTo>
                      <a:pt x="58" y="1060"/>
                    </a:lnTo>
                    <a:lnTo>
                      <a:pt x="58" y="1058"/>
                    </a:lnTo>
                    <a:lnTo>
                      <a:pt x="58" y="1056"/>
                    </a:lnTo>
                    <a:lnTo>
                      <a:pt x="60" y="1056"/>
                    </a:lnTo>
                    <a:lnTo>
                      <a:pt x="58" y="1056"/>
                    </a:lnTo>
                    <a:lnTo>
                      <a:pt x="58" y="1055"/>
                    </a:lnTo>
                    <a:lnTo>
                      <a:pt x="56" y="1053"/>
                    </a:lnTo>
                    <a:lnTo>
                      <a:pt x="54" y="1053"/>
                    </a:lnTo>
                    <a:lnTo>
                      <a:pt x="56" y="1051"/>
                    </a:lnTo>
                    <a:lnTo>
                      <a:pt x="58" y="1049"/>
                    </a:lnTo>
                    <a:lnTo>
                      <a:pt x="58" y="1048"/>
                    </a:lnTo>
                    <a:lnTo>
                      <a:pt x="56" y="1048"/>
                    </a:lnTo>
                    <a:lnTo>
                      <a:pt x="54" y="1048"/>
                    </a:lnTo>
                    <a:lnTo>
                      <a:pt x="56" y="1046"/>
                    </a:lnTo>
                    <a:lnTo>
                      <a:pt x="54" y="1046"/>
                    </a:lnTo>
                    <a:lnTo>
                      <a:pt x="54" y="1044"/>
                    </a:lnTo>
                    <a:lnTo>
                      <a:pt x="54" y="1043"/>
                    </a:lnTo>
                    <a:lnTo>
                      <a:pt x="56" y="1043"/>
                    </a:lnTo>
                    <a:lnTo>
                      <a:pt x="56" y="1041"/>
                    </a:lnTo>
                    <a:lnTo>
                      <a:pt x="54" y="1039"/>
                    </a:lnTo>
                    <a:lnTo>
                      <a:pt x="56" y="1039"/>
                    </a:lnTo>
                    <a:lnTo>
                      <a:pt x="58" y="1039"/>
                    </a:lnTo>
                    <a:lnTo>
                      <a:pt x="60" y="1039"/>
                    </a:lnTo>
                    <a:lnTo>
                      <a:pt x="60" y="1038"/>
                    </a:lnTo>
                    <a:lnTo>
                      <a:pt x="61" y="1038"/>
                    </a:lnTo>
                    <a:lnTo>
                      <a:pt x="61" y="1036"/>
                    </a:lnTo>
                    <a:lnTo>
                      <a:pt x="63" y="1036"/>
                    </a:lnTo>
                    <a:lnTo>
                      <a:pt x="63" y="1034"/>
                    </a:lnTo>
                    <a:lnTo>
                      <a:pt x="65" y="1034"/>
                    </a:lnTo>
                    <a:lnTo>
                      <a:pt x="66" y="1032"/>
                    </a:lnTo>
                    <a:lnTo>
                      <a:pt x="65" y="1031"/>
                    </a:lnTo>
                    <a:lnTo>
                      <a:pt x="66" y="1031"/>
                    </a:lnTo>
                    <a:lnTo>
                      <a:pt x="65" y="1029"/>
                    </a:lnTo>
                    <a:lnTo>
                      <a:pt x="65" y="1027"/>
                    </a:lnTo>
                    <a:lnTo>
                      <a:pt x="65" y="1026"/>
                    </a:lnTo>
                    <a:lnTo>
                      <a:pt x="65" y="1024"/>
                    </a:lnTo>
                    <a:lnTo>
                      <a:pt x="63" y="1021"/>
                    </a:lnTo>
                    <a:lnTo>
                      <a:pt x="63" y="1017"/>
                    </a:lnTo>
                    <a:lnTo>
                      <a:pt x="63" y="1015"/>
                    </a:lnTo>
                    <a:lnTo>
                      <a:pt x="63" y="1014"/>
                    </a:lnTo>
                    <a:lnTo>
                      <a:pt x="63" y="1012"/>
                    </a:lnTo>
                    <a:lnTo>
                      <a:pt x="61" y="1010"/>
                    </a:lnTo>
                    <a:lnTo>
                      <a:pt x="61" y="1009"/>
                    </a:lnTo>
                    <a:lnTo>
                      <a:pt x="60" y="1009"/>
                    </a:lnTo>
                    <a:lnTo>
                      <a:pt x="58" y="1009"/>
                    </a:lnTo>
                    <a:lnTo>
                      <a:pt x="58" y="1007"/>
                    </a:lnTo>
                    <a:lnTo>
                      <a:pt x="56" y="1007"/>
                    </a:lnTo>
                    <a:lnTo>
                      <a:pt x="58" y="1005"/>
                    </a:lnTo>
                    <a:lnTo>
                      <a:pt x="60" y="1005"/>
                    </a:lnTo>
                    <a:lnTo>
                      <a:pt x="61" y="1005"/>
                    </a:lnTo>
                    <a:lnTo>
                      <a:pt x="61" y="1004"/>
                    </a:lnTo>
                    <a:lnTo>
                      <a:pt x="63" y="1004"/>
                    </a:lnTo>
                    <a:lnTo>
                      <a:pt x="65" y="1004"/>
                    </a:lnTo>
                    <a:lnTo>
                      <a:pt x="65" y="1002"/>
                    </a:lnTo>
                    <a:lnTo>
                      <a:pt x="65" y="1000"/>
                    </a:lnTo>
                    <a:lnTo>
                      <a:pt x="66" y="1000"/>
                    </a:lnTo>
                    <a:lnTo>
                      <a:pt x="66" y="998"/>
                    </a:lnTo>
                    <a:lnTo>
                      <a:pt x="66" y="997"/>
                    </a:lnTo>
                    <a:lnTo>
                      <a:pt x="66" y="995"/>
                    </a:lnTo>
                    <a:lnTo>
                      <a:pt x="65" y="993"/>
                    </a:lnTo>
                    <a:lnTo>
                      <a:pt x="63" y="993"/>
                    </a:lnTo>
                    <a:lnTo>
                      <a:pt x="63" y="992"/>
                    </a:lnTo>
                    <a:lnTo>
                      <a:pt x="63" y="993"/>
                    </a:lnTo>
                    <a:lnTo>
                      <a:pt x="61" y="992"/>
                    </a:lnTo>
                    <a:lnTo>
                      <a:pt x="63" y="990"/>
                    </a:lnTo>
                    <a:lnTo>
                      <a:pt x="61" y="990"/>
                    </a:lnTo>
                    <a:lnTo>
                      <a:pt x="61" y="988"/>
                    </a:lnTo>
                    <a:lnTo>
                      <a:pt x="61" y="987"/>
                    </a:lnTo>
                    <a:lnTo>
                      <a:pt x="61" y="985"/>
                    </a:lnTo>
                    <a:lnTo>
                      <a:pt x="61" y="983"/>
                    </a:lnTo>
                    <a:lnTo>
                      <a:pt x="61" y="981"/>
                    </a:lnTo>
                    <a:lnTo>
                      <a:pt x="63" y="980"/>
                    </a:lnTo>
                    <a:lnTo>
                      <a:pt x="61" y="980"/>
                    </a:lnTo>
                    <a:lnTo>
                      <a:pt x="61" y="978"/>
                    </a:lnTo>
                    <a:lnTo>
                      <a:pt x="63" y="978"/>
                    </a:lnTo>
                    <a:lnTo>
                      <a:pt x="63" y="976"/>
                    </a:lnTo>
                    <a:lnTo>
                      <a:pt x="65" y="976"/>
                    </a:lnTo>
                    <a:lnTo>
                      <a:pt x="66" y="976"/>
                    </a:lnTo>
                    <a:lnTo>
                      <a:pt x="68" y="976"/>
                    </a:lnTo>
                    <a:lnTo>
                      <a:pt x="70" y="976"/>
                    </a:lnTo>
                    <a:lnTo>
                      <a:pt x="70" y="975"/>
                    </a:lnTo>
                    <a:lnTo>
                      <a:pt x="71" y="975"/>
                    </a:lnTo>
                    <a:lnTo>
                      <a:pt x="70" y="973"/>
                    </a:lnTo>
                    <a:lnTo>
                      <a:pt x="70" y="971"/>
                    </a:lnTo>
                    <a:lnTo>
                      <a:pt x="70" y="969"/>
                    </a:lnTo>
                    <a:lnTo>
                      <a:pt x="71" y="969"/>
                    </a:lnTo>
                    <a:lnTo>
                      <a:pt x="73" y="969"/>
                    </a:lnTo>
                    <a:lnTo>
                      <a:pt x="73" y="968"/>
                    </a:lnTo>
                    <a:lnTo>
                      <a:pt x="75" y="968"/>
                    </a:lnTo>
                    <a:lnTo>
                      <a:pt x="77" y="968"/>
                    </a:lnTo>
                    <a:lnTo>
                      <a:pt x="77" y="966"/>
                    </a:lnTo>
                    <a:lnTo>
                      <a:pt x="77" y="964"/>
                    </a:lnTo>
                    <a:lnTo>
                      <a:pt x="75" y="964"/>
                    </a:lnTo>
                    <a:lnTo>
                      <a:pt x="77" y="963"/>
                    </a:lnTo>
                    <a:lnTo>
                      <a:pt x="75" y="963"/>
                    </a:lnTo>
                    <a:lnTo>
                      <a:pt x="75" y="961"/>
                    </a:lnTo>
                    <a:lnTo>
                      <a:pt x="73" y="961"/>
                    </a:lnTo>
                    <a:lnTo>
                      <a:pt x="73" y="959"/>
                    </a:lnTo>
                    <a:lnTo>
                      <a:pt x="71" y="958"/>
                    </a:lnTo>
                    <a:lnTo>
                      <a:pt x="71" y="956"/>
                    </a:lnTo>
                    <a:lnTo>
                      <a:pt x="70" y="956"/>
                    </a:lnTo>
                    <a:lnTo>
                      <a:pt x="70" y="954"/>
                    </a:lnTo>
                    <a:lnTo>
                      <a:pt x="68" y="952"/>
                    </a:lnTo>
                    <a:lnTo>
                      <a:pt x="68" y="951"/>
                    </a:lnTo>
                    <a:lnTo>
                      <a:pt x="70" y="951"/>
                    </a:lnTo>
                    <a:lnTo>
                      <a:pt x="68" y="951"/>
                    </a:lnTo>
                    <a:lnTo>
                      <a:pt x="66" y="951"/>
                    </a:lnTo>
                    <a:lnTo>
                      <a:pt x="66" y="949"/>
                    </a:lnTo>
                    <a:lnTo>
                      <a:pt x="65" y="951"/>
                    </a:lnTo>
                    <a:lnTo>
                      <a:pt x="65" y="949"/>
                    </a:lnTo>
                    <a:lnTo>
                      <a:pt x="63" y="949"/>
                    </a:lnTo>
                    <a:lnTo>
                      <a:pt x="61" y="947"/>
                    </a:lnTo>
                    <a:lnTo>
                      <a:pt x="61" y="949"/>
                    </a:lnTo>
                    <a:lnTo>
                      <a:pt x="60" y="947"/>
                    </a:lnTo>
                    <a:lnTo>
                      <a:pt x="58" y="947"/>
                    </a:lnTo>
                    <a:lnTo>
                      <a:pt x="58" y="949"/>
                    </a:lnTo>
                    <a:lnTo>
                      <a:pt x="56" y="949"/>
                    </a:lnTo>
                    <a:lnTo>
                      <a:pt x="56" y="947"/>
                    </a:lnTo>
                    <a:lnTo>
                      <a:pt x="54" y="947"/>
                    </a:lnTo>
                    <a:lnTo>
                      <a:pt x="53" y="946"/>
                    </a:lnTo>
                    <a:lnTo>
                      <a:pt x="53" y="947"/>
                    </a:lnTo>
                    <a:lnTo>
                      <a:pt x="53" y="946"/>
                    </a:lnTo>
                    <a:lnTo>
                      <a:pt x="51" y="946"/>
                    </a:lnTo>
                    <a:lnTo>
                      <a:pt x="53" y="944"/>
                    </a:lnTo>
                    <a:lnTo>
                      <a:pt x="51" y="944"/>
                    </a:lnTo>
                    <a:lnTo>
                      <a:pt x="53" y="944"/>
                    </a:lnTo>
                    <a:lnTo>
                      <a:pt x="53" y="942"/>
                    </a:lnTo>
                    <a:lnTo>
                      <a:pt x="51" y="942"/>
                    </a:lnTo>
                    <a:lnTo>
                      <a:pt x="51" y="941"/>
                    </a:lnTo>
                    <a:lnTo>
                      <a:pt x="51" y="939"/>
                    </a:lnTo>
                    <a:lnTo>
                      <a:pt x="53" y="941"/>
                    </a:lnTo>
                    <a:lnTo>
                      <a:pt x="54" y="941"/>
                    </a:lnTo>
                    <a:lnTo>
                      <a:pt x="56" y="941"/>
                    </a:lnTo>
                    <a:lnTo>
                      <a:pt x="56" y="942"/>
                    </a:lnTo>
                    <a:lnTo>
                      <a:pt x="56" y="941"/>
                    </a:lnTo>
                    <a:lnTo>
                      <a:pt x="58" y="941"/>
                    </a:lnTo>
                    <a:lnTo>
                      <a:pt x="58" y="942"/>
                    </a:lnTo>
                    <a:lnTo>
                      <a:pt x="60" y="941"/>
                    </a:lnTo>
                    <a:lnTo>
                      <a:pt x="60" y="942"/>
                    </a:lnTo>
                    <a:lnTo>
                      <a:pt x="60" y="941"/>
                    </a:lnTo>
                    <a:lnTo>
                      <a:pt x="61" y="939"/>
                    </a:lnTo>
                    <a:lnTo>
                      <a:pt x="61" y="941"/>
                    </a:lnTo>
                    <a:lnTo>
                      <a:pt x="63" y="941"/>
                    </a:lnTo>
                    <a:lnTo>
                      <a:pt x="65" y="941"/>
                    </a:lnTo>
                    <a:lnTo>
                      <a:pt x="66" y="941"/>
                    </a:lnTo>
                    <a:lnTo>
                      <a:pt x="68" y="941"/>
                    </a:lnTo>
                    <a:lnTo>
                      <a:pt x="68" y="939"/>
                    </a:lnTo>
                    <a:lnTo>
                      <a:pt x="68" y="941"/>
                    </a:lnTo>
                    <a:lnTo>
                      <a:pt x="70" y="939"/>
                    </a:lnTo>
                    <a:lnTo>
                      <a:pt x="71" y="939"/>
                    </a:lnTo>
                    <a:lnTo>
                      <a:pt x="73" y="939"/>
                    </a:lnTo>
                    <a:lnTo>
                      <a:pt x="73" y="941"/>
                    </a:lnTo>
                    <a:lnTo>
                      <a:pt x="75" y="941"/>
                    </a:lnTo>
                    <a:lnTo>
                      <a:pt x="75" y="942"/>
                    </a:lnTo>
                    <a:lnTo>
                      <a:pt x="77" y="942"/>
                    </a:lnTo>
                    <a:lnTo>
                      <a:pt x="78" y="942"/>
                    </a:lnTo>
                    <a:lnTo>
                      <a:pt x="78" y="941"/>
                    </a:lnTo>
                    <a:lnTo>
                      <a:pt x="80" y="941"/>
                    </a:lnTo>
                    <a:lnTo>
                      <a:pt x="80" y="939"/>
                    </a:lnTo>
                    <a:lnTo>
                      <a:pt x="80" y="937"/>
                    </a:lnTo>
                    <a:lnTo>
                      <a:pt x="82" y="935"/>
                    </a:lnTo>
                    <a:lnTo>
                      <a:pt x="80" y="935"/>
                    </a:lnTo>
                    <a:lnTo>
                      <a:pt x="80" y="934"/>
                    </a:lnTo>
                    <a:lnTo>
                      <a:pt x="82" y="932"/>
                    </a:lnTo>
                    <a:lnTo>
                      <a:pt x="80" y="932"/>
                    </a:lnTo>
                    <a:lnTo>
                      <a:pt x="82" y="932"/>
                    </a:lnTo>
                    <a:lnTo>
                      <a:pt x="83" y="932"/>
                    </a:lnTo>
                    <a:lnTo>
                      <a:pt x="85" y="932"/>
                    </a:lnTo>
                    <a:lnTo>
                      <a:pt x="83" y="930"/>
                    </a:lnTo>
                    <a:lnTo>
                      <a:pt x="85" y="929"/>
                    </a:lnTo>
                    <a:lnTo>
                      <a:pt x="83" y="929"/>
                    </a:lnTo>
                    <a:lnTo>
                      <a:pt x="82" y="927"/>
                    </a:lnTo>
                    <a:lnTo>
                      <a:pt x="83" y="927"/>
                    </a:lnTo>
                    <a:lnTo>
                      <a:pt x="83" y="925"/>
                    </a:lnTo>
                    <a:lnTo>
                      <a:pt x="82" y="925"/>
                    </a:lnTo>
                    <a:lnTo>
                      <a:pt x="80" y="924"/>
                    </a:lnTo>
                    <a:lnTo>
                      <a:pt x="80" y="925"/>
                    </a:lnTo>
                    <a:lnTo>
                      <a:pt x="80" y="924"/>
                    </a:lnTo>
                    <a:lnTo>
                      <a:pt x="78" y="924"/>
                    </a:lnTo>
                    <a:lnTo>
                      <a:pt x="77" y="924"/>
                    </a:lnTo>
                    <a:lnTo>
                      <a:pt x="75" y="924"/>
                    </a:lnTo>
                    <a:lnTo>
                      <a:pt x="75" y="922"/>
                    </a:lnTo>
                    <a:lnTo>
                      <a:pt x="73" y="922"/>
                    </a:lnTo>
                    <a:lnTo>
                      <a:pt x="71" y="922"/>
                    </a:lnTo>
                    <a:lnTo>
                      <a:pt x="71" y="924"/>
                    </a:lnTo>
                    <a:lnTo>
                      <a:pt x="70" y="922"/>
                    </a:lnTo>
                    <a:lnTo>
                      <a:pt x="70" y="924"/>
                    </a:lnTo>
                    <a:lnTo>
                      <a:pt x="68" y="924"/>
                    </a:lnTo>
                    <a:lnTo>
                      <a:pt x="66" y="922"/>
                    </a:lnTo>
                    <a:lnTo>
                      <a:pt x="66" y="924"/>
                    </a:lnTo>
                    <a:lnTo>
                      <a:pt x="65" y="924"/>
                    </a:lnTo>
                    <a:lnTo>
                      <a:pt x="65" y="922"/>
                    </a:lnTo>
                    <a:lnTo>
                      <a:pt x="63" y="922"/>
                    </a:lnTo>
                    <a:lnTo>
                      <a:pt x="63" y="924"/>
                    </a:lnTo>
                    <a:lnTo>
                      <a:pt x="61" y="924"/>
                    </a:lnTo>
                    <a:lnTo>
                      <a:pt x="60" y="924"/>
                    </a:lnTo>
                    <a:lnTo>
                      <a:pt x="60" y="922"/>
                    </a:lnTo>
                    <a:lnTo>
                      <a:pt x="60" y="920"/>
                    </a:lnTo>
                    <a:lnTo>
                      <a:pt x="61" y="920"/>
                    </a:lnTo>
                    <a:lnTo>
                      <a:pt x="61" y="918"/>
                    </a:lnTo>
                    <a:lnTo>
                      <a:pt x="60" y="917"/>
                    </a:lnTo>
                    <a:lnTo>
                      <a:pt x="60" y="915"/>
                    </a:lnTo>
                    <a:lnTo>
                      <a:pt x="61" y="913"/>
                    </a:lnTo>
                    <a:lnTo>
                      <a:pt x="60" y="913"/>
                    </a:lnTo>
                    <a:lnTo>
                      <a:pt x="60" y="912"/>
                    </a:lnTo>
                    <a:lnTo>
                      <a:pt x="58" y="910"/>
                    </a:lnTo>
                    <a:lnTo>
                      <a:pt x="60" y="910"/>
                    </a:lnTo>
                    <a:lnTo>
                      <a:pt x="61" y="910"/>
                    </a:lnTo>
                    <a:lnTo>
                      <a:pt x="63" y="908"/>
                    </a:lnTo>
                    <a:lnTo>
                      <a:pt x="63" y="907"/>
                    </a:lnTo>
                    <a:lnTo>
                      <a:pt x="63" y="905"/>
                    </a:lnTo>
                    <a:lnTo>
                      <a:pt x="65" y="905"/>
                    </a:lnTo>
                    <a:lnTo>
                      <a:pt x="65" y="903"/>
                    </a:lnTo>
                    <a:lnTo>
                      <a:pt x="65" y="901"/>
                    </a:lnTo>
                    <a:lnTo>
                      <a:pt x="66" y="901"/>
                    </a:lnTo>
                    <a:lnTo>
                      <a:pt x="65" y="900"/>
                    </a:lnTo>
                    <a:lnTo>
                      <a:pt x="63" y="900"/>
                    </a:lnTo>
                    <a:lnTo>
                      <a:pt x="63" y="898"/>
                    </a:lnTo>
                    <a:lnTo>
                      <a:pt x="63" y="896"/>
                    </a:lnTo>
                    <a:lnTo>
                      <a:pt x="61" y="896"/>
                    </a:lnTo>
                    <a:lnTo>
                      <a:pt x="63" y="896"/>
                    </a:lnTo>
                    <a:lnTo>
                      <a:pt x="61" y="896"/>
                    </a:lnTo>
                    <a:lnTo>
                      <a:pt x="63" y="895"/>
                    </a:lnTo>
                    <a:lnTo>
                      <a:pt x="61" y="895"/>
                    </a:lnTo>
                    <a:lnTo>
                      <a:pt x="63" y="893"/>
                    </a:lnTo>
                    <a:lnTo>
                      <a:pt x="65" y="891"/>
                    </a:lnTo>
                    <a:lnTo>
                      <a:pt x="65" y="890"/>
                    </a:lnTo>
                    <a:lnTo>
                      <a:pt x="66" y="890"/>
                    </a:lnTo>
                    <a:lnTo>
                      <a:pt x="68" y="890"/>
                    </a:lnTo>
                    <a:lnTo>
                      <a:pt x="66" y="890"/>
                    </a:lnTo>
                    <a:lnTo>
                      <a:pt x="68" y="890"/>
                    </a:lnTo>
                    <a:lnTo>
                      <a:pt x="68" y="888"/>
                    </a:lnTo>
                    <a:lnTo>
                      <a:pt x="68" y="886"/>
                    </a:lnTo>
                    <a:lnTo>
                      <a:pt x="66" y="886"/>
                    </a:lnTo>
                    <a:lnTo>
                      <a:pt x="65" y="886"/>
                    </a:lnTo>
                    <a:lnTo>
                      <a:pt x="63" y="886"/>
                    </a:lnTo>
                    <a:lnTo>
                      <a:pt x="63" y="884"/>
                    </a:lnTo>
                    <a:lnTo>
                      <a:pt x="61" y="884"/>
                    </a:lnTo>
                    <a:lnTo>
                      <a:pt x="61" y="883"/>
                    </a:lnTo>
                    <a:lnTo>
                      <a:pt x="60" y="883"/>
                    </a:lnTo>
                    <a:lnTo>
                      <a:pt x="58" y="883"/>
                    </a:lnTo>
                    <a:lnTo>
                      <a:pt x="58" y="881"/>
                    </a:lnTo>
                    <a:lnTo>
                      <a:pt x="60" y="879"/>
                    </a:lnTo>
                    <a:lnTo>
                      <a:pt x="58" y="879"/>
                    </a:lnTo>
                    <a:lnTo>
                      <a:pt x="58" y="878"/>
                    </a:lnTo>
                    <a:lnTo>
                      <a:pt x="58" y="879"/>
                    </a:lnTo>
                    <a:lnTo>
                      <a:pt x="56" y="879"/>
                    </a:lnTo>
                    <a:lnTo>
                      <a:pt x="56" y="878"/>
                    </a:lnTo>
                    <a:lnTo>
                      <a:pt x="56" y="876"/>
                    </a:lnTo>
                    <a:lnTo>
                      <a:pt x="58" y="874"/>
                    </a:lnTo>
                    <a:lnTo>
                      <a:pt x="58" y="873"/>
                    </a:lnTo>
                    <a:lnTo>
                      <a:pt x="56" y="873"/>
                    </a:lnTo>
                    <a:lnTo>
                      <a:pt x="58" y="873"/>
                    </a:lnTo>
                    <a:lnTo>
                      <a:pt x="60" y="873"/>
                    </a:lnTo>
                    <a:lnTo>
                      <a:pt x="61" y="873"/>
                    </a:lnTo>
                    <a:lnTo>
                      <a:pt x="61" y="871"/>
                    </a:lnTo>
                    <a:lnTo>
                      <a:pt x="61" y="873"/>
                    </a:lnTo>
                    <a:lnTo>
                      <a:pt x="63" y="873"/>
                    </a:lnTo>
                    <a:lnTo>
                      <a:pt x="63" y="871"/>
                    </a:lnTo>
                    <a:lnTo>
                      <a:pt x="63" y="869"/>
                    </a:lnTo>
                    <a:lnTo>
                      <a:pt x="61" y="867"/>
                    </a:lnTo>
                    <a:lnTo>
                      <a:pt x="63" y="867"/>
                    </a:lnTo>
                    <a:lnTo>
                      <a:pt x="63" y="866"/>
                    </a:lnTo>
                    <a:lnTo>
                      <a:pt x="61" y="866"/>
                    </a:lnTo>
                    <a:lnTo>
                      <a:pt x="61" y="864"/>
                    </a:lnTo>
                    <a:lnTo>
                      <a:pt x="60" y="864"/>
                    </a:lnTo>
                    <a:lnTo>
                      <a:pt x="58" y="864"/>
                    </a:lnTo>
                    <a:lnTo>
                      <a:pt x="58" y="862"/>
                    </a:lnTo>
                    <a:lnTo>
                      <a:pt x="56" y="862"/>
                    </a:lnTo>
                    <a:lnTo>
                      <a:pt x="56" y="861"/>
                    </a:lnTo>
                    <a:lnTo>
                      <a:pt x="54" y="859"/>
                    </a:lnTo>
                    <a:lnTo>
                      <a:pt x="53" y="859"/>
                    </a:lnTo>
                    <a:lnTo>
                      <a:pt x="53" y="857"/>
                    </a:lnTo>
                    <a:lnTo>
                      <a:pt x="51" y="857"/>
                    </a:lnTo>
                    <a:lnTo>
                      <a:pt x="51" y="856"/>
                    </a:lnTo>
                    <a:lnTo>
                      <a:pt x="49" y="854"/>
                    </a:lnTo>
                    <a:lnTo>
                      <a:pt x="49" y="852"/>
                    </a:lnTo>
                    <a:lnTo>
                      <a:pt x="49" y="850"/>
                    </a:lnTo>
                    <a:lnTo>
                      <a:pt x="49" y="849"/>
                    </a:lnTo>
                    <a:lnTo>
                      <a:pt x="48" y="849"/>
                    </a:lnTo>
                    <a:lnTo>
                      <a:pt x="49" y="849"/>
                    </a:lnTo>
                    <a:lnTo>
                      <a:pt x="49" y="847"/>
                    </a:lnTo>
                    <a:lnTo>
                      <a:pt x="49" y="845"/>
                    </a:lnTo>
                    <a:lnTo>
                      <a:pt x="49" y="844"/>
                    </a:lnTo>
                    <a:lnTo>
                      <a:pt x="48" y="844"/>
                    </a:lnTo>
                    <a:lnTo>
                      <a:pt x="48" y="842"/>
                    </a:lnTo>
                    <a:lnTo>
                      <a:pt x="49" y="842"/>
                    </a:lnTo>
                    <a:lnTo>
                      <a:pt x="49" y="840"/>
                    </a:lnTo>
                    <a:lnTo>
                      <a:pt x="49" y="839"/>
                    </a:lnTo>
                    <a:lnTo>
                      <a:pt x="51" y="839"/>
                    </a:lnTo>
                    <a:lnTo>
                      <a:pt x="51" y="837"/>
                    </a:lnTo>
                    <a:lnTo>
                      <a:pt x="53" y="837"/>
                    </a:lnTo>
                    <a:lnTo>
                      <a:pt x="53" y="835"/>
                    </a:lnTo>
                    <a:lnTo>
                      <a:pt x="53" y="833"/>
                    </a:lnTo>
                    <a:lnTo>
                      <a:pt x="53" y="832"/>
                    </a:lnTo>
                    <a:lnTo>
                      <a:pt x="53" y="830"/>
                    </a:lnTo>
                    <a:lnTo>
                      <a:pt x="51" y="830"/>
                    </a:lnTo>
                    <a:lnTo>
                      <a:pt x="51" y="828"/>
                    </a:lnTo>
                    <a:lnTo>
                      <a:pt x="49" y="830"/>
                    </a:lnTo>
                    <a:lnTo>
                      <a:pt x="49" y="828"/>
                    </a:lnTo>
                    <a:lnTo>
                      <a:pt x="49" y="827"/>
                    </a:lnTo>
                    <a:lnTo>
                      <a:pt x="49" y="825"/>
                    </a:lnTo>
                    <a:lnTo>
                      <a:pt x="48" y="823"/>
                    </a:lnTo>
                    <a:lnTo>
                      <a:pt x="49" y="823"/>
                    </a:lnTo>
                    <a:lnTo>
                      <a:pt x="48" y="822"/>
                    </a:lnTo>
                    <a:lnTo>
                      <a:pt x="48" y="820"/>
                    </a:lnTo>
                    <a:lnTo>
                      <a:pt x="48" y="818"/>
                    </a:lnTo>
                    <a:lnTo>
                      <a:pt x="49" y="818"/>
                    </a:lnTo>
                    <a:lnTo>
                      <a:pt x="51" y="818"/>
                    </a:lnTo>
                    <a:lnTo>
                      <a:pt x="51" y="816"/>
                    </a:lnTo>
                    <a:lnTo>
                      <a:pt x="53" y="816"/>
                    </a:lnTo>
                    <a:lnTo>
                      <a:pt x="53" y="818"/>
                    </a:lnTo>
                    <a:lnTo>
                      <a:pt x="54" y="818"/>
                    </a:lnTo>
                    <a:lnTo>
                      <a:pt x="56" y="820"/>
                    </a:lnTo>
                    <a:lnTo>
                      <a:pt x="58" y="820"/>
                    </a:lnTo>
                    <a:lnTo>
                      <a:pt x="58" y="818"/>
                    </a:lnTo>
                    <a:lnTo>
                      <a:pt x="60" y="818"/>
                    </a:lnTo>
                    <a:lnTo>
                      <a:pt x="60" y="820"/>
                    </a:lnTo>
                    <a:lnTo>
                      <a:pt x="60" y="818"/>
                    </a:lnTo>
                    <a:lnTo>
                      <a:pt x="61" y="818"/>
                    </a:lnTo>
                    <a:lnTo>
                      <a:pt x="63" y="818"/>
                    </a:lnTo>
                    <a:lnTo>
                      <a:pt x="63" y="816"/>
                    </a:lnTo>
                    <a:lnTo>
                      <a:pt x="63" y="815"/>
                    </a:lnTo>
                    <a:lnTo>
                      <a:pt x="63" y="813"/>
                    </a:lnTo>
                    <a:lnTo>
                      <a:pt x="61" y="813"/>
                    </a:lnTo>
                    <a:lnTo>
                      <a:pt x="61" y="811"/>
                    </a:lnTo>
                    <a:lnTo>
                      <a:pt x="61" y="810"/>
                    </a:lnTo>
                    <a:lnTo>
                      <a:pt x="61" y="808"/>
                    </a:lnTo>
                    <a:lnTo>
                      <a:pt x="61" y="806"/>
                    </a:lnTo>
                    <a:lnTo>
                      <a:pt x="61" y="804"/>
                    </a:lnTo>
                    <a:lnTo>
                      <a:pt x="61" y="803"/>
                    </a:lnTo>
                    <a:lnTo>
                      <a:pt x="61" y="801"/>
                    </a:lnTo>
                    <a:lnTo>
                      <a:pt x="61" y="799"/>
                    </a:lnTo>
                    <a:lnTo>
                      <a:pt x="60" y="799"/>
                    </a:lnTo>
                    <a:lnTo>
                      <a:pt x="61" y="798"/>
                    </a:lnTo>
                    <a:lnTo>
                      <a:pt x="60" y="798"/>
                    </a:lnTo>
                    <a:lnTo>
                      <a:pt x="60" y="796"/>
                    </a:lnTo>
                    <a:lnTo>
                      <a:pt x="58" y="796"/>
                    </a:lnTo>
                    <a:lnTo>
                      <a:pt x="58" y="794"/>
                    </a:lnTo>
                    <a:lnTo>
                      <a:pt x="58" y="793"/>
                    </a:lnTo>
                    <a:lnTo>
                      <a:pt x="60" y="793"/>
                    </a:lnTo>
                    <a:lnTo>
                      <a:pt x="60" y="791"/>
                    </a:lnTo>
                    <a:lnTo>
                      <a:pt x="60" y="789"/>
                    </a:lnTo>
                    <a:lnTo>
                      <a:pt x="60" y="787"/>
                    </a:lnTo>
                    <a:lnTo>
                      <a:pt x="60" y="786"/>
                    </a:lnTo>
                    <a:lnTo>
                      <a:pt x="58" y="786"/>
                    </a:lnTo>
                    <a:lnTo>
                      <a:pt x="58" y="784"/>
                    </a:lnTo>
                    <a:lnTo>
                      <a:pt x="58" y="782"/>
                    </a:lnTo>
                    <a:lnTo>
                      <a:pt x="56" y="782"/>
                    </a:lnTo>
                    <a:lnTo>
                      <a:pt x="58" y="782"/>
                    </a:lnTo>
                    <a:lnTo>
                      <a:pt x="58" y="781"/>
                    </a:lnTo>
                    <a:lnTo>
                      <a:pt x="58" y="779"/>
                    </a:lnTo>
                    <a:lnTo>
                      <a:pt x="58" y="777"/>
                    </a:lnTo>
                    <a:lnTo>
                      <a:pt x="60" y="779"/>
                    </a:lnTo>
                    <a:lnTo>
                      <a:pt x="58" y="777"/>
                    </a:lnTo>
                    <a:lnTo>
                      <a:pt x="60" y="777"/>
                    </a:lnTo>
                    <a:lnTo>
                      <a:pt x="58" y="777"/>
                    </a:lnTo>
                    <a:lnTo>
                      <a:pt x="58" y="776"/>
                    </a:lnTo>
                    <a:lnTo>
                      <a:pt x="58" y="774"/>
                    </a:lnTo>
                    <a:lnTo>
                      <a:pt x="60" y="774"/>
                    </a:lnTo>
                    <a:lnTo>
                      <a:pt x="60" y="772"/>
                    </a:lnTo>
                    <a:lnTo>
                      <a:pt x="60" y="770"/>
                    </a:lnTo>
                    <a:lnTo>
                      <a:pt x="60" y="769"/>
                    </a:lnTo>
                    <a:lnTo>
                      <a:pt x="58" y="769"/>
                    </a:lnTo>
                    <a:lnTo>
                      <a:pt x="58" y="767"/>
                    </a:lnTo>
                    <a:lnTo>
                      <a:pt x="58" y="765"/>
                    </a:lnTo>
                    <a:lnTo>
                      <a:pt x="56" y="765"/>
                    </a:lnTo>
                    <a:lnTo>
                      <a:pt x="58" y="765"/>
                    </a:lnTo>
                    <a:lnTo>
                      <a:pt x="58" y="764"/>
                    </a:lnTo>
                    <a:lnTo>
                      <a:pt x="58" y="762"/>
                    </a:lnTo>
                    <a:lnTo>
                      <a:pt x="58" y="760"/>
                    </a:lnTo>
                    <a:lnTo>
                      <a:pt x="58" y="762"/>
                    </a:lnTo>
                    <a:lnTo>
                      <a:pt x="58" y="760"/>
                    </a:lnTo>
                    <a:lnTo>
                      <a:pt x="56" y="760"/>
                    </a:lnTo>
                    <a:lnTo>
                      <a:pt x="56" y="759"/>
                    </a:lnTo>
                    <a:lnTo>
                      <a:pt x="56" y="757"/>
                    </a:lnTo>
                    <a:lnTo>
                      <a:pt x="56" y="755"/>
                    </a:lnTo>
                    <a:lnTo>
                      <a:pt x="54" y="755"/>
                    </a:lnTo>
                    <a:lnTo>
                      <a:pt x="54" y="753"/>
                    </a:lnTo>
                    <a:lnTo>
                      <a:pt x="56" y="753"/>
                    </a:lnTo>
                    <a:lnTo>
                      <a:pt x="58" y="752"/>
                    </a:lnTo>
                    <a:lnTo>
                      <a:pt x="58" y="750"/>
                    </a:lnTo>
                    <a:lnTo>
                      <a:pt x="60" y="750"/>
                    </a:lnTo>
                    <a:lnTo>
                      <a:pt x="60" y="748"/>
                    </a:lnTo>
                    <a:lnTo>
                      <a:pt x="58" y="748"/>
                    </a:lnTo>
                    <a:lnTo>
                      <a:pt x="58" y="747"/>
                    </a:lnTo>
                    <a:lnTo>
                      <a:pt x="60" y="745"/>
                    </a:lnTo>
                    <a:lnTo>
                      <a:pt x="58" y="745"/>
                    </a:lnTo>
                    <a:lnTo>
                      <a:pt x="60" y="743"/>
                    </a:lnTo>
                    <a:lnTo>
                      <a:pt x="60" y="742"/>
                    </a:lnTo>
                    <a:lnTo>
                      <a:pt x="61" y="740"/>
                    </a:lnTo>
                    <a:lnTo>
                      <a:pt x="61" y="742"/>
                    </a:lnTo>
                    <a:lnTo>
                      <a:pt x="61" y="740"/>
                    </a:lnTo>
                    <a:lnTo>
                      <a:pt x="63" y="742"/>
                    </a:lnTo>
                    <a:lnTo>
                      <a:pt x="65" y="740"/>
                    </a:lnTo>
                    <a:lnTo>
                      <a:pt x="65" y="738"/>
                    </a:lnTo>
                    <a:lnTo>
                      <a:pt x="65" y="736"/>
                    </a:lnTo>
                    <a:lnTo>
                      <a:pt x="65" y="735"/>
                    </a:lnTo>
                    <a:lnTo>
                      <a:pt x="63" y="735"/>
                    </a:lnTo>
                    <a:lnTo>
                      <a:pt x="61" y="735"/>
                    </a:lnTo>
                    <a:lnTo>
                      <a:pt x="60" y="733"/>
                    </a:lnTo>
                    <a:lnTo>
                      <a:pt x="61" y="733"/>
                    </a:lnTo>
                    <a:lnTo>
                      <a:pt x="60" y="733"/>
                    </a:lnTo>
                    <a:lnTo>
                      <a:pt x="60" y="731"/>
                    </a:lnTo>
                    <a:lnTo>
                      <a:pt x="61" y="730"/>
                    </a:lnTo>
                    <a:lnTo>
                      <a:pt x="60" y="730"/>
                    </a:lnTo>
                    <a:lnTo>
                      <a:pt x="60" y="728"/>
                    </a:lnTo>
                    <a:lnTo>
                      <a:pt x="61" y="728"/>
                    </a:lnTo>
                    <a:lnTo>
                      <a:pt x="60" y="726"/>
                    </a:lnTo>
                    <a:lnTo>
                      <a:pt x="61" y="726"/>
                    </a:lnTo>
                    <a:lnTo>
                      <a:pt x="63" y="726"/>
                    </a:lnTo>
                    <a:lnTo>
                      <a:pt x="65" y="728"/>
                    </a:lnTo>
                    <a:lnTo>
                      <a:pt x="65" y="726"/>
                    </a:lnTo>
                    <a:lnTo>
                      <a:pt x="65" y="725"/>
                    </a:lnTo>
                    <a:lnTo>
                      <a:pt x="65" y="723"/>
                    </a:lnTo>
                    <a:lnTo>
                      <a:pt x="65" y="721"/>
                    </a:lnTo>
                    <a:lnTo>
                      <a:pt x="66" y="721"/>
                    </a:lnTo>
                    <a:lnTo>
                      <a:pt x="66" y="719"/>
                    </a:lnTo>
                    <a:lnTo>
                      <a:pt x="68" y="719"/>
                    </a:lnTo>
                    <a:lnTo>
                      <a:pt x="68" y="718"/>
                    </a:lnTo>
                    <a:lnTo>
                      <a:pt x="66" y="716"/>
                    </a:lnTo>
                    <a:lnTo>
                      <a:pt x="65" y="716"/>
                    </a:lnTo>
                    <a:lnTo>
                      <a:pt x="65" y="714"/>
                    </a:lnTo>
                    <a:lnTo>
                      <a:pt x="65" y="713"/>
                    </a:lnTo>
                    <a:lnTo>
                      <a:pt x="65" y="711"/>
                    </a:lnTo>
                    <a:lnTo>
                      <a:pt x="63" y="711"/>
                    </a:lnTo>
                    <a:lnTo>
                      <a:pt x="63" y="709"/>
                    </a:lnTo>
                    <a:lnTo>
                      <a:pt x="65" y="709"/>
                    </a:lnTo>
                    <a:lnTo>
                      <a:pt x="63" y="709"/>
                    </a:lnTo>
                    <a:lnTo>
                      <a:pt x="65" y="709"/>
                    </a:lnTo>
                    <a:lnTo>
                      <a:pt x="65" y="708"/>
                    </a:lnTo>
                    <a:lnTo>
                      <a:pt x="63" y="706"/>
                    </a:lnTo>
                    <a:lnTo>
                      <a:pt x="65" y="706"/>
                    </a:lnTo>
                    <a:lnTo>
                      <a:pt x="65" y="704"/>
                    </a:lnTo>
                    <a:lnTo>
                      <a:pt x="65" y="702"/>
                    </a:lnTo>
                    <a:lnTo>
                      <a:pt x="65" y="704"/>
                    </a:lnTo>
                    <a:lnTo>
                      <a:pt x="66" y="704"/>
                    </a:lnTo>
                    <a:lnTo>
                      <a:pt x="66" y="706"/>
                    </a:lnTo>
                    <a:lnTo>
                      <a:pt x="68" y="706"/>
                    </a:lnTo>
                    <a:lnTo>
                      <a:pt x="70" y="706"/>
                    </a:lnTo>
                    <a:lnTo>
                      <a:pt x="71" y="706"/>
                    </a:lnTo>
                    <a:lnTo>
                      <a:pt x="71" y="704"/>
                    </a:lnTo>
                    <a:lnTo>
                      <a:pt x="71" y="702"/>
                    </a:lnTo>
                    <a:lnTo>
                      <a:pt x="70" y="702"/>
                    </a:lnTo>
                    <a:lnTo>
                      <a:pt x="70" y="701"/>
                    </a:lnTo>
                    <a:lnTo>
                      <a:pt x="71" y="699"/>
                    </a:lnTo>
                    <a:lnTo>
                      <a:pt x="71" y="697"/>
                    </a:lnTo>
                    <a:lnTo>
                      <a:pt x="73" y="697"/>
                    </a:lnTo>
                    <a:lnTo>
                      <a:pt x="71" y="697"/>
                    </a:lnTo>
                    <a:lnTo>
                      <a:pt x="73" y="696"/>
                    </a:lnTo>
                    <a:lnTo>
                      <a:pt x="71" y="696"/>
                    </a:lnTo>
                    <a:lnTo>
                      <a:pt x="71" y="694"/>
                    </a:lnTo>
                    <a:lnTo>
                      <a:pt x="73" y="694"/>
                    </a:lnTo>
                    <a:lnTo>
                      <a:pt x="75" y="694"/>
                    </a:lnTo>
                    <a:lnTo>
                      <a:pt x="75" y="692"/>
                    </a:lnTo>
                    <a:lnTo>
                      <a:pt x="75" y="691"/>
                    </a:lnTo>
                    <a:lnTo>
                      <a:pt x="75" y="689"/>
                    </a:lnTo>
                    <a:lnTo>
                      <a:pt x="75" y="687"/>
                    </a:lnTo>
                    <a:lnTo>
                      <a:pt x="73" y="685"/>
                    </a:lnTo>
                    <a:lnTo>
                      <a:pt x="73" y="684"/>
                    </a:lnTo>
                    <a:lnTo>
                      <a:pt x="73" y="682"/>
                    </a:lnTo>
                    <a:lnTo>
                      <a:pt x="73" y="680"/>
                    </a:lnTo>
                    <a:lnTo>
                      <a:pt x="75" y="680"/>
                    </a:lnTo>
                    <a:lnTo>
                      <a:pt x="73" y="680"/>
                    </a:lnTo>
                    <a:lnTo>
                      <a:pt x="73" y="679"/>
                    </a:lnTo>
                    <a:lnTo>
                      <a:pt x="73" y="677"/>
                    </a:lnTo>
                    <a:lnTo>
                      <a:pt x="73" y="675"/>
                    </a:lnTo>
                    <a:lnTo>
                      <a:pt x="75" y="675"/>
                    </a:lnTo>
                    <a:lnTo>
                      <a:pt x="75" y="674"/>
                    </a:lnTo>
                    <a:lnTo>
                      <a:pt x="77" y="674"/>
                    </a:lnTo>
                    <a:lnTo>
                      <a:pt x="78" y="672"/>
                    </a:lnTo>
                    <a:lnTo>
                      <a:pt x="78" y="670"/>
                    </a:lnTo>
                    <a:lnTo>
                      <a:pt x="80" y="670"/>
                    </a:lnTo>
                    <a:lnTo>
                      <a:pt x="82" y="670"/>
                    </a:lnTo>
                    <a:lnTo>
                      <a:pt x="83" y="670"/>
                    </a:lnTo>
                    <a:lnTo>
                      <a:pt x="83" y="668"/>
                    </a:lnTo>
                    <a:lnTo>
                      <a:pt x="85" y="668"/>
                    </a:lnTo>
                    <a:lnTo>
                      <a:pt x="87" y="668"/>
                    </a:lnTo>
                    <a:lnTo>
                      <a:pt x="88" y="668"/>
                    </a:lnTo>
                    <a:lnTo>
                      <a:pt x="90" y="668"/>
                    </a:lnTo>
                    <a:lnTo>
                      <a:pt x="90" y="667"/>
                    </a:lnTo>
                    <a:lnTo>
                      <a:pt x="92" y="667"/>
                    </a:lnTo>
                    <a:lnTo>
                      <a:pt x="92" y="665"/>
                    </a:lnTo>
                    <a:lnTo>
                      <a:pt x="90" y="665"/>
                    </a:lnTo>
                    <a:lnTo>
                      <a:pt x="90" y="663"/>
                    </a:lnTo>
                    <a:lnTo>
                      <a:pt x="92" y="663"/>
                    </a:lnTo>
                    <a:lnTo>
                      <a:pt x="92" y="662"/>
                    </a:lnTo>
                    <a:lnTo>
                      <a:pt x="94" y="662"/>
                    </a:lnTo>
                    <a:lnTo>
                      <a:pt x="94" y="660"/>
                    </a:lnTo>
                    <a:lnTo>
                      <a:pt x="94" y="658"/>
                    </a:lnTo>
                    <a:lnTo>
                      <a:pt x="92" y="658"/>
                    </a:lnTo>
                    <a:lnTo>
                      <a:pt x="92" y="656"/>
                    </a:lnTo>
                    <a:lnTo>
                      <a:pt x="90" y="656"/>
                    </a:lnTo>
                    <a:lnTo>
                      <a:pt x="90" y="655"/>
                    </a:lnTo>
                    <a:lnTo>
                      <a:pt x="88" y="655"/>
                    </a:lnTo>
                    <a:lnTo>
                      <a:pt x="88" y="653"/>
                    </a:lnTo>
                    <a:lnTo>
                      <a:pt x="88" y="651"/>
                    </a:lnTo>
                    <a:lnTo>
                      <a:pt x="87" y="650"/>
                    </a:lnTo>
                    <a:lnTo>
                      <a:pt x="88" y="650"/>
                    </a:lnTo>
                    <a:lnTo>
                      <a:pt x="87" y="650"/>
                    </a:lnTo>
                    <a:lnTo>
                      <a:pt x="87" y="648"/>
                    </a:lnTo>
                    <a:lnTo>
                      <a:pt x="87" y="646"/>
                    </a:lnTo>
                    <a:lnTo>
                      <a:pt x="87" y="645"/>
                    </a:lnTo>
                    <a:lnTo>
                      <a:pt x="88" y="645"/>
                    </a:lnTo>
                    <a:lnTo>
                      <a:pt x="88" y="643"/>
                    </a:lnTo>
                    <a:lnTo>
                      <a:pt x="87" y="641"/>
                    </a:lnTo>
                    <a:lnTo>
                      <a:pt x="85" y="639"/>
                    </a:lnTo>
                    <a:lnTo>
                      <a:pt x="87" y="639"/>
                    </a:lnTo>
                    <a:lnTo>
                      <a:pt x="88" y="639"/>
                    </a:lnTo>
                    <a:lnTo>
                      <a:pt x="87" y="639"/>
                    </a:lnTo>
                    <a:lnTo>
                      <a:pt x="87" y="638"/>
                    </a:lnTo>
                    <a:lnTo>
                      <a:pt x="85" y="638"/>
                    </a:lnTo>
                    <a:lnTo>
                      <a:pt x="85" y="636"/>
                    </a:lnTo>
                    <a:lnTo>
                      <a:pt x="85" y="634"/>
                    </a:lnTo>
                    <a:lnTo>
                      <a:pt x="83" y="633"/>
                    </a:lnTo>
                    <a:lnTo>
                      <a:pt x="83" y="631"/>
                    </a:lnTo>
                    <a:lnTo>
                      <a:pt x="83" y="629"/>
                    </a:lnTo>
                    <a:lnTo>
                      <a:pt x="82" y="629"/>
                    </a:lnTo>
                    <a:lnTo>
                      <a:pt x="82" y="628"/>
                    </a:lnTo>
                    <a:lnTo>
                      <a:pt x="83" y="628"/>
                    </a:lnTo>
                    <a:lnTo>
                      <a:pt x="82" y="628"/>
                    </a:lnTo>
                    <a:lnTo>
                      <a:pt x="82" y="626"/>
                    </a:lnTo>
                    <a:lnTo>
                      <a:pt x="82" y="624"/>
                    </a:lnTo>
                    <a:lnTo>
                      <a:pt x="82" y="622"/>
                    </a:lnTo>
                    <a:lnTo>
                      <a:pt x="80" y="622"/>
                    </a:lnTo>
                    <a:lnTo>
                      <a:pt x="80" y="621"/>
                    </a:lnTo>
                    <a:lnTo>
                      <a:pt x="82" y="619"/>
                    </a:lnTo>
                    <a:lnTo>
                      <a:pt x="83" y="617"/>
                    </a:lnTo>
                    <a:lnTo>
                      <a:pt x="83" y="616"/>
                    </a:lnTo>
                    <a:lnTo>
                      <a:pt x="82" y="616"/>
                    </a:lnTo>
                    <a:lnTo>
                      <a:pt x="83" y="616"/>
                    </a:lnTo>
                    <a:lnTo>
                      <a:pt x="83" y="614"/>
                    </a:lnTo>
                    <a:lnTo>
                      <a:pt x="83" y="612"/>
                    </a:lnTo>
                    <a:lnTo>
                      <a:pt x="83" y="611"/>
                    </a:lnTo>
                    <a:lnTo>
                      <a:pt x="82" y="609"/>
                    </a:lnTo>
                    <a:lnTo>
                      <a:pt x="80" y="609"/>
                    </a:lnTo>
                    <a:lnTo>
                      <a:pt x="82" y="607"/>
                    </a:lnTo>
                    <a:lnTo>
                      <a:pt x="80" y="607"/>
                    </a:lnTo>
                    <a:lnTo>
                      <a:pt x="80" y="605"/>
                    </a:lnTo>
                    <a:lnTo>
                      <a:pt x="80" y="604"/>
                    </a:lnTo>
                    <a:lnTo>
                      <a:pt x="82" y="604"/>
                    </a:lnTo>
                    <a:lnTo>
                      <a:pt x="82" y="602"/>
                    </a:lnTo>
                    <a:lnTo>
                      <a:pt x="83" y="602"/>
                    </a:lnTo>
                    <a:lnTo>
                      <a:pt x="83" y="600"/>
                    </a:lnTo>
                    <a:lnTo>
                      <a:pt x="83" y="599"/>
                    </a:lnTo>
                    <a:lnTo>
                      <a:pt x="85" y="599"/>
                    </a:lnTo>
                    <a:lnTo>
                      <a:pt x="85" y="597"/>
                    </a:lnTo>
                    <a:lnTo>
                      <a:pt x="83" y="597"/>
                    </a:lnTo>
                    <a:lnTo>
                      <a:pt x="83" y="595"/>
                    </a:lnTo>
                    <a:lnTo>
                      <a:pt x="83" y="594"/>
                    </a:lnTo>
                    <a:lnTo>
                      <a:pt x="82" y="594"/>
                    </a:lnTo>
                    <a:lnTo>
                      <a:pt x="82" y="592"/>
                    </a:lnTo>
                    <a:lnTo>
                      <a:pt x="80" y="592"/>
                    </a:lnTo>
                    <a:lnTo>
                      <a:pt x="82" y="592"/>
                    </a:lnTo>
                    <a:lnTo>
                      <a:pt x="83" y="592"/>
                    </a:lnTo>
                    <a:lnTo>
                      <a:pt x="83" y="590"/>
                    </a:lnTo>
                    <a:lnTo>
                      <a:pt x="85" y="590"/>
                    </a:lnTo>
                    <a:lnTo>
                      <a:pt x="83" y="590"/>
                    </a:lnTo>
                    <a:lnTo>
                      <a:pt x="82" y="588"/>
                    </a:lnTo>
                    <a:lnTo>
                      <a:pt x="83" y="588"/>
                    </a:lnTo>
                    <a:lnTo>
                      <a:pt x="83" y="587"/>
                    </a:lnTo>
                    <a:lnTo>
                      <a:pt x="82" y="587"/>
                    </a:lnTo>
                    <a:lnTo>
                      <a:pt x="82" y="585"/>
                    </a:lnTo>
                    <a:lnTo>
                      <a:pt x="83" y="585"/>
                    </a:lnTo>
                    <a:lnTo>
                      <a:pt x="83" y="583"/>
                    </a:lnTo>
                    <a:lnTo>
                      <a:pt x="83" y="582"/>
                    </a:lnTo>
                    <a:lnTo>
                      <a:pt x="83" y="580"/>
                    </a:lnTo>
                    <a:lnTo>
                      <a:pt x="83" y="578"/>
                    </a:lnTo>
                    <a:lnTo>
                      <a:pt x="85" y="578"/>
                    </a:lnTo>
                    <a:lnTo>
                      <a:pt x="85" y="580"/>
                    </a:lnTo>
                    <a:lnTo>
                      <a:pt x="87" y="580"/>
                    </a:lnTo>
                    <a:lnTo>
                      <a:pt x="87" y="578"/>
                    </a:lnTo>
                    <a:lnTo>
                      <a:pt x="87" y="577"/>
                    </a:lnTo>
                    <a:lnTo>
                      <a:pt x="85" y="577"/>
                    </a:lnTo>
                    <a:lnTo>
                      <a:pt x="87" y="575"/>
                    </a:lnTo>
                    <a:lnTo>
                      <a:pt x="85" y="575"/>
                    </a:lnTo>
                    <a:lnTo>
                      <a:pt x="87" y="573"/>
                    </a:lnTo>
                    <a:lnTo>
                      <a:pt x="85" y="573"/>
                    </a:lnTo>
                    <a:lnTo>
                      <a:pt x="87" y="571"/>
                    </a:lnTo>
                    <a:lnTo>
                      <a:pt x="87" y="570"/>
                    </a:lnTo>
                    <a:lnTo>
                      <a:pt x="87" y="571"/>
                    </a:lnTo>
                    <a:lnTo>
                      <a:pt x="88" y="571"/>
                    </a:lnTo>
                    <a:lnTo>
                      <a:pt x="90" y="571"/>
                    </a:lnTo>
                    <a:lnTo>
                      <a:pt x="90" y="570"/>
                    </a:lnTo>
                    <a:lnTo>
                      <a:pt x="92" y="570"/>
                    </a:lnTo>
                    <a:lnTo>
                      <a:pt x="92" y="568"/>
                    </a:lnTo>
                    <a:lnTo>
                      <a:pt x="92" y="566"/>
                    </a:lnTo>
                    <a:lnTo>
                      <a:pt x="92" y="568"/>
                    </a:lnTo>
                    <a:lnTo>
                      <a:pt x="94" y="568"/>
                    </a:lnTo>
                    <a:lnTo>
                      <a:pt x="94" y="566"/>
                    </a:lnTo>
                    <a:lnTo>
                      <a:pt x="94" y="568"/>
                    </a:lnTo>
                    <a:lnTo>
                      <a:pt x="95" y="568"/>
                    </a:lnTo>
                    <a:lnTo>
                      <a:pt x="97" y="568"/>
                    </a:lnTo>
                    <a:lnTo>
                      <a:pt x="99" y="568"/>
                    </a:lnTo>
                    <a:lnTo>
                      <a:pt x="99" y="566"/>
                    </a:lnTo>
                    <a:lnTo>
                      <a:pt x="97" y="566"/>
                    </a:lnTo>
                    <a:lnTo>
                      <a:pt x="97" y="565"/>
                    </a:lnTo>
                    <a:lnTo>
                      <a:pt x="99" y="563"/>
                    </a:lnTo>
                    <a:lnTo>
                      <a:pt x="97" y="561"/>
                    </a:lnTo>
                    <a:lnTo>
                      <a:pt x="99" y="561"/>
                    </a:lnTo>
                    <a:lnTo>
                      <a:pt x="100" y="561"/>
                    </a:lnTo>
                    <a:lnTo>
                      <a:pt x="100" y="560"/>
                    </a:lnTo>
                    <a:lnTo>
                      <a:pt x="100" y="558"/>
                    </a:lnTo>
                    <a:lnTo>
                      <a:pt x="102" y="558"/>
                    </a:lnTo>
                    <a:lnTo>
                      <a:pt x="102" y="556"/>
                    </a:lnTo>
                    <a:lnTo>
                      <a:pt x="104" y="556"/>
                    </a:lnTo>
                    <a:lnTo>
                      <a:pt x="104" y="558"/>
                    </a:lnTo>
                    <a:lnTo>
                      <a:pt x="105" y="558"/>
                    </a:lnTo>
                    <a:lnTo>
                      <a:pt x="107" y="558"/>
                    </a:lnTo>
                    <a:lnTo>
                      <a:pt x="107" y="556"/>
                    </a:lnTo>
                    <a:lnTo>
                      <a:pt x="107" y="554"/>
                    </a:lnTo>
                    <a:lnTo>
                      <a:pt x="107" y="553"/>
                    </a:lnTo>
                    <a:lnTo>
                      <a:pt x="109" y="553"/>
                    </a:lnTo>
                    <a:lnTo>
                      <a:pt x="109" y="551"/>
                    </a:lnTo>
                    <a:lnTo>
                      <a:pt x="109" y="549"/>
                    </a:lnTo>
                    <a:lnTo>
                      <a:pt x="107" y="549"/>
                    </a:lnTo>
                    <a:lnTo>
                      <a:pt x="109" y="548"/>
                    </a:lnTo>
                    <a:lnTo>
                      <a:pt x="107" y="548"/>
                    </a:lnTo>
                    <a:lnTo>
                      <a:pt x="107" y="546"/>
                    </a:lnTo>
                    <a:lnTo>
                      <a:pt x="107" y="544"/>
                    </a:lnTo>
                    <a:lnTo>
                      <a:pt x="109" y="544"/>
                    </a:lnTo>
                    <a:lnTo>
                      <a:pt x="111" y="544"/>
                    </a:lnTo>
                    <a:lnTo>
                      <a:pt x="111" y="543"/>
                    </a:lnTo>
                    <a:lnTo>
                      <a:pt x="109" y="543"/>
                    </a:lnTo>
                    <a:lnTo>
                      <a:pt x="109" y="541"/>
                    </a:lnTo>
                    <a:lnTo>
                      <a:pt x="109" y="539"/>
                    </a:lnTo>
                    <a:lnTo>
                      <a:pt x="109" y="537"/>
                    </a:lnTo>
                    <a:lnTo>
                      <a:pt x="107" y="537"/>
                    </a:lnTo>
                    <a:lnTo>
                      <a:pt x="107" y="536"/>
                    </a:lnTo>
                    <a:lnTo>
                      <a:pt x="109" y="534"/>
                    </a:lnTo>
                    <a:lnTo>
                      <a:pt x="107" y="532"/>
                    </a:lnTo>
                    <a:lnTo>
                      <a:pt x="107" y="531"/>
                    </a:lnTo>
                    <a:lnTo>
                      <a:pt x="109" y="531"/>
                    </a:lnTo>
                    <a:lnTo>
                      <a:pt x="107" y="529"/>
                    </a:lnTo>
                    <a:lnTo>
                      <a:pt x="105" y="529"/>
                    </a:lnTo>
                    <a:lnTo>
                      <a:pt x="107" y="527"/>
                    </a:lnTo>
                    <a:lnTo>
                      <a:pt x="105" y="527"/>
                    </a:lnTo>
                    <a:lnTo>
                      <a:pt x="107" y="526"/>
                    </a:lnTo>
                    <a:lnTo>
                      <a:pt x="105" y="526"/>
                    </a:lnTo>
                    <a:lnTo>
                      <a:pt x="107" y="524"/>
                    </a:lnTo>
                    <a:lnTo>
                      <a:pt x="107" y="522"/>
                    </a:lnTo>
                    <a:lnTo>
                      <a:pt x="105" y="522"/>
                    </a:lnTo>
                    <a:lnTo>
                      <a:pt x="104" y="522"/>
                    </a:lnTo>
                    <a:lnTo>
                      <a:pt x="102" y="522"/>
                    </a:lnTo>
                    <a:lnTo>
                      <a:pt x="102" y="520"/>
                    </a:lnTo>
                    <a:lnTo>
                      <a:pt x="102" y="519"/>
                    </a:lnTo>
                    <a:lnTo>
                      <a:pt x="102" y="517"/>
                    </a:lnTo>
                    <a:lnTo>
                      <a:pt x="104" y="517"/>
                    </a:lnTo>
                    <a:lnTo>
                      <a:pt x="105" y="517"/>
                    </a:lnTo>
                    <a:lnTo>
                      <a:pt x="107" y="517"/>
                    </a:lnTo>
                    <a:lnTo>
                      <a:pt x="109" y="517"/>
                    </a:lnTo>
                    <a:lnTo>
                      <a:pt x="109" y="515"/>
                    </a:lnTo>
                    <a:lnTo>
                      <a:pt x="109" y="514"/>
                    </a:lnTo>
                    <a:lnTo>
                      <a:pt x="109" y="512"/>
                    </a:lnTo>
                    <a:lnTo>
                      <a:pt x="109" y="510"/>
                    </a:lnTo>
                    <a:lnTo>
                      <a:pt x="109" y="509"/>
                    </a:lnTo>
                    <a:lnTo>
                      <a:pt x="111" y="509"/>
                    </a:lnTo>
                    <a:lnTo>
                      <a:pt x="111" y="507"/>
                    </a:lnTo>
                    <a:lnTo>
                      <a:pt x="111" y="505"/>
                    </a:lnTo>
                    <a:lnTo>
                      <a:pt x="112" y="503"/>
                    </a:lnTo>
                    <a:lnTo>
                      <a:pt x="112" y="502"/>
                    </a:lnTo>
                    <a:lnTo>
                      <a:pt x="112" y="500"/>
                    </a:lnTo>
                    <a:lnTo>
                      <a:pt x="111" y="500"/>
                    </a:lnTo>
                    <a:lnTo>
                      <a:pt x="111" y="498"/>
                    </a:lnTo>
                    <a:lnTo>
                      <a:pt x="112" y="498"/>
                    </a:lnTo>
                    <a:lnTo>
                      <a:pt x="112" y="497"/>
                    </a:lnTo>
                    <a:lnTo>
                      <a:pt x="114" y="497"/>
                    </a:lnTo>
                    <a:lnTo>
                      <a:pt x="114" y="495"/>
                    </a:lnTo>
                    <a:lnTo>
                      <a:pt x="114" y="493"/>
                    </a:lnTo>
                    <a:lnTo>
                      <a:pt x="116" y="491"/>
                    </a:lnTo>
                    <a:lnTo>
                      <a:pt x="116" y="490"/>
                    </a:lnTo>
                    <a:lnTo>
                      <a:pt x="117" y="488"/>
                    </a:lnTo>
                    <a:lnTo>
                      <a:pt x="119" y="488"/>
                    </a:lnTo>
                    <a:lnTo>
                      <a:pt x="119" y="486"/>
                    </a:lnTo>
                    <a:lnTo>
                      <a:pt x="121" y="485"/>
                    </a:lnTo>
                    <a:lnTo>
                      <a:pt x="121" y="483"/>
                    </a:lnTo>
                    <a:lnTo>
                      <a:pt x="121" y="481"/>
                    </a:lnTo>
                    <a:lnTo>
                      <a:pt x="121" y="480"/>
                    </a:lnTo>
                    <a:lnTo>
                      <a:pt x="122" y="480"/>
                    </a:lnTo>
                    <a:lnTo>
                      <a:pt x="122" y="478"/>
                    </a:lnTo>
                    <a:lnTo>
                      <a:pt x="122" y="480"/>
                    </a:lnTo>
                    <a:lnTo>
                      <a:pt x="124" y="480"/>
                    </a:lnTo>
                    <a:lnTo>
                      <a:pt x="126" y="480"/>
                    </a:lnTo>
                    <a:lnTo>
                      <a:pt x="126" y="478"/>
                    </a:lnTo>
                    <a:lnTo>
                      <a:pt x="128" y="478"/>
                    </a:lnTo>
                    <a:lnTo>
                      <a:pt x="128" y="476"/>
                    </a:lnTo>
                    <a:lnTo>
                      <a:pt x="128" y="474"/>
                    </a:lnTo>
                    <a:lnTo>
                      <a:pt x="126" y="474"/>
                    </a:lnTo>
                    <a:lnTo>
                      <a:pt x="126" y="473"/>
                    </a:lnTo>
                    <a:lnTo>
                      <a:pt x="128" y="471"/>
                    </a:lnTo>
                    <a:lnTo>
                      <a:pt x="126" y="471"/>
                    </a:lnTo>
                    <a:lnTo>
                      <a:pt x="126" y="469"/>
                    </a:lnTo>
                    <a:lnTo>
                      <a:pt x="128" y="469"/>
                    </a:lnTo>
                    <a:lnTo>
                      <a:pt x="126" y="468"/>
                    </a:lnTo>
                    <a:lnTo>
                      <a:pt x="126" y="466"/>
                    </a:lnTo>
                    <a:lnTo>
                      <a:pt x="126" y="468"/>
                    </a:lnTo>
                    <a:lnTo>
                      <a:pt x="124" y="466"/>
                    </a:lnTo>
                    <a:lnTo>
                      <a:pt x="124" y="464"/>
                    </a:lnTo>
                    <a:lnTo>
                      <a:pt x="126" y="464"/>
                    </a:lnTo>
                    <a:lnTo>
                      <a:pt x="126" y="463"/>
                    </a:lnTo>
                    <a:lnTo>
                      <a:pt x="124" y="463"/>
                    </a:lnTo>
                    <a:lnTo>
                      <a:pt x="124" y="461"/>
                    </a:lnTo>
                    <a:lnTo>
                      <a:pt x="124" y="459"/>
                    </a:lnTo>
                    <a:lnTo>
                      <a:pt x="124" y="457"/>
                    </a:lnTo>
                    <a:lnTo>
                      <a:pt x="126" y="457"/>
                    </a:lnTo>
                    <a:lnTo>
                      <a:pt x="126" y="456"/>
                    </a:lnTo>
                    <a:lnTo>
                      <a:pt x="126" y="454"/>
                    </a:lnTo>
                    <a:lnTo>
                      <a:pt x="126" y="452"/>
                    </a:lnTo>
                    <a:lnTo>
                      <a:pt x="126" y="451"/>
                    </a:lnTo>
                    <a:lnTo>
                      <a:pt x="126" y="449"/>
                    </a:lnTo>
                    <a:lnTo>
                      <a:pt x="128" y="449"/>
                    </a:lnTo>
                    <a:lnTo>
                      <a:pt x="128" y="447"/>
                    </a:lnTo>
                    <a:lnTo>
                      <a:pt x="128" y="446"/>
                    </a:lnTo>
                    <a:lnTo>
                      <a:pt x="128" y="444"/>
                    </a:lnTo>
                    <a:lnTo>
                      <a:pt x="129" y="444"/>
                    </a:lnTo>
                    <a:lnTo>
                      <a:pt x="129" y="442"/>
                    </a:lnTo>
                    <a:lnTo>
                      <a:pt x="129" y="440"/>
                    </a:lnTo>
                    <a:lnTo>
                      <a:pt x="128" y="440"/>
                    </a:lnTo>
                    <a:lnTo>
                      <a:pt x="128" y="439"/>
                    </a:lnTo>
                    <a:lnTo>
                      <a:pt x="126" y="439"/>
                    </a:lnTo>
                    <a:lnTo>
                      <a:pt x="124" y="439"/>
                    </a:lnTo>
                    <a:lnTo>
                      <a:pt x="124" y="437"/>
                    </a:lnTo>
                    <a:lnTo>
                      <a:pt x="124" y="439"/>
                    </a:lnTo>
                    <a:lnTo>
                      <a:pt x="122" y="439"/>
                    </a:lnTo>
                    <a:lnTo>
                      <a:pt x="122" y="440"/>
                    </a:lnTo>
                    <a:lnTo>
                      <a:pt x="121" y="440"/>
                    </a:lnTo>
                    <a:lnTo>
                      <a:pt x="121" y="439"/>
                    </a:lnTo>
                    <a:lnTo>
                      <a:pt x="121" y="437"/>
                    </a:lnTo>
                    <a:lnTo>
                      <a:pt x="119" y="437"/>
                    </a:lnTo>
                    <a:lnTo>
                      <a:pt x="119" y="435"/>
                    </a:lnTo>
                    <a:lnTo>
                      <a:pt x="119" y="434"/>
                    </a:lnTo>
                    <a:lnTo>
                      <a:pt x="119" y="432"/>
                    </a:lnTo>
                    <a:lnTo>
                      <a:pt x="119" y="430"/>
                    </a:lnTo>
                    <a:lnTo>
                      <a:pt x="117" y="430"/>
                    </a:lnTo>
                    <a:lnTo>
                      <a:pt x="119" y="429"/>
                    </a:lnTo>
                    <a:lnTo>
                      <a:pt x="121" y="429"/>
                    </a:lnTo>
                    <a:lnTo>
                      <a:pt x="121" y="427"/>
                    </a:lnTo>
                    <a:lnTo>
                      <a:pt x="122" y="427"/>
                    </a:lnTo>
                    <a:lnTo>
                      <a:pt x="121" y="427"/>
                    </a:lnTo>
                    <a:lnTo>
                      <a:pt x="121" y="425"/>
                    </a:lnTo>
                    <a:lnTo>
                      <a:pt x="121" y="423"/>
                    </a:lnTo>
                    <a:lnTo>
                      <a:pt x="119" y="422"/>
                    </a:lnTo>
                    <a:lnTo>
                      <a:pt x="119" y="420"/>
                    </a:lnTo>
                    <a:lnTo>
                      <a:pt x="117" y="420"/>
                    </a:lnTo>
                    <a:lnTo>
                      <a:pt x="117" y="418"/>
                    </a:lnTo>
                    <a:lnTo>
                      <a:pt x="117" y="417"/>
                    </a:lnTo>
                    <a:lnTo>
                      <a:pt x="116" y="417"/>
                    </a:lnTo>
                    <a:lnTo>
                      <a:pt x="116" y="415"/>
                    </a:lnTo>
                    <a:lnTo>
                      <a:pt x="116" y="413"/>
                    </a:lnTo>
                    <a:lnTo>
                      <a:pt x="116" y="412"/>
                    </a:lnTo>
                    <a:lnTo>
                      <a:pt x="117" y="410"/>
                    </a:lnTo>
                    <a:lnTo>
                      <a:pt x="117" y="408"/>
                    </a:lnTo>
                    <a:lnTo>
                      <a:pt x="116" y="408"/>
                    </a:lnTo>
                    <a:lnTo>
                      <a:pt x="117" y="406"/>
                    </a:lnTo>
                    <a:lnTo>
                      <a:pt x="116" y="406"/>
                    </a:lnTo>
                    <a:lnTo>
                      <a:pt x="114" y="405"/>
                    </a:lnTo>
                    <a:lnTo>
                      <a:pt x="114" y="403"/>
                    </a:lnTo>
                    <a:lnTo>
                      <a:pt x="114" y="401"/>
                    </a:lnTo>
                    <a:lnTo>
                      <a:pt x="114" y="400"/>
                    </a:lnTo>
                    <a:lnTo>
                      <a:pt x="112" y="400"/>
                    </a:lnTo>
                    <a:lnTo>
                      <a:pt x="111" y="398"/>
                    </a:lnTo>
                    <a:lnTo>
                      <a:pt x="111" y="396"/>
                    </a:lnTo>
                    <a:lnTo>
                      <a:pt x="111" y="395"/>
                    </a:lnTo>
                    <a:lnTo>
                      <a:pt x="111" y="393"/>
                    </a:lnTo>
                    <a:lnTo>
                      <a:pt x="111" y="391"/>
                    </a:lnTo>
                    <a:lnTo>
                      <a:pt x="109" y="391"/>
                    </a:lnTo>
                    <a:lnTo>
                      <a:pt x="111" y="391"/>
                    </a:lnTo>
                    <a:lnTo>
                      <a:pt x="109" y="389"/>
                    </a:lnTo>
                    <a:lnTo>
                      <a:pt x="109" y="388"/>
                    </a:lnTo>
                    <a:lnTo>
                      <a:pt x="111" y="389"/>
                    </a:lnTo>
                    <a:lnTo>
                      <a:pt x="112" y="389"/>
                    </a:lnTo>
                    <a:lnTo>
                      <a:pt x="112" y="388"/>
                    </a:lnTo>
                    <a:lnTo>
                      <a:pt x="114" y="386"/>
                    </a:lnTo>
                    <a:lnTo>
                      <a:pt x="114" y="384"/>
                    </a:lnTo>
                    <a:lnTo>
                      <a:pt x="112" y="384"/>
                    </a:lnTo>
                    <a:lnTo>
                      <a:pt x="112" y="383"/>
                    </a:lnTo>
                    <a:lnTo>
                      <a:pt x="111" y="383"/>
                    </a:lnTo>
                    <a:lnTo>
                      <a:pt x="109" y="383"/>
                    </a:lnTo>
                    <a:lnTo>
                      <a:pt x="107" y="383"/>
                    </a:lnTo>
                    <a:lnTo>
                      <a:pt x="105" y="381"/>
                    </a:lnTo>
                    <a:lnTo>
                      <a:pt x="105" y="379"/>
                    </a:lnTo>
                    <a:lnTo>
                      <a:pt x="105" y="378"/>
                    </a:lnTo>
                    <a:lnTo>
                      <a:pt x="105" y="376"/>
                    </a:lnTo>
                    <a:lnTo>
                      <a:pt x="105" y="374"/>
                    </a:lnTo>
                    <a:lnTo>
                      <a:pt x="104" y="374"/>
                    </a:lnTo>
                    <a:lnTo>
                      <a:pt x="104" y="372"/>
                    </a:lnTo>
                    <a:lnTo>
                      <a:pt x="102" y="372"/>
                    </a:lnTo>
                    <a:lnTo>
                      <a:pt x="102" y="371"/>
                    </a:lnTo>
                    <a:lnTo>
                      <a:pt x="102" y="369"/>
                    </a:lnTo>
                    <a:lnTo>
                      <a:pt x="102" y="367"/>
                    </a:lnTo>
                    <a:lnTo>
                      <a:pt x="102" y="366"/>
                    </a:lnTo>
                    <a:lnTo>
                      <a:pt x="102" y="364"/>
                    </a:lnTo>
                    <a:lnTo>
                      <a:pt x="104" y="364"/>
                    </a:lnTo>
                    <a:lnTo>
                      <a:pt x="104" y="362"/>
                    </a:lnTo>
                    <a:lnTo>
                      <a:pt x="104" y="361"/>
                    </a:lnTo>
                    <a:lnTo>
                      <a:pt x="102" y="361"/>
                    </a:lnTo>
                    <a:lnTo>
                      <a:pt x="104" y="359"/>
                    </a:lnTo>
                    <a:lnTo>
                      <a:pt x="104" y="357"/>
                    </a:lnTo>
                    <a:lnTo>
                      <a:pt x="104" y="355"/>
                    </a:lnTo>
                    <a:lnTo>
                      <a:pt x="104" y="354"/>
                    </a:lnTo>
                    <a:lnTo>
                      <a:pt x="104" y="352"/>
                    </a:lnTo>
                    <a:lnTo>
                      <a:pt x="105" y="352"/>
                    </a:lnTo>
                    <a:lnTo>
                      <a:pt x="105" y="350"/>
                    </a:lnTo>
                    <a:lnTo>
                      <a:pt x="105" y="352"/>
                    </a:lnTo>
                    <a:lnTo>
                      <a:pt x="107" y="352"/>
                    </a:lnTo>
                    <a:lnTo>
                      <a:pt x="107" y="354"/>
                    </a:lnTo>
                    <a:lnTo>
                      <a:pt x="107" y="355"/>
                    </a:lnTo>
                    <a:lnTo>
                      <a:pt x="109" y="354"/>
                    </a:lnTo>
                    <a:lnTo>
                      <a:pt x="109" y="352"/>
                    </a:lnTo>
                    <a:lnTo>
                      <a:pt x="109" y="350"/>
                    </a:lnTo>
                    <a:lnTo>
                      <a:pt x="111" y="350"/>
                    </a:lnTo>
                    <a:lnTo>
                      <a:pt x="112" y="350"/>
                    </a:lnTo>
                    <a:lnTo>
                      <a:pt x="112" y="349"/>
                    </a:lnTo>
                    <a:lnTo>
                      <a:pt x="111" y="349"/>
                    </a:lnTo>
                    <a:lnTo>
                      <a:pt x="111" y="347"/>
                    </a:lnTo>
                    <a:lnTo>
                      <a:pt x="111" y="345"/>
                    </a:lnTo>
                    <a:lnTo>
                      <a:pt x="111" y="344"/>
                    </a:lnTo>
                    <a:lnTo>
                      <a:pt x="111" y="342"/>
                    </a:lnTo>
                    <a:lnTo>
                      <a:pt x="112" y="342"/>
                    </a:lnTo>
                    <a:lnTo>
                      <a:pt x="112" y="340"/>
                    </a:lnTo>
                    <a:lnTo>
                      <a:pt x="112" y="338"/>
                    </a:lnTo>
                    <a:lnTo>
                      <a:pt x="112" y="337"/>
                    </a:lnTo>
                    <a:lnTo>
                      <a:pt x="112" y="335"/>
                    </a:lnTo>
                    <a:lnTo>
                      <a:pt x="114" y="335"/>
                    </a:lnTo>
                    <a:lnTo>
                      <a:pt x="112" y="335"/>
                    </a:lnTo>
                    <a:lnTo>
                      <a:pt x="112" y="333"/>
                    </a:lnTo>
                    <a:lnTo>
                      <a:pt x="114" y="333"/>
                    </a:lnTo>
                    <a:lnTo>
                      <a:pt x="114" y="332"/>
                    </a:lnTo>
                    <a:lnTo>
                      <a:pt x="114" y="330"/>
                    </a:lnTo>
                    <a:lnTo>
                      <a:pt x="116" y="328"/>
                    </a:lnTo>
                    <a:lnTo>
                      <a:pt x="114" y="328"/>
                    </a:lnTo>
                    <a:lnTo>
                      <a:pt x="116" y="328"/>
                    </a:lnTo>
                    <a:lnTo>
                      <a:pt x="116" y="326"/>
                    </a:lnTo>
                    <a:lnTo>
                      <a:pt x="117" y="326"/>
                    </a:lnTo>
                    <a:lnTo>
                      <a:pt x="117" y="325"/>
                    </a:lnTo>
                    <a:lnTo>
                      <a:pt x="116" y="323"/>
                    </a:lnTo>
                    <a:lnTo>
                      <a:pt x="117" y="321"/>
                    </a:lnTo>
                    <a:lnTo>
                      <a:pt x="117" y="323"/>
                    </a:lnTo>
                    <a:lnTo>
                      <a:pt x="119" y="323"/>
                    </a:lnTo>
                    <a:lnTo>
                      <a:pt x="119" y="325"/>
                    </a:lnTo>
                    <a:lnTo>
                      <a:pt x="121" y="325"/>
                    </a:lnTo>
                    <a:lnTo>
                      <a:pt x="121" y="323"/>
                    </a:lnTo>
                    <a:lnTo>
                      <a:pt x="122" y="323"/>
                    </a:lnTo>
                    <a:lnTo>
                      <a:pt x="124" y="323"/>
                    </a:lnTo>
                    <a:lnTo>
                      <a:pt x="124" y="321"/>
                    </a:lnTo>
                    <a:lnTo>
                      <a:pt x="124" y="320"/>
                    </a:lnTo>
                    <a:lnTo>
                      <a:pt x="126" y="320"/>
                    </a:lnTo>
                    <a:lnTo>
                      <a:pt x="126" y="318"/>
                    </a:lnTo>
                    <a:lnTo>
                      <a:pt x="126" y="316"/>
                    </a:lnTo>
                    <a:lnTo>
                      <a:pt x="126" y="318"/>
                    </a:lnTo>
                    <a:lnTo>
                      <a:pt x="128" y="318"/>
                    </a:lnTo>
                    <a:lnTo>
                      <a:pt x="128" y="316"/>
                    </a:lnTo>
                    <a:lnTo>
                      <a:pt x="128" y="315"/>
                    </a:lnTo>
                    <a:lnTo>
                      <a:pt x="126" y="315"/>
                    </a:lnTo>
                    <a:lnTo>
                      <a:pt x="126" y="313"/>
                    </a:lnTo>
                    <a:lnTo>
                      <a:pt x="124" y="313"/>
                    </a:lnTo>
                    <a:lnTo>
                      <a:pt x="122" y="313"/>
                    </a:lnTo>
                    <a:lnTo>
                      <a:pt x="122" y="311"/>
                    </a:lnTo>
                    <a:lnTo>
                      <a:pt x="124" y="311"/>
                    </a:lnTo>
                    <a:lnTo>
                      <a:pt x="124" y="309"/>
                    </a:lnTo>
                    <a:lnTo>
                      <a:pt x="124" y="308"/>
                    </a:lnTo>
                    <a:lnTo>
                      <a:pt x="124" y="306"/>
                    </a:lnTo>
                    <a:lnTo>
                      <a:pt x="126" y="304"/>
                    </a:lnTo>
                    <a:lnTo>
                      <a:pt x="124" y="304"/>
                    </a:lnTo>
                    <a:lnTo>
                      <a:pt x="126" y="303"/>
                    </a:lnTo>
                    <a:lnTo>
                      <a:pt x="124" y="303"/>
                    </a:lnTo>
                    <a:lnTo>
                      <a:pt x="124" y="301"/>
                    </a:lnTo>
                    <a:lnTo>
                      <a:pt x="124" y="299"/>
                    </a:lnTo>
                    <a:lnTo>
                      <a:pt x="126" y="299"/>
                    </a:lnTo>
                    <a:lnTo>
                      <a:pt x="126" y="298"/>
                    </a:lnTo>
                    <a:lnTo>
                      <a:pt x="124" y="298"/>
                    </a:lnTo>
                    <a:lnTo>
                      <a:pt x="124" y="296"/>
                    </a:lnTo>
                    <a:lnTo>
                      <a:pt x="122" y="296"/>
                    </a:lnTo>
                    <a:lnTo>
                      <a:pt x="122" y="294"/>
                    </a:lnTo>
                    <a:lnTo>
                      <a:pt x="124" y="294"/>
                    </a:lnTo>
                    <a:lnTo>
                      <a:pt x="122" y="294"/>
                    </a:lnTo>
                    <a:lnTo>
                      <a:pt x="124" y="292"/>
                    </a:lnTo>
                    <a:lnTo>
                      <a:pt x="122" y="292"/>
                    </a:lnTo>
                    <a:lnTo>
                      <a:pt x="124" y="291"/>
                    </a:lnTo>
                    <a:lnTo>
                      <a:pt x="122" y="291"/>
                    </a:lnTo>
                    <a:lnTo>
                      <a:pt x="122" y="289"/>
                    </a:lnTo>
                    <a:lnTo>
                      <a:pt x="122" y="287"/>
                    </a:lnTo>
                    <a:lnTo>
                      <a:pt x="122" y="286"/>
                    </a:lnTo>
                    <a:lnTo>
                      <a:pt x="121" y="286"/>
                    </a:lnTo>
                    <a:lnTo>
                      <a:pt x="121" y="284"/>
                    </a:lnTo>
                    <a:lnTo>
                      <a:pt x="121" y="282"/>
                    </a:lnTo>
                    <a:lnTo>
                      <a:pt x="121" y="281"/>
                    </a:lnTo>
                    <a:lnTo>
                      <a:pt x="122" y="281"/>
                    </a:lnTo>
                    <a:lnTo>
                      <a:pt x="122" y="279"/>
                    </a:lnTo>
                    <a:lnTo>
                      <a:pt x="122" y="277"/>
                    </a:lnTo>
                    <a:lnTo>
                      <a:pt x="124" y="277"/>
                    </a:lnTo>
                    <a:lnTo>
                      <a:pt x="124" y="275"/>
                    </a:lnTo>
                    <a:lnTo>
                      <a:pt x="126" y="275"/>
                    </a:lnTo>
                    <a:lnTo>
                      <a:pt x="128" y="275"/>
                    </a:lnTo>
                    <a:lnTo>
                      <a:pt x="128" y="274"/>
                    </a:lnTo>
                    <a:lnTo>
                      <a:pt x="129" y="274"/>
                    </a:lnTo>
                    <a:lnTo>
                      <a:pt x="128" y="274"/>
                    </a:lnTo>
                    <a:lnTo>
                      <a:pt x="128" y="272"/>
                    </a:lnTo>
                    <a:lnTo>
                      <a:pt x="129" y="272"/>
                    </a:lnTo>
                    <a:lnTo>
                      <a:pt x="128" y="270"/>
                    </a:lnTo>
                    <a:lnTo>
                      <a:pt x="129" y="270"/>
                    </a:lnTo>
                    <a:lnTo>
                      <a:pt x="129" y="269"/>
                    </a:lnTo>
                    <a:lnTo>
                      <a:pt x="129" y="267"/>
                    </a:lnTo>
                    <a:lnTo>
                      <a:pt x="129" y="265"/>
                    </a:lnTo>
                    <a:lnTo>
                      <a:pt x="129" y="264"/>
                    </a:lnTo>
                    <a:lnTo>
                      <a:pt x="131" y="264"/>
                    </a:lnTo>
                    <a:lnTo>
                      <a:pt x="131" y="262"/>
                    </a:lnTo>
                    <a:lnTo>
                      <a:pt x="131" y="260"/>
                    </a:lnTo>
                    <a:lnTo>
                      <a:pt x="131" y="258"/>
                    </a:lnTo>
                    <a:lnTo>
                      <a:pt x="131" y="257"/>
                    </a:lnTo>
                    <a:lnTo>
                      <a:pt x="131" y="255"/>
                    </a:lnTo>
                    <a:lnTo>
                      <a:pt x="133" y="255"/>
                    </a:lnTo>
                    <a:lnTo>
                      <a:pt x="131" y="253"/>
                    </a:lnTo>
                    <a:lnTo>
                      <a:pt x="133" y="253"/>
                    </a:lnTo>
                    <a:lnTo>
                      <a:pt x="133" y="252"/>
                    </a:lnTo>
                    <a:lnTo>
                      <a:pt x="133" y="250"/>
                    </a:lnTo>
                    <a:lnTo>
                      <a:pt x="133" y="248"/>
                    </a:lnTo>
                    <a:lnTo>
                      <a:pt x="134" y="248"/>
                    </a:lnTo>
                    <a:lnTo>
                      <a:pt x="133" y="248"/>
                    </a:lnTo>
                    <a:lnTo>
                      <a:pt x="133" y="247"/>
                    </a:lnTo>
                    <a:lnTo>
                      <a:pt x="134" y="247"/>
                    </a:lnTo>
                    <a:lnTo>
                      <a:pt x="136" y="247"/>
                    </a:lnTo>
                    <a:lnTo>
                      <a:pt x="134" y="245"/>
                    </a:lnTo>
                    <a:lnTo>
                      <a:pt x="136" y="245"/>
                    </a:lnTo>
                    <a:lnTo>
                      <a:pt x="138" y="245"/>
                    </a:lnTo>
                    <a:lnTo>
                      <a:pt x="138" y="243"/>
                    </a:lnTo>
                    <a:lnTo>
                      <a:pt x="138" y="241"/>
                    </a:lnTo>
                    <a:lnTo>
                      <a:pt x="139" y="241"/>
                    </a:lnTo>
                    <a:lnTo>
                      <a:pt x="139" y="240"/>
                    </a:lnTo>
                    <a:lnTo>
                      <a:pt x="139" y="238"/>
                    </a:lnTo>
                    <a:lnTo>
                      <a:pt x="141" y="240"/>
                    </a:lnTo>
                    <a:lnTo>
                      <a:pt x="143" y="240"/>
                    </a:lnTo>
                    <a:lnTo>
                      <a:pt x="143" y="238"/>
                    </a:lnTo>
                    <a:lnTo>
                      <a:pt x="145" y="236"/>
                    </a:lnTo>
                    <a:lnTo>
                      <a:pt x="145" y="235"/>
                    </a:lnTo>
                    <a:lnTo>
                      <a:pt x="146" y="233"/>
                    </a:lnTo>
                    <a:lnTo>
                      <a:pt x="146" y="231"/>
                    </a:lnTo>
                    <a:lnTo>
                      <a:pt x="148" y="230"/>
                    </a:lnTo>
                    <a:lnTo>
                      <a:pt x="150" y="231"/>
                    </a:lnTo>
                    <a:lnTo>
                      <a:pt x="150" y="230"/>
                    </a:lnTo>
                    <a:lnTo>
                      <a:pt x="150" y="228"/>
                    </a:lnTo>
                    <a:lnTo>
                      <a:pt x="151" y="228"/>
                    </a:lnTo>
                    <a:lnTo>
                      <a:pt x="151" y="226"/>
                    </a:lnTo>
                    <a:lnTo>
                      <a:pt x="151" y="224"/>
                    </a:lnTo>
                    <a:lnTo>
                      <a:pt x="151" y="223"/>
                    </a:lnTo>
                    <a:lnTo>
                      <a:pt x="151" y="221"/>
                    </a:lnTo>
                    <a:lnTo>
                      <a:pt x="153" y="221"/>
                    </a:lnTo>
                    <a:lnTo>
                      <a:pt x="153" y="219"/>
                    </a:lnTo>
                    <a:lnTo>
                      <a:pt x="153" y="218"/>
                    </a:lnTo>
                    <a:lnTo>
                      <a:pt x="153" y="216"/>
                    </a:lnTo>
                    <a:lnTo>
                      <a:pt x="155" y="216"/>
                    </a:lnTo>
                    <a:lnTo>
                      <a:pt x="156" y="214"/>
                    </a:lnTo>
                    <a:lnTo>
                      <a:pt x="155" y="214"/>
                    </a:lnTo>
                    <a:lnTo>
                      <a:pt x="156" y="214"/>
                    </a:lnTo>
                    <a:lnTo>
                      <a:pt x="156" y="213"/>
                    </a:lnTo>
                    <a:lnTo>
                      <a:pt x="156" y="211"/>
                    </a:lnTo>
                    <a:lnTo>
                      <a:pt x="155" y="211"/>
                    </a:lnTo>
                    <a:lnTo>
                      <a:pt x="156" y="211"/>
                    </a:lnTo>
                    <a:lnTo>
                      <a:pt x="156" y="209"/>
                    </a:lnTo>
                    <a:lnTo>
                      <a:pt x="156" y="211"/>
                    </a:lnTo>
                    <a:lnTo>
                      <a:pt x="158" y="209"/>
                    </a:lnTo>
                    <a:lnTo>
                      <a:pt x="156" y="209"/>
                    </a:lnTo>
                    <a:lnTo>
                      <a:pt x="158" y="209"/>
                    </a:lnTo>
                    <a:lnTo>
                      <a:pt x="158" y="207"/>
                    </a:lnTo>
                    <a:lnTo>
                      <a:pt x="158" y="206"/>
                    </a:lnTo>
                    <a:lnTo>
                      <a:pt x="160" y="206"/>
                    </a:lnTo>
                    <a:lnTo>
                      <a:pt x="160" y="204"/>
                    </a:lnTo>
                    <a:lnTo>
                      <a:pt x="162" y="204"/>
                    </a:lnTo>
                    <a:lnTo>
                      <a:pt x="160" y="204"/>
                    </a:lnTo>
                    <a:lnTo>
                      <a:pt x="160" y="202"/>
                    </a:lnTo>
                    <a:lnTo>
                      <a:pt x="160" y="201"/>
                    </a:lnTo>
                    <a:lnTo>
                      <a:pt x="160" y="199"/>
                    </a:lnTo>
                    <a:lnTo>
                      <a:pt x="162" y="199"/>
                    </a:lnTo>
                    <a:lnTo>
                      <a:pt x="162" y="197"/>
                    </a:lnTo>
                    <a:lnTo>
                      <a:pt x="163" y="197"/>
                    </a:lnTo>
                    <a:lnTo>
                      <a:pt x="165" y="197"/>
                    </a:lnTo>
                    <a:lnTo>
                      <a:pt x="167" y="197"/>
                    </a:lnTo>
                    <a:lnTo>
                      <a:pt x="167" y="199"/>
                    </a:lnTo>
                    <a:lnTo>
                      <a:pt x="168" y="201"/>
                    </a:lnTo>
                    <a:lnTo>
                      <a:pt x="168" y="199"/>
                    </a:lnTo>
                    <a:lnTo>
                      <a:pt x="170" y="201"/>
                    </a:lnTo>
                    <a:lnTo>
                      <a:pt x="170" y="199"/>
                    </a:lnTo>
                    <a:lnTo>
                      <a:pt x="170" y="197"/>
                    </a:lnTo>
                    <a:lnTo>
                      <a:pt x="172" y="199"/>
                    </a:lnTo>
                    <a:lnTo>
                      <a:pt x="173" y="197"/>
                    </a:lnTo>
                    <a:lnTo>
                      <a:pt x="172" y="196"/>
                    </a:lnTo>
                    <a:lnTo>
                      <a:pt x="173" y="197"/>
                    </a:lnTo>
                    <a:lnTo>
                      <a:pt x="173" y="196"/>
                    </a:lnTo>
                    <a:lnTo>
                      <a:pt x="175" y="196"/>
                    </a:lnTo>
                    <a:lnTo>
                      <a:pt x="177" y="196"/>
                    </a:lnTo>
                    <a:lnTo>
                      <a:pt x="179" y="196"/>
                    </a:lnTo>
                    <a:lnTo>
                      <a:pt x="179" y="194"/>
                    </a:lnTo>
                    <a:lnTo>
                      <a:pt x="179" y="192"/>
                    </a:lnTo>
                    <a:lnTo>
                      <a:pt x="179" y="190"/>
                    </a:lnTo>
                    <a:lnTo>
                      <a:pt x="180" y="190"/>
                    </a:lnTo>
                    <a:lnTo>
                      <a:pt x="179" y="190"/>
                    </a:lnTo>
                    <a:lnTo>
                      <a:pt x="179" y="189"/>
                    </a:lnTo>
                    <a:lnTo>
                      <a:pt x="177" y="187"/>
                    </a:lnTo>
                    <a:lnTo>
                      <a:pt x="177" y="185"/>
                    </a:lnTo>
                    <a:lnTo>
                      <a:pt x="175" y="185"/>
                    </a:lnTo>
                    <a:lnTo>
                      <a:pt x="173" y="182"/>
                    </a:lnTo>
                    <a:lnTo>
                      <a:pt x="173" y="180"/>
                    </a:lnTo>
                    <a:lnTo>
                      <a:pt x="172" y="180"/>
                    </a:lnTo>
                    <a:lnTo>
                      <a:pt x="172" y="178"/>
                    </a:lnTo>
                    <a:lnTo>
                      <a:pt x="170" y="177"/>
                    </a:lnTo>
                    <a:lnTo>
                      <a:pt x="170" y="175"/>
                    </a:lnTo>
                    <a:lnTo>
                      <a:pt x="168" y="173"/>
                    </a:lnTo>
                    <a:lnTo>
                      <a:pt x="168" y="172"/>
                    </a:lnTo>
                    <a:lnTo>
                      <a:pt x="170" y="170"/>
                    </a:lnTo>
                    <a:lnTo>
                      <a:pt x="170" y="167"/>
                    </a:lnTo>
                    <a:lnTo>
                      <a:pt x="172" y="165"/>
                    </a:lnTo>
                    <a:lnTo>
                      <a:pt x="173" y="163"/>
                    </a:lnTo>
                    <a:lnTo>
                      <a:pt x="175" y="163"/>
                    </a:lnTo>
                    <a:lnTo>
                      <a:pt x="175" y="160"/>
                    </a:lnTo>
                    <a:lnTo>
                      <a:pt x="175" y="156"/>
                    </a:lnTo>
                    <a:lnTo>
                      <a:pt x="175" y="155"/>
                    </a:lnTo>
                    <a:lnTo>
                      <a:pt x="173" y="151"/>
                    </a:lnTo>
                    <a:lnTo>
                      <a:pt x="173" y="146"/>
                    </a:lnTo>
                    <a:lnTo>
                      <a:pt x="172" y="144"/>
                    </a:lnTo>
                    <a:lnTo>
                      <a:pt x="172" y="143"/>
                    </a:lnTo>
                    <a:lnTo>
                      <a:pt x="170" y="143"/>
                    </a:lnTo>
                    <a:lnTo>
                      <a:pt x="170" y="141"/>
                    </a:lnTo>
                    <a:lnTo>
                      <a:pt x="172" y="139"/>
                    </a:lnTo>
                    <a:lnTo>
                      <a:pt x="170" y="139"/>
                    </a:lnTo>
                    <a:lnTo>
                      <a:pt x="170" y="138"/>
                    </a:lnTo>
                    <a:lnTo>
                      <a:pt x="170" y="136"/>
                    </a:lnTo>
                    <a:lnTo>
                      <a:pt x="168" y="134"/>
                    </a:lnTo>
                    <a:lnTo>
                      <a:pt x="170" y="134"/>
                    </a:lnTo>
                    <a:lnTo>
                      <a:pt x="170" y="133"/>
                    </a:lnTo>
                    <a:lnTo>
                      <a:pt x="172" y="133"/>
                    </a:lnTo>
                    <a:lnTo>
                      <a:pt x="172" y="131"/>
                    </a:lnTo>
                    <a:lnTo>
                      <a:pt x="170" y="131"/>
                    </a:lnTo>
                    <a:lnTo>
                      <a:pt x="170" y="129"/>
                    </a:lnTo>
                    <a:lnTo>
                      <a:pt x="170" y="127"/>
                    </a:lnTo>
                    <a:lnTo>
                      <a:pt x="172" y="127"/>
                    </a:lnTo>
                    <a:lnTo>
                      <a:pt x="172" y="126"/>
                    </a:lnTo>
                    <a:lnTo>
                      <a:pt x="172" y="124"/>
                    </a:lnTo>
                    <a:lnTo>
                      <a:pt x="173" y="122"/>
                    </a:lnTo>
                    <a:lnTo>
                      <a:pt x="175" y="122"/>
                    </a:lnTo>
                    <a:lnTo>
                      <a:pt x="175" y="124"/>
                    </a:lnTo>
                    <a:lnTo>
                      <a:pt x="175" y="122"/>
                    </a:lnTo>
                    <a:lnTo>
                      <a:pt x="177" y="122"/>
                    </a:lnTo>
                    <a:lnTo>
                      <a:pt x="177" y="121"/>
                    </a:lnTo>
                    <a:lnTo>
                      <a:pt x="177" y="119"/>
                    </a:lnTo>
                    <a:lnTo>
                      <a:pt x="175" y="119"/>
                    </a:lnTo>
                    <a:lnTo>
                      <a:pt x="175" y="117"/>
                    </a:lnTo>
                    <a:lnTo>
                      <a:pt x="173" y="117"/>
                    </a:lnTo>
                    <a:lnTo>
                      <a:pt x="173" y="116"/>
                    </a:lnTo>
                    <a:lnTo>
                      <a:pt x="173" y="114"/>
                    </a:lnTo>
                    <a:lnTo>
                      <a:pt x="172" y="114"/>
                    </a:lnTo>
                    <a:lnTo>
                      <a:pt x="170" y="112"/>
                    </a:lnTo>
                    <a:lnTo>
                      <a:pt x="170" y="110"/>
                    </a:lnTo>
                    <a:lnTo>
                      <a:pt x="170" y="109"/>
                    </a:lnTo>
                    <a:lnTo>
                      <a:pt x="170" y="107"/>
                    </a:lnTo>
                    <a:lnTo>
                      <a:pt x="172" y="107"/>
                    </a:lnTo>
                    <a:lnTo>
                      <a:pt x="172" y="105"/>
                    </a:lnTo>
                    <a:lnTo>
                      <a:pt x="172" y="104"/>
                    </a:lnTo>
                    <a:lnTo>
                      <a:pt x="173" y="104"/>
                    </a:lnTo>
                    <a:lnTo>
                      <a:pt x="173" y="102"/>
                    </a:lnTo>
                    <a:lnTo>
                      <a:pt x="175" y="102"/>
                    </a:lnTo>
                    <a:lnTo>
                      <a:pt x="175" y="100"/>
                    </a:lnTo>
                    <a:lnTo>
                      <a:pt x="175" y="99"/>
                    </a:lnTo>
                    <a:lnTo>
                      <a:pt x="177" y="99"/>
                    </a:lnTo>
                    <a:lnTo>
                      <a:pt x="177" y="100"/>
                    </a:lnTo>
                    <a:lnTo>
                      <a:pt x="179" y="99"/>
                    </a:lnTo>
                    <a:lnTo>
                      <a:pt x="179" y="97"/>
                    </a:lnTo>
                    <a:lnTo>
                      <a:pt x="180" y="97"/>
                    </a:lnTo>
                    <a:lnTo>
                      <a:pt x="180" y="95"/>
                    </a:lnTo>
                    <a:lnTo>
                      <a:pt x="187" y="93"/>
                    </a:lnTo>
                    <a:lnTo>
                      <a:pt x="189" y="92"/>
                    </a:lnTo>
                    <a:lnTo>
                      <a:pt x="190" y="92"/>
                    </a:lnTo>
                    <a:lnTo>
                      <a:pt x="199" y="88"/>
                    </a:lnTo>
                    <a:lnTo>
                      <a:pt x="206" y="85"/>
                    </a:lnTo>
                    <a:lnTo>
                      <a:pt x="211" y="83"/>
                    </a:lnTo>
                    <a:lnTo>
                      <a:pt x="214" y="73"/>
                    </a:lnTo>
                    <a:lnTo>
                      <a:pt x="214" y="71"/>
                    </a:lnTo>
                    <a:lnTo>
                      <a:pt x="218" y="61"/>
                    </a:lnTo>
                    <a:lnTo>
                      <a:pt x="219" y="54"/>
                    </a:lnTo>
                    <a:lnTo>
                      <a:pt x="219" y="53"/>
                    </a:lnTo>
                    <a:lnTo>
                      <a:pt x="223" y="44"/>
                    </a:lnTo>
                    <a:lnTo>
                      <a:pt x="219" y="41"/>
                    </a:lnTo>
                    <a:lnTo>
                      <a:pt x="216" y="37"/>
                    </a:lnTo>
                    <a:lnTo>
                      <a:pt x="218" y="34"/>
                    </a:lnTo>
                    <a:lnTo>
                      <a:pt x="223" y="32"/>
                    </a:lnTo>
                    <a:lnTo>
                      <a:pt x="223" y="31"/>
                    </a:lnTo>
                    <a:lnTo>
                      <a:pt x="221" y="31"/>
                    </a:lnTo>
                    <a:lnTo>
                      <a:pt x="221" y="29"/>
                    </a:lnTo>
                    <a:lnTo>
                      <a:pt x="221" y="27"/>
                    </a:lnTo>
                    <a:lnTo>
                      <a:pt x="223" y="27"/>
                    </a:lnTo>
                    <a:lnTo>
                      <a:pt x="224" y="25"/>
                    </a:lnTo>
                    <a:lnTo>
                      <a:pt x="226" y="25"/>
                    </a:lnTo>
                    <a:lnTo>
                      <a:pt x="230" y="24"/>
                    </a:lnTo>
                    <a:lnTo>
                      <a:pt x="230" y="22"/>
                    </a:lnTo>
                    <a:lnTo>
                      <a:pt x="230" y="20"/>
                    </a:lnTo>
                    <a:lnTo>
                      <a:pt x="231" y="20"/>
                    </a:lnTo>
                    <a:lnTo>
                      <a:pt x="231" y="19"/>
                    </a:lnTo>
                    <a:lnTo>
                      <a:pt x="231" y="17"/>
                    </a:lnTo>
                    <a:lnTo>
                      <a:pt x="233" y="15"/>
                    </a:lnTo>
                    <a:lnTo>
                      <a:pt x="235" y="15"/>
                    </a:lnTo>
                    <a:lnTo>
                      <a:pt x="241" y="13"/>
                    </a:lnTo>
                    <a:lnTo>
                      <a:pt x="245" y="12"/>
                    </a:lnTo>
                    <a:lnTo>
                      <a:pt x="247" y="12"/>
                    </a:lnTo>
                    <a:lnTo>
                      <a:pt x="247" y="10"/>
                    </a:lnTo>
                    <a:lnTo>
                      <a:pt x="247" y="8"/>
                    </a:lnTo>
                    <a:lnTo>
                      <a:pt x="247" y="7"/>
                    </a:lnTo>
                    <a:lnTo>
                      <a:pt x="247" y="5"/>
                    </a:lnTo>
                    <a:lnTo>
                      <a:pt x="248" y="5"/>
                    </a:lnTo>
                    <a:lnTo>
                      <a:pt x="247" y="5"/>
                    </a:lnTo>
                    <a:lnTo>
                      <a:pt x="248" y="5"/>
                    </a:lnTo>
                    <a:lnTo>
                      <a:pt x="248" y="3"/>
                    </a:lnTo>
                    <a:lnTo>
                      <a:pt x="248" y="2"/>
                    </a:lnTo>
                    <a:lnTo>
                      <a:pt x="248" y="0"/>
                    </a:lnTo>
                    <a:lnTo>
                      <a:pt x="250" y="0"/>
                    </a:lnTo>
                    <a:lnTo>
                      <a:pt x="252" y="2"/>
                    </a:lnTo>
                    <a:lnTo>
                      <a:pt x="253" y="2"/>
                    </a:lnTo>
                    <a:lnTo>
                      <a:pt x="255" y="3"/>
                    </a:lnTo>
                    <a:lnTo>
                      <a:pt x="255" y="5"/>
                    </a:lnTo>
                    <a:lnTo>
                      <a:pt x="257" y="5"/>
                    </a:lnTo>
                    <a:lnTo>
                      <a:pt x="258" y="5"/>
                    </a:lnTo>
                    <a:lnTo>
                      <a:pt x="260" y="8"/>
                    </a:lnTo>
                    <a:lnTo>
                      <a:pt x="262" y="10"/>
                    </a:lnTo>
                    <a:lnTo>
                      <a:pt x="264" y="10"/>
                    </a:lnTo>
                    <a:lnTo>
                      <a:pt x="264" y="12"/>
                    </a:lnTo>
                    <a:lnTo>
                      <a:pt x="265" y="12"/>
                    </a:lnTo>
                    <a:lnTo>
                      <a:pt x="267" y="12"/>
                    </a:lnTo>
                    <a:lnTo>
                      <a:pt x="269" y="12"/>
                    </a:lnTo>
                    <a:lnTo>
                      <a:pt x="270" y="12"/>
                    </a:lnTo>
                    <a:lnTo>
                      <a:pt x="270" y="10"/>
                    </a:lnTo>
                    <a:lnTo>
                      <a:pt x="274" y="12"/>
                    </a:lnTo>
                    <a:lnTo>
                      <a:pt x="275" y="12"/>
                    </a:lnTo>
                    <a:lnTo>
                      <a:pt x="277" y="12"/>
                    </a:lnTo>
                    <a:lnTo>
                      <a:pt x="281" y="12"/>
                    </a:lnTo>
                    <a:lnTo>
                      <a:pt x="281" y="10"/>
                    </a:lnTo>
                    <a:lnTo>
                      <a:pt x="281" y="12"/>
                    </a:lnTo>
                    <a:lnTo>
                      <a:pt x="284" y="10"/>
                    </a:lnTo>
                    <a:lnTo>
                      <a:pt x="287" y="10"/>
                    </a:lnTo>
                    <a:lnTo>
                      <a:pt x="289" y="10"/>
                    </a:lnTo>
                    <a:lnTo>
                      <a:pt x="291" y="10"/>
                    </a:lnTo>
                    <a:lnTo>
                      <a:pt x="291" y="12"/>
                    </a:lnTo>
                    <a:lnTo>
                      <a:pt x="292" y="12"/>
                    </a:lnTo>
                    <a:lnTo>
                      <a:pt x="294" y="12"/>
                    </a:lnTo>
                    <a:lnTo>
                      <a:pt x="296" y="13"/>
                    </a:lnTo>
                    <a:lnTo>
                      <a:pt x="298" y="13"/>
                    </a:lnTo>
                    <a:lnTo>
                      <a:pt x="299" y="15"/>
                    </a:lnTo>
                    <a:lnTo>
                      <a:pt x="301" y="15"/>
                    </a:lnTo>
                    <a:lnTo>
                      <a:pt x="303" y="15"/>
                    </a:lnTo>
                    <a:lnTo>
                      <a:pt x="304" y="17"/>
                    </a:lnTo>
                    <a:lnTo>
                      <a:pt x="306" y="17"/>
                    </a:lnTo>
                    <a:lnTo>
                      <a:pt x="306" y="19"/>
                    </a:lnTo>
                    <a:lnTo>
                      <a:pt x="304" y="20"/>
                    </a:lnTo>
                    <a:lnTo>
                      <a:pt x="304" y="22"/>
                    </a:lnTo>
                    <a:lnTo>
                      <a:pt x="306" y="22"/>
                    </a:lnTo>
                    <a:lnTo>
                      <a:pt x="306" y="24"/>
                    </a:lnTo>
                    <a:lnTo>
                      <a:pt x="308" y="24"/>
                    </a:lnTo>
                    <a:lnTo>
                      <a:pt x="308" y="25"/>
                    </a:lnTo>
                    <a:lnTo>
                      <a:pt x="309" y="25"/>
                    </a:lnTo>
                    <a:lnTo>
                      <a:pt x="308" y="27"/>
                    </a:lnTo>
                    <a:lnTo>
                      <a:pt x="309" y="27"/>
                    </a:lnTo>
                    <a:lnTo>
                      <a:pt x="309" y="29"/>
                    </a:lnTo>
                    <a:lnTo>
                      <a:pt x="309" y="31"/>
                    </a:lnTo>
                    <a:lnTo>
                      <a:pt x="309" y="32"/>
                    </a:lnTo>
                    <a:lnTo>
                      <a:pt x="311" y="32"/>
                    </a:lnTo>
                    <a:lnTo>
                      <a:pt x="311" y="34"/>
                    </a:lnTo>
                    <a:lnTo>
                      <a:pt x="309" y="34"/>
                    </a:lnTo>
                    <a:lnTo>
                      <a:pt x="311" y="34"/>
                    </a:lnTo>
                    <a:lnTo>
                      <a:pt x="313" y="36"/>
                    </a:lnTo>
                    <a:lnTo>
                      <a:pt x="313" y="37"/>
                    </a:lnTo>
                    <a:lnTo>
                      <a:pt x="311" y="37"/>
                    </a:lnTo>
                    <a:lnTo>
                      <a:pt x="313" y="37"/>
                    </a:lnTo>
                    <a:lnTo>
                      <a:pt x="313" y="39"/>
                    </a:lnTo>
                    <a:lnTo>
                      <a:pt x="313" y="41"/>
                    </a:lnTo>
                    <a:lnTo>
                      <a:pt x="313" y="39"/>
                    </a:lnTo>
                    <a:lnTo>
                      <a:pt x="315" y="39"/>
                    </a:lnTo>
                    <a:lnTo>
                      <a:pt x="313" y="39"/>
                    </a:lnTo>
                    <a:lnTo>
                      <a:pt x="315" y="37"/>
                    </a:lnTo>
                    <a:lnTo>
                      <a:pt x="315" y="36"/>
                    </a:lnTo>
                    <a:lnTo>
                      <a:pt x="315" y="34"/>
                    </a:lnTo>
                    <a:lnTo>
                      <a:pt x="315" y="32"/>
                    </a:lnTo>
                    <a:lnTo>
                      <a:pt x="315" y="31"/>
                    </a:lnTo>
                    <a:lnTo>
                      <a:pt x="316" y="31"/>
                    </a:lnTo>
                    <a:lnTo>
                      <a:pt x="316" y="29"/>
                    </a:lnTo>
                    <a:lnTo>
                      <a:pt x="315" y="29"/>
                    </a:lnTo>
                    <a:lnTo>
                      <a:pt x="316" y="29"/>
                    </a:lnTo>
                    <a:lnTo>
                      <a:pt x="316" y="27"/>
                    </a:lnTo>
                    <a:lnTo>
                      <a:pt x="316" y="25"/>
                    </a:lnTo>
                    <a:lnTo>
                      <a:pt x="318" y="25"/>
                    </a:lnTo>
                    <a:lnTo>
                      <a:pt x="318" y="24"/>
                    </a:lnTo>
                    <a:lnTo>
                      <a:pt x="320" y="24"/>
                    </a:lnTo>
                    <a:lnTo>
                      <a:pt x="320" y="22"/>
                    </a:lnTo>
                    <a:lnTo>
                      <a:pt x="320" y="20"/>
                    </a:lnTo>
                    <a:lnTo>
                      <a:pt x="321" y="19"/>
                    </a:lnTo>
                    <a:lnTo>
                      <a:pt x="321" y="17"/>
                    </a:lnTo>
                    <a:lnTo>
                      <a:pt x="323" y="17"/>
                    </a:lnTo>
                    <a:lnTo>
                      <a:pt x="323" y="15"/>
                    </a:lnTo>
                    <a:lnTo>
                      <a:pt x="323" y="13"/>
                    </a:lnTo>
                    <a:lnTo>
                      <a:pt x="325" y="12"/>
                    </a:lnTo>
                    <a:lnTo>
                      <a:pt x="323" y="12"/>
                    </a:lnTo>
                    <a:lnTo>
                      <a:pt x="325" y="12"/>
                    </a:lnTo>
                    <a:lnTo>
                      <a:pt x="325" y="10"/>
                    </a:lnTo>
                    <a:lnTo>
                      <a:pt x="325" y="8"/>
                    </a:lnTo>
                    <a:lnTo>
                      <a:pt x="326" y="8"/>
                    </a:lnTo>
                    <a:lnTo>
                      <a:pt x="332" y="8"/>
                    </a:lnTo>
                    <a:lnTo>
                      <a:pt x="333" y="8"/>
                    </a:lnTo>
                    <a:lnTo>
                      <a:pt x="335" y="8"/>
                    </a:lnTo>
                    <a:lnTo>
                      <a:pt x="335" y="10"/>
                    </a:lnTo>
                    <a:lnTo>
                      <a:pt x="335" y="8"/>
                    </a:lnTo>
                    <a:lnTo>
                      <a:pt x="354" y="8"/>
                    </a:lnTo>
                    <a:lnTo>
                      <a:pt x="364" y="8"/>
                    </a:lnTo>
                    <a:lnTo>
                      <a:pt x="364" y="10"/>
                    </a:lnTo>
                    <a:lnTo>
                      <a:pt x="364" y="12"/>
                    </a:lnTo>
                    <a:lnTo>
                      <a:pt x="364" y="13"/>
                    </a:lnTo>
                    <a:lnTo>
                      <a:pt x="366" y="13"/>
                    </a:lnTo>
                    <a:lnTo>
                      <a:pt x="367" y="13"/>
                    </a:lnTo>
                    <a:lnTo>
                      <a:pt x="367" y="15"/>
                    </a:lnTo>
                    <a:lnTo>
                      <a:pt x="369" y="15"/>
                    </a:lnTo>
                    <a:lnTo>
                      <a:pt x="369" y="17"/>
                    </a:lnTo>
                    <a:close/>
                    <a:moveTo>
                      <a:pt x="167" y="1473"/>
                    </a:moveTo>
                    <a:lnTo>
                      <a:pt x="167" y="1468"/>
                    </a:lnTo>
                    <a:lnTo>
                      <a:pt x="167" y="1456"/>
                    </a:lnTo>
                    <a:lnTo>
                      <a:pt x="167" y="1454"/>
                    </a:lnTo>
                    <a:lnTo>
                      <a:pt x="167" y="1453"/>
                    </a:lnTo>
                    <a:lnTo>
                      <a:pt x="167" y="1451"/>
                    </a:lnTo>
                    <a:lnTo>
                      <a:pt x="167" y="1444"/>
                    </a:lnTo>
                    <a:lnTo>
                      <a:pt x="167" y="1442"/>
                    </a:lnTo>
                    <a:lnTo>
                      <a:pt x="167" y="1429"/>
                    </a:lnTo>
                    <a:lnTo>
                      <a:pt x="167" y="1417"/>
                    </a:lnTo>
                    <a:lnTo>
                      <a:pt x="167" y="1410"/>
                    </a:lnTo>
                    <a:lnTo>
                      <a:pt x="168" y="1398"/>
                    </a:lnTo>
                    <a:lnTo>
                      <a:pt x="168" y="1386"/>
                    </a:lnTo>
                    <a:lnTo>
                      <a:pt x="168" y="1383"/>
                    </a:lnTo>
                    <a:lnTo>
                      <a:pt x="168" y="1378"/>
                    </a:lnTo>
                    <a:lnTo>
                      <a:pt x="168" y="1364"/>
                    </a:lnTo>
                    <a:lnTo>
                      <a:pt x="168" y="1347"/>
                    </a:lnTo>
                    <a:lnTo>
                      <a:pt x="168" y="1345"/>
                    </a:lnTo>
                    <a:lnTo>
                      <a:pt x="168" y="1347"/>
                    </a:lnTo>
                    <a:lnTo>
                      <a:pt x="170" y="1349"/>
                    </a:lnTo>
                    <a:lnTo>
                      <a:pt x="173" y="1352"/>
                    </a:lnTo>
                    <a:lnTo>
                      <a:pt x="175" y="1356"/>
                    </a:lnTo>
                    <a:lnTo>
                      <a:pt x="177" y="1359"/>
                    </a:lnTo>
                    <a:lnTo>
                      <a:pt x="179" y="1361"/>
                    </a:lnTo>
                    <a:lnTo>
                      <a:pt x="180" y="1362"/>
                    </a:lnTo>
                    <a:lnTo>
                      <a:pt x="180" y="1366"/>
                    </a:lnTo>
                    <a:lnTo>
                      <a:pt x="180" y="1368"/>
                    </a:lnTo>
                    <a:lnTo>
                      <a:pt x="182" y="1371"/>
                    </a:lnTo>
                    <a:lnTo>
                      <a:pt x="182" y="1373"/>
                    </a:lnTo>
                    <a:lnTo>
                      <a:pt x="182" y="1371"/>
                    </a:lnTo>
                    <a:lnTo>
                      <a:pt x="180" y="1369"/>
                    </a:lnTo>
                    <a:lnTo>
                      <a:pt x="180" y="1368"/>
                    </a:lnTo>
                    <a:lnTo>
                      <a:pt x="180" y="1366"/>
                    </a:lnTo>
                    <a:lnTo>
                      <a:pt x="179" y="1364"/>
                    </a:lnTo>
                    <a:lnTo>
                      <a:pt x="179" y="1366"/>
                    </a:lnTo>
                    <a:lnTo>
                      <a:pt x="177" y="1366"/>
                    </a:lnTo>
                    <a:lnTo>
                      <a:pt x="175" y="1366"/>
                    </a:lnTo>
                    <a:lnTo>
                      <a:pt x="175" y="1368"/>
                    </a:lnTo>
                    <a:lnTo>
                      <a:pt x="173" y="1369"/>
                    </a:lnTo>
                    <a:lnTo>
                      <a:pt x="172" y="1371"/>
                    </a:lnTo>
                    <a:lnTo>
                      <a:pt x="172" y="1373"/>
                    </a:lnTo>
                    <a:lnTo>
                      <a:pt x="170" y="1373"/>
                    </a:lnTo>
                    <a:lnTo>
                      <a:pt x="170" y="1374"/>
                    </a:lnTo>
                    <a:lnTo>
                      <a:pt x="170" y="1376"/>
                    </a:lnTo>
                    <a:lnTo>
                      <a:pt x="170" y="1378"/>
                    </a:lnTo>
                    <a:lnTo>
                      <a:pt x="172" y="1379"/>
                    </a:lnTo>
                    <a:lnTo>
                      <a:pt x="173" y="1381"/>
                    </a:lnTo>
                    <a:lnTo>
                      <a:pt x="175" y="1381"/>
                    </a:lnTo>
                    <a:lnTo>
                      <a:pt x="177" y="1381"/>
                    </a:lnTo>
                    <a:lnTo>
                      <a:pt x="177" y="1383"/>
                    </a:lnTo>
                    <a:lnTo>
                      <a:pt x="179" y="1383"/>
                    </a:lnTo>
                    <a:lnTo>
                      <a:pt x="180" y="1381"/>
                    </a:lnTo>
                    <a:lnTo>
                      <a:pt x="182" y="1381"/>
                    </a:lnTo>
                    <a:lnTo>
                      <a:pt x="182" y="1383"/>
                    </a:lnTo>
                    <a:lnTo>
                      <a:pt x="184" y="1383"/>
                    </a:lnTo>
                    <a:lnTo>
                      <a:pt x="185" y="1385"/>
                    </a:lnTo>
                    <a:lnTo>
                      <a:pt x="185" y="1386"/>
                    </a:lnTo>
                    <a:lnTo>
                      <a:pt x="185" y="1388"/>
                    </a:lnTo>
                    <a:lnTo>
                      <a:pt x="187" y="1390"/>
                    </a:lnTo>
                    <a:lnTo>
                      <a:pt x="187" y="1391"/>
                    </a:lnTo>
                    <a:lnTo>
                      <a:pt x="187" y="1393"/>
                    </a:lnTo>
                    <a:lnTo>
                      <a:pt x="189" y="1395"/>
                    </a:lnTo>
                    <a:lnTo>
                      <a:pt x="189" y="1396"/>
                    </a:lnTo>
                    <a:lnTo>
                      <a:pt x="189" y="1398"/>
                    </a:lnTo>
                    <a:lnTo>
                      <a:pt x="190" y="1398"/>
                    </a:lnTo>
                    <a:lnTo>
                      <a:pt x="190" y="1400"/>
                    </a:lnTo>
                    <a:lnTo>
                      <a:pt x="192" y="1402"/>
                    </a:lnTo>
                    <a:lnTo>
                      <a:pt x="194" y="1403"/>
                    </a:lnTo>
                    <a:lnTo>
                      <a:pt x="194" y="1405"/>
                    </a:lnTo>
                    <a:lnTo>
                      <a:pt x="196" y="1405"/>
                    </a:lnTo>
                    <a:lnTo>
                      <a:pt x="197" y="1407"/>
                    </a:lnTo>
                    <a:lnTo>
                      <a:pt x="199" y="1408"/>
                    </a:lnTo>
                    <a:lnTo>
                      <a:pt x="201" y="1410"/>
                    </a:lnTo>
                    <a:lnTo>
                      <a:pt x="202" y="1412"/>
                    </a:lnTo>
                    <a:lnTo>
                      <a:pt x="204" y="1412"/>
                    </a:lnTo>
                    <a:lnTo>
                      <a:pt x="202" y="1413"/>
                    </a:lnTo>
                    <a:lnTo>
                      <a:pt x="204" y="1415"/>
                    </a:lnTo>
                    <a:lnTo>
                      <a:pt x="204" y="1417"/>
                    </a:lnTo>
                    <a:lnTo>
                      <a:pt x="206" y="1417"/>
                    </a:lnTo>
                    <a:lnTo>
                      <a:pt x="206" y="1419"/>
                    </a:lnTo>
                    <a:lnTo>
                      <a:pt x="207" y="1419"/>
                    </a:lnTo>
                    <a:lnTo>
                      <a:pt x="207" y="1420"/>
                    </a:lnTo>
                    <a:lnTo>
                      <a:pt x="209" y="1420"/>
                    </a:lnTo>
                    <a:lnTo>
                      <a:pt x="209" y="1422"/>
                    </a:lnTo>
                    <a:lnTo>
                      <a:pt x="211" y="1422"/>
                    </a:lnTo>
                    <a:lnTo>
                      <a:pt x="211" y="1424"/>
                    </a:lnTo>
                    <a:lnTo>
                      <a:pt x="213" y="1424"/>
                    </a:lnTo>
                    <a:lnTo>
                      <a:pt x="213" y="1425"/>
                    </a:lnTo>
                    <a:lnTo>
                      <a:pt x="214" y="1425"/>
                    </a:lnTo>
                    <a:lnTo>
                      <a:pt x="216" y="1427"/>
                    </a:lnTo>
                    <a:lnTo>
                      <a:pt x="218" y="1427"/>
                    </a:lnTo>
                    <a:lnTo>
                      <a:pt x="218" y="1429"/>
                    </a:lnTo>
                    <a:lnTo>
                      <a:pt x="219" y="1429"/>
                    </a:lnTo>
                    <a:lnTo>
                      <a:pt x="221" y="1430"/>
                    </a:lnTo>
                    <a:lnTo>
                      <a:pt x="223" y="1430"/>
                    </a:lnTo>
                    <a:lnTo>
                      <a:pt x="224" y="1432"/>
                    </a:lnTo>
                    <a:lnTo>
                      <a:pt x="226" y="1434"/>
                    </a:lnTo>
                    <a:lnTo>
                      <a:pt x="228" y="1434"/>
                    </a:lnTo>
                    <a:lnTo>
                      <a:pt x="230" y="1436"/>
                    </a:lnTo>
                    <a:lnTo>
                      <a:pt x="231" y="1436"/>
                    </a:lnTo>
                    <a:lnTo>
                      <a:pt x="231" y="1437"/>
                    </a:lnTo>
                    <a:lnTo>
                      <a:pt x="233" y="1437"/>
                    </a:lnTo>
                    <a:lnTo>
                      <a:pt x="233" y="1439"/>
                    </a:lnTo>
                    <a:lnTo>
                      <a:pt x="233" y="1441"/>
                    </a:lnTo>
                    <a:lnTo>
                      <a:pt x="235" y="1441"/>
                    </a:lnTo>
                    <a:lnTo>
                      <a:pt x="235" y="1442"/>
                    </a:lnTo>
                    <a:lnTo>
                      <a:pt x="236" y="1442"/>
                    </a:lnTo>
                    <a:lnTo>
                      <a:pt x="236" y="1444"/>
                    </a:lnTo>
                    <a:lnTo>
                      <a:pt x="238" y="1444"/>
                    </a:lnTo>
                    <a:lnTo>
                      <a:pt x="238" y="1446"/>
                    </a:lnTo>
                    <a:lnTo>
                      <a:pt x="240" y="1447"/>
                    </a:lnTo>
                    <a:lnTo>
                      <a:pt x="240" y="1449"/>
                    </a:lnTo>
                    <a:lnTo>
                      <a:pt x="241" y="1449"/>
                    </a:lnTo>
                    <a:lnTo>
                      <a:pt x="243" y="1449"/>
                    </a:lnTo>
                    <a:lnTo>
                      <a:pt x="245" y="1451"/>
                    </a:lnTo>
                    <a:lnTo>
                      <a:pt x="247" y="1451"/>
                    </a:lnTo>
                    <a:lnTo>
                      <a:pt x="248" y="1453"/>
                    </a:lnTo>
                    <a:lnTo>
                      <a:pt x="250" y="1453"/>
                    </a:lnTo>
                    <a:lnTo>
                      <a:pt x="252" y="1454"/>
                    </a:lnTo>
                    <a:lnTo>
                      <a:pt x="253" y="1454"/>
                    </a:lnTo>
                    <a:lnTo>
                      <a:pt x="255" y="1454"/>
                    </a:lnTo>
                    <a:lnTo>
                      <a:pt x="257" y="1456"/>
                    </a:lnTo>
                    <a:lnTo>
                      <a:pt x="258" y="1456"/>
                    </a:lnTo>
                    <a:lnTo>
                      <a:pt x="260" y="1456"/>
                    </a:lnTo>
                    <a:lnTo>
                      <a:pt x="260" y="1458"/>
                    </a:lnTo>
                    <a:lnTo>
                      <a:pt x="262" y="1458"/>
                    </a:lnTo>
                    <a:lnTo>
                      <a:pt x="264" y="1459"/>
                    </a:lnTo>
                    <a:lnTo>
                      <a:pt x="265" y="1459"/>
                    </a:lnTo>
                    <a:lnTo>
                      <a:pt x="267" y="1459"/>
                    </a:lnTo>
                    <a:lnTo>
                      <a:pt x="269" y="1459"/>
                    </a:lnTo>
                    <a:lnTo>
                      <a:pt x="270" y="1459"/>
                    </a:lnTo>
                    <a:lnTo>
                      <a:pt x="272" y="1459"/>
                    </a:lnTo>
                    <a:lnTo>
                      <a:pt x="274" y="1459"/>
                    </a:lnTo>
                    <a:lnTo>
                      <a:pt x="275" y="1458"/>
                    </a:lnTo>
                    <a:lnTo>
                      <a:pt x="275" y="1459"/>
                    </a:lnTo>
                    <a:lnTo>
                      <a:pt x="275" y="1458"/>
                    </a:lnTo>
                    <a:lnTo>
                      <a:pt x="277" y="1458"/>
                    </a:lnTo>
                    <a:lnTo>
                      <a:pt x="279" y="1458"/>
                    </a:lnTo>
                    <a:lnTo>
                      <a:pt x="281" y="1458"/>
                    </a:lnTo>
                    <a:lnTo>
                      <a:pt x="282" y="1458"/>
                    </a:lnTo>
                    <a:lnTo>
                      <a:pt x="282" y="1459"/>
                    </a:lnTo>
                    <a:lnTo>
                      <a:pt x="282" y="1458"/>
                    </a:lnTo>
                    <a:lnTo>
                      <a:pt x="282" y="1459"/>
                    </a:lnTo>
                    <a:lnTo>
                      <a:pt x="284" y="1459"/>
                    </a:lnTo>
                    <a:lnTo>
                      <a:pt x="286" y="1459"/>
                    </a:lnTo>
                    <a:lnTo>
                      <a:pt x="284" y="1461"/>
                    </a:lnTo>
                    <a:lnTo>
                      <a:pt x="284" y="1463"/>
                    </a:lnTo>
                    <a:lnTo>
                      <a:pt x="284" y="1465"/>
                    </a:lnTo>
                    <a:lnTo>
                      <a:pt x="282" y="1465"/>
                    </a:lnTo>
                    <a:lnTo>
                      <a:pt x="284" y="1465"/>
                    </a:lnTo>
                    <a:lnTo>
                      <a:pt x="282" y="1466"/>
                    </a:lnTo>
                    <a:lnTo>
                      <a:pt x="282" y="1468"/>
                    </a:lnTo>
                    <a:lnTo>
                      <a:pt x="281" y="1468"/>
                    </a:lnTo>
                    <a:lnTo>
                      <a:pt x="282" y="1468"/>
                    </a:lnTo>
                    <a:lnTo>
                      <a:pt x="282" y="1470"/>
                    </a:lnTo>
                    <a:lnTo>
                      <a:pt x="281" y="1470"/>
                    </a:lnTo>
                    <a:lnTo>
                      <a:pt x="281" y="1471"/>
                    </a:lnTo>
                    <a:lnTo>
                      <a:pt x="279" y="1471"/>
                    </a:lnTo>
                    <a:lnTo>
                      <a:pt x="279" y="1473"/>
                    </a:lnTo>
                    <a:lnTo>
                      <a:pt x="279" y="1475"/>
                    </a:lnTo>
                    <a:lnTo>
                      <a:pt x="277" y="1476"/>
                    </a:lnTo>
                    <a:lnTo>
                      <a:pt x="275" y="1476"/>
                    </a:lnTo>
                    <a:lnTo>
                      <a:pt x="275" y="1475"/>
                    </a:lnTo>
                    <a:lnTo>
                      <a:pt x="275" y="1473"/>
                    </a:lnTo>
                    <a:lnTo>
                      <a:pt x="274" y="1473"/>
                    </a:lnTo>
                    <a:lnTo>
                      <a:pt x="274" y="1475"/>
                    </a:lnTo>
                    <a:lnTo>
                      <a:pt x="272" y="1476"/>
                    </a:lnTo>
                    <a:lnTo>
                      <a:pt x="270" y="1476"/>
                    </a:lnTo>
                    <a:lnTo>
                      <a:pt x="269" y="1476"/>
                    </a:lnTo>
                    <a:lnTo>
                      <a:pt x="269" y="1478"/>
                    </a:lnTo>
                    <a:lnTo>
                      <a:pt x="267" y="1478"/>
                    </a:lnTo>
                    <a:lnTo>
                      <a:pt x="265" y="1478"/>
                    </a:lnTo>
                    <a:lnTo>
                      <a:pt x="265" y="1476"/>
                    </a:lnTo>
                    <a:lnTo>
                      <a:pt x="265" y="1475"/>
                    </a:lnTo>
                    <a:lnTo>
                      <a:pt x="264" y="1473"/>
                    </a:lnTo>
                    <a:lnTo>
                      <a:pt x="264" y="1475"/>
                    </a:lnTo>
                    <a:lnTo>
                      <a:pt x="262" y="1475"/>
                    </a:lnTo>
                    <a:lnTo>
                      <a:pt x="262" y="1473"/>
                    </a:lnTo>
                    <a:lnTo>
                      <a:pt x="260" y="1473"/>
                    </a:lnTo>
                    <a:lnTo>
                      <a:pt x="258" y="1475"/>
                    </a:lnTo>
                    <a:lnTo>
                      <a:pt x="258" y="1473"/>
                    </a:lnTo>
                    <a:lnTo>
                      <a:pt x="257" y="1473"/>
                    </a:lnTo>
                    <a:lnTo>
                      <a:pt x="257" y="1475"/>
                    </a:lnTo>
                    <a:lnTo>
                      <a:pt x="258" y="1476"/>
                    </a:lnTo>
                    <a:lnTo>
                      <a:pt x="257" y="1478"/>
                    </a:lnTo>
                    <a:lnTo>
                      <a:pt x="255" y="1478"/>
                    </a:lnTo>
                    <a:lnTo>
                      <a:pt x="253" y="1478"/>
                    </a:lnTo>
                    <a:lnTo>
                      <a:pt x="252" y="1478"/>
                    </a:lnTo>
                    <a:lnTo>
                      <a:pt x="250" y="1478"/>
                    </a:lnTo>
                    <a:lnTo>
                      <a:pt x="250" y="1480"/>
                    </a:lnTo>
                    <a:lnTo>
                      <a:pt x="248" y="1478"/>
                    </a:lnTo>
                    <a:lnTo>
                      <a:pt x="247" y="1478"/>
                    </a:lnTo>
                    <a:lnTo>
                      <a:pt x="245" y="1478"/>
                    </a:lnTo>
                    <a:lnTo>
                      <a:pt x="245" y="1480"/>
                    </a:lnTo>
                    <a:lnTo>
                      <a:pt x="243" y="1480"/>
                    </a:lnTo>
                    <a:lnTo>
                      <a:pt x="245" y="1482"/>
                    </a:lnTo>
                    <a:lnTo>
                      <a:pt x="243" y="1482"/>
                    </a:lnTo>
                    <a:lnTo>
                      <a:pt x="241" y="1482"/>
                    </a:lnTo>
                    <a:lnTo>
                      <a:pt x="241" y="1483"/>
                    </a:lnTo>
                    <a:lnTo>
                      <a:pt x="240" y="1482"/>
                    </a:lnTo>
                    <a:lnTo>
                      <a:pt x="238" y="1483"/>
                    </a:lnTo>
                    <a:lnTo>
                      <a:pt x="238" y="1482"/>
                    </a:lnTo>
                    <a:lnTo>
                      <a:pt x="236" y="1482"/>
                    </a:lnTo>
                    <a:lnTo>
                      <a:pt x="235" y="1482"/>
                    </a:lnTo>
                    <a:lnTo>
                      <a:pt x="233" y="1480"/>
                    </a:lnTo>
                    <a:lnTo>
                      <a:pt x="231" y="1480"/>
                    </a:lnTo>
                    <a:lnTo>
                      <a:pt x="231" y="1478"/>
                    </a:lnTo>
                    <a:lnTo>
                      <a:pt x="231" y="1476"/>
                    </a:lnTo>
                    <a:lnTo>
                      <a:pt x="230" y="1476"/>
                    </a:lnTo>
                    <a:lnTo>
                      <a:pt x="228" y="1476"/>
                    </a:lnTo>
                    <a:lnTo>
                      <a:pt x="226" y="1476"/>
                    </a:lnTo>
                    <a:lnTo>
                      <a:pt x="224" y="1476"/>
                    </a:lnTo>
                    <a:lnTo>
                      <a:pt x="224" y="1475"/>
                    </a:lnTo>
                    <a:lnTo>
                      <a:pt x="223" y="1475"/>
                    </a:lnTo>
                    <a:lnTo>
                      <a:pt x="221" y="1475"/>
                    </a:lnTo>
                    <a:lnTo>
                      <a:pt x="219" y="1475"/>
                    </a:lnTo>
                    <a:lnTo>
                      <a:pt x="219" y="1473"/>
                    </a:lnTo>
                    <a:lnTo>
                      <a:pt x="218" y="1473"/>
                    </a:lnTo>
                    <a:lnTo>
                      <a:pt x="216" y="1473"/>
                    </a:lnTo>
                    <a:lnTo>
                      <a:pt x="214" y="1473"/>
                    </a:lnTo>
                    <a:lnTo>
                      <a:pt x="213" y="1473"/>
                    </a:lnTo>
                    <a:lnTo>
                      <a:pt x="213" y="1471"/>
                    </a:lnTo>
                    <a:lnTo>
                      <a:pt x="213" y="1473"/>
                    </a:lnTo>
                    <a:lnTo>
                      <a:pt x="213" y="1471"/>
                    </a:lnTo>
                    <a:lnTo>
                      <a:pt x="213" y="1473"/>
                    </a:lnTo>
                    <a:lnTo>
                      <a:pt x="211" y="1471"/>
                    </a:lnTo>
                    <a:lnTo>
                      <a:pt x="213" y="1473"/>
                    </a:lnTo>
                    <a:lnTo>
                      <a:pt x="211" y="1473"/>
                    </a:lnTo>
                    <a:lnTo>
                      <a:pt x="211" y="1471"/>
                    </a:lnTo>
                    <a:lnTo>
                      <a:pt x="209" y="1471"/>
                    </a:lnTo>
                    <a:lnTo>
                      <a:pt x="211" y="1473"/>
                    </a:lnTo>
                    <a:lnTo>
                      <a:pt x="209" y="1473"/>
                    </a:lnTo>
                    <a:lnTo>
                      <a:pt x="207" y="1473"/>
                    </a:lnTo>
                    <a:lnTo>
                      <a:pt x="207" y="1471"/>
                    </a:lnTo>
                    <a:lnTo>
                      <a:pt x="206" y="1471"/>
                    </a:lnTo>
                    <a:lnTo>
                      <a:pt x="204" y="1471"/>
                    </a:lnTo>
                    <a:lnTo>
                      <a:pt x="202" y="1471"/>
                    </a:lnTo>
                    <a:lnTo>
                      <a:pt x="202" y="1473"/>
                    </a:lnTo>
                    <a:lnTo>
                      <a:pt x="201" y="1473"/>
                    </a:lnTo>
                    <a:lnTo>
                      <a:pt x="199" y="1473"/>
                    </a:lnTo>
                    <a:lnTo>
                      <a:pt x="197" y="1473"/>
                    </a:lnTo>
                    <a:lnTo>
                      <a:pt x="196" y="1471"/>
                    </a:lnTo>
                    <a:lnTo>
                      <a:pt x="194" y="1471"/>
                    </a:lnTo>
                    <a:lnTo>
                      <a:pt x="192" y="1471"/>
                    </a:lnTo>
                    <a:lnTo>
                      <a:pt x="190" y="1471"/>
                    </a:lnTo>
                    <a:lnTo>
                      <a:pt x="189" y="1471"/>
                    </a:lnTo>
                    <a:lnTo>
                      <a:pt x="189" y="1470"/>
                    </a:lnTo>
                    <a:lnTo>
                      <a:pt x="187" y="1471"/>
                    </a:lnTo>
                    <a:lnTo>
                      <a:pt x="187" y="1470"/>
                    </a:lnTo>
                    <a:lnTo>
                      <a:pt x="185" y="1470"/>
                    </a:lnTo>
                    <a:lnTo>
                      <a:pt x="184" y="1470"/>
                    </a:lnTo>
                    <a:lnTo>
                      <a:pt x="182" y="1468"/>
                    </a:lnTo>
                    <a:lnTo>
                      <a:pt x="180" y="1468"/>
                    </a:lnTo>
                    <a:lnTo>
                      <a:pt x="179" y="1468"/>
                    </a:lnTo>
                    <a:lnTo>
                      <a:pt x="179" y="1470"/>
                    </a:lnTo>
                    <a:lnTo>
                      <a:pt x="180" y="1470"/>
                    </a:lnTo>
                    <a:lnTo>
                      <a:pt x="179" y="1470"/>
                    </a:lnTo>
                    <a:lnTo>
                      <a:pt x="177" y="1470"/>
                    </a:lnTo>
                    <a:lnTo>
                      <a:pt x="175" y="1471"/>
                    </a:lnTo>
                    <a:lnTo>
                      <a:pt x="173" y="1471"/>
                    </a:lnTo>
                    <a:lnTo>
                      <a:pt x="172" y="1470"/>
                    </a:lnTo>
                    <a:lnTo>
                      <a:pt x="172" y="1471"/>
                    </a:lnTo>
                    <a:lnTo>
                      <a:pt x="170" y="1471"/>
                    </a:lnTo>
                    <a:lnTo>
                      <a:pt x="172" y="1471"/>
                    </a:lnTo>
                    <a:lnTo>
                      <a:pt x="170" y="1473"/>
                    </a:lnTo>
                    <a:lnTo>
                      <a:pt x="168" y="1473"/>
                    </a:lnTo>
                    <a:lnTo>
                      <a:pt x="167" y="1473"/>
                    </a:lnTo>
                    <a:close/>
                    <a:moveTo>
                      <a:pt x="313" y="1465"/>
                    </a:moveTo>
                    <a:lnTo>
                      <a:pt x="315" y="1463"/>
                    </a:lnTo>
                    <a:lnTo>
                      <a:pt x="315" y="1465"/>
                    </a:lnTo>
                    <a:lnTo>
                      <a:pt x="316" y="1463"/>
                    </a:lnTo>
                    <a:lnTo>
                      <a:pt x="318" y="1465"/>
                    </a:lnTo>
                    <a:lnTo>
                      <a:pt x="318" y="1466"/>
                    </a:lnTo>
                    <a:lnTo>
                      <a:pt x="320" y="1465"/>
                    </a:lnTo>
                    <a:lnTo>
                      <a:pt x="318" y="1465"/>
                    </a:lnTo>
                    <a:lnTo>
                      <a:pt x="318" y="1463"/>
                    </a:lnTo>
                    <a:lnTo>
                      <a:pt x="320" y="1465"/>
                    </a:lnTo>
                    <a:lnTo>
                      <a:pt x="321" y="1465"/>
                    </a:lnTo>
                    <a:lnTo>
                      <a:pt x="321" y="1463"/>
                    </a:lnTo>
                    <a:lnTo>
                      <a:pt x="323" y="1465"/>
                    </a:lnTo>
                    <a:lnTo>
                      <a:pt x="321" y="1466"/>
                    </a:lnTo>
                    <a:lnTo>
                      <a:pt x="323" y="1466"/>
                    </a:lnTo>
                    <a:lnTo>
                      <a:pt x="323" y="1465"/>
                    </a:lnTo>
                    <a:lnTo>
                      <a:pt x="325" y="1465"/>
                    </a:lnTo>
                    <a:lnTo>
                      <a:pt x="326" y="1463"/>
                    </a:lnTo>
                    <a:lnTo>
                      <a:pt x="328" y="1463"/>
                    </a:lnTo>
                    <a:lnTo>
                      <a:pt x="328" y="1465"/>
                    </a:lnTo>
                    <a:lnTo>
                      <a:pt x="330" y="1463"/>
                    </a:lnTo>
                    <a:lnTo>
                      <a:pt x="330" y="1465"/>
                    </a:lnTo>
                    <a:lnTo>
                      <a:pt x="328" y="1466"/>
                    </a:lnTo>
                    <a:lnTo>
                      <a:pt x="328" y="1468"/>
                    </a:lnTo>
                    <a:lnTo>
                      <a:pt x="328" y="1466"/>
                    </a:lnTo>
                    <a:lnTo>
                      <a:pt x="326" y="1466"/>
                    </a:lnTo>
                    <a:lnTo>
                      <a:pt x="326" y="1468"/>
                    </a:lnTo>
                    <a:lnTo>
                      <a:pt x="325" y="1468"/>
                    </a:lnTo>
                    <a:lnTo>
                      <a:pt x="325" y="1466"/>
                    </a:lnTo>
                    <a:lnTo>
                      <a:pt x="323" y="1466"/>
                    </a:lnTo>
                    <a:lnTo>
                      <a:pt x="323" y="1468"/>
                    </a:lnTo>
                    <a:lnTo>
                      <a:pt x="321" y="1468"/>
                    </a:lnTo>
                    <a:lnTo>
                      <a:pt x="321" y="1466"/>
                    </a:lnTo>
                    <a:lnTo>
                      <a:pt x="321" y="1468"/>
                    </a:lnTo>
                    <a:lnTo>
                      <a:pt x="320" y="1468"/>
                    </a:lnTo>
                    <a:lnTo>
                      <a:pt x="320" y="1470"/>
                    </a:lnTo>
                    <a:lnTo>
                      <a:pt x="320" y="1468"/>
                    </a:lnTo>
                    <a:lnTo>
                      <a:pt x="318" y="1470"/>
                    </a:lnTo>
                    <a:lnTo>
                      <a:pt x="316" y="1470"/>
                    </a:lnTo>
                    <a:lnTo>
                      <a:pt x="316" y="1471"/>
                    </a:lnTo>
                    <a:lnTo>
                      <a:pt x="316" y="1470"/>
                    </a:lnTo>
                    <a:lnTo>
                      <a:pt x="316" y="1468"/>
                    </a:lnTo>
                    <a:lnTo>
                      <a:pt x="316" y="1466"/>
                    </a:lnTo>
                    <a:lnTo>
                      <a:pt x="315" y="1468"/>
                    </a:lnTo>
                    <a:lnTo>
                      <a:pt x="315" y="1466"/>
                    </a:lnTo>
                    <a:lnTo>
                      <a:pt x="313" y="1466"/>
                    </a:lnTo>
                    <a:lnTo>
                      <a:pt x="313" y="1468"/>
                    </a:lnTo>
                    <a:lnTo>
                      <a:pt x="313" y="1470"/>
                    </a:lnTo>
                    <a:lnTo>
                      <a:pt x="311" y="1470"/>
                    </a:lnTo>
                    <a:lnTo>
                      <a:pt x="309" y="1471"/>
                    </a:lnTo>
                    <a:lnTo>
                      <a:pt x="308" y="1471"/>
                    </a:lnTo>
                    <a:lnTo>
                      <a:pt x="308" y="1470"/>
                    </a:lnTo>
                    <a:lnTo>
                      <a:pt x="309" y="1470"/>
                    </a:lnTo>
                    <a:lnTo>
                      <a:pt x="308" y="1470"/>
                    </a:lnTo>
                    <a:lnTo>
                      <a:pt x="306" y="1471"/>
                    </a:lnTo>
                    <a:lnTo>
                      <a:pt x="306" y="1473"/>
                    </a:lnTo>
                    <a:lnTo>
                      <a:pt x="304" y="1473"/>
                    </a:lnTo>
                    <a:lnTo>
                      <a:pt x="303" y="1475"/>
                    </a:lnTo>
                    <a:lnTo>
                      <a:pt x="303" y="1473"/>
                    </a:lnTo>
                    <a:lnTo>
                      <a:pt x="301" y="1475"/>
                    </a:lnTo>
                    <a:lnTo>
                      <a:pt x="299" y="1475"/>
                    </a:lnTo>
                    <a:lnTo>
                      <a:pt x="299" y="1473"/>
                    </a:lnTo>
                    <a:lnTo>
                      <a:pt x="301" y="1473"/>
                    </a:lnTo>
                    <a:lnTo>
                      <a:pt x="303" y="1473"/>
                    </a:lnTo>
                    <a:lnTo>
                      <a:pt x="301" y="1471"/>
                    </a:lnTo>
                    <a:lnTo>
                      <a:pt x="301" y="1470"/>
                    </a:lnTo>
                    <a:lnTo>
                      <a:pt x="299" y="1471"/>
                    </a:lnTo>
                    <a:lnTo>
                      <a:pt x="298" y="1470"/>
                    </a:lnTo>
                    <a:lnTo>
                      <a:pt x="299" y="1470"/>
                    </a:lnTo>
                    <a:lnTo>
                      <a:pt x="299" y="1468"/>
                    </a:lnTo>
                    <a:lnTo>
                      <a:pt x="299" y="1466"/>
                    </a:lnTo>
                    <a:lnTo>
                      <a:pt x="301" y="1468"/>
                    </a:lnTo>
                    <a:lnTo>
                      <a:pt x="301" y="1466"/>
                    </a:lnTo>
                    <a:lnTo>
                      <a:pt x="303" y="1466"/>
                    </a:lnTo>
                    <a:lnTo>
                      <a:pt x="303" y="1468"/>
                    </a:lnTo>
                    <a:lnTo>
                      <a:pt x="304" y="1468"/>
                    </a:lnTo>
                    <a:lnTo>
                      <a:pt x="306" y="1468"/>
                    </a:lnTo>
                    <a:lnTo>
                      <a:pt x="306" y="1466"/>
                    </a:lnTo>
                    <a:lnTo>
                      <a:pt x="306" y="1465"/>
                    </a:lnTo>
                    <a:lnTo>
                      <a:pt x="306" y="1463"/>
                    </a:lnTo>
                    <a:lnTo>
                      <a:pt x="306" y="1465"/>
                    </a:lnTo>
                    <a:lnTo>
                      <a:pt x="308" y="1466"/>
                    </a:lnTo>
                    <a:lnTo>
                      <a:pt x="309" y="1465"/>
                    </a:lnTo>
                    <a:lnTo>
                      <a:pt x="309" y="1466"/>
                    </a:lnTo>
                    <a:lnTo>
                      <a:pt x="309" y="1465"/>
                    </a:lnTo>
                    <a:lnTo>
                      <a:pt x="311" y="1465"/>
                    </a:lnTo>
                    <a:lnTo>
                      <a:pt x="311" y="1466"/>
                    </a:lnTo>
                    <a:lnTo>
                      <a:pt x="311" y="1465"/>
                    </a:lnTo>
                    <a:lnTo>
                      <a:pt x="313" y="1463"/>
                    </a:lnTo>
                    <a:lnTo>
                      <a:pt x="313" y="1465"/>
                    </a:lnTo>
                    <a:close/>
                    <a:moveTo>
                      <a:pt x="391" y="682"/>
                    </a:moveTo>
                    <a:lnTo>
                      <a:pt x="393" y="682"/>
                    </a:lnTo>
                    <a:lnTo>
                      <a:pt x="394" y="682"/>
                    </a:lnTo>
                    <a:lnTo>
                      <a:pt x="394" y="684"/>
                    </a:lnTo>
                    <a:lnTo>
                      <a:pt x="396" y="684"/>
                    </a:lnTo>
                    <a:lnTo>
                      <a:pt x="396" y="685"/>
                    </a:lnTo>
                    <a:lnTo>
                      <a:pt x="396" y="687"/>
                    </a:lnTo>
                    <a:lnTo>
                      <a:pt x="396" y="689"/>
                    </a:lnTo>
                    <a:lnTo>
                      <a:pt x="394" y="689"/>
                    </a:lnTo>
                    <a:lnTo>
                      <a:pt x="394" y="687"/>
                    </a:lnTo>
                    <a:lnTo>
                      <a:pt x="393" y="687"/>
                    </a:lnTo>
                    <a:lnTo>
                      <a:pt x="391" y="687"/>
                    </a:lnTo>
                    <a:lnTo>
                      <a:pt x="391" y="685"/>
                    </a:lnTo>
                    <a:lnTo>
                      <a:pt x="389" y="685"/>
                    </a:lnTo>
                    <a:lnTo>
                      <a:pt x="389" y="684"/>
                    </a:lnTo>
                    <a:lnTo>
                      <a:pt x="388" y="684"/>
                    </a:lnTo>
                    <a:lnTo>
                      <a:pt x="388" y="682"/>
                    </a:lnTo>
                    <a:lnTo>
                      <a:pt x="389" y="682"/>
                    </a:lnTo>
                    <a:lnTo>
                      <a:pt x="391" y="682"/>
                    </a:lnTo>
                    <a:close/>
                    <a:moveTo>
                      <a:pt x="388" y="718"/>
                    </a:moveTo>
                    <a:lnTo>
                      <a:pt x="388" y="719"/>
                    </a:lnTo>
                    <a:lnTo>
                      <a:pt x="388" y="721"/>
                    </a:lnTo>
                    <a:lnTo>
                      <a:pt x="386" y="719"/>
                    </a:lnTo>
                    <a:lnTo>
                      <a:pt x="384" y="719"/>
                    </a:lnTo>
                    <a:lnTo>
                      <a:pt x="384" y="718"/>
                    </a:lnTo>
                    <a:lnTo>
                      <a:pt x="386" y="718"/>
                    </a:lnTo>
                    <a:lnTo>
                      <a:pt x="386" y="716"/>
                    </a:lnTo>
                    <a:lnTo>
                      <a:pt x="386" y="718"/>
                    </a:lnTo>
                    <a:lnTo>
                      <a:pt x="388" y="718"/>
                    </a:lnTo>
                    <a:close/>
                    <a:moveTo>
                      <a:pt x="386" y="742"/>
                    </a:moveTo>
                    <a:lnTo>
                      <a:pt x="386" y="743"/>
                    </a:lnTo>
                    <a:lnTo>
                      <a:pt x="386" y="745"/>
                    </a:lnTo>
                    <a:lnTo>
                      <a:pt x="386" y="747"/>
                    </a:lnTo>
                    <a:lnTo>
                      <a:pt x="384" y="745"/>
                    </a:lnTo>
                    <a:lnTo>
                      <a:pt x="383" y="745"/>
                    </a:lnTo>
                    <a:lnTo>
                      <a:pt x="384" y="743"/>
                    </a:lnTo>
                    <a:lnTo>
                      <a:pt x="384" y="742"/>
                    </a:lnTo>
                    <a:lnTo>
                      <a:pt x="386" y="742"/>
                    </a:lnTo>
                    <a:close/>
                    <a:moveTo>
                      <a:pt x="207" y="1473"/>
                    </a:moveTo>
                    <a:lnTo>
                      <a:pt x="209" y="1473"/>
                    </a:lnTo>
                    <a:lnTo>
                      <a:pt x="209" y="1475"/>
                    </a:lnTo>
                    <a:lnTo>
                      <a:pt x="207" y="1473"/>
                    </a:lnTo>
                    <a:lnTo>
                      <a:pt x="206" y="1475"/>
                    </a:lnTo>
                    <a:lnTo>
                      <a:pt x="204" y="1473"/>
                    </a:lnTo>
                    <a:lnTo>
                      <a:pt x="206" y="1471"/>
                    </a:lnTo>
                    <a:lnTo>
                      <a:pt x="206" y="1473"/>
                    </a:lnTo>
                    <a:lnTo>
                      <a:pt x="206" y="1471"/>
                    </a:lnTo>
                    <a:lnTo>
                      <a:pt x="207" y="1471"/>
                    </a:lnTo>
                    <a:lnTo>
                      <a:pt x="207" y="1473"/>
                    </a:lnTo>
                    <a:close/>
                    <a:moveTo>
                      <a:pt x="384" y="738"/>
                    </a:moveTo>
                    <a:lnTo>
                      <a:pt x="386" y="738"/>
                    </a:lnTo>
                    <a:lnTo>
                      <a:pt x="386" y="742"/>
                    </a:lnTo>
                    <a:lnTo>
                      <a:pt x="384" y="742"/>
                    </a:lnTo>
                    <a:lnTo>
                      <a:pt x="384" y="738"/>
                    </a:lnTo>
                    <a:close/>
                    <a:moveTo>
                      <a:pt x="386" y="687"/>
                    </a:moveTo>
                    <a:lnTo>
                      <a:pt x="389" y="687"/>
                    </a:lnTo>
                    <a:lnTo>
                      <a:pt x="389" y="689"/>
                    </a:lnTo>
                    <a:lnTo>
                      <a:pt x="386" y="689"/>
                    </a:lnTo>
                    <a:lnTo>
                      <a:pt x="386" y="687"/>
                    </a:lnTo>
                    <a:close/>
                    <a:moveTo>
                      <a:pt x="389" y="679"/>
                    </a:moveTo>
                    <a:lnTo>
                      <a:pt x="391" y="679"/>
                    </a:lnTo>
                    <a:lnTo>
                      <a:pt x="391" y="680"/>
                    </a:lnTo>
                    <a:lnTo>
                      <a:pt x="389" y="680"/>
                    </a:lnTo>
                    <a:lnTo>
                      <a:pt x="389" y="679"/>
                    </a:lnTo>
                    <a:close/>
                    <a:moveTo>
                      <a:pt x="381" y="672"/>
                    </a:moveTo>
                    <a:lnTo>
                      <a:pt x="383" y="672"/>
                    </a:lnTo>
                    <a:lnTo>
                      <a:pt x="383" y="675"/>
                    </a:lnTo>
                    <a:lnTo>
                      <a:pt x="381" y="675"/>
                    </a:lnTo>
                    <a:lnTo>
                      <a:pt x="381" y="672"/>
                    </a:lnTo>
                    <a:close/>
                    <a:moveTo>
                      <a:pt x="386" y="679"/>
                    </a:moveTo>
                    <a:lnTo>
                      <a:pt x="389" y="679"/>
                    </a:lnTo>
                    <a:lnTo>
                      <a:pt x="389" y="680"/>
                    </a:lnTo>
                    <a:lnTo>
                      <a:pt x="386" y="680"/>
                    </a:lnTo>
                    <a:lnTo>
                      <a:pt x="386" y="679"/>
                    </a:lnTo>
                    <a:close/>
                    <a:moveTo>
                      <a:pt x="386" y="728"/>
                    </a:moveTo>
                    <a:lnTo>
                      <a:pt x="388" y="728"/>
                    </a:lnTo>
                    <a:lnTo>
                      <a:pt x="388" y="731"/>
                    </a:lnTo>
                    <a:lnTo>
                      <a:pt x="386" y="731"/>
                    </a:lnTo>
                    <a:lnTo>
                      <a:pt x="386" y="728"/>
                    </a:lnTo>
                    <a:close/>
                    <a:moveTo>
                      <a:pt x="515" y="476"/>
                    </a:moveTo>
                    <a:lnTo>
                      <a:pt x="517" y="476"/>
                    </a:lnTo>
                    <a:lnTo>
                      <a:pt x="517" y="478"/>
                    </a:lnTo>
                    <a:lnTo>
                      <a:pt x="515" y="478"/>
                    </a:lnTo>
                    <a:lnTo>
                      <a:pt x="515" y="476"/>
                    </a:lnTo>
                    <a:close/>
                    <a:moveTo>
                      <a:pt x="386" y="677"/>
                    </a:moveTo>
                    <a:lnTo>
                      <a:pt x="388" y="677"/>
                    </a:lnTo>
                    <a:lnTo>
                      <a:pt x="388" y="679"/>
                    </a:lnTo>
                    <a:lnTo>
                      <a:pt x="386" y="679"/>
                    </a:lnTo>
                    <a:lnTo>
                      <a:pt x="386" y="677"/>
                    </a:lnTo>
                    <a:close/>
                    <a:moveTo>
                      <a:pt x="381" y="675"/>
                    </a:moveTo>
                    <a:lnTo>
                      <a:pt x="384" y="675"/>
                    </a:lnTo>
                    <a:lnTo>
                      <a:pt x="384" y="677"/>
                    </a:lnTo>
                    <a:lnTo>
                      <a:pt x="381" y="677"/>
                    </a:lnTo>
                    <a:lnTo>
                      <a:pt x="381" y="675"/>
                    </a:lnTo>
                    <a:close/>
                    <a:moveTo>
                      <a:pt x="255" y="956"/>
                    </a:moveTo>
                    <a:lnTo>
                      <a:pt x="257" y="956"/>
                    </a:lnTo>
                    <a:lnTo>
                      <a:pt x="255" y="956"/>
                    </a:lnTo>
                    <a:close/>
                    <a:moveTo>
                      <a:pt x="513" y="493"/>
                    </a:moveTo>
                    <a:lnTo>
                      <a:pt x="515" y="493"/>
                    </a:lnTo>
                    <a:lnTo>
                      <a:pt x="513" y="493"/>
                    </a:lnTo>
                    <a:close/>
                    <a:moveTo>
                      <a:pt x="318" y="1458"/>
                    </a:moveTo>
                    <a:lnTo>
                      <a:pt x="320" y="1458"/>
                    </a:lnTo>
                    <a:lnTo>
                      <a:pt x="320" y="1459"/>
                    </a:lnTo>
                    <a:lnTo>
                      <a:pt x="318" y="1459"/>
                    </a:lnTo>
                    <a:lnTo>
                      <a:pt x="318" y="1458"/>
                    </a:lnTo>
                    <a:close/>
                    <a:moveTo>
                      <a:pt x="269" y="952"/>
                    </a:moveTo>
                    <a:lnTo>
                      <a:pt x="270" y="952"/>
                    </a:lnTo>
                    <a:lnTo>
                      <a:pt x="270" y="954"/>
                    </a:lnTo>
                    <a:lnTo>
                      <a:pt x="269" y="954"/>
                    </a:lnTo>
                    <a:lnTo>
                      <a:pt x="269" y="952"/>
                    </a:lnTo>
                    <a:close/>
                    <a:moveTo>
                      <a:pt x="389" y="689"/>
                    </a:moveTo>
                    <a:lnTo>
                      <a:pt x="391" y="689"/>
                    </a:lnTo>
                    <a:lnTo>
                      <a:pt x="389" y="689"/>
                    </a:lnTo>
                    <a:close/>
                    <a:moveTo>
                      <a:pt x="383" y="718"/>
                    </a:moveTo>
                    <a:lnTo>
                      <a:pt x="384" y="718"/>
                    </a:lnTo>
                    <a:lnTo>
                      <a:pt x="384" y="719"/>
                    </a:lnTo>
                    <a:lnTo>
                      <a:pt x="383" y="719"/>
                    </a:lnTo>
                    <a:lnTo>
                      <a:pt x="383" y="718"/>
                    </a:lnTo>
                    <a:close/>
                    <a:moveTo>
                      <a:pt x="529" y="502"/>
                    </a:moveTo>
                    <a:lnTo>
                      <a:pt x="530" y="502"/>
                    </a:lnTo>
                    <a:lnTo>
                      <a:pt x="530" y="503"/>
                    </a:lnTo>
                    <a:lnTo>
                      <a:pt x="529" y="503"/>
                    </a:lnTo>
                    <a:lnTo>
                      <a:pt x="529" y="502"/>
                    </a:lnTo>
                    <a:close/>
                    <a:moveTo>
                      <a:pt x="515" y="474"/>
                    </a:moveTo>
                    <a:lnTo>
                      <a:pt x="515" y="476"/>
                    </a:lnTo>
                    <a:lnTo>
                      <a:pt x="515" y="474"/>
                    </a:lnTo>
                    <a:close/>
                    <a:moveTo>
                      <a:pt x="381" y="716"/>
                    </a:moveTo>
                    <a:lnTo>
                      <a:pt x="383" y="716"/>
                    </a:lnTo>
                    <a:lnTo>
                      <a:pt x="383" y="718"/>
                    </a:lnTo>
                    <a:lnTo>
                      <a:pt x="381" y="718"/>
                    </a:lnTo>
                    <a:lnTo>
                      <a:pt x="381" y="716"/>
                    </a:lnTo>
                    <a:close/>
                    <a:moveTo>
                      <a:pt x="383" y="674"/>
                    </a:moveTo>
                    <a:lnTo>
                      <a:pt x="384" y="674"/>
                    </a:lnTo>
                    <a:lnTo>
                      <a:pt x="384" y="675"/>
                    </a:lnTo>
                    <a:lnTo>
                      <a:pt x="383" y="675"/>
                    </a:lnTo>
                    <a:lnTo>
                      <a:pt x="383" y="674"/>
                    </a:lnTo>
                    <a:close/>
                    <a:moveTo>
                      <a:pt x="315" y="1459"/>
                    </a:moveTo>
                    <a:lnTo>
                      <a:pt x="315" y="1461"/>
                    </a:lnTo>
                    <a:lnTo>
                      <a:pt x="315" y="1459"/>
                    </a:lnTo>
                    <a:close/>
                    <a:moveTo>
                      <a:pt x="515" y="476"/>
                    </a:moveTo>
                    <a:lnTo>
                      <a:pt x="515" y="478"/>
                    </a:lnTo>
                    <a:lnTo>
                      <a:pt x="515" y="476"/>
                    </a:lnTo>
                    <a:close/>
                    <a:moveTo>
                      <a:pt x="517" y="474"/>
                    </a:moveTo>
                    <a:lnTo>
                      <a:pt x="519" y="474"/>
                    </a:lnTo>
                    <a:lnTo>
                      <a:pt x="519" y="476"/>
                    </a:lnTo>
                    <a:lnTo>
                      <a:pt x="517" y="476"/>
                    </a:lnTo>
                    <a:lnTo>
                      <a:pt x="517" y="474"/>
                    </a:lnTo>
                    <a:close/>
                    <a:moveTo>
                      <a:pt x="383" y="687"/>
                    </a:moveTo>
                    <a:lnTo>
                      <a:pt x="384" y="687"/>
                    </a:lnTo>
                    <a:lnTo>
                      <a:pt x="383" y="687"/>
                    </a:lnTo>
                    <a:close/>
                    <a:moveTo>
                      <a:pt x="257" y="956"/>
                    </a:moveTo>
                    <a:lnTo>
                      <a:pt x="258" y="956"/>
                    </a:lnTo>
                    <a:lnTo>
                      <a:pt x="258" y="958"/>
                    </a:lnTo>
                    <a:lnTo>
                      <a:pt x="257" y="958"/>
                    </a:lnTo>
                    <a:lnTo>
                      <a:pt x="257" y="956"/>
                    </a:lnTo>
                    <a:close/>
                    <a:moveTo>
                      <a:pt x="384" y="675"/>
                    </a:moveTo>
                    <a:lnTo>
                      <a:pt x="386" y="675"/>
                    </a:lnTo>
                    <a:lnTo>
                      <a:pt x="384" y="675"/>
                    </a:lnTo>
                    <a:close/>
                    <a:moveTo>
                      <a:pt x="386" y="723"/>
                    </a:moveTo>
                    <a:lnTo>
                      <a:pt x="388" y="723"/>
                    </a:lnTo>
                    <a:lnTo>
                      <a:pt x="388" y="725"/>
                    </a:lnTo>
                    <a:lnTo>
                      <a:pt x="386" y="725"/>
                    </a:lnTo>
                    <a:lnTo>
                      <a:pt x="386" y="723"/>
                    </a:lnTo>
                    <a:close/>
                    <a:moveTo>
                      <a:pt x="265" y="954"/>
                    </a:moveTo>
                    <a:lnTo>
                      <a:pt x="267" y="954"/>
                    </a:lnTo>
                    <a:lnTo>
                      <a:pt x="265" y="954"/>
                    </a:lnTo>
                    <a:close/>
                    <a:moveTo>
                      <a:pt x="381" y="721"/>
                    </a:moveTo>
                    <a:lnTo>
                      <a:pt x="383" y="721"/>
                    </a:lnTo>
                    <a:lnTo>
                      <a:pt x="381" y="721"/>
                    </a:lnTo>
                    <a:close/>
                    <a:moveTo>
                      <a:pt x="383" y="721"/>
                    </a:moveTo>
                    <a:lnTo>
                      <a:pt x="383" y="723"/>
                    </a:lnTo>
                    <a:lnTo>
                      <a:pt x="383" y="721"/>
                    </a:lnTo>
                    <a:close/>
                    <a:moveTo>
                      <a:pt x="274" y="951"/>
                    </a:moveTo>
                    <a:lnTo>
                      <a:pt x="274" y="952"/>
                    </a:lnTo>
                    <a:lnTo>
                      <a:pt x="274" y="951"/>
                    </a:lnTo>
                    <a:close/>
                    <a:moveTo>
                      <a:pt x="367" y="767"/>
                    </a:moveTo>
                    <a:lnTo>
                      <a:pt x="369" y="767"/>
                    </a:lnTo>
                    <a:lnTo>
                      <a:pt x="367" y="767"/>
                    </a:lnTo>
                    <a:close/>
                    <a:moveTo>
                      <a:pt x="517" y="474"/>
                    </a:moveTo>
                    <a:lnTo>
                      <a:pt x="519" y="474"/>
                    </a:lnTo>
                    <a:lnTo>
                      <a:pt x="517" y="474"/>
                    </a:lnTo>
                    <a:close/>
                    <a:moveTo>
                      <a:pt x="515" y="471"/>
                    </a:moveTo>
                    <a:lnTo>
                      <a:pt x="515" y="473"/>
                    </a:lnTo>
                    <a:lnTo>
                      <a:pt x="515" y="471"/>
                    </a:lnTo>
                    <a:close/>
                    <a:moveTo>
                      <a:pt x="513" y="476"/>
                    </a:moveTo>
                    <a:lnTo>
                      <a:pt x="515" y="476"/>
                    </a:lnTo>
                    <a:lnTo>
                      <a:pt x="513" y="476"/>
                    </a:lnTo>
                    <a:close/>
                    <a:moveTo>
                      <a:pt x="209" y="1473"/>
                    </a:moveTo>
                    <a:lnTo>
                      <a:pt x="209" y="1475"/>
                    </a:lnTo>
                    <a:lnTo>
                      <a:pt x="209" y="1473"/>
                    </a:lnTo>
                    <a:close/>
                    <a:moveTo>
                      <a:pt x="388" y="721"/>
                    </a:moveTo>
                    <a:lnTo>
                      <a:pt x="389" y="721"/>
                    </a:lnTo>
                    <a:lnTo>
                      <a:pt x="389" y="723"/>
                    </a:lnTo>
                    <a:lnTo>
                      <a:pt x="388" y="723"/>
                    </a:lnTo>
                    <a:lnTo>
                      <a:pt x="388" y="721"/>
                    </a:lnTo>
                    <a:close/>
                    <a:moveTo>
                      <a:pt x="384" y="677"/>
                    </a:moveTo>
                    <a:lnTo>
                      <a:pt x="386" y="677"/>
                    </a:lnTo>
                    <a:lnTo>
                      <a:pt x="384" y="677"/>
                    </a:lnTo>
                    <a:close/>
                    <a:moveTo>
                      <a:pt x="394" y="680"/>
                    </a:moveTo>
                    <a:lnTo>
                      <a:pt x="394" y="682"/>
                    </a:lnTo>
                    <a:lnTo>
                      <a:pt x="394" y="680"/>
                    </a:lnTo>
                    <a:close/>
                    <a:moveTo>
                      <a:pt x="512" y="464"/>
                    </a:moveTo>
                    <a:lnTo>
                      <a:pt x="512" y="466"/>
                    </a:lnTo>
                    <a:lnTo>
                      <a:pt x="512" y="46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2" name="Freeform 12">
                <a:extLst>
                  <a:ext uri="{FF2B5EF4-FFF2-40B4-BE49-F238E27FC236}">
                    <a16:creationId xmlns:a16="http://schemas.microsoft.com/office/drawing/2014/main" id="{D0CA2042-1D74-2124-C35A-4E189A90A6EC}"/>
                  </a:ext>
                </a:extLst>
              </p:cNvPr>
              <p:cNvSpPr>
                <a:spLocks noEditPoints="1"/>
              </p:cNvSpPr>
              <p:nvPr/>
            </p:nvSpPr>
            <p:spPr bwMode="auto">
              <a:xfrm>
                <a:off x="5683575" y="2820535"/>
                <a:ext cx="2056" cy="2056"/>
              </a:xfrm>
              <a:custGeom>
                <a:avLst/>
                <a:gdLst>
                  <a:gd name="T0" fmla="*/ 0 w 7"/>
                  <a:gd name="T1" fmla="*/ 0 h 7"/>
                  <a:gd name="T2" fmla="*/ 2 w 7"/>
                  <a:gd name="T3" fmla="*/ 0 h 7"/>
                  <a:gd name="T4" fmla="*/ 2 w 7"/>
                  <a:gd name="T5" fmla="*/ 2 h 7"/>
                  <a:gd name="T6" fmla="*/ 3 w 7"/>
                  <a:gd name="T7" fmla="*/ 2 h 7"/>
                  <a:gd name="T8" fmla="*/ 3 w 7"/>
                  <a:gd name="T9" fmla="*/ 3 h 7"/>
                  <a:gd name="T10" fmla="*/ 5 w 7"/>
                  <a:gd name="T11" fmla="*/ 3 h 7"/>
                  <a:gd name="T12" fmla="*/ 5 w 7"/>
                  <a:gd name="T13" fmla="*/ 5 h 7"/>
                  <a:gd name="T14" fmla="*/ 7 w 7"/>
                  <a:gd name="T15" fmla="*/ 5 h 7"/>
                  <a:gd name="T16" fmla="*/ 7 w 7"/>
                  <a:gd name="T17" fmla="*/ 7 h 7"/>
                  <a:gd name="T18" fmla="*/ 5 w 7"/>
                  <a:gd name="T19" fmla="*/ 7 h 7"/>
                  <a:gd name="T20" fmla="*/ 3 w 7"/>
                  <a:gd name="T21" fmla="*/ 7 h 7"/>
                  <a:gd name="T22" fmla="*/ 3 w 7"/>
                  <a:gd name="T23" fmla="*/ 5 h 7"/>
                  <a:gd name="T24" fmla="*/ 2 w 7"/>
                  <a:gd name="T25" fmla="*/ 5 h 7"/>
                  <a:gd name="T26" fmla="*/ 2 w 7"/>
                  <a:gd name="T27" fmla="*/ 3 h 7"/>
                  <a:gd name="T28" fmla="*/ 0 w 7"/>
                  <a:gd name="T29" fmla="*/ 3 h 7"/>
                  <a:gd name="T30" fmla="*/ 0 w 7"/>
                  <a:gd name="T31" fmla="*/ 2 h 7"/>
                  <a:gd name="T32" fmla="*/ 0 w 7"/>
                  <a:gd name="T33" fmla="*/ 0 h 7"/>
                  <a:gd name="T34" fmla="*/ 2 w 7"/>
                  <a:gd name="T35" fmla="*/ 5 h 7"/>
                  <a:gd name="T36" fmla="*/ 3 w 7"/>
                  <a:gd name="T37" fmla="*/ 5 h 7"/>
                  <a:gd name="T38" fmla="*/ 2 w 7"/>
                  <a:gd name="T3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 h="7">
                    <a:moveTo>
                      <a:pt x="0" y="0"/>
                    </a:moveTo>
                    <a:lnTo>
                      <a:pt x="2" y="0"/>
                    </a:lnTo>
                    <a:lnTo>
                      <a:pt x="2" y="2"/>
                    </a:lnTo>
                    <a:lnTo>
                      <a:pt x="3" y="2"/>
                    </a:lnTo>
                    <a:lnTo>
                      <a:pt x="3" y="3"/>
                    </a:lnTo>
                    <a:lnTo>
                      <a:pt x="5" y="3"/>
                    </a:lnTo>
                    <a:lnTo>
                      <a:pt x="5" y="5"/>
                    </a:lnTo>
                    <a:lnTo>
                      <a:pt x="7" y="5"/>
                    </a:lnTo>
                    <a:lnTo>
                      <a:pt x="7" y="7"/>
                    </a:lnTo>
                    <a:lnTo>
                      <a:pt x="5" y="7"/>
                    </a:lnTo>
                    <a:lnTo>
                      <a:pt x="3" y="7"/>
                    </a:lnTo>
                    <a:lnTo>
                      <a:pt x="3" y="5"/>
                    </a:lnTo>
                    <a:lnTo>
                      <a:pt x="2" y="5"/>
                    </a:lnTo>
                    <a:lnTo>
                      <a:pt x="2" y="3"/>
                    </a:lnTo>
                    <a:lnTo>
                      <a:pt x="0" y="3"/>
                    </a:lnTo>
                    <a:lnTo>
                      <a:pt x="0" y="2"/>
                    </a:lnTo>
                    <a:lnTo>
                      <a:pt x="0" y="0"/>
                    </a:lnTo>
                    <a:close/>
                    <a:moveTo>
                      <a:pt x="2" y="5"/>
                    </a:moveTo>
                    <a:lnTo>
                      <a:pt x="3" y="5"/>
                    </a:lnTo>
                    <a:lnTo>
                      <a:pt x="2" y="5"/>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4" name="Freeform 14">
                <a:extLst>
                  <a:ext uri="{FF2B5EF4-FFF2-40B4-BE49-F238E27FC236}">
                    <a16:creationId xmlns:a16="http://schemas.microsoft.com/office/drawing/2014/main" id="{EE4B53D8-7570-EF59-47F0-6E1A39F2832D}"/>
                  </a:ext>
                </a:extLst>
              </p:cNvPr>
              <p:cNvSpPr>
                <a:spLocks/>
              </p:cNvSpPr>
              <p:nvPr/>
            </p:nvSpPr>
            <p:spPr bwMode="auto">
              <a:xfrm>
                <a:off x="5786963" y="2813485"/>
                <a:ext cx="2056" cy="2644"/>
              </a:xfrm>
              <a:custGeom>
                <a:avLst/>
                <a:gdLst>
                  <a:gd name="T0" fmla="*/ 2 w 7"/>
                  <a:gd name="T1" fmla="*/ 0 h 9"/>
                  <a:gd name="T2" fmla="*/ 2 w 7"/>
                  <a:gd name="T3" fmla="*/ 2 h 9"/>
                  <a:gd name="T4" fmla="*/ 3 w 7"/>
                  <a:gd name="T5" fmla="*/ 2 h 9"/>
                  <a:gd name="T6" fmla="*/ 3 w 7"/>
                  <a:gd name="T7" fmla="*/ 4 h 9"/>
                  <a:gd name="T8" fmla="*/ 5 w 7"/>
                  <a:gd name="T9" fmla="*/ 4 h 9"/>
                  <a:gd name="T10" fmla="*/ 5 w 7"/>
                  <a:gd name="T11" fmla="*/ 5 h 9"/>
                  <a:gd name="T12" fmla="*/ 7 w 7"/>
                  <a:gd name="T13" fmla="*/ 5 h 9"/>
                  <a:gd name="T14" fmla="*/ 7 w 7"/>
                  <a:gd name="T15" fmla="*/ 7 h 9"/>
                  <a:gd name="T16" fmla="*/ 7 w 7"/>
                  <a:gd name="T17" fmla="*/ 9 h 9"/>
                  <a:gd name="T18" fmla="*/ 5 w 7"/>
                  <a:gd name="T19" fmla="*/ 9 h 9"/>
                  <a:gd name="T20" fmla="*/ 3 w 7"/>
                  <a:gd name="T21" fmla="*/ 9 h 9"/>
                  <a:gd name="T22" fmla="*/ 2 w 7"/>
                  <a:gd name="T23" fmla="*/ 9 h 9"/>
                  <a:gd name="T24" fmla="*/ 0 w 7"/>
                  <a:gd name="T25" fmla="*/ 7 h 9"/>
                  <a:gd name="T26" fmla="*/ 0 w 7"/>
                  <a:gd name="T27" fmla="*/ 5 h 9"/>
                  <a:gd name="T28" fmla="*/ 0 w 7"/>
                  <a:gd name="T29" fmla="*/ 4 h 9"/>
                  <a:gd name="T30" fmla="*/ 0 w 7"/>
                  <a:gd name="T31" fmla="*/ 2 h 9"/>
                  <a:gd name="T32" fmla="*/ 0 w 7"/>
                  <a:gd name="T33" fmla="*/ 0 h 9"/>
                  <a:gd name="T34" fmla="*/ 2 w 7"/>
                  <a:gd name="T3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9">
                    <a:moveTo>
                      <a:pt x="2" y="0"/>
                    </a:moveTo>
                    <a:lnTo>
                      <a:pt x="2" y="2"/>
                    </a:lnTo>
                    <a:lnTo>
                      <a:pt x="3" y="2"/>
                    </a:lnTo>
                    <a:lnTo>
                      <a:pt x="3" y="4"/>
                    </a:lnTo>
                    <a:lnTo>
                      <a:pt x="5" y="4"/>
                    </a:lnTo>
                    <a:lnTo>
                      <a:pt x="5" y="5"/>
                    </a:lnTo>
                    <a:lnTo>
                      <a:pt x="7" y="5"/>
                    </a:lnTo>
                    <a:lnTo>
                      <a:pt x="7" y="7"/>
                    </a:lnTo>
                    <a:lnTo>
                      <a:pt x="7" y="9"/>
                    </a:lnTo>
                    <a:lnTo>
                      <a:pt x="5" y="9"/>
                    </a:lnTo>
                    <a:lnTo>
                      <a:pt x="3" y="9"/>
                    </a:lnTo>
                    <a:lnTo>
                      <a:pt x="2" y="9"/>
                    </a:lnTo>
                    <a:lnTo>
                      <a:pt x="0" y="7"/>
                    </a:lnTo>
                    <a:lnTo>
                      <a:pt x="0" y="5"/>
                    </a:lnTo>
                    <a:lnTo>
                      <a:pt x="0" y="4"/>
                    </a:lnTo>
                    <a:lnTo>
                      <a:pt x="0" y="2"/>
                    </a:lnTo>
                    <a:lnTo>
                      <a:pt x="0" y="0"/>
                    </a:lnTo>
                    <a:lnTo>
                      <a:pt x="2"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 name="Freeform 16">
                <a:extLst>
                  <a:ext uri="{FF2B5EF4-FFF2-40B4-BE49-F238E27FC236}">
                    <a16:creationId xmlns:a16="http://schemas.microsoft.com/office/drawing/2014/main" id="{57A9C2A5-739D-4E9A-26A2-CF3307E8F913}"/>
                  </a:ext>
                </a:extLst>
              </p:cNvPr>
              <p:cNvSpPr>
                <a:spLocks/>
              </p:cNvSpPr>
              <p:nvPr/>
            </p:nvSpPr>
            <p:spPr bwMode="auto">
              <a:xfrm>
                <a:off x="5687688" y="3043466"/>
                <a:ext cx="120719" cy="136874"/>
              </a:xfrm>
              <a:custGeom>
                <a:avLst/>
                <a:gdLst>
                  <a:gd name="T0" fmla="*/ 306 w 411"/>
                  <a:gd name="T1" fmla="*/ 342 h 466"/>
                  <a:gd name="T2" fmla="*/ 231 w 411"/>
                  <a:gd name="T3" fmla="*/ 435 h 466"/>
                  <a:gd name="T4" fmla="*/ 188 w 411"/>
                  <a:gd name="T5" fmla="*/ 444 h 466"/>
                  <a:gd name="T6" fmla="*/ 182 w 411"/>
                  <a:gd name="T7" fmla="*/ 464 h 466"/>
                  <a:gd name="T8" fmla="*/ 175 w 411"/>
                  <a:gd name="T9" fmla="*/ 450 h 466"/>
                  <a:gd name="T10" fmla="*/ 156 w 411"/>
                  <a:gd name="T11" fmla="*/ 435 h 466"/>
                  <a:gd name="T12" fmla="*/ 125 w 411"/>
                  <a:gd name="T13" fmla="*/ 430 h 466"/>
                  <a:gd name="T14" fmla="*/ 112 w 411"/>
                  <a:gd name="T15" fmla="*/ 437 h 466"/>
                  <a:gd name="T16" fmla="*/ 85 w 411"/>
                  <a:gd name="T17" fmla="*/ 459 h 466"/>
                  <a:gd name="T18" fmla="*/ 59 w 411"/>
                  <a:gd name="T19" fmla="*/ 452 h 466"/>
                  <a:gd name="T20" fmla="*/ 54 w 411"/>
                  <a:gd name="T21" fmla="*/ 427 h 466"/>
                  <a:gd name="T22" fmla="*/ 42 w 411"/>
                  <a:gd name="T23" fmla="*/ 394 h 466"/>
                  <a:gd name="T24" fmla="*/ 32 w 411"/>
                  <a:gd name="T25" fmla="*/ 379 h 466"/>
                  <a:gd name="T26" fmla="*/ 37 w 411"/>
                  <a:gd name="T27" fmla="*/ 362 h 466"/>
                  <a:gd name="T28" fmla="*/ 37 w 411"/>
                  <a:gd name="T29" fmla="*/ 347 h 466"/>
                  <a:gd name="T30" fmla="*/ 29 w 411"/>
                  <a:gd name="T31" fmla="*/ 328 h 466"/>
                  <a:gd name="T32" fmla="*/ 22 w 411"/>
                  <a:gd name="T33" fmla="*/ 308 h 466"/>
                  <a:gd name="T34" fmla="*/ 18 w 411"/>
                  <a:gd name="T35" fmla="*/ 290 h 466"/>
                  <a:gd name="T36" fmla="*/ 6 w 411"/>
                  <a:gd name="T37" fmla="*/ 267 h 466"/>
                  <a:gd name="T38" fmla="*/ 10 w 411"/>
                  <a:gd name="T39" fmla="*/ 253 h 466"/>
                  <a:gd name="T40" fmla="*/ 22 w 411"/>
                  <a:gd name="T41" fmla="*/ 234 h 466"/>
                  <a:gd name="T42" fmla="*/ 12 w 411"/>
                  <a:gd name="T43" fmla="*/ 200 h 466"/>
                  <a:gd name="T44" fmla="*/ 13 w 411"/>
                  <a:gd name="T45" fmla="*/ 188 h 466"/>
                  <a:gd name="T46" fmla="*/ 15 w 411"/>
                  <a:gd name="T47" fmla="*/ 168 h 466"/>
                  <a:gd name="T48" fmla="*/ 27 w 411"/>
                  <a:gd name="T49" fmla="*/ 154 h 466"/>
                  <a:gd name="T50" fmla="*/ 23 w 411"/>
                  <a:gd name="T51" fmla="*/ 136 h 466"/>
                  <a:gd name="T52" fmla="*/ 27 w 411"/>
                  <a:gd name="T53" fmla="*/ 114 h 466"/>
                  <a:gd name="T54" fmla="*/ 32 w 411"/>
                  <a:gd name="T55" fmla="*/ 100 h 466"/>
                  <a:gd name="T56" fmla="*/ 18 w 411"/>
                  <a:gd name="T57" fmla="*/ 68 h 466"/>
                  <a:gd name="T58" fmla="*/ 6 w 411"/>
                  <a:gd name="T59" fmla="*/ 42 h 466"/>
                  <a:gd name="T60" fmla="*/ 23 w 411"/>
                  <a:gd name="T61" fmla="*/ 44 h 466"/>
                  <a:gd name="T62" fmla="*/ 39 w 411"/>
                  <a:gd name="T63" fmla="*/ 46 h 466"/>
                  <a:gd name="T64" fmla="*/ 54 w 411"/>
                  <a:gd name="T65" fmla="*/ 34 h 466"/>
                  <a:gd name="T66" fmla="*/ 71 w 411"/>
                  <a:gd name="T67" fmla="*/ 27 h 466"/>
                  <a:gd name="T68" fmla="*/ 86 w 411"/>
                  <a:gd name="T69" fmla="*/ 20 h 466"/>
                  <a:gd name="T70" fmla="*/ 103 w 411"/>
                  <a:gd name="T71" fmla="*/ 6 h 466"/>
                  <a:gd name="T72" fmla="*/ 120 w 411"/>
                  <a:gd name="T73" fmla="*/ 3 h 466"/>
                  <a:gd name="T74" fmla="*/ 132 w 411"/>
                  <a:gd name="T75" fmla="*/ 3 h 466"/>
                  <a:gd name="T76" fmla="*/ 141 w 411"/>
                  <a:gd name="T77" fmla="*/ 3 h 466"/>
                  <a:gd name="T78" fmla="*/ 148 w 411"/>
                  <a:gd name="T79" fmla="*/ 13 h 466"/>
                  <a:gd name="T80" fmla="*/ 146 w 411"/>
                  <a:gd name="T81" fmla="*/ 34 h 466"/>
                  <a:gd name="T82" fmla="*/ 146 w 411"/>
                  <a:gd name="T83" fmla="*/ 54 h 466"/>
                  <a:gd name="T84" fmla="*/ 154 w 411"/>
                  <a:gd name="T85" fmla="*/ 69 h 466"/>
                  <a:gd name="T86" fmla="*/ 166 w 411"/>
                  <a:gd name="T87" fmla="*/ 85 h 466"/>
                  <a:gd name="T88" fmla="*/ 175 w 411"/>
                  <a:gd name="T89" fmla="*/ 93 h 466"/>
                  <a:gd name="T90" fmla="*/ 193 w 411"/>
                  <a:gd name="T91" fmla="*/ 97 h 466"/>
                  <a:gd name="T92" fmla="*/ 212 w 411"/>
                  <a:gd name="T93" fmla="*/ 102 h 466"/>
                  <a:gd name="T94" fmla="*/ 226 w 411"/>
                  <a:gd name="T95" fmla="*/ 108 h 466"/>
                  <a:gd name="T96" fmla="*/ 241 w 411"/>
                  <a:gd name="T97" fmla="*/ 117 h 466"/>
                  <a:gd name="T98" fmla="*/ 255 w 411"/>
                  <a:gd name="T99" fmla="*/ 119 h 466"/>
                  <a:gd name="T100" fmla="*/ 268 w 411"/>
                  <a:gd name="T101" fmla="*/ 132 h 466"/>
                  <a:gd name="T102" fmla="*/ 285 w 411"/>
                  <a:gd name="T103" fmla="*/ 132 h 466"/>
                  <a:gd name="T104" fmla="*/ 301 w 411"/>
                  <a:gd name="T105" fmla="*/ 137 h 466"/>
                  <a:gd name="T106" fmla="*/ 309 w 411"/>
                  <a:gd name="T107" fmla="*/ 144 h 466"/>
                  <a:gd name="T108" fmla="*/ 312 w 411"/>
                  <a:gd name="T109" fmla="*/ 165 h 466"/>
                  <a:gd name="T110" fmla="*/ 306 w 411"/>
                  <a:gd name="T111" fmla="*/ 187 h 466"/>
                  <a:gd name="T112" fmla="*/ 343 w 411"/>
                  <a:gd name="T113" fmla="*/ 228 h 466"/>
                  <a:gd name="T114" fmla="*/ 380 w 411"/>
                  <a:gd name="T115" fmla="*/ 233 h 466"/>
                  <a:gd name="T116" fmla="*/ 379 w 411"/>
                  <a:gd name="T117" fmla="*/ 256 h 466"/>
                  <a:gd name="T118" fmla="*/ 396 w 411"/>
                  <a:gd name="T119" fmla="*/ 272 h 466"/>
                  <a:gd name="T120" fmla="*/ 408 w 411"/>
                  <a:gd name="T121" fmla="*/ 294 h 466"/>
                  <a:gd name="T122" fmla="*/ 403 w 411"/>
                  <a:gd name="T123" fmla="*/ 325 h 466"/>
                  <a:gd name="T124" fmla="*/ 392 w 411"/>
                  <a:gd name="T125" fmla="*/ 36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1" h="466">
                    <a:moveTo>
                      <a:pt x="387" y="367"/>
                    </a:moveTo>
                    <a:lnTo>
                      <a:pt x="387" y="365"/>
                    </a:lnTo>
                    <a:lnTo>
                      <a:pt x="389" y="365"/>
                    </a:lnTo>
                    <a:lnTo>
                      <a:pt x="389" y="364"/>
                    </a:lnTo>
                    <a:lnTo>
                      <a:pt x="387" y="364"/>
                    </a:lnTo>
                    <a:lnTo>
                      <a:pt x="387" y="362"/>
                    </a:lnTo>
                    <a:lnTo>
                      <a:pt x="387" y="360"/>
                    </a:lnTo>
                    <a:lnTo>
                      <a:pt x="387" y="359"/>
                    </a:lnTo>
                    <a:lnTo>
                      <a:pt x="386" y="359"/>
                    </a:lnTo>
                    <a:lnTo>
                      <a:pt x="387" y="359"/>
                    </a:lnTo>
                    <a:lnTo>
                      <a:pt x="387" y="357"/>
                    </a:lnTo>
                    <a:lnTo>
                      <a:pt x="386" y="357"/>
                    </a:lnTo>
                    <a:lnTo>
                      <a:pt x="387" y="355"/>
                    </a:lnTo>
                    <a:lnTo>
                      <a:pt x="379" y="348"/>
                    </a:lnTo>
                    <a:lnTo>
                      <a:pt x="375" y="347"/>
                    </a:lnTo>
                    <a:lnTo>
                      <a:pt x="358" y="335"/>
                    </a:lnTo>
                    <a:lnTo>
                      <a:pt x="326" y="335"/>
                    </a:lnTo>
                    <a:lnTo>
                      <a:pt x="306" y="342"/>
                    </a:lnTo>
                    <a:lnTo>
                      <a:pt x="268" y="348"/>
                    </a:lnTo>
                    <a:lnTo>
                      <a:pt x="267" y="348"/>
                    </a:lnTo>
                    <a:lnTo>
                      <a:pt x="261" y="362"/>
                    </a:lnTo>
                    <a:lnTo>
                      <a:pt x="261" y="364"/>
                    </a:lnTo>
                    <a:lnTo>
                      <a:pt x="251" y="377"/>
                    </a:lnTo>
                    <a:lnTo>
                      <a:pt x="250" y="381"/>
                    </a:lnTo>
                    <a:lnTo>
                      <a:pt x="250" y="396"/>
                    </a:lnTo>
                    <a:lnTo>
                      <a:pt x="250" y="399"/>
                    </a:lnTo>
                    <a:lnTo>
                      <a:pt x="243" y="421"/>
                    </a:lnTo>
                    <a:lnTo>
                      <a:pt x="239" y="430"/>
                    </a:lnTo>
                    <a:lnTo>
                      <a:pt x="236" y="442"/>
                    </a:lnTo>
                    <a:lnTo>
                      <a:pt x="236" y="440"/>
                    </a:lnTo>
                    <a:lnTo>
                      <a:pt x="234" y="440"/>
                    </a:lnTo>
                    <a:lnTo>
                      <a:pt x="234" y="438"/>
                    </a:lnTo>
                    <a:lnTo>
                      <a:pt x="233" y="438"/>
                    </a:lnTo>
                    <a:lnTo>
                      <a:pt x="231" y="438"/>
                    </a:lnTo>
                    <a:lnTo>
                      <a:pt x="231" y="437"/>
                    </a:lnTo>
                    <a:lnTo>
                      <a:pt x="231" y="435"/>
                    </a:lnTo>
                    <a:lnTo>
                      <a:pt x="231" y="433"/>
                    </a:lnTo>
                    <a:lnTo>
                      <a:pt x="221" y="433"/>
                    </a:lnTo>
                    <a:lnTo>
                      <a:pt x="202" y="433"/>
                    </a:lnTo>
                    <a:lnTo>
                      <a:pt x="202" y="435"/>
                    </a:lnTo>
                    <a:lnTo>
                      <a:pt x="202" y="433"/>
                    </a:lnTo>
                    <a:lnTo>
                      <a:pt x="200" y="433"/>
                    </a:lnTo>
                    <a:lnTo>
                      <a:pt x="199" y="433"/>
                    </a:lnTo>
                    <a:lnTo>
                      <a:pt x="193" y="433"/>
                    </a:lnTo>
                    <a:lnTo>
                      <a:pt x="192" y="433"/>
                    </a:lnTo>
                    <a:lnTo>
                      <a:pt x="192" y="435"/>
                    </a:lnTo>
                    <a:lnTo>
                      <a:pt x="192" y="437"/>
                    </a:lnTo>
                    <a:lnTo>
                      <a:pt x="190" y="437"/>
                    </a:lnTo>
                    <a:lnTo>
                      <a:pt x="192" y="437"/>
                    </a:lnTo>
                    <a:lnTo>
                      <a:pt x="190" y="438"/>
                    </a:lnTo>
                    <a:lnTo>
                      <a:pt x="190" y="440"/>
                    </a:lnTo>
                    <a:lnTo>
                      <a:pt x="190" y="442"/>
                    </a:lnTo>
                    <a:lnTo>
                      <a:pt x="188" y="442"/>
                    </a:lnTo>
                    <a:lnTo>
                      <a:pt x="188" y="444"/>
                    </a:lnTo>
                    <a:lnTo>
                      <a:pt x="187" y="445"/>
                    </a:lnTo>
                    <a:lnTo>
                      <a:pt x="187" y="447"/>
                    </a:lnTo>
                    <a:lnTo>
                      <a:pt x="187" y="449"/>
                    </a:lnTo>
                    <a:lnTo>
                      <a:pt x="185" y="449"/>
                    </a:lnTo>
                    <a:lnTo>
                      <a:pt x="185" y="450"/>
                    </a:lnTo>
                    <a:lnTo>
                      <a:pt x="183" y="450"/>
                    </a:lnTo>
                    <a:lnTo>
                      <a:pt x="183" y="452"/>
                    </a:lnTo>
                    <a:lnTo>
                      <a:pt x="183" y="454"/>
                    </a:lnTo>
                    <a:lnTo>
                      <a:pt x="182" y="454"/>
                    </a:lnTo>
                    <a:lnTo>
                      <a:pt x="183" y="454"/>
                    </a:lnTo>
                    <a:lnTo>
                      <a:pt x="183" y="456"/>
                    </a:lnTo>
                    <a:lnTo>
                      <a:pt x="182" y="456"/>
                    </a:lnTo>
                    <a:lnTo>
                      <a:pt x="182" y="457"/>
                    </a:lnTo>
                    <a:lnTo>
                      <a:pt x="182" y="459"/>
                    </a:lnTo>
                    <a:lnTo>
                      <a:pt x="182" y="461"/>
                    </a:lnTo>
                    <a:lnTo>
                      <a:pt x="182" y="462"/>
                    </a:lnTo>
                    <a:lnTo>
                      <a:pt x="180" y="464"/>
                    </a:lnTo>
                    <a:lnTo>
                      <a:pt x="182" y="464"/>
                    </a:lnTo>
                    <a:lnTo>
                      <a:pt x="180" y="464"/>
                    </a:lnTo>
                    <a:lnTo>
                      <a:pt x="180" y="466"/>
                    </a:lnTo>
                    <a:lnTo>
                      <a:pt x="180" y="464"/>
                    </a:lnTo>
                    <a:lnTo>
                      <a:pt x="180" y="462"/>
                    </a:lnTo>
                    <a:lnTo>
                      <a:pt x="178" y="462"/>
                    </a:lnTo>
                    <a:lnTo>
                      <a:pt x="180" y="462"/>
                    </a:lnTo>
                    <a:lnTo>
                      <a:pt x="180" y="461"/>
                    </a:lnTo>
                    <a:lnTo>
                      <a:pt x="178" y="459"/>
                    </a:lnTo>
                    <a:lnTo>
                      <a:pt x="176" y="459"/>
                    </a:lnTo>
                    <a:lnTo>
                      <a:pt x="178" y="459"/>
                    </a:lnTo>
                    <a:lnTo>
                      <a:pt x="178" y="457"/>
                    </a:lnTo>
                    <a:lnTo>
                      <a:pt x="176" y="457"/>
                    </a:lnTo>
                    <a:lnTo>
                      <a:pt x="176" y="456"/>
                    </a:lnTo>
                    <a:lnTo>
                      <a:pt x="176" y="454"/>
                    </a:lnTo>
                    <a:lnTo>
                      <a:pt x="176" y="452"/>
                    </a:lnTo>
                    <a:lnTo>
                      <a:pt x="175" y="452"/>
                    </a:lnTo>
                    <a:lnTo>
                      <a:pt x="176" y="450"/>
                    </a:lnTo>
                    <a:lnTo>
                      <a:pt x="175" y="450"/>
                    </a:lnTo>
                    <a:lnTo>
                      <a:pt x="175" y="449"/>
                    </a:lnTo>
                    <a:lnTo>
                      <a:pt x="173" y="449"/>
                    </a:lnTo>
                    <a:lnTo>
                      <a:pt x="173" y="447"/>
                    </a:lnTo>
                    <a:lnTo>
                      <a:pt x="171" y="447"/>
                    </a:lnTo>
                    <a:lnTo>
                      <a:pt x="171" y="445"/>
                    </a:lnTo>
                    <a:lnTo>
                      <a:pt x="173" y="444"/>
                    </a:lnTo>
                    <a:lnTo>
                      <a:pt x="173" y="442"/>
                    </a:lnTo>
                    <a:lnTo>
                      <a:pt x="171" y="442"/>
                    </a:lnTo>
                    <a:lnTo>
                      <a:pt x="170" y="440"/>
                    </a:lnTo>
                    <a:lnTo>
                      <a:pt x="168" y="440"/>
                    </a:lnTo>
                    <a:lnTo>
                      <a:pt x="166" y="440"/>
                    </a:lnTo>
                    <a:lnTo>
                      <a:pt x="165" y="438"/>
                    </a:lnTo>
                    <a:lnTo>
                      <a:pt x="163" y="438"/>
                    </a:lnTo>
                    <a:lnTo>
                      <a:pt x="161" y="437"/>
                    </a:lnTo>
                    <a:lnTo>
                      <a:pt x="159" y="437"/>
                    </a:lnTo>
                    <a:lnTo>
                      <a:pt x="158" y="437"/>
                    </a:lnTo>
                    <a:lnTo>
                      <a:pt x="158" y="435"/>
                    </a:lnTo>
                    <a:lnTo>
                      <a:pt x="156" y="435"/>
                    </a:lnTo>
                    <a:lnTo>
                      <a:pt x="154" y="435"/>
                    </a:lnTo>
                    <a:lnTo>
                      <a:pt x="151" y="435"/>
                    </a:lnTo>
                    <a:lnTo>
                      <a:pt x="148" y="437"/>
                    </a:lnTo>
                    <a:lnTo>
                      <a:pt x="148" y="435"/>
                    </a:lnTo>
                    <a:lnTo>
                      <a:pt x="148" y="437"/>
                    </a:lnTo>
                    <a:lnTo>
                      <a:pt x="144" y="437"/>
                    </a:lnTo>
                    <a:lnTo>
                      <a:pt x="142" y="437"/>
                    </a:lnTo>
                    <a:lnTo>
                      <a:pt x="141" y="437"/>
                    </a:lnTo>
                    <a:lnTo>
                      <a:pt x="137" y="435"/>
                    </a:lnTo>
                    <a:lnTo>
                      <a:pt x="137" y="437"/>
                    </a:lnTo>
                    <a:lnTo>
                      <a:pt x="136" y="437"/>
                    </a:lnTo>
                    <a:lnTo>
                      <a:pt x="134" y="437"/>
                    </a:lnTo>
                    <a:lnTo>
                      <a:pt x="132" y="437"/>
                    </a:lnTo>
                    <a:lnTo>
                      <a:pt x="131" y="437"/>
                    </a:lnTo>
                    <a:lnTo>
                      <a:pt x="131" y="435"/>
                    </a:lnTo>
                    <a:lnTo>
                      <a:pt x="129" y="435"/>
                    </a:lnTo>
                    <a:lnTo>
                      <a:pt x="127" y="433"/>
                    </a:lnTo>
                    <a:lnTo>
                      <a:pt x="125" y="430"/>
                    </a:lnTo>
                    <a:lnTo>
                      <a:pt x="124" y="430"/>
                    </a:lnTo>
                    <a:lnTo>
                      <a:pt x="122" y="430"/>
                    </a:lnTo>
                    <a:lnTo>
                      <a:pt x="122" y="428"/>
                    </a:lnTo>
                    <a:lnTo>
                      <a:pt x="120" y="427"/>
                    </a:lnTo>
                    <a:lnTo>
                      <a:pt x="119" y="427"/>
                    </a:lnTo>
                    <a:lnTo>
                      <a:pt x="117" y="425"/>
                    </a:lnTo>
                    <a:lnTo>
                      <a:pt x="115" y="425"/>
                    </a:lnTo>
                    <a:lnTo>
                      <a:pt x="115" y="427"/>
                    </a:lnTo>
                    <a:lnTo>
                      <a:pt x="115" y="428"/>
                    </a:lnTo>
                    <a:lnTo>
                      <a:pt x="115" y="430"/>
                    </a:lnTo>
                    <a:lnTo>
                      <a:pt x="114" y="430"/>
                    </a:lnTo>
                    <a:lnTo>
                      <a:pt x="115" y="430"/>
                    </a:lnTo>
                    <a:lnTo>
                      <a:pt x="114" y="430"/>
                    </a:lnTo>
                    <a:lnTo>
                      <a:pt x="114" y="432"/>
                    </a:lnTo>
                    <a:lnTo>
                      <a:pt x="114" y="433"/>
                    </a:lnTo>
                    <a:lnTo>
                      <a:pt x="114" y="435"/>
                    </a:lnTo>
                    <a:lnTo>
                      <a:pt x="114" y="437"/>
                    </a:lnTo>
                    <a:lnTo>
                      <a:pt x="112" y="437"/>
                    </a:lnTo>
                    <a:lnTo>
                      <a:pt x="108" y="438"/>
                    </a:lnTo>
                    <a:lnTo>
                      <a:pt x="102" y="440"/>
                    </a:lnTo>
                    <a:lnTo>
                      <a:pt x="100" y="440"/>
                    </a:lnTo>
                    <a:lnTo>
                      <a:pt x="98" y="442"/>
                    </a:lnTo>
                    <a:lnTo>
                      <a:pt x="98" y="444"/>
                    </a:lnTo>
                    <a:lnTo>
                      <a:pt x="98" y="445"/>
                    </a:lnTo>
                    <a:lnTo>
                      <a:pt x="97" y="445"/>
                    </a:lnTo>
                    <a:lnTo>
                      <a:pt x="97" y="447"/>
                    </a:lnTo>
                    <a:lnTo>
                      <a:pt x="97" y="449"/>
                    </a:lnTo>
                    <a:lnTo>
                      <a:pt x="93" y="450"/>
                    </a:lnTo>
                    <a:lnTo>
                      <a:pt x="91" y="450"/>
                    </a:lnTo>
                    <a:lnTo>
                      <a:pt x="90" y="452"/>
                    </a:lnTo>
                    <a:lnTo>
                      <a:pt x="88" y="452"/>
                    </a:lnTo>
                    <a:lnTo>
                      <a:pt x="88" y="454"/>
                    </a:lnTo>
                    <a:lnTo>
                      <a:pt x="88" y="456"/>
                    </a:lnTo>
                    <a:lnTo>
                      <a:pt x="90" y="456"/>
                    </a:lnTo>
                    <a:lnTo>
                      <a:pt x="90" y="457"/>
                    </a:lnTo>
                    <a:lnTo>
                      <a:pt x="85" y="459"/>
                    </a:lnTo>
                    <a:lnTo>
                      <a:pt x="83" y="462"/>
                    </a:lnTo>
                    <a:lnTo>
                      <a:pt x="73" y="466"/>
                    </a:lnTo>
                    <a:lnTo>
                      <a:pt x="71" y="466"/>
                    </a:lnTo>
                    <a:lnTo>
                      <a:pt x="63" y="464"/>
                    </a:lnTo>
                    <a:lnTo>
                      <a:pt x="61" y="464"/>
                    </a:lnTo>
                    <a:lnTo>
                      <a:pt x="59" y="464"/>
                    </a:lnTo>
                    <a:lnTo>
                      <a:pt x="59" y="462"/>
                    </a:lnTo>
                    <a:lnTo>
                      <a:pt x="61" y="461"/>
                    </a:lnTo>
                    <a:lnTo>
                      <a:pt x="59" y="461"/>
                    </a:lnTo>
                    <a:lnTo>
                      <a:pt x="61" y="461"/>
                    </a:lnTo>
                    <a:lnTo>
                      <a:pt x="59" y="459"/>
                    </a:lnTo>
                    <a:lnTo>
                      <a:pt x="61" y="457"/>
                    </a:lnTo>
                    <a:lnTo>
                      <a:pt x="59" y="457"/>
                    </a:lnTo>
                    <a:lnTo>
                      <a:pt x="59" y="456"/>
                    </a:lnTo>
                    <a:lnTo>
                      <a:pt x="61" y="456"/>
                    </a:lnTo>
                    <a:lnTo>
                      <a:pt x="61" y="454"/>
                    </a:lnTo>
                    <a:lnTo>
                      <a:pt x="61" y="452"/>
                    </a:lnTo>
                    <a:lnTo>
                      <a:pt x="59" y="452"/>
                    </a:lnTo>
                    <a:lnTo>
                      <a:pt x="59" y="450"/>
                    </a:lnTo>
                    <a:lnTo>
                      <a:pt x="59" y="449"/>
                    </a:lnTo>
                    <a:lnTo>
                      <a:pt x="59" y="447"/>
                    </a:lnTo>
                    <a:lnTo>
                      <a:pt x="57" y="447"/>
                    </a:lnTo>
                    <a:lnTo>
                      <a:pt x="57" y="445"/>
                    </a:lnTo>
                    <a:lnTo>
                      <a:pt x="57" y="444"/>
                    </a:lnTo>
                    <a:lnTo>
                      <a:pt x="59" y="442"/>
                    </a:lnTo>
                    <a:lnTo>
                      <a:pt x="57" y="442"/>
                    </a:lnTo>
                    <a:lnTo>
                      <a:pt x="59" y="440"/>
                    </a:lnTo>
                    <a:lnTo>
                      <a:pt x="57" y="440"/>
                    </a:lnTo>
                    <a:lnTo>
                      <a:pt x="57" y="438"/>
                    </a:lnTo>
                    <a:lnTo>
                      <a:pt x="57" y="437"/>
                    </a:lnTo>
                    <a:lnTo>
                      <a:pt x="57" y="435"/>
                    </a:lnTo>
                    <a:lnTo>
                      <a:pt x="56" y="435"/>
                    </a:lnTo>
                    <a:lnTo>
                      <a:pt x="56" y="433"/>
                    </a:lnTo>
                    <a:lnTo>
                      <a:pt x="54" y="433"/>
                    </a:lnTo>
                    <a:lnTo>
                      <a:pt x="54" y="432"/>
                    </a:lnTo>
                    <a:lnTo>
                      <a:pt x="54" y="427"/>
                    </a:lnTo>
                    <a:lnTo>
                      <a:pt x="54" y="425"/>
                    </a:lnTo>
                    <a:lnTo>
                      <a:pt x="52" y="423"/>
                    </a:lnTo>
                    <a:lnTo>
                      <a:pt x="52" y="421"/>
                    </a:lnTo>
                    <a:lnTo>
                      <a:pt x="51" y="420"/>
                    </a:lnTo>
                    <a:lnTo>
                      <a:pt x="49" y="418"/>
                    </a:lnTo>
                    <a:lnTo>
                      <a:pt x="49" y="416"/>
                    </a:lnTo>
                    <a:lnTo>
                      <a:pt x="49" y="415"/>
                    </a:lnTo>
                    <a:lnTo>
                      <a:pt x="49" y="413"/>
                    </a:lnTo>
                    <a:lnTo>
                      <a:pt x="49" y="410"/>
                    </a:lnTo>
                    <a:lnTo>
                      <a:pt x="49" y="408"/>
                    </a:lnTo>
                    <a:lnTo>
                      <a:pt x="49" y="406"/>
                    </a:lnTo>
                    <a:lnTo>
                      <a:pt x="46" y="401"/>
                    </a:lnTo>
                    <a:lnTo>
                      <a:pt x="46" y="399"/>
                    </a:lnTo>
                    <a:lnTo>
                      <a:pt x="46" y="398"/>
                    </a:lnTo>
                    <a:lnTo>
                      <a:pt x="44" y="398"/>
                    </a:lnTo>
                    <a:lnTo>
                      <a:pt x="44" y="396"/>
                    </a:lnTo>
                    <a:lnTo>
                      <a:pt x="42" y="396"/>
                    </a:lnTo>
                    <a:lnTo>
                      <a:pt x="42" y="394"/>
                    </a:lnTo>
                    <a:lnTo>
                      <a:pt x="40" y="394"/>
                    </a:lnTo>
                    <a:lnTo>
                      <a:pt x="39" y="394"/>
                    </a:lnTo>
                    <a:lnTo>
                      <a:pt x="37" y="393"/>
                    </a:lnTo>
                    <a:lnTo>
                      <a:pt x="37" y="391"/>
                    </a:lnTo>
                    <a:lnTo>
                      <a:pt x="37" y="389"/>
                    </a:lnTo>
                    <a:lnTo>
                      <a:pt x="37" y="387"/>
                    </a:lnTo>
                    <a:lnTo>
                      <a:pt x="37" y="386"/>
                    </a:lnTo>
                    <a:lnTo>
                      <a:pt x="39" y="386"/>
                    </a:lnTo>
                    <a:lnTo>
                      <a:pt x="39" y="384"/>
                    </a:lnTo>
                    <a:lnTo>
                      <a:pt x="40" y="384"/>
                    </a:lnTo>
                    <a:lnTo>
                      <a:pt x="40" y="382"/>
                    </a:lnTo>
                    <a:lnTo>
                      <a:pt x="39" y="382"/>
                    </a:lnTo>
                    <a:lnTo>
                      <a:pt x="39" y="381"/>
                    </a:lnTo>
                    <a:lnTo>
                      <a:pt x="37" y="381"/>
                    </a:lnTo>
                    <a:lnTo>
                      <a:pt x="35" y="381"/>
                    </a:lnTo>
                    <a:lnTo>
                      <a:pt x="35" y="379"/>
                    </a:lnTo>
                    <a:lnTo>
                      <a:pt x="34" y="379"/>
                    </a:lnTo>
                    <a:lnTo>
                      <a:pt x="32" y="379"/>
                    </a:lnTo>
                    <a:lnTo>
                      <a:pt x="32" y="377"/>
                    </a:lnTo>
                    <a:lnTo>
                      <a:pt x="30" y="377"/>
                    </a:lnTo>
                    <a:lnTo>
                      <a:pt x="30" y="376"/>
                    </a:lnTo>
                    <a:lnTo>
                      <a:pt x="30" y="374"/>
                    </a:lnTo>
                    <a:lnTo>
                      <a:pt x="32" y="374"/>
                    </a:lnTo>
                    <a:lnTo>
                      <a:pt x="34" y="374"/>
                    </a:lnTo>
                    <a:lnTo>
                      <a:pt x="34" y="372"/>
                    </a:lnTo>
                    <a:lnTo>
                      <a:pt x="34" y="370"/>
                    </a:lnTo>
                    <a:lnTo>
                      <a:pt x="32" y="370"/>
                    </a:lnTo>
                    <a:lnTo>
                      <a:pt x="32" y="369"/>
                    </a:lnTo>
                    <a:lnTo>
                      <a:pt x="32" y="367"/>
                    </a:lnTo>
                    <a:lnTo>
                      <a:pt x="32" y="365"/>
                    </a:lnTo>
                    <a:lnTo>
                      <a:pt x="30" y="365"/>
                    </a:lnTo>
                    <a:lnTo>
                      <a:pt x="30" y="364"/>
                    </a:lnTo>
                    <a:lnTo>
                      <a:pt x="32" y="364"/>
                    </a:lnTo>
                    <a:lnTo>
                      <a:pt x="34" y="362"/>
                    </a:lnTo>
                    <a:lnTo>
                      <a:pt x="35" y="362"/>
                    </a:lnTo>
                    <a:lnTo>
                      <a:pt x="37" y="362"/>
                    </a:lnTo>
                    <a:lnTo>
                      <a:pt x="37" y="360"/>
                    </a:lnTo>
                    <a:lnTo>
                      <a:pt x="37" y="359"/>
                    </a:lnTo>
                    <a:lnTo>
                      <a:pt x="39" y="359"/>
                    </a:lnTo>
                    <a:lnTo>
                      <a:pt x="39" y="357"/>
                    </a:lnTo>
                    <a:lnTo>
                      <a:pt x="37" y="357"/>
                    </a:lnTo>
                    <a:lnTo>
                      <a:pt x="37" y="355"/>
                    </a:lnTo>
                    <a:lnTo>
                      <a:pt x="39" y="355"/>
                    </a:lnTo>
                    <a:lnTo>
                      <a:pt x="37" y="355"/>
                    </a:lnTo>
                    <a:lnTo>
                      <a:pt x="35" y="355"/>
                    </a:lnTo>
                    <a:lnTo>
                      <a:pt x="35" y="353"/>
                    </a:lnTo>
                    <a:lnTo>
                      <a:pt x="34" y="352"/>
                    </a:lnTo>
                    <a:lnTo>
                      <a:pt x="32" y="352"/>
                    </a:lnTo>
                    <a:lnTo>
                      <a:pt x="32" y="350"/>
                    </a:lnTo>
                    <a:lnTo>
                      <a:pt x="34" y="350"/>
                    </a:lnTo>
                    <a:lnTo>
                      <a:pt x="35" y="350"/>
                    </a:lnTo>
                    <a:lnTo>
                      <a:pt x="35" y="348"/>
                    </a:lnTo>
                    <a:lnTo>
                      <a:pt x="35" y="347"/>
                    </a:lnTo>
                    <a:lnTo>
                      <a:pt x="37" y="347"/>
                    </a:lnTo>
                    <a:lnTo>
                      <a:pt x="37" y="345"/>
                    </a:lnTo>
                    <a:lnTo>
                      <a:pt x="39" y="345"/>
                    </a:lnTo>
                    <a:lnTo>
                      <a:pt x="39" y="343"/>
                    </a:lnTo>
                    <a:lnTo>
                      <a:pt x="40" y="342"/>
                    </a:lnTo>
                    <a:lnTo>
                      <a:pt x="40" y="340"/>
                    </a:lnTo>
                    <a:lnTo>
                      <a:pt x="40" y="338"/>
                    </a:lnTo>
                    <a:lnTo>
                      <a:pt x="39" y="338"/>
                    </a:lnTo>
                    <a:lnTo>
                      <a:pt x="39" y="336"/>
                    </a:lnTo>
                    <a:lnTo>
                      <a:pt x="37" y="335"/>
                    </a:lnTo>
                    <a:lnTo>
                      <a:pt x="35" y="335"/>
                    </a:lnTo>
                    <a:lnTo>
                      <a:pt x="35" y="333"/>
                    </a:lnTo>
                    <a:lnTo>
                      <a:pt x="34" y="333"/>
                    </a:lnTo>
                    <a:lnTo>
                      <a:pt x="34" y="331"/>
                    </a:lnTo>
                    <a:lnTo>
                      <a:pt x="32" y="331"/>
                    </a:lnTo>
                    <a:lnTo>
                      <a:pt x="32" y="330"/>
                    </a:lnTo>
                    <a:lnTo>
                      <a:pt x="30" y="330"/>
                    </a:lnTo>
                    <a:lnTo>
                      <a:pt x="30" y="328"/>
                    </a:lnTo>
                    <a:lnTo>
                      <a:pt x="29" y="328"/>
                    </a:lnTo>
                    <a:lnTo>
                      <a:pt x="27" y="326"/>
                    </a:lnTo>
                    <a:lnTo>
                      <a:pt x="25" y="326"/>
                    </a:lnTo>
                    <a:lnTo>
                      <a:pt x="25" y="325"/>
                    </a:lnTo>
                    <a:lnTo>
                      <a:pt x="25" y="323"/>
                    </a:lnTo>
                    <a:lnTo>
                      <a:pt x="23" y="323"/>
                    </a:lnTo>
                    <a:lnTo>
                      <a:pt x="23" y="321"/>
                    </a:lnTo>
                    <a:lnTo>
                      <a:pt x="25" y="321"/>
                    </a:lnTo>
                    <a:lnTo>
                      <a:pt x="25" y="319"/>
                    </a:lnTo>
                    <a:lnTo>
                      <a:pt x="23" y="318"/>
                    </a:lnTo>
                    <a:lnTo>
                      <a:pt x="23" y="316"/>
                    </a:lnTo>
                    <a:lnTo>
                      <a:pt x="23" y="314"/>
                    </a:lnTo>
                    <a:lnTo>
                      <a:pt x="22" y="314"/>
                    </a:lnTo>
                    <a:lnTo>
                      <a:pt x="22" y="313"/>
                    </a:lnTo>
                    <a:lnTo>
                      <a:pt x="22" y="311"/>
                    </a:lnTo>
                    <a:lnTo>
                      <a:pt x="20" y="311"/>
                    </a:lnTo>
                    <a:lnTo>
                      <a:pt x="22" y="311"/>
                    </a:lnTo>
                    <a:lnTo>
                      <a:pt x="22" y="309"/>
                    </a:lnTo>
                    <a:lnTo>
                      <a:pt x="22" y="308"/>
                    </a:lnTo>
                    <a:lnTo>
                      <a:pt x="22" y="306"/>
                    </a:lnTo>
                    <a:lnTo>
                      <a:pt x="22" y="304"/>
                    </a:lnTo>
                    <a:lnTo>
                      <a:pt x="20" y="304"/>
                    </a:lnTo>
                    <a:lnTo>
                      <a:pt x="20" y="302"/>
                    </a:lnTo>
                    <a:lnTo>
                      <a:pt x="20" y="301"/>
                    </a:lnTo>
                    <a:lnTo>
                      <a:pt x="20" y="299"/>
                    </a:lnTo>
                    <a:lnTo>
                      <a:pt x="20" y="297"/>
                    </a:lnTo>
                    <a:lnTo>
                      <a:pt x="18" y="297"/>
                    </a:lnTo>
                    <a:lnTo>
                      <a:pt x="18" y="296"/>
                    </a:lnTo>
                    <a:lnTo>
                      <a:pt x="17" y="296"/>
                    </a:lnTo>
                    <a:lnTo>
                      <a:pt x="17" y="294"/>
                    </a:lnTo>
                    <a:lnTo>
                      <a:pt x="18" y="294"/>
                    </a:lnTo>
                    <a:lnTo>
                      <a:pt x="18" y="292"/>
                    </a:lnTo>
                    <a:lnTo>
                      <a:pt x="20" y="292"/>
                    </a:lnTo>
                    <a:lnTo>
                      <a:pt x="18" y="292"/>
                    </a:lnTo>
                    <a:lnTo>
                      <a:pt x="20" y="292"/>
                    </a:lnTo>
                    <a:lnTo>
                      <a:pt x="20" y="290"/>
                    </a:lnTo>
                    <a:lnTo>
                      <a:pt x="18" y="290"/>
                    </a:lnTo>
                    <a:lnTo>
                      <a:pt x="18" y="289"/>
                    </a:lnTo>
                    <a:lnTo>
                      <a:pt x="17" y="289"/>
                    </a:lnTo>
                    <a:lnTo>
                      <a:pt x="15" y="289"/>
                    </a:lnTo>
                    <a:lnTo>
                      <a:pt x="13" y="289"/>
                    </a:lnTo>
                    <a:lnTo>
                      <a:pt x="13" y="287"/>
                    </a:lnTo>
                    <a:lnTo>
                      <a:pt x="12" y="287"/>
                    </a:lnTo>
                    <a:lnTo>
                      <a:pt x="12" y="285"/>
                    </a:lnTo>
                    <a:lnTo>
                      <a:pt x="12" y="284"/>
                    </a:lnTo>
                    <a:lnTo>
                      <a:pt x="12" y="282"/>
                    </a:lnTo>
                    <a:lnTo>
                      <a:pt x="12" y="280"/>
                    </a:lnTo>
                    <a:lnTo>
                      <a:pt x="10" y="280"/>
                    </a:lnTo>
                    <a:lnTo>
                      <a:pt x="10" y="279"/>
                    </a:lnTo>
                    <a:lnTo>
                      <a:pt x="8" y="277"/>
                    </a:lnTo>
                    <a:lnTo>
                      <a:pt x="6" y="275"/>
                    </a:lnTo>
                    <a:lnTo>
                      <a:pt x="6" y="272"/>
                    </a:lnTo>
                    <a:lnTo>
                      <a:pt x="6" y="270"/>
                    </a:lnTo>
                    <a:lnTo>
                      <a:pt x="6" y="268"/>
                    </a:lnTo>
                    <a:lnTo>
                      <a:pt x="6" y="267"/>
                    </a:lnTo>
                    <a:lnTo>
                      <a:pt x="5" y="267"/>
                    </a:lnTo>
                    <a:lnTo>
                      <a:pt x="3" y="263"/>
                    </a:lnTo>
                    <a:lnTo>
                      <a:pt x="1" y="263"/>
                    </a:lnTo>
                    <a:lnTo>
                      <a:pt x="0" y="263"/>
                    </a:lnTo>
                    <a:lnTo>
                      <a:pt x="1" y="263"/>
                    </a:lnTo>
                    <a:lnTo>
                      <a:pt x="1" y="262"/>
                    </a:lnTo>
                    <a:lnTo>
                      <a:pt x="3" y="262"/>
                    </a:lnTo>
                    <a:lnTo>
                      <a:pt x="3" y="260"/>
                    </a:lnTo>
                    <a:lnTo>
                      <a:pt x="5" y="260"/>
                    </a:lnTo>
                    <a:lnTo>
                      <a:pt x="5" y="258"/>
                    </a:lnTo>
                    <a:lnTo>
                      <a:pt x="6" y="256"/>
                    </a:lnTo>
                    <a:lnTo>
                      <a:pt x="6" y="258"/>
                    </a:lnTo>
                    <a:lnTo>
                      <a:pt x="8" y="258"/>
                    </a:lnTo>
                    <a:lnTo>
                      <a:pt x="8" y="256"/>
                    </a:lnTo>
                    <a:lnTo>
                      <a:pt x="10" y="256"/>
                    </a:lnTo>
                    <a:lnTo>
                      <a:pt x="10" y="255"/>
                    </a:lnTo>
                    <a:lnTo>
                      <a:pt x="8" y="255"/>
                    </a:lnTo>
                    <a:lnTo>
                      <a:pt x="10" y="253"/>
                    </a:lnTo>
                    <a:lnTo>
                      <a:pt x="12" y="253"/>
                    </a:lnTo>
                    <a:lnTo>
                      <a:pt x="12" y="251"/>
                    </a:lnTo>
                    <a:lnTo>
                      <a:pt x="12" y="250"/>
                    </a:lnTo>
                    <a:lnTo>
                      <a:pt x="13" y="250"/>
                    </a:lnTo>
                    <a:lnTo>
                      <a:pt x="13" y="248"/>
                    </a:lnTo>
                    <a:lnTo>
                      <a:pt x="15" y="248"/>
                    </a:lnTo>
                    <a:lnTo>
                      <a:pt x="15" y="246"/>
                    </a:lnTo>
                    <a:lnTo>
                      <a:pt x="17" y="246"/>
                    </a:lnTo>
                    <a:lnTo>
                      <a:pt x="17" y="245"/>
                    </a:lnTo>
                    <a:lnTo>
                      <a:pt x="18" y="243"/>
                    </a:lnTo>
                    <a:lnTo>
                      <a:pt x="20" y="243"/>
                    </a:lnTo>
                    <a:lnTo>
                      <a:pt x="22" y="243"/>
                    </a:lnTo>
                    <a:lnTo>
                      <a:pt x="22" y="241"/>
                    </a:lnTo>
                    <a:lnTo>
                      <a:pt x="22" y="239"/>
                    </a:lnTo>
                    <a:lnTo>
                      <a:pt x="20" y="239"/>
                    </a:lnTo>
                    <a:lnTo>
                      <a:pt x="20" y="238"/>
                    </a:lnTo>
                    <a:lnTo>
                      <a:pt x="22" y="236"/>
                    </a:lnTo>
                    <a:lnTo>
                      <a:pt x="22" y="234"/>
                    </a:lnTo>
                    <a:lnTo>
                      <a:pt x="23" y="234"/>
                    </a:lnTo>
                    <a:lnTo>
                      <a:pt x="29" y="231"/>
                    </a:lnTo>
                    <a:lnTo>
                      <a:pt x="29" y="229"/>
                    </a:lnTo>
                    <a:lnTo>
                      <a:pt x="27" y="228"/>
                    </a:lnTo>
                    <a:lnTo>
                      <a:pt x="25" y="228"/>
                    </a:lnTo>
                    <a:lnTo>
                      <a:pt x="23" y="226"/>
                    </a:lnTo>
                    <a:lnTo>
                      <a:pt x="22" y="226"/>
                    </a:lnTo>
                    <a:lnTo>
                      <a:pt x="20" y="226"/>
                    </a:lnTo>
                    <a:lnTo>
                      <a:pt x="18" y="226"/>
                    </a:lnTo>
                    <a:lnTo>
                      <a:pt x="15" y="224"/>
                    </a:lnTo>
                    <a:lnTo>
                      <a:pt x="13" y="224"/>
                    </a:lnTo>
                    <a:lnTo>
                      <a:pt x="12" y="219"/>
                    </a:lnTo>
                    <a:lnTo>
                      <a:pt x="12" y="214"/>
                    </a:lnTo>
                    <a:lnTo>
                      <a:pt x="10" y="211"/>
                    </a:lnTo>
                    <a:lnTo>
                      <a:pt x="10" y="209"/>
                    </a:lnTo>
                    <a:lnTo>
                      <a:pt x="8" y="205"/>
                    </a:lnTo>
                    <a:lnTo>
                      <a:pt x="12" y="202"/>
                    </a:lnTo>
                    <a:lnTo>
                      <a:pt x="12" y="200"/>
                    </a:lnTo>
                    <a:lnTo>
                      <a:pt x="12" y="199"/>
                    </a:lnTo>
                    <a:lnTo>
                      <a:pt x="13" y="200"/>
                    </a:lnTo>
                    <a:lnTo>
                      <a:pt x="13" y="199"/>
                    </a:lnTo>
                    <a:lnTo>
                      <a:pt x="15" y="199"/>
                    </a:lnTo>
                    <a:lnTo>
                      <a:pt x="13" y="199"/>
                    </a:lnTo>
                    <a:lnTo>
                      <a:pt x="13" y="197"/>
                    </a:lnTo>
                    <a:lnTo>
                      <a:pt x="15" y="195"/>
                    </a:lnTo>
                    <a:lnTo>
                      <a:pt x="15" y="194"/>
                    </a:lnTo>
                    <a:lnTo>
                      <a:pt x="17" y="194"/>
                    </a:lnTo>
                    <a:lnTo>
                      <a:pt x="17" y="192"/>
                    </a:lnTo>
                    <a:lnTo>
                      <a:pt x="17" y="194"/>
                    </a:lnTo>
                    <a:lnTo>
                      <a:pt x="17" y="192"/>
                    </a:lnTo>
                    <a:lnTo>
                      <a:pt x="18" y="192"/>
                    </a:lnTo>
                    <a:lnTo>
                      <a:pt x="17" y="192"/>
                    </a:lnTo>
                    <a:lnTo>
                      <a:pt x="17" y="190"/>
                    </a:lnTo>
                    <a:lnTo>
                      <a:pt x="15" y="188"/>
                    </a:lnTo>
                    <a:lnTo>
                      <a:pt x="13" y="187"/>
                    </a:lnTo>
                    <a:lnTo>
                      <a:pt x="13" y="188"/>
                    </a:lnTo>
                    <a:lnTo>
                      <a:pt x="13" y="187"/>
                    </a:lnTo>
                    <a:lnTo>
                      <a:pt x="12" y="187"/>
                    </a:lnTo>
                    <a:lnTo>
                      <a:pt x="12" y="185"/>
                    </a:lnTo>
                    <a:lnTo>
                      <a:pt x="12" y="183"/>
                    </a:lnTo>
                    <a:lnTo>
                      <a:pt x="10" y="183"/>
                    </a:lnTo>
                    <a:lnTo>
                      <a:pt x="10" y="182"/>
                    </a:lnTo>
                    <a:lnTo>
                      <a:pt x="10" y="180"/>
                    </a:lnTo>
                    <a:lnTo>
                      <a:pt x="10" y="178"/>
                    </a:lnTo>
                    <a:lnTo>
                      <a:pt x="10" y="177"/>
                    </a:lnTo>
                    <a:lnTo>
                      <a:pt x="12" y="177"/>
                    </a:lnTo>
                    <a:lnTo>
                      <a:pt x="12" y="175"/>
                    </a:lnTo>
                    <a:lnTo>
                      <a:pt x="13" y="175"/>
                    </a:lnTo>
                    <a:lnTo>
                      <a:pt x="15" y="175"/>
                    </a:lnTo>
                    <a:lnTo>
                      <a:pt x="13" y="173"/>
                    </a:lnTo>
                    <a:lnTo>
                      <a:pt x="13" y="171"/>
                    </a:lnTo>
                    <a:lnTo>
                      <a:pt x="15" y="171"/>
                    </a:lnTo>
                    <a:lnTo>
                      <a:pt x="15" y="170"/>
                    </a:lnTo>
                    <a:lnTo>
                      <a:pt x="15" y="168"/>
                    </a:lnTo>
                    <a:lnTo>
                      <a:pt x="17" y="170"/>
                    </a:lnTo>
                    <a:lnTo>
                      <a:pt x="17" y="168"/>
                    </a:lnTo>
                    <a:lnTo>
                      <a:pt x="17" y="166"/>
                    </a:lnTo>
                    <a:lnTo>
                      <a:pt x="18" y="166"/>
                    </a:lnTo>
                    <a:lnTo>
                      <a:pt x="18" y="165"/>
                    </a:lnTo>
                    <a:lnTo>
                      <a:pt x="20" y="165"/>
                    </a:lnTo>
                    <a:lnTo>
                      <a:pt x="20" y="163"/>
                    </a:lnTo>
                    <a:lnTo>
                      <a:pt x="22" y="163"/>
                    </a:lnTo>
                    <a:lnTo>
                      <a:pt x="22" y="161"/>
                    </a:lnTo>
                    <a:lnTo>
                      <a:pt x="22" y="160"/>
                    </a:lnTo>
                    <a:lnTo>
                      <a:pt x="22" y="158"/>
                    </a:lnTo>
                    <a:lnTo>
                      <a:pt x="22" y="156"/>
                    </a:lnTo>
                    <a:lnTo>
                      <a:pt x="23" y="156"/>
                    </a:lnTo>
                    <a:lnTo>
                      <a:pt x="25" y="156"/>
                    </a:lnTo>
                    <a:lnTo>
                      <a:pt x="27" y="156"/>
                    </a:lnTo>
                    <a:lnTo>
                      <a:pt x="29" y="156"/>
                    </a:lnTo>
                    <a:lnTo>
                      <a:pt x="27" y="156"/>
                    </a:lnTo>
                    <a:lnTo>
                      <a:pt x="27" y="154"/>
                    </a:lnTo>
                    <a:lnTo>
                      <a:pt x="27" y="153"/>
                    </a:lnTo>
                    <a:lnTo>
                      <a:pt x="27" y="151"/>
                    </a:lnTo>
                    <a:lnTo>
                      <a:pt x="25" y="151"/>
                    </a:lnTo>
                    <a:lnTo>
                      <a:pt x="25" y="149"/>
                    </a:lnTo>
                    <a:lnTo>
                      <a:pt x="23" y="149"/>
                    </a:lnTo>
                    <a:lnTo>
                      <a:pt x="23" y="148"/>
                    </a:lnTo>
                    <a:lnTo>
                      <a:pt x="23" y="146"/>
                    </a:lnTo>
                    <a:lnTo>
                      <a:pt x="22" y="146"/>
                    </a:lnTo>
                    <a:lnTo>
                      <a:pt x="23" y="144"/>
                    </a:lnTo>
                    <a:lnTo>
                      <a:pt x="22" y="144"/>
                    </a:lnTo>
                    <a:lnTo>
                      <a:pt x="22" y="143"/>
                    </a:lnTo>
                    <a:lnTo>
                      <a:pt x="22" y="141"/>
                    </a:lnTo>
                    <a:lnTo>
                      <a:pt x="22" y="139"/>
                    </a:lnTo>
                    <a:lnTo>
                      <a:pt x="20" y="139"/>
                    </a:lnTo>
                    <a:lnTo>
                      <a:pt x="20" y="137"/>
                    </a:lnTo>
                    <a:lnTo>
                      <a:pt x="20" y="136"/>
                    </a:lnTo>
                    <a:lnTo>
                      <a:pt x="22" y="136"/>
                    </a:lnTo>
                    <a:lnTo>
                      <a:pt x="23" y="136"/>
                    </a:lnTo>
                    <a:lnTo>
                      <a:pt x="23" y="134"/>
                    </a:lnTo>
                    <a:lnTo>
                      <a:pt x="23" y="132"/>
                    </a:lnTo>
                    <a:lnTo>
                      <a:pt x="25" y="132"/>
                    </a:lnTo>
                    <a:lnTo>
                      <a:pt x="25" y="131"/>
                    </a:lnTo>
                    <a:lnTo>
                      <a:pt x="25" y="129"/>
                    </a:lnTo>
                    <a:lnTo>
                      <a:pt x="25" y="127"/>
                    </a:lnTo>
                    <a:lnTo>
                      <a:pt x="27" y="125"/>
                    </a:lnTo>
                    <a:lnTo>
                      <a:pt x="25" y="125"/>
                    </a:lnTo>
                    <a:lnTo>
                      <a:pt x="27" y="125"/>
                    </a:lnTo>
                    <a:lnTo>
                      <a:pt x="27" y="124"/>
                    </a:lnTo>
                    <a:lnTo>
                      <a:pt x="27" y="122"/>
                    </a:lnTo>
                    <a:lnTo>
                      <a:pt x="27" y="120"/>
                    </a:lnTo>
                    <a:lnTo>
                      <a:pt x="27" y="119"/>
                    </a:lnTo>
                    <a:lnTo>
                      <a:pt x="27" y="117"/>
                    </a:lnTo>
                    <a:lnTo>
                      <a:pt x="27" y="115"/>
                    </a:lnTo>
                    <a:lnTo>
                      <a:pt x="27" y="114"/>
                    </a:lnTo>
                    <a:lnTo>
                      <a:pt x="27" y="112"/>
                    </a:lnTo>
                    <a:lnTo>
                      <a:pt x="27" y="114"/>
                    </a:lnTo>
                    <a:lnTo>
                      <a:pt x="25" y="112"/>
                    </a:lnTo>
                    <a:lnTo>
                      <a:pt x="27" y="112"/>
                    </a:lnTo>
                    <a:lnTo>
                      <a:pt x="27" y="110"/>
                    </a:lnTo>
                    <a:lnTo>
                      <a:pt x="27" y="108"/>
                    </a:lnTo>
                    <a:lnTo>
                      <a:pt x="29" y="108"/>
                    </a:lnTo>
                    <a:lnTo>
                      <a:pt x="27" y="107"/>
                    </a:lnTo>
                    <a:lnTo>
                      <a:pt x="29" y="107"/>
                    </a:lnTo>
                    <a:lnTo>
                      <a:pt x="29" y="105"/>
                    </a:lnTo>
                    <a:lnTo>
                      <a:pt x="30" y="105"/>
                    </a:lnTo>
                    <a:lnTo>
                      <a:pt x="30" y="103"/>
                    </a:lnTo>
                    <a:lnTo>
                      <a:pt x="32" y="103"/>
                    </a:lnTo>
                    <a:lnTo>
                      <a:pt x="30" y="103"/>
                    </a:lnTo>
                    <a:lnTo>
                      <a:pt x="32" y="103"/>
                    </a:lnTo>
                    <a:lnTo>
                      <a:pt x="30" y="103"/>
                    </a:lnTo>
                    <a:lnTo>
                      <a:pt x="32" y="103"/>
                    </a:lnTo>
                    <a:lnTo>
                      <a:pt x="30" y="102"/>
                    </a:lnTo>
                    <a:lnTo>
                      <a:pt x="30" y="100"/>
                    </a:lnTo>
                    <a:lnTo>
                      <a:pt x="32" y="100"/>
                    </a:lnTo>
                    <a:lnTo>
                      <a:pt x="32" y="98"/>
                    </a:lnTo>
                    <a:lnTo>
                      <a:pt x="34" y="98"/>
                    </a:lnTo>
                    <a:lnTo>
                      <a:pt x="34" y="97"/>
                    </a:lnTo>
                    <a:lnTo>
                      <a:pt x="32" y="97"/>
                    </a:lnTo>
                    <a:lnTo>
                      <a:pt x="34" y="97"/>
                    </a:lnTo>
                    <a:lnTo>
                      <a:pt x="34" y="98"/>
                    </a:lnTo>
                    <a:lnTo>
                      <a:pt x="34" y="97"/>
                    </a:lnTo>
                    <a:lnTo>
                      <a:pt x="32" y="93"/>
                    </a:lnTo>
                    <a:lnTo>
                      <a:pt x="29" y="86"/>
                    </a:lnTo>
                    <a:lnTo>
                      <a:pt x="27" y="85"/>
                    </a:lnTo>
                    <a:lnTo>
                      <a:pt x="25" y="81"/>
                    </a:lnTo>
                    <a:lnTo>
                      <a:pt x="25" y="80"/>
                    </a:lnTo>
                    <a:lnTo>
                      <a:pt x="23" y="78"/>
                    </a:lnTo>
                    <a:lnTo>
                      <a:pt x="23" y="76"/>
                    </a:lnTo>
                    <a:lnTo>
                      <a:pt x="22" y="74"/>
                    </a:lnTo>
                    <a:lnTo>
                      <a:pt x="20" y="73"/>
                    </a:lnTo>
                    <a:lnTo>
                      <a:pt x="20" y="69"/>
                    </a:lnTo>
                    <a:lnTo>
                      <a:pt x="18" y="68"/>
                    </a:lnTo>
                    <a:lnTo>
                      <a:pt x="18" y="66"/>
                    </a:lnTo>
                    <a:lnTo>
                      <a:pt x="15" y="64"/>
                    </a:lnTo>
                    <a:lnTo>
                      <a:pt x="15" y="61"/>
                    </a:lnTo>
                    <a:lnTo>
                      <a:pt x="13" y="61"/>
                    </a:lnTo>
                    <a:lnTo>
                      <a:pt x="13" y="59"/>
                    </a:lnTo>
                    <a:lnTo>
                      <a:pt x="12" y="56"/>
                    </a:lnTo>
                    <a:lnTo>
                      <a:pt x="10" y="54"/>
                    </a:lnTo>
                    <a:lnTo>
                      <a:pt x="8" y="52"/>
                    </a:lnTo>
                    <a:lnTo>
                      <a:pt x="6" y="51"/>
                    </a:lnTo>
                    <a:lnTo>
                      <a:pt x="6" y="49"/>
                    </a:lnTo>
                    <a:lnTo>
                      <a:pt x="5" y="46"/>
                    </a:lnTo>
                    <a:lnTo>
                      <a:pt x="3" y="44"/>
                    </a:lnTo>
                    <a:lnTo>
                      <a:pt x="3" y="42"/>
                    </a:lnTo>
                    <a:lnTo>
                      <a:pt x="3" y="44"/>
                    </a:lnTo>
                    <a:lnTo>
                      <a:pt x="3" y="42"/>
                    </a:lnTo>
                    <a:lnTo>
                      <a:pt x="5" y="42"/>
                    </a:lnTo>
                    <a:lnTo>
                      <a:pt x="6" y="44"/>
                    </a:lnTo>
                    <a:lnTo>
                      <a:pt x="6" y="42"/>
                    </a:lnTo>
                    <a:lnTo>
                      <a:pt x="8" y="42"/>
                    </a:lnTo>
                    <a:lnTo>
                      <a:pt x="10" y="44"/>
                    </a:lnTo>
                    <a:lnTo>
                      <a:pt x="10" y="42"/>
                    </a:lnTo>
                    <a:lnTo>
                      <a:pt x="10" y="44"/>
                    </a:lnTo>
                    <a:lnTo>
                      <a:pt x="12" y="42"/>
                    </a:lnTo>
                    <a:lnTo>
                      <a:pt x="13" y="42"/>
                    </a:lnTo>
                    <a:lnTo>
                      <a:pt x="13" y="44"/>
                    </a:lnTo>
                    <a:lnTo>
                      <a:pt x="13" y="42"/>
                    </a:lnTo>
                    <a:lnTo>
                      <a:pt x="15" y="42"/>
                    </a:lnTo>
                    <a:lnTo>
                      <a:pt x="15" y="44"/>
                    </a:lnTo>
                    <a:lnTo>
                      <a:pt x="15" y="42"/>
                    </a:lnTo>
                    <a:lnTo>
                      <a:pt x="17" y="44"/>
                    </a:lnTo>
                    <a:lnTo>
                      <a:pt x="18" y="44"/>
                    </a:lnTo>
                    <a:lnTo>
                      <a:pt x="20" y="44"/>
                    </a:lnTo>
                    <a:lnTo>
                      <a:pt x="22" y="44"/>
                    </a:lnTo>
                    <a:lnTo>
                      <a:pt x="22" y="46"/>
                    </a:lnTo>
                    <a:lnTo>
                      <a:pt x="22" y="44"/>
                    </a:lnTo>
                    <a:lnTo>
                      <a:pt x="23" y="44"/>
                    </a:lnTo>
                    <a:lnTo>
                      <a:pt x="23" y="46"/>
                    </a:lnTo>
                    <a:lnTo>
                      <a:pt x="25" y="46"/>
                    </a:lnTo>
                    <a:lnTo>
                      <a:pt x="27" y="46"/>
                    </a:lnTo>
                    <a:lnTo>
                      <a:pt x="25" y="46"/>
                    </a:lnTo>
                    <a:lnTo>
                      <a:pt x="27" y="46"/>
                    </a:lnTo>
                    <a:lnTo>
                      <a:pt x="27" y="44"/>
                    </a:lnTo>
                    <a:lnTo>
                      <a:pt x="29" y="46"/>
                    </a:lnTo>
                    <a:lnTo>
                      <a:pt x="29" y="44"/>
                    </a:lnTo>
                    <a:lnTo>
                      <a:pt x="29" y="46"/>
                    </a:lnTo>
                    <a:lnTo>
                      <a:pt x="30" y="44"/>
                    </a:lnTo>
                    <a:lnTo>
                      <a:pt x="30" y="46"/>
                    </a:lnTo>
                    <a:lnTo>
                      <a:pt x="30" y="47"/>
                    </a:lnTo>
                    <a:lnTo>
                      <a:pt x="32" y="49"/>
                    </a:lnTo>
                    <a:lnTo>
                      <a:pt x="32" y="51"/>
                    </a:lnTo>
                    <a:lnTo>
                      <a:pt x="37" y="49"/>
                    </a:lnTo>
                    <a:lnTo>
                      <a:pt x="37" y="47"/>
                    </a:lnTo>
                    <a:lnTo>
                      <a:pt x="39" y="47"/>
                    </a:lnTo>
                    <a:lnTo>
                      <a:pt x="39" y="46"/>
                    </a:lnTo>
                    <a:lnTo>
                      <a:pt x="40" y="47"/>
                    </a:lnTo>
                    <a:lnTo>
                      <a:pt x="40" y="46"/>
                    </a:lnTo>
                    <a:lnTo>
                      <a:pt x="42" y="46"/>
                    </a:lnTo>
                    <a:lnTo>
                      <a:pt x="42" y="47"/>
                    </a:lnTo>
                    <a:lnTo>
                      <a:pt x="42" y="46"/>
                    </a:lnTo>
                    <a:lnTo>
                      <a:pt x="44" y="46"/>
                    </a:lnTo>
                    <a:lnTo>
                      <a:pt x="46" y="46"/>
                    </a:lnTo>
                    <a:lnTo>
                      <a:pt x="46" y="44"/>
                    </a:lnTo>
                    <a:lnTo>
                      <a:pt x="47" y="44"/>
                    </a:lnTo>
                    <a:lnTo>
                      <a:pt x="47" y="42"/>
                    </a:lnTo>
                    <a:lnTo>
                      <a:pt x="49" y="42"/>
                    </a:lnTo>
                    <a:lnTo>
                      <a:pt x="49" y="40"/>
                    </a:lnTo>
                    <a:lnTo>
                      <a:pt x="51" y="39"/>
                    </a:lnTo>
                    <a:lnTo>
                      <a:pt x="51" y="37"/>
                    </a:lnTo>
                    <a:lnTo>
                      <a:pt x="52" y="37"/>
                    </a:lnTo>
                    <a:lnTo>
                      <a:pt x="52" y="35"/>
                    </a:lnTo>
                    <a:lnTo>
                      <a:pt x="52" y="34"/>
                    </a:lnTo>
                    <a:lnTo>
                      <a:pt x="54" y="34"/>
                    </a:lnTo>
                    <a:lnTo>
                      <a:pt x="56" y="32"/>
                    </a:lnTo>
                    <a:lnTo>
                      <a:pt x="56" y="34"/>
                    </a:lnTo>
                    <a:lnTo>
                      <a:pt x="57" y="32"/>
                    </a:lnTo>
                    <a:lnTo>
                      <a:pt x="57" y="34"/>
                    </a:lnTo>
                    <a:lnTo>
                      <a:pt x="59" y="32"/>
                    </a:lnTo>
                    <a:lnTo>
                      <a:pt x="61" y="32"/>
                    </a:lnTo>
                    <a:lnTo>
                      <a:pt x="63" y="34"/>
                    </a:lnTo>
                    <a:lnTo>
                      <a:pt x="64" y="34"/>
                    </a:lnTo>
                    <a:lnTo>
                      <a:pt x="64" y="35"/>
                    </a:lnTo>
                    <a:lnTo>
                      <a:pt x="66" y="35"/>
                    </a:lnTo>
                    <a:lnTo>
                      <a:pt x="66" y="34"/>
                    </a:lnTo>
                    <a:lnTo>
                      <a:pt x="66" y="32"/>
                    </a:lnTo>
                    <a:lnTo>
                      <a:pt x="66" y="30"/>
                    </a:lnTo>
                    <a:lnTo>
                      <a:pt x="68" y="32"/>
                    </a:lnTo>
                    <a:lnTo>
                      <a:pt x="68" y="30"/>
                    </a:lnTo>
                    <a:lnTo>
                      <a:pt x="69" y="30"/>
                    </a:lnTo>
                    <a:lnTo>
                      <a:pt x="69" y="29"/>
                    </a:lnTo>
                    <a:lnTo>
                      <a:pt x="71" y="27"/>
                    </a:lnTo>
                    <a:lnTo>
                      <a:pt x="73" y="27"/>
                    </a:lnTo>
                    <a:lnTo>
                      <a:pt x="74" y="25"/>
                    </a:lnTo>
                    <a:lnTo>
                      <a:pt x="74" y="27"/>
                    </a:lnTo>
                    <a:lnTo>
                      <a:pt x="74" y="25"/>
                    </a:lnTo>
                    <a:lnTo>
                      <a:pt x="76" y="25"/>
                    </a:lnTo>
                    <a:lnTo>
                      <a:pt x="76" y="23"/>
                    </a:lnTo>
                    <a:lnTo>
                      <a:pt x="74" y="23"/>
                    </a:lnTo>
                    <a:lnTo>
                      <a:pt x="76" y="23"/>
                    </a:lnTo>
                    <a:lnTo>
                      <a:pt x="78" y="23"/>
                    </a:lnTo>
                    <a:lnTo>
                      <a:pt x="80" y="23"/>
                    </a:lnTo>
                    <a:lnTo>
                      <a:pt x="80" y="22"/>
                    </a:lnTo>
                    <a:lnTo>
                      <a:pt x="78" y="22"/>
                    </a:lnTo>
                    <a:lnTo>
                      <a:pt x="80" y="22"/>
                    </a:lnTo>
                    <a:lnTo>
                      <a:pt x="81" y="22"/>
                    </a:lnTo>
                    <a:lnTo>
                      <a:pt x="83" y="22"/>
                    </a:lnTo>
                    <a:lnTo>
                      <a:pt x="85" y="22"/>
                    </a:lnTo>
                    <a:lnTo>
                      <a:pt x="85" y="20"/>
                    </a:lnTo>
                    <a:lnTo>
                      <a:pt x="86" y="20"/>
                    </a:lnTo>
                    <a:lnTo>
                      <a:pt x="88" y="20"/>
                    </a:lnTo>
                    <a:lnTo>
                      <a:pt x="90" y="18"/>
                    </a:lnTo>
                    <a:lnTo>
                      <a:pt x="90" y="17"/>
                    </a:lnTo>
                    <a:lnTo>
                      <a:pt x="91" y="17"/>
                    </a:lnTo>
                    <a:lnTo>
                      <a:pt x="91" y="15"/>
                    </a:lnTo>
                    <a:lnTo>
                      <a:pt x="93" y="15"/>
                    </a:lnTo>
                    <a:lnTo>
                      <a:pt x="91" y="15"/>
                    </a:lnTo>
                    <a:lnTo>
                      <a:pt x="93" y="15"/>
                    </a:lnTo>
                    <a:lnTo>
                      <a:pt x="93" y="13"/>
                    </a:lnTo>
                    <a:lnTo>
                      <a:pt x="95" y="13"/>
                    </a:lnTo>
                    <a:lnTo>
                      <a:pt x="95" y="12"/>
                    </a:lnTo>
                    <a:lnTo>
                      <a:pt x="97" y="12"/>
                    </a:lnTo>
                    <a:lnTo>
                      <a:pt x="98" y="10"/>
                    </a:lnTo>
                    <a:lnTo>
                      <a:pt x="100" y="10"/>
                    </a:lnTo>
                    <a:lnTo>
                      <a:pt x="100" y="8"/>
                    </a:lnTo>
                    <a:lnTo>
                      <a:pt x="102" y="8"/>
                    </a:lnTo>
                    <a:lnTo>
                      <a:pt x="102" y="6"/>
                    </a:lnTo>
                    <a:lnTo>
                      <a:pt x="103" y="6"/>
                    </a:lnTo>
                    <a:lnTo>
                      <a:pt x="105" y="6"/>
                    </a:lnTo>
                    <a:lnTo>
                      <a:pt x="107" y="6"/>
                    </a:lnTo>
                    <a:lnTo>
                      <a:pt x="108" y="6"/>
                    </a:lnTo>
                    <a:lnTo>
                      <a:pt x="110" y="6"/>
                    </a:lnTo>
                    <a:lnTo>
                      <a:pt x="108" y="6"/>
                    </a:lnTo>
                    <a:lnTo>
                      <a:pt x="110" y="6"/>
                    </a:lnTo>
                    <a:lnTo>
                      <a:pt x="112" y="6"/>
                    </a:lnTo>
                    <a:lnTo>
                      <a:pt x="112" y="5"/>
                    </a:lnTo>
                    <a:lnTo>
                      <a:pt x="114" y="5"/>
                    </a:lnTo>
                    <a:lnTo>
                      <a:pt x="115" y="5"/>
                    </a:lnTo>
                    <a:lnTo>
                      <a:pt x="115" y="3"/>
                    </a:lnTo>
                    <a:lnTo>
                      <a:pt x="115" y="5"/>
                    </a:lnTo>
                    <a:lnTo>
                      <a:pt x="117" y="5"/>
                    </a:lnTo>
                    <a:lnTo>
                      <a:pt x="117" y="3"/>
                    </a:lnTo>
                    <a:lnTo>
                      <a:pt x="119" y="3"/>
                    </a:lnTo>
                    <a:lnTo>
                      <a:pt x="120" y="3"/>
                    </a:lnTo>
                    <a:lnTo>
                      <a:pt x="120" y="5"/>
                    </a:lnTo>
                    <a:lnTo>
                      <a:pt x="120" y="3"/>
                    </a:lnTo>
                    <a:lnTo>
                      <a:pt x="122" y="3"/>
                    </a:lnTo>
                    <a:lnTo>
                      <a:pt x="122" y="5"/>
                    </a:lnTo>
                    <a:lnTo>
                      <a:pt x="122" y="3"/>
                    </a:lnTo>
                    <a:lnTo>
                      <a:pt x="124" y="3"/>
                    </a:lnTo>
                    <a:lnTo>
                      <a:pt x="125" y="3"/>
                    </a:lnTo>
                    <a:lnTo>
                      <a:pt x="125" y="1"/>
                    </a:lnTo>
                    <a:lnTo>
                      <a:pt x="125" y="3"/>
                    </a:lnTo>
                    <a:lnTo>
                      <a:pt x="125" y="1"/>
                    </a:lnTo>
                    <a:lnTo>
                      <a:pt x="127" y="3"/>
                    </a:lnTo>
                    <a:lnTo>
                      <a:pt x="127" y="1"/>
                    </a:lnTo>
                    <a:lnTo>
                      <a:pt x="127" y="3"/>
                    </a:lnTo>
                    <a:lnTo>
                      <a:pt x="129" y="3"/>
                    </a:lnTo>
                    <a:lnTo>
                      <a:pt x="129" y="1"/>
                    </a:lnTo>
                    <a:lnTo>
                      <a:pt x="131" y="1"/>
                    </a:lnTo>
                    <a:lnTo>
                      <a:pt x="129" y="3"/>
                    </a:lnTo>
                    <a:lnTo>
                      <a:pt x="131" y="3"/>
                    </a:lnTo>
                    <a:lnTo>
                      <a:pt x="131" y="1"/>
                    </a:lnTo>
                    <a:lnTo>
                      <a:pt x="132" y="3"/>
                    </a:lnTo>
                    <a:lnTo>
                      <a:pt x="132" y="1"/>
                    </a:lnTo>
                    <a:lnTo>
                      <a:pt x="134" y="1"/>
                    </a:lnTo>
                    <a:lnTo>
                      <a:pt x="134" y="3"/>
                    </a:lnTo>
                    <a:lnTo>
                      <a:pt x="132" y="3"/>
                    </a:lnTo>
                    <a:lnTo>
                      <a:pt x="134" y="3"/>
                    </a:lnTo>
                    <a:lnTo>
                      <a:pt x="132" y="3"/>
                    </a:lnTo>
                    <a:lnTo>
                      <a:pt x="134" y="5"/>
                    </a:lnTo>
                    <a:lnTo>
                      <a:pt x="134" y="3"/>
                    </a:lnTo>
                    <a:lnTo>
                      <a:pt x="136" y="3"/>
                    </a:lnTo>
                    <a:lnTo>
                      <a:pt x="136" y="5"/>
                    </a:lnTo>
                    <a:lnTo>
                      <a:pt x="136" y="3"/>
                    </a:lnTo>
                    <a:lnTo>
                      <a:pt x="136" y="5"/>
                    </a:lnTo>
                    <a:lnTo>
                      <a:pt x="137" y="5"/>
                    </a:lnTo>
                    <a:lnTo>
                      <a:pt x="139" y="5"/>
                    </a:lnTo>
                    <a:lnTo>
                      <a:pt x="137" y="5"/>
                    </a:lnTo>
                    <a:lnTo>
                      <a:pt x="137" y="3"/>
                    </a:lnTo>
                    <a:lnTo>
                      <a:pt x="139" y="3"/>
                    </a:lnTo>
                    <a:lnTo>
                      <a:pt x="141" y="3"/>
                    </a:lnTo>
                    <a:lnTo>
                      <a:pt x="141" y="1"/>
                    </a:lnTo>
                    <a:lnTo>
                      <a:pt x="141" y="0"/>
                    </a:lnTo>
                    <a:lnTo>
                      <a:pt x="141" y="1"/>
                    </a:lnTo>
                    <a:lnTo>
                      <a:pt x="141" y="0"/>
                    </a:lnTo>
                    <a:lnTo>
                      <a:pt x="142" y="0"/>
                    </a:lnTo>
                    <a:lnTo>
                      <a:pt x="144" y="0"/>
                    </a:lnTo>
                    <a:lnTo>
                      <a:pt x="144" y="1"/>
                    </a:lnTo>
                    <a:lnTo>
                      <a:pt x="146" y="1"/>
                    </a:lnTo>
                    <a:lnTo>
                      <a:pt x="146" y="3"/>
                    </a:lnTo>
                    <a:lnTo>
                      <a:pt x="146" y="5"/>
                    </a:lnTo>
                    <a:lnTo>
                      <a:pt x="148" y="5"/>
                    </a:lnTo>
                    <a:lnTo>
                      <a:pt x="148" y="6"/>
                    </a:lnTo>
                    <a:lnTo>
                      <a:pt x="146" y="6"/>
                    </a:lnTo>
                    <a:lnTo>
                      <a:pt x="146" y="8"/>
                    </a:lnTo>
                    <a:lnTo>
                      <a:pt x="146" y="10"/>
                    </a:lnTo>
                    <a:lnTo>
                      <a:pt x="146" y="12"/>
                    </a:lnTo>
                    <a:lnTo>
                      <a:pt x="146" y="13"/>
                    </a:lnTo>
                    <a:lnTo>
                      <a:pt x="148" y="13"/>
                    </a:lnTo>
                    <a:lnTo>
                      <a:pt x="148" y="15"/>
                    </a:lnTo>
                    <a:lnTo>
                      <a:pt x="146" y="17"/>
                    </a:lnTo>
                    <a:lnTo>
                      <a:pt x="148" y="17"/>
                    </a:lnTo>
                    <a:lnTo>
                      <a:pt x="148" y="18"/>
                    </a:lnTo>
                    <a:lnTo>
                      <a:pt x="146" y="18"/>
                    </a:lnTo>
                    <a:lnTo>
                      <a:pt x="146" y="20"/>
                    </a:lnTo>
                    <a:lnTo>
                      <a:pt x="146" y="22"/>
                    </a:lnTo>
                    <a:lnTo>
                      <a:pt x="144" y="22"/>
                    </a:lnTo>
                    <a:lnTo>
                      <a:pt x="144" y="23"/>
                    </a:lnTo>
                    <a:lnTo>
                      <a:pt x="144" y="25"/>
                    </a:lnTo>
                    <a:lnTo>
                      <a:pt x="144" y="27"/>
                    </a:lnTo>
                    <a:lnTo>
                      <a:pt x="142" y="27"/>
                    </a:lnTo>
                    <a:lnTo>
                      <a:pt x="142" y="29"/>
                    </a:lnTo>
                    <a:lnTo>
                      <a:pt x="144" y="29"/>
                    </a:lnTo>
                    <a:lnTo>
                      <a:pt x="144" y="30"/>
                    </a:lnTo>
                    <a:lnTo>
                      <a:pt x="142" y="30"/>
                    </a:lnTo>
                    <a:lnTo>
                      <a:pt x="144" y="32"/>
                    </a:lnTo>
                    <a:lnTo>
                      <a:pt x="146" y="34"/>
                    </a:lnTo>
                    <a:lnTo>
                      <a:pt x="146" y="35"/>
                    </a:lnTo>
                    <a:lnTo>
                      <a:pt x="146" y="37"/>
                    </a:lnTo>
                    <a:lnTo>
                      <a:pt x="146" y="39"/>
                    </a:lnTo>
                    <a:lnTo>
                      <a:pt x="148" y="39"/>
                    </a:lnTo>
                    <a:lnTo>
                      <a:pt x="148" y="40"/>
                    </a:lnTo>
                    <a:lnTo>
                      <a:pt x="148" y="42"/>
                    </a:lnTo>
                    <a:lnTo>
                      <a:pt x="148" y="44"/>
                    </a:lnTo>
                    <a:lnTo>
                      <a:pt x="149" y="44"/>
                    </a:lnTo>
                    <a:lnTo>
                      <a:pt x="148" y="46"/>
                    </a:lnTo>
                    <a:lnTo>
                      <a:pt x="148" y="47"/>
                    </a:lnTo>
                    <a:lnTo>
                      <a:pt x="146" y="49"/>
                    </a:lnTo>
                    <a:lnTo>
                      <a:pt x="144" y="49"/>
                    </a:lnTo>
                    <a:lnTo>
                      <a:pt x="144" y="51"/>
                    </a:lnTo>
                    <a:lnTo>
                      <a:pt x="146" y="51"/>
                    </a:lnTo>
                    <a:lnTo>
                      <a:pt x="146" y="52"/>
                    </a:lnTo>
                    <a:lnTo>
                      <a:pt x="144" y="52"/>
                    </a:lnTo>
                    <a:lnTo>
                      <a:pt x="144" y="54"/>
                    </a:lnTo>
                    <a:lnTo>
                      <a:pt x="146" y="54"/>
                    </a:lnTo>
                    <a:lnTo>
                      <a:pt x="146" y="56"/>
                    </a:lnTo>
                    <a:lnTo>
                      <a:pt x="148" y="56"/>
                    </a:lnTo>
                    <a:lnTo>
                      <a:pt x="146" y="56"/>
                    </a:lnTo>
                    <a:lnTo>
                      <a:pt x="146" y="57"/>
                    </a:lnTo>
                    <a:lnTo>
                      <a:pt x="146" y="59"/>
                    </a:lnTo>
                    <a:lnTo>
                      <a:pt x="146" y="61"/>
                    </a:lnTo>
                    <a:lnTo>
                      <a:pt x="148" y="63"/>
                    </a:lnTo>
                    <a:lnTo>
                      <a:pt x="149" y="63"/>
                    </a:lnTo>
                    <a:lnTo>
                      <a:pt x="149" y="64"/>
                    </a:lnTo>
                    <a:lnTo>
                      <a:pt x="149" y="66"/>
                    </a:lnTo>
                    <a:lnTo>
                      <a:pt x="149" y="68"/>
                    </a:lnTo>
                    <a:lnTo>
                      <a:pt x="148" y="69"/>
                    </a:lnTo>
                    <a:lnTo>
                      <a:pt x="149" y="69"/>
                    </a:lnTo>
                    <a:lnTo>
                      <a:pt x="149" y="71"/>
                    </a:lnTo>
                    <a:lnTo>
                      <a:pt x="151" y="71"/>
                    </a:lnTo>
                    <a:lnTo>
                      <a:pt x="151" y="69"/>
                    </a:lnTo>
                    <a:lnTo>
                      <a:pt x="153" y="69"/>
                    </a:lnTo>
                    <a:lnTo>
                      <a:pt x="154" y="69"/>
                    </a:lnTo>
                    <a:lnTo>
                      <a:pt x="154" y="71"/>
                    </a:lnTo>
                    <a:lnTo>
                      <a:pt x="154" y="73"/>
                    </a:lnTo>
                    <a:lnTo>
                      <a:pt x="154" y="74"/>
                    </a:lnTo>
                    <a:lnTo>
                      <a:pt x="156" y="74"/>
                    </a:lnTo>
                    <a:lnTo>
                      <a:pt x="156" y="76"/>
                    </a:lnTo>
                    <a:lnTo>
                      <a:pt x="156" y="78"/>
                    </a:lnTo>
                    <a:lnTo>
                      <a:pt x="156" y="80"/>
                    </a:lnTo>
                    <a:lnTo>
                      <a:pt x="158" y="80"/>
                    </a:lnTo>
                    <a:lnTo>
                      <a:pt x="159" y="80"/>
                    </a:lnTo>
                    <a:lnTo>
                      <a:pt x="161" y="80"/>
                    </a:lnTo>
                    <a:lnTo>
                      <a:pt x="163" y="80"/>
                    </a:lnTo>
                    <a:lnTo>
                      <a:pt x="163" y="81"/>
                    </a:lnTo>
                    <a:lnTo>
                      <a:pt x="163" y="83"/>
                    </a:lnTo>
                    <a:lnTo>
                      <a:pt x="163" y="81"/>
                    </a:lnTo>
                    <a:lnTo>
                      <a:pt x="165" y="81"/>
                    </a:lnTo>
                    <a:lnTo>
                      <a:pt x="165" y="83"/>
                    </a:lnTo>
                    <a:lnTo>
                      <a:pt x="165" y="85"/>
                    </a:lnTo>
                    <a:lnTo>
                      <a:pt x="166" y="85"/>
                    </a:lnTo>
                    <a:lnTo>
                      <a:pt x="166" y="83"/>
                    </a:lnTo>
                    <a:lnTo>
                      <a:pt x="166" y="81"/>
                    </a:lnTo>
                    <a:lnTo>
                      <a:pt x="166" y="83"/>
                    </a:lnTo>
                    <a:lnTo>
                      <a:pt x="168" y="83"/>
                    </a:lnTo>
                    <a:lnTo>
                      <a:pt x="166" y="83"/>
                    </a:lnTo>
                    <a:lnTo>
                      <a:pt x="166" y="85"/>
                    </a:lnTo>
                    <a:lnTo>
                      <a:pt x="168" y="86"/>
                    </a:lnTo>
                    <a:lnTo>
                      <a:pt x="170" y="86"/>
                    </a:lnTo>
                    <a:lnTo>
                      <a:pt x="171" y="86"/>
                    </a:lnTo>
                    <a:lnTo>
                      <a:pt x="171" y="88"/>
                    </a:lnTo>
                    <a:lnTo>
                      <a:pt x="173" y="88"/>
                    </a:lnTo>
                    <a:lnTo>
                      <a:pt x="173" y="86"/>
                    </a:lnTo>
                    <a:lnTo>
                      <a:pt x="173" y="88"/>
                    </a:lnTo>
                    <a:lnTo>
                      <a:pt x="175" y="88"/>
                    </a:lnTo>
                    <a:lnTo>
                      <a:pt x="175" y="90"/>
                    </a:lnTo>
                    <a:lnTo>
                      <a:pt x="173" y="91"/>
                    </a:lnTo>
                    <a:lnTo>
                      <a:pt x="175" y="91"/>
                    </a:lnTo>
                    <a:lnTo>
                      <a:pt x="175" y="93"/>
                    </a:lnTo>
                    <a:lnTo>
                      <a:pt x="176" y="93"/>
                    </a:lnTo>
                    <a:lnTo>
                      <a:pt x="176" y="95"/>
                    </a:lnTo>
                    <a:lnTo>
                      <a:pt x="178" y="95"/>
                    </a:lnTo>
                    <a:lnTo>
                      <a:pt x="180" y="95"/>
                    </a:lnTo>
                    <a:lnTo>
                      <a:pt x="182" y="95"/>
                    </a:lnTo>
                    <a:lnTo>
                      <a:pt x="180" y="97"/>
                    </a:lnTo>
                    <a:lnTo>
                      <a:pt x="182" y="97"/>
                    </a:lnTo>
                    <a:lnTo>
                      <a:pt x="182" y="95"/>
                    </a:lnTo>
                    <a:lnTo>
                      <a:pt x="183" y="95"/>
                    </a:lnTo>
                    <a:lnTo>
                      <a:pt x="185" y="95"/>
                    </a:lnTo>
                    <a:lnTo>
                      <a:pt x="185" y="97"/>
                    </a:lnTo>
                    <a:lnTo>
                      <a:pt x="187" y="97"/>
                    </a:lnTo>
                    <a:lnTo>
                      <a:pt x="187" y="95"/>
                    </a:lnTo>
                    <a:lnTo>
                      <a:pt x="187" y="97"/>
                    </a:lnTo>
                    <a:lnTo>
                      <a:pt x="188" y="97"/>
                    </a:lnTo>
                    <a:lnTo>
                      <a:pt x="190" y="97"/>
                    </a:lnTo>
                    <a:lnTo>
                      <a:pt x="192" y="97"/>
                    </a:lnTo>
                    <a:lnTo>
                      <a:pt x="193" y="97"/>
                    </a:lnTo>
                    <a:lnTo>
                      <a:pt x="195" y="95"/>
                    </a:lnTo>
                    <a:lnTo>
                      <a:pt x="197" y="95"/>
                    </a:lnTo>
                    <a:lnTo>
                      <a:pt x="199" y="93"/>
                    </a:lnTo>
                    <a:lnTo>
                      <a:pt x="199" y="95"/>
                    </a:lnTo>
                    <a:lnTo>
                      <a:pt x="200" y="95"/>
                    </a:lnTo>
                    <a:lnTo>
                      <a:pt x="202" y="95"/>
                    </a:lnTo>
                    <a:lnTo>
                      <a:pt x="204" y="95"/>
                    </a:lnTo>
                    <a:lnTo>
                      <a:pt x="204" y="97"/>
                    </a:lnTo>
                    <a:lnTo>
                      <a:pt x="205" y="97"/>
                    </a:lnTo>
                    <a:lnTo>
                      <a:pt x="207" y="97"/>
                    </a:lnTo>
                    <a:lnTo>
                      <a:pt x="207" y="98"/>
                    </a:lnTo>
                    <a:lnTo>
                      <a:pt x="209" y="98"/>
                    </a:lnTo>
                    <a:lnTo>
                      <a:pt x="210" y="98"/>
                    </a:lnTo>
                    <a:lnTo>
                      <a:pt x="210" y="100"/>
                    </a:lnTo>
                    <a:lnTo>
                      <a:pt x="209" y="100"/>
                    </a:lnTo>
                    <a:lnTo>
                      <a:pt x="210" y="100"/>
                    </a:lnTo>
                    <a:lnTo>
                      <a:pt x="210" y="102"/>
                    </a:lnTo>
                    <a:lnTo>
                      <a:pt x="212" y="102"/>
                    </a:lnTo>
                    <a:lnTo>
                      <a:pt x="214" y="102"/>
                    </a:lnTo>
                    <a:lnTo>
                      <a:pt x="214" y="103"/>
                    </a:lnTo>
                    <a:lnTo>
                      <a:pt x="216" y="103"/>
                    </a:lnTo>
                    <a:lnTo>
                      <a:pt x="217" y="103"/>
                    </a:lnTo>
                    <a:lnTo>
                      <a:pt x="216" y="102"/>
                    </a:lnTo>
                    <a:lnTo>
                      <a:pt x="217" y="102"/>
                    </a:lnTo>
                    <a:lnTo>
                      <a:pt x="217" y="100"/>
                    </a:lnTo>
                    <a:lnTo>
                      <a:pt x="219" y="102"/>
                    </a:lnTo>
                    <a:lnTo>
                      <a:pt x="219" y="100"/>
                    </a:lnTo>
                    <a:lnTo>
                      <a:pt x="219" y="102"/>
                    </a:lnTo>
                    <a:lnTo>
                      <a:pt x="221" y="102"/>
                    </a:lnTo>
                    <a:lnTo>
                      <a:pt x="221" y="103"/>
                    </a:lnTo>
                    <a:lnTo>
                      <a:pt x="222" y="103"/>
                    </a:lnTo>
                    <a:lnTo>
                      <a:pt x="222" y="105"/>
                    </a:lnTo>
                    <a:lnTo>
                      <a:pt x="224" y="105"/>
                    </a:lnTo>
                    <a:lnTo>
                      <a:pt x="224" y="107"/>
                    </a:lnTo>
                    <a:lnTo>
                      <a:pt x="224" y="108"/>
                    </a:lnTo>
                    <a:lnTo>
                      <a:pt x="226" y="108"/>
                    </a:lnTo>
                    <a:lnTo>
                      <a:pt x="227" y="108"/>
                    </a:lnTo>
                    <a:lnTo>
                      <a:pt x="227" y="110"/>
                    </a:lnTo>
                    <a:lnTo>
                      <a:pt x="229" y="110"/>
                    </a:lnTo>
                    <a:lnTo>
                      <a:pt x="229" y="112"/>
                    </a:lnTo>
                    <a:lnTo>
                      <a:pt x="231" y="112"/>
                    </a:lnTo>
                    <a:lnTo>
                      <a:pt x="231" y="114"/>
                    </a:lnTo>
                    <a:lnTo>
                      <a:pt x="233" y="114"/>
                    </a:lnTo>
                    <a:lnTo>
                      <a:pt x="234" y="115"/>
                    </a:lnTo>
                    <a:lnTo>
                      <a:pt x="234" y="114"/>
                    </a:lnTo>
                    <a:lnTo>
                      <a:pt x="236" y="114"/>
                    </a:lnTo>
                    <a:lnTo>
                      <a:pt x="236" y="112"/>
                    </a:lnTo>
                    <a:lnTo>
                      <a:pt x="236" y="114"/>
                    </a:lnTo>
                    <a:lnTo>
                      <a:pt x="238" y="114"/>
                    </a:lnTo>
                    <a:lnTo>
                      <a:pt x="238" y="115"/>
                    </a:lnTo>
                    <a:lnTo>
                      <a:pt x="239" y="115"/>
                    </a:lnTo>
                    <a:lnTo>
                      <a:pt x="239" y="117"/>
                    </a:lnTo>
                    <a:lnTo>
                      <a:pt x="241" y="115"/>
                    </a:lnTo>
                    <a:lnTo>
                      <a:pt x="241" y="117"/>
                    </a:lnTo>
                    <a:lnTo>
                      <a:pt x="243" y="117"/>
                    </a:lnTo>
                    <a:lnTo>
                      <a:pt x="243" y="115"/>
                    </a:lnTo>
                    <a:lnTo>
                      <a:pt x="243" y="117"/>
                    </a:lnTo>
                    <a:lnTo>
                      <a:pt x="244" y="117"/>
                    </a:lnTo>
                    <a:lnTo>
                      <a:pt x="244" y="119"/>
                    </a:lnTo>
                    <a:lnTo>
                      <a:pt x="244" y="117"/>
                    </a:lnTo>
                    <a:lnTo>
                      <a:pt x="244" y="119"/>
                    </a:lnTo>
                    <a:lnTo>
                      <a:pt x="246" y="119"/>
                    </a:lnTo>
                    <a:lnTo>
                      <a:pt x="248" y="119"/>
                    </a:lnTo>
                    <a:lnTo>
                      <a:pt x="250" y="119"/>
                    </a:lnTo>
                    <a:lnTo>
                      <a:pt x="250" y="117"/>
                    </a:lnTo>
                    <a:lnTo>
                      <a:pt x="251" y="117"/>
                    </a:lnTo>
                    <a:lnTo>
                      <a:pt x="251" y="119"/>
                    </a:lnTo>
                    <a:lnTo>
                      <a:pt x="253" y="119"/>
                    </a:lnTo>
                    <a:lnTo>
                      <a:pt x="251" y="117"/>
                    </a:lnTo>
                    <a:lnTo>
                      <a:pt x="253" y="117"/>
                    </a:lnTo>
                    <a:lnTo>
                      <a:pt x="253" y="119"/>
                    </a:lnTo>
                    <a:lnTo>
                      <a:pt x="255" y="119"/>
                    </a:lnTo>
                    <a:lnTo>
                      <a:pt x="255" y="120"/>
                    </a:lnTo>
                    <a:lnTo>
                      <a:pt x="255" y="122"/>
                    </a:lnTo>
                    <a:lnTo>
                      <a:pt x="255" y="124"/>
                    </a:lnTo>
                    <a:lnTo>
                      <a:pt x="256" y="124"/>
                    </a:lnTo>
                    <a:lnTo>
                      <a:pt x="256" y="125"/>
                    </a:lnTo>
                    <a:lnTo>
                      <a:pt x="258" y="125"/>
                    </a:lnTo>
                    <a:lnTo>
                      <a:pt x="258" y="127"/>
                    </a:lnTo>
                    <a:lnTo>
                      <a:pt x="258" y="125"/>
                    </a:lnTo>
                    <a:lnTo>
                      <a:pt x="260" y="127"/>
                    </a:lnTo>
                    <a:lnTo>
                      <a:pt x="260" y="129"/>
                    </a:lnTo>
                    <a:lnTo>
                      <a:pt x="260" y="127"/>
                    </a:lnTo>
                    <a:lnTo>
                      <a:pt x="261" y="129"/>
                    </a:lnTo>
                    <a:lnTo>
                      <a:pt x="261" y="131"/>
                    </a:lnTo>
                    <a:lnTo>
                      <a:pt x="263" y="131"/>
                    </a:lnTo>
                    <a:lnTo>
                      <a:pt x="263" y="132"/>
                    </a:lnTo>
                    <a:lnTo>
                      <a:pt x="265" y="132"/>
                    </a:lnTo>
                    <a:lnTo>
                      <a:pt x="267" y="132"/>
                    </a:lnTo>
                    <a:lnTo>
                      <a:pt x="268" y="132"/>
                    </a:lnTo>
                    <a:lnTo>
                      <a:pt x="268" y="131"/>
                    </a:lnTo>
                    <a:lnTo>
                      <a:pt x="270" y="131"/>
                    </a:lnTo>
                    <a:lnTo>
                      <a:pt x="270" y="132"/>
                    </a:lnTo>
                    <a:lnTo>
                      <a:pt x="270" y="131"/>
                    </a:lnTo>
                    <a:lnTo>
                      <a:pt x="272" y="132"/>
                    </a:lnTo>
                    <a:lnTo>
                      <a:pt x="272" y="131"/>
                    </a:lnTo>
                    <a:lnTo>
                      <a:pt x="273" y="132"/>
                    </a:lnTo>
                    <a:lnTo>
                      <a:pt x="275" y="132"/>
                    </a:lnTo>
                    <a:lnTo>
                      <a:pt x="277" y="132"/>
                    </a:lnTo>
                    <a:lnTo>
                      <a:pt x="278" y="132"/>
                    </a:lnTo>
                    <a:lnTo>
                      <a:pt x="280" y="132"/>
                    </a:lnTo>
                    <a:lnTo>
                      <a:pt x="280" y="131"/>
                    </a:lnTo>
                    <a:lnTo>
                      <a:pt x="282" y="131"/>
                    </a:lnTo>
                    <a:lnTo>
                      <a:pt x="284" y="131"/>
                    </a:lnTo>
                    <a:lnTo>
                      <a:pt x="284" y="132"/>
                    </a:lnTo>
                    <a:lnTo>
                      <a:pt x="285" y="132"/>
                    </a:lnTo>
                    <a:lnTo>
                      <a:pt x="285" y="131"/>
                    </a:lnTo>
                    <a:lnTo>
                      <a:pt x="285" y="132"/>
                    </a:lnTo>
                    <a:lnTo>
                      <a:pt x="287" y="132"/>
                    </a:lnTo>
                    <a:lnTo>
                      <a:pt x="287" y="131"/>
                    </a:lnTo>
                    <a:lnTo>
                      <a:pt x="287" y="132"/>
                    </a:lnTo>
                    <a:lnTo>
                      <a:pt x="289" y="132"/>
                    </a:lnTo>
                    <a:lnTo>
                      <a:pt x="289" y="131"/>
                    </a:lnTo>
                    <a:lnTo>
                      <a:pt x="290" y="131"/>
                    </a:lnTo>
                    <a:lnTo>
                      <a:pt x="290" y="132"/>
                    </a:lnTo>
                    <a:lnTo>
                      <a:pt x="290" y="131"/>
                    </a:lnTo>
                    <a:lnTo>
                      <a:pt x="292" y="131"/>
                    </a:lnTo>
                    <a:lnTo>
                      <a:pt x="292" y="132"/>
                    </a:lnTo>
                    <a:lnTo>
                      <a:pt x="294" y="132"/>
                    </a:lnTo>
                    <a:lnTo>
                      <a:pt x="295" y="132"/>
                    </a:lnTo>
                    <a:lnTo>
                      <a:pt x="295" y="134"/>
                    </a:lnTo>
                    <a:lnTo>
                      <a:pt x="295" y="136"/>
                    </a:lnTo>
                    <a:lnTo>
                      <a:pt x="297" y="136"/>
                    </a:lnTo>
                    <a:lnTo>
                      <a:pt x="299" y="136"/>
                    </a:lnTo>
                    <a:lnTo>
                      <a:pt x="299" y="137"/>
                    </a:lnTo>
                    <a:lnTo>
                      <a:pt x="301" y="137"/>
                    </a:lnTo>
                    <a:lnTo>
                      <a:pt x="302" y="137"/>
                    </a:lnTo>
                    <a:lnTo>
                      <a:pt x="302" y="139"/>
                    </a:lnTo>
                    <a:lnTo>
                      <a:pt x="302" y="137"/>
                    </a:lnTo>
                    <a:lnTo>
                      <a:pt x="302" y="139"/>
                    </a:lnTo>
                    <a:lnTo>
                      <a:pt x="304" y="139"/>
                    </a:lnTo>
                    <a:lnTo>
                      <a:pt x="306" y="139"/>
                    </a:lnTo>
                    <a:lnTo>
                      <a:pt x="307" y="141"/>
                    </a:lnTo>
                    <a:lnTo>
                      <a:pt x="309" y="141"/>
                    </a:lnTo>
                    <a:lnTo>
                      <a:pt x="311" y="141"/>
                    </a:lnTo>
                    <a:lnTo>
                      <a:pt x="309" y="143"/>
                    </a:lnTo>
                    <a:lnTo>
                      <a:pt x="311" y="143"/>
                    </a:lnTo>
                    <a:lnTo>
                      <a:pt x="309" y="143"/>
                    </a:lnTo>
                    <a:lnTo>
                      <a:pt x="311" y="143"/>
                    </a:lnTo>
                    <a:lnTo>
                      <a:pt x="309" y="143"/>
                    </a:lnTo>
                    <a:lnTo>
                      <a:pt x="309" y="144"/>
                    </a:lnTo>
                    <a:lnTo>
                      <a:pt x="309" y="143"/>
                    </a:lnTo>
                    <a:lnTo>
                      <a:pt x="311" y="144"/>
                    </a:lnTo>
                    <a:lnTo>
                      <a:pt x="309" y="144"/>
                    </a:lnTo>
                    <a:lnTo>
                      <a:pt x="311" y="144"/>
                    </a:lnTo>
                    <a:lnTo>
                      <a:pt x="311" y="146"/>
                    </a:lnTo>
                    <a:lnTo>
                      <a:pt x="311" y="148"/>
                    </a:lnTo>
                    <a:lnTo>
                      <a:pt x="312" y="148"/>
                    </a:lnTo>
                    <a:lnTo>
                      <a:pt x="312" y="149"/>
                    </a:lnTo>
                    <a:lnTo>
                      <a:pt x="311" y="149"/>
                    </a:lnTo>
                    <a:lnTo>
                      <a:pt x="311" y="151"/>
                    </a:lnTo>
                    <a:lnTo>
                      <a:pt x="309" y="151"/>
                    </a:lnTo>
                    <a:lnTo>
                      <a:pt x="309" y="153"/>
                    </a:lnTo>
                    <a:lnTo>
                      <a:pt x="309" y="154"/>
                    </a:lnTo>
                    <a:lnTo>
                      <a:pt x="309" y="156"/>
                    </a:lnTo>
                    <a:lnTo>
                      <a:pt x="311" y="156"/>
                    </a:lnTo>
                    <a:lnTo>
                      <a:pt x="311" y="158"/>
                    </a:lnTo>
                    <a:lnTo>
                      <a:pt x="311" y="160"/>
                    </a:lnTo>
                    <a:lnTo>
                      <a:pt x="311" y="161"/>
                    </a:lnTo>
                    <a:lnTo>
                      <a:pt x="312" y="161"/>
                    </a:lnTo>
                    <a:lnTo>
                      <a:pt x="312" y="163"/>
                    </a:lnTo>
                    <a:lnTo>
                      <a:pt x="312" y="165"/>
                    </a:lnTo>
                    <a:lnTo>
                      <a:pt x="314" y="165"/>
                    </a:lnTo>
                    <a:lnTo>
                      <a:pt x="314" y="166"/>
                    </a:lnTo>
                    <a:lnTo>
                      <a:pt x="314" y="168"/>
                    </a:lnTo>
                    <a:lnTo>
                      <a:pt x="314" y="170"/>
                    </a:lnTo>
                    <a:lnTo>
                      <a:pt x="316" y="170"/>
                    </a:lnTo>
                    <a:lnTo>
                      <a:pt x="316" y="171"/>
                    </a:lnTo>
                    <a:lnTo>
                      <a:pt x="318" y="173"/>
                    </a:lnTo>
                    <a:lnTo>
                      <a:pt x="318" y="175"/>
                    </a:lnTo>
                    <a:lnTo>
                      <a:pt x="318" y="177"/>
                    </a:lnTo>
                    <a:lnTo>
                      <a:pt x="318" y="180"/>
                    </a:lnTo>
                    <a:lnTo>
                      <a:pt x="318" y="182"/>
                    </a:lnTo>
                    <a:lnTo>
                      <a:pt x="318" y="183"/>
                    </a:lnTo>
                    <a:lnTo>
                      <a:pt x="318" y="187"/>
                    </a:lnTo>
                    <a:lnTo>
                      <a:pt x="316" y="187"/>
                    </a:lnTo>
                    <a:lnTo>
                      <a:pt x="314" y="187"/>
                    </a:lnTo>
                    <a:lnTo>
                      <a:pt x="311" y="187"/>
                    </a:lnTo>
                    <a:lnTo>
                      <a:pt x="309" y="187"/>
                    </a:lnTo>
                    <a:lnTo>
                      <a:pt x="306" y="187"/>
                    </a:lnTo>
                    <a:lnTo>
                      <a:pt x="309" y="190"/>
                    </a:lnTo>
                    <a:lnTo>
                      <a:pt x="314" y="195"/>
                    </a:lnTo>
                    <a:lnTo>
                      <a:pt x="316" y="199"/>
                    </a:lnTo>
                    <a:lnTo>
                      <a:pt x="318" y="200"/>
                    </a:lnTo>
                    <a:lnTo>
                      <a:pt x="318" y="202"/>
                    </a:lnTo>
                    <a:lnTo>
                      <a:pt x="318" y="204"/>
                    </a:lnTo>
                    <a:lnTo>
                      <a:pt x="319" y="221"/>
                    </a:lnTo>
                    <a:lnTo>
                      <a:pt x="319" y="224"/>
                    </a:lnTo>
                    <a:lnTo>
                      <a:pt x="319" y="228"/>
                    </a:lnTo>
                    <a:lnTo>
                      <a:pt x="321" y="228"/>
                    </a:lnTo>
                    <a:lnTo>
                      <a:pt x="323" y="228"/>
                    </a:lnTo>
                    <a:lnTo>
                      <a:pt x="324" y="228"/>
                    </a:lnTo>
                    <a:lnTo>
                      <a:pt x="326" y="228"/>
                    </a:lnTo>
                    <a:lnTo>
                      <a:pt x="329" y="228"/>
                    </a:lnTo>
                    <a:lnTo>
                      <a:pt x="331" y="228"/>
                    </a:lnTo>
                    <a:lnTo>
                      <a:pt x="335" y="228"/>
                    </a:lnTo>
                    <a:lnTo>
                      <a:pt x="341" y="228"/>
                    </a:lnTo>
                    <a:lnTo>
                      <a:pt x="343" y="228"/>
                    </a:lnTo>
                    <a:lnTo>
                      <a:pt x="345" y="228"/>
                    </a:lnTo>
                    <a:lnTo>
                      <a:pt x="348" y="228"/>
                    </a:lnTo>
                    <a:lnTo>
                      <a:pt x="352" y="229"/>
                    </a:lnTo>
                    <a:lnTo>
                      <a:pt x="353" y="229"/>
                    </a:lnTo>
                    <a:lnTo>
                      <a:pt x="355" y="229"/>
                    </a:lnTo>
                    <a:lnTo>
                      <a:pt x="360" y="229"/>
                    </a:lnTo>
                    <a:lnTo>
                      <a:pt x="367" y="229"/>
                    </a:lnTo>
                    <a:lnTo>
                      <a:pt x="369" y="229"/>
                    </a:lnTo>
                    <a:lnTo>
                      <a:pt x="370" y="229"/>
                    </a:lnTo>
                    <a:lnTo>
                      <a:pt x="375" y="229"/>
                    </a:lnTo>
                    <a:lnTo>
                      <a:pt x="379" y="229"/>
                    </a:lnTo>
                    <a:lnTo>
                      <a:pt x="380" y="229"/>
                    </a:lnTo>
                    <a:lnTo>
                      <a:pt x="380" y="228"/>
                    </a:lnTo>
                    <a:lnTo>
                      <a:pt x="382" y="228"/>
                    </a:lnTo>
                    <a:lnTo>
                      <a:pt x="382" y="229"/>
                    </a:lnTo>
                    <a:lnTo>
                      <a:pt x="382" y="231"/>
                    </a:lnTo>
                    <a:lnTo>
                      <a:pt x="382" y="233"/>
                    </a:lnTo>
                    <a:lnTo>
                      <a:pt x="380" y="233"/>
                    </a:lnTo>
                    <a:lnTo>
                      <a:pt x="380" y="234"/>
                    </a:lnTo>
                    <a:lnTo>
                      <a:pt x="382" y="234"/>
                    </a:lnTo>
                    <a:lnTo>
                      <a:pt x="382" y="236"/>
                    </a:lnTo>
                    <a:lnTo>
                      <a:pt x="380" y="238"/>
                    </a:lnTo>
                    <a:lnTo>
                      <a:pt x="379" y="238"/>
                    </a:lnTo>
                    <a:lnTo>
                      <a:pt x="379" y="239"/>
                    </a:lnTo>
                    <a:lnTo>
                      <a:pt x="379" y="241"/>
                    </a:lnTo>
                    <a:lnTo>
                      <a:pt x="377" y="241"/>
                    </a:lnTo>
                    <a:lnTo>
                      <a:pt x="377" y="243"/>
                    </a:lnTo>
                    <a:lnTo>
                      <a:pt x="377" y="245"/>
                    </a:lnTo>
                    <a:lnTo>
                      <a:pt x="377" y="246"/>
                    </a:lnTo>
                    <a:lnTo>
                      <a:pt x="377" y="248"/>
                    </a:lnTo>
                    <a:lnTo>
                      <a:pt x="377" y="250"/>
                    </a:lnTo>
                    <a:lnTo>
                      <a:pt x="377" y="251"/>
                    </a:lnTo>
                    <a:lnTo>
                      <a:pt x="377" y="253"/>
                    </a:lnTo>
                    <a:lnTo>
                      <a:pt x="379" y="253"/>
                    </a:lnTo>
                    <a:lnTo>
                      <a:pt x="379" y="255"/>
                    </a:lnTo>
                    <a:lnTo>
                      <a:pt x="379" y="256"/>
                    </a:lnTo>
                    <a:lnTo>
                      <a:pt x="380" y="256"/>
                    </a:lnTo>
                    <a:lnTo>
                      <a:pt x="380" y="258"/>
                    </a:lnTo>
                    <a:lnTo>
                      <a:pt x="380" y="260"/>
                    </a:lnTo>
                    <a:lnTo>
                      <a:pt x="380" y="262"/>
                    </a:lnTo>
                    <a:lnTo>
                      <a:pt x="382" y="262"/>
                    </a:lnTo>
                    <a:lnTo>
                      <a:pt x="382" y="263"/>
                    </a:lnTo>
                    <a:lnTo>
                      <a:pt x="384" y="263"/>
                    </a:lnTo>
                    <a:lnTo>
                      <a:pt x="384" y="265"/>
                    </a:lnTo>
                    <a:lnTo>
                      <a:pt x="384" y="267"/>
                    </a:lnTo>
                    <a:lnTo>
                      <a:pt x="386" y="267"/>
                    </a:lnTo>
                    <a:lnTo>
                      <a:pt x="387" y="267"/>
                    </a:lnTo>
                    <a:lnTo>
                      <a:pt x="389" y="268"/>
                    </a:lnTo>
                    <a:lnTo>
                      <a:pt x="389" y="270"/>
                    </a:lnTo>
                    <a:lnTo>
                      <a:pt x="391" y="270"/>
                    </a:lnTo>
                    <a:lnTo>
                      <a:pt x="392" y="270"/>
                    </a:lnTo>
                    <a:lnTo>
                      <a:pt x="392" y="272"/>
                    </a:lnTo>
                    <a:lnTo>
                      <a:pt x="394" y="272"/>
                    </a:lnTo>
                    <a:lnTo>
                      <a:pt x="396" y="272"/>
                    </a:lnTo>
                    <a:lnTo>
                      <a:pt x="396" y="270"/>
                    </a:lnTo>
                    <a:lnTo>
                      <a:pt x="397" y="270"/>
                    </a:lnTo>
                    <a:lnTo>
                      <a:pt x="399" y="272"/>
                    </a:lnTo>
                    <a:lnTo>
                      <a:pt x="401" y="273"/>
                    </a:lnTo>
                    <a:lnTo>
                      <a:pt x="403" y="273"/>
                    </a:lnTo>
                    <a:lnTo>
                      <a:pt x="401" y="273"/>
                    </a:lnTo>
                    <a:lnTo>
                      <a:pt x="401" y="275"/>
                    </a:lnTo>
                    <a:lnTo>
                      <a:pt x="401" y="277"/>
                    </a:lnTo>
                    <a:lnTo>
                      <a:pt x="401" y="279"/>
                    </a:lnTo>
                    <a:lnTo>
                      <a:pt x="403" y="279"/>
                    </a:lnTo>
                    <a:lnTo>
                      <a:pt x="403" y="280"/>
                    </a:lnTo>
                    <a:lnTo>
                      <a:pt x="404" y="282"/>
                    </a:lnTo>
                    <a:lnTo>
                      <a:pt x="404" y="284"/>
                    </a:lnTo>
                    <a:lnTo>
                      <a:pt x="403" y="284"/>
                    </a:lnTo>
                    <a:lnTo>
                      <a:pt x="406" y="289"/>
                    </a:lnTo>
                    <a:lnTo>
                      <a:pt x="406" y="290"/>
                    </a:lnTo>
                    <a:lnTo>
                      <a:pt x="408" y="292"/>
                    </a:lnTo>
                    <a:lnTo>
                      <a:pt x="408" y="294"/>
                    </a:lnTo>
                    <a:lnTo>
                      <a:pt x="409" y="296"/>
                    </a:lnTo>
                    <a:lnTo>
                      <a:pt x="411" y="296"/>
                    </a:lnTo>
                    <a:lnTo>
                      <a:pt x="411" y="297"/>
                    </a:lnTo>
                    <a:lnTo>
                      <a:pt x="409" y="297"/>
                    </a:lnTo>
                    <a:lnTo>
                      <a:pt x="408" y="297"/>
                    </a:lnTo>
                    <a:lnTo>
                      <a:pt x="408" y="299"/>
                    </a:lnTo>
                    <a:lnTo>
                      <a:pt x="408" y="301"/>
                    </a:lnTo>
                    <a:lnTo>
                      <a:pt x="406" y="308"/>
                    </a:lnTo>
                    <a:lnTo>
                      <a:pt x="404" y="309"/>
                    </a:lnTo>
                    <a:lnTo>
                      <a:pt x="404" y="313"/>
                    </a:lnTo>
                    <a:lnTo>
                      <a:pt x="403" y="314"/>
                    </a:lnTo>
                    <a:lnTo>
                      <a:pt x="403" y="316"/>
                    </a:lnTo>
                    <a:lnTo>
                      <a:pt x="403" y="318"/>
                    </a:lnTo>
                    <a:lnTo>
                      <a:pt x="401" y="319"/>
                    </a:lnTo>
                    <a:lnTo>
                      <a:pt x="401" y="321"/>
                    </a:lnTo>
                    <a:lnTo>
                      <a:pt x="403" y="321"/>
                    </a:lnTo>
                    <a:lnTo>
                      <a:pt x="403" y="323"/>
                    </a:lnTo>
                    <a:lnTo>
                      <a:pt x="403" y="325"/>
                    </a:lnTo>
                    <a:lnTo>
                      <a:pt x="404" y="325"/>
                    </a:lnTo>
                    <a:lnTo>
                      <a:pt x="403" y="325"/>
                    </a:lnTo>
                    <a:lnTo>
                      <a:pt x="403" y="326"/>
                    </a:lnTo>
                    <a:lnTo>
                      <a:pt x="401" y="326"/>
                    </a:lnTo>
                    <a:lnTo>
                      <a:pt x="399" y="330"/>
                    </a:lnTo>
                    <a:lnTo>
                      <a:pt x="397" y="331"/>
                    </a:lnTo>
                    <a:lnTo>
                      <a:pt x="397" y="333"/>
                    </a:lnTo>
                    <a:lnTo>
                      <a:pt x="397" y="335"/>
                    </a:lnTo>
                    <a:lnTo>
                      <a:pt x="394" y="342"/>
                    </a:lnTo>
                    <a:lnTo>
                      <a:pt x="391" y="348"/>
                    </a:lnTo>
                    <a:lnTo>
                      <a:pt x="389" y="352"/>
                    </a:lnTo>
                    <a:lnTo>
                      <a:pt x="394" y="355"/>
                    </a:lnTo>
                    <a:lnTo>
                      <a:pt x="397" y="359"/>
                    </a:lnTo>
                    <a:lnTo>
                      <a:pt x="397" y="360"/>
                    </a:lnTo>
                    <a:lnTo>
                      <a:pt x="397" y="362"/>
                    </a:lnTo>
                    <a:lnTo>
                      <a:pt x="396" y="362"/>
                    </a:lnTo>
                    <a:lnTo>
                      <a:pt x="394" y="362"/>
                    </a:lnTo>
                    <a:lnTo>
                      <a:pt x="392" y="362"/>
                    </a:lnTo>
                    <a:lnTo>
                      <a:pt x="392" y="364"/>
                    </a:lnTo>
                    <a:lnTo>
                      <a:pt x="391" y="364"/>
                    </a:lnTo>
                    <a:lnTo>
                      <a:pt x="391" y="365"/>
                    </a:lnTo>
                    <a:lnTo>
                      <a:pt x="389" y="365"/>
                    </a:lnTo>
                    <a:lnTo>
                      <a:pt x="387" y="36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8" name="Freeform 17">
                <a:extLst>
                  <a:ext uri="{FF2B5EF4-FFF2-40B4-BE49-F238E27FC236}">
                    <a16:creationId xmlns:a16="http://schemas.microsoft.com/office/drawing/2014/main" id="{F891C738-8B7F-A920-D907-FF661EB76FF3}"/>
                  </a:ext>
                </a:extLst>
              </p:cNvPr>
              <p:cNvSpPr>
                <a:spLocks noEditPoints="1"/>
              </p:cNvSpPr>
              <p:nvPr/>
            </p:nvSpPr>
            <p:spPr bwMode="auto">
              <a:xfrm>
                <a:off x="5700022" y="2769132"/>
                <a:ext cx="54044" cy="57276"/>
              </a:xfrm>
              <a:custGeom>
                <a:avLst/>
                <a:gdLst>
                  <a:gd name="T0" fmla="*/ 2 w 184"/>
                  <a:gd name="T1" fmla="*/ 187 h 195"/>
                  <a:gd name="T2" fmla="*/ 4 w 184"/>
                  <a:gd name="T3" fmla="*/ 187 h 195"/>
                  <a:gd name="T4" fmla="*/ 4 w 184"/>
                  <a:gd name="T5" fmla="*/ 189 h 195"/>
                  <a:gd name="T6" fmla="*/ 5 w 184"/>
                  <a:gd name="T7" fmla="*/ 189 h 195"/>
                  <a:gd name="T8" fmla="*/ 7 w 184"/>
                  <a:gd name="T9" fmla="*/ 189 h 195"/>
                  <a:gd name="T10" fmla="*/ 7 w 184"/>
                  <a:gd name="T11" fmla="*/ 190 h 195"/>
                  <a:gd name="T12" fmla="*/ 7 w 184"/>
                  <a:gd name="T13" fmla="*/ 192 h 195"/>
                  <a:gd name="T14" fmla="*/ 7 w 184"/>
                  <a:gd name="T15" fmla="*/ 194 h 195"/>
                  <a:gd name="T16" fmla="*/ 5 w 184"/>
                  <a:gd name="T17" fmla="*/ 192 h 195"/>
                  <a:gd name="T18" fmla="*/ 5 w 184"/>
                  <a:gd name="T19" fmla="*/ 194 h 195"/>
                  <a:gd name="T20" fmla="*/ 7 w 184"/>
                  <a:gd name="T21" fmla="*/ 195 h 195"/>
                  <a:gd name="T22" fmla="*/ 5 w 184"/>
                  <a:gd name="T23" fmla="*/ 195 h 195"/>
                  <a:gd name="T24" fmla="*/ 4 w 184"/>
                  <a:gd name="T25" fmla="*/ 195 h 195"/>
                  <a:gd name="T26" fmla="*/ 4 w 184"/>
                  <a:gd name="T27" fmla="*/ 194 h 195"/>
                  <a:gd name="T28" fmla="*/ 4 w 184"/>
                  <a:gd name="T29" fmla="*/ 192 h 195"/>
                  <a:gd name="T30" fmla="*/ 5 w 184"/>
                  <a:gd name="T31" fmla="*/ 192 h 195"/>
                  <a:gd name="T32" fmla="*/ 4 w 184"/>
                  <a:gd name="T33" fmla="*/ 192 h 195"/>
                  <a:gd name="T34" fmla="*/ 4 w 184"/>
                  <a:gd name="T35" fmla="*/ 190 h 195"/>
                  <a:gd name="T36" fmla="*/ 4 w 184"/>
                  <a:gd name="T37" fmla="*/ 189 h 195"/>
                  <a:gd name="T38" fmla="*/ 2 w 184"/>
                  <a:gd name="T39" fmla="*/ 189 h 195"/>
                  <a:gd name="T40" fmla="*/ 0 w 184"/>
                  <a:gd name="T41" fmla="*/ 189 h 195"/>
                  <a:gd name="T42" fmla="*/ 0 w 184"/>
                  <a:gd name="T43" fmla="*/ 187 h 195"/>
                  <a:gd name="T44" fmla="*/ 0 w 184"/>
                  <a:gd name="T45" fmla="*/ 185 h 195"/>
                  <a:gd name="T46" fmla="*/ 2 w 184"/>
                  <a:gd name="T47" fmla="*/ 187 h 195"/>
                  <a:gd name="T48" fmla="*/ 182 w 184"/>
                  <a:gd name="T49" fmla="*/ 3 h 195"/>
                  <a:gd name="T50" fmla="*/ 184 w 184"/>
                  <a:gd name="T51" fmla="*/ 3 h 195"/>
                  <a:gd name="T52" fmla="*/ 184 w 184"/>
                  <a:gd name="T53" fmla="*/ 5 h 195"/>
                  <a:gd name="T54" fmla="*/ 182 w 184"/>
                  <a:gd name="T55" fmla="*/ 5 h 195"/>
                  <a:gd name="T56" fmla="*/ 182 w 184"/>
                  <a:gd name="T57" fmla="*/ 3 h 195"/>
                  <a:gd name="T58" fmla="*/ 174 w 184"/>
                  <a:gd name="T59" fmla="*/ 0 h 195"/>
                  <a:gd name="T60" fmla="*/ 175 w 184"/>
                  <a:gd name="T61" fmla="*/ 0 h 195"/>
                  <a:gd name="T62" fmla="*/ 174 w 184"/>
                  <a:gd name="T63" fmla="*/ 0 h 195"/>
                  <a:gd name="T64" fmla="*/ 2 w 184"/>
                  <a:gd name="T65" fmla="*/ 190 h 195"/>
                  <a:gd name="T66" fmla="*/ 4 w 184"/>
                  <a:gd name="T67" fmla="*/ 190 h 195"/>
                  <a:gd name="T68" fmla="*/ 4 w 184"/>
                  <a:gd name="T69" fmla="*/ 192 h 195"/>
                  <a:gd name="T70" fmla="*/ 2 w 184"/>
                  <a:gd name="T71" fmla="*/ 192 h 195"/>
                  <a:gd name="T72" fmla="*/ 2 w 184"/>
                  <a:gd name="T73" fmla="*/ 19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4" h="195">
                    <a:moveTo>
                      <a:pt x="2" y="187"/>
                    </a:moveTo>
                    <a:lnTo>
                      <a:pt x="4" y="187"/>
                    </a:lnTo>
                    <a:lnTo>
                      <a:pt x="4" y="189"/>
                    </a:lnTo>
                    <a:lnTo>
                      <a:pt x="5" y="189"/>
                    </a:lnTo>
                    <a:lnTo>
                      <a:pt x="7" y="189"/>
                    </a:lnTo>
                    <a:lnTo>
                      <a:pt x="7" y="190"/>
                    </a:lnTo>
                    <a:lnTo>
                      <a:pt x="7" y="192"/>
                    </a:lnTo>
                    <a:lnTo>
                      <a:pt x="7" y="194"/>
                    </a:lnTo>
                    <a:lnTo>
                      <a:pt x="5" y="192"/>
                    </a:lnTo>
                    <a:lnTo>
                      <a:pt x="5" y="194"/>
                    </a:lnTo>
                    <a:lnTo>
                      <a:pt x="7" y="195"/>
                    </a:lnTo>
                    <a:lnTo>
                      <a:pt x="5" y="195"/>
                    </a:lnTo>
                    <a:lnTo>
                      <a:pt x="4" y="195"/>
                    </a:lnTo>
                    <a:lnTo>
                      <a:pt x="4" y="194"/>
                    </a:lnTo>
                    <a:lnTo>
                      <a:pt x="4" y="192"/>
                    </a:lnTo>
                    <a:lnTo>
                      <a:pt x="5" y="192"/>
                    </a:lnTo>
                    <a:lnTo>
                      <a:pt x="4" y="192"/>
                    </a:lnTo>
                    <a:lnTo>
                      <a:pt x="4" y="190"/>
                    </a:lnTo>
                    <a:lnTo>
                      <a:pt x="4" y="189"/>
                    </a:lnTo>
                    <a:lnTo>
                      <a:pt x="2" y="189"/>
                    </a:lnTo>
                    <a:lnTo>
                      <a:pt x="0" y="189"/>
                    </a:lnTo>
                    <a:lnTo>
                      <a:pt x="0" y="187"/>
                    </a:lnTo>
                    <a:lnTo>
                      <a:pt x="0" y="185"/>
                    </a:lnTo>
                    <a:lnTo>
                      <a:pt x="2" y="187"/>
                    </a:lnTo>
                    <a:close/>
                    <a:moveTo>
                      <a:pt x="182" y="3"/>
                    </a:moveTo>
                    <a:lnTo>
                      <a:pt x="184" y="3"/>
                    </a:lnTo>
                    <a:lnTo>
                      <a:pt x="184" y="5"/>
                    </a:lnTo>
                    <a:lnTo>
                      <a:pt x="182" y="5"/>
                    </a:lnTo>
                    <a:lnTo>
                      <a:pt x="182" y="3"/>
                    </a:lnTo>
                    <a:close/>
                    <a:moveTo>
                      <a:pt x="174" y="0"/>
                    </a:moveTo>
                    <a:lnTo>
                      <a:pt x="175" y="0"/>
                    </a:lnTo>
                    <a:lnTo>
                      <a:pt x="174" y="0"/>
                    </a:lnTo>
                    <a:close/>
                    <a:moveTo>
                      <a:pt x="2" y="190"/>
                    </a:moveTo>
                    <a:lnTo>
                      <a:pt x="4" y="190"/>
                    </a:lnTo>
                    <a:lnTo>
                      <a:pt x="4" y="192"/>
                    </a:lnTo>
                    <a:lnTo>
                      <a:pt x="2" y="192"/>
                    </a:lnTo>
                    <a:lnTo>
                      <a:pt x="2" y="19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9" name="Freeform 18">
                <a:extLst>
                  <a:ext uri="{FF2B5EF4-FFF2-40B4-BE49-F238E27FC236}">
                    <a16:creationId xmlns:a16="http://schemas.microsoft.com/office/drawing/2014/main" id="{4E88C0F6-0275-140C-B363-E9B295EBEBA7}"/>
                  </a:ext>
                </a:extLst>
              </p:cNvPr>
              <p:cNvSpPr>
                <a:spLocks noEditPoints="1"/>
              </p:cNvSpPr>
              <p:nvPr/>
            </p:nvSpPr>
            <p:spPr bwMode="auto">
              <a:xfrm>
                <a:off x="5644513" y="2894550"/>
                <a:ext cx="442927" cy="407976"/>
              </a:xfrm>
              <a:custGeom>
                <a:avLst/>
                <a:gdLst>
                  <a:gd name="T0" fmla="*/ 84 w 1508"/>
                  <a:gd name="T1" fmla="*/ 517 h 1389"/>
                  <a:gd name="T2" fmla="*/ 6 w 1508"/>
                  <a:gd name="T3" fmla="*/ 437 h 1389"/>
                  <a:gd name="T4" fmla="*/ 45 w 1508"/>
                  <a:gd name="T5" fmla="*/ 348 h 1389"/>
                  <a:gd name="T6" fmla="*/ 119 w 1508"/>
                  <a:gd name="T7" fmla="*/ 318 h 1389"/>
                  <a:gd name="T8" fmla="*/ 138 w 1508"/>
                  <a:gd name="T9" fmla="*/ 158 h 1389"/>
                  <a:gd name="T10" fmla="*/ 194 w 1508"/>
                  <a:gd name="T11" fmla="*/ 117 h 1389"/>
                  <a:gd name="T12" fmla="*/ 286 w 1508"/>
                  <a:gd name="T13" fmla="*/ 144 h 1389"/>
                  <a:gd name="T14" fmla="*/ 349 w 1508"/>
                  <a:gd name="T15" fmla="*/ 109 h 1389"/>
                  <a:gd name="T16" fmla="*/ 323 w 1508"/>
                  <a:gd name="T17" fmla="*/ 39 h 1389"/>
                  <a:gd name="T18" fmla="*/ 395 w 1508"/>
                  <a:gd name="T19" fmla="*/ 39 h 1389"/>
                  <a:gd name="T20" fmla="*/ 473 w 1508"/>
                  <a:gd name="T21" fmla="*/ 10 h 1389"/>
                  <a:gd name="T22" fmla="*/ 475 w 1508"/>
                  <a:gd name="T23" fmla="*/ 93 h 1389"/>
                  <a:gd name="T24" fmla="*/ 539 w 1508"/>
                  <a:gd name="T25" fmla="*/ 126 h 1389"/>
                  <a:gd name="T26" fmla="*/ 609 w 1508"/>
                  <a:gd name="T27" fmla="*/ 93 h 1389"/>
                  <a:gd name="T28" fmla="*/ 708 w 1508"/>
                  <a:gd name="T29" fmla="*/ 103 h 1389"/>
                  <a:gd name="T30" fmla="*/ 764 w 1508"/>
                  <a:gd name="T31" fmla="*/ 30 h 1389"/>
                  <a:gd name="T32" fmla="*/ 813 w 1508"/>
                  <a:gd name="T33" fmla="*/ 120 h 1389"/>
                  <a:gd name="T34" fmla="*/ 786 w 1508"/>
                  <a:gd name="T35" fmla="*/ 183 h 1389"/>
                  <a:gd name="T36" fmla="*/ 854 w 1508"/>
                  <a:gd name="T37" fmla="*/ 187 h 1389"/>
                  <a:gd name="T38" fmla="*/ 861 w 1508"/>
                  <a:gd name="T39" fmla="*/ 223 h 1389"/>
                  <a:gd name="T40" fmla="*/ 896 w 1508"/>
                  <a:gd name="T41" fmla="*/ 199 h 1389"/>
                  <a:gd name="T42" fmla="*/ 924 w 1508"/>
                  <a:gd name="T43" fmla="*/ 211 h 1389"/>
                  <a:gd name="T44" fmla="*/ 949 w 1508"/>
                  <a:gd name="T45" fmla="*/ 219 h 1389"/>
                  <a:gd name="T46" fmla="*/ 969 w 1508"/>
                  <a:gd name="T47" fmla="*/ 234 h 1389"/>
                  <a:gd name="T48" fmla="*/ 988 w 1508"/>
                  <a:gd name="T49" fmla="*/ 258 h 1389"/>
                  <a:gd name="T50" fmla="*/ 1012 w 1508"/>
                  <a:gd name="T51" fmla="*/ 263 h 1389"/>
                  <a:gd name="T52" fmla="*/ 1049 w 1508"/>
                  <a:gd name="T53" fmla="*/ 262 h 1389"/>
                  <a:gd name="T54" fmla="*/ 1153 w 1508"/>
                  <a:gd name="T55" fmla="*/ 275 h 1389"/>
                  <a:gd name="T56" fmla="*/ 1264 w 1508"/>
                  <a:gd name="T57" fmla="*/ 350 h 1389"/>
                  <a:gd name="T58" fmla="*/ 1323 w 1508"/>
                  <a:gd name="T59" fmla="*/ 437 h 1389"/>
                  <a:gd name="T60" fmla="*/ 1258 w 1508"/>
                  <a:gd name="T61" fmla="*/ 539 h 1389"/>
                  <a:gd name="T62" fmla="*/ 1192 w 1508"/>
                  <a:gd name="T63" fmla="*/ 607 h 1389"/>
                  <a:gd name="T64" fmla="*/ 1180 w 1508"/>
                  <a:gd name="T65" fmla="*/ 672 h 1389"/>
                  <a:gd name="T66" fmla="*/ 1163 w 1508"/>
                  <a:gd name="T67" fmla="*/ 797 h 1389"/>
                  <a:gd name="T68" fmla="*/ 1117 w 1508"/>
                  <a:gd name="T69" fmla="*/ 908 h 1389"/>
                  <a:gd name="T70" fmla="*/ 1044 w 1508"/>
                  <a:gd name="T71" fmla="*/ 976 h 1389"/>
                  <a:gd name="T72" fmla="*/ 1002 w 1508"/>
                  <a:gd name="T73" fmla="*/ 974 h 1389"/>
                  <a:gd name="T74" fmla="*/ 949 w 1508"/>
                  <a:gd name="T75" fmla="*/ 1005 h 1389"/>
                  <a:gd name="T76" fmla="*/ 859 w 1508"/>
                  <a:gd name="T77" fmla="*/ 1085 h 1389"/>
                  <a:gd name="T78" fmla="*/ 856 w 1508"/>
                  <a:gd name="T79" fmla="*/ 1170 h 1389"/>
                  <a:gd name="T80" fmla="*/ 743 w 1508"/>
                  <a:gd name="T81" fmla="*/ 1320 h 1389"/>
                  <a:gd name="T82" fmla="*/ 687 w 1508"/>
                  <a:gd name="T83" fmla="*/ 1332 h 1389"/>
                  <a:gd name="T84" fmla="*/ 607 w 1508"/>
                  <a:gd name="T85" fmla="*/ 1272 h 1389"/>
                  <a:gd name="T86" fmla="*/ 585 w 1508"/>
                  <a:gd name="T87" fmla="*/ 1213 h 1389"/>
                  <a:gd name="T88" fmla="*/ 653 w 1508"/>
                  <a:gd name="T89" fmla="*/ 1146 h 1389"/>
                  <a:gd name="T90" fmla="*/ 680 w 1508"/>
                  <a:gd name="T91" fmla="*/ 1078 h 1389"/>
                  <a:gd name="T92" fmla="*/ 650 w 1508"/>
                  <a:gd name="T93" fmla="*/ 1008 h 1389"/>
                  <a:gd name="T94" fmla="*/ 594 w 1508"/>
                  <a:gd name="T95" fmla="*/ 944 h 1389"/>
                  <a:gd name="T96" fmla="*/ 546 w 1508"/>
                  <a:gd name="T97" fmla="*/ 905 h 1389"/>
                  <a:gd name="T98" fmla="*/ 543 w 1508"/>
                  <a:gd name="T99" fmla="*/ 779 h 1389"/>
                  <a:gd name="T100" fmla="*/ 456 w 1508"/>
                  <a:gd name="T101" fmla="*/ 663 h 1389"/>
                  <a:gd name="T102" fmla="*/ 391 w 1508"/>
                  <a:gd name="T103" fmla="*/ 624 h 1389"/>
                  <a:gd name="T104" fmla="*/ 312 w 1508"/>
                  <a:gd name="T105" fmla="*/ 588 h 1389"/>
                  <a:gd name="T106" fmla="*/ 281 w 1508"/>
                  <a:gd name="T107" fmla="*/ 510 h 1389"/>
                  <a:gd name="T108" fmla="*/ 203 w 1508"/>
                  <a:gd name="T109" fmla="*/ 539 h 1389"/>
                  <a:gd name="T110" fmla="*/ 930 w 1508"/>
                  <a:gd name="T111" fmla="*/ 209 h 1389"/>
                  <a:gd name="T112" fmla="*/ 781 w 1508"/>
                  <a:gd name="T113" fmla="*/ 177 h 1389"/>
                  <a:gd name="T114" fmla="*/ 818 w 1508"/>
                  <a:gd name="T115" fmla="*/ 173 h 1389"/>
                  <a:gd name="T116" fmla="*/ 793 w 1508"/>
                  <a:gd name="T117" fmla="*/ 168 h 1389"/>
                  <a:gd name="T118" fmla="*/ 990 w 1508"/>
                  <a:gd name="T119" fmla="*/ 285 h 1389"/>
                  <a:gd name="T120" fmla="*/ 986 w 1508"/>
                  <a:gd name="T121" fmla="*/ 228 h 1389"/>
                  <a:gd name="T122" fmla="*/ 1189 w 1508"/>
                  <a:gd name="T123" fmla="*/ 621 h 1389"/>
                  <a:gd name="T124" fmla="*/ 973 w 1508"/>
                  <a:gd name="T125" fmla="*/ 1007 h 1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08" h="1389">
                    <a:moveTo>
                      <a:pt x="150" y="549"/>
                    </a:moveTo>
                    <a:lnTo>
                      <a:pt x="148" y="549"/>
                    </a:lnTo>
                    <a:lnTo>
                      <a:pt x="148" y="551"/>
                    </a:lnTo>
                    <a:lnTo>
                      <a:pt x="148" y="549"/>
                    </a:lnTo>
                    <a:lnTo>
                      <a:pt x="148" y="551"/>
                    </a:lnTo>
                    <a:lnTo>
                      <a:pt x="147" y="551"/>
                    </a:lnTo>
                    <a:lnTo>
                      <a:pt x="145" y="551"/>
                    </a:lnTo>
                    <a:lnTo>
                      <a:pt x="143" y="551"/>
                    </a:lnTo>
                    <a:lnTo>
                      <a:pt x="143" y="549"/>
                    </a:lnTo>
                    <a:lnTo>
                      <a:pt x="142" y="549"/>
                    </a:lnTo>
                    <a:lnTo>
                      <a:pt x="140" y="549"/>
                    </a:lnTo>
                    <a:lnTo>
                      <a:pt x="138" y="549"/>
                    </a:lnTo>
                    <a:lnTo>
                      <a:pt x="136" y="549"/>
                    </a:lnTo>
                    <a:lnTo>
                      <a:pt x="136" y="551"/>
                    </a:lnTo>
                    <a:lnTo>
                      <a:pt x="135" y="549"/>
                    </a:lnTo>
                    <a:lnTo>
                      <a:pt x="135" y="551"/>
                    </a:lnTo>
                    <a:lnTo>
                      <a:pt x="133" y="551"/>
                    </a:lnTo>
                    <a:lnTo>
                      <a:pt x="131" y="551"/>
                    </a:lnTo>
                    <a:lnTo>
                      <a:pt x="131" y="553"/>
                    </a:lnTo>
                    <a:lnTo>
                      <a:pt x="130" y="553"/>
                    </a:lnTo>
                    <a:lnTo>
                      <a:pt x="128" y="554"/>
                    </a:lnTo>
                    <a:lnTo>
                      <a:pt x="128" y="553"/>
                    </a:lnTo>
                    <a:lnTo>
                      <a:pt x="128" y="554"/>
                    </a:lnTo>
                    <a:lnTo>
                      <a:pt x="126" y="553"/>
                    </a:lnTo>
                    <a:lnTo>
                      <a:pt x="126" y="554"/>
                    </a:lnTo>
                    <a:lnTo>
                      <a:pt x="125" y="554"/>
                    </a:lnTo>
                    <a:lnTo>
                      <a:pt x="123" y="554"/>
                    </a:lnTo>
                    <a:lnTo>
                      <a:pt x="123" y="553"/>
                    </a:lnTo>
                    <a:lnTo>
                      <a:pt x="121" y="553"/>
                    </a:lnTo>
                    <a:lnTo>
                      <a:pt x="119" y="551"/>
                    </a:lnTo>
                    <a:lnTo>
                      <a:pt x="118" y="549"/>
                    </a:lnTo>
                    <a:lnTo>
                      <a:pt x="114" y="551"/>
                    </a:lnTo>
                    <a:lnTo>
                      <a:pt x="114" y="542"/>
                    </a:lnTo>
                    <a:lnTo>
                      <a:pt x="114" y="539"/>
                    </a:lnTo>
                    <a:lnTo>
                      <a:pt x="114" y="537"/>
                    </a:lnTo>
                    <a:lnTo>
                      <a:pt x="114" y="534"/>
                    </a:lnTo>
                    <a:lnTo>
                      <a:pt x="114" y="532"/>
                    </a:lnTo>
                    <a:lnTo>
                      <a:pt x="114" y="530"/>
                    </a:lnTo>
                    <a:lnTo>
                      <a:pt x="114" y="529"/>
                    </a:lnTo>
                    <a:lnTo>
                      <a:pt x="114" y="525"/>
                    </a:lnTo>
                    <a:lnTo>
                      <a:pt x="114" y="524"/>
                    </a:lnTo>
                    <a:lnTo>
                      <a:pt x="114" y="522"/>
                    </a:lnTo>
                    <a:lnTo>
                      <a:pt x="114" y="520"/>
                    </a:lnTo>
                    <a:lnTo>
                      <a:pt x="114" y="519"/>
                    </a:lnTo>
                    <a:lnTo>
                      <a:pt x="114" y="517"/>
                    </a:lnTo>
                    <a:lnTo>
                      <a:pt x="114" y="513"/>
                    </a:lnTo>
                    <a:lnTo>
                      <a:pt x="114" y="512"/>
                    </a:lnTo>
                    <a:lnTo>
                      <a:pt x="114" y="510"/>
                    </a:lnTo>
                    <a:lnTo>
                      <a:pt x="116" y="510"/>
                    </a:lnTo>
                    <a:lnTo>
                      <a:pt x="118" y="510"/>
                    </a:lnTo>
                    <a:lnTo>
                      <a:pt x="118" y="508"/>
                    </a:lnTo>
                    <a:lnTo>
                      <a:pt x="118" y="507"/>
                    </a:lnTo>
                    <a:lnTo>
                      <a:pt x="116" y="507"/>
                    </a:lnTo>
                    <a:lnTo>
                      <a:pt x="116" y="505"/>
                    </a:lnTo>
                    <a:lnTo>
                      <a:pt x="114" y="503"/>
                    </a:lnTo>
                    <a:lnTo>
                      <a:pt x="116" y="503"/>
                    </a:lnTo>
                    <a:lnTo>
                      <a:pt x="114" y="502"/>
                    </a:lnTo>
                    <a:lnTo>
                      <a:pt x="116" y="502"/>
                    </a:lnTo>
                    <a:lnTo>
                      <a:pt x="116" y="503"/>
                    </a:lnTo>
                    <a:lnTo>
                      <a:pt x="116" y="502"/>
                    </a:lnTo>
                    <a:lnTo>
                      <a:pt x="116" y="503"/>
                    </a:lnTo>
                    <a:lnTo>
                      <a:pt x="116" y="502"/>
                    </a:lnTo>
                    <a:lnTo>
                      <a:pt x="118" y="502"/>
                    </a:lnTo>
                    <a:lnTo>
                      <a:pt x="116" y="502"/>
                    </a:lnTo>
                    <a:lnTo>
                      <a:pt x="118" y="502"/>
                    </a:lnTo>
                    <a:lnTo>
                      <a:pt x="118" y="500"/>
                    </a:lnTo>
                    <a:lnTo>
                      <a:pt x="118" y="498"/>
                    </a:lnTo>
                    <a:lnTo>
                      <a:pt x="116" y="498"/>
                    </a:lnTo>
                    <a:lnTo>
                      <a:pt x="114" y="498"/>
                    </a:lnTo>
                    <a:lnTo>
                      <a:pt x="114" y="500"/>
                    </a:lnTo>
                    <a:lnTo>
                      <a:pt x="113" y="500"/>
                    </a:lnTo>
                    <a:lnTo>
                      <a:pt x="113" y="502"/>
                    </a:lnTo>
                    <a:lnTo>
                      <a:pt x="111" y="502"/>
                    </a:lnTo>
                    <a:lnTo>
                      <a:pt x="111" y="503"/>
                    </a:lnTo>
                    <a:lnTo>
                      <a:pt x="109" y="502"/>
                    </a:lnTo>
                    <a:lnTo>
                      <a:pt x="109" y="503"/>
                    </a:lnTo>
                    <a:lnTo>
                      <a:pt x="109" y="505"/>
                    </a:lnTo>
                    <a:lnTo>
                      <a:pt x="108" y="505"/>
                    </a:lnTo>
                    <a:lnTo>
                      <a:pt x="106" y="505"/>
                    </a:lnTo>
                    <a:lnTo>
                      <a:pt x="106" y="507"/>
                    </a:lnTo>
                    <a:lnTo>
                      <a:pt x="104" y="508"/>
                    </a:lnTo>
                    <a:lnTo>
                      <a:pt x="102" y="508"/>
                    </a:lnTo>
                    <a:lnTo>
                      <a:pt x="102" y="510"/>
                    </a:lnTo>
                    <a:lnTo>
                      <a:pt x="102" y="512"/>
                    </a:lnTo>
                    <a:lnTo>
                      <a:pt x="101" y="512"/>
                    </a:lnTo>
                    <a:lnTo>
                      <a:pt x="99" y="512"/>
                    </a:lnTo>
                    <a:lnTo>
                      <a:pt x="97" y="512"/>
                    </a:lnTo>
                    <a:lnTo>
                      <a:pt x="97" y="513"/>
                    </a:lnTo>
                    <a:lnTo>
                      <a:pt x="96" y="513"/>
                    </a:lnTo>
                    <a:lnTo>
                      <a:pt x="96" y="515"/>
                    </a:lnTo>
                    <a:lnTo>
                      <a:pt x="94" y="515"/>
                    </a:lnTo>
                    <a:lnTo>
                      <a:pt x="94" y="517"/>
                    </a:lnTo>
                    <a:lnTo>
                      <a:pt x="92" y="517"/>
                    </a:lnTo>
                    <a:lnTo>
                      <a:pt x="91" y="517"/>
                    </a:lnTo>
                    <a:lnTo>
                      <a:pt x="89" y="517"/>
                    </a:lnTo>
                    <a:lnTo>
                      <a:pt x="85" y="517"/>
                    </a:lnTo>
                    <a:lnTo>
                      <a:pt x="84" y="517"/>
                    </a:lnTo>
                    <a:lnTo>
                      <a:pt x="80" y="517"/>
                    </a:lnTo>
                    <a:lnTo>
                      <a:pt x="77" y="517"/>
                    </a:lnTo>
                    <a:lnTo>
                      <a:pt x="74" y="517"/>
                    </a:lnTo>
                    <a:lnTo>
                      <a:pt x="70" y="517"/>
                    </a:lnTo>
                    <a:lnTo>
                      <a:pt x="67" y="517"/>
                    </a:lnTo>
                    <a:lnTo>
                      <a:pt x="62" y="517"/>
                    </a:lnTo>
                    <a:lnTo>
                      <a:pt x="63" y="517"/>
                    </a:lnTo>
                    <a:lnTo>
                      <a:pt x="62" y="515"/>
                    </a:lnTo>
                    <a:lnTo>
                      <a:pt x="62" y="513"/>
                    </a:lnTo>
                    <a:lnTo>
                      <a:pt x="63" y="513"/>
                    </a:lnTo>
                    <a:lnTo>
                      <a:pt x="62" y="512"/>
                    </a:lnTo>
                    <a:lnTo>
                      <a:pt x="63" y="512"/>
                    </a:lnTo>
                    <a:lnTo>
                      <a:pt x="62" y="512"/>
                    </a:lnTo>
                    <a:lnTo>
                      <a:pt x="63" y="510"/>
                    </a:lnTo>
                    <a:lnTo>
                      <a:pt x="62" y="510"/>
                    </a:lnTo>
                    <a:lnTo>
                      <a:pt x="60" y="510"/>
                    </a:lnTo>
                    <a:lnTo>
                      <a:pt x="60" y="508"/>
                    </a:lnTo>
                    <a:lnTo>
                      <a:pt x="58" y="508"/>
                    </a:lnTo>
                    <a:lnTo>
                      <a:pt x="60" y="508"/>
                    </a:lnTo>
                    <a:lnTo>
                      <a:pt x="58" y="507"/>
                    </a:lnTo>
                    <a:lnTo>
                      <a:pt x="60" y="507"/>
                    </a:lnTo>
                    <a:lnTo>
                      <a:pt x="60" y="505"/>
                    </a:lnTo>
                    <a:lnTo>
                      <a:pt x="58" y="505"/>
                    </a:lnTo>
                    <a:lnTo>
                      <a:pt x="60" y="505"/>
                    </a:lnTo>
                    <a:lnTo>
                      <a:pt x="58" y="505"/>
                    </a:lnTo>
                    <a:lnTo>
                      <a:pt x="58" y="503"/>
                    </a:lnTo>
                    <a:lnTo>
                      <a:pt x="58" y="502"/>
                    </a:lnTo>
                    <a:lnTo>
                      <a:pt x="57" y="502"/>
                    </a:lnTo>
                    <a:lnTo>
                      <a:pt x="57" y="500"/>
                    </a:lnTo>
                    <a:lnTo>
                      <a:pt x="55" y="500"/>
                    </a:lnTo>
                    <a:lnTo>
                      <a:pt x="53" y="500"/>
                    </a:lnTo>
                    <a:lnTo>
                      <a:pt x="51" y="500"/>
                    </a:lnTo>
                    <a:lnTo>
                      <a:pt x="50" y="500"/>
                    </a:lnTo>
                    <a:lnTo>
                      <a:pt x="48" y="500"/>
                    </a:lnTo>
                    <a:lnTo>
                      <a:pt x="48" y="498"/>
                    </a:lnTo>
                    <a:lnTo>
                      <a:pt x="46" y="498"/>
                    </a:lnTo>
                    <a:lnTo>
                      <a:pt x="45" y="498"/>
                    </a:lnTo>
                    <a:lnTo>
                      <a:pt x="43" y="498"/>
                    </a:lnTo>
                    <a:lnTo>
                      <a:pt x="43" y="496"/>
                    </a:lnTo>
                    <a:lnTo>
                      <a:pt x="36" y="496"/>
                    </a:lnTo>
                    <a:lnTo>
                      <a:pt x="28" y="496"/>
                    </a:lnTo>
                    <a:lnTo>
                      <a:pt x="28" y="495"/>
                    </a:lnTo>
                    <a:lnTo>
                      <a:pt x="29" y="495"/>
                    </a:lnTo>
                    <a:lnTo>
                      <a:pt x="31" y="493"/>
                    </a:lnTo>
                    <a:lnTo>
                      <a:pt x="31" y="491"/>
                    </a:lnTo>
                    <a:lnTo>
                      <a:pt x="33" y="491"/>
                    </a:lnTo>
                    <a:lnTo>
                      <a:pt x="34" y="490"/>
                    </a:lnTo>
                    <a:lnTo>
                      <a:pt x="33" y="490"/>
                    </a:lnTo>
                    <a:lnTo>
                      <a:pt x="34" y="488"/>
                    </a:lnTo>
                    <a:lnTo>
                      <a:pt x="36" y="488"/>
                    </a:lnTo>
                    <a:lnTo>
                      <a:pt x="36" y="486"/>
                    </a:lnTo>
                    <a:lnTo>
                      <a:pt x="36" y="485"/>
                    </a:lnTo>
                    <a:lnTo>
                      <a:pt x="36" y="483"/>
                    </a:lnTo>
                    <a:lnTo>
                      <a:pt x="34" y="483"/>
                    </a:lnTo>
                    <a:lnTo>
                      <a:pt x="34" y="481"/>
                    </a:lnTo>
                    <a:lnTo>
                      <a:pt x="33" y="479"/>
                    </a:lnTo>
                    <a:lnTo>
                      <a:pt x="31" y="478"/>
                    </a:lnTo>
                    <a:lnTo>
                      <a:pt x="29" y="476"/>
                    </a:lnTo>
                    <a:lnTo>
                      <a:pt x="29" y="474"/>
                    </a:lnTo>
                    <a:lnTo>
                      <a:pt x="29" y="473"/>
                    </a:lnTo>
                    <a:lnTo>
                      <a:pt x="28" y="473"/>
                    </a:lnTo>
                    <a:lnTo>
                      <a:pt x="26" y="473"/>
                    </a:lnTo>
                    <a:lnTo>
                      <a:pt x="24" y="473"/>
                    </a:lnTo>
                    <a:lnTo>
                      <a:pt x="24" y="471"/>
                    </a:lnTo>
                    <a:lnTo>
                      <a:pt x="23" y="471"/>
                    </a:lnTo>
                    <a:lnTo>
                      <a:pt x="23" y="469"/>
                    </a:lnTo>
                    <a:lnTo>
                      <a:pt x="23" y="467"/>
                    </a:lnTo>
                    <a:lnTo>
                      <a:pt x="23" y="466"/>
                    </a:lnTo>
                    <a:lnTo>
                      <a:pt x="21" y="466"/>
                    </a:lnTo>
                    <a:lnTo>
                      <a:pt x="21" y="464"/>
                    </a:lnTo>
                    <a:lnTo>
                      <a:pt x="21" y="462"/>
                    </a:lnTo>
                    <a:lnTo>
                      <a:pt x="19" y="462"/>
                    </a:lnTo>
                    <a:lnTo>
                      <a:pt x="17" y="462"/>
                    </a:lnTo>
                    <a:lnTo>
                      <a:pt x="16" y="461"/>
                    </a:lnTo>
                    <a:lnTo>
                      <a:pt x="16" y="459"/>
                    </a:lnTo>
                    <a:lnTo>
                      <a:pt x="16" y="457"/>
                    </a:lnTo>
                    <a:lnTo>
                      <a:pt x="14" y="456"/>
                    </a:lnTo>
                    <a:lnTo>
                      <a:pt x="14" y="454"/>
                    </a:lnTo>
                    <a:lnTo>
                      <a:pt x="14" y="452"/>
                    </a:lnTo>
                    <a:lnTo>
                      <a:pt x="12" y="450"/>
                    </a:lnTo>
                    <a:lnTo>
                      <a:pt x="12" y="449"/>
                    </a:lnTo>
                    <a:lnTo>
                      <a:pt x="11" y="449"/>
                    </a:lnTo>
                    <a:lnTo>
                      <a:pt x="11" y="447"/>
                    </a:lnTo>
                    <a:lnTo>
                      <a:pt x="9" y="447"/>
                    </a:lnTo>
                    <a:lnTo>
                      <a:pt x="9" y="445"/>
                    </a:lnTo>
                    <a:lnTo>
                      <a:pt x="7" y="445"/>
                    </a:lnTo>
                    <a:lnTo>
                      <a:pt x="9" y="445"/>
                    </a:lnTo>
                    <a:lnTo>
                      <a:pt x="9" y="444"/>
                    </a:lnTo>
                    <a:lnTo>
                      <a:pt x="9" y="445"/>
                    </a:lnTo>
                    <a:lnTo>
                      <a:pt x="11" y="444"/>
                    </a:lnTo>
                    <a:lnTo>
                      <a:pt x="11" y="442"/>
                    </a:lnTo>
                    <a:lnTo>
                      <a:pt x="11" y="440"/>
                    </a:lnTo>
                    <a:lnTo>
                      <a:pt x="9" y="440"/>
                    </a:lnTo>
                    <a:lnTo>
                      <a:pt x="7" y="440"/>
                    </a:lnTo>
                    <a:lnTo>
                      <a:pt x="7" y="439"/>
                    </a:lnTo>
                    <a:lnTo>
                      <a:pt x="6" y="439"/>
                    </a:lnTo>
                    <a:lnTo>
                      <a:pt x="6" y="437"/>
                    </a:lnTo>
                    <a:lnTo>
                      <a:pt x="4" y="437"/>
                    </a:lnTo>
                    <a:lnTo>
                      <a:pt x="2" y="435"/>
                    </a:lnTo>
                    <a:lnTo>
                      <a:pt x="0" y="433"/>
                    </a:lnTo>
                    <a:lnTo>
                      <a:pt x="2" y="433"/>
                    </a:lnTo>
                    <a:lnTo>
                      <a:pt x="2" y="432"/>
                    </a:lnTo>
                    <a:lnTo>
                      <a:pt x="2" y="430"/>
                    </a:lnTo>
                    <a:lnTo>
                      <a:pt x="2" y="427"/>
                    </a:lnTo>
                    <a:lnTo>
                      <a:pt x="4" y="428"/>
                    </a:lnTo>
                    <a:lnTo>
                      <a:pt x="6" y="427"/>
                    </a:lnTo>
                    <a:lnTo>
                      <a:pt x="7" y="427"/>
                    </a:lnTo>
                    <a:lnTo>
                      <a:pt x="9" y="427"/>
                    </a:lnTo>
                    <a:lnTo>
                      <a:pt x="9" y="425"/>
                    </a:lnTo>
                    <a:lnTo>
                      <a:pt x="11" y="425"/>
                    </a:lnTo>
                    <a:lnTo>
                      <a:pt x="11" y="423"/>
                    </a:lnTo>
                    <a:lnTo>
                      <a:pt x="9" y="422"/>
                    </a:lnTo>
                    <a:lnTo>
                      <a:pt x="7" y="418"/>
                    </a:lnTo>
                    <a:lnTo>
                      <a:pt x="9" y="416"/>
                    </a:lnTo>
                    <a:lnTo>
                      <a:pt x="9" y="415"/>
                    </a:lnTo>
                    <a:lnTo>
                      <a:pt x="9" y="413"/>
                    </a:lnTo>
                    <a:lnTo>
                      <a:pt x="9" y="411"/>
                    </a:lnTo>
                    <a:lnTo>
                      <a:pt x="9" y="410"/>
                    </a:lnTo>
                    <a:lnTo>
                      <a:pt x="11" y="410"/>
                    </a:lnTo>
                    <a:lnTo>
                      <a:pt x="11" y="408"/>
                    </a:lnTo>
                    <a:lnTo>
                      <a:pt x="12" y="408"/>
                    </a:lnTo>
                    <a:lnTo>
                      <a:pt x="12" y="406"/>
                    </a:lnTo>
                    <a:lnTo>
                      <a:pt x="14" y="406"/>
                    </a:lnTo>
                    <a:lnTo>
                      <a:pt x="16" y="406"/>
                    </a:lnTo>
                    <a:lnTo>
                      <a:pt x="16" y="405"/>
                    </a:lnTo>
                    <a:lnTo>
                      <a:pt x="17" y="403"/>
                    </a:lnTo>
                    <a:lnTo>
                      <a:pt x="17" y="405"/>
                    </a:lnTo>
                    <a:lnTo>
                      <a:pt x="17" y="403"/>
                    </a:lnTo>
                    <a:lnTo>
                      <a:pt x="19" y="403"/>
                    </a:lnTo>
                    <a:lnTo>
                      <a:pt x="21" y="403"/>
                    </a:lnTo>
                    <a:lnTo>
                      <a:pt x="21" y="401"/>
                    </a:lnTo>
                    <a:lnTo>
                      <a:pt x="23" y="401"/>
                    </a:lnTo>
                    <a:lnTo>
                      <a:pt x="24" y="401"/>
                    </a:lnTo>
                    <a:lnTo>
                      <a:pt x="26" y="401"/>
                    </a:lnTo>
                    <a:lnTo>
                      <a:pt x="26" y="399"/>
                    </a:lnTo>
                    <a:lnTo>
                      <a:pt x="28" y="401"/>
                    </a:lnTo>
                    <a:lnTo>
                      <a:pt x="28" y="399"/>
                    </a:lnTo>
                    <a:lnTo>
                      <a:pt x="28" y="398"/>
                    </a:lnTo>
                    <a:lnTo>
                      <a:pt x="29" y="399"/>
                    </a:lnTo>
                    <a:lnTo>
                      <a:pt x="29" y="398"/>
                    </a:lnTo>
                    <a:lnTo>
                      <a:pt x="29" y="396"/>
                    </a:lnTo>
                    <a:lnTo>
                      <a:pt x="31" y="396"/>
                    </a:lnTo>
                    <a:lnTo>
                      <a:pt x="29" y="396"/>
                    </a:lnTo>
                    <a:lnTo>
                      <a:pt x="31" y="394"/>
                    </a:lnTo>
                    <a:lnTo>
                      <a:pt x="29" y="394"/>
                    </a:lnTo>
                    <a:lnTo>
                      <a:pt x="29" y="393"/>
                    </a:lnTo>
                    <a:lnTo>
                      <a:pt x="29" y="391"/>
                    </a:lnTo>
                    <a:lnTo>
                      <a:pt x="28" y="391"/>
                    </a:lnTo>
                    <a:lnTo>
                      <a:pt x="29" y="391"/>
                    </a:lnTo>
                    <a:lnTo>
                      <a:pt x="28" y="389"/>
                    </a:lnTo>
                    <a:lnTo>
                      <a:pt x="28" y="388"/>
                    </a:lnTo>
                    <a:lnTo>
                      <a:pt x="26" y="388"/>
                    </a:lnTo>
                    <a:lnTo>
                      <a:pt x="28" y="388"/>
                    </a:lnTo>
                    <a:lnTo>
                      <a:pt x="26" y="388"/>
                    </a:lnTo>
                    <a:lnTo>
                      <a:pt x="26" y="386"/>
                    </a:lnTo>
                    <a:lnTo>
                      <a:pt x="26" y="384"/>
                    </a:lnTo>
                    <a:lnTo>
                      <a:pt x="26" y="382"/>
                    </a:lnTo>
                    <a:lnTo>
                      <a:pt x="26" y="381"/>
                    </a:lnTo>
                    <a:lnTo>
                      <a:pt x="28" y="382"/>
                    </a:lnTo>
                    <a:lnTo>
                      <a:pt x="26" y="381"/>
                    </a:lnTo>
                    <a:lnTo>
                      <a:pt x="28" y="381"/>
                    </a:lnTo>
                    <a:lnTo>
                      <a:pt x="28" y="379"/>
                    </a:lnTo>
                    <a:lnTo>
                      <a:pt x="28" y="377"/>
                    </a:lnTo>
                    <a:lnTo>
                      <a:pt x="29" y="377"/>
                    </a:lnTo>
                    <a:lnTo>
                      <a:pt x="29" y="376"/>
                    </a:lnTo>
                    <a:lnTo>
                      <a:pt x="31" y="376"/>
                    </a:lnTo>
                    <a:lnTo>
                      <a:pt x="31" y="374"/>
                    </a:lnTo>
                    <a:lnTo>
                      <a:pt x="33" y="374"/>
                    </a:lnTo>
                    <a:lnTo>
                      <a:pt x="33" y="372"/>
                    </a:lnTo>
                    <a:lnTo>
                      <a:pt x="34" y="372"/>
                    </a:lnTo>
                    <a:lnTo>
                      <a:pt x="34" y="371"/>
                    </a:lnTo>
                    <a:lnTo>
                      <a:pt x="34" y="369"/>
                    </a:lnTo>
                    <a:lnTo>
                      <a:pt x="36" y="369"/>
                    </a:lnTo>
                    <a:lnTo>
                      <a:pt x="34" y="369"/>
                    </a:lnTo>
                    <a:lnTo>
                      <a:pt x="34" y="367"/>
                    </a:lnTo>
                    <a:lnTo>
                      <a:pt x="36" y="367"/>
                    </a:lnTo>
                    <a:lnTo>
                      <a:pt x="36" y="365"/>
                    </a:lnTo>
                    <a:lnTo>
                      <a:pt x="36" y="364"/>
                    </a:lnTo>
                    <a:lnTo>
                      <a:pt x="34" y="364"/>
                    </a:lnTo>
                    <a:lnTo>
                      <a:pt x="36" y="364"/>
                    </a:lnTo>
                    <a:lnTo>
                      <a:pt x="36" y="362"/>
                    </a:lnTo>
                    <a:lnTo>
                      <a:pt x="36" y="360"/>
                    </a:lnTo>
                    <a:lnTo>
                      <a:pt x="38" y="360"/>
                    </a:lnTo>
                    <a:lnTo>
                      <a:pt x="38" y="359"/>
                    </a:lnTo>
                    <a:lnTo>
                      <a:pt x="38" y="357"/>
                    </a:lnTo>
                    <a:lnTo>
                      <a:pt x="38" y="355"/>
                    </a:lnTo>
                    <a:lnTo>
                      <a:pt x="38" y="354"/>
                    </a:lnTo>
                    <a:lnTo>
                      <a:pt x="38" y="352"/>
                    </a:lnTo>
                    <a:lnTo>
                      <a:pt x="40" y="352"/>
                    </a:lnTo>
                    <a:lnTo>
                      <a:pt x="40" y="350"/>
                    </a:lnTo>
                    <a:lnTo>
                      <a:pt x="41" y="350"/>
                    </a:lnTo>
                    <a:lnTo>
                      <a:pt x="43" y="350"/>
                    </a:lnTo>
                    <a:lnTo>
                      <a:pt x="43" y="348"/>
                    </a:lnTo>
                    <a:lnTo>
                      <a:pt x="45" y="348"/>
                    </a:lnTo>
                    <a:lnTo>
                      <a:pt x="46" y="348"/>
                    </a:lnTo>
                    <a:lnTo>
                      <a:pt x="48" y="348"/>
                    </a:lnTo>
                    <a:lnTo>
                      <a:pt x="46" y="347"/>
                    </a:lnTo>
                    <a:lnTo>
                      <a:pt x="48" y="347"/>
                    </a:lnTo>
                    <a:lnTo>
                      <a:pt x="46" y="347"/>
                    </a:lnTo>
                    <a:lnTo>
                      <a:pt x="48" y="347"/>
                    </a:lnTo>
                    <a:lnTo>
                      <a:pt x="50" y="345"/>
                    </a:lnTo>
                    <a:lnTo>
                      <a:pt x="51" y="345"/>
                    </a:lnTo>
                    <a:lnTo>
                      <a:pt x="53" y="343"/>
                    </a:lnTo>
                    <a:lnTo>
                      <a:pt x="51" y="343"/>
                    </a:lnTo>
                    <a:lnTo>
                      <a:pt x="53" y="343"/>
                    </a:lnTo>
                    <a:lnTo>
                      <a:pt x="55" y="343"/>
                    </a:lnTo>
                    <a:lnTo>
                      <a:pt x="55" y="342"/>
                    </a:lnTo>
                    <a:lnTo>
                      <a:pt x="55" y="340"/>
                    </a:lnTo>
                    <a:lnTo>
                      <a:pt x="57" y="340"/>
                    </a:lnTo>
                    <a:lnTo>
                      <a:pt x="58" y="340"/>
                    </a:lnTo>
                    <a:lnTo>
                      <a:pt x="60" y="340"/>
                    </a:lnTo>
                    <a:lnTo>
                      <a:pt x="58" y="338"/>
                    </a:lnTo>
                    <a:lnTo>
                      <a:pt x="60" y="340"/>
                    </a:lnTo>
                    <a:lnTo>
                      <a:pt x="60" y="338"/>
                    </a:lnTo>
                    <a:lnTo>
                      <a:pt x="62" y="338"/>
                    </a:lnTo>
                    <a:lnTo>
                      <a:pt x="63" y="337"/>
                    </a:lnTo>
                    <a:lnTo>
                      <a:pt x="63" y="338"/>
                    </a:lnTo>
                    <a:lnTo>
                      <a:pt x="63" y="337"/>
                    </a:lnTo>
                    <a:lnTo>
                      <a:pt x="65" y="337"/>
                    </a:lnTo>
                    <a:lnTo>
                      <a:pt x="65" y="335"/>
                    </a:lnTo>
                    <a:lnTo>
                      <a:pt x="67" y="335"/>
                    </a:lnTo>
                    <a:lnTo>
                      <a:pt x="68" y="335"/>
                    </a:lnTo>
                    <a:lnTo>
                      <a:pt x="68" y="333"/>
                    </a:lnTo>
                    <a:lnTo>
                      <a:pt x="70" y="333"/>
                    </a:lnTo>
                    <a:lnTo>
                      <a:pt x="70" y="331"/>
                    </a:lnTo>
                    <a:lnTo>
                      <a:pt x="72" y="331"/>
                    </a:lnTo>
                    <a:lnTo>
                      <a:pt x="70" y="330"/>
                    </a:lnTo>
                    <a:lnTo>
                      <a:pt x="72" y="330"/>
                    </a:lnTo>
                    <a:lnTo>
                      <a:pt x="72" y="331"/>
                    </a:lnTo>
                    <a:lnTo>
                      <a:pt x="72" y="330"/>
                    </a:lnTo>
                    <a:lnTo>
                      <a:pt x="74" y="330"/>
                    </a:lnTo>
                    <a:lnTo>
                      <a:pt x="75" y="330"/>
                    </a:lnTo>
                    <a:lnTo>
                      <a:pt x="77" y="330"/>
                    </a:lnTo>
                    <a:lnTo>
                      <a:pt x="75" y="330"/>
                    </a:lnTo>
                    <a:lnTo>
                      <a:pt x="77" y="330"/>
                    </a:lnTo>
                    <a:lnTo>
                      <a:pt x="79" y="330"/>
                    </a:lnTo>
                    <a:lnTo>
                      <a:pt x="80" y="330"/>
                    </a:lnTo>
                    <a:lnTo>
                      <a:pt x="80" y="331"/>
                    </a:lnTo>
                    <a:lnTo>
                      <a:pt x="82" y="331"/>
                    </a:lnTo>
                    <a:lnTo>
                      <a:pt x="82" y="330"/>
                    </a:lnTo>
                    <a:lnTo>
                      <a:pt x="84" y="330"/>
                    </a:lnTo>
                    <a:lnTo>
                      <a:pt x="84" y="328"/>
                    </a:lnTo>
                    <a:lnTo>
                      <a:pt x="84" y="330"/>
                    </a:lnTo>
                    <a:lnTo>
                      <a:pt x="85" y="330"/>
                    </a:lnTo>
                    <a:lnTo>
                      <a:pt x="84" y="328"/>
                    </a:lnTo>
                    <a:lnTo>
                      <a:pt x="85" y="328"/>
                    </a:lnTo>
                    <a:lnTo>
                      <a:pt x="87" y="328"/>
                    </a:lnTo>
                    <a:lnTo>
                      <a:pt x="87" y="330"/>
                    </a:lnTo>
                    <a:lnTo>
                      <a:pt x="87" y="328"/>
                    </a:lnTo>
                    <a:lnTo>
                      <a:pt x="89" y="328"/>
                    </a:lnTo>
                    <a:lnTo>
                      <a:pt x="91" y="328"/>
                    </a:lnTo>
                    <a:lnTo>
                      <a:pt x="91" y="326"/>
                    </a:lnTo>
                    <a:lnTo>
                      <a:pt x="91" y="328"/>
                    </a:lnTo>
                    <a:lnTo>
                      <a:pt x="92" y="328"/>
                    </a:lnTo>
                    <a:lnTo>
                      <a:pt x="92" y="326"/>
                    </a:lnTo>
                    <a:lnTo>
                      <a:pt x="94" y="326"/>
                    </a:lnTo>
                    <a:lnTo>
                      <a:pt x="96" y="328"/>
                    </a:lnTo>
                    <a:lnTo>
                      <a:pt x="96" y="326"/>
                    </a:lnTo>
                    <a:lnTo>
                      <a:pt x="97" y="326"/>
                    </a:lnTo>
                    <a:lnTo>
                      <a:pt x="99" y="326"/>
                    </a:lnTo>
                    <a:lnTo>
                      <a:pt x="101" y="326"/>
                    </a:lnTo>
                    <a:lnTo>
                      <a:pt x="102" y="326"/>
                    </a:lnTo>
                    <a:lnTo>
                      <a:pt x="102" y="325"/>
                    </a:lnTo>
                    <a:lnTo>
                      <a:pt x="101" y="325"/>
                    </a:lnTo>
                    <a:lnTo>
                      <a:pt x="102" y="325"/>
                    </a:lnTo>
                    <a:lnTo>
                      <a:pt x="102" y="326"/>
                    </a:lnTo>
                    <a:lnTo>
                      <a:pt x="104" y="326"/>
                    </a:lnTo>
                    <a:lnTo>
                      <a:pt x="104" y="325"/>
                    </a:lnTo>
                    <a:lnTo>
                      <a:pt x="106" y="325"/>
                    </a:lnTo>
                    <a:lnTo>
                      <a:pt x="106" y="323"/>
                    </a:lnTo>
                    <a:lnTo>
                      <a:pt x="106" y="321"/>
                    </a:lnTo>
                    <a:lnTo>
                      <a:pt x="108" y="321"/>
                    </a:lnTo>
                    <a:lnTo>
                      <a:pt x="108" y="319"/>
                    </a:lnTo>
                    <a:lnTo>
                      <a:pt x="109" y="319"/>
                    </a:lnTo>
                    <a:lnTo>
                      <a:pt x="109" y="318"/>
                    </a:lnTo>
                    <a:lnTo>
                      <a:pt x="111" y="319"/>
                    </a:lnTo>
                    <a:lnTo>
                      <a:pt x="113" y="319"/>
                    </a:lnTo>
                    <a:lnTo>
                      <a:pt x="113" y="318"/>
                    </a:lnTo>
                    <a:lnTo>
                      <a:pt x="114" y="318"/>
                    </a:lnTo>
                    <a:lnTo>
                      <a:pt x="114" y="319"/>
                    </a:lnTo>
                    <a:lnTo>
                      <a:pt x="116" y="319"/>
                    </a:lnTo>
                    <a:lnTo>
                      <a:pt x="118" y="318"/>
                    </a:lnTo>
                    <a:lnTo>
                      <a:pt x="116" y="318"/>
                    </a:lnTo>
                    <a:lnTo>
                      <a:pt x="118" y="318"/>
                    </a:lnTo>
                    <a:lnTo>
                      <a:pt x="118" y="319"/>
                    </a:lnTo>
                    <a:lnTo>
                      <a:pt x="119" y="319"/>
                    </a:lnTo>
                    <a:lnTo>
                      <a:pt x="119" y="318"/>
                    </a:lnTo>
                    <a:lnTo>
                      <a:pt x="119" y="319"/>
                    </a:lnTo>
                    <a:lnTo>
                      <a:pt x="119" y="318"/>
                    </a:lnTo>
                    <a:lnTo>
                      <a:pt x="121" y="318"/>
                    </a:lnTo>
                    <a:lnTo>
                      <a:pt x="119" y="318"/>
                    </a:lnTo>
                    <a:lnTo>
                      <a:pt x="121" y="318"/>
                    </a:lnTo>
                    <a:lnTo>
                      <a:pt x="123" y="318"/>
                    </a:lnTo>
                    <a:lnTo>
                      <a:pt x="123" y="319"/>
                    </a:lnTo>
                    <a:lnTo>
                      <a:pt x="125" y="319"/>
                    </a:lnTo>
                    <a:lnTo>
                      <a:pt x="125" y="318"/>
                    </a:lnTo>
                    <a:lnTo>
                      <a:pt x="126" y="319"/>
                    </a:lnTo>
                    <a:lnTo>
                      <a:pt x="126" y="321"/>
                    </a:lnTo>
                    <a:lnTo>
                      <a:pt x="125" y="321"/>
                    </a:lnTo>
                    <a:lnTo>
                      <a:pt x="126" y="323"/>
                    </a:lnTo>
                    <a:lnTo>
                      <a:pt x="128" y="325"/>
                    </a:lnTo>
                    <a:lnTo>
                      <a:pt x="128" y="323"/>
                    </a:lnTo>
                    <a:lnTo>
                      <a:pt x="128" y="325"/>
                    </a:lnTo>
                    <a:lnTo>
                      <a:pt x="130" y="325"/>
                    </a:lnTo>
                    <a:lnTo>
                      <a:pt x="130" y="323"/>
                    </a:lnTo>
                    <a:lnTo>
                      <a:pt x="131" y="323"/>
                    </a:lnTo>
                    <a:lnTo>
                      <a:pt x="131" y="321"/>
                    </a:lnTo>
                    <a:lnTo>
                      <a:pt x="131" y="323"/>
                    </a:lnTo>
                    <a:lnTo>
                      <a:pt x="133" y="323"/>
                    </a:lnTo>
                    <a:lnTo>
                      <a:pt x="133" y="325"/>
                    </a:lnTo>
                    <a:lnTo>
                      <a:pt x="135" y="326"/>
                    </a:lnTo>
                    <a:lnTo>
                      <a:pt x="136" y="326"/>
                    </a:lnTo>
                    <a:lnTo>
                      <a:pt x="136" y="325"/>
                    </a:lnTo>
                    <a:lnTo>
                      <a:pt x="136" y="323"/>
                    </a:lnTo>
                    <a:lnTo>
                      <a:pt x="136" y="321"/>
                    </a:lnTo>
                    <a:lnTo>
                      <a:pt x="138" y="321"/>
                    </a:lnTo>
                    <a:lnTo>
                      <a:pt x="140" y="311"/>
                    </a:lnTo>
                    <a:lnTo>
                      <a:pt x="142" y="302"/>
                    </a:lnTo>
                    <a:lnTo>
                      <a:pt x="145" y="279"/>
                    </a:lnTo>
                    <a:lnTo>
                      <a:pt x="145" y="275"/>
                    </a:lnTo>
                    <a:lnTo>
                      <a:pt x="148" y="260"/>
                    </a:lnTo>
                    <a:lnTo>
                      <a:pt x="148" y="255"/>
                    </a:lnTo>
                    <a:lnTo>
                      <a:pt x="150" y="250"/>
                    </a:lnTo>
                    <a:lnTo>
                      <a:pt x="152" y="245"/>
                    </a:lnTo>
                    <a:lnTo>
                      <a:pt x="152" y="238"/>
                    </a:lnTo>
                    <a:lnTo>
                      <a:pt x="153" y="229"/>
                    </a:lnTo>
                    <a:lnTo>
                      <a:pt x="153" y="228"/>
                    </a:lnTo>
                    <a:lnTo>
                      <a:pt x="155" y="228"/>
                    </a:lnTo>
                    <a:lnTo>
                      <a:pt x="155" y="226"/>
                    </a:lnTo>
                    <a:lnTo>
                      <a:pt x="153" y="226"/>
                    </a:lnTo>
                    <a:lnTo>
                      <a:pt x="155" y="224"/>
                    </a:lnTo>
                    <a:lnTo>
                      <a:pt x="155" y="223"/>
                    </a:lnTo>
                    <a:lnTo>
                      <a:pt x="155" y="221"/>
                    </a:lnTo>
                    <a:lnTo>
                      <a:pt x="155" y="219"/>
                    </a:lnTo>
                    <a:lnTo>
                      <a:pt x="155" y="217"/>
                    </a:lnTo>
                    <a:lnTo>
                      <a:pt x="155" y="216"/>
                    </a:lnTo>
                    <a:lnTo>
                      <a:pt x="155" y="214"/>
                    </a:lnTo>
                    <a:lnTo>
                      <a:pt x="155" y="212"/>
                    </a:lnTo>
                    <a:lnTo>
                      <a:pt x="153" y="212"/>
                    </a:lnTo>
                    <a:lnTo>
                      <a:pt x="155" y="212"/>
                    </a:lnTo>
                    <a:lnTo>
                      <a:pt x="153" y="211"/>
                    </a:lnTo>
                    <a:lnTo>
                      <a:pt x="152" y="209"/>
                    </a:lnTo>
                    <a:lnTo>
                      <a:pt x="152" y="211"/>
                    </a:lnTo>
                    <a:lnTo>
                      <a:pt x="152" y="209"/>
                    </a:lnTo>
                    <a:lnTo>
                      <a:pt x="152" y="207"/>
                    </a:lnTo>
                    <a:lnTo>
                      <a:pt x="150" y="207"/>
                    </a:lnTo>
                    <a:lnTo>
                      <a:pt x="150" y="206"/>
                    </a:lnTo>
                    <a:lnTo>
                      <a:pt x="148" y="204"/>
                    </a:lnTo>
                    <a:lnTo>
                      <a:pt x="150" y="204"/>
                    </a:lnTo>
                    <a:lnTo>
                      <a:pt x="148" y="204"/>
                    </a:lnTo>
                    <a:lnTo>
                      <a:pt x="148" y="202"/>
                    </a:lnTo>
                    <a:lnTo>
                      <a:pt x="148" y="200"/>
                    </a:lnTo>
                    <a:lnTo>
                      <a:pt x="150" y="200"/>
                    </a:lnTo>
                    <a:lnTo>
                      <a:pt x="150" y="199"/>
                    </a:lnTo>
                    <a:lnTo>
                      <a:pt x="148" y="199"/>
                    </a:lnTo>
                    <a:lnTo>
                      <a:pt x="148" y="197"/>
                    </a:lnTo>
                    <a:lnTo>
                      <a:pt x="148" y="195"/>
                    </a:lnTo>
                    <a:lnTo>
                      <a:pt x="148" y="194"/>
                    </a:lnTo>
                    <a:lnTo>
                      <a:pt x="147" y="195"/>
                    </a:lnTo>
                    <a:lnTo>
                      <a:pt x="147" y="194"/>
                    </a:lnTo>
                    <a:lnTo>
                      <a:pt x="145" y="194"/>
                    </a:lnTo>
                    <a:lnTo>
                      <a:pt x="143" y="192"/>
                    </a:lnTo>
                    <a:lnTo>
                      <a:pt x="142" y="192"/>
                    </a:lnTo>
                    <a:lnTo>
                      <a:pt x="142" y="190"/>
                    </a:lnTo>
                    <a:lnTo>
                      <a:pt x="140" y="189"/>
                    </a:lnTo>
                    <a:lnTo>
                      <a:pt x="138" y="190"/>
                    </a:lnTo>
                    <a:lnTo>
                      <a:pt x="138" y="189"/>
                    </a:lnTo>
                    <a:lnTo>
                      <a:pt x="136" y="189"/>
                    </a:lnTo>
                    <a:lnTo>
                      <a:pt x="136" y="187"/>
                    </a:lnTo>
                    <a:lnTo>
                      <a:pt x="135" y="185"/>
                    </a:lnTo>
                    <a:lnTo>
                      <a:pt x="135" y="183"/>
                    </a:lnTo>
                    <a:lnTo>
                      <a:pt x="135" y="182"/>
                    </a:lnTo>
                    <a:lnTo>
                      <a:pt x="133" y="182"/>
                    </a:lnTo>
                    <a:lnTo>
                      <a:pt x="133" y="178"/>
                    </a:lnTo>
                    <a:lnTo>
                      <a:pt x="133" y="175"/>
                    </a:lnTo>
                    <a:lnTo>
                      <a:pt x="133" y="172"/>
                    </a:lnTo>
                    <a:lnTo>
                      <a:pt x="133" y="170"/>
                    </a:lnTo>
                    <a:lnTo>
                      <a:pt x="133" y="168"/>
                    </a:lnTo>
                    <a:lnTo>
                      <a:pt x="133" y="166"/>
                    </a:lnTo>
                    <a:lnTo>
                      <a:pt x="133" y="165"/>
                    </a:lnTo>
                    <a:lnTo>
                      <a:pt x="133" y="161"/>
                    </a:lnTo>
                    <a:lnTo>
                      <a:pt x="133" y="160"/>
                    </a:lnTo>
                    <a:lnTo>
                      <a:pt x="135" y="160"/>
                    </a:lnTo>
                    <a:lnTo>
                      <a:pt x="135" y="158"/>
                    </a:lnTo>
                    <a:lnTo>
                      <a:pt x="136" y="158"/>
                    </a:lnTo>
                    <a:lnTo>
                      <a:pt x="136" y="160"/>
                    </a:lnTo>
                    <a:lnTo>
                      <a:pt x="138" y="160"/>
                    </a:lnTo>
                    <a:lnTo>
                      <a:pt x="138" y="158"/>
                    </a:lnTo>
                    <a:lnTo>
                      <a:pt x="140" y="158"/>
                    </a:lnTo>
                    <a:lnTo>
                      <a:pt x="142" y="158"/>
                    </a:lnTo>
                    <a:lnTo>
                      <a:pt x="143" y="158"/>
                    </a:lnTo>
                    <a:lnTo>
                      <a:pt x="143" y="156"/>
                    </a:lnTo>
                    <a:lnTo>
                      <a:pt x="145" y="158"/>
                    </a:lnTo>
                    <a:lnTo>
                      <a:pt x="145" y="156"/>
                    </a:lnTo>
                    <a:lnTo>
                      <a:pt x="147" y="154"/>
                    </a:lnTo>
                    <a:lnTo>
                      <a:pt x="147" y="156"/>
                    </a:lnTo>
                    <a:lnTo>
                      <a:pt x="148" y="156"/>
                    </a:lnTo>
                    <a:lnTo>
                      <a:pt x="148" y="158"/>
                    </a:lnTo>
                    <a:lnTo>
                      <a:pt x="148" y="156"/>
                    </a:lnTo>
                    <a:lnTo>
                      <a:pt x="150" y="156"/>
                    </a:lnTo>
                    <a:lnTo>
                      <a:pt x="150" y="154"/>
                    </a:lnTo>
                    <a:lnTo>
                      <a:pt x="152" y="154"/>
                    </a:lnTo>
                    <a:lnTo>
                      <a:pt x="152" y="153"/>
                    </a:lnTo>
                    <a:lnTo>
                      <a:pt x="153" y="153"/>
                    </a:lnTo>
                    <a:lnTo>
                      <a:pt x="155" y="154"/>
                    </a:lnTo>
                    <a:lnTo>
                      <a:pt x="155" y="156"/>
                    </a:lnTo>
                    <a:lnTo>
                      <a:pt x="157" y="156"/>
                    </a:lnTo>
                    <a:lnTo>
                      <a:pt x="157" y="158"/>
                    </a:lnTo>
                    <a:lnTo>
                      <a:pt x="157" y="156"/>
                    </a:lnTo>
                    <a:lnTo>
                      <a:pt x="159" y="156"/>
                    </a:lnTo>
                    <a:lnTo>
                      <a:pt x="159" y="158"/>
                    </a:lnTo>
                    <a:lnTo>
                      <a:pt x="160" y="158"/>
                    </a:lnTo>
                    <a:lnTo>
                      <a:pt x="162" y="158"/>
                    </a:lnTo>
                    <a:lnTo>
                      <a:pt x="162" y="156"/>
                    </a:lnTo>
                    <a:lnTo>
                      <a:pt x="164" y="156"/>
                    </a:lnTo>
                    <a:lnTo>
                      <a:pt x="165" y="156"/>
                    </a:lnTo>
                    <a:lnTo>
                      <a:pt x="165" y="154"/>
                    </a:lnTo>
                    <a:lnTo>
                      <a:pt x="164" y="154"/>
                    </a:lnTo>
                    <a:lnTo>
                      <a:pt x="162" y="153"/>
                    </a:lnTo>
                    <a:lnTo>
                      <a:pt x="164" y="153"/>
                    </a:lnTo>
                    <a:lnTo>
                      <a:pt x="164" y="151"/>
                    </a:lnTo>
                    <a:lnTo>
                      <a:pt x="164" y="149"/>
                    </a:lnTo>
                    <a:lnTo>
                      <a:pt x="164" y="148"/>
                    </a:lnTo>
                    <a:lnTo>
                      <a:pt x="162" y="148"/>
                    </a:lnTo>
                    <a:lnTo>
                      <a:pt x="162" y="146"/>
                    </a:lnTo>
                    <a:lnTo>
                      <a:pt x="164" y="146"/>
                    </a:lnTo>
                    <a:lnTo>
                      <a:pt x="162" y="146"/>
                    </a:lnTo>
                    <a:lnTo>
                      <a:pt x="162" y="144"/>
                    </a:lnTo>
                    <a:lnTo>
                      <a:pt x="162" y="143"/>
                    </a:lnTo>
                    <a:lnTo>
                      <a:pt x="160" y="143"/>
                    </a:lnTo>
                    <a:lnTo>
                      <a:pt x="159" y="143"/>
                    </a:lnTo>
                    <a:lnTo>
                      <a:pt x="159" y="141"/>
                    </a:lnTo>
                    <a:lnTo>
                      <a:pt x="157" y="141"/>
                    </a:lnTo>
                    <a:lnTo>
                      <a:pt x="155" y="143"/>
                    </a:lnTo>
                    <a:lnTo>
                      <a:pt x="153" y="141"/>
                    </a:lnTo>
                    <a:lnTo>
                      <a:pt x="152" y="141"/>
                    </a:lnTo>
                    <a:lnTo>
                      <a:pt x="150" y="141"/>
                    </a:lnTo>
                    <a:lnTo>
                      <a:pt x="148" y="141"/>
                    </a:lnTo>
                    <a:lnTo>
                      <a:pt x="147" y="141"/>
                    </a:lnTo>
                    <a:lnTo>
                      <a:pt x="145" y="141"/>
                    </a:lnTo>
                    <a:lnTo>
                      <a:pt x="143" y="141"/>
                    </a:lnTo>
                    <a:lnTo>
                      <a:pt x="142" y="141"/>
                    </a:lnTo>
                    <a:lnTo>
                      <a:pt x="142" y="143"/>
                    </a:lnTo>
                    <a:lnTo>
                      <a:pt x="142" y="141"/>
                    </a:lnTo>
                    <a:lnTo>
                      <a:pt x="140" y="141"/>
                    </a:lnTo>
                    <a:lnTo>
                      <a:pt x="140" y="139"/>
                    </a:lnTo>
                    <a:lnTo>
                      <a:pt x="140" y="136"/>
                    </a:lnTo>
                    <a:lnTo>
                      <a:pt x="140" y="134"/>
                    </a:lnTo>
                    <a:lnTo>
                      <a:pt x="140" y="132"/>
                    </a:lnTo>
                    <a:lnTo>
                      <a:pt x="140" y="129"/>
                    </a:lnTo>
                    <a:lnTo>
                      <a:pt x="140" y="126"/>
                    </a:lnTo>
                    <a:lnTo>
                      <a:pt x="140" y="122"/>
                    </a:lnTo>
                    <a:lnTo>
                      <a:pt x="140" y="120"/>
                    </a:lnTo>
                    <a:lnTo>
                      <a:pt x="142" y="120"/>
                    </a:lnTo>
                    <a:lnTo>
                      <a:pt x="143" y="120"/>
                    </a:lnTo>
                    <a:lnTo>
                      <a:pt x="143" y="119"/>
                    </a:lnTo>
                    <a:lnTo>
                      <a:pt x="145" y="119"/>
                    </a:lnTo>
                    <a:lnTo>
                      <a:pt x="147" y="119"/>
                    </a:lnTo>
                    <a:lnTo>
                      <a:pt x="147" y="120"/>
                    </a:lnTo>
                    <a:lnTo>
                      <a:pt x="147" y="119"/>
                    </a:lnTo>
                    <a:lnTo>
                      <a:pt x="147" y="120"/>
                    </a:lnTo>
                    <a:lnTo>
                      <a:pt x="147" y="119"/>
                    </a:lnTo>
                    <a:lnTo>
                      <a:pt x="148" y="120"/>
                    </a:lnTo>
                    <a:lnTo>
                      <a:pt x="148" y="119"/>
                    </a:lnTo>
                    <a:lnTo>
                      <a:pt x="150" y="119"/>
                    </a:lnTo>
                    <a:lnTo>
                      <a:pt x="152" y="117"/>
                    </a:lnTo>
                    <a:lnTo>
                      <a:pt x="152" y="119"/>
                    </a:lnTo>
                    <a:lnTo>
                      <a:pt x="153" y="119"/>
                    </a:lnTo>
                    <a:lnTo>
                      <a:pt x="155" y="119"/>
                    </a:lnTo>
                    <a:lnTo>
                      <a:pt x="159" y="119"/>
                    </a:lnTo>
                    <a:lnTo>
                      <a:pt x="164" y="119"/>
                    </a:lnTo>
                    <a:lnTo>
                      <a:pt x="169" y="119"/>
                    </a:lnTo>
                    <a:lnTo>
                      <a:pt x="174" y="119"/>
                    </a:lnTo>
                    <a:lnTo>
                      <a:pt x="184" y="119"/>
                    </a:lnTo>
                    <a:lnTo>
                      <a:pt x="198" y="119"/>
                    </a:lnTo>
                    <a:lnTo>
                      <a:pt x="196" y="119"/>
                    </a:lnTo>
                    <a:lnTo>
                      <a:pt x="196" y="117"/>
                    </a:lnTo>
                    <a:lnTo>
                      <a:pt x="196" y="119"/>
                    </a:lnTo>
                    <a:lnTo>
                      <a:pt x="194" y="117"/>
                    </a:lnTo>
                    <a:lnTo>
                      <a:pt x="194" y="119"/>
                    </a:lnTo>
                    <a:lnTo>
                      <a:pt x="194" y="117"/>
                    </a:lnTo>
                    <a:lnTo>
                      <a:pt x="194" y="115"/>
                    </a:lnTo>
                    <a:lnTo>
                      <a:pt x="194" y="117"/>
                    </a:lnTo>
                    <a:lnTo>
                      <a:pt x="194" y="115"/>
                    </a:lnTo>
                    <a:lnTo>
                      <a:pt x="194" y="117"/>
                    </a:lnTo>
                    <a:lnTo>
                      <a:pt x="193" y="115"/>
                    </a:lnTo>
                    <a:lnTo>
                      <a:pt x="194" y="115"/>
                    </a:lnTo>
                    <a:lnTo>
                      <a:pt x="193" y="115"/>
                    </a:lnTo>
                    <a:lnTo>
                      <a:pt x="194" y="115"/>
                    </a:lnTo>
                    <a:lnTo>
                      <a:pt x="194" y="114"/>
                    </a:lnTo>
                    <a:lnTo>
                      <a:pt x="194" y="112"/>
                    </a:lnTo>
                    <a:lnTo>
                      <a:pt x="196" y="112"/>
                    </a:lnTo>
                    <a:lnTo>
                      <a:pt x="196" y="110"/>
                    </a:lnTo>
                    <a:lnTo>
                      <a:pt x="196" y="109"/>
                    </a:lnTo>
                    <a:lnTo>
                      <a:pt x="196" y="110"/>
                    </a:lnTo>
                    <a:lnTo>
                      <a:pt x="196" y="112"/>
                    </a:lnTo>
                    <a:lnTo>
                      <a:pt x="198" y="112"/>
                    </a:lnTo>
                    <a:lnTo>
                      <a:pt x="198" y="110"/>
                    </a:lnTo>
                    <a:lnTo>
                      <a:pt x="198" y="112"/>
                    </a:lnTo>
                    <a:lnTo>
                      <a:pt x="199" y="112"/>
                    </a:lnTo>
                    <a:lnTo>
                      <a:pt x="199" y="114"/>
                    </a:lnTo>
                    <a:lnTo>
                      <a:pt x="201" y="114"/>
                    </a:lnTo>
                    <a:lnTo>
                      <a:pt x="203" y="114"/>
                    </a:lnTo>
                    <a:lnTo>
                      <a:pt x="203" y="115"/>
                    </a:lnTo>
                    <a:lnTo>
                      <a:pt x="204" y="115"/>
                    </a:lnTo>
                    <a:lnTo>
                      <a:pt x="204" y="117"/>
                    </a:lnTo>
                    <a:lnTo>
                      <a:pt x="206" y="117"/>
                    </a:lnTo>
                    <a:lnTo>
                      <a:pt x="206" y="115"/>
                    </a:lnTo>
                    <a:lnTo>
                      <a:pt x="208" y="114"/>
                    </a:lnTo>
                    <a:lnTo>
                      <a:pt x="208" y="112"/>
                    </a:lnTo>
                    <a:lnTo>
                      <a:pt x="210" y="112"/>
                    </a:lnTo>
                    <a:lnTo>
                      <a:pt x="210" y="110"/>
                    </a:lnTo>
                    <a:lnTo>
                      <a:pt x="211" y="110"/>
                    </a:lnTo>
                    <a:lnTo>
                      <a:pt x="211" y="109"/>
                    </a:lnTo>
                    <a:lnTo>
                      <a:pt x="213" y="109"/>
                    </a:lnTo>
                    <a:lnTo>
                      <a:pt x="215" y="109"/>
                    </a:lnTo>
                    <a:lnTo>
                      <a:pt x="216" y="109"/>
                    </a:lnTo>
                    <a:lnTo>
                      <a:pt x="218" y="109"/>
                    </a:lnTo>
                    <a:lnTo>
                      <a:pt x="218" y="107"/>
                    </a:lnTo>
                    <a:lnTo>
                      <a:pt x="220" y="107"/>
                    </a:lnTo>
                    <a:lnTo>
                      <a:pt x="220" y="105"/>
                    </a:lnTo>
                    <a:lnTo>
                      <a:pt x="221" y="105"/>
                    </a:lnTo>
                    <a:lnTo>
                      <a:pt x="221" y="103"/>
                    </a:lnTo>
                    <a:lnTo>
                      <a:pt x="223" y="102"/>
                    </a:lnTo>
                    <a:lnTo>
                      <a:pt x="223" y="103"/>
                    </a:lnTo>
                    <a:lnTo>
                      <a:pt x="225" y="103"/>
                    </a:lnTo>
                    <a:lnTo>
                      <a:pt x="223" y="103"/>
                    </a:lnTo>
                    <a:lnTo>
                      <a:pt x="223" y="105"/>
                    </a:lnTo>
                    <a:lnTo>
                      <a:pt x="225" y="105"/>
                    </a:lnTo>
                    <a:lnTo>
                      <a:pt x="225" y="107"/>
                    </a:lnTo>
                    <a:lnTo>
                      <a:pt x="225" y="109"/>
                    </a:lnTo>
                    <a:lnTo>
                      <a:pt x="225" y="110"/>
                    </a:lnTo>
                    <a:lnTo>
                      <a:pt x="225" y="112"/>
                    </a:lnTo>
                    <a:lnTo>
                      <a:pt x="227" y="112"/>
                    </a:lnTo>
                    <a:lnTo>
                      <a:pt x="227" y="114"/>
                    </a:lnTo>
                    <a:lnTo>
                      <a:pt x="228" y="115"/>
                    </a:lnTo>
                    <a:lnTo>
                      <a:pt x="230" y="115"/>
                    </a:lnTo>
                    <a:lnTo>
                      <a:pt x="232" y="115"/>
                    </a:lnTo>
                    <a:lnTo>
                      <a:pt x="232" y="117"/>
                    </a:lnTo>
                    <a:lnTo>
                      <a:pt x="232" y="119"/>
                    </a:lnTo>
                    <a:lnTo>
                      <a:pt x="232" y="120"/>
                    </a:lnTo>
                    <a:lnTo>
                      <a:pt x="232" y="122"/>
                    </a:lnTo>
                    <a:lnTo>
                      <a:pt x="232" y="124"/>
                    </a:lnTo>
                    <a:lnTo>
                      <a:pt x="233" y="124"/>
                    </a:lnTo>
                    <a:lnTo>
                      <a:pt x="232" y="126"/>
                    </a:lnTo>
                    <a:lnTo>
                      <a:pt x="232" y="127"/>
                    </a:lnTo>
                    <a:lnTo>
                      <a:pt x="233" y="127"/>
                    </a:lnTo>
                    <a:lnTo>
                      <a:pt x="233" y="129"/>
                    </a:lnTo>
                    <a:lnTo>
                      <a:pt x="233" y="131"/>
                    </a:lnTo>
                    <a:lnTo>
                      <a:pt x="233" y="132"/>
                    </a:lnTo>
                    <a:lnTo>
                      <a:pt x="232" y="132"/>
                    </a:lnTo>
                    <a:lnTo>
                      <a:pt x="232" y="134"/>
                    </a:lnTo>
                    <a:lnTo>
                      <a:pt x="233" y="134"/>
                    </a:lnTo>
                    <a:lnTo>
                      <a:pt x="233" y="136"/>
                    </a:lnTo>
                    <a:lnTo>
                      <a:pt x="233" y="137"/>
                    </a:lnTo>
                    <a:lnTo>
                      <a:pt x="233" y="139"/>
                    </a:lnTo>
                    <a:lnTo>
                      <a:pt x="235" y="137"/>
                    </a:lnTo>
                    <a:lnTo>
                      <a:pt x="240" y="137"/>
                    </a:lnTo>
                    <a:lnTo>
                      <a:pt x="242" y="136"/>
                    </a:lnTo>
                    <a:lnTo>
                      <a:pt x="259" y="153"/>
                    </a:lnTo>
                    <a:lnTo>
                      <a:pt x="261" y="153"/>
                    </a:lnTo>
                    <a:lnTo>
                      <a:pt x="262" y="151"/>
                    </a:lnTo>
                    <a:lnTo>
                      <a:pt x="264" y="151"/>
                    </a:lnTo>
                    <a:lnTo>
                      <a:pt x="264" y="153"/>
                    </a:lnTo>
                    <a:lnTo>
                      <a:pt x="266" y="153"/>
                    </a:lnTo>
                    <a:lnTo>
                      <a:pt x="267" y="153"/>
                    </a:lnTo>
                    <a:lnTo>
                      <a:pt x="267" y="151"/>
                    </a:lnTo>
                    <a:lnTo>
                      <a:pt x="269" y="151"/>
                    </a:lnTo>
                    <a:lnTo>
                      <a:pt x="271" y="151"/>
                    </a:lnTo>
                    <a:lnTo>
                      <a:pt x="271" y="149"/>
                    </a:lnTo>
                    <a:lnTo>
                      <a:pt x="272" y="149"/>
                    </a:lnTo>
                    <a:lnTo>
                      <a:pt x="272" y="148"/>
                    </a:lnTo>
                    <a:lnTo>
                      <a:pt x="274" y="148"/>
                    </a:lnTo>
                    <a:lnTo>
                      <a:pt x="274" y="146"/>
                    </a:lnTo>
                    <a:lnTo>
                      <a:pt x="276" y="146"/>
                    </a:lnTo>
                    <a:lnTo>
                      <a:pt x="278" y="146"/>
                    </a:lnTo>
                    <a:lnTo>
                      <a:pt x="278" y="144"/>
                    </a:lnTo>
                    <a:lnTo>
                      <a:pt x="279" y="144"/>
                    </a:lnTo>
                    <a:lnTo>
                      <a:pt x="281" y="144"/>
                    </a:lnTo>
                    <a:lnTo>
                      <a:pt x="283" y="144"/>
                    </a:lnTo>
                    <a:lnTo>
                      <a:pt x="284" y="144"/>
                    </a:lnTo>
                    <a:lnTo>
                      <a:pt x="286" y="144"/>
                    </a:lnTo>
                    <a:lnTo>
                      <a:pt x="286" y="146"/>
                    </a:lnTo>
                    <a:lnTo>
                      <a:pt x="286" y="148"/>
                    </a:lnTo>
                    <a:lnTo>
                      <a:pt x="288" y="148"/>
                    </a:lnTo>
                    <a:lnTo>
                      <a:pt x="288" y="149"/>
                    </a:lnTo>
                    <a:lnTo>
                      <a:pt x="286" y="149"/>
                    </a:lnTo>
                    <a:lnTo>
                      <a:pt x="286" y="151"/>
                    </a:lnTo>
                    <a:lnTo>
                      <a:pt x="284" y="153"/>
                    </a:lnTo>
                    <a:lnTo>
                      <a:pt x="284" y="154"/>
                    </a:lnTo>
                    <a:lnTo>
                      <a:pt x="286" y="156"/>
                    </a:lnTo>
                    <a:lnTo>
                      <a:pt x="286" y="154"/>
                    </a:lnTo>
                    <a:lnTo>
                      <a:pt x="288" y="154"/>
                    </a:lnTo>
                    <a:lnTo>
                      <a:pt x="289" y="154"/>
                    </a:lnTo>
                    <a:lnTo>
                      <a:pt x="289" y="153"/>
                    </a:lnTo>
                    <a:lnTo>
                      <a:pt x="291" y="153"/>
                    </a:lnTo>
                    <a:lnTo>
                      <a:pt x="291" y="151"/>
                    </a:lnTo>
                    <a:lnTo>
                      <a:pt x="289" y="151"/>
                    </a:lnTo>
                    <a:lnTo>
                      <a:pt x="291" y="149"/>
                    </a:lnTo>
                    <a:lnTo>
                      <a:pt x="293" y="148"/>
                    </a:lnTo>
                    <a:lnTo>
                      <a:pt x="291" y="148"/>
                    </a:lnTo>
                    <a:lnTo>
                      <a:pt x="293" y="148"/>
                    </a:lnTo>
                    <a:lnTo>
                      <a:pt x="293" y="146"/>
                    </a:lnTo>
                    <a:lnTo>
                      <a:pt x="295" y="146"/>
                    </a:lnTo>
                    <a:lnTo>
                      <a:pt x="296" y="146"/>
                    </a:lnTo>
                    <a:lnTo>
                      <a:pt x="296" y="148"/>
                    </a:lnTo>
                    <a:lnTo>
                      <a:pt x="298" y="148"/>
                    </a:lnTo>
                    <a:lnTo>
                      <a:pt x="298" y="146"/>
                    </a:lnTo>
                    <a:lnTo>
                      <a:pt x="298" y="144"/>
                    </a:lnTo>
                    <a:lnTo>
                      <a:pt x="300" y="144"/>
                    </a:lnTo>
                    <a:lnTo>
                      <a:pt x="298" y="143"/>
                    </a:lnTo>
                    <a:lnTo>
                      <a:pt x="298" y="141"/>
                    </a:lnTo>
                    <a:lnTo>
                      <a:pt x="300" y="141"/>
                    </a:lnTo>
                    <a:lnTo>
                      <a:pt x="298" y="139"/>
                    </a:lnTo>
                    <a:lnTo>
                      <a:pt x="300" y="139"/>
                    </a:lnTo>
                    <a:lnTo>
                      <a:pt x="301" y="139"/>
                    </a:lnTo>
                    <a:lnTo>
                      <a:pt x="301" y="141"/>
                    </a:lnTo>
                    <a:lnTo>
                      <a:pt x="303" y="141"/>
                    </a:lnTo>
                    <a:lnTo>
                      <a:pt x="303" y="139"/>
                    </a:lnTo>
                    <a:lnTo>
                      <a:pt x="305" y="139"/>
                    </a:lnTo>
                    <a:lnTo>
                      <a:pt x="305" y="137"/>
                    </a:lnTo>
                    <a:lnTo>
                      <a:pt x="305" y="136"/>
                    </a:lnTo>
                    <a:lnTo>
                      <a:pt x="306" y="136"/>
                    </a:lnTo>
                    <a:lnTo>
                      <a:pt x="306" y="137"/>
                    </a:lnTo>
                    <a:lnTo>
                      <a:pt x="306" y="136"/>
                    </a:lnTo>
                    <a:lnTo>
                      <a:pt x="308" y="136"/>
                    </a:lnTo>
                    <a:lnTo>
                      <a:pt x="310" y="136"/>
                    </a:lnTo>
                    <a:lnTo>
                      <a:pt x="308" y="134"/>
                    </a:lnTo>
                    <a:lnTo>
                      <a:pt x="310" y="134"/>
                    </a:lnTo>
                    <a:lnTo>
                      <a:pt x="312" y="134"/>
                    </a:lnTo>
                    <a:lnTo>
                      <a:pt x="312" y="136"/>
                    </a:lnTo>
                    <a:lnTo>
                      <a:pt x="313" y="136"/>
                    </a:lnTo>
                    <a:lnTo>
                      <a:pt x="313" y="134"/>
                    </a:lnTo>
                    <a:lnTo>
                      <a:pt x="315" y="134"/>
                    </a:lnTo>
                    <a:lnTo>
                      <a:pt x="317" y="134"/>
                    </a:lnTo>
                    <a:lnTo>
                      <a:pt x="317" y="132"/>
                    </a:lnTo>
                    <a:lnTo>
                      <a:pt x="318" y="132"/>
                    </a:lnTo>
                    <a:lnTo>
                      <a:pt x="318" y="131"/>
                    </a:lnTo>
                    <a:lnTo>
                      <a:pt x="320" y="129"/>
                    </a:lnTo>
                    <a:lnTo>
                      <a:pt x="322" y="129"/>
                    </a:lnTo>
                    <a:lnTo>
                      <a:pt x="322" y="127"/>
                    </a:lnTo>
                    <a:lnTo>
                      <a:pt x="323" y="127"/>
                    </a:lnTo>
                    <a:lnTo>
                      <a:pt x="325" y="126"/>
                    </a:lnTo>
                    <a:lnTo>
                      <a:pt x="325" y="127"/>
                    </a:lnTo>
                    <a:lnTo>
                      <a:pt x="325" y="126"/>
                    </a:lnTo>
                    <a:lnTo>
                      <a:pt x="325" y="127"/>
                    </a:lnTo>
                    <a:lnTo>
                      <a:pt x="325" y="129"/>
                    </a:lnTo>
                    <a:lnTo>
                      <a:pt x="325" y="131"/>
                    </a:lnTo>
                    <a:lnTo>
                      <a:pt x="323" y="131"/>
                    </a:lnTo>
                    <a:lnTo>
                      <a:pt x="325" y="131"/>
                    </a:lnTo>
                    <a:lnTo>
                      <a:pt x="327" y="132"/>
                    </a:lnTo>
                    <a:lnTo>
                      <a:pt x="327" y="131"/>
                    </a:lnTo>
                    <a:lnTo>
                      <a:pt x="327" y="129"/>
                    </a:lnTo>
                    <a:lnTo>
                      <a:pt x="329" y="127"/>
                    </a:lnTo>
                    <a:lnTo>
                      <a:pt x="330" y="127"/>
                    </a:lnTo>
                    <a:lnTo>
                      <a:pt x="332" y="127"/>
                    </a:lnTo>
                    <a:lnTo>
                      <a:pt x="332" y="126"/>
                    </a:lnTo>
                    <a:lnTo>
                      <a:pt x="332" y="124"/>
                    </a:lnTo>
                    <a:lnTo>
                      <a:pt x="334" y="124"/>
                    </a:lnTo>
                    <a:lnTo>
                      <a:pt x="335" y="124"/>
                    </a:lnTo>
                    <a:lnTo>
                      <a:pt x="335" y="122"/>
                    </a:lnTo>
                    <a:lnTo>
                      <a:pt x="335" y="120"/>
                    </a:lnTo>
                    <a:lnTo>
                      <a:pt x="335" y="119"/>
                    </a:lnTo>
                    <a:lnTo>
                      <a:pt x="335" y="117"/>
                    </a:lnTo>
                    <a:lnTo>
                      <a:pt x="335" y="115"/>
                    </a:lnTo>
                    <a:lnTo>
                      <a:pt x="335" y="114"/>
                    </a:lnTo>
                    <a:lnTo>
                      <a:pt x="335" y="112"/>
                    </a:lnTo>
                    <a:lnTo>
                      <a:pt x="337" y="112"/>
                    </a:lnTo>
                    <a:lnTo>
                      <a:pt x="337" y="110"/>
                    </a:lnTo>
                    <a:lnTo>
                      <a:pt x="339" y="110"/>
                    </a:lnTo>
                    <a:lnTo>
                      <a:pt x="340" y="110"/>
                    </a:lnTo>
                    <a:lnTo>
                      <a:pt x="342" y="110"/>
                    </a:lnTo>
                    <a:lnTo>
                      <a:pt x="344" y="112"/>
                    </a:lnTo>
                    <a:lnTo>
                      <a:pt x="344" y="110"/>
                    </a:lnTo>
                    <a:lnTo>
                      <a:pt x="346" y="110"/>
                    </a:lnTo>
                    <a:lnTo>
                      <a:pt x="347" y="110"/>
                    </a:lnTo>
                    <a:lnTo>
                      <a:pt x="347" y="109"/>
                    </a:lnTo>
                    <a:lnTo>
                      <a:pt x="349" y="110"/>
                    </a:lnTo>
                    <a:lnTo>
                      <a:pt x="349" y="109"/>
                    </a:lnTo>
                    <a:lnTo>
                      <a:pt x="351" y="109"/>
                    </a:lnTo>
                    <a:lnTo>
                      <a:pt x="351" y="107"/>
                    </a:lnTo>
                    <a:lnTo>
                      <a:pt x="352" y="107"/>
                    </a:lnTo>
                    <a:lnTo>
                      <a:pt x="352" y="105"/>
                    </a:lnTo>
                    <a:lnTo>
                      <a:pt x="354" y="105"/>
                    </a:lnTo>
                    <a:lnTo>
                      <a:pt x="354" y="107"/>
                    </a:lnTo>
                    <a:lnTo>
                      <a:pt x="356" y="107"/>
                    </a:lnTo>
                    <a:lnTo>
                      <a:pt x="356" y="105"/>
                    </a:lnTo>
                    <a:lnTo>
                      <a:pt x="356" y="107"/>
                    </a:lnTo>
                    <a:lnTo>
                      <a:pt x="357" y="105"/>
                    </a:lnTo>
                    <a:lnTo>
                      <a:pt x="359" y="103"/>
                    </a:lnTo>
                    <a:lnTo>
                      <a:pt x="357" y="103"/>
                    </a:lnTo>
                    <a:lnTo>
                      <a:pt x="359" y="103"/>
                    </a:lnTo>
                    <a:lnTo>
                      <a:pt x="359" y="102"/>
                    </a:lnTo>
                    <a:lnTo>
                      <a:pt x="359" y="100"/>
                    </a:lnTo>
                    <a:lnTo>
                      <a:pt x="359" y="98"/>
                    </a:lnTo>
                    <a:lnTo>
                      <a:pt x="359" y="97"/>
                    </a:lnTo>
                    <a:lnTo>
                      <a:pt x="359" y="95"/>
                    </a:lnTo>
                    <a:lnTo>
                      <a:pt x="357" y="95"/>
                    </a:lnTo>
                    <a:lnTo>
                      <a:pt x="356" y="95"/>
                    </a:lnTo>
                    <a:lnTo>
                      <a:pt x="354" y="97"/>
                    </a:lnTo>
                    <a:lnTo>
                      <a:pt x="352" y="97"/>
                    </a:lnTo>
                    <a:lnTo>
                      <a:pt x="351" y="97"/>
                    </a:lnTo>
                    <a:lnTo>
                      <a:pt x="349" y="97"/>
                    </a:lnTo>
                    <a:lnTo>
                      <a:pt x="347" y="97"/>
                    </a:lnTo>
                    <a:lnTo>
                      <a:pt x="346" y="97"/>
                    </a:lnTo>
                    <a:lnTo>
                      <a:pt x="344" y="97"/>
                    </a:lnTo>
                    <a:lnTo>
                      <a:pt x="342" y="95"/>
                    </a:lnTo>
                    <a:lnTo>
                      <a:pt x="340" y="95"/>
                    </a:lnTo>
                    <a:lnTo>
                      <a:pt x="339" y="95"/>
                    </a:lnTo>
                    <a:lnTo>
                      <a:pt x="337" y="93"/>
                    </a:lnTo>
                    <a:lnTo>
                      <a:pt x="337" y="95"/>
                    </a:lnTo>
                    <a:lnTo>
                      <a:pt x="337" y="93"/>
                    </a:lnTo>
                    <a:lnTo>
                      <a:pt x="335" y="93"/>
                    </a:lnTo>
                    <a:lnTo>
                      <a:pt x="335" y="92"/>
                    </a:lnTo>
                    <a:lnTo>
                      <a:pt x="337" y="92"/>
                    </a:lnTo>
                    <a:lnTo>
                      <a:pt x="337" y="90"/>
                    </a:lnTo>
                    <a:lnTo>
                      <a:pt x="337" y="88"/>
                    </a:lnTo>
                    <a:lnTo>
                      <a:pt x="339" y="88"/>
                    </a:lnTo>
                    <a:lnTo>
                      <a:pt x="339" y="86"/>
                    </a:lnTo>
                    <a:lnTo>
                      <a:pt x="337" y="86"/>
                    </a:lnTo>
                    <a:lnTo>
                      <a:pt x="339" y="86"/>
                    </a:lnTo>
                    <a:lnTo>
                      <a:pt x="337" y="85"/>
                    </a:lnTo>
                    <a:lnTo>
                      <a:pt x="339" y="85"/>
                    </a:lnTo>
                    <a:lnTo>
                      <a:pt x="337" y="85"/>
                    </a:lnTo>
                    <a:lnTo>
                      <a:pt x="337" y="83"/>
                    </a:lnTo>
                    <a:lnTo>
                      <a:pt x="335" y="81"/>
                    </a:lnTo>
                    <a:lnTo>
                      <a:pt x="335" y="80"/>
                    </a:lnTo>
                    <a:lnTo>
                      <a:pt x="335" y="78"/>
                    </a:lnTo>
                    <a:lnTo>
                      <a:pt x="334" y="78"/>
                    </a:lnTo>
                    <a:lnTo>
                      <a:pt x="334" y="76"/>
                    </a:lnTo>
                    <a:lnTo>
                      <a:pt x="332" y="76"/>
                    </a:lnTo>
                    <a:lnTo>
                      <a:pt x="332" y="75"/>
                    </a:lnTo>
                    <a:lnTo>
                      <a:pt x="330" y="73"/>
                    </a:lnTo>
                    <a:lnTo>
                      <a:pt x="330" y="71"/>
                    </a:lnTo>
                    <a:lnTo>
                      <a:pt x="330" y="69"/>
                    </a:lnTo>
                    <a:lnTo>
                      <a:pt x="330" y="68"/>
                    </a:lnTo>
                    <a:lnTo>
                      <a:pt x="330" y="66"/>
                    </a:lnTo>
                    <a:lnTo>
                      <a:pt x="330" y="64"/>
                    </a:lnTo>
                    <a:lnTo>
                      <a:pt x="330" y="63"/>
                    </a:lnTo>
                    <a:lnTo>
                      <a:pt x="329" y="63"/>
                    </a:lnTo>
                    <a:lnTo>
                      <a:pt x="330" y="61"/>
                    </a:lnTo>
                    <a:lnTo>
                      <a:pt x="332" y="59"/>
                    </a:lnTo>
                    <a:lnTo>
                      <a:pt x="332" y="58"/>
                    </a:lnTo>
                    <a:lnTo>
                      <a:pt x="330" y="56"/>
                    </a:lnTo>
                    <a:lnTo>
                      <a:pt x="329" y="54"/>
                    </a:lnTo>
                    <a:lnTo>
                      <a:pt x="329" y="52"/>
                    </a:lnTo>
                    <a:lnTo>
                      <a:pt x="327" y="52"/>
                    </a:lnTo>
                    <a:lnTo>
                      <a:pt x="327" y="51"/>
                    </a:lnTo>
                    <a:lnTo>
                      <a:pt x="325" y="51"/>
                    </a:lnTo>
                    <a:lnTo>
                      <a:pt x="323" y="51"/>
                    </a:lnTo>
                    <a:lnTo>
                      <a:pt x="322" y="51"/>
                    </a:lnTo>
                    <a:lnTo>
                      <a:pt x="322" y="49"/>
                    </a:lnTo>
                    <a:lnTo>
                      <a:pt x="320" y="49"/>
                    </a:lnTo>
                    <a:lnTo>
                      <a:pt x="320" y="47"/>
                    </a:lnTo>
                    <a:lnTo>
                      <a:pt x="318" y="47"/>
                    </a:lnTo>
                    <a:lnTo>
                      <a:pt x="318" y="46"/>
                    </a:lnTo>
                    <a:lnTo>
                      <a:pt x="317" y="44"/>
                    </a:lnTo>
                    <a:lnTo>
                      <a:pt x="315" y="42"/>
                    </a:lnTo>
                    <a:lnTo>
                      <a:pt x="315" y="41"/>
                    </a:lnTo>
                    <a:lnTo>
                      <a:pt x="313" y="41"/>
                    </a:lnTo>
                    <a:lnTo>
                      <a:pt x="313" y="39"/>
                    </a:lnTo>
                    <a:lnTo>
                      <a:pt x="312" y="39"/>
                    </a:lnTo>
                    <a:lnTo>
                      <a:pt x="312" y="37"/>
                    </a:lnTo>
                    <a:lnTo>
                      <a:pt x="310" y="37"/>
                    </a:lnTo>
                    <a:lnTo>
                      <a:pt x="310" y="35"/>
                    </a:lnTo>
                    <a:lnTo>
                      <a:pt x="310" y="34"/>
                    </a:lnTo>
                    <a:lnTo>
                      <a:pt x="312" y="34"/>
                    </a:lnTo>
                    <a:lnTo>
                      <a:pt x="313" y="34"/>
                    </a:lnTo>
                    <a:lnTo>
                      <a:pt x="315" y="34"/>
                    </a:lnTo>
                    <a:lnTo>
                      <a:pt x="315" y="35"/>
                    </a:lnTo>
                    <a:lnTo>
                      <a:pt x="317" y="37"/>
                    </a:lnTo>
                    <a:lnTo>
                      <a:pt x="317" y="39"/>
                    </a:lnTo>
                    <a:lnTo>
                      <a:pt x="318" y="39"/>
                    </a:lnTo>
                    <a:lnTo>
                      <a:pt x="320" y="39"/>
                    </a:lnTo>
                    <a:lnTo>
                      <a:pt x="322" y="39"/>
                    </a:lnTo>
                    <a:lnTo>
                      <a:pt x="323" y="39"/>
                    </a:lnTo>
                    <a:lnTo>
                      <a:pt x="323" y="37"/>
                    </a:lnTo>
                    <a:lnTo>
                      <a:pt x="323" y="39"/>
                    </a:lnTo>
                    <a:lnTo>
                      <a:pt x="325" y="37"/>
                    </a:lnTo>
                    <a:lnTo>
                      <a:pt x="325" y="39"/>
                    </a:lnTo>
                    <a:lnTo>
                      <a:pt x="327" y="39"/>
                    </a:lnTo>
                    <a:lnTo>
                      <a:pt x="329" y="37"/>
                    </a:lnTo>
                    <a:lnTo>
                      <a:pt x="329" y="39"/>
                    </a:lnTo>
                    <a:lnTo>
                      <a:pt x="330" y="39"/>
                    </a:lnTo>
                    <a:lnTo>
                      <a:pt x="332" y="39"/>
                    </a:lnTo>
                    <a:lnTo>
                      <a:pt x="334" y="39"/>
                    </a:lnTo>
                    <a:lnTo>
                      <a:pt x="334" y="41"/>
                    </a:lnTo>
                    <a:lnTo>
                      <a:pt x="335" y="41"/>
                    </a:lnTo>
                    <a:lnTo>
                      <a:pt x="334" y="42"/>
                    </a:lnTo>
                    <a:lnTo>
                      <a:pt x="335" y="42"/>
                    </a:lnTo>
                    <a:lnTo>
                      <a:pt x="335" y="44"/>
                    </a:lnTo>
                    <a:lnTo>
                      <a:pt x="337" y="46"/>
                    </a:lnTo>
                    <a:lnTo>
                      <a:pt x="339" y="46"/>
                    </a:lnTo>
                    <a:lnTo>
                      <a:pt x="339" y="47"/>
                    </a:lnTo>
                    <a:lnTo>
                      <a:pt x="339" y="46"/>
                    </a:lnTo>
                    <a:lnTo>
                      <a:pt x="340" y="46"/>
                    </a:lnTo>
                    <a:lnTo>
                      <a:pt x="342" y="46"/>
                    </a:lnTo>
                    <a:lnTo>
                      <a:pt x="342" y="44"/>
                    </a:lnTo>
                    <a:lnTo>
                      <a:pt x="344" y="44"/>
                    </a:lnTo>
                    <a:lnTo>
                      <a:pt x="344" y="46"/>
                    </a:lnTo>
                    <a:lnTo>
                      <a:pt x="346" y="46"/>
                    </a:lnTo>
                    <a:lnTo>
                      <a:pt x="346" y="44"/>
                    </a:lnTo>
                    <a:lnTo>
                      <a:pt x="347" y="46"/>
                    </a:lnTo>
                    <a:lnTo>
                      <a:pt x="349" y="46"/>
                    </a:lnTo>
                    <a:lnTo>
                      <a:pt x="347" y="44"/>
                    </a:lnTo>
                    <a:lnTo>
                      <a:pt x="349" y="42"/>
                    </a:lnTo>
                    <a:lnTo>
                      <a:pt x="349" y="44"/>
                    </a:lnTo>
                    <a:lnTo>
                      <a:pt x="351" y="44"/>
                    </a:lnTo>
                    <a:lnTo>
                      <a:pt x="351" y="46"/>
                    </a:lnTo>
                    <a:lnTo>
                      <a:pt x="352" y="46"/>
                    </a:lnTo>
                    <a:lnTo>
                      <a:pt x="351" y="46"/>
                    </a:lnTo>
                    <a:lnTo>
                      <a:pt x="352" y="47"/>
                    </a:lnTo>
                    <a:lnTo>
                      <a:pt x="352" y="46"/>
                    </a:lnTo>
                    <a:lnTo>
                      <a:pt x="352" y="47"/>
                    </a:lnTo>
                    <a:lnTo>
                      <a:pt x="354" y="47"/>
                    </a:lnTo>
                    <a:lnTo>
                      <a:pt x="356" y="47"/>
                    </a:lnTo>
                    <a:lnTo>
                      <a:pt x="357" y="47"/>
                    </a:lnTo>
                    <a:lnTo>
                      <a:pt x="357" y="46"/>
                    </a:lnTo>
                    <a:lnTo>
                      <a:pt x="357" y="44"/>
                    </a:lnTo>
                    <a:lnTo>
                      <a:pt x="356" y="44"/>
                    </a:lnTo>
                    <a:lnTo>
                      <a:pt x="357" y="44"/>
                    </a:lnTo>
                    <a:lnTo>
                      <a:pt x="359" y="44"/>
                    </a:lnTo>
                    <a:lnTo>
                      <a:pt x="361" y="44"/>
                    </a:lnTo>
                    <a:lnTo>
                      <a:pt x="363" y="44"/>
                    </a:lnTo>
                    <a:lnTo>
                      <a:pt x="364" y="44"/>
                    </a:lnTo>
                    <a:lnTo>
                      <a:pt x="364" y="46"/>
                    </a:lnTo>
                    <a:lnTo>
                      <a:pt x="364" y="47"/>
                    </a:lnTo>
                    <a:lnTo>
                      <a:pt x="364" y="49"/>
                    </a:lnTo>
                    <a:lnTo>
                      <a:pt x="366" y="49"/>
                    </a:lnTo>
                    <a:lnTo>
                      <a:pt x="368" y="49"/>
                    </a:lnTo>
                    <a:lnTo>
                      <a:pt x="368" y="51"/>
                    </a:lnTo>
                    <a:lnTo>
                      <a:pt x="369" y="51"/>
                    </a:lnTo>
                    <a:lnTo>
                      <a:pt x="369" y="52"/>
                    </a:lnTo>
                    <a:lnTo>
                      <a:pt x="369" y="54"/>
                    </a:lnTo>
                    <a:lnTo>
                      <a:pt x="371" y="54"/>
                    </a:lnTo>
                    <a:lnTo>
                      <a:pt x="371" y="56"/>
                    </a:lnTo>
                    <a:lnTo>
                      <a:pt x="373" y="56"/>
                    </a:lnTo>
                    <a:lnTo>
                      <a:pt x="374" y="56"/>
                    </a:lnTo>
                    <a:lnTo>
                      <a:pt x="374" y="54"/>
                    </a:lnTo>
                    <a:lnTo>
                      <a:pt x="376" y="52"/>
                    </a:lnTo>
                    <a:lnTo>
                      <a:pt x="378" y="51"/>
                    </a:lnTo>
                    <a:lnTo>
                      <a:pt x="378" y="52"/>
                    </a:lnTo>
                    <a:lnTo>
                      <a:pt x="380" y="52"/>
                    </a:lnTo>
                    <a:lnTo>
                      <a:pt x="380" y="54"/>
                    </a:lnTo>
                    <a:lnTo>
                      <a:pt x="380" y="52"/>
                    </a:lnTo>
                    <a:lnTo>
                      <a:pt x="381" y="52"/>
                    </a:lnTo>
                    <a:lnTo>
                      <a:pt x="380" y="51"/>
                    </a:lnTo>
                    <a:lnTo>
                      <a:pt x="381" y="51"/>
                    </a:lnTo>
                    <a:lnTo>
                      <a:pt x="380" y="49"/>
                    </a:lnTo>
                    <a:lnTo>
                      <a:pt x="381" y="49"/>
                    </a:lnTo>
                    <a:lnTo>
                      <a:pt x="380" y="49"/>
                    </a:lnTo>
                    <a:lnTo>
                      <a:pt x="380" y="47"/>
                    </a:lnTo>
                    <a:lnTo>
                      <a:pt x="378" y="46"/>
                    </a:lnTo>
                    <a:lnTo>
                      <a:pt x="380" y="46"/>
                    </a:lnTo>
                    <a:lnTo>
                      <a:pt x="380" y="44"/>
                    </a:lnTo>
                    <a:lnTo>
                      <a:pt x="380" y="42"/>
                    </a:lnTo>
                    <a:lnTo>
                      <a:pt x="380" y="41"/>
                    </a:lnTo>
                    <a:lnTo>
                      <a:pt x="381" y="42"/>
                    </a:lnTo>
                    <a:lnTo>
                      <a:pt x="383" y="41"/>
                    </a:lnTo>
                    <a:lnTo>
                      <a:pt x="383" y="42"/>
                    </a:lnTo>
                    <a:lnTo>
                      <a:pt x="383" y="41"/>
                    </a:lnTo>
                    <a:lnTo>
                      <a:pt x="385" y="41"/>
                    </a:lnTo>
                    <a:lnTo>
                      <a:pt x="385" y="42"/>
                    </a:lnTo>
                    <a:lnTo>
                      <a:pt x="386" y="42"/>
                    </a:lnTo>
                    <a:lnTo>
                      <a:pt x="386" y="41"/>
                    </a:lnTo>
                    <a:lnTo>
                      <a:pt x="386" y="39"/>
                    </a:lnTo>
                    <a:lnTo>
                      <a:pt x="388" y="39"/>
                    </a:lnTo>
                    <a:lnTo>
                      <a:pt x="388" y="37"/>
                    </a:lnTo>
                    <a:lnTo>
                      <a:pt x="390" y="39"/>
                    </a:lnTo>
                    <a:lnTo>
                      <a:pt x="390" y="37"/>
                    </a:lnTo>
                    <a:lnTo>
                      <a:pt x="391" y="37"/>
                    </a:lnTo>
                    <a:lnTo>
                      <a:pt x="393" y="37"/>
                    </a:lnTo>
                    <a:lnTo>
                      <a:pt x="395" y="39"/>
                    </a:lnTo>
                    <a:lnTo>
                      <a:pt x="395" y="37"/>
                    </a:lnTo>
                    <a:lnTo>
                      <a:pt x="395" y="39"/>
                    </a:lnTo>
                    <a:lnTo>
                      <a:pt x="395" y="37"/>
                    </a:lnTo>
                    <a:lnTo>
                      <a:pt x="397" y="39"/>
                    </a:lnTo>
                    <a:lnTo>
                      <a:pt x="398" y="39"/>
                    </a:lnTo>
                    <a:lnTo>
                      <a:pt x="400" y="39"/>
                    </a:lnTo>
                    <a:lnTo>
                      <a:pt x="400" y="41"/>
                    </a:lnTo>
                    <a:lnTo>
                      <a:pt x="402" y="39"/>
                    </a:lnTo>
                    <a:lnTo>
                      <a:pt x="403" y="39"/>
                    </a:lnTo>
                    <a:lnTo>
                      <a:pt x="402" y="37"/>
                    </a:lnTo>
                    <a:lnTo>
                      <a:pt x="403" y="37"/>
                    </a:lnTo>
                    <a:lnTo>
                      <a:pt x="405" y="37"/>
                    </a:lnTo>
                    <a:lnTo>
                      <a:pt x="407" y="37"/>
                    </a:lnTo>
                    <a:lnTo>
                      <a:pt x="407" y="39"/>
                    </a:lnTo>
                    <a:lnTo>
                      <a:pt x="408" y="39"/>
                    </a:lnTo>
                    <a:lnTo>
                      <a:pt x="408" y="37"/>
                    </a:lnTo>
                    <a:lnTo>
                      <a:pt x="410" y="37"/>
                    </a:lnTo>
                    <a:lnTo>
                      <a:pt x="412" y="37"/>
                    </a:lnTo>
                    <a:lnTo>
                      <a:pt x="412" y="35"/>
                    </a:lnTo>
                    <a:lnTo>
                      <a:pt x="414" y="35"/>
                    </a:lnTo>
                    <a:lnTo>
                      <a:pt x="414" y="34"/>
                    </a:lnTo>
                    <a:lnTo>
                      <a:pt x="415" y="34"/>
                    </a:lnTo>
                    <a:lnTo>
                      <a:pt x="417" y="34"/>
                    </a:lnTo>
                    <a:lnTo>
                      <a:pt x="417" y="35"/>
                    </a:lnTo>
                    <a:lnTo>
                      <a:pt x="417" y="34"/>
                    </a:lnTo>
                    <a:lnTo>
                      <a:pt x="419" y="34"/>
                    </a:lnTo>
                    <a:lnTo>
                      <a:pt x="420" y="34"/>
                    </a:lnTo>
                    <a:lnTo>
                      <a:pt x="422" y="34"/>
                    </a:lnTo>
                    <a:lnTo>
                      <a:pt x="422" y="32"/>
                    </a:lnTo>
                    <a:lnTo>
                      <a:pt x="422" y="30"/>
                    </a:lnTo>
                    <a:lnTo>
                      <a:pt x="422" y="29"/>
                    </a:lnTo>
                    <a:lnTo>
                      <a:pt x="424" y="29"/>
                    </a:lnTo>
                    <a:lnTo>
                      <a:pt x="425" y="29"/>
                    </a:lnTo>
                    <a:lnTo>
                      <a:pt x="427" y="29"/>
                    </a:lnTo>
                    <a:lnTo>
                      <a:pt x="429" y="29"/>
                    </a:lnTo>
                    <a:lnTo>
                      <a:pt x="429" y="27"/>
                    </a:lnTo>
                    <a:lnTo>
                      <a:pt x="429" y="25"/>
                    </a:lnTo>
                    <a:lnTo>
                      <a:pt x="427" y="25"/>
                    </a:lnTo>
                    <a:lnTo>
                      <a:pt x="429" y="25"/>
                    </a:lnTo>
                    <a:lnTo>
                      <a:pt x="431" y="25"/>
                    </a:lnTo>
                    <a:lnTo>
                      <a:pt x="432" y="25"/>
                    </a:lnTo>
                    <a:lnTo>
                      <a:pt x="434" y="25"/>
                    </a:lnTo>
                    <a:lnTo>
                      <a:pt x="434" y="27"/>
                    </a:lnTo>
                    <a:lnTo>
                      <a:pt x="434" y="25"/>
                    </a:lnTo>
                    <a:lnTo>
                      <a:pt x="436" y="25"/>
                    </a:lnTo>
                    <a:lnTo>
                      <a:pt x="437" y="25"/>
                    </a:lnTo>
                    <a:lnTo>
                      <a:pt x="439" y="25"/>
                    </a:lnTo>
                    <a:lnTo>
                      <a:pt x="439" y="24"/>
                    </a:lnTo>
                    <a:lnTo>
                      <a:pt x="441" y="24"/>
                    </a:lnTo>
                    <a:lnTo>
                      <a:pt x="441" y="22"/>
                    </a:lnTo>
                    <a:lnTo>
                      <a:pt x="441" y="20"/>
                    </a:lnTo>
                    <a:lnTo>
                      <a:pt x="442" y="20"/>
                    </a:lnTo>
                    <a:lnTo>
                      <a:pt x="442" y="18"/>
                    </a:lnTo>
                    <a:lnTo>
                      <a:pt x="444" y="18"/>
                    </a:lnTo>
                    <a:lnTo>
                      <a:pt x="446" y="18"/>
                    </a:lnTo>
                    <a:lnTo>
                      <a:pt x="446" y="17"/>
                    </a:lnTo>
                    <a:lnTo>
                      <a:pt x="448" y="17"/>
                    </a:lnTo>
                    <a:lnTo>
                      <a:pt x="448" y="15"/>
                    </a:lnTo>
                    <a:lnTo>
                      <a:pt x="449" y="15"/>
                    </a:lnTo>
                    <a:lnTo>
                      <a:pt x="449" y="13"/>
                    </a:lnTo>
                    <a:lnTo>
                      <a:pt x="451" y="13"/>
                    </a:lnTo>
                    <a:lnTo>
                      <a:pt x="451" y="12"/>
                    </a:lnTo>
                    <a:lnTo>
                      <a:pt x="453" y="12"/>
                    </a:lnTo>
                    <a:lnTo>
                      <a:pt x="453" y="10"/>
                    </a:lnTo>
                    <a:lnTo>
                      <a:pt x="453" y="8"/>
                    </a:lnTo>
                    <a:lnTo>
                      <a:pt x="451" y="8"/>
                    </a:lnTo>
                    <a:lnTo>
                      <a:pt x="451" y="6"/>
                    </a:lnTo>
                    <a:lnTo>
                      <a:pt x="451" y="5"/>
                    </a:lnTo>
                    <a:lnTo>
                      <a:pt x="451" y="3"/>
                    </a:lnTo>
                    <a:lnTo>
                      <a:pt x="449" y="3"/>
                    </a:lnTo>
                    <a:lnTo>
                      <a:pt x="449" y="1"/>
                    </a:lnTo>
                    <a:lnTo>
                      <a:pt x="448" y="1"/>
                    </a:lnTo>
                    <a:lnTo>
                      <a:pt x="449" y="1"/>
                    </a:lnTo>
                    <a:lnTo>
                      <a:pt x="451" y="1"/>
                    </a:lnTo>
                    <a:lnTo>
                      <a:pt x="453" y="1"/>
                    </a:lnTo>
                    <a:lnTo>
                      <a:pt x="454" y="1"/>
                    </a:lnTo>
                    <a:lnTo>
                      <a:pt x="456" y="1"/>
                    </a:lnTo>
                    <a:lnTo>
                      <a:pt x="458" y="1"/>
                    </a:lnTo>
                    <a:lnTo>
                      <a:pt x="458" y="3"/>
                    </a:lnTo>
                    <a:lnTo>
                      <a:pt x="458" y="1"/>
                    </a:lnTo>
                    <a:lnTo>
                      <a:pt x="459" y="1"/>
                    </a:lnTo>
                    <a:lnTo>
                      <a:pt x="461" y="1"/>
                    </a:lnTo>
                    <a:lnTo>
                      <a:pt x="463" y="1"/>
                    </a:lnTo>
                    <a:lnTo>
                      <a:pt x="465" y="0"/>
                    </a:lnTo>
                    <a:lnTo>
                      <a:pt x="466" y="0"/>
                    </a:lnTo>
                    <a:lnTo>
                      <a:pt x="466" y="1"/>
                    </a:lnTo>
                    <a:lnTo>
                      <a:pt x="468" y="1"/>
                    </a:lnTo>
                    <a:lnTo>
                      <a:pt x="468" y="0"/>
                    </a:lnTo>
                    <a:lnTo>
                      <a:pt x="468" y="1"/>
                    </a:lnTo>
                    <a:lnTo>
                      <a:pt x="470" y="1"/>
                    </a:lnTo>
                    <a:lnTo>
                      <a:pt x="470" y="3"/>
                    </a:lnTo>
                    <a:lnTo>
                      <a:pt x="470" y="5"/>
                    </a:lnTo>
                    <a:lnTo>
                      <a:pt x="471" y="5"/>
                    </a:lnTo>
                    <a:lnTo>
                      <a:pt x="471" y="6"/>
                    </a:lnTo>
                    <a:lnTo>
                      <a:pt x="473" y="6"/>
                    </a:lnTo>
                    <a:lnTo>
                      <a:pt x="473" y="8"/>
                    </a:lnTo>
                    <a:lnTo>
                      <a:pt x="473" y="10"/>
                    </a:lnTo>
                    <a:lnTo>
                      <a:pt x="473" y="12"/>
                    </a:lnTo>
                    <a:lnTo>
                      <a:pt x="473" y="13"/>
                    </a:lnTo>
                    <a:lnTo>
                      <a:pt x="471" y="15"/>
                    </a:lnTo>
                    <a:lnTo>
                      <a:pt x="471" y="17"/>
                    </a:lnTo>
                    <a:lnTo>
                      <a:pt x="471" y="18"/>
                    </a:lnTo>
                    <a:lnTo>
                      <a:pt x="471" y="20"/>
                    </a:lnTo>
                    <a:lnTo>
                      <a:pt x="470" y="20"/>
                    </a:lnTo>
                    <a:lnTo>
                      <a:pt x="470" y="22"/>
                    </a:lnTo>
                    <a:lnTo>
                      <a:pt x="468" y="22"/>
                    </a:lnTo>
                    <a:lnTo>
                      <a:pt x="468" y="24"/>
                    </a:lnTo>
                    <a:lnTo>
                      <a:pt x="468" y="25"/>
                    </a:lnTo>
                    <a:lnTo>
                      <a:pt x="470" y="25"/>
                    </a:lnTo>
                    <a:lnTo>
                      <a:pt x="471" y="25"/>
                    </a:lnTo>
                    <a:lnTo>
                      <a:pt x="470" y="25"/>
                    </a:lnTo>
                    <a:lnTo>
                      <a:pt x="471" y="25"/>
                    </a:lnTo>
                    <a:lnTo>
                      <a:pt x="471" y="27"/>
                    </a:lnTo>
                    <a:lnTo>
                      <a:pt x="473" y="25"/>
                    </a:lnTo>
                    <a:lnTo>
                      <a:pt x="473" y="27"/>
                    </a:lnTo>
                    <a:lnTo>
                      <a:pt x="473" y="25"/>
                    </a:lnTo>
                    <a:lnTo>
                      <a:pt x="475" y="25"/>
                    </a:lnTo>
                    <a:lnTo>
                      <a:pt x="475" y="27"/>
                    </a:lnTo>
                    <a:lnTo>
                      <a:pt x="476" y="27"/>
                    </a:lnTo>
                    <a:lnTo>
                      <a:pt x="478" y="27"/>
                    </a:lnTo>
                    <a:lnTo>
                      <a:pt x="476" y="27"/>
                    </a:lnTo>
                    <a:lnTo>
                      <a:pt x="478" y="27"/>
                    </a:lnTo>
                    <a:lnTo>
                      <a:pt x="480" y="27"/>
                    </a:lnTo>
                    <a:lnTo>
                      <a:pt x="482" y="29"/>
                    </a:lnTo>
                    <a:lnTo>
                      <a:pt x="482" y="30"/>
                    </a:lnTo>
                    <a:lnTo>
                      <a:pt x="483" y="30"/>
                    </a:lnTo>
                    <a:lnTo>
                      <a:pt x="483" y="32"/>
                    </a:lnTo>
                    <a:lnTo>
                      <a:pt x="482" y="32"/>
                    </a:lnTo>
                    <a:lnTo>
                      <a:pt x="482" y="34"/>
                    </a:lnTo>
                    <a:lnTo>
                      <a:pt x="483" y="34"/>
                    </a:lnTo>
                    <a:lnTo>
                      <a:pt x="482" y="34"/>
                    </a:lnTo>
                    <a:lnTo>
                      <a:pt x="482" y="35"/>
                    </a:lnTo>
                    <a:lnTo>
                      <a:pt x="482" y="37"/>
                    </a:lnTo>
                    <a:lnTo>
                      <a:pt x="483" y="37"/>
                    </a:lnTo>
                    <a:lnTo>
                      <a:pt x="485" y="37"/>
                    </a:lnTo>
                    <a:lnTo>
                      <a:pt x="485" y="39"/>
                    </a:lnTo>
                    <a:lnTo>
                      <a:pt x="485" y="41"/>
                    </a:lnTo>
                    <a:lnTo>
                      <a:pt x="487" y="42"/>
                    </a:lnTo>
                    <a:lnTo>
                      <a:pt x="487" y="44"/>
                    </a:lnTo>
                    <a:lnTo>
                      <a:pt x="488" y="44"/>
                    </a:lnTo>
                    <a:lnTo>
                      <a:pt x="488" y="46"/>
                    </a:lnTo>
                    <a:lnTo>
                      <a:pt x="487" y="46"/>
                    </a:lnTo>
                    <a:lnTo>
                      <a:pt x="487" y="47"/>
                    </a:lnTo>
                    <a:lnTo>
                      <a:pt x="487" y="49"/>
                    </a:lnTo>
                    <a:lnTo>
                      <a:pt x="485" y="49"/>
                    </a:lnTo>
                    <a:lnTo>
                      <a:pt x="485" y="51"/>
                    </a:lnTo>
                    <a:lnTo>
                      <a:pt x="485" y="49"/>
                    </a:lnTo>
                    <a:lnTo>
                      <a:pt x="485" y="51"/>
                    </a:lnTo>
                    <a:lnTo>
                      <a:pt x="483" y="51"/>
                    </a:lnTo>
                    <a:lnTo>
                      <a:pt x="483" y="52"/>
                    </a:lnTo>
                    <a:lnTo>
                      <a:pt x="482" y="54"/>
                    </a:lnTo>
                    <a:lnTo>
                      <a:pt x="480" y="56"/>
                    </a:lnTo>
                    <a:lnTo>
                      <a:pt x="478" y="56"/>
                    </a:lnTo>
                    <a:lnTo>
                      <a:pt x="478" y="58"/>
                    </a:lnTo>
                    <a:lnTo>
                      <a:pt x="476" y="58"/>
                    </a:lnTo>
                    <a:lnTo>
                      <a:pt x="478" y="58"/>
                    </a:lnTo>
                    <a:lnTo>
                      <a:pt x="476" y="58"/>
                    </a:lnTo>
                    <a:lnTo>
                      <a:pt x="478" y="58"/>
                    </a:lnTo>
                    <a:lnTo>
                      <a:pt x="478" y="59"/>
                    </a:lnTo>
                    <a:lnTo>
                      <a:pt x="480" y="59"/>
                    </a:lnTo>
                    <a:lnTo>
                      <a:pt x="478" y="61"/>
                    </a:lnTo>
                    <a:lnTo>
                      <a:pt x="480" y="61"/>
                    </a:lnTo>
                    <a:lnTo>
                      <a:pt x="478" y="61"/>
                    </a:lnTo>
                    <a:lnTo>
                      <a:pt x="478" y="63"/>
                    </a:lnTo>
                    <a:lnTo>
                      <a:pt x="480" y="63"/>
                    </a:lnTo>
                    <a:lnTo>
                      <a:pt x="478" y="63"/>
                    </a:lnTo>
                    <a:lnTo>
                      <a:pt x="480" y="63"/>
                    </a:lnTo>
                    <a:lnTo>
                      <a:pt x="480" y="64"/>
                    </a:lnTo>
                    <a:lnTo>
                      <a:pt x="478" y="64"/>
                    </a:lnTo>
                    <a:lnTo>
                      <a:pt x="478" y="66"/>
                    </a:lnTo>
                    <a:lnTo>
                      <a:pt x="478" y="68"/>
                    </a:lnTo>
                    <a:lnTo>
                      <a:pt x="476" y="68"/>
                    </a:lnTo>
                    <a:lnTo>
                      <a:pt x="476" y="69"/>
                    </a:lnTo>
                    <a:lnTo>
                      <a:pt x="476" y="71"/>
                    </a:lnTo>
                    <a:lnTo>
                      <a:pt x="475" y="71"/>
                    </a:lnTo>
                    <a:lnTo>
                      <a:pt x="476" y="71"/>
                    </a:lnTo>
                    <a:lnTo>
                      <a:pt x="475" y="73"/>
                    </a:lnTo>
                    <a:lnTo>
                      <a:pt x="476" y="73"/>
                    </a:lnTo>
                    <a:lnTo>
                      <a:pt x="475" y="73"/>
                    </a:lnTo>
                    <a:lnTo>
                      <a:pt x="475" y="75"/>
                    </a:lnTo>
                    <a:lnTo>
                      <a:pt x="475" y="76"/>
                    </a:lnTo>
                    <a:lnTo>
                      <a:pt x="475" y="78"/>
                    </a:lnTo>
                    <a:lnTo>
                      <a:pt x="473" y="78"/>
                    </a:lnTo>
                    <a:lnTo>
                      <a:pt x="473" y="80"/>
                    </a:lnTo>
                    <a:lnTo>
                      <a:pt x="473" y="81"/>
                    </a:lnTo>
                    <a:lnTo>
                      <a:pt x="473" y="83"/>
                    </a:lnTo>
                    <a:lnTo>
                      <a:pt x="473" y="85"/>
                    </a:lnTo>
                    <a:lnTo>
                      <a:pt x="473" y="86"/>
                    </a:lnTo>
                    <a:lnTo>
                      <a:pt x="473" y="88"/>
                    </a:lnTo>
                    <a:lnTo>
                      <a:pt x="475" y="90"/>
                    </a:lnTo>
                    <a:lnTo>
                      <a:pt x="473" y="90"/>
                    </a:lnTo>
                    <a:lnTo>
                      <a:pt x="475" y="90"/>
                    </a:lnTo>
                    <a:lnTo>
                      <a:pt x="475" y="92"/>
                    </a:lnTo>
                    <a:lnTo>
                      <a:pt x="475" y="93"/>
                    </a:lnTo>
                    <a:lnTo>
                      <a:pt x="476" y="93"/>
                    </a:lnTo>
                    <a:lnTo>
                      <a:pt x="476" y="95"/>
                    </a:lnTo>
                    <a:lnTo>
                      <a:pt x="476" y="97"/>
                    </a:lnTo>
                    <a:lnTo>
                      <a:pt x="476" y="98"/>
                    </a:lnTo>
                    <a:lnTo>
                      <a:pt x="478" y="98"/>
                    </a:lnTo>
                    <a:lnTo>
                      <a:pt x="478" y="100"/>
                    </a:lnTo>
                    <a:lnTo>
                      <a:pt x="478" y="98"/>
                    </a:lnTo>
                    <a:lnTo>
                      <a:pt x="478" y="100"/>
                    </a:lnTo>
                    <a:lnTo>
                      <a:pt x="480" y="100"/>
                    </a:lnTo>
                    <a:lnTo>
                      <a:pt x="482" y="100"/>
                    </a:lnTo>
                    <a:lnTo>
                      <a:pt x="482" y="102"/>
                    </a:lnTo>
                    <a:lnTo>
                      <a:pt x="482" y="103"/>
                    </a:lnTo>
                    <a:lnTo>
                      <a:pt x="482" y="105"/>
                    </a:lnTo>
                    <a:lnTo>
                      <a:pt x="482" y="107"/>
                    </a:lnTo>
                    <a:lnTo>
                      <a:pt x="482" y="109"/>
                    </a:lnTo>
                    <a:lnTo>
                      <a:pt x="482" y="110"/>
                    </a:lnTo>
                    <a:lnTo>
                      <a:pt x="482" y="112"/>
                    </a:lnTo>
                    <a:lnTo>
                      <a:pt x="482" y="114"/>
                    </a:lnTo>
                    <a:lnTo>
                      <a:pt x="482" y="115"/>
                    </a:lnTo>
                    <a:lnTo>
                      <a:pt x="483" y="115"/>
                    </a:lnTo>
                    <a:lnTo>
                      <a:pt x="485" y="115"/>
                    </a:lnTo>
                    <a:lnTo>
                      <a:pt x="485" y="117"/>
                    </a:lnTo>
                    <a:lnTo>
                      <a:pt x="483" y="117"/>
                    </a:lnTo>
                    <a:lnTo>
                      <a:pt x="483" y="119"/>
                    </a:lnTo>
                    <a:lnTo>
                      <a:pt x="485" y="119"/>
                    </a:lnTo>
                    <a:lnTo>
                      <a:pt x="485" y="120"/>
                    </a:lnTo>
                    <a:lnTo>
                      <a:pt x="487" y="120"/>
                    </a:lnTo>
                    <a:lnTo>
                      <a:pt x="487" y="119"/>
                    </a:lnTo>
                    <a:lnTo>
                      <a:pt x="488" y="119"/>
                    </a:lnTo>
                    <a:lnTo>
                      <a:pt x="488" y="120"/>
                    </a:lnTo>
                    <a:lnTo>
                      <a:pt x="490" y="122"/>
                    </a:lnTo>
                    <a:lnTo>
                      <a:pt x="490" y="120"/>
                    </a:lnTo>
                    <a:lnTo>
                      <a:pt x="490" y="122"/>
                    </a:lnTo>
                    <a:lnTo>
                      <a:pt x="490" y="124"/>
                    </a:lnTo>
                    <a:lnTo>
                      <a:pt x="492" y="124"/>
                    </a:lnTo>
                    <a:lnTo>
                      <a:pt x="492" y="126"/>
                    </a:lnTo>
                    <a:lnTo>
                      <a:pt x="493" y="126"/>
                    </a:lnTo>
                    <a:lnTo>
                      <a:pt x="493" y="127"/>
                    </a:lnTo>
                    <a:lnTo>
                      <a:pt x="495" y="127"/>
                    </a:lnTo>
                    <a:lnTo>
                      <a:pt x="495" y="129"/>
                    </a:lnTo>
                    <a:lnTo>
                      <a:pt x="497" y="129"/>
                    </a:lnTo>
                    <a:lnTo>
                      <a:pt x="497" y="131"/>
                    </a:lnTo>
                    <a:lnTo>
                      <a:pt x="499" y="131"/>
                    </a:lnTo>
                    <a:lnTo>
                      <a:pt x="500" y="131"/>
                    </a:lnTo>
                    <a:lnTo>
                      <a:pt x="500" y="132"/>
                    </a:lnTo>
                    <a:lnTo>
                      <a:pt x="502" y="132"/>
                    </a:lnTo>
                    <a:lnTo>
                      <a:pt x="504" y="132"/>
                    </a:lnTo>
                    <a:lnTo>
                      <a:pt x="505" y="132"/>
                    </a:lnTo>
                    <a:lnTo>
                      <a:pt x="507" y="132"/>
                    </a:lnTo>
                    <a:lnTo>
                      <a:pt x="507" y="134"/>
                    </a:lnTo>
                    <a:lnTo>
                      <a:pt x="509" y="134"/>
                    </a:lnTo>
                    <a:lnTo>
                      <a:pt x="510" y="134"/>
                    </a:lnTo>
                    <a:lnTo>
                      <a:pt x="510" y="136"/>
                    </a:lnTo>
                    <a:lnTo>
                      <a:pt x="509" y="136"/>
                    </a:lnTo>
                    <a:lnTo>
                      <a:pt x="510" y="136"/>
                    </a:lnTo>
                    <a:lnTo>
                      <a:pt x="510" y="137"/>
                    </a:lnTo>
                    <a:lnTo>
                      <a:pt x="512" y="137"/>
                    </a:lnTo>
                    <a:lnTo>
                      <a:pt x="514" y="137"/>
                    </a:lnTo>
                    <a:lnTo>
                      <a:pt x="516" y="137"/>
                    </a:lnTo>
                    <a:lnTo>
                      <a:pt x="516" y="136"/>
                    </a:lnTo>
                    <a:lnTo>
                      <a:pt x="516" y="134"/>
                    </a:lnTo>
                    <a:lnTo>
                      <a:pt x="517" y="134"/>
                    </a:lnTo>
                    <a:lnTo>
                      <a:pt x="519" y="134"/>
                    </a:lnTo>
                    <a:lnTo>
                      <a:pt x="521" y="134"/>
                    </a:lnTo>
                    <a:lnTo>
                      <a:pt x="521" y="136"/>
                    </a:lnTo>
                    <a:lnTo>
                      <a:pt x="521" y="134"/>
                    </a:lnTo>
                    <a:lnTo>
                      <a:pt x="522" y="134"/>
                    </a:lnTo>
                    <a:lnTo>
                      <a:pt x="522" y="136"/>
                    </a:lnTo>
                    <a:lnTo>
                      <a:pt x="522" y="134"/>
                    </a:lnTo>
                    <a:lnTo>
                      <a:pt x="524" y="136"/>
                    </a:lnTo>
                    <a:lnTo>
                      <a:pt x="524" y="134"/>
                    </a:lnTo>
                    <a:lnTo>
                      <a:pt x="524" y="132"/>
                    </a:lnTo>
                    <a:lnTo>
                      <a:pt x="524" y="131"/>
                    </a:lnTo>
                    <a:lnTo>
                      <a:pt x="522" y="131"/>
                    </a:lnTo>
                    <a:lnTo>
                      <a:pt x="524" y="129"/>
                    </a:lnTo>
                    <a:lnTo>
                      <a:pt x="522" y="129"/>
                    </a:lnTo>
                    <a:lnTo>
                      <a:pt x="524" y="129"/>
                    </a:lnTo>
                    <a:lnTo>
                      <a:pt x="526" y="129"/>
                    </a:lnTo>
                    <a:lnTo>
                      <a:pt x="526" y="127"/>
                    </a:lnTo>
                    <a:lnTo>
                      <a:pt x="527" y="129"/>
                    </a:lnTo>
                    <a:lnTo>
                      <a:pt x="527" y="127"/>
                    </a:lnTo>
                    <a:lnTo>
                      <a:pt x="527" y="126"/>
                    </a:lnTo>
                    <a:lnTo>
                      <a:pt x="529" y="126"/>
                    </a:lnTo>
                    <a:lnTo>
                      <a:pt x="529" y="124"/>
                    </a:lnTo>
                    <a:lnTo>
                      <a:pt x="529" y="126"/>
                    </a:lnTo>
                    <a:lnTo>
                      <a:pt x="531" y="126"/>
                    </a:lnTo>
                    <a:lnTo>
                      <a:pt x="531" y="124"/>
                    </a:lnTo>
                    <a:lnTo>
                      <a:pt x="531" y="126"/>
                    </a:lnTo>
                    <a:lnTo>
                      <a:pt x="533" y="126"/>
                    </a:lnTo>
                    <a:lnTo>
                      <a:pt x="534" y="126"/>
                    </a:lnTo>
                    <a:lnTo>
                      <a:pt x="536" y="127"/>
                    </a:lnTo>
                    <a:lnTo>
                      <a:pt x="534" y="127"/>
                    </a:lnTo>
                    <a:lnTo>
                      <a:pt x="536" y="127"/>
                    </a:lnTo>
                    <a:lnTo>
                      <a:pt x="538" y="127"/>
                    </a:lnTo>
                    <a:lnTo>
                      <a:pt x="538" y="126"/>
                    </a:lnTo>
                    <a:lnTo>
                      <a:pt x="539" y="127"/>
                    </a:lnTo>
                    <a:lnTo>
                      <a:pt x="539" y="126"/>
                    </a:lnTo>
                    <a:lnTo>
                      <a:pt x="541" y="126"/>
                    </a:lnTo>
                    <a:lnTo>
                      <a:pt x="541" y="124"/>
                    </a:lnTo>
                    <a:lnTo>
                      <a:pt x="541" y="122"/>
                    </a:lnTo>
                    <a:lnTo>
                      <a:pt x="539" y="122"/>
                    </a:lnTo>
                    <a:lnTo>
                      <a:pt x="541" y="122"/>
                    </a:lnTo>
                    <a:lnTo>
                      <a:pt x="543" y="122"/>
                    </a:lnTo>
                    <a:lnTo>
                      <a:pt x="544" y="122"/>
                    </a:lnTo>
                    <a:lnTo>
                      <a:pt x="544" y="120"/>
                    </a:lnTo>
                    <a:lnTo>
                      <a:pt x="544" y="122"/>
                    </a:lnTo>
                    <a:lnTo>
                      <a:pt x="546" y="120"/>
                    </a:lnTo>
                    <a:lnTo>
                      <a:pt x="548" y="120"/>
                    </a:lnTo>
                    <a:lnTo>
                      <a:pt x="548" y="119"/>
                    </a:lnTo>
                    <a:lnTo>
                      <a:pt x="548" y="120"/>
                    </a:lnTo>
                    <a:lnTo>
                      <a:pt x="550" y="119"/>
                    </a:lnTo>
                    <a:lnTo>
                      <a:pt x="550" y="120"/>
                    </a:lnTo>
                    <a:lnTo>
                      <a:pt x="550" y="119"/>
                    </a:lnTo>
                    <a:lnTo>
                      <a:pt x="550" y="120"/>
                    </a:lnTo>
                    <a:lnTo>
                      <a:pt x="551" y="120"/>
                    </a:lnTo>
                    <a:lnTo>
                      <a:pt x="553" y="120"/>
                    </a:lnTo>
                    <a:lnTo>
                      <a:pt x="555" y="120"/>
                    </a:lnTo>
                    <a:lnTo>
                      <a:pt x="556" y="120"/>
                    </a:lnTo>
                    <a:lnTo>
                      <a:pt x="556" y="119"/>
                    </a:lnTo>
                    <a:lnTo>
                      <a:pt x="556" y="117"/>
                    </a:lnTo>
                    <a:lnTo>
                      <a:pt x="558" y="117"/>
                    </a:lnTo>
                    <a:lnTo>
                      <a:pt x="560" y="115"/>
                    </a:lnTo>
                    <a:lnTo>
                      <a:pt x="558" y="115"/>
                    </a:lnTo>
                    <a:lnTo>
                      <a:pt x="560" y="115"/>
                    </a:lnTo>
                    <a:lnTo>
                      <a:pt x="560" y="114"/>
                    </a:lnTo>
                    <a:lnTo>
                      <a:pt x="561" y="112"/>
                    </a:lnTo>
                    <a:lnTo>
                      <a:pt x="561" y="114"/>
                    </a:lnTo>
                    <a:lnTo>
                      <a:pt x="561" y="112"/>
                    </a:lnTo>
                    <a:lnTo>
                      <a:pt x="561" y="110"/>
                    </a:lnTo>
                    <a:lnTo>
                      <a:pt x="563" y="110"/>
                    </a:lnTo>
                    <a:lnTo>
                      <a:pt x="565" y="110"/>
                    </a:lnTo>
                    <a:lnTo>
                      <a:pt x="565" y="112"/>
                    </a:lnTo>
                    <a:lnTo>
                      <a:pt x="567" y="112"/>
                    </a:lnTo>
                    <a:lnTo>
                      <a:pt x="567" y="110"/>
                    </a:lnTo>
                    <a:lnTo>
                      <a:pt x="568" y="110"/>
                    </a:lnTo>
                    <a:lnTo>
                      <a:pt x="570" y="110"/>
                    </a:lnTo>
                    <a:lnTo>
                      <a:pt x="570" y="109"/>
                    </a:lnTo>
                    <a:lnTo>
                      <a:pt x="570" y="110"/>
                    </a:lnTo>
                    <a:lnTo>
                      <a:pt x="572" y="110"/>
                    </a:lnTo>
                    <a:lnTo>
                      <a:pt x="572" y="112"/>
                    </a:lnTo>
                    <a:lnTo>
                      <a:pt x="573" y="112"/>
                    </a:lnTo>
                    <a:lnTo>
                      <a:pt x="573" y="114"/>
                    </a:lnTo>
                    <a:lnTo>
                      <a:pt x="575" y="114"/>
                    </a:lnTo>
                    <a:lnTo>
                      <a:pt x="577" y="112"/>
                    </a:lnTo>
                    <a:lnTo>
                      <a:pt x="577" y="114"/>
                    </a:lnTo>
                    <a:lnTo>
                      <a:pt x="578" y="114"/>
                    </a:lnTo>
                    <a:lnTo>
                      <a:pt x="580" y="114"/>
                    </a:lnTo>
                    <a:lnTo>
                      <a:pt x="580" y="115"/>
                    </a:lnTo>
                    <a:lnTo>
                      <a:pt x="582" y="115"/>
                    </a:lnTo>
                    <a:lnTo>
                      <a:pt x="582" y="114"/>
                    </a:lnTo>
                    <a:lnTo>
                      <a:pt x="584" y="112"/>
                    </a:lnTo>
                    <a:lnTo>
                      <a:pt x="584" y="114"/>
                    </a:lnTo>
                    <a:lnTo>
                      <a:pt x="585" y="114"/>
                    </a:lnTo>
                    <a:lnTo>
                      <a:pt x="585" y="112"/>
                    </a:lnTo>
                    <a:lnTo>
                      <a:pt x="587" y="112"/>
                    </a:lnTo>
                    <a:lnTo>
                      <a:pt x="589" y="114"/>
                    </a:lnTo>
                    <a:lnTo>
                      <a:pt x="590" y="112"/>
                    </a:lnTo>
                    <a:lnTo>
                      <a:pt x="592" y="112"/>
                    </a:lnTo>
                    <a:lnTo>
                      <a:pt x="594" y="112"/>
                    </a:lnTo>
                    <a:lnTo>
                      <a:pt x="594" y="114"/>
                    </a:lnTo>
                    <a:lnTo>
                      <a:pt x="594" y="112"/>
                    </a:lnTo>
                    <a:lnTo>
                      <a:pt x="595" y="112"/>
                    </a:lnTo>
                    <a:lnTo>
                      <a:pt x="597" y="112"/>
                    </a:lnTo>
                    <a:lnTo>
                      <a:pt x="597" y="114"/>
                    </a:lnTo>
                    <a:lnTo>
                      <a:pt x="599" y="114"/>
                    </a:lnTo>
                    <a:lnTo>
                      <a:pt x="601" y="114"/>
                    </a:lnTo>
                    <a:lnTo>
                      <a:pt x="602" y="114"/>
                    </a:lnTo>
                    <a:lnTo>
                      <a:pt x="604" y="115"/>
                    </a:lnTo>
                    <a:lnTo>
                      <a:pt x="606" y="115"/>
                    </a:lnTo>
                    <a:lnTo>
                      <a:pt x="607" y="115"/>
                    </a:lnTo>
                    <a:lnTo>
                      <a:pt x="609" y="115"/>
                    </a:lnTo>
                    <a:lnTo>
                      <a:pt x="611" y="114"/>
                    </a:lnTo>
                    <a:lnTo>
                      <a:pt x="611" y="112"/>
                    </a:lnTo>
                    <a:lnTo>
                      <a:pt x="609" y="110"/>
                    </a:lnTo>
                    <a:lnTo>
                      <a:pt x="611" y="110"/>
                    </a:lnTo>
                    <a:lnTo>
                      <a:pt x="611" y="109"/>
                    </a:lnTo>
                    <a:lnTo>
                      <a:pt x="611" y="107"/>
                    </a:lnTo>
                    <a:lnTo>
                      <a:pt x="609" y="107"/>
                    </a:lnTo>
                    <a:lnTo>
                      <a:pt x="609" y="105"/>
                    </a:lnTo>
                    <a:lnTo>
                      <a:pt x="607" y="105"/>
                    </a:lnTo>
                    <a:lnTo>
                      <a:pt x="606" y="105"/>
                    </a:lnTo>
                    <a:lnTo>
                      <a:pt x="606" y="103"/>
                    </a:lnTo>
                    <a:lnTo>
                      <a:pt x="606" y="102"/>
                    </a:lnTo>
                    <a:lnTo>
                      <a:pt x="604" y="102"/>
                    </a:lnTo>
                    <a:lnTo>
                      <a:pt x="602" y="102"/>
                    </a:lnTo>
                    <a:lnTo>
                      <a:pt x="604" y="100"/>
                    </a:lnTo>
                    <a:lnTo>
                      <a:pt x="604" y="98"/>
                    </a:lnTo>
                    <a:lnTo>
                      <a:pt x="606" y="98"/>
                    </a:lnTo>
                    <a:lnTo>
                      <a:pt x="607" y="98"/>
                    </a:lnTo>
                    <a:lnTo>
                      <a:pt x="606" y="98"/>
                    </a:lnTo>
                    <a:lnTo>
                      <a:pt x="607" y="97"/>
                    </a:lnTo>
                    <a:lnTo>
                      <a:pt x="607" y="95"/>
                    </a:lnTo>
                    <a:lnTo>
                      <a:pt x="607" y="93"/>
                    </a:lnTo>
                    <a:lnTo>
                      <a:pt x="609" y="93"/>
                    </a:lnTo>
                    <a:lnTo>
                      <a:pt x="607" y="93"/>
                    </a:lnTo>
                    <a:lnTo>
                      <a:pt x="609" y="93"/>
                    </a:lnTo>
                    <a:lnTo>
                      <a:pt x="609" y="92"/>
                    </a:lnTo>
                    <a:lnTo>
                      <a:pt x="611" y="92"/>
                    </a:lnTo>
                    <a:lnTo>
                      <a:pt x="611" y="93"/>
                    </a:lnTo>
                    <a:lnTo>
                      <a:pt x="612" y="93"/>
                    </a:lnTo>
                    <a:lnTo>
                      <a:pt x="612" y="95"/>
                    </a:lnTo>
                    <a:lnTo>
                      <a:pt x="614" y="95"/>
                    </a:lnTo>
                    <a:lnTo>
                      <a:pt x="616" y="95"/>
                    </a:lnTo>
                    <a:lnTo>
                      <a:pt x="616" y="97"/>
                    </a:lnTo>
                    <a:lnTo>
                      <a:pt x="618" y="97"/>
                    </a:lnTo>
                    <a:lnTo>
                      <a:pt x="619" y="97"/>
                    </a:lnTo>
                    <a:lnTo>
                      <a:pt x="621" y="97"/>
                    </a:lnTo>
                    <a:lnTo>
                      <a:pt x="621" y="95"/>
                    </a:lnTo>
                    <a:lnTo>
                      <a:pt x="623" y="95"/>
                    </a:lnTo>
                    <a:lnTo>
                      <a:pt x="623" y="97"/>
                    </a:lnTo>
                    <a:lnTo>
                      <a:pt x="623" y="95"/>
                    </a:lnTo>
                    <a:lnTo>
                      <a:pt x="624" y="95"/>
                    </a:lnTo>
                    <a:lnTo>
                      <a:pt x="626" y="95"/>
                    </a:lnTo>
                    <a:lnTo>
                      <a:pt x="628" y="95"/>
                    </a:lnTo>
                    <a:lnTo>
                      <a:pt x="628" y="97"/>
                    </a:lnTo>
                    <a:lnTo>
                      <a:pt x="629" y="97"/>
                    </a:lnTo>
                    <a:lnTo>
                      <a:pt x="629" y="95"/>
                    </a:lnTo>
                    <a:lnTo>
                      <a:pt x="629" y="93"/>
                    </a:lnTo>
                    <a:lnTo>
                      <a:pt x="631" y="93"/>
                    </a:lnTo>
                    <a:lnTo>
                      <a:pt x="633" y="93"/>
                    </a:lnTo>
                    <a:lnTo>
                      <a:pt x="635" y="93"/>
                    </a:lnTo>
                    <a:lnTo>
                      <a:pt x="635" y="92"/>
                    </a:lnTo>
                    <a:lnTo>
                      <a:pt x="636" y="92"/>
                    </a:lnTo>
                    <a:lnTo>
                      <a:pt x="638" y="92"/>
                    </a:lnTo>
                    <a:lnTo>
                      <a:pt x="638" y="93"/>
                    </a:lnTo>
                    <a:lnTo>
                      <a:pt x="638" y="92"/>
                    </a:lnTo>
                    <a:lnTo>
                      <a:pt x="640" y="92"/>
                    </a:lnTo>
                    <a:lnTo>
                      <a:pt x="641" y="92"/>
                    </a:lnTo>
                    <a:lnTo>
                      <a:pt x="641" y="90"/>
                    </a:lnTo>
                    <a:lnTo>
                      <a:pt x="643" y="90"/>
                    </a:lnTo>
                    <a:lnTo>
                      <a:pt x="643" y="92"/>
                    </a:lnTo>
                    <a:lnTo>
                      <a:pt x="643" y="93"/>
                    </a:lnTo>
                    <a:lnTo>
                      <a:pt x="645" y="93"/>
                    </a:lnTo>
                    <a:lnTo>
                      <a:pt x="645" y="95"/>
                    </a:lnTo>
                    <a:lnTo>
                      <a:pt x="646" y="95"/>
                    </a:lnTo>
                    <a:lnTo>
                      <a:pt x="648" y="95"/>
                    </a:lnTo>
                    <a:lnTo>
                      <a:pt x="650" y="95"/>
                    </a:lnTo>
                    <a:lnTo>
                      <a:pt x="652" y="95"/>
                    </a:lnTo>
                    <a:lnTo>
                      <a:pt x="652" y="97"/>
                    </a:lnTo>
                    <a:lnTo>
                      <a:pt x="652" y="98"/>
                    </a:lnTo>
                    <a:lnTo>
                      <a:pt x="653" y="98"/>
                    </a:lnTo>
                    <a:lnTo>
                      <a:pt x="655" y="98"/>
                    </a:lnTo>
                    <a:lnTo>
                      <a:pt x="655" y="100"/>
                    </a:lnTo>
                    <a:lnTo>
                      <a:pt x="657" y="100"/>
                    </a:lnTo>
                    <a:lnTo>
                      <a:pt x="657" y="102"/>
                    </a:lnTo>
                    <a:lnTo>
                      <a:pt x="658" y="102"/>
                    </a:lnTo>
                    <a:lnTo>
                      <a:pt x="660" y="103"/>
                    </a:lnTo>
                    <a:lnTo>
                      <a:pt x="662" y="103"/>
                    </a:lnTo>
                    <a:lnTo>
                      <a:pt x="663" y="103"/>
                    </a:lnTo>
                    <a:lnTo>
                      <a:pt x="663" y="105"/>
                    </a:lnTo>
                    <a:lnTo>
                      <a:pt x="665" y="105"/>
                    </a:lnTo>
                    <a:lnTo>
                      <a:pt x="667" y="105"/>
                    </a:lnTo>
                    <a:lnTo>
                      <a:pt x="669" y="105"/>
                    </a:lnTo>
                    <a:lnTo>
                      <a:pt x="670" y="105"/>
                    </a:lnTo>
                    <a:lnTo>
                      <a:pt x="670" y="107"/>
                    </a:lnTo>
                    <a:lnTo>
                      <a:pt x="672" y="107"/>
                    </a:lnTo>
                    <a:lnTo>
                      <a:pt x="672" y="105"/>
                    </a:lnTo>
                    <a:lnTo>
                      <a:pt x="672" y="103"/>
                    </a:lnTo>
                    <a:lnTo>
                      <a:pt x="674" y="103"/>
                    </a:lnTo>
                    <a:lnTo>
                      <a:pt x="675" y="103"/>
                    </a:lnTo>
                    <a:lnTo>
                      <a:pt x="677" y="103"/>
                    </a:lnTo>
                    <a:lnTo>
                      <a:pt x="677" y="102"/>
                    </a:lnTo>
                    <a:lnTo>
                      <a:pt x="677" y="100"/>
                    </a:lnTo>
                    <a:lnTo>
                      <a:pt x="677" y="102"/>
                    </a:lnTo>
                    <a:lnTo>
                      <a:pt x="679" y="102"/>
                    </a:lnTo>
                    <a:lnTo>
                      <a:pt x="679" y="100"/>
                    </a:lnTo>
                    <a:lnTo>
                      <a:pt x="680" y="100"/>
                    </a:lnTo>
                    <a:lnTo>
                      <a:pt x="682" y="100"/>
                    </a:lnTo>
                    <a:lnTo>
                      <a:pt x="680" y="100"/>
                    </a:lnTo>
                    <a:lnTo>
                      <a:pt x="680" y="98"/>
                    </a:lnTo>
                    <a:lnTo>
                      <a:pt x="682" y="98"/>
                    </a:lnTo>
                    <a:lnTo>
                      <a:pt x="684" y="98"/>
                    </a:lnTo>
                    <a:lnTo>
                      <a:pt x="684" y="100"/>
                    </a:lnTo>
                    <a:lnTo>
                      <a:pt x="686" y="100"/>
                    </a:lnTo>
                    <a:lnTo>
                      <a:pt x="687" y="100"/>
                    </a:lnTo>
                    <a:lnTo>
                      <a:pt x="689" y="100"/>
                    </a:lnTo>
                    <a:lnTo>
                      <a:pt x="689" y="102"/>
                    </a:lnTo>
                    <a:lnTo>
                      <a:pt x="691" y="102"/>
                    </a:lnTo>
                    <a:lnTo>
                      <a:pt x="692" y="102"/>
                    </a:lnTo>
                    <a:lnTo>
                      <a:pt x="694" y="100"/>
                    </a:lnTo>
                    <a:lnTo>
                      <a:pt x="696" y="100"/>
                    </a:lnTo>
                    <a:lnTo>
                      <a:pt x="697" y="100"/>
                    </a:lnTo>
                    <a:lnTo>
                      <a:pt x="699" y="100"/>
                    </a:lnTo>
                    <a:lnTo>
                      <a:pt x="701" y="100"/>
                    </a:lnTo>
                    <a:lnTo>
                      <a:pt x="701" y="102"/>
                    </a:lnTo>
                    <a:lnTo>
                      <a:pt x="701" y="103"/>
                    </a:lnTo>
                    <a:lnTo>
                      <a:pt x="703" y="103"/>
                    </a:lnTo>
                    <a:lnTo>
                      <a:pt x="704" y="103"/>
                    </a:lnTo>
                    <a:lnTo>
                      <a:pt x="706" y="102"/>
                    </a:lnTo>
                    <a:lnTo>
                      <a:pt x="706" y="103"/>
                    </a:lnTo>
                    <a:lnTo>
                      <a:pt x="708" y="103"/>
                    </a:lnTo>
                    <a:lnTo>
                      <a:pt x="709" y="103"/>
                    </a:lnTo>
                    <a:lnTo>
                      <a:pt x="709" y="105"/>
                    </a:lnTo>
                    <a:lnTo>
                      <a:pt x="711" y="105"/>
                    </a:lnTo>
                    <a:lnTo>
                      <a:pt x="711" y="103"/>
                    </a:lnTo>
                    <a:lnTo>
                      <a:pt x="713" y="103"/>
                    </a:lnTo>
                    <a:lnTo>
                      <a:pt x="713" y="102"/>
                    </a:lnTo>
                    <a:lnTo>
                      <a:pt x="714" y="102"/>
                    </a:lnTo>
                    <a:lnTo>
                      <a:pt x="714" y="100"/>
                    </a:lnTo>
                    <a:lnTo>
                      <a:pt x="716" y="100"/>
                    </a:lnTo>
                    <a:lnTo>
                      <a:pt x="718" y="98"/>
                    </a:lnTo>
                    <a:lnTo>
                      <a:pt x="720" y="98"/>
                    </a:lnTo>
                    <a:lnTo>
                      <a:pt x="721" y="98"/>
                    </a:lnTo>
                    <a:lnTo>
                      <a:pt x="721" y="97"/>
                    </a:lnTo>
                    <a:lnTo>
                      <a:pt x="721" y="95"/>
                    </a:lnTo>
                    <a:lnTo>
                      <a:pt x="723" y="95"/>
                    </a:lnTo>
                    <a:lnTo>
                      <a:pt x="721" y="95"/>
                    </a:lnTo>
                    <a:lnTo>
                      <a:pt x="723" y="95"/>
                    </a:lnTo>
                    <a:lnTo>
                      <a:pt x="723" y="93"/>
                    </a:lnTo>
                    <a:lnTo>
                      <a:pt x="725" y="93"/>
                    </a:lnTo>
                    <a:lnTo>
                      <a:pt x="725" y="92"/>
                    </a:lnTo>
                    <a:lnTo>
                      <a:pt x="725" y="90"/>
                    </a:lnTo>
                    <a:lnTo>
                      <a:pt x="725" y="88"/>
                    </a:lnTo>
                    <a:lnTo>
                      <a:pt x="725" y="86"/>
                    </a:lnTo>
                    <a:lnTo>
                      <a:pt x="726" y="86"/>
                    </a:lnTo>
                    <a:lnTo>
                      <a:pt x="726" y="85"/>
                    </a:lnTo>
                    <a:lnTo>
                      <a:pt x="726" y="83"/>
                    </a:lnTo>
                    <a:lnTo>
                      <a:pt x="728" y="83"/>
                    </a:lnTo>
                    <a:lnTo>
                      <a:pt x="728" y="81"/>
                    </a:lnTo>
                    <a:lnTo>
                      <a:pt x="728" y="80"/>
                    </a:lnTo>
                    <a:lnTo>
                      <a:pt x="730" y="80"/>
                    </a:lnTo>
                    <a:lnTo>
                      <a:pt x="730" y="78"/>
                    </a:lnTo>
                    <a:lnTo>
                      <a:pt x="730" y="76"/>
                    </a:lnTo>
                    <a:lnTo>
                      <a:pt x="731" y="76"/>
                    </a:lnTo>
                    <a:lnTo>
                      <a:pt x="731" y="75"/>
                    </a:lnTo>
                    <a:lnTo>
                      <a:pt x="731" y="73"/>
                    </a:lnTo>
                    <a:lnTo>
                      <a:pt x="731" y="71"/>
                    </a:lnTo>
                    <a:lnTo>
                      <a:pt x="733" y="71"/>
                    </a:lnTo>
                    <a:lnTo>
                      <a:pt x="733" y="69"/>
                    </a:lnTo>
                    <a:lnTo>
                      <a:pt x="733" y="68"/>
                    </a:lnTo>
                    <a:lnTo>
                      <a:pt x="735" y="68"/>
                    </a:lnTo>
                    <a:lnTo>
                      <a:pt x="737" y="68"/>
                    </a:lnTo>
                    <a:lnTo>
                      <a:pt x="737" y="66"/>
                    </a:lnTo>
                    <a:lnTo>
                      <a:pt x="737" y="64"/>
                    </a:lnTo>
                    <a:lnTo>
                      <a:pt x="738" y="64"/>
                    </a:lnTo>
                    <a:lnTo>
                      <a:pt x="738" y="63"/>
                    </a:lnTo>
                    <a:lnTo>
                      <a:pt x="738" y="61"/>
                    </a:lnTo>
                    <a:lnTo>
                      <a:pt x="740" y="61"/>
                    </a:lnTo>
                    <a:lnTo>
                      <a:pt x="740" y="59"/>
                    </a:lnTo>
                    <a:lnTo>
                      <a:pt x="742" y="59"/>
                    </a:lnTo>
                    <a:lnTo>
                      <a:pt x="742" y="58"/>
                    </a:lnTo>
                    <a:lnTo>
                      <a:pt x="742" y="56"/>
                    </a:lnTo>
                    <a:lnTo>
                      <a:pt x="743" y="56"/>
                    </a:lnTo>
                    <a:lnTo>
                      <a:pt x="743" y="54"/>
                    </a:lnTo>
                    <a:lnTo>
                      <a:pt x="743" y="52"/>
                    </a:lnTo>
                    <a:lnTo>
                      <a:pt x="745" y="52"/>
                    </a:lnTo>
                    <a:lnTo>
                      <a:pt x="745" y="51"/>
                    </a:lnTo>
                    <a:lnTo>
                      <a:pt x="747" y="49"/>
                    </a:lnTo>
                    <a:lnTo>
                      <a:pt x="748" y="47"/>
                    </a:lnTo>
                    <a:lnTo>
                      <a:pt x="750" y="47"/>
                    </a:lnTo>
                    <a:lnTo>
                      <a:pt x="750" y="46"/>
                    </a:lnTo>
                    <a:lnTo>
                      <a:pt x="750" y="44"/>
                    </a:lnTo>
                    <a:lnTo>
                      <a:pt x="752" y="42"/>
                    </a:lnTo>
                    <a:lnTo>
                      <a:pt x="754" y="42"/>
                    </a:lnTo>
                    <a:lnTo>
                      <a:pt x="754" y="41"/>
                    </a:lnTo>
                    <a:lnTo>
                      <a:pt x="755" y="41"/>
                    </a:lnTo>
                    <a:lnTo>
                      <a:pt x="755" y="39"/>
                    </a:lnTo>
                    <a:lnTo>
                      <a:pt x="755" y="37"/>
                    </a:lnTo>
                    <a:lnTo>
                      <a:pt x="757" y="37"/>
                    </a:lnTo>
                    <a:lnTo>
                      <a:pt x="755" y="35"/>
                    </a:lnTo>
                    <a:lnTo>
                      <a:pt x="757" y="35"/>
                    </a:lnTo>
                    <a:lnTo>
                      <a:pt x="757" y="34"/>
                    </a:lnTo>
                    <a:lnTo>
                      <a:pt x="757" y="35"/>
                    </a:lnTo>
                    <a:lnTo>
                      <a:pt x="759" y="37"/>
                    </a:lnTo>
                    <a:lnTo>
                      <a:pt x="759" y="39"/>
                    </a:lnTo>
                    <a:lnTo>
                      <a:pt x="759" y="41"/>
                    </a:lnTo>
                    <a:lnTo>
                      <a:pt x="760" y="41"/>
                    </a:lnTo>
                    <a:lnTo>
                      <a:pt x="760" y="42"/>
                    </a:lnTo>
                    <a:lnTo>
                      <a:pt x="760" y="44"/>
                    </a:lnTo>
                    <a:lnTo>
                      <a:pt x="762" y="44"/>
                    </a:lnTo>
                    <a:lnTo>
                      <a:pt x="760" y="44"/>
                    </a:lnTo>
                    <a:lnTo>
                      <a:pt x="760" y="42"/>
                    </a:lnTo>
                    <a:lnTo>
                      <a:pt x="760" y="41"/>
                    </a:lnTo>
                    <a:lnTo>
                      <a:pt x="760" y="39"/>
                    </a:lnTo>
                    <a:lnTo>
                      <a:pt x="759" y="39"/>
                    </a:lnTo>
                    <a:lnTo>
                      <a:pt x="759" y="37"/>
                    </a:lnTo>
                    <a:lnTo>
                      <a:pt x="759" y="35"/>
                    </a:lnTo>
                    <a:lnTo>
                      <a:pt x="759" y="34"/>
                    </a:lnTo>
                    <a:lnTo>
                      <a:pt x="757" y="34"/>
                    </a:lnTo>
                    <a:lnTo>
                      <a:pt x="757" y="32"/>
                    </a:lnTo>
                    <a:lnTo>
                      <a:pt x="757" y="30"/>
                    </a:lnTo>
                    <a:lnTo>
                      <a:pt x="757" y="29"/>
                    </a:lnTo>
                    <a:lnTo>
                      <a:pt x="759" y="29"/>
                    </a:lnTo>
                    <a:lnTo>
                      <a:pt x="759" y="27"/>
                    </a:lnTo>
                    <a:lnTo>
                      <a:pt x="760" y="29"/>
                    </a:lnTo>
                    <a:lnTo>
                      <a:pt x="762" y="29"/>
                    </a:lnTo>
                    <a:lnTo>
                      <a:pt x="762" y="30"/>
                    </a:lnTo>
                    <a:lnTo>
                      <a:pt x="764" y="30"/>
                    </a:lnTo>
                    <a:lnTo>
                      <a:pt x="764" y="32"/>
                    </a:lnTo>
                    <a:lnTo>
                      <a:pt x="765" y="32"/>
                    </a:lnTo>
                    <a:lnTo>
                      <a:pt x="765" y="34"/>
                    </a:lnTo>
                    <a:lnTo>
                      <a:pt x="767" y="34"/>
                    </a:lnTo>
                    <a:lnTo>
                      <a:pt x="767" y="35"/>
                    </a:lnTo>
                    <a:lnTo>
                      <a:pt x="769" y="37"/>
                    </a:lnTo>
                    <a:lnTo>
                      <a:pt x="769" y="39"/>
                    </a:lnTo>
                    <a:lnTo>
                      <a:pt x="771" y="39"/>
                    </a:lnTo>
                    <a:lnTo>
                      <a:pt x="771" y="41"/>
                    </a:lnTo>
                    <a:lnTo>
                      <a:pt x="771" y="42"/>
                    </a:lnTo>
                    <a:lnTo>
                      <a:pt x="771" y="44"/>
                    </a:lnTo>
                    <a:lnTo>
                      <a:pt x="771" y="46"/>
                    </a:lnTo>
                    <a:lnTo>
                      <a:pt x="771" y="47"/>
                    </a:lnTo>
                    <a:lnTo>
                      <a:pt x="771" y="49"/>
                    </a:lnTo>
                    <a:lnTo>
                      <a:pt x="771" y="51"/>
                    </a:lnTo>
                    <a:lnTo>
                      <a:pt x="771" y="52"/>
                    </a:lnTo>
                    <a:lnTo>
                      <a:pt x="769" y="54"/>
                    </a:lnTo>
                    <a:lnTo>
                      <a:pt x="771" y="52"/>
                    </a:lnTo>
                    <a:lnTo>
                      <a:pt x="771" y="51"/>
                    </a:lnTo>
                    <a:lnTo>
                      <a:pt x="771" y="49"/>
                    </a:lnTo>
                    <a:lnTo>
                      <a:pt x="771" y="47"/>
                    </a:lnTo>
                    <a:lnTo>
                      <a:pt x="772" y="47"/>
                    </a:lnTo>
                    <a:lnTo>
                      <a:pt x="772" y="46"/>
                    </a:lnTo>
                    <a:lnTo>
                      <a:pt x="774" y="46"/>
                    </a:lnTo>
                    <a:lnTo>
                      <a:pt x="774" y="47"/>
                    </a:lnTo>
                    <a:lnTo>
                      <a:pt x="774" y="49"/>
                    </a:lnTo>
                    <a:lnTo>
                      <a:pt x="774" y="51"/>
                    </a:lnTo>
                    <a:lnTo>
                      <a:pt x="774" y="52"/>
                    </a:lnTo>
                    <a:lnTo>
                      <a:pt x="774" y="54"/>
                    </a:lnTo>
                    <a:lnTo>
                      <a:pt x="774" y="56"/>
                    </a:lnTo>
                    <a:lnTo>
                      <a:pt x="774" y="58"/>
                    </a:lnTo>
                    <a:lnTo>
                      <a:pt x="774" y="59"/>
                    </a:lnTo>
                    <a:lnTo>
                      <a:pt x="774" y="61"/>
                    </a:lnTo>
                    <a:lnTo>
                      <a:pt x="772" y="61"/>
                    </a:lnTo>
                    <a:lnTo>
                      <a:pt x="774" y="63"/>
                    </a:lnTo>
                    <a:lnTo>
                      <a:pt x="774" y="64"/>
                    </a:lnTo>
                    <a:lnTo>
                      <a:pt x="774" y="66"/>
                    </a:lnTo>
                    <a:lnTo>
                      <a:pt x="774" y="68"/>
                    </a:lnTo>
                    <a:lnTo>
                      <a:pt x="776" y="68"/>
                    </a:lnTo>
                    <a:lnTo>
                      <a:pt x="776" y="69"/>
                    </a:lnTo>
                    <a:lnTo>
                      <a:pt x="776" y="71"/>
                    </a:lnTo>
                    <a:lnTo>
                      <a:pt x="776" y="73"/>
                    </a:lnTo>
                    <a:lnTo>
                      <a:pt x="776" y="75"/>
                    </a:lnTo>
                    <a:lnTo>
                      <a:pt x="776" y="76"/>
                    </a:lnTo>
                    <a:lnTo>
                      <a:pt x="777" y="76"/>
                    </a:lnTo>
                    <a:lnTo>
                      <a:pt x="777" y="78"/>
                    </a:lnTo>
                    <a:lnTo>
                      <a:pt x="777" y="80"/>
                    </a:lnTo>
                    <a:lnTo>
                      <a:pt x="779" y="81"/>
                    </a:lnTo>
                    <a:lnTo>
                      <a:pt x="777" y="81"/>
                    </a:lnTo>
                    <a:lnTo>
                      <a:pt x="779" y="83"/>
                    </a:lnTo>
                    <a:lnTo>
                      <a:pt x="779" y="85"/>
                    </a:lnTo>
                    <a:lnTo>
                      <a:pt x="781" y="85"/>
                    </a:lnTo>
                    <a:lnTo>
                      <a:pt x="781" y="86"/>
                    </a:lnTo>
                    <a:lnTo>
                      <a:pt x="781" y="88"/>
                    </a:lnTo>
                    <a:lnTo>
                      <a:pt x="782" y="88"/>
                    </a:lnTo>
                    <a:lnTo>
                      <a:pt x="782" y="90"/>
                    </a:lnTo>
                    <a:lnTo>
                      <a:pt x="782" y="92"/>
                    </a:lnTo>
                    <a:lnTo>
                      <a:pt x="782" y="93"/>
                    </a:lnTo>
                    <a:lnTo>
                      <a:pt x="781" y="93"/>
                    </a:lnTo>
                    <a:lnTo>
                      <a:pt x="782" y="93"/>
                    </a:lnTo>
                    <a:lnTo>
                      <a:pt x="784" y="93"/>
                    </a:lnTo>
                    <a:lnTo>
                      <a:pt x="784" y="95"/>
                    </a:lnTo>
                    <a:lnTo>
                      <a:pt x="784" y="97"/>
                    </a:lnTo>
                    <a:lnTo>
                      <a:pt x="784" y="98"/>
                    </a:lnTo>
                    <a:lnTo>
                      <a:pt x="786" y="98"/>
                    </a:lnTo>
                    <a:lnTo>
                      <a:pt x="786" y="100"/>
                    </a:lnTo>
                    <a:lnTo>
                      <a:pt x="786" y="102"/>
                    </a:lnTo>
                    <a:lnTo>
                      <a:pt x="786" y="103"/>
                    </a:lnTo>
                    <a:lnTo>
                      <a:pt x="788" y="103"/>
                    </a:lnTo>
                    <a:lnTo>
                      <a:pt x="788" y="105"/>
                    </a:lnTo>
                    <a:lnTo>
                      <a:pt x="786" y="105"/>
                    </a:lnTo>
                    <a:lnTo>
                      <a:pt x="786" y="107"/>
                    </a:lnTo>
                    <a:lnTo>
                      <a:pt x="784" y="107"/>
                    </a:lnTo>
                    <a:lnTo>
                      <a:pt x="786" y="107"/>
                    </a:lnTo>
                    <a:lnTo>
                      <a:pt x="788" y="105"/>
                    </a:lnTo>
                    <a:lnTo>
                      <a:pt x="788" y="107"/>
                    </a:lnTo>
                    <a:lnTo>
                      <a:pt x="789" y="107"/>
                    </a:lnTo>
                    <a:lnTo>
                      <a:pt x="791" y="109"/>
                    </a:lnTo>
                    <a:lnTo>
                      <a:pt x="789" y="109"/>
                    </a:lnTo>
                    <a:lnTo>
                      <a:pt x="789" y="110"/>
                    </a:lnTo>
                    <a:lnTo>
                      <a:pt x="791" y="110"/>
                    </a:lnTo>
                    <a:lnTo>
                      <a:pt x="791" y="112"/>
                    </a:lnTo>
                    <a:lnTo>
                      <a:pt x="793" y="112"/>
                    </a:lnTo>
                    <a:lnTo>
                      <a:pt x="793" y="114"/>
                    </a:lnTo>
                    <a:lnTo>
                      <a:pt x="794" y="115"/>
                    </a:lnTo>
                    <a:lnTo>
                      <a:pt x="794" y="117"/>
                    </a:lnTo>
                    <a:lnTo>
                      <a:pt x="796" y="117"/>
                    </a:lnTo>
                    <a:lnTo>
                      <a:pt x="798" y="117"/>
                    </a:lnTo>
                    <a:lnTo>
                      <a:pt x="799" y="117"/>
                    </a:lnTo>
                    <a:lnTo>
                      <a:pt x="801" y="117"/>
                    </a:lnTo>
                    <a:lnTo>
                      <a:pt x="803" y="117"/>
                    </a:lnTo>
                    <a:lnTo>
                      <a:pt x="805" y="117"/>
                    </a:lnTo>
                    <a:lnTo>
                      <a:pt x="806" y="117"/>
                    </a:lnTo>
                    <a:lnTo>
                      <a:pt x="808" y="117"/>
                    </a:lnTo>
                    <a:lnTo>
                      <a:pt x="810" y="119"/>
                    </a:lnTo>
                    <a:lnTo>
                      <a:pt x="811" y="119"/>
                    </a:lnTo>
                    <a:lnTo>
                      <a:pt x="813" y="120"/>
                    </a:lnTo>
                    <a:lnTo>
                      <a:pt x="813" y="122"/>
                    </a:lnTo>
                    <a:lnTo>
                      <a:pt x="813" y="124"/>
                    </a:lnTo>
                    <a:lnTo>
                      <a:pt x="813" y="126"/>
                    </a:lnTo>
                    <a:lnTo>
                      <a:pt x="813" y="127"/>
                    </a:lnTo>
                    <a:lnTo>
                      <a:pt x="815" y="127"/>
                    </a:lnTo>
                    <a:lnTo>
                      <a:pt x="815" y="129"/>
                    </a:lnTo>
                    <a:lnTo>
                      <a:pt x="815" y="131"/>
                    </a:lnTo>
                    <a:lnTo>
                      <a:pt x="815" y="132"/>
                    </a:lnTo>
                    <a:lnTo>
                      <a:pt x="813" y="134"/>
                    </a:lnTo>
                    <a:lnTo>
                      <a:pt x="813" y="136"/>
                    </a:lnTo>
                    <a:lnTo>
                      <a:pt x="811" y="136"/>
                    </a:lnTo>
                    <a:lnTo>
                      <a:pt x="810" y="136"/>
                    </a:lnTo>
                    <a:lnTo>
                      <a:pt x="808" y="136"/>
                    </a:lnTo>
                    <a:lnTo>
                      <a:pt x="806" y="136"/>
                    </a:lnTo>
                    <a:lnTo>
                      <a:pt x="806" y="137"/>
                    </a:lnTo>
                    <a:lnTo>
                      <a:pt x="806" y="136"/>
                    </a:lnTo>
                    <a:lnTo>
                      <a:pt x="806" y="134"/>
                    </a:lnTo>
                    <a:lnTo>
                      <a:pt x="806" y="132"/>
                    </a:lnTo>
                    <a:lnTo>
                      <a:pt x="805" y="132"/>
                    </a:lnTo>
                    <a:lnTo>
                      <a:pt x="803" y="132"/>
                    </a:lnTo>
                    <a:lnTo>
                      <a:pt x="801" y="132"/>
                    </a:lnTo>
                    <a:lnTo>
                      <a:pt x="801" y="134"/>
                    </a:lnTo>
                    <a:lnTo>
                      <a:pt x="803" y="132"/>
                    </a:lnTo>
                    <a:lnTo>
                      <a:pt x="805" y="132"/>
                    </a:lnTo>
                    <a:lnTo>
                      <a:pt x="806" y="132"/>
                    </a:lnTo>
                    <a:lnTo>
                      <a:pt x="806" y="134"/>
                    </a:lnTo>
                    <a:lnTo>
                      <a:pt x="805" y="136"/>
                    </a:lnTo>
                    <a:lnTo>
                      <a:pt x="805" y="137"/>
                    </a:lnTo>
                    <a:lnTo>
                      <a:pt x="806" y="137"/>
                    </a:lnTo>
                    <a:lnTo>
                      <a:pt x="808" y="137"/>
                    </a:lnTo>
                    <a:lnTo>
                      <a:pt x="810" y="137"/>
                    </a:lnTo>
                    <a:lnTo>
                      <a:pt x="811" y="137"/>
                    </a:lnTo>
                    <a:lnTo>
                      <a:pt x="811" y="136"/>
                    </a:lnTo>
                    <a:lnTo>
                      <a:pt x="813" y="136"/>
                    </a:lnTo>
                    <a:lnTo>
                      <a:pt x="813" y="137"/>
                    </a:lnTo>
                    <a:lnTo>
                      <a:pt x="815" y="137"/>
                    </a:lnTo>
                    <a:lnTo>
                      <a:pt x="815" y="139"/>
                    </a:lnTo>
                    <a:lnTo>
                      <a:pt x="813" y="139"/>
                    </a:lnTo>
                    <a:lnTo>
                      <a:pt x="813" y="141"/>
                    </a:lnTo>
                    <a:lnTo>
                      <a:pt x="811" y="141"/>
                    </a:lnTo>
                    <a:lnTo>
                      <a:pt x="810" y="143"/>
                    </a:lnTo>
                    <a:lnTo>
                      <a:pt x="808" y="143"/>
                    </a:lnTo>
                    <a:lnTo>
                      <a:pt x="808" y="144"/>
                    </a:lnTo>
                    <a:lnTo>
                      <a:pt x="806" y="144"/>
                    </a:lnTo>
                    <a:lnTo>
                      <a:pt x="806" y="146"/>
                    </a:lnTo>
                    <a:lnTo>
                      <a:pt x="805" y="146"/>
                    </a:lnTo>
                    <a:lnTo>
                      <a:pt x="805" y="148"/>
                    </a:lnTo>
                    <a:lnTo>
                      <a:pt x="803" y="148"/>
                    </a:lnTo>
                    <a:lnTo>
                      <a:pt x="801" y="148"/>
                    </a:lnTo>
                    <a:lnTo>
                      <a:pt x="801" y="149"/>
                    </a:lnTo>
                    <a:lnTo>
                      <a:pt x="799" y="149"/>
                    </a:lnTo>
                    <a:lnTo>
                      <a:pt x="799" y="151"/>
                    </a:lnTo>
                    <a:lnTo>
                      <a:pt x="799" y="153"/>
                    </a:lnTo>
                    <a:lnTo>
                      <a:pt x="798" y="153"/>
                    </a:lnTo>
                    <a:lnTo>
                      <a:pt x="798" y="154"/>
                    </a:lnTo>
                    <a:lnTo>
                      <a:pt x="796" y="154"/>
                    </a:lnTo>
                    <a:lnTo>
                      <a:pt x="794" y="156"/>
                    </a:lnTo>
                    <a:lnTo>
                      <a:pt x="794" y="158"/>
                    </a:lnTo>
                    <a:lnTo>
                      <a:pt x="793" y="158"/>
                    </a:lnTo>
                    <a:lnTo>
                      <a:pt x="793" y="160"/>
                    </a:lnTo>
                    <a:lnTo>
                      <a:pt x="793" y="161"/>
                    </a:lnTo>
                    <a:lnTo>
                      <a:pt x="791" y="161"/>
                    </a:lnTo>
                    <a:lnTo>
                      <a:pt x="791" y="163"/>
                    </a:lnTo>
                    <a:lnTo>
                      <a:pt x="791" y="165"/>
                    </a:lnTo>
                    <a:lnTo>
                      <a:pt x="789" y="165"/>
                    </a:lnTo>
                    <a:lnTo>
                      <a:pt x="789" y="166"/>
                    </a:lnTo>
                    <a:lnTo>
                      <a:pt x="788" y="166"/>
                    </a:lnTo>
                    <a:lnTo>
                      <a:pt x="788" y="168"/>
                    </a:lnTo>
                    <a:lnTo>
                      <a:pt x="786" y="168"/>
                    </a:lnTo>
                    <a:lnTo>
                      <a:pt x="786" y="170"/>
                    </a:lnTo>
                    <a:lnTo>
                      <a:pt x="784" y="170"/>
                    </a:lnTo>
                    <a:lnTo>
                      <a:pt x="784" y="172"/>
                    </a:lnTo>
                    <a:lnTo>
                      <a:pt x="782" y="172"/>
                    </a:lnTo>
                    <a:lnTo>
                      <a:pt x="781" y="172"/>
                    </a:lnTo>
                    <a:lnTo>
                      <a:pt x="779" y="172"/>
                    </a:lnTo>
                    <a:lnTo>
                      <a:pt x="779" y="173"/>
                    </a:lnTo>
                    <a:lnTo>
                      <a:pt x="777" y="173"/>
                    </a:lnTo>
                    <a:lnTo>
                      <a:pt x="776" y="175"/>
                    </a:lnTo>
                    <a:lnTo>
                      <a:pt x="776" y="177"/>
                    </a:lnTo>
                    <a:lnTo>
                      <a:pt x="774" y="177"/>
                    </a:lnTo>
                    <a:lnTo>
                      <a:pt x="774" y="178"/>
                    </a:lnTo>
                    <a:lnTo>
                      <a:pt x="774" y="180"/>
                    </a:lnTo>
                    <a:lnTo>
                      <a:pt x="777" y="182"/>
                    </a:lnTo>
                    <a:lnTo>
                      <a:pt x="777" y="180"/>
                    </a:lnTo>
                    <a:lnTo>
                      <a:pt x="779" y="180"/>
                    </a:lnTo>
                    <a:lnTo>
                      <a:pt x="781" y="180"/>
                    </a:lnTo>
                    <a:lnTo>
                      <a:pt x="782" y="180"/>
                    </a:lnTo>
                    <a:lnTo>
                      <a:pt x="782" y="178"/>
                    </a:lnTo>
                    <a:lnTo>
                      <a:pt x="784" y="178"/>
                    </a:lnTo>
                    <a:lnTo>
                      <a:pt x="786" y="178"/>
                    </a:lnTo>
                    <a:lnTo>
                      <a:pt x="788" y="178"/>
                    </a:lnTo>
                    <a:lnTo>
                      <a:pt x="788" y="180"/>
                    </a:lnTo>
                    <a:lnTo>
                      <a:pt x="789" y="180"/>
                    </a:lnTo>
                    <a:lnTo>
                      <a:pt x="789" y="182"/>
                    </a:lnTo>
                    <a:lnTo>
                      <a:pt x="788" y="182"/>
                    </a:lnTo>
                    <a:lnTo>
                      <a:pt x="788" y="183"/>
                    </a:lnTo>
                    <a:lnTo>
                      <a:pt x="786" y="183"/>
                    </a:lnTo>
                    <a:lnTo>
                      <a:pt x="784" y="185"/>
                    </a:lnTo>
                    <a:lnTo>
                      <a:pt x="782" y="185"/>
                    </a:lnTo>
                    <a:lnTo>
                      <a:pt x="782" y="187"/>
                    </a:lnTo>
                    <a:lnTo>
                      <a:pt x="781" y="187"/>
                    </a:lnTo>
                    <a:lnTo>
                      <a:pt x="779" y="189"/>
                    </a:lnTo>
                    <a:lnTo>
                      <a:pt x="777" y="190"/>
                    </a:lnTo>
                    <a:lnTo>
                      <a:pt x="776" y="190"/>
                    </a:lnTo>
                    <a:lnTo>
                      <a:pt x="777" y="192"/>
                    </a:lnTo>
                    <a:lnTo>
                      <a:pt x="777" y="190"/>
                    </a:lnTo>
                    <a:lnTo>
                      <a:pt x="779" y="190"/>
                    </a:lnTo>
                    <a:lnTo>
                      <a:pt x="781" y="190"/>
                    </a:lnTo>
                    <a:lnTo>
                      <a:pt x="782" y="190"/>
                    </a:lnTo>
                    <a:lnTo>
                      <a:pt x="782" y="192"/>
                    </a:lnTo>
                    <a:lnTo>
                      <a:pt x="782" y="190"/>
                    </a:lnTo>
                    <a:lnTo>
                      <a:pt x="784" y="190"/>
                    </a:lnTo>
                    <a:lnTo>
                      <a:pt x="784" y="192"/>
                    </a:lnTo>
                    <a:lnTo>
                      <a:pt x="784" y="194"/>
                    </a:lnTo>
                    <a:lnTo>
                      <a:pt x="782" y="194"/>
                    </a:lnTo>
                    <a:lnTo>
                      <a:pt x="782" y="195"/>
                    </a:lnTo>
                    <a:lnTo>
                      <a:pt x="781" y="195"/>
                    </a:lnTo>
                    <a:lnTo>
                      <a:pt x="779" y="195"/>
                    </a:lnTo>
                    <a:lnTo>
                      <a:pt x="779" y="197"/>
                    </a:lnTo>
                    <a:lnTo>
                      <a:pt x="777" y="197"/>
                    </a:lnTo>
                    <a:lnTo>
                      <a:pt x="776" y="197"/>
                    </a:lnTo>
                    <a:lnTo>
                      <a:pt x="776" y="199"/>
                    </a:lnTo>
                    <a:lnTo>
                      <a:pt x="776" y="200"/>
                    </a:lnTo>
                    <a:lnTo>
                      <a:pt x="774" y="200"/>
                    </a:lnTo>
                    <a:lnTo>
                      <a:pt x="776" y="200"/>
                    </a:lnTo>
                    <a:lnTo>
                      <a:pt x="777" y="199"/>
                    </a:lnTo>
                    <a:lnTo>
                      <a:pt x="779" y="197"/>
                    </a:lnTo>
                    <a:lnTo>
                      <a:pt x="781" y="197"/>
                    </a:lnTo>
                    <a:lnTo>
                      <a:pt x="782" y="197"/>
                    </a:lnTo>
                    <a:lnTo>
                      <a:pt x="782" y="199"/>
                    </a:lnTo>
                    <a:lnTo>
                      <a:pt x="782" y="200"/>
                    </a:lnTo>
                    <a:lnTo>
                      <a:pt x="782" y="202"/>
                    </a:lnTo>
                    <a:lnTo>
                      <a:pt x="782" y="204"/>
                    </a:lnTo>
                    <a:lnTo>
                      <a:pt x="784" y="204"/>
                    </a:lnTo>
                    <a:lnTo>
                      <a:pt x="784" y="202"/>
                    </a:lnTo>
                    <a:lnTo>
                      <a:pt x="784" y="200"/>
                    </a:lnTo>
                    <a:lnTo>
                      <a:pt x="784" y="199"/>
                    </a:lnTo>
                    <a:lnTo>
                      <a:pt x="784" y="197"/>
                    </a:lnTo>
                    <a:lnTo>
                      <a:pt x="786" y="197"/>
                    </a:lnTo>
                    <a:lnTo>
                      <a:pt x="786" y="195"/>
                    </a:lnTo>
                    <a:lnTo>
                      <a:pt x="786" y="194"/>
                    </a:lnTo>
                    <a:lnTo>
                      <a:pt x="786" y="192"/>
                    </a:lnTo>
                    <a:lnTo>
                      <a:pt x="786" y="190"/>
                    </a:lnTo>
                    <a:lnTo>
                      <a:pt x="788" y="190"/>
                    </a:lnTo>
                    <a:lnTo>
                      <a:pt x="788" y="189"/>
                    </a:lnTo>
                    <a:lnTo>
                      <a:pt x="788" y="187"/>
                    </a:lnTo>
                    <a:lnTo>
                      <a:pt x="789" y="187"/>
                    </a:lnTo>
                    <a:lnTo>
                      <a:pt x="789" y="185"/>
                    </a:lnTo>
                    <a:lnTo>
                      <a:pt x="791" y="185"/>
                    </a:lnTo>
                    <a:lnTo>
                      <a:pt x="791" y="183"/>
                    </a:lnTo>
                    <a:lnTo>
                      <a:pt x="793" y="183"/>
                    </a:lnTo>
                    <a:lnTo>
                      <a:pt x="794" y="183"/>
                    </a:lnTo>
                    <a:lnTo>
                      <a:pt x="794" y="182"/>
                    </a:lnTo>
                    <a:lnTo>
                      <a:pt x="796" y="182"/>
                    </a:lnTo>
                    <a:lnTo>
                      <a:pt x="798" y="182"/>
                    </a:lnTo>
                    <a:lnTo>
                      <a:pt x="799" y="182"/>
                    </a:lnTo>
                    <a:lnTo>
                      <a:pt x="801" y="182"/>
                    </a:lnTo>
                    <a:lnTo>
                      <a:pt x="803" y="182"/>
                    </a:lnTo>
                    <a:lnTo>
                      <a:pt x="805" y="182"/>
                    </a:lnTo>
                    <a:lnTo>
                      <a:pt x="806" y="182"/>
                    </a:lnTo>
                    <a:lnTo>
                      <a:pt x="806" y="183"/>
                    </a:lnTo>
                    <a:lnTo>
                      <a:pt x="808" y="183"/>
                    </a:lnTo>
                    <a:lnTo>
                      <a:pt x="810" y="183"/>
                    </a:lnTo>
                    <a:lnTo>
                      <a:pt x="811" y="183"/>
                    </a:lnTo>
                    <a:lnTo>
                      <a:pt x="813" y="183"/>
                    </a:lnTo>
                    <a:lnTo>
                      <a:pt x="815" y="183"/>
                    </a:lnTo>
                    <a:lnTo>
                      <a:pt x="815" y="185"/>
                    </a:lnTo>
                    <a:lnTo>
                      <a:pt x="816" y="185"/>
                    </a:lnTo>
                    <a:lnTo>
                      <a:pt x="818" y="185"/>
                    </a:lnTo>
                    <a:lnTo>
                      <a:pt x="820" y="185"/>
                    </a:lnTo>
                    <a:lnTo>
                      <a:pt x="822" y="185"/>
                    </a:lnTo>
                    <a:lnTo>
                      <a:pt x="823" y="187"/>
                    </a:lnTo>
                    <a:lnTo>
                      <a:pt x="823" y="185"/>
                    </a:lnTo>
                    <a:lnTo>
                      <a:pt x="825" y="185"/>
                    </a:lnTo>
                    <a:lnTo>
                      <a:pt x="827" y="185"/>
                    </a:lnTo>
                    <a:lnTo>
                      <a:pt x="828" y="185"/>
                    </a:lnTo>
                    <a:lnTo>
                      <a:pt x="830" y="185"/>
                    </a:lnTo>
                    <a:lnTo>
                      <a:pt x="830" y="183"/>
                    </a:lnTo>
                    <a:lnTo>
                      <a:pt x="832" y="183"/>
                    </a:lnTo>
                    <a:lnTo>
                      <a:pt x="833" y="183"/>
                    </a:lnTo>
                    <a:lnTo>
                      <a:pt x="835" y="183"/>
                    </a:lnTo>
                    <a:lnTo>
                      <a:pt x="837" y="183"/>
                    </a:lnTo>
                    <a:lnTo>
                      <a:pt x="837" y="182"/>
                    </a:lnTo>
                    <a:lnTo>
                      <a:pt x="839" y="183"/>
                    </a:lnTo>
                    <a:lnTo>
                      <a:pt x="840" y="183"/>
                    </a:lnTo>
                    <a:lnTo>
                      <a:pt x="842" y="183"/>
                    </a:lnTo>
                    <a:lnTo>
                      <a:pt x="844" y="183"/>
                    </a:lnTo>
                    <a:lnTo>
                      <a:pt x="845" y="185"/>
                    </a:lnTo>
                    <a:lnTo>
                      <a:pt x="847" y="185"/>
                    </a:lnTo>
                    <a:lnTo>
                      <a:pt x="849" y="185"/>
                    </a:lnTo>
                    <a:lnTo>
                      <a:pt x="850" y="185"/>
                    </a:lnTo>
                    <a:lnTo>
                      <a:pt x="852" y="185"/>
                    </a:lnTo>
                    <a:lnTo>
                      <a:pt x="852" y="187"/>
                    </a:lnTo>
                    <a:lnTo>
                      <a:pt x="854" y="187"/>
                    </a:lnTo>
                    <a:lnTo>
                      <a:pt x="856" y="187"/>
                    </a:lnTo>
                    <a:lnTo>
                      <a:pt x="856" y="185"/>
                    </a:lnTo>
                    <a:lnTo>
                      <a:pt x="857" y="185"/>
                    </a:lnTo>
                    <a:lnTo>
                      <a:pt x="859" y="185"/>
                    </a:lnTo>
                    <a:lnTo>
                      <a:pt x="861" y="185"/>
                    </a:lnTo>
                    <a:lnTo>
                      <a:pt x="861" y="187"/>
                    </a:lnTo>
                    <a:lnTo>
                      <a:pt x="861" y="185"/>
                    </a:lnTo>
                    <a:lnTo>
                      <a:pt x="862" y="185"/>
                    </a:lnTo>
                    <a:lnTo>
                      <a:pt x="864" y="187"/>
                    </a:lnTo>
                    <a:lnTo>
                      <a:pt x="866" y="187"/>
                    </a:lnTo>
                    <a:lnTo>
                      <a:pt x="866" y="189"/>
                    </a:lnTo>
                    <a:lnTo>
                      <a:pt x="864" y="189"/>
                    </a:lnTo>
                    <a:lnTo>
                      <a:pt x="864" y="190"/>
                    </a:lnTo>
                    <a:lnTo>
                      <a:pt x="864" y="192"/>
                    </a:lnTo>
                    <a:lnTo>
                      <a:pt x="862" y="192"/>
                    </a:lnTo>
                    <a:lnTo>
                      <a:pt x="862" y="194"/>
                    </a:lnTo>
                    <a:lnTo>
                      <a:pt x="862" y="195"/>
                    </a:lnTo>
                    <a:lnTo>
                      <a:pt x="862" y="197"/>
                    </a:lnTo>
                    <a:lnTo>
                      <a:pt x="862" y="199"/>
                    </a:lnTo>
                    <a:lnTo>
                      <a:pt x="861" y="199"/>
                    </a:lnTo>
                    <a:lnTo>
                      <a:pt x="862" y="199"/>
                    </a:lnTo>
                    <a:lnTo>
                      <a:pt x="861" y="200"/>
                    </a:lnTo>
                    <a:lnTo>
                      <a:pt x="862" y="200"/>
                    </a:lnTo>
                    <a:lnTo>
                      <a:pt x="861" y="200"/>
                    </a:lnTo>
                    <a:lnTo>
                      <a:pt x="861" y="202"/>
                    </a:lnTo>
                    <a:lnTo>
                      <a:pt x="861" y="204"/>
                    </a:lnTo>
                    <a:lnTo>
                      <a:pt x="861" y="206"/>
                    </a:lnTo>
                    <a:lnTo>
                      <a:pt x="861" y="207"/>
                    </a:lnTo>
                    <a:lnTo>
                      <a:pt x="861" y="209"/>
                    </a:lnTo>
                    <a:lnTo>
                      <a:pt x="859" y="209"/>
                    </a:lnTo>
                    <a:lnTo>
                      <a:pt x="857" y="211"/>
                    </a:lnTo>
                    <a:lnTo>
                      <a:pt x="856" y="212"/>
                    </a:lnTo>
                    <a:lnTo>
                      <a:pt x="857" y="212"/>
                    </a:lnTo>
                    <a:lnTo>
                      <a:pt x="857" y="214"/>
                    </a:lnTo>
                    <a:lnTo>
                      <a:pt x="856" y="214"/>
                    </a:lnTo>
                    <a:lnTo>
                      <a:pt x="856" y="216"/>
                    </a:lnTo>
                    <a:lnTo>
                      <a:pt x="854" y="216"/>
                    </a:lnTo>
                    <a:lnTo>
                      <a:pt x="854" y="217"/>
                    </a:lnTo>
                    <a:lnTo>
                      <a:pt x="852" y="217"/>
                    </a:lnTo>
                    <a:lnTo>
                      <a:pt x="852" y="219"/>
                    </a:lnTo>
                    <a:lnTo>
                      <a:pt x="852" y="221"/>
                    </a:lnTo>
                    <a:lnTo>
                      <a:pt x="850" y="221"/>
                    </a:lnTo>
                    <a:lnTo>
                      <a:pt x="850" y="223"/>
                    </a:lnTo>
                    <a:lnTo>
                      <a:pt x="850" y="224"/>
                    </a:lnTo>
                    <a:lnTo>
                      <a:pt x="850" y="226"/>
                    </a:lnTo>
                    <a:lnTo>
                      <a:pt x="850" y="228"/>
                    </a:lnTo>
                    <a:lnTo>
                      <a:pt x="849" y="228"/>
                    </a:lnTo>
                    <a:lnTo>
                      <a:pt x="847" y="228"/>
                    </a:lnTo>
                    <a:lnTo>
                      <a:pt x="847" y="229"/>
                    </a:lnTo>
                    <a:lnTo>
                      <a:pt x="847" y="231"/>
                    </a:lnTo>
                    <a:lnTo>
                      <a:pt x="847" y="233"/>
                    </a:lnTo>
                    <a:lnTo>
                      <a:pt x="847" y="234"/>
                    </a:lnTo>
                    <a:lnTo>
                      <a:pt x="845" y="234"/>
                    </a:lnTo>
                    <a:lnTo>
                      <a:pt x="845" y="236"/>
                    </a:lnTo>
                    <a:lnTo>
                      <a:pt x="847" y="236"/>
                    </a:lnTo>
                    <a:lnTo>
                      <a:pt x="845" y="238"/>
                    </a:lnTo>
                    <a:lnTo>
                      <a:pt x="844" y="238"/>
                    </a:lnTo>
                    <a:lnTo>
                      <a:pt x="844" y="240"/>
                    </a:lnTo>
                    <a:lnTo>
                      <a:pt x="842" y="241"/>
                    </a:lnTo>
                    <a:lnTo>
                      <a:pt x="842" y="240"/>
                    </a:lnTo>
                    <a:lnTo>
                      <a:pt x="842" y="241"/>
                    </a:lnTo>
                    <a:lnTo>
                      <a:pt x="844" y="240"/>
                    </a:lnTo>
                    <a:lnTo>
                      <a:pt x="845" y="240"/>
                    </a:lnTo>
                    <a:lnTo>
                      <a:pt x="845" y="238"/>
                    </a:lnTo>
                    <a:lnTo>
                      <a:pt x="847" y="238"/>
                    </a:lnTo>
                    <a:lnTo>
                      <a:pt x="847" y="236"/>
                    </a:lnTo>
                    <a:lnTo>
                      <a:pt x="849" y="236"/>
                    </a:lnTo>
                    <a:lnTo>
                      <a:pt x="849" y="234"/>
                    </a:lnTo>
                    <a:lnTo>
                      <a:pt x="849" y="233"/>
                    </a:lnTo>
                    <a:lnTo>
                      <a:pt x="850" y="233"/>
                    </a:lnTo>
                    <a:lnTo>
                      <a:pt x="850" y="231"/>
                    </a:lnTo>
                    <a:lnTo>
                      <a:pt x="852" y="231"/>
                    </a:lnTo>
                    <a:lnTo>
                      <a:pt x="852" y="229"/>
                    </a:lnTo>
                    <a:lnTo>
                      <a:pt x="854" y="229"/>
                    </a:lnTo>
                    <a:lnTo>
                      <a:pt x="854" y="228"/>
                    </a:lnTo>
                    <a:lnTo>
                      <a:pt x="854" y="226"/>
                    </a:lnTo>
                    <a:lnTo>
                      <a:pt x="856" y="226"/>
                    </a:lnTo>
                    <a:lnTo>
                      <a:pt x="856" y="224"/>
                    </a:lnTo>
                    <a:lnTo>
                      <a:pt x="857" y="224"/>
                    </a:lnTo>
                    <a:lnTo>
                      <a:pt x="857" y="223"/>
                    </a:lnTo>
                    <a:lnTo>
                      <a:pt x="859" y="223"/>
                    </a:lnTo>
                    <a:lnTo>
                      <a:pt x="859" y="224"/>
                    </a:lnTo>
                    <a:lnTo>
                      <a:pt x="861" y="224"/>
                    </a:lnTo>
                    <a:lnTo>
                      <a:pt x="861" y="226"/>
                    </a:lnTo>
                    <a:lnTo>
                      <a:pt x="859" y="226"/>
                    </a:lnTo>
                    <a:lnTo>
                      <a:pt x="859" y="228"/>
                    </a:lnTo>
                    <a:lnTo>
                      <a:pt x="861" y="228"/>
                    </a:lnTo>
                    <a:lnTo>
                      <a:pt x="861" y="229"/>
                    </a:lnTo>
                    <a:lnTo>
                      <a:pt x="861" y="228"/>
                    </a:lnTo>
                    <a:lnTo>
                      <a:pt x="862" y="228"/>
                    </a:lnTo>
                    <a:lnTo>
                      <a:pt x="864" y="228"/>
                    </a:lnTo>
                    <a:lnTo>
                      <a:pt x="862" y="228"/>
                    </a:lnTo>
                    <a:lnTo>
                      <a:pt x="861" y="228"/>
                    </a:lnTo>
                    <a:lnTo>
                      <a:pt x="861" y="226"/>
                    </a:lnTo>
                    <a:lnTo>
                      <a:pt x="861" y="224"/>
                    </a:lnTo>
                    <a:lnTo>
                      <a:pt x="862" y="224"/>
                    </a:lnTo>
                    <a:lnTo>
                      <a:pt x="861" y="223"/>
                    </a:lnTo>
                    <a:lnTo>
                      <a:pt x="861" y="221"/>
                    </a:lnTo>
                    <a:lnTo>
                      <a:pt x="862" y="221"/>
                    </a:lnTo>
                    <a:lnTo>
                      <a:pt x="862" y="219"/>
                    </a:lnTo>
                    <a:lnTo>
                      <a:pt x="864" y="219"/>
                    </a:lnTo>
                    <a:lnTo>
                      <a:pt x="862" y="217"/>
                    </a:lnTo>
                    <a:lnTo>
                      <a:pt x="862" y="216"/>
                    </a:lnTo>
                    <a:lnTo>
                      <a:pt x="864" y="216"/>
                    </a:lnTo>
                    <a:lnTo>
                      <a:pt x="864" y="214"/>
                    </a:lnTo>
                    <a:lnTo>
                      <a:pt x="864" y="216"/>
                    </a:lnTo>
                    <a:lnTo>
                      <a:pt x="864" y="214"/>
                    </a:lnTo>
                    <a:lnTo>
                      <a:pt x="866" y="214"/>
                    </a:lnTo>
                    <a:lnTo>
                      <a:pt x="867" y="214"/>
                    </a:lnTo>
                    <a:lnTo>
                      <a:pt x="866" y="214"/>
                    </a:lnTo>
                    <a:lnTo>
                      <a:pt x="867" y="216"/>
                    </a:lnTo>
                    <a:lnTo>
                      <a:pt x="867" y="214"/>
                    </a:lnTo>
                    <a:lnTo>
                      <a:pt x="867" y="212"/>
                    </a:lnTo>
                    <a:lnTo>
                      <a:pt x="867" y="211"/>
                    </a:lnTo>
                    <a:lnTo>
                      <a:pt x="867" y="209"/>
                    </a:lnTo>
                    <a:lnTo>
                      <a:pt x="869" y="209"/>
                    </a:lnTo>
                    <a:lnTo>
                      <a:pt x="869" y="207"/>
                    </a:lnTo>
                    <a:lnTo>
                      <a:pt x="871" y="206"/>
                    </a:lnTo>
                    <a:lnTo>
                      <a:pt x="873" y="206"/>
                    </a:lnTo>
                    <a:lnTo>
                      <a:pt x="873" y="207"/>
                    </a:lnTo>
                    <a:lnTo>
                      <a:pt x="873" y="206"/>
                    </a:lnTo>
                    <a:lnTo>
                      <a:pt x="873" y="204"/>
                    </a:lnTo>
                    <a:lnTo>
                      <a:pt x="874" y="204"/>
                    </a:lnTo>
                    <a:lnTo>
                      <a:pt x="874" y="202"/>
                    </a:lnTo>
                    <a:lnTo>
                      <a:pt x="876" y="200"/>
                    </a:lnTo>
                    <a:lnTo>
                      <a:pt x="878" y="200"/>
                    </a:lnTo>
                    <a:lnTo>
                      <a:pt x="878" y="202"/>
                    </a:lnTo>
                    <a:lnTo>
                      <a:pt x="878" y="200"/>
                    </a:lnTo>
                    <a:lnTo>
                      <a:pt x="878" y="202"/>
                    </a:lnTo>
                    <a:lnTo>
                      <a:pt x="878" y="200"/>
                    </a:lnTo>
                    <a:lnTo>
                      <a:pt x="879" y="202"/>
                    </a:lnTo>
                    <a:lnTo>
                      <a:pt x="879" y="204"/>
                    </a:lnTo>
                    <a:lnTo>
                      <a:pt x="879" y="202"/>
                    </a:lnTo>
                    <a:lnTo>
                      <a:pt x="879" y="200"/>
                    </a:lnTo>
                    <a:lnTo>
                      <a:pt x="879" y="199"/>
                    </a:lnTo>
                    <a:lnTo>
                      <a:pt x="881" y="199"/>
                    </a:lnTo>
                    <a:lnTo>
                      <a:pt x="881" y="197"/>
                    </a:lnTo>
                    <a:lnTo>
                      <a:pt x="883" y="197"/>
                    </a:lnTo>
                    <a:lnTo>
                      <a:pt x="883" y="199"/>
                    </a:lnTo>
                    <a:lnTo>
                      <a:pt x="883" y="200"/>
                    </a:lnTo>
                    <a:lnTo>
                      <a:pt x="883" y="202"/>
                    </a:lnTo>
                    <a:lnTo>
                      <a:pt x="883" y="200"/>
                    </a:lnTo>
                    <a:lnTo>
                      <a:pt x="884" y="200"/>
                    </a:lnTo>
                    <a:lnTo>
                      <a:pt x="884" y="199"/>
                    </a:lnTo>
                    <a:lnTo>
                      <a:pt x="883" y="199"/>
                    </a:lnTo>
                    <a:lnTo>
                      <a:pt x="884" y="199"/>
                    </a:lnTo>
                    <a:lnTo>
                      <a:pt x="884" y="197"/>
                    </a:lnTo>
                    <a:lnTo>
                      <a:pt x="884" y="199"/>
                    </a:lnTo>
                    <a:lnTo>
                      <a:pt x="884" y="197"/>
                    </a:lnTo>
                    <a:lnTo>
                      <a:pt x="884" y="199"/>
                    </a:lnTo>
                    <a:lnTo>
                      <a:pt x="886" y="199"/>
                    </a:lnTo>
                    <a:lnTo>
                      <a:pt x="884" y="199"/>
                    </a:lnTo>
                    <a:lnTo>
                      <a:pt x="886" y="199"/>
                    </a:lnTo>
                    <a:lnTo>
                      <a:pt x="888" y="200"/>
                    </a:lnTo>
                    <a:lnTo>
                      <a:pt x="888" y="199"/>
                    </a:lnTo>
                    <a:lnTo>
                      <a:pt x="886" y="199"/>
                    </a:lnTo>
                    <a:lnTo>
                      <a:pt x="886" y="197"/>
                    </a:lnTo>
                    <a:lnTo>
                      <a:pt x="886" y="195"/>
                    </a:lnTo>
                    <a:lnTo>
                      <a:pt x="888" y="195"/>
                    </a:lnTo>
                    <a:lnTo>
                      <a:pt x="888" y="197"/>
                    </a:lnTo>
                    <a:lnTo>
                      <a:pt x="888" y="199"/>
                    </a:lnTo>
                    <a:lnTo>
                      <a:pt x="888" y="197"/>
                    </a:lnTo>
                    <a:lnTo>
                      <a:pt x="890" y="197"/>
                    </a:lnTo>
                    <a:lnTo>
                      <a:pt x="890" y="199"/>
                    </a:lnTo>
                    <a:lnTo>
                      <a:pt x="890" y="200"/>
                    </a:lnTo>
                    <a:lnTo>
                      <a:pt x="890" y="202"/>
                    </a:lnTo>
                    <a:lnTo>
                      <a:pt x="890" y="200"/>
                    </a:lnTo>
                    <a:lnTo>
                      <a:pt x="890" y="202"/>
                    </a:lnTo>
                    <a:lnTo>
                      <a:pt x="888" y="202"/>
                    </a:lnTo>
                    <a:lnTo>
                      <a:pt x="886" y="202"/>
                    </a:lnTo>
                    <a:lnTo>
                      <a:pt x="886" y="204"/>
                    </a:lnTo>
                    <a:lnTo>
                      <a:pt x="888" y="204"/>
                    </a:lnTo>
                    <a:lnTo>
                      <a:pt x="888" y="202"/>
                    </a:lnTo>
                    <a:lnTo>
                      <a:pt x="890" y="202"/>
                    </a:lnTo>
                    <a:lnTo>
                      <a:pt x="891" y="202"/>
                    </a:lnTo>
                    <a:lnTo>
                      <a:pt x="891" y="200"/>
                    </a:lnTo>
                    <a:lnTo>
                      <a:pt x="891" y="199"/>
                    </a:lnTo>
                    <a:lnTo>
                      <a:pt x="893" y="199"/>
                    </a:lnTo>
                    <a:lnTo>
                      <a:pt x="891" y="199"/>
                    </a:lnTo>
                    <a:lnTo>
                      <a:pt x="891" y="197"/>
                    </a:lnTo>
                    <a:lnTo>
                      <a:pt x="893" y="197"/>
                    </a:lnTo>
                    <a:lnTo>
                      <a:pt x="893" y="199"/>
                    </a:lnTo>
                    <a:lnTo>
                      <a:pt x="893" y="200"/>
                    </a:lnTo>
                    <a:lnTo>
                      <a:pt x="895" y="200"/>
                    </a:lnTo>
                    <a:lnTo>
                      <a:pt x="895" y="202"/>
                    </a:lnTo>
                    <a:lnTo>
                      <a:pt x="895" y="204"/>
                    </a:lnTo>
                    <a:lnTo>
                      <a:pt x="896" y="204"/>
                    </a:lnTo>
                    <a:lnTo>
                      <a:pt x="898" y="204"/>
                    </a:lnTo>
                    <a:lnTo>
                      <a:pt x="898" y="206"/>
                    </a:lnTo>
                    <a:lnTo>
                      <a:pt x="898" y="204"/>
                    </a:lnTo>
                    <a:lnTo>
                      <a:pt x="896" y="202"/>
                    </a:lnTo>
                    <a:lnTo>
                      <a:pt x="896" y="200"/>
                    </a:lnTo>
                    <a:lnTo>
                      <a:pt x="895" y="200"/>
                    </a:lnTo>
                    <a:lnTo>
                      <a:pt x="896" y="199"/>
                    </a:lnTo>
                    <a:lnTo>
                      <a:pt x="895" y="199"/>
                    </a:lnTo>
                    <a:lnTo>
                      <a:pt x="896" y="199"/>
                    </a:lnTo>
                    <a:lnTo>
                      <a:pt x="895" y="199"/>
                    </a:lnTo>
                    <a:lnTo>
                      <a:pt x="895" y="197"/>
                    </a:lnTo>
                    <a:lnTo>
                      <a:pt x="896" y="197"/>
                    </a:lnTo>
                    <a:lnTo>
                      <a:pt x="898" y="197"/>
                    </a:lnTo>
                    <a:lnTo>
                      <a:pt x="898" y="199"/>
                    </a:lnTo>
                    <a:lnTo>
                      <a:pt x="896" y="199"/>
                    </a:lnTo>
                    <a:lnTo>
                      <a:pt x="898" y="199"/>
                    </a:lnTo>
                    <a:lnTo>
                      <a:pt x="896" y="199"/>
                    </a:lnTo>
                    <a:lnTo>
                      <a:pt x="896" y="200"/>
                    </a:lnTo>
                    <a:lnTo>
                      <a:pt x="898" y="199"/>
                    </a:lnTo>
                    <a:lnTo>
                      <a:pt x="898" y="200"/>
                    </a:lnTo>
                    <a:lnTo>
                      <a:pt x="898" y="199"/>
                    </a:lnTo>
                    <a:lnTo>
                      <a:pt x="900" y="199"/>
                    </a:lnTo>
                    <a:lnTo>
                      <a:pt x="898" y="199"/>
                    </a:lnTo>
                    <a:lnTo>
                      <a:pt x="900" y="199"/>
                    </a:lnTo>
                    <a:lnTo>
                      <a:pt x="901" y="197"/>
                    </a:lnTo>
                    <a:lnTo>
                      <a:pt x="901" y="199"/>
                    </a:lnTo>
                    <a:lnTo>
                      <a:pt x="901" y="200"/>
                    </a:lnTo>
                    <a:lnTo>
                      <a:pt x="901" y="199"/>
                    </a:lnTo>
                    <a:lnTo>
                      <a:pt x="903" y="200"/>
                    </a:lnTo>
                    <a:lnTo>
                      <a:pt x="903" y="199"/>
                    </a:lnTo>
                    <a:lnTo>
                      <a:pt x="905" y="199"/>
                    </a:lnTo>
                    <a:lnTo>
                      <a:pt x="905" y="200"/>
                    </a:lnTo>
                    <a:lnTo>
                      <a:pt x="903" y="200"/>
                    </a:lnTo>
                    <a:lnTo>
                      <a:pt x="903" y="202"/>
                    </a:lnTo>
                    <a:lnTo>
                      <a:pt x="905" y="202"/>
                    </a:lnTo>
                    <a:lnTo>
                      <a:pt x="905" y="200"/>
                    </a:lnTo>
                    <a:lnTo>
                      <a:pt x="907" y="200"/>
                    </a:lnTo>
                    <a:lnTo>
                      <a:pt x="907" y="202"/>
                    </a:lnTo>
                    <a:lnTo>
                      <a:pt x="905" y="202"/>
                    </a:lnTo>
                    <a:lnTo>
                      <a:pt x="905" y="204"/>
                    </a:lnTo>
                    <a:lnTo>
                      <a:pt x="907" y="204"/>
                    </a:lnTo>
                    <a:lnTo>
                      <a:pt x="907" y="206"/>
                    </a:lnTo>
                    <a:lnTo>
                      <a:pt x="907" y="204"/>
                    </a:lnTo>
                    <a:lnTo>
                      <a:pt x="907" y="202"/>
                    </a:lnTo>
                    <a:lnTo>
                      <a:pt x="907" y="204"/>
                    </a:lnTo>
                    <a:lnTo>
                      <a:pt x="907" y="202"/>
                    </a:lnTo>
                    <a:lnTo>
                      <a:pt x="908" y="202"/>
                    </a:lnTo>
                    <a:lnTo>
                      <a:pt x="907" y="200"/>
                    </a:lnTo>
                    <a:lnTo>
                      <a:pt x="908" y="200"/>
                    </a:lnTo>
                    <a:lnTo>
                      <a:pt x="908" y="202"/>
                    </a:lnTo>
                    <a:lnTo>
                      <a:pt x="908" y="204"/>
                    </a:lnTo>
                    <a:lnTo>
                      <a:pt x="908" y="206"/>
                    </a:lnTo>
                    <a:lnTo>
                      <a:pt x="910" y="204"/>
                    </a:lnTo>
                    <a:lnTo>
                      <a:pt x="910" y="206"/>
                    </a:lnTo>
                    <a:lnTo>
                      <a:pt x="908" y="206"/>
                    </a:lnTo>
                    <a:lnTo>
                      <a:pt x="908" y="207"/>
                    </a:lnTo>
                    <a:lnTo>
                      <a:pt x="908" y="206"/>
                    </a:lnTo>
                    <a:lnTo>
                      <a:pt x="910" y="206"/>
                    </a:lnTo>
                    <a:lnTo>
                      <a:pt x="912" y="206"/>
                    </a:lnTo>
                    <a:lnTo>
                      <a:pt x="910" y="206"/>
                    </a:lnTo>
                    <a:lnTo>
                      <a:pt x="910" y="204"/>
                    </a:lnTo>
                    <a:lnTo>
                      <a:pt x="912" y="204"/>
                    </a:lnTo>
                    <a:lnTo>
                      <a:pt x="912" y="202"/>
                    </a:lnTo>
                    <a:lnTo>
                      <a:pt x="913" y="202"/>
                    </a:lnTo>
                    <a:lnTo>
                      <a:pt x="913" y="204"/>
                    </a:lnTo>
                    <a:lnTo>
                      <a:pt x="912" y="204"/>
                    </a:lnTo>
                    <a:lnTo>
                      <a:pt x="913" y="204"/>
                    </a:lnTo>
                    <a:lnTo>
                      <a:pt x="913" y="206"/>
                    </a:lnTo>
                    <a:lnTo>
                      <a:pt x="913" y="207"/>
                    </a:lnTo>
                    <a:lnTo>
                      <a:pt x="915" y="207"/>
                    </a:lnTo>
                    <a:lnTo>
                      <a:pt x="915" y="206"/>
                    </a:lnTo>
                    <a:lnTo>
                      <a:pt x="915" y="204"/>
                    </a:lnTo>
                    <a:lnTo>
                      <a:pt x="917" y="204"/>
                    </a:lnTo>
                    <a:lnTo>
                      <a:pt x="917" y="202"/>
                    </a:lnTo>
                    <a:lnTo>
                      <a:pt x="917" y="204"/>
                    </a:lnTo>
                    <a:lnTo>
                      <a:pt x="917" y="206"/>
                    </a:lnTo>
                    <a:lnTo>
                      <a:pt x="917" y="207"/>
                    </a:lnTo>
                    <a:lnTo>
                      <a:pt x="918" y="206"/>
                    </a:lnTo>
                    <a:lnTo>
                      <a:pt x="918" y="207"/>
                    </a:lnTo>
                    <a:lnTo>
                      <a:pt x="917" y="207"/>
                    </a:lnTo>
                    <a:lnTo>
                      <a:pt x="918" y="209"/>
                    </a:lnTo>
                    <a:lnTo>
                      <a:pt x="918" y="207"/>
                    </a:lnTo>
                    <a:lnTo>
                      <a:pt x="918" y="206"/>
                    </a:lnTo>
                    <a:lnTo>
                      <a:pt x="920" y="206"/>
                    </a:lnTo>
                    <a:lnTo>
                      <a:pt x="920" y="207"/>
                    </a:lnTo>
                    <a:lnTo>
                      <a:pt x="920" y="209"/>
                    </a:lnTo>
                    <a:lnTo>
                      <a:pt x="922" y="209"/>
                    </a:lnTo>
                    <a:lnTo>
                      <a:pt x="920" y="207"/>
                    </a:lnTo>
                    <a:lnTo>
                      <a:pt x="922" y="207"/>
                    </a:lnTo>
                    <a:lnTo>
                      <a:pt x="922" y="206"/>
                    </a:lnTo>
                    <a:lnTo>
                      <a:pt x="922" y="207"/>
                    </a:lnTo>
                    <a:lnTo>
                      <a:pt x="924" y="207"/>
                    </a:lnTo>
                    <a:lnTo>
                      <a:pt x="922" y="206"/>
                    </a:lnTo>
                    <a:lnTo>
                      <a:pt x="924" y="206"/>
                    </a:lnTo>
                    <a:lnTo>
                      <a:pt x="922" y="204"/>
                    </a:lnTo>
                    <a:lnTo>
                      <a:pt x="924" y="204"/>
                    </a:lnTo>
                    <a:lnTo>
                      <a:pt x="924" y="206"/>
                    </a:lnTo>
                    <a:lnTo>
                      <a:pt x="925" y="206"/>
                    </a:lnTo>
                    <a:lnTo>
                      <a:pt x="925" y="207"/>
                    </a:lnTo>
                    <a:lnTo>
                      <a:pt x="924" y="207"/>
                    </a:lnTo>
                    <a:lnTo>
                      <a:pt x="925" y="207"/>
                    </a:lnTo>
                    <a:lnTo>
                      <a:pt x="924" y="207"/>
                    </a:lnTo>
                    <a:lnTo>
                      <a:pt x="924" y="209"/>
                    </a:lnTo>
                    <a:lnTo>
                      <a:pt x="924" y="211"/>
                    </a:lnTo>
                    <a:lnTo>
                      <a:pt x="922" y="211"/>
                    </a:lnTo>
                    <a:lnTo>
                      <a:pt x="920" y="211"/>
                    </a:lnTo>
                    <a:lnTo>
                      <a:pt x="922" y="211"/>
                    </a:lnTo>
                    <a:lnTo>
                      <a:pt x="924" y="211"/>
                    </a:lnTo>
                    <a:lnTo>
                      <a:pt x="925" y="211"/>
                    </a:lnTo>
                    <a:lnTo>
                      <a:pt x="927" y="211"/>
                    </a:lnTo>
                    <a:lnTo>
                      <a:pt x="927" y="209"/>
                    </a:lnTo>
                    <a:lnTo>
                      <a:pt x="927" y="211"/>
                    </a:lnTo>
                    <a:lnTo>
                      <a:pt x="929" y="209"/>
                    </a:lnTo>
                    <a:lnTo>
                      <a:pt x="929" y="207"/>
                    </a:lnTo>
                    <a:lnTo>
                      <a:pt x="929" y="209"/>
                    </a:lnTo>
                    <a:lnTo>
                      <a:pt x="930" y="207"/>
                    </a:lnTo>
                    <a:lnTo>
                      <a:pt x="932" y="207"/>
                    </a:lnTo>
                    <a:lnTo>
                      <a:pt x="930" y="207"/>
                    </a:lnTo>
                    <a:lnTo>
                      <a:pt x="930" y="209"/>
                    </a:lnTo>
                    <a:lnTo>
                      <a:pt x="929" y="209"/>
                    </a:lnTo>
                    <a:lnTo>
                      <a:pt x="929" y="211"/>
                    </a:lnTo>
                    <a:lnTo>
                      <a:pt x="930" y="212"/>
                    </a:lnTo>
                    <a:lnTo>
                      <a:pt x="929" y="212"/>
                    </a:lnTo>
                    <a:lnTo>
                      <a:pt x="930" y="212"/>
                    </a:lnTo>
                    <a:lnTo>
                      <a:pt x="932" y="212"/>
                    </a:lnTo>
                    <a:lnTo>
                      <a:pt x="930" y="212"/>
                    </a:lnTo>
                    <a:lnTo>
                      <a:pt x="932" y="212"/>
                    </a:lnTo>
                    <a:lnTo>
                      <a:pt x="932" y="211"/>
                    </a:lnTo>
                    <a:lnTo>
                      <a:pt x="932" y="212"/>
                    </a:lnTo>
                    <a:lnTo>
                      <a:pt x="934" y="212"/>
                    </a:lnTo>
                    <a:lnTo>
                      <a:pt x="934" y="214"/>
                    </a:lnTo>
                    <a:lnTo>
                      <a:pt x="934" y="212"/>
                    </a:lnTo>
                    <a:lnTo>
                      <a:pt x="935" y="212"/>
                    </a:lnTo>
                    <a:lnTo>
                      <a:pt x="935" y="214"/>
                    </a:lnTo>
                    <a:lnTo>
                      <a:pt x="935" y="212"/>
                    </a:lnTo>
                    <a:lnTo>
                      <a:pt x="935" y="211"/>
                    </a:lnTo>
                    <a:lnTo>
                      <a:pt x="937" y="209"/>
                    </a:lnTo>
                    <a:lnTo>
                      <a:pt x="935" y="209"/>
                    </a:lnTo>
                    <a:lnTo>
                      <a:pt x="937" y="209"/>
                    </a:lnTo>
                    <a:lnTo>
                      <a:pt x="937" y="207"/>
                    </a:lnTo>
                    <a:lnTo>
                      <a:pt x="939" y="207"/>
                    </a:lnTo>
                    <a:lnTo>
                      <a:pt x="939" y="209"/>
                    </a:lnTo>
                    <a:lnTo>
                      <a:pt x="939" y="211"/>
                    </a:lnTo>
                    <a:lnTo>
                      <a:pt x="937" y="211"/>
                    </a:lnTo>
                    <a:lnTo>
                      <a:pt x="937" y="212"/>
                    </a:lnTo>
                    <a:lnTo>
                      <a:pt x="939" y="212"/>
                    </a:lnTo>
                    <a:lnTo>
                      <a:pt x="939" y="214"/>
                    </a:lnTo>
                    <a:lnTo>
                      <a:pt x="937" y="214"/>
                    </a:lnTo>
                    <a:lnTo>
                      <a:pt x="937" y="216"/>
                    </a:lnTo>
                    <a:lnTo>
                      <a:pt x="937" y="217"/>
                    </a:lnTo>
                    <a:lnTo>
                      <a:pt x="935" y="217"/>
                    </a:lnTo>
                    <a:lnTo>
                      <a:pt x="937" y="217"/>
                    </a:lnTo>
                    <a:lnTo>
                      <a:pt x="937" y="216"/>
                    </a:lnTo>
                    <a:lnTo>
                      <a:pt x="939" y="214"/>
                    </a:lnTo>
                    <a:lnTo>
                      <a:pt x="939" y="212"/>
                    </a:lnTo>
                    <a:lnTo>
                      <a:pt x="941" y="212"/>
                    </a:lnTo>
                    <a:lnTo>
                      <a:pt x="941" y="214"/>
                    </a:lnTo>
                    <a:lnTo>
                      <a:pt x="939" y="214"/>
                    </a:lnTo>
                    <a:lnTo>
                      <a:pt x="939" y="216"/>
                    </a:lnTo>
                    <a:lnTo>
                      <a:pt x="939" y="214"/>
                    </a:lnTo>
                    <a:lnTo>
                      <a:pt x="941" y="214"/>
                    </a:lnTo>
                    <a:lnTo>
                      <a:pt x="941" y="216"/>
                    </a:lnTo>
                    <a:lnTo>
                      <a:pt x="941" y="214"/>
                    </a:lnTo>
                    <a:lnTo>
                      <a:pt x="942" y="212"/>
                    </a:lnTo>
                    <a:lnTo>
                      <a:pt x="942" y="214"/>
                    </a:lnTo>
                    <a:lnTo>
                      <a:pt x="942" y="212"/>
                    </a:lnTo>
                    <a:lnTo>
                      <a:pt x="942" y="214"/>
                    </a:lnTo>
                    <a:lnTo>
                      <a:pt x="942" y="216"/>
                    </a:lnTo>
                    <a:lnTo>
                      <a:pt x="944" y="216"/>
                    </a:lnTo>
                    <a:lnTo>
                      <a:pt x="942" y="216"/>
                    </a:lnTo>
                    <a:lnTo>
                      <a:pt x="942" y="217"/>
                    </a:lnTo>
                    <a:lnTo>
                      <a:pt x="942" y="219"/>
                    </a:lnTo>
                    <a:lnTo>
                      <a:pt x="941" y="219"/>
                    </a:lnTo>
                    <a:lnTo>
                      <a:pt x="942" y="219"/>
                    </a:lnTo>
                    <a:lnTo>
                      <a:pt x="942" y="217"/>
                    </a:lnTo>
                    <a:lnTo>
                      <a:pt x="942" y="216"/>
                    </a:lnTo>
                    <a:lnTo>
                      <a:pt x="944" y="216"/>
                    </a:lnTo>
                    <a:lnTo>
                      <a:pt x="944" y="217"/>
                    </a:lnTo>
                    <a:lnTo>
                      <a:pt x="944" y="216"/>
                    </a:lnTo>
                    <a:lnTo>
                      <a:pt x="944" y="214"/>
                    </a:lnTo>
                    <a:lnTo>
                      <a:pt x="946" y="214"/>
                    </a:lnTo>
                    <a:lnTo>
                      <a:pt x="946" y="216"/>
                    </a:lnTo>
                    <a:lnTo>
                      <a:pt x="947" y="216"/>
                    </a:lnTo>
                    <a:lnTo>
                      <a:pt x="946" y="216"/>
                    </a:lnTo>
                    <a:lnTo>
                      <a:pt x="946" y="217"/>
                    </a:lnTo>
                    <a:lnTo>
                      <a:pt x="944" y="217"/>
                    </a:lnTo>
                    <a:lnTo>
                      <a:pt x="946" y="217"/>
                    </a:lnTo>
                    <a:lnTo>
                      <a:pt x="947" y="219"/>
                    </a:lnTo>
                    <a:lnTo>
                      <a:pt x="946" y="219"/>
                    </a:lnTo>
                    <a:lnTo>
                      <a:pt x="947" y="219"/>
                    </a:lnTo>
                    <a:lnTo>
                      <a:pt x="947" y="217"/>
                    </a:lnTo>
                    <a:lnTo>
                      <a:pt x="947" y="216"/>
                    </a:lnTo>
                    <a:lnTo>
                      <a:pt x="949" y="216"/>
                    </a:lnTo>
                    <a:lnTo>
                      <a:pt x="949" y="214"/>
                    </a:lnTo>
                    <a:lnTo>
                      <a:pt x="951" y="214"/>
                    </a:lnTo>
                    <a:lnTo>
                      <a:pt x="951" y="216"/>
                    </a:lnTo>
                    <a:lnTo>
                      <a:pt x="949" y="216"/>
                    </a:lnTo>
                    <a:lnTo>
                      <a:pt x="949" y="217"/>
                    </a:lnTo>
                    <a:lnTo>
                      <a:pt x="947" y="217"/>
                    </a:lnTo>
                    <a:lnTo>
                      <a:pt x="949" y="217"/>
                    </a:lnTo>
                    <a:lnTo>
                      <a:pt x="949" y="219"/>
                    </a:lnTo>
                    <a:lnTo>
                      <a:pt x="951" y="219"/>
                    </a:lnTo>
                    <a:lnTo>
                      <a:pt x="949" y="219"/>
                    </a:lnTo>
                    <a:lnTo>
                      <a:pt x="951" y="219"/>
                    </a:lnTo>
                    <a:lnTo>
                      <a:pt x="949" y="219"/>
                    </a:lnTo>
                    <a:lnTo>
                      <a:pt x="949" y="221"/>
                    </a:lnTo>
                    <a:lnTo>
                      <a:pt x="951" y="221"/>
                    </a:lnTo>
                    <a:lnTo>
                      <a:pt x="951" y="219"/>
                    </a:lnTo>
                    <a:lnTo>
                      <a:pt x="951" y="217"/>
                    </a:lnTo>
                    <a:lnTo>
                      <a:pt x="952" y="217"/>
                    </a:lnTo>
                    <a:lnTo>
                      <a:pt x="951" y="219"/>
                    </a:lnTo>
                    <a:lnTo>
                      <a:pt x="952" y="219"/>
                    </a:lnTo>
                    <a:lnTo>
                      <a:pt x="951" y="219"/>
                    </a:lnTo>
                    <a:lnTo>
                      <a:pt x="951" y="221"/>
                    </a:lnTo>
                    <a:lnTo>
                      <a:pt x="952" y="219"/>
                    </a:lnTo>
                    <a:lnTo>
                      <a:pt x="952" y="217"/>
                    </a:lnTo>
                    <a:lnTo>
                      <a:pt x="954" y="217"/>
                    </a:lnTo>
                    <a:lnTo>
                      <a:pt x="954" y="216"/>
                    </a:lnTo>
                    <a:lnTo>
                      <a:pt x="956" y="216"/>
                    </a:lnTo>
                    <a:lnTo>
                      <a:pt x="956" y="217"/>
                    </a:lnTo>
                    <a:lnTo>
                      <a:pt x="954" y="217"/>
                    </a:lnTo>
                    <a:lnTo>
                      <a:pt x="954" y="219"/>
                    </a:lnTo>
                    <a:lnTo>
                      <a:pt x="954" y="221"/>
                    </a:lnTo>
                    <a:lnTo>
                      <a:pt x="956" y="221"/>
                    </a:lnTo>
                    <a:lnTo>
                      <a:pt x="954" y="223"/>
                    </a:lnTo>
                    <a:lnTo>
                      <a:pt x="956" y="223"/>
                    </a:lnTo>
                    <a:lnTo>
                      <a:pt x="956" y="224"/>
                    </a:lnTo>
                    <a:lnTo>
                      <a:pt x="954" y="224"/>
                    </a:lnTo>
                    <a:lnTo>
                      <a:pt x="956" y="224"/>
                    </a:lnTo>
                    <a:lnTo>
                      <a:pt x="956" y="226"/>
                    </a:lnTo>
                    <a:lnTo>
                      <a:pt x="956" y="224"/>
                    </a:lnTo>
                    <a:lnTo>
                      <a:pt x="958" y="224"/>
                    </a:lnTo>
                    <a:lnTo>
                      <a:pt x="958" y="223"/>
                    </a:lnTo>
                    <a:lnTo>
                      <a:pt x="958" y="221"/>
                    </a:lnTo>
                    <a:lnTo>
                      <a:pt x="959" y="221"/>
                    </a:lnTo>
                    <a:lnTo>
                      <a:pt x="959" y="223"/>
                    </a:lnTo>
                    <a:lnTo>
                      <a:pt x="959" y="221"/>
                    </a:lnTo>
                    <a:lnTo>
                      <a:pt x="959" y="223"/>
                    </a:lnTo>
                    <a:lnTo>
                      <a:pt x="961" y="223"/>
                    </a:lnTo>
                    <a:lnTo>
                      <a:pt x="961" y="224"/>
                    </a:lnTo>
                    <a:lnTo>
                      <a:pt x="961" y="226"/>
                    </a:lnTo>
                    <a:lnTo>
                      <a:pt x="959" y="224"/>
                    </a:lnTo>
                    <a:lnTo>
                      <a:pt x="959" y="226"/>
                    </a:lnTo>
                    <a:lnTo>
                      <a:pt x="959" y="224"/>
                    </a:lnTo>
                    <a:lnTo>
                      <a:pt x="961" y="226"/>
                    </a:lnTo>
                    <a:lnTo>
                      <a:pt x="961" y="224"/>
                    </a:lnTo>
                    <a:lnTo>
                      <a:pt x="963" y="224"/>
                    </a:lnTo>
                    <a:lnTo>
                      <a:pt x="963" y="223"/>
                    </a:lnTo>
                    <a:lnTo>
                      <a:pt x="963" y="224"/>
                    </a:lnTo>
                    <a:lnTo>
                      <a:pt x="963" y="223"/>
                    </a:lnTo>
                    <a:lnTo>
                      <a:pt x="964" y="223"/>
                    </a:lnTo>
                    <a:lnTo>
                      <a:pt x="964" y="221"/>
                    </a:lnTo>
                    <a:lnTo>
                      <a:pt x="966" y="223"/>
                    </a:lnTo>
                    <a:lnTo>
                      <a:pt x="964" y="223"/>
                    </a:lnTo>
                    <a:lnTo>
                      <a:pt x="964" y="224"/>
                    </a:lnTo>
                    <a:lnTo>
                      <a:pt x="963" y="224"/>
                    </a:lnTo>
                    <a:lnTo>
                      <a:pt x="963" y="226"/>
                    </a:lnTo>
                    <a:lnTo>
                      <a:pt x="963" y="228"/>
                    </a:lnTo>
                    <a:lnTo>
                      <a:pt x="964" y="228"/>
                    </a:lnTo>
                    <a:lnTo>
                      <a:pt x="963" y="228"/>
                    </a:lnTo>
                    <a:lnTo>
                      <a:pt x="964" y="228"/>
                    </a:lnTo>
                    <a:lnTo>
                      <a:pt x="964" y="226"/>
                    </a:lnTo>
                    <a:lnTo>
                      <a:pt x="966" y="226"/>
                    </a:lnTo>
                    <a:lnTo>
                      <a:pt x="966" y="224"/>
                    </a:lnTo>
                    <a:lnTo>
                      <a:pt x="968" y="223"/>
                    </a:lnTo>
                    <a:lnTo>
                      <a:pt x="966" y="223"/>
                    </a:lnTo>
                    <a:lnTo>
                      <a:pt x="968" y="223"/>
                    </a:lnTo>
                    <a:lnTo>
                      <a:pt x="969" y="223"/>
                    </a:lnTo>
                    <a:lnTo>
                      <a:pt x="968" y="223"/>
                    </a:lnTo>
                    <a:lnTo>
                      <a:pt x="969" y="224"/>
                    </a:lnTo>
                    <a:lnTo>
                      <a:pt x="968" y="224"/>
                    </a:lnTo>
                    <a:lnTo>
                      <a:pt x="969" y="224"/>
                    </a:lnTo>
                    <a:lnTo>
                      <a:pt x="969" y="226"/>
                    </a:lnTo>
                    <a:lnTo>
                      <a:pt x="968" y="226"/>
                    </a:lnTo>
                    <a:lnTo>
                      <a:pt x="968" y="228"/>
                    </a:lnTo>
                    <a:lnTo>
                      <a:pt x="966" y="228"/>
                    </a:lnTo>
                    <a:lnTo>
                      <a:pt x="968" y="228"/>
                    </a:lnTo>
                    <a:lnTo>
                      <a:pt x="969" y="228"/>
                    </a:lnTo>
                    <a:lnTo>
                      <a:pt x="968" y="229"/>
                    </a:lnTo>
                    <a:lnTo>
                      <a:pt x="968" y="231"/>
                    </a:lnTo>
                    <a:lnTo>
                      <a:pt x="968" y="233"/>
                    </a:lnTo>
                    <a:lnTo>
                      <a:pt x="968" y="234"/>
                    </a:lnTo>
                    <a:lnTo>
                      <a:pt x="966" y="234"/>
                    </a:lnTo>
                    <a:lnTo>
                      <a:pt x="966" y="236"/>
                    </a:lnTo>
                    <a:lnTo>
                      <a:pt x="968" y="236"/>
                    </a:lnTo>
                    <a:lnTo>
                      <a:pt x="969" y="236"/>
                    </a:lnTo>
                    <a:lnTo>
                      <a:pt x="969" y="238"/>
                    </a:lnTo>
                    <a:lnTo>
                      <a:pt x="971" y="238"/>
                    </a:lnTo>
                    <a:lnTo>
                      <a:pt x="971" y="240"/>
                    </a:lnTo>
                    <a:lnTo>
                      <a:pt x="971" y="241"/>
                    </a:lnTo>
                    <a:lnTo>
                      <a:pt x="973" y="241"/>
                    </a:lnTo>
                    <a:lnTo>
                      <a:pt x="973" y="240"/>
                    </a:lnTo>
                    <a:lnTo>
                      <a:pt x="971" y="241"/>
                    </a:lnTo>
                    <a:lnTo>
                      <a:pt x="971" y="240"/>
                    </a:lnTo>
                    <a:lnTo>
                      <a:pt x="971" y="238"/>
                    </a:lnTo>
                    <a:lnTo>
                      <a:pt x="971" y="236"/>
                    </a:lnTo>
                    <a:lnTo>
                      <a:pt x="969" y="236"/>
                    </a:lnTo>
                    <a:lnTo>
                      <a:pt x="969" y="234"/>
                    </a:lnTo>
                    <a:lnTo>
                      <a:pt x="971" y="234"/>
                    </a:lnTo>
                    <a:lnTo>
                      <a:pt x="971" y="233"/>
                    </a:lnTo>
                    <a:lnTo>
                      <a:pt x="971" y="231"/>
                    </a:lnTo>
                    <a:lnTo>
                      <a:pt x="971" y="229"/>
                    </a:lnTo>
                    <a:lnTo>
                      <a:pt x="973" y="229"/>
                    </a:lnTo>
                    <a:lnTo>
                      <a:pt x="973" y="228"/>
                    </a:lnTo>
                    <a:lnTo>
                      <a:pt x="973" y="229"/>
                    </a:lnTo>
                    <a:lnTo>
                      <a:pt x="973" y="228"/>
                    </a:lnTo>
                    <a:lnTo>
                      <a:pt x="975" y="228"/>
                    </a:lnTo>
                    <a:lnTo>
                      <a:pt x="975" y="229"/>
                    </a:lnTo>
                    <a:lnTo>
                      <a:pt x="975" y="228"/>
                    </a:lnTo>
                    <a:lnTo>
                      <a:pt x="976" y="228"/>
                    </a:lnTo>
                    <a:lnTo>
                      <a:pt x="978" y="228"/>
                    </a:lnTo>
                    <a:lnTo>
                      <a:pt x="980" y="229"/>
                    </a:lnTo>
                    <a:lnTo>
                      <a:pt x="978" y="229"/>
                    </a:lnTo>
                    <a:lnTo>
                      <a:pt x="980" y="229"/>
                    </a:lnTo>
                    <a:lnTo>
                      <a:pt x="980" y="231"/>
                    </a:lnTo>
                    <a:lnTo>
                      <a:pt x="978" y="231"/>
                    </a:lnTo>
                    <a:lnTo>
                      <a:pt x="980" y="231"/>
                    </a:lnTo>
                    <a:lnTo>
                      <a:pt x="981" y="231"/>
                    </a:lnTo>
                    <a:lnTo>
                      <a:pt x="981" y="229"/>
                    </a:lnTo>
                    <a:lnTo>
                      <a:pt x="980" y="229"/>
                    </a:lnTo>
                    <a:lnTo>
                      <a:pt x="980" y="228"/>
                    </a:lnTo>
                    <a:lnTo>
                      <a:pt x="981" y="228"/>
                    </a:lnTo>
                    <a:lnTo>
                      <a:pt x="983" y="226"/>
                    </a:lnTo>
                    <a:lnTo>
                      <a:pt x="985" y="226"/>
                    </a:lnTo>
                    <a:lnTo>
                      <a:pt x="985" y="228"/>
                    </a:lnTo>
                    <a:lnTo>
                      <a:pt x="983" y="228"/>
                    </a:lnTo>
                    <a:lnTo>
                      <a:pt x="983" y="229"/>
                    </a:lnTo>
                    <a:lnTo>
                      <a:pt x="981" y="229"/>
                    </a:lnTo>
                    <a:lnTo>
                      <a:pt x="981" y="231"/>
                    </a:lnTo>
                    <a:lnTo>
                      <a:pt x="981" y="233"/>
                    </a:lnTo>
                    <a:lnTo>
                      <a:pt x="983" y="233"/>
                    </a:lnTo>
                    <a:lnTo>
                      <a:pt x="985" y="233"/>
                    </a:lnTo>
                    <a:lnTo>
                      <a:pt x="985" y="231"/>
                    </a:lnTo>
                    <a:lnTo>
                      <a:pt x="986" y="231"/>
                    </a:lnTo>
                    <a:lnTo>
                      <a:pt x="986" y="233"/>
                    </a:lnTo>
                    <a:lnTo>
                      <a:pt x="986" y="231"/>
                    </a:lnTo>
                    <a:lnTo>
                      <a:pt x="988" y="231"/>
                    </a:lnTo>
                    <a:lnTo>
                      <a:pt x="988" y="233"/>
                    </a:lnTo>
                    <a:lnTo>
                      <a:pt x="988" y="231"/>
                    </a:lnTo>
                    <a:lnTo>
                      <a:pt x="990" y="231"/>
                    </a:lnTo>
                    <a:lnTo>
                      <a:pt x="992" y="233"/>
                    </a:lnTo>
                    <a:lnTo>
                      <a:pt x="990" y="234"/>
                    </a:lnTo>
                    <a:lnTo>
                      <a:pt x="990" y="233"/>
                    </a:lnTo>
                    <a:lnTo>
                      <a:pt x="988" y="233"/>
                    </a:lnTo>
                    <a:lnTo>
                      <a:pt x="988" y="234"/>
                    </a:lnTo>
                    <a:lnTo>
                      <a:pt x="986" y="234"/>
                    </a:lnTo>
                    <a:lnTo>
                      <a:pt x="986" y="236"/>
                    </a:lnTo>
                    <a:lnTo>
                      <a:pt x="988" y="236"/>
                    </a:lnTo>
                    <a:lnTo>
                      <a:pt x="990" y="236"/>
                    </a:lnTo>
                    <a:lnTo>
                      <a:pt x="988" y="236"/>
                    </a:lnTo>
                    <a:lnTo>
                      <a:pt x="988" y="238"/>
                    </a:lnTo>
                    <a:lnTo>
                      <a:pt x="986" y="238"/>
                    </a:lnTo>
                    <a:lnTo>
                      <a:pt x="988" y="238"/>
                    </a:lnTo>
                    <a:lnTo>
                      <a:pt x="990" y="238"/>
                    </a:lnTo>
                    <a:lnTo>
                      <a:pt x="992" y="238"/>
                    </a:lnTo>
                    <a:lnTo>
                      <a:pt x="990" y="236"/>
                    </a:lnTo>
                    <a:lnTo>
                      <a:pt x="992" y="236"/>
                    </a:lnTo>
                    <a:lnTo>
                      <a:pt x="993" y="236"/>
                    </a:lnTo>
                    <a:lnTo>
                      <a:pt x="992" y="236"/>
                    </a:lnTo>
                    <a:lnTo>
                      <a:pt x="992" y="238"/>
                    </a:lnTo>
                    <a:lnTo>
                      <a:pt x="993" y="238"/>
                    </a:lnTo>
                    <a:lnTo>
                      <a:pt x="992" y="238"/>
                    </a:lnTo>
                    <a:lnTo>
                      <a:pt x="993" y="240"/>
                    </a:lnTo>
                    <a:lnTo>
                      <a:pt x="993" y="238"/>
                    </a:lnTo>
                    <a:lnTo>
                      <a:pt x="993" y="240"/>
                    </a:lnTo>
                    <a:lnTo>
                      <a:pt x="995" y="240"/>
                    </a:lnTo>
                    <a:lnTo>
                      <a:pt x="995" y="241"/>
                    </a:lnTo>
                    <a:lnTo>
                      <a:pt x="993" y="241"/>
                    </a:lnTo>
                    <a:lnTo>
                      <a:pt x="995" y="241"/>
                    </a:lnTo>
                    <a:lnTo>
                      <a:pt x="997" y="243"/>
                    </a:lnTo>
                    <a:lnTo>
                      <a:pt x="997" y="245"/>
                    </a:lnTo>
                    <a:lnTo>
                      <a:pt x="995" y="245"/>
                    </a:lnTo>
                    <a:lnTo>
                      <a:pt x="997" y="245"/>
                    </a:lnTo>
                    <a:lnTo>
                      <a:pt x="995" y="246"/>
                    </a:lnTo>
                    <a:lnTo>
                      <a:pt x="993" y="246"/>
                    </a:lnTo>
                    <a:lnTo>
                      <a:pt x="995" y="246"/>
                    </a:lnTo>
                    <a:lnTo>
                      <a:pt x="997" y="246"/>
                    </a:lnTo>
                    <a:lnTo>
                      <a:pt x="995" y="248"/>
                    </a:lnTo>
                    <a:lnTo>
                      <a:pt x="993" y="248"/>
                    </a:lnTo>
                    <a:lnTo>
                      <a:pt x="993" y="250"/>
                    </a:lnTo>
                    <a:lnTo>
                      <a:pt x="993" y="251"/>
                    </a:lnTo>
                    <a:lnTo>
                      <a:pt x="992" y="251"/>
                    </a:lnTo>
                    <a:lnTo>
                      <a:pt x="992" y="253"/>
                    </a:lnTo>
                    <a:lnTo>
                      <a:pt x="990" y="253"/>
                    </a:lnTo>
                    <a:lnTo>
                      <a:pt x="990" y="255"/>
                    </a:lnTo>
                    <a:lnTo>
                      <a:pt x="990" y="253"/>
                    </a:lnTo>
                    <a:lnTo>
                      <a:pt x="990" y="255"/>
                    </a:lnTo>
                    <a:lnTo>
                      <a:pt x="988" y="255"/>
                    </a:lnTo>
                    <a:lnTo>
                      <a:pt x="986" y="255"/>
                    </a:lnTo>
                    <a:lnTo>
                      <a:pt x="988" y="255"/>
                    </a:lnTo>
                    <a:lnTo>
                      <a:pt x="990" y="255"/>
                    </a:lnTo>
                    <a:lnTo>
                      <a:pt x="992" y="255"/>
                    </a:lnTo>
                    <a:lnTo>
                      <a:pt x="990" y="257"/>
                    </a:lnTo>
                    <a:lnTo>
                      <a:pt x="990" y="258"/>
                    </a:lnTo>
                    <a:lnTo>
                      <a:pt x="988" y="258"/>
                    </a:lnTo>
                    <a:lnTo>
                      <a:pt x="990" y="258"/>
                    </a:lnTo>
                    <a:lnTo>
                      <a:pt x="992" y="258"/>
                    </a:lnTo>
                    <a:lnTo>
                      <a:pt x="990" y="257"/>
                    </a:lnTo>
                    <a:lnTo>
                      <a:pt x="992" y="257"/>
                    </a:lnTo>
                    <a:lnTo>
                      <a:pt x="992" y="255"/>
                    </a:lnTo>
                    <a:lnTo>
                      <a:pt x="993" y="253"/>
                    </a:lnTo>
                    <a:lnTo>
                      <a:pt x="995" y="253"/>
                    </a:lnTo>
                    <a:lnTo>
                      <a:pt x="993" y="253"/>
                    </a:lnTo>
                    <a:lnTo>
                      <a:pt x="995" y="251"/>
                    </a:lnTo>
                    <a:lnTo>
                      <a:pt x="995" y="250"/>
                    </a:lnTo>
                    <a:lnTo>
                      <a:pt x="997" y="250"/>
                    </a:lnTo>
                    <a:lnTo>
                      <a:pt x="998" y="251"/>
                    </a:lnTo>
                    <a:lnTo>
                      <a:pt x="1000" y="253"/>
                    </a:lnTo>
                    <a:lnTo>
                      <a:pt x="998" y="253"/>
                    </a:lnTo>
                    <a:lnTo>
                      <a:pt x="1000" y="253"/>
                    </a:lnTo>
                    <a:lnTo>
                      <a:pt x="1000" y="255"/>
                    </a:lnTo>
                    <a:lnTo>
                      <a:pt x="1000" y="257"/>
                    </a:lnTo>
                    <a:lnTo>
                      <a:pt x="1000" y="258"/>
                    </a:lnTo>
                    <a:lnTo>
                      <a:pt x="1000" y="260"/>
                    </a:lnTo>
                    <a:lnTo>
                      <a:pt x="998" y="260"/>
                    </a:lnTo>
                    <a:lnTo>
                      <a:pt x="997" y="260"/>
                    </a:lnTo>
                    <a:lnTo>
                      <a:pt x="997" y="258"/>
                    </a:lnTo>
                    <a:lnTo>
                      <a:pt x="995" y="258"/>
                    </a:lnTo>
                    <a:lnTo>
                      <a:pt x="997" y="258"/>
                    </a:lnTo>
                    <a:lnTo>
                      <a:pt x="997" y="260"/>
                    </a:lnTo>
                    <a:lnTo>
                      <a:pt x="995" y="260"/>
                    </a:lnTo>
                    <a:lnTo>
                      <a:pt x="995" y="262"/>
                    </a:lnTo>
                    <a:lnTo>
                      <a:pt x="997" y="262"/>
                    </a:lnTo>
                    <a:lnTo>
                      <a:pt x="995" y="262"/>
                    </a:lnTo>
                    <a:lnTo>
                      <a:pt x="995" y="263"/>
                    </a:lnTo>
                    <a:lnTo>
                      <a:pt x="993" y="263"/>
                    </a:lnTo>
                    <a:lnTo>
                      <a:pt x="993" y="265"/>
                    </a:lnTo>
                    <a:lnTo>
                      <a:pt x="993" y="263"/>
                    </a:lnTo>
                    <a:lnTo>
                      <a:pt x="995" y="263"/>
                    </a:lnTo>
                    <a:lnTo>
                      <a:pt x="995" y="265"/>
                    </a:lnTo>
                    <a:lnTo>
                      <a:pt x="993" y="265"/>
                    </a:lnTo>
                    <a:lnTo>
                      <a:pt x="993" y="267"/>
                    </a:lnTo>
                    <a:lnTo>
                      <a:pt x="993" y="268"/>
                    </a:lnTo>
                    <a:lnTo>
                      <a:pt x="992" y="268"/>
                    </a:lnTo>
                    <a:lnTo>
                      <a:pt x="992" y="270"/>
                    </a:lnTo>
                    <a:lnTo>
                      <a:pt x="992" y="272"/>
                    </a:lnTo>
                    <a:lnTo>
                      <a:pt x="992" y="274"/>
                    </a:lnTo>
                    <a:lnTo>
                      <a:pt x="992" y="275"/>
                    </a:lnTo>
                    <a:lnTo>
                      <a:pt x="990" y="275"/>
                    </a:lnTo>
                    <a:lnTo>
                      <a:pt x="990" y="277"/>
                    </a:lnTo>
                    <a:lnTo>
                      <a:pt x="990" y="279"/>
                    </a:lnTo>
                    <a:lnTo>
                      <a:pt x="992" y="280"/>
                    </a:lnTo>
                    <a:lnTo>
                      <a:pt x="992" y="282"/>
                    </a:lnTo>
                    <a:lnTo>
                      <a:pt x="990" y="282"/>
                    </a:lnTo>
                    <a:lnTo>
                      <a:pt x="990" y="284"/>
                    </a:lnTo>
                    <a:lnTo>
                      <a:pt x="988" y="284"/>
                    </a:lnTo>
                    <a:lnTo>
                      <a:pt x="988" y="285"/>
                    </a:lnTo>
                    <a:lnTo>
                      <a:pt x="986" y="285"/>
                    </a:lnTo>
                    <a:lnTo>
                      <a:pt x="986" y="287"/>
                    </a:lnTo>
                    <a:lnTo>
                      <a:pt x="986" y="289"/>
                    </a:lnTo>
                    <a:lnTo>
                      <a:pt x="986" y="291"/>
                    </a:lnTo>
                    <a:lnTo>
                      <a:pt x="988" y="291"/>
                    </a:lnTo>
                    <a:lnTo>
                      <a:pt x="988" y="289"/>
                    </a:lnTo>
                    <a:lnTo>
                      <a:pt x="986" y="287"/>
                    </a:lnTo>
                    <a:lnTo>
                      <a:pt x="988" y="287"/>
                    </a:lnTo>
                    <a:lnTo>
                      <a:pt x="988" y="285"/>
                    </a:lnTo>
                    <a:lnTo>
                      <a:pt x="990" y="285"/>
                    </a:lnTo>
                    <a:lnTo>
                      <a:pt x="992" y="285"/>
                    </a:lnTo>
                    <a:lnTo>
                      <a:pt x="992" y="284"/>
                    </a:lnTo>
                    <a:lnTo>
                      <a:pt x="995" y="282"/>
                    </a:lnTo>
                    <a:lnTo>
                      <a:pt x="995" y="280"/>
                    </a:lnTo>
                    <a:lnTo>
                      <a:pt x="997" y="280"/>
                    </a:lnTo>
                    <a:lnTo>
                      <a:pt x="997" y="279"/>
                    </a:lnTo>
                    <a:lnTo>
                      <a:pt x="998" y="279"/>
                    </a:lnTo>
                    <a:lnTo>
                      <a:pt x="998" y="277"/>
                    </a:lnTo>
                    <a:lnTo>
                      <a:pt x="998" y="275"/>
                    </a:lnTo>
                    <a:lnTo>
                      <a:pt x="998" y="274"/>
                    </a:lnTo>
                    <a:lnTo>
                      <a:pt x="998" y="272"/>
                    </a:lnTo>
                    <a:lnTo>
                      <a:pt x="1000" y="270"/>
                    </a:lnTo>
                    <a:lnTo>
                      <a:pt x="1000" y="268"/>
                    </a:lnTo>
                    <a:lnTo>
                      <a:pt x="1000" y="267"/>
                    </a:lnTo>
                    <a:lnTo>
                      <a:pt x="1000" y="265"/>
                    </a:lnTo>
                    <a:lnTo>
                      <a:pt x="1000" y="263"/>
                    </a:lnTo>
                    <a:lnTo>
                      <a:pt x="1002" y="263"/>
                    </a:lnTo>
                    <a:lnTo>
                      <a:pt x="1003" y="265"/>
                    </a:lnTo>
                    <a:lnTo>
                      <a:pt x="1003" y="263"/>
                    </a:lnTo>
                    <a:lnTo>
                      <a:pt x="1002" y="263"/>
                    </a:lnTo>
                    <a:lnTo>
                      <a:pt x="1003" y="263"/>
                    </a:lnTo>
                    <a:lnTo>
                      <a:pt x="1002" y="263"/>
                    </a:lnTo>
                    <a:lnTo>
                      <a:pt x="1002" y="262"/>
                    </a:lnTo>
                    <a:lnTo>
                      <a:pt x="1003" y="262"/>
                    </a:lnTo>
                    <a:lnTo>
                      <a:pt x="1005" y="262"/>
                    </a:lnTo>
                    <a:lnTo>
                      <a:pt x="1007" y="262"/>
                    </a:lnTo>
                    <a:lnTo>
                      <a:pt x="1007" y="260"/>
                    </a:lnTo>
                    <a:lnTo>
                      <a:pt x="1009" y="260"/>
                    </a:lnTo>
                    <a:lnTo>
                      <a:pt x="1010" y="260"/>
                    </a:lnTo>
                    <a:lnTo>
                      <a:pt x="1010" y="258"/>
                    </a:lnTo>
                    <a:lnTo>
                      <a:pt x="1012" y="260"/>
                    </a:lnTo>
                    <a:lnTo>
                      <a:pt x="1010" y="260"/>
                    </a:lnTo>
                    <a:lnTo>
                      <a:pt x="1010" y="262"/>
                    </a:lnTo>
                    <a:lnTo>
                      <a:pt x="1012" y="262"/>
                    </a:lnTo>
                    <a:lnTo>
                      <a:pt x="1012" y="263"/>
                    </a:lnTo>
                    <a:lnTo>
                      <a:pt x="1010" y="265"/>
                    </a:lnTo>
                    <a:lnTo>
                      <a:pt x="1009" y="265"/>
                    </a:lnTo>
                    <a:lnTo>
                      <a:pt x="1009" y="267"/>
                    </a:lnTo>
                    <a:lnTo>
                      <a:pt x="1009" y="268"/>
                    </a:lnTo>
                    <a:lnTo>
                      <a:pt x="1007" y="268"/>
                    </a:lnTo>
                    <a:lnTo>
                      <a:pt x="1005" y="268"/>
                    </a:lnTo>
                    <a:lnTo>
                      <a:pt x="1005" y="270"/>
                    </a:lnTo>
                    <a:lnTo>
                      <a:pt x="1003" y="270"/>
                    </a:lnTo>
                    <a:lnTo>
                      <a:pt x="1003" y="272"/>
                    </a:lnTo>
                    <a:lnTo>
                      <a:pt x="1002" y="272"/>
                    </a:lnTo>
                    <a:lnTo>
                      <a:pt x="1003" y="272"/>
                    </a:lnTo>
                    <a:lnTo>
                      <a:pt x="1003" y="274"/>
                    </a:lnTo>
                    <a:lnTo>
                      <a:pt x="1003" y="272"/>
                    </a:lnTo>
                    <a:lnTo>
                      <a:pt x="1005" y="272"/>
                    </a:lnTo>
                    <a:lnTo>
                      <a:pt x="1007" y="272"/>
                    </a:lnTo>
                    <a:lnTo>
                      <a:pt x="1007" y="274"/>
                    </a:lnTo>
                    <a:lnTo>
                      <a:pt x="1007" y="272"/>
                    </a:lnTo>
                    <a:lnTo>
                      <a:pt x="1009" y="272"/>
                    </a:lnTo>
                    <a:lnTo>
                      <a:pt x="1009" y="270"/>
                    </a:lnTo>
                    <a:lnTo>
                      <a:pt x="1010" y="272"/>
                    </a:lnTo>
                    <a:lnTo>
                      <a:pt x="1010" y="270"/>
                    </a:lnTo>
                    <a:lnTo>
                      <a:pt x="1010" y="272"/>
                    </a:lnTo>
                    <a:lnTo>
                      <a:pt x="1010" y="270"/>
                    </a:lnTo>
                    <a:lnTo>
                      <a:pt x="1012" y="268"/>
                    </a:lnTo>
                    <a:lnTo>
                      <a:pt x="1012" y="267"/>
                    </a:lnTo>
                    <a:lnTo>
                      <a:pt x="1014" y="267"/>
                    </a:lnTo>
                    <a:lnTo>
                      <a:pt x="1014" y="265"/>
                    </a:lnTo>
                    <a:lnTo>
                      <a:pt x="1015" y="265"/>
                    </a:lnTo>
                    <a:lnTo>
                      <a:pt x="1015" y="263"/>
                    </a:lnTo>
                    <a:lnTo>
                      <a:pt x="1017" y="265"/>
                    </a:lnTo>
                    <a:lnTo>
                      <a:pt x="1017" y="263"/>
                    </a:lnTo>
                    <a:lnTo>
                      <a:pt x="1019" y="263"/>
                    </a:lnTo>
                    <a:lnTo>
                      <a:pt x="1017" y="263"/>
                    </a:lnTo>
                    <a:lnTo>
                      <a:pt x="1019" y="262"/>
                    </a:lnTo>
                    <a:lnTo>
                      <a:pt x="1019" y="260"/>
                    </a:lnTo>
                    <a:lnTo>
                      <a:pt x="1019" y="258"/>
                    </a:lnTo>
                    <a:lnTo>
                      <a:pt x="1020" y="258"/>
                    </a:lnTo>
                    <a:lnTo>
                      <a:pt x="1019" y="260"/>
                    </a:lnTo>
                    <a:lnTo>
                      <a:pt x="1019" y="262"/>
                    </a:lnTo>
                    <a:lnTo>
                      <a:pt x="1019" y="260"/>
                    </a:lnTo>
                    <a:lnTo>
                      <a:pt x="1020" y="260"/>
                    </a:lnTo>
                    <a:lnTo>
                      <a:pt x="1022" y="258"/>
                    </a:lnTo>
                    <a:lnTo>
                      <a:pt x="1022" y="257"/>
                    </a:lnTo>
                    <a:lnTo>
                      <a:pt x="1022" y="255"/>
                    </a:lnTo>
                    <a:lnTo>
                      <a:pt x="1024" y="255"/>
                    </a:lnTo>
                    <a:lnTo>
                      <a:pt x="1026" y="255"/>
                    </a:lnTo>
                    <a:lnTo>
                      <a:pt x="1026" y="253"/>
                    </a:lnTo>
                    <a:lnTo>
                      <a:pt x="1026" y="255"/>
                    </a:lnTo>
                    <a:lnTo>
                      <a:pt x="1024" y="255"/>
                    </a:lnTo>
                    <a:lnTo>
                      <a:pt x="1024" y="257"/>
                    </a:lnTo>
                    <a:lnTo>
                      <a:pt x="1026" y="257"/>
                    </a:lnTo>
                    <a:lnTo>
                      <a:pt x="1026" y="258"/>
                    </a:lnTo>
                    <a:lnTo>
                      <a:pt x="1024" y="258"/>
                    </a:lnTo>
                    <a:lnTo>
                      <a:pt x="1024" y="260"/>
                    </a:lnTo>
                    <a:lnTo>
                      <a:pt x="1022" y="260"/>
                    </a:lnTo>
                    <a:lnTo>
                      <a:pt x="1020" y="260"/>
                    </a:lnTo>
                    <a:lnTo>
                      <a:pt x="1020" y="262"/>
                    </a:lnTo>
                    <a:lnTo>
                      <a:pt x="1020" y="263"/>
                    </a:lnTo>
                    <a:lnTo>
                      <a:pt x="1020" y="262"/>
                    </a:lnTo>
                    <a:lnTo>
                      <a:pt x="1022" y="262"/>
                    </a:lnTo>
                    <a:lnTo>
                      <a:pt x="1024" y="262"/>
                    </a:lnTo>
                    <a:lnTo>
                      <a:pt x="1022" y="262"/>
                    </a:lnTo>
                    <a:lnTo>
                      <a:pt x="1022" y="263"/>
                    </a:lnTo>
                    <a:lnTo>
                      <a:pt x="1024" y="263"/>
                    </a:lnTo>
                    <a:lnTo>
                      <a:pt x="1024" y="262"/>
                    </a:lnTo>
                    <a:lnTo>
                      <a:pt x="1026" y="262"/>
                    </a:lnTo>
                    <a:lnTo>
                      <a:pt x="1026" y="263"/>
                    </a:lnTo>
                    <a:lnTo>
                      <a:pt x="1026" y="262"/>
                    </a:lnTo>
                    <a:lnTo>
                      <a:pt x="1027" y="262"/>
                    </a:lnTo>
                    <a:lnTo>
                      <a:pt x="1026" y="262"/>
                    </a:lnTo>
                    <a:lnTo>
                      <a:pt x="1027" y="263"/>
                    </a:lnTo>
                    <a:lnTo>
                      <a:pt x="1027" y="262"/>
                    </a:lnTo>
                    <a:lnTo>
                      <a:pt x="1027" y="260"/>
                    </a:lnTo>
                    <a:lnTo>
                      <a:pt x="1029" y="260"/>
                    </a:lnTo>
                    <a:lnTo>
                      <a:pt x="1029" y="262"/>
                    </a:lnTo>
                    <a:lnTo>
                      <a:pt x="1031" y="262"/>
                    </a:lnTo>
                    <a:lnTo>
                      <a:pt x="1031" y="263"/>
                    </a:lnTo>
                    <a:lnTo>
                      <a:pt x="1031" y="262"/>
                    </a:lnTo>
                    <a:lnTo>
                      <a:pt x="1031" y="260"/>
                    </a:lnTo>
                    <a:lnTo>
                      <a:pt x="1032" y="260"/>
                    </a:lnTo>
                    <a:lnTo>
                      <a:pt x="1034" y="260"/>
                    </a:lnTo>
                    <a:lnTo>
                      <a:pt x="1032" y="260"/>
                    </a:lnTo>
                    <a:lnTo>
                      <a:pt x="1031" y="260"/>
                    </a:lnTo>
                    <a:lnTo>
                      <a:pt x="1031" y="258"/>
                    </a:lnTo>
                    <a:lnTo>
                      <a:pt x="1031" y="257"/>
                    </a:lnTo>
                    <a:lnTo>
                      <a:pt x="1032" y="257"/>
                    </a:lnTo>
                    <a:lnTo>
                      <a:pt x="1034" y="257"/>
                    </a:lnTo>
                    <a:lnTo>
                      <a:pt x="1036" y="257"/>
                    </a:lnTo>
                    <a:lnTo>
                      <a:pt x="1037" y="257"/>
                    </a:lnTo>
                    <a:lnTo>
                      <a:pt x="1039" y="258"/>
                    </a:lnTo>
                    <a:lnTo>
                      <a:pt x="1041" y="258"/>
                    </a:lnTo>
                    <a:lnTo>
                      <a:pt x="1043" y="258"/>
                    </a:lnTo>
                    <a:lnTo>
                      <a:pt x="1043" y="260"/>
                    </a:lnTo>
                    <a:lnTo>
                      <a:pt x="1044" y="260"/>
                    </a:lnTo>
                    <a:lnTo>
                      <a:pt x="1046" y="262"/>
                    </a:lnTo>
                    <a:lnTo>
                      <a:pt x="1048" y="262"/>
                    </a:lnTo>
                    <a:lnTo>
                      <a:pt x="1049" y="262"/>
                    </a:lnTo>
                    <a:lnTo>
                      <a:pt x="1049" y="263"/>
                    </a:lnTo>
                    <a:lnTo>
                      <a:pt x="1051" y="263"/>
                    </a:lnTo>
                    <a:lnTo>
                      <a:pt x="1053" y="263"/>
                    </a:lnTo>
                    <a:lnTo>
                      <a:pt x="1053" y="265"/>
                    </a:lnTo>
                    <a:lnTo>
                      <a:pt x="1054" y="265"/>
                    </a:lnTo>
                    <a:lnTo>
                      <a:pt x="1056" y="265"/>
                    </a:lnTo>
                    <a:lnTo>
                      <a:pt x="1058" y="267"/>
                    </a:lnTo>
                    <a:lnTo>
                      <a:pt x="1060" y="267"/>
                    </a:lnTo>
                    <a:lnTo>
                      <a:pt x="1061" y="268"/>
                    </a:lnTo>
                    <a:lnTo>
                      <a:pt x="1063" y="268"/>
                    </a:lnTo>
                    <a:lnTo>
                      <a:pt x="1065" y="268"/>
                    </a:lnTo>
                    <a:lnTo>
                      <a:pt x="1066" y="270"/>
                    </a:lnTo>
                    <a:lnTo>
                      <a:pt x="1068" y="270"/>
                    </a:lnTo>
                    <a:lnTo>
                      <a:pt x="1070" y="270"/>
                    </a:lnTo>
                    <a:lnTo>
                      <a:pt x="1071" y="270"/>
                    </a:lnTo>
                    <a:lnTo>
                      <a:pt x="1071" y="272"/>
                    </a:lnTo>
                    <a:lnTo>
                      <a:pt x="1073" y="274"/>
                    </a:lnTo>
                    <a:lnTo>
                      <a:pt x="1071" y="274"/>
                    </a:lnTo>
                    <a:lnTo>
                      <a:pt x="1073" y="274"/>
                    </a:lnTo>
                    <a:lnTo>
                      <a:pt x="1073" y="272"/>
                    </a:lnTo>
                    <a:lnTo>
                      <a:pt x="1073" y="274"/>
                    </a:lnTo>
                    <a:lnTo>
                      <a:pt x="1073" y="272"/>
                    </a:lnTo>
                    <a:lnTo>
                      <a:pt x="1073" y="274"/>
                    </a:lnTo>
                    <a:lnTo>
                      <a:pt x="1075" y="274"/>
                    </a:lnTo>
                    <a:lnTo>
                      <a:pt x="1075" y="272"/>
                    </a:lnTo>
                    <a:lnTo>
                      <a:pt x="1077" y="272"/>
                    </a:lnTo>
                    <a:lnTo>
                      <a:pt x="1075" y="272"/>
                    </a:lnTo>
                    <a:lnTo>
                      <a:pt x="1073" y="272"/>
                    </a:lnTo>
                    <a:lnTo>
                      <a:pt x="1075" y="272"/>
                    </a:lnTo>
                    <a:lnTo>
                      <a:pt x="1075" y="270"/>
                    </a:lnTo>
                    <a:lnTo>
                      <a:pt x="1077" y="272"/>
                    </a:lnTo>
                    <a:lnTo>
                      <a:pt x="1078" y="272"/>
                    </a:lnTo>
                    <a:lnTo>
                      <a:pt x="1078" y="274"/>
                    </a:lnTo>
                    <a:lnTo>
                      <a:pt x="1078" y="272"/>
                    </a:lnTo>
                    <a:lnTo>
                      <a:pt x="1080" y="272"/>
                    </a:lnTo>
                    <a:lnTo>
                      <a:pt x="1080" y="270"/>
                    </a:lnTo>
                    <a:lnTo>
                      <a:pt x="1082" y="270"/>
                    </a:lnTo>
                    <a:lnTo>
                      <a:pt x="1083" y="270"/>
                    </a:lnTo>
                    <a:lnTo>
                      <a:pt x="1085" y="270"/>
                    </a:lnTo>
                    <a:lnTo>
                      <a:pt x="1087" y="270"/>
                    </a:lnTo>
                    <a:lnTo>
                      <a:pt x="1085" y="272"/>
                    </a:lnTo>
                    <a:lnTo>
                      <a:pt x="1087" y="272"/>
                    </a:lnTo>
                    <a:lnTo>
                      <a:pt x="1087" y="270"/>
                    </a:lnTo>
                    <a:lnTo>
                      <a:pt x="1088" y="272"/>
                    </a:lnTo>
                    <a:lnTo>
                      <a:pt x="1090" y="272"/>
                    </a:lnTo>
                    <a:lnTo>
                      <a:pt x="1090" y="274"/>
                    </a:lnTo>
                    <a:lnTo>
                      <a:pt x="1092" y="274"/>
                    </a:lnTo>
                    <a:lnTo>
                      <a:pt x="1092" y="275"/>
                    </a:lnTo>
                    <a:lnTo>
                      <a:pt x="1094" y="275"/>
                    </a:lnTo>
                    <a:lnTo>
                      <a:pt x="1095" y="275"/>
                    </a:lnTo>
                    <a:lnTo>
                      <a:pt x="1095" y="277"/>
                    </a:lnTo>
                    <a:lnTo>
                      <a:pt x="1097" y="277"/>
                    </a:lnTo>
                    <a:lnTo>
                      <a:pt x="1097" y="275"/>
                    </a:lnTo>
                    <a:lnTo>
                      <a:pt x="1099" y="275"/>
                    </a:lnTo>
                    <a:lnTo>
                      <a:pt x="1099" y="277"/>
                    </a:lnTo>
                    <a:lnTo>
                      <a:pt x="1100" y="277"/>
                    </a:lnTo>
                    <a:lnTo>
                      <a:pt x="1100" y="275"/>
                    </a:lnTo>
                    <a:lnTo>
                      <a:pt x="1100" y="277"/>
                    </a:lnTo>
                    <a:lnTo>
                      <a:pt x="1102" y="277"/>
                    </a:lnTo>
                    <a:lnTo>
                      <a:pt x="1104" y="277"/>
                    </a:lnTo>
                    <a:lnTo>
                      <a:pt x="1104" y="275"/>
                    </a:lnTo>
                    <a:lnTo>
                      <a:pt x="1105" y="275"/>
                    </a:lnTo>
                    <a:lnTo>
                      <a:pt x="1107" y="275"/>
                    </a:lnTo>
                    <a:lnTo>
                      <a:pt x="1109" y="275"/>
                    </a:lnTo>
                    <a:lnTo>
                      <a:pt x="1111" y="275"/>
                    </a:lnTo>
                    <a:lnTo>
                      <a:pt x="1112" y="275"/>
                    </a:lnTo>
                    <a:lnTo>
                      <a:pt x="1114" y="275"/>
                    </a:lnTo>
                    <a:lnTo>
                      <a:pt x="1116" y="275"/>
                    </a:lnTo>
                    <a:lnTo>
                      <a:pt x="1117" y="275"/>
                    </a:lnTo>
                    <a:lnTo>
                      <a:pt x="1119" y="275"/>
                    </a:lnTo>
                    <a:lnTo>
                      <a:pt x="1121" y="275"/>
                    </a:lnTo>
                    <a:lnTo>
                      <a:pt x="1121" y="274"/>
                    </a:lnTo>
                    <a:lnTo>
                      <a:pt x="1122" y="274"/>
                    </a:lnTo>
                    <a:lnTo>
                      <a:pt x="1124" y="274"/>
                    </a:lnTo>
                    <a:lnTo>
                      <a:pt x="1126" y="274"/>
                    </a:lnTo>
                    <a:lnTo>
                      <a:pt x="1128" y="274"/>
                    </a:lnTo>
                    <a:lnTo>
                      <a:pt x="1129" y="274"/>
                    </a:lnTo>
                    <a:lnTo>
                      <a:pt x="1131" y="272"/>
                    </a:lnTo>
                    <a:lnTo>
                      <a:pt x="1133" y="272"/>
                    </a:lnTo>
                    <a:lnTo>
                      <a:pt x="1133" y="274"/>
                    </a:lnTo>
                    <a:lnTo>
                      <a:pt x="1134" y="274"/>
                    </a:lnTo>
                    <a:lnTo>
                      <a:pt x="1136" y="274"/>
                    </a:lnTo>
                    <a:lnTo>
                      <a:pt x="1136" y="272"/>
                    </a:lnTo>
                    <a:lnTo>
                      <a:pt x="1138" y="272"/>
                    </a:lnTo>
                    <a:lnTo>
                      <a:pt x="1138" y="274"/>
                    </a:lnTo>
                    <a:lnTo>
                      <a:pt x="1139" y="274"/>
                    </a:lnTo>
                    <a:lnTo>
                      <a:pt x="1141" y="274"/>
                    </a:lnTo>
                    <a:lnTo>
                      <a:pt x="1143" y="274"/>
                    </a:lnTo>
                    <a:lnTo>
                      <a:pt x="1145" y="274"/>
                    </a:lnTo>
                    <a:lnTo>
                      <a:pt x="1146" y="274"/>
                    </a:lnTo>
                    <a:lnTo>
                      <a:pt x="1148" y="274"/>
                    </a:lnTo>
                    <a:lnTo>
                      <a:pt x="1150" y="274"/>
                    </a:lnTo>
                    <a:lnTo>
                      <a:pt x="1150" y="275"/>
                    </a:lnTo>
                    <a:lnTo>
                      <a:pt x="1151" y="275"/>
                    </a:lnTo>
                    <a:lnTo>
                      <a:pt x="1150" y="275"/>
                    </a:lnTo>
                    <a:lnTo>
                      <a:pt x="1151" y="275"/>
                    </a:lnTo>
                    <a:lnTo>
                      <a:pt x="1153" y="275"/>
                    </a:lnTo>
                    <a:lnTo>
                      <a:pt x="1153" y="277"/>
                    </a:lnTo>
                    <a:lnTo>
                      <a:pt x="1155" y="277"/>
                    </a:lnTo>
                    <a:lnTo>
                      <a:pt x="1156" y="279"/>
                    </a:lnTo>
                    <a:lnTo>
                      <a:pt x="1158" y="279"/>
                    </a:lnTo>
                    <a:lnTo>
                      <a:pt x="1160" y="280"/>
                    </a:lnTo>
                    <a:lnTo>
                      <a:pt x="1162" y="280"/>
                    </a:lnTo>
                    <a:lnTo>
                      <a:pt x="1162" y="282"/>
                    </a:lnTo>
                    <a:lnTo>
                      <a:pt x="1163" y="282"/>
                    </a:lnTo>
                    <a:lnTo>
                      <a:pt x="1165" y="282"/>
                    </a:lnTo>
                    <a:lnTo>
                      <a:pt x="1165" y="284"/>
                    </a:lnTo>
                    <a:lnTo>
                      <a:pt x="1167" y="284"/>
                    </a:lnTo>
                    <a:lnTo>
                      <a:pt x="1168" y="285"/>
                    </a:lnTo>
                    <a:lnTo>
                      <a:pt x="1170" y="285"/>
                    </a:lnTo>
                    <a:lnTo>
                      <a:pt x="1172" y="285"/>
                    </a:lnTo>
                    <a:lnTo>
                      <a:pt x="1172" y="287"/>
                    </a:lnTo>
                    <a:lnTo>
                      <a:pt x="1173" y="287"/>
                    </a:lnTo>
                    <a:lnTo>
                      <a:pt x="1175" y="287"/>
                    </a:lnTo>
                    <a:lnTo>
                      <a:pt x="1175" y="289"/>
                    </a:lnTo>
                    <a:lnTo>
                      <a:pt x="1175" y="291"/>
                    </a:lnTo>
                    <a:lnTo>
                      <a:pt x="1177" y="291"/>
                    </a:lnTo>
                    <a:lnTo>
                      <a:pt x="1179" y="292"/>
                    </a:lnTo>
                    <a:lnTo>
                      <a:pt x="1180" y="294"/>
                    </a:lnTo>
                    <a:lnTo>
                      <a:pt x="1180" y="292"/>
                    </a:lnTo>
                    <a:lnTo>
                      <a:pt x="1182" y="292"/>
                    </a:lnTo>
                    <a:lnTo>
                      <a:pt x="1184" y="294"/>
                    </a:lnTo>
                    <a:lnTo>
                      <a:pt x="1184" y="296"/>
                    </a:lnTo>
                    <a:lnTo>
                      <a:pt x="1185" y="296"/>
                    </a:lnTo>
                    <a:lnTo>
                      <a:pt x="1185" y="297"/>
                    </a:lnTo>
                    <a:lnTo>
                      <a:pt x="1187" y="297"/>
                    </a:lnTo>
                    <a:lnTo>
                      <a:pt x="1189" y="297"/>
                    </a:lnTo>
                    <a:lnTo>
                      <a:pt x="1189" y="299"/>
                    </a:lnTo>
                    <a:lnTo>
                      <a:pt x="1190" y="301"/>
                    </a:lnTo>
                    <a:lnTo>
                      <a:pt x="1192" y="301"/>
                    </a:lnTo>
                    <a:lnTo>
                      <a:pt x="1192" y="302"/>
                    </a:lnTo>
                    <a:lnTo>
                      <a:pt x="1194" y="302"/>
                    </a:lnTo>
                    <a:lnTo>
                      <a:pt x="1196" y="302"/>
                    </a:lnTo>
                    <a:lnTo>
                      <a:pt x="1197" y="304"/>
                    </a:lnTo>
                    <a:lnTo>
                      <a:pt x="1199" y="304"/>
                    </a:lnTo>
                    <a:lnTo>
                      <a:pt x="1199" y="302"/>
                    </a:lnTo>
                    <a:lnTo>
                      <a:pt x="1199" y="304"/>
                    </a:lnTo>
                    <a:lnTo>
                      <a:pt x="1201" y="304"/>
                    </a:lnTo>
                    <a:lnTo>
                      <a:pt x="1201" y="306"/>
                    </a:lnTo>
                    <a:lnTo>
                      <a:pt x="1202" y="308"/>
                    </a:lnTo>
                    <a:lnTo>
                      <a:pt x="1202" y="309"/>
                    </a:lnTo>
                    <a:lnTo>
                      <a:pt x="1204" y="309"/>
                    </a:lnTo>
                    <a:lnTo>
                      <a:pt x="1204" y="311"/>
                    </a:lnTo>
                    <a:lnTo>
                      <a:pt x="1206" y="311"/>
                    </a:lnTo>
                    <a:lnTo>
                      <a:pt x="1207" y="313"/>
                    </a:lnTo>
                    <a:lnTo>
                      <a:pt x="1209" y="314"/>
                    </a:lnTo>
                    <a:lnTo>
                      <a:pt x="1209" y="316"/>
                    </a:lnTo>
                    <a:lnTo>
                      <a:pt x="1211" y="316"/>
                    </a:lnTo>
                    <a:lnTo>
                      <a:pt x="1211" y="318"/>
                    </a:lnTo>
                    <a:lnTo>
                      <a:pt x="1213" y="319"/>
                    </a:lnTo>
                    <a:lnTo>
                      <a:pt x="1214" y="321"/>
                    </a:lnTo>
                    <a:lnTo>
                      <a:pt x="1216" y="321"/>
                    </a:lnTo>
                    <a:lnTo>
                      <a:pt x="1216" y="323"/>
                    </a:lnTo>
                    <a:lnTo>
                      <a:pt x="1218" y="323"/>
                    </a:lnTo>
                    <a:lnTo>
                      <a:pt x="1218" y="325"/>
                    </a:lnTo>
                    <a:lnTo>
                      <a:pt x="1219" y="326"/>
                    </a:lnTo>
                    <a:lnTo>
                      <a:pt x="1221" y="326"/>
                    </a:lnTo>
                    <a:lnTo>
                      <a:pt x="1223" y="326"/>
                    </a:lnTo>
                    <a:lnTo>
                      <a:pt x="1223" y="328"/>
                    </a:lnTo>
                    <a:lnTo>
                      <a:pt x="1224" y="328"/>
                    </a:lnTo>
                    <a:lnTo>
                      <a:pt x="1224" y="330"/>
                    </a:lnTo>
                    <a:lnTo>
                      <a:pt x="1224" y="331"/>
                    </a:lnTo>
                    <a:lnTo>
                      <a:pt x="1226" y="331"/>
                    </a:lnTo>
                    <a:lnTo>
                      <a:pt x="1228" y="333"/>
                    </a:lnTo>
                    <a:lnTo>
                      <a:pt x="1230" y="335"/>
                    </a:lnTo>
                    <a:lnTo>
                      <a:pt x="1231" y="335"/>
                    </a:lnTo>
                    <a:lnTo>
                      <a:pt x="1233" y="335"/>
                    </a:lnTo>
                    <a:lnTo>
                      <a:pt x="1235" y="335"/>
                    </a:lnTo>
                    <a:lnTo>
                      <a:pt x="1235" y="337"/>
                    </a:lnTo>
                    <a:lnTo>
                      <a:pt x="1236" y="337"/>
                    </a:lnTo>
                    <a:lnTo>
                      <a:pt x="1238" y="337"/>
                    </a:lnTo>
                    <a:lnTo>
                      <a:pt x="1238" y="338"/>
                    </a:lnTo>
                    <a:lnTo>
                      <a:pt x="1240" y="338"/>
                    </a:lnTo>
                    <a:lnTo>
                      <a:pt x="1240" y="340"/>
                    </a:lnTo>
                    <a:lnTo>
                      <a:pt x="1240" y="342"/>
                    </a:lnTo>
                    <a:lnTo>
                      <a:pt x="1241" y="342"/>
                    </a:lnTo>
                    <a:lnTo>
                      <a:pt x="1241" y="343"/>
                    </a:lnTo>
                    <a:lnTo>
                      <a:pt x="1243" y="343"/>
                    </a:lnTo>
                    <a:lnTo>
                      <a:pt x="1243" y="345"/>
                    </a:lnTo>
                    <a:lnTo>
                      <a:pt x="1245" y="345"/>
                    </a:lnTo>
                    <a:lnTo>
                      <a:pt x="1247" y="345"/>
                    </a:lnTo>
                    <a:lnTo>
                      <a:pt x="1248" y="345"/>
                    </a:lnTo>
                    <a:lnTo>
                      <a:pt x="1250" y="345"/>
                    </a:lnTo>
                    <a:lnTo>
                      <a:pt x="1252" y="345"/>
                    </a:lnTo>
                    <a:lnTo>
                      <a:pt x="1253" y="345"/>
                    </a:lnTo>
                    <a:lnTo>
                      <a:pt x="1253" y="347"/>
                    </a:lnTo>
                    <a:lnTo>
                      <a:pt x="1255" y="347"/>
                    </a:lnTo>
                    <a:lnTo>
                      <a:pt x="1255" y="348"/>
                    </a:lnTo>
                    <a:lnTo>
                      <a:pt x="1257" y="348"/>
                    </a:lnTo>
                    <a:lnTo>
                      <a:pt x="1258" y="348"/>
                    </a:lnTo>
                    <a:lnTo>
                      <a:pt x="1258" y="350"/>
                    </a:lnTo>
                    <a:lnTo>
                      <a:pt x="1260" y="350"/>
                    </a:lnTo>
                    <a:lnTo>
                      <a:pt x="1262" y="350"/>
                    </a:lnTo>
                    <a:lnTo>
                      <a:pt x="1264" y="350"/>
                    </a:lnTo>
                    <a:lnTo>
                      <a:pt x="1262" y="350"/>
                    </a:lnTo>
                    <a:lnTo>
                      <a:pt x="1264" y="350"/>
                    </a:lnTo>
                    <a:lnTo>
                      <a:pt x="1265" y="350"/>
                    </a:lnTo>
                    <a:lnTo>
                      <a:pt x="1267" y="350"/>
                    </a:lnTo>
                    <a:lnTo>
                      <a:pt x="1267" y="348"/>
                    </a:lnTo>
                    <a:lnTo>
                      <a:pt x="1269" y="350"/>
                    </a:lnTo>
                    <a:lnTo>
                      <a:pt x="1270" y="350"/>
                    </a:lnTo>
                    <a:lnTo>
                      <a:pt x="1272" y="350"/>
                    </a:lnTo>
                    <a:lnTo>
                      <a:pt x="1274" y="350"/>
                    </a:lnTo>
                    <a:lnTo>
                      <a:pt x="1275" y="350"/>
                    </a:lnTo>
                    <a:lnTo>
                      <a:pt x="1277" y="350"/>
                    </a:lnTo>
                    <a:lnTo>
                      <a:pt x="1279" y="350"/>
                    </a:lnTo>
                    <a:lnTo>
                      <a:pt x="1281" y="348"/>
                    </a:lnTo>
                    <a:lnTo>
                      <a:pt x="1282" y="348"/>
                    </a:lnTo>
                    <a:lnTo>
                      <a:pt x="1284" y="348"/>
                    </a:lnTo>
                    <a:lnTo>
                      <a:pt x="1286" y="348"/>
                    </a:lnTo>
                    <a:lnTo>
                      <a:pt x="1287" y="348"/>
                    </a:lnTo>
                    <a:lnTo>
                      <a:pt x="1289" y="350"/>
                    </a:lnTo>
                    <a:lnTo>
                      <a:pt x="1291" y="350"/>
                    </a:lnTo>
                    <a:lnTo>
                      <a:pt x="1292" y="350"/>
                    </a:lnTo>
                    <a:lnTo>
                      <a:pt x="1294" y="350"/>
                    </a:lnTo>
                    <a:lnTo>
                      <a:pt x="1294" y="352"/>
                    </a:lnTo>
                    <a:lnTo>
                      <a:pt x="1296" y="350"/>
                    </a:lnTo>
                    <a:lnTo>
                      <a:pt x="1296" y="352"/>
                    </a:lnTo>
                    <a:lnTo>
                      <a:pt x="1298" y="352"/>
                    </a:lnTo>
                    <a:lnTo>
                      <a:pt x="1299" y="352"/>
                    </a:lnTo>
                    <a:lnTo>
                      <a:pt x="1301" y="352"/>
                    </a:lnTo>
                    <a:lnTo>
                      <a:pt x="1301" y="354"/>
                    </a:lnTo>
                    <a:lnTo>
                      <a:pt x="1303" y="354"/>
                    </a:lnTo>
                    <a:lnTo>
                      <a:pt x="1303" y="355"/>
                    </a:lnTo>
                    <a:lnTo>
                      <a:pt x="1304" y="357"/>
                    </a:lnTo>
                    <a:lnTo>
                      <a:pt x="1304" y="359"/>
                    </a:lnTo>
                    <a:lnTo>
                      <a:pt x="1306" y="360"/>
                    </a:lnTo>
                    <a:lnTo>
                      <a:pt x="1306" y="362"/>
                    </a:lnTo>
                    <a:lnTo>
                      <a:pt x="1308" y="364"/>
                    </a:lnTo>
                    <a:lnTo>
                      <a:pt x="1308" y="365"/>
                    </a:lnTo>
                    <a:lnTo>
                      <a:pt x="1308" y="367"/>
                    </a:lnTo>
                    <a:lnTo>
                      <a:pt x="1309" y="367"/>
                    </a:lnTo>
                    <a:lnTo>
                      <a:pt x="1309" y="369"/>
                    </a:lnTo>
                    <a:lnTo>
                      <a:pt x="1309" y="371"/>
                    </a:lnTo>
                    <a:lnTo>
                      <a:pt x="1309" y="372"/>
                    </a:lnTo>
                    <a:lnTo>
                      <a:pt x="1309" y="374"/>
                    </a:lnTo>
                    <a:lnTo>
                      <a:pt x="1311" y="374"/>
                    </a:lnTo>
                    <a:lnTo>
                      <a:pt x="1311" y="376"/>
                    </a:lnTo>
                    <a:lnTo>
                      <a:pt x="1311" y="377"/>
                    </a:lnTo>
                    <a:lnTo>
                      <a:pt x="1311" y="379"/>
                    </a:lnTo>
                    <a:lnTo>
                      <a:pt x="1313" y="379"/>
                    </a:lnTo>
                    <a:lnTo>
                      <a:pt x="1313" y="381"/>
                    </a:lnTo>
                    <a:lnTo>
                      <a:pt x="1313" y="382"/>
                    </a:lnTo>
                    <a:lnTo>
                      <a:pt x="1313" y="384"/>
                    </a:lnTo>
                    <a:lnTo>
                      <a:pt x="1313" y="386"/>
                    </a:lnTo>
                    <a:lnTo>
                      <a:pt x="1313" y="388"/>
                    </a:lnTo>
                    <a:lnTo>
                      <a:pt x="1315" y="388"/>
                    </a:lnTo>
                    <a:lnTo>
                      <a:pt x="1315" y="389"/>
                    </a:lnTo>
                    <a:lnTo>
                      <a:pt x="1315" y="391"/>
                    </a:lnTo>
                    <a:lnTo>
                      <a:pt x="1316" y="391"/>
                    </a:lnTo>
                    <a:lnTo>
                      <a:pt x="1315" y="391"/>
                    </a:lnTo>
                    <a:lnTo>
                      <a:pt x="1316" y="393"/>
                    </a:lnTo>
                    <a:lnTo>
                      <a:pt x="1316" y="394"/>
                    </a:lnTo>
                    <a:lnTo>
                      <a:pt x="1318" y="394"/>
                    </a:lnTo>
                    <a:lnTo>
                      <a:pt x="1318" y="396"/>
                    </a:lnTo>
                    <a:lnTo>
                      <a:pt x="1318" y="398"/>
                    </a:lnTo>
                    <a:lnTo>
                      <a:pt x="1318" y="399"/>
                    </a:lnTo>
                    <a:lnTo>
                      <a:pt x="1318" y="401"/>
                    </a:lnTo>
                    <a:lnTo>
                      <a:pt x="1318" y="403"/>
                    </a:lnTo>
                    <a:lnTo>
                      <a:pt x="1318" y="405"/>
                    </a:lnTo>
                    <a:lnTo>
                      <a:pt x="1320" y="405"/>
                    </a:lnTo>
                    <a:lnTo>
                      <a:pt x="1318" y="405"/>
                    </a:lnTo>
                    <a:lnTo>
                      <a:pt x="1320" y="405"/>
                    </a:lnTo>
                    <a:lnTo>
                      <a:pt x="1318" y="406"/>
                    </a:lnTo>
                    <a:lnTo>
                      <a:pt x="1320" y="406"/>
                    </a:lnTo>
                    <a:lnTo>
                      <a:pt x="1318" y="406"/>
                    </a:lnTo>
                    <a:lnTo>
                      <a:pt x="1320" y="406"/>
                    </a:lnTo>
                    <a:lnTo>
                      <a:pt x="1320" y="408"/>
                    </a:lnTo>
                    <a:lnTo>
                      <a:pt x="1320" y="410"/>
                    </a:lnTo>
                    <a:lnTo>
                      <a:pt x="1320" y="411"/>
                    </a:lnTo>
                    <a:lnTo>
                      <a:pt x="1321" y="411"/>
                    </a:lnTo>
                    <a:lnTo>
                      <a:pt x="1321" y="413"/>
                    </a:lnTo>
                    <a:lnTo>
                      <a:pt x="1323" y="413"/>
                    </a:lnTo>
                    <a:lnTo>
                      <a:pt x="1323" y="415"/>
                    </a:lnTo>
                    <a:lnTo>
                      <a:pt x="1323" y="416"/>
                    </a:lnTo>
                    <a:lnTo>
                      <a:pt x="1321" y="416"/>
                    </a:lnTo>
                    <a:lnTo>
                      <a:pt x="1323" y="418"/>
                    </a:lnTo>
                    <a:lnTo>
                      <a:pt x="1321" y="418"/>
                    </a:lnTo>
                    <a:lnTo>
                      <a:pt x="1323" y="418"/>
                    </a:lnTo>
                    <a:lnTo>
                      <a:pt x="1323" y="420"/>
                    </a:lnTo>
                    <a:lnTo>
                      <a:pt x="1323" y="422"/>
                    </a:lnTo>
                    <a:lnTo>
                      <a:pt x="1323" y="423"/>
                    </a:lnTo>
                    <a:lnTo>
                      <a:pt x="1323" y="425"/>
                    </a:lnTo>
                    <a:lnTo>
                      <a:pt x="1323" y="427"/>
                    </a:lnTo>
                    <a:lnTo>
                      <a:pt x="1323" y="428"/>
                    </a:lnTo>
                    <a:lnTo>
                      <a:pt x="1323" y="430"/>
                    </a:lnTo>
                    <a:lnTo>
                      <a:pt x="1323" y="432"/>
                    </a:lnTo>
                    <a:lnTo>
                      <a:pt x="1323" y="433"/>
                    </a:lnTo>
                    <a:lnTo>
                      <a:pt x="1321" y="433"/>
                    </a:lnTo>
                    <a:lnTo>
                      <a:pt x="1323" y="435"/>
                    </a:lnTo>
                    <a:lnTo>
                      <a:pt x="1323" y="437"/>
                    </a:lnTo>
                    <a:lnTo>
                      <a:pt x="1323" y="439"/>
                    </a:lnTo>
                    <a:lnTo>
                      <a:pt x="1321" y="439"/>
                    </a:lnTo>
                    <a:lnTo>
                      <a:pt x="1323" y="439"/>
                    </a:lnTo>
                    <a:lnTo>
                      <a:pt x="1321" y="439"/>
                    </a:lnTo>
                    <a:lnTo>
                      <a:pt x="1323" y="440"/>
                    </a:lnTo>
                    <a:lnTo>
                      <a:pt x="1321" y="442"/>
                    </a:lnTo>
                    <a:lnTo>
                      <a:pt x="1321" y="444"/>
                    </a:lnTo>
                    <a:lnTo>
                      <a:pt x="1323" y="445"/>
                    </a:lnTo>
                    <a:lnTo>
                      <a:pt x="1323" y="447"/>
                    </a:lnTo>
                    <a:lnTo>
                      <a:pt x="1321" y="449"/>
                    </a:lnTo>
                    <a:lnTo>
                      <a:pt x="1321" y="450"/>
                    </a:lnTo>
                    <a:lnTo>
                      <a:pt x="1320" y="452"/>
                    </a:lnTo>
                    <a:lnTo>
                      <a:pt x="1321" y="452"/>
                    </a:lnTo>
                    <a:lnTo>
                      <a:pt x="1320" y="452"/>
                    </a:lnTo>
                    <a:lnTo>
                      <a:pt x="1320" y="454"/>
                    </a:lnTo>
                    <a:lnTo>
                      <a:pt x="1320" y="456"/>
                    </a:lnTo>
                    <a:lnTo>
                      <a:pt x="1320" y="457"/>
                    </a:lnTo>
                    <a:lnTo>
                      <a:pt x="1318" y="457"/>
                    </a:lnTo>
                    <a:lnTo>
                      <a:pt x="1318" y="459"/>
                    </a:lnTo>
                    <a:lnTo>
                      <a:pt x="1318" y="461"/>
                    </a:lnTo>
                    <a:lnTo>
                      <a:pt x="1318" y="462"/>
                    </a:lnTo>
                    <a:lnTo>
                      <a:pt x="1318" y="464"/>
                    </a:lnTo>
                    <a:lnTo>
                      <a:pt x="1316" y="464"/>
                    </a:lnTo>
                    <a:lnTo>
                      <a:pt x="1316" y="466"/>
                    </a:lnTo>
                    <a:lnTo>
                      <a:pt x="1316" y="467"/>
                    </a:lnTo>
                    <a:lnTo>
                      <a:pt x="1315" y="469"/>
                    </a:lnTo>
                    <a:lnTo>
                      <a:pt x="1315" y="471"/>
                    </a:lnTo>
                    <a:lnTo>
                      <a:pt x="1315" y="473"/>
                    </a:lnTo>
                    <a:lnTo>
                      <a:pt x="1313" y="473"/>
                    </a:lnTo>
                    <a:lnTo>
                      <a:pt x="1315" y="473"/>
                    </a:lnTo>
                    <a:lnTo>
                      <a:pt x="1313" y="474"/>
                    </a:lnTo>
                    <a:lnTo>
                      <a:pt x="1313" y="476"/>
                    </a:lnTo>
                    <a:lnTo>
                      <a:pt x="1313" y="478"/>
                    </a:lnTo>
                    <a:lnTo>
                      <a:pt x="1311" y="478"/>
                    </a:lnTo>
                    <a:lnTo>
                      <a:pt x="1313" y="478"/>
                    </a:lnTo>
                    <a:lnTo>
                      <a:pt x="1311" y="479"/>
                    </a:lnTo>
                    <a:lnTo>
                      <a:pt x="1311" y="481"/>
                    </a:lnTo>
                    <a:lnTo>
                      <a:pt x="1311" y="483"/>
                    </a:lnTo>
                    <a:lnTo>
                      <a:pt x="1309" y="483"/>
                    </a:lnTo>
                    <a:lnTo>
                      <a:pt x="1309" y="485"/>
                    </a:lnTo>
                    <a:lnTo>
                      <a:pt x="1308" y="485"/>
                    </a:lnTo>
                    <a:lnTo>
                      <a:pt x="1308" y="486"/>
                    </a:lnTo>
                    <a:lnTo>
                      <a:pt x="1308" y="488"/>
                    </a:lnTo>
                    <a:lnTo>
                      <a:pt x="1306" y="488"/>
                    </a:lnTo>
                    <a:lnTo>
                      <a:pt x="1306" y="490"/>
                    </a:lnTo>
                    <a:lnTo>
                      <a:pt x="1306" y="491"/>
                    </a:lnTo>
                    <a:lnTo>
                      <a:pt x="1304" y="491"/>
                    </a:lnTo>
                    <a:lnTo>
                      <a:pt x="1304" y="493"/>
                    </a:lnTo>
                    <a:lnTo>
                      <a:pt x="1303" y="493"/>
                    </a:lnTo>
                    <a:lnTo>
                      <a:pt x="1303" y="495"/>
                    </a:lnTo>
                    <a:lnTo>
                      <a:pt x="1301" y="495"/>
                    </a:lnTo>
                    <a:lnTo>
                      <a:pt x="1301" y="496"/>
                    </a:lnTo>
                    <a:lnTo>
                      <a:pt x="1299" y="496"/>
                    </a:lnTo>
                    <a:lnTo>
                      <a:pt x="1299" y="498"/>
                    </a:lnTo>
                    <a:lnTo>
                      <a:pt x="1298" y="500"/>
                    </a:lnTo>
                    <a:lnTo>
                      <a:pt x="1296" y="500"/>
                    </a:lnTo>
                    <a:lnTo>
                      <a:pt x="1296" y="502"/>
                    </a:lnTo>
                    <a:lnTo>
                      <a:pt x="1294" y="502"/>
                    </a:lnTo>
                    <a:lnTo>
                      <a:pt x="1294" y="503"/>
                    </a:lnTo>
                    <a:lnTo>
                      <a:pt x="1292" y="505"/>
                    </a:lnTo>
                    <a:lnTo>
                      <a:pt x="1292" y="507"/>
                    </a:lnTo>
                    <a:lnTo>
                      <a:pt x="1291" y="507"/>
                    </a:lnTo>
                    <a:lnTo>
                      <a:pt x="1289" y="507"/>
                    </a:lnTo>
                    <a:lnTo>
                      <a:pt x="1289" y="508"/>
                    </a:lnTo>
                    <a:lnTo>
                      <a:pt x="1289" y="510"/>
                    </a:lnTo>
                    <a:lnTo>
                      <a:pt x="1287" y="510"/>
                    </a:lnTo>
                    <a:lnTo>
                      <a:pt x="1287" y="512"/>
                    </a:lnTo>
                    <a:lnTo>
                      <a:pt x="1286" y="512"/>
                    </a:lnTo>
                    <a:lnTo>
                      <a:pt x="1286" y="513"/>
                    </a:lnTo>
                    <a:lnTo>
                      <a:pt x="1284" y="513"/>
                    </a:lnTo>
                    <a:lnTo>
                      <a:pt x="1284" y="515"/>
                    </a:lnTo>
                    <a:lnTo>
                      <a:pt x="1284" y="517"/>
                    </a:lnTo>
                    <a:lnTo>
                      <a:pt x="1282" y="517"/>
                    </a:lnTo>
                    <a:lnTo>
                      <a:pt x="1282" y="519"/>
                    </a:lnTo>
                    <a:lnTo>
                      <a:pt x="1281" y="520"/>
                    </a:lnTo>
                    <a:lnTo>
                      <a:pt x="1279" y="520"/>
                    </a:lnTo>
                    <a:lnTo>
                      <a:pt x="1279" y="522"/>
                    </a:lnTo>
                    <a:lnTo>
                      <a:pt x="1279" y="524"/>
                    </a:lnTo>
                    <a:lnTo>
                      <a:pt x="1277" y="522"/>
                    </a:lnTo>
                    <a:lnTo>
                      <a:pt x="1277" y="524"/>
                    </a:lnTo>
                    <a:lnTo>
                      <a:pt x="1275" y="524"/>
                    </a:lnTo>
                    <a:lnTo>
                      <a:pt x="1275" y="525"/>
                    </a:lnTo>
                    <a:lnTo>
                      <a:pt x="1274" y="525"/>
                    </a:lnTo>
                    <a:lnTo>
                      <a:pt x="1274" y="527"/>
                    </a:lnTo>
                    <a:lnTo>
                      <a:pt x="1272" y="527"/>
                    </a:lnTo>
                    <a:lnTo>
                      <a:pt x="1272" y="529"/>
                    </a:lnTo>
                    <a:lnTo>
                      <a:pt x="1272" y="530"/>
                    </a:lnTo>
                    <a:lnTo>
                      <a:pt x="1270" y="532"/>
                    </a:lnTo>
                    <a:lnTo>
                      <a:pt x="1270" y="534"/>
                    </a:lnTo>
                    <a:lnTo>
                      <a:pt x="1269" y="534"/>
                    </a:lnTo>
                    <a:lnTo>
                      <a:pt x="1269" y="536"/>
                    </a:lnTo>
                    <a:lnTo>
                      <a:pt x="1267" y="536"/>
                    </a:lnTo>
                    <a:lnTo>
                      <a:pt x="1265" y="536"/>
                    </a:lnTo>
                    <a:lnTo>
                      <a:pt x="1264" y="537"/>
                    </a:lnTo>
                    <a:lnTo>
                      <a:pt x="1262" y="537"/>
                    </a:lnTo>
                    <a:lnTo>
                      <a:pt x="1260" y="539"/>
                    </a:lnTo>
                    <a:lnTo>
                      <a:pt x="1258" y="539"/>
                    </a:lnTo>
                    <a:lnTo>
                      <a:pt x="1258" y="541"/>
                    </a:lnTo>
                    <a:lnTo>
                      <a:pt x="1257" y="541"/>
                    </a:lnTo>
                    <a:lnTo>
                      <a:pt x="1255" y="541"/>
                    </a:lnTo>
                    <a:lnTo>
                      <a:pt x="1255" y="542"/>
                    </a:lnTo>
                    <a:lnTo>
                      <a:pt x="1253" y="542"/>
                    </a:lnTo>
                    <a:lnTo>
                      <a:pt x="1253" y="544"/>
                    </a:lnTo>
                    <a:lnTo>
                      <a:pt x="1252" y="546"/>
                    </a:lnTo>
                    <a:lnTo>
                      <a:pt x="1250" y="547"/>
                    </a:lnTo>
                    <a:lnTo>
                      <a:pt x="1248" y="549"/>
                    </a:lnTo>
                    <a:lnTo>
                      <a:pt x="1248" y="551"/>
                    </a:lnTo>
                    <a:lnTo>
                      <a:pt x="1248" y="549"/>
                    </a:lnTo>
                    <a:lnTo>
                      <a:pt x="1248" y="551"/>
                    </a:lnTo>
                    <a:lnTo>
                      <a:pt x="1247" y="551"/>
                    </a:lnTo>
                    <a:lnTo>
                      <a:pt x="1247" y="553"/>
                    </a:lnTo>
                    <a:lnTo>
                      <a:pt x="1245" y="554"/>
                    </a:lnTo>
                    <a:lnTo>
                      <a:pt x="1245" y="556"/>
                    </a:lnTo>
                    <a:lnTo>
                      <a:pt x="1243" y="556"/>
                    </a:lnTo>
                    <a:lnTo>
                      <a:pt x="1243" y="558"/>
                    </a:lnTo>
                    <a:lnTo>
                      <a:pt x="1243" y="559"/>
                    </a:lnTo>
                    <a:lnTo>
                      <a:pt x="1241" y="559"/>
                    </a:lnTo>
                    <a:lnTo>
                      <a:pt x="1241" y="561"/>
                    </a:lnTo>
                    <a:lnTo>
                      <a:pt x="1240" y="561"/>
                    </a:lnTo>
                    <a:lnTo>
                      <a:pt x="1240" y="563"/>
                    </a:lnTo>
                    <a:lnTo>
                      <a:pt x="1238" y="564"/>
                    </a:lnTo>
                    <a:lnTo>
                      <a:pt x="1238" y="566"/>
                    </a:lnTo>
                    <a:lnTo>
                      <a:pt x="1236" y="566"/>
                    </a:lnTo>
                    <a:lnTo>
                      <a:pt x="1238" y="568"/>
                    </a:lnTo>
                    <a:lnTo>
                      <a:pt x="1236" y="568"/>
                    </a:lnTo>
                    <a:lnTo>
                      <a:pt x="1236" y="570"/>
                    </a:lnTo>
                    <a:lnTo>
                      <a:pt x="1235" y="571"/>
                    </a:lnTo>
                    <a:lnTo>
                      <a:pt x="1233" y="573"/>
                    </a:lnTo>
                    <a:lnTo>
                      <a:pt x="1233" y="575"/>
                    </a:lnTo>
                    <a:lnTo>
                      <a:pt x="1233" y="576"/>
                    </a:lnTo>
                    <a:lnTo>
                      <a:pt x="1231" y="576"/>
                    </a:lnTo>
                    <a:lnTo>
                      <a:pt x="1231" y="578"/>
                    </a:lnTo>
                    <a:lnTo>
                      <a:pt x="1231" y="580"/>
                    </a:lnTo>
                    <a:lnTo>
                      <a:pt x="1230" y="581"/>
                    </a:lnTo>
                    <a:lnTo>
                      <a:pt x="1230" y="583"/>
                    </a:lnTo>
                    <a:lnTo>
                      <a:pt x="1228" y="585"/>
                    </a:lnTo>
                    <a:lnTo>
                      <a:pt x="1228" y="587"/>
                    </a:lnTo>
                    <a:lnTo>
                      <a:pt x="1226" y="588"/>
                    </a:lnTo>
                    <a:lnTo>
                      <a:pt x="1226" y="590"/>
                    </a:lnTo>
                    <a:lnTo>
                      <a:pt x="1224" y="592"/>
                    </a:lnTo>
                    <a:lnTo>
                      <a:pt x="1223" y="593"/>
                    </a:lnTo>
                    <a:lnTo>
                      <a:pt x="1223" y="595"/>
                    </a:lnTo>
                    <a:lnTo>
                      <a:pt x="1221" y="597"/>
                    </a:lnTo>
                    <a:lnTo>
                      <a:pt x="1221" y="598"/>
                    </a:lnTo>
                    <a:lnTo>
                      <a:pt x="1219" y="598"/>
                    </a:lnTo>
                    <a:lnTo>
                      <a:pt x="1219" y="600"/>
                    </a:lnTo>
                    <a:lnTo>
                      <a:pt x="1218" y="600"/>
                    </a:lnTo>
                    <a:lnTo>
                      <a:pt x="1218" y="602"/>
                    </a:lnTo>
                    <a:lnTo>
                      <a:pt x="1218" y="604"/>
                    </a:lnTo>
                    <a:lnTo>
                      <a:pt x="1216" y="604"/>
                    </a:lnTo>
                    <a:lnTo>
                      <a:pt x="1216" y="605"/>
                    </a:lnTo>
                    <a:lnTo>
                      <a:pt x="1214" y="607"/>
                    </a:lnTo>
                    <a:lnTo>
                      <a:pt x="1214" y="609"/>
                    </a:lnTo>
                    <a:lnTo>
                      <a:pt x="1213" y="609"/>
                    </a:lnTo>
                    <a:lnTo>
                      <a:pt x="1213" y="610"/>
                    </a:lnTo>
                    <a:lnTo>
                      <a:pt x="1211" y="610"/>
                    </a:lnTo>
                    <a:lnTo>
                      <a:pt x="1211" y="612"/>
                    </a:lnTo>
                    <a:lnTo>
                      <a:pt x="1209" y="612"/>
                    </a:lnTo>
                    <a:lnTo>
                      <a:pt x="1209" y="614"/>
                    </a:lnTo>
                    <a:lnTo>
                      <a:pt x="1207" y="614"/>
                    </a:lnTo>
                    <a:lnTo>
                      <a:pt x="1207" y="615"/>
                    </a:lnTo>
                    <a:lnTo>
                      <a:pt x="1206" y="615"/>
                    </a:lnTo>
                    <a:lnTo>
                      <a:pt x="1206" y="617"/>
                    </a:lnTo>
                    <a:lnTo>
                      <a:pt x="1204" y="617"/>
                    </a:lnTo>
                    <a:lnTo>
                      <a:pt x="1204" y="619"/>
                    </a:lnTo>
                    <a:lnTo>
                      <a:pt x="1202" y="619"/>
                    </a:lnTo>
                    <a:lnTo>
                      <a:pt x="1201" y="621"/>
                    </a:lnTo>
                    <a:lnTo>
                      <a:pt x="1199" y="621"/>
                    </a:lnTo>
                    <a:lnTo>
                      <a:pt x="1197" y="621"/>
                    </a:lnTo>
                    <a:lnTo>
                      <a:pt x="1199" y="619"/>
                    </a:lnTo>
                    <a:lnTo>
                      <a:pt x="1197" y="619"/>
                    </a:lnTo>
                    <a:lnTo>
                      <a:pt x="1199" y="617"/>
                    </a:lnTo>
                    <a:lnTo>
                      <a:pt x="1199" y="619"/>
                    </a:lnTo>
                    <a:lnTo>
                      <a:pt x="1199" y="617"/>
                    </a:lnTo>
                    <a:lnTo>
                      <a:pt x="1199" y="615"/>
                    </a:lnTo>
                    <a:lnTo>
                      <a:pt x="1199" y="614"/>
                    </a:lnTo>
                    <a:lnTo>
                      <a:pt x="1201" y="614"/>
                    </a:lnTo>
                    <a:lnTo>
                      <a:pt x="1201" y="612"/>
                    </a:lnTo>
                    <a:lnTo>
                      <a:pt x="1201" y="614"/>
                    </a:lnTo>
                    <a:lnTo>
                      <a:pt x="1201" y="612"/>
                    </a:lnTo>
                    <a:lnTo>
                      <a:pt x="1199" y="614"/>
                    </a:lnTo>
                    <a:lnTo>
                      <a:pt x="1199" y="612"/>
                    </a:lnTo>
                    <a:lnTo>
                      <a:pt x="1199" y="614"/>
                    </a:lnTo>
                    <a:lnTo>
                      <a:pt x="1199" y="612"/>
                    </a:lnTo>
                    <a:lnTo>
                      <a:pt x="1197" y="612"/>
                    </a:lnTo>
                    <a:lnTo>
                      <a:pt x="1197" y="610"/>
                    </a:lnTo>
                    <a:lnTo>
                      <a:pt x="1196" y="610"/>
                    </a:lnTo>
                    <a:lnTo>
                      <a:pt x="1196" y="612"/>
                    </a:lnTo>
                    <a:lnTo>
                      <a:pt x="1194" y="610"/>
                    </a:lnTo>
                    <a:lnTo>
                      <a:pt x="1194" y="609"/>
                    </a:lnTo>
                    <a:lnTo>
                      <a:pt x="1194" y="610"/>
                    </a:lnTo>
                    <a:lnTo>
                      <a:pt x="1194" y="609"/>
                    </a:lnTo>
                    <a:lnTo>
                      <a:pt x="1192" y="609"/>
                    </a:lnTo>
                    <a:lnTo>
                      <a:pt x="1192" y="607"/>
                    </a:lnTo>
                    <a:lnTo>
                      <a:pt x="1192" y="609"/>
                    </a:lnTo>
                    <a:lnTo>
                      <a:pt x="1190" y="609"/>
                    </a:lnTo>
                    <a:lnTo>
                      <a:pt x="1190" y="607"/>
                    </a:lnTo>
                    <a:lnTo>
                      <a:pt x="1190" y="609"/>
                    </a:lnTo>
                    <a:lnTo>
                      <a:pt x="1190" y="610"/>
                    </a:lnTo>
                    <a:lnTo>
                      <a:pt x="1190" y="612"/>
                    </a:lnTo>
                    <a:lnTo>
                      <a:pt x="1189" y="614"/>
                    </a:lnTo>
                    <a:lnTo>
                      <a:pt x="1189" y="615"/>
                    </a:lnTo>
                    <a:lnTo>
                      <a:pt x="1187" y="615"/>
                    </a:lnTo>
                    <a:lnTo>
                      <a:pt x="1187" y="614"/>
                    </a:lnTo>
                    <a:lnTo>
                      <a:pt x="1185" y="612"/>
                    </a:lnTo>
                    <a:lnTo>
                      <a:pt x="1185" y="610"/>
                    </a:lnTo>
                    <a:lnTo>
                      <a:pt x="1187" y="610"/>
                    </a:lnTo>
                    <a:lnTo>
                      <a:pt x="1187" y="609"/>
                    </a:lnTo>
                    <a:lnTo>
                      <a:pt x="1185" y="609"/>
                    </a:lnTo>
                    <a:lnTo>
                      <a:pt x="1187" y="609"/>
                    </a:lnTo>
                    <a:lnTo>
                      <a:pt x="1185" y="610"/>
                    </a:lnTo>
                    <a:lnTo>
                      <a:pt x="1185" y="609"/>
                    </a:lnTo>
                    <a:lnTo>
                      <a:pt x="1185" y="610"/>
                    </a:lnTo>
                    <a:lnTo>
                      <a:pt x="1184" y="612"/>
                    </a:lnTo>
                    <a:lnTo>
                      <a:pt x="1185" y="612"/>
                    </a:lnTo>
                    <a:lnTo>
                      <a:pt x="1185" y="614"/>
                    </a:lnTo>
                    <a:lnTo>
                      <a:pt x="1184" y="614"/>
                    </a:lnTo>
                    <a:lnTo>
                      <a:pt x="1185" y="614"/>
                    </a:lnTo>
                    <a:lnTo>
                      <a:pt x="1187" y="614"/>
                    </a:lnTo>
                    <a:lnTo>
                      <a:pt x="1185" y="614"/>
                    </a:lnTo>
                    <a:lnTo>
                      <a:pt x="1187" y="615"/>
                    </a:lnTo>
                    <a:lnTo>
                      <a:pt x="1189" y="615"/>
                    </a:lnTo>
                    <a:lnTo>
                      <a:pt x="1189" y="617"/>
                    </a:lnTo>
                    <a:lnTo>
                      <a:pt x="1190" y="615"/>
                    </a:lnTo>
                    <a:lnTo>
                      <a:pt x="1190" y="617"/>
                    </a:lnTo>
                    <a:lnTo>
                      <a:pt x="1189" y="617"/>
                    </a:lnTo>
                    <a:lnTo>
                      <a:pt x="1189" y="619"/>
                    </a:lnTo>
                    <a:lnTo>
                      <a:pt x="1189" y="621"/>
                    </a:lnTo>
                    <a:lnTo>
                      <a:pt x="1189" y="622"/>
                    </a:lnTo>
                    <a:lnTo>
                      <a:pt x="1190" y="622"/>
                    </a:lnTo>
                    <a:lnTo>
                      <a:pt x="1190" y="621"/>
                    </a:lnTo>
                    <a:lnTo>
                      <a:pt x="1192" y="621"/>
                    </a:lnTo>
                    <a:lnTo>
                      <a:pt x="1192" y="619"/>
                    </a:lnTo>
                    <a:lnTo>
                      <a:pt x="1192" y="617"/>
                    </a:lnTo>
                    <a:lnTo>
                      <a:pt x="1194" y="617"/>
                    </a:lnTo>
                    <a:lnTo>
                      <a:pt x="1194" y="619"/>
                    </a:lnTo>
                    <a:lnTo>
                      <a:pt x="1196" y="619"/>
                    </a:lnTo>
                    <a:lnTo>
                      <a:pt x="1194" y="621"/>
                    </a:lnTo>
                    <a:lnTo>
                      <a:pt x="1194" y="622"/>
                    </a:lnTo>
                    <a:lnTo>
                      <a:pt x="1192" y="622"/>
                    </a:lnTo>
                    <a:lnTo>
                      <a:pt x="1190" y="622"/>
                    </a:lnTo>
                    <a:lnTo>
                      <a:pt x="1190" y="624"/>
                    </a:lnTo>
                    <a:lnTo>
                      <a:pt x="1189" y="624"/>
                    </a:lnTo>
                    <a:lnTo>
                      <a:pt x="1189" y="626"/>
                    </a:lnTo>
                    <a:lnTo>
                      <a:pt x="1189" y="624"/>
                    </a:lnTo>
                    <a:lnTo>
                      <a:pt x="1187" y="624"/>
                    </a:lnTo>
                    <a:lnTo>
                      <a:pt x="1187" y="626"/>
                    </a:lnTo>
                    <a:lnTo>
                      <a:pt x="1189" y="626"/>
                    </a:lnTo>
                    <a:lnTo>
                      <a:pt x="1187" y="626"/>
                    </a:lnTo>
                    <a:lnTo>
                      <a:pt x="1187" y="627"/>
                    </a:lnTo>
                    <a:lnTo>
                      <a:pt x="1185" y="627"/>
                    </a:lnTo>
                    <a:lnTo>
                      <a:pt x="1184" y="629"/>
                    </a:lnTo>
                    <a:lnTo>
                      <a:pt x="1182" y="631"/>
                    </a:lnTo>
                    <a:lnTo>
                      <a:pt x="1182" y="632"/>
                    </a:lnTo>
                    <a:lnTo>
                      <a:pt x="1184" y="634"/>
                    </a:lnTo>
                    <a:lnTo>
                      <a:pt x="1185" y="634"/>
                    </a:lnTo>
                    <a:lnTo>
                      <a:pt x="1185" y="636"/>
                    </a:lnTo>
                    <a:lnTo>
                      <a:pt x="1185" y="638"/>
                    </a:lnTo>
                    <a:lnTo>
                      <a:pt x="1184" y="638"/>
                    </a:lnTo>
                    <a:lnTo>
                      <a:pt x="1185" y="638"/>
                    </a:lnTo>
                    <a:lnTo>
                      <a:pt x="1184" y="639"/>
                    </a:lnTo>
                    <a:lnTo>
                      <a:pt x="1184" y="641"/>
                    </a:lnTo>
                    <a:lnTo>
                      <a:pt x="1185" y="641"/>
                    </a:lnTo>
                    <a:lnTo>
                      <a:pt x="1185" y="643"/>
                    </a:lnTo>
                    <a:lnTo>
                      <a:pt x="1185" y="644"/>
                    </a:lnTo>
                    <a:lnTo>
                      <a:pt x="1184" y="644"/>
                    </a:lnTo>
                    <a:lnTo>
                      <a:pt x="1184" y="643"/>
                    </a:lnTo>
                    <a:lnTo>
                      <a:pt x="1184" y="644"/>
                    </a:lnTo>
                    <a:lnTo>
                      <a:pt x="1182" y="644"/>
                    </a:lnTo>
                    <a:lnTo>
                      <a:pt x="1182" y="646"/>
                    </a:lnTo>
                    <a:lnTo>
                      <a:pt x="1182" y="648"/>
                    </a:lnTo>
                    <a:lnTo>
                      <a:pt x="1182" y="650"/>
                    </a:lnTo>
                    <a:lnTo>
                      <a:pt x="1182" y="651"/>
                    </a:lnTo>
                    <a:lnTo>
                      <a:pt x="1180" y="651"/>
                    </a:lnTo>
                    <a:lnTo>
                      <a:pt x="1182" y="651"/>
                    </a:lnTo>
                    <a:lnTo>
                      <a:pt x="1182" y="653"/>
                    </a:lnTo>
                    <a:lnTo>
                      <a:pt x="1182" y="651"/>
                    </a:lnTo>
                    <a:lnTo>
                      <a:pt x="1184" y="651"/>
                    </a:lnTo>
                    <a:lnTo>
                      <a:pt x="1184" y="653"/>
                    </a:lnTo>
                    <a:lnTo>
                      <a:pt x="1184" y="655"/>
                    </a:lnTo>
                    <a:lnTo>
                      <a:pt x="1184" y="656"/>
                    </a:lnTo>
                    <a:lnTo>
                      <a:pt x="1184" y="658"/>
                    </a:lnTo>
                    <a:lnTo>
                      <a:pt x="1182" y="660"/>
                    </a:lnTo>
                    <a:lnTo>
                      <a:pt x="1182" y="661"/>
                    </a:lnTo>
                    <a:lnTo>
                      <a:pt x="1182" y="663"/>
                    </a:lnTo>
                    <a:lnTo>
                      <a:pt x="1182" y="665"/>
                    </a:lnTo>
                    <a:lnTo>
                      <a:pt x="1182" y="667"/>
                    </a:lnTo>
                    <a:lnTo>
                      <a:pt x="1182" y="668"/>
                    </a:lnTo>
                    <a:lnTo>
                      <a:pt x="1182" y="670"/>
                    </a:lnTo>
                    <a:lnTo>
                      <a:pt x="1180" y="670"/>
                    </a:lnTo>
                    <a:lnTo>
                      <a:pt x="1180" y="672"/>
                    </a:lnTo>
                    <a:lnTo>
                      <a:pt x="1180" y="673"/>
                    </a:lnTo>
                    <a:lnTo>
                      <a:pt x="1180" y="675"/>
                    </a:lnTo>
                    <a:lnTo>
                      <a:pt x="1180" y="677"/>
                    </a:lnTo>
                    <a:lnTo>
                      <a:pt x="1179" y="678"/>
                    </a:lnTo>
                    <a:lnTo>
                      <a:pt x="1179" y="680"/>
                    </a:lnTo>
                    <a:lnTo>
                      <a:pt x="1179" y="682"/>
                    </a:lnTo>
                    <a:lnTo>
                      <a:pt x="1180" y="682"/>
                    </a:lnTo>
                    <a:lnTo>
                      <a:pt x="1180" y="684"/>
                    </a:lnTo>
                    <a:lnTo>
                      <a:pt x="1180" y="682"/>
                    </a:lnTo>
                    <a:lnTo>
                      <a:pt x="1180" y="684"/>
                    </a:lnTo>
                    <a:lnTo>
                      <a:pt x="1180" y="685"/>
                    </a:lnTo>
                    <a:lnTo>
                      <a:pt x="1180" y="687"/>
                    </a:lnTo>
                    <a:lnTo>
                      <a:pt x="1180" y="689"/>
                    </a:lnTo>
                    <a:lnTo>
                      <a:pt x="1182" y="689"/>
                    </a:lnTo>
                    <a:lnTo>
                      <a:pt x="1182" y="690"/>
                    </a:lnTo>
                    <a:lnTo>
                      <a:pt x="1182" y="694"/>
                    </a:lnTo>
                    <a:lnTo>
                      <a:pt x="1182" y="695"/>
                    </a:lnTo>
                    <a:lnTo>
                      <a:pt x="1182" y="697"/>
                    </a:lnTo>
                    <a:lnTo>
                      <a:pt x="1182" y="699"/>
                    </a:lnTo>
                    <a:lnTo>
                      <a:pt x="1182" y="701"/>
                    </a:lnTo>
                    <a:lnTo>
                      <a:pt x="1182" y="702"/>
                    </a:lnTo>
                    <a:lnTo>
                      <a:pt x="1182" y="704"/>
                    </a:lnTo>
                    <a:lnTo>
                      <a:pt x="1184" y="706"/>
                    </a:lnTo>
                    <a:lnTo>
                      <a:pt x="1184" y="707"/>
                    </a:lnTo>
                    <a:lnTo>
                      <a:pt x="1184" y="709"/>
                    </a:lnTo>
                    <a:lnTo>
                      <a:pt x="1184" y="711"/>
                    </a:lnTo>
                    <a:lnTo>
                      <a:pt x="1184" y="712"/>
                    </a:lnTo>
                    <a:lnTo>
                      <a:pt x="1184" y="714"/>
                    </a:lnTo>
                    <a:lnTo>
                      <a:pt x="1184" y="716"/>
                    </a:lnTo>
                    <a:lnTo>
                      <a:pt x="1185" y="716"/>
                    </a:lnTo>
                    <a:lnTo>
                      <a:pt x="1185" y="718"/>
                    </a:lnTo>
                    <a:lnTo>
                      <a:pt x="1185" y="719"/>
                    </a:lnTo>
                    <a:lnTo>
                      <a:pt x="1187" y="719"/>
                    </a:lnTo>
                    <a:lnTo>
                      <a:pt x="1187" y="721"/>
                    </a:lnTo>
                    <a:lnTo>
                      <a:pt x="1185" y="721"/>
                    </a:lnTo>
                    <a:lnTo>
                      <a:pt x="1185" y="723"/>
                    </a:lnTo>
                    <a:lnTo>
                      <a:pt x="1185" y="724"/>
                    </a:lnTo>
                    <a:lnTo>
                      <a:pt x="1184" y="726"/>
                    </a:lnTo>
                    <a:lnTo>
                      <a:pt x="1184" y="728"/>
                    </a:lnTo>
                    <a:lnTo>
                      <a:pt x="1184" y="729"/>
                    </a:lnTo>
                    <a:lnTo>
                      <a:pt x="1184" y="731"/>
                    </a:lnTo>
                    <a:lnTo>
                      <a:pt x="1182" y="731"/>
                    </a:lnTo>
                    <a:lnTo>
                      <a:pt x="1182" y="733"/>
                    </a:lnTo>
                    <a:lnTo>
                      <a:pt x="1182" y="735"/>
                    </a:lnTo>
                    <a:lnTo>
                      <a:pt x="1180" y="735"/>
                    </a:lnTo>
                    <a:lnTo>
                      <a:pt x="1180" y="736"/>
                    </a:lnTo>
                    <a:lnTo>
                      <a:pt x="1182" y="736"/>
                    </a:lnTo>
                    <a:lnTo>
                      <a:pt x="1180" y="738"/>
                    </a:lnTo>
                    <a:lnTo>
                      <a:pt x="1182" y="738"/>
                    </a:lnTo>
                    <a:lnTo>
                      <a:pt x="1180" y="740"/>
                    </a:lnTo>
                    <a:lnTo>
                      <a:pt x="1180" y="741"/>
                    </a:lnTo>
                    <a:lnTo>
                      <a:pt x="1179" y="741"/>
                    </a:lnTo>
                    <a:lnTo>
                      <a:pt x="1180" y="741"/>
                    </a:lnTo>
                    <a:lnTo>
                      <a:pt x="1179" y="743"/>
                    </a:lnTo>
                    <a:lnTo>
                      <a:pt x="1179" y="745"/>
                    </a:lnTo>
                    <a:lnTo>
                      <a:pt x="1179" y="746"/>
                    </a:lnTo>
                    <a:lnTo>
                      <a:pt x="1179" y="748"/>
                    </a:lnTo>
                    <a:lnTo>
                      <a:pt x="1179" y="750"/>
                    </a:lnTo>
                    <a:lnTo>
                      <a:pt x="1177" y="750"/>
                    </a:lnTo>
                    <a:lnTo>
                      <a:pt x="1177" y="752"/>
                    </a:lnTo>
                    <a:lnTo>
                      <a:pt x="1177" y="753"/>
                    </a:lnTo>
                    <a:lnTo>
                      <a:pt x="1177" y="755"/>
                    </a:lnTo>
                    <a:lnTo>
                      <a:pt x="1177" y="757"/>
                    </a:lnTo>
                    <a:lnTo>
                      <a:pt x="1179" y="757"/>
                    </a:lnTo>
                    <a:lnTo>
                      <a:pt x="1177" y="757"/>
                    </a:lnTo>
                    <a:lnTo>
                      <a:pt x="1177" y="758"/>
                    </a:lnTo>
                    <a:lnTo>
                      <a:pt x="1177" y="760"/>
                    </a:lnTo>
                    <a:lnTo>
                      <a:pt x="1175" y="760"/>
                    </a:lnTo>
                    <a:lnTo>
                      <a:pt x="1175" y="762"/>
                    </a:lnTo>
                    <a:lnTo>
                      <a:pt x="1175" y="763"/>
                    </a:lnTo>
                    <a:lnTo>
                      <a:pt x="1175" y="765"/>
                    </a:lnTo>
                    <a:lnTo>
                      <a:pt x="1175" y="767"/>
                    </a:lnTo>
                    <a:lnTo>
                      <a:pt x="1173" y="769"/>
                    </a:lnTo>
                    <a:lnTo>
                      <a:pt x="1175" y="769"/>
                    </a:lnTo>
                    <a:lnTo>
                      <a:pt x="1173" y="770"/>
                    </a:lnTo>
                    <a:lnTo>
                      <a:pt x="1173" y="772"/>
                    </a:lnTo>
                    <a:lnTo>
                      <a:pt x="1175" y="774"/>
                    </a:lnTo>
                    <a:lnTo>
                      <a:pt x="1175" y="775"/>
                    </a:lnTo>
                    <a:lnTo>
                      <a:pt x="1175" y="777"/>
                    </a:lnTo>
                    <a:lnTo>
                      <a:pt x="1175" y="779"/>
                    </a:lnTo>
                    <a:lnTo>
                      <a:pt x="1175" y="780"/>
                    </a:lnTo>
                    <a:lnTo>
                      <a:pt x="1175" y="782"/>
                    </a:lnTo>
                    <a:lnTo>
                      <a:pt x="1175" y="784"/>
                    </a:lnTo>
                    <a:lnTo>
                      <a:pt x="1177" y="784"/>
                    </a:lnTo>
                    <a:lnTo>
                      <a:pt x="1177" y="786"/>
                    </a:lnTo>
                    <a:lnTo>
                      <a:pt x="1175" y="786"/>
                    </a:lnTo>
                    <a:lnTo>
                      <a:pt x="1175" y="787"/>
                    </a:lnTo>
                    <a:lnTo>
                      <a:pt x="1173" y="789"/>
                    </a:lnTo>
                    <a:lnTo>
                      <a:pt x="1173" y="791"/>
                    </a:lnTo>
                    <a:lnTo>
                      <a:pt x="1172" y="791"/>
                    </a:lnTo>
                    <a:lnTo>
                      <a:pt x="1172" y="792"/>
                    </a:lnTo>
                    <a:lnTo>
                      <a:pt x="1170" y="792"/>
                    </a:lnTo>
                    <a:lnTo>
                      <a:pt x="1168" y="792"/>
                    </a:lnTo>
                    <a:lnTo>
                      <a:pt x="1168" y="794"/>
                    </a:lnTo>
                    <a:lnTo>
                      <a:pt x="1167" y="794"/>
                    </a:lnTo>
                    <a:lnTo>
                      <a:pt x="1165" y="796"/>
                    </a:lnTo>
                    <a:lnTo>
                      <a:pt x="1163" y="797"/>
                    </a:lnTo>
                    <a:lnTo>
                      <a:pt x="1163" y="799"/>
                    </a:lnTo>
                    <a:lnTo>
                      <a:pt x="1162" y="801"/>
                    </a:lnTo>
                    <a:lnTo>
                      <a:pt x="1162" y="803"/>
                    </a:lnTo>
                    <a:lnTo>
                      <a:pt x="1160" y="804"/>
                    </a:lnTo>
                    <a:lnTo>
                      <a:pt x="1160" y="806"/>
                    </a:lnTo>
                    <a:lnTo>
                      <a:pt x="1160" y="808"/>
                    </a:lnTo>
                    <a:lnTo>
                      <a:pt x="1158" y="808"/>
                    </a:lnTo>
                    <a:lnTo>
                      <a:pt x="1158" y="809"/>
                    </a:lnTo>
                    <a:lnTo>
                      <a:pt x="1158" y="811"/>
                    </a:lnTo>
                    <a:lnTo>
                      <a:pt x="1158" y="813"/>
                    </a:lnTo>
                    <a:lnTo>
                      <a:pt x="1156" y="813"/>
                    </a:lnTo>
                    <a:lnTo>
                      <a:pt x="1156" y="815"/>
                    </a:lnTo>
                    <a:lnTo>
                      <a:pt x="1156" y="816"/>
                    </a:lnTo>
                    <a:lnTo>
                      <a:pt x="1156" y="818"/>
                    </a:lnTo>
                    <a:lnTo>
                      <a:pt x="1156" y="820"/>
                    </a:lnTo>
                    <a:lnTo>
                      <a:pt x="1156" y="821"/>
                    </a:lnTo>
                    <a:lnTo>
                      <a:pt x="1156" y="823"/>
                    </a:lnTo>
                    <a:lnTo>
                      <a:pt x="1156" y="825"/>
                    </a:lnTo>
                    <a:lnTo>
                      <a:pt x="1156" y="826"/>
                    </a:lnTo>
                    <a:lnTo>
                      <a:pt x="1156" y="828"/>
                    </a:lnTo>
                    <a:lnTo>
                      <a:pt x="1156" y="830"/>
                    </a:lnTo>
                    <a:lnTo>
                      <a:pt x="1156" y="832"/>
                    </a:lnTo>
                    <a:lnTo>
                      <a:pt x="1156" y="833"/>
                    </a:lnTo>
                    <a:lnTo>
                      <a:pt x="1156" y="835"/>
                    </a:lnTo>
                    <a:lnTo>
                      <a:pt x="1158" y="837"/>
                    </a:lnTo>
                    <a:lnTo>
                      <a:pt x="1158" y="838"/>
                    </a:lnTo>
                    <a:lnTo>
                      <a:pt x="1158" y="840"/>
                    </a:lnTo>
                    <a:lnTo>
                      <a:pt x="1158" y="842"/>
                    </a:lnTo>
                    <a:lnTo>
                      <a:pt x="1158" y="843"/>
                    </a:lnTo>
                    <a:lnTo>
                      <a:pt x="1158" y="845"/>
                    </a:lnTo>
                    <a:lnTo>
                      <a:pt x="1158" y="847"/>
                    </a:lnTo>
                    <a:lnTo>
                      <a:pt x="1156" y="849"/>
                    </a:lnTo>
                    <a:lnTo>
                      <a:pt x="1156" y="850"/>
                    </a:lnTo>
                    <a:lnTo>
                      <a:pt x="1156" y="852"/>
                    </a:lnTo>
                    <a:lnTo>
                      <a:pt x="1155" y="852"/>
                    </a:lnTo>
                    <a:lnTo>
                      <a:pt x="1155" y="854"/>
                    </a:lnTo>
                    <a:lnTo>
                      <a:pt x="1155" y="855"/>
                    </a:lnTo>
                    <a:lnTo>
                      <a:pt x="1153" y="855"/>
                    </a:lnTo>
                    <a:lnTo>
                      <a:pt x="1151" y="855"/>
                    </a:lnTo>
                    <a:lnTo>
                      <a:pt x="1150" y="857"/>
                    </a:lnTo>
                    <a:lnTo>
                      <a:pt x="1148" y="857"/>
                    </a:lnTo>
                    <a:lnTo>
                      <a:pt x="1148" y="859"/>
                    </a:lnTo>
                    <a:lnTo>
                      <a:pt x="1146" y="859"/>
                    </a:lnTo>
                    <a:lnTo>
                      <a:pt x="1146" y="860"/>
                    </a:lnTo>
                    <a:lnTo>
                      <a:pt x="1146" y="862"/>
                    </a:lnTo>
                    <a:lnTo>
                      <a:pt x="1145" y="862"/>
                    </a:lnTo>
                    <a:lnTo>
                      <a:pt x="1145" y="864"/>
                    </a:lnTo>
                    <a:lnTo>
                      <a:pt x="1145" y="866"/>
                    </a:lnTo>
                    <a:lnTo>
                      <a:pt x="1143" y="866"/>
                    </a:lnTo>
                    <a:lnTo>
                      <a:pt x="1143" y="867"/>
                    </a:lnTo>
                    <a:lnTo>
                      <a:pt x="1143" y="869"/>
                    </a:lnTo>
                    <a:lnTo>
                      <a:pt x="1141" y="869"/>
                    </a:lnTo>
                    <a:lnTo>
                      <a:pt x="1141" y="871"/>
                    </a:lnTo>
                    <a:lnTo>
                      <a:pt x="1141" y="872"/>
                    </a:lnTo>
                    <a:lnTo>
                      <a:pt x="1141" y="874"/>
                    </a:lnTo>
                    <a:lnTo>
                      <a:pt x="1141" y="876"/>
                    </a:lnTo>
                    <a:lnTo>
                      <a:pt x="1141" y="877"/>
                    </a:lnTo>
                    <a:lnTo>
                      <a:pt x="1139" y="877"/>
                    </a:lnTo>
                    <a:lnTo>
                      <a:pt x="1138" y="877"/>
                    </a:lnTo>
                    <a:lnTo>
                      <a:pt x="1138" y="879"/>
                    </a:lnTo>
                    <a:lnTo>
                      <a:pt x="1136" y="879"/>
                    </a:lnTo>
                    <a:lnTo>
                      <a:pt x="1138" y="879"/>
                    </a:lnTo>
                    <a:lnTo>
                      <a:pt x="1139" y="879"/>
                    </a:lnTo>
                    <a:lnTo>
                      <a:pt x="1138" y="879"/>
                    </a:lnTo>
                    <a:lnTo>
                      <a:pt x="1138" y="881"/>
                    </a:lnTo>
                    <a:lnTo>
                      <a:pt x="1138" y="883"/>
                    </a:lnTo>
                    <a:lnTo>
                      <a:pt x="1136" y="884"/>
                    </a:lnTo>
                    <a:lnTo>
                      <a:pt x="1136" y="886"/>
                    </a:lnTo>
                    <a:lnTo>
                      <a:pt x="1134" y="886"/>
                    </a:lnTo>
                    <a:lnTo>
                      <a:pt x="1134" y="888"/>
                    </a:lnTo>
                    <a:lnTo>
                      <a:pt x="1134" y="889"/>
                    </a:lnTo>
                    <a:lnTo>
                      <a:pt x="1133" y="889"/>
                    </a:lnTo>
                    <a:lnTo>
                      <a:pt x="1133" y="891"/>
                    </a:lnTo>
                    <a:lnTo>
                      <a:pt x="1133" y="889"/>
                    </a:lnTo>
                    <a:lnTo>
                      <a:pt x="1133" y="891"/>
                    </a:lnTo>
                    <a:lnTo>
                      <a:pt x="1131" y="891"/>
                    </a:lnTo>
                    <a:lnTo>
                      <a:pt x="1131" y="893"/>
                    </a:lnTo>
                    <a:lnTo>
                      <a:pt x="1129" y="893"/>
                    </a:lnTo>
                    <a:lnTo>
                      <a:pt x="1131" y="894"/>
                    </a:lnTo>
                    <a:lnTo>
                      <a:pt x="1129" y="894"/>
                    </a:lnTo>
                    <a:lnTo>
                      <a:pt x="1128" y="894"/>
                    </a:lnTo>
                    <a:lnTo>
                      <a:pt x="1129" y="896"/>
                    </a:lnTo>
                    <a:lnTo>
                      <a:pt x="1128" y="896"/>
                    </a:lnTo>
                    <a:lnTo>
                      <a:pt x="1128" y="898"/>
                    </a:lnTo>
                    <a:lnTo>
                      <a:pt x="1126" y="898"/>
                    </a:lnTo>
                    <a:lnTo>
                      <a:pt x="1126" y="896"/>
                    </a:lnTo>
                    <a:lnTo>
                      <a:pt x="1124" y="898"/>
                    </a:lnTo>
                    <a:lnTo>
                      <a:pt x="1122" y="898"/>
                    </a:lnTo>
                    <a:lnTo>
                      <a:pt x="1122" y="900"/>
                    </a:lnTo>
                    <a:lnTo>
                      <a:pt x="1121" y="900"/>
                    </a:lnTo>
                    <a:lnTo>
                      <a:pt x="1121" y="901"/>
                    </a:lnTo>
                    <a:lnTo>
                      <a:pt x="1121" y="903"/>
                    </a:lnTo>
                    <a:lnTo>
                      <a:pt x="1121" y="905"/>
                    </a:lnTo>
                    <a:lnTo>
                      <a:pt x="1119" y="905"/>
                    </a:lnTo>
                    <a:lnTo>
                      <a:pt x="1119" y="906"/>
                    </a:lnTo>
                    <a:lnTo>
                      <a:pt x="1119" y="908"/>
                    </a:lnTo>
                    <a:lnTo>
                      <a:pt x="1117" y="908"/>
                    </a:lnTo>
                    <a:lnTo>
                      <a:pt x="1117" y="910"/>
                    </a:lnTo>
                    <a:lnTo>
                      <a:pt x="1116" y="910"/>
                    </a:lnTo>
                    <a:lnTo>
                      <a:pt x="1116" y="911"/>
                    </a:lnTo>
                    <a:lnTo>
                      <a:pt x="1116" y="913"/>
                    </a:lnTo>
                    <a:lnTo>
                      <a:pt x="1116" y="915"/>
                    </a:lnTo>
                    <a:lnTo>
                      <a:pt x="1116" y="917"/>
                    </a:lnTo>
                    <a:lnTo>
                      <a:pt x="1114" y="918"/>
                    </a:lnTo>
                    <a:lnTo>
                      <a:pt x="1114" y="920"/>
                    </a:lnTo>
                    <a:lnTo>
                      <a:pt x="1112" y="920"/>
                    </a:lnTo>
                    <a:lnTo>
                      <a:pt x="1112" y="922"/>
                    </a:lnTo>
                    <a:lnTo>
                      <a:pt x="1112" y="923"/>
                    </a:lnTo>
                    <a:lnTo>
                      <a:pt x="1112" y="925"/>
                    </a:lnTo>
                    <a:lnTo>
                      <a:pt x="1114" y="925"/>
                    </a:lnTo>
                    <a:lnTo>
                      <a:pt x="1114" y="927"/>
                    </a:lnTo>
                    <a:lnTo>
                      <a:pt x="1114" y="928"/>
                    </a:lnTo>
                    <a:lnTo>
                      <a:pt x="1114" y="930"/>
                    </a:lnTo>
                    <a:lnTo>
                      <a:pt x="1114" y="932"/>
                    </a:lnTo>
                    <a:lnTo>
                      <a:pt x="1114" y="934"/>
                    </a:lnTo>
                    <a:lnTo>
                      <a:pt x="1114" y="935"/>
                    </a:lnTo>
                    <a:lnTo>
                      <a:pt x="1114" y="937"/>
                    </a:lnTo>
                    <a:lnTo>
                      <a:pt x="1116" y="937"/>
                    </a:lnTo>
                    <a:lnTo>
                      <a:pt x="1116" y="939"/>
                    </a:lnTo>
                    <a:lnTo>
                      <a:pt x="1114" y="939"/>
                    </a:lnTo>
                    <a:lnTo>
                      <a:pt x="1114" y="940"/>
                    </a:lnTo>
                    <a:lnTo>
                      <a:pt x="1112" y="940"/>
                    </a:lnTo>
                    <a:lnTo>
                      <a:pt x="1112" y="942"/>
                    </a:lnTo>
                    <a:lnTo>
                      <a:pt x="1111" y="942"/>
                    </a:lnTo>
                    <a:lnTo>
                      <a:pt x="1109" y="944"/>
                    </a:lnTo>
                    <a:lnTo>
                      <a:pt x="1107" y="944"/>
                    </a:lnTo>
                    <a:lnTo>
                      <a:pt x="1107" y="945"/>
                    </a:lnTo>
                    <a:lnTo>
                      <a:pt x="1105" y="945"/>
                    </a:lnTo>
                    <a:lnTo>
                      <a:pt x="1104" y="945"/>
                    </a:lnTo>
                    <a:lnTo>
                      <a:pt x="1102" y="945"/>
                    </a:lnTo>
                    <a:lnTo>
                      <a:pt x="1100" y="947"/>
                    </a:lnTo>
                    <a:lnTo>
                      <a:pt x="1099" y="947"/>
                    </a:lnTo>
                    <a:lnTo>
                      <a:pt x="1097" y="947"/>
                    </a:lnTo>
                    <a:lnTo>
                      <a:pt x="1095" y="949"/>
                    </a:lnTo>
                    <a:lnTo>
                      <a:pt x="1095" y="947"/>
                    </a:lnTo>
                    <a:lnTo>
                      <a:pt x="1095" y="949"/>
                    </a:lnTo>
                    <a:lnTo>
                      <a:pt x="1094" y="949"/>
                    </a:lnTo>
                    <a:lnTo>
                      <a:pt x="1092" y="951"/>
                    </a:lnTo>
                    <a:lnTo>
                      <a:pt x="1090" y="951"/>
                    </a:lnTo>
                    <a:lnTo>
                      <a:pt x="1090" y="952"/>
                    </a:lnTo>
                    <a:lnTo>
                      <a:pt x="1088" y="952"/>
                    </a:lnTo>
                    <a:lnTo>
                      <a:pt x="1088" y="954"/>
                    </a:lnTo>
                    <a:lnTo>
                      <a:pt x="1087" y="954"/>
                    </a:lnTo>
                    <a:lnTo>
                      <a:pt x="1087" y="956"/>
                    </a:lnTo>
                    <a:lnTo>
                      <a:pt x="1085" y="956"/>
                    </a:lnTo>
                    <a:lnTo>
                      <a:pt x="1085" y="957"/>
                    </a:lnTo>
                    <a:lnTo>
                      <a:pt x="1083" y="957"/>
                    </a:lnTo>
                    <a:lnTo>
                      <a:pt x="1083" y="959"/>
                    </a:lnTo>
                    <a:lnTo>
                      <a:pt x="1082" y="959"/>
                    </a:lnTo>
                    <a:lnTo>
                      <a:pt x="1082" y="961"/>
                    </a:lnTo>
                    <a:lnTo>
                      <a:pt x="1080" y="961"/>
                    </a:lnTo>
                    <a:lnTo>
                      <a:pt x="1080" y="963"/>
                    </a:lnTo>
                    <a:lnTo>
                      <a:pt x="1080" y="964"/>
                    </a:lnTo>
                    <a:lnTo>
                      <a:pt x="1080" y="966"/>
                    </a:lnTo>
                    <a:lnTo>
                      <a:pt x="1082" y="966"/>
                    </a:lnTo>
                    <a:lnTo>
                      <a:pt x="1082" y="968"/>
                    </a:lnTo>
                    <a:lnTo>
                      <a:pt x="1083" y="968"/>
                    </a:lnTo>
                    <a:lnTo>
                      <a:pt x="1085" y="966"/>
                    </a:lnTo>
                    <a:lnTo>
                      <a:pt x="1085" y="968"/>
                    </a:lnTo>
                    <a:lnTo>
                      <a:pt x="1083" y="968"/>
                    </a:lnTo>
                    <a:lnTo>
                      <a:pt x="1085" y="968"/>
                    </a:lnTo>
                    <a:lnTo>
                      <a:pt x="1083" y="968"/>
                    </a:lnTo>
                    <a:lnTo>
                      <a:pt x="1083" y="969"/>
                    </a:lnTo>
                    <a:lnTo>
                      <a:pt x="1082" y="969"/>
                    </a:lnTo>
                    <a:lnTo>
                      <a:pt x="1082" y="971"/>
                    </a:lnTo>
                    <a:lnTo>
                      <a:pt x="1080" y="971"/>
                    </a:lnTo>
                    <a:lnTo>
                      <a:pt x="1082" y="971"/>
                    </a:lnTo>
                    <a:lnTo>
                      <a:pt x="1080" y="973"/>
                    </a:lnTo>
                    <a:lnTo>
                      <a:pt x="1078" y="973"/>
                    </a:lnTo>
                    <a:lnTo>
                      <a:pt x="1080" y="974"/>
                    </a:lnTo>
                    <a:lnTo>
                      <a:pt x="1080" y="976"/>
                    </a:lnTo>
                    <a:lnTo>
                      <a:pt x="1078" y="974"/>
                    </a:lnTo>
                    <a:lnTo>
                      <a:pt x="1077" y="974"/>
                    </a:lnTo>
                    <a:lnTo>
                      <a:pt x="1075" y="974"/>
                    </a:lnTo>
                    <a:lnTo>
                      <a:pt x="1073" y="974"/>
                    </a:lnTo>
                    <a:lnTo>
                      <a:pt x="1071" y="974"/>
                    </a:lnTo>
                    <a:lnTo>
                      <a:pt x="1070" y="974"/>
                    </a:lnTo>
                    <a:lnTo>
                      <a:pt x="1068" y="974"/>
                    </a:lnTo>
                    <a:lnTo>
                      <a:pt x="1066" y="974"/>
                    </a:lnTo>
                    <a:lnTo>
                      <a:pt x="1065" y="974"/>
                    </a:lnTo>
                    <a:lnTo>
                      <a:pt x="1063" y="974"/>
                    </a:lnTo>
                    <a:lnTo>
                      <a:pt x="1061" y="974"/>
                    </a:lnTo>
                    <a:lnTo>
                      <a:pt x="1060" y="974"/>
                    </a:lnTo>
                    <a:lnTo>
                      <a:pt x="1058" y="974"/>
                    </a:lnTo>
                    <a:lnTo>
                      <a:pt x="1056" y="974"/>
                    </a:lnTo>
                    <a:lnTo>
                      <a:pt x="1054" y="974"/>
                    </a:lnTo>
                    <a:lnTo>
                      <a:pt x="1053" y="974"/>
                    </a:lnTo>
                    <a:lnTo>
                      <a:pt x="1051" y="974"/>
                    </a:lnTo>
                    <a:lnTo>
                      <a:pt x="1049" y="974"/>
                    </a:lnTo>
                    <a:lnTo>
                      <a:pt x="1049" y="976"/>
                    </a:lnTo>
                    <a:lnTo>
                      <a:pt x="1048" y="976"/>
                    </a:lnTo>
                    <a:lnTo>
                      <a:pt x="1046" y="974"/>
                    </a:lnTo>
                    <a:lnTo>
                      <a:pt x="1046" y="976"/>
                    </a:lnTo>
                    <a:lnTo>
                      <a:pt x="1044" y="976"/>
                    </a:lnTo>
                    <a:lnTo>
                      <a:pt x="1044" y="974"/>
                    </a:lnTo>
                    <a:lnTo>
                      <a:pt x="1043" y="974"/>
                    </a:lnTo>
                    <a:lnTo>
                      <a:pt x="1043" y="973"/>
                    </a:lnTo>
                    <a:lnTo>
                      <a:pt x="1043" y="974"/>
                    </a:lnTo>
                    <a:lnTo>
                      <a:pt x="1043" y="973"/>
                    </a:lnTo>
                    <a:lnTo>
                      <a:pt x="1043" y="971"/>
                    </a:lnTo>
                    <a:lnTo>
                      <a:pt x="1043" y="969"/>
                    </a:lnTo>
                    <a:lnTo>
                      <a:pt x="1044" y="969"/>
                    </a:lnTo>
                    <a:lnTo>
                      <a:pt x="1044" y="968"/>
                    </a:lnTo>
                    <a:lnTo>
                      <a:pt x="1046" y="968"/>
                    </a:lnTo>
                    <a:lnTo>
                      <a:pt x="1046" y="966"/>
                    </a:lnTo>
                    <a:lnTo>
                      <a:pt x="1044" y="964"/>
                    </a:lnTo>
                    <a:lnTo>
                      <a:pt x="1043" y="964"/>
                    </a:lnTo>
                    <a:lnTo>
                      <a:pt x="1043" y="966"/>
                    </a:lnTo>
                    <a:lnTo>
                      <a:pt x="1041" y="966"/>
                    </a:lnTo>
                    <a:lnTo>
                      <a:pt x="1039" y="966"/>
                    </a:lnTo>
                    <a:lnTo>
                      <a:pt x="1039" y="968"/>
                    </a:lnTo>
                    <a:lnTo>
                      <a:pt x="1039" y="966"/>
                    </a:lnTo>
                    <a:lnTo>
                      <a:pt x="1037" y="968"/>
                    </a:lnTo>
                    <a:lnTo>
                      <a:pt x="1037" y="969"/>
                    </a:lnTo>
                    <a:lnTo>
                      <a:pt x="1037" y="971"/>
                    </a:lnTo>
                    <a:lnTo>
                      <a:pt x="1039" y="971"/>
                    </a:lnTo>
                    <a:lnTo>
                      <a:pt x="1039" y="973"/>
                    </a:lnTo>
                    <a:lnTo>
                      <a:pt x="1041" y="973"/>
                    </a:lnTo>
                    <a:lnTo>
                      <a:pt x="1041" y="974"/>
                    </a:lnTo>
                    <a:lnTo>
                      <a:pt x="1041" y="976"/>
                    </a:lnTo>
                    <a:lnTo>
                      <a:pt x="1039" y="976"/>
                    </a:lnTo>
                    <a:lnTo>
                      <a:pt x="1037" y="976"/>
                    </a:lnTo>
                    <a:lnTo>
                      <a:pt x="1036" y="978"/>
                    </a:lnTo>
                    <a:lnTo>
                      <a:pt x="1036" y="976"/>
                    </a:lnTo>
                    <a:lnTo>
                      <a:pt x="1034" y="976"/>
                    </a:lnTo>
                    <a:lnTo>
                      <a:pt x="1032" y="976"/>
                    </a:lnTo>
                    <a:lnTo>
                      <a:pt x="1032" y="978"/>
                    </a:lnTo>
                    <a:lnTo>
                      <a:pt x="1031" y="978"/>
                    </a:lnTo>
                    <a:lnTo>
                      <a:pt x="1029" y="978"/>
                    </a:lnTo>
                    <a:lnTo>
                      <a:pt x="1027" y="978"/>
                    </a:lnTo>
                    <a:lnTo>
                      <a:pt x="1027" y="980"/>
                    </a:lnTo>
                    <a:lnTo>
                      <a:pt x="1027" y="978"/>
                    </a:lnTo>
                    <a:lnTo>
                      <a:pt x="1026" y="978"/>
                    </a:lnTo>
                    <a:lnTo>
                      <a:pt x="1024" y="978"/>
                    </a:lnTo>
                    <a:lnTo>
                      <a:pt x="1022" y="978"/>
                    </a:lnTo>
                    <a:lnTo>
                      <a:pt x="1020" y="978"/>
                    </a:lnTo>
                    <a:lnTo>
                      <a:pt x="1020" y="980"/>
                    </a:lnTo>
                    <a:lnTo>
                      <a:pt x="1019" y="980"/>
                    </a:lnTo>
                    <a:lnTo>
                      <a:pt x="1017" y="980"/>
                    </a:lnTo>
                    <a:lnTo>
                      <a:pt x="1015" y="980"/>
                    </a:lnTo>
                    <a:lnTo>
                      <a:pt x="1014" y="980"/>
                    </a:lnTo>
                    <a:lnTo>
                      <a:pt x="1012" y="980"/>
                    </a:lnTo>
                    <a:lnTo>
                      <a:pt x="1014" y="978"/>
                    </a:lnTo>
                    <a:lnTo>
                      <a:pt x="1015" y="978"/>
                    </a:lnTo>
                    <a:lnTo>
                      <a:pt x="1015" y="980"/>
                    </a:lnTo>
                    <a:lnTo>
                      <a:pt x="1017" y="980"/>
                    </a:lnTo>
                    <a:lnTo>
                      <a:pt x="1017" y="978"/>
                    </a:lnTo>
                    <a:lnTo>
                      <a:pt x="1015" y="978"/>
                    </a:lnTo>
                    <a:lnTo>
                      <a:pt x="1017" y="978"/>
                    </a:lnTo>
                    <a:lnTo>
                      <a:pt x="1019" y="978"/>
                    </a:lnTo>
                    <a:lnTo>
                      <a:pt x="1020" y="978"/>
                    </a:lnTo>
                    <a:lnTo>
                      <a:pt x="1022" y="978"/>
                    </a:lnTo>
                    <a:lnTo>
                      <a:pt x="1024" y="978"/>
                    </a:lnTo>
                    <a:lnTo>
                      <a:pt x="1026" y="978"/>
                    </a:lnTo>
                    <a:lnTo>
                      <a:pt x="1026" y="976"/>
                    </a:lnTo>
                    <a:lnTo>
                      <a:pt x="1024" y="976"/>
                    </a:lnTo>
                    <a:lnTo>
                      <a:pt x="1022" y="976"/>
                    </a:lnTo>
                    <a:lnTo>
                      <a:pt x="1022" y="974"/>
                    </a:lnTo>
                    <a:lnTo>
                      <a:pt x="1020" y="974"/>
                    </a:lnTo>
                    <a:lnTo>
                      <a:pt x="1020" y="973"/>
                    </a:lnTo>
                    <a:lnTo>
                      <a:pt x="1020" y="974"/>
                    </a:lnTo>
                    <a:lnTo>
                      <a:pt x="1020" y="973"/>
                    </a:lnTo>
                    <a:lnTo>
                      <a:pt x="1019" y="973"/>
                    </a:lnTo>
                    <a:lnTo>
                      <a:pt x="1019" y="974"/>
                    </a:lnTo>
                    <a:lnTo>
                      <a:pt x="1017" y="973"/>
                    </a:lnTo>
                    <a:lnTo>
                      <a:pt x="1019" y="973"/>
                    </a:lnTo>
                    <a:lnTo>
                      <a:pt x="1017" y="973"/>
                    </a:lnTo>
                    <a:lnTo>
                      <a:pt x="1015" y="974"/>
                    </a:lnTo>
                    <a:lnTo>
                      <a:pt x="1014" y="974"/>
                    </a:lnTo>
                    <a:lnTo>
                      <a:pt x="1012" y="974"/>
                    </a:lnTo>
                    <a:lnTo>
                      <a:pt x="1012" y="976"/>
                    </a:lnTo>
                    <a:lnTo>
                      <a:pt x="1010" y="976"/>
                    </a:lnTo>
                    <a:lnTo>
                      <a:pt x="1012" y="974"/>
                    </a:lnTo>
                    <a:lnTo>
                      <a:pt x="1010" y="974"/>
                    </a:lnTo>
                    <a:lnTo>
                      <a:pt x="1010" y="976"/>
                    </a:lnTo>
                    <a:lnTo>
                      <a:pt x="1009" y="978"/>
                    </a:lnTo>
                    <a:lnTo>
                      <a:pt x="1007" y="978"/>
                    </a:lnTo>
                    <a:lnTo>
                      <a:pt x="1005" y="978"/>
                    </a:lnTo>
                    <a:lnTo>
                      <a:pt x="1005" y="976"/>
                    </a:lnTo>
                    <a:lnTo>
                      <a:pt x="1003" y="976"/>
                    </a:lnTo>
                    <a:lnTo>
                      <a:pt x="1003" y="978"/>
                    </a:lnTo>
                    <a:lnTo>
                      <a:pt x="1002" y="976"/>
                    </a:lnTo>
                    <a:lnTo>
                      <a:pt x="1002" y="978"/>
                    </a:lnTo>
                    <a:lnTo>
                      <a:pt x="1000" y="978"/>
                    </a:lnTo>
                    <a:lnTo>
                      <a:pt x="1000" y="976"/>
                    </a:lnTo>
                    <a:lnTo>
                      <a:pt x="1002" y="976"/>
                    </a:lnTo>
                    <a:lnTo>
                      <a:pt x="1002" y="974"/>
                    </a:lnTo>
                    <a:lnTo>
                      <a:pt x="1003" y="974"/>
                    </a:lnTo>
                    <a:lnTo>
                      <a:pt x="1002" y="974"/>
                    </a:lnTo>
                    <a:lnTo>
                      <a:pt x="1000" y="974"/>
                    </a:lnTo>
                    <a:lnTo>
                      <a:pt x="1002" y="974"/>
                    </a:lnTo>
                    <a:lnTo>
                      <a:pt x="1000" y="974"/>
                    </a:lnTo>
                    <a:lnTo>
                      <a:pt x="1000" y="976"/>
                    </a:lnTo>
                    <a:lnTo>
                      <a:pt x="1000" y="974"/>
                    </a:lnTo>
                    <a:lnTo>
                      <a:pt x="998" y="974"/>
                    </a:lnTo>
                    <a:lnTo>
                      <a:pt x="998" y="976"/>
                    </a:lnTo>
                    <a:lnTo>
                      <a:pt x="998" y="978"/>
                    </a:lnTo>
                    <a:lnTo>
                      <a:pt x="997" y="976"/>
                    </a:lnTo>
                    <a:lnTo>
                      <a:pt x="997" y="978"/>
                    </a:lnTo>
                    <a:lnTo>
                      <a:pt x="995" y="978"/>
                    </a:lnTo>
                    <a:lnTo>
                      <a:pt x="993" y="978"/>
                    </a:lnTo>
                    <a:lnTo>
                      <a:pt x="993" y="980"/>
                    </a:lnTo>
                    <a:lnTo>
                      <a:pt x="993" y="978"/>
                    </a:lnTo>
                    <a:lnTo>
                      <a:pt x="992" y="978"/>
                    </a:lnTo>
                    <a:lnTo>
                      <a:pt x="990" y="978"/>
                    </a:lnTo>
                    <a:lnTo>
                      <a:pt x="990" y="980"/>
                    </a:lnTo>
                    <a:lnTo>
                      <a:pt x="990" y="981"/>
                    </a:lnTo>
                    <a:lnTo>
                      <a:pt x="988" y="983"/>
                    </a:lnTo>
                    <a:lnTo>
                      <a:pt x="990" y="983"/>
                    </a:lnTo>
                    <a:lnTo>
                      <a:pt x="988" y="983"/>
                    </a:lnTo>
                    <a:lnTo>
                      <a:pt x="988" y="985"/>
                    </a:lnTo>
                    <a:lnTo>
                      <a:pt x="990" y="985"/>
                    </a:lnTo>
                    <a:lnTo>
                      <a:pt x="992" y="983"/>
                    </a:lnTo>
                    <a:lnTo>
                      <a:pt x="992" y="985"/>
                    </a:lnTo>
                    <a:lnTo>
                      <a:pt x="990" y="985"/>
                    </a:lnTo>
                    <a:lnTo>
                      <a:pt x="990" y="986"/>
                    </a:lnTo>
                    <a:lnTo>
                      <a:pt x="990" y="985"/>
                    </a:lnTo>
                    <a:lnTo>
                      <a:pt x="992" y="985"/>
                    </a:lnTo>
                    <a:lnTo>
                      <a:pt x="992" y="986"/>
                    </a:lnTo>
                    <a:lnTo>
                      <a:pt x="990" y="986"/>
                    </a:lnTo>
                    <a:lnTo>
                      <a:pt x="992" y="988"/>
                    </a:lnTo>
                    <a:lnTo>
                      <a:pt x="992" y="986"/>
                    </a:lnTo>
                    <a:lnTo>
                      <a:pt x="993" y="985"/>
                    </a:lnTo>
                    <a:lnTo>
                      <a:pt x="993" y="986"/>
                    </a:lnTo>
                    <a:lnTo>
                      <a:pt x="995" y="986"/>
                    </a:lnTo>
                    <a:lnTo>
                      <a:pt x="995" y="988"/>
                    </a:lnTo>
                    <a:lnTo>
                      <a:pt x="995" y="986"/>
                    </a:lnTo>
                    <a:lnTo>
                      <a:pt x="995" y="988"/>
                    </a:lnTo>
                    <a:lnTo>
                      <a:pt x="993" y="988"/>
                    </a:lnTo>
                    <a:lnTo>
                      <a:pt x="993" y="990"/>
                    </a:lnTo>
                    <a:lnTo>
                      <a:pt x="992" y="990"/>
                    </a:lnTo>
                    <a:lnTo>
                      <a:pt x="992" y="988"/>
                    </a:lnTo>
                    <a:lnTo>
                      <a:pt x="992" y="990"/>
                    </a:lnTo>
                    <a:lnTo>
                      <a:pt x="992" y="988"/>
                    </a:lnTo>
                    <a:lnTo>
                      <a:pt x="990" y="990"/>
                    </a:lnTo>
                    <a:lnTo>
                      <a:pt x="990" y="988"/>
                    </a:lnTo>
                    <a:lnTo>
                      <a:pt x="990" y="990"/>
                    </a:lnTo>
                    <a:lnTo>
                      <a:pt x="990" y="988"/>
                    </a:lnTo>
                    <a:lnTo>
                      <a:pt x="988" y="990"/>
                    </a:lnTo>
                    <a:lnTo>
                      <a:pt x="986" y="990"/>
                    </a:lnTo>
                    <a:lnTo>
                      <a:pt x="985" y="990"/>
                    </a:lnTo>
                    <a:lnTo>
                      <a:pt x="985" y="991"/>
                    </a:lnTo>
                    <a:lnTo>
                      <a:pt x="985" y="990"/>
                    </a:lnTo>
                    <a:lnTo>
                      <a:pt x="983" y="990"/>
                    </a:lnTo>
                    <a:lnTo>
                      <a:pt x="981" y="988"/>
                    </a:lnTo>
                    <a:lnTo>
                      <a:pt x="981" y="990"/>
                    </a:lnTo>
                    <a:lnTo>
                      <a:pt x="980" y="990"/>
                    </a:lnTo>
                    <a:lnTo>
                      <a:pt x="980" y="991"/>
                    </a:lnTo>
                    <a:lnTo>
                      <a:pt x="978" y="991"/>
                    </a:lnTo>
                    <a:lnTo>
                      <a:pt x="976" y="991"/>
                    </a:lnTo>
                    <a:lnTo>
                      <a:pt x="976" y="993"/>
                    </a:lnTo>
                    <a:lnTo>
                      <a:pt x="978" y="993"/>
                    </a:lnTo>
                    <a:lnTo>
                      <a:pt x="976" y="993"/>
                    </a:lnTo>
                    <a:lnTo>
                      <a:pt x="976" y="995"/>
                    </a:lnTo>
                    <a:lnTo>
                      <a:pt x="975" y="995"/>
                    </a:lnTo>
                    <a:lnTo>
                      <a:pt x="975" y="997"/>
                    </a:lnTo>
                    <a:lnTo>
                      <a:pt x="975" y="995"/>
                    </a:lnTo>
                    <a:lnTo>
                      <a:pt x="973" y="995"/>
                    </a:lnTo>
                    <a:lnTo>
                      <a:pt x="973" y="997"/>
                    </a:lnTo>
                    <a:lnTo>
                      <a:pt x="973" y="995"/>
                    </a:lnTo>
                    <a:lnTo>
                      <a:pt x="971" y="995"/>
                    </a:lnTo>
                    <a:lnTo>
                      <a:pt x="971" y="997"/>
                    </a:lnTo>
                    <a:lnTo>
                      <a:pt x="971" y="998"/>
                    </a:lnTo>
                    <a:lnTo>
                      <a:pt x="969" y="998"/>
                    </a:lnTo>
                    <a:lnTo>
                      <a:pt x="969" y="997"/>
                    </a:lnTo>
                    <a:lnTo>
                      <a:pt x="968" y="998"/>
                    </a:lnTo>
                    <a:lnTo>
                      <a:pt x="968" y="1000"/>
                    </a:lnTo>
                    <a:lnTo>
                      <a:pt x="966" y="1000"/>
                    </a:lnTo>
                    <a:lnTo>
                      <a:pt x="964" y="1000"/>
                    </a:lnTo>
                    <a:lnTo>
                      <a:pt x="964" y="1002"/>
                    </a:lnTo>
                    <a:lnTo>
                      <a:pt x="964" y="1003"/>
                    </a:lnTo>
                    <a:lnTo>
                      <a:pt x="966" y="1003"/>
                    </a:lnTo>
                    <a:lnTo>
                      <a:pt x="964" y="1003"/>
                    </a:lnTo>
                    <a:lnTo>
                      <a:pt x="966" y="1005"/>
                    </a:lnTo>
                    <a:lnTo>
                      <a:pt x="966" y="1007"/>
                    </a:lnTo>
                    <a:lnTo>
                      <a:pt x="964" y="1007"/>
                    </a:lnTo>
                    <a:lnTo>
                      <a:pt x="963" y="1007"/>
                    </a:lnTo>
                    <a:lnTo>
                      <a:pt x="961" y="1007"/>
                    </a:lnTo>
                    <a:lnTo>
                      <a:pt x="959" y="1005"/>
                    </a:lnTo>
                    <a:lnTo>
                      <a:pt x="958" y="1005"/>
                    </a:lnTo>
                    <a:lnTo>
                      <a:pt x="958" y="1007"/>
                    </a:lnTo>
                    <a:lnTo>
                      <a:pt x="958" y="1005"/>
                    </a:lnTo>
                    <a:lnTo>
                      <a:pt x="956" y="1005"/>
                    </a:lnTo>
                    <a:lnTo>
                      <a:pt x="954" y="1005"/>
                    </a:lnTo>
                    <a:lnTo>
                      <a:pt x="952" y="1005"/>
                    </a:lnTo>
                    <a:lnTo>
                      <a:pt x="951" y="1003"/>
                    </a:lnTo>
                    <a:lnTo>
                      <a:pt x="951" y="1005"/>
                    </a:lnTo>
                    <a:lnTo>
                      <a:pt x="949" y="1005"/>
                    </a:lnTo>
                    <a:lnTo>
                      <a:pt x="947" y="1005"/>
                    </a:lnTo>
                    <a:lnTo>
                      <a:pt x="946" y="1005"/>
                    </a:lnTo>
                    <a:lnTo>
                      <a:pt x="944" y="1007"/>
                    </a:lnTo>
                    <a:lnTo>
                      <a:pt x="942" y="1007"/>
                    </a:lnTo>
                    <a:lnTo>
                      <a:pt x="941" y="1007"/>
                    </a:lnTo>
                    <a:lnTo>
                      <a:pt x="941" y="1008"/>
                    </a:lnTo>
                    <a:lnTo>
                      <a:pt x="941" y="1010"/>
                    </a:lnTo>
                    <a:lnTo>
                      <a:pt x="939" y="1010"/>
                    </a:lnTo>
                    <a:lnTo>
                      <a:pt x="941" y="1012"/>
                    </a:lnTo>
                    <a:lnTo>
                      <a:pt x="939" y="1012"/>
                    </a:lnTo>
                    <a:lnTo>
                      <a:pt x="939" y="1014"/>
                    </a:lnTo>
                    <a:lnTo>
                      <a:pt x="939" y="1012"/>
                    </a:lnTo>
                    <a:lnTo>
                      <a:pt x="937" y="1014"/>
                    </a:lnTo>
                    <a:lnTo>
                      <a:pt x="935" y="1014"/>
                    </a:lnTo>
                    <a:lnTo>
                      <a:pt x="935" y="1015"/>
                    </a:lnTo>
                    <a:lnTo>
                      <a:pt x="935" y="1014"/>
                    </a:lnTo>
                    <a:lnTo>
                      <a:pt x="934" y="1014"/>
                    </a:lnTo>
                    <a:lnTo>
                      <a:pt x="935" y="1014"/>
                    </a:lnTo>
                    <a:lnTo>
                      <a:pt x="934" y="1012"/>
                    </a:lnTo>
                    <a:lnTo>
                      <a:pt x="932" y="1012"/>
                    </a:lnTo>
                    <a:lnTo>
                      <a:pt x="932" y="1014"/>
                    </a:lnTo>
                    <a:lnTo>
                      <a:pt x="932" y="1015"/>
                    </a:lnTo>
                    <a:lnTo>
                      <a:pt x="932" y="1014"/>
                    </a:lnTo>
                    <a:lnTo>
                      <a:pt x="930" y="1014"/>
                    </a:lnTo>
                    <a:lnTo>
                      <a:pt x="929" y="1015"/>
                    </a:lnTo>
                    <a:lnTo>
                      <a:pt x="927" y="1015"/>
                    </a:lnTo>
                    <a:lnTo>
                      <a:pt x="925" y="1017"/>
                    </a:lnTo>
                    <a:lnTo>
                      <a:pt x="924" y="1017"/>
                    </a:lnTo>
                    <a:lnTo>
                      <a:pt x="922" y="1017"/>
                    </a:lnTo>
                    <a:lnTo>
                      <a:pt x="922" y="1019"/>
                    </a:lnTo>
                    <a:lnTo>
                      <a:pt x="920" y="1019"/>
                    </a:lnTo>
                    <a:lnTo>
                      <a:pt x="920" y="1020"/>
                    </a:lnTo>
                    <a:lnTo>
                      <a:pt x="918" y="1020"/>
                    </a:lnTo>
                    <a:lnTo>
                      <a:pt x="917" y="1020"/>
                    </a:lnTo>
                    <a:lnTo>
                      <a:pt x="917" y="1022"/>
                    </a:lnTo>
                    <a:lnTo>
                      <a:pt x="915" y="1022"/>
                    </a:lnTo>
                    <a:lnTo>
                      <a:pt x="913" y="1024"/>
                    </a:lnTo>
                    <a:lnTo>
                      <a:pt x="912" y="1025"/>
                    </a:lnTo>
                    <a:lnTo>
                      <a:pt x="912" y="1027"/>
                    </a:lnTo>
                    <a:lnTo>
                      <a:pt x="912" y="1029"/>
                    </a:lnTo>
                    <a:lnTo>
                      <a:pt x="910" y="1029"/>
                    </a:lnTo>
                    <a:lnTo>
                      <a:pt x="908" y="1031"/>
                    </a:lnTo>
                    <a:lnTo>
                      <a:pt x="907" y="1032"/>
                    </a:lnTo>
                    <a:lnTo>
                      <a:pt x="905" y="1032"/>
                    </a:lnTo>
                    <a:lnTo>
                      <a:pt x="905" y="1034"/>
                    </a:lnTo>
                    <a:lnTo>
                      <a:pt x="903" y="1034"/>
                    </a:lnTo>
                    <a:lnTo>
                      <a:pt x="901" y="1036"/>
                    </a:lnTo>
                    <a:lnTo>
                      <a:pt x="900" y="1036"/>
                    </a:lnTo>
                    <a:lnTo>
                      <a:pt x="900" y="1037"/>
                    </a:lnTo>
                    <a:lnTo>
                      <a:pt x="898" y="1037"/>
                    </a:lnTo>
                    <a:lnTo>
                      <a:pt x="896" y="1039"/>
                    </a:lnTo>
                    <a:lnTo>
                      <a:pt x="895" y="1039"/>
                    </a:lnTo>
                    <a:lnTo>
                      <a:pt x="895" y="1041"/>
                    </a:lnTo>
                    <a:lnTo>
                      <a:pt x="893" y="1041"/>
                    </a:lnTo>
                    <a:lnTo>
                      <a:pt x="891" y="1042"/>
                    </a:lnTo>
                    <a:lnTo>
                      <a:pt x="890" y="1042"/>
                    </a:lnTo>
                    <a:lnTo>
                      <a:pt x="890" y="1044"/>
                    </a:lnTo>
                    <a:lnTo>
                      <a:pt x="888" y="1044"/>
                    </a:lnTo>
                    <a:lnTo>
                      <a:pt x="888" y="1046"/>
                    </a:lnTo>
                    <a:lnTo>
                      <a:pt x="886" y="1046"/>
                    </a:lnTo>
                    <a:lnTo>
                      <a:pt x="884" y="1048"/>
                    </a:lnTo>
                    <a:lnTo>
                      <a:pt x="884" y="1049"/>
                    </a:lnTo>
                    <a:lnTo>
                      <a:pt x="883" y="1049"/>
                    </a:lnTo>
                    <a:lnTo>
                      <a:pt x="883" y="1051"/>
                    </a:lnTo>
                    <a:lnTo>
                      <a:pt x="881" y="1051"/>
                    </a:lnTo>
                    <a:lnTo>
                      <a:pt x="881" y="1053"/>
                    </a:lnTo>
                    <a:lnTo>
                      <a:pt x="881" y="1054"/>
                    </a:lnTo>
                    <a:lnTo>
                      <a:pt x="881" y="1056"/>
                    </a:lnTo>
                    <a:lnTo>
                      <a:pt x="879" y="1056"/>
                    </a:lnTo>
                    <a:lnTo>
                      <a:pt x="879" y="1058"/>
                    </a:lnTo>
                    <a:lnTo>
                      <a:pt x="878" y="1058"/>
                    </a:lnTo>
                    <a:lnTo>
                      <a:pt x="878" y="1059"/>
                    </a:lnTo>
                    <a:lnTo>
                      <a:pt x="876" y="1059"/>
                    </a:lnTo>
                    <a:lnTo>
                      <a:pt x="876" y="1061"/>
                    </a:lnTo>
                    <a:lnTo>
                      <a:pt x="874" y="1061"/>
                    </a:lnTo>
                    <a:lnTo>
                      <a:pt x="874" y="1063"/>
                    </a:lnTo>
                    <a:lnTo>
                      <a:pt x="873" y="1063"/>
                    </a:lnTo>
                    <a:lnTo>
                      <a:pt x="873" y="1065"/>
                    </a:lnTo>
                    <a:lnTo>
                      <a:pt x="871" y="1065"/>
                    </a:lnTo>
                    <a:lnTo>
                      <a:pt x="871" y="1066"/>
                    </a:lnTo>
                    <a:lnTo>
                      <a:pt x="871" y="1068"/>
                    </a:lnTo>
                    <a:lnTo>
                      <a:pt x="869" y="1068"/>
                    </a:lnTo>
                    <a:lnTo>
                      <a:pt x="867" y="1068"/>
                    </a:lnTo>
                    <a:lnTo>
                      <a:pt x="867" y="1070"/>
                    </a:lnTo>
                    <a:lnTo>
                      <a:pt x="867" y="1071"/>
                    </a:lnTo>
                    <a:lnTo>
                      <a:pt x="866" y="1071"/>
                    </a:lnTo>
                    <a:lnTo>
                      <a:pt x="866" y="1073"/>
                    </a:lnTo>
                    <a:lnTo>
                      <a:pt x="864" y="1073"/>
                    </a:lnTo>
                    <a:lnTo>
                      <a:pt x="862" y="1075"/>
                    </a:lnTo>
                    <a:lnTo>
                      <a:pt x="862" y="1076"/>
                    </a:lnTo>
                    <a:lnTo>
                      <a:pt x="861" y="1078"/>
                    </a:lnTo>
                    <a:lnTo>
                      <a:pt x="861" y="1080"/>
                    </a:lnTo>
                    <a:lnTo>
                      <a:pt x="859" y="1080"/>
                    </a:lnTo>
                    <a:lnTo>
                      <a:pt x="861" y="1082"/>
                    </a:lnTo>
                    <a:lnTo>
                      <a:pt x="859" y="1082"/>
                    </a:lnTo>
                    <a:lnTo>
                      <a:pt x="859" y="1083"/>
                    </a:lnTo>
                    <a:lnTo>
                      <a:pt x="859" y="1085"/>
                    </a:lnTo>
                    <a:lnTo>
                      <a:pt x="857" y="1085"/>
                    </a:lnTo>
                    <a:lnTo>
                      <a:pt x="857" y="1087"/>
                    </a:lnTo>
                    <a:lnTo>
                      <a:pt x="857" y="1088"/>
                    </a:lnTo>
                    <a:lnTo>
                      <a:pt x="857" y="1090"/>
                    </a:lnTo>
                    <a:lnTo>
                      <a:pt x="857" y="1092"/>
                    </a:lnTo>
                    <a:lnTo>
                      <a:pt x="857" y="1093"/>
                    </a:lnTo>
                    <a:lnTo>
                      <a:pt x="859" y="1093"/>
                    </a:lnTo>
                    <a:lnTo>
                      <a:pt x="861" y="1093"/>
                    </a:lnTo>
                    <a:lnTo>
                      <a:pt x="861" y="1095"/>
                    </a:lnTo>
                    <a:lnTo>
                      <a:pt x="861" y="1097"/>
                    </a:lnTo>
                    <a:lnTo>
                      <a:pt x="859" y="1099"/>
                    </a:lnTo>
                    <a:lnTo>
                      <a:pt x="859" y="1100"/>
                    </a:lnTo>
                    <a:lnTo>
                      <a:pt x="859" y="1102"/>
                    </a:lnTo>
                    <a:lnTo>
                      <a:pt x="857" y="1102"/>
                    </a:lnTo>
                    <a:lnTo>
                      <a:pt x="857" y="1104"/>
                    </a:lnTo>
                    <a:lnTo>
                      <a:pt x="857" y="1105"/>
                    </a:lnTo>
                    <a:lnTo>
                      <a:pt x="857" y="1107"/>
                    </a:lnTo>
                    <a:lnTo>
                      <a:pt x="856" y="1107"/>
                    </a:lnTo>
                    <a:lnTo>
                      <a:pt x="856" y="1109"/>
                    </a:lnTo>
                    <a:lnTo>
                      <a:pt x="856" y="1110"/>
                    </a:lnTo>
                    <a:lnTo>
                      <a:pt x="856" y="1112"/>
                    </a:lnTo>
                    <a:lnTo>
                      <a:pt x="854" y="1112"/>
                    </a:lnTo>
                    <a:lnTo>
                      <a:pt x="856" y="1112"/>
                    </a:lnTo>
                    <a:lnTo>
                      <a:pt x="854" y="1112"/>
                    </a:lnTo>
                    <a:lnTo>
                      <a:pt x="854" y="1114"/>
                    </a:lnTo>
                    <a:lnTo>
                      <a:pt x="856" y="1114"/>
                    </a:lnTo>
                    <a:lnTo>
                      <a:pt x="856" y="1116"/>
                    </a:lnTo>
                    <a:lnTo>
                      <a:pt x="856" y="1117"/>
                    </a:lnTo>
                    <a:lnTo>
                      <a:pt x="856" y="1116"/>
                    </a:lnTo>
                    <a:lnTo>
                      <a:pt x="857" y="1117"/>
                    </a:lnTo>
                    <a:lnTo>
                      <a:pt x="857" y="1119"/>
                    </a:lnTo>
                    <a:lnTo>
                      <a:pt x="856" y="1121"/>
                    </a:lnTo>
                    <a:lnTo>
                      <a:pt x="856" y="1122"/>
                    </a:lnTo>
                    <a:lnTo>
                      <a:pt x="857" y="1122"/>
                    </a:lnTo>
                    <a:lnTo>
                      <a:pt x="857" y="1124"/>
                    </a:lnTo>
                    <a:lnTo>
                      <a:pt x="856" y="1124"/>
                    </a:lnTo>
                    <a:lnTo>
                      <a:pt x="857" y="1126"/>
                    </a:lnTo>
                    <a:lnTo>
                      <a:pt x="859" y="1126"/>
                    </a:lnTo>
                    <a:lnTo>
                      <a:pt x="859" y="1128"/>
                    </a:lnTo>
                    <a:lnTo>
                      <a:pt x="857" y="1128"/>
                    </a:lnTo>
                    <a:lnTo>
                      <a:pt x="857" y="1129"/>
                    </a:lnTo>
                    <a:lnTo>
                      <a:pt x="857" y="1131"/>
                    </a:lnTo>
                    <a:lnTo>
                      <a:pt x="859" y="1131"/>
                    </a:lnTo>
                    <a:lnTo>
                      <a:pt x="861" y="1131"/>
                    </a:lnTo>
                    <a:lnTo>
                      <a:pt x="861" y="1129"/>
                    </a:lnTo>
                    <a:lnTo>
                      <a:pt x="861" y="1131"/>
                    </a:lnTo>
                    <a:lnTo>
                      <a:pt x="862" y="1131"/>
                    </a:lnTo>
                    <a:lnTo>
                      <a:pt x="861" y="1131"/>
                    </a:lnTo>
                    <a:lnTo>
                      <a:pt x="861" y="1133"/>
                    </a:lnTo>
                    <a:lnTo>
                      <a:pt x="862" y="1133"/>
                    </a:lnTo>
                    <a:lnTo>
                      <a:pt x="861" y="1134"/>
                    </a:lnTo>
                    <a:lnTo>
                      <a:pt x="861" y="1133"/>
                    </a:lnTo>
                    <a:lnTo>
                      <a:pt x="859" y="1133"/>
                    </a:lnTo>
                    <a:lnTo>
                      <a:pt x="857" y="1134"/>
                    </a:lnTo>
                    <a:lnTo>
                      <a:pt x="857" y="1136"/>
                    </a:lnTo>
                    <a:lnTo>
                      <a:pt x="857" y="1138"/>
                    </a:lnTo>
                    <a:lnTo>
                      <a:pt x="859" y="1138"/>
                    </a:lnTo>
                    <a:lnTo>
                      <a:pt x="859" y="1136"/>
                    </a:lnTo>
                    <a:lnTo>
                      <a:pt x="859" y="1138"/>
                    </a:lnTo>
                    <a:lnTo>
                      <a:pt x="861" y="1138"/>
                    </a:lnTo>
                    <a:lnTo>
                      <a:pt x="859" y="1139"/>
                    </a:lnTo>
                    <a:lnTo>
                      <a:pt x="861" y="1139"/>
                    </a:lnTo>
                    <a:lnTo>
                      <a:pt x="859" y="1139"/>
                    </a:lnTo>
                    <a:lnTo>
                      <a:pt x="859" y="1141"/>
                    </a:lnTo>
                    <a:lnTo>
                      <a:pt x="857" y="1141"/>
                    </a:lnTo>
                    <a:lnTo>
                      <a:pt x="857" y="1143"/>
                    </a:lnTo>
                    <a:lnTo>
                      <a:pt x="856" y="1143"/>
                    </a:lnTo>
                    <a:lnTo>
                      <a:pt x="856" y="1145"/>
                    </a:lnTo>
                    <a:lnTo>
                      <a:pt x="857" y="1145"/>
                    </a:lnTo>
                    <a:lnTo>
                      <a:pt x="857" y="1146"/>
                    </a:lnTo>
                    <a:lnTo>
                      <a:pt x="857" y="1148"/>
                    </a:lnTo>
                    <a:lnTo>
                      <a:pt x="859" y="1148"/>
                    </a:lnTo>
                    <a:lnTo>
                      <a:pt x="857" y="1150"/>
                    </a:lnTo>
                    <a:lnTo>
                      <a:pt x="857" y="1148"/>
                    </a:lnTo>
                    <a:lnTo>
                      <a:pt x="857" y="1150"/>
                    </a:lnTo>
                    <a:lnTo>
                      <a:pt x="856" y="1150"/>
                    </a:lnTo>
                    <a:lnTo>
                      <a:pt x="856" y="1151"/>
                    </a:lnTo>
                    <a:lnTo>
                      <a:pt x="857" y="1151"/>
                    </a:lnTo>
                    <a:lnTo>
                      <a:pt x="856" y="1151"/>
                    </a:lnTo>
                    <a:lnTo>
                      <a:pt x="856" y="1153"/>
                    </a:lnTo>
                    <a:lnTo>
                      <a:pt x="857" y="1155"/>
                    </a:lnTo>
                    <a:lnTo>
                      <a:pt x="856" y="1155"/>
                    </a:lnTo>
                    <a:lnTo>
                      <a:pt x="857" y="1155"/>
                    </a:lnTo>
                    <a:lnTo>
                      <a:pt x="857" y="1156"/>
                    </a:lnTo>
                    <a:lnTo>
                      <a:pt x="859" y="1158"/>
                    </a:lnTo>
                    <a:lnTo>
                      <a:pt x="857" y="1158"/>
                    </a:lnTo>
                    <a:lnTo>
                      <a:pt x="857" y="1160"/>
                    </a:lnTo>
                    <a:lnTo>
                      <a:pt x="859" y="1160"/>
                    </a:lnTo>
                    <a:lnTo>
                      <a:pt x="857" y="1160"/>
                    </a:lnTo>
                    <a:lnTo>
                      <a:pt x="857" y="1162"/>
                    </a:lnTo>
                    <a:lnTo>
                      <a:pt x="857" y="1163"/>
                    </a:lnTo>
                    <a:lnTo>
                      <a:pt x="857" y="1165"/>
                    </a:lnTo>
                    <a:lnTo>
                      <a:pt x="857" y="1167"/>
                    </a:lnTo>
                    <a:lnTo>
                      <a:pt x="856" y="1168"/>
                    </a:lnTo>
                    <a:lnTo>
                      <a:pt x="857" y="1168"/>
                    </a:lnTo>
                    <a:lnTo>
                      <a:pt x="856" y="1168"/>
                    </a:lnTo>
                    <a:lnTo>
                      <a:pt x="856" y="1170"/>
                    </a:lnTo>
                    <a:lnTo>
                      <a:pt x="856" y="1172"/>
                    </a:lnTo>
                    <a:lnTo>
                      <a:pt x="856" y="1173"/>
                    </a:lnTo>
                    <a:lnTo>
                      <a:pt x="854" y="1175"/>
                    </a:lnTo>
                    <a:lnTo>
                      <a:pt x="854" y="1177"/>
                    </a:lnTo>
                    <a:lnTo>
                      <a:pt x="852" y="1179"/>
                    </a:lnTo>
                    <a:lnTo>
                      <a:pt x="852" y="1180"/>
                    </a:lnTo>
                    <a:lnTo>
                      <a:pt x="852" y="1182"/>
                    </a:lnTo>
                    <a:lnTo>
                      <a:pt x="852" y="1184"/>
                    </a:lnTo>
                    <a:lnTo>
                      <a:pt x="852" y="1185"/>
                    </a:lnTo>
                    <a:lnTo>
                      <a:pt x="850" y="1185"/>
                    </a:lnTo>
                    <a:lnTo>
                      <a:pt x="850" y="1187"/>
                    </a:lnTo>
                    <a:lnTo>
                      <a:pt x="849" y="1187"/>
                    </a:lnTo>
                    <a:lnTo>
                      <a:pt x="847" y="1187"/>
                    </a:lnTo>
                    <a:lnTo>
                      <a:pt x="847" y="1189"/>
                    </a:lnTo>
                    <a:lnTo>
                      <a:pt x="845" y="1189"/>
                    </a:lnTo>
                    <a:lnTo>
                      <a:pt x="844" y="1190"/>
                    </a:lnTo>
                    <a:lnTo>
                      <a:pt x="840" y="1192"/>
                    </a:lnTo>
                    <a:lnTo>
                      <a:pt x="839" y="1194"/>
                    </a:lnTo>
                    <a:lnTo>
                      <a:pt x="837" y="1194"/>
                    </a:lnTo>
                    <a:lnTo>
                      <a:pt x="837" y="1196"/>
                    </a:lnTo>
                    <a:lnTo>
                      <a:pt x="833" y="1197"/>
                    </a:lnTo>
                    <a:lnTo>
                      <a:pt x="833" y="1199"/>
                    </a:lnTo>
                    <a:lnTo>
                      <a:pt x="832" y="1199"/>
                    </a:lnTo>
                    <a:lnTo>
                      <a:pt x="832" y="1201"/>
                    </a:lnTo>
                    <a:lnTo>
                      <a:pt x="828" y="1202"/>
                    </a:lnTo>
                    <a:lnTo>
                      <a:pt x="828" y="1204"/>
                    </a:lnTo>
                    <a:lnTo>
                      <a:pt x="827" y="1206"/>
                    </a:lnTo>
                    <a:lnTo>
                      <a:pt x="825" y="1207"/>
                    </a:lnTo>
                    <a:lnTo>
                      <a:pt x="823" y="1209"/>
                    </a:lnTo>
                    <a:lnTo>
                      <a:pt x="822" y="1211"/>
                    </a:lnTo>
                    <a:lnTo>
                      <a:pt x="822" y="1213"/>
                    </a:lnTo>
                    <a:lnTo>
                      <a:pt x="820" y="1213"/>
                    </a:lnTo>
                    <a:lnTo>
                      <a:pt x="820" y="1214"/>
                    </a:lnTo>
                    <a:lnTo>
                      <a:pt x="820" y="1216"/>
                    </a:lnTo>
                    <a:lnTo>
                      <a:pt x="818" y="1216"/>
                    </a:lnTo>
                    <a:lnTo>
                      <a:pt x="818" y="1218"/>
                    </a:lnTo>
                    <a:lnTo>
                      <a:pt x="816" y="1219"/>
                    </a:lnTo>
                    <a:lnTo>
                      <a:pt x="815" y="1221"/>
                    </a:lnTo>
                    <a:lnTo>
                      <a:pt x="815" y="1223"/>
                    </a:lnTo>
                    <a:lnTo>
                      <a:pt x="813" y="1224"/>
                    </a:lnTo>
                    <a:lnTo>
                      <a:pt x="813" y="1226"/>
                    </a:lnTo>
                    <a:lnTo>
                      <a:pt x="811" y="1228"/>
                    </a:lnTo>
                    <a:lnTo>
                      <a:pt x="810" y="1231"/>
                    </a:lnTo>
                    <a:lnTo>
                      <a:pt x="810" y="1233"/>
                    </a:lnTo>
                    <a:lnTo>
                      <a:pt x="808" y="1235"/>
                    </a:lnTo>
                    <a:lnTo>
                      <a:pt x="808" y="1236"/>
                    </a:lnTo>
                    <a:lnTo>
                      <a:pt x="806" y="1240"/>
                    </a:lnTo>
                    <a:lnTo>
                      <a:pt x="806" y="1241"/>
                    </a:lnTo>
                    <a:lnTo>
                      <a:pt x="805" y="1245"/>
                    </a:lnTo>
                    <a:lnTo>
                      <a:pt x="803" y="1250"/>
                    </a:lnTo>
                    <a:lnTo>
                      <a:pt x="801" y="1252"/>
                    </a:lnTo>
                    <a:lnTo>
                      <a:pt x="801" y="1253"/>
                    </a:lnTo>
                    <a:lnTo>
                      <a:pt x="799" y="1257"/>
                    </a:lnTo>
                    <a:lnTo>
                      <a:pt x="799" y="1258"/>
                    </a:lnTo>
                    <a:lnTo>
                      <a:pt x="799" y="1260"/>
                    </a:lnTo>
                    <a:lnTo>
                      <a:pt x="798" y="1262"/>
                    </a:lnTo>
                    <a:lnTo>
                      <a:pt x="798" y="1264"/>
                    </a:lnTo>
                    <a:lnTo>
                      <a:pt x="796" y="1267"/>
                    </a:lnTo>
                    <a:lnTo>
                      <a:pt x="794" y="1269"/>
                    </a:lnTo>
                    <a:lnTo>
                      <a:pt x="793" y="1270"/>
                    </a:lnTo>
                    <a:lnTo>
                      <a:pt x="793" y="1272"/>
                    </a:lnTo>
                    <a:lnTo>
                      <a:pt x="791" y="1272"/>
                    </a:lnTo>
                    <a:lnTo>
                      <a:pt x="791" y="1274"/>
                    </a:lnTo>
                    <a:lnTo>
                      <a:pt x="789" y="1276"/>
                    </a:lnTo>
                    <a:lnTo>
                      <a:pt x="789" y="1277"/>
                    </a:lnTo>
                    <a:lnTo>
                      <a:pt x="788" y="1279"/>
                    </a:lnTo>
                    <a:lnTo>
                      <a:pt x="786" y="1281"/>
                    </a:lnTo>
                    <a:lnTo>
                      <a:pt x="784" y="1284"/>
                    </a:lnTo>
                    <a:lnTo>
                      <a:pt x="784" y="1286"/>
                    </a:lnTo>
                    <a:lnTo>
                      <a:pt x="782" y="1286"/>
                    </a:lnTo>
                    <a:lnTo>
                      <a:pt x="782" y="1287"/>
                    </a:lnTo>
                    <a:lnTo>
                      <a:pt x="779" y="1289"/>
                    </a:lnTo>
                    <a:lnTo>
                      <a:pt x="779" y="1291"/>
                    </a:lnTo>
                    <a:lnTo>
                      <a:pt x="777" y="1293"/>
                    </a:lnTo>
                    <a:lnTo>
                      <a:pt x="776" y="1294"/>
                    </a:lnTo>
                    <a:lnTo>
                      <a:pt x="774" y="1294"/>
                    </a:lnTo>
                    <a:lnTo>
                      <a:pt x="774" y="1296"/>
                    </a:lnTo>
                    <a:lnTo>
                      <a:pt x="772" y="1298"/>
                    </a:lnTo>
                    <a:lnTo>
                      <a:pt x="771" y="1299"/>
                    </a:lnTo>
                    <a:lnTo>
                      <a:pt x="769" y="1301"/>
                    </a:lnTo>
                    <a:lnTo>
                      <a:pt x="769" y="1303"/>
                    </a:lnTo>
                    <a:lnTo>
                      <a:pt x="767" y="1303"/>
                    </a:lnTo>
                    <a:lnTo>
                      <a:pt x="765" y="1304"/>
                    </a:lnTo>
                    <a:lnTo>
                      <a:pt x="764" y="1306"/>
                    </a:lnTo>
                    <a:lnTo>
                      <a:pt x="762" y="1308"/>
                    </a:lnTo>
                    <a:lnTo>
                      <a:pt x="760" y="1308"/>
                    </a:lnTo>
                    <a:lnTo>
                      <a:pt x="759" y="1310"/>
                    </a:lnTo>
                    <a:lnTo>
                      <a:pt x="757" y="1311"/>
                    </a:lnTo>
                    <a:lnTo>
                      <a:pt x="755" y="1311"/>
                    </a:lnTo>
                    <a:lnTo>
                      <a:pt x="755" y="1313"/>
                    </a:lnTo>
                    <a:lnTo>
                      <a:pt x="754" y="1313"/>
                    </a:lnTo>
                    <a:lnTo>
                      <a:pt x="752" y="1315"/>
                    </a:lnTo>
                    <a:lnTo>
                      <a:pt x="750" y="1315"/>
                    </a:lnTo>
                    <a:lnTo>
                      <a:pt x="748" y="1316"/>
                    </a:lnTo>
                    <a:lnTo>
                      <a:pt x="747" y="1318"/>
                    </a:lnTo>
                    <a:lnTo>
                      <a:pt x="745" y="1320"/>
                    </a:lnTo>
                    <a:lnTo>
                      <a:pt x="743" y="1320"/>
                    </a:lnTo>
                    <a:lnTo>
                      <a:pt x="742" y="1323"/>
                    </a:lnTo>
                    <a:lnTo>
                      <a:pt x="742" y="1325"/>
                    </a:lnTo>
                    <a:lnTo>
                      <a:pt x="740" y="1325"/>
                    </a:lnTo>
                    <a:lnTo>
                      <a:pt x="740" y="1327"/>
                    </a:lnTo>
                    <a:lnTo>
                      <a:pt x="740" y="1325"/>
                    </a:lnTo>
                    <a:lnTo>
                      <a:pt x="740" y="1327"/>
                    </a:lnTo>
                    <a:lnTo>
                      <a:pt x="738" y="1327"/>
                    </a:lnTo>
                    <a:lnTo>
                      <a:pt x="737" y="1328"/>
                    </a:lnTo>
                    <a:lnTo>
                      <a:pt x="735" y="1330"/>
                    </a:lnTo>
                    <a:lnTo>
                      <a:pt x="733" y="1333"/>
                    </a:lnTo>
                    <a:lnTo>
                      <a:pt x="731" y="1335"/>
                    </a:lnTo>
                    <a:lnTo>
                      <a:pt x="731" y="1337"/>
                    </a:lnTo>
                    <a:lnTo>
                      <a:pt x="731" y="1338"/>
                    </a:lnTo>
                    <a:lnTo>
                      <a:pt x="730" y="1338"/>
                    </a:lnTo>
                    <a:lnTo>
                      <a:pt x="730" y="1342"/>
                    </a:lnTo>
                    <a:lnTo>
                      <a:pt x="730" y="1344"/>
                    </a:lnTo>
                    <a:lnTo>
                      <a:pt x="728" y="1344"/>
                    </a:lnTo>
                    <a:lnTo>
                      <a:pt x="728" y="1345"/>
                    </a:lnTo>
                    <a:lnTo>
                      <a:pt x="728" y="1347"/>
                    </a:lnTo>
                    <a:lnTo>
                      <a:pt x="728" y="1349"/>
                    </a:lnTo>
                    <a:lnTo>
                      <a:pt x="728" y="1350"/>
                    </a:lnTo>
                    <a:lnTo>
                      <a:pt x="726" y="1352"/>
                    </a:lnTo>
                    <a:lnTo>
                      <a:pt x="726" y="1354"/>
                    </a:lnTo>
                    <a:lnTo>
                      <a:pt x="726" y="1355"/>
                    </a:lnTo>
                    <a:lnTo>
                      <a:pt x="725" y="1355"/>
                    </a:lnTo>
                    <a:lnTo>
                      <a:pt x="725" y="1357"/>
                    </a:lnTo>
                    <a:lnTo>
                      <a:pt x="725" y="1359"/>
                    </a:lnTo>
                    <a:lnTo>
                      <a:pt x="723" y="1362"/>
                    </a:lnTo>
                    <a:lnTo>
                      <a:pt x="721" y="1364"/>
                    </a:lnTo>
                    <a:lnTo>
                      <a:pt x="721" y="1366"/>
                    </a:lnTo>
                    <a:lnTo>
                      <a:pt x="720" y="1366"/>
                    </a:lnTo>
                    <a:lnTo>
                      <a:pt x="720" y="1367"/>
                    </a:lnTo>
                    <a:lnTo>
                      <a:pt x="718" y="1369"/>
                    </a:lnTo>
                    <a:lnTo>
                      <a:pt x="716" y="1371"/>
                    </a:lnTo>
                    <a:lnTo>
                      <a:pt x="714" y="1372"/>
                    </a:lnTo>
                    <a:lnTo>
                      <a:pt x="713" y="1374"/>
                    </a:lnTo>
                    <a:lnTo>
                      <a:pt x="711" y="1376"/>
                    </a:lnTo>
                    <a:lnTo>
                      <a:pt x="709" y="1378"/>
                    </a:lnTo>
                    <a:lnTo>
                      <a:pt x="708" y="1379"/>
                    </a:lnTo>
                    <a:lnTo>
                      <a:pt x="706" y="1381"/>
                    </a:lnTo>
                    <a:lnTo>
                      <a:pt x="704" y="1383"/>
                    </a:lnTo>
                    <a:lnTo>
                      <a:pt x="704" y="1384"/>
                    </a:lnTo>
                    <a:lnTo>
                      <a:pt x="703" y="1384"/>
                    </a:lnTo>
                    <a:lnTo>
                      <a:pt x="701" y="1386"/>
                    </a:lnTo>
                    <a:lnTo>
                      <a:pt x="699" y="1388"/>
                    </a:lnTo>
                    <a:lnTo>
                      <a:pt x="697" y="1388"/>
                    </a:lnTo>
                    <a:lnTo>
                      <a:pt x="697" y="1389"/>
                    </a:lnTo>
                    <a:lnTo>
                      <a:pt x="696" y="1389"/>
                    </a:lnTo>
                    <a:lnTo>
                      <a:pt x="694" y="1389"/>
                    </a:lnTo>
                    <a:lnTo>
                      <a:pt x="694" y="1388"/>
                    </a:lnTo>
                    <a:lnTo>
                      <a:pt x="692" y="1388"/>
                    </a:lnTo>
                    <a:lnTo>
                      <a:pt x="691" y="1388"/>
                    </a:lnTo>
                    <a:lnTo>
                      <a:pt x="691" y="1386"/>
                    </a:lnTo>
                    <a:lnTo>
                      <a:pt x="691" y="1384"/>
                    </a:lnTo>
                    <a:lnTo>
                      <a:pt x="691" y="1383"/>
                    </a:lnTo>
                    <a:lnTo>
                      <a:pt x="691" y="1381"/>
                    </a:lnTo>
                    <a:lnTo>
                      <a:pt x="692" y="1379"/>
                    </a:lnTo>
                    <a:lnTo>
                      <a:pt x="692" y="1376"/>
                    </a:lnTo>
                    <a:lnTo>
                      <a:pt x="692" y="1374"/>
                    </a:lnTo>
                    <a:lnTo>
                      <a:pt x="691" y="1372"/>
                    </a:lnTo>
                    <a:lnTo>
                      <a:pt x="691" y="1371"/>
                    </a:lnTo>
                    <a:lnTo>
                      <a:pt x="691" y="1369"/>
                    </a:lnTo>
                    <a:lnTo>
                      <a:pt x="691" y="1367"/>
                    </a:lnTo>
                    <a:lnTo>
                      <a:pt x="692" y="1367"/>
                    </a:lnTo>
                    <a:lnTo>
                      <a:pt x="692" y="1366"/>
                    </a:lnTo>
                    <a:lnTo>
                      <a:pt x="692" y="1364"/>
                    </a:lnTo>
                    <a:lnTo>
                      <a:pt x="694" y="1364"/>
                    </a:lnTo>
                    <a:lnTo>
                      <a:pt x="697" y="1359"/>
                    </a:lnTo>
                    <a:lnTo>
                      <a:pt x="699" y="1359"/>
                    </a:lnTo>
                    <a:lnTo>
                      <a:pt x="699" y="1357"/>
                    </a:lnTo>
                    <a:lnTo>
                      <a:pt x="699" y="1355"/>
                    </a:lnTo>
                    <a:lnTo>
                      <a:pt x="699" y="1354"/>
                    </a:lnTo>
                    <a:lnTo>
                      <a:pt x="701" y="1354"/>
                    </a:lnTo>
                    <a:lnTo>
                      <a:pt x="701" y="1352"/>
                    </a:lnTo>
                    <a:lnTo>
                      <a:pt x="703" y="1350"/>
                    </a:lnTo>
                    <a:lnTo>
                      <a:pt x="704" y="1350"/>
                    </a:lnTo>
                    <a:lnTo>
                      <a:pt x="704" y="1349"/>
                    </a:lnTo>
                    <a:lnTo>
                      <a:pt x="706" y="1349"/>
                    </a:lnTo>
                    <a:lnTo>
                      <a:pt x="703" y="1347"/>
                    </a:lnTo>
                    <a:lnTo>
                      <a:pt x="703" y="1345"/>
                    </a:lnTo>
                    <a:lnTo>
                      <a:pt x="701" y="1345"/>
                    </a:lnTo>
                    <a:lnTo>
                      <a:pt x="701" y="1344"/>
                    </a:lnTo>
                    <a:lnTo>
                      <a:pt x="699" y="1344"/>
                    </a:lnTo>
                    <a:lnTo>
                      <a:pt x="697" y="1344"/>
                    </a:lnTo>
                    <a:lnTo>
                      <a:pt x="696" y="1342"/>
                    </a:lnTo>
                    <a:lnTo>
                      <a:pt x="696" y="1344"/>
                    </a:lnTo>
                    <a:lnTo>
                      <a:pt x="696" y="1342"/>
                    </a:lnTo>
                    <a:lnTo>
                      <a:pt x="694" y="1342"/>
                    </a:lnTo>
                    <a:lnTo>
                      <a:pt x="694" y="1340"/>
                    </a:lnTo>
                    <a:lnTo>
                      <a:pt x="694" y="1338"/>
                    </a:lnTo>
                    <a:lnTo>
                      <a:pt x="692" y="1338"/>
                    </a:lnTo>
                    <a:lnTo>
                      <a:pt x="691" y="1338"/>
                    </a:lnTo>
                    <a:lnTo>
                      <a:pt x="689" y="1337"/>
                    </a:lnTo>
                    <a:lnTo>
                      <a:pt x="689" y="1335"/>
                    </a:lnTo>
                    <a:lnTo>
                      <a:pt x="687" y="1335"/>
                    </a:lnTo>
                    <a:lnTo>
                      <a:pt x="687" y="1333"/>
                    </a:lnTo>
                    <a:lnTo>
                      <a:pt x="687" y="1332"/>
                    </a:lnTo>
                    <a:lnTo>
                      <a:pt x="687" y="1330"/>
                    </a:lnTo>
                    <a:lnTo>
                      <a:pt x="686" y="1330"/>
                    </a:lnTo>
                    <a:lnTo>
                      <a:pt x="686" y="1328"/>
                    </a:lnTo>
                    <a:lnTo>
                      <a:pt x="686" y="1327"/>
                    </a:lnTo>
                    <a:lnTo>
                      <a:pt x="684" y="1327"/>
                    </a:lnTo>
                    <a:lnTo>
                      <a:pt x="686" y="1325"/>
                    </a:lnTo>
                    <a:lnTo>
                      <a:pt x="684" y="1325"/>
                    </a:lnTo>
                    <a:lnTo>
                      <a:pt x="684" y="1323"/>
                    </a:lnTo>
                    <a:lnTo>
                      <a:pt x="682" y="1321"/>
                    </a:lnTo>
                    <a:lnTo>
                      <a:pt x="682" y="1323"/>
                    </a:lnTo>
                    <a:lnTo>
                      <a:pt x="680" y="1321"/>
                    </a:lnTo>
                    <a:lnTo>
                      <a:pt x="680" y="1320"/>
                    </a:lnTo>
                    <a:lnTo>
                      <a:pt x="679" y="1320"/>
                    </a:lnTo>
                    <a:lnTo>
                      <a:pt x="679" y="1318"/>
                    </a:lnTo>
                    <a:lnTo>
                      <a:pt x="677" y="1318"/>
                    </a:lnTo>
                    <a:lnTo>
                      <a:pt x="675" y="1316"/>
                    </a:lnTo>
                    <a:lnTo>
                      <a:pt x="677" y="1316"/>
                    </a:lnTo>
                    <a:lnTo>
                      <a:pt x="675" y="1316"/>
                    </a:lnTo>
                    <a:lnTo>
                      <a:pt x="674" y="1315"/>
                    </a:lnTo>
                    <a:lnTo>
                      <a:pt x="674" y="1316"/>
                    </a:lnTo>
                    <a:lnTo>
                      <a:pt x="672" y="1316"/>
                    </a:lnTo>
                    <a:lnTo>
                      <a:pt x="670" y="1316"/>
                    </a:lnTo>
                    <a:lnTo>
                      <a:pt x="670" y="1315"/>
                    </a:lnTo>
                    <a:lnTo>
                      <a:pt x="669" y="1315"/>
                    </a:lnTo>
                    <a:lnTo>
                      <a:pt x="669" y="1313"/>
                    </a:lnTo>
                    <a:lnTo>
                      <a:pt x="667" y="1313"/>
                    </a:lnTo>
                    <a:lnTo>
                      <a:pt x="667" y="1311"/>
                    </a:lnTo>
                    <a:lnTo>
                      <a:pt x="665" y="1311"/>
                    </a:lnTo>
                    <a:lnTo>
                      <a:pt x="663" y="1310"/>
                    </a:lnTo>
                    <a:lnTo>
                      <a:pt x="660" y="1306"/>
                    </a:lnTo>
                    <a:lnTo>
                      <a:pt x="660" y="1304"/>
                    </a:lnTo>
                    <a:lnTo>
                      <a:pt x="660" y="1303"/>
                    </a:lnTo>
                    <a:lnTo>
                      <a:pt x="658" y="1303"/>
                    </a:lnTo>
                    <a:lnTo>
                      <a:pt x="658" y="1301"/>
                    </a:lnTo>
                    <a:lnTo>
                      <a:pt x="658" y="1299"/>
                    </a:lnTo>
                    <a:lnTo>
                      <a:pt x="657" y="1299"/>
                    </a:lnTo>
                    <a:lnTo>
                      <a:pt x="655" y="1298"/>
                    </a:lnTo>
                    <a:lnTo>
                      <a:pt x="653" y="1298"/>
                    </a:lnTo>
                    <a:lnTo>
                      <a:pt x="652" y="1298"/>
                    </a:lnTo>
                    <a:lnTo>
                      <a:pt x="650" y="1296"/>
                    </a:lnTo>
                    <a:lnTo>
                      <a:pt x="650" y="1298"/>
                    </a:lnTo>
                    <a:lnTo>
                      <a:pt x="648" y="1298"/>
                    </a:lnTo>
                    <a:lnTo>
                      <a:pt x="646" y="1298"/>
                    </a:lnTo>
                    <a:lnTo>
                      <a:pt x="646" y="1296"/>
                    </a:lnTo>
                    <a:lnTo>
                      <a:pt x="645" y="1294"/>
                    </a:lnTo>
                    <a:lnTo>
                      <a:pt x="645" y="1296"/>
                    </a:lnTo>
                    <a:lnTo>
                      <a:pt x="643" y="1296"/>
                    </a:lnTo>
                    <a:lnTo>
                      <a:pt x="643" y="1294"/>
                    </a:lnTo>
                    <a:lnTo>
                      <a:pt x="643" y="1293"/>
                    </a:lnTo>
                    <a:lnTo>
                      <a:pt x="641" y="1293"/>
                    </a:lnTo>
                    <a:lnTo>
                      <a:pt x="641" y="1291"/>
                    </a:lnTo>
                    <a:lnTo>
                      <a:pt x="640" y="1291"/>
                    </a:lnTo>
                    <a:lnTo>
                      <a:pt x="640" y="1293"/>
                    </a:lnTo>
                    <a:lnTo>
                      <a:pt x="638" y="1293"/>
                    </a:lnTo>
                    <a:lnTo>
                      <a:pt x="636" y="1293"/>
                    </a:lnTo>
                    <a:lnTo>
                      <a:pt x="636" y="1291"/>
                    </a:lnTo>
                    <a:lnTo>
                      <a:pt x="635" y="1291"/>
                    </a:lnTo>
                    <a:lnTo>
                      <a:pt x="633" y="1291"/>
                    </a:lnTo>
                    <a:lnTo>
                      <a:pt x="633" y="1289"/>
                    </a:lnTo>
                    <a:lnTo>
                      <a:pt x="633" y="1287"/>
                    </a:lnTo>
                    <a:lnTo>
                      <a:pt x="631" y="1287"/>
                    </a:lnTo>
                    <a:lnTo>
                      <a:pt x="633" y="1287"/>
                    </a:lnTo>
                    <a:lnTo>
                      <a:pt x="631" y="1286"/>
                    </a:lnTo>
                    <a:lnTo>
                      <a:pt x="629" y="1286"/>
                    </a:lnTo>
                    <a:lnTo>
                      <a:pt x="631" y="1284"/>
                    </a:lnTo>
                    <a:lnTo>
                      <a:pt x="629" y="1284"/>
                    </a:lnTo>
                    <a:lnTo>
                      <a:pt x="629" y="1282"/>
                    </a:lnTo>
                    <a:lnTo>
                      <a:pt x="629" y="1281"/>
                    </a:lnTo>
                    <a:lnTo>
                      <a:pt x="628" y="1281"/>
                    </a:lnTo>
                    <a:lnTo>
                      <a:pt x="626" y="1281"/>
                    </a:lnTo>
                    <a:lnTo>
                      <a:pt x="628" y="1279"/>
                    </a:lnTo>
                    <a:lnTo>
                      <a:pt x="626" y="1279"/>
                    </a:lnTo>
                    <a:lnTo>
                      <a:pt x="626" y="1277"/>
                    </a:lnTo>
                    <a:lnTo>
                      <a:pt x="624" y="1277"/>
                    </a:lnTo>
                    <a:lnTo>
                      <a:pt x="624" y="1276"/>
                    </a:lnTo>
                    <a:lnTo>
                      <a:pt x="623" y="1276"/>
                    </a:lnTo>
                    <a:lnTo>
                      <a:pt x="623" y="1274"/>
                    </a:lnTo>
                    <a:lnTo>
                      <a:pt x="621" y="1274"/>
                    </a:lnTo>
                    <a:lnTo>
                      <a:pt x="619" y="1274"/>
                    </a:lnTo>
                    <a:lnTo>
                      <a:pt x="619" y="1276"/>
                    </a:lnTo>
                    <a:lnTo>
                      <a:pt x="619" y="1277"/>
                    </a:lnTo>
                    <a:lnTo>
                      <a:pt x="619" y="1279"/>
                    </a:lnTo>
                    <a:lnTo>
                      <a:pt x="618" y="1277"/>
                    </a:lnTo>
                    <a:lnTo>
                      <a:pt x="618" y="1279"/>
                    </a:lnTo>
                    <a:lnTo>
                      <a:pt x="618" y="1277"/>
                    </a:lnTo>
                    <a:lnTo>
                      <a:pt x="618" y="1279"/>
                    </a:lnTo>
                    <a:lnTo>
                      <a:pt x="616" y="1279"/>
                    </a:lnTo>
                    <a:lnTo>
                      <a:pt x="616" y="1281"/>
                    </a:lnTo>
                    <a:lnTo>
                      <a:pt x="614" y="1281"/>
                    </a:lnTo>
                    <a:lnTo>
                      <a:pt x="612" y="1281"/>
                    </a:lnTo>
                    <a:lnTo>
                      <a:pt x="612" y="1279"/>
                    </a:lnTo>
                    <a:lnTo>
                      <a:pt x="611" y="1279"/>
                    </a:lnTo>
                    <a:lnTo>
                      <a:pt x="611" y="1277"/>
                    </a:lnTo>
                    <a:lnTo>
                      <a:pt x="609" y="1277"/>
                    </a:lnTo>
                    <a:lnTo>
                      <a:pt x="609" y="1276"/>
                    </a:lnTo>
                    <a:lnTo>
                      <a:pt x="607" y="1274"/>
                    </a:lnTo>
                    <a:lnTo>
                      <a:pt x="607" y="1272"/>
                    </a:lnTo>
                    <a:lnTo>
                      <a:pt x="606" y="1270"/>
                    </a:lnTo>
                    <a:lnTo>
                      <a:pt x="604" y="1270"/>
                    </a:lnTo>
                    <a:lnTo>
                      <a:pt x="604" y="1269"/>
                    </a:lnTo>
                    <a:lnTo>
                      <a:pt x="604" y="1270"/>
                    </a:lnTo>
                    <a:lnTo>
                      <a:pt x="604" y="1269"/>
                    </a:lnTo>
                    <a:lnTo>
                      <a:pt x="602" y="1269"/>
                    </a:lnTo>
                    <a:lnTo>
                      <a:pt x="602" y="1267"/>
                    </a:lnTo>
                    <a:lnTo>
                      <a:pt x="602" y="1265"/>
                    </a:lnTo>
                    <a:lnTo>
                      <a:pt x="601" y="1264"/>
                    </a:lnTo>
                    <a:lnTo>
                      <a:pt x="601" y="1265"/>
                    </a:lnTo>
                    <a:lnTo>
                      <a:pt x="601" y="1264"/>
                    </a:lnTo>
                    <a:lnTo>
                      <a:pt x="599" y="1264"/>
                    </a:lnTo>
                    <a:lnTo>
                      <a:pt x="599" y="1262"/>
                    </a:lnTo>
                    <a:lnTo>
                      <a:pt x="597" y="1262"/>
                    </a:lnTo>
                    <a:lnTo>
                      <a:pt x="597" y="1260"/>
                    </a:lnTo>
                    <a:lnTo>
                      <a:pt x="595" y="1260"/>
                    </a:lnTo>
                    <a:lnTo>
                      <a:pt x="594" y="1260"/>
                    </a:lnTo>
                    <a:lnTo>
                      <a:pt x="594" y="1258"/>
                    </a:lnTo>
                    <a:lnTo>
                      <a:pt x="594" y="1257"/>
                    </a:lnTo>
                    <a:lnTo>
                      <a:pt x="594" y="1258"/>
                    </a:lnTo>
                    <a:lnTo>
                      <a:pt x="592" y="1257"/>
                    </a:lnTo>
                    <a:lnTo>
                      <a:pt x="592" y="1255"/>
                    </a:lnTo>
                    <a:lnTo>
                      <a:pt x="592" y="1257"/>
                    </a:lnTo>
                    <a:lnTo>
                      <a:pt x="590" y="1257"/>
                    </a:lnTo>
                    <a:lnTo>
                      <a:pt x="590" y="1255"/>
                    </a:lnTo>
                    <a:lnTo>
                      <a:pt x="589" y="1255"/>
                    </a:lnTo>
                    <a:lnTo>
                      <a:pt x="589" y="1253"/>
                    </a:lnTo>
                    <a:lnTo>
                      <a:pt x="590" y="1253"/>
                    </a:lnTo>
                    <a:lnTo>
                      <a:pt x="589" y="1253"/>
                    </a:lnTo>
                    <a:lnTo>
                      <a:pt x="589" y="1252"/>
                    </a:lnTo>
                    <a:lnTo>
                      <a:pt x="587" y="1252"/>
                    </a:lnTo>
                    <a:lnTo>
                      <a:pt x="587" y="1250"/>
                    </a:lnTo>
                    <a:lnTo>
                      <a:pt x="585" y="1250"/>
                    </a:lnTo>
                    <a:lnTo>
                      <a:pt x="585" y="1248"/>
                    </a:lnTo>
                    <a:lnTo>
                      <a:pt x="584" y="1248"/>
                    </a:lnTo>
                    <a:lnTo>
                      <a:pt x="582" y="1247"/>
                    </a:lnTo>
                    <a:lnTo>
                      <a:pt x="582" y="1245"/>
                    </a:lnTo>
                    <a:lnTo>
                      <a:pt x="580" y="1245"/>
                    </a:lnTo>
                    <a:lnTo>
                      <a:pt x="578" y="1245"/>
                    </a:lnTo>
                    <a:lnTo>
                      <a:pt x="577" y="1245"/>
                    </a:lnTo>
                    <a:lnTo>
                      <a:pt x="575" y="1245"/>
                    </a:lnTo>
                    <a:lnTo>
                      <a:pt x="573" y="1245"/>
                    </a:lnTo>
                    <a:lnTo>
                      <a:pt x="572" y="1245"/>
                    </a:lnTo>
                    <a:lnTo>
                      <a:pt x="570" y="1245"/>
                    </a:lnTo>
                    <a:lnTo>
                      <a:pt x="570" y="1247"/>
                    </a:lnTo>
                    <a:lnTo>
                      <a:pt x="568" y="1248"/>
                    </a:lnTo>
                    <a:lnTo>
                      <a:pt x="568" y="1250"/>
                    </a:lnTo>
                    <a:lnTo>
                      <a:pt x="567" y="1252"/>
                    </a:lnTo>
                    <a:lnTo>
                      <a:pt x="565" y="1252"/>
                    </a:lnTo>
                    <a:lnTo>
                      <a:pt x="563" y="1252"/>
                    </a:lnTo>
                    <a:lnTo>
                      <a:pt x="563" y="1250"/>
                    </a:lnTo>
                    <a:lnTo>
                      <a:pt x="563" y="1252"/>
                    </a:lnTo>
                    <a:lnTo>
                      <a:pt x="561" y="1252"/>
                    </a:lnTo>
                    <a:lnTo>
                      <a:pt x="561" y="1253"/>
                    </a:lnTo>
                    <a:lnTo>
                      <a:pt x="560" y="1253"/>
                    </a:lnTo>
                    <a:lnTo>
                      <a:pt x="560" y="1252"/>
                    </a:lnTo>
                    <a:lnTo>
                      <a:pt x="558" y="1252"/>
                    </a:lnTo>
                    <a:lnTo>
                      <a:pt x="556" y="1252"/>
                    </a:lnTo>
                    <a:lnTo>
                      <a:pt x="555" y="1252"/>
                    </a:lnTo>
                    <a:lnTo>
                      <a:pt x="555" y="1250"/>
                    </a:lnTo>
                    <a:lnTo>
                      <a:pt x="555" y="1248"/>
                    </a:lnTo>
                    <a:lnTo>
                      <a:pt x="553" y="1248"/>
                    </a:lnTo>
                    <a:lnTo>
                      <a:pt x="555" y="1248"/>
                    </a:lnTo>
                    <a:lnTo>
                      <a:pt x="556" y="1247"/>
                    </a:lnTo>
                    <a:lnTo>
                      <a:pt x="558" y="1245"/>
                    </a:lnTo>
                    <a:lnTo>
                      <a:pt x="558" y="1243"/>
                    </a:lnTo>
                    <a:lnTo>
                      <a:pt x="560" y="1243"/>
                    </a:lnTo>
                    <a:lnTo>
                      <a:pt x="560" y="1241"/>
                    </a:lnTo>
                    <a:lnTo>
                      <a:pt x="561" y="1241"/>
                    </a:lnTo>
                    <a:lnTo>
                      <a:pt x="563" y="1241"/>
                    </a:lnTo>
                    <a:lnTo>
                      <a:pt x="563" y="1240"/>
                    </a:lnTo>
                    <a:lnTo>
                      <a:pt x="563" y="1238"/>
                    </a:lnTo>
                    <a:lnTo>
                      <a:pt x="563" y="1236"/>
                    </a:lnTo>
                    <a:lnTo>
                      <a:pt x="563" y="1235"/>
                    </a:lnTo>
                    <a:lnTo>
                      <a:pt x="565" y="1233"/>
                    </a:lnTo>
                    <a:lnTo>
                      <a:pt x="567" y="1233"/>
                    </a:lnTo>
                    <a:lnTo>
                      <a:pt x="567" y="1231"/>
                    </a:lnTo>
                    <a:lnTo>
                      <a:pt x="568" y="1233"/>
                    </a:lnTo>
                    <a:lnTo>
                      <a:pt x="570" y="1231"/>
                    </a:lnTo>
                    <a:lnTo>
                      <a:pt x="572" y="1231"/>
                    </a:lnTo>
                    <a:lnTo>
                      <a:pt x="572" y="1230"/>
                    </a:lnTo>
                    <a:lnTo>
                      <a:pt x="573" y="1230"/>
                    </a:lnTo>
                    <a:lnTo>
                      <a:pt x="573" y="1228"/>
                    </a:lnTo>
                    <a:lnTo>
                      <a:pt x="575" y="1228"/>
                    </a:lnTo>
                    <a:lnTo>
                      <a:pt x="575" y="1226"/>
                    </a:lnTo>
                    <a:lnTo>
                      <a:pt x="575" y="1224"/>
                    </a:lnTo>
                    <a:lnTo>
                      <a:pt x="577" y="1224"/>
                    </a:lnTo>
                    <a:lnTo>
                      <a:pt x="577" y="1223"/>
                    </a:lnTo>
                    <a:lnTo>
                      <a:pt x="578" y="1223"/>
                    </a:lnTo>
                    <a:lnTo>
                      <a:pt x="578" y="1221"/>
                    </a:lnTo>
                    <a:lnTo>
                      <a:pt x="580" y="1221"/>
                    </a:lnTo>
                    <a:lnTo>
                      <a:pt x="580" y="1219"/>
                    </a:lnTo>
                    <a:lnTo>
                      <a:pt x="582" y="1219"/>
                    </a:lnTo>
                    <a:lnTo>
                      <a:pt x="582" y="1218"/>
                    </a:lnTo>
                    <a:lnTo>
                      <a:pt x="582" y="1216"/>
                    </a:lnTo>
                    <a:lnTo>
                      <a:pt x="584" y="1216"/>
                    </a:lnTo>
                    <a:lnTo>
                      <a:pt x="585" y="1213"/>
                    </a:lnTo>
                    <a:lnTo>
                      <a:pt x="585" y="1211"/>
                    </a:lnTo>
                    <a:lnTo>
                      <a:pt x="585" y="1209"/>
                    </a:lnTo>
                    <a:lnTo>
                      <a:pt x="587" y="1209"/>
                    </a:lnTo>
                    <a:lnTo>
                      <a:pt x="587" y="1207"/>
                    </a:lnTo>
                    <a:lnTo>
                      <a:pt x="589" y="1207"/>
                    </a:lnTo>
                    <a:lnTo>
                      <a:pt x="589" y="1206"/>
                    </a:lnTo>
                    <a:lnTo>
                      <a:pt x="590" y="1206"/>
                    </a:lnTo>
                    <a:lnTo>
                      <a:pt x="594" y="1206"/>
                    </a:lnTo>
                    <a:lnTo>
                      <a:pt x="594" y="1204"/>
                    </a:lnTo>
                    <a:lnTo>
                      <a:pt x="594" y="1202"/>
                    </a:lnTo>
                    <a:lnTo>
                      <a:pt x="594" y="1201"/>
                    </a:lnTo>
                    <a:lnTo>
                      <a:pt x="595" y="1201"/>
                    </a:lnTo>
                    <a:lnTo>
                      <a:pt x="595" y="1199"/>
                    </a:lnTo>
                    <a:lnTo>
                      <a:pt x="597" y="1199"/>
                    </a:lnTo>
                    <a:lnTo>
                      <a:pt x="597" y="1197"/>
                    </a:lnTo>
                    <a:lnTo>
                      <a:pt x="597" y="1196"/>
                    </a:lnTo>
                    <a:lnTo>
                      <a:pt x="597" y="1194"/>
                    </a:lnTo>
                    <a:lnTo>
                      <a:pt x="599" y="1194"/>
                    </a:lnTo>
                    <a:lnTo>
                      <a:pt x="601" y="1194"/>
                    </a:lnTo>
                    <a:lnTo>
                      <a:pt x="602" y="1192"/>
                    </a:lnTo>
                    <a:lnTo>
                      <a:pt x="602" y="1190"/>
                    </a:lnTo>
                    <a:lnTo>
                      <a:pt x="604" y="1190"/>
                    </a:lnTo>
                    <a:lnTo>
                      <a:pt x="604" y="1189"/>
                    </a:lnTo>
                    <a:lnTo>
                      <a:pt x="606" y="1189"/>
                    </a:lnTo>
                    <a:lnTo>
                      <a:pt x="606" y="1187"/>
                    </a:lnTo>
                    <a:lnTo>
                      <a:pt x="607" y="1187"/>
                    </a:lnTo>
                    <a:lnTo>
                      <a:pt x="607" y="1185"/>
                    </a:lnTo>
                    <a:lnTo>
                      <a:pt x="607" y="1184"/>
                    </a:lnTo>
                    <a:lnTo>
                      <a:pt x="607" y="1182"/>
                    </a:lnTo>
                    <a:lnTo>
                      <a:pt x="609" y="1182"/>
                    </a:lnTo>
                    <a:lnTo>
                      <a:pt x="611" y="1182"/>
                    </a:lnTo>
                    <a:lnTo>
                      <a:pt x="612" y="1182"/>
                    </a:lnTo>
                    <a:lnTo>
                      <a:pt x="611" y="1180"/>
                    </a:lnTo>
                    <a:lnTo>
                      <a:pt x="611" y="1179"/>
                    </a:lnTo>
                    <a:lnTo>
                      <a:pt x="612" y="1177"/>
                    </a:lnTo>
                    <a:lnTo>
                      <a:pt x="614" y="1177"/>
                    </a:lnTo>
                    <a:lnTo>
                      <a:pt x="616" y="1177"/>
                    </a:lnTo>
                    <a:lnTo>
                      <a:pt x="618" y="1179"/>
                    </a:lnTo>
                    <a:lnTo>
                      <a:pt x="618" y="1180"/>
                    </a:lnTo>
                    <a:lnTo>
                      <a:pt x="618" y="1179"/>
                    </a:lnTo>
                    <a:lnTo>
                      <a:pt x="619" y="1177"/>
                    </a:lnTo>
                    <a:lnTo>
                      <a:pt x="619" y="1175"/>
                    </a:lnTo>
                    <a:lnTo>
                      <a:pt x="618" y="1175"/>
                    </a:lnTo>
                    <a:lnTo>
                      <a:pt x="616" y="1175"/>
                    </a:lnTo>
                    <a:lnTo>
                      <a:pt x="616" y="1173"/>
                    </a:lnTo>
                    <a:lnTo>
                      <a:pt x="616" y="1172"/>
                    </a:lnTo>
                    <a:lnTo>
                      <a:pt x="618" y="1172"/>
                    </a:lnTo>
                    <a:lnTo>
                      <a:pt x="619" y="1172"/>
                    </a:lnTo>
                    <a:lnTo>
                      <a:pt x="619" y="1170"/>
                    </a:lnTo>
                    <a:lnTo>
                      <a:pt x="621" y="1170"/>
                    </a:lnTo>
                    <a:lnTo>
                      <a:pt x="621" y="1168"/>
                    </a:lnTo>
                    <a:lnTo>
                      <a:pt x="621" y="1170"/>
                    </a:lnTo>
                    <a:lnTo>
                      <a:pt x="623" y="1170"/>
                    </a:lnTo>
                    <a:lnTo>
                      <a:pt x="623" y="1168"/>
                    </a:lnTo>
                    <a:lnTo>
                      <a:pt x="624" y="1168"/>
                    </a:lnTo>
                    <a:lnTo>
                      <a:pt x="624" y="1167"/>
                    </a:lnTo>
                    <a:lnTo>
                      <a:pt x="626" y="1167"/>
                    </a:lnTo>
                    <a:lnTo>
                      <a:pt x="628" y="1165"/>
                    </a:lnTo>
                    <a:lnTo>
                      <a:pt x="629" y="1165"/>
                    </a:lnTo>
                    <a:lnTo>
                      <a:pt x="628" y="1163"/>
                    </a:lnTo>
                    <a:lnTo>
                      <a:pt x="629" y="1163"/>
                    </a:lnTo>
                    <a:lnTo>
                      <a:pt x="629" y="1162"/>
                    </a:lnTo>
                    <a:lnTo>
                      <a:pt x="631" y="1160"/>
                    </a:lnTo>
                    <a:lnTo>
                      <a:pt x="633" y="1162"/>
                    </a:lnTo>
                    <a:lnTo>
                      <a:pt x="633" y="1160"/>
                    </a:lnTo>
                    <a:lnTo>
                      <a:pt x="635" y="1160"/>
                    </a:lnTo>
                    <a:lnTo>
                      <a:pt x="635" y="1158"/>
                    </a:lnTo>
                    <a:lnTo>
                      <a:pt x="636" y="1158"/>
                    </a:lnTo>
                    <a:lnTo>
                      <a:pt x="636" y="1160"/>
                    </a:lnTo>
                    <a:lnTo>
                      <a:pt x="638" y="1160"/>
                    </a:lnTo>
                    <a:lnTo>
                      <a:pt x="638" y="1158"/>
                    </a:lnTo>
                    <a:lnTo>
                      <a:pt x="640" y="1158"/>
                    </a:lnTo>
                    <a:lnTo>
                      <a:pt x="641" y="1156"/>
                    </a:lnTo>
                    <a:lnTo>
                      <a:pt x="640" y="1156"/>
                    </a:lnTo>
                    <a:lnTo>
                      <a:pt x="638" y="1156"/>
                    </a:lnTo>
                    <a:lnTo>
                      <a:pt x="638" y="1155"/>
                    </a:lnTo>
                    <a:lnTo>
                      <a:pt x="640" y="1155"/>
                    </a:lnTo>
                    <a:lnTo>
                      <a:pt x="641" y="1156"/>
                    </a:lnTo>
                    <a:lnTo>
                      <a:pt x="641" y="1155"/>
                    </a:lnTo>
                    <a:lnTo>
                      <a:pt x="643" y="1155"/>
                    </a:lnTo>
                    <a:lnTo>
                      <a:pt x="645" y="1155"/>
                    </a:lnTo>
                    <a:lnTo>
                      <a:pt x="645" y="1153"/>
                    </a:lnTo>
                    <a:lnTo>
                      <a:pt x="645" y="1151"/>
                    </a:lnTo>
                    <a:lnTo>
                      <a:pt x="645" y="1150"/>
                    </a:lnTo>
                    <a:lnTo>
                      <a:pt x="646" y="1150"/>
                    </a:lnTo>
                    <a:lnTo>
                      <a:pt x="646" y="1148"/>
                    </a:lnTo>
                    <a:lnTo>
                      <a:pt x="648" y="1146"/>
                    </a:lnTo>
                    <a:lnTo>
                      <a:pt x="648" y="1148"/>
                    </a:lnTo>
                    <a:lnTo>
                      <a:pt x="650" y="1148"/>
                    </a:lnTo>
                    <a:lnTo>
                      <a:pt x="650" y="1146"/>
                    </a:lnTo>
                    <a:lnTo>
                      <a:pt x="652" y="1146"/>
                    </a:lnTo>
                    <a:lnTo>
                      <a:pt x="652" y="1148"/>
                    </a:lnTo>
                    <a:lnTo>
                      <a:pt x="653" y="1146"/>
                    </a:lnTo>
                    <a:lnTo>
                      <a:pt x="652" y="1146"/>
                    </a:lnTo>
                    <a:lnTo>
                      <a:pt x="652" y="1145"/>
                    </a:lnTo>
                    <a:lnTo>
                      <a:pt x="653" y="1145"/>
                    </a:lnTo>
                    <a:lnTo>
                      <a:pt x="653" y="1146"/>
                    </a:lnTo>
                    <a:lnTo>
                      <a:pt x="655" y="1146"/>
                    </a:lnTo>
                    <a:lnTo>
                      <a:pt x="655" y="1145"/>
                    </a:lnTo>
                    <a:lnTo>
                      <a:pt x="655" y="1143"/>
                    </a:lnTo>
                    <a:lnTo>
                      <a:pt x="657" y="1143"/>
                    </a:lnTo>
                    <a:lnTo>
                      <a:pt x="657" y="1145"/>
                    </a:lnTo>
                    <a:lnTo>
                      <a:pt x="658" y="1145"/>
                    </a:lnTo>
                    <a:lnTo>
                      <a:pt x="660" y="1145"/>
                    </a:lnTo>
                    <a:lnTo>
                      <a:pt x="660" y="1143"/>
                    </a:lnTo>
                    <a:lnTo>
                      <a:pt x="660" y="1141"/>
                    </a:lnTo>
                    <a:lnTo>
                      <a:pt x="662" y="1141"/>
                    </a:lnTo>
                    <a:lnTo>
                      <a:pt x="662" y="1143"/>
                    </a:lnTo>
                    <a:lnTo>
                      <a:pt x="663" y="1143"/>
                    </a:lnTo>
                    <a:lnTo>
                      <a:pt x="663" y="1141"/>
                    </a:lnTo>
                    <a:lnTo>
                      <a:pt x="665" y="1141"/>
                    </a:lnTo>
                    <a:lnTo>
                      <a:pt x="665" y="1143"/>
                    </a:lnTo>
                    <a:lnTo>
                      <a:pt x="667" y="1143"/>
                    </a:lnTo>
                    <a:lnTo>
                      <a:pt x="667" y="1141"/>
                    </a:lnTo>
                    <a:lnTo>
                      <a:pt x="669" y="1139"/>
                    </a:lnTo>
                    <a:lnTo>
                      <a:pt x="669" y="1138"/>
                    </a:lnTo>
                    <a:lnTo>
                      <a:pt x="669" y="1136"/>
                    </a:lnTo>
                    <a:lnTo>
                      <a:pt x="670" y="1136"/>
                    </a:lnTo>
                    <a:lnTo>
                      <a:pt x="670" y="1138"/>
                    </a:lnTo>
                    <a:lnTo>
                      <a:pt x="672" y="1138"/>
                    </a:lnTo>
                    <a:lnTo>
                      <a:pt x="672" y="1136"/>
                    </a:lnTo>
                    <a:lnTo>
                      <a:pt x="674" y="1136"/>
                    </a:lnTo>
                    <a:lnTo>
                      <a:pt x="674" y="1134"/>
                    </a:lnTo>
                    <a:lnTo>
                      <a:pt x="675" y="1134"/>
                    </a:lnTo>
                    <a:lnTo>
                      <a:pt x="675" y="1133"/>
                    </a:lnTo>
                    <a:lnTo>
                      <a:pt x="677" y="1133"/>
                    </a:lnTo>
                    <a:lnTo>
                      <a:pt x="677" y="1131"/>
                    </a:lnTo>
                    <a:lnTo>
                      <a:pt x="679" y="1133"/>
                    </a:lnTo>
                    <a:lnTo>
                      <a:pt x="679" y="1131"/>
                    </a:lnTo>
                    <a:lnTo>
                      <a:pt x="680" y="1131"/>
                    </a:lnTo>
                    <a:lnTo>
                      <a:pt x="680" y="1133"/>
                    </a:lnTo>
                    <a:lnTo>
                      <a:pt x="680" y="1131"/>
                    </a:lnTo>
                    <a:lnTo>
                      <a:pt x="682" y="1131"/>
                    </a:lnTo>
                    <a:lnTo>
                      <a:pt x="680" y="1131"/>
                    </a:lnTo>
                    <a:lnTo>
                      <a:pt x="682" y="1131"/>
                    </a:lnTo>
                    <a:lnTo>
                      <a:pt x="682" y="1129"/>
                    </a:lnTo>
                    <a:lnTo>
                      <a:pt x="682" y="1128"/>
                    </a:lnTo>
                    <a:lnTo>
                      <a:pt x="682" y="1129"/>
                    </a:lnTo>
                    <a:lnTo>
                      <a:pt x="682" y="1128"/>
                    </a:lnTo>
                    <a:lnTo>
                      <a:pt x="684" y="1128"/>
                    </a:lnTo>
                    <a:lnTo>
                      <a:pt x="682" y="1128"/>
                    </a:lnTo>
                    <a:lnTo>
                      <a:pt x="682" y="1126"/>
                    </a:lnTo>
                    <a:lnTo>
                      <a:pt x="684" y="1128"/>
                    </a:lnTo>
                    <a:lnTo>
                      <a:pt x="684" y="1126"/>
                    </a:lnTo>
                    <a:lnTo>
                      <a:pt x="686" y="1126"/>
                    </a:lnTo>
                    <a:lnTo>
                      <a:pt x="684" y="1124"/>
                    </a:lnTo>
                    <a:lnTo>
                      <a:pt x="686" y="1124"/>
                    </a:lnTo>
                    <a:lnTo>
                      <a:pt x="686" y="1122"/>
                    </a:lnTo>
                    <a:lnTo>
                      <a:pt x="686" y="1124"/>
                    </a:lnTo>
                    <a:lnTo>
                      <a:pt x="686" y="1122"/>
                    </a:lnTo>
                    <a:lnTo>
                      <a:pt x="686" y="1121"/>
                    </a:lnTo>
                    <a:lnTo>
                      <a:pt x="687" y="1121"/>
                    </a:lnTo>
                    <a:lnTo>
                      <a:pt x="686" y="1119"/>
                    </a:lnTo>
                    <a:lnTo>
                      <a:pt x="686" y="1117"/>
                    </a:lnTo>
                    <a:lnTo>
                      <a:pt x="684" y="1117"/>
                    </a:lnTo>
                    <a:lnTo>
                      <a:pt x="686" y="1116"/>
                    </a:lnTo>
                    <a:lnTo>
                      <a:pt x="684" y="1116"/>
                    </a:lnTo>
                    <a:lnTo>
                      <a:pt x="684" y="1114"/>
                    </a:lnTo>
                    <a:lnTo>
                      <a:pt x="684" y="1116"/>
                    </a:lnTo>
                    <a:lnTo>
                      <a:pt x="684" y="1114"/>
                    </a:lnTo>
                    <a:lnTo>
                      <a:pt x="686" y="1114"/>
                    </a:lnTo>
                    <a:lnTo>
                      <a:pt x="684" y="1114"/>
                    </a:lnTo>
                    <a:lnTo>
                      <a:pt x="686" y="1112"/>
                    </a:lnTo>
                    <a:lnTo>
                      <a:pt x="684" y="1112"/>
                    </a:lnTo>
                    <a:lnTo>
                      <a:pt x="684" y="1110"/>
                    </a:lnTo>
                    <a:lnTo>
                      <a:pt x="684" y="1109"/>
                    </a:lnTo>
                    <a:lnTo>
                      <a:pt x="686" y="1109"/>
                    </a:lnTo>
                    <a:lnTo>
                      <a:pt x="684" y="1109"/>
                    </a:lnTo>
                    <a:lnTo>
                      <a:pt x="686" y="1107"/>
                    </a:lnTo>
                    <a:lnTo>
                      <a:pt x="684" y="1107"/>
                    </a:lnTo>
                    <a:lnTo>
                      <a:pt x="686" y="1107"/>
                    </a:lnTo>
                    <a:lnTo>
                      <a:pt x="686" y="1105"/>
                    </a:lnTo>
                    <a:lnTo>
                      <a:pt x="686" y="1104"/>
                    </a:lnTo>
                    <a:lnTo>
                      <a:pt x="686" y="1102"/>
                    </a:lnTo>
                    <a:lnTo>
                      <a:pt x="686" y="1100"/>
                    </a:lnTo>
                    <a:lnTo>
                      <a:pt x="687" y="1100"/>
                    </a:lnTo>
                    <a:lnTo>
                      <a:pt x="687" y="1099"/>
                    </a:lnTo>
                    <a:lnTo>
                      <a:pt x="687" y="1097"/>
                    </a:lnTo>
                    <a:lnTo>
                      <a:pt x="687" y="1095"/>
                    </a:lnTo>
                    <a:lnTo>
                      <a:pt x="686" y="1093"/>
                    </a:lnTo>
                    <a:lnTo>
                      <a:pt x="684" y="1092"/>
                    </a:lnTo>
                    <a:lnTo>
                      <a:pt x="684" y="1090"/>
                    </a:lnTo>
                    <a:lnTo>
                      <a:pt x="682" y="1088"/>
                    </a:lnTo>
                    <a:lnTo>
                      <a:pt x="682" y="1087"/>
                    </a:lnTo>
                    <a:lnTo>
                      <a:pt x="680" y="1087"/>
                    </a:lnTo>
                    <a:lnTo>
                      <a:pt x="680" y="1085"/>
                    </a:lnTo>
                    <a:lnTo>
                      <a:pt x="682" y="1085"/>
                    </a:lnTo>
                    <a:lnTo>
                      <a:pt x="680" y="1085"/>
                    </a:lnTo>
                    <a:lnTo>
                      <a:pt x="682" y="1083"/>
                    </a:lnTo>
                    <a:lnTo>
                      <a:pt x="680" y="1083"/>
                    </a:lnTo>
                    <a:lnTo>
                      <a:pt x="680" y="1082"/>
                    </a:lnTo>
                    <a:lnTo>
                      <a:pt x="682" y="1082"/>
                    </a:lnTo>
                    <a:lnTo>
                      <a:pt x="680" y="1080"/>
                    </a:lnTo>
                    <a:lnTo>
                      <a:pt x="680" y="1078"/>
                    </a:lnTo>
                    <a:lnTo>
                      <a:pt x="680" y="1076"/>
                    </a:lnTo>
                    <a:lnTo>
                      <a:pt x="679" y="1076"/>
                    </a:lnTo>
                    <a:lnTo>
                      <a:pt x="680" y="1076"/>
                    </a:lnTo>
                    <a:lnTo>
                      <a:pt x="679" y="1076"/>
                    </a:lnTo>
                    <a:lnTo>
                      <a:pt x="680" y="1076"/>
                    </a:lnTo>
                    <a:lnTo>
                      <a:pt x="680" y="1075"/>
                    </a:lnTo>
                    <a:lnTo>
                      <a:pt x="679" y="1075"/>
                    </a:lnTo>
                    <a:lnTo>
                      <a:pt x="679" y="1073"/>
                    </a:lnTo>
                    <a:lnTo>
                      <a:pt x="679" y="1075"/>
                    </a:lnTo>
                    <a:lnTo>
                      <a:pt x="679" y="1073"/>
                    </a:lnTo>
                    <a:lnTo>
                      <a:pt x="677" y="1073"/>
                    </a:lnTo>
                    <a:lnTo>
                      <a:pt x="677" y="1075"/>
                    </a:lnTo>
                    <a:lnTo>
                      <a:pt x="677" y="1073"/>
                    </a:lnTo>
                    <a:lnTo>
                      <a:pt x="675" y="1073"/>
                    </a:lnTo>
                    <a:lnTo>
                      <a:pt x="677" y="1073"/>
                    </a:lnTo>
                    <a:lnTo>
                      <a:pt x="675" y="1073"/>
                    </a:lnTo>
                    <a:lnTo>
                      <a:pt x="675" y="1071"/>
                    </a:lnTo>
                    <a:lnTo>
                      <a:pt x="674" y="1071"/>
                    </a:lnTo>
                    <a:lnTo>
                      <a:pt x="672" y="1071"/>
                    </a:lnTo>
                    <a:lnTo>
                      <a:pt x="672" y="1073"/>
                    </a:lnTo>
                    <a:lnTo>
                      <a:pt x="670" y="1071"/>
                    </a:lnTo>
                    <a:lnTo>
                      <a:pt x="672" y="1071"/>
                    </a:lnTo>
                    <a:lnTo>
                      <a:pt x="672" y="1070"/>
                    </a:lnTo>
                    <a:lnTo>
                      <a:pt x="672" y="1068"/>
                    </a:lnTo>
                    <a:lnTo>
                      <a:pt x="670" y="1070"/>
                    </a:lnTo>
                    <a:lnTo>
                      <a:pt x="669" y="1070"/>
                    </a:lnTo>
                    <a:lnTo>
                      <a:pt x="669" y="1071"/>
                    </a:lnTo>
                    <a:lnTo>
                      <a:pt x="667" y="1071"/>
                    </a:lnTo>
                    <a:lnTo>
                      <a:pt x="667" y="1073"/>
                    </a:lnTo>
                    <a:lnTo>
                      <a:pt x="665" y="1071"/>
                    </a:lnTo>
                    <a:lnTo>
                      <a:pt x="663" y="1071"/>
                    </a:lnTo>
                    <a:lnTo>
                      <a:pt x="663" y="1073"/>
                    </a:lnTo>
                    <a:lnTo>
                      <a:pt x="662" y="1073"/>
                    </a:lnTo>
                    <a:lnTo>
                      <a:pt x="662" y="1075"/>
                    </a:lnTo>
                    <a:lnTo>
                      <a:pt x="660" y="1075"/>
                    </a:lnTo>
                    <a:lnTo>
                      <a:pt x="662" y="1076"/>
                    </a:lnTo>
                    <a:lnTo>
                      <a:pt x="660" y="1076"/>
                    </a:lnTo>
                    <a:lnTo>
                      <a:pt x="660" y="1075"/>
                    </a:lnTo>
                    <a:lnTo>
                      <a:pt x="658" y="1073"/>
                    </a:lnTo>
                    <a:lnTo>
                      <a:pt x="657" y="1073"/>
                    </a:lnTo>
                    <a:lnTo>
                      <a:pt x="657" y="1071"/>
                    </a:lnTo>
                    <a:lnTo>
                      <a:pt x="657" y="1073"/>
                    </a:lnTo>
                    <a:lnTo>
                      <a:pt x="655" y="1073"/>
                    </a:lnTo>
                    <a:lnTo>
                      <a:pt x="655" y="1071"/>
                    </a:lnTo>
                    <a:lnTo>
                      <a:pt x="655" y="1070"/>
                    </a:lnTo>
                    <a:lnTo>
                      <a:pt x="655" y="1068"/>
                    </a:lnTo>
                    <a:lnTo>
                      <a:pt x="655" y="1066"/>
                    </a:lnTo>
                    <a:lnTo>
                      <a:pt x="655" y="1065"/>
                    </a:lnTo>
                    <a:lnTo>
                      <a:pt x="657" y="1065"/>
                    </a:lnTo>
                    <a:lnTo>
                      <a:pt x="657" y="1063"/>
                    </a:lnTo>
                    <a:lnTo>
                      <a:pt x="658" y="1061"/>
                    </a:lnTo>
                    <a:lnTo>
                      <a:pt x="658" y="1059"/>
                    </a:lnTo>
                    <a:lnTo>
                      <a:pt x="660" y="1058"/>
                    </a:lnTo>
                    <a:lnTo>
                      <a:pt x="660" y="1056"/>
                    </a:lnTo>
                    <a:lnTo>
                      <a:pt x="660" y="1054"/>
                    </a:lnTo>
                    <a:lnTo>
                      <a:pt x="660" y="1053"/>
                    </a:lnTo>
                    <a:lnTo>
                      <a:pt x="660" y="1051"/>
                    </a:lnTo>
                    <a:lnTo>
                      <a:pt x="660" y="1049"/>
                    </a:lnTo>
                    <a:lnTo>
                      <a:pt x="660" y="1048"/>
                    </a:lnTo>
                    <a:lnTo>
                      <a:pt x="662" y="1046"/>
                    </a:lnTo>
                    <a:lnTo>
                      <a:pt x="662" y="1044"/>
                    </a:lnTo>
                    <a:lnTo>
                      <a:pt x="662" y="1042"/>
                    </a:lnTo>
                    <a:lnTo>
                      <a:pt x="663" y="1041"/>
                    </a:lnTo>
                    <a:lnTo>
                      <a:pt x="663" y="1039"/>
                    </a:lnTo>
                    <a:lnTo>
                      <a:pt x="663" y="1037"/>
                    </a:lnTo>
                    <a:lnTo>
                      <a:pt x="665" y="1037"/>
                    </a:lnTo>
                    <a:lnTo>
                      <a:pt x="665" y="1036"/>
                    </a:lnTo>
                    <a:lnTo>
                      <a:pt x="665" y="1034"/>
                    </a:lnTo>
                    <a:lnTo>
                      <a:pt x="663" y="1034"/>
                    </a:lnTo>
                    <a:lnTo>
                      <a:pt x="663" y="1032"/>
                    </a:lnTo>
                    <a:lnTo>
                      <a:pt x="663" y="1031"/>
                    </a:lnTo>
                    <a:lnTo>
                      <a:pt x="665" y="1031"/>
                    </a:lnTo>
                    <a:lnTo>
                      <a:pt x="665" y="1029"/>
                    </a:lnTo>
                    <a:lnTo>
                      <a:pt x="667" y="1027"/>
                    </a:lnTo>
                    <a:lnTo>
                      <a:pt x="667" y="1025"/>
                    </a:lnTo>
                    <a:lnTo>
                      <a:pt x="665" y="1024"/>
                    </a:lnTo>
                    <a:lnTo>
                      <a:pt x="665" y="1022"/>
                    </a:lnTo>
                    <a:lnTo>
                      <a:pt x="663" y="1022"/>
                    </a:lnTo>
                    <a:lnTo>
                      <a:pt x="663" y="1020"/>
                    </a:lnTo>
                    <a:lnTo>
                      <a:pt x="663" y="1019"/>
                    </a:lnTo>
                    <a:lnTo>
                      <a:pt x="663" y="1017"/>
                    </a:lnTo>
                    <a:lnTo>
                      <a:pt x="665" y="1017"/>
                    </a:lnTo>
                    <a:lnTo>
                      <a:pt x="665" y="1015"/>
                    </a:lnTo>
                    <a:lnTo>
                      <a:pt x="665" y="1014"/>
                    </a:lnTo>
                    <a:lnTo>
                      <a:pt x="663" y="1014"/>
                    </a:lnTo>
                    <a:lnTo>
                      <a:pt x="662" y="1012"/>
                    </a:lnTo>
                    <a:lnTo>
                      <a:pt x="660" y="1010"/>
                    </a:lnTo>
                    <a:lnTo>
                      <a:pt x="660" y="1008"/>
                    </a:lnTo>
                    <a:lnTo>
                      <a:pt x="658" y="1008"/>
                    </a:lnTo>
                    <a:lnTo>
                      <a:pt x="657" y="1008"/>
                    </a:lnTo>
                    <a:lnTo>
                      <a:pt x="655" y="1007"/>
                    </a:lnTo>
                    <a:lnTo>
                      <a:pt x="655" y="1008"/>
                    </a:lnTo>
                    <a:lnTo>
                      <a:pt x="655" y="1007"/>
                    </a:lnTo>
                    <a:lnTo>
                      <a:pt x="653" y="1007"/>
                    </a:lnTo>
                    <a:lnTo>
                      <a:pt x="652" y="1007"/>
                    </a:lnTo>
                    <a:lnTo>
                      <a:pt x="652" y="1008"/>
                    </a:lnTo>
                    <a:lnTo>
                      <a:pt x="650" y="1008"/>
                    </a:lnTo>
                    <a:lnTo>
                      <a:pt x="648" y="1008"/>
                    </a:lnTo>
                    <a:lnTo>
                      <a:pt x="646" y="1008"/>
                    </a:lnTo>
                    <a:lnTo>
                      <a:pt x="646" y="1010"/>
                    </a:lnTo>
                    <a:lnTo>
                      <a:pt x="645" y="1010"/>
                    </a:lnTo>
                    <a:lnTo>
                      <a:pt x="645" y="1012"/>
                    </a:lnTo>
                    <a:lnTo>
                      <a:pt x="643" y="1012"/>
                    </a:lnTo>
                    <a:lnTo>
                      <a:pt x="641" y="1012"/>
                    </a:lnTo>
                    <a:lnTo>
                      <a:pt x="640" y="1012"/>
                    </a:lnTo>
                    <a:lnTo>
                      <a:pt x="640" y="1014"/>
                    </a:lnTo>
                    <a:lnTo>
                      <a:pt x="640" y="1012"/>
                    </a:lnTo>
                    <a:lnTo>
                      <a:pt x="638" y="1012"/>
                    </a:lnTo>
                    <a:lnTo>
                      <a:pt x="636" y="1014"/>
                    </a:lnTo>
                    <a:lnTo>
                      <a:pt x="636" y="1012"/>
                    </a:lnTo>
                    <a:lnTo>
                      <a:pt x="636" y="1014"/>
                    </a:lnTo>
                    <a:lnTo>
                      <a:pt x="635" y="1014"/>
                    </a:lnTo>
                    <a:lnTo>
                      <a:pt x="633" y="1014"/>
                    </a:lnTo>
                    <a:lnTo>
                      <a:pt x="633" y="1012"/>
                    </a:lnTo>
                    <a:lnTo>
                      <a:pt x="631" y="1012"/>
                    </a:lnTo>
                    <a:lnTo>
                      <a:pt x="629" y="1014"/>
                    </a:lnTo>
                    <a:lnTo>
                      <a:pt x="629" y="1012"/>
                    </a:lnTo>
                    <a:lnTo>
                      <a:pt x="628" y="1012"/>
                    </a:lnTo>
                    <a:lnTo>
                      <a:pt x="628" y="1010"/>
                    </a:lnTo>
                    <a:lnTo>
                      <a:pt x="626" y="1010"/>
                    </a:lnTo>
                    <a:lnTo>
                      <a:pt x="626" y="1008"/>
                    </a:lnTo>
                    <a:lnTo>
                      <a:pt x="626" y="1007"/>
                    </a:lnTo>
                    <a:lnTo>
                      <a:pt x="626" y="1005"/>
                    </a:lnTo>
                    <a:lnTo>
                      <a:pt x="628" y="1005"/>
                    </a:lnTo>
                    <a:lnTo>
                      <a:pt x="626" y="1005"/>
                    </a:lnTo>
                    <a:lnTo>
                      <a:pt x="626" y="1003"/>
                    </a:lnTo>
                    <a:lnTo>
                      <a:pt x="626" y="1002"/>
                    </a:lnTo>
                    <a:lnTo>
                      <a:pt x="626" y="1000"/>
                    </a:lnTo>
                    <a:lnTo>
                      <a:pt x="624" y="1000"/>
                    </a:lnTo>
                    <a:lnTo>
                      <a:pt x="623" y="1000"/>
                    </a:lnTo>
                    <a:lnTo>
                      <a:pt x="623" y="998"/>
                    </a:lnTo>
                    <a:lnTo>
                      <a:pt x="624" y="998"/>
                    </a:lnTo>
                    <a:lnTo>
                      <a:pt x="624" y="997"/>
                    </a:lnTo>
                    <a:lnTo>
                      <a:pt x="623" y="997"/>
                    </a:lnTo>
                    <a:lnTo>
                      <a:pt x="623" y="995"/>
                    </a:lnTo>
                    <a:lnTo>
                      <a:pt x="623" y="993"/>
                    </a:lnTo>
                    <a:lnTo>
                      <a:pt x="624" y="991"/>
                    </a:lnTo>
                    <a:lnTo>
                      <a:pt x="624" y="990"/>
                    </a:lnTo>
                    <a:lnTo>
                      <a:pt x="623" y="988"/>
                    </a:lnTo>
                    <a:lnTo>
                      <a:pt x="623" y="986"/>
                    </a:lnTo>
                    <a:lnTo>
                      <a:pt x="624" y="986"/>
                    </a:lnTo>
                    <a:lnTo>
                      <a:pt x="623" y="986"/>
                    </a:lnTo>
                    <a:lnTo>
                      <a:pt x="623" y="985"/>
                    </a:lnTo>
                    <a:lnTo>
                      <a:pt x="624" y="985"/>
                    </a:lnTo>
                    <a:lnTo>
                      <a:pt x="624" y="983"/>
                    </a:lnTo>
                    <a:lnTo>
                      <a:pt x="623" y="983"/>
                    </a:lnTo>
                    <a:lnTo>
                      <a:pt x="623" y="981"/>
                    </a:lnTo>
                    <a:lnTo>
                      <a:pt x="621" y="981"/>
                    </a:lnTo>
                    <a:lnTo>
                      <a:pt x="621" y="980"/>
                    </a:lnTo>
                    <a:lnTo>
                      <a:pt x="621" y="978"/>
                    </a:lnTo>
                    <a:lnTo>
                      <a:pt x="619" y="978"/>
                    </a:lnTo>
                    <a:lnTo>
                      <a:pt x="621" y="976"/>
                    </a:lnTo>
                    <a:lnTo>
                      <a:pt x="619" y="974"/>
                    </a:lnTo>
                    <a:lnTo>
                      <a:pt x="619" y="973"/>
                    </a:lnTo>
                    <a:lnTo>
                      <a:pt x="619" y="971"/>
                    </a:lnTo>
                    <a:lnTo>
                      <a:pt x="619" y="969"/>
                    </a:lnTo>
                    <a:lnTo>
                      <a:pt x="619" y="968"/>
                    </a:lnTo>
                    <a:lnTo>
                      <a:pt x="621" y="968"/>
                    </a:lnTo>
                    <a:lnTo>
                      <a:pt x="621" y="966"/>
                    </a:lnTo>
                    <a:lnTo>
                      <a:pt x="621" y="964"/>
                    </a:lnTo>
                    <a:lnTo>
                      <a:pt x="621" y="963"/>
                    </a:lnTo>
                    <a:lnTo>
                      <a:pt x="619" y="963"/>
                    </a:lnTo>
                    <a:lnTo>
                      <a:pt x="619" y="961"/>
                    </a:lnTo>
                    <a:lnTo>
                      <a:pt x="618" y="961"/>
                    </a:lnTo>
                    <a:lnTo>
                      <a:pt x="618" y="959"/>
                    </a:lnTo>
                    <a:lnTo>
                      <a:pt x="616" y="959"/>
                    </a:lnTo>
                    <a:lnTo>
                      <a:pt x="616" y="957"/>
                    </a:lnTo>
                    <a:lnTo>
                      <a:pt x="616" y="956"/>
                    </a:lnTo>
                    <a:lnTo>
                      <a:pt x="618" y="956"/>
                    </a:lnTo>
                    <a:lnTo>
                      <a:pt x="616" y="956"/>
                    </a:lnTo>
                    <a:lnTo>
                      <a:pt x="616" y="954"/>
                    </a:lnTo>
                    <a:lnTo>
                      <a:pt x="614" y="954"/>
                    </a:lnTo>
                    <a:lnTo>
                      <a:pt x="614" y="952"/>
                    </a:lnTo>
                    <a:lnTo>
                      <a:pt x="612" y="951"/>
                    </a:lnTo>
                    <a:lnTo>
                      <a:pt x="611" y="951"/>
                    </a:lnTo>
                    <a:lnTo>
                      <a:pt x="609" y="951"/>
                    </a:lnTo>
                    <a:lnTo>
                      <a:pt x="607" y="951"/>
                    </a:lnTo>
                    <a:lnTo>
                      <a:pt x="606" y="951"/>
                    </a:lnTo>
                    <a:lnTo>
                      <a:pt x="604" y="951"/>
                    </a:lnTo>
                    <a:lnTo>
                      <a:pt x="604" y="949"/>
                    </a:lnTo>
                    <a:lnTo>
                      <a:pt x="604" y="951"/>
                    </a:lnTo>
                    <a:lnTo>
                      <a:pt x="602" y="951"/>
                    </a:lnTo>
                    <a:lnTo>
                      <a:pt x="601" y="949"/>
                    </a:lnTo>
                    <a:lnTo>
                      <a:pt x="601" y="951"/>
                    </a:lnTo>
                    <a:lnTo>
                      <a:pt x="601" y="949"/>
                    </a:lnTo>
                    <a:lnTo>
                      <a:pt x="599" y="949"/>
                    </a:lnTo>
                    <a:lnTo>
                      <a:pt x="599" y="947"/>
                    </a:lnTo>
                    <a:lnTo>
                      <a:pt x="597" y="947"/>
                    </a:lnTo>
                    <a:lnTo>
                      <a:pt x="595" y="947"/>
                    </a:lnTo>
                    <a:lnTo>
                      <a:pt x="595" y="945"/>
                    </a:lnTo>
                    <a:lnTo>
                      <a:pt x="595" y="944"/>
                    </a:lnTo>
                    <a:lnTo>
                      <a:pt x="594" y="944"/>
                    </a:lnTo>
                    <a:lnTo>
                      <a:pt x="594" y="942"/>
                    </a:lnTo>
                    <a:lnTo>
                      <a:pt x="594" y="944"/>
                    </a:lnTo>
                    <a:lnTo>
                      <a:pt x="592" y="942"/>
                    </a:lnTo>
                    <a:lnTo>
                      <a:pt x="592" y="944"/>
                    </a:lnTo>
                    <a:lnTo>
                      <a:pt x="590" y="944"/>
                    </a:lnTo>
                    <a:lnTo>
                      <a:pt x="590" y="945"/>
                    </a:lnTo>
                    <a:lnTo>
                      <a:pt x="589" y="945"/>
                    </a:lnTo>
                    <a:lnTo>
                      <a:pt x="590" y="945"/>
                    </a:lnTo>
                    <a:lnTo>
                      <a:pt x="589" y="945"/>
                    </a:lnTo>
                    <a:lnTo>
                      <a:pt x="589" y="947"/>
                    </a:lnTo>
                    <a:lnTo>
                      <a:pt x="587" y="947"/>
                    </a:lnTo>
                    <a:lnTo>
                      <a:pt x="587" y="949"/>
                    </a:lnTo>
                    <a:lnTo>
                      <a:pt x="585" y="949"/>
                    </a:lnTo>
                    <a:lnTo>
                      <a:pt x="587" y="949"/>
                    </a:lnTo>
                    <a:lnTo>
                      <a:pt x="585" y="949"/>
                    </a:lnTo>
                    <a:lnTo>
                      <a:pt x="585" y="947"/>
                    </a:lnTo>
                    <a:lnTo>
                      <a:pt x="584" y="947"/>
                    </a:lnTo>
                    <a:lnTo>
                      <a:pt x="584" y="949"/>
                    </a:lnTo>
                    <a:lnTo>
                      <a:pt x="582" y="949"/>
                    </a:lnTo>
                    <a:lnTo>
                      <a:pt x="580" y="949"/>
                    </a:lnTo>
                    <a:lnTo>
                      <a:pt x="580" y="951"/>
                    </a:lnTo>
                    <a:lnTo>
                      <a:pt x="578" y="951"/>
                    </a:lnTo>
                    <a:lnTo>
                      <a:pt x="578" y="949"/>
                    </a:lnTo>
                    <a:lnTo>
                      <a:pt x="577" y="949"/>
                    </a:lnTo>
                    <a:lnTo>
                      <a:pt x="575" y="949"/>
                    </a:lnTo>
                    <a:lnTo>
                      <a:pt x="573" y="947"/>
                    </a:lnTo>
                    <a:lnTo>
                      <a:pt x="573" y="949"/>
                    </a:lnTo>
                    <a:lnTo>
                      <a:pt x="572" y="949"/>
                    </a:lnTo>
                    <a:lnTo>
                      <a:pt x="570" y="949"/>
                    </a:lnTo>
                    <a:lnTo>
                      <a:pt x="570" y="947"/>
                    </a:lnTo>
                    <a:lnTo>
                      <a:pt x="568" y="949"/>
                    </a:lnTo>
                    <a:lnTo>
                      <a:pt x="568" y="947"/>
                    </a:lnTo>
                    <a:lnTo>
                      <a:pt x="567" y="947"/>
                    </a:lnTo>
                    <a:lnTo>
                      <a:pt x="567" y="949"/>
                    </a:lnTo>
                    <a:lnTo>
                      <a:pt x="565" y="949"/>
                    </a:lnTo>
                    <a:lnTo>
                      <a:pt x="565" y="947"/>
                    </a:lnTo>
                    <a:lnTo>
                      <a:pt x="563" y="949"/>
                    </a:lnTo>
                    <a:lnTo>
                      <a:pt x="561" y="947"/>
                    </a:lnTo>
                    <a:lnTo>
                      <a:pt x="561" y="949"/>
                    </a:lnTo>
                    <a:lnTo>
                      <a:pt x="561" y="947"/>
                    </a:lnTo>
                    <a:lnTo>
                      <a:pt x="560" y="947"/>
                    </a:lnTo>
                    <a:lnTo>
                      <a:pt x="558" y="947"/>
                    </a:lnTo>
                    <a:lnTo>
                      <a:pt x="556" y="947"/>
                    </a:lnTo>
                    <a:lnTo>
                      <a:pt x="556" y="945"/>
                    </a:lnTo>
                    <a:lnTo>
                      <a:pt x="556" y="947"/>
                    </a:lnTo>
                    <a:lnTo>
                      <a:pt x="555" y="945"/>
                    </a:lnTo>
                    <a:lnTo>
                      <a:pt x="553" y="945"/>
                    </a:lnTo>
                    <a:lnTo>
                      <a:pt x="553" y="944"/>
                    </a:lnTo>
                    <a:lnTo>
                      <a:pt x="551" y="944"/>
                    </a:lnTo>
                    <a:lnTo>
                      <a:pt x="550" y="944"/>
                    </a:lnTo>
                    <a:lnTo>
                      <a:pt x="550" y="945"/>
                    </a:lnTo>
                    <a:lnTo>
                      <a:pt x="548" y="945"/>
                    </a:lnTo>
                    <a:lnTo>
                      <a:pt x="548" y="944"/>
                    </a:lnTo>
                    <a:lnTo>
                      <a:pt x="546" y="945"/>
                    </a:lnTo>
                    <a:lnTo>
                      <a:pt x="546" y="944"/>
                    </a:lnTo>
                    <a:lnTo>
                      <a:pt x="544" y="944"/>
                    </a:lnTo>
                    <a:lnTo>
                      <a:pt x="544" y="945"/>
                    </a:lnTo>
                    <a:lnTo>
                      <a:pt x="544" y="944"/>
                    </a:lnTo>
                    <a:lnTo>
                      <a:pt x="543" y="944"/>
                    </a:lnTo>
                    <a:lnTo>
                      <a:pt x="543" y="942"/>
                    </a:lnTo>
                    <a:lnTo>
                      <a:pt x="541" y="942"/>
                    </a:lnTo>
                    <a:lnTo>
                      <a:pt x="541" y="944"/>
                    </a:lnTo>
                    <a:lnTo>
                      <a:pt x="541" y="942"/>
                    </a:lnTo>
                    <a:lnTo>
                      <a:pt x="539" y="942"/>
                    </a:lnTo>
                    <a:lnTo>
                      <a:pt x="539" y="940"/>
                    </a:lnTo>
                    <a:lnTo>
                      <a:pt x="541" y="940"/>
                    </a:lnTo>
                    <a:lnTo>
                      <a:pt x="541" y="939"/>
                    </a:lnTo>
                    <a:lnTo>
                      <a:pt x="543" y="939"/>
                    </a:lnTo>
                    <a:lnTo>
                      <a:pt x="543" y="937"/>
                    </a:lnTo>
                    <a:lnTo>
                      <a:pt x="543" y="935"/>
                    </a:lnTo>
                    <a:lnTo>
                      <a:pt x="541" y="935"/>
                    </a:lnTo>
                    <a:lnTo>
                      <a:pt x="541" y="934"/>
                    </a:lnTo>
                    <a:lnTo>
                      <a:pt x="543" y="934"/>
                    </a:lnTo>
                    <a:lnTo>
                      <a:pt x="543" y="932"/>
                    </a:lnTo>
                    <a:lnTo>
                      <a:pt x="543" y="930"/>
                    </a:lnTo>
                    <a:lnTo>
                      <a:pt x="544" y="928"/>
                    </a:lnTo>
                    <a:lnTo>
                      <a:pt x="543" y="928"/>
                    </a:lnTo>
                    <a:lnTo>
                      <a:pt x="543" y="927"/>
                    </a:lnTo>
                    <a:lnTo>
                      <a:pt x="543" y="925"/>
                    </a:lnTo>
                    <a:lnTo>
                      <a:pt x="543" y="923"/>
                    </a:lnTo>
                    <a:lnTo>
                      <a:pt x="541" y="923"/>
                    </a:lnTo>
                    <a:lnTo>
                      <a:pt x="541" y="922"/>
                    </a:lnTo>
                    <a:lnTo>
                      <a:pt x="543" y="922"/>
                    </a:lnTo>
                    <a:lnTo>
                      <a:pt x="543" y="920"/>
                    </a:lnTo>
                    <a:lnTo>
                      <a:pt x="543" y="918"/>
                    </a:lnTo>
                    <a:lnTo>
                      <a:pt x="544" y="918"/>
                    </a:lnTo>
                    <a:lnTo>
                      <a:pt x="544" y="917"/>
                    </a:lnTo>
                    <a:lnTo>
                      <a:pt x="544" y="915"/>
                    </a:lnTo>
                    <a:lnTo>
                      <a:pt x="543" y="913"/>
                    </a:lnTo>
                    <a:lnTo>
                      <a:pt x="544" y="913"/>
                    </a:lnTo>
                    <a:lnTo>
                      <a:pt x="544" y="911"/>
                    </a:lnTo>
                    <a:lnTo>
                      <a:pt x="546" y="911"/>
                    </a:lnTo>
                    <a:lnTo>
                      <a:pt x="546" y="910"/>
                    </a:lnTo>
                    <a:lnTo>
                      <a:pt x="544" y="910"/>
                    </a:lnTo>
                    <a:lnTo>
                      <a:pt x="544" y="908"/>
                    </a:lnTo>
                    <a:lnTo>
                      <a:pt x="546" y="906"/>
                    </a:lnTo>
                    <a:lnTo>
                      <a:pt x="544" y="906"/>
                    </a:lnTo>
                    <a:lnTo>
                      <a:pt x="544" y="905"/>
                    </a:lnTo>
                    <a:lnTo>
                      <a:pt x="546" y="905"/>
                    </a:lnTo>
                    <a:lnTo>
                      <a:pt x="546" y="903"/>
                    </a:lnTo>
                    <a:lnTo>
                      <a:pt x="546" y="901"/>
                    </a:lnTo>
                    <a:lnTo>
                      <a:pt x="544" y="901"/>
                    </a:lnTo>
                    <a:lnTo>
                      <a:pt x="544" y="900"/>
                    </a:lnTo>
                    <a:lnTo>
                      <a:pt x="543" y="900"/>
                    </a:lnTo>
                    <a:lnTo>
                      <a:pt x="544" y="900"/>
                    </a:lnTo>
                    <a:lnTo>
                      <a:pt x="544" y="898"/>
                    </a:lnTo>
                    <a:lnTo>
                      <a:pt x="544" y="896"/>
                    </a:lnTo>
                    <a:lnTo>
                      <a:pt x="543" y="896"/>
                    </a:lnTo>
                    <a:lnTo>
                      <a:pt x="541" y="896"/>
                    </a:lnTo>
                    <a:lnTo>
                      <a:pt x="543" y="894"/>
                    </a:lnTo>
                    <a:lnTo>
                      <a:pt x="544" y="894"/>
                    </a:lnTo>
                    <a:lnTo>
                      <a:pt x="544" y="893"/>
                    </a:lnTo>
                    <a:lnTo>
                      <a:pt x="543" y="893"/>
                    </a:lnTo>
                    <a:lnTo>
                      <a:pt x="543" y="891"/>
                    </a:lnTo>
                    <a:lnTo>
                      <a:pt x="543" y="893"/>
                    </a:lnTo>
                    <a:lnTo>
                      <a:pt x="541" y="893"/>
                    </a:lnTo>
                    <a:lnTo>
                      <a:pt x="541" y="891"/>
                    </a:lnTo>
                    <a:lnTo>
                      <a:pt x="541" y="889"/>
                    </a:lnTo>
                    <a:lnTo>
                      <a:pt x="539" y="889"/>
                    </a:lnTo>
                    <a:lnTo>
                      <a:pt x="541" y="888"/>
                    </a:lnTo>
                    <a:lnTo>
                      <a:pt x="539" y="888"/>
                    </a:lnTo>
                    <a:lnTo>
                      <a:pt x="539" y="886"/>
                    </a:lnTo>
                    <a:lnTo>
                      <a:pt x="539" y="884"/>
                    </a:lnTo>
                    <a:lnTo>
                      <a:pt x="541" y="884"/>
                    </a:lnTo>
                    <a:lnTo>
                      <a:pt x="541" y="883"/>
                    </a:lnTo>
                    <a:lnTo>
                      <a:pt x="539" y="883"/>
                    </a:lnTo>
                    <a:lnTo>
                      <a:pt x="538" y="881"/>
                    </a:lnTo>
                    <a:lnTo>
                      <a:pt x="538" y="879"/>
                    </a:lnTo>
                    <a:lnTo>
                      <a:pt x="536" y="879"/>
                    </a:lnTo>
                    <a:lnTo>
                      <a:pt x="538" y="877"/>
                    </a:lnTo>
                    <a:lnTo>
                      <a:pt x="536" y="876"/>
                    </a:lnTo>
                    <a:lnTo>
                      <a:pt x="536" y="877"/>
                    </a:lnTo>
                    <a:lnTo>
                      <a:pt x="534" y="877"/>
                    </a:lnTo>
                    <a:lnTo>
                      <a:pt x="534" y="876"/>
                    </a:lnTo>
                    <a:lnTo>
                      <a:pt x="536" y="876"/>
                    </a:lnTo>
                    <a:lnTo>
                      <a:pt x="536" y="874"/>
                    </a:lnTo>
                    <a:lnTo>
                      <a:pt x="534" y="874"/>
                    </a:lnTo>
                    <a:lnTo>
                      <a:pt x="536" y="872"/>
                    </a:lnTo>
                    <a:lnTo>
                      <a:pt x="538" y="872"/>
                    </a:lnTo>
                    <a:lnTo>
                      <a:pt x="538" y="871"/>
                    </a:lnTo>
                    <a:lnTo>
                      <a:pt x="539" y="871"/>
                    </a:lnTo>
                    <a:lnTo>
                      <a:pt x="539" y="869"/>
                    </a:lnTo>
                    <a:lnTo>
                      <a:pt x="541" y="869"/>
                    </a:lnTo>
                    <a:lnTo>
                      <a:pt x="543" y="869"/>
                    </a:lnTo>
                    <a:lnTo>
                      <a:pt x="544" y="869"/>
                    </a:lnTo>
                    <a:lnTo>
                      <a:pt x="544" y="867"/>
                    </a:lnTo>
                    <a:lnTo>
                      <a:pt x="544" y="866"/>
                    </a:lnTo>
                    <a:lnTo>
                      <a:pt x="541" y="862"/>
                    </a:lnTo>
                    <a:lnTo>
                      <a:pt x="536" y="859"/>
                    </a:lnTo>
                    <a:lnTo>
                      <a:pt x="538" y="855"/>
                    </a:lnTo>
                    <a:lnTo>
                      <a:pt x="541" y="849"/>
                    </a:lnTo>
                    <a:lnTo>
                      <a:pt x="544" y="842"/>
                    </a:lnTo>
                    <a:lnTo>
                      <a:pt x="544" y="840"/>
                    </a:lnTo>
                    <a:lnTo>
                      <a:pt x="544" y="838"/>
                    </a:lnTo>
                    <a:lnTo>
                      <a:pt x="546" y="837"/>
                    </a:lnTo>
                    <a:lnTo>
                      <a:pt x="548" y="833"/>
                    </a:lnTo>
                    <a:lnTo>
                      <a:pt x="550" y="833"/>
                    </a:lnTo>
                    <a:lnTo>
                      <a:pt x="550" y="832"/>
                    </a:lnTo>
                    <a:lnTo>
                      <a:pt x="551" y="832"/>
                    </a:lnTo>
                    <a:lnTo>
                      <a:pt x="550" y="832"/>
                    </a:lnTo>
                    <a:lnTo>
                      <a:pt x="550" y="830"/>
                    </a:lnTo>
                    <a:lnTo>
                      <a:pt x="550" y="828"/>
                    </a:lnTo>
                    <a:lnTo>
                      <a:pt x="548" y="828"/>
                    </a:lnTo>
                    <a:lnTo>
                      <a:pt x="548" y="826"/>
                    </a:lnTo>
                    <a:lnTo>
                      <a:pt x="550" y="825"/>
                    </a:lnTo>
                    <a:lnTo>
                      <a:pt x="550" y="823"/>
                    </a:lnTo>
                    <a:lnTo>
                      <a:pt x="550" y="821"/>
                    </a:lnTo>
                    <a:lnTo>
                      <a:pt x="551" y="820"/>
                    </a:lnTo>
                    <a:lnTo>
                      <a:pt x="551" y="816"/>
                    </a:lnTo>
                    <a:lnTo>
                      <a:pt x="553" y="815"/>
                    </a:lnTo>
                    <a:lnTo>
                      <a:pt x="555" y="808"/>
                    </a:lnTo>
                    <a:lnTo>
                      <a:pt x="555" y="806"/>
                    </a:lnTo>
                    <a:lnTo>
                      <a:pt x="555" y="804"/>
                    </a:lnTo>
                    <a:lnTo>
                      <a:pt x="556" y="804"/>
                    </a:lnTo>
                    <a:lnTo>
                      <a:pt x="558" y="804"/>
                    </a:lnTo>
                    <a:lnTo>
                      <a:pt x="558" y="803"/>
                    </a:lnTo>
                    <a:lnTo>
                      <a:pt x="556" y="803"/>
                    </a:lnTo>
                    <a:lnTo>
                      <a:pt x="555" y="801"/>
                    </a:lnTo>
                    <a:lnTo>
                      <a:pt x="555" y="799"/>
                    </a:lnTo>
                    <a:lnTo>
                      <a:pt x="553" y="797"/>
                    </a:lnTo>
                    <a:lnTo>
                      <a:pt x="553" y="796"/>
                    </a:lnTo>
                    <a:lnTo>
                      <a:pt x="550" y="791"/>
                    </a:lnTo>
                    <a:lnTo>
                      <a:pt x="551" y="791"/>
                    </a:lnTo>
                    <a:lnTo>
                      <a:pt x="551" y="789"/>
                    </a:lnTo>
                    <a:lnTo>
                      <a:pt x="550" y="787"/>
                    </a:lnTo>
                    <a:lnTo>
                      <a:pt x="550" y="786"/>
                    </a:lnTo>
                    <a:lnTo>
                      <a:pt x="548" y="786"/>
                    </a:lnTo>
                    <a:lnTo>
                      <a:pt x="548" y="784"/>
                    </a:lnTo>
                    <a:lnTo>
                      <a:pt x="548" y="782"/>
                    </a:lnTo>
                    <a:lnTo>
                      <a:pt x="548" y="780"/>
                    </a:lnTo>
                    <a:lnTo>
                      <a:pt x="550" y="780"/>
                    </a:lnTo>
                    <a:lnTo>
                      <a:pt x="548" y="780"/>
                    </a:lnTo>
                    <a:lnTo>
                      <a:pt x="546" y="779"/>
                    </a:lnTo>
                    <a:lnTo>
                      <a:pt x="544" y="777"/>
                    </a:lnTo>
                    <a:lnTo>
                      <a:pt x="543" y="777"/>
                    </a:lnTo>
                    <a:lnTo>
                      <a:pt x="543" y="779"/>
                    </a:lnTo>
                    <a:lnTo>
                      <a:pt x="541" y="779"/>
                    </a:lnTo>
                    <a:lnTo>
                      <a:pt x="539" y="779"/>
                    </a:lnTo>
                    <a:lnTo>
                      <a:pt x="539" y="777"/>
                    </a:lnTo>
                    <a:lnTo>
                      <a:pt x="538" y="777"/>
                    </a:lnTo>
                    <a:lnTo>
                      <a:pt x="536" y="777"/>
                    </a:lnTo>
                    <a:lnTo>
                      <a:pt x="536" y="775"/>
                    </a:lnTo>
                    <a:lnTo>
                      <a:pt x="534" y="774"/>
                    </a:lnTo>
                    <a:lnTo>
                      <a:pt x="533" y="774"/>
                    </a:lnTo>
                    <a:lnTo>
                      <a:pt x="531" y="774"/>
                    </a:lnTo>
                    <a:lnTo>
                      <a:pt x="531" y="772"/>
                    </a:lnTo>
                    <a:lnTo>
                      <a:pt x="531" y="770"/>
                    </a:lnTo>
                    <a:lnTo>
                      <a:pt x="529" y="770"/>
                    </a:lnTo>
                    <a:lnTo>
                      <a:pt x="529" y="769"/>
                    </a:lnTo>
                    <a:lnTo>
                      <a:pt x="527" y="769"/>
                    </a:lnTo>
                    <a:lnTo>
                      <a:pt x="527" y="767"/>
                    </a:lnTo>
                    <a:lnTo>
                      <a:pt x="527" y="765"/>
                    </a:lnTo>
                    <a:lnTo>
                      <a:pt x="527" y="763"/>
                    </a:lnTo>
                    <a:lnTo>
                      <a:pt x="526" y="763"/>
                    </a:lnTo>
                    <a:lnTo>
                      <a:pt x="526" y="762"/>
                    </a:lnTo>
                    <a:lnTo>
                      <a:pt x="526" y="760"/>
                    </a:lnTo>
                    <a:lnTo>
                      <a:pt x="524" y="760"/>
                    </a:lnTo>
                    <a:lnTo>
                      <a:pt x="524" y="758"/>
                    </a:lnTo>
                    <a:lnTo>
                      <a:pt x="524" y="757"/>
                    </a:lnTo>
                    <a:lnTo>
                      <a:pt x="524" y="755"/>
                    </a:lnTo>
                    <a:lnTo>
                      <a:pt x="524" y="753"/>
                    </a:lnTo>
                    <a:lnTo>
                      <a:pt x="524" y="752"/>
                    </a:lnTo>
                    <a:lnTo>
                      <a:pt x="524" y="750"/>
                    </a:lnTo>
                    <a:lnTo>
                      <a:pt x="524" y="748"/>
                    </a:lnTo>
                    <a:lnTo>
                      <a:pt x="526" y="748"/>
                    </a:lnTo>
                    <a:lnTo>
                      <a:pt x="526" y="746"/>
                    </a:lnTo>
                    <a:lnTo>
                      <a:pt x="526" y="745"/>
                    </a:lnTo>
                    <a:lnTo>
                      <a:pt x="527" y="745"/>
                    </a:lnTo>
                    <a:lnTo>
                      <a:pt x="529" y="743"/>
                    </a:lnTo>
                    <a:lnTo>
                      <a:pt x="529" y="741"/>
                    </a:lnTo>
                    <a:lnTo>
                      <a:pt x="527" y="741"/>
                    </a:lnTo>
                    <a:lnTo>
                      <a:pt x="527" y="740"/>
                    </a:lnTo>
                    <a:lnTo>
                      <a:pt x="529" y="740"/>
                    </a:lnTo>
                    <a:lnTo>
                      <a:pt x="529" y="738"/>
                    </a:lnTo>
                    <a:lnTo>
                      <a:pt x="529" y="736"/>
                    </a:lnTo>
                    <a:lnTo>
                      <a:pt x="529" y="735"/>
                    </a:lnTo>
                    <a:lnTo>
                      <a:pt x="527" y="735"/>
                    </a:lnTo>
                    <a:lnTo>
                      <a:pt x="527" y="736"/>
                    </a:lnTo>
                    <a:lnTo>
                      <a:pt x="526" y="736"/>
                    </a:lnTo>
                    <a:lnTo>
                      <a:pt x="522" y="736"/>
                    </a:lnTo>
                    <a:lnTo>
                      <a:pt x="517" y="736"/>
                    </a:lnTo>
                    <a:lnTo>
                      <a:pt x="516" y="736"/>
                    </a:lnTo>
                    <a:lnTo>
                      <a:pt x="514" y="736"/>
                    </a:lnTo>
                    <a:lnTo>
                      <a:pt x="507" y="736"/>
                    </a:lnTo>
                    <a:lnTo>
                      <a:pt x="502" y="736"/>
                    </a:lnTo>
                    <a:lnTo>
                      <a:pt x="500" y="736"/>
                    </a:lnTo>
                    <a:lnTo>
                      <a:pt x="499" y="736"/>
                    </a:lnTo>
                    <a:lnTo>
                      <a:pt x="495" y="735"/>
                    </a:lnTo>
                    <a:lnTo>
                      <a:pt x="492" y="735"/>
                    </a:lnTo>
                    <a:lnTo>
                      <a:pt x="490" y="735"/>
                    </a:lnTo>
                    <a:lnTo>
                      <a:pt x="488" y="735"/>
                    </a:lnTo>
                    <a:lnTo>
                      <a:pt x="482" y="735"/>
                    </a:lnTo>
                    <a:lnTo>
                      <a:pt x="478" y="735"/>
                    </a:lnTo>
                    <a:lnTo>
                      <a:pt x="476" y="735"/>
                    </a:lnTo>
                    <a:lnTo>
                      <a:pt x="473" y="735"/>
                    </a:lnTo>
                    <a:lnTo>
                      <a:pt x="471" y="735"/>
                    </a:lnTo>
                    <a:lnTo>
                      <a:pt x="470" y="735"/>
                    </a:lnTo>
                    <a:lnTo>
                      <a:pt x="468" y="735"/>
                    </a:lnTo>
                    <a:lnTo>
                      <a:pt x="466" y="735"/>
                    </a:lnTo>
                    <a:lnTo>
                      <a:pt x="466" y="731"/>
                    </a:lnTo>
                    <a:lnTo>
                      <a:pt x="466" y="728"/>
                    </a:lnTo>
                    <a:lnTo>
                      <a:pt x="465" y="711"/>
                    </a:lnTo>
                    <a:lnTo>
                      <a:pt x="465" y="709"/>
                    </a:lnTo>
                    <a:lnTo>
                      <a:pt x="465" y="707"/>
                    </a:lnTo>
                    <a:lnTo>
                      <a:pt x="463" y="706"/>
                    </a:lnTo>
                    <a:lnTo>
                      <a:pt x="461" y="702"/>
                    </a:lnTo>
                    <a:lnTo>
                      <a:pt x="456" y="697"/>
                    </a:lnTo>
                    <a:lnTo>
                      <a:pt x="453" y="694"/>
                    </a:lnTo>
                    <a:lnTo>
                      <a:pt x="456" y="694"/>
                    </a:lnTo>
                    <a:lnTo>
                      <a:pt x="458" y="694"/>
                    </a:lnTo>
                    <a:lnTo>
                      <a:pt x="461" y="694"/>
                    </a:lnTo>
                    <a:lnTo>
                      <a:pt x="463" y="694"/>
                    </a:lnTo>
                    <a:lnTo>
                      <a:pt x="465" y="694"/>
                    </a:lnTo>
                    <a:lnTo>
                      <a:pt x="465" y="690"/>
                    </a:lnTo>
                    <a:lnTo>
                      <a:pt x="465" y="689"/>
                    </a:lnTo>
                    <a:lnTo>
                      <a:pt x="465" y="687"/>
                    </a:lnTo>
                    <a:lnTo>
                      <a:pt x="465" y="684"/>
                    </a:lnTo>
                    <a:lnTo>
                      <a:pt x="465" y="682"/>
                    </a:lnTo>
                    <a:lnTo>
                      <a:pt x="465" y="680"/>
                    </a:lnTo>
                    <a:lnTo>
                      <a:pt x="463" y="678"/>
                    </a:lnTo>
                    <a:lnTo>
                      <a:pt x="463" y="677"/>
                    </a:lnTo>
                    <a:lnTo>
                      <a:pt x="461" y="677"/>
                    </a:lnTo>
                    <a:lnTo>
                      <a:pt x="461" y="675"/>
                    </a:lnTo>
                    <a:lnTo>
                      <a:pt x="461" y="673"/>
                    </a:lnTo>
                    <a:lnTo>
                      <a:pt x="461" y="672"/>
                    </a:lnTo>
                    <a:lnTo>
                      <a:pt x="459" y="672"/>
                    </a:lnTo>
                    <a:lnTo>
                      <a:pt x="459" y="670"/>
                    </a:lnTo>
                    <a:lnTo>
                      <a:pt x="459" y="668"/>
                    </a:lnTo>
                    <a:lnTo>
                      <a:pt x="458" y="668"/>
                    </a:lnTo>
                    <a:lnTo>
                      <a:pt x="458" y="667"/>
                    </a:lnTo>
                    <a:lnTo>
                      <a:pt x="458" y="665"/>
                    </a:lnTo>
                    <a:lnTo>
                      <a:pt x="458" y="663"/>
                    </a:lnTo>
                    <a:lnTo>
                      <a:pt x="456" y="663"/>
                    </a:lnTo>
                    <a:lnTo>
                      <a:pt x="456" y="661"/>
                    </a:lnTo>
                    <a:lnTo>
                      <a:pt x="456" y="660"/>
                    </a:lnTo>
                    <a:lnTo>
                      <a:pt x="456" y="658"/>
                    </a:lnTo>
                    <a:lnTo>
                      <a:pt x="458" y="658"/>
                    </a:lnTo>
                    <a:lnTo>
                      <a:pt x="458" y="656"/>
                    </a:lnTo>
                    <a:lnTo>
                      <a:pt x="459" y="656"/>
                    </a:lnTo>
                    <a:lnTo>
                      <a:pt x="459" y="655"/>
                    </a:lnTo>
                    <a:lnTo>
                      <a:pt x="458" y="655"/>
                    </a:lnTo>
                    <a:lnTo>
                      <a:pt x="458" y="653"/>
                    </a:lnTo>
                    <a:lnTo>
                      <a:pt x="458" y="651"/>
                    </a:lnTo>
                    <a:lnTo>
                      <a:pt x="456" y="651"/>
                    </a:lnTo>
                    <a:lnTo>
                      <a:pt x="458" y="651"/>
                    </a:lnTo>
                    <a:lnTo>
                      <a:pt x="456" y="650"/>
                    </a:lnTo>
                    <a:lnTo>
                      <a:pt x="456" y="651"/>
                    </a:lnTo>
                    <a:lnTo>
                      <a:pt x="456" y="650"/>
                    </a:lnTo>
                    <a:lnTo>
                      <a:pt x="458" y="650"/>
                    </a:lnTo>
                    <a:lnTo>
                      <a:pt x="456" y="650"/>
                    </a:lnTo>
                    <a:lnTo>
                      <a:pt x="458" y="650"/>
                    </a:lnTo>
                    <a:lnTo>
                      <a:pt x="456" y="650"/>
                    </a:lnTo>
                    <a:lnTo>
                      <a:pt x="458" y="648"/>
                    </a:lnTo>
                    <a:lnTo>
                      <a:pt x="456" y="648"/>
                    </a:lnTo>
                    <a:lnTo>
                      <a:pt x="454" y="648"/>
                    </a:lnTo>
                    <a:lnTo>
                      <a:pt x="453" y="646"/>
                    </a:lnTo>
                    <a:lnTo>
                      <a:pt x="451" y="646"/>
                    </a:lnTo>
                    <a:lnTo>
                      <a:pt x="449" y="646"/>
                    </a:lnTo>
                    <a:lnTo>
                      <a:pt x="449" y="644"/>
                    </a:lnTo>
                    <a:lnTo>
                      <a:pt x="449" y="646"/>
                    </a:lnTo>
                    <a:lnTo>
                      <a:pt x="449" y="644"/>
                    </a:lnTo>
                    <a:lnTo>
                      <a:pt x="448" y="644"/>
                    </a:lnTo>
                    <a:lnTo>
                      <a:pt x="446" y="644"/>
                    </a:lnTo>
                    <a:lnTo>
                      <a:pt x="446" y="643"/>
                    </a:lnTo>
                    <a:lnTo>
                      <a:pt x="444" y="643"/>
                    </a:lnTo>
                    <a:lnTo>
                      <a:pt x="442" y="643"/>
                    </a:lnTo>
                    <a:lnTo>
                      <a:pt x="442" y="641"/>
                    </a:lnTo>
                    <a:lnTo>
                      <a:pt x="442" y="639"/>
                    </a:lnTo>
                    <a:lnTo>
                      <a:pt x="441" y="639"/>
                    </a:lnTo>
                    <a:lnTo>
                      <a:pt x="439" y="639"/>
                    </a:lnTo>
                    <a:lnTo>
                      <a:pt x="439" y="638"/>
                    </a:lnTo>
                    <a:lnTo>
                      <a:pt x="437" y="638"/>
                    </a:lnTo>
                    <a:lnTo>
                      <a:pt x="437" y="639"/>
                    </a:lnTo>
                    <a:lnTo>
                      <a:pt x="437" y="638"/>
                    </a:lnTo>
                    <a:lnTo>
                      <a:pt x="436" y="638"/>
                    </a:lnTo>
                    <a:lnTo>
                      <a:pt x="436" y="639"/>
                    </a:lnTo>
                    <a:lnTo>
                      <a:pt x="434" y="639"/>
                    </a:lnTo>
                    <a:lnTo>
                      <a:pt x="434" y="638"/>
                    </a:lnTo>
                    <a:lnTo>
                      <a:pt x="434" y="639"/>
                    </a:lnTo>
                    <a:lnTo>
                      <a:pt x="432" y="639"/>
                    </a:lnTo>
                    <a:lnTo>
                      <a:pt x="432" y="638"/>
                    </a:lnTo>
                    <a:lnTo>
                      <a:pt x="432" y="639"/>
                    </a:lnTo>
                    <a:lnTo>
                      <a:pt x="431" y="639"/>
                    </a:lnTo>
                    <a:lnTo>
                      <a:pt x="431" y="638"/>
                    </a:lnTo>
                    <a:lnTo>
                      <a:pt x="429" y="638"/>
                    </a:lnTo>
                    <a:lnTo>
                      <a:pt x="427" y="638"/>
                    </a:lnTo>
                    <a:lnTo>
                      <a:pt x="427" y="639"/>
                    </a:lnTo>
                    <a:lnTo>
                      <a:pt x="425" y="639"/>
                    </a:lnTo>
                    <a:lnTo>
                      <a:pt x="424" y="639"/>
                    </a:lnTo>
                    <a:lnTo>
                      <a:pt x="422" y="639"/>
                    </a:lnTo>
                    <a:lnTo>
                      <a:pt x="420" y="639"/>
                    </a:lnTo>
                    <a:lnTo>
                      <a:pt x="419" y="638"/>
                    </a:lnTo>
                    <a:lnTo>
                      <a:pt x="419" y="639"/>
                    </a:lnTo>
                    <a:lnTo>
                      <a:pt x="417" y="638"/>
                    </a:lnTo>
                    <a:lnTo>
                      <a:pt x="417" y="639"/>
                    </a:lnTo>
                    <a:lnTo>
                      <a:pt x="417" y="638"/>
                    </a:lnTo>
                    <a:lnTo>
                      <a:pt x="415" y="638"/>
                    </a:lnTo>
                    <a:lnTo>
                      <a:pt x="415" y="639"/>
                    </a:lnTo>
                    <a:lnTo>
                      <a:pt x="414" y="639"/>
                    </a:lnTo>
                    <a:lnTo>
                      <a:pt x="412" y="639"/>
                    </a:lnTo>
                    <a:lnTo>
                      <a:pt x="410" y="639"/>
                    </a:lnTo>
                    <a:lnTo>
                      <a:pt x="410" y="638"/>
                    </a:lnTo>
                    <a:lnTo>
                      <a:pt x="408" y="638"/>
                    </a:lnTo>
                    <a:lnTo>
                      <a:pt x="408" y="636"/>
                    </a:lnTo>
                    <a:lnTo>
                      <a:pt x="407" y="634"/>
                    </a:lnTo>
                    <a:lnTo>
                      <a:pt x="407" y="636"/>
                    </a:lnTo>
                    <a:lnTo>
                      <a:pt x="407" y="634"/>
                    </a:lnTo>
                    <a:lnTo>
                      <a:pt x="405" y="632"/>
                    </a:lnTo>
                    <a:lnTo>
                      <a:pt x="405" y="634"/>
                    </a:lnTo>
                    <a:lnTo>
                      <a:pt x="405" y="632"/>
                    </a:lnTo>
                    <a:lnTo>
                      <a:pt x="403" y="632"/>
                    </a:lnTo>
                    <a:lnTo>
                      <a:pt x="403" y="631"/>
                    </a:lnTo>
                    <a:lnTo>
                      <a:pt x="402" y="631"/>
                    </a:lnTo>
                    <a:lnTo>
                      <a:pt x="402" y="629"/>
                    </a:lnTo>
                    <a:lnTo>
                      <a:pt x="402" y="627"/>
                    </a:lnTo>
                    <a:lnTo>
                      <a:pt x="402" y="626"/>
                    </a:lnTo>
                    <a:lnTo>
                      <a:pt x="400" y="626"/>
                    </a:lnTo>
                    <a:lnTo>
                      <a:pt x="400" y="624"/>
                    </a:lnTo>
                    <a:lnTo>
                      <a:pt x="398" y="624"/>
                    </a:lnTo>
                    <a:lnTo>
                      <a:pt x="400" y="626"/>
                    </a:lnTo>
                    <a:lnTo>
                      <a:pt x="398" y="626"/>
                    </a:lnTo>
                    <a:lnTo>
                      <a:pt x="398" y="624"/>
                    </a:lnTo>
                    <a:lnTo>
                      <a:pt x="397" y="624"/>
                    </a:lnTo>
                    <a:lnTo>
                      <a:pt x="397" y="626"/>
                    </a:lnTo>
                    <a:lnTo>
                      <a:pt x="395" y="626"/>
                    </a:lnTo>
                    <a:lnTo>
                      <a:pt x="393" y="626"/>
                    </a:lnTo>
                    <a:lnTo>
                      <a:pt x="391" y="626"/>
                    </a:lnTo>
                    <a:lnTo>
                      <a:pt x="391" y="624"/>
                    </a:lnTo>
                    <a:lnTo>
                      <a:pt x="391" y="626"/>
                    </a:lnTo>
                    <a:lnTo>
                      <a:pt x="391" y="624"/>
                    </a:lnTo>
                    <a:lnTo>
                      <a:pt x="390" y="624"/>
                    </a:lnTo>
                    <a:lnTo>
                      <a:pt x="390" y="622"/>
                    </a:lnTo>
                    <a:lnTo>
                      <a:pt x="390" y="624"/>
                    </a:lnTo>
                    <a:lnTo>
                      <a:pt x="388" y="624"/>
                    </a:lnTo>
                    <a:lnTo>
                      <a:pt x="388" y="622"/>
                    </a:lnTo>
                    <a:lnTo>
                      <a:pt x="386" y="624"/>
                    </a:lnTo>
                    <a:lnTo>
                      <a:pt x="386" y="622"/>
                    </a:lnTo>
                    <a:lnTo>
                      <a:pt x="385" y="622"/>
                    </a:lnTo>
                    <a:lnTo>
                      <a:pt x="385" y="621"/>
                    </a:lnTo>
                    <a:lnTo>
                      <a:pt x="383" y="621"/>
                    </a:lnTo>
                    <a:lnTo>
                      <a:pt x="383" y="619"/>
                    </a:lnTo>
                    <a:lnTo>
                      <a:pt x="383" y="621"/>
                    </a:lnTo>
                    <a:lnTo>
                      <a:pt x="381" y="621"/>
                    </a:lnTo>
                    <a:lnTo>
                      <a:pt x="381" y="622"/>
                    </a:lnTo>
                    <a:lnTo>
                      <a:pt x="380" y="621"/>
                    </a:lnTo>
                    <a:lnTo>
                      <a:pt x="378" y="621"/>
                    </a:lnTo>
                    <a:lnTo>
                      <a:pt x="378" y="619"/>
                    </a:lnTo>
                    <a:lnTo>
                      <a:pt x="376" y="619"/>
                    </a:lnTo>
                    <a:lnTo>
                      <a:pt x="376" y="617"/>
                    </a:lnTo>
                    <a:lnTo>
                      <a:pt x="374" y="617"/>
                    </a:lnTo>
                    <a:lnTo>
                      <a:pt x="374" y="615"/>
                    </a:lnTo>
                    <a:lnTo>
                      <a:pt x="373" y="615"/>
                    </a:lnTo>
                    <a:lnTo>
                      <a:pt x="371" y="615"/>
                    </a:lnTo>
                    <a:lnTo>
                      <a:pt x="371" y="614"/>
                    </a:lnTo>
                    <a:lnTo>
                      <a:pt x="371" y="612"/>
                    </a:lnTo>
                    <a:lnTo>
                      <a:pt x="369" y="612"/>
                    </a:lnTo>
                    <a:lnTo>
                      <a:pt x="369" y="610"/>
                    </a:lnTo>
                    <a:lnTo>
                      <a:pt x="368" y="610"/>
                    </a:lnTo>
                    <a:lnTo>
                      <a:pt x="368" y="609"/>
                    </a:lnTo>
                    <a:lnTo>
                      <a:pt x="366" y="609"/>
                    </a:lnTo>
                    <a:lnTo>
                      <a:pt x="366" y="607"/>
                    </a:lnTo>
                    <a:lnTo>
                      <a:pt x="366" y="609"/>
                    </a:lnTo>
                    <a:lnTo>
                      <a:pt x="364" y="607"/>
                    </a:lnTo>
                    <a:lnTo>
                      <a:pt x="364" y="609"/>
                    </a:lnTo>
                    <a:lnTo>
                      <a:pt x="363" y="609"/>
                    </a:lnTo>
                    <a:lnTo>
                      <a:pt x="364" y="610"/>
                    </a:lnTo>
                    <a:lnTo>
                      <a:pt x="363" y="610"/>
                    </a:lnTo>
                    <a:lnTo>
                      <a:pt x="361" y="610"/>
                    </a:lnTo>
                    <a:lnTo>
                      <a:pt x="361" y="609"/>
                    </a:lnTo>
                    <a:lnTo>
                      <a:pt x="359" y="609"/>
                    </a:lnTo>
                    <a:lnTo>
                      <a:pt x="357" y="609"/>
                    </a:lnTo>
                    <a:lnTo>
                      <a:pt x="357" y="607"/>
                    </a:lnTo>
                    <a:lnTo>
                      <a:pt x="356" y="607"/>
                    </a:lnTo>
                    <a:lnTo>
                      <a:pt x="357" y="607"/>
                    </a:lnTo>
                    <a:lnTo>
                      <a:pt x="357" y="605"/>
                    </a:lnTo>
                    <a:lnTo>
                      <a:pt x="356" y="605"/>
                    </a:lnTo>
                    <a:lnTo>
                      <a:pt x="354" y="605"/>
                    </a:lnTo>
                    <a:lnTo>
                      <a:pt x="354" y="604"/>
                    </a:lnTo>
                    <a:lnTo>
                      <a:pt x="352" y="604"/>
                    </a:lnTo>
                    <a:lnTo>
                      <a:pt x="351" y="604"/>
                    </a:lnTo>
                    <a:lnTo>
                      <a:pt x="351" y="602"/>
                    </a:lnTo>
                    <a:lnTo>
                      <a:pt x="349" y="602"/>
                    </a:lnTo>
                    <a:lnTo>
                      <a:pt x="347" y="602"/>
                    </a:lnTo>
                    <a:lnTo>
                      <a:pt x="346" y="602"/>
                    </a:lnTo>
                    <a:lnTo>
                      <a:pt x="346" y="600"/>
                    </a:lnTo>
                    <a:lnTo>
                      <a:pt x="344" y="602"/>
                    </a:lnTo>
                    <a:lnTo>
                      <a:pt x="342" y="602"/>
                    </a:lnTo>
                    <a:lnTo>
                      <a:pt x="340" y="604"/>
                    </a:lnTo>
                    <a:lnTo>
                      <a:pt x="339" y="604"/>
                    </a:lnTo>
                    <a:lnTo>
                      <a:pt x="337" y="604"/>
                    </a:lnTo>
                    <a:lnTo>
                      <a:pt x="335" y="604"/>
                    </a:lnTo>
                    <a:lnTo>
                      <a:pt x="334" y="604"/>
                    </a:lnTo>
                    <a:lnTo>
                      <a:pt x="334" y="602"/>
                    </a:lnTo>
                    <a:lnTo>
                      <a:pt x="334" y="604"/>
                    </a:lnTo>
                    <a:lnTo>
                      <a:pt x="332" y="604"/>
                    </a:lnTo>
                    <a:lnTo>
                      <a:pt x="332" y="602"/>
                    </a:lnTo>
                    <a:lnTo>
                      <a:pt x="330" y="602"/>
                    </a:lnTo>
                    <a:lnTo>
                      <a:pt x="329" y="602"/>
                    </a:lnTo>
                    <a:lnTo>
                      <a:pt x="329" y="604"/>
                    </a:lnTo>
                    <a:lnTo>
                      <a:pt x="327" y="604"/>
                    </a:lnTo>
                    <a:lnTo>
                      <a:pt x="329" y="602"/>
                    </a:lnTo>
                    <a:lnTo>
                      <a:pt x="327" y="602"/>
                    </a:lnTo>
                    <a:lnTo>
                      <a:pt x="325" y="602"/>
                    </a:lnTo>
                    <a:lnTo>
                      <a:pt x="323" y="602"/>
                    </a:lnTo>
                    <a:lnTo>
                      <a:pt x="323" y="600"/>
                    </a:lnTo>
                    <a:lnTo>
                      <a:pt x="322" y="600"/>
                    </a:lnTo>
                    <a:lnTo>
                      <a:pt x="322" y="598"/>
                    </a:lnTo>
                    <a:lnTo>
                      <a:pt x="320" y="598"/>
                    </a:lnTo>
                    <a:lnTo>
                      <a:pt x="322" y="597"/>
                    </a:lnTo>
                    <a:lnTo>
                      <a:pt x="322" y="595"/>
                    </a:lnTo>
                    <a:lnTo>
                      <a:pt x="320" y="595"/>
                    </a:lnTo>
                    <a:lnTo>
                      <a:pt x="320" y="593"/>
                    </a:lnTo>
                    <a:lnTo>
                      <a:pt x="320" y="595"/>
                    </a:lnTo>
                    <a:lnTo>
                      <a:pt x="318" y="595"/>
                    </a:lnTo>
                    <a:lnTo>
                      <a:pt x="318" y="593"/>
                    </a:lnTo>
                    <a:lnTo>
                      <a:pt x="317" y="593"/>
                    </a:lnTo>
                    <a:lnTo>
                      <a:pt x="315" y="593"/>
                    </a:lnTo>
                    <a:lnTo>
                      <a:pt x="313" y="592"/>
                    </a:lnTo>
                    <a:lnTo>
                      <a:pt x="313" y="590"/>
                    </a:lnTo>
                    <a:lnTo>
                      <a:pt x="315" y="590"/>
                    </a:lnTo>
                    <a:lnTo>
                      <a:pt x="313" y="590"/>
                    </a:lnTo>
                    <a:lnTo>
                      <a:pt x="313" y="588"/>
                    </a:lnTo>
                    <a:lnTo>
                      <a:pt x="313" y="590"/>
                    </a:lnTo>
                    <a:lnTo>
                      <a:pt x="313" y="592"/>
                    </a:lnTo>
                    <a:lnTo>
                      <a:pt x="312" y="592"/>
                    </a:lnTo>
                    <a:lnTo>
                      <a:pt x="312" y="590"/>
                    </a:lnTo>
                    <a:lnTo>
                      <a:pt x="312" y="588"/>
                    </a:lnTo>
                    <a:lnTo>
                      <a:pt x="310" y="588"/>
                    </a:lnTo>
                    <a:lnTo>
                      <a:pt x="310" y="590"/>
                    </a:lnTo>
                    <a:lnTo>
                      <a:pt x="310" y="588"/>
                    </a:lnTo>
                    <a:lnTo>
                      <a:pt x="310" y="587"/>
                    </a:lnTo>
                    <a:lnTo>
                      <a:pt x="308" y="587"/>
                    </a:lnTo>
                    <a:lnTo>
                      <a:pt x="306" y="587"/>
                    </a:lnTo>
                    <a:lnTo>
                      <a:pt x="305" y="587"/>
                    </a:lnTo>
                    <a:lnTo>
                      <a:pt x="303" y="587"/>
                    </a:lnTo>
                    <a:lnTo>
                      <a:pt x="303" y="585"/>
                    </a:lnTo>
                    <a:lnTo>
                      <a:pt x="303" y="583"/>
                    </a:lnTo>
                    <a:lnTo>
                      <a:pt x="303" y="581"/>
                    </a:lnTo>
                    <a:lnTo>
                      <a:pt x="301" y="581"/>
                    </a:lnTo>
                    <a:lnTo>
                      <a:pt x="301" y="580"/>
                    </a:lnTo>
                    <a:lnTo>
                      <a:pt x="301" y="578"/>
                    </a:lnTo>
                    <a:lnTo>
                      <a:pt x="301" y="576"/>
                    </a:lnTo>
                    <a:lnTo>
                      <a:pt x="300" y="576"/>
                    </a:lnTo>
                    <a:lnTo>
                      <a:pt x="298" y="576"/>
                    </a:lnTo>
                    <a:lnTo>
                      <a:pt x="298" y="578"/>
                    </a:lnTo>
                    <a:lnTo>
                      <a:pt x="296" y="578"/>
                    </a:lnTo>
                    <a:lnTo>
                      <a:pt x="296" y="576"/>
                    </a:lnTo>
                    <a:lnTo>
                      <a:pt x="295" y="576"/>
                    </a:lnTo>
                    <a:lnTo>
                      <a:pt x="296" y="575"/>
                    </a:lnTo>
                    <a:lnTo>
                      <a:pt x="296" y="573"/>
                    </a:lnTo>
                    <a:lnTo>
                      <a:pt x="296" y="571"/>
                    </a:lnTo>
                    <a:lnTo>
                      <a:pt x="296" y="570"/>
                    </a:lnTo>
                    <a:lnTo>
                      <a:pt x="295" y="570"/>
                    </a:lnTo>
                    <a:lnTo>
                      <a:pt x="293" y="568"/>
                    </a:lnTo>
                    <a:lnTo>
                      <a:pt x="293" y="566"/>
                    </a:lnTo>
                    <a:lnTo>
                      <a:pt x="293" y="564"/>
                    </a:lnTo>
                    <a:lnTo>
                      <a:pt x="293" y="563"/>
                    </a:lnTo>
                    <a:lnTo>
                      <a:pt x="295" y="563"/>
                    </a:lnTo>
                    <a:lnTo>
                      <a:pt x="293" y="563"/>
                    </a:lnTo>
                    <a:lnTo>
                      <a:pt x="293" y="561"/>
                    </a:lnTo>
                    <a:lnTo>
                      <a:pt x="291" y="561"/>
                    </a:lnTo>
                    <a:lnTo>
                      <a:pt x="291" y="559"/>
                    </a:lnTo>
                    <a:lnTo>
                      <a:pt x="293" y="559"/>
                    </a:lnTo>
                    <a:lnTo>
                      <a:pt x="293" y="558"/>
                    </a:lnTo>
                    <a:lnTo>
                      <a:pt x="291" y="558"/>
                    </a:lnTo>
                    <a:lnTo>
                      <a:pt x="291" y="556"/>
                    </a:lnTo>
                    <a:lnTo>
                      <a:pt x="293" y="556"/>
                    </a:lnTo>
                    <a:lnTo>
                      <a:pt x="295" y="554"/>
                    </a:lnTo>
                    <a:lnTo>
                      <a:pt x="295" y="553"/>
                    </a:lnTo>
                    <a:lnTo>
                      <a:pt x="296" y="551"/>
                    </a:lnTo>
                    <a:lnTo>
                      <a:pt x="295" y="551"/>
                    </a:lnTo>
                    <a:lnTo>
                      <a:pt x="295" y="549"/>
                    </a:lnTo>
                    <a:lnTo>
                      <a:pt x="295" y="547"/>
                    </a:lnTo>
                    <a:lnTo>
                      <a:pt x="295" y="546"/>
                    </a:lnTo>
                    <a:lnTo>
                      <a:pt x="293" y="546"/>
                    </a:lnTo>
                    <a:lnTo>
                      <a:pt x="293" y="544"/>
                    </a:lnTo>
                    <a:lnTo>
                      <a:pt x="293" y="542"/>
                    </a:lnTo>
                    <a:lnTo>
                      <a:pt x="293" y="541"/>
                    </a:lnTo>
                    <a:lnTo>
                      <a:pt x="291" y="539"/>
                    </a:lnTo>
                    <a:lnTo>
                      <a:pt x="289" y="537"/>
                    </a:lnTo>
                    <a:lnTo>
                      <a:pt x="291" y="537"/>
                    </a:lnTo>
                    <a:lnTo>
                      <a:pt x="291" y="536"/>
                    </a:lnTo>
                    <a:lnTo>
                      <a:pt x="289" y="536"/>
                    </a:lnTo>
                    <a:lnTo>
                      <a:pt x="289" y="534"/>
                    </a:lnTo>
                    <a:lnTo>
                      <a:pt x="291" y="534"/>
                    </a:lnTo>
                    <a:lnTo>
                      <a:pt x="291" y="532"/>
                    </a:lnTo>
                    <a:lnTo>
                      <a:pt x="291" y="530"/>
                    </a:lnTo>
                    <a:lnTo>
                      <a:pt x="291" y="529"/>
                    </a:lnTo>
                    <a:lnTo>
                      <a:pt x="293" y="529"/>
                    </a:lnTo>
                    <a:lnTo>
                      <a:pt x="293" y="527"/>
                    </a:lnTo>
                    <a:lnTo>
                      <a:pt x="293" y="525"/>
                    </a:lnTo>
                    <a:lnTo>
                      <a:pt x="295" y="525"/>
                    </a:lnTo>
                    <a:lnTo>
                      <a:pt x="295" y="524"/>
                    </a:lnTo>
                    <a:lnTo>
                      <a:pt x="293" y="524"/>
                    </a:lnTo>
                    <a:lnTo>
                      <a:pt x="295" y="522"/>
                    </a:lnTo>
                    <a:lnTo>
                      <a:pt x="295" y="520"/>
                    </a:lnTo>
                    <a:lnTo>
                      <a:pt x="293" y="520"/>
                    </a:lnTo>
                    <a:lnTo>
                      <a:pt x="293" y="519"/>
                    </a:lnTo>
                    <a:lnTo>
                      <a:pt x="293" y="517"/>
                    </a:lnTo>
                    <a:lnTo>
                      <a:pt x="293" y="515"/>
                    </a:lnTo>
                    <a:lnTo>
                      <a:pt x="293" y="513"/>
                    </a:lnTo>
                    <a:lnTo>
                      <a:pt x="295" y="513"/>
                    </a:lnTo>
                    <a:lnTo>
                      <a:pt x="295" y="512"/>
                    </a:lnTo>
                    <a:lnTo>
                      <a:pt x="293" y="512"/>
                    </a:lnTo>
                    <a:lnTo>
                      <a:pt x="293" y="510"/>
                    </a:lnTo>
                    <a:lnTo>
                      <a:pt x="293" y="508"/>
                    </a:lnTo>
                    <a:lnTo>
                      <a:pt x="291" y="508"/>
                    </a:lnTo>
                    <a:lnTo>
                      <a:pt x="291" y="507"/>
                    </a:lnTo>
                    <a:lnTo>
                      <a:pt x="289" y="507"/>
                    </a:lnTo>
                    <a:lnTo>
                      <a:pt x="288" y="507"/>
                    </a:lnTo>
                    <a:lnTo>
                      <a:pt x="288" y="508"/>
                    </a:lnTo>
                    <a:lnTo>
                      <a:pt x="288" y="507"/>
                    </a:lnTo>
                    <a:lnTo>
                      <a:pt x="288" y="508"/>
                    </a:lnTo>
                    <a:lnTo>
                      <a:pt x="288" y="510"/>
                    </a:lnTo>
                    <a:lnTo>
                      <a:pt x="286" y="510"/>
                    </a:lnTo>
                    <a:lnTo>
                      <a:pt x="284" y="510"/>
                    </a:lnTo>
                    <a:lnTo>
                      <a:pt x="284" y="512"/>
                    </a:lnTo>
                    <a:lnTo>
                      <a:pt x="286" y="512"/>
                    </a:lnTo>
                    <a:lnTo>
                      <a:pt x="284" y="512"/>
                    </a:lnTo>
                    <a:lnTo>
                      <a:pt x="283" y="512"/>
                    </a:lnTo>
                    <a:lnTo>
                      <a:pt x="283" y="510"/>
                    </a:lnTo>
                    <a:lnTo>
                      <a:pt x="283" y="512"/>
                    </a:lnTo>
                    <a:lnTo>
                      <a:pt x="283" y="510"/>
                    </a:lnTo>
                    <a:lnTo>
                      <a:pt x="281" y="510"/>
                    </a:lnTo>
                    <a:lnTo>
                      <a:pt x="281" y="512"/>
                    </a:lnTo>
                    <a:lnTo>
                      <a:pt x="279" y="510"/>
                    </a:lnTo>
                    <a:lnTo>
                      <a:pt x="281" y="510"/>
                    </a:lnTo>
                    <a:lnTo>
                      <a:pt x="279" y="510"/>
                    </a:lnTo>
                    <a:lnTo>
                      <a:pt x="281" y="510"/>
                    </a:lnTo>
                    <a:lnTo>
                      <a:pt x="281" y="508"/>
                    </a:lnTo>
                    <a:lnTo>
                      <a:pt x="279" y="508"/>
                    </a:lnTo>
                    <a:lnTo>
                      <a:pt x="279" y="510"/>
                    </a:lnTo>
                    <a:lnTo>
                      <a:pt x="278" y="508"/>
                    </a:lnTo>
                    <a:lnTo>
                      <a:pt x="278" y="510"/>
                    </a:lnTo>
                    <a:lnTo>
                      <a:pt x="276" y="510"/>
                    </a:lnTo>
                    <a:lnTo>
                      <a:pt x="278" y="508"/>
                    </a:lnTo>
                    <a:lnTo>
                      <a:pt x="276" y="508"/>
                    </a:lnTo>
                    <a:lnTo>
                      <a:pt x="276" y="510"/>
                    </a:lnTo>
                    <a:lnTo>
                      <a:pt x="274" y="510"/>
                    </a:lnTo>
                    <a:lnTo>
                      <a:pt x="274" y="508"/>
                    </a:lnTo>
                    <a:lnTo>
                      <a:pt x="274" y="510"/>
                    </a:lnTo>
                    <a:lnTo>
                      <a:pt x="272" y="508"/>
                    </a:lnTo>
                    <a:lnTo>
                      <a:pt x="272" y="510"/>
                    </a:lnTo>
                    <a:lnTo>
                      <a:pt x="272" y="508"/>
                    </a:lnTo>
                    <a:lnTo>
                      <a:pt x="272" y="510"/>
                    </a:lnTo>
                    <a:lnTo>
                      <a:pt x="271" y="510"/>
                    </a:lnTo>
                    <a:lnTo>
                      <a:pt x="269" y="510"/>
                    </a:lnTo>
                    <a:lnTo>
                      <a:pt x="269" y="512"/>
                    </a:lnTo>
                    <a:lnTo>
                      <a:pt x="269" y="510"/>
                    </a:lnTo>
                    <a:lnTo>
                      <a:pt x="267" y="510"/>
                    </a:lnTo>
                    <a:lnTo>
                      <a:pt x="267" y="512"/>
                    </a:lnTo>
                    <a:lnTo>
                      <a:pt x="267" y="510"/>
                    </a:lnTo>
                    <a:lnTo>
                      <a:pt x="266" y="510"/>
                    </a:lnTo>
                    <a:lnTo>
                      <a:pt x="264" y="510"/>
                    </a:lnTo>
                    <a:lnTo>
                      <a:pt x="264" y="512"/>
                    </a:lnTo>
                    <a:lnTo>
                      <a:pt x="262" y="512"/>
                    </a:lnTo>
                    <a:lnTo>
                      <a:pt x="262" y="510"/>
                    </a:lnTo>
                    <a:lnTo>
                      <a:pt x="262" y="512"/>
                    </a:lnTo>
                    <a:lnTo>
                      <a:pt x="261" y="512"/>
                    </a:lnTo>
                    <a:lnTo>
                      <a:pt x="259" y="512"/>
                    </a:lnTo>
                    <a:lnTo>
                      <a:pt x="259" y="513"/>
                    </a:lnTo>
                    <a:lnTo>
                      <a:pt x="257" y="513"/>
                    </a:lnTo>
                    <a:lnTo>
                      <a:pt x="255" y="513"/>
                    </a:lnTo>
                    <a:lnTo>
                      <a:pt x="257" y="513"/>
                    </a:lnTo>
                    <a:lnTo>
                      <a:pt x="255" y="513"/>
                    </a:lnTo>
                    <a:lnTo>
                      <a:pt x="254" y="513"/>
                    </a:lnTo>
                    <a:lnTo>
                      <a:pt x="252" y="513"/>
                    </a:lnTo>
                    <a:lnTo>
                      <a:pt x="250" y="513"/>
                    </a:lnTo>
                    <a:lnTo>
                      <a:pt x="249" y="513"/>
                    </a:lnTo>
                    <a:lnTo>
                      <a:pt x="249" y="515"/>
                    </a:lnTo>
                    <a:lnTo>
                      <a:pt x="247" y="515"/>
                    </a:lnTo>
                    <a:lnTo>
                      <a:pt x="247" y="517"/>
                    </a:lnTo>
                    <a:lnTo>
                      <a:pt x="245" y="517"/>
                    </a:lnTo>
                    <a:lnTo>
                      <a:pt x="244" y="519"/>
                    </a:lnTo>
                    <a:lnTo>
                      <a:pt x="242" y="519"/>
                    </a:lnTo>
                    <a:lnTo>
                      <a:pt x="242" y="520"/>
                    </a:lnTo>
                    <a:lnTo>
                      <a:pt x="240" y="520"/>
                    </a:lnTo>
                    <a:lnTo>
                      <a:pt x="240" y="522"/>
                    </a:lnTo>
                    <a:lnTo>
                      <a:pt x="238" y="522"/>
                    </a:lnTo>
                    <a:lnTo>
                      <a:pt x="240" y="522"/>
                    </a:lnTo>
                    <a:lnTo>
                      <a:pt x="238" y="522"/>
                    </a:lnTo>
                    <a:lnTo>
                      <a:pt x="238" y="524"/>
                    </a:lnTo>
                    <a:lnTo>
                      <a:pt x="237" y="524"/>
                    </a:lnTo>
                    <a:lnTo>
                      <a:pt x="237" y="525"/>
                    </a:lnTo>
                    <a:lnTo>
                      <a:pt x="235" y="527"/>
                    </a:lnTo>
                    <a:lnTo>
                      <a:pt x="233" y="527"/>
                    </a:lnTo>
                    <a:lnTo>
                      <a:pt x="232" y="527"/>
                    </a:lnTo>
                    <a:lnTo>
                      <a:pt x="232" y="529"/>
                    </a:lnTo>
                    <a:lnTo>
                      <a:pt x="230" y="529"/>
                    </a:lnTo>
                    <a:lnTo>
                      <a:pt x="228" y="529"/>
                    </a:lnTo>
                    <a:lnTo>
                      <a:pt x="227" y="529"/>
                    </a:lnTo>
                    <a:lnTo>
                      <a:pt x="225" y="529"/>
                    </a:lnTo>
                    <a:lnTo>
                      <a:pt x="227" y="529"/>
                    </a:lnTo>
                    <a:lnTo>
                      <a:pt x="227" y="530"/>
                    </a:lnTo>
                    <a:lnTo>
                      <a:pt x="225" y="530"/>
                    </a:lnTo>
                    <a:lnTo>
                      <a:pt x="223" y="530"/>
                    </a:lnTo>
                    <a:lnTo>
                      <a:pt x="221" y="530"/>
                    </a:lnTo>
                    <a:lnTo>
                      <a:pt x="223" y="530"/>
                    </a:lnTo>
                    <a:lnTo>
                      <a:pt x="223" y="532"/>
                    </a:lnTo>
                    <a:lnTo>
                      <a:pt x="221" y="532"/>
                    </a:lnTo>
                    <a:lnTo>
                      <a:pt x="221" y="534"/>
                    </a:lnTo>
                    <a:lnTo>
                      <a:pt x="221" y="532"/>
                    </a:lnTo>
                    <a:lnTo>
                      <a:pt x="220" y="534"/>
                    </a:lnTo>
                    <a:lnTo>
                      <a:pt x="218" y="534"/>
                    </a:lnTo>
                    <a:lnTo>
                      <a:pt x="216" y="536"/>
                    </a:lnTo>
                    <a:lnTo>
                      <a:pt x="216" y="537"/>
                    </a:lnTo>
                    <a:lnTo>
                      <a:pt x="215" y="537"/>
                    </a:lnTo>
                    <a:lnTo>
                      <a:pt x="215" y="539"/>
                    </a:lnTo>
                    <a:lnTo>
                      <a:pt x="213" y="537"/>
                    </a:lnTo>
                    <a:lnTo>
                      <a:pt x="213" y="539"/>
                    </a:lnTo>
                    <a:lnTo>
                      <a:pt x="213" y="541"/>
                    </a:lnTo>
                    <a:lnTo>
                      <a:pt x="213" y="542"/>
                    </a:lnTo>
                    <a:lnTo>
                      <a:pt x="211" y="542"/>
                    </a:lnTo>
                    <a:lnTo>
                      <a:pt x="211" y="541"/>
                    </a:lnTo>
                    <a:lnTo>
                      <a:pt x="210" y="541"/>
                    </a:lnTo>
                    <a:lnTo>
                      <a:pt x="208" y="539"/>
                    </a:lnTo>
                    <a:lnTo>
                      <a:pt x="206" y="539"/>
                    </a:lnTo>
                    <a:lnTo>
                      <a:pt x="204" y="541"/>
                    </a:lnTo>
                    <a:lnTo>
                      <a:pt x="204" y="539"/>
                    </a:lnTo>
                    <a:lnTo>
                      <a:pt x="203" y="541"/>
                    </a:lnTo>
                    <a:lnTo>
                      <a:pt x="203" y="539"/>
                    </a:lnTo>
                    <a:lnTo>
                      <a:pt x="201" y="541"/>
                    </a:lnTo>
                    <a:lnTo>
                      <a:pt x="199" y="541"/>
                    </a:lnTo>
                    <a:lnTo>
                      <a:pt x="199" y="542"/>
                    </a:lnTo>
                    <a:lnTo>
                      <a:pt x="199" y="544"/>
                    </a:lnTo>
                    <a:lnTo>
                      <a:pt x="198" y="544"/>
                    </a:lnTo>
                    <a:lnTo>
                      <a:pt x="198" y="546"/>
                    </a:lnTo>
                    <a:lnTo>
                      <a:pt x="196" y="547"/>
                    </a:lnTo>
                    <a:lnTo>
                      <a:pt x="196" y="549"/>
                    </a:lnTo>
                    <a:lnTo>
                      <a:pt x="194" y="549"/>
                    </a:lnTo>
                    <a:lnTo>
                      <a:pt x="194" y="551"/>
                    </a:lnTo>
                    <a:lnTo>
                      <a:pt x="193" y="551"/>
                    </a:lnTo>
                    <a:lnTo>
                      <a:pt x="193" y="553"/>
                    </a:lnTo>
                    <a:lnTo>
                      <a:pt x="191" y="553"/>
                    </a:lnTo>
                    <a:lnTo>
                      <a:pt x="189" y="553"/>
                    </a:lnTo>
                    <a:lnTo>
                      <a:pt x="189" y="554"/>
                    </a:lnTo>
                    <a:lnTo>
                      <a:pt x="189" y="553"/>
                    </a:lnTo>
                    <a:lnTo>
                      <a:pt x="187" y="553"/>
                    </a:lnTo>
                    <a:lnTo>
                      <a:pt x="187" y="554"/>
                    </a:lnTo>
                    <a:lnTo>
                      <a:pt x="186" y="553"/>
                    </a:lnTo>
                    <a:lnTo>
                      <a:pt x="186" y="554"/>
                    </a:lnTo>
                    <a:lnTo>
                      <a:pt x="184" y="554"/>
                    </a:lnTo>
                    <a:lnTo>
                      <a:pt x="184" y="556"/>
                    </a:lnTo>
                    <a:lnTo>
                      <a:pt x="179" y="558"/>
                    </a:lnTo>
                    <a:lnTo>
                      <a:pt x="179" y="556"/>
                    </a:lnTo>
                    <a:lnTo>
                      <a:pt x="177" y="554"/>
                    </a:lnTo>
                    <a:lnTo>
                      <a:pt x="177" y="553"/>
                    </a:lnTo>
                    <a:lnTo>
                      <a:pt x="177" y="551"/>
                    </a:lnTo>
                    <a:lnTo>
                      <a:pt x="176" y="553"/>
                    </a:lnTo>
                    <a:lnTo>
                      <a:pt x="176" y="551"/>
                    </a:lnTo>
                    <a:lnTo>
                      <a:pt x="176" y="553"/>
                    </a:lnTo>
                    <a:lnTo>
                      <a:pt x="174" y="551"/>
                    </a:lnTo>
                    <a:lnTo>
                      <a:pt x="174" y="553"/>
                    </a:lnTo>
                    <a:lnTo>
                      <a:pt x="172" y="553"/>
                    </a:lnTo>
                    <a:lnTo>
                      <a:pt x="174" y="553"/>
                    </a:lnTo>
                    <a:lnTo>
                      <a:pt x="172" y="553"/>
                    </a:lnTo>
                    <a:lnTo>
                      <a:pt x="170" y="553"/>
                    </a:lnTo>
                    <a:lnTo>
                      <a:pt x="170" y="551"/>
                    </a:lnTo>
                    <a:lnTo>
                      <a:pt x="169" y="551"/>
                    </a:lnTo>
                    <a:lnTo>
                      <a:pt x="169" y="553"/>
                    </a:lnTo>
                    <a:lnTo>
                      <a:pt x="169" y="551"/>
                    </a:lnTo>
                    <a:lnTo>
                      <a:pt x="167" y="551"/>
                    </a:lnTo>
                    <a:lnTo>
                      <a:pt x="165" y="551"/>
                    </a:lnTo>
                    <a:lnTo>
                      <a:pt x="164" y="551"/>
                    </a:lnTo>
                    <a:lnTo>
                      <a:pt x="162" y="549"/>
                    </a:lnTo>
                    <a:lnTo>
                      <a:pt x="162" y="551"/>
                    </a:lnTo>
                    <a:lnTo>
                      <a:pt x="162" y="549"/>
                    </a:lnTo>
                    <a:lnTo>
                      <a:pt x="160" y="549"/>
                    </a:lnTo>
                    <a:lnTo>
                      <a:pt x="160" y="551"/>
                    </a:lnTo>
                    <a:lnTo>
                      <a:pt x="160" y="549"/>
                    </a:lnTo>
                    <a:lnTo>
                      <a:pt x="159" y="549"/>
                    </a:lnTo>
                    <a:lnTo>
                      <a:pt x="157" y="551"/>
                    </a:lnTo>
                    <a:lnTo>
                      <a:pt x="157" y="549"/>
                    </a:lnTo>
                    <a:lnTo>
                      <a:pt x="157" y="551"/>
                    </a:lnTo>
                    <a:lnTo>
                      <a:pt x="155" y="549"/>
                    </a:lnTo>
                    <a:lnTo>
                      <a:pt x="153" y="549"/>
                    </a:lnTo>
                    <a:lnTo>
                      <a:pt x="153" y="551"/>
                    </a:lnTo>
                    <a:lnTo>
                      <a:pt x="152" y="549"/>
                    </a:lnTo>
                    <a:lnTo>
                      <a:pt x="150" y="549"/>
                    </a:lnTo>
                    <a:lnTo>
                      <a:pt x="150" y="551"/>
                    </a:lnTo>
                    <a:lnTo>
                      <a:pt x="150" y="549"/>
                    </a:lnTo>
                    <a:close/>
                    <a:moveTo>
                      <a:pt x="1401" y="308"/>
                    </a:moveTo>
                    <a:lnTo>
                      <a:pt x="1405" y="308"/>
                    </a:lnTo>
                    <a:lnTo>
                      <a:pt x="1405" y="309"/>
                    </a:lnTo>
                    <a:lnTo>
                      <a:pt x="1401" y="309"/>
                    </a:lnTo>
                    <a:lnTo>
                      <a:pt x="1401" y="308"/>
                    </a:lnTo>
                    <a:close/>
                    <a:moveTo>
                      <a:pt x="847" y="234"/>
                    </a:moveTo>
                    <a:lnTo>
                      <a:pt x="849" y="234"/>
                    </a:lnTo>
                    <a:lnTo>
                      <a:pt x="849" y="236"/>
                    </a:lnTo>
                    <a:lnTo>
                      <a:pt x="847" y="236"/>
                    </a:lnTo>
                    <a:lnTo>
                      <a:pt x="847" y="234"/>
                    </a:lnTo>
                    <a:close/>
                    <a:moveTo>
                      <a:pt x="847" y="231"/>
                    </a:moveTo>
                    <a:lnTo>
                      <a:pt x="849" y="231"/>
                    </a:lnTo>
                    <a:lnTo>
                      <a:pt x="847" y="231"/>
                    </a:lnTo>
                    <a:close/>
                    <a:moveTo>
                      <a:pt x="859" y="223"/>
                    </a:moveTo>
                    <a:lnTo>
                      <a:pt x="861" y="223"/>
                    </a:lnTo>
                    <a:lnTo>
                      <a:pt x="861" y="224"/>
                    </a:lnTo>
                    <a:lnTo>
                      <a:pt x="859" y="224"/>
                    </a:lnTo>
                    <a:lnTo>
                      <a:pt x="859" y="223"/>
                    </a:lnTo>
                    <a:close/>
                    <a:moveTo>
                      <a:pt x="859" y="221"/>
                    </a:moveTo>
                    <a:lnTo>
                      <a:pt x="861" y="221"/>
                    </a:lnTo>
                    <a:lnTo>
                      <a:pt x="861" y="223"/>
                    </a:lnTo>
                    <a:lnTo>
                      <a:pt x="859" y="223"/>
                    </a:lnTo>
                    <a:lnTo>
                      <a:pt x="859" y="221"/>
                    </a:lnTo>
                    <a:close/>
                    <a:moveTo>
                      <a:pt x="859" y="221"/>
                    </a:moveTo>
                    <a:lnTo>
                      <a:pt x="861" y="221"/>
                    </a:lnTo>
                    <a:lnTo>
                      <a:pt x="861" y="223"/>
                    </a:lnTo>
                    <a:lnTo>
                      <a:pt x="859" y="223"/>
                    </a:lnTo>
                    <a:lnTo>
                      <a:pt x="859" y="221"/>
                    </a:lnTo>
                    <a:close/>
                    <a:moveTo>
                      <a:pt x="861" y="219"/>
                    </a:moveTo>
                    <a:lnTo>
                      <a:pt x="861" y="221"/>
                    </a:lnTo>
                    <a:lnTo>
                      <a:pt x="861" y="219"/>
                    </a:lnTo>
                    <a:close/>
                    <a:moveTo>
                      <a:pt x="859" y="219"/>
                    </a:moveTo>
                    <a:lnTo>
                      <a:pt x="861" y="219"/>
                    </a:lnTo>
                    <a:lnTo>
                      <a:pt x="861" y="221"/>
                    </a:lnTo>
                    <a:lnTo>
                      <a:pt x="859" y="221"/>
                    </a:lnTo>
                    <a:lnTo>
                      <a:pt x="859" y="219"/>
                    </a:lnTo>
                    <a:close/>
                    <a:moveTo>
                      <a:pt x="930" y="209"/>
                    </a:moveTo>
                    <a:lnTo>
                      <a:pt x="932" y="209"/>
                    </a:lnTo>
                    <a:lnTo>
                      <a:pt x="932" y="211"/>
                    </a:lnTo>
                    <a:lnTo>
                      <a:pt x="930" y="211"/>
                    </a:lnTo>
                    <a:lnTo>
                      <a:pt x="930" y="209"/>
                    </a:lnTo>
                    <a:close/>
                    <a:moveTo>
                      <a:pt x="934" y="209"/>
                    </a:moveTo>
                    <a:lnTo>
                      <a:pt x="935" y="209"/>
                    </a:lnTo>
                    <a:lnTo>
                      <a:pt x="935" y="212"/>
                    </a:lnTo>
                    <a:lnTo>
                      <a:pt x="934" y="212"/>
                    </a:lnTo>
                    <a:lnTo>
                      <a:pt x="934" y="209"/>
                    </a:lnTo>
                    <a:close/>
                    <a:moveTo>
                      <a:pt x="920" y="204"/>
                    </a:moveTo>
                    <a:lnTo>
                      <a:pt x="922" y="204"/>
                    </a:lnTo>
                    <a:lnTo>
                      <a:pt x="920" y="204"/>
                    </a:lnTo>
                    <a:close/>
                    <a:moveTo>
                      <a:pt x="896" y="202"/>
                    </a:moveTo>
                    <a:lnTo>
                      <a:pt x="896" y="204"/>
                    </a:lnTo>
                    <a:lnTo>
                      <a:pt x="896" y="202"/>
                    </a:lnTo>
                    <a:close/>
                    <a:moveTo>
                      <a:pt x="878" y="200"/>
                    </a:moveTo>
                    <a:lnTo>
                      <a:pt x="878" y="202"/>
                    </a:lnTo>
                    <a:lnTo>
                      <a:pt x="878" y="200"/>
                    </a:lnTo>
                    <a:close/>
                    <a:moveTo>
                      <a:pt x="878" y="200"/>
                    </a:moveTo>
                    <a:lnTo>
                      <a:pt x="879" y="200"/>
                    </a:lnTo>
                    <a:lnTo>
                      <a:pt x="878" y="200"/>
                    </a:lnTo>
                    <a:close/>
                    <a:moveTo>
                      <a:pt x="883" y="199"/>
                    </a:moveTo>
                    <a:lnTo>
                      <a:pt x="884" y="199"/>
                    </a:lnTo>
                    <a:lnTo>
                      <a:pt x="884" y="200"/>
                    </a:lnTo>
                    <a:lnTo>
                      <a:pt x="883" y="200"/>
                    </a:lnTo>
                    <a:lnTo>
                      <a:pt x="883" y="199"/>
                    </a:lnTo>
                    <a:close/>
                    <a:moveTo>
                      <a:pt x="884" y="197"/>
                    </a:moveTo>
                    <a:lnTo>
                      <a:pt x="884" y="199"/>
                    </a:lnTo>
                    <a:lnTo>
                      <a:pt x="884" y="197"/>
                    </a:lnTo>
                    <a:close/>
                    <a:moveTo>
                      <a:pt x="784" y="190"/>
                    </a:moveTo>
                    <a:lnTo>
                      <a:pt x="782" y="190"/>
                    </a:lnTo>
                    <a:lnTo>
                      <a:pt x="781" y="190"/>
                    </a:lnTo>
                    <a:lnTo>
                      <a:pt x="779" y="190"/>
                    </a:lnTo>
                    <a:lnTo>
                      <a:pt x="779" y="189"/>
                    </a:lnTo>
                    <a:lnTo>
                      <a:pt x="781" y="189"/>
                    </a:lnTo>
                    <a:lnTo>
                      <a:pt x="782" y="187"/>
                    </a:lnTo>
                    <a:lnTo>
                      <a:pt x="784" y="187"/>
                    </a:lnTo>
                    <a:lnTo>
                      <a:pt x="784" y="185"/>
                    </a:lnTo>
                    <a:lnTo>
                      <a:pt x="784" y="187"/>
                    </a:lnTo>
                    <a:lnTo>
                      <a:pt x="784" y="189"/>
                    </a:lnTo>
                    <a:lnTo>
                      <a:pt x="784" y="190"/>
                    </a:lnTo>
                    <a:close/>
                    <a:moveTo>
                      <a:pt x="844" y="183"/>
                    </a:moveTo>
                    <a:lnTo>
                      <a:pt x="845" y="183"/>
                    </a:lnTo>
                    <a:lnTo>
                      <a:pt x="844" y="183"/>
                    </a:lnTo>
                    <a:close/>
                    <a:moveTo>
                      <a:pt x="793" y="183"/>
                    </a:moveTo>
                    <a:lnTo>
                      <a:pt x="794" y="183"/>
                    </a:lnTo>
                    <a:lnTo>
                      <a:pt x="793" y="183"/>
                    </a:lnTo>
                    <a:close/>
                    <a:moveTo>
                      <a:pt x="845" y="183"/>
                    </a:moveTo>
                    <a:lnTo>
                      <a:pt x="849" y="183"/>
                    </a:lnTo>
                    <a:lnTo>
                      <a:pt x="849" y="185"/>
                    </a:lnTo>
                    <a:lnTo>
                      <a:pt x="845" y="185"/>
                    </a:lnTo>
                    <a:lnTo>
                      <a:pt x="845" y="183"/>
                    </a:lnTo>
                    <a:close/>
                    <a:moveTo>
                      <a:pt x="839" y="182"/>
                    </a:moveTo>
                    <a:lnTo>
                      <a:pt x="840" y="182"/>
                    </a:lnTo>
                    <a:lnTo>
                      <a:pt x="840" y="183"/>
                    </a:lnTo>
                    <a:lnTo>
                      <a:pt x="839" y="183"/>
                    </a:lnTo>
                    <a:lnTo>
                      <a:pt x="839" y="182"/>
                    </a:lnTo>
                    <a:close/>
                    <a:moveTo>
                      <a:pt x="796" y="178"/>
                    </a:moveTo>
                    <a:lnTo>
                      <a:pt x="798" y="178"/>
                    </a:lnTo>
                    <a:lnTo>
                      <a:pt x="798" y="180"/>
                    </a:lnTo>
                    <a:lnTo>
                      <a:pt x="796" y="180"/>
                    </a:lnTo>
                    <a:lnTo>
                      <a:pt x="796" y="178"/>
                    </a:lnTo>
                    <a:close/>
                    <a:moveTo>
                      <a:pt x="789" y="178"/>
                    </a:moveTo>
                    <a:lnTo>
                      <a:pt x="791" y="178"/>
                    </a:lnTo>
                    <a:lnTo>
                      <a:pt x="791" y="180"/>
                    </a:lnTo>
                    <a:lnTo>
                      <a:pt x="789" y="180"/>
                    </a:lnTo>
                    <a:lnTo>
                      <a:pt x="789" y="178"/>
                    </a:lnTo>
                    <a:close/>
                    <a:moveTo>
                      <a:pt x="788" y="178"/>
                    </a:moveTo>
                    <a:lnTo>
                      <a:pt x="789" y="178"/>
                    </a:lnTo>
                    <a:lnTo>
                      <a:pt x="789" y="180"/>
                    </a:lnTo>
                    <a:lnTo>
                      <a:pt x="788" y="180"/>
                    </a:lnTo>
                    <a:lnTo>
                      <a:pt x="788" y="178"/>
                    </a:lnTo>
                    <a:close/>
                    <a:moveTo>
                      <a:pt x="789" y="178"/>
                    </a:moveTo>
                    <a:lnTo>
                      <a:pt x="791" y="178"/>
                    </a:lnTo>
                    <a:lnTo>
                      <a:pt x="789" y="178"/>
                    </a:lnTo>
                    <a:close/>
                    <a:moveTo>
                      <a:pt x="786" y="177"/>
                    </a:moveTo>
                    <a:lnTo>
                      <a:pt x="788" y="177"/>
                    </a:lnTo>
                    <a:lnTo>
                      <a:pt x="788" y="178"/>
                    </a:lnTo>
                    <a:lnTo>
                      <a:pt x="786" y="178"/>
                    </a:lnTo>
                    <a:lnTo>
                      <a:pt x="786" y="177"/>
                    </a:lnTo>
                    <a:close/>
                    <a:moveTo>
                      <a:pt x="779" y="177"/>
                    </a:moveTo>
                    <a:lnTo>
                      <a:pt x="781" y="177"/>
                    </a:lnTo>
                    <a:lnTo>
                      <a:pt x="779" y="177"/>
                    </a:lnTo>
                    <a:close/>
                    <a:moveTo>
                      <a:pt x="784" y="177"/>
                    </a:moveTo>
                    <a:lnTo>
                      <a:pt x="786" y="177"/>
                    </a:lnTo>
                    <a:lnTo>
                      <a:pt x="786" y="178"/>
                    </a:lnTo>
                    <a:lnTo>
                      <a:pt x="784" y="178"/>
                    </a:lnTo>
                    <a:lnTo>
                      <a:pt x="782" y="178"/>
                    </a:lnTo>
                    <a:lnTo>
                      <a:pt x="781" y="178"/>
                    </a:lnTo>
                    <a:lnTo>
                      <a:pt x="779" y="178"/>
                    </a:lnTo>
                    <a:lnTo>
                      <a:pt x="779" y="180"/>
                    </a:lnTo>
                    <a:lnTo>
                      <a:pt x="779" y="178"/>
                    </a:lnTo>
                    <a:lnTo>
                      <a:pt x="777" y="180"/>
                    </a:lnTo>
                    <a:lnTo>
                      <a:pt x="777" y="178"/>
                    </a:lnTo>
                    <a:lnTo>
                      <a:pt x="779" y="178"/>
                    </a:lnTo>
                    <a:lnTo>
                      <a:pt x="781" y="178"/>
                    </a:lnTo>
                    <a:lnTo>
                      <a:pt x="781" y="177"/>
                    </a:lnTo>
                    <a:lnTo>
                      <a:pt x="782" y="177"/>
                    </a:lnTo>
                    <a:lnTo>
                      <a:pt x="784" y="177"/>
                    </a:lnTo>
                    <a:close/>
                    <a:moveTo>
                      <a:pt x="825" y="175"/>
                    </a:moveTo>
                    <a:lnTo>
                      <a:pt x="827" y="175"/>
                    </a:lnTo>
                    <a:lnTo>
                      <a:pt x="828" y="175"/>
                    </a:lnTo>
                    <a:lnTo>
                      <a:pt x="830" y="175"/>
                    </a:lnTo>
                    <a:lnTo>
                      <a:pt x="830" y="177"/>
                    </a:lnTo>
                    <a:lnTo>
                      <a:pt x="832" y="177"/>
                    </a:lnTo>
                    <a:lnTo>
                      <a:pt x="830" y="177"/>
                    </a:lnTo>
                    <a:lnTo>
                      <a:pt x="832" y="177"/>
                    </a:lnTo>
                    <a:lnTo>
                      <a:pt x="832" y="178"/>
                    </a:lnTo>
                    <a:lnTo>
                      <a:pt x="832" y="180"/>
                    </a:lnTo>
                    <a:lnTo>
                      <a:pt x="830" y="180"/>
                    </a:lnTo>
                    <a:lnTo>
                      <a:pt x="828" y="182"/>
                    </a:lnTo>
                    <a:lnTo>
                      <a:pt x="827" y="182"/>
                    </a:lnTo>
                    <a:lnTo>
                      <a:pt x="825" y="182"/>
                    </a:lnTo>
                    <a:lnTo>
                      <a:pt x="823" y="182"/>
                    </a:lnTo>
                    <a:lnTo>
                      <a:pt x="822" y="182"/>
                    </a:lnTo>
                    <a:lnTo>
                      <a:pt x="822" y="183"/>
                    </a:lnTo>
                    <a:lnTo>
                      <a:pt x="820" y="182"/>
                    </a:lnTo>
                    <a:lnTo>
                      <a:pt x="818" y="182"/>
                    </a:lnTo>
                    <a:lnTo>
                      <a:pt x="816" y="182"/>
                    </a:lnTo>
                    <a:lnTo>
                      <a:pt x="816" y="180"/>
                    </a:lnTo>
                    <a:lnTo>
                      <a:pt x="816" y="178"/>
                    </a:lnTo>
                    <a:lnTo>
                      <a:pt x="818" y="178"/>
                    </a:lnTo>
                    <a:lnTo>
                      <a:pt x="820" y="178"/>
                    </a:lnTo>
                    <a:lnTo>
                      <a:pt x="820" y="177"/>
                    </a:lnTo>
                    <a:lnTo>
                      <a:pt x="822" y="177"/>
                    </a:lnTo>
                    <a:lnTo>
                      <a:pt x="823" y="175"/>
                    </a:lnTo>
                    <a:lnTo>
                      <a:pt x="825" y="175"/>
                    </a:lnTo>
                    <a:close/>
                    <a:moveTo>
                      <a:pt x="827" y="173"/>
                    </a:moveTo>
                    <a:lnTo>
                      <a:pt x="828" y="173"/>
                    </a:lnTo>
                    <a:lnTo>
                      <a:pt x="828" y="175"/>
                    </a:lnTo>
                    <a:lnTo>
                      <a:pt x="827" y="175"/>
                    </a:lnTo>
                    <a:lnTo>
                      <a:pt x="827" y="173"/>
                    </a:lnTo>
                    <a:close/>
                    <a:moveTo>
                      <a:pt x="818" y="173"/>
                    </a:moveTo>
                    <a:lnTo>
                      <a:pt x="820" y="173"/>
                    </a:lnTo>
                    <a:lnTo>
                      <a:pt x="820" y="175"/>
                    </a:lnTo>
                    <a:lnTo>
                      <a:pt x="818" y="175"/>
                    </a:lnTo>
                    <a:lnTo>
                      <a:pt x="818" y="173"/>
                    </a:lnTo>
                    <a:close/>
                    <a:moveTo>
                      <a:pt x="791" y="172"/>
                    </a:moveTo>
                    <a:lnTo>
                      <a:pt x="793" y="172"/>
                    </a:lnTo>
                    <a:lnTo>
                      <a:pt x="794" y="173"/>
                    </a:lnTo>
                    <a:lnTo>
                      <a:pt x="796" y="173"/>
                    </a:lnTo>
                    <a:lnTo>
                      <a:pt x="794" y="175"/>
                    </a:lnTo>
                    <a:lnTo>
                      <a:pt x="796" y="175"/>
                    </a:lnTo>
                    <a:lnTo>
                      <a:pt x="796" y="177"/>
                    </a:lnTo>
                    <a:lnTo>
                      <a:pt x="796" y="178"/>
                    </a:lnTo>
                    <a:lnTo>
                      <a:pt x="794" y="178"/>
                    </a:lnTo>
                    <a:lnTo>
                      <a:pt x="793" y="178"/>
                    </a:lnTo>
                    <a:lnTo>
                      <a:pt x="791" y="177"/>
                    </a:lnTo>
                    <a:lnTo>
                      <a:pt x="789" y="177"/>
                    </a:lnTo>
                    <a:lnTo>
                      <a:pt x="789" y="175"/>
                    </a:lnTo>
                    <a:lnTo>
                      <a:pt x="788" y="175"/>
                    </a:lnTo>
                    <a:lnTo>
                      <a:pt x="788" y="173"/>
                    </a:lnTo>
                    <a:lnTo>
                      <a:pt x="788" y="172"/>
                    </a:lnTo>
                    <a:lnTo>
                      <a:pt x="789" y="172"/>
                    </a:lnTo>
                    <a:lnTo>
                      <a:pt x="791" y="172"/>
                    </a:lnTo>
                    <a:close/>
                    <a:moveTo>
                      <a:pt x="788" y="172"/>
                    </a:moveTo>
                    <a:lnTo>
                      <a:pt x="789" y="172"/>
                    </a:lnTo>
                    <a:lnTo>
                      <a:pt x="788" y="172"/>
                    </a:lnTo>
                    <a:close/>
                    <a:moveTo>
                      <a:pt x="822" y="172"/>
                    </a:moveTo>
                    <a:lnTo>
                      <a:pt x="823" y="172"/>
                    </a:lnTo>
                    <a:lnTo>
                      <a:pt x="823" y="173"/>
                    </a:lnTo>
                    <a:lnTo>
                      <a:pt x="822" y="173"/>
                    </a:lnTo>
                    <a:lnTo>
                      <a:pt x="822" y="172"/>
                    </a:lnTo>
                    <a:close/>
                    <a:moveTo>
                      <a:pt x="789" y="172"/>
                    </a:moveTo>
                    <a:lnTo>
                      <a:pt x="791" y="172"/>
                    </a:lnTo>
                    <a:lnTo>
                      <a:pt x="789" y="172"/>
                    </a:lnTo>
                    <a:close/>
                    <a:moveTo>
                      <a:pt x="823" y="170"/>
                    </a:moveTo>
                    <a:lnTo>
                      <a:pt x="825" y="170"/>
                    </a:lnTo>
                    <a:lnTo>
                      <a:pt x="825" y="172"/>
                    </a:lnTo>
                    <a:lnTo>
                      <a:pt x="823" y="172"/>
                    </a:lnTo>
                    <a:lnTo>
                      <a:pt x="823" y="170"/>
                    </a:lnTo>
                    <a:close/>
                    <a:moveTo>
                      <a:pt x="806" y="168"/>
                    </a:moveTo>
                    <a:lnTo>
                      <a:pt x="806" y="170"/>
                    </a:lnTo>
                    <a:lnTo>
                      <a:pt x="805" y="170"/>
                    </a:lnTo>
                    <a:lnTo>
                      <a:pt x="803" y="170"/>
                    </a:lnTo>
                    <a:lnTo>
                      <a:pt x="803" y="168"/>
                    </a:lnTo>
                    <a:lnTo>
                      <a:pt x="805" y="168"/>
                    </a:lnTo>
                    <a:lnTo>
                      <a:pt x="805" y="166"/>
                    </a:lnTo>
                    <a:lnTo>
                      <a:pt x="806" y="166"/>
                    </a:lnTo>
                    <a:lnTo>
                      <a:pt x="808" y="166"/>
                    </a:lnTo>
                    <a:lnTo>
                      <a:pt x="808" y="168"/>
                    </a:lnTo>
                    <a:lnTo>
                      <a:pt x="806" y="168"/>
                    </a:lnTo>
                    <a:close/>
                    <a:moveTo>
                      <a:pt x="825" y="165"/>
                    </a:moveTo>
                    <a:lnTo>
                      <a:pt x="825" y="166"/>
                    </a:lnTo>
                    <a:lnTo>
                      <a:pt x="827" y="166"/>
                    </a:lnTo>
                    <a:lnTo>
                      <a:pt x="825" y="166"/>
                    </a:lnTo>
                    <a:lnTo>
                      <a:pt x="825" y="168"/>
                    </a:lnTo>
                    <a:lnTo>
                      <a:pt x="823" y="168"/>
                    </a:lnTo>
                    <a:lnTo>
                      <a:pt x="823" y="170"/>
                    </a:lnTo>
                    <a:lnTo>
                      <a:pt x="822" y="170"/>
                    </a:lnTo>
                    <a:lnTo>
                      <a:pt x="822" y="172"/>
                    </a:lnTo>
                    <a:lnTo>
                      <a:pt x="820" y="172"/>
                    </a:lnTo>
                    <a:lnTo>
                      <a:pt x="820" y="173"/>
                    </a:lnTo>
                    <a:lnTo>
                      <a:pt x="818" y="173"/>
                    </a:lnTo>
                    <a:lnTo>
                      <a:pt x="818" y="175"/>
                    </a:lnTo>
                    <a:lnTo>
                      <a:pt x="816" y="175"/>
                    </a:lnTo>
                    <a:lnTo>
                      <a:pt x="816" y="177"/>
                    </a:lnTo>
                    <a:lnTo>
                      <a:pt x="815" y="177"/>
                    </a:lnTo>
                    <a:lnTo>
                      <a:pt x="815" y="178"/>
                    </a:lnTo>
                    <a:lnTo>
                      <a:pt x="813" y="178"/>
                    </a:lnTo>
                    <a:lnTo>
                      <a:pt x="811" y="178"/>
                    </a:lnTo>
                    <a:lnTo>
                      <a:pt x="811" y="180"/>
                    </a:lnTo>
                    <a:lnTo>
                      <a:pt x="810" y="180"/>
                    </a:lnTo>
                    <a:lnTo>
                      <a:pt x="810" y="178"/>
                    </a:lnTo>
                    <a:lnTo>
                      <a:pt x="808" y="177"/>
                    </a:lnTo>
                    <a:lnTo>
                      <a:pt x="806" y="177"/>
                    </a:lnTo>
                    <a:lnTo>
                      <a:pt x="805" y="177"/>
                    </a:lnTo>
                    <a:lnTo>
                      <a:pt x="803" y="177"/>
                    </a:lnTo>
                    <a:lnTo>
                      <a:pt x="801" y="177"/>
                    </a:lnTo>
                    <a:lnTo>
                      <a:pt x="799" y="177"/>
                    </a:lnTo>
                    <a:lnTo>
                      <a:pt x="798" y="177"/>
                    </a:lnTo>
                    <a:lnTo>
                      <a:pt x="798" y="175"/>
                    </a:lnTo>
                    <a:lnTo>
                      <a:pt x="798" y="173"/>
                    </a:lnTo>
                    <a:lnTo>
                      <a:pt x="796" y="173"/>
                    </a:lnTo>
                    <a:lnTo>
                      <a:pt x="796" y="172"/>
                    </a:lnTo>
                    <a:lnTo>
                      <a:pt x="798" y="172"/>
                    </a:lnTo>
                    <a:lnTo>
                      <a:pt x="799" y="172"/>
                    </a:lnTo>
                    <a:lnTo>
                      <a:pt x="799" y="170"/>
                    </a:lnTo>
                    <a:lnTo>
                      <a:pt x="801" y="170"/>
                    </a:lnTo>
                    <a:lnTo>
                      <a:pt x="803" y="170"/>
                    </a:lnTo>
                    <a:lnTo>
                      <a:pt x="805" y="170"/>
                    </a:lnTo>
                    <a:lnTo>
                      <a:pt x="806" y="170"/>
                    </a:lnTo>
                    <a:lnTo>
                      <a:pt x="808" y="170"/>
                    </a:lnTo>
                    <a:lnTo>
                      <a:pt x="808" y="168"/>
                    </a:lnTo>
                    <a:lnTo>
                      <a:pt x="808" y="166"/>
                    </a:lnTo>
                    <a:lnTo>
                      <a:pt x="810" y="166"/>
                    </a:lnTo>
                    <a:lnTo>
                      <a:pt x="810" y="168"/>
                    </a:lnTo>
                    <a:lnTo>
                      <a:pt x="810" y="166"/>
                    </a:lnTo>
                    <a:lnTo>
                      <a:pt x="810" y="168"/>
                    </a:lnTo>
                    <a:lnTo>
                      <a:pt x="810" y="166"/>
                    </a:lnTo>
                    <a:lnTo>
                      <a:pt x="811" y="166"/>
                    </a:lnTo>
                    <a:lnTo>
                      <a:pt x="811" y="168"/>
                    </a:lnTo>
                    <a:lnTo>
                      <a:pt x="813" y="168"/>
                    </a:lnTo>
                    <a:lnTo>
                      <a:pt x="815" y="168"/>
                    </a:lnTo>
                    <a:lnTo>
                      <a:pt x="816" y="168"/>
                    </a:lnTo>
                    <a:lnTo>
                      <a:pt x="816" y="166"/>
                    </a:lnTo>
                    <a:lnTo>
                      <a:pt x="818" y="166"/>
                    </a:lnTo>
                    <a:lnTo>
                      <a:pt x="820" y="166"/>
                    </a:lnTo>
                    <a:lnTo>
                      <a:pt x="820" y="165"/>
                    </a:lnTo>
                    <a:lnTo>
                      <a:pt x="822" y="165"/>
                    </a:lnTo>
                    <a:lnTo>
                      <a:pt x="822" y="166"/>
                    </a:lnTo>
                    <a:lnTo>
                      <a:pt x="822" y="165"/>
                    </a:lnTo>
                    <a:lnTo>
                      <a:pt x="823" y="165"/>
                    </a:lnTo>
                    <a:lnTo>
                      <a:pt x="825" y="165"/>
                    </a:lnTo>
                    <a:close/>
                    <a:moveTo>
                      <a:pt x="803" y="156"/>
                    </a:moveTo>
                    <a:lnTo>
                      <a:pt x="805" y="156"/>
                    </a:lnTo>
                    <a:lnTo>
                      <a:pt x="803" y="156"/>
                    </a:lnTo>
                    <a:close/>
                    <a:moveTo>
                      <a:pt x="808" y="156"/>
                    </a:moveTo>
                    <a:lnTo>
                      <a:pt x="808" y="158"/>
                    </a:lnTo>
                    <a:lnTo>
                      <a:pt x="810" y="158"/>
                    </a:lnTo>
                    <a:lnTo>
                      <a:pt x="810" y="160"/>
                    </a:lnTo>
                    <a:lnTo>
                      <a:pt x="808" y="160"/>
                    </a:lnTo>
                    <a:lnTo>
                      <a:pt x="808" y="161"/>
                    </a:lnTo>
                    <a:lnTo>
                      <a:pt x="806" y="161"/>
                    </a:lnTo>
                    <a:lnTo>
                      <a:pt x="806" y="163"/>
                    </a:lnTo>
                    <a:lnTo>
                      <a:pt x="805" y="163"/>
                    </a:lnTo>
                    <a:lnTo>
                      <a:pt x="805" y="165"/>
                    </a:lnTo>
                    <a:lnTo>
                      <a:pt x="803" y="165"/>
                    </a:lnTo>
                    <a:lnTo>
                      <a:pt x="803" y="166"/>
                    </a:lnTo>
                    <a:lnTo>
                      <a:pt x="801" y="166"/>
                    </a:lnTo>
                    <a:lnTo>
                      <a:pt x="799" y="166"/>
                    </a:lnTo>
                    <a:lnTo>
                      <a:pt x="799" y="165"/>
                    </a:lnTo>
                    <a:lnTo>
                      <a:pt x="799" y="163"/>
                    </a:lnTo>
                    <a:lnTo>
                      <a:pt x="799" y="161"/>
                    </a:lnTo>
                    <a:lnTo>
                      <a:pt x="799" y="160"/>
                    </a:lnTo>
                    <a:lnTo>
                      <a:pt x="799" y="158"/>
                    </a:lnTo>
                    <a:lnTo>
                      <a:pt x="801" y="158"/>
                    </a:lnTo>
                    <a:lnTo>
                      <a:pt x="803" y="158"/>
                    </a:lnTo>
                    <a:lnTo>
                      <a:pt x="805" y="158"/>
                    </a:lnTo>
                    <a:lnTo>
                      <a:pt x="806" y="158"/>
                    </a:lnTo>
                    <a:lnTo>
                      <a:pt x="806" y="156"/>
                    </a:lnTo>
                    <a:lnTo>
                      <a:pt x="808" y="156"/>
                    </a:lnTo>
                    <a:close/>
                    <a:moveTo>
                      <a:pt x="799" y="156"/>
                    </a:moveTo>
                    <a:lnTo>
                      <a:pt x="801" y="158"/>
                    </a:lnTo>
                    <a:lnTo>
                      <a:pt x="799" y="158"/>
                    </a:lnTo>
                    <a:lnTo>
                      <a:pt x="799" y="160"/>
                    </a:lnTo>
                    <a:lnTo>
                      <a:pt x="799" y="161"/>
                    </a:lnTo>
                    <a:lnTo>
                      <a:pt x="799" y="163"/>
                    </a:lnTo>
                    <a:lnTo>
                      <a:pt x="799" y="165"/>
                    </a:lnTo>
                    <a:lnTo>
                      <a:pt x="799" y="166"/>
                    </a:lnTo>
                    <a:lnTo>
                      <a:pt x="799" y="168"/>
                    </a:lnTo>
                    <a:lnTo>
                      <a:pt x="799" y="170"/>
                    </a:lnTo>
                    <a:lnTo>
                      <a:pt x="798" y="170"/>
                    </a:lnTo>
                    <a:lnTo>
                      <a:pt x="796" y="170"/>
                    </a:lnTo>
                    <a:lnTo>
                      <a:pt x="796" y="172"/>
                    </a:lnTo>
                    <a:lnTo>
                      <a:pt x="796" y="173"/>
                    </a:lnTo>
                    <a:lnTo>
                      <a:pt x="794" y="172"/>
                    </a:lnTo>
                    <a:lnTo>
                      <a:pt x="793" y="172"/>
                    </a:lnTo>
                    <a:lnTo>
                      <a:pt x="793" y="170"/>
                    </a:lnTo>
                    <a:lnTo>
                      <a:pt x="791" y="170"/>
                    </a:lnTo>
                    <a:lnTo>
                      <a:pt x="793" y="168"/>
                    </a:lnTo>
                    <a:lnTo>
                      <a:pt x="794" y="168"/>
                    </a:lnTo>
                    <a:lnTo>
                      <a:pt x="796" y="165"/>
                    </a:lnTo>
                    <a:lnTo>
                      <a:pt x="796" y="163"/>
                    </a:lnTo>
                    <a:lnTo>
                      <a:pt x="796" y="161"/>
                    </a:lnTo>
                    <a:lnTo>
                      <a:pt x="796" y="160"/>
                    </a:lnTo>
                    <a:lnTo>
                      <a:pt x="796" y="158"/>
                    </a:lnTo>
                    <a:lnTo>
                      <a:pt x="798" y="158"/>
                    </a:lnTo>
                    <a:lnTo>
                      <a:pt x="798" y="156"/>
                    </a:lnTo>
                    <a:lnTo>
                      <a:pt x="799" y="156"/>
                    </a:lnTo>
                    <a:close/>
                    <a:moveTo>
                      <a:pt x="801" y="156"/>
                    </a:moveTo>
                    <a:lnTo>
                      <a:pt x="801" y="158"/>
                    </a:lnTo>
                    <a:lnTo>
                      <a:pt x="801" y="156"/>
                    </a:lnTo>
                    <a:close/>
                    <a:moveTo>
                      <a:pt x="789" y="166"/>
                    </a:moveTo>
                    <a:lnTo>
                      <a:pt x="791" y="166"/>
                    </a:lnTo>
                    <a:lnTo>
                      <a:pt x="791" y="168"/>
                    </a:lnTo>
                    <a:lnTo>
                      <a:pt x="789" y="168"/>
                    </a:lnTo>
                    <a:lnTo>
                      <a:pt x="789" y="166"/>
                    </a:lnTo>
                    <a:close/>
                    <a:moveTo>
                      <a:pt x="801" y="148"/>
                    </a:moveTo>
                    <a:lnTo>
                      <a:pt x="801" y="149"/>
                    </a:lnTo>
                    <a:lnTo>
                      <a:pt x="801" y="148"/>
                    </a:lnTo>
                    <a:close/>
                    <a:moveTo>
                      <a:pt x="810" y="148"/>
                    </a:moveTo>
                    <a:lnTo>
                      <a:pt x="811" y="148"/>
                    </a:lnTo>
                    <a:lnTo>
                      <a:pt x="810" y="148"/>
                    </a:lnTo>
                    <a:close/>
                    <a:moveTo>
                      <a:pt x="810" y="148"/>
                    </a:moveTo>
                    <a:lnTo>
                      <a:pt x="810" y="149"/>
                    </a:lnTo>
                    <a:lnTo>
                      <a:pt x="808" y="149"/>
                    </a:lnTo>
                    <a:lnTo>
                      <a:pt x="810" y="149"/>
                    </a:lnTo>
                    <a:lnTo>
                      <a:pt x="808" y="151"/>
                    </a:lnTo>
                    <a:lnTo>
                      <a:pt x="806" y="153"/>
                    </a:lnTo>
                    <a:lnTo>
                      <a:pt x="805" y="153"/>
                    </a:lnTo>
                    <a:lnTo>
                      <a:pt x="803" y="153"/>
                    </a:lnTo>
                    <a:lnTo>
                      <a:pt x="801" y="153"/>
                    </a:lnTo>
                    <a:lnTo>
                      <a:pt x="801" y="151"/>
                    </a:lnTo>
                    <a:lnTo>
                      <a:pt x="801" y="149"/>
                    </a:lnTo>
                    <a:lnTo>
                      <a:pt x="803" y="148"/>
                    </a:lnTo>
                    <a:lnTo>
                      <a:pt x="805" y="148"/>
                    </a:lnTo>
                    <a:lnTo>
                      <a:pt x="806" y="148"/>
                    </a:lnTo>
                    <a:lnTo>
                      <a:pt x="808" y="148"/>
                    </a:lnTo>
                    <a:lnTo>
                      <a:pt x="810" y="148"/>
                    </a:lnTo>
                    <a:close/>
                    <a:moveTo>
                      <a:pt x="806" y="146"/>
                    </a:moveTo>
                    <a:lnTo>
                      <a:pt x="810" y="146"/>
                    </a:lnTo>
                    <a:lnTo>
                      <a:pt x="810" y="148"/>
                    </a:lnTo>
                    <a:lnTo>
                      <a:pt x="806" y="148"/>
                    </a:lnTo>
                    <a:lnTo>
                      <a:pt x="806" y="146"/>
                    </a:lnTo>
                    <a:close/>
                    <a:moveTo>
                      <a:pt x="805" y="146"/>
                    </a:moveTo>
                    <a:lnTo>
                      <a:pt x="806" y="146"/>
                    </a:lnTo>
                    <a:lnTo>
                      <a:pt x="806" y="148"/>
                    </a:lnTo>
                    <a:lnTo>
                      <a:pt x="805" y="148"/>
                    </a:lnTo>
                    <a:lnTo>
                      <a:pt x="805" y="146"/>
                    </a:lnTo>
                    <a:close/>
                    <a:moveTo>
                      <a:pt x="813" y="141"/>
                    </a:moveTo>
                    <a:lnTo>
                      <a:pt x="813" y="143"/>
                    </a:lnTo>
                    <a:lnTo>
                      <a:pt x="813" y="144"/>
                    </a:lnTo>
                    <a:lnTo>
                      <a:pt x="811" y="146"/>
                    </a:lnTo>
                    <a:lnTo>
                      <a:pt x="810" y="146"/>
                    </a:lnTo>
                    <a:lnTo>
                      <a:pt x="808" y="146"/>
                    </a:lnTo>
                    <a:lnTo>
                      <a:pt x="806" y="146"/>
                    </a:lnTo>
                    <a:lnTo>
                      <a:pt x="806" y="144"/>
                    </a:lnTo>
                    <a:lnTo>
                      <a:pt x="808" y="144"/>
                    </a:lnTo>
                    <a:lnTo>
                      <a:pt x="808" y="143"/>
                    </a:lnTo>
                    <a:lnTo>
                      <a:pt x="810" y="143"/>
                    </a:lnTo>
                    <a:lnTo>
                      <a:pt x="811" y="143"/>
                    </a:lnTo>
                    <a:lnTo>
                      <a:pt x="811" y="141"/>
                    </a:lnTo>
                    <a:lnTo>
                      <a:pt x="813" y="141"/>
                    </a:lnTo>
                    <a:close/>
                    <a:moveTo>
                      <a:pt x="798" y="107"/>
                    </a:moveTo>
                    <a:lnTo>
                      <a:pt x="798" y="109"/>
                    </a:lnTo>
                    <a:lnTo>
                      <a:pt x="798" y="110"/>
                    </a:lnTo>
                    <a:lnTo>
                      <a:pt x="799" y="110"/>
                    </a:lnTo>
                    <a:lnTo>
                      <a:pt x="799" y="112"/>
                    </a:lnTo>
                    <a:lnTo>
                      <a:pt x="798" y="114"/>
                    </a:lnTo>
                    <a:lnTo>
                      <a:pt x="796" y="115"/>
                    </a:lnTo>
                    <a:lnTo>
                      <a:pt x="794" y="114"/>
                    </a:lnTo>
                    <a:lnTo>
                      <a:pt x="794" y="112"/>
                    </a:lnTo>
                    <a:lnTo>
                      <a:pt x="794" y="110"/>
                    </a:lnTo>
                    <a:lnTo>
                      <a:pt x="793" y="110"/>
                    </a:lnTo>
                    <a:lnTo>
                      <a:pt x="793" y="109"/>
                    </a:lnTo>
                    <a:lnTo>
                      <a:pt x="793" y="107"/>
                    </a:lnTo>
                    <a:lnTo>
                      <a:pt x="794" y="107"/>
                    </a:lnTo>
                    <a:lnTo>
                      <a:pt x="796" y="107"/>
                    </a:lnTo>
                    <a:lnTo>
                      <a:pt x="798" y="107"/>
                    </a:lnTo>
                    <a:close/>
                    <a:moveTo>
                      <a:pt x="786" y="105"/>
                    </a:moveTo>
                    <a:lnTo>
                      <a:pt x="786" y="107"/>
                    </a:lnTo>
                    <a:lnTo>
                      <a:pt x="786" y="105"/>
                    </a:lnTo>
                    <a:close/>
                    <a:moveTo>
                      <a:pt x="794" y="103"/>
                    </a:moveTo>
                    <a:lnTo>
                      <a:pt x="794" y="105"/>
                    </a:lnTo>
                    <a:lnTo>
                      <a:pt x="796" y="105"/>
                    </a:lnTo>
                    <a:lnTo>
                      <a:pt x="796" y="107"/>
                    </a:lnTo>
                    <a:lnTo>
                      <a:pt x="794" y="107"/>
                    </a:lnTo>
                    <a:lnTo>
                      <a:pt x="793" y="107"/>
                    </a:lnTo>
                    <a:lnTo>
                      <a:pt x="793" y="105"/>
                    </a:lnTo>
                    <a:lnTo>
                      <a:pt x="791" y="105"/>
                    </a:lnTo>
                    <a:lnTo>
                      <a:pt x="793" y="105"/>
                    </a:lnTo>
                    <a:lnTo>
                      <a:pt x="793" y="103"/>
                    </a:lnTo>
                    <a:lnTo>
                      <a:pt x="794" y="103"/>
                    </a:lnTo>
                    <a:close/>
                    <a:moveTo>
                      <a:pt x="990" y="284"/>
                    </a:moveTo>
                    <a:lnTo>
                      <a:pt x="992" y="284"/>
                    </a:lnTo>
                    <a:lnTo>
                      <a:pt x="992" y="285"/>
                    </a:lnTo>
                    <a:lnTo>
                      <a:pt x="990" y="285"/>
                    </a:lnTo>
                    <a:lnTo>
                      <a:pt x="990" y="284"/>
                    </a:lnTo>
                    <a:close/>
                    <a:moveTo>
                      <a:pt x="990" y="277"/>
                    </a:moveTo>
                    <a:lnTo>
                      <a:pt x="992" y="277"/>
                    </a:lnTo>
                    <a:lnTo>
                      <a:pt x="990" y="277"/>
                    </a:lnTo>
                    <a:close/>
                    <a:moveTo>
                      <a:pt x="1071" y="272"/>
                    </a:moveTo>
                    <a:lnTo>
                      <a:pt x="1073" y="272"/>
                    </a:lnTo>
                    <a:lnTo>
                      <a:pt x="1071" y="272"/>
                    </a:lnTo>
                    <a:close/>
                    <a:moveTo>
                      <a:pt x="997" y="270"/>
                    </a:moveTo>
                    <a:lnTo>
                      <a:pt x="997" y="272"/>
                    </a:lnTo>
                    <a:lnTo>
                      <a:pt x="997" y="274"/>
                    </a:lnTo>
                    <a:lnTo>
                      <a:pt x="997" y="275"/>
                    </a:lnTo>
                    <a:lnTo>
                      <a:pt x="997" y="277"/>
                    </a:lnTo>
                    <a:lnTo>
                      <a:pt x="997" y="279"/>
                    </a:lnTo>
                    <a:lnTo>
                      <a:pt x="995" y="279"/>
                    </a:lnTo>
                    <a:lnTo>
                      <a:pt x="995" y="280"/>
                    </a:lnTo>
                    <a:lnTo>
                      <a:pt x="993" y="280"/>
                    </a:lnTo>
                    <a:lnTo>
                      <a:pt x="992" y="279"/>
                    </a:lnTo>
                    <a:lnTo>
                      <a:pt x="992" y="277"/>
                    </a:lnTo>
                    <a:lnTo>
                      <a:pt x="993" y="275"/>
                    </a:lnTo>
                    <a:lnTo>
                      <a:pt x="993" y="274"/>
                    </a:lnTo>
                    <a:lnTo>
                      <a:pt x="993" y="272"/>
                    </a:lnTo>
                    <a:lnTo>
                      <a:pt x="995" y="272"/>
                    </a:lnTo>
                    <a:lnTo>
                      <a:pt x="995" y="270"/>
                    </a:lnTo>
                    <a:lnTo>
                      <a:pt x="997" y="270"/>
                    </a:lnTo>
                    <a:close/>
                    <a:moveTo>
                      <a:pt x="1073" y="270"/>
                    </a:moveTo>
                    <a:lnTo>
                      <a:pt x="1075" y="270"/>
                    </a:lnTo>
                    <a:lnTo>
                      <a:pt x="1077" y="270"/>
                    </a:lnTo>
                    <a:lnTo>
                      <a:pt x="1075" y="270"/>
                    </a:lnTo>
                    <a:lnTo>
                      <a:pt x="1075" y="272"/>
                    </a:lnTo>
                    <a:lnTo>
                      <a:pt x="1073" y="270"/>
                    </a:lnTo>
                    <a:lnTo>
                      <a:pt x="1071" y="270"/>
                    </a:lnTo>
                    <a:lnTo>
                      <a:pt x="1071" y="268"/>
                    </a:lnTo>
                    <a:lnTo>
                      <a:pt x="1073" y="268"/>
                    </a:lnTo>
                    <a:lnTo>
                      <a:pt x="1073" y="270"/>
                    </a:lnTo>
                    <a:close/>
                    <a:moveTo>
                      <a:pt x="1073" y="268"/>
                    </a:moveTo>
                    <a:lnTo>
                      <a:pt x="1075" y="268"/>
                    </a:lnTo>
                    <a:lnTo>
                      <a:pt x="1077" y="268"/>
                    </a:lnTo>
                    <a:lnTo>
                      <a:pt x="1078" y="268"/>
                    </a:lnTo>
                    <a:lnTo>
                      <a:pt x="1078" y="270"/>
                    </a:lnTo>
                    <a:lnTo>
                      <a:pt x="1080" y="270"/>
                    </a:lnTo>
                    <a:lnTo>
                      <a:pt x="1080" y="272"/>
                    </a:lnTo>
                    <a:lnTo>
                      <a:pt x="1078" y="272"/>
                    </a:lnTo>
                    <a:lnTo>
                      <a:pt x="1077" y="272"/>
                    </a:lnTo>
                    <a:lnTo>
                      <a:pt x="1077" y="270"/>
                    </a:lnTo>
                    <a:lnTo>
                      <a:pt x="1075" y="270"/>
                    </a:lnTo>
                    <a:lnTo>
                      <a:pt x="1073" y="268"/>
                    </a:lnTo>
                    <a:close/>
                    <a:moveTo>
                      <a:pt x="998" y="260"/>
                    </a:moveTo>
                    <a:lnTo>
                      <a:pt x="998" y="262"/>
                    </a:lnTo>
                    <a:lnTo>
                      <a:pt x="997" y="262"/>
                    </a:lnTo>
                    <a:lnTo>
                      <a:pt x="997" y="263"/>
                    </a:lnTo>
                    <a:lnTo>
                      <a:pt x="995" y="263"/>
                    </a:lnTo>
                    <a:lnTo>
                      <a:pt x="995" y="262"/>
                    </a:lnTo>
                    <a:lnTo>
                      <a:pt x="997" y="262"/>
                    </a:lnTo>
                    <a:lnTo>
                      <a:pt x="995" y="260"/>
                    </a:lnTo>
                    <a:lnTo>
                      <a:pt x="997" y="260"/>
                    </a:lnTo>
                    <a:lnTo>
                      <a:pt x="998" y="260"/>
                    </a:lnTo>
                    <a:close/>
                    <a:moveTo>
                      <a:pt x="1029" y="258"/>
                    </a:moveTo>
                    <a:lnTo>
                      <a:pt x="1029" y="260"/>
                    </a:lnTo>
                    <a:lnTo>
                      <a:pt x="1029" y="258"/>
                    </a:lnTo>
                    <a:close/>
                    <a:moveTo>
                      <a:pt x="1020" y="258"/>
                    </a:moveTo>
                    <a:lnTo>
                      <a:pt x="1020" y="260"/>
                    </a:lnTo>
                    <a:lnTo>
                      <a:pt x="1020" y="258"/>
                    </a:lnTo>
                    <a:close/>
                    <a:moveTo>
                      <a:pt x="1026" y="258"/>
                    </a:moveTo>
                    <a:lnTo>
                      <a:pt x="1029" y="258"/>
                    </a:lnTo>
                    <a:lnTo>
                      <a:pt x="1029" y="260"/>
                    </a:lnTo>
                    <a:lnTo>
                      <a:pt x="1026" y="260"/>
                    </a:lnTo>
                    <a:lnTo>
                      <a:pt x="1026" y="258"/>
                    </a:lnTo>
                    <a:close/>
                    <a:moveTo>
                      <a:pt x="1024" y="255"/>
                    </a:moveTo>
                    <a:lnTo>
                      <a:pt x="1026" y="255"/>
                    </a:lnTo>
                    <a:lnTo>
                      <a:pt x="1024" y="255"/>
                    </a:lnTo>
                    <a:close/>
                    <a:moveTo>
                      <a:pt x="1026" y="255"/>
                    </a:moveTo>
                    <a:lnTo>
                      <a:pt x="1027" y="255"/>
                    </a:lnTo>
                    <a:lnTo>
                      <a:pt x="1026" y="255"/>
                    </a:lnTo>
                    <a:close/>
                    <a:moveTo>
                      <a:pt x="986" y="234"/>
                    </a:moveTo>
                    <a:lnTo>
                      <a:pt x="988" y="234"/>
                    </a:lnTo>
                    <a:lnTo>
                      <a:pt x="986" y="234"/>
                    </a:lnTo>
                    <a:close/>
                    <a:moveTo>
                      <a:pt x="969" y="233"/>
                    </a:moveTo>
                    <a:lnTo>
                      <a:pt x="971" y="233"/>
                    </a:lnTo>
                    <a:lnTo>
                      <a:pt x="971" y="236"/>
                    </a:lnTo>
                    <a:lnTo>
                      <a:pt x="969" y="236"/>
                    </a:lnTo>
                    <a:lnTo>
                      <a:pt x="969" y="233"/>
                    </a:lnTo>
                    <a:close/>
                    <a:moveTo>
                      <a:pt x="969" y="233"/>
                    </a:moveTo>
                    <a:lnTo>
                      <a:pt x="968" y="234"/>
                    </a:lnTo>
                    <a:lnTo>
                      <a:pt x="969" y="234"/>
                    </a:lnTo>
                    <a:lnTo>
                      <a:pt x="969" y="236"/>
                    </a:lnTo>
                    <a:lnTo>
                      <a:pt x="968" y="236"/>
                    </a:lnTo>
                    <a:lnTo>
                      <a:pt x="968" y="234"/>
                    </a:lnTo>
                    <a:lnTo>
                      <a:pt x="968" y="233"/>
                    </a:lnTo>
                    <a:lnTo>
                      <a:pt x="969" y="231"/>
                    </a:lnTo>
                    <a:lnTo>
                      <a:pt x="969" y="233"/>
                    </a:lnTo>
                    <a:close/>
                    <a:moveTo>
                      <a:pt x="986" y="229"/>
                    </a:moveTo>
                    <a:lnTo>
                      <a:pt x="988" y="229"/>
                    </a:lnTo>
                    <a:lnTo>
                      <a:pt x="988" y="231"/>
                    </a:lnTo>
                    <a:lnTo>
                      <a:pt x="986" y="231"/>
                    </a:lnTo>
                    <a:lnTo>
                      <a:pt x="986" y="229"/>
                    </a:lnTo>
                    <a:close/>
                    <a:moveTo>
                      <a:pt x="985" y="228"/>
                    </a:moveTo>
                    <a:lnTo>
                      <a:pt x="986" y="228"/>
                    </a:lnTo>
                    <a:lnTo>
                      <a:pt x="986" y="231"/>
                    </a:lnTo>
                    <a:lnTo>
                      <a:pt x="985" y="231"/>
                    </a:lnTo>
                    <a:lnTo>
                      <a:pt x="985" y="228"/>
                    </a:lnTo>
                    <a:close/>
                    <a:moveTo>
                      <a:pt x="986" y="228"/>
                    </a:moveTo>
                    <a:lnTo>
                      <a:pt x="988" y="228"/>
                    </a:lnTo>
                    <a:lnTo>
                      <a:pt x="988" y="229"/>
                    </a:lnTo>
                    <a:lnTo>
                      <a:pt x="986" y="229"/>
                    </a:lnTo>
                    <a:lnTo>
                      <a:pt x="986" y="228"/>
                    </a:lnTo>
                    <a:close/>
                    <a:moveTo>
                      <a:pt x="976" y="226"/>
                    </a:moveTo>
                    <a:lnTo>
                      <a:pt x="976" y="228"/>
                    </a:lnTo>
                    <a:lnTo>
                      <a:pt x="976" y="226"/>
                    </a:lnTo>
                    <a:close/>
                    <a:moveTo>
                      <a:pt x="975" y="226"/>
                    </a:moveTo>
                    <a:lnTo>
                      <a:pt x="976" y="226"/>
                    </a:lnTo>
                    <a:lnTo>
                      <a:pt x="976" y="228"/>
                    </a:lnTo>
                    <a:lnTo>
                      <a:pt x="975" y="228"/>
                    </a:lnTo>
                    <a:lnTo>
                      <a:pt x="975" y="226"/>
                    </a:lnTo>
                    <a:close/>
                    <a:moveTo>
                      <a:pt x="964" y="226"/>
                    </a:moveTo>
                    <a:lnTo>
                      <a:pt x="966" y="226"/>
                    </a:lnTo>
                    <a:lnTo>
                      <a:pt x="964" y="226"/>
                    </a:lnTo>
                    <a:close/>
                    <a:moveTo>
                      <a:pt x="976" y="224"/>
                    </a:moveTo>
                    <a:lnTo>
                      <a:pt x="976" y="226"/>
                    </a:lnTo>
                    <a:lnTo>
                      <a:pt x="976" y="224"/>
                    </a:lnTo>
                    <a:close/>
                    <a:moveTo>
                      <a:pt x="975" y="224"/>
                    </a:moveTo>
                    <a:lnTo>
                      <a:pt x="976" y="224"/>
                    </a:lnTo>
                    <a:lnTo>
                      <a:pt x="976" y="226"/>
                    </a:lnTo>
                    <a:lnTo>
                      <a:pt x="975" y="226"/>
                    </a:lnTo>
                    <a:lnTo>
                      <a:pt x="975" y="224"/>
                    </a:lnTo>
                    <a:close/>
                    <a:moveTo>
                      <a:pt x="978" y="224"/>
                    </a:moveTo>
                    <a:lnTo>
                      <a:pt x="978" y="226"/>
                    </a:lnTo>
                    <a:lnTo>
                      <a:pt x="978" y="224"/>
                    </a:lnTo>
                    <a:close/>
                    <a:moveTo>
                      <a:pt x="983" y="223"/>
                    </a:moveTo>
                    <a:lnTo>
                      <a:pt x="983" y="224"/>
                    </a:lnTo>
                    <a:lnTo>
                      <a:pt x="983" y="223"/>
                    </a:lnTo>
                    <a:close/>
                    <a:moveTo>
                      <a:pt x="959" y="223"/>
                    </a:moveTo>
                    <a:lnTo>
                      <a:pt x="961" y="223"/>
                    </a:lnTo>
                    <a:lnTo>
                      <a:pt x="959" y="223"/>
                    </a:lnTo>
                    <a:close/>
                    <a:moveTo>
                      <a:pt x="959" y="221"/>
                    </a:moveTo>
                    <a:lnTo>
                      <a:pt x="961" y="221"/>
                    </a:lnTo>
                    <a:lnTo>
                      <a:pt x="961" y="223"/>
                    </a:lnTo>
                    <a:lnTo>
                      <a:pt x="959" y="223"/>
                    </a:lnTo>
                    <a:lnTo>
                      <a:pt x="959" y="221"/>
                    </a:lnTo>
                    <a:close/>
                    <a:moveTo>
                      <a:pt x="959" y="221"/>
                    </a:moveTo>
                    <a:lnTo>
                      <a:pt x="961" y="221"/>
                    </a:lnTo>
                    <a:lnTo>
                      <a:pt x="959" y="221"/>
                    </a:lnTo>
                    <a:close/>
                    <a:moveTo>
                      <a:pt x="980" y="221"/>
                    </a:moveTo>
                    <a:lnTo>
                      <a:pt x="981" y="221"/>
                    </a:lnTo>
                    <a:lnTo>
                      <a:pt x="983" y="221"/>
                    </a:lnTo>
                    <a:lnTo>
                      <a:pt x="983" y="223"/>
                    </a:lnTo>
                    <a:lnTo>
                      <a:pt x="983" y="221"/>
                    </a:lnTo>
                    <a:lnTo>
                      <a:pt x="983" y="223"/>
                    </a:lnTo>
                    <a:lnTo>
                      <a:pt x="981" y="223"/>
                    </a:lnTo>
                    <a:lnTo>
                      <a:pt x="981" y="224"/>
                    </a:lnTo>
                    <a:lnTo>
                      <a:pt x="980" y="224"/>
                    </a:lnTo>
                    <a:lnTo>
                      <a:pt x="980" y="226"/>
                    </a:lnTo>
                    <a:lnTo>
                      <a:pt x="978" y="224"/>
                    </a:lnTo>
                    <a:lnTo>
                      <a:pt x="978" y="223"/>
                    </a:lnTo>
                    <a:lnTo>
                      <a:pt x="980" y="223"/>
                    </a:lnTo>
                    <a:lnTo>
                      <a:pt x="980" y="221"/>
                    </a:lnTo>
                    <a:close/>
                    <a:moveTo>
                      <a:pt x="959" y="217"/>
                    </a:moveTo>
                    <a:lnTo>
                      <a:pt x="961" y="217"/>
                    </a:lnTo>
                    <a:lnTo>
                      <a:pt x="961" y="219"/>
                    </a:lnTo>
                    <a:lnTo>
                      <a:pt x="959" y="219"/>
                    </a:lnTo>
                    <a:lnTo>
                      <a:pt x="959" y="217"/>
                    </a:lnTo>
                    <a:close/>
                    <a:moveTo>
                      <a:pt x="956" y="217"/>
                    </a:moveTo>
                    <a:lnTo>
                      <a:pt x="956" y="221"/>
                    </a:lnTo>
                    <a:lnTo>
                      <a:pt x="956" y="217"/>
                    </a:lnTo>
                    <a:close/>
                    <a:moveTo>
                      <a:pt x="952" y="217"/>
                    </a:moveTo>
                    <a:lnTo>
                      <a:pt x="952" y="219"/>
                    </a:lnTo>
                    <a:lnTo>
                      <a:pt x="952" y="217"/>
                    </a:lnTo>
                    <a:close/>
                    <a:moveTo>
                      <a:pt x="944" y="216"/>
                    </a:moveTo>
                    <a:lnTo>
                      <a:pt x="947" y="216"/>
                    </a:lnTo>
                    <a:lnTo>
                      <a:pt x="947" y="217"/>
                    </a:lnTo>
                    <a:lnTo>
                      <a:pt x="944" y="217"/>
                    </a:lnTo>
                    <a:lnTo>
                      <a:pt x="944" y="216"/>
                    </a:lnTo>
                    <a:close/>
                    <a:moveTo>
                      <a:pt x="958" y="217"/>
                    </a:moveTo>
                    <a:lnTo>
                      <a:pt x="958" y="219"/>
                    </a:lnTo>
                    <a:lnTo>
                      <a:pt x="958" y="221"/>
                    </a:lnTo>
                    <a:lnTo>
                      <a:pt x="958" y="223"/>
                    </a:lnTo>
                    <a:lnTo>
                      <a:pt x="958" y="224"/>
                    </a:lnTo>
                    <a:lnTo>
                      <a:pt x="956" y="224"/>
                    </a:lnTo>
                    <a:lnTo>
                      <a:pt x="956" y="223"/>
                    </a:lnTo>
                    <a:lnTo>
                      <a:pt x="956" y="221"/>
                    </a:lnTo>
                    <a:lnTo>
                      <a:pt x="958" y="221"/>
                    </a:lnTo>
                    <a:lnTo>
                      <a:pt x="958" y="219"/>
                    </a:lnTo>
                    <a:lnTo>
                      <a:pt x="958" y="217"/>
                    </a:lnTo>
                    <a:lnTo>
                      <a:pt x="958" y="216"/>
                    </a:lnTo>
                    <a:lnTo>
                      <a:pt x="958" y="217"/>
                    </a:lnTo>
                    <a:close/>
                    <a:moveTo>
                      <a:pt x="951" y="216"/>
                    </a:moveTo>
                    <a:lnTo>
                      <a:pt x="952" y="216"/>
                    </a:lnTo>
                    <a:lnTo>
                      <a:pt x="952" y="217"/>
                    </a:lnTo>
                    <a:lnTo>
                      <a:pt x="951" y="217"/>
                    </a:lnTo>
                    <a:lnTo>
                      <a:pt x="951" y="216"/>
                    </a:lnTo>
                    <a:close/>
                    <a:moveTo>
                      <a:pt x="1189" y="621"/>
                    </a:moveTo>
                    <a:lnTo>
                      <a:pt x="1190" y="621"/>
                    </a:lnTo>
                    <a:lnTo>
                      <a:pt x="1190" y="622"/>
                    </a:lnTo>
                    <a:lnTo>
                      <a:pt x="1189" y="622"/>
                    </a:lnTo>
                    <a:lnTo>
                      <a:pt x="1189" y="621"/>
                    </a:lnTo>
                    <a:close/>
                    <a:moveTo>
                      <a:pt x="1189" y="621"/>
                    </a:moveTo>
                    <a:lnTo>
                      <a:pt x="1190" y="621"/>
                    </a:lnTo>
                    <a:lnTo>
                      <a:pt x="1189" y="621"/>
                    </a:lnTo>
                    <a:close/>
                    <a:moveTo>
                      <a:pt x="1194" y="612"/>
                    </a:moveTo>
                    <a:lnTo>
                      <a:pt x="1194" y="614"/>
                    </a:lnTo>
                    <a:lnTo>
                      <a:pt x="1194" y="612"/>
                    </a:lnTo>
                    <a:close/>
                    <a:moveTo>
                      <a:pt x="1197" y="612"/>
                    </a:moveTo>
                    <a:lnTo>
                      <a:pt x="1197" y="614"/>
                    </a:lnTo>
                    <a:lnTo>
                      <a:pt x="1197" y="612"/>
                    </a:lnTo>
                    <a:close/>
                    <a:moveTo>
                      <a:pt x="1194" y="612"/>
                    </a:moveTo>
                    <a:lnTo>
                      <a:pt x="1196" y="612"/>
                    </a:lnTo>
                    <a:lnTo>
                      <a:pt x="1194" y="612"/>
                    </a:lnTo>
                    <a:close/>
                    <a:moveTo>
                      <a:pt x="1190" y="609"/>
                    </a:moveTo>
                    <a:lnTo>
                      <a:pt x="1192" y="609"/>
                    </a:lnTo>
                    <a:lnTo>
                      <a:pt x="1192" y="610"/>
                    </a:lnTo>
                    <a:lnTo>
                      <a:pt x="1190" y="610"/>
                    </a:lnTo>
                    <a:lnTo>
                      <a:pt x="1190" y="609"/>
                    </a:lnTo>
                    <a:close/>
                    <a:moveTo>
                      <a:pt x="1507" y="884"/>
                    </a:moveTo>
                    <a:lnTo>
                      <a:pt x="1508" y="884"/>
                    </a:lnTo>
                    <a:lnTo>
                      <a:pt x="1508" y="886"/>
                    </a:lnTo>
                    <a:lnTo>
                      <a:pt x="1507" y="886"/>
                    </a:lnTo>
                    <a:lnTo>
                      <a:pt x="1507" y="884"/>
                    </a:lnTo>
                    <a:close/>
                    <a:moveTo>
                      <a:pt x="1007" y="985"/>
                    </a:moveTo>
                    <a:lnTo>
                      <a:pt x="1009" y="985"/>
                    </a:lnTo>
                    <a:lnTo>
                      <a:pt x="1007" y="985"/>
                    </a:lnTo>
                    <a:close/>
                    <a:moveTo>
                      <a:pt x="992" y="985"/>
                    </a:moveTo>
                    <a:lnTo>
                      <a:pt x="993" y="985"/>
                    </a:lnTo>
                    <a:lnTo>
                      <a:pt x="992" y="985"/>
                    </a:lnTo>
                    <a:close/>
                    <a:moveTo>
                      <a:pt x="990" y="981"/>
                    </a:moveTo>
                    <a:lnTo>
                      <a:pt x="990" y="983"/>
                    </a:lnTo>
                    <a:lnTo>
                      <a:pt x="990" y="981"/>
                    </a:lnTo>
                    <a:close/>
                    <a:moveTo>
                      <a:pt x="1005" y="980"/>
                    </a:moveTo>
                    <a:lnTo>
                      <a:pt x="1007" y="980"/>
                    </a:lnTo>
                    <a:lnTo>
                      <a:pt x="1005" y="980"/>
                    </a:lnTo>
                    <a:lnTo>
                      <a:pt x="1007" y="981"/>
                    </a:lnTo>
                    <a:lnTo>
                      <a:pt x="1009" y="981"/>
                    </a:lnTo>
                    <a:lnTo>
                      <a:pt x="1009" y="983"/>
                    </a:lnTo>
                    <a:lnTo>
                      <a:pt x="1009" y="981"/>
                    </a:lnTo>
                    <a:lnTo>
                      <a:pt x="1009" y="983"/>
                    </a:lnTo>
                    <a:lnTo>
                      <a:pt x="1010" y="983"/>
                    </a:lnTo>
                    <a:lnTo>
                      <a:pt x="1009" y="983"/>
                    </a:lnTo>
                    <a:lnTo>
                      <a:pt x="1007" y="983"/>
                    </a:lnTo>
                    <a:lnTo>
                      <a:pt x="1007" y="985"/>
                    </a:lnTo>
                    <a:lnTo>
                      <a:pt x="1005" y="983"/>
                    </a:lnTo>
                    <a:lnTo>
                      <a:pt x="1003" y="985"/>
                    </a:lnTo>
                    <a:lnTo>
                      <a:pt x="1003" y="983"/>
                    </a:lnTo>
                    <a:lnTo>
                      <a:pt x="1002" y="983"/>
                    </a:lnTo>
                    <a:lnTo>
                      <a:pt x="1002" y="985"/>
                    </a:lnTo>
                    <a:lnTo>
                      <a:pt x="1002" y="983"/>
                    </a:lnTo>
                    <a:lnTo>
                      <a:pt x="1000" y="983"/>
                    </a:lnTo>
                    <a:lnTo>
                      <a:pt x="1002" y="983"/>
                    </a:lnTo>
                    <a:lnTo>
                      <a:pt x="1002" y="981"/>
                    </a:lnTo>
                    <a:lnTo>
                      <a:pt x="1003" y="981"/>
                    </a:lnTo>
                    <a:lnTo>
                      <a:pt x="1005" y="981"/>
                    </a:lnTo>
                    <a:lnTo>
                      <a:pt x="1003" y="980"/>
                    </a:lnTo>
                    <a:lnTo>
                      <a:pt x="1005" y="980"/>
                    </a:lnTo>
                    <a:close/>
                    <a:moveTo>
                      <a:pt x="993" y="978"/>
                    </a:moveTo>
                    <a:lnTo>
                      <a:pt x="995" y="978"/>
                    </a:lnTo>
                    <a:lnTo>
                      <a:pt x="995" y="980"/>
                    </a:lnTo>
                    <a:lnTo>
                      <a:pt x="993" y="980"/>
                    </a:lnTo>
                    <a:lnTo>
                      <a:pt x="993" y="978"/>
                    </a:lnTo>
                    <a:close/>
                    <a:moveTo>
                      <a:pt x="995" y="978"/>
                    </a:moveTo>
                    <a:lnTo>
                      <a:pt x="997" y="978"/>
                    </a:lnTo>
                    <a:lnTo>
                      <a:pt x="995" y="978"/>
                    </a:lnTo>
                    <a:close/>
                    <a:moveTo>
                      <a:pt x="1000" y="978"/>
                    </a:moveTo>
                    <a:lnTo>
                      <a:pt x="1002" y="978"/>
                    </a:lnTo>
                    <a:lnTo>
                      <a:pt x="1002" y="980"/>
                    </a:lnTo>
                    <a:lnTo>
                      <a:pt x="1000" y="980"/>
                    </a:lnTo>
                    <a:lnTo>
                      <a:pt x="1000" y="978"/>
                    </a:lnTo>
                    <a:close/>
                    <a:moveTo>
                      <a:pt x="1010" y="976"/>
                    </a:moveTo>
                    <a:lnTo>
                      <a:pt x="1012" y="976"/>
                    </a:lnTo>
                    <a:lnTo>
                      <a:pt x="1010" y="976"/>
                    </a:lnTo>
                    <a:close/>
                    <a:moveTo>
                      <a:pt x="1080" y="976"/>
                    </a:moveTo>
                    <a:lnTo>
                      <a:pt x="1082" y="976"/>
                    </a:lnTo>
                    <a:lnTo>
                      <a:pt x="1080" y="976"/>
                    </a:lnTo>
                    <a:close/>
                    <a:moveTo>
                      <a:pt x="1015" y="974"/>
                    </a:moveTo>
                    <a:lnTo>
                      <a:pt x="1017" y="974"/>
                    </a:lnTo>
                    <a:lnTo>
                      <a:pt x="1015" y="974"/>
                    </a:lnTo>
                    <a:close/>
                    <a:moveTo>
                      <a:pt x="1041" y="968"/>
                    </a:moveTo>
                    <a:lnTo>
                      <a:pt x="1041" y="969"/>
                    </a:lnTo>
                    <a:lnTo>
                      <a:pt x="1041" y="971"/>
                    </a:lnTo>
                    <a:lnTo>
                      <a:pt x="1041" y="969"/>
                    </a:lnTo>
                    <a:lnTo>
                      <a:pt x="1039" y="969"/>
                    </a:lnTo>
                    <a:lnTo>
                      <a:pt x="1039" y="971"/>
                    </a:lnTo>
                    <a:lnTo>
                      <a:pt x="1037" y="969"/>
                    </a:lnTo>
                    <a:lnTo>
                      <a:pt x="1039" y="969"/>
                    </a:lnTo>
                    <a:lnTo>
                      <a:pt x="1039" y="968"/>
                    </a:lnTo>
                    <a:lnTo>
                      <a:pt x="1039" y="969"/>
                    </a:lnTo>
                    <a:lnTo>
                      <a:pt x="1041" y="969"/>
                    </a:lnTo>
                    <a:lnTo>
                      <a:pt x="1041" y="968"/>
                    </a:lnTo>
                    <a:close/>
                    <a:moveTo>
                      <a:pt x="1090" y="954"/>
                    </a:moveTo>
                    <a:lnTo>
                      <a:pt x="1090" y="956"/>
                    </a:lnTo>
                    <a:lnTo>
                      <a:pt x="1090" y="954"/>
                    </a:lnTo>
                    <a:close/>
                    <a:moveTo>
                      <a:pt x="973" y="1005"/>
                    </a:moveTo>
                    <a:lnTo>
                      <a:pt x="975" y="1005"/>
                    </a:lnTo>
                    <a:lnTo>
                      <a:pt x="975" y="1007"/>
                    </a:lnTo>
                    <a:lnTo>
                      <a:pt x="973" y="1007"/>
                    </a:lnTo>
                    <a:lnTo>
                      <a:pt x="973" y="1005"/>
                    </a:lnTo>
                    <a:close/>
                    <a:moveTo>
                      <a:pt x="978" y="1003"/>
                    </a:moveTo>
                    <a:lnTo>
                      <a:pt x="978" y="1005"/>
                    </a:lnTo>
                    <a:lnTo>
                      <a:pt x="978" y="1003"/>
                    </a:lnTo>
                    <a:close/>
                    <a:moveTo>
                      <a:pt x="968" y="1003"/>
                    </a:moveTo>
                    <a:lnTo>
                      <a:pt x="969" y="1003"/>
                    </a:lnTo>
                    <a:lnTo>
                      <a:pt x="971" y="1005"/>
                    </a:lnTo>
                    <a:lnTo>
                      <a:pt x="971" y="1007"/>
                    </a:lnTo>
                    <a:lnTo>
                      <a:pt x="969" y="1007"/>
                    </a:lnTo>
                    <a:lnTo>
                      <a:pt x="969" y="1008"/>
                    </a:lnTo>
                    <a:lnTo>
                      <a:pt x="971" y="1010"/>
                    </a:lnTo>
                    <a:lnTo>
                      <a:pt x="971" y="1008"/>
                    </a:lnTo>
                    <a:lnTo>
                      <a:pt x="971" y="1010"/>
                    </a:lnTo>
                    <a:lnTo>
                      <a:pt x="971" y="1012"/>
                    </a:lnTo>
                    <a:lnTo>
                      <a:pt x="969" y="1012"/>
                    </a:lnTo>
                    <a:lnTo>
                      <a:pt x="969" y="1010"/>
                    </a:lnTo>
                    <a:lnTo>
                      <a:pt x="968" y="1010"/>
                    </a:lnTo>
                    <a:lnTo>
                      <a:pt x="966" y="1010"/>
                    </a:lnTo>
                    <a:lnTo>
                      <a:pt x="964" y="1012"/>
                    </a:lnTo>
                    <a:lnTo>
                      <a:pt x="964" y="1010"/>
                    </a:lnTo>
                    <a:lnTo>
                      <a:pt x="963" y="1010"/>
                    </a:lnTo>
                    <a:lnTo>
                      <a:pt x="963" y="1008"/>
                    </a:lnTo>
                    <a:lnTo>
                      <a:pt x="964" y="1008"/>
                    </a:lnTo>
                    <a:lnTo>
                      <a:pt x="964" y="1007"/>
                    </a:lnTo>
                    <a:lnTo>
                      <a:pt x="966" y="1007"/>
                    </a:lnTo>
                    <a:lnTo>
                      <a:pt x="966" y="1005"/>
                    </a:lnTo>
                    <a:lnTo>
                      <a:pt x="968" y="1005"/>
                    </a:lnTo>
                    <a:lnTo>
                      <a:pt x="968" y="1003"/>
                    </a:lnTo>
                    <a:close/>
                    <a:moveTo>
                      <a:pt x="973" y="997"/>
                    </a:moveTo>
                    <a:lnTo>
                      <a:pt x="975" y="997"/>
                    </a:lnTo>
                    <a:lnTo>
                      <a:pt x="973" y="997"/>
                    </a:lnTo>
                    <a:close/>
                    <a:moveTo>
                      <a:pt x="976" y="997"/>
                    </a:moveTo>
                    <a:lnTo>
                      <a:pt x="978" y="997"/>
                    </a:lnTo>
                    <a:lnTo>
                      <a:pt x="976" y="997"/>
                    </a:lnTo>
                    <a:close/>
                    <a:moveTo>
                      <a:pt x="983" y="991"/>
                    </a:moveTo>
                    <a:lnTo>
                      <a:pt x="985" y="991"/>
                    </a:lnTo>
                    <a:lnTo>
                      <a:pt x="983" y="991"/>
                    </a:lnTo>
                    <a:close/>
                    <a:moveTo>
                      <a:pt x="861" y="1156"/>
                    </a:moveTo>
                    <a:lnTo>
                      <a:pt x="861" y="1158"/>
                    </a:lnTo>
                    <a:lnTo>
                      <a:pt x="861" y="1156"/>
                    </a:lnTo>
                    <a:close/>
                    <a:moveTo>
                      <a:pt x="864" y="1141"/>
                    </a:moveTo>
                    <a:lnTo>
                      <a:pt x="866" y="1143"/>
                    </a:lnTo>
                    <a:lnTo>
                      <a:pt x="866" y="1141"/>
                    </a:lnTo>
                    <a:lnTo>
                      <a:pt x="866" y="1143"/>
                    </a:lnTo>
                    <a:lnTo>
                      <a:pt x="866" y="1145"/>
                    </a:lnTo>
                    <a:lnTo>
                      <a:pt x="864" y="1145"/>
                    </a:lnTo>
                    <a:lnTo>
                      <a:pt x="864" y="1146"/>
                    </a:lnTo>
                    <a:lnTo>
                      <a:pt x="864" y="1148"/>
                    </a:lnTo>
                    <a:lnTo>
                      <a:pt x="862" y="1148"/>
                    </a:lnTo>
                    <a:lnTo>
                      <a:pt x="862" y="1150"/>
                    </a:lnTo>
                    <a:lnTo>
                      <a:pt x="862" y="1151"/>
                    </a:lnTo>
                    <a:lnTo>
                      <a:pt x="861" y="1151"/>
                    </a:lnTo>
                    <a:lnTo>
                      <a:pt x="861" y="1153"/>
                    </a:lnTo>
                    <a:lnTo>
                      <a:pt x="861" y="1155"/>
                    </a:lnTo>
                    <a:lnTo>
                      <a:pt x="862" y="1155"/>
                    </a:lnTo>
                    <a:lnTo>
                      <a:pt x="861" y="1155"/>
                    </a:lnTo>
                    <a:lnTo>
                      <a:pt x="861" y="1156"/>
                    </a:lnTo>
                    <a:lnTo>
                      <a:pt x="861" y="1155"/>
                    </a:lnTo>
                    <a:lnTo>
                      <a:pt x="859" y="1156"/>
                    </a:lnTo>
                    <a:lnTo>
                      <a:pt x="859" y="1155"/>
                    </a:lnTo>
                    <a:lnTo>
                      <a:pt x="859" y="1153"/>
                    </a:lnTo>
                    <a:lnTo>
                      <a:pt x="859" y="1151"/>
                    </a:lnTo>
                    <a:lnTo>
                      <a:pt x="859" y="1150"/>
                    </a:lnTo>
                    <a:lnTo>
                      <a:pt x="861" y="1150"/>
                    </a:lnTo>
                    <a:lnTo>
                      <a:pt x="859" y="1150"/>
                    </a:lnTo>
                    <a:lnTo>
                      <a:pt x="859" y="1148"/>
                    </a:lnTo>
                    <a:lnTo>
                      <a:pt x="861" y="1148"/>
                    </a:lnTo>
                    <a:lnTo>
                      <a:pt x="861" y="1146"/>
                    </a:lnTo>
                    <a:lnTo>
                      <a:pt x="861" y="1145"/>
                    </a:lnTo>
                    <a:lnTo>
                      <a:pt x="859" y="1145"/>
                    </a:lnTo>
                    <a:lnTo>
                      <a:pt x="859" y="1143"/>
                    </a:lnTo>
                    <a:lnTo>
                      <a:pt x="861" y="1143"/>
                    </a:lnTo>
                    <a:lnTo>
                      <a:pt x="859" y="1143"/>
                    </a:lnTo>
                    <a:lnTo>
                      <a:pt x="861" y="1143"/>
                    </a:lnTo>
                    <a:lnTo>
                      <a:pt x="861" y="1141"/>
                    </a:lnTo>
                    <a:lnTo>
                      <a:pt x="861" y="1143"/>
                    </a:lnTo>
                    <a:lnTo>
                      <a:pt x="862" y="1141"/>
                    </a:lnTo>
                    <a:lnTo>
                      <a:pt x="864" y="1141"/>
                    </a:lnTo>
                    <a:lnTo>
                      <a:pt x="862" y="1141"/>
                    </a:lnTo>
                    <a:lnTo>
                      <a:pt x="864" y="1139"/>
                    </a:lnTo>
                    <a:lnTo>
                      <a:pt x="864" y="1141"/>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8" name="Freeform 21">
                <a:extLst>
                  <a:ext uri="{FF2B5EF4-FFF2-40B4-BE49-F238E27FC236}">
                    <a16:creationId xmlns:a16="http://schemas.microsoft.com/office/drawing/2014/main" id="{638A737B-AC0B-D22D-457B-2E0830861D2D}"/>
                  </a:ext>
                </a:extLst>
              </p:cNvPr>
              <p:cNvSpPr>
                <a:spLocks noEditPoints="1"/>
              </p:cNvSpPr>
              <p:nvPr/>
            </p:nvSpPr>
            <p:spPr bwMode="auto">
              <a:xfrm>
                <a:off x="5293224" y="3123357"/>
                <a:ext cx="426185" cy="496678"/>
              </a:xfrm>
              <a:custGeom>
                <a:avLst/>
                <a:gdLst>
                  <a:gd name="T0" fmla="*/ 1322 w 1451"/>
                  <a:gd name="T1" fmla="*/ 542 h 1691"/>
                  <a:gd name="T2" fmla="*/ 1283 w 1451"/>
                  <a:gd name="T3" fmla="*/ 838 h 1691"/>
                  <a:gd name="T4" fmla="*/ 1278 w 1451"/>
                  <a:gd name="T5" fmla="*/ 1092 h 1691"/>
                  <a:gd name="T6" fmla="*/ 1217 w 1451"/>
                  <a:gd name="T7" fmla="*/ 1381 h 1691"/>
                  <a:gd name="T8" fmla="*/ 1264 w 1451"/>
                  <a:gd name="T9" fmla="*/ 1556 h 1691"/>
                  <a:gd name="T10" fmla="*/ 1205 w 1451"/>
                  <a:gd name="T11" fmla="*/ 1514 h 1691"/>
                  <a:gd name="T12" fmla="*/ 1234 w 1451"/>
                  <a:gd name="T13" fmla="*/ 1488 h 1691"/>
                  <a:gd name="T14" fmla="*/ 1208 w 1451"/>
                  <a:gd name="T15" fmla="*/ 1446 h 1691"/>
                  <a:gd name="T16" fmla="*/ 1196 w 1451"/>
                  <a:gd name="T17" fmla="*/ 1384 h 1691"/>
                  <a:gd name="T18" fmla="*/ 1200 w 1451"/>
                  <a:gd name="T19" fmla="*/ 1320 h 1691"/>
                  <a:gd name="T20" fmla="*/ 1219 w 1451"/>
                  <a:gd name="T21" fmla="*/ 1260 h 1691"/>
                  <a:gd name="T22" fmla="*/ 1196 w 1451"/>
                  <a:gd name="T23" fmla="*/ 1208 h 1691"/>
                  <a:gd name="T24" fmla="*/ 1169 w 1451"/>
                  <a:gd name="T25" fmla="*/ 1153 h 1691"/>
                  <a:gd name="T26" fmla="*/ 1222 w 1451"/>
                  <a:gd name="T27" fmla="*/ 1134 h 1691"/>
                  <a:gd name="T28" fmla="*/ 1236 w 1451"/>
                  <a:gd name="T29" fmla="*/ 988 h 1691"/>
                  <a:gd name="T30" fmla="*/ 1219 w 1451"/>
                  <a:gd name="T31" fmla="*/ 871 h 1691"/>
                  <a:gd name="T32" fmla="*/ 1285 w 1451"/>
                  <a:gd name="T33" fmla="*/ 556 h 1691"/>
                  <a:gd name="T34" fmla="*/ 1312 w 1451"/>
                  <a:gd name="T35" fmla="*/ 212 h 1691"/>
                  <a:gd name="T36" fmla="*/ 1389 w 1451"/>
                  <a:gd name="T37" fmla="*/ 127 h 1691"/>
                  <a:gd name="T38" fmla="*/ 1287 w 1451"/>
                  <a:gd name="T39" fmla="*/ 1609 h 1691"/>
                  <a:gd name="T40" fmla="*/ 1321 w 1451"/>
                  <a:gd name="T41" fmla="*/ 1595 h 1691"/>
                  <a:gd name="T42" fmla="*/ 1338 w 1451"/>
                  <a:gd name="T43" fmla="*/ 1505 h 1691"/>
                  <a:gd name="T44" fmla="*/ 1174 w 1451"/>
                  <a:gd name="T45" fmla="*/ 1286 h 1691"/>
                  <a:gd name="T46" fmla="*/ 1164 w 1451"/>
                  <a:gd name="T47" fmla="*/ 1344 h 1691"/>
                  <a:gd name="T48" fmla="*/ 1173 w 1451"/>
                  <a:gd name="T49" fmla="*/ 1284 h 1691"/>
                  <a:gd name="T50" fmla="*/ 1251 w 1451"/>
                  <a:gd name="T51" fmla="*/ 1505 h 1691"/>
                  <a:gd name="T52" fmla="*/ 1355 w 1451"/>
                  <a:gd name="T53" fmla="*/ 1662 h 1691"/>
                  <a:gd name="T54" fmla="*/ 1247 w 1451"/>
                  <a:gd name="T55" fmla="*/ 1568 h 1691"/>
                  <a:gd name="T56" fmla="*/ 1402 w 1451"/>
                  <a:gd name="T57" fmla="*/ 1628 h 1691"/>
                  <a:gd name="T58" fmla="*/ 1300 w 1451"/>
                  <a:gd name="T59" fmla="*/ 1566 h 1691"/>
                  <a:gd name="T60" fmla="*/ 1174 w 1451"/>
                  <a:gd name="T61" fmla="*/ 1502 h 1691"/>
                  <a:gd name="T62" fmla="*/ 1156 w 1451"/>
                  <a:gd name="T63" fmla="*/ 1379 h 1691"/>
                  <a:gd name="T64" fmla="*/ 1156 w 1451"/>
                  <a:gd name="T65" fmla="*/ 1284 h 1691"/>
                  <a:gd name="T66" fmla="*/ 1179 w 1451"/>
                  <a:gd name="T67" fmla="*/ 1282 h 1691"/>
                  <a:gd name="T68" fmla="*/ 1312 w 1451"/>
                  <a:gd name="T69" fmla="*/ 1643 h 1691"/>
                  <a:gd name="T70" fmla="*/ 1169 w 1451"/>
                  <a:gd name="T71" fmla="*/ 1265 h 1691"/>
                  <a:gd name="T72" fmla="*/ 1152 w 1451"/>
                  <a:gd name="T73" fmla="*/ 1277 h 1691"/>
                  <a:gd name="T74" fmla="*/ 1168 w 1451"/>
                  <a:gd name="T75" fmla="*/ 1422 h 1691"/>
                  <a:gd name="T76" fmla="*/ 1196 w 1451"/>
                  <a:gd name="T77" fmla="*/ 1481 h 1691"/>
                  <a:gd name="T78" fmla="*/ 1208 w 1451"/>
                  <a:gd name="T79" fmla="*/ 1126 h 1691"/>
                  <a:gd name="T80" fmla="*/ 1193 w 1451"/>
                  <a:gd name="T81" fmla="*/ 1099 h 1691"/>
                  <a:gd name="T82" fmla="*/ 1292 w 1451"/>
                  <a:gd name="T83" fmla="*/ 1626 h 1691"/>
                  <a:gd name="T84" fmla="*/ 1207 w 1451"/>
                  <a:gd name="T85" fmla="*/ 1155 h 1691"/>
                  <a:gd name="T86" fmla="*/ 1190 w 1451"/>
                  <a:gd name="T87" fmla="*/ 1114 h 1691"/>
                  <a:gd name="T88" fmla="*/ 1173 w 1451"/>
                  <a:gd name="T89" fmla="*/ 1138 h 1691"/>
                  <a:gd name="T90" fmla="*/ 1326 w 1451"/>
                  <a:gd name="T91" fmla="*/ 1629 h 1691"/>
                  <a:gd name="T92" fmla="*/ 1164 w 1451"/>
                  <a:gd name="T93" fmla="*/ 1391 h 1691"/>
                  <a:gd name="T94" fmla="*/ 1173 w 1451"/>
                  <a:gd name="T95" fmla="*/ 1417 h 1691"/>
                  <a:gd name="T96" fmla="*/ 1229 w 1451"/>
                  <a:gd name="T97" fmla="*/ 952 h 1691"/>
                  <a:gd name="T98" fmla="*/ 1183 w 1451"/>
                  <a:gd name="T99" fmla="*/ 1075 h 1691"/>
                  <a:gd name="T100" fmla="*/ 1229 w 1451"/>
                  <a:gd name="T101" fmla="*/ 976 h 1691"/>
                  <a:gd name="T102" fmla="*/ 1378 w 1451"/>
                  <a:gd name="T103" fmla="*/ 1660 h 1691"/>
                  <a:gd name="T104" fmla="*/ 1208 w 1451"/>
                  <a:gd name="T105" fmla="*/ 1065 h 1691"/>
                  <a:gd name="T106" fmla="*/ 1229 w 1451"/>
                  <a:gd name="T107" fmla="*/ 1585 h 1691"/>
                  <a:gd name="T108" fmla="*/ 1336 w 1451"/>
                  <a:gd name="T109" fmla="*/ 1653 h 1691"/>
                  <a:gd name="T110" fmla="*/ 1185 w 1451"/>
                  <a:gd name="T111" fmla="*/ 1463 h 1691"/>
                  <a:gd name="T112" fmla="*/ 1171 w 1451"/>
                  <a:gd name="T113" fmla="*/ 1481 h 1691"/>
                  <a:gd name="T114" fmla="*/ 1215 w 1451"/>
                  <a:gd name="T115" fmla="*/ 1521 h 1691"/>
                  <a:gd name="T116" fmla="*/ 1159 w 1451"/>
                  <a:gd name="T117" fmla="*/ 1356 h 1691"/>
                  <a:gd name="T118" fmla="*/ 1251 w 1451"/>
                  <a:gd name="T119" fmla="*/ 1597 h 1691"/>
                  <a:gd name="T120" fmla="*/ 1232 w 1451"/>
                  <a:gd name="T121" fmla="*/ 1546 h 1691"/>
                  <a:gd name="T122" fmla="*/ 1281 w 1451"/>
                  <a:gd name="T123" fmla="*/ 1614 h 1691"/>
                  <a:gd name="T124" fmla="*/ 1168 w 1451"/>
                  <a:gd name="T125" fmla="*/ 1405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51" h="1691">
                    <a:moveTo>
                      <a:pt x="1426" y="190"/>
                    </a:moveTo>
                    <a:lnTo>
                      <a:pt x="1429" y="194"/>
                    </a:lnTo>
                    <a:lnTo>
                      <a:pt x="1433" y="197"/>
                    </a:lnTo>
                    <a:lnTo>
                      <a:pt x="1429" y="206"/>
                    </a:lnTo>
                    <a:lnTo>
                      <a:pt x="1429" y="207"/>
                    </a:lnTo>
                    <a:lnTo>
                      <a:pt x="1428" y="214"/>
                    </a:lnTo>
                    <a:lnTo>
                      <a:pt x="1424" y="224"/>
                    </a:lnTo>
                    <a:lnTo>
                      <a:pt x="1424" y="226"/>
                    </a:lnTo>
                    <a:lnTo>
                      <a:pt x="1421" y="236"/>
                    </a:lnTo>
                    <a:lnTo>
                      <a:pt x="1416" y="238"/>
                    </a:lnTo>
                    <a:lnTo>
                      <a:pt x="1409" y="241"/>
                    </a:lnTo>
                    <a:lnTo>
                      <a:pt x="1400" y="245"/>
                    </a:lnTo>
                    <a:lnTo>
                      <a:pt x="1399" y="245"/>
                    </a:lnTo>
                    <a:lnTo>
                      <a:pt x="1397" y="246"/>
                    </a:lnTo>
                    <a:lnTo>
                      <a:pt x="1390" y="248"/>
                    </a:lnTo>
                    <a:lnTo>
                      <a:pt x="1390" y="250"/>
                    </a:lnTo>
                    <a:lnTo>
                      <a:pt x="1389" y="250"/>
                    </a:lnTo>
                    <a:lnTo>
                      <a:pt x="1389" y="252"/>
                    </a:lnTo>
                    <a:lnTo>
                      <a:pt x="1387" y="253"/>
                    </a:lnTo>
                    <a:lnTo>
                      <a:pt x="1387" y="252"/>
                    </a:lnTo>
                    <a:lnTo>
                      <a:pt x="1385" y="252"/>
                    </a:lnTo>
                    <a:lnTo>
                      <a:pt x="1385" y="253"/>
                    </a:lnTo>
                    <a:lnTo>
                      <a:pt x="1385" y="255"/>
                    </a:lnTo>
                    <a:lnTo>
                      <a:pt x="1383" y="255"/>
                    </a:lnTo>
                    <a:lnTo>
                      <a:pt x="1383" y="257"/>
                    </a:lnTo>
                    <a:lnTo>
                      <a:pt x="1382" y="257"/>
                    </a:lnTo>
                    <a:lnTo>
                      <a:pt x="1382" y="258"/>
                    </a:lnTo>
                    <a:lnTo>
                      <a:pt x="1382" y="260"/>
                    </a:lnTo>
                    <a:lnTo>
                      <a:pt x="1380" y="260"/>
                    </a:lnTo>
                    <a:lnTo>
                      <a:pt x="1380" y="262"/>
                    </a:lnTo>
                    <a:lnTo>
                      <a:pt x="1380" y="263"/>
                    </a:lnTo>
                    <a:lnTo>
                      <a:pt x="1380" y="265"/>
                    </a:lnTo>
                    <a:lnTo>
                      <a:pt x="1382" y="267"/>
                    </a:lnTo>
                    <a:lnTo>
                      <a:pt x="1383" y="267"/>
                    </a:lnTo>
                    <a:lnTo>
                      <a:pt x="1383" y="269"/>
                    </a:lnTo>
                    <a:lnTo>
                      <a:pt x="1383" y="270"/>
                    </a:lnTo>
                    <a:lnTo>
                      <a:pt x="1385" y="270"/>
                    </a:lnTo>
                    <a:lnTo>
                      <a:pt x="1385" y="272"/>
                    </a:lnTo>
                    <a:lnTo>
                      <a:pt x="1387" y="272"/>
                    </a:lnTo>
                    <a:lnTo>
                      <a:pt x="1387" y="274"/>
                    </a:lnTo>
                    <a:lnTo>
                      <a:pt x="1387" y="275"/>
                    </a:lnTo>
                    <a:lnTo>
                      <a:pt x="1385" y="275"/>
                    </a:lnTo>
                    <a:lnTo>
                      <a:pt x="1385" y="277"/>
                    </a:lnTo>
                    <a:lnTo>
                      <a:pt x="1385" y="275"/>
                    </a:lnTo>
                    <a:lnTo>
                      <a:pt x="1383" y="275"/>
                    </a:lnTo>
                    <a:lnTo>
                      <a:pt x="1382" y="277"/>
                    </a:lnTo>
                    <a:lnTo>
                      <a:pt x="1382" y="279"/>
                    </a:lnTo>
                    <a:lnTo>
                      <a:pt x="1382" y="280"/>
                    </a:lnTo>
                    <a:lnTo>
                      <a:pt x="1380" y="280"/>
                    </a:lnTo>
                    <a:lnTo>
                      <a:pt x="1380" y="282"/>
                    </a:lnTo>
                    <a:lnTo>
                      <a:pt x="1380" y="284"/>
                    </a:lnTo>
                    <a:lnTo>
                      <a:pt x="1382" y="284"/>
                    </a:lnTo>
                    <a:lnTo>
                      <a:pt x="1382" y="286"/>
                    </a:lnTo>
                    <a:lnTo>
                      <a:pt x="1380" y="286"/>
                    </a:lnTo>
                    <a:lnTo>
                      <a:pt x="1380" y="287"/>
                    </a:lnTo>
                    <a:lnTo>
                      <a:pt x="1378" y="287"/>
                    </a:lnTo>
                    <a:lnTo>
                      <a:pt x="1380" y="289"/>
                    </a:lnTo>
                    <a:lnTo>
                      <a:pt x="1380" y="291"/>
                    </a:lnTo>
                    <a:lnTo>
                      <a:pt x="1380" y="292"/>
                    </a:lnTo>
                    <a:lnTo>
                      <a:pt x="1382" y="292"/>
                    </a:lnTo>
                    <a:lnTo>
                      <a:pt x="1380" y="294"/>
                    </a:lnTo>
                    <a:lnTo>
                      <a:pt x="1380" y="296"/>
                    </a:lnTo>
                    <a:lnTo>
                      <a:pt x="1382" y="296"/>
                    </a:lnTo>
                    <a:lnTo>
                      <a:pt x="1382" y="297"/>
                    </a:lnTo>
                    <a:lnTo>
                      <a:pt x="1383" y="299"/>
                    </a:lnTo>
                    <a:lnTo>
                      <a:pt x="1383" y="304"/>
                    </a:lnTo>
                    <a:lnTo>
                      <a:pt x="1385" y="308"/>
                    </a:lnTo>
                    <a:lnTo>
                      <a:pt x="1385" y="309"/>
                    </a:lnTo>
                    <a:lnTo>
                      <a:pt x="1385" y="313"/>
                    </a:lnTo>
                    <a:lnTo>
                      <a:pt x="1385" y="316"/>
                    </a:lnTo>
                    <a:lnTo>
                      <a:pt x="1383" y="316"/>
                    </a:lnTo>
                    <a:lnTo>
                      <a:pt x="1382" y="318"/>
                    </a:lnTo>
                    <a:lnTo>
                      <a:pt x="1380" y="320"/>
                    </a:lnTo>
                    <a:lnTo>
                      <a:pt x="1380" y="323"/>
                    </a:lnTo>
                    <a:lnTo>
                      <a:pt x="1378" y="325"/>
                    </a:lnTo>
                    <a:lnTo>
                      <a:pt x="1378" y="326"/>
                    </a:lnTo>
                    <a:lnTo>
                      <a:pt x="1380" y="328"/>
                    </a:lnTo>
                    <a:lnTo>
                      <a:pt x="1380" y="330"/>
                    </a:lnTo>
                    <a:lnTo>
                      <a:pt x="1382" y="331"/>
                    </a:lnTo>
                    <a:lnTo>
                      <a:pt x="1382" y="333"/>
                    </a:lnTo>
                    <a:lnTo>
                      <a:pt x="1383" y="333"/>
                    </a:lnTo>
                    <a:lnTo>
                      <a:pt x="1383" y="335"/>
                    </a:lnTo>
                    <a:lnTo>
                      <a:pt x="1385" y="338"/>
                    </a:lnTo>
                    <a:lnTo>
                      <a:pt x="1387" y="338"/>
                    </a:lnTo>
                    <a:lnTo>
                      <a:pt x="1387" y="340"/>
                    </a:lnTo>
                    <a:lnTo>
                      <a:pt x="1389" y="342"/>
                    </a:lnTo>
                    <a:lnTo>
                      <a:pt x="1389" y="343"/>
                    </a:lnTo>
                    <a:lnTo>
                      <a:pt x="1390" y="343"/>
                    </a:lnTo>
                    <a:lnTo>
                      <a:pt x="1389" y="343"/>
                    </a:lnTo>
                    <a:lnTo>
                      <a:pt x="1389" y="345"/>
                    </a:lnTo>
                    <a:lnTo>
                      <a:pt x="1389" y="347"/>
                    </a:lnTo>
                    <a:lnTo>
                      <a:pt x="1389" y="349"/>
                    </a:lnTo>
                    <a:lnTo>
                      <a:pt x="1387" y="349"/>
                    </a:lnTo>
                    <a:lnTo>
                      <a:pt x="1385" y="349"/>
                    </a:lnTo>
                    <a:lnTo>
                      <a:pt x="1383" y="349"/>
                    </a:lnTo>
                    <a:lnTo>
                      <a:pt x="1383" y="350"/>
                    </a:lnTo>
                    <a:lnTo>
                      <a:pt x="1382" y="349"/>
                    </a:lnTo>
                    <a:lnTo>
                      <a:pt x="1383" y="350"/>
                    </a:lnTo>
                    <a:lnTo>
                      <a:pt x="1382" y="352"/>
                    </a:lnTo>
                    <a:lnTo>
                      <a:pt x="1380" y="350"/>
                    </a:lnTo>
                    <a:lnTo>
                      <a:pt x="1380" y="352"/>
                    </a:lnTo>
                    <a:lnTo>
                      <a:pt x="1380" y="354"/>
                    </a:lnTo>
                    <a:lnTo>
                      <a:pt x="1378" y="352"/>
                    </a:lnTo>
                    <a:lnTo>
                      <a:pt x="1378" y="354"/>
                    </a:lnTo>
                    <a:lnTo>
                      <a:pt x="1377" y="352"/>
                    </a:lnTo>
                    <a:lnTo>
                      <a:pt x="1377" y="350"/>
                    </a:lnTo>
                    <a:lnTo>
                      <a:pt x="1375" y="350"/>
                    </a:lnTo>
                    <a:lnTo>
                      <a:pt x="1373" y="350"/>
                    </a:lnTo>
                    <a:lnTo>
                      <a:pt x="1372" y="350"/>
                    </a:lnTo>
                    <a:lnTo>
                      <a:pt x="1372" y="352"/>
                    </a:lnTo>
                    <a:lnTo>
                      <a:pt x="1370" y="352"/>
                    </a:lnTo>
                    <a:lnTo>
                      <a:pt x="1370" y="354"/>
                    </a:lnTo>
                    <a:lnTo>
                      <a:pt x="1370" y="355"/>
                    </a:lnTo>
                    <a:lnTo>
                      <a:pt x="1370" y="357"/>
                    </a:lnTo>
                    <a:lnTo>
                      <a:pt x="1372" y="357"/>
                    </a:lnTo>
                    <a:lnTo>
                      <a:pt x="1370" y="357"/>
                    </a:lnTo>
                    <a:lnTo>
                      <a:pt x="1370" y="359"/>
                    </a:lnTo>
                    <a:lnTo>
                      <a:pt x="1368" y="359"/>
                    </a:lnTo>
                    <a:lnTo>
                      <a:pt x="1368" y="360"/>
                    </a:lnTo>
                    <a:lnTo>
                      <a:pt x="1368" y="362"/>
                    </a:lnTo>
                    <a:lnTo>
                      <a:pt x="1366" y="362"/>
                    </a:lnTo>
                    <a:lnTo>
                      <a:pt x="1368" y="362"/>
                    </a:lnTo>
                    <a:lnTo>
                      <a:pt x="1366" y="364"/>
                    </a:lnTo>
                    <a:lnTo>
                      <a:pt x="1366" y="362"/>
                    </a:lnTo>
                    <a:lnTo>
                      <a:pt x="1366" y="364"/>
                    </a:lnTo>
                    <a:lnTo>
                      <a:pt x="1365" y="364"/>
                    </a:lnTo>
                    <a:lnTo>
                      <a:pt x="1366" y="364"/>
                    </a:lnTo>
                    <a:lnTo>
                      <a:pt x="1366" y="366"/>
                    </a:lnTo>
                    <a:lnTo>
                      <a:pt x="1366" y="367"/>
                    </a:lnTo>
                    <a:lnTo>
                      <a:pt x="1365" y="367"/>
                    </a:lnTo>
                    <a:lnTo>
                      <a:pt x="1366" y="367"/>
                    </a:lnTo>
                    <a:lnTo>
                      <a:pt x="1365" y="369"/>
                    </a:lnTo>
                    <a:lnTo>
                      <a:pt x="1363" y="369"/>
                    </a:lnTo>
                    <a:lnTo>
                      <a:pt x="1363" y="371"/>
                    </a:lnTo>
                    <a:lnTo>
                      <a:pt x="1363" y="372"/>
                    </a:lnTo>
                    <a:lnTo>
                      <a:pt x="1363" y="374"/>
                    </a:lnTo>
                    <a:lnTo>
                      <a:pt x="1361" y="374"/>
                    </a:lnTo>
                    <a:lnTo>
                      <a:pt x="1361" y="376"/>
                    </a:lnTo>
                    <a:lnTo>
                      <a:pt x="1361" y="377"/>
                    </a:lnTo>
                    <a:lnTo>
                      <a:pt x="1361" y="379"/>
                    </a:lnTo>
                    <a:lnTo>
                      <a:pt x="1361" y="381"/>
                    </a:lnTo>
                    <a:lnTo>
                      <a:pt x="1360" y="381"/>
                    </a:lnTo>
                    <a:lnTo>
                      <a:pt x="1360" y="383"/>
                    </a:lnTo>
                    <a:lnTo>
                      <a:pt x="1360" y="384"/>
                    </a:lnTo>
                    <a:lnTo>
                      <a:pt x="1358" y="383"/>
                    </a:lnTo>
                    <a:lnTo>
                      <a:pt x="1356" y="384"/>
                    </a:lnTo>
                    <a:lnTo>
                      <a:pt x="1356" y="386"/>
                    </a:lnTo>
                    <a:lnTo>
                      <a:pt x="1355" y="388"/>
                    </a:lnTo>
                    <a:lnTo>
                      <a:pt x="1355" y="389"/>
                    </a:lnTo>
                    <a:lnTo>
                      <a:pt x="1353" y="391"/>
                    </a:lnTo>
                    <a:lnTo>
                      <a:pt x="1353" y="393"/>
                    </a:lnTo>
                    <a:lnTo>
                      <a:pt x="1351" y="393"/>
                    </a:lnTo>
                    <a:lnTo>
                      <a:pt x="1349" y="391"/>
                    </a:lnTo>
                    <a:lnTo>
                      <a:pt x="1349" y="393"/>
                    </a:lnTo>
                    <a:lnTo>
                      <a:pt x="1349" y="394"/>
                    </a:lnTo>
                    <a:lnTo>
                      <a:pt x="1348" y="394"/>
                    </a:lnTo>
                    <a:lnTo>
                      <a:pt x="1348" y="396"/>
                    </a:lnTo>
                    <a:lnTo>
                      <a:pt x="1348" y="398"/>
                    </a:lnTo>
                    <a:lnTo>
                      <a:pt x="1346" y="398"/>
                    </a:lnTo>
                    <a:lnTo>
                      <a:pt x="1344" y="398"/>
                    </a:lnTo>
                    <a:lnTo>
                      <a:pt x="1346" y="400"/>
                    </a:lnTo>
                    <a:lnTo>
                      <a:pt x="1344" y="400"/>
                    </a:lnTo>
                    <a:lnTo>
                      <a:pt x="1343" y="400"/>
                    </a:lnTo>
                    <a:lnTo>
                      <a:pt x="1343" y="401"/>
                    </a:lnTo>
                    <a:lnTo>
                      <a:pt x="1344" y="401"/>
                    </a:lnTo>
                    <a:lnTo>
                      <a:pt x="1343" y="401"/>
                    </a:lnTo>
                    <a:lnTo>
                      <a:pt x="1343" y="403"/>
                    </a:lnTo>
                    <a:lnTo>
                      <a:pt x="1343" y="405"/>
                    </a:lnTo>
                    <a:lnTo>
                      <a:pt x="1343" y="406"/>
                    </a:lnTo>
                    <a:lnTo>
                      <a:pt x="1341" y="406"/>
                    </a:lnTo>
                    <a:lnTo>
                      <a:pt x="1343" y="408"/>
                    </a:lnTo>
                    <a:lnTo>
                      <a:pt x="1341" y="408"/>
                    </a:lnTo>
                    <a:lnTo>
                      <a:pt x="1341" y="410"/>
                    </a:lnTo>
                    <a:lnTo>
                      <a:pt x="1341" y="411"/>
                    </a:lnTo>
                    <a:lnTo>
                      <a:pt x="1341" y="413"/>
                    </a:lnTo>
                    <a:lnTo>
                      <a:pt x="1341" y="415"/>
                    </a:lnTo>
                    <a:lnTo>
                      <a:pt x="1341" y="417"/>
                    </a:lnTo>
                    <a:lnTo>
                      <a:pt x="1339" y="417"/>
                    </a:lnTo>
                    <a:lnTo>
                      <a:pt x="1339" y="418"/>
                    </a:lnTo>
                    <a:lnTo>
                      <a:pt x="1339" y="420"/>
                    </a:lnTo>
                    <a:lnTo>
                      <a:pt x="1339" y="422"/>
                    </a:lnTo>
                    <a:lnTo>
                      <a:pt x="1339" y="423"/>
                    </a:lnTo>
                    <a:lnTo>
                      <a:pt x="1338" y="423"/>
                    </a:lnTo>
                    <a:lnTo>
                      <a:pt x="1339" y="425"/>
                    </a:lnTo>
                    <a:lnTo>
                      <a:pt x="1338" y="425"/>
                    </a:lnTo>
                    <a:lnTo>
                      <a:pt x="1338" y="427"/>
                    </a:lnTo>
                    <a:lnTo>
                      <a:pt x="1339" y="427"/>
                    </a:lnTo>
                    <a:lnTo>
                      <a:pt x="1338" y="427"/>
                    </a:lnTo>
                    <a:lnTo>
                      <a:pt x="1338" y="428"/>
                    </a:lnTo>
                    <a:lnTo>
                      <a:pt x="1336" y="428"/>
                    </a:lnTo>
                    <a:lnTo>
                      <a:pt x="1334" y="428"/>
                    </a:lnTo>
                    <a:lnTo>
                      <a:pt x="1334" y="430"/>
                    </a:lnTo>
                    <a:lnTo>
                      <a:pt x="1332" y="430"/>
                    </a:lnTo>
                    <a:lnTo>
                      <a:pt x="1332" y="432"/>
                    </a:lnTo>
                    <a:lnTo>
                      <a:pt x="1332" y="434"/>
                    </a:lnTo>
                    <a:lnTo>
                      <a:pt x="1331" y="434"/>
                    </a:lnTo>
                    <a:lnTo>
                      <a:pt x="1331" y="435"/>
                    </a:lnTo>
                    <a:lnTo>
                      <a:pt x="1331" y="437"/>
                    </a:lnTo>
                    <a:lnTo>
                      <a:pt x="1331" y="439"/>
                    </a:lnTo>
                    <a:lnTo>
                      <a:pt x="1332" y="439"/>
                    </a:lnTo>
                    <a:lnTo>
                      <a:pt x="1332" y="440"/>
                    </a:lnTo>
                    <a:lnTo>
                      <a:pt x="1332" y="442"/>
                    </a:lnTo>
                    <a:lnTo>
                      <a:pt x="1332" y="444"/>
                    </a:lnTo>
                    <a:lnTo>
                      <a:pt x="1334" y="444"/>
                    </a:lnTo>
                    <a:lnTo>
                      <a:pt x="1332" y="445"/>
                    </a:lnTo>
                    <a:lnTo>
                      <a:pt x="1334" y="445"/>
                    </a:lnTo>
                    <a:lnTo>
                      <a:pt x="1332" y="447"/>
                    </a:lnTo>
                    <a:lnTo>
                      <a:pt x="1334" y="447"/>
                    </a:lnTo>
                    <a:lnTo>
                      <a:pt x="1332" y="447"/>
                    </a:lnTo>
                    <a:lnTo>
                      <a:pt x="1332" y="449"/>
                    </a:lnTo>
                    <a:lnTo>
                      <a:pt x="1334" y="449"/>
                    </a:lnTo>
                    <a:lnTo>
                      <a:pt x="1334" y="451"/>
                    </a:lnTo>
                    <a:lnTo>
                      <a:pt x="1336" y="451"/>
                    </a:lnTo>
                    <a:lnTo>
                      <a:pt x="1336" y="452"/>
                    </a:lnTo>
                    <a:lnTo>
                      <a:pt x="1334" y="452"/>
                    </a:lnTo>
                    <a:lnTo>
                      <a:pt x="1334" y="454"/>
                    </a:lnTo>
                    <a:lnTo>
                      <a:pt x="1334" y="456"/>
                    </a:lnTo>
                    <a:lnTo>
                      <a:pt x="1336" y="456"/>
                    </a:lnTo>
                    <a:lnTo>
                      <a:pt x="1334" y="457"/>
                    </a:lnTo>
                    <a:lnTo>
                      <a:pt x="1336" y="457"/>
                    </a:lnTo>
                    <a:lnTo>
                      <a:pt x="1334" y="459"/>
                    </a:lnTo>
                    <a:lnTo>
                      <a:pt x="1334" y="461"/>
                    </a:lnTo>
                    <a:lnTo>
                      <a:pt x="1334" y="462"/>
                    </a:lnTo>
                    <a:lnTo>
                      <a:pt x="1334" y="464"/>
                    </a:lnTo>
                    <a:lnTo>
                      <a:pt x="1332" y="464"/>
                    </a:lnTo>
                    <a:lnTo>
                      <a:pt x="1332" y="466"/>
                    </a:lnTo>
                    <a:lnTo>
                      <a:pt x="1334" y="466"/>
                    </a:lnTo>
                    <a:lnTo>
                      <a:pt x="1336" y="466"/>
                    </a:lnTo>
                    <a:lnTo>
                      <a:pt x="1336" y="468"/>
                    </a:lnTo>
                    <a:lnTo>
                      <a:pt x="1338" y="468"/>
                    </a:lnTo>
                    <a:lnTo>
                      <a:pt x="1338" y="469"/>
                    </a:lnTo>
                    <a:lnTo>
                      <a:pt x="1338" y="471"/>
                    </a:lnTo>
                    <a:lnTo>
                      <a:pt x="1336" y="471"/>
                    </a:lnTo>
                    <a:lnTo>
                      <a:pt x="1336" y="469"/>
                    </a:lnTo>
                    <a:lnTo>
                      <a:pt x="1336" y="471"/>
                    </a:lnTo>
                    <a:lnTo>
                      <a:pt x="1336" y="473"/>
                    </a:lnTo>
                    <a:lnTo>
                      <a:pt x="1334" y="473"/>
                    </a:lnTo>
                    <a:lnTo>
                      <a:pt x="1334" y="474"/>
                    </a:lnTo>
                    <a:lnTo>
                      <a:pt x="1334" y="476"/>
                    </a:lnTo>
                    <a:lnTo>
                      <a:pt x="1332" y="476"/>
                    </a:lnTo>
                    <a:lnTo>
                      <a:pt x="1331" y="476"/>
                    </a:lnTo>
                    <a:lnTo>
                      <a:pt x="1331" y="478"/>
                    </a:lnTo>
                    <a:lnTo>
                      <a:pt x="1329" y="478"/>
                    </a:lnTo>
                    <a:lnTo>
                      <a:pt x="1329" y="476"/>
                    </a:lnTo>
                    <a:lnTo>
                      <a:pt x="1327" y="476"/>
                    </a:lnTo>
                    <a:lnTo>
                      <a:pt x="1327" y="474"/>
                    </a:lnTo>
                    <a:lnTo>
                      <a:pt x="1326" y="476"/>
                    </a:lnTo>
                    <a:lnTo>
                      <a:pt x="1327" y="478"/>
                    </a:lnTo>
                    <a:lnTo>
                      <a:pt x="1327" y="479"/>
                    </a:lnTo>
                    <a:lnTo>
                      <a:pt x="1326" y="479"/>
                    </a:lnTo>
                    <a:lnTo>
                      <a:pt x="1326" y="481"/>
                    </a:lnTo>
                    <a:lnTo>
                      <a:pt x="1324" y="481"/>
                    </a:lnTo>
                    <a:lnTo>
                      <a:pt x="1326" y="481"/>
                    </a:lnTo>
                    <a:lnTo>
                      <a:pt x="1324" y="483"/>
                    </a:lnTo>
                    <a:lnTo>
                      <a:pt x="1324" y="485"/>
                    </a:lnTo>
                    <a:lnTo>
                      <a:pt x="1324" y="486"/>
                    </a:lnTo>
                    <a:lnTo>
                      <a:pt x="1322" y="486"/>
                    </a:lnTo>
                    <a:lnTo>
                      <a:pt x="1322" y="488"/>
                    </a:lnTo>
                    <a:lnTo>
                      <a:pt x="1324" y="488"/>
                    </a:lnTo>
                    <a:lnTo>
                      <a:pt x="1322" y="488"/>
                    </a:lnTo>
                    <a:lnTo>
                      <a:pt x="1322" y="490"/>
                    </a:lnTo>
                    <a:lnTo>
                      <a:pt x="1322" y="491"/>
                    </a:lnTo>
                    <a:lnTo>
                      <a:pt x="1322" y="493"/>
                    </a:lnTo>
                    <a:lnTo>
                      <a:pt x="1322" y="495"/>
                    </a:lnTo>
                    <a:lnTo>
                      <a:pt x="1321" y="495"/>
                    </a:lnTo>
                    <a:lnTo>
                      <a:pt x="1321" y="497"/>
                    </a:lnTo>
                    <a:lnTo>
                      <a:pt x="1321" y="498"/>
                    </a:lnTo>
                    <a:lnTo>
                      <a:pt x="1321" y="500"/>
                    </a:lnTo>
                    <a:lnTo>
                      <a:pt x="1321" y="502"/>
                    </a:lnTo>
                    <a:lnTo>
                      <a:pt x="1322" y="502"/>
                    </a:lnTo>
                    <a:lnTo>
                      <a:pt x="1322" y="503"/>
                    </a:lnTo>
                    <a:lnTo>
                      <a:pt x="1321" y="503"/>
                    </a:lnTo>
                    <a:lnTo>
                      <a:pt x="1319" y="503"/>
                    </a:lnTo>
                    <a:lnTo>
                      <a:pt x="1319" y="505"/>
                    </a:lnTo>
                    <a:lnTo>
                      <a:pt x="1319" y="507"/>
                    </a:lnTo>
                    <a:lnTo>
                      <a:pt x="1317" y="508"/>
                    </a:lnTo>
                    <a:lnTo>
                      <a:pt x="1317" y="507"/>
                    </a:lnTo>
                    <a:lnTo>
                      <a:pt x="1317" y="505"/>
                    </a:lnTo>
                    <a:lnTo>
                      <a:pt x="1315" y="505"/>
                    </a:lnTo>
                    <a:lnTo>
                      <a:pt x="1315" y="503"/>
                    </a:lnTo>
                    <a:lnTo>
                      <a:pt x="1315" y="505"/>
                    </a:lnTo>
                    <a:lnTo>
                      <a:pt x="1314" y="505"/>
                    </a:lnTo>
                    <a:lnTo>
                      <a:pt x="1314" y="507"/>
                    </a:lnTo>
                    <a:lnTo>
                      <a:pt x="1314" y="508"/>
                    </a:lnTo>
                    <a:lnTo>
                      <a:pt x="1314" y="510"/>
                    </a:lnTo>
                    <a:lnTo>
                      <a:pt x="1314" y="512"/>
                    </a:lnTo>
                    <a:lnTo>
                      <a:pt x="1312" y="514"/>
                    </a:lnTo>
                    <a:lnTo>
                      <a:pt x="1314" y="514"/>
                    </a:lnTo>
                    <a:lnTo>
                      <a:pt x="1314" y="515"/>
                    </a:lnTo>
                    <a:lnTo>
                      <a:pt x="1314" y="517"/>
                    </a:lnTo>
                    <a:lnTo>
                      <a:pt x="1312" y="517"/>
                    </a:lnTo>
                    <a:lnTo>
                      <a:pt x="1312" y="519"/>
                    </a:lnTo>
                    <a:lnTo>
                      <a:pt x="1312" y="520"/>
                    </a:lnTo>
                    <a:lnTo>
                      <a:pt x="1312" y="522"/>
                    </a:lnTo>
                    <a:lnTo>
                      <a:pt x="1312" y="524"/>
                    </a:lnTo>
                    <a:lnTo>
                      <a:pt x="1312" y="525"/>
                    </a:lnTo>
                    <a:lnTo>
                      <a:pt x="1314" y="525"/>
                    </a:lnTo>
                    <a:lnTo>
                      <a:pt x="1314" y="527"/>
                    </a:lnTo>
                    <a:lnTo>
                      <a:pt x="1315" y="527"/>
                    </a:lnTo>
                    <a:lnTo>
                      <a:pt x="1315" y="529"/>
                    </a:lnTo>
                    <a:lnTo>
                      <a:pt x="1315" y="531"/>
                    </a:lnTo>
                    <a:lnTo>
                      <a:pt x="1315" y="532"/>
                    </a:lnTo>
                    <a:lnTo>
                      <a:pt x="1315" y="534"/>
                    </a:lnTo>
                    <a:lnTo>
                      <a:pt x="1317" y="536"/>
                    </a:lnTo>
                    <a:lnTo>
                      <a:pt x="1319" y="536"/>
                    </a:lnTo>
                    <a:lnTo>
                      <a:pt x="1321" y="536"/>
                    </a:lnTo>
                    <a:lnTo>
                      <a:pt x="1322" y="536"/>
                    </a:lnTo>
                    <a:lnTo>
                      <a:pt x="1322" y="537"/>
                    </a:lnTo>
                    <a:lnTo>
                      <a:pt x="1324" y="537"/>
                    </a:lnTo>
                    <a:lnTo>
                      <a:pt x="1324" y="539"/>
                    </a:lnTo>
                    <a:lnTo>
                      <a:pt x="1322" y="541"/>
                    </a:lnTo>
                    <a:lnTo>
                      <a:pt x="1322" y="542"/>
                    </a:lnTo>
                    <a:lnTo>
                      <a:pt x="1321" y="542"/>
                    </a:lnTo>
                    <a:lnTo>
                      <a:pt x="1319" y="541"/>
                    </a:lnTo>
                    <a:lnTo>
                      <a:pt x="1319" y="542"/>
                    </a:lnTo>
                    <a:lnTo>
                      <a:pt x="1321" y="544"/>
                    </a:lnTo>
                    <a:lnTo>
                      <a:pt x="1319" y="544"/>
                    </a:lnTo>
                    <a:lnTo>
                      <a:pt x="1321" y="544"/>
                    </a:lnTo>
                    <a:lnTo>
                      <a:pt x="1321" y="546"/>
                    </a:lnTo>
                    <a:lnTo>
                      <a:pt x="1321" y="548"/>
                    </a:lnTo>
                    <a:lnTo>
                      <a:pt x="1321" y="549"/>
                    </a:lnTo>
                    <a:lnTo>
                      <a:pt x="1321" y="551"/>
                    </a:lnTo>
                    <a:lnTo>
                      <a:pt x="1322" y="553"/>
                    </a:lnTo>
                    <a:lnTo>
                      <a:pt x="1324" y="553"/>
                    </a:lnTo>
                    <a:lnTo>
                      <a:pt x="1324" y="554"/>
                    </a:lnTo>
                    <a:lnTo>
                      <a:pt x="1324" y="556"/>
                    </a:lnTo>
                    <a:lnTo>
                      <a:pt x="1324" y="558"/>
                    </a:lnTo>
                    <a:lnTo>
                      <a:pt x="1326" y="559"/>
                    </a:lnTo>
                    <a:lnTo>
                      <a:pt x="1327" y="559"/>
                    </a:lnTo>
                    <a:lnTo>
                      <a:pt x="1326" y="561"/>
                    </a:lnTo>
                    <a:lnTo>
                      <a:pt x="1327" y="561"/>
                    </a:lnTo>
                    <a:lnTo>
                      <a:pt x="1327" y="563"/>
                    </a:lnTo>
                    <a:lnTo>
                      <a:pt x="1326" y="565"/>
                    </a:lnTo>
                    <a:lnTo>
                      <a:pt x="1326" y="566"/>
                    </a:lnTo>
                    <a:lnTo>
                      <a:pt x="1326" y="568"/>
                    </a:lnTo>
                    <a:lnTo>
                      <a:pt x="1326" y="570"/>
                    </a:lnTo>
                    <a:lnTo>
                      <a:pt x="1327" y="570"/>
                    </a:lnTo>
                    <a:lnTo>
                      <a:pt x="1327" y="571"/>
                    </a:lnTo>
                    <a:lnTo>
                      <a:pt x="1327" y="573"/>
                    </a:lnTo>
                    <a:lnTo>
                      <a:pt x="1329" y="573"/>
                    </a:lnTo>
                    <a:lnTo>
                      <a:pt x="1329" y="575"/>
                    </a:lnTo>
                    <a:lnTo>
                      <a:pt x="1331" y="576"/>
                    </a:lnTo>
                    <a:lnTo>
                      <a:pt x="1331" y="578"/>
                    </a:lnTo>
                    <a:lnTo>
                      <a:pt x="1331" y="580"/>
                    </a:lnTo>
                    <a:lnTo>
                      <a:pt x="1332" y="580"/>
                    </a:lnTo>
                    <a:lnTo>
                      <a:pt x="1331" y="580"/>
                    </a:lnTo>
                    <a:lnTo>
                      <a:pt x="1331" y="582"/>
                    </a:lnTo>
                    <a:lnTo>
                      <a:pt x="1329" y="582"/>
                    </a:lnTo>
                    <a:lnTo>
                      <a:pt x="1327" y="583"/>
                    </a:lnTo>
                    <a:lnTo>
                      <a:pt x="1329" y="583"/>
                    </a:lnTo>
                    <a:lnTo>
                      <a:pt x="1329" y="585"/>
                    </a:lnTo>
                    <a:lnTo>
                      <a:pt x="1329" y="587"/>
                    </a:lnTo>
                    <a:lnTo>
                      <a:pt x="1329" y="588"/>
                    </a:lnTo>
                    <a:lnTo>
                      <a:pt x="1329" y="590"/>
                    </a:lnTo>
                    <a:lnTo>
                      <a:pt x="1331" y="590"/>
                    </a:lnTo>
                    <a:lnTo>
                      <a:pt x="1331" y="592"/>
                    </a:lnTo>
                    <a:lnTo>
                      <a:pt x="1331" y="593"/>
                    </a:lnTo>
                    <a:lnTo>
                      <a:pt x="1332" y="593"/>
                    </a:lnTo>
                    <a:lnTo>
                      <a:pt x="1332" y="592"/>
                    </a:lnTo>
                    <a:lnTo>
                      <a:pt x="1334" y="592"/>
                    </a:lnTo>
                    <a:lnTo>
                      <a:pt x="1334" y="590"/>
                    </a:lnTo>
                    <a:lnTo>
                      <a:pt x="1334" y="592"/>
                    </a:lnTo>
                    <a:lnTo>
                      <a:pt x="1336" y="592"/>
                    </a:lnTo>
                    <a:lnTo>
                      <a:pt x="1338" y="592"/>
                    </a:lnTo>
                    <a:lnTo>
                      <a:pt x="1338" y="593"/>
                    </a:lnTo>
                    <a:lnTo>
                      <a:pt x="1339" y="593"/>
                    </a:lnTo>
                    <a:lnTo>
                      <a:pt x="1339" y="595"/>
                    </a:lnTo>
                    <a:lnTo>
                      <a:pt x="1339" y="597"/>
                    </a:lnTo>
                    <a:lnTo>
                      <a:pt x="1338" y="597"/>
                    </a:lnTo>
                    <a:lnTo>
                      <a:pt x="1338" y="599"/>
                    </a:lnTo>
                    <a:lnTo>
                      <a:pt x="1338" y="600"/>
                    </a:lnTo>
                    <a:lnTo>
                      <a:pt x="1338" y="602"/>
                    </a:lnTo>
                    <a:lnTo>
                      <a:pt x="1336" y="602"/>
                    </a:lnTo>
                    <a:lnTo>
                      <a:pt x="1336" y="604"/>
                    </a:lnTo>
                    <a:lnTo>
                      <a:pt x="1336" y="605"/>
                    </a:lnTo>
                    <a:lnTo>
                      <a:pt x="1336" y="607"/>
                    </a:lnTo>
                    <a:lnTo>
                      <a:pt x="1336" y="609"/>
                    </a:lnTo>
                    <a:lnTo>
                      <a:pt x="1336" y="610"/>
                    </a:lnTo>
                    <a:lnTo>
                      <a:pt x="1334" y="610"/>
                    </a:lnTo>
                    <a:lnTo>
                      <a:pt x="1334" y="612"/>
                    </a:lnTo>
                    <a:lnTo>
                      <a:pt x="1334" y="614"/>
                    </a:lnTo>
                    <a:lnTo>
                      <a:pt x="1334" y="616"/>
                    </a:lnTo>
                    <a:lnTo>
                      <a:pt x="1336" y="616"/>
                    </a:lnTo>
                    <a:lnTo>
                      <a:pt x="1336" y="617"/>
                    </a:lnTo>
                    <a:lnTo>
                      <a:pt x="1334" y="617"/>
                    </a:lnTo>
                    <a:lnTo>
                      <a:pt x="1334" y="619"/>
                    </a:lnTo>
                    <a:lnTo>
                      <a:pt x="1336" y="621"/>
                    </a:lnTo>
                    <a:lnTo>
                      <a:pt x="1336" y="619"/>
                    </a:lnTo>
                    <a:lnTo>
                      <a:pt x="1336" y="621"/>
                    </a:lnTo>
                    <a:lnTo>
                      <a:pt x="1338" y="622"/>
                    </a:lnTo>
                    <a:lnTo>
                      <a:pt x="1336" y="622"/>
                    </a:lnTo>
                    <a:lnTo>
                      <a:pt x="1336" y="624"/>
                    </a:lnTo>
                    <a:lnTo>
                      <a:pt x="1338" y="624"/>
                    </a:lnTo>
                    <a:lnTo>
                      <a:pt x="1336" y="626"/>
                    </a:lnTo>
                    <a:lnTo>
                      <a:pt x="1336" y="627"/>
                    </a:lnTo>
                    <a:lnTo>
                      <a:pt x="1338" y="627"/>
                    </a:lnTo>
                    <a:lnTo>
                      <a:pt x="1338" y="629"/>
                    </a:lnTo>
                    <a:lnTo>
                      <a:pt x="1338" y="631"/>
                    </a:lnTo>
                    <a:lnTo>
                      <a:pt x="1336" y="631"/>
                    </a:lnTo>
                    <a:lnTo>
                      <a:pt x="1336" y="633"/>
                    </a:lnTo>
                    <a:lnTo>
                      <a:pt x="1334" y="633"/>
                    </a:lnTo>
                    <a:lnTo>
                      <a:pt x="1332" y="633"/>
                    </a:lnTo>
                    <a:lnTo>
                      <a:pt x="1332" y="631"/>
                    </a:lnTo>
                    <a:lnTo>
                      <a:pt x="1332" y="633"/>
                    </a:lnTo>
                    <a:lnTo>
                      <a:pt x="1331" y="633"/>
                    </a:lnTo>
                    <a:lnTo>
                      <a:pt x="1331" y="634"/>
                    </a:lnTo>
                    <a:lnTo>
                      <a:pt x="1331" y="636"/>
                    </a:lnTo>
                    <a:lnTo>
                      <a:pt x="1331" y="638"/>
                    </a:lnTo>
                    <a:lnTo>
                      <a:pt x="1329" y="639"/>
                    </a:lnTo>
                    <a:lnTo>
                      <a:pt x="1329" y="641"/>
                    </a:lnTo>
                    <a:lnTo>
                      <a:pt x="1327" y="641"/>
                    </a:lnTo>
                    <a:lnTo>
                      <a:pt x="1326" y="643"/>
                    </a:lnTo>
                    <a:lnTo>
                      <a:pt x="1326" y="644"/>
                    </a:lnTo>
                    <a:lnTo>
                      <a:pt x="1324" y="646"/>
                    </a:lnTo>
                    <a:lnTo>
                      <a:pt x="1324" y="648"/>
                    </a:lnTo>
                    <a:lnTo>
                      <a:pt x="1324" y="650"/>
                    </a:lnTo>
                    <a:lnTo>
                      <a:pt x="1322" y="650"/>
                    </a:lnTo>
                    <a:lnTo>
                      <a:pt x="1322" y="651"/>
                    </a:lnTo>
                    <a:lnTo>
                      <a:pt x="1321" y="651"/>
                    </a:lnTo>
                    <a:lnTo>
                      <a:pt x="1321" y="653"/>
                    </a:lnTo>
                    <a:lnTo>
                      <a:pt x="1322" y="653"/>
                    </a:lnTo>
                    <a:lnTo>
                      <a:pt x="1322" y="655"/>
                    </a:lnTo>
                    <a:lnTo>
                      <a:pt x="1322" y="656"/>
                    </a:lnTo>
                    <a:lnTo>
                      <a:pt x="1321" y="658"/>
                    </a:lnTo>
                    <a:lnTo>
                      <a:pt x="1321" y="660"/>
                    </a:lnTo>
                    <a:lnTo>
                      <a:pt x="1321" y="662"/>
                    </a:lnTo>
                    <a:lnTo>
                      <a:pt x="1319" y="662"/>
                    </a:lnTo>
                    <a:lnTo>
                      <a:pt x="1319" y="663"/>
                    </a:lnTo>
                    <a:lnTo>
                      <a:pt x="1319" y="665"/>
                    </a:lnTo>
                    <a:lnTo>
                      <a:pt x="1319" y="667"/>
                    </a:lnTo>
                    <a:lnTo>
                      <a:pt x="1319" y="668"/>
                    </a:lnTo>
                    <a:lnTo>
                      <a:pt x="1319" y="670"/>
                    </a:lnTo>
                    <a:lnTo>
                      <a:pt x="1317" y="670"/>
                    </a:lnTo>
                    <a:lnTo>
                      <a:pt x="1315" y="670"/>
                    </a:lnTo>
                    <a:lnTo>
                      <a:pt x="1314" y="670"/>
                    </a:lnTo>
                    <a:lnTo>
                      <a:pt x="1312" y="670"/>
                    </a:lnTo>
                    <a:lnTo>
                      <a:pt x="1312" y="672"/>
                    </a:lnTo>
                    <a:lnTo>
                      <a:pt x="1312" y="673"/>
                    </a:lnTo>
                    <a:lnTo>
                      <a:pt x="1312" y="675"/>
                    </a:lnTo>
                    <a:lnTo>
                      <a:pt x="1314" y="675"/>
                    </a:lnTo>
                    <a:lnTo>
                      <a:pt x="1315" y="675"/>
                    </a:lnTo>
                    <a:lnTo>
                      <a:pt x="1317" y="675"/>
                    </a:lnTo>
                    <a:lnTo>
                      <a:pt x="1317" y="677"/>
                    </a:lnTo>
                    <a:lnTo>
                      <a:pt x="1315" y="679"/>
                    </a:lnTo>
                    <a:lnTo>
                      <a:pt x="1317" y="679"/>
                    </a:lnTo>
                    <a:lnTo>
                      <a:pt x="1315" y="680"/>
                    </a:lnTo>
                    <a:lnTo>
                      <a:pt x="1317" y="680"/>
                    </a:lnTo>
                    <a:lnTo>
                      <a:pt x="1315" y="682"/>
                    </a:lnTo>
                    <a:lnTo>
                      <a:pt x="1317" y="682"/>
                    </a:lnTo>
                    <a:lnTo>
                      <a:pt x="1319" y="684"/>
                    </a:lnTo>
                    <a:lnTo>
                      <a:pt x="1317" y="684"/>
                    </a:lnTo>
                    <a:lnTo>
                      <a:pt x="1317" y="685"/>
                    </a:lnTo>
                    <a:lnTo>
                      <a:pt x="1319" y="687"/>
                    </a:lnTo>
                    <a:lnTo>
                      <a:pt x="1317" y="689"/>
                    </a:lnTo>
                    <a:lnTo>
                      <a:pt x="1317" y="690"/>
                    </a:lnTo>
                    <a:lnTo>
                      <a:pt x="1319" y="690"/>
                    </a:lnTo>
                    <a:lnTo>
                      <a:pt x="1319" y="692"/>
                    </a:lnTo>
                    <a:lnTo>
                      <a:pt x="1319" y="694"/>
                    </a:lnTo>
                    <a:lnTo>
                      <a:pt x="1319" y="696"/>
                    </a:lnTo>
                    <a:lnTo>
                      <a:pt x="1321" y="696"/>
                    </a:lnTo>
                    <a:lnTo>
                      <a:pt x="1321" y="697"/>
                    </a:lnTo>
                    <a:lnTo>
                      <a:pt x="1319" y="697"/>
                    </a:lnTo>
                    <a:lnTo>
                      <a:pt x="1317" y="697"/>
                    </a:lnTo>
                    <a:lnTo>
                      <a:pt x="1317" y="699"/>
                    </a:lnTo>
                    <a:lnTo>
                      <a:pt x="1317" y="701"/>
                    </a:lnTo>
                    <a:lnTo>
                      <a:pt x="1319" y="701"/>
                    </a:lnTo>
                    <a:lnTo>
                      <a:pt x="1317" y="702"/>
                    </a:lnTo>
                    <a:lnTo>
                      <a:pt x="1319" y="702"/>
                    </a:lnTo>
                    <a:lnTo>
                      <a:pt x="1319" y="704"/>
                    </a:lnTo>
                    <a:lnTo>
                      <a:pt x="1319" y="706"/>
                    </a:lnTo>
                    <a:lnTo>
                      <a:pt x="1317" y="706"/>
                    </a:lnTo>
                    <a:lnTo>
                      <a:pt x="1317" y="707"/>
                    </a:lnTo>
                    <a:lnTo>
                      <a:pt x="1317" y="709"/>
                    </a:lnTo>
                    <a:lnTo>
                      <a:pt x="1317" y="711"/>
                    </a:lnTo>
                    <a:lnTo>
                      <a:pt x="1315" y="711"/>
                    </a:lnTo>
                    <a:lnTo>
                      <a:pt x="1314" y="711"/>
                    </a:lnTo>
                    <a:lnTo>
                      <a:pt x="1314" y="709"/>
                    </a:lnTo>
                    <a:lnTo>
                      <a:pt x="1312" y="709"/>
                    </a:lnTo>
                    <a:lnTo>
                      <a:pt x="1312" y="711"/>
                    </a:lnTo>
                    <a:lnTo>
                      <a:pt x="1310" y="711"/>
                    </a:lnTo>
                    <a:lnTo>
                      <a:pt x="1310" y="713"/>
                    </a:lnTo>
                    <a:lnTo>
                      <a:pt x="1310" y="714"/>
                    </a:lnTo>
                    <a:lnTo>
                      <a:pt x="1309" y="714"/>
                    </a:lnTo>
                    <a:lnTo>
                      <a:pt x="1307" y="714"/>
                    </a:lnTo>
                    <a:lnTo>
                      <a:pt x="1309" y="716"/>
                    </a:lnTo>
                    <a:lnTo>
                      <a:pt x="1307" y="718"/>
                    </a:lnTo>
                    <a:lnTo>
                      <a:pt x="1307" y="719"/>
                    </a:lnTo>
                    <a:lnTo>
                      <a:pt x="1309" y="719"/>
                    </a:lnTo>
                    <a:lnTo>
                      <a:pt x="1309" y="721"/>
                    </a:lnTo>
                    <a:lnTo>
                      <a:pt x="1307" y="721"/>
                    </a:lnTo>
                    <a:lnTo>
                      <a:pt x="1305" y="721"/>
                    </a:lnTo>
                    <a:lnTo>
                      <a:pt x="1304" y="721"/>
                    </a:lnTo>
                    <a:lnTo>
                      <a:pt x="1304" y="719"/>
                    </a:lnTo>
                    <a:lnTo>
                      <a:pt x="1304" y="721"/>
                    </a:lnTo>
                    <a:lnTo>
                      <a:pt x="1302" y="721"/>
                    </a:lnTo>
                    <a:lnTo>
                      <a:pt x="1302" y="719"/>
                    </a:lnTo>
                    <a:lnTo>
                      <a:pt x="1302" y="721"/>
                    </a:lnTo>
                    <a:lnTo>
                      <a:pt x="1302" y="723"/>
                    </a:lnTo>
                    <a:lnTo>
                      <a:pt x="1300" y="723"/>
                    </a:lnTo>
                    <a:lnTo>
                      <a:pt x="1300" y="724"/>
                    </a:lnTo>
                    <a:lnTo>
                      <a:pt x="1298" y="724"/>
                    </a:lnTo>
                    <a:lnTo>
                      <a:pt x="1297" y="724"/>
                    </a:lnTo>
                    <a:lnTo>
                      <a:pt x="1297" y="723"/>
                    </a:lnTo>
                    <a:lnTo>
                      <a:pt x="1297" y="724"/>
                    </a:lnTo>
                    <a:lnTo>
                      <a:pt x="1295" y="726"/>
                    </a:lnTo>
                    <a:lnTo>
                      <a:pt x="1297" y="726"/>
                    </a:lnTo>
                    <a:lnTo>
                      <a:pt x="1295" y="728"/>
                    </a:lnTo>
                    <a:lnTo>
                      <a:pt x="1297" y="728"/>
                    </a:lnTo>
                    <a:lnTo>
                      <a:pt x="1295" y="730"/>
                    </a:lnTo>
                    <a:lnTo>
                      <a:pt x="1297" y="730"/>
                    </a:lnTo>
                    <a:lnTo>
                      <a:pt x="1297" y="731"/>
                    </a:lnTo>
                    <a:lnTo>
                      <a:pt x="1297" y="733"/>
                    </a:lnTo>
                    <a:lnTo>
                      <a:pt x="1295" y="733"/>
                    </a:lnTo>
                    <a:lnTo>
                      <a:pt x="1295" y="731"/>
                    </a:lnTo>
                    <a:lnTo>
                      <a:pt x="1293" y="731"/>
                    </a:lnTo>
                    <a:lnTo>
                      <a:pt x="1293" y="733"/>
                    </a:lnTo>
                    <a:lnTo>
                      <a:pt x="1293" y="735"/>
                    </a:lnTo>
                    <a:lnTo>
                      <a:pt x="1293" y="736"/>
                    </a:lnTo>
                    <a:lnTo>
                      <a:pt x="1293" y="738"/>
                    </a:lnTo>
                    <a:lnTo>
                      <a:pt x="1292" y="738"/>
                    </a:lnTo>
                    <a:lnTo>
                      <a:pt x="1292" y="740"/>
                    </a:lnTo>
                    <a:lnTo>
                      <a:pt x="1293" y="740"/>
                    </a:lnTo>
                    <a:lnTo>
                      <a:pt x="1293" y="741"/>
                    </a:lnTo>
                    <a:lnTo>
                      <a:pt x="1292" y="741"/>
                    </a:lnTo>
                    <a:lnTo>
                      <a:pt x="1293" y="743"/>
                    </a:lnTo>
                    <a:lnTo>
                      <a:pt x="1295" y="743"/>
                    </a:lnTo>
                    <a:lnTo>
                      <a:pt x="1293" y="743"/>
                    </a:lnTo>
                    <a:lnTo>
                      <a:pt x="1293" y="745"/>
                    </a:lnTo>
                    <a:lnTo>
                      <a:pt x="1292" y="745"/>
                    </a:lnTo>
                    <a:lnTo>
                      <a:pt x="1290" y="745"/>
                    </a:lnTo>
                    <a:lnTo>
                      <a:pt x="1292" y="745"/>
                    </a:lnTo>
                    <a:lnTo>
                      <a:pt x="1292" y="747"/>
                    </a:lnTo>
                    <a:lnTo>
                      <a:pt x="1293" y="747"/>
                    </a:lnTo>
                    <a:lnTo>
                      <a:pt x="1293" y="748"/>
                    </a:lnTo>
                    <a:lnTo>
                      <a:pt x="1293" y="750"/>
                    </a:lnTo>
                    <a:lnTo>
                      <a:pt x="1295" y="750"/>
                    </a:lnTo>
                    <a:lnTo>
                      <a:pt x="1295" y="752"/>
                    </a:lnTo>
                    <a:lnTo>
                      <a:pt x="1293" y="752"/>
                    </a:lnTo>
                    <a:lnTo>
                      <a:pt x="1293" y="753"/>
                    </a:lnTo>
                    <a:lnTo>
                      <a:pt x="1293" y="755"/>
                    </a:lnTo>
                    <a:lnTo>
                      <a:pt x="1292" y="755"/>
                    </a:lnTo>
                    <a:lnTo>
                      <a:pt x="1292" y="757"/>
                    </a:lnTo>
                    <a:lnTo>
                      <a:pt x="1290" y="757"/>
                    </a:lnTo>
                    <a:lnTo>
                      <a:pt x="1290" y="758"/>
                    </a:lnTo>
                    <a:lnTo>
                      <a:pt x="1290" y="760"/>
                    </a:lnTo>
                    <a:lnTo>
                      <a:pt x="1292" y="760"/>
                    </a:lnTo>
                    <a:lnTo>
                      <a:pt x="1290" y="762"/>
                    </a:lnTo>
                    <a:lnTo>
                      <a:pt x="1292" y="762"/>
                    </a:lnTo>
                    <a:lnTo>
                      <a:pt x="1293" y="764"/>
                    </a:lnTo>
                    <a:lnTo>
                      <a:pt x="1293" y="765"/>
                    </a:lnTo>
                    <a:lnTo>
                      <a:pt x="1293" y="767"/>
                    </a:lnTo>
                    <a:lnTo>
                      <a:pt x="1293" y="769"/>
                    </a:lnTo>
                    <a:lnTo>
                      <a:pt x="1292" y="769"/>
                    </a:lnTo>
                    <a:lnTo>
                      <a:pt x="1293" y="769"/>
                    </a:lnTo>
                    <a:lnTo>
                      <a:pt x="1293" y="770"/>
                    </a:lnTo>
                    <a:lnTo>
                      <a:pt x="1292" y="772"/>
                    </a:lnTo>
                    <a:lnTo>
                      <a:pt x="1290" y="774"/>
                    </a:lnTo>
                    <a:lnTo>
                      <a:pt x="1290" y="775"/>
                    </a:lnTo>
                    <a:lnTo>
                      <a:pt x="1292" y="775"/>
                    </a:lnTo>
                    <a:lnTo>
                      <a:pt x="1292" y="777"/>
                    </a:lnTo>
                    <a:lnTo>
                      <a:pt x="1292" y="779"/>
                    </a:lnTo>
                    <a:lnTo>
                      <a:pt x="1292" y="781"/>
                    </a:lnTo>
                    <a:lnTo>
                      <a:pt x="1293" y="781"/>
                    </a:lnTo>
                    <a:lnTo>
                      <a:pt x="1292" y="781"/>
                    </a:lnTo>
                    <a:lnTo>
                      <a:pt x="1292" y="782"/>
                    </a:lnTo>
                    <a:lnTo>
                      <a:pt x="1293" y="782"/>
                    </a:lnTo>
                    <a:lnTo>
                      <a:pt x="1293" y="784"/>
                    </a:lnTo>
                    <a:lnTo>
                      <a:pt x="1293" y="786"/>
                    </a:lnTo>
                    <a:lnTo>
                      <a:pt x="1295" y="787"/>
                    </a:lnTo>
                    <a:lnTo>
                      <a:pt x="1295" y="789"/>
                    </a:lnTo>
                    <a:lnTo>
                      <a:pt x="1295" y="791"/>
                    </a:lnTo>
                    <a:lnTo>
                      <a:pt x="1297" y="791"/>
                    </a:lnTo>
                    <a:lnTo>
                      <a:pt x="1297" y="792"/>
                    </a:lnTo>
                    <a:lnTo>
                      <a:pt x="1298" y="792"/>
                    </a:lnTo>
                    <a:lnTo>
                      <a:pt x="1297" y="792"/>
                    </a:lnTo>
                    <a:lnTo>
                      <a:pt x="1295" y="792"/>
                    </a:lnTo>
                    <a:lnTo>
                      <a:pt x="1297" y="794"/>
                    </a:lnTo>
                    <a:lnTo>
                      <a:pt x="1298" y="796"/>
                    </a:lnTo>
                    <a:lnTo>
                      <a:pt x="1298" y="798"/>
                    </a:lnTo>
                    <a:lnTo>
                      <a:pt x="1297" y="798"/>
                    </a:lnTo>
                    <a:lnTo>
                      <a:pt x="1297" y="799"/>
                    </a:lnTo>
                    <a:lnTo>
                      <a:pt x="1297" y="801"/>
                    </a:lnTo>
                    <a:lnTo>
                      <a:pt x="1297" y="803"/>
                    </a:lnTo>
                    <a:lnTo>
                      <a:pt x="1298" y="803"/>
                    </a:lnTo>
                    <a:lnTo>
                      <a:pt x="1297" y="803"/>
                    </a:lnTo>
                    <a:lnTo>
                      <a:pt x="1298" y="804"/>
                    </a:lnTo>
                    <a:lnTo>
                      <a:pt x="1298" y="806"/>
                    </a:lnTo>
                    <a:lnTo>
                      <a:pt x="1298" y="808"/>
                    </a:lnTo>
                    <a:lnTo>
                      <a:pt x="1300" y="808"/>
                    </a:lnTo>
                    <a:lnTo>
                      <a:pt x="1300" y="809"/>
                    </a:lnTo>
                    <a:lnTo>
                      <a:pt x="1302" y="809"/>
                    </a:lnTo>
                    <a:lnTo>
                      <a:pt x="1302" y="811"/>
                    </a:lnTo>
                    <a:lnTo>
                      <a:pt x="1304" y="811"/>
                    </a:lnTo>
                    <a:lnTo>
                      <a:pt x="1304" y="813"/>
                    </a:lnTo>
                    <a:lnTo>
                      <a:pt x="1304" y="815"/>
                    </a:lnTo>
                    <a:lnTo>
                      <a:pt x="1302" y="815"/>
                    </a:lnTo>
                    <a:lnTo>
                      <a:pt x="1302" y="816"/>
                    </a:lnTo>
                    <a:lnTo>
                      <a:pt x="1300" y="816"/>
                    </a:lnTo>
                    <a:lnTo>
                      <a:pt x="1300" y="818"/>
                    </a:lnTo>
                    <a:lnTo>
                      <a:pt x="1302" y="818"/>
                    </a:lnTo>
                    <a:lnTo>
                      <a:pt x="1302" y="820"/>
                    </a:lnTo>
                    <a:lnTo>
                      <a:pt x="1300" y="820"/>
                    </a:lnTo>
                    <a:lnTo>
                      <a:pt x="1300" y="821"/>
                    </a:lnTo>
                    <a:lnTo>
                      <a:pt x="1298" y="821"/>
                    </a:lnTo>
                    <a:lnTo>
                      <a:pt x="1297" y="821"/>
                    </a:lnTo>
                    <a:lnTo>
                      <a:pt x="1295" y="821"/>
                    </a:lnTo>
                    <a:lnTo>
                      <a:pt x="1293" y="821"/>
                    </a:lnTo>
                    <a:lnTo>
                      <a:pt x="1293" y="823"/>
                    </a:lnTo>
                    <a:lnTo>
                      <a:pt x="1292" y="823"/>
                    </a:lnTo>
                    <a:lnTo>
                      <a:pt x="1290" y="823"/>
                    </a:lnTo>
                    <a:lnTo>
                      <a:pt x="1288" y="823"/>
                    </a:lnTo>
                    <a:lnTo>
                      <a:pt x="1288" y="825"/>
                    </a:lnTo>
                    <a:lnTo>
                      <a:pt x="1287" y="827"/>
                    </a:lnTo>
                    <a:lnTo>
                      <a:pt x="1285" y="827"/>
                    </a:lnTo>
                    <a:lnTo>
                      <a:pt x="1285" y="828"/>
                    </a:lnTo>
                    <a:lnTo>
                      <a:pt x="1283" y="828"/>
                    </a:lnTo>
                    <a:lnTo>
                      <a:pt x="1283" y="830"/>
                    </a:lnTo>
                    <a:lnTo>
                      <a:pt x="1283" y="832"/>
                    </a:lnTo>
                    <a:lnTo>
                      <a:pt x="1283" y="833"/>
                    </a:lnTo>
                    <a:lnTo>
                      <a:pt x="1285" y="833"/>
                    </a:lnTo>
                    <a:lnTo>
                      <a:pt x="1283" y="833"/>
                    </a:lnTo>
                    <a:lnTo>
                      <a:pt x="1283" y="835"/>
                    </a:lnTo>
                    <a:lnTo>
                      <a:pt x="1283" y="837"/>
                    </a:lnTo>
                    <a:lnTo>
                      <a:pt x="1283" y="838"/>
                    </a:lnTo>
                    <a:lnTo>
                      <a:pt x="1285" y="840"/>
                    </a:lnTo>
                    <a:lnTo>
                      <a:pt x="1285" y="842"/>
                    </a:lnTo>
                    <a:lnTo>
                      <a:pt x="1285" y="844"/>
                    </a:lnTo>
                    <a:lnTo>
                      <a:pt x="1285" y="845"/>
                    </a:lnTo>
                    <a:lnTo>
                      <a:pt x="1285" y="847"/>
                    </a:lnTo>
                    <a:lnTo>
                      <a:pt x="1283" y="847"/>
                    </a:lnTo>
                    <a:lnTo>
                      <a:pt x="1281" y="847"/>
                    </a:lnTo>
                    <a:lnTo>
                      <a:pt x="1281" y="849"/>
                    </a:lnTo>
                    <a:lnTo>
                      <a:pt x="1283" y="849"/>
                    </a:lnTo>
                    <a:lnTo>
                      <a:pt x="1281" y="850"/>
                    </a:lnTo>
                    <a:lnTo>
                      <a:pt x="1283" y="850"/>
                    </a:lnTo>
                    <a:lnTo>
                      <a:pt x="1281" y="850"/>
                    </a:lnTo>
                    <a:lnTo>
                      <a:pt x="1281" y="852"/>
                    </a:lnTo>
                    <a:lnTo>
                      <a:pt x="1280" y="854"/>
                    </a:lnTo>
                    <a:lnTo>
                      <a:pt x="1280" y="855"/>
                    </a:lnTo>
                    <a:lnTo>
                      <a:pt x="1281" y="855"/>
                    </a:lnTo>
                    <a:lnTo>
                      <a:pt x="1281" y="857"/>
                    </a:lnTo>
                    <a:lnTo>
                      <a:pt x="1281" y="859"/>
                    </a:lnTo>
                    <a:lnTo>
                      <a:pt x="1280" y="859"/>
                    </a:lnTo>
                    <a:lnTo>
                      <a:pt x="1278" y="859"/>
                    </a:lnTo>
                    <a:lnTo>
                      <a:pt x="1276" y="859"/>
                    </a:lnTo>
                    <a:lnTo>
                      <a:pt x="1276" y="857"/>
                    </a:lnTo>
                    <a:lnTo>
                      <a:pt x="1275" y="857"/>
                    </a:lnTo>
                    <a:lnTo>
                      <a:pt x="1275" y="855"/>
                    </a:lnTo>
                    <a:lnTo>
                      <a:pt x="1275" y="857"/>
                    </a:lnTo>
                    <a:lnTo>
                      <a:pt x="1275" y="859"/>
                    </a:lnTo>
                    <a:lnTo>
                      <a:pt x="1273" y="859"/>
                    </a:lnTo>
                    <a:lnTo>
                      <a:pt x="1275" y="861"/>
                    </a:lnTo>
                    <a:lnTo>
                      <a:pt x="1275" y="862"/>
                    </a:lnTo>
                    <a:lnTo>
                      <a:pt x="1273" y="862"/>
                    </a:lnTo>
                    <a:lnTo>
                      <a:pt x="1275" y="862"/>
                    </a:lnTo>
                    <a:lnTo>
                      <a:pt x="1273" y="862"/>
                    </a:lnTo>
                    <a:lnTo>
                      <a:pt x="1273" y="864"/>
                    </a:lnTo>
                    <a:lnTo>
                      <a:pt x="1275" y="864"/>
                    </a:lnTo>
                    <a:lnTo>
                      <a:pt x="1275" y="866"/>
                    </a:lnTo>
                    <a:lnTo>
                      <a:pt x="1275" y="867"/>
                    </a:lnTo>
                    <a:lnTo>
                      <a:pt x="1275" y="869"/>
                    </a:lnTo>
                    <a:lnTo>
                      <a:pt x="1276" y="869"/>
                    </a:lnTo>
                    <a:lnTo>
                      <a:pt x="1278" y="871"/>
                    </a:lnTo>
                    <a:lnTo>
                      <a:pt x="1278" y="872"/>
                    </a:lnTo>
                    <a:lnTo>
                      <a:pt x="1276" y="872"/>
                    </a:lnTo>
                    <a:lnTo>
                      <a:pt x="1276" y="874"/>
                    </a:lnTo>
                    <a:lnTo>
                      <a:pt x="1275" y="874"/>
                    </a:lnTo>
                    <a:lnTo>
                      <a:pt x="1275" y="876"/>
                    </a:lnTo>
                    <a:lnTo>
                      <a:pt x="1275" y="878"/>
                    </a:lnTo>
                    <a:lnTo>
                      <a:pt x="1275" y="879"/>
                    </a:lnTo>
                    <a:lnTo>
                      <a:pt x="1275" y="881"/>
                    </a:lnTo>
                    <a:lnTo>
                      <a:pt x="1273" y="879"/>
                    </a:lnTo>
                    <a:lnTo>
                      <a:pt x="1271" y="879"/>
                    </a:lnTo>
                    <a:lnTo>
                      <a:pt x="1270" y="879"/>
                    </a:lnTo>
                    <a:lnTo>
                      <a:pt x="1271" y="881"/>
                    </a:lnTo>
                    <a:lnTo>
                      <a:pt x="1270" y="881"/>
                    </a:lnTo>
                    <a:lnTo>
                      <a:pt x="1270" y="883"/>
                    </a:lnTo>
                    <a:lnTo>
                      <a:pt x="1271" y="883"/>
                    </a:lnTo>
                    <a:lnTo>
                      <a:pt x="1270" y="884"/>
                    </a:lnTo>
                    <a:lnTo>
                      <a:pt x="1270" y="886"/>
                    </a:lnTo>
                    <a:lnTo>
                      <a:pt x="1271" y="886"/>
                    </a:lnTo>
                    <a:lnTo>
                      <a:pt x="1270" y="886"/>
                    </a:lnTo>
                    <a:lnTo>
                      <a:pt x="1271" y="888"/>
                    </a:lnTo>
                    <a:lnTo>
                      <a:pt x="1273" y="888"/>
                    </a:lnTo>
                    <a:lnTo>
                      <a:pt x="1275" y="888"/>
                    </a:lnTo>
                    <a:lnTo>
                      <a:pt x="1275" y="889"/>
                    </a:lnTo>
                    <a:lnTo>
                      <a:pt x="1275" y="891"/>
                    </a:lnTo>
                    <a:lnTo>
                      <a:pt x="1275" y="893"/>
                    </a:lnTo>
                    <a:lnTo>
                      <a:pt x="1273" y="895"/>
                    </a:lnTo>
                    <a:lnTo>
                      <a:pt x="1271" y="893"/>
                    </a:lnTo>
                    <a:lnTo>
                      <a:pt x="1271" y="895"/>
                    </a:lnTo>
                    <a:lnTo>
                      <a:pt x="1271" y="893"/>
                    </a:lnTo>
                    <a:lnTo>
                      <a:pt x="1270" y="895"/>
                    </a:lnTo>
                    <a:lnTo>
                      <a:pt x="1270" y="896"/>
                    </a:lnTo>
                    <a:lnTo>
                      <a:pt x="1268" y="898"/>
                    </a:lnTo>
                    <a:lnTo>
                      <a:pt x="1270" y="898"/>
                    </a:lnTo>
                    <a:lnTo>
                      <a:pt x="1268" y="900"/>
                    </a:lnTo>
                    <a:lnTo>
                      <a:pt x="1268" y="901"/>
                    </a:lnTo>
                    <a:lnTo>
                      <a:pt x="1270" y="901"/>
                    </a:lnTo>
                    <a:lnTo>
                      <a:pt x="1270" y="903"/>
                    </a:lnTo>
                    <a:lnTo>
                      <a:pt x="1268" y="903"/>
                    </a:lnTo>
                    <a:lnTo>
                      <a:pt x="1268" y="905"/>
                    </a:lnTo>
                    <a:lnTo>
                      <a:pt x="1266" y="906"/>
                    </a:lnTo>
                    <a:lnTo>
                      <a:pt x="1264" y="906"/>
                    </a:lnTo>
                    <a:lnTo>
                      <a:pt x="1264" y="908"/>
                    </a:lnTo>
                    <a:lnTo>
                      <a:pt x="1266" y="908"/>
                    </a:lnTo>
                    <a:lnTo>
                      <a:pt x="1266" y="910"/>
                    </a:lnTo>
                    <a:lnTo>
                      <a:pt x="1266" y="912"/>
                    </a:lnTo>
                    <a:lnTo>
                      <a:pt x="1266" y="913"/>
                    </a:lnTo>
                    <a:lnTo>
                      <a:pt x="1268" y="913"/>
                    </a:lnTo>
                    <a:lnTo>
                      <a:pt x="1268" y="915"/>
                    </a:lnTo>
                    <a:lnTo>
                      <a:pt x="1268" y="913"/>
                    </a:lnTo>
                    <a:lnTo>
                      <a:pt x="1268" y="915"/>
                    </a:lnTo>
                    <a:lnTo>
                      <a:pt x="1268" y="917"/>
                    </a:lnTo>
                    <a:lnTo>
                      <a:pt x="1268" y="918"/>
                    </a:lnTo>
                    <a:lnTo>
                      <a:pt x="1266" y="918"/>
                    </a:lnTo>
                    <a:lnTo>
                      <a:pt x="1268" y="918"/>
                    </a:lnTo>
                    <a:lnTo>
                      <a:pt x="1268" y="920"/>
                    </a:lnTo>
                    <a:lnTo>
                      <a:pt x="1268" y="922"/>
                    </a:lnTo>
                    <a:lnTo>
                      <a:pt x="1270" y="922"/>
                    </a:lnTo>
                    <a:lnTo>
                      <a:pt x="1270" y="923"/>
                    </a:lnTo>
                    <a:lnTo>
                      <a:pt x="1270" y="925"/>
                    </a:lnTo>
                    <a:lnTo>
                      <a:pt x="1270" y="927"/>
                    </a:lnTo>
                    <a:lnTo>
                      <a:pt x="1268" y="927"/>
                    </a:lnTo>
                    <a:lnTo>
                      <a:pt x="1268" y="929"/>
                    </a:lnTo>
                    <a:lnTo>
                      <a:pt x="1268" y="930"/>
                    </a:lnTo>
                    <a:lnTo>
                      <a:pt x="1270" y="930"/>
                    </a:lnTo>
                    <a:lnTo>
                      <a:pt x="1268" y="930"/>
                    </a:lnTo>
                    <a:lnTo>
                      <a:pt x="1270" y="932"/>
                    </a:lnTo>
                    <a:lnTo>
                      <a:pt x="1268" y="930"/>
                    </a:lnTo>
                    <a:lnTo>
                      <a:pt x="1268" y="932"/>
                    </a:lnTo>
                    <a:lnTo>
                      <a:pt x="1268" y="934"/>
                    </a:lnTo>
                    <a:lnTo>
                      <a:pt x="1268" y="935"/>
                    </a:lnTo>
                    <a:lnTo>
                      <a:pt x="1266" y="935"/>
                    </a:lnTo>
                    <a:lnTo>
                      <a:pt x="1268" y="935"/>
                    </a:lnTo>
                    <a:lnTo>
                      <a:pt x="1268" y="937"/>
                    </a:lnTo>
                    <a:lnTo>
                      <a:pt x="1268" y="939"/>
                    </a:lnTo>
                    <a:lnTo>
                      <a:pt x="1270" y="939"/>
                    </a:lnTo>
                    <a:lnTo>
                      <a:pt x="1270" y="940"/>
                    </a:lnTo>
                    <a:lnTo>
                      <a:pt x="1270" y="942"/>
                    </a:lnTo>
                    <a:lnTo>
                      <a:pt x="1270" y="944"/>
                    </a:lnTo>
                    <a:lnTo>
                      <a:pt x="1270" y="946"/>
                    </a:lnTo>
                    <a:lnTo>
                      <a:pt x="1268" y="946"/>
                    </a:lnTo>
                    <a:lnTo>
                      <a:pt x="1268" y="947"/>
                    </a:lnTo>
                    <a:lnTo>
                      <a:pt x="1268" y="949"/>
                    </a:lnTo>
                    <a:lnTo>
                      <a:pt x="1270" y="949"/>
                    </a:lnTo>
                    <a:lnTo>
                      <a:pt x="1270" y="951"/>
                    </a:lnTo>
                    <a:lnTo>
                      <a:pt x="1271" y="951"/>
                    </a:lnTo>
                    <a:lnTo>
                      <a:pt x="1270" y="952"/>
                    </a:lnTo>
                    <a:lnTo>
                      <a:pt x="1271" y="952"/>
                    </a:lnTo>
                    <a:lnTo>
                      <a:pt x="1271" y="954"/>
                    </a:lnTo>
                    <a:lnTo>
                      <a:pt x="1271" y="956"/>
                    </a:lnTo>
                    <a:lnTo>
                      <a:pt x="1271" y="957"/>
                    </a:lnTo>
                    <a:lnTo>
                      <a:pt x="1271" y="959"/>
                    </a:lnTo>
                    <a:lnTo>
                      <a:pt x="1271" y="961"/>
                    </a:lnTo>
                    <a:lnTo>
                      <a:pt x="1271" y="963"/>
                    </a:lnTo>
                    <a:lnTo>
                      <a:pt x="1271" y="964"/>
                    </a:lnTo>
                    <a:lnTo>
                      <a:pt x="1271" y="966"/>
                    </a:lnTo>
                    <a:lnTo>
                      <a:pt x="1273" y="966"/>
                    </a:lnTo>
                    <a:lnTo>
                      <a:pt x="1273" y="968"/>
                    </a:lnTo>
                    <a:lnTo>
                      <a:pt x="1273" y="969"/>
                    </a:lnTo>
                    <a:lnTo>
                      <a:pt x="1273" y="971"/>
                    </a:lnTo>
                    <a:lnTo>
                      <a:pt x="1271" y="971"/>
                    </a:lnTo>
                    <a:lnTo>
                      <a:pt x="1270" y="971"/>
                    </a:lnTo>
                    <a:lnTo>
                      <a:pt x="1270" y="973"/>
                    </a:lnTo>
                    <a:lnTo>
                      <a:pt x="1270" y="971"/>
                    </a:lnTo>
                    <a:lnTo>
                      <a:pt x="1268" y="971"/>
                    </a:lnTo>
                    <a:lnTo>
                      <a:pt x="1268" y="973"/>
                    </a:lnTo>
                    <a:lnTo>
                      <a:pt x="1266" y="973"/>
                    </a:lnTo>
                    <a:lnTo>
                      <a:pt x="1264" y="971"/>
                    </a:lnTo>
                    <a:lnTo>
                      <a:pt x="1263" y="971"/>
                    </a:lnTo>
                    <a:lnTo>
                      <a:pt x="1263" y="969"/>
                    </a:lnTo>
                    <a:lnTo>
                      <a:pt x="1261" y="969"/>
                    </a:lnTo>
                    <a:lnTo>
                      <a:pt x="1261" y="971"/>
                    </a:lnTo>
                    <a:lnTo>
                      <a:pt x="1259" y="971"/>
                    </a:lnTo>
                    <a:lnTo>
                      <a:pt x="1258" y="971"/>
                    </a:lnTo>
                    <a:lnTo>
                      <a:pt x="1258" y="973"/>
                    </a:lnTo>
                    <a:lnTo>
                      <a:pt x="1258" y="975"/>
                    </a:lnTo>
                    <a:lnTo>
                      <a:pt x="1259" y="976"/>
                    </a:lnTo>
                    <a:lnTo>
                      <a:pt x="1258" y="976"/>
                    </a:lnTo>
                    <a:lnTo>
                      <a:pt x="1259" y="978"/>
                    </a:lnTo>
                    <a:lnTo>
                      <a:pt x="1259" y="980"/>
                    </a:lnTo>
                    <a:lnTo>
                      <a:pt x="1259" y="981"/>
                    </a:lnTo>
                    <a:lnTo>
                      <a:pt x="1259" y="983"/>
                    </a:lnTo>
                    <a:lnTo>
                      <a:pt x="1261" y="981"/>
                    </a:lnTo>
                    <a:lnTo>
                      <a:pt x="1261" y="983"/>
                    </a:lnTo>
                    <a:lnTo>
                      <a:pt x="1263" y="983"/>
                    </a:lnTo>
                    <a:lnTo>
                      <a:pt x="1263" y="985"/>
                    </a:lnTo>
                    <a:lnTo>
                      <a:pt x="1263" y="986"/>
                    </a:lnTo>
                    <a:lnTo>
                      <a:pt x="1263" y="988"/>
                    </a:lnTo>
                    <a:lnTo>
                      <a:pt x="1263" y="990"/>
                    </a:lnTo>
                    <a:lnTo>
                      <a:pt x="1261" y="990"/>
                    </a:lnTo>
                    <a:lnTo>
                      <a:pt x="1261" y="992"/>
                    </a:lnTo>
                    <a:lnTo>
                      <a:pt x="1259" y="992"/>
                    </a:lnTo>
                    <a:lnTo>
                      <a:pt x="1259" y="993"/>
                    </a:lnTo>
                    <a:lnTo>
                      <a:pt x="1259" y="995"/>
                    </a:lnTo>
                    <a:lnTo>
                      <a:pt x="1258" y="995"/>
                    </a:lnTo>
                    <a:lnTo>
                      <a:pt x="1258" y="997"/>
                    </a:lnTo>
                    <a:lnTo>
                      <a:pt x="1259" y="997"/>
                    </a:lnTo>
                    <a:lnTo>
                      <a:pt x="1259" y="998"/>
                    </a:lnTo>
                    <a:lnTo>
                      <a:pt x="1259" y="1000"/>
                    </a:lnTo>
                    <a:lnTo>
                      <a:pt x="1259" y="1002"/>
                    </a:lnTo>
                    <a:lnTo>
                      <a:pt x="1258" y="1002"/>
                    </a:lnTo>
                    <a:lnTo>
                      <a:pt x="1259" y="1002"/>
                    </a:lnTo>
                    <a:lnTo>
                      <a:pt x="1259" y="1003"/>
                    </a:lnTo>
                    <a:lnTo>
                      <a:pt x="1259" y="1005"/>
                    </a:lnTo>
                    <a:lnTo>
                      <a:pt x="1259" y="1007"/>
                    </a:lnTo>
                    <a:lnTo>
                      <a:pt x="1261" y="1009"/>
                    </a:lnTo>
                    <a:lnTo>
                      <a:pt x="1261" y="1010"/>
                    </a:lnTo>
                    <a:lnTo>
                      <a:pt x="1263" y="1010"/>
                    </a:lnTo>
                    <a:lnTo>
                      <a:pt x="1263" y="1012"/>
                    </a:lnTo>
                    <a:lnTo>
                      <a:pt x="1264" y="1012"/>
                    </a:lnTo>
                    <a:lnTo>
                      <a:pt x="1266" y="1014"/>
                    </a:lnTo>
                    <a:lnTo>
                      <a:pt x="1266" y="1015"/>
                    </a:lnTo>
                    <a:lnTo>
                      <a:pt x="1268" y="1015"/>
                    </a:lnTo>
                    <a:lnTo>
                      <a:pt x="1268" y="1017"/>
                    </a:lnTo>
                    <a:lnTo>
                      <a:pt x="1270" y="1017"/>
                    </a:lnTo>
                    <a:lnTo>
                      <a:pt x="1271" y="1017"/>
                    </a:lnTo>
                    <a:lnTo>
                      <a:pt x="1271" y="1019"/>
                    </a:lnTo>
                    <a:lnTo>
                      <a:pt x="1273" y="1019"/>
                    </a:lnTo>
                    <a:lnTo>
                      <a:pt x="1273" y="1020"/>
                    </a:lnTo>
                    <a:lnTo>
                      <a:pt x="1271" y="1020"/>
                    </a:lnTo>
                    <a:lnTo>
                      <a:pt x="1273" y="1022"/>
                    </a:lnTo>
                    <a:lnTo>
                      <a:pt x="1273" y="1024"/>
                    </a:lnTo>
                    <a:lnTo>
                      <a:pt x="1273" y="1026"/>
                    </a:lnTo>
                    <a:lnTo>
                      <a:pt x="1271" y="1026"/>
                    </a:lnTo>
                    <a:lnTo>
                      <a:pt x="1271" y="1024"/>
                    </a:lnTo>
                    <a:lnTo>
                      <a:pt x="1271" y="1026"/>
                    </a:lnTo>
                    <a:lnTo>
                      <a:pt x="1270" y="1026"/>
                    </a:lnTo>
                    <a:lnTo>
                      <a:pt x="1268" y="1026"/>
                    </a:lnTo>
                    <a:lnTo>
                      <a:pt x="1266" y="1026"/>
                    </a:lnTo>
                    <a:lnTo>
                      <a:pt x="1268" y="1026"/>
                    </a:lnTo>
                    <a:lnTo>
                      <a:pt x="1268" y="1027"/>
                    </a:lnTo>
                    <a:lnTo>
                      <a:pt x="1266" y="1029"/>
                    </a:lnTo>
                    <a:lnTo>
                      <a:pt x="1266" y="1031"/>
                    </a:lnTo>
                    <a:lnTo>
                      <a:pt x="1266" y="1032"/>
                    </a:lnTo>
                    <a:lnTo>
                      <a:pt x="1268" y="1032"/>
                    </a:lnTo>
                    <a:lnTo>
                      <a:pt x="1268" y="1031"/>
                    </a:lnTo>
                    <a:lnTo>
                      <a:pt x="1268" y="1032"/>
                    </a:lnTo>
                    <a:lnTo>
                      <a:pt x="1270" y="1032"/>
                    </a:lnTo>
                    <a:lnTo>
                      <a:pt x="1268" y="1034"/>
                    </a:lnTo>
                    <a:lnTo>
                      <a:pt x="1268" y="1036"/>
                    </a:lnTo>
                    <a:lnTo>
                      <a:pt x="1270" y="1036"/>
                    </a:lnTo>
                    <a:lnTo>
                      <a:pt x="1271" y="1036"/>
                    </a:lnTo>
                    <a:lnTo>
                      <a:pt x="1271" y="1037"/>
                    </a:lnTo>
                    <a:lnTo>
                      <a:pt x="1273" y="1037"/>
                    </a:lnTo>
                    <a:lnTo>
                      <a:pt x="1273" y="1039"/>
                    </a:lnTo>
                    <a:lnTo>
                      <a:pt x="1275" y="1039"/>
                    </a:lnTo>
                    <a:lnTo>
                      <a:pt x="1276" y="1039"/>
                    </a:lnTo>
                    <a:lnTo>
                      <a:pt x="1278" y="1039"/>
                    </a:lnTo>
                    <a:lnTo>
                      <a:pt x="1278" y="1041"/>
                    </a:lnTo>
                    <a:lnTo>
                      <a:pt x="1278" y="1043"/>
                    </a:lnTo>
                    <a:lnTo>
                      <a:pt x="1276" y="1043"/>
                    </a:lnTo>
                    <a:lnTo>
                      <a:pt x="1278" y="1043"/>
                    </a:lnTo>
                    <a:lnTo>
                      <a:pt x="1276" y="1043"/>
                    </a:lnTo>
                    <a:lnTo>
                      <a:pt x="1275" y="1043"/>
                    </a:lnTo>
                    <a:lnTo>
                      <a:pt x="1275" y="1044"/>
                    </a:lnTo>
                    <a:lnTo>
                      <a:pt x="1273" y="1046"/>
                    </a:lnTo>
                    <a:lnTo>
                      <a:pt x="1271" y="1048"/>
                    </a:lnTo>
                    <a:lnTo>
                      <a:pt x="1273" y="1048"/>
                    </a:lnTo>
                    <a:lnTo>
                      <a:pt x="1271" y="1049"/>
                    </a:lnTo>
                    <a:lnTo>
                      <a:pt x="1273" y="1049"/>
                    </a:lnTo>
                    <a:lnTo>
                      <a:pt x="1271" y="1049"/>
                    </a:lnTo>
                    <a:lnTo>
                      <a:pt x="1273" y="1049"/>
                    </a:lnTo>
                    <a:lnTo>
                      <a:pt x="1273" y="1051"/>
                    </a:lnTo>
                    <a:lnTo>
                      <a:pt x="1273" y="1053"/>
                    </a:lnTo>
                    <a:lnTo>
                      <a:pt x="1275" y="1053"/>
                    </a:lnTo>
                    <a:lnTo>
                      <a:pt x="1276" y="1054"/>
                    </a:lnTo>
                    <a:lnTo>
                      <a:pt x="1275" y="1054"/>
                    </a:lnTo>
                    <a:lnTo>
                      <a:pt x="1275" y="1056"/>
                    </a:lnTo>
                    <a:lnTo>
                      <a:pt x="1275" y="1058"/>
                    </a:lnTo>
                    <a:lnTo>
                      <a:pt x="1273" y="1058"/>
                    </a:lnTo>
                    <a:lnTo>
                      <a:pt x="1273" y="1060"/>
                    </a:lnTo>
                    <a:lnTo>
                      <a:pt x="1273" y="1061"/>
                    </a:lnTo>
                    <a:lnTo>
                      <a:pt x="1271" y="1063"/>
                    </a:lnTo>
                    <a:lnTo>
                      <a:pt x="1270" y="1063"/>
                    </a:lnTo>
                    <a:lnTo>
                      <a:pt x="1268" y="1063"/>
                    </a:lnTo>
                    <a:lnTo>
                      <a:pt x="1270" y="1065"/>
                    </a:lnTo>
                    <a:lnTo>
                      <a:pt x="1270" y="1066"/>
                    </a:lnTo>
                    <a:lnTo>
                      <a:pt x="1271" y="1066"/>
                    </a:lnTo>
                    <a:lnTo>
                      <a:pt x="1270" y="1068"/>
                    </a:lnTo>
                    <a:lnTo>
                      <a:pt x="1270" y="1070"/>
                    </a:lnTo>
                    <a:lnTo>
                      <a:pt x="1271" y="1071"/>
                    </a:lnTo>
                    <a:lnTo>
                      <a:pt x="1271" y="1073"/>
                    </a:lnTo>
                    <a:lnTo>
                      <a:pt x="1270" y="1073"/>
                    </a:lnTo>
                    <a:lnTo>
                      <a:pt x="1270" y="1075"/>
                    </a:lnTo>
                    <a:lnTo>
                      <a:pt x="1270" y="1077"/>
                    </a:lnTo>
                    <a:lnTo>
                      <a:pt x="1271" y="1077"/>
                    </a:lnTo>
                    <a:lnTo>
                      <a:pt x="1273" y="1077"/>
                    </a:lnTo>
                    <a:lnTo>
                      <a:pt x="1273" y="1075"/>
                    </a:lnTo>
                    <a:lnTo>
                      <a:pt x="1275" y="1075"/>
                    </a:lnTo>
                    <a:lnTo>
                      <a:pt x="1275" y="1077"/>
                    </a:lnTo>
                    <a:lnTo>
                      <a:pt x="1276" y="1077"/>
                    </a:lnTo>
                    <a:lnTo>
                      <a:pt x="1276" y="1075"/>
                    </a:lnTo>
                    <a:lnTo>
                      <a:pt x="1278" y="1077"/>
                    </a:lnTo>
                    <a:lnTo>
                      <a:pt x="1280" y="1077"/>
                    </a:lnTo>
                    <a:lnTo>
                      <a:pt x="1280" y="1075"/>
                    </a:lnTo>
                    <a:lnTo>
                      <a:pt x="1281" y="1077"/>
                    </a:lnTo>
                    <a:lnTo>
                      <a:pt x="1281" y="1075"/>
                    </a:lnTo>
                    <a:lnTo>
                      <a:pt x="1283" y="1075"/>
                    </a:lnTo>
                    <a:lnTo>
                      <a:pt x="1285" y="1075"/>
                    </a:lnTo>
                    <a:lnTo>
                      <a:pt x="1285" y="1077"/>
                    </a:lnTo>
                    <a:lnTo>
                      <a:pt x="1287" y="1077"/>
                    </a:lnTo>
                    <a:lnTo>
                      <a:pt x="1288" y="1077"/>
                    </a:lnTo>
                    <a:lnTo>
                      <a:pt x="1290" y="1077"/>
                    </a:lnTo>
                    <a:lnTo>
                      <a:pt x="1290" y="1078"/>
                    </a:lnTo>
                    <a:lnTo>
                      <a:pt x="1290" y="1077"/>
                    </a:lnTo>
                    <a:lnTo>
                      <a:pt x="1292" y="1078"/>
                    </a:lnTo>
                    <a:lnTo>
                      <a:pt x="1293" y="1078"/>
                    </a:lnTo>
                    <a:lnTo>
                      <a:pt x="1293" y="1080"/>
                    </a:lnTo>
                    <a:lnTo>
                      <a:pt x="1292" y="1080"/>
                    </a:lnTo>
                    <a:lnTo>
                      <a:pt x="1293" y="1082"/>
                    </a:lnTo>
                    <a:lnTo>
                      <a:pt x="1295" y="1082"/>
                    </a:lnTo>
                    <a:lnTo>
                      <a:pt x="1293" y="1083"/>
                    </a:lnTo>
                    <a:lnTo>
                      <a:pt x="1295" y="1085"/>
                    </a:lnTo>
                    <a:lnTo>
                      <a:pt x="1293" y="1085"/>
                    </a:lnTo>
                    <a:lnTo>
                      <a:pt x="1292" y="1085"/>
                    </a:lnTo>
                    <a:lnTo>
                      <a:pt x="1290" y="1085"/>
                    </a:lnTo>
                    <a:lnTo>
                      <a:pt x="1292" y="1085"/>
                    </a:lnTo>
                    <a:lnTo>
                      <a:pt x="1290" y="1087"/>
                    </a:lnTo>
                    <a:lnTo>
                      <a:pt x="1290" y="1088"/>
                    </a:lnTo>
                    <a:lnTo>
                      <a:pt x="1292" y="1088"/>
                    </a:lnTo>
                    <a:lnTo>
                      <a:pt x="1290" y="1090"/>
                    </a:lnTo>
                    <a:lnTo>
                      <a:pt x="1290" y="1092"/>
                    </a:lnTo>
                    <a:lnTo>
                      <a:pt x="1290" y="1094"/>
                    </a:lnTo>
                    <a:lnTo>
                      <a:pt x="1288" y="1094"/>
                    </a:lnTo>
                    <a:lnTo>
                      <a:pt x="1288" y="1095"/>
                    </a:lnTo>
                    <a:lnTo>
                      <a:pt x="1287" y="1095"/>
                    </a:lnTo>
                    <a:lnTo>
                      <a:pt x="1285" y="1095"/>
                    </a:lnTo>
                    <a:lnTo>
                      <a:pt x="1285" y="1094"/>
                    </a:lnTo>
                    <a:lnTo>
                      <a:pt x="1283" y="1094"/>
                    </a:lnTo>
                    <a:lnTo>
                      <a:pt x="1283" y="1092"/>
                    </a:lnTo>
                    <a:lnTo>
                      <a:pt x="1281" y="1092"/>
                    </a:lnTo>
                    <a:lnTo>
                      <a:pt x="1280" y="1092"/>
                    </a:lnTo>
                    <a:lnTo>
                      <a:pt x="1278" y="1094"/>
                    </a:lnTo>
                    <a:lnTo>
                      <a:pt x="1278" y="1092"/>
                    </a:lnTo>
                    <a:lnTo>
                      <a:pt x="1278" y="1094"/>
                    </a:lnTo>
                    <a:lnTo>
                      <a:pt x="1276" y="1094"/>
                    </a:lnTo>
                    <a:lnTo>
                      <a:pt x="1275" y="1094"/>
                    </a:lnTo>
                    <a:lnTo>
                      <a:pt x="1273" y="1094"/>
                    </a:lnTo>
                    <a:lnTo>
                      <a:pt x="1271" y="1094"/>
                    </a:lnTo>
                    <a:lnTo>
                      <a:pt x="1271" y="1092"/>
                    </a:lnTo>
                    <a:lnTo>
                      <a:pt x="1270" y="1094"/>
                    </a:lnTo>
                    <a:lnTo>
                      <a:pt x="1270" y="1095"/>
                    </a:lnTo>
                    <a:lnTo>
                      <a:pt x="1270" y="1094"/>
                    </a:lnTo>
                    <a:lnTo>
                      <a:pt x="1268" y="1095"/>
                    </a:lnTo>
                    <a:lnTo>
                      <a:pt x="1268" y="1094"/>
                    </a:lnTo>
                    <a:lnTo>
                      <a:pt x="1266" y="1094"/>
                    </a:lnTo>
                    <a:lnTo>
                      <a:pt x="1266" y="1095"/>
                    </a:lnTo>
                    <a:lnTo>
                      <a:pt x="1266" y="1094"/>
                    </a:lnTo>
                    <a:lnTo>
                      <a:pt x="1264" y="1094"/>
                    </a:lnTo>
                    <a:lnTo>
                      <a:pt x="1263" y="1094"/>
                    </a:lnTo>
                    <a:lnTo>
                      <a:pt x="1261" y="1092"/>
                    </a:lnTo>
                    <a:lnTo>
                      <a:pt x="1261" y="1094"/>
                    </a:lnTo>
                    <a:lnTo>
                      <a:pt x="1261" y="1095"/>
                    </a:lnTo>
                    <a:lnTo>
                      <a:pt x="1263" y="1095"/>
                    </a:lnTo>
                    <a:lnTo>
                      <a:pt x="1263" y="1097"/>
                    </a:lnTo>
                    <a:lnTo>
                      <a:pt x="1261" y="1097"/>
                    </a:lnTo>
                    <a:lnTo>
                      <a:pt x="1263" y="1097"/>
                    </a:lnTo>
                    <a:lnTo>
                      <a:pt x="1261" y="1099"/>
                    </a:lnTo>
                    <a:lnTo>
                      <a:pt x="1263" y="1099"/>
                    </a:lnTo>
                    <a:lnTo>
                      <a:pt x="1263" y="1100"/>
                    </a:lnTo>
                    <a:lnTo>
                      <a:pt x="1263" y="1099"/>
                    </a:lnTo>
                    <a:lnTo>
                      <a:pt x="1264" y="1100"/>
                    </a:lnTo>
                    <a:lnTo>
                      <a:pt x="1266" y="1100"/>
                    </a:lnTo>
                    <a:lnTo>
                      <a:pt x="1266" y="1102"/>
                    </a:lnTo>
                    <a:lnTo>
                      <a:pt x="1268" y="1102"/>
                    </a:lnTo>
                    <a:lnTo>
                      <a:pt x="1268" y="1100"/>
                    </a:lnTo>
                    <a:lnTo>
                      <a:pt x="1270" y="1100"/>
                    </a:lnTo>
                    <a:lnTo>
                      <a:pt x="1271" y="1102"/>
                    </a:lnTo>
                    <a:lnTo>
                      <a:pt x="1271" y="1100"/>
                    </a:lnTo>
                    <a:lnTo>
                      <a:pt x="1273" y="1102"/>
                    </a:lnTo>
                    <a:lnTo>
                      <a:pt x="1275" y="1102"/>
                    </a:lnTo>
                    <a:lnTo>
                      <a:pt x="1275" y="1104"/>
                    </a:lnTo>
                    <a:lnTo>
                      <a:pt x="1276" y="1102"/>
                    </a:lnTo>
                    <a:lnTo>
                      <a:pt x="1276" y="1104"/>
                    </a:lnTo>
                    <a:lnTo>
                      <a:pt x="1278" y="1104"/>
                    </a:lnTo>
                    <a:lnTo>
                      <a:pt x="1280" y="1104"/>
                    </a:lnTo>
                    <a:lnTo>
                      <a:pt x="1278" y="1104"/>
                    </a:lnTo>
                    <a:lnTo>
                      <a:pt x="1278" y="1105"/>
                    </a:lnTo>
                    <a:lnTo>
                      <a:pt x="1280" y="1107"/>
                    </a:lnTo>
                    <a:lnTo>
                      <a:pt x="1280" y="1109"/>
                    </a:lnTo>
                    <a:lnTo>
                      <a:pt x="1281" y="1109"/>
                    </a:lnTo>
                    <a:lnTo>
                      <a:pt x="1281" y="1111"/>
                    </a:lnTo>
                    <a:lnTo>
                      <a:pt x="1283" y="1112"/>
                    </a:lnTo>
                    <a:lnTo>
                      <a:pt x="1283" y="1114"/>
                    </a:lnTo>
                    <a:lnTo>
                      <a:pt x="1285" y="1114"/>
                    </a:lnTo>
                    <a:lnTo>
                      <a:pt x="1285" y="1116"/>
                    </a:lnTo>
                    <a:lnTo>
                      <a:pt x="1287" y="1116"/>
                    </a:lnTo>
                    <a:lnTo>
                      <a:pt x="1285" y="1117"/>
                    </a:lnTo>
                    <a:lnTo>
                      <a:pt x="1287" y="1117"/>
                    </a:lnTo>
                    <a:lnTo>
                      <a:pt x="1287" y="1119"/>
                    </a:lnTo>
                    <a:lnTo>
                      <a:pt x="1287" y="1121"/>
                    </a:lnTo>
                    <a:lnTo>
                      <a:pt x="1285" y="1121"/>
                    </a:lnTo>
                    <a:lnTo>
                      <a:pt x="1283" y="1121"/>
                    </a:lnTo>
                    <a:lnTo>
                      <a:pt x="1283" y="1122"/>
                    </a:lnTo>
                    <a:lnTo>
                      <a:pt x="1281" y="1122"/>
                    </a:lnTo>
                    <a:lnTo>
                      <a:pt x="1280" y="1122"/>
                    </a:lnTo>
                    <a:lnTo>
                      <a:pt x="1280" y="1124"/>
                    </a:lnTo>
                    <a:lnTo>
                      <a:pt x="1280" y="1126"/>
                    </a:lnTo>
                    <a:lnTo>
                      <a:pt x="1281" y="1128"/>
                    </a:lnTo>
                    <a:lnTo>
                      <a:pt x="1280" y="1128"/>
                    </a:lnTo>
                    <a:lnTo>
                      <a:pt x="1280" y="1129"/>
                    </a:lnTo>
                    <a:lnTo>
                      <a:pt x="1278" y="1129"/>
                    </a:lnTo>
                    <a:lnTo>
                      <a:pt x="1276" y="1129"/>
                    </a:lnTo>
                    <a:lnTo>
                      <a:pt x="1275" y="1129"/>
                    </a:lnTo>
                    <a:lnTo>
                      <a:pt x="1273" y="1129"/>
                    </a:lnTo>
                    <a:lnTo>
                      <a:pt x="1273" y="1131"/>
                    </a:lnTo>
                    <a:lnTo>
                      <a:pt x="1271" y="1131"/>
                    </a:lnTo>
                    <a:lnTo>
                      <a:pt x="1271" y="1133"/>
                    </a:lnTo>
                    <a:lnTo>
                      <a:pt x="1273" y="1133"/>
                    </a:lnTo>
                    <a:lnTo>
                      <a:pt x="1271" y="1134"/>
                    </a:lnTo>
                    <a:lnTo>
                      <a:pt x="1271" y="1136"/>
                    </a:lnTo>
                    <a:lnTo>
                      <a:pt x="1271" y="1138"/>
                    </a:lnTo>
                    <a:lnTo>
                      <a:pt x="1271" y="1140"/>
                    </a:lnTo>
                    <a:lnTo>
                      <a:pt x="1271" y="1141"/>
                    </a:lnTo>
                    <a:lnTo>
                      <a:pt x="1271" y="1143"/>
                    </a:lnTo>
                    <a:lnTo>
                      <a:pt x="1273" y="1143"/>
                    </a:lnTo>
                    <a:lnTo>
                      <a:pt x="1271" y="1145"/>
                    </a:lnTo>
                    <a:lnTo>
                      <a:pt x="1273" y="1146"/>
                    </a:lnTo>
                    <a:lnTo>
                      <a:pt x="1273" y="1145"/>
                    </a:lnTo>
                    <a:lnTo>
                      <a:pt x="1273" y="1146"/>
                    </a:lnTo>
                    <a:lnTo>
                      <a:pt x="1275" y="1146"/>
                    </a:lnTo>
                    <a:lnTo>
                      <a:pt x="1276" y="1148"/>
                    </a:lnTo>
                    <a:lnTo>
                      <a:pt x="1276" y="1150"/>
                    </a:lnTo>
                    <a:lnTo>
                      <a:pt x="1276" y="1151"/>
                    </a:lnTo>
                    <a:lnTo>
                      <a:pt x="1276" y="1153"/>
                    </a:lnTo>
                    <a:lnTo>
                      <a:pt x="1275" y="1153"/>
                    </a:lnTo>
                    <a:lnTo>
                      <a:pt x="1275" y="1155"/>
                    </a:lnTo>
                    <a:lnTo>
                      <a:pt x="1275" y="1157"/>
                    </a:lnTo>
                    <a:lnTo>
                      <a:pt x="1273" y="1157"/>
                    </a:lnTo>
                    <a:lnTo>
                      <a:pt x="1271" y="1157"/>
                    </a:lnTo>
                    <a:lnTo>
                      <a:pt x="1271" y="1158"/>
                    </a:lnTo>
                    <a:lnTo>
                      <a:pt x="1270" y="1158"/>
                    </a:lnTo>
                    <a:lnTo>
                      <a:pt x="1268" y="1158"/>
                    </a:lnTo>
                    <a:lnTo>
                      <a:pt x="1266" y="1160"/>
                    </a:lnTo>
                    <a:lnTo>
                      <a:pt x="1268" y="1160"/>
                    </a:lnTo>
                    <a:lnTo>
                      <a:pt x="1268" y="1162"/>
                    </a:lnTo>
                    <a:lnTo>
                      <a:pt x="1270" y="1162"/>
                    </a:lnTo>
                    <a:lnTo>
                      <a:pt x="1271" y="1162"/>
                    </a:lnTo>
                    <a:lnTo>
                      <a:pt x="1271" y="1163"/>
                    </a:lnTo>
                    <a:lnTo>
                      <a:pt x="1273" y="1165"/>
                    </a:lnTo>
                    <a:lnTo>
                      <a:pt x="1273" y="1167"/>
                    </a:lnTo>
                    <a:lnTo>
                      <a:pt x="1273" y="1168"/>
                    </a:lnTo>
                    <a:lnTo>
                      <a:pt x="1273" y="1170"/>
                    </a:lnTo>
                    <a:lnTo>
                      <a:pt x="1273" y="1174"/>
                    </a:lnTo>
                    <a:lnTo>
                      <a:pt x="1275" y="1177"/>
                    </a:lnTo>
                    <a:lnTo>
                      <a:pt x="1275" y="1179"/>
                    </a:lnTo>
                    <a:lnTo>
                      <a:pt x="1275" y="1180"/>
                    </a:lnTo>
                    <a:lnTo>
                      <a:pt x="1275" y="1182"/>
                    </a:lnTo>
                    <a:lnTo>
                      <a:pt x="1276" y="1184"/>
                    </a:lnTo>
                    <a:lnTo>
                      <a:pt x="1275" y="1184"/>
                    </a:lnTo>
                    <a:lnTo>
                      <a:pt x="1276" y="1185"/>
                    </a:lnTo>
                    <a:lnTo>
                      <a:pt x="1275" y="1187"/>
                    </a:lnTo>
                    <a:lnTo>
                      <a:pt x="1273" y="1187"/>
                    </a:lnTo>
                    <a:lnTo>
                      <a:pt x="1273" y="1189"/>
                    </a:lnTo>
                    <a:lnTo>
                      <a:pt x="1271" y="1189"/>
                    </a:lnTo>
                    <a:lnTo>
                      <a:pt x="1271" y="1191"/>
                    </a:lnTo>
                    <a:lnTo>
                      <a:pt x="1270" y="1191"/>
                    </a:lnTo>
                    <a:lnTo>
                      <a:pt x="1270" y="1192"/>
                    </a:lnTo>
                    <a:lnTo>
                      <a:pt x="1268" y="1192"/>
                    </a:lnTo>
                    <a:lnTo>
                      <a:pt x="1266" y="1192"/>
                    </a:lnTo>
                    <a:lnTo>
                      <a:pt x="1264" y="1192"/>
                    </a:lnTo>
                    <a:lnTo>
                      <a:pt x="1266" y="1194"/>
                    </a:lnTo>
                    <a:lnTo>
                      <a:pt x="1266" y="1196"/>
                    </a:lnTo>
                    <a:lnTo>
                      <a:pt x="1264" y="1196"/>
                    </a:lnTo>
                    <a:lnTo>
                      <a:pt x="1264" y="1197"/>
                    </a:lnTo>
                    <a:lnTo>
                      <a:pt x="1264" y="1199"/>
                    </a:lnTo>
                    <a:lnTo>
                      <a:pt x="1266" y="1199"/>
                    </a:lnTo>
                    <a:lnTo>
                      <a:pt x="1264" y="1201"/>
                    </a:lnTo>
                    <a:lnTo>
                      <a:pt x="1266" y="1201"/>
                    </a:lnTo>
                    <a:lnTo>
                      <a:pt x="1268" y="1201"/>
                    </a:lnTo>
                    <a:lnTo>
                      <a:pt x="1268" y="1202"/>
                    </a:lnTo>
                    <a:lnTo>
                      <a:pt x="1266" y="1204"/>
                    </a:lnTo>
                    <a:lnTo>
                      <a:pt x="1264" y="1206"/>
                    </a:lnTo>
                    <a:lnTo>
                      <a:pt x="1266" y="1206"/>
                    </a:lnTo>
                    <a:lnTo>
                      <a:pt x="1268" y="1208"/>
                    </a:lnTo>
                    <a:lnTo>
                      <a:pt x="1268" y="1209"/>
                    </a:lnTo>
                    <a:lnTo>
                      <a:pt x="1270" y="1209"/>
                    </a:lnTo>
                    <a:lnTo>
                      <a:pt x="1268" y="1209"/>
                    </a:lnTo>
                    <a:lnTo>
                      <a:pt x="1268" y="1211"/>
                    </a:lnTo>
                    <a:lnTo>
                      <a:pt x="1268" y="1213"/>
                    </a:lnTo>
                    <a:lnTo>
                      <a:pt x="1266" y="1213"/>
                    </a:lnTo>
                    <a:lnTo>
                      <a:pt x="1264" y="1213"/>
                    </a:lnTo>
                    <a:lnTo>
                      <a:pt x="1263" y="1211"/>
                    </a:lnTo>
                    <a:lnTo>
                      <a:pt x="1264" y="1213"/>
                    </a:lnTo>
                    <a:lnTo>
                      <a:pt x="1263" y="1214"/>
                    </a:lnTo>
                    <a:lnTo>
                      <a:pt x="1264" y="1216"/>
                    </a:lnTo>
                    <a:lnTo>
                      <a:pt x="1263" y="1216"/>
                    </a:lnTo>
                    <a:lnTo>
                      <a:pt x="1263" y="1218"/>
                    </a:lnTo>
                    <a:lnTo>
                      <a:pt x="1261" y="1218"/>
                    </a:lnTo>
                    <a:lnTo>
                      <a:pt x="1259" y="1218"/>
                    </a:lnTo>
                    <a:lnTo>
                      <a:pt x="1259" y="1219"/>
                    </a:lnTo>
                    <a:lnTo>
                      <a:pt x="1258" y="1221"/>
                    </a:lnTo>
                    <a:lnTo>
                      <a:pt x="1258" y="1223"/>
                    </a:lnTo>
                    <a:lnTo>
                      <a:pt x="1256" y="1221"/>
                    </a:lnTo>
                    <a:lnTo>
                      <a:pt x="1256" y="1223"/>
                    </a:lnTo>
                    <a:lnTo>
                      <a:pt x="1254" y="1223"/>
                    </a:lnTo>
                    <a:lnTo>
                      <a:pt x="1254" y="1225"/>
                    </a:lnTo>
                    <a:lnTo>
                      <a:pt x="1253" y="1225"/>
                    </a:lnTo>
                    <a:lnTo>
                      <a:pt x="1253" y="1226"/>
                    </a:lnTo>
                    <a:lnTo>
                      <a:pt x="1253" y="1225"/>
                    </a:lnTo>
                    <a:lnTo>
                      <a:pt x="1253" y="1226"/>
                    </a:lnTo>
                    <a:lnTo>
                      <a:pt x="1254" y="1226"/>
                    </a:lnTo>
                    <a:lnTo>
                      <a:pt x="1254" y="1228"/>
                    </a:lnTo>
                    <a:lnTo>
                      <a:pt x="1253" y="1228"/>
                    </a:lnTo>
                    <a:lnTo>
                      <a:pt x="1253" y="1230"/>
                    </a:lnTo>
                    <a:lnTo>
                      <a:pt x="1253" y="1231"/>
                    </a:lnTo>
                    <a:lnTo>
                      <a:pt x="1253" y="1233"/>
                    </a:lnTo>
                    <a:lnTo>
                      <a:pt x="1251" y="1233"/>
                    </a:lnTo>
                    <a:lnTo>
                      <a:pt x="1251" y="1235"/>
                    </a:lnTo>
                    <a:lnTo>
                      <a:pt x="1249" y="1235"/>
                    </a:lnTo>
                    <a:lnTo>
                      <a:pt x="1249" y="1236"/>
                    </a:lnTo>
                    <a:lnTo>
                      <a:pt x="1249" y="1238"/>
                    </a:lnTo>
                    <a:lnTo>
                      <a:pt x="1251" y="1238"/>
                    </a:lnTo>
                    <a:lnTo>
                      <a:pt x="1251" y="1240"/>
                    </a:lnTo>
                    <a:lnTo>
                      <a:pt x="1249" y="1240"/>
                    </a:lnTo>
                    <a:lnTo>
                      <a:pt x="1247" y="1240"/>
                    </a:lnTo>
                    <a:lnTo>
                      <a:pt x="1246" y="1238"/>
                    </a:lnTo>
                    <a:lnTo>
                      <a:pt x="1246" y="1240"/>
                    </a:lnTo>
                    <a:lnTo>
                      <a:pt x="1247" y="1240"/>
                    </a:lnTo>
                    <a:lnTo>
                      <a:pt x="1247" y="1242"/>
                    </a:lnTo>
                    <a:lnTo>
                      <a:pt x="1247" y="1243"/>
                    </a:lnTo>
                    <a:lnTo>
                      <a:pt x="1247" y="1245"/>
                    </a:lnTo>
                    <a:lnTo>
                      <a:pt x="1247" y="1247"/>
                    </a:lnTo>
                    <a:lnTo>
                      <a:pt x="1246" y="1247"/>
                    </a:lnTo>
                    <a:lnTo>
                      <a:pt x="1246" y="1248"/>
                    </a:lnTo>
                    <a:lnTo>
                      <a:pt x="1247" y="1250"/>
                    </a:lnTo>
                    <a:lnTo>
                      <a:pt x="1249" y="1250"/>
                    </a:lnTo>
                    <a:lnTo>
                      <a:pt x="1249" y="1252"/>
                    </a:lnTo>
                    <a:lnTo>
                      <a:pt x="1249" y="1253"/>
                    </a:lnTo>
                    <a:lnTo>
                      <a:pt x="1249" y="1255"/>
                    </a:lnTo>
                    <a:lnTo>
                      <a:pt x="1251" y="1255"/>
                    </a:lnTo>
                    <a:lnTo>
                      <a:pt x="1251" y="1257"/>
                    </a:lnTo>
                    <a:lnTo>
                      <a:pt x="1253" y="1257"/>
                    </a:lnTo>
                    <a:lnTo>
                      <a:pt x="1253" y="1259"/>
                    </a:lnTo>
                    <a:lnTo>
                      <a:pt x="1254" y="1259"/>
                    </a:lnTo>
                    <a:lnTo>
                      <a:pt x="1253" y="1260"/>
                    </a:lnTo>
                    <a:lnTo>
                      <a:pt x="1254" y="1262"/>
                    </a:lnTo>
                    <a:lnTo>
                      <a:pt x="1253" y="1262"/>
                    </a:lnTo>
                    <a:lnTo>
                      <a:pt x="1253" y="1264"/>
                    </a:lnTo>
                    <a:lnTo>
                      <a:pt x="1254" y="1264"/>
                    </a:lnTo>
                    <a:lnTo>
                      <a:pt x="1254" y="1265"/>
                    </a:lnTo>
                    <a:lnTo>
                      <a:pt x="1256" y="1267"/>
                    </a:lnTo>
                    <a:lnTo>
                      <a:pt x="1256" y="1269"/>
                    </a:lnTo>
                    <a:lnTo>
                      <a:pt x="1254" y="1269"/>
                    </a:lnTo>
                    <a:lnTo>
                      <a:pt x="1254" y="1270"/>
                    </a:lnTo>
                    <a:lnTo>
                      <a:pt x="1253" y="1269"/>
                    </a:lnTo>
                    <a:lnTo>
                      <a:pt x="1253" y="1270"/>
                    </a:lnTo>
                    <a:lnTo>
                      <a:pt x="1253" y="1269"/>
                    </a:lnTo>
                    <a:lnTo>
                      <a:pt x="1251" y="1269"/>
                    </a:lnTo>
                    <a:lnTo>
                      <a:pt x="1251" y="1270"/>
                    </a:lnTo>
                    <a:lnTo>
                      <a:pt x="1253" y="1270"/>
                    </a:lnTo>
                    <a:lnTo>
                      <a:pt x="1251" y="1272"/>
                    </a:lnTo>
                    <a:lnTo>
                      <a:pt x="1249" y="1272"/>
                    </a:lnTo>
                    <a:lnTo>
                      <a:pt x="1249" y="1274"/>
                    </a:lnTo>
                    <a:lnTo>
                      <a:pt x="1251" y="1274"/>
                    </a:lnTo>
                    <a:lnTo>
                      <a:pt x="1251" y="1276"/>
                    </a:lnTo>
                    <a:lnTo>
                      <a:pt x="1249" y="1277"/>
                    </a:lnTo>
                    <a:lnTo>
                      <a:pt x="1247" y="1277"/>
                    </a:lnTo>
                    <a:lnTo>
                      <a:pt x="1246" y="1277"/>
                    </a:lnTo>
                    <a:lnTo>
                      <a:pt x="1246" y="1276"/>
                    </a:lnTo>
                    <a:lnTo>
                      <a:pt x="1244" y="1276"/>
                    </a:lnTo>
                    <a:lnTo>
                      <a:pt x="1244" y="1277"/>
                    </a:lnTo>
                    <a:lnTo>
                      <a:pt x="1246" y="1284"/>
                    </a:lnTo>
                    <a:lnTo>
                      <a:pt x="1246" y="1288"/>
                    </a:lnTo>
                    <a:lnTo>
                      <a:pt x="1246" y="1289"/>
                    </a:lnTo>
                    <a:lnTo>
                      <a:pt x="1246" y="1291"/>
                    </a:lnTo>
                    <a:lnTo>
                      <a:pt x="1246" y="1293"/>
                    </a:lnTo>
                    <a:lnTo>
                      <a:pt x="1244" y="1293"/>
                    </a:lnTo>
                    <a:lnTo>
                      <a:pt x="1242" y="1294"/>
                    </a:lnTo>
                    <a:lnTo>
                      <a:pt x="1241" y="1296"/>
                    </a:lnTo>
                    <a:lnTo>
                      <a:pt x="1241" y="1298"/>
                    </a:lnTo>
                    <a:lnTo>
                      <a:pt x="1239" y="1298"/>
                    </a:lnTo>
                    <a:lnTo>
                      <a:pt x="1237" y="1299"/>
                    </a:lnTo>
                    <a:lnTo>
                      <a:pt x="1237" y="1301"/>
                    </a:lnTo>
                    <a:lnTo>
                      <a:pt x="1236" y="1301"/>
                    </a:lnTo>
                    <a:lnTo>
                      <a:pt x="1234" y="1299"/>
                    </a:lnTo>
                    <a:lnTo>
                      <a:pt x="1232" y="1299"/>
                    </a:lnTo>
                    <a:lnTo>
                      <a:pt x="1232" y="1301"/>
                    </a:lnTo>
                    <a:lnTo>
                      <a:pt x="1230" y="1301"/>
                    </a:lnTo>
                    <a:lnTo>
                      <a:pt x="1230" y="1303"/>
                    </a:lnTo>
                    <a:lnTo>
                      <a:pt x="1230" y="1305"/>
                    </a:lnTo>
                    <a:lnTo>
                      <a:pt x="1230" y="1306"/>
                    </a:lnTo>
                    <a:lnTo>
                      <a:pt x="1229" y="1306"/>
                    </a:lnTo>
                    <a:lnTo>
                      <a:pt x="1229" y="1308"/>
                    </a:lnTo>
                    <a:lnTo>
                      <a:pt x="1227" y="1310"/>
                    </a:lnTo>
                    <a:lnTo>
                      <a:pt x="1225" y="1311"/>
                    </a:lnTo>
                    <a:lnTo>
                      <a:pt x="1225" y="1313"/>
                    </a:lnTo>
                    <a:lnTo>
                      <a:pt x="1225" y="1315"/>
                    </a:lnTo>
                    <a:lnTo>
                      <a:pt x="1225" y="1316"/>
                    </a:lnTo>
                    <a:lnTo>
                      <a:pt x="1227" y="1316"/>
                    </a:lnTo>
                    <a:lnTo>
                      <a:pt x="1227" y="1315"/>
                    </a:lnTo>
                    <a:lnTo>
                      <a:pt x="1227" y="1316"/>
                    </a:lnTo>
                    <a:lnTo>
                      <a:pt x="1229" y="1316"/>
                    </a:lnTo>
                    <a:lnTo>
                      <a:pt x="1227" y="1316"/>
                    </a:lnTo>
                    <a:lnTo>
                      <a:pt x="1213" y="1313"/>
                    </a:lnTo>
                    <a:lnTo>
                      <a:pt x="1213" y="1315"/>
                    </a:lnTo>
                    <a:lnTo>
                      <a:pt x="1213" y="1316"/>
                    </a:lnTo>
                    <a:lnTo>
                      <a:pt x="1215" y="1318"/>
                    </a:lnTo>
                    <a:lnTo>
                      <a:pt x="1217" y="1318"/>
                    </a:lnTo>
                    <a:lnTo>
                      <a:pt x="1215" y="1320"/>
                    </a:lnTo>
                    <a:lnTo>
                      <a:pt x="1215" y="1322"/>
                    </a:lnTo>
                    <a:lnTo>
                      <a:pt x="1215" y="1323"/>
                    </a:lnTo>
                    <a:lnTo>
                      <a:pt x="1213" y="1323"/>
                    </a:lnTo>
                    <a:lnTo>
                      <a:pt x="1213" y="1325"/>
                    </a:lnTo>
                    <a:lnTo>
                      <a:pt x="1213" y="1327"/>
                    </a:lnTo>
                    <a:lnTo>
                      <a:pt x="1213" y="1328"/>
                    </a:lnTo>
                    <a:lnTo>
                      <a:pt x="1212" y="1328"/>
                    </a:lnTo>
                    <a:lnTo>
                      <a:pt x="1212" y="1330"/>
                    </a:lnTo>
                    <a:lnTo>
                      <a:pt x="1212" y="1332"/>
                    </a:lnTo>
                    <a:lnTo>
                      <a:pt x="1213" y="1332"/>
                    </a:lnTo>
                    <a:lnTo>
                      <a:pt x="1213" y="1333"/>
                    </a:lnTo>
                    <a:lnTo>
                      <a:pt x="1215" y="1335"/>
                    </a:lnTo>
                    <a:lnTo>
                      <a:pt x="1213" y="1335"/>
                    </a:lnTo>
                    <a:lnTo>
                      <a:pt x="1213" y="1337"/>
                    </a:lnTo>
                    <a:lnTo>
                      <a:pt x="1213" y="1339"/>
                    </a:lnTo>
                    <a:lnTo>
                      <a:pt x="1213" y="1340"/>
                    </a:lnTo>
                    <a:lnTo>
                      <a:pt x="1215" y="1342"/>
                    </a:lnTo>
                    <a:lnTo>
                      <a:pt x="1215" y="1344"/>
                    </a:lnTo>
                    <a:lnTo>
                      <a:pt x="1213" y="1345"/>
                    </a:lnTo>
                    <a:lnTo>
                      <a:pt x="1213" y="1347"/>
                    </a:lnTo>
                    <a:lnTo>
                      <a:pt x="1213" y="1349"/>
                    </a:lnTo>
                    <a:lnTo>
                      <a:pt x="1212" y="1349"/>
                    </a:lnTo>
                    <a:lnTo>
                      <a:pt x="1212" y="1350"/>
                    </a:lnTo>
                    <a:lnTo>
                      <a:pt x="1212" y="1352"/>
                    </a:lnTo>
                    <a:lnTo>
                      <a:pt x="1213" y="1352"/>
                    </a:lnTo>
                    <a:lnTo>
                      <a:pt x="1212" y="1354"/>
                    </a:lnTo>
                    <a:lnTo>
                      <a:pt x="1212" y="1356"/>
                    </a:lnTo>
                    <a:lnTo>
                      <a:pt x="1212" y="1357"/>
                    </a:lnTo>
                    <a:lnTo>
                      <a:pt x="1213" y="1357"/>
                    </a:lnTo>
                    <a:lnTo>
                      <a:pt x="1213" y="1359"/>
                    </a:lnTo>
                    <a:lnTo>
                      <a:pt x="1212" y="1361"/>
                    </a:lnTo>
                    <a:lnTo>
                      <a:pt x="1212" y="1362"/>
                    </a:lnTo>
                    <a:lnTo>
                      <a:pt x="1212" y="1364"/>
                    </a:lnTo>
                    <a:lnTo>
                      <a:pt x="1212" y="1366"/>
                    </a:lnTo>
                    <a:lnTo>
                      <a:pt x="1210" y="1367"/>
                    </a:lnTo>
                    <a:lnTo>
                      <a:pt x="1212" y="1369"/>
                    </a:lnTo>
                    <a:lnTo>
                      <a:pt x="1212" y="1371"/>
                    </a:lnTo>
                    <a:lnTo>
                      <a:pt x="1213" y="1371"/>
                    </a:lnTo>
                    <a:lnTo>
                      <a:pt x="1213" y="1373"/>
                    </a:lnTo>
                    <a:lnTo>
                      <a:pt x="1213" y="1374"/>
                    </a:lnTo>
                    <a:lnTo>
                      <a:pt x="1215" y="1378"/>
                    </a:lnTo>
                    <a:lnTo>
                      <a:pt x="1217" y="1379"/>
                    </a:lnTo>
                    <a:lnTo>
                      <a:pt x="1215" y="1379"/>
                    </a:lnTo>
                    <a:lnTo>
                      <a:pt x="1217" y="1379"/>
                    </a:lnTo>
                    <a:lnTo>
                      <a:pt x="1219" y="1381"/>
                    </a:lnTo>
                    <a:lnTo>
                      <a:pt x="1217" y="1381"/>
                    </a:lnTo>
                    <a:lnTo>
                      <a:pt x="1219" y="1383"/>
                    </a:lnTo>
                    <a:lnTo>
                      <a:pt x="1219" y="1384"/>
                    </a:lnTo>
                    <a:lnTo>
                      <a:pt x="1220" y="1384"/>
                    </a:lnTo>
                    <a:lnTo>
                      <a:pt x="1220" y="1386"/>
                    </a:lnTo>
                    <a:lnTo>
                      <a:pt x="1220" y="1388"/>
                    </a:lnTo>
                    <a:lnTo>
                      <a:pt x="1222" y="1390"/>
                    </a:lnTo>
                    <a:lnTo>
                      <a:pt x="1224" y="1390"/>
                    </a:lnTo>
                    <a:lnTo>
                      <a:pt x="1224" y="1391"/>
                    </a:lnTo>
                    <a:lnTo>
                      <a:pt x="1222" y="1393"/>
                    </a:lnTo>
                    <a:lnTo>
                      <a:pt x="1220" y="1393"/>
                    </a:lnTo>
                    <a:lnTo>
                      <a:pt x="1220" y="1395"/>
                    </a:lnTo>
                    <a:lnTo>
                      <a:pt x="1220" y="1396"/>
                    </a:lnTo>
                    <a:lnTo>
                      <a:pt x="1220" y="1398"/>
                    </a:lnTo>
                    <a:lnTo>
                      <a:pt x="1222" y="1398"/>
                    </a:lnTo>
                    <a:lnTo>
                      <a:pt x="1224" y="1398"/>
                    </a:lnTo>
                    <a:lnTo>
                      <a:pt x="1225" y="1396"/>
                    </a:lnTo>
                    <a:lnTo>
                      <a:pt x="1227" y="1395"/>
                    </a:lnTo>
                    <a:lnTo>
                      <a:pt x="1227" y="1396"/>
                    </a:lnTo>
                    <a:lnTo>
                      <a:pt x="1229" y="1395"/>
                    </a:lnTo>
                    <a:lnTo>
                      <a:pt x="1230" y="1395"/>
                    </a:lnTo>
                    <a:lnTo>
                      <a:pt x="1232" y="1393"/>
                    </a:lnTo>
                    <a:lnTo>
                      <a:pt x="1232" y="1391"/>
                    </a:lnTo>
                    <a:lnTo>
                      <a:pt x="1234" y="1391"/>
                    </a:lnTo>
                    <a:lnTo>
                      <a:pt x="1234" y="1390"/>
                    </a:lnTo>
                    <a:lnTo>
                      <a:pt x="1236" y="1390"/>
                    </a:lnTo>
                    <a:lnTo>
                      <a:pt x="1237" y="1388"/>
                    </a:lnTo>
                    <a:lnTo>
                      <a:pt x="1239" y="1388"/>
                    </a:lnTo>
                    <a:lnTo>
                      <a:pt x="1241" y="1390"/>
                    </a:lnTo>
                    <a:lnTo>
                      <a:pt x="1241" y="1388"/>
                    </a:lnTo>
                    <a:lnTo>
                      <a:pt x="1242" y="1390"/>
                    </a:lnTo>
                    <a:lnTo>
                      <a:pt x="1244" y="1391"/>
                    </a:lnTo>
                    <a:lnTo>
                      <a:pt x="1244" y="1390"/>
                    </a:lnTo>
                    <a:lnTo>
                      <a:pt x="1244" y="1388"/>
                    </a:lnTo>
                    <a:lnTo>
                      <a:pt x="1246" y="1388"/>
                    </a:lnTo>
                    <a:lnTo>
                      <a:pt x="1247" y="1386"/>
                    </a:lnTo>
                    <a:lnTo>
                      <a:pt x="1249" y="1388"/>
                    </a:lnTo>
                    <a:lnTo>
                      <a:pt x="1251" y="1388"/>
                    </a:lnTo>
                    <a:lnTo>
                      <a:pt x="1253" y="1388"/>
                    </a:lnTo>
                    <a:lnTo>
                      <a:pt x="1253" y="1390"/>
                    </a:lnTo>
                    <a:lnTo>
                      <a:pt x="1254" y="1390"/>
                    </a:lnTo>
                    <a:lnTo>
                      <a:pt x="1254" y="1391"/>
                    </a:lnTo>
                    <a:lnTo>
                      <a:pt x="1253" y="1393"/>
                    </a:lnTo>
                    <a:lnTo>
                      <a:pt x="1253" y="1395"/>
                    </a:lnTo>
                    <a:lnTo>
                      <a:pt x="1253" y="1396"/>
                    </a:lnTo>
                    <a:lnTo>
                      <a:pt x="1254" y="1396"/>
                    </a:lnTo>
                    <a:lnTo>
                      <a:pt x="1254" y="1398"/>
                    </a:lnTo>
                    <a:lnTo>
                      <a:pt x="1254" y="1400"/>
                    </a:lnTo>
                    <a:lnTo>
                      <a:pt x="1256" y="1401"/>
                    </a:lnTo>
                    <a:lnTo>
                      <a:pt x="1256" y="1403"/>
                    </a:lnTo>
                    <a:lnTo>
                      <a:pt x="1254" y="1405"/>
                    </a:lnTo>
                    <a:lnTo>
                      <a:pt x="1254" y="1407"/>
                    </a:lnTo>
                    <a:lnTo>
                      <a:pt x="1254" y="1408"/>
                    </a:lnTo>
                    <a:lnTo>
                      <a:pt x="1254" y="1410"/>
                    </a:lnTo>
                    <a:lnTo>
                      <a:pt x="1253" y="1410"/>
                    </a:lnTo>
                    <a:lnTo>
                      <a:pt x="1253" y="1408"/>
                    </a:lnTo>
                    <a:lnTo>
                      <a:pt x="1251" y="1408"/>
                    </a:lnTo>
                    <a:lnTo>
                      <a:pt x="1251" y="1410"/>
                    </a:lnTo>
                    <a:lnTo>
                      <a:pt x="1251" y="1412"/>
                    </a:lnTo>
                    <a:lnTo>
                      <a:pt x="1249" y="1413"/>
                    </a:lnTo>
                    <a:lnTo>
                      <a:pt x="1251" y="1413"/>
                    </a:lnTo>
                    <a:lnTo>
                      <a:pt x="1251" y="1415"/>
                    </a:lnTo>
                    <a:lnTo>
                      <a:pt x="1251" y="1417"/>
                    </a:lnTo>
                    <a:lnTo>
                      <a:pt x="1253" y="1418"/>
                    </a:lnTo>
                    <a:lnTo>
                      <a:pt x="1254" y="1418"/>
                    </a:lnTo>
                    <a:lnTo>
                      <a:pt x="1254" y="1420"/>
                    </a:lnTo>
                    <a:lnTo>
                      <a:pt x="1254" y="1422"/>
                    </a:lnTo>
                    <a:lnTo>
                      <a:pt x="1254" y="1424"/>
                    </a:lnTo>
                    <a:lnTo>
                      <a:pt x="1253" y="1424"/>
                    </a:lnTo>
                    <a:lnTo>
                      <a:pt x="1253" y="1425"/>
                    </a:lnTo>
                    <a:lnTo>
                      <a:pt x="1251" y="1425"/>
                    </a:lnTo>
                    <a:lnTo>
                      <a:pt x="1253" y="1427"/>
                    </a:lnTo>
                    <a:lnTo>
                      <a:pt x="1253" y="1429"/>
                    </a:lnTo>
                    <a:lnTo>
                      <a:pt x="1253" y="1430"/>
                    </a:lnTo>
                    <a:lnTo>
                      <a:pt x="1253" y="1432"/>
                    </a:lnTo>
                    <a:lnTo>
                      <a:pt x="1253" y="1434"/>
                    </a:lnTo>
                    <a:lnTo>
                      <a:pt x="1253" y="1435"/>
                    </a:lnTo>
                    <a:lnTo>
                      <a:pt x="1251" y="1435"/>
                    </a:lnTo>
                    <a:lnTo>
                      <a:pt x="1249" y="1435"/>
                    </a:lnTo>
                    <a:lnTo>
                      <a:pt x="1251" y="1435"/>
                    </a:lnTo>
                    <a:lnTo>
                      <a:pt x="1249" y="1437"/>
                    </a:lnTo>
                    <a:lnTo>
                      <a:pt x="1249" y="1439"/>
                    </a:lnTo>
                    <a:lnTo>
                      <a:pt x="1251" y="1439"/>
                    </a:lnTo>
                    <a:lnTo>
                      <a:pt x="1253" y="1439"/>
                    </a:lnTo>
                    <a:lnTo>
                      <a:pt x="1253" y="1441"/>
                    </a:lnTo>
                    <a:lnTo>
                      <a:pt x="1254" y="1442"/>
                    </a:lnTo>
                    <a:lnTo>
                      <a:pt x="1254" y="1444"/>
                    </a:lnTo>
                    <a:lnTo>
                      <a:pt x="1254" y="1446"/>
                    </a:lnTo>
                    <a:lnTo>
                      <a:pt x="1256" y="1446"/>
                    </a:lnTo>
                    <a:lnTo>
                      <a:pt x="1258" y="1446"/>
                    </a:lnTo>
                    <a:lnTo>
                      <a:pt x="1258" y="1447"/>
                    </a:lnTo>
                    <a:lnTo>
                      <a:pt x="1259" y="1447"/>
                    </a:lnTo>
                    <a:lnTo>
                      <a:pt x="1259" y="1449"/>
                    </a:lnTo>
                    <a:lnTo>
                      <a:pt x="1261" y="1449"/>
                    </a:lnTo>
                    <a:lnTo>
                      <a:pt x="1261" y="1451"/>
                    </a:lnTo>
                    <a:lnTo>
                      <a:pt x="1263" y="1451"/>
                    </a:lnTo>
                    <a:lnTo>
                      <a:pt x="1263" y="1453"/>
                    </a:lnTo>
                    <a:lnTo>
                      <a:pt x="1264" y="1453"/>
                    </a:lnTo>
                    <a:lnTo>
                      <a:pt x="1264" y="1454"/>
                    </a:lnTo>
                    <a:lnTo>
                      <a:pt x="1266" y="1456"/>
                    </a:lnTo>
                    <a:lnTo>
                      <a:pt x="1266" y="1458"/>
                    </a:lnTo>
                    <a:lnTo>
                      <a:pt x="1264" y="1458"/>
                    </a:lnTo>
                    <a:lnTo>
                      <a:pt x="1264" y="1459"/>
                    </a:lnTo>
                    <a:lnTo>
                      <a:pt x="1263" y="1459"/>
                    </a:lnTo>
                    <a:lnTo>
                      <a:pt x="1263" y="1461"/>
                    </a:lnTo>
                    <a:lnTo>
                      <a:pt x="1264" y="1461"/>
                    </a:lnTo>
                    <a:lnTo>
                      <a:pt x="1266" y="1461"/>
                    </a:lnTo>
                    <a:lnTo>
                      <a:pt x="1266" y="1463"/>
                    </a:lnTo>
                    <a:lnTo>
                      <a:pt x="1275" y="1461"/>
                    </a:lnTo>
                    <a:lnTo>
                      <a:pt x="1283" y="1461"/>
                    </a:lnTo>
                    <a:lnTo>
                      <a:pt x="1285" y="1461"/>
                    </a:lnTo>
                    <a:lnTo>
                      <a:pt x="1288" y="1463"/>
                    </a:lnTo>
                    <a:lnTo>
                      <a:pt x="1302" y="1461"/>
                    </a:lnTo>
                    <a:lnTo>
                      <a:pt x="1309" y="1463"/>
                    </a:lnTo>
                    <a:lnTo>
                      <a:pt x="1314" y="1461"/>
                    </a:lnTo>
                    <a:lnTo>
                      <a:pt x="1319" y="1463"/>
                    </a:lnTo>
                    <a:lnTo>
                      <a:pt x="1331" y="1461"/>
                    </a:lnTo>
                    <a:lnTo>
                      <a:pt x="1334" y="1463"/>
                    </a:lnTo>
                    <a:lnTo>
                      <a:pt x="1336" y="1464"/>
                    </a:lnTo>
                    <a:lnTo>
                      <a:pt x="1338" y="1466"/>
                    </a:lnTo>
                    <a:lnTo>
                      <a:pt x="1341" y="1466"/>
                    </a:lnTo>
                    <a:lnTo>
                      <a:pt x="1344" y="1468"/>
                    </a:lnTo>
                    <a:lnTo>
                      <a:pt x="1348" y="1470"/>
                    </a:lnTo>
                    <a:lnTo>
                      <a:pt x="1349" y="1470"/>
                    </a:lnTo>
                    <a:lnTo>
                      <a:pt x="1351" y="1471"/>
                    </a:lnTo>
                    <a:lnTo>
                      <a:pt x="1355" y="1471"/>
                    </a:lnTo>
                    <a:lnTo>
                      <a:pt x="1358" y="1471"/>
                    </a:lnTo>
                    <a:lnTo>
                      <a:pt x="1360" y="1471"/>
                    </a:lnTo>
                    <a:lnTo>
                      <a:pt x="1361" y="1473"/>
                    </a:lnTo>
                    <a:lnTo>
                      <a:pt x="1363" y="1473"/>
                    </a:lnTo>
                    <a:lnTo>
                      <a:pt x="1365" y="1473"/>
                    </a:lnTo>
                    <a:lnTo>
                      <a:pt x="1366" y="1475"/>
                    </a:lnTo>
                    <a:lnTo>
                      <a:pt x="1368" y="1475"/>
                    </a:lnTo>
                    <a:lnTo>
                      <a:pt x="1372" y="1476"/>
                    </a:lnTo>
                    <a:lnTo>
                      <a:pt x="1373" y="1476"/>
                    </a:lnTo>
                    <a:lnTo>
                      <a:pt x="1373" y="1478"/>
                    </a:lnTo>
                    <a:lnTo>
                      <a:pt x="1375" y="1478"/>
                    </a:lnTo>
                    <a:lnTo>
                      <a:pt x="1377" y="1478"/>
                    </a:lnTo>
                    <a:lnTo>
                      <a:pt x="1378" y="1478"/>
                    </a:lnTo>
                    <a:lnTo>
                      <a:pt x="1378" y="1480"/>
                    </a:lnTo>
                    <a:lnTo>
                      <a:pt x="1380" y="1480"/>
                    </a:lnTo>
                    <a:lnTo>
                      <a:pt x="1382" y="1480"/>
                    </a:lnTo>
                    <a:lnTo>
                      <a:pt x="1383" y="1480"/>
                    </a:lnTo>
                    <a:lnTo>
                      <a:pt x="1385" y="1480"/>
                    </a:lnTo>
                    <a:lnTo>
                      <a:pt x="1385" y="1481"/>
                    </a:lnTo>
                    <a:lnTo>
                      <a:pt x="1385" y="1483"/>
                    </a:lnTo>
                    <a:lnTo>
                      <a:pt x="1383" y="1483"/>
                    </a:lnTo>
                    <a:lnTo>
                      <a:pt x="1383" y="1481"/>
                    </a:lnTo>
                    <a:lnTo>
                      <a:pt x="1382" y="1481"/>
                    </a:lnTo>
                    <a:lnTo>
                      <a:pt x="1382" y="1480"/>
                    </a:lnTo>
                    <a:lnTo>
                      <a:pt x="1380" y="1481"/>
                    </a:lnTo>
                    <a:lnTo>
                      <a:pt x="1378" y="1480"/>
                    </a:lnTo>
                    <a:lnTo>
                      <a:pt x="1377" y="1480"/>
                    </a:lnTo>
                    <a:lnTo>
                      <a:pt x="1375" y="1480"/>
                    </a:lnTo>
                    <a:lnTo>
                      <a:pt x="1373" y="1480"/>
                    </a:lnTo>
                    <a:lnTo>
                      <a:pt x="1373" y="1478"/>
                    </a:lnTo>
                    <a:lnTo>
                      <a:pt x="1372" y="1480"/>
                    </a:lnTo>
                    <a:lnTo>
                      <a:pt x="1372" y="1478"/>
                    </a:lnTo>
                    <a:lnTo>
                      <a:pt x="1370" y="1480"/>
                    </a:lnTo>
                    <a:lnTo>
                      <a:pt x="1368" y="1478"/>
                    </a:lnTo>
                    <a:lnTo>
                      <a:pt x="1366" y="1478"/>
                    </a:lnTo>
                    <a:lnTo>
                      <a:pt x="1365" y="1476"/>
                    </a:lnTo>
                    <a:lnTo>
                      <a:pt x="1363" y="1475"/>
                    </a:lnTo>
                    <a:lnTo>
                      <a:pt x="1361" y="1475"/>
                    </a:lnTo>
                    <a:lnTo>
                      <a:pt x="1361" y="1473"/>
                    </a:lnTo>
                    <a:lnTo>
                      <a:pt x="1360" y="1473"/>
                    </a:lnTo>
                    <a:lnTo>
                      <a:pt x="1358" y="1473"/>
                    </a:lnTo>
                    <a:lnTo>
                      <a:pt x="1356" y="1473"/>
                    </a:lnTo>
                    <a:lnTo>
                      <a:pt x="1356" y="1475"/>
                    </a:lnTo>
                    <a:lnTo>
                      <a:pt x="1355" y="1475"/>
                    </a:lnTo>
                    <a:lnTo>
                      <a:pt x="1353" y="1475"/>
                    </a:lnTo>
                    <a:lnTo>
                      <a:pt x="1353" y="1476"/>
                    </a:lnTo>
                    <a:lnTo>
                      <a:pt x="1351" y="1476"/>
                    </a:lnTo>
                    <a:lnTo>
                      <a:pt x="1349" y="1476"/>
                    </a:lnTo>
                    <a:lnTo>
                      <a:pt x="1349" y="1478"/>
                    </a:lnTo>
                    <a:lnTo>
                      <a:pt x="1349" y="1480"/>
                    </a:lnTo>
                    <a:lnTo>
                      <a:pt x="1348" y="1480"/>
                    </a:lnTo>
                    <a:lnTo>
                      <a:pt x="1349" y="1481"/>
                    </a:lnTo>
                    <a:lnTo>
                      <a:pt x="1348" y="1481"/>
                    </a:lnTo>
                    <a:lnTo>
                      <a:pt x="1349" y="1483"/>
                    </a:lnTo>
                    <a:lnTo>
                      <a:pt x="1348" y="1483"/>
                    </a:lnTo>
                    <a:lnTo>
                      <a:pt x="1346" y="1485"/>
                    </a:lnTo>
                    <a:lnTo>
                      <a:pt x="1346" y="1487"/>
                    </a:lnTo>
                    <a:lnTo>
                      <a:pt x="1346" y="1488"/>
                    </a:lnTo>
                    <a:lnTo>
                      <a:pt x="1344" y="1488"/>
                    </a:lnTo>
                    <a:lnTo>
                      <a:pt x="1344" y="1490"/>
                    </a:lnTo>
                    <a:lnTo>
                      <a:pt x="1343" y="1492"/>
                    </a:lnTo>
                    <a:lnTo>
                      <a:pt x="1341" y="1492"/>
                    </a:lnTo>
                    <a:lnTo>
                      <a:pt x="1339" y="1492"/>
                    </a:lnTo>
                    <a:lnTo>
                      <a:pt x="1338" y="1490"/>
                    </a:lnTo>
                    <a:lnTo>
                      <a:pt x="1338" y="1488"/>
                    </a:lnTo>
                    <a:lnTo>
                      <a:pt x="1336" y="1488"/>
                    </a:lnTo>
                    <a:lnTo>
                      <a:pt x="1336" y="1490"/>
                    </a:lnTo>
                    <a:lnTo>
                      <a:pt x="1334" y="1490"/>
                    </a:lnTo>
                    <a:lnTo>
                      <a:pt x="1332" y="1492"/>
                    </a:lnTo>
                    <a:lnTo>
                      <a:pt x="1331" y="1492"/>
                    </a:lnTo>
                    <a:lnTo>
                      <a:pt x="1331" y="1493"/>
                    </a:lnTo>
                    <a:lnTo>
                      <a:pt x="1329" y="1493"/>
                    </a:lnTo>
                    <a:lnTo>
                      <a:pt x="1327" y="1493"/>
                    </a:lnTo>
                    <a:lnTo>
                      <a:pt x="1326" y="1495"/>
                    </a:lnTo>
                    <a:lnTo>
                      <a:pt x="1324" y="1495"/>
                    </a:lnTo>
                    <a:lnTo>
                      <a:pt x="1324" y="1497"/>
                    </a:lnTo>
                    <a:lnTo>
                      <a:pt x="1324" y="1498"/>
                    </a:lnTo>
                    <a:lnTo>
                      <a:pt x="1324" y="1497"/>
                    </a:lnTo>
                    <a:lnTo>
                      <a:pt x="1322" y="1497"/>
                    </a:lnTo>
                    <a:lnTo>
                      <a:pt x="1321" y="1497"/>
                    </a:lnTo>
                    <a:lnTo>
                      <a:pt x="1321" y="1498"/>
                    </a:lnTo>
                    <a:lnTo>
                      <a:pt x="1319" y="1498"/>
                    </a:lnTo>
                    <a:lnTo>
                      <a:pt x="1317" y="1500"/>
                    </a:lnTo>
                    <a:lnTo>
                      <a:pt x="1315" y="1500"/>
                    </a:lnTo>
                    <a:lnTo>
                      <a:pt x="1314" y="1502"/>
                    </a:lnTo>
                    <a:lnTo>
                      <a:pt x="1312" y="1502"/>
                    </a:lnTo>
                    <a:lnTo>
                      <a:pt x="1312" y="1500"/>
                    </a:lnTo>
                    <a:lnTo>
                      <a:pt x="1314" y="1500"/>
                    </a:lnTo>
                    <a:lnTo>
                      <a:pt x="1314" y="1498"/>
                    </a:lnTo>
                    <a:lnTo>
                      <a:pt x="1312" y="1498"/>
                    </a:lnTo>
                    <a:lnTo>
                      <a:pt x="1312" y="1500"/>
                    </a:lnTo>
                    <a:lnTo>
                      <a:pt x="1310" y="1502"/>
                    </a:lnTo>
                    <a:lnTo>
                      <a:pt x="1310" y="1500"/>
                    </a:lnTo>
                    <a:lnTo>
                      <a:pt x="1309" y="1502"/>
                    </a:lnTo>
                    <a:lnTo>
                      <a:pt x="1307" y="1502"/>
                    </a:lnTo>
                    <a:lnTo>
                      <a:pt x="1309" y="1504"/>
                    </a:lnTo>
                    <a:lnTo>
                      <a:pt x="1307" y="1504"/>
                    </a:lnTo>
                    <a:lnTo>
                      <a:pt x="1307" y="1502"/>
                    </a:lnTo>
                    <a:lnTo>
                      <a:pt x="1305" y="1502"/>
                    </a:lnTo>
                    <a:lnTo>
                      <a:pt x="1305" y="1504"/>
                    </a:lnTo>
                    <a:lnTo>
                      <a:pt x="1304" y="1504"/>
                    </a:lnTo>
                    <a:lnTo>
                      <a:pt x="1304" y="1502"/>
                    </a:lnTo>
                    <a:lnTo>
                      <a:pt x="1302" y="1502"/>
                    </a:lnTo>
                    <a:lnTo>
                      <a:pt x="1304" y="1502"/>
                    </a:lnTo>
                    <a:lnTo>
                      <a:pt x="1302" y="1502"/>
                    </a:lnTo>
                    <a:lnTo>
                      <a:pt x="1302" y="1504"/>
                    </a:lnTo>
                    <a:lnTo>
                      <a:pt x="1304" y="1504"/>
                    </a:lnTo>
                    <a:lnTo>
                      <a:pt x="1305" y="1504"/>
                    </a:lnTo>
                    <a:lnTo>
                      <a:pt x="1304" y="1505"/>
                    </a:lnTo>
                    <a:lnTo>
                      <a:pt x="1305" y="1505"/>
                    </a:lnTo>
                    <a:lnTo>
                      <a:pt x="1307" y="1505"/>
                    </a:lnTo>
                    <a:lnTo>
                      <a:pt x="1305" y="1507"/>
                    </a:lnTo>
                    <a:lnTo>
                      <a:pt x="1304" y="1507"/>
                    </a:lnTo>
                    <a:lnTo>
                      <a:pt x="1304" y="1509"/>
                    </a:lnTo>
                    <a:lnTo>
                      <a:pt x="1304" y="1507"/>
                    </a:lnTo>
                    <a:lnTo>
                      <a:pt x="1304" y="1509"/>
                    </a:lnTo>
                    <a:lnTo>
                      <a:pt x="1304" y="1510"/>
                    </a:lnTo>
                    <a:lnTo>
                      <a:pt x="1304" y="1512"/>
                    </a:lnTo>
                    <a:lnTo>
                      <a:pt x="1302" y="1512"/>
                    </a:lnTo>
                    <a:lnTo>
                      <a:pt x="1302" y="1514"/>
                    </a:lnTo>
                    <a:lnTo>
                      <a:pt x="1304" y="1514"/>
                    </a:lnTo>
                    <a:lnTo>
                      <a:pt x="1305" y="1514"/>
                    </a:lnTo>
                    <a:lnTo>
                      <a:pt x="1304" y="1515"/>
                    </a:lnTo>
                    <a:lnTo>
                      <a:pt x="1304" y="1517"/>
                    </a:lnTo>
                    <a:lnTo>
                      <a:pt x="1304" y="1519"/>
                    </a:lnTo>
                    <a:lnTo>
                      <a:pt x="1304" y="1521"/>
                    </a:lnTo>
                    <a:lnTo>
                      <a:pt x="1302" y="1521"/>
                    </a:lnTo>
                    <a:lnTo>
                      <a:pt x="1302" y="1522"/>
                    </a:lnTo>
                    <a:lnTo>
                      <a:pt x="1302" y="1524"/>
                    </a:lnTo>
                    <a:lnTo>
                      <a:pt x="1302" y="1526"/>
                    </a:lnTo>
                    <a:lnTo>
                      <a:pt x="1302" y="1527"/>
                    </a:lnTo>
                    <a:lnTo>
                      <a:pt x="1300" y="1527"/>
                    </a:lnTo>
                    <a:lnTo>
                      <a:pt x="1300" y="1529"/>
                    </a:lnTo>
                    <a:lnTo>
                      <a:pt x="1300" y="1531"/>
                    </a:lnTo>
                    <a:lnTo>
                      <a:pt x="1298" y="1532"/>
                    </a:lnTo>
                    <a:lnTo>
                      <a:pt x="1300" y="1532"/>
                    </a:lnTo>
                    <a:lnTo>
                      <a:pt x="1300" y="1534"/>
                    </a:lnTo>
                    <a:lnTo>
                      <a:pt x="1300" y="1536"/>
                    </a:lnTo>
                    <a:lnTo>
                      <a:pt x="1298" y="1538"/>
                    </a:lnTo>
                    <a:lnTo>
                      <a:pt x="1298" y="1539"/>
                    </a:lnTo>
                    <a:lnTo>
                      <a:pt x="1298" y="1541"/>
                    </a:lnTo>
                    <a:lnTo>
                      <a:pt x="1298" y="1543"/>
                    </a:lnTo>
                    <a:lnTo>
                      <a:pt x="1298" y="1544"/>
                    </a:lnTo>
                    <a:lnTo>
                      <a:pt x="1298" y="1546"/>
                    </a:lnTo>
                    <a:lnTo>
                      <a:pt x="1300" y="1548"/>
                    </a:lnTo>
                    <a:lnTo>
                      <a:pt x="1300" y="1549"/>
                    </a:lnTo>
                    <a:lnTo>
                      <a:pt x="1300" y="1551"/>
                    </a:lnTo>
                    <a:lnTo>
                      <a:pt x="1300" y="1553"/>
                    </a:lnTo>
                    <a:lnTo>
                      <a:pt x="1298" y="1553"/>
                    </a:lnTo>
                    <a:lnTo>
                      <a:pt x="1300" y="1555"/>
                    </a:lnTo>
                    <a:lnTo>
                      <a:pt x="1298" y="1556"/>
                    </a:lnTo>
                    <a:lnTo>
                      <a:pt x="1298" y="1558"/>
                    </a:lnTo>
                    <a:lnTo>
                      <a:pt x="1298" y="1560"/>
                    </a:lnTo>
                    <a:lnTo>
                      <a:pt x="1298" y="1561"/>
                    </a:lnTo>
                    <a:lnTo>
                      <a:pt x="1297" y="1561"/>
                    </a:lnTo>
                    <a:lnTo>
                      <a:pt x="1297" y="1563"/>
                    </a:lnTo>
                    <a:lnTo>
                      <a:pt x="1295" y="1565"/>
                    </a:lnTo>
                    <a:lnTo>
                      <a:pt x="1295" y="1563"/>
                    </a:lnTo>
                    <a:lnTo>
                      <a:pt x="1295" y="1565"/>
                    </a:lnTo>
                    <a:lnTo>
                      <a:pt x="1293" y="1565"/>
                    </a:lnTo>
                    <a:lnTo>
                      <a:pt x="1292" y="1566"/>
                    </a:lnTo>
                    <a:lnTo>
                      <a:pt x="1290" y="1566"/>
                    </a:lnTo>
                    <a:lnTo>
                      <a:pt x="1290" y="1568"/>
                    </a:lnTo>
                    <a:lnTo>
                      <a:pt x="1288" y="1568"/>
                    </a:lnTo>
                    <a:lnTo>
                      <a:pt x="1287" y="1568"/>
                    </a:lnTo>
                    <a:lnTo>
                      <a:pt x="1287" y="1566"/>
                    </a:lnTo>
                    <a:lnTo>
                      <a:pt x="1285" y="1566"/>
                    </a:lnTo>
                    <a:lnTo>
                      <a:pt x="1283" y="1565"/>
                    </a:lnTo>
                    <a:lnTo>
                      <a:pt x="1281" y="1565"/>
                    </a:lnTo>
                    <a:lnTo>
                      <a:pt x="1280" y="1565"/>
                    </a:lnTo>
                    <a:lnTo>
                      <a:pt x="1280" y="1563"/>
                    </a:lnTo>
                    <a:lnTo>
                      <a:pt x="1278" y="1563"/>
                    </a:lnTo>
                    <a:lnTo>
                      <a:pt x="1276" y="1563"/>
                    </a:lnTo>
                    <a:lnTo>
                      <a:pt x="1275" y="1563"/>
                    </a:lnTo>
                    <a:lnTo>
                      <a:pt x="1273" y="1563"/>
                    </a:lnTo>
                    <a:lnTo>
                      <a:pt x="1273" y="1561"/>
                    </a:lnTo>
                    <a:lnTo>
                      <a:pt x="1271" y="1561"/>
                    </a:lnTo>
                    <a:lnTo>
                      <a:pt x="1271" y="1560"/>
                    </a:lnTo>
                    <a:lnTo>
                      <a:pt x="1270" y="1560"/>
                    </a:lnTo>
                    <a:lnTo>
                      <a:pt x="1268" y="1560"/>
                    </a:lnTo>
                    <a:lnTo>
                      <a:pt x="1268" y="1558"/>
                    </a:lnTo>
                    <a:lnTo>
                      <a:pt x="1266" y="1556"/>
                    </a:lnTo>
                    <a:lnTo>
                      <a:pt x="1268" y="1556"/>
                    </a:lnTo>
                    <a:lnTo>
                      <a:pt x="1266" y="1556"/>
                    </a:lnTo>
                    <a:lnTo>
                      <a:pt x="1266" y="1558"/>
                    </a:lnTo>
                    <a:lnTo>
                      <a:pt x="1264" y="1558"/>
                    </a:lnTo>
                    <a:lnTo>
                      <a:pt x="1264" y="1556"/>
                    </a:lnTo>
                    <a:lnTo>
                      <a:pt x="1263" y="1556"/>
                    </a:lnTo>
                    <a:lnTo>
                      <a:pt x="1263" y="1558"/>
                    </a:lnTo>
                    <a:lnTo>
                      <a:pt x="1263" y="1556"/>
                    </a:lnTo>
                    <a:lnTo>
                      <a:pt x="1261" y="1556"/>
                    </a:lnTo>
                    <a:lnTo>
                      <a:pt x="1259" y="1556"/>
                    </a:lnTo>
                    <a:lnTo>
                      <a:pt x="1259" y="1555"/>
                    </a:lnTo>
                    <a:lnTo>
                      <a:pt x="1258" y="1555"/>
                    </a:lnTo>
                    <a:lnTo>
                      <a:pt x="1258" y="1553"/>
                    </a:lnTo>
                    <a:lnTo>
                      <a:pt x="1256" y="1553"/>
                    </a:lnTo>
                    <a:lnTo>
                      <a:pt x="1256" y="1551"/>
                    </a:lnTo>
                    <a:lnTo>
                      <a:pt x="1254" y="1551"/>
                    </a:lnTo>
                    <a:lnTo>
                      <a:pt x="1254" y="1549"/>
                    </a:lnTo>
                    <a:lnTo>
                      <a:pt x="1253" y="1549"/>
                    </a:lnTo>
                    <a:lnTo>
                      <a:pt x="1253" y="1548"/>
                    </a:lnTo>
                    <a:lnTo>
                      <a:pt x="1251" y="1546"/>
                    </a:lnTo>
                    <a:lnTo>
                      <a:pt x="1251" y="1544"/>
                    </a:lnTo>
                    <a:lnTo>
                      <a:pt x="1251" y="1546"/>
                    </a:lnTo>
                    <a:lnTo>
                      <a:pt x="1249" y="1544"/>
                    </a:lnTo>
                    <a:lnTo>
                      <a:pt x="1249" y="1543"/>
                    </a:lnTo>
                    <a:lnTo>
                      <a:pt x="1249" y="1541"/>
                    </a:lnTo>
                    <a:lnTo>
                      <a:pt x="1247" y="1541"/>
                    </a:lnTo>
                    <a:lnTo>
                      <a:pt x="1247" y="1539"/>
                    </a:lnTo>
                    <a:lnTo>
                      <a:pt x="1247" y="1538"/>
                    </a:lnTo>
                    <a:lnTo>
                      <a:pt x="1249" y="1539"/>
                    </a:lnTo>
                    <a:lnTo>
                      <a:pt x="1249" y="1538"/>
                    </a:lnTo>
                    <a:lnTo>
                      <a:pt x="1249" y="1536"/>
                    </a:lnTo>
                    <a:lnTo>
                      <a:pt x="1249" y="1534"/>
                    </a:lnTo>
                    <a:lnTo>
                      <a:pt x="1251" y="1534"/>
                    </a:lnTo>
                    <a:lnTo>
                      <a:pt x="1251" y="1532"/>
                    </a:lnTo>
                    <a:lnTo>
                      <a:pt x="1253" y="1532"/>
                    </a:lnTo>
                    <a:lnTo>
                      <a:pt x="1254" y="1531"/>
                    </a:lnTo>
                    <a:lnTo>
                      <a:pt x="1256" y="1532"/>
                    </a:lnTo>
                    <a:lnTo>
                      <a:pt x="1258" y="1532"/>
                    </a:lnTo>
                    <a:lnTo>
                      <a:pt x="1259" y="1532"/>
                    </a:lnTo>
                    <a:lnTo>
                      <a:pt x="1259" y="1531"/>
                    </a:lnTo>
                    <a:lnTo>
                      <a:pt x="1259" y="1532"/>
                    </a:lnTo>
                    <a:lnTo>
                      <a:pt x="1259" y="1534"/>
                    </a:lnTo>
                    <a:lnTo>
                      <a:pt x="1261" y="1534"/>
                    </a:lnTo>
                    <a:lnTo>
                      <a:pt x="1259" y="1536"/>
                    </a:lnTo>
                    <a:lnTo>
                      <a:pt x="1261" y="1536"/>
                    </a:lnTo>
                    <a:lnTo>
                      <a:pt x="1261" y="1538"/>
                    </a:lnTo>
                    <a:lnTo>
                      <a:pt x="1259" y="1539"/>
                    </a:lnTo>
                    <a:lnTo>
                      <a:pt x="1259" y="1541"/>
                    </a:lnTo>
                    <a:lnTo>
                      <a:pt x="1258" y="1541"/>
                    </a:lnTo>
                    <a:lnTo>
                      <a:pt x="1256" y="1543"/>
                    </a:lnTo>
                    <a:lnTo>
                      <a:pt x="1254" y="1541"/>
                    </a:lnTo>
                    <a:lnTo>
                      <a:pt x="1256" y="1543"/>
                    </a:lnTo>
                    <a:lnTo>
                      <a:pt x="1258" y="1543"/>
                    </a:lnTo>
                    <a:lnTo>
                      <a:pt x="1259" y="1541"/>
                    </a:lnTo>
                    <a:lnTo>
                      <a:pt x="1261" y="1541"/>
                    </a:lnTo>
                    <a:lnTo>
                      <a:pt x="1261" y="1539"/>
                    </a:lnTo>
                    <a:lnTo>
                      <a:pt x="1263" y="1539"/>
                    </a:lnTo>
                    <a:lnTo>
                      <a:pt x="1263" y="1538"/>
                    </a:lnTo>
                    <a:lnTo>
                      <a:pt x="1263" y="1536"/>
                    </a:lnTo>
                    <a:lnTo>
                      <a:pt x="1263" y="1534"/>
                    </a:lnTo>
                    <a:lnTo>
                      <a:pt x="1263" y="1532"/>
                    </a:lnTo>
                    <a:lnTo>
                      <a:pt x="1263" y="1531"/>
                    </a:lnTo>
                    <a:lnTo>
                      <a:pt x="1264" y="1531"/>
                    </a:lnTo>
                    <a:lnTo>
                      <a:pt x="1266" y="1531"/>
                    </a:lnTo>
                    <a:lnTo>
                      <a:pt x="1268" y="1531"/>
                    </a:lnTo>
                    <a:lnTo>
                      <a:pt x="1270" y="1531"/>
                    </a:lnTo>
                    <a:lnTo>
                      <a:pt x="1270" y="1532"/>
                    </a:lnTo>
                    <a:lnTo>
                      <a:pt x="1270" y="1534"/>
                    </a:lnTo>
                    <a:lnTo>
                      <a:pt x="1270" y="1536"/>
                    </a:lnTo>
                    <a:lnTo>
                      <a:pt x="1270" y="1538"/>
                    </a:lnTo>
                    <a:lnTo>
                      <a:pt x="1270" y="1539"/>
                    </a:lnTo>
                    <a:lnTo>
                      <a:pt x="1271" y="1541"/>
                    </a:lnTo>
                    <a:lnTo>
                      <a:pt x="1271" y="1543"/>
                    </a:lnTo>
                    <a:lnTo>
                      <a:pt x="1271" y="1541"/>
                    </a:lnTo>
                    <a:lnTo>
                      <a:pt x="1270" y="1543"/>
                    </a:lnTo>
                    <a:lnTo>
                      <a:pt x="1270" y="1544"/>
                    </a:lnTo>
                    <a:lnTo>
                      <a:pt x="1268" y="1544"/>
                    </a:lnTo>
                    <a:lnTo>
                      <a:pt x="1266" y="1546"/>
                    </a:lnTo>
                    <a:lnTo>
                      <a:pt x="1264" y="1546"/>
                    </a:lnTo>
                    <a:lnTo>
                      <a:pt x="1264" y="1548"/>
                    </a:lnTo>
                    <a:lnTo>
                      <a:pt x="1263" y="1548"/>
                    </a:lnTo>
                    <a:lnTo>
                      <a:pt x="1261" y="1548"/>
                    </a:lnTo>
                    <a:lnTo>
                      <a:pt x="1263" y="1548"/>
                    </a:lnTo>
                    <a:lnTo>
                      <a:pt x="1264" y="1549"/>
                    </a:lnTo>
                    <a:lnTo>
                      <a:pt x="1266" y="1548"/>
                    </a:lnTo>
                    <a:lnTo>
                      <a:pt x="1268" y="1548"/>
                    </a:lnTo>
                    <a:lnTo>
                      <a:pt x="1270" y="1546"/>
                    </a:lnTo>
                    <a:lnTo>
                      <a:pt x="1271" y="1544"/>
                    </a:lnTo>
                    <a:lnTo>
                      <a:pt x="1273" y="1543"/>
                    </a:lnTo>
                    <a:lnTo>
                      <a:pt x="1271" y="1543"/>
                    </a:lnTo>
                    <a:lnTo>
                      <a:pt x="1271" y="1541"/>
                    </a:lnTo>
                    <a:lnTo>
                      <a:pt x="1271" y="1539"/>
                    </a:lnTo>
                    <a:lnTo>
                      <a:pt x="1273" y="1538"/>
                    </a:lnTo>
                    <a:lnTo>
                      <a:pt x="1271" y="1538"/>
                    </a:lnTo>
                    <a:lnTo>
                      <a:pt x="1271" y="1536"/>
                    </a:lnTo>
                    <a:lnTo>
                      <a:pt x="1271" y="1534"/>
                    </a:lnTo>
                    <a:lnTo>
                      <a:pt x="1273" y="1536"/>
                    </a:lnTo>
                    <a:lnTo>
                      <a:pt x="1271" y="1534"/>
                    </a:lnTo>
                    <a:lnTo>
                      <a:pt x="1271" y="1532"/>
                    </a:lnTo>
                    <a:lnTo>
                      <a:pt x="1273" y="1532"/>
                    </a:lnTo>
                    <a:lnTo>
                      <a:pt x="1273" y="1531"/>
                    </a:lnTo>
                    <a:lnTo>
                      <a:pt x="1273" y="1529"/>
                    </a:lnTo>
                    <a:lnTo>
                      <a:pt x="1275" y="1529"/>
                    </a:lnTo>
                    <a:lnTo>
                      <a:pt x="1276" y="1529"/>
                    </a:lnTo>
                    <a:lnTo>
                      <a:pt x="1278" y="1527"/>
                    </a:lnTo>
                    <a:lnTo>
                      <a:pt x="1280" y="1527"/>
                    </a:lnTo>
                    <a:lnTo>
                      <a:pt x="1280" y="1526"/>
                    </a:lnTo>
                    <a:lnTo>
                      <a:pt x="1281" y="1526"/>
                    </a:lnTo>
                    <a:lnTo>
                      <a:pt x="1283" y="1526"/>
                    </a:lnTo>
                    <a:lnTo>
                      <a:pt x="1285" y="1524"/>
                    </a:lnTo>
                    <a:lnTo>
                      <a:pt x="1287" y="1524"/>
                    </a:lnTo>
                    <a:lnTo>
                      <a:pt x="1287" y="1522"/>
                    </a:lnTo>
                    <a:lnTo>
                      <a:pt x="1287" y="1521"/>
                    </a:lnTo>
                    <a:lnTo>
                      <a:pt x="1288" y="1521"/>
                    </a:lnTo>
                    <a:lnTo>
                      <a:pt x="1288" y="1519"/>
                    </a:lnTo>
                    <a:lnTo>
                      <a:pt x="1290" y="1517"/>
                    </a:lnTo>
                    <a:lnTo>
                      <a:pt x="1290" y="1515"/>
                    </a:lnTo>
                    <a:lnTo>
                      <a:pt x="1292" y="1515"/>
                    </a:lnTo>
                    <a:lnTo>
                      <a:pt x="1292" y="1514"/>
                    </a:lnTo>
                    <a:lnTo>
                      <a:pt x="1293" y="1514"/>
                    </a:lnTo>
                    <a:lnTo>
                      <a:pt x="1293" y="1512"/>
                    </a:lnTo>
                    <a:lnTo>
                      <a:pt x="1293" y="1510"/>
                    </a:lnTo>
                    <a:lnTo>
                      <a:pt x="1293" y="1509"/>
                    </a:lnTo>
                    <a:lnTo>
                      <a:pt x="1293" y="1507"/>
                    </a:lnTo>
                    <a:lnTo>
                      <a:pt x="1292" y="1507"/>
                    </a:lnTo>
                    <a:lnTo>
                      <a:pt x="1290" y="1507"/>
                    </a:lnTo>
                    <a:lnTo>
                      <a:pt x="1290" y="1505"/>
                    </a:lnTo>
                    <a:lnTo>
                      <a:pt x="1288" y="1505"/>
                    </a:lnTo>
                    <a:lnTo>
                      <a:pt x="1287" y="1507"/>
                    </a:lnTo>
                    <a:lnTo>
                      <a:pt x="1285" y="1507"/>
                    </a:lnTo>
                    <a:lnTo>
                      <a:pt x="1285" y="1505"/>
                    </a:lnTo>
                    <a:lnTo>
                      <a:pt x="1285" y="1504"/>
                    </a:lnTo>
                    <a:lnTo>
                      <a:pt x="1285" y="1502"/>
                    </a:lnTo>
                    <a:lnTo>
                      <a:pt x="1283" y="1502"/>
                    </a:lnTo>
                    <a:lnTo>
                      <a:pt x="1283" y="1500"/>
                    </a:lnTo>
                    <a:lnTo>
                      <a:pt x="1281" y="1498"/>
                    </a:lnTo>
                    <a:lnTo>
                      <a:pt x="1281" y="1497"/>
                    </a:lnTo>
                    <a:lnTo>
                      <a:pt x="1280" y="1497"/>
                    </a:lnTo>
                    <a:lnTo>
                      <a:pt x="1280" y="1495"/>
                    </a:lnTo>
                    <a:lnTo>
                      <a:pt x="1280" y="1493"/>
                    </a:lnTo>
                    <a:lnTo>
                      <a:pt x="1278" y="1493"/>
                    </a:lnTo>
                    <a:lnTo>
                      <a:pt x="1276" y="1493"/>
                    </a:lnTo>
                    <a:lnTo>
                      <a:pt x="1275" y="1493"/>
                    </a:lnTo>
                    <a:lnTo>
                      <a:pt x="1273" y="1493"/>
                    </a:lnTo>
                    <a:lnTo>
                      <a:pt x="1271" y="1493"/>
                    </a:lnTo>
                    <a:lnTo>
                      <a:pt x="1270" y="1493"/>
                    </a:lnTo>
                    <a:lnTo>
                      <a:pt x="1270" y="1492"/>
                    </a:lnTo>
                    <a:lnTo>
                      <a:pt x="1268" y="1492"/>
                    </a:lnTo>
                    <a:lnTo>
                      <a:pt x="1266" y="1492"/>
                    </a:lnTo>
                    <a:lnTo>
                      <a:pt x="1264" y="1492"/>
                    </a:lnTo>
                    <a:lnTo>
                      <a:pt x="1264" y="1493"/>
                    </a:lnTo>
                    <a:lnTo>
                      <a:pt x="1263" y="1492"/>
                    </a:lnTo>
                    <a:lnTo>
                      <a:pt x="1263" y="1493"/>
                    </a:lnTo>
                    <a:lnTo>
                      <a:pt x="1263" y="1492"/>
                    </a:lnTo>
                    <a:lnTo>
                      <a:pt x="1263" y="1493"/>
                    </a:lnTo>
                    <a:lnTo>
                      <a:pt x="1261" y="1492"/>
                    </a:lnTo>
                    <a:lnTo>
                      <a:pt x="1259" y="1492"/>
                    </a:lnTo>
                    <a:lnTo>
                      <a:pt x="1261" y="1492"/>
                    </a:lnTo>
                    <a:lnTo>
                      <a:pt x="1259" y="1493"/>
                    </a:lnTo>
                    <a:lnTo>
                      <a:pt x="1259" y="1492"/>
                    </a:lnTo>
                    <a:lnTo>
                      <a:pt x="1259" y="1490"/>
                    </a:lnTo>
                    <a:lnTo>
                      <a:pt x="1259" y="1492"/>
                    </a:lnTo>
                    <a:lnTo>
                      <a:pt x="1258" y="1490"/>
                    </a:lnTo>
                    <a:lnTo>
                      <a:pt x="1258" y="1492"/>
                    </a:lnTo>
                    <a:lnTo>
                      <a:pt x="1256" y="1492"/>
                    </a:lnTo>
                    <a:lnTo>
                      <a:pt x="1254" y="1492"/>
                    </a:lnTo>
                    <a:lnTo>
                      <a:pt x="1253" y="1492"/>
                    </a:lnTo>
                    <a:lnTo>
                      <a:pt x="1253" y="1493"/>
                    </a:lnTo>
                    <a:lnTo>
                      <a:pt x="1251" y="1495"/>
                    </a:lnTo>
                    <a:lnTo>
                      <a:pt x="1249" y="1495"/>
                    </a:lnTo>
                    <a:lnTo>
                      <a:pt x="1249" y="1497"/>
                    </a:lnTo>
                    <a:lnTo>
                      <a:pt x="1251" y="1497"/>
                    </a:lnTo>
                    <a:lnTo>
                      <a:pt x="1249" y="1498"/>
                    </a:lnTo>
                    <a:lnTo>
                      <a:pt x="1247" y="1498"/>
                    </a:lnTo>
                    <a:lnTo>
                      <a:pt x="1247" y="1497"/>
                    </a:lnTo>
                    <a:lnTo>
                      <a:pt x="1246" y="1497"/>
                    </a:lnTo>
                    <a:lnTo>
                      <a:pt x="1244" y="1495"/>
                    </a:lnTo>
                    <a:lnTo>
                      <a:pt x="1246" y="1495"/>
                    </a:lnTo>
                    <a:lnTo>
                      <a:pt x="1246" y="1493"/>
                    </a:lnTo>
                    <a:lnTo>
                      <a:pt x="1247" y="1493"/>
                    </a:lnTo>
                    <a:lnTo>
                      <a:pt x="1247" y="1492"/>
                    </a:lnTo>
                    <a:lnTo>
                      <a:pt x="1249" y="1493"/>
                    </a:lnTo>
                    <a:lnTo>
                      <a:pt x="1251" y="1493"/>
                    </a:lnTo>
                    <a:lnTo>
                      <a:pt x="1251" y="1492"/>
                    </a:lnTo>
                    <a:lnTo>
                      <a:pt x="1251" y="1490"/>
                    </a:lnTo>
                    <a:lnTo>
                      <a:pt x="1249" y="1490"/>
                    </a:lnTo>
                    <a:lnTo>
                      <a:pt x="1249" y="1492"/>
                    </a:lnTo>
                    <a:lnTo>
                      <a:pt x="1247" y="1492"/>
                    </a:lnTo>
                    <a:lnTo>
                      <a:pt x="1246" y="1492"/>
                    </a:lnTo>
                    <a:lnTo>
                      <a:pt x="1246" y="1493"/>
                    </a:lnTo>
                    <a:lnTo>
                      <a:pt x="1244" y="1493"/>
                    </a:lnTo>
                    <a:lnTo>
                      <a:pt x="1244" y="1495"/>
                    </a:lnTo>
                    <a:lnTo>
                      <a:pt x="1242" y="1493"/>
                    </a:lnTo>
                    <a:lnTo>
                      <a:pt x="1242" y="1492"/>
                    </a:lnTo>
                    <a:lnTo>
                      <a:pt x="1244" y="1490"/>
                    </a:lnTo>
                    <a:lnTo>
                      <a:pt x="1242" y="1492"/>
                    </a:lnTo>
                    <a:lnTo>
                      <a:pt x="1241" y="1492"/>
                    </a:lnTo>
                    <a:lnTo>
                      <a:pt x="1241" y="1493"/>
                    </a:lnTo>
                    <a:lnTo>
                      <a:pt x="1239" y="1493"/>
                    </a:lnTo>
                    <a:lnTo>
                      <a:pt x="1237" y="1493"/>
                    </a:lnTo>
                    <a:lnTo>
                      <a:pt x="1236" y="1492"/>
                    </a:lnTo>
                    <a:lnTo>
                      <a:pt x="1234" y="1492"/>
                    </a:lnTo>
                    <a:lnTo>
                      <a:pt x="1236" y="1493"/>
                    </a:lnTo>
                    <a:lnTo>
                      <a:pt x="1234" y="1493"/>
                    </a:lnTo>
                    <a:lnTo>
                      <a:pt x="1236" y="1493"/>
                    </a:lnTo>
                    <a:lnTo>
                      <a:pt x="1234" y="1493"/>
                    </a:lnTo>
                    <a:lnTo>
                      <a:pt x="1234" y="1495"/>
                    </a:lnTo>
                    <a:lnTo>
                      <a:pt x="1236" y="1495"/>
                    </a:lnTo>
                    <a:lnTo>
                      <a:pt x="1234" y="1495"/>
                    </a:lnTo>
                    <a:lnTo>
                      <a:pt x="1232" y="1495"/>
                    </a:lnTo>
                    <a:lnTo>
                      <a:pt x="1234" y="1495"/>
                    </a:lnTo>
                    <a:lnTo>
                      <a:pt x="1234" y="1497"/>
                    </a:lnTo>
                    <a:lnTo>
                      <a:pt x="1234" y="1498"/>
                    </a:lnTo>
                    <a:lnTo>
                      <a:pt x="1234" y="1497"/>
                    </a:lnTo>
                    <a:lnTo>
                      <a:pt x="1236" y="1497"/>
                    </a:lnTo>
                    <a:lnTo>
                      <a:pt x="1236" y="1495"/>
                    </a:lnTo>
                    <a:lnTo>
                      <a:pt x="1237" y="1497"/>
                    </a:lnTo>
                    <a:lnTo>
                      <a:pt x="1236" y="1498"/>
                    </a:lnTo>
                    <a:lnTo>
                      <a:pt x="1237" y="1497"/>
                    </a:lnTo>
                    <a:lnTo>
                      <a:pt x="1239" y="1497"/>
                    </a:lnTo>
                    <a:lnTo>
                      <a:pt x="1237" y="1498"/>
                    </a:lnTo>
                    <a:lnTo>
                      <a:pt x="1239" y="1497"/>
                    </a:lnTo>
                    <a:lnTo>
                      <a:pt x="1239" y="1498"/>
                    </a:lnTo>
                    <a:lnTo>
                      <a:pt x="1241" y="1498"/>
                    </a:lnTo>
                    <a:lnTo>
                      <a:pt x="1241" y="1500"/>
                    </a:lnTo>
                    <a:lnTo>
                      <a:pt x="1239" y="1502"/>
                    </a:lnTo>
                    <a:lnTo>
                      <a:pt x="1239" y="1504"/>
                    </a:lnTo>
                    <a:lnTo>
                      <a:pt x="1237" y="1504"/>
                    </a:lnTo>
                    <a:lnTo>
                      <a:pt x="1236" y="1505"/>
                    </a:lnTo>
                    <a:lnTo>
                      <a:pt x="1236" y="1507"/>
                    </a:lnTo>
                    <a:lnTo>
                      <a:pt x="1234" y="1507"/>
                    </a:lnTo>
                    <a:lnTo>
                      <a:pt x="1232" y="1505"/>
                    </a:lnTo>
                    <a:lnTo>
                      <a:pt x="1232" y="1507"/>
                    </a:lnTo>
                    <a:lnTo>
                      <a:pt x="1232" y="1509"/>
                    </a:lnTo>
                    <a:lnTo>
                      <a:pt x="1230" y="1509"/>
                    </a:lnTo>
                    <a:lnTo>
                      <a:pt x="1229" y="1509"/>
                    </a:lnTo>
                    <a:lnTo>
                      <a:pt x="1229" y="1510"/>
                    </a:lnTo>
                    <a:lnTo>
                      <a:pt x="1230" y="1510"/>
                    </a:lnTo>
                    <a:lnTo>
                      <a:pt x="1230" y="1512"/>
                    </a:lnTo>
                    <a:lnTo>
                      <a:pt x="1232" y="1512"/>
                    </a:lnTo>
                    <a:lnTo>
                      <a:pt x="1230" y="1514"/>
                    </a:lnTo>
                    <a:lnTo>
                      <a:pt x="1232" y="1515"/>
                    </a:lnTo>
                    <a:lnTo>
                      <a:pt x="1230" y="1515"/>
                    </a:lnTo>
                    <a:lnTo>
                      <a:pt x="1232" y="1515"/>
                    </a:lnTo>
                    <a:lnTo>
                      <a:pt x="1232" y="1517"/>
                    </a:lnTo>
                    <a:lnTo>
                      <a:pt x="1230" y="1517"/>
                    </a:lnTo>
                    <a:lnTo>
                      <a:pt x="1230" y="1519"/>
                    </a:lnTo>
                    <a:lnTo>
                      <a:pt x="1232" y="1519"/>
                    </a:lnTo>
                    <a:lnTo>
                      <a:pt x="1230" y="1521"/>
                    </a:lnTo>
                    <a:lnTo>
                      <a:pt x="1230" y="1522"/>
                    </a:lnTo>
                    <a:lnTo>
                      <a:pt x="1229" y="1521"/>
                    </a:lnTo>
                    <a:lnTo>
                      <a:pt x="1229" y="1522"/>
                    </a:lnTo>
                    <a:lnTo>
                      <a:pt x="1227" y="1522"/>
                    </a:lnTo>
                    <a:lnTo>
                      <a:pt x="1227" y="1524"/>
                    </a:lnTo>
                    <a:lnTo>
                      <a:pt x="1225" y="1524"/>
                    </a:lnTo>
                    <a:lnTo>
                      <a:pt x="1225" y="1522"/>
                    </a:lnTo>
                    <a:lnTo>
                      <a:pt x="1224" y="1521"/>
                    </a:lnTo>
                    <a:lnTo>
                      <a:pt x="1225" y="1521"/>
                    </a:lnTo>
                    <a:lnTo>
                      <a:pt x="1225" y="1519"/>
                    </a:lnTo>
                    <a:lnTo>
                      <a:pt x="1224" y="1519"/>
                    </a:lnTo>
                    <a:lnTo>
                      <a:pt x="1224" y="1521"/>
                    </a:lnTo>
                    <a:lnTo>
                      <a:pt x="1224" y="1522"/>
                    </a:lnTo>
                    <a:lnTo>
                      <a:pt x="1224" y="1524"/>
                    </a:lnTo>
                    <a:lnTo>
                      <a:pt x="1222" y="1522"/>
                    </a:lnTo>
                    <a:lnTo>
                      <a:pt x="1220" y="1522"/>
                    </a:lnTo>
                    <a:lnTo>
                      <a:pt x="1219" y="1522"/>
                    </a:lnTo>
                    <a:lnTo>
                      <a:pt x="1219" y="1521"/>
                    </a:lnTo>
                    <a:lnTo>
                      <a:pt x="1217" y="1521"/>
                    </a:lnTo>
                    <a:lnTo>
                      <a:pt x="1219" y="1521"/>
                    </a:lnTo>
                    <a:lnTo>
                      <a:pt x="1217" y="1521"/>
                    </a:lnTo>
                    <a:lnTo>
                      <a:pt x="1215" y="1519"/>
                    </a:lnTo>
                    <a:lnTo>
                      <a:pt x="1217" y="1517"/>
                    </a:lnTo>
                    <a:lnTo>
                      <a:pt x="1219" y="1517"/>
                    </a:lnTo>
                    <a:lnTo>
                      <a:pt x="1219" y="1519"/>
                    </a:lnTo>
                    <a:lnTo>
                      <a:pt x="1220" y="1517"/>
                    </a:lnTo>
                    <a:lnTo>
                      <a:pt x="1219" y="1517"/>
                    </a:lnTo>
                    <a:lnTo>
                      <a:pt x="1217" y="1515"/>
                    </a:lnTo>
                    <a:lnTo>
                      <a:pt x="1219" y="1515"/>
                    </a:lnTo>
                    <a:lnTo>
                      <a:pt x="1220" y="1515"/>
                    </a:lnTo>
                    <a:lnTo>
                      <a:pt x="1222" y="1515"/>
                    </a:lnTo>
                    <a:lnTo>
                      <a:pt x="1222" y="1517"/>
                    </a:lnTo>
                    <a:lnTo>
                      <a:pt x="1222" y="1515"/>
                    </a:lnTo>
                    <a:lnTo>
                      <a:pt x="1220" y="1515"/>
                    </a:lnTo>
                    <a:lnTo>
                      <a:pt x="1222" y="1514"/>
                    </a:lnTo>
                    <a:lnTo>
                      <a:pt x="1222" y="1512"/>
                    </a:lnTo>
                    <a:lnTo>
                      <a:pt x="1224" y="1512"/>
                    </a:lnTo>
                    <a:lnTo>
                      <a:pt x="1224" y="1514"/>
                    </a:lnTo>
                    <a:lnTo>
                      <a:pt x="1225" y="1514"/>
                    </a:lnTo>
                    <a:lnTo>
                      <a:pt x="1224" y="1512"/>
                    </a:lnTo>
                    <a:lnTo>
                      <a:pt x="1222" y="1512"/>
                    </a:lnTo>
                    <a:lnTo>
                      <a:pt x="1222" y="1514"/>
                    </a:lnTo>
                    <a:lnTo>
                      <a:pt x="1220" y="1514"/>
                    </a:lnTo>
                    <a:lnTo>
                      <a:pt x="1220" y="1512"/>
                    </a:lnTo>
                    <a:lnTo>
                      <a:pt x="1219" y="1514"/>
                    </a:lnTo>
                    <a:lnTo>
                      <a:pt x="1219" y="1512"/>
                    </a:lnTo>
                    <a:lnTo>
                      <a:pt x="1219" y="1514"/>
                    </a:lnTo>
                    <a:lnTo>
                      <a:pt x="1219" y="1512"/>
                    </a:lnTo>
                    <a:lnTo>
                      <a:pt x="1217" y="1512"/>
                    </a:lnTo>
                    <a:lnTo>
                      <a:pt x="1219" y="1514"/>
                    </a:lnTo>
                    <a:lnTo>
                      <a:pt x="1217" y="1514"/>
                    </a:lnTo>
                    <a:lnTo>
                      <a:pt x="1219" y="1515"/>
                    </a:lnTo>
                    <a:lnTo>
                      <a:pt x="1217" y="1515"/>
                    </a:lnTo>
                    <a:lnTo>
                      <a:pt x="1215" y="1515"/>
                    </a:lnTo>
                    <a:lnTo>
                      <a:pt x="1213" y="1515"/>
                    </a:lnTo>
                    <a:lnTo>
                      <a:pt x="1213" y="1514"/>
                    </a:lnTo>
                    <a:lnTo>
                      <a:pt x="1215" y="1514"/>
                    </a:lnTo>
                    <a:lnTo>
                      <a:pt x="1217" y="1514"/>
                    </a:lnTo>
                    <a:lnTo>
                      <a:pt x="1215" y="1512"/>
                    </a:lnTo>
                    <a:lnTo>
                      <a:pt x="1213" y="1512"/>
                    </a:lnTo>
                    <a:lnTo>
                      <a:pt x="1215" y="1514"/>
                    </a:lnTo>
                    <a:lnTo>
                      <a:pt x="1213" y="1514"/>
                    </a:lnTo>
                    <a:lnTo>
                      <a:pt x="1213" y="1512"/>
                    </a:lnTo>
                    <a:lnTo>
                      <a:pt x="1212" y="1512"/>
                    </a:lnTo>
                    <a:lnTo>
                      <a:pt x="1210" y="1512"/>
                    </a:lnTo>
                    <a:lnTo>
                      <a:pt x="1208" y="1512"/>
                    </a:lnTo>
                    <a:lnTo>
                      <a:pt x="1207" y="1512"/>
                    </a:lnTo>
                    <a:lnTo>
                      <a:pt x="1205" y="1514"/>
                    </a:lnTo>
                    <a:lnTo>
                      <a:pt x="1203" y="1514"/>
                    </a:lnTo>
                    <a:lnTo>
                      <a:pt x="1203" y="1512"/>
                    </a:lnTo>
                    <a:lnTo>
                      <a:pt x="1205" y="1512"/>
                    </a:lnTo>
                    <a:lnTo>
                      <a:pt x="1205" y="1510"/>
                    </a:lnTo>
                    <a:lnTo>
                      <a:pt x="1207" y="1510"/>
                    </a:lnTo>
                    <a:lnTo>
                      <a:pt x="1208" y="1509"/>
                    </a:lnTo>
                    <a:lnTo>
                      <a:pt x="1208" y="1510"/>
                    </a:lnTo>
                    <a:lnTo>
                      <a:pt x="1210" y="1510"/>
                    </a:lnTo>
                    <a:lnTo>
                      <a:pt x="1208" y="1509"/>
                    </a:lnTo>
                    <a:lnTo>
                      <a:pt x="1210" y="1509"/>
                    </a:lnTo>
                    <a:lnTo>
                      <a:pt x="1212" y="1510"/>
                    </a:lnTo>
                    <a:lnTo>
                      <a:pt x="1212" y="1509"/>
                    </a:lnTo>
                    <a:lnTo>
                      <a:pt x="1212" y="1510"/>
                    </a:lnTo>
                    <a:lnTo>
                      <a:pt x="1213" y="1510"/>
                    </a:lnTo>
                    <a:lnTo>
                      <a:pt x="1215" y="1510"/>
                    </a:lnTo>
                    <a:lnTo>
                      <a:pt x="1215" y="1512"/>
                    </a:lnTo>
                    <a:lnTo>
                      <a:pt x="1217" y="1510"/>
                    </a:lnTo>
                    <a:lnTo>
                      <a:pt x="1217" y="1512"/>
                    </a:lnTo>
                    <a:lnTo>
                      <a:pt x="1219" y="1512"/>
                    </a:lnTo>
                    <a:lnTo>
                      <a:pt x="1219" y="1510"/>
                    </a:lnTo>
                    <a:lnTo>
                      <a:pt x="1217" y="1510"/>
                    </a:lnTo>
                    <a:lnTo>
                      <a:pt x="1215" y="1510"/>
                    </a:lnTo>
                    <a:lnTo>
                      <a:pt x="1213" y="1510"/>
                    </a:lnTo>
                    <a:lnTo>
                      <a:pt x="1212" y="1509"/>
                    </a:lnTo>
                    <a:lnTo>
                      <a:pt x="1213" y="1509"/>
                    </a:lnTo>
                    <a:lnTo>
                      <a:pt x="1213" y="1510"/>
                    </a:lnTo>
                    <a:lnTo>
                      <a:pt x="1213" y="1509"/>
                    </a:lnTo>
                    <a:lnTo>
                      <a:pt x="1212" y="1509"/>
                    </a:lnTo>
                    <a:lnTo>
                      <a:pt x="1213" y="1509"/>
                    </a:lnTo>
                    <a:lnTo>
                      <a:pt x="1212" y="1507"/>
                    </a:lnTo>
                    <a:lnTo>
                      <a:pt x="1210" y="1507"/>
                    </a:lnTo>
                    <a:lnTo>
                      <a:pt x="1212" y="1507"/>
                    </a:lnTo>
                    <a:lnTo>
                      <a:pt x="1212" y="1505"/>
                    </a:lnTo>
                    <a:lnTo>
                      <a:pt x="1213" y="1505"/>
                    </a:lnTo>
                    <a:lnTo>
                      <a:pt x="1213" y="1507"/>
                    </a:lnTo>
                    <a:lnTo>
                      <a:pt x="1215" y="1507"/>
                    </a:lnTo>
                    <a:lnTo>
                      <a:pt x="1215" y="1509"/>
                    </a:lnTo>
                    <a:lnTo>
                      <a:pt x="1213" y="1509"/>
                    </a:lnTo>
                    <a:lnTo>
                      <a:pt x="1215" y="1509"/>
                    </a:lnTo>
                    <a:lnTo>
                      <a:pt x="1215" y="1507"/>
                    </a:lnTo>
                    <a:lnTo>
                      <a:pt x="1217" y="1505"/>
                    </a:lnTo>
                    <a:lnTo>
                      <a:pt x="1219" y="1507"/>
                    </a:lnTo>
                    <a:lnTo>
                      <a:pt x="1217" y="1507"/>
                    </a:lnTo>
                    <a:lnTo>
                      <a:pt x="1217" y="1509"/>
                    </a:lnTo>
                    <a:lnTo>
                      <a:pt x="1219" y="1509"/>
                    </a:lnTo>
                    <a:lnTo>
                      <a:pt x="1219" y="1507"/>
                    </a:lnTo>
                    <a:lnTo>
                      <a:pt x="1220" y="1509"/>
                    </a:lnTo>
                    <a:lnTo>
                      <a:pt x="1219" y="1507"/>
                    </a:lnTo>
                    <a:lnTo>
                      <a:pt x="1220" y="1507"/>
                    </a:lnTo>
                    <a:lnTo>
                      <a:pt x="1222" y="1507"/>
                    </a:lnTo>
                    <a:lnTo>
                      <a:pt x="1222" y="1505"/>
                    </a:lnTo>
                    <a:lnTo>
                      <a:pt x="1222" y="1504"/>
                    </a:lnTo>
                    <a:lnTo>
                      <a:pt x="1220" y="1505"/>
                    </a:lnTo>
                    <a:lnTo>
                      <a:pt x="1220" y="1504"/>
                    </a:lnTo>
                    <a:lnTo>
                      <a:pt x="1220" y="1502"/>
                    </a:lnTo>
                    <a:lnTo>
                      <a:pt x="1220" y="1504"/>
                    </a:lnTo>
                    <a:lnTo>
                      <a:pt x="1222" y="1504"/>
                    </a:lnTo>
                    <a:lnTo>
                      <a:pt x="1220" y="1502"/>
                    </a:lnTo>
                    <a:lnTo>
                      <a:pt x="1222" y="1502"/>
                    </a:lnTo>
                    <a:lnTo>
                      <a:pt x="1222" y="1500"/>
                    </a:lnTo>
                    <a:lnTo>
                      <a:pt x="1220" y="1500"/>
                    </a:lnTo>
                    <a:lnTo>
                      <a:pt x="1219" y="1500"/>
                    </a:lnTo>
                    <a:lnTo>
                      <a:pt x="1219" y="1498"/>
                    </a:lnTo>
                    <a:lnTo>
                      <a:pt x="1219" y="1497"/>
                    </a:lnTo>
                    <a:lnTo>
                      <a:pt x="1220" y="1497"/>
                    </a:lnTo>
                    <a:lnTo>
                      <a:pt x="1219" y="1497"/>
                    </a:lnTo>
                    <a:lnTo>
                      <a:pt x="1219" y="1495"/>
                    </a:lnTo>
                    <a:lnTo>
                      <a:pt x="1217" y="1495"/>
                    </a:lnTo>
                    <a:lnTo>
                      <a:pt x="1217" y="1493"/>
                    </a:lnTo>
                    <a:lnTo>
                      <a:pt x="1217" y="1495"/>
                    </a:lnTo>
                    <a:lnTo>
                      <a:pt x="1219" y="1495"/>
                    </a:lnTo>
                    <a:lnTo>
                      <a:pt x="1217" y="1495"/>
                    </a:lnTo>
                    <a:lnTo>
                      <a:pt x="1219" y="1497"/>
                    </a:lnTo>
                    <a:lnTo>
                      <a:pt x="1219" y="1498"/>
                    </a:lnTo>
                    <a:lnTo>
                      <a:pt x="1217" y="1498"/>
                    </a:lnTo>
                    <a:lnTo>
                      <a:pt x="1217" y="1500"/>
                    </a:lnTo>
                    <a:lnTo>
                      <a:pt x="1217" y="1498"/>
                    </a:lnTo>
                    <a:lnTo>
                      <a:pt x="1215" y="1500"/>
                    </a:lnTo>
                    <a:lnTo>
                      <a:pt x="1215" y="1498"/>
                    </a:lnTo>
                    <a:lnTo>
                      <a:pt x="1215" y="1500"/>
                    </a:lnTo>
                    <a:lnTo>
                      <a:pt x="1215" y="1498"/>
                    </a:lnTo>
                    <a:lnTo>
                      <a:pt x="1215" y="1500"/>
                    </a:lnTo>
                    <a:lnTo>
                      <a:pt x="1213" y="1498"/>
                    </a:lnTo>
                    <a:lnTo>
                      <a:pt x="1213" y="1500"/>
                    </a:lnTo>
                    <a:lnTo>
                      <a:pt x="1212" y="1498"/>
                    </a:lnTo>
                    <a:lnTo>
                      <a:pt x="1212" y="1500"/>
                    </a:lnTo>
                    <a:lnTo>
                      <a:pt x="1213" y="1500"/>
                    </a:lnTo>
                    <a:lnTo>
                      <a:pt x="1213" y="1502"/>
                    </a:lnTo>
                    <a:lnTo>
                      <a:pt x="1213" y="1500"/>
                    </a:lnTo>
                    <a:lnTo>
                      <a:pt x="1212" y="1500"/>
                    </a:lnTo>
                    <a:lnTo>
                      <a:pt x="1212" y="1502"/>
                    </a:lnTo>
                    <a:lnTo>
                      <a:pt x="1210" y="1502"/>
                    </a:lnTo>
                    <a:lnTo>
                      <a:pt x="1212" y="1502"/>
                    </a:lnTo>
                    <a:lnTo>
                      <a:pt x="1210" y="1504"/>
                    </a:lnTo>
                    <a:lnTo>
                      <a:pt x="1210" y="1502"/>
                    </a:lnTo>
                    <a:lnTo>
                      <a:pt x="1210" y="1504"/>
                    </a:lnTo>
                    <a:lnTo>
                      <a:pt x="1210" y="1502"/>
                    </a:lnTo>
                    <a:lnTo>
                      <a:pt x="1208" y="1502"/>
                    </a:lnTo>
                    <a:lnTo>
                      <a:pt x="1208" y="1504"/>
                    </a:lnTo>
                    <a:lnTo>
                      <a:pt x="1208" y="1505"/>
                    </a:lnTo>
                    <a:lnTo>
                      <a:pt x="1207" y="1505"/>
                    </a:lnTo>
                    <a:lnTo>
                      <a:pt x="1208" y="1505"/>
                    </a:lnTo>
                    <a:lnTo>
                      <a:pt x="1207" y="1505"/>
                    </a:lnTo>
                    <a:lnTo>
                      <a:pt x="1207" y="1504"/>
                    </a:lnTo>
                    <a:lnTo>
                      <a:pt x="1208" y="1504"/>
                    </a:lnTo>
                    <a:lnTo>
                      <a:pt x="1207" y="1504"/>
                    </a:lnTo>
                    <a:lnTo>
                      <a:pt x="1205" y="1504"/>
                    </a:lnTo>
                    <a:lnTo>
                      <a:pt x="1207" y="1502"/>
                    </a:lnTo>
                    <a:lnTo>
                      <a:pt x="1208" y="1502"/>
                    </a:lnTo>
                    <a:lnTo>
                      <a:pt x="1208" y="1500"/>
                    </a:lnTo>
                    <a:lnTo>
                      <a:pt x="1208" y="1498"/>
                    </a:lnTo>
                    <a:lnTo>
                      <a:pt x="1208" y="1500"/>
                    </a:lnTo>
                    <a:lnTo>
                      <a:pt x="1210" y="1498"/>
                    </a:lnTo>
                    <a:lnTo>
                      <a:pt x="1208" y="1500"/>
                    </a:lnTo>
                    <a:lnTo>
                      <a:pt x="1210" y="1500"/>
                    </a:lnTo>
                    <a:lnTo>
                      <a:pt x="1210" y="1498"/>
                    </a:lnTo>
                    <a:lnTo>
                      <a:pt x="1212" y="1498"/>
                    </a:lnTo>
                    <a:lnTo>
                      <a:pt x="1210" y="1498"/>
                    </a:lnTo>
                    <a:lnTo>
                      <a:pt x="1208" y="1498"/>
                    </a:lnTo>
                    <a:lnTo>
                      <a:pt x="1208" y="1497"/>
                    </a:lnTo>
                    <a:lnTo>
                      <a:pt x="1207" y="1497"/>
                    </a:lnTo>
                    <a:lnTo>
                      <a:pt x="1208" y="1497"/>
                    </a:lnTo>
                    <a:lnTo>
                      <a:pt x="1207" y="1497"/>
                    </a:lnTo>
                    <a:lnTo>
                      <a:pt x="1208" y="1495"/>
                    </a:lnTo>
                    <a:lnTo>
                      <a:pt x="1210" y="1495"/>
                    </a:lnTo>
                    <a:lnTo>
                      <a:pt x="1208" y="1495"/>
                    </a:lnTo>
                    <a:lnTo>
                      <a:pt x="1210" y="1493"/>
                    </a:lnTo>
                    <a:lnTo>
                      <a:pt x="1210" y="1495"/>
                    </a:lnTo>
                    <a:lnTo>
                      <a:pt x="1212" y="1495"/>
                    </a:lnTo>
                    <a:lnTo>
                      <a:pt x="1210" y="1493"/>
                    </a:lnTo>
                    <a:lnTo>
                      <a:pt x="1208" y="1492"/>
                    </a:lnTo>
                    <a:lnTo>
                      <a:pt x="1210" y="1493"/>
                    </a:lnTo>
                    <a:lnTo>
                      <a:pt x="1212" y="1493"/>
                    </a:lnTo>
                    <a:lnTo>
                      <a:pt x="1212" y="1495"/>
                    </a:lnTo>
                    <a:lnTo>
                      <a:pt x="1212" y="1493"/>
                    </a:lnTo>
                    <a:lnTo>
                      <a:pt x="1212" y="1492"/>
                    </a:lnTo>
                    <a:lnTo>
                      <a:pt x="1210" y="1492"/>
                    </a:lnTo>
                    <a:lnTo>
                      <a:pt x="1212" y="1490"/>
                    </a:lnTo>
                    <a:lnTo>
                      <a:pt x="1212" y="1488"/>
                    </a:lnTo>
                    <a:lnTo>
                      <a:pt x="1212" y="1490"/>
                    </a:lnTo>
                    <a:lnTo>
                      <a:pt x="1213" y="1490"/>
                    </a:lnTo>
                    <a:lnTo>
                      <a:pt x="1215" y="1490"/>
                    </a:lnTo>
                    <a:lnTo>
                      <a:pt x="1215" y="1488"/>
                    </a:lnTo>
                    <a:lnTo>
                      <a:pt x="1213" y="1488"/>
                    </a:lnTo>
                    <a:lnTo>
                      <a:pt x="1212" y="1488"/>
                    </a:lnTo>
                    <a:lnTo>
                      <a:pt x="1212" y="1487"/>
                    </a:lnTo>
                    <a:lnTo>
                      <a:pt x="1213" y="1487"/>
                    </a:lnTo>
                    <a:lnTo>
                      <a:pt x="1213" y="1485"/>
                    </a:lnTo>
                    <a:lnTo>
                      <a:pt x="1212" y="1487"/>
                    </a:lnTo>
                    <a:lnTo>
                      <a:pt x="1212" y="1488"/>
                    </a:lnTo>
                    <a:lnTo>
                      <a:pt x="1210" y="1488"/>
                    </a:lnTo>
                    <a:lnTo>
                      <a:pt x="1210" y="1487"/>
                    </a:lnTo>
                    <a:lnTo>
                      <a:pt x="1208" y="1487"/>
                    </a:lnTo>
                    <a:lnTo>
                      <a:pt x="1208" y="1485"/>
                    </a:lnTo>
                    <a:lnTo>
                      <a:pt x="1208" y="1483"/>
                    </a:lnTo>
                    <a:lnTo>
                      <a:pt x="1210" y="1483"/>
                    </a:lnTo>
                    <a:lnTo>
                      <a:pt x="1210" y="1485"/>
                    </a:lnTo>
                    <a:lnTo>
                      <a:pt x="1212" y="1483"/>
                    </a:lnTo>
                    <a:lnTo>
                      <a:pt x="1210" y="1481"/>
                    </a:lnTo>
                    <a:lnTo>
                      <a:pt x="1212" y="1481"/>
                    </a:lnTo>
                    <a:lnTo>
                      <a:pt x="1210" y="1481"/>
                    </a:lnTo>
                    <a:lnTo>
                      <a:pt x="1212" y="1481"/>
                    </a:lnTo>
                    <a:lnTo>
                      <a:pt x="1212" y="1480"/>
                    </a:lnTo>
                    <a:lnTo>
                      <a:pt x="1210" y="1480"/>
                    </a:lnTo>
                    <a:lnTo>
                      <a:pt x="1210" y="1478"/>
                    </a:lnTo>
                    <a:lnTo>
                      <a:pt x="1210" y="1476"/>
                    </a:lnTo>
                    <a:lnTo>
                      <a:pt x="1212" y="1475"/>
                    </a:lnTo>
                    <a:lnTo>
                      <a:pt x="1212" y="1473"/>
                    </a:lnTo>
                    <a:lnTo>
                      <a:pt x="1210" y="1473"/>
                    </a:lnTo>
                    <a:lnTo>
                      <a:pt x="1210" y="1471"/>
                    </a:lnTo>
                    <a:lnTo>
                      <a:pt x="1208" y="1471"/>
                    </a:lnTo>
                    <a:lnTo>
                      <a:pt x="1208" y="1470"/>
                    </a:lnTo>
                    <a:lnTo>
                      <a:pt x="1207" y="1468"/>
                    </a:lnTo>
                    <a:lnTo>
                      <a:pt x="1207" y="1466"/>
                    </a:lnTo>
                    <a:lnTo>
                      <a:pt x="1205" y="1466"/>
                    </a:lnTo>
                    <a:lnTo>
                      <a:pt x="1205" y="1464"/>
                    </a:lnTo>
                    <a:lnTo>
                      <a:pt x="1207" y="1463"/>
                    </a:lnTo>
                    <a:lnTo>
                      <a:pt x="1208" y="1464"/>
                    </a:lnTo>
                    <a:lnTo>
                      <a:pt x="1207" y="1466"/>
                    </a:lnTo>
                    <a:lnTo>
                      <a:pt x="1208" y="1466"/>
                    </a:lnTo>
                    <a:lnTo>
                      <a:pt x="1208" y="1468"/>
                    </a:lnTo>
                    <a:lnTo>
                      <a:pt x="1210" y="1468"/>
                    </a:lnTo>
                    <a:lnTo>
                      <a:pt x="1210" y="1470"/>
                    </a:lnTo>
                    <a:lnTo>
                      <a:pt x="1210" y="1471"/>
                    </a:lnTo>
                    <a:lnTo>
                      <a:pt x="1210" y="1470"/>
                    </a:lnTo>
                    <a:lnTo>
                      <a:pt x="1212" y="1470"/>
                    </a:lnTo>
                    <a:lnTo>
                      <a:pt x="1212" y="1471"/>
                    </a:lnTo>
                    <a:lnTo>
                      <a:pt x="1212" y="1473"/>
                    </a:lnTo>
                    <a:lnTo>
                      <a:pt x="1213" y="1473"/>
                    </a:lnTo>
                    <a:lnTo>
                      <a:pt x="1213" y="1471"/>
                    </a:lnTo>
                    <a:lnTo>
                      <a:pt x="1213" y="1470"/>
                    </a:lnTo>
                    <a:lnTo>
                      <a:pt x="1212" y="1470"/>
                    </a:lnTo>
                    <a:lnTo>
                      <a:pt x="1213" y="1470"/>
                    </a:lnTo>
                    <a:lnTo>
                      <a:pt x="1215" y="1470"/>
                    </a:lnTo>
                    <a:lnTo>
                      <a:pt x="1217" y="1471"/>
                    </a:lnTo>
                    <a:lnTo>
                      <a:pt x="1217" y="1473"/>
                    </a:lnTo>
                    <a:lnTo>
                      <a:pt x="1219" y="1475"/>
                    </a:lnTo>
                    <a:lnTo>
                      <a:pt x="1219" y="1473"/>
                    </a:lnTo>
                    <a:lnTo>
                      <a:pt x="1220" y="1473"/>
                    </a:lnTo>
                    <a:lnTo>
                      <a:pt x="1222" y="1473"/>
                    </a:lnTo>
                    <a:lnTo>
                      <a:pt x="1222" y="1471"/>
                    </a:lnTo>
                    <a:lnTo>
                      <a:pt x="1222" y="1470"/>
                    </a:lnTo>
                    <a:lnTo>
                      <a:pt x="1222" y="1468"/>
                    </a:lnTo>
                    <a:lnTo>
                      <a:pt x="1224" y="1468"/>
                    </a:lnTo>
                    <a:lnTo>
                      <a:pt x="1225" y="1470"/>
                    </a:lnTo>
                    <a:lnTo>
                      <a:pt x="1225" y="1468"/>
                    </a:lnTo>
                    <a:lnTo>
                      <a:pt x="1227" y="1466"/>
                    </a:lnTo>
                    <a:lnTo>
                      <a:pt x="1229" y="1466"/>
                    </a:lnTo>
                    <a:lnTo>
                      <a:pt x="1230" y="1464"/>
                    </a:lnTo>
                    <a:lnTo>
                      <a:pt x="1230" y="1466"/>
                    </a:lnTo>
                    <a:lnTo>
                      <a:pt x="1229" y="1466"/>
                    </a:lnTo>
                    <a:lnTo>
                      <a:pt x="1229" y="1468"/>
                    </a:lnTo>
                    <a:lnTo>
                      <a:pt x="1230" y="1470"/>
                    </a:lnTo>
                    <a:lnTo>
                      <a:pt x="1229" y="1470"/>
                    </a:lnTo>
                    <a:lnTo>
                      <a:pt x="1227" y="1470"/>
                    </a:lnTo>
                    <a:lnTo>
                      <a:pt x="1229" y="1471"/>
                    </a:lnTo>
                    <a:lnTo>
                      <a:pt x="1227" y="1471"/>
                    </a:lnTo>
                    <a:lnTo>
                      <a:pt x="1227" y="1473"/>
                    </a:lnTo>
                    <a:lnTo>
                      <a:pt x="1227" y="1475"/>
                    </a:lnTo>
                    <a:lnTo>
                      <a:pt x="1225" y="1475"/>
                    </a:lnTo>
                    <a:lnTo>
                      <a:pt x="1227" y="1475"/>
                    </a:lnTo>
                    <a:lnTo>
                      <a:pt x="1227" y="1473"/>
                    </a:lnTo>
                    <a:lnTo>
                      <a:pt x="1229" y="1471"/>
                    </a:lnTo>
                    <a:lnTo>
                      <a:pt x="1230" y="1471"/>
                    </a:lnTo>
                    <a:lnTo>
                      <a:pt x="1230" y="1473"/>
                    </a:lnTo>
                    <a:lnTo>
                      <a:pt x="1232" y="1473"/>
                    </a:lnTo>
                    <a:lnTo>
                      <a:pt x="1232" y="1475"/>
                    </a:lnTo>
                    <a:lnTo>
                      <a:pt x="1232" y="1476"/>
                    </a:lnTo>
                    <a:lnTo>
                      <a:pt x="1230" y="1476"/>
                    </a:lnTo>
                    <a:lnTo>
                      <a:pt x="1230" y="1478"/>
                    </a:lnTo>
                    <a:lnTo>
                      <a:pt x="1232" y="1478"/>
                    </a:lnTo>
                    <a:lnTo>
                      <a:pt x="1234" y="1478"/>
                    </a:lnTo>
                    <a:lnTo>
                      <a:pt x="1232" y="1476"/>
                    </a:lnTo>
                    <a:lnTo>
                      <a:pt x="1234" y="1476"/>
                    </a:lnTo>
                    <a:lnTo>
                      <a:pt x="1234" y="1478"/>
                    </a:lnTo>
                    <a:lnTo>
                      <a:pt x="1234" y="1476"/>
                    </a:lnTo>
                    <a:lnTo>
                      <a:pt x="1234" y="1475"/>
                    </a:lnTo>
                    <a:lnTo>
                      <a:pt x="1234" y="1473"/>
                    </a:lnTo>
                    <a:lnTo>
                      <a:pt x="1236" y="1473"/>
                    </a:lnTo>
                    <a:lnTo>
                      <a:pt x="1236" y="1471"/>
                    </a:lnTo>
                    <a:lnTo>
                      <a:pt x="1236" y="1470"/>
                    </a:lnTo>
                    <a:lnTo>
                      <a:pt x="1236" y="1468"/>
                    </a:lnTo>
                    <a:lnTo>
                      <a:pt x="1237" y="1468"/>
                    </a:lnTo>
                    <a:lnTo>
                      <a:pt x="1236" y="1466"/>
                    </a:lnTo>
                    <a:lnTo>
                      <a:pt x="1237" y="1468"/>
                    </a:lnTo>
                    <a:lnTo>
                      <a:pt x="1237" y="1466"/>
                    </a:lnTo>
                    <a:lnTo>
                      <a:pt x="1239" y="1466"/>
                    </a:lnTo>
                    <a:lnTo>
                      <a:pt x="1237" y="1464"/>
                    </a:lnTo>
                    <a:lnTo>
                      <a:pt x="1237" y="1466"/>
                    </a:lnTo>
                    <a:lnTo>
                      <a:pt x="1236" y="1466"/>
                    </a:lnTo>
                    <a:lnTo>
                      <a:pt x="1236" y="1468"/>
                    </a:lnTo>
                    <a:lnTo>
                      <a:pt x="1234" y="1470"/>
                    </a:lnTo>
                    <a:lnTo>
                      <a:pt x="1234" y="1471"/>
                    </a:lnTo>
                    <a:lnTo>
                      <a:pt x="1234" y="1473"/>
                    </a:lnTo>
                    <a:lnTo>
                      <a:pt x="1232" y="1475"/>
                    </a:lnTo>
                    <a:lnTo>
                      <a:pt x="1232" y="1473"/>
                    </a:lnTo>
                    <a:lnTo>
                      <a:pt x="1232" y="1471"/>
                    </a:lnTo>
                    <a:lnTo>
                      <a:pt x="1230" y="1471"/>
                    </a:lnTo>
                    <a:lnTo>
                      <a:pt x="1230" y="1470"/>
                    </a:lnTo>
                    <a:lnTo>
                      <a:pt x="1230" y="1468"/>
                    </a:lnTo>
                    <a:lnTo>
                      <a:pt x="1230" y="1466"/>
                    </a:lnTo>
                    <a:lnTo>
                      <a:pt x="1232" y="1466"/>
                    </a:lnTo>
                    <a:lnTo>
                      <a:pt x="1230" y="1466"/>
                    </a:lnTo>
                    <a:lnTo>
                      <a:pt x="1232" y="1464"/>
                    </a:lnTo>
                    <a:lnTo>
                      <a:pt x="1232" y="1466"/>
                    </a:lnTo>
                    <a:lnTo>
                      <a:pt x="1234" y="1466"/>
                    </a:lnTo>
                    <a:lnTo>
                      <a:pt x="1234" y="1464"/>
                    </a:lnTo>
                    <a:lnTo>
                      <a:pt x="1234" y="1463"/>
                    </a:lnTo>
                    <a:lnTo>
                      <a:pt x="1234" y="1461"/>
                    </a:lnTo>
                    <a:lnTo>
                      <a:pt x="1234" y="1459"/>
                    </a:lnTo>
                    <a:lnTo>
                      <a:pt x="1236" y="1459"/>
                    </a:lnTo>
                    <a:lnTo>
                      <a:pt x="1237" y="1459"/>
                    </a:lnTo>
                    <a:lnTo>
                      <a:pt x="1239" y="1459"/>
                    </a:lnTo>
                    <a:lnTo>
                      <a:pt x="1239" y="1461"/>
                    </a:lnTo>
                    <a:lnTo>
                      <a:pt x="1239" y="1463"/>
                    </a:lnTo>
                    <a:lnTo>
                      <a:pt x="1239" y="1464"/>
                    </a:lnTo>
                    <a:lnTo>
                      <a:pt x="1239" y="1466"/>
                    </a:lnTo>
                    <a:lnTo>
                      <a:pt x="1241" y="1468"/>
                    </a:lnTo>
                    <a:lnTo>
                      <a:pt x="1241" y="1470"/>
                    </a:lnTo>
                    <a:lnTo>
                      <a:pt x="1242" y="1470"/>
                    </a:lnTo>
                    <a:lnTo>
                      <a:pt x="1242" y="1468"/>
                    </a:lnTo>
                    <a:lnTo>
                      <a:pt x="1244" y="1470"/>
                    </a:lnTo>
                    <a:lnTo>
                      <a:pt x="1244" y="1471"/>
                    </a:lnTo>
                    <a:lnTo>
                      <a:pt x="1244" y="1473"/>
                    </a:lnTo>
                    <a:lnTo>
                      <a:pt x="1246" y="1473"/>
                    </a:lnTo>
                    <a:lnTo>
                      <a:pt x="1246" y="1475"/>
                    </a:lnTo>
                    <a:lnTo>
                      <a:pt x="1244" y="1475"/>
                    </a:lnTo>
                    <a:lnTo>
                      <a:pt x="1244" y="1476"/>
                    </a:lnTo>
                    <a:lnTo>
                      <a:pt x="1244" y="1478"/>
                    </a:lnTo>
                    <a:lnTo>
                      <a:pt x="1244" y="1480"/>
                    </a:lnTo>
                    <a:lnTo>
                      <a:pt x="1244" y="1481"/>
                    </a:lnTo>
                    <a:lnTo>
                      <a:pt x="1242" y="1481"/>
                    </a:lnTo>
                    <a:lnTo>
                      <a:pt x="1244" y="1481"/>
                    </a:lnTo>
                    <a:lnTo>
                      <a:pt x="1242" y="1481"/>
                    </a:lnTo>
                    <a:lnTo>
                      <a:pt x="1242" y="1483"/>
                    </a:lnTo>
                    <a:lnTo>
                      <a:pt x="1242" y="1481"/>
                    </a:lnTo>
                    <a:lnTo>
                      <a:pt x="1242" y="1483"/>
                    </a:lnTo>
                    <a:lnTo>
                      <a:pt x="1241" y="1481"/>
                    </a:lnTo>
                    <a:lnTo>
                      <a:pt x="1239" y="1481"/>
                    </a:lnTo>
                    <a:lnTo>
                      <a:pt x="1239" y="1483"/>
                    </a:lnTo>
                    <a:lnTo>
                      <a:pt x="1239" y="1485"/>
                    </a:lnTo>
                    <a:lnTo>
                      <a:pt x="1237" y="1483"/>
                    </a:lnTo>
                    <a:lnTo>
                      <a:pt x="1237" y="1485"/>
                    </a:lnTo>
                    <a:lnTo>
                      <a:pt x="1236" y="1485"/>
                    </a:lnTo>
                    <a:lnTo>
                      <a:pt x="1236" y="1487"/>
                    </a:lnTo>
                    <a:lnTo>
                      <a:pt x="1234" y="1487"/>
                    </a:lnTo>
                    <a:lnTo>
                      <a:pt x="1234" y="1488"/>
                    </a:lnTo>
                    <a:lnTo>
                      <a:pt x="1232" y="1488"/>
                    </a:lnTo>
                    <a:lnTo>
                      <a:pt x="1230" y="1488"/>
                    </a:lnTo>
                    <a:lnTo>
                      <a:pt x="1230" y="1490"/>
                    </a:lnTo>
                    <a:lnTo>
                      <a:pt x="1232" y="1490"/>
                    </a:lnTo>
                    <a:lnTo>
                      <a:pt x="1234" y="1488"/>
                    </a:lnTo>
                    <a:lnTo>
                      <a:pt x="1236" y="1488"/>
                    </a:lnTo>
                    <a:lnTo>
                      <a:pt x="1236" y="1487"/>
                    </a:lnTo>
                    <a:lnTo>
                      <a:pt x="1237" y="1487"/>
                    </a:lnTo>
                    <a:lnTo>
                      <a:pt x="1239" y="1487"/>
                    </a:lnTo>
                    <a:lnTo>
                      <a:pt x="1241" y="1487"/>
                    </a:lnTo>
                    <a:lnTo>
                      <a:pt x="1242" y="1487"/>
                    </a:lnTo>
                    <a:lnTo>
                      <a:pt x="1241" y="1487"/>
                    </a:lnTo>
                    <a:lnTo>
                      <a:pt x="1242" y="1487"/>
                    </a:lnTo>
                    <a:lnTo>
                      <a:pt x="1241" y="1485"/>
                    </a:lnTo>
                    <a:lnTo>
                      <a:pt x="1242" y="1485"/>
                    </a:lnTo>
                    <a:lnTo>
                      <a:pt x="1242" y="1483"/>
                    </a:lnTo>
                    <a:lnTo>
                      <a:pt x="1242" y="1485"/>
                    </a:lnTo>
                    <a:lnTo>
                      <a:pt x="1244" y="1483"/>
                    </a:lnTo>
                    <a:lnTo>
                      <a:pt x="1244" y="1485"/>
                    </a:lnTo>
                    <a:lnTo>
                      <a:pt x="1244" y="1483"/>
                    </a:lnTo>
                    <a:lnTo>
                      <a:pt x="1246" y="1483"/>
                    </a:lnTo>
                    <a:lnTo>
                      <a:pt x="1246" y="1481"/>
                    </a:lnTo>
                    <a:lnTo>
                      <a:pt x="1246" y="1480"/>
                    </a:lnTo>
                    <a:lnTo>
                      <a:pt x="1247" y="1478"/>
                    </a:lnTo>
                    <a:lnTo>
                      <a:pt x="1246" y="1478"/>
                    </a:lnTo>
                    <a:lnTo>
                      <a:pt x="1246" y="1476"/>
                    </a:lnTo>
                    <a:lnTo>
                      <a:pt x="1247" y="1476"/>
                    </a:lnTo>
                    <a:lnTo>
                      <a:pt x="1247" y="1475"/>
                    </a:lnTo>
                    <a:lnTo>
                      <a:pt x="1247" y="1473"/>
                    </a:lnTo>
                    <a:lnTo>
                      <a:pt x="1246" y="1473"/>
                    </a:lnTo>
                    <a:lnTo>
                      <a:pt x="1246" y="1471"/>
                    </a:lnTo>
                    <a:lnTo>
                      <a:pt x="1244" y="1470"/>
                    </a:lnTo>
                    <a:lnTo>
                      <a:pt x="1244" y="1468"/>
                    </a:lnTo>
                    <a:lnTo>
                      <a:pt x="1242" y="1466"/>
                    </a:lnTo>
                    <a:lnTo>
                      <a:pt x="1242" y="1464"/>
                    </a:lnTo>
                    <a:lnTo>
                      <a:pt x="1241" y="1464"/>
                    </a:lnTo>
                    <a:lnTo>
                      <a:pt x="1241" y="1463"/>
                    </a:lnTo>
                    <a:lnTo>
                      <a:pt x="1241" y="1461"/>
                    </a:lnTo>
                    <a:lnTo>
                      <a:pt x="1241" y="1459"/>
                    </a:lnTo>
                    <a:lnTo>
                      <a:pt x="1242" y="1458"/>
                    </a:lnTo>
                    <a:lnTo>
                      <a:pt x="1244" y="1458"/>
                    </a:lnTo>
                    <a:lnTo>
                      <a:pt x="1242" y="1458"/>
                    </a:lnTo>
                    <a:lnTo>
                      <a:pt x="1244" y="1459"/>
                    </a:lnTo>
                    <a:lnTo>
                      <a:pt x="1244" y="1461"/>
                    </a:lnTo>
                    <a:lnTo>
                      <a:pt x="1244" y="1459"/>
                    </a:lnTo>
                    <a:lnTo>
                      <a:pt x="1244" y="1458"/>
                    </a:lnTo>
                    <a:lnTo>
                      <a:pt x="1246" y="1459"/>
                    </a:lnTo>
                    <a:lnTo>
                      <a:pt x="1247" y="1458"/>
                    </a:lnTo>
                    <a:lnTo>
                      <a:pt x="1249" y="1458"/>
                    </a:lnTo>
                    <a:lnTo>
                      <a:pt x="1247" y="1456"/>
                    </a:lnTo>
                    <a:lnTo>
                      <a:pt x="1247" y="1454"/>
                    </a:lnTo>
                    <a:lnTo>
                      <a:pt x="1246" y="1453"/>
                    </a:lnTo>
                    <a:lnTo>
                      <a:pt x="1247" y="1453"/>
                    </a:lnTo>
                    <a:lnTo>
                      <a:pt x="1247" y="1451"/>
                    </a:lnTo>
                    <a:lnTo>
                      <a:pt x="1249" y="1449"/>
                    </a:lnTo>
                    <a:lnTo>
                      <a:pt x="1247" y="1449"/>
                    </a:lnTo>
                    <a:lnTo>
                      <a:pt x="1247" y="1447"/>
                    </a:lnTo>
                    <a:lnTo>
                      <a:pt x="1246" y="1447"/>
                    </a:lnTo>
                    <a:lnTo>
                      <a:pt x="1247" y="1446"/>
                    </a:lnTo>
                    <a:lnTo>
                      <a:pt x="1246" y="1446"/>
                    </a:lnTo>
                    <a:lnTo>
                      <a:pt x="1244" y="1444"/>
                    </a:lnTo>
                    <a:lnTo>
                      <a:pt x="1242" y="1444"/>
                    </a:lnTo>
                    <a:lnTo>
                      <a:pt x="1242" y="1442"/>
                    </a:lnTo>
                    <a:lnTo>
                      <a:pt x="1242" y="1441"/>
                    </a:lnTo>
                    <a:lnTo>
                      <a:pt x="1241" y="1441"/>
                    </a:lnTo>
                    <a:lnTo>
                      <a:pt x="1241" y="1439"/>
                    </a:lnTo>
                    <a:lnTo>
                      <a:pt x="1241" y="1441"/>
                    </a:lnTo>
                    <a:lnTo>
                      <a:pt x="1242" y="1441"/>
                    </a:lnTo>
                    <a:lnTo>
                      <a:pt x="1241" y="1442"/>
                    </a:lnTo>
                    <a:lnTo>
                      <a:pt x="1241" y="1441"/>
                    </a:lnTo>
                    <a:lnTo>
                      <a:pt x="1241" y="1439"/>
                    </a:lnTo>
                    <a:lnTo>
                      <a:pt x="1239" y="1439"/>
                    </a:lnTo>
                    <a:lnTo>
                      <a:pt x="1241" y="1439"/>
                    </a:lnTo>
                    <a:lnTo>
                      <a:pt x="1239" y="1439"/>
                    </a:lnTo>
                    <a:lnTo>
                      <a:pt x="1239" y="1437"/>
                    </a:lnTo>
                    <a:lnTo>
                      <a:pt x="1237" y="1439"/>
                    </a:lnTo>
                    <a:lnTo>
                      <a:pt x="1237" y="1437"/>
                    </a:lnTo>
                    <a:lnTo>
                      <a:pt x="1236" y="1437"/>
                    </a:lnTo>
                    <a:lnTo>
                      <a:pt x="1234" y="1437"/>
                    </a:lnTo>
                    <a:lnTo>
                      <a:pt x="1232" y="1435"/>
                    </a:lnTo>
                    <a:lnTo>
                      <a:pt x="1232" y="1434"/>
                    </a:lnTo>
                    <a:lnTo>
                      <a:pt x="1230" y="1434"/>
                    </a:lnTo>
                    <a:lnTo>
                      <a:pt x="1229" y="1434"/>
                    </a:lnTo>
                    <a:lnTo>
                      <a:pt x="1227" y="1434"/>
                    </a:lnTo>
                    <a:lnTo>
                      <a:pt x="1227" y="1432"/>
                    </a:lnTo>
                    <a:lnTo>
                      <a:pt x="1227" y="1430"/>
                    </a:lnTo>
                    <a:lnTo>
                      <a:pt x="1225" y="1432"/>
                    </a:lnTo>
                    <a:lnTo>
                      <a:pt x="1224" y="1432"/>
                    </a:lnTo>
                    <a:lnTo>
                      <a:pt x="1224" y="1434"/>
                    </a:lnTo>
                    <a:lnTo>
                      <a:pt x="1222" y="1432"/>
                    </a:lnTo>
                    <a:lnTo>
                      <a:pt x="1222" y="1434"/>
                    </a:lnTo>
                    <a:lnTo>
                      <a:pt x="1222" y="1432"/>
                    </a:lnTo>
                    <a:lnTo>
                      <a:pt x="1220" y="1434"/>
                    </a:lnTo>
                    <a:lnTo>
                      <a:pt x="1222" y="1434"/>
                    </a:lnTo>
                    <a:lnTo>
                      <a:pt x="1222" y="1435"/>
                    </a:lnTo>
                    <a:lnTo>
                      <a:pt x="1224" y="1435"/>
                    </a:lnTo>
                    <a:lnTo>
                      <a:pt x="1224" y="1434"/>
                    </a:lnTo>
                    <a:lnTo>
                      <a:pt x="1225" y="1434"/>
                    </a:lnTo>
                    <a:lnTo>
                      <a:pt x="1227" y="1434"/>
                    </a:lnTo>
                    <a:lnTo>
                      <a:pt x="1229" y="1434"/>
                    </a:lnTo>
                    <a:lnTo>
                      <a:pt x="1229" y="1435"/>
                    </a:lnTo>
                    <a:lnTo>
                      <a:pt x="1229" y="1437"/>
                    </a:lnTo>
                    <a:lnTo>
                      <a:pt x="1227" y="1439"/>
                    </a:lnTo>
                    <a:lnTo>
                      <a:pt x="1225" y="1439"/>
                    </a:lnTo>
                    <a:lnTo>
                      <a:pt x="1225" y="1441"/>
                    </a:lnTo>
                    <a:lnTo>
                      <a:pt x="1227" y="1439"/>
                    </a:lnTo>
                    <a:lnTo>
                      <a:pt x="1229" y="1439"/>
                    </a:lnTo>
                    <a:lnTo>
                      <a:pt x="1229" y="1437"/>
                    </a:lnTo>
                    <a:lnTo>
                      <a:pt x="1229" y="1435"/>
                    </a:lnTo>
                    <a:lnTo>
                      <a:pt x="1230" y="1435"/>
                    </a:lnTo>
                    <a:lnTo>
                      <a:pt x="1232" y="1437"/>
                    </a:lnTo>
                    <a:lnTo>
                      <a:pt x="1232" y="1439"/>
                    </a:lnTo>
                    <a:lnTo>
                      <a:pt x="1234" y="1437"/>
                    </a:lnTo>
                    <a:lnTo>
                      <a:pt x="1234" y="1439"/>
                    </a:lnTo>
                    <a:lnTo>
                      <a:pt x="1236" y="1441"/>
                    </a:lnTo>
                    <a:lnTo>
                      <a:pt x="1236" y="1439"/>
                    </a:lnTo>
                    <a:lnTo>
                      <a:pt x="1237" y="1439"/>
                    </a:lnTo>
                    <a:lnTo>
                      <a:pt x="1237" y="1441"/>
                    </a:lnTo>
                    <a:lnTo>
                      <a:pt x="1239" y="1441"/>
                    </a:lnTo>
                    <a:lnTo>
                      <a:pt x="1239" y="1442"/>
                    </a:lnTo>
                    <a:lnTo>
                      <a:pt x="1241" y="1444"/>
                    </a:lnTo>
                    <a:lnTo>
                      <a:pt x="1241" y="1446"/>
                    </a:lnTo>
                    <a:lnTo>
                      <a:pt x="1242" y="1444"/>
                    </a:lnTo>
                    <a:lnTo>
                      <a:pt x="1242" y="1446"/>
                    </a:lnTo>
                    <a:lnTo>
                      <a:pt x="1244" y="1446"/>
                    </a:lnTo>
                    <a:lnTo>
                      <a:pt x="1246" y="1446"/>
                    </a:lnTo>
                    <a:lnTo>
                      <a:pt x="1246" y="1447"/>
                    </a:lnTo>
                    <a:lnTo>
                      <a:pt x="1246" y="1449"/>
                    </a:lnTo>
                    <a:lnTo>
                      <a:pt x="1244" y="1451"/>
                    </a:lnTo>
                    <a:lnTo>
                      <a:pt x="1244" y="1453"/>
                    </a:lnTo>
                    <a:lnTo>
                      <a:pt x="1242" y="1453"/>
                    </a:lnTo>
                    <a:lnTo>
                      <a:pt x="1241" y="1453"/>
                    </a:lnTo>
                    <a:lnTo>
                      <a:pt x="1239" y="1451"/>
                    </a:lnTo>
                    <a:lnTo>
                      <a:pt x="1239" y="1453"/>
                    </a:lnTo>
                    <a:lnTo>
                      <a:pt x="1239" y="1451"/>
                    </a:lnTo>
                    <a:lnTo>
                      <a:pt x="1237" y="1451"/>
                    </a:lnTo>
                    <a:lnTo>
                      <a:pt x="1237" y="1449"/>
                    </a:lnTo>
                    <a:lnTo>
                      <a:pt x="1236" y="1449"/>
                    </a:lnTo>
                    <a:lnTo>
                      <a:pt x="1234" y="1447"/>
                    </a:lnTo>
                    <a:lnTo>
                      <a:pt x="1234" y="1449"/>
                    </a:lnTo>
                    <a:lnTo>
                      <a:pt x="1232" y="1447"/>
                    </a:lnTo>
                    <a:lnTo>
                      <a:pt x="1232" y="1449"/>
                    </a:lnTo>
                    <a:lnTo>
                      <a:pt x="1230" y="1449"/>
                    </a:lnTo>
                    <a:lnTo>
                      <a:pt x="1230" y="1447"/>
                    </a:lnTo>
                    <a:lnTo>
                      <a:pt x="1230" y="1446"/>
                    </a:lnTo>
                    <a:lnTo>
                      <a:pt x="1229" y="1446"/>
                    </a:lnTo>
                    <a:lnTo>
                      <a:pt x="1227" y="1446"/>
                    </a:lnTo>
                    <a:lnTo>
                      <a:pt x="1227" y="1444"/>
                    </a:lnTo>
                    <a:lnTo>
                      <a:pt x="1227" y="1446"/>
                    </a:lnTo>
                    <a:lnTo>
                      <a:pt x="1225" y="1446"/>
                    </a:lnTo>
                    <a:lnTo>
                      <a:pt x="1225" y="1444"/>
                    </a:lnTo>
                    <a:lnTo>
                      <a:pt x="1224" y="1444"/>
                    </a:lnTo>
                    <a:lnTo>
                      <a:pt x="1224" y="1442"/>
                    </a:lnTo>
                    <a:lnTo>
                      <a:pt x="1224" y="1441"/>
                    </a:lnTo>
                    <a:lnTo>
                      <a:pt x="1222" y="1441"/>
                    </a:lnTo>
                    <a:lnTo>
                      <a:pt x="1220" y="1439"/>
                    </a:lnTo>
                    <a:lnTo>
                      <a:pt x="1220" y="1441"/>
                    </a:lnTo>
                    <a:lnTo>
                      <a:pt x="1222" y="1441"/>
                    </a:lnTo>
                    <a:lnTo>
                      <a:pt x="1222" y="1442"/>
                    </a:lnTo>
                    <a:lnTo>
                      <a:pt x="1222" y="1444"/>
                    </a:lnTo>
                    <a:lnTo>
                      <a:pt x="1220" y="1444"/>
                    </a:lnTo>
                    <a:lnTo>
                      <a:pt x="1220" y="1446"/>
                    </a:lnTo>
                    <a:lnTo>
                      <a:pt x="1222" y="1444"/>
                    </a:lnTo>
                    <a:lnTo>
                      <a:pt x="1224" y="1446"/>
                    </a:lnTo>
                    <a:lnTo>
                      <a:pt x="1225" y="1446"/>
                    </a:lnTo>
                    <a:lnTo>
                      <a:pt x="1227" y="1446"/>
                    </a:lnTo>
                    <a:lnTo>
                      <a:pt x="1229" y="1447"/>
                    </a:lnTo>
                    <a:lnTo>
                      <a:pt x="1229" y="1449"/>
                    </a:lnTo>
                    <a:lnTo>
                      <a:pt x="1230" y="1451"/>
                    </a:lnTo>
                    <a:lnTo>
                      <a:pt x="1229" y="1451"/>
                    </a:lnTo>
                    <a:lnTo>
                      <a:pt x="1229" y="1449"/>
                    </a:lnTo>
                    <a:lnTo>
                      <a:pt x="1227" y="1447"/>
                    </a:lnTo>
                    <a:lnTo>
                      <a:pt x="1225" y="1449"/>
                    </a:lnTo>
                    <a:lnTo>
                      <a:pt x="1224" y="1449"/>
                    </a:lnTo>
                    <a:lnTo>
                      <a:pt x="1225" y="1451"/>
                    </a:lnTo>
                    <a:lnTo>
                      <a:pt x="1225" y="1449"/>
                    </a:lnTo>
                    <a:lnTo>
                      <a:pt x="1227" y="1449"/>
                    </a:lnTo>
                    <a:lnTo>
                      <a:pt x="1229" y="1449"/>
                    </a:lnTo>
                    <a:lnTo>
                      <a:pt x="1229" y="1451"/>
                    </a:lnTo>
                    <a:lnTo>
                      <a:pt x="1229" y="1453"/>
                    </a:lnTo>
                    <a:lnTo>
                      <a:pt x="1227" y="1453"/>
                    </a:lnTo>
                    <a:lnTo>
                      <a:pt x="1227" y="1454"/>
                    </a:lnTo>
                    <a:lnTo>
                      <a:pt x="1225" y="1454"/>
                    </a:lnTo>
                    <a:lnTo>
                      <a:pt x="1225" y="1456"/>
                    </a:lnTo>
                    <a:lnTo>
                      <a:pt x="1224" y="1454"/>
                    </a:lnTo>
                    <a:lnTo>
                      <a:pt x="1224" y="1456"/>
                    </a:lnTo>
                    <a:lnTo>
                      <a:pt x="1224" y="1454"/>
                    </a:lnTo>
                    <a:lnTo>
                      <a:pt x="1222" y="1456"/>
                    </a:lnTo>
                    <a:lnTo>
                      <a:pt x="1224" y="1456"/>
                    </a:lnTo>
                    <a:lnTo>
                      <a:pt x="1225" y="1456"/>
                    </a:lnTo>
                    <a:lnTo>
                      <a:pt x="1227" y="1456"/>
                    </a:lnTo>
                    <a:lnTo>
                      <a:pt x="1227" y="1454"/>
                    </a:lnTo>
                    <a:lnTo>
                      <a:pt x="1229" y="1454"/>
                    </a:lnTo>
                    <a:lnTo>
                      <a:pt x="1229" y="1453"/>
                    </a:lnTo>
                    <a:lnTo>
                      <a:pt x="1230" y="1453"/>
                    </a:lnTo>
                    <a:lnTo>
                      <a:pt x="1230" y="1451"/>
                    </a:lnTo>
                    <a:lnTo>
                      <a:pt x="1232" y="1453"/>
                    </a:lnTo>
                    <a:lnTo>
                      <a:pt x="1232" y="1454"/>
                    </a:lnTo>
                    <a:lnTo>
                      <a:pt x="1232" y="1453"/>
                    </a:lnTo>
                    <a:lnTo>
                      <a:pt x="1232" y="1454"/>
                    </a:lnTo>
                    <a:lnTo>
                      <a:pt x="1232" y="1456"/>
                    </a:lnTo>
                    <a:lnTo>
                      <a:pt x="1230" y="1456"/>
                    </a:lnTo>
                    <a:lnTo>
                      <a:pt x="1229" y="1458"/>
                    </a:lnTo>
                    <a:lnTo>
                      <a:pt x="1227" y="1458"/>
                    </a:lnTo>
                    <a:lnTo>
                      <a:pt x="1225" y="1459"/>
                    </a:lnTo>
                    <a:lnTo>
                      <a:pt x="1225" y="1461"/>
                    </a:lnTo>
                    <a:lnTo>
                      <a:pt x="1225" y="1463"/>
                    </a:lnTo>
                    <a:lnTo>
                      <a:pt x="1225" y="1464"/>
                    </a:lnTo>
                    <a:lnTo>
                      <a:pt x="1225" y="1466"/>
                    </a:lnTo>
                    <a:lnTo>
                      <a:pt x="1225" y="1468"/>
                    </a:lnTo>
                    <a:lnTo>
                      <a:pt x="1224" y="1468"/>
                    </a:lnTo>
                    <a:lnTo>
                      <a:pt x="1222" y="1468"/>
                    </a:lnTo>
                    <a:lnTo>
                      <a:pt x="1222" y="1466"/>
                    </a:lnTo>
                    <a:lnTo>
                      <a:pt x="1222" y="1464"/>
                    </a:lnTo>
                    <a:lnTo>
                      <a:pt x="1222" y="1463"/>
                    </a:lnTo>
                    <a:lnTo>
                      <a:pt x="1222" y="1461"/>
                    </a:lnTo>
                    <a:lnTo>
                      <a:pt x="1220" y="1459"/>
                    </a:lnTo>
                    <a:lnTo>
                      <a:pt x="1222" y="1458"/>
                    </a:lnTo>
                    <a:lnTo>
                      <a:pt x="1220" y="1456"/>
                    </a:lnTo>
                    <a:lnTo>
                      <a:pt x="1220" y="1458"/>
                    </a:lnTo>
                    <a:lnTo>
                      <a:pt x="1220" y="1456"/>
                    </a:lnTo>
                    <a:lnTo>
                      <a:pt x="1222" y="1456"/>
                    </a:lnTo>
                    <a:lnTo>
                      <a:pt x="1220" y="1454"/>
                    </a:lnTo>
                    <a:lnTo>
                      <a:pt x="1220" y="1453"/>
                    </a:lnTo>
                    <a:lnTo>
                      <a:pt x="1220" y="1451"/>
                    </a:lnTo>
                    <a:lnTo>
                      <a:pt x="1220" y="1449"/>
                    </a:lnTo>
                    <a:lnTo>
                      <a:pt x="1219" y="1449"/>
                    </a:lnTo>
                    <a:lnTo>
                      <a:pt x="1219" y="1447"/>
                    </a:lnTo>
                    <a:lnTo>
                      <a:pt x="1219" y="1446"/>
                    </a:lnTo>
                    <a:lnTo>
                      <a:pt x="1217" y="1444"/>
                    </a:lnTo>
                    <a:lnTo>
                      <a:pt x="1217" y="1442"/>
                    </a:lnTo>
                    <a:lnTo>
                      <a:pt x="1217" y="1444"/>
                    </a:lnTo>
                    <a:lnTo>
                      <a:pt x="1217" y="1446"/>
                    </a:lnTo>
                    <a:lnTo>
                      <a:pt x="1219" y="1446"/>
                    </a:lnTo>
                    <a:lnTo>
                      <a:pt x="1219" y="1447"/>
                    </a:lnTo>
                    <a:lnTo>
                      <a:pt x="1219" y="1449"/>
                    </a:lnTo>
                    <a:lnTo>
                      <a:pt x="1219" y="1451"/>
                    </a:lnTo>
                    <a:lnTo>
                      <a:pt x="1219" y="1453"/>
                    </a:lnTo>
                    <a:lnTo>
                      <a:pt x="1220" y="1454"/>
                    </a:lnTo>
                    <a:lnTo>
                      <a:pt x="1219" y="1453"/>
                    </a:lnTo>
                    <a:lnTo>
                      <a:pt x="1219" y="1454"/>
                    </a:lnTo>
                    <a:lnTo>
                      <a:pt x="1220" y="1454"/>
                    </a:lnTo>
                    <a:lnTo>
                      <a:pt x="1219" y="1456"/>
                    </a:lnTo>
                    <a:lnTo>
                      <a:pt x="1220" y="1458"/>
                    </a:lnTo>
                    <a:lnTo>
                      <a:pt x="1220" y="1459"/>
                    </a:lnTo>
                    <a:lnTo>
                      <a:pt x="1220" y="1461"/>
                    </a:lnTo>
                    <a:lnTo>
                      <a:pt x="1220" y="1463"/>
                    </a:lnTo>
                    <a:lnTo>
                      <a:pt x="1220" y="1464"/>
                    </a:lnTo>
                    <a:lnTo>
                      <a:pt x="1220" y="1466"/>
                    </a:lnTo>
                    <a:lnTo>
                      <a:pt x="1222" y="1468"/>
                    </a:lnTo>
                    <a:lnTo>
                      <a:pt x="1220" y="1470"/>
                    </a:lnTo>
                    <a:lnTo>
                      <a:pt x="1220" y="1471"/>
                    </a:lnTo>
                    <a:lnTo>
                      <a:pt x="1219" y="1471"/>
                    </a:lnTo>
                    <a:lnTo>
                      <a:pt x="1219" y="1470"/>
                    </a:lnTo>
                    <a:lnTo>
                      <a:pt x="1217" y="1470"/>
                    </a:lnTo>
                    <a:lnTo>
                      <a:pt x="1217" y="1468"/>
                    </a:lnTo>
                    <a:lnTo>
                      <a:pt x="1215" y="1468"/>
                    </a:lnTo>
                    <a:lnTo>
                      <a:pt x="1215" y="1466"/>
                    </a:lnTo>
                    <a:lnTo>
                      <a:pt x="1213" y="1466"/>
                    </a:lnTo>
                    <a:lnTo>
                      <a:pt x="1212" y="1464"/>
                    </a:lnTo>
                    <a:lnTo>
                      <a:pt x="1212" y="1463"/>
                    </a:lnTo>
                    <a:lnTo>
                      <a:pt x="1210" y="1463"/>
                    </a:lnTo>
                    <a:lnTo>
                      <a:pt x="1212" y="1463"/>
                    </a:lnTo>
                    <a:lnTo>
                      <a:pt x="1210" y="1463"/>
                    </a:lnTo>
                    <a:lnTo>
                      <a:pt x="1210" y="1461"/>
                    </a:lnTo>
                    <a:lnTo>
                      <a:pt x="1210" y="1459"/>
                    </a:lnTo>
                    <a:lnTo>
                      <a:pt x="1210" y="1458"/>
                    </a:lnTo>
                    <a:lnTo>
                      <a:pt x="1212" y="1458"/>
                    </a:lnTo>
                    <a:lnTo>
                      <a:pt x="1210" y="1458"/>
                    </a:lnTo>
                    <a:lnTo>
                      <a:pt x="1210" y="1456"/>
                    </a:lnTo>
                    <a:lnTo>
                      <a:pt x="1208" y="1456"/>
                    </a:lnTo>
                    <a:lnTo>
                      <a:pt x="1208" y="1454"/>
                    </a:lnTo>
                    <a:lnTo>
                      <a:pt x="1208" y="1453"/>
                    </a:lnTo>
                    <a:lnTo>
                      <a:pt x="1208" y="1451"/>
                    </a:lnTo>
                    <a:lnTo>
                      <a:pt x="1210" y="1453"/>
                    </a:lnTo>
                    <a:lnTo>
                      <a:pt x="1210" y="1451"/>
                    </a:lnTo>
                    <a:lnTo>
                      <a:pt x="1210" y="1453"/>
                    </a:lnTo>
                    <a:lnTo>
                      <a:pt x="1210" y="1454"/>
                    </a:lnTo>
                    <a:lnTo>
                      <a:pt x="1212" y="1454"/>
                    </a:lnTo>
                    <a:lnTo>
                      <a:pt x="1212" y="1456"/>
                    </a:lnTo>
                    <a:lnTo>
                      <a:pt x="1213" y="1458"/>
                    </a:lnTo>
                    <a:lnTo>
                      <a:pt x="1213" y="1459"/>
                    </a:lnTo>
                    <a:lnTo>
                      <a:pt x="1212" y="1458"/>
                    </a:lnTo>
                    <a:lnTo>
                      <a:pt x="1212" y="1459"/>
                    </a:lnTo>
                    <a:lnTo>
                      <a:pt x="1213" y="1459"/>
                    </a:lnTo>
                    <a:lnTo>
                      <a:pt x="1215" y="1461"/>
                    </a:lnTo>
                    <a:lnTo>
                      <a:pt x="1215" y="1463"/>
                    </a:lnTo>
                    <a:lnTo>
                      <a:pt x="1217" y="1464"/>
                    </a:lnTo>
                    <a:lnTo>
                      <a:pt x="1217" y="1463"/>
                    </a:lnTo>
                    <a:lnTo>
                      <a:pt x="1215" y="1461"/>
                    </a:lnTo>
                    <a:lnTo>
                      <a:pt x="1215" y="1459"/>
                    </a:lnTo>
                    <a:lnTo>
                      <a:pt x="1215" y="1458"/>
                    </a:lnTo>
                    <a:lnTo>
                      <a:pt x="1213" y="1458"/>
                    </a:lnTo>
                    <a:lnTo>
                      <a:pt x="1215" y="1456"/>
                    </a:lnTo>
                    <a:lnTo>
                      <a:pt x="1213" y="1456"/>
                    </a:lnTo>
                    <a:lnTo>
                      <a:pt x="1213" y="1454"/>
                    </a:lnTo>
                    <a:lnTo>
                      <a:pt x="1212" y="1453"/>
                    </a:lnTo>
                    <a:lnTo>
                      <a:pt x="1212" y="1451"/>
                    </a:lnTo>
                    <a:lnTo>
                      <a:pt x="1213" y="1451"/>
                    </a:lnTo>
                    <a:lnTo>
                      <a:pt x="1212" y="1451"/>
                    </a:lnTo>
                    <a:lnTo>
                      <a:pt x="1212" y="1449"/>
                    </a:lnTo>
                    <a:lnTo>
                      <a:pt x="1210" y="1449"/>
                    </a:lnTo>
                    <a:lnTo>
                      <a:pt x="1210" y="1447"/>
                    </a:lnTo>
                    <a:lnTo>
                      <a:pt x="1212" y="1447"/>
                    </a:lnTo>
                    <a:lnTo>
                      <a:pt x="1213" y="1447"/>
                    </a:lnTo>
                    <a:lnTo>
                      <a:pt x="1213" y="1446"/>
                    </a:lnTo>
                    <a:lnTo>
                      <a:pt x="1215" y="1444"/>
                    </a:lnTo>
                    <a:lnTo>
                      <a:pt x="1213" y="1444"/>
                    </a:lnTo>
                    <a:lnTo>
                      <a:pt x="1213" y="1446"/>
                    </a:lnTo>
                    <a:lnTo>
                      <a:pt x="1212" y="1446"/>
                    </a:lnTo>
                    <a:lnTo>
                      <a:pt x="1212" y="1447"/>
                    </a:lnTo>
                    <a:lnTo>
                      <a:pt x="1212" y="1446"/>
                    </a:lnTo>
                    <a:lnTo>
                      <a:pt x="1212" y="1444"/>
                    </a:lnTo>
                    <a:lnTo>
                      <a:pt x="1212" y="1446"/>
                    </a:lnTo>
                    <a:lnTo>
                      <a:pt x="1210" y="1447"/>
                    </a:lnTo>
                    <a:lnTo>
                      <a:pt x="1210" y="1446"/>
                    </a:lnTo>
                    <a:lnTo>
                      <a:pt x="1208" y="1446"/>
                    </a:lnTo>
                    <a:lnTo>
                      <a:pt x="1208" y="1444"/>
                    </a:lnTo>
                    <a:lnTo>
                      <a:pt x="1208" y="1442"/>
                    </a:lnTo>
                    <a:lnTo>
                      <a:pt x="1208" y="1444"/>
                    </a:lnTo>
                    <a:lnTo>
                      <a:pt x="1208" y="1446"/>
                    </a:lnTo>
                    <a:lnTo>
                      <a:pt x="1208" y="1447"/>
                    </a:lnTo>
                    <a:lnTo>
                      <a:pt x="1207" y="1447"/>
                    </a:lnTo>
                    <a:lnTo>
                      <a:pt x="1207" y="1449"/>
                    </a:lnTo>
                    <a:lnTo>
                      <a:pt x="1207" y="1451"/>
                    </a:lnTo>
                    <a:lnTo>
                      <a:pt x="1205" y="1449"/>
                    </a:lnTo>
                    <a:lnTo>
                      <a:pt x="1205" y="1447"/>
                    </a:lnTo>
                    <a:lnTo>
                      <a:pt x="1205" y="1446"/>
                    </a:lnTo>
                    <a:lnTo>
                      <a:pt x="1203" y="1446"/>
                    </a:lnTo>
                    <a:lnTo>
                      <a:pt x="1203" y="1444"/>
                    </a:lnTo>
                    <a:lnTo>
                      <a:pt x="1202" y="1444"/>
                    </a:lnTo>
                    <a:lnTo>
                      <a:pt x="1203" y="1442"/>
                    </a:lnTo>
                    <a:lnTo>
                      <a:pt x="1205" y="1442"/>
                    </a:lnTo>
                    <a:lnTo>
                      <a:pt x="1203" y="1442"/>
                    </a:lnTo>
                    <a:lnTo>
                      <a:pt x="1202" y="1442"/>
                    </a:lnTo>
                    <a:lnTo>
                      <a:pt x="1200" y="1442"/>
                    </a:lnTo>
                    <a:lnTo>
                      <a:pt x="1200" y="1441"/>
                    </a:lnTo>
                    <a:lnTo>
                      <a:pt x="1198" y="1441"/>
                    </a:lnTo>
                    <a:lnTo>
                      <a:pt x="1200" y="1441"/>
                    </a:lnTo>
                    <a:lnTo>
                      <a:pt x="1200" y="1439"/>
                    </a:lnTo>
                    <a:lnTo>
                      <a:pt x="1202" y="1439"/>
                    </a:lnTo>
                    <a:lnTo>
                      <a:pt x="1203" y="1439"/>
                    </a:lnTo>
                    <a:lnTo>
                      <a:pt x="1202" y="1439"/>
                    </a:lnTo>
                    <a:lnTo>
                      <a:pt x="1202" y="1437"/>
                    </a:lnTo>
                    <a:lnTo>
                      <a:pt x="1203" y="1437"/>
                    </a:lnTo>
                    <a:lnTo>
                      <a:pt x="1202" y="1437"/>
                    </a:lnTo>
                    <a:lnTo>
                      <a:pt x="1203" y="1435"/>
                    </a:lnTo>
                    <a:lnTo>
                      <a:pt x="1202" y="1437"/>
                    </a:lnTo>
                    <a:lnTo>
                      <a:pt x="1202" y="1435"/>
                    </a:lnTo>
                    <a:lnTo>
                      <a:pt x="1200" y="1437"/>
                    </a:lnTo>
                    <a:lnTo>
                      <a:pt x="1200" y="1439"/>
                    </a:lnTo>
                    <a:lnTo>
                      <a:pt x="1200" y="1437"/>
                    </a:lnTo>
                    <a:lnTo>
                      <a:pt x="1200" y="1435"/>
                    </a:lnTo>
                    <a:lnTo>
                      <a:pt x="1198" y="1435"/>
                    </a:lnTo>
                    <a:lnTo>
                      <a:pt x="1200" y="1435"/>
                    </a:lnTo>
                    <a:lnTo>
                      <a:pt x="1198" y="1435"/>
                    </a:lnTo>
                    <a:lnTo>
                      <a:pt x="1198" y="1434"/>
                    </a:lnTo>
                    <a:lnTo>
                      <a:pt x="1198" y="1435"/>
                    </a:lnTo>
                    <a:lnTo>
                      <a:pt x="1198" y="1434"/>
                    </a:lnTo>
                    <a:lnTo>
                      <a:pt x="1196" y="1435"/>
                    </a:lnTo>
                    <a:lnTo>
                      <a:pt x="1196" y="1434"/>
                    </a:lnTo>
                    <a:lnTo>
                      <a:pt x="1198" y="1432"/>
                    </a:lnTo>
                    <a:lnTo>
                      <a:pt x="1198" y="1434"/>
                    </a:lnTo>
                    <a:lnTo>
                      <a:pt x="1198" y="1432"/>
                    </a:lnTo>
                    <a:lnTo>
                      <a:pt x="1200" y="1432"/>
                    </a:lnTo>
                    <a:lnTo>
                      <a:pt x="1198" y="1432"/>
                    </a:lnTo>
                    <a:lnTo>
                      <a:pt x="1198" y="1430"/>
                    </a:lnTo>
                    <a:lnTo>
                      <a:pt x="1200" y="1430"/>
                    </a:lnTo>
                    <a:lnTo>
                      <a:pt x="1198" y="1430"/>
                    </a:lnTo>
                    <a:lnTo>
                      <a:pt x="1198" y="1429"/>
                    </a:lnTo>
                    <a:lnTo>
                      <a:pt x="1200" y="1429"/>
                    </a:lnTo>
                    <a:lnTo>
                      <a:pt x="1200" y="1427"/>
                    </a:lnTo>
                    <a:lnTo>
                      <a:pt x="1200" y="1429"/>
                    </a:lnTo>
                    <a:lnTo>
                      <a:pt x="1202" y="1429"/>
                    </a:lnTo>
                    <a:lnTo>
                      <a:pt x="1203" y="1429"/>
                    </a:lnTo>
                    <a:lnTo>
                      <a:pt x="1203" y="1430"/>
                    </a:lnTo>
                    <a:lnTo>
                      <a:pt x="1203" y="1432"/>
                    </a:lnTo>
                    <a:lnTo>
                      <a:pt x="1205" y="1432"/>
                    </a:lnTo>
                    <a:lnTo>
                      <a:pt x="1205" y="1434"/>
                    </a:lnTo>
                    <a:lnTo>
                      <a:pt x="1205" y="1432"/>
                    </a:lnTo>
                    <a:lnTo>
                      <a:pt x="1205" y="1430"/>
                    </a:lnTo>
                    <a:lnTo>
                      <a:pt x="1205" y="1432"/>
                    </a:lnTo>
                    <a:lnTo>
                      <a:pt x="1207" y="1434"/>
                    </a:lnTo>
                    <a:lnTo>
                      <a:pt x="1207" y="1435"/>
                    </a:lnTo>
                    <a:lnTo>
                      <a:pt x="1208" y="1437"/>
                    </a:lnTo>
                    <a:lnTo>
                      <a:pt x="1208" y="1439"/>
                    </a:lnTo>
                    <a:lnTo>
                      <a:pt x="1208" y="1441"/>
                    </a:lnTo>
                    <a:lnTo>
                      <a:pt x="1208" y="1442"/>
                    </a:lnTo>
                    <a:lnTo>
                      <a:pt x="1210" y="1441"/>
                    </a:lnTo>
                    <a:lnTo>
                      <a:pt x="1208" y="1439"/>
                    </a:lnTo>
                    <a:lnTo>
                      <a:pt x="1208" y="1437"/>
                    </a:lnTo>
                    <a:lnTo>
                      <a:pt x="1208" y="1435"/>
                    </a:lnTo>
                    <a:lnTo>
                      <a:pt x="1207" y="1434"/>
                    </a:lnTo>
                    <a:lnTo>
                      <a:pt x="1207" y="1435"/>
                    </a:lnTo>
                    <a:lnTo>
                      <a:pt x="1208" y="1435"/>
                    </a:lnTo>
                    <a:lnTo>
                      <a:pt x="1210" y="1435"/>
                    </a:lnTo>
                    <a:lnTo>
                      <a:pt x="1210" y="1437"/>
                    </a:lnTo>
                    <a:lnTo>
                      <a:pt x="1210" y="1435"/>
                    </a:lnTo>
                    <a:lnTo>
                      <a:pt x="1208" y="1435"/>
                    </a:lnTo>
                    <a:lnTo>
                      <a:pt x="1208" y="1434"/>
                    </a:lnTo>
                    <a:lnTo>
                      <a:pt x="1208" y="1432"/>
                    </a:lnTo>
                    <a:lnTo>
                      <a:pt x="1210" y="1432"/>
                    </a:lnTo>
                    <a:lnTo>
                      <a:pt x="1212" y="1432"/>
                    </a:lnTo>
                    <a:lnTo>
                      <a:pt x="1210" y="1432"/>
                    </a:lnTo>
                    <a:lnTo>
                      <a:pt x="1208" y="1432"/>
                    </a:lnTo>
                    <a:lnTo>
                      <a:pt x="1207" y="1430"/>
                    </a:lnTo>
                    <a:lnTo>
                      <a:pt x="1207" y="1429"/>
                    </a:lnTo>
                    <a:lnTo>
                      <a:pt x="1207" y="1427"/>
                    </a:lnTo>
                    <a:lnTo>
                      <a:pt x="1207" y="1425"/>
                    </a:lnTo>
                    <a:lnTo>
                      <a:pt x="1207" y="1427"/>
                    </a:lnTo>
                    <a:lnTo>
                      <a:pt x="1207" y="1425"/>
                    </a:lnTo>
                    <a:lnTo>
                      <a:pt x="1207" y="1424"/>
                    </a:lnTo>
                    <a:lnTo>
                      <a:pt x="1205" y="1422"/>
                    </a:lnTo>
                    <a:lnTo>
                      <a:pt x="1203" y="1420"/>
                    </a:lnTo>
                    <a:lnTo>
                      <a:pt x="1203" y="1418"/>
                    </a:lnTo>
                    <a:lnTo>
                      <a:pt x="1205" y="1418"/>
                    </a:lnTo>
                    <a:lnTo>
                      <a:pt x="1207" y="1418"/>
                    </a:lnTo>
                    <a:lnTo>
                      <a:pt x="1207" y="1420"/>
                    </a:lnTo>
                    <a:lnTo>
                      <a:pt x="1207" y="1422"/>
                    </a:lnTo>
                    <a:lnTo>
                      <a:pt x="1208" y="1422"/>
                    </a:lnTo>
                    <a:lnTo>
                      <a:pt x="1207" y="1422"/>
                    </a:lnTo>
                    <a:lnTo>
                      <a:pt x="1207" y="1420"/>
                    </a:lnTo>
                    <a:lnTo>
                      <a:pt x="1207" y="1418"/>
                    </a:lnTo>
                    <a:lnTo>
                      <a:pt x="1208" y="1418"/>
                    </a:lnTo>
                    <a:lnTo>
                      <a:pt x="1207" y="1418"/>
                    </a:lnTo>
                    <a:lnTo>
                      <a:pt x="1207" y="1417"/>
                    </a:lnTo>
                    <a:lnTo>
                      <a:pt x="1207" y="1415"/>
                    </a:lnTo>
                    <a:lnTo>
                      <a:pt x="1207" y="1417"/>
                    </a:lnTo>
                    <a:lnTo>
                      <a:pt x="1205" y="1417"/>
                    </a:lnTo>
                    <a:lnTo>
                      <a:pt x="1205" y="1415"/>
                    </a:lnTo>
                    <a:lnTo>
                      <a:pt x="1203" y="1413"/>
                    </a:lnTo>
                    <a:lnTo>
                      <a:pt x="1203" y="1412"/>
                    </a:lnTo>
                    <a:lnTo>
                      <a:pt x="1202" y="1412"/>
                    </a:lnTo>
                    <a:lnTo>
                      <a:pt x="1203" y="1412"/>
                    </a:lnTo>
                    <a:lnTo>
                      <a:pt x="1203" y="1413"/>
                    </a:lnTo>
                    <a:lnTo>
                      <a:pt x="1203" y="1415"/>
                    </a:lnTo>
                    <a:lnTo>
                      <a:pt x="1205" y="1415"/>
                    </a:lnTo>
                    <a:lnTo>
                      <a:pt x="1205" y="1417"/>
                    </a:lnTo>
                    <a:lnTo>
                      <a:pt x="1205" y="1418"/>
                    </a:lnTo>
                    <a:lnTo>
                      <a:pt x="1203" y="1418"/>
                    </a:lnTo>
                    <a:lnTo>
                      <a:pt x="1202" y="1420"/>
                    </a:lnTo>
                    <a:lnTo>
                      <a:pt x="1200" y="1422"/>
                    </a:lnTo>
                    <a:lnTo>
                      <a:pt x="1198" y="1420"/>
                    </a:lnTo>
                    <a:lnTo>
                      <a:pt x="1198" y="1418"/>
                    </a:lnTo>
                    <a:lnTo>
                      <a:pt x="1198" y="1417"/>
                    </a:lnTo>
                    <a:lnTo>
                      <a:pt x="1198" y="1415"/>
                    </a:lnTo>
                    <a:lnTo>
                      <a:pt x="1196" y="1415"/>
                    </a:lnTo>
                    <a:lnTo>
                      <a:pt x="1196" y="1413"/>
                    </a:lnTo>
                    <a:lnTo>
                      <a:pt x="1196" y="1415"/>
                    </a:lnTo>
                    <a:lnTo>
                      <a:pt x="1196" y="1417"/>
                    </a:lnTo>
                    <a:lnTo>
                      <a:pt x="1196" y="1418"/>
                    </a:lnTo>
                    <a:lnTo>
                      <a:pt x="1195" y="1418"/>
                    </a:lnTo>
                    <a:lnTo>
                      <a:pt x="1193" y="1418"/>
                    </a:lnTo>
                    <a:lnTo>
                      <a:pt x="1191" y="1417"/>
                    </a:lnTo>
                    <a:lnTo>
                      <a:pt x="1193" y="1415"/>
                    </a:lnTo>
                    <a:lnTo>
                      <a:pt x="1191" y="1413"/>
                    </a:lnTo>
                    <a:lnTo>
                      <a:pt x="1193" y="1413"/>
                    </a:lnTo>
                    <a:lnTo>
                      <a:pt x="1191" y="1413"/>
                    </a:lnTo>
                    <a:lnTo>
                      <a:pt x="1191" y="1412"/>
                    </a:lnTo>
                    <a:lnTo>
                      <a:pt x="1191" y="1410"/>
                    </a:lnTo>
                    <a:lnTo>
                      <a:pt x="1191" y="1412"/>
                    </a:lnTo>
                    <a:lnTo>
                      <a:pt x="1191" y="1410"/>
                    </a:lnTo>
                    <a:lnTo>
                      <a:pt x="1193" y="1410"/>
                    </a:lnTo>
                    <a:lnTo>
                      <a:pt x="1193" y="1408"/>
                    </a:lnTo>
                    <a:lnTo>
                      <a:pt x="1195" y="1408"/>
                    </a:lnTo>
                    <a:lnTo>
                      <a:pt x="1195" y="1407"/>
                    </a:lnTo>
                    <a:lnTo>
                      <a:pt x="1193" y="1407"/>
                    </a:lnTo>
                    <a:lnTo>
                      <a:pt x="1195" y="1405"/>
                    </a:lnTo>
                    <a:lnTo>
                      <a:pt x="1193" y="1407"/>
                    </a:lnTo>
                    <a:lnTo>
                      <a:pt x="1193" y="1405"/>
                    </a:lnTo>
                    <a:lnTo>
                      <a:pt x="1193" y="1407"/>
                    </a:lnTo>
                    <a:lnTo>
                      <a:pt x="1191" y="1408"/>
                    </a:lnTo>
                    <a:lnTo>
                      <a:pt x="1193" y="1407"/>
                    </a:lnTo>
                    <a:lnTo>
                      <a:pt x="1191" y="1407"/>
                    </a:lnTo>
                    <a:lnTo>
                      <a:pt x="1191" y="1408"/>
                    </a:lnTo>
                    <a:lnTo>
                      <a:pt x="1191" y="1410"/>
                    </a:lnTo>
                    <a:lnTo>
                      <a:pt x="1190" y="1410"/>
                    </a:lnTo>
                    <a:lnTo>
                      <a:pt x="1190" y="1408"/>
                    </a:lnTo>
                    <a:lnTo>
                      <a:pt x="1188" y="1408"/>
                    </a:lnTo>
                    <a:lnTo>
                      <a:pt x="1190" y="1407"/>
                    </a:lnTo>
                    <a:lnTo>
                      <a:pt x="1188" y="1407"/>
                    </a:lnTo>
                    <a:lnTo>
                      <a:pt x="1188" y="1405"/>
                    </a:lnTo>
                    <a:lnTo>
                      <a:pt x="1188" y="1403"/>
                    </a:lnTo>
                    <a:lnTo>
                      <a:pt x="1190" y="1403"/>
                    </a:lnTo>
                    <a:lnTo>
                      <a:pt x="1190" y="1401"/>
                    </a:lnTo>
                    <a:lnTo>
                      <a:pt x="1191" y="1401"/>
                    </a:lnTo>
                    <a:lnTo>
                      <a:pt x="1193" y="1400"/>
                    </a:lnTo>
                    <a:lnTo>
                      <a:pt x="1195" y="1401"/>
                    </a:lnTo>
                    <a:lnTo>
                      <a:pt x="1196" y="1401"/>
                    </a:lnTo>
                    <a:lnTo>
                      <a:pt x="1198" y="1401"/>
                    </a:lnTo>
                    <a:lnTo>
                      <a:pt x="1198" y="1403"/>
                    </a:lnTo>
                    <a:lnTo>
                      <a:pt x="1198" y="1401"/>
                    </a:lnTo>
                    <a:lnTo>
                      <a:pt x="1200" y="1400"/>
                    </a:lnTo>
                    <a:lnTo>
                      <a:pt x="1202" y="1401"/>
                    </a:lnTo>
                    <a:lnTo>
                      <a:pt x="1202" y="1403"/>
                    </a:lnTo>
                    <a:lnTo>
                      <a:pt x="1200" y="1405"/>
                    </a:lnTo>
                    <a:lnTo>
                      <a:pt x="1202" y="1405"/>
                    </a:lnTo>
                    <a:lnTo>
                      <a:pt x="1203" y="1405"/>
                    </a:lnTo>
                    <a:lnTo>
                      <a:pt x="1205" y="1405"/>
                    </a:lnTo>
                    <a:lnTo>
                      <a:pt x="1207" y="1405"/>
                    </a:lnTo>
                    <a:lnTo>
                      <a:pt x="1207" y="1403"/>
                    </a:lnTo>
                    <a:lnTo>
                      <a:pt x="1205" y="1405"/>
                    </a:lnTo>
                    <a:lnTo>
                      <a:pt x="1203" y="1403"/>
                    </a:lnTo>
                    <a:lnTo>
                      <a:pt x="1203" y="1401"/>
                    </a:lnTo>
                    <a:lnTo>
                      <a:pt x="1202" y="1401"/>
                    </a:lnTo>
                    <a:lnTo>
                      <a:pt x="1202" y="1400"/>
                    </a:lnTo>
                    <a:lnTo>
                      <a:pt x="1200" y="1400"/>
                    </a:lnTo>
                    <a:lnTo>
                      <a:pt x="1200" y="1398"/>
                    </a:lnTo>
                    <a:lnTo>
                      <a:pt x="1202" y="1398"/>
                    </a:lnTo>
                    <a:lnTo>
                      <a:pt x="1202" y="1396"/>
                    </a:lnTo>
                    <a:lnTo>
                      <a:pt x="1203" y="1396"/>
                    </a:lnTo>
                    <a:lnTo>
                      <a:pt x="1203" y="1398"/>
                    </a:lnTo>
                    <a:lnTo>
                      <a:pt x="1205" y="1398"/>
                    </a:lnTo>
                    <a:lnTo>
                      <a:pt x="1203" y="1398"/>
                    </a:lnTo>
                    <a:lnTo>
                      <a:pt x="1203" y="1396"/>
                    </a:lnTo>
                    <a:lnTo>
                      <a:pt x="1203" y="1395"/>
                    </a:lnTo>
                    <a:lnTo>
                      <a:pt x="1203" y="1393"/>
                    </a:lnTo>
                    <a:lnTo>
                      <a:pt x="1203" y="1391"/>
                    </a:lnTo>
                    <a:lnTo>
                      <a:pt x="1203" y="1390"/>
                    </a:lnTo>
                    <a:lnTo>
                      <a:pt x="1205" y="1390"/>
                    </a:lnTo>
                    <a:lnTo>
                      <a:pt x="1207" y="1390"/>
                    </a:lnTo>
                    <a:lnTo>
                      <a:pt x="1208" y="1388"/>
                    </a:lnTo>
                    <a:lnTo>
                      <a:pt x="1210" y="1390"/>
                    </a:lnTo>
                    <a:lnTo>
                      <a:pt x="1212" y="1390"/>
                    </a:lnTo>
                    <a:lnTo>
                      <a:pt x="1213" y="1391"/>
                    </a:lnTo>
                    <a:lnTo>
                      <a:pt x="1213" y="1390"/>
                    </a:lnTo>
                    <a:lnTo>
                      <a:pt x="1212" y="1390"/>
                    </a:lnTo>
                    <a:lnTo>
                      <a:pt x="1210" y="1388"/>
                    </a:lnTo>
                    <a:lnTo>
                      <a:pt x="1212" y="1388"/>
                    </a:lnTo>
                    <a:lnTo>
                      <a:pt x="1210" y="1386"/>
                    </a:lnTo>
                    <a:lnTo>
                      <a:pt x="1210" y="1388"/>
                    </a:lnTo>
                    <a:lnTo>
                      <a:pt x="1210" y="1386"/>
                    </a:lnTo>
                    <a:lnTo>
                      <a:pt x="1208" y="1388"/>
                    </a:lnTo>
                    <a:lnTo>
                      <a:pt x="1208" y="1386"/>
                    </a:lnTo>
                    <a:lnTo>
                      <a:pt x="1207" y="1386"/>
                    </a:lnTo>
                    <a:lnTo>
                      <a:pt x="1207" y="1384"/>
                    </a:lnTo>
                    <a:lnTo>
                      <a:pt x="1205" y="1384"/>
                    </a:lnTo>
                    <a:lnTo>
                      <a:pt x="1205" y="1383"/>
                    </a:lnTo>
                    <a:lnTo>
                      <a:pt x="1205" y="1381"/>
                    </a:lnTo>
                    <a:lnTo>
                      <a:pt x="1207" y="1381"/>
                    </a:lnTo>
                    <a:lnTo>
                      <a:pt x="1208" y="1381"/>
                    </a:lnTo>
                    <a:lnTo>
                      <a:pt x="1210" y="1381"/>
                    </a:lnTo>
                    <a:lnTo>
                      <a:pt x="1210" y="1379"/>
                    </a:lnTo>
                    <a:lnTo>
                      <a:pt x="1210" y="1378"/>
                    </a:lnTo>
                    <a:lnTo>
                      <a:pt x="1212" y="1378"/>
                    </a:lnTo>
                    <a:lnTo>
                      <a:pt x="1210" y="1376"/>
                    </a:lnTo>
                    <a:lnTo>
                      <a:pt x="1212" y="1376"/>
                    </a:lnTo>
                    <a:lnTo>
                      <a:pt x="1212" y="1374"/>
                    </a:lnTo>
                    <a:lnTo>
                      <a:pt x="1210" y="1374"/>
                    </a:lnTo>
                    <a:lnTo>
                      <a:pt x="1210" y="1376"/>
                    </a:lnTo>
                    <a:lnTo>
                      <a:pt x="1210" y="1378"/>
                    </a:lnTo>
                    <a:lnTo>
                      <a:pt x="1208" y="1379"/>
                    </a:lnTo>
                    <a:lnTo>
                      <a:pt x="1208" y="1381"/>
                    </a:lnTo>
                    <a:lnTo>
                      <a:pt x="1208" y="1379"/>
                    </a:lnTo>
                    <a:lnTo>
                      <a:pt x="1207" y="1381"/>
                    </a:lnTo>
                    <a:lnTo>
                      <a:pt x="1205" y="1381"/>
                    </a:lnTo>
                    <a:lnTo>
                      <a:pt x="1203" y="1383"/>
                    </a:lnTo>
                    <a:lnTo>
                      <a:pt x="1203" y="1384"/>
                    </a:lnTo>
                    <a:lnTo>
                      <a:pt x="1203" y="1386"/>
                    </a:lnTo>
                    <a:lnTo>
                      <a:pt x="1203" y="1388"/>
                    </a:lnTo>
                    <a:lnTo>
                      <a:pt x="1203" y="1390"/>
                    </a:lnTo>
                    <a:lnTo>
                      <a:pt x="1202" y="1391"/>
                    </a:lnTo>
                    <a:lnTo>
                      <a:pt x="1202" y="1393"/>
                    </a:lnTo>
                    <a:lnTo>
                      <a:pt x="1203" y="1393"/>
                    </a:lnTo>
                    <a:lnTo>
                      <a:pt x="1202" y="1395"/>
                    </a:lnTo>
                    <a:lnTo>
                      <a:pt x="1202" y="1396"/>
                    </a:lnTo>
                    <a:lnTo>
                      <a:pt x="1200" y="1396"/>
                    </a:lnTo>
                    <a:lnTo>
                      <a:pt x="1200" y="1398"/>
                    </a:lnTo>
                    <a:lnTo>
                      <a:pt x="1198" y="1400"/>
                    </a:lnTo>
                    <a:lnTo>
                      <a:pt x="1196" y="1400"/>
                    </a:lnTo>
                    <a:lnTo>
                      <a:pt x="1196" y="1398"/>
                    </a:lnTo>
                    <a:lnTo>
                      <a:pt x="1195" y="1400"/>
                    </a:lnTo>
                    <a:lnTo>
                      <a:pt x="1195" y="1398"/>
                    </a:lnTo>
                    <a:lnTo>
                      <a:pt x="1193" y="1396"/>
                    </a:lnTo>
                    <a:lnTo>
                      <a:pt x="1193" y="1395"/>
                    </a:lnTo>
                    <a:lnTo>
                      <a:pt x="1191" y="1395"/>
                    </a:lnTo>
                    <a:lnTo>
                      <a:pt x="1193" y="1395"/>
                    </a:lnTo>
                    <a:lnTo>
                      <a:pt x="1193" y="1393"/>
                    </a:lnTo>
                    <a:lnTo>
                      <a:pt x="1195" y="1393"/>
                    </a:lnTo>
                    <a:lnTo>
                      <a:pt x="1195" y="1391"/>
                    </a:lnTo>
                    <a:lnTo>
                      <a:pt x="1193" y="1391"/>
                    </a:lnTo>
                    <a:lnTo>
                      <a:pt x="1191" y="1391"/>
                    </a:lnTo>
                    <a:lnTo>
                      <a:pt x="1193" y="1391"/>
                    </a:lnTo>
                    <a:lnTo>
                      <a:pt x="1191" y="1393"/>
                    </a:lnTo>
                    <a:lnTo>
                      <a:pt x="1193" y="1395"/>
                    </a:lnTo>
                    <a:lnTo>
                      <a:pt x="1191" y="1395"/>
                    </a:lnTo>
                    <a:lnTo>
                      <a:pt x="1193" y="1395"/>
                    </a:lnTo>
                    <a:lnTo>
                      <a:pt x="1191" y="1393"/>
                    </a:lnTo>
                    <a:lnTo>
                      <a:pt x="1191" y="1391"/>
                    </a:lnTo>
                    <a:lnTo>
                      <a:pt x="1191" y="1390"/>
                    </a:lnTo>
                    <a:lnTo>
                      <a:pt x="1190" y="1390"/>
                    </a:lnTo>
                    <a:lnTo>
                      <a:pt x="1190" y="1388"/>
                    </a:lnTo>
                    <a:lnTo>
                      <a:pt x="1188" y="1386"/>
                    </a:lnTo>
                    <a:lnTo>
                      <a:pt x="1188" y="1384"/>
                    </a:lnTo>
                    <a:lnTo>
                      <a:pt x="1190" y="1384"/>
                    </a:lnTo>
                    <a:lnTo>
                      <a:pt x="1191" y="1383"/>
                    </a:lnTo>
                    <a:lnTo>
                      <a:pt x="1191" y="1384"/>
                    </a:lnTo>
                    <a:lnTo>
                      <a:pt x="1193" y="1384"/>
                    </a:lnTo>
                    <a:lnTo>
                      <a:pt x="1193" y="1386"/>
                    </a:lnTo>
                    <a:lnTo>
                      <a:pt x="1193" y="1384"/>
                    </a:lnTo>
                    <a:lnTo>
                      <a:pt x="1191" y="1384"/>
                    </a:lnTo>
                    <a:lnTo>
                      <a:pt x="1191" y="1383"/>
                    </a:lnTo>
                    <a:lnTo>
                      <a:pt x="1190" y="1383"/>
                    </a:lnTo>
                    <a:lnTo>
                      <a:pt x="1191" y="1383"/>
                    </a:lnTo>
                    <a:lnTo>
                      <a:pt x="1190" y="1384"/>
                    </a:lnTo>
                    <a:lnTo>
                      <a:pt x="1188" y="1384"/>
                    </a:lnTo>
                    <a:lnTo>
                      <a:pt x="1188" y="1383"/>
                    </a:lnTo>
                    <a:lnTo>
                      <a:pt x="1186" y="1381"/>
                    </a:lnTo>
                    <a:lnTo>
                      <a:pt x="1186" y="1379"/>
                    </a:lnTo>
                    <a:lnTo>
                      <a:pt x="1188" y="1379"/>
                    </a:lnTo>
                    <a:lnTo>
                      <a:pt x="1190" y="1379"/>
                    </a:lnTo>
                    <a:lnTo>
                      <a:pt x="1191" y="1381"/>
                    </a:lnTo>
                    <a:lnTo>
                      <a:pt x="1190" y="1381"/>
                    </a:lnTo>
                    <a:lnTo>
                      <a:pt x="1191" y="1383"/>
                    </a:lnTo>
                    <a:lnTo>
                      <a:pt x="1191" y="1381"/>
                    </a:lnTo>
                    <a:lnTo>
                      <a:pt x="1193" y="1383"/>
                    </a:lnTo>
                    <a:lnTo>
                      <a:pt x="1193" y="1381"/>
                    </a:lnTo>
                    <a:lnTo>
                      <a:pt x="1191" y="1381"/>
                    </a:lnTo>
                    <a:lnTo>
                      <a:pt x="1191" y="1379"/>
                    </a:lnTo>
                    <a:lnTo>
                      <a:pt x="1191" y="1381"/>
                    </a:lnTo>
                    <a:lnTo>
                      <a:pt x="1191" y="1379"/>
                    </a:lnTo>
                    <a:lnTo>
                      <a:pt x="1191" y="1381"/>
                    </a:lnTo>
                    <a:lnTo>
                      <a:pt x="1193" y="1381"/>
                    </a:lnTo>
                    <a:lnTo>
                      <a:pt x="1195" y="1381"/>
                    </a:lnTo>
                    <a:lnTo>
                      <a:pt x="1195" y="1383"/>
                    </a:lnTo>
                    <a:lnTo>
                      <a:pt x="1196" y="1383"/>
                    </a:lnTo>
                    <a:lnTo>
                      <a:pt x="1196" y="1384"/>
                    </a:lnTo>
                    <a:lnTo>
                      <a:pt x="1196" y="1386"/>
                    </a:lnTo>
                    <a:lnTo>
                      <a:pt x="1196" y="1384"/>
                    </a:lnTo>
                    <a:lnTo>
                      <a:pt x="1196" y="1383"/>
                    </a:lnTo>
                    <a:lnTo>
                      <a:pt x="1198" y="1383"/>
                    </a:lnTo>
                    <a:lnTo>
                      <a:pt x="1200" y="1383"/>
                    </a:lnTo>
                    <a:lnTo>
                      <a:pt x="1200" y="1384"/>
                    </a:lnTo>
                    <a:lnTo>
                      <a:pt x="1202" y="1384"/>
                    </a:lnTo>
                    <a:lnTo>
                      <a:pt x="1200" y="1383"/>
                    </a:lnTo>
                    <a:lnTo>
                      <a:pt x="1198" y="1383"/>
                    </a:lnTo>
                    <a:lnTo>
                      <a:pt x="1196" y="1383"/>
                    </a:lnTo>
                    <a:lnTo>
                      <a:pt x="1196" y="1381"/>
                    </a:lnTo>
                    <a:lnTo>
                      <a:pt x="1195" y="1381"/>
                    </a:lnTo>
                    <a:lnTo>
                      <a:pt x="1196" y="1379"/>
                    </a:lnTo>
                    <a:lnTo>
                      <a:pt x="1195" y="1379"/>
                    </a:lnTo>
                    <a:lnTo>
                      <a:pt x="1195" y="1381"/>
                    </a:lnTo>
                    <a:lnTo>
                      <a:pt x="1195" y="1379"/>
                    </a:lnTo>
                    <a:lnTo>
                      <a:pt x="1193" y="1379"/>
                    </a:lnTo>
                    <a:lnTo>
                      <a:pt x="1191" y="1378"/>
                    </a:lnTo>
                    <a:lnTo>
                      <a:pt x="1191" y="1376"/>
                    </a:lnTo>
                    <a:lnTo>
                      <a:pt x="1193" y="1376"/>
                    </a:lnTo>
                    <a:lnTo>
                      <a:pt x="1195" y="1374"/>
                    </a:lnTo>
                    <a:lnTo>
                      <a:pt x="1196" y="1374"/>
                    </a:lnTo>
                    <a:lnTo>
                      <a:pt x="1198" y="1374"/>
                    </a:lnTo>
                    <a:lnTo>
                      <a:pt x="1196" y="1374"/>
                    </a:lnTo>
                    <a:lnTo>
                      <a:pt x="1195" y="1374"/>
                    </a:lnTo>
                    <a:lnTo>
                      <a:pt x="1193" y="1374"/>
                    </a:lnTo>
                    <a:lnTo>
                      <a:pt x="1193" y="1376"/>
                    </a:lnTo>
                    <a:lnTo>
                      <a:pt x="1191" y="1376"/>
                    </a:lnTo>
                    <a:lnTo>
                      <a:pt x="1190" y="1378"/>
                    </a:lnTo>
                    <a:lnTo>
                      <a:pt x="1190" y="1376"/>
                    </a:lnTo>
                    <a:lnTo>
                      <a:pt x="1188" y="1378"/>
                    </a:lnTo>
                    <a:lnTo>
                      <a:pt x="1190" y="1378"/>
                    </a:lnTo>
                    <a:lnTo>
                      <a:pt x="1188" y="1378"/>
                    </a:lnTo>
                    <a:lnTo>
                      <a:pt x="1186" y="1378"/>
                    </a:lnTo>
                    <a:lnTo>
                      <a:pt x="1188" y="1376"/>
                    </a:lnTo>
                    <a:lnTo>
                      <a:pt x="1186" y="1376"/>
                    </a:lnTo>
                    <a:lnTo>
                      <a:pt x="1186" y="1378"/>
                    </a:lnTo>
                    <a:lnTo>
                      <a:pt x="1185" y="1376"/>
                    </a:lnTo>
                    <a:lnTo>
                      <a:pt x="1186" y="1374"/>
                    </a:lnTo>
                    <a:lnTo>
                      <a:pt x="1186" y="1373"/>
                    </a:lnTo>
                    <a:lnTo>
                      <a:pt x="1188" y="1373"/>
                    </a:lnTo>
                    <a:lnTo>
                      <a:pt x="1188" y="1371"/>
                    </a:lnTo>
                    <a:lnTo>
                      <a:pt x="1186" y="1371"/>
                    </a:lnTo>
                    <a:lnTo>
                      <a:pt x="1188" y="1371"/>
                    </a:lnTo>
                    <a:lnTo>
                      <a:pt x="1186" y="1371"/>
                    </a:lnTo>
                    <a:lnTo>
                      <a:pt x="1188" y="1369"/>
                    </a:lnTo>
                    <a:lnTo>
                      <a:pt x="1186" y="1367"/>
                    </a:lnTo>
                    <a:lnTo>
                      <a:pt x="1186" y="1369"/>
                    </a:lnTo>
                    <a:lnTo>
                      <a:pt x="1186" y="1367"/>
                    </a:lnTo>
                    <a:lnTo>
                      <a:pt x="1186" y="1369"/>
                    </a:lnTo>
                    <a:lnTo>
                      <a:pt x="1186" y="1371"/>
                    </a:lnTo>
                    <a:lnTo>
                      <a:pt x="1185" y="1371"/>
                    </a:lnTo>
                    <a:lnTo>
                      <a:pt x="1185" y="1373"/>
                    </a:lnTo>
                    <a:lnTo>
                      <a:pt x="1185" y="1374"/>
                    </a:lnTo>
                    <a:lnTo>
                      <a:pt x="1183" y="1374"/>
                    </a:lnTo>
                    <a:lnTo>
                      <a:pt x="1185" y="1374"/>
                    </a:lnTo>
                    <a:lnTo>
                      <a:pt x="1185" y="1376"/>
                    </a:lnTo>
                    <a:lnTo>
                      <a:pt x="1183" y="1374"/>
                    </a:lnTo>
                    <a:lnTo>
                      <a:pt x="1181" y="1374"/>
                    </a:lnTo>
                    <a:lnTo>
                      <a:pt x="1179" y="1373"/>
                    </a:lnTo>
                    <a:lnTo>
                      <a:pt x="1181" y="1373"/>
                    </a:lnTo>
                    <a:lnTo>
                      <a:pt x="1181" y="1371"/>
                    </a:lnTo>
                    <a:lnTo>
                      <a:pt x="1181" y="1373"/>
                    </a:lnTo>
                    <a:lnTo>
                      <a:pt x="1179" y="1373"/>
                    </a:lnTo>
                    <a:lnTo>
                      <a:pt x="1179" y="1371"/>
                    </a:lnTo>
                    <a:lnTo>
                      <a:pt x="1178" y="1371"/>
                    </a:lnTo>
                    <a:lnTo>
                      <a:pt x="1178" y="1369"/>
                    </a:lnTo>
                    <a:lnTo>
                      <a:pt x="1179" y="1369"/>
                    </a:lnTo>
                    <a:lnTo>
                      <a:pt x="1181" y="1369"/>
                    </a:lnTo>
                    <a:lnTo>
                      <a:pt x="1179" y="1369"/>
                    </a:lnTo>
                    <a:lnTo>
                      <a:pt x="1178" y="1369"/>
                    </a:lnTo>
                    <a:lnTo>
                      <a:pt x="1178" y="1367"/>
                    </a:lnTo>
                    <a:lnTo>
                      <a:pt x="1178" y="1366"/>
                    </a:lnTo>
                    <a:lnTo>
                      <a:pt x="1178" y="1367"/>
                    </a:lnTo>
                    <a:lnTo>
                      <a:pt x="1176" y="1367"/>
                    </a:lnTo>
                    <a:lnTo>
                      <a:pt x="1174" y="1367"/>
                    </a:lnTo>
                    <a:lnTo>
                      <a:pt x="1176" y="1366"/>
                    </a:lnTo>
                    <a:lnTo>
                      <a:pt x="1176" y="1364"/>
                    </a:lnTo>
                    <a:lnTo>
                      <a:pt x="1178" y="1364"/>
                    </a:lnTo>
                    <a:lnTo>
                      <a:pt x="1176" y="1364"/>
                    </a:lnTo>
                    <a:lnTo>
                      <a:pt x="1176" y="1366"/>
                    </a:lnTo>
                    <a:lnTo>
                      <a:pt x="1174" y="1366"/>
                    </a:lnTo>
                    <a:lnTo>
                      <a:pt x="1173" y="1366"/>
                    </a:lnTo>
                    <a:lnTo>
                      <a:pt x="1173" y="1364"/>
                    </a:lnTo>
                    <a:lnTo>
                      <a:pt x="1173" y="1362"/>
                    </a:lnTo>
                    <a:lnTo>
                      <a:pt x="1174" y="1362"/>
                    </a:lnTo>
                    <a:lnTo>
                      <a:pt x="1174" y="1361"/>
                    </a:lnTo>
                    <a:lnTo>
                      <a:pt x="1176" y="1361"/>
                    </a:lnTo>
                    <a:lnTo>
                      <a:pt x="1178" y="1359"/>
                    </a:lnTo>
                    <a:lnTo>
                      <a:pt x="1179" y="1361"/>
                    </a:lnTo>
                    <a:lnTo>
                      <a:pt x="1178" y="1362"/>
                    </a:lnTo>
                    <a:lnTo>
                      <a:pt x="1179" y="1362"/>
                    </a:lnTo>
                    <a:lnTo>
                      <a:pt x="1179" y="1361"/>
                    </a:lnTo>
                    <a:lnTo>
                      <a:pt x="1178" y="1359"/>
                    </a:lnTo>
                    <a:lnTo>
                      <a:pt x="1179" y="1359"/>
                    </a:lnTo>
                    <a:lnTo>
                      <a:pt x="1178" y="1359"/>
                    </a:lnTo>
                    <a:lnTo>
                      <a:pt x="1179" y="1359"/>
                    </a:lnTo>
                    <a:lnTo>
                      <a:pt x="1181" y="1359"/>
                    </a:lnTo>
                    <a:lnTo>
                      <a:pt x="1181" y="1361"/>
                    </a:lnTo>
                    <a:lnTo>
                      <a:pt x="1181" y="1359"/>
                    </a:lnTo>
                    <a:lnTo>
                      <a:pt x="1183" y="1359"/>
                    </a:lnTo>
                    <a:lnTo>
                      <a:pt x="1183" y="1361"/>
                    </a:lnTo>
                    <a:lnTo>
                      <a:pt x="1183" y="1359"/>
                    </a:lnTo>
                    <a:lnTo>
                      <a:pt x="1181" y="1359"/>
                    </a:lnTo>
                    <a:lnTo>
                      <a:pt x="1179" y="1357"/>
                    </a:lnTo>
                    <a:lnTo>
                      <a:pt x="1179" y="1359"/>
                    </a:lnTo>
                    <a:lnTo>
                      <a:pt x="1178" y="1359"/>
                    </a:lnTo>
                    <a:lnTo>
                      <a:pt x="1176" y="1359"/>
                    </a:lnTo>
                    <a:lnTo>
                      <a:pt x="1176" y="1361"/>
                    </a:lnTo>
                    <a:lnTo>
                      <a:pt x="1176" y="1359"/>
                    </a:lnTo>
                    <a:lnTo>
                      <a:pt x="1178" y="1359"/>
                    </a:lnTo>
                    <a:lnTo>
                      <a:pt x="1178" y="1357"/>
                    </a:lnTo>
                    <a:lnTo>
                      <a:pt x="1179" y="1357"/>
                    </a:lnTo>
                    <a:lnTo>
                      <a:pt x="1181" y="1356"/>
                    </a:lnTo>
                    <a:lnTo>
                      <a:pt x="1183" y="1357"/>
                    </a:lnTo>
                    <a:lnTo>
                      <a:pt x="1185" y="1357"/>
                    </a:lnTo>
                    <a:lnTo>
                      <a:pt x="1185" y="1359"/>
                    </a:lnTo>
                    <a:lnTo>
                      <a:pt x="1183" y="1359"/>
                    </a:lnTo>
                    <a:lnTo>
                      <a:pt x="1185" y="1359"/>
                    </a:lnTo>
                    <a:lnTo>
                      <a:pt x="1185" y="1361"/>
                    </a:lnTo>
                    <a:lnTo>
                      <a:pt x="1185" y="1359"/>
                    </a:lnTo>
                    <a:lnTo>
                      <a:pt x="1186" y="1359"/>
                    </a:lnTo>
                    <a:lnTo>
                      <a:pt x="1186" y="1361"/>
                    </a:lnTo>
                    <a:lnTo>
                      <a:pt x="1188" y="1361"/>
                    </a:lnTo>
                    <a:lnTo>
                      <a:pt x="1188" y="1362"/>
                    </a:lnTo>
                    <a:lnTo>
                      <a:pt x="1186" y="1362"/>
                    </a:lnTo>
                    <a:lnTo>
                      <a:pt x="1186" y="1364"/>
                    </a:lnTo>
                    <a:lnTo>
                      <a:pt x="1185" y="1364"/>
                    </a:lnTo>
                    <a:lnTo>
                      <a:pt x="1186" y="1364"/>
                    </a:lnTo>
                    <a:lnTo>
                      <a:pt x="1188" y="1362"/>
                    </a:lnTo>
                    <a:lnTo>
                      <a:pt x="1188" y="1364"/>
                    </a:lnTo>
                    <a:lnTo>
                      <a:pt x="1188" y="1366"/>
                    </a:lnTo>
                    <a:lnTo>
                      <a:pt x="1190" y="1366"/>
                    </a:lnTo>
                    <a:lnTo>
                      <a:pt x="1190" y="1367"/>
                    </a:lnTo>
                    <a:lnTo>
                      <a:pt x="1191" y="1369"/>
                    </a:lnTo>
                    <a:lnTo>
                      <a:pt x="1191" y="1367"/>
                    </a:lnTo>
                    <a:lnTo>
                      <a:pt x="1193" y="1366"/>
                    </a:lnTo>
                    <a:lnTo>
                      <a:pt x="1193" y="1367"/>
                    </a:lnTo>
                    <a:lnTo>
                      <a:pt x="1193" y="1366"/>
                    </a:lnTo>
                    <a:lnTo>
                      <a:pt x="1195" y="1367"/>
                    </a:lnTo>
                    <a:lnTo>
                      <a:pt x="1196" y="1367"/>
                    </a:lnTo>
                    <a:lnTo>
                      <a:pt x="1196" y="1369"/>
                    </a:lnTo>
                    <a:lnTo>
                      <a:pt x="1198" y="1369"/>
                    </a:lnTo>
                    <a:lnTo>
                      <a:pt x="1196" y="1367"/>
                    </a:lnTo>
                    <a:lnTo>
                      <a:pt x="1195" y="1367"/>
                    </a:lnTo>
                    <a:lnTo>
                      <a:pt x="1195" y="1366"/>
                    </a:lnTo>
                    <a:lnTo>
                      <a:pt x="1196" y="1366"/>
                    </a:lnTo>
                    <a:lnTo>
                      <a:pt x="1195" y="1366"/>
                    </a:lnTo>
                    <a:lnTo>
                      <a:pt x="1195" y="1364"/>
                    </a:lnTo>
                    <a:lnTo>
                      <a:pt x="1193" y="1364"/>
                    </a:lnTo>
                    <a:lnTo>
                      <a:pt x="1193" y="1366"/>
                    </a:lnTo>
                    <a:lnTo>
                      <a:pt x="1191" y="1366"/>
                    </a:lnTo>
                    <a:lnTo>
                      <a:pt x="1191" y="1364"/>
                    </a:lnTo>
                    <a:lnTo>
                      <a:pt x="1190" y="1364"/>
                    </a:lnTo>
                    <a:lnTo>
                      <a:pt x="1190" y="1362"/>
                    </a:lnTo>
                    <a:lnTo>
                      <a:pt x="1190" y="1361"/>
                    </a:lnTo>
                    <a:lnTo>
                      <a:pt x="1188" y="1361"/>
                    </a:lnTo>
                    <a:lnTo>
                      <a:pt x="1188" y="1359"/>
                    </a:lnTo>
                    <a:lnTo>
                      <a:pt x="1186" y="1359"/>
                    </a:lnTo>
                    <a:lnTo>
                      <a:pt x="1186" y="1357"/>
                    </a:lnTo>
                    <a:lnTo>
                      <a:pt x="1186" y="1356"/>
                    </a:lnTo>
                    <a:lnTo>
                      <a:pt x="1185" y="1356"/>
                    </a:lnTo>
                    <a:lnTo>
                      <a:pt x="1185" y="1354"/>
                    </a:lnTo>
                    <a:lnTo>
                      <a:pt x="1185" y="1352"/>
                    </a:lnTo>
                    <a:lnTo>
                      <a:pt x="1186" y="1350"/>
                    </a:lnTo>
                    <a:lnTo>
                      <a:pt x="1186" y="1352"/>
                    </a:lnTo>
                    <a:lnTo>
                      <a:pt x="1186" y="1354"/>
                    </a:lnTo>
                    <a:lnTo>
                      <a:pt x="1186" y="1352"/>
                    </a:lnTo>
                    <a:lnTo>
                      <a:pt x="1188" y="1352"/>
                    </a:lnTo>
                    <a:lnTo>
                      <a:pt x="1190" y="1352"/>
                    </a:lnTo>
                    <a:lnTo>
                      <a:pt x="1190" y="1354"/>
                    </a:lnTo>
                    <a:lnTo>
                      <a:pt x="1191" y="1354"/>
                    </a:lnTo>
                    <a:lnTo>
                      <a:pt x="1193" y="1356"/>
                    </a:lnTo>
                    <a:lnTo>
                      <a:pt x="1193" y="1354"/>
                    </a:lnTo>
                    <a:lnTo>
                      <a:pt x="1195" y="1356"/>
                    </a:lnTo>
                    <a:lnTo>
                      <a:pt x="1195" y="1357"/>
                    </a:lnTo>
                    <a:lnTo>
                      <a:pt x="1195" y="1356"/>
                    </a:lnTo>
                    <a:lnTo>
                      <a:pt x="1195" y="1357"/>
                    </a:lnTo>
                    <a:lnTo>
                      <a:pt x="1196" y="1356"/>
                    </a:lnTo>
                    <a:lnTo>
                      <a:pt x="1196" y="1354"/>
                    </a:lnTo>
                    <a:lnTo>
                      <a:pt x="1196" y="1352"/>
                    </a:lnTo>
                    <a:lnTo>
                      <a:pt x="1198" y="1352"/>
                    </a:lnTo>
                    <a:lnTo>
                      <a:pt x="1198" y="1350"/>
                    </a:lnTo>
                    <a:lnTo>
                      <a:pt x="1200" y="1350"/>
                    </a:lnTo>
                    <a:lnTo>
                      <a:pt x="1202" y="1350"/>
                    </a:lnTo>
                    <a:lnTo>
                      <a:pt x="1200" y="1350"/>
                    </a:lnTo>
                    <a:lnTo>
                      <a:pt x="1200" y="1349"/>
                    </a:lnTo>
                    <a:lnTo>
                      <a:pt x="1200" y="1347"/>
                    </a:lnTo>
                    <a:lnTo>
                      <a:pt x="1202" y="1347"/>
                    </a:lnTo>
                    <a:lnTo>
                      <a:pt x="1202" y="1345"/>
                    </a:lnTo>
                    <a:lnTo>
                      <a:pt x="1203" y="1345"/>
                    </a:lnTo>
                    <a:lnTo>
                      <a:pt x="1202" y="1345"/>
                    </a:lnTo>
                    <a:lnTo>
                      <a:pt x="1202" y="1347"/>
                    </a:lnTo>
                    <a:lnTo>
                      <a:pt x="1200" y="1347"/>
                    </a:lnTo>
                    <a:lnTo>
                      <a:pt x="1200" y="1349"/>
                    </a:lnTo>
                    <a:lnTo>
                      <a:pt x="1200" y="1350"/>
                    </a:lnTo>
                    <a:lnTo>
                      <a:pt x="1198" y="1350"/>
                    </a:lnTo>
                    <a:lnTo>
                      <a:pt x="1196" y="1350"/>
                    </a:lnTo>
                    <a:lnTo>
                      <a:pt x="1196" y="1352"/>
                    </a:lnTo>
                    <a:lnTo>
                      <a:pt x="1195" y="1354"/>
                    </a:lnTo>
                    <a:lnTo>
                      <a:pt x="1193" y="1352"/>
                    </a:lnTo>
                    <a:lnTo>
                      <a:pt x="1191" y="1350"/>
                    </a:lnTo>
                    <a:lnTo>
                      <a:pt x="1191" y="1349"/>
                    </a:lnTo>
                    <a:lnTo>
                      <a:pt x="1190" y="1350"/>
                    </a:lnTo>
                    <a:lnTo>
                      <a:pt x="1190" y="1349"/>
                    </a:lnTo>
                    <a:lnTo>
                      <a:pt x="1190" y="1350"/>
                    </a:lnTo>
                    <a:lnTo>
                      <a:pt x="1188" y="1350"/>
                    </a:lnTo>
                    <a:lnTo>
                      <a:pt x="1190" y="1350"/>
                    </a:lnTo>
                    <a:lnTo>
                      <a:pt x="1188" y="1349"/>
                    </a:lnTo>
                    <a:lnTo>
                      <a:pt x="1186" y="1350"/>
                    </a:lnTo>
                    <a:lnTo>
                      <a:pt x="1186" y="1349"/>
                    </a:lnTo>
                    <a:lnTo>
                      <a:pt x="1185" y="1349"/>
                    </a:lnTo>
                    <a:lnTo>
                      <a:pt x="1186" y="1347"/>
                    </a:lnTo>
                    <a:lnTo>
                      <a:pt x="1185" y="1347"/>
                    </a:lnTo>
                    <a:lnTo>
                      <a:pt x="1185" y="1345"/>
                    </a:lnTo>
                    <a:lnTo>
                      <a:pt x="1185" y="1344"/>
                    </a:lnTo>
                    <a:lnTo>
                      <a:pt x="1186" y="1344"/>
                    </a:lnTo>
                    <a:lnTo>
                      <a:pt x="1188" y="1344"/>
                    </a:lnTo>
                    <a:lnTo>
                      <a:pt x="1188" y="1342"/>
                    </a:lnTo>
                    <a:lnTo>
                      <a:pt x="1190" y="1342"/>
                    </a:lnTo>
                    <a:lnTo>
                      <a:pt x="1191" y="1342"/>
                    </a:lnTo>
                    <a:lnTo>
                      <a:pt x="1193" y="1342"/>
                    </a:lnTo>
                    <a:lnTo>
                      <a:pt x="1195" y="1340"/>
                    </a:lnTo>
                    <a:lnTo>
                      <a:pt x="1195" y="1342"/>
                    </a:lnTo>
                    <a:lnTo>
                      <a:pt x="1195" y="1340"/>
                    </a:lnTo>
                    <a:lnTo>
                      <a:pt x="1193" y="1340"/>
                    </a:lnTo>
                    <a:lnTo>
                      <a:pt x="1191" y="1340"/>
                    </a:lnTo>
                    <a:lnTo>
                      <a:pt x="1190" y="1340"/>
                    </a:lnTo>
                    <a:lnTo>
                      <a:pt x="1188" y="1340"/>
                    </a:lnTo>
                    <a:lnTo>
                      <a:pt x="1188" y="1342"/>
                    </a:lnTo>
                    <a:lnTo>
                      <a:pt x="1186" y="1342"/>
                    </a:lnTo>
                    <a:lnTo>
                      <a:pt x="1186" y="1340"/>
                    </a:lnTo>
                    <a:lnTo>
                      <a:pt x="1186" y="1339"/>
                    </a:lnTo>
                    <a:lnTo>
                      <a:pt x="1186" y="1337"/>
                    </a:lnTo>
                    <a:lnTo>
                      <a:pt x="1186" y="1335"/>
                    </a:lnTo>
                    <a:lnTo>
                      <a:pt x="1188" y="1333"/>
                    </a:lnTo>
                    <a:lnTo>
                      <a:pt x="1188" y="1335"/>
                    </a:lnTo>
                    <a:lnTo>
                      <a:pt x="1188" y="1333"/>
                    </a:lnTo>
                    <a:lnTo>
                      <a:pt x="1190" y="1332"/>
                    </a:lnTo>
                    <a:lnTo>
                      <a:pt x="1191" y="1332"/>
                    </a:lnTo>
                    <a:lnTo>
                      <a:pt x="1191" y="1333"/>
                    </a:lnTo>
                    <a:lnTo>
                      <a:pt x="1191" y="1332"/>
                    </a:lnTo>
                    <a:lnTo>
                      <a:pt x="1193" y="1332"/>
                    </a:lnTo>
                    <a:lnTo>
                      <a:pt x="1193" y="1330"/>
                    </a:lnTo>
                    <a:lnTo>
                      <a:pt x="1195" y="1330"/>
                    </a:lnTo>
                    <a:lnTo>
                      <a:pt x="1196" y="1332"/>
                    </a:lnTo>
                    <a:lnTo>
                      <a:pt x="1196" y="1333"/>
                    </a:lnTo>
                    <a:lnTo>
                      <a:pt x="1196" y="1335"/>
                    </a:lnTo>
                    <a:lnTo>
                      <a:pt x="1195" y="1335"/>
                    </a:lnTo>
                    <a:lnTo>
                      <a:pt x="1195" y="1337"/>
                    </a:lnTo>
                    <a:lnTo>
                      <a:pt x="1196" y="1335"/>
                    </a:lnTo>
                    <a:lnTo>
                      <a:pt x="1196" y="1333"/>
                    </a:lnTo>
                    <a:lnTo>
                      <a:pt x="1198" y="1332"/>
                    </a:lnTo>
                    <a:lnTo>
                      <a:pt x="1200" y="1332"/>
                    </a:lnTo>
                    <a:lnTo>
                      <a:pt x="1200" y="1333"/>
                    </a:lnTo>
                    <a:lnTo>
                      <a:pt x="1200" y="1335"/>
                    </a:lnTo>
                    <a:lnTo>
                      <a:pt x="1202" y="1335"/>
                    </a:lnTo>
                    <a:lnTo>
                      <a:pt x="1202" y="1337"/>
                    </a:lnTo>
                    <a:lnTo>
                      <a:pt x="1203" y="1337"/>
                    </a:lnTo>
                    <a:lnTo>
                      <a:pt x="1203" y="1339"/>
                    </a:lnTo>
                    <a:lnTo>
                      <a:pt x="1203" y="1340"/>
                    </a:lnTo>
                    <a:lnTo>
                      <a:pt x="1203" y="1339"/>
                    </a:lnTo>
                    <a:lnTo>
                      <a:pt x="1205" y="1339"/>
                    </a:lnTo>
                    <a:lnTo>
                      <a:pt x="1203" y="1339"/>
                    </a:lnTo>
                    <a:lnTo>
                      <a:pt x="1203" y="1337"/>
                    </a:lnTo>
                    <a:lnTo>
                      <a:pt x="1205" y="1337"/>
                    </a:lnTo>
                    <a:lnTo>
                      <a:pt x="1205" y="1339"/>
                    </a:lnTo>
                    <a:lnTo>
                      <a:pt x="1205" y="1340"/>
                    </a:lnTo>
                    <a:lnTo>
                      <a:pt x="1207" y="1340"/>
                    </a:lnTo>
                    <a:lnTo>
                      <a:pt x="1207" y="1342"/>
                    </a:lnTo>
                    <a:lnTo>
                      <a:pt x="1207" y="1340"/>
                    </a:lnTo>
                    <a:lnTo>
                      <a:pt x="1208" y="1340"/>
                    </a:lnTo>
                    <a:lnTo>
                      <a:pt x="1207" y="1340"/>
                    </a:lnTo>
                    <a:lnTo>
                      <a:pt x="1207" y="1339"/>
                    </a:lnTo>
                    <a:lnTo>
                      <a:pt x="1205" y="1339"/>
                    </a:lnTo>
                    <a:lnTo>
                      <a:pt x="1205" y="1337"/>
                    </a:lnTo>
                    <a:lnTo>
                      <a:pt x="1203" y="1335"/>
                    </a:lnTo>
                    <a:lnTo>
                      <a:pt x="1202" y="1335"/>
                    </a:lnTo>
                    <a:lnTo>
                      <a:pt x="1202" y="1333"/>
                    </a:lnTo>
                    <a:lnTo>
                      <a:pt x="1202" y="1332"/>
                    </a:lnTo>
                    <a:lnTo>
                      <a:pt x="1202" y="1330"/>
                    </a:lnTo>
                    <a:lnTo>
                      <a:pt x="1200" y="1330"/>
                    </a:lnTo>
                    <a:lnTo>
                      <a:pt x="1198" y="1330"/>
                    </a:lnTo>
                    <a:lnTo>
                      <a:pt x="1196" y="1330"/>
                    </a:lnTo>
                    <a:lnTo>
                      <a:pt x="1195" y="1328"/>
                    </a:lnTo>
                    <a:lnTo>
                      <a:pt x="1195" y="1330"/>
                    </a:lnTo>
                    <a:lnTo>
                      <a:pt x="1193" y="1328"/>
                    </a:lnTo>
                    <a:lnTo>
                      <a:pt x="1193" y="1327"/>
                    </a:lnTo>
                    <a:lnTo>
                      <a:pt x="1195" y="1327"/>
                    </a:lnTo>
                    <a:lnTo>
                      <a:pt x="1195" y="1325"/>
                    </a:lnTo>
                    <a:lnTo>
                      <a:pt x="1193" y="1325"/>
                    </a:lnTo>
                    <a:lnTo>
                      <a:pt x="1193" y="1323"/>
                    </a:lnTo>
                    <a:lnTo>
                      <a:pt x="1195" y="1323"/>
                    </a:lnTo>
                    <a:lnTo>
                      <a:pt x="1195" y="1322"/>
                    </a:lnTo>
                    <a:lnTo>
                      <a:pt x="1195" y="1320"/>
                    </a:lnTo>
                    <a:lnTo>
                      <a:pt x="1195" y="1318"/>
                    </a:lnTo>
                    <a:lnTo>
                      <a:pt x="1195" y="1316"/>
                    </a:lnTo>
                    <a:lnTo>
                      <a:pt x="1196" y="1316"/>
                    </a:lnTo>
                    <a:lnTo>
                      <a:pt x="1198" y="1316"/>
                    </a:lnTo>
                    <a:lnTo>
                      <a:pt x="1198" y="1318"/>
                    </a:lnTo>
                    <a:lnTo>
                      <a:pt x="1198" y="1320"/>
                    </a:lnTo>
                    <a:lnTo>
                      <a:pt x="1200" y="1320"/>
                    </a:lnTo>
                    <a:lnTo>
                      <a:pt x="1202" y="1320"/>
                    </a:lnTo>
                    <a:lnTo>
                      <a:pt x="1203" y="1320"/>
                    </a:lnTo>
                    <a:lnTo>
                      <a:pt x="1203" y="1322"/>
                    </a:lnTo>
                    <a:lnTo>
                      <a:pt x="1203" y="1323"/>
                    </a:lnTo>
                    <a:lnTo>
                      <a:pt x="1205" y="1323"/>
                    </a:lnTo>
                    <a:lnTo>
                      <a:pt x="1203" y="1323"/>
                    </a:lnTo>
                    <a:lnTo>
                      <a:pt x="1203" y="1322"/>
                    </a:lnTo>
                    <a:lnTo>
                      <a:pt x="1203" y="1320"/>
                    </a:lnTo>
                    <a:lnTo>
                      <a:pt x="1203" y="1322"/>
                    </a:lnTo>
                    <a:lnTo>
                      <a:pt x="1203" y="1320"/>
                    </a:lnTo>
                    <a:lnTo>
                      <a:pt x="1202" y="1320"/>
                    </a:lnTo>
                    <a:lnTo>
                      <a:pt x="1200" y="1320"/>
                    </a:lnTo>
                    <a:lnTo>
                      <a:pt x="1200" y="1318"/>
                    </a:lnTo>
                    <a:lnTo>
                      <a:pt x="1200" y="1316"/>
                    </a:lnTo>
                    <a:lnTo>
                      <a:pt x="1198" y="1316"/>
                    </a:lnTo>
                    <a:lnTo>
                      <a:pt x="1200" y="1318"/>
                    </a:lnTo>
                    <a:lnTo>
                      <a:pt x="1198" y="1318"/>
                    </a:lnTo>
                    <a:lnTo>
                      <a:pt x="1198" y="1316"/>
                    </a:lnTo>
                    <a:lnTo>
                      <a:pt x="1198" y="1315"/>
                    </a:lnTo>
                    <a:lnTo>
                      <a:pt x="1196" y="1315"/>
                    </a:lnTo>
                    <a:lnTo>
                      <a:pt x="1196" y="1313"/>
                    </a:lnTo>
                    <a:lnTo>
                      <a:pt x="1195" y="1313"/>
                    </a:lnTo>
                    <a:lnTo>
                      <a:pt x="1195" y="1315"/>
                    </a:lnTo>
                    <a:lnTo>
                      <a:pt x="1193" y="1315"/>
                    </a:lnTo>
                    <a:lnTo>
                      <a:pt x="1193" y="1313"/>
                    </a:lnTo>
                    <a:lnTo>
                      <a:pt x="1191" y="1313"/>
                    </a:lnTo>
                    <a:lnTo>
                      <a:pt x="1193" y="1315"/>
                    </a:lnTo>
                    <a:lnTo>
                      <a:pt x="1193" y="1316"/>
                    </a:lnTo>
                    <a:lnTo>
                      <a:pt x="1193" y="1318"/>
                    </a:lnTo>
                    <a:lnTo>
                      <a:pt x="1193" y="1320"/>
                    </a:lnTo>
                    <a:lnTo>
                      <a:pt x="1193" y="1322"/>
                    </a:lnTo>
                    <a:lnTo>
                      <a:pt x="1191" y="1322"/>
                    </a:lnTo>
                    <a:lnTo>
                      <a:pt x="1191" y="1323"/>
                    </a:lnTo>
                    <a:lnTo>
                      <a:pt x="1191" y="1325"/>
                    </a:lnTo>
                    <a:lnTo>
                      <a:pt x="1191" y="1327"/>
                    </a:lnTo>
                    <a:lnTo>
                      <a:pt x="1191" y="1328"/>
                    </a:lnTo>
                    <a:lnTo>
                      <a:pt x="1191" y="1330"/>
                    </a:lnTo>
                    <a:lnTo>
                      <a:pt x="1190" y="1330"/>
                    </a:lnTo>
                    <a:lnTo>
                      <a:pt x="1188" y="1330"/>
                    </a:lnTo>
                    <a:lnTo>
                      <a:pt x="1188" y="1328"/>
                    </a:lnTo>
                    <a:lnTo>
                      <a:pt x="1186" y="1327"/>
                    </a:lnTo>
                    <a:lnTo>
                      <a:pt x="1186" y="1325"/>
                    </a:lnTo>
                    <a:lnTo>
                      <a:pt x="1186" y="1323"/>
                    </a:lnTo>
                    <a:lnTo>
                      <a:pt x="1186" y="1325"/>
                    </a:lnTo>
                    <a:lnTo>
                      <a:pt x="1185" y="1325"/>
                    </a:lnTo>
                    <a:lnTo>
                      <a:pt x="1185" y="1323"/>
                    </a:lnTo>
                    <a:lnTo>
                      <a:pt x="1183" y="1323"/>
                    </a:lnTo>
                    <a:lnTo>
                      <a:pt x="1183" y="1322"/>
                    </a:lnTo>
                    <a:lnTo>
                      <a:pt x="1183" y="1323"/>
                    </a:lnTo>
                    <a:lnTo>
                      <a:pt x="1183" y="1322"/>
                    </a:lnTo>
                    <a:lnTo>
                      <a:pt x="1183" y="1320"/>
                    </a:lnTo>
                    <a:lnTo>
                      <a:pt x="1185" y="1320"/>
                    </a:lnTo>
                    <a:lnTo>
                      <a:pt x="1185" y="1318"/>
                    </a:lnTo>
                    <a:lnTo>
                      <a:pt x="1185" y="1316"/>
                    </a:lnTo>
                    <a:lnTo>
                      <a:pt x="1185" y="1315"/>
                    </a:lnTo>
                    <a:lnTo>
                      <a:pt x="1185" y="1313"/>
                    </a:lnTo>
                    <a:lnTo>
                      <a:pt x="1185" y="1311"/>
                    </a:lnTo>
                    <a:lnTo>
                      <a:pt x="1186" y="1311"/>
                    </a:lnTo>
                    <a:lnTo>
                      <a:pt x="1185" y="1311"/>
                    </a:lnTo>
                    <a:lnTo>
                      <a:pt x="1185" y="1310"/>
                    </a:lnTo>
                    <a:lnTo>
                      <a:pt x="1185" y="1308"/>
                    </a:lnTo>
                    <a:lnTo>
                      <a:pt x="1185" y="1306"/>
                    </a:lnTo>
                    <a:lnTo>
                      <a:pt x="1185" y="1305"/>
                    </a:lnTo>
                    <a:lnTo>
                      <a:pt x="1183" y="1306"/>
                    </a:lnTo>
                    <a:lnTo>
                      <a:pt x="1183" y="1308"/>
                    </a:lnTo>
                    <a:lnTo>
                      <a:pt x="1183" y="1306"/>
                    </a:lnTo>
                    <a:lnTo>
                      <a:pt x="1183" y="1305"/>
                    </a:lnTo>
                    <a:lnTo>
                      <a:pt x="1181" y="1303"/>
                    </a:lnTo>
                    <a:lnTo>
                      <a:pt x="1183" y="1303"/>
                    </a:lnTo>
                    <a:lnTo>
                      <a:pt x="1183" y="1301"/>
                    </a:lnTo>
                    <a:lnTo>
                      <a:pt x="1183" y="1303"/>
                    </a:lnTo>
                    <a:lnTo>
                      <a:pt x="1185" y="1301"/>
                    </a:lnTo>
                    <a:lnTo>
                      <a:pt x="1185" y="1299"/>
                    </a:lnTo>
                    <a:lnTo>
                      <a:pt x="1183" y="1299"/>
                    </a:lnTo>
                    <a:lnTo>
                      <a:pt x="1183" y="1298"/>
                    </a:lnTo>
                    <a:lnTo>
                      <a:pt x="1185" y="1299"/>
                    </a:lnTo>
                    <a:lnTo>
                      <a:pt x="1185" y="1298"/>
                    </a:lnTo>
                    <a:lnTo>
                      <a:pt x="1186" y="1299"/>
                    </a:lnTo>
                    <a:lnTo>
                      <a:pt x="1185" y="1298"/>
                    </a:lnTo>
                    <a:lnTo>
                      <a:pt x="1183" y="1298"/>
                    </a:lnTo>
                    <a:lnTo>
                      <a:pt x="1183" y="1296"/>
                    </a:lnTo>
                    <a:lnTo>
                      <a:pt x="1185" y="1296"/>
                    </a:lnTo>
                    <a:lnTo>
                      <a:pt x="1183" y="1296"/>
                    </a:lnTo>
                    <a:lnTo>
                      <a:pt x="1183" y="1294"/>
                    </a:lnTo>
                    <a:lnTo>
                      <a:pt x="1183" y="1293"/>
                    </a:lnTo>
                    <a:lnTo>
                      <a:pt x="1183" y="1291"/>
                    </a:lnTo>
                    <a:lnTo>
                      <a:pt x="1185" y="1291"/>
                    </a:lnTo>
                    <a:lnTo>
                      <a:pt x="1185" y="1289"/>
                    </a:lnTo>
                    <a:lnTo>
                      <a:pt x="1185" y="1288"/>
                    </a:lnTo>
                    <a:lnTo>
                      <a:pt x="1186" y="1288"/>
                    </a:lnTo>
                    <a:lnTo>
                      <a:pt x="1186" y="1289"/>
                    </a:lnTo>
                    <a:lnTo>
                      <a:pt x="1186" y="1288"/>
                    </a:lnTo>
                    <a:lnTo>
                      <a:pt x="1186" y="1289"/>
                    </a:lnTo>
                    <a:lnTo>
                      <a:pt x="1188" y="1289"/>
                    </a:lnTo>
                    <a:lnTo>
                      <a:pt x="1190" y="1289"/>
                    </a:lnTo>
                    <a:lnTo>
                      <a:pt x="1190" y="1288"/>
                    </a:lnTo>
                    <a:lnTo>
                      <a:pt x="1191" y="1288"/>
                    </a:lnTo>
                    <a:lnTo>
                      <a:pt x="1193" y="1288"/>
                    </a:lnTo>
                    <a:lnTo>
                      <a:pt x="1195" y="1289"/>
                    </a:lnTo>
                    <a:lnTo>
                      <a:pt x="1196" y="1288"/>
                    </a:lnTo>
                    <a:lnTo>
                      <a:pt x="1196" y="1289"/>
                    </a:lnTo>
                    <a:lnTo>
                      <a:pt x="1198" y="1288"/>
                    </a:lnTo>
                    <a:lnTo>
                      <a:pt x="1196" y="1288"/>
                    </a:lnTo>
                    <a:lnTo>
                      <a:pt x="1195" y="1288"/>
                    </a:lnTo>
                    <a:lnTo>
                      <a:pt x="1193" y="1288"/>
                    </a:lnTo>
                    <a:lnTo>
                      <a:pt x="1191" y="1286"/>
                    </a:lnTo>
                    <a:lnTo>
                      <a:pt x="1190" y="1288"/>
                    </a:lnTo>
                    <a:lnTo>
                      <a:pt x="1188" y="1288"/>
                    </a:lnTo>
                    <a:lnTo>
                      <a:pt x="1186" y="1288"/>
                    </a:lnTo>
                    <a:lnTo>
                      <a:pt x="1188" y="1286"/>
                    </a:lnTo>
                    <a:lnTo>
                      <a:pt x="1190" y="1286"/>
                    </a:lnTo>
                    <a:lnTo>
                      <a:pt x="1190" y="1284"/>
                    </a:lnTo>
                    <a:lnTo>
                      <a:pt x="1190" y="1286"/>
                    </a:lnTo>
                    <a:lnTo>
                      <a:pt x="1188" y="1286"/>
                    </a:lnTo>
                    <a:lnTo>
                      <a:pt x="1188" y="1284"/>
                    </a:lnTo>
                    <a:lnTo>
                      <a:pt x="1188" y="1286"/>
                    </a:lnTo>
                    <a:lnTo>
                      <a:pt x="1186" y="1286"/>
                    </a:lnTo>
                    <a:lnTo>
                      <a:pt x="1186" y="1284"/>
                    </a:lnTo>
                    <a:lnTo>
                      <a:pt x="1185" y="1286"/>
                    </a:lnTo>
                    <a:lnTo>
                      <a:pt x="1185" y="1284"/>
                    </a:lnTo>
                    <a:lnTo>
                      <a:pt x="1186" y="1284"/>
                    </a:lnTo>
                    <a:lnTo>
                      <a:pt x="1185" y="1282"/>
                    </a:lnTo>
                    <a:lnTo>
                      <a:pt x="1185" y="1281"/>
                    </a:lnTo>
                    <a:lnTo>
                      <a:pt x="1186" y="1281"/>
                    </a:lnTo>
                    <a:lnTo>
                      <a:pt x="1186" y="1279"/>
                    </a:lnTo>
                    <a:lnTo>
                      <a:pt x="1188" y="1279"/>
                    </a:lnTo>
                    <a:lnTo>
                      <a:pt x="1188" y="1277"/>
                    </a:lnTo>
                    <a:lnTo>
                      <a:pt x="1190" y="1279"/>
                    </a:lnTo>
                    <a:lnTo>
                      <a:pt x="1188" y="1277"/>
                    </a:lnTo>
                    <a:lnTo>
                      <a:pt x="1190" y="1277"/>
                    </a:lnTo>
                    <a:lnTo>
                      <a:pt x="1190" y="1276"/>
                    </a:lnTo>
                    <a:lnTo>
                      <a:pt x="1191" y="1276"/>
                    </a:lnTo>
                    <a:lnTo>
                      <a:pt x="1193" y="1276"/>
                    </a:lnTo>
                    <a:lnTo>
                      <a:pt x="1193" y="1277"/>
                    </a:lnTo>
                    <a:lnTo>
                      <a:pt x="1195" y="1277"/>
                    </a:lnTo>
                    <a:lnTo>
                      <a:pt x="1195" y="1279"/>
                    </a:lnTo>
                    <a:lnTo>
                      <a:pt x="1196" y="1279"/>
                    </a:lnTo>
                    <a:lnTo>
                      <a:pt x="1198" y="1281"/>
                    </a:lnTo>
                    <a:lnTo>
                      <a:pt x="1200" y="1282"/>
                    </a:lnTo>
                    <a:lnTo>
                      <a:pt x="1200" y="1281"/>
                    </a:lnTo>
                    <a:lnTo>
                      <a:pt x="1200" y="1279"/>
                    </a:lnTo>
                    <a:lnTo>
                      <a:pt x="1198" y="1279"/>
                    </a:lnTo>
                    <a:lnTo>
                      <a:pt x="1196" y="1279"/>
                    </a:lnTo>
                    <a:lnTo>
                      <a:pt x="1196" y="1277"/>
                    </a:lnTo>
                    <a:lnTo>
                      <a:pt x="1196" y="1276"/>
                    </a:lnTo>
                    <a:lnTo>
                      <a:pt x="1196" y="1274"/>
                    </a:lnTo>
                    <a:lnTo>
                      <a:pt x="1198" y="1272"/>
                    </a:lnTo>
                    <a:lnTo>
                      <a:pt x="1200" y="1274"/>
                    </a:lnTo>
                    <a:lnTo>
                      <a:pt x="1200" y="1272"/>
                    </a:lnTo>
                    <a:lnTo>
                      <a:pt x="1202" y="1272"/>
                    </a:lnTo>
                    <a:lnTo>
                      <a:pt x="1200" y="1272"/>
                    </a:lnTo>
                    <a:lnTo>
                      <a:pt x="1198" y="1272"/>
                    </a:lnTo>
                    <a:lnTo>
                      <a:pt x="1196" y="1272"/>
                    </a:lnTo>
                    <a:lnTo>
                      <a:pt x="1196" y="1270"/>
                    </a:lnTo>
                    <a:lnTo>
                      <a:pt x="1195" y="1270"/>
                    </a:lnTo>
                    <a:lnTo>
                      <a:pt x="1193" y="1270"/>
                    </a:lnTo>
                    <a:lnTo>
                      <a:pt x="1193" y="1269"/>
                    </a:lnTo>
                    <a:lnTo>
                      <a:pt x="1191" y="1269"/>
                    </a:lnTo>
                    <a:lnTo>
                      <a:pt x="1190" y="1269"/>
                    </a:lnTo>
                    <a:lnTo>
                      <a:pt x="1191" y="1267"/>
                    </a:lnTo>
                    <a:lnTo>
                      <a:pt x="1193" y="1267"/>
                    </a:lnTo>
                    <a:lnTo>
                      <a:pt x="1195" y="1267"/>
                    </a:lnTo>
                    <a:lnTo>
                      <a:pt x="1196" y="1267"/>
                    </a:lnTo>
                    <a:lnTo>
                      <a:pt x="1198" y="1267"/>
                    </a:lnTo>
                    <a:lnTo>
                      <a:pt x="1200" y="1267"/>
                    </a:lnTo>
                    <a:lnTo>
                      <a:pt x="1198" y="1267"/>
                    </a:lnTo>
                    <a:lnTo>
                      <a:pt x="1196" y="1267"/>
                    </a:lnTo>
                    <a:lnTo>
                      <a:pt x="1195" y="1267"/>
                    </a:lnTo>
                    <a:lnTo>
                      <a:pt x="1193" y="1267"/>
                    </a:lnTo>
                    <a:lnTo>
                      <a:pt x="1191" y="1267"/>
                    </a:lnTo>
                    <a:lnTo>
                      <a:pt x="1190" y="1267"/>
                    </a:lnTo>
                    <a:lnTo>
                      <a:pt x="1190" y="1269"/>
                    </a:lnTo>
                    <a:lnTo>
                      <a:pt x="1188" y="1269"/>
                    </a:lnTo>
                    <a:lnTo>
                      <a:pt x="1188" y="1267"/>
                    </a:lnTo>
                    <a:lnTo>
                      <a:pt x="1190" y="1267"/>
                    </a:lnTo>
                    <a:lnTo>
                      <a:pt x="1190" y="1265"/>
                    </a:lnTo>
                    <a:lnTo>
                      <a:pt x="1188" y="1264"/>
                    </a:lnTo>
                    <a:lnTo>
                      <a:pt x="1188" y="1265"/>
                    </a:lnTo>
                    <a:lnTo>
                      <a:pt x="1188" y="1264"/>
                    </a:lnTo>
                    <a:lnTo>
                      <a:pt x="1188" y="1262"/>
                    </a:lnTo>
                    <a:lnTo>
                      <a:pt x="1186" y="1262"/>
                    </a:lnTo>
                    <a:lnTo>
                      <a:pt x="1185" y="1262"/>
                    </a:lnTo>
                    <a:lnTo>
                      <a:pt x="1185" y="1260"/>
                    </a:lnTo>
                    <a:lnTo>
                      <a:pt x="1183" y="1260"/>
                    </a:lnTo>
                    <a:lnTo>
                      <a:pt x="1183" y="1259"/>
                    </a:lnTo>
                    <a:lnTo>
                      <a:pt x="1181" y="1259"/>
                    </a:lnTo>
                    <a:lnTo>
                      <a:pt x="1181" y="1257"/>
                    </a:lnTo>
                    <a:lnTo>
                      <a:pt x="1181" y="1255"/>
                    </a:lnTo>
                    <a:lnTo>
                      <a:pt x="1183" y="1255"/>
                    </a:lnTo>
                    <a:lnTo>
                      <a:pt x="1183" y="1253"/>
                    </a:lnTo>
                    <a:lnTo>
                      <a:pt x="1183" y="1255"/>
                    </a:lnTo>
                    <a:lnTo>
                      <a:pt x="1183" y="1253"/>
                    </a:lnTo>
                    <a:lnTo>
                      <a:pt x="1183" y="1252"/>
                    </a:lnTo>
                    <a:lnTo>
                      <a:pt x="1185" y="1252"/>
                    </a:lnTo>
                    <a:lnTo>
                      <a:pt x="1183" y="1252"/>
                    </a:lnTo>
                    <a:lnTo>
                      <a:pt x="1183" y="1253"/>
                    </a:lnTo>
                    <a:lnTo>
                      <a:pt x="1181" y="1253"/>
                    </a:lnTo>
                    <a:lnTo>
                      <a:pt x="1181" y="1255"/>
                    </a:lnTo>
                    <a:lnTo>
                      <a:pt x="1179" y="1255"/>
                    </a:lnTo>
                    <a:lnTo>
                      <a:pt x="1181" y="1255"/>
                    </a:lnTo>
                    <a:lnTo>
                      <a:pt x="1181" y="1253"/>
                    </a:lnTo>
                    <a:lnTo>
                      <a:pt x="1181" y="1255"/>
                    </a:lnTo>
                    <a:lnTo>
                      <a:pt x="1179" y="1255"/>
                    </a:lnTo>
                    <a:lnTo>
                      <a:pt x="1178" y="1257"/>
                    </a:lnTo>
                    <a:lnTo>
                      <a:pt x="1178" y="1255"/>
                    </a:lnTo>
                    <a:lnTo>
                      <a:pt x="1176" y="1255"/>
                    </a:lnTo>
                    <a:lnTo>
                      <a:pt x="1176" y="1253"/>
                    </a:lnTo>
                    <a:lnTo>
                      <a:pt x="1176" y="1255"/>
                    </a:lnTo>
                    <a:lnTo>
                      <a:pt x="1176" y="1253"/>
                    </a:lnTo>
                    <a:lnTo>
                      <a:pt x="1176" y="1252"/>
                    </a:lnTo>
                    <a:lnTo>
                      <a:pt x="1176" y="1250"/>
                    </a:lnTo>
                    <a:lnTo>
                      <a:pt x="1178" y="1250"/>
                    </a:lnTo>
                    <a:lnTo>
                      <a:pt x="1179" y="1248"/>
                    </a:lnTo>
                    <a:lnTo>
                      <a:pt x="1181" y="1248"/>
                    </a:lnTo>
                    <a:lnTo>
                      <a:pt x="1183" y="1250"/>
                    </a:lnTo>
                    <a:lnTo>
                      <a:pt x="1185" y="1250"/>
                    </a:lnTo>
                    <a:lnTo>
                      <a:pt x="1186" y="1252"/>
                    </a:lnTo>
                    <a:lnTo>
                      <a:pt x="1186" y="1253"/>
                    </a:lnTo>
                    <a:lnTo>
                      <a:pt x="1186" y="1252"/>
                    </a:lnTo>
                    <a:lnTo>
                      <a:pt x="1186" y="1253"/>
                    </a:lnTo>
                    <a:lnTo>
                      <a:pt x="1188" y="1255"/>
                    </a:lnTo>
                    <a:lnTo>
                      <a:pt x="1188" y="1257"/>
                    </a:lnTo>
                    <a:lnTo>
                      <a:pt x="1190" y="1259"/>
                    </a:lnTo>
                    <a:lnTo>
                      <a:pt x="1190" y="1260"/>
                    </a:lnTo>
                    <a:lnTo>
                      <a:pt x="1190" y="1262"/>
                    </a:lnTo>
                    <a:lnTo>
                      <a:pt x="1188" y="1262"/>
                    </a:lnTo>
                    <a:lnTo>
                      <a:pt x="1190" y="1262"/>
                    </a:lnTo>
                    <a:lnTo>
                      <a:pt x="1188" y="1264"/>
                    </a:lnTo>
                    <a:lnTo>
                      <a:pt x="1190" y="1264"/>
                    </a:lnTo>
                    <a:lnTo>
                      <a:pt x="1190" y="1262"/>
                    </a:lnTo>
                    <a:lnTo>
                      <a:pt x="1190" y="1260"/>
                    </a:lnTo>
                    <a:lnTo>
                      <a:pt x="1191" y="1262"/>
                    </a:lnTo>
                    <a:lnTo>
                      <a:pt x="1191" y="1264"/>
                    </a:lnTo>
                    <a:lnTo>
                      <a:pt x="1193" y="1262"/>
                    </a:lnTo>
                    <a:lnTo>
                      <a:pt x="1195" y="1262"/>
                    </a:lnTo>
                    <a:lnTo>
                      <a:pt x="1193" y="1262"/>
                    </a:lnTo>
                    <a:lnTo>
                      <a:pt x="1191" y="1264"/>
                    </a:lnTo>
                    <a:lnTo>
                      <a:pt x="1191" y="1262"/>
                    </a:lnTo>
                    <a:lnTo>
                      <a:pt x="1191" y="1260"/>
                    </a:lnTo>
                    <a:lnTo>
                      <a:pt x="1190" y="1260"/>
                    </a:lnTo>
                    <a:lnTo>
                      <a:pt x="1190" y="1259"/>
                    </a:lnTo>
                    <a:lnTo>
                      <a:pt x="1191" y="1259"/>
                    </a:lnTo>
                    <a:lnTo>
                      <a:pt x="1190" y="1259"/>
                    </a:lnTo>
                    <a:lnTo>
                      <a:pt x="1190" y="1257"/>
                    </a:lnTo>
                    <a:lnTo>
                      <a:pt x="1188" y="1255"/>
                    </a:lnTo>
                    <a:lnTo>
                      <a:pt x="1188" y="1253"/>
                    </a:lnTo>
                    <a:lnTo>
                      <a:pt x="1188" y="1252"/>
                    </a:lnTo>
                    <a:lnTo>
                      <a:pt x="1190" y="1252"/>
                    </a:lnTo>
                    <a:lnTo>
                      <a:pt x="1190" y="1250"/>
                    </a:lnTo>
                    <a:lnTo>
                      <a:pt x="1191" y="1250"/>
                    </a:lnTo>
                    <a:lnTo>
                      <a:pt x="1191" y="1252"/>
                    </a:lnTo>
                    <a:lnTo>
                      <a:pt x="1191" y="1253"/>
                    </a:lnTo>
                    <a:lnTo>
                      <a:pt x="1193" y="1253"/>
                    </a:lnTo>
                    <a:lnTo>
                      <a:pt x="1193" y="1255"/>
                    </a:lnTo>
                    <a:lnTo>
                      <a:pt x="1191" y="1253"/>
                    </a:lnTo>
                    <a:lnTo>
                      <a:pt x="1191" y="1252"/>
                    </a:lnTo>
                    <a:lnTo>
                      <a:pt x="1191" y="1250"/>
                    </a:lnTo>
                    <a:lnTo>
                      <a:pt x="1193" y="1250"/>
                    </a:lnTo>
                    <a:lnTo>
                      <a:pt x="1193" y="1252"/>
                    </a:lnTo>
                    <a:lnTo>
                      <a:pt x="1193" y="1250"/>
                    </a:lnTo>
                    <a:lnTo>
                      <a:pt x="1195" y="1250"/>
                    </a:lnTo>
                    <a:lnTo>
                      <a:pt x="1196" y="1250"/>
                    </a:lnTo>
                    <a:lnTo>
                      <a:pt x="1196" y="1252"/>
                    </a:lnTo>
                    <a:lnTo>
                      <a:pt x="1195" y="1252"/>
                    </a:lnTo>
                    <a:lnTo>
                      <a:pt x="1196" y="1252"/>
                    </a:lnTo>
                    <a:lnTo>
                      <a:pt x="1196" y="1253"/>
                    </a:lnTo>
                    <a:lnTo>
                      <a:pt x="1196" y="1252"/>
                    </a:lnTo>
                    <a:lnTo>
                      <a:pt x="1198" y="1252"/>
                    </a:lnTo>
                    <a:lnTo>
                      <a:pt x="1198" y="1253"/>
                    </a:lnTo>
                    <a:lnTo>
                      <a:pt x="1200" y="1253"/>
                    </a:lnTo>
                    <a:lnTo>
                      <a:pt x="1202" y="1252"/>
                    </a:lnTo>
                    <a:lnTo>
                      <a:pt x="1202" y="1253"/>
                    </a:lnTo>
                    <a:lnTo>
                      <a:pt x="1202" y="1252"/>
                    </a:lnTo>
                    <a:lnTo>
                      <a:pt x="1202" y="1253"/>
                    </a:lnTo>
                    <a:lnTo>
                      <a:pt x="1203" y="1253"/>
                    </a:lnTo>
                    <a:lnTo>
                      <a:pt x="1203" y="1255"/>
                    </a:lnTo>
                    <a:lnTo>
                      <a:pt x="1202" y="1255"/>
                    </a:lnTo>
                    <a:lnTo>
                      <a:pt x="1203" y="1257"/>
                    </a:lnTo>
                    <a:lnTo>
                      <a:pt x="1202" y="1257"/>
                    </a:lnTo>
                    <a:lnTo>
                      <a:pt x="1203" y="1257"/>
                    </a:lnTo>
                    <a:lnTo>
                      <a:pt x="1203" y="1255"/>
                    </a:lnTo>
                    <a:lnTo>
                      <a:pt x="1203" y="1253"/>
                    </a:lnTo>
                    <a:lnTo>
                      <a:pt x="1205" y="1253"/>
                    </a:lnTo>
                    <a:lnTo>
                      <a:pt x="1207" y="1253"/>
                    </a:lnTo>
                    <a:lnTo>
                      <a:pt x="1207" y="1255"/>
                    </a:lnTo>
                    <a:lnTo>
                      <a:pt x="1205" y="1255"/>
                    </a:lnTo>
                    <a:lnTo>
                      <a:pt x="1205" y="1257"/>
                    </a:lnTo>
                    <a:lnTo>
                      <a:pt x="1205" y="1259"/>
                    </a:lnTo>
                    <a:lnTo>
                      <a:pt x="1205" y="1257"/>
                    </a:lnTo>
                    <a:lnTo>
                      <a:pt x="1207" y="1255"/>
                    </a:lnTo>
                    <a:lnTo>
                      <a:pt x="1208" y="1257"/>
                    </a:lnTo>
                    <a:lnTo>
                      <a:pt x="1210" y="1257"/>
                    </a:lnTo>
                    <a:lnTo>
                      <a:pt x="1210" y="1259"/>
                    </a:lnTo>
                    <a:lnTo>
                      <a:pt x="1210" y="1257"/>
                    </a:lnTo>
                    <a:lnTo>
                      <a:pt x="1212" y="1259"/>
                    </a:lnTo>
                    <a:lnTo>
                      <a:pt x="1212" y="1260"/>
                    </a:lnTo>
                    <a:lnTo>
                      <a:pt x="1212" y="1262"/>
                    </a:lnTo>
                    <a:lnTo>
                      <a:pt x="1210" y="1262"/>
                    </a:lnTo>
                    <a:lnTo>
                      <a:pt x="1210" y="1264"/>
                    </a:lnTo>
                    <a:lnTo>
                      <a:pt x="1212" y="1262"/>
                    </a:lnTo>
                    <a:lnTo>
                      <a:pt x="1212" y="1260"/>
                    </a:lnTo>
                    <a:lnTo>
                      <a:pt x="1212" y="1262"/>
                    </a:lnTo>
                    <a:lnTo>
                      <a:pt x="1212" y="1264"/>
                    </a:lnTo>
                    <a:lnTo>
                      <a:pt x="1213" y="1264"/>
                    </a:lnTo>
                    <a:lnTo>
                      <a:pt x="1215" y="1264"/>
                    </a:lnTo>
                    <a:lnTo>
                      <a:pt x="1213" y="1262"/>
                    </a:lnTo>
                    <a:lnTo>
                      <a:pt x="1215" y="1260"/>
                    </a:lnTo>
                    <a:lnTo>
                      <a:pt x="1217" y="1260"/>
                    </a:lnTo>
                    <a:lnTo>
                      <a:pt x="1217" y="1262"/>
                    </a:lnTo>
                    <a:lnTo>
                      <a:pt x="1219" y="1262"/>
                    </a:lnTo>
                    <a:lnTo>
                      <a:pt x="1220" y="1262"/>
                    </a:lnTo>
                    <a:lnTo>
                      <a:pt x="1220" y="1260"/>
                    </a:lnTo>
                    <a:lnTo>
                      <a:pt x="1222" y="1260"/>
                    </a:lnTo>
                    <a:lnTo>
                      <a:pt x="1222" y="1259"/>
                    </a:lnTo>
                    <a:lnTo>
                      <a:pt x="1222" y="1257"/>
                    </a:lnTo>
                    <a:lnTo>
                      <a:pt x="1222" y="1255"/>
                    </a:lnTo>
                    <a:lnTo>
                      <a:pt x="1222" y="1253"/>
                    </a:lnTo>
                    <a:lnTo>
                      <a:pt x="1222" y="1252"/>
                    </a:lnTo>
                    <a:lnTo>
                      <a:pt x="1222" y="1253"/>
                    </a:lnTo>
                    <a:lnTo>
                      <a:pt x="1222" y="1255"/>
                    </a:lnTo>
                    <a:lnTo>
                      <a:pt x="1222" y="1257"/>
                    </a:lnTo>
                    <a:lnTo>
                      <a:pt x="1222" y="1259"/>
                    </a:lnTo>
                    <a:lnTo>
                      <a:pt x="1220" y="1260"/>
                    </a:lnTo>
                    <a:lnTo>
                      <a:pt x="1219" y="1260"/>
                    </a:lnTo>
                    <a:lnTo>
                      <a:pt x="1219" y="1259"/>
                    </a:lnTo>
                    <a:lnTo>
                      <a:pt x="1217" y="1259"/>
                    </a:lnTo>
                    <a:lnTo>
                      <a:pt x="1215" y="1259"/>
                    </a:lnTo>
                    <a:lnTo>
                      <a:pt x="1215" y="1257"/>
                    </a:lnTo>
                    <a:lnTo>
                      <a:pt x="1213" y="1255"/>
                    </a:lnTo>
                    <a:lnTo>
                      <a:pt x="1212" y="1255"/>
                    </a:lnTo>
                    <a:lnTo>
                      <a:pt x="1212" y="1253"/>
                    </a:lnTo>
                    <a:lnTo>
                      <a:pt x="1212" y="1252"/>
                    </a:lnTo>
                    <a:lnTo>
                      <a:pt x="1213" y="1252"/>
                    </a:lnTo>
                    <a:lnTo>
                      <a:pt x="1213" y="1250"/>
                    </a:lnTo>
                    <a:lnTo>
                      <a:pt x="1212" y="1250"/>
                    </a:lnTo>
                    <a:lnTo>
                      <a:pt x="1212" y="1252"/>
                    </a:lnTo>
                    <a:lnTo>
                      <a:pt x="1210" y="1252"/>
                    </a:lnTo>
                    <a:lnTo>
                      <a:pt x="1210" y="1250"/>
                    </a:lnTo>
                    <a:lnTo>
                      <a:pt x="1208" y="1248"/>
                    </a:lnTo>
                    <a:lnTo>
                      <a:pt x="1210" y="1248"/>
                    </a:lnTo>
                    <a:lnTo>
                      <a:pt x="1210" y="1247"/>
                    </a:lnTo>
                    <a:lnTo>
                      <a:pt x="1208" y="1247"/>
                    </a:lnTo>
                    <a:lnTo>
                      <a:pt x="1210" y="1245"/>
                    </a:lnTo>
                    <a:lnTo>
                      <a:pt x="1212" y="1245"/>
                    </a:lnTo>
                    <a:lnTo>
                      <a:pt x="1213" y="1245"/>
                    </a:lnTo>
                    <a:lnTo>
                      <a:pt x="1213" y="1247"/>
                    </a:lnTo>
                    <a:lnTo>
                      <a:pt x="1213" y="1248"/>
                    </a:lnTo>
                    <a:lnTo>
                      <a:pt x="1215" y="1248"/>
                    </a:lnTo>
                    <a:lnTo>
                      <a:pt x="1215" y="1250"/>
                    </a:lnTo>
                    <a:lnTo>
                      <a:pt x="1217" y="1250"/>
                    </a:lnTo>
                    <a:lnTo>
                      <a:pt x="1219" y="1250"/>
                    </a:lnTo>
                    <a:lnTo>
                      <a:pt x="1220" y="1248"/>
                    </a:lnTo>
                    <a:lnTo>
                      <a:pt x="1220" y="1250"/>
                    </a:lnTo>
                    <a:lnTo>
                      <a:pt x="1222" y="1250"/>
                    </a:lnTo>
                    <a:lnTo>
                      <a:pt x="1224" y="1250"/>
                    </a:lnTo>
                    <a:lnTo>
                      <a:pt x="1222" y="1248"/>
                    </a:lnTo>
                    <a:lnTo>
                      <a:pt x="1220" y="1248"/>
                    </a:lnTo>
                    <a:lnTo>
                      <a:pt x="1219" y="1248"/>
                    </a:lnTo>
                    <a:lnTo>
                      <a:pt x="1217" y="1248"/>
                    </a:lnTo>
                    <a:lnTo>
                      <a:pt x="1215" y="1248"/>
                    </a:lnTo>
                    <a:lnTo>
                      <a:pt x="1213" y="1248"/>
                    </a:lnTo>
                    <a:lnTo>
                      <a:pt x="1213" y="1247"/>
                    </a:lnTo>
                    <a:lnTo>
                      <a:pt x="1215" y="1247"/>
                    </a:lnTo>
                    <a:lnTo>
                      <a:pt x="1213" y="1245"/>
                    </a:lnTo>
                    <a:lnTo>
                      <a:pt x="1215" y="1245"/>
                    </a:lnTo>
                    <a:lnTo>
                      <a:pt x="1215" y="1243"/>
                    </a:lnTo>
                    <a:lnTo>
                      <a:pt x="1215" y="1245"/>
                    </a:lnTo>
                    <a:lnTo>
                      <a:pt x="1213" y="1245"/>
                    </a:lnTo>
                    <a:lnTo>
                      <a:pt x="1213" y="1243"/>
                    </a:lnTo>
                    <a:lnTo>
                      <a:pt x="1212" y="1243"/>
                    </a:lnTo>
                    <a:lnTo>
                      <a:pt x="1212" y="1242"/>
                    </a:lnTo>
                    <a:lnTo>
                      <a:pt x="1210" y="1242"/>
                    </a:lnTo>
                    <a:lnTo>
                      <a:pt x="1212" y="1242"/>
                    </a:lnTo>
                    <a:lnTo>
                      <a:pt x="1212" y="1240"/>
                    </a:lnTo>
                    <a:lnTo>
                      <a:pt x="1210" y="1240"/>
                    </a:lnTo>
                    <a:lnTo>
                      <a:pt x="1208" y="1240"/>
                    </a:lnTo>
                    <a:lnTo>
                      <a:pt x="1207" y="1240"/>
                    </a:lnTo>
                    <a:lnTo>
                      <a:pt x="1207" y="1238"/>
                    </a:lnTo>
                    <a:lnTo>
                      <a:pt x="1207" y="1236"/>
                    </a:lnTo>
                    <a:lnTo>
                      <a:pt x="1207" y="1235"/>
                    </a:lnTo>
                    <a:lnTo>
                      <a:pt x="1208" y="1233"/>
                    </a:lnTo>
                    <a:lnTo>
                      <a:pt x="1210" y="1231"/>
                    </a:lnTo>
                    <a:lnTo>
                      <a:pt x="1208" y="1231"/>
                    </a:lnTo>
                    <a:lnTo>
                      <a:pt x="1208" y="1233"/>
                    </a:lnTo>
                    <a:lnTo>
                      <a:pt x="1207" y="1233"/>
                    </a:lnTo>
                    <a:lnTo>
                      <a:pt x="1208" y="1233"/>
                    </a:lnTo>
                    <a:lnTo>
                      <a:pt x="1207" y="1233"/>
                    </a:lnTo>
                    <a:lnTo>
                      <a:pt x="1207" y="1235"/>
                    </a:lnTo>
                    <a:lnTo>
                      <a:pt x="1205" y="1235"/>
                    </a:lnTo>
                    <a:lnTo>
                      <a:pt x="1205" y="1236"/>
                    </a:lnTo>
                    <a:lnTo>
                      <a:pt x="1205" y="1238"/>
                    </a:lnTo>
                    <a:lnTo>
                      <a:pt x="1207" y="1238"/>
                    </a:lnTo>
                    <a:lnTo>
                      <a:pt x="1207" y="1240"/>
                    </a:lnTo>
                    <a:lnTo>
                      <a:pt x="1205" y="1240"/>
                    </a:lnTo>
                    <a:lnTo>
                      <a:pt x="1205" y="1242"/>
                    </a:lnTo>
                    <a:lnTo>
                      <a:pt x="1203" y="1242"/>
                    </a:lnTo>
                    <a:lnTo>
                      <a:pt x="1202" y="1242"/>
                    </a:lnTo>
                    <a:lnTo>
                      <a:pt x="1202" y="1243"/>
                    </a:lnTo>
                    <a:lnTo>
                      <a:pt x="1200" y="1243"/>
                    </a:lnTo>
                    <a:lnTo>
                      <a:pt x="1200" y="1242"/>
                    </a:lnTo>
                    <a:lnTo>
                      <a:pt x="1198" y="1242"/>
                    </a:lnTo>
                    <a:lnTo>
                      <a:pt x="1196" y="1242"/>
                    </a:lnTo>
                    <a:lnTo>
                      <a:pt x="1196" y="1240"/>
                    </a:lnTo>
                    <a:lnTo>
                      <a:pt x="1196" y="1238"/>
                    </a:lnTo>
                    <a:lnTo>
                      <a:pt x="1195" y="1240"/>
                    </a:lnTo>
                    <a:lnTo>
                      <a:pt x="1193" y="1240"/>
                    </a:lnTo>
                    <a:lnTo>
                      <a:pt x="1191" y="1240"/>
                    </a:lnTo>
                    <a:lnTo>
                      <a:pt x="1190" y="1240"/>
                    </a:lnTo>
                    <a:lnTo>
                      <a:pt x="1188" y="1240"/>
                    </a:lnTo>
                    <a:lnTo>
                      <a:pt x="1186" y="1240"/>
                    </a:lnTo>
                    <a:lnTo>
                      <a:pt x="1185" y="1240"/>
                    </a:lnTo>
                    <a:lnTo>
                      <a:pt x="1185" y="1238"/>
                    </a:lnTo>
                    <a:lnTo>
                      <a:pt x="1186" y="1238"/>
                    </a:lnTo>
                    <a:lnTo>
                      <a:pt x="1186" y="1240"/>
                    </a:lnTo>
                    <a:lnTo>
                      <a:pt x="1188" y="1240"/>
                    </a:lnTo>
                    <a:lnTo>
                      <a:pt x="1186" y="1238"/>
                    </a:lnTo>
                    <a:lnTo>
                      <a:pt x="1185" y="1238"/>
                    </a:lnTo>
                    <a:lnTo>
                      <a:pt x="1183" y="1238"/>
                    </a:lnTo>
                    <a:lnTo>
                      <a:pt x="1181" y="1238"/>
                    </a:lnTo>
                    <a:lnTo>
                      <a:pt x="1181" y="1240"/>
                    </a:lnTo>
                    <a:lnTo>
                      <a:pt x="1179" y="1240"/>
                    </a:lnTo>
                    <a:lnTo>
                      <a:pt x="1179" y="1238"/>
                    </a:lnTo>
                    <a:lnTo>
                      <a:pt x="1181" y="1238"/>
                    </a:lnTo>
                    <a:lnTo>
                      <a:pt x="1179" y="1238"/>
                    </a:lnTo>
                    <a:lnTo>
                      <a:pt x="1179" y="1240"/>
                    </a:lnTo>
                    <a:lnTo>
                      <a:pt x="1178" y="1240"/>
                    </a:lnTo>
                    <a:lnTo>
                      <a:pt x="1176" y="1240"/>
                    </a:lnTo>
                    <a:lnTo>
                      <a:pt x="1174" y="1238"/>
                    </a:lnTo>
                    <a:lnTo>
                      <a:pt x="1176" y="1238"/>
                    </a:lnTo>
                    <a:lnTo>
                      <a:pt x="1176" y="1236"/>
                    </a:lnTo>
                    <a:lnTo>
                      <a:pt x="1178" y="1236"/>
                    </a:lnTo>
                    <a:lnTo>
                      <a:pt x="1176" y="1236"/>
                    </a:lnTo>
                    <a:lnTo>
                      <a:pt x="1176" y="1238"/>
                    </a:lnTo>
                    <a:lnTo>
                      <a:pt x="1174" y="1238"/>
                    </a:lnTo>
                    <a:lnTo>
                      <a:pt x="1173" y="1238"/>
                    </a:lnTo>
                    <a:lnTo>
                      <a:pt x="1173" y="1236"/>
                    </a:lnTo>
                    <a:lnTo>
                      <a:pt x="1174" y="1235"/>
                    </a:lnTo>
                    <a:lnTo>
                      <a:pt x="1174" y="1233"/>
                    </a:lnTo>
                    <a:lnTo>
                      <a:pt x="1176" y="1233"/>
                    </a:lnTo>
                    <a:lnTo>
                      <a:pt x="1176" y="1231"/>
                    </a:lnTo>
                    <a:lnTo>
                      <a:pt x="1178" y="1233"/>
                    </a:lnTo>
                    <a:lnTo>
                      <a:pt x="1178" y="1231"/>
                    </a:lnTo>
                    <a:lnTo>
                      <a:pt x="1178" y="1233"/>
                    </a:lnTo>
                    <a:lnTo>
                      <a:pt x="1178" y="1231"/>
                    </a:lnTo>
                    <a:lnTo>
                      <a:pt x="1176" y="1231"/>
                    </a:lnTo>
                    <a:lnTo>
                      <a:pt x="1176" y="1230"/>
                    </a:lnTo>
                    <a:lnTo>
                      <a:pt x="1178" y="1230"/>
                    </a:lnTo>
                    <a:lnTo>
                      <a:pt x="1178" y="1228"/>
                    </a:lnTo>
                    <a:lnTo>
                      <a:pt x="1179" y="1228"/>
                    </a:lnTo>
                    <a:lnTo>
                      <a:pt x="1181" y="1228"/>
                    </a:lnTo>
                    <a:lnTo>
                      <a:pt x="1179" y="1230"/>
                    </a:lnTo>
                    <a:lnTo>
                      <a:pt x="1181" y="1230"/>
                    </a:lnTo>
                    <a:lnTo>
                      <a:pt x="1181" y="1231"/>
                    </a:lnTo>
                    <a:lnTo>
                      <a:pt x="1181" y="1230"/>
                    </a:lnTo>
                    <a:lnTo>
                      <a:pt x="1181" y="1228"/>
                    </a:lnTo>
                    <a:lnTo>
                      <a:pt x="1183" y="1228"/>
                    </a:lnTo>
                    <a:lnTo>
                      <a:pt x="1185" y="1228"/>
                    </a:lnTo>
                    <a:lnTo>
                      <a:pt x="1185" y="1230"/>
                    </a:lnTo>
                    <a:lnTo>
                      <a:pt x="1185" y="1231"/>
                    </a:lnTo>
                    <a:lnTo>
                      <a:pt x="1185" y="1230"/>
                    </a:lnTo>
                    <a:lnTo>
                      <a:pt x="1186" y="1231"/>
                    </a:lnTo>
                    <a:lnTo>
                      <a:pt x="1186" y="1233"/>
                    </a:lnTo>
                    <a:lnTo>
                      <a:pt x="1185" y="1233"/>
                    </a:lnTo>
                    <a:lnTo>
                      <a:pt x="1185" y="1235"/>
                    </a:lnTo>
                    <a:lnTo>
                      <a:pt x="1185" y="1233"/>
                    </a:lnTo>
                    <a:lnTo>
                      <a:pt x="1185" y="1231"/>
                    </a:lnTo>
                    <a:lnTo>
                      <a:pt x="1185" y="1233"/>
                    </a:lnTo>
                    <a:lnTo>
                      <a:pt x="1183" y="1233"/>
                    </a:lnTo>
                    <a:lnTo>
                      <a:pt x="1183" y="1235"/>
                    </a:lnTo>
                    <a:lnTo>
                      <a:pt x="1181" y="1235"/>
                    </a:lnTo>
                    <a:lnTo>
                      <a:pt x="1179" y="1235"/>
                    </a:lnTo>
                    <a:lnTo>
                      <a:pt x="1179" y="1233"/>
                    </a:lnTo>
                    <a:lnTo>
                      <a:pt x="1178" y="1233"/>
                    </a:lnTo>
                    <a:lnTo>
                      <a:pt x="1179" y="1233"/>
                    </a:lnTo>
                    <a:lnTo>
                      <a:pt x="1178" y="1235"/>
                    </a:lnTo>
                    <a:lnTo>
                      <a:pt x="1179" y="1235"/>
                    </a:lnTo>
                    <a:lnTo>
                      <a:pt x="1179" y="1236"/>
                    </a:lnTo>
                    <a:lnTo>
                      <a:pt x="1181" y="1235"/>
                    </a:lnTo>
                    <a:lnTo>
                      <a:pt x="1183" y="1235"/>
                    </a:lnTo>
                    <a:lnTo>
                      <a:pt x="1185" y="1235"/>
                    </a:lnTo>
                    <a:lnTo>
                      <a:pt x="1186" y="1233"/>
                    </a:lnTo>
                    <a:lnTo>
                      <a:pt x="1186" y="1235"/>
                    </a:lnTo>
                    <a:lnTo>
                      <a:pt x="1186" y="1233"/>
                    </a:lnTo>
                    <a:lnTo>
                      <a:pt x="1188" y="1235"/>
                    </a:lnTo>
                    <a:lnTo>
                      <a:pt x="1186" y="1235"/>
                    </a:lnTo>
                    <a:lnTo>
                      <a:pt x="1186" y="1236"/>
                    </a:lnTo>
                    <a:lnTo>
                      <a:pt x="1188" y="1236"/>
                    </a:lnTo>
                    <a:lnTo>
                      <a:pt x="1188" y="1238"/>
                    </a:lnTo>
                    <a:lnTo>
                      <a:pt x="1190" y="1238"/>
                    </a:lnTo>
                    <a:lnTo>
                      <a:pt x="1191" y="1238"/>
                    </a:lnTo>
                    <a:lnTo>
                      <a:pt x="1191" y="1240"/>
                    </a:lnTo>
                    <a:lnTo>
                      <a:pt x="1191" y="1238"/>
                    </a:lnTo>
                    <a:lnTo>
                      <a:pt x="1193" y="1238"/>
                    </a:lnTo>
                    <a:lnTo>
                      <a:pt x="1195" y="1238"/>
                    </a:lnTo>
                    <a:lnTo>
                      <a:pt x="1193" y="1238"/>
                    </a:lnTo>
                    <a:lnTo>
                      <a:pt x="1191" y="1238"/>
                    </a:lnTo>
                    <a:lnTo>
                      <a:pt x="1190" y="1238"/>
                    </a:lnTo>
                    <a:lnTo>
                      <a:pt x="1190" y="1236"/>
                    </a:lnTo>
                    <a:lnTo>
                      <a:pt x="1188" y="1236"/>
                    </a:lnTo>
                    <a:lnTo>
                      <a:pt x="1188" y="1235"/>
                    </a:lnTo>
                    <a:lnTo>
                      <a:pt x="1188" y="1233"/>
                    </a:lnTo>
                    <a:lnTo>
                      <a:pt x="1190" y="1233"/>
                    </a:lnTo>
                    <a:lnTo>
                      <a:pt x="1191" y="1233"/>
                    </a:lnTo>
                    <a:lnTo>
                      <a:pt x="1193" y="1235"/>
                    </a:lnTo>
                    <a:lnTo>
                      <a:pt x="1195" y="1235"/>
                    </a:lnTo>
                    <a:lnTo>
                      <a:pt x="1193" y="1233"/>
                    </a:lnTo>
                    <a:lnTo>
                      <a:pt x="1195" y="1233"/>
                    </a:lnTo>
                    <a:lnTo>
                      <a:pt x="1193" y="1233"/>
                    </a:lnTo>
                    <a:lnTo>
                      <a:pt x="1191" y="1233"/>
                    </a:lnTo>
                    <a:lnTo>
                      <a:pt x="1190" y="1233"/>
                    </a:lnTo>
                    <a:lnTo>
                      <a:pt x="1188" y="1233"/>
                    </a:lnTo>
                    <a:lnTo>
                      <a:pt x="1190" y="1233"/>
                    </a:lnTo>
                    <a:lnTo>
                      <a:pt x="1188" y="1233"/>
                    </a:lnTo>
                    <a:lnTo>
                      <a:pt x="1188" y="1231"/>
                    </a:lnTo>
                    <a:lnTo>
                      <a:pt x="1190" y="1231"/>
                    </a:lnTo>
                    <a:lnTo>
                      <a:pt x="1191" y="1231"/>
                    </a:lnTo>
                    <a:lnTo>
                      <a:pt x="1193" y="1231"/>
                    </a:lnTo>
                    <a:lnTo>
                      <a:pt x="1195" y="1231"/>
                    </a:lnTo>
                    <a:lnTo>
                      <a:pt x="1196" y="1231"/>
                    </a:lnTo>
                    <a:lnTo>
                      <a:pt x="1198" y="1231"/>
                    </a:lnTo>
                    <a:lnTo>
                      <a:pt x="1198" y="1230"/>
                    </a:lnTo>
                    <a:lnTo>
                      <a:pt x="1198" y="1231"/>
                    </a:lnTo>
                    <a:lnTo>
                      <a:pt x="1196" y="1231"/>
                    </a:lnTo>
                    <a:lnTo>
                      <a:pt x="1195" y="1231"/>
                    </a:lnTo>
                    <a:lnTo>
                      <a:pt x="1193" y="1231"/>
                    </a:lnTo>
                    <a:lnTo>
                      <a:pt x="1193" y="1230"/>
                    </a:lnTo>
                    <a:lnTo>
                      <a:pt x="1195" y="1230"/>
                    </a:lnTo>
                    <a:lnTo>
                      <a:pt x="1195" y="1228"/>
                    </a:lnTo>
                    <a:lnTo>
                      <a:pt x="1196" y="1228"/>
                    </a:lnTo>
                    <a:lnTo>
                      <a:pt x="1198" y="1226"/>
                    </a:lnTo>
                    <a:lnTo>
                      <a:pt x="1200" y="1226"/>
                    </a:lnTo>
                    <a:lnTo>
                      <a:pt x="1198" y="1226"/>
                    </a:lnTo>
                    <a:lnTo>
                      <a:pt x="1196" y="1226"/>
                    </a:lnTo>
                    <a:lnTo>
                      <a:pt x="1195" y="1226"/>
                    </a:lnTo>
                    <a:lnTo>
                      <a:pt x="1195" y="1228"/>
                    </a:lnTo>
                    <a:lnTo>
                      <a:pt x="1193" y="1230"/>
                    </a:lnTo>
                    <a:lnTo>
                      <a:pt x="1191" y="1230"/>
                    </a:lnTo>
                    <a:lnTo>
                      <a:pt x="1190" y="1230"/>
                    </a:lnTo>
                    <a:lnTo>
                      <a:pt x="1188" y="1230"/>
                    </a:lnTo>
                    <a:lnTo>
                      <a:pt x="1188" y="1231"/>
                    </a:lnTo>
                    <a:lnTo>
                      <a:pt x="1186" y="1231"/>
                    </a:lnTo>
                    <a:lnTo>
                      <a:pt x="1186" y="1230"/>
                    </a:lnTo>
                    <a:lnTo>
                      <a:pt x="1186" y="1228"/>
                    </a:lnTo>
                    <a:lnTo>
                      <a:pt x="1186" y="1226"/>
                    </a:lnTo>
                    <a:lnTo>
                      <a:pt x="1188" y="1226"/>
                    </a:lnTo>
                    <a:lnTo>
                      <a:pt x="1190" y="1226"/>
                    </a:lnTo>
                    <a:lnTo>
                      <a:pt x="1191" y="1226"/>
                    </a:lnTo>
                    <a:lnTo>
                      <a:pt x="1193" y="1225"/>
                    </a:lnTo>
                    <a:lnTo>
                      <a:pt x="1195" y="1225"/>
                    </a:lnTo>
                    <a:lnTo>
                      <a:pt x="1195" y="1223"/>
                    </a:lnTo>
                    <a:lnTo>
                      <a:pt x="1193" y="1223"/>
                    </a:lnTo>
                    <a:lnTo>
                      <a:pt x="1193" y="1225"/>
                    </a:lnTo>
                    <a:lnTo>
                      <a:pt x="1191" y="1225"/>
                    </a:lnTo>
                    <a:lnTo>
                      <a:pt x="1191" y="1226"/>
                    </a:lnTo>
                    <a:lnTo>
                      <a:pt x="1190" y="1225"/>
                    </a:lnTo>
                    <a:lnTo>
                      <a:pt x="1190" y="1226"/>
                    </a:lnTo>
                    <a:lnTo>
                      <a:pt x="1188" y="1226"/>
                    </a:lnTo>
                    <a:lnTo>
                      <a:pt x="1186" y="1226"/>
                    </a:lnTo>
                    <a:lnTo>
                      <a:pt x="1185" y="1226"/>
                    </a:lnTo>
                    <a:lnTo>
                      <a:pt x="1183" y="1226"/>
                    </a:lnTo>
                    <a:lnTo>
                      <a:pt x="1185" y="1226"/>
                    </a:lnTo>
                    <a:lnTo>
                      <a:pt x="1185" y="1228"/>
                    </a:lnTo>
                    <a:lnTo>
                      <a:pt x="1186" y="1226"/>
                    </a:lnTo>
                    <a:lnTo>
                      <a:pt x="1186" y="1228"/>
                    </a:lnTo>
                    <a:lnTo>
                      <a:pt x="1185" y="1228"/>
                    </a:lnTo>
                    <a:lnTo>
                      <a:pt x="1183" y="1226"/>
                    </a:lnTo>
                    <a:lnTo>
                      <a:pt x="1181" y="1225"/>
                    </a:lnTo>
                    <a:lnTo>
                      <a:pt x="1183" y="1225"/>
                    </a:lnTo>
                    <a:lnTo>
                      <a:pt x="1183" y="1223"/>
                    </a:lnTo>
                    <a:lnTo>
                      <a:pt x="1183" y="1225"/>
                    </a:lnTo>
                    <a:lnTo>
                      <a:pt x="1185" y="1223"/>
                    </a:lnTo>
                    <a:lnTo>
                      <a:pt x="1185" y="1225"/>
                    </a:lnTo>
                    <a:lnTo>
                      <a:pt x="1186" y="1225"/>
                    </a:lnTo>
                    <a:lnTo>
                      <a:pt x="1186" y="1223"/>
                    </a:lnTo>
                    <a:lnTo>
                      <a:pt x="1188" y="1223"/>
                    </a:lnTo>
                    <a:lnTo>
                      <a:pt x="1188" y="1221"/>
                    </a:lnTo>
                    <a:lnTo>
                      <a:pt x="1188" y="1223"/>
                    </a:lnTo>
                    <a:lnTo>
                      <a:pt x="1186" y="1223"/>
                    </a:lnTo>
                    <a:lnTo>
                      <a:pt x="1185" y="1223"/>
                    </a:lnTo>
                    <a:lnTo>
                      <a:pt x="1183" y="1223"/>
                    </a:lnTo>
                    <a:lnTo>
                      <a:pt x="1183" y="1221"/>
                    </a:lnTo>
                    <a:lnTo>
                      <a:pt x="1181" y="1223"/>
                    </a:lnTo>
                    <a:lnTo>
                      <a:pt x="1181" y="1225"/>
                    </a:lnTo>
                    <a:lnTo>
                      <a:pt x="1179" y="1223"/>
                    </a:lnTo>
                    <a:lnTo>
                      <a:pt x="1181" y="1223"/>
                    </a:lnTo>
                    <a:lnTo>
                      <a:pt x="1179" y="1223"/>
                    </a:lnTo>
                    <a:lnTo>
                      <a:pt x="1179" y="1221"/>
                    </a:lnTo>
                    <a:lnTo>
                      <a:pt x="1181" y="1221"/>
                    </a:lnTo>
                    <a:lnTo>
                      <a:pt x="1181" y="1219"/>
                    </a:lnTo>
                    <a:lnTo>
                      <a:pt x="1181" y="1218"/>
                    </a:lnTo>
                    <a:lnTo>
                      <a:pt x="1183" y="1218"/>
                    </a:lnTo>
                    <a:lnTo>
                      <a:pt x="1183" y="1216"/>
                    </a:lnTo>
                    <a:lnTo>
                      <a:pt x="1185" y="1216"/>
                    </a:lnTo>
                    <a:lnTo>
                      <a:pt x="1185" y="1214"/>
                    </a:lnTo>
                    <a:lnTo>
                      <a:pt x="1186" y="1214"/>
                    </a:lnTo>
                    <a:lnTo>
                      <a:pt x="1186" y="1213"/>
                    </a:lnTo>
                    <a:lnTo>
                      <a:pt x="1186" y="1211"/>
                    </a:lnTo>
                    <a:lnTo>
                      <a:pt x="1188" y="1211"/>
                    </a:lnTo>
                    <a:lnTo>
                      <a:pt x="1188" y="1213"/>
                    </a:lnTo>
                    <a:lnTo>
                      <a:pt x="1190" y="1213"/>
                    </a:lnTo>
                    <a:lnTo>
                      <a:pt x="1188" y="1213"/>
                    </a:lnTo>
                    <a:lnTo>
                      <a:pt x="1188" y="1211"/>
                    </a:lnTo>
                    <a:lnTo>
                      <a:pt x="1190" y="1211"/>
                    </a:lnTo>
                    <a:lnTo>
                      <a:pt x="1190" y="1213"/>
                    </a:lnTo>
                    <a:lnTo>
                      <a:pt x="1190" y="1214"/>
                    </a:lnTo>
                    <a:lnTo>
                      <a:pt x="1190" y="1216"/>
                    </a:lnTo>
                    <a:lnTo>
                      <a:pt x="1190" y="1218"/>
                    </a:lnTo>
                    <a:lnTo>
                      <a:pt x="1190" y="1219"/>
                    </a:lnTo>
                    <a:lnTo>
                      <a:pt x="1191" y="1219"/>
                    </a:lnTo>
                    <a:lnTo>
                      <a:pt x="1190" y="1218"/>
                    </a:lnTo>
                    <a:lnTo>
                      <a:pt x="1190" y="1216"/>
                    </a:lnTo>
                    <a:lnTo>
                      <a:pt x="1191" y="1214"/>
                    </a:lnTo>
                    <a:lnTo>
                      <a:pt x="1190" y="1213"/>
                    </a:lnTo>
                    <a:lnTo>
                      <a:pt x="1191" y="1211"/>
                    </a:lnTo>
                    <a:lnTo>
                      <a:pt x="1190" y="1213"/>
                    </a:lnTo>
                    <a:lnTo>
                      <a:pt x="1190" y="1211"/>
                    </a:lnTo>
                    <a:lnTo>
                      <a:pt x="1191" y="1211"/>
                    </a:lnTo>
                    <a:lnTo>
                      <a:pt x="1193" y="1211"/>
                    </a:lnTo>
                    <a:lnTo>
                      <a:pt x="1193" y="1213"/>
                    </a:lnTo>
                    <a:lnTo>
                      <a:pt x="1193" y="1214"/>
                    </a:lnTo>
                    <a:lnTo>
                      <a:pt x="1195" y="1214"/>
                    </a:lnTo>
                    <a:lnTo>
                      <a:pt x="1193" y="1214"/>
                    </a:lnTo>
                    <a:lnTo>
                      <a:pt x="1193" y="1213"/>
                    </a:lnTo>
                    <a:lnTo>
                      <a:pt x="1193" y="1211"/>
                    </a:lnTo>
                    <a:lnTo>
                      <a:pt x="1195" y="1211"/>
                    </a:lnTo>
                    <a:lnTo>
                      <a:pt x="1195" y="1209"/>
                    </a:lnTo>
                    <a:lnTo>
                      <a:pt x="1196" y="1209"/>
                    </a:lnTo>
                    <a:lnTo>
                      <a:pt x="1195" y="1211"/>
                    </a:lnTo>
                    <a:lnTo>
                      <a:pt x="1196" y="1211"/>
                    </a:lnTo>
                    <a:lnTo>
                      <a:pt x="1195" y="1213"/>
                    </a:lnTo>
                    <a:lnTo>
                      <a:pt x="1196" y="1213"/>
                    </a:lnTo>
                    <a:lnTo>
                      <a:pt x="1196" y="1211"/>
                    </a:lnTo>
                    <a:lnTo>
                      <a:pt x="1196" y="1209"/>
                    </a:lnTo>
                    <a:lnTo>
                      <a:pt x="1196" y="1208"/>
                    </a:lnTo>
                    <a:lnTo>
                      <a:pt x="1196" y="1206"/>
                    </a:lnTo>
                    <a:lnTo>
                      <a:pt x="1196" y="1208"/>
                    </a:lnTo>
                    <a:lnTo>
                      <a:pt x="1195" y="1208"/>
                    </a:lnTo>
                    <a:lnTo>
                      <a:pt x="1195" y="1209"/>
                    </a:lnTo>
                    <a:lnTo>
                      <a:pt x="1193" y="1209"/>
                    </a:lnTo>
                    <a:lnTo>
                      <a:pt x="1191" y="1209"/>
                    </a:lnTo>
                    <a:lnTo>
                      <a:pt x="1191" y="1208"/>
                    </a:lnTo>
                    <a:lnTo>
                      <a:pt x="1190" y="1208"/>
                    </a:lnTo>
                    <a:lnTo>
                      <a:pt x="1190" y="1206"/>
                    </a:lnTo>
                    <a:lnTo>
                      <a:pt x="1190" y="1204"/>
                    </a:lnTo>
                    <a:lnTo>
                      <a:pt x="1191" y="1202"/>
                    </a:lnTo>
                    <a:lnTo>
                      <a:pt x="1191" y="1201"/>
                    </a:lnTo>
                    <a:lnTo>
                      <a:pt x="1193" y="1201"/>
                    </a:lnTo>
                    <a:lnTo>
                      <a:pt x="1193" y="1202"/>
                    </a:lnTo>
                    <a:lnTo>
                      <a:pt x="1195" y="1202"/>
                    </a:lnTo>
                    <a:lnTo>
                      <a:pt x="1195" y="1204"/>
                    </a:lnTo>
                    <a:lnTo>
                      <a:pt x="1195" y="1202"/>
                    </a:lnTo>
                    <a:lnTo>
                      <a:pt x="1195" y="1201"/>
                    </a:lnTo>
                    <a:lnTo>
                      <a:pt x="1196" y="1199"/>
                    </a:lnTo>
                    <a:lnTo>
                      <a:pt x="1195" y="1199"/>
                    </a:lnTo>
                    <a:lnTo>
                      <a:pt x="1195" y="1201"/>
                    </a:lnTo>
                    <a:lnTo>
                      <a:pt x="1193" y="1199"/>
                    </a:lnTo>
                    <a:lnTo>
                      <a:pt x="1191" y="1197"/>
                    </a:lnTo>
                    <a:lnTo>
                      <a:pt x="1191" y="1196"/>
                    </a:lnTo>
                    <a:lnTo>
                      <a:pt x="1190" y="1196"/>
                    </a:lnTo>
                    <a:lnTo>
                      <a:pt x="1191" y="1194"/>
                    </a:lnTo>
                    <a:lnTo>
                      <a:pt x="1190" y="1194"/>
                    </a:lnTo>
                    <a:lnTo>
                      <a:pt x="1188" y="1192"/>
                    </a:lnTo>
                    <a:lnTo>
                      <a:pt x="1186" y="1191"/>
                    </a:lnTo>
                    <a:lnTo>
                      <a:pt x="1185" y="1191"/>
                    </a:lnTo>
                    <a:lnTo>
                      <a:pt x="1186" y="1191"/>
                    </a:lnTo>
                    <a:lnTo>
                      <a:pt x="1188" y="1192"/>
                    </a:lnTo>
                    <a:lnTo>
                      <a:pt x="1190" y="1191"/>
                    </a:lnTo>
                    <a:lnTo>
                      <a:pt x="1188" y="1191"/>
                    </a:lnTo>
                    <a:lnTo>
                      <a:pt x="1188" y="1189"/>
                    </a:lnTo>
                    <a:lnTo>
                      <a:pt x="1186" y="1191"/>
                    </a:lnTo>
                    <a:lnTo>
                      <a:pt x="1186" y="1189"/>
                    </a:lnTo>
                    <a:lnTo>
                      <a:pt x="1186" y="1191"/>
                    </a:lnTo>
                    <a:lnTo>
                      <a:pt x="1185" y="1189"/>
                    </a:lnTo>
                    <a:lnTo>
                      <a:pt x="1183" y="1189"/>
                    </a:lnTo>
                    <a:lnTo>
                      <a:pt x="1181" y="1189"/>
                    </a:lnTo>
                    <a:lnTo>
                      <a:pt x="1179" y="1189"/>
                    </a:lnTo>
                    <a:lnTo>
                      <a:pt x="1181" y="1187"/>
                    </a:lnTo>
                    <a:lnTo>
                      <a:pt x="1179" y="1187"/>
                    </a:lnTo>
                    <a:lnTo>
                      <a:pt x="1178" y="1187"/>
                    </a:lnTo>
                    <a:lnTo>
                      <a:pt x="1178" y="1189"/>
                    </a:lnTo>
                    <a:lnTo>
                      <a:pt x="1179" y="1189"/>
                    </a:lnTo>
                    <a:lnTo>
                      <a:pt x="1181" y="1189"/>
                    </a:lnTo>
                    <a:lnTo>
                      <a:pt x="1181" y="1191"/>
                    </a:lnTo>
                    <a:lnTo>
                      <a:pt x="1179" y="1191"/>
                    </a:lnTo>
                    <a:lnTo>
                      <a:pt x="1178" y="1191"/>
                    </a:lnTo>
                    <a:lnTo>
                      <a:pt x="1176" y="1191"/>
                    </a:lnTo>
                    <a:lnTo>
                      <a:pt x="1176" y="1192"/>
                    </a:lnTo>
                    <a:lnTo>
                      <a:pt x="1176" y="1194"/>
                    </a:lnTo>
                    <a:lnTo>
                      <a:pt x="1174" y="1194"/>
                    </a:lnTo>
                    <a:lnTo>
                      <a:pt x="1174" y="1192"/>
                    </a:lnTo>
                    <a:lnTo>
                      <a:pt x="1173" y="1192"/>
                    </a:lnTo>
                    <a:lnTo>
                      <a:pt x="1174" y="1192"/>
                    </a:lnTo>
                    <a:lnTo>
                      <a:pt x="1174" y="1194"/>
                    </a:lnTo>
                    <a:lnTo>
                      <a:pt x="1176" y="1194"/>
                    </a:lnTo>
                    <a:lnTo>
                      <a:pt x="1178" y="1194"/>
                    </a:lnTo>
                    <a:lnTo>
                      <a:pt x="1179" y="1192"/>
                    </a:lnTo>
                    <a:lnTo>
                      <a:pt x="1181" y="1194"/>
                    </a:lnTo>
                    <a:lnTo>
                      <a:pt x="1183" y="1194"/>
                    </a:lnTo>
                    <a:lnTo>
                      <a:pt x="1183" y="1196"/>
                    </a:lnTo>
                    <a:lnTo>
                      <a:pt x="1183" y="1197"/>
                    </a:lnTo>
                    <a:lnTo>
                      <a:pt x="1183" y="1196"/>
                    </a:lnTo>
                    <a:lnTo>
                      <a:pt x="1181" y="1196"/>
                    </a:lnTo>
                    <a:lnTo>
                      <a:pt x="1179" y="1196"/>
                    </a:lnTo>
                    <a:lnTo>
                      <a:pt x="1178" y="1196"/>
                    </a:lnTo>
                    <a:lnTo>
                      <a:pt x="1176" y="1194"/>
                    </a:lnTo>
                    <a:lnTo>
                      <a:pt x="1176" y="1196"/>
                    </a:lnTo>
                    <a:lnTo>
                      <a:pt x="1174" y="1196"/>
                    </a:lnTo>
                    <a:lnTo>
                      <a:pt x="1174" y="1194"/>
                    </a:lnTo>
                    <a:lnTo>
                      <a:pt x="1173" y="1192"/>
                    </a:lnTo>
                    <a:lnTo>
                      <a:pt x="1171" y="1192"/>
                    </a:lnTo>
                    <a:lnTo>
                      <a:pt x="1171" y="1191"/>
                    </a:lnTo>
                    <a:lnTo>
                      <a:pt x="1169" y="1191"/>
                    </a:lnTo>
                    <a:lnTo>
                      <a:pt x="1171" y="1191"/>
                    </a:lnTo>
                    <a:lnTo>
                      <a:pt x="1171" y="1189"/>
                    </a:lnTo>
                    <a:lnTo>
                      <a:pt x="1171" y="1191"/>
                    </a:lnTo>
                    <a:lnTo>
                      <a:pt x="1169" y="1191"/>
                    </a:lnTo>
                    <a:lnTo>
                      <a:pt x="1169" y="1192"/>
                    </a:lnTo>
                    <a:lnTo>
                      <a:pt x="1168" y="1191"/>
                    </a:lnTo>
                    <a:lnTo>
                      <a:pt x="1166" y="1191"/>
                    </a:lnTo>
                    <a:lnTo>
                      <a:pt x="1166" y="1189"/>
                    </a:lnTo>
                    <a:lnTo>
                      <a:pt x="1164" y="1189"/>
                    </a:lnTo>
                    <a:lnTo>
                      <a:pt x="1164" y="1187"/>
                    </a:lnTo>
                    <a:lnTo>
                      <a:pt x="1162" y="1187"/>
                    </a:lnTo>
                    <a:lnTo>
                      <a:pt x="1162" y="1185"/>
                    </a:lnTo>
                    <a:lnTo>
                      <a:pt x="1161" y="1185"/>
                    </a:lnTo>
                    <a:lnTo>
                      <a:pt x="1161" y="1184"/>
                    </a:lnTo>
                    <a:lnTo>
                      <a:pt x="1161" y="1182"/>
                    </a:lnTo>
                    <a:lnTo>
                      <a:pt x="1162" y="1182"/>
                    </a:lnTo>
                    <a:lnTo>
                      <a:pt x="1162" y="1180"/>
                    </a:lnTo>
                    <a:lnTo>
                      <a:pt x="1164" y="1179"/>
                    </a:lnTo>
                    <a:lnTo>
                      <a:pt x="1166" y="1177"/>
                    </a:lnTo>
                    <a:lnTo>
                      <a:pt x="1166" y="1175"/>
                    </a:lnTo>
                    <a:lnTo>
                      <a:pt x="1166" y="1174"/>
                    </a:lnTo>
                    <a:lnTo>
                      <a:pt x="1164" y="1174"/>
                    </a:lnTo>
                    <a:lnTo>
                      <a:pt x="1164" y="1175"/>
                    </a:lnTo>
                    <a:lnTo>
                      <a:pt x="1164" y="1177"/>
                    </a:lnTo>
                    <a:lnTo>
                      <a:pt x="1162" y="1177"/>
                    </a:lnTo>
                    <a:lnTo>
                      <a:pt x="1162" y="1179"/>
                    </a:lnTo>
                    <a:lnTo>
                      <a:pt x="1162" y="1177"/>
                    </a:lnTo>
                    <a:lnTo>
                      <a:pt x="1162" y="1179"/>
                    </a:lnTo>
                    <a:lnTo>
                      <a:pt x="1162" y="1177"/>
                    </a:lnTo>
                    <a:lnTo>
                      <a:pt x="1162" y="1179"/>
                    </a:lnTo>
                    <a:lnTo>
                      <a:pt x="1162" y="1180"/>
                    </a:lnTo>
                    <a:lnTo>
                      <a:pt x="1161" y="1180"/>
                    </a:lnTo>
                    <a:lnTo>
                      <a:pt x="1161" y="1182"/>
                    </a:lnTo>
                    <a:lnTo>
                      <a:pt x="1159" y="1182"/>
                    </a:lnTo>
                    <a:lnTo>
                      <a:pt x="1157" y="1184"/>
                    </a:lnTo>
                    <a:lnTo>
                      <a:pt x="1157" y="1182"/>
                    </a:lnTo>
                    <a:lnTo>
                      <a:pt x="1156" y="1180"/>
                    </a:lnTo>
                    <a:lnTo>
                      <a:pt x="1157" y="1182"/>
                    </a:lnTo>
                    <a:lnTo>
                      <a:pt x="1156" y="1182"/>
                    </a:lnTo>
                    <a:lnTo>
                      <a:pt x="1157" y="1182"/>
                    </a:lnTo>
                    <a:lnTo>
                      <a:pt x="1156" y="1184"/>
                    </a:lnTo>
                    <a:lnTo>
                      <a:pt x="1154" y="1184"/>
                    </a:lnTo>
                    <a:lnTo>
                      <a:pt x="1152" y="1184"/>
                    </a:lnTo>
                    <a:lnTo>
                      <a:pt x="1152" y="1185"/>
                    </a:lnTo>
                    <a:lnTo>
                      <a:pt x="1152" y="1184"/>
                    </a:lnTo>
                    <a:lnTo>
                      <a:pt x="1151" y="1185"/>
                    </a:lnTo>
                    <a:lnTo>
                      <a:pt x="1152" y="1185"/>
                    </a:lnTo>
                    <a:lnTo>
                      <a:pt x="1151" y="1185"/>
                    </a:lnTo>
                    <a:lnTo>
                      <a:pt x="1151" y="1184"/>
                    </a:lnTo>
                    <a:lnTo>
                      <a:pt x="1149" y="1184"/>
                    </a:lnTo>
                    <a:lnTo>
                      <a:pt x="1149" y="1185"/>
                    </a:lnTo>
                    <a:lnTo>
                      <a:pt x="1147" y="1185"/>
                    </a:lnTo>
                    <a:lnTo>
                      <a:pt x="1145" y="1187"/>
                    </a:lnTo>
                    <a:lnTo>
                      <a:pt x="1144" y="1187"/>
                    </a:lnTo>
                    <a:lnTo>
                      <a:pt x="1145" y="1187"/>
                    </a:lnTo>
                    <a:lnTo>
                      <a:pt x="1145" y="1189"/>
                    </a:lnTo>
                    <a:lnTo>
                      <a:pt x="1144" y="1189"/>
                    </a:lnTo>
                    <a:lnTo>
                      <a:pt x="1144" y="1191"/>
                    </a:lnTo>
                    <a:lnTo>
                      <a:pt x="1144" y="1192"/>
                    </a:lnTo>
                    <a:lnTo>
                      <a:pt x="1144" y="1191"/>
                    </a:lnTo>
                    <a:lnTo>
                      <a:pt x="1145" y="1191"/>
                    </a:lnTo>
                    <a:lnTo>
                      <a:pt x="1145" y="1189"/>
                    </a:lnTo>
                    <a:lnTo>
                      <a:pt x="1147" y="1187"/>
                    </a:lnTo>
                    <a:lnTo>
                      <a:pt x="1147" y="1189"/>
                    </a:lnTo>
                    <a:lnTo>
                      <a:pt x="1149" y="1187"/>
                    </a:lnTo>
                    <a:lnTo>
                      <a:pt x="1151" y="1187"/>
                    </a:lnTo>
                    <a:lnTo>
                      <a:pt x="1152" y="1189"/>
                    </a:lnTo>
                    <a:lnTo>
                      <a:pt x="1151" y="1189"/>
                    </a:lnTo>
                    <a:lnTo>
                      <a:pt x="1149" y="1189"/>
                    </a:lnTo>
                    <a:lnTo>
                      <a:pt x="1151" y="1189"/>
                    </a:lnTo>
                    <a:lnTo>
                      <a:pt x="1149" y="1191"/>
                    </a:lnTo>
                    <a:lnTo>
                      <a:pt x="1149" y="1192"/>
                    </a:lnTo>
                    <a:lnTo>
                      <a:pt x="1151" y="1191"/>
                    </a:lnTo>
                    <a:lnTo>
                      <a:pt x="1151" y="1192"/>
                    </a:lnTo>
                    <a:lnTo>
                      <a:pt x="1151" y="1191"/>
                    </a:lnTo>
                    <a:lnTo>
                      <a:pt x="1152" y="1191"/>
                    </a:lnTo>
                    <a:lnTo>
                      <a:pt x="1152" y="1192"/>
                    </a:lnTo>
                    <a:lnTo>
                      <a:pt x="1152" y="1194"/>
                    </a:lnTo>
                    <a:lnTo>
                      <a:pt x="1151" y="1194"/>
                    </a:lnTo>
                    <a:lnTo>
                      <a:pt x="1151" y="1196"/>
                    </a:lnTo>
                    <a:lnTo>
                      <a:pt x="1149" y="1196"/>
                    </a:lnTo>
                    <a:lnTo>
                      <a:pt x="1151" y="1196"/>
                    </a:lnTo>
                    <a:lnTo>
                      <a:pt x="1151" y="1194"/>
                    </a:lnTo>
                    <a:lnTo>
                      <a:pt x="1152" y="1194"/>
                    </a:lnTo>
                    <a:lnTo>
                      <a:pt x="1154" y="1196"/>
                    </a:lnTo>
                    <a:lnTo>
                      <a:pt x="1152" y="1194"/>
                    </a:lnTo>
                    <a:lnTo>
                      <a:pt x="1154" y="1194"/>
                    </a:lnTo>
                    <a:lnTo>
                      <a:pt x="1152" y="1194"/>
                    </a:lnTo>
                    <a:lnTo>
                      <a:pt x="1152" y="1192"/>
                    </a:lnTo>
                    <a:lnTo>
                      <a:pt x="1154" y="1194"/>
                    </a:lnTo>
                    <a:lnTo>
                      <a:pt x="1154" y="1196"/>
                    </a:lnTo>
                    <a:lnTo>
                      <a:pt x="1154" y="1197"/>
                    </a:lnTo>
                    <a:lnTo>
                      <a:pt x="1152" y="1197"/>
                    </a:lnTo>
                    <a:lnTo>
                      <a:pt x="1152" y="1199"/>
                    </a:lnTo>
                    <a:lnTo>
                      <a:pt x="1151" y="1199"/>
                    </a:lnTo>
                    <a:lnTo>
                      <a:pt x="1149" y="1199"/>
                    </a:lnTo>
                    <a:lnTo>
                      <a:pt x="1147" y="1201"/>
                    </a:lnTo>
                    <a:lnTo>
                      <a:pt x="1147" y="1199"/>
                    </a:lnTo>
                    <a:lnTo>
                      <a:pt x="1145" y="1199"/>
                    </a:lnTo>
                    <a:lnTo>
                      <a:pt x="1145" y="1197"/>
                    </a:lnTo>
                    <a:lnTo>
                      <a:pt x="1144" y="1197"/>
                    </a:lnTo>
                    <a:lnTo>
                      <a:pt x="1144" y="1196"/>
                    </a:lnTo>
                    <a:lnTo>
                      <a:pt x="1142" y="1194"/>
                    </a:lnTo>
                    <a:lnTo>
                      <a:pt x="1142" y="1192"/>
                    </a:lnTo>
                    <a:lnTo>
                      <a:pt x="1140" y="1192"/>
                    </a:lnTo>
                    <a:lnTo>
                      <a:pt x="1140" y="1191"/>
                    </a:lnTo>
                    <a:lnTo>
                      <a:pt x="1142" y="1191"/>
                    </a:lnTo>
                    <a:lnTo>
                      <a:pt x="1140" y="1189"/>
                    </a:lnTo>
                    <a:lnTo>
                      <a:pt x="1140" y="1187"/>
                    </a:lnTo>
                    <a:lnTo>
                      <a:pt x="1140" y="1185"/>
                    </a:lnTo>
                    <a:lnTo>
                      <a:pt x="1142" y="1185"/>
                    </a:lnTo>
                    <a:lnTo>
                      <a:pt x="1142" y="1184"/>
                    </a:lnTo>
                    <a:lnTo>
                      <a:pt x="1142" y="1182"/>
                    </a:lnTo>
                    <a:lnTo>
                      <a:pt x="1144" y="1182"/>
                    </a:lnTo>
                    <a:lnTo>
                      <a:pt x="1144" y="1180"/>
                    </a:lnTo>
                    <a:lnTo>
                      <a:pt x="1144" y="1182"/>
                    </a:lnTo>
                    <a:lnTo>
                      <a:pt x="1144" y="1180"/>
                    </a:lnTo>
                    <a:lnTo>
                      <a:pt x="1145" y="1182"/>
                    </a:lnTo>
                    <a:lnTo>
                      <a:pt x="1147" y="1182"/>
                    </a:lnTo>
                    <a:lnTo>
                      <a:pt x="1147" y="1184"/>
                    </a:lnTo>
                    <a:lnTo>
                      <a:pt x="1147" y="1182"/>
                    </a:lnTo>
                    <a:lnTo>
                      <a:pt x="1145" y="1182"/>
                    </a:lnTo>
                    <a:lnTo>
                      <a:pt x="1145" y="1180"/>
                    </a:lnTo>
                    <a:lnTo>
                      <a:pt x="1147" y="1180"/>
                    </a:lnTo>
                    <a:lnTo>
                      <a:pt x="1149" y="1182"/>
                    </a:lnTo>
                    <a:lnTo>
                      <a:pt x="1149" y="1180"/>
                    </a:lnTo>
                    <a:lnTo>
                      <a:pt x="1147" y="1180"/>
                    </a:lnTo>
                    <a:lnTo>
                      <a:pt x="1147" y="1179"/>
                    </a:lnTo>
                    <a:lnTo>
                      <a:pt x="1145" y="1179"/>
                    </a:lnTo>
                    <a:lnTo>
                      <a:pt x="1147" y="1179"/>
                    </a:lnTo>
                    <a:lnTo>
                      <a:pt x="1147" y="1177"/>
                    </a:lnTo>
                    <a:lnTo>
                      <a:pt x="1147" y="1179"/>
                    </a:lnTo>
                    <a:lnTo>
                      <a:pt x="1149" y="1179"/>
                    </a:lnTo>
                    <a:lnTo>
                      <a:pt x="1149" y="1177"/>
                    </a:lnTo>
                    <a:lnTo>
                      <a:pt x="1149" y="1179"/>
                    </a:lnTo>
                    <a:lnTo>
                      <a:pt x="1149" y="1177"/>
                    </a:lnTo>
                    <a:lnTo>
                      <a:pt x="1151" y="1177"/>
                    </a:lnTo>
                    <a:lnTo>
                      <a:pt x="1152" y="1177"/>
                    </a:lnTo>
                    <a:lnTo>
                      <a:pt x="1151" y="1175"/>
                    </a:lnTo>
                    <a:lnTo>
                      <a:pt x="1151" y="1174"/>
                    </a:lnTo>
                    <a:lnTo>
                      <a:pt x="1151" y="1175"/>
                    </a:lnTo>
                    <a:lnTo>
                      <a:pt x="1152" y="1175"/>
                    </a:lnTo>
                    <a:lnTo>
                      <a:pt x="1151" y="1174"/>
                    </a:lnTo>
                    <a:lnTo>
                      <a:pt x="1152" y="1174"/>
                    </a:lnTo>
                    <a:lnTo>
                      <a:pt x="1152" y="1172"/>
                    </a:lnTo>
                    <a:lnTo>
                      <a:pt x="1154" y="1172"/>
                    </a:lnTo>
                    <a:lnTo>
                      <a:pt x="1156" y="1170"/>
                    </a:lnTo>
                    <a:lnTo>
                      <a:pt x="1157" y="1172"/>
                    </a:lnTo>
                    <a:lnTo>
                      <a:pt x="1156" y="1170"/>
                    </a:lnTo>
                    <a:lnTo>
                      <a:pt x="1157" y="1170"/>
                    </a:lnTo>
                    <a:lnTo>
                      <a:pt x="1157" y="1168"/>
                    </a:lnTo>
                    <a:lnTo>
                      <a:pt x="1157" y="1167"/>
                    </a:lnTo>
                    <a:lnTo>
                      <a:pt x="1157" y="1168"/>
                    </a:lnTo>
                    <a:lnTo>
                      <a:pt x="1159" y="1168"/>
                    </a:lnTo>
                    <a:lnTo>
                      <a:pt x="1159" y="1170"/>
                    </a:lnTo>
                    <a:lnTo>
                      <a:pt x="1161" y="1170"/>
                    </a:lnTo>
                    <a:lnTo>
                      <a:pt x="1162" y="1170"/>
                    </a:lnTo>
                    <a:lnTo>
                      <a:pt x="1164" y="1170"/>
                    </a:lnTo>
                    <a:lnTo>
                      <a:pt x="1166" y="1170"/>
                    </a:lnTo>
                    <a:lnTo>
                      <a:pt x="1168" y="1170"/>
                    </a:lnTo>
                    <a:lnTo>
                      <a:pt x="1166" y="1170"/>
                    </a:lnTo>
                    <a:lnTo>
                      <a:pt x="1164" y="1170"/>
                    </a:lnTo>
                    <a:lnTo>
                      <a:pt x="1162" y="1170"/>
                    </a:lnTo>
                    <a:lnTo>
                      <a:pt x="1161" y="1170"/>
                    </a:lnTo>
                    <a:lnTo>
                      <a:pt x="1161" y="1168"/>
                    </a:lnTo>
                    <a:lnTo>
                      <a:pt x="1159" y="1168"/>
                    </a:lnTo>
                    <a:lnTo>
                      <a:pt x="1159" y="1167"/>
                    </a:lnTo>
                    <a:lnTo>
                      <a:pt x="1161" y="1167"/>
                    </a:lnTo>
                    <a:lnTo>
                      <a:pt x="1162" y="1167"/>
                    </a:lnTo>
                    <a:lnTo>
                      <a:pt x="1161" y="1167"/>
                    </a:lnTo>
                    <a:lnTo>
                      <a:pt x="1161" y="1165"/>
                    </a:lnTo>
                    <a:lnTo>
                      <a:pt x="1161" y="1163"/>
                    </a:lnTo>
                    <a:lnTo>
                      <a:pt x="1162" y="1163"/>
                    </a:lnTo>
                    <a:lnTo>
                      <a:pt x="1164" y="1163"/>
                    </a:lnTo>
                    <a:lnTo>
                      <a:pt x="1164" y="1165"/>
                    </a:lnTo>
                    <a:lnTo>
                      <a:pt x="1166" y="1165"/>
                    </a:lnTo>
                    <a:lnTo>
                      <a:pt x="1166" y="1167"/>
                    </a:lnTo>
                    <a:lnTo>
                      <a:pt x="1168" y="1167"/>
                    </a:lnTo>
                    <a:lnTo>
                      <a:pt x="1166" y="1165"/>
                    </a:lnTo>
                    <a:lnTo>
                      <a:pt x="1166" y="1163"/>
                    </a:lnTo>
                    <a:lnTo>
                      <a:pt x="1166" y="1162"/>
                    </a:lnTo>
                    <a:lnTo>
                      <a:pt x="1168" y="1162"/>
                    </a:lnTo>
                    <a:lnTo>
                      <a:pt x="1168" y="1160"/>
                    </a:lnTo>
                    <a:lnTo>
                      <a:pt x="1169" y="1160"/>
                    </a:lnTo>
                    <a:lnTo>
                      <a:pt x="1169" y="1162"/>
                    </a:lnTo>
                    <a:lnTo>
                      <a:pt x="1169" y="1160"/>
                    </a:lnTo>
                    <a:lnTo>
                      <a:pt x="1169" y="1162"/>
                    </a:lnTo>
                    <a:lnTo>
                      <a:pt x="1171" y="1162"/>
                    </a:lnTo>
                    <a:lnTo>
                      <a:pt x="1171" y="1163"/>
                    </a:lnTo>
                    <a:lnTo>
                      <a:pt x="1171" y="1162"/>
                    </a:lnTo>
                    <a:lnTo>
                      <a:pt x="1173" y="1162"/>
                    </a:lnTo>
                    <a:lnTo>
                      <a:pt x="1174" y="1162"/>
                    </a:lnTo>
                    <a:lnTo>
                      <a:pt x="1173" y="1160"/>
                    </a:lnTo>
                    <a:lnTo>
                      <a:pt x="1173" y="1162"/>
                    </a:lnTo>
                    <a:lnTo>
                      <a:pt x="1171" y="1162"/>
                    </a:lnTo>
                    <a:lnTo>
                      <a:pt x="1171" y="1160"/>
                    </a:lnTo>
                    <a:lnTo>
                      <a:pt x="1171" y="1158"/>
                    </a:lnTo>
                    <a:lnTo>
                      <a:pt x="1171" y="1157"/>
                    </a:lnTo>
                    <a:lnTo>
                      <a:pt x="1171" y="1155"/>
                    </a:lnTo>
                    <a:lnTo>
                      <a:pt x="1173" y="1155"/>
                    </a:lnTo>
                    <a:lnTo>
                      <a:pt x="1174" y="1155"/>
                    </a:lnTo>
                    <a:lnTo>
                      <a:pt x="1176" y="1155"/>
                    </a:lnTo>
                    <a:lnTo>
                      <a:pt x="1178" y="1155"/>
                    </a:lnTo>
                    <a:lnTo>
                      <a:pt x="1176" y="1153"/>
                    </a:lnTo>
                    <a:lnTo>
                      <a:pt x="1176" y="1155"/>
                    </a:lnTo>
                    <a:lnTo>
                      <a:pt x="1174" y="1155"/>
                    </a:lnTo>
                    <a:lnTo>
                      <a:pt x="1173" y="1155"/>
                    </a:lnTo>
                    <a:lnTo>
                      <a:pt x="1173" y="1153"/>
                    </a:lnTo>
                    <a:lnTo>
                      <a:pt x="1174" y="1153"/>
                    </a:lnTo>
                    <a:lnTo>
                      <a:pt x="1173" y="1151"/>
                    </a:lnTo>
                    <a:lnTo>
                      <a:pt x="1173" y="1150"/>
                    </a:lnTo>
                    <a:lnTo>
                      <a:pt x="1174" y="1148"/>
                    </a:lnTo>
                    <a:lnTo>
                      <a:pt x="1173" y="1148"/>
                    </a:lnTo>
                    <a:lnTo>
                      <a:pt x="1173" y="1150"/>
                    </a:lnTo>
                    <a:lnTo>
                      <a:pt x="1173" y="1151"/>
                    </a:lnTo>
                    <a:lnTo>
                      <a:pt x="1171" y="1151"/>
                    </a:lnTo>
                    <a:lnTo>
                      <a:pt x="1173" y="1151"/>
                    </a:lnTo>
                    <a:lnTo>
                      <a:pt x="1173" y="1153"/>
                    </a:lnTo>
                    <a:lnTo>
                      <a:pt x="1171" y="1153"/>
                    </a:lnTo>
                    <a:lnTo>
                      <a:pt x="1171" y="1155"/>
                    </a:lnTo>
                    <a:lnTo>
                      <a:pt x="1169" y="1155"/>
                    </a:lnTo>
                    <a:lnTo>
                      <a:pt x="1168" y="1155"/>
                    </a:lnTo>
                    <a:lnTo>
                      <a:pt x="1168" y="1157"/>
                    </a:lnTo>
                    <a:lnTo>
                      <a:pt x="1168" y="1158"/>
                    </a:lnTo>
                    <a:lnTo>
                      <a:pt x="1166" y="1158"/>
                    </a:lnTo>
                    <a:lnTo>
                      <a:pt x="1164" y="1158"/>
                    </a:lnTo>
                    <a:lnTo>
                      <a:pt x="1162" y="1158"/>
                    </a:lnTo>
                    <a:lnTo>
                      <a:pt x="1161" y="1157"/>
                    </a:lnTo>
                    <a:lnTo>
                      <a:pt x="1161" y="1155"/>
                    </a:lnTo>
                    <a:lnTo>
                      <a:pt x="1162" y="1155"/>
                    </a:lnTo>
                    <a:lnTo>
                      <a:pt x="1162" y="1153"/>
                    </a:lnTo>
                    <a:lnTo>
                      <a:pt x="1164" y="1155"/>
                    </a:lnTo>
                    <a:lnTo>
                      <a:pt x="1164" y="1153"/>
                    </a:lnTo>
                    <a:lnTo>
                      <a:pt x="1166" y="1153"/>
                    </a:lnTo>
                    <a:lnTo>
                      <a:pt x="1168" y="1153"/>
                    </a:lnTo>
                    <a:lnTo>
                      <a:pt x="1169" y="1153"/>
                    </a:lnTo>
                    <a:lnTo>
                      <a:pt x="1168" y="1153"/>
                    </a:lnTo>
                    <a:lnTo>
                      <a:pt x="1166" y="1151"/>
                    </a:lnTo>
                    <a:lnTo>
                      <a:pt x="1168" y="1153"/>
                    </a:lnTo>
                    <a:lnTo>
                      <a:pt x="1166" y="1153"/>
                    </a:lnTo>
                    <a:lnTo>
                      <a:pt x="1164" y="1153"/>
                    </a:lnTo>
                    <a:lnTo>
                      <a:pt x="1162" y="1153"/>
                    </a:lnTo>
                    <a:lnTo>
                      <a:pt x="1161" y="1151"/>
                    </a:lnTo>
                    <a:lnTo>
                      <a:pt x="1162" y="1151"/>
                    </a:lnTo>
                    <a:lnTo>
                      <a:pt x="1164" y="1151"/>
                    </a:lnTo>
                    <a:lnTo>
                      <a:pt x="1164" y="1150"/>
                    </a:lnTo>
                    <a:lnTo>
                      <a:pt x="1166" y="1151"/>
                    </a:lnTo>
                    <a:lnTo>
                      <a:pt x="1164" y="1150"/>
                    </a:lnTo>
                    <a:lnTo>
                      <a:pt x="1162" y="1151"/>
                    </a:lnTo>
                    <a:lnTo>
                      <a:pt x="1161" y="1151"/>
                    </a:lnTo>
                    <a:lnTo>
                      <a:pt x="1161" y="1150"/>
                    </a:lnTo>
                    <a:lnTo>
                      <a:pt x="1161" y="1148"/>
                    </a:lnTo>
                    <a:lnTo>
                      <a:pt x="1159" y="1148"/>
                    </a:lnTo>
                    <a:lnTo>
                      <a:pt x="1161" y="1146"/>
                    </a:lnTo>
                    <a:lnTo>
                      <a:pt x="1162" y="1146"/>
                    </a:lnTo>
                    <a:lnTo>
                      <a:pt x="1164" y="1146"/>
                    </a:lnTo>
                    <a:lnTo>
                      <a:pt x="1164" y="1148"/>
                    </a:lnTo>
                    <a:lnTo>
                      <a:pt x="1164" y="1146"/>
                    </a:lnTo>
                    <a:lnTo>
                      <a:pt x="1164" y="1148"/>
                    </a:lnTo>
                    <a:lnTo>
                      <a:pt x="1166" y="1148"/>
                    </a:lnTo>
                    <a:lnTo>
                      <a:pt x="1168" y="1148"/>
                    </a:lnTo>
                    <a:lnTo>
                      <a:pt x="1168" y="1150"/>
                    </a:lnTo>
                    <a:lnTo>
                      <a:pt x="1169" y="1150"/>
                    </a:lnTo>
                    <a:lnTo>
                      <a:pt x="1168" y="1150"/>
                    </a:lnTo>
                    <a:lnTo>
                      <a:pt x="1168" y="1148"/>
                    </a:lnTo>
                    <a:lnTo>
                      <a:pt x="1166" y="1148"/>
                    </a:lnTo>
                    <a:lnTo>
                      <a:pt x="1164" y="1146"/>
                    </a:lnTo>
                    <a:lnTo>
                      <a:pt x="1166" y="1146"/>
                    </a:lnTo>
                    <a:lnTo>
                      <a:pt x="1168" y="1146"/>
                    </a:lnTo>
                    <a:lnTo>
                      <a:pt x="1168" y="1148"/>
                    </a:lnTo>
                    <a:lnTo>
                      <a:pt x="1168" y="1146"/>
                    </a:lnTo>
                    <a:lnTo>
                      <a:pt x="1169" y="1146"/>
                    </a:lnTo>
                    <a:lnTo>
                      <a:pt x="1168" y="1146"/>
                    </a:lnTo>
                    <a:lnTo>
                      <a:pt x="1169" y="1146"/>
                    </a:lnTo>
                    <a:lnTo>
                      <a:pt x="1171" y="1146"/>
                    </a:lnTo>
                    <a:lnTo>
                      <a:pt x="1169" y="1146"/>
                    </a:lnTo>
                    <a:lnTo>
                      <a:pt x="1169" y="1145"/>
                    </a:lnTo>
                    <a:lnTo>
                      <a:pt x="1171" y="1145"/>
                    </a:lnTo>
                    <a:lnTo>
                      <a:pt x="1173" y="1143"/>
                    </a:lnTo>
                    <a:lnTo>
                      <a:pt x="1173" y="1145"/>
                    </a:lnTo>
                    <a:lnTo>
                      <a:pt x="1174" y="1145"/>
                    </a:lnTo>
                    <a:lnTo>
                      <a:pt x="1173" y="1146"/>
                    </a:lnTo>
                    <a:lnTo>
                      <a:pt x="1173" y="1148"/>
                    </a:lnTo>
                    <a:lnTo>
                      <a:pt x="1174" y="1146"/>
                    </a:lnTo>
                    <a:lnTo>
                      <a:pt x="1174" y="1145"/>
                    </a:lnTo>
                    <a:lnTo>
                      <a:pt x="1176" y="1145"/>
                    </a:lnTo>
                    <a:lnTo>
                      <a:pt x="1178" y="1145"/>
                    </a:lnTo>
                    <a:lnTo>
                      <a:pt x="1178" y="1146"/>
                    </a:lnTo>
                    <a:lnTo>
                      <a:pt x="1176" y="1146"/>
                    </a:lnTo>
                    <a:lnTo>
                      <a:pt x="1178" y="1146"/>
                    </a:lnTo>
                    <a:lnTo>
                      <a:pt x="1178" y="1145"/>
                    </a:lnTo>
                    <a:lnTo>
                      <a:pt x="1179" y="1145"/>
                    </a:lnTo>
                    <a:lnTo>
                      <a:pt x="1179" y="1146"/>
                    </a:lnTo>
                    <a:lnTo>
                      <a:pt x="1179" y="1148"/>
                    </a:lnTo>
                    <a:lnTo>
                      <a:pt x="1178" y="1148"/>
                    </a:lnTo>
                    <a:lnTo>
                      <a:pt x="1179" y="1148"/>
                    </a:lnTo>
                    <a:lnTo>
                      <a:pt x="1181" y="1148"/>
                    </a:lnTo>
                    <a:lnTo>
                      <a:pt x="1179" y="1150"/>
                    </a:lnTo>
                    <a:lnTo>
                      <a:pt x="1181" y="1150"/>
                    </a:lnTo>
                    <a:lnTo>
                      <a:pt x="1181" y="1148"/>
                    </a:lnTo>
                    <a:lnTo>
                      <a:pt x="1183" y="1150"/>
                    </a:lnTo>
                    <a:lnTo>
                      <a:pt x="1181" y="1151"/>
                    </a:lnTo>
                    <a:lnTo>
                      <a:pt x="1181" y="1153"/>
                    </a:lnTo>
                    <a:lnTo>
                      <a:pt x="1181" y="1155"/>
                    </a:lnTo>
                    <a:lnTo>
                      <a:pt x="1183" y="1155"/>
                    </a:lnTo>
                    <a:lnTo>
                      <a:pt x="1183" y="1153"/>
                    </a:lnTo>
                    <a:lnTo>
                      <a:pt x="1183" y="1151"/>
                    </a:lnTo>
                    <a:lnTo>
                      <a:pt x="1183" y="1153"/>
                    </a:lnTo>
                    <a:lnTo>
                      <a:pt x="1183" y="1151"/>
                    </a:lnTo>
                    <a:lnTo>
                      <a:pt x="1183" y="1150"/>
                    </a:lnTo>
                    <a:lnTo>
                      <a:pt x="1185" y="1150"/>
                    </a:lnTo>
                    <a:lnTo>
                      <a:pt x="1185" y="1151"/>
                    </a:lnTo>
                    <a:lnTo>
                      <a:pt x="1185" y="1150"/>
                    </a:lnTo>
                    <a:lnTo>
                      <a:pt x="1183" y="1150"/>
                    </a:lnTo>
                    <a:lnTo>
                      <a:pt x="1183" y="1148"/>
                    </a:lnTo>
                    <a:lnTo>
                      <a:pt x="1181" y="1148"/>
                    </a:lnTo>
                    <a:lnTo>
                      <a:pt x="1181" y="1146"/>
                    </a:lnTo>
                    <a:lnTo>
                      <a:pt x="1181" y="1145"/>
                    </a:lnTo>
                    <a:lnTo>
                      <a:pt x="1183" y="1145"/>
                    </a:lnTo>
                    <a:lnTo>
                      <a:pt x="1183" y="1146"/>
                    </a:lnTo>
                    <a:lnTo>
                      <a:pt x="1183" y="1145"/>
                    </a:lnTo>
                    <a:lnTo>
                      <a:pt x="1181" y="1145"/>
                    </a:lnTo>
                    <a:lnTo>
                      <a:pt x="1181" y="1143"/>
                    </a:lnTo>
                    <a:lnTo>
                      <a:pt x="1183" y="1145"/>
                    </a:lnTo>
                    <a:lnTo>
                      <a:pt x="1183" y="1143"/>
                    </a:lnTo>
                    <a:lnTo>
                      <a:pt x="1185" y="1143"/>
                    </a:lnTo>
                    <a:lnTo>
                      <a:pt x="1186" y="1145"/>
                    </a:lnTo>
                    <a:lnTo>
                      <a:pt x="1186" y="1143"/>
                    </a:lnTo>
                    <a:lnTo>
                      <a:pt x="1186" y="1145"/>
                    </a:lnTo>
                    <a:lnTo>
                      <a:pt x="1186" y="1146"/>
                    </a:lnTo>
                    <a:lnTo>
                      <a:pt x="1188" y="1146"/>
                    </a:lnTo>
                    <a:lnTo>
                      <a:pt x="1186" y="1146"/>
                    </a:lnTo>
                    <a:lnTo>
                      <a:pt x="1188" y="1145"/>
                    </a:lnTo>
                    <a:lnTo>
                      <a:pt x="1190" y="1143"/>
                    </a:lnTo>
                    <a:lnTo>
                      <a:pt x="1191" y="1143"/>
                    </a:lnTo>
                    <a:lnTo>
                      <a:pt x="1193" y="1143"/>
                    </a:lnTo>
                    <a:lnTo>
                      <a:pt x="1193" y="1145"/>
                    </a:lnTo>
                    <a:lnTo>
                      <a:pt x="1195" y="1145"/>
                    </a:lnTo>
                    <a:lnTo>
                      <a:pt x="1193" y="1145"/>
                    </a:lnTo>
                    <a:lnTo>
                      <a:pt x="1193" y="1143"/>
                    </a:lnTo>
                    <a:lnTo>
                      <a:pt x="1195" y="1145"/>
                    </a:lnTo>
                    <a:lnTo>
                      <a:pt x="1195" y="1146"/>
                    </a:lnTo>
                    <a:lnTo>
                      <a:pt x="1193" y="1146"/>
                    </a:lnTo>
                    <a:lnTo>
                      <a:pt x="1191" y="1146"/>
                    </a:lnTo>
                    <a:lnTo>
                      <a:pt x="1190" y="1146"/>
                    </a:lnTo>
                    <a:lnTo>
                      <a:pt x="1190" y="1148"/>
                    </a:lnTo>
                    <a:lnTo>
                      <a:pt x="1188" y="1148"/>
                    </a:lnTo>
                    <a:lnTo>
                      <a:pt x="1190" y="1148"/>
                    </a:lnTo>
                    <a:lnTo>
                      <a:pt x="1191" y="1148"/>
                    </a:lnTo>
                    <a:lnTo>
                      <a:pt x="1193" y="1148"/>
                    </a:lnTo>
                    <a:lnTo>
                      <a:pt x="1193" y="1150"/>
                    </a:lnTo>
                    <a:lnTo>
                      <a:pt x="1191" y="1150"/>
                    </a:lnTo>
                    <a:lnTo>
                      <a:pt x="1193" y="1150"/>
                    </a:lnTo>
                    <a:lnTo>
                      <a:pt x="1193" y="1148"/>
                    </a:lnTo>
                    <a:lnTo>
                      <a:pt x="1195" y="1148"/>
                    </a:lnTo>
                    <a:lnTo>
                      <a:pt x="1196" y="1150"/>
                    </a:lnTo>
                    <a:lnTo>
                      <a:pt x="1196" y="1151"/>
                    </a:lnTo>
                    <a:lnTo>
                      <a:pt x="1195" y="1151"/>
                    </a:lnTo>
                    <a:lnTo>
                      <a:pt x="1195" y="1153"/>
                    </a:lnTo>
                    <a:lnTo>
                      <a:pt x="1193" y="1153"/>
                    </a:lnTo>
                    <a:lnTo>
                      <a:pt x="1191" y="1153"/>
                    </a:lnTo>
                    <a:lnTo>
                      <a:pt x="1190" y="1153"/>
                    </a:lnTo>
                    <a:lnTo>
                      <a:pt x="1188" y="1155"/>
                    </a:lnTo>
                    <a:lnTo>
                      <a:pt x="1186" y="1153"/>
                    </a:lnTo>
                    <a:lnTo>
                      <a:pt x="1186" y="1155"/>
                    </a:lnTo>
                    <a:lnTo>
                      <a:pt x="1188" y="1155"/>
                    </a:lnTo>
                    <a:lnTo>
                      <a:pt x="1190" y="1155"/>
                    </a:lnTo>
                    <a:lnTo>
                      <a:pt x="1191" y="1153"/>
                    </a:lnTo>
                    <a:lnTo>
                      <a:pt x="1193" y="1153"/>
                    </a:lnTo>
                    <a:lnTo>
                      <a:pt x="1195" y="1153"/>
                    </a:lnTo>
                    <a:lnTo>
                      <a:pt x="1195" y="1155"/>
                    </a:lnTo>
                    <a:lnTo>
                      <a:pt x="1195" y="1157"/>
                    </a:lnTo>
                    <a:lnTo>
                      <a:pt x="1195" y="1158"/>
                    </a:lnTo>
                    <a:lnTo>
                      <a:pt x="1193" y="1158"/>
                    </a:lnTo>
                    <a:lnTo>
                      <a:pt x="1191" y="1160"/>
                    </a:lnTo>
                    <a:lnTo>
                      <a:pt x="1191" y="1158"/>
                    </a:lnTo>
                    <a:lnTo>
                      <a:pt x="1190" y="1158"/>
                    </a:lnTo>
                    <a:lnTo>
                      <a:pt x="1190" y="1160"/>
                    </a:lnTo>
                    <a:lnTo>
                      <a:pt x="1188" y="1160"/>
                    </a:lnTo>
                    <a:lnTo>
                      <a:pt x="1186" y="1160"/>
                    </a:lnTo>
                    <a:lnTo>
                      <a:pt x="1186" y="1158"/>
                    </a:lnTo>
                    <a:lnTo>
                      <a:pt x="1186" y="1160"/>
                    </a:lnTo>
                    <a:lnTo>
                      <a:pt x="1185" y="1158"/>
                    </a:lnTo>
                    <a:lnTo>
                      <a:pt x="1186" y="1160"/>
                    </a:lnTo>
                    <a:lnTo>
                      <a:pt x="1188" y="1160"/>
                    </a:lnTo>
                    <a:lnTo>
                      <a:pt x="1190" y="1160"/>
                    </a:lnTo>
                    <a:lnTo>
                      <a:pt x="1191" y="1160"/>
                    </a:lnTo>
                    <a:lnTo>
                      <a:pt x="1193" y="1160"/>
                    </a:lnTo>
                    <a:lnTo>
                      <a:pt x="1193" y="1158"/>
                    </a:lnTo>
                    <a:lnTo>
                      <a:pt x="1195" y="1158"/>
                    </a:lnTo>
                    <a:lnTo>
                      <a:pt x="1196" y="1157"/>
                    </a:lnTo>
                    <a:lnTo>
                      <a:pt x="1195" y="1157"/>
                    </a:lnTo>
                    <a:lnTo>
                      <a:pt x="1195" y="1155"/>
                    </a:lnTo>
                    <a:lnTo>
                      <a:pt x="1195" y="1153"/>
                    </a:lnTo>
                    <a:lnTo>
                      <a:pt x="1195" y="1151"/>
                    </a:lnTo>
                    <a:lnTo>
                      <a:pt x="1196" y="1151"/>
                    </a:lnTo>
                    <a:lnTo>
                      <a:pt x="1196" y="1153"/>
                    </a:lnTo>
                    <a:lnTo>
                      <a:pt x="1198" y="1153"/>
                    </a:lnTo>
                    <a:lnTo>
                      <a:pt x="1198" y="1155"/>
                    </a:lnTo>
                    <a:lnTo>
                      <a:pt x="1198" y="1157"/>
                    </a:lnTo>
                    <a:lnTo>
                      <a:pt x="1198" y="1158"/>
                    </a:lnTo>
                    <a:lnTo>
                      <a:pt x="1196" y="1160"/>
                    </a:lnTo>
                    <a:lnTo>
                      <a:pt x="1195" y="1160"/>
                    </a:lnTo>
                    <a:lnTo>
                      <a:pt x="1195" y="1162"/>
                    </a:lnTo>
                    <a:lnTo>
                      <a:pt x="1193" y="1162"/>
                    </a:lnTo>
                    <a:lnTo>
                      <a:pt x="1191" y="1163"/>
                    </a:lnTo>
                    <a:lnTo>
                      <a:pt x="1190" y="1163"/>
                    </a:lnTo>
                    <a:lnTo>
                      <a:pt x="1188" y="1163"/>
                    </a:lnTo>
                    <a:lnTo>
                      <a:pt x="1188" y="1165"/>
                    </a:lnTo>
                    <a:lnTo>
                      <a:pt x="1186" y="1165"/>
                    </a:lnTo>
                    <a:lnTo>
                      <a:pt x="1185" y="1163"/>
                    </a:lnTo>
                    <a:lnTo>
                      <a:pt x="1183" y="1163"/>
                    </a:lnTo>
                    <a:lnTo>
                      <a:pt x="1181" y="1162"/>
                    </a:lnTo>
                    <a:lnTo>
                      <a:pt x="1183" y="1162"/>
                    </a:lnTo>
                    <a:lnTo>
                      <a:pt x="1181" y="1160"/>
                    </a:lnTo>
                    <a:lnTo>
                      <a:pt x="1181" y="1162"/>
                    </a:lnTo>
                    <a:lnTo>
                      <a:pt x="1181" y="1163"/>
                    </a:lnTo>
                    <a:lnTo>
                      <a:pt x="1183" y="1163"/>
                    </a:lnTo>
                    <a:lnTo>
                      <a:pt x="1185" y="1165"/>
                    </a:lnTo>
                    <a:lnTo>
                      <a:pt x="1186" y="1165"/>
                    </a:lnTo>
                    <a:lnTo>
                      <a:pt x="1188" y="1165"/>
                    </a:lnTo>
                    <a:lnTo>
                      <a:pt x="1190" y="1165"/>
                    </a:lnTo>
                    <a:lnTo>
                      <a:pt x="1190" y="1163"/>
                    </a:lnTo>
                    <a:lnTo>
                      <a:pt x="1191" y="1163"/>
                    </a:lnTo>
                    <a:lnTo>
                      <a:pt x="1193" y="1163"/>
                    </a:lnTo>
                    <a:lnTo>
                      <a:pt x="1195" y="1162"/>
                    </a:lnTo>
                    <a:lnTo>
                      <a:pt x="1196" y="1162"/>
                    </a:lnTo>
                    <a:lnTo>
                      <a:pt x="1196" y="1163"/>
                    </a:lnTo>
                    <a:lnTo>
                      <a:pt x="1195" y="1163"/>
                    </a:lnTo>
                    <a:lnTo>
                      <a:pt x="1196" y="1163"/>
                    </a:lnTo>
                    <a:lnTo>
                      <a:pt x="1196" y="1165"/>
                    </a:lnTo>
                    <a:lnTo>
                      <a:pt x="1196" y="1163"/>
                    </a:lnTo>
                    <a:lnTo>
                      <a:pt x="1196" y="1162"/>
                    </a:lnTo>
                    <a:lnTo>
                      <a:pt x="1198" y="1162"/>
                    </a:lnTo>
                    <a:lnTo>
                      <a:pt x="1198" y="1160"/>
                    </a:lnTo>
                    <a:lnTo>
                      <a:pt x="1200" y="1160"/>
                    </a:lnTo>
                    <a:lnTo>
                      <a:pt x="1202" y="1158"/>
                    </a:lnTo>
                    <a:lnTo>
                      <a:pt x="1202" y="1160"/>
                    </a:lnTo>
                    <a:lnTo>
                      <a:pt x="1202" y="1162"/>
                    </a:lnTo>
                    <a:lnTo>
                      <a:pt x="1203" y="1162"/>
                    </a:lnTo>
                    <a:lnTo>
                      <a:pt x="1203" y="1163"/>
                    </a:lnTo>
                    <a:lnTo>
                      <a:pt x="1205" y="1163"/>
                    </a:lnTo>
                    <a:lnTo>
                      <a:pt x="1205" y="1165"/>
                    </a:lnTo>
                    <a:lnTo>
                      <a:pt x="1205" y="1167"/>
                    </a:lnTo>
                    <a:lnTo>
                      <a:pt x="1205" y="1168"/>
                    </a:lnTo>
                    <a:lnTo>
                      <a:pt x="1205" y="1170"/>
                    </a:lnTo>
                    <a:lnTo>
                      <a:pt x="1203" y="1170"/>
                    </a:lnTo>
                    <a:lnTo>
                      <a:pt x="1203" y="1172"/>
                    </a:lnTo>
                    <a:lnTo>
                      <a:pt x="1203" y="1174"/>
                    </a:lnTo>
                    <a:lnTo>
                      <a:pt x="1202" y="1174"/>
                    </a:lnTo>
                    <a:lnTo>
                      <a:pt x="1202" y="1175"/>
                    </a:lnTo>
                    <a:lnTo>
                      <a:pt x="1200" y="1175"/>
                    </a:lnTo>
                    <a:lnTo>
                      <a:pt x="1202" y="1177"/>
                    </a:lnTo>
                    <a:lnTo>
                      <a:pt x="1202" y="1179"/>
                    </a:lnTo>
                    <a:lnTo>
                      <a:pt x="1202" y="1177"/>
                    </a:lnTo>
                    <a:lnTo>
                      <a:pt x="1200" y="1177"/>
                    </a:lnTo>
                    <a:lnTo>
                      <a:pt x="1200" y="1179"/>
                    </a:lnTo>
                    <a:lnTo>
                      <a:pt x="1198" y="1179"/>
                    </a:lnTo>
                    <a:lnTo>
                      <a:pt x="1200" y="1179"/>
                    </a:lnTo>
                    <a:lnTo>
                      <a:pt x="1200" y="1180"/>
                    </a:lnTo>
                    <a:lnTo>
                      <a:pt x="1202" y="1180"/>
                    </a:lnTo>
                    <a:lnTo>
                      <a:pt x="1202" y="1182"/>
                    </a:lnTo>
                    <a:lnTo>
                      <a:pt x="1203" y="1180"/>
                    </a:lnTo>
                    <a:lnTo>
                      <a:pt x="1203" y="1179"/>
                    </a:lnTo>
                    <a:lnTo>
                      <a:pt x="1203" y="1177"/>
                    </a:lnTo>
                    <a:lnTo>
                      <a:pt x="1205" y="1177"/>
                    </a:lnTo>
                    <a:lnTo>
                      <a:pt x="1205" y="1175"/>
                    </a:lnTo>
                    <a:lnTo>
                      <a:pt x="1205" y="1174"/>
                    </a:lnTo>
                    <a:lnTo>
                      <a:pt x="1205" y="1172"/>
                    </a:lnTo>
                    <a:lnTo>
                      <a:pt x="1207" y="1172"/>
                    </a:lnTo>
                    <a:lnTo>
                      <a:pt x="1208" y="1170"/>
                    </a:lnTo>
                    <a:lnTo>
                      <a:pt x="1208" y="1168"/>
                    </a:lnTo>
                    <a:lnTo>
                      <a:pt x="1210" y="1168"/>
                    </a:lnTo>
                    <a:lnTo>
                      <a:pt x="1210" y="1167"/>
                    </a:lnTo>
                    <a:lnTo>
                      <a:pt x="1212" y="1167"/>
                    </a:lnTo>
                    <a:lnTo>
                      <a:pt x="1213" y="1167"/>
                    </a:lnTo>
                    <a:lnTo>
                      <a:pt x="1215" y="1167"/>
                    </a:lnTo>
                    <a:lnTo>
                      <a:pt x="1213" y="1167"/>
                    </a:lnTo>
                    <a:lnTo>
                      <a:pt x="1212" y="1167"/>
                    </a:lnTo>
                    <a:lnTo>
                      <a:pt x="1212" y="1165"/>
                    </a:lnTo>
                    <a:lnTo>
                      <a:pt x="1212" y="1163"/>
                    </a:lnTo>
                    <a:lnTo>
                      <a:pt x="1212" y="1162"/>
                    </a:lnTo>
                    <a:lnTo>
                      <a:pt x="1213" y="1162"/>
                    </a:lnTo>
                    <a:lnTo>
                      <a:pt x="1213" y="1160"/>
                    </a:lnTo>
                    <a:lnTo>
                      <a:pt x="1215" y="1160"/>
                    </a:lnTo>
                    <a:lnTo>
                      <a:pt x="1213" y="1160"/>
                    </a:lnTo>
                    <a:lnTo>
                      <a:pt x="1213" y="1158"/>
                    </a:lnTo>
                    <a:lnTo>
                      <a:pt x="1215" y="1158"/>
                    </a:lnTo>
                    <a:lnTo>
                      <a:pt x="1215" y="1157"/>
                    </a:lnTo>
                    <a:lnTo>
                      <a:pt x="1217" y="1157"/>
                    </a:lnTo>
                    <a:lnTo>
                      <a:pt x="1217" y="1155"/>
                    </a:lnTo>
                    <a:lnTo>
                      <a:pt x="1219" y="1155"/>
                    </a:lnTo>
                    <a:lnTo>
                      <a:pt x="1219" y="1153"/>
                    </a:lnTo>
                    <a:lnTo>
                      <a:pt x="1217" y="1153"/>
                    </a:lnTo>
                    <a:lnTo>
                      <a:pt x="1215" y="1155"/>
                    </a:lnTo>
                    <a:lnTo>
                      <a:pt x="1215" y="1157"/>
                    </a:lnTo>
                    <a:lnTo>
                      <a:pt x="1213" y="1157"/>
                    </a:lnTo>
                    <a:lnTo>
                      <a:pt x="1213" y="1158"/>
                    </a:lnTo>
                    <a:lnTo>
                      <a:pt x="1212" y="1160"/>
                    </a:lnTo>
                    <a:lnTo>
                      <a:pt x="1212" y="1162"/>
                    </a:lnTo>
                    <a:lnTo>
                      <a:pt x="1210" y="1163"/>
                    </a:lnTo>
                    <a:lnTo>
                      <a:pt x="1212" y="1162"/>
                    </a:lnTo>
                    <a:lnTo>
                      <a:pt x="1212" y="1163"/>
                    </a:lnTo>
                    <a:lnTo>
                      <a:pt x="1210" y="1163"/>
                    </a:lnTo>
                    <a:lnTo>
                      <a:pt x="1210" y="1165"/>
                    </a:lnTo>
                    <a:lnTo>
                      <a:pt x="1208" y="1167"/>
                    </a:lnTo>
                    <a:lnTo>
                      <a:pt x="1208" y="1168"/>
                    </a:lnTo>
                    <a:lnTo>
                      <a:pt x="1207" y="1168"/>
                    </a:lnTo>
                    <a:lnTo>
                      <a:pt x="1208" y="1168"/>
                    </a:lnTo>
                    <a:lnTo>
                      <a:pt x="1207" y="1168"/>
                    </a:lnTo>
                    <a:lnTo>
                      <a:pt x="1208" y="1167"/>
                    </a:lnTo>
                    <a:lnTo>
                      <a:pt x="1208" y="1165"/>
                    </a:lnTo>
                    <a:lnTo>
                      <a:pt x="1208" y="1163"/>
                    </a:lnTo>
                    <a:lnTo>
                      <a:pt x="1210" y="1163"/>
                    </a:lnTo>
                    <a:lnTo>
                      <a:pt x="1208" y="1163"/>
                    </a:lnTo>
                    <a:lnTo>
                      <a:pt x="1208" y="1162"/>
                    </a:lnTo>
                    <a:lnTo>
                      <a:pt x="1208" y="1160"/>
                    </a:lnTo>
                    <a:lnTo>
                      <a:pt x="1208" y="1158"/>
                    </a:lnTo>
                    <a:lnTo>
                      <a:pt x="1210" y="1158"/>
                    </a:lnTo>
                    <a:lnTo>
                      <a:pt x="1210" y="1157"/>
                    </a:lnTo>
                    <a:lnTo>
                      <a:pt x="1210" y="1155"/>
                    </a:lnTo>
                    <a:lnTo>
                      <a:pt x="1208" y="1153"/>
                    </a:lnTo>
                    <a:lnTo>
                      <a:pt x="1210" y="1153"/>
                    </a:lnTo>
                    <a:lnTo>
                      <a:pt x="1208" y="1151"/>
                    </a:lnTo>
                    <a:lnTo>
                      <a:pt x="1210" y="1151"/>
                    </a:lnTo>
                    <a:lnTo>
                      <a:pt x="1210" y="1150"/>
                    </a:lnTo>
                    <a:lnTo>
                      <a:pt x="1212" y="1150"/>
                    </a:lnTo>
                    <a:lnTo>
                      <a:pt x="1210" y="1150"/>
                    </a:lnTo>
                    <a:lnTo>
                      <a:pt x="1210" y="1148"/>
                    </a:lnTo>
                    <a:lnTo>
                      <a:pt x="1212" y="1146"/>
                    </a:lnTo>
                    <a:lnTo>
                      <a:pt x="1213" y="1146"/>
                    </a:lnTo>
                    <a:lnTo>
                      <a:pt x="1212" y="1145"/>
                    </a:lnTo>
                    <a:lnTo>
                      <a:pt x="1213" y="1143"/>
                    </a:lnTo>
                    <a:lnTo>
                      <a:pt x="1213" y="1141"/>
                    </a:lnTo>
                    <a:lnTo>
                      <a:pt x="1215" y="1141"/>
                    </a:lnTo>
                    <a:lnTo>
                      <a:pt x="1215" y="1140"/>
                    </a:lnTo>
                    <a:lnTo>
                      <a:pt x="1217" y="1138"/>
                    </a:lnTo>
                    <a:lnTo>
                      <a:pt x="1219" y="1138"/>
                    </a:lnTo>
                    <a:lnTo>
                      <a:pt x="1220" y="1138"/>
                    </a:lnTo>
                    <a:lnTo>
                      <a:pt x="1220" y="1136"/>
                    </a:lnTo>
                    <a:lnTo>
                      <a:pt x="1222" y="1138"/>
                    </a:lnTo>
                    <a:lnTo>
                      <a:pt x="1222" y="1136"/>
                    </a:lnTo>
                    <a:lnTo>
                      <a:pt x="1222" y="1138"/>
                    </a:lnTo>
                    <a:lnTo>
                      <a:pt x="1224" y="1138"/>
                    </a:lnTo>
                    <a:lnTo>
                      <a:pt x="1225" y="1136"/>
                    </a:lnTo>
                    <a:lnTo>
                      <a:pt x="1224" y="1136"/>
                    </a:lnTo>
                    <a:lnTo>
                      <a:pt x="1224" y="1134"/>
                    </a:lnTo>
                    <a:lnTo>
                      <a:pt x="1222" y="1134"/>
                    </a:lnTo>
                    <a:lnTo>
                      <a:pt x="1222" y="1136"/>
                    </a:lnTo>
                    <a:lnTo>
                      <a:pt x="1220" y="1136"/>
                    </a:lnTo>
                    <a:lnTo>
                      <a:pt x="1220" y="1134"/>
                    </a:lnTo>
                    <a:lnTo>
                      <a:pt x="1220" y="1133"/>
                    </a:lnTo>
                    <a:lnTo>
                      <a:pt x="1222" y="1133"/>
                    </a:lnTo>
                    <a:lnTo>
                      <a:pt x="1220" y="1133"/>
                    </a:lnTo>
                    <a:lnTo>
                      <a:pt x="1220" y="1134"/>
                    </a:lnTo>
                    <a:lnTo>
                      <a:pt x="1219" y="1134"/>
                    </a:lnTo>
                    <a:lnTo>
                      <a:pt x="1217" y="1136"/>
                    </a:lnTo>
                    <a:lnTo>
                      <a:pt x="1217" y="1138"/>
                    </a:lnTo>
                    <a:lnTo>
                      <a:pt x="1215" y="1138"/>
                    </a:lnTo>
                    <a:lnTo>
                      <a:pt x="1215" y="1140"/>
                    </a:lnTo>
                    <a:lnTo>
                      <a:pt x="1213" y="1140"/>
                    </a:lnTo>
                    <a:lnTo>
                      <a:pt x="1213" y="1141"/>
                    </a:lnTo>
                    <a:lnTo>
                      <a:pt x="1212" y="1141"/>
                    </a:lnTo>
                    <a:lnTo>
                      <a:pt x="1212" y="1140"/>
                    </a:lnTo>
                    <a:lnTo>
                      <a:pt x="1212" y="1138"/>
                    </a:lnTo>
                    <a:lnTo>
                      <a:pt x="1212" y="1136"/>
                    </a:lnTo>
                    <a:lnTo>
                      <a:pt x="1212" y="1134"/>
                    </a:lnTo>
                    <a:lnTo>
                      <a:pt x="1212" y="1133"/>
                    </a:lnTo>
                    <a:lnTo>
                      <a:pt x="1213" y="1133"/>
                    </a:lnTo>
                    <a:lnTo>
                      <a:pt x="1213" y="1131"/>
                    </a:lnTo>
                    <a:lnTo>
                      <a:pt x="1213" y="1129"/>
                    </a:lnTo>
                    <a:lnTo>
                      <a:pt x="1213" y="1128"/>
                    </a:lnTo>
                    <a:lnTo>
                      <a:pt x="1213" y="1126"/>
                    </a:lnTo>
                    <a:lnTo>
                      <a:pt x="1215" y="1124"/>
                    </a:lnTo>
                    <a:lnTo>
                      <a:pt x="1217" y="1124"/>
                    </a:lnTo>
                    <a:lnTo>
                      <a:pt x="1217" y="1126"/>
                    </a:lnTo>
                    <a:lnTo>
                      <a:pt x="1217" y="1128"/>
                    </a:lnTo>
                    <a:lnTo>
                      <a:pt x="1217" y="1126"/>
                    </a:lnTo>
                    <a:lnTo>
                      <a:pt x="1217" y="1124"/>
                    </a:lnTo>
                    <a:lnTo>
                      <a:pt x="1217" y="1122"/>
                    </a:lnTo>
                    <a:lnTo>
                      <a:pt x="1219" y="1122"/>
                    </a:lnTo>
                    <a:lnTo>
                      <a:pt x="1219" y="1121"/>
                    </a:lnTo>
                    <a:lnTo>
                      <a:pt x="1219" y="1122"/>
                    </a:lnTo>
                    <a:lnTo>
                      <a:pt x="1220" y="1124"/>
                    </a:lnTo>
                    <a:lnTo>
                      <a:pt x="1220" y="1122"/>
                    </a:lnTo>
                    <a:lnTo>
                      <a:pt x="1220" y="1121"/>
                    </a:lnTo>
                    <a:lnTo>
                      <a:pt x="1219" y="1121"/>
                    </a:lnTo>
                    <a:lnTo>
                      <a:pt x="1220" y="1121"/>
                    </a:lnTo>
                    <a:lnTo>
                      <a:pt x="1220" y="1119"/>
                    </a:lnTo>
                    <a:lnTo>
                      <a:pt x="1222" y="1119"/>
                    </a:lnTo>
                    <a:lnTo>
                      <a:pt x="1224" y="1119"/>
                    </a:lnTo>
                    <a:lnTo>
                      <a:pt x="1225" y="1119"/>
                    </a:lnTo>
                    <a:lnTo>
                      <a:pt x="1225" y="1121"/>
                    </a:lnTo>
                    <a:lnTo>
                      <a:pt x="1225" y="1122"/>
                    </a:lnTo>
                    <a:lnTo>
                      <a:pt x="1227" y="1122"/>
                    </a:lnTo>
                    <a:lnTo>
                      <a:pt x="1227" y="1124"/>
                    </a:lnTo>
                    <a:lnTo>
                      <a:pt x="1229" y="1124"/>
                    </a:lnTo>
                    <a:lnTo>
                      <a:pt x="1230" y="1126"/>
                    </a:lnTo>
                    <a:lnTo>
                      <a:pt x="1232" y="1126"/>
                    </a:lnTo>
                    <a:lnTo>
                      <a:pt x="1234" y="1126"/>
                    </a:lnTo>
                    <a:lnTo>
                      <a:pt x="1234" y="1128"/>
                    </a:lnTo>
                    <a:lnTo>
                      <a:pt x="1234" y="1126"/>
                    </a:lnTo>
                    <a:lnTo>
                      <a:pt x="1234" y="1128"/>
                    </a:lnTo>
                    <a:lnTo>
                      <a:pt x="1236" y="1126"/>
                    </a:lnTo>
                    <a:lnTo>
                      <a:pt x="1236" y="1128"/>
                    </a:lnTo>
                    <a:lnTo>
                      <a:pt x="1236" y="1126"/>
                    </a:lnTo>
                    <a:lnTo>
                      <a:pt x="1237" y="1126"/>
                    </a:lnTo>
                    <a:lnTo>
                      <a:pt x="1236" y="1126"/>
                    </a:lnTo>
                    <a:lnTo>
                      <a:pt x="1237" y="1126"/>
                    </a:lnTo>
                    <a:lnTo>
                      <a:pt x="1237" y="1124"/>
                    </a:lnTo>
                    <a:lnTo>
                      <a:pt x="1236" y="1124"/>
                    </a:lnTo>
                    <a:lnTo>
                      <a:pt x="1237" y="1122"/>
                    </a:lnTo>
                    <a:lnTo>
                      <a:pt x="1236" y="1122"/>
                    </a:lnTo>
                    <a:lnTo>
                      <a:pt x="1234" y="1122"/>
                    </a:lnTo>
                    <a:lnTo>
                      <a:pt x="1234" y="1124"/>
                    </a:lnTo>
                    <a:lnTo>
                      <a:pt x="1232" y="1124"/>
                    </a:lnTo>
                    <a:lnTo>
                      <a:pt x="1230" y="1124"/>
                    </a:lnTo>
                    <a:lnTo>
                      <a:pt x="1230" y="1122"/>
                    </a:lnTo>
                    <a:lnTo>
                      <a:pt x="1229" y="1122"/>
                    </a:lnTo>
                    <a:lnTo>
                      <a:pt x="1229" y="1121"/>
                    </a:lnTo>
                    <a:lnTo>
                      <a:pt x="1227" y="1121"/>
                    </a:lnTo>
                    <a:lnTo>
                      <a:pt x="1227" y="1119"/>
                    </a:lnTo>
                    <a:lnTo>
                      <a:pt x="1225" y="1117"/>
                    </a:lnTo>
                    <a:lnTo>
                      <a:pt x="1224" y="1117"/>
                    </a:lnTo>
                    <a:lnTo>
                      <a:pt x="1224" y="1116"/>
                    </a:lnTo>
                    <a:lnTo>
                      <a:pt x="1222" y="1116"/>
                    </a:lnTo>
                    <a:lnTo>
                      <a:pt x="1220" y="1116"/>
                    </a:lnTo>
                    <a:lnTo>
                      <a:pt x="1220" y="1117"/>
                    </a:lnTo>
                    <a:lnTo>
                      <a:pt x="1219" y="1117"/>
                    </a:lnTo>
                    <a:lnTo>
                      <a:pt x="1219" y="1119"/>
                    </a:lnTo>
                    <a:lnTo>
                      <a:pt x="1219" y="1117"/>
                    </a:lnTo>
                    <a:lnTo>
                      <a:pt x="1217" y="1117"/>
                    </a:lnTo>
                    <a:lnTo>
                      <a:pt x="1215" y="1117"/>
                    </a:lnTo>
                    <a:lnTo>
                      <a:pt x="1213" y="1116"/>
                    </a:lnTo>
                    <a:lnTo>
                      <a:pt x="1213" y="1114"/>
                    </a:lnTo>
                    <a:lnTo>
                      <a:pt x="1215" y="1116"/>
                    </a:lnTo>
                    <a:lnTo>
                      <a:pt x="1215" y="1117"/>
                    </a:lnTo>
                    <a:lnTo>
                      <a:pt x="1215" y="1116"/>
                    </a:lnTo>
                    <a:lnTo>
                      <a:pt x="1215" y="1114"/>
                    </a:lnTo>
                    <a:lnTo>
                      <a:pt x="1217" y="1114"/>
                    </a:lnTo>
                    <a:lnTo>
                      <a:pt x="1219" y="1114"/>
                    </a:lnTo>
                    <a:lnTo>
                      <a:pt x="1220" y="1114"/>
                    </a:lnTo>
                    <a:lnTo>
                      <a:pt x="1220" y="1112"/>
                    </a:lnTo>
                    <a:lnTo>
                      <a:pt x="1219" y="1112"/>
                    </a:lnTo>
                    <a:lnTo>
                      <a:pt x="1220" y="1112"/>
                    </a:lnTo>
                    <a:lnTo>
                      <a:pt x="1220" y="1111"/>
                    </a:lnTo>
                    <a:lnTo>
                      <a:pt x="1220" y="1109"/>
                    </a:lnTo>
                    <a:lnTo>
                      <a:pt x="1219" y="1109"/>
                    </a:lnTo>
                    <a:lnTo>
                      <a:pt x="1220" y="1109"/>
                    </a:lnTo>
                    <a:lnTo>
                      <a:pt x="1220" y="1107"/>
                    </a:lnTo>
                    <a:lnTo>
                      <a:pt x="1220" y="1109"/>
                    </a:lnTo>
                    <a:lnTo>
                      <a:pt x="1219" y="1109"/>
                    </a:lnTo>
                    <a:lnTo>
                      <a:pt x="1219" y="1107"/>
                    </a:lnTo>
                    <a:lnTo>
                      <a:pt x="1217" y="1107"/>
                    </a:lnTo>
                    <a:lnTo>
                      <a:pt x="1217" y="1105"/>
                    </a:lnTo>
                    <a:lnTo>
                      <a:pt x="1217" y="1104"/>
                    </a:lnTo>
                    <a:lnTo>
                      <a:pt x="1217" y="1102"/>
                    </a:lnTo>
                    <a:lnTo>
                      <a:pt x="1219" y="1102"/>
                    </a:lnTo>
                    <a:lnTo>
                      <a:pt x="1220" y="1102"/>
                    </a:lnTo>
                    <a:lnTo>
                      <a:pt x="1222" y="1102"/>
                    </a:lnTo>
                    <a:lnTo>
                      <a:pt x="1224" y="1102"/>
                    </a:lnTo>
                    <a:lnTo>
                      <a:pt x="1225" y="1100"/>
                    </a:lnTo>
                    <a:lnTo>
                      <a:pt x="1227" y="1102"/>
                    </a:lnTo>
                    <a:lnTo>
                      <a:pt x="1227" y="1100"/>
                    </a:lnTo>
                    <a:lnTo>
                      <a:pt x="1229" y="1100"/>
                    </a:lnTo>
                    <a:lnTo>
                      <a:pt x="1229" y="1099"/>
                    </a:lnTo>
                    <a:lnTo>
                      <a:pt x="1230" y="1099"/>
                    </a:lnTo>
                    <a:lnTo>
                      <a:pt x="1230" y="1097"/>
                    </a:lnTo>
                    <a:lnTo>
                      <a:pt x="1232" y="1097"/>
                    </a:lnTo>
                    <a:lnTo>
                      <a:pt x="1232" y="1099"/>
                    </a:lnTo>
                    <a:lnTo>
                      <a:pt x="1232" y="1097"/>
                    </a:lnTo>
                    <a:lnTo>
                      <a:pt x="1234" y="1097"/>
                    </a:lnTo>
                    <a:lnTo>
                      <a:pt x="1236" y="1095"/>
                    </a:lnTo>
                    <a:lnTo>
                      <a:pt x="1237" y="1094"/>
                    </a:lnTo>
                    <a:lnTo>
                      <a:pt x="1239" y="1092"/>
                    </a:lnTo>
                    <a:lnTo>
                      <a:pt x="1241" y="1092"/>
                    </a:lnTo>
                    <a:lnTo>
                      <a:pt x="1241" y="1090"/>
                    </a:lnTo>
                    <a:lnTo>
                      <a:pt x="1239" y="1088"/>
                    </a:lnTo>
                    <a:lnTo>
                      <a:pt x="1241" y="1087"/>
                    </a:lnTo>
                    <a:lnTo>
                      <a:pt x="1241" y="1085"/>
                    </a:lnTo>
                    <a:lnTo>
                      <a:pt x="1241" y="1083"/>
                    </a:lnTo>
                    <a:lnTo>
                      <a:pt x="1242" y="1082"/>
                    </a:lnTo>
                    <a:lnTo>
                      <a:pt x="1244" y="1082"/>
                    </a:lnTo>
                    <a:lnTo>
                      <a:pt x="1244" y="1080"/>
                    </a:lnTo>
                    <a:lnTo>
                      <a:pt x="1244" y="1082"/>
                    </a:lnTo>
                    <a:lnTo>
                      <a:pt x="1246" y="1082"/>
                    </a:lnTo>
                    <a:lnTo>
                      <a:pt x="1244" y="1080"/>
                    </a:lnTo>
                    <a:lnTo>
                      <a:pt x="1244" y="1078"/>
                    </a:lnTo>
                    <a:lnTo>
                      <a:pt x="1244" y="1077"/>
                    </a:lnTo>
                    <a:lnTo>
                      <a:pt x="1244" y="1075"/>
                    </a:lnTo>
                    <a:lnTo>
                      <a:pt x="1244" y="1073"/>
                    </a:lnTo>
                    <a:lnTo>
                      <a:pt x="1246" y="1071"/>
                    </a:lnTo>
                    <a:lnTo>
                      <a:pt x="1244" y="1071"/>
                    </a:lnTo>
                    <a:lnTo>
                      <a:pt x="1244" y="1073"/>
                    </a:lnTo>
                    <a:lnTo>
                      <a:pt x="1244" y="1075"/>
                    </a:lnTo>
                    <a:lnTo>
                      <a:pt x="1242" y="1077"/>
                    </a:lnTo>
                    <a:lnTo>
                      <a:pt x="1242" y="1078"/>
                    </a:lnTo>
                    <a:lnTo>
                      <a:pt x="1242" y="1080"/>
                    </a:lnTo>
                    <a:lnTo>
                      <a:pt x="1241" y="1080"/>
                    </a:lnTo>
                    <a:lnTo>
                      <a:pt x="1241" y="1082"/>
                    </a:lnTo>
                    <a:lnTo>
                      <a:pt x="1241" y="1080"/>
                    </a:lnTo>
                    <a:lnTo>
                      <a:pt x="1239" y="1080"/>
                    </a:lnTo>
                    <a:lnTo>
                      <a:pt x="1239" y="1078"/>
                    </a:lnTo>
                    <a:lnTo>
                      <a:pt x="1241" y="1078"/>
                    </a:lnTo>
                    <a:lnTo>
                      <a:pt x="1239" y="1078"/>
                    </a:lnTo>
                    <a:lnTo>
                      <a:pt x="1237" y="1078"/>
                    </a:lnTo>
                    <a:lnTo>
                      <a:pt x="1237" y="1077"/>
                    </a:lnTo>
                    <a:lnTo>
                      <a:pt x="1237" y="1075"/>
                    </a:lnTo>
                    <a:lnTo>
                      <a:pt x="1236" y="1075"/>
                    </a:lnTo>
                    <a:lnTo>
                      <a:pt x="1234" y="1075"/>
                    </a:lnTo>
                    <a:lnTo>
                      <a:pt x="1232" y="1073"/>
                    </a:lnTo>
                    <a:lnTo>
                      <a:pt x="1234" y="1073"/>
                    </a:lnTo>
                    <a:lnTo>
                      <a:pt x="1234" y="1071"/>
                    </a:lnTo>
                    <a:lnTo>
                      <a:pt x="1236" y="1071"/>
                    </a:lnTo>
                    <a:lnTo>
                      <a:pt x="1234" y="1071"/>
                    </a:lnTo>
                    <a:lnTo>
                      <a:pt x="1232" y="1071"/>
                    </a:lnTo>
                    <a:lnTo>
                      <a:pt x="1230" y="1071"/>
                    </a:lnTo>
                    <a:lnTo>
                      <a:pt x="1230" y="1070"/>
                    </a:lnTo>
                    <a:lnTo>
                      <a:pt x="1229" y="1070"/>
                    </a:lnTo>
                    <a:lnTo>
                      <a:pt x="1229" y="1068"/>
                    </a:lnTo>
                    <a:lnTo>
                      <a:pt x="1227" y="1068"/>
                    </a:lnTo>
                    <a:lnTo>
                      <a:pt x="1227" y="1070"/>
                    </a:lnTo>
                    <a:lnTo>
                      <a:pt x="1225" y="1070"/>
                    </a:lnTo>
                    <a:lnTo>
                      <a:pt x="1225" y="1068"/>
                    </a:lnTo>
                    <a:lnTo>
                      <a:pt x="1224" y="1068"/>
                    </a:lnTo>
                    <a:lnTo>
                      <a:pt x="1224" y="1066"/>
                    </a:lnTo>
                    <a:lnTo>
                      <a:pt x="1225" y="1066"/>
                    </a:lnTo>
                    <a:lnTo>
                      <a:pt x="1225" y="1068"/>
                    </a:lnTo>
                    <a:lnTo>
                      <a:pt x="1227" y="1068"/>
                    </a:lnTo>
                    <a:lnTo>
                      <a:pt x="1225" y="1066"/>
                    </a:lnTo>
                    <a:lnTo>
                      <a:pt x="1227" y="1066"/>
                    </a:lnTo>
                    <a:lnTo>
                      <a:pt x="1227" y="1065"/>
                    </a:lnTo>
                    <a:lnTo>
                      <a:pt x="1227" y="1066"/>
                    </a:lnTo>
                    <a:lnTo>
                      <a:pt x="1225" y="1065"/>
                    </a:lnTo>
                    <a:lnTo>
                      <a:pt x="1227" y="1065"/>
                    </a:lnTo>
                    <a:lnTo>
                      <a:pt x="1227" y="1063"/>
                    </a:lnTo>
                    <a:lnTo>
                      <a:pt x="1225" y="1063"/>
                    </a:lnTo>
                    <a:lnTo>
                      <a:pt x="1225" y="1065"/>
                    </a:lnTo>
                    <a:lnTo>
                      <a:pt x="1225" y="1066"/>
                    </a:lnTo>
                    <a:lnTo>
                      <a:pt x="1224" y="1066"/>
                    </a:lnTo>
                    <a:lnTo>
                      <a:pt x="1222" y="1066"/>
                    </a:lnTo>
                    <a:lnTo>
                      <a:pt x="1222" y="1065"/>
                    </a:lnTo>
                    <a:lnTo>
                      <a:pt x="1222" y="1066"/>
                    </a:lnTo>
                    <a:lnTo>
                      <a:pt x="1220" y="1066"/>
                    </a:lnTo>
                    <a:lnTo>
                      <a:pt x="1220" y="1065"/>
                    </a:lnTo>
                    <a:lnTo>
                      <a:pt x="1222" y="1065"/>
                    </a:lnTo>
                    <a:lnTo>
                      <a:pt x="1220" y="1065"/>
                    </a:lnTo>
                    <a:lnTo>
                      <a:pt x="1220" y="1063"/>
                    </a:lnTo>
                    <a:lnTo>
                      <a:pt x="1222" y="1061"/>
                    </a:lnTo>
                    <a:lnTo>
                      <a:pt x="1222" y="1063"/>
                    </a:lnTo>
                    <a:lnTo>
                      <a:pt x="1224" y="1065"/>
                    </a:lnTo>
                    <a:lnTo>
                      <a:pt x="1224" y="1063"/>
                    </a:lnTo>
                    <a:lnTo>
                      <a:pt x="1222" y="1061"/>
                    </a:lnTo>
                    <a:lnTo>
                      <a:pt x="1224" y="1060"/>
                    </a:lnTo>
                    <a:lnTo>
                      <a:pt x="1225" y="1060"/>
                    </a:lnTo>
                    <a:lnTo>
                      <a:pt x="1225" y="1061"/>
                    </a:lnTo>
                    <a:lnTo>
                      <a:pt x="1227" y="1061"/>
                    </a:lnTo>
                    <a:lnTo>
                      <a:pt x="1227" y="1060"/>
                    </a:lnTo>
                    <a:lnTo>
                      <a:pt x="1225" y="1060"/>
                    </a:lnTo>
                    <a:lnTo>
                      <a:pt x="1225" y="1058"/>
                    </a:lnTo>
                    <a:lnTo>
                      <a:pt x="1225" y="1056"/>
                    </a:lnTo>
                    <a:lnTo>
                      <a:pt x="1227" y="1056"/>
                    </a:lnTo>
                    <a:lnTo>
                      <a:pt x="1227" y="1054"/>
                    </a:lnTo>
                    <a:lnTo>
                      <a:pt x="1229" y="1054"/>
                    </a:lnTo>
                    <a:lnTo>
                      <a:pt x="1229" y="1053"/>
                    </a:lnTo>
                    <a:lnTo>
                      <a:pt x="1229" y="1051"/>
                    </a:lnTo>
                    <a:lnTo>
                      <a:pt x="1229" y="1049"/>
                    </a:lnTo>
                    <a:lnTo>
                      <a:pt x="1230" y="1049"/>
                    </a:lnTo>
                    <a:lnTo>
                      <a:pt x="1230" y="1048"/>
                    </a:lnTo>
                    <a:lnTo>
                      <a:pt x="1230" y="1046"/>
                    </a:lnTo>
                    <a:lnTo>
                      <a:pt x="1232" y="1046"/>
                    </a:lnTo>
                    <a:lnTo>
                      <a:pt x="1232" y="1048"/>
                    </a:lnTo>
                    <a:lnTo>
                      <a:pt x="1234" y="1048"/>
                    </a:lnTo>
                    <a:lnTo>
                      <a:pt x="1236" y="1048"/>
                    </a:lnTo>
                    <a:lnTo>
                      <a:pt x="1236" y="1049"/>
                    </a:lnTo>
                    <a:lnTo>
                      <a:pt x="1237" y="1048"/>
                    </a:lnTo>
                    <a:lnTo>
                      <a:pt x="1237" y="1049"/>
                    </a:lnTo>
                    <a:lnTo>
                      <a:pt x="1239" y="1049"/>
                    </a:lnTo>
                    <a:lnTo>
                      <a:pt x="1237" y="1049"/>
                    </a:lnTo>
                    <a:lnTo>
                      <a:pt x="1237" y="1048"/>
                    </a:lnTo>
                    <a:lnTo>
                      <a:pt x="1236" y="1048"/>
                    </a:lnTo>
                    <a:lnTo>
                      <a:pt x="1236" y="1046"/>
                    </a:lnTo>
                    <a:lnTo>
                      <a:pt x="1236" y="1044"/>
                    </a:lnTo>
                    <a:lnTo>
                      <a:pt x="1236" y="1043"/>
                    </a:lnTo>
                    <a:lnTo>
                      <a:pt x="1237" y="1043"/>
                    </a:lnTo>
                    <a:lnTo>
                      <a:pt x="1236" y="1043"/>
                    </a:lnTo>
                    <a:lnTo>
                      <a:pt x="1236" y="1041"/>
                    </a:lnTo>
                    <a:lnTo>
                      <a:pt x="1236" y="1043"/>
                    </a:lnTo>
                    <a:lnTo>
                      <a:pt x="1236" y="1044"/>
                    </a:lnTo>
                    <a:lnTo>
                      <a:pt x="1236" y="1046"/>
                    </a:lnTo>
                    <a:lnTo>
                      <a:pt x="1234" y="1046"/>
                    </a:lnTo>
                    <a:lnTo>
                      <a:pt x="1232" y="1046"/>
                    </a:lnTo>
                    <a:lnTo>
                      <a:pt x="1232" y="1048"/>
                    </a:lnTo>
                    <a:lnTo>
                      <a:pt x="1232" y="1046"/>
                    </a:lnTo>
                    <a:lnTo>
                      <a:pt x="1230" y="1046"/>
                    </a:lnTo>
                    <a:lnTo>
                      <a:pt x="1230" y="1044"/>
                    </a:lnTo>
                    <a:lnTo>
                      <a:pt x="1229" y="1044"/>
                    </a:lnTo>
                    <a:lnTo>
                      <a:pt x="1229" y="1043"/>
                    </a:lnTo>
                    <a:lnTo>
                      <a:pt x="1230" y="1043"/>
                    </a:lnTo>
                    <a:lnTo>
                      <a:pt x="1232" y="1041"/>
                    </a:lnTo>
                    <a:lnTo>
                      <a:pt x="1232" y="1039"/>
                    </a:lnTo>
                    <a:lnTo>
                      <a:pt x="1234" y="1039"/>
                    </a:lnTo>
                    <a:lnTo>
                      <a:pt x="1234" y="1037"/>
                    </a:lnTo>
                    <a:lnTo>
                      <a:pt x="1232" y="1039"/>
                    </a:lnTo>
                    <a:lnTo>
                      <a:pt x="1232" y="1037"/>
                    </a:lnTo>
                    <a:lnTo>
                      <a:pt x="1232" y="1039"/>
                    </a:lnTo>
                    <a:lnTo>
                      <a:pt x="1230" y="1037"/>
                    </a:lnTo>
                    <a:lnTo>
                      <a:pt x="1229" y="1037"/>
                    </a:lnTo>
                    <a:lnTo>
                      <a:pt x="1229" y="1036"/>
                    </a:lnTo>
                    <a:lnTo>
                      <a:pt x="1229" y="1034"/>
                    </a:lnTo>
                    <a:lnTo>
                      <a:pt x="1227" y="1032"/>
                    </a:lnTo>
                    <a:lnTo>
                      <a:pt x="1227" y="1031"/>
                    </a:lnTo>
                    <a:lnTo>
                      <a:pt x="1229" y="1029"/>
                    </a:lnTo>
                    <a:lnTo>
                      <a:pt x="1229" y="1027"/>
                    </a:lnTo>
                    <a:lnTo>
                      <a:pt x="1227" y="1027"/>
                    </a:lnTo>
                    <a:lnTo>
                      <a:pt x="1227" y="1026"/>
                    </a:lnTo>
                    <a:lnTo>
                      <a:pt x="1229" y="1026"/>
                    </a:lnTo>
                    <a:lnTo>
                      <a:pt x="1229" y="1024"/>
                    </a:lnTo>
                    <a:lnTo>
                      <a:pt x="1230" y="1024"/>
                    </a:lnTo>
                    <a:lnTo>
                      <a:pt x="1230" y="1022"/>
                    </a:lnTo>
                    <a:lnTo>
                      <a:pt x="1232" y="1022"/>
                    </a:lnTo>
                    <a:lnTo>
                      <a:pt x="1234" y="1022"/>
                    </a:lnTo>
                    <a:lnTo>
                      <a:pt x="1234" y="1020"/>
                    </a:lnTo>
                    <a:lnTo>
                      <a:pt x="1234" y="1019"/>
                    </a:lnTo>
                    <a:lnTo>
                      <a:pt x="1234" y="1017"/>
                    </a:lnTo>
                    <a:lnTo>
                      <a:pt x="1232" y="1017"/>
                    </a:lnTo>
                    <a:lnTo>
                      <a:pt x="1232" y="1015"/>
                    </a:lnTo>
                    <a:lnTo>
                      <a:pt x="1234" y="1015"/>
                    </a:lnTo>
                    <a:lnTo>
                      <a:pt x="1234" y="1014"/>
                    </a:lnTo>
                    <a:lnTo>
                      <a:pt x="1234" y="1012"/>
                    </a:lnTo>
                    <a:lnTo>
                      <a:pt x="1236" y="1012"/>
                    </a:lnTo>
                    <a:lnTo>
                      <a:pt x="1237" y="1012"/>
                    </a:lnTo>
                    <a:lnTo>
                      <a:pt x="1237" y="1014"/>
                    </a:lnTo>
                    <a:lnTo>
                      <a:pt x="1239" y="1014"/>
                    </a:lnTo>
                    <a:lnTo>
                      <a:pt x="1239" y="1012"/>
                    </a:lnTo>
                    <a:lnTo>
                      <a:pt x="1239" y="1010"/>
                    </a:lnTo>
                    <a:lnTo>
                      <a:pt x="1237" y="1010"/>
                    </a:lnTo>
                    <a:lnTo>
                      <a:pt x="1239" y="1010"/>
                    </a:lnTo>
                    <a:lnTo>
                      <a:pt x="1237" y="1010"/>
                    </a:lnTo>
                    <a:lnTo>
                      <a:pt x="1237" y="1009"/>
                    </a:lnTo>
                    <a:lnTo>
                      <a:pt x="1236" y="1009"/>
                    </a:lnTo>
                    <a:lnTo>
                      <a:pt x="1237" y="1007"/>
                    </a:lnTo>
                    <a:lnTo>
                      <a:pt x="1237" y="1009"/>
                    </a:lnTo>
                    <a:lnTo>
                      <a:pt x="1239" y="1009"/>
                    </a:lnTo>
                    <a:lnTo>
                      <a:pt x="1239" y="1007"/>
                    </a:lnTo>
                    <a:lnTo>
                      <a:pt x="1239" y="1005"/>
                    </a:lnTo>
                    <a:lnTo>
                      <a:pt x="1237" y="1005"/>
                    </a:lnTo>
                    <a:lnTo>
                      <a:pt x="1237" y="1003"/>
                    </a:lnTo>
                    <a:lnTo>
                      <a:pt x="1236" y="1003"/>
                    </a:lnTo>
                    <a:lnTo>
                      <a:pt x="1236" y="1002"/>
                    </a:lnTo>
                    <a:lnTo>
                      <a:pt x="1236" y="1000"/>
                    </a:lnTo>
                    <a:lnTo>
                      <a:pt x="1236" y="998"/>
                    </a:lnTo>
                    <a:lnTo>
                      <a:pt x="1236" y="997"/>
                    </a:lnTo>
                    <a:lnTo>
                      <a:pt x="1237" y="997"/>
                    </a:lnTo>
                    <a:lnTo>
                      <a:pt x="1237" y="995"/>
                    </a:lnTo>
                    <a:lnTo>
                      <a:pt x="1236" y="995"/>
                    </a:lnTo>
                    <a:lnTo>
                      <a:pt x="1236" y="993"/>
                    </a:lnTo>
                    <a:lnTo>
                      <a:pt x="1236" y="992"/>
                    </a:lnTo>
                    <a:lnTo>
                      <a:pt x="1236" y="990"/>
                    </a:lnTo>
                    <a:lnTo>
                      <a:pt x="1236" y="988"/>
                    </a:lnTo>
                    <a:lnTo>
                      <a:pt x="1237" y="988"/>
                    </a:lnTo>
                    <a:lnTo>
                      <a:pt x="1239" y="988"/>
                    </a:lnTo>
                    <a:lnTo>
                      <a:pt x="1241" y="988"/>
                    </a:lnTo>
                    <a:lnTo>
                      <a:pt x="1242" y="990"/>
                    </a:lnTo>
                    <a:lnTo>
                      <a:pt x="1244" y="990"/>
                    </a:lnTo>
                    <a:lnTo>
                      <a:pt x="1244" y="992"/>
                    </a:lnTo>
                    <a:lnTo>
                      <a:pt x="1246" y="992"/>
                    </a:lnTo>
                    <a:lnTo>
                      <a:pt x="1247" y="992"/>
                    </a:lnTo>
                    <a:lnTo>
                      <a:pt x="1247" y="990"/>
                    </a:lnTo>
                    <a:lnTo>
                      <a:pt x="1246" y="992"/>
                    </a:lnTo>
                    <a:lnTo>
                      <a:pt x="1246" y="990"/>
                    </a:lnTo>
                    <a:lnTo>
                      <a:pt x="1244" y="990"/>
                    </a:lnTo>
                    <a:lnTo>
                      <a:pt x="1244" y="988"/>
                    </a:lnTo>
                    <a:lnTo>
                      <a:pt x="1242" y="988"/>
                    </a:lnTo>
                    <a:lnTo>
                      <a:pt x="1242" y="986"/>
                    </a:lnTo>
                    <a:lnTo>
                      <a:pt x="1241" y="986"/>
                    </a:lnTo>
                    <a:lnTo>
                      <a:pt x="1241" y="985"/>
                    </a:lnTo>
                    <a:lnTo>
                      <a:pt x="1241" y="983"/>
                    </a:lnTo>
                    <a:lnTo>
                      <a:pt x="1239" y="983"/>
                    </a:lnTo>
                    <a:lnTo>
                      <a:pt x="1237" y="981"/>
                    </a:lnTo>
                    <a:lnTo>
                      <a:pt x="1237" y="980"/>
                    </a:lnTo>
                    <a:lnTo>
                      <a:pt x="1237" y="978"/>
                    </a:lnTo>
                    <a:lnTo>
                      <a:pt x="1237" y="980"/>
                    </a:lnTo>
                    <a:lnTo>
                      <a:pt x="1236" y="980"/>
                    </a:lnTo>
                    <a:lnTo>
                      <a:pt x="1236" y="978"/>
                    </a:lnTo>
                    <a:lnTo>
                      <a:pt x="1237" y="978"/>
                    </a:lnTo>
                    <a:lnTo>
                      <a:pt x="1237" y="976"/>
                    </a:lnTo>
                    <a:lnTo>
                      <a:pt x="1239" y="976"/>
                    </a:lnTo>
                    <a:lnTo>
                      <a:pt x="1239" y="975"/>
                    </a:lnTo>
                    <a:lnTo>
                      <a:pt x="1241" y="975"/>
                    </a:lnTo>
                    <a:lnTo>
                      <a:pt x="1242" y="975"/>
                    </a:lnTo>
                    <a:lnTo>
                      <a:pt x="1244" y="975"/>
                    </a:lnTo>
                    <a:lnTo>
                      <a:pt x="1244" y="973"/>
                    </a:lnTo>
                    <a:lnTo>
                      <a:pt x="1244" y="975"/>
                    </a:lnTo>
                    <a:lnTo>
                      <a:pt x="1246" y="975"/>
                    </a:lnTo>
                    <a:lnTo>
                      <a:pt x="1246" y="976"/>
                    </a:lnTo>
                    <a:lnTo>
                      <a:pt x="1246" y="978"/>
                    </a:lnTo>
                    <a:lnTo>
                      <a:pt x="1246" y="980"/>
                    </a:lnTo>
                    <a:lnTo>
                      <a:pt x="1247" y="981"/>
                    </a:lnTo>
                    <a:lnTo>
                      <a:pt x="1247" y="983"/>
                    </a:lnTo>
                    <a:lnTo>
                      <a:pt x="1249" y="983"/>
                    </a:lnTo>
                    <a:lnTo>
                      <a:pt x="1249" y="985"/>
                    </a:lnTo>
                    <a:lnTo>
                      <a:pt x="1249" y="986"/>
                    </a:lnTo>
                    <a:lnTo>
                      <a:pt x="1249" y="988"/>
                    </a:lnTo>
                    <a:lnTo>
                      <a:pt x="1249" y="986"/>
                    </a:lnTo>
                    <a:lnTo>
                      <a:pt x="1251" y="986"/>
                    </a:lnTo>
                    <a:lnTo>
                      <a:pt x="1249" y="986"/>
                    </a:lnTo>
                    <a:lnTo>
                      <a:pt x="1249" y="985"/>
                    </a:lnTo>
                    <a:lnTo>
                      <a:pt x="1249" y="983"/>
                    </a:lnTo>
                    <a:lnTo>
                      <a:pt x="1249" y="981"/>
                    </a:lnTo>
                    <a:lnTo>
                      <a:pt x="1249" y="980"/>
                    </a:lnTo>
                    <a:lnTo>
                      <a:pt x="1247" y="980"/>
                    </a:lnTo>
                    <a:lnTo>
                      <a:pt x="1247" y="978"/>
                    </a:lnTo>
                    <a:lnTo>
                      <a:pt x="1249" y="976"/>
                    </a:lnTo>
                    <a:lnTo>
                      <a:pt x="1251" y="976"/>
                    </a:lnTo>
                    <a:lnTo>
                      <a:pt x="1249" y="976"/>
                    </a:lnTo>
                    <a:lnTo>
                      <a:pt x="1249" y="975"/>
                    </a:lnTo>
                    <a:lnTo>
                      <a:pt x="1247" y="975"/>
                    </a:lnTo>
                    <a:lnTo>
                      <a:pt x="1249" y="973"/>
                    </a:lnTo>
                    <a:lnTo>
                      <a:pt x="1251" y="973"/>
                    </a:lnTo>
                    <a:lnTo>
                      <a:pt x="1253" y="973"/>
                    </a:lnTo>
                    <a:lnTo>
                      <a:pt x="1251" y="973"/>
                    </a:lnTo>
                    <a:lnTo>
                      <a:pt x="1251" y="971"/>
                    </a:lnTo>
                    <a:lnTo>
                      <a:pt x="1251" y="973"/>
                    </a:lnTo>
                    <a:lnTo>
                      <a:pt x="1249" y="973"/>
                    </a:lnTo>
                    <a:lnTo>
                      <a:pt x="1247" y="971"/>
                    </a:lnTo>
                    <a:lnTo>
                      <a:pt x="1247" y="969"/>
                    </a:lnTo>
                    <a:lnTo>
                      <a:pt x="1249" y="969"/>
                    </a:lnTo>
                    <a:lnTo>
                      <a:pt x="1247" y="968"/>
                    </a:lnTo>
                    <a:lnTo>
                      <a:pt x="1249" y="968"/>
                    </a:lnTo>
                    <a:lnTo>
                      <a:pt x="1249" y="966"/>
                    </a:lnTo>
                    <a:lnTo>
                      <a:pt x="1249" y="964"/>
                    </a:lnTo>
                    <a:lnTo>
                      <a:pt x="1247" y="963"/>
                    </a:lnTo>
                    <a:lnTo>
                      <a:pt x="1246" y="964"/>
                    </a:lnTo>
                    <a:lnTo>
                      <a:pt x="1246" y="966"/>
                    </a:lnTo>
                    <a:lnTo>
                      <a:pt x="1244" y="966"/>
                    </a:lnTo>
                    <a:lnTo>
                      <a:pt x="1244" y="964"/>
                    </a:lnTo>
                    <a:lnTo>
                      <a:pt x="1244" y="966"/>
                    </a:lnTo>
                    <a:lnTo>
                      <a:pt x="1242" y="966"/>
                    </a:lnTo>
                    <a:lnTo>
                      <a:pt x="1242" y="964"/>
                    </a:lnTo>
                    <a:lnTo>
                      <a:pt x="1241" y="964"/>
                    </a:lnTo>
                    <a:lnTo>
                      <a:pt x="1241" y="966"/>
                    </a:lnTo>
                    <a:lnTo>
                      <a:pt x="1239" y="964"/>
                    </a:lnTo>
                    <a:lnTo>
                      <a:pt x="1237" y="964"/>
                    </a:lnTo>
                    <a:lnTo>
                      <a:pt x="1236" y="963"/>
                    </a:lnTo>
                    <a:lnTo>
                      <a:pt x="1237" y="963"/>
                    </a:lnTo>
                    <a:lnTo>
                      <a:pt x="1236" y="961"/>
                    </a:lnTo>
                    <a:lnTo>
                      <a:pt x="1234" y="961"/>
                    </a:lnTo>
                    <a:lnTo>
                      <a:pt x="1236" y="961"/>
                    </a:lnTo>
                    <a:lnTo>
                      <a:pt x="1236" y="959"/>
                    </a:lnTo>
                    <a:lnTo>
                      <a:pt x="1237" y="959"/>
                    </a:lnTo>
                    <a:lnTo>
                      <a:pt x="1237" y="957"/>
                    </a:lnTo>
                    <a:lnTo>
                      <a:pt x="1237" y="956"/>
                    </a:lnTo>
                    <a:lnTo>
                      <a:pt x="1239" y="956"/>
                    </a:lnTo>
                    <a:lnTo>
                      <a:pt x="1241" y="956"/>
                    </a:lnTo>
                    <a:lnTo>
                      <a:pt x="1241" y="954"/>
                    </a:lnTo>
                    <a:lnTo>
                      <a:pt x="1242" y="952"/>
                    </a:lnTo>
                    <a:lnTo>
                      <a:pt x="1244" y="952"/>
                    </a:lnTo>
                    <a:lnTo>
                      <a:pt x="1246" y="952"/>
                    </a:lnTo>
                    <a:lnTo>
                      <a:pt x="1247" y="952"/>
                    </a:lnTo>
                    <a:lnTo>
                      <a:pt x="1249" y="952"/>
                    </a:lnTo>
                    <a:lnTo>
                      <a:pt x="1249" y="951"/>
                    </a:lnTo>
                    <a:lnTo>
                      <a:pt x="1251" y="951"/>
                    </a:lnTo>
                    <a:lnTo>
                      <a:pt x="1253" y="949"/>
                    </a:lnTo>
                    <a:lnTo>
                      <a:pt x="1253" y="947"/>
                    </a:lnTo>
                    <a:lnTo>
                      <a:pt x="1253" y="946"/>
                    </a:lnTo>
                    <a:lnTo>
                      <a:pt x="1253" y="944"/>
                    </a:lnTo>
                    <a:lnTo>
                      <a:pt x="1254" y="944"/>
                    </a:lnTo>
                    <a:lnTo>
                      <a:pt x="1254" y="942"/>
                    </a:lnTo>
                    <a:lnTo>
                      <a:pt x="1253" y="942"/>
                    </a:lnTo>
                    <a:lnTo>
                      <a:pt x="1253" y="940"/>
                    </a:lnTo>
                    <a:lnTo>
                      <a:pt x="1254" y="939"/>
                    </a:lnTo>
                    <a:lnTo>
                      <a:pt x="1254" y="937"/>
                    </a:lnTo>
                    <a:lnTo>
                      <a:pt x="1253" y="937"/>
                    </a:lnTo>
                    <a:lnTo>
                      <a:pt x="1253" y="939"/>
                    </a:lnTo>
                    <a:lnTo>
                      <a:pt x="1253" y="937"/>
                    </a:lnTo>
                    <a:lnTo>
                      <a:pt x="1254" y="939"/>
                    </a:lnTo>
                    <a:lnTo>
                      <a:pt x="1253" y="939"/>
                    </a:lnTo>
                    <a:lnTo>
                      <a:pt x="1253" y="940"/>
                    </a:lnTo>
                    <a:lnTo>
                      <a:pt x="1253" y="942"/>
                    </a:lnTo>
                    <a:lnTo>
                      <a:pt x="1253" y="944"/>
                    </a:lnTo>
                    <a:lnTo>
                      <a:pt x="1253" y="946"/>
                    </a:lnTo>
                    <a:lnTo>
                      <a:pt x="1253" y="947"/>
                    </a:lnTo>
                    <a:lnTo>
                      <a:pt x="1251" y="947"/>
                    </a:lnTo>
                    <a:lnTo>
                      <a:pt x="1251" y="949"/>
                    </a:lnTo>
                    <a:lnTo>
                      <a:pt x="1249" y="949"/>
                    </a:lnTo>
                    <a:lnTo>
                      <a:pt x="1249" y="951"/>
                    </a:lnTo>
                    <a:lnTo>
                      <a:pt x="1249" y="949"/>
                    </a:lnTo>
                    <a:lnTo>
                      <a:pt x="1247" y="951"/>
                    </a:lnTo>
                    <a:lnTo>
                      <a:pt x="1246" y="951"/>
                    </a:lnTo>
                    <a:lnTo>
                      <a:pt x="1244" y="952"/>
                    </a:lnTo>
                    <a:lnTo>
                      <a:pt x="1244" y="951"/>
                    </a:lnTo>
                    <a:lnTo>
                      <a:pt x="1242" y="951"/>
                    </a:lnTo>
                    <a:lnTo>
                      <a:pt x="1241" y="949"/>
                    </a:lnTo>
                    <a:lnTo>
                      <a:pt x="1241" y="947"/>
                    </a:lnTo>
                    <a:lnTo>
                      <a:pt x="1241" y="946"/>
                    </a:lnTo>
                    <a:lnTo>
                      <a:pt x="1239" y="946"/>
                    </a:lnTo>
                    <a:lnTo>
                      <a:pt x="1239" y="944"/>
                    </a:lnTo>
                    <a:lnTo>
                      <a:pt x="1237" y="944"/>
                    </a:lnTo>
                    <a:lnTo>
                      <a:pt x="1237" y="942"/>
                    </a:lnTo>
                    <a:lnTo>
                      <a:pt x="1236" y="942"/>
                    </a:lnTo>
                    <a:lnTo>
                      <a:pt x="1234" y="942"/>
                    </a:lnTo>
                    <a:lnTo>
                      <a:pt x="1232" y="940"/>
                    </a:lnTo>
                    <a:lnTo>
                      <a:pt x="1230" y="942"/>
                    </a:lnTo>
                    <a:lnTo>
                      <a:pt x="1229" y="942"/>
                    </a:lnTo>
                    <a:lnTo>
                      <a:pt x="1229" y="944"/>
                    </a:lnTo>
                    <a:lnTo>
                      <a:pt x="1229" y="946"/>
                    </a:lnTo>
                    <a:lnTo>
                      <a:pt x="1227" y="946"/>
                    </a:lnTo>
                    <a:lnTo>
                      <a:pt x="1227" y="947"/>
                    </a:lnTo>
                    <a:lnTo>
                      <a:pt x="1229" y="949"/>
                    </a:lnTo>
                    <a:lnTo>
                      <a:pt x="1227" y="949"/>
                    </a:lnTo>
                    <a:lnTo>
                      <a:pt x="1229" y="951"/>
                    </a:lnTo>
                    <a:lnTo>
                      <a:pt x="1229" y="952"/>
                    </a:lnTo>
                    <a:lnTo>
                      <a:pt x="1227" y="951"/>
                    </a:lnTo>
                    <a:lnTo>
                      <a:pt x="1227" y="952"/>
                    </a:lnTo>
                    <a:lnTo>
                      <a:pt x="1225" y="954"/>
                    </a:lnTo>
                    <a:lnTo>
                      <a:pt x="1225" y="952"/>
                    </a:lnTo>
                    <a:lnTo>
                      <a:pt x="1225" y="951"/>
                    </a:lnTo>
                    <a:lnTo>
                      <a:pt x="1225" y="952"/>
                    </a:lnTo>
                    <a:lnTo>
                      <a:pt x="1224" y="952"/>
                    </a:lnTo>
                    <a:lnTo>
                      <a:pt x="1225" y="954"/>
                    </a:lnTo>
                    <a:lnTo>
                      <a:pt x="1224" y="954"/>
                    </a:lnTo>
                    <a:lnTo>
                      <a:pt x="1225" y="954"/>
                    </a:lnTo>
                    <a:lnTo>
                      <a:pt x="1225" y="956"/>
                    </a:lnTo>
                    <a:lnTo>
                      <a:pt x="1224" y="954"/>
                    </a:lnTo>
                    <a:lnTo>
                      <a:pt x="1224" y="956"/>
                    </a:lnTo>
                    <a:lnTo>
                      <a:pt x="1222" y="956"/>
                    </a:lnTo>
                    <a:lnTo>
                      <a:pt x="1222" y="954"/>
                    </a:lnTo>
                    <a:lnTo>
                      <a:pt x="1222" y="952"/>
                    </a:lnTo>
                    <a:lnTo>
                      <a:pt x="1224" y="952"/>
                    </a:lnTo>
                    <a:lnTo>
                      <a:pt x="1224" y="954"/>
                    </a:lnTo>
                    <a:lnTo>
                      <a:pt x="1224" y="952"/>
                    </a:lnTo>
                    <a:lnTo>
                      <a:pt x="1222" y="952"/>
                    </a:lnTo>
                    <a:lnTo>
                      <a:pt x="1222" y="954"/>
                    </a:lnTo>
                    <a:lnTo>
                      <a:pt x="1222" y="956"/>
                    </a:lnTo>
                    <a:lnTo>
                      <a:pt x="1220" y="954"/>
                    </a:lnTo>
                    <a:lnTo>
                      <a:pt x="1219" y="954"/>
                    </a:lnTo>
                    <a:lnTo>
                      <a:pt x="1217" y="954"/>
                    </a:lnTo>
                    <a:lnTo>
                      <a:pt x="1219" y="956"/>
                    </a:lnTo>
                    <a:lnTo>
                      <a:pt x="1217" y="956"/>
                    </a:lnTo>
                    <a:lnTo>
                      <a:pt x="1215" y="954"/>
                    </a:lnTo>
                    <a:lnTo>
                      <a:pt x="1215" y="956"/>
                    </a:lnTo>
                    <a:lnTo>
                      <a:pt x="1213" y="956"/>
                    </a:lnTo>
                    <a:lnTo>
                      <a:pt x="1212" y="954"/>
                    </a:lnTo>
                    <a:lnTo>
                      <a:pt x="1210" y="954"/>
                    </a:lnTo>
                    <a:lnTo>
                      <a:pt x="1208" y="954"/>
                    </a:lnTo>
                    <a:lnTo>
                      <a:pt x="1207" y="954"/>
                    </a:lnTo>
                    <a:lnTo>
                      <a:pt x="1207" y="952"/>
                    </a:lnTo>
                    <a:lnTo>
                      <a:pt x="1207" y="954"/>
                    </a:lnTo>
                    <a:lnTo>
                      <a:pt x="1205" y="952"/>
                    </a:lnTo>
                    <a:lnTo>
                      <a:pt x="1207" y="952"/>
                    </a:lnTo>
                    <a:lnTo>
                      <a:pt x="1207" y="951"/>
                    </a:lnTo>
                    <a:lnTo>
                      <a:pt x="1207" y="949"/>
                    </a:lnTo>
                    <a:lnTo>
                      <a:pt x="1207" y="947"/>
                    </a:lnTo>
                    <a:lnTo>
                      <a:pt x="1207" y="949"/>
                    </a:lnTo>
                    <a:lnTo>
                      <a:pt x="1208" y="949"/>
                    </a:lnTo>
                    <a:lnTo>
                      <a:pt x="1207" y="949"/>
                    </a:lnTo>
                    <a:lnTo>
                      <a:pt x="1207" y="951"/>
                    </a:lnTo>
                    <a:lnTo>
                      <a:pt x="1208" y="949"/>
                    </a:lnTo>
                    <a:lnTo>
                      <a:pt x="1207" y="949"/>
                    </a:lnTo>
                    <a:lnTo>
                      <a:pt x="1208" y="947"/>
                    </a:lnTo>
                    <a:lnTo>
                      <a:pt x="1210" y="947"/>
                    </a:lnTo>
                    <a:lnTo>
                      <a:pt x="1210" y="949"/>
                    </a:lnTo>
                    <a:lnTo>
                      <a:pt x="1212" y="949"/>
                    </a:lnTo>
                    <a:lnTo>
                      <a:pt x="1210" y="947"/>
                    </a:lnTo>
                    <a:lnTo>
                      <a:pt x="1212" y="947"/>
                    </a:lnTo>
                    <a:lnTo>
                      <a:pt x="1210" y="947"/>
                    </a:lnTo>
                    <a:lnTo>
                      <a:pt x="1212" y="947"/>
                    </a:lnTo>
                    <a:lnTo>
                      <a:pt x="1213" y="947"/>
                    </a:lnTo>
                    <a:lnTo>
                      <a:pt x="1212" y="947"/>
                    </a:lnTo>
                    <a:lnTo>
                      <a:pt x="1213" y="946"/>
                    </a:lnTo>
                    <a:lnTo>
                      <a:pt x="1213" y="944"/>
                    </a:lnTo>
                    <a:lnTo>
                      <a:pt x="1215" y="942"/>
                    </a:lnTo>
                    <a:lnTo>
                      <a:pt x="1217" y="942"/>
                    </a:lnTo>
                    <a:lnTo>
                      <a:pt x="1219" y="942"/>
                    </a:lnTo>
                    <a:lnTo>
                      <a:pt x="1217" y="942"/>
                    </a:lnTo>
                    <a:lnTo>
                      <a:pt x="1215" y="942"/>
                    </a:lnTo>
                    <a:lnTo>
                      <a:pt x="1213" y="942"/>
                    </a:lnTo>
                    <a:lnTo>
                      <a:pt x="1213" y="944"/>
                    </a:lnTo>
                    <a:lnTo>
                      <a:pt x="1212" y="946"/>
                    </a:lnTo>
                    <a:lnTo>
                      <a:pt x="1210" y="946"/>
                    </a:lnTo>
                    <a:lnTo>
                      <a:pt x="1210" y="947"/>
                    </a:lnTo>
                    <a:lnTo>
                      <a:pt x="1208" y="946"/>
                    </a:lnTo>
                    <a:lnTo>
                      <a:pt x="1208" y="944"/>
                    </a:lnTo>
                    <a:lnTo>
                      <a:pt x="1210" y="944"/>
                    </a:lnTo>
                    <a:lnTo>
                      <a:pt x="1208" y="944"/>
                    </a:lnTo>
                    <a:lnTo>
                      <a:pt x="1207" y="942"/>
                    </a:lnTo>
                    <a:lnTo>
                      <a:pt x="1207" y="944"/>
                    </a:lnTo>
                    <a:lnTo>
                      <a:pt x="1207" y="946"/>
                    </a:lnTo>
                    <a:lnTo>
                      <a:pt x="1208" y="946"/>
                    </a:lnTo>
                    <a:lnTo>
                      <a:pt x="1207" y="947"/>
                    </a:lnTo>
                    <a:lnTo>
                      <a:pt x="1207" y="946"/>
                    </a:lnTo>
                    <a:lnTo>
                      <a:pt x="1205" y="946"/>
                    </a:lnTo>
                    <a:lnTo>
                      <a:pt x="1205" y="944"/>
                    </a:lnTo>
                    <a:lnTo>
                      <a:pt x="1203" y="944"/>
                    </a:lnTo>
                    <a:lnTo>
                      <a:pt x="1203" y="946"/>
                    </a:lnTo>
                    <a:lnTo>
                      <a:pt x="1203" y="944"/>
                    </a:lnTo>
                    <a:lnTo>
                      <a:pt x="1203" y="942"/>
                    </a:lnTo>
                    <a:lnTo>
                      <a:pt x="1202" y="942"/>
                    </a:lnTo>
                    <a:lnTo>
                      <a:pt x="1202" y="940"/>
                    </a:lnTo>
                    <a:lnTo>
                      <a:pt x="1202" y="939"/>
                    </a:lnTo>
                    <a:lnTo>
                      <a:pt x="1202" y="937"/>
                    </a:lnTo>
                    <a:lnTo>
                      <a:pt x="1202" y="935"/>
                    </a:lnTo>
                    <a:lnTo>
                      <a:pt x="1202" y="934"/>
                    </a:lnTo>
                    <a:lnTo>
                      <a:pt x="1202" y="932"/>
                    </a:lnTo>
                    <a:lnTo>
                      <a:pt x="1202" y="930"/>
                    </a:lnTo>
                    <a:lnTo>
                      <a:pt x="1200" y="930"/>
                    </a:lnTo>
                    <a:lnTo>
                      <a:pt x="1200" y="929"/>
                    </a:lnTo>
                    <a:lnTo>
                      <a:pt x="1200" y="927"/>
                    </a:lnTo>
                    <a:lnTo>
                      <a:pt x="1198" y="925"/>
                    </a:lnTo>
                    <a:lnTo>
                      <a:pt x="1200" y="925"/>
                    </a:lnTo>
                    <a:lnTo>
                      <a:pt x="1198" y="925"/>
                    </a:lnTo>
                    <a:lnTo>
                      <a:pt x="1198" y="923"/>
                    </a:lnTo>
                    <a:lnTo>
                      <a:pt x="1198" y="922"/>
                    </a:lnTo>
                    <a:lnTo>
                      <a:pt x="1198" y="920"/>
                    </a:lnTo>
                    <a:lnTo>
                      <a:pt x="1198" y="918"/>
                    </a:lnTo>
                    <a:lnTo>
                      <a:pt x="1200" y="917"/>
                    </a:lnTo>
                    <a:lnTo>
                      <a:pt x="1202" y="917"/>
                    </a:lnTo>
                    <a:lnTo>
                      <a:pt x="1202" y="915"/>
                    </a:lnTo>
                    <a:lnTo>
                      <a:pt x="1200" y="915"/>
                    </a:lnTo>
                    <a:lnTo>
                      <a:pt x="1200" y="913"/>
                    </a:lnTo>
                    <a:lnTo>
                      <a:pt x="1200" y="912"/>
                    </a:lnTo>
                    <a:lnTo>
                      <a:pt x="1202" y="912"/>
                    </a:lnTo>
                    <a:lnTo>
                      <a:pt x="1200" y="912"/>
                    </a:lnTo>
                    <a:lnTo>
                      <a:pt x="1202" y="910"/>
                    </a:lnTo>
                    <a:lnTo>
                      <a:pt x="1202" y="908"/>
                    </a:lnTo>
                    <a:lnTo>
                      <a:pt x="1202" y="906"/>
                    </a:lnTo>
                    <a:lnTo>
                      <a:pt x="1203" y="906"/>
                    </a:lnTo>
                    <a:lnTo>
                      <a:pt x="1202" y="905"/>
                    </a:lnTo>
                    <a:lnTo>
                      <a:pt x="1203" y="905"/>
                    </a:lnTo>
                    <a:lnTo>
                      <a:pt x="1203" y="903"/>
                    </a:lnTo>
                    <a:lnTo>
                      <a:pt x="1205" y="903"/>
                    </a:lnTo>
                    <a:lnTo>
                      <a:pt x="1205" y="901"/>
                    </a:lnTo>
                    <a:lnTo>
                      <a:pt x="1205" y="900"/>
                    </a:lnTo>
                    <a:lnTo>
                      <a:pt x="1207" y="898"/>
                    </a:lnTo>
                    <a:lnTo>
                      <a:pt x="1205" y="898"/>
                    </a:lnTo>
                    <a:lnTo>
                      <a:pt x="1205" y="896"/>
                    </a:lnTo>
                    <a:lnTo>
                      <a:pt x="1203" y="896"/>
                    </a:lnTo>
                    <a:lnTo>
                      <a:pt x="1203" y="895"/>
                    </a:lnTo>
                    <a:lnTo>
                      <a:pt x="1205" y="895"/>
                    </a:lnTo>
                    <a:lnTo>
                      <a:pt x="1205" y="893"/>
                    </a:lnTo>
                    <a:lnTo>
                      <a:pt x="1205" y="891"/>
                    </a:lnTo>
                    <a:lnTo>
                      <a:pt x="1205" y="889"/>
                    </a:lnTo>
                    <a:lnTo>
                      <a:pt x="1205" y="888"/>
                    </a:lnTo>
                    <a:lnTo>
                      <a:pt x="1205" y="886"/>
                    </a:lnTo>
                    <a:lnTo>
                      <a:pt x="1207" y="886"/>
                    </a:lnTo>
                    <a:lnTo>
                      <a:pt x="1205" y="886"/>
                    </a:lnTo>
                    <a:lnTo>
                      <a:pt x="1207" y="884"/>
                    </a:lnTo>
                    <a:lnTo>
                      <a:pt x="1205" y="884"/>
                    </a:lnTo>
                    <a:lnTo>
                      <a:pt x="1207" y="884"/>
                    </a:lnTo>
                    <a:lnTo>
                      <a:pt x="1207" y="883"/>
                    </a:lnTo>
                    <a:lnTo>
                      <a:pt x="1208" y="883"/>
                    </a:lnTo>
                    <a:lnTo>
                      <a:pt x="1208" y="881"/>
                    </a:lnTo>
                    <a:lnTo>
                      <a:pt x="1208" y="879"/>
                    </a:lnTo>
                    <a:lnTo>
                      <a:pt x="1208" y="878"/>
                    </a:lnTo>
                    <a:lnTo>
                      <a:pt x="1207" y="878"/>
                    </a:lnTo>
                    <a:lnTo>
                      <a:pt x="1207" y="876"/>
                    </a:lnTo>
                    <a:lnTo>
                      <a:pt x="1207" y="874"/>
                    </a:lnTo>
                    <a:lnTo>
                      <a:pt x="1208" y="872"/>
                    </a:lnTo>
                    <a:lnTo>
                      <a:pt x="1210" y="872"/>
                    </a:lnTo>
                    <a:lnTo>
                      <a:pt x="1212" y="872"/>
                    </a:lnTo>
                    <a:lnTo>
                      <a:pt x="1212" y="871"/>
                    </a:lnTo>
                    <a:lnTo>
                      <a:pt x="1213" y="871"/>
                    </a:lnTo>
                    <a:lnTo>
                      <a:pt x="1213" y="869"/>
                    </a:lnTo>
                    <a:lnTo>
                      <a:pt x="1215" y="869"/>
                    </a:lnTo>
                    <a:lnTo>
                      <a:pt x="1215" y="871"/>
                    </a:lnTo>
                    <a:lnTo>
                      <a:pt x="1217" y="871"/>
                    </a:lnTo>
                    <a:lnTo>
                      <a:pt x="1217" y="872"/>
                    </a:lnTo>
                    <a:lnTo>
                      <a:pt x="1217" y="871"/>
                    </a:lnTo>
                    <a:lnTo>
                      <a:pt x="1217" y="872"/>
                    </a:lnTo>
                    <a:lnTo>
                      <a:pt x="1217" y="871"/>
                    </a:lnTo>
                    <a:lnTo>
                      <a:pt x="1219" y="871"/>
                    </a:lnTo>
                    <a:lnTo>
                      <a:pt x="1217" y="871"/>
                    </a:lnTo>
                    <a:lnTo>
                      <a:pt x="1217" y="869"/>
                    </a:lnTo>
                    <a:lnTo>
                      <a:pt x="1219" y="869"/>
                    </a:lnTo>
                    <a:lnTo>
                      <a:pt x="1220" y="869"/>
                    </a:lnTo>
                    <a:lnTo>
                      <a:pt x="1222" y="869"/>
                    </a:lnTo>
                    <a:lnTo>
                      <a:pt x="1220" y="867"/>
                    </a:lnTo>
                    <a:lnTo>
                      <a:pt x="1220" y="869"/>
                    </a:lnTo>
                    <a:lnTo>
                      <a:pt x="1219" y="869"/>
                    </a:lnTo>
                    <a:lnTo>
                      <a:pt x="1217" y="869"/>
                    </a:lnTo>
                    <a:lnTo>
                      <a:pt x="1217" y="867"/>
                    </a:lnTo>
                    <a:lnTo>
                      <a:pt x="1217" y="866"/>
                    </a:lnTo>
                    <a:lnTo>
                      <a:pt x="1217" y="864"/>
                    </a:lnTo>
                    <a:lnTo>
                      <a:pt x="1217" y="862"/>
                    </a:lnTo>
                    <a:lnTo>
                      <a:pt x="1217" y="861"/>
                    </a:lnTo>
                    <a:lnTo>
                      <a:pt x="1219" y="861"/>
                    </a:lnTo>
                    <a:lnTo>
                      <a:pt x="1219" y="859"/>
                    </a:lnTo>
                    <a:lnTo>
                      <a:pt x="1220" y="859"/>
                    </a:lnTo>
                    <a:lnTo>
                      <a:pt x="1220" y="857"/>
                    </a:lnTo>
                    <a:lnTo>
                      <a:pt x="1220" y="855"/>
                    </a:lnTo>
                    <a:lnTo>
                      <a:pt x="1222" y="855"/>
                    </a:lnTo>
                    <a:lnTo>
                      <a:pt x="1222" y="854"/>
                    </a:lnTo>
                    <a:lnTo>
                      <a:pt x="1222" y="852"/>
                    </a:lnTo>
                    <a:lnTo>
                      <a:pt x="1220" y="852"/>
                    </a:lnTo>
                    <a:lnTo>
                      <a:pt x="1220" y="850"/>
                    </a:lnTo>
                    <a:lnTo>
                      <a:pt x="1222" y="850"/>
                    </a:lnTo>
                    <a:lnTo>
                      <a:pt x="1224" y="850"/>
                    </a:lnTo>
                    <a:lnTo>
                      <a:pt x="1222" y="850"/>
                    </a:lnTo>
                    <a:lnTo>
                      <a:pt x="1222" y="849"/>
                    </a:lnTo>
                    <a:lnTo>
                      <a:pt x="1224" y="849"/>
                    </a:lnTo>
                    <a:lnTo>
                      <a:pt x="1222" y="849"/>
                    </a:lnTo>
                    <a:lnTo>
                      <a:pt x="1224" y="849"/>
                    </a:lnTo>
                    <a:lnTo>
                      <a:pt x="1224" y="847"/>
                    </a:lnTo>
                    <a:lnTo>
                      <a:pt x="1222" y="845"/>
                    </a:lnTo>
                    <a:lnTo>
                      <a:pt x="1222" y="844"/>
                    </a:lnTo>
                    <a:lnTo>
                      <a:pt x="1222" y="842"/>
                    </a:lnTo>
                    <a:lnTo>
                      <a:pt x="1222" y="840"/>
                    </a:lnTo>
                    <a:lnTo>
                      <a:pt x="1222" y="838"/>
                    </a:lnTo>
                    <a:lnTo>
                      <a:pt x="1220" y="838"/>
                    </a:lnTo>
                    <a:lnTo>
                      <a:pt x="1220" y="837"/>
                    </a:lnTo>
                    <a:lnTo>
                      <a:pt x="1220" y="835"/>
                    </a:lnTo>
                    <a:lnTo>
                      <a:pt x="1220" y="833"/>
                    </a:lnTo>
                    <a:lnTo>
                      <a:pt x="1219" y="832"/>
                    </a:lnTo>
                    <a:lnTo>
                      <a:pt x="1219" y="830"/>
                    </a:lnTo>
                    <a:lnTo>
                      <a:pt x="1219" y="828"/>
                    </a:lnTo>
                    <a:lnTo>
                      <a:pt x="1219" y="827"/>
                    </a:lnTo>
                    <a:lnTo>
                      <a:pt x="1217" y="827"/>
                    </a:lnTo>
                    <a:lnTo>
                      <a:pt x="1217" y="825"/>
                    </a:lnTo>
                    <a:lnTo>
                      <a:pt x="1217" y="823"/>
                    </a:lnTo>
                    <a:lnTo>
                      <a:pt x="1217" y="821"/>
                    </a:lnTo>
                    <a:lnTo>
                      <a:pt x="1215" y="821"/>
                    </a:lnTo>
                    <a:lnTo>
                      <a:pt x="1217" y="820"/>
                    </a:lnTo>
                    <a:lnTo>
                      <a:pt x="1215" y="820"/>
                    </a:lnTo>
                    <a:lnTo>
                      <a:pt x="1215" y="821"/>
                    </a:lnTo>
                    <a:lnTo>
                      <a:pt x="1217" y="821"/>
                    </a:lnTo>
                    <a:lnTo>
                      <a:pt x="1215" y="821"/>
                    </a:lnTo>
                    <a:lnTo>
                      <a:pt x="1215" y="820"/>
                    </a:lnTo>
                    <a:lnTo>
                      <a:pt x="1213" y="818"/>
                    </a:lnTo>
                    <a:lnTo>
                      <a:pt x="1213" y="816"/>
                    </a:lnTo>
                    <a:lnTo>
                      <a:pt x="1213" y="815"/>
                    </a:lnTo>
                    <a:lnTo>
                      <a:pt x="1213" y="813"/>
                    </a:lnTo>
                    <a:lnTo>
                      <a:pt x="1213" y="811"/>
                    </a:lnTo>
                    <a:lnTo>
                      <a:pt x="1212" y="809"/>
                    </a:lnTo>
                    <a:lnTo>
                      <a:pt x="1213" y="809"/>
                    </a:lnTo>
                    <a:lnTo>
                      <a:pt x="1212" y="809"/>
                    </a:lnTo>
                    <a:lnTo>
                      <a:pt x="1212" y="808"/>
                    </a:lnTo>
                    <a:lnTo>
                      <a:pt x="1212" y="806"/>
                    </a:lnTo>
                    <a:lnTo>
                      <a:pt x="1212" y="804"/>
                    </a:lnTo>
                    <a:lnTo>
                      <a:pt x="1213" y="804"/>
                    </a:lnTo>
                    <a:lnTo>
                      <a:pt x="1213" y="803"/>
                    </a:lnTo>
                    <a:lnTo>
                      <a:pt x="1213" y="801"/>
                    </a:lnTo>
                    <a:lnTo>
                      <a:pt x="1213" y="799"/>
                    </a:lnTo>
                    <a:lnTo>
                      <a:pt x="1213" y="798"/>
                    </a:lnTo>
                    <a:lnTo>
                      <a:pt x="1215" y="798"/>
                    </a:lnTo>
                    <a:lnTo>
                      <a:pt x="1215" y="796"/>
                    </a:lnTo>
                    <a:lnTo>
                      <a:pt x="1215" y="794"/>
                    </a:lnTo>
                    <a:lnTo>
                      <a:pt x="1215" y="792"/>
                    </a:lnTo>
                    <a:lnTo>
                      <a:pt x="1215" y="791"/>
                    </a:lnTo>
                    <a:lnTo>
                      <a:pt x="1213" y="789"/>
                    </a:lnTo>
                    <a:lnTo>
                      <a:pt x="1213" y="787"/>
                    </a:lnTo>
                    <a:lnTo>
                      <a:pt x="1213" y="786"/>
                    </a:lnTo>
                    <a:lnTo>
                      <a:pt x="1212" y="784"/>
                    </a:lnTo>
                    <a:lnTo>
                      <a:pt x="1212" y="782"/>
                    </a:lnTo>
                    <a:lnTo>
                      <a:pt x="1210" y="781"/>
                    </a:lnTo>
                    <a:lnTo>
                      <a:pt x="1210" y="779"/>
                    </a:lnTo>
                    <a:lnTo>
                      <a:pt x="1208" y="779"/>
                    </a:lnTo>
                    <a:lnTo>
                      <a:pt x="1208" y="777"/>
                    </a:lnTo>
                    <a:lnTo>
                      <a:pt x="1207" y="775"/>
                    </a:lnTo>
                    <a:lnTo>
                      <a:pt x="1208" y="775"/>
                    </a:lnTo>
                    <a:lnTo>
                      <a:pt x="1208" y="774"/>
                    </a:lnTo>
                    <a:lnTo>
                      <a:pt x="1207" y="774"/>
                    </a:lnTo>
                    <a:lnTo>
                      <a:pt x="1207" y="772"/>
                    </a:lnTo>
                    <a:lnTo>
                      <a:pt x="1207" y="770"/>
                    </a:lnTo>
                    <a:lnTo>
                      <a:pt x="1208" y="772"/>
                    </a:lnTo>
                    <a:lnTo>
                      <a:pt x="1208" y="770"/>
                    </a:lnTo>
                    <a:lnTo>
                      <a:pt x="1208" y="769"/>
                    </a:lnTo>
                    <a:lnTo>
                      <a:pt x="1210" y="769"/>
                    </a:lnTo>
                    <a:lnTo>
                      <a:pt x="1210" y="767"/>
                    </a:lnTo>
                    <a:lnTo>
                      <a:pt x="1210" y="765"/>
                    </a:lnTo>
                    <a:lnTo>
                      <a:pt x="1210" y="764"/>
                    </a:lnTo>
                    <a:lnTo>
                      <a:pt x="1210" y="765"/>
                    </a:lnTo>
                    <a:lnTo>
                      <a:pt x="1210" y="764"/>
                    </a:lnTo>
                    <a:lnTo>
                      <a:pt x="1210" y="762"/>
                    </a:lnTo>
                    <a:lnTo>
                      <a:pt x="1208" y="762"/>
                    </a:lnTo>
                    <a:lnTo>
                      <a:pt x="1207" y="760"/>
                    </a:lnTo>
                    <a:lnTo>
                      <a:pt x="1207" y="762"/>
                    </a:lnTo>
                    <a:lnTo>
                      <a:pt x="1207" y="760"/>
                    </a:lnTo>
                    <a:lnTo>
                      <a:pt x="1208" y="758"/>
                    </a:lnTo>
                    <a:lnTo>
                      <a:pt x="1207" y="758"/>
                    </a:lnTo>
                    <a:lnTo>
                      <a:pt x="1208" y="757"/>
                    </a:lnTo>
                    <a:lnTo>
                      <a:pt x="1208" y="755"/>
                    </a:lnTo>
                    <a:lnTo>
                      <a:pt x="1208" y="753"/>
                    </a:lnTo>
                    <a:lnTo>
                      <a:pt x="1210" y="752"/>
                    </a:lnTo>
                    <a:lnTo>
                      <a:pt x="1212" y="753"/>
                    </a:lnTo>
                    <a:lnTo>
                      <a:pt x="1210" y="753"/>
                    </a:lnTo>
                    <a:lnTo>
                      <a:pt x="1212" y="755"/>
                    </a:lnTo>
                    <a:lnTo>
                      <a:pt x="1213" y="755"/>
                    </a:lnTo>
                    <a:lnTo>
                      <a:pt x="1213" y="753"/>
                    </a:lnTo>
                    <a:lnTo>
                      <a:pt x="1213" y="755"/>
                    </a:lnTo>
                    <a:lnTo>
                      <a:pt x="1215" y="755"/>
                    </a:lnTo>
                    <a:lnTo>
                      <a:pt x="1215" y="757"/>
                    </a:lnTo>
                    <a:lnTo>
                      <a:pt x="1215" y="755"/>
                    </a:lnTo>
                    <a:lnTo>
                      <a:pt x="1217" y="755"/>
                    </a:lnTo>
                    <a:lnTo>
                      <a:pt x="1219" y="755"/>
                    </a:lnTo>
                    <a:lnTo>
                      <a:pt x="1220" y="755"/>
                    </a:lnTo>
                    <a:lnTo>
                      <a:pt x="1222" y="755"/>
                    </a:lnTo>
                    <a:lnTo>
                      <a:pt x="1222" y="753"/>
                    </a:lnTo>
                    <a:lnTo>
                      <a:pt x="1224" y="753"/>
                    </a:lnTo>
                    <a:lnTo>
                      <a:pt x="1224" y="752"/>
                    </a:lnTo>
                    <a:lnTo>
                      <a:pt x="1225" y="750"/>
                    </a:lnTo>
                    <a:lnTo>
                      <a:pt x="1224" y="750"/>
                    </a:lnTo>
                    <a:lnTo>
                      <a:pt x="1224" y="748"/>
                    </a:lnTo>
                    <a:lnTo>
                      <a:pt x="1225" y="748"/>
                    </a:lnTo>
                    <a:lnTo>
                      <a:pt x="1225" y="747"/>
                    </a:lnTo>
                    <a:lnTo>
                      <a:pt x="1224" y="747"/>
                    </a:lnTo>
                    <a:lnTo>
                      <a:pt x="1224" y="745"/>
                    </a:lnTo>
                    <a:lnTo>
                      <a:pt x="1224" y="743"/>
                    </a:lnTo>
                    <a:lnTo>
                      <a:pt x="1225" y="743"/>
                    </a:lnTo>
                    <a:lnTo>
                      <a:pt x="1225" y="741"/>
                    </a:lnTo>
                    <a:lnTo>
                      <a:pt x="1225" y="740"/>
                    </a:lnTo>
                    <a:lnTo>
                      <a:pt x="1225" y="738"/>
                    </a:lnTo>
                    <a:lnTo>
                      <a:pt x="1227" y="738"/>
                    </a:lnTo>
                    <a:lnTo>
                      <a:pt x="1227" y="740"/>
                    </a:lnTo>
                    <a:lnTo>
                      <a:pt x="1229" y="738"/>
                    </a:lnTo>
                    <a:lnTo>
                      <a:pt x="1227" y="738"/>
                    </a:lnTo>
                    <a:lnTo>
                      <a:pt x="1225" y="738"/>
                    </a:lnTo>
                    <a:lnTo>
                      <a:pt x="1224" y="738"/>
                    </a:lnTo>
                    <a:lnTo>
                      <a:pt x="1224" y="736"/>
                    </a:lnTo>
                    <a:lnTo>
                      <a:pt x="1222" y="736"/>
                    </a:lnTo>
                    <a:lnTo>
                      <a:pt x="1224" y="736"/>
                    </a:lnTo>
                    <a:lnTo>
                      <a:pt x="1224" y="735"/>
                    </a:lnTo>
                    <a:lnTo>
                      <a:pt x="1224" y="736"/>
                    </a:lnTo>
                    <a:lnTo>
                      <a:pt x="1225" y="735"/>
                    </a:lnTo>
                    <a:lnTo>
                      <a:pt x="1225" y="733"/>
                    </a:lnTo>
                    <a:lnTo>
                      <a:pt x="1225" y="731"/>
                    </a:lnTo>
                    <a:lnTo>
                      <a:pt x="1225" y="730"/>
                    </a:lnTo>
                    <a:lnTo>
                      <a:pt x="1227" y="730"/>
                    </a:lnTo>
                    <a:lnTo>
                      <a:pt x="1227" y="731"/>
                    </a:lnTo>
                    <a:lnTo>
                      <a:pt x="1227" y="733"/>
                    </a:lnTo>
                    <a:lnTo>
                      <a:pt x="1225" y="733"/>
                    </a:lnTo>
                    <a:lnTo>
                      <a:pt x="1227" y="735"/>
                    </a:lnTo>
                    <a:lnTo>
                      <a:pt x="1229" y="735"/>
                    </a:lnTo>
                    <a:lnTo>
                      <a:pt x="1230" y="735"/>
                    </a:lnTo>
                    <a:lnTo>
                      <a:pt x="1230" y="733"/>
                    </a:lnTo>
                    <a:lnTo>
                      <a:pt x="1230" y="731"/>
                    </a:lnTo>
                    <a:lnTo>
                      <a:pt x="1232" y="730"/>
                    </a:lnTo>
                    <a:lnTo>
                      <a:pt x="1230" y="730"/>
                    </a:lnTo>
                    <a:lnTo>
                      <a:pt x="1230" y="728"/>
                    </a:lnTo>
                    <a:lnTo>
                      <a:pt x="1230" y="726"/>
                    </a:lnTo>
                    <a:lnTo>
                      <a:pt x="1232" y="726"/>
                    </a:lnTo>
                    <a:lnTo>
                      <a:pt x="1232" y="724"/>
                    </a:lnTo>
                    <a:lnTo>
                      <a:pt x="1234" y="724"/>
                    </a:lnTo>
                    <a:lnTo>
                      <a:pt x="1232" y="724"/>
                    </a:lnTo>
                    <a:lnTo>
                      <a:pt x="1232" y="723"/>
                    </a:lnTo>
                    <a:lnTo>
                      <a:pt x="1234" y="723"/>
                    </a:lnTo>
                    <a:lnTo>
                      <a:pt x="1234" y="721"/>
                    </a:lnTo>
                    <a:lnTo>
                      <a:pt x="1234" y="719"/>
                    </a:lnTo>
                    <a:lnTo>
                      <a:pt x="1236" y="718"/>
                    </a:lnTo>
                    <a:lnTo>
                      <a:pt x="1236" y="716"/>
                    </a:lnTo>
                    <a:lnTo>
                      <a:pt x="1236" y="714"/>
                    </a:lnTo>
                    <a:lnTo>
                      <a:pt x="1236" y="713"/>
                    </a:lnTo>
                    <a:lnTo>
                      <a:pt x="1236" y="711"/>
                    </a:lnTo>
                    <a:lnTo>
                      <a:pt x="1237" y="711"/>
                    </a:lnTo>
                    <a:lnTo>
                      <a:pt x="1237" y="709"/>
                    </a:lnTo>
                    <a:lnTo>
                      <a:pt x="1236" y="707"/>
                    </a:lnTo>
                    <a:lnTo>
                      <a:pt x="1237" y="707"/>
                    </a:lnTo>
                    <a:lnTo>
                      <a:pt x="1237" y="706"/>
                    </a:lnTo>
                    <a:lnTo>
                      <a:pt x="1237" y="704"/>
                    </a:lnTo>
                    <a:lnTo>
                      <a:pt x="1237" y="702"/>
                    </a:lnTo>
                    <a:lnTo>
                      <a:pt x="1239" y="702"/>
                    </a:lnTo>
                    <a:lnTo>
                      <a:pt x="1239" y="701"/>
                    </a:lnTo>
                    <a:lnTo>
                      <a:pt x="1241" y="701"/>
                    </a:lnTo>
                    <a:lnTo>
                      <a:pt x="1241" y="699"/>
                    </a:lnTo>
                    <a:lnTo>
                      <a:pt x="1242" y="697"/>
                    </a:lnTo>
                    <a:lnTo>
                      <a:pt x="1244" y="696"/>
                    </a:lnTo>
                    <a:lnTo>
                      <a:pt x="1244" y="694"/>
                    </a:lnTo>
                    <a:lnTo>
                      <a:pt x="1244" y="692"/>
                    </a:lnTo>
                    <a:lnTo>
                      <a:pt x="1244" y="690"/>
                    </a:lnTo>
                    <a:lnTo>
                      <a:pt x="1244" y="689"/>
                    </a:lnTo>
                    <a:lnTo>
                      <a:pt x="1242" y="689"/>
                    </a:lnTo>
                    <a:lnTo>
                      <a:pt x="1242" y="687"/>
                    </a:lnTo>
                    <a:lnTo>
                      <a:pt x="1242" y="685"/>
                    </a:lnTo>
                    <a:lnTo>
                      <a:pt x="1244" y="685"/>
                    </a:lnTo>
                    <a:lnTo>
                      <a:pt x="1244" y="684"/>
                    </a:lnTo>
                    <a:lnTo>
                      <a:pt x="1246" y="684"/>
                    </a:lnTo>
                    <a:lnTo>
                      <a:pt x="1246" y="682"/>
                    </a:lnTo>
                    <a:lnTo>
                      <a:pt x="1247" y="682"/>
                    </a:lnTo>
                    <a:lnTo>
                      <a:pt x="1247" y="680"/>
                    </a:lnTo>
                    <a:lnTo>
                      <a:pt x="1247" y="679"/>
                    </a:lnTo>
                    <a:lnTo>
                      <a:pt x="1247" y="677"/>
                    </a:lnTo>
                    <a:lnTo>
                      <a:pt x="1249" y="677"/>
                    </a:lnTo>
                    <a:lnTo>
                      <a:pt x="1249" y="675"/>
                    </a:lnTo>
                    <a:lnTo>
                      <a:pt x="1251" y="675"/>
                    </a:lnTo>
                    <a:lnTo>
                      <a:pt x="1251" y="673"/>
                    </a:lnTo>
                    <a:lnTo>
                      <a:pt x="1251" y="672"/>
                    </a:lnTo>
                    <a:lnTo>
                      <a:pt x="1251" y="670"/>
                    </a:lnTo>
                    <a:lnTo>
                      <a:pt x="1253" y="670"/>
                    </a:lnTo>
                    <a:lnTo>
                      <a:pt x="1254" y="668"/>
                    </a:lnTo>
                    <a:lnTo>
                      <a:pt x="1256" y="668"/>
                    </a:lnTo>
                    <a:lnTo>
                      <a:pt x="1256" y="667"/>
                    </a:lnTo>
                    <a:lnTo>
                      <a:pt x="1258" y="667"/>
                    </a:lnTo>
                    <a:lnTo>
                      <a:pt x="1258" y="665"/>
                    </a:lnTo>
                    <a:lnTo>
                      <a:pt x="1258" y="663"/>
                    </a:lnTo>
                    <a:lnTo>
                      <a:pt x="1258" y="662"/>
                    </a:lnTo>
                    <a:lnTo>
                      <a:pt x="1258" y="660"/>
                    </a:lnTo>
                    <a:lnTo>
                      <a:pt x="1258" y="658"/>
                    </a:lnTo>
                    <a:lnTo>
                      <a:pt x="1258" y="656"/>
                    </a:lnTo>
                    <a:lnTo>
                      <a:pt x="1259" y="656"/>
                    </a:lnTo>
                    <a:lnTo>
                      <a:pt x="1259" y="655"/>
                    </a:lnTo>
                    <a:lnTo>
                      <a:pt x="1259" y="653"/>
                    </a:lnTo>
                    <a:lnTo>
                      <a:pt x="1261" y="651"/>
                    </a:lnTo>
                    <a:lnTo>
                      <a:pt x="1261" y="650"/>
                    </a:lnTo>
                    <a:lnTo>
                      <a:pt x="1263" y="650"/>
                    </a:lnTo>
                    <a:lnTo>
                      <a:pt x="1263" y="648"/>
                    </a:lnTo>
                    <a:lnTo>
                      <a:pt x="1263" y="646"/>
                    </a:lnTo>
                    <a:lnTo>
                      <a:pt x="1263" y="644"/>
                    </a:lnTo>
                    <a:lnTo>
                      <a:pt x="1263" y="643"/>
                    </a:lnTo>
                    <a:lnTo>
                      <a:pt x="1263" y="641"/>
                    </a:lnTo>
                    <a:lnTo>
                      <a:pt x="1263" y="639"/>
                    </a:lnTo>
                    <a:lnTo>
                      <a:pt x="1263" y="638"/>
                    </a:lnTo>
                    <a:lnTo>
                      <a:pt x="1263" y="636"/>
                    </a:lnTo>
                    <a:lnTo>
                      <a:pt x="1264" y="636"/>
                    </a:lnTo>
                    <a:lnTo>
                      <a:pt x="1264" y="634"/>
                    </a:lnTo>
                    <a:lnTo>
                      <a:pt x="1264" y="633"/>
                    </a:lnTo>
                    <a:lnTo>
                      <a:pt x="1264" y="631"/>
                    </a:lnTo>
                    <a:lnTo>
                      <a:pt x="1264" y="629"/>
                    </a:lnTo>
                    <a:lnTo>
                      <a:pt x="1264" y="627"/>
                    </a:lnTo>
                    <a:lnTo>
                      <a:pt x="1263" y="627"/>
                    </a:lnTo>
                    <a:lnTo>
                      <a:pt x="1264" y="627"/>
                    </a:lnTo>
                    <a:lnTo>
                      <a:pt x="1263" y="626"/>
                    </a:lnTo>
                    <a:lnTo>
                      <a:pt x="1264" y="626"/>
                    </a:lnTo>
                    <a:lnTo>
                      <a:pt x="1266" y="624"/>
                    </a:lnTo>
                    <a:lnTo>
                      <a:pt x="1266" y="622"/>
                    </a:lnTo>
                    <a:lnTo>
                      <a:pt x="1268" y="621"/>
                    </a:lnTo>
                    <a:lnTo>
                      <a:pt x="1268" y="619"/>
                    </a:lnTo>
                    <a:lnTo>
                      <a:pt x="1270" y="617"/>
                    </a:lnTo>
                    <a:lnTo>
                      <a:pt x="1270" y="616"/>
                    </a:lnTo>
                    <a:lnTo>
                      <a:pt x="1270" y="614"/>
                    </a:lnTo>
                    <a:lnTo>
                      <a:pt x="1271" y="612"/>
                    </a:lnTo>
                    <a:lnTo>
                      <a:pt x="1273" y="612"/>
                    </a:lnTo>
                    <a:lnTo>
                      <a:pt x="1273" y="610"/>
                    </a:lnTo>
                    <a:lnTo>
                      <a:pt x="1275" y="610"/>
                    </a:lnTo>
                    <a:lnTo>
                      <a:pt x="1275" y="609"/>
                    </a:lnTo>
                    <a:lnTo>
                      <a:pt x="1276" y="609"/>
                    </a:lnTo>
                    <a:lnTo>
                      <a:pt x="1276" y="607"/>
                    </a:lnTo>
                    <a:lnTo>
                      <a:pt x="1276" y="605"/>
                    </a:lnTo>
                    <a:lnTo>
                      <a:pt x="1276" y="604"/>
                    </a:lnTo>
                    <a:lnTo>
                      <a:pt x="1276" y="602"/>
                    </a:lnTo>
                    <a:lnTo>
                      <a:pt x="1276" y="600"/>
                    </a:lnTo>
                    <a:lnTo>
                      <a:pt x="1275" y="599"/>
                    </a:lnTo>
                    <a:lnTo>
                      <a:pt x="1273" y="599"/>
                    </a:lnTo>
                    <a:lnTo>
                      <a:pt x="1275" y="597"/>
                    </a:lnTo>
                    <a:lnTo>
                      <a:pt x="1273" y="597"/>
                    </a:lnTo>
                    <a:lnTo>
                      <a:pt x="1275" y="597"/>
                    </a:lnTo>
                    <a:lnTo>
                      <a:pt x="1275" y="595"/>
                    </a:lnTo>
                    <a:lnTo>
                      <a:pt x="1276" y="593"/>
                    </a:lnTo>
                    <a:lnTo>
                      <a:pt x="1275" y="593"/>
                    </a:lnTo>
                    <a:lnTo>
                      <a:pt x="1275" y="592"/>
                    </a:lnTo>
                    <a:lnTo>
                      <a:pt x="1275" y="590"/>
                    </a:lnTo>
                    <a:lnTo>
                      <a:pt x="1275" y="588"/>
                    </a:lnTo>
                    <a:lnTo>
                      <a:pt x="1273" y="588"/>
                    </a:lnTo>
                    <a:lnTo>
                      <a:pt x="1275" y="588"/>
                    </a:lnTo>
                    <a:lnTo>
                      <a:pt x="1275" y="587"/>
                    </a:lnTo>
                    <a:lnTo>
                      <a:pt x="1273" y="587"/>
                    </a:lnTo>
                    <a:lnTo>
                      <a:pt x="1273" y="585"/>
                    </a:lnTo>
                    <a:lnTo>
                      <a:pt x="1275" y="585"/>
                    </a:lnTo>
                    <a:lnTo>
                      <a:pt x="1275" y="583"/>
                    </a:lnTo>
                    <a:lnTo>
                      <a:pt x="1275" y="582"/>
                    </a:lnTo>
                    <a:lnTo>
                      <a:pt x="1276" y="582"/>
                    </a:lnTo>
                    <a:lnTo>
                      <a:pt x="1278" y="582"/>
                    </a:lnTo>
                    <a:lnTo>
                      <a:pt x="1280" y="580"/>
                    </a:lnTo>
                    <a:lnTo>
                      <a:pt x="1280" y="578"/>
                    </a:lnTo>
                    <a:lnTo>
                      <a:pt x="1278" y="578"/>
                    </a:lnTo>
                    <a:lnTo>
                      <a:pt x="1280" y="578"/>
                    </a:lnTo>
                    <a:lnTo>
                      <a:pt x="1280" y="576"/>
                    </a:lnTo>
                    <a:lnTo>
                      <a:pt x="1280" y="575"/>
                    </a:lnTo>
                    <a:lnTo>
                      <a:pt x="1280" y="573"/>
                    </a:lnTo>
                    <a:lnTo>
                      <a:pt x="1280" y="571"/>
                    </a:lnTo>
                    <a:lnTo>
                      <a:pt x="1281" y="571"/>
                    </a:lnTo>
                    <a:lnTo>
                      <a:pt x="1281" y="570"/>
                    </a:lnTo>
                    <a:lnTo>
                      <a:pt x="1280" y="570"/>
                    </a:lnTo>
                    <a:lnTo>
                      <a:pt x="1281" y="570"/>
                    </a:lnTo>
                    <a:lnTo>
                      <a:pt x="1281" y="568"/>
                    </a:lnTo>
                    <a:lnTo>
                      <a:pt x="1283" y="568"/>
                    </a:lnTo>
                    <a:lnTo>
                      <a:pt x="1283" y="566"/>
                    </a:lnTo>
                    <a:lnTo>
                      <a:pt x="1283" y="565"/>
                    </a:lnTo>
                    <a:lnTo>
                      <a:pt x="1281" y="565"/>
                    </a:lnTo>
                    <a:lnTo>
                      <a:pt x="1281" y="563"/>
                    </a:lnTo>
                    <a:lnTo>
                      <a:pt x="1281" y="561"/>
                    </a:lnTo>
                    <a:lnTo>
                      <a:pt x="1283" y="561"/>
                    </a:lnTo>
                    <a:lnTo>
                      <a:pt x="1283" y="559"/>
                    </a:lnTo>
                    <a:lnTo>
                      <a:pt x="1283" y="558"/>
                    </a:lnTo>
                    <a:lnTo>
                      <a:pt x="1285" y="556"/>
                    </a:lnTo>
                    <a:lnTo>
                      <a:pt x="1283" y="556"/>
                    </a:lnTo>
                    <a:lnTo>
                      <a:pt x="1283" y="554"/>
                    </a:lnTo>
                    <a:lnTo>
                      <a:pt x="1281" y="554"/>
                    </a:lnTo>
                    <a:lnTo>
                      <a:pt x="1281" y="553"/>
                    </a:lnTo>
                    <a:lnTo>
                      <a:pt x="1281" y="551"/>
                    </a:lnTo>
                    <a:lnTo>
                      <a:pt x="1280" y="549"/>
                    </a:lnTo>
                    <a:lnTo>
                      <a:pt x="1280" y="548"/>
                    </a:lnTo>
                    <a:lnTo>
                      <a:pt x="1280" y="546"/>
                    </a:lnTo>
                    <a:lnTo>
                      <a:pt x="1280" y="544"/>
                    </a:lnTo>
                    <a:lnTo>
                      <a:pt x="1280" y="542"/>
                    </a:lnTo>
                    <a:lnTo>
                      <a:pt x="1280" y="541"/>
                    </a:lnTo>
                    <a:lnTo>
                      <a:pt x="1280" y="539"/>
                    </a:lnTo>
                    <a:lnTo>
                      <a:pt x="1281" y="539"/>
                    </a:lnTo>
                    <a:lnTo>
                      <a:pt x="1280" y="539"/>
                    </a:lnTo>
                    <a:lnTo>
                      <a:pt x="1280" y="537"/>
                    </a:lnTo>
                    <a:lnTo>
                      <a:pt x="1281" y="536"/>
                    </a:lnTo>
                    <a:lnTo>
                      <a:pt x="1280" y="536"/>
                    </a:lnTo>
                    <a:lnTo>
                      <a:pt x="1280" y="534"/>
                    </a:lnTo>
                    <a:lnTo>
                      <a:pt x="1278" y="536"/>
                    </a:lnTo>
                    <a:lnTo>
                      <a:pt x="1278" y="534"/>
                    </a:lnTo>
                    <a:lnTo>
                      <a:pt x="1280" y="534"/>
                    </a:lnTo>
                    <a:lnTo>
                      <a:pt x="1280" y="532"/>
                    </a:lnTo>
                    <a:lnTo>
                      <a:pt x="1280" y="531"/>
                    </a:lnTo>
                    <a:lnTo>
                      <a:pt x="1280" y="529"/>
                    </a:lnTo>
                    <a:lnTo>
                      <a:pt x="1278" y="527"/>
                    </a:lnTo>
                    <a:lnTo>
                      <a:pt x="1278" y="525"/>
                    </a:lnTo>
                    <a:lnTo>
                      <a:pt x="1278" y="524"/>
                    </a:lnTo>
                    <a:lnTo>
                      <a:pt x="1278" y="522"/>
                    </a:lnTo>
                    <a:lnTo>
                      <a:pt x="1278" y="520"/>
                    </a:lnTo>
                    <a:lnTo>
                      <a:pt x="1278" y="519"/>
                    </a:lnTo>
                    <a:lnTo>
                      <a:pt x="1278" y="517"/>
                    </a:lnTo>
                    <a:lnTo>
                      <a:pt x="1276" y="517"/>
                    </a:lnTo>
                    <a:lnTo>
                      <a:pt x="1276" y="515"/>
                    </a:lnTo>
                    <a:lnTo>
                      <a:pt x="1276" y="514"/>
                    </a:lnTo>
                    <a:lnTo>
                      <a:pt x="1276" y="512"/>
                    </a:lnTo>
                    <a:lnTo>
                      <a:pt x="1276" y="510"/>
                    </a:lnTo>
                    <a:lnTo>
                      <a:pt x="1275" y="508"/>
                    </a:lnTo>
                    <a:lnTo>
                      <a:pt x="1276" y="508"/>
                    </a:lnTo>
                    <a:lnTo>
                      <a:pt x="1275" y="508"/>
                    </a:lnTo>
                    <a:lnTo>
                      <a:pt x="1275" y="507"/>
                    </a:lnTo>
                    <a:lnTo>
                      <a:pt x="1275" y="505"/>
                    </a:lnTo>
                    <a:lnTo>
                      <a:pt x="1276" y="505"/>
                    </a:lnTo>
                    <a:lnTo>
                      <a:pt x="1275" y="505"/>
                    </a:lnTo>
                    <a:lnTo>
                      <a:pt x="1275" y="503"/>
                    </a:lnTo>
                    <a:lnTo>
                      <a:pt x="1275" y="502"/>
                    </a:lnTo>
                    <a:lnTo>
                      <a:pt x="1276" y="502"/>
                    </a:lnTo>
                    <a:lnTo>
                      <a:pt x="1275" y="500"/>
                    </a:lnTo>
                    <a:lnTo>
                      <a:pt x="1276" y="500"/>
                    </a:lnTo>
                    <a:lnTo>
                      <a:pt x="1275" y="500"/>
                    </a:lnTo>
                    <a:lnTo>
                      <a:pt x="1275" y="498"/>
                    </a:lnTo>
                    <a:lnTo>
                      <a:pt x="1275" y="497"/>
                    </a:lnTo>
                    <a:lnTo>
                      <a:pt x="1275" y="495"/>
                    </a:lnTo>
                    <a:lnTo>
                      <a:pt x="1275" y="493"/>
                    </a:lnTo>
                    <a:lnTo>
                      <a:pt x="1273" y="493"/>
                    </a:lnTo>
                    <a:lnTo>
                      <a:pt x="1273" y="491"/>
                    </a:lnTo>
                    <a:lnTo>
                      <a:pt x="1275" y="490"/>
                    </a:lnTo>
                    <a:lnTo>
                      <a:pt x="1273" y="490"/>
                    </a:lnTo>
                    <a:lnTo>
                      <a:pt x="1275" y="490"/>
                    </a:lnTo>
                    <a:lnTo>
                      <a:pt x="1275" y="488"/>
                    </a:lnTo>
                    <a:lnTo>
                      <a:pt x="1273" y="488"/>
                    </a:lnTo>
                    <a:lnTo>
                      <a:pt x="1273" y="486"/>
                    </a:lnTo>
                    <a:lnTo>
                      <a:pt x="1273" y="485"/>
                    </a:lnTo>
                    <a:lnTo>
                      <a:pt x="1273" y="483"/>
                    </a:lnTo>
                    <a:lnTo>
                      <a:pt x="1275" y="483"/>
                    </a:lnTo>
                    <a:lnTo>
                      <a:pt x="1275" y="481"/>
                    </a:lnTo>
                    <a:lnTo>
                      <a:pt x="1275" y="479"/>
                    </a:lnTo>
                    <a:lnTo>
                      <a:pt x="1275" y="478"/>
                    </a:lnTo>
                    <a:lnTo>
                      <a:pt x="1275" y="476"/>
                    </a:lnTo>
                    <a:lnTo>
                      <a:pt x="1275" y="474"/>
                    </a:lnTo>
                    <a:lnTo>
                      <a:pt x="1275" y="473"/>
                    </a:lnTo>
                    <a:lnTo>
                      <a:pt x="1276" y="473"/>
                    </a:lnTo>
                    <a:lnTo>
                      <a:pt x="1276" y="471"/>
                    </a:lnTo>
                    <a:lnTo>
                      <a:pt x="1276" y="473"/>
                    </a:lnTo>
                    <a:lnTo>
                      <a:pt x="1278" y="474"/>
                    </a:lnTo>
                    <a:lnTo>
                      <a:pt x="1278" y="473"/>
                    </a:lnTo>
                    <a:lnTo>
                      <a:pt x="1280" y="473"/>
                    </a:lnTo>
                    <a:lnTo>
                      <a:pt x="1281" y="473"/>
                    </a:lnTo>
                    <a:lnTo>
                      <a:pt x="1280" y="471"/>
                    </a:lnTo>
                    <a:lnTo>
                      <a:pt x="1281" y="471"/>
                    </a:lnTo>
                    <a:lnTo>
                      <a:pt x="1281" y="469"/>
                    </a:lnTo>
                    <a:lnTo>
                      <a:pt x="1283" y="468"/>
                    </a:lnTo>
                    <a:lnTo>
                      <a:pt x="1283" y="469"/>
                    </a:lnTo>
                    <a:lnTo>
                      <a:pt x="1285" y="469"/>
                    </a:lnTo>
                    <a:lnTo>
                      <a:pt x="1285" y="468"/>
                    </a:lnTo>
                    <a:lnTo>
                      <a:pt x="1285" y="466"/>
                    </a:lnTo>
                    <a:lnTo>
                      <a:pt x="1285" y="464"/>
                    </a:lnTo>
                    <a:lnTo>
                      <a:pt x="1285" y="462"/>
                    </a:lnTo>
                    <a:lnTo>
                      <a:pt x="1283" y="462"/>
                    </a:lnTo>
                    <a:lnTo>
                      <a:pt x="1285" y="461"/>
                    </a:lnTo>
                    <a:lnTo>
                      <a:pt x="1285" y="459"/>
                    </a:lnTo>
                    <a:lnTo>
                      <a:pt x="1287" y="459"/>
                    </a:lnTo>
                    <a:lnTo>
                      <a:pt x="1287" y="461"/>
                    </a:lnTo>
                    <a:lnTo>
                      <a:pt x="1287" y="459"/>
                    </a:lnTo>
                    <a:lnTo>
                      <a:pt x="1288" y="459"/>
                    </a:lnTo>
                    <a:lnTo>
                      <a:pt x="1288" y="457"/>
                    </a:lnTo>
                    <a:lnTo>
                      <a:pt x="1288" y="456"/>
                    </a:lnTo>
                    <a:lnTo>
                      <a:pt x="1287" y="454"/>
                    </a:lnTo>
                    <a:lnTo>
                      <a:pt x="1287" y="452"/>
                    </a:lnTo>
                    <a:lnTo>
                      <a:pt x="1287" y="451"/>
                    </a:lnTo>
                    <a:lnTo>
                      <a:pt x="1287" y="449"/>
                    </a:lnTo>
                    <a:lnTo>
                      <a:pt x="1287" y="447"/>
                    </a:lnTo>
                    <a:lnTo>
                      <a:pt x="1288" y="447"/>
                    </a:lnTo>
                    <a:lnTo>
                      <a:pt x="1288" y="445"/>
                    </a:lnTo>
                    <a:lnTo>
                      <a:pt x="1287" y="445"/>
                    </a:lnTo>
                    <a:lnTo>
                      <a:pt x="1287" y="444"/>
                    </a:lnTo>
                    <a:lnTo>
                      <a:pt x="1287" y="442"/>
                    </a:lnTo>
                    <a:lnTo>
                      <a:pt x="1287" y="440"/>
                    </a:lnTo>
                    <a:lnTo>
                      <a:pt x="1287" y="439"/>
                    </a:lnTo>
                    <a:lnTo>
                      <a:pt x="1287" y="437"/>
                    </a:lnTo>
                    <a:lnTo>
                      <a:pt x="1287" y="435"/>
                    </a:lnTo>
                    <a:lnTo>
                      <a:pt x="1285" y="435"/>
                    </a:lnTo>
                    <a:lnTo>
                      <a:pt x="1285" y="434"/>
                    </a:lnTo>
                    <a:lnTo>
                      <a:pt x="1283" y="434"/>
                    </a:lnTo>
                    <a:lnTo>
                      <a:pt x="1281" y="432"/>
                    </a:lnTo>
                    <a:lnTo>
                      <a:pt x="1281" y="430"/>
                    </a:lnTo>
                    <a:lnTo>
                      <a:pt x="1280" y="428"/>
                    </a:lnTo>
                    <a:lnTo>
                      <a:pt x="1281" y="428"/>
                    </a:lnTo>
                    <a:lnTo>
                      <a:pt x="1281" y="427"/>
                    </a:lnTo>
                    <a:lnTo>
                      <a:pt x="1280" y="427"/>
                    </a:lnTo>
                    <a:lnTo>
                      <a:pt x="1281" y="425"/>
                    </a:lnTo>
                    <a:lnTo>
                      <a:pt x="1280" y="423"/>
                    </a:lnTo>
                    <a:lnTo>
                      <a:pt x="1281" y="423"/>
                    </a:lnTo>
                    <a:lnTo>
                      <a:pt x="1281" y="422"/>
                    </a:lnTo>
                    <a:lnTo>
                      <a:pt x="1280" y="422"/>
                    </a:lnTo>
                    <a:lnTo>
                      <a:pt x="1280" y="420"/>
                    </a:lnTo>
                    <a:lnTo>
                      <a:pt x="1280" y="418"/>
                    </a:lnTo>
                    <a:lnTo>
                      <a:pt x="1281" y="418"/>
                    </a:lnTo>
                    <a:lnTo>
                      <a:pt x="1281" y="417"/>
                    </a:lnTo>
                    <a:lnTo>
                      <a:pt x="1283" y="417"/>
                    </a:lnTo>
                    <a:lnTo>
                      <a:pt x="1285" y="415"/>
                    </a:lnTo>
                    <a:lnTo>
                      <a:pt x="1285" y="413"/>
                    </a:lnTo>
                    <a:lnTo>
                      <a:pt x="1287" y="411"/>
                    </a:lnTo>
                    <a:lnTo>
                      <a:pt x="1288" y="411"/>
                    </a:lnTo>
                    <a:lnTo>
                      <a:pt x="1288" y="410"/>
                    </a:lnTo>
                    <a:lnTo>
                      <a:pt x="1288" y="408"/>
                    </a:lnTo>
                    <a:lnTo>
                      <a:pt x="1287" y="408"/>
                    </a:lnTo>
                    <a:lnTo>
                      <a:pt x="1287" y="406"/>
                    </a:lnTo>
                    <a:lnTo>
                      <a:pt x="1288" y="406"/>
                    </a:lnTo>
                    <a:lnTo>
                      <a:pt x="1288" y="405"/>
                    </a:lnTo>
                    <a:lnTo>
                      <a:pt x="1288" y="403"/>
                    </a:lnTo>
                    <a:lnTo>
                      <a:pt x="1290" y="403"/>
                    </a:lnTo>
                    <a:lnTo>
                      <a:pt x="1290" y="401"/>
                    </a:lnTo>
                    <a:lnTo>
                      <a:pt x="1292" y="400"/>
                    </a:lnTo>
                    <a:lnTo>
                      <a:pt x="1292" y="398"/>
                    </a:lnTo>
                    <a:lnTo>
                      <a:pt x="1292" y="396"/>
                    </a:lnTo>
                    <a:lnTo>
                      <a:pt x="1290" y="396"/>
                    </a:lnTo>
                    <a:lnTo>
                      <a:pt x="1292" y="396"/>
                    </a:lnTo>
                    <a:lnTo>
                      <a:pt x="1292" y="394"/>
                    </a:lnTo>
                    <a:lnTo>
                      <a:pt x="1292" y="393"/>
                    </a:lnTo>
                    <a:lnTo>
                      <a:pt x="1292" y="391"/>
                    </a:lnTo>
                    <a:lnTo>
                      <a:pt x="1292" y="389"/>
                    </a:lnTo>
                    <a:lnTo>
                      <a:pt x="1292" y="388"/>
                    </a:lnTo>
                    <a:lnTo>
                      <a:pt x="1293" y="388"/>
                    </a:lnTo>
                    <a:lnTo>
                      <a:pt x="1292" y="386"/>
                    </a:lnTo>
                    <a:lnTo>
                      <a:pt x="1293" y="386"/>
                    </a:lnTo>
                    <a:lnTo>
                      <a:pt x="1292" y="386"/>
                    </a:lnTo>
                    <a:lnTo>
                      <a:pt x="1293" y="386"/>
                    </a:lnTo>
                    <a:lnTo>
                      <a:pt x="1292" y="384"/>
                    </a:lnTo>
                    <a:lnTo>
                      <a:pt x="1293" y="384"/>
                    </a:lnTo>
                    <a:lnTo>
                      <a:pt x="1292" y="384"/>
                    </a:lnTo>
                    <a:lnTo>
                      <a:pt x="1293" y="383"/>
                    </a:lnTo>
                    <a:lnTo>
                      <a:pt x="1293" y="381"/>
                    </a:lnTo>
                    <a:lnTo>
                      <a:pt x="1293" y="379"/>
                    </a:lnTo>
                    <a:lnTo>
                      <a:pt x="1295" y="377"/>
                    </a:lnTo>
                    <a:lnTo>
                      <a:pt x="1295" y="376"/>
                    </a:lnTo>
                    <a:lnTo>
                      <a:pt x="1295" y="374"/>
                    </a:lnTo>
                    <a:lnTo>
                      <a:pt x="1297" y="374"/>
                    </a:lnTo>
                    <a:lnTo>
                      <a:pt x="1297" y="372"/>
                    </a:lnTo>
                    <a:lnTo>
                      <a:pt x="1298" y="372"/>
                    </a:lnTo>
                    <a:lnTo>
                      <a:pt x="1300" y="372"/>
                    </a:lnTo>
                    <a:lnTo>
                      <a:pt x="1300" y="371"/>
                    </a:lnTo>
                    <a:lnTo>
                      <a:pt x="1300" y="369"/>
                    </a:lnTo>
                    <a:lnTo>
                      <a:pt x="1300" y="367"/>
                    </a:lnTo>
                    <a:lnTo>
                      <a:pt x="1302" y="367"/>
                    </a:lnTo>
                    <a:lnTo>
                      <a:pt x="1302" y="366"/>
                    </a:lnTo>
                    <a:lnTo>
                      <a:pt x="1300" y="366"/>
                    </a:lnTo>
                    <a:lnTo>
                      <a:pt x="1302" y="366"/>
                    </a:lnTo>
                    <a:lnTo>
                      <a:pt x="1300" y="364"/>
                    </a:lnTo>
                    <a:lnTo>
                      <a:pt x="1300" y="362"/>
                    </a:lnTo>
                    <a:lnTo>
                      <a:pt x="1298" y="360"/>
                    </a:lnTo>
                    <a:lnTo>
                      <a:pt x="1300" y="359"/>
                    </a:lnTo>
                    <a:lnTo>
                      <a:pt x="1300" y="357"/>
                    </a:lnTo>
                    <a:lnTo>
                      <a:pt x="1298" y="357"/>
                    </a:lnTo>
                    <a:lnTo>
                      <a:pt x="1298" y="355"/>
                    </a:lnTo>
                    <a:lnTo>
                      <a:pt x="1298" y="354"/>
                    </a:lnTo>
                    <a:lnTo>
                      <a:pt x="1298" y="352"/>
                    </a:lnTo>
                    <a:lnTo>
                      <a:pt x="1300" y="350"/>
                    </a:lnTo>
                    <a:lnTo>
                      <a:pt x="1300" y="352"/>
                    </a:lnTo>
                    <a:lnTo>
                      <a:pt x="1302" y="352"/>
                    </a:lnTo>
                    <a:lnTo>
                      <a:pt x="1302" y="350"/>
                    </a:lnTo>
                    <a:lnTo>
                      <a:pt x="1304" y="350"/>
                    </a:lnTo>
                    <a:lnTo>
                      <a:pt x="1302" y="349"/>
                    </a:lnTo>
                    <a:lnTo>
                      <a:pt x="1304" y="349"/>
                    </a:lnTo>
                    <a:lnTo>
                      <a:pt x="1304" y="347"/>
                    </a:lnTo>
                    <a:lnTo>
                      <a:pt x="1305" y="347"/>
                    </a:lnTo>
                    <a:lnTo>
                      <a:pt x="1305" y="345"/>
                    </a:lnTo>
                    <a:lnTo>
                      <a:pt x="1304" y="345"/>
                    </a:lnTo>
                    <a:lnTo>
                      <a:pt x="1304" y="343"/>
                    </a:lnTo>
                    <a:lnTo>
                      <a:pt x="1304" y="342"/>
                    </a:lnTo>
                    <a:lnTo>
                      <a:pt x="1304" y="340"/>
                    </a:lnTo>
                    <a:lnTo>
                      <a:pt x="1305" y="338"/>
                    </a:lnTo>
                    <a:lnTo>
                      <a:pt x="1307" y="337"/>
                    </a:lnTo>
                    <a:lnTo>
                      <a:pt x="1305" y="337"/>
                    </a:lnTo>
                    <a:lnTo>
                      <a:pt x="1305" y="335"/>
                    </a:lnTo>
                    <a:lnTo>
                      <a:pt x="1307" y="335"/>
                    </a:lnTo>
                    <a:lnTo>
                      <a:pt x="1307" y="333"/>
                    </a:lnTo>
                    <a:lnTo>
                      <a:pt x="1307" y="331"/>
                    </a:lnTo>
                    <a:lnTo>
                      <a:pt x="1307" y="330"/>
                    </a:lnTo>
                    <a:lnTo>
                      <a:pt x="1309" y="330"/>
                    </a:lnTo>
                    <a:lnTo>
                      <a:pt x="1307" y="330"/>
                    </a:lnTo>
                    <a:lnTo>
                      <a:pt x="1307" y="328"/>
                    </a:lnTo>
                    <a:lnTo>
                      <a:pt x="1309" y="326"/>
                    </a:lnTo>
                    <a:lnTo>
                      <a:pt x="1309" y="325"/>
                    </a:lnTo>
                    <a:lnTo>
                      <a:pt x="1307" y="325"/>
                    </a:lnTo>
                    <a:lnTo>
                      <a:pt x="1307" y="323"/>
                    </a:lnTo>
                    <a:lnTo>
                      <a:pt x="1309" y="323"/>
                    </a:lnTo>
                    <a:lnTo>
                      <a:pt x="1310" y="323"/>
                    </a:lnTo>
                    <a:lnTo>
                      <a:pt x="1310" y="321"/>
                    </a:lnTo>
                    <a:lnTo>
                      <a:pt x="1310" y="320"/>
                    </a:lnTo>
                    <a:lnTo>
                      <a:pt x="1309" y="320"/>
                    </a:lnTo>
                    <a:lnTo>
                      <a:pt x="1309" y="318"/>
                    </a:lnTo>
                    <a:lnTo>
                      <a:pt x="1309" y="316"/>
                    </a:lnTo>
                    <a:lnTo>
                      <a:pt x="1309" y="314"/>
                    </a:lnTo>
                    <a:lnTo>
                      <a:pt x="1309" y="313"/>
                    </a:lnTo>
                    <a:lnTo>
                      <a:pt x="1309" y="311"/>
                    </a:lnTo>
                    <a:lnTo>
                      <a:pt x="1310" y="311"/>
                    </a:lnTo>
                    <a:lnTo>
                      <a:pt x="1310" y="309"/>
                    </a:lnTo>
                    <a:lnTo>
                      <a:pt x="1310" y="308"/>
                    </a:lnTo>
                    <a:lnTo>
                      <a:pt x="1309" y="306"/>
                    </a:lnTo>
                    <a:lnTo>
                      <a:pt x="1309" y="304"/>
                    </a:lnTo>
                    <a:lnTo>
                      <a:pt x="1307" y="304"/>
                    </a:lnTo>
                    <a:lnTo>
                      <a:pt x="1307" y="303"/>
                    </a:lnTo>
                    <a:lnTo>
                      <a:pt x="1307" y="301"/>
                    </a:lnTo>
                    <a:lnTo>
                      <a:pt x="1307" y="299"/>
                    </a:lnTo>
                    <a:lnTo>
                      <a:pt x="1309" y="299"/>
                    </a:lnTo>
                    <a:lnTo>
                      <a:pt x="1307" y="297"/>
                    </a:lnTo>
                    <a:lnTo>
                      <a:pt x="1309" y="297"/>
                    </a:lnTo>
                    <a:lnTo>
                      <a:pt x="1309" y="296"/>
                    </a:lnTo>
                    <a:lnTo>
                      <a:pt x="1310" y="296"/>
                    </a:lnTo>
                    <a:lnTo>
                      <a:pt x="1310" y="294"/>
                    </a:lnTo>
                    <a:lnTo>
                      <a:pt x="1309" y="294"/>
                    </a:lnTo>
                    <a:lnTo>
                      <a:pt x="1310" y="294"/>
                    </a:lnTo>
                    <a:lnTo>
                      <a:pt x="1310" y="292"/>
                    </a:lnTo>
                    <a:lnTo>
                      <a:pt x="1309" y="291"/>
                    </a:lnTo>
                    <a:lnTo>
                      <a:pt x="1310" y="291"/>
                    </a:lnTo>
                    <a:lnTo>
                      <a:pt x="1312" y="291"/>
                    </a:lnTo>
                    <a:lnTo>
                      <a:pt x="1312" y="289"/>
                    </a:lnTo>
                    <a:lnTo>
                      <a:pt x="1314" y="289"/>
                    </a:lnTo>
                    <a:lnTo>
                      <a:pt x="1314" y="287"/>
                    </a:lnTo>
                    <a:lnTo>
                      <a:pt x="1314" y="286"/>
                    </a:lnTo>
                    <a:lnTo>
                      <a:pt x="1315" y="287"/>
                    </a:lnTo>
                    <a:lnTo>
                      <a:pt x="1315" y="286"/>
                    </a:lnTo>
                    <a:lnTo>
                      <a:pt x="1315" y="284"/>
                    </a:lnTo>
                    <a:lnTo>
                      <a:pt x="1315" y="282"/>
                    </a:lnTo>
                    <a:lnTo>
                      <a:pt x="1317" y="282"/>
                    </a:lnTo>
                    <a:lnTo>
                      <a:pt x="1317" y="280"/>
                    </a:lnTo>
                    <a:lnTo>
                      <a:pt x="1317" y="279"/>
                    </a:lnTo>
                    <a:lnTo>
                      <a:pt x="1315" y="277"/>
                    </a:lnTo>
                    <a:lnTo>
                      <a:pt x="1315" y="275"/>
                    </a:lnTo>
                    <a:lnTo>
                      <a:pt x="1314" y="275"/>
                    </a:lnTo>
                    <a:lnTo>
                      <a:pt x="1315" y="274"/>
                    </a:lnTo>
                    <a:lnTo>
                      <a:pt x="1315" y="272"/>
                    </a:lnTo>
                    <a:lnTo>
                      <a:pt x="1315" y="270"/>
                    </a:lnTo>
                    <a:lnTo>
                      <a:pt x="1314" y="269"/>
                    </a:lnTo>
                    <a:lnTo>
                      <a:pt x="1314" y="267"/>
                    </a:lnTo>
                    <a:lnTo>
                      <a:pt x="1314" y="265"/>
                    </a:lnTo>
                    <a:lnTo>
                      <a:pt x="1312" y="265"/>
                    </a:lnTo>
                    <a:lnTo>
                      <a:pt x="1314" y="265"/>
                    </a:lnTo>
                    <a:lnTo>
                      <a:pt x="1312" y="265"/>
                    </a:lnTo>
                    <a:lnTo>
                      <a:pt x="1312" y="263"/>
                    </a:lnTo>
                    <a:lnTo>
                      <a:pt x="1312" y="262"/>
                    </a:lnTo>
                    <a:lnTo>
                      <a:pt x="1312" y="260"/>
                    </a:lnTo>
                    <a:lnTo>
                      <a:pt x="1312" y="258"/>
                    </a:lnTo>
                    <a:lnTo>
                      <a:pt x="1312" y="257"/>
                    </a:lnTo>
                    <a:lnTo>
                      <a:pt x="1312" y="255"/>
                    </a:lnTo>
                    <a:lnTo>
                      <a:pt x="1312" y="253"/>
                    </a:lnTo>
                    <a:lnTo>
                      <a:pt x="1312" y="252"/>
                    </a:lnTo>
                    <a:lnTo>
                      <a:pt x="1312" y="250"/>
                    </a:lnTo>
                    <a:lnTo>
                      <a:pt x="1314" y="250"/>
                    </a:lnTo>
                    <a:lnTo>
                      <a:pt x="1312" y="248"/>
                    </a:lnTo>
                    <a:lnTo>
                      <a:pt x="1314" y="248"/>
                    </a:lnTo>
                    <a:lnTo>
                      <a:pt x="1312" y="246"/>
                    </a:lnTo>
                    <a:lnTo>
                      <a:pt x="1314" y="246"/>
                    </a:lnTo>
                    <a:lnTo>
                      <a:pt x="1314" y="245"/>
                    </a:lnTo>
                    <a:lnTo>
                      <a:pt x="1314" y="243"/>
                    </a:lnTo>
                    <a:lnTo>
                      <a:pt x="1314" y="241"/>
                    </a:lnTo>
                    <a:lnTo>
                      <a:pt x="1314" y="240"/>
                    </a:lnTo>
                    <a:lnTo>
                      <a:pt x="1314" y="238"/>
                    </a:lnTo>
                    <a:lnTo>
                      <a:pt x="1314" y="236"/>
                    </a:lnTo>
                    <a:lnTo>
                      <a:pt x="1314" y="235"/>
                    </a:lnTo>
                    <a:lnTo>
                      <a:pt x="1314" y="233"/>
                    </a:lnTo>
                    <a:lnTo>
                      <a:pt x="1314" y="231"/>
                    </a:lnTo>
                    <a:lnTo>
                      <a:pt x="1314" y="229"/>
                    </a:lnTo>
                    <a:lnTo>
                      <a:pt x="1314" y="228"/>
                    </a:lnTo>
                    <a:lnTo>
                      <a:pt x="1314" y="226"/>
                    </a:lnTo>
                    <a:lnTo>
                      <a:pt x="1315" y="226"/>
                    </a:lnTo>
                    <a:lnTo>
                      <a:pt x="1315" y="224"/>
                    </a:lnTo>
                    <a:lnTo>
                      <a:pt x="1317" y="224"/>
                    </a:lnTo>
                    <a:lnTo>
                      <a:pt x="1317" y="223"/>
                    </a:lnTo>
                    <a:lnTo>
                      <a:pt x="1317" y="221"/>
                    </a:lnTo>
                    <a:lnTo>
                      <a:pt x="1317" y="219"/>
                    </a:lnTo>
                    <a:lnTo>
                      <a:pt x="1317" y="218"/>
                    </a:lnTo>
                    <a:lnTo>
                      <a:pt x="1317" y="216"/>
                    </a:lnTo>
                    <a:lnTo>
                      <a:pt x="1315" y="216"/>
                    </a:lnTo>
                    <a:lnTo>
                      <a:pt x="1315" y="214"/>
                    </a:lnTo>
                    <a:lnTo>
                      <a:pt x="1314" y="214"/>
                    </a:lnTo>
                    <a:lnTo>
                      <a:pt x="1314" y="216"/>
                    </a:lnTo>
                    <a:lnTo>
                      <a:pt x="1312" y="218"/>
                    </a:lnTo>
                    <a:lnTo>
                      <a:pt x="1312" y="216"/>
                    </a:lnTo>
                    <a:lnTo>
                      <a:pt x="1310" y="216"/>
                    </a:lnTo>
                    <a:lnTo>
                      <a:pt x="1310" y="214"/>
                    </a:lnTo>
                    <a:lnTo>
                      <a:pt x="1312" y="212"/>
                    </a:lnTo>
                    <a:lnTo>
                      <a:pt x="1310" y="212"/>
                    </a:lnTo>
                    <a:lnTo>
                      <a:pt x="1310" y="211"/>
                    </a:lnTo>
                    <a:lnTo>
                      <a:pt x="1312" y="209"/>
                    </a:lnTo>
                    <a:lnTo>
                      <a:pt x="1310" y="209"/>
                    </a:lnTo>
                    <a:lnTo>
                      <a:pt x="1310" y="207"/>
                    </a:lnTo>
                    <a:lnTo>
                      <a:pt x="1310" y="206"/>
                    </a:lnTo>
                    <a:lnTo>
                      <a:pt x="1312" y="206"/>
                    </a:lnTo>
                    <a:lnTo>
                      <a:pt x="1312" y="204"/>
                    </a:lnTo>
                    <a:lnTo>
                      <a:pt x="1312" y="202"/>
                    </a:lnTo>
                    <a:lnTo>
                      <a:pt x="1312" y="201"/>
                    </a:lnTo>
                    <a:lnTo>
                      <a:pt x="1312" y="199"/>
                    </a:lnTo>
                    <a:lnTo>
                      <a:pt x="1314" y="199"/>
                    </a:lnTo>
                    <a:lnTo>
                      <a:pt x="1314" y="201"/>
                    </a:lnTo>
                    <a:lnTo>
                      <a:pt x="1315" y="201"/>
                    </a:lnTo>
                    <a:lnTo>
                      <a:pt x="1317" y="201"/>
                    </a:lnTo>
                    <a:lnTo>
                      <a:pt x="1319" y="201"/>
                    </a:lnTo>
                    <a:lnTo>
                      <a:pt x="1319" y="199"/>
                    </a:lnTo>
                    <a:lnTo>
                      <a:pt x="1321" y="197"/>
                    </a:lnTo>
                    <a:lnTo>
                      <a:pt x="1321" y="195"/>
                    </a:lnTo>
                    <a:lnTo>
                      <a:pt x="1321" y="194"/>
                    </a:lnTo>
                    <a:lnTo>
                      <a:pt x="1322" y="194"/>
                    </a:lnTo>
                    <a:lnTo>
                      <a:pt x="1321" y="192"/>
                    </a:lnTo>
                    <a:lnTo>
                      <a:pt x="1321" y="190"/>
                    </a:lnTo>
                    <a:lnTo>
                      <a:pt x="1321" y="189"/>
                    </a:lnTo>
                    <a:lnTo>
                      <a:pt x="1322" y="187"/>
                    </a:lnTo>
                    <a:lnTo>
                      <a:pt x="1322" y="185"/>
                    </a:lnTo>
                    <a:lnTo>
                      <a:pt x="1322" y="184"/>
                    </a:lnTo>
                    <a:lnTo>
                      <a:pt x="1322" y="182"/>
                    </a:lnTo>
                    <a:lnTo>
                      <a:pt x="1322" y="180"/>
                    </a:lnTo>
                    <a:lnTo>
                      <a:pt x="1324" y="178"/>
                    </a:lnTo>
                    <a:lnTo>
                      <a:pt x="1322" y="178"/>
                    </a:lnTo>
                    <a:lnTo>
                      <a:pt x="1322" y="177"/>
                    </a:lnTo>
                    <a:lnTo>
                      <a:pt x="1322" y="175"/>
                    </a:lnTo>
                    <a:lnTo>
                      <a:pt x="1322" y="173"/>
                    </a:lnTo>
                    <a:lnTo>
                      <a:pt x="1324" y="172"/>
                    </a:lnTo>
                    <a:lnTo>
                      <a:pt x="1322" y="172"/>
                    </a:lnTo>
                    <a:lnTo>
                      <a:pt x="1324" y="170"/>
                    </a:lnTo>
                    <a:lnTo>
                      <a:pt x="1324" y="168"/>
                    </a:lnTo>
                    <a:lnTo>
                      <a:pt x="1324" y="166"/>
                    </a:lnTo>
                    <a:lnTo>
                      <a:pt x="1324" y="165"/>
                    </a:lnTo>
                    <a:lnTo>
                      <a:pt x="1324" y="163"/>
                    </a:lnTo>
                    <a:lnTo>
                      <a:pt x="1326" y="163"/>
                    </a:lnTo>
                    <a:lnTo>
                      <a:pt x="1324" y="163"/>
                    </a:lnTo>
                    <a:lnTo>
                      <a:pt x="1324" y="161"/>
                    </a:lnTo>
                    <a:lnTo>
                      <a:pt x="1326" y="161"/>
                    </a:lnTo>
                    <a:lnTo>
                      <a:pt x="1326" y="160"/>
                    </a:lnTo>
                    <a:lnTo>
                      <a:pt x="1326" y="158"/>
                    </a:lnTo>
                    <a:lnTo>
                      <a:pt x="1326" y="156"/>
                    </a:lnTo>
                    <a:lnTo>
                      <a:pt x="1326" y="155"/>
                    </a:lnTo>
                    <a:lnTo>
                      <a:pt x="1326" y="153"/>
                    </a:lnTo>
                    <a:lnTo>
                      <a:pt x="1326" y="151"/>
                    </a:lnTo>
                    <a:lnTo>
                      <a:pt x="1326" y="149"/>
                    </a:lnTo>
                    <a:lnTo>
                      <a:pt x="1326" y="148"/>
                    </a:lnTo>
                    <a:lnTo>
                      <a:pt x="1327" y="148"/>
                    </a:lnTo>
                    <a:lnTo>
                      <a:pt x="1327" y="146"/>
                    </a:lnTo>
                    <a:lnTo>
                      <a:pt x="1327" y="144"/>
                    </a:lnTo>
                    <a:lnTo>
                      <a:pt x="1329" y="144"/>
                    </a:lnTo>
                    <a:lnTo>
                      <a:pt x="1329" y="143"/>
                    </a:lnTo>
                    <a:lnTo>
                      <a:pt x="1329" y="141"/>
                    </a:lnTo>
                    <a:lnTo>
                      <a:pt x="1329" y="139"/>
                    </a:lnTo>
                    <a:lnTo>
                      <a:pt x="1329" y="138"/>
                    </a:lnTo>
                    <a:lnTo>
                      <a:pt x="1327" y="138"/>
                    </a:lnTo>
                    <a:lnTo>
                      <a:pt x="1329" y="136"/>
                    </a:lnTo>
                    <a:lnTo>
                      <a:pt x="1329" y="134"/>
                    </a:lnTo>
                    <a:lnTo>
                      <a:pt x="1329" y="132"/>
                    </a:lnTo>
                    <a:lnTo>
                      <a:pt x="1327" y="132"/>
                    </a:lnTo>
                    <a:lnTo>
                      <a:pt x="1327" y="131"/>
                    </a:lnTo>
                    <a:lnTo>
                      <a:pt x="1327" y="129"/>
                    </a:lnTo>
                    <a:lnTo>
                      <a:pt x="1327" y="127"/>
                    </a:lnTo>
                    <a:lnTo>
                      <a:pt x="1326" y="127"/>
                    </a:lnTo>
                    <a:lnTo>
                      <a:pt x="1326" y="126"/>
                    </a:lnTo>
                    <a:lnTo>
                      <a:pt x="1326" y="124"/>
                    </a:lnTo>
                    <a:lnTo>
                      <a:pt x="1327" y="122"/>
                    </a:lnTo>
                    <a:lnTo>
                      <a:pt x="1326" y="121"/>
                    </a:lnTo>
                    <a:lnTo>
                      <a:pt x="1327" y="121"/>
                    </a:lnTo>
                    <a:lnTo>
                      <a:pt x="1326" y="121"/>
                    </a:lnTo>
                    <a:lnTo>
                      <a:pt x="1326" y="119"/>
                    </a:lnTo>
                    <a:lnTo>
                      <a:pt x="1324" y="117"/>
                    </a:lnTo>
                    <a:lnTo>
                      <a:pt x="1326" y="117"/>
                    </a:lnTo>
                    <a:lnTo>
                      <a:pt x="1324" y="117"/>
                    </a:lnTo>
                    <a:lnTo>
                      <a:pt x="1324" y="115"/>
                    </a:lnTo>
                    <a:lnTo>
                      <a:pt x="1326" y="115"/>
                    </a:lnTo>
                    <a:lnTo>
                      <a:pt x="1324" y="115"/>
                    </a:lnTo>
                    <a:lnTo>
                      <a:pt x="1324" y="114"/>
                    </a:lnTo>
                    <a:lnTo>
                      <a:pt x="1326" y="114"/>
                    </a:lnTo>
                    <a:lnTo>
                      <a:pt x="1324" y="114"/>
                    </a:lnTo>
                    <a:lnTo>
                      <a:pt x="1326" y="112"/>
                    </a:lnTo>
                    <a:lnTo>
                      <a:pt x="1324" y="110"/>
                    </a:lnTo>
                    <a:lnTo>
                      <a:pt x="1324" y="109"/>
                    </a:lnTo>
                    <a:lnTo>
                      <a:pt x="1324" y="107"/>
                    </a:lnTo>
                    <a:lnTo>
                      <a:pt x="1326" y="107"/>
                    </a:lnTo>
                    <a:lnTo>
                      <a:pt x="1326" y="105"/>
                    </a:lnTo>
                    <a:lnTo>
                      <a:pt x="1326" y="104"/>
                    </a:lnTo>
                    <a:lnTo>
                      <a:pt x="1326" y="102"/>
                    </a:lnTo>
                    <a:lnTo>
                      <a:pt x="1326" y="100"/>
                    </a:lnTo>
                    <a:lnTo>
                      <a:pt x="1327" y="100"/>
                    </a:lnTo>
                    <a:lnTo>
                      <a:pt x="1327" y="98"/>
                    </a:lnTo>
                    <a:lnTo>
                      <a:pt x="1326" y="97"/>
                    </a:lnTo>
                    <a:lnTo>
                      <a:pt x="1327" y="95"/>
                    </a:lnTo>
                    <a:lnTo>
                      <a:pt x="1326" y="95"/>
                    </a:lnTo>
                    <a:lnTo>
                      <a:pt x="1326" y="93"/>
                    </a:lnTo>
                    <a:lnTo>
                      <a:pt x="1327" y="93"/>
                    </a:lnTo>
                    <a:lnTo>
                      <a:pt x="1327" y="92"/>
                    </a:lnTo>
                    <a:lnTo>
                      <a:pt x="1327" y="90"/>
                    </a:lnTo>
                    <a:lnTo>
                      <a:pt x="1327" y="88"/>
                    </a:lnTo>
                    <a:lnTo>
                      <a:pt x="1327" y="87"/>
                    </a:lnTo>
                    <a:lnTo>
                      <a:pt x="1326" y="87"/>
                    </a:lnTo>
                    <a:lnTo>
                      <a:pt x="1327" y="87"/>
                    </a:lnTo>
                    <a:lnTo>
                      <a:pt x="1326" y="85"/>
                    </a:lnTo>
                    <a:lnTo>
                      <a:pt x="1327" y="85"/>
                    </a:lnTo>
                    <a:lnTo>
                      <a:pt x="1327" y="83"/>
                    </a:lnTo>
                    <a:lnTo>
                      <a:pt x="1326" y="83"/>
                    </a:lnTo>
                    <a:lnTo>
                      <a:pt x="1326" y="81"/>
                    </a:lnTo>
                    <a:lnTo>
                      <a:pt x="1326" y="80"/>
                    </a:lnTo>
                    <a:lnTo>
                      <a:pt x="1326" y="78"/>
                    </a:lnTo>
                    <a:lnTo>
                      <a:pt x="1326" y="76"/>
                    </a:lnTo>
                    <a:lnTo>
                      <a:pt x="1324" y="75"/>
                    </a:lnTo>
                    <a:lnTo>
                      <a:pt x="1324" y="73"/>
                    </a:lnTo>
                    <a:lnTo>
                      <a:pt x="1324" y="71"/>
                    </a:lnTo>
                    <a:lnTo>
                      <a:pt x="1324" y="70"/>
                    </a:lnTo>
                    <a:lnTo>
                      <a:pt x="1324" y="68"/>
                    </a:lnTo>
                    <a:lnTo>
                      <a:pt x="1324" y="66"/>
                    </a:lnTo>
                    <a:lnTo>
                      <a:pt x="1322" y="66"/>
                    </a:lnTo>
                    <a:lnTo>
                      <a:pt x="1322" y="64"/>
                    </a:lnTo>
                    <a:lnTo>
                      <a:pt x="1322" y="63"/>
                    </a:lnTo>
                    <a:lnTo>
                      <a:pt x="1322" y="61"/>
                    </a:lnTo>
                    <a:lnTo>
                      <a:pt x="1322" y="59"/>
                    </a:lnTo>
                    <a:lnTo>
                      <a:pt x="1322" y="58"/>
                    </a:lnTo>
                    <a:lnTo>
                      <a:pt x="1322" y="56"/>
                    </a:lnTo>
                    <a:lnTo>
                      <a:pt x="1321" y="56"/>
                    </a:lnTo>
                    <a:lnTo>
                      <a:pt x="1321" y="54"/>
                    </a:lnTo>
                    <a:lnTo>
                      <a:pt x="1321" y="53"/>
                    </a:lnTo>
                    <a:lnTo>
                      <a:pt x="1321" y="51"/>
                    </a:lnTo>
                    <a:lnTo>
                      <a:pt x="1321" y="49"/>
                    </a:lnTo>
                    <a:lnTo>
                      <a:pt x="1321" y="47"/>
                    </a:lnTo>
                    <a:lnTo>
                      <a:pt x="1319" y="47"/>
                    </a:lnTo>
                    <a:lnTo>
                      <a:pt x="1319" y="46"/>
                    </a:lnTo>
                    <a:lnTo>
                      <a:pt x="1319" y="44"/>
                    </a:lnTo>
                    <a:lnTo>
                      <a:pt x="1321" y="44"/>
                    </a:lnTo>
                    <a:lnTo>
                      <a:pt x="1319" y="42"/>
                    </a:lnTo>
                    <a:lnTo>
                      <a:pt x="1321" y="42"/>
                    </a:lnTo>
                    <a:lnTo>
                      <a:pt x="1321" y="41"/>
                    </a:lnTo>
                    <a:lnTo>
                      <a:pt x="1319" y="41"/>
                    </a:lnTo>
                    <a:lnTo>
                      <a:pt x="1321" y="39"/>
                    </a:lnTo>
                    <a:lnTo>
                      <a:pt x="1321" y="37"/>
                    </a:lnTo>
                    <a:lnTo>
                      <a:pt x="1321" y="36"/>
                    </a:lnTo>
                    <a:lnTo>
                      <a:pt x="1321" y="34"/>
                    </a:lnTo>
                    <a:lnTo>
                      <a:pt x="1321" y="32"/>
                    </a:lnTo>
                    <a:lnTo>
                      <a:pt x="1321" y="30"/>
                    </a:lnTo>
                    <a:lnTo>
                      <a:pt x="1319" y="30"/>
                    </a:lnTo>
                    <a:lnTo>
                      <a:pt x="1319" y="29"/>
                    </a:lnTo>
                    <a:lnTo>
                      <a:pt x="1321" y="29"/>
                    </a:lnTo>
                    <a:lnTo>
                      <a:pt x="1322" y="29"/>
                    </a:lnTo>
                    <a:lnTo>
                      <a:pt x="1324" y="29"/>
                    </a:lnTo>
                    <a:lnTo>
                      <a:pt x="1326" y="29"/>
                    </a:lnTo>
                    <a:lnTo>
                      <a:pt x="1327" y="29"/>
                    </a:lnTo>
                    <a:lnTo>
                      <a:pt x="1329" y="27"/>
                    </a:lnTo>
                    <a:lnTo>
                      <a:pt x="1331" y="27"/>
                    </a:lnTo>
                    <a:lnTo>
                      <a:pt x="1331" y="25"/>
                    </a:lnTo>
                    <a:lnTo>
                      <a:pt x="1332" y="25"/>
                    </a:lnTo>
                    <a:lnTo>
                      <a:pt x="1334" y="25"/>
                    </a:lnTo>
                    <a:lnTo>
                      <a:pt x="1334" y="24"/>
                    </a:lnTo>
                    <a:lnTo>
                      <a:pt x="1336" y="24"/>
                    </a:lnTo>
                    <a:lnTo>
                      <a:pt x="1338" y="22"/>
                    </a:lnTo>
                    <a:lnTo>
                      <a:pt x="1339" y="22"/>
                    </a:lnTo>
                    <a:lnTo>
                      <a:pt x="1339" y="20"/>
                    </a:lnTo>
                    <a:lnTo>
                      <a:pt x="1339" y="18"/>
                    </a:lnTo>
                    <a:lnTo>
                      <a:pt x="1339" y="17"/>
                    </a:lnTo>
                    <a:lnTo>
                      <a:pt x="1339" y="15"/>
                    </a:lnTo>
                    <a:lnTo>
                      <a:pt x="1339" y="13"/>
                    </a:lnTo>
                    <a:lnTo>
                      <a:pt x="1338" y="13"/>
                    </a:lnTo>
                    <a:lnTo>
                      <a:pt x="1339" y="12"/>
                    </a:lnTo>
                    <a:lnTo>
                      <a:pt x="1338" y="12"/>
                    </a:lnTo>
                    <a:lnTo>
                      <a:pt x="1338" y="10"/>
                    </a:lnTo>
                    <a:lnTo>
                      <a:pt x="1338" y="8"/>
                    </a:lnTo>
                    <a:lnTo>
                      <a:pt x="1336" y="8"/>
                    </a:lnTo>
                    <a:lnTo>
                      <a:pt x="1338" y="7"/>
                    </a:lnTo>
                    <a:lnTo>
                      <a:pt x="1338" y="5"/>
                    </a:lnTo>
                    <a:lnTo>
                      <a:pt x="1339" y="5"/>
                    </a:lnTo>
                    <a:lnTo>
                      <a:pt x="1341" y="5"/>
                    </a:lnTo>
                    <a:lnTo>
                      <a:pt x="1343" y="5"/>
                    </a:lnTo>
                    <a:lnTo>
                      <a:pt x="1344" y="3"/>
                    </a:lnTo>
                    <a:lnTo>
                      <a:pt x="1346" y="1"/>
                    </a:lnTo>
                    <a:lnTo>
                      <a:pt x="1349" y="0"/>
                    </a:lnTo>
                    <a:lnTo>
                      <a:pt x="1349" y="3"/>
                    </a:lnTo>
                    <a:lnTo>
                      <a:pt x="1351" y="5"/>
                    </a:lnTo>
                    <a:lnTo>
                      <a:pt x="1353" y="7"/>
                    </a:lnTo>
                    <a:lnTo>
                      <a:pt x="1353" y="8"/>
                    </a:lnTo>
                    <a:lnTo>
                      <a:pt x="1355" y="8"/>
                    </a:lnTo>
                    <a:lnTo>
                      <a:pt x="1355" y="10"/>
                    </a:lnTo>
                    <a:lnTo>
                      <a:pt x="1355" y="12"/>
                    </a:lnTo>
                    <a:lnTo>
                      <a:pt x="1355" y="13"/>
                    </a:lnTo>
                    <a:lnTo>
                      <a:pt x="1355" y="15"/>
                    </a:lnTo>
                    <a:lnTo>
                      <a:pt x="1356" y="15"/>
                    </a:lnTo>
                    <a:lnTo>
                      <a:pt x="1356" y="17"/>
                    </a:lnTo>
                    <a:lnTo>
                      <a:pt x="1358" y="17"/>
                    </a:lnTo>
                    <a:lnTo>
                      <a:pt x="1360" y="17"/>
                    </a:lnTo>
                    <a:lnTo>
                      <a:pt x="1361" y="17"/>
                    </a:lnTo>
                    <a:lnTo>
                      <a:pt x="1361" y="18"/>
                    </a:lnTo>
                    <a:lnTo>
                      <a:pt x="1363" y="18"/>
                    </a:lnTo>
                    <a:lnTo>
                      <a:pt x="1363" y="20"/>
                    </a:lnTo>
                    <a:lnTo>
                      <a:pt x="1361" y="20"/>
                    </a:lnTo>
                    <a:lnTo>
                      <a:pt x="1363" y="20"/>
                    </a:lnTo>
                    <a:lnTo>
                      <a:pt x="1361" y="20"/>
                    </a:lnTo>
                    <a:lnTo>
                      <a:pt x="1361" y="22"/>
                    </a:lnTo>
                    <a:lnTo>
                      <a:pt x="1360" y="22"/>
                    </a:lnTo>
                    <a:lnTo>
                      <a:pt x="1360" y="24"/>
                    </a:lnTo>
                    <a:lnTo>
                      <a:pt x="1361" y="24"/>
                    </a:lnTo>
                    <a:lnTo>
                      <a:pt x="1361" y="25"/>
                    </a:lnTo>
                    <a:lnTo>
                      <a:pt x="1363" y="25"/>
                    </a:lnTo>
                    <a:lnTo>
                      <a:pt x="1363" y="27"/>
                    </a:lnTo>
                    <a:lnTo>
                      <a:pt x="1363" y="29"/>
                    </a:lnTo>
                    <a:lnTo>
                      <a:pt x="1363" y="30"/>
                    </a:lnTo>
                    <a:lnTo>
                      <a:pt x="1363" y="32"/>
                    </a:lnTo>
                    <a:lnTo>
                      <a:pt x="1365" y="32"/>
                    </a:lnTo>
                    <a:lnTo>
                      <a:pt x="1365" y="34"/>
                    </a:lnTo>
                    <a:lnTo>
                      <a:pt x="1365" y="36"/>
                    </a:lnTo>
                    <a:lnTo>
                      <a:pt x="1365" y="37"/>
                    </a:lnTo>
                    <a:lnTo>
                      <a:pt x="1365" y="39"/>
                    </a:lnTo>
                    <a:lnTo>
                      <a:pt x="1363" y="39"/>
                    </a:lnTo>
                    <a:lnTo>
                      <a:pt x="1365" y="39"/>
                    </a:lnTo>
                    <a:lnTo>
                      <a:pt x="1365" y="41"/>
                    </a:lnTo>
                    <a:lnTo>
                      <a:pt x="1365" y="42"/>
                    </a:lnTo>
                    <a:lnTo>
                      <a:pt x="1366" y="42"/>
                    </a:lnTo>
                    <a:lnTo>
                      <a:pt x="1366" y="44"/>
                    </a:lnTo>
                    <a:lnTo>
                      <a:pt x="1366" y="46"/>
                    </a:lnTo>
                    <a:lnTo>
                      <a:pt x="1368" y="47"/>
                    </a:lnTo>
                    <a:lnTo>
                      <a:pt x="1368" y="49"/>
                    </a:lnTo>
                    <a:lnTo>
                      <a:pt x="1366" y="49"/>
                    </a:lnTo>
                    <a:lnTo>
                      <a:pt x="1366" y="51"/>
                    </a:lnTo>
                    <a:lnTo>
                      <a:pt x="1368" y="51"/>
                    </a:lnTo>
                    <a:lnTo>
                      <a:pt x="1368" y="53"/>
                    </a:lnTo>
                    <a:lnTo>
                      <a:pt x="1368" y="54"/>
                    </a:lnTo>
                    <a:lnTo>
                      <a:pt x="1370" y="54"/>
                    </a:lnTo>
                    <a:lnTo>
                      <a:pt x="1372" y="56"/>
                    </a:lnTo>
                    <a:lnTo>
                      <a:pt x="1373" y="56"/>
                    </a:lnTo>
                    <a:lnTo>
                      <a:pt x="1373" y="58"/>
                    </a:lnTo>
                    <a:lnTo>
                      <a:pt x="1375" y="58"/>
                    </a:lnTo>
                    <a:lnTo>
                      <a:pt x="1375" y="59"/>
                    </a:lnTo>
                    <a:lnTo>
                      <a:pt x="1377" y="59"/>
                    </a:lnTo>
                    <a:lnTo>
                      <a:pt x="1377" y="61"/>
                    </a:lnTo>
                    <a:lnTo>
                      <a:pt x="1378" y="61"/>
                    </a:lnTo>
                    <a:lnTo>
                      <a:pt x="1378" y="63"/>
                    </a:lnTo>
                    <a:lnTo>
                      <a:pt x="1380" y="63"/>
                    </a:lnTo>
                    <a:lnTo>
                      <a:pt x="1382" y="64"/>
                    </a:lnTo>
                    <a:lnTo>
                      <a:pt x="1382" y="66"/>
                    </a:lnTo>
                    <a:lnTo>
                      <a:pt x="1383" y="66"/>
                    </a:lnTo>
                    <a:lnTo>
                      <a:pt x="1383" y="68"/>
                    </a:lnTo>
                    <a:lnTo>
                      <a:pt x="1383" y="70"/>
                    </a:lnTo>
                    <a:lnTo>
                      <a:pt x="1382" y="71"/>
                    </a:lnTo>
                    <a:lnTo>
                      <a:pt x="1382" y="73"/>
                    </a:lnTo>
                    <a:lnTo>
                      <a:pt x="1380" y="73"/>
                    </a:lnTo>
                    <a:lnTo>
                      <a:pt x="1380" y="75"/>
                    </a:lnTo>
                    <a:lnTo>
                      <a:pt x="1378" y="75"/>
                    </a:lnTo>
                    <a:lnTo>
                      <a:pt x="1378" y="76"/>
                    </a:lnTo>
                    <a:lnTo>
                      <a:pt x="1378" y="78"/>
                    </a:lnTo>
                    <a:lnTo>
                      <a:pt x="1377" y="78"/>
                    </a:lnTo>
                    <a:lnTo>
                      <a:pt x="1375" y="78"/>
                    </a:lnTo>
                    <a:lnTo>
                      <a:pt x="1375" y="80"/>
                    </a:lnTo>
                    <a:lnTo>
                      <a:pt x="1377" y="80"/>
                    </a:lnTo>
                    <a:lnTo>
                      <a:pt x="1378" y="81"/>
                    </a:lnTo>
                    <a:lnTo>
                      <a:pt x="1378" y="83"/>
                    </a:lnTo>
                    <a:lnTo>
                      <a:pt x="1380" y="83"/>
                    </a:lnTo>
                    <a:lnTo>
                      <a:pt x="1382" y="83"/>
                    </a:lnTo>
                    <a:lnTo>
                      <a:pt x="1380" y="83"/>
                    </a:lnTo>
                    <a:lnTo>
                      <a:pt x="1380" y="85"/>
                    </a:lnTo>
                    <a:lnTo>
                      <a:pt x="1382" y="85"/>
                    </a:lnTo>
                    <a:lnTo>
                      <a:pt x="1382" y="87"/>
                    </a:lnTo>
                    <a:lnTo>
                      <a:pt x="1380" y="87"/>
                    </a:lnTo>
                    <a:lnTo>
                      <a:pt x="1380" y="88"/>
                    </a:lnTo>
                    <a:lnTo>
                      <a:pt x="1380" y="90"/>
                    </a:lnTo>
                    <a:lnTo>
                      <a:pt x="1378" y="90"/>
                    </a:lnTo>
                    <a:lnTo>
                      <a:pt x="1377" y="90"/>
                    </a:lnTo>
                    <a:lnTo>
                      <a:pt x="1375" y="92"/>
                    </a:lnTo>
                    <a:lnTo>
                      <a:pt x="1373" y="92"/>
                    </a:lnTo>
                    <a:lnTo>
                      <a:pt x="1373" y="93"/>
                    </a:lnTo>
                    <a:lnTo>
                      <a:pt x="1375" y="93"/>
                    </a:lnTo>
                    <a:lnTo>
                      <a:pt x="1375" y="95"/>
                    </a:lnTo>
                    <a:lnTo>
                      <a:pt x="1375" y="97"/>
                    </a:lnTo>
                    <a:lnTo>
                      <a:pt x="1375" y="98"/>
                    </a:lnTo>
                    <a:lnTo>
                      <a:pt x="1377" y="98"/>
                    </a:lnTo>
                    <a:lnTo>
                      <a:pt x="1377" y="100"/>
                    </a:lnTo>
                    <a:lnTo>
                      <a:pt x="1377" y="102"/>
                    </a:lnTo>
                    <a:lnTo>
                      <a:pt x="1375" y="102"/>
                    </a:lnTo>
                    <a:lnTo>
                      <a:pt x="1373" y="102"/>
                    </a:lnTo>
                    <a:lnTo>
                      <a:pt x="1373" y="104"/>
                    </a:lnTo>
                    <a:lnTo>
                      <a:pt x="1373" y="105"/>
                    </a:lnTo>
                    <a:lnTo>
                      <a:pt x="1375" y="105"/>
                    </a:lnTo>
                    <a:lnTo>
                      <a:pt x="1375" y="107"/>
                    </a:lnTo>
                    <a:lnTo>
                      <a:pt x="1377" y="107"/>
                    </a:lnTo>
                    <a:lnTo>
                      <a:pt x="1378" y="107"/>
                    </a:lnTo>
                    <a:lnTo>
                      <a:pt x="1378" y="109"/>
                    </a:lnTo>
                    <a:lnTo>
                      <a:pt x="1380" y="109"/>
                    </a:lnTo>
                    <a:lnTo>
                      <a:pt x="1382" y="109"/>
                    </a:lnTo>
                    <a:lnTo>
                      <a:pt x="1382" y="110"/>
                    </a:lnTo>
                    <a:lnTo>
                      <a:pt x="1383" y="110"/>
                    </a:lnTo>
                    <a:lnTo>
                      <a:pt x="1383" y="112"/>
                    </a:lnTo>
                    <a:lnTo>
                      <a:pt x="1382" y="112"/>
                    </a:lnTo>
                    <a:lnTo>
                      <a:pt x="1382" y="114"/>
                    </a:lnTo>
                    <a:lnTo>
                      <a:pt x="1380" y="114"/>
                    </a:lnTo>
                    <a:lnTo>
                      <a:pt x="1380" y="115"/>
                    </a:lnTo>
                    <a:lnTo>
                      <a:pt x="1380" y="117"/>
                    </a:lnTo>
                    <a:lnTo>
                      <a:pt x="1380" y="119"/>
                    </a:lnTo>
                    <a:lnTo>
                      <a:pt x="1380" y="121"/>
                    </a:lnTo>
                    <a:lnTo>
                      <a:pt x="1382" y="122"/>
                    </a:lnTo>
                    <a:lnTo>
                      <a:pt x="1383" y="122"/>
                    </a:lnTo>
                    <a:lnTo>
                      <a:pt x="1385" y="122"/>
                    </a:lnTo>
                    <a:lnTo>
                      <a:pt x="1385" y="124"/>
                    </a:lnTo>
                    <a:lnTo>
                      <a:pt x="1387" y="124"/>
                    </a:lnTo>
                    <a:lnTo>
                      <a:pt x="1387" y="126"/>
                    </a:lnTo>
                    <a:lnTo>
                      <a:pt x="1389" y="126"/>
                    </a:lnTo>
                    <a:lnTo>
                      <a:pt x="1389" y="127"/>
                    </a:lnTo>
                    <a:lnTo>
                      <a:pt x="1389" y="129"/>
                    </a:lnTo>
                    <a:lnTo>
                      <a:pt x="1392" y="134"/>
                    </a:lnTo>
                    <a:lnTo>
                      <a:pt x="1392" y="136"/>
                    </a:lnTo>
                    <a:lnTo>
                      <a:pt x="1392" y="138"/>
                    </a:lnTo>
                    <a:lnTo>
                      <a:pt x="1392" y="141"/>
                    </a:lnTo>
                    <a:lnTo>
                      <a:pt x="1392" y="143"/>
                    </a:lnTo>
                    <a:lnTo>
                      <a:pt x="1392" y="144"/>
                    </a:lnTo>
                    <a:lnTo>
                      <a:pt x="1392" y="146"/>
                    </a:lnTo>
                    <a:lnTo>
                      <a:pt x="1394" y="148"/>
                    </a:lnTo>
                    <a:lnTo>
                      <a:pt x="1395" y="149"/>
                    </a:lnTo>
                    <a:lnTo>
                      <a:pt x="1395" y="151"/>
                    </a:lnTo>
                    <a:lnTo>
                      <a:pt x="1397" y="153"/>
                    </a:lnTo>
                    <a:lnTo>
                      <a:pt x="1397" y="155"/>
                    </a:lnTo>
                    <a:lnTo>
                      <a:pt x="1397" y="160"/>
                    </a:lnTo>
                    <a:lnTo>
                      <a:pt x="1397" y="161"/>
                    </a:lnTo>
                    <a:lnTo>
                      <a:pt x="1399" y="161"/>
                    </a:lnTo>
                    <a:lnTo>
                      <a:pt x="1399" y="163"/>
                    </a:lnTo>
                    <a:lnTo>
                      <a:pt x="1400" y="163"/>
                    </a:lnTo>
                    <a:lnTo>
                      <a:pt x="1400" y="165"/>
                    </a:lnTo>
                    <a:lnTo>
                      <a:pt x="1400" y="166"/>
                    </a:lnTo>
                    <a:lnTo>
                      <a:pt x="1400" y="168"/>
                    </a:lnTo>
                    <a:lnTo>
                      <a:pt x="1402" y="168"/>
                    </a:lnTo>
                    <a:lnTo>
                      <a:pt x="1400" y="170"/>
                    </a:lnTo>
                    <a:lnTo>
                      <a:pt x="1402" y="170"/>
                    </a:lnTo>
                    <a:lnTo>
                      <a:pt x="1400" y="172"/>
                    </a:lnTo>
                    <a:lnTo>
                      <a:pt x="1400" y="173"/>
                    </a:lnTo>
                    <a:lnTo>
                      <a:pt x="1400" y="175"/>
                    </a:lnTo>
                    <a:lnTo>
                      <a:pt x="1402" y="175"/>
                    </a:lnTo>
                    <a:lnTo>
                      <a:pt x="1402" y="177"/>
                    </a:lnTo>
                    <a:lnTo>
                      <a:pt x="1402" y="178"/>
                    </a:lnTo>
                    <a:lnTo>
                      <a:pt x="1402" y="180"/>
                    </a:lnTo>
                    <a:lnTo>
                      <a:pt x="1404" y="180"/>
                    </a:lnTo>
                    <a:lnTo>
                      <a:pt x="1404" y="182"/>
                    </a:lnTo>
                    <a:lnTo>
                      <a:pt x="1404" y="184"/>
                    </a:lnTo>
                    <a:lnTo>
                      <a:pt x="1402" y="184"/>
                    </a:lnTo>
                    <a:lnTo>
                      <a:pt x="1402" y="185"/>
                    </a:lnTo>
                    <a:lnTo>
                      <a:pt x="1404" y="185"/>
                    </a:lnTo>
                    <a:lnTo>
                      <a:pt x="1402" y="187"/>
                    </a:lnTo>
                    <a:lnTo>
                      <a:pt x="1404" y="189"/>
                    </a:lnTo>
                    <a:lnTo>
                      <a:pt x="1402" y="189"/>
                    </a:lnTo>
                    <a:lnTo>
                      <a:pt x="1404" y="189"/>
                    </a:lnTo>
                    <a:lnTo>
                      <a:pt x="1402" y="190"/>
                    </a:lnTo>
                    <a:lnTo>
                      <a:pt x="1402" y="192"/>
                    </a:lnTo>
                    <a:lnTo>
                      <a:pt x="1404" y="192"/>
                    </a:lnTo>
                    <a:lnTo>
                      <a:pt x="1406" y="192"/>
                    </a:lnTo>
                    <a:lnTo>
                      <a:pt x="1414" y="194"/>
                    </a:lnTo>
                    <a:lnTo>
                      <a:pt x="1416" y="194"/>
                    </a:lnTo>
                    <a:lnTo>
                      <a:pt x="1426" y="190"/>
                    </a:lnTo>
                    <a:close/>
                    <a:moveTo>
                      <a:pt x="1378" y="1498"/>
                    </a:moveTo>
                    <a:lnTo>
                      <a:pt x="1378" y="1500"/>
                    </a:lnTo>
                    <a:lnTo>
                      <a:pt x="1378" y="1517"/>
                    </a:lnTo>
                    <a:lnTo>
                      <a:pt x="1378" y="1531"/>
                    </a:lnTo>
                    <a:lnTo>
                      <a:pt x="1378" y="1536"/>
                    </a:lnTo>
                    <a:lnTo>
                      <a:pt x="1378" y="1539"/>
                    </a:lnTo>
                    <a:lnTo>
                      <a:pt x="1378" y="1551"/>
                    </a:lnTo>
                    <a:lnTo>
                      <a:pt x="1377" y="1563"/>
                    </a:lnTo>
                    <a:lnTo>
                      <a:pt x="1377" y="1570"/>
                    </a:lnTo>
                    <a:lnTo>
                      <a:pt x="1377" y="1582"/>
                    </a:lnTo>
                    <a:lnTo>
                      <a:pt x="1377" y="1595"/>
                    </a:lnTo>
                    <a:lnTo>
                      <a:pt x="1377" y="1597"/>
                    </a:lnTo>
                    <a:lnTo>
                      <a:pt x="1377" y="1604"/>
                    </a:lnTo>
                    <a:lnTo>
                      <a:pt x="1377" y="1606"/>
                    </a:lnTo>
                    <a:lnTo>
                      <a:pt x="1377" y="1607"/>
                    </a:lnTo>
                    <a:lnTo>
                      <a:pt x="1377" y="1609"/>
                    </a:lnTo>
                    <a:lnTo>
                      <a:pt x="1377" y="1621"/>
                    </a:lnTo>
                    <a:lnTo>
                      <a:pt x="1377" y="1626"/>
                    </a:lnTo>
                    <a:lnTo>
                      <a:pt x="1375" y="1624"/>
                    </a:lnTo>
                    <a:lnTo>
                      <a:pt x="1373" y="1623"/>
                    </a:lnTo>
                    <a:lnTo>
                      <a:pt x="1372" y="1623"/>
                    </a:lnTo>
                    <a:lnTo>
                      <a:pt x="1372" y="1624"/>
                    </a:lnTo>
                    <a:lnTo>
                      <a:pt x="1373" y="1624"/>
                    </a:lnTo>
                    <a:lnTo>
                      <a:pt x="1373" y="1626"/>
                    </a:lnTo>
                    <a:lnTo>
                      <a:pt x="1375" y="1626"/>
                    </a:lnTo>
                    <a:lnTo>
                      <a:pt x="1375" y="1628"/>
                    </a:lnTo>
                    <a:lnTo>
                      <a:pt x="1373" y="1628"/>
                    </a:lnTo>
                    <a:lnTo>
                      <a:pt x="1372" y="1629"/>
                    </a:lnTo>
                    <a:lnTo>
                      <a:pt x="1370" y="1629"/>
                    </a:lnTo>
                    <a:lnTo>
                      <a:pt x="1368" y="1629"/>
                    </a:lnTo>
                    <a:lnTo>
                      <a:pt x="1366" y="1629"/>
                    </a:lnTo>
                    <a:lnTo>
                      <a:pt x="1365" y="1629"/>
                    </a:lnTo>
                    <a:lnTo>
                      <a:pt x="1365" y="1631"/>
                    </a:lnTo>
                    <a:lnTo>
                      <a:pt x="1363" y="1629"/>
                    </a:lnTo>
                    <a:lnTo>
                      <a:pt x="1361" y="1629"/>
                    </a:lnTo>
                    <a:lnTo>
                      <a:pt x="1360" y="1629"/>
                    </a:lnTo>
                    <a:lnTo>
                      <a:pt x="1358" y="1628"/>
                    </a:lnTo>
                    <a:lnTo>
                      <a:pt x="1356" y="1628"/>
                    </a:lnTo>
                    <a:lnTo>
                      <a:pt x="1355" y="1628"/>
                    </a:lnTo>
                    <a:lnTo>
                      <a:pt x="1353" y="1628"/>
                    </a:lnTo>
                    <a:lnTo>
                      <a:pt x="1351" y="1626"/>
                    </a:lnTo>
                    <a:lnTo>
                      <a:pt x="1349" y="1626"/>
                    </a:lnTo>
                    <a:lnTo>
                      <a:pt x="1348" y="1626"/>
                    </a:lnTo>
                    <a:lnTo>
                      <a:pt x="1348" y="1624"/>
                    </a:lnTo>
                    <a:lnTo>
                      <a:pt x="1346" y="1624"/>
                    </a:lnTo>
                    <a:lnTo>
                      <a:pt x="1344" y="1624"/>
                    </a:lnTo>
                    <a:lnTo>
                      <a:pt x="1343" y="1623"/>
                    </a:lnTo>
                    <a:lnTo>
                      <a:pt x="1343" y="1621"/>
                    </a:lnTo>
                    <a:lnTo>
                      <a:pt x="1344" y="1619"/>
                    </a:lnTo>
                    <a:lnTo>
                      <a:pt x="1344" y="1621"/>
                    </a:lnTo>
                    <a:lnTo>
                      <a:pt x="1344" y="1619"/>
                    </a:lnTo>
                    <a:lnTo>
                      <a:pt x="1344" y="1618"/>
                    </a:lnTo>
                    <a:lnTo>
                      <a:pt x="1344" y="1616"/>
                    </a:lnTo>
                    <a:lnTo>
                      <a:pt x="1344" y="1618"/>
                    </a:lnTo>
                    <a:lnTo>
                      <a:pt x="1344" y="1619"/>
                    </a:lnTo>
                    <a:lnTo>
                      <a:pt x="1343" y="1621"/>
                    </a:lnTo>
                    <a:lnTo>
                      <a:pt x="1343" y="1619"/>
                    </a:lnTo>
                    <a:lnTo>
                      <a:pt x="1343" y="1618"/>
                    </a:lnTo>
                    <a:lnTo>
                      <a:pt x="1341" y="1616"/>
                    </a:lnTo>
                    <a:lnTo>
                      <a:pt x="1341" y="1614"/>
                    </a:lnTo>
                    <a:lnTo>
                      <a:pt x="1341" y="1616"/>
                    </a:lnTo>
                    <a:lnTo>
                      <a:pt x="1341" y="1618"/>
                    </a:lnTo>
                    <a:lnTo>
                      <a:pt x="1343" y="1619"/>
                    </a:lnTo>
                    <a:lnTo>
                      <a:pt x="1341" y="1619"/>
                    </a:lnTo>
                    <a:lnTo>
                      <a:pt x="1341" y="1621"/>
                    </a:lnTo>
                    <a:lnTo>
                      <a:pt x="1343" y="1621"/>
                    </a:lnTo>
                    <a:lnTo>
                      <a:pt x="1343" y="1619"/>
                    </a:lnTo>
                    <a:lnTo>
                      <a:pt x="1343" y="1621"/>
                    </a:lnTo>
                    <a:lnTo>
                      <a:pt x="1343" y="1623"/>
                    </a:lnTo>
                    <a:lnTo>
                      <a:pt x="1341" y="1623"/>
                    </a:lnTo>
                    <a:lnTo>
                      <a:pt x="1339" y="1623"/>
                    </a:lnTo>
                    <a:lnTo>
                      <a:pt x="1339" y="1621"/>
                    </a:lnTo>
                    <a:lnTo>
                      <a:pt x="1339" y="1619"/>
                    </a:lnTo>
                    <a:lnTo>
                      <a:pt x="1341" y="1619"/>
                    </a:lnTo>
                    <a:lnTo>
                      <a:pt x="1341" y="1618"/>
                    </a:lnTo>
                    <a:lnTo>
                      <a:pt x="1339" y="1618"/>
                    </a:lnTo>
                    <a:lnTo>
                      <a:pt x="1339" y="1616"/>
                    </a:lnTo>
                    <a:lnTo>
                      <a:pt x="1339" y="1618"/>
                    </a:lnTo>
                    <a:lnTo>
                      <a:pt x="1341" y="1619"/>
                    </a:lnTo>
                    <a:lnTo>
                      <a:pt x="1339" y="1619"/>
                    </a:lnTo>
                    <a:lnTo>
                      <a:pt x="1339" y="1621"/>
                    </a:lnTo>
                    <a:lnTo>
                      <a:pt x="1339" y="1623"/>
                    </a:lnTo>
                    <a:lnTo>
                      <a:pt x="1338" y="1623"/>
                    </a:lnTo>
                    <a:lnTo>
                      <a:pt x="1336" y="1623"/>
                    </a:lnTo>
                    <a:lnTo>
                      <a:pt x="1334" y="1623"/>
                    </a:lnTo>
                    <a:lnTo>
                      <a:pt x="1332" y="1623"/>
                    </a:lnTo>
                    <a:lnTo>
                      <a:pt x="1332" y="1621"/>
                    </a:lnTo>
                    <a:lnTo>
                      <a:pt x="1332" y="1619"/>
                    </a:lnTo>
                    <a:lnTo>
                      <a:pt x="1332" y="1618"/>
                    </a:lnTo>
                    <a:lnTo>
                      <a:pt x="1332" y="1616"/>
                    </a:lnTo>
                    <a:lnTo>
                      <a:pt x="1332" y="1618"/>
                    </a:lnTo>
                    <a:lnTo>
                      <a:pt x="1332" y="1619"/>
                    </a:lnTo>
                    <a:lnTo>
                      <a:pt x="1332" y="1621"/>
                    </a:lnTo>
                    <a:lnTo>
                      <a:pt x="1332" y="1623"/>
                    </a:lnTo>
                    <a:lnTo>
                      <a:pt x="1332" y="1624"/>
                    </a:lnTo>
                    <a:lnTo>
                      <a:pt x="1331" y="1624"/>
                    </a:lnTo>
                    <a:lnTo>
                      <a:pt x="1329" y="1624"/>
                    </a:lnTo>
                    <a:lnTo>
                      <a:pt x="1327" y="1624"/>
                    </a:lnTo>
                    <a:lnTo>
                      <a:pt x="1329" y="1623"/>
                    </a:lnTo>
                    <a:lnTo>
                      <a:pt x="1329" y="1621"/>
                    </a:lnTo>
                    <a:lnTo>
                      <a:pt x="1327" y="1623"/>
                    </a:lnTo>
                    <a:lnTo>
                      <a:pt x="1327" y="1621"/>
                    </a:lnTo>
                    <a:lnTo>
                      <a:pt x="1327" y="1623"/>
                    </a:lnTo>
                    <a:lnTo>
                      <a:pt x="1326" y="1624"/>
                    </a:lnTo>
                    <a:lnTo>
                      <a:pt x="1324" y="1624"/>
                    </a:lnTo>
                    <a:lnTo>
                      <a:pt x="1324" y="1623"/>
                    </a:lnTo>
                    <a:lnTo>
                      <a:pt x="1324" y="1624"/>
                    </a:lnTo>
                    <a:lnTo>
                      <a:pt x="1326" y="1624"/>
                    </a:lnTo>
                    <a:lnTo>
                      <a:pt x="1324" y="1624"/>
                    </a:lnTo>
                    <a:lnTo>
                      <a:pt x="1322" y="1624"/>
                    </a:lnTo>
                    <a:lnTo>
                      <a:pt x="1321" y="1624"/>
                    </a:lnTo>
                    <a:lnTo>
                      <a:pt x="1321" y="1623"/>
                    </a:lnTo>
                    <a:lnTo>
                      <a:pt x="1321" y="1621"/>
                    </a:lnTo>
                    <a:lnTo>
                      <a:pt x="1321" y="1619"/>
                    </a:lnTo>
                    <a:lnTo>
                      <a:pt x="1322" y="1618"/>
                    </a:lnTo>
                    <a:lnTo>
                      <a:pt x="1324" y="1616"/>
                    </a:lnTo>
                    <a:lnTo>
                      <a:pt x="1326" y="1614"/>
                    </a:lnTo>
                    <a:lnTo>
                      <a:pt x="1324" y="1614"/>
                    </a:lnTo>
                    <a:lnTo>
                      <a:pt x="1322" y="1614"/>
                    </a:lnTo>
                    <a:lnTo>
                      <a:pt x="1322" y="1616"/>
                    </a:lnTo>
                    <a:lnTo>
                      <a:pt x="1322" y="1618"/>
                    </a:lnTo>
                    <a:lnTo>
                      <a:pt x="1321" y="1618"/>
                    </a:lnTo>
                    <a:lnTo>
                      <a:pt x="1321" y="1619"/>
                    </a:lnTo>
                    <a:lnTo>
                      <a:pt x="1321" y="1621"/>
                    </a:lnTo>
                    <a:lnTo>
                      <a:pt x="1319" y="1623"/>
                    </a:lnTo>
                    <a:lnTo>
                      <a:pt x="1319" y="1624"/>
                    </a:lnTo>
                    <a:lnTo>
                      <a:pt x="1319" y="1623"/>
                    </a:lnTo>
                    <a:lnTo>
                      <a:pt x="1317" y="1623"/>
                    </a:lnTo>
                    <a:lnTo>
                      <a:pt x="1315" y="1621"/>
                    </a:lnTo>
                    <a:lnTo>
                      <a:pt x="1314" y="1621"/>
                    </a:lnTo>
                    <a:lnTo>
                      <a:pt x="1312" y="1621"/>
                    </a:lnTo>
                    <a:lnTo>
                      <a:pt x="1312" y="1619"/>
                    </a:lnTo>
                    <a:lnTo>
                      <a:pt x="1310" y="1619"/>
                    </a:lnTo>
                    <a:lnTo>
                      <a:pt x="1312" y="1619"/>
                    </a:lnTo>
                    <a:lnTo>
                      <a:pt x="1310" y="1619"/>
                    </a:lnTo>
                    <a:lnTo>
                      <a:pt x="1310" y="1621"/>
                    </a:lnTo>
                    <a:lnTo>
                      <a:pt x="1309" y="1621"/>
                    </a:lnTo>
                    <a:lnTo>
                      <a:pt x="1309" y="1623"/>
                    </a:lnTo>
                    <a:lnTo>
                      <a:pt x="1307" y="1621"/>
                    </a:lnTo>
                    <a:lnTo>
                      <a:pt x="1307" y="1623"/>
                    </a:lnTo>
                    <a:lnTo>
                      <a:pt x="1307" y="1624"/>
                    </a:lnTo>
                    <a:lnTo>
                      <a:pt x="1307" y="1623"/>
                    </a:lnTo>
                    <a:lnTo>
                      <a:pt x="1305" y="1623"/>
                    </a:lnTo>
                    <a:lnTo>
                      <a:pt x="1304" y="1623"/>
                    </a:lnTo>
                    <a:lnTo>
                      <a:pt x="1302" y="1623"/>
                    </a:lnTo>
                    <a:lnTo>
                      <a:pt x="1304" y="1621"/>
                    </a:lnTo>
                    <a:lnTo>
                      <a:pt x="1304" y="1619"/>
                    </a:lnTo>
                    <a:lnTo>
                      <a:pt x="1304" y="1621"/>
                    </a:lnTo>
                    <a:lnTo>
                      <a:pt x="1304" y="1619"/>
                    </a:lnTo>
                    <a:lnTo>
                      <a:pt x="1305" y="1619"/>
                    </a:lnTo>
                    <a:lnTo>
                      <a:pt x="1307" y="1619"/>
                    </a:lnTo>
                    <a:lnTo>
                      <a:pt x="1309" y="1618"/>
                    </a:lnTo>
                    <a:lnTo>
                      <a:pt x="1310" y="1618"/>
                    </a:lnTo>
                    <a:lnTo>
                      <a:pt x="1310" y="1616"/>
                    </a:lnTo>
                    <a:lnTo>
                      <a:pt x="1312" y="1616"/>
                    </a:lnTo>
                    <a:lnTo>
                      <a:pt x="1314" y="1616"/>
                    </a:lnTo>
                    <a:lnTo>
                      <a:pt x="1314" y="1614"/>
                    </a:lnTo>
                    <a:lnTo>
                      <a:pt x="1315" y="1614"/>
                    </a:lnTo>
                    <a:lnTo>
                      <a:pt x="1315" y="1612"/>
                    </a:lnTo>
                    <a:lnTo>
                      <a:pt x="1317" y="1612"/>
                    </a:lnTo>
                    <a:lnTo>
                      <a:pt x="1317" y="1611"/>
                    </a:lnTo>
                    <a:lnTo>
                      <a:pt x="1315" y="1611"/>
                    </a:lnTo>
                    <a:lnTo>
                      <a:pt x="1314" y="1611"/>
                    </a:lnTo>
                    <a:lnTo>
                      <a:pt x="1312" y="1611"/>
                    </a:lnTo>
                    <a:lnTo>
                      <a:pt x="1312" y="1612"/>
                    </a:lnTo>
                    <a:lnTo>
                      <a:pt x="1310" y="1614"/>
                    </a:lnTo>
                    <a:lnTo>
                      <a:pt x="1312" y="1614"/>
                    </a:lnTo>
                    <a:lnTo>
                      <a:pt x="1312" y="1616"/>
                    </a:lnTo>
                    <a:lnTo>
                      <a:pt x="1310" y="1616"/>
                    </a:lnTo>
                    <a:lnTo>
                      <a:pt x="1309" y="1616"/>
                    </a:lnTo>
                    <a:lnTo>
                      <a:pt x="1309" y="1618"/>
                    </a:lnTo>
                    <a:lnTo>
                      <a:pt x="1307" y="1618"/>
                    </a:lnTo>
                    <a:lnTo>
                      <a:pt x="1307" y="1616"/>
                    </a:lnTo>
                    <a:lnTo>
                      <a:pt x="1305" y="1616"/>
                    </a:lnTo>
                    <a:lnTo>
                      <a:pt x="1305" y="1618"/>
                    </a:lnTo>
                    <a:lnTo>
                      <a:pt x="1304" y="1618"/>
                    </a:lnTo>
                    <a:lnTo>
                      <a:pt x="1305" y="1618"/>
                    </a:lnTo>
                    <a:lnTo>
                      <a:pt x="1304" y="1619"/>
                    </a:lnTo>
                    <a:lnTo>
                      <a:pt x="1304" y="1618"/>
                    </a:lnTo>
                    <a:lnTo>
                      <a:pt x="1302" y="1619"/>
                    </a:lnTo>
                    <a:lnTo>
                      <a:pt x="1302" y="1618"/>
                    </a:lnTo>
                    <a:lnTo>
                      <a:pt x="1300" y="1618"/>
                    </a:lnTo>
                    <a:lnTo>
                      <a:pt x="1298" y="1618"/>
                    </a:lnTo>
                    <a:lnTo>
                      <a:pt x="1300" y="1618"/>
                    </a:lnTo>
                    <a:lnTo>
                      <a:pt x="1300" y="1616"/>
                    </a:lnTo>
                    <a:lnTo>
                      <a:pt x="1302" y="1616"/>
                    </a:lnTo>
                    <a:lnTo>
                      <a:pt x="1304" y="1614"/>
                    </a:lnTo>
                    <a:lnTo>
                      <a:pt x="1305" y="1614"/>
                    </a:lnTo>
                    <a:lnTo>
                      <a:pt x="1304" y="1614"/>
                    </a:lnTo>
                    <a:lnTo>
                      <a:pt x="1302" y="1614"/>
                    </a:lnTo>
                    <a:lnTo>
                      <a:pt x="1302" y="1612"/>
                    </a:lnTo>
                    <a:lnTo>
                      <a:pt x="1300" y="1612"/>
                    </a:lnTo>
                    <a:lnTo>
                      <a:pt x="1300" y="1614"/>
                    </a:lnTo>
                    <a:lnTo>
                      <a:pt x="1298" y="1614"/>
                    </a:lnTo>
                    <a:lnTo>
                      <a:pt x="1300" y="1614"/>
                    </a:lnTo>
                    <a:lnTo>
                      <a:pt x="1300" y="1616"/>
                    </a:lnTo>
                    <a:lnTo>
                      <a:pt x="1298" y="1618"/>
                    </a:lnTo>
                    <a:lnTo>
                      <a:pt x="1298" y="1619"/>
                    </a:lnTo>
                    <a:lnTo>
                      <a:pt x="1297" y="1619"/>
                    </a:lnTo>
                    <a:lnTo>
                      <a:pt x="1295" y="1618"/>
                    </a:lnTo>
                    <a:lnTo>
                      <a:pt x="1297" y="1618"/>
                    </a:lnTo>
                    <a:lnTo>
                      <a:pt x="1297" y="1616"/>
                    </a:lnTo>
                    <a:lnTo>
                      <a:pt x="1298" y="1616"/>
                    </a:lnTo>
                    <a:lnTo>
                      <a:pt x="1298" y="1614"/>
                    </a:lnTo>
                    <a:lnTo>
                      <a:pt x="1300" y="1614"/>
                    </a:lnTo>
                    <a:lnTo>
                      <a:pt x="1298" y="1614"/>
                    </a:lnTo>
                    <a:lnTo>
                      <a:pt x="1297" y="1614"/>
                    </a:lnTo>
                    <a:lnTo>
                      <a:pt x="1297" y="1616"/>
                    </a:lnTo>
                    <a:lnTo>
                      <a:pt x="1297" y="1614"/>
                    </a:lnTo>
                    <a:lnTo>
                      <a:pt x="1298" y="1614"/>
                    </a:lnTo>
                    <a:lnTo>
                      <a:pt x="1298" y="1612"/>
                    </a:lnTo>
                    <a:lnTo>
                      <a:pt x="1297" y="1612"/>
                    </a:lnTo>
                    <a:lnTo>
                      <a:pt x="1298" y="1612"/>
                    </a:lnTo>
                    <a:lnTo>
                      <a:pt x="1298" y="1611"/>
                    </a:lnTo>
                    <a:lnTo>
                      <a:pt x="1300" y="1611"/>
                    </a:lnTo>
                    <a:lnTo>
                      <a:pt x="1298" y="1611"/>
                    </a:lnTo>
                    <a:lnTo>
                      <a:pt x="1297" y="1611"/>
                    </a:lnTo>
                    <a:lnTo>
                      <a:pt x="1297" y="1609"/>
                    </a:lnTo>
                    <a:lnTo>
                      <a:pt x="1295" y="1609"/>
                    </a:lnTo>
                    <a:lnTo>
                      <a:pt x="1297" y="1611"/>
                    </a:lnTo>
                    <a:lnTo>
                      <a:pt x="1295" y="1612"/>
                    </a:lnTo>
                    <a:lnTo>
                      <a:pt x="1295" y="1611"/>
                    </a:lnTo>
                    <a:lnTo>
                      <a:pt x="1293" y="1612"/>
                    </a:lnTo>
                    <a:lnTo>
                      <a:pt x="1293" y="1614"/>
                    </a:lnTo>
                    <a:lnTo>
                      <a:pt x="1292" y="1614"/>
                    </a:lnTo>
                    <a:lnTo>
                      <a:pt x="1290" y="1614"/>
                    </a:lnTo>
                    <a:lnTo>
                      <a:pt x="1292" y="1614"/>
                    </a:lnTo>
                    <a:lnTo>
                      <a:pt x="1290" y="1612"/>
                    </a:lnTo>
                    <a:lnTo>
                      <a:pt x="1288" y="1614"/>
                    </a:lnTo>
                    <a:lnTo>
                      <a:pt x="1288" y="1612"/>
                    </a:lnTo>
                    <a:lnTo>
                      <a:pt x="1287" y="1612"/>
                    </a:lnTo>
                    <a:lnTo>
                      <a:pt x="1287" y="1611"/>
                    </a:lnTo>
                    <a:lnTo>
                      <a:pt x="1288" y="1611"/>
                    </a:lnTo>
                    <a:lnTo>
                      <a:pt x="1290" y="1612"/>
                    </a:lnTo>
                    <a:lnTo>
                      <a:pt x="1290" y="1611"/>
                    </a:lnTo>
                    <a:lnTo>
                      <a:pt x="1292" y="1611"/>
                    </a:lnTo>
                    <a:lnTo>
                      <a:pt x="1293" y="1611"/>
                    </a:lnTo>
                    <a:lnTo>
                      <a:pt x="1292" y="1611"/>
                    </a:lnTo>
                    <a:lnTo>
                      <a:pt x="1290" y="1611"/>
                    </a:lnTo>
                    <a:lnTo>
                      <a:pt x="1288" y="1609"/>
                    </a:lnTo>
                    <a:lnTo>
                      <a:pt x="1288" y="1607"/>
                    </a:lnTo>
                    <a:lnTo>
                      <a:pt x="1290" y="1607"/>
                    </a:lnTo>
                    <a:lnTo>
                      <a:pt x="1292" y="1607"/>
                    </a:lnTo>
                    <a:lnTo>
                      <a:pt x="1290" y="1607"/>
                    </a:lnTo>
                    <a:lnTo>
                      <a:pt x="1288" y="1607"/>
                    </a:lnTo>
                    <a:lnTo>
                      <a:pt x="1290" y="1606"/>
                    </a:lnTo>
                    <a:lnTo>
                      <a:pt x="1288" y="1606"/>
                    </a:lnTo>
                    <a:lnTo>
                      <a:pt x="1290" y="1604"/>
                    </a:lnTo>
                    <a:lnTo>
                      <a:pt x="1288" y="1606"/>
                    </a:lnTo>
                    <a:lnTo>
                      <a:pt x="1288" y="1607"/>
                    </a:lnTo>
                    <a:lnTo>
                      <a:pt x="1287" y="1607"/>
                    </a:lnTo>
                    <a:lnTo>
                      <a:pt x="1287" y="1606"/>
                    </a:lnTo>
                    <a:lnTo>
                      <a:pt x="1287" y="1604"/>
                    </a:lnTo>
                    <a:lnTo>
                      <a:pt x="1287" y="1606"/>
                    </a:lnTo>
                    <a:lnTo>
                      <a:pt x="1287" y="1607"/>
                    </a:lnTo>
                    <a:lnTo>
                      <a:pt x="1285" y="1606"/>
                    </a:lnTo>
                    <a:lnTo>
                      <a:pt x="1283" y="1604"/>
                    </a:lnTo>
                    <a:lnTo>
                      <a:pt x="1285" y="1606"/>
                    </a:lnTo>
                    <a:lnTo>
                      <a:pt x="1285" y="1607"/>
                    </a:lnTo>
                    <a:lnTo>
                      <a:pt x="1283" y="1606"/>
                    </a:lnTo>
                    <a:lnTo>
                      <a:pt x="1283" y="1607"/>
                    </a:lnTo>
                    <a:lnTo>
                      <a:pt x="1285" y="1607"/>
                    </a:lnTo>
                    <a:lnTo>
                      <a:pt x="1287" y="1607"/>
                    </a:lnTo>
                    <a:lnTo>
                      <a:pt x="1287" y="1609"/>
                    </a:lnTo>
                    <a:lnTo>
                      <a:pt x="1287" y="1611"/>
                    </a:lnTo>
                    <a:lnTo>
                      <a:pt x="1285" y="1609"/>
                    </a:lnTo>
                    <a:lnTo>
                      <a:pt x="1287" y="1609"/>
                    </a:lnTo>
                    <a:lnTo>
                      <a:pt x="1285" y="1609"/>
                    </a:lnTo>
                    <a:lnTo>
                      <a:pt x="1283" y="1609"/>
                    </a:lnTo>
                    <a:lnTo>
                      <a:pt x="1285" y="1609"/>
                    </a:lnTo>
                    <a:lnTo>
                      <a:pt x="1285" y="1611"/>
                    </a:lnTo>
                    <a:lnTo>
                      <a:pt x="1285" y="1612"/>
                    </a:lnTo>
                    <a:lnTo>
                      <a:pt x="1283" y="1612"/>
                    </a:lnTo>
                    <a:lnTo>
                      <a:pt x="1283" y="1611"/>
                    </a:lnTo>
                    <a:lnTo>
                      <a:pt x="1281" y="1611"/>
                    </a:lnTo>
                    <a:lnTo>
                      <a:pt x="1283" y="1612"/>
                    </a:lnTo>
                    <a:lnTo>
                      <a:pt x="1281" y="1612"/>
                    </a:lnTo>
                    <a:lnTo>
                      <a:pt x="1281" y="1614"/>
                    </a:lnTo>
                    <a:lnTo>
                      <a:pt x="1280" y="1614"/>
                    </a:lnTo>
                    <a:lnTo>
                      <a:pt x="1280" y="1612"/>
                    </a:lnTo>
                    <a:lnTo>
                      <a:pt x="1280" y="1611"/>
                    </a:lnTo>
                    <a:lnTo>
                      <a:pt x="1280" y="1609"/>
                    </a:lnTo>
                    <a:lnTo>
                      <a:pt x="1281" y="1609"/>
                    </a:lnTo>
                    <a:lnTo>
                      <a:pt x="1281" y="1607"/>
                    </a:lnTo>
                    <a:lnTo>
                      <a:pt x="1280" y="1609"/>
                    </a:lnTo>
                    <a:lnTo>
                      <a:pt x="1280" y="1611"/>
                    </a:lnTo>
                    <a:lnTo>
                      <a:pt x="1280" y="1612"/>
                    </a:lnTo>
                    <a:lnTo>
                      <a:pt x="1280" y="1611"/>
                    </a:lnTo>
                    <a:lnTo>
                      <a:pt x="1278" y="1612"/>
                    </a:lnTo>
                    <a:lnTo>
                      <a:pt x="1278" y="1611"/>
                    </a:lnTo>
                    <a:lnTo>
                      <a:pt x="1278" y="1609"/>
                    </a:lnTo>
                    <a:lnTo>
                      <a:pt x="1278" y="1611"/>
                    </a:lnTo>
                    <a:lnTo>
                      <a:pt x="1276" y="1611"/>
                    </a:lnTo>
                    <a:lnTo>
                      <a:pt x="1276" y="1609"/>
                    </a:lnTo>
                    <a:lnTo>
                      <a:pt x="1278" y="1609"/>
                    </a:lnTo>
                    <a:lnTo>
                      <a:pt x="1278" y="1607"/>
                    </a:lnTo>
                    <a:lnTo>
                      <a:pt x="1278" y="1609"/>
                    </a:lnTo>
                    <a:lnTo>
                      <a:pt x="1276" y="1607"/>
                    </a:lnTo>
                    <a:lnTo>
                      <a:pt x="1276" y="1609"/>
                    </a:lnTo>
                    <a:lnTo>
                      <a:pt x="1275" y="1611"/>
                    </a:lnTo>
                    <a:lnTo>
                      <a:pt x="1276" y="1611"/>
                    </a:lnTo>
                    <a:lnTo>
                      <a:pt x="1275" y="1612"/>
                    </a:lnTo>
                    <a:lnTo>
                      <a:pt x="1275" y="1611"/>
                    </a:lnTo>
                    <a:lnTo>
                      <a:pt x="1275" y="1609"/>
                    </a:lnTo>
                    <a:lnTo>
                      <a:pt x="1276" y="1609"/>
                    </a:lnTo>
                    <a:lnTo>
                      <a:pt x="1276" y="1607"/>
                    </a:lnTo>
                    <a:lnTo>
                      <a:pt x="1275" y="1609"/>
                    </a:lnTo>
                    <a:lnTo>
                      <a:pt x="1273" y="1609"/>
                    </a:lnTo>
                    <a:lnTo>
                      <a:pt x="1271" y="1607"/>
                    </a:lnTo>
                    <a:lnTo>
                      <a:pt x="1273" y="1609"/>
                    </a:lnTo>
                    <a:lnTo>
                      <a:pt x="1271" y="1611"/>
                    </a:lnTo>
                    <a:lnTo>
                      <a:pt x="1271" y="1609"/>
                    </a:lnTo>
                    <a:lnTo>
                      <a:pt x="1270" y="1607"/>
                    </a:lnTo>
                    <a:lnTo>
                      <a:pt x="1270" y="1609"/>
                    </a:lnTo>
                    <a:lnTo>
                      <a:pt x="1271" y="1611"/>
                    </a:lnTo>
                    <a:lnTo>
                      <a:pt x="1270" y="1611"/>
                    </a:lnTo>
                    <a:lnTo>
                      <a:pt x="1268" y="1611"/>
                    </a:lnTo>
                    <a:lnTo>
                      <a:pt x="1266" y="1611"/>
                    </a:lnTo>
                    <a:lnTo>
                      <a:pt x="1264" y="1609"/>
                    </a:lnTo>
                    <a:lnTo>
                      <a:pt x="1266" y="1609"/>
                    </a:lnTo>
                    <a:lnTo>
                      <a:pt x="1268" y="1609"/>
                    </a:lnTo>
                    <a:lnTo>
                      <a:pt x="1268" y="1607"/>
                    </a:lnTo>
                    <a:lnTo>
                      <a:pt x="1266" y="1607"/>
                    </a:lnTo>
                    <a:lnTo>
                      <a:pt x="1266" y="1606"/>
                    </a:lnTo>
                    <a:lnTo>
                      <a:pt x="1264" y="1607"/>
                    </a:lnTo>
                    <a:lnTo>
                      <a:pt x="1264" y="1606"/>
                    </a:lnTo>
                    <a:lnTo>
                      <a:pt x="1264" y="1604"/>
                    </a:lnTo>
                    <a:lnTo>
                      <a:pt x="1263" y="1604"/>
                    </a:lnTo>
                    <a:lnTo>
                      <a:pt x="1264" y="1602"/>
                    </a:lnTo>
                    <a:lnTo>
                      <a:pt x="1264" y="1604"/>
                    </a:lnTo>
                    <a:lnTo>
                      <a:pt x="1266" y="1606"/>
                    </a:lnTo>
                    <a:lnTo>
                      <a:pt x="1264" y="1604"/>
                    </a:lnTo>
                    <a:lnTo>
                      <a:pt x="1264" y="1602"/>
                    </a:lnTo>
                    <a:lnTo>
                      <a:pt x="1266" y="1604"/>
                    </a:lnTo>
                    <a:lnTo>
                      <a:pt x="1264" y="1602"/>
                    </a:lnTo>
                    <a:lnTo>
                      <a:pt x="1264" y="1600"/>
                    </a:lnTo>
                    <a:lnTo>
                      <a:pt x="1266" y="1600"/>
                    </a:lnTo>
                    <a:lnTo>
                      <a:pt x="1268" y="1600"/>
                    </a:lnTo>
                    <a:lnTo>
                      <a:pt x="1268" y="1602"/>
                    </a:lnTo>
                    <a:lnTo>
                      <a:pt x="1268" y="1604"/>
                    </a:lnTo>
                    <a:lnTo>
                      <a:pt x="1268" y="1602"/>
                    </a:lnTo>
                    <a:lnTo>
                      <a:pt x="1268" y="1600"/>
                    </a:lnTo>
                    <a:lnTo>
                      <a:pt x="1270" y="1602"/>
                    </a:lnTo>
                    <a:lnTo>
                      <a:pt x="1270" y="1604"/>
                    </a:lnTo>
                    <a:lnTo>
                      <a:pt x="1270" y="1606"/>
                    </a:lnTo>
                    <a:lnTo>
                      <a:pt x="1271" y="1606"/>
                    </a:lnTo>
                    <a:lnTo>
                      <a:pt x="1273" y="1606"/>
                    </a:lnTo>
                    <a:lnTo>
                      <a:pt x="1275" y="1607"/>
                    </a:lnTo>
                    <a:lnTo>
                      <a:pt x="1275" y="1606"/>
                    </a:lnTo>
                    <a:lnTo>
                      <a:pt x="1273" y="1606"/>
                    </a:lnTo>
                    <a:lnTo>
                      <a:pt x="1275" y="1606"/>
                    </a:lnTo>
                    <a:lnTo>
                      <a:pt x="1273" y="1604"/>
                    </a:lnTo>
                    <a:lnTo>
                      <a:pt x="1271" y="1602"/>
                    </a:lnTo>
                    <a:lnTo>
                      <a:pt x="1273" y="1602"/>
                    </a:lnTo>
                    <a:lnTo>
                      <a:pt x="1275" y="1604"/>
                    </a:lnTo>
                    <a:lnTo>
                      <a:pt x="1276" y="1604"/>
                    </a:lnTo>
                    <a:lnTo>
                      <a:pt x="1276" y="1606"/>
                    </a:lnTo>
                    <a:lnTo>
                      <a:pt x="1276" y="1604"/>
                    </a:lnTo>
                    <a:lnTo>
                      <a:pt x="1278" y="1606"/>
                    </a:lnTo>
                    <a:lnTo>
                      <a:pt x="1280" y="1606"/>
                    </a:lnTo>
                    <a:lnTo>
                      <a:pt x="1278" y="1604"/>
                    </a:lnTo>
                    <a:lnTo>
                      <a:pt x="1276" y="1604"/>
                    </a:lnTo>
                    <a:lnTo>
                      <a:pt x="1275" y="1604"/>
                    </a:lnTo>
                    <a:lnTo>
                      <a:pt x="1276" y="1602"/>
                    </a:lnTo>
                    <a:lnTo>
                      <a:pt x="1275" y="1602"/>
                    </a:lnTo>
                    <a:lnTo>
                      <a:pt x="1273" y="1602"/>
                    </a:lnTo>
                    <a:lnTo>
                      <a:pt x="1275" y="1600"/>
                    </a:lnTo>
                    <a:lnTo>
                      <a:pt x="1273" y="1600"/>
                    </a:lnTo>
                    <a:lnTo>
                      <a:pt x="1271" y="1600"/>
                    </a:lnTo>
                    <a:lnTo>
                      <a:pt x="1270" y="1600"/>
                    </a:lnTo>
                    <a:lnTo>
                      <a:pt x="1268" y="1600"/>
                    </a:lnTo>
                    <a:lnTo>
                      <a:pt x="1268" y="1599"/>
                    </a:lnTo>
                    <a:lnTo>
                      <a:pt x="1270" y="1599"/>
                    </a:lnTo>
                    <a:lnTo>
                      <a:pt x="1271" y="1600"/>
                    </a:lnTo>
                    <a:lnTo>
                      <a:pt x="1270" y="1599"/>
                    </a:lnTo>
                    <a:lnTo>
                      <a:pt x="1271" y="1599"/>
                    </a:lnTo>
                    <a:lnTo>
                      <a:pt x="1270" y="1599"/>
                    </a:lnTo>
                    <a:lnTo>
                      <a:pt x="1270" y="1597"/>
                    </a:lnTo>
                    <a:lnTo>
                      <a:pt x="1271" y="1599"/>
                    </a:lnTo>
                    <a:lnTo>
                      <a:pt x="1270" y="1597"/>
                    </a:lnTo>
                    <a:lnTo>
                      <a:pt x="1271" y="1597"/>
                    </a:lnTo>
                    <a:lnTo>
                      <a:pt x="1273" y="1597"/>
                    </a:lnTo>
                    <a:lnTo>
                      <a:pt x="1273" y="1599"/>
                    </a:lnTo>
                    <a:lnTo>
                      <a:pt x="1275" y="1599"/>
                    </a:lnTo>
                    <a:lnTo>
                      <a:pt x="1275" y="1600"/>
                    </a:lnTo>
                    <a:lnTo>
                      <a:pt x="1276" y="1600"/>
                    </a:lnTo>
                    <a:lnTo>
                      <a:pt x="1276" y="1602"/>
                    </a:lnTo>
                    <a:lnTo>
                      <a:pt x="1278" y="1602"/>
                    </a:lnTo>
                    <a:lnTo>
                      <a:pt x="1278" y="1604"/>
                    </a:lnTo>
                    <a:lnTo>
                      <a:pt x="1280" y="1604"/>
                    </a:lnTo>
                    <a:lnTo>
                      <a:pt x="1280" y="1602"/>
                    </a:lnTo>
                    <a:lnTo>
                      <a:pt x="1278" y="1602"/>
                    </a:lnTo>
                    <a:lnTo>
                      <a:pt x="1280" y="1602"/>
                    </a:lnTo>
                    <a:lnTo>
                      <a:pt x="1281" y="1602"/>
                    </a:lnTo>
                    <a:lnTo>
                      <a:pt x="1280" y="1602"/>
                    </a:lnTo>
                    <a:lnTo>
                      <a:pt x="1278" y="1600"/>
                    </a:lnTo>
                    <a:lnTo>
                      <a:pt x="1276" y="1600"/>
                    </a:lnTo>
                    <a:lnTo>
                      <a:pt x="1278" y="1600"/>
                    </a:lnTo>
                    <a:lnTo>
                      <a:pt x="1278" y="1599"/>
                    </a:lnTo>
                    <a:lnTo>
                      <a:pt x="1276" y="1597"/>
                    </a:lnTo>
                    <a:lnTo>
                      <a:pt x="1278" y="1597"/>
                    </a:lnTo>
                    <a:lnTo>
                      <a:pt x="1278" y="1599"/>
                    </a:lnTo>
                    <a:lnTo>
                      <a:pt x="1280" y="1599"/>
                    </a:lnTo>
                    <a:lnTo>
                      <a:pt x="1280" y="1597"/>
                    </a:lnTo>
                    <a:lnTo>
                      <a:pt x="1280" y="1599"/>
                    </a:lnTo>
                    <a:lnTo>
                      <a:pt x="1278" y="1597"/>
                    </a:lnTo>
                    <a:lnTo>
                      <a:pt x="1280" y="1597"/>
                    </a:lnTo>
                    <a:lnTo>
                      <a:pt x="1280" y="1599"/>
                    </a:lnTo>
                    <a:lnTo>
                      <a:pt x="1281" y="1599"/>
                    </a:lnTo>
                    <a:lnTo>
                      <a:pt x="1283" y="1599"/>
                    </a:lnTo>
                    <a:lnTo>
                      <a:pt x="1281" y="1599"/>
                    </a:lnTo>
                    <a:lnTo>
                      <a:pt x="1283" y="1599"/>
                    </a:lnTo>
                    <a:lnTo>
                      <a:pt x="1285" y="1599"/>
                    </a:lnTo>
                    <a:lnTo>
                      <a:pt x="1285" y="1600"/>
                    </a:lnTo>
                    <a:lnTo>
                      <a:pt x="1285" y="1599"/>
                    </a:lnTo>
                    <a:lnTo>
                      <a:pt x="1287" y="1599"/>
                    </a:lnTo>
                    <a:lnTo>
                      <a:pt x="1285" y="1599"/>
                    </a:lnTo>
                    <a:lnTo>
                      <a:pt x="1283" y="1599"/>
                    </a:lnTo>
                    <a:lnTo>
                      <a:pt x="1283" y="1597"/>
                    </a:lnTo>
                    <a:lnTo>
                      <a:pt x="1285" y="1597"/>
                    </a:lnTo>
                    <a:lnTo>
                      <a:pt x="1283" y="1595"/>
                    </a:lnTo>
                    <a:lnTo>
                      <a:pt x="1285" y="1597"/>
                    </a:lnTo>
                    <a:lnTo>
                      <a:pt x="1285" y="1595"/>
                    </a:lnTo>
                    <a:lnTo>
                      <a:pt x="1287" y="1595"/>
                    </a:lnTo>
                    <a:lnTo>
                      <a:pt x="1287" y="1597"/>
                    </a:lnTo>
                    <a:lnTo>
                      <a:pt x="1288" y="1597"/>
                    </a:lnTo>
                    <a:lnTo>
                      <a:pt x="1290" y="1599"/>
                    </a:lnTo>
                    <a:lnTo>
                      <a:pt x="1292" y="1599"/>
                    </a:lnTo>
                    <a:lnTo>
                      <a:pt x="1290" y="1599"/>
                    </a:lnTo>
                    <a:lnTo>
                      <a:pt x="1290" y="1600"/>
                    </a:lnTo>
                    <a:lnTo>
                      <a:pt x="1292" y="1600"/>
                    </a:lnTo>
                    <a:lnTo>
                      <a:pt x="1292" y="1599"/>
                    </a:lnTo>
                    <a:lnTo>
                      <a:pt x="1293" y="1599"/>
                    </a:lnTo>
                    <a:lnTo>
                      <a:pt x="1292" y="1600"/>
                    </a:lnTo>
                    <a:lnTo>
                      <a:pt x="1293" y="1600"/>
                    </a:lnTo>
                    <a:lnTo>
                      <a:pt x="1293" y="1602"/>
                    </a:lnTo>
                    <a:lnTo>
                      <a:pt x="1293" y="1600"/>
                    </a:lnTo>
                    <a:lnTo>
                      <a:pt x="1293" y="1599"/>
                    </a:lnTo>
                    <a:lnTo>
                      <a:pt x="1295" y="1600"/>
                    </a:lnTo>
                    <a:lnTo>
                      <a:pt x="1297" y="1600"/>
                    </a:lnTo>
                    <a:lnTo>
                      <a:pt x="1298" y="1600"/>
                    </a:lnTo>
                    <a:lnTo>
                      <a:pt x="1298" y="1602"/>
                    </a:lnTo>
                    <a:lnTo>
                      <a:pt x="1298" y="1604"/>
                    </a:lnTo>
                    <a:lnTo>
                      <a:pt x="1300" y="1604"/>
                    </a:lnTo>
                    <a:lnTo>
                      <a:pt x="1300" y="1602"/>
                    </a:lnTo>
                    <a:lnTo>
                      <a:pt x="1300" y="1600"/>
                    </a:lnTo>
                    <a:lnTo>
                      <a:pt x="1298" y="1600"/>
                    </a:lnTo>
                    <a:lnTo>
                      <a:pt x="1300" y="1599"/>
                    </a:lnTo>
                    <a:lnTo>
                      <a:pt x="1300" y="1597"/>
                    </a:lnTo>
                    <a:lnTo>
                      <a:pt x="1300" y="1595"/>
                    </a:lnTo>
                    <a:lnTo>
                      <a:pt x="1300" y="1594"/>
                    </a:lnTo>
                    <a:lnTo>
                      <a:pt x="1302" y="1595"/>
                    </a:lnTo>
                    <a:lnTo>
                      <a:pt x="1302" y="1594"/>
                    </a:lnTo>
                    <a:lnTo>
                      <a:pt x="1304" y="1594"/>
                    </a:lnTo>
                    <a:lnTo>
                      <a:pt x="1305" y="1594"/>
                    </a:lnTo>
                    <a:lnTo>
                      <a:pt x="1307" y="1594"/>
                    </a:lnTo>
                    <a:lnTo>
                      <a:pt x="1307" y="1595"/>
                    </a:lnTo>
                    <a:lnTo>
                      <a:pt x="1307" y="1594"/>
                    </a:lnTo>
                    <a:lnTo>
                      <a:pt x="1309" y="1595"/>
                    </a:lnTo>
                    <a:lnTo>
                      <a:pt x="1309" y="1594"/>
                    </a:lnTo>
                    <a:lnTo>
                      <a:pt x="1310" y="1594"/>
                    </a:lnTo>
                    <a:lnTo>
                      <a:pt x="1312" y="1594"/>
                    </a:lnTo>
                    <a:lnTo>
                      <a:pt x="1312" y="1595"/>
                    </a:lnTo>
                    <a:lnTo>
                      <a:pt x="1310" y="1595"/>
                    </a:lnTo>
                    <a:lnTo>
                      <a:pt x="1310" y="1597"/>
                    </a:lnTo>
                    <a:lnTo>
                      <a:pt x="1309" y="1597"/>
                    </a:lnTo>
                    <a:lnTo>
                      <a:pt x="1309" y="1599"/>
                    </a:lnTo>
                    <a:lnTo>
                      <a:pt x="1307" y="1599"/>
                    </a:lnTo>
                    <a:lnTo>
                      <a:pt x="1307" y="1600"/>
                    </a:lnTo>
                    <a:lnTo>
                      <a:pt x="1309" y="1600"/>
                    </a:lnTo>
                    <a:lnTo>
                      <a:pt x="1307" y="1602"/>
                    </a:lnTo>
                    <a:lnTo>
                      <a:pt x="1307" y="1604"/>
                    </a:lnTo>
                    <a:lnTo>
                      <a:pt x="1305" y="1606"/>
                    </a:lnTo>
                    <a:lnTo>
                      <a:pt x="1305" y="1607"/>
                    </a:lnTo>
                    <a:lnTo>
                      <a:pt x="1305" y="1609"/>
                    </a:lnTo>
                    <a:lnTo>
                      <a:pt x="1305" y="1611"/>
                    </a:lnTo>
                    <a:lnTo>
                      <a:pt x="1305" y="1609"/>
                    </a:lnTo>
                    <a:lnTo>
                      <a:pt x="1307" y="1609"/>
                    </a:lnTo>
                    <a:lnTo>
                      <a:pt x="1307" y="1607"/>
                    </a:lnTo>
                    <a:lnTo>
                      <a:pt x="1307" y="1606"/>
                    </a:lnTo>
                    <a:lnTo>
                      <a:pt x="1309" y="1607"/>
                    </a:lnTo>
                    <a:lnTo>
                      <a:pt x="1309" y="1609"/>
                    </a:lnTo>
                    <a:lnTo>
                      <a:pt x="1310" y="1609"/>
                    </a:lnTo>
                    <a:lnTo>
                      <a:pt x="1309" y="1607"/>
                    </a:lnTo>
                    <a:lnTo>
                      <a:pt x="1307" y="1606"/>
                    </a:lnTo>
                    <a:lnTo>
                      <a:pt x="1309" y="1604"/>
                    </a:lnTo>
                    <a:lnTo>
                      <a:pt x="1309" y="1602"/>
                    </a:lnTo>
                    <a:lnTo>
                      <a:pt x="1309" y="1600"/>
                    </a:lnTo>
                    <a:lnTo>
                      <a:pt x="1310" y="1600"/>
                    </a:lnTo>
                    <a:lnTo>
                      <a:pt x="1310" y="1599"/>
                    </a:lnTo>
                    <a:lnTo>
                      <a:pt x="1312" y="1599"/>
                    </a:lnTo>
                    <a:lnTo>
                      <a:pt x="1312" y="1597"/>
                    </a:lnTo>
                    <a:lnTo>
                      <a:pt x="1314" y="1599"/>
                    </a:lnTo>
                    <a:lnTo>
                      <a:pt x="1315" y="1600"/>
                    </a:lnTo>
                    <a:lnTo>
                      <a:pt x="1317" y="1602"/>
                    </a:lnTo>
                    <a:lnTo>
                      <a:pt x="1315" y="1602"/>
                    </a:lnTo>
                    <a:lnTo>
                      <a:pt x="1317" y="1602"/>
                    </a:lnTo>
                    <a:lnTo>
                      <a:pt x="1319" y="1602"/>
                    </a:lnTo>
                    <a:lnTo>
                      <a:pt x="1319" y="1604"/>
                    </a:lnTo>
                    <a:lnTo>
                      <a:pt x="1321" y="1604"/>
                    </a:lnTo>
                    <a:lnTo>
                      <a:pt x="1319" y="1604"/>
                    </a:lnTo>
                    <a:lnTo>
                      <a:pt x="1321" y="1604"/>
                    </a:lnTo>
                    <a:lnTo>
                      <a:pt x="1321" y="1606"/>
                    </a:lnTo>
                    <a:lnTo>
                      <a:pt x="1322" y="1607"/>
                    </a:lnTo>
                    <a:lnTo>
                      <a:pt x="1324" y="1607"/>
                    </a:lnTo>
                    <a:lnTo>
                      <a:pt x="1324" y="1609"/>
                    </a:lnTo>
                    <a:lnTo>
                      <a:pt x="1324" y="1607"/>
                    </a:lnTo>
                    <a:lnTo>
                      <a:pt x="1326" y="1609"/>
                    </a:lnTo>
                    <a:lnTo>
                      <a:pt x="1324" y="1607"/>
                    </a:lnTo>
                    <a:lnTo>
                      <a:pt x="1322" y="1607"/>
                    </a:lnTo>
                    <a:lnTo>
                      <a:pt x="1322" y="1606"/>
                    </a:lnTo>
                    <a:lnTo>
                      <a:pt x="1321" y="1606"/>
                    </a:lnTo>
                    <a:lnTo>
                      <a:pt x="1321" y="1604"/>
                    </a:lnTo>
                    <a:lnTo>
                      <a:pt x="1322" y="1604"/>
                    </a:lnTo>
                    <a:lnTo>
                      <a:pt x="1324" y="1604"/>
                    </a:lnTo>
                    <a:lnTo>
                      <a:pt x="1326" y="1606"/>
                    </a:lnTo>
                    <a:lnTo>
                      <a:pt x="1327" y="1607"/>
                    </a:lnTo>
                    <a:lnTo>
                      <a:pt x="1327" y="1606"/>
                    </a:lnTo>
                    <a:lnTo>
                      <a:pt x="1326" y="1606"/>
                    </a:lnTo>
                    <a:lnTo>
                      <a:pt x="1324" y="1604"/>
                    </a:lnTo>
                    <a:lnTo>
                      <a:pt x="1326" y="1604"/>
                    </a:lnTo>
                    <a:lnTo>
                      <a:pt x="1324" y="1604"/>
                    </a:lnTo>
                    <a:lnTo>
                      <a:pt x="1322" y="1602"/>
                    </a:lnTo>
                    <a:lnTo>
                      <a:pt x="1321" y="1602"/>
                    </a:lnTo>
                    <a:lnTo>
                      <a:pt x="1319" y="1600"/>
                    </a:lnTo>
                    <a:lnTo>
                      <a:pt x="1317" y="1600"/>
                    </a:lnTo>
                    <a:lnTo>
                      <a:pt x="1317" y="1599"/>
                    </a:lnTo>
                    <a:lnTo>
                      <a:pt x="1315" y="1599"/>
                    </a:lnTo>
                    <a:lnTo>
                      <a:pt x="1317" y="1597"/>
                    </a:lnTo>
                    <a:lnTo>
                      <a:pt x="1315" y="1597"/>
                    </a:lnTo>
                    <a:lnTo>
                      <a:pt x="1314" y="1597"/>
                    </a:lnTo>
                    <a:lnTo>
                      <a:pt x="1314" y="1595"/>
                    </a:lnTo>
                    <a:lnTo>
                      <a:pt x="1315" y="1594"/>
                    </a:lnTo>
                    <a:lnTo>
                      <a:pt x="1314" y="1594"/>
                    </a:lnTo>
                    <a:lnTo>
                      <a:pt x="1314" y="1592"/>
                    </a:lnTo>
                    <a:lnTo>
                      <a:pt x="1312" y="1590"/>
                    </a:lnTo>
                    <a:lnTo>
                      <a:pt x="1310" y="1590"/>
                    </a:lnTo>
                    <a:lnTo>
                      <a:pt x="1309" y="1590"/>
                    </a:lnTo>
                    <a:lnTo>
                      <a:pt x="1307" y="1590"/>
                    </a:lnTo>
                    <a:lnTo>
                      <a:pt x="1305" y="1590"/>
                    </a:lnTo>
                    <a:lnTo>
                      <a:pt x="1304" y="1590"/>
                    </a:lnTo>
                    <a:lnTo>
                      <a:pt x="1304" y="1589"/>
                    </a:lnTo>
                    <a:lnTo>
                      <a:pt x="1302" y="1589"/>
                    </a:lnTo>
                    <a:lnTo>
                      <a:pt x="1302" y="1587"/>
                    </a:lnTo>
                    <a:lnTo>
                      <a:pt x="1300" y="1585"/>
                    </a:lnTo>
                    <a:lnTo>
                      <a:pt x="1302" y="1585"/>
                    </a:lnTo>
                    <a:lnTo>
                      <a:pt x="1300" y="1583"/>
                    </a:lnTo>
                    <a:lnTo>
                      <a:pt x="1302" y="1583"/>
                    </a:lnTo>
                    <a:lnTo>
                      <a:pt x="1302" y="1585"/>
                    </a:lnTo>
                    <a:lnTo>
                      <a:pt x="1304" y="1585"/>
                    </a:lnTo>
                    <a:lnTo>
                      <a:pt x="1302" y="1585"/>
                    </a:lnTo>
                    <a:lnTo>
                      <a:pt x="1302" y="1583"/>
                    </a:lnTo>
                    <a:lnTo>
                      <a:pt x="1300" y="1582"/>
                    </a:lnTo>
                    <a:lnTo>
                      <a:pt x="1300" y="1580"/>
                    </a:lnTo>
                    <a:lnTo>
                      <a:pt x="1300" y="1582"/>
                    </a:lnTo>
                    <a:lnTo>
                      <a:pt x="1302" y="1582"/>
                    </a:lnTo>
                    <a:lnTo>
                      <a:pt x="1304" y="1582"/>
                    </a:lnTo>
                    <a:lnTo>
                      <a:pt x="1304" y="1583"/>
                    </a:lnTo>
                    <a:lnTo>
                      <a:pt x="1305" y="1583"/>
                    </a:lnTo>
                    <a:lnTo>
                      <a:pt x="1305" y="1585"/>
                    </a:lnTo>
                    <a:lnTo>
                      <a:pt x="1307" y="1585"/>
                    </a:lnTo>
                    <a:lnTo>
                      <a:pt x="1309" y="1585"/>
                    </a:lnTo>
                    <a:lnTo>
                      <a:pt x="1309" y="1587"/>
                    </a:lnTo>
                    <a:lnTo>
                      <a:pt x="1310" y="1589"/>
                    </a:lnTo>
                    <a:lnTo>
                      <a:pt x="1312" y="1589"/>
                    </a:lnTo>
                    <a:lnTo>
                      <a:pt x="1314" y="1589"/>
                    </a:lnTo>
                    <a:lnTo>
                      <a:pt x="1314" y="1590"/>
                    </a:lnTo>
                    <a:lnTo>
                      <a:pt x="1315" y="1590"/>
                    </a:lnTo>
                    <a:lnTo>
                      <a:pt x="1317" y="1590"/>
                    </a:lnTo>
                    <a:lnTo>
                      <a:pt x="1317" y="1592"/>
                    </a:lnTo>
                    <a:lnTo>
                      <a:pt x="1319" y="1592"/>
                    </a:lnTo>
                    <a:lnTo>
                      <a:pt x="1321" y="1592"/>
                    </a:lnTo>
                    <a:lnTo>
                      <a:pt x="1321" y="1594"/>
                    </a:lnTo>
                    <a:lnTo>
                      <a:pt x="1322" y="1594"/>
                    </a:lnTo>
                    <a:lnTo>
                      <a:pt x="1322" y="1595"/>
                    </a:lnTo>
                    <a:lnTo>
                      <a:pt x="1321" y="1595"/>
                    </a:lnTo>
                    <a:lnTo>
                      <a:pt x="1322" y="1595"/>
                    </a:lnTo>
                    <a:lnTo>
                      <a:pt x="1324" y="1595"/>
                    </a:lnTo>
                    <a:lnTo>
                      <a:pt x="1324" y="1597"/>
                    </a:lnTo>
                    <a:lnTo>
                      <a:pt x="1326" y="1599"/>
                    </a:lnTo>
                    <a:lnTo>
                      <a:pt x="1327" y="1599"/>
                    </a:lnTo>
                    <a:lnTo>
                      <a:pt x="1327" y="1597"/>
                    </a:lnTo>
                    <a:lnTo>
                      <a:pt x="1326" y="1597"/>
                    </a:lnTo>
                    <a:lnTo>
                      <a:pt x="1327" y="1597"/>
                    </a:lnTo>
                    <a:lnTo>
                      <a:pt x="1326" y="1597"/>
                    </a:lnTo>
                    <a:lnTo>
                      <a:pt x="1327" y="1595"/>
                    </a:lnTo>
                    <a:lnTo>
                      <a:pt x="1329" y="1595"/>
                    </a:lnTo>
                    <a:lnTo>
                      <a:pt x="1329" y="1597"/>
                    </a:lnTo>
                    <a:lnTo>
                      <a:pt x="1331" y="1597"/>
                    </a:lnTo>
                    <a:lnTo>
                      <a:pt x="1329" y="1595"/>
                    </a:lnTo>
                    <a:lnTo>
                      <a:pt x="1327" y="1595"/>
                    </a:lnTo>
                    <a:lnTo>
                      <a:pt x="1326" y="1595"/>
                    </a:lnTo>
                    <a:lnTo>
                      <a:pt x="1326" y="1594"/>
                    </a:lnTo>
                    <a:lnTo>
                      <a:pt x="1324" y="1594"/>
                    </a:lnTo>
                    <a:lnTo>
                      <a:pt x="1324" y="1592"/>
                    </a:lnTo>
                    <a:lnTo>
                      <a:pt x="1326" y="1592"/>
                    </a:lnTo>
                    <a:lnTo>
                      <a:pt x="1327" y="1592"/>
                    </a:lnTo>
                    <a:lnTo>
                      <a:pt x="1327" y="1590"/>
                    </a:lnTo>
                    <a:lnTo>
                      <a:pt x="1327" y="1589"/>
                    </a:lnTo>
                    <a:lnTo>
                      <a:pt x="1329" y="1589"/>
                    </a:lnTo>
                    <a:lnTo>
                      <a:pt x="1331" y="1589"/>
                    </a:lnTo>
                    <a:lnTo>
                      <a:pt x="1332" y="1590"/>
                    </a:lnTo>
                    <a:lnTo>
                      <a:pt x="1332" y="1592"/>
                    </a:lnTo>
                    <a:lnTo>
                      <a:pt x="1334" y="1592"/>
                    </a:lnTo>
                    <a:lnTo>
                      <a:pt x="1332" y="1592"/>
                    </a:lnTo>
                    <a:lnTo>
                      <a:pt x="1332" y="1594"/>
                    </a:lnTo>
                    <a:lnTo>
                      <a:pt x="1334" y="1595"/>
                    </a:lnTo>
                    <a:lnTo>
                      <a:pt x="1332" y="1595"/>
                    </a:lnTo>
                    <a:lnTo>
                      <a:pt x="1332" y="1597"/>
                    </a:lnTo>
                    <a:lnTo>
                      <a:pt x="1334" y="1595"/>
                    </a:lnTo>
                    <a:lnTo>
                      <a:pt x="1334" y="1597"/>
                    </a:lnTo>
                    <a:lnTo>
                      <a:pt x="1336" y="1597"/>
                    </a:lnTo>
                    <a:lnTo>
                      <a:pt x="1336" y="1599"/>
                    </a:lnTo>
                    <a:lnTo>
                      <a:pt x="1334" y="1599"/>
                    </a:lnTo>
                    <a:lnTo>
                      <a:pt x="1336" y="1599"/>
                    </a:lnTo>
                    <a:lnTo>
                      <a:pt x="1338" y="1600"/>
                    </a:lnTo>
                    <a:lnTo>
                      <a:pt x="1336" y="1600"/>
                    </a:lnTo>
                    <a:lnTo>
                      <a:pt x="1336" y="1602"/>
                    </a:lnTo>
                    <a:lnTo>
                      <a:pt x="1334" y="1604"/>
                    </a:lnTo>
                    <a:lnTo>
                      <a:pt x="1336" y="1604"/>
                    </a:lnTo>
                    <a:lnTo>
                      <a:pt x="1336" y="1602"/>
                    </a:lnTo>
                    <a:lnTo>
                      <a:pt x="1338" y="1602"/>
                    </a:lnTo>
                    <a:lnTo>
                      <a:pt x="1338" y="1600"/>
                    </a:lnTo>
                    <a:lnTo>
                      <a:pt x="1338" y="1602"/>
                    </a:lnTo>
                    <a:lnTo>
                      <a:pt x="1339" y="1602"/>
                    </a:lnTo>
                    <a:lnTo>
                      <a:pt x="1339" y="1604"/>
                    </a:lnTo>
                    <a:lnTo>
                      <a:pt x="1339" y="1606"/>
                    </a:lnTo>
                    <a:lnTo>
                      <a:pt x="1338" y="1606"/>
                    </a:lnTo>
                    <a:lnTo>
                      <a:pt x="1338" y="1607"/>
                    </a:lnTo>
                    <a:lnTo>
                      <a:pt x="1338" y="1606"/>
                    </a:lnTo>
                    <a:lnTo>
                      <a:pt x="1339" y="1606"/>
                    </a:lnTo>
                    <a:lnTo>
                      <a:pt x="1339" y="1607"/>
                    </a:lnTo>
                    <a:lnTo>
                      <a:pt x="1341" y="1607"/>
                    </a:lnTo>
                    <a:lnTo>
                      <a:pt x="1339" y="1607"/>
                    </a:lnTo>
                    <a:lnTo>
                      <a:pt x="1339" y="1609"/>
                    </a:lnTo>
                    <a:lnTo>
                      <a:pt x="1341" y="1607"/>
                    </a:lnTo>
                    <a:lnTo>
                      <a:pt x="1339" y="1606"/>
                    </a:lnTo>
                    <a:lnTo>
                      <a:pt x="1341" y="1604"/>
                    </a:lnTo>
                    <a:lnTo>
                      <a:pt x="1341" y="1602"/>
                    </a:lnTo>
                    <a:lnTo>
                      <a:pt x="1339" y="1600"/>
                    </a:lnTo>
                    <a:lnTo>
                      <a:pt x="1339" y="1599"/>
                    </a:lnTo>
                    <a:lnTo>
                      <a:pt x="1338" y="1599"/>
                    </a:lnTo>
                    <a:lnTo>
                      <a:pt x="1338" y="1597"/>
                    </a:lnTo>
                    <a:lnTo>
                      <a:pt x="1338" y="1595"/>
                    </a:lnTo>
                    <a:lnTo>
                      <a:pt x="1338" y="1594"/>
                    </a:lnTo>
                    <a:lnTo>
                      <a:pt x="1336" y="1594"/>
                    </a:lnTo>
                    <a:lnTo>
                      <a:pt x="1336" y="1592"/>
                    </a:lnTo>
                    <a:lnTo>
                      <a:pt x="1336" y="1590"/>
                    </a:lnTo>
                    <a:lnTo>
                      <a:pt x="1338" y="1590"/>
                    </a:lnTo>
                    <a:lnTo>
                      <a:pt x="1339" y="1592"/>
                    </a:lnTo>
                    <a:lnTo>
                      <a:pt x="1341" y="1592"/>
                    </a:lnTo>
                    <a:lnTo>
                      <a:pt x="1341" y="1594"/>
                    </a:lnTo>
                    <a:lnTo>
                      <a:pt x="1343" y="1594"/>
                    </a:lnTo>
                    <a:lnTo>
                      <a:pt x="1344" y="1594"/>
                    </a:lnTo>
                    <a:lnTo>
                      <a:pt x="1344" y="1595"/>
                    </a:lnTo>
                    <a:lnTo>
                      <a:pt x="1343" y="1597"/>
                    </a:lnTo>
                    <a:lnTo>
                      <a:pt x="1344" y="1597"/>
                    </a:lnTo>
                    <a:lnTo>
                      <a:pt x="1344" y="1599"/>
                    </a:lnTo>
                    <a:lnTo>
                      <a:pt x="1343" y="1600"/>
                    </a:lnTo>
                    <a:lnTo>
                      <a:pt x="1344" y="1602"/>
                    </a:lnTo>
                    <a:lnTo>
                      <a:pt x="1346" y="1602"/>
                    </a:lnTo>
                    <a:lnTo>
                      <a:pt x="1344" y="1600"/>
                    </a:lnTo>
                    <a:lnTo>
                      <a:pt x="1344" y="1599"/>
                    </a:lnTo>
                    <a:lnTo>
                      <a:pt x="1346" y="1599"/>
                    </a:lnTo>
                    <a:lnTo>
                      <a:pt x="1344" y="1597"/>
                    </a:lnTo>
                    <a:lnTo>
                      <a:pt x="1346" y="1599"/>
                    </a:lnTo>
                    <a:lnTo>
                      <a:pt x="1348" y="1600"/>
                    </a:lnTo>
                    <a:lnTo>
                      <a:pt x="1348" y="1599"/>
                    </a:lnTo>
                    <a:lnTo>
                      <a:pt x="1346" y="1599"/>
                    </a:lnTo>
                    <a:lnTo>
                      <a:pt x="1348" y="1599"/>
                    </a:lnTo>
                    <a:lnTo>
                      <a:pt x="1346" y="1597"/>
                    </a:lnTo>
                    <a:lnTo>
                      <a:pt x="1346" y="1595"/>
                    </a:lnTo>
                    <a:lnTo>
                      <a:pt x="1346" y="1594"/>
                    </a:lnTo>
                    <a:lnTo>
                      <a:pt x="1348" y="1594"/>
                    </a:lnTo>
                    <a:lnTo>
                      <a:pt x="1349" y="1594"/>
                    </a:lnTo>
                    <a:lnTo>
                      <a:pt x="1349" y="1595"/>
                    </a:lnTo>
                    <a:lnTo>
                      <a:pt x="1351" y="1595"/>
                    </a:lnTo>
                    <a:lnTo>
                      <a:pt x="1351" y="1597"/>
                    </a:lnTo>
                    <a:lnTo>
                      <a:pt x="1353" y="1597"/>
                    </a:lnTo>
                    <a:lnTo>
                      <a:pt x="1355" y="1599"/>
                    </a:lnTo>
                    <a:lnTo>
                      <a:pt x="1356" y="1599"/>
                    </a:lnTo>
                    <a:lnTo>
                      <a:pt x="1356" y="1600"/>
                    </a:lnTo>
                    <a:lnTo>
                      <a:pt x="1358" y="1600"/>
                    </a:lnTo>
                    <a:lnTo>
                      <a:pt x="1358" y="1602"/>
                    </a:lnTo>
                    <a:lnTo>
                      <a:pt x="1356" y="1602"/>
                    </a:lnTo>
                    <a:lnTo>
                      <a:pt x="1356" y="1604"/>
                    </a:lnTo>
                    <a:lnTo>
                      <a:pt x="1355" y="1606"/>
                    </a:lnTo>
                    <a:lnTo>
                      <a:pt x="1355" y="1607"/>
                    </a:lnTo>
                    <a:lnTo>
                      <a:pt x="1353" y="1607"/>
                    </a:lnTo>
                    <a:lnTo>
                      <a:pt x="1353" y="1609"/>
                    </a:lnTo>
                    <a:lnTo>
                      <a:pt x="1351" y="1609"/>
                    </a:lnTo>
                    <a:lnTo>
                      <a:pt x="1353" y="1611"/>
                    </a:lnTo>
                    <a:lnTo>
                      <a:pt x="1351" y="1611"/>
                    </a:lnTo>
                    <a:lnTo>
                      <a:pt x="1351" y="1612"/>
                    </a:lnTo>
                    <a:lnTo>
                      <a:pt x="1349" y="1612"/>
                    </a:lnTo>
                    <a:lnTo>
                      <a:pt x="1348" y="1612"/>
                    </a:lnTo>
                    <a:lnTo>
                      <a:pt x="1349" y="1614"/>
                    </a:lnTo>
                    <a:lnTo>
                      <a:pt x="1351" y="1612"/>
                    </a:lnTo>
                    <a:lnTo>
                      <a:pt x="1353" y="1612"/>
                    </a:lnTo>
                    <a:lnTo>
                      <a:pt x="1353" y="1614"/>
                    </a:lnTo>
                    <a:lnTo>
                      <a:pt x="1353" y="1616"/>
                    </a:lnTo>
                    <a:lnTo>
                      <a:pt x="1353" y="1614"/>
                    </a:lnTo>
                    <a:lnTo>
                      <a:pt x="1353" y="1612"/>
                    </a:lnTo>
                    <a:lnTo>
                      <a:pt x="1353" y="1611"/>
                    </a:lnTo>
                    <a:lnTo>
                      <a:pt x="1355" y="1611"/>
                    </a:lnTo>
                    <a:lnTo>
                      <a:pt x="1355" y="1609"/>
                    </a:lnTo>
                    <a:lnTo>
                      <a:pt x="1355" y="1607"/>
                    </a:lnTo>
                    <a:lnTo>
                      <a:pt x="1356" y="1606"/>
                    </a:lnTo>
                    <a:lnTo>
                      <a:pt x="1358" y="1606"/>
                    </a:lnTo>
                    <a:lnTo>
                      <a:pt x="1358" y="1604"/>
                    </a:lnTo>
                    <a:lnTo>
                      <a:pt x="1358" y="1606"/>
                    </a:lnTo>
                    <a:lnTo>
                      <a:pt x="1360" y="1607"/>
                    </a:lnTo>
                    <a:lnTo>
                      <a:pt x="1361" y="1607"/>
                    </a:lnTo>
                    <a:lnTo>
                      <a:pt x="1360" y="1606"/>
                    </a:lnTo>
                    <a:lnTo>
                      <a:pt x="1360" y="1604"/>
                    </a:lnTo>
                    <a:lnTo>
                      <a:pt x="1360" y="1602"/>
                    </a:lnTo>
                    <a:lnTo>
                      <a:pt x="1361" y="1600"/>
                    </a:lnTo>
                    <a:lnTo>
                      <a:pt x="1363" y="1600"/>
                    </a:lnTo>
                    <a:lnTo>
                      <a:pt x="1365" y="1600"/>
                    </a:lnTo>
                    <a:lnTo>
                      <a:pt x="1365" y="1602"/>
                    </a:lnTo>
                    <a:lnTo>
                      <a:pt x="1366" y="1602"/>
                    </a:lnTo>
                    <a:lnTo>
                      <a:pt x="1365" y="1600"/>
                    </a:lnTo>
                    <a:lnTo>
                      <a:pt x="1366" y="1600"/>
                    </a:lnTo>
                    <a:lnTo>
                      <a:pt x="1365" y="1599"/>
                    </a:lnTo>
                    <a:lnTo>
                      <a:pt x="1363" y="1599"/>
                    </a:lnTo>
                    <a:lnTo>
                      <a:pt x="1363" y="1597"/>
                    </a:lnTo>
                    <a:lnTo>
                      <a:pt x="1361" y="1597"/>
                    </a:lnTo>
                    <a:lnTo>
                      <a:pt x="1360" y="1597"/>
                    </a:lnTo>
                    <a:lnTo>
                      <a:pt x="1360" y="1595"/>
                    </a:lnTo>
                    <a:lnTo>
                      <a:pt x="1358" y="1595"/>
                    </a:lnTo>
                    <a:lnTo>
                      <a:pt x="1358" y="1594"/>
                    </a:lnTo>
                    <a:lnTo>
                      <a:pt x="1356" y="1594"/>
                    </a:lnTo>
                    <a:lnTo>
                      <a:pt x="1355" y="1592"/>
                    </a:lnTo>
                    <a:lnTo>
                      <a:pt x="1353" y="1592"/>
                    </a:lnTo>
                    <a:lnTo>
                      <a:pt x="1351" y="1592"/>
                    </a:lnTo>
                    <a:lnTo>
                      <a:pt x="1351" y="1590"/>
                    </a:lnTo>
                    <a:lnTo>
                      <a:pt x="1349" y="1590"/>
                    </a:lnTo>
                    <a:lnTo>
                      <a:pt x="1348" y="1590"/>
                    </a:lnTo>
                    <a:lnTo>
                      <a:pt x="1348" y="1589"/>
                    </a:lnTo>
                    <a:lnTo>
                      <a:pt x="1346" y="1589"/>
                    </a:lnTo>
                    <a:lnTo>
                      <a:pt x="1344" y="1587"/>
                    </a:lnTo>
                    <a:lnTo>
                      <a:pt x="1343" y="1587"/>
                    </a:lnTo>
                    <a:lnTo>
                      <a:pt x="1341" y="1587"/>
                    </a:lnTo>
                    <a:lnTo>
                      <a:pt x="1341" y="1585"/>
                    </a:lnTo>
                    <a:lnTo>
                      <a:pt x="1339" y="1585"/>
                    </a:lnTo>
                    <a:lnTo>
                      <a:pt x="1338" y="1585"/>
                    </a:lnTo>
                    <a:lnTo>
                      <a:pt x="1336" y="1583"/>
                    </a:lnTo>
                    <a:lnTo>
                      <a:pt x="1334" y="1583"/>
                    </a:lnTo>
                    <a:lnTo>
                      <a:pt x="1334" y="1582"/>
                    </a:lnTo>
                    <a:lnTo>
                      <a:pt x="1332" y="1582"/>
                    </a:lnTo>
                    <a:lnTo>
                      <a:pt x="1331" y="1580"/>
                    </a:lnTo>
                    <a:lnTo>
                      <a:pt x="1329" y="1580"/>
                    </a:lnTo>
                    <a:lnTo>
                      <a:pt x="1331" y="1580"/>
                    </a:lnTo>
                    <a:lnTo>
                      <a:pt x="1331" y="1578"/>
                    </a:lnTo>
                    <a:lnTo>
                      <a:pt x="1329" y="1578"/>
                    </a:lnTo>
                    <a:lnTo>
                      <a:pt x="1329" y="1577"/>
                    </a:lnTo>
                    <a:lnTo>
                      <a:pt x="1329" y="1575"/>
                    </a:lnTo>
                    <a:lnTo>
                      <a:pt x="1329" y="1573"/>
                    </a:lnTo>
                    <a:lnTo>
                      <a:pt x="1327" y="1573"/>
                    </a:lnTo>
                    <a:lnTo>
                      <a:pt x="1327" y="1572"/>
                    </a:lnTo>
                    <a:lnTo>
                      <a:pt x="1327" y="1570"/>
                    </a:lnTo>
                    <a:lnTo>
                      <a:pt x="1327" y="1568"/>
                    </a:lnTo>
                    <a:lnTo>
                      <a:pt x="1326" y="1568"/>
                    </a:lnTo>
                    <a:lnTo>
                      <a:pt x="1326" y="1566"/>
                    </a:lnTo>
                    <a:lnTo>
                      <a:pt x="1326" y="1565"/>
                    </a:lnTo>
                    <a:lnTo>
                      <a:pt x="1326" y="1563"/>
                    </a:lnTo>
                    <a:lnTo>
                      <a:pt x="1326" y="1561"/>
                    </a:lnTo>
                    <a:lnTo>
                      <a:pt x="1326" y="1560"/>
                    </a:lnTo>
                    <a:lnTo>
                      <a:pt x="1327" y="1560"/>
                    </a:lnTo>
                    <a:lnTo>
                      <a:pt x="1329" y="1558"/>
                    </a:lnTo>
                    <a:lnTo>
                      <a:pt x="1331" y="1558"/>
                    </a:lnTo>
                    <a:lnTo>
                      <a:pt x="1332" y="1558"/>
                    </a:lnTo>
                    <a:lnTo>
                      <a:pt x="1334" y="1556"/>
                    </a:lnTo>
                    <a:lnTo>
                      <a:pt x="1334" y="1555"/>
                    </a:lnTo>
                    <a:lnTo>
                      <a:pt x="1336" y="1555"/>
                    </a:lnTo>
                    <a:lnTo>
                      <a:pt x="1338" y="1555"/>
                    </a:lnTo>
                    <a:lnTo>
                      <a:pt x="1339" y="1555"/>
                    </a:lnTo>
                    <a:lnTo>
                      <a:pt x="1341" y="1555"/>
                    </a:lnTo>
                    <a:lnTo>
                      <a:pt x="1343" y="1555"/>
                    </a:lnTo>
                    <a:lnTo>
                      <a:pt x="1343" y="1553"/>
                    </a:lnTo>
                    <a:lnTo>
                      <a:pt x="1344" y="1553"/>
                    </a:lnTo>
                    <a:lnTo>
                      <a:pt x="1344" y="1551"/>
                    </a:lnTo>
                    <a:lnTo>
                      <a:pt x="1346" y="1551"/>
                    </a:lnTo>
                    <a:lnTo>
                      <a:pt x="1348" y="1549"/>
                    </a:lnTo>
                    <a:lnTo>
                      <a:pt x="1349" y="1549"/>
                    </a:lnTo>
                    <a:lnTo>
                      <a:pt x="1349" y="1548"/>
                    </a:lnTo>
                    <a:lnTo>
                      <a:pt x="1351" y="1548"/>
                    </a:lnTo>
                    <a:lnTo>
                      <a:pt x="1353" y="1548"/>
                    </a:lnTo>
                    <a:lnTo>
                      <a:pt x="1353" y="1546"/>
                    </a:lnTo>
                    <a:lnTo>
                      <a:pt x="1355" y="1546"/>
                    </a:lnTo>
                    <a:lnTo>
                      <a:pt x="1355" y="1544"/>
                    </a:lnTo>
                    <a:lnTo>
                      <a:pt x="1355" y="1543"/>
                    </a:lnTo>
                    <a:lnTo>
                      <a:pt x="1355" y="1541"/>
                    </a:lnTo>
                    <a:lnTo>
                      <a:pt x="1355" y="1539"/>
                    </a:lnTo>
                    <a:lnTo>
                      <a:pt x="1353" y="1539"/>
                    </a:lnTo>
                    <a:lnTo>
                      <a:pt x="1353" y="1538"/>
                    </a:lnTo>
                    <a:lnTo>
                      <a:pt x="1351" y="1538"/>
                    </a:lnTo>
                    <a:lnTo>
                      <a:pt x="1349" y="1538"/>
                    </a:lnTo>
                    <a:lnTo>
                      <a:pt x="1348" y="1538"/>
                    </a:lnTo>
                    <a:lnTo>
                      <a:pt x="1346" y="1538"/>
                    </a:lnTo>
                    <a:lnTo>
                      <a:pt x="1344" y="1538"/>
                    </a:lnTo>
                    <a:lnTo>
                      <a:pt x="1343" y="1538"/>
                    </a:lnTo>
                    <a:lnTo>
                      <a:pt x="1341" y="1538"/>
                    </a:lnTo>
                    <a:lnTo>
                      <a:pt x="1339" y="1538"/>
                    </a:lnTo>
                    <a:lnTo>
                      <a:pt x="1338" y="1539"/>
                    </a:lnTo>
                    <a:lnTo>
                      <a:pt x="1336" y="1539"/>
                    </a:lnTo>
                    <a:lnTo>
                      <a:pt x="1334" y="1539"/>
                    </a:lnTo>
                    <a:lnTo>
                      <a:pt x="1332" y="1539"/>
                    </a:lnTo>
                    <a:lnTo>
                      <a:pt x="1331" y="1541"/>
                    </a:lnTo>
                    <a:lnTo>
                      <a:pt x="1329" y="1541"/>
                    </a:lnTo>
                    <a:lnTo>
                      <a:pt x="1329" y="1543"/>
                    </a:lnTo>
                    <a:lnTo>
                      <a:pt x="1327" y="1543"/>
                    </a:lnTo>
                    <a:lnTo>
                      <a:pt x="1326" y="1543"/>
                    </a:lnTo>
                    <a:lnTo>
                      <a:pt x="1326" y="1544"/>
                    </a:lnTo>
                    <a:lnTo>
                      <a:pt x="1324" y="1544"/>
                    </a:lnTo>
                    <a:lnTo>
                      <a:pt x="1322" y="1544"/>
                    </a:lnTo>
                    <a:lnTo>
                      <a:pt x="1322" y="1543"/>
                    </a:lnTo>
                    <a:lnTo>
                      <a:pt x="1321" y="1543"/>
                    </a:lnTo>
                    <a:lnTo>
                      <a:pt x="1321" y="1541"/>
                    </a:lnTo>
                    <a:lnTo>
                      <a:pt x="1321" y="1539"/>
                    </a:lnTo>
                    <a:lnTo>
                      <a:pt x="1319" y="1539"/>
                    </a:lnTo>
                    <a:lnTo>
                      <a:pt x="1317" y="1539"/>
                    </a:lnTo>
                    <a:lnTo>
                      <a:pt x="1315" y="1539"/>
                    </a:lnTo>
                    <a:lnTo>
                      <a:pt x="1315" y="1538"/>
                    </a:lnTo>
                    <a:lnTo>
                      <a:pt x="1315" y="1536"/>
                    </a:lnTo>
                    <a:lnTo>
                      <a:pt x="1317" y="1534"/>
                    </a:lnTo>
                    <a:lnTo>
                      <a:pt x="1319" y="1534"/>
                    </a:lnTo>
                    <a:lnTo>
                      <a:pt x="1317" y="1534"/>
                    </a:lnTo>
                    <a:lnTo>
                      <a:pt x="1315" y="1536"/>
                    </a:lnTo>
                    <a:lnTo>
                      <a:pt x="1315" y="1534"/>
                    </a:lnTo>
                    <a:lnTo>
                      <a:pt x="1315" y="1532"/>
                    </a:lnTo>
                    <a:lnTo>
                      <a:pt x="1315" y="1531"/>
                    </a:lnTo>
                    <a:lnTo>
                      <a:pt x="1315" y="1529"/>
                    </a:lnTo>
                    <a:lnTo>
                      <a:pt x="1317" y="1527"/>
                    </a:lnTo>
                    <a:lnTo>
                      <a:pt x="1317" y="1526"/>
                    </a:lnTo>
                    <a:lnTo>
                      <a:pt x="1317" y="1524"/>
                    </a:lnTo>
                    <a:lnTo>
                      <a:pt x="1315" y="1524"/>
                    </a:lnTo>
                    <a:lnTo>
                      <a:pt x="1317" y="1522"/>
                    </a:lnTo>
                    <a:lnTo>
                      <a:pt x="1317" y="1521"/>
                    </a:lnTo>
                    <a:lnTo>
                      <a:pt x="1317" y="1519"/>
                    </a:lnTo>
                    <a:lnTo>
                      <a:pt x="1317" y="1517"/>
                    </a:lnTo>
                    <a:lnTo>
                      <a:pt x="1319" y="1517"/>
                    </a:lnTo>
                    <a:lnTo>
                      <a:pt x="1319" y="1515"/>
                    </a:lnTo>
                    <a:lnTo>
                      <a:pt x="1321" y="1515"/>
                    </a:lnTo>
                    <a:lnTo>
                      <a:pt x="1321" y="1517"/>
                    </a:lnTo>
                    <a:lnTo>
                      <a:pt x="1319" y="1517"/>
                    </a:lnTo>
                    <a:lnTo>
                      <a:pt x="1321" y="1519"/>
                    </a:lnTo>
                    <a:lnTo>
                      <a:pt x="1321" y="1521"/>
                    </a:lnTo>
                    <a:lnTo>
                      <a:pt x="1319" y="1521"/>
                    </a:lnTo>
                    <a:lnTo>
                      <a:pt x="1321" y="1521"/>
                    </a:lnTo>
                    <a:lnTo>
                      <a:pt x="1322" y="1521"/>
                    </a:lnTo>
                    <a:lnTo>
                      <a:pt x="1324" y="1521"/>
                    </a:lnTo>
                    <a:lnTo>
                      <a:pt x="1324" y="1519"/>
                    </a:lnTo>
                    <a:lnTo>
                      <a:pt x="1326" y="1519"/>
                    </a:lnTo>
                    <a:lnTo>
                      <a:pt x="1327" y="1519"/>
                    </a:lnTo>
                    <a:lnTo>
                      <a:pt x="1327" y="1517"/>
                    </a:lnTo>
                    <a:lnTo>
                      <a:pt x="1327" y="1515"/>
                    </a:lnTo>
                    <a:lnTo>
                      <a:pt x="1329" y="1514"/>
                    </a:lnTo>
                    <a:lnTo>
                      <a:pt x="1327" y="1512"/>
                    </a:lnTo>
                    <a:lnTo>
                      <a:pt x="1327" y="1510"/>
                    </a:lnTo>
                    <a:lnTo>
                      <a:pt x="1326" y="1512"/>
                    </a:lnTo>
                    <a:lnTo>
                      <a:pt x="1326" y="1510"/>
                    </a:lnTo>
                    <a:lnTo>
                      <a:pt x="1324" y="1510"/>
                    </a:lnTo>
                    <a:lnTo>
                      <a:pt x="1322" y="1510"/>
                    </a:lnTo>
                    <a:lnTo>
                      <a:pt x="1322" y="1512"/>
                    </a:lnTo>
                    <a:lnTo>
                      <a:pt x="1321" y="1512"/>
                    </a:lnTo>
                    <a:lnTo>
                      <a:pt x="1322" y="1510"/>
                    </a:lnTo>
                    <a:lnTo>
                      <a:pt x="1322" y="1509"/>
                    </a:lnTo>
                    <a:lnTo>
                      <a:pt x="1322" y="1507"/>
                    </a:lnTo>
                    <a:lnTo>
                      <a:pt x="1321" y="1505"/>
                    </a:lnTo>
                    <a:lnTo>
                      <a:pt x="1319" y="1505"/>
                    </a:lnTo>
                    <a:lnTo>
                      <a:pt x="1317" y="1505"/>
                    </a:lnTo>
                    <a:lnTo>
                      <a:pt x="1317" y="1504"/>
                    </a:lnTo>
                    <a:lnTo>
                      <a:pt x="1319" y="1504"/>
                    </a:lnTo>
                    <a:lnTo>
                      <a:pt x="1321" y="1504"/>
                    </a:lnTo>
                    <a:lnTo>
                      <a:pt x="1322" y="1504"/>
                    </a:lnTo>
                    <a:lnTo>
                      <a:pt x="1324" y="1504"/>
                    </a:lnTo>
                    <a:lnTo>
                      <a:pt x="1326" y="1502"/>
                    </a:lnTo>
                    <a:lnTo>
                      <a:pt x="1327" y="1502"/>
                    </a:lnTo>
                    <a:lnTo>
                      <a:pt x="1327" y="1504"/>
                    </a:lnTo>
                    <a:lnTo>
                      <a:pt x="1329" y="1505"/>
                    </a:lnTo>
                    <a:lnTo>
                      <a:pt x="1329" y="1507"/>
                    </a:lnTo>
                    <a:lnTo>
                      <a:pt x="1331" y="1509"/>
                    </a:lnTo>
                    <a:lnTo>
                      <a:pt x="1332" y="1509"/>
                    </a:lnTo>
                    <a:lnTo>
                      <a:pt x="1334" y="1509"/>
                    </a:lnTo>
                    <a:lnTo>
                      <a:pt x="1336" y="1507"/>
                    </a:lnTo>
                    <a:lnTo>
                      <a:pt x="1336" y="1505"/>
                    </a:lnTo>
                    <a:lnTo>
                      <a:pt x="1338" y="1505"/>
                    </a:lnTo>
                    <a:lnTo>
                      <a:pt x="1339" y="1505"/>
                    </a:lnTo>
                    <a:lnTo>
                      <a:pt x="1341" y="1504"/>
                    </a:lnTo>
                    <a:lnTo>
                      <a:pt x="1343" y="1502"/>
                    </a:lnTo>
                    <a:lnTo>
                      <a:pt x="1343" y="1500"/>
                    </a:lnTo>
                    <a:lnTo>
                      <a:pt x="1344" y="1498"/>
                    </a:lnTo>
                    <a:lnTo>
                      <a:pt x="1344" y="1497"/>
                    </a:lnTo>
                    <a:lnTo>
                      <a:pt x="1344" y="1495"/>
                    </a:lnTo>
                    <a:lnTo>
                      <a:pt x="1344" y="1493"/>
                    </a:lnTo>
                    <a:lnTo>
                      <a:pt x="1344" y="1492"/>
                    </a:lnTo>
                    <a:lnTo>
                      <a:pt x="1346" y="1492"/>
                    </a:lnTo>
                    <a:lnTo>
                      <a:pt x="1346" y="1490"/>
                    </a:lnTo>
                    <a:lnTo>
                      <a:pt x="1348" y="1490"/>
                    </a:lnTo>
                    <a:lnTo>
                      <a:pt x="1349" y="1488"/>
                    </a:lnTo>
                    <a:lnTo>
                      <a:pt x="1348" y="1488"/>
                    </a:lnTo>
                    <a:lnTo>
                      <a:pt x="1349" y="1488"/>
                    </a:lnTo>
                    <a:lnTo>
                      <a:pt x="1348" y="1488"/>
                    </a:lnTo>
                    <a:lnTo>
                      <a:pt x="1349" y="1488"/>
                    </a:lnTo>
                    <a:lnTo>
                      <a:pt x="1351" y="1487"/>
                    </a:lnTo>
                    <a:lnTo>
                      <a:pt x="1353" y="1488"/>
                    </a:lnTo>
                    <a:lnTo>
                      <a:pt x="1353" y="1490"/>
                    </a:lnTo>
                    <a:lnTo>
                      <a:pt x="1355" y="1492"/>
                    </a:lnTo>
                    <a:lnTo>
                      <a:pt x="1355" y="1493"/>
                    </a:lnTo>
                    <a:lnTo>
                      <a:pt x="1355" y="1495"/>
                    </a:lnTo>
                    <a:lnTo>
                      <a:pt x="1356" y="1497"/>
                    </a:lnTo>
                    <a:lnTo>
                      <a:pt x="1356" y="1498"/>
                    </a:lnTo>
                    <a:lnTo>
                      <a:pt x="1358" y="1498"/>
                    </a:lnTo>
                    <a:lnTo>
                      <a:pt x="1360" y="1500"/>
                    </a:lnTo>
                    <a:lnTo>
                      <a:pt x="1361" y="1500"/>
                    </a:lnTo>
                    <a:lnTo>
                      <a:pt x="1363" y="1500"/>
                    </a:lnTo>
                    <a:lnTo>
                      <a:pt x="1363" y="1498"/>
                    </a:lnTo>
                    <a:lnTo>
                      <a:pt x="1365" y="1498"/>
                    </a:lnTo>
                    <a:lnTo>
                      <a:pt x="1366" y="1498"/>
                    </a:lnTo>
                    <a:lnTo>
                      <a:pt x="1368" y="1497"/>
                    </a:lnTo>
                    <a:lnTo>
                      <a:pt x="1370" y="1497"/>
                    </a:lnTo>
                    <a:lnTo>
                      <a:pt x="1372" y="1497"/>
                    </a:lnTo>
                    <a:lnTo>
                      <a:pt x="1372" y="1495"/>
                    </a:lnTo>
                    <a:lnTo>
                      <a:pt x="1373" y="1495"/>
                    </a:lnTo>
                    <a:lnTo>
                      <a:pt x="1373" y="1493"/>
                    </a:lnTo>
                    <a:lnTo>
                      <a:pt x="1373" y="1492"/>
                    </a:lnTo>
                    <a:lnTo>
                      <a:pt x="1373" y="1493"/>
                    </a:lnTo>
                    <a:lnTo>
                      <a:pt x="1375" y="1493"/>
                    </a:lnTo>
                    <a:lnTo>
                      <a:pt x="1375" y="1495"/>
                    </a:lnTo>
                    <a:lnTo>
                      <a:pt x="1377" y="1497"/>
                    </a:lnTo>
                    <a:lnTo>
                      <a:pt x="1378" y="1497"/>
                    </a:lnTo>
                    <a:lnTo>
                      <a:pt x="1378" y="1498"/>
                    </a:lnTo>
                    <a:close/>
                    <a:moveTo>
                      <a:pt x="1200" y="954"/>
                    </a:moveTo>
                    <a:lnTo>
                      <a:pt x="1200" y="956"/>
                    </a:lnTo>
                    <a:lnTo>
                      <a:pt x="1202" y="957"/>
                    </a:lnTo>
                    <a:lnTo>
                      <a:pt x="1200" y="957"/>
                    </a:lnTo>
                    <a:lnTo>
                      <a:pt x="1198" y="957"/>
                    </a:lnTo>
                    <a:lnTo>
                      <a:pt x="1198" y="956"/>
                    </a:lnTo>
                    <a:lnTo>
                      <a:pt x="1196" y="957"/>
                    </a:lnTo>
                    <a:lnTo>
                      <a:pt x="1196" y="956"/>
                    </a:lnTo>
                    <a:lnTo>
                      <a:pt x="1196" y="957"/>
                    </a:lnTo>
                    <a:lnTo>
                      <a:pt x="1198" y="957"/>
                    </a:lnTo>
                    <a:lnTo>
                      <a:pt x="1198" y="959"/>
                    </a:lnTo>
                    <a:lnTo>
                      <a:pt x="1200" y="959"/>
                    </a:lnTo>
                    <a:lnTo>
                      <a:pt x="1202" y="959"/>
                    </a:lnTo>
                    <a:lnTo>
                      <a:pt x="1202" y="957"/>
                    </a:lnTo>
                    <a:lnTo>
                      <a:pt x="1203" y="957"/>
                    </a:lnTo>
                    <a:lnTo>
                      <a:pt x="1203" y="959"/>
                    </a:lnTo>
                    <a:lnTo>
                      <a:pt x="1205" y="961"/>
                    </a:lnTo>
                    <a:lnTo>
                      <a:pt x="1203" y="963"/>
                    </a:lnTo>
                    <a:lnTo>
                      <a:pt x="1205" y="963"/>
                    </a:lnTo>
                    <a:lnTo>
                      <a:pt x="1205" y="961"/>
                    </a:lnTo>
                    <a:lnTo>
                      <a:pt x="1205" y="963"/>
                    </a:lnTo>
                    <a:lnTo>
                      <a:pt x="1205" y="961"/>
                    </a:lnTo>
                    <a:lnTo>
                      <a:pt x="1207" y="961"/>
                    </a:lnTo>
                    <a:lnTo>
                      <a:pt x="1205" y="961"/>
                    </a:lnTo>
                    <a:lnTo>
                      <a:pt x="1205" y="959"/>
                    </a:lnTo>
                    <a:lnTo>
                      <a:pt x="1203" y="959"/>
                    </a:lnTo>
                    <a:lnTo>
                      <a:pt x="1205" y="959"/>
                    </a:lnTo>
                    <a:lnTo>
                      <a:pt x="1205" y="957"/>
                    </a:lnTo>
                    <a:lnTo>
                      <a:pt x="1207" y="957"/>
                    </a:lnTo>
                    <a:lnTo>
                      <a:pt x="1207" y="956"/>
                    </a:lnTo>
                    <a:lnTo>
                      <a:pt x="1208" y="956"/>
                    </a:lnTo>
                    <a:lnTo>
                      <a:pt x="1208" y="957"/>
                    </a:lnTo>
                    <a:lnTo>
                      <a:pt x="1210" y="956"/>
                    </a:lnTo>
                    <a:lnTo>
                      <a:pt x="1212" y="956"/>
                    </a:lnTo>
                    <a:lnTo>
                      <a:pt x="1212" y="957"/>
                    </a:lnTo>
                    <a:lnTo>
                      <a:pt x="1213" y="957"/>
                    </a:lnTo>
                    <a:lnTo>
                      <a:pt x="1213" y="959"/>
                    </a:lnTo>
                    <a:lnTo>
                      <a:pt x="1212" y="959"/>
                    </a:lnTo>
                    <a:lnTo>
                      <a:pt x="1213" y="959"/>
                    </a:lnTo>
                    <a:lnTo>
                      <a:pt x="1213" y="961"/>
                    </a:lnTo>
                    <a:lnTo>
                      <a:pt x="1213" y="959"/>
                    </a:lnTo>
                    <a:lnTo>
                      <a:pt x="1212" y="959"/>
                    </a:lnTo>
                    <a:lnTo>
                      <a:pt x="1212" y="961"/>
                    </a:lnTo>
                    <a:lnTo>
                      <a:pt x="1213" y="961"/>
                    </a:lnTo>
                    <a:lnTo>
                      <a:pt x="1212" y="961"/>
                    </a:lnTo>
                    <a:lnTo>
                      <a:pt x="1212" y="963"/>
                    </a:lnTo>
                    <a:lnTo>
                      <a:pt x="1213" y="963"/>
                    </a:lnTo>
                    <a:lnTo>
                      <a:pt x="1213" y="964"/>
                    </a:lnTo>
                    <a:lnTo>
                      <a:pt x="1213" y="966"/>
                    </a:lnTo>
                    <a:lnTo>
                      <a:pt x="1215" y="966"/>
                    </a:lnTo>
                    <a:lnTo>
                      <a:pt x="1215" y="968"/>
                    </a:lnTo>
                    <a:lnTo>
                      <a:pt x="1215" y="969"/>
                    </a:lnTo>
                    <a:lnTo>
                      <a:pt x="1215" y="971"/>
                    </a:lnTo>
                    <a:lnTo>
                      <a:pt x="1213" y="969"/>
                    </a:lnTo>
                    <a:lnTo>
                      <a:pt x="1213" y="971"/>
                    </a:lnTo>
                    <a:lnTo>
                      <a:pt x="1215" y="973"/>
                    </a:lnTo>
                    <a:lnTo>
                      <a:pt x="1217" y="975"/>
                    </a:lnTo>
                    <a:lnTo>
                      <a:pt x="1219" y="975"/>
                    </a:lnTo>
                    <a:lnTo>
                      <a:pt x="1219" y="976"/>
                    </a:lnTo>
                    <a:lnTo>
                      <a:pt x="1217" y="976"/>
                    </a:lnTo>
                    <a:lnTo>
                      <a:pt x="1219" y="976"/>
                    </a:lnTo>
                    <a:lnTo>
                      <a:pt x="1219" y="978"/>
                    </a:lnTo>
                    <a:lnTo>
                      <a:pt x="1219" y="980"/>
                    </a:lnTo>
                    <a:lnTo>
                      <a:pt x="1217" y="980"/>
                    </a:lnTo>
                    <a:lnTo>
                      <a:pt x="1215" y="980"/>
                    </a:lnTo>
                    <a:lnTo>
                      <a:pt x="1215" y="978"/>
                    </a:lnTo>
                    <a:lnTo>
                      <a:pt x="1215" y="980"/>
                    </a:lnTo>
                    <a:lnTo>
                      <a:pt x="1213" y="980"/>
                    </a:lnTo>
                    <a:lnTo>
                      <a:pt x="1212" y="980"/>
                    </a:lnTo>
                    <a:lnTo>
                      <a:pt x="1210" y="981"/>
                    </a:lnTo>
                    <a:lnTo>
                      <a:pt x="1208" y="981"/>
                    </a:lnTo>
                    <a:lnTo>
                      <a:pt x="1207" y="983"/>
                    </a:lnTo>
                    <a:lnTo>
                      <a:pt x="1208" y="983"/>
                    </a:lnTo>
                    <a:lnTo>
                      <a:pt x="1208" y="985"/>
                    </a:lnTo>
                    <a:lnTo>
                      <a:pt x="1208" y="986"/>
                    </a:lnTo>
                    <a:lnTo>
                      <a:pt x="1207" y="986"/>
                    </a:lnTo>
                    <a:lnTo>
                      <a:pt x="1208" y="988"/>
                    </a:lnTo>
                    <a:lnTo>
                      <a:pt x="1210" y="988"/>
                    </a:lnTo>
                    <a:lnTo>
                      <a:pt x="1210" y="990"/>
                    </a:lnTo>
                    <a:lnTo>
                      <a:pt x="1208" y="988"/>
                    </a:lnTo>
                    <a:lnTo>
                      <a:pt x="1208" y="990"/>
                    </a:lnTo>
                    <a:lnTo>
                      <a:pt x="1207" y="990"/>
                    </a:lnTo>
                    <a:lnTo>
                      <a:pt x="1205" y="990"/>
                    </a:lnTo>
                    <a:lnTo>
                      <a:pt x="1205" y="988"/>
                    </a:lnTo>
                    <a:lnTo>
                      <a:pt x="1203" y="988"/>
                    </a:lnTo>
                    <a:lnTo>
                      <a:pt x="1205" y="988"/>
                    </a:lnTo>
                    <a:lnTo>
                      <a:pt x="1205" y="986"/>
                    </a:lnTo>
                    <a:lnTo>
                      <a:pt x="1205" y="985"/>
                    </a:lnTo>
                    <a:lnTo>
                      <a:pt x="1205" y="986"/>
                    </a:lnTo>
                    <a:lnTo>
                      <a:pt x="1203" y="986"/>
                    </a:lnTo>
                    <a:lnTo>
                      <a:pt x="1203" y="988"/>
                    </a:lnTo>
                    <a:lnTo>
                      <a:pt x="1203" y="990"/>
                    </a:lnTo>
                    <a:lnTo>
                      <a:pt x="1205" y="990"/>
                    </a:lnTo>
                    <a:lnTo>
                      <a:pt x="1205" y="992"/>
                    </a:lnTo>
                    <a:lnTo>
                      <a:pt x="1203" y="992"/>
                    </a:lnTo>
                    <a:lnTo>
                      <a:pt x="1203" y="993"/>
                    </a:lnTo>
                    <a:lnTo>
                      <a:pt x="1205" y="993"/>
                    </a:lnTo>
                    <a:lnTo>
                      <a:pt x="1205" y="995"/>
                    </a:lnTo>
                    <a:lnTo>
                      <a:pt x="1207" y="995"/>
                    </a:lnTo>
                    <a:lnTo>
                      <a:pt x="1208" y="995"/>
                    </a:lnTo>
                    <a:lnTo>
                      <a:pt x="1207" y="995"/>
                    </a:lnTo>
                    <a:lnTo>
                      <a:pt x="1207" y="997"/>
                    </a:lnTo>
                    <a:lnTo>
                      <a:pt x="1208" y="997"/>
                    </a:lnTo>
                    <a:lnTo>
                      <a:pt x="1208" y="998"/>
                    </a:lnTo>
                    <a:lnTo>
                      <a:pt x="1210" y="998"/>
                    </a:lnTo>
                    <a:lnTo>
                      <a:pt x="1210" y="1000"/>
                    </a:lnTo>
                    <a:lnTo>
                      <a:pt x="1212" y="998"/>
                    </a:lnTo>
                    <a:lnTo>
                      <a:pt x="1212" y="1000"/>
                    </a:lnTo>
                    <a:lnTo>
                      <a:pt x="1213" y="1000"/>
                    </a:lnTo>
                    <a:lnTo>
                      <a:pt x="1213" y="1002"/>
                    </a:lnTo>
                    <a:lnTo>
                      <a:pt x="1213" y="1003"/>
                    </a:lnTo>
                    <a:lnTo>
                      <a:pt x="1215" y="1005"/>
                    </a:lnTo>
                    <a:lnTo>
                      <a:pt x="1213" y="1005"/>
                    </a:lnTo>
                    <a:lnTo>
                      <a:pt x="1213" y="1007"/>
                    </a:lnTo>
                    <a:lnTo>
                      <a:pt x="1213" y="1005"/>
                    </a:lnTo>
                    <a:lnTo>
                      <a:pt x="1213" y="1003"/>
                    </a:lnTo>
                    <a:lnTo>
                      <a:pt x="1213" y="1005"/>
                    </a:lnTo>
                    <a:lnTo>
                      <a:pt x="1212" y="1005"/>
                    </a:lnTo>
                    <a:lnTo>
                      <a:pt x="1210" y="1005"/>
                    </a:lnTo>
                    <a:lnTo>
                      <a:pt x="1210" y="1003"/>
                    </a:lnTo>
                    <a:lnTo>
                      <a:pt x="1210" y="1002"/>
                    </a:lnTo>
                    <a:lnTo>
                      <a:pt x="1208" y="1002"/>
                    </a:lnTo>
                    <a:lnTo>
                      <a:pt x="1210" y="1003"/>
                    </a:lnTo>
                    <a:lnTo>
                      <a:pt x="1208" y="1003"/>
                    </a:lnTo>
                    <a:lnTo>
                      <a:pt x="1210" y="1003"/>
                    </a:lnTo>
                    <a:lnTo>
                      <a:pt x="1210" y="1005"/>
                    </a:lnTo>
                    <a:lnTo>
                      <a:pt x="1208" y="1005"/>
                    </a:lnTo>
                    <a:lnTo>
                      <a:pt x="1208" y="1003"/>
                    </a:lnTo>
                    <a:lnTo>
                      <a:pt x="1207" y="1003"/>
                    </a:lnTo>
                    <a:lnTo>
                      <a:pt x="1205" y="1003"/>
                    </a:lnTo>
                    <a:lnTo>
                      <a:pt x="1205" y="1005"/>
                    </a:lnTo>
                    <a:lnTo>
                      <a:pt x="1207" y="1005"/>
                    </a:lnTo>
                    <a:lnTo>
                      <a:pt x="1208" y="1005"/>
                    </a:lnTo>
                    <a:lnTo>
                      <a:pt x="1208" y="1007"/>
                    </a:lnTo>
                    <a:lnTo>
                      <a:pt x="1208" y="1009"/>
                    </a:lnTo>
                    <a:lnTo>
                      <a:pt x="1210" y="1009"/>
                    </a:lnTo>
                    <a:lnTo>
                      <a:pt x="1212" y="1009"/>
                    </a:lnTo>
                    <a:lnTo>
                      <a:pt x="1212" y="1010"/>
                    </a:lnTo>
                    <a:lnTo>
                      <a:pt x="1212" y="1012"/>
                    </a:lnTo>
                    <a:lnTo>
                      <a:pt x="1213" y="1014"/>
                    </a:lnTo>
                    <a:lnTo>
                      <a:pt x="1212" y="1014"/>
                    </a:lnTo>
                    <a:lnTo>
                      <a:pt x="1212" y="1012"/>
                    </a:lnTo>
                    <a:lnTo>
                      <a:pt x="1210" y="1012"/>
                    </a:lnTo>
                    <a:lnTo>
                      <a:pt x="1208" y="1012"/>
                    </a:lnTo>
                    <a:lnTo>
                      <a:pt x="1208" y="1014"/>
                    </a:lnTo>
                    <a:lnTo>
                      <a:pt x="1210" y="1014"/>
                    </a:lnTo>
                    <a:lnTo>
                      <a:pt x="1212" y="1014"/>
                    </a:lnTo>
                    <a:lnTo>
                      <a:pt x="1213" y="1014"/>
                    </a:lnTo>
                    <a:lnTo>
                      <a:pt x="1213" y="1015"/>
                    </a:lnTo>
                    <a:lnTo>
                      <a:pt x="1213" y="1017"/>
                    </a:lnTo>
                    <a:lnTo>
                      <a:pt x="1212" y="1015"/>
                    </a:lnTo>
                    <a:lnTo>
                      <a:pt x="1210" y="1015"/>
                    </a:lnTo>
                    <a:lnTo>
                      <a:pt x="1208" y="1015"/>
                    </a:lnTo>
                    <a:lnTo>
                      <a:pt x="1208" y="1017"/>
                    </a:lnTo>
                    <a:lnTo>
                      <a:pt x="1207" y="1017"/>
                    </a:lnTo>
                    <a:lnTo>
                      <a:pt x="1207" y="1015"/>
                    </a:lnTo>
                    <a:lnTo>
                      <a:pt x="1205" y="1015"/>
                    </a:lnTo>
                    <a:lnTo>
                      <a:pt x="1205" y="1017"/>
                    </a:lnTo>
                    <a:lnTo>
                      <a:pt x="1205" y="1019"/>
                    </a:lnTo>
                    <a:lnTo>
                      <a:pt x="1205" y="1020"/>
                    </a:lnTo>
                    <a:lnTo>
                      <a:pt x="1205" y="1022"/>
                    </a:lnTo>
                    <a:lnTo>
                      <a:pt x="1207" y="1022"/>
                    </a:lnTo>
                    <a:lnTo>
                      <a:pt x="1207" y="1024"/>
                    </a:lnTo>
                    <a:lnTo>
                      <a:pt x="1208" y="1024"/>
                    </a:lnTo>
                    <a:lnTo>
                      <a:pt x="1208" y="1026"/>
                    </a:lnTo>
                    <a:lnTo>
                      <a:pt x="1207" y="1026"/>
                    </a:lnTo>
                    <a:lnTo>
                      <a:pt x="1205" y="1026"/>
                    </a:lnTo>
                    <a:lnTo>
                      <a:pt x="1203" y="1026"/>
                    </a:lnTo>
                    <a:lnTo>
                      <a:pt x="1203" y="1024"/>
                    </a:lnTo>
                    <a:lnTo>
                      <a:pt x="1202" y="1024"/>
                    </a:lnTo>
                    <a:lnTo>
                      <a:pt x="1200" y="1024"/>
                    </a:lnTo>
                    <a:lnTo>
                      <a:pt x="1202" y="1024"/>
                    </a:lnTo>
                    <a:lnTo>
                      <a:pt x="1203" y="1026"/>
                    </a:lnTo>
                    <a:lnTo>
                      <a:pt x="1203" y="1027"/>
                    </a:lnTo>
                    <a:lnTo>
                      <a:pt x="1203" y="1029"/>
                    </a:lnTo>
                    <a:lnTo>
                      <a:pt x="1202" y="1029"/>
                    </a:lnTo>
                    <a:lnTo>
                      <a:pt x="1202" y="1027"/>
                    </a:lnTo>
                    <a:lnTo>
                      <a:pt x="1203" y="1029"/>
                    </a:lnTo>
                    <a:lnTo>
                      <a:pt x="1202" y="1031"/>
                    </a:lnTo>
                    <a:lnTo>
                      <a:pt x="1200" y="1031"/>
                    </a:lnTo>
                    <a:lnTo>
                      <a:pt x="1200" y="1029"/>
                    </a:lnTo>
                    <a:lnTo>
                      <a:pt x="1198" y="1027"/>
                    </a:lnTo>
                    <a:lnTo>
                      <a:pt x="1196" y="1027"/>
                    </a:lnTo>
                    <a:lnTo>
                      <a:pt x="1196" y="1029"/>
                    </a:lnTo>
                    <a:lnTo>
                      <a:pt x="1196" y="1027"/>
                    </a:lnTo>
                    <a:lnTo>
                      <a:pt x="1195" y="1027"/>
                    </a:lnTo>
                    <a:lnTo>
                      <a:pt x="1195" y="1026"/>
                    </a:lnTo>
                    <a:lnTo>
                      <a:pt x="1193" y="1026"/>
                    </a:lnTo>
                    <a:lnTo>
                      <a:pt x="1193" y="1027"/>
                    </a:lnTo>
                    <a:lnTo>
                      <a:pt x="1195" y="1027"/>
                    </a:lnTo>
                    <a:lnTo>
                      <a:pt x="1193" y="1027"/>
                    </a:lnTo>
                    <a:lnTo>
                      <a:pt x="1193" y="1029"/>
                    </a:lnTo>
                    <a:lnTo>
                      <a:pt x="1191" y="1027"/>
                    </a:lnTo>
                    <a:lnTo>
                      <a:pt x="1193" y="1027"/>
                    </a:lnTo>
                    <a:lnTo>
                      <a:pt x="1191" y="1026"/>
                    </a:lnTo>
                    <a:lnTo>
                      <a:pt x="1191" y="1024"/>
                    </a:lnTo>
                    <a:lnTo>
                      <a:pt x="1191" y="1026"/>
                    </a:lnTo>
                    <a:lnTo>
                      <a:pt x="1191" y="1027"/>
                    </a:lnTo>
                    <a:lnTo>
                      <a:pt x="1190" y="1026"/>
                    </a:lnTo>
                    <a:lnTo>
                      <a:pt x="1190" y="1027"/>
                    </a:lnTo>
                    <a:lnTo>
                      <a:pt x="1188" y="1026"/>
                    </a:lnTo>
                    <a:lnTo>
                      <a:pt x="1186" y="1026"/>
                    </a:lnTo>
                    <a:lnTo>
                      <a:pt x="1186" y="1024"/>
                    </a:lnTo>
                    <a:lnTo>
                      <a:pt x="1185" y="1024"/>
                    </a:lnTo>
                    <a:lnTo>
                      <a:pt x="1183" y="1024"/>
                    </a:lnTo>
                    <a:lnTo>
                      <a:pt x="1183" y="1022"/>
                    </a:lnTo>
                    <a:lnTo>
                      <a:pt x="1183" y="1020"/>
                    </a:lnTo>
                    <a:lnTo>
                      <a:pt x="1185" y="1019"/>
                    </a:lnTo>
                    <a:lnTo>
                      <a:pt x="1185" y="1017"/>
                    </a:lnTo>
                    <a:lnTo>
                      <a:pt x="1186" y="1017"/>
                    </a:lnTo>
                    <a:lnTo>
                      <a:pt x="1186" y="1015"/>
                    </a:lnTo>
                    <a:lnTo>
                      <a:pt x="1185" y="1015"/>
                    </a:lnTo>
                    <a:lnTo>
                      <a:pt x="1186" y="1015"/>
                    </a:lnTo>
                    <a:lnTo>
                      <a:pt x="1185" y="1015"/>
                    </a:lnTo>
                    <a:lnTo>
                      <a:pt x="1185" y="1014"/>
                    </a:lnTo>
                    <a:lnTo>
                      <a:pt x="1186" y="1014"/>
                    </a:lnTo>
                    <a:lnTo>
                      <a:pt x="1188" y="1012"/>
                    </a:lnTo>
                    <a:lnTo>
                      <a:pt x="1188" y="1010"/>
                    </a:lnTo>
                    <a:lnTo>
                      <a:pt x="1190" y="1009"/>
                    </a:lnTo>
                    <a:lnTo>
                      <a:pt x="1190" y="1007"/>
                    </a:lnTo>
                    <a:lnTo>
                      <a:pt x="1188" y="1007"/>
                    </a:lnTo>
                    <a:lnTo>
                      <a:pt x="1190" y="1007"/>
                    </a:lnTo>
                    <a:lnTo>
                      <a:pt x="1190" y="1005"/>
                    </a:lnTo>
                    <a:lnTo>
                      <a:pt x="1191" y="1005"/>
                    </a:lnTo>
                    <a:lnTo>
                      <a:pt x="1191" y="1003"/>
                    </a:lnTo>
                    <a:lnTo>
                      <a:pt x="1191" y="1002"/>
                    </a:lnTo>
                    <a:lnTo>
                      <a:pt x="1191" y="1000"/>
                    </a:lnTo>
                    <a:lnTo>
                      <a:pt x="1191" y="998"/>
                    </a:lnTo>
                    <a:lnTo>
                      <a:pt x="1191" y="997"/>
                    </a:lnTo>
                    <a:lnTo>
                      <a:pt x="1191" y="995"/>
                    </a:lnTo>
                    <a:lnTo>
                      <a:pt x="1191" y="993"/>
                    </a:lnTo>
                    <a:lnTo>
                      <a:pt x="1193" y="993"/>
                    </a:lnTo>
                    <a:lnTo>
                      <a:pt x="1191" y="993"/>
                    </a:lnTo>
                    <a:lnTo>
                      <a:pt x="1191" y="992"/>
                    </a:lnTo>
                    <a:lnTo>
                      <a:pt x="1191" y="990"/>
                    </a:lnTo>
                    <a:lnTo>
                      <a:pt x="1190" y="988"/>
                    </a:lnTo>
                    <a:lnTo>
                      <a:pt x="1190" y="986"/>
                    </a:lnTo>
                    <a:lnTo>
                      <a:pt x="1190" y="985"/>
                    </a:lnTo>
                    <a:lnTo>
                      <a:pt x="1190" y="983"/>
                    </a:lnTo>
                    <a:lnTo>
                      <a:pt x="1191" y="983"/>
                    </a:lnTo>
                    <a:lnTo>
                      <a:pt x="1191" y="981"/>
                    </a:lnTo>
                    <a:lnTo>
                      <a:pt x="1191" y="980"/>
                    </a:lnTo>
                    <a:lnTo>
                      <a:pt x="1191" y="978"/>
                    </a:lnTo>
                    <a:lnTo>
                      <a:pt x="1190" y="976"/>
                    </a:lnTo>
                    <a:lnTo>
                      <a:pt x="1191" y="976"/>
                    </a:lnTo>
                    <a:lnTo>
                      <a:pt x="1191" y="975"/>
                    </a:lnTo>
                    <a:lnTo>
                      <a:pt x="1191" y="973"/>
                    </a:lnTo>
                    <a:lnTo>
                      <a:pt x="1193" y="973"/>
                    </a:lnTo>
                    <a:lnTo>
                      <a:pt x="1193" y="971"/>
                    </a:lnTo>
                    <a:lnTo>
                      <a:pt x="1195" y="971"/>
                    </a:lnTo>
                    <a:lnTo>
                      <a:pt x="1195" y="969"/>
                    </a:lnTo>
                    <a:lnTo>
                      <a:pt x="1195" y="968"/>
                    </a:lnTo>
                    <a:lnTo>
                      <a:pt x="1195" y="966"/>
                    </a:lnTo>
                    <a:lnTo>
                      <a:pt x="1195" y="964"/>
                    </a:lnTo>
                    <a:lnTo>
                      <a:pt x="1195" y="963"/>
                    </a:lnTo>
                    <a:lnTo>
                      <a:pt x="1195" y="961"/>
                    </a:lnTo>
                    <a:lnTo>
                      <a:pt x="1196" y="961"/>
                    </a:lnTo>
                    <a:lnTo>
                      <a:pt x="1196" y="959"/>
                    </a:lnTo>
                    <a:lnTo>
                      <a:pt x="1195" y="959"/>
                    </a:lnTo>
                    <a:lnTo>
                      <a:pt x="1195" y="957"/>
                    </a:lnTo>
                    <a:lnTo>
                      <a:pt x="1195" y="956"/>
                    </a:lnTo>
                    <a:lnTo>
                      <a:pt x="1195" y="954"/>
                    </a:lnTo>
                    <a:lnTo>
                      <a:pt x="1196" y="954"/>
                    </a:lnTo>
                    <a:lnTo>
                      <a:pt x="1196" y="956"/>
                    </a:lnTo>
                    <a:lnTo>
                      <a:pt x="1198" y="956"/>
                    </a:lnTo>
                    <a:lnTo>
                      <a:pt x="1200" y="954"/>
                    </a:lnTo>
                    <a:close/>
                    <a:moveTo>
                      <a:pt x="1174" y="1286"/>
                    </a:moveTo>
                    <a:lnTo>
                      <a:pt x="1176" y="1286"/>
                    </a:lnTo>
                    <a:lnTo>
                      <a:pt x="1176" y="1288"/>
                    </a:lnTo>
                    <a:lnTo>
                      <a:pt x="1174" y="1289"/>
                    </a:lnTo>
                    <a:lnTo>
                      <a:pt x="1176" y="1289"/>
                    </a:lnTo>
                    <a:lnTo>
                      <a:pt x="1176" y="1288"/>
                    </a:lnTo>
                    <a:lnTo>
                      <a:pt x="1178" y="1289"/>
                    </a:lnTo>
                    <a:lnTo>
                      <a:pt x="1176" y="1289"/>
                    </a:lnTo>
                    <a:lnTo>
                      <a:pt x="1176" y="1291"/>
                    </a:lnTo>
                    <a:lnTo>
                      <a:pt x="1176" y="1293"/>
                    </a:lnTo>
                    <a:lnTo>
                      <a:pt x="1178" y="1293"/>
                    </a:lnTo>
                    <a:lnTo>
                      <a:pt x="1176" y="1294"/>
                    </a:lnTo>
                    <a:lnTo>
                      <a:pt x="1174" y="1296"/>
                    </a:lnTo>
                    <a:lnTo>
                      <a:pt x="1176" y="1296"/>
                    </a:lnTo>
                    <a:lnTo>
                      <a:pt x="1176" y="1294"/>
                    </a:lnTo>
                    <a:lnTo>
                      <a:pt x="1178" y="1294"/>
                    </a:lnTo>
                    <a:lnTo>
                      <a:pt x="1178" y="1293"/>
                    </a:lnTo>
                    <a:lnTo>
                      <a:pt x="1178" y="1291"/>
                    </a:lnTo>
                    <a:lnTo>
                      <a:pt x="1178" y="1289"/>
                    </a:lnTo>
                    <a:lnTo>
                      <a:pt x="1178" y="1288"/>
                    </a:lnTo>
                    <a:lnTo>
                      <a:pt x="1179" y="1288"/>
                    </a:lnTo>
                    <a:lnTo>
                      <a:pt x="1181" y="1288"/>
                    </a:lnTo>
                    <a:lnTo>
                      <a:pt x="1181" y="1289"/>
                    </a:lnTo>
                    <a:lnTo>
                      <a:pt x="1181" y="1291"/>
                    </a:lnTo>
                    <a:lnTo>
                      <a:pt x="1181" y="1293"/>
                    </a:lnTo>
                    <a:lnTo>
                      <a:pt x="1181" y="1294"/>
                    </a:lnTo>
                    <a:lnTo>
                      <a:pt x="1181" y="1296"/>
                    </a:lnTo>
                    <a:lnTo>
                      <a:pt x="1179" y="1296"/>
                    </a:lnTo>
                    <a:lnTo>
                      <a:pt x="1179" y="1298"/>
                    </a:lnTo>
                    <a:lnTo>
                      <a:pt x="1178" y="1298"/>
                    </a:lnTo>
                    <a:lnTo>
                      <a:pt x="1178" y="1299"/>
                    </a:lnTo>
                    <a:lnTo>
                      <a:pt x="1176" y="1299"/>
                    </a:lnTo>
                    <a:lnTo>
                      <a:pt x="1178" y="1299"/>
                    </a:lnTo>
                    <a:lnTo>
                      <a:pt x="1178" y="1298"/>
                    </a:lnTo>
                    <a:lnTo>
                      <a:pt x="1179" y="1298"/>
                    </a:lnTo>
                    <a:lnTo>
                      <a:pt x="1179" y="1296"/>
                    </a:lnTo>
                    <a:lnTo>
                      <a:pt x="1181" y="1296"/>
                    </a:lnTo>
                    <a:lnTo>
                      <a:pt x="1181" y="1298"/>
                    </a:lnTo>
                    <a:lnTo>
                      <a:pt x="1181" y="1299"/>
                    </a:lnTo>
                    <a:lnTo>
                      <a:pt x="1183" y="1299"/>
                    </a:lnTo>
                    <a:lnTo>
                      <a:pt x="1183" y="1301"/>
                    </a:lnTo>
                    <a:lnTo>
                      <a:pt x="1181" y="1301"/>
                    </a:lnTo>
                    <a:lnTo>
                      <a:pt x="1181" y="1303"/>
                    </a:lnTo>
                    <a:lnTo>
                      <a:pt x="1179" y="1303"/>
                    </a:lnTo>
                    <a:lnTo>
                      <a:pt x="1181" y="1303"/>
                    </a:lnTo>
                    <a:lnTo>
                      <a:pt x="1181" y="1305"/>
                    </a:lnTo>
                    <a:lnTo>
                      <a:pt x="1181" y="1306"/>
                    </a:lnTo>
                    <a:lnTo>
                      <a:pt x="1183" y="1308"/>
                    </a:lnTo>
                    <a:lnTo>
                      <a:pt x="1183" y="1310"/>
                    </a:lnTo>
                    <a:lnTo>
                      <a:pt x="1183" y="1308"/>
                    </a:lnTo>
                    <a:lnTo>
                      <a:pt x="1181" y="1310"/>
                    </a:lnTo>
                    <a:lnTo>
                      <a:pt x="1183" y="1311"/>
                    </a:lnTo>
                    <a:lnTo>
                      <a:pt x="1183" y="1313"/>
                    </a:lnTo>
                    <a:lnTo>
                      <a:pt x="1183" y="1315"/>
                    </a:lnTo>
                    <a:lnTo>
                      <a:pt x="1183" y="1316"/>
                    </a:lnTo>
                    <a:lnTo>
                      <a:pt x="1183" y="1318"/>
                    </a:lnTo>
                    <a:lnTo>
                      <a:pt x="1183" y="1320"/>
                    </a:lnTo>
                    <a:lnTo>
                      <a:pt x="1181" y="1320"/>
                    </a:lnTo>
                    <a:lnTo>
                      <a:pt x="1181" y="1322"/>
                    </a:lnTo>
                    <a:lnTo>
                      <a:pt x="1183" y="1322"/>
                    </a:lnTo>
                    <a:lnTo>
                      <a:pt x="1183" y="1323"/>
                    </a:lnTo>
                    <a:lnTo>
                      <a:pt x="1181" y="1323"/>
                    </a:lnTo>
                    <a:lnTo>
                      <a:pt x="1181" y="1325"/>
                    </a:lnTo>
                    <a:lnTo>
                      <a:pt x="1181" y="1327"/>
                    </a:lnTo>
                    <a:lnTo>
                      <a:pt x="1181" y="1328"/>
                    </a:lnTo>
                    <a:lnTo>
                      <a:pt x="1179" y="1328"/>
                    </a:lnTo>
                    <a:lnTo>
                      <a:pt x="1178" y="1328"/>
                    </a:lnTo>
                    <a:lnTo>
                      <a:pt x="1179" y="1328"/>
                    </a:lnTo>
                    <a:lnTo>
                      <a:pt x="1179" y="1330"/>
                    </a:lnTo>
                    <a:lnTo>
                      <a:pt x="1179" y="1328"/>
                    </a:lnTo>
                    <a:lnTo>
                      <a:pt x="1179" y="1330"/>
                    </a:lnTo>
                    <a:lnTo>
                      <a:pt x="1181" y="1332"/>
                    </a:lnTo>
                    <a:lnTo>
                      <a:pt x="1181" y="1333"/>
                    </a:lnTo>
                    <a:lnTo>
                      <a:pt x="1179" y="1335"/>
                    </a:lnTo>
                    <a:lnTo>
                      <a:pt x="1179" y="1333"/>
                    </a:lnTo>
                    <a:lnTo>
                      <a:pt x="1178" y="1335"/>
                    </a:lnTo>
                    <a:lnTo>
                      <a:pt x="1178" y="1337"/>
                    </a:lnTo>
                    <a:lnTo>
                      <a:pt x="1179" y="1337"/>
                    </a:lnTo>
                    <a:lnTo>
                      <a:pt x="1178" y="1339"/>
                    </a:lnTo>
                    <a:lnTo>
                      <a:pt x="1176" y="1337"/>
                    </a:lnTo>
                    <a:lnTo>
                      <a:pt x="1178" y="1339"/>
                    </a:lnTo>
                    <a:lnTo>
                      <a:pt x="1179" y="1339"/>
                    </a:lnTo>
                    <a:lnTo>
                      <a:pt x="1179" y="1337"/>
                    </a:lnTo>
                    <a:lnTo>
                      <a:pt x="1179" y="1335"/>
                    </a:lnTo>
                    <a:lnTo>
                      <a:pt x="1181" y="1335"/>
                    </a:lnTo>
                    <a:lnTo>
                      <a:pt x="1183" y="1337"/>
                    </a:lnTo>
                    <a:lnTo>
                      <a:pt x="1183" y="1339"/>
                    </a:lnTo>
                    <a:lnTo>
                      <a:pt x="1183" y="1340"/>
                    </a:lnTo>
                    <a:lnTo>
                      <a:pt x="1183" y="1342"/>
                    </a:lnTo>
                    <a:lnTo>
                      <a:pt x="1181" y="1342"/>
                    </a:lnTo>
                    <a:lnTo>
                      <a:pt x="1181" y="1340"/>
                    </a:lnTo>
                    <a:lnTo>
                      <a:pt x="1179" y="1340"/>
                    </a:lnTo>
                    <a:lnTo>
                      <a:pt x="1179" y="1342"/>
                    </a:lnTo>
                    <a:lnTo>
                      <a:pt x="1181" y="1342"/>
                    </a:lnTo>
                    <a:lnTo>
                      <a:pt x="1181" y="1344"/>
                    </a:lnTo>
                    <a:lnTo>
                      <a:pt x="1183" y="1344"/>
                    </a:lnTo>
                    <a:lnTo>
                      <a:pt x="1183" y="1345"/>
                    </a:lnTo>
                    <a:lnTo>
                      <a:pt x="1183" y="1347"/>
                    </a:lnTo>
                    <a:lnTo>
                      <a:pt x="1183" y="1349"/>
                    </a:lnTo>
                    <a:lnTo>
                      <a:pt x="1181" y="1350"/>
                    </a:lnTo>
                    <a:lnTo>
                      <a:pt x="1181" y="1349"/>
                    </a:lnTo>
                    <a:lnTo>
                      <a:pt x="1181" y="1347"/>
                    </a:lnTo>
                    <a:lnTo>
                      <a:pt x="1179" y="1347"/>
                    </a:lnTo>
                    <a:lnTo>
                      <a:pt x="1181" y="1347"/>
                    </a:lnTo>
                    <a:lnTo>
                      <a:pt x="1181" y="1349"/>
                    </a:lnTo>
                    <a:lnTo>
                      <a:pt x="1181" y="1350"/>
                    </a:lnTo>
                    <a:lnTo>
                      <a:pt x="1181" y="1352"/>
                    </a:lnTo>
                    <a:lnTo>
                      <a:pt x="1179" y="1352"/>
                    </a:lnTo>
                    <a:lnTo>
                      <a:pt x="1181" y="1352"/>
                    </a:lnTo>
                    <a:lnTo>
                      <a:pt x="1179" y="1354"/>
                    </a:lnTo>
                    <a:lnTo>
                      <a:pt x="1178" y="1352"/>
                    </a:lnTo>
                    <a:lnTo>
                      <a:pt x="1178" y="1350"/>
                    </a:lnTo>
                    <a:lnTo>
                      <a:pt x="1176" y="1350"/>
                    </a:lnTo>
                    <a:lnTo>
                      <a:pt x="1176" y="1349"/>
                    </a:lnTo>
                    <a:lnTo>
                      <a:pt x="1176" y="1347"/>
                    </a:lnTo>
                    <a:lnTo>
                      <a:pt x="1174" y="1349"/>
                    </a:lnTo>
                    <a:lnTo>
                      <a:pt x="1176" y="1349"/>
                    </a:lnTo>
                    <a:lnTo>
                      <a:pt x="1176" y="1350"/>
                    </a:lnTo>
                    <a:lnTo>
                      <a:pt x="1178" y="1352"/>
                    </a:lnTo>
                    <a:lnTo>
                      <a:pt x="1179" y="1354"/>
                    </a:lnTo>
                    <a:lnTo>
                      <a:pt x="1178" y="1354"/>
                    </a:lnTo>
                    <a:lnTo>
                      <a:pt x="1178" y="1356"/>
                    </a:lnTo>
                    <a:lnTo>
                      <a:pt x="1176" y="1356"/>
                    </a:lnTo>
                    <a:lnTo>
                      <a:pt x="1176" y="1357"/>
                    </a:lnTo>
                    <a:lnTo>
                      <a:pt x="1174" y="1357"/>
                    </a:lnTo>
                    <a:lnTo>
                      <a:pt x="1174" y="1356"/>
                    </a:lnTo>
                    <a:lnTo>
                      <a:pt x="1174" y="1357"/>
                    </a:lnTo>
                    <a:lnTo>
                      <a:pt x="1173" y="1357"/>
                    </a:lnTo>
                    <a:lnTo>
                      <a:pt x="1173" y="1356"/>
                    </a:lnTo>
                    <a:lnTo>
                      <a:pt x="1174" y="1356"/>
                    </a:lnTo>
                    <a:lnTo>
                      <a:pt x="1174" y="1354"/>
                    </a:lnTo>
                    <a:lnTo>
                      <a:pt x="1174" y="1356"/>
                    </a:lnTo>
                    <a:lnTo>
                      <a:pt x="1173" y="1356"/>
                    </a:lnTo>
                    <a:lnTo>
                      <a:pt x="1173" y="1357"/>
                    </a:lnTo>
                    <a:lnTo>
                      <a:pt x="1173" y="1356"/>
                    </a:lnTo>
                    <a:lnTo>
                      <a:pt x="1173" y="1357"/>
                    </a:lnTo>
                    <a:lnTo>
                      <a:pt x="1171" y="1357"/>
                    </a:lnTo>
                    <a:lnTo>
                      <a:pt x="1169" y="1357"/>
                    </a:lnTo>
                    <a:lnTo>
                      <a:pt x="1168" y="1357"/>
                    </a:lnTo>
                    <a:lnTo>
                      <a:pt x="1169" y="1356"/>
                    </a:lnTo>
                    <a:lnTo>
                      <a:pt x="1168" y="1357"/>
                    </a:lnTo>
                    <a:lnTo>
                      <a:pt x="1168" y="1356"/>
                    </a:lnTo>
                    <a:lnTo>
                      <a:pt x="1166" y="1354"/>
                    </a:lnTo>
                    <a:lnTo>
                      <a:pt x="1168" y="1354"/>
                    </a:lnTo>
                    <a:lnTo>
                      <a:pt x="1168" y="1352"/>
                    </a:lnTo>
                    <a:lnTo>
                      <a:pt x="1169" y="1352"/>
                    </a:lnTo>
                    <a:lnTo>
                      <a:pt x="1171" y="1350"/>
                    </a:lnTo>
                    <a:lnTo>
                      <a:pt x="1173" y="1350"/>
                    </a:lnTo>
                    <a:lnTo>
                      <a:pt x="1174" y="1350"/>
                    </a:lnTo>
                    <a:lnTo>
                      <a:pt x="1174" y="1352"/>
                    </a:lnTo>
                    <a:lnTo>
                      <a:pt x="1176" y="1352"/>
                    </a:lnTo>
                    <a:lnTo>
                      <a:pt x="1174" y="1350"/>
                    </a:lnTo>
                    <a:lnTo>
                      <a:pt x="1173" y="1350"/>
                    </a:lnTo>
                    <a:lnTo>
                      <a:pt x="1173" y="1349"/>
                    </a:lnTo>
                    <a:lnTo>
                      <a:pt x="1171" y="1350"/>
                    </a:lnTo>
                    <a:lnTo>
                      <a:pt x="1169" y="1350"/>
                    </a:lnTo>
                    <a:lnTo>
                      <a:pt x="1168" y="1352"/>
                    </a:lnTo>
                    <a:lnTo>
                      <a:pt x="1166" y="1354"/>
                    </a:lnTo>
                    <a:lnTo>
                      <a:pt x="1168" y="1352"/>
                    </a:lnTo>
                    <a:lnTo>
                      <a:pt x="1166" y="1352"/>
                    </a:lnTo>
                    <a:lnTo>
                      <a:pt x="1166" y="1350"/>
                    </a:lnTo>
                    <a:lnTo>
                      <a:pt x="1166" y="1349"/>
                    </a:lnTo>
                    <a:lnTo>
                      <a:pt x="1168" y="1349"/>
                    </a:lnTo>
                    <a:lnTo>
                      <a:pt x="1166" y="1347"/>
                    </a:lnTo>
                    <a:lnTo>
                      <a:pt x="1168" y="1347"/>
                    </a:lnTo>
                    <a:lnTo>
                      <a:pt x="1166" y="1345"/>
                    </a:lnTo>
                    <a:lnTo>
                      <a:pt x="1168" y="1345"/>
                    </a:lnTo>
                    <a:lnTo>
                      <a:pt x="1168" y="1347"/>
                    </a:lnTo>
                    <a:lnTo>
                      <a:pt x="1169" y="1347"/>
                    </a:lnTo>
                    <a:lnTo>
                      <a:pt x="1169" y="1349"/>
                    </a:lnTo>
                    <a:lnTo>
                      <a:pt x="1171" y="1347"/>
                    </a:lnTo>
                    <a:lnTo>
                      <a:pt x="1173" y="1347"/>
                    </a:lnTo>
                    <a:lnTo>
                      <a:pt x="1173" y="1345"/>
                    </a:lnTo>
                    <a:lnTo>
                      <a:pt x="1174" y="1345"/>
                    </a:lnTo>
                    <a:lnTo>
                      <a:pt x="1176" y="1344"/>
                    </a:lnTo>
                    <a:lnTo>
                      <a:pt x="1174" y="1345"/>
                    </a:lnTo>
                    <a:lnTo>
                      <a:pt x="1173" y="1345"/>
                    </a:lnTo>
                    <a:lnTo>
                      <a:pt x="1171" y="1347"/>
                    </a:lnTo>
                    <a:lnTo>
                      <a:pt x="1169" y="1347"/>
                    </a:lnTo>
                    <a:lnTo>
                      <a:pt x="1168" y="1345"/>
                    </a:lnTo>
                    <a:lnTo>
                      <a:pt x="1169" y="1345"/>
                    </a:lnTo>
                    <a:lnTo>
                      <a:pt x="1169" y="1344"/>
                    </a:lnTo>
                    <a:lnTo>
                      <a:pt x="1169" y="1342"/>
                    </a:lnTo>
                    <a:lnTo>
                      <a:pt x="1171" y="1342"/>
                    </a:lnTo>
                    <a:lnTo>
                      <a:pt x="1173" y="1342"/>
                    </a:lnTo>
                    <a:lnTo>
                      <a:pt x="1171" y="1342"/>
                    </a:lnTo>
                    <a:lnTo>
                      <a:pt x="1171" y="1340"/>
                    </a:lnTo>
                    <a:lnTo>
                      <a:pt x="1173" y="1340"/>
                    </a:lnTo>
                    <a:lnTo>
                      <a:pt x="1171" y="1340"/>
                    </a:lnTo>
                    <a:lnTo>
                      <a:pt x="1171" y="1342"/>
                    </a:lnTo>
                    <a:lnTo>
                      <a:pt x="1169" y="1342"/>
                    </a:lnTo>
                    <a:lnTo>
                      <a:pt x="1169" y="1344"/>
                    </a:lnTo>
                    <a:lnTo>
                      <a:pt x="1168" y="1345"/>
                    </a:lnTo>
                    <a:lnTo>
                      <a:pt x="1168" y="1344"/>
                    </a:lnTo>
                    <a:lnTo>
                      <a:pt x="1166" y="1344"/>
                    </a:lnTo>
                    <a:lnTo>
                      <a:pt x="1166" y="1342"/>
                    </a:lnTo>
                    <a:lnTo>
                      <a:pt x="1166" y="1340"/>
                    </a:lnTo>
                    <a:lnTo>
                      <a:pt x="1168" y="1340"/>
                    </a:lnTo>
                    <a:lnTo>
                      <a:pt x="1166" y="1339"/>
                    </a:lnTo>
                    <a:lnTo>
                      <a:pt x="1166" y="1337"/>
                    </a:lnTo>
                    <a:lnTo>
                      <a:pt x="1168" y="1337"/>
                    </a:lnTo>
                    <a:lnTo>
                      <a:pt x="1166" y="1335"/>
                    </a:lnTo>
                    <a:lnTo>
                      <a:pt x="1166" y="1333"/>
                    </a:lnTo>
                    <a:lnTo>
                      <a:pt x="1168" y="1333"/>
                    </a:lnTo>
                    <a:lnTo>
                      <a:pt x="1169" y="1333"/>
                    </a:lnTo>
                    <a:lnTo>
                      <a:pt x="1169" y="1335"/>
                    </a:lnTo>
                    <a:lnTo>
                      <a:pt x="1171" y="1335"/>
                    </a:lnTo>
                    <a:lnTo>
                      <a:pt x="1173" y="1335"/>
                    </a:lnTo>
                    <a:lnTo>
                      <a:pt x="1171" y="1335"/>
                    </a:lnTo>
                    <a:lnTo>
                      <a:pt x="1171" y="1333"/>
                    </a:lnTo>
                    <a:lnTo>
                      <a:pt x="1171" y="1332"/>
                    </a:lnTo>
                    <a:lnTo>
                      <a:pt x="1173" y="1332"/>
                    </a:lnTo>
                    <a:lnTo>
                      <a:pt x="1171" y="1330"/>
                    </a:lnTo>
                    <a:lnTo>
                      <a:pt x="1171" y="1332"/>
                    </a:lnTo>
                    <a:lnTo>
                      <a:pt x="1171" y="1333"/>
                    </a:lnTo>
                    <a:lnTo>
                      <a:pt x="1169" y="1333"/>
                    </a:lnTo>
                    <a:lnTo>
                      <a:pt x="1168" y="1333"/>
                    </a:lnTo>
                    <a:lnTo>
                      <a:pt x="1168" y="1332"/>
                    </a:lnTo>
                    <a:lnTo>
                      <a:pt x="1166" y="1332"/>
                    </a:lnTo>
                    <a:lnTo>
                      <a:pt x="1168" y="1332"/>
                    </a:lnTo>
                    <a:lnTo>
                      <a:pt x="1168" y="1330"/>
                    </a:lnTo>
                    <a:lnTo>
                      <a:pt x="1168" y="1328"/>
                    </a:lnTo>
                    <a:lnTo>
                      <a:pt x="1169" y="1328"/>
                    </a:lnTo>
                    <a:lnTo>
                      <a:pt x="1171" y="1327"/>
                    </a:lnTo>
                    <a:lnTo>
                      <a:pt x="1173" y="1325"/>
                    </a:lnTo>
                    <a:lnTo>
                      <a:pt x="1174" y="1325"/>
                    </a:lnTo>
                    <a:lnTo>
                      <a:pt x="1176" y="1325"/>
                    </a:lnTo>
                    <a:lnTo>
                      <a:pt x="1174" y="1323"/>
                    </a:lnTo>
                    <a:lnTo>
                      <a:pt x="1173" y="1325"/>
                    </a:lnTo>
                    <a:lnTo>
                      <a:pt x="1173" y="1323"/>
                    </a:lnTo>
                    <a:lnTo>
                      <a:pt x="1173" y="1322"/>
                    </a:lnTo>
                    <a:lnTo>
                      <a:pt x="1174" y="1322"/>
                    </a:lnTo>
                    <a:lnTo>
                      <a:pt x="1176" y="1320"/>
                    </a:lnTo>
                    <a:lnTo>
                      <a:pt x="1176" y="1318"/>
                    </a:lnTo>
                    <a:lnTo>
                      <a:pt x="1176" y="1320"/>
                    </a:lnTo>
                    <a:lnTo>
                      <a:pt x="1174" y="1320"/>
                    </a:lnTo>
                    <a:lnTo>
                      <a:pt x="1174" y="1322"/>
                    </a:lnTo>
                    <a:lnTo>
                      <a:pt x="1173" y="1322"/>
                    </a:lnTo>
                    <a:lnTo>
                      <a:pt x="1173" y="1323"/>
                    </a:lnTo>
                    <a:lnTo>
                      <a:pt x="1173" y="1322"/>
                    </a:lnTo>
                    <a:lnTo>
                      <a:pt x="1171" y="1322"/>
                    </a:lnTo>
                    <a:lnTo>
                      <a:pt x="1169" y="1320"/>
                    </a:lnTo>
                    <a:lnTo>
                      <a:pt x="1171" y="1322"/>
                    </a:lnTo>
                    <a:lnTo>
                      <a:pt x="1171" y="1323"/>
                    </a:lnTo>
                    <a:lnTo>
                      <a:pt x="1173" y="1323"/>
                    </a:lnTo>
                    <a:lnTo>
                      <a:pt x="1171" y="1325"/>
                    </a:lnTo>
                    <a:lnTo>
                      <a:pt x="1169" y="1327"/>
                    </a:lnTo>
                    <a:lnTo>
                      <a:pt x="1168" y="1327"/>
                    </a:lnTo>
                    <a:lnTo>
                      <a:pt x="1168" y="1328"/>
                    </a:lnTo>
                    <a:lnTo>
                      <a:pt x="1168" y="1327"/>
                    </a:lnTo>
                    <a:lnTo>
                      <a:pt x="1168" y="1325"/>
                    </a:lnTo>
                    <a:lnTo>
                      <a:pt x="1168" y="1323"/>
                    </a:lnTo>
                    <a:lnTo>
                      <a:pt x="1168" y="1325"/>
                    </a:lnTo>
                    <a:lnTo>
                      <a:pt x="1168" y="1327"/>
                    </a:lnTo>
                    <a:lnTo>
                      <a:pt x="1168" y="1328"/>
                    </a:lnTo>
                    <a:lnTo>
                      <a:pt x="1166" y="1330"/>
                    </a:lnTo>
                    <a:lnTo>
                      <a:pt x="1164" y="1330"/>
                    </a:lnTo>
                    <a:lnTo>
                      <a:pt x="1164" y="1328"/>
                    </a:lnTo>
                    <a:lnTo>
                      <a:pt x="1166" y="1327"/>
                    </a:lnTo>
                    <a:lnTo>
                      <a:pt x="1164" y="1327"/>
                    </a:lnTo>
                    <a:lnTo>
                      <a:pt x="1164" y="1325"/>
                    </a:lnTo>
                    <a:lnTo>
                      <a:pt x="1164" y="1327"/>
                    </a:lnTo>
                    <a:lnTo>
                      <a:pt x="1164" y="1328"/>
                    </a:lnTo>
                    <a:lnTo>
                      <a:pt x="1162" y="1327"/>
                    </a:lnTo>
                    <a:lnTo>
                      <a:pt x="1162" y="1328"/>
                    </a:lnTo>
                    <a:lnTo>
                      <a:pt x="1164" y="1328"/>
                    </a:lnTo>
                    <a:lnTo>
                      <a:pt x="1164" y="1330"/>
                    </a:lnTo>
                    <a:lnTo>
                      <a:pt x="1162" y="1330"/>
                    </a:lnTo>
                    <a:lnTo>
                      <a:pt x="1162" y="1328"/>
                    </a:lnTo>
                    <a:lnTo>
                      <a:pt x="1162" y="1330"/>
                    </a:lnTo>
                    <a:lnTo>
                      <a:pt x="1164" y="1332"/>
                    </a:lnTo>
                    <a:lnTo>
                      <a:pt x="1162" y="1332"/>
                    </a:lnTo>
                    <a:lnTo>
                      <a:pt x="1164" y="1332"/>
                    </a:lnTo>
                    <a:lnTo>
                      <a:pt x="1164" y="1333"/>
                    </a:lnTo>
                    <a:lnTo>
                      <a:pt x="1162" y="1333"/>
                    </a:lnTo>
                    <a:lnTo>
                      <a:pt x="1162" y="1332"/>
                    </a:lnTo>
                    <a:lnTo>
                      <a:pt x="1161" y="1332"/>
                    </a:lnTo>
                    <a:lnTo>
                      <a:pt x="1161" y="1330"/>
                    </a:lnTo>
                    <a:lnTo>
                      <a:pt x="1159" y="1330"/>
                    </a:lnTo>
                    <a:lnTo>
                      <a:pt x="1161" y="1332"/>
                    </a:lnTo>
                    <a:lnTo>
                      <a:pt x="1162" y="1333"/>
                    </a:lnTo>
                    <a:lnTo>
                      <a:pt x="1164" y="1333"/>
                    </a:lnTo>
                    <a:lnTo>
                      <a:pt x="1162" y="1335"/>
                    </a:lnTo>
                    <a:lnTo>
                      <a:pt x="1162" y="1337"/>
                    </a:lnTo>
                    <a:lnTo>
                      <a:pt x="1162" y="1339"/>
                    </a:lnTo>
                    <a:lnTo>
                      <a:pt x="1162" y="1337"/>
                    </a:lnTo>
                    <a:lnTo>
                      <a:pt x="1164" y="1337"/>
                    </a:lnTo>
                    <a:lnTo>
                      <a:pt x="1164" y="1335"/>
                    </a:lnTo>
                    <a:lnTo>
                      <a:pt x="1164" y="1333"/>
                    </a:lnTo>
                    <a:lnTo>
                      <a:pt x="1164" y="1335"/>
                    </a:lnTo>
                    <a:lnTo>
                      <a:pt x="1166" y="1335"/>
                    </a:lnTo>
                    <a:lnTo>
                      <a:pt x="1164" y="1335"/>
                    </a:lnTo>
                    <a:lnTo>
                      <a:pt x="1164" y="1337"/>
                    </a:lnTo>
                    <a:lnTo>
                      <a:pt x="1164" y="1339"/>
                    </a:lnTo>
                    <a:lnTo>
                      <a:pt x="1162" y="1340"/>
                    </a:lnTo>
                    <a:lnTo>
                      <a:pt x="1162" y="1339"/>
                    </a:lnTo>
                    <a:lnTo>
                      <a:pt x="1162" y="1340"/>
                    </a:lnTo>
                    <a:lnTo>
                      <a:pt x="1162" y="1342"/>
                    </a:lnTo>
                    <a:lnTo>
                      <a:pt x="1162" y="1344"/>
                    </a:lnTo>
                    <a:lnTo>
                      <a:pt x="1162" y="1342"/>
                    </a:lnTo>
                    <a:lnTo>
                      <a:pt x="1162" y="1340"/>
                    </a:lnTo>
                    <a:lnTo>
                      <a:pt x="1164" y="1340"/>
                    </a:lnTo>
                    <a:lnTo>
                      <a:pt x="1164" y="1339"/>
                    </a:lnTo>
                    <a:lnTo>
                      <a:pt x="1164" y="1340"/>
                    </a:lnTo>
                    <a:lnTo>
                      <a:pt x="1164" y="1342"/>
                    </a:lnTo>
                    <a:lnTo>
                      <a:pt x="1164" y="1340"/>
                    </a:lnTo>
                    <a:lnTo>
                      <a:pt x="1166" y="1342"/>
                    </a:lnTo>
                    <a:lnTo>
                      <a:pt x="1166" y="1344"/>
                    </a:lnTo>
                    <a:lnTo>
                      <a:pt x="1164" y="1344"/>
                    </a:lnTo>
                    <a:lnTo>
                      <a:pt x="1166" y="1344"/>
                    </a:lnTo>
                    <a:lnTo>
                      <a:pt x="1164" y="1344"/>
                    </a:lnTo>
                    <a:lnTo>
                      <a:pt x="1164" y="1345"/>
                    </a:lnTo>
                    <a:lnTo>
                      <a:pt x="1164" y="1344"/>
                    </a:lnTo>
                    <a:lnTo>
                      <a:pt x="1164" y="1345"/>
                    </a:lnTo>
                    <a:lnTo>
                      <a:pt x="1164" y="1347"/>
                    </a:lnTo>
                    <a:lnTo>
                      <a:pt x="1162" y="1347"/>
                    </a:lnTo>
                    <a:lnTo>
                      <a:pt x="1164" y="1347"/>
                    </a:lnTo>
                    <a:lnTo>
                      <a:pt x="1162" y="1349"/>
                    </a:lnTo>
                    <a:lnTo>
                      <a:pt x="1161" y="1349"/>
                    </a:lnTo>
                    <a:lnTo>
                      <a:pt x="1161" y="1347"/>
                    </a:lnTo>
                    <a:lnTo>
                      <a:pt x="1161" y="1345"/>
                    </a:lnTo>
                    <a:lnTo>
                      <a:pt x="1161" y="1347"/>
                    </a:lnTo>
                    <a:lnTo>
                      <a:pt x="1159" y="1347"/>
                    </a:lnTo>
                    <a:lnTo>
                      <a:pt x="1157" y="1345"/>
                    </a:lnTo>
                    <a:lnTo>
                      <a:pt x="1157" y="1344"/>
                    </a:lnTo>
                    <a:lnTo>
                      <a:pt x="1157" y="1342"/>
                    </a:lnTo>
                    <a:lnTo>
                      <a:pt x="1159" y="1342"/>
                    </a:lnTo>
                    <a:lnTo>
                      <a:pt x="1157" y="1342"/>
                    </a:lnTo>
                    <a:lnTo>
                      <a:pt x="1156" y="1342"/>
                    </a:lnTo>
                    <a:lnTo>
                      <a:pt x="1156" y="1340"/>
                    </a:lnTo>
                    <a:lnTo>
                      <a:pt x="1156" y="1339"/>
                    </a:lnTo>
                    <a:lnTo>
                      <a:pt x="1154" y="1339"/>
                    </a:lnTo>
                    <a:lnTo>
                      <a:pt x="1156" y="1339"/>
                    </a:lnTo>
                    <a:lnTo>
                      <a:pt x="1157" y="1337"/>
                    </a:lnTo>
                    <a:lnTo>
                      <a:pt x="1156" y="1337"/>
                    </a:lnTo>
                    <a:lnTo>
                      <a:pt x="1154" y="1337"/>
                    </a:lnTo>
                    <a:lnTo>
                      <a:pt x="1156" y="1337"/>
                    </a:lnTo>
                    <a:lnTo>
                      <a:pt x="1154" y="1337"/>
                    </a:lnTo>
                    <a:lnTo>
                      <a:pt x="1154" y="1335"/>
                    </a:lnTo>
                    <a:lnTo>
                      <a:pt x="1156" y="1337"/>
                    </a:lnTo>
                    <a:lnTo>
                      <a:pt x="1157" y="1337"/>
                    </a:lnTo>
                    <a:lnTo>
                      <a:pt x="1157" y="1335"/>
                    </a:lnTo>
                    <a:lnTo>
                      <a:pt x="1157" y="1337"/>
                    </a:lnTo>
                    <a:lnTo>
                      <a:pt x="1156" y="1337"/>
                    </a:lnTo>
                    <a:lnTo>
                      <a:pt x="1156" y="1335"/>
                    </a:lnTo>
                    <a:lnTo>
                      <a:pt x="1154" y="1335"/>
                    </a:lnTo>
                    <a:lnTo>
                      <a:pt x="1156" y="1335"/>
                    </a:lnTo>
                    <a:lnTo>
                      <a:pt x="1156" y="1333"/>
                    </a:lnTo>
                    <a:lnTo>
                      <a:pt x="1157" y="1333"/>
                    </a:lnTo>
                    <a:lnTo>
                      <a:pt x="1157" y="1332"/>
                    </a:lnTo>
                    <a:lnTo>
                      <a:pt x="1157" y="1333"/>
                    </a:lnTo>
                    <a:lnTo>
                      <a:pt x="1156" y="1333"/>
                    </a:lnTo>
                    <a:lnTo>
                      <a:pt x="1156" y="1335"/>
                    </a:lnTo>
                    <a:lnTo>
                      <a:pt x="1154" y="1335"/>
                    </a:lnTo>
                    <a:lnTo>
                      <a:pt x="1152" y="1335"/>
                    </a:lnTo>
                    <a:lnTo>
                      <a:pt x="1152" y="1333"/>
                    </a:lnTo>
                    <a:lnTo>
                      <a:pt x="1154" y="1333"/>
                    </a:lnTo>
                    <a:lnTo>
                      <a:pt x="1154" y="1332"/>
                    </a:lnTo>
                    <a:lnTo>
                      <a:pt x="1156" y="1332"/>
                    </a:lnTo>
                    <a:lnTo>
                      <a:pt x="1157" y="1332"/>
                    </a:lnTo>
                    <a:lnTo>
                      <a:pt x="1156" y="1332"/>
                    </a:lnTo>
                    <a:lnTo>
                      <a:pt x="1156" y="1330"/>
                    </a:lnTo>
                    <a:lnTo>
                      <a:pt x="1157" y="1330"/>
                    </a:lnTo>
                    <a:lnTo>
                      <a:pt x="1157" y="1328"/>
                    </a:lnTo>
                    <a:lnTo>
                      <a:pt x="1157" y="1330"/>
                    </a:lnTo>
                    <a:lnTo>
                      <a:pt x="1157" y="1328"/>
                    </a:lnTo>
                    <a:lnTo>
                      <a:pt x="1156" y="1330"/>
                    </a:lnTo>
                    <a:lnTo>
                      <a:pt x="1154" y="1330"/>
                    </a:lnTo>
                    <a:lnTo>
                      <a:pt x="1154" y="1332"/>
                    </a:lnTo>
                    <a:lnTo>
                      <a:pt x="1154" y="1330"/>
                    </a:lnTo>
                    <a:lnTo>
                      <a:pt x="1152" y="1330"/>
                    </a:lnTo>
                    <a:lnTo>
                      <a:pt x="1152" y="1328"/>
                    </a:lnTo>
                    <a:lnTo>
                      <a:pt x="1154" y="1328"/>
                    </a:lnTo>
                    <a:lnTo>
                      <a:pt x="1156" y="1327"/>
                    </a:lnTo>
                    <a:lnTo>
                      <a:pt x="1154" y="1327"/>
                    </a:lnTo>
                    <a:lnTo>
                      <a:pt x="1156" y="1327"/>
                    </a:lnTo>
                    <a:lnTo>
                      <a:pt x="1156" y="1325"/>
                    </a:lnTo>
                    <a:lnTo>
                      <a:pt x="1156" y="1327"/>
                    </a:lnTo>
                    <a:lnTo>
                      <a:pt x="1154" y="1327"/>
                    </a:lnTo>
                    <a:lnTo>
                      <a:pt x="1154" y="1328"/>
                    </a:lnTo>
                    <a:lnTo>
                      <a:pt x="1152" y="1328"/>
                    </a:lnTo>
                    <a:lnTo>
                      <a:pt x="1152" y="1330"/>
                    </a:lnTo>
                    <a:lnTo>
                      <a:pt x="1152" y="1328"/>
                    </a:lnTo>
                    <a:lnTo>
                      <a:pt x="1151" y="1327"/>
                    </a:lnTo>
                    <a:lnTo>
                      <a:pt x="1152" y="1325"/>
                    </a:lnTo>
                    <a:lnTo>
                      <a:pt x="1151" y="1325"/>
                    </a:lnTo>
                    <a:lnTo>
                      <a:pt x="1151" y="1327"/>
                    </a:lnTo>
                    <a:lnTo>
                      <a:pt x="1152" y="1325"/>
                    </a:lnTo>
                    <a:lnTo>
                      <a:pt x="1151" y="1327"/>
                    </a:lnTo>
                    <a:lnTo>
                      <a:pt x="1149" y="1328"/>
                    </a:lnTo>
                    <a:lnTo>
                      <a:pt x="1149" y="1327"/>
                    </a:lnTo>
                    <a:lnTo>
                      <a:pt x="1151" y="1325"/>
                    </a:lnTo>
                    <a:lnTo>
                      <a:pt x="1152" y="1323"/>
                    </a:lnTo>
                    <a:lnTo>
                      <a:pt x="1151" y="1323"/>
                    </a:lnTo>
                    <a:lnTo>
                      <a:pt x="1151" y="1325"/>
                    </a:lnTo>
                    <a:lnTo>
                      <a:pt x="1149" y="1325"/>
                    </a:lnTo>
                    <a:lnTo>
                      <a:pt x="1149" y="1323"/>
                    </a:lnTo>
                    <a:lnTo>
                      <a:pt x="1147" y="1323"/>
                    </a:lnTo>
                    <a:lnTo>
                      <a:pt x="1147" y="1322"/>
                    </a:lnTo>
                    <a:lnTo>
                      <a:pt x="1149" y="1320"/>
                    </a:lnTo>
                    <a:lnTo>
                      <a:pt x="1147" y="1320"/>
                    </a:lnTo>
                    <a:lnTo>
                      <a:pt x="1147" y="1318"/>
                    </a:lnTo>
                    <a:lnTo>
                      <a:pt x="1147" y="1316"/>
                    </a:lnTo>
                    <a:lnTo>
                      <a:pt x="1149" y="1316"/>
                    </a:lnTo>
                    <a:lnTo>
                      <a:pt x="1151" y="1315"/>
                    </a:lnTo>
                    <a:lnTo>
                      <a:pt x="1151" y="1316"/>
                    </a:lnTo>
                    <a:lnTo>
                      <a:pt x="1152" y="1315"/>
                    </a:lnTo>
                    <a:lnTo>
                      <a:pt x="1152" y="1316"/>
                    </a:lnTo>
                    <a:lnTo>
                      <a:pt x="1151" y="1316"/>
                    </a:lnTo>
                    <a:lnTo>
                      <a:pt x="1151" y="1318"/>
                    </a:lnTo>
                    <a:lnTo>
                      <a:pt x="1149" y="1318"/>
                    </a:lnTo>
                    <a:lnTo>
                      <a:pt x="1149" y="1320"/>
                    </a:lnTo>
                    <a:lnTo>
                      <a:pt x="1149" y="1318"/>
                    </a:lnTo>
                    <a:lnTo>
                      <a:pt x="1151" y="1318"/>
                    </a:lnTo>
                    <a:lnTo>
                      <a:pt x="1152" y="1316"/>
                    </a:lnTo>
                    <a:lnTo>
                      <a:pt x="1152" y="1318"/>
                    </a:lnTo>
                    <a:lnTo>
                      <a:pt x="1151" y="1318"/>
                    </a:lnTo>
                    <a:lnTo>
                      <a:pt x="1152" y="1318"/>
                    </a:lnTo>
                    <a:lnTo>
                      <a:pt x="1152" y="1320"/>
                    </a:lnTo>
                    <a:lnTo>
                      <a:pt x="1152" y="1322"/>
                    </a:lnTo>
                    <a:lnTo>
                      <a:pt x="1154" y="1322"/>
                    </a:lnTo>
                    <a:lnTo>
                      <a:pt x="1154" y="1323"/>
                    </a:lnTo>
                    <a:lnTo>
                      <a:pt x="1156" y="1325"/>
                    </a:lnTo>
                    <a:lnTo>
                      <a:pt x="1157" y="1325"/>
                    </a:lnTo>
                    <a:lnTo>
                      <a:pt x="1157" y="1327"/>
                    </a:lnTo>
                    <a:lnTo>
                      <a:pt x="1159" y="1327"/>
                    </a:lnTo>
                    <a:lnTo>
                      <a:pt x="1157" y="1327"/>
                    </a:lnTo>
                    <a:lnTo>
                      <a:pt x="1157" y="1325"/>
                    </a:lnTo>
                    <a:lnTo>
                      <a:pt x="1156" y="1325"/>
                    </a:lnTo>
                    <a:lnTo>
                      <a:pt x="1156" y="1323"/>
                    </a:lnTo>
                    <a:lnTo>
                      <a:pt x="1156" y="1325"/>
                    </a:lnTo>
                    <a:lnTo>
                      <a:pt x="1157" y="1323"/>
                    </a:lnTo>
                    <a:lnTo>
                      <a:pt x="1159" y="1323"/>
                    </a:lnTo>
                    <a:lnTo>
                      <a:pt x="1159" y="1325"/>
                    </a:lnTo>
                    <a:lnTo>
                      <a:pt x="1161" y="1323"/>
                    </a:lnTo>
                    <a:lnTo>
                      <a:pt x="1162" y="1323"/>
                    </a:lnTo>
                    <a:lnTo>
                      <a:pt x="1164" y="1323"/>
                    </a:lnTo>
                    <a:lnTo>
                      <a:pt x="1162" y="1323"/>
                    </a:lnTo>
                    <a:lnTo>
                      <a:pt x="1161" y="1323"/>
                    </a:lnTo>
                    <a:lnTo>
                      <a:pt x="1159" y="1323"/>
                    </a:lnTo>
                    <a:lnTo>
                      <a:pt x="1157" y="1323"/>
                    </a:lnTo>
                    <a:lnTo>
                      <a:pt x="1156" y="1323"/>
                    </a:lnTo>
                    <a:lnTo>
                      <a:pt x="1157" y="1323"/>
                    </a:lnTo>
                    <a:lnTo>
                      <a:pt x="1156" y="1323"/>
                    </a:lnTo>
                    <a:lnTo>
                      <a:pt x="1156" y="1322"/>
                    </a:lnTo>
                    <a:lnTo>
                      <a:pt x="1154" y="1322"/>
                    </a:lnTo>
                    <a:lnTo>
                      <a:pt x="1156" y="1322"/>
                    </a:lnTo>
                    <a:lnTo>
                      <a:pt x="1154" y="1322"/>
                    </a:lnTo>
                    <a:lnTo>
                      <a:pt x="1154" y="1320"/>
                    </a:lnTo>
                    <a:lnTo>
                      <a:pt x="1154" y="1318"/>
                    </a:lnTo>
                    <a:lnTo>
                      <a:pt x="1156" y="1320"/>
                    </a:lnTo>
                    <a:lnTo>
                      <a:pt x="1154" y="1318"/>
                    </a:lnTo>
                    <a:lnTo>
                      <a:pt x="1152" y="1318"/>
                    </a:lnTo>
                    <a:lnTo>
                      <a:pt x="1152" y="1316"/>
                    </a:lnTo>
                    <a:lnTo>
                      <a:pt x="1154" y="1316"/>
                    </a:lnTo>
                    <a:lnTo>
                      <a:pt x="1154" y="1315"/>
                    </a:lnTo>
                    <a:lnTo>
                      <a:pt x="1152" y="1315"/>
                    </a:lnTo>
                    <a:lnTo>
                      <a:pt x="1154" y="1315"/>
                    </a:lnTo>
                    <a:lnTo>
                      <a:pt x="1156" y="1315"/>
                    </a:lnTo>
                    <a:lnTo>
                      <a:pt x="1156" y="1316"/>
                    </a:lnTo>
                    <a:lnTo>
                      <a:pt x="1156" y="1315"/>
                    </a:lnTo>
                    <a:lnTo>
                      <a:pt x="1156" y="1316"/>
                    </a:lnTo>
                    <a:lnTo>
                      <a:pt x="1157" y="1316"/>
                    </a:lnTo>
                    <a:lnTo>
                      <a:pt x="1156" y="1316"/>
                    </a:lnTo>
                    <a:lnTo>
                      <a:pt x="1157" y="1316"/>
                    </a:lnTo>
                    <a:lnTo>
                      <a:pt x="1157" y="1318"/>
                    </a:lnTo>
                    <a:lnTo>
                      <a:pt x="1157" y="1320"/>
                    </a:lnTo>
                    <a:lnTo>
                      <a:pt x="1159" y="1320"/>
                    </a:lnTo>
                    <a:lnTo>
                      <a:pt x="1157" y="1320"/>
                    </a:lnTo>
                    <a:lnTo>
                      <a:pt x="1159" y="1320"/>
                    </a:lnTo>
                    <a:lnTo>
                      <a:pt x="1159" y="1322"/>
                    </a:lnTo>
                    <a:lnTo>
                      <a:pt x="1159" y="1320"/>
                    </a:lnTo>
                    <a:lnTo>
                      <a:pt x="1161" y="1320"/>
                    </a:lnTo>
                    <a:lnTo>
                      <a:pt x="1162" y="1320"/>
                    </a:lnTo>
                    <a:lnTo>
                      <a:pt x="1161" y="1320"/>
                    </a:lnTo>
                    <a:lnTo>
                      <a:pt x="1159" y="1320"/>
                    </a:lnTo>
                    <a:lnTo>
                      <a:pt x="1157" y="1318"/>
                    </a:lnTo>
                    <a:lnTo>
                      <a:pt x="1159" y="1318"/>
                    </a:lnTo>
                    <a:lnTo>
                      <a:pt x="1159" y="1316"/>
                    </a:lnTo>
                    <a:lnTo>
                      <a:pt x="1157" y="1318"/>
                    </a:lnTo>
                    <a:lnTo>
                      <a:pt x="1157" y="1316"/>
                    </a:lnTo>
                    <a:lnTo>
                      <a:pt x="1157" y="1315"/>
                    </a:lnTo>
                    <a:lnTo>
                      <a:pt x="1157" y="1316"/>
                    </a:lnTo>
                    <a:lnTo>
                      <a:pt x="1159" y="1316"/>
                    </a:lnTo>
                    <a:lnTo>
                      <a:pt x="1161" y="1318"/>
                    </a:lnTo>
                    <a:lnTo>
                      <a:pt x="1161" y="1320"/>
                    </a:lnTo>
                    <a:lnTo>
                      <a:pt x="1162" y="1320"/>
                    </a:lnTo>
                    <a:lnTo>
                      <a:pt x="1161" y="1318"/>
                    </a:lnTo>
                    <a:lnTo>
                      <a:pt x="1159" y="1316"/>
                    </a:lnTo>
                    <a:lnTo>
                      <a:pt x="1161" y="1316"/>
                    </a:lnTo>
                    <a:lnTo>
                      <a:pt x="1159" y="1316"/>
                    </a:lnTo>
                    <a:lnTo>
                      <a:pt x="1159" y="1315"/>
                    </a:lnTo>
                    <a:lnTo>
                      <a:pt x="1161" y="1315"/>
                    </a:lnTo>
                    <a:lnTo>
                      <a:pt x="1161" y="1316"/>
                    </a:lnTo>
                    <a:lnTo>
                      <a:pt x="1161" y="1315"/>
                    </a:lnTo>
                    <a:lnTo>
                      <a:pt x="1162" y="1316"/>
                    </a:lnTo>
                    <a:lnTo>
                      <a:pt x="1164" y="1316"/>
                    </a:lnTo>
                    <a:lnTo>
                      <a:pt x="1164" y="1318"/>
                    </a:lnTo>
                    <a:lnTo>
                      <a:pt x="1164" y="1316"/>
                    </a:lnTo>
                    <a:lnTo>
                      <a:pt x="1162" y="1316"/>
                    </a:lnTo>
                    <a:lnTo>
                      <a:pt x="1162" y="1315"/>
                    </a:lnTo>
                    <a:lnTo>
                      <a:pt x="1164" y="1315"/>
                    </a:lnTo>
                    <a:lnTo>
                      <a:pt x="1162" y="1315"/>
                    </a:lnTo>
                    <a:lnTo>
                      <a:pt x="1161" y="1315"/>
                    </a:lnTo>
                    <a:lnTo>
                      <a:pt x="1161" y="1313"/>
                    </a:lnTo>
                    <a:lnTo>
                      <a:pt x="1162" y="1313"/>
                    </a:lnTo>
                    <a:lnTo>
                      <a:pt x="1162" y="1315"/>
                    </a:lnTo>
                    <a:lnTo>
                      <a:pt x="1162" y="1313"/>
                    </a:lnTo>
                    <a:lnTo>
                      <a:pt x="1161" y="1313"/>
                    </a:lnTo>
                    <a:lnTo>
                      <a:pt x="1161" y="1311"/>
                    </a:lnTo>
                    <a:lnTo>
                      <a:pt x="1162" y="1313"/>
                    </a:lnTo>
                    <a:lnTo>
                      <a:pt x="1162" y="1315"/>
                    </a:lnTo>
                    <a:lnTo>
                      <a:pt x="1164" y="1315"/>
                    </a:lnTo>
                    <a:lnTo>
                      <a:pt x="1164" y="1316"/>
                    </a:lnTo>
                    <a:lnTo>
                      <a:pt x="1166" y="1318"/>
                    </a:lnTo>
                    <a:lnTo>
                      <a:pt x="1168" y="1318"/>
                    </a:lnTo>
                    <a:lnTo>
                      <a:pt x="1168" y="1320"/>
                    </a:lnTo>
                    <a:lnTo>
                      <a:pt x="1166" y="1322"/>
                    </a:lnTo>
                    <a:lnTo>
                      <a:pt x="1168" y="1322"/>
                    </a:lnTo>
                    <a:lnTo>
                      <a:pt x="1168" y="1320"/>
                    </a:lnTo>
                    <a:lnTo>
                      <a:pt x="1168" y="1318"/>
                    </a:lnTo>
                    <a:lnTo>
                      <a:pt x="1168" y="1316"/>
                    </a:lnTo>
                    <a:lnTo>
                      <a:pt x="1168" y="1315"/>
                    </a:lnTo>
                    <a:lnTo>
                      <a:pt x="1168" y="1313"/>
                    </a:lnTo>
                    <a:lnTo>
                      <a:pt x="1169" y="1313"/>
                    </a:lnTo>
                    <a:lnTo>
                      <a:pt x="1169" y="1315"/>
                    </a:lnTo>
                    <a:lnTo>
                      <a:pt x="1169" y="1313"/>
                    </a:lnTo>
                    <a:lnTo>
                      <a:pt x="1168" y="1313"/>
                    </a:lnTo>
                    <a:lnTo>
                      <a:pt x="1168" y="1311"/>
                    </a:lnTo>
                    <a:lnTo>
                      <a:pt x="1169" y="1311"/>
                    </a:lnTo>
                    <a:lnTo>
                      <a:pt x="1171" y="1311"/>
                    </a:lnTo>
                    <a:lnTo>
                      <a:pt x="1171" y="1313"/>
                    </a:lnTo>
                    <a:lnTo>
                      <a:pt x="1171" y="1311"/>
                    </a:lnTo>
                    <a:lnTo>
                      <a:pt x="1169" y="1311"/>
                    </a:lnTo>
                    <a:lnTo>
                      <a:pt x="1169" y="1310"/>
                    </a:lnTo>
                    <a:lnTo>
                      <a:pt x="1169" y="1308"/>
                    </a:lnTo>
                    <a:lnTo>
                      <a:pt x="1169" y="1306"/>
                    </a:lnTo>
                    <a:lnTo>
                      <a:pt x="1171" y="1306"/>
                    </a:lnTo>
                    <a:lnTo>
                      <a:pt x="1169" y="1306"/>
                    </a:lnTo>
                    <a:lnTo>
                      <a:pt x="1169" y="1305"/>
                    </a:lnTo>
                    <a:lnTo>
                      <a:pt x="1168" y="1305"/>
                    </a:lnTo>
                    <a:lnTo>
                      <a:pt x="1168" y="1303"/>
                    </a:lnTo>
                    <a:lnTo>
                      <a:pt x="1166" y="1303"/>
                    </a:lnTo>
                    <a:lnTo>
                      <a:pt x="1166" y="1301"/>
                    </a:lnTo>
                    <a:lnTo>
                      <a:pt x="1168" y="1301"/>
                    </a:lnTo>
                    <a:lnTo>
                      <a:pt x="1169" y="1301"/>
                    </a:lnTo>
                    <a:lnTo>
                      <a:pt x="1169" y="1299"/>
                    </a:lnTo>
                    <a:lnTo>
                      <a:pt x="1169" y="1301"/>
                    </a:lnTo>
                    <a:lnTo>
                      <a:pt x="1171" y="1301"/>
                    </a:lnTo>
                    <a:lnTo>
                      <a:pt x="1171" y="1303"/>
                    </a:lnTo>
                    <a:lnTo>
                      <a:pt x="1173" y="1303"/>
                    </a:lnTo>
                    <a:lnTo>
                      <a:pt x="1173" y="1305"/>
                    </a:lnTo>
                    <a:lnTo>
                      <a:pt x="1171" y="1303"/>
                    </a:lnTo>
                    <a:lnTo>
                      <a:pt x="1171" y="1301"/>
                    </a:lnTo>
                    <a:lnTo>
                      <a:pt x="1169" y="1299"/>
                    </a:lnTo>
                    <a:lnTo>
                      <a:pt x="1171" y="1299"/>
                    </a:lnTo>
                    <a:lnTo>
                      <a:pt x="1171" y="1298"/>
                    </a:lnTo>
                    <a:lnTo>
                      <a:pt x="1171" y="1299"/>
                    </a:lnTo>
                    <a:lnTo>
                      <a:pt x="1169" y="1299"/>
                    </a:lnTo>
                    <a:lnTo>
                      <a:pt x="1168" y="1299"/>
                    </a:lnTo>
                    <a:lnTo>
                      <a:pt x="1168" y="1301"/>
                    </a:lnTo>
                    <a:lnTo>
                      <a:pt x="1166" y="1301"/>
                    </a:lnTo>
                    <a:lnTo>
                      <a:pt x="1164" y="1301"/>
                    </a:lnTo>
                    <a:lnTo>
                      <a:pt x="1164" y="1299"/>
                    </a:lnTo>
                    <a:lnTo>
                      <a:pt x="1166" y="1299"/>
                    </a:lnTo>
                    <a:lnTo>
                      <a:pt x="1168" y="1299"/>
                    </a:lnTo>
                    <a:lnTo>
                      <a:pt x="1166" y="1299"/>
                    </a:lnTo>
                    <a:lnTo>
                      <a:pt x="1164" y="1299"/>
                    </a:lnTo>
                    <a:lnTo>
                      <a:pt x="1164" y="1298"/>
                    </a:lnTo>
                    <a:lnTo>
                      <a:pt x="1166" y="1298"/>
                    </a:lnTo>
                    <a:lnTo>
                      <a:pt x="1168" y="1298"/>
                    </a:lnTo>
                    <a:lnTo>
                      <a:pt x="1169" y="1296"/>
                    </a:lnTo>
                    <a:lnTo>
                      <a:pt x="1168" y="1296"/>
                    </a:lnTo>
                    <a:lnTo>
                      <a:pt x="1168" y="1298"/>
                    </a:lnTo>
                    <a:lnTo>
                      <a:pt x="1168" y="1296"/>
                    </a:lnTo>
                    <a:lnTo>
                      <a:pt x="1168" y="1298"/>
                    </a:lnTo>
                    <a:lnTo>
                      <a:pt x="1166" y="1298"/>
                    </a:lnTo>
                    <a:lnTo>
                      <a:pt x="1164" y="1298"/>
                    </a:lnTo>
                    <a:lnTo>
                      <a:pt x="1162" y="1296"/>
                    </a:lnTo>
                    <a:lnTo>
                      <a:pt x="1164" y="1296"/>
                    </a:lnTo>
                    <a:lnTo>
                      <a:pt x="1166" y="1294"/>
                    </a:lnTo>
                    <a:lnTo>
                      <a:pt x="1168" y="1294"/>
                    </a:lnTo>
                    <a:lnTo>
                      <a:pt x="1169" y="1294"/>
                    </a:lnTo>
                    <a:lnTo>
                      <a:pt x="1168" y="1294"/>
                    </a:lnTo>
                    <a:lnTo>
                      <a:pt x="1169" y="1293"/>
                    </a:lnTo>
                    <a:lnTo>
                      <a:pt x="1168" y="1293"/>
                    </a:lnTo>
                    <a:lnTo>
                      <a:pt x="1168" y="1294"/>
                    </a:lnTo>
                    <a:lnTo>
                      <a:pt x="1166" y="1294"/>
                    </a:lnTo>
                    <a:lnTo>
                      <a:pt x="1164" y="1296"/>
                    </a:lnTo>
                    <a:lnTo>
                      <a:pt x="1162" y="1296"/>
                    </a:lnTo>
                    <a:lnTo>
                      <a:pt x="1162" y="1294"/>
                    </a:lnTo>
                    <a:lnTo>
                      <a:pt x="1162" y="1293"/>
                    </a:lnTo>
                    <a:lnTo>
                      <a:pt x="1162" y="1291"/>
                    </a:lnTo>
                    <a:lnTo>
                      <a:pt x="1164" y="1291"/>
                    </a:lnTo>
                    <a:lnTo>
                      <a:pt x="1164" y="1293"/>
                    </a:lnTo>
                    <a:lnTo>
                      <a:pt x="1166" y="1293"/>
                    </a:lnTo>
                    <a:lnTo>
                      <a:pt x="1168" y="1294"/>
                    </a:lnTo>
                    <a:lnTo>
                      <a:pt x="1168" y="1293"/>
                    </a:lnTo>
                    <a:lnTo>
                      <a:pt x="1166" y="1293"/>
                    </a:lnTo>
                    <a:lnTo>
                      <a:pt x="1164" y="1291"/>
                    </a:lnTo>
                    <a:lnTo>
                      <a:pt x="1166" y="1291"/>
                    </a:lnTo>
                    <a:lnTo>
                      <a:pt x="1166" y="1289"/>
                    </a:lnTo>
                    <a:lnTo>
                      <a:pt x="1164" y="1291"/>
                    </a:lnTo>
                    <a:lnTo>
                      <a:pt x="1162" y="1289"/>
                    </a:lnTo>
                    <a:lnTo>
                      <a:pt x="1164" y="1289"/>
                    </a:lnTo>
                    <a:lnTo>
                      <a:pt x="1166" y="1289"/>
                    </a:lnTo>
                    <a:lnTo>
                      <a:pt x="1168" y="1288"/>
                    </a:lnTo>
                    <a:lnTo>
                      <a:pt x="1168" y="1289"/>
                    </a:lnTo>
                    <a:lnTo>
                      <a:pt x="1168" y="1288"/>
                    </a:lnTo>
                    <a:lnTo>
                      <a:pt x="1169" y="1288"/>
                    </a:lnTo>
                    <a:lnTo>
                      <a:pt x="1168" y="1288"/>
                    </a:lnTo>
                    <a:lnTo>
                      <a:pt x="1169" y="1286"/>
                    </a:lnTo>
                    <a:lnTo>
                      <a:pt x="1169" y="1288"/>
                    </a:lnTo>
                    <a:lnTo>
                      <a:pt x="1169" y="1286"/>
                    </a:lnTo>
                    <a:lnTo>
                      <a:pt x="1171" y="1286"/>
                    </a:lnTo>
                    <a:lnTo>
                      <a:pt x="1171" y="1288"/>
                    </a:lnTo>
                    <a:lnTo>
                      <a:pt x="1171" y="1289"/>
                    </a:lnTo>
                    <a:lnTo>
                      <a:pt x="1169" y="1288"/>
                    </a:lnTo>
                    <a:lnTo>
                      <a:pt x="1169" y="1289"/>
                    </a:lnTo>
                    <a:lnTo>
                      <a:pt x="1171" y="1291"/>
                    </a:lnTo>
                    <a:lnTo>
                      <a:pt x="1171" y="1289"/>
                    </a:lnTo>
                    <a:lnTo>
                      <a:pt x="1171" y="1288"/>
                    </a:lnTo>
                    <a:lnTo>
                      <a:pt x="1171" y="1286"/>
                    </a:lnTo>
                    <a:lnTo>
                      <a:pt x="1173" y="1286"/>
                    </a:lnTo>
                    <a:lnTo>
                      <a:pt x="1173" y="1284"/>
                    </a:lnTo>
                    <a:lnTo>
                      <a:pt x="1174" y="1286"/>
                    </a:lnTo>
                    <a:close/>
                    <a:moveTo>
                      <a:pt x="1264" y="1498"/>
                    </a:moveTo>
                    <a:lnTo>
                      <a:pt x="1266" y="1498"/>
                    </a:lnTo>
                    <a:lnTo>
                      <a:pt x="1266" y="1500"/>
                    </a:lnTo>
                    <a:lnTo>
                      <a:pt x="1268" y="1500"/>
                    </a:lnTo>
                    <a:lnTo>
                      <a:pt x="1270" y="1500"/>
                    </a:lnTo>
                    <a:lnTo>
                      <a:pt x="1271" y="1500"/>
                    </a:lnTo>
                    <a:lnTo>
                      <a:pt x="1273" y="1500"/>
                    </a:lnTo>
                    <a:lnTo>
                      <a:pt x="1275" y="1500"/>
                    </a:lnTo>
                    <a:lnTo>
                      <a:pt x="1276" y="1500"/>
                    </a:lnTo>
                    <a:lnTo>
                      <a:pt x="1278" y="1498"/>
                    </a:lnTo>
                    <a:lnTo>
                      <a:pt x="1280" y="1498"/>
                    </a:lnTo>
                    <a:lnTo>
                      <a:pt x="1281" y="1497"/>
                    </a:lnTo>
                    <a:lnTo>
                      <a:pt x="1281" y="1498"/>
                    </a:lnTo>
                    <a:lnTo>
                      <a:pt x="1281" y="1500"/>
                    </a:lnTo>
                    <a:lnTo>
                      <a:pt x="1283" y="1500"/>
                    </a:lnTo>
                    <a:lnTo>
                      <a:pt x="1283" y="1502"/>
                    </a:lnTo>
                    <a:lnTo>
                      <a:pt x="1285" y="1502"/>
                    </a:lnTo>
                    <a:lnTo>
                      <a:pt x="1283" y="1504"/>
                    </a:lnTo>
                    <a:lnTo>
                      <a:pt x="1285" y="1505"/>
                    </a:lnTo>
                    <a:lnTo>
                      <a:pt x="1283" y="1507"/>
                    </a:lnTo>
                    <a:lnTo>
                      <a:pt x="1285" y="1505"/>
                    </a:lnTo>
                    <a:lnTo>
                      <a:pt x="1285" y="1507"/>
                    </a:lnTo>
                    <a:lnTo>
                      <a:pt x="1283" y="1507"/>
                    </a:lnTo>
                    <a:lnTo>
                      <a:pt x="1283" y="1509"/>
                    </a:lnTo>
                    <a:lnTo>
                      <a:pt x="1281" y="1509"/>
                    </a:lnTo>
                    <a:lnTo>
                      <a:pt x="1280" y="1509"/>
                    </a:lnTo>
                    <a:lnTo>
                      <a:pt x="1278" y="1510"/>
                    </a:lnTo>
                    <a:lnTo>
                      <a:pt x="1276" y="1510"/>
                    </a:lnTo>
                    <a:lnTo>
                      <a:pt x="1276" y="1512"/>
                    </a:lnTo>
                    <a:lnTo>
                      <a:pt x="1275" y="1512"/>
                    </a:lnTo>
                    <a:lnTo>
                      <a:pt x="1275" y="1514"/>
                    </a:lnTo>
                    <a:lnTo>
                      <a:pt x="1273" y="1514"/>
                    </a:lnTo>
                    <a:lnTo>
                      <a:pt x="1271" y="1515"/>
                    </a:lnTo>
                    <a:lnTo>
                      <a:pt x="1270" y="1515"/>
                    </a:lnTo>
                    <a:lnTo>
                      <a:pt x="1270" y="1517"/>
                    </a:lnTo>
                    <a:lnTo>
                      <a:pt x="1268" y="1517"/>
                    </a:lnTo>
                    <a:lnTo>
                      <a:pt x="1266" y="1517"/>
                    </a:lnTo>
                    <a:lnTo>
                      <a:pt x="1266" y="1519"/>
                    </a:lnTo>
                    <a:lnTo>
                      <a:pt x="1266" y="1521"/>
                    </a:lnTo>
                    <a:lnTo>
                      <a:pt x="1264" y="1521"/>
                    </a:lnTo>
                    <a:lnTo>
                      <a:pt x="1264" y="1522"/>
                    </a:lnTo>
                    <a:lnTo>
                      <a:pt x="1263" y="1524"/>
                    </a:lnTo>
                    <a:lnTo>
                      <a:pt x="1263" y="1526"/>
                    </a:lnTo>
                    <a:lnTo>
                      <a:pt x="1261" y="1524"/>
                    </a:lnTo>
                    <a:lnTo>
                      <a:pt x="1261" y="1526"/>
                    </a:lnTo>
                    <a:lnTo>
                      <a:pt x="1259" y="1526"/>
                    </a:lnTo>
                    <a:lnTo>
                      <a:pt x="1259" y="1524"/>
                    </a:lnTo>
                    <a:lnTo>
                      <a:pt x="1258" y="1524"/>
                    </a:lnTo>
                    <a:lnTo>
                      <a:pt x="1258" y="1522"/>
                    </a:lnTo>
                    <a:lnTo>
                      <a:pt x="1256" y="1521"/>
                    </a:lnTo>
                    <a:lnTo>
                      <a:pt x="1254" y="1521"/>
                    </a:lnTo>
                    <a:lnTo>
                      <a:pt x="1253" y="1519"/>
                    </a:lnTo>
                    <a:lnTo>
                      <a:pt x="1251" y="1519"/>
                    </a:lnTo>
                    <a:lnTo>
                      <a:pt x="1253" y="1521"/>
                    </a:lnTo>
                    <a:lnTo>
                      <a:pt x="1254" y="1521"/>
                    </a:lnTo>
                    <a:lnTo>
                      <a:pt x="1254" y="1522"/>
                    </a:lnTo>
                    <a:lnTo>
                      <a:pt x="1256" y="1522"/>
                    </a:lnTo>
                    <a:lnTo>
                      <a:pt x="1254" y="1522"/>
                    </a:lnTo>
                    <a:lnTo>
                      <a:pt x="1256" y="1524"/>
                    </a:lnTo>
                    <a:lnTo>
                      <a:pt x="1254" y="1524"/>
                    </a:lnTo>
                    <a:lnTo>
                      <a:pt x="1254" y="1522"/>
                    </a:lnTo>
                    <a:lnTo>
                      <a:pt x="1253" y="1522"/>
                    </a:lnTo>
                    <a:lnTo>
                      <a:pt x="1253" y="1521"/>
                    </a:lnTo>
                    <a:lnTo>
                      <a:pt x="1251" y="1521"/>
                    </a:lnTo>
                    <a:lnTo>
                      <a:pt x="1251" y="1522"/>
                    </a:lnTo>
                    <a:lnTo>
                      <a:pt x="1251" y="1521"/>
                    </a:lnTo>
                    <a:lnTo>
                      <a:pt x="1249" y="1521"/>
                    </a:lnTo>
                    <a:lnTo>
                      <a:pt x="1247" y="1521"/>
                    </a:lnTo>
                    <a:lnTo>
                      <a:pt x="1247" y="1522"/>
                    </a:lnTo>
                    <a:lnTo>
                      <a:pt x="1247" y="1521"/>
                    </a:lnTo>
                    <a:lnTo>
                      <a:pt x="1246" y="1522"/>
                    </a:lnTo>
                    <a:lnTo>
                      <a:pt x="1244" y="1522"/>
                    </a:lnTo>
                    <a:lnTo>
                      <a:pt x="1246" y="1522"/>
                    </a:lnTo>
                    <a:lnTo>
                      <a:pt x="1247" y="1522"/>
                    </a:lnTo>
                    <a:lnTo>
                      <a:pt x="1249" y="1522"/>
                    </a:lnTo>
                    <a:lnTo>
                      <a:pt x="1251" y="1522"/>
                    </a:lnTo>
                    <a:lnTo>
                      <a:pt x="1253" y="1524"/>
                    </a:lnTo>
                    <a:lnTo>
                      <a:pt x="1253" y="1526"/>
                    </a:lnTo>
                    <a:lnTo>
                      <a:pt x="1254" y="1526"/>
                    </a:lnTo>
                    <a:lnTo>
                      <a:pt x="1256" y="1526"/>
                    </a:lnTo>
                    <a:lnTo>
                      <a:pt x="1256" y="1527"/>
                    </a:lnTo>
                    <a:lnTo>
                      <a:pt x="1258" y="1529"/>
                    </a:lnTo>
                    <a:lnTo>
                      <a:pt x="1256" y="1529"/>
                    </a:lnTo>
                    <a:lnTo>
                      <a:pt x="1254" y="1529"/>
                    </a:lnTo>
                    <a:lnTo>
                      <a:pt x="1253" y="1529"/>
                    </a:lnTo>
                    <a:lnTo>
                      <a:pt x="1251" y="1529"/>
                    </a:lnTo>
                    <a:lnTo>
                      <a:pt x="1251" y="1527"/>
                    </a:lnTo>
                    <a:lnTo>
                      <a:pt x="1251" y="1529"/>
                    </a:lnTo>
                    <a:lnTo>
                      <a:pt x="1253" y="1529"/>
                    </a:lnTo>
                    <a:lnTo>
                      <a:pt x="1253" y="1531"/>
                    </a:lnTo>
                    <a:lnTo>
                      <a:pt x="1251" y="1531"/>
                    </a:lnTo>
                    <a:lnTo>
                      <a:pt x="1249" y="1531"/>
                    </a:lnTo>
                    <a:lnTo>
                      <a:pt x="1249" y="1529"/>
                    </a:lnTo>
                    <a:lnTo>
                      <a:pt x="1249" y="1527"/>
                    </a:lnTo>
                    <a:lnTo>
                      <a:pt x="1249" y="1529"/>
                    </a:lnTo>
                    <a:lnTo>
                      <a:pt x="1247" y="1529"/>
                    </a:lnTo>
                    <a:lnTo>
                      <a:pt x="1246" y="1527"/>
                    </a:lnTo>
                    <a:lnTo>
                      <a:pt x="1246" y="1529"/>
                    </a:lnTo>
                    <a:lnTo>
                      <a:pt x="1247" y="1529"/>
                    </a:lnTo>
                    <a:lnTo>
                      <a:pt x="1249" y="1531"/>
                    </a:lnTo>
                    <a:lnTo>
                      <a:pt x="1247" y="1531"/>
                    </a:lnTo>
                    <a:lnTo>
                      <a:pt x="1246" y="1529"/>
                    </a:lnTo>
                    <a:lnTo>
                      <a:pt x="1244" y="1529"/>
                    </a:lnTo>
                    <a:lnTo>
                      <a:pt x="1242" y="1529"/>
                    </a:lnTo>
                    <a:lnTo>
                      <a:pt x="1244" y="1529"/>
                    </a:lnTo>
                    <a:lnTo>
                      <a:pt x="1246" y="1531"/>
                    </a:lnTo>
                    <a:lnTo>
                      <a:pt x="1247" y="1531"/>
                    </a:lnTo>
                    <a:lnTo>
                      <a:pt x="1247" y="1532"/>
                    </a:lnTo>
                    <a:lnTo>
                      <a:pt x="1249" y="1531"/>
                    </a:lnTo>
                    <a:lnTo>
                      <a:pt x="1249" y="1532"/>
                    </a:lnTo>
                    <a:lnTo>
                      <a:pt x="1247" y="1532"/>
                    </a:lnTo>
                    <a:lnTo>
                      <a:pt x="1249" y="1534"/>
                    </a:lnTo>
                    <a:lnTo>
                      <a:pt x="1247" y="1534"/>
                    </a:lnTo>
                    <a:lnTo>
                      <a:pt x="1246" y="1534"/>
                    </a:lnTo>
                    <a:lnTo>
                      <a:pt x="1246" y="1532"/>
                    </a:lnTo>
                    <a:lnTo>
                      <a:pt x="1246" y="1534"/>
                    </a:lnTo>
                    <a:lnTo>
                      <a:pt x="1246" y="1536"/>
                    </a:lnTo>
                    <a:lnTo>
                      <a:pt x="1246" y="1538"/>
                    </a:lnTo>
                    <a:lnTo>
                      <a:pt x="1246" y="1539"/>
                    </a:lnTo>
                    <a:lnTo>
                      <a:pt x="1244" y="1539"/>
                    </a:lnTo>
                    <a:lnTo>
                      <a:pt x="1242" y="1539"/>
                    </a:lnTo>
                    <a:lnTo>
                      <a:pt x="1242" y="1538"/>
                    </a:lnTo>
                    <a:lnTo>
                      <a:pt x="1241" y="1538"/>
                    </a:lnTo>
                    <a:lnTo>
                      <a:pt x="1242" y="1538"/>
                    </a:lnTo>
                    <a:lnTo>
                      <a:pt x="1242" y="1539"/>
                    </a:lnTo>
                    <a:lnTo>
                      <a:pt x="1244" y="1539"/>
                    </a:lnTo>
                    <a:lnTo>
                      <a:pt x="1244" y="1541"/>
                    </a:lnTo>
                    <a:lnTo>
                      <a:pt x="1242" y="1543"/>
                    </a:lnTo>
                    <a:lnTo>
                      <a:pt x="1244" y="1541"/>
                    </a:lnTo>
                    <a:lnTo>
                      <a:pt x="1246" y="1539"/>
                    </a:lnTo>
                    <a:lnTo>
                      <a:pt x="1246" y="1541"/>
                    </a:lnTo>
                    <a:lnTo>
                      <a:pt x="1247" y="1541"/>
                    </a:lnTo>
                    <a:lnTo>
                      <a:pt x="1247" y="1543"/>
                    </a:lnTo>
                    <a:lnTo>
                      <a:pt x="1249" y="1544"/>
                    </a:lnTo>
                    <a:lnTo>
                      <a:pt x="1249" y="1546"/>
                    </a:lnTo>
                    <a:lnTo>
                      <a:pt x="1251" y="1546"/>
                    </a:lnTo>
                    <a:lnTo>
                      <a:pt x="1251" y="1548"/>
                    </a:lnTo>
                    <a:lnTo>
                      <a:pt x="1249" y="1548"/>
                    </a:lnTo>
                    <a:lnTo>
                      <a:pt x="1247" y="1548"/>
                    </a:lnTo>
                    <a:lnTo>
                      <a:pt x="1246" y="1548"/>
                    </a:lnTo>
                    <a:lnTo>
                      <a:pt x="1244" y="1548"/>
                    </a:lnTo>
                    <a:lnTo>
                      <a:pt x="1246" y="1548"/>
                    </a:lnTo>
                    <a:lnTo>
                      <a:pt x="1246" y="1546"/>
                    </a:lnTo>
                    <a:lnTo>
                      <a:pt x="1244" y="1546"/>
                    </a:lnTo>
                    <a:lnTo>
                      <a:pt x="1242" y="1546"/>
                    </a:lnTo>
                    <a:lnTo>
                      <a:pt x="1242" y="1544"/>
                    </a:lnTo>
                    <a:lnTo>
                      <a:pt x="1244" y="1544"/>
                    </a:lnTo>
                    <a:lnTo>
                      <a:pt x="1242" y="1543"/>
                    </a:lnTo>
                    <a:lnTo>
                      <a:pt x="1242" y="1544"/>
                    </a:lnTo>
                    <a:lnTo>
                      <a:pt x="1241" y="1544"/>
                    </a:lnTo>
                    <a:lnTo>
                      <a:pt x="1239" y="1543"/>
                    </a:lnTo>
                    <a:lnTo>
                      <a:pt x="1237" y="1541"/>
                    </a:lnTo>
                    <a:lnTo>
                      <a:pt x="1237" y="1539"/>
                    </a:lnTo>
                    <a:lnTo>
                      <a:pt x="1237" y="1541"/>
                    </a:lnTo>
                    <a:lnTo>
                      <a:pt x="1237" y="1543"/>
                    </a:lnTo>
                    <a:lnTo>
                      <a:pt x="1236" y="1541"/>
                    </a:lnTo>
                    <a:lnTo>
                      <a:pt x="1237" y="1539"/>
                    </a:lnTo>
                    <a:lnTo>
                      <a:pt x="1236" y="1539"/>
                    </a:lnTo>
                    <a:lnTo>
                      <a:pt x="1234" y="1539"/>
                    </a:lnTo>
                    <a:lnTo>
                      <a:pt x="1232" y="1539"/>
                    </a:lnTo>
                    <a:lnTo>
                      <a:pt x="1234" y="1538"/>
                    </a:lnTo>
                    <a:lnTo>
                      <a:pt x="1232" y="1538"/>
                    </a:lnTo>
                    <a:lnTo>
                      <a:pt x="1230" y="1538"/>
                    </a:lnTo>
                    <a:lnTo>
                      <a:pt x="1230" y="1536"/>
                    </a:lnTo>
                    <a:lnTo>
                      <a:pt x="1230" y="1534"/>
                    </a:lnTo>
                    <a:lnTo>
                      <a:pt x="1229" y="1534"/>
                    </a:lnTo>
                    <a:lnTo>
                      <a:pt x="1229" y="1532"/>
                    </a:lnTo>
                    <a:lnTo>
                      <a:pt x="1229" y="1534"/>
                    </a:lnTo>
                    <a:lnTo>
                      <a:pt x="1227" y="1534"/>
                    </a:lnTo>
                    <a:lnTo>
                      <a:pt x="1227" y="1532"/>
                    </a:lnTo>
                    <a:lnTo>
                      <a:pt x="1225" y="1534"/>
                    </a:lnTo>
                    <a:lnTo>
                      <a:pt x="1225" y="1532"/>
                    </a:lnTo>
                    <a:lnTo>
                      <a:pt x="1224" y="1532"/>
                    </a:lnTo>
                    <a:lnTo>
                      <a:pt x="1225" y="1531"/>
                    </a:lnTo>
                    <a:lnTo>
                      <a:pt x="1224" y="1532"/>
                    </a:lnTo>
                    <a:lnTo>
                      <a:pt x="1222" y="1531"/>
                    </a:lnTo>
                    <a:lnTo>
                      <a:pt x="1222" y="1529"/>
                    </a:lnTo>
                    <a:lnTo>
                      <a:pt x="1222" y="1531"/>
                    </a:lnTo>
                    <a:lnTo>
                      <a:pt x="1224" y="1529"/>
                    </a:lnTo>
                    <a:lnTo>
                      <a:pt x="1222" y="1529"/>
                    </a:lnTo>
                    <a:lnTo>
                      <a:pt x="1222" y="1527"/>
                    </a:lnTo>
                    <a:lnTo>
                      <a:pt x="1220" y="1527"/>
                    </a:lnTo>
                    <a:lnTo>
                      <a:pt x="1220" y="1526"/>
                    </a:lnTo>
                    <a:lnTo>
                      <a:pt x="1222" y="1527"/>
                    </a:lnTo>
                    <a:lnTo>
                      <a:pt x="1224" y="1527"/>
                    </a:lnTo>
                    <a:lnTo>
                      <a:pt x="1225" y="1527"/>
                    </a:lnTo>
                    <a:lnTo>
                      <a:pt x="1225" y="1529"/>
                    </a:lnTo>
                    <a:lnTo>
                      <a:pt x="1225" y="1527"/>
                    </a:lnTo>
                    <a:lnTo>
                      <a:pt x="1227" y="1527"/>
                    </a:lnTo>
                    <a:lnTo>
                      <a:pt x="1229" y="1527"/>
                    </a:lnTo>
                    <a:lnTo>
                      <a:pt x="1229" y="1529"/>
                    </a:lnTo>
                    <a:lnTo>
                      <a:pt x="1229" y="1527"/>
                    </a:lnTo>
                    <a:lnTo>
                      <a:pt x="1230" y="1527"/>
                    </a:lnTo>
                    <a:lnTo>
                      <a:pt x="1230" y="1529"/>
                    </a:lnTo>
                    <a:lnTo>
                      <a:pt x="1232" y="1527"/>
                    </a:lnTo>
                    <a:lnTo>
                      <a:pt x="1230" y="1527"/>
                    </a:lnTo>
                    <a:lnTo>
                      <a:pt x="1232" y="1527"/>
                    </a:lnTo>
                    <a:lnTo>
                      <a:pt x="1230" y="1527"/>
                    </a:lnTo>
                    <a:lnTo>
                      <a:pt x="1232" y="1527"/>
                    </a:lnTo>
                    <a:lnTo>
                      <a:pt x="1234" y="1527"/>
                    </a:lnTo>
                    <a:lnTo>
                      <a:pt x="1232" y="1529"/>
                    </a:lnTo>
                    <a:lnTo>
                      <a:pt x="1234" y="1529"/>
                    </a:lnTo>
                    <a:lnTo>
                      <a:pt x="1236" y="1529"/>
                    </a:lnTo>
                    <a:lnTo>
                      <a:pt x="1236" y="1531"/>
                    </a:lnTo>
                    <a:lnTo>
                      <a:pt x="1236" y="1529"/>
                    </a:lnTo>
                    <a:lnTo>
                      <a:pt x="1237" y="1531"/>
                    </a:lnTo>
                    <a:lnTo>
                      <a:pt x="1239" y="1531"/>
                    </a:lnTo>
                    <a:lnTo>
                      <a:pt x="1239" y="1532"/>
                    </a:lnTo>
                    <a:lnTo>
                      <a:pt x="1237" y="1532"/>
                    </a:lnTo>
                    <a:lnTo>
                      <a:pt x="1239" y="1532"/>
                    </a:lnTo>
                    <a:lnTo>
                      <a:pt x="1237" y="1534"/>
                    </a:lnTo>
                    <a:lnTo>
                      <a:pt x="1239" y="1534"/>
                    </a:lnTo>
                    <a:lnTo>
                      <a:pt x="1237" y="1534"/>
                    </a:lnTo>
                    <a:lnTo>
                      <a:pt x="1239" y="1534"/>
                    </a:lnTo>
                    <a:lnTo>
                      <a:pt x="1239" y="1532"/>
                    </a:lnTo>
                    <a:lnTo>
                      <a:pt x="1241" y="1532"/>
                    </a:lnTo>
                    <a:lnTo>
                      <a:pt x="1239" y="1531"/>
                    </a:lnTo>
                    <a:lnTo>
                      <a:pt x="1237" y="1531"/>
                    </a:lnTo>
                    <a:lnTo>
                      <a:pt x="1237" y="1529"/>
                    </a:lnTo>
                    <a:lnTo>
                      <a:pt x="1236" y="1529"/>
                    </a:lnTo>
                    <a:lnTo>
                      <a:pt x="1236" y="1527"/>
                    </a:lnTo>
                    <a:lnTo>
                      <a:pt x="1236" y="1529"/>
                    </a:lnTo>
                    <a:lnTo>
                      <a:pt x="1236" y="1527"/>
                    </a:lnTo>
                    <a:lnTo>
                      <a:pt x="1237" y="1527"/>
                    </a:lnTo>
                    <a:lnTo>
                      <a:pt x="1239" y="1529"/>
                    </a:lnTo>
                    <a:lnTo>
                      <a:pt x="1239" y="1527"/>
                    </a:lnTo>
                    <a:lnTo>
                      <a:pt x="1237" y="1527"/>
                    </a:lnTo>
                    <a:lnTo>
                      <a:pt x="1237" y="1526"/>
                    </a:lnTo>
                    <a:lnTo>
                      <a:pt x="1239" y="1526"/>
                    </a:lnTo>
                    <a:lnTo>
                      <a:pt x="1241" y="1527"/>
                    </a:lnTo>
                    <a:lnTo>
                      <a:pt x="1239" y="1526"/>
                    </a:lnTo>
                    <a:lnTo>
                      <a:pt x="1241" y="1526"/>
                    </a:lnTo>
                    <a:lnTo>
                      <a:pt x="1241" y="1527"/>
                    </a:lnTo>
                    <a:lnTo>
                      <a:pt x="1241" y="1526"/>
                    </a:lnTo>
                    <a:lnTo>
                      <a:pt x="1239" y="1526"/>
                    </a:lnTo>
                    <a:lnTo>
                      <a:pt x="1241" y="1526"/>
                    </a:lnTo>
                    <a:lnTo>
                      <a:pt x="1239" y="1526"/>
                    </a:lnTo>
                    <a:lnTo>
                      <a:pt x="1239" y="1524"/>
                    </a:lnTo>
                    <a:lnTo>
                      <a:pt x="1239" y="1526"/>
                    </a:lnTo>
                    <a:lnTo>
                      <a:pt x="1237" y="1526"/>
                    </a:lnTo>
                    <a:lnTo>
                      <a:pt x="1237" y="1524"/>
                    </a:lnTo>
                    <a:lnTo>
                      <a:pt x="1236" y="1526"/>
                    </a:lnTo>
                    <a:lnTo>
                      <a:pt x="1234" y="1526"/>
                    </a:lnTo>
                    <a:lnTo>
                      <a:pt x="1232" y="1524"/>
                    </a:lnTo>
                    <a:lnTo>
                      <a:pt x="1230" y="1524"/>
                    </a:lnTo>
                    <a:lnTo>
                      <a:pt x="1232" y="1522"/>
                    </a:lnTo>
                    <a:lnTo>
                      <a:pt x="1232" y="1524"/>
                    </a:lnTo>
                    <a:lnTo>
                      <a:pt x="1232" y="1522"/>
                    </a:lnTo>
                    <a:lnTo>
                      <a:pt x="1234" y="1522"/>
                    </a:lnTo>
                    <a:lnTo>
                      <a:pt x="1234" y="1521"/>
                    </a:lnTo>
                    <a:lnTo>
                      <a:pt x="1236" y="1521"/>
                    </a:lnTo>
                    <a:lnTo>
                      <a:pt x="1236" y="1519"/>
                    </a:lnTo>
                    <a:lnTo>
                      <a:pt x="1234" y="1519"/>
                    </a:lnTo>
                    <a:lnTo>
                      <a:pt x="1234" y="1521"/>
                    </a:lnTo>
                    <a:lnTo>
                      <a:pt x="1232" y="1521"/>
                    </a:lnTo>
                    <a:lnTo>
                      <a:pt x="1232" y="1519"/>
                    </a:lnTo>
                    <a:lnTo>
                      <a:pt x="1232" y="1517"/>
                    </a:lnTo>
                    <a:lnTo>
                      <a:pt x="1232" y="1515"/>
                    </a:lnTo>
                    <a:lnTo>
                      <a:pt x="1230" y="1514"/>
                    </a:lnTo>
                    <a:lnTo>
                      <a:pt x="1232" y="1514"/>
                    </a:lnTo>
                    <a:lnTo>
                      <a:pt x="1232" y="1512"/>
                    </a:lnTo>
                    <a:lnTo>
                      <a:pt x="1234" y="1512"/>
                    </a:lnTo>
                    <a:lnTo>
                      <a:pt x="1232" y="1512"/>
                    </a:lnTo>
                    <a:lnTo>
                      <a:pt x="1232" y="1510"/>
                    </a:lnTo>
                    <a:lnTo>
                      <a:pt x="1230" y="1510"/>
                    </a:lnTo>
                    <a:lnTo>
                      <a:pt x="1230" y="1509"/>
                    </a:lnTo>
                    <a:lnTo>
                      <a:pt x="1232" y="1509"/>
                    </a:lnTo>
                    <a:lnTo>
                      <a:pt x="1234" y="1509"/>
                    </a:lnTo>
                    <a:lnTo>
                      <a:pt x="1236" y="1507"/>
                    </a:lnTo>
                    <a:lnTo>
                      <a:pt x="1236" y="1505"/>
                    </a:lnTo>
                    <a:lnTo>
                      <a:pt x="1237" y="1505"/>
                    </a:lnTo>
                    <a:lnTo>
                      <a:pt x="1237" y="1507"/>
                    </a:lnTo>
                    <a:lnTo>
                      <a:pt x="1236" y="1507"/>
                    </a:lnTo>
                    <a:lnTo>
                      <a:pt x="1237" y="1507"/>
                    </a:lnTo>
                    <a:lnTo>
                      <a:pt x="1239" y="1505"/>
                    </a:lnTo>
                    <a:lnTo>
                      <a:pt x="1239" y="1504"/>
                    </a:lnTo>
                    <a:lnTo>
                      <a:pt x="1241" y="1502"/>
                    </a:lnTo>
                    <a:lnTo>
                      <a:pt x="1242" y="1502"/>
                    </a:lnTo>
                    <a:lnTo>
                      <a:pt x="1242" y="1504"/>
                    </a:lnTo>
                    <a:lnTo>
                      <a:pt x="1244" y="1505"/>
                    </a:lnTo>
                    <a:lnTo>
                      <a:pt x="1242" y="1505"/>
                    </a:lnTo>
                    <a:lnTo>
                      <a:pt x="1242" y="1507"/>
                    </a:lnTo>
                    <a:lnTo>
                      <a:pt x="1241" y="1509"/>
                    </a:lnTo>
                    <a:lnTo>
                      <a:pt x="1239" y="1510"/>
                    </a:lnTo>
                    <a:lnTo>
                      <a:pt x="1239" y="1512"/>
                    </a:lnTo>
                    <a:lnTo>
                      <a:pt x="1241" y="1512"/>
                    </a:lnTo>
                    <a:lnTo>
                      <a:pt x="1241" y="1510"/>
                    </a:lnTo>
                    <a:lnTo>
                      <a:pt x="1241" y="1509"/>
                    </a:lnTo>
                    <a:lnTo>
                      <a:pt x="1242" y="1509"/>
                    </a:lnTo>
                    <a:lnTo>
                      <a:pt x="1242" y="1507"/>
                    </a:lnTo>
                    <a:lnTo>
                      <a:pt x="1244" y="1507"/>
                    </a:lnTo>
                    <a:lnTo>
                      <a:pt x="1246" y="1507"/>
                    </a:lnTo>
                    <a:lnTo>
                      <a:pt x="1244" y="1509"/>
                    </a:lnTo>
                    <a:lnTo>
                      <a:pt x="1242" y="1509"/>
                    </a:lnTo>
                    <a:lnTo>
                      <a:pt x="1242" y="1510"/>
                    </a:lnTo>
                    <a:lnTo>
                      <a:pt x="1244" y="1509"/>
                    </a:lnTo>
                    <a:lnTo>
                      <a:pt x="1246" y="1507"/>
                    </a:lnTo>
                    <a:lnTo>
                      <a:pt x="1246" y="1509"/>
                    </a:lnTo>
                    <a:lnTo>
                      <a:pt x="1244" y="1509"/>
                    </a:lnTo>
                    <a:lnTo>
                      <a:pt x="1244" y="1510"/>
                    </a:lnTo>
                    <a:lnTo>
                      <a:pt x="1244" y="1509"/>
                    </a:lnTo>
                    <a:lnTo>
                      <a:pt x="1246" y="1509"/>
                    </a:lnTo>
                    <a:lnTo>
                      <a:pt x="1247" y="1507"/>
                    </a:lnTo>
                    <a:lnTo>
                      <a:pt x="1247" y="1509"/>
                    </a:lnTo>
                    <a:lnTo>
                      <a:pt x="1247" y="1507"/>
                    </a:lnTo>
                    <a:lnTo>
                      <a:pt x="1247" y="1509"/>
                    </a:lnTo>
                    <a:lnTo>
                      <a:pt x="1249" y="1510"/>
                    </a:lnTo>
                    <a:lnTo>
                      <a:pt x="1249" y="1509"/>
                    </a:lnTo>
                    <a:lnTo>
                      <a:pt x="1249" y="1507"/>
                    </a:lnTo>
                    <a:lnTo>
                      <a:pt x="1251" y="1507"/>
                    </a:lnTo>
                    <a:lnTo>
                      <a:pt x="1251" y="1505"/>
                    </a:lnTo>
                    <a:lnTo>
                      <a:pt x="1253" y="1505"/>
                    </a:lnTo>
                    <a:lnTo>
                      <a:pt x="1254" y="1504"/>
                    </a:lnTo>
                    <a:lnTo>
                      <a:pt x="1254" y="1502"/>
                    </a:lnTo>
                    <a:lnTo>
                      <a:pt x="1256" y="1502"/>
                    </a:lnTo>
                    <a:lnTo>
                      <a:pt x="1258" y="1500"/>
                    </a:lnTo>
                    <a:lnTo>
                      <a:pt x="1258" y="1498"/>
                    </a:lnTo>
                    <a:lnTo>
                      <a:pt x="1259" y="1498"/>
                    </a:lnTo>
                    <a:lnTo>
                      <a:pt x="1261" y="1498"/>
                    </a:lnTo>
                    <a:lnTo>
                      <a:pt x="1263" y="1500"/>
                    </a:lnTo>
                    <a:lnTo>
                      <a:pt x="1263" y="1498"/>
                    </a:lnTo>
                    <a:lnTo>
                      <a:pt x="1264" y="1497"/>
                    </a:lnTo>
                    <a:lnTo>
                      <a:pt x="1264" y="1498"/>
                    </a:lnTo>
                    <a:close/>
                    <a:moveTo>
                      <a:pt x="1382" y="1628"/>
                    </a:moveTo>
                    <a:lnTo>
                      <a:pt x="1383" y="1629"/>
                    </a:lnTo>
                    <a:lnTo>
                      <a:pt x="1385" y="1629"/>
                    </a:lnTo>
                    <a:lnTo>
                      <a:pt x="1385" y="1631"/>
                    </a:lnTo>
                    <a:lnTo>
                      <a:pt x="1387" y="1631"/>
                    </a:lnTo>
                    <a:lnTo>
                      <a:pt x="1387" y="1633"/>
                    </a:lnTo>
                    <a:lnTo>
                      <a:pt x="1389" y="1635"/>
                    </a:lnTo>
                    <a:lnTo>
                      <a:pt x="1389" y="1636"/>
                    </a:lnTo>
                    <a:lnTo>
                      <a:pt x="1387" y="1636"/>
                    </a:lnTo>
                    <a:lnTo>
                      <a:pt x="1385" y="1636"/>
                    </a:lnTo>
                    <a:lnTo>
                      <a:pt x="1385" y="1635"/>
                    </a:lnTo>
                    <a:lnTo>
                      <a:pt x="1383" y="1635"/>
                    </a:lnTo>
                    <a:lnTo>
                      <a:pt x="1385" y="1636"/>
                    </a:lnTo>
                    <a:lnTo>
                      <a:pt x="1385" y="1638"/>
                    </a:lnTo>
                    <a:lnTo>
                      <a:pt x="1383" y="1640"/>
                    </a:lnTo>
                    <a:lnTo>
                      <a:pt x="1382" y="1640"/>
                    </a:lnTo>
                    <a:lnTo>
                      <a:pt x="1380" y="1638"/>
                    </a:lnTo>
                    <a:lnTo>
                      <a:pt x="1378" y="1638"/>
                    </a:lnTo>
                    <a:lnTo>
                      <a:pt x="1380" y="1638"/>
                    </a:lnTo>
                    <a:lnTo>
                      <a:pt x="1380" y="1640"/>
                    </a:lnTo>
                    <a:lnTo>
                      <a:pt x="1380" y="1641"/>
                    </a:lnTo>
                    <a:lnTo>
                      <a:pt x="1378" y="1641"/>
                    </a:lnTo>
                    <a:lnTo>
                      <a:pt x="1377" y="1641"/>
                    </a:lnTo>
                    <a:lnTo>
                      <a:pt x="1375" y="1641"/>
                    </a:lnTo>
                    <a:lnTo>
                      <a:pt x="1373" y="1641"/>
                    </a:lnTo>
                    <a:lnTo>
                      <a:pt x="1373" y="1640"/>
                    </a:lnTo>
                    <a:lnTo>
                      <a:pt x="1372" y="1640"/>
                    </a:lnTo>
                    <a:lnTo>
                      <a:pt x="1370" y="1640"/>
                    </a:lnTo>
                    <a:lnTo>
                      <a:pt x="1370" y="1638"/>
                    </a:lnTo>
                    <a:lnTo>
                      <a:pt x="1368" y="1638"/>
                    </a:lnTo>
                    <a:lnTo>
                      <a:pt x="1368" y="1636"/>
                    </a:lnTo>
                    <a:lnTo>
                      <a:pt x="1366" y="1636"/>
                    </a:lnTo>
                    <a:lnTo>
                      <a:pt x="1365" y="1635"/>
                    </a:lnTo>
                    <a:lnTo>
                      <a:pt x="1363" y="1636"/>
                    </a:lnTo>
                    <a:lnTo>
                      <a:pt x="1365" y="1636"/>
                    </a:lnTo>
                    <a:lnTo>
                      <a:pt x="1366" y="1636"/>
                    </a:lnTo>
                    <a:lnTo>
                      <a:pt x="1366" y="1638"/>
                    </a:lnTo>
                    <a:lnTo>
                      <a:pt x="1366" y="1640"/>
                    </a:lnTo>
                    <a:lnTo>
                      <a:pt x="1368" y="1640"/>
                    </a:lnTo>
                    <a:lnTo>
                      <a:pt x="1370" y="1640"/>
                    </a:lnTo>
                    <a:lnTo>
                      <a:pt x="1370" y="1641"/>
                    </a:lnTo>
                    <a:lnTo>
                      <a:pt x="1372" y="1641"/>
                    </a:lnTo>
                    <a:lnTo>
                      <a:pt x="1372" y="1643"/>
                    </a:lnTo>
                    <a:lnTo>
                      <a:pt x="1372" y="1641"/>
                    </a:lnTo>
                    <a:lnTo>
                      <a:pt x="1372" y="1643"/>
                    </a:lnTo>
                    <a:lnTo>
                      <a:pt x="1373" y="1643"/>
                    </a:lnTo>
                    <a:lnTo>
                      <a:pt x="1375" y="1643"/>
                    </a:lnTo>
                    <a:lnTo>
                      <a:pt x="1375" y="1641"/>
                    </a:lnTo>
                    <a:lnTo>
                      <a:pt x="1377" y="1643"/>
                    </a:lnTo>
                    <a:lnTo>
                      <a:pt x="1378" y="1643"/>
                    </a:lnTo>
                    <a:lnTo>
                      <a:pt x="1380" y="1643"/>
                    </a:lnTo>
                    <a:lnTo>
                      <a:pt x="1382" y="1643"/>
                    </a:lnTo>
                    <a:lnTo>
                      <a:pt x="1383" y="1643"/>
                    </a:lnTo>
                    <a:lnTo>
                      <a:pt x="1385" y="1643"/>
                    </a:lnTo>
                    <a:lnTo>
                      <a:pt x="1387" y="1643"/>
                    </a:lnTo>
                    <a:lnTo>
                      <a:pt x="1387" y="1645"/>
                    </a:lnTo>
                    <a:lnTo>
                      <a:pt x="1389" y="1645"/>
                    </a:lnTo>
                    <a:lnTo>
                      <a:pt x="1390" y="1645"/>
                    </a:lnTo>
                    <a:lnTo>
                      <a:pt x="1390" y="1646"/>
                    </a:lnTo>
                    <a:lnTo>
                      <a:pt x="1389" y="1646"/>
                    </a:lnTo>
                    <a:lnTo>
                      <a:pt x="1387" y="1646"/>
                    </a:lnTo>
                    <a:lnTo>
                      <a:pt x="1389" y="1646"/>
                    </a:lnTo>
                    <a:lnTo>
                      <a:pt x="1390" y="1646"/>
                    </a:lnTo>
                    <a:lnTo>
                      <a:pt x="1392" y="1648"/>
                    </a:lnTo>
                    <a:lnTo>
                      <a:pt x="1394" y="1648"/>
                    </a:lnTo>
                    <a:lnTo>
                      <a:pt x="1394" y="1650"/>
                    </a:lnTo>
                    <a:lnTo>
                      <a:pt x="1392" y="1650"/>
                    </a:lnTo>
                    <a:lnTo>
                      <a:pt x="1390" y="1650"/>
                    </a:lnTo>
                    <a:lnTo>
                      <a:pt x="1389" y="1650"/>
                    </a:lnTo>
                    <a:lnTo>
                      <a:pt x="1387" y="1650"/>
                    </a:lnTo>
                    <a:lnTo>
                      <a:pt x="1385" y="1650"/>
                    </a:lnTo>
                    <a:lnTo>
                      <a:pt x="1383" y="1650"/>
                    </a:lnTo>
                    <a:lnTo>
                      <a:pt x="1382" y="1650"/>
                    </a:lnTo>
                    <a:lnTo>
                      <a:pt x="1383" y="1650"/>
                    </a:lnTo>
                    <a:lnTo>
                      <a:pt x="1383" y="1652"/>
                    </a:lnTo>
                    <a:lnTo>
                      <a:pt x="1382" y="1652"/>
                    </a:lnTo>
                    <a:lnTo>
                      <a:pt x="1380" y="1652"/>
                    </a:lnTo>
                    <a:lnTo>
                      <a:pt x="1378" y="1650"/>
                    </a:lnTo>
                    <a:lnTo>
                      <a:pt x="1378" y="1648"/>
                    </a:lnTo>
                    <a:lnTo>
                      <a:pt x="1377" y="1648"/>
                    </a:lnTo>
                    <a:lnTo>
                      <a:pt x="1375" y="1648"/>
                    </a:lnTo>
                    <a:lnTo>
                      <a:pt x="1377" y="1648"/>
                    </a:lnTo>
                    <a:lnTo>
                      <a:pt x="1378" y="1650"/>
                    </a:lnTo>
                    <a:lnTo>
                      <a:pt x="1377" y="1650"/>
                    </a:lnTo>
                    <a:lnTo>
                      <a:pt x="1378" y="1650"/>
                    </a:lnTo>
                    <a:lnTo>
                      <a:pt x="1378" y="1652"/>
                    </a:lnTo>
                    <a:lnTo>
                      <a:pt x="1378" y="1653"/>
                    </a:lnTo>
                    <a:lnTo>
                      <a:pt x="1380" y="1652"/>
                    </a:lnTo>
                    <a:lnTo>
                      <a:pt x="1382" y="1652"/>
                    </a:lnTo>
                    <a:lnTo>
                      <a:pt x="1380" y="1653"/>
                    </a:lnTo>
                    <a:lnTo>
                      <a:pt x="1380" y="1655"/>
                    </a:lnTo>
                    <a:lnTo>
                      <a:pt x="1382" y="1653"/>
                    </a:lnTo>
                    <a:lnTo>
                      <a:pt x="1383" y="1653"/>
                    </a:lnTo>
                    <a:lnTo>
                      <a:pt x="1385" y="1653"/>
                    </a:lnTo>
                    <a:lnTo>
                      <a:pt x="1387" y="1653"/>
                    </a:lnTo>
                    <a:lnTo>
                      <a:pt x="1389" y="1653"/>
                    </a:lnTo>
                    <a:lnTo>
                      <a:pt x="1389" y="1655"/>
                    </a:lnTo>
                    <a:lnTo>
                      <a:pt x="1390" y="1655"/>
                    </a:lnTo>
                    <a:lnTo>
                      <a:pt x="1389" y="1655"/>
                    </a:lnTo>
                    <a:lnTo>
                      <a:pt x="1389" y="1657"/>
                    </a:lnTo>
                    <a:lnTo>
                      <a:pt x="1390" y="1655"/>
                    </a:lnTo>
                    <a:lnTo>
                      <a:pt x="1392" y="1657"/>
                    </a:lnTo>
                    <a:lnTo>
                      <a:pt x="1392" y="1655"/>
                    </a:lnTo>
                    <a:lnTo>
                      <a:pt x="1394" y="1655"/>
                    </a:lnTo>
                    <a:lnTo>
                      <a:pt x="1395" y="1657"/>
                    </a:lnTo>
                    <a:lnTo>
                      <a:pt x="1394" y="1658"/>
                    </a:lnTo>
                    <a:lnTo>
                      <a:pt x="1394" y="1660"/>
                    </a:lnTo>
                    <a:lnTo>
                      <a:pt x="1395" y="1660"/>
                    </a:lnTo>
                    <a:lnTo>
                      <a:pt x="1397" y="1660"/>
                    </a:lnTo>
                    <a:lnTo>
                      <a:pt x="1399" y="1660"/>
                    </a:lnTo>
                    <a:lnTo>
                      <a:pt x="1397" y="1662"/>
                    </a:lnTo>
                    <a:lnTo>
                      <a:pt x="1395" y="1663"/>
                    </a:lnTo>
                    <a:lnTo>
                      <a:pt x="1397" y="1663"/>
                    </a:lnTo>
                    <a:lnTo>
                      <a:pt x="1397" y="1665"/>
                    </a:lnTo>
                    <a:lnTo>
                      <a:pt x="1397" y="1667"/>
                    </a:lnTo>
                    <a:lnTo>
                      <a:pt x="1399" y="1667"/>
                    </a:lnTo>
                    <a:lnTo>
                      <a:pt x="1399" y="1669"/>
                    </a:lnTo>
                    <a:lnTo>
                      <a:pt x="1399" y="1670"/>
                    </a:lnTo>
                    <a:lnTo>
                      <a:pt x="1397" y="1670"/>
                    </a:lnTo>
                    <a:lnTo>
                      <a:pt x="1399" y="1672"/>
                    </a:lnTo>
                    <a:lnTo>
                      <a:pt x="1397" y="1674"/>
                    </a:lnTo>
                    <a:lnTo>
                      <a:pt x="1397" y="1675"/>
                    </a:lnTo>
                    <a:lnTo>
                      <a:pt x="1395" y="1674"/>
                    </a:lnTo>
                    <a:lnTo>
                      <a:pt x="1395" y="1672"/>
                    </a:lnTo>
                    <a:lnTo>
                      <a:pt x="1394" y="1672"/>
                    </a:lnTo>
                    <a:lnTo>
                      <a:pt x="1395" y="1670"/>
                    </a:lnTo>
                    <a:lnTo>
                      <a:pt x="1394" y="1670"/>
                    </a:lnTo>
                    <a:lnTo>
                      <a:pt x="1394" y="1669"/>
                    </a:lnTo>
                    <a:lnTo>
                      <a:pt x="1394" y="1667"/>
                    </a:lnTo>
                    <a:lnTo>
                      <a:pt x="1394" y="1669"/>
                    </a:lnTo>
                    <a:lnTo>
                      <a:pt x="1392" y="1669"/>
                    </a:lnTo>
                    <a:lnTo>
                      <a:pt x="1392" y="1670"/>
                    </a:lnTo>
                    <a:lnTo>
                      <a:pt x="1392" y="1669"/>
                    </a:lnTo>
                    <a:lnTo>
                      <a:pt x="1390" y="1670"/>
                    </a:lnTo>
                    <a:lnTo>
                      <a:pt x="1389" y="1669"/>
                    </a:lnTo>
                    <a:lnTo>
                      <a:pt x="1390" y="1667"/>
                    </a:lnTo>
                    <a:lnTo>
                      <a:pt x="1390" y="1665"/>
                    </a:lnTo>
                    <a:lnTo>
                      <a:pt x="1392" y="1665"/>
                    </a:lnTo>
                    <a:lnTo>
                      <a:pt x="1392" y="1663"/>
                    </a:lnTo>
                    <a:lnTo>
                      <a:pt x="1390" y="1663"/>
                    </a:lnTo>
                    <a:lnTo>
                      <a:pt x="1389" y="1663"/>
                    </a:lnTo>
                    <a:lnTo>
                      <a:pt x="1389" y="1662"/>
                    </a:lnTo>
                    <a:lnTo>
                      <a:pt x="1389" y="1660"/>
                    </a:lnTo>
                    <a:lnTo>
                      <a:pt x="1387" y="1662"/>
                    </a:lnTo>
                    <a:lnTo>
                      <a:pt x="1389" y="1660"/>
                    </a:lnTo>
                    <a:lnTo>
                      <a:pt x="1387" y="1660"/>
                    </a:lnTo>
                    <a:lnTo>
                      <a:pt x="1387" y="1662"/>
                    </a:lnTo>
                    <a:lnTo>
                      <a:pt x="1385" y="1662"/>
                    </a:lnTo>
                    <a:lnTo>
                      <a:pt x="1383" y="1660"/>
                    </a:lnTo>
                    <a:lnTo>
                      <a:pt x="1383" y="1662"/>
                    </a:lnTo>
                    <a:lnTo>
                      <a:pt x="1382" y="1660"/>
                    </a:lnTo>
                    <a:lnTo>
                      <a:pt x="1380" y="1660"/>
                    </a:lnTo>
                    <a:lnTo>
                      <a:pt x="1382" y="1658"/>
                    </a:lnTo>
                    <a:lnTo>
                      <a:pt x="1382" y="1657"/>
                    </a:lnTo>
                    <a:lnTo>
                      <a:pt x="1380" y="1657"/>
                    </a:lnTo>
                    <a:lnTo>
                      <a:pt x="1380" y="1658"/>
                    </a:lnTo>
                    <a:lnTo>
                      <a:pt x="1380" y="1657"/>
                    </a:lnTo>
                    <a:lnTo>
                      <a:pt x="1378" y="1657"/>
                    </a:lnTo>
                    <a:lnTo>
                      <a:pt x="1380" y="1658"/>
                    </a:lnTo>
                    <a:lnTo>
                      <a:pt x="1378" y="1658"/>
                    </a:lnTo>
                    <a:lnTo>
                      <a:pt x="1380" y="1660"/>
                    </a:lnTo>
                    <a:lnTo>
                      <a:pt x="1378" y="1658"/>
                    </a:lnTo>
                    <a:lnTo>
                      <a:pt x="1378" y="1660"/>
                    </a:lnTo>
                    <a:lnTo>
                      <a:pt x="1377" y="1660"/>
                    </a:lnTo>
                    <a:lnTo>
                      <a:pt x="1375" y="1660"/>
                    </a:lnTo>
                    <a:lnTo>
                      <a:pt x="1375" y="1658"/>
                    </a:lnTo>
                    <a:lnTo>
                      <a:pt x="1373" y="1658"/>
                    </a:lnTo>
                    <a:lnTo>
                      <a:pt x="1373" y="1660"/>
                    </a:lnTo>
                    <a:lnTo>
                      <a:pt x="1372" y="1660"/>
                    </a:lnTo>
                    <a:lnTo>
                      <a:pt x="1373" y="1660"/>
                    </a:lnTo>
                    <a:lnTo>
                      <a:pt x="1375" y="1662"/>
                    </a:lnTo>
                    <a:lnTo>
                      <a:pt x="1373" y="1662"/>
                    </a:lnTo>
                    <a:lnTo>
                      <a:pt x="1373" y="1663"/>
                    </a:lnTo>
                    <a:lnTo>
                      <a:pt x="1372" y="1662"/>
                    </a:lnTo>
                    <a:lnTo>
                      <a:pt x="1370" y="1662"/>
                    </a:lnTo>
                    <a:lnTo>
                      <a:pt x="1370" y="1660"/>
                    </a:lnTo>
                    <a:lnTo>
                      <a:pt x="1368" y="1660"/>
                    </a:lnTo>
                    <a:lnTo>
                      <a:pt x="1368" y="1658"/>
                    </a:lnTo>
                    <a:lnTo>
                      <a:pt x="1366" y="1658"/>
                    </a:lnTo>
                    <a:lnTo>
                      <a:pt x="1368" y="1658"/>
                    </a:lnTo>
                    <a:lnTo>
                      <a:pt x="1368" y="1657"/>
                    </a:lnTo>
                    <a:lnTo>
                      <a:pt x="1370" y="1655"/>
                    </a:lnTo>
                    <a:lnTo>
                      <a:pt x="1372" y="1655"/>
                    </a:lnTo>
                    <a:lnTo>
                      <a:pt x="1373" y="1655"/>
                    </a:lnTo>
                    <a:lnTo>
                      <a:pt x="1373" y="1657"/>
                    </a:lnTo>
                    <a:lnTo>
                      <a:pt x="1373" y="1655"/>
                    </a:lnTo>
                    <a:lnTo>
                      <a:pt x="1372" y="1655"/>
                    </a:lnTo>
                    <a:lnTo>
                      <a:pt x="1370" y="1655"/>
                    </a:lnTo>
                    <a:lnTo>
                      <a:pt x="1368" y="1657"/>
                    </a:lnTo>
                    <a:lnTo>
                      <a:pt x="1366" y="1657"/>
                    </a:lnTo>
                    <a:lnTo>
                      <a:pt x="1368" y="1655"/>
                    </a:lnTo>
                    <a:lnTo>
                      <a:pt x="1368" y="1653"/>
                    </a:lnTo>
                    <a:lnTo>
                      <a:pt x="1370" y="1653"/>
                    </a:lnTo>
                    <a:lnTo>
                      <a:pt x="1368" y="1653"/>
                    </a:lnTo>
                    <a:lnTo>
                      <a:pt x="1370" y="1653"/>
                    </a:lnTo>
                    <a:lnTo>
                      <a:pt x="1370" y="1652"/>
                    </a:lnTo>
                    <a:lnTo>
                      <a:pt x="1370" y="1650"/>
                    </a:lnTo>
                    <a:lnTo>
                      <a:pt x="1370" y="1648"/>
                    </a:lnTo>
                    <a:lnTo>
                      <a:pt x="1372" y="1648"/>
                    </a:lnTo>
                    <a:lnTo>
                      <a:pt x="1372" y="1646"/>
                    </a:lnTo>
                    <a:lnTo>
                      <a:pt x="1370" y="1646"/>
                    </a:lnTo>
                    <a:lnTo>
                      <a:pt x="1372" y="1645"/>
                    </a:lnTo>
                    <a:lnTo>
                      <a:pt x="1373" y="1643"/>
                    </a:lnTo>
                    <a:lnTo>
                      <a:pt x="1372" y="1643"/>
                    </a:lnTo>
                    <a:lnTo>
                      <a:pt x="1372" y="1645"/>
                    </a:lnTo>
                    <a:lnTo>
                      <a:pt x="1370" y="1645"/>
                    </a:lnTo>
                    <a:lnTo>
                      <a:pt x="1370" y="1646"/>
                    </a:lnTo>
                    <a:lnTo>
                      <a:pt x="1370" y="1645"/>
                    </a:lnTo>
                    <a:lnTo>
                      <a:pt x="1368" y="1646"/>
                    </a:lnTo>
                    <a:lnTo>
                      <a:pt x="1368" y="1645"/>
                    </a:lnTo>
                    <a:lnTo>
                      <a:pt x="1368" y="1646"/>
                    </a:lnTo>
                    <a:lnTo>
                      <a:pt x="1366" y="1646"/>
                    </a:lnTo>
                    <a:lnTo>
                      <a:pt x="1368" y="1646"/>
                    </a:lnTo>
                    <a:lnTo>
                      <a:pt x="1366" y="1648"/>
                    </a:lnTo>
                    <a:lnTo>
                      <a:pt x="1366" y="1650"/>
                    </a:lnTo>
                    <a:lnTo>
                      <a:pt x="1366" y="1648"/>
                    </a:lnTo>
                    <a:lnTo>
                      <a:pt x="1365" y="1650"/>
                    </a:lnTo>
                    <a:lnTo>
                      <a:pt x="1365" y="1648"/>
                    </a:lnTo>
                    <a:lnTo>
                      <a:pt x="1363" y="1648"/>
                    </a:lnTo>
                    <a:lnTo>
                      <a:pt x="1363" y="1646"/>
                    </a:lnTo>
                    <a:lnTo>
                      <a:pt x="1361" y="1645"/>
                    </a:lnTo>
                    <a:lnTo>
                      <a:pt x="1361" y="1643"/>
                    </a:lnTo>
                    <a:lnTo>
                      <a:pt x="1361" y="1645"/>
                    </a:lnTo>
                    <a:lnTo>
                      <a:pt x="1361" y="1646"/>
                    </a:lnTo>
                    <a:lnTo>
                      <a:pt x="1363" y="1648"/>
                    </a:lnTo>
                    <a:lnTo>
                      <a:pt x="1361" y="1648"/>
                    </a:lnTo>
                    <a:lnTo>
                      <a:pt x="1360" y="1646"/>
                    </a:lnTo>
                    <a:lnTo>
                      <a:pt x="1360" y="1648"/>
                    </a:lnTo>
                    <a:lnTo>
                      <a:pt x="1360" y="1646"/>
                    </a:lnTo>
                    <a:lnTo>
                      <a:pt x="1358" y="1646"/>
                    </a:lnTo>
                    <a:lnTo>
                      <a:pt x="1360" y="1646"/>
                    </a:lnTo>
                    <a:lnTo>
                      <a:pt x="1358" y="1646"/>
                    </a:lnTo>
                    <a:lnTo>
                      <a:pt x="1358" y="1645"/>
                    </a:lnTo>
                    <a:lnTo>
                      <a:pt x="1358" y="1643"/>
                    </a:lnTo>
                    <a:lnTo>
                      <a:pt x="1356" y="1645"/>
                    </a:lnTo>
                    <a:lnTo>
                      <a:pt x="1356" y="1646"/>
                    </a:lnTo>
                    <a:lnTo>
                      <a:pt x="1358" y="1646"/>
                    </a:lnTo>
                    <a:lnTo>
                      <a:pt x="1358" y="1648"/>
                    </a:lnTo>
                    <a:lnTo>
                      <a:pt x="1356" y="1648"/>
                    </a:lnTo>
                    <a:lnTo>
                      <a:pt x="1356" y="1646"/>
                    </a:lnTo>
                    <a:lnTo>
                      <a:pt x="1356" y="1648"/>
                    </a:lnTo>
                    <a:lnTo>
                      <a:pt x="1355" y="1646"/>
                    </a:lnTo>
                    <a:lnTo>
                      <a:pt x="1355" y="1648"/>
                    </a:lnTo>
                    <a:lnTo>
                      <a:pt x="1356" y="1648"/>
                    </a:lnTo>
                    <a:lnTo>
                      <a:pt x="1358" y="1648"/>
                    </a:lnTo>
                    <a:lnTo>
                      <a:pt x="1358" y="1650"/>
                    </a:lnTo>
                    <a:lnTo>
                      <a:pt x="1356" y="1650"/>
                    </a:lnTo>
                    <a:lnTo>
                      <a:pt x="1356" y="1652"/>
                    </a:lnTo>
                    <a:lnTo>
                      <a:pt x="1355" y="1650"/>
                    </a:lnTo>
                    <a:lnTo>
                      <a:pt x="1353" y="1650"/>
                    </a:lnTo>
                    <a:lnTo>
                      <a:pt x="1355" y="1650"/>
                    </a:lnTo>
                    <a:lnTo>
                      <a:pt x="1353" y="1650"/>
                    </a:lnTo>
                    <a:lnTo>
                      <a:pt x="1351" y="1650"/>
                    </a:lnTo>
                    <a:lnTo>
                      <a:pt x="1353" y="1650"/>
                    </a:lnTo>
                    <a:lnTo>
                      <a:pt x="1351" y="1648"/>
                    </a:lnTo>
                    <a:lnTo>
                      <a:pt x="1351" y="1650"/>
                    </a:lnTo>
                    <a:lnTo>
                      <a:pt x="1351" y="1652"/>
                    </a:lnTo>
                    <a:lnTo>
                      <a:pt x="1351" y="1650"/>
                    </a:lnTo>
                    <a:lnTo>
                      <a:pt x="1353" y="1650"/>
                    </a:lnTo>
                    <a:lnTo>
                      <a:pt x="1355" y="1652"/>
                    </a:lnTo>
                    <a:lnTo>
                      <a:pt x="1356" y="1652"/>
                    </a:lnTo>
                    <a:lnTo>
                      <a:pt x="1355" y="1652"/>
                    </a:lnTo>
                    <a:lnTo>
                      <a:pt x="1355" y="1653"/>
                    </a:lnTo>
                    <a:lnTo>
                      <a:pt x="1356" y="1653"/>
                    </a:lnTo>
                    <a:lnTo>
                      <a:pt x="1356" y="1655"/>
                    </a:lnTo>
                    <a:lnTo>
                      <a:pt x="1356" y="1657"/>
                    </a:lnTo>
                    <a:lnTo>
                      <a:pt x="1358" y="1655"/>
                    </a:lnTo>
                    <a:lnTo>
                      <a:pt x="1358" y="1657"/>
                    </a:lnTo>
                    <a:lnTo>
                      <a:pt x="1360" y="1658"/>
                    </a:lnTo>
                    <a:lnTo>
                      <a:pt x="1358" y="1658"/>
                    </a:lnTo>
                    <a:lnTo>
                      <a:pt x="1356" y="1658"/>
                    </a:lnTo>
                    <a:lnTo>
                      <a:pt x="1356" y="1660"/>
                    </a:lnTo>
                    <a:lnTo>
                      <a:pt x="1358" y="1658"/>
                    </a:lnTo>
                    <a:lnTo>
                      <a:pt x="1358" y="1660"/>
                    </a:lnTo>
                    <a:lnTo>
                      <a:pt x="1356" y="1660"/>
                    </a:lnTo>
                    <a:lnTo>
                      <a:pt x="1358" y="1660"/>
                    </a:lnTo>
                    <a:lnTo>
                      <a:pt x="1360" y="1660"/>
                    </a:lnTo>
                    <a:lnTo>
                      <a:pt x="1358" y="1662"/>
                    </a:lnTo>
                    <a:lnTo>
                      <a:pt x="1360" y="1660"/>
                    </a:lnTo>
                    <a:lnTo>
                      <a:pt x="1360" y="1662"/>
                    </a:lnTo>
                    <a:lnTo>
                      <a:pt x="1360" y="1660"/>
                    </a:lnTo>
                    <a:lnTo>
                      <a:pt x="1361" y="1660"/>
                    </a:lnTo>
                    <a:lnTo>
                      <a:pt x="1363" y="1660"/>
                    </a:lnTo>
                    <a:lnTo>
                      <a:pt x="1363" y="1662"/>
                    </a:lnTo>
                    <a:lnTo>
                      <a:pt x="1361" y="1660"/>
                    </a:lnTo>
                    <a:lnTo>
                      <a:pt x="1360" y="1660"/>
                    </a:lnTo>
                    <a:lnTo>
                      <a:pt x="1361" y="1662"/>
                    </a:lnTo>
                    <a:lnTo>
                      <a:pt x="1360" y="1662"/>
                    </a:lnTo>
                    <a:lnTo>
                      <a:pt x="1361" y="1662"/>
                    </a:lnTo>
                    <a:lnTo>
                      <a:pt x="1363" y="1662"/>
                    </a:lnTo>
                    <a:lnTo>
                      <a:pt x="1361" y="1663"/>
                    </a:lnTo>
                    <a:lnTo>
                      <a:pt x="1360" y="1663"/>
                    </a:lnTo>
                    <a:lnTo>
                      <a:pt x="1360" y="1662"/>
                    </a:lnTo>
                    <a:lnTo>
                      <a:pt x="1360" y="1663"/>
                    </a:lnTo>
                    <a:lnTo>
                      <a:pt x="1360" y="1662"/>
                    </a:lnTo>
                    <a:lnTo>
                      <a:pt x="1358" y="1662"/>
                    </a:lnTo>
                    <a:lnTo>
                      <a:pt x="1358" y="1663"/>
                    </a:lnTo>
                    <a:lnTo>
                      <a:pt x="1356" y="1663"/>
                    </a:lnTo>
                    <a:lnTo>
                      <a:pt x="1355" y="1663"/>
                    </a:lnTo>
                    <a:lnTo>
                      <a:pt x="1355" y="1662"/>
                    </a:lnTo>
                    <a:lnTo>
                      <a:pt x="1355" y="1660"/>
                    </a:lnTo>
                    <a:lnTo>
                      <a:pt x="1355" y="1658"/>
                    </a:lnTo>
                    <a:lnTo>
                      <a:pt x="1355" y="1660"/>
                    </a:lnTo>
                    <a:lnTo>
                      <a:pt x="1353" y="1660"/>
                    </a:lnTo>
                    <a:lnTo>
                      <a:pt x="1355" y="1660"/>
                    </a:lnTo>
                    <a:lnTo>
                      <a:pt x="1355" y="1662"/>
                    </a:lnTo>
                    <a:lnTo>
                      <a:pt x="1353" y="1662"/>
                    </a:lnTo>
                    <a:lnTo>
                      <a:pt x="1355" y="1662"/>
                    </a:lnTo>
                    <a:lnTo>
                      <a:pt x="1353" y="1662"/>
                    </a:lnTo>
                    <a:lnTo>
                      <a:pt x="1353" y="1663"/>
                    </a:lnTo>
                    <a:lnTo>
                      <a:pt x="1353" y="1665"/>
                    </a:lnTo>
                    <a:lnTo>
                      <a:pt x="1351" y="1663"/>
                    </a:lnTo>
                    <a:lnTo>
                      <a:pt x="1353" y="1662"/>
                    </a:lnTo>
                    <a:lnTo>
                      <a:pt x="1351" y="1660"/>
                    </a:lnTo>
                    <a:lnTo>
                      <a:pt x="1351" y="1658"/>
                    </a:lnTo>
                    <a:lnTo>
                      <a:pt x="1349" y="1658"/>
                    </a:lnTo>
                    <a:lnTo>
                      <a:pt x="1349" y="1657"/>
                    </a:lnTo>
                    <a:lnTo>
                      <a:pt x="1351" y="1657"/>
                    </a:lnTo>
                    <a:lnTo>
                      <a:pt x="1353" y="1657"/>
                    </a:lnTo>
                    <a:lnTo>
                      <a:pt x="1351" y="1657"/>
                    </a:lnTo>
                    <a:lnTo>
                      <a:pt x="1349" y="1657"/>
                    </a:lnTo>
                    <a:lnTo>
                      <a:pt x="1349" y="1655"/>
                    </a:lnTo>
                    <a:lnTo>
                      <a:pt x="1351" y="1655"/>
                    </a:lnTo>
                    <a:lnTo>
                      <a:pt x="1349" y="1655"/>
                    </a:lnTo>
                    <a:lnTo>
                      <a:pt x="1348" y="1657"/>
                    </a:lnTo>
                    <a:lnTo>
                      <a:pt x="1346" y="1657"/>
                    </a:lnTo>
                    <a:lnTo>
                      <a:pt x="1344" y="1657"/>
                    </a:lnTo>
                    <a:lnTo>
                      <a:pt x="1344" y="1655"/>
                    </a:lnTo>
                    <a:lnTo>
                      <a:pt x="1346" y="1655"/>
                    </a:lnTo>
                    <a:lnTo>
                      <a:pt x="1348" y="1653"/>
                    </a:lnTo>
                    <a:lnTo>
                      <a:pt x="1346" y="1655"/>
                    </a:lnTo>
                    <a:lnTo>
                      <a:pt x="1346" y="1653"/>
                    </a:lnTo>
                    <a:lnTo>
                      <a:pt x="1344" y="1653"/>
                    </a:lnTo>
                    <a:lnTo>
                      <a:pt x="1344" y="1655"/>
                    </a:lnTo>
                    <a:lnTo>
                      <a:pt x="1343" y="1655"/>
                    </a:lnTo>
                    <a:lnTo>
                      <a:pt x="1343" y="1653"/>
                    </a:lnTo>
                    <a:lnTo>
                      <a:pt x="1344" y="1653"/>
                    </a:lnTo>
                    <a:lnTo>
                      <a:pt x="1344" y="1652"/>
                    </a:lnTo>
                    <a:lnTo>
                      <a:pt x="1343" y="1653"/>
                    </a:lnTo>
                    <a:lnTo>
                      <a:pt x="1341" y="1653"/>
                    </a:lnTo>
                    <a:lnTo>
                      <a:pt x="1339" y="1653"/>
                    </a:lnTo>
                    <a:lnTo>
                      <a:pt x="1338" y="1653"/>
                    </a:lnTo>
                    <a:lnTo>
                      <a:pt x="1339" y="1653"/>
                    </a:lnTo>
                    <a:lnTo>
                      <a:pt x="1339" y="1652"/>
                    </a:lnTo>
                    <a:lnTo>
                      <a:pt x="1341" y="1652"/>
                    </a:lnTo>
                    <a:lnTo>
                      <a:pt x="1339" y="1650"/>
                    </a:lnTo>
                    <a:lnTo>
                      <a:pt x="1341" y="1650"/>
                    </a:lnTo>
                    <a:lnTo>
                      <a:pt x="1343" y="1650"/>
                    </a:lnTo>
                    <a:lnTo>
                      <a:pt x="1344" y="1650"/>
                    </a:lnTo>
                    <a:lnTo>
                      <a:pt x="1346" y="1650"/>
                    </a:lnTo>
                    <a:lnTo>
                      <a:pt x="1348" y="1650"/>
                    </a:lnTo>
                    <a:lnTo>
                      <a:pt x="1346" y="1650"/>
                    </a:lnTo>
                    <a:lnTo>
                      <a:pt x="1344" y="1650"/>
                    </a:lnTo>
                    <a:lnTo>
                      <a:pt x="1343" y="1650"/>
                    </a:lnTo>
                    <a:lnTo>
                      <a:pt x="1344" y="1650"/>
                    </a:lnTo>
                    <a:lnTo>
                      <a:pt x="1344" y="1648"/>
                    </a:lnTo>
                    <a:lnTo>
                      <a:pt x="1343" y="1650"/>
                    </a:lnTo>
                    <a:lnTo>
                      <a:pt x="1343" y="1648"/>
                    </a:lnTo>
                    <a:lnTo>
                      <a:pt x="1344" y="1646"/>
                    </a:lnTo>
                    <a:lnTo>
                      <a:pt x="1346" y="1646"/>
                    </a:lnTo>
                    <a:lnTo>
                      <a:pt x="1348" y="1646"/>
                    </a:lnTo>
                    <a:lnTo>
                      <a:pt x="1348" y="1645"/>
                    </a:lnTo>
                    <a:lnTo>
                      <a:pt x="1349" y="1645"/>
                    </a:lnTo>
                    <a:lnTo>
                      <a:pt x="1349" y="1643"/>
                    </a:lnTo>
                    <a:lnTo>
                      <a:pt x="1348" y="1645"/>
                    </a:lnTo>
                    <a:lnTo>
                      <a:pt x="1346" y="1645"/>
                    </a:lnTo>
                    <a:lnTo>
                      <a:pt x="1344" y="1646"/>
                    </a:lnTo>
                    <a:lnTo>
                      <a:pt x="1343" y="1646"/>
                    </a:lnTo>
                    <a:lnTo>
                      <a:pt x="1343" y="1648"/>
                    </a:lnTo>
                    <a:lnTo>
                      <a:pt x="1341" y="1648"/>
                    </a:lnTo>
                    <a:lnTo>
                      <a:pt x="1339" y="1648"/>
                    </a:lnTo>
                    <a:lnTo>
                      <a:pt x="1339" y="1650"/>
                    </a:lnTo>
                    <a:lnTo>
                      <a:pt x="1338" y="1650"/>
                    </a:lnTo>
                    <a:lnTo>
                      <a:pt x="1336" y="1650"/>
                    </a:lnTo>
                    <a:lnTo>
                      <a:pt x="1334" y="1650"/>
                    </a:lnTo>
                    <a:lnTo>
                      <a:pt x="1336" y="1648"/>
                    </a:lnTo>
                    <a:lnTo>
                      <a:pt x="1334" y="1648"/>
                    </a:lnTo>
                    <a:lnTo>
                      <a:pt x="1332" y="1648"/>
                    </a:lnTo>
                    <a:lnTo>
                      <a:pt x="1332" y="1646"/>
                    </a:lnTo>
                    <a:lnTo>
                      <a:pt x="1334" y="1648"/>
                    </a:lnTo>
                    <a:lnTo>
                      <a:pt x="1336" y="1646"/>
                    </a:lnTo>
                    <a:lnTo>
                      <a:pt x="1334" y="1645"/>
                    </a:lnTo>
                    <a:lnTo>
                      <a:pt x="1332" y="1645"/>
                    </a:lnTo>
                    <a:lnTo>
                      <a:pt x="1331" y="1645"/>
                    </a:lnTo>
                    <a:lnTo>
                      <a:pt x="1332" y="1645"/>
                    </a:lnTo>
                    <a:lnTo>
                      <a:pt x="1334" y="1645"/>
                    </a:lnTo>
                    <a:lnTo>
                      <a:pt x="1336" y="1645"/>
                    </a:lnTo>
                    <a:lnTo>
                      <a:pt x="1338" y="1645"/>
                    </a:lnTo>
                    <a:lnTo>
                      <a:pt x="1336" y="1643"/>
                    </a:lnTo>
                    <a:lnTo>
                      <a:pt x="1336" y="1645"/>
                    </a:lnTo>
                    <a:lnTo>
                      <a:pt x="1334" y="1645"/>
                    </a:lnTo>
                    <a:lnTo>
                      <a:pt x="1332" y="1643"/>
                    </a:lnTo>
                    <a:lnTo>
                      <a:pt x="1334" y="1643"/>
                    </a:lnTo>
                    <a:lnTo>
                      <a:pt x="1332" y="1643"/>
                    </a:lnTo>
                    <a:lnTo>
                      <a:pt x="1331" y="1643"/>
                    </a:lnTo>
                    <a:lnTo>
                      <a:pt x="1331" y="1641"/>
                    </a:lnTo>
                    <a:lnTo>
                      <a:pt x="1331" y="1640"/>
                    </a:lnTo>
                    <a:lnTo>
                      <a:pt x="1332" y="1640"/>
                    </a:lnTo>
                    <a:lnTo>
                      <a:pt x="1332" y="1641"/>
                    </a:lnTo>
                    <a:lnTo>
                      <a:pt x="1334" y="1641"/>
                    </a:lnTo>
                    <a:lnTo>
                      <a:pt x="1332" y="1641"/>
                    </a:lnTo>
                    <a:lnTo>
                      <a:pt x="1332" y="1640"/>
                    </a:lnTo>
                    <a:lnTo>
                      <a:pt x="1334" y="1640"/>
                    </a:lnTo>
                    <a:lnTo>
                      <a:pt x="1334" y="1638"/>
                    </a:lnTo>
                    <a:lnTo>
                      <a:pt x="1336" y="1638"/>
                    </a:lnTo>
                    <a:lnTo>
                      <a:pt x="1338" y="1638"/>
                    </a:lnTo>
                    <a:lnTo>
                      <a:pt x="1339" y="1638"/>
                    </a:lnTo>
                    <a:lnTo>
                      <a:pt x="1339" y="1636"/>
                    </a:lnTo>
                    <a:lnTo>
                      <a:pt x="1341" y="1636"/>
                    </a:lnTo>
                    <a:lnTo>
                      <a:pt x="1343" y="1636"/>
                    </a:lnTo>
                    <a:lnTo>
                      <a:pt x="1343" y="1638"/>
                    </a:lnTo>
                    <a:lnTo>
                      <a:pt x="1343" y="1636"/>
                    </a:lnTo>
                    <a:lnTo>
                      <a:pt x="1344" y="1636"/>
                    </a:lnTo>
                    <a:lnTo>
                      <a:pt x="1346" y="1636"/>
                    </a:lnTo>
                    <a:lnTo>
                      <a:pt x="1346" y="1638"/>
                    </a:lnTo>
                    <a:lnTo>
                      <a:pt x="1346" y="1640"/>
                    </a:lnTo>
                    <a:lnTo>
                      <a:pt x="1348" y="1640"/>
                    </a:lnTo>
                    <a:lnTo>
                      <a:pt x="1346" y="1640"/>
                    </a:lnTo>
                    <a:lnTo>
                      <a:pt x="1348" y="1641"/>
                    </a:lnTo>
                    <a:lnTo>
                      <a:pt x="1348" y="1643"/>
                    </a:lnTo>
                    <a:lnTo>
                      <a:pt x="1346" y="1643"/>
                    </a:lnTo>
                    <a:lnTo>
                      <a:pt x="1348" y="1641"/>
                    </a:lnTo>
                    <a:lnTo>
                      <a:pt x="1348" y="1640"/>
                    </a:lnTo>
                    <a:lnTo>
                      <a:pt x="1348" y="1638"/>
                    </a:lnTo>
                    <a:lnTo>
                      <a:pt x="1346" y="1638"/>
                    </a:lnTo>
                    <a:lnTo>
                      <a:pt x="1348" y="1638"/>
                    </a:lnTo>
                    <a:lnTo>
                      <a:pt x="1346" y="1636"/>
                    </a:lnTo>
                    <a:lnTo>
                      <a:pt x="1346" y="1635"/>
                    </a:lnTo>
                    <a:lnTo>
                      <a:pt x="1348" y="1635"/>
                    </a:lnTo>
                    <a:lnTo>
                      <a:pt x="1349" y="1635"/>
                    </a:lnTo>
                    <a:lnTo>
                      <a:pt x="1351" y="1635"/>
                    </a:lnTo>
                    <a:lnTo>
                      <a:pt x="1351" y="1636"/>
                    </a:lnTo>
                    <a:lnTo>
                      <a:pt x="1349" y="1636"/>
                    </a:lnTo>
                    <a:lnTo>
                      <a:pt x="1351" y="1636"/>
                    </a:lnTo>
                    <a:lnTo>
                      <a:pt x="1353" y="1636"/>
                    </a:lnTo>
                    <a:lnTo>
                      <a:pt x="1355" y="1636"/>
                    </a:lnTo>
                    <a:lnTo>
                      <a:pt x="1353" y="1636"/>
                    </a:lnTo>
                    <a:lnTo>
                      <a:pt x="1353" y="1635"/>
                    </a:lnTo>
                    <a:lnTo>
                      <a:pt x="1353" y="1633"/>
                    </a:lnTo>
                    <a:lnTo>
                      <a:pt x="1355" y="1633"/>
                    </a:lnTo>
                    <a:lnTo>
                      <a:pt x="1356" y="1633"/>
                    </a:lnTo>
                    <a:lnTo>
                      <a:pt x="1358" y="1633"/>
                    </a:lnTo>
                    <a:lnTo>
                      <a:pt x="1358" y="1635"/>
                    </a:lnTo>
                    <a:lnTo>
                      <a:pt x="1360" y="1635"/>
                    </a:lnTo>
                    <a:lnTo>
                      <a:pt x="1358" y="1635"/>
                    </a:lnTo>
                    <a:lnTo>
                      <a:pt x="1358" y="1633"/>
                    </a:lnTo>
                    <a:lnTo>
                      <a:pt x="1360" y="1633"/>
                    </a:lnTo>
                    <a:lnTo>
                      <a:pt x="1361" y="1631"/>
                    </a:lnTo>
                    <a:lnTo>
                      <a:pt x="1361" y="1633"/>
                    </a:lnTo>
                    <a:lnTo>
                      <a:pt x="1363" y="1631"/>
                    </a:lnTo>
                    <a:lnTo>
                      <a:pt x="1363" y="1633"/>
                    </a:lnTo>
                    <a:lnTo>
                      <a:pt x="1365" y="1633"/>
                    </a:lnTo>
                    <a:lnTo>
                      <a:pt x="1365" y="1631"/>
                    </a:lnTo>
                    <a:lnTo>
                      <a:pt x="1366" y="1631"/>
                    </a:lnTo>
                    <a:lnTo>
                      <a:pt x="1368" y="1631"/>
                    </a:lnTo>
                    <a:lnTo>
                      <a:pt x="1370" y="1631"/>
                    </a:lnTo>
                    <a:lnTo>
                      <a:pt x="1372" y="1631"/>
                    </a:lnTo>
                    <a:lnTo>
                      <a:pt x="1373" y="1631"/>
                    </a:lnTo>
                    <a:lnTo>
                      <a:pt x="1373" y="1629"/>
                    </a:lnTo>
                    <a:lnTo>
                      <a:pt x="1375" y="1629"/>
                    </a:lnTo>
                    <a:lnTo>
                      <a:pt x="1377" y="1629"/>
                    </a:lnTo>
                    <a:lnTo>
                      <a:pt x="1378" y="1629"/>
                    </a:lnTo>
                    <a:lnTo>
                      <a:pt x="1380" y="1628"/>
                    </a:lnTo>
                    <a:lnTo>
                      <a:pt x="1382" y="1628"/>
                    </a:lnTo>
                    <a:close/>
                    <a:moveTo>
                      <a:pt x="1229" y="1539"/>
                    </a:moveTo>
                    <a:lnTo>
                      <a:pt x="1230" y="1539"/>
                    </a:lnTo>
                    <a:lnTo>
                      <a:pt x="1229" y="1541"/>
                    </a:lnTo>
                    <a:lnTo>
                      <a:pt x="1229" y="1543"/>
                    </a:lnTo>
                    <a:lnTo>
                      <a:pt x="1229" y="1541"/>
                    </a:lnTo>
                    <a:lnTo>
                      <a:pt x="1230" y="1541"/>
                    </a:lnTo>
                    <a:lnTo>
                      <a:pt x="1230" y="1543"/>
                    </a:lnTo>
                    <a:lnTo>
                      <a:pt x="1229" y="1544"/>
                    </a:lnTo>
                    <a:lnTo>
                      <a:pt x="1230" y="1544"/>
                    </a:lnTo>
                    <a:lnTo>
                      <a:pt x="1230" y="1546"/>
                    </a:lnTo>
                    <a:lnTo>
                      <a:pt x="1230" y="1544"/>
                    </a:lnTo>
                    <a:lnTo>
                      <a:pt x="1230" y="1543"/>
                    </a:lnTo>
                    <a:lnTo>
                      <a:pt x="1230" y="1541"/>
                    </a:lnTo>
                    <a:lnTo>
                      <a:pt x="1230" y="1539"/>
                    </a:lnTo>
                    <a:lnTo>
                      <a:pt x="1230" y="1541"/>
                    </a:lnTo>
                    <a:lnTo>
                      <a:pt x="1232" y="1541"/>
                    </a:lnTo>
                    <a:lnTo>
                      <a:pt x="1232" y="1543"/>
                    </a:lnTo>
                    <a:lnTo>
                      <a:pt x="1232" y="1541"/>
                    </a:lnTo>
                    <a:lnTo>
                      <a:pt x="1234" y="1543"/>
                    </a:lnTo>
                    <a:lnTo>
                      <a:pt x="1232" y="1543"/>
                    </a:lnTo>
                    <a:lnTo>
                      <a:pt x="1234" y="1543"/>
                    </a:lnTo>
                    <a:lnTo>
                      <a:pt x="1234" y="1544"/>
                    </a:lnTo>
                    <a:lnTo>
                      <a:pt x="1232" y="1544"/>
                    </a:lnTo>
                    <a:lnTo>
                      <a:pt x="1232" y="1546"/>
                    </a:lnTo>
                    <a:lnTo>
                      <a:pt x="1232" y="1548"/>
                    </a:lnTo>
                    <a:lnTo>
                      <a:pt x="1234" y="1546"/>
                    </a:lnTo>
                    <a:lnTo>
                      <a:pt x="1232" y="1546"/>
                    </a:lnTo>
                    <a:lnTo>
                      <a:pt x="1234" y="1544"/>
                    </a:lnTo>
                    <a:lnTo>
                      <a:pt x="1234" y="1546"/>
                    </a:lnTo>
                    <a:lnTo>
                      <a:pt x="1236" y="1546"/>
                    </a:lnTo>
                    <a:lnTo>
                      <a:pt x="1234" y="1548"/>
                    </a:lnTo>
                    <a:lnTo>
                      <a:pt x="1232" y="1548"/>
                    </a:lnTo>
                    <a:lnTo>
                      <a:pt x="1234" y="1548"/>
                    </a:lnTo>
                    <a:lnTo>
                      <a:pt x="1236" y="1548"/>
                    </a:lnTo>
                    <a:lnTo>
                      <a:pt x="1234" y="1548"/>
                    </a:lnTo>
                    <a:lnTo>
                      <a:pt x="1234" y="1549"/>
                    </a:lnTo>
                    <a:lnTo>
                      <a:pt x="1236" y="1549"/>
                    </a:lnTo>
                    <a:lnTo>
                      <a:pt x="1234" y="1551"/>
                    </a:lnTo>
                    <a:lnTo>
                      <a:pt x="1234" y="1553"/>
                    </a:lnTo>
                    <a:lnTo>
                      <a:pt x="1234" y="1555"/>
                    </a:lnTo>
                    <a:lnTo>
                      <a:pt x="1236" y="1555"/>
                    </a:lnTo>
                    <a:lnTo>
                      <a:pt x="1236" y="1553"/>
                    </a:lnTo>
                    <a:lnTo>
                      <a:pt x="1234" y="1553"/>
                    </a:lnTo>
                    <a:lnTo>
                      <a:pt x="1236" y="1551"/>
                    </a:lnTo>
                    <a:lnTo>
                      <a:pt x="1236" y="1549"/>
                    </a:lnTo>
                    <a:lnTo>
                      <a:pt x="1237" y="1549"/>
                    </a:lnTo>
                    <a:lnTo>
                      <a:pt x="1236" y="1548"/>
                    </a:lnTo>
                    <a:lnTo>
                      <a:pt x="1236" y="1546"/>
                    </a:lnTo>
                    <a:lnTo>
                      <a:pt x="1236" y="1544"/>
                    </a:lnTo>
                    <a:lnTo>
                      <a:pt x="1234" y="1543"/>
                    </a:lnTo>
                    <a:lnTo>
                      <a:pt x="1236" y="1543"/>
                    </a:lnTo>
                    <a:lnTo>
                      <a:pt x="1237" y="1544"/>
                    </a:lnTo>
                    <a:lnTo>
                      <a:pt x="1237" y="1546"/>
                    </a:lnTo>
                    <a:lnTo>
                      <a:pt x="1239" y="1546"/>
                    </a:lnTo>
                    <a:lnTo>
                      <a:pt x="1239" y="1548"/>
                    </a:lnTo>
                    <a:lnTo>
                      <a:pt x="1239" y="1549"/>
                    </a:lnTo>
                    <a:lnTo>
                      <a:pt x="1241" y="1551"/>
                    </a:lnTo>
                    <a:lnTo>
                      <a:pt x="1239" y="1551"/>
                    </a:lnTo>
                    <a:lnTo>
                      <a:pt x="1239" y="1553"/>
                    </a:lnTo>
                    <a:lnTo>
                      <a:pt x="1241" y="1551"/>
                    </a:lnTo>
                    <a:lnTo>
                      <a:pt x="1241" y="1553"/>
                    </a:lnTo>
                    <a:lnTo>
                      <a:pt x="1241" y="1555"/>
                    </a:lnTo>
                    <a:lnTo>
                      <a:pt x="1242" y="1553"/>
                    </a:lnTo>
                    <a:lnTo>
                      <a:pt x="1242" y="1551"/>
                    </a:lnTo>
                    <a:lnTo>
                      <a:pt x="1242" y="1549"/>
                    </a:lnTo>
                    <a:lnTo>
                      <a:pt x="1241" y="1549"/>
                    </a:lnTo>
                    <a:lnTo>
                      <a:pt x="1241" y="1548"/>
                    </a:lnTo>
                    <a:lnTo>
                      <a:pt x="1242" y="1548"/>
                    </a:lnTo>
                    <a:lnTo>
                      <a:pt x="1242" y="1549"/>
                    </a:lnTo>
                    <a:lnTo>
                      <a:pt x="1242" y="1548"/>
                    </a:lnTo>
                    <a:lnTo>
                      <a:pt x="1244" y="1549"/>
                    </a:lnTo>
                    <a:lnTo>
                      <a:pt x="1246" y="1549"/>
                    </a:lnTo>
                    <a:lnTo>
                      <a:pt x="1247" y="1549"/>
                    </a:lnTo>
                    <a:lnTo>
                      <a:pt x="1247" y="1551"/>
                    </a:lnTo>
                    <a:lnTo>
                      <a:pt x="1249" y="1551"/>
                    </a:lnTo>
                    <a:lnTo>
                      <a:pt x="1247" y="1553"/>
                    </a:lnTo>
                    <a:lnTo>
                      <a:pt x="1249" y="1553"/>
                    </a:lnTo>
                    <a:lnTo>
                      <a:pt x="1249" y="1551"/>
                    </a:lnTo>
                    <a:lnTo>
                      <a:pt x="1249" y="1553"/>
                    </a:lnTo>
                    <a:lnTo>
                      <a:pt x="1251" y="1553"/>
                    </a:lnTo>
                    <a:lnTo>
                      <a:pt x="1249" y="1555"/>
                    </a:lnTo>
                    <a:lnTo>
                      <a:pt x="1247" y="1555"/>
                    </a:lnTo>
                    <a:lnTo>
                      <a:pt x="1246" y="1555"/>
                    </a:lnTo>
                    <a:lnTo>
                      <a:pt x="1244" y="1555"/>
                    </a:lnTo>
                    <a:lnTo>
                      <a:pt x="1242" y="1555"/>
                    </a:lnTo>
                    <a:lnTo>
                      <a:pt x="1242" y="1556"/>
                    </a:lnTo>
                    <a:lnTo>
                      <a:pt x="1242" y="1558"/>
                    </a:lnTo>
                    <a:lnTo>
                      <a:pt x="1244" y="1558"/>
                    </a:lnTo>
                    <a:lnTo>
                      <a:pt x="1242" y="1558"/>
                    </a:lnTo>
                    <a:lnTo>
                      <a:pt x="1244" y="1558"/>
                    </a:lnTo>
                    <a:lnTo>
                      <a:pt x="1246" y="1558"/>
                    </a:lnTo>
                    <a:lnTo>
                      <a:pt x="1244" y="1558"/>
                    </a:lnTo>
                    <a:lnTo>
                      <a:pt x="1242" y="1558"/>
                    </a:lnTo>
                    <a:lnTo>
                      <a:pt x="1244" y="1556"/>
                    </a:lnTo>
                    <a:lnTo>
                      <a:pt x="1246" y="1556"/>
                    </a:lnTo>
                    <a:lnTo>
                      <a:pt x="1247" y="1555"/>
                    </a:lnTo>
                    <a:lnTo>
                      <a:pt x="1247" y="1556"/>
                    </a:lnTo>
                    <a:lnTo>
                      <a:pt x="1249" y="1556"/>
                    </a:lnTo>
                    <a:lnTo>
                      <a:pt x="1247" y="1556"/>
                    </a:lnTo>
                    <a:lnTo>
                      <a:pt x="1249" y="1556"/>
                    </a:lnTo>
                    <a:lnTo>
                      <a:pt x="1249" y="1558"/>
                    </a:lnTo>
                    <a:lnTo>
                      <a:pt x="1247" y="1558"/>
                    </a:lnTo>
                    <a:lnTo>
                      <a:pt x="1249" y="1558"/>
                    </a:lnTo>
                    <a:lnTo>
                      <a:pt x="1247" y="1558"/>
                    </a:lnTo>
                    <a:lnTo>
                      <a:pt x="1247" y="1560"/>
                    </a:lnTo>
                    <a:lnTo>
                      <a:pt x="1249" y="1560"/>
                    </a:lnTo>
                    <a:lnTo>
                      <a:pt x="1249" y="1558"/>
                    </a:lnTo>
                    <a:lnTo>
                      <a:pt x="1249" y="1556"/>
                    </a:lnTo>
                    <a:lnTo>
                      <a:pt x="1251" y="1556"/>
                    </a:lnTo>
                    <a:lnTo>
                      <a:pt x="1253" y="1556"/>
                    </a:lnTo>
                    <a:lnTo>
                      <a:pt x="1251" y="1558"/>
                    </a:lnTo>
                    <a:lnTo>
                      <a:pt x="1253" y="1558"/>
                    </a:lnTo>
                    <a:lnTo>
                      <a:pt x="1253" y="1556"/>
                    </a:lnTo>
                    <a:lnTo>
                      <a:pt x="1254" y="1558"/>
                    </a:lnTo>
                    <a:lnTo>
                      <a:pt x="1256" y="1558"/>
                    </a:lnTo>
                    <a:lnTo>
                      <a:pt x="1254" y="1560"/>
                    </a:lnTo>
                    <a:lnTo>
                      <a:pt x="1253" y="1560"/>
                    </a:lnTo>
                    <a:lnTo>
                      <a:pt x="1254" y="1560"/>
                    </a:lnTo>
                    <a:lnTo>
                      <a:pt x="1256" y="1560"/>
                    </a:lnTo>
                    <a:lnTo>
                      <a:pt x="1258" y="1560"/>
                    </a:lnTo>
                    <a:lnTo>
                      <a:pt x="1258" y="1561"/>
                    </a:lnTo>
                    <a:lnTo>
                      <a:pt x="1259" y="1563"/>
                    </a:lnTo>
                    <a:lnTo>
                      <a:pt x="1258" y="1563"/>
                    </a:lnTo>
                    <a:lnTo>
                      <a:pt x="1256" y="1563"/>
                    </a:lnTo>
                    <a:lnTo>
                      <a:pt x="1254" y="1563"/>
                    </a:lnTo>
                    <a:lnTo>
                      <a:pt x="1256" y="1563"/>
                    </a:lnTo>
                    <a:lnTo>
                      <a:pt x="1258" y="1565"/>
                    </a:lnTo>
                    <a:lnTo>
                      <a:pt x="1256" y="1565"/>
                    </a:lnTo>
                    <a:lnTo>
                      <a:pt x="1256" y="1566"/>
                    </a:lnTo>
                    <a:lnTo>
                      <a:pt x="1254" y="1566"/>
                    </a:lnTo>
                    <a:lnTo>
                      <a:pt x="1253" y="1565"/>
                    </a:lnTo>
                    <a:lnTo>
                      <a:pt x="1251" y="1563"/>
                    </a:lnTo>
                    <a:lnTo>
                      <a:pt x="1251" y="1565"/>
                    </a:lnTo>
                    <a:lnTo>
                      <a:pt x="1249" y="1565"/>
                    </a:lnTo>
                    <a:lnTo>
                      <a:pt x="1247" y="1565"/>
                    </a:lnTo>
                    <a:lnTo>
                      <a:pt x="1249" y="1565"/>
                    </a:lnTo>
                    <a:lnTo>
                      <a:pt x="1251" y="1565"/>
                    </a:lnTo>
                    <a:lnTo>
                      <a:pt x="1253" y="1565"/>
                    </a:lnTo>
                    <a:lnTo>
                      <a:pt x="1251" y="1566"/>
                    </a:lnTo>
                    <a:lnTo>
                      <a:pt x="1253" y="1566"/>
                    </a:lnTo>
                    <a:lnTo>
                      <a:pt x="1253" y="1568"/>
                    </a:lnTo>
                    <a:lnTo>
                      <a:pt x="1253" y="1570"/>
                    </a:lnTo>
                    <a:lnTo>
                      <a:pt x="1251" y="1570"/>
                    </a:lnTo>
                    <a:lnTo>
                      <a:pt x="1251" y="1568"/>
                    </a:lnTo>
                    <a:lnTo>
                      <a:pt x="1251" y="1570"/>
                    </a:lnTo>
                    <a:lnTo>
                      <a:pt x="1251" y="1568"/>
                    </a:lnTo>
                    <a:lnTo>
                      <a:pt x="1249" y="1568"/>
                    </a:lnTo>
                    <a:lnTo>
                      <a:pt x="1247" y="1568"/>
                    </a:lnTo>
                    <a:lnTo>
                      <a:pt x="1249" y="1568"/>
                    </a:lnTo>
                    <a:lnTo>
                      <a:pt x="1249" y="1570"/>
                    </a:lnTo>
                    <a:lnTo>
                      <a:pt x="1251" y="1570"/>
                    </a:lnTo>
                    <a:lnTo>
                      <a:pt x="1251" y="1572"/>
                    </a:lnTo>
                    <a:lnTo>
                      <a:pt x="1249" y="1572"/>
                    </a:lnTo>
                    <a:lnTo>
                      <a:pt x="1247" y="1572"/>
                    </a:lnTo>
                    <a:lnTo>
                      <a:pt x="1249" y="1572"/>
                    </a:lnTo>
                    <a:lnTo>
                      <a:pt x="1251" y="1573"/>
                    </a:lnTo>
                    <a:lnTo>
                      <a:pt x="1251" y="1575"/>
                    </a:lnTo>
                    <a:lnTo>
                      <a:pt x="1251" y="1573"/>
                    </a:lnTo>
                    <a:lnTo>
                      <a:pt x="1253" y="1575"/>
                    </a:lnTo>
                    <a:lnTo>
                      <a:pt x="1253" y="1577"/>
                    </a:lnTo>
                    <a:lnTo>
                      <a:pt x="1251" y="1577"/>
                    </a:lnTo>
                    <a:lnTo>
                      <a:pt x="1249" y="1577"/>
                    </a:lnTo>
                    <a:lnTo>
                      <a:pt x="1249" y="1578"/>
                    </a:lnTo>
                    <a:lnTo>
                      <a:pt x="1247" y="1578"/>
                    </a:lnTo>
                    <a:lnTo>
                      <a:pt x="1247" y="1577"/>
                    </a:lnTo>
                    <a:lnTo>
                      <a:pt x="1247" y="1575"/>
                    </a:lnTo>
                    <a:lnTo>
                      <a:pt x="1246" y="1575"/>
                    </a:lnTo>
                    <a:lnTo>
                      <a:pt x="1247" y="1575"/>
                    </a:lnTo>
                    <a:lnTo>
                      <a:pt x="1247" y="1573"/>
                    </a:lnTo>
                    <a:lnTo>
                      <a:pt x="1247" y="1572"/>
                    </a:lnTo>
                    <a:lnTo>
                      <a:pt x="1247" y="1573"/>
                    </a:lnTo>
                    <a:lnTo>
                      <a:pt x="1247" y="1575"/>
                    </a:lnTo>
                    <a:lnTo>
                      <a:pt x="1246" y="1575"/>
                    </a:lnTo>
                    <a:lnTo>
                      <a:pt x="1246" y="1573"/>
                    </a:lnTo>
                    <a:lnTo>
                      <a:pt x="1244" y="1575"/>
                    </a:lnTo>
                    <a:lnTo>
                      <a:pt x="1246" y="1575"/>
                    </a:lnTo>
                    <a:lnTo>
                      <a:pt x="1244" y="1575"/>
                    </a:lnTo>
                    <a:lnTo>
                      <a:pt x="1244" y="1577"/>
                    </a:lnTo>
                    <a:lnTo>
                      <a:pt x="1246" y="1577"/>
                    </a:lnTo>
                    <a:lnTo>
                      <a:pt x="1246" y="1578"/>
                    </a:lnTo>
                    <a:lnTo>
                      <a:pt x="1246" y="1580"/>
                    </a:lnTo>
                    <a:lnTo>
                      <a:pt x="1246" y="1578"/>
                    </a:lnTo>
                    <a:lnTo>
                      <a:pt x="1246" y="1580"/>
                    </a:lnTo>
                    <a:lnTo>
                      <a:pt x="1244" y="1580"/>
                    </a:lnTo>
                    <a:lnTo>
                      <a:pt x="1244" y="1578"/>
                    </a:lnTo>
                    <a:lnTo>
                      <a:pt x="1242" y="1580"/>
                    </a:lnTo>
                    <a:lnTo>
                      <a:pt x="1242" y="1578"/>
                    </a:lnTo>
                    <a:lnTo>
                      <a:pt x="1242" y="1580"/>
                    </a:lnTo>
                    <a:lnTo>
                      <a:pt x="1242" y="1578"/>
                    </a:lnTo>
                    <a:lnTo>
                      <a:pt x="1244" y="1577"/>
                    </a:lnTo>
                    <a:lnTo>
                      <a:pt x="1242" y="1577"/>
                    </a:lnTo>
                    <a:lnTo>
                      <a:pt x="1242" y="1578"/>
                    </a:lnTo>
                    <a:lnTo>
                      <a:pt x="1241" y="1580"/>
                    </a:lnTo>
                    <a:lnTo>
                      <a:pt x="1241" y="1578"/>
                    </a:lnTo>
                    <a:lnTo>
                      <a:pt x="1242" y="1577"/>
                    </a:lnTo>
                    <a:lnTo>
                      <a:pt x="1242" y="1575"/>
                    </a:lnTo>
                    <a:lnTo>
                      <a:pt x="1242" y="1577"/>
                    </a:lnTo>
                    <a:lnTo>
                      <a:pt x="1241" y="1578"/>
                    </a:lnTo>
                    <a:lnTo>
                      <a:pt x="1241" y="1580"/>
                    </a:lnTo>
                    <a:lnTo>
                      <a:pt x="1239" y="1578"/>
                    </a:lnTo>
                    <a:lnTo>
                      <a:pt x="1239" y="1580"/>
                    </a:lnTo>
                    <a:lnTo>
                      <a:pt x="1241" y="1580"/>
                    </a:lnTo>
                    <a:lnTo>
                      <a:pt x="1239" y="1582"/>
                    </a:lnTo>
                    <a:lnTo>
                      <a:pt x="1237" y="1580"/>
                    </a:lnTo>
                    <a:lnTo>
                      <a:pt x="1237" y="1582"/>
                    </a:lnTo>
                    <a:lnTo>
                      <a:pt x="1237" y="1580"/>
                    </a:lnTo>
                    <a:lnTo>
                      <a:pt x="1236" y="1580"/>
                    </a:lnTo>
                    <a:lnTo>
                      <a:pt x="1237" y="1580"/>
                    </a:lnTo>
                    <a:lnTo>
                      <a:pt x="1236" y="1580"/>
                    </a:lnTo>
                    <a:lnTo>
                      <a:pt x="1236" y="1582"/>
                    </a:lnTo>
                    <a:lnTo>
                      <a:pt x="1234" y="1582"/>
                    </a:lnTo>
                    <a:lnTo>
                      <a:pt x="1232" y="1582"/>
                    </a:lnTo>
                    <a:lnTo>
                      <a:pt x="1230" y="1582"/>
                    </a:lnTo>
                    <a:lnTo>
                      <a:pt x="1232" y="1580"/>
                    </a:lnTo>
                    <a:lnTo>
                      <a:pt x="1232" y="1582"/>
                    </a:lnTo>
                    <a:lnTo>
                      <a:pt x="1232" y="1580"/>
                    </a:lnTo>
                    <a:lnTo>
                      <a:pt x="1234" y="1580"/>
                    </a:lnTo>
                    <a:lnTo>
                      <a:pt x="1232" y="1580"/>
                    </a:lnTo>
                    <a:lnTo>
                      <a:pt x="1234" y="1580"/>
                    </a:lnTo>
                    <a:lnTo>
                      <a:pt x="1234" y="1578"/>
                    </a:lnTo>
                    <a:lnTo>
                      <a:pt x="1232" y="1580"/>
                    </a:lnTo>
                    <a:lnTo>
                      <a:pt x="1232" y="1578"/>
                    </a:lnTo>
                    <a:lnTo>
                      <a:pt x="1232" y="1580"/>
                    </a:lnTo>
                    <a:lnTo>
                      <a:pt x="1230" y="1580"/>
                    </a:lnTo>
                    <a:lnTo>
                      <a:pt x="1229" y="1580"/>
                    </a:lnTo>
                    <a:lnTo>
                      <a:pt x="1227" y="1578"/>
                    </a:lnTo>
                    <a:lnTo>
                      <a:pt x="1229" y="1578"/>
                    </a:lnTo>
                    <a:lnTo>
                      <a:pt x="1230" y="1578"/>
                    </a:lnTo>
                    <a:lnTo>
                      <a:pt x="1232" y="1578"/>
                    </a:lnTo>
                    <a:lnTo>
                      <a:pt x="1234" y="1578"/>
                    </a:lnTo>
                    <a:lnTo>
                      <a:pt x="1236" y="1578"/>
                    </a:lnTo>
                    <a:lnTo>
                      <a:pt x="1237" y="1580"/>
                    </a:lnTo>
                    <a:lnTo>
                      <a:pt x="1237" y="1578"/>
                    </a:lnTo>
                    <a:lnTo>
                      <a:pt x="1236" y="1578"/>
                    </a:lnTo>
                    <a:lnTo>
                      <a:pt x="1234" y="1578"/>
                    </a:lnTo>
                    <a:lnTo>
                      <a:pt x="1234" y="1577"/>
                    </a:lnTo>
                    <a:lnTo>
                      <a:pt x="1232" y="1578"/>
                    </a:lnTo>
                    <a:lnTo>
                      <a:pt x="1232" y="1577"/>
                    </a:lnTo>
                    <a:lnTo>
                      <a:pt x="1230" y="1578"/>
                    </a:lnTo>
                    <a:lnTo>
                      <a:pt x="1232" y="1577"/>
                    </a:lnTo>
                    <a:lnTo>
                      <a:pt x="1230" y="1575"/>
                    </a:lnTo>
                    <a:lnTo>
                      <a:pt x="1232" y="1577"/>
                    </a:lnTo>
                    <a:lnTo>
                      <a:pt x="1234" y="1577"/>
                    </a:lnTo>
                    <a:lnTo>
                      <a:pt x="1236" y="1577"/>
                    </a:lnTo>
                    <a:lnTo>
                      <a:pt x="1234" y="1577"/>
                    </a:lnTo>
                    <a:lnTo>
                      <a:pt x="1236" y="1577"/>
                    </a:lnTo>
                    <a:lnTo>
                      <a:pt x="1237" y="1577"/>
                    </a:lnTo>
                    <a:lnTo>
                      <a:pt x="1237" y="1578"/>
                    </a:lnTo>
                    <a:lnTo>
                      <a:pt x="1239" y="1578"/>
                    </a:lnTo>
                    <a:lnTo>
                      <a:pt x="1237" y="1577"/>
                    </a:lnTo>
                    <a:lnTo>
                      <a:pt x="1239" y="1577"/>
                    </a:lnTo>
                    <a:lnTo>
                      <a:pt x="1237" y="1577"/>
                    </a:lnTo>
                    <a:lnTo>
                      <a:pt x="1236" y="1577"/>
                    </a:lnTo>
                    <a:lnTo>
                      <a:pt x="1237" y="1575"/>
                    </a:lnTo>
                    <a:lnTo>
                      <a:pt x="1236" y="1575"/>
                    </a:lnTo>
                    <a:lnTo>
                      <a:pt x="1234" y="1575"/>
                    </a:lnTo>
                    <a:lnTo>
                      <a:pt x="1236" y="1575"/>
                    </a:lnTo>
                    <a:lnTo>
                      <a:pt x="1237" y="1575"/>
                    </a:lnTo>
                    <a:lnTo>
                      <a:pt x="1237" y="1573"/>
                    </a:lnTo>
                    <a:lnTo>
                      <a:pt x="1236" y="1575"/>
                    </a:lnTo>
                    <a:lnTo>
                      <a:pt x="1237" y="1573"/>
                    </a:lnTo>
                    <a:lnTo>
                      <a:pt x="1236" y="1573"/>
                    </a:lnTo>
                    <a:lnTo>
                      <a:pt x="1234" y="1573"/>
                    </a:lnTo>
                    <a:lnTo>
                      <a:pt x="1236" y="1572"/>
                    </a:lnTo>
                    <a:lnTo>
                      <a:pt x="1237" y="1572"/>
                    </a:lnTo>
                    <a:lnTo>
                      <a:pt x="1239" y="1572"/>
                    </a:lnTo>
                    <a:lnTo>
                      <a:pt x="1239" y="1573"/>
                    </a:lnTo>
                    <a:lnTo>
                      <a:pt x="1241" y="1573"/>
                    </a:lnTo>
                    <a:lnTo>
                      <a:pt x="1239" y="1573"/>
                    </a:lnTo>
                    <a:lnTo>
                      <a:pt x="1239" y="1572"/>
                    </a:lnTo>
                    <a:lnTo>
                      <a:pt x="1237" y="1572"/>
                    </a:lnTo>
                    <a:lnTo>
                      <a:pt x="1237" y="1570"/>
                    </a:lnTo>
                    <a:lnTo>
                      <a:pt x="1237" y="1572"/>
                    </a:lnTo>
                    <a:lnTo>
                      <a:pt x="1237" y="1570"/>
                    </a:lnTo>
                    <a:lnTo>
                      <a:pt x="1239" y="1568"/>
                    </a:lnTo>
                    <a:lnTo>
                      <a:pt x="1241" y="1568"/>
                    </a:lnTo>
                    <a:lnTo>
                      <a:pt x="1242" y="1568"/>
                    </a:lnTo>
                    <a:lnTo>
                      <a:pt x="1242" y="1566"/>
                    </a:lnTo>
                    <a:lnTo>
                      <a:pt x="1241" y="1566"/>
                    </a:lnTo>
                    <a:lnTo>
                      <a:pt x="1241" y="1568"/>
                    </a:lnTo>
                    <a:lnTo>
                      <a:pt x="1241" y="1566"/>
                    </a:lnTo>
                    <a:lnTo>
                      <a:pt x="1239" y="1566"/>
                    </a:lnTo>
                    <a:lnTo>
                      <a:pt x="1241" y="1566"/>
                    </a:lnTo>
                    <a:lnTo>
                      <a:pt x="1239" y="1566"/>
                    </a:lnTo>
                    <a:lnTo>
                      <a:pt x="1239" y="1568"/>
                    </a:lnTo>
                    <a:lnTo>
                      <a:pt x="1237" y="1568"/>
                    </a:lnTo>
                    <a:lnTo>
                      <a:pt x="1237" y="1570"/>
                    </a:lnTo>
                    <a:lnTo>
                      <a:pt x="1237" y="1568"/>
                    </a:lnTo>
                    <a:lnTo>
                      <a:pt x="1237" y="1566"/>
                    </a:lnTo>
                    <a:lnTo>
                      <a:pt x="1239" y="1566"/>
                    </a:lnTo>
                    <a:lnTo>
                      <a:pt x="1239" y="1565"/>
                    </a:lnTo>
                    <a:lnTo>
                      <a:pt x="1237" y="1566"/>
                    </a:lnTo>
                    <a:lnTo>
                      <a:pt x="1236" y="1568"/>
                    </a:lnTo>
                    <a:lnTo>
                      <a:pt x="1237" y="1568"/>
                    </a:lnTo>
                    <a:lnTo>
                      <a:pt x="1236" y="1568"/>
                    </a:lnTo>
                    <a:lnTo>
                      <a:pt x="1237" y="1570"/>
                    </a:lnTo>
                    <a:lnTo>
                      <a:pt x="1236" y="1570"/>
                    </a:lnTo>
                    <a:lnTo>
                      <a:pt x="1236" y="1572"/>
                    </a:lnTo>
                    <a:lnTo>
                      <a:pt x="1234" y="1572"/>
                    </a:lnTo>
                    <a:lnTo>
                      <a:pt x="1232" y="1572"/>
                    </a:lnTo>
                    <a:lnTo>
                      <a:pt x="1234" y="1572"/>
                    </a:lnTo>
                    <a:lnTo>
                      <a:pt x="1232" y="1572"/>
                    </a:lnTo>
                    <a:lnTo>
                      <a:pt x="1232" y="1570"/>
                    </a:lnTo>
                    <a:lnTo>
                      <a:pt x="1234" y="1570"/>
                    </a:lnTo>
                    <a:lnTo>
                      <a:pt x="1236" y="1570"/>
                    </a:lnTo>
                    <a:lnTo>
                      <a:pt x="1234" y="1570"/>
                    </a:lnTo>
                    <a:lnTo>
                      <a:pt x="1234" y="1568"/>
                    </a:lnTo>
                    <a:lnTo>
                      <a:pt x="1236" y="1568"/>
                    </a:lnTo>
                    <a:lnTo>
                      <a:pt x="1236" y="1566"/>
                    </a:lnTo>
                    <a:lnTo>
                      <a:pt x="1236" y="1565"/>
                    </a:lnTo>
                    <a:lnTo>
                      <a:pt x="1236" y="1563"/>
                    </a:lnTo>
                    <a:lnTo>
                      <a:pt x="1237" y="1563"/>
                    </a:lnTo>
                    <a:lnTo>
                      <a:pt x="1237" y="1561"/>
                    </a:lnTo>
                    <a:lnTo>
                      <a:pt x="1239" y="1561"/>
                    </a:lnTo>
                    <a:lnTo>
                      <a:pt x="1239" y="1560"/>
                    </a:lnTo>
                    <a:lnTo>
                      <a:pt x="1237" y="1561"/>
                    </a:lnTo>
                    <a:lnTo>
                      <a:pt x="1237" y="1563"/>
                    </a:lnTo>
                    <a:lnTo>
                      <a:pt x="1236" y="1561"/>
                    </a:lnTo>
                    <a:lnTo>
                      <a:pt x="1236" y="1563"/>
                    </a:lnTo>
                    <a:lnTo>
                      <a:pt x="1234" y="1563"/>
                    </a:lnTo>
                    <a:lnTo>
                      <a:pt x="1236" y="1563"/>
                    </a:lnTo>
                    <a:lnTo>
                      <a:pt x="1236" y="1565"/>
                    </a:lnTo>
                    <a:lnTo>
                      <a:pt x="1236" y="1566"/>
                    </a:lnTo>
                    <a:lnTo>
                      <a:pt x="1234" y="1566"/>
                    </a:lnTo>
                    <a:lnTo>
                      <a:pt x="1234" y="1568"/>
                    </a:lnTo>
                    <a:lnTo>
                      <a:pt x="1232" y="1568"/>
                    </a:lnTo>
                    <a:lnTo>
                      <a:pt x="1230" y="1568"/>
                    </a:lnTo>
                    <a:lnTo>
                      <a:pt x="1232" y="1568"/>
                    </a:lnTo>
                    <a:lnTo>
                      <a:pt x="1232" y="1566"/>
                    </a:lnTo>
                    <a:lnTo>
                      <a:pt x="1230" y="1568"/>
                    </a:lnTo>
                    <a:lnTo>
                      <a:pt x="1229" y="1568"/>
                    </a:lnTo>
                    <a:lnTo>
                      <a:pt x="1229" y="1566"/>
                    </a:lnTo>
                    <a:lnTo>
                      <a:pt x="1230" y="1566"/>
                    </a:lnTo>
                    <a:lnTo>
                      <a:pt x="1229" y="1565"/>
                    </a:lnTo>
                    <a:lnTo>
                      <a:pt x="1230" y="1565"/>
                    </a:lnTo>
                    <a:lnTo>
                      <a:pt x="1232" y="1565"/>
                    </a:lnTo>
                    <a:lnTo>
                      <a:pt x="1234" y="1565"/>
                    </a:lnTo>
                    <a:lnTo>
                      <a:pt x="1232" y="1565"/>
                    </a:lnTo>
                    <a:lnTo>
                      <a:pt x="1230" y="1565"/>
                    </a:lnTo>
                    <a:lnTo>
                      <a:pt x="1229" y="1565"/>
                    </a:lnTo>
                    <a:lnTo>
                      <a:pt x="1230" y="1563"/>
                    </a:lnTo>
                    <a:lnTo>
                      <a:pt x="1229" y="1563"/>
                    </a:lnTo>
                    <a:lnTo>
                      <a:pt x="1229" y="1565"/>
                    </a:lnTo>
                    <a:lnTo>
                      <a:pt x="1229" y="1563"/>
                    </a:lnTo>
                    <a:lnTo>
                      <a:pt x="1230" y="1563"/>
                    </a:lnTo>
                    <a:lnTo>
                      <a:pt x="1232" y="1563"/>
                    </a:lnTo>
                    <a:lnTo>
                      <a:pt x="1230" y="1563"/>
                    </a:lnTo>
                    <a:lnTo>
                      <a:pt x="1230" y="1561"/>
                    </a:lnTo>
                    <a:lnTo>
                      <a:pt x="1232" y="1561"/>
                    </a:lnTo>
                    <a:lnTo>
                      <a:pt x="1234" y="1561"/>
                    </a:lnTo>
                    <a:lnTo>
                      <a:pt x="1234" y="1560"/>
                    </a:lnTo>
                    <a:lnTo>
                      <a:pt x="1236" y="1560"/>
                    </a:lnTo>
                    <a:lnTo>
                      <a:pt x="1237" y="1560"/>
                    </a:lnTo>
                    <a:lnTo>
                      <a:pt x="1236" y="1560"/>
                    </a:lnTo>
                    <a:lnTo>
                      <a:pt x="1236" y="1558"/>
                    </a:lnTo>
                    <a:lnTo>
                      <a:pt x="1236" y="1556"/>
                    </a:lnTo>
                    <a:lnTo>
                      <a:pt x="1236" y="1558"/>
                    </a:lnTo>
                    <a:lnTo>
                      <a:pt x="1234" y="1558"/>
                    </a:lnTo>
                    <a:lnTo>
                      <a:pt x="1236" y="1558"/>
                    </a:lnTo>
                    <a:lnTo>
                      <a:pt x="1234" y="1560"/>
                    </a:lnTo>
                    <a:lnTo>
                      <a:pt x="1234" y="1558"/>
                    </a:lnTo>
                    <a:lnTo>
                      <a:pt x="1232" y="1558"/>
                    </a:lnTo>
                    <a:lnTo>
                      <a:pt x="1230" y="1558"/>
                    </a:lnTo>
                    <a:lnTo>
                      <a:pt x="1230" y="1556"/>
                    </a:lnTo>
                    <a:lnTo>
                      <a:pt x="1229" y="1558"/>
                    </a:lnTo>
                    <a:lnTo>
                      <a:pt x="1229" y="1556"/>
                    </a:lnTo>
                    <a:lnTo>
                      <a:pt x="1227" y="1556"/>
                    </a:lnTo>
                    <a:lnTo>
                      <a:pt x="1225" y="1556"/>
                    </a:lnTo>
                    <a:lnTo>
                      <a:pt x="1224" y="1556"/>
                    </a:lnTo>
                    <a:lnTo>
                      <a:pt x="1225" y="1556"/>
                    </a:lnTo>
                    <a:lnTo>
                      <a:pt x="1225" y="1555"/>
                    </a:lnTo>
                    <a:lnTo>
                      <a:pt x="1227" y="1555"/>
                    </a:lnTo>
                    <a:lnTo>
                      <a:pt x="1229" y="1556"/>
                    </a:lnTo>
                    <a:lnTo>
                      <a:pt x="1229" y="1555"/>
                    </a:lnTo>
                    <a:lnTo>
                      <a:pt x="1230" y="1555"/>
                    </a:lnTo>
                    <a:lnTo>
                      <a:pt x="1232" y="1555"/>
                    </a:lnTo>
                    <a:lnTo>
                      <a:pt x="1232" y="1553"/>
                    </a:lnTo>
                    <a:lnTo>
                      <a:pt x="1230" y="1551"/>
                    </a:lnTo>
                    <a:lnTo>
                      <a:pt x="1230" y="1553"/>
                    </a:lnTo>
                    <a:lnTo>
                      <a:pt x="1230" y="1555"/>
                    </a:lnTo>
                    <a:lnTo>
                      <a:pt x="1230" y="1553"/>
                    </a:lnTo>
                    <a:lnTo>
                      <a:pt x="1229" y="1555"/>
                    </a:lnTo>
                    <a:lnTo>
                      <a:pt x="1227" y="1553"/>
                    </a:lnTo>
                    <a:lnTo>
                      <a:pt x="1227" y="1555"/>
                    </a:lnTo>
                    <a:lnTo>
                      <a:pt x="1227" y="1553"/>
                    </a:lnTo>
                    <a:lnTo>
                      <a:pt x="1229" y="1553"/>
                    </a:lnTo>
                    <a:lnTo>
                      <a:pt x="1229" y="1551"/>
                    </a:lnTo>
                    <a:lnTo>
                      <a:pt x="1230" y="1551"/>
                    </a:lnTo>
                    <a:lnTo>
                      <a:pt x="1230" y="1549"/>
                    </a:lnTo>
                    <a:lnTo>
                      <a:pt x="1229" y="1549"/>
                    </a:lnTo>
                    <a:lnTo>
                      <a:pt x="1229" y="1551"/>
                    </a:lnTo>
                    <a:lnTo>
                      <a:pt x="1227" y="1549"/>
                    </a:lnTo>
                    <a:lnTo>
                      <a:pt x="1227" y="1551"/>
                    </a:lnTo>
                    <a:lnTo>
                      <a:pt x="1229" y="1551"/>
                    </a:lnTo>
                    <a:lnTo>
                      <a:pt x="1227" y="1551"/>
                    </a:lnTo>
                    <a:lnTo>
                      <a:pt x="1227" y="1553"/>
                    </a:lnTo>
                    <a:lnTo>
                      <a:pt x="1227" y="1555"/>
                    </a:lnTo>
                    <a:lnTo>
                      <a:pt x="1225" y="1553"/>
                    </a:lnTo>
                    <a:lnTo>
                      <a:pt x="1224" y="1555"/>
                    </a:lnTo>
                    <a:lnTo>
                      <a:pt x="1224" y="1553"/>
                    </a:lnTo>
                    <a:lnTo>
                      <a:pt x="1225" y="1551"/>
                    </a:lnTo>
                    <a:lnTo>
                      <a:pt x="1225" y="1553"/>
                    </a:lnTo>
                    <a:lnTo>
                      <a:pt x="1224" y="1553"/>
                    </a:lnTo>
                    <a:lnTo>
                      <a:pt x="1222" y="1553"/>
                    </a:lnTo>
                    <a:lnTo>
                      <a:pt x="1220" y="1553"/>
                    </a:lnTo>
                    <a:lnTo>
                      <a:pt x="1222" y="1551"/>
                    </a:lnTo>
                    <a:lnTo>
                      <a:pt x="1220" y="1551"/>
                    </a:lnTo>
                    <a:lnTo>
                      <a:pt x="1222" y="1551"/>
                    </a:lnTo>
                    <a:lnTo>
                      <a:pt x="1220" y="1551"/>
                    </a:lnTo>
                    <a:lnTo>
                      <a:pt x="1222" y="1551"/>
                    </a:lnTo>
                    <a:lnTo>
                      <a:pt x="1222" y="1549"/>
                    </a:lnTo>
                    <a:lnTo>
                      <a:pt x="1224" y="1549"/>
                    </a:lnTo>
                    <a:lnTo>
                      <a:pt x="1222" y="1549"/>
                    </a:lnTo>
                    <a:lnTo>
                      <a:pt x="1220" y="1549"/>
                    </a:lnTo>
                    <a:lnTo>
                      <a:pt x="1222" y="1549"/>
                    </a:lnTo>
                    <a:lnTo>
                      <a:pt x="1220" y="1549"/>
                    </a:lnTo>
                    <a:lnTo>
                      <a:pt x="1219" y="1549"/>
                    </a:lnTo>
                    <a:lnTo>
                      <a:pt x="1219" y="1548"/>
                    </a:lnTo>
                    <a:lnTo>
                      <a:pt x="1217" y="1548"/>
                    </a:lnTo>
                    <a:lnTo>
                      <a:pt x="1217" y="1546"/>
                    </a:lnTo>
                    <a:lnTo>
                      <a:pt x="1217" y="1544"/>
                    </a:lnTo>
                    <a:lnTo>
                      <a:pt x="1215" y="1544"/>
                    </a:lnTo>
                    <a:lnTo>
                      <a:pt x="1215" y="1543"/>
                    </a:lnTo>
                    <a:lnTo>
                      <a:pt x="1217" y="1544"/>
                    </a:lnTo>
                    <a:lnTo>
                      <a:pt x="1219" y="1544"/>
                    </a:lnTo>
                    <a:lnTo>
                      <a:pt x="1220" y="1544"/>
                    </a:lnTo>
                    <a:lnTo>
                      <a:pt x="1220" y="1546"/>
                    </a:lnTo>
                    <a:lnTo>
                      <a:pt x="1222" y="1544"/>
                    </a:lnTo>
                    <a:lnTo>
                      <a:pt x="1222" y="1546"/>
                    </a:lnTo>
                    <a:lnTo>
                      <a:pt x="1222" y="1548"/>
                    </a:lnTo>
                    <a:lnTo>
                      <a:pt x="1222" y="1546"/>
                    </a:lnTo>
                    <a:lnTo>
                      <a:pt x="1224" y="1546"/>
                    </a:lnTo>
                    <a:lnTo>
                      <a:pt x="1222" y="1546"/>
                    </a:lnTo>
                    <a:lnTo>
                      <a:pt x="1224" y="1544"/>
                    </a:lnTo>
                    <a:lnTo>
                      <a:pt x="1224" y="1546"/>
                    </a:lnTo>
                    <a:lnTo>
                      <a:pt x="1225" y="1544"/>
                    </a:lnTo>
                    <a:lnTo>
                      <a:pt x="1225" y="1546"/>
                    </a:lnTo>
                    <a:lnTo>
                      <a:pt x="1227" y="1546"/>
                    </a:lnTo>
                    <a:lnTo>
                      <a:pt x="1227" y="1548"/>
                    </a:lnTo>
                    <a:lnTo>
                      <a:pt x="1227" y="1546"/>
                    </a:lnTo>
                    <a:lnTo>
                      <a:pt x="1229" y="1548"/>
                    </a:lnTo>
                    <a:lnTo>
                      <a:pt x="1229" y="1546"/>
                    </a:lnTo>
                    <a:lnTo>
                      <a:pt x="1227" y="1546"/>
                    </a:lnTo>
                    <a:lnTo>
                      <a:pt x="1225" y="1546"/>
                    </a:lnTo>
                    <a:lnTo>
                      <a:pt x="1225" y="1544"/>
                    </a:lnTo>
                    <a:lnTo>
                      <a:pt x="1225" y="1543"/>
                    </a:lnTo>
                    <a:lnTo>
                      <a:pt x="1227" y="1543"/>
                    </a:lnTo>
                    <a:lnTo>
                      <a:pt x="1225" y="1543"/>
                    </a:lnTo>
                    <a:lnTo>
                      <a:pt x="1227" y="1543"/>
                    </a:lnTo>
                    <a:lnTo>
                      <a:pt x="1225" y="1543"/>
                    </a:lnTo>
                    <a:lnTo>
                      <a:pt x="1225" y="1541"/>
                    </a:lnTo>
                    <a:lnTo>
                      <a:pt x="1224" y="1541"/>
                    </a:lnTo>
                    <a:lnTo>
                      <a:pt x="1225" y="1541"/>
                    </a:lnTo>
                    <a:lnTo>
                      <a:pt x="1224" y="1539"/>
                    </a:lnTo>
                    <a:lnTo>
                      <a:pt x="1225" y="1539"/>
                    </a:lnTo>
                    <a:lnTo>
                      <a:pt x="1227" y="1539"/>
                    </a:lnTo>
                    <a:lnTo>
                      <a:pt x="1229" y="1539"/>
                    </a:lnTo>
                    <a:close/>
                    <a:moveTo>
                      <a:pt x="1400" y="1626"/>
                    </a:moveTo>
                    <a:lnTo>
                      <a:pt x="1402" y="1626"/>
                    </a:lnTo>
                    <a:lnTo>
                      <a:pt x="1402" y="1628"/>
                    </a:lnTo>
                    <a:lnTo>
                      <a:pt x="1404" y="1626"/>
                    </a:lnTo>
                    <a:lnTo>
                      <a:pt x="1404" y="1628"/>
                    </a:lnTo>
                    <a:lnTo>
                      <a:pt x="1406" y="1628"/>
                    </a:lnTo>
                    <a:lnTo>
                      <a:pt x="1407" y="1628"/>
                    </a:lnTo>
                    <a:lnTo>
                      <a:pt x="1409" y="1628"/>
                    </a:lnTo>
                    <a:lnTo>
                      <a:pt x="1407" y="1628"/>
                    </a:lnTo>
                    <a:lnTo>
                      <a:pt x="1409" y="1629"/>
                    </a:lnTo>
                    <a:lnTo>
                      <a:pt x="1409" y="1628"/>
                    </a:lnTo>
                    <a:lnTo>
                      <a:pt x="1411" y="1629"/>
                    </a:lnTo>
                    <a:lnTo>
                      <a:pt x="1411" y="1628"/>
                    </a:lnTo>
                    <a:lnTo>
                      <a:pt x="1412" y="1628"/>
                    </a:lnTo>
                    <a:lnTo>
                      <a:pt x="1414" y="1628"/>
                    </a:lnTo>
                    <a:lnTo>
                      <a:pt x="1416" y="1628"/>
                    </a:lnTo>
                    <a:lnTo>
                      <a:pt x="1416" y="1629"/>
                    </a:lnTo>
                    <a:lnTo>
                      <a:pt x="1417" y="1628"/>
                    </a:lnTo>
                    <a:lnTo>
                      <a:pt x="1419" y="1628"/>
                    </a:lnTo>
                    <a:lnTo>
                      <a:pt x="1421" y="1628"/>
                    </a:lnTo>
                    <a:lnTo>
                      <a:pt x="1423" y="1628"/>
                    </a:lnTo>
                    <a:lnTo>
                      <a:pt x="1423" y="1629"/>
                    </a:lnTo>
                    <a:lnTo>
                      <a:pt x="1424" y="1629"/>
                    </a:lnTo>
                    <a:lnTo>
                      <a:pt x="1426" y="1629"/>
                    </a:lnTo>
                    <a:lnTo>
                      <a:pt x="1428" y="1631"/>
                    </a:lnTo>
                    <a:lnTo>
                      <a:pt x="1428" y="1633"/>
                    </a:lnTo>
                    <a:lnTo>
                      <a:pt x="1429" y="1635"/>
                    </a:lnTo>
                    <a:lnTo>
                      <a:pt x="1429" y="1636"/>
                    </a:lnTo>
                    <a:lnTo>
                      <a:pt x="1429" y="1638"/>
                    </a:lnTo>
                    <a:lnTo>
                      <a:pt x="1431" y="1638"/>
                    </a:lnTo>
                    <a:lnTo>
                      <a:pt x="1431" y="1640"/>
                    </a:lnTo>
                    <a:lnTo>
                      <a:pt x="1431" y="1641"/>
                    </a:lnTo>
                    <a:lnTo>
                      <a:pt x="1429" y="1643"/>
                    </a:lnTo>
                    <a:lnTo>
                      <a:pt x="1429" y="1645"/>
                    </a:lnTo>
                    <a:lnTo>
                      <a:pt x="1428" y="1646"/>
                    </a:lnTo>
                    <a:lnTo>
                      <a:pt x="1426" y="1648"/>
                    </a:lnTo>
                    <a:lnTo>
                      <a:pt x="1426" y="1650"/>
                    </a:lnTo>
                    <a:lnTo>
                      <a:pt x="1424" y="1650"/>
                    </a:lnTo>
                    <a:lnTo>
                      <a:pt x="1424" y="1652"/>
                    </a:lnTo>
                    <a:lnTo>
                      <a:pt x="1423" y="1652"/>
                    </a:lnTo>
                    <a:lnTo>
                      <a:pt x="1421" y="1652"/>
                    </a:lnTo>
                    <a:lnTo>
                      <a:pt x="1419" y="1652"/>
                    </a:lnTo>
                    <a:lnTo>
                      <a:pt x="1417" y="1652"/>
                    </a:lnTo>
                    <a:lnTo>
                      <a:pt x="1417" y="1650"/>
                    </a:lnTo>
                    <a:lnTo>
                      <a:pt x="1417" y="1648"/>
                    </a:lnTo>
                    <a:lnTo>
                      <a:pt x="1417" y="1646"/>
                    </a:lnTo>
                    <a:lnTo>
                      <a:pt x="1419" y="1645"/>
                    </a:lnTo>
                    <a:lnTo>
                      <a:pt x="1417" y="1643"/>
                    </a:lnTo>
                    <a:lnTo>
                      <a:pt x="1416" y="1643"/>
                    </a:lnTo>
                    <a:lnTo>
                      <a:pt x="1414" y="1643"/>
                    </a:lnTo>
                    <a:lnTo>
                      <a:pt x="1412" y="1645"/>
                    </a:lnTo>
                    <a:lnTo>
                      <a:pt x="1411" y="1646"/>
                    </a:lnTo>
                    <a:lnTo>
                      <a:pt x="1412" y="1648"/>
                    </a:lnTo>
                    <a:lnTo>
                      <a:pt x="1411" y="1648"/>
                    </a:lnTo>
                    <a:lnTo>
                      <a:pt x="1409" y="1648"/>
                    </a:lnTo>
                    <a:lnTo>
                      <a:pt x="1407" y="1646"/>
                    </a:lnTo>
                    <a:lnTo>
                      <a:pt x="1407" y="1648"/>
                    </a:lnTo>
                    <a:lnTo>
                      <a:pt x="1406" y="1648"/>
                    </a:lnTo>
                    <a:lnTo>
                      <a:pt x="1404" y="1648"/>
                    </a:lnTo>
                    <a:lnTo>
                      <a:pt x="1402" y="1646"/>
                    </a:lnTo>
                    <a:lnTo>
                      <a:pt x="1404" y="1646"/>
                    </a:lnTo>
                    <a:lnTo>
                      <a:pt x="1402" y="1645"/>
                    </a:lnTo>
                    <a:lnTo>
                      <a:pt x="1404" y="1645"/>
                    </a:lnTo>
                    <a:lnTo>
                      <a:pt x="1404" y="1646"/>
                    </a:lnTo>
                    <a:lnTo>
                      <a:pt x="1406" y="1646"/>
                    </a:lnTo>
                    <a:lnTo>
                      <a:pt x="1407" y="1646"/>
                    </a:lnTo>
                    <a:lnTo>
                      <a:pt x="1406" y="1645"/>
                    </a:lnTo>
                    <a:lnTo>
                      <a:pt x="1404" y="1645"/>
                    </a:lnTo>
                    <a:lnTo>
                      <a:pt x="1404" y="1643"/>
                    </a:lnTo>
                    <a:lnTo>
                      <a:pt x="1402" y="1645"/>
                    </a:lnTo>
                    <a:lnTo>
                      <a:pt x="1402" y="1643"/>
                    </a:lnTo>
                    <a:lnTo>
                      <a:pt x="1400" y="1643"/>
                    </a:lnTo>
                    <a:lnTo>
                      <a:pt x="1400" y="1645"/>
                    </a:lnTo>
                    <a:lnTo>
                      <a:pt x="1399" y="1646"/>
                    </a:lnTo>
                    <a:lnTo>
                      <a:pt x="1399" y="1645"/>
                    </a:lnTo>
                    <a:lnTo>
                      <a:pt x="1399" y="1646"/>
                    </a:lnTo>
                    <a:lnTo>
                      <a:pt x="1397" y="1646"/>
                    </a:lnTo>
                    <a:lnTo>
                      <a:pt x="1395" y="1645"/>
                    </a:lnTo>
                    <a:lnTo>
                      <a:pt x="1394" y="1645"/>
                    </a:lnTo>
                    <a:lnTo>
                      <a:pt x="1394" y="1643"/>
                    </a:lnTo>
                    <a:lnTo>
                      <a:pt x="1395" y="1643"/>
                    </a:lnTo>
                    <a:lnTo>
                      <a:pt x="1397" y="1643"/>
                    </a:lnTo>
                    <a:lnTo>
                      <a:pt x="1395" y="1643"/>
                    </a:lnTo>
                    <a:lnTo>
                      <a:pt x="1394" y="1641"/>
                    </a:lnTo>
                    <a:lnTo>
                      <a:pt x="1394" y="1640"/>
                    </a:lnTo>
                    <a:lnTo>
                      <a:pt x="1394" y="1638"/>
                    </a:lnTo>
                    <a:lnTo>
                      <a:pt x="1394" y="1636"/>
                    </a:lnTo>
                    <a:lnTo>
                      <a:pt x="1394" y="1635"/>
                    </a:lnTo>
                    <a:lnTo>
                      <a:pt x="1394" y="1633"/>
                    </a:lnTo>
                    <a:lnTo>
                      <a:pt x="1392" y="1633"/>
                    </a:lnTo>
                    <a:lnTo>
                      <a:pt x="1394" y="1631"/>
                    </a:lnTo>
                    <a:lnTo>
                      <a:pt x="1392" y="1633"/>
                    </a:lnTo>
                    <a:lnTo>
                      <a:pt x="1392" y="1631"/>
                    </a:lnTo>
                    <a:lnTo>
                      <a:pt x="1392" y="1633"/>
                    </a:lnTo>
                    <a:lnTo>
                      <a:pt x="1390" y="1633"/>
                    </a:lnTo>
                    <a:lnTo>
                      <a:pt x="1389" y="1633"/>
                    </a:lnTo>
                    <a:lnTo>
                      <a:pt x="1387" y="1631"/>
                    </a:lnTo>
                    <a:lnTo>
                      <a:pt x="1387" y="1629"/>
                    </a:lnTo>
                    <a:lnTo>
                      <a:pt x="1385" y="1629"/>
                    </a:lnTo>
                    <a:lnTo>
                      <a:pt x="1387" y="1628"/>
                    </a:lnTo>
                    <a:lnTo>
                      <a:pt x="1389" y="1628"/>
                    </a:lnTo>
                    <a:lnTo>
                      <a:pt x="1390" y="1628"/>
                    </a:lnTo>
                    <a:lnTo>
                      <a:pt x="1392" y="1628"/>
                    </a:lnTo>
                    <a:lnTo>
                      <a:pt x="1390" y="1626"/>
                    </a:lnTo>
                    <a:lnTo>
                      <a:pt x="1392" y="1626"/>
                    </a:lnTo>
                    <a:lnTo>
                      <a:pt x="1394" y="1626"/>
                    </a:lnTo>
                    <a:lnTo>
                      <a:pt x="1395" y="1626"/>
                    </a:lnTo>
                    <a:lnTo>
                      <a:pt x="1397" y="1626"/>
                    </a:lnTo>
                    <a:lnTo>
                      <a:pt x="1399" y="1626"/>
                    </a:lnTo>
                    <a:lnTo>
                      <a:pt x="1400" y="1626"/>
                    </a:lnTo>
                    <a:close/>
                    <a:moveTo>
                      <a:pt x="1232" y="1075"/>
                    </a:moveTo>
                    <a:lnTo>
                      <a:pt x="1232" y="1077"/>
                    </a:lnTo>
                    <a:lnTo>
                      <a:pt x="1234" y="1077"/>
                    </a:lnTo>
                    <a:lnTo>
                      <a:pt x="1234" y="1078"/>
                    </a:lnTo>
                    <a:lnTo>
                      <a:pt x="1232" y="1080"/>
                    </a:lnTo>
                    <a:lnTo>
                      <a:pt x="1230" y="1082"/>
                    </a:lnTo>
                    <a:lnTo>
                      <a:pt x="1232" y="1082"/>
                    </a:lnTo>
                    <a:lnTo>
                      <a:pt x="1230" y="1082"/>
                    </a:lnTo>
                    <a:lnTo>
                      <a:pt x="1230" y="1083"/>
                    </a:lnTo>
                    <a:lnTo>
                      <a:pt x="1232" y="1082"/>
                    </a:lnTo>
                    <a:lnTo>
                      <a:pt x="1232" y="1080"/>
                    </a:lnTo>
                    <a:lnTo>
                      <a:pt x="1234" y="1080"/>
                    </a:lnTo>
                    <a:lnTo>
                      <a:pt x="1234" y="1078"/>
                    </a:lnTo>
                    <a:lnTo>
                      <a:pt x="1234" y="1077"/>
                    </a:lnTo>
                    <a:lnTo>
                      <a:pt x="1236" y="1078"/>
                    </a:lnTo>
                    <a:lnTo>
                      <a:pt x="1237" y="1078"/>
                    </a:lnTo>
                    <a:lnTo>
                      <a:pt x="1237" y="1080"/>
                    </a:lnTo>
                    <a:lnTo>
                      <a:pt x="1239" y="1080"/>
                    </a:lnTo>
                    <a:lnTo>
                      <a:pt x="1239" y="1082"/>
                    </a:lnTo>
                    <a:lnTo>
                      <a:pt x="1241" y="1082"/>
                    </a:lnTo>
                    <a:lnTo>
                      <a:pt x="1241" y="1083"/>
                    </a:lnTo>
                    <a:lnTo>
                      <a:pt x="1239" y="1083"/>
                    </a:lnTo>
                    <a:lnTo>
                      <a:pt x="1239" y="1085"/>
                    </a:lnTo>
                    <a:lnTo>
                      <a:pt x="1237" y="1087"/>
                    </a:lnTo>
                    <a:lnTo>
                      <a:pt x="1236" y="1087"/>
                    </a:lnTo>
                    <a:lnTo>
                      <a:pt x="1234" y="1087"/>
                    </a:lnTo>
                    <a:lnTo>
                      <a:pt x="1232" y="1085"/>
                    </a:lnTo>
                    <a:lnTo>
                      <a:pt x="1230" y="1085"/>
                    </a:lnTo>
                    <a:lnTo>
                      <a:pt x="1232" y="1085"/>
                    </a:lnTo>
                    <a:lnTo>
                      <a:pt x="1230" y="1085"/>
                    </a:lnTo>
                    <a:lnTo>
                      <a:pt x="1232" y="1085"/>
                    </a:lnTo>
                    <a:lnTo>
                      <a:pt x="1230" y="1087"/>
                    </a:lnTo>
                    <a:lnTo>
                      <a:pt x="1232" y="1087"/>
                    </a:lnTo>
                    <a:lnTo>
                      <a:pt x="1234" y="1087"/>
                    </a:lnTo>
                    <a:lnTo>
                      <a:pt x="1234" y="1088"/>
                    </a:lnTo>
                    <a:lnTo>
                      <a:pt x="1236" y="1088"/>
                    </a:lnTo>
                    <a:lnTo>
                      <a:pt x="1237" y="1088"/>
                    </a:lnTo>
                    <a:lnTo>
                      <a:pt x="1237" y="1090"/>
                    </a:lnTo>
                    <a:lnTo>
                      <a:pt x="1236" y="1090"/>
                    </a:lnTo>
                    <a:lnTo>
                      <a:pt x="1236" y="1092"/>
                    </a:lnTo>
                    <a:lnTo>
                      <a:pt x="1234" y="1094"/>
                    </a:lnTo>
                    <a:lnTo>
                      <a:pt x="1234" y="1092"/>
                    </a:lnTo>
                    <a:lnTo>
                      <a:pt x="1234" y="1094"/>
                    </a:lnTo>
                    <a:lnTo>
                      <a:pt x="1232" y="1094"/>
                    </a:lnTo>
                    <a:lnTo>
                      <a:pt x="1230" y="1095"/>
                    </a:lnTo>
                    <a:lnTo>
                      <a:pt x="1230" y="1097"/>
                    </a:lnTo>
                    <a:lnTo>
                      <a:pt x="1229" y="1097"/>
                    </a:lnTo>
                    <a:lnTo>
                      <a:pt x="1229" y="1099"/>
                    </a:lnTo>
                    <a:lnTo>
                      <a:pt x="1227" y="1099"/>
                    </a:lnTo>
                    <a:lnTo>
                      <a:pt x="1227" y="1100"/>
                    </a:lnTo>
                    <a:lnTo>
                      <a:pt x="1225" y="1100"/>
                    </a:lnTo>
                    <a:lnTo>
                      <a:pt x="1224" y="1100"/>
                    </a:lnTo>
                    <a:lnTo>
                      <a:pt x="1224" y="1102"/>
                    </a:lnTo>
                    <a:lnTo>
                      <a:pt x="1222" y="1100"/>
                    </a:lnTo>
                    <a:lnTo>
                      <a:pt x="1220" y="1100"/>
                    </a:lnTo>
                    <a:lnTo>
                      <a:pt x="1220" y="1099"/>
                    </a:lnTo>
                    <a:lnTo>
                      <a:pt x="1220" y="1100"/>
                    </a:lnTo>
                    <a:lnTo>
                      <a:pt x="1220" y="1099"/>
                    </a:lnTo>
                    <a:lnTo>
                      <a:pt x="1219" y="1099"/>
                    </a:lnTo>
                    <a:lnTo>
                      <a:pt x="1219" y="1097"/>
                    </a:lnTo>
                    <a:lnTo>
                      <a:pt x="1217" y="1097"/>
                    </a:lnTo>
                    <a:lnTo>
                      <a:pt x="1217" y="1095"/>
                    </a:lnTo>
                    <a:lnTo>
                      <a:pt x="1219" y="1095"/>
                    </a:lnTo>
                    <a:lnTo>
                      <a:pt x="1220" y="1095"/>
                    </a:lnTo>
                    <a:lnTo>
                      <a:pt x="1220" y="1094"/>
                    </a:lnTo>
                    <a:lnTo>
                      <a:pt x="1222" y="1095"/>
                    </a:lnTo>
                    <a:lnTo>
                      <a:pt x="1224" y="1095"/>
                    </a:lnTo>
                    <a:lnTo>
                      <a:pt x="1222" y="1094"/>
                    </a:lnTo>
                    <a:lnTo>
                      <a:pt x="1220" y="1092"/>
                    </a:lnTo>
                    <a:lnTo>
                      <a:pt x="1222" y="1092"/>
                    </a:lnTo>
                    <a:lnTo>
                      <a:pt x="1220" y="1092"/>
                    </a:lnTo>
                    <a:lnTo>
                      <a:pt x="1220" y="1094"/>
                    </a:lnTo>
                    <a:lnTo>
                      <a:pt x="1219" y="1094"/>
                    </a:lnTo>
                    <a:lnTo>
                      <a:pt x="1219" y="1095"/>
                    </a:lnTo>
                    <a:lnTo>
                      <a:pt x="1217" y="1094"/>
                    </a:lnTo>
                    <a:lnTo>
                      <a:pt x="1217" y="1092"/>
                    </a:lnTo>
                    <a:lnTo>
                      <a:pt x="1219" y="1092"/>
                    </a:lnTo>
                    <a:lnTo>
                      <a:pt x="1217" y="1092"/>
                    </a:lnTo>
                    <a:lnTo>
                      <a:pt x="1215" y="1092"/>
                    </a:lnTo>
                    <a:lnTo>
                      <a:pt x="1215" y="1090"/>
                    </a:lnTo>
                    <a:lnTo>
                      <a:pt x="1215" y="1088"/>
                    </a:lnTo>
                    <a:lnTo>
                      <a:pt x="1215" y="1087"/>
                    </a:lnTo>
                    <a:lnTo>
                      <a:pt x="1215" y="1088"/>
                    </a:lnTo>
                    <a:lnTo>
                      <a:pt x="1215" y="1087"/>
                    </a:lnTo>
                    <a:lnTo>
                      <a:pt x="1215" y="1085"/>
                    </a:lnTo>
                    <a:lnTo>
                      <a:pt x="1217" y="1085"/>
                    </a:lnTo>
                    <a:lnTo>
                      <a:pt x="1217" y="1083"/>
                    </a:lnTo>
                    <a:lnTo>
                      <a:pt x="1217" y="1085"/>
                    </a:lnTo>
                    <a:lnTo>
                      <a:pt x="1219" y="1085"/>
                    </a:lnTo>
                    <a:lnTo>
                      <a:pt x="1217" y="1085"/>
                    </a:lnTo>
                    <a:lnTo>
                      <a:pt x="1219" y="1085"/>
                    </a:lnTo>
                    <a:lnTo>
                      <a:pt x="1219" y="1087"/>
                    </a:lnTo>
                    <a:lnTo>
                      <a:pt x="1219" y="1085"/>
                    </a:lnTo>
                    <a:lnTo>
                      <a:pt x="1220" y="1085"/>
                    </a:lnTo>
                    <a:lnTo>
                      <a:pt x="1220" y="1087"/>
                    </a:lnTo>
                    <a:lnTo>
                      <a:pt x="1222" y="1087"/>
                    </a:lnTo>
                    <a:lnTo>
                      <a:pt x="1224" y="1087"/>
                    </a:lnTo>
                    <a:lnTo>
                      <a:pt x="1222" y="1085"/>
                    </a:lnTo>
                    <a:lnTo>
                      <a:pt x="1220" y="1085"/>
                    </a:lnTo>
                    <a:lnTo>
                      <a:pt x="1222" y="1085"/>
                    </a:lnTo>
                    <a:lnTo>
                      <a:pt x="1220" y="1083"/>
                    </a:lnTo>
                    <a:lnTo>
                      <a:pt x="1222" y="1083"/>
                    </a:lnTo>
                    <a:lnTo>
                      <a:pt x="1222" y="1082"/>
                    </a:lnTo>
                    <a:lnTo>
                      <a:pt x="1222" y="1083"/>
                    </a:lnTo>
                    <a:lnTo>
                      <a:pt x="1224" y="1083"/>
                    </a:lnTo>
                    <a:lnTo>
                      <a:pt x="1225" y="1083"/>
                    </a:lnTo>
                    <a:lnTo>
                      <a:pt x="1225" y="1085"/>
                    </a:lnTo>
                    <a:lnTo>
                      <a:pt x="1225" y="1083"/>
                    </a:lnTo>
                    <a:lnTo>
                      <a:pt x="1225" y="1082"/>
                    </a:lnTo>
                    <a:lnTo>
                      <a:pt x="1224" y="1082"/>
                    </a:lnTo>
                    <a:lnTo>
                      <a:pt x="1222" y="1082"/>
                    </a:lnTo>
                    <a:lnTo>
                      <a:pt x="1222" y="1080"/>
                    </a:lnTo>
                    <a:lnTo>
                      <a:pt x="1222" y="1078"/>
                    </a:lnTo>
                    <a:lnTo>
                      <a:pt x="1222" y="1077"/>
                    </a:lnTo>
                    <a:lnTo>
                      <a:pt x="1224" y="1077"/>
                    </a:lnTo>
                    <a:lnTo>
                      <a:pt x="1225" y="1077"/>
                    </a:lnTo>
                    <a:lnTo>
                      <a:pt x="1225" y="1078"/>
                    </a:lnTo>
                    <a:lnTo>
                      <a:pt x="1225" y="1077"/>
                    </a:lnTo>
                    <a:lnTo>
                      <a:pt x="1227" y="1077"/>
                    </a:lnTo>
                    <a:lnTo>
                      <a:pt x="1227" y="1075"/>
                    </a:lnTo>
                    <a:lnTo>
                      <a:pt x="1229" y="1075"/>
                    </a:lnTo>
                    <a:lnTo>
                      <a:pt x="1230" y="1075"/>
                    </a:lnTo>
                    <a:lnTo>
                      <a:pt x="1232" y="1075"/>
                    </a:lnTo>
                    <a:close/>
                    <a:moveTo>
                      <a:pt x="1315" y="1549"/>
                    </a:moveTo>
                    <a:lnTo>
                      <a:pt x="1315" y="1551"/>
                    </a:lnTo>
                    <a:lnTo>
                      <a:pt x="1315" y="1553"/>
                    </a:lnTo>
                    <a:lnTo>
                      <a:pt x="1315" y="1555"/>
                    </a:lnTo>
                    <a:lnTo>
                      <a:pt x="1315" y="1556"/>
                    </a:lnTo>
                    <a:lnTo>
                      <a:pt x="1315" y="1558"/>
                    </a:lnTo>
                    <a:lnTo>
                      <a:pt x="1315" y="1560"/>
                    </a:lnTo>
                    <a:lnTo>
                      <a:pt x="1315" y="1561"/>
                    </a:lnTo>
                    <a:lnTo>
                      <a:pt x="1317" y="1563"/>
                    </a:lnTo>
                    <a:lnTo>
                      <a:pt x="1315" y="1563"/>
                    </a:lnTo>
                    <a:lnTo>
                      <a:pt x="1317" y="1565"/>
                    </a:lnTo>
                    <a:lnTo>
                      <a:pt x="1315" y="1565"/>
                    </a:lnTo>
                    <a:lnTo>
                      <a:pt x="1317" y="1566"/>
                    </a:lnTo>
                    <a:lnTo>
                      <a:pt x="1315" y="1566"/>
                    </a:lnTo>
                    <a:lnTo>
                      <a:pt x="1315" y="1568"/>
                    </a:lnTo>
                    <a:lnTo>
                      <a:pt x="1317" y="1570"/>
                    </a:lnTo>
                    <a:lnTo>
                      <a:pt x="1319" y="1572"/>
                    </a:lnTo>
                    <a:lnTo>
                      <a:pt x="1319" y="1573"/>
                    </a:lnTo>
                    <a:lnTo>
                      <a:pt x="1321" y="1575"/>
                    </a:lnTo>
                    <a:lnTo>
                      <a:pt x="1319" y="1577"/>
                    </a:lnTo>
                    <a:lnTo>
                      <a:pt x="1317" y="1577"/>
                    </a:lnTo>
                    <a:lnTo>
                      <a:pt x="1317" y="1578"/>
                    </a:lnTo>
                    <a:lnTo>
                      <a:pt x="1315" y="1577"/>
                    </a:lnTo>
                    <a:lnTo>
                      <a:pt x="1314" y="1575"/>
                    </a:lnTo>
                    <a:lnTo>
                      <a:pt x="1312" y="1573"/>
                    </a:lnTo>
                    <a:lnTo>
                      <a:pt x="1310" y="1572"/>
                    </a:lnTo>
                    <a:lnTo>
                      <a:pt x="1309" y="1570"/>
                    </a:lnTo>
                    <a:lnTo>
                      <a:pt x="1309" y="1572"/>
                    </a:lnTo>
                    <a:lnTo>
                      <a:pt x="1309" y="1573"/>
                    </a:lnTo>
                    <a:lnTo>
                      <a:pt x="1310" y="1573"/>
                    </a:lnTo>
                    <a:lnTo>
                      <a:pt x="1310" y="1575"/>
                    </a:lnTo>
                    <a:lnTo>
                      <a:pt x="1312" y="1575"/>
                    </a:lnTo>
                    <a:lnTo>
                      <a:pt x="1312" y="1577"/>
                    </a:lnTo>
                    <a:lnTo>
                      <a:pt x="1312" y="1578"/>
                    </a:lnTo>
                    <a:lnTo>
                      <a:pt x="1312" y="1580"/>
                    </a:lnTo>
                    <a:lnTo>
                      <a:pt x="1312" y="1582"/>
                    </a:lnTo>
                    <a:lnTo>
                      <a:pt x="1314" y="1582"/>
                    </a:lnTo>
                    <a:lnTo>
                      <a:pt x="1314" y="1583"/>
                    </a:lnTo>
                    <a:lnTo>
                      <a:pt x="1314" y="1582"/>
                    </a:lnTo>
                    <a:lnTo>
                      <a:pt x="1315" y="1582"/>
                    </a:lnTo>
                    <a:lnTo>
                      <a:pt x="1315" y="1583"/>
                    </a:lnTo>
                    <a:lnTo>
                      <a:pt x="1317" y="1583"/>
                    </a:lnTo>
                    <a:lnTo>
                      <a:pt x="1317" y="1585"/>
                    </a:lnTo>
                    <a:lnTo>
                      <a:pt x="1319" y="1585"/>
                    </a:lnTo>
                    <a:lnTo>
                      <a:pt x="1321" y="1585"/>
                    </a:lnTo>
                    <a:lnTo>
                      <a:pt x="1322" y="1585"/>
                    </a:lnTo>
                    <a:lnTo>
                      <a:pt x="1321" y="1585"/>
                    </a:lnTo>
                    <a:lnTo>
                      <a:pt x="1322" y="1587"/>
                    </a:lnTo>
                    <a:lnTo>
                      <a:pt x="1321" y="1589"/>
                    </a:lnTo>
                    <a:lnTo>
                      <a:pt x="1322" y="1587"/>
                    </a:lnTo>
                    <a:lnTo>
                      <a:pt x="1324" y="1587"/>
                    </a:lnTo>
                    <a:lnTo>
                      <a:pt x="1324" y="1589"/>
                    </a:lnTo>
                    <a:lnTo>
                      <a:pt x="1322" y="1590"/>
                    </a:lnTo>
                    <a:lnTo>
                      <a:pt x="1321" y="1590"/>
                    </a:lnTo>
                    <a:lnTo>
                      <a:pt x="1319" y="1590"/>
                    </a:lnTo>
                    <a:lnTo>
                      <a:pt x="1317" y="1589"/>
                    </a:lnTo>
                    <a:lnTo>
                      <a:pt x="1315" y="1589"/>
                    </a:lnTo>
                    <a:lnTo>
                      <a:pt x="1314" y="1587"/>
                    </a:lnTo>
                    <a:lnTo>
                      <a:pt x="1315" y="1589"/>
                    </a:lnTo>
                    <a:lnTo>
                      <a:pt x="1314" y="1589"/>
                    </a:lnTo>
                    <a:lnTo>
                      <a:pt x="1312" y="1587"/>
                    </a:lnTo>
                    <a:lnTo>
                      <a:pt x="1310" y="1587"/>
                    </a:lnTo>
                    <a:lnTo>
                      <a:pt x="1309" y="1585"/>
                    </a:lnTo>
                    <a:lnTo>
                      <a:pt x="1307" y="1585"/>
                    </a:lnTo>
                    <a:lnTo>
                      <a:pt x="1305" y="1583"/>
                    </a:lnTo>
                    <a:lnTo>
                      <a:pt x="1305" y="1582"/>
                    </a:lnTo>
                    <a:lnTo>
                      <a:pt x="1304" y="1582"/>
                    </a:lnTo>
                    <a:lnTo>
                      <a:pt x="1304" y="1580"/>
                    </a:lnTo>
                    <a:lnTo>
                      <a:pt x="1305" y="1580"/>
                    </a:lnTo>
                    <a:lnTo>
                      <a:pt x="1304" y="1580"/>
                    </a:lnTo>
                    <a:lnTo>
                      <a:pt x="1302" y="1578"/>
                    </a:lnTo>
                    <a:lnTo>
                      <a:pt x="1302" y="1577"/>
                    </a:lnTo>
                    <a:lnTo>
                      <a:pt x="1302" y="1575"/>
                    </a:lnTo>
                    <a:lnTo>
                      <a:pt x="1302" y="1573"/>
                    </a:lnTo>
                    <a:lnTo>
                      <a:pt x="1302" y="1572"/>
                    </a:lnTo>
                    <a:lnTo>
                      <a:pt x="1300" y="1570"/>
                    </a:lnTo>
                    <a:lnTo>
                      <a:pt x="1302" y="1570"/>
                    </a:lnTo>
                    <a:lnTo>
                      <a:pt x="1304" y="1570"/>
                    </a:lnTo>
                    <a:lnTo>
                      <a:pt x="1302" y="1570"/>
                    </a:lnTo>
                    <a:lnTo>
                      <a:pt x="1302" y="1568"/>
                    </a:lnTo>
                    <a:lnTo>
                      <a:pt x="1300" y="1568"/>
                    </a:lnTo>
                    <a:lnTo>
                      <a:pt x="1300" y="1566"/>
                    </a:lnTo>
                    <a:lnTo>
                      <a:pt x="1302" y="1566"/>
                    </a:lnTo>
                    <a:lnTo>
                      <a:pt x="1302" y="1565"/>
                    </a:lnTo>
                    <a:lnTo>
                      <a:pt x="1304" y="1565"/>
                    </a:lnTo>
                    <a:lnTo>
                      <a:pt x="1305" y="1565"/>
                    </a:lnTo>
                    <a:lnTo>
                      <a:pt x="1307" y="1565"/>
                    </a:lnTo>
                    <a:lnTo>
                      <a:pt x="1309" y="1565"/>
                    </a:lnTo>
                    <a:lnTo>
                      <a:pt x="1309" y="1566"/>
                    </a:lnTo>
                    <a:lnTo>
                      <a:pt x="1310" y="1566"/>
                    </a:lnTo>
                    <a:lnTo>
                      <a:pt x="1310" y="1565"/>
                    </a:lnTo>
                    <a:lnTo>
                      <a:pt x="1310" y="1563"/>
                    </a:lnTo>
                    <a:lnTo>
                      <a:pt x="1309" y="1563"/>
                    </a:lnTo>
                    <a:lnTo>
                      <a:pt x="1307" y="1561"/>
                    </a:lnTo>
                    <a:lnTo>
                      <a:pt x="1307" y="1560"/>
                    </a:lnTo>
                    <a:lnTo>
                      <a:pt x="1307" y="1558"/>
                    </a:lnTo>
                    <a:lnTo>
                      <a:pt x="1307" y="1556"/>
                    </a:lnTo>
                    <a:lnTo>
                      <a:pt x="1309" y="1556"/>
                    </a:lnTo>
                    <a:lnTo>
                      <a:pt x="1310" y="1555"/>
                    </a:lnTo>
                    <a:lnTo>
                      <a:pt x="1312" y="1553"/>
                    </a:lnTo>
                    <a:lnTo>
                      <a:pt x="1312" y="1551"/>
                    </a:lnTo>
                    <a:lnTo>
                      <a:pt x="1312" y="1549"/>
                    </a:lnTo>
                    <a:lnTo>
                      <a:pt x="1314" y="1549"/>
                    </a:lnTo>
                    <a:lnTo>
                      <a:pt x="1315" y="1549"/>
                    </a:lnTo>
                    <a:close/>
                    <a:moveTo>
                      <a:pt x="1174" y="1502"/>
                    </a:moveTo>
                    <a:lnTo>
                      <a:pt x="1174" y="1504"/>
                    </a:lnTo>
                    <a:lnTo>
                      <a:pt x="1176" y="1504"/>
                    </a:lnTo>
                    <a:lnTo>
                      <a:pt x="1174" y="1504"/>
                    </a:lnTo>
                    <a:lnTo>
                      <a:pt x="1176" y="1505"/>
                    </a:lnTo>
                    <a:lnTo>
                      <a:pt x="1178" y="1505"/>
                    </a:lnTo>
                    <a:lnTo>
                      <a:pt x="1178" y="1507"/>
                    </a:lnTo>
                    <a:lnTo>
                      <a:pt x="1179" y="1507"/>
                    </a:lnTo>
                    <a:lnTo>
                      <a:pt x="1179" y="1505"/>
                    </a:lnTo>
                    <a:lnTo>
                      <a:pt x="1179" y="1507"/>
                    </a:lnTo>
                    <a:lnTo>
                      <a:pt x="1181" y="1507"/>
                    </a:lnTo>
                    <a:lnTo>
                      <a:pt x="1181" y="1509"/>
                    </a:lnTo>
                    <a:lnTo>
                      <a:pt x="1179" y="1509"/>
                    </a:lnTo>
                    <a:lnTo>
                      <a:pt x="1181" y="1509"/>
                    </a:lnTo>
                    <a:lnTo>
                      <a:pt x="1181" y="1510"/>
                    </a:lnTo>
                    <a:lnTo>
                      <a:pt x="1179" y="1510"/>
                    </a:lnTo>
                    <a:lnTo>
                      <a:pt x="1181" y="1510"/>
                    </a:lnTo>
                    <a:lnTo>
                      <a:pt x="1183" y="1510"/>
                    </a:lnTo>
                    <a:lnTo>
                      <a:pt x="1183" y="1512"/>
                    </a:lnTo>
                    <a:lnTo>
                      <a:pt x="1183" y="1510"/>
                    </a:lnTo>
                    <a:lnTo>
                      <a:pt x="1185" y="1510"/>
                    </a:lnTo>
                    <a:lnTo>
                      <a:pt x="1183" y="1512"/>
                    </a:lnTo>
                    <a:lnTo>
                      <a:pt x="1183" y="1514"/>
                    </a:lnTo>
                    <a:lnTo>
                      <a:pt x="1185" y="1514"/>
                    </a:lnTo>
                    <a:lnTo>
                      <a:pt x="1185" y="1515"/>
                    </a:lnTo>
                    <a:lnTo>
                      <a:pt x="1186" y="1515"/>
                    </a:lnTo>
                    <a:lnTo>
                      <a:pt x="1185" y="1515"/>
                    </a:lnTo>
                    <a:lnTo>
                      <a:pt x="1185" y="1514"/>
                    </a:lnTo>
                    <a:lnTo>
                      <a:pt x="1186" y="1514"/>
                    </a:lnTo>
                    <a:lnTo>
                      <a:pt x="1186" y="1512"/>
                    </a:lnTo>
                    <a:lnTo>
                      <a:pt x="1186" y="1514"/>
                    </a:lnTo>
                    <a:lnTo>
                      <a:pt x="1186" y="1515"/>
                    </a:lnTo>
                    <a:lnTo>
                      <a:pt x="1188" y="1515"/>
                    </a:lnTo>
                    <a:lnTo>
                      <a:pt x="1186" y="1517"/>
                    </a:lnTo>
                    <a:lnTo>
                      <a:pt x="1188" y="1515"/>
                    </a:lnTo>
                    <a:lnTo>
                      <a:pt x="1188" y="1514"/>
                    </a:lnTo>
                    <a:lnTo>
                      <a:pt x="1188" y="1515"/>
                    </a:lnTo>
                    <a:lnTo>
                      <a:pt x="1190" y="1515"/>
                    </a:lnTo>
                    <a:lnTo>
                      <a:pt x="1190" y="1517"/>
                    </a:lnTo>
                    <a:lnTo>
                      <a:pt x="1190" y="1515"/>
                    </a:lnTo>
                    <a:lnTo>
                      <a:pt x="1191" y="1517"/>
                    </a:lnTo>
                    <a:lnTo>
                      <a:pt x="1190" y="1517"/>
                    </a:lnTo>
                    <a:lnTo>
                      <a:pt x="1191" y="1517"/>
                    </a:lnTo>
                    <a:lnTo>
                      <a:pt x="1193" y="1519"/>
                    </a:lnTo>
                    <a:lnTo>
                      <a:pt x="1193" y="1517"/>
                    </a:lnTo>
                    <a:lnTo>
                      <a:pt x="1193" y="1515"/>
                    </a:lnTo>
                    <a:lnTo>
                      <a:pt x="1191" y="1515"/>
                    </a:lnTo>
                    <a:lnTo>
                      <a:pt x="1191" y="1514"/>
                    </a:lnTo>
                    <a:lnTo>
                      <a:pt x="1193" y="1514"/>
                    </a:lnTo>
                    <a:lnTo>
                      <a:pt x="1193" y="1515"/>
                    </a:lnTo>
                    <a:lnTo>
                      <a:pt x="1195" y="1515"/>
                    </a:lnTo>
                    <a:lnTo>
                      <a:pt x="1193" y="1515"/>
                    </a:lnTo>
                    <a:lnTo>
                      <a:pt x="1195" y="1517"/>
                    </a:lnTo>
                    <a:lnTo>
                      <a:pt x="1196" y="1517"/>
                    </a:lnTo>
                    <a:lnTo>
                      <a:pt x="1195" y="1517"/>
                    </a:lnTo>
                    <a:lnTo>
                      <a:pt x="1196" y="1517"/>
                    </a:lnTo>
                    <a:lnTo>
                      <a:pt x="1198" y="1517"/>
                    </a:lnTo>
                    <a:lnTo>
                      <a:pt x="1198" y="1519"/>
                    </a:lnTo>
                    <a:lnTo>
                      <a:pt x="1196" y="1517"/>
                    </a:lnTo>
                    <a:lnTo>
                      <a:pt x="1198" y="1519"/>
                    </a:lnTo>
                    <a:lnTo>
                      <a:pt x="1196" y="1519"/>
                    </a:lnTo>
                    <a:lnTo>
                      <a:pt x="1198" y="1519"/>
                    </a:lnTo>
                    <a:lnTo>
                      <a:pt x="1198" y="1521"/>
                    </a:lnTo>
                    <a:lnTo>
                      <a:pt x="1200" y="1521"/>
                    </a:lnTo>
                    <a:lnTo>
                      <a:pt x="1198" y="1521"/>
                    </a:lnTo>
                    <a:lnTo>
                      <a:pt x="1200" y="1521"/>
                    </a:lnTo>
                    <a:lnTo>
                      <a:pt x="1198" y="1519"/>
                    </a:lnTo>
                    <a:lnTo>
                      <a:pt x="1200" y="1519"/>
                    </a:lnTo>
                    <a:lnTo>
                      <a:pt x="1202" y="1519"/>
                    </a:lnTo>
                    <a:lnTo>
                      <a:pt x="1202" y="1521"/>
                    </a:lnTo>
                    <a:lnTo>
                      <a:pt x="1203" y="1522"/>
                    </a:lnTo>
                    <a:lnTo>
                      <a:pt x="1202" y="1521"/>
                    </a:lnTo>
                    <a:lnTo>
                      <a:pt x="1202" y="1519"/>
                    </a:lnTo>
                    <a:lnTo>
                      <a:pt x="1203" y="1521"/>
                    </a:lnTo>
                    <a:lnTo>
                      <a:pt x="1205" y="1522"/>
                    </a:lnTo>
                    <a:lnTo>
                      <a:pt x="1205" y="1521"/>
                    </a:lnTo>
                    <a:lnTo>
                      <a:pt x="1205" y="1522"/>
                    </a:lnTo>
                    <a:lnTo>
                      <a:pt x="1207" y="1522"/>
                    </a:lnTo>
                    <a:lnTo>
                      <a:pt x="1205" y="1522"/>
                    </a:lnTo>
                    <a:lnTo>
                      <a:pt x="1207" y="1522"/>
                    </a:lnTo>
                    <a:lnTo>
                      <a:pt x="1207" y="1524"/>
                    </a:lnTo>
                    <a:lnTo>
                      <a:pt x="1208" y="1524"/>
                    </a:lnTo>
                    <a:lnTo>
                      <a:pt x="1207" y="1524"/>
                    </a:lnTo>
                    <a:lnTo>
                      <a:pt x="1208" y="1524"/>
                    </a:lnTo>
                    <a:lnTo>
                      <a:pt x="1208" y="1526"/>
                    </a:lnTo>
                    <a:lnTo>
                      <a:pt x="1208" y="1527"/>
                    </a:lnTo>
                    <a:lnTo>
                      <a:pt x="1208" y="1526"/>
                    </a:lnTo>
                    <a:lnTo>
                      <a:pt x="1210" y="1526"/>
                    </a:lnTo>
                    <a:lnTo>
                      <a:pt x="1208" y="1526"/>
                    </a:lnTo>
                    <a:lnTo>
                      <a:pt x="1208" y="1524"/>
                    </a:lnTo>
                    <a:lnTo>
                      <a:pt x="1208" y="1522"/>
                    </a:lnTo>
                    <a:lnTo>
                      <a:pt x="1210" y="1522"/>
                    </a:lnTo>
                    <a:lnTo>
                      <a:pt x="1208" y="1522"/>
                    </a:lnTo>
                    <a:lnTo>
                      <a:pt x="1210" y="1524"/>
                    </a:lnTo>
                    <a:lnTo>
                      <a:pt x="1212" y="1524"/>
                    </a:lnTo>
                    <a:lnTo>
                      <a:pt x="1212" y="1526"/>
                    </a:lnTo>
                    <a:lnTo>
                      <a:pt x="1212" y="1527"/>
                    </a:lnTo>
                    <a:lnTo>
                      <a:pt x="1210" y="1527"/>
                    </a:lnTo>
                    <a:lnTo>
                      <a:pt x="1212" y="1529"/>
                    </a:lnTo>
                    <a:lnTo>
                      <a:pt x="1212" y="1531"/>
                    </a:lnTo>
                    <a:lnTo>
                      <a:pt x="1212" y="1532"/>
                    </a:lnTo>
                    <a:lnTo>
                      <a:pt x="1213" y="1532"/>
                    </a:lnTo>
                    <a:lnTo>
                      <a:pt x="1213" y="1534"/>
                    </a:lnTo>
                    <a:lnTo>
                      <a:pt x="1213" y="1532"/>
                    </a:lnTo>
                    <a:lnTo>
                      <a:pt x="1213" y="1531"/>
                    </a:lnTo>
                    <a:lnTo>
                      <a:pt x="1215" y="1531"/>
                    </a:lnTo>
                    <a:lnTo>
                      <a:pt x="1213" y="1531"/>
                    </a:lnTo>
                    <a:lnTo>
                      <a:pt x="1215" y="1529"/>
                    </a:lnTo>
                    <a:lnTo>
                      <a:pt x="1213" y="1531"/>
                    </a:lnTo>
                    <a:lnTo>
                      <a:pt x="1213" y="1529"/>
                    </a:lnTo>
                    <a:lnTo>
                      <a:pt x="1213" y="1527"/>
                    </a:lnTo>
                    <a:lnTo>
                      <a:pt x="1212" y="1527"/>
                    </a:lnTo>
                    <a:lnTo>
                      <a:pt x="1213" y="1527"/>
                    </a:lnTo>
                    <a:lnTo>
                      <a:pt x="1213" y="1526"/>
                    </a:lnTo>
                    <a:lnTo>
                      <a:pt x="1215" y="1526"/>
                    </a:lnTo>
                    <a:lnTo>
                      <a:pt x="1215" y="1527"/>
                    </a:lnTo>
                    <a:lnTo>
                      <a:pt x="1217" y="1527"/>
                    </a:lnTo>
                    <a:lnTo>
                      <a:pt x="1215" y="1527"/>
                    </a:lnTo>
                    <a:lnTo>
                      <a:pt x="1217" y="1527"/>
                    </a:lnTo>
                    <a:lnTo>
                      <a:pt x="1217" y="1529"/>
                    </a:lnTo>
                    <a:lnTo>
                      <a:pt x="1217" y="1527"/>
                    </a:lnTo>
                    <a:lnTo>
                      <a:pt x="1217" y="1529"/>
                    </a:lnTo>
                    <a:lnTo>
                      <a:pt x="1215" y="1529"/>
                    </a:lnTo>
                    <a:lnTo>
                      <a:pt x="1217" y="1529"/>
                    </a:lnTo>
                    <a:lnTo>
                      <a:pt x="1215" y="1529"/>
                    </a:lnTo>
                    <a:lnTo>
                      <a:pt x="1217" y="1529"/>
                    </a:lnTo>
                    <a:lnTo>
                      <a:pt x="1219" y="1529"/>
                    </a:lnTo>
                    <a:lnTo>
                      <a:pt x="1217" y="1529"/>
                    </a:lnTo>
                    <a:lnTo>
                      <a:pt x="1219" y="1529"/>
                    </a:lnTo>
                    <a:lnTo>
                      <a:pt x="1219" y="1531"/>
                    </a:lnTo>
                    <a:lnTo>
                      <a:pt x="1220" y="1531"/>
                    </a:lnTo>
                    <a:lnTo>
                      <a:pt x="1219" y="1531"/>
                    </a:lnTo>
                    <a:lnTo>
                      <a:pt x="1219" y="1532"/>
                    </a:lnTo>
                    <a:lnTo>
                      <a:pt x="1217" y="1532"/>
                    </a:lnTo>
                    <a:lnTo>
                      <a:pt x="1219" y="1532"/>
                    </a:lnTo>
                    <a:lnTo>
                      <a:pt x="1217" y="1532"/>
                    </a:lnTo>
                    <a:lnTo>
                      <a:pt x="1219" y="1532"/>
                    </a:lnTo>
                    <a:lnTo>
                      <a:pt x="1220" y="1532"/>
                    </a:lnTo>
                    <a:lnTo>
                      <a:pt x="1220" y="1534"/>
                    </a:lnTo>
                    <a:lnTo>
                      <a:pt x="1222" y="1534"/>
                    </a:lnTo>
                    <a:lnTo>
                      <a:pt x="1224" y="1534"/>
                    </a:lnTo>
                    <a:lnTo>
                      <a:pt x="1224" y="1536"/>
                    </a:lnTo>
                    <a:lnTo>
                      <a:pt x="1222" y="1536"/>
                    </a:lnTo>
                    <a:lnTo>
                      <a:pt x="1224" y="1536"/>
                    </a:lnTo>
                    <a:lnTo>
                      <a:pt x="1225" y="1536"/>
                    </a:lnTo>
                    <a:lnTo>
                      <a:pt x="1225" y="1538"/>
                    </a:lnTo>
                    <a:lnTo>
                      <a:pt x="1227" y="1538"/>
                    </a:lnTo>
                    <a:lnTo>
                      <a:pt x="1225" y="1539"/>
                    </a:lnTo>
                    <a:lnTo>
                      <a:pt x="1225" y="1538"/>
                    </a:lnTo>
                    <a:lnTo>
                      <a:pt x="1224" y="1539"/>
                    </a:lnTo>
                    <a:lnTo>
                      <a:pt x="1222" y="1539"/>
                    </a:lnTo>
                    <a:lnTo>
                      <a:pt x="1222" y="1538"/>
                    </a:lnTo>
                    <a:lnTo>
                      <a:pt x="1222" y="1539"/>
                    </a:lnTo>
                    <a:lnTo>
                      <a:pt x="1220" y="1539"/>
                    </a:lnTo>
                    <a:lnTo>
                      <a:pt x="1220" y="1538"/>
                    </a:lnTo>
                    <a:lnTo>
                      <a:pt x="1219" y="1538"/>
                    </a:lnTo>
                    <a:lnTo>
                      <a:pt x="1217" y="1536"/>
                    </a:lnTo>
                    <a:lnTo>
                      <a:pt x="1219" y="1536"/>
                    </a:lnTo>
                    <a:lnTo>
                      <a:pt x="1217" y="1536"/>
                    </a:lnTo>
                    <a:lnTo>
                      <a:pt x="1215" y="1536"/>
                    </a:lnTo>
                    <a:lnTo>
                      <a:pt x="1215" y="1538"/>
                    </a:lnTo>
                    <a:lnTo>
                      <a:pt x="1215" y="1536"/>
                    </a:lnTo>
                    <a:lnTo>
                      <a:pt x="1213" y="1538"/>
                    </a:lnTo>
                    <a:lnTo>
                      <a:pt x="1212" y="1538"/>
                    </a:lnTo>
                    <a:lnTo>
                      <a:pt x="1210" y="1538"/>
                    </a:lnTo>
                    <a:lnTo>
                      <a:pt x="1210" y="1536"/>
                    </a:lnTo>
                    <a:lnTo>
                      <a:pt x="1208" y="1534"/>
                    </a:lnTo>
                    <a:lnTo>
                      <a:pt x="1210" y="1534"/>
                    </a:lnTo>
                    <a:lnTo>
                      <a:pt x="1212" y="1534"/>
                    </a:lnTo>
                    <a:lnTo>
                      <a:pt x="1212" y="1536"/>
                    </a:lnTo>
                    <a:lnTo>
                      <a:pt x="1212" y="1534"/>
                    </a:lnTo>
                    <a:lnTo>
                      <a:pt x="1213" y="1536"/>
                    </a:lnTo>
                    <a:lnTo>
                      <a:pt x="1213" y="1534"/>
                    </a:lnTo>
                    <a:lnTo>
                      <a:pt x="1212" y="1534"/>
                    </a:lnTo>
                    <a:lnTo>
                      <a:pt x="1210" y="1534"/>
                    </a:lnTo>
                    <a:lnTo>
                      <a:pt x="1210" y="1532"/>
                    </a:lnTo>
                    <a:lnTo>
                      <a:pt x="1210" y="1531"/>
                    </a:lnTo>
                    <a:lnTo>
                      <a:pt x="1212" y="1531"/>
                    </a:lnTo>
                    <a:lnTo>
                      <a:pt x="1210" y="1531"/>
                    </a:lnTo>
                    <a:lnTo>
                      <a:pt x="1210" y="1529"/>
                    </a:lnTo>
                    <a:lnTo>
                      <a:pt x="1210" y="1531"/>
                    </a:lnTo>
                    <a:lnTo>
                      <a:pt x="1210" y="1529"/>
                    </a:lnTo>
                    <a:lnTo>
                      <a:pt x="1208" y="1527"/>
                    </a:lnTo>
                    <a:lnTo>
                      <a:pt x="1208" y="1529"/>
                    </a:lnTo>
                    <a:lnTo>
                      <a:pt x="1208" y="1531"/>
                    </a:lnTo>
                    <a:lnTo>
                      <a:pt x="1208" y="1529"/>
                    </a:lnTo>
                    <a:lnTo>
                      <a:pt x="1207" y="1529"/>
                    </a:lnTo>
                    <a:lnTo>
                      <a:pt x="1207" y="1527"/>
                    </a:lnTo>
                    <a:lnTo>
                      <a:pt x="1207" y="1526"/>
                    </a:lnTo>
                    <a:lnTo>
                      <a:pt x="1205" y="1526"/>
                    </a:lnTo>
                    <a:lnTo>
                      <a:pt x="1207" y="1527"/>
                    </a:lnTo>
                    <a:lnTo>
                      <a:pt x="1205" y="1527"/>
                    </a:lnTo>
                    <a:lnTo>
                      <a:pt x="1205" y="1529"/>
                    </a:lnTo>
                    <a:lnTo>
                      <a:pt x="1205" y="1527"/>
                    </a:lnTo>
                    <a:lnTo>
                      <a:pt x="1207" y="1527"/>
                    </a:lnTo>
                    <a:lnTo>
                      <a:pt x="1205" y="1527"/>
                    </a:lnTo>
                    <a:lnTo>
                      <a:pt x="1203" y="1527"/>
                    </a:lnTo>
                    <a:lnTo>
                      <a:pt x="1203" y="1526"/>
                    </a:lnTo>
                    <a:lnTo>
                      <a:pt x="1203" y="1524"/>
                    </a:lnTo>
                    <a:lnTo>
                      <a:pt x="1202" y="1524"/>
                    </a:lnTo>
                    <a:lnTo>
                      <a:pt x="1203" y="1526"/>
                    </a:lnTo>
                    <a:lnTo>
                      <a:pt x="1203" y="1527"/>
                    </a:lnTo>
                    <a:lnTo>
                      <a:pt x="1203" y="1526"/>
                    </a:lnTo>
                    <a:lnTo>
                      <a:pt x="1202" y="1526"/>
                    </a:lnTo>
                    <a:lnTo>
                      <a:pt x="1202" y="1524"/>
                    </a:lnTo>
                    <a:lnTo>
                      <a:pt x="1202" y="1522"/>
                    </a:lnTo>
                    <a:lnTo>
                      <a:pt x="1200" y="1522"/>
                    </a:lnTo>
                    <a:lnTo>
                      <a:pt x="1200" y="1521"/>
                    </a:lnTo>
                    <a:lnTo>
                      <a:pt x="1200" y="1522"/>
                    </a:lnTo>
                    <a:lnTo>
                      <a:pt x="1200" y="1524"/>
                    </a:lnTo>
                    <a:lnTo>
                      <a:pt x="1198" y="1522"/>
                    </a:lnTo>
                    <a:lnTo>
                      <a:pt x="1196" y="1524"/>
                    </a:lnTo>
                    <a:lnTo>
                      <a:pt x="1196" y="1522"/>
                    </a:lnTo>
                    <a:lnTo>
                      <a:pt x="1195" y="1522"/>
                    </a:lnTo>
                    <a:lnTo>
                      <a:pt x="1195" y="1521"/>
                    </a:lnTo>
                    <a:lnTo>
                      <a:pt x="1195" y="1522"/>
                    </a:lnTo>
                    <a:lnTo>
                      <a:pt x="1193" y="1521"/>
                    </a:lnTo>
                    <a:lnTo>
                      <a:pt x="1195" y="1522"/>
                    </a:lnTo>
                    <a:lnTo>
                      <a:pt x="1196" y="1524"/>
                    </a:lnTo>
                    <a:lnTo>
                      <a:pt x="1195" y="1524"/>
                    </a:lnTo>
                    <a:lnTo>
                      <a:pt x="1193" y="1526"/>
                    </a:lnTo>
                    <a:lnTo>
                      <a:pt x="1195" y="1524"/>
                    </a:lnTo>
                    <a:lnTo>
                      <a:pt x="1193" y="1524"/>
                    </a:lnTo>
                    <a:lnTo>
                      <a:pt x="1193" y="1522"/>
                    </a:lnTo>
                    <a:lnTo>
                      <a:pt x="1193" y="1524"/>
                    </a:lnTo>
                    <a:lnTo>
                      <a:pt x="1191" y="1522"/>
                    </a:lnTo>
                    <a:lnTo>
                      <a:pt x="1191" y="1524"/>
                    </a:lnTo>
                    <a:lnTo>
                      <a:pt x="1191" y="1522"/>
                    </a:lnTo>
                    <a:lnTo>
                      <a:pt x="1190" y="1522"/>
                    </a:lnTo>
                    <a:lnTo>
                      <a:pt x="1191" y="1524"/>
                    </a:lnTo>
                    <a:lnTo>
                      <a:pt x="1190" y="1524"/>
                    </a:lnTo>
                    <a:lnTo>
                      <a:pt x="1190" y="1522"/>
                    </a:lnTo>
                    <a:lnTo>
                      <a:pt x="1188" y="1521"/>
                    </a:lnTo>
                    <a:lnTo>
                      <a:pt x="1190" y="1521"/>
                    </a:lnTo>
                    <a:lnTo>
                      <a:pt x="1188" y="1519"/>
                    </a:lnTo>
                    <a:lnTo>
                      <a:pt x="1188" y="1521"/>
                    </a:lnTo>
                    <a:lnTo>
                      <a:pt x="1190" y="1522"/>
                    </a:lnTo>
                    <a:lnTo>
                      <a:pt x="1188" y="1524"/>
                    </a:lnTo>
                    <a:lnTo>
                      <a:pt x="1188" y="1526"/>
                    </a:lnTo>
                    <a:lnTo>
                      <a:pt x="1188" y="1524"/>
                    </a:lnTo>
                    <a:lnTo>
                      <a:pt x="1188" y="1522"/>
                    </a:lnTo>
                    <a:lnTo>
                      <a:pt x="1188" y="1524"/>
                    </a:lnTo>
                    <a:lnTo>
                      <a:pt x="1186" y="1524"/>
                    </a:lnTo>
                    <a:lnTo>
                      <a:pt x="1185" y="1524"/>
                    </a:lnTo>
                    <a:lnTo>
                      <a:pt x="1185" y="1522"/>
                    </a:lnTo>
                    <a:lnTo>
                      <a:pt x="1186" y="1522"/>
                    </a:lnTo>
                    <a:lnTo>
                      <a:pt x="1186" y="1521"/>
                    </a:lnTo>
                    <a:lnTo>
                      <a:pt x="1185" y="1521"/>
                    </a:lnTo>
                    <a:lnTo>
                      <a:pt x="1185" y="1519"/>
                    </a:lnTo>
                    <a:lnTo>
                      <a:pt x="1185" y="1521"/>
                    </a:lnTo>
                    <a:lnTo>
                      <a:pt x="1185" y="1522"/>
                    </a:lnTo>
                    <a:lnTo>
                      <a:pt x="1185" y="1521"/>
                    </a:lnTo>
                    <a:lnTo>
                      <a:pt x="1183" y="1521"/>
                    </a:lnTo>
                    <a:lnTo>
                      <a:pt x="1183" y="1519"/>
                    </a:lnTo>
                    <a:lnTo>
                      <a:pt x="1183" y="1517"/>
                    </a:lnTo>
                    <a:lnTo>
                      <a:pt x="1181" y="1517"/>
                    </a:lnTo>
                    <a:lnTo>
                      <a:pt x="1181" y="1515"/>
                    </a:lnTo>
                    <a:lnTo>
                      <a:pt x="1181" y="1517"/>
                    </a:lnTo>
                    <a:lnTo>
                      <a:pt x="1179" y="1517"/>
                    </a:lnTo>
                    <a:lnTo>
                      <a:pt x="1181" y="1515"/>
                    </a:lnTo>
                    <a:lnTo>
                      <a:pt x="1179" y="1517"/>
                    </a:lnTo>
                    <a:lnTo>
                      <a:pt x="1179" y="1515"/>
                    </a:lnTo>
                    <a:lnTo>
                      <a:pt x="1179" y="1514"/>
                    </a:lnTo>
                    <a:lnTo>
                      <a:pt x="1179" y="1512"/>
                    </a:lnTo>
                    <a:lnTo>
                      <a:pt x="1179" y="1514"/>
                    </a:lnTo>
                    <a:lnTo>
                      <a:pt x="1179" y="1515"/>
                    </a:lnTo>
                    <a:lnTo>
                      <a:pt x="1179" y="1514"/>
                    </a:lnTo>
                    <a:lnTo>
                      <a:pt x="1178" y="1515"/>
                    </a:lnTo>
                    <a:lnTo>
                      <a:pt x="1176" y="1515"/>
                    </a:lnTo>
                    <a:lnTo>
                      <a:pt x="1176" y="1514"/>
                    </a:lnTo>
                    <a:lnTo>
                      <a:pt x="1176" y="1512"/>
                    </a:lnTo>
                    <a:lnTo>
                      <a:pt x="1176" y="1510"/>
                    </a:lnTo>
                    <a:lnTo>
                      <a:pt x="1174" y="1510"/>
                    </a:lnTo>
                    <a:lnTo>
                      <a:pt x="1174" y="1509"/>
                    </a:lnTo>
                    <a:lnTo>
                      <a:pt x="1176" y="1509"/>
                    </a:lnTo>
                    <a:lnTo>
                      <a:pt x="1176" y="1510"/>
                    </a:lnTo>
                    <a:lnTo>
                      <a:pt x="1178" y="1510"/>
                    </a:lnTo>
                    <a:lnTo>
                      <a:pt x="1176" y="1510"/>
                    </a:lnTo>
                    <a:lnTo>
                      <a:pt x="1176" y="1509"/>
                    </a:lnTo>
                    <a:lnTo>
                      <a:pt x="1174" y="1509"/>
                    </a:lnTo>
                    <a:lnTo>
                      <a:pt x="1173" y="1507"/>
                    </a:lnTo>
                    <a:lnTo>
                      <a:pt x="1174" y="1507"/>
                    </a:lnTo>
                    <a:lnTo>
                      <a:pt x="1176" y="1507"/>
                    </a:lnTo>
                    <a:lnTo>
                      <a:pt x="1174" y="1507"/>
                    </a:lnTo>
                    <a:lnTo>
                      <a:pt x="1173" y="1505"/>
                    </a:lnTo>
                    <a:lnTo>
                      <a:pt x="1173" y="1504"/>
                    </a:lnTo>
                    <a:lnTo>
                      <a:pt x="1171" y="1502"/>
                    </a:lnTo>
                    <a:lnTo>
                      <a:pt x="1173" y="1504"/>
                    </a:lnTo>
                    <a:lnTo>
                      <a:pt x="1173" y="1502"/>
                    </a:lnTo>
                    <a:lnTo>
                      <a:pt x="1174" y="1502"/>
                    </a:lnTo>
                    <a:close/>
                    <a:moveTo>
                      <a:pt x="1278" y="1572"/>
                    </a:moveTo>
                    <a:lnTo>
                      <a:pt x="1276" y="1572"/>
                    </a:lnTo>
                    <a:lnTo>
                      <a:pt x="1278" y="1572"/>
                    </a:lnTo>
                    <a:lnTo>
                      <a:pt x="1280" y="1572"/>
                    </a:lnTo>
                    <a:lnTo>
                      <a:pt x="1280" y="1573"/>
                    </a:lnTo>
                    <a:lnTo>
                      <a:pt x="1280" y="1572"/>
                    </a:lnTo>
                    <a:lnTo>
                      <a:pt x="1281" y="1573"/>
                    </a:lnTo>
                    <a:lnTo>
                      <a:pt x="1280" y="1575"/>
                    </a:lnTo>
                    <a:lnTo>
                      <a:pt x="1281" y="1573"/>
                    </a:lnTo>
                    <a:lnTo>
                      <a:pt x="1280" y="1572"/>
                    </a:lnTo>
                    <a:lnTo>
                      <a:pt x="1281" y="1572"/>
                    </a:lnTo>
                    <a:lnTo>
                      <a:pt x="1283" y="1572"/>
                    </a:lnTo>
                    <a:lnTo>
                      <a:pt x="1283" y="1573"/>
                    </a:lnTo>
                    <a:lnTo>
                      <a:pt x="1281" y="1573"/>
                    </a:lnTo>
                    <a:lnTo>
                      <a:pt x="1283" y="1575"/>
                    </a:lnTo>
                    <a:lnTo>
                      <a:pt x="1283" y="1573"/>
                    </a:lnTo>
                    <a:lnTo>
                      <a:pt x="1283" y="1575"/>
                    </a:lnTo>
                    <a:lnTo>
                      <a:pt x="1285" y="1577"/>
                    </a:lnTo>
                    <a:lnTo>
                      <a:pt x="1283" y="1577"/>
                    </a:lnTo>
                    <a:lnTo>
                      <a:pt x="1285" y="1577"/>
                    </a:lnTo>
                    <a:lnTo>
                      <a:pt x="1285" y="1578"/>
                    </a:lnTo>
                    <a:lnTo>
                      <a:pt x="1283" y="1578"/>
                    </a:lnTo>
                    <a:lnTo>
                      <a:pt x="1283" y="1580"/>
                    </a:lnTo>
                    <a:lnTo>
                      <a:pt x="1285" y="1578"/>
                    </a:lnTo>
                    <a:lnTo>
                      <a:pt x="1285" y="1577"/>
                    </a:lnTo>
                    <a:lnTo>
                      <a:pt x="1285" y="1575"/>
                    </a:lnTo>
                    <a:lnTo>
                      <a:pt x="1285" y="1573"/>
                    </a:lnTo>
                    <a:lnTo>
                      <a:pt x="1285" y="1572"/>
                    </a:lnTo>
                    <a:lnTo>
                      <a:pt x="1287" y="1573"/>
                    </a:lnTo>
                    <a:lnTo>
                      <a:pt x="1288" y="1573"/>
                    </a:lnTo>
                    <a:lnTo>
                      <a:pt x="1288" y="1575"/>
                    </a:lnTo>
                    <a:lnTo>
                      <a:pt x="1288" y="1577"/>
                    </a:lnTo>
                    <a:lnTo>
                      <a:pt x="1288" y="1578"/>
                    </a:lnTo>
                    <a:lnTo>
                      <a:pt x="1290" y="1580"/>
                    </a:lnTo>
                    <a:lnTo>
                      <a:pt x="1288" y="1580"/>
                    </a:lnTo>
                    <a:lnTo>
                      <a:pt x="1287" y="1580"/>
                    </a:lnTo>
                    <a:lnTo>
                      <a:pt x="1288" y="1580"/>
                    </a:lnTo>
                    <a:lnTo>
                      <a:pt x="1290" y="1580"/>
                    </a:lnTo>
                    <a:lnTo>
                      <a:pt x="1290" y="1582"/>
                    </a:lnTo>
                    <a:lnTo>
                      <a:pt x="1290" y="1580"/>
                    </a:lnTo>
                    <a:lnTo>
                      <a:pt x="1290" y="1582"/>
                    </a:lnTo>
                    <a:lnTo>
                      <a:pt x="1290" y="1583"/>
                    </a:lnTo>
                    <a:lnTo>
                      <a:pt x="1290" y="1585"/>
                    </a:lnTo>
                    <a:lnTo>
                      <a:pt x="1292" y="1585"/>
                    </a:lnTo>
                    <a:lnTo>
                      <a:pt x="1292" y="1583"/>
                    </a:lnTo>
                    <a:lnTo>
                      <a:pt x="1292" y="1582"/>
                    </a:lnTo>
                    <a:lnTo>
                      <a:pt x="1292" y="1580"/>
                    </a:lnTo>
                    <a:lnTo>
                      <a:pt x="1293" y="1578"/>
                    </a:lnTo>
                    <a:lnTo>
                      <a:pt x="1293" y="1580"/>
                    </a:lnTo>
                    <a:lnTo>
                      <a:pt x="1293" y="1582"/>
                    </a:lnTo>
                    <a:lnTo>
                      <a:pt x="1292" y="1582"/>
                    </a:lnTo>
                    <a:lnTo>
                      <a:pt x="1293" y="1583"/>
                    </a:lnTo>
                    <a:lnTo>
                      <a:pt x="1293" y="1582"/>
                    </a:lnTo>
                    <a:lnTo>
                      <a:pt x="1293" y="1580"/>
                    </a:lnTo>
                    <a:lnTo>
                      <a:pt x="1293" y="1578"/>
                    </a:lnTo>
                    <a:lnTo>
                      <a:pt x="1295" y="1578"/>
                    </a:lnTo>
                    <a:lnTo>
                      <a:pt x="1295" y="1577"/>
                    </a:lnTo>
                    <a:lnTo>
                      <a:pt x="1295" y="1578"/>
                    </a:lnTo>
                    <a:lnTo>
                      <a:pt x="1297" y="1578"/>
                    </a:lnTo>
                    <a:lnTo>
                      <a:pt x="1297" y="1580"/>
                    </a:lnTo>
                    <a:lnTo>
                      <a:pt x="1298" y="1580"/>
                    </a:lnTo>
                    <a:lnTo>
                      <a:pt x="1298" y="1582"/>
                    </a:lnTo>
                    <a:lnTo>
                      <a:pt x="1297" y="1582"/>
                    </a:lnTo>
                    <a:lnTo>
                      <a:pt x="1298" y="1582"/>
                    </a:lnTo>
                    <a:lnTo>
                      <a:pt x="1297" y="1583"/>
                    </a:lnTo>
                    <a:lnTo>
                      <a:pt x="1297" y="1585"/>
                    </a:lnTo>
                    <a:lnTo>
                      <a:pt x="1295" y="1585"/>
                    </a:lnTo>
                    <a:lnTo>
                      <a:pt x="1295" y="1587"/>
                    </a:lnTo>
                    <a:lnTo>
                      <a:pt x="1297" y="1587"/>
                    </a:lnTo>
                    <a:lnTo>
                      <a:pt x="1297" y="1585"/>
                    </a:lnTo>
                    <a:lnTo>
                      <a:pt x="1297" y="1583"/>
                    </a:lnTo>
                    <a:lnTo>
                      <a:pt x="1298" y="1583"/>
                    </a:lnTo>
                    <a:lnTo>
                      <a:pt x="1298" y="1585"/>
                    </a:lnTo>
                    <a:lnTo>
                      <a:pt x="1298" y="1587"/>
                    </a:lnTo>
                    <a:lnTo>
                      <a:pt x="1298" y="1589"/>
                    </a:lnTo>
                    <a:lnTo>
                      <a:pt x="1297" y="1589"/>
                    </a:lnTo>
                    <a:lnTo>
                      <a:pt x="1298" y="1590"/>
                    </a:lnTo>
                    <a:lnTo>
                      <a:pt x="1298" y="1592"/>
                    </a:lnTo>
                    <a:lnTo>
                      <a:pt x="1297" y="1592"/>
                    </a:lnTo>
                    <a:lnTo>
                      <a:pt x="1295" y="1592"/>
                    </a:lnTo>
                    <a:lnTo>
                      <a:pt x="1297" y="1592"/>
                    </a:lnTo>
                    <a:lnTo>
                      <a:pt x="1297" y="1594"/>
                    </a:lnTo>
                    <a:lnTo>
                      <a:pt x="1295" y="1594"/>
                    </a:lnTo>
                    <a:lnTo>
                      <a:pt x="1293" y="1594"/>
                    </a:lnTo>
                    <a:lnTo>
                      <a:pt x="1293" y="1592"/>
                    </a:lnTo>
                    <a:lnTo>
                      <a:pt x="1292" y="1592"/>
                    </a:lnTo>
                    <a:lnTo>
                      <a:pt x="1293" y="1594"/>
                    </a:lnTo>
                    <a:lnTo>
                      <a:pt x="1295" y="1594"/>
                    </a:lnTo>
                    <a:lnTo>
                      <a:pt x="1295" y="1595"/>
                    </a:lnTo>
                    <a:lnTo>
                      <a:pt x="1293" y="1595"/>
                    </a:lnTo>
                    <a:lnTo>
                      <a:pt x="1295" y="1597"/>
                    </a:lnTo>
                    <a:lnTo>
                      <a:pt x="1293" y="1597"/>
                    </a:lnTo>
                    <a:lnTo>
                      <a:pt x="1292" y="1597"/>
                    </a:lnTo>
                    <a:lnTo>
                      <a:pt x="1292" y="1595"/>
                    </a:lnTo>
                    <a:lnTo>
                      <a:pt x="1292" y="1594"/>
                    </a:lnTo>
                    <a:lnTo>
                      <a:pt x="1292" y="1595"/>
                    </a:lnTo>
                    <a:lnTo>
                      <a:pt x="1290" y="1595"/>
                    </a:lnTo>
                    <a:lnTo>
                      <a:pt x="1290" y="1594"/>
                    </a:lnTo>
                    <a:lnTo>
                      <a:pt x="1288" y="1594"/>
                    </a:lnTo>
                    <a:lnTo>
                      <a:pt x="1287" y="1594"/>
                    </a:lnTo>
                    <a:lnTo>
                      <a:pt x="1287" y="1592"/>
                    </a:lnTo>
                    <a:lnTo>
                      <a:pt x="1285" y="1592"/>
                    </a:lnTo>
                    <a:lnTo>
                      <a:pt x="1285" y="1590"/>
                    </a:lnTo>
                    <a:lnTo>
                      <a:pt x="1287" y="1590"/>
                    </a:lnTo>
                    <a:lnTo>
                      <a:pt x="1288" y="1590"/>
                    </a:lnTo>
                    <a:lnTo>
                      <a:pt x="1290" y="1590"/>
                    </a:lnTo>
                    <a:lnTo>
                      <a:pt x="1290" y="1589"/>
                    </a:lnTo>
                    <a:lnTo>
                      <a:pt x="1292" y="1589"/>
                    </a:lnTo>
                    <a:lnTo>
                      <a:pt x="1290" y="1589"/>
                    </a:lnTo>
                    <a:lnTo>
                      <a:pt x="1290" y="1587"/>
                    </a:lnTo>
                    <a:lnTo>
                      <a:pt x="1290" y="1589"/>
                    </a:lnTo>
                    <a:lnTo>
                      <a:pt x="1288" y="1589"/>
                    </a:lnTo>
                    <a:lnTo>
                      <a:pt x="1287" y="1589"/>
                    </a:lnTo>
                    <a:lnTo>
                      <a:pt x="1287" y="1590"/>
                    </a:lnTo>
                    <a:lnTo>
                      <a:pt x="1287" y="1589"/>
                    </a:lnTo>
                    <a:lnTo>
                      <a:pt x="1287" y="1587"/>
                    </a:lnTo>
                    <a:lnTo>
                      <a:pt x="1287" y="1589"/>
                    </a:lnTo>
                    <a:lnTo>
                      <a:pt x="1285" y="1589"/>
                    </a:lnTo>
                    <a:lnTo>
                      <a:pt x="1283" y="1589"/>
                    </a:lnTo>
                    <a:lnTo>
                      <a:pt x="1283" y="1587"/>
                    </a:lnTo>
                    <a:lnTo>
                      <a:pt x="1281" y="1585"/>
                    </a:lnTo>
                    <a:lnTo>
                      <a:pt x="1283" y="1585"/>
                    </a:lnTo>
                    <a:lnTo>
                      <a:pt x="1283" y="1583"/>
                    </a:lnTo>
                    <a:lnTo>
                      <a:pt x="1283" y="1585"/>
                    </a:lnTo>
                    <a:lnTo>
                      <a:pt x="1283" y="1583"/>
                    </a:lnTo>
                    <a:lnTo>
                      <a:pt x="1285" y="1583"/>
                    </a:lnTo>
                    <a:lnTo>
                      <a:pt x="1285" y="1582"/>
                    </a:lnTo>
                    <a:lnTo>
                      <a:pt x="1285" y="1583"/>
                    </a:lnTo>
                    <a:lnTo>
                      <a:pt x="1283" y="1583"/>
                    </a:lnTo>
                    <a:lnTo>
                      <a:pt x="1283" y="1582"/>
                    </a:lnTo>
                    <a:lnTo>
                      <a:pt x="1285" y="1582"/>
                    </a:lnTo>
                    <a:lnTo>
                      <a:pt x="1285" y="1580"/>
                    </a:lnTo>
                    <a:lnTo>
                      <a:pt x="1283" y="1580"/>
                    </a:lnTo>
                    <a:lnTo>
                      <a:pt x="1283" y="1582"/>
                    </a:lnTo>
                    <a:lnTo>
                      <a:pt x="1283" y="1583"/>
                    </a:lnTo>
                    <a:lnTo>
                      <a:pt x="1281" y="1582"/>
                    </a:lnTo>
                    <a:lnTo>
                      <a:pt x="1280" y="1582"/>
                    </a:lnTo>
                    <a:lnTo>
                      <a:pt x="1281" y="1582"/>
                    </a:lnTo>
                    <a:lnTo>
                      <a:pt x="1281" y="1583"/>
                    </a:lnTo>
                    <a:lnTo>
                      <a:pt x="1281" y="1585"/>
                    </a:lnTo>
                    <a:lnTo>
                      <a:pt x="1280" y="1585"/>
                    </a:lnTo>
                    <a:lnTo>
                      <a:pt x="1281" y="1585"/>
                    </a:lnTo>
                    <a:lnTo>
                      <a:pt x="1280" y="1585"/>
                    </a:lnTo>
                    <a:lnTo>
                      <a:pt x="1281" y="1587"/>
                    </a:lnTo>
                    <a:lnTo>
                      <a:pt x="1281" y="1589"/>
                    </a:lnTo>
                    <a:lnTo>
                      <a:pt x="1281" y="1587"/>
                    </a:lnTo>
                    <a:lnTo>
                      <a:pt x="1283" y="1589"/>
                    </a:lnTo>
                    <a:lnTo>
                      <a:pt x="1285" y="1589"/>
                    </a:lnTo>
                    <a:lnTo>
                      <a:pt x="1285" y="1590"/>
                    </a:lnTo>
                    <a:lnTo>
                      <a:pt x="1283" y="1590"/>
                    </a:lnTo>
                    <a:lnTo>
                      <a:pt x="1283" y="1592"/>
                    </a:lnTo>
                    <a:lnTo>
                      <a:pt x="1285" y="1594"/>
                    </a:lnTo>
                    <a:lnTo>
                      <a:pt x="1283" y="1594"/>
                    </a:lnTo>
                    <a:lnTo>
                      <a:pt x="1281" y="1594"/>
                    </a:lnTo>
                    <a:lnTo>
                      <a:pt x="1280" y="1592"/>
                    </a:lnTo>
                    <a:lnTo>
                      <a:pt x="1281" y="1592"/>
                    </a:lnTo>
                    <a:lnTo>
                      <a:pt x="1280" y="1590"/>
                    </a:lnTo>
                    <a:lnTo>
                      <a:pt x="1280" y="1589"/>
                    </a:lnTo>
                    <a:lnTo>
                      <a:pt x="1281" y="1589"/>
                    </a:lnTo>
                    <a:lnTo>
                      <a:pt x="1280" y="1587"/>
                    </a:lnTo>
                    <a:lnTo>
                      <a:pt x="1281" y="1587"/>
                    </a:lnTo>
                    <a:lnTo>
                      <a:pt x="1280" y="1587"/>
                    </a:lnTo>
                    <a:lnTo>
                      <a:pt x="1280" y="1589"/>
                    </a:lnTo>
                    <a:lnTo>
                      <a:pt x="1280" y="1590"/>
                    </a:lnTo>
                    <a:lnTo>
                      <a:pt x="1278" y="1590"/>
                    </a:lnTo>
                    <a:lnTo>
                      <a:pt x="1278" y="1589"/>
                    </a:lnTo>
                    <a:lnTo>
                      <a:pt x="1278" y="1587"/>
                    </a:lnTo>
                    <a:lnTo>
                      <a:pt x="1278" y="1585"/>
                    </a:lnTo>
                    <a:lnTo>
                      <a:pt x="1280" y="1585"/>
                    </a:lnTo>
                    <a:lnTo>
                      <a:pt x="1278" y="1585"/>
                    </a:lnTo>
                    <a:lnTo>
                      <a:pt x="1278" y="1587"/>
                    </a:lnTo>
                    <a:lnTo>
                      <a:pt x="1276" y="1587"/>
                    </a:lnTo>
                    <a:lnTo>
                      <a:pt x="1278" y="1589"/>
                    </a:lnTo>
                    <a:lnTo>
                      <a:pt x="1276" y="1589"/>
                    </a:lnTo>
                    <a:lnTo>
                      <a:pt x="1275" y="1587"/>
                    </a:lnTo>
                    <a:lnTo>
                      <a:pt x="1275" y="1585"/>
                    </a:lnTo>
                    <a:lnTo>
                      <a:pt x="1275" y="1583"/>
                    </a:lnTo>
                    <a:lnTo>
                      <a:pt x="1273" y="1583"/>
                    </a:lnTo>
                    <a:lnTo>
                      <a:pt x="1275" y="1582"/>
                    </a:lnTo>
                    <a:lnTo>
                      <a:pt x="1276" y="1582"/>
                    </a:lnTo>
                    <a:lnTo>
                      <a:pt x="1276" y="1580"/>
                    </a:lnTo>
                    <a:lnTo>
                      <a:pt x="1278" y="1580"/>
                    </a:lnTo>
                    <a:lnTo>
                      <a:pt x="1278" y="1578"/>
                    </a:lnTo>
                    <a:lnTo>
                      <a:pt x="1278" y="1580"/>
                    </a:lnTo>
                    <a:lnTo>
                      <a:pt x="1276" y="1578"/>
                    </a:lnTo>
                    <a:lnTo>
                      <a:pt x="1276" y="1577"/>
                    </a:lnTo>
                    <a:lnTo>
                      <a:pt x="1275" y="1575"/>
                    </a:lnTo>
                    <a:lnTo>
                      <a:pt x="1276" y="1575"/>
                    </a:lnTo>
                    <a:lnTo>
                      <a:pt x="1275" y="1573"/>
                    </a:lnTo>
                    <a:lnTo>
                      <a:pt x="1276" y="1573"/>
                    </a:lnTo>
                    <a:lnTo>
                      <a:pt x="1276" y="1572"/>
                    </a:lnTo>
                    <a:lnTo>
                      <a:pt x="1278" y="1570"/>
                    </a:lnTo>
                    <a:lnTo>
                      <a:pt x="1278" y="1572"/>
                    </a:lnTo>
                    <a:close/>
                    <a:moveTo>
                      <a:pt x="1152" y="1354"/>
                    </a:moveTo>
                    <a:lnTo>
                      <a:pt x="1154" y="1354"/>
                    </a:lnTo>
                    <a:lnTo>
                      <a:pt x="1152" y="1356"/>
                    </a:lnTo>
                    <a:lnTo>
                      <a:pt x="1152" y="1357"/>
                    </a:lnTo>
                    <a:lnTo>
                      <a:pt x="1152" y="1356"/>
                    </a:lnTo>
                    <a:lnTo>
                      <a:pt x="1154" y="1356"/>
                    </a:lnTo>
                    <a:lnTo>
                      <a:pt x="1154" y="1357"/>
                    </a:lnTo>
                    <a:lnTo>
                      <a:pt x="1152" y="1357"/>
                    </a:lnTo>
                    <a:lnTo>
                      <a:pt x="1154" y="1359"/>
                    </a:lnTo>
                    <a:lnTo>
                      <a:pt x="1154" y="1357"/>
                    </a:lnTo>
                    <a:lnTo>
                      <a:pt x="1154" y="1356"/>
                    </a:lnTo>
                    <a:lnTo>
                      <a:pt x="1156" y="1356"/>
                    </a:lnTo>
                    <a:lnTo>
                      <a:pt x="1157" y="1356"/>
                    </a:lnTo>
                    <a:lnTo>
                      <a:pt x="1159" y="1356"/>
                    </a:lnTo>
                    <a:lnTo>
                      <a:pt x="1159" y="1357"/>
                    </a:lnTo>
                    <a:lnTo>
                      <a:pt x="1159" y="1359"/>
                    </a:lnTo>
                    <a:lnTo>
                      <a:pt x="1157" y="1359"/>
                    </a:lnTo>
                    <a:lnTo>
                      <a:pt x="1157" y="1361"/>
                    </a:lnTo>
                    <a:lnTo>
                      <a:pt x="1159" y="1359"/>
                    </a:lnTo>
                    <a:lnTo>
                      <a:pt x="1161" y="1359"/>
                    </a:lnTo>
                    <a:lnTo>
                      <a:pt x="1159" y="1359"/>
                    </a:lnTo>
                    <a:lnTo>
                      <a:pt x="1161" y="1359"/>
                    </a:lnTo>
                    <a:lnTo>
                      <a:pt x="1161" y="1361"/>
                    </a:lnTo>
                    <a:lnTo>
                      <a:pt x="1161" y="1362"/>
                    </a:lnTo>
                    <a:lnTo>
                      <a:pt x="1162" y="1362"/>
                    </a:lnTo>
                    <a:lnTo>
                      <a:pt x="1161" y="1361"/>
                    </a:lnTo>
                    <a:lnTo>
                      <a:pt x="1162" y="1359"/>
                    </a:lnTo>
                    <a:lnTo>
                      <a:pt x="1162" y="1357"/>
                    </a:lnTo>
                    <a:lnTo>
                      <a:pt x="1164" y="1357"/>
                    </a:lnTo>
                    <a:lnTo>
                      <a:pt x="1164" y="1359"/>
                    </a:lnTo>
                    <a:lnTo>
                      <a:pt x="1164" y="1361"/>
                    </a:lnTo>
                    <a:lnTo>
                      <a:pt x="1162" y="1362"/>
                    </a:lnTo>
                    <a:lnTo>
                      <a:pt x="1164" y="1361"/>
                    </a:lnTo>
                    <a:lnTo>
                      <a:pt x="1164" y="1362"/>
                    </a:lnTo>
                    <a:lnTo>
                      <a:pt x="1164" y="1361"/>
                    </a:lnTo>
                    <a:lnTo>
                      <a:pt x="1166" y="1361"/>
                    </a:lnTo>
                    <a:lnTo>
                      <a:pt x="1166" y="1362"/>
                    </a:lnTo>
                    <a:lnTo>
                      <a:pt x="1168" y="1362"/>
                    </a:lnTo>
                    <a:lnTo>
                      <a:pt x="1168" y="1364"/>
                    </a:lnTo>
                    <a:lnTo>
                      <a:pt x="1168" y="1362"/>
                    </a:lnTo>
                    <a:lnTo>
                      <a:pt x="1166" y="1361"/>
                    </a:lnTo>
                    <a:lnTo>
                      <a:pt x="1168" y="1362"/>
                    </a:lnTo>
                    <a:lnTo>
                      <a:pt x="1169" y="1362"/>
                    </a:lnTo>
                    <a:lnTo>
                      <a:pt x="1168" y="1362"/>
                    </a:lnTo>
                    <a:lnTo>
                      <a:pt x="1166" y="1361"/>
                    </a:lnTo>
                    <a:lnTo>
                      <a:pt x="1168" y="1361"/>
                    </a:lnTo>
                    <a:lnTo>
                      <a:pt x="1166" y="1359"/>
                    </a:lnTo>
                    <a:lnTo>
                      <a:pt x="1168" y="1361"/>
                    </a:lnTo>
                    <a:lnTo>
                      <a:pt x="1169" y="1361"/>
                    </a:lnTo>
                    <a:lnTo>
                      <a:pt x="1171" y="1362"/>
                    </a:lnTo>
                    <a:lnTo>
                      <a:pt x="1169" y="1362"/>
                    </a:lnTo>
                    <a:lnTo>
                      <a:pt x="1171" y="1364"/>
                    </a:lnTo>
                    <a:lnTo>
                      <a:pt x="1169" y="1364"/>
                    </a:lnTo>
                    <a:lnTo>
                      <a:pt x="1168" y="1364"/>
                    </a:lnTo>
                    <a:lnTo>
                      <a:pt x="1169" y="1364"/>
                    </a:lnTo>
                    <a:lnTo>
                      <a:pt x="1168" y="1364"/>
                    </a:lnTo>
                    <a:lnTo>
                      <a:pt x="1169" y="1364"/>
                    </a:lnTo>
                    <a:lnTo>
                      <a:pt x="1168" y="1364"/>
                    </a:lnTo>
                    <a:lnTo>
                      <a:pt x="1166" y="1364"/>
                    </a:lnTo>
                    <a:lnTo>
                      <a:pt x="1168" y="1364"/>
                    </a:lnTo>
                    <a:lnTo>
                      <a:pt x="1169" y="1366"/>
                    </a:lnTo>
                    <a:lnTo>
                      <a:pt x="1168" y="1367"/>
                    </a:lnTo>
                    <a:lnTo>
                      <a:pt x="1168" y="1366"/>
                    </a:lnTo>
                    <a:lnTo>
                      <a:pt x="1166" y="1366"/>
                    </a:lnTo>
                    <a:lnTo>
                      <a:pt x="1166" y="1367"/>
                    </a:lnTo>
                    <a:lnTo>
                      <a:pt x="1168" y="1367"/>
                    </a:lnTo>
                    <a:lnTo>
                      <a:pt x="1166" y="1367"/>
                    </a:lnTo>
                    <a:lnTo>
                      <a:pt x="1166" y="1366"/>
                    </a:lnTo>
                    <a:lnTo>
                      <a:pt x="1164" y="1366"/>
                    </a:lnTo>
                    <a:lnTo>
                      <a:pt x="1162" y="1367"/>
                    </a:lnTo>
                    <a:lnTo>
                      <a:pt x="1164" y="1366"/>
                    </a:lnTo>
                    <a:lnTo>
                      <a:pt x="1164" y="1367"/>
                    </a:lnTo>
                    <a:lnTo>
                      <a:pt x="1164" y="1369"/>
                    </a:lnTo>
                    <a:lnTo>
                      <a:pt x="1162" y="1369"/>
                    </a:lnTo>
                    <a:lnTo>
                      <a:pt x="1162" y="1371"/>
                    </a:lnTo>
                    <a:lnTo>
                      <a:pt x="1161" y="1371"/>
                    </a:lnTo>
                    <a:lnTo>
                      <a:pt x="1161" y="1373"/>
                    </a:lnTo>
                    <a:lnTo>
                      <a:pt x="1159" y="1371"/>
                    </a:lnTo>
                    <a:lnTo>
                      <a:pt x="1161" y="1373"/>
                    </a:lnTo>
                    <a:lnTo>
                      <a:pt x="1159" y="1373"/>
                    </a:lnTo>
                    <a:lnTo>
                      <a:pt x="1159" y="1374"/>
                    </a:lnTo>
                    <a:lnTo>
                      <a:pt x="1157" y="1373"/>
                    </a:lnTo>
                    <a:lnTo>
                      <a:pt x="1157" y="1374"/>
                    </a:lnTo>
                    <a:lnTo>
                      <a:pt x="1157" y="1376"/>
                    </a:lnTo>
                    <a:lnTo>
                      <a:pt x="1156" y="1378"/>
                    </a:lnTo>
                    <a:lnTo>
                      <a:pt x="1157" y="1376"/>
                    </a:lnTo>
                    <a:lnTo>
                      <a:pt x="1159" y="1376"/>
                    </a:lnTo>
                    <a:lnTo>
                      <a:pt x="1161" y="1376"/>
                    </a:lnTo>
                    <a:lnTo>
                      <a:pt x="1159" y="1376"/>
                    </a:lnTo>
                    <a:lnTo>
                      <a:pt x="1159" y="1374"/>
                    </a:lnTo>
                    <a:lnTo>
                      <a:pt x="1157" y="1374"/>
                    </a:lnTo>
                    <a:lnTo>
                      <a:pt x="1159" y="1374"/>
                    </a:lnTo>
                    <a:lnTo>
                      <a:pt x="1159" y="1373"/>
                    </a:lnTo>
                    <a:lnTo>
                      <a:pt x="1161" y="1373"/>
                    </a:lnTo>
                    <a:lnTo>
                      <a:pt x="1161" y="1371"/>
                    </a:lnTo>
                    <a:lnTo>
                      <a:pt x="1162" y="1371"/>
                    </a:lnTo>
                    <a:lnTo>
                      <a:pt x="1162" y="1369"/>
                    </a:lnTo>
                    <a:lnTo>
                      <a:pt x="1164" y="1369"/>
                    </a:lnTo>
                    <a:lnTo>
                      <a:pt x="1166" y="1369"/>
                    </a:lnTo>
                    <a:lnTo>
                      <a:pt x="1166" y="1371"/>
                    </a:lnTo>
                    <a:lnTo>
                      <a:pt x="1166" y="1373"/>
                    </a:lnTo>
                    <a:lnTo>
                      <a:pt x="1166" y="1374"/>
                    </a:lnTo>
                    <a:lnTo>
                      <a:pt x="1164" y="1373"/>
                    </a:lnTo>
                    <a:lnTo>
                      <a:pt x="1164" y="1374"/>
                    </a:lnTo>
                    <a:lnTo>
                      <a:pt x="1162" y="1373"/>
                    </a:lnTo>
                    <a:lnTo>
                      <a:pt x="1162" y="1374"/>
                    </a:lnTo>
                    <a:lnTo>
                      <a:pt x="1161" y="1374"/>
                    </a:lnTo>
                    <a:lnTo>
                      <a:pt x="1162" y="1374"/>
                    </a:lnTo>
                    <a:lnTo>
                      <a:pt x="1164" y="1374"/>
                    </a:lnTo>
                    <a:lnTo>
                      <a:pt x="1164" y="1376"/>
                    </a:lnTo>
                    <a:lnTo>
                      <a:pt x="1162" y="1374"/>
                    </a:lnTo>
                    <a:lnTo>
                      <a:pt x="1164" y="1376"/>
                    </a:lnTo>
                    <a:lnTo>
                      <a:pt x="1162" y="1376"/>
                    </a:lnTo>
                    <a:lnTo>
                      <a:pt x="1161" y="1376"/>
                    </a:lnTo>
                    <a:lnTo>
                      <a:pt x="1159" y="1376"/>
                    </a:lnTo>
                    <a:lnTo>
                      <a:pt x="1159" y="1378"/>
                    </a:lnTo>
                    <a:lnTo>
                      <a:pt x="1157" y="1378"/>
                    </a:lnTo>
                    <a:lnTo>
                      <a:pt x="1157" y="1379"/>
                    </a:lnTo>
                    <a:lnTo>
                      <a:pt x="1156" y="1379"/>
                    </a:lnTo>
                    <a:lnTo>
                      <a:pt x="1156" y="1378"/>
                    </a:lnTo>
                    <a:lnTo>
                      <a:pt x="1154" y="1379"/>
                    </a:lnTo>
                    <a:lnTo>
                      <a:pt x="1154" y="1378"/>
                    </a:lnTo>
                    <a:lnTo>
                      <a:pt x="1154" y="1379"/>
                    </a:lnTo>
                    <a:lnTo>
                      <a:pt x="1154" y="1378"/>
                    </a:lnTo>
                    <a:lnTo>
                      <a:pt x="1152" y="1378"/>
                    </a:lnTo>
                    <a:lnTo>
                      <a:pt x="1151" y="1378"/>
                    </a:lnTo>
                    <a:lnTo>
                      <a:pt x="1152" y="1378"/>
                    </a:lnTo>
                    <a:lnTo>
                      <a:pt x="1152" y="1376"/>
                    </a:lnTo>
                    <a:lnTo>
                      <a:pt x="1152" y="1374"/>
                    </a:lnTo>
                    <a:lnTo>
                      <a:pt x="1154" y="1374"/>
                    </a:lnTo>
                    <a:lnTo>
                      <a:pt x="1152" y="1374"/>
                    </a:lnTo>
                    <a:lnTo>
                      <a:pt x="1154" y="1374"/>
                    </a:lnTo>
                    <a:lnTo>
                      <a:pt x="1154" y="1373"/>
                    </a:lnTo>
                    <a:lnTo>
                      <a:pt x="1156" y="1373"/>
                    </a:lnTo>
                    <a:lnTo>
                      <a:pt x="1156" y="1371"/>
                    </a:lnTo>
                    <a:lnTo>
                      <a:pt x="1156" y="1369"/>
                    </a:lnTo>
                    <a:lnTo>
                      <a:pt x="1156" y="1371"/>
                    </a:lnTo>
                    <a:lnTo>
                      <a:pt x="1156" y="1373"/>
                    </a:lnTo>
                    <a:lnTo>
                      <a:pt x="1154" y="1373"/>
                    </a:lnTo>
                    <a:lnTo>
                      <a:pt x="1152" y="1373"/>
                    </a:lnTo>
                    <a:lnTo>
                      <a:pt x="1152" y="1374"/>
                    </a:lnTo>
                    <a:lnTo>
                      <a:pt x="1152" y="1373"/>
                    </a:lnTo>
                    <a:lnTo>
                      <a:pt x="1154" y="1373"/>
                    </a:lnTo>
                    <a:lnTo>
                      <a:pt x="1154" y="1371"/>
                    </a:lnTo>
                    <a:lnTo>
                      <a:pt x="1152" y="1371"/>
                    </a:lnTo>
                    <a:lnTo>
                      <a:pt x="1151" y="1373"/>
                    </a:lnTo>
                    <a:lnTo>
                      <a:pt x="1151" y="1374"/>
                    </a:lnTo>
                    <a:lnTo>
                      <a:pt x="1149" y="1374"/>
                    </a:lnTo>
                    <a:lnTo>
                      <a:pt x="1149" y="1376"/>
                    </a:lnTo>
                    <a:lnTo>
                      <a:pt x="1149" y="1378"/>
                    </a:lnTo>
                    <a:lnTo>
                      <a:pt x="1147" y="1378"/>
                    </a:lnTo>
                    <a:lnTo>
                      <a:pt x="1145" y="1376"/>
                    </a:lnTo>
                    <a:lnTo>
                      <a:pt x="1147" y="1376"/>
                    </a:lnTo>
                    <a:lnTo>
                      <a:pt x="1149" y="1374"/>
                    </a:lnTo>
                    <a:lnTo>
                      <a:pt x="1149" y="1373"/>
                    </a:lnTo>
                    <a:lnTo>
                      <a:pt x="1149" y="1374"/>
                    </a:lnTo>
                    <a:lnTo>
                      <a:pt x="1147" y="1374"/>
                    </a:lnTo>
                    <a:lnTo>
                      <a:pt x="1147" y="1373"/>
                    </a:lnTo>
                    <a:lnTo>
                      <a:pt x="1147" y="1371"/>
                    </a:lnTo>
                    <a:lnTo>
                      <a:pt x="1147" y="1369"/>
                    </a:lnTo>
                    <a:lnTo>
                      <a:pt x="1149" y="1369"/>
                    </a:lnTo>
                    <a:lnTo>
                      <a:pt x="1149" y="1367"/>
                    </a:lnTo>
                    <a:lnTo>
                      <a:pt x="1147" y="1367"/>
                    </a:lnTo>
                    <a:lnTo>
                      <a:pt x="1149" y="1366"/>
                    </a:lnTo>
                    <a:lnTo>
                      <a:pt x="1147" y="1366"/>
                    </a:lnTo>
                    <a:lnTo>
                      <a:pt x="1149" y="1366"/>
                    </a:lnTo>
                    <a:lnTo>
                      <a:pt x="1149" y="1364"/>
                    </a:lnTo>
                    <a:lnTo>
                      <a:pt x="1149" y="1362"/>
                    </a:lnTo>
                    <a:lnTo>
                      <a:pt x="1151" y="1362"/>
                    </a:lnTo>
                    <a:lnTo>
                      <a:pt x="1152" y="1362"/>
                    </a:lnTo>
                    <a:lnTo>
                      <a:pt x="1152" y="1364"/>
                    </a:lnTo>
                    <a:lnTo>
                      <a:pt x="1154" y="1364"/>
                    </a:lnTo>
                    <a:lnTo>
                      <a:pt x="1154" y="1366"/>
                    </a:lnTo>
                    <a:lnTo>
                      <a:pt x="1152" y="1366"/>
                    </a:lnTo>
                    <a:lnTo>
                      <a:pt x="1151" y="1364"/>
                    </a:lnTo>
                    <a:lnTo>
                      <a:pt x="1151" y="1366"/>
                    </a:lnTo>
                    <a:lnTo>
                      <a:pt x="1152" y="1366"/>
                    </a:lnTo>
                    <a:lnTo>
                      <a:pt x="1154" y="1366"/>
                    </a:lnTo>
                    <a:lnTo>
                      <a:pt x="1154" y="1367"/>
                    </a:lnTo>
                    <a:lnTo>
                      <a:pt x="1156" y="1367"/>
                    </a:lnTo>
                    <a:lnTo>
                      <a:pt x="1156" y="1369"/>
                    </a:lnTo>
                    <a:lnTo>
                      <a:pt x="1157" y="1367"/>
                    </a:lnTo>
                    <a:lnTo>
                      <a:pt x="1157" y="1366"/>
                    </a:lnTo>
                    <a:lnTo>
                      <a:pt x="1157" y="1364"/>
                    </a:lnTo>
                    <a:lnTo>
                      <a:pt x="1159" y="1362"/>
                    </a:lnTo>
                    <a:lnTo>
                      <a:pt x="1159" y="1361"/>
                    </a:lnTo>
                    <a:lnTo>
                      <a:pt x="1159" y="1362"/>
                    </a:lnTo>
                    <a:lnTo>
                      <a:pt x="1157" y="1362"/>
                    </a:lnTo>
                    <a:lnTo>
                      <a:pt x="1159" y="1362"/>
                    </a:lnTo>
                    <a:lnTo>
                      <a:pt x="1157" y="1364"/>
                    </a:lnTo>
                    <a:lnTo>
                      <a:pt x="1156" y="1362"/>
                    </a:lnTo>
                    <a:lnTo>
                      <a:pt x="1154" y="1362"/>
                    </a:lnTo>
                    <a:lnTo>
                      <a:pt x="1154" y="1361"/>
                    </a:lnTo>
                    <a:lnTo>
                      <a:pt x="1152" y="1362"/>
                    </a:lnTo>
                    <a:lnTo>
                      <a:pt x="1152" y="1361"/>
                    </a:lnTo>
                    <a:lnTo>
                      <a:pt x="1152" y="1362"/>
                    </a:lnTo>
                    <a:lnTo>
                      <a:pt x="1151" y="1361"/>
                    </a:lnTo>
                    <a:lnTo>
                      <a:pt x="1151" y="1359"/>
                    </a:lnTo>
                    <a:lnTo>
                      <a:pt x="1149" y="1359"/>
                    </a:lnTo>
                    <a:lnTo>
                      <a:pt x="1149" y="1357"/>
                    </a:lnTo>
                    <a:lnTo>
                      <a:pt x="1149" y="1356"/>
                    </a:lnTo>
                    <a:lnTo>
                      <a:pt x="1151" y="1356"/>
                    </a:lnTo>
                    <a:lnTo>
                      <a:pt x="1151" y="1354"/>
                    </a:lnTo>
                    <a:lnTo>
                      <a:pt x="1151" y="1356"/>
                    </a:lnTo>
                    <a:lnTo>
                      <a:pt x="1151" y="1357"/>
                    </a:lnTo>
                    <a:lnTo>
                      <a:pt x="1151" y="1356"/>
                    </a:lnTo>
                    <a:lnTo>
                      <a:pt x="1151" y="1354"/>
                    </a:lnTo>
                    <a:lnTo>
                      <a:pt x="1152" y="1354"/>
                    </a:lnTo>
                    <a:close/>
                    <a:moveTo>
                      <a:pt x="1266" y="1565"/>
                    </a:moveTo>
                    <a:lnTo>
                      <a:pt x="1268" y="1566"/>
                    </a:lnTo>
                    <a:lnTo>
                      <a:pt x="1270" y="1568"/>
                    </a:lnTo>
                    <a:lnTo>
                      <a:pt x="1270" y="1570"/>
                    </a:lnTo>
                    <a:lnTo>
                      <a:pt x="1270" y="1572"/>
                    </a:lnTo>
                    <a:lnTo>
                      <a:pt x="1270" y="1573"/>
                    </a:lnTo>
                    <a:lnTo>
                      <a:pt x="1270" y="1572"/>
                    </a:lnTo>
                    <a:lnTo>
                      <a:pt x="1270" y="1570"/>
                    </a:lnTo>
                    <a:lnTo>
                      <a:pt x="1271" y="1570"/>
                    </a:lnTo>
                    <a:lnTo>
                      <a:pt x="1271" y="1568"/>
                    </a:lnTo>
                    <a:lnTo>
                      <a:pt x="1273" y="1568"/>
                    </a:lnTo>
                    <a:lnTo>
                      <a:pt x="1271" y="1570"/>
                    </a:lnTo>
                    <a:lnTo>
                      <a:pt x="1273" y="1568"/>
                    </a:lnTo>
                    <a:lnTo>
                      <a:pt x="1275" y="1570"/>
                    </a:lnTo>
                    <a:lnTo>
                      <a:pt x="1276" y="1570"/>
                    </a:lnTo>
                    <a:lnTo>
                      <a:pt x="1275" y="1572"/>
                    </a:lnTo>
                    <a:lnTo>
                      <a:pt x="1275" y="1573"/>
                    </a:lnTo>
                    <a:lnTo>
                      <a:pt x="1273" y="1573"/>
                    </a:lnTo>
                    <a:lnTo>
                      <a:pt x="1275" y="1575"/>
                    </a:lnTo>
                    <a:lnTo>
                      <a:pt x="1275" y="1577"/>
                    </a:lnTo>
                    <a:lnTo>
                      <a:pt x="1273" y="1577"/>
                    </a:lnTo>
                    <a:lnTo>
                      <a:pt x="1271" y="1577"/>
                    </a:lnTo>
                    <a:lnTo>
                      <a:pt x="1273" y="1577"/>
                    </a:lnTo>
                    <a:lnTo>
                      <a:pt x="1273" y="1578"/>
                    </a:lnTo>
                    <a:lnTo>
                      <a:pt x="1273" y="1580"/>
                    </a:lnTo>
                    <a:lnTo>
                      <a:pt x="1273" y="1578"/>
                    </a:lnTo>
                    <a:lnTo>
                      <a:pt x="1275" y="1578"/>
                    </a:lnTo>
                    <a:lnTo>
                      <a:pt x="1275" y="1577"/>
                    </a:lnTo>
                    <a:lnTo>
                      <a:pt x="1276" y="1578"/>
                    </a:lnTo>
                    <a:lnTo>
                      <a:pt x="1276" y="1580"/>
                    </a:lnTo>
                    <a:lnTo>
                      <a:pt x="1275" y="1582"/>
                    </a:lnTo>
                    <a:lnTo>
                      <a:pt x="1275" y="1580"/>
                    </a:lnTo>
                    <a:lnTo>
                      <a:pt x="1275" y="1582"/>
                    </a:lnTo>
                    <a:lnTo>
                      <a:pt x="1273" y="1582"/>
                    </a:lnTo>
                    <a:lnTo>
                      <a:pt x="1273" y="1583"/>
                    </a:lnTo>
                    <a:lnTo>
                      <a:pt x="1273" y="1582"/>
                    </a:lnTo>
                    <a:lnTo>
                      <a:pt x="1273" y="1583"/>
                    </a:lnTo>
                    <a:lnTo>
                      <a:pt x="1271" y="1583"/>
                    </a:lnTo>
                    <a:lnTo>
                      <a:pt x="1271" y="1582"/>
                    </a:lnTo>
                    <a:lnTo>
                      <a:pt x="1271" y="1583"/>
                    </a:lnTo>
                    <a:lnTo>
                      <a:pt x="1270" y="1582"/>
                    </a:lnTo>
                    <a:lnTo>
                      <a:pt x="1270" y="1580"/>
                    </a:lnTo>
                    <a:lnTo>
                      <a:pt x="1268" y="1580"/>
                    </a:lnTo>
                    <a:lnTo>
                      <a:pt x="1270" y="1578"/>
                    </a:lnTo>
                    <a:lnTo>
                      <a:pt x="1268" y="1580"/>
                    </a:lnTo>
                    <a:lnTo>
                      <a:pt x="1268" y="1578"/>
                    </a:lnTo>
                    <a:lnTo>
                      <a:pt x="1266" y="1577"/>
                    </a:lnTo>
                    <a:lnTo>
                      <a:pt x="1266" y="1575"/>
                    </a:lnTo>
                    <a:lnTo>
                      <a:pt x="1266" y="1577"/>
                    </a:lnTo>
                    <a:lnTo>
                      <a:pt x="1266" y="1578"/>
                    </a:lnTo>
                    <a:lnTo>
                      <a:pt x="1266" y="1580"/>
                    </a:lnTo>
                    <a:lnTo>
                      <a:pt x="1268" y="1580"/>
                    </a:lnTo>
                    <a:lnTo>
                      <a:pt x="1266" y="1582"/>
                    </a:lnTo>
                    <a:lnTo>
                      <a:pt x="1268" y="1582"/>
                    </a:lnTo>
                    <a:lnTo>
                      <a:pt x="1268" y="1583"/>
                    </a:lnTo>
                    <a:lnTo>
                      <a:pt x="1270" y="1582"/>
                    </a:lnTo>
                    <a:lnTo>
                      <a:pt x="1270" y="1583"/>
                    </a:lnTo>
                    <a:lnTo>
                      <a:pt x="1271" y="1583"/>
                    </a:lnTo>
                    <a:lnTo>
                      <a:pt x="1271" y="1585"/>
                    </a:lnTo>
                    <a:lnTo>
                      <a:pt x="1271" y="1587"/>
                    </a:lnTo>
                    <a:lnTo>
                      <a:pt x="1271" y="1585"/>
                    </a:lnTo>
                    <a:lnTo>
                      <a:pt x="1271" y="1587"/>
                    </a:lnTo>
                    <a:lnTo>
                      <a:pt x="1273" y="1587"/>
                    </a:lnTo>
                    <a:lnTo>
                      <a:pt x="1273" y="1589"/>
                    </a:lnTo>
                    <a:lnTo>
                      <a:pt x="1273" y="1590"/>
                    </a:lnTo>
                    <a:lnTo>
                      <a:pt x="1271" y="1590"/>
                    </a:lnTo>
                    <a:lnTo>
                      <a:pt x="1271" y="1589"/>
                    </a:lnTo>
                    <a:lnTo>
                      <a:pt x="1270" y="1589"/>
                    </a:lnTo>
                    <a:lnTo>
                      <a:pt x="1268" y="1589"/>
                    </a:lnTo>
                    <a:lnTo>
                      <a:pt x="1270" y="1589"/>
                    </a:lnTo>
                    <a:lnTo>
                      <a:pt x="1270" y="1590"/>
                    </a:lnTo>
                    <a:lnTo>
                      <a:pt x="1268" y="1590"/>
                    </a:lnTo>
                    <a:lnTo>
                      <a:pt x="1270" y="1590"/>
                    </a:lnTo>
                    <a:lnTo>
                      <a:pt x="1270" y="1592"/>
                    </a:lnTo>
                    <a:lnTo>
                      <a:pt x="1268" y="1592"/>
                    </a:lnTo>
                    <a:lnTo>
                      <a:pt x="1270" y="1592"/>
                    </a:lnTo>
                    <a:lnTo>
                      <a:pt x="1270" y="1594"/>
                    </a:lnTo>
                    <a:lnTo>
                      <a:pt x="1271" y="1594"/>
                    </a:lnTo>
                    <a:lnTo>
                      <a:pt x="1270" y="1594"/>
                    </a:lnTo>
                    <a:lnTo>
                      <a:pt x="1268" y="1594"/>
                    </a:lnTo>
                    <a:lnTo>
                      <a:pt x="1266" y="1594"/>
                    </a:lnTo>
                    <a:lnTo>
                      <a:pt x="1266" y="1592"/>
                    </a:lnTo>
                    <a:lnTo>
                      <a:pt x="1266" y="1594"/>
                    </a:lnTo>
                    <a:lnTo>
                      <a:pt x="1264" y="1594"/>
                    </a:lnTo>
                    <a:lnTo>
                      <a:pt x="1264" y="1592"/>
                    </a:lnTo>
                    <a:lnTo>
                      <a:pt x="1266" y="1592"/>
                    </a:lnTo>
                    <a:lnTo>
                      <a:pt x="1266" y="1590"/>
                    </a:lnTo>
                    <a:lnTo>
                      <a:pt x="1266" y="1589"/>
                    </a:lnTo>
                    <a:lnTo>
                      <a:pt x="1268" y="1589"/>
                    </a:lnTo>
                    <a:lnTo>
                      <a:pt x="1268" y="1587"/>
                    </a:lnTo>
                    <a:lnTo>
                      <a:pt x="1268" y="1589"/>
                    </a:lnTo>
                    <a:lnTo>
                      <a:pt x="1266" y="1587"/>
                    </a:lnTo>
                    <a:lnTo>
                      <a:pt x="1266" y="1589"/>
                    </a:lnTo>
                    <a:lnTo>
                      <a:pt x="1264" y="1587"/>
                    </a:lnTo>
                    <a:lnTo>
                      <a:pt x="1263" y="1587"/>
                    </a:lnTo>
                    <a:lnTo>
                      <a:pt x="1264" y="1587"/>
                    </a:lnTo>
                    <a:lnTo>
                      <a:pt x="1263" y="1587"/>
                    </a:lnTo>
                    <a:lnTo>
                      <a:pt x="1264" y="1587"/>
                    </a:lnTo>
                    <a:lnTo>
                      <a:pt x="1263" y="1585"/>
                    </a:lnTo>
                    <a:lnTo>
                      <a:pt x="1263" y="1587"/>
                    </a:lnTo>
                    <a:lnTo>
                      <a:pt x="1263" y="1585"/>
                    </a:lnTo>
                    <a:lnTo>
                      <a:pt x="1261" y="1585"/>
                    </a:lnTo>
                    <a:lnTo>
                      <a:pt x="1261" y="1583"/>
                    </a:lnTo>
                    <a:lnTo>
                      <a:pt x="1259" y="1583"/>
                    </a:lnTo>
                    <a:lnTo>
                      <a:pt x="1259" y="1582"/>
                    </a:lnTo>
                    <a:lnTo>
                      <a:pt x="1261" y="1583"/>
                    </a:lnTo>
                    <a:lnTo>
                      <a:pt x="1261" y="1582"/>
                    </a:lnTo>
                    <a:lnTo>
                      <a:pt x="1263" y="1583"/>
                    </a:lnTo>
                    <a:lnTo>
                      <a:pt x="1263" y="1582"/>
                    </a:lnTo>
                    <a:lnTo>
                      <a:pt x="1261" y="1582"/>
                    </a:lnTo>
                    <a:lnTo>
                      <a:pt x="1259" y="1582"/>
                    </a:lnTo>
                    <a:lnTo>
                      <a:pt x="1258" y="1580"/>
                    </a:lnTo>
                    <a:lnTo>
                      <a:pt x="1259" y="1580"/>
                    </a:lnTo>
                    <a:lnTo>
                      <a:pt x="1261" y="1580"/>
                    </a:lnTo>
                    <a:lnTo>
                      <a:pt x="1263" y="1580"/>
                    </a:lnTo>
                    <a:lnTo>
                      <a:pt x="1261" y="1580"/>
                    </a:lnTo>
                    <a:lnTo>
                      <a:pt x="1259" y="1578"/>
                    </a:lnTo>
                    <a:lnTo>
                      <a:pt x="1259" y="1577"/>
                    </a:lnTo>
                    <a:lnTo>
                      <a:pt x="1259" y="1578"/>
                    </a:lnTo>
                    <a:lnTo>
                      <a:pt x="1258" y="1578"/>
                    </a:lnTo>
                    <a:lnTo>
                      <a:pt x="1258" y="1580"/>
                    </a:lnTo>
                    <a:lnTo>
                      <a:pt x="1256" y="1580"/>
                    </a:lnTo>
                    <a:lnTo>
                      <a:pt x="1256" y="1578"/>
                    </a:lnTo>
                    <a:lnTo>
                      <a:pt x="1254" y="1577"/>
                    </a:lnTo>
                    <a:lnTo>
                      <a:pt x="1256" y="1577"/>
                    </a:lnTo>
                    <a:lnTo>
                      <a:pt x="1256" y="1575"/>
                    </a:lnTo>
                    <a:lnTo>
                      <a:pt x="1258" y="1573"/>
                    </a:lnTo>
                    <a:lnTo>
                      <a:pt x="1258" y="1572"/>
                    </a:lnTo>
                    <a:lnTo>
                      <a:pt x="1258" y="1573"/>
                    </a:lnTo>
                    <a:lnTo>
                      <a:pt x="1256" y="1573"/>
                    </a:lnTo>
                    <a:lnTo>
                      <a:pt x="1254" y="1575"/>
                    </a:lnTo>
                    <a:lnTo>
                      <a:pt x="1254" y="1573"/>
                    </a:lnTo>
                    <a:lnTo>
                      <a:pt x="1254" y="1572"/>
                    </a:lnTo>
                    <a:lnTo>
                      <a:pt x="1254" y="1570"/>
                    </a:lnTo>
                    <a:lnTo>
                      <a:pt x="1256" y="1568"/>
                    </a:lnTo>
                    <a:lnTo>
                      <a:pt x="1256" y="1570"/>
                    </a:lnTo>
                    <a:lnTo>
                      <a:pt x="1258" y="1570"/>
                    </a:lnTo>
                    <a:lnTo>
                      <a:pt x="1259" y="1570"/>
                    </a:lnTo>
                    <a:lnTo>
                      <a:pt x="1259" y="1572"/>
                    </a:lnTo>
                    <a:lnTo>
                      <a:pt x="1259" y="1573"/>
                    </a:lnTo>
                    <a:lnTo>
                      <a:pt x="1261" y="1573"/>
                    </a:lnTo>
                    <a:lnTo>
                      <a:pt x="1263" y="1573"/>
                    </a:lnTo>
                    <a:lnTo>
                      <a:pt x="1261" y="1573"/>
                    </a:lnTo>
                    <a:lnTo>
                      <a:pt x="1261" y="1572"/>
                    </a:lnTo>
                    <a:lnTo>
                      <a:pt x="1259" y="1570"/>
                    </a:lnTo>
                    <a:lnTo>
                      <a:pt x="1261" y="1570"/>
                    </a:lnTo>
                    <a:lnTo>
                      <a:pt x="1261" y="1572"/>
                    </a:lnTo>
                    <a:lnTo>
                      <a:pt x="1263" y="1572"/>
                    </a:lnTo>
                    <a:lnTo>
                      <a:pt x="1261" y="1572"/>
                    </a:lnTo>
                    <a:lnTo>
                      <a:pt x="1261" y="1570"/>
                    </a:lnTo>
                    <a:lnTo>
                      <a:pt x="1263" y="1570"/>
                    </a:lnTo>
                    <a:lnTo>
                      <a:pt x="1263" y="1568"/>
                    </a:lnTo>
                    <a:lnTo>
                      <a:pt x="1263" y="1570"/>
                    </a:lnTo>
                    <a:lnTo>
                      <a:pt x="1264" y="1568"/>
                    </a:lnTo>
                    <a:lnTo>
                      <a:pt x="1266" y="1568"/>
                    </a:lnTo>
                    <a:lnTo>
                      <a:pt x="1264" y="1566"/>
                    </a:lnTo>
                    <a:lnTo>
                      <a:pt x="1266" y="1565"/>
                    </a:lnTo>
                    <a:close/>
                    <a:moveTo>
                      <a:pt x="1152" y="1252"/>
                    </a:moveTo>
                    <a:lnTo>
                      <a:pt x="1154" y="1253"/>
                    </a:lnTo>
                    <a:lnTo>
                      <a:pt x="1152" y="1255"/>
                    </a:lnTo>
                    <a:lnTo>
                      <a:pt x="1154" y="1255"/>
                    </a:lnTo>
                    <a:lnTo>
                      <a:pt x="1152" y="1255"/>
                    </a:lnTo>
                    <a:lnTo>
                      <a:pt x="1151" y="1255"/>
                    </a:lnTo>
                    <a:lnTo>
                      <a:pt x="1152" y="1255"/>
                    </a:lnTo>
                    <a:lnTo>
                      <a:pt x="1152" y="1257"/>
                    </a:lnTo>
                    <a:lnTo>
                      <a:pt x="1152" y="1259"/>
                    </a:lnTo>
                    <a:lnTo>
                      <a:pt x="1152" y="1257"/>
                    </a:lnTo>
                    <a:lnTo>
                      <a:pt x="1152" y="1255"/>
                    </a:lnTo>
                    <a:lnTo>
                      <a:pt x="1154" y="1255"/>
                    </a:lnTo>
                    <a:lnTo>
                      <a:pt x="1154" y="1257"/>
                    </a:lnTo>
                    <a:lnTo>
                      <a:pt x="1152" y="1259"/>
                    </a:lnTo>
                    <a:lnTo>
                      <a:pt x="1152" y="1260"/>
                    </a:lnTo>
                    <a:lnTo>
                      <a:pt x="1152" y="1259"/>
                    </a:lnTo>
                    <a:lnTo>
                      <a:pt x="1154" y="1259"/>
                    </a:lnTo>
                    <a:lnTo>
                      <a:pt x="1156" y="1259"/>
                    </a:lnTo>
                    <a:lnTo>
                      <a:pt x="1154" y="1259"/>
                    </a:lnTo>
                    <a:lnTo>
                      <a:pt x="1154" y="1260"/>
                    </a:lnTo>
                    <a:lnTo>
                      <a:pt x="1156" y="1260"/>
                    </a:lnTo>
                    <a:lnTo>
                      <a:pt x="1156" y="1262"/>
                    </a:lnTo>
                    <a:lnTo>
                      <a:pt x="1154" y="1262"/>
                    </a:lnTo>
                    <a:lnTo>
                      <a:pt x="1154" y="1264"/>
                    </a:lnTo>
                    <a:lnTo>
                      <a:pt x="1156" y="1262"/>
                    </a:lnTo>
                    <a:lnTo>
                      <a:pt x="1156" y="1264"/>
                    </a:lnTo>
                    <a:lnTo>
                      <a:pt x="1157" y="1264"/>
                    </a:lnTo>
                    <a:lnTo>
                      <a:pt x="1157" y="1265"/>
                    </a:lnTo>
                    <a:lnTo>
                      <a:pt x="1156" y="1265"/>
                    </a:lnTo>
                    <a:lnTo>
                      <a:pt x="1156" y="1267"/>
                    </a:lnTo>
                    <a:lnTo>
                      <a:pt x="1157" y="1265"/>
                    </a:lnTo>
                    <a:lnTo>
                      <a:pt x="1157" y="1267"/>
                    </a:lnTo>
                    <a:lnTo>
                      <a:pt x="1157" y="1269"/>
                    </a:lnTo>
                    <a:lnTo>
                      <a:pt x="1159" y="1269"/>
                    </a:lnTo>
                    <a:lnTo>
                      <a:pt x="1159" y="1270"/>
                    </a:lnTo>
                    <a:lnTo>
                      <a:pt x="1159" y="1272"/>
                    </a:lnTo>
                    <a:lnTo>
                      <a:pt x="1157" y="1272"/>
                    </a:lnTo>
                    <a:lnTo>
                      <a:pt x="1159" y="1272"/>
                    </a:lnTo>
                    <a:lnTo>
                      <a:pt x="1157" y="1272"/>
                    </a:lnTo>
                    <a:lnTo>
                      <a:pt x="1157" y="1274"/>
                    </a:lnTo>
                    <a:lnTo>
                      <a:pt x="1159" y="1272"/>
                    </a:lnTo>
                    <a:lnTo>
                      <a:pt x="1159" y="1270"/>
                    </a:lnTo>
                    <a:lnTo>
                      <a:pt x="1161" y="1272"/>
                    </a:lnTo>
                    <a:lnTo>
                      <a:pt x="1161" y="1274"/>
                    </a:lnTo>
                    <a:lnTo>
                      <a:pt x="1162" y="1274"/>
                    </a:lnTo>
                    <a:lnTo>
                      <a:pt x="1161" y="1276"/>
                    </a:lnTo>
                    <a:lnTo>
                      <a:pt x="1161" y="1274"/>
                    </a:lnTo>
                    <a:lnTo>
                      <a:pt x="1161" y="1276"/>
                    </a:lnTo>
                    <a:lnTo>
                      <a:pt x="1159" y="1276"/>
                    </a:lnTo>
                    <a:lnTo>
                      <a:pt x="1161" y="1276"/>
                    </a:lnTo>
                    <a:lnTo>
                      <a:pt x="1159" y="1277"/>
                    </a:lnTo>
                    <a:lnTo>
                      <a:pt x="1161" y="1276"/>
                    </a:lnTo>
                    <a:lnTo>
                      <a:pt x="1162" y="1276"/>
                    </a:lnTo>
                    <a:lnTo>
                      <a:pt x="1162" y="1277"/>
                    </a:lnTo>
                    <a:lnTo>
                      <a:pt x="1161" y="1277"/>
                    </a:lnTo>
                    <a:lnTo>
                      <a:pt x="1162" y="1279"/>
                    </a:lnTo>
                    <a:lnTo>
                      <a:pt x="1162" y="1281"/>
                    </a:lnTo>
                    <a:lnTo>
                      <a:pt x="1162" y="1282"/>
                    </a:lnTo>
                    <a:lnTo>
                      <a:pt x="1161" y="1282"/>
                    </a:lnTo>
                    <a:lnTo>
                      <a:pt x="1159" y="1284"/>
                    </a:lnTo>
                    <a:lnTo>
                      <a:pt x="1161" y="1284"/>
                    </a:lnTo>
                    <a:lnTo>
                      <a:pt x="1159" y="1284"/>
                    </a:lnTo>
                    <a:lnTo>
                      <a:pt x="1159" y="1286"/>
                    </a:lnTo>
                    <a:lnTo>
                      <a:pt x="1157" y="1286"/>
                    </a:lnTo>
                    <a:lnTo>
                      <a:pt x="1156" y="1286"/>
                    </a:lnTo>
                    <a:lnTo>
                      <a:pt x="1156" y="1284"/>
                    </a:lnTo>
                    <a:lnTo>
                      <a:pt x="1157" y="1284"/>
                    </a:lnTo>
                    <a:lnTo>
                      <a:pt x="1156" y="1284"/>
                    </a:lnTo>
                    <a:lnTo>
                      <a:pt x="1157" y="1282"/>
                    </a:lnTo>
                    <a:lnTo>
                      <a:pt x="1159" y="1282"/>
                    </a:lnTo>
                    <a:lnTo>
                      <a:pt x="1157" y="1282"/>
                    </a:lnTo>
                    <a:lnTo>
                      <a:pt x="1156" y="1284"/>
                    </a:lnTo>
                    <a:lnTo>
                      <a:pt x="1156" y="1282"/>
                    </a:lnTo>
                    <a:lnTo>
                      <a:pt x="1156" y="1281"/>
                    </a:lnTo>
                    <a:lnTo>
                      <a:pt x="1157" y="1281"/>
                    </a:lnTo>
                    <a:lnTo>
                      <a:pt x="1156" y="1281"/>
                    </a:lnTo>
                    <a:lnTo>
                      <a:pt x="1154" y="1281"/>
                    </a:lnTo>
                    <a:lnTo>
                      <a:pt x="1156" y="1279"/>
                    </a:lnTo>
                    <a:lnTo>
                      <a:pt x="1154" y="1279"/>
                    </a:lnTo>
                    <a:lnTo>
                      <a:pt x="1154" y="1277"/>
                    </a:lnTo>
                    <a:lnTo>
                      <a:pt x="1156" y="1277"/>
                    </a:lnTo>
                    <a:lnTo>
                      <a:pt x="1154" y="1277"/>
                    </a:lnTo>
                    <a:lnTo>
                      <a:pt x="1154" y="1276"/>
                    </a:lnTo>
                    <a:lnTo>
                      <a:pt x="1154" y="1274"/>
                    </a:lnTo>
                    <a:lnTo>
                      <a:pt x="1156" y="1274"/>
                    </a:lnTo>
                    <a:lnTo>
                      <a:pt x="1156" y="1272"/>
                    </a:lnTo>
                    <a:lnTo>
                      <a:pt x="1157" y="1272"/>
                    </a:lnTo>
                    <a:lnTo>
                      <a:pt x="1156" y="1270"/>
                    </a:lnTo>
                    <a:lnTo>
                      <a:pt x="1156" y="1272"/>
                    </a:lnTo>
                    <a:lnTo>
                      <a:pt x="1154" y="1272"/>
                    </a:lnTo>
                    <a:lnTo>
                      <a:pt x="1154" y="1270"/>
                    </a:lnTo>
                    <a:lnTo>
                      <a:pt x="1154" y="1272"/>
                    </a:lnTo>
                    <a:lnTo>
                      <a:pt x="1154" y="1270"/>
                    </a:lnTo>
                    <a:lnTo>
                      <a:pt x="1154" y="1269"/>
                    </a:lnTo>
                    <a:lnTo>
                      <a:pt x="1156" y="1269"/>
                    </a:lnTo>
                    <a:lnTo>
                      <a:pt x="1156" y="1267"/>
                    </a:lnTo>
                    <a:lnTo>
                      <a:pt x="1156" y="1269"/>
                    </a:lnTo>
                    <a:lnTo>
                      <a:pt x="1154" y="1269"/>
                    </a:lnTo>
                    <a:lnTo>
                      <a:pt x="1152" y="1270"/>
                    </a:lnTo>
                    <a:lnTo>
                      <a:pt x="1151" y="1272"/>
                    </a:lnTo>
                    <a:lnTo>
                      <a:pt x="1151" y="1270"/>
                    </a:lnTo>
                    <a:lnTo>
                      <a:pt x="1151" y="1272"/>
                    </a:lnTo>
                    <a:lnTo>
                      <a:pt x="1149" y="1272"/>
                    </a:lnTo>
                    <a:lnTo>
                      <a:pt x="1147" y="1272"/>
                    </a:lnTo>
                    <a:lnTo>
                      <a:pt x="1149" y="1272"/>
                    </a:lnTo>
                    <a:lnTo>
                      <a:pt x="1147" y="1272"/>
                    </a:lnTo>
                    <a:lnTo>
                      <a:pt x="1145" y="1270"/>
                    </a:lnTo>
                    <a:lnTo>
                      <a:pt x="1145" y="1269"/>
                    </a:lnTo>
                    <a:lnTo>
                      <a:pt x="1147" y="1269"/>
                    </a:lnTo>
                    <a:lnTo>
                      <a:pt x="1149" y="1269"/>
                    </a:lnTo>
                    <a:lnTo>
                      <a:pt x="1151" y="1269"/>
                    </a:lnTo>
                    <a:lnTo>
                      <a:pt x="1152" y="1269"/>
                    </a:lnTo>
                    <a:lnTo>
                      <a:pt x="1152" y="1267"/>
                    </a:lnTo>
                    <a:lnTo>
                      <a:pt x="1151" y="1269"/>
                    </a:lnTo>
                    <a:lnTo>
                      <a:pt x="1151" y="1267"/>
                    </a:lnTo>
                    <a:lnTo>
                      <a:pt x="1152" y="1267"/>
                    </a:lnTo>
                    <a:lnTo>
                      <a:pt x="1152" y="1265"/>
                    </a:lnTo>
                    <a:lnTo>
                      <a:pt x="1151" y="1267"/>
                    </a:lnTo>
                    <a:lnTo>
                      <a:pt x="1151" y="1265"/>
                    </a:lnTo>
                    <a:lnTo>
                      <a:pt x="1152" y="1264"/>
                    </a:lnTo>
                    <a:lnTo>
                      <a:pt x="1152" y="1262"/>
                    </a:lnTo>
                    <a:lnTo>
                      <a:pt x="1151" y="1264"/>
                    </a:lnTo>
                    <a:lnTo>
                      <a:pt x="1151" y="1265"/>
                    </a:lnTo>
                    <a:lnTo>
                      <a:pt x="1151" y="1267"/>
                    </a:lnTo>
                    <a:lnTo>
                      <a:pt x="1149" y="1267"/>
                    </a:lnTo>
                    <a:lnTo>
                      <a:pt x="1151" y="1269"/>
                    </a:lnTo>
                    <a:lnTo>
                      <a:pt x="1149" y="1269"/>
                    </a:lnTo>
                    <a:lnTo>
                      <a:pt x="1149" y="1267"/>
                    </a:lnTo>
                    <a:lnTo>
                      <a:pt x="1149" y="1269"/>
                    </a:lnTo>
                    <a:lnTo>
                      <a:pt x="1147" y="1269"/>
                    </a:lnTo>
                    <a:lnTo>
                      <a:pt x="1147" y="1267"/>
                    </a:lnTo>
                    <a:lnTo>
                      <a:pt x="1149" y="1267"/>
                    </a:lnTo>
                    <a:lnTo>
                      <a:pt x="1149" y="1265"/>
                    </a:lnTo>
                    <a:lnTo>
                      <a:pt x="1149" y="1264"/>
                    </a:lnTo>
                    <a:lnTo>
                      <a:pt x="1151" y="1262"/>
                    </a:lnTo>
                    <a:lnTo>
                      <a:pt x="1149" y="1264"/>
                    </a:lnTo>
                    <a:lnTo>
                      <a:pt x="1149" y="1262"/>
                    </a:lnTo>
                    <a:lnTo>
                      <a:pt x="1151" y="1262"/>
                    </a:lnTo>
                    <a:lnTo>
                      <a:pt x="1151" y="1260"/>
                    </a:lnTo>
                    <a:lnTo>
                      <a:pt x="1149" y="1262"/>
                    </a:lnTo>
                    <a:lnTo>
                      <a:pt x="1149" y="1264"/>
                    </a:lnTo>
                    <a:lnTo>
                      <a:pt x="1147" y="1264"/>
                    </a:lnTo>
                    <a:lnTo>
                      <a:pt x="1145" y="1262"/>
                    </a:lnTo>
                    <a:lnTo>
                      <a:pt x="1147" y="1262"/>
                    </a:lnTo>
                    <a:lnTo>
                      <a:pt x="1147" y="1260"/>
                    </a:lnTo>
                    <a:lnTo>
                      <a:pt x="1145" y="1260"/>
                    </a:lnTo>
                    <a:lnTo>
                      <a:pt x="1145" y="1259"/>
                    </a:lnTo>
                    <a:lnTo>
                      <a:pt x="1144" y="1257"/>
                    </a:lnTo>
                    <a:lnTo>
                      <a:pt x="1145" y="1255"/>
                    </a:lnTo>
                    <a:lnTo>
                      <a:pt x="1147" y="1255"/>
                    </a:lnTo>
                    <a:lnTo>
                      <a:pt x="1147" y="1253"/>
                    </a:lnTo>
                    <a:lnTo>
                      <a:pt x="1147" y="1255"/>
                    </a:lnTo>
                    <a:lnTo>
                      <a:pt x="1147" y="1253"/>
                    </a:lnTo>
                    <a:lnTo>
                      <a:pt x="1149" y="1255"/>
                    </a:lnTo>
                    <a:lnTo>
                      <a:pt x="1149" y="1253"/>
                    </a:lnTo>
                    <a:lnTo>
                      <a:pt x="1149" y="1255"/>
                    </a:lnTo>
                    <a:lnTo>
                      <a:pt x="1149" y="1253"/>
                    </a:lnTo>
                    <a:lnTo>
                      <a:pt x="1149" y="1255"/>
                    </a:lnTo>
                    <a:lnTo>
                      <a:pt x="1149" y="1253"/>
                    </a:lnTo>
                    <a:lnTo>
                      <a:pt x="1151" y="1253"/>
                    </a:lnTo>
                    <a:lnTo>
                      <a:pt x="1149" y="1255"/>
                    </a:lnTo>
                    <a:lnTo>
                      <a:pt x="1149" y="1257"/>
                    </a:lnTo>
                    <a:lnTo>
                      <a:pt x="1149" y="1255"/>
                    </a:lnTo>
                    <a:lnTo>
                      <a:pt x="1151" y="1255"/>
                    </a:lnTo>
                    <a:lnTo>
                      <a:pt x="1151" y="1253"/>
                    </a:lnTo>
                    <a:lnTo>
                      <a:pt x="1151" y="1252"/>
                    </a:lnTo>
                    <a:lnTo>
                      <a:pt x="1152" y="1252"/>
                    </a:lnTo>
                    <a:close/>
                    <a:moveTo>
                      <a:pt x="1176" y="1393"/>
                    </a:moveTo>
                    <a:lnTo>
                      <a:pt x="1176" y="1395"/>
                    </a:lnTo>
                    <a:lnTo>
                      <a:pt x="1176" y="1393"/>
                    </a:lnTo>
                    <a:lnTo>
                      <a:pt x="1178" y="1393"/>
                    </a:lnTo>
                    <a:lnTo>
                      <a:pt x="1178" y="1395"/>
                    </a:lnTo>
                    <a:lnTo>
                      <a:pt x="1179" y="1393"/>
                    </a:lnTo>
                    <a:lnTo>
                      <a:pt x="1179" y="1395"/>
                    </a:lnTo>
                    <a:lnTo>
                      <a:pt x="1181" y="1395"/>
                    </a:lnTo>
                    <a:lnTo>
                      <a:pt x="1181" y="1396"/>
                    </a:lnTo>
                    <a:lnTo>
                      <a:pt x="1181" y="1395"/>
                    </a:lnTo>
                    <a:lnTo>
                      <a:pt x="1183" y="1396"/>
                    </a:lnTo>
                    <a:lnTo>
                      <a:pt x="1181" y="1398"/>
                    </a:lnTo>
                    <a:lnTo>
                      <a:pt x="1181" y="1396"/>
                    </a:lnTo>
                    <a:lnTo>
                      <a:pt x="1181" y="1398"/>
                    </a:lnTo>
                    <a:lnTo>
                      <a:pt x="1181" y="1400"/>
                    </a:lnTo>
                    <a:lnTo>
                      <a:pt x="1179" y="1400"/>
                    </a:lnTo>
                    <a:lnTo>
                      <a:pt x="1181" y="1400"/>
                    </a:lnTo>
                    <a:lnTo>
                      <a:pt x="1181" y="1398"/>
                    </a:lnTo>
                    <a:lnTo>
                      <a:pt x="1183" y="1398"/>
                    </a:lnTo>
                    <a:lnTo>
                      <a:pt x="1183" y="1400"/>
                    </a:lnTo>
                    <a:lnTo>
                      <a:pt x="1183" y="1401"/>
                    </a:lnTo>
                    <a:lnTo>
                      <a:pt x="1183" y="1403"/>
                    </a:lnTo>
                    <a:lnTo>
                      <a:pt x="1181" y="1403"/>
                    </a:lnTo>
                    <a:lnTo>
                      <a:pt x="1183" y="1403"/>
                    </a:lnTo>
                    <a:lnTo>
                      <a:pt x="1183" y="1405"/>
                    </a:lnTo>
                    <a:lnTo>
                      <a:pt x="1183" y="1403"/>
                    </a:lnTo>
                    <a:lnTo>
                      <a:pt x="1183" y="1405"/>
                    </a:lnTo>
                    <a:lnTo>
                      <a:pt x="1183" y="1403"/>
                    </a:lnTo>
                    <a:lnTo>
                      <a:pt x="1183" y="1405"/>
                    </a:lnTo>
                    <a:lnTo>
                      <a:pt x="1183" y="1407"/>
                    </a:lnTo>
                    <a:lnTo>
                      <a:pt x="1183" y="1405"/>
                    </a:lnTo>
                    <a:lnTo>
                      <a:pt x="1185" y="1407"/>
                    </a:lnTo>
                    <a:lnTo>
                      <a:pt x="1185" y="1408"/>
                    </a:lnTo>
                    <a:lnTo>
                      <a:pt x="1185" y="1410"/>
                    </a:lnTo>
                    <a:lnTo>
                      <a:pt x="1185" y="1412"/>
                    </a:lnTo>
                    <a:lnTo>
                      <a:pt x="1183" y="1410"/>
                    </a:lnTo>
                    <a:lnTo>
                      <a:pt x="1185" y="1412"/>
                    </a:lnTo>
                    <a:lnTo>
                      <a:pt x="1183" y="1412"/>
                    </a:lnTo>
                    <a:lnTo>
                      <a:pt x="1183" y="1410"/>
                    </a:lnTo>
                    <a:lnTo>
                      <a:pt x="1181" y="1408"/>
                    </a:lnTo>
                    <a:lnTo>
                      <a:pt x="1181" y="1407"/>
                    </a:lnTo>
                    <a:lnTo>
                      <a:pt x="1179" y="1407"/>
                    </a:lnTo>
                    <a:lnTo>
                      <a:pt x="1179" y="1408"/>
                    </a:lnTo>
                    <a:lnTo>
                      <a:pt x="1181" y="1408"/>
                    </a:lnTo>
                    <a:lnTo>
                      <a:pt x="1181" y="1410"/>
                    </a:lnTo>
                    <a:lnTo>
                      <a:pt x="1181" y="1412"/>
                    </a:lnTo>
                    <a:lnTo>
                      <a:pt x="1179" y="1412"/>
                    </a:lnTo>
                    <a:lnTo>
                      <a:pt x="1179" y="1410"/>
                    </a:lnTo>
                    <a:lnTo>
                      <a:pt x="1179" y="1412"/>
                    </a:lnTo>
                    <a:lnTo>
                      <a:pt x="1181" y="1412"/>
                    </a:lnTo>
                    <a:lnTo>
                      <a:pt x="1181" y="1413"/>
                    </a:lnTo>
                    <a:lnTo>
                      <a:pt x="1183" y="1413"/>
                    </a:lnTo>
                    <a:lnTo>
                      <a:pt x="1185" y="1415"/>
                    </a:lnTo>
                    <a:lnTo>
                      <a:pt x="1185" y="1417"/>
                    </a:lnTo>
                    <a:lnTo>
                      <a:pt x="1185" y="1418"/>
                    </a:lnTo>
                    <a:lnTo>
                      <a:pt x="1183" y="1418"/>
                    </a:lnTo>
                    <a:lnTo>
                      <a:pt x="1183" y="1417"/>
                    </a:lnTo>
                    <a:lnTo>
                      <a:pt x="1181" y="1417"/>
                    </a:lnTo>
                    <a:lnTo>
                      <a:pt x="1183" y="1418"/>
                    </a:lnTo>
                    <a:lnTo>
                      <a:pt x="1183" y="1420"/>
                    </a:lnTo>
                    <a:lnTo>
                      <a:pt x="1183" y="1418"/>
                    </a:lnTo>
                    <a:lnTo>
                      <a:pt x="1181" y="1418"/>
                    </a:lnTo>
                    <a:lnTo>
                      <a:pt x="1181" y="1417"/>
                    </a:lnTo>
                    <a:lnTo>
                      <a:pt x="1179" y="1418"/>
                    </a:lnTo>
                    <a:lnTo>
                      <a:pt x="1181" y="1418"/>
                    </a:lnTo>
                    <a:lnTo>
                      <a:pt x="1183" y="1420"/>
                    </a:lnTo>
                    <a:lnTo>
                      <a:pt x="1183" y="1422"/>
                    </a:lnTo>
                    <a:lnTo>
                      <a:pt x="1181" y="1422"/>
                    </a:lnTo>
                    <a:lnTo>
                      <a:pt x="1181" y="1420"/>
                    </a:lnTo>
                    <a:lnTo>
                      <a:pt x="1181" y="1418"/>
                    </a:lnTo>
                    <a:lnTo>
                      <a:pt x="1179" y="1420"/>
                    </a:lnTo>
                    <a:lnTo>
                      <a:pt x="1179" y="1418"/>
                    </a:lnTo>
                    <a:lnTo>
                      <a:pt x="1178" y="1420"/>
                    </a:lnTo>
                    <a:lnTo>
                      <a:pt x="1178" y="1418"/>
                    </a:lnTo>
                    <a:lnTo>
                      <a:pt x="1179" y="1418"/>
                    </a:lnTo>
                    <a:lnTo>
                      <a:pt x="1179" y="1417"/>
                    </a:lnTo>
                    <a:lnTo>
                      <a:pt x="1178" y="1417"/>
                    </a:lnTo>
                    <a:lnTo>
                      <a:pt x="1178" y="1415"/>
                    </a:lnTo>
                    <a:lnTo>
                      <a:pt x="1176" y="1413"/>
                    </a:lnTo>
                    <a:lnTo>
                      <a:pt x="1178" y="1412"/>
                    </a:lnTo>
                    <a:lnTo>
                      <a:pt x="1176" y="1412"/>
                    </a:lnTo>
                    <a:lnTo>
                      <a:pt x="1176" y="1410"/>
                    </a:lnTo>
                    <a:lnTo>
                      <a:pt x="1178" y="1410"/>
                    </a:lnTo>
                    <a:lnTo>
                      <a:pt x="1179" y="1410"/>
                    </a:lnTo>
                    <a:lnTo>
                      <a:pt x="1179" y="1408"/>
                    </a:lnTo>
                    <a:lnTo>
                      <a:pt x="1179" y="1410"/>
                    </a:lnTo>
                    <a:lnTo>
                      <a:pt x="1178" y="1410"/>
                    </a:lnTo>
                    <a:lnTo>
                      <a:pt x="1176" y="1410"/>
                    </a:lnTo>
                    <a:lnTo>
                      <a:pt x="1176" y="1408"/>
                    </a:lnTo>
                    <a:lnTo>
                      <a:pt x="1176" y="1410"/>
                    </a:lnTo>
                    <a:lnTo>
                      <a:pt x="1176" y="1412"/>
                    </a:lnTo>
                    <a:lnTo>
                      <a:pt x="1174" y="1413"/>
                    </a:lnTo>
                    <a:lnTo>
                      <a:pt x="1174" y="1412"/>
                    </a:lnTo>
                    <a:lnTo>
                      <a:pt x="1174" y="1413"/>
                    </a:lnTo>
                    <a:lnTo>
                      <a:pt x="1173" y="1413"/>
                    </a:lnTo>
                    <a:lnTo>
                      <a:pt x="1171" y="1413"/>
                    </a:lnTo>
                    <a:lnTo>
                      <a:pt x="1173" y="1412"/>
                    </a:lnTo>
                    <a:lnTo>
                      <a:pt x="1171" y="1412"/>
                    </a:lnTo>
                    <a:lnTo>
                      <a:pt x="1173" y="1412"/>
                    </a:lnTo>
                    <a:lnTo>
                      <a:pt x="1173" y="1410"/>
                    </a:lnTo>
                    <a:lnTo>
                      <a:pt x="1171" y="1410"/>
                    </a:lnTo>
                    <a:lnTo>
                      <a:pt x="1173" y="1410"/>
                    </a:lnTo>
                    <a:lnTo>
                      <a:pt x="1174" y="1410"/>
                    </a:lnTo>
                    <a:lnTo>
                      <a:pt x="1174" y="1408"/>
                    </a:lnTo>
                    <a:lnTo>
                      <a:pt x="1176" y="1408"/>
                    </a:lnTo>
                    <a:lnTo>
                      <a:pt x="1176" y="1407"/>
                    </a:lnTo>
                    <a:lnTo>
                      <a:pt x="1176" y="1405"/>
                    </a:lnTo>
                    <a:lnTo>
                      <a:pt x="1176" y="1407"/>
                    </a:lnTo>
                    <a:lnTo>
                      <a:pt x="1174" y="1407"/>
                    </a:lnTo>
                    <a:lnTo>
                      <a:pt x="1174" y="1408"/>
                    </a:lnTo>
                    <a:lnTo>
                      <a:pt x="1173" y="1408"/>
                    </a:lnTo>
                    <a:lnTo>
                      <a:pt x="1171" y="1408"/>
                    </a:lnTo>
                    <a:lnTo>
                      <a:pt x="1171" y="1407"/>
                    </a:lnTo>
                    <a:lnTo>
                      <a:pt x="1171" y="1408"/>
                    </a:lnTo>
                    <a:lnTo>
                      <a:pt x="1169" y="1408"/>
                    </a:lnTo>
                    <a:lnTo>
                      <a:pt x="1171" y="1408"/>
                    </a:lnTo>
                    <a:lnTo>
                      <a:pt x="1171" y="1410"/>
                    </a:lnTo>
                    <a:lnTo>
                      <a:pt x="1169" y="1412"/>
                    </a:lnTo>
                    <a:lnTo>
                      <a:pt x="1168" y="1412"/>
                    </a:lnTo>
                    <a:lnTo>
                      <a:pt x="1169" y="1410"/>
                    </a:lnTo>
                    <a:lnTo>
                      <a:pt x="1168" y="1410"/>
                    </a:lnTo>
                    <a:lnTo>
                      <a:pt x="1168" y="1412"/>
                    </a:lnTo>
                    <a:lnTo>
                      <a:pt x="1166" y="1410"/>
                    </a:lnTo>
                    <a:lnTo>
                      <a:pt x="1168" y="1410"/>
                    </a:lnTo>
                    <a:lnTo>
                      <a:pt x="1168" y="1408"/>
                    </a:lnTo>
                    <a:lnTo>
                      <a:pt x="1169" y="1407"/>
                    </a:lnTo>
                    <a:lnTo>
                      <a:pt x="1168" y="1407"/>
                    </a:lnTo>
                    <a:lnTo>
                      <a:pt x="1169" y="1407"/>
                    </a:lnTo>
                    <a:lnTo>
                      <a:pt x="1171" y="1407"/>
                    </a:lnTo>
                    <a:lnTo>
                      <a:pt x="1169" y="1407"/>
                    </a:lnTo>
                    <a:lnTo>
                      <a:pt x="1168" y="1407"/>
                    </a:lnTo>
                    <a:lnTo>
                      <a:pt x="1166" y="1407"/>
                    </a:lnTo>
                    <a:lnTo>
                      <a:pt x="1168" y="1405"/>
                    </a:lnTo>
                    <a:lnTo>
                      <a:pt x="1169" y="1405"/>
                    </a:lnTo>
                    <a:lnTo>
                      <a:pt x="1168" y="1405"/>
                    </a:lnTo>
                    <a:lnTo>
                      <a:pt x="1166" y="1405"/>
                    </a:lnTo>
                    <a:lnTo>
                      <a:pt x="1166" y="1407"/>
                    </a:lnTo>
                    <a:lnTo>
                      <a:pt x="1164" y="1407"/>
                    </a:lnTo>
                    <a:lnTo>
                      <a:pt x="1164" y="1405"/>
                    </a:lnTo>
                    <a:lnTo>
                      <a:pt x="1164" y="1403"/>
                    </a:lnTo>
                    <a:lnTo>
                      <a:pt x="1166" y="1403"/>
                    </a:lnTo>
                    <a:lnTo>
                      <a:pt x="1168" y="1403"/>
                    </a:lnTo>
                    <a:lnTo>
                      <a:pt x="1166" y="1403"/>
                    </a:lnTo>
                    <a:lnTo>
                      <a:pt x="1164" y="1401"/>
                    </a:lnTo>
                    <a:lnTo>
                      <a:pt x="1166" y="1401"/>
                    </a:lnTo>
                    <a:lnTo>
                      <a:pt x="1168" y="1401"/>
                    </a:lnTo>
                    <a:lnTo>
                      <a:pt x="1166" y="1401"/>
                    </a:lnTo>
                    <a:lnTo>
                      <a:pt x="1168" y="1401"/>
                    </a:lnTo>
                    <a:lnTo>
                      <a:pt x="1169" y="1401"/>
                    </a:lnTo>
                    <a:lnTo>
                      <a:pt x="1169" y="1403"/>
                    </a:lnTo>
                    <a:lnTo>
                      <a:pt x="1171" y="1403"/>
                    </a:lnTo>
                    <a:lnTo>
                      <a:pt x="1173" y="1403"/>
                    </a:lnTo>
                    <a:lnTo>
                      <a:pt x="1174" y="1403"/>
                    </a:lnTo>
                    <a:lnTo>
                      <a:pt x="1173" y="1405"/>
                    </a:lnTo>
                    <a:lnTo>
                      <a:pt x="1174" y="1405"/>
                    </a:lnTo>
                    <a:lnTo>
                      <a:pt x="1174" y="1403"/>
                    </a:lnTo>
                    <a:lnTo>
                      <a:pt x="1176" y="1403"/>
                    </a:lnTo>
                    <a:lnTo>
                      <a:pt x="1176" y="1405"/>
                    </a:lnTo>
                    <a:lnTo>
                      <a:pt x="1176" y="1403"/>
                    </a:lnTo>
                    <a:lnTo>
                      <a:pt x="1178" y="1403"/>
                    </a:lnTo>
                    <a:lnTo>
                      <a:pt x="1176" y="1401"/>
                    </a:lnTo>
                    <a:lnTo>
                      <a:pt x="1178" y="1401"/>
                    </a:lnTo>
                    <a:lnTo>
                      <a:pt x="1176" y="1401"/>
                    </a:lnTo>
                    <a:lnTo>
                      <a:pt x="1176" y="1403"/>
                    </a:lnTo>
                    <a:lnTo>
                      <a:pt x="1174" y="1401"/>
                    </a:lnTo>
                    <a:lnTo>
                      <a:pt x="1174" y="1400"/>
                    </a:lnTo>
                    <a:lnTo>
                      <a:pt x="1176" y="1400"/>
                    </a:lnTo>
                    <a:lnTo>
                      <a:pt x="1176" y="1398"/>
                    </a:lnTo>
                    <a:lnTo>
                      <a:pt x="1178" y="1400"/>
                    </a:lnTo>
                    <a:lnTo>
                      <a:pt x="1176" y="1400"/>
                    </a:lnTo>
                    <a:lnTo>
                      <a:pt x="1178" y="1400"/>
                    </a:lnTo>
                    <a:lnTo>
                      <a:pt x="1178" y="1398"/>
                    </a:lnTo>
                    <a:lnTo>
                      <a:pt x="1179" y="1398"/>
                    </a:lnTo>
                    <a:lnTo>
                      <a:pt x="1178" y="1398"/>
                    </a:lnTo>
                    <a:lnTo>
                      <a:pt x="1176" y="1398"/>
                    </a:lnTo>
                    <a:lnTo>
                      <a:pt x="1176" y="1396"/>
                    </a:lnTo>
                    <a:lnTo>
                      <a:pt x="1174" y="1396"/>
                    </a:lnTo>
                    <a:lnTo>
                      <a:pt x="1174" y="1395"/>
                    </a:lnTo>
                    <a:lnTo>
                      <a:pt x="1173" y="1395"/>
                    </a:lnTo>
                    <a:lnTo>
                      <a:pt x="1174" y="1393"/>
                    </a:lnTo>
                    <a:lnTo>
                      <a:pt x="1174" y="1391"/>
                    </a:lnTo>
                    <a:lnTo>
                      <a:pt x="1176" y="1393"/>
                    </a:lnTo>
                    <a:close/>
                    <a:moveTo>
                      <a:pt x="1173" y="1259"/>
                    </a:moveTo>
                    <a:lnTo>
                      <a:pt x="1174" y="1259"/>
                    </a:lnTo>
                    <a:lnTo>
                      <a:pt x="1174" y="1260"/>
                    </a:lnTo>
                    <a:lnTo>
                      <a:pt x="1174" y="1262"/>
                    </a:lnTo>
                    <a:lnTo>
                      <a:pt x="1173" y="1262"/>
                    </a:lnTo>
                    <a:lnTo>
                      <a:pt x="1174" y="1262"/>
                    </a:lnTo>
                    <a:lnTo>
                      <a:pt x="1174" y="1264"/>
                    </a:lnTo>
                    <a:lnTo>
                      <a:pt x="1174" y="1262"/>
                    </a:lnTo>
                    <a:lnTo>
                      <a:pt x="1176" y="1264"/>
                    </a:lnTo>
                    <a:lnTo>
                      <a:pt x="1174" y="1265"/>
                    </a:lnTo>
                    <a:lnTo>
                      <a:pt x="1176" y="1265"/>
                    </a:lnTo>
                    <a:lnTo>
                      <a:pt x="1174" y="1265"/>
                    </a:lnTo>
                    <a:lnTo>
                      <a:pt x="1176" y="1267"/>
                    </a:lnTo>
                    <a:lnTo>
                      <a:pt x="1178" y="1267"/>
                    </a:lnTo>
                    <a:lnTo>
                      <a:pt x="1178" y="1269"/>
                    </a:lnTo>
                    <a:lnTo>
                      <a:pt x="1178" y="1270"/>
                    </a:lnTo>
                    <a:lnTo>
                      <a:pt x="1178" y="1272"/>
                    </a:lnTo>
                    <a:lnTo>
                      <a:pt x="1176" y="1272"/>
                    </a:lnTo>
                    <a:lnTo>
                      <a:pt x="1174" y="1272"/>
                    </a:lnTo>
                    <a:lnTo>
                      <a:pt x="1176" y="1272"/>
                    </a:lnTo>
                    <a:lnTo>
                      <a:pt x="1176" y="1274"/>
                    </a:lnTo>
                    <a:lnTo>
                      <a:pt x="1178" y="1276"/>
                    </a:lnTo>
                    <a:lnTo>
                      <a:pt x="1178" y="1277"/>
                    </a:lnTo>
                    <a:lnTo>
                      <a:pt x="1178" y="1279"/>
                    </a:lnTo>
                    <a:lnTo>
                      <a:pt x="1178" y="1281"/>
                    </a:lnTo>
                    <a:lnTo>
                      <a:pt x="1179" y="1282"/>
                    </a:lnTo>
                    <a:lnTo>
                      <a:pt x="1179" y="1284"/>
                    </a:lnTo>
                    <a:lnTo>
                      <a:pt x="1181" y="1282"/>
                    </a:lnTo>
                    <a:lnTo>
                      <a:pt x="1179" y="1282"/>
                    </a:lnTo>
                    <a:lnTo>
                      <a:pt x="1179" y="1281"/>
                    </a:lnTo>
                    <a:lnTo>
                      <a:pt x="1181" y="1281"/>
                    </a:lnTo>
                    <a:lnTo>
                      <a:pt x="1181" y="1282"/>
                    </a:lnTo>
                    <a:lnTo>
                      <a:pt x="1181" y="1284"/>
                    </a:lnTo>
                    <a:lnTo>
                      <a:pt x="1181" y="1286"/>
                    </a:lnTo>
                    <a:lnTo>
                      <a:pt x="1179" y="1286"/>
                    </a:lnTo>
                    <a:lnTo>
                      <a:pt x="1178" y="1288"/>
                    </a:lnTo>
                    <a:lnTo>
                      <a:pt x="1178" y="1286"/>
                    </a:lnTo>
                    <a:lnTo>
                      <a:pt x="1176" y="1286"/>
                    </a:lnTo>
                    <a:lnTo>
                      <a:pt x="1176" y="1284"/>
                    </a:lnTo>
                    <a:lnTo>
                      <a:pt x="1174" y="1284"/>
                    </a:lnTo>
                    <a:lnTo>
                      <a:pt x="1173" y="1284"/>
                    </a:lnTo>
                    <a:lnTo>
                      <a:pt x="1174" y="1282"/>
                    </a:lnTo>
                    <a:lnTo>
                      <a:pt x="1173" y="1284"/>
                    </a:lnTo>
                    <a:lnTo>
                      <a:pt x="1171" y="1284"/>
                    </a:lnTo>
                    <a:lnTo>
                      <a:pt x="1169" y="1282"/>
                    </a:lnTo>
                    <a:lnTo>
                      <a:pt x="1168" y="1282"/>
                    </a:lnTo>
                    <a:lnTo>
                      <a:pt x="1166" y="1282"/>
                    </a:lnTo>
                    <a:lnTo>
                      <a:pt x="1166" y="1281"/>
                    </a:lnTo>
                    <a:lnTo>
                      <a:pt x="1166" y="1279"/>
                    </a:lnTo>
                    <a:lnTo>
                      <a:pt x="1166" y="1281"/>
                    </a:lnTo>
                    <a:lnTo>
                      <a:pt x="1166" y="1282"/>
                    </a:lnTo>
                    <a:lnTo>
                      <a:pt x="1164" y="1282"/>
                    </a:lnTo>
                    <a:lnTo>
                      <a:pt x="1164" y="1281"/>
                    </a:lnTo>
                    <a:lnTo>
                      <a:pt x="1164" y="1279"/>
                    </a:lnTo>
                    <a:lnTo>
                      <a:pt x="1164" y="1277"/>
                    </a:lnTo>
                    <a:lnTo>
                      <a:pt x="1164" y="1276"/>
                    </a:lnTo>
                    <a:lnTo>
                      <a:pt x="1164" y="1274"/>
                    </a:lnTo>
                    <a:lnTo>
                      <a:pt x="1166" y="1274"/>
                    </a:lnTo>
                    <a:lnTo>
                      <a:pt x="1166" y="1272"/>
                    </a:lnTo>
                    <a:lnTo>
                      <a:pt x="1168" y="1272"/>
                    </a:lnTo>
                    <a:lnTo>
                      <a:pt x="1168" y="1270"/>
                    </a:lnTo>
                    <a:lnTo>
                      <a:pt x="1169" y="1272"/>
                    </a:lnTo>
                    <a:lnTo>
                      <a:pt x="1169" y="1270"/>
                    </a:lnTo>
                    <a:lnTo>
                      <a:pt x="1171" y="1270"/>
                    </a:lnTo>
                    <a:lnTo>
                      <a:pt x="1171" y="1272"/>
                    </a:lnTo>
                    <a:lnTo>
                      <a:pt x="1171" y="1274"/>
                    </a:lnTo>
                    <a:lnTo>
                      <a:pt x="1171" y="1276"/>
                    </a:lnTo>
                    <a:lnTo>
                      <a:pt x="1171" y="1277"/>
                    </a:lnTo>
                    <a:lnTo>
                      <a:pt x="1171" y="1279"/>
                    </a:lnTo>
                    <a:lnTo>
                      <a:pt x="1171" y="1277"/>
                    </a:lnTo>
                    <a:lnTo>
                      <a:pt x="1171" y="1276"/>
                    </a:lnTo>
                    <a:lnTo>
                      <a:pt x="1173" y="1276"/>
                    </a:lnTo>
                    <a:lnTo>
                      <a:pt x="1173" y="1277"/>
                    </a:lnTo>
                    <a:lnTo>
                      <a:pt x="1173" y="1279"/>
                    </a:lnTo>
                    <a:lnTo>
                      <a:pt x="1173" y="1277"/>
                    </a:lnTo>
                    <a:lnTo>
                      <a:pt x="1173" y="1276"/>
                    </a:lnTo>
                    <a:lnTo>
                      <a:pt x="1174" y="1276"/>
                    </a:lnTo>
                    <a:lnTo>
                      <a:pt x="1174" y="1274"/>
                    </a:lnTo>
                    <a:lnTo>
                      <a:pt x="1174" y="1272"/>
                    </a:lnTo>
                    <a:lnTo>
                      <a:pt x="1173" y="1274"/>
                    </a:lnTo>
                    <a:lnTo>
                      <a:pt x="1173" y="1272"/>
                    </a:lnTo>
                    <a:lnTo>
                      <a:pt x="1171" y="1272"/>
                    </a:lnTo>
                    <a:lnTo>
                      <a:pt x="1171" y="1270"/>
                    </a:lnTo>
                    <a:lnTo>
                      <a:pt x="1171" y="1272"/>
                    </a:lnTo>
                    <a:lnTo>
                      <a:pt x="1173" y="1272"/>
                    </a:lnTo>
                    <a:lnTo>
                      <a:pt x="1171" y="1270"/>
                    </a:lnTo>
                    <a:lnTo>
                      <a:pt x="1171" y="1269"/>
                    </a:lnTo>
                    <a:lnTo>
                      <a:pt x="1171" y="1267"/>
                    </a:lnTo>
                    <a:lnTo>
                      <a:pt x="1171" y="1265"/>
                    </a:lnTo>
                    <a:lnTo>
                      <a:pt x="1171" y="1264"/>
                    </a:lnTo>
                    <a:lnTo>
                      <a:pt x="1173" y="1264"/>
                    </a:lnTo>
                    <a:lnTo>
                      <a:pt x="1171" y="1264"/>
                    </a:lnTo>
                    <a:lnTo>
                      <a:pt x="1173" y="1262"/>
                    </a:lnTo>
                    <a:lnTo>
                      <a:pt x="1173" y="1260"/>
                    </a:lnTo>
                    <a:lnTo>
                      <a:pt x="1173" y="1259"/>
                    </a:lnTo>
                    <a:lnTo>
                      <a:pt x="1173" y="1257"/>
                    </a:lnTo>
                    <a:lnTo>
                      <a:pt x="1173" y="1259"/>
                    </a:lnTo>
                    <a:close/>
                    <a:moveTo>
                      <a:pt x="1188" y="1466"/>
                    </a:moveTo>
                    <a:lnTo>
                      <a:pt x="1190" y="1466"/>
                    </a:lnTo>
                    <a:lnTo>
                      <a:pt x="1190" y="1468"/>
                    </a:lnTo>
                    <a:lnTo>
                      <a:pt x="1191" y="1466"/>
                    </a:lnTo>
                    <a:lnTo>
                      <a:pt x="1193" y="1466"/>
                    </a:lnTo>
                    <a:lnTo>
                      <a:pt x="1193" y="1468"/>
                    </a:lnTo>
                    <a:lnTo>
                      <a:pt x="1195" y="1468"/>
                    </a:lnTo>
                    <a:lnTo>
                      <a:pt x="1195" y="1470"/>
                    </a:lnTo>
                    <a:lnTo>
                      <a:pt x="1193" y="1471"/>
                    </a:lnTo>
                    <a:lnTo>
                      <a:pt x="1195" y="1471"/>
                    </a:lnTo>
                    <a:lnTo>
                      <a:pt x="1195" y="1470"/>
                    </a:lnTo>
                    <a:lnTo>
                      <a:pt x="1196" y="1470"/>
                    </a:lnTo>
                    <a:lnTo>
                      <a:pt x="1196" y="1471"/>
                    </a:lnTo>
                    <a:lnTo>
                      <a:pt x="1198" y="1471"/>
                    </a:lnTo>
                    <a:lnTo>
                      <a:pt x="1198" y="1473"/>
                    </a:lnTo>
                    <a:lnTo>
                      <a:pt x="1200" y="1473"/>
                    </a:lnTo>
                    <a:lnTo>
                      <a:pt x="1202" y="1475"/>
                    </a:lnTo>
                    <a:lnTo>
                      <a:pt x="1203" y="1475"/>
                    </a:lnTo>
                    <a:lnTo>
                      <a:pt x="1203" y="1476"/>
                    </a:lnTo>
                    <a:lnTo>
                      <a:pt x="1205" y="1478"/>
                    </a:lnTo>
                    <a:lnTo>
                      <a:pt x="1205" y="1480"/>
                    </a:lnTo>
                    <a:lnTo>
                      <a:pt x="1203" y="1481"/>
                    </a:lnTo>
                    <a:lnTo>
                      <a:pt x="1205" y="1481"/>
                    </a:lnTo>
                    <a:lnTo>
                      <a:pt x="1205" y="1480"/>
                    </a:lnTo>
                    <a:lnTo>
                      <a:pt x="1205" y="1481"/>
                    </a:lnTo>
                    <a:lnTo>
                      <a:pt x="1205" y="1483"/>
                    </a:lnTo>
                    <a:lnTo>
                      <a:pt x="1205" y="1485"/>
                    </a:lnTo>
                    <a:lnTo>
                      <a:pt x="1207" y="1487"/>
                    </a:lnTo>
                    <a:lnTo>
                      <a:pt x="1207" y="1488"/>
                    </a:lnTo>
                    <a:lnTo>
                      <a:pt x="1208" y="1488"/>
                    </a:lnTo>
                    <a:lnTo>
                      <a:pt x="1208" y="1490"/>
                    </a:lnTo>
                    <a:lnTo>
                      <a:pt x="1207" y="1488"/>
                    </a:lnTo>
                    <a:lnTo>
                      <a:pt x="1208" y="1490"/>
                    </a:lnTo>
                    <a:lnTo>
                      <a:pt x="1207" y="1490"/>
                    </a:lnTo>
                    <a:lnTo>
                      <a:pt x="1205" y="1490"/>
                    </a:lnTo>
                    <a:lnTo>
                      <a:pt x="1207" y="1490"/>
                    </a:lnTo>
                    <a:lnTo>
                      <a:pt x="1207" y="1492"/>
                    </a:lnTo>
                    <a:lnTo>
                      <a:pt x="1205" y="1492"/>
                    </a:lnTo>
                    <a:lnTo>
                      <a:pt x="1205" y="1493"/>
                    </a:lnTo>
                    <a:lnTo>
                      <a:pt x="1207" y="1493"/>
                    </a:lnTo>
                    <a:lnTo>
                      <a:pt x="1205" y="1493"/>
                    </a:lnTo>
                    <a:lnTo>
                      <a:pt x="1203" y="1493"/>
                    </a:lnTo>
                    <a:lnTo>
                      <a:pt x="1203" y="1492"/>
                    </a:lnTo>
                    <a:lnTo>
                      <a:pt x="1203" y="1493"/>
                    </a:lnTo>
                    <a:lnTo>
                      <a:pt x="1205" y="1493"/>
                    </a:lnTo>
                    <a:lnTo>
                      <a:pt x="1203" y="1495"/>
                    </a:lnTo>
                    <a:lnTo>
                      <a:pt x="1205" y="1495"/>
                    </a:lnTo>
                    <a:lnTo>
                      <a:pt x="1205" y="1493"/>
                    </a:lnTo>
                    <a:lnTo>
                      <a:pt x="1207" y="1495"/>
                    </a:lnTo>
                    <a:lnTo>
                      <a:pt x="1207" y="1497"/>
                    </a:lnTo>
                    <a:lnTo>
                      <a:pt x="1205" y="1497"/>
                    </a:lnTo>
                    <a:lnTo>
                      <a:pt x="1205" y="1498"/>
                    </a:lnTo>
                    <a:lnTo>
                      <a:pt x="1205" y="1500"/>
                    </a:lnTo>
                    <a:lnTo>
                      <a:pt x="1205" y="1498"/>
                    </a:lnTo>
                    <a:lnTo>
                      <a:pt x="1203" y="1500"/>
                    </a:lnTo>
                    <a:lnTo>
                      <a:pt x="1205" y="1500"/>
                    </a:lnTo>
                    <a:lnTo>
                      <a:pt x="1203" y="1500"/>
                    </a:lnTo>
                    <a:lnTo>
                      <a:pt x="1203" y="1502"/>
                    </a:lnTo>
                    <a:lnTo>
                      <a:pt x="1202" y="1502"/>
                    </a:lnTo>
                    <a:lnTo>
                      <a:pt x="1202" y="1500"/>
                    </a:lnTo>
                    <a:lnTo>
                      <a:pt x="1202" y="1502"/>
                    </a:lnTo>
                    <a:lnTo>
                      <a:pt x="1200" y="1502"/>
                    </a:lnTo>
                    <a:lnTo>
                      <a:pt x="1200" y="1504"/>
                    </a:lnTo>
                    <a:lnTo>
                      <a:pt x="1198" y="1504"/>
                    </a:lnTo>
                    <a:lnTo>
                      <a:pt x="1198" y="1502"/>
                    </a:lnTo>
                    <a:lnTo>
                      <a:pt x="1198" y="1500"/>
                    </a:lnTo>
                    <a:lnTo>
                      <a:pt x="1200" y="1500"/>
                    </a:lnTo>
                    <a:lnTo>
                      <a:pt x="1200" y="1498"/>
                    </a:lnTo>
                    <a:lnTo>
                      <a:pt x="1202" y="1497"/>
                    </a:lnTo>
                    <a:lnTo>
                      <a:pt x="1202" y="1495"/>
                    </a:lnTo>
                    <a:lnTo>
                      <a:pt x="1200" y="1497"/>
                    </a:lnTo>
                    <a:lnTo>
                      <a:pt x="1200" y="1498"/>
                    </a:lnTo>
                    <a:lnTo>
                      <a:pt x="1198" y="1498"/>
                    </a:lnTo>
                    <a:lnTo>
                      <a:pt x="1198" y="1500"/>
                    </a:lnTo>
                    <a:lnTo>
                      <a:pt x="1198" y="1498"/>
                    </a:lnTo>
                    <a:lnTo>
                      <a:pt x="1198" y="1497"/>
                    </a:lnTo>
                    <a:lnTo>
                      <a:pt x="1200" y="1495"/>
                    </a:lnTo>
                    <a:lnTo>
                      <a:pt x="1202" y="1495"/>
                    </a:lnTo>
                    <a:lnTo>
                      <a:pt x="1202" y="1493"/>
                    </a:lnTo>
                    <a:lnTo>
                      <a:pt x="1200" y="1495"/>
                    </a:lnTo>
                    <a:lnTo>
                      <a:pt x="1200" y="1493"/>
                    </a:lnTo>
                    <a:lnTo>
                      <a:pt x="1200" y="1495"/>
                    </a:lnTo>
                    <a:lnTo>
                      <a:pt x="1198" y="1495"/>
                    </a:lnTo>
                    <a:lnTo>
                      <a:pt x="1196" y="1497"/>
                    </a:lnTo>
                    <a:lnTo>
                      <a:pt x="1196" y="1495"/>
                    </a:lnTo>
                    <a:lnTo>
                      <a:pt x="1196" y="1497"/>
                    </a:lnTo>
                    <a:lnTo>
                      <a:pt x="1196" y="1498"/>
                    </a:lnTo>
                    <a:lnTo>
                      <a:pt x="1195" y="1497"/>
                    </a:lnTo>
                    <a:lnTo>
                      <a:pt x="1193" y="1497"/>
                    </a:lnTo>
                    <a:lnTo>
                      <a:pt x="1195" y="1497"/>
                    </a:lnTo>
                    <a:lnTo>
                      <a:pt x="1195" y="1495"/>
                    </a:lnTo>
                    <a:lnTo>
                      <a:pt x="1195" y="1493"/>
                    </a:lnTo>
                    <a:lnTo>
                      <a:pt x="1196" y="1493"/>
                    </a:lnTo>
                    <a:lnTo>
                      <a:pt x="1198" y="1493"/>
                    </a:lnTo>
                    <a:lnTo>
                      <a:pt x="1198" y="1492"/>
                    </a:lnTo>
                    <a:lnTo>
                      <a:pt x="1196" y="1493"/>
                    </a:lnTo>
                    <a:lnTo>
                      <a:pt x="1196" y="1492"/>
                    </a:lnTo>
                    <a:lnTo>
                      <a:pt x="1198" y="1492"/>
                    </a:lnTo>
                    <a:lnTo>
                      <a:pt x="1198" y="1490"/>
                    </a:lnTo>
                    <a:lnTo>
                      <a:pt x="1200" y="1490"/>
                    </a:lnTo>
                    <a:lnTo>
                      <a:pt x="1200" y="1488"/>
                    </a:lnTo>
                    <a:lnTo>
                      <a:pt x="1200" y="1490"/>
                    </a:lnTo>
                    <a:lnTo>
                      <a:pt x="1200" y="1492"/>
                    </a:lnTo>
                    <a:lnTo>
                      <a:pt x="1198" y="1492"/>
                    </a:lnTo>
                    <a:lnTo>
                      <a:pt x="1200" y="1490"/>
                    </a:lnTo>
                    <a:lnTo>
                      <a:pt x="1202" y="1490"/>
                    </a:lnTo>
                    <a:lnTo>
                      <a:pt x="1200" y="1490"/>
                    </a:lnTo>
                    <a:lnTo>
                      <a:pt x="1202" y="1488"/>
                    </a:lnTo>
                    <a:lnTo>
                      <a:pt x="1203" y="1487"/>
                    </a:lnTo>
                    <a:lnTo>
                      <a:pt x="1202" y="1487"/>
                    </a:lnTo>
                    <a:lnTo>
                      <a:pt x="1202" y="1488"/>
                    </a:lnTo>
                    <a:lnTo>
                      <a:pt x="1200" y="1488"/>
                    </a:lnTo>
                    <a:lnTo>
                      <a:pt x="1202" y="1487"/>
                    </a:lnTo>
                    <a:lnTo>
                      <a:pt x="1203" y="1487"/>
                    </a:lnTo>
                    <a:lnTo>
                      <a:pt x="1205" y="1487"/>
                    </a:lnTo>
                    <a:lnTo>
                      <a:pt x="1203" y="1487"/>
                    </a:lnTo>
                    <a:lnTo>
                      <a:pt x="1205" y="1487"/>
                    </a:lnTo>
                    <a:lnTo>
                      <a:pt x="1203" y="1487"/>
                    </a:lnTo>
                    <a:lnTo>
                      <a:pt x="1205" y="1485"/>
                    </a:lnTo>
                    <a:lnTo>
                      <a:pt x="1203" y="1485"/>
                    </a:lnTo>
                    <a:lnTo>
                      <a:pt x="1202" y="1485"/>
                    </a:lnTo>
                    <a:lnTo>
                      <a:pt x="1200" y="1483"/>
                    </a:lnTo>
                    <a:lnTo>
                      <a:pt x="1202" y="1483"/>
                    </a:lnTo>
                    <a:lnTo>
                      <a:pt x="1200" y="1483"/>
                    </a:lnTo>
                    <a:lnTo>
                      <a:pt x="1202" y="1483"/>
                    </a:lnTo>
                    <a:lnTo>
                      <a:pt x="1202" y="1481"/>
                    </a:lnTo>
                    <a:lnTo>
                      <a:pt x="1203" y="1481"/>
                    </a:lnTo>
                    <a:lnTo>
                      <a:pt x="1205" y="1481"/>
                    </a:lnTo>
                    <a:lnTo>
                      <a:pt x="1203" y="1481"/>
                    </a:lnTo>
                    <a:lnTo>
                      <a:pt x="1202" y="1481"/>
                    </a:lnTo>
                    <a:lnTo>
                      <a:pt x="1203" y="1480"/>
                    </a:lnTo>
                    <a:lnTo>
                      <a:pt x="1202" y="1480"/>
                    </a:lnTo>
                    <a:lnTo>
                      <a:pt x="1200" y="1480"/>
                    </a:lnTo>
                    <a:lnTo>
                      <a:pt x="1198" y="1478"/>
                    </a:lnTo>
                    <a:lnTo>
                      <a:pt x="1196" y="1476"/>
                    </a:lnTo>
                    <a:lnTo>
                      <a:pt x="1196" y="1475"/>
                    </a:lnTo>
                    <a:lnTo>
                      <a:pt x="1195" y="1475"/>
                    </a:lnTo>
                    <a:lnTo>
                      <a:pt x="1195" y="1473"/>
                    </a:lnTo>
                    <a:lnTo>
                      <a:pt x="1193" y="1473"/>
                    </a:lnTo>
                    <a:lnTo>
                      <a:pt x="1195" y="1471"/>
                    </a:lnTo>
                    <a:lnTo>
                      <a:pt x="1193" y="1471"/>
                    </a:lnTo>
                    <a:lnTo>
                      <a:pt x="1191" y="1470"/>
                    </a:lnTo>
                    <a:lnTo>
                      <a:pt x="1190" y="1468"/>
                    </a:lnTo>
                    <a:lnTo>
                      <a:pt x="1188" y="1468"/>
                    </a:lnTo>
                    <a:lnTo>
                      <a:pt x="1188" y="1466"/>
                    </a:lnTo>
                    <a:close/>
                    <a:moveTo>
                      <a:pt x="1319" y="1626"/>
                    </a:moveTo>
                    <a:lnTo>
                      <a:pt x="1321" y="1626"/>
                    </a:lnTo>
                    <a:lnTo>
                      <a:pt x="1321" y="1628"/>
                    </a:lnTo>
                    <a:lnTo>
                      <a:pt x="1319" y="1628"/>
                    </a:lnTo>
                    <a:lnTo>
                      <a:pt x="1317" y="1629"/>
                    </a:lnTo>
                    <a:lnTo>
                      <a:pt x="1319" y="1629"/>
                    </a:lnTo>
                    <a:lnTo>
                      <a:pt x="1321" y="1629"/>
                    </a:lnTo>
                    <a:lnTo>
                      <a:pt x="1321" y="1628"/>
                    </a:lnTo>
                    <a:lnTo>
                      <a:pt x="1322" y="1629"/>
                    </a:lnTo>
                    <a:lnTo>
                      <a:pt x="1322" y="1631"/>
                    </a:lnTo>
                    <a:lnTo>
                      <a:pt x="1322" y="1629"/>
                    </a:lnTo>
                    <a:lnTo>
                      <a:pt x="1324" y="1629"/>
                    </a:lnTo>
                    <a:lnTo>
                      <a:pt x="1322" y="1629"/>
                    </a:lnTo>
                    <a:lnTo>
                      <a:pt x="1324" y="1629"/>
                    </a:lnTo>
                    <a:lnTo>
                      <a:pt x="1322" y="1631"/>
                    </a:lnTo>
                    <a:lnTo>
                      <a:pt x="1321" y="1631"/>
                    </a:lnTo>
                    <a:lnTo>
                      <a:pt x="1321" y="1629"/>
                    </a:lnTo>
                    <a:lnTo>
                      <a:pt x="1319" y="1629"/>
                    </a:lnTo>
                    <a:lnTo>
                      <a:pt x="1321" y="1631"/>
                    </a:lnTo>
                    <a:lnTo>
                      <a:pt x="1321" y="1633"/>
                    </a:lnTo>
                    <a:lnTo>
                      <a:pt x="1319" y="1633"/>
                    </a:lnTo>
                    <a:lnTo>
                      <a:pt x="1317" y="1633"/>
                    </a:lnTo>
                    <a:lnTo>
                      <a:pt x="1319" y="1633"/>
                    </a:lnTo>
                    <a:lnTo>
                      <a:pt x="1317" y="1633"/>
                    </a:lnTo>
                    <a:lnTo>
                      <a:pt x="1315" y="1633"/>
                    </a:lnTo>
                    <a:lnTo>
                      <a:pt x="1315" y="1631"/>
                    </a:lnTo>
                    <a:lnTo>
                      <a:pt x="1315" y="1629"/>
                    </a:lnTo>
                    <a:lnTo>
                      <a:pt x="1314" y="1629"/>
                    </a:lnTo>
                    <a:lnTo>
                      <a:pt x="1315" y="1631"/>
                    </a:lnTo>
                    <a:lnTo>
                      <a:pt x="1314" y="1631"/>
                    </a:lnTo>
                    <a:lnTo>
                      <a:pt x="1314" y="1633"/>
                    </a:lnTo>
                    <a:lnTo>
                      <a:pt x="1312" y="1633"/>
                    </a:lnTo>
                    <a:lnTo>
                      <a:pt x="1310" y="1633"/>
                    </a:lnTo>
                    <a:lnTo>
                      <a:pt x="1312" y="1633"/>
                    </a:lnTo>
                    <a:lnTo>
                      <a:pt x="1310" y="1635"/>
                    </a:lnTo>
                    <a:lnTo>
                      <a:pt x="1309" y="1635"/>
                    </a:lnTo>
                    <a:lnTo>
                      <a:pt x="1310" y="1635"/>
                    </a:lnTo>
                    <a:lnTo>
                      <a:pt x="1309" y="1635"/>
                    </a:lnTo>
                    <a:lnTo>
                      <a:pt x="1309" y="1633"/>
                    </a:lnTo>
                    <a:lnTo>
                      <a:pt x="1307" y="1633"/>
                    </a:lnTo>
                    <a:lnTo>
                      <a:pt x="1307" y="1631"/>
                    </a:lnTo>
                    <a:lnTo>
                      <a:pt x="1307" y="1633"/>
                    </a:lnTo>
                    <a:lnTo>
                      <a:pt x="1305" y="1633"/>
                    </a:lnTo>
                    <a:lnTo>
                      <a:pt x="1307" y="1635"/>
                    </a:lnTo>
                    <a:lnTo>
                      <a:pt x="1307" y="1633"/>
                    </a:lnTo>
                    <a:lnTo>
                      <a:pt x="1309" y="1635"/>
                    </a:lnTo>
                    <a:lnTo>
                      <a:pt x="1310" y="1635"/>
                    </a:lnTo>
                    <a:lnTo>
                      <a:pt x="1310" y="1636"/>
                    </a:lnTo>
                    <a:lnTo>
                      <a:pt x="1312" y="1635"/>
                    </a:lnTo>
                    <a:lnTo>
                      <a:pt x="1314" y="1635"/>
                    </a:lnTo>
                    <a:lnTo>
                      <a:pt x="1315" y="1636"/>
                    </a:lnTo>
                    <a:lnTo>
                      <a:pt x="1314" y="1636"/>
                    </a:lnTo>
                    <a:lnTo>
                      <a:pt x="1315" y="1636"/>
                    </a:lnTo>
                    <a:lnTo>
                      <a:pt x="1314" y="1638"/>
                    </a:lnTo>
                    <a:lnTo>
                      <a:pt x="1315" y="1636"/>
                    </a:lnTo>
                    <a:lnTo>
                      <a:pt x="1317" y="1636"/>
                    </a:lnTo>
                    <a:lnTo>
                      <a:pt x="1319" y="1636"/>
                    </a:lnTo>
                    <a:lnTo>
                      <a:pt x="1321" y="1635"/>
                    </a:lnTo>
                    <a:lnTo>
                      <a:pt x="1319" y="1636"/>
                    </a:lnTo>
                    <a:lnTo>
                      <a:pt x="1321" y="1636"/>
                    </a:lnTo>
                    <a:lnTo>
                      <a:pt x="1322" y="1638"/>
                    </a:lnTo>
                    <a:lnTo>
                      <a:pt x="1321" y="1638"/>
                    </a:lnTo>
                    <a:lnTo>
                      <a:pt x="1319" y="1638"/>
                    </a:lnTo>
                    <a:lnTo>
                      <a:pt x="1321" y="1638"/>
                    </a:lnTo>
                    <a:lnTo>
                      <a:pt x="1321" y="1640"/>
                    </a:lnTo>
                    <a:lnTo>
                      <a:pt x="1322" y="1640"/>
                    </a:lnTo>
                    <a:lnTo>
                      <a:pt x="1321" y="1640"/>
                    </a:lnTo>
                    <a:lnTo>
                      <a:pt x="1322" y="1641"/>
                    </a:lnTo>
                    <a:lnTo>
                      <a:pt x="1321" y="1641"/>
                    </a:lnTo>
                    <a:lnTo>
                      <a:pt x="1321" y="1640"/>
                    </a:lnTo>
                    <a:lnTo>
                      <a:pt x="1321" y="1641"/>
                    </a:lnTo>
                    <a:lnTo>
                      <a:pt x="1319" y="1641"/>
                    </a:lnTo>
                    <a:lnTo>
                      <a:pt x="1319" y="1640"/>
                    </a:lnTo>
                    <a:lnTo>
                      <a:pt x="1317" y="1640"/>
                    </a:lnTo>
                    <a:lnTo>
                      <a:pt x="1317" y="1638"/>
                    </a:lnTo>
                    <a:lnTo>
                      <a:pt x="1317" y="1640"/>
                    </a:lnTo>
                    <a:lnTo>
                      <a:pt x="1315" y="1640"/>
                    </a:lnTo>
                    <a:lnTo>
                      <a:pt x="1317" y="1640"/>
                    </a:lnTo>
                    <a:lnTo>
                      <a:pt x="1315" y="1640"/>
                    </a:lnTo>
                    <a:lnTo>
                      <a:pt x="1315" y="1641"/>
                    </a:lnTo>
                    <a:lnTo>
                      <a:pt x="1317" y="1641"/>
                    </a:lnTo>
                    <a:lnTo>
                      <a:pt x="1319" y="1641"/>
                    </a:lnTo>
                    <a:lnTo>
                      <a:pt x="1319" y="1643"/>
                    </a:lnTo>
                    <a:lnTo>
                      <a:pt x="1317" y="1643"/>
                    </a:lnTo>
                    <a:lnTo>
                      <a:pt x="1319" y="1643"/>
                    </a:lnTo>
                    <a:lnTo>
                      <a:pt x="1317" y="1645"/>
                    </a:lnTo>
                    <a:lnTo>
                      <a:pt x="1317" y="1643"/>
                    </a:lnTo>
                    <a:lnTo>
                      <a:pt x="1315" y="1643"/>
                    </a:lnTo>
                    <a:lnTo>
                      <a:pt x="1314" y="1645"/>
                    </a:lnTo>
                    <a:lnTo>
                      <a:pt x="1315" y="1646"/>
                    </a:lnTo>
                    <a:lnTo>
                      <a:pt x="1314" y="1645"/>
                    </a:lnTo>
                    <a:lnTo>
                      <a:pt x="1314" y="1643"/>
                    </a:lnTo>
                    <a:lnTo>
                      <a:pt x="1312" y="1641"/>
                    </a:lnTo>
                    <a:lnTo>
                      <a:pt x="1312" y="1643"/>
                    </a:lnTo>
                    <a:lnTo>
                      <a:pt x="1312" y="1645"/>
                    </a:lnTo>
                    <a:lnTo>
                      <a:pt x="1314" y="1645"/>
                    </a:lnTo>
                    <a:lnTo>
                      <a:pt x="1312" y="1645"/>
                    </a:lnTo>
                    <a:lnTo>
                      <a:pt x="1310" y="1643"/>
                    </a:lnTo>
                    <a:lnTo>
                      <a:pt x="1312" y="1643"/>
                    </a:lnTo>
                    <a:lnTo>
                      <a:pt x="1312" y="1641"/>
                    </a:lnTo>
                    <a:lnTo>
                      <a:pt x="1312" y="1640"/>
                    </a:lnTo>
                    <a:lnTo>
                      <a:pt x="1314" y="1641"/>
                    </a:lnTo>
                    <a:lnTo>
                      <a:pt x="1312" y="1640"/>
                    </a:lnTo>
                    <a:lnTo>
                      <a:pt x="1314" y="1640"/>
                    </a:lnTo>
                    <a:lnTo>
                      <a:pt x="1312" y="1638"/>
                    </a:lnTo>
                    <a:lnTo>
                      <a:pt x="1312" y="1640"/>
                    </a:lnTo>
                    <a:lnTo>
                      <a:pt x="1310" y="1640"/>
                    </a:lnTo>
                    <a:lnTo>
                      <a:pt x="1310" y="1638"/>
                    </a:lnTo>
                    <a:lnTo>
                      <a:pt x="1310" y="1636"/>
                    </a:lnTo>
                    <a:lnTo>
                      <a:pt x="1312" y="1636"/>
                    </a:lnTo>
                    <a:lnTo>
                      <a:pt x="1310" y="1636"/>
                    </a:lnTo>
                    <a:lnTo>
                      <a:pt x="1309" y="1636"/>
                    </a:lnTo>
                    <a:lnTo>
                      <a:pt x="1310" y="1636"/>
                    </a:lnTo>
                    <a:lnTo>
                      <a:pt x="1310" y="1638"/>
                    </a:lnTo>
                    <a:lnTo>
                      <a:pt x="1310" y="1640"/>
                    </a:lnTo>
                    <a:lnTo>
                      <a:pt x="1310" y="1638"/>
                    </a:lnTo>
                    <a:lnTo>
                      <a:pt x="1309" y="1638"/>
                    </a:lnTo>
                    <a:lnTo>
                      <a:pt x="1309" y="1640"/>
                    </a:lnTo>
                    <a:lnTo>
                      <a:pt x="1307" y="1640"/>
                    </a:lnTo>
                    <a:lnTo>
                      <a:pt x="1307" y="1638"/>
                    </a:lnTo>
                    <a:lnTo>
                      <a:pt x="1307" y="1640"/>
                    </a:lnTo>
                    <a:lnTo>
                      <a:pt x="1307" y="1641"/>
                    </a:lnTo>
                    <a:lnTo>
                      <a:pt x="1307" y="1640"/>
                    </a:lnTo>
                    <a:lnTo>
                      <a:pt x="1305" y="1640"/>
                    </a:lnTo>
                    <a:lnTo>
                      <a:pt x="1305" y="1638"/>
                    </a:lnTo>
                    <a:lnTo>
                      <a:pt x="1305" y="1636"/>
                    </a:lnTo>
                    <a:lnTo>
                      <a:pt x="1307" y="1636"/>
                    </a:lnTo>
                    <a:lnTo>
                      <a:pt x="1305" y="1636"/>
                    </a:lnTo>
                    <a:lnTo>
                      <a:pt x="1304" y="1636"/>
                    </a:lnTo>
                    <a:lnTo>
                      <a:pt x="1304" y="1638"/>
                    </a:lnTo>
                    <a:lnTo>
                      <a:pt x="1302" y="1638"/>
                    </a:lnTo>
                    <a:lnTo>
                      <a:pt x="1302" y="1636"/>
                    </a:lnTo>
                    <a:lnTo>
                      <a:pt x="1300" y="1636"/>
                    </a:lnTo>
                    <a:lnTo>
                      <a:pt x="1300" y="1638"/>
                    </a:lnTo>
                    <a:lnTo>
                      <a:pt x="1300" y="1636"/>
                    </a:lnTo>
                    <a:lnTo>
                      <a:pt x="1298" y="1638"/>
                    </a:lnTo>
                    <a:lnTo>
                      <a:pt x="1298" y="1636"/>
                    </a:lnTo>
                    <a:lnTo>
                      <a:pt x="1297" y="1636"/>
                    </a:lnTo>
                    <a:lnTo>
                      <a:pt x="1297" y="1635"/>
                    </a:lnTo>
                    <a:lnTo>
                      <a:pt x="1298" y="1635"/>
                    </a:lnTo>
                    <a:lnTo>
                      <a:pt x="1297" y="1635"/>
                    </a:lnTo>
                    <a:lnTo>
                      <a:pt x="1297" y="1633"/>
                    </a:lnTo>
                    <a:lnTo>
                      <a:pt x="1298" y="1633"/>
                    </a:lnTo>
                    <a:lnTo>
                      <a:pt x="1298" y="1631"/>
                    </a:lnTo>
                    <a:lnTo>
                      <a:pt x="1297" y="1631"/>
                    </a:lnTo>
                    <a:lnTo>
                      <a:pt x="1297" y="1629"/>
                    </a:lnTo>
                    <a:lnTo>
                      <a:pt x="1298" y="1629"/>
                    </a:lnTo>
                    <a:lnTo>
                      <a:pt x="1300" y="1629"/>
                    </a:lnTo>
                    <a:lnTo>
                      <a:pt x="1300" y="1631"/>
                    </a:lnTo>
                    <a:lnTo>
                      <a:pt x="1300" y="1629"/>
                    </a:lnTo>
                    <a:lnTo>
                      <a:pt x="1302" y="1629"/>
                    </a:lnTo>
                    <a:lnTo>
                      <a:pt x="1302" y="1628"/>
                    </a:lnTo>
                    <a:lnTo>
                      <a:pt x="1302" y="1629"/>
                    </a:lnTo>
                    <a:lnTo>
                      <a:pt x="1302" y="1631"/>
                    </a:lnTo>
                    <a:lnTo>
                      <a:pt x="1304" y="1631"/>
                    </a:lnTo>
                    <a:lnTo>
                      <a:pt x="1304" y="1629"/>
                    </a:lnTo>
                    <a:lnTo>
                      <a:pt x="1305" y="1628"/>
                    </a:lnTo>
                    <a:lnTo>
                      <a:pt x="1305" y="1629"/>
                    </a:lnTo>
                    <a:lnTo>
                      <a:pt x="1307" y="1629"/>
                    </a:lnTo>
                    <a:lnTo>
                      <a:pt x="1307" y="1631"/>
                    </a:lnTo>
                    <a:lnTo>
                      <a:pt x="1305" y="1631"/>
                    </a:lnTo>
                    <a:lnTo>
                      <a:pt x="1307" y="1631"/>
                    </a:lnTo>
                    <a:lnTo>
                      <a:pt x="1309" y="1631"/>
                    </a:lnTo>
                    <a:lnTo>
                      <a:pt x="1309" y="1629"/>
                    </a:lnTo>
                    <a:lnTo>
                      <a:pt x="1309" y="1631"/>
                    </a:lnTo>
                    <a:lnTo>
                      <a:pt x="1310" y="1631"/>
                    </a:lnTo>
                    <a:lnTo>
                      <a:pt x="1312" y="1631"/>
                    </a:lnTo>
                    <a:lnTo>
                      <a:pt x="1310" y="1631"/>
                    </a:lnTo>
                    <a:lnTo>
                      <a:pt x="1310" y="1629"/>
                    </a:lnTo>
                    <a:lnTo>
                      <a:pt x="1312" y="1629"/>
                    </a:lnTo>
                    <a:lnTo>
                      <a:pt x="1312" y="1628"/>
                    </a:lnTo>
                    <a:lnTo>
                      <a:pt x="1314" y="1628"/>
                    </a:lnTo>
                    <a:lnTo>
                      <a:pt x="1315" y="1628"/>
                    </a:lnTo>
                    <a:lnTo>
                      <a:pt x="1315" y="1626"/>
                    </a:lnTo>
                    <a:lnTo>
                      <a:pt x="1317" y="1628"/>
                    </a:lnTo>
                    <a:lnTo>
                      <a:pt x="1317" y="1626"/>
                    </a:lnTo>
                    <a:lnTo>
                      <a:pt x="1319" y="1626"/>
                    </a:lnTo>
                    <a:close/>
                    <a:moveTo>
                      <a:pt x="1203" y="1104"/>
                    </a:moveTo>
                    <a:lnTo>
                      <a:pt x="1203" y="1105"/>
                    </a:lnTo>
                    <a:lnTo>
                      <a:pt x="1203" y="1104"/>
                    </a:lnTo>
                    <a:lnTo>
                      <a:pt x="1203" y="1105"/>
                    </a:lnTo>
                    <a:lnTo>
                      <a:pt x="1205" y="1105"/>
                    </a:lnTo>
                    <a:lnTo>
                      <a:pt x="1203" y="1105"/>
                    </a:lnTo>
                    <a:lnTo>
                      <a:pt x="1205" y="1107"/>
                    </a:lnTo>
                    <a:lnTo>
                      <a:pt x="1207" y="1107"/>
                    </a:lnTo>
                    <a:lnTo>
                      <a:pt x="1207" y="1109"/>
                    </a:lnTo>
                    <a:lnTo>
                      <a:pt x="1207" y="1111"/>
                    </a:lnTo>
                    <a:lnTo>
                      <a:pt x="1207" y="1112"/>
                    </a:lnTo>
                    <a:lnTo>
                      <a:pt x="1207" y="1114"/>
                    </a:lnTo>
                    <a:lnTo>
                      <a:pt x="1205" y="1114"/>
                    </a:lnTo>
                    <a:lnTo>
                      <a:pt x="1207" y="1114"/>
                    </a:lnTo>
                    <a:lnTo>
                      <a:pt x="1207" y="1116"/>
                    </a:lnTo>
                    <a:lnTo>
                      <a:pt x="1205" y="1116"/>
                    </a:lnTo>
                    <a:lnTo>
                      <a:pt x="1207" y="1116"/>
                    </a:lnTo>
                    <a:lnTo>
                      <a:pt x="1207" y="1117"/>
                    </a:lnTo>
                    <a:lnTo>
                      <a:pt x="1205" y="1117"/>
                    </a:lnTo>
                    <a:lnTo>
                      <a:pt x="1205" y="1119"/>
                    </a:lnTo>
                    <a:lnTo>
                      <a:pt x="1205" y="1117"/>
                    </a:lnTo>
                    <a:lnTo>
                      <a:pt x="1203" y="1117"/>
                    </a:lnTo>
                    <a:lnTo>
                      <a:pt x="1203" y="1116"/>
                    </a:lnTo>
                    <a:lnTo>
                      <a:pt x="1202" y="1116"/>
                    </a:lnTo>
                    <a:lnTo>
                      <a:pt x="1200" y="1116"/>
                    </a:lnTo>
                    <a:lnTo>
                      <a:pt x="1198" y="1116"/>
                    </a:lnTo>
                    <a:lnTo>
                      <a:pt x="1198" y="1117"/>
                    </a:lnTo>
                    <a:lnTo>
                      <a:pt x="1196" y="1116"/>
                    </a:lnTo>
                    <a:lnTo>
                      <a:pt x="1196" y="1114"/>
                    </a:lnTo>
                    <a:lnTo>
                      <a:pt x="1198" y="1114"/>
                    </a:lnTo>
                    <a:lnTo>
                      <a:pt x="1200" y="1114"/>
                    </a:lnTo>
                    <a:lnTo>
                      <a:pt x="1202" y="1114"/>
                    </a:lnTo>
                    <a:lnTo>
                      <a:pt x="1200" y="1114"/>
                    </a:lnTo>
                    <a:lnTo>
                      <a:pt x="1198" y="1114"/>
                    </a:lnTo>
                    <a:lnTo>
                      <a:pt x="1196" y="1114"/>
                    </a:lnTo>
                    <a:lnTo>
                      <a:pt x="1195" y="1114"/>
                    </a:lnTo>
                    <a:lnTo>
                      <a:pt x="1195" y="1112"/>
                    </a:lnTo>
                    <a:lnTo>
                      <a:pt x="1195" y="1114"/>
                    </a:lnTo>
                    <a:lnTo>
                      <a:pt x="1195" y="1112"/>
                    </a:lnTo>
                    <a:lnTo>
                      <a:pt x="1193" y="1112"/>
                    </a:lnTo>
                    <a:lnTo>
                      <a:pt x="1195" y="1112"/>
                    </a:lnTo>
                    <a:lnTo>
                      <a:pt x="1195" y="1111"/>
                    </a:lnTo>
                    <a:lnTo>
                      <a:pt x="1193" y="1112"/>
                    </a:lnTo>
                    <a:lnTo>
                      <a:pt x="1191" y="1112"/>
                    </a:lnTo>
                    <a:lnTo>
                      <a:pt x="1191" y="1111"/>
                    </a:lnTo>
                    <a:lnTo>
                      <a:pt x="1191" y="1109"/>
                    </a:lnTo>
                    <a:lnTo>
                      <a:pt x="1191" y="1107"/>
                    </a:lnTo>
                    <a:lnTo>
                      <a:pt x="1191" y="1109"/>
                    </a:lnTo>
                    <a:lnTo>
                      <a:pt x="1191" y="1111"/>
                    </a:lnTo>
                    <a:lnTo>
                      <a:pt x="1191" y="1112"/>
                    </a:lnTo>
                    <a:lnTo>
                      <a:pt x="1190" y="1112"/>
                    </a:lnTo>
                    <a:lnTo>
                      <a:pt x="1188" y="1111"/>
                    </a:lnTo>
                    <a:lnTo>
                      <a:pt x="1188" y="1109"/>
                    </a:lnTo>
                    <a:lnTo>
                      <a:pt x="1188" y="1107"/>
                    </a:lnTo>
                    <a:lnTo>
                      <a:pt x="1190" y="1107"/>
                    </a:lnTo>
                    <a:lnTo>
                      <a:pt x="1191" y="1105"/>
                    </a:lnTo>
                    <a:lnTo>
                      <a:pt x="1193" y="1105"/>
                    </a:lnTo>
                    <a:lnTo>
                      <a:pt x="1193" y="1107"/>
                    </a:lnTo>
                    <a:lnTo>
                      <a:pt x="1193" y="1105"/>
                    </a:lnTo>
                    <a:lnTo>
                      <a:pt x="1195" y="1105"/>
                    </a:lnTo>
                    <a:lnTo>
                      <a:pt x="1195" y="1107"/>
                    </a:lnTo>
                    <a:lnTo>
                      <a:pt x="1195" y="1105"/>
                    </a:lnTo>
                    <a:lnTo>
                      <a:pt x="1196" y="1105"/>
                    </a:lnTo>
                    <a:lnTo>
                      <a:pt x="1198" y="1105"/>
                    </a:lnTo>
                    <a:lnTo>
                      <a:pt x="1200" y="1104"/>
                    </a:lnTo>
                    <a:lnTo>
                      <a:pt x="1202" y="1104"/>
                    </a:lnTo>
                    <a:lnTo>
                      <a:pt x="1203" y="1104"/>
                    </a:lnTo>
                    <a:close/>
                    <a:moveTo>
                      <a:pt x="1179" y="1376"/>
                    </a:moveTo>
                    <a:lnTo>
                      <a:pt x="1179" y="1378"/>
                    </a:lnTo>
                    <a:lnTo>
                      <a:pt x="1179" y="1379"/>
                    </a:lnTo>
                    <a:lnTo>
                      <a:pt x="1181" y="1379"/>
                    </a:lnTo>
                    <a:lnTo>
                      <a:pt x="1183" y="1379"/>
                    </a:lnTo>
                    <a:lnTo>
                      <a:pt x="1183" y="1378"/>
                    </a:lnTo>
                    <a:lnTo>
                      <a:pt x="1185" y="1379"/>
                    </a:lnTo>
                    <a:lnTo>
                      <a:pt x="1185" y="1381"/>
                    </a:lnTo>
                    <a:lnTo>
                      <a:pt x="1185" y="1383"/>
                    </a:lnTo>
                    <a:lnTo>
                      <a:pt x="1186" y="1384"/>
                    </a:lnTo>
                    <a:lnTo>
                      <a:pt x="1185" y="1384"/>
                    </a:lnTo>
                    <a:lnTo>
                      <a:pt x="1186" y="1384"/>
                    </a:lnTo>
                    <a:lnTo>
                      <a:pt x="1186" y="1386"/>
                    </a:lnTo>
                    <a:lnTo>
                      <a:pt x="1186" y="1388"/>
                    </a:lnTo>
                    <a:lnTo>
                      <a:pt x="1186" y="1386"/>
                    </a:lnTo>
                    <a:lnTo>
                      <a:pt x="1188" y="1388"/>
                    </a:lnTo>
                    <a:lnTo>
                      <a:pt x="1186" y="1388"/>
                    </a:lnTo>
                    <a:lnTo>
                      <a:pt x="1188" y="1388"/>
                    </a:lnTo>
                    <a:lnTo>
                      <a:pt x="1188" y="1390"/>
                    </a:lnTo>
                    <a:lnTo>
                      <a:pt x="1190" y="1390"/>
                    </a:lnTo>
                    <a:lnTo>
                      <a:pt x="1190" y="1391"/>
                    </a:lnTo>
                    <a:lnTo>
                      <a:pt x="1188" y="1391"/>
                    </a:lnTo>
                    <a:lnTo>
                      <a:pt x="1186" y="1390"/>
                    </a:lnTo>
                    <a:lnTo>
                      <a:pt x="1186" y="1391"/>
                    </a:lnTo>
                    <a:lnTo>
                      <a:pt x="1186" y="1390"/>
                    </a:lnTo>
                    <a:lnTo>
                      <a:pt x="1185" y="1390"/>
                    </a:lnTo>
                    <a:lnTo>
                      <a:pt x="1186" y="1391"/>
                    </a:lnTo>
                    <a:lnTo>
                      <a:pt x="1188" y="1391"/>
                    </a:lnTo>
                    <a:lnTo>
                      <a:pt x="1188" y="1393"/>
                    </a:lnTo>
                    <a:lnTo>
                      <a:pt x="1186" y="1391"/>
                    </a:lnTo>
                    <a:lnTo>
                      <a:pt x="1188" y="1393"/>
                    </a:lnTo>
                    <a:lnTo>
                      <a:pt x="1188" y="1391"/>
                    </a:lnTo>
                    <a:lnTo>
                      <a:pt x="1190" y="1391"/>
                    </a:lnTo>
                    <a:lnTo>
                      <a:pt x="1190" y="1393"/>
                    </a:lnTo>
                    <a:lnTo>
                      <a:pt x="1190" y="1395"/>
                    </a:lnTo>
                    <a:lnTo>
                      <a:pt x="1191" y="1395"/>
                    </a:lnTo>
                    <a:lnTo>
                      <a:pt x="1191" y="1396"/>
                    </a:lnTo>
                    <a:lnTo>
                      <a:pt x="1191" y="1398"/>
                    </a:lnTo>
                    <a:lnTo>
                      <a:pt x="1191" y="1400"/>
                    </a:lnTo>
                    <a:lnTo>
                      <a:pt x="1190" y="1400"/>
                    </a:lnTo>
                    <a:lnTo>
                      <a:pt x="1190" y="1398"/>
                    </a:lnTo>
                    <a:lnTo>
                      <a:pt x="1190" y="1400"/>
                    </a:lnTo>
                    <a:lnTo>
                      <a:pt x="1188" y="1400"/>
                    </a:lnTo>
                    <a:lnTo>
                      <a:pt x="1188" y="1398"/>
                    </a:lnTo>
                    <a:lnTo>
                      <a:pt x="1188" y="1400"/>
                    </a:lnTo>
                    <a:lnTo>
                      <a:pt x="1188" y="1398"/>
                    </a:lnTo>
                    <a:lnTo>
                      <a:pt x="1190" y="1398"/>
                    </a:lnTo>
                    <a:lnTo>
                      <a:pt x="1188" y="1396"/>
                    </a:lnTo>
                    <a:lnTo>
                      <a:pt x="1188" y="1398"/>
                    </a:lnTo>
                    <a:lnTo>
                      <a:pt x="1188" y="1396"/>
                    </a:lnTo>
                    <a:lnTo>
                      <a:pt x="1188" y="1395"/>
                    </a:lnTo>
                    <a:lnTo>
                      <a:pt x="1188" y="1396"/>
                    </a:lnTo>
                    <a:lnTo>
                      <a:pt x="1186" y="1396"/>
                    </a:lnTo>
                    <a:lnTo>
                      <a:pt x="1186" y="1398"/>
                    </a:lnTo>
                    <a:lnTo>
                      <a:pt x="1186" y="1396"/>
                    </a:lnTo>
                    <a:lnTo>
                      <a:pt x="1185" y="1395"/>
                    </a:lnTo>
                    <a:lnTo>
                      <a:pt x="1185" y="1396"/>
                    </a:lnTo>
                    <a:lnTo>
                      <a:pt x="1186" y="1396"/>
                    </a:lnTo>
                    <a:lnTo>
                      <a:pt x="1186" y="1398"/>
                    </a:lnTo>
                    <a:lnTo>
                      <a:pt x="1186" y="1400"/>
                    </a:lnTo>
                    <a:lnTo>
                      <a:pt x="1186" y="1401"/>
                    </a:lnTo>
                    <a:lnTo>
                      <a:pt x="1186" y="1400"/>
                    </a:lnTo>
                    <a:lnTo>
                      <a:pt x="1185" y="1400"/>
                    </a:lnTo>
                    <a:lnTo>
                      <a:pt x="1186" y="1400"/>
                    </a:lnTo>
                    <a:lnTo>
                      <a:pt x="1185" y="1400"/>
                    </a:lnTo>
                    <a:lnTo>
                      <a:pt x="1185" y="1398"/>
                    </a:lnTo>
                    <a:lnTo>
                      <a:pt x="1183" y="1396"/>
                    </a:lnTo>
                    <a:lnTo>
                      <a:pt x="1183" y="1395"/>
                    </a:lnTo>
                    <a:lnTo>
                      <a:pt x="1181" y="1395"/>
                    </a:lnTo>
                    <a:lnTo>
                      <a:pt x="1183" y="1395"/>
                    </a:lnTo>
                    <a:lnTo>
                      <a:pt x="1181" y="1395"/>
                    </a:lnTo>
                    <a:lnTo>
                      <a:pt x="1181" y="1393"/>
                    </a:lnTo>
                    <a:lnTo>
                      <a:pt x="1179" y="1395"/>
                    </a:lnTo>
                    <a:lnTo>
                      <a:pt x="1179" y="1393"/>
                    </a:lnTo>
                    <a:lnTo>
                      <a:pt x="1179" y="1391"/>
                    </a:lnTo>
                    <a:lnTo>
                      <a:pt x="1181" y="1393"/>
                    </a:lnTo>
                    <a:lnTo>
                      <a:pt x="1181" y="1391"/>
                    </a:lnTo>
                    <a:lnTo>
                      <a:pt x="1179" y="1391"/>
                    </a:lnTo>
                    <a:lnTo>
                      <a:pt x="1179" y="1393"/>
                    </a:lnTo>
                    <a:lnTo>
                      <a:pt x="1178" y="1391"/>
                    </a:lnTo>
                    <a:lnTo>
                      <a:pt x="1179" y="1391"/>
                    </a:lnTo>
                    <a:lnTo>
                      <a:pt x="1179" y="1390"/>
                    </a:lnTo>
                    <a:lnTo>
                      <a:pt x="1181" y="1390"/>
                    </a:lnTo>
                    <a:lnTo>
                      <a:pt x="1179" y="1390"/>
                    </a:lnTo>
                    <a:lnTo>
                      <a:pt x="1178" y="1390"/>
                    </a:lnTo>
                    <a:lnTo>
                      <a:pt x="1178" y="1391"/>
                    </a:lnTo>
                    <a:lnTo>
                      <a:pt x="1178" y="1390"/>
                    </a:lnTo>
                    <a:lnTo>
                      <a:pt x="1176" y="1390"/>
                    </a:lnTo>
                    <a:lnTo>
                      <a:pt x="1176" y="1388"/>
                    </a:lnTo>
                    <a:lnTo>
                      <a:pt x="1176" y="1390"/>
                    </a:lnTo>
                    <a:lnTo>
                      <a:pt x="1174" y="1390"/>
                    </a:lnTo>
                    <a:lnTo>
                      <a:pt x="1176" y="1390"/>
                    </a:lnTo>
                    <a:lnTo>
                      <a:pt x="1176" y="1388"/>
                    </a:lnTo>
                    <a:lnTo>
                      <a:pt x="1178" y="1388"/>
                    </a:lnTo>
                    <a:lnTo>
                      <a:pt x="1176" y="1388"/>
                    </a:lnTo>
                    <a:lnTo>
                      <a:pt x="1178" y="1388"/>
                    </a:lnTo>
                    <a:lnTo>
                      <a:pt x="1178" y="1386"/>
                    </a:lnTo>
                    <a:lnTo>
                      <a:pt x="1179" y="1386"/>
                    </a:lnTo>
                    <a:lnTo>
                      <a:pt x="1179" y="1384"/>
                    </a:lnTo>
                    <a:lnTo>
                      <a:pt x="1181" y="1384"/>
                    </a:lnTo>
                    <a:lnTo>
                      <a:pt x="1181" y="1383"/>
                    </a:lnTo>
                    <a:lnTo>
                      <a:pt x="1183" y="1383"/>
                    </a:lnTo>
                    <a:lnTo>
                      <a:pt x="1183" y="1384"/>
                    </a:lnTo>
                    <a:lnTo>
                      <a:pt x="1183" y="1383"/>
                    </a:lnTo>
                    <a:lnTo>
                      <a:pt x="1185" y="1383"/>
                    </a:lnTo>
                    <a:lnTo>
                      <a:pt x="1183" y="1381"/>
                    </a:lnTo>
                    <a:lnTo>
                      <a:pt x="1183" y="1383"/>
                    </a:lnTo>
                    <a:lnTo>
                      <a:pt x="1181" y="1381"/>
                    </a:lnTo>
                    <a:lnTo>
                      <a:pt x="1179" y="1381"/>
                    </a:lnTo>
                    <a:lnTo>
                      <a:pt x="1181" y="1379"/>
                    </a:lnTo>
                    <a:lnTo>
                      <a:pt x="1179" y="1381"/>
                    </a:lnTo>
                    <a:lnTo>
                      <a:pt x="1179" y="1383"/>
                    </a:lnTo>
                    <a:lnTo>
                      <a:pt x="1179" y="1381"/>
                    </a:lnTo>
                    <a:lnTo>
                      <a:pt x="1178" y="1381"/>
                    </a:lnTo>
                    <a:lnTo>
                      <a:pt x="1176" y="1381"/>
                    </a:lnTo>
                    <a:lnTo>
                      <a:pt x="1176" y="1379"/>
                    </a:lnTo>
                    <a:lnTo>
                      <a:pt x="1176" y="1381"/>
                    </a:lnTo>
                    <a:lnTo>
                      <a:pt x="1174" y="1381"/>
                    </a:lnTo>
                    <a:lnTo>
                      <a:pt x="1174" y="1379"/>
                    </a:lnTo>
                    <a:lnTo>
                      <a:pt x="1173" y="1381"/>
                    </a:lnTo>
                    <a:lnTo>
                      <a:pt x="1174" y="1379"/>
                    </a:lnTo>
                    <a:lnTo>
                      <a:pt x="1176" y="1378"/>
                    </a:lnTo>
                    <a:lnTo>
                      <a:pt x="1178" y="1376"/>
                    </a:lnTo>
                    <a:lnTo>
                      <a:pt x="1179" y="1376"/>
                    </a:lnTo>
                    <a:close/>
                    <a:moveTo>
                      <a:pt x="1157" y="1255"/>
                    </a:moveTo>
                    <a:lnTo>
                      <a:pt x="1159" y="1255"/>
                    </a:lnTo>
                    <a:lnTo>
                      <a:pt x="1161" y="1255"/>
                    </a:lnTo>
                    <a:lnTo>
                      <a:pt x="1159" y="1257"/>
                    </a:lnTo>
                    <a:lnTo>
                      <a:pt x="1161" y="1257"/>
                    </a:lnTo>
                    <a:lnTo>
                      <a:pt x="1162" y="1257"/>
                    </a:lnTo>
                    <a:lnTo>
                      <a:pt x="1161" y="1255"/>
                    </a:lnTo>
                    <a:lnTo>
                      <a:pt x="1162" y="1255"/>
                    </a:lnTo>
                    <a:lnTo>
                      <a:pt x="1164" y="1257"/>
                    </a:lnTo>
                    <a:lnTo>
                      <a:pt x="1166" y="1259"/>
                    </a:lnTo>
                    <a:lnTo>
                      <a:pt x="1164" y="1260"/>
                    </a:lnTo>
                    <a:lnTo>
                      <a:pt x="1166" y="1259"/>
                    </a:lnTo>
                    <a:lnTo>
                      <a:pt x="1166" y="1260"/>
                    </a:lnTo>
                    <a:lnTo>
                      <a:pt x="1168" y="1259"/>
                    </a:lnTo>
                    <a:lnTo>
                      <a:pt x="1168" y="1260"/>
                    </a:lnTo>
                    <a:lnTo>
                      <a:pt x="1168" y="1262"/>
                    </a:lnTo>
                    <a:lnTo>
                      <a:pt x="1166" y="1262"/>
                    </a:lnTo>
                    <a:lnTo>
                      <a:pt x="1166" y="1264"/>
                    </a:lnTo>
                    <a:lnTo>
                      <a:pt x="1168" y="1262"/>
                    </a:lnTo>
                    <a:lnTo>
                      <a:pt x="1168" y="1264"/>
                    </a:lnTo>
                    <a:lnTo>
                      <a:pt x="1166" y="1264"/>
                    </a:lnTo>
                    <a:lnTo>
                      <a:pt x="1166" y="1265"/>
                    </a:lnTo>
                    <a:lnTo>
                      <a:pt x="1166" y="1264"/>
                    </a:lnTo>
                    <a:lnTo>
                      <a:pt x="1168" y="1264"/>
                    </a:lnTo>
                    <a:lnTo>
                      <a:pt x="1169" y="1262"/>
                    </a:lnTo>
                    <a:lnTo>
                      <a:pt x="1169" y="1260"/>
                    </a:lnTo>
                    <a:lnTo>
                      <a:pt x="1171" y="1260"/>
                    </a:lnTo>
                    <a:lnTo>
                      <a:pt x="1171" y="1262"/>
                    </a:lnTo>
                    <a:lnTo>
                      <a:pt x="1169" y="1262"/>
                    </a:lnTo>
                    <a:lnTo>
                      <a:pt x="1171" y="1262"/>
                    </a:lnTo>
                    <a:lnTo>
                      <a:pt x="1171" y="1264"/>
                    </a:lnTo>
                    <a:lnTo>
                      <a:pt x="1169" y="1264"/>
                    </a:lnTo>
                    <a:lnTo>
                      <a:pt x="1169" y="1265"/>
                    </a:lnTo>
                    <a:lnTo>
                      <a:pt x="1168" y="1265"/>
                    </a:lnTo>
                    <a:lnTo>
                      <a:pt x="1168" y="1267"/>
                    </a:lnTo>
                    <a:lnTo>
                      <a:pt x="1168" y="1265"/>
                    </a:lnTo>
                    <a:lnTo>
                      <a:pt x="1169" y="1265"/>
                    </a:lnTo>
                    <a:lnTo>
                      <a:pt x="1169" y="1264"/>
                    </a:lnTo>
                    <a:lnTo>
                      <a:pt x="1171" y="1264"/>
                    </a:lnTo>
                    <a:lnTo>
                      <a:pt x="1169" y="1264"/>
                    </a:lnTo>
                    <a:lnTo>
                      <a:pt x="1169" y="1265"/>
                    </a:lnTo>
                    <a:lnTo>
                      <a:pt x="1169" y="1267"/>
                    </a:lnTo>
                    <a:lnTo>
                      <a:pt x="1169" y="1265"/>
                    </a:lnTo>
                    <a:lnTo>
                      <a:pt x="1169" y="1267"/>
                    </a:lnTo>
                    <a:lnTo>
                      <a:pt x="1171" y="1267"/>
                    </a:lnTo>
                    <a:lnTo>
                      <a:pt x="1169" y="1269"/>
                    </a:lnTo>
                    <a:lnTo>
                      <a:pt x="1171" y="1269"/>
                    </a:lnTo>
                    <a:lnTo>
                      <a:pt x="1169" y="1270"/>
                    </a:lnTo>
                    <a:lnTo>
                      <a:pt x="1168" y="1270"/>
                    </a:lnTo>
                    <a:lnTo>
                      <a:pt x="1169" y="1269"/>
                    </a:lnTo>
                    <a:lnTo>
                      <a:pt x="1168" y="1270"/>
                    </a:lnTo>
                    <a:lnTo>
                      <a:pt x="1166" y="1272"/>
                    </a:lnTo>
                    <a:lnTo>
                      <a:pt x="1164" y="1274"/>
                    </a:lnTo>
                    <a:lnTo>
                      <a:pt x="1162" y="1274"/>
                    </a:lnTo>
                    <a:lnTo>
                      <a:pt x="1162" y="1272"/>
                    </a:lnTo>
                    <a:lnTo>
                      <a:pt x="1162" y="1270"/>
                    </a:lnTo>
                    <a:lnTo>
                      <a:pt x="1161" y="1270"/>
                    </a:lnTo>
                    <a:lnTo>
                      <a:pt x="1161" y="1269"/>
                    </a:lnTo>
                    <a:lnTo>
                      <a:pt x="1161" y="1267"/>
                    </a:lnTo>
                    <a:lnTo>
                      <a:pt x="1162" y="1267"/>
                    </a:lnTo>
                    <a:lnTo>
                      <a:pt x="1161" y="1267"/>
                    </a:lnTo>
                    <a:lnTo>
                      <a:pt x="1161" y="1269"/>
                    </a:lnTo>
                    <a:lnTo>
                      <a:pt x="1159" y="1267"/>
                    </a:lnTo>
                    <a:lnTo>
                      <a:pt x="1159" y="1265"/>
                    </a:lnTo>
                    <a:lnTo>
                      <a:pt x="1159" y="1264"/>
                    </a:lnTo>
                    <a:lnTo>
                      <a:pt x="1161" y="1264"/>
                    </a:lnTo>
                    <a:lnTo>
                      <a:pt x="1162" y="1264"/>
                    </a:lnTo>
                    <a:lnTo>
                      <a:pt x="1161" y="1264"/>
                    </a:lnTo>
                    <a:lnTo>
                      <a:pt x="1159" y="1264"/>
                    </a:lnTo>
                    <a:lnTo>
                      <a:pt x="1161" y="1264"/>
                    </a:lnTo>
                    <a:lnTo>
                      <a:pt x="1161" y="1262"/>
                    </a:lnTo>
                    <a:lnTo>
                      <a:pt x="1161" y="1264"/>
                    </a:lnTo>
                    <a:lnTo>
                      <a:pt x="1159" y="1264"/>
                    </a:lnTo>
                    <a:lnTo>
                      <a:pt x="1157" y="1264"/>
                    </a:lnTo>
                    <a:lnTo>
                      <a:pt x="1159" y="1262"/>
                    </a:lnTo>
                    <a:lnTo>
                      <a:pt x="1157" y="1264"/>
                    </a:lnTo>
                    <a:lnTo>
                      <a:pt x="1157" y="1262"/>
                    </a:lnTo>
                    <a:lnTo>
                      <a:pt x="1159" y="1260"/>
                    </a:lnTo>
                    <a:lnTo>
                      <a:pt x="1157" y="1260"/>
                    </a:lnTo>
                    <a:lnTo>
                      <a:pt x="1157" y="1262"/>
                    </a:lnTo>
                    <a:lnTo>
                      <a:pt x="1157" y="1260"/>
                    </a:lnTo>
                    <a:lnTo>
                      <a:pt x="1159" y="1260"/>
                    </a:lnTo>
                    <a:lnTo>
                      <a:pt x="1161" y="1259"/>
                    </a:lnTo>
                    <a:lnTo>
                      <a:pt x="1159" y="1259"/>
                    </a:lnTo>
                    <a:lnTo>
                      <a:pt x="1159" y="1260"/>
                    </a:lnTo>
                    <a:lnTo>
                      <a:pt x="1157" y="1260"/>
                    </a:lnTo>
                    <a:lnTo>
                      <a:pt x="1157" y="1259"/>
                    </a:lnTo>
                    <a:lnTo>
                      <a:pt x="1159" y="1259"/>
                    </a:lnTo>
                    <a:lnTo>
                      <a:pt x="1157" y="1259"/>
                    </a:lnTo>
                    <a:lnTo>
                      <a:pt x="1157" y="1257"/>
                    </a:lnTo>
                    <a:lnTo>
                      <a:pt x="1157" y="1259"/>
                    </a:lnTo>
                    <a:lnTo>
                      <a:pt x="1156" y="1257"/>
                    </a:lnTo>
                    <a:lnTo>
                      <a:pt x="1156" y="1255"/>
                    </a:lnTo>
                    <a:lnTo>
                      <a:pt x="1157" y="1255"/>
                    </a:lnTo>
                    <a:close/>
                    <a:moveTo>
                      <a:pt x="1183" y="1447"/>
                    </a:moveTo>
                    <a:lnTo>
                      <a:pt x="1185" y="1447"/>
                    </a:lnTo>
                    <a:lnTo>
                      <a:pt x="1185" y="1449"/>
                    </a:lnTo>
                    <a:lnTo>
                      <a:pt x="1183" y="1449"/>
                    </a:lnTo>
                    <a:lnTo>
                      <a:pt x="1185" y="1451"/>
                    </a:lnTo>
                    <a:lnTo>
                      <a:pt x="1185" y="1449"/>
                    </a:lnTo>
                    <a:lnTo>
                      <a:pt x="1186" y="1449"/>
                    </a:lnTo>
                    <a:lnTo>
                      <a:pt x="1186" y="1451"/>
                    </a:lnTo>
                    <a:lnTo>
                      <a:pt x="1185" y="1451"/>
                    </a:lnTo>
                    <a:lnTo>
                      <a:pt x="1186" y="1451"/>
                    </a:lnTo>
                    <a:lnTo>
                      <a:pt x="1186" y="1449"/>
                    </a:lnTo>
                    <a:lnTo>
                      <a:pt x="1186" y="1451"/>
                    </a:lnTo>
                    <a:lnTo>
                      <a:pt x="1186" y="1453"/>
                    </a:lnTo>
                    <a:lnTo>
                      <a:pt x="1186" y="1451"/>
                    </a:lnTo>
                    <a:lnTo>
                      <a:pt x="1186" y="1453"/>
                    </a:lnTo>
                    <a:lnTo>
                      <a:pt x="1188" y="1453"/>
                    </a:lnTo>
                    <a:lnTo>
                      <a:pt x="1190" y="1453"/>
                    </a:lnTo>
                    <a:lnTo>
                      <a:pt x="1190" y="1454"/>
                    </a:lnTo>
                    <a:lnTo>
                      <a:pt x="1190" y="1453"/>
                    </a:lnTo>
                    <a:lnTo>
                      <a:pt x="1191" y="1454"/>
                    </a:lnTo>
                    <a:lnTo>
                      <a:pt x="1191" y="1456"/>
                    </a:lnTo>
                    <a:lnTo>
                      <a:pt x="1190" y="1456"/>
                    </a:lnTo>
                    <a:lnTo>
                      <a:pt x="1191" y="1456"/>
                    </a:lnTo>
                    <a:lnTo>
                      <a:pt x="1193" y="1456"/>
                    </a:lnTo>
                    <a:lnTo>
                      <a:pt x="1193" y="1454"/>
                    </a:lnTo>
                    <a:lnTo>
                      <a:pt x="1193" y="1456"/>
                    </a:lnTo>
                    <a:lnTo>
                      <a:pt x="1193" y="1454"/>
                    </a:lnTo>
                    <a:lnTo>
                      <a:pt x="1195" y="1456"/>
                    </a:lnTo>
                    <a:lnTo>
                      <a:pt x="1193" y="1456"/>
                    </a:lnTo>
                    <a:lnTo>
                      <a:pt x="1195" y="1458"/>
                    </a:lnTo>
                    <a:lnTo>
                      <a:pt x="1195" y="1456"/>
                    </a:lnTo>
                    <a:lnTo>
                      <a:pt x="1195" y="1458"/>
                    </a:lnTo>
                    <a:lnTo>
                      <a:pt x="1196" y="1458"/>
                    </a:lnTo>
                    <a:lnTo>
                      <a:pt x="1196" y="1459"/>
                    </a:lnTo>
                    <a:lnTo>
                      <a:pt x="1196" y="1461"/>
                    </a:lnTo>
                    <a:lnTo>
                      <a:pt x="1198" y="1459"/>
                    </a:lnTo>
                    <a:lnTo>
                      <a:pt x="1198" y="1461"/>
                    </a:lnTo>
                    <a:lnTo>
                      <a:pt x="1198" y="1459"/>
                    </a:lnTo>
                    <a:lnTo>
                      <a:pt x="1198" y="1461"/>
                    </a:lnTo>
                    <a:lnTo>
                      <a:pt x="1200" y="1461"/>
                    </a:lnTo>
                    <a:lnTo>
                      <a:pt x="1202" y="1461"/>
                    </a:lnTo>
                    <a:lnTo>
                      <a:pt x="1202" y="1463"/>
                    </a:lnTo>
                    <a:lnTo>
                      <a:pt x="1203" y="1463"/>
                    </a:lnTo>
                    <a:lnTo>
                      <a:pt x="1203" y="1464"/>
                    </a:lnTo>
                    <a:lnTo>
                      <a:pt x="1205" y="1466"/>
                    </a:lnTo>
                    <a:lnTo>
                      <a:pt x="1205" y="1468"/>
                    </a:lnTo>
                    <a:lnTo>
                      <a:pt x="1207" y="1468"/>
                    </a:lnTo>
                    <a:lnTo>
                      <a:pt x="1207" y="1470"/>
                    </a:lnTo>
                    <a:lnTo>
                      <a:pt x="1207" y="1471"/>
                    </a:lnTo>
                    <a:lnTo>
                      <a:pt x="1208" y="1473"/>
                    </a:lnTo>
                    <a:lnTo>
                      <a:pt x="1208" y="1475"/>
                    </a:lnTo>
                    <a:lnTo>
                      <a:pt x="1207" y="1475"/>
                    </a:lnTo>
                    <a:lnTo>
                      <a:pt x="1207" y="1473"/>
                    </a:lnTo>
                    <a:lnTo>
                      <a:pt x="1205" y="1473"/>
                    </a:lnTo>
                    <a:lnTo>
                      <a:pt x="1205" y="1471"/>
                    </a:lnTo>
                    <a:lnTo>
                      <a:pt x="1203" y="1471"/>
                    </a:lnTo>
                    <a:lnTo>
                      <a:pt x="1203" y="1470"/>
                    </a:lnTo>
                    <a:lnTo>
                      <a:pt x="1202" y="1470"/>
                    </a:lnTo>
                    <a:lnTo>
                      <a:pt x="1202" y="1468"/>
                    </a:lnTo>
                    <a:lnTo>
                      <a:pt x="1200" y="1468"/>
                    </a:lnTo>
                    <a:lnTo>
                      <a:pt x="1198" y="1468"/>
                    </a:lnTo>
                    <a:lnTo>
                      <a:pt x="1198" y="1466"/>
                    </a:lnTo>
                    <a:lnTo>
                      <a:pt x="1196" y="1466"/>
                    </a:lnTo>
                    <a:lnTo>
                      <a:pt x="1196" y="1464"/>
                    </a:lnTo>
                    <a:lnTo>
                      <a:pt x="1195" y="1464"/>
                    </a:lnTo>
                    <a:lnTo>
                      <a:pt x="1193" y="1463"/>
                    </a:lnTo>
                    <a:lnTo>
                      <a:pt x="1193" y="1464"/>
                    </a:lnTo>
                    <a:lnTo>
                      <a:pt x="1193" y="1463"/>
                    </a:lnTo>
                    <a:lnTo>
                      <a:pt x="1195" y="1463"/>
                    </a:lnTo>
                    <a:lnTo>
                      <a:pt x="1196" y="1463"/>
                    </a:lnTo>
                    <a:lnTo>
                      <a:pt x="1196" y="1464"/>
                    </a:lnTo>
                    <a:lnTo>
                      <a:pt x="1198" y="1464"/>
                    </a:lnTo>
                    <a:lnTo>
                      <a:pt x="1196" y="1464"/>
                    </a:lnTo>
                    <a:lnTo>
                      <a:pt x="1195" y="1463"/>
                    </a:lnTo>
                    <a:lnTo>
                      <a:pt x="1193" y="1461"/>
                    </a:lnTo>
                    <a:lnTo>
                      <a:pt x="1193" y="1459"/>
                    </a:lnTo>
                    <a:lnTo>
                      <a:pt x="1193" y="1461"/>
                    </a:lnTo>
                    <a:lnTo>
                      <a:pt x="1191" y="1461"/>
                    </a:lnTo>
                    <a:lnTo>
                      <a:pt x="1191" y="1459"/>
                    </a:lnTo>
                    <a:lnTo>
                      <a:pt x="1190" y="1459"/>
                    </a:lnTo>
                    <a:lnTo>
                      <a:pt x="1188" y="1459"/>
                    </a:lnTo>
                    <a:lnTo>
                      <a:pt x="1188" y="1458"/>
                    </a:lnTo>
                    <a:lnTo>
                      <a:pt x="1186" y="1458"/>
                    </a:lnTo>
                    <a:lnTo>
                      <a:pt x="1188" y="1456"/>
                    </a:lnTo>
                    <a:lnTo>
                      <a:pt x="1186" y="1456"/>
                    </a:lnTo>
                    <a:lnTo>
                      <a:pt x="1186" y="1458"/>
                    </a:lnTo>
                    <a:lnTo>
                      <a:pt x="1185" y="1456"/>
                    </a:lnTo>
                    <a:lnTo>
                      <a:pt x="1183" y="1454"/>
                    </a:lnTo>
                    <a:lnTo>
                      <a:pt x="1185" y="1454"/>
                    </a:lnTo>
                    <a:lnTo>
                      <a:pt x="1183" y="1454"/>
                    </a:lnTo>
                    <a:lnTo>
                      <a:pt x="1183" y="1453"/>
                    </a:lnTo>
                    <a:lnTo>
                      <a:pt x="1183" y="1451"/>
                    </a:lnTo>
                    <a:lnTo>
                      <a:pt x="1183" y="1453"/>
                    </a:lnTo>
                    <a:lnTo>
                      <a:pt x="1181" y="1451"/>
                    </a:lnTo>
                    <a:lnTo>
                      <a:pt x="1181" y="1449"/>
                    </a:lnTo>
                    <a:lnTo>
                      <a:pt x="1183" y="1449"/>
                    </a:lnTo>
                    <a:lnTo>
                      <a:pt x="1181" y="1449"/>
                    </a:lnTo>
                    <a:lnTo>
                      <a:pt x="1179" y="1447"/>
                    </a:lnTo>
                    <a:lnTo>
                      <a:pt x="1179" y="1446"/>
                    </a:lnTo>
                    <a:lnTo>
                      <a:pt x="1181" y="1447"/>
                    </a:lnTo>
                    <a:lnTo>
                      <a:pt x="1183" y="1447"/>
                    </a:lnTo>
                    <a:close/>
                    <a:moveTo>
                      <a:pt x="1343" y="1626"/>
                    </a:moveTo>
                    <a:lnTo>
                      <a:pt x="1344" y="1626"/>
                    </a:lnTo>
                    <a:lnTo>
                      <a:pt x="1346" y="1626"/>
                    </a:lnTo>
                    <a:lnTo>
                      <a:pt x="1348" y="1626"/>
                    </a:lnTo>
                    <a:lnTo>
                      <a:pt x="1349" y="1628"/>
                    </a:lnTo>
                    <a:lnTo>
                      <a:pt x="1348" y="1628"/>
                    </a:lnTo>
                    <a:lnTo>
                      <a:pt x="1349" y="1628"/>
                    </a:lnTo>
                    <a:lnTo>
                      <a:pt x="1348" y="1629"/>
                    </a:lnTo>
                    <a:lnTo>
                      <a:pt x="1348" y="1631"/>
                    </a:lnTo>
                    <a:lnTo>
                      <a:pt x="1349" y="1629"/>
                    </a:lnTo>
                    <a:lnTo>
                      <a:pt x="1349" y="1628"/>
                    </a:lnTo>
                    <a:lnTo>
                      <a:pt x="1351" y="1628"/>
                    </a:lnTo>
                    <a:lnTo>
                      <a:pt x="1353" y="1628"/>
                    </a:lnTo>
                    <a:lnTo>
                      <a:pt x="1355" y="1628"/>
                    </a:lnTo>
                    <a:lnTo>
                      <a:pt x="1355" y="1629"/>
                    </a:lnTo>
                    <a:lnTo>
                      <a:pt x="1356" y="1629"/>
                    </a:lnTo>
                    <a:lnTo>
                      <a:pt x="1358" y="1629"/>
                    </a:lnTo>
                    <a:lnTo>
                      <a:pt x="1360" y="1629"/>
                    </a:lnTo>
                    <a:lnTo>
                      <a:pt x="1360" y="1631"/>
                    </a:lnTo>
                    <a:lnTo>
                      <a:pt x="1361" y="1631"/>
                    </a:lnTo>
                    <a:lnTo>
                      <a:pt x="1360" y="1631"/>
                    </a:lnTo>
                    <a:lnTo>
                      <a:pt x="1358" y="1631"/>
                    </a:lnTo>
                    <a:lnTo>
                      <a:pt x="1356" y="1631"/>
                    </a:lnTo>
                    <a:lnTo>
                      <a:pt x="1355" y="1631"/>
                    </a:lnTo>
                    <a:lnTo>
                      <a:pt x="1353" y="1631"/>
                    </a:lnTo>
                    <a:lnTo>
                      <a:pt x="1355" y="1631"/>
                    </a:lnTo>
                    <a:lnTo>
                      <a:pt x="1355" y="1633"/>
                    </a:lnTo>
                    <a:lnTo>
                      <a:pt x="1353" y="1633"/>
                    </a:lnTo>
                    <a:lnTo>
                      <a:pt x="1351" y="1633"/>
                    </a:lnTo>
                    <a:lnTo>
                      <a:pt x="1351" y="1635"/>
                    </a:lnTo>
                    <a:lnTo>
                      <a:pt x="1349" y="1635"/>
                    </a:lnTo>
                    <a:lnTo>
                      <a:pt x="1349" y="1633"/>
                    </a:lnTo>
                    <a:lnTo>
                      <a:pt x="1349" y="1631"/>
                    </a:lnTo>
                    <a:lnTo>
                      <a:pt x="1349" y="1633"/>
                    </a:lnTo>
                    <a:lnTo>
                      <a:pt x="1348" y="1633"/>
                    </a:lnTo>
                    <a:lnTo>
                      <a:pt x="1348" y="1635"/>
                    </a:lnTo>
                    <a:lnTo>
                      <a:pt x="1346" y="1635"/>
                    </a:lnTo>
                    <a:lnTo>
                      <a:pt x="1344" y="1635"/>
                    </a:lnTo>
                    <a:lnTo>
                      <a:pt x="1343" y="1635"/>
                    </a:lnTo>
                    <a:lnTo>
                      <a:pt x="1343" y="1636"/>
                    </a:lnTo>
                    <a:lnTo>
                      <a:pt x="1341" y="1635"/>
                    </a:lnTo>
                    <a:lnTo>
                      <a:pt x="1341" y="1636"/>
                    </a:lnTo>
                    <a:lnTo>
                      <a:pt x="1339" y="1636"/>
                    </a:lnTo>
                    <a:lnTo>
                      <a:pt x="1338" y="1636"/>
                    </a:lnTo>
                    <a:lnTo>
                      <a:pt x="1338" y="1635"/>
                    </a:lnTo>
                    <a:lnTo>
                      <a:pt x="1338" y="1636"/>
                    </a:lnTo>
                    <a:lnTo>
                      <a:pt x="1338" y="1635"/>
                    </a:lnTo>
                    <a:lnTo>
                      <a:pt x="1338" y="1636"/>
                    </a:lnTo>
                    <a:lnTo>
                      <a:pt x="1336" y="1636"/>
                    </a:lnTo>
                    <a:lnTo>
                      <a:pt x="1334" y="1636"/>
                    </a:lnTo>
                    <a:lnTo>
                      <a:pt x="1334" y="1635"/>
                    </a:lnTo>
                    <a:lnTo>
                      <a:pt x="1332" y="1633"/>
                    </a:lnTo>
                    <a:lnTo>
                      <a:pt x="1334" y="1633"/>
                    </a:lnTo>
                    <a:lnTo>
                      <a:pt x="1334" y="1631"/>
                    </a:lnTo>
                    <a:lnTo>
                      <a:pt x="1334" y="1633"/>
                    </a:lnTo>
                    <a:lnTo>
                      <a:pt x="1332" y="1631"/>
                    </a:lnTo>
                    <a:lnTo>
                      <a:pt x="1334" y="1629"/>
                    </a:lnTo>
                    <a:lnTo>
                      <a:pt x="1336" y="1629"/>
                    </a:lnTo>
                    <a:lnTo>
                      <a:pt x="1338" y="1631"/>
                    </a:lnTo>
                    <a:lnTo>
                      <a:pt x="1338" y="1629"/>
                    </a:lnTo>
                    <a:lnTo>
                      <a:pt x="1336" y="1629"/>
                    </a:lnTo>
                    <a:lnTo>
                      <a:pt x="1334" y="1628"/>
                    </a:lnTo>
                    <a:lnTo>
                      <a:pt x="1334" y="1629"/>
                    </a:lnTo>
                    <a:lnTo>
                      <a:pt x="1332" y="1628"/>
                    </a:lnTo>
                    <a:lnTo>
                      <a:pt x="1334" y="1628"/>
                    </a:lnTo>
                    <a:lnTo>
                      <a:pt x="1334" y="1626"/>
                    </a:lnTo>
                    <a:lnTo>
                      <a:pt x="1336" y="1628"/>
                    </a:lnTo>
                    <a:lnTo>
                      <a:pt x="1336" y="1626"/>
                    </a:lnTo>
                    <a:lnTo>
                      <a:pt x="1338" y="1626"/>
                    </a:lnTo>
                    <a:lnTo>
                      <a:pt x="1339" y="1628"/>
                    </a:lnTo>
                    <a:lnTo>
                      <a:pt x="1339" y="1629"/>
                    </a:lnTo>
                    <a:lnTo>
                      <a:pt x="1339" y="1631"/>
                    </a:lnTo>
                    <a:lnTo>
                      <a:pt x="1341" y="1629"/>
                    </a:lnTo>
                    <a:lnTo>
                      <a:pt x="1343" y="1629"/>
                    </a:lnTo>
                    <a:lnTo>
                      <a:pt x="1341" y="1631"/>
                    </a:lnTo>
                    <a:lnTo>
                      <a:pt x="1343" y="1631"/>
                    </a:lnTo>
                    <a:lnTo>
                      <a:pt x="1343" y="1629"/>
                    </a:lnTo>
                    <a:lnTo>
                      <a:pt x="1341" y="1629"/>
                    </a:lnTo>
                    <a:lnTo>
                      <a:pt x="1341" y="1628"/>
                    </a:lnTo>
                    <a:lnTo>
                      <a:pt x="1343" y="1629"/>
                    </a:lnTo>
                    <a:lnTo>
                      <a:pt x="1341" y="1629"/>
                    </a:lnTo>
                    <a:lnTo>
                      <a:pt x="1341" y="1628"/>
                    </a:lnTo>
                    <a:lnTo>
                      <a:pt x="1339" y="1628"/>
                    </a:lnTo>
                    <a:lnTo>
                      <a:pt x="1339" y="1626"/>
                    </a:lnTo>
                    <a:lnTo>
                      <a:pt x="1341" y="1626"/>
                    </a:lnTo>
                    <a:lnTo>
                      <a:pt x="1343" y="1626"/>
                    </a:lnTo>
                    <a:close/>
                    <a:moveTo>
                      <a:pt x="1152" y="1272"/>
                    </a:moveTo>
                    <a:lnTo>
                      <a:pt x="1152" y="1274"/>
                    </a:lnTo>
                    <a:lnTo>
                      <a:pt x="1152" y="1276"/>
                    </a:lnTo>
                    <a:lnTo>
                      <a:pt x="1151" y="1276"/>
                    </a:lnTo>
                    <a:lnTo>
                      <a:pt x="1152" y="1276"/>
                    </a:lnTo>
                    <a:lnTo>
                      <a:pt x="1152" y="1277"/>
                    </a:lnTo>
                    <a:lnTo>
                      <a:pt x="1152" y="1276"/>
                    </a:lnTo>
                    <a:lnTo>
                      <a:pt x="1152" y="1274"/>
                    </a:lnTo>
                    <a:lnTo>
                      <a:pt x="1152" y="1272"/>
                    </a:lnTo>
                    <a:lnTo>
                      <a:pt x="1154" y="1272"/>
                    </a:lnTo>
                    <a:lnTo>
                      <a:pt x="1154" y="1274"/>
                    </a:lnTo>
                    <a:lnTo>
                      <a:pt x="1154" y="1276"/>
                    </a:lnTo>
                    <a:lnTo>
                      <a:pt x="1154" y="1277"/>
                    </a:lnTo>
                    <a:lnTo>
                      <a:pt x="1152" y="1277"/>
                    </a:lnTo>
                    <a:lnTo>
                      <a:pt x="1154" y="1277"/>
                    </a:lnTo>
                    <a:lnTo>
                      <a:pt x="1154" y="1279"/>
                    </a:lnTo>
                    <a:lnTo>
                      <a:pt x="1156" y="1279"/>
                    </a:lnTo>
                    <a:lnTo>
                      <a:pt x="1154" y="1281"/>
                    </a:lnTo>
                    <a:lnTo>
                      <a:pt x="1154" y="1282"/>
                    </a:lnTo>
                    <a:lnTo>
                      <a:pt x="1154" y="1284"/>
                    </a:lnTo>
                    <a:lnTo>
                      <a:pt x="1152" y="1284"/>
                    </a:lnTo>
                    <a:lnTo>
                      <a:pt x="1152" y="1286"/>
                    </a:lnTo>
                    <a:lnTo>
                      <a:pt x="1151" y="1286"/>
                    </a:lnTo>
                    <a:lnTo>
                      <a:pt x="1151" y="1288"/>
                    </a:lnTo>
                    <a:lnTo>
                      <a:pt x="1149" y="1289"/>
                    </a:lnTo>
                    <a:lnTo>
                      <a:pt x="1149" y="1288"/>
                    </a:lnTo>
                    <a:lnTo>
                      <a:pt x="1149" y="1289"/>
                    </a:lnTo>
                    <a:lnTo>
                      <a:pt x="1147" y="1289"/>
                    </a:lnTo>
                    <a:lnTo>
                      <a:pt x="1145" y="1291"/>
                    </a:lnTo>
                    <a:lnTo>
                      <a:pt x="1144" y="1291"/>
                    </a:lnTo>
                    <a:lnTo>
                      <a:pt x="1144" y="1289"/>
                    </a:lnTo>
                    <a:lnTo>
                      <a:pt x="1142" y="1289"/>
                    </a:lnTo>
                    <a:lnTo>
                      <a:pt x="1142" y="1288"/>
                    </a:lnTo>
                    <a:lnTo>
                      <a:pt x="1142" y="1286"/>
                    </a:lnTo>
                    <a:lnTo>
                      <a:pt x="1142" y="1284"/>
                    </a:lnTo>
                    <a:lnTo>
                      <a:pt x="1144" y="1284"/>
                    </a:lnTo>
                    <a:lnTo>
                      <a:pt x="1144" y="1286"/>
                    </a:lnTo>
                    <a:lnTo>
                      <a:pt x="1145" y="1286"/>
                    </a:lnTo>
                    <a:lnTo>
                      <a:pt x="1147" y="1286"/>
                    </a:lnTo>
                    <a:lnTo>
                      <a:pt x="1147" y="1288"/>
                    </a:lnTo>
                    <a:lnTo>
                      <a:pt x="1147" y="1286"/>
                    </a:lnTo>
                    <a:lnTo>
                      <a:pt x="1149" y="1286"/>
                    </a:lnTo>
                    <a:lnTo>
                      <a:pt x="1151" y="1286"/>
                    </a:lnTo>
                    <a:lnTo>
                      <a:pt x="1151" y="1284"/>
                    </a:lnTo>
                    <a:lnTo>
                      <a:pt x="1152" y="1282"/>
                    </a:lnTo>
                    <a:lnTo>
                      <a:pt x="1154" y="1282"/>
                    </a:lnTo>
                    <a:lnTo>
                      <a:pt x="1154" y="1281"/>
                    </a:lnTo>
                    <a:lnTo>
                      <a:pt x="1152" y="1282"/>
                    </a:lnTo>
                    <a:lnTo>
                      <a:pt x="1152" y="1284"/>
                    </a:lnTo>
                    <a:lnTo>
                      <a:pt x="1151" y="1284"/>
                    </a:lnTo>
                    <a:lnTo>
                      <a:pt x="1149" y="1286"/>
                    </a:lnTo>
                    <a:lnTo>
                      <a:pt x="1147" y="1286"/>
                    </a:lnTo>
                    <a:lnTo>
                      <a:pt x="1145" y="1286"/>
                    </a:lnTo>
                    <a:lnTo>
                      <a:pt x="1144" y="1286"/>
                    </a:lnTo>
                    <a:lnTo>
                      <a:pt x="1144" y="1284"/>
                    </a:lnTo>
                    <a:lnTo>
                      <a:pt x="1144" y="1282"/>
                    </a:lnTo>
                    <a:lnTo>
                      <a:pt x="1145" y="1282"/>
                    </a:lnTo>
                    <a:lnTo>
                      <a:pt x="1145" y="1284"/>
                    </a:lnTo>
                    <a:lnTo>
                      <a:pt x="1147" y="1284"/>
                    </a:lnTo>
                    <a:lnTo>
                      <a:pt x="1149" y="1284"/>
                    </a:lnTo>
                    <a:lnTo>
                      <a:pt x="1147" y="1282"/>
                    </a:lnTo>
                    <a:lnTo>
                      <a:pt x="1149" y="1282"/>
                    </a:lnTo>
                    <a:lnTo>
                      <a:pt x="1151" y="1282"/>
                    </a:lnTo>
                    <a:lnTo>
                      <a:pt x="1151" y="1281"/>
                    </a:lnTo>
                    <a:lnTo>
                      <a:pt x="1152" y="1281"/>
                    </a:lnTo>
                    <a:lnTo>
                      <a:pt x="1151" y="1281"/>
                    </a:lnTo>
                    <a:lnTo>
                      <a:pt x="1149" y="1282"/>
                    </a:lnTo>
                    <a:lnTo>
                      <a:pt x="1147" y="1282"/>
                    </a:lnTo>
                    <a:lnTo>
                      <a:pt x="1145" y="1282"/>
                    </a:lnTo>
                    <a:lnTo>
                      <a:pt x="1147" y="1282"/>
                    </a:lnTo>
                    <a:lnTo>
                      <a:pt x="1147" y="1281"/>
                    </a:lnTo>
                    <a:lnTo>
                      <a:pt x="1149" y="1281"/>
                    </a:lnTo>
                    <a:lnTo>
                      <a:pt x="1151" y="1279"/>
                    </a:lnTo>
                    <a:lnTo>
                      <a:pt x="1152" y="1277"/>
                    </a:lnTo>
                    <a:lnTo>
                      <a:pt x="1151" y="1279"/>
                    </a:lnTo>
                    <a:lnTo>
                      <a:pt x="1149" y="1279"/>
                    </a:lnTo>
                    <a:lnTo>
                      <a:pt x="1149" y="1281"/>
                    </a:lnTo>
                    <a:lnTo>
                      <a:pt x="1147" y="1281"/>
                    </a:lnTo>
                    <a:lnTo>
                      <a:pt x="1147" y="1282"/>
                    </a:lnTo>
                    <a:lnTo>
                      <a:pt x="1145" y="1282"/>
                    </a:lnTo>
                    <a:lnTo>
                      <a:pt x="1144" y="1282"/>
                    </a:lnTo>
                    <a:lnTo>
                      <a:pt x="1145" y="1281"/>
                    </a:lnTo>
                    <a:lnTo>
                      <a:pt x="1144" y="1281"/>
                    </a:lnTo>
                    <a:lnTo>
                      <a:pt x="1144" y="1282"/>
                    </a:lnTo>
                    <a:lnTo>
                      <a:pt x="1142" y="1282"/>
                    </a:lnTo>
                    <a:lnTo>
                      <a:pt x="1144" y="1281"/>
                    </a:lnTo>
                    <a:lnTo>
                      <a:pt x="1142" y="1281"/>
                    </a:lnTo>
                    <a:lnTo>
                      <a:pt x="1142" y="1279"/>
                    </a:lnTo>
                    <a:lnTo>
                      <a:pt x="1144" y="1279"/>
                    </a:lnTo>
                    <a:lnTo>
                      <a:pt x="1142" y="1277"/>
                    </a:lnTo>
                    <a:lnTo>
                      <a:pt x="1144" y="1276"/>
                    </a:lnTo>
                    <a:lnTo>
                      <a:pt x="1142" y="1276"/>
                    </a:lnTo>
                    <a:lnTo>
                      <a:pt x="1142" y="1274"/>
                    </a:lnTo>
                    <a:lnTo>
                      <a:pt x="1144" y="1274"/>
                    </a:lnTo>
                    <a:lnTo>
                      <a:pt x="1144" y="1272"/>
                    </a:lnTo>
                    <a:lnTo>
                      <a:pt x="1145" y="1272"/>
                    </a:lnTo>
                    <a:lnTo>
                      <a:pt x="1145" y="1274"/>
                    </a:lnTo>
                    <a:lnTo>
                      <a:pt x="1147" y="1274"/>
                    </a:lnTo>
                    <a:lnTo>
                      <a:pt x="1147" y="1276"/>
                    </a:lnTo>
                    <a:lnTo>
                      <a:pt x="1147" y="1274"/>
                    </a:lnTo>
                    <a:lnTo>
                      <a:pt x="1149" y="1274"/>
                    </a:lnTo>
                    <a:lnTo>
                      <a:pt x="1147" y="1274"/>
                    </a:lnTo>
                    <a:lnTo>
                      <a:pt x="1149" y="1274"/>
                    </a:lnTo>
                    <a:lnTo>
                      <a:pt x="1151" y="1272"/>
                    </a:lnTo>
                    <a:lnTo>
                      <a:pt x="1151" y="1274"/>
                    </a:lnTo>
                    <a:lnTo>
                      <a:pt x="1151" y="1276"/>
                    </a:lnTo>
                    <a:lnTo>
                      <a:pt x="1151" y="1274"/>
                    </a:lnTo>
                    <a:lnTo>
                      <a:pt x="1151" y="1272"/>
                    </a:lnTo>
                    <a:lnTo>
                      <a:pt x="1152" y="1272"/>
                    </a:lnTo>
                    <a:close/>
                    <a:moveTo>
                      <a:pt x="1195" y="1240"/>
                    </a:moveTo>
                    <a:lnTo>
                      <a:pt x="1195" y="1242"/>
                    </a:lnTo>
                    <a:lnTo>
                      <a:pt x="1196" y="1242"/>
                    </a:lnTo>
                    <a:lnTo>
                      <a:pt x="1196" y="1243"/>
                    </a:lnTo>
                    <a:lnTo>
                      <a:pt x="1198" y="1243"/>
                    </a:lnTo>
                    <a:lnTo>
                      <a:pt x="1200" y="1243"/>
                    </a:lnTo>
                    <a:lnTo>
                      <a:pt x="1202" y="1245"/>
                    </a:lnTo>
                    <a:lnTo>
                      <a:pt x="1202" y="1243"/>
                    </a:lnTo>
                    <a:lnTo>
                      <a:pt x="1203" y="1243"/>
                    </a:lnTo>
                    <a:lnTo>
                      <a:pt x="1205" y="1245"/>
                    </a:lnTo>
                    <a:lnTo>
                      <a:pt x="1203" y="1247"/>
                    </a:lnTo>
                    <a:lnTo>
                      <a:pt x="1203" y="1248"/>
                    </a:lnTo>
                    <a:lnTo>
                      <a:pt x="1202" y="1248"/>
                    </a:lnTo>
                    <a:lnTo>
                      <a:pt x="1200" y="1248"/>
                    </a:lnTo>
                    <a:lnTo>
                      <a:pt x="1202" y="1247"/>
                    </a:lnTo>
                    <a:lnTo>
                      <a:pt x="1200" y="1247"/>
                    </a:lnTo>
                    <a:lnTo>
                      <a:pt x="1198" y="1248"/>
                    </a:lnTo>
                    <a:lnTo>
                      <a:pt x="1196" y="1248"/>
                    </a:lnTo>
                    <a:lnTo>
                      <a:pt x="1195" y="1248"/>
                    </a:lnTo>
                    <a:lnTo>
                      <a:pt x="1193" y="1248"/>
                    </a:lnTo>
                    <a:lnTo>
                      <a:pt x="1191" y="1248"/>
                    </a:lnTo>
                    <a:lnTo>
                      <a:pt x="1190" y="1250"/>
                    </a:lnTo>
                    <a:lnTo>
                      <a:pt x="1190" y="1248"/>
                    </a:lnTo>
                    <a:lnTo>
                      <a:pt x="1188" y="1250"/>
                    </a:lnTo>
                    <a:lnTo>
                      <a:pt x="1186" y="1250"/>
                    </a:lnTo>
                    <a:lnTo>
                      <a:pt x="1186" y="1248"/>
                    </a:lnTo>
                    <a:lnTo>
                      <a:pt x="1186" y="1247"/>
                    </a:lnTo>
                    <a:lnTo>
                      <a:pt x="1185" y="1247"/>
                    </a:lnTo>
                    <a:lnTo>
                      <a:pt x="1185" y="1248"/>
                    </a:lnTo>
                    <a:lnTo>
                      <a:pt x="1185" y="1247"/>
                    </a:lnTo>
                    <a:lnTo>
                      <a:pt x="1183" y="1247"/>
                    </a:lnTo>
                    <a:lnTo>
                      <a:pt x="1181" y="1247"/>
                    </a:lnTo>
                    <a:lnTo>
                      <a:pt x="1181" y="1245"/>
                    </a:lnTo>
                    <a:lnTo>
                      <a:pt x="1183" y="1245"/>
                    </a:lnTo>
                    <a:lnTo>
                      <a:pt x="1185" y="1247"/>
                    </a:lnTo>
                    <a:lnTo>
                      <a:pt x="1185" y="1245"/>
                    </a:lnTo>
                    <a:lnTo>
                      <a:pt x="1183" y="1245"/>
                    </a:lnTo>
                    <a:lnTo>
                      <a:pt x="1183" y="1243"/>
                    </a:lnTo>
                    <a:lnTo>
                      <a:pt x="1185" y="1243"/>
                    </a:lnTo>
                    <a:lnTo>
                      <a:pt x="1185" y="1242"/>
                    </a:lnTo>
                    <a:lnTo>
                      <a:pt x="1186" y="1242"/>
                    </a:lnTo>
                    <a:lnTo>
                      <a:pt x="1186" y="1243"/>
                    </a:lnTo>
                    <a:lnTo>
                      <a:pt x="1188" y="1243"/>
                    </a:lnTo>
                    <a:lnTo>
                      <a:pt x="1188" y="1245"/>
                    </a:lnTo>
                    <a:lnTo>
                      <a:pt x="1190" y="1245"/>
                    </a:lnTo>
                    <a:lnTo>
                      <a:pt x="1191" y="1245"/>
                    </a:lnTo>
                    <a:lnTo>
                      <a:pt x="1190" y="1245"/>
                    </a:lnTo>
                    <a:lnTo>
                      <a:pt x="1190" y="1243"/>
                    </a:lnTo>
                    <a:lnTo>
                      <a:pt x="1188" y="1243"/>
                    </a:lnTo>
                    <a:lnTo>
                      <a:pt x="1188" y="1242"/>
                    </a:lnTo>
                    <a:lnTo>
                      <a:pt x="1186" y="1242"/>
                    </a:lnTo>
                    <a:lnTo>
                      <a:pt x="1188" y="1240"/>
                    </a:lnTo>
                    <a:lnTo>
                      <a:pt x="1190" y="1242"/>
                    </a:lnTo>
                    <a:lnTo>
                      <a:pt x="1190" y="1240"/>
                    </a:lnTo>
                    <a:lnTo>
                      <a:pt x="1191" y="1242"/>
                    </a:lnTo>
                    <a:lnTo>
                      <a:pt x="1193" y="1242"/>
                    </a:lnTo>
                    <a:lnTo>
                      <a:pt x="1195" y="1242"/>
                    </a:lnTo>
                    <a:lnTo>
                      <a:pt x="1195" y="1243"/>
                    </a:lnTo>
                    <a:lnTo>
                      <a:pt x="1196" y="1243"/>
                    </a:lnTo>
                    <a:lnTo>
                      <a:pt x="1195" y="1242"/>
                    </a:lnTo>
                    <a:lnTo>
                      <a:pt x="1193" y="1242"/>
                    </a:lnTo>
                    <a:lnTo>
                      <a:pt x="1191" y="1242"/>
                    </a:lnTo>
                    <a:lnTo>
                      <a:pt x="1191" y="1240"/>
                    </a:lnTo>
                    <a:lnTo>
                      <a:pt x="1193" y="1240"/>
                    </a:lnTo>
                    <a:lnTo>
                      <a:pt x="1195" y="1240"/>
                    </a:lnTo>
                    <a:close/>
                    <a:moveTo>
                      <a:pt x="1147" y="1333"/>
                    </a:moveTo>
                    <a:lnTo>
                      <a:pt x="1149" y="1333"/>
                    </a:lnTo>
                    <a:lnTo>
                      <a:pt x="1151" y="1333"/>
                    </a:lnTo>
                    <a:lnTo>
                      <a:pt x="1151" y="1335"/>
                    </a:lnTo>
                    <a:lnTo>
                      <a:pt x="1151" y="1333"/>
                    </a:lnTo>
                    <a:lnTo>
                      <a:pt x="1151" y="1332"/>
                    </a:lnTo>
                    <a:lnTo>
                      <a:pt x="1152" y="1333"/>
                    </a:lnTo>
                    <a:lnTo>
                      <a:pt x="1152" y="1335"/>
                    </a:lnTo>
                    <a:lnTo>
                      <a:pt x="1154" y="1337"/>
                    </a:lnTo>
                    <a:lnTo>
                      <a:pt x="1152" y="1337"/>
                    </a:lnTo>
                    <a:lnTo>
                      <a:pt x="1152" y="1339"/>
                    </a:lnTo>
                    <a:lnTo>
                      <a:pt x="1152" y="1337"/>
                    </a:lnTo>
                    <a:lnTo>
                      <a:pt x="1154" y="1339"/>
                    </a:lnTo>
                    <a:lnTo>
                      <a:pt x="1154" y="1340"/>
                    </a:lnTo>
                    <a:lnTo>
                      <a:pt x="1156" y="1342"/>
                    </a:lnTo>
                    <a:lnTo>
                      <a:pt x="1156" y="1344"/>
                    </a:lnTo>
                    <a:lnTo>
                      <a:pt x="1156" y="1345"/>
                    </a:lnTo>
                    <a:lnTo>
                      <a:pt x="1157" y="1345"/>
                    </a:lnTo>
                    <a:lnTo>
                      <a:pt x="1157" y="1347"/>
                    </a:lnTo>
                    <a:lnTo>
                      <a:pt x="1157" y="1349"/>
                    </a:lnTo>
                    <a:lnTo>
                      <a:pt x="1156" y="1349"/>
                    </a:lnTo>
                    <a:lnTo>
                      <a:pt x="1157" y="1349"/>
                    </a:lnTo>
                    <a:lnTo>
                      <a:pt x="1156" y="1349"/>
                    </a:lnTo>
                    <a:lnTo>
                      <a:pt x="1156" y="1347"/>
                    </a:lnTo>
                    <a:lnTo>
                      <a:pt x="1154" y="1347"/>
                    </a:lnTo>
                    <a:lnTo>
                      <a:pt x="1154" y="1345"/>
                    </a:lnTo>
                    <a:lnTo>
                      <a:pt x="1152" y="1345"/>
                    </a:lnTo>
                    <a:lnTo>
                      <a:pt x="1154" y="1345"/>
                    </a:lnTo>
                    <a:lnTo>
                      <a:pt x="1154" y="1347"/>
                    </a:lnTo>
                    <a:lnTo>
                      <a:pt x="1154" y="1349"/>
                    </a:lnTo>
                    <a:lnTo>
                      <a:pt x="1152" y="1349"/>
                    </a:lnTo>
                    <a:lnTo>
                      <a:pt x="1151" y="1347"/>
                    </a:lnTo>
                    <a:lnTo>
                      <a:pt x="1151" y="1345"/>
                    </a:lnTo>
                    <a:lnTo>
                      <a:pt x="1149" y="1345"/>
                    </a:lnTo>
                    <a:lnTo>
                      <a:pt x="1149" y="1344"/>
                    </a:lnTo>
                    <a:lnTo>
                      <a:pt x="1151" y="1344"/>
                    </a:lnTo>
                    <a:lnTo>
                      <a:pt x="1151" y="1342"/>
                    </a:lnTo>
                    <a:lnTo>
                      <a:pt x="1152" y="1342"/>
                    </a:lnTo>
                    <a:lnTo>
                      <a:pt x="1151" y="1342"/>
                    </a:lnTo>
                    <a:lnTo>
                      <a:pt x="1151" y="1340"/>
                    </a:lnTo>
                    <a:lnTo>
                      <a:pt x="1151" y="1339"/>
                    </a:lnTo>
                    <a:lnTo>
                      <a:pt x="1151" y="1340"/>
                    </a:lnTo>
                    <a:lnTo>
                      <a:pt x="1149" y="1342"/>
                    </a:lnTo>
                    <a:lnTo>
                      <a:pt x="1147" y="1342"/>
                    </a:lnTo>
                    <a:lnTo>
                      <a:pt x="1147" y="1344"/>
                    </a:lnTo>
                    <a:lnTo>
                      <a:pt x="1145" y="1344"/>
                    </a:lnTo>
                    <a:lnTo>
                      <a:pt x="1144" y="1344"/>
                    </a:lnTo>
                    <a:lnTo>
                      <a:pt x="1144" y="1345"/>
                    </a:lnTo>
                    <a:lnTo>
                      <a:pt x="1144" y="1347"/>
                    </a:lnTo>
                    <a:lnTo>
                      <a:pt x="1142" y="1347"/>
                    </a:lnTo>
                    <a:lnTo>
                      <a:pt x="1142" y="1345"/>
                    </a:lnTo>
                    <a:lnTo>
                      <a:pt x="1142" y="1344"/>
                    </a:lnTo>
                    <a:lnTo>
                      <a:pt x="1140" y="1344"/>
                    </a:lnTo>
                    <a:lnTo>
                      <a:pt x="1140" y="1342"/>
                    </a:lnTo>
                    <a:lnTo>
                      <a:pt x="1142" y="1342"/>
                    </a:lnTo>
                    <a:lnTo>
                      <a:pt x="1144" y="1340"/>
                    </a:lnTo>
                    <a:lnTo>
                      <a:pt x="1145" y="1340"/>
                    </a:lnTo>
                    <a:lnTo>
                      <a:pt x="1145" y="1339"/>
                    </a:lnTo>
                    <a:lnTo>
                      <a:pt x="1145" y="1340"/>
                    </a:lnTo>
                    <a:lnTo>
                      <a:pt x="1145" y="1339"/>
                    </a:lnTo>
                    <a:lnTo>
                      <a:pt x="1144" y="1339"/>
                    </a:lnTo>
                    <a:lnTo>
                      <a:pt x="1144" y="1337"/>
                    </a:lnTo>
                    <a:lnTo>
                      <a:pt x="1142" y="1337"/>
                    </a:lnTo>
                    <a:lnTo>
                      <a:pt x="1144" y="1337"/>
                    </a:lnTo>
                    <a:lnTo>
                      <a:pt x="1142" y="1335"/>
                    </a:lnTo>
                    <a:lnTo>
                      <a:pt x="1144" y="1335"/>
                    </a:lnTo>
                    <a:lnTo>
                      <a:pt x="1144" y="1333"/>
                    </a:lnTo>
                    <a:lnTo>
                      <a:pt x="1145" y="1333"/>
                    </a:lnTo>
                    <a:lnTo>
                      <a:pt x="1147" y="1333"/>
                    </a:lnTo>
                    <a:lnTo>
                      <a:pt x="1147" y="1335"/>
                    </a:lnTo>
                    <a:lnTo>
                      <a:pt x="1147" y="1333"/>
                    </a:lnTo>
                    <a:lnTo>
                      <a:pt x="1147" y="1332"/>
                    </a:lnTo>
                    <a:lnTo>
                      <a:pt x="1147" y="1333"/>
                    </a:lnTo>
                    <a:close/>
                    <a:moveTo>
                      <a:pt x="1193" y="1085"/>
                    </a:moveTo>
                    <a:lnTo>
                      <a:pt x="1195" y="1085"/>
                    </a:lnTo>
                    <a:lnTo>
                      <a:pt x="1196" y="1085"/>
                    </a:lnTo>
                    <a:lnTo>
                      <a:pt x="1195" y="1085"/>
                    </a:lnTo>
                    <a:lnTo>
                      <a:pt x="1196" y="1085"/>
                    </a:lnTo>
                    <a:lnTo>
                      <a:pt x="1198" y="1085"/>
                    </a:lnTo>
                    <a:lnTo>
                      <a:pt x="1200" y="1087"/>
                    </a:lnTo>
                    <a:lnTo>
                      <a:pt x="1202" y="1088"/>
                    </a:lnTo>
                    <a:lnTo>
                      <a:pt x="1200" y="1088"/>
                    </a:lnTo>
                    <a:lnTo>
                      <a:pt x="1202" y="1088"/>
                    </a:lnTo>
                    <a:lnTo>
                      <a:pt x="1202" y="1090"/>
                    </a:lnTo>
                    <a:lnTo>
                      <a:pt x="1200" y="1090"/>
                    </a:lnTo>
                    <a:lnTo>
                      <a:pt x="1198" y="1090"/>
                    </a:lnTo>
                    <a:lnTo>
                      <a:pt x="1196" y="1090"/>
                    </a:lnTo>
                    <a:lnTo>
                      <a:pt x="1196" y="1088"/>
                    </a:lnTo>
                    <a:lnTo>
                      <a:pt x="1198" y="1088"/>
                    </a:lnTo>
                    <a:lnTo>
                      <a:pt x="1196" y="1088"/>
                    </a:lnTo>
                    <a:lnTo>
                      <a:pt x="1196" y="1090"/>
                    </a:lnTo>
                    <a:lnTo>
                      <a:pt x="1196" y="1092"/>
                    </a:lnTo>
                    <a:lnTo>
                      <a:pt x="1195" y="1092"/>
                    </a:lnTo>
                    <a:lnTo>
                      <a:pt x="1195" y="1094"/>
                    </a:lnTo>
                    <a:lnTo>
                      <a:pt x="1193" y="1094"/>
                    </a:lnTo>
                    <a:lnTo>
                      <a:pt x="1191" y="1094"/>
                    </a:lnTo>
                    <a:lnTo>
                      <a:pt x="1190" y="1094"/>
                    </a:lnTo>
                    <a:lnTo>
                      <a:pt x="1190" y="1095"/>
                    </a:lnTo>
                    <a:lnTo>
                      <a:pt x="1188" y="1095"/>
                    </a:lnTo>
                    <a:lnTo>
                      <a:pt x="1186" y="1095"/>
                    </a:lnTo>
                    <a:lnTo>
                      <a:pt x="1185" y="1094"/>
                    </a:lnTo>
                    <a:lnTo>
                      <a:pt x="1185" y="1092"/>
                    </a:lnTo>
                    <a:lnTo>
                      <a:pt x="1185" y="1090"/>
                    </a:lnTo>
                    <a:lnTo>
                      <a:pt x="1186" y="1090"/>
                    </a:lnTo>
                    <a:lnTo>
                      <a:pt x="1188" y="1090"/>
                    </a:lnTo>
                    <a:lnTo>
                      <a:pt x="1188" y="1092"/>
                    </a:lnTo>
                    <a:lnTo>
                      <a:pt x="1190" y="1090"/>
                    </a:lnTo>
                    <a:lnTo>
                      <a:pt x="1188" y="1092"/>
                    </a:lnTo>
                    <a:lnTo>
                      <a:pt x="1190" y="1092"/>
                    </a:lnTo>
                    <a:lnTo>
                      <a:pt x="1191" y="1092"/>
                    </a:lnTo>
                    <a:lnTo>
                      <a:pt x="1193" y="1092"/>
                    </a:lnTo>
                    <a:lnTo>
                      <a:pt x="1191" y="1092"/>
                    </a:lnTo>
                    <a:lnTo>
                      <a:pt x="1190" y="1092"/>
                    </a:lnTo>
                    <a:lnTo>
                      <a:pt x="1190" y="1090"/>
                    </a:lnTo>
                    <a:lnTo>
                      <a:pt x="1188" y="1090"/>
                    </a:lnTo>
                    <a:lnTo>
                      <a:pt x="1186" y="1090"/>
                    </a:lnTo>
                    <a:lnTo>
                      <a:pt x="1185" y="1090"/>
                    </a:lnTo>
                    <a:lnTo>
                      <a:pt x="1183" y="1090"/>
                    </a:lnTo>
                    <a:lnTo>
                      <a:pt x="1183" y="1088"/>
                    </a:lnTo>
                    <a:lnTo>
                      <a:pt x="1183" y="1087"/>
                    </a:lnTo>
                    <a:lnTo>
                      <a:pt x="1185" y="1087"/>
                    </a:lnTo>
                    <a:lnTo>
                      <a:pt x="1186" y="1087"/>
                    </a:lnTo>
                    <a:lnTo>
                      <a:pt x="1186" y="1085"/>
                    </a:lnTo>
                    <a:lnTo>
                      <a:pt x="1188" y="1085"/>
                    </a:lnTo>
                    <a:lnTo>
                      <a:pt x="1190" y="1085"/>
                    </a:lnTo>
                    <a:lnTo>
                      <a:pt x="1191" y="1085"/>
                    </a:lnTo>
                    <a:lnTo>
                      <a:pt x="1193" y="1085"/>
                    </a:lnTo>
                    <a:close/>
                    <a:moveTo>
                      <a:pt x="1176" y="1418"/>
                    </a:moveTo>
                    <a:lnTo>
                      <a:pt x="1178" y="1418"/>
                    </a:lnTo>
                    <a:lnTo>
                      <a:pt x="1178" y="1420"/>
                    </a:lnTo>
                    <a:lnTo>
                      <a:pt x="1179" y="1422"/>
                    </a:lnTo>
                    <a:lnTo>
                      <a:pt x="1179" y="1424"/>
                    </a:lnTo>
                    <a:lnTo>
                      <a:pt x="1178" y="1424"/>
                    </a:lnTo>
                    <a:lnTo>
                      <a:pt x="1178" y="1422"/>
                    </a:lnTo>
                    <a:lnTo>
                      <a:pt x="1179" y="1422"/>
                    </a:lnTo>
                    <a:lnTo>
                      <a:pt x="1178" y="1420"/>
                    </a:lnTo>
                    <a:lnTo>
                      <a:pt x="1178" y="1422"/>
                    </a:lnTo>
                    <a:lnTo>
                      <a:pt x="1178" y="1424"/>
                    </a:lnTo>
                    <a:lnTo>
                      <a:pt x="1178" y="1425"/>
                    </a:lnTo>
                    <a:lnTo>
                      <a:pt x="1178" y="1424"/>
                    </a:lnTo>
                    <a:lnTo>
                      <a:pt x="1176" y="1422"/>
                    </a:lnTo>
                    <a:lnTo>
                      <a:pt x="1174" y="1422"/>
                    </a:lnTo>
                    <a:lnTo>
                      <a:pt x="1174" y="1420"/>
                    </a:lnTo>
                    <a:lnTo>
                      <a:pt x="1174" y="1422"/>
                    </a:lnTo>
                    <a:lnTo>
                      <a:pt x="1176" y="1422"/>
                    </a:lnTo>
                    <a:lnTo>
                      <a:pt x="1176" y="1424"/>
                    </a:lnTo>
                    <a:lnTo>
                      <a:pt x="1178" y="1424"/>
                    </a:lnTo>
                    <a:lnTo>
                      <a:pt x="1176" y="1425"/>
                    </a:lnTo>
                    <a:lnTo>
                      <a:pt x="1178" y="1425"/>
                    </a:lnTo>
                    <a:lnTo>
                      <a:pt x="1178" y="1427"/>
                    </a:lnTo>
                    <a:lnTo>
                      <a:pt x="1178" y="1425"/>
                    </a:lnTo>
                    <a:lnTo>
                      <a:pt x="1178" y="1427"/>
                    </a:lnTo>
                    <a:lnTo>
                      <a:pt x="1178" y="1429"/>
                    </a:lnTo>
                    <a:lnTo>
                      <a:pt x="1176" y="1429"/>
                    </a:lnTo>
                    <a:lnTo>
                      <a:pt x="1176" y="1430"/>
                    </a:lnTo>
                    <a:lnTo>
                      <a:pt x="1176" y="1429"/>
                    </a:lnTo>
                    <a:lnTo>
                      <a:pt x="1174" y="1429"/>
                    </a:lnTo>
                    <a:lnTo>
                      <a:pt x="1176" y="1427"/>
                    </a:lnTo>
                    <a:lnTo>
                      <a:pt x="1174" y="1427"/>
                    </a:lnTo>
                    <a:lnTo>
                      <a:pt x="1174" y="1425"/>
                    </a:lnTo>
                    <a:lnTo>
                      <a:pt x="1174" y="1424"/>
                    </a:lnTo>
                    <a:lnTo>
                      <a:pt x="1173" y="1425"/>
                    </a:lnTo>
                    <a:lnTo>
                      <a:pt x="1173" y="1424"/>
                    </a:lnTo>
                    <a:lnTo>
                      <a:pt x="1171" y="1424"/>
                    </a:lnTo>
                    <a:lnTo>
                      <a:pt x="1173" y="1425"/>
                    </a:lnTo>
                    <a:lnTo>
                      <a:pt x="1173" y="1427"/>
                    </a:lnTo>
                    <a:lnTo>
                      <a:pt x="1171" y="1429"/>
                    </a:lnTo>
                    <a:lnTo>
                      <a:pt x="1171" y="1427"/>
                    </a:lnTo>
                    <a:lnTo>
                      <a:pt x="1171" y="1429"/>
                    </a:lnTo>
                    <a:lnTo>
                      <a:pt x="1171" y="1430"/>
                    </a:lnTo>
                    <a:lnTo>
                      <a:pt x="1171" y="1429"/>
                    </a:lnTo>
                    <a:lnTo>
                      <a:pt x="1169" y="1429"/>
                    </a:lnTo>
                    <a:lnTo>
                      <a:pt x="1169" y="1430"/>
                    </a:lnTo>
                    <a:lnTo>
                      <a:pt x="1171" y="1430"/>
                    </a:lnTo>
                    <a:lnTo>
                      <a:pt x="1169" y="1432"/>
                    </a:lnTo>
                    <a:lnTo>
                      <a:pt x="1168" y="1432"/>
                    </a:lnTo>
                    <a:lnTo>
                      <a:pt x="1168" y="1430"/>
                    </a:lnTo>
                    <a:lnTo>
                      <a:pt x="1168" y="1432"/>
                    </a:lnTo>
                    <a:lnTo>
                      <a:pt x="1166" y="1432"/>
                    </a:lnTo>
                    <a:lnTo>
                      <a:pt x="1168" y="1432"/>
                    </a:lnTo>
                    <a:lnTo>
                      <a:pt x="1166" y="1432"/>
                    </a:lnTo>
                    <a:lnTo>
                      <a:pt x="1166" y="1430"/>
                    </a:lnTo>
                    <a:lnTo>
                      <a:pt x="1166" y="1432"/>
                    </a:lnTo>
                    <a:lnTo>
                      <a:pt x="1164" y="1432"/>
                    </a:lnTo>
                    <a:lnTo>
                      <a:pt x="1164" y="1430"/>
                    </a:lnTo>
                    <a:lnTo>
                      <a:pt x="1164" y="1432"/>
                    </a:lnTo>
                    <a:lnTo>
                      <a:pt x="1164" y="1434"/>
                    </a:lnTo>
                    <a:lnTo>
                      <a:pt x="1162" y="1434"/>
                    </a:lnTo>
                    <a:lnTo>
                      <a:pt x="1161" y="1434"/>
                    </a:lnTo>
                    <a:lnTo>
                      <a:pt x="1162" y="1432"/>
                    </a:lnTo>
                    <a:lnTo>
                      <a:pt x="1161" y="1432"/>
                    </a:lnTo>
                    <a:lnTo>
                      <a:pt x="1162" y="1432"/>
                    </a:lnTo>
                    <a:lnTo>
                      <a:pt x="1161" y="1430"/>
                    </a:lnTo>
                    <a:lnTo>
                      <a:pt x="1162" y="1430"/>
                    </a:lnTo>
                    <a:lnTo>
                      <a:pt x="1164" y="1430"/>
                    </a:lnTo>
                    <a:lnTo>
                      <a:pt x="1164" y="1429"/>
                    </a:lnTo>
                    <a:lnTo>
                      <a:pt x="1166" y="1429"/>
                    </a:lnTo>
                    <a:lnTo>
                      <a:pt x="1168" y="1427"/>
                    </a:lnTo>
                    <a:lnTo>
                      <a:pt x="1169" y="1425"/>
                    </a:lnTo>
                    <a:lnTo>
                      <a:pt x="1168" y="1425"/>
                    </a:lnTo>
                    <a:lnTo>
                      <a:pt x="1168" y="1427"/>
                    </a:lnTo>
                    <a:lnTo>
                      <a:pt x="1168" y="1425"/>
                    </a:lnTo>
                    <a:lnTo>
                      <a:pt x="1168" y="1427"/>
                    </a:lnTo>
                    <a:lnTo>
                      <a:pt x="1166" y="1427"/>
                    </a:lnTo>
                    <a:lnTo>
                      <a:pt x="1164" y="1429"/>
                    </a:lnTo>
                    <a:lnTo>
                      <a:pt x="1164" y="1427"/>
                    </a:lnTo>
                    <a:lnTo>
                      <a:pt x="1162" y="1425"/>
                    </a:lnTo>
                    <a:lnTo>
                      <a:pt x="1164" y="1425"/>
                    </a:lnTo>
                    <a:lnTo>
                      <a:pt x="1164" y="1424"/>
                    </a:lnTo>
                    <a:lnTo>
                      <a:pt x="1166" y="1424"/>
                    </a:lnTo>
                    <a:lnTo>
                      <a:pt x="1166" y="1422"/>
                    </a:lnTo>
                    <a:lnTo>
                      <a:pt x="1168" y="1422"/>
                    </a:lnTo>
                    <a:lnTo>
                      <a:pt x="1168" y="1424"/>
                    </a:lnTo>
                    <a:lnTo>
                      <a:pt x="1168" y="1422"/>
                    </a:lnTo>
                    <a:lnTo>
                      <a:pt x="1168" y="1424"/>
                    </a:lnTo>
                    <a:lnTo>
                      <a:pt x="1168" y="1422"/>
                    </a:lnTo>
                    <a:lnTo>
                      <a:pt x="1169" y="1424"/>
                    </a:lnTo>
                    <a:lnTo>
                      <a:pt x="1169" y="1422"/>
                    </a:lnTo>
                    <a:lnTo>
                      <a:pt x="1168" y="1422"/>
                    </a:lnTo>
                    <a:lnTo>
                      <a:pt x="1168" y="1420"/>
                    </a:lnTo>
                    <a:lnTo>
                      <a:pt x="1169" y="1420"/>
                    </a:lnTo>
                    <a:lnTo>
                      <a:pt x="1171" y="1420"/>
                    </a:lnTo>
                    <a:lnTo>
                      <a:pt x="1169" y="1420"/>
                    </a:lnTo>
                    <a:lnTo>
                      <a:pt x="1169" y="1418"/>
                    </a:lnTo>
                    <a:lnTo>
                      <a:pt x="1171" y="1418"/>
                    </a:lnTo>
                    <a:lnTo>
                      <a:pt x="1171" y="1420"/>
                    </a:lnTo>
                    <a:lnTo>
                      <a:pt x="1171" y="1418"/>
                    </a:lnTo>
                    <a:lnTo>
                      <a:pt x="1173" y="1418"/>
                    </a:lnTo>
                    <a:lnTo>
                      <a:pt x="1174" y="1418"/>
                    </a:lnTo>
                    <a:lnTo>
                      <a:pt x="1176" y="1418"/>
                    </a:lnTo>
                    <a:close/>
                    <a:moveTo>
                      <a:pt x="1151" y="1379"/>
                    </a:moveTo>
                    <a:lnTo>
                      <a:pt x="1151" y="1381"/>
                    </a:lnTo>
                    <a:lnTo>
                      <a:pt x="1151" y="1379"/>
                    </a:lnTo>
                    <a:lnTo>
                      <a:pt x="1152" y="1379"/>
                    </a:lnTo>
                    <a:lnTo>
                      <a:pt x="1154" y="1379"/>
                    </a:lnTo>
                    <a:lnTo>
                      <a:pt x="1152" y="1381"/>
                    </a:lnTo>
                    <a:lnTo>
                      <a:pt x="1152" y="1383"/>
                    </a:lnTo>
                    <a:lnTo>
                      <a:pt x="1152" y="1381"/>
                    </a:lnTo>
                    <a:lnTo>
                      <a:pt x="1154" y="1381"/>
                    </a:lnTo>
                    <a:lnTo>
                      <a:pt x="1156" y="1381"/>
                    </a:lnTo>
                    <a:lnTo>
                      <a:pt x="1157" y="1381"/>
                    </a:lnTo>
                    <a:lnTo>
                      <a:pt x="1159" y="1381"/>
                    </a:lnTo>
                    <a:lnTo>
                      <a:pt x="1161" y="1381"/>
                    </a:lnTo>
                    <a:lnTo>
                      <a:pt x="1161" y="1383"/>
                    </a:lnTo>
                    <a:lnTo>
                      <a:pt x="1159" y="1383"/>
                    </a:lnTo>
                    <a:lnTo>
                      <a:pt x="1157" y="1384"/>
                    </a:lnTo>
                    <a:lnTo>
                      <a:pt x="1157" y="1383"/>
                    </a:lnTo>
                    <a:lnTo>
                      <a:pt x="1157" y="1384"/>
                    </a:lnTo>
                    <a:lnTo>
                      <a:pt x="1156" y="1384"/>
                    </a:lnTo>
                    <a:lnTo>
                      <a:pt x="1157" y="1386"/>
                    </a:lnTo>
                    <a:lnTo>
                      <a:pt x="1156" y="1386"/>
                    </a:lnTo>
                    <a:lnTo>
                      <a:pt x="1156" y="1388"/>
                    </a:lnTo>
                    <a:lnTo>
                      <a:pt x="1156" y="1386"/>
                    </a:lnTo>
                    <a:lnTo>
                      <a:pt x="1154" y="1386"/>
                    </a:lnTo>
                    <a:lnTo>
                      <a:pt x="1152" y="1384"/>
                    </a:lnTo>
                    <a:lnTo>
                      <a:pt x="1154" y="1383"/>
                    </a:lnTo>
                    <a:lnTo>
                      <a:pt x="1152" y="1384"/>
                    </a:lnTo>
                    <a:lnTo>
                      <a:pt x="1152" y="1386"/>
                    </a:lnTo>
                    <a:lnTo>
                      <a:pt x="1154" y="1388"/>
                    </a:lnTo>
                    <a:lnTo>
                      <a:pt x="1156" y="1388"/>
                    </a:lnTo>
                    <a:lnTo>
                      <a:pt x="1154" y="1390"/>
                    </a:lnTo>
                    <a:lnTo>
                      <a:pt x="1152" y="1390"/>
                    </a:lnTo>
                    <a:lnTo>
                      <a:pt x="1152" y="1388"/>
                    </a:lnTo>
                    <a:lnTo>
                      <a:pt x="1152" y="1390"/>
                    </a:lnTo>
                    <a:lnTo>
                      <a:pt x="1154" y="1390"/>
                    </a:lnTo>
                    <a:lnTo>
                      <a:pt x="1156" y="1390"/>
                    </a:lnTo>
                    <a:lnTo>
                      <a:pt x="1154" y="1391"/>
                    </a:lnTo>
                    <a:lnTo>
                      <a:pt x="1152" y="1391"/>
                    </a:lnTo>
                    <a:lnTo>
                      <a:pt x="1154" y="1391"/>
                    </a:lnTo>
                    <a:lnTo>
                      <a:pt x="1154" y="1393"/>
                    </a:lnTo>
                    <a:lnTo>
                      <a:pt x="1152" y="1393"/>
                    </a:lnTo>
                    <a:lnTo>
                      <a:pt x="1154" y="1393"/>
                    </a:lnTo>
                    <a:lnTo>
                      <a:pt x="1154" y="1395"/>
                    </a:lnTo>
                    <a:lnTo>
                      <a:pt x="1154" y="1396"/>
                    </a:lnTo>
                    <a:lnTo>
                      <a:pt x="1152" y="1398"/>
                    </a:lnTo>
                    <a:lnTo>
                      <a:pt x="1152" y="1396"/>
                    </a:lnTo>
                    <a:lnTo>
                      <a:pt x="1152" y="1398"/>
                    </a:lnTo>
                    <a:lnTo>
                      <a:pt x="1152" y="1396"/>
                    </a:lnTo>
                    <a:lnTo>
                      <a:pt x="1152" y="1395"/>
                    </a:lnTo>
                    <a:lnTo>
                      <a:pt x="1152" y="1396"/>
                    </a:lnTo>
                    <a:lnTo>
                      <a:pt x="1151" y="1396"/>
                    </a:lnTo>
                    <a:lnTo>
                      <a:pt x="1149" y="1396"/>
                    </a:lnTo>
                    <a:lnTo>
                      <a:pt x="1149" y="1395"/>
                    </a:lnTo>
                    <a:lnTo>
                      <a:pt x="1147" y="1395"/>
                    </a:lnTo>
                    <a:lnTo>
                      <a:pt x="1149" y="1395"/>
                    </a:lnTo>
                    <a:lnTo>
                      <a:pt x="1147" y="1395"/>
                    </a:lnTo>
                    <a:lnTo>
                      <a:pt x="1149" y="1393"/>
                    </a:lnTo>
                    <a:lnTo>
                      <a:pt x="1147" y="1393"/>
                    </a:lnTo>
                    <a:lnTo>
                      <a:pt x="1147" y="1391"/>
                    </a:lnTo>
                    <a:lnTo>
                      <a:pt x="1149" y="1391"/>
                    </a:lnTo>
                    <a:lnTo>
                      <a:pt x="1151" y="1391"/>
                    </a:lnTo>
                    <a:lnTo>
                      <a:pt x="1149" y="1391"/>
                    </a:lnTo>
                    <a:lnTo>
                      <a:pt x="1149" y="1390"/>
                    </a:lnTo>
                    <a:lnTo>
                      <a:pt x="1147" y="1391"/>
                    </a:lnTo>
                    <a:lnTo>
                      <a:pt x="1147" y="1390"/>
                    </a:lnTo>
                    <a:lnTo>
                      <a:pt x="1145" y="1390"/>
                    </a:lnTo>
                    <a:lnTo>
                      <a:pt x="1147" y="1388"/>
                    </a:lnTo>
                    <a:lnTo>
                      <a:pt x="1147" y="1390"/>
                    </a:lnTo>
                    <a:lnTo>
                      <a:pt x="1149" y="1390"/>
                    </a:lnTo>
                    <a:lnTo>
                      <a:pt x="1147" y="1388"/>
                    </a:lnTo>
                    <a:lnTo>
                      <a:pt x="1147" y="1386"/>
                    </a:lnTo>
                    <a:lnTo>
                      <a:pt x="1149" y="1386"/>
                    </a:lnTo>
                    <a:lnTo>
                      <a:pt x="1147" y="1386"/>
                    </a:lnTo>
                    <a:lnTo>
                      <a:pt x="1149" y="1386"/>
                    </a:lnTo>
                    <a:lnTo>
                      <a:pt x="1151" y="1388"/>
                    </a:lnTo>
                    <a:lnTo>
                      <a:pt x="1151" y="1386"/>
                    </a:lnTo>
                    <a:lnTo>
                      <a:pt x="1149" y="1386"/>
                    </a:lnTo>
                    <a:lnTo>
                      <a:pt x="1151" y="1386"/>
                    </a:lnTo>
                    <a:lnTo>
                      <a:pt x="1151" y="1384"/>
                    </a:lnTo>
                    <a:lnTo>
                      <a:pt x="1149" y="1386"/>
                    </a:lnTo>
                    <a:lnTo>
                      <a:pt x="1149" y="1384"/>
                    </a:lnTo>
                    <a:lnTo>
                      <a:pt x="1147" y="1383"/>
                    </a:lnTo>
                    <a:lnTo>
                      <a:pt x="1147" y="1381"/>
                    </a:lnTo>
                    <a:lnTo>
                      <a:pt x="1147" y="1379"/>
                    </a:lnTo>
                    <a:lnTo>
                      <a:pt x="1149" y="1381"/>
                    </a:lnTo>
                    <a:lnTo>
                      <a:pt x="1149" y="1379"/>
                    </a:lnTo>
                    <a:lnTo>
                      <a:pt x="1147" y="1379"/>
                    </a:lnTo>
                    <a:lnTo>
                      <a:pt x="1149" y="1379"/>
                    </a:lnTo>
                    <a:lnTo>
                      <a:pt x="1151" y="1379"/>
                    </a:lnTo>
                    <a:close/>
                    <a:moveTo>
                      <a:pt x="1147" y="1293"/>
                    </a:moveTo>
                    <a:lnTo>
                      <a:pt x="1149" y="1293"/>
                    </a:lnTo>
                    <a:lnTo>
                      <a:pt x="1147" y="1294"/>
                    </a:lnTo>
                    <a:lnTo>
                      <a:pt x="1147" y="1296"/>
                    </a:lnTo>
                    <a:lnTo>
                      <a:pt x="1145" y="1296"/>
                    </a:lnTo>
                    <a:lnTo>
                      <a:pt x="1147" y="1296"/>
                    </a:lnTo>
                    <a:lnTo>
                      <a:pt x="1147" y="1294"/>
                    </a:lnTo>
                    <a:lnTo>
                      <a:pt x="1149" y="1294"/>
                    </a:lnTo>
                    <a:lnTo>
                      <a:pt x="1149" y="1293"/>
                    </a:lnTo>
                    <a:lnTo>
                      <a:pt x="1151" y="1293"/>
                    </a:lnTo>
                    <a:lnTo>
                      <a:pt x="1151" y="1294"/>
                    </a:lnTo>
                    <a:lnTo>
                      <a:pt x="1149" y="1294"/>
                    </a:lnTo>
                    <a:lnTo>
                      <a:pt x="1149" y="1296"/>
                    </a:lnTo>
                    <a:lnTo>
                      <a:pt x="1151" y="1294"/>
                    </a:lnTo>
                    <a:lnTo>
                      <a:pt x="1151" y="1296"/>
                    </a:lnTo>
                    <a:lnTo>
                      <a:pt x="1152" y="1296"/>
                    </a:lnTo>
                    <a:lnTo>
                      <a:pt x="1152" y="1298"/>
                    </a:lnTo>
                    <a:lnTo>
                      <a:pt x="1152" y="1296"/>
                    </a:lnTo>
                    <a:lnTo>
                      <a:pt x="1152" y="1294"/>
                    </a:lnTo>
                    <a:lnTo>
                      <a:pt x="1151" y="1294"/>
                    </a:lnTo>
                    <a:lnTo>
                      <a:pt x="1152" y="1293"/>
                    </a:lnTo>
                    <a:lnTo>
                      <a:pt x="1151" y="1294"/>
                    </a:lnTo>
                    <a:lnTo>
                      <a:pt x="1152" y="1293"/>
                    </a:lnTo>
                    <a:lnTo>
                      <a:pt x="1154" y="1294"/>
                    </a:lnTo>
                    <a:lnTo>
                      <a:pt x="1156" y="1294"/>
                    </a:lnTo>
                    <a:lnTo>
                      <a:pt x="1156" y="1296"/>
                    </a:lnTo>
                    <a:lnTo>
                      <a:pt x="1156" y="1298"/>
                    </a:lnTo>
                    <a:lnTo>
                      <a:pt x="1156" y="1299"/>
                    </a:lnTo>
                    <a:lnTo>
                      <a:pt x="1156" y="1301"/>
                    </a:lnTo>
                    <a:lnTo>
                      <a:pt x="1157" y="1301"/>
                    </a:lnTo>
                    <a:lnTo>
                      <a:pt x="1157" y="1303"/>
                    </a:lnTo>
                    <a:lnTo>
                      <a:pt x="1157" y="1305"/>
                    </a:lnTo>
                    <a:lnTo>
                      <a:pt x="1156" y="1305"/>
                    </a:lnTo>
                    <a:lnTo>
                      <a:pt x="1156" y="1306"/>
                    </a:lnTo>
                    <a:lnTo>
                      <a:pt x="1156" y="1305"/>
                    </a:lnTo>
                    <a:lnTo>
                      <a:pt x="1154" y="1306"/>
                    </a:lnTo>
                    <a:lnTo>
                      <a:pt x="1154" y="1305"/>
                    </a:lnTo>
                    <a:lnTo>
                      <a:pt x="1154" y="1303"/>
                    </a:lnTo>
                    <a:lnTo>
                      <a:pt x="1154" y="1301"/>
                    </a:lnTo>
                    <a:lnTo>
                      <a:pt x="1154" y="1299"/>
                    </a:lnTo>
                    <a:lnTo>
                      <a:pt x="1154" y="1298"/>
                    </a:lnTo>
                    <a:lnTo>
                      <a:pt x="1152" y="1299"/>
                    </a:lnTo>
                    <a:lnTo>
                      <a:pt x="1151" y="1299"/>
                    </a:lnTo>
                    <a:lnTo>
                      <a:pt x="1152" y="1298"/>
                    </a:lnTo>
                    <a:lnTo>
                      <a:pt x="1151" y="1299"/>
                    </a:lnTo>
                    <a:lnTo>
                      <a:pt x="1151" y="1301"/>
                    </a:lnTo>
                    <a:lnTo>
                      <a:pt x="1149" y="1301"/>
                    </a:lnTo>
                    <a:lnTo>
                      <a:pt x="1149" y="1303"/>
                    </a:lnTo>
                    <a:lnTo>
                      <a:pt x="1147" y="1305"/>
                    </a:lnTo>
                    <a:lnTo>
                      <a:pt x="1145" y="1303"/>
                    </a:lnTo>
                    <a:lnTo>
                      <a:pt x="1144" y="1301"/>
                    </a:lnTo>
                    <a:lnTo>
                      <a:pt x="1145" y="1301"/>
                    </a:lnTo>
                    <a:lnTo>
                      <a:pt x="1147" y="1299"/>
                    </a:lnTo>
                    <a:lnTo>
                      <a:pt x="1147" y="1301"/>
                    </a:lnTo>
                    <a:lnTo>
                      <a:pt x="1147" y="1299"/>
                    </a:lnTo>
                    <a:lnTo>
                      <a:pt x="1149" y="1299"/>
                    </a:lnTo>
                    <a:lnTo>
                      <a:pt x="1147" y="1299"/>
                    </a:lnTo>
                    <a:lnTo>
                      <a:pt x="1147" y="1298"/>
                    </a:lnTo>
                    <a:lnTo>
                      <a:pt x="1147" y="1299"/>
                    </a:lnTo>
                    <a:lnTo>
                      <a:pt x="1145" y="1299"/>
                    </a:lnTo>
                    <a:lnTo>
                      <a:pt x="1145" y="1301"/>
                    </a:lnTo>
                    <a:lnTo>
                      <a:pt x="1144" y="1299"/>
                    </a:lnTo>
                    <a:lnTo>
                      <a:pt x="1142" y="1299"/>
                    </a:lnTo>
                    <a:lnTo>
                      <a:pt x="1142" y="1298"/>
                    </a:lnTo>
                    <a:lnTo>
                      <a:pt x="1142" y="1299"/>
                    </a:lnTo>
                    <a:lnTo>
                      <a:pt x="1142" y="1298"/>
                    </a:lnTo>
                    <a:lnTo>
                      <a:pt x="1142" y="1296"/>
                    </a:lnTo>
                    <a:lnTo>
                      <a:pt x="1142" y="1294"/>
                    </a:lnTo>
                    <a:lnTo>
                      <a:pt x="1144" y="1293"/>
                    </a:lnTo>
                    <a:lnTo>
                      <a:pt x="1145" y="1294"/>
                    </a:lnTo>
                    <a:lnTo>
                      <a:pt x="1144" y="1293"/>
                    </a:lnTo>
                    <a:lnTo>
                      <a:pt x="1145" y="1293"/>
                    </a:lnTo>
                    <a:lnTo>
                      <a:pt x="1144" y="1293"/>
                    </a:lnTo>
                    <a:lnTo>
                      <a:pt x="1145" y="1293"/>
                    </a:lnTo>
                    <a:lnTo>
                      <a:pt x="1145" y="1291"/>
                    </a:lnTo>
                    <a:lnTo>
                      <a:pt x="1147" y="1293"/>
                    </a:lnTo>
                    <a:close/>
                    <a:moveTo>
                      <a:pt x="1168" y="1442"/>
                    </a:moveTo>
                    <a:lnTo>
                      <a:pt x="1169" y="1442"/>
                    </a:lnTo>
                    <a:lnTo>
                      <a:pt x="1171" y="1442"/>
                    </a:lnTo>
                    <a:lnTo>
                      <a:pt x="1171" y="1444"/>
                    </a:lnTo>
                    <a:lnTo>
                      <a:pt x="1169" y="1444"/>
                    </a:lnTo>
                    <a:lnTo>
                      <a:pt x="1171" y="1444"/>
                    </a:lnTo>
                    <a:lnTo>
                      <a:pt x="1169" y="1446"/>
                    </a:lnTo>
                    <a:lnTo>
                      <a:pt x="1171" y="1446"/>
                    </a:lnTo>
                    <a:lnTo>
                      <a:pt x="1171" y="1447"/>
                    </a:lnTo>
                    <a:lnTo>
                      <a:pt x="1169" y="1447"/>
                    </a:lnTo>
                    <a:lnTo>
                      <a:pt x="1169" y="1449"/>
                    </a:lnTo>
                    <a:lnTo>
                      <a:pt x="1169" y="1447"/>
                    </a:lnTo>
                    <a:lnTo>
                      <a:pt x="1171" y="1447"/>
                    </a:lnTo>
                    <a:lnTo>
                      <a:pt x="1171" y="1449"/>
                    </a:lnTo>
                    <a:lnTo>
                      <a:pt x="1171" y="1451"/>
                    </a:lnTo>
                    <a:lnTo>
                      <a:pt x="1169" y="1451"/>
                    </a:lnTo>
                    <a:lnTo>
                      <a:pt x="1171" y="1451"/>
                    </a:lnTo>
                    <a:lnTo>
                      <a:pt x="1171" y="1453"/>
                    </a:lnTo>
                    <a:lnTo>
                      <a:pt x="1171" y="1454"/>
                    </a:lnTo>
                    <a:lnTo>
                      <a:pt x="1169" y="1454"/>
                    </a:lnTo>
                    <a:lnTo>
                      <a:pt x="1169" y="1456"/>
                    </a:lnTo>
                    <a:lnTo>
                      <a:pt x="1169" y="1458"/>
                    </a:lnTo>
                    <a:lnTo>
                      <a:pt x="1169" y="1459"/>
                    </a:lnTo>
                    <a:lnTo>
                      <a:pt x="1168" y="1459"/>
                    </a:lnTo>
                    <a:lnTo>
                      <a:pt x="1169" y="1459"/>
                    </a:lnTo>
                    <a:lnTo>
                      <a:pt x="1169" y="1461"/>
                    </a:lnTo>
                    <a:lnTo>
                      <a:pt x="1168" y="1461"/>
                    </a:lnTo>
                    <a:lnTo>
                      <a:pt x="1169" y="1461"/>
                    </a:lnTo>
                    <a:lnTo>
                      <a:pt x="1168" y="1461"/>
                    </a:lnTo>
                    <a:lnTo>
                      <a:pt x="1168" y="1463"/>
                    </a:lnTo>
                    <a:lnTo>
                      <a:pt x="1166" y="1463"/>
                    </a:lnTo>
                    <a:lnTo>
                      <a:pt x="1168" y="1463"/>
                    </a:lnTo>
                    <a:lnTo>
                      <a:pt x="1168" y="1464"/>
                    </a:lnTo>
                    <a:lnTo>
                      <a:pt x="1166" y="1464"/>
                    </a:lnTo>
                    <a:lnTo>
                      <a:pt x="1168" y="1466"/>
                    </a:lnTo>
                    <a:lnTo>
                      <a:pt x="1166" y="1468"/>
                    </a:lnTo>
                    <a:lnTo>
                      <a:pt x="1164" y="1468"/>
                    </a:lnTo>
                    <a:lnTo>
                      <a:pt x="1166" y="1470"/>
                    </a:lnTo>
                    <a:lnTo>
                      <a:pt x="1166" y="1468"/>
                    </a:lnTo>
                    <a:lnTo>
                      <a:pt x="1166" y="1470"/>
                    </a:lnTo>
                    <a:lnTo>
                      <a:pt x="1164" y="1470"/>
                    </a:lnTo>
                    <a:lnTo>
                      <a:pt x="1164" y="1468"/>
                    </a:lnTo>
                    <a:lnTo>
                      <a:pt x="1166" y="1466"/>
                    </a:lnTo>
                    <a:lnTo>
                      <a:pt x="1164" y="1468"/>
                    </a:lnTo>
                    <a:lnTo>
                      <a:pt x="1164" y="1470"/>
                    </a:lnTo>
                    <a:lnTo>
                      <a:pt x="1162" y="1470"/>
                    </a:lnTo>
                    <a:lnTo>
                      <a:pt x="1162" y="1468"/>
                    </a:lnTo>
                    <a:lnTo>
                      <a:pt x="1164" y="1468"/>
                    </a:lnTo>
                    <a:lnTo>
                      <a:pt x="1164" y="1466"/>
                    </a:lnTo>
                    <a:lnTo>
                      <a:pt x="1164" y="1464"/>
                    </a:lnTo>
                    <a:lnTo>
                      <a:pt x="1164" y="1466"/>
                    </a:lnTo>
                    <a:lnTo>
                      <a:pt x="1162" y="1466"/>
                    </a:lnTo>
                    <a:lnTo>
                      <a:pt x="1164" y="1464"/>
                    </a:lnTo>
                    <a:lnTo>
                      <a:pt x="1162" y="1464"/>
                    </a:lnTo>
                    <a:lnTo>
                      <a:pt x="1162" y="1466"/>
                    </a:lnTo>
                    <a:lnTo>
                      <a:pt x="1162" y="1464"/>
                    </a:lnTo>
                    <a:lnTo>
                      <a:pt x="1161" y="1464"/>
                    </a:lnTo>
                    <a:lnTo>
                      <a:pt x="1161" y="1463"/>
                    </a:lnTo>
                    <a:lnTo>
                      <a:pt x="1161" y="1461"/>
                    </a:lnTo>
                    <a:lnTo>
                      <a:pt x="1162" y="1461"/>
                    </a:lnTo>
                    <a:lnTo>
                      <a:pt x="1164" y="1459"/>
                    </a:lnTo>
                    <a:lnTo>
                      <a:pt x="1162" y="1459"/>
                    </a:lnTo>
                    <a:lnTo>
                      <a:pt x="1162" y="1458"/>
                    </a:lnTo>
                    <a:lnTo>
                      <a:pt x="1162" y="1456"/>
                    </a:lnTo>
                    <a:lnTo>
                      <a:pt x="1164" y="1456"/>
                    </a:lnTo>
                    <a:lnTo>
                      <a:pt x="1164" y="1454"/>
                    </a:lnTo>
                    <a:lnTo>
                      <a:pt x="1164" y="1453"/>
                    </a:lnTo>
                    <a:lnTo>
                      <a:pt x="1164" y="1451"/>
                    </a:lnTo>
                    <a:lnTo>
                      <a:pt x="1166" y="1453"/>
                    </a:lnTo>
                    <a:lnTo>
                      <a:pt x="1164" y="1453"/>
                    </a:lnTo>
                    <a:lnTo>
                      <a:pt x="1166" y="1454"/>
                    </a:lnTo>
                    <a:lnTo>
                      <a:pt x="1166" y="1456"/>
                    </a:lnTo>
                    <a:lnTo>
                      <a:pt x="1166" y="1454"/>
                    </a:lnTo>
                    <a:lnTo>
                      <a:pt x="1166" y="1456"/>
                    </a:lnTo>
                    <a:lnTo>
                      <a:pt x="1164" y="1458"/>
                    </a:lnTo>
                    <a:lnTo>
                      <a:pt x="1166" y="1458"/>
                    </a:lnTo>
                    <a:lnTo>
                      <a:pt x="1166" y="1456"/>
                    </a:lnTo>
                    <a:lnTo>
                      <a:pt x="1166" y="1458"/>
                    </a:lnTo>
                    <a:lnTo>
                      <a:pt x="1166" y="1456"/>
                    </a:lnTo>
                    <a:lnTo>
                      <a:pt x="1168" y="1454"/>
                    </a:lnTo>
                    <a:lnTo>
                      <a:pt x="1168" y="1456"/>
                    </a:lnTo>
                    <a:lnTo>
                      <a:pt x="1168" y="1458"/>
                    </a:lnTo>
                    <a:lnTo>
                      <a:pt x="1168" y="1459"/>
                    </a:lnTo>
                    <a:lnTo>
                      <a:pt x="1168" y="1458"/>
                    </a:lnTo>
                    <a:lnTo>
                      <a:pt x="1168" y="1456"/>
                    </a:lnTo>
                    <a:lnTo>
                      <a:pt x="1168" y="1454"/>
                    </a:lnTo>
                    <a:lnTo>
                      <a:pt x="1169" y="1454"/>
                    </a:lnTo>
                    <a:lnTo>
                      <a:pt x="1169" y="1453"/>
                    </a:lnTo>
                    <a:lnTo>
                      <a:pt x="1168" y="1454"/>
                    </a:lnTo>
                    <a:lnTo>
                      <a:pt x="1168" y="1453"/>
                    </a:lnTo>
                    <a:lnTo>
                      <a:pt x="1168" y="1451"/>
                    </a:lnTo>
                    <a:lnTo>
                      <a:pt x="1168" y="1453"/>
                    </a:lnTo>
                    <a:lnTo>
                      <a:pt x="1168" y="1451"/>
                    </a:lnTo>
                    <a:lnTo>
                      <a:pt x="1166" y="1451"/>
                    </a:lnTo>
                    <a:lnTo>
                      <a:pt x="1168" y="1449"/>
                    </a:lnTo>
                    <a:lnTo>
                      <a:pt x="1169" y="1449"/>
                    </a:lnTo>
                    <a:lnTo>
                      <a:pt x="1168" y="1447"/>
                    </a:lnTo>
                    <a:lnTo>
                      <a:pt x="1166" y="1446"/>
                    </a:lnTo>
                    <a:lnTo>
                      <a:pt x="1166" y="1444"/>
                    </a:lnTo>
                    <a:lnTo>
                      <a:pt x="1168" y="1444"/>
                    </a:lnTo>
                    <a:lnTo>
                      <a:pt x="1166" y="1444"/>
                    </a:lnTo>
                    <a:lnTo>
                      <a:pt x="1164" y="1444"/>
                    </a:lnTo>
                    <a:lnTo>
                      <a:pt x="1166" y="1442"/>
                    </a:lnTo>
                    <a:lnTo>
                      <a:pt x="1168" y="1441"/>
                    </a:lnTo>
                    <a:lnTo>
                      <a:pt x="1168" y="1442"/>
                    </a:lnTo>
                    <a:close/>
                    <a:moveTo>
                      <a:pt x="1188" y="1468"/>
                    </a:moveTo>
                    <a:lnTo>
                      <a:pt x="1190" y="1468"/>
                    </a:lnTo>
                    <a:lnTo>
                      <a:pt x="1190" y="1470"/>
                    </a:lnTo>
                    <a:lnTo>
                      <a:pt x="1191" y="1470"/>
                    </a:lnTo>
                    <a:lnTo>
                      <a:pt x="1191" y="1471"/>
                    </a:lnTo>
                    <a:lnTo>
                      <a:pt x="1193" y="1471"/>
                    </a:lnTo>
                    <a:lnTo>
                      <a:pt x="1193" y="1473"/>
                    </a:lnTo>
                    <a:lnTo>
                      <a:pt x="1195" y="1473"/>
                    </a:lnTo>
                    <a:lnTo>
                      <a:pt x="1195" y="1475"/>
                    </a:lnTo>
                    <a:lnTo>
                      <a:pt x="1196" y="1476"/>
                    </a:lnTo>
                    <a:lnTo>
                      <a:pt x="1196" y="1478"/>
                    </a:lnTo>
                    <a:lnTo>
                      <a:pt x="1198" y="1480"/>
                    </a:lnTo>
                    <a:lnTo>
                      <a:pt x="1196" y="1478"/>
                    </a:lnTo>
                    <a:lnTo>
                      <a:pt x="1198" y="1478"/>
                    </a:lnTo>
                    <a:lnTo>
                      <a:pt x="1198" y="1480"/>
                    </a:lnTo>
                    <a:lnTo>
                      <a:pt x="1200" y="1480"/>
                    </a:lnTo>
                    <a:lnTo>
                      <a:pt x="1200" y="1481"/>
                    </a:lnTo>
                    <a:lnTo>
                      <a:pt x="1198" y="1481"/>
                    </a:lnTo>
                    <a:lnTo>
                      <a:pt x="1198" y="1480"/>
                    </a:lnTo>
                    <a:lnTo>
                      <a:pt x="1196" y="1480"/>
                    </a:lnTo>
                    <a:lnTo>
                      <a:pt x="1198" y="1481"/>
                    </a:lnTo>
                    <a:lnTo>
                      <a:pt x="1198" y="1483"/>
                    </a:lnTo>
                    <a:lnTo>
                      <a:pt x="1196" y="1483"/>
                    </a:lnTo>
                    <a:lnTo>
                      <a:pt x="1196" y="1481"/>
                    </a:lnTo>
                    <a:lnTo>
                      <a:pt x="1195" y="1481"/>
                    </a:lnTo>
                    <a:lnTo>
                      <a:pt x="1195" y="1480"/>
                    </a:lnTo>
                    <a:lnTo>
                      <a:pt x="1196" y="1481"/>
                    </a:lnTo>
                    <a:lnTo>
                      <a:pt x="1196" y="1483"/>
                    </a:lnTo>
                    <a:lnTo>
                      <a:pt x="1195" y="1481"/>
                    </a:lnTo>
                    <a:lnTo>
                      <a:pt x="1196" y="1483"/>
                    </a:lnTo>
                    <a:lnTo>
                      <a:pt x="1195" y="1485"/>
                    </a:lnTo>
                    <a:lnTo>
                      <a:pt x="1195" y="1483"/>
                    </a:lnTo>
                    <a:lnTo>
                      <a:pt x="1193" y="1485"/>
                    </a:lnTo>
                    <a:lnTo>
                      <a:pt x="1191" y="1485"/>
                    </a:lnTo>
                    <a:lnTo>
                      <a:pt x="1191" y="1483"/>
                    </a:lnTo>
                    <a:lnTo>
                      <a:pt x="1191" y="1485"/>
                    </a:lnTo>
                    <a:lnTo>
                      <a:pt x="1190" y="1485"/>
                    </a:lnTo>
                    <a:lnTo>
                      <a:pt x="1191" y="1483"/>
                    </a:lnTo>
                    <a:lnTo>
                      <a:pt x="1190" y="1481"/>
                    </a:lnTo>
                    <a:lnTo>
                      <a:pt x="1191" y="1481"/>
                    </a:lnTo>
                    <a:lnTo>
                      <a:pt x="1191" y="1480"/>
                    </a:lnTo>
                    <a:lnTo>
                      <a:pt x="1193" y="1480"/>
                    </a:lnTo>
                    <a:lnTo>
                      <a:pt x="1191" y="1480"/>
                    </a:lnTo>
                    <a:lnTo>
                      <a:pt x="1191" y="1481"/>
                    </a:lnTo>
                    <a:lnTo>
                      <a:pt x="1190" y="1481"/>
                    </a:lnTo>
                    <a:lnTo>
                      <a:pt x="1188" y="1481"/>
                    </a:lnTo>
                    <a:lnTo>
                      <a:pt x="1188" y="1483"/>
                    </a:lnTo>
                    <a:lnTo>
                      <a:pt x="1188" y="1481"/>
                    </a:lnTo>
                    <a:lnTo>
                      <a:pt x="1188" y="1480"/>
                    </a:lnTo>
                    <a:lnTo>
                      <a:pt x="1190" y="1480"/>
                    </a:lnTo>
                    <a:lnTo>
                      <a:pt x="1191" y="1480"/>
                    </a:lnTo>
                    <a:lnTo>
                      <a:pt x="1191" y="1478"/>
                    </a:lnTo>
                    <a:lnTo>
                      <a:pt x="1191" y="1480"/>
                    </a:lnTo>
                    <a:lnTo>
                      <a:pt x="1190" y="1478"/>
                    </a:lnTo>
                    <a:lnTo>
                      <a:pt x="1190" y="1476"/>
                    </a:lnTo>
                    <a:lnTo>
                      <a:pt x="1190" y="1475"/>
                    </a:lnTo>
                    <a:lnTo>
                      <a:pt x="1191" y="1475"/>
                    </a:lnTo>
                    <a:lnTo>
                      <a:pt x="1191" y="1476"/>
                    </a:lnTo>
                    <a:lnTo>
                      <a:pt x="1191" y="1475"/>
                    </a:lnTo>
                    <a:lnTo>
                      <a:pt x="1191" y="1473"/>
                    </a:lnTo>
                    <a:lnTo>
                      <a:pt x="1190" y="1475"/>
                    </a:lnTo>
                    <a:lnTo>
                      <a:pt x="1190" y="1473"/>
                    </a:lnTo>
                    <a:lnTo>
                      <a:pt x="1188" y="1473"/>
                    </a:lnTo>
                    <a:lnTo>
                      <a:pt x="1190" y="1473"/>
                    </a:lnTo>
                    <a:lnTo>
                      <a:pt x="1188" y="1473"/>
                    </a:lnTo>
                    <a:lnTo>
                      <a:pt x="1186" y="1473"/>
                    </a:lnTo>
                    <a:lnTo>
                      <a:pt x="1186" y="1475"/>
                    </a:lnTo>
                    <a:lnTo>
                      <a:pt x="1185" y="1473"/>
                    </a:lnTo>
                    <a:lnTo>
                      <a:pt x="1185" y="1471"/>
                    </a:lnTo>
                    <a:lnTo>
                      <a:pt x="1183" y="1473"/>
                    </a:lnTo>
                    <a:lnTo>
                      <a:pt x="1181" y="1473"/>
                    </a:lnTo>
                    <a:lnTo>
                      <a:pt x="1181" y="1471"/>
                    </a:lnTo>
                    <a:lnTo>
                      <a:pt x="1183" y="1470"/>
                    </a:lnTo>
                    <a:lnTo>
                      <a:pt x="1183" y="1471"/>
                    </a:lnTo>
                    <a:lnTo>
                      <a:pt x="1185" y="1471"/>
                    </a:lnTo>
                    <a:lnTo>
                      <a:pt x="1185" y="1473"/>
                    </a:lnTo>
                    <a:lnTo>
                      <a:pt x="1186" y="1473"/>
                    </a:lnTo>
                    <a:lnTo>
                      <a:pt x="1185" y="1473"/>
                    </a:lnTo>
                    <a:lnTo>
                      <a:pt x="1186" y="1473"/>
                    </a:lnTo>
                    <a:lnTo>
                      <a:pt x="1186" y="1471"/>
                    </a:lnTo>
                    <a:lnTo>
                      <a:pt x="1185" y="1471"/>
                    </a:lnTo>
                    <a:lnTo>
                      <a:pt x="1183" y="1471"/>
                    </a:lnTo>
                    <a:lnTo>
                      <a:pt x="1183" y="1470"/>
                    </a:lnTo>
                    <a:lnTo>
                      <a:pt x="1185" y="1470"/>
                    </a:lnTo>
                    <a:lnTo>
                      <a:pt x="1185" y="1468"/>
                    </a:lnTo>
                    <a:lnTo>
                      <a:pt x="1186" y="1468"/>
                    </a:lnTo>
                    <a:lnTo>
                      <a:pt x="1188" y="1468"/>
                    </a:lnTo>
                    <a:close/>
                    <a:moveTo>
                      <a:pt x="1195" y="1437"/>
                    </a:moveTo>
                    <a:lnTo>
                      <a:pt x="1195" y="1439"/>
                    </a:lnTo>
                    <a:lnTo>
                      <a:pt x="1193" y="1437"/>
                    </a:lnTo>
                    <a:lnTo>
                      <a:pt x="1195" y="1439"/>
                    </a:lnTo>
                    <a:lnTo>
                      <a:pt x="1195" y="1441"/>
                    </a:lnTo>
                    <a:lnTo>
                      <a:pt x="1196" y="1441"/>
                    </a:lnTo>
                    <a:lnTo>
                      <a:pt x="1195" y="1442"/>
                    </a:lnTo>
                    <a:lnTo>
                      <a:pt x="1196" y="1442"/>
                    </a:lnTo>
                    <a:lnTo>
                      <a:pt x="1196" y="1444"/>
                    </a:lnTo>
                    <a:lnTo>
                      <a:pt x="1196" y="1446"/>
                    </a:lnTo>
                    <a:lnTo>
                      <a:pt x="1195" y="1446"/>
                    </a:lnTo>
                    <a:lnTo>
                      <a:pt x="1196" y="1447"/>
                    </a:lnTo>
                    <a:lnTo>
                      <a:pt x="1198" y="1447"/>
                    </a:lnTo>
                    <a:lnTo>
                      <a:pt x="1198" y="1446"/>
                    </a:lnTo>
                    <a:lnTo>
                      <a:pt x="1198" y="1447"/>
                    </a:lnTo>
                    <a:lnTo>
                      <a:pt x="1198" y="1449"/>
                    </a:lnTo>
                    <a:lnTo>
                      <a:pt x="1200" y="1449"/>
                    </a:lnTo>
                    <a:lnTo>
                      <a:pt x="1198" y="1451"/>
                    </a:lnTo>
                    <a:lnTo>
                      <a:pt x="1200" y="1451"/>
                    </a:lnTo>
                    <a:lnTo>
                      <a:pt x="1202" y="1453"/>
                    </a:lnTo>
                    <a:lnTo>
                      <a:pt x="1203" y="1454"/>
                    </a:lnTo>
                    <a:lnTo>
                      <a:pt x="1203" y="1456"/>
                    </a:lnTo>
                    <a:lnTo>
                      <a:pt x="1203" y="1458"/>
                    </a:lnTo>
                    <a:lnTo>
                      <a:pt x="1205" y="1458"/>
                    </a:lnTo>
                    <a:lnTo>
                      <a:pt x="1205" y="1459"/>
                    </a:lnTo>
                    <a:lnTo>
                      <a:pt x="1207" y="1461"/>
                    </a:lnTo>
                    <a:lnTo>
                      <a:pt x="1207" y="1463"/>
                    </a:lnTo>
                    <a:lnTo>
                      <a:pt x="1205" y="1463"/>
                    </a:lnTo>
                    <a:lnTo>
                      <a:pt x="1203" y="1463"/>
                    </a:lnTo>
                    <a:lnTo>
                      <a:pt x="1203" y="1461"/>
                    </a:lnTo>
                    <a:lnTo>
                      <a:pt x="1202" y="1459"/>
                    </a:lnTo>
                    <a:lnTo>
                      <a:pt x="1202" y="1458"/>
                    </a:lnTo>
                    <a:lnTo>
                      <a:pt x="1203" y="1458"/>
                    </a:lnTo>
                    <a:lnTo>
                      <a:pt x="1202" y="1458"/>
                    </a:lnTo>
                    <a:lnTo>
                      <a:pt x="1200" y="1458"/>
                    </a:lnTo>
                    <a:lnTo>
                      <a:pt x="1202" y="1458"/>
                    </a:lnTo>
                    <a:lnTo>
                      <a:pt x="1200" y="1456"/>
                    </a:lnTo>
                    <a:lnTo>
                      <a:pt x="1202" y="1456"/>
                    </a:lnTo>
                    <a:lnTo>
                      <a:pt x="1200" y="1456"/>
                    </a:lnTo>
                    <a:lnTo>
                      <a:pt x="1198" y="1456"/>
                    </a:lnTo>
                    <a:lnTo>
                      <a:pt x="1198" y="1454"/>
                    </a:lnTo>
                    <a:lnTo>
                      <a:pt x="1198" y="1453"/>
                    </a:lnTo>
                    <a:lnTo>
                      <a:pt x="1196" y="1453"/>
                    </a:lnTo>
                    <a:lnTo>
                      <a:pt x="1198" y="1453"/>
                    </a:lnTo>
                    <a:lnTo>
                      <a:pt x="1198" y="1451"/>
                    </a:lnTo>
                    <a:lnTo>
                      <a:pt x="1198" y="1453"/>
                    </a:lnTo>
                    <a:lnTo>
                      <a:pt x="1196" y="1451"/>
                    </a:lnTo>
                    <a:lnTo>
                      <a:pt x="1195" y="1451"/>
                    </a:lnTo>
                    <a:lnTo>
                      <a:pt x="1195" y="1453"/>
                    </a:lnTo>
                    <a:lnTo>
                      <a:pt x="1195" y="1451"/>
                    </a:lnTo>
                    <a:lnTo>
                      <a:pt x="1196" y="1451"/>
                    </a:lnTo>
                    <a:lnTo>
                      <a:pt x="1195" y="1451"/>
                    </a:lnTo>
                    <a:lnTo>
                      <a:pt x="1193" y="1451"/>
                    </a:lnTo>
                    <a:lnTo>
                      <a:pt x="1193" y="1449"/>
                    </a:lnTo>
                    <a:lnTo>
                      <a:pt x="1191" y="1449"/>
                    </a:lnTo>
                    <a:lnTo>
                      <a:pt x="1191" y="1447"/>
                    </a:lnTo>
                    <a:lnTo>
                      <a:pt x="1190" y="1447"/>
                    </a:lnTo>
                    <a:lnTo>
                      <a:pt x="1188" y="1447"/>
                    </a:lnTo>
                    <a:lnTo>
                      <a:pt x="1190" y="1447"/>
                    </a:lnTo>
                    <a:lnTo>
                      <a:pt x="1190" y="1446"/>
                    </a:lnTo>
                    <a:lnTo>
                      <a:pt x="1188" y="1446"/>
                    </a:lnTo>
                    <a:lnTo>
                      <a:pt x="1188" y="1444"/>
                    </a:lnTo>
                    <a:lnTo>
                      <a:pt x="1190" y="1444"/>
                    </a:lnTo>
                    <a:lnTo>
                      <a:pt x="1191" y="1446"/>
                    </a:lnTo>
                    <a:lnTo>
                      <a:pt x="1191" y="1444"/>
                    </a:lnTo>
                    <a:lnTo>
                      <a:pt x="1190" y="1444"/>
                    </a:lnTo>
                    <a:lnTo>
                      <a:pt x="1191" y="1444"/>
                    </a:lnTo>
                    <a:lnTo>
                      <a:pt x="1190" y="1442"/>
                    </a:lnTo>
                    <a:lnTo>
                      <a:pt x="1191" y="1444"/>
                    </a:lnTo>
                    <a:lnTo>
                      <a:pt x="1193" y="1444"/>
                    </a:lnTo>
                    <a:lnTo>
                      <a:pt x="1191" y="1444"/>
                    </a:lnTo>
                    <a:lnTo>
                      <a:pt x="1191" y="1442"/>
                    </a:lnTo>
                    <a:lnTo>
                      <a:pt x="1193" y="1442"/>
                    </a:lnTo>
                    <a:lnTo>
                      <a:pt x="1191" y="1442"/>
                    </a:lnTo>
                    <a:lnTo>
                      <a:pt x="1191" y="1441"/>
                    </a:lnTo>
                    <a:lnTo>
                      <a:pt x="1191" y="1439"/>
                    </a:lnTo>
                    <a:lnTo>
                      <a:pt x="1193" y="1441"/>
                    </a:lnTo>
                    <a:lnTo>
                      <a:pt x="1191" y="1439"/>
                    </a:lnTo>
                    <a:lnTo>
                      <a:pt x="1193" y="1439"/>
                    </a:lnTo>
                    <a:lnTo>
                      <a:pt x="1193" y="1441"/>
                    </a:lnTo>
                    <a:lnTo>
                      <a:pt x="1195" y="1441"/>
                    </a:lnTo>
                    <a:lnTo>
                      <a:pt x="1193" y="1441"/>
                    </a:lnTo>
                    <a:lnTo>
                      <a:pt x="1195" y="1441"/>
                    </a:lnTo>
                    <a:lnTo>
                      <a:pt x="1193" y="1439"/>
                    </a:lnTo>
                    <a:lnTo>
                      <a:pt x="1193" y="1437"/>
                    </a:lnTo>
                    <a:lnTo>
                      <a:pt x="1195" y="1437"/>
                    </a:lnTo>
                    <a:lnTo>
                      <a:pt x="1195" y="1435"/>
                    </a:lnTo>
                    <a:lnTo>
                      <a:pt x="1195" y="1437"/>
                    </a:lnTo>
                    <a:close/>
                    <a:moveTo>
                      <a:pt x="1183" y="1126"/>
                    </a:moveTo>
                    <a:lnTo>
                      <a:pt x="1185" y="1126"/>
                    </a:lnTo>
                    <a:lnTo>
                      <a:pt x="1183" y="1126"/>
                    </a:lnTo>
                    <a:lnTo>
                      <a:pt x="1185" y="1126"/>
                    </a:lnTo>
                    <a:lnTo>
                      <a:pt x="1186" y="1126"/>
                    </a:lnTo>
                    <a:lnTo>
                      <a:pt x="1186" y="1128"/>
                    </a:lnTo>
                    <a:lnTo>
                      <a:pt x="1188" y="1128"/>
                    </a:lnTo>
                    <a:lnTo>
                      <a:pt x="1186" y="1129"/>
                    </a:lnTo>
                    <a:lnTo>
                      <a:pt x="1185" y="1129"/>
                    </a:lnTo>
                    <a:lnTo>
                      <a:pt x="1186" y="1129"/>
                    </a:lnTo>
                    <a:lnTo>
                      <a:pt x="1188" y="1128"/>
                    </a:lnTo>
                    <a:lnTo>
                      <a:pt x="1188" y="1129"/>
                    </a:lnTo>
                    <a:lnTo>
                      <a:pt x="1190" y="1131"/>
                    </a:lnTo>
                    <a:lnTo>
                      <a:pt x="1188" y="1131"/>
                    </a:lnTo>
                    <a:lnTo>
                      <a:pt x="1186" y="1131"/>
                    </a:lnTo>
                    <a:lnTo>
                      <a:pt x="1188" y="1131"/>
                    </a:lnTo>
                    <a:lnTo>
                      <a:pt x="1186" y="1131"/>
                    </a:lnTo>
                    <a:lnTo>
                      <a:pt x="1185" y="1131"/>
                    </a:lnTo>
                    <a:lnTo>
                      <a:pt x="1186" y="1131"/>
                    </a:lnTo>
                    <a:lnTo>
                      <a:pt x="1186" y="1133"/>
                    </a:lnTo>
                    <a:lnTo>
                      <a:pt x="1188" y="1131"/>
                    </a:lnTo>
                    <a:lnTo>
                      <a:pt x="1190" y="1131"/>
                    </a:lnTo>
                    <a:lnTo>
                      <a:pt x="1190" y="1133"/>
                    </a:lnTo>
                    <a:lnTo>
                      <a:pt x="1190" y="1134"/>
                    </a:lnTo>
                    <a:lnTo>
                      <a:pt x="1190" y="1136"/>
                    </a:lnTo>
                    <a:lnTo>
                      <a:pt x="1190" y="1138"/>
                    </a:lnTo>
                    <a:lnTo>
                      <a:pt x="1188" y="1138"/>
                    </a:lnTo>
                    <a:lnTo>
                      <a:pt x="1186" y="1138"/>
                    </a:lnTo>
                    <a:lnTo>
                      <a:pt x="1185" y="1138"/>
                    </a:lnTo>
                    <a:lnTo>
                      <a:pt x="1185" y="1136"/>
                    </a:lnTo>
                    <a:lnTo>
                      <a:pt x="1185" y="1138"/>
                    </a:lnTo>
                    <a:lnTo>
                      <a:pt x="1186" y="1138"/>
                    </a:lnTo>
                    <a:lnTo>
                      <a:pt x="1185" y="1138"/>
                    </a:lnTo>
                    <a:lnTo>
                      <a:pt x="1183" y="1138"/>
                    </a:lnTo>
                    <a:lnTo>
                      <a:pt x="1181" y="1138"/>
                    </a:lnTo>
                    <a:lnTo>
                      <a:pt x="1183" y="1138"/>
                    </a:lnTo>
                    <a:lnTo>
                      <a:pt x="1185" y="1138"/>
                    </a:lnTo>
                    <a:lnTo>
                      <a:pt x="1186" y="1138"/>
                    </a:lnTo>
                    <a:lnTo>
                      <a:pt x="1186" y="1140"/>
                    </a:lnTo>
                    <a:lnTo>
                      <a:pt x="1185" y="1140"/>
                    </a:lnTo>
                    <a:lnTo>
                      <a:pt x="1183" y="1140"/>
                    </a:lnTo>
                    <a:lnTo>
                      <a:pt x="1185" y="1140"/>
                    </a:lnTo>
                    <a:lnTo>
                      <a:pt x="1185" y="1141"/>
                    </a:lnTo>
                    <a:lnTo>
                      <a:pt x="1183" y="1141"/>
                    </a:lnTo>
                    <a:lnTo>
                      <a:pt x="1181" y="1141"/>
                    </a:lnTo>
                    <a:lnTo>
                      <a:pt x="1179" y="1140"/>
                    </a:lnTo>
                    <a:lnTo>
                      <a:pt x="1181" y="1140"/>
                    </a:lnTo>
                    <a:lnTo>
                      <a:pt x="1181" y="1138"/>
                    </a:lnTo>
                    <a:lnTo>
                      <a:pt x="1181" y="1136"/>
                    </a:lnTo>
                    <a:lnTo>
                      <a:pt x="1181" y="1134"/>
                    </a:lnTo>
                    <a:lnTo>
                      <a:pt x="1179" y="1134"/>
                    </a:lnTo>
                    <a:lnTo>
                      <a:pt x="1179" y="1133"/>
                    </a:lnTo>
                    <a:lnTo>
                      <a:pt x="1181" y="1133"/>
                    </a:lnTo>
                    <a:lnTo>
                      <a:pt x="1179" y="1134"/>
                    </a:lnTo>
                    <a:lnTo>
                      <a:pt x="1181" y="1133"/>
                    </a:lnTo>
                    <a:lnTo>
                      <a:pt x="1181" y="1134"/>
                    </a:lnTo>
                    <a:lnTo>
                      <a:pt x="1183" y="1133"/>
                    </a:lnTo>
                    <a:lnTo>
                      <a:pt x="1181" y="1133"/>
                    </a:lnTo>
                    <a:lnTo>
                      <a:pt x="1181" y="1131"/>
                    </a:lnTo>
                    <a:lnTo>
                      <a:pt x="1181" y="1129"/>
                    </a:lnTo>
                    <a:lnTo>
                      <a:pt x="1181" y="1128"/>
                    </a:lnTo>
                    <a:lnTo>
                      <a:pt x="1183" y="1128"/>
                    </a:lnTo>
                    <a:lnTo>
                      <a:pt x="1183" y="1126"/>
                    </a:lnTo>
                    <a:close/>
                    <a:moveTo>
                      <a:pt x="1162" y="1305"/>
                    </a:moveTo>
                    <a:lnTo>
                      <a:pt x="1162" y="1303"/>
                    </a:lnTo>
                    <a:lnTo>
                      <a:pt x="1162" y="1305"/>
                    </a:lnTo>
                    <a:lnTo>
                      <a:pt x="1164" y="1305"/>
                    </a:lnTo>
                    <a:lnTo>
                      <a:pt x="1164" y="1306"/>
                    </a:lnTo>
                    <a:lnTo>
                      <a:pt x="1164" y="1305"/>
                    </a:lnTo>
                    <a:lnTo>
                      <a:pt x="1164" y="1303"/>
                    </a:lnTo>
                    <a:lnTo>
                      <a:pt x="1166" y="1303"/>
                    </a:lnTo>
                    <a:lnTo>
                      <a:pt x="1168" y="1305"/>
                    </a:lnTo>
                    <a:lnTo>
                      <a:pt x="1168" y="1306"/>
                    </a:lnTo>
                    <a:lnTo>
                      <a:pt x="1169" y="1308"/>
                    </a:lnTo>
                    <a:lnTo>
                      <a:pt x="1168" y="1308"/>
                    </a:lnTo>
                    <a:lnTo>
                      <a:pt x="1168" y="1310"/>
                    </a:lnTo>
                    <a:lnTo>
                      <a:pt x="1168" y="1308"/>
                    </a:lnTo>
                    <a:lnTo>
                      <a:pt x="1168" y="1310"/>
                    </a:lnTo>
                    <a:lnTo>
                      <a:pt x="1168" y="1311"/>
                    </a:lnTo>
                    <a:lnTo>
                      <a:pt x="1168" y="1313"/>
                    </a:lnTo>
                    <a:lnTo>
                      <a:pt x="1168" y="1315"/>
                    </a:lnTo>
                    <a:lnTo>
                      <a:pt x="1168" y="1316"/>
                    </a:lnTo>
                    <a:lnTo>
                      <a:pt x="1166" y="1316"/>
                    </a:lnTo>
                    <a:lnTo>
                      <a:pt x="1164" y="1315"/>
                    </a:lnTo>
                    <a:lnTo>
                      <a:pt x="1166" y="1315"/>
                    </a:lnTo>
                    <a:lnTo>
                      <a:pt x="1164" y="1315"/>
                    </a:lnTo>
                    <a:lnTo>
                      <a:pt x="1164" y="1313"/>
                    </a:lnTo>
                    <a:lnTo>
                      <a:pt x="1162" y="1313"/>
                    </a:lnTo>
                    <a:lnTo>
                      <a:pt x="1162" y="1311"/>
                    </a:lnTo>
                    <a:lnTo>
                      <a:pt x="1161" y="1311"/>
                    </a:lnTo>
                    <a:lnTo>
                      <a:pt x="1161" y="1310"/>
                    </a:lnTo>
                    <a:lnTo>
                      <a:pt x="1159" y="1310"/>
                    </a:lnTo>
                    <a:lnTo>
                      <a:pt x="1157" y="1310"/>
                    </a:lnTo>
                    <a:lnTo>
                      <a:pt x="1156" y="1310"/>
                    </a:lnTo>
                    <a:lnTo>
                      <a:pt x="1157" y="1310"/>
                    </a:lnTo>
                    <a:lnTo>
                      <a:pt x="1157" y="1308"/>
                    </a:lnTo>
                    <a:lnTo>
                      <a:pt x="1159" y="1308"/>
                    </a:lnTo>
                    <a:lnTo>
                      <a:pt x="1161" y="1308"/>
                    </a:lnTo>
                    <a:lnTo>
                      <a:pt x="1159" y="1308"/>
                    </a:lnTo>
                    <a:lnTo>
                      <a:pt x="1159" y="1306"/>
                    </a:lnTo>
                    <a:lnTo>
                      <a:pt x="1157" y="1308"/>
                    </a:lnTo>
                    <a:lnTo>
                      <a:pt x="1156" y="1310"/>
                    </a:lnTo>
                    <a:lnTo>
                      <a:pt x="1156" y="1308"/>
                    </a:lnTo>
                    <a:lnTo>
                      <a:pt x="1156" y="1306"/>
                    </a:lnTo>
                    <a:lnTo>
                      <a:pt x="1157" y="1306"/>
                    </a:lnTo>
                    <a:lnTo>
                      <a:pt x="1157" y="1305"/>
                    </a:lnTo>
                    <a:lnTo>
                      <a:pt x="1159" y="1305"/>
                    </a:lnTo>
                    <a:lnTo>
                      <a:pt x="1159" y="1303"/>
                    </a:lnTo>
                    <a:lnTo>
                      <a:pt x="1159" y="1305"/>
                    </a:lnTo>
                    <a:lnTo>
                      <a:pt x="1159" y="1303"/>
                    </a:lnTo>
                    <a:lnTo>
                      <a:pt x="1161" y="1303"/>
                    </a:lnTo>
                    <a:lnTo>
                      <a:pt x="1161" y="1305"/>
                    </a:lnTo>
                    <a:lnTo>
                      <a:pt x="1161" y="1303"/>
                    </a:lnTo>
                    <a:lnTo>
                      <a:pt x="1159" y="1303"/>
                    </a:lnTo>
                    <a:lnTo>
                      <a:pt x="1159" y="1301"/>
                    </a:lnTo>
                    <a:lnTo>
                      <a:pt x="1161" y="1301"/>
                    </a:lnTo>
                    <a:lnTo>
                      <a:pt x="1161" y="1303"/>
                    </a:lnTo>
                    <a:lnTo>
                      <a:pt x="1162" y="1303"/>
                    </a:lnTo>
                    <a:lnTo>
                      <a:pt x="1162" y="1305"/>
                    </a:lnTo>
                    <a:close/>
                    <a:moveTo>
                      <a:pt x="1208" y="1126"/>
                    </a:moveTo>
                    <a:lnTo>
                      <a:pt x="1210" y="1126"/>
                    </a:lnTo>
                    <a:lnTo>
                      <a:pt x="1212" y="1126"/>
                    </a:lnTo>
                    <a:lnTo>
                      <a:pt x="1212" y="1128"/>
                    </a:lnTo>
                    <a:lnTo>
                      <a:pt x="1212" y="1129"/>
                    </a:lnTo>
                    <a:lnTo>
                      <a:pt x="1210" y="1129"/>
                    </a:lnTo>
                    <a:lnTo>
                      <a:pt x="1210" y="1128"/>
                    </a:lnTo>
                    <a:lnTo>
                      <a:pt x="1208" y="1128"/>
                    </a:lnTo>
                    <a:lnTo>
                      <a:pt x="1210" y="1129"/>
                    </a:lnTo>
                    <a:lnTo>
                      <a:pt x="1208" y="1129"/>
                    </a:lnTo>
                    <a:lnTo>
                      <a:pt x="1210" y="1129"/>
                    </a:lnTo>
                    <a:lnTo>
                      <a:pt x="1212" y="1129"/>
                    </a:lnTo>
                    <a:lnTo>
                      <a:pt x="1210" y="1131"/>
                    </a:lnTo>
                    <a:lnTo>
                      <a:pt x="1210" y="1133"/>
                    </a:lnTo>
                    <a:lnTo>
                      <a:pt x="1210" y="1134"/>
                    </a:lnTo>
                    <a:lnTo>
                      <a:pt x="1212" y="1134"/>
                    </a:lnTo>
                    <a:lnTo>
                      <a:pt x="1212" y="1136"/>
                    </a:lnTo>
                    <a:lnTo>
                      <a:pt x="1210" y="1134"/>
                    </a:lnTo>
                    <a:lnTo>
                      <a:pt x="1208" y="1134"/>
                    </a:lnTo>
                    <a:lnTo>
                      <a:pt x="1207" y="1133"/>
                    </a:lnTo>
                    <a:lnTo>
                      <a:pt x="1208" y="1134"/>
                    </a:lnTo>
                    <a:lnTo>
                      <a:pt x="1208" y="1136"/>
                    </a:lnTo>
                    <a:lnTo>
                      <a:pt x="1210" y="1136"/>
                    </a:lnTo>
                    <a:lnTo>
                      <a:pt x="1210" y="1138"/>
                    </a:lnTo>
                    <a:lnTo>
                      <a:pt x="1210" y="1140"/>
                    </a:lnTo>
                    <a:lnTo>
                      <a:pt x="1208" y="1141"/>
                    </a:lnTo>
                    <a:lnTo>
                      <a:pt x="1208" y="1140"/>
                    </a:lnTo>
                    <a:lnTo>
                      <a:pt x="1207" y="1140"/>
                    </a:lnTo>
                    <a:lnTo>
                      <a:pt x="1207" y="1138"/>
                    </a:lnTo>
                    <a:lnTo>
                      <a:pt x="1205" y="1138"/>
                    </a:lnTo>
                    <a:lnTo>
                      <a:pt x="1205" y="1136"/>
                    </a:lnTo>
                    <a:lnTo>
                      <a:pt x="1203" y="1138"/>
                    </a:lnTo>
                    <a:lnTo>
                      <a:pt x="1203" y="1136"/>
                    </a:lnTo>
                    <a:lnTo>
                      <a:pt x="1203" y="1134"/>
                    </a:lnTo>
                    <a:lnTo>
                      <a:pt x="1203" y="1133"/>
                    </a:lnTo>
                    <a:lnTo>
                      <a:pt x="1205" y="1131"/>
                    </a:lnTo>
                    <a:lnTo>
                      <a:pt x="1205" y="1129"/>
                    </a:lnTo>
                    <a:lnTo>
                      <a:pt x="1205" y="1128"/>
                    </a:lnTo>
                    <a:lnTo>
                      <a:pt x="1207" y="1126"/>
                    </a:lnTo>
                    <a:lnTo>
                      <a:pt x="1207" y="1124"/>
                    </a:lnTo>
                    <a:lnTo>
                      <a:pt x="1207" y="1126"/>
                    </a:lnTo>
                    <a:lnTo>
                      <a:pt x="1208" y="1126"/>
                    </a:lnTo>
                    <a:close/>
                    <a:moveTo>
                      <a:pt x="1162" y="1245"/>
                    </a:moveTo>
                    <a:lnTo>
                      <a:pt x="1164" y="1245"/>
                    </a:lnTo>
                    <a:lnTo>
                      <a:pt x="1164" y="1247"/>
                    </a:lnTo>
                    <a:lnTo>
                      <a:pt x="1164" y="1248"/>
                    </a:lnTo>
                    <a:lnTo>
                      <a:pt x="1162" y="1248"/>
                    </a:lnTo>
                    <a:lnTo>
                      <a:pt x="1164" y="1248"/>
                    </a:lnTo>
                    <a:lnTo>
                      <a:pt x="1164" y="1250"/>
                    </a:lnTo>
                    <a:lnTo>
                      <a:pt x="1166" y="1250"/>
                    </a:lnTo>
                    <a:lnTo>
                      <a:pt x="1164" y="1250"/>
                    </a:lnTo>
                    <a:lnTo>
                      <a:pt x="1166" y="1250"/>
                    </a:lnTo>
                    <a:lnTo>
                      <a:pt x="1168" y="1252"/>
                    </a:lnTo>
                    <a:lnTo>
                      <a:pt x="1169" y="1252"/>
                    </a:lnTo>
                    <a:lnTo>
                      <a:pt x="1171" y="1253"/>
                    </a:lnTo>
                    <a:lnTo>
                      <a:pt x="1169" y="1255"/>
                    </a:lnTo>
                    <a:lnTo>
                      <a:pt x="1171" y="1253"/>
                    </a:lnTo>
                    <a:lnTo>
                      <a:pt x="1171" y="1255"/>
                    </a:lnTo>
                    <a:lnTo>
                      <a:pt x="1171" y="1257"/>
                    </a:lnTo>
                    <a:lnTo>
                      <a:pt x="1171" y="1255"/>
                    </a:lnTo>
                    <a:lnTo>
                      <a:pt x="1169" y="1255"/>
                    </a:lnTo>
                    <a:lnTo>
                      <a:pt x="1168" y="1255"/>
                    </a:lnTo>
                    <a:lnTo>
                      <a:pt x="1166" y="1255"/>
                    </a:lnTo>
                    <a:lnTo>
                      <a:pt x="1164" y="1253"/>
                    </a:lnTo>
                    <a:lnTo>
                      <a:pt x="1162" y="1253"/>
                    </a:lnTo>
                    <a:lnTo>
                      <a:pt x="1161" y="1253"/>
                    </a:lnTo>
                    <a:lnTo>
                      <a:pt x="1162" y="1253"/>
                    </a:lnTo>
                    <a:lnTo>
                      <a:pt x="1164" y="1253"/>
                    </a:lnTo>
                    <a:lnTo>
                      <a:pt x="1164" y="1255"/>
                    </a:lnTo>
                    <a:lnTo>
                      <a:pt x="1166" y="1255"/>
                    </a:lnTo>
                    <a:lnTo>
                      <a:pt x="1166" y="1257"/>
                    </a:lnTo>
                    <a:lnTo>
                      <a:pt x="1166" y="1255"/>
                    </a:lnTo>
                    <a:lnTo>
                      <a:pt x="1168" y="1257"/>
                    </a:lnTo>
                    <a:lnTo>
                      <a:pt x="1169" y="1257"/>
                    </a:lnTo>
                    <a:lnTo>
                      <a:pt x="1169" y="1259"/>
                    </a:lnTo>
                    <a:lnTo>
                      <a:pt x="1168" y="1260"/>
                    </a:lnTo>
                    <a:lnTo>
                      <a:pt x="1168" y="1259"/>
                    </a:lnTo>
                    <a:lnTo>
                      <a:pt x="1168" y="1257"/>
                    </a:lnTo>
                    <a:lnTo>
                      <a:pt x="1166" y="1257"/>
                    </a:lnTo>
                    <a:lnTo>
                      <a:pt x="1164" y="1257"/>
                    </a:lnTo>
                    <a:lnTo>
                      <a:pt x="1164" y="1255"/>
                    </a:lnTo>
                    <a:lnTo>
                      <a:pt x="1162" y="1255"/>
                    </a:lnTo>
                    <a:lnTo>
                      <a:pt x="1161" y="1255"/>
                    </a:lnTo>
                    <a:lnTo>
                      <a:pt x="1159" y="1255"/>
                    </a:lnTo>
                    <a:lnTo>
                      <a:pt x="1159" y="1253"/>
                    </a:lnTo>
                    <a:lnTo>
                      <a:pt x="1159" y="1255"/>
                    </a:lnTo>
                    <a:lnTo>
                      <a:pt x="1159" y="1253"/>
                    </a:lnTo>
                    <a:lnTo>
                      <a:pt x="1161" y="1253"/>
                    </a:lnTo>
                    <a:lnTo>
                      <a:pt x="1159" y="1253"/>
                    </a:lnTo>
                    <a:lnTo>
                      <a:pt x="1161" y="1253"/>
                    </a:lnTo>
                    <a:lnTo>
                      <a:pt x="1161" y="1252"/>
                    </a:lnTo>
                    <a:lnTo>
                      <a:pt x="1159" y="1252"/>
                    </a:lnTo>
                    <a:lnTo>
                      <a:pt x="1161" y="1252"/>
                    </a:lnTo>
                    <a:lnTo>
                      <a:pt x="1162" y="1252"/>
                    </a:lnTo>
                    <a:lnTo>
                      <a:pt x="1161" y="1252"/>
                    </a:lnTo>
                    <a:lnTo>
                      <a:pt x="1162" y="1250"/>
                    </a:lnTo>
                    <a:lnTo>
                      <a:pt x="1162" y="1252"/>
                    </a:lnTo>
                    <a:lnTo>
                      <a:pt x="1164" y="1252"/>
                    </a:lnTo>
                    <a:lnTo>
                      <a:pt x="1164" y="1250"/>
                    </a:lnTo>
                    <a:lnTo>
                      <a:pt x="1162" y="1250"/>
                    </a:lnTo>
                    <a:lnTo>
                      <a:pt x="1161" y="1250"/>
                    </a:lnTo>
                    <a:lnTo>
                      <a:pt x="1159" y="1250"/>
                    </a:lnTo>
                    <a:lnTo>
                      <a:pt x="1161" y="1252"/>
                    </a:lnTo>
                    <a:lnTo>
                      <a:pt x="1159" y="1252"/>
                    </a:lnTo>
                    <a:lnTo>
                      <a:pt x="1157" y="1252"/>
                    </a:lnTo>
                    <a:lnTo>
                      <a:pt x="1156" y="1252"/>
                    </a:lnTo>
                    <a:lnTo>
                      <a:pt x="1156" y="1253"/>
                    </a:lnTo>
                    <a:lnTo>
                      <a:pt x="1156" y="1252"/>
                    </a:lnTo>
                    <a:lnTo>
                      <a:pt x="1157" y="1250"/>
                    </a:lnTo>
                    <a:lnTo>
                      <a:pt x="1159" y="1250"/>
                    </a:lnTo>
                    <a:lnTo>
                      <a:pt x="1159" y="1248"/>
                    </a:lnTo>
                    <a:lnTo>
                      <a:pt x="1157" y="1250"/>
                    </a:lnTo>
                    <a:lnTo>
                      <a:pt x="1159" y="1250"/>
                    </a:lnTo>
                    <a:lnTo>
                      <a:pt x="1157" y="1250"/>
                    </a:lnTo>
                    <a:lnTo>
                      <a:pt x="1156" y="1250"/>
                    </a:lnTo>
                    <a:lnTo>
                      <a:pt x="1157" y="1250"/>
                    </a:lnTo>
                    <a:lnTo>
                      <a:pt x="1157" y="1248"/>
                    </a:lnTo>
                    <a:lnTo>
                      <a:pt x="1159" y="1248"/>
                    </a:lnTo>
                    <a:lnTo>
                      <a:pt x="1157" y="1248"/>
                    </a:lnTo>
                    <a:lnTo>
                      <a:pt x="1159" y="1248"/>
                    </a:lnTo>
                    <a:lnTo>
                      <a:pt x="1161" y="1248"/>
                    </a:lnTo>
                    <a:lnTo>
                      <a:pt x="1161" y="1247"/>
                    </a:lnTo>
                    <a:lnTo>
                      <a:pt x="1162" y="1247"/>
                    </a:lnTo>
                    <a:lnTo>
                      <a:pt x="1162" y="1245"/>
                    </a:lnTo>
                    <a:close/>
                    <a:moveTo>
                      <a:pt x="1159" y="1420"/>
                    </a:moveTo>
                    <a:lnTo>
                      <a:pt x="1159" y="1422"/>
                    </a:lnTo>
                    <a:lnTo>
                      <a:pt x="1159" y="1424"/>
                    </a:lnTo>
                    <a:lnTo>
                      <a:pt x="1159" y="1425"/>
                    </a:lnTo>
                    <a:lnTo>
                      <a:pt x="1157" y="1425"/>
                    </a:lnTo>
                    <a:lnTo>
                      <a:pt x="1159" y="1427"/>
                    </a:lnTo>
                    <a:lnTo>
                      <a:pt x="1157" y="1427"/>
                    </a:lnTo>
                    <a:lnTo>
                      <a:pt x="1157" y="1429"/>
                    </a:lnTo>
                    <a:lnTo>
                      <a:pt x="1159" y="1429"/>
                    </a:lnTo>
                    <a:lnTo>
                      <a:pt x="1157" y="1427"/>
                    </a:lnTo>
                    <a:lnTo>
                      <a:pt x="1159" y="1425"/>
                    </a:lnTo>
                    <a:lnTo>
                      <a:pt x="1159" y="1424"/>
                    </a:lnTo>
                    <a:lnTo>
                      <a:pt x="1161" y="1424"/>
                    </a:lnTo>
                    <a:lnTo>
                      <a:pt x="1161" y="1425"/>
                    </a:lnTo>
                    <a:lnTo>
                      <a:pt x="1162" y="1425"/>
                    </a:lnTo>
                    <a:lnTo>
                      <a:pt x="1162" y="1427"/>
                    </a:lnTo>
                    <a:lnTo>
                      <a:pt x="1162" y="1429"/>
                    </a:lnTo>
                    <a:lnTo>
                      <a:pt x="1162" y="1427"/>
                    </a:lnTo>
                    <a:lnTo>
                      <a:pt x="1161" y="1427"/>
                    </a:lnTo>
                    <a:lnTo>
                      <a:pt x="1162" y="1429"/>
                    </a:lnTo>
                    <a:lnTo>
                      <a:pt x="1162" y="1430"/>
                    </a:lnTo>
                    <a:lnTo>
                      <a:pt x="1161" y="1429"/>
                    </a:lnTo>
                    <a:lnTo>
                      <a:pt x="1161" y="1427"/>
                    </a:lnTo>
                    <a:lnTo>
                      <a:pt x="1161" y="1429"/>
                    </a:lnTo>
                    <a:lnTo>
                      <a:pt x="1161" y="1430"/>
                    </a:lnTo>
                    <a:lnTo>
                      <a:pt x="1161" y="1429"/>
                    </a:lnTo>
                    <a:lnTo>
                      <a:pt x="1161" y="1430"/>
                    </a:lnTo>
                    <a:lnTo>
                      <a:pt x="1159" y="1432"/>
                    </a:lnTo>
                    <a:lnTo>
                      <a:pt x="1159" y="1430"/>
                    </a:lnTo>
                    <a:lnTo>
                      <a:pt x="1159" y="1432"/>
                    </a:lnTo>
                    <a:lnTo>
                      <a:pt x="1159" y="1434"/>
                    </a:lnTo>
                    <a:lnTo>
                      <a:pt x="1159" y="1432"/>
                    </a:lnTo>
                    <a:lnTo>
                      <a:pt x="1157" y="1432"/>
                    </a:lnTo>
                    <a:lnTo>
                      <a:pt x="1159" y="1430"/>
                    </a:lnTo>
                    <a:lnTo>
                      <a:pt x="1157" y="1430"/>
                    </a:lnTo>
                    <a:lnTo>
                      <a:pt x="1157" y="1432"/>
                    </a:lnTo>
                    <a:lnTo>
                      <a:pt x="1157" y="1434"/>
                    </a:lnTo>
                    <a:lnTo>
                      <a:pt x="1157" y="1435"/>
                    </a:lnTo>
                    <a:lnTo>
                      <a:pt x="1157" y="1437"/>
                    </a:lnTo>
                    <a:lnTo>
                      <a:pt x="1157" y="1439"/>
                    </a:lnTo>
                    <a:lnTo>
                      <a:pt x="1157" y="1441"/>
                    </a:lnTo>
                    <a:lnTo>
                      <a:pt x="1156" y="1439"/>
                    </a:lnTo>
                    <a:lnTo>
                      <a:pt x="1156" y="1437"/>
                    </a:lnTo>
                    <a:lnTo>
                      <a:pt x="1156" y="1439"/>
                    </a:lnTo>
                    <a:lnTo>
                      <a:pt x="1156" y="1441"/>
                    </a:lnTo>
                    <a:lnTo>
                      <a:pt x="1156" y="1442"/>
                    </a:lnTo>
                    <a:lnTo>
                      <a:pt x="1154" y="1441"/>
                    </a:lnTo>
                    <a:lnTo>
                      <a:pt x="1152" y="1442"/>
                    </a:lnTo>
                    <a:lnTo>
                      <a:pt x="1152" y="1441"/>
                    </a:lnTo>
                    <a:lnTo>
                      <a:pt x="1151" y="1441"/>
                    </a:lnTo>
                    <a:lnTo>
                      <a:pt x="1151" y="1439"/>
                    </a:lnTo>
                    <a:lnTo>
                      <a:pt x="1152" y="1439"/>
                    </a:lnTo>
                    <a:lnTo>
                      <a:pt x="1152" y="1437"/>
                    </a:lnTo>
                    <a:lnTo>
                      <a:pt x="1151" y="1437"/>
                    </a:lnTo>
                    <a:lnTo>
                      <a:pt x="1152" y="1435"/>
                    </a:lnTo>
                    <a:lnTo>
                      <a:pt x="1152" y="1437"/>
                    </a:lnTo>
                    <a:lnTo>
                      <a:pt x="1152" y="1435"/>
                    </a:lnTo>
                    <a:lnTo>
                      <a:pt x="1154" y="1435"/>
                    </a:lnTo>
                    <a:lnTo>
                      <a:pt x="1154" y="1434"/>
                    </a:lnTo>
                    <a:lnTo>
                      <a:pt x="1154" y="1435"/>
                    </a:lnTo>
                    <a:lnTo>
                      <a:pt x="1156" y="1434"/>
                    </a:lnTo>
                    <a:lnTo>
                      <a:pt x="1156" y="1432"/>
                    </a:lnTo>
                    <a:lnTo>
                      <a:pt x="1154" y="1432"/>
                    </a:lnTo>
                    <a:lnTo>
                      <a:pt x="1156" y="1430"/>
                    </a:lnTo>
                    <a:lnTo>
                      <a:pt x="1156" y="1429"/>
                    </a:lnTo>
                    <a:lnTo>
                      <a:pt x="1157" y="1429"/>
                    </a:lnTo>
                    <a:lnTo>
                      <a:pt x="1157" y="1427"/>
                    </a:lnTo>
                    <a:lnTo>
                      <a:pt x="1156" y="1427"/>
                    </a:lnTo>
                    <a:lnTo>
                      <a:pt x="1156" y="1425"/>
                    </a:lnTo>
                    <a:lnTo>
                      <a:pt x="1156" y="1424"/>
                    </a:lnTo>
                    <a:lnTo>
                      <a:pt x="1157" y="1424"/>
                    </a:lnTo>
                    <a:lnTo>
                      <a:pt x="1157" y="1422"/>
                    </a:lnTo>
                    <a:lnTo>
                      <a:pt x="1159" y="1420"/>
                    </a:lnTo>
                    <a:close/>
                    <a:moveTo>
                      <a:pt x="1154" y="1303"/>
                    </a:moveTo>
                    <a:lnTo>
                      <a:pt x="1152" y="1303"/>
                    </a:lnTo>
                    <a:lnTo>
                      <a:pt x="1151" y="1303"/>
                    </a:lnTo>
                    <a:lnTo>
                      <a:pt x="1152" y="1305"/>
                    </a:lnTo>
                    <a:lnTo>
                      <a:pt x="1152" y="1303"/>
                    </a:lnTo>
                    <a:lnTo>
                      <a:pt x="1154" y="1303"/>
                    </a:lnTo>
                    <a:lnTo>
                      <a:pt x="1154" y="1305"/>
                    </a:lnTo>
                    <a:lnTo>
                      <a:pt x="1154" y="1306"/>
                    </a:lnTo>
                    <a:lnTo>
                      <a:pt x="1154" y="1308"/>
                    </a:lnTo>
                    <a:lnTo>
                      <a:pt x="1152" y="1308"/>
                    </a:lnTo>
                    <a:lnTo>
                      <a:pt x="1152" y="1310"/>
                    </a:lnTo>
                    <a:lnTo>
                      <a:pt x="1152" y="1308"/>
                    </a:lnTo>
                    <a:lnTo>
                      <a:pt x="1151" y="1308"/>
                    </a:lnTo>
                    <a:lnTo>
                      <a:pt x="1151" y="1310"/>
                    </a:lnTo>
                    <a:lnTo>
                      <a:pt x="1151" y="1311"/>
                    </a:lnTo>
                    <a:lnTo>
                      <a:pt x="1149" y="1311"/>
                    </a:lnTo>
                    <a:lnTo>
                      <a:pt x="1151" y="1310"/>
                    </a:lnTo>
                    <a:lnTo>
                      <a:pt x="1149" y="1310"/>
                    </a:lnTo>
                    <a:lnTo>
                      <a:pt x="1151" y="1308"/>
                    </a:lnTo>
                    <a:lnTo>
                      <a:pt x="1149" y="1310"/>
                    </a:lnTo>
                    <a:lnTo>
                      <a:pt x="1149" y="1311"/>
                    </a:lnTo>
                    <a:lnTo>
                      <a:pt x="1149" y="1310"/>
                    </a:lnTo>
                    <a:lnTo>
                      <a:pt x="1149" y="1311"/>
                    </a:lnTo>
                    <a:lnTo>
                      <a:pt x="1147" y="1310"/>
                    </a:lnTo>
                    <a:lnTo>
                      <a:pt x="1149" y="1311"/>
                    </a:lnTo>
                    <a:lnTo>
                      <a:pt x="1147" y="1311"/>
                    </a:lnTo>
                    <a:lnTo>
                      <a:pt x="1147" y="1313"/>
                    </a:lnTo>
                    <a:lnTo>
                      <a:pt x="1149" y="1313"/>
                    </a:lnTo>
                    <a:lnTo>
                      <a:pt x="1147" y="1315"/>
                    </a:lnTo>
                    <a:lnTo>
                      <a:pt x="1145" y="1315"/>
                    </a:lnTo>
                    <a:lnTo>
                      <a:pt x="1144" y="1315"/>
                    </a:lnTo>
                    <a:lnTo>
                      <a:pt x="1144" y="1313"/>
                    </a:lnTo>
                    <a:lnTo>
                      <a:pt x="1142" y="1315"/>
                    </a:lnTo>
                    <a:lnTo>
                      <a:pt x="1142" y="1313"/>
                    </a:lnTo>
                    <a:lnTo>
                      <a:pt x="1142" y="1311"/>
                    </a:lnTo>
                    <a:lnTo>
                      <a:pt x="1142" y="1313"/>
                    </a:lnTo>
                    <a:lnTo>
                      <a:pt x="1144" y="1313"/>
                    </a:lnTo>
                    <a:lnTo>
                      <a:pt x="1142" y="1311"/>
                    </a:lnTo>
                    <a:lnTo>
                      <a:pt x="1144" y="1311"/>
                    </a:lnTo>
                    <a:lnTo>
                      <a:pt x="1142" y="1311"/>
                    </a:lnTo>
                    <a:lnTo>
                      <a:pt x="1142" y="1310"/>
                    </a:lnTo>
                    <a:lnTo>
                      <a:pt x="1144" y="1308"/>
                    </a:lnTo>
                    <a:lnTo>
                      <a:pt x="1145" y="1306"/>
                    </a:lnTo>
                    <a:lnTo>
                      <a:pt x="1145" y="1308"/>
                    </a:lnTo>
                    <a:lnTo>
                      <a:pt x="1144" y="1310"/>
                    </a:lnTo>
                    <a:lnTo>
                      <a:pt x="1144" y="1311"/>
                    </a:lnTo>
                    <a:lnTo>
                      <a:pt x="1144" y="1310"/>
                    </a:lnTo>
                    <a:lnTo>
                      <a:pt x="1145" y="1310"/>
                    </a:lnTo>
                    <a:lnTo>
                      <a:pt x="1145" y="1308"/>
                    </a:lnTo>
                    <a:lnTo>
                      <a:pt x="1147" y="1308"/>
                    </a:lnTo>
                    <a:lnTo>
                      <a:pt x="1145" y="1308"/>
                    </a:lnTo>
                    <a:lnTo>
                      <a:pt x="1145" y="1306"/>
                    </a:lnTo>
                    <a:lnTo>
                      <a:pt x="1147" y="1306"/>
                    </a:lnTo>
                    <a:lnTo>
                      <a:pt x="1149" y="1305"/>
                    </a:lnTo>
                    <a:lnTo>
                      <a:pt x="1149" y="1306"/>
                    </a:lnTo>
                    <a:lnTo>
                      <a:pt x="1149" y="1305"/>
                    </a:lnTo>
                    <a:lnTo>
                      <a:pt x="1151" y="1305"/>
                    </a:lnTo>
                    <a:lnTo>
                      <a:pt x="1149" y="1305"/>
                    </a:lnTo>
                    <a:lnTo>
                      <a:pt x="1149" y="1303"/>
                    </a:lnTo>
                    <a:lnTo>
                      <a:pt x="1151" y="1301"/>
                    </a:lnTo>
                    <a:lnTo>
                      <a:pt x="1151" y="1299"/>
                    </a:lnTo>
                    <a:lnTo>
                      <a:pt x="1152" y="1299"/>
                    </a:lnTo>
                    <a:lnTo>
                      <a:pt x="1152" y="1301"/>
                    </a:lnTo>
                    <a:lnTo>
                      <a:pt x="1154" y="1301"/>
                    </a:lnTo>
                    <a:lnTo>
                      <a:pt x="1154" y="1303"/>
                    </a:lnTo>
                    <a:close/>
                    <a:moveTo>
                      <a:pt x="1212" y="1539"/>
                    </a:moveTo>
                    <a:lnTo>
                      <a:pt x="1212" y="1541"/>
                    </a:lnTo>
                    <a:lnTo>
                      <a:pt x="1213" y="1541"/>
                    </a:lnTo>
                    <a:lnTo>
                      <a:pt x="1213" y="1539"/>
                    </a:lnTo>
                    <a:lnTo>
                      <a:pt x="1215" y="1539"/>
                    </a:lnTo>
                    <a:lnTo>
                      <a:pt x="1217" y="1539"/>
                    </a:lnTo>
                    <a:lnTo>
                      <a:pt x="1217" y="1541"/>
                    </a:lnTo>
                    <a:lnTo>
                      <a:pt x="1219" y="1543"/>
                    </a:lnTo>
                    <a:lnTo>
                      <a:pt x="1217" y="1543"/>
                    </a:lnTo>
                    <a:lnTo>
                      <a:pt x="1217" y="1541"/>
                    </a:lnTo>
                    <a:lnTo>
                      <a:pt x="1217" y="1543"/>
                    </a:lnTo>
                    <a:lnTo>
                      <a:pt x="1215" y="1543"/>
                    </a:lnTo>
                    <a:lnTo>
                      <a:pt x="1215" y="1544"/>
                    </a:lnTo>
                    <a:lnTo>
                      <a:pt x="1213" y="1544"/>
                    </a:lnTo>
                    <a:lnTo>
                      <a:pt x="1213" y="1546"/>
                    </a:lnTo>
                    <a:lnTo>
                      <a:pt x="1215" y="1546"/>
                    </a:lnTo>
                    <a:lnTo>
                      <a:pt x="1213" y="1544"/>
                    </a:lnTo>
                    <a:lnTo>
                      <a:pt x="1215" y="1544"/>
                    </a:lnTo>
                    <a:lnTo>
                      <a:pt x="1217" y="1546"/>
                    </a:lnTo>
                    <a:lnTo>
                      <a:pt x="1217" y="1548"/>
                    </a:lnTo>
                    <a:lnTo>
                      <a:pt x="1219" y="1548"/>
                    </a:lnTo>
                    <a:lnTo>
                      <a:pt x="1217" y="1548"/>
                    </a:lnTo>
                    <a:lnTo>
                      <a:pt x="1219" y="1549"/>
                    </a:lnTo>
                    <a:lnTo>
                      <a:pt x="1217" y="1548"/>
                    </a:lnTo>
                    <a:lnTo>
                      <a:pt x="1217" y="1549"/>
                    </a:lnTo>
                    <a:lnTo>
                      <a:pt x="1219" y="1549"/>
                    </a:lnTo>
                    <a:lnTo>
                      <a:pt x="1219" y="1551"/>
                    </a:lnTo>
                    <a:lnTo>
                      <a:pt x="1217" y="1551"/>
                    </a:lnTo>
                    <a:lnTo>
                      <a:pt x="1215" y="1549"/>
                    </a:lnTo>
                    <a:lnTo>
                      <a:pt x="1215" y="1551"/>
                    </a:lnTo>
                    <a:lnTo>
                      <a:pt x="1213" y="1551"/>
                    </a:lnTo>
                    <a:lnTo>
                      <a:pt x="1213" y="1549"/>
                    </a:lnTo>
                    <a:lnTo>
                      <a:pt x="1212" y="1548"/>
                    </a:lnTo>
                    <a:lnTo>
                      <a:pt x="1213" y="1549"/>
                    </a:lnTo>
                    <a:lnTo>
                      <a:pt x="1212" y="1549"/>
                    </a:lnTo>
                    <a:lnTo>
                      <a:pt x="1213" y="1551"/>
                    </a:lnTo>
                    <a:lnTo>
                      <a:pt x="1212" y="1551"/>
                    </a:lnTo>
                    <a:lnTo>
                      <a:pt x="1210" y="1551"/>
                    </a:lnTo>
                    <a:lnTo>
                      <a:pt x="1212" y="1549"/>
                    </a:lnTo>
                    <a:lnTo>
                      <a:pt x="1210" y="1549"/>
                    </a:lnTo>
                    <a:lnTo>
                      <a:pt x="1212" y="1549"/>
                    </a:lnTo>
                    <a:lnTo>
                      <a:pt x="1210" y="1549"/>
                    </a:lnTo>
                    <a:lnTo>
                      <a:pt x="1208" y="1548"/>
                    </a:lnTo>
                    <a:lnTo>
                      <a:pt x="1208" y="1549"/>
                    </a:lnTo>
                    <a:lnTo>
                      <a:pt x="1210" y="1549"/>
                    </a:lnTo>
                    <a:lnTo>
                      <a:pt x="1208" y="1549"/>
                    </a:lnTo>
                    <a:lnTo>
                      <a:pt x="1207" y="1548"/>
                    </a:lnTo>
                    <a:lnTo>
                      <a:pt x="1208" y="1546"/>
                    </a:lnTo>
                    <a:lnTo>
                      <a:pt x="1207" y="1546"/>
                    </a:lnTo>
                    <a:lnTo>
                      <a:pt x="1205" y="1548"/>
                    </a:lnTo>
                    <a:lnTo>
                      <a:pt x="1205" y="1546"/>
                    </a:lnTo>
                    <a:lnTo>
                      <a:pt x="1205" y="1544"/>
                    </a:lnTo>
                    <a:lnTo>
                      <a:pt x="1203" y="1544"/>
                    </a:lnTo>
                    <a:lnTo>
                      <a:pt x="1205" y="1544"/>
                    </a:lnTo>
                    <a:lnTo>
                      <a:pt x="1203" y="1544"/>
                    </a:lnTo>
                    <a:lnTo>
                      <a:pt x="1203" y="1543"/>
                    </a:lnTo>
                    <a:lnTo>
                      <a:pt x="1203" y="1541"/>
                    </a:lnTo>
                    <a:lnTo>
                      <a:pt x="1205" y="1543"/>
                    </a:lnTo>
                    <a:lnTo>
                      <a:pt x="1207" y="1544"/>
                    </a:lnTo>
                    <a:lnTo>
                      <a:pt x="1207" y="1546"/>
                    </a:lnTo>
                    <a:lnTo>
                      <a:pt x="1207" y="1544"/>
                    </a:lnTo>
                    <a:lnTo>
                      <a:pt x="1207" y="1546"/>
                    </a:lnTo>
                    <a:lnTo>
                      <a:pt x="1208" y="1546"/>
                    </a:lnTo>
                    <a:lnTo>
                      <a:pt x="1208" y="1544"/>
                    </a:lnTo>
                    <a:lnTo>
                      <a:pt x="1208" y="1546"/>
                    </a:lnTo>
                    <a:lnTo>
                      <a:pt x="1210" y="1546"/>
                    </a:lnTo>
                    <a:lnTo>
                      <a:pt x="1212" y="1546"/>
                    </a:lnTo>
                    <a:lnTo>
                      <a:pt x="1210" y="1548"/>
                    </a:lnTo>
                    <a:lnTo>
                      <a:pt x="1212" y="1548"/>
                    </a:lnTo>
                    <a:lnTo>
                      <a:pt x="1213" y="1548"/>
                    </a:lnTo>
                    <a:lnTo>
                      <a:pt x="1213" y="1549"/>
                    </a:lnTo>
                    <a:lnTo>
                      <a:pt x="1215" y="1549"/>
                    </a:lnTo>
                    <a:lnTo>
                      <a:pt x="1213" y="1548"/>
                    </a:lnTo>
                    <a:lnTo>
                      <a:pt x="1212" y="1548"/>
                    </a:lnTo>
                    <a:lnTo>
                      <a:pt x="1212" y="1546"/>
                    </a:lnTo>
                    <a:lnTo>
                      <a:pt x="1210" y="1546"/>
                    </a:lnTo>
                    <a:lnTo>
                      <a:pt x="1210" y="1544"/>
                    </a:lnTo>
                    <a:lnTo>
                      <a:pt x="1208" y="1544"/>
                    </a:lnTo>
                    <a:lnTo>
                      <a:pt x="1208" y="1543"/>
                    </a:lnTo>
                    <a:lnTo>
                      <a:pt x="1210" y="1544"/>
                    </a:lnTo>
                    <a:lnTo>
                      <a:pt x="1210" y="1543"/>
                    </a:lnTo>
                    <a:lnTo>
                      <a:pt x="1212" y="1544"/>
                    </a:lnTo>
                    <a:lnTo>
                      <a:pt x="1213" y="1544"/>
                    </a:lnTo>
                    <a:lnTo>
                      <a:pt x="1212" y="1543"/>
                    </a:lnTo>
                    <a:lnTo>
                      <a:pt x="1213" y="1543"/>
                    </a:lnTo>
                    <a:lnTo>
                      <a:pt x="1212" y="1543"/>
                    </a:lnTo>
                    <a:lnTo>
                      <a:pt x="1210" y="1543"/>
                    </a:lnTo>
                    <a:lnTo>
                      <a:pt x="1210" y="1541"/>
                    </a:lnTo>
                    <a:lnTo>
                      <a:pt x="1210" y="1539"/>
                    </a:lnTo>
                    <a:lnTo>
                      <a:pt x="1212" y="1539"/>
                    </a:lnTo>
                    <a:close/>
                    <a:moveTo>
                      <a:pt x="1191" y="1097"/>
                    </a:moveTo>
                    <a:lnTo>
                      <a:pt x="1193" y="1099"/>
                    </a:lnTo>
                    <a:lnTo>
                      <a:pt x="1195" y="1099"/>
                    </a:lnTo>
                    <a:lnTo>
                      <a:pt x="1196" y="1099"/>
                    </a:lnTo>
                    <a:lnTo>
                      <a:pt x="1198" y="1099"/>
                    </a:lnTo>
                    <a:lnTo>
                      <a:pt x="1198" y="1100"/>
                    </a:lnTo>
                    <a:lnTo>
                      <a:pt x="1200" y="1102"/>
                    </a:lnTo>
                    <a:lnTo>
                      <a:pt x="1200" y="1104"/>
                    </a:lnTo>
                    <a:lnTo>
                      <a:pt x="1198" y="1104"/>
                    </a:lnTo>
                    <a:lnTo>
                      <a:pt x="1196" y="1104"/>
                    </a:lnTo>
                    <a:lnTo>
                      <a:pt x="1195" y="1104"/>
                    </a:lnTo>
                    <a:lnTo>
                      <a:pt x="1195" y="1102"/>
                    </a:lnTo>
                    <a:lnTo>
                      <a:pt x="1195" y="1104"/>
                    </a:lnTo>
                    <a:lnTo>
                      <a:pt x="1193" y="1102"/>
                    </a:lnTo>
                    <a:lnTo>
                      <a:pt x="1195" y="1102"/>
                    </a:lnTo>
                    <a:lnTo>
                      <a:pt x="1195" y="1104"/>
                    </a:lnTo>
                    <a:lnTo>
                      <a:pt x="1195" y="1105"/>
                    </a:lnTo>
                    <a:lnTo>
                      <a:pt x="1193" y="1104"/>
                    </a:lnTo>
                    <a:lnTo>
                      <a:pt x="1193" y="1105"/>
                    </a:lnTo>
                    <a:lnTo>
                      <a:pt x="1191" y="1105"/>
                    </a:lnTo>
                    <a:lnTo>
                      <a:pt x="1191" y="1104"/>
                    </a:lnTo>
                    <a:lnTo>
                      <a:pt x="1190" y="1104"/>
                    </a:lnTo>
                    <a:lnTo>
                      <a:pt x="1190" y="1105"/>
                    </a:lnTo>
                    <a:lnTo>
                      <a:pt x="1188" y="1105"/>
                    </a:lnTo>
                    <a:lnTo>
                      <a:pt x="1186" y="1105"/>
                    </a:lnTo>
                    <a:lnTo>
                      <a:pt x="1185" y="1105"/>
                    </a:lnTo>
                    <a:lnTo>
                      <a:pt x="1185" y="1104"/>
                    </a:lnTo>
                    <a:lnTo>
                      <a:pt x="1183" y="1104"/>
                    </a:lnTo>
                    <a:lnTo>
                      <a:pt x="1185" y="1104"/>
                    </a:lnTo>
                    <a:lnTo>
                      <a:pt x="1186" y="1102"/>
                    </a:lnTo>
                    <a:lnTo>
                      <a:pt x="1188" y="1100"/>
                    </a:lnTo>
                    <a:lnTo>
                      <a:pt x="1188" y="1099"/>
                    </a:lnTo>
                    <a:lnTo>
                      <a:pt x="1190" y="1099"/>
                    </a:lnTo>
                    <a:lnTo>
                      <a:pt x="1191" y="1097"/>
                    </a:lnTo>
                    <a:close/>
                    <a:moveTo>
                      <a:pt x="1174" y="1449"/>
                    </a:moveTo>
                    <a:lnTo>
                      <a:pt x="1174" y="1451"/>
                    </a:lnTo>
                    <a:lnTo>
                      <a:pt x="1174" y="1453"/>
                    </a:lnTo>
                    <a:lnTo>
                      <a:pt x="1176" y="1453"/>
                    </a:lnTo>
                    <a:lnTo>
                      <a:pt x="1174" y="1453"/>
                    </a:lnTo>
                    <a:lnTo>
                      <a:pt x="1174" y="1454"/>
                    </a:lnTo>
                    <a:lnTo>
                      <a:pt x="1173" y="1454"/>
                    </a:lnTo>
                    <a:lnTo>
                      <a:pt x="1173" y="1456"/>
                    </a:lnTo>
                    <a:lnTo>
                      <a:pt x="1174" y="1456"/>
                    </a:lnTo>
                    <a:lnTo>
                      <a:pt x="1174" y="1454"/>
                    </a:lnTo>
                    <a:lnTo>
                      <a:pt x="1176" y="1454"/>
                    </a:lnTo>
                    <a:lnTo>
                      <a:pt x="1176" y="1453"/>
                    </a:lnTo>
                    <a:lnTo>
                      <a:pt x="1176" y="1454"/>
                    </a:lnTo>
                    <a:lnTo>
                      <a:pt x="1176" y="1456"/>
                    </a:lnTo>
                    <a:lnTo>
                      <a:pt x="1176" y="1454"/>
                    </a:lnTo>
                    <a:lnTo>
                      <a:pt x="1176" y="1453"/>
                    </a:lnTo>
                    <a:lnTo>
                      <a:pt x="1176" y="1454"/>
                    </a:lnTo>
                    <a:lnTo>
                      <a:pt x="1176" y="1456"/>
                    </a:lnTo>
                    <a:lnTo>
                      <a:pt x="1176" y="1458"/>
                    </a:lnTo>
                    <a:lnTo>
                      <a:pt x="1174" y="1458"/>
                    </a:lnTo>
                    <a:lnTo>
                      <a:pt x="1173" y="1458"/>
                    </a:lnTo>
                    <a:lnTo>
                      <a:pt x="1174" y="1459"/>
                    </a:lnTo>
                    <a:lnTo>
                      <a:pt x="1173" y="1461"/>
                    </a:lnTo>
                    <a:lnTo>
                      <a:pt x="1173" y="1463"/>
                    </a:lnTo>
                    <a:lnTo>
                      <a:pt x="1173" y="1461"/>
                    </a:lnTo>
                    <a:lnTo>
                      <a:pt x="1173" y="1463"/>
                    </a:lnTo>
                    <a:lnTo>
                      <a:pt x="1173" y="1461"/>
                    </a:lnTo>
                    <a:lnTo>
                      <a:pt x="1174" y="1461"/>
                    </a:lnTo>
                    <a:lnTo>
                      <a:pt x="1174" y="1463"/>
                    </a:lnTo>
                    <a:lnTo>
                      <a:pt x="1173" y="1463"/>
                    </a:lnTo>
                    <a:lnTo>
                      <a:pt x="1173" y="1464"/>
                    </a:lnTo>
                    <a:lnTo>
                      <a:pt x="1173" y="1466"/>
                    </a:lnTo>
                    <a:lnTo>
                      <a:pt x="1173" y="1464"/>
                    </a:lnTo>
                    <a:lnTo>
                      <a:pt x="1171" y="1466"/>
                    </a:lnTo>
                    <a:lnTo>
                      <a:pt x="1173" y="1466"/>
                    </a:lnTo>
                    <a:lnTo>
                      <a:pt x="1171" y="1466"/>
                    </a:lnTo>
                    <a:lnTo>
                      <a:pt x="1171" y="1468"/>
                    </a:lnTo>
                    <a:lnTo>
                      <a:pt x="1169" y="1468"/>
                    </a:lnTo>
                    <a:lnTo>
                      <a:pt x="1169" y="1470"/>
                    </a:lnTo>
                    <a:lnTo>
                      <a:pt x="1169" y="1471"/>
                    </a:lnTo>
                    <a:lnTo>
                      <a:pt x="1168" y="1471"/>
                    </a:lnTo>
                    <a:lnTo>
                      <a:pt x="1168" y="1470"/>
                    </a:lnTo>
                    <a:lnTo>
                      <a:pt x="1166" y="1470"/>
                    </a:lnTo>
                    <a:lnTo>
                      <a:pt x="1168" y="1468"/>
                    </a:lnTo>
                    <a:lnTo>
                      <a:pt x="1168" y="1466"/>
                    </a:lnTo>
                    <a:lnTo>
                      <a:pt x="1169" y="1466"/>
                    </a:lnTo>
                    <a:lnTo>
                      <a:pt x="1169" y="1464"/>
                    </a:lnTo>
                    <a:lnTo>
                      <a:pt x="1171" y="1464"/>
                    </a:lnTo>
                    <a:lnTo>
                      <a:pt x="1169" y="1464"/>
                    </a:lnTo>
                    <a:lnTo>
                      <a:pt x="1169" y="1463"/>
                    </a:lnTo>
                    <a:lnTo>
                      <a:pt x="1169" y="1464"/>
                    </a:lnTo>
                    <a:lnTo>
                      <a:pt x="1168" y="1464"/>
                    </a:lnTo>
                    <a:lnTo>
                      <a:pt x="1169" y="1464"/>
                    </a:lnTo>
                    <a:lnTo>
                      <a:pt x="1168" y="1464"/>
                    </a:lnTo>
                    <a:lnTo>
                      <a:pt x="1169" y="1463"/>
                    </a:lnTo>
                    <a:lnTo>
                      <a:pt x="1169" y="1461"/>
                    </a:lnTo>
                    <a:lnTo>
                      <a:pt x="1171" y="1459"/>
                    </a:lnTo>
                    <a:lnTo>
                      <a:pt x="1169" y="1461"/>
                    </a:lnTo>
                    <a:lnTo>
                      <a:pt x="1169" y="1459"/>
                    </a:lnTo>
                    <a:lnTo>
                      <a:pt x="1169" y="1458"/>
                    </a:lnTo>
                    <a:lnTo>
                      <a:pt x="1171" y="1458"/>
                    </a:lnTo>
                    <a:lnTo>
                      <a:pt x="1171" y="1456"/>
                    </a:lnTo>
                    <a:lnTo>
                      <a:pt x="1171" y="1454"/>
                    </a:lnTo>
                    <a:lnTo>
                      <a:pt x="1171" y="1453"/>
                    </a:lnTo>
                    <a:lnTo>
                      <a:pt x="1173" y="1454"/>
                    </a:lnTo>
                    <a:lnTo>
                      <a:pt x="1173" y="1453"/>
                    </a:lnTo>
                    <a:lnTo>
                      <a:pt x="1173" y="1454"/>
                    </a:lnTo>
                    <a:lnTo>
                      <a:pt x="1173" y="1453"/>
                    </a:lnTo>
                    <a:lnTo>
                      <a:pt x="1173" y="1454"/>
                    </a:lnTo>
                    <a:lnTo>
                      <a:pt x="1173" y="1453"/>
                    </a:lnTo>
                    <a:lnTo>
                      <a:pt x="1171" y="1453"/>
                    </a:lnTo>
                    <a:lnTo>
                      <a:pt x="1173" y="1451"/>
                    </a:lnTo>
                    <a:lnTo>
                      <a:pt x="1174" y="1449"/>
                    </a:lnTo>
                    <a:close/>
                    <a:moveTo>
                      <a:pt x="1186" y="1075"/>
                    </a:moveTo>
                    <a:lnTo>
                      <a:pt x="1188" y="1075"/>
                    </a:lnTo>
                    <a:lnTo>
                      <a:pt x="1188" y="1077"/>
                    </a:lnTo>
                    <a:lnTo>
                      <a:pt x="1190" y="1078"/>
                    </a:lnTo>
                    <a:lnTo>
                      <a:pt x="1190" y="1080"/>
                    </a:lnTo>
                    <a:lnTo>
                      <a:pt x="1188" y="1080"/>
                    </a:lnTo>
                    <a:lnTo>
                      <a:pt x="1186" y="1080"/>
                    </a:lnTo>
                    <a:lnTo>
                      <a:pt x="1185" y="1080"/>
                    </a:lnTo>
                    <a:lnTo>
                      <a:pt x="1186" y="1080"/>
                    </a:lnTo>
                    <a:lnTo>
                      <a:pt x="1188" y="1080"/>
                    </a:lnTo>
                    <a:lnTo>
                      <a:pt x="1190" y="1080"/>
                    </a:lnTo>
                    <a:lnTo>
                      <a:pt x="1190" y="1078"/>
                    </a:lnTo>
                    <a:lnTo>
                      <a:pt x="1191" y="1080"/>
                    </a:lnTo>
                    <a:lnTo>
                      <a:pt x="1191" y="1082"/>
                    </a:lnTo>
                    <a:lnTo>
                      <a:pt x="1191" y="1080"/>
                    </a:lnTo>
                    <a:lnTo>
                      <a:pt x="1191" y="1082"/>
                    </a:lnTo>
                    <a:lnTo>
                      <a:pt x="1193" y="1083"/>
                    </a:lnTo>
                    <a:lnTo>
                      <a:pt x="1191" y="1083"/>
                    </a:lnTo>
                    <a:lnTo>
                      <a:pt x="1190" y="1083"/>
                    </a:lnTo>
                    <a:lnTo>
                      <a:pt x="1188" y="1083"/>
                    </a:lnTo>
                    <a:lnTo>
                      <a:pt x="1186" y="1083"/>
                    </a:lnTo>
                    <a:lnTo>
                      <a:pt x="1185" y="1083"/>
                    </a:lnTo>
                    <a:lnTo>
                      <a:pt x="1185" y="1082"/>
                    </a:lnTo>
                    <a:lnTo>
                      <a:pt x="1185" y="1080"/>
                    </a:lnTo>
                    <a:lnTo>
                      <a:pt x="1183" y="1080"/>
                    </a:lnTo>
                    <a:lnTo>
                      <a:pt x="1181" y="1080"/>
                    </a:lnTo>
                    <a:lnTo>
                      <a:pt x="1183" y="1080"/>
                    </a:lnTo>
                    <a:lnTo>
                      <a:pt x="1183" y="1082"/>
                    </a:lnTo>
                    <a:lnTo>
                      <a:pt x="1185" y="1083"/>
                    </a:lnTo>
                    <a:lnTo>
                      <a:pt x="1183" y="1083"/>
                    </a:lnTo>
                    <a:lnTo>
                      <a:pt x="1183" y="1082"/>
                    </a:lnTo>
                    <a:lnTo>
                      <a:pt x="1183" y="1083"/>
                    </a:lnTo>
                    <a:lnTo>
                      <a:pt x="1183" y="1082"/>
                    </a:lnTo>
                    <a:lnTo>
                      <a:pt x="1183" y="1083"/>
                    </a:lnTo>
                    <a:lnTo>
                      <a:pt x="1183" y="1082"/>
                    </a:lnTo>
                    <a:lnTo>
                      <a:pt x="1181" y="1082"/>
                    </a:lnTo>
                    <a:lnTo>
                      <a:pt x="1179" y="1082"/>
                    </a:lnTo>
                    <a:lnTo>
                      <a:pt x="1178" y="1080"/>
                    </a:lnTo>
                    <a:lnTo>
                      <a:pt x="1178" y="1078"/>
                    </a:lnTo>
                    <a:lnTo>
                      <a:pt x="1179" y="1077"/>
                    </a:lnTo>
                    <a:lnTo>
                      <a:pt x="1181" y="1077"/>
                    </a:lnTo>
                    <a:lnTo>
                      <a:pt x="1183" y="1077"/>
                    </a:lnTo>
                    <a:lnTo>
                      <a:pt x="1183" y="1078"/>
                    </a:lnTo>
                    <a:lnTo>
                      <a:pt x="1185" y="1077"/>
                    </a:lnTo>
                    <a:lnTo>
                      <a:pt x="1186" y="1075"/>
                    </a:lnTo>
                    <a:close/>
                    <a:moveTo>
                      <a:pt x="1169" y="1390"/>
                    </a:moveTo>
                    <a:lnTo>
                      <a:pt x="1169" y="1391"/>
                    </a:lnTo>
                    <a:lnTo>
                      <a:pt x="1171" y="1390"/>
                    </a:lnTo>
                    <a:lnTo>
                      <a:pt x="1171" y="1391"/>
                    </a:lnTo>
                    <a:lnTo>
                      <a:pt x="1173" y="1391"/>
                    </a:lnTo>
                    <a:lnTo>
                      <a:pt x="1171" y="1393"/>
                    </a:lnTo>
                    <a:lnTo>
                      <a:pt x="1171" y="1391"/>
                    </a:lnTo>
                    <a:lnTo>
                      <a:pt x="1171" y="1393"/>
                    </a:lnTo>
                    <a:lnTo>
                      <a:pt x="1171" y="1395"/>
                    </a:lnTo>
                    <a:lnTo>
                      <a:pt x="1169" y="1393"/>
                    </a:lnTo>
                    <a:lnTo>
                      <a:pt x="1169" y="1395"/>
                    </a:lnTo>
                    <a:lnTo>
                      <a:pt x="1171" y="1395"/>
                    </a:lnTo>
                    <a:lnTo>
                      <a:pt x="1169" y="1395"/>
                    </a:lnTo>
                    <a:lnTo>
                      <a:pt x="1171" y="1396"/>
                    </a:lnTo>
                    <a:lnTo>
                      <a:pt x="1171" y="1395"/>
                    </a:lnTo>
                    <a:lnTo>
                      <a:pt x="1173" y="1396"/>
                    </a:lnTo>
                    <a:lnTo>
                      <a:pt x="1173" y="1398"/>
                    </a:lnTo>
                    <a:lnTo>
                      <a:pt x="1171" y="1398"/>
                    </a:lnTo>
                    <a:lnTo>
                      <a:pt x="1169" y="1398"/>
                    </a:lnTo>
                    <a:lnTo>
                      <a:pt x="1171" y="1398"/>
                    </a:lnTo>
                    <a:lnTo>
                      <a:pt x="1173" y="1398"/>
                    </a:lnTo>
                    <a:lnTo>
                      <a:pt x="1171" y="1400"/>
                    </a:lnTo>
                    <a:lnTo>
                      <a:pt x="1173" y="1400"/>
                    </a:lnTo>
                    <a:lnTo>
                      <a:pt x="1173" y="1401"/>
                    </a:lnTo>
                    <a:lnTo>
                      <a:pt x="1173" y="1400"/>
                    </a:lnTo>
                    <a:lnTo>
                      <a:pt x="1173" y="1398"/>
                    </a:lnTo>
                    <a:lnTo>
                      <a:pt x="1173" y="1396"/>
                    </a:lnTo>
                    <a:lnTo>
                      <a:pt x="1174" y="1398"/>
                    </a:lnTo>
                    <a:lnTo>
                      <a:pt x="1174" y="1400"/>
                    </a:lnTo>
                    <a:lnTo>
                      <a:pt x="1174" y="1401"/>
                    </a:lnTo>
                    <a:lnTo>
                      <a:pt x="1173" y="1401"/>
                    </a:lnTo>
                    <a:lnTo>
                      <a:pt x="1173" y="1403"/>
                    </a:lnTo>
                    <a:lnTo>
                      <a:pt x="1171" y="1403"/>
                    </a:lnTo>
                    <a:lnTo>
                      <a:pt x="1171" y="1401"/>
                    </a:lnTo>
                    <a:lnTo>
                      <a:pt x="1169" y="1401"/>
                    </a:lnTo>
                    <a:lnTo>
                      <a:pt x="1168" y="1401"/>
                    </a:lnTo>
                    <a:lnTo>
                      <a:pt x="1166" y="1400"/>
                    </a:lnTo>
                    <a:lnTo>
                      <a:pt x="1168" y="1400"/>
                    </a:lnTo>
                    <a:lnTo>
                      <a:pt x="1166" y="1400"/>
                    </a:lnTo>
                    <a:lnTo>
                      <a:pt x="1164" y="1400"/>
                    </a:lnTo>
                    <a:lnTo>
                      <a:pt x="1164" y="1398"/>
                    </a:lnTo>
                    <a:lnTo>
                      <a:pt x="1166" y="1398"/>
                    </a:lnTo>
                    <a:lnTo>
                      <a:pt x="1168" y="1400"/>
                    </a:lnTo>
                    <a:lnTo>
                      <a:pt x="1166" y="1398"/>
                    </a:lnTo>
                    <a:lnTo>
                      <a:pt x="1168" y="1398"/>
                    </a:lnTo>
                    <a:lnTo>
                      <a:pt x="1166" y="1398"/>
                    </a:lnTo>
                    <a:lnTo>
                      <a:pt x="1168" y="1398"/>
                    </a:lnTo>
                    <a:lnTo>
                      <a:pt x="1166" y="1398"/>
                    </a:lnTo>
                    <a:lnTo>
                      <a:pt x="1164" y="1396"/>
                    </a:lnTo>
                    <a:lnTo>
                      <a:pt x="1166" y="1396"/>
                    </a:lnTo>
                    <a:lnTo>
                      <a:pt x="1166" y="1398"/>
                    </a:lnTo>
                    <a:lnTo>
                      <a:pt x="1168" y="1398"/>
                    </a:lnTo>
                    <a:lnTo>
                      <a:pt x="1168" y="1396"/>
                    </a:lnTo>
                    <a:lnTo>
                      <a:pt x="1166" y="1396"/>
                    </a:lnTo>
                    <a:lnTo>
                      <a:pt x="1164" y="1396"/>
                    </a:lnTo>
                    <a:lnTo>
                      <a:pt x="1164" y="1395"/>
                    </a:lnTo>
                    <a:lnTo>
                      <a:pt x="1166" y="1396"/>
                    </a:lnTo>
                    <a:lnTo>
                      <a:pt x="1168" y="1396"/>
                    </a:lnTo>
                    <a:lnTo>
                      <a:pt x="1166" y="1396"/>
                    </a:lnTo>
                    <a:lnTo>
                      <a:pt x="1166" y="1395"/>
                    </a:lnTo>
                    <a:lnTo>
                      <a:pt x="1164" y="1395"/>
                    </a:lnTo>
                    <a:lnTo>
                      <a:pt x="1166" y="1395"/>
                    </a:lnTo>
                    <a:lnTo>
                      <a:pt x="1164" y="1395"/>
                    </a:lnTo>
                    <a:lnTo>
                      <a:pt x="1164" y="1393"/>
                    </a:lnTo>
                    <a:lnTo>
                      <a:pt x="1166" y="1393"/>
                    </a:lnTo>
                    <a:lnTo>
                      <a:pt x="1168" y="1393"/>
                    </a:lnTo>
                    <a:lnTo>
                      <a:pt x="1168" y="1395"/>
                    </a:lnTo>
                    <a:lnTo>
                      <a:pt x="1166" y="1393"/>
                    </a:lnTo>
                    <a:lnTo>
                      <a:pt x="1168" y="1395"/>
                    </a:lnTo>
                    <a:lnTo>
                      <a:pt x="1169" y="1393"/>
                    </a:lnTo>
                    <a:lnTo>
                      <a:pt x="1168" y="1393"/>
                    </a:lnTo>
                    <a:lnTo>
                      <a:pt x="1168" y="1391"/>
                    </a:lnTo>
                    <a:lnTo>
                      <a:pt x="1166" y="1391"/>
                    </a:lnTo>
                    <a:lnTo>
                      <a:pt x="1164" y="1391"/>
                    </a:lnTo>
                    <a:lnTo>
                      <a:pt x="1164" y="1390"/>
                    </a:lnTo>
                    <a:lnTo>
                      <a:pt x="1166" y="1391"/>
                    </a:lnTo>
                    <a:lnTo>
                      <a:pt x="1166" y="1390"/>
                    </a:lnTo>
                    <a:lnTo>
                      <a:pt x="1168" y="1390"/>
                    </a:lnTo>
                    <a:lnTo>
                      <a:pt x="1168" y="1391"/>
                    </a:lnTo>
                    <a:lnTo>
                      <a:pt x="1169" y="1391"/>
                    </a:lnTo>
                    <a:lnTo>
                      <a:pt x="1169" y="1393"/>
                    </a:lnTo>
                    <a:lnTo>
                      <a:pt x="1169" y="1391"/>
                    </a:lnTo>
                    <a:lnTo>
                      <a:pt x="1168" y="1390"/>
                    </a:lnTo>
                    <a:lnTo>
                      <a:pt x="1169" y="1390"/>
                    </a:lnTo>
                    <a:close/>
                    <a:moveTo>
                      <a:pt x="1195" y="1114"/>
                    </a:moveTo>
                    <a:lnTo>
                      <a:pt x="1196" y="1114"/>
                    </a:lnTo>
                    <a:lnTo>
                      <a:pt x="1195" y="1114"/>
                    </a:lnTo>
                    <a:lnTo>
                      <a:pt x="1196" y="1116"/>
                    </a:lnTo>
                    <a:lnTo>
                      <a:pt x="1196" y="1117"/>
                    </a:lnTo>
                    <a:lnTo>
                      <a:pt x="1198" y="1117"/>
                    </a:lnTo>
                    <a:lnTo>
                      <a:pt x="1200" y="1117"/>
                    </a:lnTo>
                    <a:lnTo>
                      <a:pt x="1202" y="1116"/>
                    </a:lnTo>
                    <a:lnTo>
                      <a:pt x="1203" y="1116"/>
                    </a:lnTo>
                    <a:lnTo>
                      <a:pt x="1203" y="1117"/>
                    </a:lnTo>
                    <a:lnTo>
                      <a:pt x="1203" y="1119"/>
                    </a:lnTo>
                    <a:lnTo>
                      <a:pt x="1205" y="1119"/>
                    </a:lnTo>
                    <a:lnTo>
                      <a:pt x="1205" y="1121"/>
                    </a:lnTo>
                    <a:lnTo>
                      <a:pt x="1205" y="1122"/>
                    </a:lnTo>
                    <a:lnTo>
                      <a:pt x="1203" y="1121"/>
                    </a:lnTo>
                    <a:lnTo>
                      <a:pt x="1203" y="1122"/>
                    </a:lnTo>
                    <a:lnTo>
                      <a:pt x="1203" y="1121"/>
                    </a:lnTo>
                    <a:lnTo>
                      <a:pt x="1202" y="1122"/>
                    </a:lnTo>
                    <a:lnTo>
                      <a:pt x="1202" y="1121"/>
                    </a:lnTo>
                    <a:lnTo>
                      <a:pt x="1200" y="1121"/>
                    </a:lnTo>
                    <a:lnTo>
                      <a:pt x="1200" y="1122"/>
                    </a:lnTo>
                    <a:lnTo>
                      <a:pt x="1198" y="1122"/>
                    </a:lnTo>
                    <a:lnTo>
                      <a:pt x="1200" y="1121"/>
                    </a:lnTo>
                    <a:lnTo>
                      <a:pt x="1198" y="1122"/>
                    </a:lnTo>
                    <a:lnTo>
                      <a:pt x="1196" y="1122"/>
                    </a:lnTo>
                    <a:lnTo>
                      <a:pt x="1196" y="1121"/>
                    </a:lnTo>
                    <a:lnTo>
                      <a:pt x="1195" y="1121"/>
                    </a:lnTo>
                    <a:lnTo>
                      <a:pt x="1193" y="1121"/>
                    </a:lnTo>
                    <a:lnTo>
                      <a:pt x="1193" y="1119"/>
                    </a:lnTo>
                    <a:lnTo>
                      <a:pt x="1193" y="1121"/>
                    </a:lnTo>
                    <a:lnTo>
                      <a:pt x="1193" y="1122"/>
                    </a:lnTo>
                    <a:lnTo>
                      <a:pt x="1193" y="1121"/>
                    </a:lnTo>
                    <a:lnTo>
                      <a:pt x="1193" y="1119"/>
                    </a:lnTo>
                    <a:lnTo>
                      <a:pt x="1191" y="1121"/>
                    </a:lnTo>
                    <a:lnTo>
                      <a:pt x="1193" y="1119"/>
                    </a:lnTo>
                    <a:lnTo>
                      <a:pt x="1191" y="1119"/>
                    </a:lnTo>
                    <a:lnTo>
                      <a:pt x="1191" y="1117"/>
                    </a:lnTo>
                    <a:lnTo>
                      <a:pt x="1191" y="1116"/>
                    </a:lnTo>
                    <a:lnTo>
                      <a:pt x="1191" y="1114"/>
                    </a:lnTo>
                    <a:lnTo>
                      <a:pt x="1193" y="1116"/>
                    </a:lnTo>
                    <a:lnTo>
                      <a:pt x="1195" y="1114"/>
                    </a:lnTo>
                    <a:close/>
                    <a:moveTo>
                      <a:pt x="1288" y="1623"/>
                    </a:moveTo>
                    <a:lnTo>
                      <a:pt x="1290" y="1623"/>
                    </a:lnTo>
                    <a:lnTo>
                      <a:pt x="1292" y="1623"/>
                    </a:lnTo>
                    <a:lnTo>
                      <a:pt x="1290" y="1623"/>
                    </a:lnTo>
                    <a:lnTo>
                      <a:pt x="1292" y="1621"/>
                    </a:lnTo>
                    <a:lnTo>
                      <a:pt x="1292" y="1623"/>
                    </a:lnTo>
                    <a:lnTo>
                      <a:pt x="1293" y="1623"/>
                    </a:lnTo>
                    <a:lnTo>
                      <a:pt x="1293" y="1624"/>
                    </a:lnTo>
                    <a:lnTo>
                      <a:pt x="1293" y="1623"/>
                    </a:lnTo>
                    <a:lnTo>
                      <a:pt x="1293" y="1624"/>
                    </a:lnTo>
                    <a:lnTo>
                      <a:pt x="1295" y="1624"/>
                    </a:lnTo>
                    <a:lnTo>
                      <a:pt x="1295" y="1626"/>
                    </a:lnTo>
                    <a:lnTo>
                      <a:pt x="1297" y="1624"/>
                    </a:lnTo>
                    <a:lnTo>
                      <a:pt x="1298" y="1624"/>
                    </a:lnTo>
                    <a:lnTo>
                      <a:pt x="1297" y="1624"/>
                    </a:lnTo>
                    <a:lnTo>
                      <a:pt x="1297" y="1626"/>
                    </a:lnTo>
                    <a:lnTo>
                      <a:pt x="1298" y="1626"/>
                    </a:lnTo>
                    <a:lnTo>
                      <a:pt x="1300" y="1626"/>
                    </a:lnTo>
                    <a:lnTo>
                      <a:pt x="1298" y="1628"/>
                    </a:lnTo>
                    <a:lnTo>
                      <a:pt x="1297" y="1628"/>
                    </a:lnTo>
                    <a:lnTo>
                      <a:pt x="1298" y="1628"/>
                    </a:lnTo>
                    <a:lnTo>
                      <a:pt x="1300" y="1628"/>
                    </a:lnTo>
                    <a:lnTo>
                      <a:pt x="1298" y="1629"/>
                    </a:lnTo>
                    <a:lnTo>
                      <a:pt x="1298" y="1628"/>
                    </a:lnTo>
                    <a:lnTo>
                      <a:pt x="1297" y="1628"/>
                    </a:lnTo>
                    <a:lnTo>
                      <a:pt x="1297" y="1629"/>
                    </a:lnTo>
                    <a:lnTo>
                      <a:pt x="1295" y="1629"/>
                    </a:lnTo>
                    <a:lnTo>
                      <a:pt x="1293" y="1629"/>
                    </a:lnTo>
                    <a:lnTo>
                      <a:pt x="1293" y="1628"/>
                    </a:lnTo>
                    <a:lnTo>
                      <a:pt x="1292" y="1629"/>
                    </a:lnTo>
                    <a:lnTo>
                      <a:pt x="1292" y="1628"/>
                    </a:lnTo>
                    <a:lnTo>
                      <a:pt x="1293" y="1628"/>
                    </a:lnTo>
                    <a:lnTo>
                      <a:pt x="1295" y="1626"/>
                    </a:lnTo>
                    <a:lnTo>
                      <a:pt x="1293" y="1626"/>
                    </a:lnTo>
                    <a:lnTo>
                      <a:pt x="1292" y="1626"/>
                    </a:lnTo>
                    <a:lnTo>
                      <a:pt x="1292" y="1628"/>
                    </a:lnTo>
                    <a:lnTo>
                      <a:pt x="1292" y="1626"/>
                    </a:lnTo>
                    <a:lnTo>
                      <a:pt x="1292" y="1628"/>
                    </a:lnTo>
                    <a:lnTo>
                      <a:pt x="1290" y="1628"/>
                    </a:lnTo>
                    <a:lnTo>
                      <a:pt x="1290" y="1626"/>
                    </a:lnTo>
                    <a:lnTo>
                      <a:pt x="1290" y="1624"/>
                    </a:lnTo>
                    <a:lnTo>
                      <a:pt x="1292" y="1624"/>
                    </a:lnTo>
                    <a:lnTo>
                      <a:pt x="1290" y="1624"/>
                    </a:lnTo>
                    <a:lnTo>
                      <a:pt x="1288" y="1626"/>
                    </a:lnTo>
                    <a:lnTo>
                      <a:pt x="1288" y="1624"/>
                    </a:lnTo>
                    <a:lnTo>
                      <a:pt x="1287" y="1624"/>
                    </a:lnTo>
                    <a:lnTo>
                      <a:pt x="1288" y="1624"/>
                    </a:lnTo>
                    <a:lnTo>
                      <a:pt x="1288" y="1626"/>
                    </a:lnTo>
                    <a:lnTo>
                      <a:pt x="1287" y="1626"/>
                    </a:lnTo>
                    <a:lnTo>
                      <a:pt x="1287" y="1628"/>
                    </a:lnTo>
                    <a:lnTo>
                      <a:pt x="1285" y="1628"/>
                    </a:lnTo>
                    <a:lnTo>
                      <a:pt x="1287" y="1629"/>
                    </a:lnTo>
                    <a:lnTo>
                      <a:pt x="1285" y="1629"/>
                    </a:lnTo>
                    <a:lnTo>
                      <a:pt x="1285" y="1628"/>
                    </a:lnTo>
                    <a:lnTo>
                      <a:pt x="1285" y="1626"/>
                    </a:lnTo>
                    <a:lnTo>
                      <a:pt x="1285" y="1628"/>
                    </a:lnTo>
                    <a:lnTo>
                      <a:pt x="1283" y="1628"/>
                    </a:lnTo>
                    <a:lnTo>
                      <a:pt x="1283" y="1629"/>
                    </a:lnTo>
                    <a:lnTo>
                      <a:pt x="1281" y="1629"/>
                    </a:lnTo>
                    <a:lnTo>
                      <a:pt x="1281" y="1628"/>
                    </a:lnTo>
                    <a:lnTo>
                      <a:pt x="1283" y="1626"/>
                    </a:lnTo>
                    <a:lnTo>
                      <a:pt x="1281" y="1626"/>
                    </a:lnTo>
                    <a:lnTo>
                      <a:pt x="1281" y="1624"/>
                    </a:lnTo>
                    <a:lnTo>
                      <a:pt x="1283" y="1624"/>
                    </a:lnTo>
                    <a:lnTo>
                      <a:pt x="1283" y="1623"/>
                    </a:lnTo>
                    <a:lnTo>
                      <a:pt x="1283" y="1621"/>
                    </a:lnTo>
                    <a:lnTo>
                      <a:pt x="1285" y="1623"/>
                    </a:lnTo>
                    <a:lnTo>
                      <a:pt x="1285" y="1621"/>
                    </a:lnTo>
                    <a:lnTo>
                      <a:pt x="1287" y="1623"/>
                    </a:lnTo>
                    <a:lnTo>
                      <a:pt x="1288" y="1623"/>
                    </a:lnTo>
                    <a:lnTo>
                      <a:pt x="1287" y="1621"/>
                    </a:lnTo>
                    <a:lnTo>
                      <a:pt x="1288" y="1623"/>
                    </a:lnTo>
                    <a:close/>
                    <a:moveTo>
                      <a:pt x="1207" y="1082"/>
                    </a:moveTo>
                    <a:lnTo>
                      <a:pt x="1208" y="1083"/>
                    </a:lnTo>
                    <a:lnTo>
                      <a:pt x="1210" y="1083"/>
                    </a:lnTo>
                    <a:lnTo>
                      <a:pt x="1208" y="1085"/>
                    </a:lnTo>
                    <a:lnTo>
                      <a:pt x="1208" y="1083"/>
                    </a:lnTo>
                    <a:lnTo>
                      <a:pt x="1207" y="1083"/>
                    </a:lnTo>
                    <a:lnTo>
                      <a:pt x="1208" y="1083"/>
                    </a:lnTo>
                    <a:lnTo>
                      <a:pt x="1208" y="1085"/>
                    </a:lnTo>
                    <a:lnTo>
                      <a:pt x="1210" y="1085"/>
                    </a:lnTo>
                    <a:lnTo>
                      <a:pt x="1210" y="1087"/>
                    </a:lnTo>
                    <a:lnTo>
                      <a:pt x="1208" y="1087"/>
                    </a:lnTo>
                    <a:lnTo>
                      <a:pt x="1210" y="1088"/>
                    </a:lnTo>
                    <a:lnTo>
                      <a:pt x="1208" y="1088"/>
                    </a:lnTo>
                    <a:lnTo>
                      <a:pt x="1208" y="1090"/>
                    </a:lnTo>
                    <a:lnTo>
                      <a:pt x="1207" y="1090"/>
                    </a:lnTo>
                    <a:lnTo>
                      <a:pt x="1207" y="1092"/>
                    </a:lnTo>
                    <a:lnTo>
                      <a:pt x="1207" y="1090"/>
                    </a:lnTo>
                    <a:lnTo>
                      <a:pt x="1208" y="1090"/>
                    </a:lnTo>
                    <a:lnTo>
                      <a:pt x="1208" y="1088"/>
                    </a:lnTo>
                    <a:lnTo>
                      <a:pt x="1210" y="1088"/>
                    </a:lnTo>
                    <a:lnTo>
                      <a:pt x="1210" y="1090"/>
                    </a:lnTo>
                    <a:lnTo>
                      <a:pt x="1212" y="1090"/>
                    </a:lnTo>
                    <a:lnTo>
                      <a:pt x="1210" y="1090"/>
                    </a:lnTo>
                    <a:lnTo>
                      <a:pt x="1210" y="1092"/>
                    </a:lnTo>
                    <a:lnTo>
                      <a:pt x="1210" y="1090"/>
                    </a:lnTo>
                    <a:lnTo>
                      <a:pt x="1210" y="1092"/>
                    </a:lnTo>
                    <a:lnTo>
                      <a:pt x="1210" y="1090"/>
                    </a:lnTo>
                    <a:lnTo>
                      <a:pt x="1208" y="1092"/>
                    </a:lnTo>
                    <a:lnTo>
                      <a:pt x="1207" y="1092"/>
                    </a:lnTo>
                    <a:lnTo>
                      <a:pt x="1205" y="1092"/>
                    </a:lnTo>
                    <a:lnTo>
                      <a:pt x="1205" y="1090"/>
                    </a:lnTo>
                    <a:lnTo>
                      <a:pt x="1203" y="1090"/>
                    </a:lnTo>
                    <a:lnTo>
                      <a:pt x="1203" y="1088"/>
                    </a:lnTo>
                    <a:lnTo>
                      <a:pt x="1202" y="1088"/>
                    </a:lnTo>
                    <a:lnTo>
                      <a:pt x="1202" y="1087"/>
                    </a:lnTo>
                    <a:lnTo>
                      <a:pt x="1200" y="1085"/>
                    </a:lnTo>
                    <a:lnTo>
                      <a:pt x="1202" y="1085"/>
                    </a:lnTo>
                    <a:lnTo>
                      <a:pt x="1203" y="1087"/>
                    </a:lnTo>
                    <a:lnTo>
                      <a:pt x="1203" y="1088"/>
                    </a:lnTo>
                    <a:lnTo>
                      <a:pt x="1203" y="1087"/>
                    </a:lnTo>
                    <a:lnTo>
                      <a:pt x="1203" y="1085"/>
                    </a:lnTo>
                    <a:lnTo>
                      <a:pt x="1203" y="1083"/>
                    </a:lnTo>
                    <a:lnTo>
                      <a:pt x="1205" y="1083"/>
                    </a:lnTo>
                    <a:lnTo>
                      <a:pt x="1205" y="1082"/>
                    </a:lnTo>
                    <a:lnTo>
                      <a:pt x="1205" y="1083"/>
                    </a:lnTo>
                    <a:lnTo>
                      <a:pt x="1207" y="1082"/>
                    </a:lnTo>
                    <a:close/>
                    <a:moveTo>
                      <a:pt x="1207" y="1145"/>
                    </a:moveTo>
                    <a:lnTo>
                      <a:pt x="1207" y="1146"/>
                    </a:lnTo>
                    <a:lnTo>
                      <a:pt x="1208" y="1146"/>
                    </a:lnTo>
                    <a:lnTo>
                      <a:pt x="1208" y="1148"/>
                    </a:lnTo>
                    <a:lnTo>
                      <a:pt x="1207" y="1148"/>
                    </a:lnTo>
                    <a:lnTo>
                      <a:pt x="1208" y="1148"/>
                    </a:lnTo>
                    <a:lnTo>
                      <a:pt x="1208" y="1150"/>
                    </a:lnTo>
                    <a:lnTo>
                      <a:pt x="1207" y="1150"/>
                    </a:lnTo>
                    <a:lnTo>
                      <a:pt x="1208" y="1150"/>
                    </a:lnTo>
                    <a:lnTo>
                      <a:pt x="1208" y="1151"/>
                    </a:lnTo>
                    <a:lnTo>
                      <a:pt x="1207" y="1151"/>
                    </a:lnTo>
                    <a:lnTo>
                      <a:pt x="1208" y="1153"/>
                    </a:lnTo>
                    <a:lnTo>
                      <a:pt x="1207" y="1155"/>
                    </a:lnTo>
                    <a:lnTo>
                      <a:pt x="1205" y="1153"/>
                    </a:lnTo>
                    <a:lnTo>
                      <a:pt x="1203" y="1153"/>
                    </a:lnTo>
                    <a:lnTo>
                      <a:pt x="1203" y="1151"/>
                    </a:lnTo>
                    <a:lnTo>
                      <a:pt x="1203" y="1150"/>
                    </a:lnTo>
                    <a:lnTo>
                      <a:pt x="1205" y="1148"/>
                    </a:lnTo>
                    <a:lnTo>
                      <a:pt x="1207" y="1148"/>
                    </a:lnTo>
                    <a:lnTo>
                      <a:pt x="1205" y="1150"/>
                    </a:lnTo>
                    <a:lnTo>
                      <a:pt x="1207" y="1150"/>
                    </a:lnTo>
                    <a:lnTo>
                      <a:pt x="1205" y="1148"/>
                    </a:lnTo>
                    <a:lnTo>
                      <a:pt x="1207" y="1148"/>
                    </a:lnTo>
                    <a:lnTo>
                      <a:pt x="1207" y="1146"/>
                    </a:lnTo>
                    <a:lnTo>
                      <a:pt x="1205" y="1146"/>
                    </a:lnTo>
                    <a:lnTo>
                      <a:pt x="1203" y="1146"/>
                    </a:lnTo>
                    <a:lnTo>
                      <a:pt x="1203" y="1148"/>
                    </a:lnTo>
                    <a:lnTo>
                      <a:pt x="1205" y="1148"/>
                    </a:lnTo>
                    <a:lnTo>
                      <a:pt x="1203" y="1148"/>
                    </a:lnTo>
                    <a:lnTo>
                      <a:pt x="1203" y="1150"/>
                    </a:lnTo>
                    <a:lnTo>
                      <a:pt x="1202" y="1148"/>
                    </a:lnTo>
                    <a:lnTo>
                      <a:pt x="1202" y="1150"/>
                    </a:lnTo>
                    <a:lnTo>
                      <a:pt x="1203" y="1150"/>
                    </a:lnTo>
                    <a:lnTo>
                      <a:pt x="1203" y="1151"/>
                    </a:lnTo>
                    <a:lnTo>
                      <a:pt x="1202" y="1151"/>
                    </a:lnTo>
                    <a:lnTo>
                      <a:pt x="1200" y="1151"/>
                    </a:lnTo>
                    <a:lnTo>
                      <a:pt x="1200" y="1150"/>
                    </a:lnTo>
                    <a:lnTo>
                      <a:pt x="1198" y="1150"/>
                    </a:lnTo>
                    <a:lnTo>
                      <a:pt x="1200" y="1150"/>
                    </a:lnTo>
                    <a:lnTo>
                      <a:pt x="1200" y="1148"/>
                    </a:lnTo>
                    <a:lnTo>
                      <a:pt x="1200" y="1146"/>
                    </a:lnTo>
                    <a:lnTo>
                      <a:pt x="1202" y="1146"/>
                    </a:lnTo>
                    <a:lnTo>
                      <a:pt x="1203" y="1146"/>
                    </a:lnTo>
                    <a:lnTo>
                      <a:pt x="1205" y="1145"/>
                    </a:lnTo>
                    <a:lnTo>
                      <a:pt x="1203" y="1145"/>
                    </a:lnTo>
                    <a:lnTo>
                      <a:pt x="1205" y="1145"/>
                    </a:lnTo>
                    <a:lnTo>
                      <a:pt x="1205" y="1143"/>
                    </a:lnTo>
                    <a:lnTo>
                      <a:pt x="1207" y="1143"/>
                    </a:lnTo>
                    <a:lnTo>
                      <a:pt x="1207" y="1145"/>
                    </a:lnTo>
                    <a:close/>
                    <a:moveTo>
                      <a:pt x="1196" y="1065"/>
                    </a:moveTo>
                    <a:lnTo>
                      <a:pt x="1196" y="1066"/>
                    </a:lnTo>
                    <a:lnTo>
                      <a:pt x="1198" y="1066"/>
                    </a:lnTo>
                    <a:lnTo>
                      <a:pt x="1200" y="1066"/>
                    </a:lnTo>
                    <a:lnTo>
                      <a:pt x="1200" y="1068"/>
                    </a:lnTo>
                    <a:lnTo>
                      <a:pt x="1202" y="1068"/>
                    </a:lnTo>
                    <a:lnTo>
                      <a:pt x="1200" y="1068"/>
                    </a:lnTo>
                    <a:lnTo>
                      <a:pt x="1198" y="1068"/>
                    </a:lnTo>
                    <a:lnTo>
                      <a:pt x="1198" y="1070"/>
                    </a:lnTo>
                    <a:lnTo>
                      <a:pt x="1196" y="1068"/>
                    </a:lnTo>
                    <a:lnTo>
                      <a:pt x="1195" y="1068"/>
                    </a:lnTo>
                    <a:lnTo>
                      <a:pt x="1196" y="1070"/>
                    </a:lnTo>
                    <a:lnTo>
                      <a:pt x="1198" y="1071"/>
                    </a:lnTo>
                    <a:lnTo>
                      <a:pt x="1196" y="1070"/>
                    </a:lnTo>
                    <a:lnTo>
                      <a:pt x="1198" y="1070"/>
                    </a:lnTo>
                    <a:lnTo>
                      <a:pt x="1200" y="1071"/>
                    </a:lnTo>
                    <a:lnTo>
                      <a:pt x="1202" y="1071"/>
                    </a:lnTo>
                    <a:lnTo>
                      <a:pt x="1202" y="1070"/>
                    </a:lnTo>
                    <a:lnTo>
                      <a:pt x="1203" y="1070"/>
                    </a:lnTo>
                    <a:lnTo>
                      <a:pt x="1203" y="1071"/>
                    </a:lnTo>
                    <a:lnTo>
                      <a:pt x="1205" y="1071"/>
                    </a:lnTo>
                    <a:lnTo>
                      <a:pt x="1205" y="1073"/>
                    </a:lnTo>
                    <a:lnTo>
                      <a:pt x="1203" y="1073"/>
                    </a:lnTo>
                    <a:lnTo>
                      <a:pt x="1202" y="1073"/>
                    </a:lnTo>
                    <a:lnTo>
                      <a:pt x="1200" y="1073"/>
                    </a:lnTo>
                    <a:lnTo>
                      <a:pt x="1200" y="1071"/>
                    </a:lnTo>
                    <a:lnTo>
                      <a:pt x="1200" y="1073"/>
                    </a:lnTo>
                    <a:lnTo>
                      <a:pt x="1198" y="1073"/>
                    </a:lnTo>
                    <a:lnTo>
                      <a:pt x="1198" y="1071"/>
                    </a:lnTo>
                    <a:lnTo>
                      <a:pt x="1198" y="1073"/>
                    </a:lnTo>
                    <a:lnTo>
                      <a:pt x="1196" y="1073"/>
                    </a:lnTo>
                    <a:lnTo>
                      <a:pt x="1196" y="1071"/>
                    </a:lnTo>
                    <a:lnTo>
                      <a:pt x="1196" y="1073"/>
                    </a:lnTo>
                    <a:lnTo>
                      <a:pt x="1196" y="1071"/>
                    </a:lnTo>
                    <a:lnTo>
                      <a:pt x="1195" y="1071"/>
                    </a:lnTo>
                    <a:lnTo>
                      <a:pt x="1193" y="1070"/>
                    </a:lnTo>
                    <a:lnTo>
                      <a:pt x="1195" y="1068"/>
                    </a:lnTo>
                    <a:lnTo>
                      <a:pt x="1193" y="1068"/>
                    </a:lnTo>
                    <a:lnTo>
                      <a:pt x="1193" y="1066"/>
                    </a:lnTo>
                    <a:lnTo>
                      <a:pt x="1193" y="1065"/>
                    </a:lnTo>
                    <a:lnTo>
                      <a:pt x="1195" y="1065"/>
                    </a:lnTo>
                    <a:lnTo>
                      <a:pt x="1195" y="1063"/>
                    </a:lnTo>
                    <a:lnTo>
                      <a:pt x="1196" y="1063"/>
                    </a:lnTo>
                    <a:lnTo>
                      <a:pt x="1196" y="1065"/>
                    </a:lnTo>
                    <a:close/>
                    <a:moveTo>
                      <a:pt x="1254" y="1578"/>
                    </a:moveTo>
                    <a:lnTo>
                      <a:pt x="1254" y="1580"/>
                    </a:lnTo>
                    <a:lnTo>
                      <a:pt x="1254" y="1578"/>
                    </a:lnTo>
                    <a:lnTo>
                      <a:pt x="1256" y="1580"/>
                    </a:lnTo>
                    <a:lnTo>
                      <a:pt x="1254" y="1582"/>
                    </a:lnTo>
                    <a:lnTo>
                      <a:pt x="1256" y="1580"/>
                    </a:lnTo>
                    <a:lnTo>
                      <a:pt x="1256" y="1582"/>
                    </a:lnTo>
                    <a:lnTo>
                      <a:pt x="1258" y="1582"/>
                    </a:lnTo>
                    <a:lnTo>
                      <a:pt x="1256" y="1582"/>
                    </a:lnTo>
                    <a:lnTo>
                      <a:pt x="1256" y="1583"/>
                    </a:lnTo>
                    <a:lnTo>
                      <a:pt x="1254" y="1582"/>
                    </a:lnTo>
                    <a:lnTo>
                      <a:pt x="1254" y="1583"/>
                    </a:lnTo>
                    <a:lnTo>
                      <a:pt x="1254" y="1585"/>
                    </a:lnTo>
                    <a:lnTo>
                      <a:pt x="1254" y="1587"/>
                    </a:lnTo>
                    <a:lnTo>
                      <a:pt x="1253" y="1585"/>
                    </a:lnTo>
                    <a:lnTo>
                      <a:pt x="1253" y="1587"/>
                    </a:lnTo>
                    <a:lnTo>
                      <a:pt x="1254" y="1587"/>
                    </a:lnTo>
                    <a:lnTo>
                      <a:pt x="1253" y="1589"/>
                    </a:lnTo>
                    <a:lnTo>
                      <a:pt x="1251" y="1589"/>
                    </a:lnTo>
                    <a:lnTo>
                      <a:pt x="1251" y="1587"/>
                    </a:lnTo>
                    <a:lnTo>
                      <a:pt x="1249" y="1587"/>
                    </a:lnTo>
                    <a:lnTo>
                      <a:pt x="1251" y="1587"/>
                    </a:lnTo>
                    <a:lnTo>
                      <a:pt x="1249" y="1589"/>
                    </a:lnTo>
                    <a:lnTo>
                      <a:pt x="1251" y="1589"/>
                    </a:lnTo>
                    <a:lnTo>
                      <a:pt x="1253" y="1590"/>
                    </a:lnTo>
                    <a:lnTo>
                      <a:pt x="1251" y="1590"/>
                    </a:lnTo>
                    <a:lnTo>
                      <a:pt x="1249" y="1589"/>
                    </a:lnTo>
                    <a:lnTo>
                      <a:pt x="1249" y="1590"/>
                    </a:lnTo>
                    <a:lnTo>
                      <a:pt x="1247" y="1590"/>
                    </a:lnTo>
                    <a:lnTo>
                      <a:pt x="1247" y="1589"/>
                    </a:lnTo>
                    <a:lnTo>
                      <a:pt x="1246" y="1589"/>
                    </a:lnTo>
                    <a:lnTo>
                      <a:pt x="1247" y="1587"/>
                    </a:lnTo>
                    <a:lnTo>
                      <a:pt x="1247" y="1589"/>
                    </a:lnTo>
                    <a:lnTo>
                      <a:pt x="1247" y="1587"/>
                    </a:lnTo>
                    <a:lnTo>
                      <a:pt x="1246" y="1587"/>
                    </a:lnTo>
                    <a:lnTo>
                      <a:pt x="1247" y="1585"/>
                    </a:lnTo>
                    <a:lnTo>
                      <a:pt x="1249" y="1585"/>
                    </a:lnTo>
                    <a:lnTo>
                      <a:pt x="1251" y="1585"/>
                    </a:lnTo>
                    <a:lnTo>
                      <a:pt x="1249" y="1585"/>
                    </a:lnTo>
                    <a:lnTo>
                      <a:pt x="1249" y="1583"/>
                    </a:lnTo>
                    <a:lnTo>
                      <a:pt x="1251" y="1585"/>
                    </a:lnTo>
                    <a:lnTo>
                      <a:pt x="1251" y="1583"/>
                    </a:lnTo>
                    <a:lnTo>
                      <a:pt x="1253" y="1583"/>
                    </a:lnTo>
                    <a:lnTo>
                      <a:pt x="1253" y="1582"/>
                    </a:lnTo>
                    <a:lnTo>
                      <a:pt x="1251" y="1583"/>
                    </a:lnTo>
                    <a:lnTo>
                      <a:pt x="1249" y="1583"/>
                    </a:lnTo>
                    <a:lnTo>
                      <a:pt x="1249" y="1582"/>
                    </a:lnTo>
                    <a:lnTo>
                      <a:pt x="1251" y="1582"/>
                    </a:lnTo>
                    <a:lnTo>
                      <a:pt x="1251" y="1580"/>
                    </a:lnTo>
                    <a:lnTo>
                      <a:pt x="1249" y="1580"/>
                    </a:lnTo>
                    <a:lnTo>
                      <a:pt x="1249" y="1578"/>
                    </a:lnTo>
                    <a:lnTo>
                      <a:pt x="1251" y="1578"/>
                    </a:lnTo>
                    <a:lnTo>
                      <a:pt x="1253" y="1578"/>
                    </a:lnTo>
                    <a:lnTo>
                      <a:pt x="1253" y="1577"/>
                    </a:lnTo>
                    <a:lnTo>
                      <a:pt x="1254" y="1578"/>
                    </a:lnTo>
                    <a:close/>
                    <a:moveTo>
                      <a:pt x="1421" y="1667"/>
                    </a:moveTo>
                    <a:lnTo>
                      <a:pt x="1419" y="1669"/>
                    </a:lnTo>
                    <a:lnTo>
                      <a:pt x="1421" y="1669"/>
                    </a:lnTo>
                    <a:lnTo>
                      <a:pt x="1419" y="1670"/>
                    </a:lnTo>
                    <a:lnTo>
                      <a:pt x="1421" y="1670"/>
                    </a:lnTo>
                    <a:lnTo>
                      <a:pt x="1419" y="1672"/>
                    </a:lnTo>
                    <a:lnTo>
                      <a:pt x="1421" y="1672"/>
                    </a:lnTo>
                    <a:lnTo>
                      <a:pt x="1419" y="1674"/>
                    </a:lnTo>
                    <a:lnTo>
                      <a:pt x="1421" y="1675"/>
                    </a:lnTo>
                    <a:lnTo>
                      <a:pt x="1421" y="1674"/>
                    </a:lnTo>
                    <a:lnTo>
                      <a:pt x="1423" y="1674"/>
                    </a:lnTo>
                    <a:lnTo>
                      <a:pt x="1424" y="1675"/>
                    </a:lnTo>
                    <a:lnTo>
                      <a:pt x="1423" y="1675"/>
                    </a:lnTo>
                    <a:lnTo>
                      <a:pt x="1423" y="1677"/>
                    </a:lnTo>
                    <a:lnTo>
                      <a:pt x="1424" y="1677"/>
                    </a:lnTo>
                    <a:lnTo>
                      <a:pt x="1424" y="1679"/>
                    </a:lnTo>
                    <a:lnTo>
                      <a:pt x="1423" y="1679"/>
                    </a:lnTo>
                    <a:lnTo>
                      <a:pt x="1421" y="1680"/>
                    </a:lnTo>
                    <a:lnTo>
                      <a:pt x="1421" y="1679"/>
                    </a:lnTo>
                    <a:lnTo>
                      <a:pt x="1421" y="1677"/>
                    </a:lnTo>
                    <a:lnTo>
                      <a:pt x="1419" y="1679"/>
                    </a:lnTo>
                    <a:lnTo>
                      <a:pt x="1419" y="1677"/>
                    </a:lnTo>
                    <a:lnTo>
                      <a:pt x="1417" y="1679"/>
                    </a:lnTo>
                    <a:lnTo>
                      <a:pt x="1417" y="1677"/>
                    </a:lnTo>
                    <a:lnTo>
                      <a:pt x="1416" y="1677"/>
                    </a:lnTo>
                    <a:lnTo>
                      <a:pt x="1414" y="1677"/>
                    </a:lnTo>
                    <a:lnTo>
                      <a:pt x="1414" y="1675"/>
                    </a:lnTo>
                    <a:lnTo>
                      <a:pt x="1412" y="1675"/>
                    </a:lnTo>
                    <a:lnTo>
                      <a:pt x="1414" y="1675"/>
                    </a:lnTo>
                    <a:lnTo>
                      <a:pt x="1416" y="1675"/>
                    </a:lnTo>
                    <a:lnTo>
                      <a:pt x="1414" y="1675"/>
                    </a:lnTo>
                    <a:lnTo>
                      <a:pt x="1414" y="1674"/>
                    </a:lnTo>
                    <a:lnTo>
                      <a:pt x="1412" y="1672"/>
                    </a:lnTo>
                    <a:lnTo>
                      <a:pt x="1414" y="1672"/>
                    </a:lnTo>
                    <a:lnTo>
                      <a:pt x="1414" y="1670"/>
                    </a:lnTo>
                    <a:lnTo>
                      <a:pt x="1416" y="1670"/>
                    </a:lnTo>
                    <a:lnTo>
                      <a:pt x="1416" y="1672"/>
                    </a:lnTo>
                    <a:lnTo>
                      <a:pt x="1417" y="1672"/>
                    </a:lnTo>
                    <a:lnTo>
                      <a:pt x="1417" y="1674"/>
                    </a:lnTo>
                    <a:lnTo>
                      <a:pt x="1417" y="1675"/>
                    </a:lnTo>
                    <a:lnTo>
                      <a:pt x="1419" y="1675"/>
                    </a:lnTo>
                    <a:lnTo>
                      <a:pt x="1419" y="1674"/>
                    </a:lnTo>
                    <a:lnTo>
                      <a:pt x="1419" y="1672"/>
                    </a:lnTo>
                    <a:lnTo>
                      <a:pt x="1417" y="1672"/>
                    </a:lnTo>
                    <a:lnTo>
                      <a:pt x="1417" y="1670"/>
                    </a:lnTo>
                    <a:lnTo>
                      <a:pt x="1417" y="1669"/>
                    </a:lnTo>
                    <a:lnTo>
                      <a:pt x="1416" y="1669"/>
                    </a:lnTo>
                    <a:lnTo>
                      <a:pt x="1417" y="1667"/>
                    </a:lnTo>
                    <a:lnTo>
                      <a:pt x="1419" y="1667"/>
                    </a:lnTo>
                    <a:lnTo>
                      <a:pt x="1419" y="1665"/>
                    </a:lnTo>
                    <a:lnTo>
                      <a:pt x="1421" y="1665"/>
                    </a:lnTo>
                    <a:lnTo>
                      <a:pt x="1421" y="1667"/>
                    </a:lnTo>
                    <a:close/>
                    <a:moveTo>
                      <a:pt x="1198" y="1131"/>
                    </a:moveTo>
                    <a:lnTo>
                      <a:pt x="1196" y="1131"/>
                    </a:lnTo>
                    <a:lnTo>
                      <a:pt x="1198" y="1131"/>
                    </a:lnTo>
                    <a:lnTo>
                      <a:pt x="1200" y="1131"/>
                    </a:lnTo>
                    <a:lnTo>
                      <a:pt x="1200" y="1133"/>
                    </a:lnTo>
                    <a:lnTo>
                      <a:pt x="1202" y="1133"/>
                    </a:lnTo>
                    <a:lnTo>
                      <a:pt x="1202" y="1134"/>
                    </a:lnTo>
                    <a:lnTo>
                      <a:pt x="1200" y="1134"/>
                    </a:lnTo>
                    <a:lnTo>
                      <a:pt x="1202" y="1136"/>
                    </a:lnTo>
                    <a:lnTo>
                      <a:pt x="1200" y="1136"/>
                    </a:lnTo>
                    <a:lnTo>
                      <a:pt x="1200" y="1138"/>
                    </a:lnTo>
                    <a:lnTo>
                      <a:pt x="1198" y="1140"/>
                    </a:lnTo>
                    <a:lnTo>
                      <a:pt x="1196" y="1140"/>
                    </a:lnTo>
                    <a:lnTo>
                      <a:pt x="1195" y="1140"/>
                    </a:lnTo>
                    <a:lnTo>
                      <a:pt x="1195" y="1138"/>
                    </a:lnTo>
                    <a:lnTo>
                      <a:pt x="1195" y="1136"/>
                    </a:lnTo>
                    <a:lnTo>
                      <a:pt x="1195" y="1134"/>
                    </a:lnTo>
                    <a:lnTo>
                      <a:pt x="1193" y="1134"/>
                    </a:lnTo>
                    <a:lnTo>
                      <a:pt x="1193" y="1133"/>
                    </a:lnTo>
                    <a:lnTo>
                      <a:pt x="1195" y="1133"/>
                    </a:lnTo>
                    <a:lnTo>
                      <a:pt x="1195" y="1131"/>
                    </a:lnTo>
                    <a:lnTo>
                      <a:pt x="1196" y="1131"/>
                    </a:lnTo>
                    <a:lnTo>
                      <a:pt x="1196" y="1129"/>
                    </a:lnTo>
                    <a:lnTo>
                      <a:pt x="1198" y="1131"/>
                    </a:lnTo>
                    <a:close/>
                    <a:moveTo>
                      <a:pt x="1202" y="1153"/>
                    </a:moveTo>
                    <a:lnTo>
                      <a:pt x="1203" y="1153"/>
                    </a:lnTo>
                    <a:lnTo>
                      <a:pt x="1205" y="1155"/>
                    </a:lnTo>
                    <a:lnTo>
                      <a:pt x="1203" y="1155"/>
                    </a:lnTo>
                    <a:lnTo>
                      <a:pt x="1203" y="1157"/>
                    </a:lnTo>
                    <a:lnTo>
                      <a:pt x="1205" y="1155"/>
                    </a:lnTo>
                    <a:lnTo>
                      <a:pt x="1207" y="1155"/>
                    </a:lnTo>
                    <a:lnTo>
                      <a:pt x="1208" y="1157"/>
                    </a:lnTo>
                    <a:lnTo>
                      <a:pt x="1208" y="1158"/>
                    </a:lnTo>
                    <a:lnTo>
                      <a:pt x="1207" y="1158"/>
                    </a:lnTo>
                    <a:lnTo>
                      <a:pt x="1207" y="1160"/>
                    </a:lnTo>
                    <a:lnTo>
                      <a:pt x="1207" y="1162"/>
                    </a:lnTo>
                    <a:lnTo>
                      <a:pt x="1205" y="1163"/>
                    </a:lnTo>
                    <a:lnTo>
                      <a:pt x="1205" y="1162"/>
                    </a:lnTo>
                    <a:lnTo>
                      <a:pt x="1203" y="1162"/>
                    </a:lnTo>
                    <a:lnTo>
                      <a:pt x="1202" y="1160"/>
                    </a:lnTo>
                    <a:lnTo>
                      <a:pt x="1203" y="1160"/>
                    </a:lnTo>
                    <a:lnTo>
                      <a:pt x="1205" y="1160"/>
                    </a:lnTo>
                    <a:lnTo>
                      <a:pt x="1203" y="1160"/>
                    </a:lnTo>
                    <a:lnTo>
                      <a:pt x="1202" y="1160"/>
                    </a:lnTo>
                    <a:lnTo>
                      <a:pt x="1202" y="1158"/>
                    </a:lnTo>
                    <a:lnTo>
                      <a:pt x="1202" y="1157"/>
                    </a:lnTo>
                    <a:lnTo>
                      <a:pt x="1200" y="1157"/>
                    </a:lnTo>
                    <a:lnTo>
                      <a:pt x="1198" y="1157"/>
                    </a:lnTo>
                    <a:lnTo>
                      <a:pt x="1200" y="1157"/>
                    </a:lnTo>
                    <a:lnTo>
                      <a:pt x="1200" y="1155"/>
                    </a:lnTo>
                    <a:lnTo>
                      <a:pt x="1200" y="1153"/>
                    </a:lnTo>
                    <a:lnTo>
                      <a:pt x="1202" y="1153"/>
                    </a:lnTo>
                    <a:close/>
                    <a:moveTo>
                      <a:pt x="1179" y="1257"/>
                    </a:moveTo>
                    <a:lnTo>
                      <a:pt x="1179" y="1259"/>
                    </a:lnTo>
                    <a:lnTo>
                      <a:pt x="1181" y="1259"/>
                    </a:lnTo>
                    <a:lnTo>
                      <a:pt x="1183" y="1260"/>
                    </a:lnTo>
                    <a:lnTo>
                      <a:pt x="1183" y="1262"/>
                    </a:lnTo>
                    <a:lnTo>
                      <a:pt x="1185" y="1262"/>
                    </a:lnTo>
                    <a:lnTo>
                      <a:pt x="1185" y="1264"/>
                    </a:lnTo>
                    <a:lnTo>
                      <a:pt x="1186" y="1265"/>
                    </a:lnTo>
                    <a:lnTo>
                      <a:pt x="1185" y="1265"/>
                    </a:lnTo>
                    <a:lnTo>
                      <a:pt x="1185" y="1267"/>
                    </a:lnTo>
                    <a:lnTo>
                      <a:pt x="1183" y="1267"/>
                    </a:lnTo>
                    <a:lnTo>
                      <a:pt x="1183" y="1269"/>
                    </a:lnTo>
                    <a:lnTo>
                      <a:pt x="1181" y="1269"/>
                    </a:lnTo>
                    <a:lnTo>
                      <a:pt x="1179" y="1269"/>
                    </a:lnTo>
                    <a:lnTo>
                      <a:pt x="1179" y="1267"/>
                    </a:lnTo>
                    <a:lnTo>
                      <a:pt x="1179" y="1265"/>
                    </a:lnTo>
                    <a:lnTo>
                      <a:pt x="1181" y="1265"/>
                    </a:lnTo>
                    <a:lnTo>
                      <a:pt x="1179" y="1265"/>
                    </a:lnTo>
                    <a:lnTo>
                      <a:pt x="1179" y="1264"/>
                    </a:lnTo>
                    <a:lnTo>
                      <a:pt x="1181" y="1262"/>
                    </a:lnTo>
                    <a:lnTo>
                      <a:pt x="1183" y="1260"/>
                    </a:lnTo>
                    <a:lnTo>
                      <a:pt x="1181" y="1260"/>
                    </a:lnTo>
                    <a:lnTo>
                      <a:pt x="1181" y="1262"/>
                    </a:lnTo>
                    <a:lnTo>
                      <a:pt x="1179" y="1262"/>
                    </a:lnTo>
                    <a:lnTo>
                      <a:pt x="1179" y="1264"/>
                    </a:lnTo>
                    <a:lnTo>
                      <a:pt x="1179" y="1265"/>
                    </a:lnTo>
                    <a:lnTo>
                      <a:pt x="1178" y="1265"/>
                    </a:lnTo>
                    <a:lnTo>
                      <a:pt x="1178" y="1264"/>
                    </a:lnTo>
                    <a:lnTo>
                      <a:pt x="1178" y="1262"/>
                    </a:lnTo>
                    <a:lnTo>
                      <a:pt x="1178" y="1260"/>
                    </a:lnTo>
                    <a:lnTo>
                      <a:pt x="1179" y="1260"/>
                    </a:lnTo>
                    <a:lnTo>
                      <a:pt x="1178" y="1260"/>
                    </a:lnTo>
                    <a:lnTo>
                      <a:pt x="1178" y="1259"/>
                    </a:lnTo>
                    <a:lnTo>
                      <a:pt x="1178" y="1260"/>
                    </a:lnTo>
                    <a:lnTo>
                      <a:pt x="1178" y="1259"/>
                    </a:lnTo>
                    <a:lnTo>
                      <a:pt x="1179" y="1259"/>
                    </a:lnTo>
                    <a:lnTo>
                      <a:pt x="1181" y="1259"/>
                    </a:lnTo>
                    <a:lnTo>
                      <a:pt x="1179" y="1259"/>
                    </a:lnTo>
                    <a:lnTo>
                      <a:pt x="1179" y="1257"/>
                    </a:lnTo>
                    <a:lnTo>
                      <a:pt x="1178" y="1257"/>
                    </a:lnTo>
                    <a:lnTo>
                      <a:pt x="1179" y="1257"/>
                    </a:lnTo>
                    <a:close/>
                    <a:moveTo>
                      <a:pt x="1196" y="1126"/>
                    </a:moveTo>
                    <a:lnTo>
                      <a:pt x="1198" y="1126"/>
                    </a:lnTo>
                    <a:lnTo>
                      <a:pt x="1200" y="1126"/>
                    </a:lnTo>
                    <a:lnTo>
                      <a:pt x="1200" y="1128"/>
                    </a:lnTo>
                    <a:lnTo>
                      <a:pt x="1202" y="1126"/>
                    </a:lnTo>
                    <a:lnTo>
                      <a:pt x="1202" y="1128"/>
                    </a:lnTo>
                    <a:lnTo>
                      <a:pt x="1202" y="1126"/>
                    </a:lnTo>
                    <a:lnTo>
                      <a:pt x="1203" y="1126"/>
                    </a:lnTo>
                    <a:lnTo>
                      <a:pt x="1203" y="1128"/>
                    </a:lnTo>
                    <a:lnTo>
                      <a:pt x="1203" y="1129"/>
                    </a:lnTo>
                    <a:lnTo>
                      <a:pt x="1202" y="1131"/>
                    </a:lnTo>
                    <a:lnTo>
                      <a:pt x="1202" y="1133"/>
                    </a:lnTo>
                    <a:lnTo>
                      <a:pt x="1200" y="1131"/>
                    </a:lnTo>
                    <a:lnTo>
                      <a:pt x="1200" y="1129"/>
                    </a:lnTo>
                    <a:lnTo>
                      <a:pt x="1200" y="1131"/>
                    </a:lnTo>
                    <a:lnTo>
                      <a:pt x="1198" y="1131"/>
                    </a:lnTo>
                    <a:lnTo>
                      <a:pt x="1198" y="1129"/>
                    </a:lnTo>
                    <a:lnTo>
                      <a:pt x="1196" y="1129"/>
                    </a:lnTo>
                    <a:lnTo>
                      <a:pt x="1195" y="1129"/>
                    </a:lnTo>
                    <a:lnTo>
                      <a:pt x="1195" y="1131"/>
                    </a:lnTo>
                    <a:lnTo>
                      <a:pt x="1193" y="1131"/>
                    </a:lnTo>
                    <a:lnTo>
                      <a:pt x="1193" y="1133"/>
                    </a:lnTo>
                    <a:lnTo>
                      <a:pt x="1191" y="1131"/>
                    </a:lnTo>
                    <a:lnTo>
                      <a:pt x="1193" y="1131"/>
                    </a:lnTo>
                    <a:lnTo>
                      <a:pt x="1193" y="1129"/>
                    </a:lnTo>
                    <a:lnTo>
                      <a:pt x="1195" y="1129"/>
                    </a:lnTo>
                    <a:lnTo>
                      <a:pt x="1193" y="1129"/>
                    </a:lnTo>
                    <a:lnTo>
                      <a:pt x="1193" y="1128"/>
                    </a:lnTo>
                    <a:lnTo>
                      <a:pt x="1195" y="1126"/>
                    </a:lnTo>
                    <a:lnTo>
                      <a:pt x="1196" y="1126"/>
                    </a:lnTo>
                    <a:lnTo>
                      <a:pt x="1198" y="1126"/>
                    </a:lnTo>
                    <a:lnTo>
                      <a:pt x="1196" y="1126"/>
                    </a:lnTo>
                    <a:lnTo>
                      <a:pt x="1195" y="1126"/>
                    </a:lnTo>
                    <a:lnTo>
                      <a:pt x="1195" y="1124"/>
                    </a:lnTo>
                    <a:lnTo>
                      <a:pt x="1196" y="1126"/>
                    </a:lnTo>
                    <a:close/>
                    <a:moveTo>
                      <a:pt x="1156" y="1291"/>
                    </a:moveTo>
                    <a:lnTo>
                      <a:pt x="1157" y="1291"/>
                    </a:lnTo>
                    <a:lnTo>
                      <a:pt x="1157" y="1293"/>
                    </a:lnTo>
                    <a:lnTo>
                      <a:pt x="1159" y="1293"/>
                    </a:lnTo>
                    <a:lnTo>
                      <a:pt x="1161" y="1293"/>
                    </a:lnTo>
                    <a:lnTo>
                      <a:pt x="1161" y="1294"/>
                    </a:lnTo>
                    <a:lnTo>
                      <a:pt x="1161" y="1296"/>
                    </a:lnTo>
                    <a:lnTo>
                      <a:pt x="1162" y="1296"/>
                    </a:lnTo>
                    <a:lnTo>
                      <a:pt x="1162" y="1298"/>
                    </a:lnTo>
                    <a:lnTo>
                      <a:pt x="1161" y="1296"/>
                    </a:lnTo>
                    <a:lnTo>
                      <a:pt x="1161" y="1298"/>
                    </a:lnTo>
                    <a:lnTo>
                      <a:pt x="1159" y="1296"/>
                    </a:lnTo>
                    <a:lnTo>
                      <a:pt x="1159" y="1298"/>
                    </a:lnTo>
                    <a:lnTo>
                      <a:pt x="1161" y="1298"/>
                    </a:lnTo>
                    <a:lnTo>
                      <a:pt x="1162" y="1299"/>
                    </a:lnTo>
                    <a:lnTo>
                      <a:pt x="1161" y="1299"/>
                    </a:lnTo>
                    <a:lnTo>
                      <a:pt x="1159" y="1301"/>
                    </a:lnTo>
                    <a:lnTo>
                      <a:pt x="1157" y="1301"/>
                    </a:lnTo>
                    <a:lnTo>
                      <a:pt x="1157" y="1303"/>
                    </a:lnTo>
                    <a:lnTo>
                      <a:pt x="1157" y="1301"/>
                    </a:lnTo>
                    <a:lnTo>
                      <a:pt x="1157" y="1299"/>
                    </a:lnTo>
                    <a:lnTo>
                      <a:pt x="1156" y="1299"/>
                    </a:lnTo>
                    <a:lnTo>
                      <a:pt x="1156" y="1298"/>
                    </a:lnTo>
                    <a:lnTo>
                      <a:pt x="1156" y="1296"/>
                    </a:lnTo>
                    <a:lnTo>
                      <a:pt x="1156" y="1294"/>
                    </a:lnTo>
                    <a:lnTo>
                      <a:pt x="1157" y="1296"/>
                    </a:lnTo>
                    <a:lnTo>
                      <a:pt x="1156" y="1294"/>
                    </a:lnTo>
                    <a:lnTo>
                      <a:pt x="1154" y="1294"/>
                    </a:lnTo>
                    <a:lnTo>
                      <a:pt x="1154" y="1293"/>
                    </a:lnTo>
                    <a:lnTo>
                      <a:pt x="1154" y="1291"/>
                    </a:lnTo>
                    <a:lnTo>
                      <a:pt x="1156" y="1291"/>
                    </a:lnTo>
                    <a:close/>
                    <a:moveTo>
                      <a:pt x="1202" y="1046"/>
                    </a:moveTo>
                    <a:lnTo>
                      <a:pt x="1202" y="1048"/>
                    </a:lnTo>
                    <a:lnTo>
                      <a:pt x="1203" y="1048"/>
                    </a:lnTo>
                    <a:lnTo>
                      <a:pt x="1203" y="1049"/>
                    </a:lnTo>
                    <a:lnTo>
                      <a:pt x="1202" y="1049"/>
                    </a:lnTo>
                    <a:lnTo>
                      <a:pt x="1200" y="1049"/>
                    </a:lnTo>
                    <a:lnTo>
                      <a:pt x="1200" y="1051"/>
                    </a:lnTo>
                    <a:lnTo>
                      <a:pt x="1198" y="1049"/>
                    </a:lnTo>
                    <a:lnTo>
                      <a:pt x="1198" y="1051"/>
                    </a:lnTo>
                    <a:lnTo>
                      <a:pt x="1200" y="1051"/>
                    </a:lnTo>
                    <a:lnTo>
                      <a:pt x="1200" y="1053"/>
                    </a:lnTo>
                    <a:lnTo>
                      <a:pt x="1202" y="1053"/>
                    </a:lnTo>
                    <a:lnTo>
                      <a:pt x="1200" y="1053"/>
                    </a:lnTo>
                    <a:lnTo>
                      <a:pt x="1200" y="1054"/>
                    </a:lnTo>
                    <a:lnTo>
                      <a:pt x="1198" y="1054"/>
                    </a:lnTo>
                    <a:lnTo>
                      <a:pt x="1196" y="1054"/>
                    </a:lnTo>
                    <a:lnTo>
                      <a:pt x="1196" y="1053"/>
                    </a:lnTo>
                    <a:lnTo>
                      <a:pt x="1196" y="1051"/>
                    </a:lnTo>
                    <a:lnTo>
                      <a:pt x="1196" y="1053"/>
                    </a:lnTo>
                    <a:lnTo>
                      <a:pt x="1195" y="1053"/>
                    </a:lnTo>
                    <a:lnTo>
                      <a:pt x="1193" y="1053"/>
                    </a:lnTo>
                    <a:lnTo>
                      <a:pt x="1193" y="1051"/>
                    </a:lnTo>
                    <a:lnTo>
                      <a:pt x="1191" y="1051"/>
                    </a:lnTo>
                    <a:lnTo>
                      <a:pt x="1191" y="1049"/>
                    </a:lnTo>
                    <a:lnTo>
                      <a:pt x="1191" y="1048"/>
                    </a:lnTo>
                    <a:lnTo>
                      <a:pt x="1193" y="1048"/>
                    </a:lnTo>
                    <a:lnTo>
                      <a:pt x="1195" y="1048"/>
                    </a:lnTo>
                    <a:lnTo>
                      <a:pt x="1196" y="1049"/>
                    </a:lnTo>
                    <a:lnTo>
                      <a:pt x="1198" y="1049"/>
                    </a:lnTo>
                    <a:lnTo>
                      <a:pt x="1200" y="1049"/>
                    </a:lnTo>
                    <a:lnTo>
                      <a:pt x="1200" y="1048"/>
                    </a:lnTo>
                    <a:lnTo>
                      <a:pt x="1202" y="1048"/>
                    </a:lnTo>
                    <a:lnTo>
                      <a:pt x="1202" y="1046"/>
                    </a:lnTo>
                    <a:close/>
                    <a:moveTo>
                      <a:pt x="1185" y="1325"/>
                    </a:moveTo>
                    <a:lnTo>
                      <a:pt x="1186" y="1327"/>
                    </a:lnTo>
                    <a:lnTo>
                      <a:pt x="1186" y="1328"/>
                    </a:lnTo>
                    <a:lnTo>
                      <a:pt x="1188" y="1328"/>
                    </a:lnTo>
                    <a:lnTo>
                      <a:pt x="1188" y="1330"/>
                    </a:lnTo>
                    <a:lnTo>
                      <a:pt x="1188" y="1332"/>
                    </a:lnTo>
                    <a:lnTo>
                      <a:pt x="1188" y="1333"/>
                    </a:lnTo>
                    <a:lnTo>
                      <a:pt x="1186" y="1333"/>
                    </a:lnTo>
                    <a:lnTo>
                      <a:pt x="1185" y="1333"/>
                    </a:lnTo>
                    <a:lnTo>
                      <a:pt x="1185" y="1335"/>
                    </a:lnTo>
                    <a:lnTo>
                      <a:pt x="1183" y="1335"/>
                    </a:lnTo>
                    <a:lnTo>
                      <a:pt x="1183" y="1333"/>
                    </a:lnTo>
                    <a:lnTo>
                      <a:pt x="1181" y="1333"/>
                    </a:lnTo>
                    <a:lnTo>
                      <a:pt x="1183" y="1333"/>
                    </a:lnTo>
                    <a:lnTo>
                      <a:pt x="1183" y="1332"/>
                    </a:lnTo>
                    <a:lnTo>
                      <a:pt x="1183" y="1330"/>
                    </a:lnTo>
                    <a:lnTo>
                      <a:pt x="1181" y="1328"/>
                    </a:lnTo>
                    <a:lnTo>
                      <a:pt x="1181" y="1327"/>
                    </a:lnTo>
                    <a:lnTo>
                      <a:pt x="1183" y="1327"/>
                    </a:lnTo>
                    <a:lnTo>
                      <a:pt x="1183" y="1325"/>
                    </a:lnTo>
                    <a:lnTo>
                      <a:pt x="1183" y="1323"/>
                    </a:lnTo>
                    <a:lnTo>
                      <a:pt x="1185" y="1325"/>
                    </a:lnTo>
                    <a:close/>
                    <a:moveTo>
                      <a:pt x="1169" y="1242"/>
                    </a:moveTo>
                    <a:lnTo>
                      <a:pt x="1171" y="1242"/>
                    </a:lnTo>
                    <a:lnTo>
                      <a:pt x="1171" y="1243"/>
                    </a:lnTo>
                    <a:lnTo>
                      <a:pt x="1171" y="1245"/>
                    </a:lnTo>
                    <a:lnTo>
                      <a:pt x="1171" y="1247"/>
                    </a:lnTo>
                    <a:lnTo>
                      <a:pt x="1169" y="1247"/>
                    </a:lnTo>
                    <a:lnTo>
                      <a:pt x="1169" y="1245"/>
                    </a:lnTo>
                    <a:lnTo>
                      <a:pt x="1169" y="1247"/>
                    </a:lnTo>
                    <a:lnTo>
                      <a:pt x="1169" y="1248"/>
                    </a:lnTo>
                    <a:lnTo>
                      <a:pt x="1168" y="1248"/>
                    </a:lnTo>
                    <a:lnTo>
                      <a:pt x="1169" y="1248"/>
                    </a:lnTo>
                    <a:lnTo>
                      <a:pt x="1171" y="1248"/>
                    </a:lnTo>
                    <a:lnTo>
                      <a:pt x="1171" y="1250"/>
                    </a:lnTo>
                    <a:lnTo>
                      <a:pt x="1171" y="1252"/>
                    </a:lnTo>
                    <a:lnTo>
                      <a:pt x="1169" y="1252"/>
                    </a:lnTo>
                    <a:lnTo>
                      <a:pt x="1168" y="1252"/>
                    </a:lnTo>
                    <a:lnTo>
                      <a:pt x="1168" y="1250"/>
                    </a:lnTo>
                    <a:lnTo>
                      <a:pt x="1166" y="1250"/>
                    </a:lnTo>
                    <a:lnTo>
                      <a:pt x="1164" y="1250"/>
                    </a:lnTo>
                    <a:lnTo>
                      <a:pt x="1164" y="1248"/>
                    </a:lnTo>
                    <a:lnTo>
                      <a:pt x="1164" y="1247"/>
                    </a:lnTo>
                    <a:lnTo>
                      <a:pt x="1166" y="1248"/>
                    </a:lnTo>
                    <a:lnTo>
                      <a:pt x="1168" y="1248"/>
                    </a:lnTo>
                    <a:lnTo>
                      <a:pt x="1166" y="1248"/>
                    </a:lnTo>
                    <a:lnTo>
                      <a:pt x="1164" y="1247"/>
                    </a:lnTo>
                    <a:lnTo>
                      <a:pt x="1166" y="1247"/>
                    </a:lnTo>
                    <a:lnTo>
                      <a:pt x="1164" y="1245"/>
                    </a:lnTo>
                    <a:lnTo>
                      <a:pt x="1166" y="1245"/>
                    </a:lnTo>
                    <a:lnTo>
                      <a:pt x="1166" y="1243"/>
                    </a:lnTo>
                    <a:lnTo>
                      <a:pt x="1168" y="1245"/>
                    </a:lnTo>
                    <a:lnTo>
                      <a:pt x="1168" y="1243"/>
                    </a:lnTo>
                    <a:lnTo>
                      <a:pt x="1168" y="1245"/>
                    </a:lnTo>
                    <a:lnTo>
                      <a:pt x="1168" y="1243"/>
                    </a:lnTo>
                    <a:lnTo>
                      <a:pt x="1169" y="1243"/>
                    </a:lnTo>
                    <a:lnTo>
                      <a:pt x="1168" y="1243"/>
                    </a:lnTo>
                    <a:lnTo>
                      <a:pt x="1166" y="1242"/>
                    </a:lnTo>
                    <a:lnTo>
                      <a:pt x="1168" y="1242"/>
                    </a:lnTo>
                    <a:lnTo>
                      <a:pt x="1169" y="1242"/>
                    </a:lnTo>
                    <a:close/>
                    <a:moveTo>
                      <a:pt x="1162" y="1286"/>
                    </a:moveTo>
                    <a:lnTo>
                      <a:pt x="1162" y="1288"/>
                    </a:lnTo>
                    <a:lnTo>
                      <a:pt x="1162" y="1289"/>
                    </a:lnTo>
                    <a:lnTo>
                      <a:pt x="1162" y="1291"/>
                    </a:lnTo>
                    <a:lnTo>
                      <a:pt x="1161" y="1291"/>
                    </a:lnTo>
                    <a:lnTo>
                      <a:pt x="1161" y="1293"/>
                    </a:lnTo>
                    <a:lnTo>
                      <a:pt x="1161" y="1294"/>
                    </a:lnTo>
                    <a:lnTo>
                      <a:pt x="1159" y="1293"/>
                    </a:lnTo>
                    <a:lnTo>
                      <a:pt x="1157" y="1291"/>
                    </a:lnTo>
                    <a:lnTo>
                      <a:pt x="1156" y="1291"/>
                    </a:lnTo>
                    <a:lnTo>
                      <a:pt x="1156" y="1289"/>
                    </a:lnTo>
                    <a:lnTo>
                      <a:pt x="1156" y="1291"/>
                    </a:lnTo>
                    <a:lnTo>
                      <a:pt x="1156" y="1289"/>
                    </a:lnTo>
                    <a:lnTo>
                      <a:pt x="1157" y="1288"/>
                    </a:lnTo>
                    <a:lnTo>
                      <a:pt x="1159" y="1288"/>
                    </a:lnTo>
                    <a:lnTo>
                      <a:pt x="1159" y="1289"/>
                    </a:lnTo>
                    <a:lnTo>
                      <a:pt x="1159" y="1288"/>
                    </a:lnTo>
                    <a:lnTo>
                      <a:pt x="1157" y="1288"/>
                    </a:lnTo>
                    <a:lnTo>
                      <a:pt x="1159" y="1286"/>
                    </a:lnTo>
                    <a:lnTo>
                      <a:pt x="1161" y="1284"/>
                    </a:lnTo>
                    <a:lnTo>
                      <a:pt x="1161" y="1282"/>
                    </a:lnTo>
                    <a:lnTo>
                      <a:pt x="1162" y="1282"/>
                    </a:lnTo>
                    <a:lnTo>
                      <a:pt x="1162" y="1284"/>
                    </a:lnTo>
                    <a:lnTo>
                      <a:pt x="1162" y="1286"/>
                    </a:lnTo>
                    <a:close/>
                    <a:moveTo>
                      <a:pt x="1188" y="1265"/>
                    </a:moveTo>
                    <a:lnTo>
                      <a:pt x="1188" y="1267"/>
                    </a:lnTo>
                    <a:lnTo>
                      <a:pt x="1188" y="1269"/>
                    </a:lnTo>
                    <a:lnTo>
                      <a:pt x="1190" y="1270"/>
                    </a:lnTo>
                    <a:lnTo>
                      <a:pt x="1188" y="1270"/>
                    </a:lnTo>
                    <a:lnTo>
                      <a:pt x="1190" y="1270"/>
                    </a:lnTo>
                    <a:lnTo>
                      <a:pt x="1190" y="1272"/>
                    </a:lnTo>
                    <a:lnTo>
                      <a:pt x="1191" y="1274"/>
                    </a:lnTo>
                    <a:lnTo>
                      <a:pt x="1190" y="1276"/>
                    </a:lnTo>
                    <a:lnTo>
                      <a:pt x="1188" y="1276"/>
                    </a:lnTo>
                    <a:lnTo>
                      <a:pt x="1188" y="1274"/>
                    </a:lnTo>
                    <a:lnTo>
                      <a:pt x="1186" y="1274"/>
                    </a:lnTo>
                    <a:lnTo>
                      <a:pt x="1188" y="1274"/>
                    </a:lnTo>
                    <a:lnTo>
                      <a:pt x="1188" y="1272"/>
                    </a:lnTo>
                    <a:lnTo>
                      <a:pt x="1186" y="1272"/>
                    </a:lnTo>
                    <a:lnTo>
                      <a:pt x="1185" y="1272"/>
                    </a:lnTo>
                    <a:lnTo>
                      <a:pt x="1183" y="1270"/>
                    </a:lnTo>
                    <a:lnTo>
                      <a:pt x="1181" y="1270"/>
                    </a:lnTo>
                    <a:lnTo>
                      <a:pt x="1181" y="1269"/>
                    </a:lnTo>
                    <a:lnTo>
                      <a:pt x="1183" y="1269"/>
                    </a:lnTo>
                    <a:lnTo>
                      <a:pt x="1185" y="1269"/>
                    </a:lnTo>
                    <a:lnTo>
                      <a:pt x="1185" y="1270"/>
                    </a:lnTo>
                    <a:lnTo>
                      <a:pt x="1186" y="1270"/>
                    </a:lnTo>
                    <a:lnTo>
                      <a:pt x="1188" y="1272"/>
                    </a:lnTo>
                    <a:lnTo>
                      <a:pt x="1186" y="1270"/>
                    </a:lnTo>
                    <a:lnTo>
                      <a:pt x="1185" y="1269"/>
                    </a:lnTo>
                    <a:lnTo>
                      <a:pt x="1185" y="1267"/>
                    </a:lnTo>
                    <a:lnTo>
                      <a:pt x="1186" y="1265"/>
                    </a:lnTo>
                    <a:lnTo>
                      <a:pt x="1188" y="1265"/>
                    </a:lnTo>
                    <a:close/>
                    <a:moveTo>
                      <a:pt x="1186" y="1403"/>
                    </a:moveTo>
                    <a:lnTo>
                      <a:pt x="1186" y="1405"/>
                    </a:lnTo>
                    <a:lnTo>
                      <a:pt x="1188" y="1407"/>
                    </a:lnTo>
                    <a:lnTo>
                      <a:pt x="1188" y="1408"/>
                    </a:lnTo>
                    <a:lnTo>
                      <a:pt x="1188" y="1410"/>
                    </a:lnTo>
                    <a:lnTo>
                      <a:pt x="1188" y="1412"/>
                    </a:lnTo>
                    <a:lnTo>
                      <a:pt x="1190" y="1412"/>
                    </a:lnTo>
                    <a:lnTo>
                      <a:pt x="1190" y="1413"/>
                    </a:lnTo>
                    <a:lnTo>
                      <a:pt x="1190" y="1415"/>
                    </a:lnTo>
                    <a:lnTo>
                      <a:pt x="1190" y="1417"/>
                    </a:lnTo>
                    <a:lnTo>
                      <a:pt x="1191" y="1418"/>
                    </a:lnTo>
                    <a:lnTo>
                      <a:pt x="1190" y="1418"/>
                    </a:lnTo>
                    <a:lnTo>
                      <a:pt x="1190" y="1420"/>
                    </a:lnTo>
                    <a:lnTo>
                      <a:pt x="1188" y="1420"/>
                    </a:lnTo>
                    <a:lnTo>
                      <a:pt x="1188" y="1422"/>
                    </a:lnTo>
                    <a:lnTo>
                      <a:pt x="1188" y="1420"/>
                    </a:lnTo>
                    <a:lnTo>
                      <a:pt x="1188" y="1418"/>
                    </a:lnTo>
                    <a:lnTo>
                      <a:pt x="1188" y="1417"/>
                    </a:lnTo>
                    <a:lnTo>
                      <a:pt x="1186" y="1415"/>
                    </a:lnTo>
                    <a:lnTo>
                      <a:pt x="1188" y="1415"/>
                    </a:lnTo>
                    <a:lnTo>
                      <a:pt x="1186" y="1413"/>
                    </a:lnTo>
                    <a:lnTo>
                      <a:pt x="1186" y="1412"/>
                    </a:lnTo>
                    <a:lnTo>
                      <a:pt x="1186" y="1410"/>
                    </a:lnTo>
                    <a:lnTo>
                      <a:pt x="1186" y="1408"/>
                    </a:lnTo>
                    <a:lnTo>
                      <a:pt x="1185" y="1407"/>
                    </a:lnTo>
                    <a:lnTo>
                      <a:pt x="1186" y="1407"/>
                    </a:lnTo>
                    <a:lnTo>
                      <a:pt x="1185" y="1407"/>
                    </a:lnTo>
                    <a:lnTo>
                      <a:pt x="1186" y="1407"/>
                    </a:lnTo>
                    <a:lnTo>
                      <a:pt x="1186" y="1405"/>
                    </a:lnTo>
                    <a:lnTo>
                      <a:pt x="1185" y="1405"/>
                    </a:lnTo>
                    <a:lnTo>
                      <a:pt x="1185" y="1403"/>
                    </a:lnTo>
                    <a:lnTo>
                      <a:pt x="1186" y="1403"/>
                    </a:lnTo>
                    <a:close/>
                    <a:moveTo>
                      <a:pt x="1185" y="1112"/>
                    </a:moveTo>
                    <a:lnTo>
                      <a:pt x="1186" y="1114"/>
                    </a:lnTo>
                    <a:lnTo>
                      <a:pt x="1188" y="1114"/>
                    </a:lnTo>
                    <a:lnTo>
                      <a:pt x="1188" y="1116"/>
                    </a:lnTo>
                    <a:lnTo>
                      <a:pt x="1188" y="1114"/>
                    </a:lnTo>
                    <a:lnTo>
                      <a:pt x="1190" y="1114"/>
                    </a:lnTo>
                    <a:lnTo>
                      <a:pt x="1190" y="1116"/>
                    </a:lnTo>
                    <a:lnTo>
                      <a:pt x="1190" y="1117"/>
                    </a:lnTo>
                    <a:lnTo>
                      <a:pt x="1188" y="1117"/>
                    </a:lnTo>
                    <a:lnTo>
                      <a:pt x="1190" y="1117"/>
                    </a:lnTo>
                    <a:lnTo>
                      <a:pt x="1190" y="1119"/>
                    </a:lnTo>
                    <a:lnTo>
                      <a:pt x="1190" y="1121"/>
                    </a:lnTo>
                    <a:lnTo>
                      <a:pt x="1188" y="1121"/>
                    </a:lnTo>
                    <a:lnTo>
                      <a:pt x="1188" y="1119"/>
                    </a:lnTo>
                    <a:lnTo>
                      <a:pt x="1188" y="1117"/>
                    </a:lnTo>
                    <a:lnTo>
                      <a:pt x="1188" y="1116"/>
                    </a:lnTo>
                    <a:lnTo>
                      <a:pt x="1188" y="1114"/>
                    </a:lnTo>
                    <a:lnTo>
                      <a:pt x="1186" y="1116"/>
                    </a:lnTo>
                    <a:lnTo>
                      <a:pt x="1188" y="1117"/>
                    </a:lnTo>
                    <a:lnTo>
                      <a:pt x="1186" y="1117"/>
                    </a:lnTo>
                    <a:lnTo>
                      <a:pt x="1186" y="1116"/>
                    </a:lnTo>
                    <a:lnTo>
                      <a:pt x="1186" y="1117"/>
                    </a:lnTo>
                    <a:lnTo>
                      <a:pt x="1186" y="1119"/>
                    </a:lnTo>
                    <a:lnTo>
                      <a:pt x="1186" y="1121"/>
                    </a:lnTo>
                    <a:lnTo>
                      <a:pt x="1186" y="1119"/>
                    </a:lnTo>
                    <a:lnTo>
                      <a:pt x="1185" y="1119"/>
                    </a:lnTo>
                    <a:lnTo>
                      <a:pt x="1185" y="1117"/>
                    </a:lnTo>
                    <a:lnTo>
                      <a:pt x="1183" y="1117"/>
                    </a:lnTo>
                    <a:lnTo>
                      <a:pt x="1183" y="1116"/>
                    </a:lnTo>
                    <a:lnTo>
                      <a:pt x="1183" y="1114"/>
                    </a:lnTo>
                    <a:lnTo>
                      <a:pt x="1183" y="1112"/>
                    </a:lnTo>
                    <a:lnTo>
                      <a:pt x="1185" y="1112"/>
                    </a:lnTo>
                    <a:close/>
                    <a:moveTo>
                      <a:pt x="1161" y="1235"/>
                    </a:moveTo>
                    <a:lnTo>
                      <a:pt x="1159" y="1236"/>
                    </a:lnTo>
                    <a:lnTo>
                      <a:pt x="1161" y="1236"/>
                    </a:lnTo>
                    <a:lnTo>
                      <a:pt x="1161" y="1238"/>
                    </a:lnTo>
                    <a:lnTo>
                      <a:pt x="1159" y="1240"/>
                    </a:lnTo>
                    <a:lnTo>
                      <a:pt x="1157" y="1240"/>
                    </a:lnTo>
                    <a:lnTo>
                      <a:pt x="1159" y="1240"/>
                    </a:lnTo>
                    <a:lnTo>
                      <a:pt x="1161" y="1240"/>
                    </a:lnTo>
                    <a:lnTo>
                      <a:pt x="1162" y="1240"/>
                    </a:lnTo>
                    <a:lnTo>
                      <a:pt x="1162" y="1242"/>
                    </a:lnTo>
                    <a:lnTo>
                      <a:pt x="1161" y="1242"/>
                    </a:lnTo>
                    <a:lnTo>
                      <a:pt x="1161" y="1243"/>
                    </a:lnTo>
                    <a:lnTo>
                      <a:pt x="1159" y="1243"/>
                    </a:lnTo>
                    <a:lnTo>
                      <a:pt x="1157" y="1243"/>
                    </a:lnTo>
                    <a:lnTo>
                      <a:pt x="1157" y="1242"/>
                    </a:lnTo>
                    <a:lnTo>
                      <a:pt x="1156" y="1240"/>
                    </a:lnTo>
                    <a:lnTo>
                      <a:pt x="1156" y="1242"/>
                    </a:lnTo>
                    <a:lnTo>
                      <a:pt x="1157" y="1243"/>
                    </a:lnTo>
                    <a:lnTo>
                      <a:pt x="1156" y="1243"/>
                    </a:lnTo>
                    <a:lnTo>
                      <a:pt x="1156" y="1242"/>
                    </a:lnTo>
                    <a:lnTo>
                      <a:pt x="1156" y="1240"/>
                    </a:lnTo>
                    <a:lnTo>
                      <a:pt x="1154" y="1240"/>
                    </a:lnTo>
                    <a:lnTo>
                      <a:pt x="1152" y="1240"/>
                    </a:lnTo>
                    <a:lnTo>
                      <a:pt x="1151" y="1240"/>
                    </a:lnTo>
                    <a:lnTo>
                      <a:pt x="1151" y="1242"/>
                    </a:lnTo>
                    <a:lnTo>
                      <a:pt x="1151" y="1240"/>
                    </a:lnTo>
                    <a:lnTo>
                      <a:pt x="1151" y="1238"/>
                    </a:lnTo>
                    <a:lnTo>
                      <a:pt x="1152" y="1238"/>
                    </a:lnTo>
                    <a:lnTo>
                      <a:pt x="1152" y="1236"/>
                    </a:lnTo>
                    <a:lnTo>
                      <a:pt x="1152" y="1238"/>
                    </a:lnTo>
                    <a:lnTo>
                      <a:pt x="1154" y="1236"/>
                    </a:lnTo>
                    <a:lnTo>
                      <a:pt x="1154" y="1238"/>
                    </a:lnTo>
                    <a:lnTo>
                      <a:pt x="1154" y="1240"/>
                    </a:lnTo>
                    <a:lnTo>
                      <a:pt x="1154" y="1238"/>
                    </a:lnTo>
                    <a:lnTo>
                      <a:pt x="1156" y="1238"/>
                    </a:lnTo>
                    <a:lnTo>
                      <a:pt x="1157" y="1238"/>
                    </a:lnTo>
                    <a:lnTo>
                      <a:pt x="1157" y="1236"/>
                    </a:lnTo>
                    <a:lnTo>
                      <a:pt x="1159" y="1236"/>
                    </a:lnTo>
                    <a:lnTo>
                      <a:pt x="1157" y="1236"/>
                    </a:lnTo>
                    <a:lnTo>
                      <a:pt x="1159" y="1235"/>
                    </a:lnTo>
                    <a:lnTo>
                      <a:pt x="1161" y="1235"/>
                    </a:lnTo>
                    <a:close/>
                    <a:moveTo>
                      <a:pt x="1234" y="1456"/>
                    </a:moveTo>
                    <a:lnTo>
                      <a:pt x="1234" y="1458"/>
                    </a:lnTo>
                    <a:lnTo>
                      <a:pt x="1232" y="1458"/>
                    </a:lnTo>
                    <a:lnTo>
                      <a:pt x="1232" y="1459"/>
                    </a:lnTo>
                    <a:lnTo>
                      <a:pt x="1232" y="1461"/>
                    </a:lnTo>
                    <a:lnTo>
                      <a:pt x="1230" y="1461"/>
                    </a:lnTo>
                    <a:lnTo>
                      <a:pt x="1230" y="1463"/>
                    </a:lnTo>
                    <a:lnTo>
                      <a:pt x="1230" y="1464"/>
                    </a:lnTo>
                    <a:lnTo>
                      <a:pt x="1229" y="1464"/>
                    </a:lnTo>
                    <a:lnTo>
                      <a:pt x="1229" y="1466"/>
                    </a:lnTo>
                    <a:lnTo>
                      <a:pt x="1227" y="1466"/>
                    </a:lnTo>
                    <a:lnTo>
                      <a:pt x="1225" y="1466"/>
                    </a:lnTo>
                    <a:lnTo>
                      <a:pt x="1225" y="1464"/>
                    </a:lnTo>
                    <a:lnTo>
                      <a:pt x="1225" y="1463"/>
                    </a:lnTo>
                    <a:lnTo>
                      <a:pt x="1225" y="1461"/>
                    </a:lnTo>
                    <a:lnTo>
                      <a:pt x="1227" y="1461"/>
                    </a:lnTo>
                    <a:lnTo>
                      <a:pt x="1227" y="1459"/>
                    </a:lnTo>
                    <a:lnTo>
                      <a:pt x="1229" y="1458"/>
                    </a:lnTo>
                    <a:lnTo>
                      <a:pt x="1230" y="1458"/>
                    </a:lnTo>
                    <a:lnTo>
                      <a:pt x="1230" y="1456"/>
                    </a:lnTo>
                    <a:lnTo>
                      <a:pt x="1232" y="1456"/>
                    </a:lnTo>
                    <a:lnTo>
                      <a:pt x="1234" y="1456"/>
                    </a:lnTo>
                    <a:lnTo>
                      <a:pt x="1234" y="1454"/>
                    </a:lnTo>
                    <a:lnTo>
                      <a:pt x="1234" y="1456"/>
                    </a:lnTo>
                    <a:close/>
                    <a:moveTo>
                      <a:pt x="1183" y="1117"/>
                    </a:moveTo>
                    <a:lnTo>
                      <a:pt x="1185" y="1117"/>
                    </a:lnTo>
                    <a:lnTo>
                      <a:pt x="1185" y="1119"/>
                    </a:lnTo>
                    <a:lnTo>
                      <a:pt x="1186" y="1119"/>
                    </a:lnTo>
                    <a:lnTo>
                      <a:pt x="1186" y="1121"/>
                    </a:lnTo>
                    <a:lnTo>
                      <a:pt x="1186" y="1122"/>
                    </a:lnTo>
                    <a:lnTo>
                      <a:pt x="1188" y="1124"/>
                    </a:lnTo>
                    <a:lnTo>
                      <a:pt x="1186" y="1124"/>
                    </a:lnTo>
                    <a:lnTo>
                      <a:pt x="1185" y="1124"/>
                    </a:lnTo>
                    <a:lnTo>
                      <a:pt x="1183" y="1124"/>
                    </a:lnTo>
                    <a:lnTo>
                      <a:pt x="1183" y="1122"/>
                    </a:lnTo>
                    <a:lnTo>
                      <a:pt x="1181" y="1122"/>
                    </a:lnTo>
                    <a:lnTo>
                      <a:pt x="1179" y="1122"/>
                    </a:lnTo>
                    <a:lnTo>
                      <a:pt x="1179" y="1121"/>
                    </a:lnTo>
                    <a:lnTo>
                      <a:pt x="1179" y="1119"/>
                    </a:lnTo>
                    <a:lnTo>
                      <a:pt x="1181" y="1117"/>
                    </a:lnTo>
                    <a:lnTo>
                      <a:pt x="1183" y="1117"/>
                    </a:lnTo>
                    <a:close/>
                    <a:moveTo>
                      <a:pt x="1173" y="1373"/>
                    </a:moveTo>
                    <a:lnTo>
                      <a:pt x="1174" y="1373"/>
                    </a:lnTo>
                    <a:lnTo>
                      <a:pt x="1174" y="1374"/>
                    </a:lnTo>
                    <a:lnTo>
                      <a:pt x="1176" y="1374"/>
                    </a:lnTo>
                    <a:lnTo>
                      <a:pt x="1178" y="1374"/>
                    </a:lnTo>
                    <a:lnTo>
                      <a:pt x="1176" y="1374"/>
                    </a:lnTo>
                    <a:lnTo>
                      <a:pt x="1178" y="1374"/>
                    </a:lnTo>
                    <a:lnTo>
                      <a:pt x="1178" y="1376"/>
                    </a:lnTo>
                    <a:lnTo>
                      <a:pt x="1176" y="1376"/>
                    </a:lnTo>
                    <a:lnTo>
                      <a:pt x="1176" y="1378"/>
                    </a:lnTo>
                    <a:lnTo>
                      <a:pt x="1176" y="1376"/>
                    </a:lnTo>
                    <a:lnTo>
                      <a:pt x="1176" y="1378"/>
                    </a:lnTo>
                    <a:lnTo>
                      <a:pt x="1174" y="1378"/>
                    </a:lnTo>
                    <a:lnTo>
                      <a:pt x="1174" y="1379"/>
                    </a:lnTo>
                    <a:lnTo>
                      <a:pt x="1173" y="1379"/>
                    </a:lnTo>
                    <a:lnTo>
                      <a:pt x="1173" y="1381"/>
                    </a:lnTo>
                    <a:lnTo>
                      <a:pt x="1171" y="1381"/>
                    </a:lnTo>
                    <a:lnTo>
                      <a:pt x="1169" y="1379"/>
                    </a:lnTo>
                    <a:lnTo>
                      <a:pt x="1171" y="1379"/>
                    </a:lnTo>
                    <a:lnTo>
                      <a:pt x="1171" y="1378"/>
                    </a:lnTo>
                    <a:lnTo>
                      <a:pt x="1171" y="1379"/>
                    </a:lnTo>
                    <a:lnTo>
                      <a:pt x="1171" y="1378"/>
                    </a:lnTo>
                    <a:lnTo>
                      <a:pt x="1171" y="1376"/>
                    </a:lnTo>
                    <a:lnTo>
                      <a:pt x="1171" y="1378"/>
                    </a:lnTo>
                    <a:lnTo>
                      <a:pt x="1169" y="1378"/>
                    </a:lnTo>
                    <a:lnTo>
                      <a:pt x="1169" y="1376"/>
                    </a:lnTo>
                    <a:lnTo>
                      <a:pt x="1171" y="1376"/>
                    </a:lnTo>
                    <a:lnTo>
                      <a:pt x="1171" y="1374"/>
                    </a:lnTo>
                    <a:lnTo>
                      <a:pt x="1173" y="1374"/>
                    </a:lnTo>
                    <a:lnTo>
                      <a:pt x="1173" y="1373"/>
                    </a:lnTo>
                    <a:close/>
                    <a:moveTo>
                      <a:pt x="1436" y="1645"/>
                    </a:moveTo>
                    <a:lnTo>
                      <a:pt x="1438" y="1645"/>
                    </a:lnTo>
                    <a:lnTo>
                      <a:pt x="1438" y="1646"/>
                    </a:lnTo>
                    <a:lnTo>
                      <a:pt x="1438" y="1648"/>
                    </a:lnTo>
                    <a:lnTo>
                      <a:pt x="1438" y="1650"/>
                    </a:lnTo>
                    <a:lnTo>
                      <a:pt x="1438" y="1652"/>
                    </a:lnTo>
                    <a:lnTo>
                      <a:pt x="1436" y="1652"/>
                    </a:lnTo>
                    <a:lnTo>
                      <a:pt x="1438" y="1653"/>
                    </a:lnTo>
                    <a:lnTo>
                      <a:pt x="1436" y="1652"/>
                    </a:lnTo>
                    <a:lnTo>
                      <a:pt x="1436" y="1653"/>
                    </a:lnTo>
                    <a:lnTo>
                      <a:pt x="1434" y="1653"/>
                    </a:lnTo>
                    <a:lnTo>
                      <a:pt x="1433" y="1653"/>
                    </a:lnTo>
                    <a:lnTo>
                      <a:pt x="1431" y="1653"/>
                    </a:lnTo>
                    <a:lnTo>
                      <a:pt x="1431" y="1652"/>
                    </a:lnTo>
                    <a:lnTo>
                      <a:pt x="1431" y="1650"/>
                    </a:lnTo>
                    <a:lnTo>
                      <a:pt x="1431" y="1648"/>
                    </a:lnTo>
                    <a:lnTo>
                      <a:pt x="1433" y="1646"/>
                    </a:lnTo>
                    <a:lnTo>
                      <a:pt x="1434" y="1645"/>
                    </a:lnTo>
                    <a:lnTo>
                      <a:pt x="1436" y="1645"/>
                    </a:lnTo>
                    <a:close/>
                    <a:moveTo>
                      <a:pt x="1171" y="1036"/>
                    </a:moveTo>
                    <a:lnTo>
                      <a:pt x="1173" y="1036"/>
                    </a:lnTo>
                    <a:lnTo>
                      <a:pt x="1174" y="1036"/>
                    </a:lnTo>
                    <a:lnTo>
                      <a:pt x="1176" y="1037"/>
                    </a:lnTo>
                    <a:lnTo>
                      <a:pt x="1176" y="1039"/>
                    </a:lnTo>
                    <a:lnTo>
                      <a:pt x="1178" y="1039"/>
                    </a:lnTo>
                    <a:lnTo>
                      <a:pt x="1176" y="1039"/>
                    </a:lnTo>
                    <a:lnTo>
                      <a:pt x="1176" y="1041"/>
                    </a:lnTo>
                    <a:lnTo>
                      <a:pt x="1174" y="1041"/>
                    </a:lnTo>
                    <a:lnTo>
                      <a:pt x="1173" y="1041"/>
                    </a:lnTo>
                    <a:lnTo>
                      <a:pt x="1171" y="1041"/>
                    </a:lnTo>
                    <a:lnTo>
                      <a:pt x="1171" y="1043"/>
                    </a:lnTo>
                    <a:lnTo>
                      <a:pt x="1169" y="1041"/>
                    </a:lnTo>
                    <a:lnTo>
                      <a:pt x="1169" y="1039"/>
                    </a:lnTo>
                    <a:lnTo>
                      <a:pt x="1169" y="1037"/>
                    </a:lnTo>
                    <a:lnTo>
                      <a:pt x="1168" y="1037"/>
                    </a:lnTo>
                    <a:lnTo>
                      <a:pt x="1169" y="1037"/>
                    </a:lnTo>
                    <a:lnTo>
                      <a:pt x="1168" y="1036"/>
                    </a:lnTo>
                    <a:lnTo>
                      <a:pt x="1169" y="1037"/>
                    </a:lnTo>
                    <a:lnTo>
                      <a:pt x="1171" y="1037"/>
                    </a:lnTo>
                    <a:lnTo>
                      <a:pt x="1171" y="1036"/>
                    </a:lnTo>
                    <a:lnTo>
                      <a:pt x="1171" y="1034"/>
                    </a:lnTo>
                    <a:lnTo>
                      <a:pt x="1171" y="1036"/>
                    </a:lnTo>
                    <a:close/>
                    <a:moveTo>
                      <a:pt x="1195" y="1420"/>
                    </a:moveTo>
                    <a:lnTo>
                      <a:pt x="1196" y="1420"/>
                    </a:lnTo>
                    <a:lnTo>
                      <a:pt x="1198" y="1420"/>
                    </a:lnTo>
                    <a:lnTo>
                      <a:pt x="1198" y="1422"/>
                    </a:lnTo>
                    <a:lnTo>
                      <a:pt x="1198" y="1424"/>
                    </a:lnTo>
                    <a:lnTo>
                      <a:pt x="1198" y="1425"/>
                    </a:lnTo>
                    <a:lnTo>
                      <a:pt x="1196" y="1424"/>
                    </a:lnTo>
                    <a:lnTo>
                      <a:pt x="1196" y="1425"/>
                    </a:lnTo>
                    <a:lnTo>
                      <a:pt x="1198" y="1427"/>
                    </a:lnTo>
                    <a:lnTo>
                      <a:pt x="1196" y="1427"/>
                    </a:lnTo>
                    <a:lnTo>
                      <a:pt x="1195" y="1429"/>
                    </a:lnTo>
                    <a:lnTo>
                      <a:pt x="1195" y="1427"/>
                    </a:lnTo>
                    <a:lnTo>
                      <a:pt x="1193" y="1425"/>
                    </a:lnTo>
                    <a:lnTo>
                      <a:pt x="1193" y="1424"/>
                    </a:lnTo>
                    <a:lnTo>
                      <a:pt x="1193" y="1425"/>
                    </a:lnTo>
                    <a:lnTo>
                      <a:pt x="1193" y="1424"/>
                    </a:lnTo>
                    <a:lnTo>
                      <a:pt x="1193" y="1422"/>
                    </a:lnTo>
                    <a:lnTo>
                      <a:pt x="1193" y="1420"/>
                    </a:lnTo>
                    <a:lnTo>
                      <a:pt x="1195" y="1420"/>
                    </a:lnTo>
                    <a:close/>
                    <a:moveTo>
                      <a:pt x="1412" y="1680"/>
                    </a:moveTo>
                    <a:lnTo>
                      <a:pt x="1414" y="1680"/>
                    </a:lnTo>
                    <a:lnTo>
                      <a:pt x="1416" y="1682"/>
                    </a:lnTo>
                    <a:lnTo>
                      <a:pt x="1414" y="1682"/>
                    </a:lnTo>
                    <a:lnTo>
                      <a:pt x="1414" y="1684"/>
                    </a:lnTo>
                    <a:lnTo>
                      <a:pt x="1412" y="1684"/>
                    </a:lnTo>
                    <a:lnTo>
                      <a:pt x="1414" y="1684"/>
                    </a:lnTo>
                    <a:lnTo>
                      <a:pt x="1414" y="1686"/>
                    </a:lnTo>
                    <a:lnTo>
                      <a:pt x="1412" y="1686"/>
                    </a:lnTo>
                    <a:lnTo>
                      <a:pt x="1412" y="1684"/>
                    </a:lnTo>
                    <a:lnTo>
                      <a:pt x="1412" y="1686"/>
                    </a:lnTo>
                    <a:lnTo>
                      <a:pt x="1411" y="1687"/>
                    </a:lnTo>
                    <a:lnTo>
                      <a:pt x="1411" y="1686"/>
                    </a:lnTo>
                    <a:lnTo>
                      <a:pt x="1411" y="1684"/>
                    </a:lnTo>
                    <a:lnTo>
                      <a:pt x="1412" y="1684"/>
                    </a:lnTo>
                    <a:lnTo>
                      <a:pt x="1411" y="1682"/>
                    </a:lnTo>
                    <a:lnTo>
                      <a:pt x="1411" y="1684"/>
                    </a:lnTo>
                    <a:lnTo>
                      <a:pt x="1409" y="1684"/>
                    </a:lnTo>
                    <a:lnTo>
                      <a:pt x="1409" y="1686"/>
                    </a:lnTo>
                    <a:lnTo>
                      <a:pt x="1407" y="1686"/>
                    </a:lnTo>
                    <a:lnTo>
                      <a:pt x="1407" y="1684"/>
                    </a:lnTo>
                    <a:lnTo>
                      <a:pt x="1407" y="1682"/>
                    </a:lnTo>
                    <a:lnTo>
                      <a:pt x="1407" y="1684"/>
                    </a:lnTo>
                    <a:lnTo>
                      <a:pt x="1406" y="1684"/>
                    </a:lnTo>
                    <a:lnTo>
                      <a:pt x="1406" y="1686"/>
                    </a:lnTo>
                    <a:lnTo>
                      <a:pt x="1404" y="1686"/>
                    </a:lnTo>
                    <a:lnTo>
                      <a:pt x="1404" y="1684"/>
                    </a:lnTo>
                    <a:lnTo>
                      <a:pt x="1404" y="1686"/>
                    </a:lnTo>
                    <a:lnTo>
                      <a:pt x="1402" y="1686"/>
                    </a:lnTo>
                    <a:lnTo>
                      <a:pt x="1402" y="1684"/>
                    </a:lnTo>
                    <a:lnTo>
                      <a:pt x="1402" y="1682"/>
                    </a:lnTo>
                    <a:lnTo>
                      <a:pt x="1402" y="1680"/>
                    </a:lnTo>
                    <a:lnTo>
                      <a:pt x="1404" y="1682"/>
                    </a:lnTo>
                    <a:lnTo>
                      <a:pt x="1404" y="1680"/>
                    </a:lnTo>
                    <a:lnTo>
                      <a:pt x="1406" y="1680"/>
                    </a:lnTo>
                    <a:lnTo>
                      <a:pt x="1406" y="1682"/>
                    </a:lnTo>
                    <a:lnTo>
                      <a:pt x="1406" y="1680"/>
                    </a:lnTo>
                    <a:lnTo>
                      <a:pt x="1407" y="1682"/>
                    </a:lnTo>
                    <a:lnTo>
                      <a:pt x="1409" y="1680"/>
                    </a:lnTo>
                    <a:lnTo>
                      <a:pt x="1409" y="1682"/>
                    </a:lnTo>
                    <a:lnTo>
                      <a:pt x="1411" y="1680"/>
                    </a:lnTo>
                    <a:lnTo>
                      <a:pt x="1411" y="1682"/>
                    </a:lnTo>
                    <a:lnTo>
                      <a:pt x="1411" y="1680"/>
                    </a:lnTo>
                    <a:lnTo>
                      <a:pt x="1412" y="1682"/>
                    </a:lnTo>
                    <a:lnTo>
                      <a:pt x="1414" y="1680"/>
                    </a:lnTo>
                    <a:lnTo>
                      <a:pt x="1412" y="1680"/>
                    </a:lnTo>
                    <a:lnTo>
                      <a:pt x="1412" y="1679"/>
                    </a:lnTo>
                    <a:lnTo>
                      <a:pt x="1412" y="1680"/>
                    </a:lnTo>
                    <a:close/>
                    <a:moveTo>
                      <a:pt x="1162" y="1446"/>
                    </a:moveTo>
                    <a:lnTo>
                      <a:pt x="1164" y="1447"/>
                    </a:lnTo>
                    <a:lnTo>
                      <a:pt x="1162" y="1449"/>
                    </a:lnTo>
                    <a:lnTo>
                      <a:pt x="1164" y="1449"/>
                    </a:lnTo>
                    <a:lnTo>
                      <a:pt x="1162" y="1451"/>
                    </a:lnTo>
                    <a:lnTo>
                      <a:pt x="1164" y="1451"/>
                    </a:lnTo>
                    <a:lnTo>
                      <a:pt x="1164" y="1453"/>
                    </a:lnTo>
                    <a:lnTo>
                      <a:pt x="1162" y="1453"/>
                    </a:lnTo>
                    <a:lnTo>
                      <a:pt x="1162" y="1454"/>
                    </a:lnTo>
                    <a:lnTo>
                      <a:pt x="1162" y="1456"/>
                    </a:lnTo>
                    <a:lnTo>
                      <a:pt x="1161" y="1456"/>
                    </a:lnTo>
                    <a:lnTo>
                      <a:pt x="1161" y="1458"/>
                    </a:lnTo>
                    <a:lnTo>
                      <a:pt x="1159" y="1458"/>
                    </a:lnTo>
                    <a:lnTo>
                      <a:pt x="1159" y="1456"/>
                    </a:lnTo>
                    <a:lnTo>
                      <a:pt x="1161" y="1454"/>
                    </a:lnTo>
                    <a:lnTo>
                      <a:pt x="1161" y="1453"/>
                    </a:lnTo>
                    <a:lnTo>
                      <a:pt x="1159" y="1453"/>
                    </a:lnTo>
                    <a:lnTo>
                      <a:pt x="1159" y="1451"/>
                    </a:lnTo>
                    <a:lnTo>
                      <a:pt x="1161" y="1451"/>
                    </a:lnTo>
                    <a:lnTo>
                      <a:pt x="1159" y="1449"/>
                    </a:lnTo>
                    <a:lnTo>
                      <a:pt x="1161" y="1447"/>
                    </a:lnTo>
                    <a:lnTo>
                      <a:pt x="1161" y="1449"/>
                    </a:lnTo>
                    <a:lnTo>
                      <a:pt x="1161" y="1447"/>
                    </a:lnTo>
                    <a:lnTo>
                      <a:pt x="1162" y="1447"/>
                    </a:lnTo>
                    <a:lnTo>
                      <a:pt x="1162" y="1446"/>
                    </a:lnTo>
                    <a:close/>
                    <a:moveTo>
                      <a:pt x="1312" y="1623"/>
                    </a:moveTo>
                    <a:lnTo>
                      <a:pt x="1314" y="1623"/>
                    </a:lnTo>
                    <a:lnTo>
                      <a:pt x="1315" y="1623"/>
                    </a:lnTo>
                    <a:lnTo>
                      <a:pt x="1317" y="1623"/>
                    </a:lnTo>
                    <a:lnTo>
                      <a:pt x="1315" y="1624"/>
                    </a:lnTo>
                    <a:lnTo>
                      <a:pt x="1317" y="1624"/>
                    </a:lnTo>
                    <a:lnTo>
                      <a:pt x="1319" y="1624"/>
                    </a:lnTo>
                    <a:lnTo>
                      <a:pt x="1317" y="1626"/>
                    </a:lnTo>
                    <a:lnTo>
                      <a:pt x="1315" y="1626"/>
                    </a:lnTo>
                    <a:lnTo>
                      <a:pt x="1314" y="1626"/>
                    </a:lnTo>
                    <a:lnTo>
                      <a:pt x="1314" y="1628"/>
                    </a:lnTo>
                    <a:lnTo>
                      <a:pt x="1312" y="1626"/>
                    </a:lnTo>
                    <a:lnTo>
                      <a:pt x="1312" y="1628"/>
                    </a:lnTo>
                    <a:lnTo>
                      <a:pt x="1310" y="1628"/>
                    </a:lnTo>
                    <a:lnTo>
                      <a:pt x="1310" y="1626"/>
                    </a:lnTo>
                    <a:lnTo>
                      <a:pt x="1309" y="1628"/>
                    </a:lnTo>
                    <a:lnTo>
                      <a:pt x="1309" y="1626"/>
                    </a:lnTo>
                    <a:lnTo>
                      <a:pt x="1307" y="1624"/>
                    </a:lnTo>
                    <a:lnTo>
                      <a:pt x="1307" y="1626"/>
                    </a:lnTo>
                    <a:lnTo>
                      <a:pt x="1305" y="1626"/>
                    </a:lnTo>
                    <a:lnTo>
                      <a:pt x="1305" y="1624"/>
                    </a:lnTo>
                    <a:lnTo>
                      <a:pt x="1307" y="1624"/>
                    </a:lnTo>
                    <a:lnTo>
                      <a:pt x="1307" y="1623"/>
                    </a:lnTo>
                    <a:lnTo>
                      <a:pt x="1309" y="1623"/>
                    </a:lnTo>
                    <a:lnTo>
                      <a:pt x="1309" y="1624"/>
                    </a:lnTo>
                    <a:lnTo>
                      <a:pt x="1310" y="1623"/>
                    </a:lnTo>
                    <a:lnTo>
                      <a:pt x="1312" y="1623"/>
                    </a:lnTo>
                    <a:close/>
                    <a:moveTo>
                      <a:pt x="1179" y="1133"/>
                    </a:moveTo>
                    <a:lnTo>
                      <a:pt x="1179" y="1134"/>
                    </a:lnTo>
                    <a:lnTo>
                      <a:pt x="1178" y="1134"/>
                    </a:lnTo>
                    <a:lnTo>
                      <a:pt x="1178" y="1136"/>
                    </a:lnTo>
                    <a:lnTo>
                      <a:pt x="1178" y="1138"/>
                    </a:lnTo>
                    <a:lnTo>
                      <a:pt x="1178" y="1140"/>
                    </a:lnTo>
                    <a:lnTo>
                      <a:pt x="1176" y="1141"/>
                    </a:lnTo>
                    <a:lnTo>
                      <a:pt x="1176" y="1140"/>
                    </a:lnTo>
                    <a:lnTo>
                      <a:pt x="1174" y="1141"/>
                    </a:lnTo>
                    <a:lnTo>
                      <a:pt x="1173" y="1140"/>
                    </a:lnTo>
                    <a:lnTo>
                      <a:pt x="1174" y="1140"/>
                    </a:lnTo>
                    <a:lnTo>
                      <a:pt x="1173" y="1140"/>
                    </a:lnTo>
                    <a:lnTo>
                      <a:pt x="1173" y="1138"/>
                    </a:lnTo>
                    <a:lnTo>
                      <a:pt x="1174" y="1136"/>
                    </a:lnTo>
                    <a:lnTo>
                      <a:pt x="1174" y="1134"/>
                    </a:lnTo>
                    <a:lnTo>
                      <a:pt x="1176" y="1133"/>
                    </a:lnTo>
                    <a:lnTo>
                      <a:pt x="1178" y="1133"/>
                    </a:lnTo>
                    <a:lnTo>
                      <a:pt x="1179" y="1133"/>
                    </a:lnTo>
                    <a:close/>
                    <a:moveTo>
                      <a:pt x="1166" y="1473"/>
                    </a:moveTo>
                    <a:lnTo>
                      <a:pt x="1168" y="1473"/>
                    </a:lnTo>
                    <a:lnTo>
                      <a:pt x="1169" y="1473"/>
                    </a:lnTo>
                    <a:lnTo>
                      <a:pt x="1169" y="1475"/>
                    </a:lnTo>
                    <a:lnTo>
                      <a:pt x="1171" y="1475"/>
                    </a:lnTo>
                    <a:lnTo>
                      <a:pt x="1171" y="1476"/>
                    </a:lnTo>
                    <a:lnTo>
                      <a:pt x="1173" y="1476"/>
                    </a:lnTo>
                    <a:lnTo>
                      <a:pt x="1174" y="1475"/>
                    </a:lnTo>
                    <a:lnTo>
                      <a:pt x="1176" y="1473"/>
                    </a:lnTo>
                    <a:lnTo>
                      <a:pt x="1176" y="1475"/>
                    </a:lnTo>
                    <a:lnTo>
                      <a:pt x="1176" y="1476"/>
                    </a:lnTo>
                    <a:lnTo>
                      <a:pt x="1174" y="1476"/>
                    </a:lnTo>
                    <a:lnTo>
                      <a:pt x="1176" y="1478"/>
                    </a:lnTo>
                    <a:lnTo>
                      <a:pt x="1174" y="1478"/>
                    </a:lnTo>
                    <a:lnTo>
                      <a:pt x="1176" y="1480"/>
                    </a:lnTo>
                    <a:lnTo>
                      <a:pt x="1174" y="1480"/>
                    </a:lnTo>
                    <a:lnTo>
                      <a:pt x="1173" y="1478"/>
                    </a:lnTo>
                    <a:lnTo>
                      <a:pt x="1173" y="1480"/>
                    </a:lnTo>
                    <a:lnTo>
                      <a:pt x="1174" y="1480"/>
                    </a:lnTo>
                    <a:lnTo>
                      <a:pt x="1173" y="1480"/>
                    </a:lnTo>
                    <a:lnTo>
                      <a:pt x="1171" y="1480"/>
                    </a:lnTo>
                    <a:lnTo>
                      <a:pt x="1169" y="1480"/>
                    </a:lnTo>
                    <a:lnTo>
                      <a:pt x="1171" y="1478"/>
                    </a:lnTo>
                    <a:lnTo>
                      <a:pt x="1169" y="1478"/>
                    </a:lnTo>
                    <a:lnTo>
                      <a:pt x="1171" y="1476"/>
                    </a:lnTo>
                    <a:lnTo>
                      <a:pt x="1169" y="1476"/>
                    </a:lnTo>
                    <a:lnTo>
                      <a:pt x="1168" y="1476"/>
                    </a:lnTo>
                    <a:lnTo>
                      <a:pt x="1166" y="1475"/>
                    </a:lnTo>
                    <a:lnTo>
                      <a:pt x="1166" y="1473"/>
                    </a:lnTo>
                    <a:close/>
                    <a:moveTo>
                      <a:pt x="1178" y="1459"/>
                    </a:moveTo>
                    <a:lnTo>
                      <a:pt x="1179" y="1459"/>
                    </a:lnTo>
                    <a:lnTo>
                      <a:pt x="1181" y="1459"/>
                    </a:lnTo>
                    <a:lnTo>
                      <a:pt x="1181" y="1461"/>
                    </a:lnTo>
                    <a:lnTo>
                      <a:pt x="1179" y="1461"/>
                    </a:lnTo>
                    <a:lnTo>
                      <a:pt x="1181" y="1461"/>
                    </a:lnTo>
                    <a:lnTo>
                      <a:pt x="1179" y="1463"/>
                    </a:lnTo>
                    <a:lnTo>
                      <a:pt x="1179" y="1464"/>
                    </a:lnTo>
                    <a:lnTo>
                      <a:pt x="1178" y="1464"/>
                    </a:lnTo>
                    <a:lnTo>
                      <a:pt x="1178" y="1466"/>
                    </a:lnTo>
                    <a:lnTo>
                      <a:pt x="1176" y="1464"/>
                    </a:lnTo>
                    <a:lnTo>
                      <a:pt x="1176" y="1466"/>
                    </a:lnTo>
                    <a:lnTo>
                      <a:pt x="1176" y="1464"/>
                    </a:lnTo>
                    <a:lnTo>
                      <a:pt x="1176" y="1463"/>
                    </a:lnTo>
                    <a:lnTo>
                      <a:pt x="1176" y="1464"/>
                    </a:lnTo>
                    <a:lnTo>
                      <a:pt x="1174" y="1464"/>
                    </a:lnTo>
                    <a:lnTo>
                      <a:pt x="1176" y="1464"/>
                    </a:lnTo>
                    <a:lnTo>
                      <a:pt x="1176" y="1466"/>
                    </a:lnTo>
                    <a:lnTo>
                      <a:pt x="1174" y="1466"/>
                    </a:lnTo>
                    <a:lnTo>
                      <a:pt x="1174" y="1468"/>
                    </a:lnTo>
                    <a:lnTo>
                      <a:pt x="1174" y="1466"/>
                    </a:lnTo>
                    <a:lnTo>
                      <a:pt x="1173" y="1468"/>
                    </a:lnTo>
                    <a:lnTo>
                      <a:pt x="1173" y="1466"/>
                    </a:lnTo>
                    <a:lnTo>
                      <a:pt x="1173" y="1464"/>
                    </a:lnTo>
                    <a:lnTo>
                      <a:pt x="1174" y="1463"/>
                    </a:lnTo>
                    <a:lnTo>
                      <a:pt x="1176" y="1461"/>
                    </a:lnTo>
                    <a:lnTo>
                      <a:pt x="1176" y="1463"/>
                    </a:lnTo>
                    <a:lnTo>
                      <a:pt x="1178" y="1463"/>
                    </a:lnTo>
                    <a:lnTo>
                      <a:pt x="1176" y="1461"/>
                    </a:lnTo>
                    <a:lnTo>
                      <a:pt x="1178" y="1459"/>
                    </a:lnTo>
                    <a:lnTo>
                      <a:pt x="1178" y="1458"/>
                    </a:lnTo>
                    <a:lnTo>
                      <a:pt x="1178" y="1459"/>
                    </a:lnTo>
                    <a:close/>
                    <a:moveTo>
                      <a:pt x="1202" y="1094"/>
                    </a:moveTo>
                    <a:lnTo>
                      <a:pt x="1203" y="1094"/>
                    </a:lnTo>
                    <a:lnTo>
                      <a:pt x="1203" y="1095"/>
                    </a:lnTo>
                    <a:lnTo>
                      <a:pt x="1203" y="1097"/>
                    </a:lnTo>
                    <a:lnTo>
                      <a:pt x="1205" y="1099"/>
                    </a:lnTo>
                    <a:lnTo>
                      <a:pt x="1205" y="1100"/>
                    </a:lnTo>
                    <a:lnTo>
                      <a:pt x="1203" y="1100"/>
                    </a:lnTo>
                    <a:lnTo>
                      <a:pt x="1205" y="1100"/>
                    </a:lnTo>
                    <a:lnTo>
                      <a:pt x="1205" y="1102"/>
                    </a:lnTo>
                    <a:lnTo>
                      <a:pt x="1203" y="1102"/>
                    </a:lnTo>
                    <a:lnTo>
                      <a:pt x="1202" y="1102"/>
                    </a:lnTo>
                    <a:lnTo>
                      <a:pt x="1202" y="1100"/>
                    </a:lnTo>
                    <a:lnTo>
                      <a:pt x="1200" y="1100"/>
                    </a:lnTo>
                    <a:lnTo>
                      <a:pt x="1200" y="1099"/>
                    </a:lnTo>
                    <a:lnTo>
                      <a:pt x="1200" y="1097"/>
                    </a:lnTo>
                    <a:lnTo>
                      <a:pt x="1200" y="1099"/>
                    </a:lnTo>
                    <a:lnTo>
                      <a:pt x="1202" y="1099"/>
                    </a:lnTo>
                    <a:lnTo>
                      <a:pt x="1203" y="1099"/>
                    </a:lnTo>
                    <a:lnTo>
                      <a:pt x="1202" y="1099"/>
                    </a:lnTo>
                    <a:lnTo>
                      <a:pt x="1202" y="1097"/>
                    </a:lnTo>
                    <a:lnTo>
                      <a:pt x="1200" y="1097"/>
                    </a:lnTo>
                    <a:lnTo>
                      <a:pt x="1200" y="1095"/>
                    </a:lnTo>
                    <a:lnTo>
                      <a:pt x="1200" y="1094"/>
                    </a:lnTo>
                    <a:lnTo>
                      <a:pt x="1202" y="1094"/>
                    </a:lnTo>
                    <a:close/>
                    <a:moveTo>
                      <a:pt x="1195" y="1140"/>
                    </a:moveTo>
                    <a:lnTo>
                      <a:pt x="1196" y="1140"/>
                    </a:lnTo>
                    <a:lnTo>
                      <a:pt x="1198" y="1141"/>
                    </a:lnTo>
                    <a:lnTo>
                      <a:pt x="1200" y="1140"/>
                    </a:lnTo>
                    <a:lnTo>
                      <a:pt x="1200" y="1141"/>
                    </a:lnTo>
                    <a:lnTo>
                      <a:pt x="1198" y="1141"/>
                    </a:lnTo>
                    <a:lnTo>
                      <a:pt x="1198" y="1143"/>
                    </a:lnTo>
                    <a:lnTo>
                      <a:pt x="1198" y="1145"/>
                    </a:lnTo>
                    <a:lnTo>
                      <a:pt x="1198" y="1146"/>
                    </a:lnTo>
                    <a:lnTo>
                      <a:pt x="1198" y="1148"/>
                    </a:lnTo>
                    <a:lnTo>
                      <a:pt x="1196" y="1150"/>
                    </a:lnTo>
                    <a:lnTo>
                      <a:pt x="1196" y="1148"/>
                    </a:lnTo>
                    <a:lnTo>
                      <a:pt x="1196" y="1146"/>
                    </a:lnTo>
                    <a:lnTo>
                      <a:pt x="1196" y="1145"/>
                    </a:lnTo>
                    <a:lnTo>
                      <a:pt x="1195" y="1146"/>
                    </a:lnTo>
                    <a:lnTo>
                      <a:pt x="1195" y="1145"/>
                    </a:lnTo>
                    <a:lnTo>
                      <a:pt x="1195" y="1143"/>
                    </a:lnTo>
                    <a:lnTo>
                      <a:pt x="1195" y="1145"/>
                    </a:lnTo>
                    <a:lnTo>
                      <a:pt x="1193" y="1143"/>
                    </a:lnTo>
                    <a:lnTo>
                      <a:pt x="1193" y="1141"/>
                    </a:lnTo>
                    <a:lnTo>
                      <a:pt x="1195" y="1141"/>
                    </a:lnTo>
                    <a:lnTo>
                      <a:pt x="1195" y="1140"/>
                    </a:lnTo>
                    <a:close/>
                    <a:moveTo>
                      <a:pt x="1219" y="1575"/>
                    </a:moveTo>
                    <a:lnTo>
                      <a:pt x="1217" y="1575"/>
                    </a:lnTo>
                    <a:lnTo>
                      <a:pt x="1217" y="1577"/>
                    </a:lnTo>
                    <a:lnTo>
                      <a:pt x="1219" y="1575"/>
                    </a:lnTo>
                    <a:lnTo>
                      <a:pt x="1220" y="1575"/>
                    </a:lnTo>
                    <a:lnTo>
                      <a:pt x="1219" y="1577"/>
                    </a:lnTo>
                    <a:lnTo>
                      <a:pt x="1220" y="1577"/>
                    </a:lnTo>
                    <a:lnTo>
                      <a:pt x="1220" y="1578"/>
                    </a:lnTo>
                    <a:lnTo>
                      <a:pt x="1219" y="1578"/>
                    </a:lnTo>
                    <a:lnTo>
                      <a:pt x="1220" y="1578"/>
                    </a:lnTo>
                    <a:lnTo>
                      <a:pt x="1220" y="1577"/>
                    </a:lnTo>
                    <a:lnTo>
                      <a:pt x="1222" y="1577"/>
                    </a:lnTo>
                    <a:lnTo>
                      <a:pt x="1222" y="1578"/>
                    </a:lnTo>
                    <a:lnTo>
                      <a:pt x="1222" y="1580"/>
                    </a:lnTo>
                    <a:lnTo>
                      <a:pt x="1222" y="1578"/>
                    </a:lnTo>
                    <a:lnTo>
                      <a:pt x="1224" y="1578"/>
                    </a:lnTo>
                    <a:lnTo>
                      <a:pt x="1224" y="1580"/>
                    </a:lnTo>
                    <a:lnTo>
                      <a:pt x="1222" y="1580"/>
                    </a:lnTo>
                    <a:lnTo>
                      <a:pt x="1224" y="1580"/>
                    </a:lnTo>
                    <a:lnTo>
                      <a:pt x="1222" y="1582"/>
                    </a:lnTo>
                    <a:lnTo>
                      <a:pt x="1222" y="1580"/>
                    </a:lnTo>
                    <a:lnTo>
                      <a:pt x="1222" y="1582"/>
                    </a:lnTo>
                    <a:lnTo>
                      <a:pt x="1220" y="1580"/>
                    </a:lnTo>
                    <a:lnTo>
                      <a:pt x="1220" y="1578"/>
                    </a:lnTo>
                    <a:lnTo>
                      <a:pt x="1220" y="1580"/>
                    </a:lnTo>
                    <a:lnTo>
                      <a:pt x="1220" y="1582"/>
                    </a:lnTo>
                    <a:lnTo>
                      <a:pt x="1220" y="1583"/>
                    </a:lnTo>
                    <a:lnTo>
                      <a:pt x="1220" y="1582"/>
                    </a:lnTo>
                    <a:lnTo>
                      <a:pt x="1219" y="1582"/>
                    </a:lnTo>
                    <a:lnTo>
                      <a:pt x="1217" y="1582"/>
                    </a:lnTo>
                    <a:lnTo>
                      <a:pt x="1219" y="1582"/>
                    </a:lnTo>
                    <a:lnTo>
                      <a:pt x="1219" y="1580"/>
                    </a:lnTo>
                    <a:lnTo>
                      <a:pt x="1219" y="1578"/>
                    </a:lnTo>
                    <a:lnTo>
                      <a:pt x="1217" y="1578"/>
                    </a:lnTo>
                    <a:lnTo>
                      <a:pt x="1217" y="1580"/>
                    </a:lnTo>
                    <a:lnTo>
                      <a:pt x="1215" y="1578"/>
                    </a:lnTo>
                    <a:lnTo>
                      <a:pt x="1213" y="1578"/>
                    </a:lnTo>
                    <a:lnTo>
                      <a:pt x="1215" y="1578"/>
                    </a:lnTo>
                    <a:lnTo>
                      <a:pt x="1215" y="1577"/>
                    </a:lnTo>
                    <a:lnTo>
                      <a:pt x="1215" y="1575"/>
                    </a:lnTo>
                    <a:lnTo>
                      <a:pt x="1217" y="1577"/>
                    </a:lnTo>
                    <a:lnTo>
                      <a:pt x="1217" y="1575"/>
                    </a:lnTo>
                    <a:lnTo>
                      <a:pt x="1217" y="1573"/>
                    </a:lnTo>
                    <a:lnTo>
                      <a:pt x="1219" y="1575"/>
                    </a:lnTo>
                    <a:close/>
                    <a:moveTo>
                      <a:pt x="1191" y="1422"/>
                    </a:moveTo>
                    <a:lnTo>
                      <a:pt x="1191" y="1424"/>
                    </a:lnTo>
                    <a:lnTo>
                      <a:pt x="1191" y="1425"/>
                    </a:lnTo>
                    <a:lnTo>
                      <a:pt x="1191" y="1427"/>
                    </a:lnTo>
                    <a:lnTo>
                      <a:pt x="1193" y="1427"/>
                    </a:lnTo>
                    <a:lnTo>
                      <a:pt x="1191" y="1427"/>
                    </a:lnTo>
                    <a:lnTo>
                      <a:pt x="1191" y="1429"/>
                    </a:lnTo>
                    <a:lnTo>
                      <a:pt x="1191" y="1427"/>
                    </a:lnTo>
                    <a:lnTo>
                      <a:pt x="1193" y="1429"/>
                    </a:lnTo>
                    <a:lnTo>
                      <a:pt x="1193" y="1430"/>
                    </a:lnTo>
                    <a:lnTo>
                      <a:pt x="1193" y="1432"/>
                    </a:lnTo>
                    <a:lnTo>
                      <a:pt x="1191" y="1430"/>
                    </a:lnTo>
                    <a:lnTo>
                      <a:pt x="1191" y="1432"/>
                    </a:lnTo>
                    <a:lnTo>
                      <a:pt x="1191" y="1430"/>
                    </a:lnTo>
                    <a:lnTo>
                      <a:pt x="1190" y="1432"/>
                    </a:lnTo>
                    <a:lnTo>
                      <a:pt x="1190" y="1430"/>
                    </a:lnTo>
                    <a:lnTo>
                      <a:pt x="1188" y="1430"/>
                    </a:lnTo>
                    <a:lnTo>
                      <a:pt x="1188" y="1429"/>
                    </a:lnTo>
                    <a:lnTo>
                      <a:pt x="1190" y="1429"/>
                    </a:lnTo>
                    <a:lnTo>
                      <a:pt x="1188" y="1427"/>
                    </a:lnTo>
                    <a:lnTo>
                      <a:pt x="1188" y="1425"/>
                    </a:lnTo>
                    <a:lnTo>
                      <a:pt x="1188" y="1424"/>
                    </a:lnTo>
                    <a:lnTo>
                      <a:pt x="1190" y="1424"/>
                    </a:lnTo>
                    <a:lnTo>
                      <a:pt x="1191" y="1422"/>
                    </a:lnTo>
                    <a:close/>
                    <a:moveTo>
                      <a:pt x="1159" y="1094"/>
                    </a:moveTo>
                    <a:lnTo>
                      <a:pt x="1159" y="1095"/>
                    </a:lnTo>
                    <a:lnTo>
                      <a:pt x="1161" y="1095"/>
                    </a:lnTo>
                    <a:lnTo>
                      <a:pt x="1161" y="1097"/>
                    </a:lnTo>
                    <a:lnTo>
                      <a:pt x="1162" y="1097"/>
                    </a:lnTo>
                    <a:lnTo>
                      <a:pt x="1161" y="1099"/>
                    </a:lnTo>
                    <a:lnTo>
                      <a:pt x="1161" y="1100"/>
                    </a:lnTo>
                    <a:lnTo>
                      <a:pt x="1159" y="1100"/>
                    </a:lnTo>
                    <a:lnTo>
                      <a:pt x="1157" y="1100"/>
                    </a:lnTo>
                    <a:lnTo>
                      <a:pt x="1157" y="1099"/>
                    </a:lnTo>
                    <a:lnTo>
                      <a:pt x="1157" y="1097"/>
                    </a:lnTo>
                    <a:lnTo>
                      <a:pt x="1156" y="1097"/>
                    </a:lnTo>
                    <a:lnTo>
                      <a:pt x="1156" y="1095"/>
                    </a:lnTo>
                    <a:lnTo>
                      <a:pt x="1157" y="1095"/>
                    </a:lnTo>
                    <a:lnTo>
                      <a:pt x="1157" y="1094"/>
                    </a:lnTo>
                    <a:lnTo>
                      <a:pt x="1159" y="1094"/>
                    </a:lnTo>
                    <a:close/>
                    <a:moveTo>
                      <a:pt x="1448" y="1643"/>
                    </a:moveTo>
                    <a:lnTo>
                      <a:pt x="1450" y="1643"/>
                    </a:lnTo>
                    <a:lnTo>
                      <a:pt x="1451" y="1643"/>
                    </a:lnTo>
                    <a:lnTo>
                      <a:pt x="1451" y="1645"/>
                    </a:lnTo>
                    <a:lnTo>
                      <a:pt x="1450" y="1645"/>
                    </a:lnTo>
                    <a:lnTo>
                      <a:pt x="1450" y="1646"/>
                    </a:lnTo>
                    <a:lnTo>
                      <a:pt x="1448" y="1648"/>
                    </a:lnTo>
                    <a:lnTo>
                      <a:pt x="1450" y="1648"/>
                    </a:lnTo>
                    <a:lnTo>
                      <a:pt x="1448" y="1648"/>
                    </a:lnTo>
                    <a:lnTo>
                      <a:pt x="1446" y="1648"/>
                    </a:lnTo>
                    <a:lnTo>
                      <a:pt x="1446" y="1650"/>
                    </a:lnTo>
                    <a:lnTo>
                      <a:pt x="1445" y="1648"/>
                    </a:lnTo>
                    <a:lnTo>
                      <a:pt x="1445" y="1650"/>
                    </a:lnTo>
                    <a:lnTo>
                      <a:pt x="1445" y="1648"/>
                    </a:lnTo>
                    <a:lnTo>
                      <a:pt x="1445" y="1646"/>
                    </a:lnTo>
                    <a:lnTo>
                      <a:pt x="1445" y="1645"/>
                    </a:lnTo>
                    <a:lnTo>
                      <a:pt x="1446" y="1643"/>
                    </a:lnTo>
                    <a:lnTo>
                      <a:pt x="1448" y="1643"/>
                    </a:lnTo>
                    <a:close/>
                    <a:moveTo>
                      <a:pt x="1181" y="1272"/>
                    </a:moveTo>
                    <a:lnTo>
                      <a:pt x="1183" y="1272"/>
                    </a:lnTo>
                    <a:lnTo>
                      <a:pt x="1185" y="1272"/>
                    </a:lnTo>
                    <a:lnTo>
                      <a:pt x="1185" y="1274"/>
                    </a:lnTo>
                    <a:lnTo>
                      <a:pt x="1186" y="1274"/>
                    </a:lnTo>
                    <a:lnTo>
                      <a:pt x="1188" y="1274"/>
                    </a:lnTo>
                    <a:lnTo>
                      <a:pt x="1188" y="1276"/>
                    </a:lnTo>
                    <a:lnTo>
                      <a:pt x="1188" y="1277"/>
                    </a:lnTo>
                    <a:lnTo>
                      <a:pt x="1186" y="1277"/>
                    </a:lnTo>
                    <a:lnTo>
                      <a:pt x="1185" y="1277"/>
                    </a:lnTo>
                    <a:lnTo>
                      <a:pt x="1185" y="1279"/>
                    </a:lnTo>
                    <a:lnTo>
                      <a:pt x="1183" y="1277"/>
                    </a:lnTo>
                    <a:lnTo>
                      <a:pt x="1183" y="1276"/>
                    </a:lnTo>
                    <a:lnTo>
                      <a:pt x="1181" y="1274"/>
                    </a:lnTo>
                    <a:lnTo>
                      <a:pt x="1181" y="1272"/>
                    </a:lnTo>
                    <a:lnTo>
                      <a:pt x="1181" y="1270"/>
                    </a:lnTo>
                    <a:lnTo>
                      <a:pt x="1181" y="1272"/>
                    </a:lnTo>
                    <a:close/>
                    <a:moveTo>
                      <a:pt x="1181" y="1090"/>
                    </a:moveTo>
                    <a:lnTo>
                      <a:pt x="1183" y="1092"/>
                    </a:lnTo>
                    <a:lnTo>
                      <a:pt x="1183" y="1094"/>
                    </a:lnTo>
                    <a:lnTo>
                      <a:pt x="1185" y="1094"/>
                    </a:lnTo>
                    <a:lnTo>
                      <a:pt x="1185" y="1095"/>
                    </a:lnTo>
                    <a:lnTo>
                      <a:pt x="1186" y="1095"/>
                    </a:lnTo>
                    <a:lnTo>
                      <a:pt x="1186" y="1097"/>
                    </a:lnTo>
                    <a:lnTo>
                      <a:pt x="1185" y="1097"/>
                    </a:lnTo>
                    <a:lnTo>
                      <a:pt x="1183" y="1097"/>
                    </a:lnTo>
                    <a:lnTo>
                      <a:pt x="1181" y="1097"/>
                    </a:lnTo>
                    <a:lnTo>
                      <a:pt x="1181" y="1095"/>
                    </a:lnTo>
                    <a:lnTo>
                      <a:pt x="1179" y="1095"/>
                    </a:lnTo>
                    <a:lnTo>
                      <a:pt x="1179" y="1094"/>
                    </a:lnTo>
                    <a:lnTo>
                      <a:pt x="1178" y="1092"/>
                    </a:lnTo>
                    <a:lnTo>
                      <a:pt x="1179" y="1092"/>
                    </a:lnTo>
                    <a:lnTo>
                      <a:pt x="1179" y="1090"/>
                    </a:lnTo>
                    <a:lnTo>
                      <a:pt x="1179" y="1092"/>
                    </a:lnTo>
                    <a:lnTo>
                      <a:pt x="1181" y="1092"/>
                    </a:lnTo>
                    <a:lnTo>
                      <a:pt x="1181" y="1090"/>
                    </a:lnTo>
                    <a:close/>
                    <a:moveTo>
                      <a:pt x="1191" y="1077"/>
                    </a:moveTo>
                    <a:lnTo>
                      <a:pt x="1193" y="1078"/>
                    </a:lnTo>
                    <a:lnTo>
                      <a:pt x="1195" y="1078"/>
                    </a:lnTo>
                    <a:lnTo>
                      <a:pt x="1196" y="1078"/>
                    </a:lnTo>
                    <a:lnTo>
                      <a:pt x="1198" y="1078"/>
                    </a:lnTo>
                    <a:lnTo>
                      <a:pt x="1198" y="1080"/>
                    </a:lnTo>
                    <a:lnTo>
                      <a:pt x="1200" y="1082"/>
                    </a:lnTo>
                    <a:lnTo>
                      <a:pt x="1198" y="1082"/>
                    </a:lnTo>
                    <a:lnTo>
                      <a:pt x="1198" y="1083"/>
                    </a:lnTo>
                    <a:lnTo>
                      <a:pt x="1196" y="1083"/>
                    </a:lnTo>
                    <a:lnTo>
                      <a:pt x="1195" y="1083"/>
                    </a:lnTo>
                    <a:lnTo>
                      <a:pt x="1193" y="1083"/>
                    </a:lnTo>
                    <a:lnTo>
                      <a:pt x="1193" y="1082"/>
                    </a:lnTo>
                    <a:lnTo>
                      <a:pt x="1191" y="1082"/>
                    </a:lnTo>
                    <a:lnTo>
                      <a:pt x="1191" y="1080"/>
                    </a:lnTo>
                    <a:lnTo>
                      <a:pt x="1193" y="1080"/>
                    </a:lnTo>
                    <a:lnTo>
                      <a:pt x="1195" y="1080"/>
                    </a:lnTo>
                    <a:lnTo>
                      <a:pt x="1196" y="1080"/>
                    </a:lnTo>
                    <a:lnTo>
                      <a:pt x="1196" y="1082"/>
                    </a:lnTo>
                    <a:lnTo>
                      <a:pt x="1195" y="1082"/>
                    </a:lnTo>
                    <a:lnTo>
                      <a:pt x="1193" y="1082"/>
                    </a:lnTo>
                    <a:lnTo>
                      <a:pt x="1195" y="1082"/>
                    </a:lnTo>
                    <a:lnTo>
                      <a:pt x="1196" y="1082"/>
                    </a:lnTo>
                    <a:lnTo>
                      <a:pt x="1198" y="1082"/>
                    </a:lnTo>
                    <a:lnTo>
                      <a:pt x="1196" y="1082"/>
                    </a:lnTo>
                    <a:lnTo>
                      <a:pt x="1198" y="1080"/>
                    </a:lnTo>
                    <a:lnTo>
                      <a:pt x="1196" y="1080"/>
                    </a:lnTo>
                    <a:lnTo>
                      <a:pt x="1195" y="1080"/>
                    </a:lnTo>
                    <a:lnTo>
                      <a:pt x="1193" y="1080"/>
                    </a:lnTo>
                    <a:lnTo>
                      <a:pt x="1191" y="1080"/>
                    </a:lnTo>
                    <a:lnTo>
                      <a:pt x="1191" y="1078"/>
                    </a:lnTo>
                    <a:lnTo>
                      <a:pt x="1193" y="1078"/>
                    </a:lnTo>
                    <a:lnTo>
                      <a:pt x="1191" y="1078"/>
                    </a:lnTo>
                    <a:lnTo>
                      <a:pt x="1190" y="1077"/>
                    </a:lnTo>
                    <a:lnTo>
                      <a:pt x="1191" y="1077"/>
                    </a:lnTo>
                    <a:close/>
                    <a:moveTo>
                      <a:pt x="1327" y="1628"/>
                    </a:moveTo>
                    <a:lnTo>
                      <a:pt x="1329" y="1628"/>
                    </a:lnTo>
                    <a:lnTo>
                      <a:pt x="1329" y="1629"/>
                    </a:lnTo>
                    <a:lnTo>
                      <a:pt x="1327" y="1629"/>
                    </a:lnTo>
                    <a:lnTo>
                      <a:pt x="1329" y="1629"/>
                    </a:lnTo>
                    <a:lnTo>
                      <a:pt x="1331" y="1628"/>
                    </a:lnTo>
                    <a:lnTo>
                      <a:pt x="1332" y="1629"/>
                    </a:lnTo>
                    <a:lnTo>
                      <a:pt x="1332" y="1631"/>
                    </a:lnTo>
                    <a:lnTo>
                      <a:pt x="1331" y="1633"/>
                    </a:lnTo>
                    <a:lnTo>
                      <a:pt x="1329" y="1633"/>
                    </a:lnTo>
                    <a:lnTo>
                      <a:pt x="1331" y="1631"/>
                    </a:lnTo>
                    <a:lnTo>
                      <a:pt x="1331" y="1629"/>
                    </a:lnTo>
                    <a:lnTo>
                      <a:pt x="1329" y="1631"/>
                    </a:lnTo>
                    <a:lnTo>
                      <a:pt x="1329" y="1633"/>
                    </a:lnTo>
                    <a:lnTo>
                      <a:pt x="1327" y="1635"/>
                    </a:lnTo>
                    <a:lnTo>
                      <a:pt x="1327" y="1633"/>
                    </a:lnTo>
                    <a:lnTo>
                      <a:pt x="1326" y="1635"/>
                    </a:lnTo>
                    <a:lnTo>
                      <a:pt x="1326" y="1633"/>
                    </a:lnTo>
                    <a:lnTo>
                      <a:pt x="1326" y="1635"/>
                    </a:lnTo>
                    <a:lnTo>
                      <a:pt x="1324" y="1635"/>
                    </a:lnTo>
                    <a:lnTo>
                      <a:pt x="1324" y="1633"/>
                    </a:lnTo>
                    <a:lnTo>
                      <a:pt x="1326" y="1631"/>
                    </a:lnTo>
                    <a:lnTo>
                      <a:pt x="1324" y="1631"/>
                    </a:lnTo>
                    <a:lnTo>
                      <a:pt x="1326" y="1631"/>
                    </a:lnTo>
                    <a:lnTo>
                      <a:pt x="1327" y="1631"/>
                    </a:lnTo>
                    <a:lnTo>
                      <a:pt x="1327" y="1629"/>
                    </a:lnTo>
                    <a:lnTo>
                      <a:pt x="1326" y="1629"/>
                    </a:lnTo>
                    <a:lnTo>
                      <a:pt x="1327" y="1629"/>
                    </a:lnTo>
                    <a:lnTo>
                      <a:pt x="1326" y="1629"/>
                    </a:lnTo>
                    <a:lnTo>
                      <a:pt x="1324" y="1629"/>
                    </a:lnTo>
                    <a:lnTo>
                      <a:pt x="1326" y="1628"/>
                    </a:lnTo>
                    <a:lnTo>
                      <a:pt x="1327" y="1628"/>
                    </a:lnTo>
                    <a:close/>
                    <a:moveTo>
                      <a:pt x="1191" y="1269"/>
                    </a:moveTo>
                    <a:lnTo>
                      <a:pt x="1193" y="1270"/>
                    </a:lnTo>
                    <a:lnTo>
                      <a:pt x="1195" y="1272"/>
                    </a:lnTo>
                    <a:lnTo>
                      <a:pt x="1196" y="1272"/>
                    </a:lnTo>
                    <a:lnTo>
                      <a:pt x="1196" y="1274"/>
                    </a:lnTo>
                    <a:lnTo>
                      <a:pt x="1196" y="1276"/>
                    </a:lnTo>
                    <a:lnTo>
                      <a:pt x="1196" y="1277"/>
                    </a:lnTo>
                    <a:lnTo>
                      <a:pt x="1195" y="1276"/>
                    </a:lnTo>
                    <a:lnTo>
                      <a:pt x="1193" y="1276"/>
                    </a:lnTo>
                    <a:lnTo>
                      <a:pt x="1193" y="1274"/>
                    </a:lnTo>
                    <a:lnTo>
                      <a:pt x="1191" y="1274"/>
                    </a:lnTo>
                    <a:lnTo>
                      <a:pt x="1191" y="1272"/>
                    </a:lnTo>
                    <a:lnTo>
                      <a:pt x="1190" y="1272"/>
                    </a:lnTo>
                    <a:lnTo>
                      <a:pt x="1190" y="1270"/>
                    </a:lnTo>
                    <a:lnTo>
                      <a:pt x="1190" y="1269"/>
                    </a:lnTo>
                    <a:lnTo>
                      <a:pt x="1191" y="1269"/>
                    </a:lnTo>
                    <a:close/>
                    <a:moveTo>
                      <a:pt x="1195" y="1121"/>
                    </a:moveTo>
                    <a:lnTo>
                      <a:pt x="1196" y="1121"/>
                    </a:lnTo>
                    <a:lnTo>
                      <a:pt x="1196" y="1122"/>
                    </a:lnTo>
                    <a:lnTo>
                      <a:pt x="1196" y="1124"/>
                    </a:lnTo>
                    <a:lnTo>
                      <a:pt x="1195" y="1124"/>
                    </a:lnTo>
                    <a:lnTo>
                      <a:pt x="1196" y="1124"/>
                    </a:lnTo>
                    <a:lnTo>
                      <a:pt x="1196" y="1122"/>
                    </a:lnTo>
                    <a:lnTo>
                      <a:pt x="1198" y="1122"/>
                    </a:lnTo>
                    <a:lnTo>
                      <a:pt x="1200" y="1122"/>
                    </a:lnTo>
                    <a:lnTo>
                      <a:pt x="1202" y="1122"/>
                    </a:lnTo>
                    <a:lnTo>
                      <a:pt x="1203" y="1122"/>
                    </a:lnTo>
                    <a:lnTo>
                      <a:pt x="1203" y="1124"/>
                    </a:lnTo>
                    <a:lnTo>
                      <a:pt x="1202" y="1124"/>
                    </a:lnTo>
                    <a:lnTo>
                      <a:pt x="1202" y="1126"/>
                    </a:lnTo>
                    <a:lnTo>
                      <a:pt x="1200" y="1126"/>
                    </a:lnTo>
                    <a:lnTo>
                      <a:pt x="1198" y="1126"/>
                    </a:lnTo>
                    <a:lnTo>
                      <a:pt x="1198" y="1124"/>
                    </a:lnTo>
                    <a:lnTo>
                      <a:pt x="1198" y="1126"/>
                    </a:lnTo>
                    <a:lnTo>
                      <a:pt x="1198" y="1124"/>
                    </a:lnTo>
                    <a:lnTo>
                      <a:pt x="1196" y="1124"/>
                    </a:lnTo>
                    <a:lnTo>
                      <a:pt x="1195" y="1124"/>
                    </a:lnTo>
                    <a:lnTo>
                      <a:pt x="1195" y="1122"/>
                    </a:lnTo>
                    <a:lnTo>
                      <a:pt x="1193" y="1122"/>
                    </a:lnTo>
                    <a:lnTo>
                      <a:pt x="1193" y="1121"/>
                    </a:lnTo>
                    <a:lnTo>
                      <a:pt x="1195" y="1121"/>
                    </a:lnTo>
                    <a:close/>
                    <a:moveTo>
                      <a:pt x="1225" y="1051"/>
                    </a:moveTo>
                    <a:lnTo>
                      <a:pt x="1225" y="1053"/>
                    </a:lnTo>
                    <a:lnTo>
                      <a:pt x="1225" y="1054"/>
                    </a:lnTo>
                    <a:lnTo>
                      <a:pt x="1225" y="1056"/>
                    </a:lnTo>
                    <a:lnTo>
                      <a:pt x="1225" y="1058"/>
                    </a:lnTo>
                    <a:lnTo>
                      <a:pt x="1224" y="1058"/>
                    </a:lnTo>
                    <a:lnTo>
                      <a:pt x="1222" y="1058"/>
                    </a:lnTo>
                    <a:lnTo>
                      <a:pt x="1222" y="1056"/>
                    </a:lnTo>
                    <a:lnTo>
                      <a:pt x="1220" y="1056"/>
                    </a:lnTo>
                    <a:lnTo>
                      <a:pt x="1222" y="1054"/>
                    </a:lnTo>
                    <a:lnTo>
                      <a:pt x="1222" y="1053"/>
                    </a:lnTo>
                    <a:lnTo>
                      <a:pt x="1224" y="1053"/>
                    </a:lnTo>
                    <a:lnTo>
                      <a:pt x="1225" y="1051"/>
                    </a:lnTo>
                    <a:close/>
                    <a:moveTo>
                      <a:pt x="1203" y="1422"/>
                    </a:moveTo>
                    <a:lnTo>
                      <a:pt x="1205" y="1422"/>
                    </a:lnTo>
                    <a:lnTo>
                      <a:pt x="1205" y="1424"/>
                    </a:lnTo>
                    <a:lnTo>
                      <a:pt x="1205" y="1425"/>
                    </a:lnTo>
                    <a:lnTo>
                      <a:pt x="1205" y="1427"/>
                    </a:lnTo>
                    <a:lnTo>
                      <a:pt x="1205" y="1429"/>
                    </a:lnTo>
                    <a:lnTo>
                      <a:pt x="1205" y="1427"/>
                    </a:lnTo>
                    <a:lnTo>
                      <a:pt x="1203" y="1427"/>
                    </a:lnTo>
                    <a:lnTo>
                      <a:pt x="1202" y="1427"/>
                    </a:lnTo>
                    <a:lnTo>
                      <a:pt x="1200" y="1427"/>
                    </a:lnTo>
                    <a:lnTo>
                      <a:pt x="1200" y="1425"/>
                    </a:lnTo>
                    <a:lnTo>
                      <a:pt x="1202" y="1425"/>
                    </a:lnTo>
                    <a:lnTo>
                      <a:pt x="1203" y="1425"/>
                    </a:lnTo>
                    <a:lnTo>
                      <a:pt x="1203" y="1424"/>
                    </a:lnTo>
                    <a:lnTo>
                      <a:pt x="1202" y="1425"/>
                    </a:lnTo>
                    <a:lnTo>
                      <a:pt x="1200" y="1425"/>
                    </a:lnTo>
                    <a:lnTo>
                      <a:pt x="1200" y="1424"/>
                    </a:lnTo>
                    <a:lnTo>
                      <a:pt x="1200" y="1422"/>
                    </a:lnTo>
                    <a:lnTo>
                      <a:pt x="1202" y="1422"/>
                    </a:lnTo>
                    <a:lnTo>
                      <a:pt x="1202" y="1420"/>
                    </a:lnTo>
                    <a:lnTo>
                      <a:pt x="1203" y="1420"/>
                    </a:lnTo>
                    <a:lnTo>
                      <a:pt x="1203" y="1422"/>
                    </a:lnTo>
                    <a:close/>
                    <a:moveTo>
                      <a:pt x="3" y="349"/>
                    </a:moveTo>
                    <a:lnTo>
                      <a:pt x="5" y="349"/>
                    </a:lnTo>
                    <a:lnTo>
                      <a:pt x="5" y="350"/>
                    </a:lnTo>
                    <a:lnTo>
                      <a:pt x="7" y="350"/>
                    </a:lnTo>
                    <a:lnTo>
                      <a:pt x="7" y="352"/>
                    </a:lnTo>
                    <a:lnTo>
                      <a:pt x="5" y="352"/>
                    </a:lnTo>
                    <a:lnTo>
                      <a:pt x="3" y="352"/>
                    </a:lnTo>
                    <a:lnTo>
                      <a:pt x="3" y="354"/>
                    </a:lnTo>
                    <a:lnTo>
                      <a:pt x="1" y="354"/>
                    </a:lnTo>
                    <a:lnTo>
                      <a:pt x="0" y="354"/>
                    </a:lnTo>
                    <a:lnTo>
                      <a:pt x="0" y="352"/>
                    </a:lnTo>
                    <a:lnTo>
                      <a:pt x="1" y="352"/>
                    </a:lnTo>
                    <a:lnTo>
                      <a:pt x="1" y="350"/>
                    </a:lnTo>
                    <a:lnTo>
                      <a:pt x="1" y="349"/>
                    </a:lnTo>
                    <a:lnTo>
                      <a:pt x="3" y="349"/>
                    </a:lnTo>
                    <a:close/>
                    <a:moveTo>
                      <a:pt x="1208" y="1054"/>
                    </a:moveTo>
                    <a:lnTo>
                      <a:pt x="1208" y="1056"/>
                    </a:lnTo>
                    <a:lnTo>
                      <a:pt x="1210" y="1056"/>
                    </a:lnTo>
                    <a:lnTo>
                      <a:pt x="1210" y="1058"/>
                    </a:lnTo>
                    <a:lnTo>
                      <a:pt x="1208" y="1058"/>
                    </a:lnTo>
                    <a:lnTo>
                      <a:pt x="1208" y="1060"/>
                    </a:lnTo>
                    <a:lnTo>
                      <a:pt x="1210" y="1060"/>
                    </a:lnTo>
                    <a:lnTo>
                      <a:pt x="1210" y="1061"/>
                    </a:lnTo>
                    <a:lnTo>
                      <a:pt x="1210" y="1063"/>
                    </a:lnTo>
                    <a:lnTo>
                      <a:pt x="1208" y="1063"/>
                    </a:lnTo>
                    <a:lnTo>
                      <a:pt x="1208" y="1061"/>
                    </a:lnTo>
                    <a:lnTo>
                      <a:pt x="1208" y="1060"/>
                    </a:lnTo>
                    <a:lnTo>
                      <a:pt x="1208" y="1061"/>
                    </a:lnTo>
                    <a:lnTo>
                      <a:pt x="1208" y="1060"/>
                    </a:lnTo>
                    <a:lnTo>
                      <a:pt x="1207" y="1060"/>
                    </a:lnTo>
                    <a:lnTo>
                      <a:pt x="1207" y="1058"/>
                    </a:lnTo>
                    <a:lnTo>
                      <a:pt x="1205" y="1058"/>
                    </a:lnTo>
                    <a:lnTo>
                      <a:pt x="1205" y="1056"/>
                    </a:lnTo>
                    <a:lnTo>
                      <a:pt x="1207" y="1054"/>
                    </a:lnTo>
                    <a:lnTo>
                      <a:pt x="1208" y="1054"/>
                    </a:lnTo>
                    <a:close/>
                    <a:moveTo>
                      <a:pt x="1321" y="1577"/>
                    </a:moveTo>
                    <a:lnTo>
                      <a:pt x="1322" y="1578"/>
                    </a:lnTo>
                    <a:lnTo>
                      <a:pt x="1321" y="1580"/>
                    </a:lnTo>
                    <a:lnTo>
                      <a:pt x="1321" y="1582"/>
                    </a:lnTo>
                    <a:lnTo>
                      <a:pt x="1321" y="1583"/>
                    </a:lnTo>
                    <a:lnTo>
                      <a:pt x="1319" y="1583"/>
                    </a:lnTo>
                    <a:lnTo>
                      <a:pt x="1317" y="1582"/>
                    </a:lnTo>
                    <a:lnTo>
                      <a:pt x="1315" y="1582"/>
                    </a:lnTo>
                    <a:lnTo>
                      <a:pt x="1315" y="1580"/>
                    </a:lnTo>
                    <a:lnTo>
                      <a:pt x="1314" y="1578"/>
                    </a:lnTo>
                    <a:lnTo>
                      <a:pt x="1315" y="1578"/>
                    </a:lnTo>
                    <a:lnTo>
                      <a:pt x="1317" y="1578"/>
                    </a:lnTo>
                    <a:lnTo>
                      <a:pt x="1319" y="1578"/>
                    </a:lnTo>
                    <a:lnTo>
                      <a:pt x="1321" y="1577"/>
                    </a:lnTo>
                    <a:close/>
                    <a:moveTo>
                      <a:pt x="1164" y="1282"/>
                    </a:moveTo>
                    <a:lnTo>
                      <a:pt x="1164" y="1284"/>
                    </a:lnTo>
                    <a:lnTo>
                      <a:pt x="1166" y="1284"/>
                    </a:lnTo>
                    <a:lnTo>
                      <a:pt x="1168" y="1284"/>
                    </a:lnTo>
                    <a:lnTo>
                      <a:pt x="1169" y="1284"/>
                    </a:lnTo>
                    <a:lnTo>
                      <a:pt x="1171" y="1284"/>
                    </a:lnTo>
                    <a:lnTo>
                      <a:pt x="1171" y="1286"/>
                    </a:lnTo>
                    <a:lnTo>
                      <a:pt x="1169" y="1286"/>
                    </a:lnTo>
                    <a:lnTo>
                      <a:pt x="1168" y="1286"/>
                    </a:lnTo>
                    <a:lnTo>
                      <a:pt x="1168" y="1288"/>
                    </a:lnTo>
                    <a:lnTo>
                      <a:pt x="1166" y="1288"/>
                    </a:lnTo>
                    <a:lnTo>
                      <a:pt x="1166" y="1289"/>
                    </a:lnTo>
                    <a:lnTo>
                      <a:pt x="1164" y="1289"/>
                    </a:lnTo>
                    <a:lnTo>
                      <a:pt x="1162" y="1289"/>
                    </a:lnTo>
                    <a:lnTo>
                      <a:pt x="1162" y="1288"/>
                    </a:lnTo>
                    <a:lnTo>
                      <a:pt x="1164" y="1288"/>
                    </a:lnTo>
                    <a:lnTo>
                      <a:pt x="1164" y="1286"/>
                    </a:lnTo>
                    <a:lnTo>
                      <a:pt x="1166" y="1286"/>
                    </a:lnTo>
                    <a:lnTo>
                      <a:pt x="1166" y="1288"/>
                    </a:lnTo>
                    <a:lnTo>
                      <a:pt x="1166" y="1286"/>
                    </a:lnTo>
                    <a:lnTo>
                      <a:pt x="1168" y="1288"/>
                    </a:lnTo>
                    <a:lnTo>
                      <a:pt x="1168" y="1286"/>
                    </a:lnTo>
                    <a:lnTo>
                      <a:pt x="1166" y="1286"/>
                    </a:lnTo>
                    <a:lnTo>
                      <a:pt x="1164" y="1286"/>
                    </a:lnTo>
                    <a:lnTo>
                      <a:pt x="1164" y="1284"/>
                    </a:lnTo>
                    <a:lnTo>
                      <a:pt x="1164" y="1282"/>
                    </a:lnTo>
                    <a:close/>
                    <a:moveTo>
                      <a:pt x="1222" y="1563"/>
                    </a:moveTo>
                    <a:lnTo>
                      <a:pt x="1224" y="1563"/>
                    </a:lnTo>
                    <a:lnTo>
                      <a:pt x="1225" y="1563"/>
                    </a:lnTo>
                    <a:lnTo>
                      <a:pt x="1227" y="1563"/>
                    </a:lnTo>
                    <a:lnTo>
                      <a:pt x="1227" y="1565"/>
                    </a:lnTo>
                    <a:lnTo>
                      <a:pt x="1227" y="1566"/>
                    </a:lnTo>
                    <a:lnTo>
                      <a:pt x="1227" y="1568"/>
                    </a:lnTo>
                    <a:lnTo>
                      <a:pt x="1227" y="1566"/>
                    </a:lnTo>
                    <a:lnTo>
                      <a:pt x="1225" y="1568"/>
                    </a:lnTo>
                    <a:lnTo>
                      <a:pt x="1224" y="1568"/>
                    </a:lnTo>
                    <a:lnTo>
                      <a:pt x="1224" y="1570"/>
                    </a:lnTo>
                    <a:lnTo>
                      <a:pt x="1225" y="1568"/>
                    </a:lnTo>
                    <a:lnTo>
                      <a:pt x="1225" y="1570"/>
                    </a:lnTo>
                    <a:lnTo>
                      <a:pt x="1224" y="1570"/>
                    </a:lnTo>
                    <a:lnTo>
                      <a:pt x="1222" y="1568"/>
                    </a:lnTo>
                    <a:lnTo>
                      <a:pt x="1224" y="1568"/>
                    </a:lnTo>
                    <a:lnTo>
                      <a:pt x="1222" y="1568"/>
                    </a:lnTo>
                    <a:lnTo>
                      <a:pt x="1222" y="1566"/>
                    </a:lnTo>
                    <a:lnTo>
                      <a:pt x="1224" y="1568"/>
                    </a:lnTo>
                    <a:lnTo>
                      <a:pt x="1224" y="1566"/>
                    </a:lnTo>
                    <a:lnTo>
                      <a:pt x="1224" y="1565"/>
                    </a:lnTo>
                    <a:lnTo>
                      <a:pt x="1224" y="1566"/>
                    </a:lnTo>
                    <a:lnTo>
                      <a:pt x="1222" y="1566"/>
                    </a:lnTo>
                    <a:lnTo>
                      <a:pt x="1224" y="1565"/>
                    </a:lnTo>
                    <a:lnTo>
                      <a:pt x="1222" y="1566"/>
                    </a:lnTo>
                    <a:lnTo>
                      <a:pt x="1220" y="1566"/>
                    </a:lnTo>
                    <a:lnTo>
                      <a:pt x="1220" y="1565"/>
                    </a:lnTo>
                    <a:lnTo>
                      <a:pt x="1220" y="1566"/>
                    </a:lnTo>
                    <a:lnTo>
                      <a:pt x="1220" y="1565"/>
                    </a:lnTo>
                    <a:lnTo>
                      <a:pt x="1222" y="1565"/>
                    </a:lnTo>
                    <a:lnTo>
                      <a:pt x="1224" y="1565"/>
                    </a:lnTo>
                    <a:lnTo>
                      <a:pt x="1222" y="1565"/>
                    </a:lnTo>
                    <a:lnTo>
                      <a:pt x="1220" y="1565"/>
                    </a:lnTo>
                    <a:lnTo>
                      <a:pt x="1222" y="1563"/>
                    </a:lnTo>
                    <a:lnTo>
                      <a:pt x="1220" y="1565"/>
                    </a:lnTo>
                    <a:lnTo>
                      <a:pt x="1220" y="1563"/>
                    </a:lnTo>
                    <a:lnTo>
                      <a:pt x="1222" y="1563"/>
                    </a:lnTo>
                    <a:close/>
                    <a:moveTo>
                      <a:pt x="1186" y="1202"/>
                    </a:moveTo>
                    <a:lnTo>
                      <a:pt x="1188" y="1204"/>
                    </a:lnTo>
                    <a:lnTo>
                      <a:pt x="1186" y="1206"/>
                    </a:lnTo>
                    <a:lnTo>
                      <a:pt x="1185" y="1208"/>
                    </a:lnTo>
                    <a:lnTo>
                      <a:pt x="1183" y="1208"/>
                    </a:lnTo>
                    <a:lnTo>
                      <a:pt x="1183" y="1209"/>
                    </a:lnTo>
                    <a:lnTo>
                      <a:pt x="1181" y="1209"/>
                    </a:lnTo>
                    <a:lnTo>
                      <a:pt x="1181" y="1208"/>
                    </a:lnTo>
                    <a:lnTo>
                      <a:pt x="1181" y="1206"/>
                    </a:lnTo>
                    <a:lnTo>
                      <a:pt x="1181" y="1204"/>
                    </a:lnTo>
                    <a:lnTo>
                      <a:pt x="1183" y="1204"/>
                    </a:lnTo>
                    <a:lnTo>
                      <a:pt x="1185" y="1204"/>
                    </a:lnTo>
                    <a:lnTo>
                      <a:pt x="1185" y="1202"/>
                    </a:lnTo>
                    <a:lnTo>
                      <a:pt x="1186" y="1202"/>
                    </a:lnTo>
                    <a:close/>
                    <a:moveTo>
                      <a:pt x="1210" y="983"/>
                    </a:moveTo>
                    <a:lnTo>
                      <a:pt x="1212" y="983"/>
                    </a:lnTo>
                    <a:lnTo>
                      <a:pt x="1213" y="983"/>
                    </a:lnTo>
                    <a:lnTo>
                      <a:pt x="1212" y="983"/>
                    </a:lnTo>
                    <a:lnTo>
                      <a:pt x="1212" y="985"/>
                    </a:lnTo>
                    <a:lnTo>
                      <a:pt x="1213" y="985"/>
                    </a:lnTo>
                    <a:lnTo>
                      <a:pt x="1213" y="986"/>
                    </a:lnTo>
                    <a:lnTo>
                      <a:pt x="1215" y="986"/>
                    </a:lnTo>
                    <a:lnTo>
                      <a:pt x="1215" y="988"/>
                    </a:lnTo>
                    <a:lnTo>
                      <a:pt x="1217" y="988"/>
                    </a:lnTo>
                    <a:lnTo>
                      <a:pt x="1217" y="990"/>
                    </a:lnTo>
                    <a:lnTo>
                      <a:pt x="1217" y="992"/>
                    </a:lnTo>
                    <a:lnTo>
                      <a:pt x="1215" y="992"/>
                    </a:lnTo>
                    <a:lnTo>
                      <a:pt x="1215" y="990"/>
                    </a:lnTo>
                    <a:lnTo>
                      <a:pt x="1217" y="990"/>
                    </a:lnTo>
                    <a:lnTo>
                      <a:pt x="1215" y="990"/>
                    </a:lnTo>
                    <a:lnTo>
                      <a:pt x="1215" y="988"/>
                    </a:lnTo>
                    <a:lnTo>
                      <a:pt x="1213" y="988"/>
                    </a:lnTo>
                    <a:lnTo>
                      <a:pt x="1212" y="986"/>
                    </a:lnTo>
                    <a:lnTo>
                      <a:pt x="1210" y="986"/>
                    </a:lnTo>
                    <a:lnTo>
                      <a:pt x="1208" y="986"/>
                    </a:lnTo>
                    <a:lnTo>
                      <a:pt x="1208" y="985"/>
                    </a:lnTo>
                    <a:lnTo>
                      <a:pt x="1210" y="985"/>
                    </a:lnTo>
                    <a:lnTo>
                      <a:pt x="1208" y="985"/>
                    </a:lnTo>
                    <a:lnTo>
                      <a:pt x="1208" y="983"/>
                    </a:lnTo>
                    <a:lnTo>
                      <a:pt x="1210" y="981"/>
                    </a:lnTo>
                    <a:lnTo>
                      <a:pt x="1210" y="983"/>
                    </a:lnTo>
                    <a:close/>
                    <a:moveTo>
                      <a:pt x="1176" y="1087"/>
                    </a:moveTo>
                    <a:lnTo>
                      <a:pt x="1178" y="1087"/>
                    </a:lnTo>
                    <a:lnTo>
                      <a:pt x="1178" y="1085"/>
                    </a:lnTo>
                    <a:lnTo>
                      <a:pt x="1178" y="1087"/>
                    </a:lnTo>
                    <a:lnTo>
                      <a:pt x="1179" y="1087"/>
                    </a:lnTo>
                    <a:lnTo>
                      <a:pt x="1181" y="1087"/>
                    </a:lnTo>
                    <a:lnTo>
                      <a:pt x="1181" y="1088"/>
                    </a:lnTo>
                    <a:lnTo>
                      <a:pt x="1181" y="1090"/>
                    </a:lnTo>
                    <a:lnTo>
                      <a:pt x="1179" y="1090"/>
                    </a:lnTo>
                    <a:lnTo>
                      <a:pt x="1178" y="1090"/>
                    </a:lnTo>
                    <a:lnTo>
                      <a:pt x="1176" y="1088"/>
                    </a:lnTo>
                    <a:lnTo>
                      <a:pt x="1176" y="1090"/>
                    </a:lnTo>
                    <a:lnTo>
                      <a:pt x="1174" y="1088"/>
                    </a:lnTo>
                    <a:lnTo>
                      <a:pt x="1173" y="1088"/>
                    </a:lnTo>
                    <a:lnTo>
                      <a:pt x="1174" y="1088"/>
                    </a:lnTo>
                    <a:lnTo>
                      <a:pt x="1174" y="1087"/>
                    </a:lnTo>
                    <a:lnTo>
                      <a:pt x="1176" y="1087"/>
                    </a:lnTo>
                    <a:lnTo>
                      <a:pt x="1176" y="1085"/>
                    </a:lnTo>
                    <a:lnTo>
                      <a:pt x="1176" y="1087"/>
                    </a:lnTo>
                    <a:close/>
                    <a:moveTo>
                      <a:pt x="1195" y="1071"/>
                    </a:moveTo>
                    <a:lnTo>
                      <a:pt x="1196" y="1073"/>
                    </a:lnTo>
                    <a:lnTo>
                      <a:pt x="1198" y="1073"/>
                    </a:lnTo>
                    <a:lnTo>
                      <a:pt x="1200" y="1073"/>
                    </a:lnTo>
                    <a:lnTo>
                      <a:pt x="1200" y="1075"/>
                    </a:lnTo>
                    <a:lnTo>
                      <a:pt x="1200" y="1077"/>
                    </a:lnTo>
                    <a:lnTo>
                      <a:pt x="1200" y="1078"/>
                    </a:lnTo>
                    <a:lnTo>
                      <a:pt x="1198" y="1078"/>
                    </a:lnTo>
                    <a:lnTo>
                      <a:pt x="1198" y="1077"/>
                    </a:lnTo>
                    <a:lnTo>
                      <a:pt x="1196" y="1077"/>
                    </a:lnTo>
                    <a:lnTo>
                      <a:pt x="1195" y="1077"/>
                    </a:lnTo>
                    <a:lnTo>
                      <a:pt x="1195" y="1075"/>
                    </a:lnTo>
                    <a:lnTo>
                      <a:pt x="1193" y="1073"/>
                    </a:lnTo>
                    <a:lnTo>
                      <a:pt x="1193" y="1071"/>
                    </a:lnTo>
                    <a:lnTo>
                      <a:pt x="1195" y="1071"/>
                    </a:lnTo>
                    <a:close/>
                    <a:moveTo>
                      <a:pt x="1185" y="1107"/>
                    </a:moveTo>
                    <a:lnTo>
                      <a:pt x="1186" y="1107"/>
                    </a:lnTo>
                    <a:lnTo>
                      <a:pt x="1186" y="1109"/>
                    </a:lnTo>
                    <a:lnTo>
                      <a:pt x="1188" y="1109"/>
                    </a:lnTo>
                    <a:lnTo>
                      <a:pt x="1188" y="1111"/>
                    </a:lnTo>
                    <a:lnTo>
                      <a:pt x="1188" y="1112"/>
                    </a:lnTo>
                    <a:lnTo>
                      <a:pt x="1186" y="1112"/>
                    </a:lnTo>
                    <a:lnTo>
                      <a:pt x="1186" y="1111"/>
                    </a:lnTo>
                    <a:lnTo>
                      <a:pt x="1186" y="1112"/>
                    </a:lnTo>
                    <a:lnTo>
                      <a:pt x="1185" y="1111"/>
                    </a:lnTo>
                    <a:lnTo>
                      <a:pt x="1185" y="1112"/>
                    </a:lnTo>
                    <a:lnTo>
                      <a:pt x="1185" y="1111"/>
                    </a:lnTo>
                    <a:lnTo>
                      <a:pt x="1183" y="1111"/>
                    </a:lnTo>
                    <a:lnTo>
                      <a:pt x="1183" y="1109"/>
                    </a:lnTo>
                    <a:lnTo>
                      <a:pt x="1183" y="1107"/>
                    </a:lnTo>
                    <a:lnTo>
                      <a:pt x="1183" y="1105"/>
                    </a:lnTo>
                    <a:lnTo>
                      <a:pt x="1185" y="1107"/>
                    </a:lnTo>
                    <a:close/>
                    <a:moveTo>
                      <a:pt x="1188" y="1138"/>
                    </a:moveTo>
                    <a:lnTo>
                      <a:pt x="1190" y="1140"/>
                    </a:lnTo>
                    <a:lnTo>
                      <a:pt x="1188" y="1140"/>
                    </a:lnTo>
                    <a:lnTo>
                      <a:pt x="1188" y="1141"/>
                    </a:lnTo>
                    <a:lnTo>
                      <a:pt x="1186" y="1141"/>
                    </a:lnTo>
                    <a:lnTo>
                      <a:pt x="1188" y="1141"/>
                    </a:lnTo>
                    <a:lnTo>
                      <a:pt x="1190" y="1141"/>
                    </a:lnTo>
                    <a:lnTo>
                      <a:pt x="1190" y="1140"/>
                    </a:lnTo>
                    <a:lnTo>
                      <a:pt x="1191" y="1140"/>
                    </a:lnTo>
                    <a:lnTo>
                      <a:pt x="1191" y="1141"/>
                    </a:lnTo>
                    <a:lnTo>
                      <a:pt x="1191" y="1140"/>
                    </a:lnTo>
                    <a:lnTo>
                      <a:pt x="1191" y="1141"/>
                    </a:lnTo>
                    <a:lnTo>
                      <a:pt x="1193" y="1141"/>
                    </a:lnTo>
                    <a:lnTo>
                      <a:pt x="1191" y="1141"/>
                    </a:lnTo>
                    <a:lnTo>
                      <a:pt x="1193" y="1143"/>
                    </a:lnTo>
                    <a:lnTo>
                      <a:pt x="1191" y="1143"/>
                    </a:lnTo>
                    <a:lnTo>
                      <a:pt x="1190" y="1143"/>
                    </a:lnTo>
                    <a:lnTo>
                      <a:pt x="1188" y="1143"/>
                    </a:lnTo>
                    <a:lnTo>
                      <a:pt x="1188" y="1145"/>
                    </a:lnTo>
                    <a:lnTo>
                      <a:pt x="1186" y="1143"/>
                    </a:lnTo>
                    <a:lnTo>
                      <a:pt x="1186" y="1141"/>
                    </a:lnTo>
                    <a:lnTo>
                      <a:pt x="1185" y="1141"/>
                    </a:lnTo>
                    <a:lnTo>
                      <a:pt x="1186" y="1140"/>
                    </a:lnTo>
                    <a:lnTo>
                      <a:pt x="1186" y="1138"/>
                    </a:lnTo>
                    <a:lnTo>
                      <a:pt x="1188" y="1138"/>
                    </a:lnTo>
                    <a:close/>
                    <a:moveTo>
                      <a:pt x="1162" y="1390"/>
                    </a:moveTo>
                    <a:lnTo>
                      <a:pt x="1164" y="1391"/>
                    </a:lnTo>
                    <a:lnTo>
                      <a:pt x="1162" y="1391"/>
                    </a:lnTo>
                    <a:lnTo>
                      <a:pt x="1164" y="1393"/>
                    </a:lnTo>
                    <a:lnTo>
                      <a:pt x="1162" y="1393"/>
                    </a:lnTo>
                    <a:lnTo>
                      <a:pt x="1164" y="1395"/>
                    </a:lnTo>
                    <a:lnTo>
                      <a:pt x="1162" y="1395"/>
                    </a:lnTo>
                    <a:lnTo>
                      <a:pt x="1164" y="1395"/>
                    </a:lnTo>
                    <a:lnTo>
                      <a:pt x="1162" y="1395"/>
                    </a:lnTo>
                    <a:lnTo>
                      <a:pt x="1164" y="1396"/>
                    </a:lnTo>
                    <a:lnTo>
                      <a:pt x="1162" y="1396"/>
                    </a:lnTo>
                    <a:lnTo>
                      <a:pt x="1164" y="1396"/>
                    </a:lnTo>
                    <a:lnTo>
                      <a:pt x="1162" y="1398"/>
                    </a:lnTo>
                    <a:lnTo>
                      <a:pt x="1162" y="1396"/>
                    </a:lnTo>
                    <a:lnTo>
                      <a:pt x="1161" y="1396"/>
                    </a:lnTo>
                    <a:lnTo>
                      <a:pt x="1161" y="1395"/>
                    </a:lnTo>
                    <a:lnTo>
                      <a:pt x="1159" y="1393"/>
                    </a:lnTo>
                    <a:lnTo>
                      <a:pt x="1161" y="1391"/>
                    </a:lnTo>
                    <a:lnTo>
                      <a:pt x="1161" y="1393"/>
                    </a:lnTo>
                    <a:lnTo>
                      <a:pt x="1161" y="1391"/>
                    </a:lnTo>
                    <a:lnTo>
                      <a:pt x="1161" y="1390"/>
                    </a:lnTo>
                    <a:lnTo>
                      <a:pt x="1162" y="1390"/>
                    </a:lnTo>
                    <a:lnTo>
                      <a:pt x="1162" y="1388"/>
                    </a:lnTo>
                    <a:lnTo>
                      <a:pt x="1162" y="1390"/>
                    </a:lnTo>
                    <a:lnTo>
                      <a:pt x="1162" y="1391"/>
                    </a:lnTo>
                    <a:lnTo>
                      <a:pt x="1162" y="1390"/>
                    </a:lnTo>
                    <a:lnTo>
                      <a:pt x="1164" y="1388"/>
                    </a:lnTo>
                    <a:lnTo>
                      <a:pt x="1164" y="1390"/>
                    </a:lnTo>
                    <a:lnTo>
                      <a:pt x="1162" y="1390"/>
                    </a:lnTo>
                    <a:close/>
                    <a:moveTo>
                      <a:pt x="1431" y="1631"/>
                    </a:moveTo>
                    <a:lnTo>
                      <a:pt x="1433" y="1633"/>
                    </a:lnTo>
                    <a:lnTo>
                      <a:pt x="1434" y="1633"/>
                    </a:lnTo>
                    <a:lnTo>
                      <a:pt x="1436" y="1633"/>
                    </a:lnTo>
                    <a:lnTo>
                      <a:pt x="1436" y="1635"/>
                    </a:lnTo>
                    <a:lnTo>
                      <a:pt x="1438" y="1635"/>
                    </a:lnTo>
                    <a:lnTo>
                      <a:pt x="1438" y="1636"/>
                    </a:lnTo>
                    <a:lnTo>
                      <a:pt x="1438" y="1638"/>
                    </a:lnTo>
                    <a:lnTo>
                      <a:pt x="1440" y="1640"/>
                    </a:lnTo>
                    <a:lnTo>
                      <a:pt x="1438" y="1640"/>
                    </a:lnTo>
                    <a:lnTo>
                      <a:pt x="1436" y="1638"/>
                    </a:lnTo>
                    <a:lnTo>
                      <a:pt x="1434" y="1636"/>
                    </a:lnTo>
                    <a:lnTo>
                      <a:pt x="1433" y="1635"/>
                    </a:lnTo>
                    <a:lnTo>
                      <a:pt x="1431" y="1635"/>
                    </a:lnTo>
                    <a:lnTo>
                      <a:pt x="1431" y="1633"/>
                    </a:lnTo>
                    <a:lnTo>
                      <a:pt x="1431" y="1631"/>
                    </a:lnTo>
                    <a:close/>
                    <a:moveTo>
                      <a:pt x="1196" y="1094"/>
                    </a:moveTo>
                    <a:lnTo>
                      <a:pt x="1198" y="1094"/>
                    </a:lnTo>
                    <a:lnTo>
                      <a:pt x="1198" y="1095"/>
                    </a:lnTo>
                    <a:lnTo>
                      <a:pt x="1198" y="1097"/>
                    </a:lnTo>
                    <a:lnTo>
                      <a:pt x="1196" y="1097"/>
                    </a:lnTo>
                    <a:lnTo>
                      <a:pt x="1198" y="1097"/>
                    </a:lnTo>
                    <a:lnTo>
                      <a:pt x="1196" y="1097"/>
                    </a:lnTo>
                    <a:lnTo>
                      <a:pt x="1195" y="1097"/>
                    </a:lnTo>
                    <a:lnTo>
                      <a:pt x="1193" y="1097"/>
                    </a:lnTo>
                    <a:lnTo>
                      <a:pt x="1191" y="1097"/>
                    </a:lnTo>
                    <a:lnTo>
                      <a:pt x="1191" y="1095"/>
                    </a:lnTo>
                    <a:lnTo>
                      <a:pt x="1190" y="1095"/>
                    </a:lnTo>
                    <a:lnTo>
                      <a:pt x="1191" y="1095"/>
                    </a:lnTo>
                    <a:lnTo>
                      <a:pt x="1193" y="1095"/>
                    </a:lnTo>
                    <a:lnTo>
                      <a:pt x="1195" y="1094"/>
                    </a:lnTo>
                    <a:lnTo>
                      <a:pt x="1196" y="1094"/>
                    </a:lnTo>
                    <a:close/>
                    <a:moveTo>
                      <a:pt x="1178" y="1468"/>
                    </a:moveTo>
                    <a:lnTo>
                      <a:pt x="1176" y="1468"/>
                    </a:lnTo>
                    <a:lnTo>
                      <a:pt x="1176" y="1470"/>
                    </a:lnTo>
                    <a:lnTo>
                      <a:pt x="1174" y="1470"/>
                    </a:lnTo>
                    <a:lnTo>
                      <a:pt x="1176" y="1470"/>
                    </a:lnTo>
                    <a:lnTo>
                      <a:pt x="1174" y="1471"/>
                    </a:lnTo>
                    <a:lnTo>
                      <a:pt x="1176" y="1471"/>
                    </a:lnTo>
                    <a:lnTo>
                      <a:pt x="1174" y="1473"/>
                    </a:lnTo>
                    <a:lnTo>
                      <a:pt x="1174" y="1471"/>
                    </a:lnTo>
                    <a:lnTo>
                      <a:pt x="1173" y="1473"/>
                    </a:lnTo>
                    <a:lnTo>
                      <a:pt x="1173" y="1471"/>
                    </a:lnTo>
                    <a:lnTo>
                      <a:pt x="1173" y="1473"/>
                    </a:lnTo>
                    <a:lnTo>
                      <a:pt x="1174" y="1473"/>
                    </a:lnTo>
                    <a:lnTo>
                      <a:pt x="1173" y="1473"/>
                    </a:lnTo>
                    <a:lnTo>
                      <a:pt x="1171" y="1475"/>
                    </a:lnTo>
                    <a:lnTo>
                      <a:pt x="1171" y="1473"/>
                    </a:lnTo>
                    <a:lnTo>
                      <a:pt x="1171" y="1471"/>
                    </a:lnTo>
                    <a:lnTo>
                      <a:pt x="1169" y="1471"/>
                    </a:lnTo>
                    <a:lnTo>
                      <a:pt x="1171" y="1471"/>
                    </a:lnTo>
                    <a:lnTo>
                      <a:pt x="1171" y="1470"/>
                    </a:lnTo>
                    <a:lnTo>
                      <a:pt x="1173" y="1470"/>
                    </a:lnTo>
                    <a:lnTo>
                      <a:pt x="1174" y="1468"/>
                    </a:lnTo>
                    <a:lnTo>
                      <a:pt x="1176" y="1468"/>
                    </a:lnTo>
                    <a:lnTo>
                      <a:pt x="1176" y="1466"/>
                    </a:lnTo>
                    <a:lnTo>
                      <a:pt x="1178" y="1468"/>
                    </a:lnTo>
                    <a:close/>
                    <a:moveTo>
                      <a:pt x="1210" y="1092"/>
                    </a:moveTo>
                    <a:lnTo>
                      <a:pt x="1210" y="1094"/>
                    </a:lnTo>
                    <a:lnTo>
                      <a:pt x="1210" y="1095"/>
                    </a:lnTo>
                    <a:lnTo>
                      <a:pt x="1210" y="1097"/>
                    </a:lnTo>
                    <a:lnTo>
                      <a:pt x="1208" y="1097"/>
                    </a:lnTo>
                    <a:lnTo>
                      <a:pt x="1207" y="1097"/>
                    </a:lnTo>
                    <a:lnTo>
                      <a:pt x="1207" y="1095"/>
                    </a:lnTo>
                    <a:lnTo>
                      <a:pt x="1205" y="1095"/>
                    </a:lnTo>
                    <a:lnTo>
                      <a:pt x="1205" y="1094"/>
                    </a:lnTo>
                    <a:lnTo>
                      <a:pt x="1205" y="1092"/>
                    </a:lnTo>
                    <a:lnTo>
                      <a:pt x="1207" y="1094"/>
                    </a:lnTo>
                    <a:lnTo>
                      <a:pt x="1207" y="1092"/>
                    </a:lnTo>
                    <a:lnTo>
                      <a:pt x="1208" y="1092"/>
                    </a:lnTo>
                    <a:lnTo>
                      <a:pt x="1210" y="1092"/>
                    </a:lnTo>
                    <a:close/>
                    <a:moveTo>
                      <a:pt x="1161" y="1235"/>
                    </a:moveTo>
                    <a:lnTo>
                      <a:pt x="1162" y="1235"/>
                    </a:lnTo>
                    <a:lnTo>
                      <a:pt x="1164" y="1235"/>
                    </a:lnTo>
                    <a:lnTo>
                      <a:pt x="1164" y="1236"/>
                    </a:lnTo>
                    <a:lnTo>
                      <a:pt x="1164" y="1238"/>
                    </a:lnTo>
                    <a:lnTo>
                      <a:pt x="1164" y="1236"/>
                    </a:lnTo>
                    <a:lnTo>
                      <a:pt x="1164" y="1235"/>
                    </a:lnTo>
                    <a:lnTo>
                      <a:pt x="1164" y="1236"/>
                    </a:lnTo>
                    <a:lnTo>
                      <a:pt x="1166" y="1236"/>
                    </a:lnTo>
                    <a:lnTo>
                      <a:pt x="1166" y="1238"/>
                    </a:lnTo>
                    <a:lnTo>
                      <a:pt x="1168" y="1238"/>
                    </a:lnTo>
                    <a:lnTo>
                      <a:pt x="1168" y="1240"/>
                    </a:lnTo>
                    <a:lnTo>
                      <a:pt x="1166" y="1240"/>
                    </a:lnTo>
                    <a:lnTo>
                      <a:pt x="1166" y="1238"/>
                    </a:lnTo>
                    <a:lnTo>
                      <a:pt x="1166" y="1240"/>
                    </a:lnTo>
                    <a:lnTo>
                      <a:pt x="1164" y="1240"/>
                    </a:lnTo>
                    <a:lnTo>
                      <a:pt x="1162" y="1240"/>
                    </a:lnTo>
                    <a:lnTo>
                      <a:pt x="1162" y="1238"/>
                    </a:lnTo>
                    <a:lnTo>
                      <a:pt x="1161" y="1238"/>
                    </a:lnTo>
                    <a:lnTo>
                      <a:pt x="1161" y="1236"/>
                    </a:lnTo>
                    <a:lnTo>
                      <a:pt x="1161" y="1235"/>
                    </a:lnTo>
                    <a:close/>
                    <a:moveTo>
                      <a:pt x="1249" y="1592"/>
                    </a:moveTo>
                    <a:lnTo>
                      <a:pt x="1251" y="1592"/>
                    </a:lnTo>
                    <a:lnTo>
                      <a:pt x="1251" y="1594"/>
                    </a:lnTo>
                    <a:lnTo>
                      <a:pt x="1253" y="1594"/>
                    </a:lnTo>
                    <a:lnTo>
                      <a:pt x="1254" y="1594"/>
                    </a:lnTo>
                    <a:lnTo>
                      <a:pt x="1253" y="1594"/>
                    </a:lnTo>
                    <a:lnTo>
                      <a:pt x="1253" y="1595"/>
                    </a:lnTo>
                    <a:lnTo>
                      <a:pt x="1251" y="1594"/>
                    </a:lnTo>
                    <a:lnTo>
                      <a:pt x="1251" y="1595"/>
                    </a:lnTo>
                    <a:lnTo>
                      <a:pt x="1253" y="1595"/>
                    </a:lnTo>
                    <a:lnTo>
                      <a:pt x="1253" y="1597"/>
                    </a:lnTo>
                    <a:lnTo>
                      <a:pt x="1251" y="1597"/>
                    </a:lnTo>
                    <a:lnTo>
                      <a:pt x="1251" y="1595"/>
                    </a:lnTo>
                    <a:lnTo>
                      <a:pt x="1249" y="1595"/>
                    </a:lnTo>
                    <a:lnTo>
                      <a:pt x="1249" y="1597"/>
                    </a:lnTo>
                    <a:lnTo>
                      <a:pt x="1249" y="1599"/>
                    </a:lnTo>
                    <a:lnTo>
                      <a:pt x="1247" y="1600"/>
                    </a:lnTo>
                    <a:lnTo>
                      <a:pt x="1247" y="1599"/>
                    </a:lnTo>
                    <a:lnTo>
                      <a:pt x="1247" y="1597"/>
                    </a:lnTo>
                    <a:lnTo>
                      <a:pt x="1246" y="1597"/>
                    </a:lnTo>
                    <a:lnTo>
                      <a:pt x="1246" y="1595"/>
                    </a:lnTo>
                    <a:lnTo>
                      <a:pt x="1246" y="1594"/>
                    </a:lnTo>
                    <a:lnTo>
                      <a:pt x="1247" y="1595"/>
                    </a:lnTo>
                    <a:lnTo>
                      <a:pt x="1246" y="1594"/>
                    </a:lnTo>
                    <a:lnTo>
                      <a:pt x="1247" y="1594"/>
                    </a:lnTo>
                    <a:lnTo>
                      <a:pt x="1249" y="1594"/>
                    </a:lnTo>
                    <a:lnTo>
                      <a:pt x="1249" y="1592"/>
                    </a:lnTo>
                    <a:close/>
                    <a:moveTo>
                      <a:pt x="1198" y="1061"/>
                    </a:moveTo>
                    <a:lnTo>
                      <a:pt x="1200" y="1061"/>
                    </a:lnTo>
                    <a:lnTo>
                      <a:pt x="1200" y="1063"/>
                    </a:lnTo>
                    <a:lnTo>
                      <a:pt x="1202" y="1063"/>
                    </a:lnTo>
                    <a:lnTo>
                      <a:pt x="1200" y="1065"/>
                    </a:lnTo>
                    <a:lnTo>
                      <a:pt x="1202" y="1065"/>
                    </a:lnTo>
                    <a:lnTo>
                      <a:pt x="1203" y="1066"/>
                    </a:lnTo>
                    <a:lnTo>
                      <a:pt x="1202" y="1065"/>
                    </a:lnTo>
                    <a:lnTo>
                      <a:pt x="1203" y="1065"/>
                    </a:lnTo>
                    <a:lnTo>
                      <a:pt x="1203" y="1066"/>
                    </a:lnTo>
                    <a:lnTo>
                      <a:pt x="1202" y="1066"/>
                    </a:lnTo>
                    <a:lnTo>
                      <a:pt x="1200" y="1066"/>
                    </a:lnTo>
                    <a:lnTo>
                      <a:pt x="1198" y="1066"/>
                    </a:lnTo>
                    <a:lnTo>
                      <a:pt x="1196" y="1065"/>
                    </a:lnTo>
                    <a:lnTo>
                      <a:pt x="1196" y="1063"/>
                    </a:lnTo>
                    <a:lnTo>
                      <a:pt x="1198" y="1063"/>
                    </a:lnTo>
                    <a:lnTo>
                      <a:pt x="1198" y="1061"/>
                    </a:lnTo>
                    <a:close/>
                    <a:moveTo>
                      <a:pt x="1198" y="1442"/>
                    </a:moveTo>
                    <a:lnTo>
                      <a:pt x="1200" y="1442"/>
                    </a:lnTo>
                    <a:lnTo>
                      <a:pt x="1200" y="1444"/>
                    </a:lnTo>
                    <a:lnTo>
                      <a:pt x="1200" y="1446"/>
                    </a:lnTo>
                    <a:lnTo>
                      <a:pt x="1202" y="1444"/>
                    </a:lnTo>
                    <a:lnTo>
                      <a:pt x="1202" y="1446"/>
                    </a:lnTo>
                    <a:lnTo>
                      <a:pt x="1202" y="1447"/>
                    </a:lnTo>
                    <a:lnTo>
                      <a:pt x="1202" y="1449"/>
                    </a:lnTo>
                    <a:lnTo>
                      <a:pt x="1202" y="1447"/>
                    </a:lnTo>
                    <a:lnTo>
                      <a:pt x="1203" y="1447"/>
                    </a:lnTo>
                    <a:lnTo>
                      <a:pt x="1202" y="1447"/>
                    </a:lnTo>
                    <a:lnTo>
                      <a:pt x="1203" y="1446"/>
                    </a:lnTo>
                    <a:lnTo>
                      <a:pt x="1203" y="1447"/>
                    </a:lnTo>
                    <a:lnTo>
                      <a:pt x="1205" y="1449"/>
                    </a:lnTo>
                    <a:lnTo>
                      <a:pt x="1205" y="1451"/>
                    </a:lnTo>
                    <a:lnTo>
                      <a:pt x="1203" y="1449"/>
                    </a:lnTo>
                    <a:lnTo>
                      <a:pt x="1203" y="1451"/>
                    </a:lnTo>
                    <a:lnTo>
                      <a:pt x="1203" y="1453"/>
                    </a:lnTo>
                    <a:lnTo>
                      <a:pt x="1202" y="1451"/>
                    </a:lnTo>
                    <a:lnTo>
                      <a:pt x="1202" y="1449"/>
                    </a:lnTo>
                    <a:lnTo>
                      <a:pt x="1200" y="1449"/>
                    </a:lnTo>
                    <a:lnTo>
                      <a:pt x="1202" y="1447"/>
                    </a:lnTo>
                    <a:lnTo>
                      <a:pt x="1200" y="1449"/>
                    </a:lnTo>
                    <a:lnTo>
                      <a:pt x="1200" y="1447"/>
                    </a:lnTo>
                    <a:lnTo>
                      <a:pt x="1200" y="1446"/>
                    </a:lnTo>
                    <a:lnTo>
                      <a:pt x="1200" y="1447"/>
                    </a:lnTo>
                    <a:lnTo>
                      <a:pt x="1200" y="1446"/>
                    </a:lnTo>
                    <a:lnTo>
                      <a:pt x="1198" y="1446"/>
                    </a:lnTo>
                    <a:lnTo>
                      <a:pt x="1198" y="1444"/>
                    </a:lnTo>
                    <a:lnTo>
                      <a:pt x="1198" y="1442"/>
                    </a:lnTo>
                    <a:close/>
                    <a:moveTo>
                      <a:pt x="1263" y="1565"/>
                    </a:moveTo>
                    <a:lnTo>
                      <a:pt x="1261" y="1566"/>
                    </a:lnTo>
                    <a:lnTo>
                      <a:pt x="1261" y="1568"/>
                    </a:lnTo>
                    <a:lnTo>
                      <a:pt x="1261" y="1566"/>
                    </a:lnTo>
                    <a:lnTo>
                      <a:pt x="1261" y="1568"/>
                    </a:lnTo>
                    <a:lnTo>
                      <a:pt x="1261" y="1570"/>
                    </a:lnTo>
                    <a:lnTo>
                      <a:pt x="1259" y="1570"/>
                    </a:lnTo>
                    <a:lnTo>
                      <a:pt x="1261" y="1570"/>
                    </a:lnTo>
                    <a:lnTo>
                      <a:pt x="1261" y="1568"/>
                    </a:lnTo>
                    <a:lnTo>
                      <a:pt x="1263" y="1570"/>
                    </a:lnTo>
                    <a:lnTo>
                      <a:pt x="1261" y="1570"/>
                    </a:lnTo>
                    <a:lnTo>
                      <a:pt x="1261" y="1572"/>
                    </a:lnTo>
                    <a:lnTo>
                      <a:pt x="1261" y="1570"/>
                    </a:lnTo>
                    <a:lnTo>
                      <a:pt x="1259" y="1570"/>
                    </a:lnTo>
                    <a:lnTo>
                      <a:pt x="1259" y="1568"/>
                    </a:lnTo>
                    <a:lnTo>
                      <a:pt x="1258" y="1568"/>
                    </a:lnTo>
                    <a:lnTo>
                      <a:pt x="1256" y="1568"/>
                    </a:lnTo>
                    <a:lnTo>
                      <a:pt x="1256" y="1566"/>
                    </a:lnTo>
                    <a:lnTo>
                      <a:pt x="1258" y="1566"/>
                    </a:lnTo>
                    <a:lnTo>
                      <a:pt x="1258" y="1565"/>
                    </a:lnTo>
                    <a:lnTo>
                      <a:pt x="1259" y="1565"/>
                    </a:lnTo>
                    <a:lnTo>
                      <a:pt x="1261" y="1563"/>
                    </a:lnTo>
                    <a:lnTo>
                      <a:pt x="1263" y="1565"/>
                    </a:lnTo>
                    <a:close/>
                    <a:moveTo>
                      <a:pt x="1166" y="1413"/>
                    </a:moveTo>
                    <a:lnTo>
                      <a:pt x="1168" y="1413"/>
                    </a:lnTo>
                    <a:lnTo>
                      <a:pt x="1168" y="1415"/>
                    </a:lnTo>
                    <a:lnTo>
                      <a:pt x="1169" y="1413"/>
                    </a:lnTo>
                    <a:lnTo>
                      <a:pt x="1169" y="1415"/>
                    </a:lnTo>
                    <a:lnTo>
                      <a:pt x="1168" y="1417"/>
                    </a:lnTo>
                    <a:lnTo>
                      <a:pt x="1166" y="1417"/>
                    </a:lnTo>
                    <a:lnTo>
                      <a:pt x="1164" y="1415"/>
                    </a:lnTo>
                    <a:lnTo>
                      <a:pt x="1164" y="1417"/>
                    </a:lnTo>
                    <a:lnTo>
                      <a:pt x="1162" y="1417"/>
                    </a:lnTo>
                    <a:lnTo>
                      <a:pt x="1162" y="1415"/>
                    </a:lnTo>
                    <a:lnTo>
                      <a:pt x="1162" y="1413"/>
                    </a:lnTo>
                    <a:lnTo>
                      <a:pt x="1164" y="1413"/>
                    </a:lnTo>
                    <a:lnTo>
                      <a:pt x="1166" y="1413"/>
                    </a:lnTo>
                    <a:lnTo>
                      <a:pt x="1166" y="1415"/>
                    </a:lnTo>
                    <a:lnTo>
                      <a:pt x="1166" y="1413"/>
                    </a:lnTo>
                    <a:lnTo>
                      <a:pt x="1164" y="1413"/>
                    </a:lnTo>
                    <a:lnTo>
                      <a:pt x="1164" y="1412"/>
                    </a:lnTo>
                    <a:lnTo>
                      <a:pt x="1166" y="1413"/>
                    </a:lnTo>
                    <a:close/>
                    <a:moveTo>
                      <a:pt x="1183" y="1126"/>
                    </a:moveTo>
                    <a:lnTo>
                      <a:pt x="1181" y="1126"/>
                    </a:lnTo>
                    <a:lnTo>
                      <a:pt x="1181" y="1128"/>
                    </a:lnTo>
                    <a:lnTo>
                      <a:pt x="1181" y="1129"/>
                    </a:lnTo>
                    <a:lnTo>
                      <a:pt x="1181" y="1131"/>
                    </a:lnTo>
                    <a:lnTo>
                      <a:pt x="1181" y="1133"/>
                    </a:lnTo>
                    <a:lnTo>
                      <a:pt x="1179" y="1133"/>
                    </a:lnTo>
                    <a:lnTo>
                      <a:pt x="1179" y="1131"/>
                    </a:lnTo>
                    <a:lnTo>
                      <a:pt x="1178" y="1131"/>
                    </a:lnTo>
                    <a:lnTo>
                      <a:pt x="1178" y="1129"/>
                    </a:lnTo>
                    <a:lnTo>
                      <a:pt x="1178" y="1128"/>
                    </a:lnTo>
                    <a:lnTo>
                      <a:pt x="1179" y="1128"/>
                    </a:lnTo>
                    <a:lnTo>
                      <a:pt x="1179" y="1126"/>
                    </a:lnTo>
                    <a:lnTo>
                      <a:pt x="1181" y="1126"/>
                    </a:lnTo>
                    <a:lnTo>
                      <a:pt x="1183" y="1126"/>
                    </a:lnTo>
                    <a:close/>
                    <a:moveTo>
                      <a:pt x="1142" y="1301"/>
                    </a:moveTo>
                    <a:lnTo>
                      <a:pt x="1144" y="1303"/>
                    </a:lnTo>
                    <a:lnTo>
                      <a:pt x="1145" y="1303"/>
                    </a:lnTo>
                    <a:lnTo>
                      <a:pt x="1145" y="1305"/>
                    </a:lnTo>
                    <a:lnTo>
                      <a:pt x="1147" y="1305"/>
                    </a:lnTo>
                    <a:lnTo>
                      <a:pt x="1147" y="1306"/>
                    </a:lnTo>
                    <a:lnTo>
                      <a:pt x="1145" y="1306"/>
                    </a:lnTo>
                    <a:lnTo>
                      <a:pt x="1145" y="1305"/>
                    </a:lnTo>
                    <a:lnTo>
                      <a:pt x="1145" y="1306"/>
                    </a:lnTo>
                    <a:lnTo>
                      <a:pt x="1144" y="1305"/>
                    </a:lnTo>
                    <a:lnTo>
                      <a:pt x="1144" y="1306"/>
                    </a:lnTo>
                    <a:lnTo>
                      <a:pt x="1142" y="1305"/>
                    </a:lnTo>
                    <a:lnTo>
                      <a:pt x="1142" y="1303"/>
                    </a:lnTo>
                    <a:lnTo>
                      <a:pt x="1140" y="1303"/>
                    </a:lnTo>
                    <a:lnTo>
                      <a:pt x="1139" y="1303"/>
                    </a:lnTo>
                    <a:lnTo>
                      <a:pt x="1140" y="1301"/>
                    </a:lnTo>
                    <a:lnTo>
                      <a:pt x="1142" y="1301"/>
                    </a:lnTo>
                    <a:close/>
                    <a:moveTo>
                      <a:pt x="1210" y="990"/>
                    </a:moveTo>
                    <a:lnTo>
                      <a:pt x="1210" y="992"/>
                    </a:lnTo>
                    <a:lnTo>
                      <a:pt x="1210" y="993"/>
                    </a:lnTo>
                    <a:lnTo>
                      <a:pt x="1210" y="995"/>
                    </a:lnTo>
                    <a:lnTo>
                      <a:pt x="1212" y="997"/>
                    </a:lnTo>
                    <a:lnTo>
                      <a:pt x="1212" y="995"/>
                    </a:lnTo>
                    <a:lnTo>
                      <a:pt x="1212" y="997"/>
                    </a:lnTo>
                    <a:lnTo>
                      <a:pt x="1210" y="997"/>
                    </a:lnTo>
                    <a:lnTo>
                      <a:pt x="1210" y="995"/>
                    </a:lnTo>
                    <a:lnTo>
                      <a:pt x="1208" y="995"/>
                    </a:lnTo>
                    <a:lnTo>
                      <a:pt x="1208" y="993"/>
                    </a:lnTo>
                    <a:lnTo>
                      <a:pt x="1207" y="993"/>
                    </a:lnTo>
                    <a:lnTo>
                      <a:pt x="1207" y="995"/>
                    </a:lnTo>
                    <a:lnTo>
                      <a:pt x="1205" y="993"/>
                    </a:lnTo>
                    <a:lnTo>
                      <a:pt x="1205" y="992"/>
                    </a:lnTo>
                    <a:lnTo>
                      <a:pt x="1207" y="992"/>
                    </a:lnTo>
                    <a:lnTo>
                      <a:pt x="1208" y="992"/>
                    </a:lnTo>
                    <a:lnTo>
                      <a:pt x="1210" y="992"/>
                    </a:lnTo>
                    <a:lnTo>
                      <a:pt x="1210" y="990"/>
                    </a:lnTo>
                    <a:close/>
                    <a:moveTo>
                      <a:pt x="1202" y="1524"/>
                    </a:moveTo>
                    <a:lnTo>
                      <a:pt x="1202" y="1526"/>
                    </a:lnTo>
                    <a:lnTo>
                      <a:pt x="1202" y="1527"/>
                    </a:lnTo>
                    <a:lnTo>
                      <a:pt x="1203" y="1527"/>
                    </a:lnTo>
                    <a:lnTo>
                      <a:pt x="1203" y="1529"/>
                    </a:lnTo>
                    <a:lnTo>
                      <a:pt x="1205" y="1529"/>
                    </a:lnTo>
                    <a:lnTo>
                      <a:pt x="1203" y="1529"/>
                    </a:lnTo>
                    <a:lnTo>
                      <a:pt x="1203" y="1531"/>
                    </a:lnTo>
                    <a:lnTo>
                      <a:pt x="1202" y="1529"/>
                    </a:lnTo>
                    <a:lnTo>
                      <a:pt x="1202" y="1527"/>
                    </a:lnTo>
                    <a:lnTo>
                      <a:pt x="1200" y="1527"/>
                    </a:lnTo>
                    <a:lnTo>
                      <a:pt x="1200" y="1526"/>
                    </a:lnTo>
                    <a:lnTo>
                      <a:pt x="1200" y="1527"/>
                    </a:lnTo>
                    <a:lnTo>
                      <a:pt x="1198" y="1527"/>
                    </a:lnTo>
                    <a:lnTo>
                      <a:pt x="1198" y="1526"/>
                    </a:lnTo>
                    <a:lnTo>
                      <a:pt x="1198" y="1524"/>
                    </a:lnTo>
                    <a:lnTo>
                      <a:pt x="1200" y="1524"/>
                    </a:lnTo>
                    <a:lnTo>
                      <a:pt x="1202" y="1524"/>
                    </a:lnTo>
                    <a:close/>
                    <a:moveTo>
                      <a:pt x="1176" y="1413"/>
                    </a:moveTo>
                    <a:lnTo>
                      <a:pt x="1176" y="1415"/>
                    </a:lnTo>
                    <a:lnTo>
                      <a:pt x="1178" y="1417"/>
                    </a:lnTo>
                    <a:lnTo>
                      <a:pt x="1176" y="1417"/>
                    </a:lnTo>
                    <a:lnTo>
                      <a:pt x="1174" y="1417"/>
                    </a:lnTo>
                    <a:lnTo>
                      <a:pt x="1174" y="1418"/>
                    </a:lnTo>
                    <a:lnTo>
                      <a:pt x="1173" y="1418"/>
                    </a:lnTo>
                    <a:lnTo>
                      <a:pt x="1173" y="1417"/>
                    </a:lnTo>
                    <a:lnTo>
                      <a:pt x="1171" y="1417"/>
                    </a:lnTo>
                    <a:lnTo>
                      <a:pt x="1171" y="1415"/>
                    </a:lnTo>
                    <a:lnTo>
                      <a:pt x="1173" y="1415"/>
                    </a:lnTo>
                    <a:lnTo>
                      <a:pt x="1171" y="1415"/>
                    </a:lnTo>
                    <a:lnTo>
                      <a:pt x="1173" y="1415"/>
                    </a:lnTo>
                    <a:lnTo>
                      <a:pt x="1174" y="1415"/>
                    </a:lnTo>
                    <a:lnTo>
                      <a:pt x="1174" y="1413"/>
                    </a:lnTo>
                    <a:lnTo>
                      <a:pt x="1176" y="1413"/>
                    </a:lnTo>
                    <a:lnTo>
                      <a:pt x="1176" y="1412"/>
                    </a:lnTo>
                    <a:lnTo>
                      <a:pt x="1176" y="1413"/>
                    </a:lnTo>
                    <a:close/>
                    <a:moveTo>
                      <a:pt x="1186" y="1068"/>
                    </a:moveTo>
                    <a:lnTo>
                      <a:pt x="1188" y="1070"/>
                    </a:lnTo>
                    <a:lnTo>
                      <a:pt x="1188" y="1071"/>
                    </a:lnTo>
                    <a:lnTo>
                      <a:pt x="1186" y="1071"/>
                    </a:lnTo>
                    <a:lnTo>
                      <a:pt x="1185" y="1071"/>
                    </a:lnTo>
                    <a:lnTo>
                      <a:pt x="1183" y="1070"/>
                    </a:lnTo>
                    <a:lnTo>
                      <a:pt x="1183" y="1068"/>
                    </a:lnTo>
                    <a:lnTo>
                      <a:pt x="1185" y="1068"/>
                    </a:lnTo>
                    <a:lnTo>
                      <a:pt x="1186" y="1068"/>
                    </a:lnTo>
                    <a:close/>
                    <a:moveTo>
                      <a:pt x="1205" y="1548"/>
                    </a:moveTo>
                    <a:lnTo>
                      <a:pt x="1207" y="1548"/>
                    </a:lnTo>
                    <a:lnTo>
                      <a:pt x="1207" y="1549"/>
                    </a:lnTo>
                    <a:lnTo>
                      <a:pt x="1208" y="1549"/>
                    </a:lnTo>
                    <a:lnTo>
                      <a:pt x="1207" y="1549"/>
                    </a:lnTo>
                    <a:lnTo>
                      <a:pt x="1208" y="1549"/>
                    </a:lnTo>
                    <a:lnTo>
                      <a:pt x="1208" y="1551"/>
                    </a:lnTo>
                    <a:lnTo>
                      <a:pt x="1207" y="1551"/>
                    </a:lnTo>
                    <a:lnTo>
                      <a:pt x="1205" y="1551"/>
                    </a:lnTo>
                    <a:lnTo>
                      <a:pt x="1205" y="1549"/>
                    </a:lnTo>
                    <a:lnTo>
                      <a:pt x="1203" y="1548"/>
                    </a:lnTo>
                    <a:lnTo>
                      <a:pt x="1203" y="1549"/>
                    </a:lnTo>
                    <a:lnTo>
                      <a:pt x="1203" y="1551"/>
                    </a:lnTo>
                    <a:lnTo>
                      <a:pt x="1202" y="1551"/>
                    </a:lnTo>
                    <a:lnTo>
                      <a:pt x="1203" y="1549"/>
                    </a:lnTo>
                    <a:lnTo>
                      <a:pt x="1202" y="1549"/>
                    </a:lnTo>
                    <a:lnTo>
                      <a:pt x="1200" y="1549"/>
                    </a:lnTo>
                    <a:lnTo>
                      <a:pt x="1200" y="1548"/>
                    </a:lnTo>
                    <a:lnTo>
                      <a:pt x="1202" y="1548"/>
                    </a:lnTo>
                    <a:lnTo>
                      <a:pt x="1203" y="1549"/>
                    </a:lnTo>
                    <a:lnTo>
                      <a:pt x="1202" y="1548"/>
                    </a:lnTo>
                    <a:lnTo>
                      <a:pt x="1203" y="1548"/>
                    </a:lnTo>
                    <a:lnTo>
                      <a:pt x="1203" y="1546"/>
                    </a:lnTo>
                    <a:lnTo>
                      <a:pt x="1205" y="1546"/>
                    </a:lnTo>
                    <a:lnTo>
                      <a:pt x="1205" y="1548"/>
                    </a:lnTo>
                    <a:close/>
                    <a:moveTo>
                      <a:pt x="1229" y="1558"/>
                    </a:moveTo>
                    <a:lnTo>
                      <a:pt x="1230" y="1558"/>
                    </a:lnTo>
                    <a:lnTo>
                      <a:pt x="1232" y="1560"/>
                    </a:lnTo>
                    <a:lnTo>
                      <a:pt x="1234" y="1560"/>
                    </a:lnTo>
                    <a:lnTo>
                      <a:pt x="1234" y="1561"/>
                    </a:lnTo>
                    <a:lnTo>
                      <a:pt x="1232" y="1560"/>
                    </a:lnTo>
                    <a:lnTo>
                      <a:pt x="1232" y="1561"/>
                    </a:lnTo>
                    <a:lnTo>
                      <a:pt x="1232" y="1560"/>
                    </a:lnTo>
                    <a:lnTo>
                      <a:pt x="1230" y="1561"/>
                    </a:lnTo>
                    <a:lnTo>
                      <a:pt x="1229" y="1561"/>
                    </a:lnTo>
                    <a:lnTo>
                      <a:pt x="1227" y="1561"/>
                    </a:lnTo>
                    <a:lnTo>
                      <a:pt x="1225" y="1561"/>
                    </a:lnTo>
                    <a:lnTo>
                      <a:pt x="1227" y="1560"/>
                    </a:lnTo>
                    <a:lnTo>
                      <a:pt x="1229" y="1560"/>
                    </a:lnTo>
                    <a:lnTo>
                      <a:pt x="1229" y="1561"/>
                    </a:lnTo>
                    <a:lnTo>
                      <a:pt x="1229" y="1560"/>
                    </a:lnTo>
                    <a:lnTo>
                      <a:pt x="1227" y="1560"/>
                    </a:lnTo>
                    <a:lnTo>
                      <a:pt x="1229" y="1558"/>
                    </a:lnTo>
                    <a:lnTo>
                      <a:pt x="1227" y="1558"/>
                    </a:lnTo>
                    <a:lnTo>
                      <a:pt x="1229" y="1558"/>
                    </a:lnTo>
                    <a:close/>
                    <a:moveTo>
                      <a:pt x="1411" y="1662"/>
                    </a:moveTo>
                    <a:lnTo>
                      <a:pt x="1412" y="1663"/>
                    </a:lnTo>
                    <a:lnTo>
                      <a:pt x="1412" y="1665"/>
                    </a:lnTo>
                    <a:lnTo>
                      <a:pt x="1412" y="1667"/>
                    </a:lnTo>
                    <a:lnTo>
                      <a:pt x="1414" y="1667"/>
                    </a:lnTo>
                    <a:lnTo>
                      <a:pt x="1414" y="1669"/>
                    </a:lnTo>
                    <a:lnTo>
                      <a:pt x="1412" y="1669"/>
                    </a:lnTo>
                    <a:lnTo>
                      <a:pt x="1412" y="1667"/>
                    </a:lnTo>
                    <a:lnTo>
                      <a:pt x="1411" y="1667"/>
                    </a:lnTo>
                    <a:lnTo>
                      <a:pt x="1411" y="1669"/>
                    </a:lnTo>
                    <a:lnTo>
                      <a:pt x="1409" y="1669"/>
                    </a:lnTo>
                    <a:lnTo>
                      <a:pt x="1407" y="1669"/>
                    </a:lnTo>
                    <a:lnTo>
                      <a:pt x="1409" y="1667"/>
                    </a:lnTo>
                    <a:lnTo>
                      <a:pt x="1409" y="1665"/>
                    </a:lnTo>
                    <a:lnTo>
                      <a:pt x="1411" y="1667"/>
                    </a:lnTo>
                    <a:lnTo>
                      <a:pt x="1409" y="1665"/>
                    </a:lnTo>
                    <a:lnTo>
                      <a:pt x="1409" y="1663"/>
                    </a:lnTo>
                    <a:lnTo>
                      <a:pt x="1409" y="1662"/>
                    </a:lnTo>
                    <a:lnTo>
                      <a:pt x="1411" y="1662"/>
                    </a:lnTo>
                    <a:close/>
                    <a:moveTo>
                      <a:pt x="1207" y="1245"/>
                    </a:moveTo>
                    <a:lnTo>
                      <a:pt x="1208" y="1245"/>
                    </a:lnTo>
                    <a:lnTo>
                      <a:pt x="1208" y="1247"/>
                    </a:lnTo>
                    <a:lnTo>
                      <a:pt x="1208" y="1248"/>
                    </a:lnTo>
                    <a:lnTo>
                      <a:pt x="1208" y="1250"/>
                    </a:lnTo>
                    <a:lnTo>
                      <a:pt x="1208" y="1252"/>
                    </a:lnTo>
                    <a:lnTo>
                      <a:pt x="1207" y="1252"/>
                    </a:lnTo>
                    <a:lnTo>
                      <a:pt x="1208" y="1250"/>
                    </a:lnTo>
                    <a:lnTo>
                      <a:pt x="1207" y="1250"/>
                    </a:lnTo>
                    <a:lnTo>
                      <a:pt x="1205" y="1250"/>
                    </a:lnTo>
                    <a:lnTo>
                      <a:pt x="1205" y="1248"/>
                    </a:lnTo>
                    <a:lnTo>
                      <a:pt x="1207" y="1248"/>
                    </a:lnTo>
                    <a:lnTo>
                      <a:pt x="1205" y="1248"/>
                    </a:lnTo>
                    <a:lnTo>
                      <a:pt x="1205" y="1247"/>
                    </a:lnTo>
                    <a:lnTo>
                      <a:pt x="1205" y="1245"/>
                    </a:lnTo>
                    <a:lnTo>
                      <a:pt x="1207" y="1245"/>
                    </a:lnTo>
                    <a:close/>
                    <a:moveTo>
                      <a:pt x="1156" y="1311"/>
                    </a:moveTo>
                    <a:lnTo>
                      <a:pt x="1157" y="1311"/>
                    </a:lnTo>
                    <a:lnTo>
                      <a:pt x="1157" y="1313"/>
                    </a:lnTo>
                    <a:lnTo>
                      <a:pt x="1159" y="1313"/>
                    </a:lnTo>
                    <a:lnTo>
                      <a:pt x="1159" y="1311"/>
                    </a:lnTo>
                    <a:lnTo>
                      <a:pt x="1161" y="1313"/>
                    </a:lnTo>
                    <a:lnTo>
                      <a:pt x="1159" y="1313"/>
                    </a:lnTo>
                    <a:lnTo>
                      <a:pt x="1161" y="1315"/>
                    </a:lnTo>
                    <a:lnTo>
                      <a:pt x="1159" y="1315"/>
                    </a:lnTo>
                    <a:lnTo>
                      <a:pt x="1157" y="1315"/>
                    </a:lnTo>
                    <a:lnTo>
                      <a:pt x="1156" y="1315"/>
                    </a:lnTo>
                    <a:lnTo>
                      <a:pt x="1156" y="1313"/>
                    </a:lnTo>
                    <a:lnTo>
                      <a:pt x="1156" y="1311"/>
                    </a:lnTo>
                    <a:close/>
                    <a:moveTo>
                      <a:pt x="1193" y="1531"/>
                    </a:moveTo>
                    <a:lnTo>
                      <a:pt x="1193" y="1532"/>
                    </a:lnTo>
                    <a:lnTo>
                      <a:pt x="1195" y="1532"/>
                    </a:lnTo>
                    <a:lnTo>
                      <a:pt x="1193" y="1534"/>
                    </a:lnTo>
                    <a:lnTo>
                      <a:pt x="1193" y="1536"/>
                    </a:lnTo>
                    <a:lnTo>
                      <a:pt x="1191" y="1536"/>
                    </a:lnTo>
                    <a:lnTo>
                      <a:pt x="1190" y="1536"/>
                    </a:lnTo>
                    <a:lnTo>
                      <a:pt x="1190" y="1538"/>
                    </a:lnTo>
                    <a:lnTo>
                      <a:pt x="1188" y="1538"/>
                    </a:lnTo>
                    <a:lnTo>
                      <a:pt x="1188" y="1536"/>
                    </a:lnTo>
                    <a:lnTo>
                      <a:pt x="1186" y="1536"/>
                    </a:lnTo>
                    <a:lnTo>
                      <a:pt x="1188" y="1534"/>
                    </a:lnTo>
                    <a:lnTo>
                      <a:pt x="1190" y="1534"/>
                    </a:lnTo>
                    <a:lnTo>
                      <a:pt x="1190" y="1532"/>
                    </a:lnTo>
                    <a:lnTo>
                      <a:pt x="1191" y="1532"/>
                    </a:lnTo>
                    <a:lnTo>
                      <a:pt x="1193" y="1531"/>
                    </a:lnTo>
                    <a:close/>
                    <a:moveTo>
                      <a:pt x="1169" y="1083"/>
                    </a:moveTo>
                    <a:lnTo>
                      <a:pt x="1171" y="1083"/>
                    </a:lnTo>
                    <a:lnTo>
                      <a:pt x="1173" y="1085"/>
                    </a:lnTo>
                    <a:lnTo>
                      <a:pt x="1171" y="1085"/>
                    </a:lnTo>
                    <a:lnTo>
                      <a:pt x="1173" y="1087"/>
                    </a:lnTo>
                    <a:lnTo>
                      <a:pt x="1171" y="1087"/>
                    </a:lnTo>
                    <a:lnTo>
                      <a:pt x="1173" y="1088"/>
                    </a:lnTo>
                    <a:lnTo>
                      <a:pt x="1171" y="1088"/>
                    </a:lnTo>
                    <a:lnTo>
                      <a:pt x="1169" y="1088"/>
                    </a:lnTo>
                    <a:lnTo>
                      <a:pt x="1169" y="1087"/>
                    </a:lnTo>
                    <a:lnTo>
                      <a:pt x="1169" y="1085"/>
                    </a:lnTo>
                    <a:lnTo>
                      <a:pt x="1169" y="1083"/>
                    </a:lnTo>
                    <a:close/>
                    <a:moveTo>
                      <a:pt x="1423" y="1680"/>
                    </a:moveTo>
                    <a:lnTo>
                      <a:pt x="1424" y="1682"/>
                    </a:lnTo>
                    <a:lnTo>
                      <a:pt x="1426" y="1684"/>
                    </a:lnTo>
                    <a:lnTo>
                      <a:pt x="1426" y="1686"/>
                    </a:lnTo>
                    <a:lnTo>
                      <a:pt x="1424" y="1686"/>
                    </a:lnTo>
                    <a:lnTo>
                      <a:pt x="1423" y="1684"/>
                    </a:lnTo>
                    <a:lnTo>
                      <a:pt x="1421" y="1684"/>
                    </a:lnTo>
                    <a:lnTo>
                      <a:pt x="1421" y="1682"/>
                    </a:lnTo>
                    <a:lnTo>
                      <a:pt x="1421" y="1680"/>
                    </a:lnTo>
                    <a:lnTo>
                      <a:pt x="1419" y="1682"/>
                    </a:lnTo>
                    <a:lnTo>
                      <a:pt x="1417" y="1680"/>
                    </a:lnTo>
                    <a:lnTo>
                      <a:pt x="1419" y="1680"/>
                    </a:lnTo>
                    <a:lnTo>
                      <a:pt x="1421" y="1680"/>
                    </a:lnTo>
                    <a:lnTo>
                      <a:pt x="1423" y="1680"/>
                    </a:lnTo>
                    <a:close/>
                    <a:moveTo>
                      <a:pt x="1251" y="1549"/>
                    </a:moveTo>
                    <a:lnTo>
                      <a:pt x="1249" y="1549"/>
                    </a:lnTo>
                    <a:lnTo>
                      <a:pt x="1251" y="1549"/>
                    </a:lnTo>
                    <a:lnTo>
                      <a:pt x="1251" y="1551"/>
                    </a:lnTo>
                    <a:lnTo>
                      <a:pt x="1253" y="1551"/>
                    </a:lnTo>
                    <a:lnTo>
                      <a:pt x="1254" y="1551"/>
                    </a:lnTo>
                    <a:lnTo>
                      <a:pt x="1253" y="1553"/>
                    </a:lnTo>
                    <a:lnTo>
                      <a:pt x="1254" y="1553"/>
                    </a:lnTo>
                    <a:lnTo>
                      <a:pt x="1256" y="1555"/>
                    </a:lnTo>
                    <a:lnTo>
                      <a:pt x="1254" y="1555"/>
                    </a:lnTo>
                    <a:lnTo>
                      <a:pt x="1254" y="1556"/>
                    </a:lnTo>
                    <a:lnTo>
                      <a:pt x="1253" y="1555"/>
                    </a:lnTo>
                    <a:lnTo>
                      <a:pt x="1251" y="1555"/>
                    </a:lnTo>
                    <a:lnTo>
                      <a:pt x="1251" y="1553"/>
                    </a:lnTo>
                    <a:lnTo>
                      <a:pt x="1249" y="1553"/>
                    </a:lnTo>
                    <a:lnTo>
                      <a:pt x="1249" y="1551"/>
                    </a:lnTo>
                    <a:lnTo>
                      <a:pt x="1249" y="1549"/>
                    </a:lnTo>
                    <a:lnTo>
                      <a:pt x="1251" y="1549"/>
                    </a:lnTo>
                    <a:close/>
                    <a:moveTo>
                      <a:pt x="1332" y="1652"/>
                    </a:moveTo>
                    <a:lnTo>
                      <a:pt x="1334" y="1652"/>
                    </a:lnTo>
                    <a:lnTo>
                      <a:pt x="1332" y="1653"/>
                    </a:lnTo>
                    <a:lnTo>
                      <a:pt x="1331" y="1653"/>
                    </a:lnTo>
                    <a:lnTo>
                      <a:pt x="1332" y="1653"/>
                    </a:lnTo>
                    <a:lnTo>
                      <a:pt x="1332" y="1655"/>
                    </a:lnTo>
                    <a:lnTo>
                      <a:pt x="1331" y="1655"/>
                    </a:lnTo>
                    <a:lnTo>
                      <a:pt x="1331" y="1657"/>
                    </a:lnTo>
                    <a:lnTo>
                      <a:pt x="1329" y="1657"/>
                    </a:lnTo>
                    <a:lnTo>
                      <a:pt x="1331" y="1655"/>
                    </a:lnTo>
                    <a:lnTo>
                      <a:pt x="1329" y="1655"/>
                    </a:lnTo>
                    <a:lnTo>
                      <a:pt x="1329" y="1653"/>
                    </a:lnTo>
                    <a:lnTo>
                      <a:pt x="1327" y="1653"/>
                    </a:lnTo>
                    <a:lnTo>
                      <a:pt x="1326" y="1653"/>
                    </a:lnTo>
                    <a:lnTo>
                      <a:pt x="1327" y="1652"/>
                    </a:lnTo>
                    <a:lnTo>
                      <a:pt x="1326" y="1652"/>
                    </a:lnTo>
                    <a:lnTo>
                      <a:pt x="1327" y="1652"/>
                    </a:lnTo>
                    <a:lnTo>
                      <a:pt x="1329" y="1652"/>
                    </a:lnTo>
                    <a:lnTo>
                      <a:pt x="1329" y="1653"/>
                    </a:lnTo>
                    <a:lnTo>
                      <a:pt x="1331" y="1653"/>
                    </a:lnTo>
                    <a:lnTo>
                      <a:pt x="1331" y="1652"/>
                    </a:lnTo>
                    <a:lnTo>
                      <a:pt x="1332" y="1652"/>
                    </a:lnTo>
                    <a:close/>
                    <a:moveTo>
                      <a:pt x="1339" y="1655"/>
                    </a:moveTo>
                    <a:lnTo>
                      <a:pt x="1341" y="1655"/>
                    </a:lnTo>
                    <a:lnTo>
                      <a:pt x="1343" y="1655"/>
                    </a:lnTo>
                    <a:lnTo>
                      <a:pt x="1343" y="1657"/>
                    </a:lnTo>
                    <a:lnTo>
                      <a:pt x="1344" y="1657"/>
                    </a:lnTo>
                    <a:lnTo>
                      <a:pt x="1343" y="1658"/>
                    </a:lnTo>
                    <a:lnTo>
                      <a:pt x="1343" y="1657"/>
                    </a:lnTo>
                    <a:lnTo>
                      <a:pt x="1341" y="1657"/>
                    </a:lnTo>
                    <a:lnTo>
                      <a:pt x="1343" y="1658"/>
                    </a:lnTo>
                    <a:lnTo>
                      <a:pt x="1341" y="1658"/>
                    </a:lnTo>
                    <a:lnTo>
                      <a:pt x="1343" y="1658"/>
                    </a:lnTo>
                    <a:lnTo>
                      <a:pt x="1343" y="1660"/>
                    </a:lnTo>
                    <a:lnTo>
                      <a:pt x="1341" y="1658"/>
                    </a:lnTo>
                    <a:lnTo>
                      <a:pt x="1341" y="1660"/>
                    </a:lnTo>
                    <a:lnTo>
                      <a:pt x="1341" y="1658"/>
                    </a:lnTo>
                    <a:lnTo>
                      <a:pt x="1341" y="1660"/>
                    </a:lnTo>
                    <a:lnTo>
                      <a:pt x="1339" y="1658"/>
                    </a:lnTo>
                    <a:lnTo>
                      <a:pt x="1339" y="1660"/>
                    </a:lnTo>
                    <a:lnTo>
                      <a:pt x="1338" y="1660"/>
                    </a:lnTo>
                    <a:lnTo>
                      <a:pt x="1338" y="1658"/>
                    </a:lnTo>
                    <a:lnTo>
                      <a:pt x="1339" y="1658"/>
                    </a:lnTo>
                    <a:lnTo>
                      <a:pt x="1339" y="1657"/>
                    </a:lnTo>
                    <a:lnTo>
                      <a:pt x="1339" y="1655"/>
                    </a:lnTo>
                    <a:close/>
                    <a:moveTo>
                      <a:pt x="1212" y="1007"/>
                    </a:moveTo>
                    <a:lnTo>
                      <a:pt x="1213" y="1007"/>
                    </a:lnTo>
                    <a:lnTo>
                      <a:pt x="1215" y="1009"/>
                    </a:lnTo>
                    <a:lnTo>
                      <a:pt x="1217" y="1009"/>
                    </a:lnTo>
                    <a:lnTo>
                      <a:pt x="1217" y="1010"/>
                    </a:lnTo>
                    <a:lnTo>
                      <a:pt x="1219" y="1010"/>
                    </a:lnTo>
                    <a:lnTo>
                      <a:pt x="1219" y="1012"/>
                    </a:lnTo>
                    <a:lnTo>
                      <a:pt x="1219" y="1010"/>
                    </a:lnTo>
                    <a:lnTo>
                      <a:pt x="1217" y="1010"/>
                    </a:lnTo>
                    <a:lnTo>
                      <a:pt x="1215" y="1010"/>
                    </a:lnTo>
                    <a:lnTo>
                      <a:pt x="1213" y="1010"/>
                    </a:lnTo>
                    <a:lnTo>
                      <a:pt x="1213" y="1009"/>
                    </a:lnTo>
                    <a:lnTo>
                      <a:pt x="1212" y="1009"/>
                    </a:lnTo>
                    <a:lnTo>
                      <a:pt x="1210" y="1009"/>
                    </a:lnTo>
                    <a:lnTo>
                      <a:pt x="1210" y="1007"/>
                    </a:lnTo>
                    <a:lnTo>
                      <a:pt x="1212" y="1007"/>
                    </a:lnTo>
                    <a:close/>
                    <a:moveTo>
                      <a:pt x="1263" y="1609"/>
                    </a:moveTo>
                    <a:lnTo>
                      <a:pt x="1264" y="1611"/>
                    </a:lnTo>
                    <a:lnTo>
                      <a:pt x="1264" y="1612"/>
                    </a:lnTo>
                    <a:lnTo>
                      <a:pt x="1266" y="1612"/>
                    </a:lnTo>
                    <a:lnTo>
                      <a:pt x="1266" y="1614"/>
                    </a:lnTo>
                    <a:lnTo>
                      <a:pt x="1266" y="1612"/>
                    </a:lnTo>
                    <a:lnTo>
                      <a:pt x="1266" y="1614"/>
                    </a:lnTo>
                    <a:lnTo>
                      <a:pt x="1268" y="1614"/>
                    </a:lnTo>
                    <a:lnTo>
                      <a:pt x="1266" y="1614"/>
                    </a:lnTo>
                    <a:lnTo>
                      <a:pt x="1266" y="1616"/>
                    </a:lnTo>
                    <a:lnTo>
                      <a:pt x="1266" y="1618"/>
                    </a:lnTo>
                    <a:lnTo>
                      <a:pt x="1266" y="1616"/>
                    </a:lnTo>
                    <a:lnTo>
                      <a:pt x="1264" y="1616"/>
                    </a:lnTo>
                    <a:lnTo>
                      <a:pt x="1264" y="1614"/>
                    </a:lnTo>
                    <a:lnTo>
                      <a:pt x="1264" y="1612"/>
                    </a:lnTo>
                    <a:lnTo>
                      <a:pt x="1263" y="1614"/>
                    </a:lnTo>
                    <a:lnTo>
                      <a:pt x="1263" y="1612"/>
                    </a:lnTo>
                    <a:lnTo>
                      <a:pt x="1263" y="1611"/>
                    </a:lnTo>
                    <a:lnTo>
                      <a:pt x="1263" y="1612"/>
                    </a:lnTo>
                    <a:lnTo>
                      <a:pt x="1261" y="1612"/>
                    </a:lnTo>
                    <a:lnTo>
                      <a:pt x="1261" y="1611"/>
                    </a:lnTo>
                    <a:lnTo>
                      <a:pt x="1263" y="1609"/>
                    </a:lnTo>
                    <a:close/>
                    <a:moveTo>
                      <a:pt x="1168" y="1417"/>
                    </a:moveTo>
                    <a:lnTo>
                      <a:pt x="1169" y="1417"/>
                    </a:lnTo>
                    <a:lnTo>
                      <a:pt x="1169" y="1418"/>
                    </a:lnTo>
                    <a:lnTo>
                      <a:pt x="1168" y="1420"/>
                    </a:lnTo>
                    <a:lnTo>
                      <a:pt x="1166" y="1420"/>
                    </a:lnTo>
                    <a:lnTo>
                      <a:pt x="1168" y="1418"/>
                    </a:lnTo>
                    <a:lnTo>
                      <a:pt x="1166" y="1418"/>
                    </a:lnTo>
                    <a:lnTo>
                      <a:pt x="1164" y="1418"/>
                    </a:lnTo>
                    <a:lnTo>
                      <a:pt x="1164" y="1420"/>
                    </a:lnTo>
                    <a:lnTo>
                      <a:pt x="1162" y="1420"/>
                    </a:lnTo>
                    <a:lnTo>
                      <a:pt x="1162" y="1418"/>
                    </a:lnTo>
                    <a:lnTo>
                      <a:pt x="1164" y="1417"/>
                    </a:lnTo>
                    <a:lnTo>
                      <a:pt x="1166" y="1417"/>
                    </a:lnTo>
                    <a:lnTo>
                      <a:pt x="1168" y="1417"/>
                    </a:lnTo>
                    <a:close/>
                    <a:moveTo>
                      <a:pt x="1203" y="1075"/>
                    </a:moveTo>
                    <a:lnTo>
                      <a:pt x="1203" y="1077"/>
                    </a:lnTo>
                    <a:lnTo>
                      <a:pt x="1202" y="1077"/>
                    </a:lnTo>
                    <a:lnTo>
                      <a:pt x="1200" y="1078"/>
                    </a:lnTo>
                    <a:lnTo>
                      <a:pt x="1202" y="1077"/>
                    </a:lnTo>
                    <a:lnTo>
                      <a:pt x="1203" y="1077"/>
                    </a:lnTo>
                    <a:lnTo>
                      <a:pt x="1202" y="1078"/>
                    </a:lnTo>
                    <a:lnTo>
                      <a:pt x="1203" y="1077"/>
                    </a:lnTo>
                    <a:lnTo>
                      <a:pt x="1205" y="1077"/>
                    </a:lnTo>
                    <a:lnTo>
                      <a:pt x="1205" y="1078"/>
                    </a:lnTo>
                    <a:lnTo>
                      <a:pt x="1203" y="1078"/>
                    </a:lnTo>
                    <a:lnTo>
                      <a:pt x="1202" y="1078"/>
                    </a:lnTo>
                    <a:lnTo>
                      <a:pt x="1200" y="1078"/>
                    </a:lnTo>
                    <a:lnTo>
                      <a:pt x="1200" y="1077"/>
                    </a:lnTo>
                    <a:lnTo>
                      <a:pt x="1202" y="1075"/>
                    </a:lnTo>
                    <a:lnTo>
                      <a:pt x="1203" y="1075"/>
                    </a:lnTo>
                    <a:close/>
                    <a:moveTo>
                      <a:pt x="1222" y="1071"/>
                    </a:moveTo>
                    <a:lnTo>
                      <a:pt x="1222" y="1073"/>
                    </a:lnTo>
                    <a:lnTo>
                      <a:pt x="1224" y="1071"/>
                    </a:lnTo>
                    <a:lnTo>
                      <a:pt x="1224" y="1073"/>
                    </a:lnTo>
                    <a:lnTo>
                      <a:pt x="1225" y="1075"/>
                    </a:lnTo>
                    <a:lnTo>
                      <a:pt x="1224" y="1075"/>
                    </a:lnTo>
                    <a:lnTo>
                      <a:pt x="1222" y="1075"/>
                    </a:lnTo>
                    <a:lnTo>
                      <a:pt x="1220" y="1075"/>
                    </a:lnTo>
                    <a:lnTo>
                      <a:pt x="1220" y="1073"/>
                    </a:lnTo>
                    <a:lnTo>
                      <a:pt x="1222" y="1071"/>
                    </a:lnTo>
                    <a:close/>
                    <a:moveTo>
                      <a:pt x="1229" y="954"/>
                    </a:moveTo>
                    <a:lnTo>
                      <a:pt x="1229" y="956"/>
                    </a:lnTo>
                    <a:lnTo>
                      <a:pt x="1230" y="956"/>
                    </a:lnTo>
                    <a:lnTo>
                      <a:pt x="1230" y="957"/>
                    </a:lnTo>
                    <a:lnTo>
                      <a:pt x="1230" y="959"/>
                    </a:lnTo>
                    <a:lnTo>
                      <a:pt x="1229" y="957"/>
                    </a:lnTo>
                    <a:lnTo>
                      <a:pt x="1227" y="957"/>
                    </a:lnTo>
                    <a:lnTo>
                      <a:pt x="1227" y="956"/>
                    </a:lnTo>
                    <a:lnTo>
                      <a:pt x="1225" y="956"/>
                    </a:lnTo>
                    <a:lnTo>
                      <a:pt x="1227" y="956"/>
                    </a:lnTo>
                    <a:lnTo>
                      <a:pt x="1229" y="956"/>
                    </a:lnTo>
                    <a:lnTo>
                      <a:pt x="1227" y="956"/>
                    </a:lnTo>
                    <a:lnTo>
                      <a:pt x="1227" y="954"/>
                    </a:lnTo>
                    <a:lnTo>
                      <a:pt x="1227" y="952"/>
                    </a:lnTo>
                    <a:lnTo>
                      <a:pt x="1227" y="954"/>
                    </a:lnTo>
                    <a:lnTo>
                      <a:pt x="1227" y="952"/>
                    </a:lnTo>
                    <a:lnTo>
                      <a:pt x="1229" y="952"/>
                    </a:lnTo>
                    <a:lnTo>
                      <a:pt x="1229" y="954"/>
                    </a:lnTo>
                    <a:close/>
                    <a:moveTo>
                      <a:pt x="1208" y="1073"/>
                    </a:moveTo>
                    <a:lnTo>
                      <a:pt x="1208" y="1075"/>
                    </a:lnTo>
                    <a:lnTo>
                      <a:pt x="1207" y="1075"/>
                    </a:lnTo>
                    <a:lnTo>
                      <a:pt x="1207" y="1077"/>
                    </a:lnTo>
                    <a:lnTo>
                      <a:pt x="1208" y="1077"/>
                    </a:lnTo>
                    <a:lnTo>
                      <a:pt x="1208" y="1078"/>
                    </a:lnTo>
                    <a:lnTo>
                      <a:pt x="1207" y="1078"/>
                    </a:lnTo>
                    <a:lnTo>
                      <a:pt x="1205" y="1077"/>
                    </a:lnTo>
                    <a:lnTo>
                      <a:pt x="1205" y="1075"/>
                    </a:lnTo>
                    <a:lnTo>
                      <a:pt x="1203" y="1075"/>
                    </a:lnTo>
                    <a:lnTo>
                      <a:pt x="1205" y="1075"/>
                    </a:lnTo>
                    <a:lnTo>
                      <a:pt x="1207" y="1073"/>
                    </a:lnTo>
                    <a:lnTo>
                      <a:pt x="1207" y="1075"/>
                    </a:lnTo>
                    <a:lnTo>
                      <a:pt x="1208" y="1075"/>
                    </a:lnTo>
                    <a:lnTo>
                      <a:pt x="1207" y="1073"/>
                    </a:lnTo>
                    <a:lnTo>
                      <a:pt x="1208" y="1073"/>
                    </a:lnTo>
                    <a:close/>
                    <a:moveTo>
                      <a:pt x="1166" y="1420"/>
                    </a:moveTo>
                    <a:lnTo>
                      <a:pt x="1168" y="1422"/>
                    </a:lnTo>
                    <a:lnTo>
                      <a:pt x="1166" y="1422"/>
                    </a:lnTo>
                    <a:lnTo>
                      <a:pt x="1166" y="1424"/>
                    </a:lnTo>
                    <a:lnTo>
                      <a:pt x="1164" y="1424"/>
                    </a:lnTo>
                    <a:lnTo>
                      <a:pt x="1162" y="1424"/>
                    </a:lnTo>
                    <a:lnTo>
                      <a:pt x="1162" y="1425"/>
                    </a:lnTo>
                    <a:lnTo>
                      <a:pt x="1162" y="1424"/>
                    </a:lnTo>
                    <a:lnTo>
                      <a:pt x="1161" y="1424"/>
                    </a:lnTo>
                    <a:lnTo>
                      <a:pt x="1161" y="1422"/>
                    </a:lnTo>
                    <a:lnTo>
                      <a:pt x="1162" y="1422"/>
                    </a:lnTo>
                    <a:lnTo>
                      <a:pt x="1164" y="1422"/>
                    </a:lnTo>
                    <a:lnTo>
                      <a:pt x="1162" y="1422"/>
                    </a:lnTo>
                    <a:lnTo>
                      <a:pt x="1164" y="1420"/>
                    </a:lnTo>
                    <a:lnTo>
                      <a:pt x="1164" y="1422"/>
                    </a:lnTo>
                    <a:lnTo>
                      <a:pt x="1164" y="1420"/>
                    </a:lnTo>
                    <a:lnTo>
                      <a:pt x="1166" y="1420"/>
                    </a:lnTo>
                    <a:close/>
                    <a:moveTo>
                      <a:pt x="1247" y="968"/>
                    </a:moveTo>
                    <a:lnTo>
                      <a:pt x="1247" y="969"/>
                    </a:lnTo>
                    <a:lnTo>
                      <a:pt x="1247" y="971"/>
                    </a:lnTo>
                    <a:lnTo>
                      <a:pt x="1247" y="973"/>
                    </a:lnTo>
                    <a:lnTo>
                      <a:pt x="1246" y="973"/>
                    </a:lnTo>
                    <a:lnTo>
                      <a:pt x="1246" y="971"/>
                    </a:lnTo>
                    <a:lnTo>
                      <a:pt x="1244" y="971"/>
                    </a:lnTo>
                    <a:lnTo>
                      <a:pt x="1242" y="971"/>
                    </a:lnTo>
                    <a:lnTo>
                      <a:pt x="1244" y="969"/>
                    </a:lnTo>
                    <a:lnTo>
                      <a:pt x="1244" y="968"/>
                    </a:lnTo>
                    <a:lnTo>
                      <a:pt x="1246" y="968"/>
                    </a:lnTo>
                    <a:lnTo>
                      <a:pt x="1244" y="969"/>
                    </a:lnTo>
                    <a:lnTo>
                      <a:pt x="1246" y="968"/>
                    </a:lnTo>
                    <a:lnTo>
                      <a:pt x="1247" y="968"/>
                    </a:lnTo>
                    <a:close/>
                    <a:moveTo>
                      <a:pt x="1188" y="1099"/>
                    </a:moveTo>
                    <a:lnTo>
                      <a:pt x="1186" y="1100"/>
                    </a:lnTo>
                    <a:lnTo>
                      <a:pt x="1186" y="1102"/>
                    </a:lnTo>
                    <a:lnTo>
                      <a:pt x="1185" y="1102"/>
                    </a:lnTo>
                    <a:lnTo>
                      <a:pt x="1183" y="1102"/>
                    </a:lnTo>
                    <a:lnTo>
                      <a:pt x="1181" y="1100"/>
                    </a:lnTo>
                    <a:lnTo>
                      <a:pt x="1181" y="1099"/>
                    </a:lnTo>
                    <a:lnTo>
                      <a:pt x="1183" y="1100"/>
                    </a:lnTo>
                    <a:lnTo>
                      <a:pt x="1185" y="1100"/>
                    </a:lnTo>
                    <a:lnTo>
                      <a:pt x="1186" y="1099"/>
                    </a:lnTo>
                    <a:lnTo>
                      <a:pt x="1186" y="1100"/>
                    </a:lnTo>
                    <a:lnTo>
                      <a:pt x="1186" y="1099"/>
                    </a:lnTo>
                    <a:lnTo>
                      <a:pt x="1188" y="1099"/>
                    </a:lnTo>
                    <a:close/>
                    <a:moveTo>
                      <a:pt x="1169" y="1133"/>
                    </a:moveTo>
                    <a:lnTo>
                      <a:pt x="1169" y="1134"/>
                    </a:lnTo>
                    <a:lnTo>
                      <a:pt x="1171" y="1134"/>
                    </a:lnTo>
                    <a:lnTo>
                      <a:pt x="1169" y="1134"/>
                    </a:lnTo>
                    <a:lnTo>
                      <a:pt x="1168" y="1134"/>
                    </a:lnTo>
                    <a:lnTo>
                      <a:pt x="1169" y="1134"/>
                    </a:lnTo>
                    <a:lnTo>
                      <a:pt x="1171" y="1134"/>
                    </a:lnTo>
                    <a:lnTo>
                      <a:pt x="1171" y="1136"/>
                    </a:lnTo>
                    <a:lnTo>
                      <a:pt x="1171" y="1138"/>
                    </a:lnTo>
                    <a:lnTo>
                      <a:pt x="1171" y="1140"/>
                    </a:lnTo>
                    <a:lnTo>
                      <a:pt x="1171" y="1138"/>
                    </a:lnTo>
                    <a:lnTo>
                      <a:pt x="1169" y="1138"/>
                    </a:lnTo>
                    <a:lnTo>
                      <a:pt x="1169" y="1136"/>
                    </a:lnTo>
                    <a:lnTo>
                      <a:pt x="1168" y="1136"/>
                    </a:lnTo>
                    <a:lnTo>
                      <a:pt x="1168" y="1134"/>
                    </a:lnTo>
                    <a:lnTo>
                      <a:pt x="1168" y="1133"/>
                    </a:lnTo>
                    <a:lnTo>
                      <a:pt x="1169" y="1133"/>
                    </a:lnTo>
                    <a:close/>
                    <a:moveTo>
                      <a:pt x="1185" y="1240"/>
                    </a:moveTo>
                    <a:lnTo>
                      <a:pt x="1185" y="1242"/>
                    </a:lnTo>
                    <a:lnTo>
                      <a:pt x="1183" y="1242"/>
                    </a:lnTo>
                    <a:lnTo>
                      <a:pt x="1183" y="1243"/>
                    </a:lnTo>
                    <a:lnTo>
                      <a:pt x="1181" y="1243"/>
                    </a:lnTo>
                    <a:lnTo>
                      <a:pt x="1181" y="1245"/>
                    </a:lnTo>
                    <a:lnTo>
                      <a:pt x="1179" y="1245"/>
                    </a:lnTo>
                    <a:lnTo>
                      <a:pt x="1179" y="1243"/>
                    </a:lnTo>
                    <a:lnTo>
                      <a:pt x="1181" y="1243"/>
                    </a:lnTo>
                    <a:lnTo>
                      <a:pt x="1181" y="1242"/>
                    </a:lnTo>
                    <a:lnTo>
                      <a:pt x="1181" y="1240"/>
                    </a:lnTo>
                    <a:lnTo>
                      <a:pt x="1183" y="1240"/>
                    </a:lnTo>
                    <a:lnTo>
                      <a:pt x="1185" y="1240"/>
                    </a:lnTo>
                    <a:close/>
                    <a:moveTo>
                      <a:pt x="1205" y="1026"/>
                    </a:moveTo>
                    <a:lnTo>
                      <a:pt x="1207" y="1026"/>
                    </a:lnTo>
                    <a:lnTo>
                      <a:pt x="1207" y="1027"/>
                    </a:lnTo>
                    <a:lnTo>
                      <a:pt x="1208" y="1027"/>
                    </a:lnTo>
                    <a:lnTo>
                      <a:pt x="1207" y="1027"/>
                    </a:lnTo>
                    <a:lnTo>
                      <a:pt x="1207" y="1029"/>
                    </a:lnTo>
                    <a:lnTo>
                      <a:pt x="1205" y="1029"/>
                    </a:lnTo>
                    <a:lnTo>
                      <a:pt x="1205" y="1027"/>
                    </a:lnTo>
                    <a:lnTo>
                      <a:pt x="1203" y="1029"/>
                    </a:lnTo>
                    <a:lnTo>
                      <a:pt x="1203" y="1027"/>
                    </a:lnTo>
                    <a:lnTo>
                      <a:pt x="1203" y="1026"/>
                    </a:lnTo>
                    <a:lnTo>
                      <a:pt x="1205" y="1026"/>
                    </a:lnTo>
                    <a:close/>
                    <a:moveTo>
                      <a:pt x="1154" y="1282"/>
                    </a:moveTo>
                    <a:lnTo>
                      <a:pt x="1156" y="1284"/>
                    </a:lnTo>
                    <a:lnTo>
                      <a:pt x="1156" y="1286"/>
                    </a:lnTo>
                    <a:lnTo>
                      <a:pt x="1156" y="1288"/>
                    </a:lnTo>
                    <a:lnTo>
                      <a:pt x="1154" y="1288"/>
                    </a:lnTo>
                    <a:lnTo>
                      <a:pt x="1154" y="1286"/>
                    </a:lnTo>
                    <a:lnTo>
                      <a:pt x="1154" y="1288"/>
                    </a:lnTo>
                    <a:lnTo>
                      <a:pt x="1152" y="1288"/>
                    </a:lnTo>
                    <a:lnTo>
                      <a:pt x="1154" y="1286"/>
                    </a:lnTo>
                    <a:lnTo>
                      <a:pt x="1152" y="1286"/>
                    </a:lnTo>
                    <a:lnTo>
                      <a:pt x="1152" y="1288"/>
                    </a:lnTo>
                    <a:lnTo>
                      <a:pt x="1151" y="1288"/>
                    </a:lnTo>
                    <a:lnTo>
                      <a:pt x="1152" y="1286"/>
                    </a:lnTo>
                    <a:lnTo>
                      <a:pt x="1152" y="1284"/>
                    </a:lnTo>
                    <a:lnTo>
                      <a:pt x="1154" y="1284"/>
                    </a:lnTo>
                    <a:lnTo>
                      <a:pt x="1154" y="1282"/>
                    </a:lnTo>
                    <a:close/>
                    <a:moveTo>
                      <a:pt x="1193" y="1071"/>
                    </a:moveTo>
                    <a:lnTo>
                      <a:pt x="1193" y="1073"/>
                    </a:lnTo>
                    <a:lnTo>
                      <a:pt x="1193" y="1075"/>
                    </a:lnTo>
                    <a:lnTo>
                      <a:pt x="1193" y="1077"/>
                    </a:lnTo>
                    <a:lnTo>
                      <a:pt x="1191" y="1077"/>
                    </a:lnTo>
                    <a:lnTo>
                      <a:pt x="1191" y="1075"/>
                    </a:lnTo>
                    <a:lnTo>
                      <a:pt x="1190" y="1075"/>
                    </a:lnTo>
                    <a:lnTo>
                      <a:pt x="1191" y="1073"/>
                    </a:lnTo>
                    <a:lnTo>
                      <a:pt x="1191" y="1071"/>
                    </a:lnTo>
                    <a:lnTo>
                      <a:pt x="1193" y="1071"/>
                    </a:lnTo>
                    <a:close/>
                    <a:moveTo>
                      <a:pt x="1176" y="1381"/>
                    </a:moveTo>
                    <a:lnTo>
                      <a:pt x="1176" y="1383"/>
                    </a:lnTo>
                    <a:lnTo>
                      <a:pt x="1176" y="1384"/>
                    </a:lnTo>
                    <a:lnTo>
                      <a:pt x="1176" y="1386"/>
                    </a:lnTo>
                    <a:lnTo>
                      <a:pt x="1174" y="1386"/>
                    </a:lnTo>
                    <a:lnTo>
                      <a:pt x="1173" y="1386"/>
                    </a:lnTo>
                    <a:lnTo>
                      <a:pt x="1174" y="1386"/>
                    </a:lnTo>
                    <a:lnTo>
                      <a:pt x="1174" y="1384"/>
                    </a:lnTo>
                    <a:lnTo>
                      <a:pt x="1174" y="1383"/>
                    </a:lnTo>
                    <a:lnTo>
                      <a:pt x="1173" y="1384"/>
                    </a:lnTo>
                    <a:lnTo>
                      <a:pt x="1174" y="1383"/>
                    </a:lnTo>
                    <a:lnTo>
                      <a:pt x="1173" y="1383"/>
                    </a:lnTo>
                    <a:lnTo>
                      <a:pt x="1174" y="1381"/>
                    </a:lnTo>
                    <a:lnTo>
                      <a:pt x="1176" y="1381"/>
                    </a:lnTo>
                    <a:close/>
                    <a:moveTo>
                      <a:pt x="1253" y="1597"/>
                    </a:moveTo>
                    <a:lnTo>
                      <a:pt x="1254" y="1597"/>
                    </a:lnTo>
                    <a:lnTo>
                      <a:pt x="1254" y="1599"/>
                    </a:lnTo>
                    <a:lnTo>
                      <a:pt x="1256" y="1597"/>
                    </a:lnTo>
                    <a:lnTo>
                      <a:pt x="1254" y="1599"/>
                    </a:lnTo>
                    <a:lnTo>
                      <a:pt x="1256" y="1599"/>
                    </a:lnTo>
                    <a:lnTo>
                      <a:pt x="1256" y="1600"/>
                    </a:lnTo>
                    <a:lnTo>
                      <a:pt x="1254" y="1602"/>
                    </a:lnTo>
                    <a:lnTo>
                      <a:pt x="1254" y="1600"/>
                    </a:lnTo>
                    <a:lnTo>
                      <a:pt x="1254" y="1599"/>
                    </a:lnTo>
                    <a:lnTo>
                      <a:pt x="1254" y="1600"/>
                    </a:lnTo>
                    <a:lnTo>
                      <a:pt x="1253" y="1602"/>
                    </a:lnTo>
                    <a:lnTo>
                      <a:pt x="1253" y="1600"/>
                    </a:lnTo>
                    <a:lnTo>
                      <a:pt x="1251" y="1599"/>
                    </a:lnTo>
                    <a:lnTo>
                      <a:pt x="1251" y="1597"/>
                    </a:lnTo>
                    <a:lnTo>
                      <a:pt x="1253" y="1597"/>
                    </a:lnTo>
                    <a:close/>
                    <a:moveTo>
                      <a:pt x="1414" y="1669"/>
                    </a:moveTo>
                    <a:lnTo>
                      <a:pt x="1414" y="1670"/>
                    </a:lnTo>
                    <a:lnTo>
                      <a:pt x="1412" y="1670"/>
                    </a:lnTo>
                    <a:lnTo>
                      <a:pt x="1412" y="1672"/>
                    </a:lnTo>
                    <a:lnTo>
                      <a:pt x="1412" y="1674"/>
                    </a:lnTo>
                    <a:lnTo>
                      <a:pt x="1412" y="1672"/>
                    </a:lnTo>
                    <a:lnTo>
                      <a:pt x="1411" y="1674"/>
                    </a:lnTo>
                    <a:lnTo>
                      <a:pt x="1409" y="1674"/>
                    </a:lnTo>
                    <a:lnTo>
                      <a:pt x="1411" y="1674"/>
                    </a:lnTo>
                    <a:lnTo>
                      <a:pt x="1409" y="1672"/>
                    </a:lnTo>
                    <a:lnTo>
                      <a:pt x="1411" y="1672"/>
                    </a:lnTo>
                    <a:lnTo>
                      <a:pt x="1411" y="1670"/>
                    </a:lnTo>
                    <a:lnTo>
                      <a:pt x="1412" y="1670"/>
                    </a:lnTo>
                    <a:lnTo>
                      <a:pt x="1411" y="1670"/>
                    </a:lnTo>
                    <a:lnTo>
                      <a:pt x="1411" y="1669"/>
                    </a:lnTo>
                    <a:lnTo>
                      <a:pt x="1412" y="1667"/>
                    </a:lnTo>
                    <a:lnTo>
                      <a:pt x="1412" y="1669"/>
                    </a:lnTo>
                    <a:lnTo>
                      <a:pt x="1414" y="1669"/>
                    </a:lnTo>
                    <a:close/>
                    <a:moveTo>
                      <a:pt x="1205" y="1049"/>
                    </a:moveTo>
                    <a:lnTo>
                      <a:pt x="1205" y="1051"/>
                    </a:lnTo>
                    <a:lnTo>
                      <a:pt x="1205" y="1053"/>
                    </a:lnTo>
                    <a:lnTo>
                      <a:pt x="1205" y="1051"/>
                    </a:lnTo>
                    <a:lnTo>
                      <a:pt x="1205" y="1053"/>
                    </a:lnTo>
                    <a:lnTo>
                      <a:pt x="1203" y="1053"/>
                    </a:lnTo>
                    <a:lnTo>
                      <a:pt x="1202" y="1053"/>
                    </a:lnTo>
                    <a:lnTo>
                      <a:pt x="1202" y="1051"/>
                    </a:lnTo>
                    <a:lnTo>
                      <a:pt x="1200" y="1051"/>
                    </a:lnTo>
                    <a:lnTo>
                      <a:pt x="1202" y="1049"/>
                    </a:lnTo>
                    <a:lnTo>
                      <a:pt x="1202" y="1051"/>
                    </a:lnTo>
                    <a:lnTo>
                      <a:pt x="1203" y="1049"/>
                    </a:lnTo>
                    <a:lnTo>
                      <a:pt x="1203" y="1051"/>
                    </a:lnTo>
                    <a:lnTo>
                      <a:pt x="1203" y="1049"/>
                    </a:lnTo>
                    <a:lnTo>
                      <a:pt x="1205" y="1049"/>
                    </a:lnTo>
                    <a:close/>
                    <a:moveTo>
                      <a:pt x="1217" y="1551"/>
                    </a:moveTo>
                    <a:lnTo>
                      <a:pt x="1219" y="1551"/>
                    </a:lnTo>
                    <a:lnTo>
                      <a:pt x="1220" y="1553"/>
                    </a:lnTo>
                    <a:lnTo>
                      <a:pt x="1222" y="1555"/>
                    </a:lnTo>
                    <a:lnTo>
                      <a:pt x="1220" y="1555"/>
                    </a:lnTo>
                    <a:lnTo>
                      <a:pt x="1222" y="1555"/>
                    </a:lnTo>
                    <a:lnTo>
                      <a:pt x="1220" y="1555"/>
                    </a:lnTo>
                    <a:lnTo>
                      <a:pt x="1219" y="1553"/>
                    </a:lnTo>
                    <a:lnTo>
                      <a:pt x="1217" y="1551"/>
                    </a:lnTo>
                    <a:lnTo>
                      <a:pt x="1219" y="1553"/>
                    </a:lnTo>
                    <a:lnTo>
                      <a:pt x="1217" y="1553"/>
                    </a:lnTo>
                    <a:lnTo>
                      <a:pt x="1215" y="1553"/>
                    </a:lnTo>
                    <a:lnTo>
                      <a:pt x="1215" y="1555"/>
                    </a:lnTo>
                    <a:lnTo>
                      <a:pt x="1213" y="1553"/>
                    </a:lnTo>
                    <a:lnTo>
                      <a:pt x="1215" y="1553"/>
                    </a:lnTo>
                    <a:lnTo>
                      <a:pt x="1215" y="1551"/>
                    </a:lnTo>
                    <a:lnTo>
                      <a:pt x="1217" y="1551"/>
                    </a:lnTo>
                    <a:close/>
                    <a:moveTo>
                      <a:pt x="1361" y="1653"/>
                    </a:moveTo>
                    <a:lnTo>
                      <a:pt x="1361" y="1655"/>
                    </a:lnTo>
                    <a:lnTo>
                      <a:pt x="1363" y="1655"/>
                    </a:lnTo>
                    <a:lnTo>
                      <a:pt x="1363" y="1657"/>
                    </a:lnTo>
                    <a:lnTo>
                      <a:pt x="1361" y="1657"/>
                    </a:lnTo>
                    <a:lnTo>
                      <a:pt x="1363" y="1657"/>
                    </a:lnTo>
                    <a:lnTo>
                      <a:pt x="1365" y="1657"/>
                    </a:lnTo>
                    <a:lnTo>
                      <a:pt x="1365" y="1658"/>
                    </a:lnTo>
                    <a:lnTo>
                      <a:pt x="1366" y="1658"/>
                    </a:lnTo>
                    <a:lnTo>
                      <a:pt x="1366" y="1660"/>
                    </a:lnTo>
                    <a:lnTo>
                      <a:pt x="1365" y="1660"/>
                    </a:lnTo>
                    <a:lnTo>
                      <a:pt x="1365" y="1658"/>
                    </a:lnTo>
                    <a:lnTo>
                      <a:pt x="1363" y="1658"/>
                    </a:lnTo>
                    <a:lnTo>
                      <a:pt x="1363" y="1657"/>
                    </a:lnTo>
                    <a:lnTo>
                      <a:pt x="1361" y="1657"/>
                    </a:lnTo>
                    <a:lnTo>
                      <a:pt x="1361" y="1655"/>
                    </a:lnTo>
                    <a:lnTo>
                      <a:pt x="1360" y="1653"/>
                    </a:lnTo>
                    <a:lnTo>
                      <a:pt x="1358" y="1653"/>
                    </a:lnTo>
                    <a:lnTo>
                      <a:pt x="1360" y="1652"/>
                    </a:lnTo>
                    <a:lnTo>
                      <a:pt x="1361" y="1653"/>
                    </a:lnTo>
                    <a:close/>
                    <a:moveTo>
                      <a:pt x="1171" y="1247"/>
                    </a:moveTo>
                    <a:lnTo>
                      <a:pt x="1173" y="1248"/>
                    </a:lnTo>
                    <a:lnTo>
                      <a:pt x="1173" y="1250"/>
                    </a:lnTo>
                    <a:lnTo>
                      <a:pt x="1173" y="1252"/>
                    </a:lnTo>
                    <a:lnTo>
                      <a:pt x="1173" y="1253"/>
                    </a:lnTo>
                    <a:lnTo>
                      <a:pt x="1171" y="1252"/>
                    </a:lnTo>
                    <a:lnTo>
                      <a:pt x="1173" y="1253"/>
                    </a:lnTo>
                    <a:lnTo>
                      <a:pt x="1173" y="1252"/>
                    </a:lnTo>
                    <a:lnTo>
                      <a:pt x="1171" y="1252"/>
                    </a:lnTo>
                    <a:lnTo>
                      <a:pt x="1171" y="1250"/>
                    </a:lnTo>
                    <a:lnTo>
                      <a:pt x="1171" y="1248"/>
                    </a:lnTo>
                    <a:lnTo>
                      <a:pt x="1171" y="1247"/>
                    </a:lnTo>
                    <a:close/>
                    <a:moveTo>
                      <a:pt x="1370" y="1646"/>
                    </a:moveTo>
                    <a:lnTo>
                      <a:pt x="1370" y="1648"/>
                    </a:lnTo>
                    <a:lnTo>
                      <a:pt x="1368" y="1650"/>
                    </a:lnTo>
                    <a:lnTo>
                      <a:pt x="1370" y="1650"/>
                    </a:lnTo>
                    <a:lnTo>
                      <a:pt x="1368" y="1652"/>
                    </a:lnTo>
                    <a:lnTo>
                      <a:pt x="1368" y="1653"/>
                    </a:lnTo>
                    <a:lnTo>
                      <a:pt x="1366" y="1653"/>
                    </a:lnTo>
                    <a:lnTo>
                      <a:pt x="1368" y="1653"/>
                    </a:lnTo>
                    <a:lnTo>
                      <a:pt x="1366" y="1653"/>
                    </a:lnTo>
                    <a:lnTo>
                      <a:pt x="1366" y="1652"/>
                    </a:lnTo>
                    <a:lnTo>
                      <a:pt x="1366" y="1650"/>
                    </a:lnTo>
                    <a:lnTo>
                      <a:pt x="1368" y="1648"/>
                    </a:lnTo>
                    <a:lnTo>
                      <a:pt x="1368" y="1646"/>
                    </a:lnTo>
                    <a:lnTo>
                      <a:pt x="1370" y="1646"/>
                    </a:lnTo>
                    <a:close/>
                    <a:moveTo>
                      <a:pt x="1346" y="1658"/>
                    </a:moveTo>
                    <a:lnTo>
                      <a:pt x="1348" y="1658"/>
                    </a:lnTo>
                    <a:lnTo>
                      <a:pt x="1348" y="1660"/>
                    </a:lnTo>
                    <a:lnTo>
                      <a:pt x="1349" y="1660"/>
                    </a:lnTo>
                    <a:lnTo>
                      <a:pt x="1349" y="1662"/>
                    </a:lnTo>
                    <a:lnTo>
                      <a:pt x="1348" y="1663"/>
                    </a:lnTo>
                    <a:lnTo>
                      <a:pt x="1348" y="1662"/>
                    </a:lnTo>
                    <a:lnTo>
                      <a:pt x="1348" y="1660"/>
                    </a:lnTo>
                    <a:lnTo>
                      <a:pt x="1346" y="1660"/>
                    </a:lnTo>
                    <a:lnTo>
                      <a:pt x="1344" y="1660"/>
                    </a:lnTo>
                    <a:lnTo>
                      <a:pt x="1346" y="1658"/>
                    </a:lnTo>
                    <a:lnTo>
                      <a:pt x="1344" y="1658"/>
                    </a:lnTo>
                    <a:lnTo>
                      <a:pt x="1344" y="1657"/>
                    </a:lnTo>
                    <a:lnTo>
                      <a:pt x="1346" y="1658"/>
                    </a:lnTo>
                    <a:close/>
                    <a:moveTo>
                      <a:pt x="1179" y="1140"/>
                    </a:moveTo>
                    <a:lnTo>
                      <a:pt x="1179" y="1141"/>
                    </a:lnTo>
                    <a:lnTo>
                      <a:pt x="1181" y="1141"/>
                    </a:lnTo>
                    <a:lnTo>
                      <a:pt x="1181" y="1143"/>
                    </a:lnTo>
                    <a:lnTo>
                      <a:pt x="1179" y="1145"/>
                    </a:lnTo>
                    <a:lnTo>
                      <a:pt x="1179" y="1143"/>
                    </a:lnTo>
                    <a:lnTo>
                      <a:pt x="1178" y="1143"/>
                    </a:lnTo>
                    <a:lnTo>
                      <a:pt x="1176" y="1143"/>
                    </a:lnTo>
                    <a:lnTo>
                      <a:pt x="1178" y="1143"/>
                    </a:lnTo>
                    <a:lnTo>
                      <a:pt x="1178" y="1141"/>
                    </a:lnTo>
                    <a:lnTo>
                      <a:pt x="1178" y="1140"/>
                    </a:lnTo>
                    <a:lnTo>
                      <a:pt x="1179" y="1140"/>
                    </a:lnTo>
                    <a:close/>
                    <a:moveTo>
                      <a:pt x="1205" y="1453"/>
                    </a:moveTo>
                    <a:lnTo>
                      <a:pt x="1205" y="1454"/>
                    </a:lnTo>
                    <a:lnTo>
                      <a:pt x="1207" y="1454"/>
                    </a:lnTo>
                    <a:lnTo>
                      <a:pt x="1207" y="1456"/>
                    </a:lnTo>
                    <a:lnTo>
                      <a:pt x="1207" y="1458"/>
                    </a:lnTo>
                    <a:lnTo>
                      <a:pt x="1207" y="1459"/>
                    </a:lnTo>
                    <a:lnTo>
                      <a:pt x="1205" y="1458"/>
                    </a:lnTo>
                    <a:lnTo>
                      <a:pt x="1205" y="1456"/>
                    </a:lnTo>
                    <a:lnTo>
                      <a:pt x="1203" y="1456"/>
                    </a:lnTo>
                    <a:lnTo>
                      <a:pt x="1203" y="1454"/>
                    </a:lnTo>
                    <a:lnTo>
                      <a:pt x="1203" y="1453"/>
                    </a:lnTo>
                    <a:lnTo>
                      <a:pt x="1205" y="1453"/>
                    </a:lnTo>
                    <a:close/>
                    <a:moveTo>
                      <a:pt x="1429" y="1680"/>
                    </a:moveTo>
                    <a:lnTo>
                      <a:pt x="1429" y="1682"/>
                    </a:lnTo>
                    <a:lnTo>
                      <a:pt x="1428" y="1682"/>
                    </a:lnTo>
                    <a:lnTo>
                      <a:pt x="1429" y="1684"/>
                    </a:lnTo>
                    <a:lnTo>
                      <a:pt x="1429" y="1686"/>
                    </a:lnTo>
                    <a:lnTo>
                      <a:pt x="1431" y="1686"/>
                    </a:lnTo>
                    <a:lnTo>
                      <a:pt x="1429" y="1687"/>
                    </a:lnTo>
                    <a:lnTo>
                      <a:pt x="1429" y="1686"/>
                    </a:lnTo>
                    <a:lnTo>
                      <a:pt x="1428" y="1686"/>
                    </a:lnTo>
                    <a:lnTo>
                      <a:pt x="1426" y="1686"/>
                    </a:lnTo>
                    <a:lnTo>
                      <a:pt x="1426" y="1684"/>
                    </a:lnTo>
                    <a:lnTo>
                      <a:pt x="1428" y="1682"/>
                    </a:lnTo>
                    <a:lnTo>
                      <a:pt x="1429" y="1680"/>
                    </a:lnTo>
                    <a:close/>
                    <a:moveTo>
                      <a:pt x="1186" y="1073"/>
                    </a:moveTo>
                    <a:lnTo>
                      <a:pt x="1188" y="1073"/>
                    </a:lnTo>
                    <a:lnTo>
                      <a:pt x="1188" y="1075"/>
                    </a:lnTo>
                    <a:lnTo>
                      <a:pt x="1186" y="1075"/>
                    </a:lnTo>
                    <a:lnTo>
                      <a:pt x="1185" y="1075"/>
                    </a:lnTo>
                    <a:lnTo>
                      <a:pt x="1183" y="1075"/>
                    </a:lnTo>
                    <a:lnTo>
                      <a:pt x="1183" y="1077"/>
                    </a:lnTo>
                    <a:lnTo>
                      <a:pt x="1181" y="1075"/>
                    </a:lnTo>
                    <a:lnTo>
                      <a:pt x="1183" y="1075"/>
                    </a:lnTo>
                    <a:lnTo>
                      <a:pt x="1183" y="1073"/>
                    </a:lnTo>
                    <a:lnTo>
                      <a:pt x="1183" y="1075"/>
                    </a:lnTo>
                    <a:lnTo>
                      <a:pt x="1185" y="1075"/>
                    </a:lnTo>
                    <a:lnTo>
                      <a:pt x="1183" y="1073"/>
                    </a:lnTo>
                    <a:lnTo>
                      <a:pt x="1185" y="1073"/>
                    </a:lnTo>
                    <a:lnTo>
                      <a:pt x="1185" y="1071"/>
                    </a:lnTo>
                    <a:lnTo>
                      <a:pt x="1186" y="1073"/>
                    </a:lnTo>
                    <a:close/>
                    <a:moveTo>
                      <a:pt x="1202" y="1485"/>
                    </a:moveTo>
                    <a:lnTo>
                      <a:pt x="1202" y="1487"/>
                    </a:lnTo>
                    <a:lnTo>
                      <a:pt x="1200" y="1487"/>
                    </a:lnTo>
                    <a:lnTo>
                      <a:pt x="1200" y="1488"/>
                    </a:lnTo>
                    <a:lnTo>
                      <a:pt x="1198" y="1488"/>
                    </a:lnTo>
                    <a:lnTo>
                      <a:pt x="1196" y="1488"/>
                    </a:lnTo>
                    <a:lnTo>
                      <a:pt x="1198" y="1487"/>
                    </a:lnTo>
                    <a:lnTo>
                      <a:pt x="1198" y="1485"/>
                    </a:lnTo>
                    <a:lnTo>
                      <a:pt x="1200" y="1485"/>
                    </a:lnTo>
                    <a:lnTo>
                      <a:pt x="1202" y="1485"/>
                    </a:lnTo>
                    <a:close/>
                    <a:moveTo>
                      <a:pt x="1179" y="1242"/>
                    </a:moveTo>
                    <a:lnTo>
                      <a:pt x="1179" y="1243"/>
                    </a:lnTo>
                    <a:lnTo>
                      <a:pt x="1178" y="1243"/>
                    </a:lnTo>
                    <a:lnTo>
                      <a:pt x="1178" y="1245"/>
                    </a:lnTo>
                    <a:lnTo>
                      <a:pt x="1176" y="1245"/>
                    </a:lnTo>
                    <a:lnTo>
                      <a:pt x="1176" y="1243"/>
                    </a:lnTo>
                    <a:lnTo>
                      <a:pt x="1176" y="1242"/>
                    </a:lnTo>
                    <a:lnTo>
                      <a:pt x="1178" y="1242"/>
                    </a:lnTo>
                    <a:lnTo>
                      <a:pt x="1179" y="1242"/>
                    </a:lnTo>
                    <a:close/>
                    <a:moveTo>
                      <a:pt x="1196" y="1526"/>
                    </a:moveTo>
                    <a:lnTo>
                      <a:pt x="1198" y="1526"/>
                    </a:lnTo>
                    <a:lnTo>
                      <a:pt x="1196" y="1527"/>
                    </a:lnTo>
                    <a:lnTo>
                      <a:pt x="1198" y="1527"/>
                    </a:lnTo>
                    <a:lnTo>
                      <a:pt x="1200" y="1529"/>
                    </a:lnTo>
                    <a:lnTo>
                      <a:pt x="1200" y="1531"/>
                    </a:lnTo>
                    <a:lnTo>
                      <a:pt x="1200" y="1529"/>
                    </a:lnTo>
                    <a:lnTo>
                      <a:pt x="1198" y="1529"/>
                    </a:lnTo>
                    <a:lnTo>
                      <a:pt x="1198" y="1527"/>
                    </a:lnTo>
                    <a:lnTo>
                      <a:pt x="1198" y="1529"/>
                    </a:lnTo>
                    <a:lnTo>
                      <a:pt x="1196" y="1529"/>
                    </a:lnTo>
                    <a:lnTo>
                      <a:pt x="1196" y="1527"/>
                    </a:lnTo>
                    <a:lnTo>
                      <a:pt x="1195" y="1527"/>
                    </a:lnTo>
                    <a:lnTo>
                      <a:pt x="1195" y="1529"/>
                    </a:lnTo>
                    <a:lnTo>
                      <a:pt x="1195" y="1527"/>
                    </a:lnTo>
                    <a:lnTo>
                      <a:pt x="1193" y="1526"/>
                    </a:lnTo>
                    <a:lnTo>
                      <a:pt x="1195" y="1526"/>
                    </a:lnTo>
                    <a:lnTo>
                      <a:pt x="1196" y="1526"/>
                    </a:lnTo>
                    <a:close/>
                    <a:moveTo>
                      <a:pt x="1166" y="1435"/>
                    </a:moveTo>
                    <a:lnTo>
                      <a:pt x="1166" y="1437"/>
                    </a:lnTo>
                    <a:lnTo>
                      <a:pt x="1164" y="1437"/>
                    </a:lnTo>
                    <a:lnTo>
                      <a:pt x="1166" y="1437"/>
                    </a:lnTo>
                    <a:lnTo>
                      <a:pt x="1164" y="1437"/>
                    </a:lnTo>
                    <a:lnTo>
                      <a:pt x="1164" y="1435"/>
                    </a:lnTo>
                    <a:lnTo>
                      <a:pt x="1164" y="1437"/>
                    </a:lnTo>
                    <a:lnTo>
                      <a:pt x="1162" y="1437"/>
                    </a:lnTo>
                    <a:lnTo>
                      <a:pt x="1162" y="1435"/>
                    </a:lnTo>
                    <a:lnTo>
                      <a:pt x="1162" y="1434"/>
                    </a:lnTo>
                    <a:lnTo>
                      <a:pt x="1164" y="1434"/>
                    </a:lnTo>
                    <a:lnTo>
                      <a:pt x="1166" y="1432"/>
                    </a:lnTo>
                    <a:lnTo>
                      <a:pt x="1166" y="1434"/>
                    </a:lnTo>
                    <a:lnTo>
                      <a:pt x="1166" y="1435"/>
                    </a:lnTo>
                    <a:close/>
                    <a:moveTo>
                      <a:pt x="1217" y="1107"/>
                    </a:moveTo>
                    <a:lnTo>
                      <a:pt x="1217" y="1109"/>
                    </a:lnTo>
                    <a:lnTo>
                      <a:pt x="1219" y="1111"/>
                    </a:lnTo>
                    <a:lnTo>
                      <a:pt x="1219" y="1112"/>
                    </a:lnTo>
                    <a:lnTo>
                      <a:pt x="1217" y="1112"/>
                    </a:lnTo>
                    <a:lnTo>
                      <a:pt x="1215" y="1111"/>
                    </a:lnTo>
                    <a:lnTo>
                      <a:pt x="1215" y="1109"/>
                    </a:lnTo>
                    <a:lnTo>
                      <a:pt x="1215" y="1111"/>
                    </a:lnTo>
                    <a:lnTo>
                      <a:pt x="1215" y="1109"/>
                    </a:lnTo>
                    <a:lnTo>
                      <a:pt x="1215" y="1107"/>
                    </a:lnTo>
                    <a:lnTo>
                      <a:pt x="1217" y="1107"/>
                    </a:lnTo>
                    <a:close/>
                    <a:moveTo>
                      <a:pt x="1202" y="1141"/>
                    </a:moveTo>
                    <a:lnTo>
                      <a:pt x="1203" y="1141"/>
                    </a:lnTo>
                    <a:lnTo>
                      <a:pt x="1203" y="1143"/>
                    </a:lnTo>
                    <a:lnTo>
                      <a:pt x="1205" y="1143"/>
                    </a:lnTo>
                    <a:lnTo>
                      <a:pt x="1203" y="1143"/>
                    </a:lnTo>
                    <a:lnTo>
                      <a:pt x="1203" y="1145"/>
                    </a:lnTo>
                    <a:lnTo>
                      <a:pt x="1202" y="1145"/>
                    </a:lnTo>
                    <a:lnTo>
                      <a:pt x="1200" y="1145"/>
                    </a:lnTo>
                    <a:lnTo>
                      <a:pt x="1202" y="1143"/>
                    </a:lnTo>
                    <a:lnTo>
                      <a:pt x="1200" y="1145"/>
                    </a:lnTo>
                    <a:lnTo>
                      <a:pt x="1200" y="1143"/>
                    </a:lnTo>
                    <a:lnTo>
                      <a:pt x="1202" y="1141"/>
                    </a:lnTo>
                    <a:close/>
                    <a:moveTo>
                      <a:pt x="1168" y="1407"/>
                    </a:moveTo>
                    <a:lnTo>
                      <a:pt x="1169" y="1407"/>
                    </a:lnTo>
                    <a:lnTo>
                      <a:pt x="1168" y="1408"/>
                    </a:lnTo>
                    <a:lnTo>
                      <a:pt x="1166" y="1408"/>
                    </a:lnTo>
                    <a:lnTo>
                      <a:pt x="1166" y="1410"/>
                    </a:lnTo>
                    <a:lnTo>
                      <a:pt x="1164" y="1412"/>
                    </a:lnTo>
                    <a:lnTo>
                      <a:pt x="1164" y="1410"/>
                    </a:lnTo>
                    <a:lnTo>
                      <a:pt x="1166" y="1410"/>
                    </a:lnTo>
                    <a:lnTo>
                      <a:pt x="1166" y="1408"/>
                    </a:lnTo>
                    <a:lnTo>
                      <a:pt x="1164" y="1408"/>
                    </a:lnTo>
                    <a:lnTo>
                      <a:pt x="1166" y="1408"/>
                    </a:lnTo>
                    <a:lnTo>
                      <a:pt x="1166" y="1407"/>
                    </a:lnTo>
                    <a:lnTo>
                      <a:pt x="1168" y="1407"/>
                    </a:lnTo>
                    <a:close/>
                    <a:moveTo>
                      <a:pt x="965" y="610"/>
                    </a:moveTo>
                    <a:lnTo>
                      <a:pt x="969" y="610"/>
                    </a:lnTo>
                    <a:lnTo>
                      <a:pt x="969" y="614"/>
                    </a:lnTo>
                    <a:lnTo>
                      <a:pt x="965" y="614"/>
                    </a:lnTo>
                    <a:lnTo>
                      <a:pt x="965" y="610"/>
                    </a:lnTo>
                    <a:close/>
                    <a:moveTo>
                      <a:pt x="1229" y="1071"/>
                    </a:moveTo>
                    <a:lnTo>
                      <a:pt x="1230" y="1071"/>
                    </a:lnTo>
                    <a:lnTo>
                      <a:pt x="1230" y="1073"/>
                    </a:lnTo>
                    <a:lnTo>
                      <a:pt x="1229" y="1073"/>
                    </a:lnTo>
                    <a:lnTo>
                      <a:pt x="1229" y="1075"/>
                    </a:lnTo>
                    <a:lnTo>
                      <a:pt x="1227" y="1075"/>
                    </a:lnTo>
                    <a:lnTo>
                      <a:pt x="1227" y="1073"/>
                    </a:lnTo>
                    <a:lnTo>
                      <a:pt x="1227" y="1075"/>
                    </a:lnTo>
                    <a:lnTo>
                      <a:pt x="1225" y="1075"/>
                    </a:lnTo>
                    <a:lnTo>
                      <a:pt x="1225" y="1073"/>
                    </a:lnTo>
                    <a:lnTo>
                      <a:pt x="1227" y="1073"/>
                    </a:lnTo>
                    <a:lnTo>
                      <a:pt x="1227" y="1071"/>
                    </a:lnTo>
                    <a:lnTo>
                      <a:pt x="1229" y="1071"/>
                    </a:lnTo>
                    <a:close/>
                    <a:moveTo>
                      <a:pt x="1174" y="1242"/>
                    </a:moveTo>
                    <a:lnTo>
                      <a:pt x="1174" y="1243"/>
                    </a:lnTo>
                    <a:lnTo>
                      <a:pt x="1176" y="1245"/>
                    </a:lnTo>
                    <a:lnTo>
                      <a:pt x="1174" y="1245"/>
                    </a:lnTo>
                    <a:lnTo>
                      <a:pt x="1173" y="1245"/>
                    </a:lnTo>
                    <a:lnTo>
                      <a:pt x="1174" y="1245"/>
                    </a:lnTo>
                    <a:lnTo>
                      <a:pt x="1173" y="1245"/>
                    </a:lnTo>
                    <a:lnTo>
                      <a:pt x="1173" y="1243"/>
                    </a:lnTo>
                    <a:lnTo>
                      <a:pt x="1173" y="1242"/>
                    </a:lnTo>
                    <a:lnTo>
                      <a:pt x="1174" y="1242"/>
                    </a:lnTo>
                    <a:close/>
                    <a:moveTo>
                      <a:pt x="1198" y="803"/>
                    </a:moveTo>
                    <a:lnTo>
                      <a:pt x="1200" y="803"/>
                    </a:lnTo>
                    <a:lnTo>
                      <a:pt x="1200" y="804"/>
                    </a:lnTo>
                    <a:lnTo>
                      <a:pt x="1202" y="804"/>
                    </a:lnTo>
                    <a:lnTo>
                      <a:pt x="1200" y="804"/>
                    </a:lnTo>
                    <a:lnTo>
                      <a:pt x="1202" y="804"/>
                    </a:lnTo>
                    <a:lnTo>
                      <a:pt x="1200" y="804"/>
                    </a:lnTo>
                    <a:lnTo>
                      <a:pt x="1200" y="806"/>
                    </a:lnTo>
                    <a:lnTo>
                      <a:pt x="1198" y="806"/>
                    </a:lnTo>
                    <a:lnTo>
                      <a:pt x="1198" y="804"/>
                    </a:lnTo>
                    <a:lnTo>
                      <a:pt x="1198" y="803"/>
                    </a:lnTo>
                    <a:lnTo>
                      <a:pt x="1198" y="801"/>
                    </a:lnTo>
                    <a:lnTo>
                      <a:pt x="1198" y="803"/>
                    </a:lnTo>
                    <a:close/>
                    <a:moveTo>
                      <a:pt x="1178" y="1453"/>
                    </a:moveTo>
                    <a:lnTo>
                      <a:pt x="1178" y="1454"/>
                    </a:lnTo>
                    <a:lnTo>
                      <a:pt x="1178" y="1456"/>
                    </a:lnTo>
                    <a:lnTo>
                      <a:pt x="1178" y="1454"/>
                    </a:lnTo>
                    <a:lnTo>
                      <a:pt x="1178" y="1456"/>
                    </a:lnTo>
                    <a:lnTo>
                      <a:pt x="1176" y="1458"/>
                    </a:lnTo>
                    <a:lnTo>
                      <a:pt x="1178" y="1458"/>
                    </a:lnTo>
                    <a:lnTo>
                      <a:pt x="1178" y="1456"/>
                    </a:lnTo>
                    <a:lnTo>
                      <a:pt x="1178" y="1458"/>
                    </a:lnTo>
                    <a:lnTo>
                      <a:pt x="1176" y="1458"/>
                    </a:lnTo>
                    <a:lnTo>
                      <a:pt x="1176" y="1459"/>
                    </a:lnTo>
                    <a:lnTo>
                      <a:pt x="1174" y="1459"/>
                    </a:lnTo>
                    <a:lnTo>
                      <a:pt x="1174" y="1458"/>
                    </a:lnTo>
                    <a:lnTo>
                      <a:pt x="1176" y="1458"/>
                    </a:lnTo>
                    <a:lnTo>
                      <a:pt x="1176" y="1456"/>
                    </a:lnTo>
                    <a:lnTo>
                      <a:pt x="1176" y="1454"/>
                    </a:lnTo>
                    <a:lnTo>
                      <a:pt x="1178" y="1454"/>
                    </a:lnTo>
                    <a:lnTo>
                      <a:pt x="1178" y="1453"/>
                    </a:lnTo>
                    <a:close/>
                    <a:moveTo>
                      <a:pt x="1208" y="1068"/>
                    </a:moveTo>
                    <a:lnTo>
                      <a:pt x="1208" y="1070"/>
                    </a:lnTo>
                    <a:lnTo>
                      <a:pt x="1207" y="1071"/>
                    </a:lnTo>
                    <a:lnTo>
                      <a:pt x="1205" y="1071"/>
                    </a:lnTo>
                    <a:lnTo>
                      <a:pt x="1205" y="1070"/>
                    </a:lnTo>
                    <a:lnTo>
                      <a:pt x="1205" y="1068"/>
                    </a:lnTo>
                    <a:lnTo>
                      <a:pt x="1207" y="1070"/>
                    </a:lnTo>
                    <a:lnTo>
                      <a:pt x="1207" y="1068"/>
                    </a:lnTo>
                    <a:lnTo>
                      <a:pt x="1208" y="1068"/>
                    </a:lnTo>
                    <a:close/>
                    <a:moveTo>
                      <a:pt x="1278" y="1614"/>
                    </a:moveTo>
                    <a:lnTo>
                      <a:pt x="1278" y="1616"/>
                    </a:lnTo>
                    <a:lnTo>
                      <a:pt x="1280" y="1616"/>
                    </a:lnTo>
                    <a:lnTo>
                      <a:pt x="1278" y="1618"/>
                    </a:lnTo>
                    <a:lnTo>
                      <a:pt x="1276" y="1619"/>
                    </a:lnTo>
                    <a:lnTo>
                      <a:pt x="1276" y="1618"/>
                    </a:lnTo>
                    <a:lnTo>
                      <a:pt x="1276" y="1616"/>
                    </a:lnTo>
                    <a:lnTo>
                      <a:pt x="1275" y="1616"/>
                    </a:lnTo>
                    <a:lnTo>
                      <a:pt x="1276" y="1616"/>
                    </a:lnTo>
                    <a:lnTo>
                      <a:pt x="1276" y="1614"/>
                    </a:lnTo>
                    <a:lnTo>
                      <a:pt x="1278" y="1614"/>
                    </a:lnTo>
                    <a:close/>
                    <a:moveTo>
                      <a:pt x="1174" y="1369"/>
                    </a:moveTo>
                    <a:lnTo>
                      <a:pt x="1176" y="1369"/>
                    </a:lnTo>
                    <a:lnTo>
                      <a:pt x="1178" y="1369"/>
                    </a:lnTo>
                    <a:lnTo>
                      <a:pt x="1176" y="1371"/>
                    </a:lnTo>
                    <a:lnTo>
                      <a:pt x="1176" y="1369"/>
                    </a:lnTo>
                    <a:lnTo>
                      <a:pt x="1176" y="1371"/>
                    </a:lnTo>
                    <a:lnTo>
                      <a:pt x="1174" y="1371"/>
                    </a:lnTo>
                    <a:lnTo>
                      <a:pt x="1173" y="1371"/>
                    </a:lnTo>
                    <a:lnTo>
                      <a:pt x="1171" y="1371"/>
                    </a:lnTo>
                    <a:lnTo>
                      <a:pt x="1171" y="1369"/>
                    </a:lnTo>
                    <a:lnTo>
                      <a:pt x="1173" y="1369"/>
                    </a:lnTo>
                    <a:lnTo>
                      <a:pt x="1174" y="1369"/>
                    </a:lnTo>
                    <a:lnTo>
                      <a:pt x="1174" y="1371"/>
                    </a:lnTo>
                    <a:lnTo>
                      <a:pt x="1174" y="1369"/>
                    </a:lnTo>
                    <a:close/>
                    <a:moveTo>
                      <a:pt x="1200" y="1054"/>
                    </a:moveTo>
                    <a:lnTo>
                      <a:pt x="1202" y="1054"/>
                    </a:lnTo>
                    <a:lnTo>
                      <a:pt x="1203" y="1054"/>
                    </a:lnTo>
                    <a:lnTo>
                      <a:pt x="1203" y="1056"/>
                    </a:lnTo>
                    <a:lnTo>
                      <a:pt x="1202" y="1056"/>
                    </a:lnTo>
                    <a:lnTo>
                      <a:pt x="1200" y="1056"/>
                    </a:lnTo>
                    <a:lnTo>
                      <a:pt x="1198" y="1054"/>
                    </a:lnTo>
                    <a:lnTo>
                      <a:pt x="1200" y="1054"/>
                    </a:lnTo>
                    <a:close/>
                    <a:moveTo>
                      <a:pt x="1292" y="1629"/>
                    </a:moveTo>
                    <a:lnTo>
                      <a:pt x="1292" y="1631"/>
                    </a:lnTo>
                    <a:lnTo>
                      <a:pt x="1290" y="1631"/>
                    </a:lnTo>
                    <a:lnTo>
                      <a:pt x="1290" y="1633"/>
                    </a:lnTo>
                    <a:lnTo>
                      <a:pt x="1290" y="1635"/>
                    </a:lnTo>
                    <a:lnTo>
                      <a:pt x="1290" y="1633"/>
                    </a:lnTo>
                    <a:lnTo>
                      <a:pt x="1288" y="1633"/>
                    </a:lnTo>
                    <a:lnTo>
                      <a:pt x="1288" y="1631"/>
                    </a:lnTo>
                    <a:lnTo>
                      <a:pt x="1288" y="1629"/>
                    </a:lnTo>
                    <a:lnTo>
                      <a:pt x="1290" y="1629"/>
                    </a:lnTo>
                    <a:lnTo>
                      <a:pt x="1292" y="1629"/>
                    </a:lnTo>
                    <a:close/>
                    <a:moveTo>
                      <a:pt x="1251" y="1502"/>
                    </a:moveTo>
                    <a:lnTo>
                      <a:pt x="1251" y="1504"/>
                    </a:lnTo>
                    <a:lnTo>
                      <a:pt x="1249" y="1505"/>
                    </a:lnTo>
                    <a:lnTo>
                      <a:pt x="1247" y="1505"/>
                    </a:lnTo>
                    <a:lnTo>
                      <a:pt x="1247" y="1504"/>
                    </a:lnTo>
                    <a:lnTo>
                      <a:pt x="1247" y="1505"/>
                    </a:lnTo>
                    <a:lnTo>
                      <a:pt x="1247" y="1504"/>
                    </a:lnTo>
                    <a:lnTo>
                      <a:pt x="1247" y="1502"/>
                    </a:lnTo>
                    <a:lnTo>
                      <a:pt x="1249" y="1502"/>
                    </a:lnTo>
                    <a:lnTo>
                      <a:pt x="1251" y="1502"/>
                    </a:lnTo>
                    <a:close/>
                    <a:moveTo>
                      <a:pt x="1258" y="1595"/>
                    </a:moveTo>
                    <a:lnTo>
                      <a:pt x="1259" y="1595"/>
                    </a:lnTo>
                    <a:lnTo>
                      <a:pt x="1259" y="1597"/>
                    </a:lnTo>
                    <a:lnTo>
                      <a:pt x="1259" y="1595"/>
                    </a:lnTo>
                    <a:lnTo>
                      <a:pt x="1259" y="1597"/>
                    </a:lnTo>
                    <a:lnTo>
                      <a:pt x="1261" y="1597"/>
                    </a:lnTo>
                    <a:lnTo>
                      <a:pt x="1259" y="1599"/>
                    </a:lnTo>
                    <a:lnTo>
                      <a:pt x="1259" y="1597"/>
                    </a:lnTo>
                    <a:lnTo>
                      <a:pt x="1259" y="1599"/>
                    </a:lnTo>
                    <a:lnTo>
                      <a:pt x="1258" y="1599"/>
                    </a:lnTo>
                    <a:lnTo>
                      <a:pt x="1258" y="1597"/>
                    </a:lnTo>
                    <a:lnTo>
                      <a:pt x="1258" y="1599"/>
                    </a:lnTo>
                    <a:lnTo>
                      <a:pt x="1258" y="1597"/>
                    </a:lnTo>
                    <a:lnTo>
                      <a:pt x="1259" y="1597"/>
                    </a:lnTo>
                    <a:lnTo>
                      <a:pt x="1258" y="1597"/>
                    </a:lnTo>
                    <a:lnTo>
                      <a:pt x="1256" y="1597"/>
                    </a:lnTo>
                    <a:lnTo>
                      <a:pt x="1256" y="1595"/>
                    </a:lnTo>
                    <a:lnTo>
                      <a:pt x="1258" y="1595"/>
                    </a:lnTo>
                    <a:close/>
                    <a:moveTo>
                      <a:pt x="1145" y="1325"/>
                    </a:moveTo>
                    <a:lnTo>
                      <a:pt x="1147" y="1327"/>
                    </a:lnTo>
                    <a:lnTo>
                      <a:pt x="1147" y="1328"/>
                    </a:lnTo>
                    <a:lnTo>
                      <a:pt x="1147" y="1330"/>
                    </a:lnTo>
                    <a:lnTo>
                      <a:pt x="1147" y="1328"/>
                    </a:lnTo>
                    <a:lnTo>
                      <a:pt x="1145" y="1328"/>
                    </a:lnTo>
                    <a:lnTo>
                      <a:pt x="1145" y="1327"/>
                    </a:lnTo>
                    <a:lnTo>
                      <a:pt x="1144" y="1327"/>
                    </a:lnTo>
                    <a:lnTo>
                      <a:pt x="1144" y="1325"/>
                    </a:lnTo>
                    <a:lnTo>
                      <a:pt x="1145" y="1325"/>
                    </a:lnTo>
                    <a:lnTo>
                      <a:pt x="1145" y="1327"/>
                    </a:lnTo>
                    <a:lnTo>
                      <a:pt x="1145" y="1325"/>
                    </a:lnTo>
                    <a:close/>
                    <a:moveTo>
                      <a:pt x="1310" y="1509"/>
                    </a:moveTo>
                    <a:lnTo>
                      <a:pt x="1309" y="1509"/>
                    </a:lnTo>
                    <a:lnTo>
                      <a:pt x="1309" y="1510"/>
                    </a:lnTo>
                    <a:lnTo>
                      <a:pt x="1307" y="1512"/>
                    </a:lnTo>
                    <a:lnTo>
                      <a:pt x="1305" y="1512"/>
                    </a:lnTo>
                    <a:lnTo>
                      <a:pt x="1305" y="1510"/>
                    </a:lnTo>
                    <a:lnTo>
                      <a:pt x="1307" y="1510"/>
                    </a:lnTo>
                    <a:lnTo>
                      <a:pt x="1309" y="1509"/>
                    </a:lnTo>
                    <a:lnTo>
                      <a:pt x="1310" y="1509"/>
                    </a:lnTo>
                    <a:close/>
                    <a:moveTo>
                      <a:pt x="1275" y="1590"/>
                    </a:moveTo>
                    <a:lnTo>
                      <a:pt x="1276" y="1592"/>
                    </a:lnTo>
                    <a:lnTo>
                      <a:pt x="1276" y="1594"/>
                    </a:lnTo>
                    <a:lnTo>
                      <a:pt x="1276" y="1592"/>
                    </a:lnTo>
                    <a:lnTo>
                      <a:pt x="1275" y="1594"/>
                    </a:lnTo>
                    <a:lnTo>
                      <a:pt x="1273" y="1592"/>
                    </a:lnTo>
                    <a:lnTo>
                      <a:pt x="1271" y="1592"/>
                    </a:lnTo>
                    <a:lnTo>
                      <a:pt x="1271" y="1590"/>
                    </a:lnTo>
                    <a:lnTo>
                      <a:pt x="1273" y="1590"/>
                    </a:lnTo>
                    <a:lnTo>
                      <a:pt x="1275" y="1590"/>
                    </a:lnTo>
                    <a:close/>
                    <a:moveTo>
                      <a:pt x="1390" y="1641"/>
                    </a:moveTo>
                    <a:lnTo>
                      <a:pt x="1390" y="1643"/>
                    </a:lnTo>
                    <a:lnTo>
                      <a:pt x="1392" y="1643"/>
                    </a:lnTo>
                    <a:lnTo>
                      <a:pt x="1392" y="1645"/>
                    </a:lnTo>
                    <a:lnTo>
                      <a:pt x="1390" y="1645"/>
                    </a:lnTo>
                    <a:lnTo>
                      <a:pt x="1389" y="1645"/>
                    </a:lnTo>
                    <a:lnTo>
                      <a:pt x="1389" y="1643"/>
                    </a:lnTo>
                    <a:lnTo>
                      <a:pt x="1387" y="1643"/>
                    </a:lnTo>
                    <a:lnTo>
                      <a:pt x="1389" y="1641"/>
                    </a:lnTo>
                    <a:lnTo>
                      <a:pt x="1390" y="1641"/>
                    </a:lnTo>
                    <a:close/>
                    <a:moveTo>
                      <a:pt x="1230" y="998"/>
                    </a:moveTo>
                    <a:lnTo>
                      <a:pt x="1232" y="998"/>
                    </a:lnTo>
                    <a:lnTo>
                      <a:pt x="1232" y="997"/>
                    </a:lnTo>
                    <a:lnTo>
                      <a:pt x="1232" y="998"/>
                    </a:lnTo>
                    <a:lnTo>
                      <a:pt x="1232" y="1000"/>
                    </a:lnTo>
                    <a:lnTo>
                      <a:pt x="1232" y="998"/>
                    </a:lnTo>
                    <a:lnTo>
                      <a:pt x="1230" y="998"/>
                    </a:lnTo>
                    <a:lnTo>
                      <a:pt x="1230" y="1000"/>
                    </a:lnTo>
                    <a:lnTo>
                      <a:pt x="1232" y="1000"/>
                    </a:lnTo>
                    <a:lnTo>
                      <a:pt x="1232" y="1002"/>
                    </a:lnTo>
                    <a:lnTo>
                      <a:pt x="1232" y="1000"/>
                    </a:lnTo>
                    <a:lnTo>
                      <a:pt x="1232" y="1002"/>
                    </a:lnTo>
                    <a:lnTo>
                      <a:pt x="1230" y="1002"/>
                    </a:lnTo>
                    <a:lnTo>
                      <a:pt x="1230" y="1000"/>
                    </a:lnTo>
                    <a:lnTo>
                      <a:pt x="1230" y="998"/>
                    </a:lnTo>
                    <a:lnTo>
                      <a:pt x="1229" y="998"/>
                    </a:lnTo>
                    <a:lnTo>
                      <a:pt x="1229" y="997"/>
                    </a:lnTo>
                    <a:lnTo>
                      <a:pt x="1230" y="997"/>
                    </a:lnTo>
                    <a:lnTo>
                      <a:pt x="1230" y="998"/>
                    </a:lnTo>
                    <a:close/>
                    <a:moveTo>
                      <a:pt x="1229" y="976"/>
                    </a:moveTo>
                    <a:lnTo>
                      <a:pt x="1229" y="978"/>
                    </a:lnTo>
                    <a:lnTo>
                      <a:pt x="1227" y="978"/>
                    </a:lnTo>
                    <a:lnTo>
                      <a:pt x="1227" y="980"/>
                    </a:lnTo>
                    <a:lnTo>
                      <a:pt x="1225" y="980"/>
                    </a:lnTo>
                    <a:lnTo>
                      <a:pt x="1225" y="978"/>
                    </a:lnTo>
                    <a:lnTo>
                      <a:pt x="1224" y="978"/>
                    </a:lnTo>
                    <a:lnTo>
                      <a:pt x="1225" y="976"/>
                    </a:lnTo>
                    <a:lnTo>
                      <a:pt x="1225" y="978"/>
                    </a:lnTo>
                    <a:lnTo>
                      <a:pt x="1227" y="978"/>
                    </a:lnTo>
                    <a:lnTo>
                      <a:pt x="1225" y="976"/>
                    </a:lnTo>
                    <a:lnTo>
                      <a:pt x="1225" y="978"/>
                    </a:lnTo>
                    <a:lnTo>
                      <a:pt x="1225" y="976"/>
                    </a:lnTo>
                    <a:lnTo>
                      <a:pt x="1227" y="976"/>
                    </a:lnTo>
                    <a:lnTo>
                      <a:pt x="1229" y="976"/>
                    </a:lnTo>
                    <a:close/>
                    <a:moveTo>
                      <a:pt x="1203" y="1138"/>
                    </a:moveTo>
                    <a:lnTo>
                      <a:pt x="1205" y="1138"/>
                    </a:lnTo>
                    <a:lnTo>
                      <a:pt x="1205" y="1140"/>
                    </a:lnTo>
                    <a:lnTo>
                      <a:pt x="1207" y="1140"/>
                    </a:lnTo>
                    <a:lnTo>
                      <a:pt x="1207" y="1141"/>
                    </a:lnTo>
                    <a:lnTo>
                      <a:pt x="1205" y="1141"/>
                    </a:lnTo>
                    <a:lnTo>
                      <a:pt x="1203" y="1140"/>
                    </a:lnTo>
                    <a:lnTo>
                      <a:pt x="1203" y="1138"/>
                    </a:lnTo>
                    <a:lnTo>
                      <a:pt x="1203" y="1136"/>
                    </a:lnTo>
                    <a:lnTo>
                      <a:pt x="1203" y="1138"/>
                    </a:lnTo>
                    <a:close/>
                    <a:moveTo>
                      <a:pt x="1200" y="1470"/>
                    </a:moveTo>
                    <a:lnTo>
                      <a:pt x="1200" y="1471"/>
                    </a:lnTo>
                    <a:lnTo>
                      <a:pt x="1202" y="1471"/>
                    </a:lnTo>
                    <a:lnTo>
                      <a:pt x="1203" y="1471"/>
                    </a:lnTo>
                    <a:lnTo>
                      <a:pt x="1203" y="1473"/>
                    </a:lnTo>
                    <a:lnTo>
                      <a:pt x="1203" y="1475"/>
                    </a:lnTo>
                    <a:lnTo>
                      <a:pt x="1202" y="1475"/>
                    </a:lnTo>
                    <a:lnTo>
                      <a:pt x="1202" y="1473"/>
                    </a:lnTo>
                    <a:lnTo>
                      <a:pt x="1200" y="1473"/>
                    </a:lnTo>
                    <a:lnTo>
                      <a:pt x="1200" y="1471"/>
                    </a:lnTo>
                    <a:lnTo>
                      <a:pt x="1198" y="1471"/>
                    </a:lnTo>
                    <a:lnTo>
                      <a:pt x="1198" y="1470"/>
                    </a:lnTo>
                    <a:lnTo>
                      <a:pt x="1200" y="1470"/>
                    </a:lnTo>
                    <a:close/>
                    <a:moveTo>
                      <a:pt x="1033" y="605"/>
                    </a:moveTo>
                    <a:lnTo>
                      <a:pt x="1033" y="607"/>
                    </a:lnTo>
                    <a:lnTo>
                      <a:pt x="1035" y="607"/>
                    </a:lnTo>
                    <a:lnTo>
                      <a:pt x="1035" y="609"/>
                    </a:lnTo>
                    <a:lnTo>
                      <a:pt x="1035" y="607"/>
                    </a:lnTo>
                    <a:lnTo>
                      <a:pt x="1033" y="607"/>
                    </a:lnTo>
                    <a:lnTo>
                      <a:pt x="1032" y="607"/>
                    </a:lnTo>
                    <a:lnTo>
                      <a:pt x="1030" y="607"/>
                    </a:lnTo>
                    <a:lnTo>
                      <a:pt x="1030" y="609"/>
                    </a:lnTo>
                    <a:lnTo>
                      <a:pt x="1030" y="607"/>
                    </a:lnTo>
                    <a:lnTo>
                      <a:pt x="1032" y="607"/>
                    </a:lnTo>
                    <a:lnTo>
                      <a:pt x="1032" y="605"/>
                    </a:lnTo>
                    <a:lnTo>
                      <a:pt x="1033" y="605"/>
                    </a:lnTo>
                    <a:close/>
                    <a:moveTo>
                      <a:pt x="1174" y="1427"/>
                    </a:moveTo>
                    <a:lnTo>
                      <a:pt x="1173" y="1427"/>
                    </a:lnTo>
                    <a:lnTo>
                      <a:pt x="1174" y="1429"/>
                    </a:lnTo>
                    <a:lnTo>
                      <a:pt x="1173" y="1430"/>
                    </a:lnTo>
                    <a:lnTo>
                      <a:pt x="1173" y="1432"/>
                    </a:lnTo>
                    <a:lnTo>
                      <a:pt x="1171" y="1432"/>
                    </a:lnTo>
                    <a:lnTo>
                      <a:pt x="1171" y="1430"/>
                    </a:lnTo>
                    <a:lnTo>
                      <a:pt x="1173" y="1429"/>
                    </a:lnTo>
                    <a:lnTo>
                      <a:pt x="1173" y="1427"/>
                    </a:lnTo>
                    <a:lnTo>
                      <a:pt x="1173" y="1425"/>
                    </a:lnTo>
                    <a:lnTo>
                      <a:pt x="1174" y="1427"/>
                    </a:lnTo>
                    <a:close/>
                    <a:moveTo>
                      <a:pt x="1193" y="1068"/>
                    </a:moveTo>
                    <a:lnTo>
                      <a:pt x="1193" y="1070"/>
                    </a:lnTo>
                    <a:lnTo>
                      <a:pt x="1193" y="1071"/>
                    </a:lnTo>
                    <a:lnTo>
                      <a:pt x="1191" y="1071"/>
                    </a:lnTo>
                    <a:lnTo>
                      <a:pt x="1190" y="1070"/>
                    </a:lnTo>
                    <a:lnTo>
                      <a:pt x="1190" y="1068"/>
                    </a:lnTo>
                    <a:lnTo>
                      <a:pt x="1191" y="1070"/>
                    </a:lnTo>
                    <a:lnTo>
                      <a:pt x="1191" y="1068"/>
                    </a:lnTo>
                    <a:lnTo>
                      <a:pt x="1193" y="1068"/>
                    </a:lnTo>
                    <a:close/>
                    <a:moveTo>
                      <a:pt x="1273" y="1611"/>
                    </a:moveTo>
                    <a:lnTo>
                      <a:pt x="1273" y="1612"/>
                    </a:lnTo>
                    <a:lnTo>
                      <a:pt x="1275" y="1612"/>
                    </a:lnTo>
                    <a:lnTo>
                      <a:pt x="1275" y="1614"/>
                    </a:lnTo>
                    <a:lnTo>
                      <a:pt x="1273" y="1614"/>
                    </a:lnTo>
                    <a:lnTo>
                      <a:pt x="1273" y="1616"/>
                    </a:lnTo>
                    <a:lnTo>
                      <a:pt x="1271" y="1614"/>
                    </a:lnTo>
                    <a:lnTo>
                      <a:pt x="1271" y="1616"/>
                    </a:lnTo>
                    <a:lnTo>
                      <a:pt x="1271" y="1614"/>
                    </a:lnTo>
                    <a:lnTo>
                      <a:pt x="1270" y="1614"/>
                    </a:lnTo>
                    <a:lnTo>
                      <a:pt x="1271" y="1614"/>
                    </a:lnTo>
                    <a:lnTo>
                      <a:pt x="1273" y="1614"/>
                    </a:lnTo>
                    <a:lnTo>
                      <a:pt x="1271" y="1614"/>
                    </a:lnTo>
                    <a:lnTo>
                      <a:pt x="1271" y="1612"/>
                    </a:lnTo>
                    <a:lnTo>
                      <a:pt x="1271" y="1611"/>
                    </a:lnTo>
                    <a:lnTo>
                      <a:pt x="1273" y="1611"/>
                    </a:lnTo>
                    <a:close/>
                    <a:moveTo>
                      <a:pt x="1162" y="1376"/>
                    </a:moveTo>
                    <a:lnTo>
                      <a:pt x="1161" y="1376"/>
                    </a:lnTo>
                    <a:lnTo>
                      <a:pt x="1162" y="1376"/>
                    </a:lnTo>
                    <a:lnTo>
                      <a:pt x="1162" y="1378"/>
                    </a:lnTo>
                    <a:lnTo>
                      <a:pt x="1162" y="1379"/>
                    </a:lnTo>
                    <a:lnTo>
                      <a:pt x="1161" y="1379"/>
                    </a:lnTo>
                    <a:lnTo>
                      <a:pt x="1159" y="1379"/>
                    </a:lnTo>
                    <a:lnTo>
                      <a:pt x="1159" y="1378"/>
                    </a:lnTo>
                    <a:lnTo>
                      <a:pt x="1161" y="1376"/>
                    </a:lnTo>
                    <a:lnTo>
                      <a:pt x="1161" y="1378"/>
                    </a:lnTo>
                    <a:lnTo>
                      <a:pt x="1161" y="1376"/>
                    </a:lnTo>
                    <a:lnTo>
                      <a:pt x="1162" y="1376"/>
                    </a:lnTo>
                    <a:close/>
                    <a:moveTo>
                      <a:pt x="1213" y="1119"/>
                    </a:moveTo>
                    <a:lnTo>
                      <a:pt x="1215" y="1121"/>
                    </a:lnTo>
                    <a:lnTo>
                      <a:pt x="1213" y="1122"/>
                    </a:lnTo>
                    <a:lnTo>
                      <a:pt x="1212" y="1121"/>
                    </a:lnTo>
                    <a:lnTo>
                      <a:pt x="1210" y="1121"/>
                    </a:lnTo>
                    <a:lnTo>
                      <a:pt x="1210" y="1122"/>
                    </a:lnTo>
                    <a:lnTo>
                      <a:pt x="1210" y="1121"/>
                    </a:lnTo>
                    <a:lnTo>
                      <a:pt x="1212" y="1119"/>
                    </a:lnTo>
                    <a:lnTo>
                      <a:pt x="1213" y="1119"/>
                    </a:lnTo>
                    <a:close/>
                    <a:moveTo>
                      <a:pt x="1178" y="1112"/>
                    </a:moveTo>
                    <a:lnTo>
                      <a:pt x="1179" y="1112"/>
                    </a:lnTo>
                    <a:lnTo>
                      <a:pt x="1179" y="1116"/>
                    </a:lnTo>
                    <a:lnTo>
                      <a:pt x="1178" y="1116"/>
                    </a:lnTo>
                    <a:lnTo>
                      <a:pt x="1178" y="1112"/>
                    </a:lnTo>
                    <a:close/>
                    <a:moveTo>
                      <a:pt x="1232" y="949"/>
                    </a:moveTo>
                    <a:lnTo>
                      <a:pt x="1234" y="951"/>
                    </a:lnTo>
                    <a:lnTo>
                      <a:pt x="1232" y="951"/>
                    </a:lnTo>
                    <a:lnTo>
                      <a:pt x="1234" y="951"/>
                    </a:lnTo>
                    <a:lnTo>
                      <a:pt x="1232" y="951"/>
                    </a:lnTo>
                    <a:lnTo>
                      <a:pt x="1230" y="951"/>
                    </a:lnTo>
                    <a:lnTo>
                      <a:pt x="1232" y="952"/>
                    </a:lnTo>
                    <a:lnTo>
                      <a:pt x="1230" y="952"/>
                    </a:lnTo>
                    <a:lnTo>
                      <a:pt x="1230" y="951"/>
                    </a:lnTo>
                    <a:lnTo>
                      <a:pt x="1230" y="949"/>
                    </a:lnTo>
                    <a:lnTo>
                      <a:pt x="1232" y="949"/>
                    </a:lnTo>
                    <a:close/>
                    <a:moveTo>
                      <a:pt x="1176" y="1481"/>
                    </a:moveTo>
                    <a:lnTo>
                      <a:pt x="1176" y="1483"/>
                    </a:lnTo>
                    <a:lnTo>
                      <a:pt x="1174" y="1483"/>
                    </a:lnTo>
                    <a:lnTo>
                      <a:pt x="1173" y="1483"/>
                    </a:lnTo>
                    <a:lnTo>
                      <a:pt x="1173" y="1481"/>
                    </a:lnTo>
                    <a:lnTo>
                      <a:pt x="1173" y="1483"/>
                    </a:lnTo>
                    <a:lnTo>
                      <a:pt x="1174" y="1481"/>
                    </a:lnTo>
                    <a:lnTo>
                      <a:pt x="1176" y="1481"/>
                    </a:lnTo>
                    <a:close/>
                    <a:moveTo>
                      <a:pt x="1185" y="1063"/>
                    </a:moveTo>
                    <a:lnTo>
                      <a:pt x="1186" y="1063"/>
                    </a:lnTo>
                    <a:lnTo>
                      <a:pt x="1188" y="1063"/>
                    </a:lnTo>
                    <a:lnTo>
                      <a:pt x="1188" y="1065"/>
                    </a:lnTo>
                    <a:lnTo>
                      <a:pt x="1186" y="1065"/>
                    </a:lnTo>
                    <a:lnTo>
                      <a:pt x="1185" y="1066"/>
                    </a:lnTo>
                    <a:lnTo>
                      <a:pt x="1185" y="1065"/>
                    </a:lnTo>
                    <a:lnTo>
                      <a:pt x="1186" y="1065"/>
                    </a:lnTo>
                    <a:lnTo>
                      <a:pt x="1185" y="1065"/>
                    </a:lnTo>
                    <a:lnTo>
                      <a:pt x="1185" y="1063"/>
                    </a:lnTo>
                    <a:close/>
                    <a:moveTo>
                      <a:pt x="1244" y="1582"/>
                    </a:moveTo>
                    <a:lnTo>
                      <a:pt x="1246" y="1582"/>
                    </a:lnTo>
                    <a:lnTo>
                      <a:pt x="1244" y="1583"/>
                    </a:lnTo>
                    <a:lnTo>
                      <a:pt x="1242" y="1583"/>
                    </a:lnTo>
                    <a:lnTo>
                      <a:pt x="1242" y="1582"/>
                    </a:lnTo>
                    <a:lnTo>
                      <a:pt x="1241" y="1582"/>
                    </a:lnTo>
                    <a:lnTo>
                      <a:pt x="1241" y="1580"/>
                    </a:lnTo>
                    <a:lnTo>
                      <a:pt x="1242" y="1582"/>
                    </a:lnTo>
                    <a:lnTo>
                      <a:pt x="1242" y="1580"/>
                    </a:lnTo>
                    <a:lnTo>
                      <a:pt x="1244" y="1582"/>
                    </a:lnTo>
                    <a:close/>
                    <a:moveTo>
                      <a:pt x="1212" y="1116"/>
                    </a:moveTo>
                    <a:lnTo>
                      <a:pt x="1213" y="1116"/>
                    </a:lnTo>
                    <a:lnTo>
                      <a:pt x="1213" y="1117"/>
                    </a:lnTo>
                    <a:lnTo>
                      <a:pt x="1213" y="1119"/>
                    </a:lnTo>
                    <a:lnTo>
                      <a:pt x="1212" y="1119"/>
                    </a:lnTo>
                    <a:lnTo>
                      <a:pt x="1210" y="1119"/>
                    </a:lnTo>
                    <a:lnTo>
                      <a:pt x="1210" y="1117"/>
                    </a:lnTo>
                    <a:lnTo>
                      <a:pt x="1212" y="1117"/>
                    </a:lnTo>
                    <a:lnTo>
                      <a:pt x="1212" y="1116"/>
                    </a:lnTo>
                    <a:close/>
                    <a:moveTo>
                      <a:pt x="1145" y="1264"/>
                    </a:moveTo>
                    <a:lnTo>
                      <a:pt x="1149" y="1264"/>
                    </a:lnTo>
                    <a:lnTo>
                      <a:pt x="1149" y="1269"/>
                    </a:lnTo>
                    <a:lnTo>
                      <a:pt x="1145" y="1269"/>
                    </a:lnTo>
                    <a:lnTo>
                      <a:pt x="1145" y="1264"/>
                    </a:lnTo>
                    <a:close/>
                    <a:moveTo>
                      <a:pt x="1176" y="1475"/>
                    </a:moveTo>
                    <a:lnTo>
                      <a:pt x="1178" y="1475"/>
                    </a:lnTo>
                    <a:lnTo>
                      <a:pt x="1178" y="1480"/>
                    </a:lnTo>
                    <a:lnTo>
                      <a:pt x="1176" y="1480"/>
                    </a:lnTo>
                    <a:lnTo>
                      <a:pt x="1176" y="1475"/>
                    </a:lnTo>
                    <a:close/>
                    <a:moveTo>
                      <a:pt x="1151" y="1289"/>
                    </a:moveTo>
                    <a:lnTo>
                      <a:pt x="1152" y="1289"/>
                    </a:lnTo>
                    <a:lnTo>
                      <a:pt x="1151" y="1291"/>
                    </a:lnTo>
                    <a:lnTo>
                      <a:pt x="1149" y="1291"/>
                    </a:lnTo>
                    <a:lnTo>
                      <a:pt x="1147" y="1293"/>
                    </a:lnTo>
                    <a:lnTo>
                      <a:pt x="1147" y="1291"/>
                    </a:lnTo>
                    <a:lnTo>
                      <a:pt x="1149" y="1291"/>
                    </a:lnTo>
                    <a:lnTo>
                      <a:pt x="1149" y="1289"/>
                    </a:lnTo>
                    <a:lnTo>
                      <a:pt x="1151" y="1289"/>
                    </a:lnTo>
                    <a:close/>
                    <a:moveTo>
                      <a:pt x="1178" y="1247"/>
                    </a:moveTo>
                    <a:lnTo>
                      <a:pt x="1179" y="1247"/>
                    </a:lnTo>
                    <a:lnTo>
                      <a:pt x="1178" y="1248"/>
                    </a:lnTo>
                    <a:lnTo>
                      <a:pt x="1176" y="1250"/>
                    </a:lnTo>
                    <a:lnTo>
                      <a:pt x="1176" y="1248"/>
                    </a:lnTo>
                    <a:lnTo>
                      <a:pt x="1176" y="1247"/>
                    </a:lnTo>
                    <a:lnTo>
                      <a:pt x="1178" y="1247"/>
                    </a:lnTo>
                    <a:close/>
                    <a:moveTo>
                      <a:pt x="1162" y="1301"/>
                    </a:moveTo>
                    <a:lnTo>
                      <a:pt x="1164" y="1301"/>
                    </a:lnTo>
                    <a:lnTo>
                      <a:pt x="1164" y="1303"/>
                    </a:lnTo>
                    <a:lnTo>
                      <a:pt x="1162" y="1303"/>
                    </a:lnTo>
                    <a:lnTo>
                      <a:pt x="1164" y="1303"/>
                    </a:lnTo>
                    <a:lnTo>
                      <a:pt x="1164" y="1305"/>
                    </a:lnTo>
                    <a:lnTo>
                      <a:pt x="1162" y="1303"/>
                    </a:lnTo>
                    <a:lnTo>
                      <a:pt x="1161" y="1303"/>
                    </a:lnTo>
                    <a:lnTo>
                      <a:pt x="1161" y="1301"/>
                    </a:lnTo>
                    <a:lnTo>
                      <a:pt x="1162" y="1301"/>
                    </a:lnTo>
                    <a:close/>
                    <a:moveTo>
                      <a:pt x="1423" y="1687"/>
                    </a:moveTo>
                    <a:lnTo>
                      <a:pt x="1424" y="1687"/>
                    </a:lnTo>
                    <a:lnTo>
                      <a:pt x="1424" y="1689"/>
                    </a:lnTo>
                    <a:lnTo>
                      <a:pt x="1426" y="1691"/>
                    </a:lnTo>
                    <a:lnTo>
                      <a:pt x="1424" y="1689"/>
                    </a:lnTo>
                    <a:lnTo>
                      <a:pt x="1424" y="1691"/>
                    </a:lnTo>
                    <a:lnTo>
                      <a:pt x="1423" y="1691"/>
                    </a:lnTo>
                    <a:lnTo>
                      <a:pt x="1423" y="1689"/>
                    </a:lnTo>
                    <a:lnTo>
                      <a:pt x="1421" y="1687"/>
                    </a:lnTo>
                    <a:lnTo>
                      <a:pt x="1421" y="1689"/>
                    </a:lnTo>
                    <a:lnTo>
                      <a:pt x="1421" y="1687"/>
                    </a:lnTo>
                    <a:lnTo>
                      <a:pt x="1423" y="1687"/>
                    </a:lnTo>
                    <a:close/>
                    <a:moveTo>
                      <a:pt x="1212" y="1061"/>
                    </a:moveTo>
                    <a:lnTo>
                      <a:pt x="1215" y="1061"/>
                    </a:lnTo>
                    <a:lnTo>
                      <a:pt x="1215" y="1065"/>
                    </a:lnTo>
                    <a:lnTo>
                      <a:pt x="1212" y="1065"/>
                    </a:lnTo>
                    <a:lnTo>
                      <a:pt x="1212" y="1061"/>
                    </a:lnTo>
                    <a:close/>
                    <a:moveTo>
                      <a:pt x="1331" y="1635"/>
                    </a:moveTo>
                    <a:lnTo>
                      <a:pt x="1331" y="1636"/>
                    </a:lnTo>
                    <a:lnTo>
                      <a:pt x="1329" y="1636"/>
                    </a:lnTo>
                    <a:lnTo>
                      <a:pt x="1329" y="1638"/>
                    </a:lnTo>
                    <a:lnTo>
                      <a:pt x="1327" y="1636"/>
                    </a:lnTo>
                    <a:lnTo>
                      <a:pt x="1329" y="1635"/>
                    </a:lnTo>
                    <a:lnTo>
                      <a:pt x="1331" y="1635"/>
                    </a:lnTo>
                    <a:lnTo>
                      <a:pt x="1332" y="1633"/>
                    </a:lnTo>
                    <a:lnTo>
                      <a:pt x="1331" y="1635"/>
                    </a:lnTo>
                    <a:close/>
                    <a:moveTo>
                      <a:pt x="1256" y="1587"/>
                    </a:moveTo>
                    <a:lnTo>
                      <a:pt x="1259" y="1587"/>
                    </a:lnTo>
                    <a:lnTo>
                      <a:pt x="1259" y="1592"/>
                    </a:lnTo>
                    <a:lnTo>
                      <a:pt x="1256" y="1592"/>
                    </a:lnTo>
                    <a:lnTo>
                      <a:pt x="1256" y="1587"/>
                    </a:lnTo>
                    <a:close/>
                    <a:moveTo>
                      <a:pt x="1208" y="1077"/>
                    </a:moveTo>
                    <a:lnTo>
                      <a:pt x="1212" y="1077"/>
                    </a:lnTo>
                    <a:lnTo>
                      <a:pt x="1212" y="1080"/>
                    </a:lnTo>
                    <a:lnTo>
                      <a:pt x="1208" y="1080"/>
                    </a:lnTo>
                    <a:lnTo>
                      <a:pt x="1208" y="1077"/>
                    </a:lnTo>
                    <a:close/>
                    <a:moveTo>
                      <a:pt x="1375" y="1663"/>
                    </a:moveTo>
                    <a:lnTo>
                      <a:pt x="1377" y="1663"/>
                    </a:lnTo>
                    <a:lnTo>
                      <a:pt x="1377" y="1665"/>
                    </a:lnTo>
                    <a:lnTo>
                      <a:pt x="1378" y="1665"/>
                    </a:lnTo>
                    <a:lnTo>
                      <a:pt x="1378" y="1667"/>
                    </a:lnTo>
                    <a:lnTo>
                      <a:pt x="1377" y="1667"/>
                    </a:lnTo>
                    <a:lnTo>
                      <a:pt x="1377" y="1665"/>
                    </a:lnTo>
                    <a:lnTo>
                      <a:pt x="1375" y="1665"/>
                    </a:lnTo>
                    <a:lnTo>
                      <a:pt x="1375" y="1663"/>
                    </a:lnTo>
                    <a:lnTo>
                      <a:pt x="1373" y="1663"/>
                    </a:lnTo>
                    <a:lnTo>
                      <a:pt x="1375" y="1663"/>
                    </a:lnTo>
                    <a:close/>
                    <a:moveTo>
                      <a:pt x="1185" y="1061"/>
                    </a:moveTo>
                    <a:lnTo>
                      <a:pt x="1186" y="1061"/>
                    </a:lnTo>
                    <a:lnTo>
                      <a:pt x="1188" y="1061"/>
                    </a:lnTo>
                    <a:lnTo>
                      <a:pt x="1190" y="1063"/>
                    </a:lnTo>
                    <a:lnTo>
                      <a:pt x="1188" y="1063"/>
                    </a:lnTo>
                    <a:lnTo>
                      <a:pt x="1186" y="1063"/>
                    </a:lnTo>
                    <a:lnTo>
                      <a:pt x="1185" y="1063"/>
                    </a:lnTo>
                    <a:lnTo>
                      <a:pt x="1185" y="1061"/>
                    </a:lnTo>
                    <a:close/>
                    <a:moveTo>
                      <a:pt x="1208" y="1080"/>
                    </a:moveTo>
                    <a:lnTo>
                      <a:pt x="1210" y="1082"/>
                    </a:lnTo>
                    <a:lnTo>
                      <a:pt x="1208" y="1082"/>
                    </a:lnTo>
                    <a:lnTo>
                      <a:pt x="1207" y="1082"/>
                    </a:lnTo>
                    <a:lnTo>
                      <a:pt x="1207" y="1080"/>
                    </a:lnTo>
                    <a:lnTo>
                      <a:pt x="1208" y="1082"/>
                    </a:lnTo>
                    <a:lnTo>
                      <a:pt x="1208" y="1080"/>
                    </a:lnTo>
                    <a:lnTo>
                      <a:pt x="1207" y="1080"/>
                    </a:lnTo>
                    <a:lnTo>
                      <a:pt x="1208" y="1080"/>
                    </a:lnTo>
                    <a:close/>
                    <a:moveTo>
                      <a:pt x="1193" y="1493"/>
                    </a:moveTo>
                    <a:lnTo>
                      <a:pt x="1193" y="1495"/>
                    </a:lnTo>
                    <a:lnTo>
                      <a:pt x="1195" y="1493"/>
                    </a:lnTo>
                    <a:lnTo>
                      <a:pt x="1195" y="1495"/>
                    </a:lnTo>
                    <a:lnTo>
                      <a:pt x="1193" y="1495"/>
                    </a:lnTo>
                    <a:lnTo>
                      <a:pt x="1193" y="1497"/>
                    </a:lnTo>
                    <a:lnTo>
                      <a:pt x="1191" y="1495"/>
                    </a:lnTo>
                    <a:lnTo>
                      <a:pt x="1191" y="1497"/>
                    </a:lnTo>
                    <a:lnTo>
                      <a:pt x="1191" y="1495"/>
                    </a:lnTo>
                    <a:lnTo>
                      <a:pt x="1190" y="1495"/>
                    </a:lnTo>
                    <a:lnTo>
                      <a:pt x="1191" y="1495"/>
                    </a:lnTo>
                    <a:lnTo>
                      <a:pt x="1191" y="1493"/>
                    </a:lnTo>
                    <a:lnTo>
                      <a:pt x="1191" y="1495"/>
                    </a:lnTo>
                    <a:lnTo>
                      <a:pt x="1191" y="1493"/>
                    </a:lnTo>
                    <a:lnTo>
                      <a:pt x="1191" y="1495"/>
                    </a:lnTo>
                    <a:lnTo>
                      <a:pt x="1193" y="1493"/>
                    </a:lnTo>
                    <a:close/>
                    <a:moveTo>
                      <a:pt x="1161" y="1247"/>
                    </a:moveTo>
                    <a:lnTo>
                      <a:pt x="1159" y="1247"/>
                    </a:lnTo>
                    <a:lnTo>
                      <a:pt x="1159" y="1248"/>
                    </a:lnTo>
                    <a:lnTo>
                      <a:pt x="1157" y="1248"/>
                    </a:lnTo>
                    <a:lnTo>
                      <a:pt x="1156" y="1250"/>
                    </a:lnTo>
                    <a:lnTo>
                      <a:pt x="1156" y="1248"/>
                    </a:lnTo>
                    <a:lnTo>
                      <a:pt x="1156" y="1250"/>
                    </a:lnTo>
                    <a:lnTo>
                      <a:pt x="1154" y="1250"/>
                    </a:lnTo>
                    <a:lnTo>
                      <a:pt x="1156" y="1250"/>
                    </a:lnTo>
                    <a:lnTo>
                      <a:pt x="1154" y="1250"/>
                    </a:lnTo>
                    <a:lnTo>
                      <a:pt x="1156" y="1250"/>
                    </a:lnTo>
                    <a:lnTo>
                      <a:pt x="1156" y="1248"/>
                    </a:lnTo>
                    <a:lnTo>
                      <a:pt x="1157" y="1247"/>
                    </a:lnTo>
                    <a:lnTo>
                      <a:pt x="1157" y="1248"/>
                    </a:lnTo>
                    <a:lnTo>
                      <a:pt x="1157" y="1247"/>
                    </a:lnTo>
                    <a:lnTo>
                      <a:pt x="1159" y="1247"/>
                    </a:lnTo>
                    <a:lnTo>
                      <a:pt x="1161" y="1245"/>
                    </a:lnTo>
                    <a:lnTo>
                      <a:pt x="1161" y="1247"/>
                    </a:lnTo>
                    <a:close/>
                    <a:moveTo>
                      <a:pt x="1195" y="1063"/>
                    </a:moveTo>
                    <a:lnTo>
                      <a:pt x="1193" y="1065"/>
                    </a:lnTo>
                    <a:lnTo>
                      <a:pt x="1191" y="1065"/>
                    </a:lnTo>
                    <a:lnTo>
                      <a:pt x="1191" y="1063"/>
                    </a:lnTo>
                    <a:lnTo>
                      <a:pt x="1193" y="1063"/>
                    </a:lnTo>
                    <a:lnTo>
                      <a:pt x="1195" y="1063"/>
                    </a:lnTo>
                    <a:close/>
                    <a:moveTo>
                      <a:pt x="1196" y="1466"/>
                    </a:moveTo>
                    <a:lnTo>
                      <a:pt x="1198" y="1466"/>
                    </a:lnTo>
                    <a:lnTo>
                      <a:pt x="1198" y="1468"/>
                    </a:lnTo>
                    <a:lnTo>
                      <a:pt x="1200" y="1468"/>
                    </a:lnTo>
                    <a:lnTo>
                      <a:pt x="1198" y="1468"/>
                    </a:lnTo>
                    <a:lnTo>
                      <a:pt x="1198" y="1470"/>
                    </a:lnTo>
                    <a:lnTo>
                      <a:pt x="1198" y="1468"/>
                    </a:lnTo>
                    <a:lnTo>
                      <a:pt x="1196" y="1470"/>
                    </a:lnTo>
                    <a:lnTo>
                      <a:pt x="1196" y="1468"/>
                    </a:lnTo>
                    <a:lnTo>
                      <a:pt x="1195" y="1466"/>
                    </a:lnTo>
                    <a:lnTo>
                      <a:pt x="1196" y="1466"/>
                    </a:lnTo>
                    <a:close/>
                    <a:moveTo>
                      <a:pt x="1213" y="1515"/>
                    </a:moveTo>
                    <a:lnTo>
                      <a:pt x="1212" y="1515"/>
                    </a:lnTo>
                    <a:lnTo>
                      <a:pt x="1212" y="1517"/>
                    </a:lnTo>
                    <a:lnTo>
                      <a:pt x="1210" y="1517"/>
                    </a:lnTo>
                    <a:lnTo>
                      <a:pt x="1212" y="1515"/>
                    </a:lnTo>
                    <a:lnTo>
                      <a:pt x="1210" y="1515"/>
                    </a:lnTo>
                    <a:lnTo>
                      <a:pt x="1210" y="1514"/>
                    </a:lnTo>
                    <a:lnTo>
                      <a:pt x="1212" y="1514"/>
                    </a:lnTo>
                    <a:lnTo>
                      <a:pt x="1210" y="1514"/>
                    </a:lnTo>
                    <a:lnTo>
                      <a:pt x="1212" y="1514"/>
                    </a:lnTo>
                    <a:lnTo>
                      <a:pt x="1213" y="1514"/>
                    </a:lnTo>
                    <a:lnTo>
                      <a:pt x="1213" y="1515"/>
                    </a:lnTo>
                    <a:close/>
                    <a:moveTo>
                      <a:pt x="1378" y="1660"/>
                    </a:moveTo>
                    <a:lnTo>
                      <a:pt x="1378" y="1662"/>
                    </a:lnTo>
                    <a:lnTo>
                      <a:pt x="1378" y="1660"/>
                    </a:lnTo>
                    <a:lnTo>
                      <a:pt x="1380" y="1662"/>
                    </a:lnTo>
                    <a:lnTo>
                      <a:pt x="1378" y="1662"/>
                    </a:lnTo>
                    <a:lnTo>
                      <a:pt x="1378" y="1663"/>
                    </a:lnTo>
                    <a:lnTo>
                      <a:pt x="1377" y="1663"/>
                    </a:lnTo>
                    <a:lnTo>
                      <a:pt x="1377" y="1662"/>
                    </a:lnTo>
                    <a:lnTo>
                      <a:pt x="1378" y="1662"/>
                    </a:lnTo>
                    <a:lnTo>
                      <a:pt x="1377" y="1662"/>
                    </a:lnTo>
                    <a:lnTo>
                      <a:pt x="1375" y="1662"/>
                    </a:lnTo>
                    <a:lnTo>
                      <a:pt x="1375" y="1660"/>
                    </a:lnTo>
                    <a:lnTo>
                      <a:pt x="1377" y="1660"/>
                    </a:lnTo>
                    <a:lnTo>
                      <a:pt x="1378" y="1660"/>
                    </a:lnTo>
                    <a:close/>
                    <a:moveTo>
                      <a:pt x="1263" y="1604"/>
                    </a:moveTo>
                    <a:lnTo>
                      <a:pt x="1263" y="1606"/>
                    </a:lnTo>
                    <a:lnTo>
                      <a:pt x="1264" y="1606"/>
                    </a:lnTo>
                    <a:lnTo>
                      <a:pt x="1264" y="1607"/>
                    </a:lnTo>
                    <a:lnTo>
                      <a:pt x="1266" y="1607"/>
                    </a:lnTo>
                    <a:lnTo>
                      <a:pt x="1264" y="1607"/>
                    </a:lnTo>
                    <a:lnTo>
                      <a:pt x="1263" y="1607"/>
                    </a:lnTo>
                    <a:lnTo>
                      <a:pt x="1261" y="1606"/>
                    </a:lnTo>
                    <a:lnTo>
                      <a:pt x="1263" y="1604"/>
                    </a:lnTo>
                    <a:close/>
                    <a:moveTo>
                      <a:pt x="1173" y="1359"/>
                    </a:moveTo>
                    <a:lnTo>
                      <a:pt x="1174" y="1359"/>
                    </a:lnTo>
                    <a:lnTo>
                      <a:pt x="1173" y="1361"/>
                    </a:lnTo>
                    <a:lnTo>
                      <a:pt x="1171" y="1361"/>
                    </a:lnTo>
                    <a:lnTo>
                      <a:pt x="1171" y="1359"/>
                    </a:lnTo>
                    <a:lnTo>
                      <a:pt x="1173" y="1359"/>
                    </a:lnTo>
                    <a:close/>
                    <a:moveTo>
                      <a:pt x="1363" y="1665"/>
                    </a:moveTo>
                    <a:lnTo>
                      <a:pt x="1366" y="1665"/>
                    </a:lnTo>
                    <a:lnTo>
                      <a:pt x="1366" y="1672"/>
                    </a:lnTo>
                    <a:lnTo>
                      <a:pt x="1363" y="1672"/>
                    </a:lnTo>
                    <a:lnTo>
                      <a:pt x="1363" y="1665"/>
                    </a:lnTo>
                    <a:close/>
                    <a:moveTo>
                      <a:pt x="1253" y="1590"/>
                    </a:moveTo>
                    <a:lnTo>
                      <a:pt x="1256" y="1590"/>
                    </a:lnTo>
                    <a:lnTo>
                      <a:pt x="1256" y="1594"/>
                    </a:lnTo>
                    <a:lnTo>
                      <a:pt x="1253" y="1594"/>
                    </a:lnTo>
                    <a:lnTo>
                      <a:pt x="1253" y="1590"/>
                    </a:lnTo>
                    <a:close/>
                    <a:moveTo>
                      <a:pt x="1217" y="971"/>
                    </a:moveTo>
                    <a:lnTo>
                      <a:pt x="1219" y="971"/>
                    </a:lnTo>
                    <a:lnTo>
                      <a:pt x="1219" y="973"/>
                    </a:lnTo>
                    <a:lnTo>
                      <a:pt x="1217" y="973"/>
                    </a:lnTo>
                    <a:lnTo>
                      <a:pt x="1217" y="971"/>
                    </a:lnTo>
                    <a:lnTo>
                      <a:pt x="1215" y="971"/>
                    </a:lnTo>
                    <a:lnTo>
                      <a:pt x="1217" y="969"/>
                    </a:lnTo>
                    <a:lnTo>
                      <a:pt x="1217" y="971"/>
                    </a:lnTo>
                    <a:close/>
                    <a:moveTo>
                      <a:pt x="1203" y="1473"/>
                    </a:moveTo>
                    <a:lnTo>
                      <a:pt x="1207" y="1473"/>
                    </a:lnTo>
                    <a:lnTo>
                      <a:pt x="1207" y="1478"/>
                    </a:lnTo>
                    <a:lnTo>
                      <a:pt x="1203" y="1478"/>
                    </a:lnTo>
                    <a:lnTo>
                      <a:pt x="1203" y="1473"/>
                    </a:lnTo>
                    <a:close/>
                    <a:moveTo>
                      <a:pt x="1232" y="1600"/>
                    </a:moveTo>
                    <a:lnTo>
                      <a:pt x="1230" y="1602"/>
                    </a:lnTo>
                    <a:lnTo>
                      <a:pt x="1229" y="1602"/>
                    </a:lnTo>
                    <a:lnTo>
                      <a:pt x="1227" y="1602"/>
                    </a:lnTo>
                    <a:lnTo>
                      <a:pt x="1227" y="1600"/>
                    </a:lnTo>
                    <a:lnTo>
                      <a:pt x="1229" y="1600"/>
                    </a:lnTo>
                    <a:lnTo>
                      <a:pt x="1230" y="1600"/>
                    </a:lnTo>
                    <a:lnTo>
                      <a:pt x="1232" y="1600"/>
                    </a:lnTo>
                    <a:close/>
                    <a:moveTo>
                      <a:pt x="1331" y="1633"/>
                    </a:moveTo>
                    <a:lnTo>
                      <a:pt x="1334" y="1633"/>
                    </a:lnTo>
                    <a:lnTo>
                      <a:pt x="1334" y="1636"/>
                    </a:lnTo>
                    <a:lnTo>
                      <a:pt x="1331" y="1636"/>
                    </a:lnTo>
                    <a:lnTo>
                      <a:pt x="1331" y="1633"/>
                    </a:lnTo>
                    <a:close/>
                    <a:moveTo>
                      <a:pt x="1263" y="1589"/>
                    </a:moveTo>
                    <a:lnTo>
                      <a:pt x="1264" y="1589"/>
                    </a:lnTo>
                    <a:lnTo>
                      <a:pt x="1264" y="1590"/>
                    </a:lnTo>
                    <a:lnTo>
                      <a:pt x="1263" y="1590"/>
                    </a:lnTo>
                    <a:lnTo>
                      <a:pt x="1264" y="1590"/>
                    </a:lnTo>
                    <a:lnTo>
                      <a:pt x="1263" y="1590"/>
                    </a:lnTo>
                    <a:lnTo>
                      <a:pt x="1261" y="1590"/>
                    </a:lnTo>
                    <a:lnTo>
                      <a:pt x="1261" y="1589"/>
                    </a:lnTo>
                    <a:lnTo>
                      <a:pt x="1263" y="1589"/>
                    </a:lnTo>
                    <a:close/>
                    <a:moveTo>
                      <a:pt x="1181" y="1464"/>
                    </a:moveTo>
                    <a:lnTo>
                      <a:pt x="1179" y="1466"/>
                    </a:lnTo>
                    <a:lnTo>
                      <a:pt x="1178" y="1466"/>
                    </a:lnTo>
                    <a:lnTo>
                      <a:pt x="1178" y="1468"/>
                    </a:lnTo>
                    <a:lnTo>
                      <a:pt x="1178" y="1466"/>
                    </a:lnTo>
                    <a:lnTo>
                      <a:pt x="1178" y="1464"/>
                    </a:lnTo>
                    <a:lnTo>
                      <a:pt x="1179" y="1464"/>
                    </a:lnTo>
                    <a:lnTo>
                      <a:pt x="1181" y="1463"/>
                    </a:lnTo>
                    <a:lnTo>
                      <a:pt x="1181" y="1464"/>
                    </a:lnTo>
                    <a:close/>
                    <a:moveTo>
                      <a:pt x="1327" y="1645"/>
                    </a:moveTo>
                    <a:lnTo>
                      <a:pt x="1329" y="1645"/>
                    </a:lnTo>
                    <a:lnTo>
                      <a:pt x="1329" y="1646"/>
                    </a:lnTo>
                    <a:lnTo>
                      <a:pt x="1331" y="1646"/>
                    </a:lnTo>
                    <a:lnTo>
                      <a:pt x="1329" y="1646"/>
                    </a:lnTo>
                    <a:lnTo>
                      <a:pt x="1329" y="1648"/>
                    </a:lnTo>
                    <a:lnTo>
                      <a:pt x="1331" y="1648"/>
                    </a:lnTo>
                    <a:lnTo>
                      <a:pt x="1332" y="1648"/>
                    </a:lnTo>
                    <a:lnTo>
                      <a:pt x="1331" y="1648"/>
                    </a:lnTo>
                    <a:lnTo>
                      <a:pt x="1329" y="1648"/>
                    </a:lnTo>
                    <a:lnTo>
                      <a:pt x="1327" y="1648"/>
                    </a:lnTo>
                    <a:lnTo>
                      <a:pt x="1329" y="1646"/>
                    </a:lnTo>
                    <a:lnTo>
                      <a:pt x="1327" y="1646"/>
                    </a:lnTo>
                    <a:lnTo>
                      <a:pt x="1327" y="1645"/>
                    </a:lnTo>
                    <a:close/>
                    <a:moveTo>
                      <a:pt x="1217" y="1500"/>
                    </a:moveTo>
                    <a:lnTo>
                      <a:pt x="1219" y="1500"/>
                    </a:lnTo>
                    <a:lnTo>
                      <a:pt x="1219" y="1502"/>
                    </a:lnTo>
                    <a:lnTo>
                      <a:pt x="1217" y="1502"/>
                    </a:lnTo>
                    <a:lnTo>
                      <a:pt x="1215" y="1502"/>
                    </a:lnTo>
                    <a:lnTo>
                      <a:pt x="1217" y="1502"/>
                    </a:lnTo>
                    <a:lnTo>
                      <a:pt x="1215" y="1502"/>
                    </a:lnTo>
                    <a:lnTo>
                      <a:pt x="1217" y="1500"/>
                    </a:lnTo>
                    <a:lnTo>
                      <a:pt x="1219" y="1498"/>
                    </a:lnTo>
                    <a:lnTo>
                      <a:pt x="1219" y="1500"/>
                    </a:lnTo>
                    <a:lnTo>
                      <a:pt x="1217" y="1500"/>
                    </a:lnTo>
                    <a:close/>
                    <a:moveTo>
                      <a:pt x="1171" y="1446"/>
                    </a:moveTo>
                    <a:lnTo>
                      <a:pt x="1174" y="1446"/>
                    </a:lnTo>
                    <a:lnTo>
                      <a:pt x="1174" y="1451"/>
                    </a:lnTo>
                    <a:lnTo>
                      <a:pt x="1171" y="1451"/>
                    </a:lnTo>
                    <a:lnTo>
                      <a:pt x="1171" y="1446"/>
                    </a:lnTo>
                    <a:close/>
                    <a:moveTo>
                      <a:pt x="1190" y="1119"/>
                    </a:moveTo>
                    <a:lnTo>
                      <a:pt x="1191" y="1119"/>
                    </a:lnTo>
                    <a:lnTo>
                      <a:pt x="1191" y="1122"/>
                    </a:lnTo>
                    <a:lnTo>
                      <a:pt x="1190" y="1122"/>
                    </a:lnTo>
                    <a:lnTo>
                      <a:pt x="1190" y="1119"/>
                    </a:lnTo>
                    <a:close/>
                    <a:moveTo>
                      <a:pt x="1222" y="1570"/>
                    </a:moveTo>
                    <a:lnTo>
                      <a:pt x="1224" y="1570"/>
                    </a:lnTo>
                    <a:lnTo>
                      <a:pt x="1224" y="1572"/>
                    </a:lnTo>
                    <a:lnTo>
                      <a:pt x="1222" y="1572"/>
                    </a:lnTo>
                    <a:lnTo>
                      <a:pt x="1222" y="1570"/>
                    </a:lnTo>
                    <a:lnTo>
                      <a:pt x="1220" y="1572"/>
                    </a:lnTo>
                    <a:lnTo>
                      <a:pt x="1220" y="1570"/>
                    </a:lnTo>
                    <a:lnTo>
                      <a:pt x="1222" y="1570"/>
                    </a:lnTo>
                    <a:close/>
                    <a:moveTo>
                      <a:pt x="1205" y="1019"/>
                    </a:moveTo>
                    <a:lnTo>
                      <a:pt x="1208" y="1019"/>
                    </a:lnTo>
                    <a:lnTo>
                      <a:pt x="1208" y="1022"/>
                    </a:lnTo>
                    <a:lnTo>
                      <a:pt x="1205" y="1022"/>
                    </a:lnTo>
                    <a:lnTo>
                      <a:pt x="1205" y="1019"/>
                    </a:lnTo>
                    <a:close/>
                    <a:moveTo>
                      <a:pt x="1164" y="1366"/>
                    </a:moveTo>
                    <a:lnTo>
                      <a:pt x="1168" y="1366"/>
                    </a:lnTo>
                    <a:lnTo>
                      <a:pt x="1168" y="1371"/>
                    </a:lnTo>
                    <a:lnTo>
                      <a:pt x="1164" y="1371"/>
                    </a:lnTo>
                    <a:lnTo>
                      <a:pt x="1164" y="1366"/>
                    </a:lnTo>
                    <a:close/>
                    <a:moveTo>
                      <a:pt x="1191" y="1498"/>
                    </a:moveTo>
                    <a:lnTo>
                      <a:pt x="1193" y="1498"/>
                    </a:lnTo>
                    <a:lnTo>
                      <a:pt x="1193" y="1500"/>
                    </a:lnTo>
                    <a:lnTo>
                      <a:pt x="1191" y="1502"/>
                    </a:lnTo>
                    <a:lnTo>
                      <a:pt x="1191" y="1500"/>
                    </a:lnTo>
                    <a:lnTo>
                      <a:pt x="1193" y="1500"/>
                    </a:lnTo>
                    <a:lnTo>
                      <a:pt x="1191" y="1500"/>
                    </a:lnTo>
                    <a:lnTo>
                      <a:pt x="1191" y="1498"/>
                    </a:lnTo>
                    <a:lnTo>
                      <a:pt x="1190" y="1498"/>
                    </a:lnTo>
                    <a:lnTo>
                      <a:pt x="1190" y="1497"/>
                    </a:lnTo>
                    <a:lnTo>
                      <a:pt x="1191" y="1497"/>
                    </a:lnTo>
                    <a:lnTo>
                      <a:pt x="1191" y="1498"/>
                    </a:lnTo>
                    <a:close/>
                    <a:moveTo>
                      <a:pt x="1186" y="1060"/>
                    </a:moveTo>
                    <a:lnTo>
                      <a:pt x="1188" y="1061"/>
                    </a:lnTo>
                    <a:lnTo>
                      <a:pt x="1188" y="1060"/>
                    </a:lnTo>
                    <a:lnTo>
                      <a:pt x="1190" y="1061"/>
                    </a:lnTo>
                    <a:lnTo>
                      <a:pt x="1191" y="1061"/>
                    </a:lnTo>
                    <a:lnTo>
                      <a:pt x="1190" y="1061"/>
                    </a:lnTo>
                    <a:lnTo>
                      <a:pt x="1188" y="1061"/>
                    </a:lnTo>
                    <a:lnTo>
                      <a:pt x="1186" y="1061"/>
                    </a:lnTo>
                    <a:lnTo>
                      <a:pt x="1185" y="1061"/>
                    </a:lnTo>
                    <a:lnTo>
                      <a:pt x="1185" y="1060"/>
                    </a:lnTo>
                    <a:lnTo>
                      <a:pt x="1186" y="1060"/>
                    </a:lnTo>
                    <a:close/>
                    <a:moveTo>
                      <a:pt x="1191" y="1449"/>
                    </a:moveTo>
                    <a:lnTo>
                      <a:pt x="1193" y="1451"/>
                    </a:lnTo>
                    <a:lnTo>
                      <a:pt x="1195" y="1451"/>
                    </a:lnTo>
                    <a:lnTo>
                      <a:pt x="1196" y="1453"/>
                    </a:lnTo>
                    <a:lnTo>
                      <a:pt x="1195" y="1453"/>
                    </a:lnTo>
                    <a:lnTo>
                      <a:pt x="1195" y="1454"/>
                    </a:lnTo>
                    <a:lnTo>
                      <a:pt x="1193" y="1453"/>
                    </a:lnTo>
                    <a:lnTo>
                      <a:pt x="1195" y="1453"/>
                    </a:lnTo>
                    <a:lnTo>
                      <a:pt x="1193" y="1453"/>
                    </a:lnTo>
                    <a:lnTo>
                      <a:pt x="1193" y="1451"/>
                    </a:lnTo>
                    <a:lnTo>
                      <a:pt x="1191" y="1451"/>
                    </a:lnTo>
                    <a:lnTo>
                      <a:pt x="1191" y="1449"/>
                    </a:lnTo>
                    <a:lnTo>
                      <a:pt x="1191" y="1451"/>
                    </a:lnTo>
                    <a:lnTo>
                      <a:pt x="1191" y="1449"/>
                    </a:lnTo>
                    <a:close/>
                    <a:moveTo>
                      <a:pt x="1215" y="993"/>
                    </a:moveTo>
                    <a:lnTo>
                      <a:pt x="1213" y="995"/>
                    </a:lnTo>
                    <a:lnTo>
                      <a:pt x="1213" y="993"/>
                    </a:lnTo>
                    <a:lnTo>
                      <a:pt x="1212" y="995"/>
                    </a:lnTo>
                    <a:lnTo>
                      <a:pt x="1212" y="993"/>
                    </a:lnTo>
                    <a:lnTo>
                      <a:pt x="1213" y="993"/>
                    </a:lnTo>
                    <a:lnTo>
                      <a:pt x="1213" y="992"/>
                    </a:lnTo>
                    <a:lnTo>
                      <a:pt x="1215" y="993"/>
                    </a:lnTo>
                    <a:close/>
                    <a:moveTo>
                      <a:pt x="1426" y="1677"/>
                    </a:moveTo>
                    <a:lnTo>
                      <a:pt x="1428" y="1677"/>
                    </a:lnTo>
                    <a:lnTo>
                      <a:pt x="1428" y="1679"/>
                    </a:lnTo>
                    <a:lnTo>
                      <a:pt x="1426" y="1679"/>
                    </a:lnTo>
                    <a:lnTo>
                      <a:pt x="1426" y="1680"/>
                    </a:lnTo>
                    <a:lnTo>
                      <a:pt x="1424" y="1680"/>
                    </a:lnTo>
                    <a:lnTo>
                      <a:pt x="1424" y="1679"/>
                    </a:lnTo>
                    <a:lnTo>
                      <a:pt x="1426" y="1677"/>
                    </a:lnTo>
                    <a:close/>
                    <a:moveTo>
                      <a:pt x="1213" y="747"/>
                    </a:moveTo>
                    <a:lnTo>
                      <a:pt x="1213" y="748"/>
                    </a:lnTo>
                    <a:lnTo>
                      <a:pt x="1213" y="747"/>
                    </a:lnTo>
                    <a:lnTo>
                      <a:pt x="1212" y="748"/>
                    </a:lnTo>
                    <a:lnTo>
                      <a:pt x="1212" y="747"/>
                    </a:lnTo>
                    <a:lnTo>
                      <a:pt x="1212" y="745"/>
                    </a:lnTo>
                    <a:lnTo>
                      <a:pt x="1212" y="747"/>
                    </a:lnTo>
                    <a:lnTo>
                      <a:pt x="1213" y="747"/>
                    </a:lnTo>
                    <a:close/>
                    <a:moveTo>
                      <a:pt x="1220" y="993"/>
                    </a:moveTo>
                    <a:lnTo>
                      <a:pt x="1222" y="993"/>
                    </a:lnTo>
                    <a:lnTo>
                      <a:pt x="1222" y="995"/>
                    </a:lnTo>
                    <a:lnTo>
                      <a:pt x="1220" y="995"/>
                    </a:lnTo>
                    <a:lnTo>
                      <a:pt x="1219" y="993"/>
                    </a:lnTo>
                    <a:lnTo>
                      <a:pt x="1220" y="993"/>
                    </a:lnTo>
                    <a:close/>
                    <a:moveTo>
                      <a:pt x="1168" y="1259"/>
                    </a:moveTo>
                    <a:lnTo>
                      <a:pt x="1171" y="1259"/>
                    </a:lnTo>
                    <a:lnTo>
                      <a:pt x="1171" y="1262"/>
                    </a:lnTo>
                    <a:lnTo>
                      <a:pt x="1168" y="1262"/>
                    </a:lnTo>
                    <a:lnTo>
                      <a:pt x="1168" y="1259"/>
                    </a:lnTo>
                    <a:close/>
                    <a:moveTo>
                      <a:pt x="1159" y="1252"/>
                    </a:moveTo>
                    <a:lnTo>
                      <a:pt x="1161" y="1253"/>
                    </a:lnTo>
                    <a:lnTo>
                      <a:pt x="1159" y="1253"/>
                    </a:lnTo>
                    <a:lnTo>
                      <a:pt x="1157" y="1255"/>
                    </a:lnTo>
                    <a:lnTo>
                      <a:pt x="1157" y="1253"/>
                    </a:lnTo>
                    <a:lnTo>
                      <a:pt x="1159" y="1253"/>
                    </a:lnTo>
                    <a:lnTo>
                      <a:pt x="1157" y="1253"/>
                    </a:lnTo>
                    <a:lnTo>
                      <a:pt x="1156" y="1253"/>
                    </a:lnTo>
                    <a:lnTo>
                      <a:pt x="1157" y="1253"/>
                    </a:lnTo>
                    <a:lnTo>
                      <a:pt x="1159" y="1252"/>
                    </a:lnTo>
                    <a:close/>
                    <a:moveTo>
                      <a:pt x="1290" y="1575"/>
                    </a:moveTo>
                    <a:lnTo>
                      <a:pt x="1292" y="1575"/>
                    </a:lnTo>
                    <a:lnTo>
                      <a:pt x="1292" y="1580"/>
                    </a:lnTo>
                    <a:lnTo>
                      <a:pt x="1290" y="1580"/>
                    </a:lnTo>
                    <a:lnTo>
                      <a:pt x="1290" y="1575"/>
                    </a:lnTo>
                    <a:close/>
                    <a:moveTo>
                      <a:pt x="1290" y="1629"/>
                    </a:moveTo>
                    <a:lnTo>
                      <a:pt x="1293" y="1629"/>
                    </a:lnTo>
                    <a:lnTo>
                      <a:pt x="1293" y="1635"/>
                    </a:lnTo>
                    <a:lnTo>
                      <a:pt x="1290" y="1635"/>
                    </a:lnTo>
                    <a:lnTo>
                      <a:pt x="1290" y="1629"/>
                    </a:lnTo>
                    <a:close/>
                    <a:moveTo>
                      <a:pt x="1161" y="1245"/>
                    </a:moveTo>
                    <a:lnTo>
                      <a:pt x="1159" y="1247"/>
                    </a:lnTo>
                    <a:lnTo>
                      <a:pt x="1157" y="1247"/>
                    </a:lnTo>
                    <a:lnTo>
                      <a:pt x="1157" y="1245"/>
                    </a:lnTo>
                    <a:lnTo>
                      <a:pt x="1159" y="1245"/>
                    </a:lnTo>
                    <a:lnTo>
                      <a:pt x="1157" y="1245"/>
                    </a:lnTo>
                    <a:lnTo>
                      <a:pt x="1159" y="1245"/>
                    </a:lnTo>
                    <a:lnTo>
                      <a:pt x="1161" y="1245"/>
                    </a:lnTo>
                    <a:lnTo>
                      <a:pt x="1161" y="1243"/>
                    </a:lnTo>
                    <a:lnTo>
                      <a:pt x="1161" y="1245"/>
                    </a:lnTo>
                    <a:close/>
                    <a:moveTo>
                      <a:pt x="1210" y="1017"/>
                    </a:moveTo>
                    <a:lnTo>
                      <a:pt x="1213" y="1017"/>
                    </a:lnTo>
                    <a:lnTo>
                      <a:pt x="1213" y="1020"/>
                    </a:lnTo>
                    <a:lnTo>
                      <a:pt x="1210" y="1020"/>
                    </a:lnTo>
                    <a:lnTo>
                      <a:pt x="1210" y="1017"/>
                    </a:lnTo>
                    <a:close/>
                    <a:moveTo>
                      <a:pt x="1200" y="1085"/>
                    </a:moveTo>
                    <a:lnTo>
                      <a:pt x="1200" y="1087"/>
                    </a:lnTo>
                    <a:lnTo>
                      <a:pt x="1198" y="1085"/>
                    </a:lnTo>
                    <a:lnTo>
                      <a:pt x="1196" y="1085"/>
                    </a:lnTo>
                    <a:lnTo>
                      <a:pt x="1198" y="1085"/>
                    </a:lnTo>
                    <a:lnTo>
                      <a:pt x="1200" y="1083"/>
                    </a:lnTo>
                    <a:lnTo>
                      <a:pt x="1200" y="1085"/>
                    </a:lnTo>
                    <a:close/>
                    <a:moveTo>
                      <a:pt x="1210" y="1253"/>
                    </a:moveTo>
                    <a:lnTo>
                      <a:pt x="1210" y="1255"/>
                    </a:lnTo>
                    <a:lnTo>
                      <a:pt x="1212" y="1255"/>
                    </a:lnTo>
                    <a:lnTo>
                      <a:pt x="1212" y="1257"/>
                    </a:lnTo>
                    <a:lnTo>
                      <a:pt x="1210" y="1255"/>
                    </a:lnTo>
                    <a:lnTo>
                      <a:pt x="1208" y="1255"/>
                    </a:lnTo>
                    <a:lnTo>
                      <a:pt x="1208" y="1253"/>
                    </a:lnTo>
                    <a:lnTo>
                      <a:pt x="1210" y="1253"/>
                    </a:lnTo>
                    <a:close/>
                    <a:moveTo>
                      <a:pt x="1156" y="1187"/>
                    </a:moveTo>
                    <a:lnTo>
                      <a:pt x="1157" y="1189"/>
                    </a:lnTo>
                    <a:lnTo>
                      <a:pt x="1159" y="1191"/>
                    </a:lnTo>
                    <a:lnTo>
                      <a:pt x="1157" y="1191"/>
                    </a:lnTo>
                    <a:lnTo>
                      <a:pt x="1156" y="1189"/>
                    </a:lnTo>
                    <a:lnTo>
                      <a:pt x="1154" y="1189"/>
                    </a:lnTo>
                    <a:lnTo>
                      <a:pt x="1156" y="1187"/>
                    </a:lnTo>
                    <a:close/>
                    <a:moveTo>
                      <a:pt x="1219" y="1119"/>
                    </a:moveTo>
                    <a:lnTo>
                      <a:pt x="1217" y="1121"/>
                    </a:lnTo>
                    <a:lnTo>
                      <a:pt x="1215" y="1121"/>
                    </a:lnTo>
                    <a:lnTo>
                      <a:pt x="1217" y="1119"/>
                    </a:lnTo>
                    <a:lnTo>
                      <a:pt x="1215" y="1119"/>
                    </a:lnTo>
                    <a:lnTo>
                      <a:pt x="1217" y="1119"/>
                    </a:lnTo>
                    <a:lnTo>
                      <a:pt x="1219" y="1119"/>
                    </a:lnTo>
                    <a:close/>
                    <a:moveTo>
                      <a:pt x="1210" y="1242"/>
                    </a:moveTo>
                    <a:lnTo>
                      <a:pt x="1210" y="1243"/>
                    </a:lnTo>
                    <a:lnTo>
                      <a:pt x="1208" y="1243"/>
                    </a:lnTo>
                    <a:lnTo>
                      <a:pt x="1207" y="1243"/>
                    </a:lnTo>
                    <a:lnTo>
                      <a:pt x="1207" y="1242"/>
                    </a:lnTo>
                    <a:lnTo>
                      <a:pt x="1208" y="1242"/>
                    </a:lnTo>
                    <a:lnTo>
                      <a:pt x="1210" y="1242"/>
                    </a:lnTo>
                    <a:close/>
                    <a:moveTo>
                      <a:pt x="1151" y="1291"/>
                    </a:moveTo>
                    <a:lnTo>
                      <a:pt x="1154" y="1291"/>
                    </a:lnTo>
                    <a:lnTo>
                      <a:pt x="1154" y="1294"/>
                    </a:lnTo>
                    <a:lnTo>
                      <a:pt x="1151" y="1294"/>
                    </a:lnTo>
                    <a:lnTo>
                      <a:pt x="1151" y="1291"/>
                    </a:lnTo>
                    <a:close/>
                    <a:moveTo>
                      <a:pt x="1164" y="1476"/>
                    </a:moveTo>
                    <a:lnTo>
                      <a:pt x="1168" y="1476"/>
                    </a:lnTo>
                    <a:lnTo>
                      <a:pt x="1168" y="1480"/>
                    </a:lnTo>
                    <a:lnTo>
                      <a:pt x="1164" y="1480"/>
                    </a:lnTo>
                    <a:lnTo>
                      <a:pt x="1164" y="1476"/>
                    </a:lnTo>
                    <a:close/>
                    <a:moveTo>
                      <a:pt x="1188" y="1475"/>
                    </a:moveTo>
                    <a:lnTo>
                      <a:pt x="1188" y="1476"/>
                    </a:lnTo>
                    <a:lnTo>
                      <a:pt x="1186" y="1476"/>
                    </a:lnTo>
                    <a:lnTo>
                      <a:pt x="1186" y="1475"/>
                    </a:lnTo>
                    <a:lnTo>
                      <a:pt x="1188" y="1475"/>
                    </a:lnTo>
                    <a:lnTo>
                      <a:pt x="1186" y="1475"/>
                    </a:lnTo>
                    <a:lnTo>
                      <a:pt x="1185" y="1475"/>
                    </a:lnTo>
                    <a:lnTo>
                      <a:pt x="1186" y="1475"/>
                    </a:lnTo>
                    <a:lnTo>
                      <a:pt x="1188" y="1473"/>
                    </a:lnTo>
                    <a:lnTo>
                      <a:pt x="1190" y="1475"/>
                    </a:lnTo>
                    <a:lnTo>
                      <a:pt x="1188" y="1475"/>
                    </a:lnTo>
                    <a:close/>
                    <a:moveTo>
                      <a:pt x="1186" y="1119"/>
                    </a:moveTo>
                    <a:lnTo>
                      <a:pt x="1188" y="1119"/>
                    </a:lnTo>
                    <a:lnTo>
                      <a:pt x="1188" y="1124"/>
                    </a:lnTo>
                    <a:lnTo>
                      <a:pt x="1186" y="1124"/>
                    </a:lnTo>
                    <a:lnTo>
                      <a:pt x="1186" y="1119"/>
                    </a:lnTo>
                    <a:close/>
                    <a:moveTo>
                      <a:pt x="1326" y="1648"/>
                    </a:moveTo>
                    <a:lnTo>
                      <a:pt x="1327" y="1650"/>
                    </a:lnTo>
                    <a:lnTo>
                      <a:pt x="1329" y="1650"/>
                    </a:lnTo>
                    <a:lnTo>
                      <a:pt x="1327" y="1650"/>
                    </a:lnTo>
                    <a:lnTo>
                      <a:pt x="1326" y="1650"/>
                    </a:lnTo>
                    <a:lnTo>
                      <a:pt x="1324" y="1650"/>
                    </a:lnTo>
                    <a:lnTo>
                      <a:pt x="1324" y="1648"/>
                    </a:lnTo>
                    <a:lnTo>
                      <a:pt x="1326" y="1648"/>
                    </a:lnTo>
                    <a:close/>
                    <a:moveTo>
                      <a:pt x="1205" y="1065"/>
                    </a:moveTo>
                    <a:lnTo>
                      <a:pt x="1208" y="1065"/>
                    </a:lnTo>
                    <a:lnTo>
                      <a:pt x="1208" y="1066"/>
                    </a:lnTo>
                    <a:lnTo>
                      <a:pt x="1205" y="1066"/>
                    </a:lnTo>
                    <a:lnTo>
                      <a:pt x="1205" y="1065"/>
                    </a:lnTo>
                    <a:close/>
                    <a:moveTo>
                      <a:pt x="1198" y="1068"/>
                    </a:moveTo>
                    <a:lnTo>
                      <a:pt x="1202" y="1068"/>
                    </a:lnTo>
                    <a:lnTo>
                      <a:pt x="1202" y="1071"/>
                    </a:lnTo>
                    <a:lnTo>
                      <a:pt x="1198" y="1071"/>
                    </a:lnTo>
                    <a:lnTo>
                      <a:pt x="1198" y="1068"/>
                    </a:lnTo>
                    <a:close/>
                    <a:moveTo>
                      <a:pt x="1210" y="1022"/>
                    </a:moveTo>
                    <a:lnTo>
                      <a:pt x="1210" y="1024"/>
                    </a:lnTo>
                    <a:lnTo>
                      <a:pt x="1210" y="1022"/>
                    </a:lnTo>
                    <a:lnTo>
                      <a:pt x="1208" y="1022"/>
                    </a:lnTo>
                    <a:lnTo>
                      <a:pt x="1208" y="1020"/>
                    </a:lnTo>
                    <a:lnTo>
                      <a:pt x="1208" y="1019"/>
                    </a:lnTo>
                    <a:lnTo>
                      <a:pt x="1210" y="1019"/>
                    </a:lnTo>
                    <a:lnTo>
                      <a:pt x="1210" y="1020"/>
                    </a:lnTo>
                    <a:lnTo>
                      <a:pt x="1210" y="1022"/>
                    </a:lnTo>
                    <a:close/>
                    <a:moveTo>
                      <a:pt x="1178" y="1383"/>
                    </a:moveTo>
                    <a:lnTo>
                      <a:pt x="1181" y="1383"/>
                    </a:lnTo>
                    <a:lnTo>
                      <a:pt x="1181" y="1386"/>
                    </a:lnTo>
                    <a:lnTo>
                      <a:pt x="1178" y="1386"/>
                    </a:lnTo>
                    <a:lnTo>
                      <a:pt x="1178" y="1383"/>
                    </a:lnTo>
                    <a:close/>
                    <a:moveTo>
                      <a:pt x="1205" y="1104"/>
                    </a:moveTo>
                    <a:lnTo>
                      <a:pt x="1208" y="1104"/>
                    </a:lnTo>
                    <a:lnTo>
                      <a:pt x="1208" y="1107"/>
                    </a:lnTo>
                    <a:lnTo>
                      <a:pt x="1205" y="1107"/>
                    </a:lnTo>
                    <a:lnTo>
                      <a:pt x="1205" y="1104"/>
                    </a:lnTo>
                    <a:close/>
                    <a:moveTo>
                      <a:pt x="1205" y="1053"/>
                    </a:moveTo>
                    <a:lnTo>
                      <a:pt x="1203" y="1054"/>
                    </a:lnTo>
                    <a:lnTo>
                      <a:pt x="1202" y="1054"/>
                    </a:lnTo>
                    <a:lnTo>
                      <a:pt x="1202" y="1053"/>
                    </a:lnTo>
                    <a:lnTo>
                      <a:pt x="1203" y="1053"/>
                    </a:lnTo>
                    <a:lnTo>
                      <a:pt x="1205" y="1053"/>
                    </a:lnTo>
                    <a:close/>
                    <a:moveTo>
                      <a:pt x="1191" y="1396"/>
                    </a:moveTo>
                    <a:lnTo>
                      <a:pt x="1193" y="1396"/>
                    </a:lnTo>
                    <a:lnTo>
                      <a:pt x="1193" y="1400"/>
                    </a:lnTo>
                    <a:lnTo>
                      <a:pt x="1191" y="1400"/>
                    </a:lnTo>
                    <a:lnTo>
                      <a:pt x="1191" y="1396"/>
                    </a:lnTo>
                    <a:close/>
                    <a:moveTo>
                      <a:pt x="1224" y="1556"/>
                    </a:moveTo>
                    <a:lnTo>
                      <a:pt x="1224" y="1558"/>
                    </a:lnTo>
                    <a:lnTo>
                      <a:pt x="1224" y="1556"/>
                    </a:lnTo>
                    <a:lnTo>
                      <a:pt x="1224" y="1558"/>
                    </a:lnTo>
                    <a:lnTo>
                      <a:pt x="1222" y="1558"/>
                    </a:lnTo>
                    <a:lnTo>
                      <a:pt x="1220" y="1558"/>
                    </a:lnTo>
                    <a:lnTo>
                      <a:pt x="1222" y="1558"/>
                    </a:lnTo>
                    <a:lnTo>
                      <a:pt x="1224" y="1556"/>
                    </a:lnTo>
                    <a:lnTo>
                      <a:pt x="1222" y="1558"/>
                    </a:lnTo>
                    <a:lnTo>
                      <a:pt x="1220" y="1558"/>
                    </a:lnTo>
                    <a:lnTo>
                      <a:pt x="1222" y="1556"/>
                    </a:lnTo>
                    <a:lnTo>
                      <a:pt x="1224" y="1556"/>
                    </a:lnTo>
                    <a:close/>
                    <a:moveTo>
                      <a:pt x="1356" y="1663"/>
                    </a:moveTo>
                    <a:lnTo>
                      <a:pt x="1358" y="1663"/>
                    </a:lnTo>
                    <a:lnTo>
                      <a:pt x="1356" y="1665"/>
                    </a:lnTo>
                    <a:lnTo>
                      <a:pt x="1355" y="1665"/>
                    </a:lnTo>
                    <a:lnTo>
                      <a:pt x="1356" y="1667"/>
                    </a:lnTo>
                    <a:lnTo>
                      <a:pt x="1355" y="1665"/>
                    </a:lnTo>
                    <a:lnTo>
                      <a:pt x="1355" y="1663"/>
                    </a:lnTo>
                    <a:lnTo>
                      <a:pt x="1356" y="1663"/>
                    </a:lnTo>
                    <a:close/>
                    <a:moveTo>
                      <a:pt x="1183" y="1464"/>
                    </a:moveTo>
                    <a:lnTo>
                      <a:pt x="1186" y="1464"/>
                    </a:lnTo>
                    <a:lnTo>
                      <a:pt x="1186" y="1468"/>
                    </a:lnTo>
                    <a:lnTo>
                      <a:pt x="1183" y="1468"/>
                    </a:lnTo>
                    <a:lnTo>
                      <a:pt x="1183" y="1464"/>
                    </a:lnTo>
                    <a:close/>
                    <a:moveTo>
                      <a:pt x="1268" y="1614"/>
                    </a:moveTo>
                    <a:lnTo>
                      <a:pt x="1271" y="1614"/>
                    </a:lnTo>
                    <a:lnTo>
                      <a:pt x="1271" y="1619"/>
                    </a:lnTo>
                    <a:lnTo>
                      <a:pt x="1268" y="1619"/>
                    </a:lnTo>
                    <a:lnTo>
                      <a:pt x="1268" y="1614"/>
                    </a:lnTo>
                    <a:close/>
                    <a:moveTo>
                      <a:pt x="1202" y="1544"/>
                    </a:moveTo>
                    <a:lnTo>
                      <a:pt x="1203" y="1544"/>
                    </a:lnTo>
                    <a:lnTo>
                      <a:pt x="1203" y="1546"/>
                    </a:lnTo>
                    <a:lnTo>
                      <a:pt x="1202" y="1546"/>
                    </a:lnTo>
                    <a:lnTo>
                      <a:pt x="1202" y="1544"/>
                    </a:lnTo>
                    <a:close/>
                    <a:moveTo>
                      <a:pt x="1176" y="1487"/>
                    </a:moveTo>
                    <a:lnTo>
                      <a:pt x="1179" y="1487"/>
                    </a:lnTo>
                    <a:lnTo>
                      <a:pt x="1179" y="1488"/>
                    </a:lnTo>
                    <a:lnTo>
                      <a:pt x="1176" y="1488"/>
                    </a:lnTo>
                    <a:lnTo>
                      <a:pt x="1176" y="1487"/>
                    </a:lnTo>
                    <a:close/>
                    <a:moveTo>
                      <a:pt x="1181" y="1328"/>
                    </a:moveTo>
                    <a:lnTo>
                      <a:pt x="1183" y="1328"/>
                    </a:lnTo>
                    <a:lnTo>
                      <a:pt x="1183" y="1333"/>
                    </a:lnTo>
                    <a:lnTo>
                      <a:pt x="1181" y="1333"/>
                    </a:lnTo>
                    <a:lnTo>
                      <a:pt x="1181" y="1328"/>
                    </a:lnTo>
                    <a:close/>
                    <a:moveTo>
                      <a:pt x="1200" y="1080"/>
                    </a:moveTo>
                    <a:lnTo>
                      <a:pt x="1202" y="1080"/>
                    </a:lnTo>
                    <a:lnTo>
                      <a:pt x="1202" y="1082"/>
                    </a:lnTo>
                    <a:lnTo>
                      <a:pt x="1200" y="1082"/>
                    </a:lnTo>
                    <a:lnTo>
                      <a:pt x="1200" y="1080"/>
                    </a:lnTo>
                    <a:close/>
                    <a:moveTo>
                      <a:pt x="1171" y="1252"/>
                    </a:moveTo>
                    <a:lnTo>
                      <a:pt x="1173" y="1252"/>
                    </a:lnTo>
                    <a:lnTo>
                      <a:pt x="1173" y="1257"/>
                    </a:lnTo>
                    <a:lnTo>
                      <a:pt x="1171" y="1257"/>
                    </a:lnTo>
                    <a:lnTo>
                      <a:pt x="1171" y="1252"/>
                    </a:lnTo>
                    <a:close/>
                    <a:moveTo>
                      <a:pt x="1217" y="1082"/>
                    </a:moveTo>
                    <a:lnTo>
                      <a:pt x="1220" y="1082"/>
                    </a:lnTo>
                    <a:lnTo>
                      <a:pt x="1220" y="1085"/>
                    </a:lnTo>
                    <a:lnTo>
                      <a:pt x="1217" y="1085"/>
                    </a:lnTo>
                    <a:lnTo>
                      <a:pt x="1217" y="1082"/>
                    </a:lnTo>
                    <a:close/>
                    <a:moveTo>
                      <a:pt x="1162" y="1407"/>
                    </a:moveTo>
                    <a:lnTo>
                      <a:pt x="1164" y="1407"/>
                    </a:lnTo>
                    <a:lnTo>
                      <a:pt x="1162" y="1408"/>
                    </a:lnTo>
                    <a:lnTo>
                      <a:pt x="1161" y="1408"/>
                    </a:lnTo>
                    <a:lnTo>
                      <a:pt x="1161" y="1407"/>
                    </a:lnTo>
                    <a:lnTo>
                      <a:pt x="1162" y="1407"/>
                    </a:lnTo>
                    <a:close/>
                    <a:moveTo>
                      <a:pt x="1149" y="1373"/>
                    </a:moveTo>
                    <a:lnTo>
                      <a:pt x="1152" y="1373"/>
                    </a:lnTo>
                    <a:lnTo>
                      <a:pt x="1152" y="1376"/>
                    </a:lnTo>
                    <a:lnTo>
                      <a:pt x="1149" y="1376"/>
                    </a:lnTo>
                    <a:lnTo>
                      <a:pt x="1149" y="1373"/>
                    </a:lnTo>
                    <a:close/>
                    <a:moveTo>
                      <a:pt x="1217" y="985"/>
                    </a:moveTo>
                    <a:lnTo>
                      <a:pt x="1220" y="985"/>
                    </a:lnTo>
                    <a:lnTo>
                      <a:pt x="1220" y="986"/>
                    </a:lnTo>
                    <a:lnTo>
                      <a:pt x="1217" y="986"/>
                    </a:lnTo>
                    <a:lnTo>
                      <a:pt x="1217" y="985"/>
                    </a:lnTo>
                    <a:close/>
                    <a:moveTo>
                      <a:pt x="1161" y="1356"/>
                    </a:moveTo>
                    <a:lnTo>
                      <a:pt x="1162" y="1356"/>
                    </a:lnTo>
                    <a:lnTo>
                      <a:pt x="1162" y="1361"/>
                    </a:lnTo>
                    <a:lnTo>
                      <a:pt x="1161" y="1361"/>
                    </a:lnTo>
                    <a:lnTo>
                      <a:pt x="1161" y="1356"/>
                    </a:lnTo>
                    <a:close/>
                    <a:moveTo>
                      <a:pt x="1154" y="1364"/>
                    </a:moveTo>
                    <a:lnTo>
                      <a:pt x="1157" y="1364"/>
                    </a:lnTo>
                    <a:lnTo>
                      <a:pt x="1157" y="1367"/>
                    </a:lnTo>
                    <a:lnTo>
                      <a:pt x="1154" y="1367"/>
                    </a:lnTo>
                    <a:lnTo>
                      <a:pt x="1154" y="1364"/>
                    </a:lnTo>
                    <a:close/>
                    <a:moveTo>
                      <a:pt x="1365" y="1650"/>
                    </a:moveTo>
                    <a:lnTo>
                      <a:pt x="1366" y="1650"/>
                    </a:lnTo>
                    <a:lnTo>
                      <a:pt x="1366" y="1653"/>
                    </a:lnTo>
                    <a:lnTo>
                      <a:pt x="1365" y="1653"/>
                    </a:lnTo>
                    <a:lnTo>
                      <a:pt x="1365" y="1650"/>
                    </a:lnTo>
                    <a:close/>
                    <a:moveTo>
                      <a:pt x="1246" y="1590"/>
                    </a:moveTo>
                    <a:lnTo>
                      <a:pt x="1246" y="1589"/>
                    </a:lnTo>
                    <a:lnTo>
                      <a:pt x="1247" y="1590"/>
                    </a:lnTo>
                    <a:lnTo>
                      <a:pt x="1249" y="1592"/>
                    </a:lnTo>
                    <a:lnTo>
                      <a:pt x="1247" y="1592"/>
                    </a:lnTo>
                    <a:lnTo>
                      <a:pt x="1247" y="1590"/>
                    </a:lnTo>
                    <a:lnTo>
                      <a:pt x="1246" y="1590"/>
                    </a:lnTo>
                    <a:lnTo>
                      <a:pt x="1244" y="1590"/>
                    </a:lnTo>
                    <a:lnTo>
                      <a:pt x="1246" y="1590"/>
                    </a:lnTo>
                    <a:lnTo>
                      <a:pt x="1246" y="1589"/>
                    </a:lnTo>
                    <a:lnTo>
                      <a:pt x="1246" y="1590"/>
                    </a:lnTo>
                    <a:close/>
                    <a:moveTo>
                      <a:pt x="1202" y="1090"/>
                    </a:moveTo>
                    <a:lnTo>
                      <a:pt x="1203" y="1092"/>
                    </a:lnTo>
                    <a:lnTo>
                      <a:pt x="1202" y="1092"/>
                    </a:lnTo>
                    <a:lnTo>
                      <a:pt x="1200" y="1092"/>
                    </a:lnTo>
                    <a:lnTo>
                      <a:pt x="1198" y="1092"/>
                    </a:lnTo>
                    <a:lnTo>
                      <a:pt x="1200" y="1092"/>
                    </a:lnTo>
                    <a:lnTo>
                      <a:pt x="1200" y="1090"/>
                    </a:lnTo>
                    <a:lnTo>
                      <a:pt x="1202" y="1090"/>
                    </a:lnTo>
                    <a:close/>
                    <a:moveTo>
                      <a:pt x="1185" y="1524"/>
                    </a:moveTo>
                    <a:lnTo>
                      <a:pt x="1186" y="1524"/>
                    </a:lnTo>
                    <a:lnTo>
                      <a:pt x="1186" y="1527"/>
                    </a:lnTo>
                    <a:lnTo>
                      <a:pt x="1185" y="1527"/>
                    </a:lnTo>
                    <a:lnTo>
                      <a:pt x="1185" y="1524"/>
                    </a:lnTo>
                    <a:close/>
                    <a:moveTo>
                      <a:pt x="1210" y="1058"/>
                    </a:moveTo>
                    <a:lnTo>
                      <a:pt x="1212" y="1058"/>
                    </a:lnTo>
                    <a:lnTo>
                      <a:pt x="1212" y="1061"/>
                    </a:lnTo>
                    <a:lnTo>
                      <a:pt x="1210" y="1061"/>
                    </a:lnTo>
                    <a:lnTo>
                      <a:pt x="1210" y="1058"/>
                    </a:lnTo>
                    <a:close/>
                    <a:moveTo>
                      <a:pt x="1246" y="964"/>
                    </a:moveTo>
                    <a:lnTo>
                      <a:pt x="1247" y="964"/>
                    </a:lnTo>
                    <a:lnTo>
                      <a:pt x="1247" y="968"/>
                    </a:lnTo>
                    <a:lnTo>
                      <a:pt x="1246" y="968"/>
                    </a:lnTo>
                    <a:lnTo>
                      <a:pt x="1246" y="964"/>
                    </a:lnTo>
                    <a:close/>
                    <a:moveTo>
                      <a:pt x="1186" y="1027"/>
                    </a:moveTo>
                    <a:lnTo>
                      <a:pt x="1188" y="1027"/>
                    </a:lnTo>
                    <a:lnTo>
                      <a:pt x="1188" y="1031"/>
                    </a:lnTo>
                    <a:lnTo>
                      <a:pt x="1186" y="1031"/>
                    </a:lnTo>
                    <a:lnTo>
                      <a:pt x="1186" y="1027"/>
                    </a:lnTo>
                    <a:close/>
                    <a:moveTo>
                      <a:pt x="1144" y="1322"/>
                    </a:moveTo>
                    <a:lnTo>
                      <a:pt x="1147" y="1322"/>
                    </a:lnTo>
                    <a:lnTo>
                      <a:pt x="1147" y="1325"/>
                    </a:lnTo>
                    <a:lnTo>
                      <a:pt x="1144" y="1325"/>
                    </a:lnTo>
                    <a:lnTo>
                      <a:pt x="1144" y="1322"/>
                    </a:lnTo>
                    <a:close/>
                    <a:moveTo>
                      <a:pt x="1202" y="1536"/>
                    </a:moveTo>
                    <a:lnTo>
                      <a:pt x="1202" y="1538"/>
                    </a:lnTo>
                    <a:lnTo>
                      <a:pt x="1202" y="1536"/>
                    </a:lnTo>
                    <a:lnTo>
                      <a:pt x="1203" y="1538"/>
                    </a:lnTo>
                    <a:lnTo>
                      <a:pt x="1202" y="1538"/>
                    </a:lnTo>
                    <a:lnTo>
                      <a:pt x="1200" y="1536"/>
                    </a:lnTo>
                    <a:lnTo>
                      <a:pt x="1202" y="1536"/>
                    </a:lnTo>
                    <a:close/>
                    <a:moveTo>
                      <a:pt x="1368" y="1663"/>
                    </a:moveTo>
                    <a:lnTo>
                      <a:pt x="1372" y="1663"/>
                    </a:lnTo>
                    <a:lnTo>
                      <a:pt x="1372" y="1665"/>
                    </a:lnTo>
                    <a:lnTo>
                      <a:pt x="1368" y="1665"/>
                    </a:lnTo>
                    <a:lnTo>
                      <a:pt x="1368" y="1663"/>
                    </a:lnTo>
                    <a:close/>
                    <a:moveTo>
                      <a:pt x="1307" y="1640"/>
                    </a:moveTo>
                    <a:lnTo>
                      <a:pt x="1310" y="1640"/>
                    </a:lnTo>
                    <a:lnTo>
                      <a:pt x="1310" y="1643"/>
                    </a:lnTo>
                    <a:lnTo>
                      <a:pt x="1307" y="1643"/>
                    </a:lnTo>
                    <a:lnTo>
                      <a:pt x="1307" y="1640"/>
                    </a:lnTo>
                    <a:close/>
                    <a:moveTo>
                      <a:pt x="1188" y="1058"/>
                    </a:moveTo>
                    <a:lnTo>
                      <a:pt x="1190" y="1058"/>
                    </a:lnTo>
                    <a:lnTo>
                      <a:pt x="1191" y="1058"/>
                    </a:lnTo>
                    <a:lnTo>
                      <a:pt x="1190" y="1060"/>
                    </a:lnTo>
                    <a:lnTo>
                      <a:pt x="1188" y="1060"/>
                    </a:lnTo>
                    <a:lnTo>
                      <a:pt x="1186" y="1058"/>
                    </a:lnTo>
                    <a:lnTo>
                      <a:pt x="1188" y="1058"/>
                    </a:lnTo>
                    <a:close/>
                    <a:moveTo>
                      <a:pt x="1178" y="1485"/>
                    </a:moveTo>
                    <a:lnTo>
                      <a:pt x="1181" y="1485"/>
                    </a:lnTo>
                    <a:lnTo>
                      <a:pt x="1181" y="1487"/>
                    </a:lnTo>
                    <a:lnTo>
                      <a:pt x="1178" y="1487"/>
                    </a:lnTo>
                    <a:lnTo>
                      <a:pt x="1178" y="1485"/>
                    </a:lnTo>
                    <a:close/>
                    <a:moveTo>
                      <a:pt x="1210" y="1551"/>
                    </a:moveTo>
                    <a:lnTo>
                      <a:pt x="1213" y="1551"/>
                    </a:lnTo>
                    <a:lnTo>
                      <a:pt x="1213" y="1555"/>
                    </a:lnTo>
                    <a:lnTo>
                      <a:pt x="1210" y="1555"/>
                    </a:lnTo>
                    <a:lnTo>
                      <a:pt x="1210" y="1551"/>
                    </a:lnTo>
                    <a:close/>
                    <a:moveTo>
                      <a:pt x="1360" y="1667"/>
                    </a:moveTo>
                    <a:lnTo>
                      <a:pt x="1361" y="1667"/>
                    </a:lnTo>
                    <a:lnTo>
                      <a:pt x="1361" y="1670"/>
                    </a:lnTo>
                    <a:lnTo>
                      <a:pt x="1360" y="1670"/>
                    </a:lnTo>
                    <a:lnTo>
                      <a:pt x="1360" y="1667"/>
                    </a:lnTo>
                    <a:close/>
                    <a:moveTo>
                      <a:pt x="1210" y="1242"/>
                    </a:moveTo>
                    <a:lnTo>
                      <a:pt x="1213" y="1242"/>
                    </a:lnTo>
                    <a:lnTo>
                      <a:pt x="1213" y="1245"/>
                    </a:lnTo>
                    <a:lnTo>
                      <a:pt x="1210" y="1245"/>
                    </a:lnTo>
                    <a:lnTo>
                      <a:pt x="1210" y="1242"/>
                    </a:lnTo>
                    <a:close/>
                    <a:moveTo>
                      <a:pt x="1200" y="1541"/>
                    </a:moveTo>
                    <a:lnTo>
                      <a:pt x="1203" y="1541"/>
                    </a:lnTo>
                    <a:lnTo>
                      <a:pt x="1203" y="1543"/>
                    </a:lnTo>
                    <a:lnTo>
                      <a:pt x="1200" y="1543"/>
                    </a:lnTo>
                    <a:lnTo>
                      <a:pt x="1200" y="1541"/>
                    </a:lnTo>
                    <a:close/>
                    <a:moveTo>
                      <a:pt x="1151" y="1330"/>
                    </a:moveTo>
                    <a:lnTo>
                      <a:pt x="1154" y="1330"/>
                    </a:lnTo>
                    <a:lnTo>
                      <a:pt x="1154" y="1333"/>
                    </a:lnTo>
                    <a:lnTo>
                      <a:pt x="1151" y="1333"/>
                    </a:lnTo>
                    <a:lnTo>
                      <a:pt x="1151" y="1330"/>
                    </a:lnTo>
                    <a:close/>
                    <a:moveTo>
                      <a:pt x="1205" y="1080"/>
                    </a:moveTo>
                    <a:lnTo>
                      <a:pt x="1207" y="1080"/>
                    </a:lnTo>
                    <a:lnTo>
                      <a:pt x="1207" y="1082"/>
                    </a:lnTo>
                    <a:lnTo>
                      <a:pt x="1205" y="1082"/>
                    </a:lnTo>
                    <a:lnTo>
                      <a:pt x="1205" y="1080"/>
                    </a:lnTo>
                    <a:close/>
                    <a:moveTo>
                      <a:pt x="1225" y="1580"/>
                    </a:moveTo>
                    <a:lnTo>
                      <a:pt x="1227" y="1580"/>
                    </a:lnTo>
                    <a:lnTo>
                      <a:pt x="1227" y="1583"/>
                    </a:lnTo>
                    <a:lnTo>
                      <a:pt x="1225" y="1583"/>
                    </a:lnTo>
                    <a:lnTo>
                      <a:pt x="1225" y="1580"/>
                    </a:lnTo>
                    <a:close/>
                    <a:moveTo>
                      <a:pt x="1195" y="1146"/>
                    </a:moveTo>
                    <a:lnTo>
                      <a:pt x="1195" y="1148"/>
                    </a:lnTo>
                    <a:lnTo>
                      <a:pt x="1193" y="1148"/>
                    </a:lnTo>
                    <a:lnTo>
                      <a:pt x="1191" y="1146"/>
                    </a:lnTo>
                    <a:lnTo>
                      <a:pt x="1193" y="1146"/>
                    </a:lnTo>
                    <a:lnTo>
                      <a:pt x="1195" y="1146"/>
                    </a:lnTo>
                    <a:close/>
                    <a:moveTo>
                      <a:pt x="1290" y="1616"/>
                    </a:moveTo>
                    <a:lnTo>
                      <a:pt x="1288" y="1618"/>
                    </a:lnTo>
                    <a:lnTo>
                      <a:pt x="1287" y="1616"/>
                    </a:lnTo>
                    <a:lnTo>
                      <a:pt x="1288" y="1616"/>
                    </a:lnTo>
                    <a:lnTo>
                      <a:pt x="1290" y="1616"/>
                    </a:lnTo>
                    <a:lnTo>
                      <a:pt x="1288" y="1616"/>
                    </a:lnTo>
                    <a:lnTo>
                      <a:pt x="1290" y="1616"/>
                    </a:lnTo>
                    <a:close/>
                    <a:moveTo>
                      <a:pt x="1171" y="1366"/>
                    </a:moveTo>
                    <a:lnTo>
                      <a:pt x="1174" y="1366"/>
                    </a:lnTo>
                    <a:lnTo>
                      <a:pt x="1174" y="1369"/>
                    </a:lnTo>
                    <a:lnTo>
                      <a:pt x="1171" y="1369"/>
                    </a:lnTo>
                    <a:lnTo>
                      <a:pt x="1171" y="1366"/>
                    </a:lnTo>
                    <a:close/>
                    <a:moveTo>
                      <a:pt x="1176" y="1447"/>
                    </a:moveTo>
                    <a:lnTo>
                      <a:pt x="1178" y="1447"/>
                    </a:lnTo>
                    <a:lnTo>
                      <a:pt x="1178" y="1451"/>
                    </a:lnTo>
                    <a:lnTo>
                      <a:pt x="1176" y="1451"/>
                    </a:lnTo>
                    <a:lnTo>
                      <a:pt x="1176" y="1447"/>
                    </a:lnTo>
                    <a:close/>
                    <a:moveTo>
                      <a:pt x="1198" y="1157"/>
                    </a:moveTo>
                    <a:lnTo>
                      <a:pt x="1200" y="1157"/>
                    </a:lnTo>
                    <a:lnTo>
                      <a:pt x="1200" y="1158"/>
                    </a:lnTo>
                    <a:lnTo>
                      <a:pt x="1198" y="1158"/>
                    </a:lnTo>
                    <a:lnTo>
                      <a:pt x="1198" y="1157"/>
                    </a:lnTo>
                    <a:close/>
                    <a:moveTo>
                      <a:pt x="1312" y="1633"/>
                    </a:moveTo>
                    <a:lnTo>
                      <a:pt x="1314" y="1633"/>
                    </a:lnTo>
                    <a:lnTo>
                      <a:pt x="1314" y="1635"/>
                    </a:lnTo>
                    <a:lnTo>
                      <a:pt x="1314" y="1633"/>
                    </a:lnTo>
                    <a:lnTo>
                      <a:pt x="1312" y="1633"/>
                    </a:lnTo>
                    <a:lnTo>
                      <a:pt x="1314" y="1635"/>
                    </a:lnTo>
                    <a:lnTo>
                      <a:pt x="1312" y="1635"/>
                    </a:lnTo>
                    <a:lnTo>
                      <a:pt x="1310" y="1635"/>
                    </a:lnTo>
                    <a:lnTo>
                      <a:pt x="1310" y="1633"/>
                    </a:lnTo>
                    <a:lnTo>
                      <a:pt x="1312" y="1633"/>
                    </a:lnTo>
                    <a:close/>
                    <a:moveTo>
                      <a:pt x="1186" y="1279"/>
                    </a:moveTo>
                    <a:lnTo>
                      <a:pt x="1185" y="1279"/>
                    </a:lnTo>
                    <a:lnTo>
                      <a:pt x="1185" y="1281"/>
                    </a:lnTo>
                    <a:lnTo>
                      <a:pt x="1183" y="1281"/>
                    </a:lnTo>
                    <a:lnTo>
                      <a:pt x="1183" y="1279"/>
                    </a:lnTo>
                    <a:lnTo>
                      <a:pt x="1185" y="1279"/>
                    </a:lnTo>
                    <a:lnTo>
                      <a:pt x="1183" y="1279"/>
                    </a:lnTo>
                    <a:lnTo>
                      <a:pt x="1185" y="1279"/>
                    </a:lnTo>
                    <a:lnTo>
                      <a:pt x="1186" y="1277"/>
                    </a:lnTo>
                    <a:lnTo>
                      <a:pt x="1188" y="1277"/>
                    </a:lnTo>
                    <a:lnTo>
                      <a:pt x="1186" y="1279"/>
                    </a:lnTo>
                    <a:close/>
                    <a:moveTo>
                      <a:pt x="1156" y="1185"/>
                    </a:moveTo>
                    <a:lnTo>
                      <a:pt x="1157" y="1185"/>
                    </a:lnTo>
                    <a:lnTo>
                      <a:pt x="1157" y="1189"/>
                    </a:lnTo>
                    <a:lnTo>
                      <a:pt x="1156" y="1189"/>
                    </a:lnTo>
                    <a:lnTo>
                      <a:pt x="1156" y="1185"/>
                    </a:lnTo>
                    <a:close/>
                    <a:moveTo>
                      <a:pt x="1183" y="1476"/>
                    </a:moveTo>
                    <a:lnTo>
                      <a:pt x="1186" y="1476"/>
                    </a:lnTo>
                    <a:lnTo>
                      <a:pt x="1186" y="1478"/>
                    </a:lnTo>
                    <a:lnTo>
                      <a:pt x="1183" y="1478"/>
                    </a:lnTo>
                    <a:lnTo>
                      <a:pt x="1183" y="1476"/>
                    </a:lnTo>
                    <a:close/>
                    <a:moveTo>
                      <a:pt x="1217" y="1500"/>
                    </a:moveTo>
                    <a:lnTo>
                      <a:pt x="1219" y="1500"/>
                    </a:lnTo>
                    <a:lnTo>
                      <a:pt x="1219" y="1504"/>
                    </a:lnTo>
                    <a:lnTo>
                      <a:pt x="1217" y="1504"/>
                    </a:lnTo>
                    <a:lnTo>
                      <a:pt x="1217" y="1500"/>
                    </a:lnTo>
                    <a:close/>
                    <a:moveTo>
                      <a:pt x="1213" y="1556"/>
                    </a:moveTo>
                    <a:lnTo>
                      <a:pt x="1215" y="1556"/>
                    </a:lnTo>
                    <a:lnTo>
                      <a:pt x="1215" y="1558"/>
                    </a:lnTo>
                    <a:lnTo>
                      <a:pt x="1213" y="1558"/>
                    </a:lnTo>
                    <a:lnTo>
                      <a:pt x="1213" y="1556"/>
                    </a:lnTo>
                    <a:close/>
                    <a:moveTo>
                      <a:pt x="1315" y="1633"/>
                    </a:moveTo>
                    <a:lnTo>
                      <a:pt x="1319" y="1633"/>
                    </a:lnTo>
                    <a:lnTo>
                      <a:pt x="1319" y="1636"/>
                    </a:lnTo>
                    <a:lnTo>
                      <a:pt x="1315" y="1636"/>
                    </a:lnTo>
                    <a:lnTo>
                      <a:pt x="1315" y="1633"/>
                    </a:lnTo>
                    <a:close/>
                    <a:moveTo>
                      <a:pt x="1229" y="1585"/>
                    </a:moveTo>
                    <a:lnTo>
                      <a:pt x="1232" y="1585"/>
                    </a:lnTo>
                    <a:lnTo>
                      <a:pt x="1232" y="1587"/>
                    </a:lnTo>
                    <a:lnTo>
                      <a:pt x="1229" y="1587"/>
                    </a:lnTo>
                    <a:lnTo>
                      <a:pt x="1229" y="1585"/>
                    </a:lnTo>
                    <a:close/>
                    <a:moveTo>
                      <a:pt x="1378" y="1662"/>
                    </a:moveTo>
                    <a:lnTo>
                      <a:pt x="1382" y="1662"/>
                    </a:lnTo>
                    <a:lnTo>
                      <a:pt x="1382" y="1667"/>
                    </a:lnTo>
                    <a:lnTo>
                      <a:pt x="1378" y="1667"/>
                    </a:lnTo>
                    <a:lnTo>
                      <a:pt x="1378" y="1662"/>
                    </a:lnTo>
                    <a:close/>
                    <a:moveTo>
                      <a:pt x="1227" y="992"/>
                    </a:moveTo>
                    <a:lnTo>
                      <a:pt x="1230" y="992"/>
                    </a:lnTo>
                    <a:lnTo>
                      <a:pt x="1230" y="995"/>
                    </a:lnTo>
                    <a:lnTo>
                      <a:pt x="1227" y="995"/>
                    </a:lnTo>
                    <a:lnTo>
                      <a:pt x="1227" y="992"/>
                    </a:lnTo>
                    <a:close/>
                    <a:moveTo>
                      <a:pt x="1166" y="1432"/>
                    </a:moveTo>
                    <a:lnTo>
                      <a:pt x="1168" y="1432"/>
                    </a:lnTo>
                    <a:lnTo>
                      <a:pt x="1168" y="1435"/>
                    </a:lnTo>
                    <a:lnTo>
                      <a:pt x="1166" y="1435"/>
                    </a:lnTo>
                    <a:lnTo>
                      <a:pt x="1166" y="1432"/>
                    </a:lnTo>
                    <a:close/>
                    <a:moveTo>
                      <a:pt x="1241" y="1587"/>
                    </a:moveTo>
                    <a:lnTo>
                      <a:pt x="1242" y="1587"/>
                    </a:lnTo>
                    <a:lnTo>
                      <a:pt x="1242" y="1590"/>
                    </a:lnTo>
                    <a:lnTo>
                      <a:pt x="1241" y="1590"/>
                    </a:lnTo>
                    <a:lnTo>
                      <a:pt x="1241" y="1587"/>
                    </a:lnTo>
                    <a:close/>
                    <a:moveTo>
                      <a:pt x="1179" y="1136"/>
                    </a:moveTo>
                    <a:lnTo>
                      <a:pt x="1181" y="1136"/>
                    </a:lnTo>
                    <a:lnTo>
                      <a:pt x="1181" y="1140"/>
                    </a:lnTo>
                    <a:lnTo>
                      <a:pt x="1179" y="1140"/>
                    </a:lnTo>
                    <a:lnTo>
                      <a:pt x="1179" y="1136"/>
                    </a:lnTo>
                    <a:close/>
                    <a:moveTo>
                      <a:pt x="1220" y="978"/>
                    </a:moveTo>
                    <a:lnTo>
                      <a:pt x="1222" y="978"/>
                    </a:lnTo>
                    <a:lnTo>
                      <a:pt x="1222" y="980"/>
                    </a:lnTo>
                    <a:lnTo>
                      <a:pt x="1220" y="980"/>
                    </a:lnTo>
                    <a:lnTo>
                      <a:pt x="1220" y="978"/>
                    </a:lnTo>
                    <a:close/>
                    <a:moveTo>
                      <a:pt x="1215" y="1505"/>
                    </a:moveTo>
                    <a:lnTo>
                      <a:pt x="1217" y="1505"/>
                    </a:lnTo>
                    <a:lnTo>
                      <a:pt x="1215" y="1507"/>
                    </a:lnTo>
                    <a:lnTo>
                      <a:pt x="1215" y="1505"/>
                    </a:lnTo>
                    <a:lnTo>
                      <a:pt x="1215" y="1507"/>
                    </a:lnTo>
                    <a:lnTo>
                      <a:pt x="1213" y="1505"/>
                    </a:lnTo>
                    <a:lnTo>
                      <a:pt x="1212" y="1505"/>
                    </a:lnTo>
                    <a:lnTo>
                      <a:pt x="1213" y="1505"/>
                    </a:lnTo>
                    <a:lnTo>
                      <a:pt x="1215" y="1505"/>
                    </a:lnTo>
                    <a:lnTo>
                      <a:pt x="1215" y="1507"/>
                    </a:lnTo>
                    <a:lnTo>
                      <a:pt x="1215" y="1505"/>
                    </a:lnTo>
                    <a:close/>
                    <a:moveTo>
                      <a:pt x="1389" y="1633"/>
                    </a:moveTo>
                    <a:lnTo>
                      <a:pt x="1392" y="1633"/>
                    </a:lnTo>
                    <a:lnTo>
                      <a:pt x="1392" y="1635"/>
                    </a:lnTo>
                    <a:lnTo>
                      <a:pt x="1389" y="1635"/>
                    </a:lnTo>
                    <a:lnTo>
                      <a:pt x="1389" y="1633"/>
                    </a:lnTo>
                    <a:close/>
                    <a:moveTo>
                      <a:pt x="1275" y="1597"/>
                    </a:moveTo>
                    <a:lnTo>
                      <a:pt x="1276" y="1597"/>
                    </a:lnTo>
                    <a:lnTo>
                      <a:pt x="1276" y="1600"/>
                    </a:lnTo>
                    <a:lnTo>
                      <a:pt x="1275" y="1600"/>
                    </a:lnTo>
                    <a:lnTo>
                      <a:pt x="1275" y="1597"/>
                    </a:lnTo>
                    <a:close/>
                    <a:moveTo>
                      <a:pt x="1399" y="1645"/>
                    </a:moveTo>
                    <a:lnTo>
                      <a:pt x="1402" y="1645"/>
                    </a:lnTo>
                    <a:lnTo>
                      <a:pt x="1402" y="1648"/>
                    </a:lnTo>
                    <a:lnTo>
                      <a:pt x="1399" y="1648"/>
                    </a:lnTo>
                    <a:lnTo>
                      <a:pt x="1399" y="1645"/>
                    </a:lnTo>
                    <a:close/>
                    <a:moveTo>
                      <a:pt x="1178" y="1138"/>
                    </a:moveTo>
                    <a:lnTo>
                      <a:pt x="1179" y="1138"/>
                    </a:lnTo>
                    <a:lnTo>
                      <a:pt x="1179" y="1141"/>
                    </a:lnTo>
                    <a:lnTo>
                      <a:pt x="1178" y="1141"/>
                    </a:lnTo>
                    <a:lnTo>
                      <a:pt x="1178" y="1138"/>
                    </a:lnTo>
                    <a:close/>
                    <a:moveTo>
                      <a:pt x="1229" y="944"/>
                    </a:moveTo>
                    <a:lnTo>
                      <a:pt x="1232" y="944"/>
                    </a:lnTo>
                    <a:lnTo>
                      <a:pt x="1232" y="946"/>
                    </a:lnTo>
                    <a:lnTo>
                      <a:pt x="1229" y="946"/>
                    </a:lnTo>
                    <a:lnTo>
                      <a:pt x="1229" y="944"/>
                    </a:lnTo>
                    <a:close/>
                    <a:moveTo>
                      <a:pt x="1183" y="1427"/>
                    </a:moveTo>
                    <a:lnTo>
                      <a:pt x="1186" y="1427"/>
                    </a:lnTo>
                    <a:lnTo>
                      <a:pt x="1186" y="1429"/>
                    </a:lnTo>
                    <a:lnTo>
                      <a:pt x="1183" y="1429"/>
                    </a:lnTo>
                    <a:lnTo>
                      <a:pt x="1183" y="1427"/>
                    </a:lnTo>
                    <a:close/>
                    <a:moveTo>
                      <a:pt x="1196" y="1150"/>
                    </a:moveTo>
                    <a:lnTo>
                      <a:pt x="1198" y="1150"/>
                    </a:lnTo>
                    <a:lnTo>
                      <a:pt x="1198" y="1153"/>
                    </a:lnTo>
                    <a:lnTo>
                      <a:pt x="1196" y="1153"/>
                    </a:lnTo>
                    <a:lnTo>
                      <a:pt x="1196" y="1150"/>
                    </a:lnTo>
                    <a:close/>
                    <a:moveTo>
                      <a:pt x="1169" y="1417"/>
                    </a:moveTo>
                    <a:lnTo>
                      <a:pt x="1171" y="1417"/>
                    </a:lnTo>
                    <a:lnTo>
                      <a:pt x="1171" y="1418"/>
                    </a:lnTo>
                    <a:lnTo>
                      <a:pt x="1169" y="1418"/>
                    </a:lnTo>
                    <a:lnTo>
                      <a:pt x="1169" y="1417"/>
                    </a:lnTo>
                    <a:close/>
                    <a:moveTo>
                      <a:pt x="1188" y="1066"/>
                    </a:moveTo>
                    <a:lnTo>
                      <a:pt x="1188" y="1068"/>
                    </a:lnTo>
                    <a:lnTo>
                      <a:pt x="1190" y="1068"/>
                    </a:lnTo>
                    <a:lnTo>
                      <a:pt x="1188" y="1068"/>
                    </a:lnTo>
                    <a:lnTo>
                      <a:pt x="1186" y="1066"/>
                    </a:lnTo>
                    <a:lnTo>
                      <a:pt x="1188" y="1066"/>
                    </a:lnTo>
                    <a:close/>
                    <a:moveTo>
                      <a:pt x="1171" y="1475"/>
                    </a:moveTo>
                    <a:lnTo>
                      <a:pt x="1173" y="1475"/>
                    </a:lnTo>
                    <a:lnTo>
                      <a:pt x="1173" y="1476"/>
                    </a:lnTo>
                    <a:lnTo>
                      <a:pt x="1171" y="1476"/>
                    </a:lnTo>
                    <a:lnTo>
                      <a:pt x="1171" y="1475"/>
                    </a:lnTo>
                    <a:close/>
                    <a:moveTo>
                      <a:pt x="1224" y="1071"/>
                    </a:moveTo>
                    <a:lnTo>
                      <a:pt x="1227" y="1071"/>
                    </a:lnTo>
                    <a:lnTo>
                      <a:pt x="1227" y="1073"/>
                    </a:lnTo>
                    <a:lnTo>
                      <a:pt x="1224" y="1073"/>
                    </a:lnTo>
                    <a:lnTo>
                      <a:pt x="1224" y="1071"/>
                    </a:lnTo>
                    <a:close/>
                    <a:moveTo>
                      <a:pt x="1185" y="1262"/>
                    </a:moveTo>
                    <a:lnTo>
                      <a:pt x="1188" y="1262"/>
                    </a:lnTo>
                    <a:lnTo>
                      <a:pt x="1188" y="1265"/>
                    </a:lnTo>
                    <a:lnTo>
                      <a:pt x="1185" y="1265"/>
                    </a:lnTo>
                    <a:lnTo>
                      <a:pt x="1185" y="1262"/>
                    </a:lnTo>
                    <a:close/>
                    <a:moveTo>
                      <a:pt x="1188" y="1128"/>
                    </a:moveTo>
                    <a:lnTo>
                      <a:pt x="1191" y="1128"/>
                    </a:lnTo>
                    <a:lnTo>
                      <a:pt x="1191" y="1131"/>
                    </a:lnTo>
                    <a:lnTo>
                      <a:pt x="1188" y="1131"/>
                    </a:lnTo>
                    <a:lnTo>
                      <a:pt x="1188" y="1128"/>
                    </a:lnTo>
                    <a:close/>
                    <a:moveTo>
                      <a:pt x="1202" y="1080"/>
                    </a:moveTo>
                    <a:lnTo>
                      <a:pt x="1205" y="1080"/>
                    </a:lnTo>
                    <a:lnTo>
                      <a:pt x="1205" y="1082"/>
                    </a:lnTo>
                    <a:lnTo>
                      <a:pt x="1202" y="1082"/>
                    </a:lnTo>
                    <a:lnTo>
                      <a:pt x="1202" y="1080"/>
                    </a:lnTo>
                    <a:close/>
                    <a:moveTo>
                      <a:pt x="1185" y="1141"/>
                    </a:moveTo>
                    <a:lnTo>
                      <a:pt x="1185" y="1143"/>
                    </a:lnTo>
                    <a:lnTo>
                      <a:pt x="1183" y="1143"/>
                    </a:lnTo>
                    <a:lnTo>
                      <a:pt x="1181" y="1143"/>
                    </a:lnTo>
                    <a:lnTo>
                      <a:pt x="1183" y="1143"/>
                    </a:lnTo>
                    <a:lnTo>
                      <a:pt x="1185" y="1141"/>
                    </a:lnTo>
                    <a:close/>
                    <a:moveTo>
                      <a:pt x="1276" y="1612"/>
                    </a:moveTo>
                    <a:lnTo>
                      <a:pt x="1280" y="1612"/>
                    </a:lnTo>
                    <a:lnTo>
                      <a:pt x="1280" y="1614"/>
                    </a:lnTo>
                    <a:lnTo>
                      <a:pt x="1276" y="1614"/>
                    </a:lnTo>
                    <a:lnTo>
                      <a:pt x="1276" y="1612"/>
                    </a:lnTo>
                    <a:close/>
                    <a:moveTo>
                      <a:pt x="1208" y="1502"/>
                    </a:moveTo>
                    <a:lnTo>
                      <a:pt x="1210" y="1502"/>
                    </a:lnTo>
                    <a:lnTo>
                      <a:pt x="1210" y="1505"/>
                    </a:lnTo>
                    <a:lnTo>
                      <a:pt x="1208" y="1505"/>
                    </a:lnTo>
                    <a:lnTo>
                      <a:pt x="1208" y="1502"/>
                    </a:lnTo>
                    <a:close/>
                    <a:moveTo>
                      <a:pt x="1219" y="1538"/>
                    </a:moveTo>
                    <a:lnTo>
                      <a:pt x="1222" y="1538"/>
                    </a:lnTo>
                    <a:lnTo>
                      <a:pt x="1222" y="1541"/>
                    </a:lnTo>
                    <a:lnTo>
                      <a:pt x="1219" y="1541"/>
                    </a:lnTo>
                    <a:lnTo>
                      <a:pt x="1219" y="1538"/>
                    </a:lnTo>
                    <a:close/>
                    <a:moveTo>
                      <a:pt x="1373" y="1641"/>
                    </a:moveTo>
                    <a:lnTo>
                      <a:pt x="1375" y="1641"/>
                    </a:lnTo>
                    <a:lnTo>
                      <a:pt x="1375" y="1643"/>
                    </a:lnTo>
                    <a:lnTo>
                      <a:pt x="1373" y="1643"/>
                    </a:lnTo>
                    <a:lnTo>
                      <a:pt x="1373" y="1641"/>
                    </a:lnTo>
                    <a:lnTo>
                      <a:pt x="1372" y="1641"/>
                    </a:lnTo>
                    <a:lnTo>
                      <a:pt x="1373" y="1641"/>
                    </a:lnTo>
                    <a:close/>
                    <a:moveTo>
                      <a:pt x="1198" y="1485"/>
                    </a:moveTo>
                    <a:lnTo>
                      <a:pt x="1196" y="1485"/>
                    </a:lnTo>
                    <a:lnTo>
                      <a:pt x="1195" y="1487"/>
                    </a:lnTo>
                    <a:lnTo>
                      <a:pt x="1193" y="1487"/>
                    </a:lnTo>
                    <a:lnTo>
                      <a:pt x="1195" y="1485"/>
                    </a:lnTo>
                    <a:lnTo>
                      <a:pt x="1196" y="1485"/>
                    </a:lnTo>
                    <a:lnTo>
                      <a:pt x="1198" y="1485"/>
                    </a:lnTo>
                    <a:close/>
                    <a:moveTo>
                      <a:pt x="1161" y="1243"/>
                    </a:moveTo>
                    <a:lnTo>
                      <a:pt x="1162" y="1243"/>
                    </a:lnTo>
                    <a:lnTo>
                      <a:pt x="1162" y="1247"/>
                    </a:lnTo>
                    <a:lnTo>
                      <a:pt x="1161" y="1247"/>
                    </a:lnTo>
                    <a:lnTo>
                      <a:pt x="1161" y="1243"/>
                    </a:lnTo>
                    <a:close/>
                    <a:moveTo>
                      <a:pt x="1178" y="1478"/>
                    </a:moveTo>
                    <a:lnTo>
                      <a:pt x="1179" y="1478"/>
                    </a:lnTo>
                    <a:lnTo>
                      <a:pt x="1179" y="1481"/>
                    </a:lnTo>
                    <a:lnTo>
                      <a:pt x="1178" y="1481"/>
                    </a:lnTo>
                    <a:lnTo>
                      <a:pt x="1178" y="1478"/>
                    </a:lnTo>
                    <a:close/>
                    <a:moveTo>
                      <a:pt x="1181" y="1437"/>
                    </a:moveTo>
                    <a:lnTo>
                      <a:pt x="1185" y="1437"/>
                    </a:lnTo>
                    <a:lnTo>
                      <a:pt x="1185" y="1439"/>
                    </a:lnTo>
                    <a:lnTo>
                      <a:pt x="1181" y="1439"/>
                    </a:lnTo>
                    <a:lnTo>
                      <a:pt x="1181" y="1437"/>
                    </a:lnTo>
                    <a:close/>
                    <a:moveTo>
                      <a:pt x="1168" y="1432"/>
                    </a:moveTo>
                    <a:lnTo>
                      <a:pt x="1171" y="1432"/>
                    </a:lnTo>
                    <a:lnTo>
                      <a:pt x="1171" y="1434"/>
                    </a:lnTo>
                    <a:lnTo>
                      <a:pt x="1168" y="1434"/>
                    </a:lnTo>
                    <a:lnTo>
                      <a:pt x="1168" y="1432"/>
                    </a:lnTo>
                    <a:close/>
                    <a:moveTo>
                      <a:pt x="1219" y="983"/>
                    </a:moveTo>
                    <a:lnTo>
                      <a:pt x="1220" y="983"/>
                    </a:lnTo>
                    <a:lnTo>
                      <a:pt x="1220" y="985"/>
                    </a:lnTo>
                    <a:lnTo>
                      <a:pt x="1219" y="985"/>
                    </a:lnTo>
                    <a:lnTo>
                      <a:pt x="1219" y="983"/>
                    </a:lnTo>
                    <a:close/>
                    <a:moveTo>
                      <a:pt x="1249" y="1599"/>
                    </a:moveTo>
                    <a:lnTo>
                      <a:pt x="1251" y="1599"/>
                    </a:lnTo>
                    <a:lnTo>
                      <a:pt x="1251" y="1600"/>
                    </a:lnTo>
                    <a:lnTo>
                      <a:pt x="1249" y="1600"/>
                    </a:lnTo>
                    <a:lnTo>
                      <a:pt x="1249" y="1599"/>
                    </a:lnTo>
                    <a:close/>
                    <a:moveTo>
                      <a:pt x="1179" y="1134"/>
                    </a:moveTo>
                    <a:lnTo>
                      <a:pt x="1179" y="1138"/>
                    </a:lnTo>
                    <a:lnTo>
                      <a:pt x="1179" y="1134"/>
                    </a:lnTo>
                    <a:close/>
                    <a:moveTo>
                      <a:pt x="1174" y="1367"/>
                    </a:moveTo>
                    <a:lnTo>
                      <a:pt x="1178" y="1367"/>
                    </a:lnTo>
                    <a:lnTo>
                      <a:pt x="1178" y="1369"/>
                    </a:lnTo>
                    <a:lnTo>
                      <a:pt x="1174" y="1369"/>
                    </a:lnTo>
                    <a:lnTo>
                      <a:pt x="1174" y="1367"/>
                    </a:lnTo>
                    <a:close/>
                    <a:moveTo>
                      <a:pt x="1188" y="1056"/>
                    </a:moveTo>
                    <a:lnTo>
                      <a:pt x="1191" y="1056"/>
                    </a:lnTo>
                    <a:lnTo>
                      <a:pt x="1191" y="1058"/>
                    </a:lnTo>
                    <a:lnTo>
                      <a:pt x="1188" y="1058"/>
                    </a:lnTo>
                    <a:lnTo>
                      <a:pt x="1188" y="1056"/>
                    </a:lnTo>
                    <a:close/>
                    <a:moveTo>
                      <a:pt x="1241" y="1495"/>
                    </a:moveTo>
                    <a:lnTo>
                      <a:pt x="1244" y="1495"/>
                    </a:lnTo>
                    <a:lnTo>
                      <a:pt x="1244" y="1497"/>
                    </a:lnTo>
                    <a:lnTo>
                      <a:pt x="1241" y="1497"/>
                    </a:lnTo>
                    <a:lnTo>
                      <a:pt x="1241" y="1495"/>
                    </a:lnTo>
                    <a:close/>
                    <a:moveTo>
                      <a:pt x="1208" y="1539"/>
                    </a:moveTo>
                    <a:lnTo>
                      <a:pt x="1208" y="1538"/>
                    </a:lnTo>
                    <a:lnTo>
                      <a:pt x="1210" y="1539"/>
                    </a:lnTo>
                    <a:lnTo>
                      <a:pt x="1208" y="1539"/>
                    </a:lnTo>
                    <a:lnTo>
                      <a:pt x="1207" y="1539"/>
                    </a:lnTo>
                    <a:lnTo>
                      <a:pt x="1207" y="1538"/>
                    </a:lnTo>
                    <a:lnTo>
                      <a:pt x="1208" y="1539"/>
                    </a:lnTo>
                    <a:close/>
                    <a:moveTo>
                      <a:pt x="1222" y="1556"/>
                    </a:moveTo>
                    <a:lnTo>
                      <a:pt x="1225" y="1556"/>
                    </a:lnTo>
                    <a:lnTo>
                      <a:pt x="1225" y="1560"/>
                    </a:lnTo>
                    <a:lnTo>
                      <a:pt x="1222" y="1560"/>
                    </a:lnTo>
                    <a:lnTo>
                      <a:pt x="1222" y="1556"/>
                    </a:lnTo>
                    <a:close/>
                    <a:moveTo>
                      <a:pt x="1186" y="1526"/>
                    </a:moveTo>
                    <a:lnTo>
                      <a:pt x="1188" y="1526"/>
                    </a:lnTo>
                    <a:lnTo>
                      <a:pt x="1188" y="1529"/>
                    </a:lnTo>
                    <a:lnTo>
                      <a:pt x="1186" y="1529"/>
                    </a:lnTo>
                    <a:lnTo>
                      <a:pt x="1186" y="1526"/>
                    </a:lnTo>
                    <a:close/>
                    <a:moveTo>
                      <a:pt x="1259" y="1597"/>
                    </a:moveTo>
                    <a:lnTo>
                      <a:pt x="1261" y="1597"/>
                    </a:lnTo>
                    <a:lnTo>
                      <a:pt x="1261" y="1600"/>
                    </a:lnTo>
                    <a:lnTo>
                      <a:pt x="1259" y="1600"/>
                    </a:lnTo>
                    <a:lnTo>
                      <a:pt x="1259" y="1597"/>
                    </a:lnTo>
                    <a:close/>
                    <a:moveTo>
                      <a:pt x="1321" y="1631"/>
                    </a:moveTo>
                    <a:lnTo>
                      <a:pt x="1322" y="1631"/>
                    </a:lnTo>
                    <a:lnTo>
                      <a:pt x="1322" y="1633"/>
                    </a:lnTo>
                    <a:lnTo>
                      <a:pt x="1321" y="1633"/>
                    </a:lnTo>
                    <a:lnTo>
                      <a:pt x="1321" y="1631"/>
                    </a:lnTo>
                    <a:close/>
                    <a:moveTo>
                      <a:pt x="1207" y="1539"/>
                    </a:moveTo>
                    <a:lnTo>
                      <a:pt x="1208" y="1539"/>
                    </a:lnTo>
                    <a:lnTo>
                      <a:pt x="1208" y="1541"/>
                    </a:lnTo>
                    <a:lnTo>
                      <a:pt x="1207" y="1541"/>
                    </a:lnTo>
                    <a:lnTo>
                      <a:pt x="1207" y="1539"/>
                    </a:lnTo>
                    <a:close/>
                    <a:moveTo>
                      <a:pt x="1188" y="1208"/>
                    </a:moveTo>
                    <a:lnTo>
                      <a:pt x="1191" y="1208"/>
                    </a:lnTo>
                    <a:lnTo>
                      <a:pt x="1191" y="1211"/>
                    </a:lnTo>
                    <a:lnTo>
                      <a:pt x="1188" y="1211"/>
                    </a:lnTo>
                    <a:lnTo>
                      <a:pt x="1188" y="1208"/>
                    </a:lnTo>
                    <a:close/>
                    <a:moveTo>
                      <a:pt x="1151" y="1327"/>
                    </a:moveTo>
                    <a:lnTo>
                      <a:pt x="1152" y="1327"/>
                    </a:lnTo>
                    <a:lnTo>
                      <a:pt x="1152" y="1330"/>
                    </a:lnTo>
                    <a:lnTo>
                      <a:pt x="1151" y="1330"/>
                    </a:lnTo>
                    <a:lnTo>
                      <a:pt x="1151" y="1327"/>
                    </a:lnTo>
                    <a:close/>
                    <a:moveTo>
                      <a:pt x="1179" y="1444"/>
                    </a:moveTo>
                    <a:lnTo>
                      <a:pt x="1181" y="1444"/>
                    </a:lnTo>
                    <a:lnTo>
                      <a:pt x="1181" y="1446"/>
                    </a:lnTo>
                    <a:lnTo>
                      <a:pt x="1179" y="1446"/>
                    </a:lnTo>
                    <a:lnTo>
                      <a:pt x="1178" y="1444"/>
                    </a:lnTo>
                    <a:lnTo>
                      <a:pt x="1179" y="1444"/>
                    </a:lnTo>
                    <a:close/>
                    <a:moveTo>
                      <a:pt x="1178" y="1480"/>
                    </a:moveTo>
                    <a:lnTo>
                      <a:pt x="1181" y="1480"/>
                    </a:lnTo>
                    <a:lnTo>
                      <a:pt x="1181" y="1483"/>
                    </a:lnTo>
                    <a:lnTo>
                      <a:pt x="1178" y="1483"/>
                    </a:lnTo>
                    <a:lnTo>
                      <a:pt x="1178" y="1480"/>
                    </a:lnTo>
                    <a:close/>
                    <a:moveTo>
                      <a:pt x="1213" y="1104"/>
                    </a:moveTo>
                    <a:lnTo>
                      <a:pt x="1215" y="1104"/>
                    </a:lnTo>
                    <a:lnTo>
                      <a:pt x="1215" y="1107"/>
                    </a:lnTo>
                    <a:lnTo>
                      <a:pt x="1213" y="1107"/>
                    </a:lnTo>
                    <a:lnTo>
                      <a:pt x="1213" y="1104"/>
                    </a:lnTo>
                    <a:close/>
                    <a:moveTo>
                      <a:pt x="1202" y="1510"/>
                    </a:moveTo>
                    <a:lnTo>
                      <a:pt x="1203" y="1510"/>
                    </a:lnTo>
                    <a:lnTo>
                      <a:pt x="1203" y="1512"/>
                    </a:lnTo>
                    <a:lnTo>
                      <a:pt x="1202" y="1512"/>
                    </a:lnTo>
                    <a:lnTo>
                      <a:pt x="1202" y="1510"/>
                    </a:lnTo>
                    <a:close/>
                    <a:moveTo>
                      <a:pt x="1212" y="990"/>
                    </a:moveTo>
                    <a:lnTo>
                      <a:pt x="1213" y="990"/>
                    </a:lnTo>
                    <a:lnTo>
                      <a:pt x="1213" y="992"/>
                    </a:lnTo>
                    <a:lnTo>
                      <a:pt x="1212" y="992"/>
                    </a:lnTo>
                    <a:lnTo>
                      <a:pt x="1212" y="990"/>
                    </a:lnTo>
                    <a:close/>
                    <a:moveTo>
                      <a:pt x="1254" y="1493"/>
                    </a:moveTo>
                    <a:lnTo>
                      <a:pt x="1256" y="1493"/>
                    </a:lnTo>
                    <a:lnTo>
                      <a:pt x="1256" y="1497"/>
                    </a:lnTo>
                    <a:lnTo>
                      <a:pt x="1254" y="1497"/>
                    </a:lnTo>
                    <a:lnTo>
                      <a:pt x="1254" y="1493"/>
                    </a:lnTo>
                    <a:close/>
                    <a:moveTo>
                      <a:pt x="1222" y="990"/>
                    </a:moveTo>
                    <a:lnTo>
                      <a:pt x="1224" y="990"/>
                    </a:lnTo>
                    <a:lnTo>
                      <a:pt x="1224" y="993"/>
                    </a:lnTo>
                    <a:lnTo>
                      <a:pt x="1222" y="993"/>
                    </a:lnTo>
                    <a:lnTo>
                      <a:pt x="1222" y="990"/>
                    </a:lnTo>
                    <a:close/>
                    <a:moveTo>
                      <a:pt x="1382" y="1640"/>
                    </a:moveTo>
                    <a:lnTo>
                      <a:pt x="1385" y="1640"/>
                    </a:lnTo>
                    <a:lnTo>
                      <a:pt x="1385" y="1641"/>
                    </a:lnTo>
                    <a:lnTo>
                      <a:pt x="1382" y="1641"/>
                    </a:lnTo>
                    <a:lnTo>
                      <a:pt x="1382" y="1640"/>
                    </a:lnTo>
                    <a:close/>
                    <a:moveTo>
                      <a:pt x="1181" y="1492"/>
                    </a:moveTo>
                    <a:lnTo>
                      <a:pt x="1185" y="1492"/>
                    </a:lnTo>
                    <a:lnTo>
                      <a:pt x="1185" y="1493"/>
                    </a:lnTo>
                    <a:lnTo>
                      <a:pt x="1181" y="1493"/>
                    </a:lnTo>
                    <a:lnTo>
                      <a:pt x="1181" y="1492"/>
                    </a:lnTo>
                    <a:close/>
                    <a:moveTo>
                      <a:pt x="1217" y="1538"/>
                    </a:moveTo>
                    <a:lnTo>
                      <a:pt x="1220" y="1538"/>
                    </a:lnTo>
                    <a:lnTo>
                      <a:pt x="1220" y="1539"/>
                    </a:lnTo>
                    <a:lnTo>
                      <a:pt x="1217" y="1539"/>
                    </a:lnTo>
                    <a:lnTo>
                      <a:pt x="1217" y="1538"/>
                    </a:lnTo>
                    <a:close/>
                    <a:moveTo>
                      <a:pt x="1219" y="1566"/>
                    </a:moveTo>
                    <a:lnTo>
                      <a:pt x="1220" y="1566"/>
                    </a:lnTo>
                    <a:lnTo>
                      <a:pt x="1220" y="1568"/>
                    </a:lnTo>
                    <a:lnTo>
                      <a:pt x="1219" y="1568"/>
                    </a:lnTo>
                    <a:lnTo>
                      <a:pt x="1219" y="1566"/>
                    </a:lnTo>
                    <a:close/>
                    <a:moveTo>
                      <a:pt x="1200" y="1073"/>
                    </a:moveTo>
                    <a:lnTo>
                      <a:pt x="1202" y="1073"/>
                    </a:lnTo>
                    <a:lnTo>
                      <a:pt x="1202" y="1077"/>
                    </a:lnTo>
                    <a:lnTo>
                      <a:pt x="1200" y="1077"/>
                    </a:lnTo>
                    <a:lnTo>
                      <a:pt x="1200" y="1073"/>
                    </a:lnTo>
                    <a:close/>
                    <a:moveTo>
                      <a:pt x="1176" y="1439"/>
                    </a:moveTo>
                    <a:lnTo>
                      <a:pt x="1178" y="1439"/>
                    </a:lnTo>
                    <a:lnTo>
                      <a:pt x="1178" y="1441"/>
                    </a:lnTo>
                    <a:lnTo>
                      <a:pt x="1176" y="1441"/>
                    </a:lnTo>
                    <a:lnTo>
                      <a:pt x="1176" y="1439"/>
                    </a:lnTo>
                    <a:close/>
                    <a:moveTo>
                      <a:pt x="1336" y="1653"/>
                    </a:moveTo>
                    <a:lnTo>
                      <a:pt x="1339" y="1653"/>
                    </a:lnTo>
                    <a:lnTo>
                      <a:pt x="1339" y="1655"/>
                    </a:lnTo>
                    <a:lnTo>
                      <a:pt x="1336" y="1655"/>
                    </a:lnTo>
                    <a:lnTo>
                      <a:pt x="1336" y="1653"/>
                    </a:lnTo>
                    <a:close/>
                    <a:moveTo>
                      <a:pt x="1147" y="1330"/>
                    </a:moveTo>
                    <a:lnTo>
                      <a:pt x="1149" y="1330"/>
                    </a:lnTo>
                    <a:lnTo>
                      <a:pt x="1149" y="1332"/>
                    </a:lnTo>
                    <a:lnTo>
                      <a:pt x="1147" y="1332"/>
                    </a:lnTo>
                    <a:lnTo>
                      <a:pt x="1147" y="1330"/>
                    </a:lnTo>
                    <a:close/>
                    <a:moveTo>
                      <a:pt x="1205" y="1551"/>
                    </a:moveTo>
                    <a:lnTo>
                      <a:pt x="1207" y="1551"/>
                    </a:lnTo>
                    <a:lnTo>
                      <a:pt x="1207" y="1553"/>
                    </a:lnTo>
                    <a:lnTo>
                      <a:pt x="1205" y="1553"/>
                    </a:lnTo>
                    <a:lnTo>
                      <a:pt x="1205" y="1551"/>
                    </a:lnTo>
                    <a:close/>
                    <a:moveTo>
                      <a:pt x="1186" y="1534"/>
                    </a:moveTo>
                    <a:lnTo>
                      <a:pt x="1188" y="1534"/>
                    </a:lnTo>
                    <a:lnTo>
                      <a:pt x="1188" y="1536"/>
                    </a:lnTo>
                    <a:lnTo>
                      <a:pt x="1186" y="1536"/>
                    </a:lnTo>
                    <a:lnTo>
                      <a:pt x="1186" y="1534"/>
                    </a:lnTo>
                    <a:close/>
                    <a:moveTo>
                      <a:pt x="1169" y="1437"/>
                    </a:moveTo>
                    <a:lnTo>
                      <a:pt x="1173" y="1437"/>
                    </a:lnTo>
                    <a:lnTo>
                      <a:pt x="1173" y="1439"/>
                    </a:lnTo>
                    <a:lnTo>
                      <a:pt x="1169" y="1439"/>
                    </a:lnTo>
                    <a:lnTo>
                      <a:pt x="1169" y="1437"/>
                    </a:lnTo>
                    <a:close/>
                    <a:moveTo>
                      <a:pt x="1202" y="1066"/>
                    </a:moveTo>
                    <a:lnTo>
                      <a:pt x="1203" y="1066"/>
                    </a:lnTo>
                    <a:lnTo>
                      <a:pt x="1203" y="1068"/>
                    </a:lnTo>
                    <a:lnTo>
                      <a:pt x="1202" y="1068"/>
                    </a:lnTo>
                    <a:lnTo>
                      <a:pt x="1202" y="1066"/>
                    </a:lnTo>
                    <a:close/>
                    <a:moveTo>
                      <a:pt x="1264" y="1595"/>
                    </a:moveTo>
                    <a:lnTo>
                      <a:pt x="1268" y="1595"/>
                    </a:lnTo>
                    <a:lnTo>
                      <a:pt x="1268" y="1597"/>
                    </a:lnTo>
                    <a:lnTo>
                      <a:pt x="1264" y="1597"/>
                    </a:lnTo>
                    <a:lnTo>
                      <a:pt x="1264" y="1595"/>
                    </a:lnTo>
                    <a:close/>
                    <a:moveTo>
                      <a:pt x="1220" y="1543"/>
                    </a:moveTo>
                    <a:lnTo>
                      <a:pt x="1222" y="1543"/>
                    </a:lnTo>
                    <a:lnTo>
                      <a:pt x="1222" y="1544"/>
                    </a:lnTo>
                    <a:lnTo>
                      <a:pt x="1220" y="1544"/>
                    </a:lnTo>
                    <a:lnTo>
                      <a:pt x="1220" y="1543"/>
                    </a:lnTo>
                    <a:close/>
                    <a:moveTo>
                      <a:pt x="1191" y="1060"/>
                    </a:moveTo>
                    <a:lnTo>
                      <a:pt x="1195" y="1060"/>
                    </a:lnTo>
                    <a:lnTo>
                      <a:pt x="1195" y="1061"/>
                    </a:lnTo>
                    <a:lnTo>
                      <a:pt x="1191" y="1061"/>
                    </a:lnTo>
                    <a:lnTo>
                      <a:pt x="1191" y="1060"/>
                    </a:lnTo>
                    <a:close/>
                    <a:moveTo>
                      <a:pt x="1179" y="1422"/>
                    </a:moveTo>
                    <a:lnTo>
                      <a:pt x="1181" y="1422"/>
                    </a:lnTo>
                    <a:lnTo>
                      <a:pt x="1181" y="1424"/>
                    </a:lnTo>
                    <a:lnTo>
                      <a:pt x="1179" y="1424"/>
                    </a:lnTo>
                    <a:lnTo>
                      <a:pt x="1179" y="1422"/>
                    </a:lnTo>
                    <a:close/>
                    <a:moveTo>
                      <a:pt x="1183" y="1463"/>
                    </a:moveTo>
                    <a:lnTo>
                      <a:pt x="1185" y="1463"/>
                    </a:lnTo>
                    <a:lnTo>
                      <a:pt x="1185" y="1464"/>
                    </a:lnTo>
                    <a:lnTo>
                      <a:pt x="1183" y="1464"/>
                    </a:lnTo>
                    <a:lnTo>
                      <a:pt x="1183" y="1463"/>
                    </a:lnTo>
                    <a:close/>
                    <a:moveTo>
                      <a:pt x="1397" y="1663"/>
                    </a:moveTo>
                    <a:lnTo>
                      <a:pt x="1400" y="1663"/>
                    </a:lnTo>
                    <a:lnTo>
                      <a:pt x="1400" y="1665"/>
                    </a:lnTo>
                    <a:lnTo>
                      <a:pt x="1397" y="1665"/>
                    </a:lnTo>
                    <a:lnTo>
                      <a:pt x="1397" y="1663"/>
                    </a:lnTo>
                    <a:close/>
                    <a:moveTo>
                      <a:pt x="1190" y="1413"/>
                    </a:moveTo>
                    <a:lnTo>
                      <a:pt x="1191" y="1413"/>
                    </a:lnTo>
                    <a:lnTo>
                      <a:pt x="1191" y="1417"/>
                    </a:lnTo>
                    <a:lnTo>
                      <a:pt x="1190" y="1417"/>
                    </a:lnTo>
                    <a:lnTo>
                      <a:pt x="1190" y="1413"/>
                    </a:lnTo>
                    <a:close/>
                    <a:moveTo>
                      <a:pt x="1208" y="1449"/>
                    </a:moveTo>
                    <a:lnTo>
                      <a:pt x="1210" y="1449"/>
                    </a:lnTo>
                    <a:lnTo>
                      <a:pt x="1210" y="1451"/>
                    </a:lnTo>
                    <a:lnTo>
                      <a:pt x="1208" y="1451"/>
                    </a:lnTo>
                    <a:lnTo>
                      <a:pt x="1208" y="1449"/>
                    </a:lnTo>
                    <a:close/>
                    <a:moveTo>
                      <a:pt x="1222" y="976"/>
                    </a:moveTo>
                    <a:lnTo>
                      <a:pt x="1224" y="976"/>
                    </a:lnTo>
                    <a:lnTo>
                      <a:pt x="1224" y="980"/>
                    </a:lnTo>
                    <a:lnTo>
                      <a:pt x="1222" y="980"/>
                    </a:lnTo>
                    <a:lnTo>
                      <a:pt x="1222" y="976"/>
                    </a:lnTo>
                    <a:close/>
                    <a:moveTo>
                      <a:pt x="1346" y="1662"/>
                    </a:moveTo>
                    <a:lnTo>
                      <a:pt x="1348" y="1662"/>
                    </a:lnTo>
                    <a:lnTo>
                      <a:pt x="1348" y="1663"/>
                    </a:lnTo>
                    <a:lnTo>
                      <a:pt x="1346" y="1663"/>
                    </a:lnTo>
                    <a:lnTo>
                      <a:pt x="1346" y="1662"/>
                    </a:lnTo>
                    <a:close/>
                    <a:moveTo>
                      <a:pt x="1210" y="1063"/>
                    </a:moveTo>
                    <a:lnTo>
                      <a:pt x="1212" y="1063"/>
                    </a:lnTo>
                    <a:lnTo>
                      <a:pt x="1212" y="1065"/>
                    </a:lnTo>
                    <a:lnTo>
                      <a:pt x="1210" y="1065"/>
                    </a:lnTo>
                    <a:lnTo>
                      <a:pt x="1210" y="1063"/>
                    </a:lnTo>
                    <a:close/>
                    <a:moveTo>
                      <a:pt x="1161" y="1349"/>
                    </a:moveTo>
                    <a:lnTo>
                      <a:pt x="1162" y="1349"/>
                    </a:lnTo>
                    <a:lnTo>
                      <a:pt x="1162" y="1350"/>
                    </a:lnTo>
                    <a:lnTo>
                      <a:pt x="1161" y="1350"/>
                    </a:lnTo>
                    <a:lnTo>
                      <a:pt x="1161" y="1349"/>
                    </a:lnTo>
                    <a:close/>
                    <a:moveTo>
                      <a:pt x="1207" y="1529"/>
                    </a:moveTo>
                    <a:lnTo>
                      <a:pt x="1210" y="1529"/>
                    </a:lnTo>
                    <a:lnTo>
                      <a:pt x="1210" y="1532"/>
                    </a:lnTo>
                    <a:lnTo>
                      <a:pt x="1207" y="1532"/>
                    </a:lnTo>
                    <a:lnTo>
                      <a:pt x="1207" y="1529"/>
                    </a:lnTo>
                    <a:close/>
                    <a:moveTo>
                      <a:pt x="1205" y="1541"/>
                    </a:moveTo>
                    <a:lnTo>
                      <a:pt x="1207" y="1541"/>
                    </a:lnTo>
                    <a:lnTo>
                      <a:pt x="1207" y="1543"/>
                    </a:lnTo>
                    <a:lnTo>
                      <a:pt x="1205" y="1543"/>
                    </a:lnTo>
                    <a:lnTo>
                      <a:pt x="1205" y="1541"/>
                    </a:lnTo>
                    <a:close/>
                    <a:moveTo>
                      <a:pt x="1152" y="1257"/>
                    </a:moveTo>
                    <a:lnTo>
                      <a:pt x="1156" y="1257"/>
                    </a:lnTo>
                    <a:lnTo>
                      <a:pt x="1156" y="1259"/>
                    </a:lnTo>
                    <a:lnTo>
                      <a:pt x="1152" y="1259"/>
                    </a:lnTo>
                    <a:lnTo>
                      <a:pt x="1152" y="1257"/>
                    </a:lnTo>
                    <a:close/>
                    <a:moveTo>
                      <a:pt x="1152" y="1310"/>
                    </a:moveTo>
                    <a:lnTo>
                      <a:pt x="1154" y="1310"/>
                    </a:lnTo>
                    <a:lnTo>
                      <a:pt x="1154" y="1311"/>
                    </a:lnTo>
                    <a:lnTo>
                      <a:pt x="1152" y="1311"/>
                    </a:lnTo>
                    <a:lnTo>
                      <a:pt x="1152" y="1310"/>
                    </a:lnTo>
                    <a:close/>
                    <a:moveTo>
                      <a:pt x="1174" y="1478"/>
                    </a:moveTo>
                    <a:lnTo>
                      <a:pt x="1178" y="1478"/>
                    </a:lnTo>
                    <a:lnTo>
                      <a:pt x="1178" y="1481"/>
                    </a:lnTo>
                    <a:lnTo>
                      <a:pt x="1174" y="1481"/>
                    </a:lnTo>
                    <a:lnTo>
                      <a:pt x="1174" y="1478"/>
                    </a:lnTo>
                    <a:close/>
                    <a:moveTo>
                      <a:pt x="1164" y="1332"/>
                    </a:moveTo>
                    <a:lnTo>
                      <a:pt x="1166" y="1332"/>
                    </a:lnTo>
                    <a:lnTo>
                      <a:pt x="1166" y="1335"/>
                    </a:lnTo>
                    <a:lnTo>
                      <a:pt x="1164" y="1335"/>
                    </a:lnTo>
                    <a:lnTo>
                      <a:pt x="1164" y="1332"/>
                    </a:lnTo>
                    <a:close/>
                    <a:moveTo>
                      <a:pt x="1220" y="986"/>
                    </a:moveTo>
                    <a:lnTo>
                      <a:pt x="1222" y="986"/>
                    </a:lnTo>
                    <a:lnTo>
                      <a:pt x="1222" y="988"/>
                    </a:lnTo>
                    <a:lnTo>
                      <a:pt x="1220" y="988"/>
                    </a:lnTo>
                    <a:lnTo>
                      <a:pt x="1220" y="986"/>
                    </a:lnTo>
                    <a:close/>
                    <a:moveTo>
                      <a:pt x="1166" y="1383"/>
                    </a:moveTo>
                    <a:lnTo>
                      <a:pt x="1168" y="1383"/>
                    </a:lnTo>
                    <a:lnTo>
                      <a:pt x="1168" y="1384"/>
                    </a:lnTo>
                    <a:lnTo>
                      <a:pt x="1166" y="1384"/>
                    </a:lnTo>
                    <a:lnTo>
                      <a:pt x="1166" y="1383"/>
                    </a:lnTo>
                    <a:close/>
                    <a:moveTo>
                      <a:pt x="1173" y="1245"/>
                    </a:moveTo>
                    <a:lnTo>
                      <a:pt x="1174" y="1245"/>
                    </a:lnTo>
                    <a:lnTo>
                      <a:pt x="1174" y="1248"/>
                    </a:lnTo>
                    <a:lnTo>
                      <a:pt x="1173" y="1248"/>
                    </a:lnTo>
                    <a:lnTo>
                      <a:pt x="1173" y="1245"/>
                    </a:lnTo>
                    <a:close/>
                    <a:moveTo>
                      <a:pt x="1185" y="1099"/>
                    </a:moveTo>
                    <a:lnTo>
                      <a:pt x="1186" y="1099"/>
                    </a:lnTo>
                    <a:lnTo>
                      <a:pt x="1186" y="1100"/>
                    </a:lnTo>
                    <a:lnTo>
                      <a:pt x="1185" y="1100"/>
                    </a:lnTo>
                    <a:lnTo>
                      <a:pt x="1185" y="1099"/>
                    </a:lnTo>
                    <a:close/>
                    <a:moveTo>
                      <a:pt x="1215" y="981"/>
                    </a:moveTo>
                    <a:lnTo>
                      <a:pt x="1217" y="981"/>
                    </a:lnTo>
                    <a:lnTo>
                      <a:pt x="1217" y="983"/>
                    </a:lnTo>
                    <a:lnTo>
                      <a:pt x="1215" y="983"/>
                    </a:lnTo>
                    <a:lnTo>
                      <a:pt x="1215" y="981"/>
                    </a:lnTo>
                    <a:close/>
                    <a:moveTo>
                      <a:pt x="1154" y="1354"/>
                    </a:moveTo>
                    <a:lnTo>
                      <a:pt x="1154" y="1357"/>
                    </a:lnTo>
                    <a:lnTo>
                      <a:pt x="1154" y="1354"/>
                    </a:lnTo>
                    <a:close/>
                    <a:moveTo>
                      <a:pt x="1276" y="1595"/>
                    </a:moveTo>
                    <a:lnTo>
                      <a:pt x="1280" y="1595"/>
                    </a:lnTo>
                    <a:lnTo>
                      <a:pt x="1280" y="1597"/>
                    </a:lnTo>
                    <a:lnTo>
                      <a:pt x="1276" y="1597"/>
                    </a:lnTo>
                    <a:lnTo>
                      <a:pt x="1276" y="1595"/>
                    </a:lnTo>
                    <a:close/>
                    <a:moveTo>
                      <a:pt x="1190" y="1066"/>
                    </a:moveTo>
                    <a:lnTo>
                      <a:pt x="1191" y="1066"/>
                    </a:lnTo>
                    <a:lnTo>
                      <a:pt x="1190" y="1066"/>
                    </a:lnTo>
                    <a:close/>
                    <a:moveTo>
                      <a:pt x="1292" y="1616"/>
                    </a:moveTo>
                    <a:lnTo>
                      <a:pt x="1293" y="1616"/>
                    </a:lnTo>
                    <a:lnTo>
                      <a:pt x="1293" y="1618"/>
                    </a:lnTo>
                    <a:lnTo>
                      <a:pt x="1292" y="1618"/>
                    </a:lnTo>
                    <a:lnTo>
                      <a:pt x="1292" y="1616"/>
                    </a:lnTo>
                    <a:close/>
                    <a:moveTo>
                      <a:pt x="1149" y="1311"/>
                    </a:moveTo>
                    <a:lnTo>
                      <a:pt x="1151" y="1311"/>
                    </a:lnTo>
                    <a:lnTo>
                      <a:pt x="1151" y="1313"/>
                    </a:lnTo>
                    <a:lnTo>
                      <a:pt x="1149" y="1313"/>
                    </a:lnTo>
                    <a:lnTo>
                      <a:pt x="1149" y="1311"/>
                    </a:lnTo>
                    <a:close/>
                    <a:moveTo>
                      <a:pt x="1203" y="1429"/>
                    </a:moveTo>
                    <a:lnTo>
                      <a:pt x="1205" y="1429"/>
                    </a:lnTo>
                    <a:lnTo>
                      <a:pt x="1205" y="1430"/>
                    </a:lnTo>
                    <a:lnTo>
                      <a:pt x="1203" y="1430"/>
                    </a:lnTo>
                    <a:lnTo>
                      <a:pt x="1203" y="1429"/>
                    </a:lnTo>
                    <a:close/>
                    <a:moveTo>
                      <a:pt x="1246" y="1582"/>
                    </a:moveTo>
                    <a:lnTo>
                      <a:pt x="1247" y="1582"/>
                    </a:lnTo>
                    <a:lnTo>
                      <a:pt x="1247" y="1583"/>
                    </a:lnTo>
                    <a:lnTo>
                      <a:pt x="1246" y="1583"/>
                    </a:lnTo>
                    <a:lnTo>
                      <a:pt x="1246" y="1582"/>
                    </a:lnTo>
                    <a:close/>
                    <a:moveTo>
                      <a:pt x="1149" y="1342"/>
                    </a:moveTo>
                    <a:lnTo>
                      <a:pt x="1151" y="1342"/>
                    </a:lnTo>
                    <a:lnTo>
                      <a:pt x="1151" y="1345"/>
                    </a:lnTo>
                    <a:lnTo>
                      <a:pt x="1149" y="1345"/>
                    </a:lnTo>
                    <a:lnTo>
                      <a:pt x="1149" y="1342"/>
                    </a:lnTo>
                    <a:close/>
                    <a:moveTo>
                      <a:pt x="1203" y="1104"/>
                    </a:moveTo>
                    <a:lnTo>
                      <a:pt x="1205" y="1104"/>
                    </a:lnTo>
                    <a:lnTo>
                      <a:pt x="1205" y="1105"/>
                    </a:lnTo>
                    <a:lnTo>
                      <a:pt x="1203" y="1105"/>
                    </a:lnTo>
                    <a:lnTo>
                      <a:pt x="1203" y="1104"/>
                    </a:lnTo>
                    <a:close/>
                    <a:moveTo>
                      <a:pt x="1213" y="1107"/>
                    </a:moveTo>
                    <a:lnTo>
                      <a:pt x="1215" y="1107"/>
                    </a:lnTo>
                    <a:lnTo>
                      <a:pt x="1215" y="1109"/>
                    </a:lnTo>
                    <a:lnTo>
                      <a:pt x="1213" y="1109"/>
                    </a:lnTo>
                    <a:lnTo>
                      <a:pt x="1213" y="1107"/>
                    </a:lnTo>
                    <a:close/>
                    <a:moveTo>
                      <a:pt x="1183" y="1194"/>
                    </a:moveTo>
                    <a:lnTo>
                      <a:pt x="1185" y="1194"/>
                    </a:lnTo>
                    <a:lnTo>
                      <a:pt x="1185" y="1196"/>
                    </a:lnTo>
                    <a:lnTo>
                      <a:pt x="1183" y="1196"/>
                    </a:lnTo>
                    <a:lnTo>
                      <a:pt x="1183" y="1194"/>
                    </a:lnTo>
                    <a:close/>
                    <a:moveTo>
                      <a:pt x="1368" y="1662"/>
                    </a:moveTo>
                    <a:lnTo>
                      <a:pt x="1370" y="1662"/>
                    </a:lnTo>
                    <a:lnTo>
                      <a:pt x="1370" y="1663"/>
                    </a:lnTo>
                    <a:lnTo>
                      <a:pt x="1368" y="1663"/>
                    </a:lnTo>
                    <a:lnTo>
                      <a:pt x="1368" y="1662"/>
                    </a:lnTo>
                    <a:close/>
                    <a:moveTo>
                      <a:pt x="1329" y="1626"/>
                    </a:moveTo>
                    <a:lnTo>
                      <a:pt x="1331" y="1626"/>
                    </a:lnTo>
                    <a:lnTo>
                      <a:pt x="1329" y="1626"/>
                    </a:lnTo>
                    <a:lnTo>
                      <a:pt x="1331" y="1626"/>
                    </a:lnTo>
                    <a:lnTo>
                      <a:pt x="1329" y="1626"/>
                    </a:lnTo>
                    <a:lnTo>
                      <a:pt x="1327" y="1626"/>
                    </a:lnTo>
                    <a:lnTo>
                      <a:pt x="1329" y="1626"/>
                    </a:lnTo>
                    <a:close/>
                    <a:moveTo>
                      <a:pt x="1219" y="992"/>
                    </a:moveTo>
                    <a:lnTo>
                      <a:pt x="1222" y="992"/>
                    </a:lnTo>
                    <a:lnTo>
                      <a:pt x="1222" y="993"/>
                    </a:lnTo>
                    <a:lnTo>
                      <a:pt x="1219" y="993"/>
                    </a:lnTo>
                    <a:lnTo>
                      <a:pt x="1219" y="992"/>
                    </a:lnTo>
                    <a:close/>
                    <a:moveTo>
                      <a:pt x="1169" y="1388"/>
                    </a:moveTo>
                    <a:lnTo>
                      <a:pt x="1171" y="1388"/>
                    </a:lnTo>
                    <a:lnTo>
                      <a:pt x="1171" y="1390"/>
                    </a:lnTo>
                    <a:lnTo>
                      <a:pt x="1169" y="1390"/>
                    </a:lnTo>
                    <a:lnTo>
                      <a:pt x="1169" y="1388"/>
                    </a:lnTo>
                    <a:close/>
                    <a:moveTo>
                      <a:pt x="1185" y="1476"/>
                    </a:moveTo>
                    <a:lnTo>
                      <a:pt x="1186" y="1476"/>
                    </a:lnTo>
                    <a:lnTo>
                      <a:pt x="1186" y="1478"/>
                    </a:lnTo>
                    <a:lnTo>
                      <a:pt x="1185" y="1478"/>
                    </a:lnTo>
                    <a:lnTo>
                      <a:pt x="1185" y="1476"/>
                    </a:lnTo>
                    <a:close/>
                    <a:moveTo>
                      <a:pt x="1220" y="1058"/>
                    </a:moveTo>
                    <a:lnTo>
                      <a:pt x="1222" y="1058"/>
                    </a:lnTo>
                    <a:lnTo>
                      <a:pt x="1222" y="1060"/>
                    </a:lnTo>
                    <a:lnTo>
                      <a:pt x="1220" y="1060"/>
                    </a:lnTo>
                    <a:lnTo>
                      <a:pt x="1220" y="1058"/>
                    </a:lnTo>
                    <a:close/>
                    <a:moveTo>
                      <a:pt x="1186" y="1476"/>
                    </a:moveTo>
                    <a:lnTo>
                      <a:pt x="1190" y="1476"/>
                    </a:lnTo>
                    <a:lnTo>
                      <a:pt x="1190" y="1478"/>
                    </a:lnTo>
                    <a:lnTo>
                      <a:pt x="1186" y="1478"/>
                    </a:lnTo>
                    <a:lnTo>
                      <a:pt x="1186" y="1476"/>
                    </a:lnTo>
                    <a:close/>
                    <a:moveTo>
                      <a:pt x="1334" y="1653"/>
                    </a:moveTo>
                    <a:lnTo>
                      <a:pt x="1334" y="1657"/>
                    </a:lnTo>
                    <a:lnTo>
                      <a:pt x="1334" y="1653"/>
                    </a:lnTo>
                    <a:close/>
                    <a:moveTo>
                      <a:pt x="1200" y="1141"/>
                    </a:moveTo>
                    <a:lnTo>
                      <a:pt x="1202" y="1141"/>
                    </a:lnTo>
                    <a:lnTo>
                      <a:pt x="1202" y="1143"/>
                    </a:lnTo>
                    <a:lnTo>
                      <a:pt x="1200" y="1143"/>
                    </a:lnTo>
                    <a:lnTo>
                      <a:pt x="1200" y="1141"/>
                    </a:lnTo>
                    <a:close/>
                    <a:moveTo>
                      <a:pt x="1140" y="1306"/>
                    </a:moveTo>
                    <a:lnTo>
                      <a:pt x="1142" y="1306"/>
                    </a:lnTo>
                    <a:lnTo>
                      <a:pt x="1142" y="1310"/>
                    </a:lnTo>
                    <a:lnTo>
                      <a:pt x="1140" y="1310"/>
                    </a:lnTo>
                    <a:lnTo>
                      <a:pt x="1140" y="1306"/>
                    </a:lnTo>
                    <a:close/>
                    <a:moveTo>
                      <a:pt x="1190" y="1524"/>
                    </a:moveTo>
                    <a:lnTo>
                      <a:pt x="1191" y="1524"/>
                    </a:lnTo>
                    <a:lnTo>
                      <a:pt x="1191" y="1526"/>
                    </a:lnTo>
                    <a:lnTo>
                      <a:pt x="1190" y="1526"/>
                    </a:lnTo>
                    <a:lnTo>
                      <a:pt x="1190" y="1524"/>
                    </a:lnTo>
                    <a:close/>
                    <a:moveTo>
                      <a:pt x="1200" y="1060"/>
                    </a:moveTo>
                    <a:lnTo>
                      <a:pt x="1202" y="1060"/>
                    </a:lnTo>
                    <a:lnTo>
                      <a:pt x="1202" y="1061"/>
                    </a:lnTo>
                    <a:lnTo>
                      <a:pt x="1200" y="1061"/>
                    </a:lnTo>
                    <a:lnTo>
                      <a:pt x="1200" y="1060"/>
                    </a:lnTo>
                    <a:close/>
                    <a:moveTo>
                      <a:pt x="1161" y="1298"/>
                    </a:moveTo>
                    <a:lnTo>
                      <a:pt x="1162" y="1298"/>
                    </a:lnTo>
                    <a:lnTo>
                      <a:pt x="1162" y="1299"/>
                    </a:lnTo>
                    <a:lnTo>
                      <a:pt x="1161" y="1299"/>
                    </a:lnTo>
                    <a:lnTo>
                      <a:pt x="1161" y="1298"/>
                    </a:lnTo>
                    <a:close/>
                    <a:moveTo>
                      <a:pt x="1207" y="1492"/>
                    </a:moveTo>
                    <a:lnTo>
                      <a:pt x="1208" y="1492"/>
                    </a:lnTo>
                    <a:lnTo>
                      <a:pt x="1208" y="1493"/>
                    </a:lnTo>
                    <a:lnTo>
                      <a:pt x="1207" y="1493"/>
                    </a:lnTo>
                    <a:lnTo>
                      <a:pt x="1207" y="1492"/>
                    </a:lnTo>
                    <a:close/>
                    <a:moveTo>
                      <a:pt x="1416" y="1680"/>
                    </a:moveTo>
                    <a:lnTo>
                      <a:pt x="1417" y="1680"/>
                    </a:lnTo>
                    <a:lnTo>
                      <a:pt x="1417" y="1682"/>
                    </a:lnTo>
                    <a:lnTo>
                      <a:pt x="1416" y="1682"/>
                    </a:lnTo>
                    <a:lnTo>
                      <a:pt x="1416" y="1680"/>
                    </a:lnTo>
                    <a:close/>
                    <a:moveTo>
                      <a:pt x="1244" y="1502"/>
                    </a:moveTo>
                    <a:lnTo>
                      <a:pt x="1246" y="1502"/>
                    </a:lnTo>
                    <a:lnTo>
                      <a:pt x="1246" y="1504"/>
                    </a:lnTo>
                    <a:lnTo>
                      <a:pt x="1244" y="1504"/>
                    </a:lnTo>
                    <a:lnTo>
                      <a:pt x="1244" y="1502"/>
                    </a:lnTo>
                    <a:close/>
                    <a:moveTo>
                      <a:pt x="1193" y="1124"/>
                    </a:moveTo>
                    <a:lnTo>
                      <a:pt x="1193" y="1126"/>
                    </a:lnTo>
                    <a:lnTo>
                      <a:pt x="1193" y="1124"/>
                    </a:lnTo>
                    <a:close/>
                    <a:moveTo>
                      <a:pt x="1176" y="1117"/>
                    </a:moveTo>
                    <a:lnTo>
                      <a:pt x="1178" y="1117"/>
                    </a:lnTo>
                    <a:lnTo>
                      <a:pt x="1178" y="1119"/>
                    </a:lnTo>
                    <a:lnTo>
                      <a:pt x="1176" y="1119"/>
                    </a:lnTo>
                    <a:lnTo>
                      <a:pt x="1176" y="1117"/>
                    </a:lnTo>
                    <a:close/>
                    <a:moveTo>
                      <a:pt x="1161" y="1160"/>
                    </a:moveTo>
                    <a:lnTo>
                      <a:pt x="1162" y="1160"/>
                    </a:lnTo>
                    <a:lnTo>
                      <a:pt x="1162" y="1162"/>
                    </a:lnTo>
                    <a:lnTo>
                      <a:pt x="1161" y="1162"/>
                    </a:lnTo>
                    <a:lnTo>
                      <a:pt x="1161" y="1160"/>
                    </a:lnTo>
                    <a:close/>
                    <a:moveTo>
                      <a:pt x="1190" y="1060"/>
                    </a:moveTo>
                    <a:lnTo>
                      <a:pt x="1193" y="1060"/>
                    </a:lnTo>
                    <a:lnTo>
                      <a:pt x="1190" y="1060"/>
                    </a:lnTo>
                    <a:close/>
                    <a:moveTo>
                      <a:pt x="1162" y="1405"/>
                    </a:moveTo>
                    <a:lnTo>
                      <a:pt x="1164" y="1405"/>
                    </a:lnTo>
                    <a:lnTo>
                      <a:pt x="1164" y="1407"/>
                    </a:lnTo>
                    <a:lnTo>
                      <a:pt x="1162" y="1407"/>
                    </a:lnTo>
                    <a:lnTo>
                      <a:pt x="1162" y="1405"/>
                    </a:lnTo>
                    <a:close/>
                    <a:moveTo>
                      <a:pt x="1176" y="1470"/>
                    </a:moveTo>
                    <a:lnTo>
                      <a:pt x="1178" y="1470"/>
                    </a:lnTo>
                    <a:lnTo>
                      <a:pt x="1178" y="1471"/>
                    </a:lnTo>
                    <a:lnTo>
                      <a:pt x="1176" y="1471"/>
                    </a:lnTo>
                    <a:lnTo>
                      <a:pt x="1176" y="1470"/>
                    </a:lnTo>
                    <a:close/>
                    <a:moveTo>
                      <a:pt x="1212" y="1105"/>
                    </a:moveTo>
                    <a:lnTo>
                      <a:pt x="1213" y="1105"/>
                    </a:lnTo>
                    <a:lnTo>
                      <a:pt x="1212" y="1105"/>
                    </a:lnTo>
                    <a:close/>
                    <a:moveTo>
                      <a:pt x="1205" y="1097"/>
                    </a:moveTo>
                    <a:lnTo>
                      <a:pt x="1207" y="1097"/>
                    </a:lnTo>
                    <a:lnTo>
                      <a:pt x="1207" y="1099"/>
                    </a:lnTo>
                    <a:lnTo>
                      <a:pt x="1205" y="1099"/>
                    </a:lnTo>
                    <a:lnTo>
                      <a:pt x="1205" y="1097"/>
                    </a:lnTo>
                    <a:close/>
                    <a:moveTo>
                      <a:pt x="1241" y="1592"/>
                    </a:moveTo>
                    <a:lnTo>
                      <a:pt x="1242" y="1592"/>
                    </a:lnTo>
                    <a:lnTo>
                      <a:pt x="1242" y="1594"/>
                    </a:lnTo>
                    <a:lnTo>
                      <a:pt x="1241" y="1594"/>
                    </a:lnTo>
                    <a:lnTo>
                      <a:pt x="1241" y="1592"/>
                    </a:lnTo>
                    <a:close/>
                    <a:moveTo>
                      <a:pt x="1185" y="1461"/>
                    </a:moveTo>
                    <a:lnTo>
                      <a:pt x="1185" y="1463"/>
                    </a:lnTo>
                    <a:lnTo>
                      <a:pt x="1185" y="1461"/>
                    </a:lnTo>
                    <a:close/>
                    <a:moveTo>
                      <a:pt x="1191" y="1122"/>
                    </a:moveTo>
                    <a:lnTo>
                      <a:pt x="1193" y="1122"/>
                    </a:lnTo>
                    <a:lnTo>
                      <a:pt x="1193" y="1124"/>
                    </a:lnTo>
                    <a:lnTo>
                      <a:pt x="1191" y="1124"/>
                    </a:lnTo>
                    <a:lnTo>
                      <a:pt x="1191" y="1122"/>
                    </a:lnTo>
                    <a:close/>
                    <a:moveTo>
                      <a:pt x="1232" y="959"/>
                    </a:moveTo>
                    <a:lnTo>
                      <a:pt x="1234" y="959"/>
                    </a:lnTo>
                    <a:lnTo>
                      <a:pt x="1232" y="959"/>
                    </a:lnTo>
                    <a:close/>
                    <a:moveTo>
                      <a:pt x="1332" y="1590"/>
                    </a:moveTo>
                    <a:lnTo>
                      <a:pt x="1334" y="1590"/>
                    </a:lnTo>
                    <a:lnTo>
                      <a:pt x="1332" y="1590"/>
                    </a:lnTo>
                    <a:close/>
                    <a:moveTo>
                      <a:pt x="1179" y="1488"/>
                    </a:moveTo>
                    <a:lnTo>
                      <a:pt x="1179" y="1490"/>
                    </a:lnTo>
                    <a:lnTo>
                      <a:pt x="1179" y="1488"/>
                    </a:lnTo>
                    <a:close/>
                    <a:moveTo>
                      <a:pt x="1298" y="1621"/>
                    </a:moveTo>
                    <a:lnTo>
                      <a:pt x="1300" y="1621"/>
                    </a:lnTo>
                    <a:lnTo>
                      <a:pt x="1300" y="1624"/>
                    </a:lnTo>
                    <a:lnTo>
                      <a:pt x="1298" y="1624"/>
                    </a:lnTo>
                    <a:lnTo>
                      <a:pt x="1298" y="1621"/>
                    </a:lnTo>
                    <a:close/>
                    <a:moveTo>
                      <a:pt x="1258" y="1558"/>
                    </a:moveTo>
                    <a:lnTo>
                      <a:pt x="1259" y="1558"/>
                    </a:lnTo>
                    <a:lnTo>
                      <a:pt x="1259" y="1560"/>
                    </a:lnTo>
                    <a:lnTo>
                      <a:pt x="1258" y="1560"/>
                    </a:lnTo>
                    <a:lnTo>
                      <a:pt x="1258" y="1558"/>
                    </a:lnTo>
                    <a:close/>
                    <a:moveTo>
                      <a:pt x="1162" y="1376"/>
                    </a:moveTo>
                    <a:lnTo>
                      <a:pt x="1164" y="1376"/>
                    </a:lnTo>
                    <a:lnTo>
                      <a:pt x="1164" y="1378"/>
                    </a:lnTo>
                    <a:lnTo>
                      <a:pt x="1162" y="1378"/>
                    </a:lnTo>
                    <a:lnTo>
                      <a:pt x="1162" y="1376"/>
                    </a:lnTo>
                    <a:close/>
                    <a:moveTo>
                      <a:pt x="1210" y="1490"/>
                    </a:moveTo>
                    <a:lnTo>
                      <a:pt x="1210" y="1492"/>
                    </a:lnTo>
                    <a:lnTo>
                      <a:pt x="1210" y="1490"/>
                    </a:lnTo>
                    <a:close/>
                    <a:moveTo>
                      <a:pt x="1208" y="1553"/>
                    </a:moveTo>
                    <a:lnTo>
                      <a:pt x="1208" y="1556"/>
                    </a:lnTo>
                    <a:lnTo>
                      <a:pt x="1208" y="1553"/>
                    </a:lnTo>
                    <a:close/>
                    <a:moveTo>
                      <a:pt x="1264" y="1595"/>
                    </a:moveTo>
                    <a:lnTo>
                      <a:pt x="1266" y="1595"/>
                    </a:lnTo>
                    <a:lnTo>
                      <a:pt x="1266" y="1597"/>
                    </a:lnTo>
                    <a:lnTo>
                      <a:pt x="1264" y="1597"/>
                    </a:lnTo>
                    <a:lnTo>
                      <a:pt x="1264" y="1595"/>
                    </a:lnTo>
                    <a:close/>
                    <a:moveTo>
                      <a:pt x="1208" y="1478"/>
                    </a:moveTo>
                    <a:lnTo>
                      <a:pt x="1210" y="1478"/>
                    </a:lnTo>
                    <a:lnTo>
                      <a:pt x="1210" y="1480"/>
                    </a:lnTo>
                    <a:lnTo>
                      <a:pt x="1208" y="1480"/>
                    </a:lnTo>
                    <a:lnTo>
                      <a:pt x="1208" y="1478"/>
                    </a:lnTo>
                    <a:close/>
                    <a:moveTo>
                      <a:pt x="1173" y="1408"/>
                    </a:moveTo>
                    <a:lnTo>
                      <a:pt x="1174" y="1408"/>
                    </a:lnTo>
                    <a:lnTo>
                      <a:pt x="1174" y="1410"/>
                    </a:lnTo>
                    <a:lnTo>
                      <a:pt x="1173" y="1410"/>
                    </a:lnTo>
                    <a:lnTo>
                      <a:pt x="1173" y="1408"/>
                    </a:lnTo>
                    <a:close/>
                    <a:moveTo>
                      <a:pt x="1358" y="1650"/>
                    </a:moveTo>
                    <a:lnTo>
                      <a:pt x="1360" y="1650"/>
                    </a:lnTo>
                    <a:lnTo>
                      <a:pt x="1360" y="1652"/>
                    </a:lnTo>
                    <a:lnTo>
                      <a:pt x="1358" y="1652"/>
                    </a:lnTo>
                    <a:lnTo>
                      <a:pt x="1358" y="1650"/>
                    </a:lnTo>
                    <a:close/>
                    <a:moveTo>
                      <a:pt x="1179" y="1276"/>
                    </a:moveTo>
                    <a:lnTo>
                      <a:pt x="1181" y="1276"/>
                    </a:lnTo>
                    <a:lnTo>
                      <a:pt x="1181" y="1277"/>
                    </a:lnTo>
                    <a:lnTo>
                      <a:pt x="1179" y="1277"/>
                    </a:lnTo>
                    <a:lnTo>
                      <a:pt x="1179" y="1276"/>
                    </a:lnTo>
                    <a:close/>
                    <a:moveTo>
                      <a:pt x="1253" y="1572"/>
                    </a:moveTo>
                    <a:lnTo>
                      <a:pt x="1254" y="1572"/>
                    </a:lnTo>
                    <a:lnTo>
                      <a:pt x="1254" y="1575"/>
                    </a:lnTo>
                    <a:lnTo>
                      <a:pt x="1253" y="1575"/>
                    </a:lnTo>
                    <a:lnTo>
                      <a:pt x="1253" y="1572"/>
                    </a:lnTo>
                    <a:close/>
                    <a:moveTo>
                      <a:pt x="1156" y="1245"/>
                    </a:moveTo>
                    <a:lnTo>
                      <a:pt x="1157" y="1245"/>
                    </a:lnTo>
                    <a:lnTo>
                      <a:pt x="1157" y="1247"/>
                    </a:lnTo>
                    <a:lnTo>
                      <a:pt x="1156" y="1247"/>
                    </a:lnTo>
                    <a:lnTo>
                      <a:pt x="1156" y="1245"/>
                    </a:lnTo>
                    <a:close/>
                    <a:moveTo>
                      <a:pt x="1202" y="1243"/>
                    </a:moveTo>
                    <a:lnTo>
                      <a:pt x="1203" y="1243"/>
                    </a:lnTo>
                    <a:lnTo>
                      <a:pt x="1203" y="1245"/>
                    </a:lnTo>
                    <a:lnTo>
                      <a:pt x="1202" y="1245"/>
                    </a:lnTo>
                    <a:lnTo>
                      <a:pt x="1202" y="1243"/>
                    </a:lnTo>
                    <a:close/>
                    <a:moveTo>
                      <a:pt x="1254" y="1573"/>
                    </a:moveTo>
                    <a:lnTo>
                      <a:pt x="1254" y="1577"/>
                    </a:lnTo>
                    <a:lnTo>
                      <a:pt x="1254" y="1573"/>
                    </a:lnTo>
                    <a:close/>
                    <a:moveTo>
                      <a:pt x="1176" y="1119"/>
                    </a:moveTo>
                    <a:lnTo>
                      <a:pt x="1178" y="1119"/>
                    </a:lnTo>
                    <a:lnTo>
                      <a:pt x="1178" y="1121"/>
                    </a:lnTo>
                    <a:lnTo>
                      <a:pt x="1176" y="1121"/>
                    </a:lnTo>
                    <a:lnTo>
                      <a:pt x="1176" y="1119"/>
                    </a:lnTo>
                    <a:close/>
                    <a:moveTo>
                      <a:pt x="1227" y="1582"/>
                    </a:moveTo>
                    <a:lnTo>
                      <a:pt x="1227" y="1585"/>
                    </a:lnTo>
                    <a:lnTo>
                      <a:pt x="1227" y="1582"/>
                    </a:lnTo>
                    <a:close/>
                    <a:moveTo>
                      <a:pt x="1190" y="1483"/>
                    </a:moveTo>
                    <a:lnTo>
                      <a:pt x="1190" y="1485"/>
                    </a:lnTo>
                    <a:lnTo>
                      <a:pt x="1190" y="1483"/>
                    </a:lnTo>
                    <a:close/>
                    <a:moveTo>
                      <a:pt x="1176" y="1197"/>
                    </a:moveTo>
                    <a:lnTo>
                      <a:pt x="1178" y="1197"/>
                    </a:lnTo>
                    <a:lnTo>
                      <a:pt x="1178" y="1199"/>
                    </a:lnTo>
                    <a:lnTo>
                      <a:pt x="1176" y="1199"/>
                    </a:lnTo>
                    <a:lnTo>
                      <a:pt x="1176" y="1197"/>
                    </a:lnTo>
                    <a:close/>
                    <a:moveTo>
                      <a:pt x="1253" y="1498"/>
                    </a:moveTo>
                    <a:lnTo>
                      <a:pt x="1253" y="1500"/>
                    </a:lnTo>
                    <a:lnTo>
                      <a:pt x="1253" y="1498"/>
                    </a:lnTo>
                    <a:close/>
                    <a:moveTo>
                      <a:pt x="1186" y="1384"/>
                    </a:moveTo>
                    <a:lnTo>
                      <a:pt x="1188" y="1384"/>
                    </a:lnTo>
                    <a:lnTo>
                      <a:pt x="1188" y="1386"/>
                    </a:lnTo>
                    <a:lnTo>
                      <a:pt x="1186" y="1386"/>
                    </a:lnTo>
                    <a:lnTo>
                      <a:pt x="1186" y="1384"/>
                    </a:lnTo>
                    <a:close/>
                    <a:moveTo>
                      <a:pt x="1207" y="1071"/>
                    </a:moveTo>
                    <a:lnTo>
                      <a:pt x="1208" y="1071"/>
                    </a:lnTo>
                    <a:lnTo>
                      <a:pt x="1208" y="1073"/>
                    </a:lnTo>
                    <a:lnTo>
                      <a:pt x="1207" y="1073"/>
                    </a:lnTo>
                    <a:lnTo>
                      <a:pt x="1207" y="1071"/>
                    </a:lnTo>
                    <a:close/>
                    <a:moveTo>
                      <a:pt x="1225" y="1575"/>
                    </a:moveTo>
                    <a:lnTo>
                      <a:pt x="1229" y="1575"/>
                    </a:lnTo>
                    <a:lnTo>
                      <a:pt x="1229" y="1577"/>
                    </a:lnTo>
                    <a:lnTo>
                      <a:pt x="1225" y="1577"/>
                    </a:lnTo>
                    <a:lnTo>
                      <a:pt x="1225" y="1575"/>
                    </a:lnTo>
                    <a:close/>
                    <a:moveTo>
                      <a:pt x="1220" y="980"/>
                    </a:moveTo>
                    <a:lnTo>
                      <a:pt x="1222" y="980"/>
                    </a:lnTo>
                    <a:lnTo>
                      <a:pt x="1220" y="980"/>
                    </a:lnTo>
                    <a:close/>
                    <a:moveTo>
                      <a:pt x="1186" y="1191"/>
                    </a:moveTo>
                    <a:lnTo>
                      <a:pt x="1188" y="1191"/>
                    </a:lnTo>
                    <a:lnTo>
                      <a:pt x="1188" y="1192"/>
                    </a:lnTo>
                    <a:lnTo>
                      <a:pt x="1186" y="1192"/>
                    </a:lnTo>
                    <a:lnTo>
                      <a:pt x="1186" y="1191"/>
                    </a:lnTo>
                    <a:close/>
                    <a:moveTo>
                      <a:pt x="1224" y="1580"/>
                    </a:moveTo>
                    <a:lnTo>
                      <a:pt x="1224" y="1582"/>
                    </a:lnTo>
                    <a:lnTo>
                      <a:pt x="1224" y="1580"/>
                    </a:lnTo>
                    <a:close/>
                    <a:moveTo>
                      <a:pt x="1208" y="1553"/>
                    </a:moveTo>
                    <a:lnTo>
                      <a:pt x="1210" y="1553"/>
                    </a:lnTo>
                    <a:lnTo>
                      <a:pt x="1210" y="1555"/>
                    </a:lnTo>
                    <a:lnTo>
                      <a:pt x="1208" y="1555"/>
                    </a:lnTo>
                    <a:lnTo>
                      <a:pt x="1208" y="1553"/>
                    </a:lnTo>
                    <a:close/>
                    <a:moveTo>
                      <a:pt x="1219" y="1524"/>
                    </a:moveTo>
                    <a:lnTo>
                      <a:pt x="1222" y="1524"/>
                    </a:lnTo>
                    <a:lnTo>
                      <a:pt x="1222" y="1526"/>
                    </a:lnTo>
                    <a:lnTo>
                      <a:pt x="1219" y="1526"/>
                    </a:lnTo>
                    <a:lnTo>
                      <a:pt x="1219" y="1524"/>
                    </a:lnTo>
                    <a:close/>
                    <a:moveTo>
                      <a:pt x="1139" y="1310"/>
                    </a:moveTo>
                    <a:lnTo>
                      <a:pt x="1142" y="1310"/>
                    </a:lnTo>
                    <a:lnTo>
                      <a:pt x="1142" y="1311"/>
                    </a:lnTo>
                    <a:lnTo>
                      <a:pt x="1139" y="1311"/>
                    </a:lnTo>
                    <a:lnTo>
                      <a:pt x="1139" y="1310"/>
                    </a:lnTo>
                    <a:close/>
                    <a:moveTo>
                      <a:pt x="1225" y="981"/>
                    </a:moveTo>
                    <a:lnTo>
                      <a:pt x="1227" y="981"/>
                    </a:lnTo>
                    <a:lnTo>
                      <a:pt x="1227" y="983"/>
                    </a:lnTo>
                    <a:lnTo>
                      <a:pt x="1225" y="983"/>
                    </a:lnTo>
                    <a:lnTo>
                      <a:pt x="1225" y="981"/>
                    </a:lnTo>
                    <a:close/>
                    <a:moveTo>
                      <a:pt x="1140" y="1303"/>
                    </a:moveTo>
                    <a:lnTo>
                      <a:pt x="1142" y="1303"/>
                    </a:lnTo>
                    <a:lnTo>
                      <a:pt x="1142" y="1306"/>
                    </a:lnTo>
                    <a:lnTo>
                      <a:pt x="1140" y="1306"/>
                    </a:lnTo>
                    <a:lnTo>
                      <a:pt x="1140" y="1303"/>
                    </a:lnTo>
                    <a:close/>
                    <a:moveTo>
                      <a:pt x="1326" y="1653"/>
                    </a:moveTo>
                    <a:lnTo>
                      <a:pt x="1327" y="1653"/>
                    </a:lnTo>
                    <a:lnTo>
                      <a:pt x="1326" y="1653"/>
                    </a:lnTo>
                    <a:close/>
                    <a:moveTo>
                      <a:pt x="1246" y="1534"/>
                    </a:moveTo>
                    <a:lnTo>
                      <a:pt x="1247" y="1534"/>
                    </a:lnTo>
                    <a:lnTo>
                      <a:pt x="1247" y="1536"/>
                    </a:lnTo>
                    <a:lnTo>
                      <a:pt x="1246" y="1536"/>
                    </a:lnTo>
                    <a:lnTo>
                      <a:pt x="1246" y="1534"/>
                    </a:lnTo>
                    <a:close/>
                    <a:moveTo>
                      <a:pt x="1276" y="1590"/>
                    </a:moveTo>
                    <a:lnTo>
                      <a:pt x="1278" y="1590"/>
                    </a:lnTo>
                    <a:lnTo>
                      <a:pt x="1278" y="1592"/>
                    </a:lnTo>
                    <a:lnTo>
                      <a:pt x="1276" y="1592"/>
                    </a:lnTo>
                    <a:lnTo>
                      <a:pt x="1276" y="1590"/>
                    </a:lnTo>
                    <a:close/>
                    <a:moveTo>
                      <a:pt x="1270" y="1602"/>
                    </a:moveTo>
                    <a:lnTo>
                      <a:pt x="1271" y="1602"/>
                    </a:lnTo>
                    <a:lnTo>
                      <a:pt x="1271" y="1604"/>
                    </a:lnTo>
                    <a:lnTo>
                      <a:pt x="1270" y="1604"/>
                    </a:lnTo>
                    <a:lnTo>
                      <a:pt x="1270" y="1602"/>
                    </a:lnTo>
                    <a:close/>
                    <a:moveTo>
                      <a:pt x="1217" y="1555"/>
                    </a:moveTo>
                    <a:lnTo>
                      <a:pt x="1219" y="1555"/>
                    </a:lnTo>
                    <a:lnTo>
                      <a:pt x="1217" y="1555"/>
                    </a:lnTo>
                    <a:close/>
                    <a:moveTo>
                      <a:pt x="1183" y="1099"/>
                    </a:moveTo>
                    <a:lnTo>
                      <a:pt x="1185" y="1099"/>
                    </a:lnTo>
                    <a:lnTo>
                      <a:pt x="1185" y="1100"/>
                    </a:lnTo>
                    <a:lnTo>
                      <a:pt x="1183" y="1100"/>
                    </a:lnTo>
                    <a:lnTo>
                      <a:pt x="1183" y="1099"/>
                    </a:lnTo>
                    <a:close/>
                    <a:moveTo>
                      <a:pt x="1230" y="1449"/>
                    </a:moveTo>
                    <a:lnTo>
                      <a:pt x="1232" y="1449"/>
                    </a:lnTo>
                    <a:lnTo>
                      <a:pt x="1232" y="1451"/>
                    </a:lnTo>
                    <a:lnTo>
                      <a:pt x="1230" y="1451"/>
                    </a:lnTo>
                    <a:lnTo>
                      <a:pt x="1230" y="1449"/>
                    </a:lnTo>
                    <a:close/>
                    <a:moveTo>
                      <a:pt x="1181" y="1374"/>
                    </a:moveTo>
                    <a:lnTo>
                      <a:pt x="1181" y="1376"/>
                    </a:lnTo>
                    <a:lnTo>
                      <a:pt x="1181" y="1374"/>
                    </a:lnTo>
                    <a:close/>
                    <a:moveTo>
                      <a:pt x="1208" y="1116"/>
                    </a:moveTo>
                    <a:lnTo>
                      <a:pt x="1210" y="1116"/>
                    </a:lnTo>
                    <a:lnTo>
                      <a:pt x="1210" y="1117"/>
                    </a:lnTo>
                    <a:lnTo>
                      <a:pt x="1208" y="1117"/>
                    </a:lnTo>
                    <a:lnTo>
                      <a:pt x="1208" y="1116"/>
                    </a:lnTo>
                    <a:close/>
                    <a:moveTo>
                      <a:pt x="1268" y="1521"/>
                    </a:moveTo>
                    <a:lnTo>
                      <a:pt x="1270" y="1521"/>
                    </a:lnTo>
                    <a:lnTo>
                      <a:pt x="1270" y="1524"/>
                    </a:lnTo>
                    <a:lnTo>
                      <a:pt x="1268" y="1524"/>
                    </a:lnTo>
                    <a:lnTo>
                      <a:pt x="1268" y="1521"/>
                    </a:lnTo>
                    <a:close/>
                    <a:moveTo>
                      <a:pt x="1162" y="1243"/>
                    </a:moveTo>
                    <a:lnTo>
                      <a:pt x="1164" y="1243"/>
                    </a:lnTo>
                    <a:lnTo>
                      <a:pt x="1164" y="1245"/>
                    </a:lnTo>
                    <a:lnTo>
                      <a:pt x="1162" y="1245"/>
                    </a:lnTo>
                    <a:lnTo>
                      <a:pt x="1162" y="1243"/>
                    </a:lnTo>
                    <a:close/>
                    <a:moveTo>
                      <a:pt x="1225" y="959"/>
                    </a:moveTo>
                    <a:lnTo>
                      <a:pt x="1227" y="959"/>
                    </a:lnTo>
                    <a:lnTo>
                      <a:pt x="1227" y="961"/>
                    </a:lnTo>
                    <a:lnTo>
                      <a:pt x="1225" y="961"/>
                    </a:lnTo>
                    <a:lnTo>
                      <a:pt x="1225" y="959"/>
                    </a:lnTo>
                    <a:close/>
                    <a:moveTo>
                      <a:pt x="1179" y="1424"/>
                    </a:moveTo>
                    <a:lnTo>
                      <a:pt x="1181" y="1424"/>
                    </a:lnTo>
                    <a:lnTo>
                      <a:pt x="1181" y="1425"/>
                    </a:lnTo>
                    <a:lnTo>
                      <a:pt x="1179" y="1425"/>
                    </a:lnTo>
                    <a:lnTo>
                      <a:pt x="1179" y="1424"/>
                    </a:lnTo>
                    <a:close/>
                    <a:moveTo>
                      <a:pt x="1154" y="1187"/>
                    </a:moveTo>
                    <a:lnTo>
                      <a:pt x="1156" y="1187"/>
                    </a:lnTo>
                    <a:lnTo>
                      <a:pt x="1154" y="1187"/>
                    </a:lnTo>
                    <a:close/>
                    <a:moveTo>
                      <a:pt x="1217" y="1553"/>
                    </a:moveTo>
                    <a:lnTo>
                      <a:pt x="1220" y="1553"/>
                    </a:lnTo>
                    <a:lnTo>
                      <a:pt x="1220" y="1555"/>
                    </a:lnTo>
                    <a:lnTo>
                      <a:pt x="1217" y="1555"/>
                    </a:lnTo>
                    <a:lnTo>
                      <a:pt x="1217" y="1553"/>
                    </a:lnTo>
                    <a:close/>
                    <a:moveTo>
                      <a:pt x="1164" y="1134"/>
                    </a:moveTo>
                    <a:lnTo>
                      <a:pt x="1166" y="1134"/>
                    </a:lnTo>
                    <a:lnTo>
                      <a:pt x="1166" y="1136"/>
                    </a:lnTo>
                    <a:lnTo>
                      <a:pt x="1164" y="1136"/>
                    </a:lnTo>
                    <a:lnTo>
                      <a:pt x="1164" y="1134"/>
                    </a:lnTo>
                    <a:close/>
                    <a:moveTo>
                      <a:pt x="1224" y="954"/>
                    </a:moveTo>
                    <a:lnTo>
                      <a:pt x="1225" y="954"/>
                    </a:lnTo>
                    <a:lnTo>
                      <a:pt x="1225" y="956"/>
                    </a:lnTo>
                    <a:lnTo>
                      <a:pt x="1224" y="956"/>
                    </a:lnTo>
                    <a:lnTo>
                      <a:pt x="1224" y="954"/>
                    </a:lnTo>
                    <a:close/>
                    <a:moveTo>
                      <a:pt x="1145" y="1252"/>
                    </a:moveTo>
                    <a:lnTo>
                      <a:pt x="1149" y="1252"/>
                    </a:lnTo>
                    <a:lnTo>
                      <a:pt x="1149" y="1253"/>
                    </a:lnTo>
                    <a:lnTo>
                      <a:pt x="1145" y="1253"/>
                    </a:lnTo>
                    <a:lnTo>
                      <a:pt x="1145" y="1252"/>
                    </a:lnTo>
                    <a:close/>
                    <a:moveTo>
                      <a:pt x="1169" y="1415"/>
                    </a:moveTo>
                    <a:lnTo>
                      <a:pt x="1171" y="1415"/>
                    </a:lnTo>
                    <a:lnTo>
                      <a:pt x="1171" y="1417"/>
                    </a:lnTo>
                    <a:lnTo>
                      <a:pt x="1169" y="1417"/>
                    </a:lnTo>
                    <a:lnTo>
                      <a:pt x="1169" y="1415"/>
                    </a:lnTo>
                    <a:close/>
                    <a:moveTo>
                      <a:pt x="1198" y="1427"/>
                    </a:moveTo>
                    <a:lnTo>
                      <a:pt x="1200" y="1427"/>
                    </a:lnTo>
                    <a:lnTo>
                      <a:pt x="1200" y="1429"/>
                    </a:lnTo>
                    <a:lnTo>
                      <a:pt x="1198" y="1429"/>
                    </a:lnTo>
                    <a:lnTo>
                      <a:pt x="1198" y="1427"/>
                    </a:lnTo>
                    <a:close/>
                    <a:moveTo>
                      <a:pt x="1186" y="1485"/>
                    </a:moveTo>
                    <a:lnTo>
                      <a:pt x="1188" y="1485"/>
                    </a:lnTo>
                    <a:lnTo>
                      <a:pt x="1188" y="1487"/>
                    </a:lnTo>
                    <a:lnTo>
                      <a:pt x="1186" y="1487"/>
                    </a:lnTo>
                    <a:lnTo>
                      <a:pt x="1186" y="1485"/>
                    </a:lnTo>
                    <a:close/>
                    <a:moveTo>
                      <a:pt x="1186" y="1459"/>
                    </a:moveTo>
                    <a:lnTo>
                      <a:pt x="1186" y="1461"/>
                    </a:lnTo>
                    <a:lnTo>
                      <a:pt x="1186" y="1459"/>
                    </a:lnTo>
                    <a:close/>
                    <a:moveTo>
                      <a:pt x="1185" y="1461"/>
                    </a:moveTo>
                    <a:lnTo>
                      <a:pt x="1186" y="1461"/>
                    </a:lnTo>
                    <a:lnTo>
                      <a:pt x="1186" y="1463"/>
                    </a:lnTo>
                    <a:lnTo>
                      <a:pt x="1185" y="1463"/>
                    </a:lnTo>
                    <a:lnTo>
                      <a:pt x="1185" y="1461"/>
                    </a:lnTo>
                    <a:close/>
                    <a:moveTo>
                      <a:pt x="1164" y="1242"/>
                    </a:moveTo>
                    <a:lnTo>
                      <a:pt x="1166" y="1242"/>
                    </a:lnTo>
                    <a:lnTo>
                      <a:pt x="1166" y="1243"/>
                    </a:lnTo>
                    <a:lnTo>
                      <a:pt x="1164" y="1243"/>
                    </a:lnTo>
                    <a:lnTo>
                      <a:pt x="1164" y="1242"/>
                    </a:lnTo>
                    <a:close/>
                    <a:moveTo>
                      <a:pt x="1241" y="1493"/>
                    </a:moveTo>
                    <a:lnTo>
                      <a:pt x="1242" y="1493"/>
                    </a:lnTo>
                    <a:lnTo>
                      <a:pt x="1242" y="1495"/>
                    </a:lnTo>
                    <a:lnTo>
                      <a:pt x="1241" y="1495"/>
                    </a:lnTo>
                    <a:lnTo>
                      <a:pt x="1241" y="1493"/>
                    </a:lnTo>
                    <a:close/>
                    <a:moveTo>
                      <a:pt x="1200" y="1250"/>
                    </a:moveTo>
                    <a:lnTo>
                      <a:pt x="1203" y="1250"/>
                    </a:lnTo>
                    <a:lnTo>
                      <a:pt x="1200" y="1250"/>
                    </a:lnTo>
                    <a:close/>
                    <a:moveTo>
                      <a:pt x="1208" y="1065"/>
                    </a:moveTo>
                    <a:lnTo>
                      <a:pt x="1210" y="1065"/>
                    </a:lnTo>
                    <a:lnTo>
                      <a:pt x="1210" y="1066"/>
                    </a:lnTo>
                    <a:lnTo>
                      <a:pt x="1208" y="1066"/>
                    </a:lnTo>
                    <a:lnTo>
                      <a:pt x="1208" y="1065"/>
                    </a:lnTo>
                    <a:close/>
                    <a:moveTo>
                      <a:pt x="1220" y="1555"/>
                    </a:moveTo>
                    <a:lnTo>
                      <a:pt x="1222" y="1555"/>
                    </a:lnTo>
                    <a:lnTo>
                      <a:pt x="1222" y="1556"/>
                    </a:lnTo>
                    <a:lnTo>
                      <a:pt x="1220" y="1556"/>
                    </a:lnTo>
                    <a:lnTo>
                      <a:pt x="1220" y="1555"/>
                    </a:lnTo>
                    <a:close/>
                    <a:moveTo>
                      <a:pt x="1203" y="1532"/>
                    </a:moveTo>
                    <a:lnTo>
                      <a:pt x="1207" y="1532"/>
                    </a:lnTo>
                    <a:lnTo>
                      <a:pt x="1207" y="1534"/>
                    </a:lnTo>
                    <a:lnTo>
                      <a:pt x="1203" y="1534"/>
                    </a:lnTo>
                    <a:lnTo>
                      <a:pt x="1203" y="1532"/>
                    </a:lnTo>
                    <a:close/>
                    <a:moveTo>
                      <a:pt x="1173" y="1391"/>
                    </a:moveTo>
                    <a:lnTo>
                      <a:pt x="1174" y="1391"/>
                    </a:lnTo>
                    <a:lnTo>
                      <a:pt x="1174" y="1393"/>
                    </a:lnTo>
                    <a:lnTo>
                      <a:pt x="1173" y="1393"/>
                    </a:lnTo>
                    <a:lnTo>
                      <a:pt x="1173" y="1391"/>
                    </a:lnTo>
                    <a:close/>
                    <a:moveTo>
                      <a:pt x="1200" y="1442"/>
                    </a:moveTo>
                    <a:lnTo>
                      <a:pt x="1202" y="1442"/>
                    </a:lnTo>
                    <a:lnTo>
                      <a:pt x="1202" y="1444"/>
                    </a:lnTo>
                    <a:lnTo>
                      <a:pt x="1200" y="1444"/>
                    </a:lnTo>
                    <a:lnTo>
                      <a:pt x="1200" y="1442"/>
                    </a:lnTo>
                    <a:close/>
                    <a:moveTo>
                      <a:pt x="1383" y="1663"/>
                    </a:moveTo>
                    <a:lnTo>
                      <a:pt x="1385" y="1663"/>
                    </a:lnTo>
                    <a:lnTo>
                      <a:pt x="1385" y="1665"/>
                    </a:lnTo>
                    <a:lnTo>
                      <a:pt x="1383" y="1665"/>
                    </a:lnTo>
                    <a:lnTo>
                      <a:pt x="1383" y="1663"/>
                    </a:lnTo>
                    <a:close/>
                    <a:moveTo>
                      <a:pt x="1343" y="1657"/>
                    </a:moveTo>
                    <a:lnTo>
                      <a:pt x="1344" y="1657"/>
                    </a:lnTo>
                    <a:lnTo>
                      <a:pt x="1344" y="1660"/>
                    </a:lnTo>
                    <a:lnTo>
                      <a:pt x="1343" y="1660"/>
                    </a:lnTo>
                    <a:lnTo>
                      <a:pt x="1343" y="1657"/>
                    </a:lnTo>
                    <a:close/>
                    <a:moveTo>
                      <a:pt x="1215" y="1105"/>
                    </a:moveTo>
                    <a:lnTo>
                      <a:pt x="1217" y="1105"/>
                    </a:lnTo>
                    <a:lnTo>
                      <a:pt x="1217" y="1109"/>
                    </a:lnTo>
                    <a:lnTo>
                      <a:pt x="1215" y="1109"/>
                    </a:lnTo>
                    <a:lnTo>
                      <a:pt x="1215" y="1105"/>
                    </a:lnTo>
                    <a:close/>
                    <a:moveTo>
                      <a:pt x="1210" y="1071"/>
                    </a:moveTo>
                    <a:lnTo>
                      <a:pt x="1210" y="1073"/>
                    </a:lnTo>
                    <a:lnTo>
                      <a:pt x="1210" y="1071"/>
                    </a:lnTo>
                    <a:close/>
                    <a:moveTo>
                      <a:pt x="1169" y="1481"/>
                    </a:moveTo>
                    <a:lnTo>
                      <a:pt x="1171" y="1481"/>
                    </a:lnTo>
                    <a:lnTo>
                      <a:pt x="1169" y="1481"/>
                    </a:lnTo>
                    <a:close/>
                    <a:moveTo>
                      <a:pt x="1154" y="1306"/>
                    </a:moveTo>
                    <a:lnTo>
                      <a:pt x="1156" y="1306"/>
                    </a:lnTo>
                    <a:lnTo>
                      <a:pt x="1156" y="1310"/>
                    </a:lnTo>
                    <a:lnTo>
                      <a:pt x="1154" y="1310"/>
                    </a:lnTo>
                    <a:lnTo>
                      <a:pt x="1154" y="1306"/>
                    </a:lnTo>
                    <a:close/>
                    <a:moveTo>
                      <a:pt x="1292" y="1577"/>
                    </a:moveTo>
                    <a:lnTo>
                      <a:pt x="1293" y="1577"/>
                    </a:lnTo>
                    <a:lnTo>
                      <a:pt x="1293" y="1578"/>
                    </a:lnTo>
                    <a:lnTo>
                      <a:pt x="1292" y="1578"/>
                    </a:lnTo>
                    <a:lnTo>
                      <a:pt x="1292" y="1577"/>
                    </a:lnTo>
                    <a:close/>
                    <a:moveTo>
                      <a:pt x="1227" y="997"/>
                    </a:moveTo>
                    <a:lnTo>
                      <a:pt x="1229" y="997"/>
                    </a:lnTo>
                    <a:lnTo>
                      <a:pt x="1229" y="998"/>
                    </a:lnTo>
                    <a:lnTo>
                      <a:pt x="1227" y="998"/>
                    </a:lnTo>
                    <a:lnTo>
                      <a:pt x="1227" y="997"/>
                    </a:lnTo>
                    <a:close/>
                    <a:moveTo>
                      <a:pt x="1151" y="1185"/>
                    </a:moveTo>
                    <a:lnTo>
                      <a:pt x="1152" y="1185"/>
                    </a:lnTo>
                    <a:lnTo>
                      <a:pt x="1152" y="1187"/>
                    </a:lnTo>
                    <a:lnTo>
                      <a:pt x="1151" y="1187"/>
                    </a:lnTo>
                    <a:lnTo>
                      <a:pt x="1151" y="1185"/>
                    </a:lnTo>
                    <a:close/>
                    <a:moveTo>
                      <a:pt x="1205" y="1478"/>
                    </a:moveTo>
                    <a:lnTo>
                      <a:pt x="1207" y="1478"/>
                    </a:lnTo>
                    <a:lnTo>
                      <a:pt x="1207" y="1480"/>
                    </a:lnTo>
                    <a:lnTo>
                      <a:pt x="1205" y="1480"/>
                    </a:lnTo>
                    <a:lnTo>
                      <a:pt x="1205" y="1478"/>
                    </a:lnTo>
                    <a:close/>
                    <a:moveTo>
                      <a:pt x="1169" y="1357"/>
                    </a:moveTo>
                    <a:lnTo>
                      <a:pt x="1171" y="1357"/>
                    </a:lnTo>
                    <a:lnTo>
                      <a:pt x="1169" y="1357"/>
                    </a:lnTo>
                    <a:close/>
                    <a:moveTo>
                      <a:pt x="1186" y="1071"/>
                    </a:moveTo>
                    <a:lnTo>
                      <a:pt x="1188" y="1071"/>
                    </a:lnTo>
                    <a:lnTo>
                      <a:pt x="1188" y="1073"/>
                    </a:lnTo>
                    <a:lnTo>
                      <a:pt x="1186" y="1073"/>
                    </a:lnTo>
                    <a:lnTo>
                      <a:pt x="1186" y="1071"/>
                    </a:lnTo>
                    <a:close/>
                    <a:moveTo>
                      <a:pt x="1198" y="1439"/>
                    </a:moveTo>
                    <a:lnTo>
                      <a:pt x="1198" y="1441"/>
                    </a:lnTo>
                    <a:lnTo>
                      <a:pt x="1198" y="1439"/>
                    </a:lnTo>
                    <a:close/>
                    <a:moveTo>
                      <a:pt x="1196" y="1485"/>
                    </a:moveTo>
                    <a:lnTo>
                      <a:pt x="1198" y="1485"/>
                    </a:lnTo>
                    <a:lnTo>
                      <a:pt x="1198" y="1488"/>
                    </a:lnTo>
                    <a:lnTo>
                      <a:pt x="1196" y="1488"/>
                    </a:lnTo>
                    <a:lnTo>
                      <a:pt x="1196" y="1485"/>
                    </a:lnTo>
                    <a:close/>
                    <a:moveTo>
                      <a:pt x="1300" y="1638"/>
                    </a:moveTo>
                    <a:lnTo>
                      <a:pt x="1302" y="1638"/>
                    </a:lnTo>
                    <a:lnTo>
                      <a:pt x="1302" y="1640"/>
                    </a:lnTo>
                    <a:lnTo>
                      <a:pt x="1300" y="1640"/>
                    </a:lnTo>
                    <a:lnTo>
                      <a:pt x="1300" y="1638"/>
                    </a:lnTo>
                    <a:close/>
                    <a:moveTo>
                      <a:pt x="1259" y="1595"/>
                    </a:moveTo>
                    <a:lnTo>
                      <a:pt x="1261" y="1595"/>
                    </a:lnTo>
                    <a:lnTo>
                      <a:pt x="1259" y="1595"/>
                    </a:lnTo>
                    <a:close/>
                    <a:moveTo>
                      <a:pt x="1168" y="1480"/>
                    </a:moveTo>
                    <a:lnTo>
                      <a:pt x="1169" y="1480"/>
                    </a:lnTo>
                    <a:lnTo>
                      <a:pt x="1169" y="1481"/>
                    </a:lnTo>
                    <a:lnTo>
                      <a:pt x="1168" y="1481"/>
                    </a:lnTo>
                    <a:lnTo>
                      <a:pt x="1168" y="1480"/>
                    </a:lnTo>
                    <a:close/>
                    <a:moveTo>
                      <a:pt x="1179" y="1458"/>
                    </a:moveTo>
                    <a:lnTo>
                      <a:pt x="1179" y="1459"/>
                    </a:lnTo>
                    <a:lnTo>
                      <a:pt x="1179" y="1458"/>
                    </a:lnTo>
                    <a:close/>
                    <a:moveTo>
                      <a:pt x="1331" y="1655"/>
                    </a:moveTo>
                    <a:lnTo>
                      <a:pt x="1332" y="1655"/>
                    </a:lnTo>
                    <a:lnTo>
                      <a:pt x="1332" y="1657"/>
                    </a:lnTo>
                    <a:lnTo>
                      <a:pt x="1331" y="1657"/>
                    </a:lnTo>
                    <a:lnTo>
                      <a:pt x="1331" y="1655"/>
                    </a:lnTo>
                    <a:close/>
                    <a:moveTo>
                      <a:pt x="1259" y="1558"/>
                    </a:moveTo>
                    <a:lnTo>
                      <a:pt x="1261" y="1558"/>
                    </a:lnTo>
                    <a:lnTo>
                      <a:pt x="1261" y="1560"/>
                    </a:lnTo>
                    <a:lnTo>
                      <a:pt x="1259" y="1560"/>
                    </a:lnTo>
                    <a:lnTo>
                      <a:pt x="1259" y="1558"/>
                    </a:lnTo>
                    <a:close/>
                    <a:moveTo>
                      <a:pt x="1164" y="1388"/>
                    </a:moveTo>
                    <a:lnTo>
                      <a:pt x="1166" y="1388"/>
                    </a:lnTo>
                    <a:lnTo>
                      <a:pt x="1166" y="1390"/>
                    </a:lnTo>
                    <a:lnTo>
                      <a:pt x="1164" y="1390"/>
                    </a:lnTo>
                    <a:lnTo>
                      <a:pt x="1164" y="1388"/>
                    </a:lnTo>
                    <a:close/>
                    <a:moveTo>
                      <a:pt x="1261" y="1607"/>
                    </a:moveTo>
                    <a:lnTo>
                      <a:pt x="1263" y="1607"/>
                    </a:lnTo>
                    <a:lnTo>
                      <a:pt x="1263" y="1609"/>
                    </a:lnTo>
                    <a:lnTo>
                      <a:pt x="1261" y="1609"/>
                    </a:lnTo>
                    <a:lnTo>
                      <a:pt x="1261" y="1607"/>
                    </a:lnTo>
                    <a:close/>
                    <a:moveTo>
                      <a:pt x="1246" y="1505"/>
                    </a:moveTo>
                    <a:lnTo>
                      <a:pt x="1247" y="1505"/>
                    </a:lnTo>
                    <a:lnTo>
                      <a:pt x="1247" y="1507"/>
                    </a:lnTo>
                    <a:lnTo>
                      <a:pt x="1246" y="1507"/>
                    </a:lnTo>
                    <a:lnTo>
                      <a:pt x="1246" y="1505"/>
                    </a:lnTo>
                    <a:close/>
                    <a:moveTo>
                      <a:pt x="1185" y="1427"/>
                    </a:moveTo>
                    <a:lnTo>
                      <a:pt x="1186" y="1427"/>
                    </a:lnTo>
                    <a:lnTo>
                      <a:pt x="1185" y="1427"/>
                    </a:lnTo>
                    <a:close/>
                    <a:moveTo>
                      <a:pt x="1186" y="1461"/>
                    </a:moveTo>
                    <a:lnTo>
                      <a:pt x="1188" y="1461"/>
                    </a:lnTo>
                    <a:lnTo>
                      <a:pt x="1188" y="1463"/>
                    </a:lnTo>
                    <a:lnTo>
                      <a:pt x="1186" y="1463"/>
                    </a:lnTo>
                    <a:lnTo>
                      <a:pt x="1186" y="1461"/>
                    </a:lnTo>
                    <a:close/>
                    <a:moveTo>
                      <a:pt x="1236" y="995"/>
                    </a:moveTo>
                    <a:lnTo>
                      <a:pt x="1236" y="997"/>
                    </a:lnTo>
                    <a:lnTo>
                      <a:pt x="1236" y="995"/>
                    </a:lnTo>
                    <a:close/>
                    <a:moveTo>
                      <a:pt x="1196" y="1437"/>
                    </a:moveTo>
                    <a:lnTo>
                      <a:pt x="1198" y="1437"/>
                    </a:lnTo>
                    <a:lnTo>
                      <a:pt x="1198" y="1439"/>
                    </a:lnTo>
                    <a:lnTo>
                      <a:pt x="1196" y="1439"/>
                    </a:lnTo>
                    <a:lnTo>
                      <a:pt x="1196" y="1437"/>
                    </a:lnTo>
                    <a:close/>
                    <a:moveTo>
                      <a:pt x="1171" y="1390"/>
                    </a:moveTo>
                    <a:lnTo>
                      <a:pt x="1173" y="1390"/>
                    </a:lnTo>
                    <a:lnTo>
                      <a:pt x="1173" y="1391"/>
                    </a:lnTo>
                    <a:lnTo>
                      <a:pt x="1171" y="1391"/>
                    </a:lnTo>
                    <a:lnTo>
                      <a:pt x="1171" y="1390"/>
                    </a:lnTo>
                    <a:close/>
                    <a:moveTo>
                      <a:pt x="1191" y="1119"/>
                    </a:moveTo>
                    <a:lnTo>
                      <a:pt x="1191" y="1121"/>
                    </a:lnTo>
                    <a:lnTo>
                      <a:pt x="1191" y="1119"/>
                    </a:lnTo>
                    <a:close/>
                    <a:moveTo>
                      <a:pt x="1191" y="1061"/>
                    </a:moveTo>
                    <a:lnTo>
                      <a:pt x="1191" y="1063"/>
                    </a:lnTo>
                    <a:lnTo>
                      <a:pt x="1191" y="1061"/>
                    </a:lnTo>
                    <a:close/>
                    <a:moveTo>
                      <a:pt x="1212" y="1107"/>
                    </a:moveTo>
                    <a:lnTo>
                      <a:pt x="1213" y="1107"/>
                    </a:lnTo>
                    <a:lnTo>
                      <a:pt x="1213" y="1109"/>
                    </a:lnTo>
                    <a:lnTo>
                      <a:pt x="1212" y="1109"/>
                    </a:lnTo>
                    <a:lnTo>
                      <a:pt x="1212" y="1107"/>
                    </a:lnTo>
                    <a:close/>
                    <a:moveTo>
                      <a:pt x="1212" y="1524"/>
                    </a:moveTo>
                    <a:lnTo>
                      <a:pt x="1213" y="1524"/>
                    </a:lnTo>
                    <a:lnTo>
                      <a:pt x="1213" y="1526"/>
                    </a:lnTo>
                    <a:lnTo>
                      <a:pt x="1212" y="1526"/>
                    </a:lnTo>
                    <a:lnTo>
                      <a:pt x="1212" y="1524"/>
                    </a:lnTo>
                    <a:close/>
                    <a:moveTo>
                      <a:pt x="1212" y="1558"/>
                    </a:moveTo>
                    <a:lnTo>
                      <a:pt x="1213" y="1558"/>
                    </a:lnTo>
                    <a:lnTo>
                      <a:pt x="1213" y="1560"/>
                    </a:lnTo>
                    <a:lnTo>
                      <a:pt x="1212" y="1560"/>
                    </a:lnTo>
                    <a:lnTo>
                      <a:pt x="1212" y="1558"/>
                    </a:lnTo>
                    <a:close/>
                    <a:moveTo>
                      <a:pt x="1179" y="1420"/>
                    </a:moveTo>
                    <a:lnTo>
                      <a:pt x="1179" y="1422"/>
                    </a:lnTo>
                    <a:lnTo>
                      <a:pt x="1179" y="1420"/>
                    </a:lnTo>
                    <a:close/>
                    <a:moveTo>
                      <a:pt x="1440" y="1650"/>
                    </a:moveTo>
                    <a:lnTo>
                      <a:pt x="1440" y="1652"/>
                    </a:lnTo>
                    <a:lnTo>
                      <a:pt x="1440" y="1650"/>
                    </a:lnTo>
                    <a:close/>
                    <a:moveTo>
                      <a:pt x="1208" y="1243"/>
                    </a:moveTo>
                    <a:lnTo>
                      <a:pt x="1210" y="1243"/>
                    </a:lnTo>
                    <a:lnTo>
                      <a:pt x="1208" y="1243"/>
                    </a:lnTo>
                    <a:close/>
                    <a:moveTo>
                      <a:pt x="1293" y="1616"/>
                    </a:moveTo>
                    <a:lnTo>
                      <a:pt x="1295" y="1616"/>
                    </a:lnTo>
                    <a:lnTo>
                      <a:pt x="1293" y="1616"/>
                    </a:lnTo>
                    <a:close/>
                    <a:moveTo>
                      <a:pt x="1341" y="1648"/>
                    </a:moveTo>
                    <a:lnTo>
                      <a:pt x="1343" y="1648"/>
                    </a:lnTo>
                    <a:lnTo>
                      <a:pt x="1343" y="1650"/>
                    </a:lnTo>
                    <a:lnTo>
                      <a:pt x="1341" y="1650"/>
                    </a:lnTo>
                    <a:lnTo>
                      <a:pt x="1341" y="1648"/>
                    </a:lnTo>
                    <a:close/>
                    <a:moveTo>
                      <a:pt x="1185" y="1463"/>
                    </a:moveTo>
                    <a:lnTo>
                      <a:pt x="1186" y="1463"/>
                    </a:lnTo>
                    <a:lnTo>
                      <a:pt x="1186" y="1464"/>
                    </a:lnTo>
                    <a:lnTo>
                      <a:pt x="1185" y="1464"/>
                    </a:lnTo>
                    <a:lnTo>
                      <a:pt x="1185" y="1463"/>
                    </a:lnTo>
                    <a:close/>
                    <a:moveTo>
                      <a:pt x="1212" y="1100"/>
                    </a:moveTo>
                    <a:lnTo>
                      <a:pt x="1213" y="1100"/>
                    </a:lnTo>
                    <a:lnTo>
                      <a:pt x="1213" y="1102"/>
                    </a:lnTo>
                    <a:lnTo>
                      <a:pt x="1212" y="1102"/>
                    </a:lnTo>
                    <a:lnTo>
                      <a:pt x="1212" y="1100"/>
                    </a:lnTo>
                    <a:close/>
                    <a:moveTo>
                      <a:pt x="1166" y="1337"/>
                    </a:moveTo>
                    <a:lnTo>
                      <a:pt x="1166" y="1339"/>
                    </a:lnTo>
                    <a:lnTo>
                      <a:pt x="1166" y="1337"/>
                    </a:lnTo>
                    <a:close/>
                    <a:moveTo>
                      <a:pt x="1185" y="1441"/>
                    </a:moveTo>
                    <a:lnTo>
                      <a:pt x="1186" y="1441"/>
                    </a:lnTo>
                    <a:lnTo>
                      <a:pt x="1186" y="1442"/>
                    </a:lnTo>
                    <a:lnTo>
                      <a:pt x="1185" y="1442"/>
                    </a:lnTo>
                    <a:lnTo>
                      <a:pt x="1185" y="1441"/>
                    </a:lnTo>
                    <a:close/>
                    <a:moveTo>
                      <a:pt x="1212" y="1260"/>
                    </a:moveTo>
                    <a:lnTo>
                      <a:pt x="1213" y="1260"/>
                    </a:lnTo>
                    <a:lnTo>
                      <a:pt x="1212" y="1260"/>
                    </a:lnTo>
                    <a:close/>
                    <a:moveTo>
                      <a:pt x="1225" y="956"/>
                    </a:moveTo>
                    <a:lnTo>
                      <a:pt x="1227" y="956"/>
                    </a:lnTo>
                    <a:lnTo>
                      <a:pt x="1227" y="957"/>
                    </a:lnTo>
                    <a:lnTo>
                      <a:pt x="1225" y="957"/>
                    </a:lnTo>
                    <a:lnTo>
                      <a:pt x="1225" y="956"/>
                    </a:lnTo>
                    <a:close/>
                    <a:moveTo>
                      <a:pt x="1270" y="1614"/>
                    </a:moveTo>
                    <a:lnTo>
                      <a:pt x="1271" y="1614"/>
                    </a:lnTo>
                    <a:lnTo>
                      <a:pt x="1270" y="1614"/>
                    </a:lnTo>
                    <a:close/>
                    <a:moveTo>
                      <a:pt x="1326" y="1635"/>
                    </a:moveTo>
                    <a:lnTo>
                      <a:pt x="1327" y="1635"/>
                    </a:lnTo>
                    <a:lnTo>
                      <a:pt x="1326" y="1635"/>
                    </a:lnTo>
                    <a:close/>
                    <a:moveTo>
                      <a:pt x="1159" y="1415"/>
                    </a:moveTo>
                    <a:lnTo>
                      <a:pt x="1159" y="1417"/>
                    </a:lnTo>
                    <a:lnTo>
                      <a:pt x="1159" y="1415"/>
                    </a:lnTo>
                    <a:close/>
                    <a:moveTo>
                      <a:pt x="1196" y="1430"/>
                    </a:moveTo>
                    <a:lnTo>
                      <a:pt x="1198" y="1430"/>
                    </a:lnTo>
                    <a:lnTo>
                      <a:pt x="1198" y="1432"/>
                    </a:lnTo>
                    <a:lnTo>
                      <a:pt x="1196" y="1432"/>
                    </a:lnTo>
                    <a:lnTo>
                      <a:pt x="1196" y="1430"/>
                    </a:lnTo>
                    <a:close/>
                    <a:moveTo>
                      <a:pt x="1208" y="1141"/>
                    </a:moveTo>
                    <a:lnTo>
                      <a:pt x="1208" y="1143"/>
                    </a:lnTo>
                    <a:lnTo>
                      <a:pt x="1208" y="1141"/>
                    </a:lnTo>
                    <a:close/>
                    <a:moveTo>
                      <a:pt x="1263" y="1597"/>
                    </a:moveTo>
                    <a:lnTo>
                      <a:pt x="1264" y="1597"/>
                    </a:lnTo>
                    <a:lnTo>
                      <a:pt x="1264" y="1599"/>
                    </a:lnTo>
                    <a:lnTo>
                      <a:pt x="1263" y="1599"/>
                    </a:lnTo>
                    <a:lnTo>
                      <a:pt x="1263" y="1597"/>
                    </a:lnTo>
                    <a:close/>
                    <a:moveTo>
                      <a:pt x="1225" y="1563"/>
                    </a:moveTo>
                    <a:lnTo>
                      <a:pt x="1227" y="1563"/>
                    </a:lnTo>
                    <a:lnTo>
                      <a:pt x="1225" y="1563"/>
                    </a:lnTo>
                    <a:lnTo>
                      <a:pt x="1224" y="1563"/>
                    </a:lnTo>
                    <a:lnTo>
                      <a:pt x="1225" y="1563"/>
                    </a:lnTo>
                    <a:close/>
                    <a:moveTo>
                      <a:pt x="1256" y="1592"/>
                    </a:moveTo>
                    <a:lnTo>
                      <a:pt x="1258" y="1592"/>
                    </a:lnTo>
                    <a:lnTo>
                      <a:pt x="1258" y="1594"/>
                    </a:lnTo>
                    <a:lnTo>
                      <a:pt x="1256" y="1594"/>
                    </a:lnTo>
                    <a:lnTo>
                      <a:pt x="1256" y="1592"/>
                    </a:lnTo>
                    <a:close/>
                    <a:moveTo>
                      <a:pt x="1203" y="1134"/>
                    </a:moveTo>
                    <a:lnTo>
                      <a:pt x="1203" y="1136"/>
                    </a:lnTo>
                    <a:lnTo>
                      <a:pt x="1203" y="1134"/>
                    </a:lnTo>
                    <a:close/>
                    <a:moveTo>
                      <a:pt x="1205" y="1073"/>
                    </a:moveTo>
                    <a:lnTo>
                      <a:pt x="1207" y="1073"/>
                    </a:lnTo>
                    <a:lnTo>
                      <a:pt x="1205" y="1073"/>
                    </a:lnTo>
                    <a:close/>
                    <a:moveTo>
                      <a:pt x="1229" y="1583"/>
                    </a:moveTo>
                    <a:lnTo>
                      <a:pt x="1230" y="1583"/>
                    </a:lnTo>
                    <a:lnTo>
                      <a:pt x="1230" y="1585"/>
                    </a:lnTo>
                    <a:lnTo>
                      <a:pt x="1229" y="1585"/>
                    </a:lnTo>
                    <a:lnTo>
                      <a:pt x="1229" y="1583"/>
                    </a:lnTo>
                    <a:close/>
                    <a:moveTo>
                      <a:pt x="1287" y="1595"/>
                    </a:moveTo>
                    <a:lnTo>
                      <a:pt x="1288" y="1595"/>
                    </a:lnTo>
                    <a:lnTo>
                      <a:pt x="1288" y="1597"/>
                    </a:lnTo>
                    <a:lnTo>
                      <a:pt x="1287" y="1597"/>
                    </a:lnTo>
                    <a:lnTo>
                      <a:pt x="1287" y="1595"/>
                    </a:lnTo>
                    <a:close/>
                    <a:moveTo>
                      <a:pt x="1230" y="1572"/>
                    </a:moveTo>
                    <a:lnTo>
                      <a:pt x="1232" y="1572"/>
                    </a:lnTo>
                    <a:lnTo>
                      <a:pt x="1232" y="1573"/>
                    </a:lnTo>
                    <a:lnTo>
                      <a:pt x="1230" y="1573"/>
                    </a:lnTo>
                    <a:lnTo>
                      <a:pt x="1230" y="1572"/>
                    </a:lnTo>
                    <a:close/>
                    <a:moveTo>
                      <a:pt x="1297" y="1611"/>
                    </a:moveTo>
                    <a:lnTo>
                      <a:pt x="1297" y="1612"/>
                    </a:lnTo>
                    <a:lnTo>
                      <a:pt x="1297" y="1611"/>
                    </a:lnTo>
                    <a:close/>
                    <a:moveTo>
                      <a:pt x="1230" y="940"/>
                    </a:moveTo>
                    <a:lnTo>
                      <a:pt x="1232" y="940"/>
                    </a:lnTo>
                    <a:lnTo>
                      <a:pt x="1232" y="942"/>
                    </a:lnTo>
                    <a:lnTo>
                      <a:pt x="1230" y="942"/>
                    </a:lnTo>
                    <a:lnTo>
                      <a:pt x="1230" y="940"/>
                    </a:lnTo>
                    <a:close/>
                    <a:moveTo>
                      <a:pt x="1191" y="1461"/>
                    </a:moveTo>
                    <a:lnTo>
                      <a:pt x="1193" y="1461"/>
                    </a:lnTo>
                    <a:lnTo>
                      <a:pt x="1193" y="1463"/>
                    </a:lnTo>
                    <a:lnTo>
                      <a:pt x="1191" y="1463"/>
                    </a:lnTo>
                    <a:lnTo>
                      <a:pt x="1191" y="1461"/>
                    </a:lnTo>
                    <a:close/>
                    <a:moveTo>
                      <a:pt x="1186" y="1424"/>
                    </a:moveTo>
                    <a:lnTo>
                      <a:pt x="1186" y="1425"/>
                    </a:lnTo>
                    <a:lnTo>
                      <a:pt x="1186" y="1424"/>
                    </a:lnTo>
                    <a:close/>
                    <a:moveTo>
                      <a:pt x="1263" y="1614"/>
                    </a:moveTo>
                    <a:lnTo>
                      <a:pt x="1263" y="1616"/>
                    </a:lnTo>
                    <a:lnTo>
                      <a:pt x="1263" y="1614"/>
                    </a:lnTo>
                    <a:close/>
                    <a:moveTo>
                      <a:pt x="1176" y="1468"/>
                    </a:moveTo>
                    <a:lnTo>
                      <a:pt x="1178" y="1468"/>
                    </a:lnTo>
                    <a:lnTo>
                      <a:pt x="1178" y="1470"/>
                    </a:lnTo>
                    <a:lnTo>
                      <a:pt x="1176" y="1470"/>
                    </a:lnTo>
                    <a:lnTo>
                      <a:pt x="1176" y="1468"/>
                    </a:lnTo>
                    <a:close/>
                    <a:moveTo>
                      <a:pt x="1358" y="1646"/>
                    </a:moveTo>
                    <a:lnTo>
                      <a:pt x="1360" y="1646"/>
                    </a:lnTo>
                    <a:lnTo>
                      <a:pt x="1358" y="1646"/>
                    </a:lnTo>
                    <a:close/>
                    <a:moveTo>
                      <a:pt x="1162" y="1143"/>
                    </a:moveTo>
                    <a:lnTo>
                      <a:pt x="1164" y="1143"/>
                    </a:lnTo>
                    <a:lnTo>
                      <a:pt x="1162" y="1143"/>
                    </a:lnTo>
                    <a:close/>
                    <a:moveTo>
                      <a:pt x="1385" y="1662"/>
                    </a:moveTo>
                    <a:lnTo>
                      <a:pt x="1387" y="1662"/>
                    </a:lnTo>
                    <a:lnTo>
                      <a:pt x="1387" y="1663"/>
                    </a:lnTo>
                    <a:lnTo>
                      <a:pt x="1385" y="1663"/>
                    </a:lnTo>
                    <a:lnTo>
                      <a:pt x="1385" y="1662"/>
                    </a:lnTo>
                    <a:close/>
                    <a:moveTo>
                      <a:pt x="1173" y="1240"/>
                    </a:moveTo>
                    <a:lnTo>
                      <a:pt x="1174" y="1240"/>
                    </a:lnTo>
                    <a:lnTo>
                      <a:pt x="1174" y="1242"/>
                    </a:lnTo>
                    <a:lnTo>
                      <a:pt x="1173" y="1242"/>
                    </a:lnTo>
                    <a:lnTo>
                      <a:pt x="1173" y="1240"/>
                    </a:lnTo>
                    <a:close/>
                    <a:moveTo>
                      <a:pt x="1212" y="1111"/>
                    </a:moveTo>
                    <a:lnTo>
                      <a:pt x="1213" y="1111"/>
                    </a:lnTo>
                    <a:lnTo>
                      <a:pt x="1213" y="1112"/>
                    </a:lnTo>
                    <a:lnTo>
                      <a:pt x="1212" y="1112"/>
                    </a:lnTo>
                    <a:lnTo>
                      <a:pt x="1212" y="1111"/>
                    </a:lnTo>
                    <a:close/>
                    <a:moveTo>
                      <a:pt x="1375" y="1663"/>
                    </a:moveTo>
                    <a:lnTo>
                      <a:pt x="1377" y="1663"/>
                    </a:lnTo>
                    <a:lnTo>
                      <a:pt x="1377" y="1665"/>
                    </a:lnTo>
                    <a:lnTo>
                      <a:pt x="1375" y="1665"/>
                    </a:lnTo>
                    <a:lnTo>
                      <a:pt x="1375" y="1663"/>
                    </a:lnTo>
                    <a:close/>
                    <a:moveTo>
                      <a:pt x="1227" y="1572"/>
                    </a:moveTo>
                    <a:lnTo>
                      <a:pt x="1229" y="1572"/>
                    </a:lnTo>
                    <a:lnTo>
                      <a:pt x="1227" y="1572"/>
                    </a:lnTo>
                    <a:close/>
                    <a:moveTo>
                      <a:pt x="1225" y="1577"/>
                    </a:moveTo>
                    <a:lnTo>
                      <a:pt x="1227" y="1577"/>
                    </a:lnTo>
                    <a:lnTo>
                      <a:pt x="1225" y="1577"/>
                    </a:lnTo>
                    <a:close/>
                    <a:moveTo>
                      <a:pt x="1174" y="1100"/>
                    </a:moveTo>
                    <a:lnTo>
                      <a:pt x="1176" y="1100"/>
                    </a:lnTo>
                    <a:lnTo>
                      <a:pt x="1176" y="1102"/>
                    </a:lnTo>
                    <a:lnTo>
                      <a:pt x="1174" y="1102"/>
                    </a:lnTo>
                    <a:lnTo>
                      <a:pt x="1174" y="1100"/>
                    </a:lnTo>
                    <a:close/>
                    <a:moveTo>
                      <a:pt x="1278" y="423"/>
                    </a:moveTo>
                    <a:lnTo>
                      <a:pt x="1278" y="425"/>
                    </a:lnTo>
                    <a:lnTo>
                      <a:pt x="1278" y="423"/>
                    </a:lnTo>
                    <a:close/>
                    <a:moveTo>
                      <a:pt x="1208" y="1124"/>
                    </a:moveTo>
                    <a:lnTo>
                      <a:pt x="1210" y="1124"/>
                    </a:lnTo>
                    <a:lnTo>
                      <a:pt x="1210" y="1126"/>
                    </a:lnTo>
                    <a:lnTo>
                      <a:pt x="1208" y="1126"/>
                    </a:lnTo>
                    <a:lnTo>
                      <a:pt x="1208" y="1124"/>
                    </a:lnTo>
                    <a:close/>
                    <a:moveTo>
                      <a:pt x="1304" y="1638"/>
                    </a:moveTo>
                    <a:lnTo>
                      <a:pt x="1304" y="1640"/>
                    </a:lnTo>
                    <a:lnTo>
                      <a:pt x="1304" y="1638"/>
                    </a:lnTo>
                    <a:close/>
                    <a:moveTo>
                      <a:pt x="1222" y="1066"/>
                    </a:moveTo>
                    <a:lnTo>
                      <a:pt x="1224" y="1066"/>
                    </a:lnTo>
                    <a:lnTo>
                      <a:pt x="1224" y="1068"/>
                    </a:lnTo>
                    <a:lnTo>
                      <a:pt x="1222" y="1068"/>
                    </a:lnTo>
                    <a:lnTo>
                      <a:pt x="1222" y="1066"/>
                    </a:lnTo>
                    <a:close/>
                    <a:moveTo>
                      <a:pt x="1258" y="1568"/>
                    </a:moveTo>
                    <a:lnTo>
                      <a:pt x="1258" y="1570"/>
                    </a:lnTo>
                    <a:lnTo>
                      <a:pt x="1258" y="1568"/>
                    </a:lnTo>
                    <a:close/>
                    <a:moveTo>
                      <a:pt x="1174" y="1117"/>
                    </a:moveTo>
                    <a:lnTo>
                      <a:pt x="1176" y="1117"/>
                    </a:lnTo>
                    <a:lnTo>
                      <a:pt x="1176" y="1119"/>
                    </a:lnTo>
                    <a:lnTo>
                      <a:pt x="1174" y="1119"/>
                    </a:lnTo>
                    <a:lnTo>
                      <a:pt x="1174" y="1117"/>
                    </a:lnTo>
                    <a:close/>
                    <a:moveTo>
                      <a:pt x="1185" y="1400"/>
                    </a:moveTo>
                    <a:lnTo>
                      <a:pt x="1185" y="1401"/>
                    </a:lnTo>
                    <a:lnTo>
                      <a:pt x="1185" y="1400"/>
                    </a:lnTo>
                    <a:close/>
                    <a:moveTo>
                      <a:pt x="1213" y="1519"/>
                    </a:moveTo>
                    <a:lnTo>
                      <a:pt x="1215" y="1519"/>
                    </a:lnTo>
                    <a:lnTo>
                      <a:pt x="1215" y="1521"/>
                    </a:lnTo>
                    <a:lnTo>
                      <a:pt x="1213" y="1521"/>
                    </a:lnTo>
                    <a:lnTo>
                      <a:pt x="1213" y="1519"/>
                    </a:lnTo>
                    <a:close/>
                    <a:moveTo>
                      <a:pt x="1219" y="1543"/>
                    </a:moveTo>
                    <a:lnTo>
                      <a:pt x="1220" y="1543"/>
                    </a:lnTo>
                    <a:lnTo>
                      <a:pt x="1220" y="1544"/>
                    </a:lnTo>
                    <a:lnTo>
                      <a:pt x="1219" y="1544"/>
                    </a:lnTo>
                    <a:lnTo>
                      <a:pt x="1219" y="1543"/>
                    </a:lnTo>
                    <a:close/>
                    <a:moveTo>
                      <a:pt x="1205" y="1066"/>
                    </a:moveTo>
                    <a:lnTo>
                      <a:pt x="1205" y="1068"/>
                    </a:lnTo>
                    <a:lnTo>
                      <a:pt x="1205" y="1066"/>
                    </a:lnTo>
                    <a:close/>
                    <a:moveTo>
                      <a:pt x="1191" y="1126"/>
                    </a:moveTo>
                    <a:lnTo>
                      <a:pt x="1193" y="1126"/>
                    </a:lnTo>
                    <a:lnTo>
                      <a:pt x="1193" y="1128"/>
                    </a:lnTo>
                    <a:lnTo>
                      <a:pt x="1191" y="1128"/>
                    </a:lnTo>
                    <a:lnTo>
                      <a:pt x="1191" y="1126"/>
                    </a:lnTo>
                    <a:close/>
                    <a:moveTo>
                      <a:pt x="1176" y="1441"/>
                    </a:moveTo>
                    <a:lnTo>
                      <a:pt x="1179" y="1441"/>
                    </a:lnTo>
                    <a:lnTo>
                      <a:pt x="1179" y="1442"/>
                    </a:lnTo>
                    <a:lnTo>
                      <a:pt x="1176" y="1442"/>
                    </a:lnTo>
                    <a:lnTo>
                      <a:pt x="1176" y="1441"/>
                    </a:lnTo>
                    <a:close/>
                    <a:moveTo>
                      <a:pt x="1227" y="730"/>
                    </a:moveTo>
                    <a:lnTo>
                      <a:pt x="1229" y="730"/>
                    </a:lnTo>
                    <a:lnTo>
                      <a:pt x="1229" y="731"/>
                    </a:lnTo>
                    <a:lnTo>
                      <a:pt x="1227" y="731"/>
                    </a:lnTo>
                    <a:lnTo>
                      <a:pt x="1227" y="730"/>
                    </a:lnTo>
                    <a:close/>
                    <a:moveTo>
                      <a:pt x="1195" y="1048"/>
                    </a:moveTo>
                    <a:lnTo>
                      <a:pt x="1196" y="1048"/>
                    </a:lnTo>
                    <a:lnTo>
                      <a:pt x="1195" y="1048"/>
                    </a:lnTo>
                    <a:close/>
                    <a:moveTo>
                      <a:pt x="1207" y="1060"/>
                    </a:moveTo>
                    <a:lnTo>
                      <a:pt x="1208" y="1060"/>
                    </a:lnTo>
                    <a:lnTo>
                      <a:pt x="1208" y="1061"/>
                    </a:lnTo>
                    <a:lnTo>
                      <a:pt x="1207" y="1061"/>
                    </a:lnTo>
                    <a:lnTo>
                      <a:pt x="1207" y="1060"/>
                    </a:lnTo>
                    <a:close/>
                    <a:moveTo>
                      <a:pt x="1207" y="1102"/>
                    </a:moveTo>
                    <a:lnTo>
                      <a:pt x="1208" y="1102"/>
                    </a:lnTo>
                    <a:lnTo>
                      <a:pt x="1208" y="1104"/>
                    </a:lnTo>
                    <a:lnTo>
                      <a:pt x="1207" y="1104"/>
                    </a:lnTo>
                    <a:lnTo>
                      <a:pt x="1207" y="1102"/>
                    </a:lnTo>
                    <a:close/>
                    <a:moveTo>
                      <a:pt x="1166" y="1136"/>
                    </a:moveTo>
                    <a:lnTo>
                      <a:pt x="1168" y="1136"/>
                    </a:lnTo>
                    <a:lnTo>
                      <a:pt x="1168" y="1138"/>
                    </a:lnTo>
                    <a:lnTo>
                      <a:pt x="1166" y="1138"/>
                    </a:lnTo>
                    <a:lnTo>
                      <a:pt x="1166" y="1136"/>
                    </a:lnTo>
                    <a:close/>
                    <a:moveTo>
                      <a:pt x="1178" y="1277"/>
                    </a:moveTo>
                    <a:lnTo>
                      <a:pt x="1178" y="1281"/>
                    </a:lnTo>
                    <a:lnTo>
                      <a:pt x="1178" y="1277"/>
                    </a:lnTo>
                    <a:close/>
                    <a:moveTo>
                      <a:pt x="1188" y="1483"/>
                    </a:moveTo>
                    <a:lnTo>
                      <a:pt x="1190" y="1483"/>
                    </a:lnTo>
                    <a:lnTo>
                      <a:pt x="1188" y="1483"/>
                    </a:lnTo>
                    <a:close/>
                    <a:moveTo>
                      <a:pt x="1178" y="1373"/>
                    </a:moveTo>
                    <a:lnTo>
                      <a:pt x="1178" y="1374"/>
                    </a:lnTo>
                    <a:lnTo>
                      <a:pt x="1178" y="1373"/>
                    </a:lnTo>
                    <a:close/>
                    <a:moveTo>
                      <a:pt x="1389" y="1663"/>
                    </a:moveTo>
                    <a:lnTo>
                      <a:pt x="1389" y="1665"/>
                    </a:lnTo>
                    <a:lnTo>
                      <a:pt x="1389" y="1663"/>
                    </a:lnTo>
                    <a:close/>
                    <a:moveTo>
                      <a:pt x="1417" y="1684"/>
                    </a:moveTo>
                    <a:lnTo>
                      <a:pt x="1419" y="1684"/>
                    </a:lnTo>
                    <a:lnTo>
                      <a:pt x="1419" y="1686"/>
                    </a:lnTo>
                    <a:lnTo>
                      <a:pt x="1417" y="1686"/>
                    </a:lnTo>
                    <a:lnTo>
                      <a:pt x="1417" y="1684"/>
                    </a:lnTo>
                    <a:close/>
                    <a:moveTo>
                      <a:pt x="1181" y="1481"/>
                    </a:moveTo>
                    <a:lnTo>
                      <a:pt x="1183" y="1481"/>
                    </a:lnTo>
                    <a:lnTo>
                      <a:pt x="1181" y="1481"/>
                    </a:lnTo>
                    <a:close/>
                    <a:moveTo>
                      <a:pt x="1213" y="1070"/>
                    </a:moveTo>
                    <a:lnTo>
                      <a:pt x="1213" y="1071"/>
                    </a:lnTo>
                    <a:lnTo>
                      <a:pt x="1213" y="1070"/>
                    </a:lnTo>
                    <a:close/>
                    <a:moveTo>
                      <a:pt x="1225" y="1570"/>
                    </a:moveTo>
                    <a:lnTo>
                      <a:pt x="1227" y="1570"/>
                    </a:lnTo>
                    <a:lnTo>
                      <a:pt x="1225" y="1570"/>
                    </a:lnTo>
                    <a:close/>
                    <a:moveTo>
                      <a:pt x="1145" y="1332"/>
                    </a:moveTo>
                    <a:lnTo>
                      <a:pt x="1145" y="1333"/>
                    </a:lnTo>
                    <a:lnTo>
                      <a:pt x="1145" y="1332"/>
                    </a:lnTo>
                    <a:close/>
                    <a:moveTo>
                      <a:pt x="1236" y="1075"/>
                    </a:moveTo>
                    <a:lnTo>
                      <a:pt x="1237" y="1075"/>
                    </a:lnTo>
                    <a:lnTo>
                      <a:pt x="1237" y="1077"/>
                    </a:lnTo>
                    <a:lnTo>
                      <a:pt x="1236" y="1077"/>
                    </a:lnTo>
                    <a:lnTo>
                      <a:pt x="1236" y="1075"/>
                    </a:lnTo>
                    <a:close/>
                    <a:moveTo>
                      <a:pt x="1164" y="1332"/>
                    </a:moveTo>
                    <a:lnTo>
                      <a:pt x="1166" y="1332"/>
                    </a:lnTo>
                    <a:lnTo>
                      <a:pt x="1166" y="1333"/>
                    </a:lnTo>
                    <a:lnTo>
                      <a:pt x="1164" y="1333"/>
                    </a:lnTo>
                    <a:lnTo>
                      <a:pt x="1164" y="1332"/>
                    </a:lnTo>
                    <a:close/>
                    <a:moveTo>
                      <a:pt x="1162" y="1357"/>
                    </a:moveTo>
                    <a:lnTo>
                      <a:pt x="1162" y="1359"/>
                    </a:lnTo>
                    <a:lnTo>
                      <a:pt x="1162" y="1357"/>
                    </a:lnTo>
                    <a:close/>
                    <a:moveTo>
                      <a:pt x="1280" y="1614"/>
                    </a:moveTo>
                    <a:lnTo>
                      <a:pt x="1281" y="1614"/>
                    </a:lnTo>
                    <a:lnTo>
                      <a:pt x="1281" y="1616"/>
                    </a:lnTo>
                    <a:lnTo>
                      <a:pt x="1280" y="1616"/>
                    </a:lnTo>
                    <a:lnTo>
                      <a:pt x="1280" y="1614"/>
                    </a:lnTo>
                    <a:close/>
                    <a:moveTo>
                      <a:pt x="1185" y="1458"/>
                    </a:moveTo>
                    <a:lnTo>
                      <a:pt x="1186" y="1458"/>
                    </a:lnTo>
                    <a:lnTo>
                      <a:pt x="1186" y="1459"/>
                    </a:lnTo>
                    <a:lnTo>
                      <a:pt x="1185" y="1459"/>
                    </a:lnTo>
                    <a:lnTo>
                      <a:pt x="1185" y="1458"/>
                    </a:lnTo>
                    <a:close/>
                    <a:moveTo>
                      <a:pt x="1321" y="1583"/>
                    </a:moveTo>
                    <a:lnTo>
                      <a:pt x="1322" y="1583"/>
                    </a:lnTo>
                    <a:lnTo>
                      <a:pt x="1322" y="1585"/>
                    </a:lnTo>
                    <a:lnTo>
                      <a:pt x="1321" y="1585"/>
                    </a:lnTo>
                    <a:lnTo>
                      <a:pt x="1321" y="1583"/>
                    </a:lnTo>
                    <a:close/>
                    <a:moveTo>
                      <a:pt x="1219" y="1471"/>
                    </a:moveTo>
                    <a:lnTo>
                      <a:pt x="1220" y="1471"/>
                    </a:lnTo>
                    <a:lnTo>
                      <a:pt x="1220" y="1473"/>
                    </a:lnTo>
                    <a:lnTo>
                      <a:pt x="1219" y="1473"/>
                    </a:lnTo>
                    <a:lnTo>
                      <a:pt x="1219" y="1471"/>
                    </a:lnTo>
                    <a:close/>
                    <a:moveTo>
                      <a:pt x="1188" y="1463"/>
                    </a:moveTo>
                    <a:lnTo>
                      <a:pt x="1190" y="1463"/>
                    </a:lnTo>
                    <a:lnTo>
                      <a:pt x="1188" y="1463"/>
                    </a:lnTo>
                    <a:close/>
                    <a:moveTo>
                      <a:pt x="1249" y="1597"/>
                    </a:moveTo>
                    <a:lnTo>
                      <a:pt x="1251" y="1597"/>
                    </a:lnTo>
                    <a:lnTo>
                      <a:pt x="1251" y="1599"/>
                    </a:lnTo>
                    <a:lnTo>
                      <a:pt x="1249" y="1599"/>
                    </a:lnTo>
                    <a:lnTo>
                      <a:pt x="1249" y="1597"/>
                    </a:lnTo>
                    <a:close/>
                    <a:moveTo>
                      <a:pt x="1332" y="1645"/>
                    </a:moveTo>
                    <a:lnTo>
                      <a:pt x="1334" y="1645"/>
                    </a:lnTo>
                    <a:lnTo>
                      <a:pt x="1334" y="1646"/>
                    </a:lnTo>
                    <a:lnTo>
                      <a:pt x="1332" y="1646"/>
                    </a:lnTo>
                    <a:lnTo>
                      <a:pt x="1332" y="1645"/>
                    </a:lnTo>
                    <a:close/>
                    <a:moveTo>
                      <a:pt x="1142" y="1306"/>
                    </a:moveTo>
                    <a:lnTo>
                      <a:pt x="1142" y="1310"/>
                    </a:lnTo>
                    <a:lnTo>
                      <a:pt x="1142" y="1306"/>
                    </a:lnTo>
                    <a:close/>
                    <a:moveTo>
                      <a:pt x="1181" y="1492"/>
                    </a:moveTo>
                    <a:lnTo>
                      <a:pt x="1181" y="1493"/>
                    </a:lnTo>
                    <a:lnTo>
                      <a:pt x="1181" y="1492"/>
                    </a:lnTo>
                    <a:close/>
                    <a:moveTo>
                      <a:pt x="1159" y="1434"/>
                    </a:moveTo>
                    <a:lnTo>
                      <a:pt x="1159" y="1435"/>
                    </a:lnTo>
                    <a:lnTo>
                      <a:pt x="1159" y="1434"/>
                    </a:lnTo>
                    <a:close/>
                    <a:moveTo>
                      <a:pt x="1232" y="1582"/>
                    </a:moveTo>
                    <a:lnTo>
                      <a:pt x="1234" y="1582"/>
                    </a:lnTo>
                    <a:lnTo>
                      <a:pt x="1234" y="1583"/>
                    </a:lnTo>
                    <a:lnTo>
                      <a:pt x="1232" y="1583"/>
                    </a:lnTo>
                    <a:lnTo>
                      <a:pt x="1232" y="1582"/>
                    </a:lnTo>
                    <a:close/>
                    <a:moveTo>
                      <a:pt x="1212" y="1112"/>
                    </a:moveTo>
                    <a:lnTo>
                      <a:pt x="1213" y="1112"/>
                    </a:lnTo>
                    <a:lnTo>
                      <a:pt x="1213" y="1114"/>
                    </a:lnTo>
                    <a:lnTo>
                      <a:pt x="1212" y="1114"/>
                    </a:lnTo>
                    <a:lnTo>
                      <a:pt x="1212" y="1112"/>
                    </a:lnTo>
                    <a:close/>
                    <a:moveTo>
                      <a:pt x="1210" y="1504"/>
                    </a:moveTo>
                    <a:lnTo>
                      <a:pt x="1213" y="1504"/>
                    </a:lnTo>
                    <a:lnTo>
                      <a:pt x="1210" y="1504"/>
                    </a:lnTo>
                    <a:close/>
                    <a:moveTo>
                      <a:pt x="1181" y="1490"/>
                    </a:moveTo>
                    <a:lnTo>
                      <a:pt x="1183" y="1490"/>
                    </a:lnTo>
                    <a:lnTo>
                      <a:pt x="1183" y="1492"/>
                    </a:lnTo>
                    <a:lnTo>
                      <a:pt x="1181" y="1492"/>
                    </a:lnTo>
                    <a:lnTo>
                      <a:pt x="1181" y="1490"/>
                    </a:lnTo>
                    <a:close/>
                    <a:moveTo>
                      <a:pt x="1234" y="1124"/>
                    </a:moveTo>
                    <a:lnTo>
                      <a:pt x="1236" y="1124"/>
                    </a:lnTo>
                    <a:lnTo>
                      <a:pt x="1236" y="1126"/>
                    </a:lnTo>
                    <a:lnTo>
                      <a:pt x="1234" y="1126"/>
                    </a:lnTo>
                    <a:lnTo>
                      <a:pt x="1234" y="1124"/>
                    </a:lnTo>
                    <a:close/>
                    <a:moveTo>
                      <a:pt x="1261" y="1590"/>
                    </a:moveTo>
                    <a:lnTo>
                      <a:pt x="1261" y="1592"/>
                    </a:lnTo>
                    <a:lnTo>
                      <a:pt x="1261" y="1590"/>
                    </a:lnTo>
                    <a:close/>
                    <a:moveTo>
                      <a:pt x="1149" y="1376"/>
                    </a:moveTo>
                    <a:lnTo>
                      <a:pt x="1151" y="1376"/>
                    </a:lnTo>
                    <a:lnTo>
                      <a:pt x="1151" y="1378"/>
                    </a:lnTo>
                    <a:lnTo>
                      <a:pt x="1149" y="1378"/>
                    </a:lnTo>
                    <a:lnTo>
                      <a:pt x="1149" y="1376"/>
                    </a:lnTo>
                    <a:close/>
                    <a:moveTo>
                      <a:pt x="1183" y="1459"/>
                    </a:moveTo>
                    <a:lnTo>
                      <a:pt x="1185" y="1459"/>
                    </a:lnTo>
                    <a:lnTo>
                      <a:pt x="1185" y="1461"/>
                    </a:lnTo>
                    <a:lnTo>
                      <a:pt x="1183" y="1461"/>
                    </a:lnTo>
                    <a:lnTo>
                      <a:pt x="1183" y="1459"/>
                    </a:lnTo>
                    <a:close/>
                    <a:moveTo>
                      <a:pt x="1198" y="1424"/>
                    </a:moveTo>
                    <a:lnTo>
                      <a:pt x="1200" y="1424"/>
                    </a:lnTo>
                    <a:lnTo>
                      <a:pt x="1200" y="1425"/>
                    </a:lnTo>
                    <a:lnTo>
                      <a:pt x="1198" y="1425"/>
                    </a:lnTo>
                    <a:lnTo>
                      <a:pt x="1198" y="1424"/>
                    </a:lnTo>
                    <a:close/>
                    <a:moveTo>
                      <a:pt x="1208" y="1490"/>
                    </a:moveTo>
                    <a:lnTo>
                      <a:pt x="1208" y="1492"/>
                    </a:lnTo>
                    <a:lnTo>
                      <a:pt x="1208" y="1490"/>
                    </a:lnTo>
                    <a:close/>
                    <a:moveTo>
                      <a:pt x="1205" y="1058"/>
                    </a:moveTo>
                    <a:lnTo>
                      <a:pt x="1205" y="1060"/>
                    </a:lnTo>
                    <a:lnTo>
                      <a:pt x="1205" y="1058"/>
                    </a:lnTo>
                    <a:close/>
                    <a:moveTo>
                      <a:pt x="1281" y="1595"/>
                    </a:moveTo>
                    <a:lnTo>
                      <a:pt x="1283" y="1595"/>
                    </a:lnTo>
                    <a:lnTo>
                      <a:pt x="1281" y="1595"/>
                    </a:lnTo>
                    <a:close/>
                    <a:moveTo>
                      <a:pt x="1229" y="1570"/>
                    </a:moveTo>
                    <a:lnTo>
                      <a:pt x="1232" y="1570"/>
                    </a:lnTo>
                    <a:lnTo>
                      <a:pt x="1232" y="1572"/>
                    </a:lnTo>
                    <a:lnTo>
                      <a:pt x="1229" y="1572"/>
                    </a:lnTo>
                    <a:lnTo>
                      <a:pt x="1229" y="1570"/>
                    </a:lnTo>
                    <a:close/>
                    <a:moveTo>
                      <a:pt x="1181" y="1376"/>
                    </a:moveTo>
                    <a:lnTo>
                      <a:pt x="1183" y="1376"/>
                    </a:lnTo>
                    <a:lnTo>
                      <a:pt x="1181" y="1376"/>
                    </a:lnTo>
                    <a:close/>
                    <a:moveTo>
                      <a:pt x="1191" y="1233"/>
                    </a:moveTo>
                    <a:lnTo>
                      <a:pt x="1193" y="1233"/>
                    </a:lnTo>
                    <a:lnTo>
                      <a:pt x="1191" y="1233"/>
                    </a:lnTo>
                    <a:close/>
                    <a:moveTo>
                      <a:pt x="1215" y="983"/>
                    </a:moveTo>
                    <a:lnTo>
                      <a:pt x="1215" y="985"/>
                    </a:lnTo>
                    <a:lnTo>
                      <a:pt x="1215" y="983"/>
                    </a:lnTo>
                    <a:close/>
                    <a:moveTo>
                      <a:pt x="1208" y="1097"/>
                    </a:moveTo>
                    <a:lnTo>
                      <a:pt x="1208" y="1099"/>
                    </a:lnTo>
                    <a:lnTo>
                      <a:pt x="1208" y="1097"/>
                    </a:lnTo>
                    <a:close/>
                    <a:moveTo>
                      <a:pt x="1183" y="1495"/>
                    </a:moveTo>
                    <a:lnTo>
                      <a:pt x="1185" y="1495"/>
                    </a:lnTo>
                    <a:lnTo>
                      <a:pt x="1185" y="1497"/>
                    </a:lnTo>
                    <a:lnTo>
                      <a:pt x="1183" y="1497"/>
                    </a:lnTo>
                    <a:lnTo>
                      <a:pt x="1183" y="1495"/>
                    </a:lnTo>
                    <a:close/>
                    <a:moveTo>
                      <a:pt x="1183" y="1475"/>
                    </a:moveTo>
                    <a:lnTo>
                      <a:pt x="1185" y="1475"/>
                    </a:lnTo>
                    <a:lnTo>
                      <a:pt x="1183" y="1475"/>
                    </a:lnTo>
                    <a:close/>
                    <a:moveTo>
                      <a:pt x="1225" y="1570"/>
                    </a:moveTo>
                    <a:lnTo>
                      <a:pt x="1227" y="1570"/>
                    </a:lnTo>
                    <a:lnTo>
                      <a:pt x="1227" y="1572"/>
                    </a:lnTo>
                    <a:lnTo>
                      <a:pt x="1225" y="1572"/>
                    </a:lnTo>
                    <a:lnTo>
                      <a:pt x="1225" y="1570"/>
                    </a:lnTo>
                    <a:close/>
                    <a:moveTo>
                      <a:pt x="1259" y="1600"/>
                    </a:moveTo>
                    <a:lnTo>
                      <a:pt x="1259" y="1602"/>
                    </a:lnTo>
                    <a:lnTo>
                      <a:pt x="1259" y="1600"/>
                    </a:lnTo>
                    <a:close/>
                    <a:moveTo>
                      <a:pt x="1210" y="1124"/>
                    </a:moveTo>
                    <a:lnTo>
                      <a:pt x="1212" y="1124"/>
                    </a:lnTo>
                    <a:lnTo>
                      <a:pt x="1210" y="1124"/>
                    </a:lnTo>
                    <a:close/>
                    <a:moveTo>
                      <a:pt x="1183" y="1427"/>
                    </a:moveTo>
                    <a:lnTo>
                      <a:pt x="1185" y="1427"/>
                    </a:lnTo>
                    <a:lnTo>
                      <a:pt x="1183" y="1427"/>
                    </a:lnTo>
                    <a:close/>
                    <a:moveTo>
                      <a:pt x="1188" y="1097"/>
                    </a:moveTo>
                    <a:lnTo>
                      <a:pt x="1190" y="1097"/>
                    </a:lnTo>
                    <a:lnTo>
                      <a:pt x="1188" y="1097"/>
                    </a:lnTo>
                    <a:close/>
                    <a:moveTo>
                      <a:pt x="1188" y="1463"/>
                    </a:moveTo>
                    <a:lnTo>
                      <a:pt x="1190" y="1463"/>
                    </a:lnTo>
                    <a:lnTo>
                      <a:pt x="1190" y="1464"/>
                    </a:lnTo>
                    <a:lnTo>
                      <a:pt x="1188" y="1464"/>
                    </a:lnTo>
                    <a:lnTo>
                      <a:pt x="1188" y="1463"/>
                    </a:lnTo>
                    <a:close/>
                    <a:moveTo>
                      <a:pt x="1179" y="1257"/>
                    </a:moveTo>
                    <a:lnTo>
                      <a:pt x="1181" y="1257"/>
                    </a:lnTo>
                    <a:lnTo>
                      <a:pt x="1179" y="1257"/>
                    </a:lnTo>
                    <a:close/>
                    <a:moveTo>
                      <a:pt x="1181" y="1116"/>
                    </a:moveTo>
                    <a:lnTo>
                      <a:pt x="1181" y="1117"/>
                    </a:lnTo>
                    <a:lnTo>
                      <a:pt x="1181" y="1116"/>
                    </a:lnTo>
                    <a:close/>
                    <a:moveTo>
                      <a:pt x="1162" y="1160"/>
                    </a:moveTo>
                    <a:lnTo>
                      <a:pt x="1164" y="1160"/>
                    </a:lnTo>
                    <a:lnTo>
                      <a:pt x="1164" y="1162"/>
                    </a:lnTo>
                    <a:lnTo>
                      <a:pt x="1162" y="1162"/>
                    </a:lnTo>
                    <a:lnTo>
                      <a:pt x="1162" y="1160"/>
                    </a:lnTo>
                    <a:close/>
                    <a:moveTo>
                      <a:pt x="1181" y="1099"/>
                    </a:moveTo>
                    <a:lnTo>
                      <a:pt x="1183" y="1099"/>
                    </a:lnTo>
                    <a:lnTo>
                      <a:pt x="1181" y="1099"/>
                    </a:lnTo>
                    <a:close/>
                    <a:moveTo>
                      <a:pt x="1144" y="1306"/>
                    </a:moveTo>
                    <a:lnTo>
                      <a:pt x="1144" y="1308"/>
                    </a:lnTo>
                    <a:lnTo>
                      <a:pt x="1144" y="1306"/>
                    </a:lnTo>
                    <a:close/>
                    <a:moveTo>
                      <a:pt x="1185" y="1066"/>
                    </a:moveTo>
                    <a:lnTo>
                      <a:pt x="1186" y="1066"/>
                    </a:lnTo>
                    <a:lnTo>
                      <a:pt x="1185" y="1066"/>
                    </a:lnTo>
                    <a:close/>
                    <a:moveTo>
                      <a:pt x="1208" y="1075"/>
                    </a:moveTo>
                    <a:lnTo>
                      <a:pt x="1208" y="1077"/>
                    </a:lnTo>
                    <a:lnTo>
                      <a:pt x="1208" y="1075"/>
                    </a:lnTo>
                    <a:close/>
                    <a:moveTo>
                      <a:pt x="1239" y="1456"/>
                    </a:moveTo>
                    <a:lnTo>
                      <a:pt x="1241" y="1456"/>
                    </a:lnTo>
                    <a:lnTo>
                      <a:pt x="1241" y="1458"/>
                    </a:lnTo>
                    <a:lnTo>
                      <a:pt x="1239" y="1458"/>
                    </a:lnTo>
                    <a:lnTo>
                      <a:pt x="1239" y="1456"/>
                    </a:lnTo>
                    <a:close/>
                    <a:moveTo>
                      <a:pt x="1193" y="1464"/>
                    </a:moveTo>
                    <a:lnTo>
                      <a:pt x="1193" y="1466"/>
                    </a:lnTo>
                    <a:lnTo>
                      <a:pt x="1193" y="1464"/>
                    </a:lnTo>
                    <a:close/>
                    <a:moveTo>
                      <a:pt x="1166" y="1344"/>
                    </a:moveTo>
                    <a:lnTo>
                      <a:pt x="1168" y="1344"/>
                    </a:lnTo>
                    <a:lnTo>
                      <a:pt x="1168" y="1345"/>
                    </a:lnTo>
                    <a:lnTo>
                      <a:pt x="1166" y="1345"/>
                    </a:lnTo>
                    <a:lnTo>
                      <a:pt x="1166" y="1344"/>
                    </a:lnTo>
                    <a:close/>
                    <a:moveTo>
                      <a:pt x="1237" y="1582"/>
                    </a:moveTo>
                    <a:lnTo>
                      <a:pt x="1239" y="1582"/>
                    </a:lnTo>
                    <a:lnTo>
                      <a:pt x="1239" y="1583"/>
                    </a:lnTo>
                    <a:lnTo>
                      <a:pt x="1237" y="1583"/>
                    </a:lnTo>
                    <a:lnTo>
                      <a:pt x="1237" y="1582"/>
                    </a:lnTo>
                    <a:close/>
                    <a:moveTo>
                      <a:pt x="1200" y="1522"/>
                    </a:moveTo>
                    <a:lnTo>
                      <a:pt x="1202" y="1522"/>
                    </a:lnTo>
                    <a:lnTo>
                      <a:pt x="1202" y="1524"/>
                    </a:lnTo>
                    <a:lnTo>
                      <a:pt x="1200" y="1524"/>
                    </a:lnTo>
                    <a:lnTo>
                      <a:pt x="1200" y="1522"/>
                    </a:lnTo>
                    <a:close/>
                    <a:moveTo>
                      <a:pt x="1247" y="951"/>
                    </a:moveTo>
                    <a:lnTo>
                      <a:pt x="1249" y="951"/>
                    </a:lnTo>
                    <a:lnTo>
                      <a:pt x="1247" y="951"/>
                    </a:lnTo>
                    <a:close/>
                    <a:moveTo>
                      <a:pt x="1281" y="1597"/>
                    </a:moveTo>
                    <a:lnTo>
                      <a:pt x="1283" y="1597"/>
                    </a:lnTo>
                    <a:lnTo>
                      <a:pt x="1283" y="1599"/>
                    </a:lnTo>
                    <a:lnTo>
                      <a:pt x="1281" y="1599"/>
                    </a:lnTo>
                    <a:lnTo>
                      <a:pt x="1281" y="1597"/>
                    </a:lnTo>
                    <a:close/>
                    <a:moveTo>
                      <a:pt x="1288" y="1621"/>
                    </a:moveTo>
                    <a:lnTo>
                      <a:pt x="1290" y="1621"/>
                    </a:lnTo>
                    <a:lnTo>
                      <a:pt x="1288" y="1621"/>
                    </a:lnTo>
                    <a:close/>
                    <a:moveTo>
                      <a:pt x="1329" y="1648"/>
                    </a:moveTo>
                    <a:lnTo>
                      <a:pt x="1331" y="1648"/>
                    </a:lnTo>
                    <a:lnTo>
                      <a:pt x="1329" y="1648"/>
                    </a:lnTo>
                    <a:close/>
                    <a:moveTo>
                      <a:pt x="1261" y="1587"/>
                    </a:moveTo>
                    <a:lnTo>
                      <a:pt x="1263" y="1587"/>
                    </a:lnTo>
                    <a:lnTo>
                      <a:pt x="1261" y="1587"/>
                    </a:lnTo>
                    <a:close/>
                    <a:moveTo>
                      <a:pt x="1152" y="1185"/>
                    </a:moveTo>
                    <a:lnTo>
                      <a:pt x="1154" y="1185"/>
                    </a:lnTo>
                    <a:lnTo>
                      <a:pt x="1154" y="1187"/>
                    </a:lnTo>
                    <a:lnTo>
                      <a:pt x="1152" y="1187"/>
                    </a:lnTo>
                    <a:lnTo>
                      <a:pt x="1152" y="1185"/>
                    </a:lnTo>
                    <a:close/>
                    <a:moveTo>
                      <a:pt x="1193" y="1492"/>
                    </a:moveTo>
                    <a:lnTo>
                      <a:pt x="1195" y="1492"/>
                    </a:lnTo>
                    <a:lnTo>
                      <a:pt x="1193" y="1492"/>
                    </a:lnTo>
                    <a:close/>
                    <a:moveTo>
                      <a:pt x="1183" y="1425"/>
                    </a:moveTo>
                    <a:lnTo>
                      <a:pt x="1185" y="1425"/>
                    </a:lnTo>
                    <a:lnTo>
                      <a:pt x="1185" y="1427"/>
                    </a:lnTo>
                    <a:lnTo>
                      <a:pt x="1183" y="1427"/>
                    </a:lnTo>
                    <a:lnTo>
                      <a:pt x="1183" y="1425"/>
                    </a:lnTo>
                    <a:close/>
                    <a:moveTo>
                      <a:pt x="1164" y="1396"/>
                    </a:moveTo>
                    <a:lnTo>
                      <a:pt x="1164" y="1398"/>
                    </a:lnTo>
                    <a:lnTo>
                      <a:pt x="1164" y="1396"/>
                    </a:lnTo>
                    <a:close/>
                    <a:moveTo>
                      <a:pt x="1220" y="1526"/>
                    </a:moveTo>
                    <a:lnTo>
                      <a:pt x="1222" y="1526"/>
                    </a:lnTo>
                    <a:lnTo>
                      <a:pt x="1222" y="1527"/>
                    </a:lnTo>
                    <a:lnTo>
                      <a:pt x="1220" y="1527"/>
                    </a:lnTo>
                    <a:lnTo>
                      <a:pt x="1220" y="1526"/>
                    </a:lnTo>
                    <a:close/>
                    <a:moveTo>
                      <a:pt x="1178" y="1517"/>
                    </a:moveTo>
                    <a:lnTo>
                      <a:pt x="1179" y="1517"/>
                    </a:lnTo>
                    <a:lnTo>
                      <a:pt x="1178" y="1517"/>
                    </a:lnTo>
                    <a:close/>
                    <a:moveTo>
                      <a:pt x="1159" y="1356"/>
                    </a:moveTo>
                    <a:lnTo>
                      <a:pt x="1161" y="1356"/>
                    </a:lnTo>
                    <a:lnTo>
                      <a:pt x="1159" y="1356"/>
                    </a:lnTo>
                    <a:close/>
                    <a:moveTo>
                      <a:pt x="1159" y="1390"/>
                    </a:moveTo>
                    <a:lnTo>
                      <a:pt x="1161" y="1390"/>
                    </a:lnTo>
                    <a:lnTo>
                      <a:pt x="1159" y="1390"/>
                    </a:lnTo>
                    <a:close/>
                    <a:moveTo>
                      <a:pt x="1176" y="1386"/>
                    </a:moveTo>
                    <a:lnTo>
                      <a:pt x="1178" y="1386"/>
                    </a:lnTo>
                    <a:lnTo>
                      <a:pt x="1176" y="1386"/>
                    </a:lnTo>
                    <a:close/>
                    <a:moveTo>
                      <a:pt x="1438" y="1680"/>
                    </a:moveTo>
                    <a:lnTo>
                      <a:pt x="1440" y="1680"/>
                    </a:lnTo>
                    <a:lnTo>
                      <a:pt x="1440" y="1682"/>
                    </a:lnTo>
                    <a:lnTo>
                      <a:pt x="1438" y="1682"/>
                    </a:lnTo>
                    <a:lnTo>
                      <a:pt x="1438" y="1680"/>
                    </a:lnTo>
                    <a:close/>
                    <a:moveTo>
                      <a:pt x="1193" y="1140"/>
                    </a:moveTo>
                    <a:lnTo>
                      <a:pt x="1195" y="1140"/>
                    </a:lnTo>
                    <a:lnTo>
                      <a:pt x="1195" y="1141"/>
                    </a:lnTo>
                    <a:lnTo>
                      <a:pt x="1193" y="1141"/>
                    </a:lnTo>
                    <a:lnTo>
                      <a:pt x="1193" y="1140"/>
                    </a:lnTo>
                    <a:close/>
                    <a:moveTo>
                      <a:pt x="1159" y="1420"/>
                    </a:moveTo>
                    <a:lnTo>
                      <a:pt x="1159" y="1422"/>
                    </a:lnTo>
                    <a:lnTo>
                      <a:pt x="1159" y="1420"/>
                    </a:lnTo>
                    <a:close/>
                    <a:moveTo>
                      <a:pt x="1365" y="1660"/>
                    </a:moveTo>
                    <a:lnTo>
                      <a:pt x="1366" y="1660"/>
                    </a:lnTo>
                    <a:lnTo>
                      <a:pt x="1365" y="1660"/>
                    </a:lnTo>
                    <a:close/>
                    <a:moveTo>
                      <a:pt x="1205" y="1500"/>
                    </a:moveTo>
                    <a:lnTo>
                      <a:pt x="1207" y="1500"/>
                    </a:lnTo>
                    <a:lnTo>
                      <a:pt x="1207" y="1502"/>
                    </a:lnTo>
                    <a:lnTo>
                      <a:pt x="1205" y="1502"/>
                    </a:lnTo>
                    <a:lnTo>
                      <a:pt x="1205" y="1500"/>
                    </a:lnTo>
                    <a:close/>
                    <a:moveTo>
                      <a:pt x="1208" y="1053"/>
                    </a:moveTo>
                    <a:lnTo>
                      <a:pt x="1208" y="1054"/>
                    </a:lnTo>
                    <a:lnTo>
                      <a:pt x="1208" y="1053"/>
                    </a:lnTo>
                    <a:close/>
                    <a:moveTo>
                      <a:pt x="1179" y="1425"/>
                    </a:moveTo>
                    <a:lnTo>
                      <a:pt x="1179" y="1427"/>
                    </a:lnTo>
                    <a:lnTo>
                      <a:pt x="1179" y="1425"/>
                    </a:lnTo>
                    <a:close/>
                    <a:moveTo>
                      <a:pt x="1268" y="1597"/>
                    </a:moveTo>
                    <a:lnTo>
                      <a:pt x="1270" y="1597"/>
                    </a:lnTo>
                    <a:lnTo>
                      <a:pt x="1270" y="1599"/>
                    </a:lnTo>
                    <a:lnTo>
                      <a:pt x="1268" y="1599"/>
                    </a:lnTo>
                    <a:lnTo>
                      <a:pt x="1268" y="1597"/>
                    </a:lnTo>
                    <a:close/>
                    <a:moveTo>
                      <a:pt x="1220" y="1560"/>
                    </a:moveTo>
                    <a:lnTo>
                      <a:pt x="1222" y="1560"/>
                    </a:lnTo>
                    <a:lnTo>
                      <a:pt x="1220" y="1560"/>
                    </a:lnTo>
                    <a:close/>
                    <a:moveTo>
                      <a:pt x="1229" y="1570"/>
                    </a:moveTo>
                    <a:lnTo>
                      <a:pt x="1230" y="1570"/>
                    </a:lnTo>
                    <a:lnTo>
                      <a:pt x="1230" y="1572"/>
                    </a:lnTo>
                    <a:lnTo>
                      <a:pt x="1229" y="1572"/>
                    </a:lnTo>
                    <a:lnTo>
                      <a:pt x="1229" y="1570"/>
                    </a:lnTo>
                    <a:close/>
                    <a:moveTo>
                      <a:pt x="1176" y="1245"/>
                    </a:moveTo>
                    <a:lnTo>
                      <a:pt x="1178" y="1245"/>
                    </a:lnTo>
                    <a:lnTo>
                      <a:pt x="1178" y="1247"/>
                    </a:lnTo>
                    <a:lnTo>
                      <a:pt x="1176" y="1247"/>
                    </a:lnTo>
                    <a:lnTo>
                      <a:pt x="1176" y="1245"/>
                    </a:lnTo>
                    <a:close/>
                    <a:moveTo>
                      <a:pt x="1203" y="1549"/>
                    </a:moveTo>
                    <a:lnTo>
                      <a:pt x="1205" y="1549"/>
                    </a:lnTo>
                    <a:lnTo>
                      <a:pt x="1205" y="1551"/>
                    </a:lnTo>
                    <a:lnTo>
                      <a:pt x="1203" y="1551"/>
                    </a:lnTo>
                    <a:lnTo>
                      <a:pt x="1203" y="1549"/>
                    </a:lnTo>
                    <a:close/>
                    <a:moveTo>
                      <a:pt x="1205" y="1095"/>
                    </a:moveTo>
                    <a:lnTo>
                      <a:pt x="1205" y="1097"/>
                    </a:lnTo>
                    <a:lnTo>
                      <a:pt x="1205" y="1095"/>
                    </a:lnTo>
                    <a:close/>
                    <a:moveTo>
                      <a:pt x="1224" y="976"/>
                    </a:moveTo>
                    <a:lnTo>
                      <a:pt x="1225" y="976"/>
                    </a:lnTo>
                    <a:lnTo>
                      <a:pt x="1225" y="978"/>
                    </a:lnTo>
                    <a:lnTo>
                      <a:pt x="1224" y="978"/>
                    </a:lnTo>
                    <a:lnTo>
                      <a:pt x="1224" y="976"/>
                    </a:lnTo>
                    <a:close/>
                    <a:moveTo>
                      <a:pt x="1390" y="1645"/>
                    </a:moveTo>
                    <a:lnTo>
                      <a:pt x="1392" y="1645"/>
                    </a:lnTo>
                    <a:lnTo>
                      <a:pt x="1392" y="1646"/>
                    </a:lnTo>
                    <a:lnTo>
                      <a:pt x="1390" y="1646"/>
                    </a:lnTo>
                    <a:lnTo>
                      <a:pt x="1390" y="1645"/>
                    </a:lnTo>
                    <a:close/>
                    <a:moveTo>
                      <a:pt x="1205" y="1119"/>
                    </a:moveTo>
                    <a:lnTo>
                      <a:pt x="1207" y="1119"/>
                    </a:lnTo>
                    <a:lnTo>
                      <a:pt x="1205" y="1119"/>
                    </a:lnTo>
                    <a:close/>
                    <a:moveTo>
                      <a:pt x="1200" y="1248"/>
                    </a:moveTo>
                    <a:lnTo>
                      <a:pt x="1202" y="1248"/>
                    </a:lnTo>
                    <a:lnTo>
                      <a:pt x="1202" y="1250"/>
                    </a:lnTo>
                    <a:lnTo>
                      <a:pt x="1200" y="1250"/>
                    </a:lnTo>
                    <a:lnTo>
                      <a:pt x="1200" y="1248"/>
                    </a:lnTo>
                    <a:close/>
                    <a:moveTo>
                      <a:pt x="1395" y="1655"/>
                    </a:moveTo>
                    <a:lnTo>
                      <a:pt x="1397" y="1655"/>
                    </a:lnTo>
                    <a:lnTo>
                      <a:pt x="1397" y="1657"/>
                    </a:lnTo>
                    <a:lnTo>
                      <a:pt x="1395" y="1657"/>
                    </a:lnTo>
                    <a:lnTo>
                      <a:pt x="1395" y="1655"/>
                    </a:lnTo>
                    <a:close/>
                    <a:moveTo>
                      <a:pt x="1159" y="1349"/>
                    </a:moveTo>
                    <a:lnTo>
                      <a:pt x="1161" y="1349"/>
                    </a:lnTo>
                    <a:lnTo>
                      <a:pt x="1159" y="1349"/>
                    </a:lnTo>
                    <a:close/>
                    <a:moveTo>
                      <a:pt x="1198" y="1437"/>
                    </a:moveTo>
                    <a:lnTo>
                      <a:pt x="1198" y="1439"/>
                    </a:lnTo>
                    <a:lnTo>
                      <a:pt x="1198" y="1437"/>
                    </a:lnTo>
                    <a:close/>
                    <a:moveTo>
                      <a:pt x="1217" y="1561"/>
                    </a:moveTo>
                    <a:lnTo>
                      <a:pt x="1219" y="1561"/>
                    </a:lnTo>
                    <a:lnTo>
                      <a:pt x="1217" y="1561"/>
                    </a:lnTo>
                    <a:close/>
                    <a:moveTo>
                      <a:pt x="1174" y="1446"/>
                    </a:moveTo>
                    <a:lnTo>
                      <a:pt x="1174" y="1447"/>
                    </a:lnTo>
                    <a:lnTo>
                      <a:pt x="1174" y="1446"/>
                    </a:lnTo>
                    <a:close/>
                    <a:moveTo>
                      <a:pt x="1185" y="1063"/>
                    </a:moveTo>
                    <a:lnTo>
                      <a:pt x="1185" y="1065"/>
                    </a:lnTo>
                    <a:lnTo>
                      <a:pt x="1185" y="1063"/>
                    </a:lnTo>
                    <a:close/>
                    <a:moveTo>
                      <a:pt x="1368" y="1669"/>
                    </a:moveTo>
                    <a:lnTo>
                      <a:pt x="1368" y="1670"/>
                    </a:lnTo>
                    <a:lnTo>
                      <a:pt x="1368" y="1669"/>
                    </a:lnTo>
                    <a:close/>
                    <a:moveTo>
                      <a:pt x="1196" y="1488"/>
                    </a:moveTo>
                    <a:lnTo>
                      <a:pt x="1198" y="1488"/>
                    </a:lnTo>
                    <a:lnTo>
                      <a:pt x="1198" y="1490"/>
                    </a:lnTo>
                    <a:lnTo>
                      <a:pt x="1196" y="1490"/>
                    </a:lnTo>
                    <a:lnTo>
                      <a:pt x="1196" y="1488"/>
                    </a:lnTo>
                    <a:close/>
                    <a:moveTo>
                      <a:pt x="1156" y="1362"/>
                    </a:moveTo>
                    <a:lnTo>
                      <a:pt x="1156" y="1364"/>
                    </a:lnTo>
                    <a:lnTo>
                      <a:pt x="1156" y="1362"/>
                    </a:lnTo>
                    <a:close/>
                    <a:moveTo>
                      <a:pt x="1207" y="1155"/>
                    </a:moveTo>
                    <a:lnTo>
                      <a:pt x="1208" y="1155"/>
                    </a:lnTo>
                    <a:lnTo>
                      <a:pt x="1207" y="1155"/>
                    </a:lnTo>
                    <a:close/>
                    <a:moveTo>
                      <a:pt x="1224" y="956"/>
                    </a:moveTo>
                    <a:lnTo>
                      <a:pt x="1225" y="956"/>
                    </a:lnTo>
                    <a:lnTo>
                      <a:pt x="1225" y="957"/>
                    </a:lnTo>
                    <a:lnTo>
                      <a:pt x="1224" y="957"/>
                    </a:lnTo>
                    <a:lnTo>
                      <a:pt x="1224" y="956"/>
                    </a:lnTo>
                    <a:close/>
                    <a:moveTo>
                      <a:pt x="1196" y="1453"/>
                    </a:moveTo>
                    <a:lnTo>
                      <a:pt x="1198" y="1453"/>
                    </a:lnTo>
                    <a:lnTo>
                      <a:pt x="1198" y="1454"/>
                    </a:lnTo>
                    <a:lnTo>
                      <a:pt x="1196" y="1454"/>
                    </a:lnTo>
                    <a:lnTo>
                      <a:pt x="1196" y="1453"/>
                    </a:lnTo>
                    <a:close/>
                    <a:moveTo>
                      <a:pt x="1193" y="1487"/>
                    </a:moveTo>
                    <a:lnTo>
                      <a:pt x="1193" y="1488"/>
                    </a:lnTo>
                    <a:lnTo>
                      <a:pt x="1193" y="1487"/>
                    </a:lnTo>
                    <a:close/>
                    <a:moveTo>
                      <a:pt x="1191" y="1140"/>
                    </a:moveTo>
                    <a:lnTo>
                      <a:pt x="1193" y="1140"/>
                    </a:lnTo>
                    <a:lnTo>
                      <a:pt x="1191" y="1140"/>
                    </a:lnTo>
                    <a:close/>
                    <a:moveTo>
                      <a:pt x="1222" y="1568"/>
                    </a:moveTo>
                    <a:lnTo>
                      <a:pt x="1224" y="1568"/>
                    </a:lnTo>
                    <a:lnTo>
                      <a:pt x="1222" y="1568"/>
                    </a:lnTo>
                    <a:close/>
                    <a:moveTo>
                      <a:pt x="1220" y="1071"/>
                    </a:moveTo>
                    <a:lnTo>
                      <a:pt x="1220" y="1073"/>
                    </a:lnTo>
                    <a:lnTo>
                      <a:pt x="1220" y="1071"/>
                    </a:lnTo>
                    <a:close/>
                    <a:moveTo>
                      <a:pt x="1440" y="1665"/>
                    </a:moveTo>
                    <a:lnTo>
                      <a:pt x="1440" y="1667"/>
                    </a:lnTo>
                    <a:lnTo>
                      <a:pt x="1440" y="1665"/>
                    </a:lnTo>
                    <a:close/>
                    <a:moveTo>
                      <a:pt x="1149" y="1328"/>
                    </a:moveTo>
                    <a:lnTo>
                      <a:pt x="1149" y="1330"/>
                    </a:lnTo>
                    <a:lnTo>
                      <a:pt x="1149" y="1328"/>
                    </a:lnTo>
                    <a:close/>
                    <a:moveTo>
                      <a:pt x="1188" y="1485"/>
                    </a:moveTo>
                    <a:lnTo>
                      <a:pt x="1188" y="1487"/>
                    </a:lnTo>
                    <a:lnTo>
                      <a:pt x="1188" y="1485"/>
                    </a:lnTo>
                    <a:close/>
                    <a:moveTo>
                      <a:pt x="1174" y="1102"/>
                    </a:moveTo>
                    <a:lnTo>
                      <a:pt x="1176" y="1102"/>
                    </a:lnTo>
                    <a:lnTo>
                      <a:pt x="1176" y="1104"/>
                    </a:lnTo>
                    <a:lnTo>
                      <a:pt x="1174" y="1104"/>
                    </a:lnTo>
                    <a:lnTo>
                      <a:pt x="1174" y="1102"/>
                    </a:lnTo>
                    <a:close/>
                    <a:moveTo>
                      <a:pt x="1389" y="1628"/>
                    </a:moveTo>
                    <a:lnTo>
                      <a:pt x="1390" y="1628"/>
                    </a:lnTo>
                    <a:lnTo>
                      <a:pt x="1389" y="1628"/>
                    </a:lnTo>
                    <a:close/>
                    <a:moveTo>
                      <a:pt x="1220" y="1060"/>
                    </a:moveTo>
                    <a:lnTo>
                      <a:pt x="1222" y="1060"/>
                    </a:lnTo>
                    <a:lnTo>
                      <a:pt x="1222" y="1061"/>
                    </a:lnTo>
                    <a:lnTo>
                      <a:pt x="1220" y="1061"/>
                    </a:lnTo>
                    <a:lnTo>
                      <a:pt x="1220" y="1060"/>
                    </a:lnTo>
                    <a:close/>
                    <a:moveTo>
                      <a:pt x="1225" y="1556"/>
                    </a:moveTo>
                    <a:lnTo>
                      <a:pt x="1225" y="1558"/>
                    </a:lnTo>
                    <a:lnTo>
                      <a:pt x="1225" y="1556"/>
                    </a:lnTo>
                    <a:close/>
                    <a:moveTo>
                      <a:pt x="1190" y="1097"/>
                    </a:moveTo>
                    <a:lnTo>
                      <a:pt x="1190" y="1099"/>
                    </a:lnTo>
                    <a:lnTo>
                      <a:pt x="1190" y="1097"/>
                    </a:lnTo>
                    <a:close/>
                    <a:moveTo>
                      <a:pt x="1188" y="1487"/>
                    </a:moveTo>
                    <a:lnTo>
                      <a:pt x="1190" y="1487"/>
                    </a:lnTo>
                    <a:lnTo>
                      <a:pt x="1190" y="1488"/>
                    </a:lnTo>
                    <a:lnTo>
                      <a:pt x="1188" y="1488"/>
                    </a:lnTo>
                    <a:lnTo>
                      <a:pt x="1188" y="1487"/>
                    </a:lnTo>
                    <a:close/>
                    <a:moveTo>
                      <a:pt x="1196" y="1092"/>
                    </a:moveTo>
                    <a:lnTo>
                      <a:pt x="1198" y="1092"/>
                    </a:lnTo>
                    <a:lnTo>
                      <a:pt x="1196" y="1092"/>
                    </a:lnTo>
                    <a:close/>
                    <a:moveTo>
                      <a:pt x="1166" y="1236"/>
                    </a:moveTo>
                    <a:lnTo>
                      <a:pt x="1168" y="1236"/>
                    </a:lnTo>
                    <a:lnTo>
                      <a:pt x="1166" y="1236"/>
                    </a:lnTo>
                    <a:close/>
                    <a:moveTo>
                      <a:pt x="1181" y="1473"/>
                    </a:moveTo>
                    <a:lnTo>
                      <a:pt x="1183" y="1473"/>
                    </a:lnTo>
                    <a:lnTo>
                      <a:pt x="1183" y="1475"/>
                    </a:lnTo>
                    <a:lnTo>
                      <a:pt x="1181" y="1475"/>
                    </a:lnTo>
                    <a:lnTo>
                      <a:pt x="1181" y="1473"/>
                    </a:lnTo>
                    <a:close/>
                    <a:moveTo>
                      <a:pt x="1152" y="1187"/>
                    </a:moveTo>
                    <a:lnTo>
                      <a:pt x="1154" y="1187"/>
                    </a:lnTo>
                    <a:lnTo>
                      <a:pt x="1152" y="1187"/>
                    </a:lnTo>
                    <a:close/>
                    <a:moveTo>
                      <a:pt x="1219" y="1583"/>
                    </a:moveTo>
                    <a:lnTo>
                      <a:pt x="1220" y="1583"/>
                    </a:lnTo>
                    <a:lnTo>
                      <a:pt x="1220" y="1585"/>
                    </a:lnTo>
                    <a:lnTo>
                      <a:pt x="1219" y="1585"/>
                    </a:lnTo>
                    <a:lnTo>
                      <a:pt x="1219" y="1583"/>
                    </a:lnTo>
                    <a:close/>
                    <a:moveTo>
                      <a:pt x="1162" y="1240"/>
                    </a:moveTo>
                    <a:lnTo>
                      <a:pt x="1164" y="1240"/>
                    </a:lnTo>
                    <a:lnTo>
                      <a:pt x="1164" y="1242"/>
                    </a:lnTo>
                    <a:lnTo>
                      <a:pt x="1162" y="1242"/>
                    </a:lnTo>
                    <a:lnTo>
                      <a:pt x="1162" y="1240"/>
                    </a:lnTo>
                    <a:close/>
                    <a:moveTo>
                      <a:pt x="1237" y="1590"/>
                    </a:moveTo>
                    <a:lnTo>
                      <a:pt x="1237" y="1592"/>
                    </a:lnTo>
                    <a:lnTo>
                      <a:pt x="1237" y="1590"/>
                    </a:lnTo>
                    <a:close/>
                    <a:moveTo>
                      <a:pt x="1239" y="1582"/>
                    </a:moveTo>
                    <a:lnTo>
                      <a:pt x="1241" y="1582"/>
                    </a:lnTo>
                    <a:lnTo>
                      <a:pt x="1241" y="1583"/>
                    </a:lnTo>
                    <a:lnTo>
                      <a:pt x="1239" y="1583"/>
                    </a:lnTo>
                    <a:lnTo>
                      <a:pt x="1239" y="1582"/>
                    </a:lnTo>
                    <a:close/>
                    <a:moveTo>
                      <a:pt x="1190" y="1485"/>
                    </a:moveTo>
                    <a:lnTo>
                      <a:pt x="1191" y="1485"/>
                    </a:lnTo>
                    <a:lnTo>
                      <a:pt x="1191" y="1487"/>
                    </a:lnTo>
                    <a:lnTo>
                      <a:pt x="1190" y="1487"/>
                    </a:lnTo>
                    <a:lnTo>
                      <a:pt x="1190" y="1485"/>
                    </a:lnTo>
                    <a:close/>
                    <a:moveTo>
                      <a:pt x="1220" y="1541"/>
                    </a:moveTo>
                    <a:lnTo>
                      <a:pt x="1224" y="1541"/>
                    </a:lnTo>
                    <a:lnTo>
                      <a:pt x="1224" y="1543"/>
                    </a:lnTo>
                    <a:lnTo>
                      <a:pt x="1220" y="1543"/>
                    </a:lnTo>
                    <a:lnTo>
                      <a:pt x="1220" y="1541"/>
                    </a:lnTo>
                    <a:close/>
                    <a:moveTo>
                      <a:pt x="1183" y="1483"/>
                    </a:moveTo>
                    <a:lnTo>
                      <a:pt x="1185" y="1483"/>
                    </a:lnTo>
                    <a:lnTo>
                      <a:pt x="1183" y="1483"/>
                    </a:lnTo>
                    <a:close/>
                    <a:moveTo>
                      <a:pt x="1210" y="1560"/>
                    </a:moveTo>
                    <a:lnTo>
                      <a:pt x="1212" y="1560"/>
                    </a:lnTo>
                    <a:lnTo>
                      <a:pt x="1210" y="1560"/>
                    </a:lnTo>
                    <a:close/>
                    <a:moveTo>
                      <a:pt x="1205" y="1119"/>
                    </a:moveTo>
                    <a:lnTo>
                      <a:pt x="1205" y="1121"/>
                    </a:lnTo>
                    <a:lnTo>
                      <a:pt x="1205" y="1119"/>
                    </a:lnTo>
                    <a:close/>
                    <a:moveTo>
                      <a:pt x="1280" y="432"/>
                    </a:moveTo>
                    <a:lnTo>
                      <a:pt x="1280" y="434"/>
                    </a:lnTo>
                    <a:lnTo>
                      <a:pt x="1280" y="432"/>
                    </a:lnTo>
                    <a:close/>
                    <a:moveTo>
                      <a:pt x="1171" y="1381"/>
                    </a:moveTo>
                    <a:lnTo>
                      <a:pt x="1173" y="1381"/>
                    </a:lnTo>
                    <a:lnTo>
                      <a:pt x="1171" y="1381"/>
                    </a:lnTo>
                    <a:close/>
                    <a:moveTo>
                      <a:pt x="1219" y="956"/>
                    </a:moveTo>
                    <a:lnTo>
                      <a:pt x="1219" y="957"/>
                    </a:lnTo>
                    <a:lnTo>
                      <a:pt x="1219" y="956"/>
                    </a:lnTo>
                    <a:close/>
                    <a:moveTo>
                      <a:pt x="1229" y="1566"/>
                    </a:moveTo>
                    <a:lnTo>
                      <a:pt x="1230" y="1566"/>
                    </a:lnTo>
                    <a:lnTo>
                      <a:pt x="1229" y="1566"/>
                    </a:lnTo>
                    <a:close/>
                    <a:moveTo>
                      <a:pt x="1280" y="1595"/>
                    </a:moveTo>
                    <a:lnTo>
                      <a:pt x="1281" y="1595"/>
                    </a:lnTo>
                    <a:lnTo>
                      <a:pt x="1281" y="1597"/>
                    </a:lnTo>
                    <a:lnTo>
                      <a:pt x="1280" y="1597"/>
                    </a:lnTo>
                    <a:lnTo>
                      <a:pt x="1280" y="1595"/>
                    </a:lnTo>
                    <a:close/>
                    <a:moveTo>
                      <a:pt x="1219" y="1556"/>
                    </a:moveTo>
                    <a:lnTo>
                      <a:pt x="1222" y="1556"/>
                    </a:lnTo>
                    <a:lnTo>
                      <a:pt x="1219" y="1556"/>
                    </a:lnTo>
                    <a:close/>
                    <a:moveTo>
                      <a:pt x="1360" y="1648"/>
                    </a:moveTo>
                    <a:lnTo>
                      <a:pt x="1361" y="1648"/>
                    </a:lnTo>
                    <a:lnTo>
                      <a:pt x="1361" y="1650"/>
                    </a:lnTo>
                    <a:lnTo>
                      <a:pt x="1360" y="1650"/>
                    </a:lnTo>
                    <a:lnTo>
                      <a:pt x="1360" y="1648"/>
                    </a:lnTo>
                    <a:close/>
                    <a:moveTo>
                      <a:pt x="1254" y="1595"/>
                    </a:moveTo>
                    <a:lnTo>
                      <a:pt x="1254" y="1597"/>
                    </a:lnTo>
                    <a:lnTo>
                      <a:pt x="1254" y="1595"/>
                    </a:lnTo>
                    <a:close/>
                    <a:moveTo>
                      <a:pt x="1154" y="1243"/>
                    </a:moveTo>
                    <a:lnTo>
                      <a:pt x="1156" y="1243"/>
                    </a:lnTo>
                    <a:lnTo>
                      <a:pt x="1156" y="1245"/>
                    </a:lnTo>
                    <a:lnTo>
                      <a:pt x="1154" y="1245"/>
                    </a:lnTo>
                    <a:lnTo>
                      <a:pt x="1154" y="1243"/>
                    </a:lnTo>
                    <a:close/>
                    <a:moveTo>
                      <a:pt x="1205" y="1094"/>
                    </a:moveTo>
                    <a:lnTo>
                      <a:pt x="1205" y="1095"/>
                    </a:lnTo>
                    <a:lnTo>
                      <a:pt x="1205" y="1094"/>
                    </a:lnTo>
                    <a:close/>
                    <a:moveTo>
                      <a:pt x="1188" y="1276"/>
                    </a:moveTo>
                    <a:lnTo>
                      <a:pt x="1190" y="1276"/>
                    </a:lnTo>
                    <a:lnTo>
                      <a:pt x="1190" y="1277"/>
                    </a:lnTo>
                    <a:lnTo>
                      <a:pt x="1188" y="1277"/>
                    </a:lnTo>
                    <a:lnTo>
                      <a:pt x="1188" y="1276"/>
                    </a:lnTo>
                    <a:close/>
                    <a:moveTo>
                      <a:pt x="1159" y="1388"/>
                    </a:moveTo>
                    <a:lnTo>
                      <a:pt x="1161" y="1388"/>
                    </a:lnTo>
                    <a:lnTo>
                      <a:pt x="1161" y="1390"/>
                    </a:lnTo>
                    <a:lnTo>
                      <a:pt x="1159" y="1390"/>
                    </a:lnTo>
                    <a:lnTo>
                      <a:pt x="1159" y="1388"/>
                    </a:lnTo>
                    <a:close/>
                    <a:moveTo>
                      <a:pt x="1205" y="1250"/>
                    </a:moveTo>
                    <a:lnTo>
                      <a:pt x="1207" y="1250"/>
                    </a:lnTo>
                    <a:lnTo>
                      <a:pt x="1207" y="1252"/>
                    </a:lnTo>
                    <a:lnTo>
                      <a:pt x="1205" y="1252"/>
                    </a:lnTo>
                    <a:lnTo>
                      <a:pt x="1205" y="1250"/>
                    </a:lnTo>
                    <a:close/>
                    <a:moveTo>
                      <a:pt x="1166" y="1242"/>
                    </a:moveTo>
                    <a:lnTo>
                      <a:pt x="1166" y="1243"/>
                    </a:lnTo>
                    <a:lnTo>
                      <a:pt x="1166" y="1242"/>
                    </a:lnTo>
                    <a:close/>
                    <a:moveTo>
                      <a:pt x="1263" y="1590"/>
                    </a:moveTo>
                    <a:lnTo>
                      <a:pt x="1264" y="1590"/>
                    </a:lnTo>
                    <a:lnTo>
                      <a:pt x="1264" y="1592"/>
                    </a:lnTo>
                    <a:lnTo>
                      <a:pt x="1263" y="1592"/>
                    </a:lnTo>
                    <a:lnTo>
                      <a:pt x="1263" y="1590"/>
                    </a:lnTo>
                    <a:close/>
                    <a:moveTo>
                      <a:pt x="1321" y="1626"/>
                    </a:moveTo>
                    <a:lnTo>
                      <a:pt x="1322" y="1626"/>
                    </a:lnTo>
                    <a:lnTo>
                      <a:pt x="1321" y="1626"/>
                    </a:lnTo>
                    <a:close/>
                    <a:moveTo>
                      <a:pt x="1176" y="1432"/>
                    </a:moveTo>
                    <a:lnTo>
                      <a:pt x="1178" y="1432"/>
                    </a:lnTo>
                    <a:lnTo>
                      <a:pt x="1176" y="1432"/>
                    </a:lnTo>
                    <a:close/>
                    <a:moveTo>
                      <a:pt x="1220" y="1556"/>
                    </a:moveTo>
                    <a:lnTo>
                      <a:pt x="1220" y="1558"/>
                    </a:lnTo>
                    <a:lnTo>
                      <a:pt x="1220" y="1556"/>
                    </a:lnTo>
                    <a:close/>
                    <a:moveTo>
                      <a:pt x="1202" y="1058"/>
                    </a:moveTo>
                    <a:lnTo>
                      <a:pt x="1203" y="1058"/>
                    </a:lnTo>
                    <a:lnTo>
                      <a:pt x="1203" y="1060"/>
                    </a:lnTo>
                    <a:lnTo>
                      <a:pt x="1202" y="1060"/>
                    </a:lnTo>
                    <a:lnTo>
                      <a:pt x="1202" y="1058"/>
                    </a:lnTo>
                    <a:close/>
                    <a:moveTo>
                      <a:pt x="1339" y="1660"/>
                    </a:moveTo>
                    <a:lnTo>
                      <a:pt x="1339" y="1662"/>
                    </a:lnTo>
                    <a:lnTo>
                      <a:pt x="1339" y="1660"/>
                    </a:lnTo>
                    <a:close/>
                    <a:moveTo>
                      <a:pt x="1205" y="1122"/>
                    </a:moveTo>
                    <a:lnTo>
                      <a:pt x="1205" y="1124"/>
                    </a:lnTo>
                    <a:lnTo>
                      <a:pt x="1205" y="1122"/>
                    </a:lnTo>
                    <a:close/>
                    <a:moveTo>
                      <a:pt x="1295" y="1616"/>
                    </a:moveTo>
                    <a:lnTo>
                      <a:pt x="1297" y="1616"/>
                    </a:lnTo>
                    <a:lnTo>
                      <a:pt x="1297" y="1618"/>
                    </a:lnTo>
                    <a:lnTo>
                      <a:pt x="1295" y="1618"/>
                    </a:lnTo>
                    <a:lnTo>
                      <a:pt x="1295" y="1616"/>
                    </a:lnTo>
                    <a:close/>
                    <a:moveTo>
                      <a:pt x="1326" y="1650"/>
                    </a:moveTo>
                    <a:lnTo>
                      <a:pt x="1327" y="1650"/>
                    </a:lnTo>
                    <a:lnTo>
                      <a:pt x="1327" y="1652"/>
                    </a:lnTo>
                    <a:lnTo>
                      <a:pt x="1326" y="1652"/>
                    </a:lnTo>
                    <a:lnTo>
                      <a:pt x="1326" y="1650"/>
                    </a:lnTo>
                    <a:close/>
                    <a:moveTo>
                      <a:pt x="1169" y="1434"/>
                    </a:moveTo>
                    <a:lnTo>
                      <a:pt x="1171" y="1434"/>
                    </a:lnTo>
                    <a:lnTo>
                      <a:pt x="1169" y="1434"/>
                    </a:lnTo>
                    <a:close/>
                    <a:moveTo>
                      <a:pt x="1251" y="1597"/>
                    </a:moveTo>
                    <a:lnTo>
                      <a:pt x="1251" y="1599"/>
                    </a:lnTo>
                    <a:lnTo>
                      <a:pt x="1251" y="1597"/>
                    </a:lnTo>
                    <a:close/>
                    <a:moveTo>
                      <a:pt x="1159" y="1349"/>
                    </a:moveTo>
                    <a:lnTo>
                      <a:pt x="1161" y="1349"/>
                    </a:lnTo>
                    <a:lnTo>
                      <a:pt x="1159" y="1349"/>
                    </a:lnTo>
                    <a:close/>
                    <a:moveTo>
                      <a:pt x="1227" y="1583"/>
                    </a:moveTo>
                    <a:lnTo>
                      <a:pt x="1229" y="1583"/>
                    </a:lnTo>
                    <a:lnTo>
                      <a:pt x="1227" y="1583"/>
                    </a:lnTo>
                    <a:close/>
                    <a:moveTo>
                      <a:pt x="1219" y="1524"/>
                    </a:moveTo>
                    <a:lnTo>
                      <a:pt x="1220" y="1524"/>
                    </a:lnTo>
                    <a:lnTo>
                      <a:pt x="1220" y="1526"/>
                    </a:lnTo>
                    <a:lnTo>
                      <a:pt x="1219" y="1526"/>
                    </a:lnTo>
                    <a:lnTo>
                      <a:pt x="1219" y="1524"/>
                    </a:lnTo>
                    <a:close/>
                    <a:moveTo>
                      <a:pt x="1188" y="1447"/>
                    </a:moveTo>
                    <a:lnTo>
                      <a:pt x="1190" y="1447"/>
                    </a:lnTo>
                    <a:lnTo>
                      <a:pt x="1190" y="1449"/>
                    </a:lnTo>
                    <a:lnTo>
                      <a:pt x="1188" y="1449"/>
                    </a:lnTo>
                    <a:lnTo>
                      <a:pt x="1188" y="1447"/>
                    </a:lnTo>
                    <a:close/>
                    <a:moveTo>
                      <a:pt x="1154" y="1185"/>
                    </a:moveTo>
                    <a:lnTo>
                      <a:pt x="1156" y="1185"/>
                    </a:lnTo>
                    <a:lnTo>
                      <a:pt x="1156" y="1187"/>
                    </a:lnTo>
                    <a:lnTo>
                      <a:pt x="1154" y="1187"/>
                    </a:lnTo>
                    <a:lnTo>
                      <a:pt x="1154" y="1185"/>
                    </a:lnTo>
                    <a:close/>
                    <a:moveTo>
                      <a:pt x="1149" y="1332"/>
                    </a:moveTo>
                    <a:lnTo>
                      <a:pt x="1151" y="1332"/>
                    </a:lnTo>
                    <a:lnTo>
                      <a:pt x="1149" y="1332"/>
                    </a:lnTo>
                    <a:close/>
                    <a:moveTo>
                      <a:pt x="1385" y="1662"/>
                    </a:moveTo>
                    <a:lnTo>
                      <a:pt x="1385" y="1663"/>
                    </a:lnTo>
                    <a:lnTo>
                      <a:pt x="1385" y="1662"/>
                    </a:lnTo>
                    <a:close/>
                    <a:moveTo>
                      <a:pt x="1186" y="1485"/>
                    </a:moveTo>
                    <a:lnTo>
                      <a:pt x="1188" y="1485"/>
                    </a:lnTo>
                    <a:lnTo>
                      <a:pt x="1186" y="1485"/>
                    </a:lnTo>
                    <a:close/>
                    <a:moveTo>
                      <a:pt x="1181" y="1459"/>
                    </a:moveTo>
                    <a:lnTo>
                      <a:pt x="1181" y="1461"/>
                    </a:lnTo>
                    <a:lnTo>
                      <a:pt x="1181" y="1459"/>
                    </a:lnTo>
                    <a:close/>
                    <a:moveTo>
                      <a:pt x="1361" y="1670"/>
                    </a:moveTo>
                    <a:lnTo>
                      <a:pt x="1363" y="1670"/>
                    </a:lnTo>
                    <a:lnTo>
                      <a:pt x="1361" y="1670"/>
                    </a:lnTo>
                    <a:close/>
                    <a:moveTo>
                      <a:pt x="1210" y="1090"/>
                    </a:moveTo>
                    <a:lnTo>
                      <a:pt x="1212" y="1090"/>
                    </a:lnTo>
                    <a:lnTo>
                      <a:pt x="1212" y="1092"/>
                    </a:lnTo>
                    <a:lnTo>
                      <a:pt x="1210" y="1092"/>
                    </a:lnTo>
                    <a:lnTo>
                      <a:pt x="1210" y="1090"/>
                    </a:lnTo>
                    <a:close/>
                    <a:moveTo>
                      <a:pt x="1183" y="1071"/>
                    </a:moveTo>
                    <a:lnTo>
                      <a:pt x="1183" y="1073"/>
                    </a:lnTo>
                    <a:lnTo>
                      <a:pt x="1183" y="1071"/>
                    </a:lnTo>
                    <a:close/>
                    <a:moveTo>
                      <a:pt x="1205" y="1105"/>
                    </a:moveTo>
                    <a:lnTo>
                      <a:pt x="1207" y="1105"/>
                    </a:lnTo>
                    <a:lnTo>
                      <a:pt x="1205" y="1105"/>
                    </a:lnTo>
                    <a:close/>
                    <a:moveTo>
                      <a:pt x="1258" y="1602"/>
                    </a:moveTo>
                    <a:lnTo>
                      <a:pt x="1259" y="1602"/>
                    </a:lnTo>
                    <a:lnTo>
                      <a:pt x="1258" y="1602"/>
                    </a:lnTo>
                    <a:close/>
                    <a:moveTo>
                      <a:pt x="1220" y="1505"/>
                    </a:moveTo>
                    <a:lnTo>
                      <a:pt x="1222" y="1505"/>
                    </a:lnTo>
                    <a:lnTo>
                      <a:pt x="1222" y="1507"/>
                    </a:lnTo>
                    <a:lnTo>
                      <a:pt x="1220" y="1507"/>
                    </a:lnTo>
                    <a:lnTo>
                      <a:pt x="1220" y="1505"/>
                    </a:lnTo>
                    <a:close/>
                    <a:moveTo>
                      <a:pt x="1186" y="1444"/>
                    </a:moveTo>
                    <a:lnTo>
                      <a:pt x="1188" y="1444"/>
                    </a:lnTo>
                    <a:lnTo>
                      <a:pt x="1186" y="1444"/>
                    </a:lnTo>
                    <a:close/>
                    <a:moveTo>
                      <a:pt x="1404" y="1648"/>
                    </a:moveTo>
                    <a:lnTo>
                      <a:pt x="1406" y="1648"/>
                    </a:lnTo>
                    <a:lnTo>
                      <a:pt x="1404" y="1648"/>
                    </a:lnTo>
                    <a:close/>
                    <a:moveTo>
                      <a:pt x="1378" y="1665"/>
                    </a:moveTo>
                    <a:lnTo>
                      <a:pt x="1380" y="1665"/>
                    </a:lnTo>
                    <a:lnTo>
                      <a:pt x="1378" y="1665"/>
                    </a:lnTo>
                    <a:close/>
                    <a:moveTo>
                      <a:pt x="1343" y="1663"/>
                    </a:moveTo>
                    <a:lnTo>
                      <a:pt x="1344" y="1663"/>
                    </a:lnTo>
                    <a:lnTo>
                      <a:pt x="1344" y="1665"/>
                    </a:lnTo>
                    <a:lnTo>
                      <a:pt x="1343" y="1665"/>
                    </a:lnTo>
                    <a:lnTo>
                      <a:pt x="1343" y="1663"/>
                    </a:lnTo>
                    <a:close/>
                    <a:moveTo>
                      <a:pt x="1414" y="1679"/>
                    </a:moveTo>
                    <a:lnTo>
                      <a:pt x="1416" y="1679"/>
                    </a:lnTo>
                    <a:lnTo>
                      <a:pt x="1416" y="1680"/>
                    </a:lnTo>
                    <a:lnTo>
                      <a:pt x="1414" y="1680"/>
                    </a:lnTo>
                    <a:lnTo>
                      <a:pt x="1414" y="1679"/>
                    </a:lnTo>
                    <a:close/>
                    <a:moveTo>
                      <a:pt x="1220" y="1075"/>
                    </a:moveTo>
                    <a:lnTo>
                      <a:pt x="1220" y="1077"/>
                    </a:lnTo>
                    <a:lnTo>
                      <a:pt x="1220" y="1075"/>
                    </a:lnTo>
                    <a:close/>
                    <a:moveTo>
                      <a:pt x="1222" y="1561"/>
                    </a:moveTo>
                    <a:lnTo>
                      <a:pt x="1224" y="1561"/>
                    </a:lnTo>
                    <a:lnTo>
                      <a:pt x="1222" y="1561"/>
                    </a:lnTo>
                    <a:close/>
                    <a:moveTo>
                      <a:pt x="1176" y="1141"/>
                    </a:moveTo>
                    <a:lnTo>
                      <a:pt x="1178" y="1141"/>
                    </a:lnTo>
                    <a:lnTo>
                      <a:pt x="1178" y="1143"/>
                    </a:lnTo>
                    <a:lnTo>
                      <a:pt x="1176" y="1143"/>
                    </a:lnTo>
                    <a:lnTo>
                      <a:pt x="1176" y="1141"/>
                    </a:lnTo>
                    <a:close/>
                    <a:moveTo>
                      <a:pt x="1356" y="1653"/>
                    </a:moveTo>
                    <a:lnTo>
                      <a:pt x="1358" y="1653"/>
                    </a:lnTo>
                    <a:lnTo>
                      <a:pt x="1358" y="1655"/>
                    </a:lnTo>
                    <a:lnTo>
                      <a:pt x="1356" y="1655"/>
                    </a:lnTo>
                    <a:lnTo>
                      <a:pt x="1356" y="1653"/>
                    </a:lnTo>
                    <a:close/>
                    <a:moveTo>
                      <a:pt x="1213" y="1012"/>
                    </a:moveTo>
                    <a:lnTo>
                      <a:pt x="1215" y="1012"/>
                    </a:lnTo>
                    <a:lnTo>
                      <a:pt x="1215" y="1014"/>
                    </a:lnTo>
                    <a:lnTo>
                      <a:pt x="1213" y="1014"/>
                    </a:lnTo>
                    <a:lnTo>
                      <a:pt x="1213" y="1012"/>
                    </a:lnTo>
                    <a:close/>
                    <a:moveTo>
                      <a:pt x="1139" y="1311"/>
                    </a:moveTo>
                    <a:lnTo>
                      <a:pt x="1140" y="1311"/>
                    </a:lnTo>
                    <a:lnTo>
                      <a:pt x="1140" y="1313"/>
                    </a:lnTo>
                    <a:lnTo>
                      <a:pt x="1139" y="1313"/>
                    </a:lnTo>
                    <a:lnTo>
                      <a:pt x="1139" y="1311"/>
                    </a:lnTo>
                    <a:close/>
                    <a:moveTo>
                      <a:pt x="1215" y="1517"/>
                    </a:moveTo>
                    <a:lnTo>
                      <a:pt x="1217" y="1517"/>
                    </a:lnTo>
                    <a:lnTo>
                      <a:pt x="1215" y="1517"/>
                    </a:lnTo>
                    <a:close/>
                    <a:moveTo>
                      <a:pt x="1178" y="1444"/>
                    </a:moveTo>
                    <a:lnTo>
                      <a:pt x="1179" y="1444"/>
                    </a:lnTo>
                    <a:lnTo>
                      <a:pt x="1178" y="1444"/>
                    </a:lnTo>
                    <a:close/>
                    <a:moveTo>
                      <a:pt x="1188" y="1430"/>
                    </a:moveTo>
                    <a:lnTo>
                      <a:pt x="1190" y="1430"/>
                    </a:lnTo>
                    <a:lnTo>
                      <a:pt x="1188" y="1430"/>
                    </a:lnTo>
                    <a:close/>
                    <a:moveTo>
                      <a:pt x="1203" y="1082"/>
                    </a:moveTo>
                    <a:lnTo>
                      <a:pt x="1205" y="1082"/>
                    </a:lnTo>
                    <a:lnTo>
                      <a:pt x="1203" y="1082"/>
                    </a:lnTo>
                    <a:close/>
                    <a:moveTo>
                      <a:pt x="1225" y="1575"/>
                    </a:moveTo>
                    <a:lnTo>
                      <a:pt x="1227" y="1575"/>
                    </a:lnTo>
                    <a:lnTo>
                      <a:pt x="1225" y="1575"/>
                    </a:lnTo>
                    <a:close/>
                    <a:moveTo>
                      <a:pt x="1258" y="1587"/>
                    </a:moveTo>
                    <a:lnTo>
                      <a:pt x="1258" y="1589"/>
                    </a:lnTo>
                    <a:lnTo>
                      <a:pt x="1258" y="1587"/>
                    </a:lnTo>
                    <a:close/>
                    <a:moveTo>
                      <a:pt x="1183" y="1446"/>
                    </a:moveTo>
                    <a:lnTo>
                      <a:pt x="1185" y="1446"/>
                    </a:lnTo>
                    <a:lnTo>
                      <a:pt x="1185" y="1447"/>
                    </a:lnTo>
                    <a:lnTo>
                      <a:pt x="1183" y="1447"/>
                    </a:lnTo>
                    <a:lnTo>
                      <a:pt x="1183" y="1446"/>
                    </a:lnTo>
                    <a:close/>
                    <a:moveTo>
                      <a:pt x="1142" y="1301"/>
                    </a:moveTo>
                    <a:lnTo>
                      <a:pt x="1144" y="1301"/>
                    </a:lnTo>
                    <a:lnTo>
                      <a:pt x="1142" y="1301"/>
                    </a:lnTo>
                    <a:close/>
                    <a:moveTo>
                      <a:pt x="1185" y="1425"/>
                    </a:moveTo>
                    <a:lnTo>
                      <a:pt x="1186" y="1425"/>
                    </a:lnTo>
                    <a:lnTo>
                      <a:pt x="1185" y="1425"/>
                    </a:lnTo>
                    <a:close/>
                    <a:moveTo>
                      <a:pt x="1283" y="1612"/>
                    </a:moveTo>
                    <a:lnTo>
                      <a:pt x="1283" y="1614"/>
                    </a:lnTo>
                    <a:lnTo>
                      <a:pt x="1283" y="1612"/>
                    </a:lnTo>
                    <a:close/>
                    <a:moveTo>
                      <a:pt x="1191" y="1126"/>
                    </a:moveTo>
                    <a:lnTo>
                      <a:pt x="1191" y="1128"/>
                    </a:lnTo>
                    <a:lnTo>
                      <a:pt x="1191" y="1126"/>
                    </a:lnTo>
                    <a:close/>
                    <a:moveTo>
                      <a:pt x="1261" y="1590"/>
                    </a:moveTo>
                    <a:lnTo>
                      <a:pt x="1261" y="1592"/>
                    </a:lnTo>
                    <a:lnTo>
                      <a:pt x="1261" y="1590"/>
                    </a:lnTo>
                    <a:close/>
                    <a:moveTo>
                      <a:pt x="1190" y="1071"/>
                    </a:moveTo>
                    <a:lnTo>
                      <a:pt x="1190" y="1073"/>
                    </a:lnTo>
                    <a:lnTo>
                      <a:pt x="1190" y="1071"/>
                    </a:lnTo>
                    <a:close/>
                    <a:moveTo>
                      <a:pt x="1193" y="1140"/>
                    </a:moveTo>
                    <a:lnTo>
                      <a:pt x="1195" y="1140"/>
                    </a:lnTo>
                    <a:lnTo>
                      <a:pt x="1195" y="1141"/>
                    </a:lnTo>
                    <a:lnTo>
                      <a:pt x="1193" y="1141"/>
                    </a:lnTo>
                    <a:lnTo>
                      <a:pt x="1193" y="1140"/>
                    </a:lnTo>
                    <a:close/>
                    <a:moveTo>
                      <a:pt x="1360" y="1665"/>
                    </a:moveTo>
                    <a:lnTo>
                      <a:pt x="1361" y="1665"/>
                    </a:lnTo>
                    <a:lnTo>
                      <a:pt x="1360" y="1665"/>
                    </a:lnTo>
                    <a:close/>
                    <a:moveTo>
                      <a:pt x="1213" y="1517"/>
                    </a:moveTo>
                    <a:lnTo>
                      <a:pt x="1213" y="1519"/>
                    </a:lnTo>
                    <a:lnTo>
                      <a:pt x="1213" y="1517"/>
                    </a:lnTo>
                    <a:close/>
                    <a:moveTo>
                      <a:pt x="1229" y="1577"/>
                    </a:moveTo>
                    <a:lnTo>
                      <a:pt x="1230" y="1577"/>
                    </a:lnTo>
                    <a:lnTo>
                      <a:pt x="1229" y="1577"/>
                    </a:lnTo>
                    <a:close/>
                    <a:moveTo>
                      <a:pt x="1169" y="1415"/>
                    </a:moveTo>
                    <a:lnTo>
                      <a:pt x="1171" y="1415"/>
                    </a:lnTo>
                    <a:lnTo>
                      <a:pt x="1169" y="1415"/>
                    </a:lnTo>
                    <a:close/>
                    <a:moveTo>
                      <a:pt x="1219" y="1565"/>
                    </a:moveTo>
                    <a:lnTo>
                      <a:pt x="1220" y="1565"/>
                    </a:lnTo>
                    <a:lnTo>
                      <a:pt x="1219" y="1565"/>
                    </a:lnTo>
                    <a:close/>
                    <a:moveTo>
                      <a:pt x="1142" y="1299"/>
                    </a:moveTo>
                    <a:lnTo>
                      <a:pt x="1144" y="1299"/>
                    </a:lnTo>
                    <a:lnTo>
                      <a:pt x="1142" y="1299"/>
                    </a:lnTo>
                    <a:close/>
                    <a:moveTo>
                      <a:pt x="1273" y="1609"/>
                    </a:moveTo>
                    <a:lnTo>
                      <a:pt x="1275" y="1609"/>
                    </a:lnTo>
                    <a:lnTo>
                      <a:pt x="1275" y="1611"/>
                    </a:lnTo>
                    <a:lnTo>
                      <a:pt x="1273" y="1611"/>
                    </a:lnTo>
                    <a:lnTo>
                      <a:pt x="1273" y="1609"/>
                    </a:lnTo>
                    <a:close/>
                    <a:moveTo>
                      <a:pt x="1217" y="1565"/>
                    </a:moveTo>
                    <a:lnTo>
                      <a:pt x="1219" y="1565"/>
                    </a:lnTo>
                    <a:lnTo>
                      <a:pt x="1217" y="1565"/>
                    </a:lnTo>
                    <a:close/>
                    <a:moveTo>
                      <a:pt x="1183" y="1439"/>
                    </a:moveTo>
                    <a:lnTo>
                      <a:pt x="1185" y="1439"/>
                    </a:lnTo>
                    <a:lnTo>
                      <a:pt x="1185" y="1441"/>
                    </a:lnTo>
                    <a:lnTo>
                      <a:pt x="1183" y="1441"/>
                    </a:lnTo>
                    <a:lnTo>
                      <a:pt x="1183" y="1439"/>
                    </a:lnTo>
                    <a:close/>
                    <a:moveTo>
                      <a:pt x="1361" y="1599"/>
                    </a:moveTo>
                    <a:lnTo>
                      <a:pt x="1363" y="1599"/>
                    </a:lnTo>
                    <a:lnTo>
                      <a:pt x="1363" y="1600"/>
                    </a:lnTo>
                    <a:lnTo>
                      <a:pt x="1361" y="1600"/>
                    </a:lnTo>
                    <a:lnTo>
                      <a:pt x="1361" y="1599"/>
                    </a:lnTo>
                    <a:close/>
                    <a:moveTo>
                      <a:pt x="1219" y="1136"/>
                    </a:moveTo>
                    <a:lnTo>
                      <a:pt x="1220" y="1136"/>
                    </a:lnTo>
                    <a:lnTo>
                      <a:pt x="1219" y="1136"/>
                    </a:lnTo>
                    <a:close/>
                    <a:moveTo>
                      <a:pt x="1232" y="1507"/>
                    </a:moveTo>
                    <a:lnTo>
                      <a:pt x="1234" y="1507"/>
                    </a:lnTo>
                    <a:lnTo>
                      <a:pt x="1232" y="1507"/>
                    </a:lnTo>
                    <a:close/>
                    <a:moveTo>
                      <a:pt x="1358" y="1655"/>
                    </a:moveTo>
                    <a:lnTo>
                      <a:pt x="1360" y="1655"/>
                    </a:lnTo>
                    <a:lnTo>
                      <a:pt x="1360" y="1657"/>
                    </a:lnTo>
                    <a:lnTo>
                      <a:pt x="1358" y="1657"/>
                    </a:lnTo>
                    <a:lnTo>
                      <a:pt x="1358" y="1655"/>
                    </a:lnTo>
                    <a:close/>
                    <a:moveTo>
                      <a:pt x="1151" y="1330"/>
                    </a:moveTo>
                    <a:lnTo>
                      <a:pt x="1152" y="1330"/>
                    </a:lnTo>
                    <a:lnTo>
                      <a:pt x="1152" y="1332"/>
                    </a:lnTo>
                    <a:lnTo>
                      <a:pt x="1151" y="1332"/>
                    </a:lnTo>
                    <a:lnTo>
                      <a:pt x="1151" y="1330"/>
                    </a:lnTo>
                    <a:close/>
                    <a:moveTo>
                      <a:pt x="1200" y="1527"/>
                    </a:moveTo>
                    <a:lnTo>
                      <a:pt x="1202" y="1527"/>
                    </a:lnTo>
                    <a:lnTo>
                      <a:pt x="1202" y="1529"/>
                    </a:lnTo>
                    <a:lnTo>
                      <a:pt x="1200" y="1529"/>
                    </a:lnTo>
                    <a:lnTo>
                      <a:pt x="1200" y="1527"/>
                    </a:lnTo>
                    <a:close/>
                    <a:moveTo>
                      <a:pt x="1215" y="1555"/>
                    </a:moveTo>
                    <a:lnTo>
                      <a:pt x="1217" y="1555"/>
                    </a:lnTo>
                    <a:lnTo>
                      <a:pt x="1215" y="1555"/>
                    </a:lnTo>
                    <a:close/>
                    <a:moveTo>
                      <a:pt x="1295" y="1612"/>
                    </a:moveTo>
                    <a:lnTo>
                      <a:pt x="1295" y="1614"/>
                    </a:lnTo>
                    <a:lnTo>
                      <a:pt x="1295" y="1612"/>
                    </a:lnTo>
                    <a:close/>
                    <a:moveTo>
                      <a:pt x="1222" y="1068"/>
                    </a:moveTo>
                    <a:lnTo>
                      <a:pt x="1224" y="1068"/>
                    </a:lnTo>
                    <a:lnTo>
                      <a:pt x="1224" y="1070"/>
                    </a:lnTo>
                    <a:lnTo>
                      <a:pt x="1222" y="1070"/>
                    </a:lnTo>
                    <a:lnTo>
                      <a:pt x="1222" y="1068"/>
                    </a:lnTo>
                    <a:close/>
                    <a:moveTo>
                      <a:pt x="1344" y="1660"/>
                    </a:moveTo>
                    <a:lnTo>
                      <a:pt x="1346" y="1660"/>
                    </a:lnTo>
                    <a:lnTo>
                      <a:pt x="1346" y="1662"/>
                    </a:lnTo>
                    <a:lnTo>
                      <a:pt x="1344" y="1662"/>
                    </a:lnTo>
                    <a:lnTo>
                      <a:pt x="1344" y="1660"/>
                    </a:lnTo>
                    <a:close/>
                    <a:moveTo>
                      <a:pt x="1207" y="1498"/>
                    </a:moveTo>
                    <a:lnTo>
                      <a:pt x="1208" y="1498"/>
                    </a:lnTo>
                    <a:lnTo>
                      <a:pt x="1208" y="1500"/>
                    </a:lnTo>
                    <a:lnTo>
                      <a:pt x="1207" y="1500"/>
                    </a:lnTo>
                    <a:lnTo>
                      <a:pt x="1207" y="1498"/>
                    </a:lnTo>
                    <a:close/>
                    <a:moveTo>
                      <a:pt x="1171" y="1230"/>
                    </a:moveTo>
                    <a:lnTo>
                      <a:pt x="1173" y="1230"/>
                    </a:lnTo>
                    <a:lnTo>
                      <a:pt x="1173" y="1231"/>
                    </a:lnTo>
                    <a:lnTo>
                      <a:pt x="1171" y="1231"/>
                    </a:lnTo>
                    <a:lnTo>
                      <a:pt x="1171" y="1230"/>
                    </a:lnTo>
                    <a:close/>
                    <a:moveTo>
                      <a:pt x="1151" y="1310"/>
                    </a:moveTo>
                    <a:lnTo>
                      <a:pt x="1152" y="1310"/>
                    </a:lnTo>
                    <a:lnTo>
                      <a:pt x="1151" y="1310"/>
                    </a:lnTo>
                    <a:close/>
                    <a:moveTo>
                      <a:pt x="1246" y="1504"/>
                    </a:moveTo>
                    <a:lnTo>
                      <a:pt x="1246" y="1505"/>
                    </a:lnTo>
                    <a:lnTo>
                      <a:pt x="1246" y="1504"/>
                    </a:lnTo>
                    <a:close/>
                    <a:moveTo>
                      <a:pt x="1254" y="1575"/>
                    </a:moveTo>
                    <a:lnTo>
                      <a:pt x="1256" y="1575"/>
                    </a:lnTo>
                    <a:lnTo>
                      <a:pt x="1254" y="1575"/>
                    </a:lnTo>
                    <a:close/>
                    <a:moveTo>
                      <a:pt x="1198" y="1092"/>
                    </a:moveTo>
                    <a:lnTo>
                      <a:pt x="1200" y="1092"/>
                    </a:lnTo>
                    <a:lnTo>
                      <a:pt x="1198" y="1092"/>
                    </a:lnTo>
                    <a:close/>
                    <a:moveTo>
                      <a:pt x="1191" y="1379"/>
                    </a:moveTo>
                    <a:lnTo>
                      <a:pt x="1193" y="1379"/>
                    </a:lnTo>
                    <a:lnTo>
                      <a:pt x="1191" y="1379"/>
                    </a:lnTo>
                    <a:close/>
                    <a:moveTo>
                      <a:pt x="1154" y="1288"/>
                    </a:moveTo>
                    <a:lnTo>
                      <a:pt x="1154" y="1289"/>
                    </a:lnTo>
                    <a:lnTo>
                      <a:pt x="1154" y="1288"/>
                    </a:lnTo>
                    <a:close/>
                    <a:moveTo>
                      <a:pt x="1173" y="1395"/>
                    </a:moveTo>
                    <a:lnTo>
                      <a:pt x="1174" y="1395"/>
                    </a:lnTo>
                    <a:lnTo>
                      <a:pt x="1173" y="1395"/>
                    </a:lnTo>
                    <a:close/>
                    <a:moveTo>
                      <a:pt x="1219" y="1568"/>
                    </a:moveTo>
                    <a:lnTo>
                      <a:pt x="1219" y="1570"/>
                    </a:lnTo>
                    <a:lnTo>
                      <a:pt x="1219" y="1568"/>
                    </a:lnTo>
                    <a:close/>
                    <a:moveTo>
                      <a:pt x="1200" y="1094"/>
                    </a:moveTo>
                    <a:lnTo>
                      <a:pt x="1202" y="1094"/>
                    </a:lnTo>
                    <a:lnTo>
                      <a:pt x="1200" y="1094"/>
                    </a:lnTo>
                    <a:close/>
                    <a:moveTo>
                      <a:pt x="1205" y="1060"/>
                    </a:moveTo>
                    <a:lnTo>
                      <a:pt x="1207" y="1060"/>
                    </a:lnTo>
                    <a:lnTo>
                      <a:pt x="1207" y="1061"/>
                    </a:lnTo>
                    <a:lnTo>
                      <a:pt x="1205" y="1061"/>
                    </a:lnTo>
                    <a:lnTo>
                      <a:pt x="1205" y="1060"/>
                    </a:lnTo>
                    <a:close/>
                    <a:moveTo>
                      <a:pt x="1215" y="1502"/>
                    </a:moveTo>
                    <a:lnTo>
                      <a:pt x="1217" y="1502"/>
                    </a:lnTo>
                    <a:lnTo>
                      <a:pt x="1217" y="1504"/>
                    </a:lnTo>
                    <a:lnTo>
                      <a:pt x="1215" y="1504"/>
                    </a:lnTo>
                    <a:lnTo>
                      <a:pt x="1215" y="1502"/>
                    </a:lnTo>
                    <a:close/>
                    <a:moveTo>
                      <a:pt x="1254" y="1492"/>
                    </a:moveTo>
                    <a:lnTo>
                      <a:pt x="1254" y="1493"/>
                    </a:lnTo>
                    <a:lnTo>
                      <a:pt x="1254" y="1492"/>
                    </a:lnTo>
                    <a:close/>
                    <a:moveTo>
                      <a:pt x="1174" y="1473"/>
                    </a:moveTo>
                    <a:lnTo>
                      <a:pt x="1174" y="1475"/>
                    </a:lnTo>
                    <a:lnTo>
                      <a:pt x="1174" y="1473"/>
                    </a:lnTo>
                    <a:close/>
                    <a:moveTo>
                      <a:pt x="1298" y="1641"/>
                    </a:moveTo>
                    <a:lnTo>
                      <a:pt x="1300" y="1641"/>
                    </a:lnTo>
                    <a:lnTo>
                      <a:pt x="1298" y="1641"/>
                    </a:lnTo>
                    <a:close/>
                    <a:moveTo>
                      <a:pt x="1207" y="1527"/>
                    </a:moveTo>
                    <a:lnTo>
                      <a:pt x="1207" y="1529"/>
                    </a:lnTo>
                    <a:lnTo>
                      <a:pt x="1207" y="1527"/>
                    </a:lnTo>
                    <a:close/>
                    <a:moveTo>
                      <a:pt x="1421" y="1669"/>
                    </a:moveTo>
                    <a:lnTo>
                      <a:pt x="1423" y="1669"/>
                    </a:lnTo>
                    <a:lnTo>
                      <a:pt x="1421" y="1669"/>
                    </a:lnTo>
                    <a:close/>
                    <a:moveTo>
                      <a:pt x="1263" y="1600"/>
                    </a:moveTo>
                    <a:lnTo>
                      <a:pt x="1264" y="1600"/>
                    </a:lnTo>
                    <a:lnTo>
                      <a:pt x="1264" y="1602"/>
                    </a:lnTo>
                    <a:lnTo>
                      <a:pt x="1263" y="1602"/>
                    </a:lnTo>
                    <a:lnTo>
                      <a:pt x="1263" y="1600"/>
                    </a:lnTo>
                    <a:close/>
                    <a:moveTo>
                      <a:pt x="1222" y="1068"/>
                    </a:moveTo>
                    <a:lnTo>
                      <a:pt x="1224" y="1068"/>
                    </a:lnTo>
                    <a:lnTo>
                      <a:pt x="1224" y="1070"/>
                    </a:lnTo>
                    <a:lnTo>
                      <a:pt x="1222" y="1070"/>
                    </a:lnTo>
                    <a:lnTo>
                      <a:pt x="1222" y="1068"/>
                    </a:lnTo>
                    <a:close/>
                    <a:moveTo>
                      <a:pt x="1181" y="1298"/>
                    </a:moveTo>
                    <a:lnTo>
                      <a:pt x="1183" y="1298"/>
                    </a:lnTo>
                    <a:lnTo>
                      <a:pt x="1181" y="1298"/>
                    </a:lnTo>
                    <a:close/>
                    <a:moveTo>
                      <a:pt x="1195" y="1454"/>
                    </a:moveTo>
                    <a:lnTo>
                      <a:pt x="1196" y="1454"/>
                    </a:lnTo>
                    <a:lnTo>
                      <a:pt x="1195" y="1454"/>
                    </a:lnTo>
                    <a:close/>
                    <a:moveTo>
                      <a:pt x="1181" y="1211"/>
                    </a:moveTo>
                    <a:lnTo>
                      <a:pt x="1183" y="1211"/>
                    </a:lnTo>
                    <a:lnTo>
                      <a:pt x="1181" y="1211"/>
                    </a:lnTo>
                    <a:close/>
                    <a:moveTo>
                      <a:pt x="1147" y="1289"/>
                    </a:moveTo>
                    <a:lnTo>
                      <a:pt x="1149" y="1289"/>
                    </a:lnTo>
                    <a:lnTo>
                      <a:pt x="1147" y="1289"/>
                    </a:lnTo>
                    <a:close/>
                    <a:moveTo>
                      <a:pt x="1183" y="1316"/>
                    </a:moveTo>
                    <a:lnTo>
                      <a:pt x="1183" y="1318"/>
                    </a:lnTo>
                    <a:lnTo>
                      <a:pt x="1183" y="1316"/>
                    </a:lnTo>
                    <a:close/>
                    <a:moveTo>
                      <a:pt x="1232" y="1544"/>
                    </a:moveTo>
                    <a:lnTo>
                      <a:pt x="1234" y="1544"/>
                    </a:lnTo>
                    <a:lnTo>
                      <a:pt x="1234" y="1546"/>
                    </a:lnTo>
                    <a:lnTo>
                      <a:pt x="1232" y="1546"/>
                    </a:lnTo>
                    <a:lnTo>
                      <a:pt x="1232" y="1544"/>
                    </a:lnTo>
                    <a:close/>
                    <a:moveTo>
                      <a:pt x="1185" y="1463"/>
                    </a:moveTo>
                    <a:lnTo>
                      <a:pt x="1186" y="1463"/>
                    </a:lnTo>
                    <a:lnTo>
                      <a:pt x="1186" y="1464"/>
                    </a:lnTo>
                    <a:lnTo>
                      <a:pt x="1185" y="1464"/>
                    </a:lnTo>
                    <a:lnTo>
                      <a:pt x="1185" y="1463"/>
                    </a:lnTo>
                    <a:close/>
                    <a:moveTo>
                      <a:pt x="1178" y="1434"/>
                    </a:moveTo>
                    <a:lnTo>
                      <a:pt x="1179" y="1434"/>
                    </a:lnTo>
                    <a:lnTo>
                      <a:pt x="1178" y="1434"/>
                    </a:lnTo>
                    <a:close/>
                    <a:moveTo>
                      <a:pt x="1162" y="1245"/>
                    </a:moveTo>
                    <a:lnTo>
                      <a:pt x="1162" y="1247"/>
                    </a:lnTo>
                    <a:lnTo>
                      <a:pt x="1162" y="1245"/>
                    </a:lnTo>
                    <a:close/>
                    <a:moveTo>
                      <a:pt x="1229" y="1039"/>
                    </a:moveTo>
                    <a:lnTo>
                      <a:pt x="1229" y="1041"/>
                    </a:lnTo>
                    <a:lnTo>
                      <a:pt x="1229" y="1039"/>
                    </a:lnTo>
                    <a:close/>
                    <a:moveTo>
                      <a:pt x="1183" y="1289"/>
                    </a:moveTo>
                    <a:lnTo>
                      <a:pt x="1185" y="1289"/>
                    </a:lnTo>
                    <a:lnTo>
                      <a:pt x="1183" y="1289"/>
                    </a:lnTo>
                    <a:close/>
                    <a:moveTo>
                      <a:pt x="1402" y="1645"/>
                    </a:moveTo>
                    <a:lnTo>
                      <a:pt x="1402" y="1646"/>
                    </a:lnTo>
                    <a:lnTo>
                      <a:pt x="1402" y="1645"/>
                    </a:lnTo>
                    <a:close/>
                    <a:moveTo>
                      <a:pt x="1213" y="1556"/>
                    </a:moveTo>
                    <a:lnTo>
                      <a:pt x="1215" y="1556"/>
                    </a:lnTo>
                    <a:lnTo>
                      <a:pt x="1213" y="1556"/>
                    </a:lnTo>
                    <a:close/>
                    <a:moveTo>
                      <a:pt x="1191" y="1412"/>
                    </a:moveTo>
                    <a:lnTo>
                      <a:pt x="1191" y="1413"/>
                    </a:lnTo>
                    <a:lnTo>
                      <a:pt x="1191" y="1412"/>
                    </a:lnTo>
                    <a:close/>
                    <a:moveTo>
                      <a:pt x="1179" y="1430"/>
                    </a:moveTo>
                    <a:lnTo>
                      <a:pt x="1181" y="1430"/>
                    </a:lnTo>
                    <a:lnTo>
                      <a:pt x="1179" y="1430"/>
                    </a:lnTo>
                    <a:close/>
                    <a:moveTo>
                      <a:pt x="1183" y="1463"/>
                    </a:moveTo>
                    <a:lnTo>
                      <a:pt x="1185" y="1463"/>
                    </a:lnTo>
                    <a:lnTo>
                      <a:pt x="1183" y="1463"/>
                    </a:lnTo>
                    <a:close/>
                    <a:moveTo>
                      <a:pt x="1152" y="1187"/>
                    </a:moveTo>
                    <a:lnTo>
                      <a:pt x="1154" y="1187"/>
                    </a:lnTo>
                    <a:lnTo>
                      <a:pt x="1152" y="1187"/>
                    </a:lnTo>
                    <a:close/>
                    <a:moveTo>
                      <a:pt x="1358" y="1657"/>
                    </a:moveTo>
                    <a:lnTo>
                      <a:pt x="1360" y="1657"/>
                    </a:lnTo>
                    <a:lnTo>
                      <a:pt x="1358" y="1657"/>
                    </a:lnTo>
                    <a:close/>
                    <a:moveTo>
                      <a:pt x="1178" y="1425"/>
                    </a:moveTo>
                    <a:lnTo>
                      <a:pt x="1179" y="1425"/>
                    </a:lnTo>
                    <a:lnTo>
                      <a:pt x="1179" y="1427"/>
                    </a:lnTo>
                    <a:lnTo>
                      <a:pt x="1178" y="1427"/>
                    </a:lnTo>
                    <a:lnTo>
                      <a:pt x="1178" y="1425"/>
                    </a:lnTo>
                    <a:close/>
                    <a:moveTo>
                      <a:pt x="1154" y="1313"/>
                    </a:moveTo>
                    <a:lnTo>
                      <a:pt x="1156" y="1313"/>
                    </a:lnTo>
                    <a:lnTo>
                      <a:pt x="1154" y="1313"/>
                    </a:lnTo>
                    <a:close/>
                    <a:moveTo>
                      <a:pt x="1185" y="1527"/>
                    </a:moveTo>
                    <a:lnTo>
                      <a:pt x="1185" y="1529"/>
                    </a:lnTo>
                    <a:lnTo>
                      <a:pt x="1185" y="1527"/>
                    </a:lnTo>
                    <a:close/>
                    <a:moveTo>
                      <a:pt x="1380" y="1667"/>
                    </a:moveTo>
                    <a:lnTo>
                      <a:pt x="1382" y="1667"/>
                    </a:lnTo>
                    <a:lnTo>
                      <a:pt x="1380" y="1667"/>
                    </a:lnTo>
                    <a:close/>
                    <a:moveTo>
                      <a:pt x="1205" y="1527"/>
                    </a:moveTo>
                    <a:lnTo>
                      <a:pt x="1207" y="1527"/>
                    </a:lnTo>
                    <a:lnTo>
                      <a:pt x="1207" y="1529"/>
                    </a:lnTo>
                    <a:lnTo>
                      <a:pt x="1205" y="1529"/>
                    </a:lnTo>
                    <a:lnTo>
                      <a:pt x="1205" y="1527"/>
                    </a:lnTo>
                    <a:close/>
                    <a:moveTo>
                      <a:pt x="1397" y="1663"/>
                    </a:moveTo>
                    <a:lnTo>
                      <a:pt x="1397" y="1665"/>
                    </a:lnTo>
                    <a:lnTo>
                      <a:pt x="1397" y="1663"/>
                    </a:lnTo>
                    <a:close/>
                    <a:moveTo>
                      <a:pt x="1358" y="1667"/>
                    </a:moveTo>
                    <a:lnTo>
                      <a:pt x="1360" y="1667"/>
                    </a:lnTo>
                    <a:lnTo>
                      <a:pt x="1358" y="1667"/>
                    </a:lnTo>
                    <a:close/>
                    <a:moveTo>
                      <a:pt x="1190" y="1231"/>
                    </a:moveTo>
                    <a:lnTo>
                      <a:pt x="1191" y="1231"/>
                    </a:lnTo>
                    <a:lnTo>
                      <a:pt x="1190" y="1231"/>
                    </a:lnTo>
                    <a:close/>
                    <a:moveTo>
                      <a:pt x="1168" y="1136"/>
                    </a:moveTo>
                    <a:lnTo>
                      <a:pt x="1169" y="1136"/>
                    </a:lnTo>
                    <a:lnTo>
                      <a:pt x="1169" y="1138"/>
                    </a:lnTo>
                    <a:lnTo>
                      <a:pt x="1168" y="1138"/>
                    </a:lnTo>
                    <a:lnTo>
                      <a:pt x="1168" y="1136"/>
                    </a:lnTo>
                    <a:close/>
                    <a:moveTo>
                      <a:pt x="1183" y="1430"/>
                    </a:moveTo>
                    <a:lnTo>
                      <a:pt x="1185" y="1430"/>
                    </a:lnTo>
                    <a:lnTo>
                      <a:pt x="1183" y="1430"/>
                    </a:lnTo>
                    <a:close/>
                    <a:moveTo>
                      <a:pt x="1220" y="1083"/>
                    </a:moveTo>
                    <a:lnTo>
                      <a:pt x="1220" y="1085"/>
                    </a:lnTo>
                    <a:lnTo>
                      <a:pt x="1220" y="1083"/>
                    </a:lnTo>
                    <a:close/>
                    <a:moveTo>
                      <a:pt x="1183" y="1299"/>
                    </a:moveTo>
                    <a:lnTo>
                      <a:pt x="1183" y="1301"/>
                    </a:lnTo>
                    <a:lnTo>
                      <a:pt x="1183" y="1299"/>
                    </a:lnTo>
                    <a:close/>
                    <a:moveTo>
                      <a:pt x="1254" y="1590"/>
                    </a:moveTo>
                    <a:lnTo>
                      <a:pt x="1256" y="1590"/>
                    </a:lnTo>
                    <a:lnTo>
                      <a:pt x="1254" y="1590"/>
                    </a:lnTo>
                    <a:close/>
                    <a:moveTo>
                      <a:pt x="1222" y="1070"/>
                    </a:moveTo>
                    <a:lnTo>
                      <a:pt x="1224" y="1070"/>
                    </a:lnTo>
                    <a:lnTo>
                      <a:pt x="1222" y="1070"/>
                    </a:lnTo>
                    <a:close/>
                    <a:moveTo>
                      <a:pt x="1161" y="1470"/>
                    </a:moveTo>
                    <a:lnTo>
                      <a:pt x="1162" y="1470"/>
                    </a:lnTo>
                    <a:lnTo>
                      <a:pt x="1161" y="1470"/>
                    </a:lnTo>
                    <a:close/>
                    <a:moveTo>
                      <a:pt x="1343" y="1655"/>
                    </a:moveTo>
                    <a:lnTo>
                      <a:pt x="1344" y="1655"/>
                    </a:lnTo>
                    <a:lnTo>
                      <a:pt x="1343" y="1655"/>
                    </a:lnTo>
                    <a:close/>
                    <a:moveTo>
                      <a:pt x="1171" y="1413"/>
                    </a:moveTo>
                    <a:lnTo>
                      <a:pt x="1173" y="1413"/>
                    </a:lnTo>
                    <a:lnTo>
                      <a:pt x="1173" y="1415"/>
                    </a:lnTo>
                    <a:lnTo>
                      <a:pt x="1171" y="1415"/>
                    </a:lnTo>
                    <a:lnTo>
                      <a:pt x="1171" y="1413"/>
                    </a:lnTo>
                    <a:close/>
                    <a:moveTo>
                      <a:pt x="1169" y="1473"/>
                    </a:moveTo>
                    <a:lnTo>
                      <a:pt x="1169" y="1475"/>
                    </a:lnTo>
                    <a:lnTo>
                      <a:pt x="1169" y="1473"/>
                    </a:lnTo>
                    <a:close/>
                    <a:moveTo>
                      <a:pt x="1159" y="1247"/>
                    </a:moveTo>
                    <a:lnTo>
                      <a:pt x="1161" y="1247"/>
                    </a:lnTo>
                    <a:lnTo>
                      <a:pt x="1161" y="1248"/>
                    </a:lnTo>
                    <a:lnTo>
                      <a:pt x="1159" y="1248"/>
                    </a:lnTo>
                    <a:lnTo>
                      <a:pt x="1159" y="1247"/>
                    </a:lnTo>
                    <a:close/>
                    <a:moveTo>
                      <a:pt x="1154" y="1191"/>
                    </a:moveTo>
                    <a:lnTo>
                      <a:pt x="1156" y="1191"/>
                    </a:lnTo>
                    <a:lnTo>
                      <a:pt x="1154" y="1191"/>
                    </a:lnTo>
                    <a:close/>
                    <a:moveTo>
                      <a:pt x="1186" y="1441"/>
                    </a:moveTo>
                    <a:lnTo>
                      <a:pt x="1186" y="1442"/>
                    </a:lnTo>
                    <a:lnTo>
                      <a:pt x="1186" y="1441"/>
                    </a:lnTo>
                    <a:close/>
                    <a:moveTo>
                      <a:pt x="1152" y="1330"/>
                    </a:moveTo>
                    <a:lnTo>
                      <a:pt x="1154" y="1330"/>
                    </a:lnTo>
                    <a:lnTo>
                      <a:pt x="1152" y="1330"/>
                    </a:lnTo>
                    <a:close/>
                    <a:moveTo>
                      <a:pt x="1173" y="1430"/>
                    </a:moveTo>
                    <a:lnTo>
                      <a:pt x="1174" y="1430"/>
                    </a:lnTo>
                    <a:lnTo>
                      <a:pt x="1174" y="1432"/>
                    </a:lnTo>
                    <a:lnTo>
                      <a:pt x="1173" y="1432"/>
                    </a:lnTo>
                    <a:lnTo>
                      <a:pt x="1173" y="1430"/>
                    </a:lnTo>
                    <a:close/>
                    <a:moveTo>
                      <a:pt x="1242" y="1589"/>
                    </a:moveTo>
                    <a:lnTo>
                      <a:pt x="1242" y="1590"/>
                    </a:lnTo>
                    <a:lnTo>
                      <a:pt x="1242" y="1589"/>
                    </a:lnTo>
                    <a:close/>
                    <a:moveTo>
                      <a:pt x="1144" y="1269"/>
                    </a:moveTo>
                    <a:lnTo>
                      <a:pt x="1144" y="1270"/>
                    </a:lnTo>
                    <a:lnTo>
                      <a:pt x="1144" y="1269"/>
                    </a:lnTo>
                    <a:close/>
                    <a:moveTo>
                      <a:pt x="1193" y="1126"/>
                    </a:moveTo>
                    <a:lnTo>
                      <a:pt x="1193" y="1128"/>
                    </a:lnTo>
                    <a:lnTo>
                      <a:pt x="1193" y="1126"/>
                    </a:lnTo>
                    <a:close/>
                    <a:moveTo>
                      <a:pt x="1270" y="1592"/>
                    </a:moveTo>
                    <a:lnTo>
                      <a:pt x="1271" y="1592"/>
                    </a:lnTo>
                    <a:lnTo>
                      <a:pt x="1270" y="1592"/>
                    </a:lnTo>
                    <a:close/>
                    <a:moveTo>
                      <a:pt x="1210" y="1242"/>
                    </a:moveTo>
                    <a:lnTo>
                      <a:pt x="1212" y="1242"/>
                    </a:lnTo>
                    <a:lnTo>
                      <a:pt x="1210" y="1242"/>
                    </a:lnTo>
                    <a:close/>
                    <a:moveTo>
                      <a:pt x="1203" y="1061"/>
                    </a:moveTo>
                    <a:lnTo>
                      <a:pt x="1205" y="1061"/>
                    </a:lnTo>
                    <a:lnTo>
                      <a:pt x="1203" y="1061"/>
                    </a:lnTo>
                    <a:close/>
                    <a:moveTo>
                      <a:pt x="1185" y="1493"/>
                    </a:moveTo>
                    <a:lnTo>
                      <a:pt x="1185" y="1495"/>
                    </a:lnTo>
                    <a:lnTo>
                      <a:pt x="1185" y="1493"/>
                    </a:lnTo>
                    <a:close/>
                    <a:moveTo>
                      <a:pt x="1208" y="1070"/>
                    </a:moveTo>
                    <a:lnTo>
                      <a:pt x="1210" y="1070"/>
                    </a:lnTo>
                    <a:lnTo>
                      <a:pt x="1210" y="1071"/>
                    </a:lnTo>
                    <a:lnTo>
                      <a:pt x="1208" y="1071"/>
                    </a:lnTo>
                    <a:lnTo>
                      <a:pt x="1208" y="1070"/>
                    </a:lnTo>
                    <a:close/>
                    <a:moveTo>
                      <a:pt x="1157" y="1236"/>
                    </a:moveTo>
                    <a:lnTo>
                      <a:pt x="1157" y="1238"/>
                    </a:lnTo>
                    <a:lnTo>
                      <a:pt x="1157" y="1236"/>
                    </a:lnTo>
                    <a:close/>
                    <a:moveTo>
                      <a:pt x="1207" y="1063"/>
                    </a:moveTo>
                    <a:lnTo>
                      <a:pt x="1207" y="1065"/>
                    </a:lnTo>
                    <a:lnTo>
                      <a:pt x="1207" y="1063"/>
                    </a:lnTo>
                    <a:close/>
                    <a:moveTo>
                      <a:pt x="1205" y="1556"/>
                    </a:moveTo>
                    <a:lnTo>
                      <a:pt x="1207" y="1556"/>
                    </a:lnTo>
                    <a:lnTo>
                      <a:pt x="1205" y="1556"/>
                    </a:lnTo>
                    <a:close/>
                    <a:moveTo>
                      <a:pt x="1419" y="1674"/>
                    </a:moveTo>
                    <a:lnTo>
                      <a:pt x="1421" y="1674"/>
                    </a:lnTo>
                    <a:lnTo>
                      <a:pt x="1419" y="1674"/>
                    </a:lnTo>
                    <a:close/>
                    <a:moveTo>
                      <a:pt x="1300" y="1568"/>
                    </a:moveTo>
                    <a:lnTo>
                      <a:pt x="1302" y="1568"/>
                    </a:lnTo>
                    <a:lnTo>
                      <a:pt x="1300" y="1568"/>
                    </a:lnTo>
                    <a:close/>
                    <a:moveTo>
                      <a:pt x="1207" y="1053"/>
                    </a:moveTo>
                    <a:lnTo>
                      <a:pt x="1207" y="1054"/>
                    </a:lnTo>
                    <a:lnTo>
                      <a:pt x="1207" y="1053"/>
                    </a:lnTo>
                    <a:close/>
                    <a:moveTo>
                      <a:pt x="1297" y="1594"/>
                    </a:moveTo>
                    <a:lnTo>
                      <a:pt x="1298" y="1594"/>
                    </a:lnTo>
                    <a:lnTo>
                      <a:pt x="1297" y="1594"/>
                    </a:lnTo>
                    <a:close/>
                    <a:moveTo>
                      <a:pt x="1319" y="1514"/>
                    </a:moveTo>
                    <a:lnTo>
                      <a:pt x="1321" y="1514"/>
                    </a:lnTo>
                    <a:lnTo>
                      <a:pt x="1321" y="1515"/>
                    </a:lnTo>
                    <a:lnTo>
                      <a:pt x="1319" y="1515"/>
                    </a:lnTo>
                    <a:lnTo>
                      <a:pt x="1319" y="1514"/>
                    </a:lnTo>
                    <a:close/>
                    <a:moveTo>
                      <a:pt x="1191" y="1464"/>
                    </a:moveTo>
                    <a:lnTo>
                      <a:pt x="1193" y="1464"/>
                    </a:lnTo>
                    <a:lnTo>
                      <a:pt x="1191" y="1464"/>
                    </a:lnTo>
                    <a:close/>
                    <a:moveTo>
                      <a:pt x="1219" y="1568"/>
                    </a:moveTo>
                    <a:lnTo>
                      <a:pt x="1220" y="1568"/>
                    </a:lnTo>
                    <a:lnTo>
                      <a:pt x="1220" y="1570"/>
                    </a:lnTo>
                    <a:lnTo>
                      <a:pt x="1219" y="1570"/>
                    </a:lnTo>
                    <a:lnTo>
                      <a:pt x="1219" y="1568"/>
                    </a:lnTo>
                    <a:close/>
                    <a:moveTo>
                      <a:pt x="1203" y="1054"/>
                    </a:moveTo>
                    <a:lnTo>
                      <a:pt x="1205" y="1054"/>
                    </a:lnTo>
                    <a:lnTo>
                      <a:pt x="1203" y="1054"/>
                    </a:lnTo>
                    <a:close/>
                    <a:moveTo>
                      <a:pt x="1360" y="1657"/>
                    </a:moveTo>
                    <a:lnTo>
                      <a:pt x="1360" y="1658"/>
                    </a:lnTo>
                    <a:lnTo>
                      <a:pt x="1360" y="1657"/>
                    </a:lnTo>
                    <a:close/>
                    <a:moveTo>
                      <a:pt x="1234" y="1124"/>
                    </a:moveTo>
                    <a:lnTo>
                      <a:pt x="1236" y="1124"/>
                    </a:lnTo>
                    <a:lnTo>
                      <a:pt x="1236" y="1126"/>
                    </a:lnTo>
                    <a:lnTo>
                      <a:pt x="1234" y="1126"/>
                    </a:lnTo>
                    <a:lnTo>
                      <a:pt x="1234" y="1124"/>
                    </a:lnTo>
                    <a:close/>
                    <a:moveTo>
                      <a:pt x="1322" y="1628"/>
                    </a:moveTo>
                    <a:lnTo>
                      <a:pt x="1322" y="1629"/>
                    </a:lnTo>
                    <a:lnTo>
                      <a:pt x="1322" y="1628"/>
                    </a:lnTo>
                    <a:close/>
                    <a:moveTo>
                      <a:pt x="1215" y="1538"/>
                    </a:moveTo>
                    <a:lnTo>
                      <a:pt x="1217" y="1538"/>
                    </a:lnTo>
                    <a:lnTo>
                      <a:pt x="1215" y="1538"/>
                    </a:lnTo>
                    <a:close/>
                    <a:moveTo>
                      <a:pt x="1200" y="1082"/>
                    </a:moveTo>
                    <a:lnTo>
                      <a:pt x="1200" y="1083"/>
                    </a:lnTo>
                    <a:lnTo>
                      <a:pt x="1200" y="1082"/>
                    </a:lnTo>
                    <a:close/>
                    <a:moveTo>
                      <a:pt x="1188" y="1497"/>
                    </a:moveTo>
                    <a:lnTo>
                      <a:pt x="1190" y="1497"/>
                    </a:lnTo>
                    <a:lnTo>
                      <a:pt x="1188" y="1497"/>
                    </a:lnTo>
                    <a:close/>
                    <a:moveTo>
                      <a:pt x="1213" y="1500"/>
                    </a:moveTo>
                    <a:lnTo>
                      <a:pt x="1215" y="1500"/>
                    </a:lnTo>
                    <a:lnTo>
                      <a:pt x="1213" y="1500"/>
                    </a:lnTo>
                    <a:close/>
                    <a:moveTo>
                      <a:pt x="1310" y="1641"/>
                    </a:moveTo>
                    <a:lnTo>
                      <a:pt x="1310" y="1643"/>
                    </a:lnTo>
                    <a:lnTo>
                      <a:pt x="1310" y="1641"/>
                    </a:lnTo>
                    <a:close/>
                    <a:moveTo>
                      <a:pt x="1171" y="1432"/>
                    </a:moveTo>
                    <a:lnTo>
                      <a:pt x="1173" y="1432"/>
                    </a:lnTo>
                    <a:lnTo>
                      <a:pt x="1171" y="1432"/>
                    </a:lnTo>
                    <a:close/>
                    <a:moveTo>
                      <a:pt x="1208" y="1461"/>
                    </a:moveTo>
                    <a:lnTo>
                      <a:pt x="1208" y="1463"/>
                    </a:lnTo>
                    <a:lnTo>
                      <a:pt x="1208" y="1461"/>
                    </a:lnTo>
                    <a:close/>
                    <a:moveTo>
                      <a:pt x="1232" y="1475"/>
                    </a:moveTo>
                    <a:lnTo>
                      <a:pt x="1232" y="1476"/>
                    </a:lnTo>
                    <a:lnTo>
                      <a:pt x="1232" y="1475"/>
                    </a:lnTo>
                    <a:close/>
                    <a:moveTo>
                      <a:pt x="1229" y="1575"/>
                    </a:moveTo>
                    <a:lnTo>
                      <a:pt x="1229" y="1577"/>
                    </a:lnTo>
                    <a:lnTo>
                      <a:pt x="1229" y="1575"/>
                    </a:lnTo>
                    <a:close/>
                    <a:moveTo>
                      <a:pt x="1183" y="1422"/>
                    </a:moveTo>
                    <a:lnTo>
                      <a:pt x="1185" y="1422"/>
                    </a:lnTo>
                    <a:lnTo>
                      <a:pt x="1185" y="1424"/>
                    </a:lnTo>
                    <a:lnTo>
                      <a:pt x="1183" y="1424"/>
                    </a:lnTo>
                    <a:lnTo>
                      <a:pt x="1183" y="1422"/>
                    </a:lnTo>
                    <a:close/>
                    <a:moveTo>
                      <a:pt x="1169" y="1242"/>
                    </a:moveTo>
                    <a:lnTo>
                      <a:pt x="1171" y="1242"/>
                    </a:lnTo>
                    <a:lnTo>
                      <a:pt x="1169" y="1242"/>
                    </a:lnTo>
                    <a:close/>
                    <a:moveTo>
                      <a:pt x="1162" y="1459"/>
                    </a:moveTo>
                    <a:lnTo>
                      <a:pt x="1162" y="1461"/>
                    </a:lnTo>
                    <a:lnTo>
                      <a:pt x="1162" y="1459"/>
                    </a:lnTo>
                    <a:close/>
                    <a:moveTo>
                      <a:pt x="1329" y="1645"/>
                    </a:moveTo>
                    <a:lnTo>
                      <a:pt x="1331" y="1645"/>
                    </a:lnTo>
                    <a:lnTo>
                      <a:pt x="1329" y="1645"/>
                    </a:lnTo>
                    <a:close/>
                    <a:moveTo>
                      <a:pt x="1178" y="1384"/>
                    </a:moveTo>
                    <a:lnTo>
                      <a:pt x="1178" y="1386"/>
                    </a:lnTo>
                    <a:lnTo>
                      <a:pt x="1178" y="1384"/>
                    </a:lnTo>
                    <a:close/>
                    <a:moveTo>
                      <a:pt x="1298" y="1621"/>
                    </a:moveTo>
                    <a:lnTo>
                      <a:pt x="1300" y="1621"/>
                    </a:lnTo>
                    <a:lnTo>
                      <a:pt x="1298" y="1621"/>
                    </a:lnTo>
                    <a:close/>
                    <a:moveTo>
                      <a:pt x="1188" y="1492"/>
                    </a:moveTo>
                    <a:lnTo>
                      <a:pt x="1190" y="1492"/>
                    </a:lnTo>
                    <a:lnTo>
                      <a:pt x="1188" y="1492"/>
                    </a:lnTo>
                    <a:close/>
                    <a:moveTo>
                      <a:pt x="1140" y="1298"/>
                    </a:moveTo>
                    <a:lnTo>
                      <a:pt x="1140" y="1299"/>
                    </a:lnTo>
                    <a:lnTo>
                      <a:pt x="1140" y="1298"/>
                    </a:lnTo>
                    <a:close/>
                    <a:moveTo>
                      <a:pt x="1208" y="1534"/>
                    </a:moveTo>
                    <a:lnTo>
                      <a:pt x="1210" y="1534"/>
                    </a:lnTo>
                    <a:lnTo>
                      <a:pt x="1210" y="1536"/>
                    </a:lnTo>
                    <a:lnTo>
                      <a:pt x="1208" y="1536"/>
                    </a:lnTo>
                    <a:lnTo>
                      <a:pt x="1208" y="1534"/>
                    </a:lnTo>
                    <a:close/>
                    <a:moveTo>
                      <a:pt x="1196" y="1454"/>
                    </a:moveTo>
                    <a:lnTo>
                      <a:pt x="1198" y="1454"/>
                    </a:lnTo>
                    <a:lnTo>
                      <a:pt x="1196" y="1454"/>
                    </a:lnTo>
                    <a:close/>
                    <a:moveTo>
                      <a:pt x="1154" y="1250"/>
                    </a:moveTo>
                    <a:lnTo>
                      <a:pt x="1154" y="1252"/>
                    </a:lnTo>
                    <a:lnTo>
                      <a:pt x="1154" y="1250"/>
                    </a:lnTo>
                    <a:close/>
                    <a:moveTo>
                      <a:pt x="1193" y="1054"/>
                    </a:moveTo>
                    <a:lnTo>
                      <a:pt x="1195" y="1054"/>
                    </a:lnTo>
                    <a:lnTo>
                      <a:pt x="1193" y="1054"/>
                    </a:lnTo>
                    <a:close/>
                    <a:moveTo>
                      <a:pt x="1414" y="1669"/>
                    </a:moveTo>
                    <a:lnTo>
                      <a:pt x="1416" y="1669"/>
                    </a:lnTo>
                    <a:lnTo>
                      <a:pt x="1414" y="1669"/>
                    </a:lnTo>
                    <a:close/>
                    <a:moveTo>
                      <a:pt x="1287" y="1626"/>
                    </a:moveTo>
                    <a:lnTo>
                      <a:pt x="1287" y="1628"/>
                    </a:lnTo>
                    <a:lnTo>
                      <a:pt x="1287" y="1626"/>
                    </a:lnTo>
                    <a:close/>
                    <a:moveTo>
                      <a:pt x="1196" y="1417"/>
                    </a:moveTo>
                    <a:lnTo>
                      <a:pt x="1198" y="1417"/>
                    </a:lnTo>
                    <a:lnTo>
                      <a:pt x="1198" y="1418"/>
                    </a:lnTo>
                    <a:lnTo>
                      <a:pt x="1196" y="1418"/>
                    </a:lnTo>
                    <a:lnTo>
                      <a:pt x="1196" y="1417"/>
                    </a:lnTo>
                    <a:close/>
                    <a:moveTo>
                      <a:pt x="1191" y="1141"/>
                    </a:moveTo>
                    <a:lnTo>
                      <a:pt x="1193" y="1141"/>
                    </a:lnTo>
                    <a:lnTo>
                      <a:pt x="1191" y="1141"/>
                    </a:lnTo>
                    <a:close/>
                    <a:moveTo>
                      <a:pt x="1207" y="1051"/>
                    </a:moveTo>
                    <a:lnTo>
                      <a:pt x="1208" y="1051"/>
                    </a:lnTo>
                    <a:lnTo>
                      <a:pt x="1207" y="1051"/>
                    </a:lnTo>
                    <a:close/>
                    <a:moveTo>
                      <a:pt x="1202" y="952"/>
                    </a:moveTo>
                    <a:lnTo>
                      <a:pt x="1203" y="952"/>
                    </a:lnTo>
                    <a:lnTo>
                      <a:pt x="1202" y="952"/>
                    </a:lnTo>
                    <a:close/>
                    <a:moveTo>
                      <a:pt x="1212" y="1560"/>
                    </a:moveTo>
                    <a:lnTo>
                      <a:pt x="1213" y="1560"/>
                    </a:lnTo>
                    <a:lnTo>
                      <a:pt x="1212" y="1560"/>
                    </a:lnTo>
                    <a:close/>
                    <a:moveTo>
                      <a:pt x="1168" y="1390"/>
                    </a:moveTo>
                    <a:lnTo>
                      <a:pt x="1168" y="1391"/>
                    </a:lnTo>
                    <a:lnTo>
                      <a:pt x="1168" y="1390"/>
                    </a:lnTo>
                    <a:close/>
                    <a:moveTo>
                      <a:pt x="1186" y="1060"/>
                    </a:moveTo>
                    <a:lnTo>
                      <a:pt x="1188" y="1060"/>
                    </a:lnTo>
                    <a:lnTo>
                      <a:pt x="1186" y="1060"/>
                    </a:lnTo>
                    <a:close/>
                    <a:moveTo>
                      <a:pt x="1169" y="1478"/>
                    </a:moveTo>
                    <a:lnTo>
                      <a:pt x="1169" y="1480"/>
                    </a:lnTo>
                    <a:lnTo>
                      <a:pt x="1169" y="1478"/>
                    </a:lnTo>
                    <a:close/>
                    <a:moveTo>
                      <a:pt x="1297" y="1592"/>
                    </a:moveTo>
                    <a:lnTo>
                      <a:pt x="1298" y="1592"/>
                    </a:lnTo>
                    <a:lnTo>
                      <a:pt x="1297" y="1592"/>
                    </a:lnTo>
                    <a:close/>
                    <a:moveTo>
                      <a:pt x="1324" y="1635"/>
                    </a:moveTo>
                    <a:lnTo>
                      <a:pt x="1326" y="1635"/>
                    </a:lnTo>
                    <a:lnTo>
                      <a:pt x="1324" y="1635"/>
                    </a:lnTo>
                    <a:close/>
                    <a:moveTo>
                      <a:pt x="1176" y="1449"/>
                    </a:moveTo>
                    <a:lnTo>
                      <a:pt x="1176" y="1451"/>
                    </a:lnTo>
                    <a:lnTo>
                      <a:pt x="1176" y="1449"/>
                    </a:lnTo>
                    <a:close/>
                    <a:moveTo>
                      <a:pt x="1181" y="1420"/>
                    </a:moveTo>
                    <a:lnTo>
                      <a:pt x="1181" y="1422"/>
                    </a:lnTo>
                    <a:lnTo>
                      <a:pt x="1181" y="1420"/>
                    </a:lnTo>
                    <a:close/>
                    <a:moveTo>
                      <a:pt x="1176" y="1459"/>
                    </a:moveTo>
                    <a:lnTo>
                      <a:pt x="1176" y="1461"/>
                    </a:lnTo>
                    <a:lnTo>
                      <a:pt x="1176" y="1459"/>
                    </a:lnTo>
                    <a:close/>
                    <a:moveTo>
                      <a:pt x="1225" y="1556"/>
                    </a:moveTo>
                    <a:lnTo>
                      <a:pt x="1225" y="1558"/>
                    </a:lnTo>
                    <a:lnTo>
                      <a:pt x="1225" y="1556"/>
                    </a:lnTo>
                    <a:close/>
                    <a:moveTo>
                      <a:pt x="1281" y="1614"/>
                    </a:moveTo>
                    <a:lnTo>
                      <a:pt x="1281" y="1616"/>
                    </a:lnTo>
                    <a:lnTo>
                      <a:pt x="1281" y="1614"/>
                    </a:lnTo>
                    <a:close/>
                    <a:moveTo>
                      <a:pt x="1370" y="1646"/>
                    </a:moveTo>
                    <a:lnTo>
                      <a:pt x="1372" y="1646"/>
                    </a:lnTo>
                    <a:lnTo>
                      <a:pt x="1372" y="1648"/>
                    </a:lnTo>
                    <a:lnTo>
                      <a:pt x="1370" y="1648"/>
                    </a:lnTo>
                    <a:lnTo>
                      <a:pt x="1370" y="1646"/>
                    </a:lnTo>
                    <a:close/>
                    <a:moveTo>
                      <a:pt x="1416" y="1679"/>
                    </a:moveTo>
                    <a:lnTo>
                      <a:pt x="1416" y="1680"/>
                    </a:lnTo>
                    <a:lnTo>
                      <a:pt x="1416" y="1679"/>
                    </a:lnTo>
                    <a:close/>
                    <a:moveTo>
                      <a:pt x="1169" y="1444"/>
                    </a:moveTo>
                    <a:lnTo>
                      <a:pt x="1171" y="1444"/>
                    </a:lnTo>
                    <a:lnTo>
                      <a:pt x="1169" y="1444"/>
                    </a:lnTo>
                    <a:close/>
                    <a:moveTo>
                      <a:pt x="1370" y="1640"/>
                    </a:moveTo>
                    <a:lnTo>
                      <a:pt x="1372" y="1640"/>
                    </a:lnTo>
                    <a:lnTo>
                      <a:pt x="1372" y="1641"/>
                    </a:lnTo>
                    <a:lnTo>
                      <a:pt x="1370" y="1641"/>
                    </a:lnTo>
                    <a:lnTo>
                      <a:pt x="1370" y="1640"/>
                    </a:lnTo>
                    <a:close/>
                    <a:moveTo>
                      <a:pt x="1181" y="1432"/>
                    </a:moveTo>
                    <a:lnTo>
                      <a:pt x="1183" y="1432"/>
                    </a:lnTo>
                    <a:lnTo>
                      <a:pt x="1181" y="1432"/>
                    </a:lnTo>
                    <a:close/>
                    <a:moveTo>
                      <a:pt x="1222" y="1566"/>
                    </a:moveTo>
                    <a:lnTo>
                      <a:pt x="1222" y="1568"/>
                    </a:lnTo>
                    <a:lnTo>
                      <a:pt x="1222" y="1566"/>
                    </a:lnTo>
                    <a:close/>
                    <a:moveTo>
                      <a:pt x="1154" y="1379"/>
                    </a:moveTo>
                    <a:lnTo>
                      <a:pt x="1156" y="1379"/>
                    </a:lnTo>
                    <a:lnTo>
                      <a:pt x="1154" y="1379"/>
                    </a:lnTo>
                    <a:close/>
                    <a:moveTo>
                      <a:pt x="1237" y="1544"/>
                    </a:moveTo>
                    <a:lnTo>
                      <a:pt x="1239" y="1544"/>
                    </a:lnTo>
                    <a:lnTo>
                      <a:pt x="1239" y="1546"/>
                    </a:lnTo>
                    <a:lnTo>
                      <a:pt x="1237" y="1546"/>
                    </a:lnTo>
                    <a:lnTo>
                      <a:pt x="1237" y="1544"/>
                    </a:lnTo>
                    <a:close/>
                    <a:moveTo>
                      <a:pt x="1321" y="1633"/>
                    </a:moveTo>
                    <a:lnTo>
                      <a:pt x="1322" y="1633"/>
                    </a:lnTo>
                    <a:lnTo>
                      <a:pt x="1322" y="1635"/>
                    </a:lnTo>
                    <a:lnTo>
                      <a:pt x="1321" y="1635"/>
                    </a:lnTo>
                    <a:lnTo>
                      <a:pt x="1321" y="1633"/>
                    </a:lnTo>
                    <a:close/>
                    <a:moveTo>
                      <a:pt x="1157" y="1233"/>
                    </a:moveTo>
                    <a:lnTo>
                      <a:pt x="1157" y="1235"/>
                    </a:lnTo>
                    <a:lnTo>
                      <a:pt x="1157" y="1233"/>
                    </a:lnTo>
                    <a:close/>
                    <a:moveTo>
                      <a:pt x="1193" y="1435"/>
                    </a:moveTo>
                    <a:lnTo>
                      <a:pt x="1195" y="1435"/>
                    </a:lnTo>
                    <a:lnTo>
                      <a:pt x="1193" y="1435"/>
                    </a:lnTo>
                    <a:close/>
                    <a:moveTo>
                      <a:pt x="1247" y="1505"/>
                    </a:moveTo>
                    <a:lnTo>
                      <a:pt x="1247" y="1507"/>
                    </a:lnTo>
                    <a:lnTo>
                      <a:pt x="1247" y="1505"/>
                    </a:lnTo>
                    <a:close/>
                    <a:moveTo>
                      <a:pt x="1210" y="1240"/>
                    </a:moveTo>
                    <a:lnTo>
                      <a:pt x="1212" y="1240"/>
                    </a:lnTo>
                    <a:lnTo>
                      <a:pt x="1212" y="1242"/>
                    </a:lnTo>
                    <a:lnTo>
                      <a:pt x="1210" y="1242"/>
                    </a:lnTo>
                    <a:lnTo>
                      <a:pt x="1210" y="1240"/>
                    </a:lnTo>
                    <a:close/>
                    <a:moveTo>
                      <a:pt x="1285" y="1619"/>
                    </a:moveTo>
                    <a:lnTo>
                      <a:pt x="1285" y="1621"/>
                    </a:lnTo>
                    <a:lnTo>
                      <a:pt x="1285" y="1619"/>
                    </a:lnTo>
                    <a:close/>
                    <a:moveTo>
                      <a:pt x="1207" y="1451"/>
                    </a:moveTo>
                    <a:lnTo>
                      <a:pt x="1207" y="1453"/>
                    </a:lnTo>
                    <a:lnTo>
                      <a:pt x="1207" y="1451"/>
                    </a:lnTo>
                    <a:close/>
                    <a:moveTo>
                      <a:pt x="1178" y="1481"/>
                    </a:moveTo>
                    <a:lnTo>
                      <a:pt x="1178" y="1483"/>
                    </a:lnTo>
                    <a:lnTo>
                      <a:pt x="1178" y="1481"/>
                    </a:lnTo>
                    <a:close/>
                    <a:moveTo>
                      <a:pt x="1213" y="1104"/>
                    </a:moveTo>
                    <a:lnTo>
                      <a:pt x="1213" y="1105"/>
                    </a:lnTo>
                    <a:lnTo>
                      <a:pt x="1213" y="1104"/>
                    </a:lnTo>
                    <a:close/>
                    <a:moveTo>
                      <a:pt x="1190" y="1420"/>
                    </a:moveTo>
                    <a:lnTo>
                      <a:pt x="1190" y="1422"/>
                    </a:lnTo>
                    <a:lnTo>
                      <a:pt x="1190" y="1420"/>
                    </a:lnTo>
                    <a:close/>
                    <a:moveTo>
                      <a:pt x="1195" y="1145"/>
                    </a:moveTo>
                    <a:lnTo>
                      <a:pt x="1195" y="1146"/>
                    </a:lnTo>
                    <a:lnTo>
                      <a:pt x="1195" y="1145"/>
                    </a:lnTo>
                    <a:close/>
                    <a:moveTo>
                      <a:pt x="1195" y="1077"/>
                    </a:moveTo>
                    <a:lnTo>
                      <a:pt x="1196" y="1077"/>
                    </a:lnTo>
                    <a:lnTo>
                      <a:pt x="1195" y="1077"/>
                    </a:lnTo>
                    <a:close/>
                    <a:moveTo>
                      <a:pt x="1200" y="1527"/>
                    </a:moveTo>
                    <a:lnTo>
                      <a:pt x="1200" y="1529"/>
                    </a:lnTo>
                    <a:lnTo>
                      <a:pt x="1200" y="1527"/>
                    </a:lnTo>
                    <a:close/>
                    <a:moveTo>
                      <a:pt x="1219" y="1100"/>
                    </a:moveTo>
                    <a:lnTo>
                      <a:pt x="1219" y="1102"/>
                    </a:lnTo>
                    <a:lnTo>
                      <a:pt x="1219" y="1100"/>
                    </a:lnTo>
                    <a:close/>
                    <a:moveTo>
                      <a:pt x="1198" y="1092"/>
                    </a:moveTo>
                    <a:lnTo>
                      <a:pt x="1198" y="1094"/>
                    </a:lnTo>
                    <a:lnTo>
                      <a:pt x="1198" y="1092"/>
                    </a:lnTo>
                    <a:close/>
                    <a:moveTo>
                      <a:pt x="1229" y="1570"/>
                    </a:moveTo>
                    <a:lnTo>
                      <a:pt x="1230" y="1570"/>
                    </a:lnTo>
                    <a:lnTo>
                      <a:pt x="1229" y="1570"/>
                    </a:lnTo>
                    <a:close/>
                    <a:moveTo>
                      <a:pt x="1229" y="1580"/>
                    </a:moveTo>
                    <a:lnTo>
                      <a:pt x="1230" y="1580"/>
                    </a:lnTo>
                    <a:lnTo>
                      <a:pt x="1230" y="1582"/>
                    </a:lnTo>
                    <a:lnTo>
                      <a:pt x="1229" y="1582"/>
                    </a:lnTo>
                    <a:lnTo>
                      <a:pt x="1229" y="1580"/>
                    </a:lnTo>
                    <a:close/>
                    <a:moveTo>
                      <a:pt x="1169" y="1413"/>
                    </a:moveTo>
                    <a:lnTo>
                      <a:pt x="1171" y="1413"/>
                    </a:lnTo>
                    <a:lnTo>
                      <a:pt x="1169" y="1413"/>
                    </a:lnTo>
                    <a:close/>
                    <a:moveTo>
                      <a:pt x="1178" y="1441"/>
                    </a:moveTo>
                    <a:lnTo>
                      <a:pt x="1179" y="1441"/>
                    </a:lnTo>
                    <a:lnTo>
                      <a:pt x="1178" y="1441"/>
                    </a:lnTo>
                    <a:close/>
                    <a:moveTo>
                      <a:pt x="1161" y="1398"/>
                    </a:moveTo>
                    <a:lnTo>
                      <a:pt x="1162" y="1398"/>
                    </a:lnTo>
                    <a:lnTo>
                      <a:pt x="1161" y="1398"/>
                    </a:lnTo>
                    <a:close/>
                    <a:moveTo>
                      <a:pt x="1217" y="1504"/>
                    </a:moveTo>
                    <a:lnTo>
                      <a:pt x="1219" y="1504"/>
                    </a:lnTo>
                    <a:lnTo>
                      <a:pt x="1219" y="1505"/>
                    </a:lnTo>
                    <a:lnTo>
                      <a:pt x="1217" y="1505"/>
                    </a:lnTo>
                    <a:lnTo>
                      <a:pt x="1217" y="1504"/>
                    </a:lnTo>
                    <a:close/>
                    <a:moveTo>
                      <a:pt x="1183" y="1308"/>
                    </a:moveTo>
                    <a:lnTo>
                      <a:pt x="1183" y="1310"/>
                    </a:lnTo>
                    <a:lnTo>
                      <a:pt x="1183" y="1308"/>
                    </a:lnTo>
                    <a:close/>
                    <a:moveTo>
                      <a:pt x="1161" y="1357"/>
                    </a:moveTo>
                    <a:lnTo>
                      <a:pt x="1162" y="1357"/>
                    </a:lnTo>
                    <a:lnTo>
                      <a:pt x="1161" y="1357"/>
                    </a:lnTo>
                    <a:close/>
                    <a:moveTo>
                      <a:pt x="1176" y="1367"/>
                    </a:moveTo>
                    <a:lnTo>
                      <a:pt x="1178" y="1367"/>
                    </a:lnTo>
                    <a:lnTo>
                      <a:pt x="1176" y="1367"/>
                    </a:lnTo>
                    <a:close/>
                    <a:moveTo>
                      <a:pt x="1305" y="1623"/>
                    </a:moveTo>
                    <a:lnTo>
                      <a:pt x="1307" y="1623"/>
                    </a:lnTo>
                    <a:lnTo>
                      <a:pt x="1307" y="1624"/>
                    </a:lnTo>
                    <a:lnTo>
                      <a:pt x="1305" y="1624"/>
                    </a:lnTo>
                    <a:lnTo>
                      <a:pt x="1305" y="1623"/>
                    </a:lnTo>
                    <a:close/>
                    <a:moveTo>
                      <a:pt x="1149" y="1333"/>
                    </a:moveTo>
                    <a:lnTo>
                      <a:pt x="1151" y="1333"/>
                    </a:lnTo>
                    <a:lnTo>
                      <a:pt x="1149" y="1333"/>
                    </a:lnTo>
                    <a:close/>
                    <a:moveTo>
                      <a:pt x="1213" y="1102"/>
                    </a:moveTo>
                    <a:lnTo>
                      <a:pt x="1213" y="1104"/>
                    </a:lnTo>
                    <a:lnTo>
                      <a:pt x="1213" y="1102"/>
                    </a:lnTo>
                    <a:close/>
                    <a:moveTo>
                      <a:pt x="1154" y="1248"/>
                    </a:moveTo>
                    <a:lnTo>
                      <a:pt x="1156" y="1248"/>
                    </a:lnTo>
                    <a:lnTo>
                      <a:pt x="1154" y="1248"/>
                    </a:lnTo>
                    <a:close/>
                    <a:moveTo>
                      <a:pt x="1358" y="1652"/>
                    </a:moveTo>
                    <a:lnTo>
                      <a:pt x="1358" y="1653"/>
                    </a:lnTo>
                    <a:lnTo>
                      <a:pt x="1358" y="1652"/>
                    </a:lnTo>
                    <a:close/>
                    <a:moveTo>
                      <a:pt x="1259" y="1590"/>
                    </a:moveTo>
                    <a:lnTo>
                      <a:pt x="1259" y="1592"/>
                    </a:lnTo>
                    <a:lnTo>
                      <a:pt x="1259" y="1590"/>
                    </a:lnTo>
                    <a:close/>
                    <a:moveTo>
                      <a:pt x="1266" y="1599"/>
                    </a:moveTo>
                    <a:lnTo>
                      <a:pt x="1266" y="1600"/>
                    </a:lnTo>
                    <a:lnTo>
                      <a:pt x="1266" y="1599"/>
                    </a:lnTo>
                    <a:close/>
                    <a:moveTo>
                      <a:pt x="1188" y="1066"/>
                    </a:moveTo>
                    <a:lnTo>
                      <a:pt x="1188" y="1068"/>
                    </a:lnTo>
                    <a:lnTo>
                      <a:pt x="1188" y="1066"/>
                    </a:lnTo>
                    <a:close/>
                    <a:moveTo>
                      <a:pt x="1154" y="1272"/>
                    </a:moveTo>
                    <a:lnTo>
                      <a:pt x="1156" y="1272"/>
                    </a:lnTo>
                    <a:lnTo>
                      <a:pt x="1156" y="1274"/>
                    </a:lnTo>
                    <a:lnTo>
                      <a:pt x="1154" y="1274"/>
                    </a:lnTo>
                    <a:lnTo>
                      <a:pt x="1154" y="1272"/>
                    </a:lnTo>
                    <a:close/>
                    <a:moveTo>
                      <a:pt x="1309" y="1635"/>
                    </a:moveTo>
                    <a:lnTo>
                      <a:pt x="1310" y="1635"/>
                    </a:lnTo>
                    <a:lnTo>
                      <a:pt x="1309" y="1635"/>
                    </a:lnTo>
                    <a:close/>
                    <a:moveTo>
                      <a:pt x="1220" y="1077"/>
                    </a:moveTo>
                    <a:lnTo>
                      <a:pt x="1222" y="1077"/>
                    </a:lnTo>
                    <a:lnTo>
                      <a:pt x="1220" y="1077"/>
                    </a:lnTo>
                    <a:close/>
                    <a:moveTo>
                      <a:pt x="1205" y="1507"/>
                    </a:moveTo>
                    <a:lnTo>
                      <a:pt x="1207" y="1507"/>
                    </a:lnTo>
                    <a:lnTo>
                      <a:pt x="1205" y="1507"/>
                    </a:lnTo>
                    <a:close/>
                    <a:moveTo>
                      <a:pt x="1229" y="1558"/>
                    </a:moveTo>
                    <a:lnTo>
                      <a:pt x="1230" y="1558"/>
                    </a:lnTo>
                    <a:lnTo>
                      <a:pt x="1229" y="1558"/>
                    </a:lnTo>
                    <a:close/>
                    <a:moveTo>
                      <a:pt x="1198" y="1435"/>
                    </a:moveTo>
                    <a:lnTo>
                      <a:pt x="1198" y="1437"/>
                    </a:lnTo>
                    <a:lnTo>
                      <a:pt x="1198" y="1435"/>
                    </a:lnTo>
                    <a:close/>
                    <a:moveTo>
                      <a:pt x="1271" y="1595"/>
                    </a:moveTo>
                    <a:lnTo>
                      <a:pt x="1273" y="1595"/>
                    </a:lnTo>
                    <a:lnTo>
                      <a:pt x="1271" y="1595"/>
                    </a:lnTo>
                    <a:close/>
                    <a:moveTo>
                      <a:pt x="1186" y="1490"/>
                    </a:moveTo>
                    <a:lnTo>
                      <a:pt x="1188" y="1490"/>
                    </a:lnTo>
                    <a:lnTo>
                      <a:pt x="1186" y="1490"/>
                    </a:lnTo>
                    <a:close/>
                    <a:moveTo>
                      <a:pt x="1246" y="1507"/>
                    </a:moveTo>
                    <a:lnTo>
                      <a:pt x="1247" y="1507"/>
                    </a:lnTo>
                    <a:lnTo>
                      <a:pt x="1247" y="1509"/>
                    </a:lnTo>
                    <a:lnTo>
                      <a:pt x="1246" y="1509"/>
                    </a:lnTo>
                    <a:lnTo>
                      <a:pt x="1246" y="1507"/>
                    </a:lnTo>
                    <a:close/>
                    <a:moveTo>
                      <a:pt x="1368" y="1662"/>
                    </a:moveTo>
                    <a:lnTo>
                      <a:pt x="1370" y="1662"/>
                    </a:lnTo>
                    <a:lnTo>
                      <a:pt x="1368" y="1662"/>
                    </a:lnTo>
                    <a:close/>
                    <a:moveTo>
                      <a:pt x="1220" y="1544"/>
                    </a:moveTo>
                    <a:lnTo>
                      <a:pt x="1222" y="1544"/>
                    </a:lnTo>
                    <a:lnTo>
                      <a:pt x="1220" y="1544"/>
                    </a:lnTo>
                    <a:close/>
                    <a:moveTo>
                      <a:pt x="1162" y="1388"/>
                    </a:moveTo>
                    <a:lnTo>
                      <a:pt x="1164" y="1388"/>
                    </a:lnTo>
                    <a:lnTo>
                      <a:pt x="1162" y="1388"/>
                    </a:lnTo>
                    <a:close/>
                    <a:moveTo>
                      <a:pt x="1210" y="1242"/>
                    </a:moveTo>
                    <a:lnTo>
                      <a:pt x="1210" y="1243"/>
                    </a:lnTo>
                    <a:lnTo>
                      <a:pt x="1210" y="1242"/>
                    </a:lnTo>
                    <a:close/>
                    <a:moveTo>
                      <a:pt x="1196" y="1439"/>
                    </a:moveTo>
                    <a:lnTo>
                      <a:pt x="1198" y="1439"/>
                    </a:lnTo>
                    <a:lnTo>
                      <a:pt x="1198" y="1441"/>
                    </a:lnTo>
                    <a:lnTo>
                      <a:pt x="1196" y="1441"/>
                    </a:lnTo>
                    <a:lnTo>
                      <a:pt x="1196" y="1439"/>
                    </a:lnTo>
                    <a:close/>
                    <a:moveTo>
                      <a:pt x="1205" y="1481"/>
                    </a:moveTo>
                    <a:lnTo>
                      <a:pt x="1207" y="1481"/>
                    </a:lnTo>
                    <a:lnTo>
                      <a:pt x="1205" y="1481"/>
                    </a:lnTo>
                    <a:close/>
                    <a:moveTo>
                      <a:pt x="1190" y="1112"/>
                    </a:moveTo>
                    <a:lnTo>
                      <a:pt x="1191" y="1112"/>
                    </a:lnTo>
                    <a:lnTo>
                      <a:pt x="1191" y="1114"/>
                    </a:lnTo>
                    <a:lnTo>
                      <a:pt x="1190" y="1114"/>
                    </a:lnTo>
                    <a:lnTo>
                      <a:pt x="1190" y="1112"/>
                    </a:lnTo>
                    <a:close/>
                    <a:moveTo>
                      <a:pt x="1210" y="1481"/>
                    </a:moveTo>
                    <a:lnTo>
                      <a:pt x="1210" y="1483"/>
                    </a:lnTo>
                    <a:lnTo>
                      <a:pt x="1210" y="1481"/>
                    </a:lnTo>
                    <a:close/>
                    <a:moveTo>
                      <a:pt x="1312" y="1512"/>
                    </a:moveTo>
                    <a:lnTo>
                      <a:pt x="1312" y="1514"/>
                    </a:lnTo>
                    <a:lnTo>
                      <a:pt x="1312" y="1512"/>
                    </a:lnTo>
                    <a:close/>
                    <a:moveTo>
                      <a:pt x="1380" y="1662"/>
                    </a:moveTo>
                    <a:lnTo>
                      <a:pt x="1382" y="1662"/>
                    </a:lnTo>
                    <a:lnTo>
                      <a:pt x="1380" y="1662"/>
                    </a:lnTo>
                    <a:close/>
                    <a:moveTo>
                      <a:pt x="1210" y="1493"/>
                    </a:moveTo>
                    <a:lnTo>
                      <a:pt x="1212" y="1493"/>
                    </a:lnTo>
                    <a:lnTo>
                      <a:pt x="1210" y="1493"/>
                    </a:lnTo>
                    <a:close/>
                    <a:moveTo>
                      <a:pt x="1207" y="1099"/>
                    </a:moveTo>
                    <a:lnTo>
                      <a:pt x="1207" y="1100"/>
                    </a:lnTo>
                    <a:lnTo>
                      <a:pt x="1207" y="1099"/>
                    </a:lnTo>
                    <a:close/>
                    <a:moveTo>
                      <a:pt x="1154" y="1250"/>
                    </a:moveTo>
                    <a:lnTo>
                      <a:pt x="1156" y="1250"/>
                    </a:lnTo>
                    <a:lnTo>
                      <a:pt x="1154" y="1250"/>
                    </a:lnTo>
                    <a:close/>
                    <a:moveTo>
                      <a:pt x="1219" y="1549"/>
                    </a:moveTo>
                    <a:lnTo>
                      <a:pt x="1220" y="1549"/>
                    </a:lnTo>
                    <a:lnTo>
                      <a:pt x="1220" y="1551"/>
                    </a:lnTo>
                    <a:lnTo>
                      <a:pt x="1219" y="1551"/>
                    </a:lnTo>
                    <a:lnTo>
                      <a:pt x="1219" y="1549"/>
                    </a:lnTo>
                    <a:close/>
                    <a:moveTo>
                      <a:pt x="1210" y="1085"/>
                    </a:moveTo>
                    <a:lnTo>
                      <a:pt x="1210" y="1087"/>
                    </a:lnTo>
                    <a:lnTo>
                      <a:pt x="1210" y="1085"/>
                    </a:lnTo>
                    <a:close/>
                    <a:moveTo>
                      <a:pt x="1159" y="1347"/>
                    </a:moveTo>
                    <a:lnTo>
                      <a:pt x="1159" y="1349"/>
                    </a:lnTo>
                    <a:lnTo>
                      <a:pt x="1159" y="1347"/>
                    </a:lnTo>
                    <a:close/>
                    <a:moveTo>
                      <a:pt x="1219" y="1555"/>
                    </a:moveTo>
                    <a:lnTo>
                      <a:pt x="1220" y="1555"/>
                    </a:lnTo>
                    <a:lnTo>
                      <a:pt x="1219" y="1555"/>
                    </a:lnTo>
                    <a:close/>
                    <a:moveTo>
                      <a:pt x="1230" y="1570"/>
                    </a:moveTo>
                    <a:lnTo>
                      <a:pt x="1232" y="1570"/>
                    </a:lnTo>
                    <a:lnTo>
                      <a:pt x="1230" y="1570"/>
                    </a:lnTo>
                    <a:close/>
                    <a:moveTo>
                      <a:pt x="1144" y="1299"/>
                    </a:moveTo>
                    <a:lnTo>
                      <a:pt x="1144" y="1301"/>
                    </a:lnTo>
                    <a:lnTo>
                      <a:pt x="1144" y="1299"/>
                    </a:lnTo>
                    <a:close/>
                    <a:moveTo>
                      <a:pt x="1394" y="1635"/>
                    </a:moveTo>
                    <a:lnTo>
                      <a:pt x="1394" y="1636"/>
                    </a:lnTo>
                    <a:lnTo>
                      <a:pt x="1394" y="1635"/>
                    </a:lnTo>
                    <a:close/>
                    <a:moveTo>
                      <a:pt x="1236" y="1582"/>
                    </a:moveTo>
                    <a:lnTo>
                      <a:pt x="1236" y="1583"/>
                    </a:lnTo>
                    <a:lnTo>
                      <a:pt x="1236" y="1582"/>
                    </a:lnTo>
                    <a:close/>
                    <a:moveTo>
                      <a:pt x="1207" y="1514"/>
                    </a:moveTo>
                    <a:lnTo>
                      <a:pt x="1208" y="1514"/>
                    </a:lnTo>
                    <a:lnTo>
                      <a:pt x="1207" y="1514"/>
                    </a:lnTo>
                    <a:close/>
                    <a:moveTo>
                      <a:pt x="1220" y="1117"/>
                    </a:moveTo>
                    <a:lnTo>
                      <a:pt x="1222" y="1117"/>
                    </a:lnTo>
                    <a:lnTo>
                      <a:pt x="1220" y="1117"/>
                    </a:lnTo>
                    <a:close/>
                    <a:moveTo>
                      <a:pt x="1229" y="1039"/>
                    </a:moveTo>
                    <a:lnTo>
                      <a:pt x="1230" y="1039"/>
                    </a:lnTo>
                    <a:lnTo>
                      <a:pt x="1230" y="1041"/>
                    </a:lnTo>
                    <a:lnTo>
                      <a:pt x="1229" y="1041"/>
                    </a:lnTo>
                    <a:lnTo>
                      <a:pt x="1229" y="1039"/>
                    </a:lnTo>
                    <a:close/>
                    <a:moveTo>
                      <a:pt x="1178" y="1488"/>
                    </a:moveTo>
                    <a:lnTo>
                      <a:pt x="1179" y="1488"/>
                    </a:lnTo>
                    <a:lnTo>
                      <a:pt x="1179" y="1490"/>
                    </a:lnTo>
                    <a:lnTo>
                      <a:pt x="1178" y="1490"/>
                    </a:lnTo>
                    <a:lnTo>
                      <a:pt x="1178" y="1488"/>
                    </a:lnTo>
                    <a:close/>
                    <a:moveTo>
                      <a:pt x="1173" y="1435"/>
                    </a:moveTo>
                    <a:lnTo>
                      <a:pt x="1174" y="1435"/>
                    </a:lnTo>
                    <a:lnTo>
                      <a:pt x="1174" y="1437"/>
                    </a:lnTo>
                    <a:lnTo>
                      <a:pt x="1173" y="1437"/>
                    </a:lnTo>
                    <a:lnTo>
                      <a:pt x="1173" y="1435"/>
                    </a:lnTo>
                    <a:close/>
                    <a:moveTo>
                      <a:pt x="1202" y="1063"/>
                    </a:moveTo>
                    <a:lnTo>
                      <a:pt x="1203" y="1063"/>
                    </a:lnTo>
                    <a:lnTo>
                      <a:pt x="1202" y="1063"/>
                    </a:lnTo>
                    <a:close/>
                    <a:moveTo>
                      <a:pt x="1154" y="1250"/>
                    </a:moveTo>
                    <a:lnTo>
                      <a:pt x="1154" y="1252"/>
                    </a:lnTo>
                    <a:lnTo>
                      <a:pt x="1154" y="1250"/>
                    </a:lnTo>
                    <a:close/>
                    <a:moveTo>
                      <a:pt x="1178" y="1432"/>
                    </a:moveTo>
                    <a:lnTo>
                      <a:pt x="1179" y="1432"/>
                    </a:lnTo>
                    <a:lnTo>
                      <a:pt x="1178" y="1432"/>
                    </a:lnTo>
                    <a:close/>
                    <a:moveTo>
                      <a:pt x="1188" y="1480"/>
                    </a:moveTo>
                    <a:lnTo>
                      <a:pt x="1190" y="1480"/>
                    </a:lnTo>
                    <a:lnTo>
                      <a:pt x="1188" y="1480"/>
                    </a:lnTo>
                    <a:close/>
                    <a:moveTo>
                      <a:pt x="1360" y="1629"/>
                    </a:moveTo>
                    <a:lnTo>
                      <a:pt x="1361" y="1629"/>
                    </a:lnTo>
                    <a:lnTo>
                      <a:pt x="1361" y="1631"/>
                    </a:lnTo>
                    <a:lnTo>
                      <a:pt x="1360" y="1631"/>
                    </a:lnTo>
                    <a:lnTo>
                      <a:pt x="1360" y="1629"/>
                    </a:lnTo>
                    <a:close/>
                    <a:moveTo>
                      <a:pt x="1181" y="1117"/>
                    </a:moveTo>
                    <a:lnTo>
                      <a:pt x="1183" y="1117"/>
                    </a:lnTo>
                    <a:lnTo>
                      <a:pt x="1181" y="1117"/>
                    </a:lnTo>
                    <a:close/>
                    <a:moveTo>
                      <a:pt x="1346" y="1657"/>
                    </a:moveTo>
                    <a:lnTo>
                      <a:pt x="1348" y="1657"/>
                    </a:lnTo>
                    <a:lnTo>
                      <a:pt x="1348" y="1658"/>
                    </a:lnTo>
                    <a:lnTo>
                      <a:pt x="1346" y="1658"/>
                    </a:lnTo>
                    <a:lnTo>
                      <a:pt x="1346" y="1657"/>
                    </a:lnTo>
                    <a:close/>
                    <a:moveTo>
                      <a:pt x="1145" y="1332"/>
                    </a:moveTo>
                    <a:lnTo>
                      <a:pt x="1147" y="1332"/>
                    </a:lnTo>
                    <a:lnTo>
                      <a:pt x="1147" y="1333"/>
                    </a:lnTo>
                    <a:lnTo>
                      <a:pt x="1145" y="1333"/>
                    </a:lnTo>
                    <a:lnTo>
                      <a:pt x="1145" y="1332"/>
                    </a:lnTo>
                    <a:close/>
                    <a:moveTo>
                      <a:pt x="1215" y="1504"/>
                    </a:moveTo>
                    <a:lnTo>
                      <a:pt x="1217" y="1504"/>
                    </a:lnTo>
                    <a:lnTo>
                      <a:pt x="1215" y="1504"/>
                    </a:lnTo>
                    <a:close/>
                    <a:moveTo>
                      <a:pt x="1149" y="1253"/>
                    </a:moveTo>
                    <a:lnTo>
                      <a:pt x="1151" y="1253"/>
                    </a:lnTo>
                    <a:lnTo>
                      <a:pt x="1149" y="1253"/>
                    </a:lnTo>
                    <a:close/>
                    <a:moveTo>
                      <a:pt x="1329" y="1643"/>
                    </a:moveTo>
                    <a:lnTo>
                      <a:pt x="1331" y="1643"/>
                    </a:lnTo>
                    <a:lnTo>
                      <a:pt x="1329" y="1643"/>
                    </a:lnTo>
                    <a:close/>
                    <a:moveTo>
                      <a:pt x="1193" y="1453"/>
                    </a:moveTo>
                    <a:lnTo>
                      <a:pt x="1193" y="1454"/>
                    </a:lnTo>
                    <a:lnTo>
                      <a:pt x="1193" y="1453"/>
                    </a:lnTo>
                    <a:close/>
                    <a:moveTo>
                      <a:pt x="1203" y="1063"/>
                    </a:moveTo>
                    <a:lnTo>
                      <a:pt x="1203" y="1065"/>
                    </a:lnTo>
                    <a:lnTo>
                      <a:pt x="1203" y="1063"/>
                    </a:lnTo>
                    <a:close/>
                    <a:moveTo>
                      <a:pt x="1310" y="212"/>
                    </a:moveTo>
                    <a:lnTo>
                      <a:pt x="1310" y="214"/>
                    </a:lnTo>
                    <a:lnTo>
                      <a:pt x="1310" y="212"/>
                    </a:lnTo>
                    <a:close/>
                    <a:moveTo>
                      <a:pt x="1361" y="1667"/>
                    </a:moveTo>
                    <a:lnTo>
                      <a:pt x="1363" y="1667"/>
                    </a:lnTo>
                    <a:lnTo>
                      <a:pt x="1361" y="1667"/>
                    </a:lnTo>
                    <a:close/>
                    <a:moveTo>
                      <a:pt x="1166" y="1405"/>
                    </a:moveTo>
                    <a:lnTo>
                      <a:pt x="1168" y="1405"/>
                    </a:lnTo>
                    <a:lnTo>
                      <a:pt x="1168" y="1407"/>
                    </a:lnTo>
                    <a:lnTo>
                      <a:pt x="1166" y="1407"/>
                    </a:lnTo>
                    <a:lnTo>
                      <a:pt x="1166" y="1405"/>
                    </a:lnTo>
                    <a:close/>
                    <a:moveTo>
                      <a:pt x="1215" y="1555"/>
                    </a:moveTo>
                    <a:lnTo>
                      <a:pt x="1217" y="1555"/>
                    </a:lnTo>
                    <a:lnTo>
                      <a:pt x="1215" y="1555"/>
                    </a:lnTo>
                    <a:close/>
                    <a:moveTo>
                      <a:pt x="1191" y="1437"/>
                    </a:moveTo>
                    <a:lnTo>
                      <a:pt x="1193" y="1437"/>
                    </a:lnTo>
                    <a:lnTo>
                      <a:pt x="1191" y="1437"/>
                    </a:lnTo>
                    <a:close/>
                    <a:moveTo>
                      <a:pt x="1251" y="1522"/>
                    </a:moveTo>
                    <a:lnTo>
                      <a:pt x="1253" y="1522"/>
                    </a:lnTo>
                    <a:lnTo>
                      <a:pt x="1251" y="1522"/>
                    </a:lnTo>
                    <a:close/>
                    <a:moveTo>
                      <a:pt x="1207" y="1498"/>
                    </a:moveTo>
                    <a:lnTo>
                      <a:pt x="1208" y="1498"/>
                    </a:lnTo>
                    <a:lnTo>
                      <a:pt x="1208" y="1500"/>
                    </a:lnTo>
                    <a:lnTo>
                      <a:pt x="1207" y="1500"/>
                    </a:lnTo>
                    <a:lnTo>
                      <a:pt x="1207" y="1498"/>
                    </a:lnTo>
                    <a:close/>
                    <a:moveTo>
                      <a:pt x="1186" y="1439"/>
                    </a:moveTo>
                    <a:lnTo>
                      <a:pt x="1186" y="1441"/>
                    </a:lnTo>
                    <a:lnTo>
                      <a:pt x="1186" y="1439"/>
                    </a:lnTo>
                    <a:close/>
                    <a:moveTo>
                      <a:pt x="1176" y="1116"/>
                    </a:moveTo>
                    <a:lnTo>
                      <a:pt x="1178" y="1116"/>
                    </a:lnTo>
                    <a:lnTo>
                      <a:pt x="1176" y="1116"/>
                    </a:lnTo>
                    <a:close/>
                    <a:moveTo>
                      <a:pt x="1188" y="1209"/>
                    </a:moveTo>
                    <a:lnTo>
                      <a:pt x="1190" y="1209"/>
                    </a:lnTo>
                    <a:lnTo>
                      <a:pt x="1188" y="1209"/>
                    </a:lnTo>
                    <a:close/>
                    <a:moveTo>
                      <a:pt x="1159" y="1347"/>
                    </a:moveTo>
                    <a:lnTo>
                      <a:pt x="1161" y="1347"/>
                    </a:lnTo>
                    <a:lnTo>
                      <a:pt x="1159" y="1347"/>
                    </a:lnTo>
                    <a:close/>
                    <a:moveTo>
                      <a:pt x="1215" y="1105"/>
                    </a:moveTo>
                    <a:lnTo>
                      <a:pt x="1215" y="1107"/>
                    </a:lnTo>
                    <a:lnTo>
                      <a:pt x="1215" y="1105"/>
                    </a:lnTo>
                    <a:close/>
                    <a:moveTo>
                      <a:pt x="1162" y="1347"/>
                    </a:moveTo>
                    <a:lnTo>
                      <a:pt x="1164" y="1347"/>
                    </a:lnTo>
                    <a:lnTo>
                      <a:pt x="1162" y="1347"/>
                    </a:lnTo>
                    <a:close/>
                    <a:moveTo>
                      <a:pt x="1210" y="1116"/>
                    </a:moveTo>
                    <a:lnTo>
                      <a:pt x="1212" y="1116"/>
                    </a:lnTo>
                    <a:lnTo>
                      <a:pt x="1210" y="1116"/>
                    </a:lnTo>
                    <a:close/>
                    <a:moveTo>
                      <a:pt x="1259" y="1493"/>
                    </a:moveTo>
                    <a:lnTo>
                      <a:pt x="1261" y="1493"/>
                    </a:lnTo>
                    <a:lnTo>
                      <a:pt x="1259" y="1493"/>
                    </a:lnTo>
                    <a:close/>
                    <a:moveTo>
                      <a:pt x="1207" y="1521"/>
                    </a:moveTo>
                    <a:lnTo>
                      <a:pt x="1208" y="1521"/>
                    </a:lnTo>
                    <a:lnTo>
                      <a:pt x="1208" y="1522"/>
                    </a:lnTo>
                    <a:lnTo>
                      <a:pt x="1207" y="1522"/>
                    </a:lnTo>
                    <a:lnTo>
                      <a:pt x="1207" y="1521"/>
                    </a:lnTo>
                    <a:close/>
                    <a:moveTo>
                      <a:pt x="1212" y="1070"/>
                    </a:moveTo>
                    <a:lnTo>
                      <a:pt x="1212" y="1071"/>
                    </a:lnTo>
                    <a:lnTo>
                      <a:pt x="1212" y="1070"/>
                    </a:lnTo>
                    <a:close/>
                    <a:moveTo>
                      <a:pt x="1190" y="1068"/>
                    </a:moveTo>
                    <a:lnTo>
                      <a:pt x="1191" y="1068"/>
                    </a:lnTo>
                    <a:lnTo>
                      <a:pt x="1190" y="1068"/>
                    </a:lnTo>
                    <a:close/>
                    <a:moveTo>
                      <a:pt x="1213" y="1555"/>
                    </a:moveTo>
                    <a:lnTo>
                      <a:pt x="1215" y="1555"/>
                    </a:lnTo>
                    <a:lnTo>
                      <a:pt x="1215" y="1556"/>
                    </a:lnTo>
                    <a:lnTo>
                      <a:pt x="1213" y="1556"/>
                    </a:lnTo>
                    <a:lnTo>
                      <a:pt x="1213" y="1555"/>
                    </a:lnTo>
                    <a:close/>
                    <a:moveTo>
                      <a:pt x="1212" y="1555"/>
                    </a:moveTo>
                    <a:lnTo>
                      <a:pt x="1213" y="1555"/>
                    </a:lnTo>
                    <a:lnTo>
                      <a:pt x="1212" y="1555"/>
                    </a:lnTo>
                    <a:close/>
                    <a:moveTo>
                      <a:pt x="1212" y="1500"/>
                    </a:moveTo>
                    <a:lnTo>
                      <a:pt x="1212" y="1502"/>
                    </a:lnTo>
                    <a:lnTo>
                      <a:pt x="1212" y="1500"/>
                    </a:lnTo>
                    <a:close/>
                    <a:moveTo>
                      <a:pt x="1156" y="1250"/>
                    </a:moveTo>
                    <a:lnTo>
                      <a:pt x="1156" y="1252"/>
                    </a:lnTo>
                    <a:lnTo>
                      <a:pt x="1156" y="1250"/>
                    </a:lnTo>
                    <a:close/>
                    <a:moveTo>
                      <a:pt x="1205" y="1073"/>
                    </a:moveTo>
                    <a:lnTo>
                      <a:pt x="1207" y="1073"/>
                    </a:lnTo>
                    <a:lnTo>
                      <a:pt x="1207" y="1075"/>
                    </a:lnTo>
                    <a:lnTo>
                      <a:pt x="1205" y="1075"/>
                    </a:lnTo>
                    <a:lnTo>
                      <a:pt x="1205" y="1073"/>
                    </a:lnTo>
                    <a:close/>
                    <a:moveTo>
                      <a:pt x="1208" y="1082"/>
                    </a:moveTo>
                    <a:lnTo>
                      <a:pt x="1210" y="1082"/>
                    </a:lnTo>
                    <a:lnTo>
                      <a:pt x="1208" y="1082"/>
                    </a:lnTo>
                    <a:close/>
                    <a:moveTo>
                      <a:pt x="1169" y="1434"/>
                    </a:moveTo>
                    <a:lnTo>
                      <a:pt x="1171" y="1434"/>
                    </a:lnTo>
                    <a:lnTo>
                      <a:pt x="1171" y="1435"/>
                    </a:lnTo>
                    <a:lnTo>
                      <a:pt x="1169" y="1435"/>
                    </a:lnTo>
                    <a:lnTo>
                      <a:pt x="1169" y="1434"/>
                    </a:lnTo>
                    <a:close/>
                    <a:moveTo>
                      <a:pt x="1191" y="1114"/>
                    </a:moveTo>
                    <a:lnTo>
                      <a:pt x="1191" y="1116"/>
                    </a:lnTo>
                    <a:lnTo>
                      <a:pt x="1191" y="1114"/>
                    </a:lnTo>
                    <a:close/>
                    <a:moveTo>
                      <a:pt x="1178" y="1374"/>
                    </a:moveTo>
                    <a:lnTo>
                      <a:pt x="1178" y="1376"/>
                    </a:lnTo>
                    <a:lnTo>
                      <a:pt x="1178" y="1374"/>
                    </a:lnTo>
                    <a:close/>
                    <a:moveTo>
                      <a:pt x="1208" y="1075"/>
                    </a:moveTo>
                    <a:lnTo>
                      <a:pt x="1210" y="1075"/>
                    </a:lnTo>
                    <a:lnTo>
                      <a:pt x="1208" y="1075"/>
                    </a:lnTo>
                    <a:close/>
                    <a:moveTo>
                      <a:pt x="1205" y="1053"/>
                    </a:moveTo>
                    <a:lnTo>
                      <a:pt x="1205" y="1054"/>
                    </a:lnTo>
                    <a:lnTo>
                      <a:pt x="1205" y="1053"/>
                    </a:lnTo>
                    <a:close/>
                    <a:moveTo>
                      <a:pt x="1186" y="1383"/>
                    </a:moveTo>
                    <a:lnTo>
                      <a:pt x="1186" y="1384"/>
                    </a:lnTo>
                    <a:lnTo>
                      <a:pt x="1186" y="1383"/>
                    </a:lnTo>
                    <a:close/>
                    <a:moveTo>
                      <a:pt x="1169" y="1133"/>
                    </a:moveTo>
                    <a:lnTo>
                      <a:pt x="1171" y="1133"/>
                    </a:lnTo>
                    <a:lnTo>
                      <a:pt x="1171" y="1134"/>
                    </a:lnTo>
                    <a:lnTo>
                      <a:pt x="1169" y="1134"/>
                    </a:lnTo>
                    <a:lnTo>
                      <a:pt x="1169" y="1133"/>
                    </a:lnTo>
                    <a:close/>
                    <a:moveTo>
                      <a:pt x="1383" y="1628"/>
                    </a:moveTo>
                    <a:lnTo>
                      <a:pt x="1383" y="1629"/>
                    </a:lnTo>
                    <a:lnTo>
                      <a:pt x="1383" y="1628"/>
                    </a:lnTo>
                    <a:close/>
                    <a:moveTo>
                      <a:pt x="1232" y="1583"/>
                    </a:moveTo>
                    <a:lnTo>
                      <a:pt x="1234" y="1583"/>
                    </a:lnTo>
                    <a:lnTo>
                      <a:pt x="1232" y="1583"/>
                    </a:lnTo>
                    <a:close/>
                    <a:moveTo>
                      <a:pt x="1353" y="1682"/>
                    </a:moveTo>
                    <a:lnTo>
                      <a:pt x="1355" y="1682"/>
                    </a:lnTo>
                    <a:lnTo>
                      <a:pt x="1353" y="1682"/>
                    </a:lnTo>
                    <a:close/>
                    <a:moveTo>
                      <a:pt x="1185" y="1429"/>
                    </a:moveTo>
                    <a:lnTo>
                      <a:pt x="1185" y="1430"/>
                    </a:lnTo>
                    <a:lnTo>
                      <a:pt x="1185" y="1429"/>
                    </a:lnTo>
                    <a:close/>
                    <a:moveTo>
                      <a:pt x="1205" y="1054"/>
                    </a:moveTo>
                    <a:lnTo>
                      <a:pt x="1207" y="1054"/>
                    </a:lnTo>
                    <a:lnTo>
                      <a:pt x="1205" y="1054"/>
                    </a:lnTo>
                    <a:close/>
                    <a:moveTo>
                      <a:pt x="1283" y="1595"/>
                    </a:moveTo>
                    <a:lnTo>
                      <a:pt x="1283" y="1597"/>
                    </a:lnTo>
                    <a:lnTo>
                      <a:pt x="1283" y="1595"/>
                    </a:lnTo>
                    <a:close/>
                    <a:moveTo>
                      <a:pt x="1185" y="1429"/>
                    </a:moveTo>
                    <a:lnTo>
                      <a:pt x="1186" y="1429"/>
                    </a:lnTo>
                    <a:lnTo>
                      <a:pt x="1186" y="1430"/>
                    </a:lnTo>
                    <a:lnTo>
                      <a:pt x="1185" y="1430"/>
                    </a:lnTo>
                    <a:lnTo>
                      <a:pt x="1185" y="1429"/>
                    </a:lnTo>
                    <a:close/>
                    <a:moveTo>
                      <a:pt x="1220" y="1549"/>
                    </a:moveTo>
                    <a:lnTo>
                      <a:pt x="1220" y="1551"/>
                    </a:lnTo>
                    <a:lnTo>
                      <a:pt x="1220" y="1549"/>
                    </a:lnTo>
                    <a:close/>
                    <a:moveTo>
                      <a:pt x="1174" y="1116"/>
                    </a:moveTo>
                    <a:lnTo>
                      <a:pt x="1174" y="1117"/>
                    </a:lnTo>
                    <a:lnTo>
                      <a:pt x="1174" y="1116"/>
                    </a:lnTo>
                    <a:close/>
                    <a:moveTo>
                      <a:pt x="1314" y="1577"/>
                    </a:moveTo>
                    <a:lnTo>
                      <a:pt x="1315" y="1577"/>
                    </a:lnTo>
                    <a:lnTo>
                      <a:pt x="1314" y="1577"/>
                    </a:lnTo>
                    <a:close/>
                    <a:moveTo>
                      <a:pt x="1207" y="1507"/>
                    </a:moveTo>
                    <a:lnTo>
                      <a:pt x="1208" y="1507"/>
                    </a:lnTo>
                    <a:lnTo>
                      <a:pt x="1207" y="1507"/>
                    </a:lnTo>
                    <a:close/>
                    <a:moveTo>
                      <a:pt x="1380" y="1660"/>
                    </a:moveTo>
                    <a:lnTo>
                      <a:pt x="1380" y="1662"/>
                    </a:lnTo>
                    <a:lnTo>
                      <a:pt x="1380" y="1660"/>
                    </a:lnTo>
                    <a:close/>
                    <a:moveTo>
                      <a:pt x="1224" y="1572"/>
                    </a:moveTo>
                    <a:lnTo>
                      <a:pt x="1225" y="1572"/>
                    </a:lnTo>
                    <a:lnTo>
                      <a:pt x="1224" y="1572"/>
                    </a:lnTo>
                    <a:close/>
                    <a:moveTo>
                      <a:pt x="1331" y="1648"/>
                    </a:moveTo>
                    <a:lnTo>
                      <a:pt x="1332" y="1648"/>
                    </a:lnTo>
                    <a:lnTo>
                      <a:pt x="1331" y="1648"/>
                    </a:lnTo>
                    <a:close/>
                    <a:moveTo>
                      <a:pt x="1198" y="1549"/>
                    </a:moveTo>
                    <a:lnTo>
                      <a:pt x="1200" y="1549"/>
                    </a:lnTo>
                    <a:lnTo>
                      <a:pt x="1198" y="1549"/>
                    </a:lnTo>
                    <a:close/>
                    <a:moveTo>
                      <a:pt x="1174" y="1435"/>
                    </a:moveTo>
                    <a:lnTo>
                      <a:pt x="1174" y="1437"/>
                    </a:lnTo>
                    <a:lnTo>
                      <a:pt x="1174" y="1435"/>
                    </a:lnTo>
                    <a:close/>
                    <a:moveTo>
                      <a:pt x="1176" y="1255"/>
                    </a:moveTo>
                    <a:lnTo>
                      <a:pt x="1178" y="1255"/>
                    </a:lnTo>
                    <a:lnTo>
                      <a:pt x="1176" y="1255"/>
                    </a:lnTo>
                    <a:close/>
                    <a:moveTo>
                      <a:pt x="1156" y="1191"/>
                    </a:moveTo>
                    <a:lnTo>
                      <a:pt x="1157" y="1191"/>
                    </a:lnTo>
                    <a:lnTo>
                      <a:pt x="1156" y="1191"/>
                    </a:lnTo>
                    <a:close/>
                    <a:moveTo>
                      <a:pt x="1208" y="956"/>
                    </a:moveTo>
                    <a:lnTo>
                      <a:pt x="1210" y="956"/>
                    </a:lnTo>
                    <a:lnTo>
                      <a:pt x="1208" y="956"/>
                    </a:lnTo>
                    <a:close/>
                    <a:moveTo>
                      <a:pt x="1220" y="1563"/>
                    </a:moveTo>
                    <a:lnTo>
                      <a:pt x="1222" y="1563"/>
                    </a:lnTo>
                    <a:lnTo>
                      <a:pt x="1220" y="1563"/>
                    </a:lnTo>
                    <a:close/>
                    <a:moveTo>
                      <a:pt x="1207" y="949"/>
                    </a:moveTo>
                    <a:lnTo>
                      <a:pt x="1207" y="951"/>
                    </a:lnTo>
                    <a:lnTo>
                      <a:pt x="1207" y="949"/>
                    </a:lnTo>
                    <a:close/>
                    <a:moveTo>
                      <a:pt x="1220" y="1056"/>
                    </a:moveTo>
                    <a:lnTo>
                      <a:pt x="1222" y="1056"/>
                    </a:lnTo>
                    <a:lnTo>
                      <a:pt x="1222" y="1058"/>
                    </a:lnTo>
                    <a:lnTo>
                      <a:pt x="1220" y="1058"/>
                    </a:lnTo>
                    <a:lnTo>
                      <a:pt x="1220" y="1056"/>
                    </a:lnTo>
                    <a:close/>
                    <a:moveTo>
                      <a:pt x="1232" y="1575"/>
                    </a:moveTo>
                    <a:lnTo>
                      <a:pt x="1234" y="1575"/>
                    </a:lnTo>
                    <a:lnTo>
                      <a:pt x="1232" y="1575"/>
                    </a:lnTo>
                    <a:close/>
                    <a:moveTo>
                      <a:pt x="1378" y="1665"/>
                    </a:moveTo>
                    <a:lnTo>
                      <a:pt x="1378" y="1667"/>
                    </a:lnTo>
                    <a:lnTo>
                      <a:pt x="1378" y="1665"/>
                    </a:lnTo>
                    <a:close/>
                    <a:moveTo>
                      <a:pt x="1227" y="1556"/>
                    </a:moveTo>
                    <a:lnTo>
                      <a:pt x="1229" y="1556"/>
                    </a:lnTo>
                    <a:lnTo>
                      <a:pt x="1229" y="1558"/>
                    </a:lnTo>
                    <a:lnTo>
                      <a:pt x="1227" y="1558"/>
                    </a:lnTo>
                    <a:lnTo>
                      <a:pt x="1227" y="1556"/>
                    </a:lnTo>
                    <a:close/>
                    <a:moveTo>
                      <a:pt x="1229" y="1534"/>
                    </a:moveTo>
                    <a:lnTo>
                      <a:pt x="1229" y="1536"/>
                    </a:lnTo>
                    <a:lnTo>
                      <a:pt x="1229" y="1534"/>
                    </a:lnTo>
                    <a:close/>
                    <a:moveTo>
                      <a:pt x="1183" y="1461"/>
                    </a:moveTo>
                    <a:lnTo>
                      <a:pt x="1185" y="1461"/>
                    </a:lnTo>
                    <a:lnTo>
                      <a:pt x="1185" y="1463"/>
                    </a:lnTo>
                    <a:lnTo>
                      <a:pt x="1183" y="1463"/>
                    </a:lnTo>
                    <a:lnTo>
                      <a:pt x="1183" y="1461"/>
                    </a:lnTo>
                    <a:close/>
                    <a:moveTo>
                      <a:pt x="1183" y="1298"/>
                    </a:moveTo>
                    <a:lnTo>
                      <a:pt x="1183" y="1299"/>
                    </a:lnTo>
                    <a:lnTo>
                      <a:pt x="1183" y="1298"/>
                    </a:lnTo>
                    <a:close/>
                    <a:moveTo>
                      <a:pt x="1227" y="1522"/>
                    </a:moveTo>
                    <a:lnTo>
                      <a:pt x="1229" y="1522"/>
                    </a:lnTo>
                    <a:lnTo>
                      <a:pt x="1229" y="1524"/>
                    </a:lnTo>
                    <a:lnTo>
                      <a:pt x="1227" y="1524"/>
                    </a:lnTo>
                    <a:lnTo>
                      <a:pt x="1227" y="1522"/>
                    </a:lnTo>
                    <a:close/>
                    <a:moveTo>
                      <a:pt x="1203" y="1541"/>
                    </a:moveTo>
                    <a:lnTo>
                      <a:pt x="1205" y="1541"/>
                    </a:lnTo>
                    <a:lnTo>
                      <a:pt x="1203" y="1541"/>
                    </a:lnTo>
                    <a:close/>
                    <a:moveTo>
                      <a:pt x="1256" y="1524"/>
                    </a:moveTo>
                    <a:lnTo>
                      <a:pt x="1256" y="1526"/>
                    </a:lnTo>
                    <a:lnTo>
                      <a:pt x="1256" y="1524"/>
                    </a:lnTo>
                    <a:close/>
                    <a:moveTo>
                      <a:pt x="1307" y="1643"/>
                    </a:moveTo>
                    <a:lnTo>
                      <a:pt x="1307" y="1645"/>
                    </a:lnTo>
                    <a:lnTo>
                      <a:pt x="1307" y="1643"/>
                    </a:lnTo>
                    <a:close/>
                    <a:moveTo>
                      <a:pt x="1210" y="1502"/>
                    </a:moveTo>
                    <a:lnTo>
                      <a:pt x="1212" y="1502"/>
                    </a:lnTo>
                    <a:lnTo>
                      <a:pt x="1210" y="1502"/>
                    </a:lnTo>
                    <a:close/>
                    <a:moveTo>
                      <a:pt x="1179" y="1432"/>
                    </a:moveTo>
                    <a:lnTo>
                      <a:pt x="1179" y="1434"/>
                    </a:lnTo>
                    <a:lnTo>
                      <a:pt x="1179" y="1432"/>
                    </a:lnTo>
                    <a:close/>
                    <a:moveTo>
                      <a:pt x="1365" y="1665"/>
                    </a:moveTo>
                    <a:lnTo>
                      <a:pt x="1365" y="1667"/>
                    </a:lnTo>
                    <a:lnTo>
                      <a:pt x="1365" y="1665"/>
                    </a:lnTo>
                    <a:close/>
                    <a:moveTo>
                      <a:pt x="1234" y="1077"/>
                    </a:moveTo>
                    <a:lnTo>
                      <a:pt x="1234" y="1078"/>
                    </a:lnTo>
                    <a:lnTo>
                      <a:pt x="1234" y="1077"/>
                    </a:lnTo>
                    <a:close/>
                    <a:moveTo>
                      <a:pt x="1173" y="1466"/>
                    </a:moveTo>
                    <a:lnTo>
                      <a:pt x="1173" y="1468"/>
                    </a:lnTo>
                    <a:lnTo>
                      <a:pt x="1173" y="1466"/>
                    </a:lnTo>
                    <a:close/>
                    <a:moveTo>
                      <a:pt x="1220" y="1558"/>
                    </a:moveTo>
                    <a:lnTo>
                      <a:pt x="1220" y="1560"/>
                    </a:lnTo>
                    <a:lnTo>
                      <a:pt x="1220" y="1558"/>
                    </a:lnTo>
                    <a:close/>
                    <a:moveTo>
                      <a:pt x="1300" y="1618"/>
                    </a:moveTo>
                    <a:lnTo>
                      <a:pt x="1300" y="1619"/>
                    </a:lnTo>
                    <a:lnTo>
                      <a:pt x="1300" y="1618"/>
                    </a:lnTo>
                    <a:close/>
                    <a:moveTo>
                      <a:pt x="1230" y="1558"/>
                    </a:moveTo>
                    <a:lnTo>
                      <a:pt x="1232" y="1558"/>
                    </a:lnTo>
                    <a:lnTo>
                      <a:pt x="1230" y="1558"/>
                    </a:lnTo>
                    <a:close/>
                    <a:moveTo>
                      <a:pt x="1212" y="1257"/>
                    </a:moveTo>
                    <a:lnTo>
                      <a:pt x="1212" y="1259"/>
                    </a:lnTo>
                    <a:lnTo>
                      <a:pt x="1212" y="1257"/>
                    </a:lnTo>
                    <a:close/>
                    <a:moveTo>
                      <a:pt x="1210" y="1509"/>
                    </a:moveTo>
                    <a:lnTo>
                      <a:pt x="1212" y="1509"/>
                    </a:lnTo>
                    <a:lnTo>
                      <a:pt x="1210" y="1509"/>
                    </a:lnTo>
                    <a:close/>
                    <a:moveTo>
                      <a:pt x="1219" y="1568"/>
                    </a:moveTo>
                    <a:lnTo>
                      <a:pt x="1220" y="1568"/>
                    </a:lnTo>
                    <a:lnTo>
                      <a:pt x="1219" y="1568"/>
                    </a:lnTo>
                    <a:close/>
                    <a:moveTo>
                      <a:pt x="1186" y="1383"/>
                    </a:moveTo>
                    <a:lnTo>
                      <a:pt x="1188" y="1383"/>
                    </a:lnTo>
                    <a:lnTo>
                      <a:pt x="1186" y="1383"/>
                    </a:lnTo>
                    <a:close/>
                    <a:moveTo>
                      <a:pt x="1183" y="1420"/>
                    </a:moveTo>
                    <a:lnTo>
                      <a:pt x="1185" y="1420"/>
                    </a:lnTo>
                    <a:lnTo>
                      <a:pt x="1183" y="1420"/>
                    </a:lnTo>
                    <a:close/>
                    <a:moveTo>
                      <a:pt x="1200" y="1145"/>
                    </a:moveTo>
                    <a:lnTo>
                      <a:pt x="1200" y="1146"/>
                    </a:lnTo>
                    <a:lnTo>
                      <a:pt x="1200" y="1145"/>
                    </a:lnTo>
                    <a:close/>
                    <a:moveTo>
                      <a:pt x="1205" y="1505"/>
                    </a:moveTo>
                    <a:lnTo>
                      <a:pt x="1205" y="1507"/>
                    </a:lnTo>
                    <a:lnTo>
                      <a:pt x="1205" y="1505"/>
                    </a:lnTo>
                    <a:close/>
                    <a:moveTo>
                      <a:pt x="1232" y="1575"/>
                    </a:moveTo>
                    <a:lnTo>
                      <a:pt x="1234" y="1575"/>
                    </a:lnTo>
                    <a:lnTo>
                      <a:pt x="1232" y="1575"/>
                    </a:lnTo>
                    <a:close/>
                    <a:moveTo>
                      <a:pt x="1234" y="1453"/>
                    </a:moveTo>
                    <a:lnTo>
                      <a:pt x="1234" y="1454"/>
                    </a:lnTo>
                    <a:lnTo>
                      <a:pt x="1234" y="1453"/>
                    </a:lnTo>
                    <a:close/>
                    <a:moveTo>
                      <a:pt x="1242" y="1497"/>
                    </a:moveTo>
                    <a:lnTo>
                      <a:pt x="1244" y="1497"/>
                    </a:lnTo>
                    <a:lnTo>
                      <a:pt x="1244" y="1498"/>
                    </a:lnTo>
                    <a:lnTo>
                      <a:pt x="1242" y="1498"/>
                    </a:lnTo>
                    <a:lnTo>
                      <a:pt x="1242" y="1497"/>
                    </a:lnTo>
                    <a:close/>
                    <a:moveTo>
                      <a:pt x="1219" y="1505"/>
                    </a:moveTo>
                    <a:lnTo>
                      <a:pt x="1220" y="1505"/>
                    </a:lnTo>
                    <a:lnTo>
                      <a:pt x="1219" y="1505"/>
                    </a:lnTo>
                    <a:close/>
                    <a:moveTo>
                      <a:pt x="1191" y="1117"/>
                    </a:moveTo>
                    <a:lnTo>
                      <a:pt x="1191" y="1119"/>
                    </a:lnTo>
                    <a:lnTo>
                      <a:pt x="1191" y="1117"/>
                    </a:lnTo>
                    <a:close/>
                    <a:moveTo>
                      <a:pt x="1166" y="1361"/>
                    </a:moveTo>
                    <a:lnTo>
                      <a:pt x="1166" y="1362"/>
                    </a:lnTo>
                    <a:lnTo>
                      <a:pt x="1166" y="1361"/>
                    </a:lnTo>
                    <a:close/>
                    <a:moveTo>
                      <a:pt x="1147" y="1286"/>
                    </a:moveTo>
                    <a:lnTo>
                      <a:pt x="1149" y="1286"/>
                    </a:lnTo>
                    <a:lnTo>
                      <a:pt x="1147" y="1286"/>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9" name="Freeform 22">
                <a:extLst>
                  <a:ext uri="{FF2B5EF4-FFF2-40B4-BE49-F238E27FC236}">
                    <a16:creationId xmlns:a16="http://schemas.microsoft.com/office/drawing/2014/main" id="{ABB17541-DEE1-3AAC-CA02-947BFF781BB9}"/>
                  </a:ext>
                </a:extLst>
              </p:cNvPr>
              <p:cNvSpPr>
                <a:spLocks noEditPoints="1"/>
              </p:cNvSpPr>
              <p:nvPr/>
            </p:nvSpPr>
            <p:spPr bwMode="auto">
              <a:xfrm>
                <a:off x="5567851" y="2812604"/>
                <a:ext cx="147740" cy="176230"/>
              </a:xfrm>
              <a:custGeom>
                <a:avLst/>
                <a:gdLst>
                  <a:gd name="T0" fmla="*/ 304 w 503"/>
                  <a:gd name="T1" fmla="*/ 93 h 600"/>
                  <a:gd name="T2" fmla="*/ 290 w 503"/>
                  <a:gd name="T3" fmla="*/ 132 h 600"/>
                  <a:gd name="T4" fmla="*/ 301 w 503"/>
                  <a:gd name="T5" fmla="*/ 146 h 600"/>
                  <a:gd name="T6" fmla="*/ 312 w 503"/>
                  <a:gd name="T7" fmla="*/ 187 h 600"/>
                  <a:gd name="T8" fmla="*/ 326 w 503"/>
                  <a:gd name="T9" fmla="*/ 217 h 600"/>
                  <a:gd name="T10" fmla="*/ 365 w 503"/>
                  <a:gd name="T11" fmla="*/ 219 h 600"/>
                  <a:gd name="T12" fmla="*/ 420 w 503"/>
                  <a:gd name="T13" fmla="*/ 251 h 600"/>
                  <a:gd name="T14" fmla="*/ 464 w 503"/>
                  <a:gd name="T15" fmla="*/ 246 h 600"/>
                  <a:gd name="T16" fmla="*/ 476 w 503"/>
                  <a:gd name="T17" fmla="*/ 267 h 600"/>
                  <a:gd name="T18" fmla="*/ 469 w 503"/>
                  <a:gd name="T19" fmla="*/ 301 h 600"/>
                  <a:gd name="T20" fmla="*/ 482 w 503"/>
                  <a:gd name="T21" fmla="*/ 335 h 600"/>
                  <a:gd name="T22" fmla="*/ 482 w 503"/>
                  <a:gd name="T23" fmla="*/ 369 h 600"/>
                  <a:gd name="T24" fmla="*/ 499 w 503"/>
                  <a:gd name="T25" fmla="*/ 401 h 600"/>
                  <a:gd name="T26" fmla="*/ 493 w 503"/>
                  <a:gd name="T27" fmla="*/ 398 h 600"/>
                  <a:gd name="T28" fmla="*/ 469 w 503"/>
                  <a:gd name="T29" fmla="*/ 393 h 600"/>
                  <a:gd name="T30" fmla="*/ 457 w 503"/>
                  <a:gd name="T31" fmla="*/ 398 h 600"/>
                  <a:gd name="T32" fmla="*/ 401 w 503"/>
                  <a:gd name="T33" fmla="*/ 415 h 600"/>
                  <a:gd name="T34" fmla="*/ 426 w 503"/>
                  <a:gd name="T35" fmla="*/ 435 h 600"/>
                  <a:gd name="T36" fmla="*/ 397 w 503"/>
                  <a:gd name="T37" fmla="*/ 437 h 600"/>
                  <a:gd name="T38" fmla="*/ 411 w 503"/>
                  <a:gd name="T39" fmla="*/ 478 h 600"/>
                  <a:gd name="T40" fmla="*/ 411 w 503"/>
                  <a:gd name="T41" fmla="*/ 529 h 600"/>
                  <a:gd name="T42" fmla="*/ 375 w 503"/>
                  <a:gd name="T43" fmla="*/ 587 h 600"/>
                  <a:gd name="T44" fmla="*/ 386 w 503"/>
                  <a:gd name="T45" fmla="*/ 542 h 600"/>
                  <a:gd name="T46" fmla="*/ 358 w 503"/>
                  <a:gd name="T47" fmla="*/ 534 h 600"/>
                  <a:gd name="T48" fmla="*/ 336 w 503"/>
                  <a:gd name="T49" fmla="*/ 530 h 600"/>
                  <a:gd name="T50" fmla="*/ 309 w 503"/>
                  <a:gd name="T51" fmla="*/ 537 h 600"/>
                  <a:gd name="T52" fmla="*/ 292 w 503"/>
                  <a:gd name="T53" fmla="*/ 520 h 600"/>
                  <a:gd name="T54" fmla="*/ 275 w 503"/>
                  <a:gd name="T55" fmla="*/ 502 h 600"/>
                  <a:gd name="T56" fmla="*/ 253 w 503"/>
                  <a:gd name="T57" fmla="*/ 488 h 600"/>
                  <a:gd name="T58" fmla="*/ 238 w 503"/>
                  <a:gd name="T59" fmla="*/ 469 h 600"/>
                  <a:gd name="T60" fmla="*/ 207 w 503"/>
                  <a:gd name="T61" fmla="*/ 457 h 600"/>
                  <a:gd name="T62" fmla="*/ 175 w 503"/>
                  <a:gd name="T63" fmla="*/ 449 h 600"/>
                  <a:gd name="T64" fmla="*/ 144 w 503"/>
                  <a:gd name="T65" fmla="*/ 442 h 600"/>
                  <a:gd name="T66" fmla="*/ 120 w 503"/>
                  <a:gd name="T67" fmla="*/ 425 h 600"/>
                  <a:gd name="T68" fmla="*/ 91 w 503"/>
                  <a:gd name="T69" fmla="*/ 401 h 600"/>
                  <a:gd name="T70" fmla="*/ 107 w 503"/>
                  <a:gd name="T71" fmla="*/ 391 h 600"/>
                  <a:gd name="T72" fmla="*/ 110 w 503"/>
                  <a:gd name="T73" fmla="*/ 369 h 600"/>
                  <a:gd name="T74" fmla="*/ 120 w 503"/>
                  <a:gd name="T75" fmla="*/ 367 h 600"/>
                  <a:gd name="T76" fmla="*/ 136 w 503"/>
                  <a:gd name="T77" fmla="*/ 364 h 600"/>
                  <a:gd name="T78" fmla="*/ 141 w 503"/>
                  <a:gd name="T79" fmla="*/ 347 h 600"/>
                  <a:gd name="T80" fmla="*/ 154 w 503"/>
                  <a:gd name="T81" fmla="*/ 328 h 600"/>
                  <a:gd name="T82" fmla="*/ 149 w 503"/>
                  <a:gd name="T83" fmla="*/ 323 h 600"/>
                  <a:gd name="T84" fmla="*/ 149 w 503"/>
                  <a:gd name="T85" fmla="*/ 303 h 600"/>
                  <a:gd name="T86" fmla="*/ 142 w 503"/>
                  <a:gd name="T87" fmla="*/ 270 h 600"/>
                  <a:gd name="T88" fmla="*/ 146 w 503"/>
                  <a:gd name="T89" fmla="*/ 245 h 600"/>
                  <a:gd name="T90" fmla="*/ 136 w 503"/>
                  <a:gd name="T91" fmla="*/ 223 h 600"/>
                  <a:gd name="T92" fmla="*/ 141 w 503"/>
                  <a:gd name="T93" fmla="*/ 202 h 600"/>
                  <a:gd name="T94" fmla="*/ 148 w 503"/>
                  <a:gd name="T95" fmla="*/ 173 h 600"/>
                  <a:gd name="T96" fmla="*/ 161 w 503"/>
                  <a:gd name="T97" fmla="*/ 178 h 600"/>
                  <a:gd name="T98" fmla="*/ 168 w 503"/>
                  <a:gd name="T99" fmla="*/ 187 h 600"/>
                  <a:gd name="T100" fmla="*/ 180 w 503"/>
                  <a:gd name="T101" fmla="*/ 156 h 600"/>
                  <a:gd name="T102" fmla="*/ 207 w 503"/>
                  <a:gd name="T103" fmla="*/ 136 h 600"/>
                  <a:gd name="T104" fmla="*/ 209 w 503"/>
                  <a:gd name="T105" fmla="*/ 110 h 600"/>
                  <a:gd name="T106" fmla="*/ 212 w 503"/>
                  <a:gd name="T107" fmla="*/ 97 h 600"/>
                  <a:gd name="T108" fmla="*/ 243 w 503"/>
                  <a:gd name="T109" fmla="*/ 83 h 600"/>
                  <a:gd name="T110" fmla="*/ 267 w 503"/>
                  <a:gd name="T111" fmla="*/ 73 h 600"/>
                  <a:gd name="T112" fmla="*/ 304 w 503"/>
                  <a:gd name="T113" fmla="*/ 59 h 600"/>
                  <a:gd name="T114" fmla="*/ 333 w 503"/>
                  <a:gd name="T115" fmla="*/ 41 h 600"/>
                  <a:gd name="T116" fmla="*/ 340 w 503"/>
                  <a:gd name="T117" fmla="*/ 34 h 600"/>
                  <a:gd name="T118" fmla="*/ 350 w 503"/>
                  <a:gd name="T119" fmla="*/ 54 h 600"/>
                  <a:gd name="T120" fmla="*/ 158 w 503"/>
                  <a:gd name="T121" fmla="*/ 325 h 600"/>
                  <a:gd name="T122" fmla="*/ 100 w 503"/>
                  <a:gd name="T123" fmla="*/ 396 h 600"/>
                  <a:gd name="T124" fmla="*/ 142 w 503"/>
                  <a:gd name="T125" fmla="*/ 318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3" h="600">
                    <a:moveTo>
                      <a:pt x="350" y="54"/>
                    </a:moveTo>
                    <a:lnTo>
                      <a:pt x="346" y="56"/>
                    </a:lnTo>
                    <a:lnTo>
                      <a:pt x="341" y="58"/>
                    </a:lnTo>
                    <a:lnTo>
                      <a:pt x="336" y="59"/>
                    </a:lnTo>
                    <a:lnTo>
                      <a:pt x="329" y="61"/>
                    </a:lnTo>
                    <a:lnTo>
                      <a:pt x="329" y="63"/>
                    </a:lnTo>
                    <a:lnTo>
                      <a:pt x="328" y="64"/>
                    </a:lnTo>
                    <a:lnTo>
                      <a:pt x="328" y="66"/>
                    </a:lnTo>
                    <a:lnTo>
                      <a:pt x="326" y="68"/>
                    </a:lnTo>
                    <a:lnTo>
                      <a:pt x="326" y="69"/>
                    </a:lnTo>
                    <a:lnTo>
                      <a:pt x="324" y="69"/>
                    </a:lnTo>
                    <a:lnTo>
                      <a:pt x="324" y="71"/>
                    </a:lnTo>
                    <a:lnTo>
                      <a:pt x="323" y="75"/>
                    </a:lnTo>
                    <a:lnTo>
                      <a:pt x="321" y="78"/>
                    </a:lnTo>
                    <a:lnTo>
                      <a:pt x="319" y="78"/>
                    </a:lnTo>
                    <a:lnTo>
                      <a:pt x="318" y="78"/>
                    </a:lnTo>
                    <a:lnTo>
                      <a:pt x="316" y="78"/>
                    </a:lnTo>
                    <a:lnTo>
                      <a:pt x="314" y="78"/>
                    </a:lnTo>
                    <a:lnTo>
                      <a:pt x="314" y="80"/>
                    </a:lnTo>
                    <a:lnTo>
                      <a:pt x="314" y="78"/>
                    </a:lnTo>
                    <a:lnTo>
                      <a:pt x="312" y="80"/>
                    </a:lnTo>
                    <a:lnTo>
                      <a:pt x="312" y="81"/>
                    </a:lnTo>
                    <a:lnTo>
                      <a:pt x="311" y="83"/>
                    </a:lnTo>
                    <a:lnTo>
                      <a:pt x="311" y="85"/>
                    </a:lnTo>
                    <a:lnTo>
                      <a:pt x="309" y="86"/>
                    </a:lnTo>
                    <a:lnTo>
                      <a:pt x="307" y="86"/>
                    </a:lnTo>
                    <a:lnTo>
                      <a:pt x="306" y="88"/>
                    </a:lnTo>
                    <a:lnTo>
                      <a:pt x="306" y="90"/>
                    </a:lnTo>
                    <a:lnTo>
                      <a:pt x="306" y="92"/>
                    </a:lnTo>
                    <a:lnTo>
                      <a:pt x="304" y="92"/>
                    </a:lnTo>
                    <a:lnTo>
                      <a:pt x="304" y="93"/>
                    </a:lnTo>
                    <a:lnTo>
                      <a:pt x="304" y="95"/>
                    </a:lnTo>
                    <a:lnTo>
                      <a:pt x="304" y="97"/>
                    </a:lnTo>
                    <a:lnTo>
                      <a:pt x="302" y="97"/>
                    </a:lnTo>
                    <a:lnTo>
                      <a:pt x="301" y="98"/>
                    </a:lnTo>
                    <a:lnTo>
                      <a:pt x="301" y="100"/>
                    </a:lnTo>
                    <a:lnTo>
                      <a:pt x="301" y="102"/>
                    </a:lnTo>
                    <a:lnTo>
                      <a:pt x="299" y="102"/>
                    </a:lnTo>
                    <a:lnTo>
                      <a:pt x="299" y="103"/>
                    </a:lnTo>
                    <a:lnTo>
                      <a:pt x="299" y="105"/>
                    </a:lnTo>
                    <a:lnTo>
                      <a:pt x="299" y="107"/>
                    </a:lnTo>
                    <a:lnTo>
                      <a:pt x="299" y="109"/>
                    </a:lnTo>
                    <a:lnTo>
                      <a:pt x="299" y="110"/>
                    </a:lnTo>
                    <a:lnTo>
                      <a:pt x="299" y="112"/>
                    </a:lnTo>
                    <a:lnTo>
                      <a:pt x="297" y="112"/>
                    </a:lnTo>
                    <a:lnTo>
                      <a:pt x="299" y="114"/>
                    </a:lnTo>
                    <a:lnTo>
                      <a:pt x="297" y="114"/>
                    </a:lnTo>
                    <a:lnTo>
                      <a:pt x="297" y="115"/>
                    </a:lnTo>
                    <a:lnTo>
                      <a:pt x="297" y="117"/>
                    </a:lnTo>
                    <a:lnTo>
                      <a:pt x="295" y="117"/>
                    </a:lnTo>
                    <a:lnTo>
                      <a:pt x="295" y="119"/>
                    </a:lnTo>
                    <a:lnTo>
                      <a:pt x="295" y="120"/>
                    </a:lnTo>
                    <a:lnTo>
                      <a:pt x="295" y="122"/>
                    </a:lnTo>
                    <a:lnTo>
                      <a:pt x="297" y="122"/>
                    </a:lnTo>
                    <a:lnTo>
                      <a:pt x="297" y="124"/>
                    </a:lnTo>
                    <a:lnTo>
                      <a:pt x="295" y="124"/>
                    </a:lnTo>
                    <a:lnTo>
                      <a:pt x="295" y="126"/>
                    </a:lnTo>
                    <a:lnTo>
                      <a:pt x="294" y="127"/>
                    </a:lnTo>
                    <a:lnTo>
                      <a:pt x="294" y="129"/>
                    </a:lnTo>
                    <a:lnTo>
                      <a:pt x="292" y="129"/>
                    </a:lnTo>
                    <a:lnTo>
                      <a:pt x="292" y="131"/>
                    </a:lnTo>
                    <a:lnTo>
                      <a:pt x="290" y="132"/>
                    </a:lnTo>
                    <a:lnTo>
                      <a:pt x="290" y="134"/>
                    </a:lnTo>
                    <a:lnTo>
                      <a:pt x="289" y="134"/>
                    </a:lnTo>
                    <a:lnTo>
                      <a:pt x="289" y="136"/>
                    </a:lnTo>
                    <a:lnTo>
                      <a:pt x="289" y="138"/>
                    </a:lnTo>
                    <a:lnTo>
                      <a:pt x="287" y="138"/>
                    </a:lnTo>
                    <a:lnTo>
                      <a:pt x="287" y="139"/>
                    </a:lnTo>
                    <a:lnTo>
                      <a:pt x="285" y="141"/>
                    </a:lnTo>
                    <a:lnTo>
                      <a:pt x="285" y="143"/>
                    </a:lnTo>
                    <a:lnTo>
                      <a:pt x="284" y="143"/>
                    </a:lnTo>
                    <a:lnTo>
                      <a:pt x="284" y="144"/>
                    </a:lnTo>
                    <a:lnTo>
                      <a:pt x="284" y="146"/>
                    </a:lnTo>
                    <a:lnTo>
                      <a:pt x="285" y="146"/>
                    </a:lnTo>
                    <a:lnTo>
                      <a:pt x="287" y="146"/>
                    </a:lnTo>
                    <a:lnTo>
                      <a:pt x="289" y="146"/>
                    </a:lnTo>
                    <a:lnTo>
                      <a:pt x="290" y="144"/>
                    </a:lnTo>
                    <a:lnTo>
                      <a:pt x="292" y="144"/>
                    </a:lnTo>
                    <a:lnTo>
                      <a:pt x="292" y="143"/>
                    </a:lnTo>
                    <a:lnTo>
                      <a:pt x="294" y="143"/>
                    </a:lnTo>
                    <a:lnTo>
                      <a:pt x="295" y="141"/>
                    </a:lnTo>
                    <a:lnTo>
                      <a:pt x="295" y="143"/>
                    </a:lnTo>
                    <a:lnTo>
                      <a:pt x="295" y="144"/>
                    </a:lnTo>
                    <a:lnTo>
                      <a:pt x="295" y="146"/>
                    </a:lnTo>
                    <a:lnTo>
                      <a:pt x="297" y="146"/>
                    </a:lnTo>
                    <a:lnTo>
                      <a:pt x="295" y="146"/>
                    </a:lnTo>
                    <a:lnTo>
                      <a:pt x="295" y="148"/>
                    </a:lnTo>
                    <a:lnTo>
                      <a:pt x="297" y="148"/>
                    </a:lnTo>
                    <a:lnTo>
                      <a:pt x="297" y="149"/>
                    </a:lnTo>
                    <a:lnTo>
                      <a:pt x="297" y="148"/>
                    </a:lnTo>
                    <a:lnTo>
                      <a:pt x="299" y="148"/>
                    </a:lnTo>
                    <a:lnTo>
                      <a:pt x="301" y="148"/>
                    </a:lnTo>
                    <a:lnTo>
                      <a:pt x="301" y="146"/>
                    </a:lnTo>
                    <a:lnTo>
                      <a:pt x="301" y="148"/>
                    </a:lnTo>
                    <a:lnTo>
                      <a:pt x="302" y="148"/>
                    </a:lnTo>
                    <a:lnTo>
                      <a:pt x="302" y="149"/>
                    </a:lnTo>
                    <a:lnTo>
                      <a:pt x="304" y="151"/>
                    </a:lnTo>
                    <a:lnTo>
                      <a:pt x="304" y="153"/>
                    </a:lnTo>
                    <a:lnTo>
                      <a:pt x="304" y="155"/>
                    </a:lnTo>
                    <a:lnTo>
                      <a:pt x="306" y="160"/>
                    </a:lnTo>
                    <a:lnTo>
                      <a:pt x="306" y="163"/>
                    </a:lnTo>
                    <a:lnTo>
                      <a:pt x="307" y="165"/>
                    </a:lnTo>
                    <a:lnTo>
                      <a:pt x="307" y="166"/>
                    </a:lnTo>
                    <a:lnTo>
                      <a:pt x="309" y="166"/>
                    </a:lnTo>
                    <a:lnTo>
                      <a:pt x="309" y="168"/>
                    </a:lnTo>
                    <a:lnTo>
                      <a:pt x="311" y="168"/>
                    </a:lnTo>
                    <a:lnTo>
                      <a:pt x="312" y="170"/>
                    </a:lnTo>
                    <a:lnTo>
                      <a:pt x="312" y="172"/>
                    </a:lnTo>
                    <a:lnTo>
                      <a:pt x="314" y="173"/>
                    </a:lnTo>
                    <a:lnTo>
                      <a:pt x="316" y="173"/>
                    </a:lnTo>
                    <a:lnTo>
                      <a:pt x="316" y="175"/>
                    </a:lnTo>
                    <a:lnTo>
                      <a:pt x="316" y="177"/>
                    </a:lnTo>
                    <a:lnTo>
                      <a:pt x="316" y="178"/>
                    </a:lnTo>
                    <a:lnTo>
                      <a:pt x="316" y="180"/>
                    </a:lnTo>
                    <a:lnTo>
                      <a:pt x="318" y="180"/>
                    </a:lnTo>
                    <a:lnTo>
                      <a:pt x="316" y="180"/>
                    </a:lnTo>
                    <a:lnTo>
                      <a:pt x="316" y="182"/>
                    </a:lnTo>
                    <a:lnTo>
                      <a:pt x="316" y="183"/>
                    </a:lnTo>
                    <a:lnTo>
                      <a:pt x="318" y="183"/>
                    </a:lnTo>
                    <a:lnTo>
                      <a:pt x="318" y="185"/>
                    </a:lnTo>
                    <a:lnTo>
                      <a:pt x="316" y="185"/>
                    </a:lnTo>
                    <a:lnTo>
                      <a:pt x="314" y="185"/>
                    </a:lnTo>
                    <a:lnTo>
                      <a:pt x="314" y="187"/>
                    </a:lnTo>
                    <a:lnTo>
                      <a:pt x="312" y="187"/>
                    </a:lnTo>
                    <a:lnTo>
                      <a:pt x="312" y="189"/>
                    </a:lnTo>
                    <a:lnTo>
                      <a:pt x="312" y="190"/>
                    </a:lnTo>
                    <a:lnTo>
                      <a:pt x="314" y="190"/>
                    </a:lnTo>
                    <a:lnTo>
                      <a:pt x="314" y="192"/>
                    </a:lnTo>
                    <a:lnTo>
                      <a:pt x="312" y="194"/>
                    </a:lnTo>
                    <a:lnTo>
                      <a:pt x="312" y="195"/>
                    </a:lnTo>
                    <a:lnTo>
                      <a:pt x="312" y="197"/>
                    </a:lnTo>
                    <a:lnTo>
                      <a:pt x="312" y="199"/>
                    </a:lnTo>
                    <a:lnTo>
                      <a:pt x="312" y="200"/>
                    </a:lnTo>
                    <a:lnTo>
                      <a:pt x="314" y="200"/>
                    </a:lnTo>
                    <a:lnTo>
                      <a:pt x="314" y="202"/>
                    </a:lnTo>
                    <a:lnTo>
                      <a:pt x="312" y="202"/>
                    </a:lnTo>
                    <a:lnTo>
                      <a:pt x="312" y="204"/>
                    </a:lnTo>
                    <a:lnTo>
                      <a:pt x="314" y="204"/>
                    </a:lnTo>
                    <a:lnTo>
                      <a:pt x="314" y="206"/>
                    </a:lnTo>
                    <a:lnTo>
                      <a:pt x="316" y="206"/>
                    </a:lnTo>
                    <a:lnTo>
                      <a:pt x="316" y="207"/>
                    </a:lnTo>
                    <a:lnTo>
                      <a:pt x="318" y="206"/>
                    </a:lnTo>
                    <a:lnTo>
                      <a:pt x="318" y="207"/>
                    </a:lnTo>
                    <a:lnTo>
                      <a:pt x="319" y="207"/>
                    </a:lnTo>
                    <a:lnTo>
                      <a:pt x="321" y="207"/>
                    </a:lnTo>
                    <a:lnTo>
                      <a:pt x="321" y="206"/>
                    </a:lnTo>
                    <a:lnTo>
                      <a:pt x="323" y="207"/>
                    </a:lnTo>
                    <a:lnTo>
                      <a:pt x="323" y="209"/>
                    </a:lnTo>
                    <a:lnTo>
                      <a:pt x="324" y="209"/>
                    </a:lnTo>
                    <a:lnTo>
                      <a:pt x="323" y="209"/>
                    </a:lnTo>
                    <a:lnTo>
                      <a:pt x="323" y="211"/>
                    </a:lnTo>
                    <a:lnTo>
                      <a:pt x="323" y="212"/>
                    </a:lnTo>
                    <a:lnTo>
                      <a:pt x="324" y="212"/>
                    </a:lnTo>
                    <a:lnTo>
                      <a:pt x="324" y="214"/>
                    </a:lnTo>
                    <a:lnTo>
                      <a:pt x="326" y="217"/>
                    </a:lnTo>
                    <a:lnTo>
                      <a:pt x="328" y="219"/>
                    </a:lnTo>
                    <a:lnTo>
                      <a:pt x="329" y="219"/>
                    </a:lnTo>
                    <a:lnTo>
                      <a:pt x="331" y="219"/>
                    </a:lnTo>
                    <a:lnTo>
                      <a:pt x="333" y="219"/>
                    </a:lnTo>
                    <a:lnTo>
                      <a:pt x="335" y="219"/>
                    </a:lnTo>
                    <a:lnTo>
                      <a:pt x="335" y="217"/>
                    </a:lnTo>
                    <a:lnTo>
                      <a:pt x="336" y="217"/>
                    </a:lnTo>
                    <a:lnTo>
                      <a:pt x="338" y="217"/>
                    </a:lnTo>
                    <a:lnTo>
                      <a:pt x="338" y="219"/>
                    </a:lnTo>
                    <a:lnTo>
                      <a:pt x="340" y="219"/>
                    </a:lnTo>
                    <a:lnTo>
                      <a:pt x="341" y="217"/>
                    </a:lnTo>
                    <a:lnTo>
                      <a:pt x="341" y="219"/>
                    </a:lnTo>
                    <a:lnTo>
                      <a:pt x="343" y="217"/>
                    </a:lnTo>
                    <a:lnTo>
                      <a:pt x="343" y="219"/>
                    </a:lnTo>
                    <a:lnTo>
                      <a:pt x="345" y="219"/>
                    </a:lnTo>
                    <a:lnTo>
                      <a:pt x="346" y="219"/>
                    </a:lnTo>
                    <a:lnTo>
                      <a:pt x="348" y="219"/>
                    </a:lnTo>
                    <a:lnTo>
                      <a:pt x="350" y="219"/>
                    </a:lnTo>
                    <a:lnTo>
                      <a:pt x="352" y="219"/>
                    </a:lnTo>
                    <a:lnTo>
                      <a:pt x="353" y="219"/>
                    </a:lnTo>
                    <a:lnTo>
                      <a:pt x="355" y="219"/>
                    </a:lnTo>
                    <a:lnTo>
                      <a:pt x="357" y="219"/>
                    </a:lnTo>
                    <a:lnTo>
                      <a:pt x="358" y="219"/>
                    </a:lnTo>
                    <a:lnTo>
                      <a:pt x="358" y="221"/>
                    </a:lnTo>
                    <a:lnTo>
                      <a:pt x="360" y="221"/>
                    </a:lnTo>
                    <a:lnTo>
                      <a:pt x="362" y="221"/>
                    </a:lnTo>
                    <a:lnTo>
                      <a:pt x="363" y="221"/>
                    </a:lnTo>
                    <a:lnTo>
                      <a:pt x="363" y="219"/>
                    </a:lnTo>
                    <a:lnTo>
                      <a:pt x="365" y="219"/>
                    </a:lnTo>
                    <a:lnTo>
                      <a:pt x="365" y="217"/>
                    </a:lnTo>
                    <a:lnTo>
                      <a:pt x="365" y="219"/>
                    </a:lnTo>
                    <a:lnTo>
                      <a:pt x="367" y="217"/>
                    </a:lnTo>
                    <a:lnTo>
                      <a:pt x="369" y="217"/>
                    </a:lnTo>
                    <a:lnTo>
                      <a:pt x="370" y="217"/>
                    </a:lnTo>
                    <a:lnTo>
                      <a:pt x="370" y="216"/>
                    </a:lnTo>
                    <a:lnTo>
                      <a:pt x="372" y="217"/>
                    </a:lnTo>
                    <a:lnTo>
                      <a:pt x="374" y="216"/>
                    </a:lnTo>
                    <a:lnTo>
                      <a:pt x="374" y="217"/>
                    </a:lnTo>
                    <a:lnTo>
                      <a:pt x="375" y="217"/>
                    </a:lnTo>
                    <a:lnTo>
                      <a:pt x="377" y="217"/>
                    </a:lnTo>
                    <a:lnTo>
                      <a:pt x="379" y="217"/>
                    </a:lnTo>
                    <a:lnTo>
                      <a:pt x="379" y="219"/>
                    </a:lnTo>
                    <a:lnTo>
                      <a:pt x="380" y="219"/>
                    </a:lnTo>
                    <a:lnTo>
                      <a:pt x="382" y="219"/>
                    </a:lnTo>
                    <a:lnTo>
                      <a:pt x="382" y="221"/>
                    </a:lnTo>
                    <a:lnTo>
                      <a:pt x="384" y="221"/>
                    </a:lnTo>
                    <a:lnTo>
                      <a:pt x="384" y="223"/>
                    </a:lnTo>
                    <a:lnTo>
                      <a:pt x="386" y="223"/>
                    </a:lnTo>
                    <a:lnTo>
                      <a:pt x="387" y="223"/>
                    </a:lnTo>
                    <a:lnTo>
                      <a:pt x="387" y="221"/>
                    </a:lnTo>
                    <a:lnTo>
                      <a:pt x="389" y="221"/>
                    </a:lnTo>
                    <a:lnTo>
                      <a:pt x="391" y="221"/>
                    </a:lnTo>
                    <a:lnTo>
                      <a:pt x="392" y="221"/>
                    </a:lnTo>
                    <a:lnTo>
                      <a:pt x="394" y="223"/>
                    </a:lnTo>
                    <a:lnTo>
                      <a:pt x="397" y="228"/>
                    </a:lnTo>
                    <a:lnTo>
                      <a:pt x="404" y="236"/>
                    </a:lnTo>
                    <a:lnTo>
                      <a:pt x="411" y="243"/>
                    </a:lnTo>
                    <a:lnTo>
                      <a:pt x="411" y="245"/>
                    </a:lnTo>
                    <a:lnTo>
                      <a:pt x="416" y="250"/>
                    </a:lnTo>
                    <a:lnTo>
                      <a:pt x="418" y="250"/>
                    </a:lnTo>
                    <a:lnTo>
                      <a:pt x="420" y="250"/>
                    </a:lnTo>
                    <a:lnTo>
                      <a:pt x="420" y="251"/>
                    </a:lnTo>
                    <a:lnTo>
                      <a:pt x="421" y="251"/>
                    </a:lnTo>
                    <a:lnTo>
                      <a:pt x="423" y="250"/>
                    </a:lnTo>
                    <a:lnTo>
                      <a:pt x="425" y="248"/>
                    </a:lnTo>
                    <a:lnTo>
                      <a:pt x="426" y="248"/>
                    </a:lnTo>
                    <a:lnTo>
                      <a:pt x="426" y="246"/>
                    </a:lnTo>
                    <a:lnTo>
                      <a:pt x="428" y="246"/>
                    </a:lnTo>
                    <a:lnTo>
                      <a:pt x="430" y="246"/>
                    </a:lnTo>
                    <a:lnTo>
                      <a:pt x="430" y="248"/>
                    </a:lnTo>
                    <a:lnTo>
                      <a:pt x="431" y="246"/>
                    </a:lnTo>
                    <a:lnTo>
                      <a:pt x="431" y="248"/>
                    </a:lnTo>
                    <a:lnTo>
                      <a:pt x="433" y="248"/>
                    </a:lnTo>
                    <a:lnTo>
                      <a:pt x="435" y="248"/>
                    </a:lnTo>
                    <a:lnTo>
                      <a:pt x="437" y="248"/>
                    </a:lnTo>
                    <a:lnTo>
                      <a:pt x="438" y="248"/>
                    </a:lnTo>
                    <a:lnTo>
                      <a:pt x="440" y="248"/>
                    </a:lnTo>
                    <a:lnTo>
                      <a:pt x="440" y="250"/>
                    </a:lnTo>
                    <a:lnTo>
                      <a:pt x="442" y="250"/>
                    </a:lnTo>
                    <a:lnTo>
                      <a:pt x="443" y="248"/>
                    </a:lnTo>
                    <a:lnTo>
                      <a:pt x="445" y="248"/>
                    </a:lnTo>
                    <a:lnTo>
                      <a:pt x="447" y="248"/>
                    </a:lnTo>
                    <a:lnTo>
                      <a:pt x="448" y="248"/>
                    </a:lnTo>
                    <a:lnTo>
                      <a:pt x="450" y="248"/>
                    </a:lnTo>
                    <a:lnTo>
                      <a:pt x="452" y="248"/>
                    </a:lnTo>
                    <a:lnTo>
                      <a:pt x="454" y="248"/>
                    </a:lnTo>
                    <a:lnTo>
                      <a:pt x="455" y="248"/>
                    </a:lnTo>
                    <a:lnTo>
                      <a:pt x="455" y="246"/>
                    </a:lnTo>
                    <a:lnTo>
                      <a:pt x="457" y="246"/>
                    </a:lnTo>
                    <a:lnTo>
                      <a:pt x="459" y="246"/>
                    </a:lnTo>
                    <a:lnTo>
                      <a:pt x="460" y="246"/>
                    </a:lnTo>
                    <a:lnTo>
                      <a:pt x="462" y="246"/>
                    </a:lnTo>
                    <a:lnTo>
                      <a:pt x="464" y="246"/>
                    </a:lnTo>
                    <a:lnTo>
                      <a:pt x="465" y="246"/>
                    </a:lnTo>
                    <a:lnTo>
                      <a:pt x="467" y="245"/>
                    </a:lnTo>
                    <a:lnTo>
                      <a:pt x="469" y="243"/>
                    </a:lnTo>
                    <a:lnTo>
                      <a:pt x="471" y="243"/>
                    </a:lnTo>
                    <a:lnTo>
                      <a:pt x="472" y="243"/>
                    </a:lnTo>
                    <a:lnTo>
                      <a:pt x="472" y="245"/>
                    </a:lnTo>
                    <a:lnTo>
                      <a:pt x="472" y="243"/>
                    </a:lnTo>
                    <a:lnTo>
                      <a:pt x="474" y="243"/>
                    </a:lnTo>
                    <a:lnTo>
                      <a:pt x="474" y="245"/>
                    </a:lnTo>
                    <a:lnTo>
                      <a:pt x="476" y="245"/>
                    </a:lnTo>
                    <a:lnTo>
                      <a:pt x="477" y="245"/>
                    </a:lnTo>
                    <a:lnTo>
                      <a:pt x="479" y="245"/>
                    </a:lnTo>
                    <a:lnTo>
                      <a:pt x="481" y="246"/>
                    </a:lnTo>
                    <a:lnTo>
                      <a:pt x="482" y="246"/>
                    </a:lnTo>
                    <a:lnTo>
                      <a:pt x="482" y="248"/>
                    </a:lnTo>
                    <a:lnTo>
                      <a:pt x="481" y="248"/>
                    </a:lnTo>
                    <a:lnTo>
                      <a:pt x="481" y="250"/>
                    </a:lnTo>
                    <a:lnTo>
                      <a:pt x="482" y="251"/>
                    </a:lnTo>
                    <a:lnTo>
                      <a:pt x="482" y="253"/>
                    </a:lnTo>
                    <a:lnTo>
                      <a:pt x="484" y="253"/>
                    </a:lnTo>
                    <a:lnTo>
                      <a:pt x="484" y="255"/>
                    </a:lnTo>
                    <a:lnTo>
                      <a:pt x="482" y="255"/>
                    </a:lnTo>
                    <a:lnTo>
                      <a:pt x="481" y="257"/>
                    </a:lnTo>
                    <a:lnTo>
                      <a:pt x="479" y="257"/>
                    </a:lnTo>
                    <a:lnTo>
                      <a:pt x="479" y="258"/>
                    </a:lnTo>
                    <a:lnTo>
                      <a:pt x="477" y="258"/>
                    </a:lnTo>
                    <a:lnTo>
                      <a:pt x="477" y="260"/>
                    </a:lnTo>
                    <a:lnTo>
                      <a:pt x="477" y="262"/>
                    </a:lnTo>
                    <a:lnTo>
                      <a:pt x="476" y="263"/>
                    </a:lnTo>
                    <a:lnTo>
                      <a:pt x="476" y="265"/>
                    </a:lnTo>
                    <a:lnTo>
                      <a:pt x="476" y="267"/>
                    </a:lnTo>
                    <a:lnTo>
                      <a:pt x="477" y="267"/>
                    </a:lnTo>
                    <a:lnTo>
                      <a:pt x="477" y="268"/>
                    </a:lnTo>
                    <a:lnTo>
                      <a:pt x="477" y="270"/>
                    </a:lnTo>
                    <a:lnTo>
                      <a:pt x="476" y="270"/>
                    </a:lnTo>
                    <a:lnTo>
                      <a:pt x="476" y="272"/>
                    </a:lnTo>
                    <a:lnTo>
                      <a:pt x="474" y="274"/>
                    </a:lnTo>
                    <a:lnTo>
                      <a:pt x="472" y="274"/>
                    </a:lnTo>
                    <a:lnTo>
                      <a:pt x="472" y="275"/>
                    </a:lnTo>
                    <a:lnTo>
                      <a:pt x="471" y="275"/>
                    </a:lnTo>
                    <a:lnTo>
                      <a:pt x="471" y="277"/>
                    </a:lnTo>
                    <a:lnTo>
                      <a:pt x="469" y="277"/>
                    </a:lnTo>
                    <a:lnTo>
                      <a:pt x="469" y="279"/>
                    </a:lnTo>
                    <a:lnTo>
                      <a:pt x="471" y="279"/>
                    </a:lnTo>
                    <a:lnTo>
                      <a:pt x="469" y="280"/>
                    </a:lnTo>
                    <a:lnTo>
                      <a:pt x="469" y="282"/>
                    </a:lnTo>
                    <a:lnTo>
                      <a:pt x="469" y="284"/>
                    </a:lnTo>
                    <a:lnTo>
                      <a:pt x="471" y="285"/>
                    </a:lnTo>
                    <a:lnTo>
                      <a:pt x="469" y="285"/>
                    </a:lnTo>
                    <a:lnTo>
                      <a:pt x="471" y="285"/>
                    </a:lnTo>
                    <a:lnTo>
                      <a:pt x="471" y="287"/>
                    </a:lnTo>
                    <a:lnTo>
                      <a:pt x="471" y="289"/>
                    </a:lnTo>
                    <a:lnTo>
                      <a:pt x="469" y="289"/>
                    </a:lnTo>
                    <a:lnTo>
                      <a:pt x="469" y="291"/>
                    </a:lnTo>
                    <a:lnTo>
                      <a:pt x="469" y="292"/>
                    </a:lnTo>
                    <a:lnTo>
                      <a:pt x="469" y="294"/>
                    </a:lnTo>
                    <a:lnTo>
                      <a:pt x="469" y="296"/>
                    </a:lnTo>
                    <a:lnTo>
                      <a:pt x="471" y="296"/>
                    </a:lnTo>
                    <a:lnTo>
                      <a:pt x="471" y="297"/>
                    </a:lnTo>
                    <a:lnTo>
                      <a:pt x="469" y="297"/>
                    </a:lnTo>
                    <a:lnTo>
                      <a:pt x="469" y="299"/>
                    </a:lnTo>
                    <a:lnTo>
                      <a:pt x="469" y="301"/>
                    </a:lnTo>
                    <a:lnTo>
                      <a:pt x="469" y="303"/>
                    </a:lnTo>
                    <a:lnTo>
                      <a:pt x="469" y="304"/>
                    </a:lnTo>
                    <a:lnTo>
                      <a:pt x="471" y="304"/>
                    </a:lnTo>
                    <a:lnTo>
                      <a:pt x="471" y="306"/>
                    </a:lnTo>
                    <a:lnTo>
                      <a:pt x="471" y="308"/>
                    </a:lnTo>
                    <a:lnTo>
                      <a:pt x="472" y="308"/>
                    </a:lnTo>
                    <a:lnTo>
                      <a:pt x="471" y="308"/>
                    </a:lnTo>
                    <a:lnTo>
                      <a:pt x="471" y="309"/>
                    </a:lnTo>
                    <a:lnTo>
                      <a:pt x="472" y="309"/>
                    </a:lnTo>
                    <a:lnTo>
                      <a:pt x="472" y="311"/>
                    </a:lnTo>
                    <a:lnTo>
                      <a:pt x="471" y="309"/>
                    </a:lnTo>
                    <a:lnTo>
                      <a:pt x="471" y="311"/>
                    </a:lnTo>
                    <a:lnTo>
                      <a:pt x="471" y="313"/>
                    </a:lnTo>
                    <a:lnTo>
                      <a:pt x="471" y="314"/>
                    </a:lnTo>
                    <a:lnTo>
                      <a:pt x="471" y="316"/>
                    </a:lnTo>
                    <a:lnTo>
                      <a:pt x="472" y="316"/>
                    </a:lnTo>
                    <a:lnTo>
                      <a:pt x="472" y="318"/>
                    </a:lnTo>
                    <a:lnTo>
                      <a:pt x="474" y="320"/>
                    </a:lnTo>
                    <a:lnTo>
                      <a:pt x="474" y="321"/>
                    </a:lnTo>
                    <a:lnTo>
                      <a:pt x="474" y="323"/>
                    </a:lnTo>
                    <a:lnTo>
                      <a:pt x="474" y="325"/>
                    </a:lnTo>
                    <a:lnTo>
                      <a:pt x="476" y="325"/>
                    </a:lnTo>
                    <a:lnTo>
                      <a:pt x="476" y="326"/>
                    </a:lnTo>
                    <a:lnTo>
                      <a:pt x="476" y="328"/>
                    </a:lnTo>
                    <a:lnTo>
                      <a:pt x="476" y="330"/>
                    </a:lnTo>
                    <a:lnTo>
                      <a:pt x="477" y="330"/>
                    </a:lnTo>
                    <a:lnTo>
                      <a:pt x="479" y="330"/>
                    </a:lnTo>
                    <a:lnTo>
                      <a:pt x="481" y="330"/>
                    </a:lnTo>
                    <a:lnTo>
                      <a:pt x="481" y="331"/>
                    </a:lnTo>
                    <a:lnTo>
                      <a:pt x="482" y="333"/>
                    </a:lnTo>
                    <a:lnTo>
                      <a:pt x="482" y="335"/>
                    </a:lnTo>
                    <a:lnTo>
                      <a:pt x="482" y="337"/>
                    </a:lnTo>
                    <a:lnTo>
                      <a:pt x="484" y="337"/>
                    </a:lnTo>
                    <a:lnTo>
                      <a:pt x="484" y="338"/>
                    </a:lnTo>
                    <a:lnTo>
                      <a:pt x="484" y="340"/>
                    </a:lnTo>
                    <a:lnTo>
                      <a:pt x="486" y="340"/>
                    </a:lnTo>
                    <a:lnTo>
                      <a:pt x="486" y="342"/>
                    </a:lnTo>
                    <a:lnTo>
                      <a:pt x="488" y="342"/>
                    </a:lnTo>
                    <a:lnTo>
                      <a:pt x="488" y="343"/>
                    </a:lnTo>
                    <a:lnTo>
                      <a:pt x="486" y="343"/>
                    </a:lnTo>
                    <a:lnTo>
                      <a:pt x="486" y="345"/>
                    </a:lnTo>
                    <a:lnTo>
                      <a:pt x="484" y="345"/>
                    </a:lnTo>
                    <a:lnTo>
                      <a:pt x="484" y="347"/>
                    </a:lnTo>
                    <a:lnTo>
                      <a:pt x="482" y="347"/>
                    </a:lnTo>
                    <a:lnTo>
                      <a:pt x="481" y="350"/>
                    </a:lnTo>
                    <a:lnTo>
                      <a:pt x="477" y="352"/>
                    </a:lnTo>
                    <a:lnTo>
                      <a:pt x="474" y="355"/>
                    </a:lnTo>
                    <a:lnTo>
                      <a:pt x="471" y="359"/>
                    </a:lnTo>
                    <a:lnTo>
                      <a:pt x="469" y="360"/>
                    </a:lnTo>
                    <a:lnTo>
                      <a:pt x="469" y="362"/>
                    </a:lnTo>
                    <a:lnTo>
                      <a:pt x="471" y="360"/>
                    </a:lnTo>
                    <a:lnTo>
                      <a:pt x="471" y="362"/>
                    </a:lnTo>
                    <a:lnTo>
                      <a:pt x="472" y="360"/>
                    </a:lnTo>
                    <a:lnTo>
                      <a:pt x="472" y="362"/>
                    </a:lnTo>
                    <a:lnTo>
                      <a:pt x="474" y="362"/>
                    </a:lnTo>
                    <a:lnTo>
                      <a:pt x="476" y="362"/>
                    </a:lnTo>
                    <a:lnTo>
                      <a:pt x="477" y="362"/>
                    </a:lnTo>
                    <a:lnTo>
                      <a:pt x="477" y="364"/>
                    </a:lnTo>
                    <a:lnTo>
                      <a:pt x="479" y="365"/>
                    </a:lnTo>
                    <a:lnTo>
                      <a:pt x="479" y="367"/>
                    </a:lnTo>
                    <a:lnTo>
                      <a:pt x="481" y="367"/>
                    </a:lnTo>
                    <a:lnTo>
                      <a:pt x="482" y="369"/>
                    </a:lnTo>
                    <a:lnTo>
                      <a:pt x="484" y="369"/>
                    </a:lnTo>
                    <a:lnTo>
                      <a:pt x="484" y="371"/>
                    </a:lnTo>
                    <a:lnTo>
                      <a:pt x="486" y="371"/>
                    </a:lnTo>
                    <a:lnTo>
                      <a:pt x="486" y="372"/>
                    </a:lnTo>
                    <a:lnTo>
                      <a:pt x="488" y="374"/>
                    </a:lnTo>
                    <a:lnTo>
                      <a:pt x="489" y="374"/>
                    </a:lnTo>
                    <a:lnTo>
                      <a:pt x="489" y="376"/>
                    </a:lnTo>
                    <a:lnTo>
                      <a:pt x="491" y="376"/>
                    </a:lnTo>
                    <a:lnTo>
                      <a:pt x="491" y="377"/>
                    </a:lnTo>
                    <a:lnTo>
                      <a:pt x="491" y="379"/>
                    </a:lnTo>
                    <a:lnTo>
                      <a:pt x="491" y="381"/>
                    </a:lnTo>
                    <a:lnTo>
                      <a:pt x="489" y="381"/>
                    </a:lnTo>
                    <a:lnTo>
                      <a:pt x="491" y="381"/>
                    </a:lnTo>
                    <a:lnTo>
                      <a:pt x="491" y="382"/>
                    </a:lnTo>
                    <a:lnTo>
                      <a:pt x="491" y="384"/>
                    </a:lnTo>
                    <a:lnTo>
                      <a:pt x="493" y="384"/>
                    </a:lnTo>
                    <a:lnTo>
                      <a:pt x="493" y="386"/>
                    </a:lnTo>
                    <a:lnTo>
                      <a:pt x="493" y="384"/>
                    </a:lnTo>
                    <a:lnTo>
                      <a:pt x="494" y="386"/>
                    </a:lnTo>
                    <a:lnTo>
                      <a:pt x="494" y="388"/>
                    </a:lnTo>
                    <a:lnTo>
                      <a:pt x="494" y="389"/>
                    </a:lnTo>
                    <a:lnTo>
                      <a:pt x="493" y="389"/>
                    </a:lnTo>
                    <a:lnTo>
                      <a:pt x="494" y="391"/>
                    </a:lnTo>
                    <a:lnTo>
                      <a:pt x="496" y="393"/>
                    </a:lnTo>
                    <a:lnTo>
                      <a:pt x="496" y="394"/>
                    </a:lnTo>
                    <a:lnTo>
                      <a:pt x="496" y="396"/>
                    </a:lnTo>
                    <a:lnTo>
                      <a:pt x="496" y="398"/>
                    </a:lnTo>
                    <a:lnTo>
                      <a:pt x="498" y="398"/>
                    </a:lnTo>
                    <a:lnTo>
                      <a:pt x="498" y="399"/>
                    </a:lnTo>
                    <a:lnTo>
                      <a:pt x="498" y="401"/>
                    </a:lnTo>
                    <a:lnTo>
                      <a:pt x="499" y="401"/>
                    </a:lnTo>
                    <a:lnTo>
                      <a:pt x="499" y="403"/>
                    </a:lnTo>
                    <a:lnTo>
                      <a:pt x="499" y="405"/>
                    </a:lnTo>
                    <a:lnTo>
                      <a:pt x="499" y="406"/>
                    </a:lnTo>
                    <a:lnTo>
                      <a:pt x="501" y="406"/>
                    </a:lnTo>
                    <a:lnTo>
                      <a:pt x="501" y="408"/>
                    </a:lnTo>
                    <a:lnTo>
                      <a:pt x="501" y="410"/>
                    </a:lnTo>
                    <a:lnTo>
                      <a:pt x="503" y="410"/>
                    </a:lnTo>
                    <a:lnTo>
                      <a:pt x="503" y="411"/>
                    </a:lnTo>
                    <a:lnTo>
                      <a:pt x="503" y="413"/>
                    </a:lnTo>
                    <a:lnTo>
                      <a:pt x="501" y="413"/>
                    </a:lnTo>
                    <a:lnTo>
                      <a:pt x="501" y="415"/>
                    </a:lnTo>
                    <a:lnTo>
                      <a:pt x="503" y="415"/>
                    </a:lnTo>
                    <a:lnTo>
                      <a:pt x="501" y="416"/>
                    </a:lnTo>
                    <a:lnTo>
                      <a:pt x="496" y="416"/>
                    </a:lnTo>
                    <a:lnTo>
                      <a:pt x="494" y="418"/>
                    </a:lnTo>
                    <a:lnTo>
                      <a:pt x="494" y="416"/>
                    </a:lnTo>
                    <a:lnTo>
                      <a:pt x="494" y="415"/>
                    </a:lnTo>
                    <a:lnTo>
                      <a:pt x="494" y="413"/>
                    </a:lnTo>
                    <a:lnTo>
                      <a:pt x="493" y="413"/>
                    </a:lnTo>
                    <a:lnTo>
                      <a:pt x="493" y="411"/>
                    </a:lnTo>
                    <a:lnTo>
                      <a:pt x="494" y="411"/>
                    </a:lnTo>
                    <a:lnTo>
                      <a:pt x="494" y="410"/>
                    </a:lnTo>
                    <a:lnTo>
                      <a:pt x="494" y="408"/>
                    </a:lnTo>
                    <a:lnTo>
                      <a:pt x="494" y="406"/>
                    </a:lnTo>
                    <a:lnTo>
                      <a:pt x="493" y="406"/>
                    </a:lnTo>
                    <a:lnTo>
                      <a:pt x="493" y="405"/>
                    </a:lnTo>
                    <a:lnTo>
                      <a:pt x="494" y="403"/>
                    </a:lnTo>
                    <a:lnTo>
                      <a:pt x="493" y="403"/>
                    </a:lnTo>
                    <a:lnTo>
                      <a:pt x="493" y="401"/>
                    </a:lnTo>
                    <a:lnTo>
                      <a:pt x="493" y="399"/>
                    </a:lnTo>
                    <a:lnTo>
                      <a:pt x="493" y="398"/>
                    </a:lnTo>
                    <a:lnTo>
                      <a:pt x="493" y="396"/>
                    </a:lnTo>
                    <a:lnTo>
                      <a:pt x="493" y="394"/>
                    </a:lnTo>
                    <a:lnTo>
                      <a:pt x="491" y="394"/>
                    </a:lnTo>
                    <a:lnTo>
                      <a:pt x="489" y="394"/>
                    </a:lnTo>
                    <a:lnTo>
                      <a:pt x="488" y="393"/>
                    </a:lnTo>
                    <a:lnTo>
                      <a:pt x="488" y="391"/>
                    </a:lnTo>
                    <a:lnTo>
                      <a:pt x="486" y="391"/>
                    </a:lnTo>
                    <a:lnTo>
                      <a:pt x="486" y="389"/>
                    </a:lnTo>
                    <a:lnTo>
                      <a:pt x="486" y="388"/>
                    </a:lnTo>
                    <a:lnTo>
                      <a:pt x="486" y="386"/>
                    </a:lnTo>
                    <a:lnTo>
                      <a:pt x="486" y="384"/>
                    </a:lnTo>
                    <a:lnTo>
                      <a:pt x="484" y="384"/>
                    </a:lnTo>
                    <a:lnTo>
                      <a:pt x="484" y="382"/>
                    </a:lnTo>
                    <a:lnTo>
                      <a:pt x="486" y="382"/>
                    </a:lnTo>
                    <a:lnTo>
                      <a:pt x="484" y="382"/>
                    </a:lnTo>
                    <a:lnTo>
                      <a:pt x="484" y="381"/>
                    </a:lnTo>
                    <a:lnTo>
                      <a:pt x="482" y="382"/>
                    </a:lnTo>
                    <a:lnTo>
                      <a:pt x="482" y="384"/>
                    </a:lnTo>
                    <a:lnTo>
                      <a:pt x="481" y="384"/>
                    </a:lnTo>
                    <a:lnTo>
                      <a:pt x="481" y="386"/>
                    </a:lnTo>
                    <a:lnTo>
                      <a:pt x="479" y="386"/>
                    </a:lnTo>
                    <a:lnTo>
                      <a:pt x="479" y="388"/>
                    </a:lnTo>
                    <a:lnTo>
                      <a:pt x="477" y="388"/>
                    </a:lnTo>
                    <a:lnTo>
                      <a:pt x="476" y="388"/>
                    </a:lnTo>
                    <a:lnTo>
                      <a:pt x="474" y="388"/>
                    </a:lnTo>
                    <a:lnTo>
                      <a:pt x="472" y="388"/>
                    </a:lnTo>
                    <a:lnTo>
                      <a:pt x="472" y="389"/>
                    </a:lnTo>
                    <a:lnTo>
                      <a:pt x="471" y="389"/>
                    </a:lnTo>
                    <a:lnTo>
                      <a:pt x="471" y="391"/>
                    </a:lnTo>
                    <a:lnTo>
                      <a:pt x="469" y="391"/>
                    </a:lnTo>
                    <a:lnTo>
                      <a:pt x="469" y="393"/>
                    </a:lnTo>
                    <a:lnTo>
                      <a:pt x="467" y="394"/>
                    </a:lnTo>
                    <a:lnTo>
                      <a:pt x="467" y="396"/>
                    </a:lnTo>
                    <a:lnTo>
                      <a:pt x="465" y="396"/>
                    </a:lnTo>
                    <a:lnTo>
                      <a:pt x="465" y="394"/>
                    </a:lnTo>
                    <a:lnTo>
                      <a:pt x="464" y="394"/>
                    </a:lnTo>
                    <a:lnTo>
                      <a:pt x="464" y="393"/>
                    </a:lnTo>
                    <a:lnTo>
                      <a:pt x="462" y="393"/>
                    </a:lnTo>
                    <a:lnTo>
                      <a:pt x="460" y="393"/>
                    </a:lnTo>
                    <a:lnTo>
                      <a:pt x="460" y="391"/>
                    </a:lnTo>
                    <a:lnTo>
                      <a:pt x="459" y="391"/>
                    </a:lnTo>
                    <a:lnTo>
                      <a:pt x="459" y="389"/>
                    </a:lnTo>
                    <a:lnTo>
                      <a:pt x="459" y="391"/>
                    </a:lnTo>
                    <a:lnTo>
                      <a:pt x="457" y="391"/>
                    </a:lnTo>
                    <a:lnTo>
                      <a:pt x="457" y="389"/>
                    </a:lnTo>
                    <a:lnTo>
                      <a:pt x="457" y="388"/>
                    </a:lnTo>
                    <a:lnTo>
                      <a:pt x="457" y="389"/>
                    </a:lnTo>
                    <a:lnTo>
                      <a:pt x="457" y="391"/>
                    </a:lnTo>
                    <a:lnTo>
                      <a:pt x="455" y="391"/>
                    </a:lnTo>
                    <a:lnTo>
                      <a:pt x="455" y="393"/>
                    </a:lnTo>
                    <a:lnTo>
                      <a:pt x="455" y="394"/>
                    </a:lnTo>
                    <a:lnTo>
                      <a:pt x="454" y="394"/>
                    </a:lnTo>
                    <a:lnTo>
                      <a:pt x="455" y="394"/>
                    </a:lnTo>
                    <a:lnTo>
                      <a:pt x="454" y="394"/>
                    </a:lnTo>
                    <a:lnTo>
                      <a:pt x="455" y="396"/>
                    </a:lnTo>
                    <a:lnTo>
                      <a:pt x="455" y="394"/>
                    </a:lnTo>
                    <a:lnTo>
                      <a:pt x="455" y="396"/>
                    </a:lnTo>
                    <a:lnTo>
                      <a:pt x="455" y="394"/>
                    </a:lnTo>
                    <a:lnTo>
                      <a:pt x="455" y="396"/>
                    </a:lnTo>
                    <a:lnTo>
                      <a:pt x="455" y="398"/>
                    </a:lnTo>
                    <a:lnTo>
                      <a:pt x="455" y="396"/>
                    </a:lnTo>
                    <a:lnTo>
                      <a:pt x="457" y="398"/>
                    </a:lnTo>
                    <a:lnTo>
                      <a:pt x="457" y="396"/>
                    </a:lnTo>
                    <a:lnTo>
                      <a:pt x="457" y="398"/>
                    </a:lnTo>
                    <a:lnTo>
                      <a:pt x="459" y="398"/>
                    </a:lnTo>
                    <a:lnTo>
                      <a:pt x="445" y="398"/>
                    </a:lnTo>
                    <a:lnTo>
                      <a:pt x="435" y="398"/>
                    </a:lnTo>
                    <a:lnTo>
                      <a:pt x="430" y="398"/>
                    </a:lnTo>
                    <a:lnTo>
                      <a:pt x="425" y="398"/>
                    </a:lnTo>
                    <a:lnTo>
                      <a:pt x="420" y="398"/>
                    </a:lnTo>
                    <a:lnTo>
                      <a:pt x="416" y="398"/>
                    </a:lnTo>
                    <a:lnTo>
                      <a:pt x="414" y="398"/>
                    </a:lnTo>
                    <a:lnTo>
                      <a:pt x="413" y="398"/>
                    </a:lnTo>
                    <a:lnTo>
                      <a:pt x="413" y="396"/>
                    </a:lnTo>
                    <a:lnTo>
                      <a:pt x="411" y="398"/>
                    </a:lnTo>
                    <a:lnTo>
                      <a:pt x="409" y="398"/>
                    </a:lnTo>
                    <a:lnTo>
                      <a:pt x="409" y="399"/>
                    </a:lnTo>
                    <a:lnTo>
                      <a:pt x="408" y="398"/>
                    </a:lnTo>
                    <a:lnTo>
                      <a:pt x="408" y="399"/>
                    </a:lnTo>
                    <a:lnTo>
                      <a:pt x="408" y="398"/>
                    </a:lnTo>
                    <a:lnTo>
                      <a:pt x="408" y="399"/>
                    </a:lnTo>
                    <a:lnTo>
                      <a:pt x="408" y="398"/>
                    </a:lnTo>
                    <a:lnTo>
                      <a:pt x="406" y="398"/>
                    </a:lnTo>
                    <a:lnTo>
                      <a:pt x="404" y="398"/>
                    </a:lnTo>
                    <a:lnTo>
                      <a:pt x="404" y="399"/>
                    </a:lnTo>
                    <a:lnTo>
                      <a:pt x="403" y="399"/>
                    </a:lnTo>
                    <a:lnTo>
                      <a:pt x="401" y="399"/>
                    </a:lnTo>
                    <a:lnTo>
                      <a:pt x="401" y="401"/>
                    </a:lnTo>
                    <a:lnTo>
                      <a:pt x="401" y="405"/>
                    </a:lnTo>
                    <a:lnTo>
                      <a:pt x="401" y="408"/>
                    </a:lnTo>
                    <a:lnTo>
                      <a:pt x="401" y="411"/>
                    </a:lnTo>
                    <a:lnTo>
                      <a:pt x="401" y="413"/>
                    </a:lnTo>
                    <a:lnTo>
                      <a:pt x="401" y="415"/>
                    </a:lnTo>
                    <a:lnTo>
                      <a:pt x="401" y="418"/>
                    </a:lnTo>
                    <a:lnTo>
                      <a:pt x="401" y="420"/>
                    </a:lnTo>
                    <a:lnTo>
                      <a:pt x="403" y="420"/>
                    </a:lnTo>
                    <a:lnTo>
                      <a:pt x="403" y="422"/>
                    </a:lnTo>
                    <a:lnTo>
                      <a:pt x="403" y="420"/>
                    </a:lnTo>
                    <a:lnTo>
                      <a:pt x="404" y="420"/>
                    </a:lnTo>
                    <a:lnTo>
                      <a:pt x="406" y="420"/>
                    </a:lnTo>
                    <a:lnTo>
                      <a:pt x="408" y="420"/>
                    </a:lnTo>
                    <a:lnTo>
                      <a:pt x="409" y="420"/>
                    </a:lnTo>
                    <a:lnTo>
                      <a:pt x="411" y="420"/>
                    </a:lnTo>
                    <a:lnTo>
                      <a:pt x="413" y="420"/>
                    </a:lnTo>
                    <a:lnTo>
                      <a:pt x="414" y="420"/>
                    </a:lnTo>
                    <a:lnTo>
                      <a:pt x="416" y="422"/>
                    </a:lnTo>
                    <a:lnTo>
                      <a:pt x="418" y="420"/>
                    </a:lnTo>
                    <a:lnTo>
                      <a:pt x="420" y="420"/>
                    </a:lnTo>
                    <a:lnTo>
                      <a:pt x="420" y="422"/>
                    </a:lnTo>
                    <a:lnTo>
                      <a:pt x="421" y="422"/>
                    </a:lnTo>
                    <a:lnTo>
                      <a:pt x="423" y="422"/>
                    </a:lnTo>
                    <a:lnTo>
                      <a:pt x="423" y="423"/>
                    </a:lnTo>
                    <a:lnTo>
                      <a:pt x="423" y="425"/>
                    </a:lnTo>
                    <a:lnTo>
                      <a:pt x="425" y="425"/>
                    </a:lnTo>
                    <a:lnTo>
                      <a:pt x="423" y="425"/>
                    </a:lnTo>
                    <a:lnTo>
                      <a:pt x="423" y="427"/>
                    </a:lnTo>
                    <a:lnTo>
                      <a:pt x="425" y="427"/>
                    </a:lnTo>
                    <a:lnTo>
                      <a:pt x="425" y="428"/>
                    </a:lnTo>
                    <a:lnTo>
                      <a:pt x="425" y="430"/>
                    </a:lnTo>
                    <a:lnTo>
                      <a:pt x="425" y="432"/>
                    </a:lnTo>
                    <a:lnTo>
                      <a:pt x="423" y="432"/>
                    </a:lnTo>
                    <a:lnTo>
                      <a:pt x="425" y="433"/>
                    </a:lnTo>
                    <a:lnTo>
                      <a:pt x="426" y="433"/>
                    </a:lnTo>
                    <a:lnTo>
                      <a:pt x="426" y="435"/>
                    </a:lnTo>
                    <a:lnTo>
                      <a:pt x="425" y="435"/>
                    </a:lnTo>
                    <a:lnTo>
                      <a:pt x="423" y="435"/>
                    </a:lnTo>
                    <a:lnTo>
                      <a:pt x="423" y="437"/>
                    </a:lnTo>
                    <a:lnTo>
                      <a:pt x="421" y="437"/>
                    </a:lnTo>
                    <a:lnTo>
                      <a:pt x="420" y="437"/>
                    </a:lnTo>
                    <a:lnTo>
                      <a:pt x="420" y="435"/>
                    </a:lnTo>
                    <a:lnTo>
                      <a:pt x="418" y="435"/>
                    </a:lnTo>
                    <a:lnTo>
                      <a:pt x="418" y="437"/>
                    </a:lnTo>
                    <a:lnTo>
                      <a:pt x="418" y="435"/>
                    </a:lnTo>
                    <a:lnTo>
                      <a:pt x="416" y="435"/>
                    </a:lnTo>
                    <a:lnTo>
                      <a:pt x="416" y="433"/>
                    </a:lnTo>
                    <a:lnTo>
                      <a:pt x="414" y="432"/>
                    </a:lnTo>
                    <a:lnTo>
                      <a:pt x="413" y="432"/>
                    </a:lnTo>
                    <a:lnTo>
                      <a:pt x="413" y="433"/>
                    </a:lnTo>
                    <a:lnTo>
                      <a:pt x="411" y="433"/>
                    </a:lnTo>
                    <a:lnTo>
                      <a:pt x="411" y="435"/>
                    </a:lnTo>
                    <a:lnTo>
                      <a:pt x="409" y="435"/>
                    </a:lnTo>
                    <a:lnTo>
                      <a:pt x="409" y="437"/>
                    </a:lnTo>
                    <a:lnTo>
                      <a:pt x="409" y="435"/>
                    </a:lnTo>
                    <a:lnTo>
                      <a:pt x="408" y="435"/>
                    </a:lnTo>
                    <a:lnTo>
                      <a:pt x="408" y="433"/>
                    </a:lnTo>
                    <a:lnTo>
                      <a:pt x="406" y="435"/>
                    </a:lnTo>
                    <a:lnTo>
                      <a:pt x="406" y="437"/>
                    </a:lnTo>
                    <a:lnTo>
                      <a:pt x="404" y="435"/>
                    </a:lnTo>
                    <a:lnTo>
                      <a:pt x="404" y="437"/>
                    </a:lnTo>
                    <a:lnTo>
                      <a:pt x="403" y="437"/>
                    </a:lnTo>
                    <a:lnTo>
                      <a:pt x="401" y="437"/>
                    </a:lnTo>
                    <a:lnTo>
                      <a:pt x="399" y="437"/>
                    </a:lnTo>
                    <a:lnTo>
                      <a:pt x="399" y="439"/>
                    </a:lnTo>
                    <a:lnTo>
                      <a:pt x="397" y="439"/>
                    </a:lnTo>
                    <a:lnTo>
                      <a:pt x="397" y="437"/>
                    </a:lnTo>
                    <a:lnTo>
                      <a:pt x="396" y="437"/>
                    </a:lnTo>
                    <a:lnTo>
                      <a:pt x="396" y="439"/>
                    </a:lnTo>
                    <a:lnTo>
                      <a:pt x="394" y="439"/>
                    </a:lnTo>
                    <a:lnTo>
                      <a:pt x="394" y="440"/>
                    </a:lnTo>
                    <a:lnTo>
                      <a:pt x="394" y="444"/>
                    </a:lnTo>
                    <a:lnTo>
                      <a:pt x="394" y="445"/>
                    </a:lnTo>
                    <a:lnTo>
                      <a:pt x="394" y="447"/>
                    </a:lnTo>
                    <a:lnTo>
                      <a:pt x="394" y="449"/>
                    </a:lnTo>
                    <a:lnTo>
                      <a:pt x="394" y="451"/>
                    </a:lnTo>
                    <a:lnTo>
                      <a:pt x="394" y="454"/>
                    </a:lnTo>
                    <a:lnTo>
                      <a:pt x="394" y="457"/>
                    </a:lnTo>
                    <a:lnTo>
                      <a:pt x="394" y="461"/>
                    </a:lnTo>
                    <a:lnTo>
                      <a:pt x="396" y="461"/>
                    </a:lnTo>
                    <a:lnTo>
                      <a:pt x="396" y="462"/>
                    </a:lnTo>
                    <a:lnTo>
                      <a:pt x="396" y="464"/>
                    </a:lnTo>
                    <a:lnTo>
                      <a:pt x="397" y="466"/>
                    </a:lnTo>
                    <a:lnTo>
                      <a:pt x="397" y="468"/>
                    </a:lnTo>
                    <a:lnTo>
                      <a:pt x="399" y="468"/>
                    </a:lnTo>
                    <a:lnTo>
                      <a:pt x="399" y="469"/>
                    </a:lnTo>
                    <a:lnTo>
                      <a:pt x="401" y="468"/>
                    </a:lnTo>
                    <a:lnTo>
                      <a:pt x="403" y="469"/>
                    </a:lnTo>
                    <a:lnTo>
                      <a:pt x="403" y="471"/>
                    </a:lnTo>
                    <a:lnTo>
                      <a:pt x="404" y="471"/>
                    </a:lnTo>
                    <a:lnTo>
                      <a:pt x="406" y="473"/>
                    </a:lnTo>
                    <a:lnTo>
                      <a:pt x="408" y="473"/>
                    </a:lnTo>
                    <a:lnTo>
                      <a:pt x="408" y="474"/>
                    </a:lnTo>
                    <a:lnTo>
                      <a:pt x="409" y="473"/>
                    </a:lnTo>
                    <a:lnTo>
                      <a:pt x="409" y="474"/>
                    </a:lnTo>
                    <a:lnTo>
                      <a:pt x="409" y="476"/>
                    </a:lnTo>
                    <a:lnTo>
                      <a:pt x="409" y="478"/>
                    </a:lnTo>
                    <a:lnTo>
                      <a:pt x="411" y="478"/>
                    </a:lnTo>
                    <a:lnTo>
                      <a:pt x="411" y="479"/>
                    </a:lnTo>
                    <a:lnTo>
                      <a:pt x="409" y="479"/>
                    </a:lnTo>
                    <a:lnTo>
                      <a:pt x="409" y="481"/>
                    </a:lnTo>
                    <a:lnTo>
                      <a:pt x="409" y="483"/>
                    </a:lnTo>
                    <a:lnTo>
                      <a:pt x="411" y="483"/>
                    </a:lnTo>
                    <a:lnTo>
                      <a:pt x="409" y="483"/>
                    </a:lnTo>
                    <a:lnTo>
                      <a:pt x="411" y="485"/>
                    </a:lnTo>
                    <a:lnTo>
                      <a:pt x="411" y="486"/>
                    </a:lnTo>
                    <a:lnTo>
                      <a:pt x="413" y="486"/>
                    </a:lnTo>
                    <a:lnTo>
                      <a:pt x="413" y="488"/>
                    </a:lnTo>
                    <a:lnTo>
                      <a:pt x="413" y="490"/>
                    </a:lnTo>
                    <a:lnTo>
                      <a:pt x="413" y="488"/>
                    </a:lnTo>
                    <a:lnTo>
                      <a:pt x="414" y="490"/>
                    </a:lnTo>
                    <a:lnTo>
                      <a:pt x="416" y="491"/>
                    </a:lnTo>
                    <a:lnTo>
                      <a:pt x="414" y="491"/>
                    </a:lnTo>
                    <a:lnTo>
                      <a:pt x="416" y="491"/>
                    </a:lnTo>
                    <a:lnTo>
                      <a:pt x="416" y="493"/>
                    </a:lnTo>
                    <a:lnTo>
                      <a:pt x="416" y="495"/>
                    </a:lnTo>
                    <a:lnTo>
                      <a:pt x="416" y="496"/>
                    </a:lnTo>
                    <a:lnTo>
                      <a:pt x="416" y="498"/>
                    </a:lnTo>
                    <a:lnTo>
                      <a:pt x="416" y="500"/>
                    </a:lnTo>
                    <a:lnTo>
                      <a:pt x="416" y="502"/>
                    </a:lnTo>
                    <a:lnTo>
                      <a:pt x="416" y="503"/>
                    </a:lnTo>
                    <a:lnTo>
                      <a:pt x="414" y="505"/>
                    </a:lnTo>
                    <a:lnTo>
                      <a:pt x="416" y="505"/>
                    </a:lnTo>
                    <a:lnTo>
                      <a:pt x="416" y="507"/>
                    </a:lnTo>
                    <a:lnTo>
                      <a:pt x="414" y="507"/>
                    </a:lnTo>
                    <a:lnTo>
                      <a:pt x="414" y="508"/>
                    </a:lnTo>
                    <a:lnTo>
                      <a:pt x="413" y="517"/>
                    </a:lnTo>
                    <a:lnTo>
                      <a:pt x="413" y="524"/>
                    </a:lnTo>
                    <a:lnTo>
                      <a:pt x="411" y="529"/>
                    </a:lnTo>
                    <a:lnTo>
                      <a:pt x="409" y="534"/>
                    </a:lnTo>
                    <a:lnTo>
                      <a:pt x="409" y="539"/>
                    </a:lnTo>
                    <a:lnTo>
                      <a:pt x="406" y="554"/>
                    </a:lnTo>
                    <a:lnTo>
                      <a:pt x="406" y="558"/>
                    </a:lnTo>
                    <a:lnTo>
                      <a:pt x="403" y="581"/>
                    </a:lnTo>
                    <a:lnTo>
                      <a:pt x="401" y="590"/>
                    </a:lnTo>
                    <a:lnTo>
                      <a:pt x="399" y="600"/>
                    </a:lnTo>
                    <a:lnTo>
                      <a:pt x="397" y="600"/>
                    </a:lnTo>
                    <a:lnTo>
                      <a:pt x="397" y="598"/>
                    </a:lnTo>
                    <a:lnTo>
                      <a:pt x="396" y="598"/>
                    </a:lnTo>
                    <a:lnTo>
                      <a:pt x="396" y="597"/>
                    </a:lnTo>
                    <a:lnTo>
                      <a:pt x="394" y="597"/>
                    </a:lnTo>
                    <a:lnTo>
                      <a:pt x="394" y="595"/>
                    </a:lnTo>
                    <a:lnTo>
                      <a:pt x="392" y="593"/>
                    </a:lnTo>
                    <a:lnTo>
                      <a:pt x="391" y="593"/>
                    </a:lnTo>
                    <a:lnTo>
                      <a:pt x="391" y="592"/>
                    </a:lnTo>
                    <a:lnTo>
                      <a:pt x="391" y="590"/>
                    </a:lnTo>
                    <a:lnTo>
                      <a:pt x="389" y="590"/>
                    </a:lnTo>
                    <a:lnTo>
                      <a:pt x="389" y="588"/>
                    </a:lnTo>
                    <a:lnTo>
                      <a:pt x="387" y="588"/>
                    </a:lnTo>
                    <a:lnTo>
                      <a:pt x="387" y="587"/>
                    </a:lnTo>
                    <a:lnTo>
                      <a:pt x="386" y="587"/>
                    </a:lnTo>
                    <a:lnTo>
                      <a:pt x="386" y="585"/>
                    </a:lnTo>
                    <a:lnTo>
                      <a:pt x="384" y="585"/>
                    </a:lnTo>
                    <a:lnTo>
                      <a:pt x="384" y="587"/>
                    </a:lnTo>
                    <a:lnTo>
                      <a:pt x="382" y="587"/>
                    </a:lnTo>
                    <a:lnTo>
                      <a:pt x="380" y="587"/>
                    </a:lnTo>
                    <a:lnTo>
                      <a:pt x="380" y="588"/>
                    </a:lnTo>
                    <a:lnTo>
                      <a:pt x="379" y="588"/>
                    </a:lnTo>
                    <a:lnTo>
                      <a:pt x="377" y="587"/>
                    </a:lnTo>
                    <a:lnTo>
                      <a:pt x="375" y="587"/>
                    </a:lnTo>
                    <a:lnTo>
                      <a:pt x="374" y="587"/>
                    </a:lnTo>
                    <a:lnTo>
                      <a:pt x="374" y="585"/>
                    </a:lnTo>
                    <a:lnTo>
                      <a:pt x="372" y="585"/>
                    </a:lnTo>
                    <a:lnTo>
                      <a:pt x="374" y="581"/>
                    </a:lnTo>
                    <a:lnTo>
                      <a:pt x="375" y="581"/>
                    </a:lnTo>
                    <a:lnTo>
                      <a:pt x="377" y="576"/>
                    </a:lnTo>
                    <a:lnTo>
                      <a:pt x="379" y="573"/>
                    </a:lnTo>
                    <a:lnTo>
                      <a:pt x="380" y="573"/>
                    </a:lnTo>
                    <a:lnTo>
                      <a:pt x="382" y="570"/>
                    </a:lnTo>
                    <a:lnTo>
                      <a:pt x="384" y="566"/>
                    </a:lnTo>
                    <a:lnTo>
                      <a:pt x="386" y="564"/>
                    </a:lnTo>
                    <a:lnTo>
                      <a:pt x="386" y="563"/>
                    </a:lnTo>
                    <a:lnTo>
                      <a:pt x="387" y="561"/>
                    </a:lnTo>
                    <a:lnTo>
                      <a:pt x="391" y="556"/>
                    </a:lnTo>
                    <a:lnTo>
                      <a:pt x="392" y="554"/>
                    </a:lnTo>
                    <a:lnTo>
                      <a:pt x="394" y="551"/>
                    </a:lnTo>
                    <a:lnTo>
                      <a:pt x="394" y="549"/>
                    </a:lnTo>
                    <a:lnTo>
                      <a:pt x="394" y="547"/>
                    </a:lnTo>
                    <a:lnTo>
                      <a:pt x="394" y="546"/>
                    </a:lnTo>
                    <a:lnTo>
                      <a:pt x="392" y="547"/>
                    </a:lnTo>
                    <a:lnTo>
                      <a:pt x="391" y="547"/>
                    </a:lnTo>
                    <a:lnTo>
                      <a:pt x="391" y="546"/>
                    </a:lnTo>
                    <a:lnTo>
                      <a:pt x="389" y="546"/>
                    </a:lnTo>
                    <a:lnTo>
                      <a:pt x="389" y="547"/>
                    </a:lnTo>
                    <a:lnTo>
                      <a:pt x="389" y="546"/>
                    </a:lnTo>
                    <a:lnTo>
                      <a:pt x="389" y="544"/>
                    </a:lnTo>
                    <a:lnTo>
                      <a:pt x="387" y="542"/>
                    </a:lnTo>
                    <a:lnTo>
                      <a:pt x="386" y="544"/>
                    </a:lnTo>
                    <a:lnTo>
                      <a:pt x="384" y="544"/>
                    </a:lnTo>
                    <a:lnTo>
                      <a:pt x="384" y="542"/>
                    </a:lnTo>
                    <a:lnTo>
                      <a:pt x="386" y="542"/>
                    </a:lnTo>
                    <a:lnTo>
                      <a:pt x="386" y="541"/>
                    </a:lnTo>
                    <a:lnTo>
                      <a:pt x="384" y="541"/>
                    </a:lnTo>
                    <a:lnTo>
                      <a:pt x="382" y="542"/>
                    </a:lnTo>
                    <a:lnTo>
                      <a:pt x="380" y="542"/>
                    </a:lnTo>
                    <a:lnTo>
                      <a:pt x="380" y="541"/>
                    </a:lnTo>
                    <a:lnTo>
                      <a:pt x="380" y="539"/>
                    </a:lnTo>
                    <a:lnTo>
                      <a:pt x="380" y="541"/>
                    </a:lnTo>
                    <a:lnTo>
                      <a:pt x="379" y="541"/>
                    </a:lnTo>
                    <a:lnTo>
                      <a:pt x="379" y="539"/>
                    </a:lnTo>
                    <a:lnTo>
                      <a:pt x="377" y="539"/>
                    </a:lnTo>
                    <a:lnTo>
                      <a:pt x="377" y="541"/>
                    </a:lnTo>
                    <a:lnTo>
                      <a:pt x="375" y="541"/>
                    </a:lnTo>
                    <a:lnTo>
                      <a:pt x="375" y="539"/>
                    </a:lnTo>
                    <a:lnTo>
                      <a:pt x="375" y="537"/>
                    </a:lnTo>
                    <a:lnTo>
                      <a:pt x="374" y="539"/>
                    </a:lnTo>
                    <a:lnTo>
                      <a:pt x="374" y="537"/>
                    </a:lnTo>
                    <a:lnTo>
                      <a:pt x="374" y="536"/>
                    </a:lnTo>
                    <a:lnTo>
                      <a:pt x="372" y="536"/>
                    </a:lnTo>
                    <a:lnTo>
                      <a:pt x="370" y="536"/>
                    </a:lnTo>
                    <a:lnTo>
                      <a:pt x="370" y="534"/>
                    </a:lnTo>
                    <a:lnTo>
                      <a:pt x="369" y="534"/>
                    </a:lnTo>
                    <a:lnTo>
                      <a:pt x="367" y="534"/>
                    </a:lnTo>
                    <a:lnTo>
                      <a:pt x="367" y="532"/>
                    </a:lnTo>
                    <a:lnTo>
                      <a:pt x="365" y="532"/>
                    </a:lnTo>
                    <a:lnTo>
                      <a:pt x="363" y="532"/>
                    </a:lnTo>
                    <a:lnTo>
                      <a:pt x="362" y="532"/>
                    </a:lnTo>
                    <a:lnTo>
                      <a:pt x="362" y="534"/>
                    </a:lnTo>
                    <a:lnTo>
                      <a:pt x="363" y="534"/>
                    </a:lnTo>
                    <a:lnTo>
                      <a:pt x="362" y="534"/>
                    </a:lnTo>
                    <a:lnTo>
                      <a:pt x="360" y="534"/>
                    </a:lnTo>
                    <a:lnTo>
                      <a:pt x="358" y="534"/>
                    </a:lnTo>
                    <a:lnTo>
                      <a:pt x="358" y="536"/>
                    </a:lnTo>
                    <a:lnTo>
                      <a:pt x="357" y="536"/>
                    </a:lnTo>
                    <a:lnTo>
                      <a:pt x="357" y="537"/>
                    </a:lnTo>
                    <a:lnTo>
                      <a:pt x="355" y="537"/>
                    </a:lnTo>
                    <a:lnTo>
                      <a:pt x="355" y="536"/>
                    </a:lnTo>
                    <a:lnTo>
                      <a:pt x="353" y="536"/>
                    </a:lnTo>
                    <a:lnTo>
                      <a:pt x="353" y="537"/>
                    </a:lnTo>
                    <a:lnTo>
                      <a:pt x="353" y="536"/>
                    </a:lnTo>
                    <a:lnTo>
                      <a:pt x="352" y="536"/>
                    </a:lnTo>
                    <a:lnTo>
                      <a:pt x="352" y="537"/>
                    </a:lnTo>
                    <a:lnTo>
                      <a:pt x="350" y="537"/>
                    </a:lnTo>
                    <a:lnTo>
                      <a:pt x="350" y="539"/>
                    </a:lnTo>
                    <a:lnTo>
                      <a:pt x="348" y="537"/>
                    </a:lnTo>
                    <a:lnTo>
                      <a:pt x="350" y="537"/>
                    </a:lnTo>
                    <a:lnTo>
                      <a:pt x="350" y="536"/>
                    </a:lnTo>
                    <a:lnTo>
                      <a:pt x="348" y="536"/>
                    </a:lnTo>
                    <a:lnTo>
                      <a:pt x="348" y="534"/>
                    </a:lnTo>
                    <a:lnTo>
                      <a:pt x="346" y="534"/>
                    </a:lnTo>
                    <a:lnTo>
                      <a:pt x="346" y="536"/>
                    </a:lnTo>
                    <a:lnTo>
                      <a:pt x="345" y="536"/>
                    </a:lnTo>
                    <a:lnTo>
                      <a:pt x="345" y="534"/>
                    </a:lnTo>
                    <a:lnTo>
                      <a:pt x="345" y="532"/>
                    </a:lnTo>
                    <a:lnTo>
                      <a:pt x="343" y="532"/>
                    </a:lnTo>
                    <a:lnTo>
                      <a:pt x="341" y="532"/>
                    </a:lnTo>
                    <a:lnTo>
                      <a:pt x="341" y="530"/>
                    </a:lnTo>
                    <a:lnTo>
                      <a:pt x="340" y="530"/>
                    </a:lnTo>
                    <a:lnTo>
                      <a:pt x="340" y="532"/>
                    </a:lnTo>
                    <a:lnTo>
                      <a:pt x="338" y="532"/>
                    </a:lnTo>
                    <a:lnTo>
                      <a:pt x="338" y="530"/>
                    </a:lnTo>
                    <a:lnTo>
                      <a:pt x="338" y="529"/>
                    </a:lnTo>
                    <a:lnTo>
                      <a:pt x="336" y="530"/>
                    </a:lnTo>
                    <a:lnTo>
                      <a:pt x="335" y="532"/>
                    </a:lnTo>
                    <a:lnTo>
                      <a:pt x="335" y="530"/>
                    </a:lnTo>
                    <a:lnTo>
                      <a:pt x="335" y="532"/>
                    </a:lnTo>
                    <a:lnTo>
                      <a:pt x="333" y="532"/>
                    </a:lnTo>
                    <a:lnTo>
                      <a:pt x="333" y="534"/>
                    </a:lnTo>
                    <a:lnTo>
                      <a:pt x="333" y="536"/>
                    </a:lnTo>
                    <a:lnTo>
                      <a:pt x="331" y="536"/>
                    </a:lnTo>
                    <a:lnTo>
                      <a:pt x="331" y="537"/>
                    </a:lnTo>
                    <a:lnTo>
                      <a:pt x="329" y="537"/>
                    </a:lnTo>
                    <a:lnTo>
                      <a:pt x="328" y="537"/>
                    </a:lnTo>
                    <a:lnTo>
                      <a:pt x="328" y="536"/>
                    </a:lnTo>
                    <a:lnTo>
                      <a:pt x="326" y="536"/>
                    </a:lnTo>
                    <a:lnTo>
                      <a:pt x="326" y="537"/>
                    </a:lnTo>
                    <a:lnTo>
                      <a:pt x="324" y="537"/>
                    </a:lnTo>
                    <a:lnTo>
                      <a:pt x="324" y="539"/>
                    </a:lnTo>
                    <a:lnTo>
                      <a:pt x="324" y="541"/>
                    </a:lnTo>
                    <a:lnTo>
                      <a:pt x="323" y="541"/>
                    </a:lnTo>
                    <a:lnTo>
                      <a:pt x="323" y="539"/>
                    </a:lnTo>
                    <a:lnTo>
                      <a:pt x="321" y="539"/>
                    </a:lnTo>
                    <a:lnTo>
                      <a:pt x="319" y="539"/>
                    </a:lnTo>
                    <a:lnTo>
                      <a:pt x="319" y="541"/>
                    </a:lnTo>
                    <a:lnTo>
                      <a:pt x="319" y="539"/>
                    </a:lnTo>
                    <a:lnTo>
                      <a:pt x="319" y="541"/>
                    </a:lnTo>
                    <a:lnTo>
                      <a:pt x="318" y="541"/>
                    </a:lnTo>
                    <a:lnTo>
                      <a:pt x="316" y="541"/>
                    </a:lnTo>
                    <a:lnTo>
                      <a:pt x="316" y="539"/>
                    </a:lnTo>
                    <a:lnTo>
                      <a:pt x="314" y="539"/>
                    </a:lnTo>
                    <a:lnTo>
                      <a:pt x="312" y="539"/>
                    </a:lnTo>
                    <a:lnTo>
                      <a:pt x="311" y="539"/>
                    </a:lnTo>
                    <a:lnTo>
                      <a:pt x="311" y="537"/>
                    </a:lnTo>
                    <a:lnTo>
                      <a:pt x="309" y="537"/>
                    </a:lnTo>
                    <a:lnTo>
                      <a:pt x="307" y="537"/>
                    </a:lnTo>
                    <a:lnTo>
                      <a:pt x="307" y="539"/>
                    </a:lnTo>
                    <a:lnTo>
                      <a:pt x="306" y="539"/>
                    </a:lnTo>
                    <a:lnTo>
                      <a:pt x="304" y="537"/>
                    </a:lnTo>
                    <a:lnTo>
                      <a:pt x="304" y="539"/>
                    </a:lnTo>
                    <a:lnTo>
                      <a:pt x="304" y="537"/>
                    </a:lnTo>
                    <a:lnTo>
                      <a:pt x="302" y="537"/>
                    </a:lnTo>
                    <a:lnTo>
                      <a:pt x="302" y="539"/>
                    </a:lnTo>
                    <a:lnTo>
                      <a:pt x="301" y="539"/>
                    </a:lnTo>
                    <a:lnTo>
                      <a:pt x="299" y="539"/>
                    </a:lnTo>
                    <a:lnTo>
                      <a:pt x="297" y="539"/>
                    </a:lnTo>
                    <a:lnTo>
                      <a:pt x="297" y="537"/>
                    </a:lnTo>
                    <a:lnTo>
                      <a:pt x="295" y="537"/>
                    </a:lnTo>
                    <a:lnTo>
                      <a:pt x="295" y="536"/>
                    </a:lnTo>
                    <a:lnTo>
                      <a:pt x="295" y="537"/>
                    </a:lnTo>
                    <a:lnTo>
                      <a:pt x="294" y="536"/>
                    </a:lnTo>
                    <a:lnTo>
                      <a:pt x="292" y="537"/>
                    </a:lnTo>
                    <a:lnTo>
                      <a:pt x="292" y="536"/>
                    </a:lnTo>
                    <a:lnTo>
                      <a:pt x="290" y="536"/>
                    </a:lnTo>
                    <a:lnTo>
                      <a:pt x="290" y="534"/>
                    </a:lnTo>
                    <a:lnTo>
                      <a:pt x="289" y="532"/>
                    </a:lnTo>
                    <a:lnTo>
                      <a:pt x="289" y="530"/>
                    </a:lnTo>
                    <a:lnTo>
                      <a:pt x="290" y="530"/>
                    </a:lnTo>
                    <a:lnTo>
                      <a:pt x="290" y="529"/>
                    </a:lnTo>
                    <a:lnTo>
                      <a:pt x="292" y="529"/>
                    </a:lnTo>
                    <a:lnTo>
                      <a:pt x="292" y="527"/>
                    </a:lnTo>
                    <a:lnTo>
                      <a:pt x="292" y="525"/>
                    </a:lnTo>
                    <a:lnTo>
                      <a:pt x="290" y="525"/>
                    </a:lnTo>
                    <a:lnTo>
                      <a:pt x="290" y="524"/>
                    </a:lnTo>
                    <a:lnTo>
                      <a:pt x="290" y="522"/>
                    </a:lnTo>
                    <a:lnTo>
                      <a:pt x="292" y="520"/>
                    </a:lnTo>
                    <a:lnTo>
                      <a:pt x="290" y="520"/>
                    </a:lnTo>
                    <a:lnTo>
                      <a:pt x="290" y="519"/>
                    </a:lnTo>
                    <a:lnTo>
                      <a:pt x="289" y="517"/>
                    </a:lnTo>
                    <a:lnTo>
                      <a:pt x="287" y="515"/>
                    </a:lnTo>
                    <a:lnTo>
                      <a:pt x="287" y="517"/>
                    </a:lnTo>
                    <a:lnTo>
                      <a:pt x="287" y="519"/>
                    </a:lnTo>
                    <a:lnTo>
                      <a:pt x="287" y="517"/>
                    </a:lnTo>
                    <a:lnTo>
                      <a:pt x="285" y="517"/>
                    </a:lnTo>
                    <a:lnTo>
                      <a:pt x="285" y="519"/>
                    </a:lnTo>
                    <a:lnTo>
                      <a:pt x="284" y="519"/>
                    </a:lnTo>
                    <a:lnTo>
                      <a:pt x="284" y="517"/>
                    </a:lnTo>
                    <a:lnTo>
                      <a:pt x="282" y="517"/>
                    </a:lnTo>
                    <a:lnTo>
                      <a:pt x="280" y="517"/>
                    </a:lnTo>
                    <a:lnTo>
                      <a:pt x="280" y="515"/>
                    </a:lnTo>
                    <a:lnTo>
                      <a:pt x="278" y="515"/>
                    </a:lnTo>
                    <a:lnTo>
                      <a:pt x="277" y="515"/>
                    </a:lnTo>
                    <a:lnTo>
                      <a:pt x="277" y="513"/>
                    </a:lnTo>
                    <a:lnTo>
                      <a:pt x="278" y="513"/>
                    </a:lnTo>
                    <a:lnTo>
                      <a:pt x="278" y="512"/>
                    </a:lnTo>
                    <a:lnTo>
                      <a:pt x="278" y="510"/>
                    </a:lnTo>
                    <a:lnTo>
                      <a:pt x="280" y="510"/>
                    </a:lnTo>
                    <a:lnTo>
                      <a:pt x="278" y="510"/>
                    </a:lnTo>
                    <a:lnTo>
                      <a:pt x="278" y="508"/>
                    </a:lnTo>
                    <a:lnTo>
                      <a:pt x="278" y="507"/>
                    </a:lnTo>
                    <a:lnTo>
                      <a:pt x="277" y="507"/>
                    </a:lnTo>
                    <a:lnTo>
                      <a:pt x="277" y="505"/>
                    </a:lnTo>
                    <a:lnTo>
                      <a:pt x="275" y="505"/>
                    </a:lnTo>
                    <a:lnTo>
                      <a:pt x="277" y="505"/>
                    </a:lnTo>
                    <a:lnTo>
                      <a:pt x="277" y="503"/>
                    </a:lnTo>
                    <a:lnTo>
                      <a:pt x="275" y="503"/>
                    </a:lnTo>
                    <a:lnTo>
                      <a:pt x="275" y="502"/>
                    </a:lnTo>
                    <a:lnTo>
                      <a:pt x="273" y="500"/>
                    </a:lnTo>
                    <a:lnTo>
                      <a:pt x="272" y="498"/>
                    </a:lnTo>
                    <a:lnTo>
                      <a:pt x="272" y="500"/>
                    </a:lnTo>
                    <a:lnTo>
                      <a:pt x="270" y="498"/>
                    </a:lnTo>
                    <a:lnTo>
                      <a:pt x="270" y="500"/>
                    </a:lnTo>
                    <a:lnTo>
                      <a:pt x="268" y="500"/>
                    </a:lnTo>
                    <a:lnTo>
                      <a:pt x="268" y="498"/>
                    </a:lnTo>
                    <a:lnTo>
                      <a:pt x="268" y="500"/>
                    </a:lnTo>
                    <a:lnTo>
                      <a:pt x="267" y="498"/>
                    </a:lnTo>
                    <a:lnTo>
                      <a:pt x="265" y="498"/>
                    </a:lnTo>
                    <a:lnTo>
                      <a:pt x="265" y="496"/>
                    </a:lnTo>
                    <a:lnTo>
                      <a:pt x="265" y="495"/>
                    </a:lnTo>
                    <a:lnTo>
                      <a:pt x="263" y="495"/>
                    </a:lnTo>
                    <a:lnTo>
                      <a:pt x="263" y="493"/>
                    </a:lnTo>
                    <a:lnTo>
                      <a:pt x="261" y="493"/>
                    </a:lnTo>
                    <a:lnTo>
                      <a:pt x="261" y="495"/>
                    </a:lnTo>
                    <a:lnTo>
                      <a:pt x="261" y="493"/>
                    </a:lnTo>
                    <a:lnTo>
                      <a:pt x="260" y="493"/>
                    </a:lnTo>
                    <a:lnTo>
                      <a:pt x="260" y="491"/>
                    </a:lnTo>
                    <a:lnTo>
                      <a:pt x="261" y="491"/>
                    </a:lnTo>
                    <a:lnTo>
                      <a:pt x="260" y="491"/>
                    </a:lnTo>
                    <a:lnTo>
                      <a:pt x="260" y="493"/>
                    </a:lnTo>
                    <a:lnTo>
                      <a:pt x="258" y="493"/>
                    </a:lnTo>
                    <a:lnTo>
                      <a:pt x="258" y="491"/>
                    </a:lnTo>
                    <a:lnTo>
                      <a:pt x="256" y="491"/>
                    </a:lnTo>
                    <a:lnTo>
                      <a:pt x="255" y="491"/>
                    </a:lnTo>
                    <a:lnTo>
                      <a:pt x="253" y="491"/>
                    </a:lnTo>
                    <a:lnTo>
                      <a:pt x="253" y="490"/>
                    </a:lnTo>
                    <a:lnTo>
                      <a:pt x="251" y="490"/>
                    </a:lnTo>
                    <a:lnTo>
                      <a:pt x="253" y="490"/>
                    </a:lnTo>
                    <a:lnTo>
                      <a:pt x="253" y="488"/>
                    </a:lnTo>
                    <a:lnTo>
                      <a:pt x="251" y="488"/>
                    </a:lnTo>
                    <a:lnTo>
                      <a:pt x="251" y="486"/>
                    </a:lnTo>
                    <a:lnTo>
                      <a:pt x="251" y="488"/>
                    </a:lnTo>
                    <a:lnTo>
                      <a:pt x="251" y="486"/>
                    </a:lnTo>
                    <a:lnTo>
                      <a:pt x="253" y="486"/>
                    </a:lnTo>
                    <a:lnTo>
                      <a:pt x="251" y="486"/>
                    </a:lnTo>
                    <a:lnTo>
                      <a:pt x="253" y="485"/>
                    </a:lnTo>
                    <a:lnTo>
                      <a:pt x="251" y="485"/>
                    </a:lnTo>
                    <a:lnTo>
                      <a:pt x="251" y="483"/>
                    </a:lnTo>
                    <a:lnTo>
                      <a:pt x="250" y="483"/>
                    </a:lnTo>
                    <a:lnTo>
                      <a:pt x="250" y="481"/>
                    </a:lnTo>
                    <a:lnTo>
                      <a:pt x="248" y="481"/>
                    </a:lnTo>
                    <a:lnTo>
                      <a:pt x="250" y="481"/>
                    </a:lnTo>
                    <a:lnTo>
                      <a:pt x="250" y="479"/>
                    </a:lnTo>
                    <a:lnTo>
                      <a:pt x="248" y="479"/>
                    </a:lnTo>
                    <a:lnTo>
                      <a:pt x="250" y="478"/>
                    </a:lnTo>
                    <a:lnTo>
                      <a:pt x="248" y="478"/>
                    </a:lnTo>
                    <a:lnTo>
                      <a:pt x="248" y="476"/>
                    </a:lnTo>
                    <a:lnTo>
                      <a:pt x="248" y="474"/>
                    </a:lnTo>
                    <a:lnTo>
                      <a:pt x="248" y="476"/>
                    </a:lnTo>
                    <a:lnTo>
                      <a:pt x="246" y="476"/>
                    </a:lnTo>
                    <a:lnTo>
                      <a:pt x="246" y="474"/>
                    </a:lnTo>
                    <a:lnTo>
                      <a:pt x="248" y="474"/>
                    </a:lnTo>
                    <a:lnTo>
                      <a:pt x="246" y="474"/>
                    </a:lnTo>
                    <a:lnTo>
                      <a:pt x="246" y="473"/>
                    </a:lnTo>
                    <a:lnTo>
                      <a:pt x="244" y="473"/>
                    </a:lnTo>
                    <a:lnTo>
                      <a:pt x="243" y="473"/>
                    </a:lnTo>
                    <a:lnTo>
                      <a:pt x="243" y="471"/>
                    </a:lnTo>
                    <a:lnTo>
                      <a:pt x="241" y="469"/>
                    </a:lnTo>
                    <a:lnTo>
                      <a:pt x="239" y="469"/>
                    </a:lnTo>
                    <a:lnTo>
                      <a:pt x="238" y="469"/>
                    </a:lnTo>
                    <a:lnTo>
                      <a:pt x="238" y="468"/>
                    </a:lnTo>
                    <a:lnTo>
                      <a:pt x="238" y="469"/>
                    </a:lnTo>
                    <a:lnTo>
                      <a:pt x="236" y="469"/>
                    </a:lnTo>
                    <a:lnTo>
                      <a:pt x="236" y="468"/>
                    </a:lnTo>
                    <a:lnTo>
                      <a:pt x="236" y="466"/>
                    </a:lnTo>
                    <a:lnTo>
                      <a:pt x="236" y="464"/>
                    </a:lnTo>
                    <a:lnTo>
                      <a:pt x="234" y="464"/>
                    </a:lnTo>
                    <a:lnTo>
                      <a:pt x="234" y="462"/>
                    </a:lnTo>
                    <a:lnTo>
                      <a:pt x="234" y="464"/>
                    </a:lnTo>
                    <a:lnTo>
                      <a:pt x="233" y="464"/>
                    </a:lnTo>
                    <a:lnTo>
                      <a:pt x="231" y="466"/>
                    </a:lnTo>
                    <a:lnTo>
                      <a:pt x="231" y="464"/>
                    </a:lnTo>
                    <a:lnTo>
                      <a:pt x="229" y="464"/>
                    </a:lnTo>
                    <a:lnTo>
                      <a:pt x="229" y="462"/>
                    </a:lnTo>
                    <a:lnTo>
                      <a:pt x="227" y="462"/>
                    </a:lnTo>
                    <a:lnTo>
                      <a:pt x="226" y="461"/>
                    </a:lnTo>
                    <a:lnTo>
                      <a:pt x="224" y="459"/>
                    </a:lnTo>
                    <a:lnTo>
                      <a:pt x="222" y="459"/>
                    </a:lnTo>
                    <a:lnTo>
                      <a:pt x="221" y="459"/>
                    </a:lnTo>
                    <a:lnTo>
                      <a:pt x="221" y="457"/>
                    </a:lnTo>
                    <a:lnTo>
                      <a:pt x="221" y="459"/>
                    </a:lnTo>
                    <a:lnTo>
                      <a:pt x="219" y="461"/>
                    </a:lnTo>
                    <a:lnTo>
                      <a:pt x="217" y="461"/>
                    </a:lnTo>
                    <a:lnTo>
                      <a:pt x="216" y="461"/>
                    </a:lnTo>
                    <a:lnTo>
                      <a:pt x="214" y="461"/>
                    </a:lnTo>
                    <a:lnTo>
                      <a:pt x="214" y="459"/>
                    </a:lnTo>
                    <a:lnTo>
                      <a:pt x="212" y="459"/>
                    </a:lnTo>
                    <a:lnTo>
                      <a:pt x="210" y="459"/>
                    </a:lnTo>
                    <a:lnTo>
                      <a:pt x="210" y="457"/>
                    </a:lnTo>
                    <a:lnTo>
                      <a:pt x="209" y="457"/>
                    </a:lnTo>
                    <a:lnTo>
                      <a:pt x="207" y="457"/>
                    </a:lnTo>
                    <a:lnTo>
                      <a:pt x="207" y="456"/>
                    </a:lnTo>
                    <a:lnTo>
                      <a:pt x="205" y="456"/>
                    </a:lnTo>
                    <a:lnTo>
                      <a:pt x="204" y="456"/>
                    </a:lnTo>
                    <a:lnTo>
                      <a:pt x="202" y="456"/>
                    </a:lnTo>
                    <a:lnTo>
                      <a:pt x="200" y="456"/>
                    </a:lnTo>
                    <a:lnTo>
                      <a:pt x="200" y="454"/>
                    </a:lnTo>
                    <a:lnTo>
                      <a:pt x="199" y="454"/>
                    </a:lnTo>
                    <a:lnTo>
                      <a:pt x="199" y="452"/>
                    </a:lnTo>
                    <a:lnTo>
                      <a:pt x="197" y="452"/>
                    </a:lnTo>
                    <a:lnTo>
                      <a:pt x="197" y="451"/>
                    </a:lnTo>
                    <a:lnTo>
                      <a:pt x="195" y="451"/>
                    </a:lnTo>
                    <a:lnTo>
                      <a:pt x="195" y="449"/>
                    </a:lnTo>
                    <a:lnTo>
                      <a:pt x="193" y="449"/>
                    </a:lnTo>
                    <a:lnTo>
                      <a:pt x="193" y="447"/>
                    </a:lnTo>
                    <a:lnTo>
                      <a:pt x="192" y="447"/>
                    </a:lnTo>
                    <a:lnTo>
                      <a:pt x="192" y="445"/>
                    </a:lnTo>
                    <a:lnTo>
                      <a:pt x="190" y="445"/>
                    </a:lnTo>
                    <a:lnTo>
                      <a:pt x="190" y="444"/>
                    </a:lnTo>
                    <a:lnTo>
                      <a:pt x="188" y="444"/>
                    </a:lnTo>
                    <a:lnTo>
                      <a:pt x="187" y="444"/>
                    </a:lnTo>
                    <a:lnTo>
                      <a:pt x="185" y="444"/>
                    </a:lnTo>
                    <a:lnTo>
                      <a:pt x="185" y="442"/>
                    </a:lnTo>
                    <a:lnTo>
                      <a:pt x="183" y="442"/>
                    </a:lnTo>
                    <a:lnTo>
                      <a:pt x="183" y="444"/>
                    </a:lnTo>
                    <a:lnTo>
                      <a:pt x="182" y="444"/>
                    </a:lnTo>
                    <a:lnTo>
                      <a:pt x="180" y="444"/>
                    </a:lnTo>
                    <a:lnTo>
                      <a:pt x="180" y="445"/>
                    </a:lnTo>
                    <a:lnTo>
                      <a:pt x="180" y="449"/>
                    </a:lnTo>
                    <a:lnTo>
                      <a:pt x="178" y="449"/>
                    </a:lnTo>
                    <a:lnTo>
                      <a:pt x="176" y="449"/>
                    </a:lnTo>
                    <a:lnTo>
                      <a:pt x="175" y="449"/>
                    </a:lnTo>
                    <a:lnTo>
                      <a:pt x="173" y="449"/>
                    </a:lnTo>
                    <a:lnTo>
                      <a:pt x="171" y="449"/>
                    </a:lnTo>
                    <a:lnTo>
                      <a:pt x="171" y="447"/>
                    </a:lnTo>
                    <a:lnTo>
                      <a:pt x="170" y="447"/>
                    </a:lnTo>
                    <a:lnTo>
                      <a:pt x="168" y="447"/>
                    </a:lnTo>
                    <a:lnTo>
                      <a:pt x="168" y="449"/>
                    </a:lnTo>
                    <a:lnTo>
                      <a:pt x="166" y="447"/>
                    </a:lnTo>
                    <a:lnTo>
                      <a:pt x="166" y="449"/>
                    </a:lnTo>
                    <a:lnTo>
                      <a:pt x="166" y="447"/>
                    </a:lnTo>
                    <a:lnTo>
                      <a:pt x="166" y="449"/>
                    </a:lnTo>
                    <a:lnTo>
                      <a:pt x="165" y="449"/>
                    </a:lnTo>
                    <a:lnTo>
                      <a:pt x="163" y="449"/>
                    </a:lnTo>
                    <a:lnTo>
                      <a:pt x="163" y="447"/>
                    </a:lnTo>
                    <a:lnTo>
                      <a:pt x="161" y="447"/>
                    </a:lnTo>
                    <a:lnTo>
                      <a:pt x="159" y="447"/>
                    </a:lnTo>
                    <a:lnTo>
                      <a:pt x="158" y="447"/>
                    </a:lnTo>
                    <a:lnTo>
                      <a:pt x="158" y="445"/>
                    </a:lnTo>
                    <a:lnTo>
                      <a:pt x="156" y="445"/>
                    </a:lnTo>
                    <a:lnTo>
                      <a:pt x="156" y="444"/>
                    </a:lnTo>
                    <a:lnTo>
                      <a:pt x="154" y="444"/>
                    </a:lnTo>
                    <a:lnTo>
                      <a:pt x="153" y="444"/>
                    </a:lnTo>
                    <a:lnTo>
                      <a:pt x="153" y="445"/>
                    </a:lnTo>
                    <a:lnTo>
                      <a:pt x="153" y="444"/>
                    </a:lnTo>
                    <a:lnTo>
                      <a:pt x="151" y="445"/>
                    </a:lnTo>
                    <a:lnTo>
                      <a:pt x="151" y="444"/>
                    </a:lnTo>
                    <a:lnTo>
                      <a:pt x="151" y="445"/>
                    </a:lnTo>
                    <a:lnTo>
                      <a:pt x="149" y="444"/>
                    </a:lnTo>
                    <a:lnTo>
                      <a:pt x="148" y="444"/>
                    </a:lnTo>
                    <a:lnTo>
                      <a:pt x="146" y="444"/>
                    </a:lnTo>
                    <a:lnTo>
                      <a:pt x="146" y="442"/>
                    </a:lnTo>
                    <a:lnTo>
                      <a:pt x="144" y="442"/>
                    </a:lnTo>
                    <a:lnTo>
                      <a:pt x="142" y="444"/>
                    </a:lnTo>
                    <a:lnTo>
                      <a:pt x="142" y="442"/>
                    </a:lnTo>
                    <a:lnTo>
                      <a:pt x="142" y="440"/>
                    </a:lnTo>
                    <a:lnTo>
                      <a:pt x="142" y="439"/>
                    </a:lnTo>
                    <a:lnTo>
                      <a:pt x="142" y="437"/>
                    </a:lnTo>
                    <a:lnTo>
                      <a:pt x="144" y="437"/>
                    </a:lnTo>
                    <a:lnTo>
                      <a:pt x="144" y="435"/>
                    </a:lnTo>
                    <a:lnTo>
                      <a:pt x="142" y="435"/>
                    </a:lnTo>
                    <a:lnTo>
                      <a:pt x="141" y="435"/>
                    </a:lnTo>
                    <a:lnTo>
                      <a:pt x="141" y="433"/>
                    </a:lnTo>
                    <a:lnTo>
                      <a:pt x="139" y="433"/>
                    </a:lnTo>
                    <a:lnTo>
                      <a:pt x="137" y="433"/>
                    </a:lnTo>
                    <a:lnTo>
                      <a:pt x="137" y="432"/>
                    </a:lnTo>
                    <a:lnTo>
                      <a:pt x="136" y="432"/>
                    </a:lnTo>
                    <a:lnTo>
                      <a:pt x="137" y="432"/>
                    </a:lnTo>
                    <a:lnTo>
                      <a:pt x="137" y="430"/>
                    </a:lnTo>
                    <a:lnTo>
                      <a:pt x="137" y="428"/>
                    </a:lnTo>
                    <a:lnTo>
                      <a:pt x="136" y="428"/>
                    </a:lnTo>
                    <a:lnTo>
                      <a:pt x="134" y="428"/>
                    </a:lnTo>
                    <a:lnTo>
                      <a:pt x="132" y="428"/>
                    </a:lnTo>
                    <a:lnTo>
                      <a:pt x="132" y="430"/>
                    </a:lnTo>
                    <a:lnTo>
                      <a:pt x="131" y="430"/>
                    </a:lnTo>
                    <a:lnTo>
                      <a:pt x="129" y="430"/>
                    </a:lnTo>
                    <a:lnTo>
                      <a:pt x="129" y="428"/>
                    </a:lnTo>
                    <a:lnTo>
                      <a:pt x="127" y="428"/>
                    </a:lnTo>
                    <a:lnTo>
                      <a:pt x="125" y="428"/>
                    </a:lnTo>
                    <a:lnTo>
                      <a:pt x="125" y="427"/>
                    </a:lnTo>
                    <a:lnTo>
                      <a:pt x="124" y="427"/>
                    </a:lnTo>
                    <a:lnTo>
                      <a:pt x="122" y="427"/>
                    </a:lnTo>
                    <a:lnTo>
                      <a:pt x="122" y="425"/>
                    </a:lnTo>
                    <a:lnTo>
                      <a:pt x="120" y="425"/>
                    </a:lnTo>
                    <a:lnTo>
                      <a:pt x="119" y="425"/>
                    </a:lnTo>
                    <a:lnTo>
                      <a:pt x="120" y="423"/>
                    </a:lnTo>
                    <a:lnTo>
                      <a:pt x="119" y="423"/>
                    </a:lnTo>
                    <a:lnTo>
                      <a:pt x="119" y="422"/>
                    </a:lnTo>
                    <a:lnTo>
                      <a:pt x="117" y="422"/>
                    </a:lnTo>
                    <a:lnTo>
                      <a:pt x="117" y="420"/>
                    </a:lnTo>
                    <a:lnTo>
                      <a:pt x="117" y="418"/>
                    </a:lnTo>
                    <a:lnTo>
                      <a:pt x="115" y="416"/>
                    </a:lnTo>
                    <a:lnTo>
                      <a:pt x="114" y="416"/>
                    </a:lnTo>
                    <a:lnTo>
                      <a:pt x="114" y="418"/>
                    </a:lnTo>
                    <a:lnTo>
                      <a:pt x="112" y="418"/>
                    </a:lnTo>
                    <a:lnTo>
                      <a:pt x="112" y="416"/>
                    </a:lnTo>
                    <a:lnTo>
                      <a:pt x="110" y="416"/>
                    </a:lnTo>
                    <a:lnTo>
                      <a:pt x="108" y="416"/>
                    </a:lnTo>
                    <a:lnTo>
                      <a:pt x="108" y="415"/>
                    </a:lnTo>
                    <a:lnTo>
                      <a:pt x="107" y="415"/>
                    </a:lnTo>
                    <a:lnTo>
                      <a:pt x="105" y="415"/>
                    </a:lnTo>
                    <a:lnTo>
                      <a:pt x="105" y="413"/>
                    </a:lnTo>
                    <a:lnTo>
                      <a:pt x="103" y="413"/>
                    </a:lnTo>
                    <a:lnTo>
                      <a:pt x="103" y="411"/>
                    </a:lnTo>
                    <a:lnTo>
                      <a:pt x="102" y="411"/>
                    </a:lnTo>
                    <a:lnTo>
                      <a:pt x="102" y="410"/>
                    </a:lnTo>
                    <a:lnTo>
                      <a:pt x="100" y="410"/>
                    </a:lnTo>
                    <a:lnTo>
                      <a:pt x="98" y="408"/>
                    </a:lnTo>
                    <a:lnTo>
                      <a:pt x="98" y="406"/>
                    </a:lnTo>
                    <a:lnTo>
                      <a:pt x="97" y="406"/>
                    </a:lnTo>
                    <a:lnTo>
                      <a:pt x="97" y="405"/>
                    </a:lnTo>
                    <a:lnTo>
                      <a:pt x="95" y="405"/>
                    </a:lnTo>
                    <a:lnTo>
                      <a:pt x="95" y="403"/>
                    </a:lnTo>
                    <a:lnTo>
                      <a:pt x="93" y="403"/>
                    </a:lnTo>
                    <a:lnTo>
                      <a:pt x="91" y="401"/>
                    </a:lnTo>
                    <a:lnTo>
                      <a:pt x="93" y="401"/>
                    </a:lnTo>
                    <a:lnTo>
                      <a:pt x="91" y="401"/>
                    </a:lnTo>
                    <a:lnTo>
                      <a:pt x="93" y="401"/>
                    </a:lnTo>
                    <a:lnTo>
                      <a:pt x="93" y="399"/>
                    </a:lnTo>
                    <a:lnTo>
                      <a:pt x="95" y="399"/>
                    </a:lnTo>
                    <a:lnTo>
                      <a:pt x="95" y="398"/>
                    </a:lnTo>
                    <a:lnTo>
                      <a:pt x="97" y="398"/>
                    </a:lnTo>
                    <a:lnTo>
                      <a:pt x="97" y="396"/>
                    </a:lnTo>
                    <a:lnTo>
                      <a:pt x="98" y="396"/>
                    </a:lnTo>
                    <a:lnTo>
                      <a:pt x="98" y="394"/>
                    </a:lnTo>
                    <a:lnTo>
                      <a:pt x="98" y="396"/>
                    </a:lnTo>
                    <a:lnTo>
                      <a:pt x="100" y="396"/>
                    </a:lnTo>
                    <a:lnTo>
                      <a:pt x="102" y="396"/>
                    </a:lnTo>
                    <a:lnTo>
                      <a:pt x="102" y="398"/>
                    </a:lnTo>
                    <a:lnTo>
                      <a:pt x="102" y="396"/>
                    </a:lnTo>
                    <a:lnTo>
                      <a:pt x="103" y="398"/>
                    </a:lnTo>
                    <a:lnTo>
                      <a:pt x="103" y="396"/>
                    </a:lnTo>
                    <a:lnTo>
                      <a:pt x="103" y="398"/>
                    </a:lnTo>
                    <a:lnTo>
                      <a:pt x="103" y="396"/>
                    </a:lnTo>
                    <a:lnTo>
                      <a:pt x="105" y="396"/>
                    </a:lnTo>
                    <a:lnTo>
                      <a:pt x="107" y="396"/>
                    </a:lnTo>
                    <a:lnTo>
                      <a:pt x="105" y="396"/>
                    </a:lnTo>
                    <a:lnTo>
                      <a:pt x="107" y="398"/>
                    </a:lnTo>
                    <a:lnTo>
                      <a:pt x="107" y="396"/>
                    </a:lnTo>
                    <a:lnTo>
                      <a:pt x="108" y="396"/>
                    </a:lnTo>
                    <a:lnTo>
                      <a:pt x="108" y="394"/>
                    </a:lnTo>
                    <a:lnTo>
                      <a:pt x="108" y="393"/>
                    </a:lnTo>
                    <a:lnTo>
                      <a:pt x="107" y="393"/>
                    </a:lnTo>
                    <a:lnTo>
                      <a:pt x="107" y="391"/>
                    </a:lnTo>
                    <a:lnTo>
                      <a:pt x="105" y="391"/>
                    </a:lnTo>
                    <a:lnTo>
                      <a:pt x="107" y="391"/>
                    </a:lnTo>
                    <a:lnTo>
                      <a:pt x="105" y="389"/>
                    </a:lnTo>
                    <a:lnTo>
                      <a:pt x="103" y="391"/>
                    </a:lnTo>
                    <a:lnTo>
                      <a:pt x="103" y="389"/>
                    </a:lnTo>
                    <a:lnTo>
                      <a:pt x="103" y="388"/>
                    </a:lnTo>
                    <a:lnTo>
                      <a:pt x="103" y="386"/>
                    </a:lnTo>
                    <a:lnTo>
                      <a:pt x="102" y="386"/>
                    </a:lnTo>
                    <a:lnTo>
                      <a:pt x="102" y="384"/>
                    </a:lnTo>
                    <a:lnTo>
                      <a:pt x="102" y="382"/>
                    </a:lnTo>
                    <a:lnTo>
                      <a:pt x="103" y="382"/>
                    </a:lnTo>
                    <a:lnTo>
                      <a:pt x="103" y="381"/>
                    </a:lnTo>
                    <a:lnTo>
                      <a:pt x="105" y="381"/>
                    </a:lnTo>
                    <a:lnTo>
                      <a:pt x="103" y="381"/>
                    </a:lnTo>
                    <a:lnTo>
                      <a:pt x="103" y="379"/>
                    </a:lnTo>
                    <a:lnTo>
                      <a:pt x="105" y="379"/>
                    </a:lnTo>
                    <a:lnTo>
                      <a:pt x="105" y="377"/>
                    </a:lnTo>
                    <a:lnTo>
                      <a:pt x="105" y="376"/>
                    </a:lnTo>
                    <a:lnTo>
                      <a:pt x="107" y="376"/>
                    </a:lnTo>
                    <a:lnTo>
                      <a:pt x="107" y="374"/>
                    </a:lnTo>
                    <a:lnTo>
                      <a:pt x="108" y="374"/>
                    </a:lnTo>
                    <a:lnTo>
                      <a:pt x="107" y="374"/>
                    </a:lnTo>
                    <a:lnTo>
                      <a:pt x="108" y="374"/>
                    </a:lnTo>
                    <a:lnTo>
                      <a:pt x="107" y="374"/>
                    </a:lnTo>
                    <a:lnTo>
                      <a:pt x="108" y="372"/>
                    </a:lnTo>
                    <a:lnTo>
                      <a:pt x="110" y="374"/>
                    </a:lnTo>
                    <a:lnTo>
                      <a:pt x="110" y="372"/>
                    </a:lnTo>
                    <a:lnTo>
                      <a:pt x="108" y="372"/>
                    </a:lnTo>
                    <a:lnTo>
                      <a:pt x="110" y="371"/>
                    </a:lnTo>
                    <a:lnTo>
                      <a:pt x="112" y="372"/>
                    </a:lnTo>
                    <a:lnTo>
                      <a:pt x="112" y="371"/>
                    </a:lnTo>
                    <a:lnTo>
                      <a:pt x="110" y="371"/>
                    </a:lnTo>
                    <a:lnTo>
                      <a:pt x="110" y="369"/>
                    </a:lnTo>
                    <a:lnTo>
                      <a:pt x="112" y="369"/>
                    </a:lnTo>
                    <a:lnTo>
                      <a:pt x="112" y="371"/>
                    </a:lnTo>
                    <a:lnTo>
                      <a:pt x="114" y="371"/>
                    </a:lnTo>
                    <a:lnTo>
                      <a:pt x="114" y="372"/>
                    </a:lnTo>
                    <a:lnTo>
                      <a:pt x="114" y="371"/>
                    </a:lnTo>
                    <a:lnTo>
                      <a:pt x="115" y="371"/>
                    </a:lnTo>
                    <a:lnTo>
                      <a:pt x="114" y="371"/>
                    </a:lnTo>
                    <a:lnTo>
                      <a:pt x="114" y="369"/>
                    </a:lnTo>
                    <a:lnTo>
                      <a:pt x="114" y="367"/>
                    </a:lnTo>
                    <a:lnTo>
                      <a:pt x="115" y="367"/>
                    </a:lnTo>
                    <a:lnTo>
                      <a:pt x="115" y="369"/>
                    </a:lnTo>
                    <a:lnTo>
                      <a:pt x="115" y="371"/>
                    </a:lnTo>
                    <a:lnTo>
                      <a:pt x="117" y="371"/>
                    </a:lnTo>
                    <a:lnTo>
                      <a:pt x="115" y="369"/>
                    </a:lnTo>
                    <a:lnTo>
                      <a:pt x="117" y="371"/>
                    </a:lnTo>
                    <a:lnTo>
                      <a:pt x="119" y="372"/>
                    </a:lnTo>
                    <a:lnTo>
                      <a:pt x="119" y="371"/>
                    </a:lnTo>
                    <a:lnTo>
                      <a:pt x="117" y="371"/>
                    </a:lnTo>
                    <a:lnTo>
                      <a:pt x="117" y="369"/>
                    </a:lnTo>
                    <a:lnTo>
                      <a:pt x="115" y="367"/>
                    </a:lnTo>
                    <a:lnTo>
                      <a:pt x="117" y="367"/>
                    </a:lnTo>
                    <a:lnTo>
                      <a:pt x="119" y="367"/>
                    </a:lnTo>
                    <a:lnTo>
                      <a:pt x="119" y="369"/>
                    </a:lnTo>
                    <a:lnTo>
                      <a:pt x="120" y="369"/>
                    </a:lnTo>
                    <a:lnTo>
                      <a:pt x="120" y="367"/>
                    </a:lnTo>
                    <a:lnTo>
                      <a:pt x="119" y="367"/>
                    </a:lnTo>
                    <a:lnTo>
                      <a:pt x="120" y="367"/>
                    </a:lnTo>
                    <a:lnTo>
                      <a:pt x="120" y="365"/>
                    </a:lnTo>
                    <a:lnTo>
                      <a:pt x="122" y="365"/>
                    </a:lnTo>
                    <a:lnTo>
                      <a:pt x="122" y="367"/>
                    </a:lnTo>
                    <a:lnTo>
                      <a:pt x="120" y="367"/>
                    </a:lnTo>
                    <a:lnTo>
                      <a:pt x="120" y="369"/>
                    </a:lnTo>
                    <a:lnTo>
                      <a:pt x="120" y="371"/>
                    </a:lnTo>
                    <a:lnTo>
                      <a:pt x="122" y="371"/>
                    </a:lnTo>
                    <a:lnTo>
                      <a:pt x="122" y="369"/>
                    </a:lnTo>
                    <a:lnTo>
                      <a:pt x="122" y="367"/>
                    </a:lnTo>
                    <a:lnTo>
                      <a:pt x="122" y="369"/>
                    </a:lnTo>
                    <a:lnTo>
                      <a:pt x="124" y="369"/>
                    </a:lnTo>
                    <a:lnTo>
                      <a:pt x="122" y="369"/>
                    </a:lnTo>
                    <a:lnTo>
                      <a:pt x="122" y="367"/>
                    </a:lnTo>
                    <a:lnTo>
                      <a:pt x="124" y="367"/>
                    </a:lnTo>
                    <a:lnTo>
                      <a:pt x="124" y="369"/>
                    </a:lnTo>
                    <a:lnTo>
                      <a:pt x="125" y="367"/>
                    </a:lnTo>
                    <a:lnTo>
                      <a:pt x="127" y="367"/>
                    </a:lnTo>
                    <a:lnTo>
                      <a:pt x="129" y="369"/>
                    </a:lnTo>
                    <a:lnTo>
                      <a:pt x="129" y="367"/>
                    </a:lnTo>
                    <a:lnTo>
                      <a:pt x="129" y="369"/>
                    </a:lnTo>
                    <a:lnTo>
                      <a:pt x="129" y="367"/>
                    </a:lnTo>
                    <a:lnTo>
                      <a:pt x="129" y="365"/>
                    </a:lnTo>
                    <a:lnTo>
                      <a:pt x="131" y="365"/>
                    </a:lnTo>
                    <a:lnTo>
                      <a:pt x="131" y="367"/>
                    </a:lnTo>
                    <a:lnTo>
                      <a:pt x="131" y="365"/>
                    </a:lnTo>
                    <a:lnTo>
                      <a:pt x="132" y="365"/>
                    </a:lnTo>
                    <a:lnTo>
                      <a:pt x="132" y="367"/>
                    </a:lnTo>
                    <a:lnTo>
                      <a:pt x="134" y="367"/>
                    </a:lnTo>
                    <a:lnTo>
                      <a:pt x="134" y="365"/>
                    </a:lnTo>
                    <a:lnTo>
                      <a:pt x="132" y="365"/>
                    </a:lnTo>
                    <a:lnTo>
                      <a:pt x="132" y="364"/>
                    </a:lnTo>
                    <a:lnTo>
                      <a:pt x="134" y="364"/>
                    </a:lnTo>
                    <a:lnTo>
                      <a:pt x="136" y="364"/>
                    </a:lnTo>
                    <a:lnTo>
                      <a:pt x="136" y="362"/>
                    </a:lnTo>
                    <a:lnTo>
                      <a:pt x="136" y="364"/>
                    </a:lnTo>
                    <a:lnTo>
                      <a:pt x="136" y="362"/>
                    </a:lnTo>
                    <a:lnTo>
                      <a:pt x="134" y="362"/>
                    </a:lnTo>
                    <a:lnTo>
                      <a:pt x="136" y="362"/>
                    </a:lnTo>
                    <a:lnTo>
                      <a:pt x="136" y="360"/>
                    </a:lnTo>
                    <a:lnTo>
                      <a:pt x="137" y="360"/>
                    </a:lnTo>
                    <a:lnTo>
                      <a:pt x="137" y="359"/>
                    </a:lnTo>
                    <a:lnTo>
                      <a:pt x="136" y="359"/>
                    </a:lnTo>
                    <a:lnTo>
                      <a:pt x="137" y="359"/>
                    </a:lnTo>
                    <a:lnTo>
                      <a:pt x="137" y="357"/>
                    </a:lnTo>
                    <a:lnTo>
                      <a:pt x="137" y="359"/>
                    </a:lnTo>
                    <a:lnTo>
                      <a:pt x="137" y="357"/>
                    </a:lnTo>
                    <a:lnTo>
                      <a:pt x="137" y="355"/>
                    </a:lnTo>
                    <a:lnTo>
                      <a:pt x="136" y="357"/>
                    </a:lnTo>
                    <a:lnTo>
                      <a:pt x="137" y="355"/>
                    </a:lnTo>
                    <a:lnTo>
                      <a:pt x="137" y="354"/>
                    </a:lnTo>
                    <a:lnTo>
                      <a:pt x="137" y="355"/>
                    </a:lnTo>
                    <a:lnTo>
                      <a:pt x="137" y="354"/>
                    </a:lnTo>
                    <a:lnTo>
                      <a:pt x="139" y="354"/>
                    </a:lnTo>
                    <a:lnTo>
                      <a:pt x="139" y="352"/>
                    </a:lnTo>
                    <a:lnTo>
                      <a:pt x="141" y="350"/>
                    </a:lnTo>
                    <a:lnTo>
                      <a:pt x="141" y="352"/>
                    </a:lnTo>
                    <a:lnTo>
                      <a:pt x="141" y="350"/>
                    </a:lnTo>
                    <a:lnTo>
                      <a:pt x="141" y="348"/>
                    </a:lnTo>
                    <a:lnTo>
                      <a:pt x="142" y="348"/>
                    </a:lnTo>
                    <a:lnTo>
                      <a:pt x="144" y="348"/>
                    </a:lnTo>
                    <a:lnTo>
                      <a:pt x="142" y="348"/>
                    </a:lnTo>
                    <a:lnTo>
                      <a:pt x="144" y="348"/>
                    </a:lnTo>
                    <a:lnTo>
                      <a:pt x="142" y="348"/>
                    </a:lnTo>
                    <a:lnTo>
                      <a:pt x="142" y="347"/>
                    </a:lnTo>
                    <a:lnTo>
                      <a:pt x="142" y="348"/>
                    </a:lnTo>
                    <a:lnTo>
                      <a:pt x="141" y="347"/>
                    </a:lnTo>
                    <a:lnTo>
                      <a:pt x="142" y="347"/>
                    </a:lnTo>
                    <a:lnTo>
                      <a:pt x="142" y="345"/>
                    </a:lnTo>
                    <a:lnTo>
                      <a:pt x="144" y="345"/>
                    </a:lnTo>
                    <a:lnTo>
                      <a:pt x="144" y="343"/>
                    </a:lnTo>
                    <a:lnTo>
                      <a:pt x="146" y="343"/>
                    </a:lnTo>
                    <a:lnTo>
                      <a:pt x="146" y="342"/>
                    </a:lnTo>
                    <a:lnTo>
                      <a:pt x="148" y="342"/>
                    </a:lnTo>
                    <a:lnTo>
                      <a:pt x="148" y="340"/>
                    </a:lnTo>
                    <a:lnTo>
                      <a:pt x="148" y="342"/>
                    </a:lnTo>
                    <a:lnTo>
                      <a:pt x="149" y="342"/>
                    </a:lnTo>
                    <a:lnTo>
                      <a:pt x="149" y="340"/>
                    </a:lnTo>
                    <a:lnTo>
                      <a:pt x="148" y="340"/>
                    </a:lnTo>
                    <a:lnTo>
                      <a:pt x="148" y="338"/>
                    </a:lnTo>
                    <a:lnTo>
                      <a:pt x="149" y="338"/>
                    </a:lnTo>
                    <a:lnTo>
                      <a:pt x="151" y="338"/>
                    </a:lnTo>
                    <a:lnTo>
                      <a:pt x="149" y="338"/>
                    </a:lnTo>
                    <a:lnTo>
                      <a:pt x="151" y="338"/>
                    </a:lnTo>
                    <a:lnTo>
                      <a:pt x="149" y="338"/>
                    </a:lnTo>
                    <a:lnTo>
                      <a:pt x="149" y="337"/>
                    </a:lnTo>
                    <a:lnTo>
                      <a:pt x="151" y="337"/>
                    </a:lnTo>
                    <a:lnTo>
                      <a:pt x="153" y="337"/>
                    </a:lnTo>
                    <a:lnTo>
                      <a:pt x="153" y="335"/>
                    </a:lnTo>
                    <a:lnTo>
                      <a:pt x="154" y="333"/>
                    </a:lnTo>
                    <a:lnTo>
                      <a:pt x="154" y="331"/>
                    </a:lnTo>
                    <a:lnTo>
                      <a:pt x="153" y="331"/>
                    </a:lnTo>
                    <a:lnTo>
                      <a:pt x="153" y="330"/>
                    </a:lnTo>
                    <a:lnTo>
                      <a:pt x="154" y="330"/>
                    </a:lnTo>
                    <a:lnTo>
                      <a:pt x="156" y="330"/>
                    </a:lnTo>
                    <a:lnTo>
                      <a:pt x="154" y="330"/>
                    </a:lnTo>
                    <a:lnTo>
                      <a:pt x="156" y="328"/>
                    </a:lnTo>
                    <a:lnTo>
                      <a:pt x="154" y="328"/>
                    </a:lnTo>
                    <a:lnTo>
                      <a:pt x="156" y="328"/>
                    </a:lnTo>
                    <a:lnTo>
                      <a:pt x="156" y="326"/>
                    </a:lnTo>
                    <a:lnTo>
                      <a:pt x="158" y="326"/>
                    </a:lnTo>
                    <a:lnTo>
                      <a:pt x="158" y="325"/>
                    </a:lnTo>
                    <a:lnTo>
                      <a:pt x="159" y="326"/>
                    </a:lnTo>
                    <a:lnTo>
                      <a:pt x="158" y="325"/>
                    </a:lnTo>
                    <a:lnTo>
                      <a:pt x="156" y="325"/>
                    </a:lnTo>
                    <a:lnTo>
                      <a:pt x="156" y="326"/>
                    </a:lnTo>
                    <a:lnTo>
                      <a:pt x="154" y="326"/>
                    </a:lnTo>
                    <a:lnTo>
                      <a:pt x="154" y="328"/>
                    </a:lnTo>
                    <a:lnTo>
                      <a:pt x="153" y="326"/>
                    </a:lnTo>
                    <a:lnTo>
                      <a:pt x="153" y="328"/>
                    </a:lnTo>
                    <a:lnTo>
                      <a:pt x="151" y="328"/>
                    </a:lnTo>
                    <a:lnTo>
                      <a:pt x="151" y="326"/>
                    </a:lnTo>
                    <a:lnTo>
                      <a:pt x="149" y="326"/>
                    </a:lnTo>
                    <a:lnTo>
                      <a:pt x="151" y="326"/>
                    </a:lnTo>
                    <a:lnTo>
                      <a:pt x="151" y="325"/>
                    </a:lnTo>
                    <a:lnTo>
                      <a:pt x="149" y="325"/>
                    </a:lnTo>
                    <a:lnTo>
                      <a:pt x="149" y="323"/>
                    </a:lnTo>
                    <a:lnTo>
                      <a:pt x="151" y="323"/>
                    </a:lnTo>
                    <a:lnTo>
                      <a:pt x="153" y="323"/>
                    </a:lnTo>
                    <a:lnTo>
                      <a:pt x="151" y="321"/>
                    </a:lnTo>
                    <a:lnTo>
                      <a:pt x="153" y="323"/>
                    </a:lnTo>
                    <a:lnTo>
                      <a:pt x="153" y="321"/>
                    </a:lnTo>
                    <a:lnTo>
                      <a:pt x="153" y="320"/>
                    </a:lnTo>
                    <a:lnTo>
                      <a:pt x="154" y="320"/>
                    </a:lnTo>
                    <a:lnTo>
                      <a:pt x="153" y="320"/>
                    </a:lnTo>
                    <a:lnTo>
                      <a:pt x="151" y="320"/>
                    </a:lnTo>
                    <a:lnTo>
                      <a:pt x="149" y="320"/>
                    </a:lnTo>
                    <a:lnTo>
                      <a:pt x="149" y="321"/>
                    </a:lnTo>
                    <a:lnTo>
                      <a:pt x="149" y="323"/>
                    </a:lnTo>
                    <a:lnTo>
                      <a:pt x="148" y="325"/>
                    </a:lnTo>
                    <a:lnTo>
                      <a:pt x="148" y="323"/>
                    </a:lnTo>
                    <a:lnTo>
                      <a:pt x="148" y="321"/>
                    </a:lnTo>
                    <a:lnTo>
                      <a:pt x="146" y="323"/>
                    </a:lnTo>
                    <a:lnTo>
                      <a:pt x="146" y="321"/>
                    </a:lnTo>
                    <a:lnTo>
                      <a:pt x="146" y="320"/>
                    </a:lnTo>
                    <a:lnTo>
                      <a:pt x="144" y="320"/>
                    </a:lnTo>
                    <a:lnTo>
                      <a:pt x="142" y="318"/>
                    </a:lnTo>
                    <a:lnTo>
                      <a:pt x="144" y="318"/>
                    </a:lnTo>
                    <a:lnTo>
                      <a:pt x="144" y="316"/>
                    </a:lnTo>
                    <a:lnTo>
                      <a:pt x="146" y="316"/>
                    </a:lnTo>
                    <a:lnTo>
                      <a:pt x="144" y="316"/>
                    </a:lnTo>
                    <a:lnTo>
                      <a:pt x="142" y="316"/>
                    </a:lnTo>
                    <a:lnTo>
                      <a:pt x="142" y="318"/>
                    </a:lnTo>
                    <a:lnTo>
                      <a:pt x="142" y="316"/>
                    </a:lnTo>
                    <a:lnTo>
                      <a:pt x="142" y="314"/>
                    </a:lnTo>
                    <a:lnTo>
                      <a:pt x="142" y="313"/>
                    </a:lnTo>
                    <a:lnTo>
                      <a:pt x="142" y="311"/>
                    </a:lnTo>
                    <a:lnTo>
                      <a:pt x="144" y="311"/>
                    </a:lnTo>
                    <a:lnTo>
                      <a:pt x="142" y="311"/>
                    </a:lnTo>
                    <a:lnTo>
                      <a:pt x="144" y="313"/>
                    </a:lnTo>
                    <a:lnTo>
                      <a:pt x="142" y="313"/>
                    </a:lnTo>
                    <a:lnTo>
                      <a:pt x="144" y="313"/>
                    </a:lnTo>
                    <a:lnTo>
                      <a:pt x="146" y="313"/>
                    </a:lnTo>
                    <a:lnTo>
                      <a:pt x="146" y="311"/>
                    </a:lnTo>
                    <a:lnTo>
                      <a:pt x="146" y="309"/>
                    </a:lnTo>
                    <a:lnTo>
                      <a:pt x="148" y="309"/>
                    </a:lnTo>
                    <a:lnTo>
                      <a:pt x="148" y="308"/>
                    </a:lnTo>
                    <a:lnTo>
                      <a:pt x="148" y="306"/>
                    </a:lnTo>
                    <a:lnTo>
                      <a:pt x="149" y="304"/>
                    </a:lnTo>
                    <a:lnTo>
                      <a:pt x="149" y="303"/>
                    </a:lnTo>
                    <a:lnTo>
                      <a:pt x="149" y="301"/>
                    </a:lnTo>
                    <a:lnTo>
                      <a:pt x="149" y="299"/>
                    </a:lnTo>
                    <a:lnTo>
                      <a:pt x="149" y="297"/>
                    </a:lnTo>
                    <a:lnTo>
                      <a:pt x="149" y="296"/>
                    </a:lnTo>
                    <a:lnTo>
                      <a:pt x="149" y="297"/>
                    </a:lnTo>
                    <a:lnTo>
                      <a:pt x="151" y="297"/>
                    </a:lnTo>
                    <a:lnTo>
                      <a:pt x="149" y="296"/>
                    </a:lnTo>
                    <a:lnTo>
                      <a:pt x="148" y="296"/>
                    </a:lnTo>
                    <a:lnTo>
                      <a:pt x="149" y="294"/>
                    </a:lnTo>
                    <a:lnTo>
                      <a:pt x="148" y="294"/>
                    </a:lnTo>
                    <a:lnTo>
                      <a:pt x="148" y="292"/>
                    </a:lnTo>
                    <a:lnTo>
                      <a:pt x="148" y="291"/>
                    </a:lnTo>
                    <a:lnTo>
                      <a:pt x="148" y="289"/>
                    </a:lnTo>
                    <a:lnTo>
                      <a:pt x="148" y="287"/>
                    </a:lnTo>
                    <a:lnTo>
                      <a:pt x="148" y="285"/>
                    </a:lnTo>
                    <a:lnTo>
                      <a:pt x="148" y="284"/>
                    </a:lnTo>
                    <a:lnTo>
                      <a:pt x="148" y="282"/>
                    </a:lnTo>
                    <a:lnTo>
                      <a:pt x="148" y="284"/>
                    </a:lnTo>
                    <a:lnTo>
                      <a:pt x="148" y="282"/>
                    </a:lnTo>
                    <a:lnTo>
                      <a:pt x="146" y="282"/>
                    </a:lnTo>
                    <a:lnTo>
                      <a:pt x="148" y="280"/>
                    </a:lnTo>
                    <a:lnTo>
                      <a:pt x="148" y="279"/>
                    </a:lnTo>
                    <a:lnTo>
                      <a:pt x="148" y="277"/>
                    </a:lnTo>
                    <a:lnTo>
                      <a:pt x="146" y="277"/>
                    </a:lnTo>
                    <a:lnTo>
                      <a:pt x="148" y="275"/>
                    </a:lnTo>
                    <a:lnTo>
                      <a:pt x="146" y="275"/>
                    </a:lnTo>
                    <a:lnTo>
                      <a:pt x="146" y="274"/>
                    </a:lnTo>
                    <a:lnTo>
                      <a:pt x="146" y="272"/>
                    </a:lnTo>
                    <a:lnTo>
                      <a:pt x="144" y="272"/>
                    </a:lnTo>
                    <a:lnTo>
                      <a:pt x="142" y="272"/>
                    </a:lnTo>
                    <a:lnTo>
                      <a:pt x="142" y="270"/>
                    </a:lnTo>
                    <a:lnTo>
                      <a:pt x="142" y="268"/>
                    </a:lnTo>
                    <a:lnTo>
                      <a:pt x="144" y="267"/>
                    </a:lnTo>
                    <a:lnTo>
                      <a:pt x="146" y="267"/>
                    </a:lnTo>
                    <a:lnTo>
                      <a:pt x="148" y="267"/>
                    </a:lnTo>
                    <a:lnTo>
                      <a:pt x="149" y="267"/>
                    </a:lnTo>
                    <a:lnTo>
                      <a:pt x="149" y="265"/>
                    </a:lnTo>
                    <a:lnTo>
                      <a:pt x="151" y="265"/>
                    </a:lnTo>
                    <a:lnTo>
                      <a:pt x="151" y="263"/>
                    </a:lnTo>
                    <a:lnTo>
                      <a:pt x="151" y="262"/>
                    </a:lnTo>
                    <a:lnTo>
                      <a:pt x="153" y="262"/>
                    </a:lnTo>
                    <a:lnTo>
                      <a:pt x="151" y="262"/>
                    </a:lnTo>
                    <a:lnTo>
                      <a:pt x="151" y="260"/>
                    </a:lnTo>
                    <a:lnTo>
                      <a:pt x="151" y="258"/>
                    </a:lnTo>
                    <a:lnTo>
                      <a:pt x="151" y="260"/>
                    </a:lnTo>
                    <a:lnTo>
                      <a:pt x="149" y="258"/>
                    </a:lnTo>
                    <a:lnTo>
                      <a:pt x="149" y="257"/>
                    </a:lnTo>
                    <a:lnTo>
                      <a:pt x="149" y="255"/>
                    </a:lnTo>
                    <a:lnTo>
                      <a:pt x="149" y="253"/>
                    </a:lnTo>
                    <a:lnTo>
                      <a:pt x="148" y="253"/>
                    </a:lnTo>
                    <a:lnTo>
                      <a:pt x="148" y="251"/>
                    </a:lnTo>
                    <a:lnTo>
                      <a:pt x="148" y="253"/>
                    </a:lnTo>
                    <a:lnTo>
                      <a:pt x="148" y="251"/>
                    </a:lnTo>
                    <a:lnTo>
                      <a:pt x="146" y="251"/>
                    </a:lnTo>
                    <a:lnTo>
                      <a:pt x="146" y="250"/>
                    </a:lnTo>
                    <a:lnTo>
                      <a:pt x="144" y="250"/>
                    </a:lnTo>
                    <a:lnTo>
                      <a:pt x="144" y="248"/>
                    </a:lnTo>
                    <a:lnTo>
                      <a:pt x="144" y="246"/>
                    </a:lnTo>
                    <a:lnTo>
                      <a:pt x="144" y="245"/>
                    </a:lnTo>
                    <a:lnTo>
                      <a:pt x="144" y="243"/>
                    </a:lnTo>
                    <a:lnTo>
                      <a:pt x="144" y="245"/>
                    </a:lnTo>
                    <a:lnTo>
                      <a:pt x="146" y="245"/>
                    </a:lnTo>
                    <a:lnTo>
                      <a:pt x="146" y="246"/>
                    </a:lnTo>
                    <a:lnTo>
                      <a:pt x="146" y="245"/>
                    </a:lnTo>
                    <a:lnTo>
                      <a:pt x="148" y="245"/>
                    </a:lnTo>
                    <a:lnTo>
                      <a:pt x="148" y="243"/>
                    </a:lnTo>
                    <a:lnTo>
                      <a:pt x="148" y="241"/>
                    </a:lnTo>
                    <a:lnTo>
                      <a:pt x="146" y="241"/>
                    </a:lnTo>
                    <a:lnTo>
                      <a:pt x="148" y="240"/>
                    </a:lnTo>
                    <a:lnTo>
                      <a:pt x="148" y="241"/>
                    </a:lnTo>
                    <a:lnTo>
                      <a:pt x="148" y="240"/>
                    </a:lnTo>
                    <a:lnTo>
                      <a:pt x="148" y="238"/>
                    </a:lnTo>
                    <a:lnTo>
                      <a:pt x="148" y="236"/>
                    </a:lnTo>
                    <a:lnTo>
                      <a:pt x="149" y="236"/>
                    </a:lnTo>
                    <a:lnTo>
                      <a:pt x="149" y="234"/>
                    </a:lnTo>
                    <a:lnTo>
                      <a:pt x="148" y="234"/>
                    </a:lnTo>
                    <a:lnTo>
                      <a:pt x="148" y="233"/>
                    </a:lnTo>
                    <a:lnTo>
                      <a:pt x="146" y="233"/>
                    </a:lnTo>
                    <a:lnTo>
                      <a:pt x="146" y="231"/>
                    </a:lnTo>
                    <a:lnTo>
                      <a:pt x="146" y="229"/>
                    </a:lnTo>
                    <a:lnTo>
                      <a:pt x="144" y="229"/>
                    </a:lnTo>
                    <a:lnTo>
                      <a:pt x="142" y="231"/>
                    </a:lnTo>
                    <a:lnTo>
                      <a:pt x="142" y="229"/>
                    </a:lnTo>
                    <a:lnTo>
                      <a:pt x="141" y="229"/>
                    </a:lnTo>
                    <a:lnTo>
                      <a:pt x="141" y="228"/>
                    </a:lnTo>
                    <a:lnTo>
                      <a:pt x="141" y="226"/>
                    </a:lnTo>
                    <a:lnTo>
                      <a:pt x="139" y="226"/>
                    </a:lnTo>
                    <a:lnTo>
                      <a:pt x="139" y="224"/>
                    </a:lnTo>
                    <a:lnTo>
                      <a:pt x="137" y="224"/>
                    </a:lnTo>
                    <a:lnTo>
                      <a:pt x="137" y="226"/>
                    </a:lnTo>
                    <a:lnTo>
                      <a:pt x="136" y="226"/>
                    </a:lnTo>
                    <a:lnTo>
                      <a:pt x="136" y="224"/>
                    </a:lnTo>
                    <a:lnTo>
                      <a:pt x="136" y="223"/>
                    </a:lnTo>
                    <a:lnTo>
                      <a:pt x="137" y="223"/>
                    </a:lnTo>
                    <a:lnTo>
                      <a:pt x="136" y="223"/>
                    </a:lnTo>
                    <a:lnTo>
                      <a:pt x="137" y="221"/>
                    </a:lnTo>
                    <a:lnTo>
                      <a:pt x="137" y="219"/>
                    </a:lnTo>
                    <a:lnTo>
                      <a:pt x="136" y="217"/>
                    </a:lnTo>
                    <a:lnTo>
                      <a:pt x="134" y="217"/>
                    </a:lnTo>
                    <a:lnTo>
                      <a:pt x="134" y="216"/>
                    </a:lnTo>
                    <a:lnTo>
                      <a:pt x="134" y="214"/>
                    </a:lnTo>
                    <a:lnTo>
                      <a:pt x="132" y="216"/>
                    </a:lnTo>
                    <a:lnTo>
                      <a:pt x="132" y="214"/>
                    </a:lnTo>
                    <a:lnTo>
                      <a:pt x="131" y="214"/>
                    </a:lnTo>
                    <a:lnTo>
                      <a:pt x="131" y="212"/>
                    </a:lnTo>
                    <a:lnTo>
                      <a:pt x="131" y="209"/>
                    </a:lnTo>
                    <a:lnTo>
                      <a:pt x="131" y="207"/>
                    </a:lnTo>
                    <a:lnTo>
                      <a:pt x="132" y="204"/>
                    </a:lnTo>
                    <a:lnTo>
                      <a:pt x="134" y="204"/>
                    </a:lnTo>
                    <a:lnTo>
                      <a:pt x="136" y="204"/>
                    </a:lnTo>
                    <a:lnTo>
                      <a:pt x="136" y="202"/>
                    </a:lnTo>
                    <a:lnTo>
                      <a:pt x="136" y="200"/>
                    </a:lnTo>
                    <a:lnTo>
                      <a:pt x="136" y="199"/>
                    </a:lnTo>
                    <a:lnTo>
                      <a:pt x="134" y="199"/>
                    </a:lnTo>
                    <a:lnTo>
                      <a:pt x="136" y="199"/>
                    </a:lnTo>
                    <a:lnTo>
                      <a:pt x="134" y="197"/>
                    </a:lnTo>
                    <a:lnTo>
                      <a:pt x="136" y="197"/>
                    </a:lnTo>
                    <a:lnTo>
                      <a:pt x="136" y="195"/>
                    </a:lnTo>
                    <a:lnTo>
                      <a:pt x="136" y="197"/>
                    </a:lnTo>
                    <a:lnTo>
                      <a:pt x="137" y="197"/>
                    </a:lnTo>
                    <a:lnTo>
                      <a:pt x="139" y="199"/>
                    </a:lnTo>
                    <a:lnTo>
                      <a:pt x="139" y="200"/>
                    </a:lnTo>
                    <a:lnTo>
                      <a:pt x="139" y="202"/>
                    </a:lnTo>
                    <a:lnTo>
                      <a:pt x="141" y="202"/>
                    </a:lnTo>
                    <a:lnTo>
                      <a:pt x="142" y="202"/>
                    </a:lnTo>
                    <a:lnTo>
                      <a:pt x="142" y="200"/>
                    </a:lnTo>
                    <a:lnTo>
                      <a:pt x="144" y="200"/>
                    </a:lnTo>
                    <a:lnTo>
                      <a:pt x="144" y="199"/>
                    </a:lnTo>
                    <a:lnTo>
                      <a:pt x="144" y="197"/>
                    </a:lnTo>
                    <a:lnTo>
                      <a:pt x="146" y="197"/>
                    </a:lnTo>
                    <a:lnTo>
                      <a:pt x="146" y="195"/>
                    </a:lnTo>
                    <a:lnTo>
                      <a:pt x="146" y="194"/>
                    </a:lnTo>
                    <a:lnTo>
                      <a:pt x="148" y="194"/>
                    </a:lnTo>
                    <a:lnTo>
                      <a:pt x="146" y="194"/>
                    </a:lnTo>
                    <a:lnTo>
                      <a:pt x="148" y="194"/>
                    </a:lnTo>
                    <a:lnTo>
                      <a:pt x="149" y="194"/>
                    </a:lnTo>
                    <a:lnTo>
                      <a:pt x="148" y="192"/>
                    </a:lnTo>
                    <a:lnTo>
                      <a:pt x="148" y="190"/>
                    </a:lnTo>
                    <a:lnTo>
                      <a:pt x="149" y="190"/>
                    </a:lnTo>
                    <a:lnTo>
                      <a:pt x="149" y="189"/>
                    </a:lnTo>
                    <a:lnTo>
                      <a:pt x="151" y="189"/>
                    </a:lnTo>
                    <a:lnTo>
                      <a:pt x="153" y="189"/>
                    </a:lnTo>
                    <a:lnTo>
                      <a:pt x="154" y="189"/>
                    </a:lnTo>
                    <a:lnTo>
                      <a:pt x="154" y="187"/>
                    </a:lnTo>
                    <a:lnTo>
                      <a:pt x="156" y="187"/>
                    </a:lnTo>
                    <a:lnTo>
                      <a:pt x="154" y="187"/>
                    </a:lnTo>
                    <a:lnTo>
                      <a:pt x="153" y="185"/>
                    </a:lnTo>
                    <a:lnTo>
                      <a:pt x="153" y="183"/>
                    </a:lnTo>
                    <a:lnTo>
                      <a:pt x="153" y="182"/>
                    </a:lnTo>
                    <a:lnTo>
                      <a:pt x="151" y="180"/>
                    </a:lnTo>
                    <a:lnTo>
                      <a:pt x="151" y="178"/>
                    </a:lnTo>
                    <a:lnTo>
                      <a:pt x="151" y="177"/>
                    </a:lnTo>
                    <a:lnTo>
                      <a:pt x="149" y="177"/>
                    </a:lnTo>
                    <a:lnTo>
                      <a:pt x="148" y="175"/>
                    </a:lnTo>
                    <a:lnTo>
                      <a:pt x="148" y="173"/>
                    </a:lnTo>
                    <a:lnTo>
                      <a:pt x="148" y="172"/>
                    </a:lnTo>
                    <a:lnTo>
                      <a:pt x="146" y="170"/>
                    </a:lnTo>
                    <a:lnTo>
                      <a:pt x="144" y="170"/>
                    </a:lnTo>
                    <a:lnTo>
                      <a:pt x="144" y="168"/>
                    </a:lnTo>
                    <a:lnTo>
                      <a:pt x="146" y="168"/>
                    </a:lnTo>
                    <a:lnTo>
                      <a:pt x="146" y="166"/>
                    </a:lnTo>
                    <a:lnTo>
                      <a:pt x="144" y="166"/>
                    </a:lnTo>
                    <a:lnTo>
                      <a:pt x="146" y="166"/>
                    </a:lnTo>
                    <a:lnTo>
                      <a:pt x="146" y="165"/>
                    </a:lnTo>
                    <a:lnTo>
                      <a:pt x="146" y="163"/>
                    </a:lnTo>
                    <a:lnTo>
                      <a:pt x="148" y="163"/>
                    </a:lnTo>
                    <a:lnTo>
                      <a:pt x="148" y="165"/>
                    </a:lnTo>
                    <a:lnTo>
                      <a:pt x="148" y="163"/>
                    </a:lnTo>
                    <a:lnTo>
                      <a:pt x="149" y="165"/>
                    </a:lnTo>
                    <a:lnTo>
                      <a:pt x="149" y="166"/>
                    </a:lnTo>
                    <a:lnTo>
                      <a:pt x="151" y="166"/>
                    </a:lnTo>
                    <a:lnTo>
                      <a:pt x="151" y="168"/>
                    </a:lnTo>
                    <a:lnTo>
                      <a:pt x="151" y="170"/>
                    </a:lnTo>
                    <a:lnTo>
                      <a:pt x="153" y="170"/>
                    </a:lnTo>
                    <a:lnTo>
                      <a:pt x="154" y="172"/>
                    </a:lnTo>
                    <a:lnTo>
                      <a:pt x="156" y="172"/>
                    </a:lnTo>
                    <a:lnTo>
                      <a:pt x="156" y="173"/>
                    </a:lnTo>
                    <a:lnTo>
                      <a:pt x="158" y="175"/>
                    </a:lnTo>
                    <a:lnTo>
                      <a:pt x="158" y="177"/>
                    </a:lnTo>
                    <a:lnTo>
                      <a:pt x="159" y="177"/>
                    </a:lnTo>
                    <a:lnTo>
                      <a:pt x="161" y="177"/>
                    </a:lnTo>
                    <a:lnTo>
                      <a:pt x="161" y="178"/>
                    </a:lnTo>
                    <a:lnTo>
                      <a:pt x="161" y="180"/>
                    </a:lnTo>
                    <a:lnTo>
                      <a:pt x="163" y="180"/>
                    </a:lnTo>
                    <a:lnTo>
                      <a:pt x="163" y="178"/>
                    </a:lnTo>
                    <a:lnTo>
                      <a:pt x="161" y="178"/>
                    </a:lnTo>
                    <a:lnTo>
                      <a:pt x="163" y="178"/>
                    </a:lnTo>
                    <a:lnTo>
                      <a:pt x="163" y="180"/>
                    </a:lnTo>
                    <a:lnTo>
                      <a:pt x="163" y="178"/>
                    </a:lnTo>
                    <a:lnTo>
                      <a:pt x="163" y="180"/>
                    </a:lnTo>
                    <a:lnTo>
                      <a:pt x="161" y="180"/>
                    </a:lnTo>
                    <a:lnTo>
                      <a:pt x="161" y="182"/>
                    </a:lnTo>
                    <a:lnTo>
                      <a:pt x="163" y="182"/>
                    </a:lnTo>
                    <a:lnTo>
                      <a:pt x="163" y="183"/>
                    </a:lnTo>
                    <a:lnTo>
                      <a:pt x="163" y="182"/>
                    </a:lnTo>
                    <a:lnTo>
                      <a:pt x="165" y="182"/>
                    </a:lnTo>
                    <a:lnTo>
                      <a:pt x="163" y="182"/>
                    </a:lnTo>
                    <a:lnTo>
                      <a:pt x="165" y="182"/>
                    </a:lnTo>
                    <a:lnTo>
                      <a:pt x="166" y="182"/>
                    </a:lnTo>
                    <a:lnTo>
                      <a:pt x="165" y="182"/>
                    </a:lnTo>
                    <a:lnTo>
                      <a:pt x="165" y="183"/>
                    </a:lnTo>
                    <a:lnTo>
                      <a:pt x="166" y="183"/>
                    </a:lnTo>
                    <a:lnTo>
                      <a:pt x="165" y="183"/>
                    </a:lnTo>
                    <a:lnTo>
                      <a:pt x="166" y="183"/>
                    </a:lnTo>
                    <a:lnTo>
                      <a:pt x="166" y="185"/>
                    </a:lnTo>
                    <a:lnTo>
                      <a:pt x="165" y="183"/>
                    </a:lnTo>
                    <a:lnTo>
                      <a:pt x="165" y="185"/>
                    </a:lnTo>
                    <a:lnTo>
                      <a:pt x="166" y="185"/>
                    </a:lnTo>
                    <a:lnTo>
                      <a:pt x="165" y="185"/>
                    </a:lnTo>
                    <a:lnTo>
                      <a:pt x="165" y="183"/>
                    </a:lnTo>
                    <a:lnTo>
                      <a:pt x="163" y="185"/>
                    </a:lnTo>
                    <a:lnTo>
                      <a:pt x="163" y="187"/>
                    </a:lnTo>
                    <a:lnTo>
                      <a:pt x="163" y="189"/>
                    </a:lnTo>
                    <a:lnTo>
                      <a:pt x="165" y="189"/>
                    </a:lnTo>
                    <a:lnTo>
                      <a:pt x="166" y="189"/>
                    </a:lnTo>
                    <a:lnTo>
                      <a:pt x="168" y="189"/>
                    </a:lnTo>
                    <a:lnTo>
                      <a:pt x="168" y="187"/>
                    </a:lnTo>
                    <a:lnTo>
                      <a:pt x="170" y="187"/>
                    </a:lnTo>
                    <a:lnTo>
                      <a:pt x="168" y="185"/>
                    </a:lnTo>
                    <a:lnTo>
                      <a:pt x="170" y="185"/>
                    </a:lnTo>
                    <a:lnTo>
                      <a:pt x="170" y="183"/>
                    </a:lnTo>
                    <a:lnTo>
                      <a:pt x="168" y="183"/>
                    </a:lnTo>
                    <a:lnTo>
                      <a:pt x="168" y="182"/>
                    </a:lnTo>
                    <a:lnTo>
                      <a:pt x="168" y="180"/>
                    </a:lnTo>
                    <a:lnTo>
                      <a:pt x="168" y="178"/>
                    </a:lnTo>
                    <a:lnTo>
                      <a:pt x="168" y="177"/>
                    </a:lnTo>
                    <a:lnTo>
                      <a:pt x="168" y="175"/>
                    </a:lnTo>
                    <a:lnTo>
                      <a:pt x="168" y="173"/>
                    </a:lnTo>
                    <a:lnTo>
                      <a:pt x="168" y="172"/>
                    </a:lnTo>
                    <a:lnTo>
                      <a:pt x="166" y="172"/>
                    </a:lnTo>
                    <a:lnTo>
                      <a:pt x="166" y="170"/>
                    </a:lnTo>
                    <a:lnTo>
                      <a:pt x="166" y="168"/>
                    </a:lnTo>
                    <a:lnTo>
                      <a:pt x="165" y="168"/>
                    </a:lnTo>
                    <a:lnTo>
                      <a:pt x="163" y="168"/>
                    </a:lnTo>
                    <a:lnTo>
                      <a:pt x="163" y="166"/>
                    </a:lnTo>
                    <a:lnTo>
                      <a:pt x="165" y="165"/>
                    </a:lnTo>
                    <a:lnTo>
                      <a:pt x="166" y="165"/>
                    </a:lnTo>
                    <a:lnTo>
                      <a:pt x="168" y="165"/>
                    </a:lnTo>
                    <a:lnTo>
                      <a:pt x="170" y="163"/>
                    </a:lnTo>
                    <a:lnTo>
                      <a:pt x="171" y="163"/>
                    </a:lnTo>
                    <a:lnTo>
                      <a:pt x="173" y="163"/>
                    </a:lnTo>
                    <a:lnTo>
                      <a:pt x="171" y="161"/>
                    </a:lnTo>
                    <a:lnTo>
                      <a:pt x="173" y="161"/>
                    </a:lnTo>
                    <a:lnTo>
                      <a:pt x="175" y="160"/>
                    </a:lnTo>
                    <a:lnTo>
                      <a:pt x="176" y="160"/>
                    </a:lnTo>
                    <a:lnTo>
                      <a:pt x="176" y="158"/>
                    </a:lnTo>
                    <a:lnTo>
                      <a:pt x="178" y="158"/>
                    </a:lnTo>
                    <a:lnTo>
                      <a:pt x="180" y="156"/>
                    </a:lnTo>
                    <a:lnTo>
                      <a:pt x="180" y="155"/>
                    </a:lnTo>
                    <a:lnTo>
                      <a:pt x="182" y="155"/>
                    </a:lnTo>
                    <a:lnTo>
                      <a:pt x="183" y="155"/>
                    </a:lnTo>
                    <a:lnTo>
                      <a:pt x="183" y="153"/>
                    </a:lnTo>
                    <a:lnTo>
                      <a:pt x="185" y="153"/>
                    </a:lnTo>
                    <a:lnTo>
                      <a:pt x="185" y="151"/>
                    </a:lnTo>
                    <a:lnTo>
                      <a:pt x="185" y="149"/>
                    </a:lnTo>
                    <a:lnTo>
                      <a:pt x="187" y="149"/>
                    </a:lnTo>
                    <a:lnTo>
                      <a:pt x="187" y="148"/>
                    </a:lnTo>
                    <a:lnTo>
                      <a:pt x="188" y="146"/>
                    </a:lnTo>
                    <a:lnTo>
                      <a:pt x="188" y="144"/>
                    </a:lnTo>
                    <a:lnTo>
                      <a:pt x="188" y="143"/>
                    </a:lnTo>
                    <a:lnTo>
                      <a:pt x="190" y="143"/>
                    </a:lnTo>
                    <a:lnTo>
                      <a:pt x="190" y="141"/>
                    </a:lnTo>
                    <a:lnTo>
                      <a:pt x="192" y="139"/>
                    </a:lnTo>
                    <a:lnTo>
                      <a:pt x="193" y="139"/>
                    </a:lnTo>
                    <a:lnTo>
                      <a:pt x="195" y="139"/>
                    </a:lnTo>
                    <a:lnTo>
                      <a:pt x="195" y="138"/>
                    </a:lnTo>
                    <a:lnTo>
                      <a:pt x="195" y="136"/>
                    </a:lnTo>
                    <a:lnTo>
                      <a:pt x="195" y="138"/>
                    </a:lnTo>
                    <a:lnTo>
                      <a:pt x="195" y="136"/>
                    </a:lnTo>
                    <a:lnTo>
                      <a:pt x="197" y="136"/>
                    </a:lnTo>
                    <a:lnTo>
                      <a:pt x="197" y="138"/>
                    </a:lnTo>
                    <a:lnTo>
                      <a:pt x="199" y="138"/>
                    </a:lnTo>
                    <a:lnTo>
                      <a:pt x="200" y="138"/>
                    </a:lnTo>
                    <a:lnTo>
                      <a:pt x="199" y="138"/>
                    </a:lnTo>
                    <a:lnTo>
                      <a:pt x="200" y="138"/>
                    </a:lnTo>
                    <a:lnTo>
                      <a:pt x="202" y="138"/>
                    </a:lnTo>
                    <a:lnTo>
                      <a:pt x="204" y="138"/>
                    </a:lnTo>
                    <a:lnTo>
                      <a:pt x="205" y="138"/>
                    </a:lnTo>
                    <a:lnTo>
                      <a:pt x="207" y="136"/>
                    </a:lnTo>
                    <a:lnTo>
                      <a:pt x="207" y="134"/>
                    </a:lnTo>
                    <a:lnTo>
                      <a:pt x="209" y="132"/>
                    </a:lnTo>
                    <a:lnTo>
                      <a:pt x="209" y="131"/>
                    </a:lnTo>
                    <a:lnTo>
                      <a:pt x="207" y="129"/>
                    </a:lnTo>
                    <a:lnTo>
                      <a:pt x="207" y="127"/>
                    </a:lnTo>
                    <a:lnTo>
                      <a:pt x="205" y="127"/>
                    </a:lnTo>
                    <a:lnTo>
                      <a:pt x="204" y="127"/>
                    </a:lnTo>
                    <a:lnTo>
                      <a:pt x="205" y="127"/>
                    </a:lnTo>
                    <a:lnTo>
                      <a:pt x="205" y="126"/>
                    </a:lnTo>
                    <a:lnTo>
                      <a:pt x="207" y="124"/>
                    </a:lnTo>
                    <a:lnTo>
                      <a:pt x="207" y="122"/>
                    </a:lnTo>
                    <a:lnTo>
                      <a:pt x="207" y="120"/>
                    </a:lnTo>
                    <a:lnTo>
                      <a:pt x="207" y="119"/>
                    </a:lnTo>
                    <a:lnTo>
                      <a:pt x="209" y="119"/>
                    </a:lnTo>
                    <a:lnTo>
                      <a:pt x="207" y="117"/>
                    </a:lnTo>
                    <a:lnTo>
                      <a:pt x="209" y="117"/>
                    </a:lnTo>
                    <a:lnTo>
                      <a:pt x="209" y="115"/>
                    </a:lnTo>
                    <a:lnTo>
                      <a:pt x="209" y="114"/>
                    </a:lnTo>
                    <a:lnTo>
                      <a:pt x="207" y="114"/>
                    </a:lnTo>
                    <a:lnTo>
                      <a:pt x="209" y="114"/>
                    </a:lnTo>
                    <a:lnTo>
                      <a:pt x="209" y="112"/>
                    </a:lnTo>
                    <a:lnTo>
                      <a:pt x="210" y="112"/>
                    </a:lnTo>
                    <a:lnTo>
                      <a:pt x="209" y="112"/>
                    </a:lnTo>
                    <a:lnTo>
                      <a:pt x="209" y="110"/>
                    </a:lnTo>
                    <a:lnTo>
                      <a:pt x="209" y="112"/>
                    </a:lnTo>
                    <a:lnTo>
                      <a:pt x="210" y="112"/>
                    </a:lnTo>
                    <a:lnTo>
                      <a:pt x="210" y="110"/>
                    </a:lnTo>
                    <a:lnTo>
                      <a:pt x="209" y="110"/>
                    </a:lnTo>
                    <a:lnTo>
                      <a:pt x="210" y="109"/>
                    </a:lnTo>
                    <a:lnTo>
                      <a:pt x="209" y="109"/>
                    </a:lnTo>
                    <a:lnTo>
                      <a:pt x="209" y="110"/>
                    </a:lnTo>
                    <a:lnTo>
                      <a:pt x="207" y="110"/>
                    </a:lnTo>
                    <a:lnTo>
                      <a:pt x="205" y="112"/>
                    </a:lnTo>
                    <a:lnTo>
                      <a:pt x="205" y="110"/>
                    </a:lnTo>
                    <a:lnTo>
                      <a:pt x="205" y="112"/>
                    </a:lnTo>
                    <a:lnTo>
                      <a:pt x="204" y="114"/>
                    </a:lnTo>
                    <a:lnTo>
                      <a:pt x="204" y="112"/>
                    </a:lnTo>
                    <a:lnTo>
                      <a:pt x="205" y="112"/>
                    </a:lnTo>
                    <a:lnTo>
                      <a:pt x="205" y="110"/>
                    </a:lnTo>
                    <a:lnTo>
                      <a:pt x="207" y="110"/>
                    </a:lnTo>
                    <a:lnTo>
                      <a:pt x="207" y="109"/>
                    </a:lnTo>
                    <a:lnTo>
                      <a:pt x="207" y="110"/>
                    </a:lnTo>
                    <a:lnTo>
                      <a:pt x="207" y="109"/>
                    </a:lnTo>
                    <a:lnTo>
                      <a:pt x="207" y="107"/>
                    </a:lnTo>
                    <a:lnTo>
                      <a:pt x="209" y="107"/>
                    </a:lnTo>
                    <a:lnTo>
                      <a:pt x="207" y="109"/>
                    </a:lnTo>
                    <a:lnTo>
                      <a:pt x="209" y="109"/>
                    </a:lnTo>
                    <a:lnTo>
                      <a:pt x="210" y="107"/>
                    </a:lnTo>
                    <a:lnTo>
                      <a:pt x="210" y="105"/>
                    </a:lnTo>
                    <a:lnTo>
                      <a:pt x="210" y="103"/>
                    </a:lnTo>
                    <a:lnTo>
                      <a:pt x="209" y="103"/>
                    </a:lnTo>
                    <a:lnTo>
                      <a:pt x="210" y="103"/>
                    </a:lnTo>
                    <a:lnTo>
                      <a:pt x="209" y="103"/>
                    </a:lnTo>
                    <a:lnTo>
                      <a:pt x="209" y="102"/>
                    </a:lnTo>
                    <a:lnTo>
                      <a:pt x="210" y="102"/>
                    </a:lnTo>
                    <a:lnTo>
                      <a:pt x="210" y="103"/>
                    </a:lnTo>
                    <a:lnTo>
                      <a:pt x="212" y="103"/>
                    </a:lnTo>
                    <a:lnTo>
                      <a:pt x="210" y="102"/>
                    </a:lnTo>
                    <a:lnTo>
                      <a:pt x="212" y="100"/>
                    </a:lnTo>
                    <a:lnTo>
                      <a:pt x="210" y="100"/>
                    </a:lnTo>
                    <a:lnTo>
                      <a:pt x="210" y="98"/>
                    </a:lnTo>
                    <a:lnTo>
                      <a:pt x="212" y="97"/>
                    </a:lnTo>
                    <a:lnTo>
                      <a:pt x="212" y="95"/>
                    </a:lnTo>
                    <a:lnTo>
                      <a:pt x="214" y="95"/>
                    </a:lnTo>
                    <a:lnTo>
                      <a:pt x="214" y="93"/>
                    </a:lnTo>
                    <a:lnTo>
                      <a:pt x="216" y="93"/>
                    </a:lnTo>
                    <a:lnTo>
                      <a:pt x="217" y="93"/>
                    </a:lnTo>
                    <a:lnTo>
                      <a:pt x="219" y="93"/>
                    </a:lnTo>
                    <a:lnTo>
                      <a:pt x="219" y="92"/>
                    </a:lnTo>
                    <a:lnTo>
                      <a:pt x="219" y="90"/>
                    </a:lnTo>
                    <a:lnTo>
                      <a:pt x="221" y="90"/>
                    </a:lnTo>
                    <a:lnTo>
                      <a:pt x="221" y="88"/>
                    </a:lnTo>
                    <a:lnTo>
                      <a:pt x="222" y="88"/>
                    </a:lnTo>
                    <a:lnTo>
                      <a:pt x="224" y="88"/>
                    </a:lnTo>
                    <a:lnTo>
                      <a:pt x="224" y="86"/>
                    </a:lnTo>
                    <a:lnTo>
                      <a:pt x="226" y="86"/>
                    </a:lnTo>
                    <a:lnTo>
                      <a:pt x="226" y="85"/>
                    </a:lnTo>
                    <a:lnTo>
                      <a:pt x="227" y="85"/>
                    </a:lnTo>
                    <a:lnTo>
                      <a:pt x="227" y="83"/>
                    </a:lnTo>
                    <a:lnTo>
                      <a:pt x="229" y="83"/>
                    </a:lnTo>
                    <a:lnTo>
                      <a:pt x="227" y="83"/>
                    </a:lnTo>
                    <a:lnTo>
                      <a:pt x="229" y="83"/>
                    </a:lnTo>
                    <a:lnTo>
                      <a:pt x="231" y="81"/>
                    </a:lnTo>
                    <a:lnTo>
                      <a:pt x="233" y="81"/>
                    </a:lnTo>
                    <a:lnTo>
                      <a:pt x="233" y="80"/>
                    </a:lnTo>
                    <a:lnTo>
                      <a:pt x="234" y="80"/>
                    </a:lnTo>
                    <a:lnTo>
                      <a:pt x="236" y="80"/>
                    </a:lnTo>
                    <a:lnTo>
                      <a:pt x="236" y="81"/>
                    </a:lnTo>
                    <a:lnTo>
                      <a:pt x="238" y="81"/>
                    </a:lnTo>
                    <a:lnTo>
                      <a:pt x="239" y="81"/>
                    </a:lnTo>
                    <a:lnTo>
                      <a:pt x="239" y="83"/>
                    </a:lnTo>
                    <a:lnTo>
                      <a:pt x="241" y="83"/>
                    </a:lnTo>
                    <a:lnTo>
                      <a:pt x="243" y="83"/>
                    </a:lnTo>
                    <a:lnTo>
                      <a:pt x="244" y="83"/>
                    </a:lnTo>
                    <a:lnTo>
                      <a:pt x="246" y="83"/>
                    </a:lnTo>
                    <a:lnTo>
                      <a:pt x="248" y="83"/>
                    </a:lnTo>
                    <a:lnTo>
                      <a:pt x="250" y="83"/>
                    </a:lnTo>
                    <a:lnTo>
                      <a:pt x="251" y="83"/>
                    </a:lnTo>
                    <a:lnTo>
                      <a:pt x="253" y="83"/>
                    </a:lnTo>
                    <a:lnTo>
                      <a:pt x="253" y="81"/>
                    </a:lnTo>
                    <a:lnTo>
                      <a:pt x="255" y="81"/>
                    </a:lnTo>
                    <a:lnTo>
                      <a:pt x="255" y="80"/>
                    </a:lnTo>
                    <a:lnTo>
                      <a:pt x="253" y="80"/>
                    </a:lnTo>
                    <a:lnTo>
                      <a:pt x="253" y="78"/>
                    </a:lnTo>
                    <a:lnTo>
                      <a:pt x="253" y="76"/>
                    </a:lnTo>
                    <a:lnTo>
                      <a:pt x="253" y="75"/>
                    </a:lnTo>
                    <a:lnTo>
                      <a:pt x="255" y="75"/>
                    </a:lnTo>
                    <a:lnTo>
                      <a:pt x="253" y="75"/>
                    </a:lnTo>
                    <a:lnTo>
                      <a:pt x="255" y="75"/>
                    </a:lnTo>
                    <a:lnTo>
                      <a:pt x="255" y="73"/>
                    </a:lnTo>
                    <a:lnTo>
                      <a:pt x="256" y="73"/>
                    </a:lnTo>
                    <a:lnTo>
                      <a:pt x="256" y="71"/>
                    </a:lnTo>
                    <a:lnTo>
                      <a:pt x="256" y="73"/>
                    </a:lnTo>
                    <a:lnTo>
                      <a:pt x="256" y="71"/>
                    </a:lnTo>
                    <a:lnTo>
                      <a:pt x="258" y="73"/>
                    </a:lnTo>
                    <a:lnTo>
                      <a:pt x="258" y="71"/>
                    </a:lnTo>
                    <a:lnTo>
                      <a:pt x="258" y="73"/>
                    </a:lnTo>
                    <a:lnTo>
                      <a:pt x="258" y="71"/>
                    </a:lnTo>
                    <a:lnTo>
                      <a:pt x="260" y="71"/>
                    </a:lnTo>
                    <a:lnTo>
                      <a:pt x="261" y="71"/>
                    </a:lnTo>
                    <a:lnTo>
                      <a:pt x="263" y="71"/>
                    </a:lnTo>
                    <a:lnTo>
                      <a:pt x="263" y="73"/>
                    </a:lnTo>
                    <a:lnTo>
                      <a:pt x="265" y="73"/>
                    </a:lnTo>
                    <a:lnTo>
                      <a:pt x="267" y="73"/>
                    </a:lnTo>
                    <a:lnTo>
                      <a:pt x="267" y="75"/>
                    </a:lnTo>
                    <a:lnTo>
                      <a:pt x="268" y="75"/>
                    </a:lnTo>
                    <a:lnTo>
                      <a:pt x="270" y="75"/>
                    </a:lnTo>
                    <a:lnTo>
                      <a:pt x="272" y="75"/>
                    </a:lnTo>
                    <a:lnTo>
                      <a:pt x="273" y="75"/>
                    </a:lnTo>
                    <a:lnTo>
                      <a:pt x="275" y="75"/>
                    </a:lnTo>
                    <a:lnTo>
                      <a:pt x="277" y="75"/>
                    </a:lnTo>
                    <a:lnTo>
                      <a:pt x="278" y="75"/>
                    </a:lnTo>
                    <a:lnTo>
                      <a:pt x="280" y="75"/>
                    </a:lnTo>
                    <a:lnTo>
                      <a:pt x="282" y="75"/>
                    </a:lnTo>
                    <a:lnTo>
                      <a:pt x="284" y="75"/>
                    </a:lnTo>
                    <a:lnTo>
                      <a:pt x="284" y="73"/>
                    </a:lnTo>
                    <a:lnTo>
                      <a:pt x="285" y="73"/>
                    </a:lnTo>
                    <a:lnTo>
                      <a:pt x="287" y="73"/>
                    </a:lnTo>
                    <a:lnTo>
                      <a:pt x="287" y="71"/>
                    </a:lnTo>
                    <a:lnTo>
                      <a:pt x="289" y="71"/>
                    </a:lnTo>
                    <a:lnTo>
                      <a:pt x="289" y="69"/>
                    </a:lnTo>
                    <a:lnTo>
                      <a:pt x="290" y="69"/>
                    </a:lnTo>
                    <a:lnTo>
                      <a:pt x="292" y="69"/>
                    </a:lnTo>
                    <a:lnTo>
                      <a:pt x="292" y="68"/>
                    </a:lnTo>
                    <a:lnTo>
                      <a:pt x="294" y="66"/>
                    </a:lnTo>
                    <a:lnTo>
                      <a:pt x="295" y="66"/>
                    </a:lnTo>
                    <a:lnTo>
                      <a:pt x="295" y="64"/>
                    </a:lnTo>
                    <a:lnTo>
                      <a:pt x="297" y="64"/>
                    </a:lnTo>
                    <a:lnTo>
                      <a:pt x="299" y="64"/>
                    </a:lnTo>
                    <a:lnTo>
                      <a:pt x="299" y="63"/>
                    </a:lnTo>
                    <a:lnTo>
                      <a:pt x="301" y="63"/>
                    </a:lnTo>
                    <a:lnTo>
                      <a:pt x="301" y="61"/>
                    </a:lnTo>
                    <a:lnTo>
                      <a:pt x="302" y="61"/>
                    </a:lnTo>
                    <a:lnTo>
                      <a:pt x="302" y="59"/>
                    </a:lnTo>
                    <a:lnTo>
                      <a:pt x="304" y="59"/>
                    </a:lnTo>
                    <a:lnTo>
                      <a:pt x="306" y="59"/>
                    </a:lnTo>
                    <a:lnTo>
                      <a:pt x="307" y="58"/>
                    </a:lnTo>
                    <a:lnTo>
                      <a:pt x="309" y="58"/>
                    </a:lnTo>
                    <a:lnTo>
                      <a:pt x="311" y="58"/>
                    </a:lnTo>
                    <a:lnTo>
                      <a:pt x="311" y="56"/>
                    </a:lnTo>
                    <a:lnTo>
                      <a:pt x="312" y="56"/>
                    </a:lnTo>
                    <a:lnTo>
                      <a:pt x="314" y="56"/>
                    </a:lnTo>
                    <a:lnTo>
                      <a:pt x="316" y="56"/>
                    </a:lnTo>
                    <a:lnTo>
                      <a:pt x="316" y="54"/>
                    </a:lnTo>
                    <a:lnTo>
                      <a:pt x="318" y="54"/>
                    </a:lnTo>
                    <a:lnTo>
                      <a:pt x="319" y="54"/>
                    </a:lnTo>
                    <a:lnTo>
                      <a:pt x="319" y="52"/>
                    </a:lnTo>
                    <a:lnTo>
                      <a:pt x="321" y="52"/>
                    </a:lnTo>
                    <a:lnTo>
                      <a:pt x="321" y="51"/>
                    </a:lnTo>
                    <a:lnTo>
                      <a:pt x="323" y="49"/>
                    </a:lnTo>
                    <a:lnTo>
                      <a:pt x="323" y="47"/>
                    </a:lnTo>
                    <a:lnTo>
                      <a:pt x="324" y="46"/>
                    </a:lnTo>
                    <a:lnTo>
                      <a:pt x="324" y="44"/>
                    </a:lnTo>
                    <a:lnTo>
                      <a:pt x="324" y="42"/>
                    </a:lnTo>
                    <a:lnTo>
                      <a:pt x="323" y="42"/>
                    </a:lnTo>
                    <a:lnTo>
                      <a:pt x="323" y="41"/>
                    </a:lnTo>
                    <a:lnTo>
                      <a:pt x="324" y="41"/>
                    </a:lnTo>
                    <a:lnTo>
                      <a:pt x="326" y="41"/>
                    </a:lnTo>
                    <a:lnTo>
                      <a:pt x="328" y="41"/>
                    </a:lnTo>
                    <a:lnTo>
                      <a:pt x="329" y="41"/>
                    </a:lnTo>
                    <a:lnTo>
                      <a:pt x="329" y="42"/>
                    </a:lnTo>
                    <a:lnTo>
                      <a:pt x="329" y="44"/>
                    </a:lnTo>
                    <a:lnTo>
                      <a:pt x="331" y="44"/>
                    </a:lnTo>
                    <a:lnTo>
                      <a:pt x="331" y="42"/>
                    </a:lnTo>
                    <a:lnTo>
                      <a:pt x="333" y="42"/>
                    </a:lnTo>
                    <a:lnTo>
                      <a:pt x="333" y="41"/>
                    </a:lnTo>
                    <a:lnTo>
                      <a:pt x="333" y="39"/>
                    </a:lnTo>
                    <a:lnTo>
                      <a:pt x="333" y="41"/>
                    </a:lnTo>
                    <a:lnTo>
                      <a:pt x="333" y="39"/>
                    </a:lnTo>
                    <a:lnTo>
                      <a:pt x="331" y="39"/>
                    </a:lnTo>
                    <a:lnTo>
                      <a:pt x="333" y="39"/>
                    </a:lnTo>
                    <a:lnTo>
                      <a:pt x="331" y="39"/>
                    </a:lnTo>
                    <a:lnTo>
                      <a:pt x="329" y="39"/>
                    </a:lnTo>
                    <a:lnTo>
                      <a:pt x="331" y="39"/>
                    </a:lnTo>
                    <a:lnTo>
                      <a:pt x="333" y="37"/>
                    </a:lnTo>
                    <a:lnTo>
                      <a:pt x="333" y="35"/>
                    </a:lnTo>
                    <a:lnTo>
                      <a:pt x="335" y="37"/>
                    </a:lnTo>
                    <a:lnTo>
                      <a:pt x="335" y="35"/>
                    </a:lnTo>
                    <a:lnTo>
                      <a:pt x="335" y="37"/>
                    </a:lnTo>
                    <a:lnTo>
                      <a:pt x="336" y="39"/>
                    </a:lnTo>
                    <a:lnTo>
                      <a:pt x="336" y="37"/>
                    </a:lnTo>
                    <a:lnTo>
                      <a:pt x="338" y="37"/>
                    </a:lnTo>
                    <a:lnTo>
                      <a:pt x="338" y="35"/>
                    </a:lnTo>
                    <a:lnTo>
                      <a:pt x="336" y="35"/>
                    </a:lnTo>
                    <a:lnTo>
                      <a:pt x="338" y="35"/>
                    </a:lnTo>
                    <a:lnTo>
                      <a:pt x="338" y="34"/>
                    </a:lnTo>
                    <a:lnTo>
                      <a:pt x="338" y="35"/>
                    </a:lnTo>
                    <a:lnTo>
                      <a:pt x="340" y="35"/>
                    </a:lnTo>
                    <a:lnTo>
                      <a:pt x="338" y="35"/>
                    </a:lnTo>
                    <a:lnTo>
                      <a:pt x="340" y="35"/>
                    </a:lnTo>
                    <a:lnTo>
                      <a:pt x="341" y="35"/>
                    </a:lnTo>
                    <a:lnTo>
                      <a:pt x="341" y="34"/>
                    </a:lnTo>
                    <a:lnTo>
                      <a:pt x="340" y="34"/>
                    </a:lnTo>
                    <a:lnTo>
                      <a:pt x="341" y="34"/>
                    </a:lnTo>
                    <a:lnTo>
                      <a:pt x="340" y="34"/>
                    </a:lnTo>
                    <a:lnTo>
                      <a:pt x="338" y="34"/>
                    </a:lnTo>
                    <a:lnTo>
                      <a:pt x="340" y="34"/>
                    </a:lnTo>
                    <a:lnTo>
                      <a:pt x="340" y="32"/>
                    </a:lnTo>
                    <a:lnTo>
                      <a:pt x="341" y="34"/>
                    </a:lnTo>
                    <a:lnTo>
                      <a:pt x="343" y="34"/>
                    </a:lnTo>
                    <a:lnTo>
                      <a:pt x="345" y="34"/>
                    </a:lnTo>
                    <a:lnTo>
                      <a:pt x="346" y="34"/>
                    </a:lnTo>
                    <a:lnTo>
                      <a:pt x="346" y="35"/>
                    </a:lnTo>
                    <a:lnTo>
                      <a:pt x="348" y="35"/>
                    </a:lnTo>
                    <a:lnTo>
                      <a:pt x="350" y="35"/>
                    </a:lnTo>
                    <a:lnTo>
                      <a:pt x="352" y="35"/>
                    </a:lnTo>
                    <a:lnTo>
                      <a:pt x="352" y="37"/>
                    </a:lnTo>
                    <a:lnTo>
                      <a:pt x="352" y="35"/>
                    </a:lnTo>
                    <a:lnTo>
                      <a:pt x="352" y="37"/>
                    </a:lnTo>
                    <a:lnTo>
                      <a:pt x="353" y="37"/>
                    </a:lnTo>
                    <a:lnTo>
                      <a:pt x="355" y="37"/>
                    </a:lnTo>
                    <a:lnTo>
                      <a:pt x="355" y="39"/>
                    </a:lnTo>
                    <a:lnTo>
                      <a:pt x="355" y="41"/>
                    </a:lnTo>
                    <a:lnTo>
                      <a:pt x="357" y="41"/>
                    </a:lnTo>
                    <a:lnTo>
                      <a:pt x="357" y="42"/>
                    </a:lnTo>
                    <a:lnTo>
                      <a:pt x="357" y="44"/>
                    </a:lnTo>
                    <a:lnTo>
                      <a:pt x="358" y="44"/>
                    </a:lnTo>
                    <a:lnTo>
                      <a:pt x="358" y="46"/>
                    </a:lnTo>
                    <a:lnTo>
                      <a:pt x="358" y="47"/>
                    </a:lnTo>
                    <a:lnTo>
                      <a:pt x="358" y="49"/>
                    </a:lnTo>
                    <a:lnTo>
                      <a:pt x="357" y="49"/>
                    </a:lnTo>
                    <a:lnTo>
                      <a:pt x="355" y="49"/>
                    </a:lnTo>
                    <a:lnTo>
                      <a:pt x="355" y="51"/>
                    </a:lnTo>
                    <a:lnTo>
                      <a:pt x="353" y="51"/>
                    </a:lnTo>
                    <a:lnTo>
                      <a:pt x="353" y="52"/>
                    </a:lnTo>
                    <a:lnTo>
                      <a:pt x="352" y="52"/>
                    </a:lnTo>
                    <a:lnTo>
                      <a:pt x="352" y="54"/>
                    </a:lnTo>
                    <a:lnTo>
                      <a:pt x="350" y="54"/>
                    </a:lnTo>
                    <a:close/>
                    <a:moveTo>
                      <a:pt x="1" y="29"/>
                    </a:moveTo>
                    <a:lnTo>
                      <a:pt x="1" y="30"/>
                    </a:lnTo>
                    <a:lnTo>
                      <a:pt x="1" y="32"/>
                    </a:lnTo>
                    <a:lnTo>
                      <a:pt x="0" y="32"/>
                    </a:lnTo>
                    <a:lnTo>
                      <a:pt x="0" y="30"/>
                    </a:lnTo>
                    <a:lnTo>
                      <a:pt x="0" y="29"/>
                    </a:lnTo>
                    <a:lnTo>
                      <a:pt x="1" y="29"/>
                    </a:lnTo>
                    <a:close/>
                    <a:moveTo>
                      <a:pt x="12" y="1"/>
                    </a:moveTo>
                    <a:lnTo>
                      <a:pt x="13" y="1"/>
                    </a:lnTo>
                    <a:lnTo>
                      <a:pt x="13" y="3"/>
                    </a:lnTo>
                    <a:lnTo>
                      <a:pt x="12" y="3"/>
                    </a:lnTo>
                    <a:lnTo>
                      <a:pt x="12" y="1"/>
                    </a:lnTo>
                    <a:close/>
                    <a:moveTo>
                      <a:pt x="207" y="105"/>
                    </a:moveTo>
                    <a:lnTo>
                      <a:pt x="209" y="105"/>
                    </a:lnTo>
                    <a:lnTo>
                      <a:pt x="209" y="107"/>
                    </a:lnTo>
                    <a:lnTo>
                      <a:pt x="207" y="107"/>
                    </a:lnTo>
                    <a:lnTo>
                      <a:pt x="207" y="105"/>
                    </a:lnTo>
                    <a:close/>
                    <a:moveTo>
                      <a:pt x="119" y="355"/>
                    </a:moveTo>
                    <a:lnTo>
                      <a:pt x="120" y="355"/>
                    </a:lnTo>
                    <a:lnTo>
                      <a:pt x="120" y="357"/>
                    </a:lnTo>
                    <a:lnTo>
                      <a:pt x="119" y="357"/>
                    </a:lnTo>
                    <a:lnTo>
                      <a:pt x="119" y="355"/>
                    </a:lnTo>
                    <a:close/>
                    <a:moveTo>
                      <a:pt x="154" y="328"/>
                    </a:moveTo>
                    <a:lnTo>
                      <a:pt x="154" y="330"/>
                    </a:lnTo>
                    <a:lnTo>
                      <a:pt x="154" y="328"/>
                    </a:lnTo>
                    <a:close/>
                    <a:moveTo>
                      <a:pt x="100" y="394"/>
                    </a:moveTo>
                    <a:lnTo>
                      <a:pt x="102" y="394"/>
                    </a:lnTo>
                    <a:lnTo>
                      <a:pt x="102" y="396"/>
                    </a:lnTo>
                    <a:lnTo>
                      <a:pt x="100" y="396"/>
                    </a:lnTo>
                    <a:lnTo>
                      <a:pt x="100" y="394"/>
                    </a:lnTo>
                    <a:close/>
                    <a:moveTo>
                      <a:pt x="158" y="325"/>
                    </a:moveTo>
                    <a:lnTo>
                      <a:pt x="158" y="326"/>
                    </a:lnTo>
                    <a:lnTo>
                      <a:pt x="158" y="325"/>
                    </a:lnTo>
                    <a:close/>
                    <a:moveTo>
                      <a:pt x="93" y="403"/>
                    </a:moveTo>
                    <a:lnTo>
                      <a:pt x="95" y="403"/>
                    </a:lnTo>
                    <a:lnTo>
                      <a:pt x="95" y="405"/>
                    </a:lnTo>
                    <a:lnTo>
                      <a:pt x="93" y="405"/>
                    </a:lnTo>
                    <a:lnTo>
                      <a:pt x="93" y="403"/>
                    </a:lnTo>
                    <a:close/>
                    <a:moveTo>
                      <a:pt x="199" y="124"/>
                    </a:moveTo>
                    <a:lnTo>
                      <a:pt x="200" y="124"/>
                    </a:lnTo>
                    <a:lnTo>
                      <a:pt x="199" y="124"/>
                    </a:lnTo>
                    <a:close/>
                    <a:moveTo>
                      <a:pt x="187" y="138"/>
                    </a:moveTo>
                    <a:lnTo>
                      <a:pt x="188" y="138"/>
                    </a:lnTo>
                    <a:lnTo>
                      <a:pt x="188" y="139"/>
                    </a:lnTo>
                    <a:lnTo>
                      <a:pt x="187" y="139"/>
                    </a:lnTo>
                    <a:lnTo>
                      <a:pt x="187" y="138"/>
                    </a:lnTo>
                    <a:close/>
                    <a:moveTo>
                      <a:pt x="156" y="325"/>
                    </a:moveTo>
                    <a:lnTo>
                      <a:pt x="156" y="326"/>
                    </a:lnTo>
                    <a:lnTo>
                      <a:pt x="156" y="325"/>
                    </a:lnTo>
                    <a:close/>
                    <a:moveTo>
                      <a:pt x="202" y="110"/>
                    </a:moveTo>
                    <a:lnTo>
                      <a:pt x="204" y="110"/>
                    </a:lnTo>
                    <a:lnTo>
                      <a:pt x="204" y="112"/>
                    </a:lnTo>
                    <a:lnTo>
                      <a:pt x="202" y="112"/>
                    </a:lnTo>
                    <a:lnTo>
                      <a:pt x="202" y="110"/>
                    </a:lnTo>
                    <a:close/>
                    <a:moveTo>
                      <a:pt x="144" y="311"/>
                    </a:moveTo>
                    <a:lnTo>
                      <a:pt x="146" y="311"/>
                    </a:lnTo>
                    <a:lnTo>
                      <a:pt x="144" y="311"/>
                    </a:lnTo>
                    <a:close/>
                    <a:moveTo>
                      <a:pt x="210" y="100"/>
                    </a:moveTo>
                    <a:lnTo>
                      <a:pt x="210" y="102"/>
                    </a:lnTo>
                    <a:lnTo>
                      <a:pt x="210" y="100"/>
                    </a:lnTo>
                    <a:close/>
                    <a:moveTo>
                      <a:pt x="98" y="396"/>
                    </a:moveTo>
                    <a:lnTo>
                      <a:pt x="100" y="396"/>
                    </a:lnTo>
                    <a:lnTo>
                      <a:pt x="98" y="396"/>
                    </a:lnTo>
                    <a:close/>
                    <a:moveTo>
                      <a:pt x="209" y="103"/>
                    </a:moveTo>
                    <a:lnTo>
                      <a:pt x="210" y="103"/>
                    </a:lnTo>
                    <a:lnTo>
                      <a:pt x="209" y="103"/>
                    </a:lnTo>
                    <a:close/>
                    <a:moveTo>
                      <a:pt x="108" y="372"/>
                    </a:moveTo>
                    <a:lnTo>
                      <a:pt x="110" y="372"/>
                    </a:lnTo>
                    <a:lnTo>
                      <a:pt x="108" y="372"/>
                    </a:lnTo>
                    <a:close/>
                    <a:moveTo>
                      <a:pt x="105" y="377"/>
                    </a:moveTo>
                    <a:lnTo>
                      <a:pt x="105" y="379"/>
                    </a:lnTo>
                    <a:lnTo>
                      <a:pt x="105" y="377"/>
                    </a:lnTo>
                    <a:close/>
                    <a:moveTo>
                      <a:pt x="12" y="0"/>
                    </a:moveTo>
                    <a:lnTo>
                      <a:pt x="13" y="0"/>
                    </a:lnTo>
                    <a:lnTo>
                      <a:pt x="13" y="1"/>
                    </a:lnTo>
                    <a:lnTo>
                      <a:pt x="12" y="1"/>
                    </a:lnTo>
                    <a:lnTo>
                      <a:pt x="12" y="0"/>
                    </a:lnTo>
                    <a:close/>
                    <a:moveTo>
                      <a:pt x="146" y="311"/>
                    </a:moveTo>
                    <a:lnTo>
                      <a:pt x="146" y="313"/>
                    </a:lnTo>
                    <a:lnTo>
                      <a:pt x="146" y="311"/>
                    </a:lnTo>
                    <a:close/>
                    <a:moveTo>
                      <a:pt x="255" y="71"/>
                    </a:moveTo>
                    <a:lnTo>
                      <a:pt x="255" y="73"/>
                    </a:lnTo>
                    <a:lnTo>
                      <a:pt x="255" y="71"/>
                    </a:lnTo>
                    <a:close/>
                    <a:moveTo>
                      <a:pt x="148" y="308"/>
                    </a:moveTo>
                    <a:lnTo>
                      <a:pt x="148" y="309"/>
                    </a:lnTo>
                    <a:lnTo>
                      <a:pt x="148" y="308"/>
                    </a:lnTo>
                    <a:close/>
                    <a:moveTo>
                      <a:pt x="142" y="316"/>
                    </a:moveTo>
                    <a:lnTo>
                      <a:pt x="144" y="316"/>
                    </a:lnTo>
                    <a:lnTo>
                      <a:pt x="142" y="316"/>
                    </a:lnTo>
                    <a:close/>
                    <a:moveTo>
                      <a:pt x="142" y="316"/>
                    </a:moveTo>
                    <a:lnTo>
                      <a:pt x="144" y="316"/>
                    </a:lnTo>
                    <a:lnTo>
                      <a:pt x="144" y="318"/>
                    </a:lnTo>
                    <a:lnTo>
                      <a:pt x="142" y="318"/>
                    </a:lnTo>
                    <a:lnTo>
                      <a:pt x="142" y="316"/>
                    </a:lnTo>
                    <a:close/>
                    <a:moveTo>
                      <a:pt x="122" y="369"/>
                    </a:moveTo>
                    <a:lnTo>
                      <a:pt x="122" y="371"/>
                    </a:lnTo>
                    <a:lnTo>
                      <a:pt x="122" y="369"/>
                    </a:lnTo>
                    <a:close/>
                  </a:path>
                </a:pathLst>
              </a:custGeom>
              <a:solidFill>
                <a:schemeClr val="accent1"/>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9" name="Freeform 25">
                <a:extLst>
                  <a:ext uri="{FF2B5EF4-FFF2-40B4-BE49-F238E27FC236}">
                    <a16:creationId xmlns:a16="http://schemas.microsoft.com/office/drawing/2014/main" id="{DB597224-442D-052D-EE50-E81C4E47BA4F}"/>
                  </a:ext>
                </a:extLst>
              </p:cNvPr>
              <p:cNvSpPr>
                <a:spLocks/>
              </p:cNvSpPr>
              <p:nvPr/>
            </p:nvSpPr>
            <p:spPr bwMode="auto">
              <a:xfrm>
                <a:off x="5692680" y="2822884"/>
                <a:ext cx="3819" cy="3526"/>
              </a:xfrm>
              <a:custGeom>
                <a:avLst/>
                <a:gdLst>
                  <a:gd name="T0" fmla="*/ 1 w 13"/>
                  <a:gd name="T1" fmla="*/ 0 h 12"/>
                  <a:gd name="T2" fmla="*/ 3 w 13"/>
                  <a:gd name="T3" fmla="*/ 2 h 12"/>
                  <a:gd name="T4" fmla="*/ 3 w 13"/>
                  <a:gd name="T5" fmla="*/ 4 h 12"/>
                  <a:gd name="T6" fmla="*/ 5 w 13"/>
                  <a:gd name="T7" fmla="*/ 6 h 12"/>
                  <a:gd name="T8" fmla="*/ 5 w 13"/>
                  <a:gd name="T9" fmla="*/ 7 h 12"/>
                  <a:gd name="T10" fmla="*/ 6 w 13"/>
                  <a:gd name="T11" fmla="*/ 7 h 12"/>
                  <a:gd name="T12" fmla="*/ 8 w 13"/>
                  <a:gd name="T13" fmla="*/ 7 h 12"/>
                  <a:gd name="T14" fmla="*/ 10 w 13"/>
                  <a:gd name="T15" fmla="*/ 7 h 12"/>
                  <a:gd name="T16" fmla="*/ 12 w 13"/>
                  <a:gd name="T17" fmla="*/ 9 h 12"/>
                  <a:gd name="T18" fmla="*/ 12 w 13"/>
                  <a:gd name="T19" fmla="*/ 11 h 12"/>
                  <a:gd name="T20" fmla="*/ 13 w 13"/>
                  <a:gd name="T21" fmla="*/ 11 h 12"/>
                  <a:gd name="T22" fmla="*/ 13 w 13"/>
                  <a:gd name="T23" fmla="*/ 12 h 12"/>
                  <a:gd name="T24" fmla="*/ 12 w 13"/>
                  <a:gd name="T25" fmla="*/ 12 h 12"/>
                  <a:gd name="T26" fmla="*/ 10 w 13"/>
                  <a:gd name="T27" fmla="*/ 12 h 12"/>
                  <a:gd name="T28" fmla="*/ 10 w 13"/>
                  <a:gd name="T29" fmla="*/ 11 h 12"/>
                  <a:gd name="T30" fmla="*/ 8 w 13"/>
                  <a:gd name="T31" fmla="*/ 11 h 12"/>
                  <a:gd name="T32" fmla="*/ 6 w 13"/>
                  <a:gd name="T33" fmla="*/ 11 h 12"/>
                  <a:gd name="T34" fmla="*/ 6 w 13"/>
                  <a:gd name="T35" fmla="*/ 9 h 12"/>
                  <a:gd name="T36" fmla="*/ 5 w 13"/>
                  <a:gd name="T37" fmla="*/ 9 h 12"/>
                  <a:gd name="T38" fmla="*/ 5 w 13"/>
                  <a:gd name="T39" fmla="*/ 7 h 12"/>
                  <a:gd name="T40" fmla="*/ 3 w 13"/>
                  <a:gd name="T41" fmla="*/ 7 h 12"/>
                  <a:gd name="T42" fmla="*/ 1 w 13"/>
                  <a:gd name="T43" fmla="*/ 7 h 12"/>
                  <a:gd name="T44" fmla="*/ 1 w 13"/>
                  <a:gd name="T45" fmla="*/ 6 h 12"/>
                  <a:gd name="T46" fmla="*/ 1 w 13"/>
                  <a:gd name="T47" fmla="*/ 4 h 12"/>
                  <a:gd name="T48" fmla="*/ 0 w 13"/>
                  <a:gd name="T49" fmla="*/ 4 h 12"/>
                  <a:gd name="T50" fmla="*/ 0 w 13"/>
                  <a:gd name="T51" fmla="*/ 2 h 12"/>
                  <a:gd name="T52" fmla="*/ 0 w 13"/>
                  <a:gd name="T53" fmla="*/ 0 h 12"/>
                  <a:gd name="T54" fmla="*/ 1 w 13"/>
                  <a:gd name="T5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 h="12">
                    <a:moveTo>
                      <a:pt x="1" y="0"/>
                    </a:moveTo>
                    <a:lnTo>
                      <a:pt x="3" y="2"/>
                    </a:lnTo>
                    <a:lnTo>
                      <a:pt x="3" y="4"/>
                    </a:lnTo>
                    <a:lnTo>
                      <a:pt x="5" y="6"/>
                    </a:lnTo>
                    <a:lnTo>
                      <a:pt x="5" y="7"/>
                    </a:lnTo>
                    <a:lnTo>
                      <a:pt x="6" y="7"/>
                    </a:lnTo>
                    <a:lnTo>
                      <a:pt x="8" y="7"/>
                    </a:lnTo>
                    <a:lnTo>
                      <a:pt x="10" y="7"/>
                    </a:lnTo>
                    <a:lnTo>
                      <a:pt x="12" y="9"/>
                    </a:lnTo>
                    <a:lnTo>
                      <a:pt x="12" y="11"/>
                    </a:lnTo>
                    <a:lnTo>
                      <a:pt x="13" y="11"/>
                    </a:lnTo>
                    <a:lnTo>
                      <a:pt x="13" y="12"/>
                    </a:lnTo>
                    <a:lnTo>
                      <a:pt x="12" y="12"/>
                    </a:lnTo>
                    <a:lnTo>
                      <a:pt x="10" y="12"/>
                    </a:lnTo>
                    <a:lnTo>
                      <a:pt x="10" y="11"/>
                    </a:lnTo>
                    <a:lnTo>
                      <a:pt x="8" y="11"/>
                    </a:lnTo>
                    <a:lnTo>
                      <a:pt x="6" y="11"/>
                    </a:lnTo>
                    <a:lnTo>
                      <a:pt x="6" y="9"/>
                    </a:lnTo>
                    <a:lnTo>
                      <a:pt x="5" y="9"/>
                    </a:lnTo>
                    <a:lnTo>
                      <a:pt x="5" y="7"/>
                    </a:lnTo>
                    <a:lnTo>
                      <a:pt x="3" y="7"/>
                    </a:lnTo>
                    <a:lnTo>
                      <a:pt x="1" y="7"/>
                    </a:lnTo>
                    <a:lnTo>
                      <a:pt x="1" y="6"/>
                    </a:lnTo>
                    <a:lnTo>
                      <a:pt x="1" y="4"/>
                    </a:lnTo>
                    <a:lnTo>
                      <a:pt x="0" y="4"/>
                    </a:lnTo>
                    <a:lnTo>
                      <a:pt x="0" y="2"/>
                    </a:lnTo>
                    <a:lnTo>
                      <a:pt x="0" y="0"/>
                    </a:lnTo>
                    <a:lnTo>
                      <a:pt x="1"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0" name="Freeform 28">
                <a:extLst>
                  <a:ext uri="{FF2B5EF4-FFF2-40B4-BE49-F238E27FC236}">
                    <a16:creationId xmlns:a16="http://schemas.microsoft.com/office/drawing/2014/main" id="{F5A9AA68-C170-F391-7866-4F1BE1AA6604}"/>
                  </a:ext>
                </a:extLst>
              </p:cNvPr>
              <p:cNvSpPr>
                <a:spLocks noEditPoints="1"/>
              </p:cNvSpPr>
              <p:nvPr/>
            </p:nvSpPr>
            <p:spPr bwMode="auto">
              <a:xfrm>
                <a:off x="5469451" y="2932442"/>
                <a:ext cx="163308" cy="64030"/>
              </a:xfrm>
              <a:custGeom>
                <a:avLst/>
                <a:gdLst>
                  <a:gd name="T0" fmla="*/ 549 w 556"/>
                  <a:gd name="T1" fmla="*/ 61 h 218"/>
                  <a:gd name="T2" fmla="*/ 554 w 556"/>
                  <a:gd name="T3" fmla="*/ 78 h 218"/>
                  <a:gd name="T4" fmla="*/ 540 w 556"/>
                  <a:gd name="T5" fmla="*/ 104 h 218"/>
                  <a:gd name="T6" fmla="*/ 489 w 556"/>
                  <a:gd name="T7" fmla="*/ 143 h 218"/>
                  <a:gd name="T8" fmla="*/ 454 w 556"/>
                  <a:gd name="T9" fmla="*/ 167 h 218"/>
                  <a:gd name="T10" fmla="*/ 447 w 556"/>
                  <a:gd name="T11" fmla="*/ 177 h 218"/>
                  <a:gd name="T12" fmla="*/ 440 w 556"/>
                  <a:gd name="T13" fmla="*/ 197 h 218"/>
                  <a:gd name="T14" fmla="*/ 428 w 556"/>
                  <a:gd name="T15" fmla="*/ 216 h 218"/>
                  <a:gd name="T16" fmla="*/ 409 w 556"/>
                  <a:gd name="T17" fmla="*/ 202 h 218"/>
                  <a:gd name="T18" fmla="*/ 387 w 556"/>
                  <a:gd name="T19" fmla="*/ 196 h 218"/>
                  <a:gd name="T20" fmla="*/ 382 w 556"/>
                  <a:gd name="T21" fmla="*/ 192 h 218"/>
                  <a:gd name="T22" fmla="*/ 389 w 556"/>
                  <a:gd name="T23" fmla="*/ 179 h 218"/>
                  <a:gd name="T24" fmla="*/ 392 w 556"/>
                  <a:gd name="T25" fmla="*/ 160 h 218"/>
                  <a:gd name="T26" fmla="*/ 401 w 556"/>
                  <a:gd name="T27" fmla="*/ 138 h 218"/>
                  <a:gd name="T28" fmla="*/ 399 w 556"/>
                  <a:gd name="T29" fmla="*/ 126 h 218"/>
                  <a:gd name="T30" fmla="*/ 398 w 556"/>
                  <a:gd name="T31" fmla="*/ 128 h 218"/>
                  <a:gd name="T32" fmla="*/ 389 w 556"/>
                  <a:gd name="T33" fmla="*/ 136 h 218"/>
                  <a:gd name="T34" fmla="*/ 370 w 556"/>
                  <a:gd name="T35" fmla="*/ 129 h 218"/>
                  <a:gd name="T36" fmla="*/ 369 w 556"/>
                  <a:gd name="T37" fmla="*/ 119 h 218"/>
                  <a:gd name="T38" fmla="*/ 369 w 556"/>
                  <a:gd name="T39" fmla="*/ 94 h 218"/>
                  <a:gd name="T40" fmla="*/ 374 w 556"/>
                  <a:gd name="T41" fmla="*/ 80 h 218"/>
                  <a:gd name="T42" fmla="*/ 379 w 556"/>
                  <a:gd name="T43" fmla="*/ 66 h 218"/>
                  <a:gd name="T44" fmla="*/ 391 w 556"/>
                  <a:gd name="T45" fmla="*/ 49 h 218"/>
                  <a:gd name="T46" fmla="*/ 394 w 556"/>
                  <a:gd name="T47" fmla="*/ 36 h 218"/>
                  <a:gd name="T48" fmla="*/ 398 w 556"/>
                  <a:gd name="T49" fmla="*/ 20 h 218"/>
                  <a:gd name="T50" fmla="*/ 425 w 556"/>
                  <a:gd name="T51" fmla="*/ 10 h 218"/>
                  <a:gd name="T52" fmla="*/ 435 w 556"/>
                  <a:gd name="T53" fmla="*/ 5 h 218"/>
                  <a:gd name="T54" fmla="*/ 447 w 556"/>
                  <a:gd name="T55" fmla="*/ 8 h 218"/>
                  <a:gd name="T56" fmla="*/ 464 w 556"/>
                  <a:gd name="T57" fmla="*/ 20 h 218"/>
                  <a:gd name="T58" fmla="*/ 477 w 556"/>
                  <a:gd name="T59" fmla="*/ 29 h 218"/>
                  <a:gd name="T60" fmla="*/ 493 w 556"/>
                  <a:gd name="T61" fmla="*/ 37 h 218"/>
                  <a:gd name="T62" fmla="*/ 513 w 556"/>
                  <a:gd name="T63" fmla="*/ 41 h 218"/>
                  <a:gd name="T64" fmla="*/ 532 w 556"/>
                  <a:gd name="T65" fmla="*/ 43 h 218"/>
                  <a:gd name="T66" fmla="*/ 554 w 556"/>
                  <a:gd name="T67" fmla="*/ 53 h 218"/>
                  <a:gd name="T68" fmla="*/ 24 w 556"/>
                  <a:gd name="T69" fmla="*/ 65 h 218"/>
                  <a:gd name="T70" fmla="*/ 25 w 556"/>
                  <a:gd name="T71" fmla="*/ 82 h 218"/>
                  <a:gd name="T72" fmla="*/ 5 w 556"/>
                  <a:gd name="T73" fmla="*/ 78 h 218"/>
                  <a:gd name="T74" fmla="*/ 15 w 556"/>
                  <a:gd name="T75" fmla="*/ 63 h 218"/>
                  <a:gd name="T76" fmla="*/ 5 w 556"/>
                  <a:gd name="T77" fmla="*/ 48 h 218"/>
                  <a:gd name="T78" fmla="*/ 44 w 556"/>
                  <a:gd name="T79" fmla="*/ 75 h 218"/>
                  <a:gd name="T80" fmla="*/ 46 w 556"/>
                  <a:gd name="T81" fmla="*/ 65 h 218"/>
                  <a:gd name="T82" fmla="*/ 389 w 556"/>
                  <a:gd name="T83" fmla="*/ 148 h 218"/>
                  <a:gd name="T84" fmla="*/ 8 w 556"/>
                  <a:gd name="T85" fmla="*/ 58 h 218"/>
                  <a:gd name="T86" fmla="*/ 7 w 556"/>
                  <a:gd name="T87" fmla="*/ 58 h 218"/>
                  <a:gd name="T88" fmla="*/ 30 w 556"/>
                  <a:gd name="T89" fmla="*/ 54 h 218"/>
                  <a:gd name="T90" fmla="*/ 71 w 556"/>
                  <a:gd name="T91" fmla="*/ 78 h 218"/>
                  <a:gd name="T92" fmla="*/ 41 w 556"/>
                  <a:gd name="T93" fmla="*/ 90 h 218"/>
                  <a:gd name="T94" fmla="*/ 399 w 556"/>
                  <a:gd name="T95" fmla="*/ 136 h 218"/>
                  <a:gd name="T96" fmla="*/ 391 w 556"/>
                  <a:gd name="T97" fmla="*/ 136 h 218"/>
                  <a:gd name="T98" fmla="*/ 403 w 556"/>
                  <a:gd name="T99" fmla="*/ 138 h 218"/>
                  <a:gd name="T100" fmla="*/ 428 w 556"/>
                  <a:gd name="T101" fmla="*/ 5 h 218"/>
                  <a:gd name="T102" fmla="*/ 66 w 556"/>
                  <a:gd name="T103" fmla="*/ 95 h 218"/>
                  <a:gd name="T104" fmla="*/ 391 w 556"/>
                  <a:gd name="T105" fmla="*/ 145 h 218"/>
                  <a:gd name="T106" fmla="*/ 394 w 556"/>
                  <a:gd name="T107" fmla="*/ 124 h 218"/>
                  <a:gd name="T108" fmla="*/ 394 w 556"/>
                  <a:gd name="T109" fmla="*/ 138 h 218"/>
                  <a:gd name="T110" fmla="*/ 392 w 556"/>
                  <a:gd name="T111" fmla="*/ 129 h 218"/>
                  <a:gd name="T112" fmla="*/ 387 w 556"/>
                  <a:gd name="T113" fmla="*/ 162 h 218"/>
                  <a:gd name="T114" fmla="*/ 392 w 556"/>
                  <a:gd name="T115" fmla="*/ 36 h 218"/>
                  <a:gd name="T116" fmla="*/ 394 w 556"/>
                  <a:gd name="T117" fmla="*/ 129 h 218"/>
                  <a:gd name="T118" fmla="*/ 396 w 556"/>
                  <a:gd name="T119" fmla="*/ 131 h 218"/>
                  <a:gd name="T120" fmla="*/ 399 w 556"/>
                  <a:gd name="T121" fmla="*/ 134 h 218"/>
                  <a:gd name="T122" fmla="*/ 387 w 556"/>
                  <a:gd name="T123" fmla="*/ 139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56" h="218">
                    <a:moveTo>
                      <a:pt x="554" y="53"/>
                    </a:moveTo>
                    <a:lnTo>
                      <a:pt x="552" y="54"/>
                    </a:lnTo>
                    <a:lnTo>
                      <a:pt x="551" y="54"/>
                    </a:lnTo>
                    <a:lnTo>
                      <a:pt x="549" y="54"/>
                    </a:lnTo>
                    <a:lnTo>
                      <a:pt x="547" y="54"/>
                    </a:lnTo>
                    <a:lnTo>
                      <a:pt x="547" y="53"/>
                    </a:lnTo>
                    <a:lnTo>
                      <a:pt x="545" y="53"/>
                    </a:lnTo>
                    <a:lnTo>
                      <a:pt x="544" y="53"/>
                    </a:lnTo>
                    <a:lnTo>
                      <a:pt x="542" y="53"/>
                    </a:lnTo>
                    <a:lnTo>
                      <a:pt x="542" y="54"/>
                    </a:lnTo>
                    <a:lnTo>
                      <a:pt x="544" y="54"/>
                    </a:lnTo>
                    <a:lnTo>
                      <a:pt x="544" y="56"/>
                    </a:lnTo>
                    <a:lnTo>
                      <a:pt x="545" y="56"/>
                    </a:lnTo>
                    <a:lnTo>
                      <a:pt x="547" y="58"/>
                    </a:lnTo>
                    <a:lnTo>
                      <a:pt x="545" y="58"/>
                    </a:lnTo>
                    <a:lnTo>
                      <a:pt x="547" y="58"/>
                    </a:lnTo>
                    <a:lnTo>
                      <a:pt x="547" y="60"/>
                    </a:lnTo>
                    <a:lnTo>
                      <a:pt x="547" y="61"/>
                    </a:lnTo>
                    <a:lnTo>
                      <a:pt x="549" y="61"/>
                    </a:lnTo>
                    <a:lnTo>
                      <a:pt x="549" y="63"/>
                    </a:lnTo>
                    <a:lnTo>
                      <a:pt x="551" y="65"/>
                    </a:lnTo>
                    <a:lnTo>
                      <a:pt x="552" y="65"/>
                    </a:lnTo>
                    <a:lnTo>
                      <a:pt x="552" y="66"/>
                    </a:lnTo>
                    <a:lnTo>
                      <a:pt x="554" y="66"/>
                    </a:lnTo>
                    <a:lnTo>
                      <a:pt x="554" y="68"/>
                    </a:lnTo>
                    <a:lnTo>
                      <a:pt x="556" y="68"/>
                    </a:lnTo>
                    <a:lnTo>
                      <a:pt x="554" y="68"/>
                    </a:lnTo>
                    <a:lnTo>
                      <a:pt x="554" y="70"/>
                    </a:lnTo>
                    <a:lnTo>
                      <a:pt x="556" y="70"/>
                    </a:lnTo>
                    <a:lnTo>
                      <a:pt x="554" y="71"/>
                    </a:lnTo>
                    <a:lnTo>
                      <a:pt x="554" y="70"/>
                    </a:lnTo>
                    <a:lnTo>
                      <a:pt x="554" y="71"/>
                    </a:lnTo>
                    <a:lnTo>
                      <a:pt x="554" y="70"/>
                    </a:lnTo>
                    <a:lnTo>
                      <a:pt x="554" y="71"/>
                    </a:lnTo>
                    <a:lnTo>
                      <a:pt x="554" y="73"/>
                    </a:lnTo>
                    <a:lnTo>
                      <a:pt x="554" y="75"/>
                    </a:lnTo>
                    <a:lnTo>
                      <a:pt x="554" y="77"/>
                    </a:lnTo>
                    <a:lnTo>
                      <a:pt x="554" y="78"/>
                    </a:lnTo>
                    <a:lnTo>
                      <a:pt x="556" y="78"/>
                    </a:lnTo>
                    <a:lnTo>
                      <a:pt x="556" y="80"/>
                    </a:lnTo>
                    <a:lnTo>
                      <a:pt x="554" y="80"/>
                    </a:lnTo>
                    <a:lnTo>
                      <a:pt x="556" y="82"/>
                    </a:lnTo>
                    <a:lnTo>
                      <a:pt x="554" y="82"/>
                    </a:lnTo>
                    <a:lnTo>
                      <a:pt x="552" y="82"/>
                    </a:lnTo>
                    <a:lnTo>
                      <a:pt x="551" y="82"/>
                    </a:lnTo>
                    <a:lnTo>
                      <a:pt x="551" y="80"/>
                    </a:lnTo>
                    <a:lnTo>
                      <a:pt x="549" y="80"/>
                    </a:lnTo>
                    <a:lnTo>
                      <a:pt x="549" y="82"/>
                    </a:lnTo>
                    <a:lnTo>
                      <a:pt x="547" y="88"/>
                    </a:lnTo>
                    <a:lnTo>
                      <a:pt x="547" y="90"/>
                    </a:lnTo>
                    <a:lnTo>
                      <a:pt x="545" y="97"/>
                    </a:lnTo>
                    <a:lnTo>
                      <a:pt x="544" y="99"/>
                    </a:lnTo>
                    <a:lnTo>
                      <a:pt x="544" y="100"/>
                    </a:lnTo>
                    <a:lnTo>
                      <a:pt x="544" y="102"/>
                    </a:lnTo>
                    <a:lnTo>
                      <a:pt x="542" y="100"/>
                    </a:lnTo>
                    <a:lnTo>
                      <a:pt x="542" y="102"/>
                    </a:lnTo>
                    <a:lnTo>
                      <a:pt x="540" y="104"/>
                    </a:lnTo>
                    <a:lnTo>
                      <a:pt x="539" y="107"/>
                    </a:lnTo>
                    <a:lnTo>
                      <a:pt x="535" y="109"/>
                    </a:lnTo>
                    <a:lnTo>
                      <a:pt x="535" y="111"/>
                    </a:lnTo>
                    <a:lnTo>
                      <a:pt x="532" y="114"/>
                    </a:lnTo>
                    <a:lnTo>
                      <a:pt x="528" y="119"/>
                    </a:lnTo>
                    <a:lnTo>
                      <a:pt x="527" y="121"/>
                    </a:lnTo>
                    <a:lnTo>
                      <a:pt x="527" y="122"/>
                    </a:lnTo>
                    <a:lnTo>
                      <a:pt x="523" y="124"/>
                    </a:lnTo>
                    <a:lnTo>
                      <a:pt x="518" y="128"/>
                    </a:lnTo>
                    <a:lnTo>
                      <a:pt x="515" y="129"/>
                    </a:lnTo>
                    <a:lnTo>
                      <a:pt x="513" y="131"/>
                    </a:lnTo>
                    <a:lnTo>
                      <a:pt x="511" y="134"/>
                    </a:lnTo>
                    <a:lnTo>
                      <a:pt x="510" y="134"/>
                    </a:lnTo>
                    <a:lnTo>
                      <a:pt x="508" y="136"/>
                    </a:lnTo>
                    <a:lnTo>
                      <a:pt x="506" y="136"/>
                    </a:lnTo>
                    <a:lnTo>
                      <a:pt x="505" y="138"/>
                    </a:lnTo>
                    <a:lnTo>
                      <a:pt x="503" y="138"/>
                    </a:lnTo>
                    <a:lnTo>
                      <a:pt x="501" y="138"/>
                    </a:lnTo>
                    <a:lnTo>
                      <a:pt x="489" y="143"/>
                    </a:lnTo>
                    <a:lnTo>
                      <a:pt x="476" y="148"/>
                    </a:lnTo>
                    <a:lnTo>
                      <a:pt x="471" y="148"/>
                    </a:lnTo>
                    <a:lnTo>
                      <a:pt x="467" y="150"/>
                    </a:lnTo>
                    <a:lnTo>
                      <a:pt x="464" y="153"/>
                    </a:lnTo>
                    <a:lnTo>
                      <a:pt x="462" y="153"/>
                    </a:lnTo>
                    <a:lnTo>
                      <a:pt x="462" y="155"/>
                    </a:lnTo>
                    <a:lnTo>
                      <a:pt x="460" y="155"/>
                    </a:lnTo>
                    <a:lnTo>
                      <a:pt x="460" y="156"/>
                    </a:lnTo>
                    <a:lnTo>
                      <a:pt x="459" y="156"/>
                    </a:lnTo>
                    <a:lnTo>
                      <a:pt x="459" y="158"/>
                    </a:lnTo>
                    <a:lnTo>
                      <a:pt x="457" y="160"/>
                    </a:lnTo>
                    <a:lnTo>
                      <a:pt x="457" y="162"/>
                    </a:lnTo>
                    <a:lnTo>
                      <a:pt x="455" y="162"/>
                    </a:lnTo>
                    <a:lnTo>
                      <a:pt x="455" y="163"/>
                    </a:lnTo>
                    <a:lnTo>
                      <a:pt x="455" y="165"/>
                    </a:lnTo>
                    <a:lnTo>
                      <a:pt x="457" y="165"/>
                    </a:lnTo>
                    <a:lnTo>
                      <a:pt x="457" y="167"/>
                    </a:lnTo>
                    <a:lnTo>
                      <a:pt x="455" y="167"/>
                    </a:lnTo>
                    <a:lnTo>
                      <a:pt x="454" y="167"/>
                    </a:lnTo>
                    <a:lnTo>
                      <a:pt x="454" y="165"/>
                    </a:lnTo>
                    <a:lnTo>
                      <a:pt x="454" y="163"/>
                    </a:lnTo>
                    <a:lnTo>
                      <a:pt x="452" y="163"/>
                    </a:lnTo>
                    <a:lnTo>
                      <a:pt x="450" y="163"/>
                    </a:lnTo>
                    <a:lnTo>
                      <a:pt x="449" y="163"/>
                    </a:lnTo>
                    <a:lnTo>
                      <a:pt x="450" y="163"/>
                    </a:lnTo>
                    <a:lnTo>
                      <a:pt x="449" y="163"/>
                    </a:lnTo>
                    <a:lnTo>
                      <a:pt x="450" y="165"/>
                    </a:lnTo>
                    <a:lnTo>
                      <a:pt x="449" y="165"/>
                    </a:lnTo>
                    <a:lnTo>
                      <a:pt x="449" y="167"/>
                    </a:lnTo>
                    <a:lnTo>
                      <a:pt x="449" y="168"/>
                    </a:lnTo>
                    <a:lnTo>
                      <a:pt x="449" y="170"/>
                    </a:lnTo>
                    <a:lnTo>
                      <a:pt x="449" y="172"/>
                    </a:lnTo>
                    <a:lnTo>
                      <a:pt x="447" y="172"/>
                    </a:lnTo>
                    <a:lnTo>
                      <a:pt x="449" y="172"/>
                    </a:lnTo>
                    <a:lnTo>
                      <a:pt x="449" y="173"/>
                    </a:lnTo>
                    <a:lnTo>
                      <a:pt x="447" y="173"/>
                    </a:lnTo>
                    <a:lnTo>
                      <a:pt x="447" y="175"/>
                    </a:lnTo>
                    <a:lnTo>
                      <a:pt x="447" y="177"/>
                    </a:lnTo>
                    <a:lnTo>
                      <a:pt x="447" y="179"/>
                    </a:lnTo>
                    <a:lnTo>
                      <a:pt x="445" y="179"/>
                    </a:lnTo>
                    <a:lnTo>
                      <a:pt x="445" y="180"/>
                    </a:lnTo>
                    <a:lnTo>
                      <a:pt x="445" y="182"/>
                    </a:lnTo>
                    <a:lnTo>
                      <a:pt x="443" y="182"/>
                    </a:lnTo>
                    <a:lnTo>
                      <a:pt x="443" y="184"/>
                    </a:lnTo>
                    <a:lnTo>
                      <a:pt x="442" y="184"/>
                    </a:lnTo>
                    <a:lnTo>
                      <a:pt x="442" y="185"/>
                    </a:lnTo>
                    <a:lnTo>
                      <a:pt x="443" y="185"/>
                    </a:lnTo>
                    <a:lnTo>
                      <a:pt x="443" y="187"/>
                    </a:lnTo>
                    <a:lnTo>
                      <a:pt x="442" y="187"/>
                    </a:lnTo>
                    <a:lnTo>
                      <a:pt x="442" y="189"/>
                    </a:lnTo>
                    <a:lnTo>
                      <a:pt x="442" y="190"/>
                    </a:lnTo>
                    <a:lnTo>
                      <a:pt x="440" y="190"/>
                    </a:lnTo>
                    <a:lnTo>
                      <a:pt x="440" y="192"/>
                    </a:lnTo>
                    <a:lnTo>
                      <a:pt x="442" y="192"/>
                    </a:lnTo>
                    <a:lnTo>
                      <a:pt x="440" y="194"/>
                    </a:lnTo>
                    <a:lnTo>
                      <a:pt x="440" y="196"/>
                    </a:lnTo>
                    <a:lnTo>
                      <a:pt x="440" y="197"/>
                    </a:lnTo>
                    <a:lnTo>
                      <a:pt x="442" y="199"/>
                    </a:lnTo>
                    <a:lnTo>
                      <a:pt x="440" y="199"/>
                    </a:lnTo>
                    <a:lnTo>
                      <a:pt x="440" y="201"/>
                    </a:lnTo>
                    <a:lnTo>
                      <a:pt x="438" y="202"/>
                    </a:lnTo>
                    <a:lnTo>
                      <a:pt x="438" y="204"/>
                    </a:lnTo>
                    <a:lnTo>
                      <a:pt x="437" y="206"/>
                    </a:lnTo>
                    <a:lnTo>
                      <a:pt x="435" y="206"/>
                    </a:lnTo>
                    <a:lnTo>
                      <a:pt x="433" y="206"/>
                    </a:lnTo>
                    <a:lnTo>
                      <a:pt x="432" y="208"/>
                    </a:lnTo>
                    <a:lnTo>
                      <a:pt x="432" y="209"/>
                    </a:lnTo>
                    <a:lnTo>
                      <a:pt x="432" y="211"/>
                    </a:lnTo>
                    <a:lnTo>
                      <a:pt x="430" y="211"/>
                    </a:lnTo>
                    <a:lnTo>
                      <a:pt x="432" y="211"/>
                    </a:lnTo>
                    <a:lnTo>
                      <a:pt x="432" y="213"/>
                    </a:lnTo>
                    <a:lnTo>
                      <a:pt x="430" y="213"/>
                    </a:lnTo>
                    <a:lnTo>
                      <a:pt x="432" y="214"/>
                    </a:lnTo>
                    <a:lnTo>
                      <a:pt x="430" y="214"/>
                    </a:lnTo>
                    <a:lnTo>
                      <a:pt x="428" y="214"/>
                    </a:lnTo>
                    <a:lnTo>
                      <a:pt x="428" y="216"/>
                    </a:lnTo>
                    <a:lnTo>
                      <a:pt x="428" y="218"/>
                    </a:lnTo>
                    <a:lnTo>
                      <a:pt x="426" y="218"/>
                    </a:lnTo>
                    <a:lnTo>
                      <a:pt x="425" y="218"/>
                    </a:lnTo>
                    <a:lnTo>
                      <a:pt x="423" y="218"/>
                    </a:lnTo>
                    <a:lnTo>
                      <a:pt x="423" y="216"/>
                    </a:lnTo>
                    <a:lnTo>
                      <a:pt x="421" y="216"/>
                    </a:lnTo>
                    <a:lnTo>
                      <a:pt x="420" y="216"/>
                    </a:lnTo>
                    <a:lnTo>
                      <a:pt x="418" y="216"/>
                    </a:lnTo>
                    <a:lnTo>
                      <a:pt x="418" y="214"/>
                    </a:lnTo>
                    <a:lnTo>
                      <a:pt x="416" y="214"/>
                    </a:lnTo>
                    <a:lnTo>
                      <a:pt x="415" y="213"/>
                    </a:lnTo>
                    <a:lnTo>
                      <a:pt x="413" y="211"/>
                    </a:lnTo>
                    <a:lnTo>
                      <a:pt x="413" y="209"/>
                    </a:lnTo>
                    <a:lnTo>
                      <a:pt x="413" y="208"/>
                    </a:lnTo>
                    <a:lnTo>
                      <a:pt x="411" y="206"/>
                    </a:lnTo>
                    <a:lnTo>
                      <a:pt x="411" y="204"/>
                    </a:lnTo>
                    <a:lnTo>
                      <a:pt x="411" y="202"/>
                    </a:lnTo>
                    <a:lnTo>
                      <a:pt x="409" y="201"/>
                    </a:lnTo>
                    <a:lnTo>
                      <a:pt x="409" y="202"/>
                    </a:lnTo>
                    <a:lnTo>
                      <a:pt x="409" y="201"/>
                    </a:lnTo>
                    <a:lnTo>
                      <a:pt x="408" y="201"/>
                    </a:lnTo>
                    <a:lnTo>
                      <a:pt x="408" y="199"/>
                    </a:lnTo>
                    <a:lnTo>
                      <a:pt x="406" y="199"/>
                    </a:lnTo>
                    <a:lnTo>
                      <a:pt x="404" y="199"/>
                    </a:lnTo>
                    <a:lnTo>
                      <a:pt x="404" y="201"/>
                    </a:lnTo>
                    <a:lnTo>
                      <a:pt x="403" y="201"/>
                    </a:lnTo>
                    <a:lnTo>
                      <a:pt x="401" y="201"/>
                    </a:lnTo>
                    <a:lnTo>
                      <a:pt x="399" y="201"/>
                    </a:lnTo>
                    <a:lnTo>
                      <a:pt x="399" y="199"/>
                    </a:lnTo>
                    <a:lnTo>
                      <a:pt x="398" y="197"/>
                    </a:lnTo>
                    <a:lnTo>
                      <a:pt x="396" y="197"/>
                    </a:lnTo>
                    <a:lnTo>
                      <a:pt x="394" y="197"/>
                    </a:lnTo>
                    <a:lnTo>
                      <a:pt x="392" y="196"/>
                    </a:lnTo>
                    <a:lnTo>
                      <a:pt x="392" y="194"/>
                    </a:lnTo>
                    <a:lnTo>
                      <a:pt x="391" y="194"/>
                    </a:lnTo>
                    <a:lnTo>
                      <a:pt x="389" y="194"/>
                    </a:lnTo>
                    <a:lnTo>
                      <a:pt x="387" y="194"/>
                    </a:lnTo>
                    <a:lnTo>
                      <a:pt x="387" y="196"/>
                    </a:lnTo>
                    <a:lnTo>
                      <a:pt x="386" y="196"/>
                    </a:lnTo>
                    <a:lnTo>
                      <a:pt x="386" y="197"/>
                    </a:lnTo>
                    <a:lnTo>
                      <a:pt x="384" y="197"/>
                    </a:lnTo>
                    <a:lnTo>
                      <a:pt x="384" y="199"/>
                    </a:lnTo>
                    <a:lnTo>
                      <a:pt x="382" y="199"/>
                    </a:lnTo>
                    <a:lnTo>
                      <a:pt x="382" y="201"/>
                    </a:lnTo>
                    <a:lnTo>
                      <a:pt x="381" y="201"/>
                    </a:lnTo>
                    <a:lnTo>
                      <a:pt x="379" y="199"/>
                    </a:lnTo>
                    <a:lnTo>
                      <a:pt x="379" y="201"/>
                    </a:lnTo>
                    <a:lnTo>
                      <a:pt x="379" y="199"/>
                    </a:lnTo>
                    <a:lnTo>
                      <a:pt x="379" y="197"/>
                    </a:lnTo>
                    <a:lnTo>
                      <a:pt x="379" y="196"/>
                    </a:lnTo>
                    <a:lnTo>
                      <a:pt x="381" y="196"/>
                    </a:lnTo>
                    <a:lnTo>
                      <a:pt x="381" y="194"/>
                    </a:lnTo>
                    <a:lnTo>
                      <a:pt x="382" y="192"/>
                    </a:lnTo>
                    <a:lnTo>
                      <a:pt x="382" y="190"/>
                    </a:lnTo>
                    <a:lnTo>
                      <a:pt x="384" y="190"/>
                    </a:lnTo>
                    <a:lnTo>
                      <a:pt x="382" y="190"/>
                    </a:lnTo>
                    <a:lnTo>
                      <a:pt x="382" y="192"/>
                    </a:lnTo>
                    <a:lnTo>
                      <a:pt x="381" y="190"/>
                    </a:lnTo>
                    <a:lnTo>
                      <a:pt x="381" y="192"/>
                    </a:lnTo>
                    <a:lnTo>
                      <a:pt x="379" y="190"/>
                    </a:lnTo>
                    <a:lnTo>
                      <a:pt x="379" y="189"/>
                    </a:lnTo>
                    <a:lnTo>
                      <a:pt x="377" y="189"/>
                    </a:lnTo>
                    <a:lnTo>
                      <a:pt x="379" y="187"/>
                    </a:lnTo>
                    <a:lnTo>
                      <a:pt x="377" y="187"/>
                    </a:lnTo>
                    <a:lnTo>
                      <a:pt x="377" y="185"/>
                    </a:lnTo>
                    <a:lnTo>
                      <a:pt x="379" y="185"/>
                    </a:lnTo>
                    <a:lnTo>
                      <a:pt x="379" y="184"/>
                    </a:lnTo>
                    <a:lnTo>
                      <a:pt x="381" y="184"/>
                    </a:lnTo>
                    <a:lnTo>
                      <a:pt x="382" y="184"/>
                    </a:lnTo>
                    <a:lnTo>
                      <a:pt x="384" y="185"/>
                    </a:lnTo>
                    <a:lnTo>
                      <a:pt x="384" y="184"/>
                    </a:lnTo>
                    <a:lnTo>
                      <a:pt x="386" y="184"/>
                    </a:lnTo>
                    <a:lnTo>
                      <a:pt x="386" y="182"/>
                    </a:lnTo>
                    <a:lnTo>
                      <a:pt x="387" y="182"/>
                    </a:lnTo>
                    <a:lnTo>
                      <a:pt x="389" y="180"/>
                    </a:lnTo>
                    <a:lnTo>
                      <a:pt x="389" y="179"/>
                    </a:lnTo>
                    <a:lnTo>
                      <a:pt x="389" y="177"/>
                    </a:lnTo>
                    <a:lnTo>
                      <a:pt x="387" y="177"/>
                    </a:lnTo>
                    <a:lnTo>
                      <a:pt x="387" y="175"/>
                    </a:lnTo>
                    <a:lnTo>
                      <a:pt x="387" y="173"/>
                    </a:lnTo>
                    <a:lnTo>
                      <a:pt x="387" y="172"/>
                    </a:lnTo>
                    <a:lnTo>
                      <a:pt x="387" y="170"/>
                    </a:lnTo>
                    <a:lnTo>
                      <a:pt x="386" y="170"/>
                    </a:lnTo>
                    <a:lnTo>
                      <a:pt x="387" y="168"/>
                    </a:lnTo>
                    <a:lnTo>
                      <a:pt x="386" y="168"/>
                    </a:lnTo>
                    <a:lnTo>
                      <a:pt x="386" y="167"/>
                    </a:lnTo>
                    <a:lnTo>
                      <a:pt x="386" y="165"/>
                    </a:lnTo>
                    <a:lnTo>
                      <a:pt x="387" y="165"/>
                    </a:lnTo>
                    <a:lnTo>
                      <a:pt x="389" y="165"/>
                    </a:lnTo>
                    <a:lnTo>
                      <a:pt x="391" y="165"/>
                    </a:lnTo>
                    <a:lnTo>
                      <a:pt x="392" y="163"/>
                    </a:lnTo>
                    <a:lnTo>
                      <a:pt x="392" y="162"/>
                    </a:lnTo>
                    <a:lnTo>
                      <a:pt x="392" y="163"/>
                    </a:lnTo>
                    <a:lnTo>
                      <a:pt x="392" y="162"/>
                    </a:lnTo>
                    <a:lnTo>
                      <a:pt x="392" y="160"/>
                    </a:lnTo>
                    <a:lnTo>
                      <a:pt x="394" y="160"/>
                    </a:lnTo>
                    <a:lnTo>
                      <a:pt x="394" y="158"/>
                    </a:lnTo>
                    <a:lnTo>
                      <a:pt x="394" y="156"/>
                    </a:lnTo>
                    <a:lnTo>
                      <a:pt x="396" y="156"/>
                    </a:lnTo>
                    <a:lnTo>
                      <a:pt x="398" y="155"/>
                    </a:lnTo>
                    <a:lnTo>
                      <a:pt x="398" y="153"/>
                    </a:lnTo>
                    <a:lnTo>
                      <a:pt x="398" y="151"/>
                    </a:lnTo>
                    <a:lnTo>
                      <a:pt x="398" y="153"/>
                    </a:lnTo>
                    <a:lnTo>
                      <a:pt x="398" y="151"/>
                    </a:lnTo>
                    <a:lnTo>
                      <a:pt x="399" y="151"/>
                    </a:lnTo>
                    <a:lnTo>
                      <a:pt x="399" y="150"/>
                    </a:lnTo>
                    <a:lnTo>
                      <a:pt x="399" y="148"/>
                    </a:lnTo>
                    <a:lnTo>
                      <a:pt x="399" y="146"/>
                    </a:lnTo>
                    <a:lnTo>
                      <a:pt x="399" y="145"/>
                    </a:lnTo>
                    <a:lnTo>
                      <a:pt x="399" y="143"/>
                    </a:lnTo>
                    <a:lnTo>
                      <a:pt x="401" y="143"/>
                    </a:lnTo>
                    <a:lnTo>
                      <a:pt x="401" y="141"/>
                    </a:lnTo>
                    <a:lnTo>
                      <a:pt x="401" y="139"/>
                    </a:lnTo>
                    <a:lnTo>
                      <a:pt x="401" y="138"/>
                    </a:lnTo>
                    <a:lnTo>
                      <a:pt x="403" y="138"/>
                    </a:lnTo>
                    <a:lnTo>
                      <a:pt x="403" y="136"/>
                    </a:lnTo>
                    <a:lnTo>
                      <a:pt x="403" y="134"/>
                    </a:lnTo>
                    <a:lnTo>
                      <a:pt x="403" y="133"/>
                    </a:lnTo>
                    <a:lnTo>
                      <a:pt x="403" y="134"/>
                    </a:lnTo>
                    <a:lnTo>
                      <a:pt x="403" y="133"/>
                    </a:lnTo>
                    <a:lnTo>
                      <a:pt x="401" y="134"/>
                    </a:lnTo>
                    <a:lnTo>
                      <a:pt x="401" y="133"/>
                    </a:lnTo>
                    <a:lnTo>
                      <a:pt x="401" y="131"/>
                    </a:lnTo>
                    <a:lnTo>
                      <a:pt x="399" y="131"/>
                    </a:lnTo>
                    <a:lnTo>
                      <a:pt x="399" y="129"/>
                    </a:lnTo>
                    <a:lnTo>
                      <a:pt x="399" y="128"/>
                    </a:lnTo>
                    <a:lnTo>
                      <a:pt x="399" y="126"/>
                    </a:lnTo>
                    <a:lnTo>
                      <a:pt x="399" y="124"/>
                    </a:lnTo>
                    <a:lnTo>
                      <a:pt x="399" y="122"/>
                    </a:lnTo>
                    <a:lnTo>
                      <a:pt x="398" y="122"/>
                    </a:lnTo>
                    <a:lnTo>
                      <a:pt x="398" y="124"/>
                    </a:lnTo>
                    <a:lnTo>
                      <a:pt x="398" y="126"/>
                    </a:lnTo>
                    <a:lnTo>
                      <a:pt x="399" y="126"/>
                    </a:lnTo>
                    <a:lnTo>
                      <a:pt x="399" y="128"/>
                    </a:lnTo>
                    <a:lnTo>
                      <a:pt x="399" y="129"/>
                    </a:lnTo>
                    <a:lnTo>
                      <a:pt x="399" y="131"/>
                    </a:lnTo>
                    <a:lnTo>
                      <a:pt x="398" y="131"/>
                    </a:lnTo>
                    <a:lnTo>
                      <a:pt x="398" y="133"/>
                    </a:lnTo>
                    <a:lnTo>
                      <a:pt x="398" y="134"/>
                    </a:lnTo>
                    <a:lnTo>
                      <a:pt x="398" y="136"/>
                    </a:lnTo>
                    <a:lnTo>
                      <a:pt x="396" y="136"/>
                    </a:lnTo>
                    <a:lnTo>
                      <a:pt x="396" y="134"/>
                    </a:lnTo>
                    <a:lnTo>
                      <a:pt x="394" y="134"/>
                    </a:lnTo>
                    <a:lnTo>
                      <a:pt x="396" y="134"/>
                    </a:lnTo>
                    <a:lnTo>
                      <a:pt x="396" y="133"/>
                    </a:lnTo>
                    <a:lnTo>
                      <a:pt x="398" y="133"/>
                    </a:lnTo>
                    <a:lnTo>
                      <a:pt x="398" y="131"/>
                    </a:lnTo>
                    <a:lnTo>
                      <a:pt x="398" y="129"/>
                    </a:lnTo>
                    <a:lnTo>
                      <a:pt x="396" y="129"/>
                    </a:lnTo>
                    <a:lnTo>
                      <a:pt x="398" y="128"/>
                    </a:lnTo>
                    <a:lnTo>
                      <a:pt x="396" y="128"/>
                    </a:lnTo>
                    <a:lnTo>
                      <a:pt x="398" y="128"/>
                    </a:lnTo>
                    <a:lnTo>
                      <a:pt x="396" y="126"/>
                    </a:lnTo>
                    <a:lnTo>
                      <a:pt x="398" y="126"/>
                    </a:lnTo>
                    <a:lnTo>
                      <a:pt x="396" y="126"/>
                    </a:lnTo>
                    <a:lnTo>
                      <a:pt x="396" y="124"/>
                    </a:lnTo>
                    <a:lnTo>
                      <a:pt x="394" y="124"/>
                    </a:lnTo>
                    <a:lnTo>
                      <a:pt x="394" y="126"/>
                    </a:lnTo>
                    <a:lnTo>
                      <a:pt x="394" y="128"/>
                    </a:lnTo>
                    <a:lnTo>
                      <a:pt x="396" y="128"/>
                    </a:lnTo>
                    <a:lnTo>
                      <a:pt x="394" y="128"/>
                    </a:lnTo>
                    <a:lnTo>
                      <a:pt x="392" y="128"/>
                    </a:lnTo>
                    <a:lnTo>
                      <a:pt x="392" y="129"/>
                    </a:lnTo>
                    <a:lnTo>
                      <a:pt x="391" y="129"/>
                    </a:lnTo>
                    <a:lnTo>
                      <a:pt x="391" y="131"/>
                    </a:lnTo>
                    <a:lnTo>
                      <a:pt x="391" y="133"/>
                    </a:lnTo>
                    <a:lnTo>
                      <a:pt x="391" y="134"/>
                    </a:lnTo>
                    <a:lnTo>
                      <a:pt x="389" y="134"/>
                    </a:lnTo>
                    <a:lnTo>
                      <a:pt x="389" y="136"/>
                    </a:lnTo>
                    <a:lnTo>
                      <a:pt x="387" y="134"/>
                    </a:lnTo>
                    <a:lnTo>
                      <a:pt x="389" y="136"/>
                    </a:lnTo>
                    <a:lnTo>
                      <a:pt x="387" y="136"/>
                    </a:lnTo>
                    <a:lnTo>
                      <a:pt x="386" y="138"/>
                    </a:lnTo>
                    <a:lnTo>
                      <a:pt x="384" y="138"/>
                    </a:lnTo>
                    <a:lnTo>
                      <a:pt x="386" y="138"/>
                    </a:lnTo>
                    <a:lnTo>
                      <a:pt x="386" y="139"/>
                    </a:lnTo>
                    <a:lnTo>
                      <a:pt x="386" y="141"/>
                    </a:lnTo>
                    <a:lnTo>
                      <a:pt x="384" y="141"/>
                    </a:lnTo>
                    <a:lnTo>
                      <a:pt x="382" y="139"/>
                    </a:lnTo>
                    <a:lnTo>
                      <a:pt x="381" y="139"/>
                    </a:lnTo>
                    <a:lnTo>
                      <a:pt x="381" y="138"/>
                    </a:lnTo>
                    <a:lnTo>
                      <a:pt x="379" y="138"/>
                    </a:lnTo>
                    <a:lnTo>
                      <a:pt x="377" y="138"/>
                    </a:lnTo>
                    <a:lnTo>
                      <a:pt x="377" y="136"/>
                    </a:lnTo>
                    <a:lnTo>
                      <a:pt x="376" y="134"/>
                    </a:lnTo>
                    <a:lnTo>
                      <a:pt x="376" y="133"/>
                    </a:lnTo>
                    <a:lnTo>
                      <a:pt x="374" y="133"/>
                    </a:lnTo>
                    <a:lnTo>
                      <a:pt x="372" y="131"/>
                    </a:lnTo>
                    <a:lnTo>
                      <a:pt x="370" y="131"/>
                    </a:lnTo>
                    <a:lnTo>
                      <a:pt x="370" y="129"/>
                    </a:lnTo>
                    <a:lnTo>
                      <a:pt x="369" y="129"/>
                    </a:lnTo>
                    <a:lnTo>
                      <a:pt x="367" y="129"/>
                    </a:lnTo>
                    <a:lnTo>
                      <a:pt x="365" y="128"/>
                    </a:lnTo>
                    <a:lnTo>
                      <a:pt x="364" y="128"/>
                    </a:lnTo>
                    <a:lnTo>
                      <a:pt x="364" y="126"/>
                    </a:lnTo>
                    <a:lnTo>
                      <a:pt x="362" y="126"/>
                    </a:lnTo>
                    <a:lnTo>
                      <a:pt x="362" y="124"/>
                    </a:lnTo>
                    <a:lnTo>
                      <a:pt x="360" y="124"/>
                    </a:lnTo>
                    <a:lnTo>
                      <a:pt x="360" y="122"/>
                    </a:lnTo>
                    <a:lnTo>
                      <a:pt x="360" y="124"/>
                    </a:lnTo>
                    <a:lnTo>
                      <a:pt x="362" y="122"/>
                    </a:lnTo>
                    <a:lnTo>
                      <a:pt x="362" y="124"/>
                    </a:lnTo>
                    <a:lnTo>
                      <a:pt x="364" y="124"/>
                    </a:lnTo>
                    <a:lnTo>
                      <a:pt x="364" y="122"/>
                    </a:lnTo>
                    <a:lnTo>
                      <a:pt x="365" y="122"/>
                    </a:lnTo>
                    <a:lnTo>
                      <a:pt x="367" y="122"/>
                    </a:lnTo>
                    <a:lnTo>
                      <a:pt x="367" y="121"/>
                    </a:lnTo>
                    <a:lnTo>
                      <a:pt x="369" y="121"/>
                    </a:lnTo>
                    <a:lnTo>
                      <a:pt x="369" y="119"/>
                    </a:lnTo>
                    <a:lnTo>
                      <a:pt x="369" y="117"/>
                    </a:lnTo>
                    <a:lnTo>
                      <a:pt x="369" y="116"/>
                    </a:lnTo>
                    <a:lnTo>
                      <a:pt x="369" y="114"/>
                    </a:lnTo>
                    <a:lnTo>
                      <a:pt x="369" y="112"/>
                    </a:lnTo>
                    <a:lnTo>
                      <a:pt x="369" y="111"/>
                    </a:lnTo>
                    <a:lnTo>
                      <a:pt x="369" y="109"/>
                    </a:lnTo>
                    <a:lnTo>
                      <a:pt x="367" y="109"/>
                    </a:lnTo>
                    <a:lnTo>
                      <a:pt x="367" y="107"/>
                    </a:lnTo>
                    <a:lnTo>
                      <a:pt x="367" y="105"/>
                    </a:lnTo>
                    <a:lnTo>
                      <a:pt x="365" y="105"/>
                    </a:lnTo>
                    <a:lnTo>
                      <a:pt x="365" y="104"/>
                    </a:lnTo>
                    <a:lnTo>
                      <a:pt x="365" y="102"/>
                    </a:lnTo>
                    <a:lnTo>
                      <a:pt x="367" y="102"/>
                    </a:lnTo>
                    <a:lnTo>
                      <a:pt x="367" y="100"/>
                    </a:lnTo>
                    <a:lnTo>
                      <a:pt x="367" y="99"/>
                    </a:lnTo>
                    <a:lnTo>
                      <a:pt x="369" y="99"/>
                    </a:lnTo>
                    <a:lnTo>
                      <a:pt x="369" y="97"/>
                    </a:lnTo>
                    <a:lnTo>
                      <a:pt x="369" y="95"/>
                    </a:lnTo>
                    <a:lnTo>
                      <a:pt x="369" y="94"/>
                    </a:lnTo>
                    <a:lnTo>
                      <a:pt x="367" y="92"/>
                    </a:lnTo>
                    <a:lnTo>
                      <a:pt x="367" y="90"/>
                    </a:lnTo>
                    <a:lnTo>
                      <a:pt x="365" y="90"/>
                    </a:lnTo>
                    <a:lnTo>
                      <a:pt x="365" y="88"/>
                    </a:lnTo>
                    <a:lnTo>
                      <a:pt x="364" y="88"/>
                    </a:lnTo>
                    <a:lnTo>
                      <a:pt x="364" y="87"/>
                    </a:lnTo>
                    <a:lnTo>
                      <a:pt x="364" y="85"/>
                    </a:lnTo>
                    <a:lnTo>
                      <a:pt x="364" y="83"/>
                    </a:lnTo>
                    <a:lnTo>
                      <a:pt x="365" y="83"/>
                    </a:lnTo>
                    <a:lnTo>
                      <a:pt x="365" y="82"/>
                    </a:lnTo>
                    <a:lnTo>
                      <a:pt x="367" y="82"/>
                    </a:lnTo>
                    <a:lnTo>
                      <a:pt x="369" y="80"/>
                    </a:lnTo>
                    <a:lnTo>
                      <a:pt x="369" y="82"/>
                    </a:lnTo>
                    <a:lnTo>
                      <a:pt x="370" y="82"/>
                    </a:lnTo>
                    <a:lnTo>
                      <a:pt x="370" y="80"/>
                    </a:lnTo>
                    <a:lnTo>
                      <a:pt x="372" y="80"/>
                    </a:lnTo>
                    <a:lnTo>
                      <a:pt x="372" y="82"/>
                    </a:lnTo>
                    <a:lnTo>
                      <a:pt x="372" y="80"/>
                    </a:lnTo>
                    <a:lnTo>
                      <a:pt x="374" y="80"/>
                    </a:lnTo>
                    <a:lnTo>
                      <a:pt x="376" y="80"/>
                    </a:lnTo>
                    <a:lnTo>
                      <a:pt x="376" y="78"/>
                    </a:lnTo>
                    <a:lnTo>
                      <a:pt x="376" y="77"/>
                    </a:lnTo>
                    <a:lnTo>
                      <a:pt x="376" y="75"/>
                    </a:lnTo>
                    <a:lnTo>
                      <a:pt x="377" y="75"/>
                    </a:lnTo>
                    <a:lnTo>
                      <a:pt x="377" y="73"/>
                    </a:lnTo>
                    <a:lnTo>
                      <a:pt x="377" y="71"/>
                    </a:lnTo>
                    <a:lnTo>
                      <a:pt x="377" y="70"/>
                    </a:lnTo>
                    <a:lnTo>
                      <a:pt x="379" y="70"/>
                    </a:lnTo>
                    <a:lnTo>
                      <a:pt x="381" y="71"/>
                    </a:lnTo>
                    <a:lnTo>
                      <a:pt x="382" y="71"/>
                    </a:lnTo>
                    <a:lnTo>
                      <a:pt x="384" y="71"/>
                    </a:lnTo>
                    <a:lnTo>
                      <a:pt x="382" y="71"/>
                    </a:lnTo>
                    <a:lnTo>
                      <a:pt x="382" y="70"/>
                    </a:lnTo>
                    <a:lnTo>
                      <a:pt x="381" y="71"/>
                    </a:lnTo>
                    <a:lnTo>
                      <a:pt x="381" y="70"/>
                    </a:lnTo>
                    <a:lnTo>
                      <a:pt x="381" y="68"/>
                    </a:lnTo>
                    <a:lnTo>
                      <a:pt x="379" y="68"/>
                    </a:lnTo>
                    <a:lnTo>
                      <a:pt x="379" y="66"/>
                    </a:lnTo>
                    <a:lnTo>
                      <a:pt x="379" y="65"/>
                    </a:lnTo>
                    <a:lnTo>
                      <a:pt x="377" y="65"/>
                    </a:lnTo>
                    <a:lnTo>
                      <a:pt x="377" y="63"/>
                    </a:lnTo>
                    <a:lnTo>
                      <a:pt x="377" y="61"/>
                    </a:lnTo>
                    <a:lnTo>
                      <a:pt x="379" y="61"/>
                    </a:lnTo>
                    <a:lnTo>
                      <a:pt x="379" y="60"/>
                    </a:lnTo>
                    <a:lnTo>
                      <a:pt x="381" y="60"/>
                    </a:lnTo>
                    <a:lnTo>
                      <a:pt x="381" y="58"/>
                    </a:lnTo>
                    <a:lnTo>
                      <a:pt x="381" y="56"/>
                    </a:lnTo>
                    <a:lnTo>
                      <a:pt x="382" y="56"/>
                    </a:lnTo>
                    <a:lnTo>
                      <a:pt x="382" y="54"/>
                    </a:lnTo>
                    <a:lnTo>
                      <a:pt x="384" y="54"/>
                    </a:lnTo>
                    <a:lnTo>
                      <a:pt x="386" y="54"/>
                    </a:lnTo>
                    <a:lnTo>
                      <a:pt x="386" y="53"/>
                    </a:lnTo>
                    <a:lnTo>
                      <a:pt x="387" y="53"/>
                    </a:lnTo>
                    <a:lnTo>
                      <a:pt x="387" y="51"/>
                    </a:lnTo>
                    <a:lnTo>
                      <a:pt x="389" y="51"/>
                    </a:lnTo>
                    <a:lnTo>
                      <a:pt x="389" y="49"/>
                    </a:lnTo>
                    <a:lnTo>
                      <a:pt x="391" y="49"/>
                    </a:lnTo>
                    <a:lnTo>
                      <a:pt x="391" y="48"/>
                    </a:lnTo>
                    <a:lnTo>
                      <a:pt x="392" y="46"/>
                    </a:lnTo>
                    <a:lnTo>
                      <a:pt x="392" y="44"/>
                    </a:lnTo>
                    <a:lnTo>
                      <a:pt x="392" y="43"/>
                    </a:lnTo>
                    <a:lnTo>
                      <a:pt x="392" y="41"/>
                    </a:lnTo>
                    <a:lnTo>
                      <a:pt x="392" y="39"/>
                    </a:lnTo>
                    <a:lnTo>
                      <a:pt x="392" y="37"/>
                    </a:lnTo>
                    <a:lnTo>
                      <a:pt x="392" y="36"/>
                    </a:lnTo>
                    <a:lnTo>
                      <a:pt x="392" y="37"/>
                    </a:lnTo>
                    <a:lnTo>
                      <a:pt x="394" y="37"/>
                    </a:lnTo>
                    <a:lnTo>
                      <a:pt x="394" y="39"/>
                    </a:lnTo>
                    <a:lnTo>
                      <a:pt x="394" y="41"/>
                    </a:lnTo>
                    <a:lnTo>
                      <a:pt x="394" y="43"/>
                    </a:lnTo>
                    <a:lnTo>
                      <a:pt x="396" y="43"/>
                    </a:lnTo>
                    <a:lnTo>
                      <a:pt x="396" y="41"/>
                    </a:lnTo>
                    <a:lnTo>
                      <a:pt x="396" y="39"/>
                    </a:lnTo>
                    <a:lnTo>
                      <a:pt x="394" y="39"/>
                    </a:lnTo>
                    <a:lnTo>
                      <a:pt x="394" y="37"/>
                    </a:lnTo>
                    <a:lnTo>
                      <a:pt x="394" y="36"/>
                    </a:lnTo>
                    <a:lnTo>
                      <a:pt x="392" y="36"/>
                    </a:lnTo>
                    <a:lnTo>
                      <a:pt x="392" y="34"/>
                    </a:lnTo>
                    <a:lnTo>
                      <a:pt x="392" y="32"/>
                    </a:lnTo>
                    <a:lnTo>
                      <a:pt x="394" y="31"/>
                    </a:lnTo>
                    <a:lnTo>
                      <a:pt x="394" y="29"/>
                    </a:lnTo>
                    <a:lnTo>
                      <a:pt x="392" y="29"/>
                    </a:lnTo>
                    <a:lnTo>
                      <a:pt x="392" y="27"/>
                    </a:lnTo>
                    <a:lnTo>
                      <a:pt x="391" y="27"/>
                    </a:lnTo>
                    <a:lnTo>
                      <a:pt x="391" y="25"/>
                    </a:lnTo>
                    <a:lnTo>
                      <a:pt x="391" y="24"/>
                    </a:lnTo>
                    <a:lnTo>
                      <a:pt x="391" y="22"/>
                    </a:lnTo>
                    <a:lnTo>
                      <a:pt x="392" y="22"/>
                    </a:lnTo>
                    <a:lnTo>
                      <a:pt x="392" y="20"/>
                    </a:lnTo>
                    <a:lnTo>
                      <a:pt x="394" y="22"/>
                    </a:lnTo>
                    <a:lnTo>
                      <a:pt x="394" y="20"/>
                    </a:lnTo>
                    <a:lnTo>
                      <a:pt x="396" y="20"/>
                    </a:lnTo>
                    <a:lnTo>
                      <a:pt x="398" y="20"/>
                    </a:lnTo>
                    <a:lnTo>
                      <a:pt x="398" y="19"/>
                    </a:lnTo>
                    <a:lnTo>
                      <a:pt x="398" y="20"/>
                    </a:lnTo>
                    <a:lnTo>
                      <a:pt x="399" y="19"/>
                    </a:lnTo>
                    <a:lnTo>
                      <a:pt x="401" y="19"/>
                    </a:lnTo>
                    <a:lnTo>
                      <a:pt x="401" y="17"/>
                    </a:lnTo>
                    <a:lnTo>
                      <a:pt x="403" y="17"/>
                    </a:lnTo>
                    <a:lnTo>
                      <a:pt x="404" y="15"/>
                    </a:lnTo>
                    <a:lnTo>
                      <a:pt x="406" y="15"/>
                    </a:lnTo>
                    <a:lnTo>
                      <a:pt x="408" y="15"/>
                    </a:lnTo>
                    <a:lnTo>
                      <a:pt x="409" y="15"/>
                    </a:lnTo>
                    <a:lnTo>
                      <a:pt x="411" y="14"/>
                    </a:lnTo>
                    <a:lnTo>
                      <a:pt x="413" y="14"/>
                    </a:lnTo>
                    <a:lnTo>
                      <a:pt x="413" y="12"/>
                    </a:lnTo>
                    <a:lnTo>
                      <a:pt x="415" y="12"/>
                    </a:lnTo>
                    <a:lnTo>
                      <a:pt x="416" y="12"/>
                    </a:lnTo>
                    <a:lnTo>
                      <a:pt x="418" y="12"/>
                    </a:lnTo>
                    <a:lnTo>
                      <a:pt x="420" y="12"/>
                    </a:lnTo>
                    <a:lnTo>
                      <a:pt x="421" y="12"/>
                    </a:lnTo>
                    <a:lnTo>
                      <a:pt x="423" y="12"/>
                    </a:lnTo>
                    <a:lnTo>
                      <a:pt x="423" y="10"/>
                    </a:lnTo>
                    <a:lnTo>
                      <a:pt x="425" y="10"/>
                    </a:lnTo>
                    <a:lnTo>
                      <a:pt x="425" y="8"/>
                    </a:lnTo>
                    <a:lnTo>
                      <a:pt x="426" y="7"/>
                    </a:lnTo>
                    <a:lnTo>
                      <a:pt x="426" y="8"/>
                    </a:lnTo>
                    <a:lnTo>
                      <a:pt x="428" y="10"/>
                    </a:lnTo>
                    <a:lnTo>
                      <a:pt x="428" y="12"/>
                    </a:lnTo>
                    <a:lnTo>
                      <a:pt x="428" y="10"/>
                    </a:lnTo>
                    <a:lnTo>
                      <a:pt x="430" y="10"/>
                    </a:lnTo>
                    <a:lnTo>
                      <a:pt x="428" y="10"/>
                    </a:lnTo>
                    <a:lnTo>
                      <a:pt x="430" y="10"/>
                    </a:lnTo>
                    <a:lnTo>
                      <a:pt x="430" y="8"/>
                    </a:lnTo>
                    <a:lnTo>
                      <a:pt x="428" y="8"/>
                    </a:lnTo>
                    <a:lnTo>
                      <a:pt x="430" y="8"/>
                    </a:lnTo>
                    <a:lnTo>
                      <a:pt x="428" y="8"/>
                    </a:lnTo>
                    <a:lnTo>
                      <a:pt x="428" y="7"/>
                    </a:lnTo>
                    <a:lnTo>
                      <a:pt x="430" y="7"/>
                    </a:lnTo>
                    <a:lnTo>
                      <a:pt x="432" y="7"/>
                    </a:lnTo>
                    <a:lnTo>
                      <a:pt x="432" y="5"/>
                    </a:lnTo>
                    <a:lnTo>
                      <a:pt x="433" y="5"/>
                    </a:lnTo>
                    <a:lnTo>
                      <a:pt x="435" y="5"/>
                    </a:lnTo>
                    <a:lnTo>
                      <a:pt x="433" y="5"/>
                    </a:lnTo>
                    <a:lnTo>
                      <a:pt x="432" y="5"/>
                    </a:lnTo>
                    <a:lnTo>
                      <a:pt x="432" y="3"/>
                    </a:lnTo>
                    <a:lnTo>
                      <a:pt x="433" y="2"/>
                    </a:lnTo>
                    <a:lnTo>
                      <a:pt x="433" y="3"/>
                    </a:lnTo>
                    <a:lnTo>
                      <a:pt x="433" y="2"/>
                    </a:lnTo>
                    <a:lnTo>
                      <a:pt x="433" y="0"/>
                    </a:lnTo>
                    <a:lnTo>
                      <a:pt x="435" y="2"/>
                    </a:lnTo>
                    <a:lnTo>
                      <a:pt x="437" y="2"/>
                    </a:lnTo>
                    <a:lnTo>
                      <a:pt x="437" y="3"/>
                    </a:lnTo>
                    <a:lnTo>
                      <a:pt x="438" y="3"/>
                    </a:lnTo>
                    <a:lnTo>
                      <a:pt x="438" y="5"/>
                    </a:lnTo>
                    <a:lnTo>
                      <a:pt x="440" y="5"/>
                    </a:lnTo>
                    <a:lnTo>
                      <a:pt x="440" y="7"/>
                    </a:lnTo>
                    <a:lnTo>
                      <a:pt x="442" y="7"/>
                    </a:lnTo>
                    <a:lnTo>
                      <a:pt x="443" y="7"/>
                    </a:lnTo>
                    <a:lnTo>
                      <a:pt x="443" y="8"/>
                    </a:lnTo>
                    <a:lnTo>
                      <a:pt x="445" y="8"/>
                    </a:lnTo>
                    <a:lnTo>
                      <a:pt x="447" y="8"/>
                    </a:lnTo>
                    <a:lnTo>
                      <a:pt x="447" y="10"/>
                    </a:lnTo>
                    <a:lnTo>
                      <a:pt x="449" y="10"/>
                    </a:lnTo>
                    <a:lnTo>
                      <a:pt x="449" y="8"/>
                    </a:lnTo>
                    <a:lnTo>
                      <a:pt x="450" y="8"/>
                    </a:lnTo>
                    <a:lnTo>
                      <a:pt x="452" y="10"/>
                    </a:lnTo>
                    <a:lnTo>
                      <a:pt x="452" y="12"/>
                    </a:lnTo>
                    <a:lnTo>
                      <a:pt x="452" y="14"/>
                    </a:lnTo>
                    <a:lnTo>
                      <a:pt x="454" y="14"/>
                    </a:lnTo>
                    <a:lnTo>
                      <a:pt x="454" y="15"/>
                    </a:lnTo>
                    <a:lnTo>
                      <a:pt x="455" y="15"/>
                    </a:lnTo>
                    <a:lnTo>
                      <a:pt x="454" y="17"/>
                    </a:lnTo>
                    <a:lnTo>
                      <a:pt x="455" y="17"/>
                    </a:lnTo>
                    <a:lnTo>
                      <a:pt x="457" y="17"/>
                    </a:lnTo>
                    <a:lnTo>
                      <a:pt x="457" y="19"/>
                    </a:lnTo>
                    <a:lnTo>
                      <a:pt x="459" y="19"/>
                    </a:lnTo>
                    <a:lnTo>
                      <a:pt x="460" y="19"/>
                    </a:lnTo>
                    <a:lnTo>
                      <a:pt x="460" y="20"/>
                    </a:lnTo>
                    <a:lnTo>
                      <a:pt x="462" y="20"/>
                    </a:lnTo>
                    <a:lnTo>
                      <a:pt x="464" y="20"/>
                    </a:lnTo>
                    <a:lnTo>
                      <a:pt x="464" y="22"/>
                    </a:lnTo>
                    <a:lnTo>
                      <a:pt x="466" y="22"/>
                    </a:lnTo>
                    <a:lnTo>
                      <a:pt x="467" y="22"/>
                    </a:lnTo>
                    <a:lnTo>
                      <a:pt x="467" y="20"/>
                    </a:lnTo>
                    <a:lnTo>
                      <a:pt x="469" y="20"/>
                    </a:lnTo>
                    <a:lnTo>
                      <a:pt x="471" y="20"/>
                    </a:lnTo>
                    <a:lnTo>
                      <a:pt x="472" y="20"/>
                    </a:lnTo>
                    <a:lnTo>
                      <a:pt x="472" y="22"/>
                    </a:lnTo>
                    <a:lnTo>
                      <a:pt x="472" y="24"/>
                    </a:lnTo>
                    <a:lnTo>
                      <a:pt x="471" y="24"/>
                    </a:lnTo>
                    <a:lnTo>
                      <a:pt x="472" y="24"/>
                    </a:lnTo>
                    <a:lnTo>
                      <a:pt x="472" y="25"/>
                    </a:lnTo>
                    <a:lnTo>
                      <a:pt x="474" y="25"/>
                    </a:lnTo>
                    <a:lnTo>
                      <a:pt x="476" y="25"/>
                    </a:lnTo>
                    <a:lnTo>
                      <a:pt x="476" y="27"/>
                    </a:lnTo>
                    <a:lnTo>
                      <a:pt x="477" y="27"/>
                    </a:lnTo>
                    <a:lnTo>
                      <a:pt x="479" y="27"/>
                    </a:lnTo>
                    <a:lnTo>
                      <a:pt x="479" y="29"/>
                    </a:lnTo>
                    <a:lnTo>
                      <a:pt x="477" y="29"/>
                    </a:lnTo>
                    <a:lnTo>
                      <a:pt x="477" y="31"/>
                    </a:lnTo>
                    <a:lnTo>
                      <a:pt x="477" y="32"/>
                    </a:lnTo>
                    <a:lnTo>
                      <a:pt x="477" y="34"/>
                    </a:lnTo>
                    <a:lnTo>
                      <a:pt x="477" y="36"/>
                    </a:lnTo>
                    <a:lnTo>
                      <a:pt x="479" y="34"/>
                    </a:lnTo>
                    <a:lnTo>
                      <a:pt x="481" y="34"/>
                    </a:lnTo>
                    <a:lnTo>
                      <a:pt x="481" y="36"/>
                    </a:lnTo>
                    <a:lnTo>
                      <a:pt x="483" y="36"/>
                    </a:lnTo>
                    <a:lnTo>
                      <a:pt x="484" y="36"/>
                    </a:lnTo>
                    <a:lnTo>
                      <a:pt x="486" y="37"/>
                    </a:lnTo>
                    <a:lnTo>
                      <a:pt x="486" y="36"/>
                    </a:lnTo>
                    <a:lnTo>
                      <a:pt x="486" y="37"/>
                    </a:lnTo>
                    <a:lnTo>
                      <a:pt x="488" y="36"/>
                    </a:lnTo>
                    <a:lnTo>
                      <a:pt x="488" y="37"/>
                    </a:lnTo>
                    <a:lnTo>
                      <a:pt x="488" y="36"/>
                    </a:lnTo>
                    <a:lnTo>
                      <a:pt x="489" y="36"/>
                    </a:lnTo>
                    <a:lnTo>
                      <a:pt x="491" y="36"/>
                    </a:lnTo>
                    <a:lnTo>
                      <a:pt x="491" y="37"/>
                    </a:lnTo>
                    <a:lnTo>
                      <a:pt x="493" y="37"/>
                    </a:lnTo>
                    <a:lnTo>
                      <a:pt x="493" y="39"/>
                    </a:lnTo>
                    <a:lnTo>
                      <a:pt x="494" y="39"/>
                    </a:lnTo>
                    <a:lnTo>
                      <a:pt x="496" y="39"/>
                    </a:lnTo>
                    <a:lnTo>
                      <a:pt x="498" y="39"/>
                    </a:lnTo>
                    <a:lnTo>
                      <a:pt x="498" y="41"/>
                    </a:lnTo>
                    <a:lnTo>
                      <a:pt x="500" y="41"/>
                    </a:lnTo>
                    <a:lnTo>
                      <a:pt x="501" y="41"/>
                    </a:lnTo>
                    <a:lnTo>
                      <a:pt x="501" y="39"/>
                    </a:lnTo>
                    <a:lnTo>
                      <a:pt x="501" y="41"/>
                    </a:lnTo>
                    <a:lnTo>
                      <a:pt x="501" y="39"/>
                    </a:lnTo>
                    <a:lnTo>
                      <a:pt x="503" y="41"/>
                    </a:lnTo>
                    <a:lnTo>
                      <a:pt x="503" y="39"/>
                    </a:lnTo>
                    <a:lnTo>
                      <a:pt x="505" y="39"/>
                    </a:lnTo>
                    <a:lnTo>
                      <a:pt x="506" y="39"/>
                    </a:lnTo>
                    <a:lnTo>
                      <a:pt x="506" y="41"/>
                    </a:lnTo>
                    <a:lnTo>
                      <a:pt x="508" y="41"/>
                    </a:lnTo>
                    <a:lnTo>
                      <a:pt x="510" y="41"/>
                    </a:lnTo>
                    <a:lnTo>
                      <a:pt x="511" y="41"/>
                    </a:lnTo>
                    <a:lnTo>
                      <a:pt x="513" y="41"/>
                    </a:lnTo>
                    <a:lnTo>
                      <a:pt x="515" y="41"/>
                    </a:lnTo>
                    <a:lnTo>
                      <a:pt x="515" y="37"/>
                    </a:lnTo>
                    <a:lnTo>
                      <a:pt x="515" y="36"/>
                    </a:lnTo>
                    <a:lnTo>
                      <a:pt x="517" y="36"/>
                    </a:lnTo>
                    <a:lnTo>
                      <a:pt x="518" y="36"/>
                    </a:lnTo>
                    <a:lnTo>
                      <a:pt x="518" y="34"/>
                    </a:lnTo>
                    <a:lnTo>
                      <a:pt x="520" y="34"/>
                    </a:lnTo>
                    <a:lnTo>
                      <a:pt x="520" y="36"/>
                    </a:lnTo>
                    <a:lnTo>
                      <a:pt x="522" y="36"/>
                    </a:lnTo>
                    <a:lnTo>
                      <a:pt x="523" y="36"/>
                    </a:lnTo>
                    <a:lnTo>
                      <a:pt x="525" y="36"/>
                    </a:lnTo>
                    <a:lnTo>
                      <a:pt x="525" y="37"/>
                    </a:lnTo>
                    <a:lnTo>
                      <a:pt x="527" y="37"/>
                    </a:lnTo>
                    <a:lnTo>
                      <a:pt x="527" y="39"/>
                    </a:lnTo>
                    <a:lnTo>
                      <a:pt x="528" y="39"/>
                    </a:lnTo>
                    <a:lnTo>
                      <a:pt x="528" y="41"/>
                    </a:lnTo>
                    <a:lnTo>
                      <a:pt x="530" y="41"/>
                    </a:lnTo>
                    <a:lnTo>
                      <a:pt x="530" y="43"/>
                    </a:lnTo>
                    <a:lnTo>
                      <a:pt x="532" y="43"/>
                    </a:lnTo>
                    <a:lnTo>
                      <a:pt x="532" y="44"/>
                    </a:lnTo>
                    <a:lnTo>
                      <a:pt x="534" y="44"/>
                    </a:lnTo>
                    <a:lnTo>
                      <a:pt x="534" y="46"/>
                    </a:lnTo>
                    <a:lnTo>
                      <a:pt x="535" y="46"/>
                    </a:lnTo>
                    <a:lnTo>
                      <a:pt x="535" y="48"/>
                    </a:lnTo>
                    <a:lnTo>
                      <a:pt x="537" y="48"/>
                    </a:lnTo>
                    <a:lnTo>
                      <a:pt x="539" y="48"/>
                    </a:lnTo>
                    <a:lnTo>
                      <a:pt x="540" y="48"/>
                    </a:lnTo>
                    <a:lnTo>
                      <a:pt x="542" y="48"/>
                    </a:lnTo>
                    <a:lnTo>
                      <a:pt x="542" y="49"/>
                    </a:lnTo>
                    <a:lnTo>
                      <a:pt x="544" y="49"/>
                    </a:lnTo>
                    <a:lnTo>
                      <a:pt x="545" y="49"/>
                    </a:lnTo>
                    <a:lnTo>
                      <a:pt x="545" y="51"/>
                    </a:lnTo>
                    <a:lnTo>
                      <a:pt x="547" y="51"/>
                    </a:lnTo>
                    <a:lnTo>
                      <a:pt x="549" y="51"/>
                    </a:lnTo>
                    <a:lnTo>
                      <a:pt x="549" y="53"/>
                    </a:lnTo>
                    <a:lnTo>
                      <a:pt x="551" y="53"/>
                    </a:lnTo>
                    <a:lnTo>
                      <a:pt x="552" y="53"/>
                    </a:lnTo>
                    <a:lnTo>
                      <a:pt x="554" y="53"/>
                    </a:lnTo>
                    <a:close/>
                    <a:moveTo>
                      <a:pt x="12" y="44"/>
                    </a:moveTo>
                    <a:lnTo>
                      <a:pt x="12" y="46"/>
                    </a:lnTo>
                    <a:lnTo>
                      <a:pt x="13" y="46"/>
                    </a:lnTo>
                    <a:lnTo>
                      <a:pt x="13" y="48"/>
                    </a:lnTo>
                    <a:lnTo>
                      <a:pt x="15" y="49"/>
                    </a:lnTo>
                    <a:lnTo>
                      <a:pt x="17" y="51"/>
                    </a:lnTo>
                    <a:lnTo>
                      <a:pt x="15" y="51"/>
                    </a:lnTo>
                    <a:lnTo>
                      <a:pt x="17" y="51"/>
                    </a:lnTo>
                    <a:lnTo>
                      <a:pt x="17" y="53"/>
                    </a:lnTo>
                    <a:lnTo>
                      <a:pt x="17" y="54"/>
                    </a:lnTo>
                    <a:lnTo>
                      <a:pt x="17" y="56"/>
                    </a:lnTo>
                    <a:lnTo>
                      <a:pt x="17" y="58"/>
                    </a:lnTo>
                    <a:lnTo>
                      <a:pt x="19" y="58"/>
                    </a:lnTo>
                    <a:lnTo>
                      <a:pt x="19" y="60"/>
                    </a:lnTo>
                    <a:lnTo>
                      <a:pt x="20" y="60"/>
                    </a:lnTo>
                    <a:lnTo>
                      <a:pt x="20" y="61"/>
                    </a:lnTo>
                    <a:lnTo>
                      <a:pt x="22" y="61"/>
                    </a:lnTo>
                    <a:lnTo>
                      <a:pt x="24" y="63"/>
                    </a:lnTo>
                    <a:lnTo>
                      <a:pt x="24" y="65"/>
                    </a:lnTo>
                    <a:lnTo>
                      <a:pt x="25" y="65"/>
                    </a:lnTo>
                    <a:lnTo>
                      <a:pt x="24" y="66"/>
                    </a:lnTo>
                    <a:lnTo>
                      <a:pt x="24" y="68"/>
                    </a:lnTo>
                    <a:lnTo>
                      <a:pt x="24" y="70"/>
                    </a:lnTo>
                    <a:lnTo>
                      <a:pt x="25" y="70"/>
                    </a:lnTo>
                    <a:lnTo>
                      <a:pt x="27" y="70"/>
                    </a:lnTo>
                    <a:lnTo>
                      <a:pt x="27" y="71"/>
                    </a:lnTo>
                    <a:lnTo>
                      <a:pt x="29" y="71"/>
                    </a:lnTo>
                    <a:lnTo>
                      <a:pt x="27" y="73"/>
                    </a:lnTo>
                    <a:lnTo>
                      <a:pt x="29" y="73"/>
                    </a:lnTo>
                    <a:lnTo>
                      <a:pt x="30" y="73"/>
                    </a:lnTo>
                    <a:lnTo>
                      <a:pt x="30" y="75"/>
                    </a:lnTo>
                    <a:lnTo>
                      <a:pt x="29" y="75"/>
                    </a:lnTo>
                    <a:lnTo>
                      <a:pt x="29" y="77"/>
                    </a:lnTo>
                    <a:lnTo>
                      <a:pt x="29" y="78"/>
                    </a:lnTo>
                    <a:lnTo>
                      <a:pt x="27" y="78"/>
                    </a:lnTo>
                    <a:lnTo>
                      <a:pt x="27" y="80"/>
                    </a:lnTo>
                    <a:lnTo>
                      <a:pt x="25" y="80"/>
                    </a:lnTo>
                    <a:lnTo>
                      <a:pt x="25" y="82"/>
                    </a:lnTo>
                    <a:lnTo>
                      <a:pt x="24" y="82"/>
                    </a:lnTo>
                    <a:lnTo>
                      <a:pt x="22" y="82"/>
                    </a:lnTo>
                    <a:lnTo>
                      <a:pt x="20" y="83"/>
                    </a:lnTo>
                    <a:lnTo>
                      <a:pt x="19" y="83"/>
                    </a:lnTo>
                    <a:lnTo>
                      <a:pt x="17" y="83"/>
                    </a:lnTo>
                    <a:lnTo>
                      <a:pt x="17" y="85"/>
                    </a:lnTo>
                    <a:lnTo>
                      <a:pt x="17" y="83"/>
                    </a:lnTo>
                    <a:lnTo>
                      <a:pt x="17" y="85"/>
                    </a:lnTo>
                    <a:lnTo>
                      <a:pt x="15" y="85"/>
                    </a:lnTo>
                    <a:lnTo>
                      <a:pt x="15" y="83"/>
                    </a:lnTo>
                    <a:lnTo>
                      <a:pt x="13" y="83"/>
                    </a:lnTo>
                    <a:lnTo>
                      <a:pt x="12" y="83"/>
                    </a:lnTo>
                    <a:lnTo>
                      <a:pt x="10" y="83"/>
                    </a:lnTo>
                    <a:lnTo>
                      <a:pt x="8" y="83"/>
                    </a:lnTo>
                    <a:lnTo>
                      <a:pt x="8" y="82"/>
                    </a:lnTo>
                    <a:lnTo>
                      <a:pt x="7" y="82"/>
                    </a:lnTo>
                    <a:lnTo>
                      <a:pt x="7" y="80"/>
                    </a:lnTo>
                    <a:lnTo>
                      <a:pt x="5" y="80"/>
                    </a:lnTo>
                    <a:lnTo>
                      <a:pt x="5" y="78"/>
                    </a:lnTo>
                    <a:lnTo>
                      <a:pt x="7" y="77"/>
                    </a:lnTo>
                    <a:lnTo>
                      <a:pt x="8" y="77"/>
                    </a:lnTo>
                    <a:lnTo>
                      <a:pt x="8" y="75"/>
                    </a:lnTo>
                    <a:lnTo>
                      <a:pt x="10" y="75"/>
                    </a:lnTo>
                    <a:lnTo>
                      <a:pt x="10" y="73"/>
                    </a:lnTo>
                    <a:lnTo>
                      <a:pt x="12" y="73"/>
                    </a:lnTo>
                    <a:lnTo>
                      <a:pt x="12" y="71"/>
                    </a:lnTo>
                    <a:lnTo>
                      <a:pt x="12" y="73"/>
                    </a:lnTo>
                    <a:lnTo>
                      <a:pt x="13" y="71"/>
                    </a:lnTo>
                    <a:lnTo>
                      <a:pt x="15" y="71"/>
                    </a:lnTo>
                    <a:lnTo>
                      <a:pt x="17" y="71"/>
                    </a:lnTo>
                    <a:lnTo>
                      <a:pt x="19" y="71"/>
                    </a:lnTo>
                    <a:lnTo>
                      <a:pt x="19" y="70"/>
                    </a:lnTo>
                    <a:lnTo>
                      <a:pt x="20" y="70"/>
                    </a:lnTo>
                    <a:lnTo>
                      <a:pt x="19" y="68"/>
                    </a:lnTo>
                    <a:lnTo>
                      <a:pt x="17" y="66"/>
                    </a:lnTo>
                    <a:lnTo>
                      <a:pt x="15" y="66"/>
                    </a:lnTo>
                    <a:lnTo>
                      <a:pt x="15" y="65"/>
                    </a:lnTo>
                    <a:lnTo>
                      <a:pt x="15" y="63"/>
                    </a:lnTo>
                    <a:lnTo>
                      <a:pt x="13" y="61"/>
                    </a:lnTo>
                    <a:lnTo>
                      <a:pt x="12" y="61"/>
                    </a:lnTo>
                    <a:lnTo>
                      <a:pt x="12" y="60"/>
                    </a:lnTo>
                    <a:lnTo>
                      <a:pt x="10" y="60"/>
                    </a:lnTo>
                    <a:lnTo>
                      <a:pt x="10" y="58"/>
                    </a:lnTo>
                    <a:lnTo>
                      <a:pt x="8" y="56"/>
                    </a:lnTo>
                    <a:lnTo>
                      <a:pt x="10" y="56"/>
                    </a:lnTo>
                    <a:lnTo>
                      <a:pt x="10" y="54"/>
                    </a:lnTo>
                    <a:lnTo>
                      <a:pt x="8" y="54"/>
                    </a:lnTo>
                    <a:lnTo>
                      <a:pt x="8" y="53"/>
                    </a:lnTo>
                    <a:lnTo>
                      <a:pt x="8" y="51"/>
                    </a:lnTo>
                    <a:lnTo>
                      <a:pt x="8" y="49"/>
                    </a:lnTo>
                    <a:lnTo>
                      <a:pt x="7" y="49"/>
                    </a:lnTo>
                    <a:lnTo>
                      <a:pt x="5" y="49"/>
                    </a:lnTo>
                    <a:lnTo>
                      <a:pt x="5" y="51"/>
                    </a:lnTo>
                    <a:lnTo>
                      <a:pt x="3" y="51"/>
                    </a:lnTo>
                    <a:lnTo>
                      <a:pt x="3" y="49"/>
                    </a:lnTo>
                    <a:lnTo>
                      <a:pt x="3" y="48"/>
                    </a:lnTo>
                    <a:lnTo>
                      <a:pt x="5" y="48"/>
                    </a:lnTo>
                    <a:lnTo>
                      <a:pt x="5" y="46"/>
                    </a:lnTo>
                    <a:lnTo>
                      <a:pt x="7" y="46"/>
                    </a:lnTo>
                    <a:lnTo>
                      <a:pt x="8" y="46"/>
                    </a:lnTo>
                    <a:lnTo>
                      <a:pt x="8" y="44"/>
                    </a:lnTo>
                    <a:lnTo>
                      <a:pt x="10" y="44"/>
                    </a:lnTo>
                    <a:lnTo>
                      <a:pt x="12" y="44"/>
                    </a:lnTo>
                    <a:close/>
                    <a:moveTo>
                      <a:pt x="47" y="66"/>
                    </a:moveTo>
                    <a:lnTo>
                      <a:pt x="49" y="66"/>
                    </a:lnTo>
                    <a:lnTo>
                      <a:pt x="49" y="68"/>
                    </a:lnTo>
                    <a:lnTo>
                      <a:pt x="51" y="68"/>
                    </a:lnTo>
                    <a:lnTo>
                      <a:pt x="51" y="70"/>
                    </a:lnTo>
                    <a:lnTo>
                      <a:pt x="49" y="71"/>
                    </a:lnTo>
                    <a:lnTo>
                      <a:pt x="51" y="71"/>
                    </a:lnTo>
                    <a:lnTo>
                      <a:pt x="49" y="71"/>
                    </a:lnTo>
                    <a:lnTo>
                      <a:pt x="49" y="73"/>
                    </a:lnTo>
                    <a:lnTo>
                      <a:pt x="47" y="75"/>
                    </a:lnTo>
                    <a:lnTo>
                      <a:pt x="46" y="73"/>
                    </a:lnTo>
                    <a:lnTo>
                      <a:pt x="46" y="75"/>
                    </a:lnTo>
                    <a:lnTo>
                      <a:pt x="44" y="75"/>
                    </a:lnTo>
                    <a:lnTo>
                      <a:pt x="42" y="75"/>
                    </a:lnTo>
                    <a:lnTo>
                      <a:pt x="41" y="75"/>
                    </a:lnTo>
                    <a:lnTo>
                      <a:pt x="41" y="73"/>
                    </a:lnTo>
                    <a:lnTo>
                      <a:pt x="39" y="73"/>
                    </a:lnTo>
                    <a:lnTo>
                      <a:pt x="39" y="71"/>
                    </a:lnTo>
                    <a:lnTo>
                      <a:pt x="37" y="71"/>
                    </a:lnTo>
                    <a:lnTo>
                      <a:pt x="39" y="71"/>
                    </a:lnTo>
                    <a:lnTo>
                      <a:pt x="37" y="71"/>
                    </a:lnTo>
                    <a:lnTo>
                      <a:pt x="37" y="70"/>
                    </a:lnTo>
                    <a:lnTo>
                      <a:pt x="39" y="70"/>
                    </a:lnTo>
                    <a:lnTo>
                      <a:pt x="37" y="70"/>
                    </a:lnTo>
                    <a:lnTo>
                      <a:pt x="39" y="68"/>
                    </a:lnTo>
                    <a:lnTo>
                      <a:pt x="39" y="66"/>
                    </a:lnTo>
                    <a:lnTo>
                      <a:pt x="41" y="66"/>
                    </a:lnTo>
                    <a:lnTo>
                      <a:pt x="42" y="66"/>
                    </a:lnTo>
                    <a:lnTo>
                      <a:pt x="44" y="66"/>
                    </a:lnTo>
                    <a:lnTo>
                      <a:pt x="46" y="65"/>
                    </a:lnTo>
                    <a:lnTo>
                      <a:pt x="46" y="66"/>
                    </a:lnTo>
                    <a:lnTo>
                      <a:pt x="46" y="65"/>
                    </a:lnTo>
                    <a:lnTo>
                      <a:pt x="46" y="66"/>
                    </a:lnTo>
                    <a:lnTo>
                      <a:pt x="47" y="65"/>
                    </a:lnTo>
                    <a:lnTo>
                      <a:pt x="47" y="66"/>
                    </a:lnTo>
                    <a:close/>
                    <a:moveTo>
                      <a:pt x="392" y="139"/>
                    </a:moveTo>
                    <a:lnTo>
                      <a:pt x="394" y="139"/>
                    </a:lnTo>
                    <a:lnTo>
                      <a:pt x="394" y="141"/>
                    </a:lnTo>
                    <a:lnTo>
                      <a:pt x="396" y="141"/>
                    </a:lnTo>
                    <a:lnTo>
                      <a:pt x="398" y="141"/>
                    </a:lnTo>
                    <a:lnTo>
                      <a:pt x="398" y="143"/>
                    </a:lnTo>
                    <a:lnTo>
                      <a:pt x="396" y="143"/>
                    </a:lnTo>
                    <a:lnTo>
                      <a:pt x="394" y="143"/>
                    </a:lnTo>
                    <a:lnTo>
                      <a:pt x="394" y="145"/>
                    </a:lnTo>
                    <a:lnTo>
                      <a:pt x="392" y="145"/>
                    </a:lnTo>
                    <a:lnTo>
                      <a:pt x="392" y="146"/>
                    </a:lnTo>
                    <a:lnTo>
                      <a:pt x="392" y="145"/>
                    </a:lnTo>
                    <a:lnTo>
                      <a:pt x="391" y="145"/>
                    </a:lnTo>
                    <a:lnTo>
                      <a:pt x="389" y="145"/>
                    </a:lnTo>
                    <a:lnTo>
                      <a:pt x="389" y="146"/>
                    </a:lnTo>
                    <a:lnTo>
                      <a:pt x="389" y="148"/>
                    </a:lnTo>
                    <a:lnTo>
                      <a:pt x="391" y="148"/>
                    </a:lnTo>
                    <a:lnTo>
                      <a:pt x="391" y="150"/>
                    </a:lnTo>
                    <a:lnTo>
                      <a:pt x="389" y="150"/>
                    </a:lnTo>
                    <a:lnTo>
                      <a:pt x="389" y="151"/>
                    </a:lnTo>
                    <a:lnTo>
                      <a:pt x="387" y="151"/>
                    </a:lnTo>
                    <a:lnTo>
                      <a:pt x="386" y="151"/>
                    </a:lnTo>
                    <a:lnTo>
                      <a:pt x="384" y="150"/>
                    </a:lnTo>
                    <a:lnTo>
                      <a:pt x="386" y="148"/>
                    </a:lnTo>
                    <a:lnTo>
                      <a:pt x="386" y="146"/>
                    </a:lnTo>
                    <a:lnTo>
                      <a:pt x="386" y="145"/>
                    </a:lnTo>
                    <a:lnTo>
                      <a:pt x="386" y="143"/>
                    </a:lnTo>
                    <a:lnTo>
                      <a:pt x="386" y="141"/>
                    </a:lnTo>
                    <a:lnTo>
                      <a:pt x="387" y="141"/>
                    </a:lnTo>
                    <a:lnTo>
                      <a:pt x="389" y="141"/>
                    </a:lnTo>
                    <a:lnTo>
                      <a:pt x="389" y="139"/>
                    </a:lnTo>
                    <a:lnTo>
                      <a:pt x="391" y="139"/>
                    </a:lnTo>
                    <a:lnTo>
                      <a:pt x="392" y="139"/>
                    </a:lnTo>
                    <a:close/>
                    <a:moveTo>
                      <a:pt x="7" y="58"/>
                    </a:moveTo>
                    <a:lnTo>
                      <a:pt x="8" y="58"/>
                    </a:lnTo>
                    <a:lnTo>
                      <a:pt x="8" y="60"/>
                    </a:lnTo>
                    <a:lnTo>
                      <a:pt x="10" y="60"/>
                    </a:lnTo>
                    <a:lnTo>
                      <a:pt x="10" y="61"/>
                    </a:lnTo>
                    <a:lnTo>
                      <a:pt x="10" y="63"/>
                    </a:lnTo>
                    <a:lnTo>
                      <a:pt x="10" y="65"/>
                    </a:lnTo>
                    <a:lnTo>
                      <a:pt x="8" y="65"/>
                    </a:lnTo>
                    <a:lnTo>
                      <a:pt x="8" y="66"/>
                    </a:lnTo>
                    <a:lnTo>
                      <a:pt x="7" y="66"/>
                    </a:lnTo>
                    <a:lnTo>
                      <a:pt x="5" y="66"/>
                    </a:lnTo>
                    <a:lnTo>
                      <a:pt x="3" y="65"/>
                    </a:lnTo>
                    <a:lnTo>
                      <a:pt x="2" y="65"/>
                    </a:lnTo>
                    <a:lnTo>
                      <a:pt x="2" y="63"/>
                    </a:lnTo>
                    <a:lnTo>
                      <a:pt x="0" y="63"/>
                    </a:lnTo>
                    <a:lnTo>
                      <a:pt x="0" y="61"/>
                    </a:lnTo>
                    <a:lnTo>
                      <a:pt x="0" y="60"/>
                    </a:lnTo>
                    <a:lnTo>
                      <a:pt x="2" y="60"/>
                    </a:lnTo>
                    <a:lnTo>
                      <a:pt x="3" y="60"/>
                    </a:lnTo>
                    <a:lnTo>
                      <a:pt x="5" y="58"/>
                    </a:lnTo>
                    <a:lnTo>
                      <a:pt x="7" y="58"/>
                    </a:lnTo>
                    <a:close/>
                    <a:moveTo>
                      <a:pt x="30" y="54"/>
                    </a:moveTo>
                    <a:lnTo>
                      <a:pt x="32" y="54"/>
                    </a:lnTo>
                    <a:lnTo>
                      <a:pt x="34" y="56"/>
                    </a:lnTo>
                    <a:lnTo>
                      <a:pt x="36" y="56"/>
                    </a:lnTo>
                    <a:lnTo>
                      <a:pt x="37" y="56"/>
                    </a:lnTo>
                    <a:lnTo>
                      <a:pt x="37" y="58"/>
                    </a:lnTo>
                    <a:lnTo>
                      <a:pt x="37" y="60"/>
                    </a:lnTo>
                    <a:lnTo>
                      <a:pt x="37" y="61"/>
                    </a:lnTo>
                    <a:lnTo>
                      <a:pt x="36" y="61"/>
                    </a:lnTo>
                    <a:lnTo>
                      <a:pt x="34" y="61"/>
                    </a:lnTo>
                    <a:lnTo>
                      <a:pt x="32" y="61"/>
                    </a:lnTo>
                    <a:lnTo>
                      <a:pt x="30" y="61"/>
                    </a:lnTo>
                    <a:lnTo>
                      <a:pt x="30" y="60"/>
                    </a:lnTo>
                    <a:lnTo>
                      <a:pt x="29" y="60"/>
                    </a:lnTo>
                    <a:lnTo>
                      <a:pt x="27" y="58"/>
                    </a:lnTo>
                    <a:lnTo>
                      <a:pt x="27" y="56"/>
                    </a:lnTo>
                    <a:lnTo>
                      <a:pt x="29" y="56"/>
                    </a:lnTo>
                    <a:lnTo>
                      <a:pt x="29" y="54"/>
                    </a:lnTo>
                    <a:lnTo>
                      <a:pt x="30" y="54"/>
                    </a:lnTo>
                    <a:close/>
                    <a:moveTo>
                      <a:pt x="78" y="71"/>
                    </a:moveTo>
                    <a:lnTo>
                      <a:pt x="80" y="71"/>
                    </a:lnTo>
                    <a:lnTo>
                      <a:pt x="80" y="73"/>
                    </a:lnTo>
                    <a:lnTo>
                      <a:pt x="81" y="73"/>
                    </a:lnTo>
                    <a:lnTo>
                      <a:pt x="81" y="71"/>
                    </a:lnTo>
                    <a:lnTo>
                      <a:pt x="81" y="73"/>
                    </a:lnTo>
                    <a:lnTo>
                      <a:pt x="81" y="75"/>
                    </a:lnTo>
                    <a:lnTo>
                      <a:pt x="80" y="75"/>
                    </a:lnTo>
                    <a:lnTo>
                      <a:pt x="80" y="77"/>
                    </a:lnTo>
                    <a:lnTo>
                      <a:pt x="78" y="77"/>
                    </a:lnTo>
                    <a:lnTo>
                      <a:pt x="78" y="78"/>
                    </a:lnTo>
                    <a:lnTo>
                      <a:pt x="76" y="80"/>
                    </a:lnTo>
                    <a:lnTo>
                      <a:pt x="75" y="80"/>
                    </a:lnTo>
                    <a:lnTo>
                      <a:pt x="73" y="80"/>
                    </a:lnTo>
                    <a:lnTo>
                      <a:pt x="73" y="82"/>
                    </a:lnTo>
                    <a:lnTo>
                      <a:pt x="71" y="82"/>
                    </a:lnTo>
                    <a:lnTo>
                      <a:pt x="70" y="80"/>
                    </a:lnTo>
                    <a:lnTo>
                      <a:pt x="70" y="78"/>
                    </a:lnTo>
                    <a:lnTo>
                      <a:pt x="71" y="78"/>
                    </a:lnTo>
                    <a:lnTo>
                      <a:pt x="71" y="77"/>
                    </a:lnTo>
                    <a:lnTo>
                      <a:pt x="73" y="77"/>
                    </a:lnTo>
                    <a:lnTo>
                      <a:pt x="75" y="77"/>
                    </a:lnTo>
                    <a:lnTo>
                      <a:pt x="75" y="75"/>
                    </a:lnTo>
                    <a:lnTo>
                      <a:pt x="75" y="73"/>
                    </a:lnTo>
                    <a:lnTo>
                      <a:pt x="76" y="73"/>
                    </a:lnTo>
                    <a:lnTo>
                      <a:pt x="78" y="73"/>
                    </a:lnTo>
                    <a:lnTo>
                      <a:pt x="78" y="71"/>
                    </a:lnTo>
                    <a:close/>
                    <a:moveTo>
                      <a:pt x="42" y="90"/>
                    </a:moveTo>
                    <a:lnTo>
                      <a:pt x="44" y="92"/>
                    </a:lnTo>
                    <a:lnTo>
                      <a:pt x="44" y="94"/>
                    </a:lnTo>
                    <a:lnTo>
                      <a:pt x="42" y="94"/>
                    </a:lnTo>
                    <a:lnTo>
                      <a:pt x="42" y="95"/>
                    </a:lnTo>
                    <a:lnTo>
                      <a:pt x="41" y="95"/>
                    </a:lnTo>
                    <a:lnTo>
                      <a:pt x="41" y="94"/>
                    </a:lnTo>
                    <a:lnTo>
                      <a:pt x="39" y="94"/>
                    </a:lnTo>
                    <a:lnTo>
                      <a:pt x="39" y="92"/>
                    </a:lnTo>
                    <a:lnTo>
                      <a:pt x="41" y="92"/>
                    </a:lnTo>
                    <a:lnTo>
                      <a:pt x="41" y="90"/>
                    </a:lnTo>
                    <a:lnTo>
                      <a:pt x="42" y="90"/>
                    </a:lnTo>
                    <a:close/>
                    <a:moveTo>
                      <a:pt x="41" y="36"/>
                    </a:moveTo>
                    <a:lnTo>
                      <a:pt x="42" y="37"/>
                    </a:lnTo>
                    <a:lnTo>
                      <a:pt x="42" y="39"/>
                    </a:lnTo>
                    <a:lnTo>
                      <a:pt x="41" y="39"/>
                    </a:lnTo>
                    <a:lnTo>
                      <a:pt x="39" y="39"/>
                    </a:lnTo>
                    <a:lnTo>
                      <a:pt x="39" y="37"/>
                    </a:lnTo>
                    <a:lnTo>
                      <a:pt x="37" y="37"/>
                    </a:lnTo>
                    <a:lnTo>
                      <a:pt x="39" y="36"/>
                    </a:lnTo>
                    <a:lnTo>
                      <a:pt x="41" y="36"/>
                    </a:lnTo>
                    <a:close/>
                    <a:moveTo>
                      <a:pt x="399" y="138"/>
                    </a:moveTo>
                    <a:lnTo>
                      <a:pt x="399" y="139"/>
                    </a:lnTo>
                    <a:lnTo>
                      <a:pt x="398" y="139"/>
                    </a:lnTo>
                    <a:lnTo>
                      <a:pt x="398" y="138"/>
                    </a:lnTo>
                    <a:lnTo>
                      <a:pt x="398" y="136"/>
                    </a:lnTo>
                    <a:lnTo>
                      <a:pt x="398" y="134"/>
                    </a:lnTo>
                    <a:lnTo>
                      <a:pt x="399" y="133"/>
                    </a:lnTo>
                    <a:lnTo>
                      <a:pt x="399" y="134"/>
                    </a:lnTo>
                    <a:lnTo>
                      <a:pt x="399" y="136"/>
                    </a:lnTo>
                    <a:lnTo>
                      <a:pt x="399" y="138"/>
                    </a:lnTo>
                    <a:close/>
                    <a:moveTo>
                      <a:pt x="432" y="3"/>
                    </a:moveTo>
                    <a:lnTo>
                      <a:pt x="432" y="5"/>
                    </a:lnTo>
                    <a:lnTo>
                      <a:pt x="432" y="7"/>
                    </a:lnTo>
                    <a:lnTo>
                      <a:pt x="430" y="7"/>
                    </a:lnTo>
                    <a:lnTo>
                      <a:pt x="428" y="7"/>
                    </a:lnTo>
                    <a:lnTo>
                      <a:pt x="430" y="5"/>
                    </a:lnTo>
                    <a:lnTo>
                      <a:pt x="428" y="5"/>
                    </a:lnTo>
                    <a:lnTo>
                      <a:pt x="428" y="3"/>
                    </a:lnTo>
                    <a:lnTo>
                      <a:pt x="430" y="3"/>
                    </a:lnTo>
                    <a:lnTo>
                      <a:pt x="430" y="2"/>
                    </a:lnTo>
                    <a:lnTo>
                      <a:pt x="432" y="2"/>
                    </a:lnTo>
                    <a:lnTo>
                      <a:pt x="432" y="3"/>
                    </a:lnTo>
                    <a:close/>
                    <a:moveTo>
                      <a:pt x="394" y="134"/>
                    </a:moveTo>
                    <a:lnTo>
                      <a:pt x="396" y="134"/>
                    </a:lnTo>
                    <a:lnTo>
                      <a:pt x="396" y="136"/>
                    </a:lnTo>
                    <a:lnTo>
                      <a:pt x="394" y="136"/>
                    </a:lnTo>
                    <a:lnTo>
                      <a:pt x="392" y="136"/>
                    </a:lnTo>
                    <a:lnTo>
                      <a:pt x="391" y="136"/>
                    </a:lnTo>
                    <a:lnTo>
                      <a:pt x="392" y="136"/>
                    </a:lnTo>
                    <a:lnTo>
                      <a:pt x="392" y="134"/>
                    </a:lnTo>
                    <a:lnTo>
                      <a:pt x="392" y="133"/>
                    </a:lnTo>
                    <a:lnTo>
                      <a:pt x="394" y="133"/>
                    </a:lnTo>
                    <a:lnTo>
                      <a:pt x="394" y="134"/>
                    </a:lnTo>
                    <a:close/>
                    <a:moveTo>
                      <a:pt x="391" y="162"/>
                    </a:moveTo>
                    <a:lnTo>
                      <a:pt x="391" y="163"/>
                    </a:lnTo>
                    <a:lnTo>
                      <a:pt x="391" y="165"/>
                    </a:lnTo>
                    <a:lnTo>
                      <a:pt x="391" y="163"/>
                    </a:lnTo>
                    <a:lnTo>
                      <a:pt x="389" y="163"/>
                    </a:lnTo>
                    <a:lnTo>
                      <a:pt x="389" y="165"/>
                    </a:lnTo>
                    <a:lnTo>
                      <a:pt x="387" y="163"/>
                    </a:lnTo>
                    <a:lnTo>
                      <a:pt x="386" y="162"/>
                    </a:lnTo>
                    <a:lnTo>
                      <a:pt x="387" y="162"/>
                    </a:lnTo>
                    <a:lnTo>
                      <a:pt x="387" y="163"/>
                    </a:lnTo>
                    <a:lnTo>
                      <a:pt x="389" y="163"/>
                    </a:lnTo>
                    <a:lnTo>
                      <a:pt x="389" y="162"/>
                    </a:lnTo>
                    <a:lnTo>
                      <a:pt x="391" y="162"/>
                    </a:lnTo>
                    <a:close/>
                    <a:moveTo>
                      <a:pt x="403" y="138"/>
                    </a:moveTo>
                    <a:lnTo>
                      <a:pt x="401" y="138"/>
                    </a:lnTo>
                    <a:lnTo>
                      <a:pt x="401" y="136"/>
                    </a:lnTo>
                    <a:lnTo>
                      <a:pt x="401" y="134"/>
                    </a:lnTo>
                    <a:lnTo>
                      <a:pt x="403" y="134"/>
                    </a:lnTo>
                    <a:lnTo>
                      <a:pt x="403" y="136"/>
                    </a:lnTo>
                    <a:lnTo>
                      <a:pt x="403" y="138"/>
                    </a:lnTo>
                    <a:close/>
                    <a:moveTo>
                      <a:pt x="428" y="7"/>
                    </a:moveTo>
                    <a:lnTo>
                      <a:pt x="428" y="8"/>
                    </a:lnTo>
                    <a:lnTo>
                      <a:pt x="430" y="8"/>
                    </a:lnTo>
                    <a:lnTo>
                      <a:pt x="428" y="8"/>
                    </a:lnTo>
                    <a:lnTo>
                      <a:pt x="430" y="8"/>
                    </a:lnTo>
                    <a:lnTo>
                      <a:pt x="430" y="10"/>
                    </a:lnTo>
                    <a:lnTo>
                      <a:pt x="428" y="10"/>
                    </a:lnTo>
                    <a:lnTo>
                      <a:pt x="430" y="10"/>
                    </a:lnTo>
                    <a:lnTo>
                      <a:pt x="428" y="10"/>
                    </a:lnTo>
                    <a:lnTo>
                      <a:pt x="428" y="8"/>
                    </a:lnTo>
                    <a:lnTo>
                      <a:pt x="426" y="8"/>
                    </a:lnTo>
                    <a:lnTo>
                      <a:pt x="426" y="7"/>
                    </a:lnTo>
                    <a:lnTo>
                      <a:pt x="428" y="5"/>
                    </a:lnTo>
                    <a:lnTo>
                      <a:pt x="428" y="7"/>
                    </a:lnTo>
                    <a:close/>
                    <a:moveTo>
                      <a:pt x="392" y="160"/>
                    </a:moveTo>
                    <a:lnTo>
                      <a:pt x="392" y="162"/>
                    </a:lnTo>
                    <a:lnTo>
                      <a:pt x="392" y="163"/>
                    </a:lnTo>
                    <a:lnTo>
                      <a:pt x="391" y="163"/>
                    </a:lnTo>
                    <a:lnTo>
                      <a:pt x="391" y="162"/>
                    </a:lnTo>
                    <a:lnTo>
                      <a:pt x="391" y="160"/>
                    </a:lnTo>
                    <a:lnTo>
                      <a:pt x="392" y="160"/>
                    </a:lnTo>
                    <a:close/>
                    <a:moveTo>
                      <a:pt x="66" y="95"/>
                    </a:moveTo>
                    <a:lnTo>
                      <a:pt x="68" y="94"/>
                    </a:lnTo>
                    <a:lnTo>
                      <a:pt x="68" y="95"/>
                    </a:lnTo>
                    <a:lnTo>
                      <a:pt x="70" y="95"/>
                    </a:lnTo>
                    <a:lnTo>
                      <a:pt x="70" y="97"/>
                    </a:lnTo>
                    <a:lnTo>
                      <a:pt x="68" y="97"/>
                    </a:lnTo>
                    <a:lnTo>
                      <a:pt x="66" y="95"/>
                    </a:lnTo>
                    <a:lnTo>
                      <a:pt x="64" y="95"/>
                    </a:lnTo>
                    <a:lnTo>
                      <a:pt x="66" y="95"/>
                    </a:lnTo>
                    <a:lnTo>
                      <a:pt x="66" y="94"/>
                    </a:lnTo>
                    <a:lnTo>
                      <a:pt x="66" y="95"/>
                    </a:lnTo>
                    <a:close/>
                    <a:moveTo>
                      <a:pt x="30" y="27"/>
                    </a:moveTo>
                    <a:lnTo>
                      <a:pt x="32" y="29"/>
                    </a:lnTo>
                    <a:lnTo>
                      <a:pt x="32" y="31"/>
                    </a:lnTo>
                    <a:lnTo>
                      <a:pt x="30" y="31"/>
                    </a:lnTo>
                    <a:lnTo>
                      <a:pt x="30" y="29"/>
                    </a:lnTo>
                    <a:lnTo>
                      <a:pt x="30" y="27"/>
                    </a:lnTo>
                    <a:close/>
                    <a:moveTo>
                      <a:pt x="394" y="131"/>
                    </a:moveTo>
                    <a:lnTo>
                      <a:pt x="396" y="131"/>
                    </a:lnTo>
                    <a:lnTo>
                      <a:pt x="396" y="133"/>
                    </a:lnTo>
                    <a:lnTo>
                      <a:pt x="396" y="134"/>
                    </a:lnTo>
                    <a:lnTo>
                      <a:pt x="394" y="133"/>
                    </a:lnTo>
                    <a:lnTo>
                      <a:pt x="392" y="133"/>
                    </a:lnTo>
                    <a:lnTo>
                      <a:pt x="392" y="131"/>
                    </a:lnTo>
                    <a:lnTo>
                      <a:pt x="394" y="131"/>
                    </a:lnTo>
                    <a:close/>
                    <a:moveTo>
                      <a:pt x="391" y="145"/>
                    </a:moveTo>
                    <a:lnTo>
                      <a:pt x="392" y="145"/>
                    </a:lnTo>
                    <a:lnTo>
                      <a:pt x="392" y="148"/>
                    </a:lnTo>
                    <a:lnTo>
                      <a:pt x="391" y="148"/>
                    </a:lnTo>
                    <a:lnTo>
                      <a:pt x="391" y="145"/>
                    </a:lnTo>
                    <a:close/>
                    <a:moveTo>
                      <a:pt x="401" y="134"/>
                    </a:moveTo>
                    <a:lnTo>
                      <a:pt x="399" y="134"/>
                    </a:lnTo>
                    <a:lnTo>
                      <a:pt x="399" y="133"/>
                    </a:lnTo>
                    <a:lnTo>
                      <a:pt x="399" y="131"/>
                    </a:lnTo>
                    <a:lnTo>
                      <a:pt x="401" y="131"/>
                    </a:lnTo>
                    <a:lnTo>
                      <a:pt x="401" y="133"/>
                    </a:lnTo>
                    <a:lnTo>
                      <a:pt x="401" y="134"/>
                    </a:lnTo>
                    <a:close/>
                    <a:moveTo>
                      <a:pt x="386" y="162"/>
                    </a:moveTo>
                    <a:lnTo>
                      <a:pt x="386" y="163"/>
                    </a:lnTo>
                    <a:lnTo>
                      <a:pt x="387" y="163"/>
                    </a:lnTo>
                    <a:lnTo>
                      <a:pt x="387" y="165"/>
                    </a:lnTo>
                    <a:lnTo>
                      <a:pt x="386" y="165"/>
                    </a:lnTo>
                    <a:lnTo>
                      <a:pt x="386" y="163"/>
                    </a:lnTo>
                    <a:lnTo>
                      <a:pt x="386" y="162"/>
                    </a:lnTo>
                    <a:close/>
                    <a:moveTo>
                      <a:pt x="394" y="124"/>
                    </a:moveTo>
                    <a:lnTo>
                      <a:pt x="396" y="124"/>
                    </a:lnTo>
                    <a:lnTo>
                      <a:pt x="396" y="128"/>
                    </a:lnTo>
                    <a:lnTo>
                      <a:pt x="394" y="128"/>
                    </a:lnTo>
                    <a:lnTo>
                      <a:pt x="394" y="124"/>
                    </a:lnTo>
                    <a:close/>
                    <a:moveTo>
                      <a:pt x="432" y="0"/>
                    </a:moveTo>
                    <a:lnTo>
                      <a:pt x="433" y="0"/>
                    </a:lnTo>
                    <a:lnTo>
                      <a:pt x="433" y="2"/>
                    </a:lnTo>
                    <a:lnTo>
                      <a:pt x="432" y="2"/>
                    </a:lnTo>
                    <a:lnTo>
                      <a:pt x="432" y="0"/>
                    </a:lnTo>
                    <a:close/>
                    <a:moveTo>
                      <a:pt x="391" y="156"/>
                    </a:moveTo>
                    <a:lnTo>
                      <a:pt x="394" y="156"/>
                    </a:lnTo>
                    <a:lnTo>
                      <a:pt x="394" y="160"/>
                    </a:lnTo>
                    <a:lnTo>
                      <a:pt x="391" y="160"/>
                    </a:lnTo>
                    <a:lnTo>
                      <a:pt x="391" y="156"/>
                    </a:lnTo>
                    <a:close/>
                    <a:moveTo>
                      <a:pt x="46" y="63"/>
                    </a:moveTo>
                    <a:lnTo>
                      <a:pt x="47" y="63"/>
                    </a:lnTo>
                    <a:lnTo>
                      <a:pt x="47" y="65"/>
                    </a:lnTo>
                    <a:lnTo>
                      <a:pt x="46" y="65"/>
                    </a:lnTo>
                    <a:lnTo>
                      <a:pt x="46" y="63"/>
                    </a:lnTo>
                    <a:close/>
                    <a:moveTo>
                      <a:pt x="53" y="77"/>
                    </a:moveTo>
                    <a:lnTo>
                      <a:pt x="56" y="77"/>
                    </a:lnTo>
                    <a:lnTo>
                      <a:pt x="53" y="77"/>
                    </a:lnTo>
                    <a:close/>
                    <a:moveTo>
                      <a:pt x="394" y="138"/>
                    </a:moveTo>
                    <a:lnTo>
                      <a:pt x="396" y="138"/>
                    </a:lnTo>
                    <a:lnTo>
                      <a:pt x="396" y="139"/>
                    </a:lnTo>
                    <a:lnTo>
                      <a:pt x="394" y="139"/>
                    </a:lnTo>
                    <a:lnTo>
                      <a:pt x="394" y="138"/>
                    </a:lnTo>
                    <a:close/>
                    <a:moveTo>
                      <a:pt x="398" y="122"/>
                    </a:moveTo>
                    <a:lnTo>
                      <a:pt x="399" y="122"/>
                    </a:lnTo>
                    <a:lnTo>
                      <a:pt x="399" y="124"/>
                    </a:lnTo>
                    <a:lnTo>
                      <a:pt x="398" y="124"/>
                    </a:lnTo>
                    <a:lnTo>
                      <a:pt x="398" y="122"/>
                    </a:lnTo>
                    <a:close/>
                    <a:moveTo>
                      <a:pt x="384" y="162"/>
                    </a:moveTo>
                    <a:lnTo>
                      <a:pt x="386" y="162"/>
                    </a:lnTo>
                    <a:lnTo>
                      <a:pt x="386" y="165"/>
                    </a:lnTo>
                    <a:lnTo>
                      <a:pt x="384" y="165"/>
                    </a:lnTo>
                    <a:lnTo>
                      <a:pt x="384" y="162"/>
                    </a:lnTo>
                    <a:close/>
                    <a:moveTo>
                      <a:pt x="394" y="131"/>
                    </a:moveTo>
                    <a:lnTo>
                      <a:pt x="396" y="131"/>
                    </a:lnTo>
                    <a:lnTo>
                      <a:pt x="394" y="131"/>
                    </a:lnTo>
                    <a:close/>
                    <a:moveTo>
                      <a:pt x="391" y="129"/>
                    </a:moveTo>
                    <a:lnTo>
                      <a:pt x="392" y="129"/>
                    </a:lnTo>
                    <a:lnTo>
                      <a:pt x="392" y="133"/>
                    </a:lnTo>
                    <a:lnTo>
                      <a:pt x="391" y="133"/>
                    </a:lnTo>
                    <a:lnTo>
                      <a:pt x="391" y="129"/>
                    </a:lnTo>
                    <a:close/>
                    <a:moveTo>
                      <a:pt x="34" y="68"/>
                    </a:moveTo>
                    <a:lnTo>
                      <a:pt x="34" y="70"/>
                    </a:lnTo>
                    <a:lnTo>
                      <a:pt x="34" y="68"/>
                    </a:lnTo>
                    <a:close/>
                    <a:moveTo>
                      <a:pt x="392" y="129"/>
                    </a:moveTo>
                    <a:lnTo>
                      <a:pt x="394" y="129"/>
                    </a:lnTo>
                    <a:lnTo>
                      <a:pt x="394" y="131"/>
                    </a:lnTo>
                    <a:lnTo>
                      <a:pt x="392" y="131"/>
                    </a:lnTo>
                    <a:lnTo>
                      <a:pt x="392" y="129"/>
                    </a:lnTo>
                    <a:close/>
                    <a:moveTo>
                      <a:pt x="396" y="128"/>
                    </a:moveTo>
                    <a:lnTo>
                      <a:pt x="396" y="129"/>
                    </a:lnTo>
                    <a:lnTo>
                      <a:pt x="396" y="128"/>
                    </a:lnTo>
                    <a:close/>
                    <a:moveTo>
                      <a:pt x="387" y="162"/>
                    </a:moveTo>
                    <a:lnTo>
                      <a:pt x="389" y="162"/>
                    </a:lnTo>
                    <a:lnTo>
                      <a:pt x="389" y="163"/>
                    </a:lnTo>
                    <a:lnTo>
                      <a:pt x="387" y="163"/>
                    </a:lnTo>
                    <a:lnTo>
                      <a:pt x="387" y="162"/>
                    </a:lnTo>
                    <a:close/>
                    <a:moveTo>
                      <a:pt x="396" y="131"/>
                    </a:moveTo>
                    <a:lnTo>
                      <a:pt x="398" y="131"/>
                    </a:lnTo>
                    <a:lnTo>
                      <a:pt x="398" y="133"/>
                    </a:lnTo>
                    <a:lnTo>
                      <a:pt x="396" y="133"/>
                    </a:lnTo>
                    <a:lnTo>
                      <a:pt x="396" y="131"/>
                    </a:lnTo>
                    <a:close/>
                    <a:moveTo>
                      <a:pt x="392" y="136"/>
                    </a:moveTo>
                    <a:lnTo>
                      <a:pt x="396" y="136"/>
                    </a:lnTo>
                    <a:lnTo>
                      <a:pt x="396" y="138"/>
                    </a:lnTo>
                    <a:lnTo>
                      <a:pt x="392" y="138"/>
                    </a:lnTo>
                    <a:lnTo>
                      <a:pt x="392" y="136"/>
                    </a:lnTo>
                    <a:close/>
                    <a:moveTo>
                      <a:pt x="58" y="37"/>
                    </a:moveTo>
                    <a:lnTo>
                      <a:pt x="58" y="39"/>
                    </a:lnTo>
                    <a:lnTo>
                      <a:pt x="58" y="37"/>
                    </a:lnTo>
                    <a:close/>
                    <a:moveTo>
                      <a:pt x="394" y="128"/>
                    </a:moveTo>
                    <a:lnTo>
                      <a:pt x="396" y="128"/>
                    </a:lnTo>
                    <a:lnTo>
                      <a:pt x="396" y="129"/>
                    </a:lnTo>
                    <a:lnTo>
                      <a:pt x="394" y="129"/>
                    </a:lnTo>
                    <a:lnTo>
                      <a:pt x="394" y="128"/>
                    </a:lnTo>
                    <a:close/>
                    <a:moveTo>
                      <a:pt x="392" y="36"/>
                    </a:moveTo>
                    <a:lnTo>
                      <a:pt x="394" y="36"/>
                    </a:lnTo>
                    <a:lnTo>
                      <a:pt x="392" y="36"/>
                    </a:lnTo>
                    <a:close/>
                    <a:moveTo>
                      <a:pt x="394" y="41"/>
                    </a:moveTo>
                    <a:lnTo>
                      <a:pt x="396" y="41"/>
                    </a:lnTo>
                    <a:lnTo>
                      <a:pt x="396" y="43"/>
                    </a:lnTo>
                    <a:lnTo>
                      <a:pt x="394" y="43"/>
                    </a:lnTo>
                    <a:lnTo>
                      <a:pt x="394" y="41"/>
                    </a:lnTo>
                    <a:close/>
                    <a:moveTo>
                      <a:pt x="392" y="136"/>
                    </a:moveTo>
                    <a:lnTo>
                      <a:pt x="392" y="138"/>
                    </a:lnTo>
                    <a:lnTo>
                      <a:pt x="392" y="136"/>
                    </a:lnTo>
                    <a:close/>
                    <a:moveTo>
                      <a:pt x="391" y="146"/>
                    </a:moveTo>
                    <a:lnTo>
                      <a:pt x="391" y="148"/>
                    </a:lnTo>
                    <a:lnTo>
                      <a:pt x="391" y="146"/>
                    </a:lnTo>
                    <a:close/>
                    <a:moveTo>
                      <a:pt x="396" y="129"/>
                    </a:moveTo>
                    <a:lnTo>
                      <a:pt x="398" y="129"/>
                    </a:lnTo>
                    <a:lnTo>
                      <a:pt x="398" y="131"/>
                    </a:lnTo>
                    <a:lnTo>
                      <a:pt x="396" y="131"/>
                    </a:lnTo>
                    <a:lnTo>
                      <a:pt x="396" y="129"/>
                    </a:lnTo>
                    <a:close/>
                    <a:moveTo>
                      <a:pt x="394" y="129"/>
                    </a:moveTo>
                    <a:lnTo>
                      <a:pt x="396" y="129"/>
                    </a:lnTo>
                    <a:lnTo>
                      <a:pt x="396" y="131"/>
                    </a:lnTo>
                    <a:lnTo>
                      <a:pt x="394" y="131"/>
                    </a:lnTo>
                    <a:lnTo>
                      <a:pt x="394" y="129"/>
                    </a:lnTo>
                    <a:close/>
                    <a:moveTo>
                      <a:pt x="391" y="146"/>
                    </a:moveTo>
                    <a:lnTo>
                      <a:pt x="391" y="148"/>
                    </a:lnTo>
                    <a:lnTo>
                      <a:pt x="391" y="146"/>
                    </a:lnTo>
                    <a:close/>
                    <a:moveTo>
                      <a:pt x="389" y="145"/>
                    </a:moveTo>
                    <a:lnTo>
                      <a:pt x="391" y="145"/>
                    </a:lnTo>
                    <a:lnTo>
                      <a:pt x="391" y="146"/>
                    </a:lnTo>
                    <a:lnTo>
                      <a:pt x="389" y="146"/>
                    </a:lnTo>
                    <a:lnTo>
                      <a:pt x="389" y="145"/>
                    </a:lnTo>
                    <a:close/>
                    <a:moveTo>
                      <a:pt x="357" y="92"/>
                    </a:moveTo>
                    <a:lnTo>
                      <a:pt x="359" y="92"/>
                    </a:lnTo>
                    <a:lnTo>
                      <a:pt x="357" y="92"/>
                    </a:lnTo>
                    <a:close/>
                    <a:moveTo>
                      <a:pt x="389" y="145"/>
                    </a:moveTo>
                    <a:lnTo>
                      <a:pt x="389" y="146"/>
                    </a:lnTo>
                    <a:lnTo>
                      <a:pt x="389" y="145"/>
                    </a:lnTo>
                    <a:close/>
                    <a:moveTo>
                      <a:pt x="396" y="131"/>
                    </a:moveTo>
                    <a:lnTo>
                      <a:pt x="398" y="131"/>
                    </a:lnTo>
                    <a:lnTo>
                      <a:pt x="396" y="131"/>
                    </a:lnTo>
                    <a:close/>
                    <a:moveTo>
                      <a:pt x="433" y="0"/>
                    </a:moveTo>
                    <a:lnTo>
                      <a:pt x="433" y="2"/>
                    </a:lnTo>
                    <a:lnTo>
                      <a:pt x="433" y="0"/>
                    </a:lnTo>
                    <a:close/>
                    <a:moveTo>
                      <a:pt x="391" y="34"/>
                    </a:moveTo>
                    <a:lnTo>
                      <a:pt x="392" y="34"/>
                    </a:lnTo>
                    <a:lnTo>
                      <a:pt x="391" y="34"/>
                    </a:lnTo>
                    <a:close/>
                    <a:moveTo>
                      <a:pt x="396" y="129"/>
                    </a:moveTo>
                    <a:lnTo>
                      <a:pt x="398" y="129"/>
                    </a:lnTo>
                    <a:lnTo>
                      <a:pt x="396" y="129"/>
                    </a:lnTo>
                    <a:close/>
                    <a:moveTo>
                      <a:pt x="391" y="134"/>
                    </a:moveTo>
                    <a:lnTo>
                      <a:pt x="392" y="134"/>
                    </a:lnTo>
                    <a:lnTo>
                      <a:pt x="392" y="136"/>
                    </a:lnTo>
                    <a:lnTo>
                      <a:pt x="391" y="136"/>
                    </a:lnTo>
                    <a:lnTo>
                      <a:pt x="391" y="134"/>
                    </a:lnTo>
                    <a:close/>
                    <a:moveTo>
                      <a:pt x="399" y="134"/>
                    </a:moveTo>
                    <a:lnTo>
                      <a:pt x="401" y="134"/>
                    </a:lnTo>
                    <a:lnTo>
                      <a:pt x="399" y="134"/>
                    </a:lnTo>
                    <a:close/>
                    <a:moveTo>
                      <a:pt x="428" y="8"/>
                    </a:moveTo>
                    <a:lnTo>
                      <a:pt x="428" y="10"/>
                    </a:lnTo>
                    <a:lnTo>
                      <a:pt x="428" y="8"/>
                    </a:lnTo>
                    <a:close/>
                    <a:moveTo>
                      <a:pt x="386" y="163"/>
                    </a:moveTo>
                    <a:lnTo>
                      <a:pt x="386" y="165"/>
                    </a:lnTo>
                    <a:lnTo>
                      <a:pt x="386" y="163"/>
                    </a:lnTo>
                    <a:close/>
                    <a:moveTo>
                      <a:pt x="46" y="61"/>
                    </a:moveTo>
                    <a:lnTo>
                      <a:pt x="47" y="61"/>
                    </a:lnTo>
                    <a:lnTo>
                      <a:pt x="47" y="63"/>
                    </a:lnTo>
                    <a:lnTo>
                      <a:pt x="46" y="63"/>
                    </a:lnTo>
                    <a:lnTo>
                      <a:pt x="46" y="61"/>
                    </a:lnTo>
                    <a:close/>
                    <a:moveTo>
                      <a:pt x="396" y="129"/>
                    </a:moveTo>
                    <a:lnTo>
                      <a:pt x="396" y="131"/>
                    </a:lnTo>
                    <a:lnTo>
                      <a:pt x="396" y="129"/>
                    </a:lnTo>
                    <a:close/>
                    <a:moveTo>
                      <a:pt x="433" y="0"/>
                    </a:moveTo>
                    <a:lnTo>
                      <a:pt x="433" y="2"/>
                    </a:lnTo>
                    <a:lnTo>
                      <a:pt x="433" y="0"/>
                    </a:lnTo>
                    <a:close/>
                    <a:moveTo>
                      <a:pt x="387" y="138"/>
                    </a:moveTo>
                    <a:lnTo>
                      <a:pt x="387" y="139"/>
                    </a:lnTo>
                    <a:lnTo>
                      <a:pt x="387" y="138"/>
                    </a:lnTo>
                    <a:close/>
                    <a:moveTo>
                      <a:pt x="396" y="128"/>
                    </a:moveTo>
                    <a:lnTo>
                      <a:pt x="396" y="129"/>
                    </a:lnTo>
                    <a:lnTo>
                      <a:pt x="396" y="128"/>
                    </a:lnTo>
                    <a:close/>
                    <a:moveTo>
                      <a:pt x="386" y="165"/>
                    </a:moveTo>
                    <a:lnTo>
                      <a:pt x="387" y="165"/>
                    </a:lnTo>
                    <a:lnTo>
                      <a:pt x="386" y="165"/>
                    </a:lnTo>
                    <a:close/>
                    <a:moveTo>
                      <a:pt x="384" y="163"/>
                    </a:moveTo>
                    <a:lnTo>
                      <a:pt x="386" y="163"/>
                    </a:lnTo>
                    <a:lnTo>
                      <a:pt x="384" y="16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5" name="Freeform 30">
                <a:extLst>
                  <a:ext uri="{FF2B5EF4-FFF2-40B4-BE49-F238E27FC236}">
                    <a16:creationId xmlns:a16="http://schemas.microsoft.com/office/drawing/2014/main" id="{41ACF91B-6F42-C8E4-FBF3-A3FE18193B8B}"/>
                  </a:ext>
                </a:extLst>
              </p:cNvPr>
              <p:cNvSpPr>
                <a:spLocks noEditPoints="1"/>
              </p:cNvSpPr>
              <p:nvPr/>
            </p:nvSpPr>
            <p:spPr bwMode="auto">
              <a:xfrm>
                <a:off x="5769926" y="3536912"/>
                <a:ext cx="36127" cy="23204"/>
              </a:xfrm>
              <a:custGeom>
                <a:avLst/>
                <a:gdLst>
                  <a:gd name="T0" fmla="*/ 102 w 123"/>
                  <a:gd name="T1" fmla="*/ 21 h 79"/>
                  <a:gd name="T2" fmla="*/ 92 w 123"/>
                  <a:gd name="T3" fmla="*/ 24 h 79"/>
                  <a:gd name="T4" fmla="*/ 102 w 123"/>
                  <a:gd name="T5" fmla="*/ 33 h 79"/>
                  <a:gd name="T6" fmla="*/ 107 w 123"/>
                  <a:gd name="T7" fmla="*/ 27 h 79"/>
                  <a:gd name="T8" fmla="*/ 117 w 123"/>
                  <a:gd name="T9" fmla="*/ 21 h 79"/>
                  <a:gd name="T10" fmla="*/ 112 w 123"/>
                  <a:gd name="T11" fmla="*/ 29 h 79"/>
                  <a:gd name="T12" fmla="*/ 116 w 123"/>
                  <a:gd name="T13" fmla="*/ 36 h 79"/>
                  <a:gd name="T14" fmla="*/ 114 w 123"/>
                  <a:gd name="T15" fmla="*/ 39 h 79"/>
                  <a:gd name="T16" fmla="*/ 106 w 123"/>
                  <a:gd name="T17" fmla="*/ 43 h 79"/>
                  <a:gd name="T18" fmla="*/ 97 w 123"/>
                  <a:gd name="T19" fmla="*/ 50 h 79"/>
                  <a:gd name="T20" fmla="*/ 80 w 123"/>
                  <a:gd name="T21" fmla="*/ 43 h 79"/>
                  <a:gd name="T22" fmla="*/ 87 w 123"/>
                  <a:gd name="T23" fmla="*/ 51 h 79"/>
                  <a:gd name="T24" fmla="*/ 87 w 123"/>
                  <a:gd name="T25" fmla="*/ 56 h 79"/>
                  <a:gd name="T26" fmla="*/ 68 w 123"/>
                  <a:gd name="T27" fmla="*/ 55 h 79"/>
                  <a:gd name="T28" fmla="*/ 77 w 123"/>
                  <a:gd name="T29" fmla="*/ 62 h 79"/>
                  <a:gd name="T30" fmla="*/ 66 w 123"/>
                  <a:gd name="T31" fmla="*/ 60 h 79"/>
                  <a:gd name="T32" fmla="*/ 66 w 123"/>
                  <a:gd name="T33" fmla="*/ 70 h 79"/>
                  <a:gd name="T34" fmla="*/ 58 w 123"/>
                  <a:gd name="T35" fmla="*/ 65 h 79"/>
                  <a:gd name="T36" fmla="*/ 61 w 123"/>
                  <a:gd name="T37" fmla="*/ 53 h 79"/>
                  <a:gd name="T38" fmla="*/ 65 w 123"/>
                  <a:gd name="T39" fmla="*/ 46 h 79"/>
                  <a:gd name="T40" fmla="*/ 78 w 123"/>
                  <a:gd name="T41" fmla="*/ 43 h 79"/>
                  <a:gd name="T42" fmla="*/ 75 w 123"/>
                  <a:gd name="T43" fmla="*/ 27 h 79"/>
                  <a:gd name="T44" fmla="*/ 77 w 123"/>
                  <a:gd name="T45" fmla="*/ 22 h 79"/>
                  <a:gd name="T46" fmla="*/ 70 w 123"/>
                  <a:gd name="T47" fmla="*/ 24 h 79"/>
                  <a:gd name="T48" fmla="*/ 66 w 123"/>
                  <a:gd name="T49" fmla="*/ 33 h 79"/>
                  <a:gd name="T50" fmla="*/ 55 w 123"/>
                  <a:gd name="T51" fmla="*/ 43 h 79"/>
                  <a:gd name="T52" fmla="*/ 41 w 123"/>
                  <a:gd name="T53" fmla="*/ 55 h 79"/>
                  <a:gd name="T54" fmla="*/ 38 w 123"/>
                  <a:gd name="T55" fmla="*/ 58 h 79"/>
                  <a:gd name="T56" fmla="*/ 31 w 123"/>
                  <a:gd name="T57" fmla="*/ 62 h 79"/>
                  <a:gd name="T58" fmla="*/ 22 w 123"/>
                  <a:gd name="T59" fmla="*/ 65 h 79"/>
                  <a:gd name="T60" fmla="*/ 21 w 123"/>
                  <a:gd name="T61" fmla="*/ 63 h 79"/>
                  <a:gd name="T62" fmla="*/ 19 w 123"/>
                  <a:gd name="T63" fmla="*/ 56 h 79"/>
                  <a:gd name="T64" fmla="*/ 22 w 123"/>
                  <a:gd name="T65" fmla="*/ 56 h 79"/>
                  <a:gd name="T66" fmla="*/ 29 w 123"/>
                  <a:gd name="T67" fmla="*/ 51 h 79"/>
                  <a:gd name="T68" fmla="*/ 32 w 123"/>
                  <a:gd name="T69" fmla="*/ 45 h 79"/>
                  <a:gd name="T70" fmla="*/ 36 w 123"/>
                  <a:gd name="T71" fmla="*/ 39 h 79"/>
                  <a:gd name="T72" fmla="*/ 34 w 123"/>
                  <a:gd name="T73" fmla="*/ 36 h 79"/>
                  <a:gd name="T74" fmla="*/ 34 w 123"/>
                  <a:gd name="T75" fmla="*/ 29 h 79"/>
                  <a:gd name="T76" fmla="*/ 24 w 123"/>
                  <a:gd name="T77" fmla="*/ 19 h 79"/>
                  <a:gd name="T78" fmla="*/ 43 w 123"/>
                  <a:gd name="T79" fmla="*/ 22 h 79"/>
                  <a:gd name="T80" fmla="*/ 51 w 123"/>
                  <a:gd name="T81" fmla="*/ 22 h 79"/>
                  <a:gd name="T82" fmla="*/ 63 w 123"/>
                  <a:gd name="T83" fmla="*/ 24 h 79"/>
                  <a:gd name="T84" fmla="*/ 15 w 123"/>
                  <a:gd name="T85" fmla="*/ 50 h 79"/>
                  <a:gd name="T86" fmla="*/ 14 w 123"/>
                  <a:gd name="T87" fmla="*/ 43 h 79"/>
                  <a:gd name="T88" fmla="*/ 43 w 123"/>
                  <a:gd name="T89" fmla="*/ 17 h 79"/>
                  <a:gd name="T90" fmla="*/ 34 w 123"/>
                  <a:gd name="T91" fmla="*/ 14 h 79"/>
                  <a:gd name="T92" fmla="*/ 55 w 123"/>
                  <a:gd name="T93" fmla="*/ 16 h 79"/>
                  <a:gd name="T94" fmla="*/ 99 w 123"/>
                  <a:gd name="T95" fmla="*/ 53 h 79"/>
                  <a:gd name="T96" fmla="*/ 48 w 123"/>
                  <a:gd name="T97" fmla="*/ 19 h 79"/>
                  <a:gd name="T98" fmla="*/ 55 w 123"/>
                  <a:gd name="T99" fmla="*/ 73 h 79"/>
                  <a:gd name="T100" fmla="*/ 4 w 123"/>
                  <a:gd name="T101" fmla="*/ 38 h 79"/>
                  <a:gd name="T102" fmla="*/ 53 w 123"/>
                  <a:gd name="T103" fmla="*/ 17 h 79"/>
                  <a:gd name="T104" fmla="*/ 58 w 123"/>
                  <a:gd name="T105" fmla="*/ 41 h 79"/>
                  <a:gd name="T106" fmla="*/ 56 w 123"/>
                  <a:gd name="T107" fmla="*/ 22 h 79"/>
                  <a:gd name="T108" fmla="*/ 60 w 123"/>
                  <a:gd name="T109" fmla="*/ 19 h 79"/>
                  <a:gd name="T110" fmla="*/ 17 w 123"/>
                  <a:gd name="T111" fmla="*/ 10 h 79"/>
                  <a:gd name="T112" fmla="*/ 17 w 123"/>
                  <a:gd name="T113" fmla="*/ 5 h 79"/>
                  <a:gd name="T114" fmla="*/ 17 w 123"/>
                  <a:gd name="T115" fmla="*/ 7 h 79"/>
                  <a:gd name="T116" fmla="*/ 21 w 123"/>
                  <a:gd name="T117" fmla="*/ 26 h 79"/>
                  <a:gd name="T118" fmla="*/ 17 w 123"/>
                  <a:gd name="T119" fmla="*/ 31 h 79"/>
                  <a:gd name="T120" fmla="*/ 41 w 123"/>
                  <a:gd name="T121" fmla="*/ 22 h 79"/>
                  <a:gd name="T122" fmla="*/ 29 w 123"/>
                  <a:gd name="T123" fmla="*/ 17 h 79"/>
                  <a:gd name="T124" fmla="*/ 55 w 123"/>
                  <a:gd name="T125" fmla="*/ 4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3" h="79">
                    <a:moveTo>
                      <a:pt x="80" y="12"/>
                    </a:moveTo>
                    <a:lnTo>
                      <a:pt x="82" y="12"/>
                    </a:lnTo>
                    <a:lnTo>
                      <a:pt x="82" y="14"/>
                    </a:lnTo>
                    <a:lnTo>
                      <a:pt x="83" y="14"/>
                    </a:lnTo>
                    <a:lnTo>
                      <a:pt x="83" y="16"/>
                    </a:lnTo>
                    <a:lnTo>
                      <a:pt x="85" y="16"/>
                    </a:lnTo>
                    <a:lnTo>
                      <a:pt x="87" y="16"/>
                    </a:lnTo>
                    <a:lnTo>
                      <a:pt x="87" y="17"/>
                    </a:lnTo>
                    <a:lnTo>
                      <a:pt x="89" y="17"/>
                    </a:lnTo>
                    <a:lnTo>
                      <a:pt x="90" y="17"/>
                    </a:lnTo>
                    <a:lnTo>
                      <a:pt x="92" y="17"/>
                    </a:lnTo>
                    <a:lnTo>
                      <a:pt x="92" y="19"/>
                    </a:lnTo>
                    <a:lnTo>
                      <a:pt x="94" y="19"/>
                    </a:lnTo>
                    <a:lnTo>
                      <a:pt x="94" y="17"/>
                    </a:lnTo>
                    <a:lnTo>
                      <a:pt x="92" y="19"/>
                    </a:lnTo>
                    <a:lnTo>
                      <a:pt x="92" y="17"/>
                    </a:lnTo>
                    <a:lnTo>
                      <a:pt x="94" y="16"/>
                    </a:lnTo>
                    <a:lnTo>
                      <a:pt x="95" y="16"/>
                    </a:lnTo>
                    <a:lnTo>
                      <a:pt x="97" y="16"/>
                    </a:lnTo>
                    <a:lnTo>
                      <a:pt x="97" y="17"/>
                    </a:lnTo>
                    <a:lnTo>
                      <a:pt x="99" y="17"/>
                    </a:lnTo>
                    <a:lnTo>
                      <a:pt x="100" y="17"/>
                    </a:lnTo>
                    <a:lnTo>
                      <a:pt x="100" y="19"/>
                    </a:lnTo>
                    <a:lnTo>
                      <a:pt x="102" y="19"/>
                    </a:lnTo>
                    <a:lnTo>
                      <a:pt x="102" y="21"/>
                    </a:lnTo>
                    <a:lnTo>
                      <a:pt x="100" y="21"/>
                    </a:lnTo>
                    <a:lnTo>
                      <a:pt x="102" y="21"/>
                    </a:lnTo>
                    <a:lnTo>
                      <a:pt x="102" y="22"/>
                    </a:lnTo>
                    <a:lnTo>
                      <a:pt x="100" y="22"/>
                    </a:lnTo>
                    <a:lnTo>
                      <a:pt x="102" y="22"/>
                    </a:lnTo>
                    <a:lnTo>
                      <a:pt x="102" y="24"/>
                    </a:lnTo>
                    <a:lnTo>
                      <a:pt x="100" y="24"/>
                    </a:lnTo>
                    <a:lnTo>
                      <a:pt x="100" y="22"/>
                    </a:lnTo>
                    <a:lnTo>
                      <a:pt x="100" y="24"/>
                    </a:lnTo>
                    <a:lnTo>
                      <a:pt x="99" y="24"/>
                    </a:lnTo>
                    <a:lnTo>
                      <a:pt x="97" y="24"/>
                    </a:lnTo>
                    <a:lnTo>
                      <a:pt x="97" y="22"/>
                    </a:lnTo>
                    <a:lnTo>
                      <a:pt x="97" y="21"/>
                    </a:lnTo>
                    <a:lnTo>
                      <a:pt x="97" y="22"/>
                    </a:lnTo>
                    <a:lnTo>
                      <a:pt x="95" y="22"/>
                    </a:lnTo>
                    <a:lnTo>
                      <a:pt x="95" y="21"/>
                    </a:lnTo>
                    <a:lnTo>
                      <a:pt x="97" y="21"/>
                    </a:lnTo>
                    <a:lnTo>
                      <a:pt x="95" y="21"/>
                    </a:lnTo>
                    <a:lnTo>
                      <a:pt x="95" y="22"/>
                    </a:lnTo>
                    <a:lnTo>
                      <a:pt x="94" y="22"/>
                    </a:lnTo>
                    <a:lnTo>
                      <a:pt x="94" y="24"/>
                    </a:lnTo>
                    <a:lnTo>
                      <a:pt x="94" y="22"/>
                    </a:lnTo>
                    <a:lnTo>
                      <a:pt x="95" y="22"/>
                    </a:lnTo>
                    <a:lnTo>
                      <a:pt x="94" y="24"/>
                    </a:lnTo>
                    <a:lnTo>
                      <a:pt x="92" y="24"/>
                    </a:lnTo>
                    <a:lnTo>
                      <a:pt x="94" y="24"/>
                    </a:lnTo>
                    <a:lnTo>
                      <a:pt x="95" y="22"/>
                    </a:lnTo>
                    <a:lnTo>
                      <a:pt x="95" y="24"/>
                    </a:lnTo>
                    <a:lnTo>
                      <a:pt x="95" y="22"/>
                    </a:lnTo>
                    <a:lnTo>
                      <a:pt x="97" y="24"/>
                    </a:lnTo>
                    <a:lnTo>
                      <a:pt x="95" y="24"/>
                    </a:lnTo>
                    <a:lnTo>
                      <a:pt x="95" y="26"/>
                    </a:lnTo>
                    <a:lnTo>
                      <a:pt x="95" y="27"/>
                    </a:lnTo>
                    <a:lnTo>
                      <a:pt x="95" y="26"/>
                    </a:lnTo>
                    <a:lnTo>
                      <a:pt x="97" y="24"/>
                    </a:lnTo>
                    <a:lnTo>
                      <a:pt x="97" y="26"/>
                    </a:lnTo>
                    <a:lnTo>
                      <a:pt x="99" y="26"/>
                    </a:lnTo>
                    <a:lnTo>
                      <a:pt x="99" y="24"/>
                    </a:lnTo>
                    <a:lnTo>
                      <a:pt x="99" y="26"/>
                    </a:lnTo>
                    <a:lnTo>
                      <a:pt x="99" y="27"/>
                    </a:lnTo>
                    <a:lnTo>
                      <a:pt x="99" y="29"/>
                    </a:lnTo>
                    <a:lnTo>
                      <a:pt x="100" y="27"/>
                    </a:lnTo>
                    <a:lnTo>
                      <a:pt x="100" y="29"/>
                    </a:lnTo>
                    <a:lnTo>
                      <a:pt x="100" y="31"/>
                    </a:lnTo>
                    <a:lnTo>
                      <a:pt x="100" y="29"/>
                    </a:lnTo>
                    <a:lnTo>
                      <a:pt x="102" y="31"/>
                    </a:lnTo>
                    <a:lnTo>
                      <a:pt x="102" y="29"/>
                    </a:lnTo>
                    <a:lnTo>
                      <a:pt x="104" y="29"/>
                    </a:lnTo>
                    <a:lnTo>
                      <a:pt x="104" y="31"/>
                    </a:lnTo>
                    <a:lnTo>
                      <a:pt x="102" y="33"/>
                    </a:lnTo>
                    <a:lnTo>
                      <a:pt x="104" y="33"/>
                    </a:lnTo>
                    <a:lnTo>
                      <a:pt x="106" y="33"/>
                    </a:lnTo>
                    <a:lnTo>
                      <a:pt x="104" y="33"/>
                    </a:lnTo>
                    <a:lnTo>
                      <a:pt x="104" y="34"/>
                    </a:lnTo>
                    <a:lnTo>
                      <a:pt x="106" y="34"/>
                    </a:lnTo>
                    <a:lnTo>
                      <a:pt x="104" y="34"/>
                    </a:lnTo>
                    <a:lnTo>
                      <a:pt x="106" y="34"/>
                    </a:lnTo>
                    <a:lnTo>
                      <a:pt x="106" y="33"/>
                    </a:lnTo>
                    <a:lnTo>
                      <a:pt x="106" y="34"/>
                    </a:lnTo>
                    <a:lnTo>
                      <a:pt x="106" y="36"/>
                    </a:lnTo>
                    <a:lnTo>
                      <a:pt x="106" y="34"/>
                    </a:lnTo>
                    <a:lnTo>
                      <a:pt x="107" y="34"/>
                    </a:lnTo>
                    <a:lnTo>
                      <a:pt x="106" y="34"/>
                    </a:lnTo>
                    <a:lnTo>
                      <a:pt x="106" y="33"/>
                    </a:lnTo>
                    <a:lnTo>
                      <a:pt x="104" y="33"/>
                    </a:lnTo>
                    <a:lnTo>
                      <a:pt x="106" y="31"/>
                    </a:lnTo>
                    <a:lnTo>
                      <a:pt x="107" y="33"/>
                    </a:lnTo>
                    <a:lnTo>
                      <a:pt x="109" y="33"/>
                    </a:lnTo>
                    <a:lnTo>
                      <a:pt x="107" y="33"/>
                    </a:lnTo>
                    <a:lnTo>
                      <a:pt x="106" y="31"/>
                    </a:lnTo>
                    <a:lnTo>
                      <a:pt x="107" y="31"/>
                    </a:lnTo>
                    <a:lnTo>
                      <a:pt x="106" y="31"/>
                    </a:lnTo>
                    <a:lnTo>
                      <a:pt x="104" y="29"/>
                    </a:lnTo>
                    <a:lnTo>
                      <a:pt x="106" y="29"/>
                    </a:lnTo>
                    <a:lnTo>
                      <a:pt x="107" y="27"/>
                    </a:lnTo>
                    <a:lnTo>
                      <a:pt x="106" y="27"/>
                    </a:lnTo>
                    <a:lnTo>
                      <a:pt x="106" y="29"/>
                    </a:lnTo>
                    <a:lnTo>
                      <a:pt x="104" y="29"/>
                    </a:lnTo>
                    <a:lnTo>
                      <a:pt x="104" y="27"/>
                    </a:lnTo>
                    <a:lnTo>
                      <a:pt x="104" y="26"/>
                    </a:lnTo>
                    <a:lnTo>
                      <a:pt x="102" y="27"/>
                    </a:lnTo>
                    <a:lnTo>
                      <a:pt x="100" y="27"/>
                    </a:lnTo>
                    <a:lnTo>
                      <a:pt x="100" y="26"/>
                    </a:lnTo>
                    <a:lnTo>
                      <a:pt x="102" y="26"/>
                    </a:lnTo>
                    <a:lnTo>
                      <a:pt x="100" y="26"/>
                    </a:lnTo>
                    <a:lnTo>
                      <a:pt x="102" y="26"/>
                    </a:lnTo>
                    <a:lnTo>
                      <a:pt x="102" y="24"/>
                    </a:lnTo>
                    <a:lnTo>
                      <a:pt x="104" y="22"/>
                    </a:lnTo>
                    <a:lnTo>
                      <a:pt x="104" y="21"/>
                    </a:lnTo>
                    <a:lnTo>
                      <a:pt x="106" y="21"/>
                    </a:lnTo>
                    <a:lnTo>
                      <a:pt x="107" y="21"/>
                    </a:lnTo>
                    <a:lnTo>
                      <a:pt x="109" y="21"/>
                    </a:lnTo>
                    <a:lnTo>
                      <a:pt x="111" y="21"/>
                    </a:lnTo>
                    <a:lnTo>
                      <a:pt x="111" y="19"/>
                    </a:lnTo>
                    <a:lnTo>
                      <a:pt x="111" y="21"/>
                    </a:lnTo>
                    <a:lnTo>
                      <a:pt x="112" y="21"/>
                    </a:lnTo>
                    <a:lnTo>
                      <a:pt x="114" y="19"/>
                    </a:lnTo>
                    <a:lnTo>
                      <a:pt x="116" y="19"/>
                    </a:lnTo>
                    <a:lnTo>
                      <a:pt x="116" y="21"/>
                    </a:lnTo>
                    <a:lnTo>
                      <a:pt x="117" y="21"/>
                    </a:lnTo>
                    <a:lnTo>
                      <a:pt x="117" y="22"/>
                    </a:lnTo>
                    <a:lnTo>
                      <a:pt x="119" y="24"/>
                    </a:lnTo>
                    <a:lnTo>
                      <a:pt x="119" y="26"/>
                    </a:lnTo>
                    <a:lnTo>
                      <a:pt x="121" y="26"/>
                    </a:lnTo>
                    <a:lnTo>
                      <a:pt x="121" y="27"/>
                    </a:lnTo>
                    <a:lnTo>
                      <a:pt x="123" y="27"/>
                    </a:lnTo>
                    <a:lnTo>
                      <a:pt x="121" y="27"/>
                    </a:lnTo>
                    <a:lnTo>
                      <a:pt x="119" y="27"/>
                    </a:lnTo>
                    <a:lnTo>
                      <a:pt x="117" y="26"/>
                    </a:lnTo>
                    <a:lnTo>
                      <a:pt x="119" y="26"/>
                    </a:lnTo>
                    <a:lnTo>
                      <a:pt x="117" y="26"/>
                    </a:lnTo>
                    <a:lnTo>
                      <a:pt x="117" y="27"/>
                    </a:lnTo>
                    <a:lnTo>
                      <a:pt x="119" y="27"/>
                    </a:lnTo>
                    <a:lnTo>
                      <a:pt x="121" y="27"/>
                    </a:lnTo>
                    <a:lnTo>
                      <a:pt x="121" y="29"/>
                    </a:lnTo>
                    <a:lnTo>
                      <a:pt x="119" y="29"/>
                    </a:lnTo>
                    <a:lnTo>
                      <a:pt x="117" y="29"/>
                    </a:lnTo>
                    <a:lnTo>
                      <a:pt x="116" y="29"/>
                    </a:lnTo>
                    <a:lnTo>
                      <a:pt x="114" y="29"/>
                    </a:lnTo>
                    <a:lnTo>
                      <a:pt x="114" y="27"/>
                    </a:lnTo>
                    <a:lnTo>
                      <a:pt x="112" y="27"/>
                    </a:lnTo>
                    <a:lnTo>
                      <a:pt x="112" y="26"/>
                    </a:lnTo>
                    <a:lnTo>
                      <a:pt x="111" y="26"/>
                    </a:lnTo>
                    <a:lnTo>
                      <a:pt x="112" y="27"/>
                    </a:lnTo>
                    <a:lnTo>
                      <a:pt x="112" y="29"/>
                    </a:lnTo>
                    <a:lnTo>
                      <a:pt x="111" y="27"/>
                    </a:lnTo>
                    <a:lnTo>
                      <a:pt x="109" y="27"/>
                    </a:lnTo>
                    <a:lnTo>
                      <a:pt x="111" y="29"/>
                    </a:lnTo>
                    <a:lnTo>
                      <a:pt x="109" y="27"/>
                    </a:lnTo>
                    <a:lnTo>
                      <a:pt x="109" y="29"/>
                    </a:lnTo>
                    <a:lnTo>
                      <a:pt x="107" y="29"/>
                    </a:lnTo>
                    <a:lnTo>
                      <a:pt x="109" y="29"/>
                    </a:lnTo>
                    <a:lnTo>
                      <a:pt x="109" y="31"/>
                    </a:lnTo>
                    <a:lnTo>
                      <a:pt x="111" y="31"/>
                    </a:lnTo>
                    <a:lnTo>
                      <a:pt x="109" y="31"/>
                    </a:lnTo>
                    <a:lnTo>
                      <a:pt x="111" y="31"/>
                    </a:lnTo>
                    <a:lnTo>
                      <a:pt x="112" y="31"/>
                    </a:lnTo>
                    <a:lnTo>
                      <a:pt x="114" y="31"/>
                    </a:lnTo>
                    <a:lnTo>
                      <a:pt x="116" y="33"/>
                    </a:lnTo>
                    <a:lnTo>
                      <a:pt x="117" y="33"/>
                    </a:lnTo>
                    <a:lnTo>
                      <a:pt x="119" y="33"/>
                    </a:lnTo>
                    <a:lnTo>
                      <a:pt x="121" y="33"/>
                    </a:lnTo>
                    <a:lnTo>
                      <a:pt x="121" y="34"/>
                    </a:lnTo>
                    <a:lnTo>
                      <a:pt x="123" y="34"/>
                    </a:lnTo>
                    <a:lnTo>
                      <a:pt x="121" y="34"/>
                    </a:lnTo>
                    <a:lnTo>
                      <a:pt x="121" y="36"/>
                    </a:lnTo>
                    <a:lnTo>
                      <a:pt x="119" y="34"/>
                    </a:lnTo>
                    <a:lnTo>
                      <a:pt x="119" y="36"/>
                    </a:lnTo>
                    <a:lnTo>
                      <a:pt x="117" y="36"/>
                    </a:lnTo>
                    <a:lnTo>
                      <a:pt x="116" y="36"/>
                    </a:lnTo>
                    <a:lnTo>
                      <a:pt x="116" y="34"/>
                    </a:lnTo>
                    <a:lnTo>
                      <a:pt x="114" y="34"/>
                    </a:lnTo>
                    <a:lnTo>
                      <a:pt x="116" y="34"/>
                    </a:lnTo>
                    <a:lnTo>
                      <a:pt x="116" y="36"/>
                    </a:lnTo>
                    <a:lnTo>
                      <a:pt x="117" y="36"/>
                    </a:lnTo>
                    <a:lnTo>
                      <a:pt x="116" y="36"/>
                    </a:lnTo>
                    <a:lnTo>
                      <a:pt x="117" y="36"/>
                    </a:lnTo>
                    <a:lnTo>
                      <a:pt x="119" y="36"/>
                    </a:lnTo>
                    <a:lnTo>
                      <a:pt x="117" y="36"/>
                    </a:lnTo>
                    <a:lnTo>
                      <a:pt x="116" y="36"/>
                    </a:lnTo>
                    <a:lnTo>
                      <a:pt x="117" y="38"/>
                    </a:lnTo>
                    <a:lnTo>
                      <a:pt x="119" y="38"/>
                    </a:lnTo>
                    <a:lnTo>
                      <a:pt x="119" y="36"/>
                    </a:lnTo>
                    <a:lnTo>
                      <a:pt x="121" y="36"/>
                    </a:lnTo>
                    <a:lnTo>
                      <a:pt x="123" y="36"/>
                    </a:lnTo>
                    <a:lnTo>
                      <a:pt x="123" y="38"/>
                    </a:lnTo>
                    <a:lnTo>
                      <a:pt x="121" y="38"/>
                    </a:lnTo>
                    <a:lnTo>
                      <a:pt x="119" y="38"/>
                    </a:lnTo>
                    <a:lnTo>
                      <a:pt x="119" y="39"/>
                    </a:lnTo>
                    <a:lnTo>
                      <a:pt x="119" y="38"/>
                    </a:lnTo>
                    <a:lnTo>
                      <a:pt x="117" y="39"/>
                    </a:lnTo>
                    <a:lnTo>
                      <a:pt x="116" y="39"/>
                    </a:lnTo>
                    <a:lnTo>
                      <a:pt x="114" y="39"/>
                    </a:lnTo>
                    <a:lnTo>
                      <a:pt x="112" y="39"/>
                    </a:lnTo>
                    <a:lnTo>
                      <a:pt x="114" y="39"/>
                    </a:lnTo>
                    <a:lnTo>
                      <a:pt x="116" y="39"/>
                    </a:lnTo>
                    <a:lnTo>
                      <a:pt x="117" y="39"/>
                    </a:lnTo>
                    <a:lnTo>
                      <a:pt x="119" y="39"/>
                    </a:lnTo>
                    <a:lnTo>
                      <a:pt x="117" y="39"/>
                    </a:lnTo>
                    <a:lnTo>
                      <a:pt x="116" y="39"/>
                    </a:lnTo>
                    <a:lnTo>
                      <a:pt x="114" y="41"/>
                    </a:lnTo>
                    <a:lnTo>
                      <a:pt x="112" y="41"/>
                    </a:lnTo>
                    <a:lnTo>
                      <a:pt x="111" y="41"/>
                    </a:lnTo>
                    <a:lnTo>
                      <a:pt x="109" y="41"/>
                    </a:lnTo>
                    <a:lnTo>
                      <a:pt x="107" y="41"/>
                    </a:lnTo>
                    <a:lnTo>
                      <a:pt x="109" y="39"/>
                    </a:lnTo>
                    <a:lnTo>
                      <a:pt x="107" y="39"/>
                    </a:lnTo>
                    <a:lnTo>
                      <a:pt x="107" y="41"/>
                    </a:lnTo>
                    <a:lnTo>
                      <a:pt x="106" y="41"/>
                    </a:lnTo>
                    <a:lnTo>
                      <a:pt x="104" y="39"/>
                    </a:lnTo>
                    <a:lnTo>
                      <a:pt x="104" y="41"/>
                    </a:lnTo>
                    <a:lnTo>
                      <a:pt x="104" y="39"/>
                    </a:lnTo>
                    <a:lnTo>
                      <a:pt x="104" y="41"/>
                    </a:lnTo>
                    <a:lnTo>
                      <a:pt x="106" y="41"/>
                    </a:lnTo>
                    <a:lnTo>
                      <a:pt x="107" y="41"/>
                    </a:lnTo>
                    <a:lnTo>
                      <a:pt x="106" y="43"/>
                    </a:lnTo>
                    <a:lnTo>
                      <a:pt x="107" y="41"/>
                    </a:lnTo>
                    <a:lnTo>
                      <a:pt x="109" y="43"/>
                    </a:lnTo>
                    <a:lnTo>
                      <a:pt x="107" y="43"/>
                    </a:lnTo>
                    <a:lnTo>
                      <a:pt x="106" y="43"/>
                    </a:lnTo>
                    <a:lnTo>
                      <a:pt x="104" y="43"/>
                    </a:lnTo>
                    <a:lnTo>
                      <a:pt x="104" y="45"/>
                    </a:lnTo>
                    <a:lnTo>
                      <a:pt x="102" y="45"/>
                    </a:lnTo>
                    <a:lnTo>
                      <a:pt x="100" y="45"/>
                    </a:lnTo>
                    <a:lnTo>
                      <a:pt x="102" y="45"/>
                    </a:lnTo>
                    <a:lnTo>
                      <a:pt x="104" y="45"/>
                    </a:lnTo>
                    <a:lnTo>
                      <a:pt x="104" y="43"/>
                    </a:lnTo>
                    <a:lnTo>
                      <a:pt x="106" y="43"/>
                    </a:lnTo>
                    <a:lnTo>
                      <a:pt x="106" y="45"/>
                    </a:lnTo>
                    <a:lnTo>
                      <a:pt x="107" y="45"/>
                    </a:lnTo>
                    <a:lnTo>
                      <a:pt x="106" y="45"/>
                    </a:lnTo>
                    <a:lnTo>
                      <a:pt x="106" y="46"/>
                    </a:lnTo>
                    <a:lnTo>
                      <a:pt x="104" y="46"/>
                    </a:lnTo>
                    <a:lnTo>
                      <a:pt x="106" y="46"/>
                    </a:lnTo>
                    <a:lnTo>
                      <a:pt x="104" y="46"/>
                    </a:lnTo>
                    <a:lnTo>
                      <a:pt x="102" y="46"/>
                    </a:lnTo>
                    <a:lnTo>
                      <a:pt x="102" y="48"/>
                    </a:lnTo>
                    <a:lnTo>
                      <a:pt x="104" y="48"/>
                    </a:lnTo>
                    <a:lnTo>
                      <a:pt x="102" y="48"/>
                    </a:lnTo>
                    <a:lnTo>
                      <a:pt x="100" y="48"/>
                    </a:lnTo>
                    <a:lnTo>
                      <a:pt x="100" y="50"/>
                    </a:lnTo>
                    <a:lnTo>
                      <a:pt x="99" y="50"/>
                    </a:lnTo>
                    <a:lnTo>
                      <a:pt x="100" y="50"/>
                    </a:lnTo>
                    <a:lnTo>
                      <a:pt x="99" y="50"/>
                    </a:lnTo>
                    <a:lnTo>
                      <a:pt x="97" y="50"/>
                    </a:lnTo>
                    <a:lnTo>
                      <a:pt x="97" y="48"/>
                    </a:lnTo>
                    <a:lnTo>
                      <a:pt x="99" y="50"/>
                    </a:lnTo>
                    <a:lnTo>
                      <a:pt x="100" y="50"/>
                    </a:lnTo>
                    <a:lnTo>
                      <a:pt x="99" y="48"/>
                    </a:lnTo>
                    <a:lnTo>
                      <a:pt x="100" y="48"/>
                    </a:lnTo>
                    <a:lnTo>
                      <a:pt x="99" y="48"/>
                    </a:lnTo>
                    <a:lnTo>
                      <a:pt x="97" y="48"/>
                    </a:lnTo>
                    <a:lnTo>
                      <a:pt x="95" y="48"/>
                    </a:lnTo>
                    <a:lnTo>
                      <a:pt x="94" y="48"/>
                    </a:lnTo>
                    <a:lnTo>
                      <a:pt x="94" y="50"/>
                    </a:lnTo>
                    <a:lnTo>
                      <a:pt x="94" y="48"/>
                    </a:lnTo>
                    <a:lnTo>
                      <a:pt x="92" y="48"/>
                    </a:lnTo>
                    <a:lnTo>
                      <a:pt x="90" y="48"/>
                    </a:lnTo>
                    <a:lnTo>
                      <a:pt x="92" y="48"/>
                    </a:lnTo>
                    <a:lnTo>
                      <a:pt x="90" y="48"/>
                    </a:lnTo>
                    <a:lnTo>
                      <a:pt x="89" y="48"/>
                    </a:lnTo>
                    <a:lnTo>
                      <a:pt x="87" y="48"/>
                    </a:lnTo>
                    <a:lnTo>
                      <a:pt x="85" y="46"/>
                    </a:lnTo>
                    <a:lnTo>
                      <a:pt x="83" y="45"/>
                    </a:lnTo>
                    <a:lnTo>
                      <a:pt x="83" y="46"/>
                    </a:lnTo>
                    <a:lnTo>
                      <a:pt x="85" y="46"/>
                    </a:lnTo>
                    <a:lnTo>
                      <a:pt x="83" y="46"/>
                    </a:lnTo>
                    <a:lnTo>
                      <a:pt x="82" y="45"/>
                    </a:lnTo>
                    <a:lnTo>
                      <a:pt x="82" y="43"/>
                    </a:lnTo>
                    <a:lnTo>
                      <a:pt x="80" y="43"/>
                    </a:lnTo>
                    <a:lnTo>
                      <a:pt x="82" y="43"/>
                    </a:lnTo>
                    <a:lnTo>
                      <a:pt x="80" y="45"/>
                    </a:lnTo>
                    <a:lnTo>
                      <a:pt x="80" y="46"/>
                    </a:lnTo>
                    <a:lnTo>
                      <a:pt x="78" y="46"/>
                    </a:lnTo>
                    <a:lnTo>
                      <a:pt x="77" y="46"/>
                    </a:lnTo>
                    <a:lnTo>
                      <a:pt x="77" y="45"/>
                    </a:lnTo>
                    <a:lnTo>
                      <a:pt x="75" y="45"/>
                    </a:lnTo>
                    <a:lnTo>
                      <a:pt x="77" y="46"/>
                    </a:lnTo>
                    <a:lnTo>
                      <a:pt x="75" y="48"/>
                    </a:lnTo>
                    <a:lnTo>
                      <a:pt x="77" y="46"/>
                    </a:lnTo>
                    <a:lnTo>
                      <a:pt x="78" y="46"/>
                    </a:lnTo>
                    <a:lnTo>
                      <a:pt x="78" y="48"/>
                    </a:lnTo>
                    <a:lnTo>
                      <a:pt x="80" y="46"/>
                    </a:lnTo>
                    <a:lnTo>
                      <a:pt x="82" y="46"/>
                    </a:lnTo>
                    <a:lnTo>
                      <a:pt x="82" y="48"/>
                    </a:lnTo>
                    <a:lnTo>
                      <a:pt x="83" y="48"/>
                    </a:lnTo>
                    <a:lnTo>
                      <a:pt x="85" y="50"/>
                    </a:lnTo>
                    <a:lnTo>
                      <a:pt x="87" y="50"/>
                    </a:lnTo>
                    <a:lnTo>
                      <a:pt x="87" y="51"/>
                    </a:lnTo>
                    <a:lnTo>
                      <a:pt x="85" y="50"/>
                    </a:lnTo>
                    <a:lnTo>
                      <a:pt x="83" y="50"/>
                    </a:lnTo>
                    <a:lnTo>
                      <a:pt x="85" y="50"/>
                    </a:lnTo>
                    <a:lnTo>
                      <a:pt x="85" y="51"/>
                    </a:lnTo>
                    <a:lnTo>
                      <a:pt x="85" y="50"/>
                    </a:lnTo>
                    <a:lnTo>
                      <a:pt x="87" y="51"/>
                    </a:lnTo>
                    <a:lnTo>
                      <a:pt x="87" y="53"/>
                    </a:lnTo>
                    <a:lnTo>
                      <a:pt x="87" y="51"/>
                    </a:lnTo>
                    <a:lnTo>
                      <a:pt x="89" y="51"/>
                    </a:lnTo>
                    <a:lnTo>
                      <a:pt x="90" y="51"/>
                    </a:lnTo>
                    <a:lnTo>
                      <a:pt x="90" y="53"/>
                    </a:lnTo>
                    <a:lnTo>
                      <a:pt x="90" y="51"/>
                    </a:lnTo>
                    <a:lnTo>
                      <a:pt x="92" y="53"/>
                    </a:lnTo>
                    <a:lnTo>
                      <a:pt x="92" y="51"/>
                    </a:lnTo>
                    <a:lnTo>
                      <a:pt x="92" y="53"/>
                    </a:lnTo>
                    <a:lnTo>
                      <a:pt x="94" y="53"/>
                    </a:lnTo>
                    <a:lnTo>
                      <a:pt x="92" y="55"/>
                    </a:lnTo>
                    <a:lnTo>
                      <a:pt x="94" y="55"/>
                    </a:lnTo>
                    <a:lnTo>
                      <a:pt x="92" y="55"/>
                    </a:lnTo>
                    <a:lnTo>
                      <a:pt x="90" y="55"/>
                    </a:lnTo>
                    <a:lnTo>
                      <a:pt x="92" y="56"/>
                    </a:lnTo>
                    <a:lnTo>
                      <a:pt x="90" y="56"/>
                    </a:lnTo>
                    <a:lnTo>
                      <a:pt x="90" y="58"/>
                    </a:lnTo>
                    <a:lnTo>
                      <a:pt x="92" y="58"/>
                    </a:lnTo>
                    <a:lnTo>
                      <a:pt x="92" y="60"/>
                    </a:lnTo>
                    <a:lnTo>
                      <a:pt x="90" y="62"/>
                    </a:lnTo>
                    <a:lnTo>
                      <a:pt x="90" y="60"/>
                    </a:lnTo>
                    <a:lnTo>
                      <a:pt x="90" y="58"/>
                    </a:lnTo>
                    <a:lnTo>
                      <a:pt x="89" y="58"/>
                    </a:lnTo>
                    <a:lnTo>
                      <a:pt x="89" y="56"/>
                    </a:lnTo>
                    <a:lnTo>
                      <a:pt x="87" y="56"/>
                    </a:lnTo>
                    <a:lnTo>
                      <a:pt x="85" y="56"/>
                    </a:lnTo>
                    <a:lnTo>
                      <a:pt x="83" y="56"/>
                    </a:lnTo>
                    <a:lnTo>
                      <a:pt x="83" y="58"/>
                    </a:lnTo>
                    <a:lnTo>
                      <a:pt x="82" y="58"/>
                    </a:lnTo>
                    <a:lnTo>
                      <a:pt x="82" y="60"/>
                    </a:lnTo>
                    <a:lnTo>
                      <a:pt x="82" y="58"/>
                    </a:lnTo>
                    <a:lnTo>
                      <a:pt x="82" y="56"/>
                    </a:lnTo>
                    <a:lnTo>
                      <a:pt x="80" y="58"/>
                    </a:lnTo>
                    <a:lnTo>
                      <a:pt x="80" y="60"/>
                    </a:lnTo>
                    <a:lnTo>
                      <a:pt x="80" y="58"/>
                    </a:lnTo>
                    <a:lnTo>
                      <a:pt x="80" y="56"/>
                    </a:lnTo>
                    <a:lnTo>
                      <a:pt x="78" y="56"/>
                    </a:lnTo>
                    <a:lnTo>
                      <a:pt x="78" y="55"/>
                    </a:lnTo>
                    <a:lnTo>
                      <a:pt x="78" y="56"/>
                    </a:lnTo>
                    <a:lnTo>
                      <a:pt x="77" y="56"/>
                    </a:lnTo>
                    <a:lnTo>
                      <a:pt x="77" y="55"/>
                    </a:lnTo>
                    <a:lnTo>
                      <a:pt x="75" y="55"/>
                    </a:lnTo>
                    <a:lnTo>
                      <a:pt x="75" y="53"/>
                    </a:lnTo>
                    <a:lnTo>
                      <a:pt x="73" y="53"/>
                    </a:lnTo>
                    <a:lnTo>
                      <a:pt x="75" y="53"/>
                    </a:lnTo>
                    <a:lnTo>
                      <a:pt x="73" y="55"/>
                    </a:lnTo>
                    <a:lnTo>
                      <a:pt x="72" y="55"/>
                    </a:lnTo>
                    <a:lnTo>
                      <a:pt x="72" y="53"/>
                    </a:lnTo>
                    <a:lnTo>
                      <a:pt x="70" y="55"/>
                    </a:lnTo>
                    <a:lnTo>
                      <a:pt x="68" y="55"/>
                    </a:lnTo>
                    <a:lnTo>
                      <a:pt x="70" y="55"/>
                    </a:lnTo>
                    <a:lnTo>
                      <a:pt x="72" y="55"/>
                    </a:lnTo>
                    <a:lnTo>
                      <a:pt x="73" y="55"/>
                    </a:lnTo>
                    <a:lnTo>
                      <a:pt x="73" y="56"/>
                    </a:lnTo>
                    <a:lnTo>
                      <a:pt x="72" y="56"/>
                    </a:lnTo>
                    <a:lnTo>
                      <a:pt x="73" y="56"/>
                    </a:lnTo>
                    <a:lnTo>
                      <a:pt x="73" y="58"/>
                    </a:lnTo>
                    <a:lnTo>
                      <a:pt x="75" y="56"/>
                    </a:lnTo>
                    <a:lnTo>
                      <a:pt x="75" y="58"/>
                    </a:lnTo>
                    <a:lnTo>
                      <a:pt x="77" y="58"/>
                    </a:lnTo>
                    <a:lnTo>
                      <a:pt x="75" y="58"/>
                    </a:lnTo>
                    <a:lnTo>
                      <a:pt x="73" y="60"/>
                    </a:lnTo>
                    <a:lnTo>
                      <a:pt x="75" y="60"/>
                    </a:lnTo>
                    <a:lnTo>
                      <a:pt x="77" y="60"/>
                    </a:lnTo>
                    <a:lnTo>
                      <a:pt x="77" y="62"/>
                    </a:lnTo>
                    <a:lnTo>
                      <a:pt x="75" y="60"/>
                    </a:lnTo>
                    <a:lnTo>
                      <a:pt x="75" y="62"/>
                    </a:lnTo>
                    <a:lnTo>
                      <a:pt x="73" y="62"/>
                    </a:lnTo>
                    <a:lnTo>
                      <a:pt x="75" y="62"/>
                    </a:lnTo>
                    <a:lnTo>
                      <a:pt x="75" y="63"/>
                    </a:lnTo>
                    <a:lnTo>
                      <a:pt x="75" y="62"/>
                    </a:lnTo>
                    <a:lnTo>
                      <a:pt x="77" y="62"/>
                    </a:lnTo>
                    <a:lnTo>
                      <a:pt x="75" y="63"/>
                    </a:lnTo>
                    <a:lnTo>
                      <a:pt x="77" y="63"/>
                    </a:lnTo>
                    <a:lnTo>
                      <a:pt x="77" y="62"/>
                    </a:lnTo>
                    <a:lnTo>
                      <a:pt x="78" y="62"/>
                    </a:lnTo>
                    <a:lnTo>
                      <a:pt x="78" y="63"/>
                    </a:lnTo>
                    <a:lnTo>
                      <a:pt x="77" y="63"/>
                    </a:lnTo>
                    <a:lnTo>
                      <a:pt x="78" y="63"/>
                    </a:lnTo>
                    <a:lnTo>
                      <a:pt x="77" y="63"/>
                    </a:lnTo>
                    <a:lnTo>
                      <a:pt x="77" y="65"/>
                    </a:lnTo>
                    <a:lnTo>
                      <a:pt x="78" y="65"/>
                    </a:lnTo>
                    <a:lnTo>
                      <a:pt x="78" y="67"/>
                    </a:lnTo>
                    <a:lnTo>
                      <a:pt x="78" y="68"/>
                    </a:lnTo>
                    <a:lnTo>
                      <a:pt x="77" y="67"/>
                    </a:lnTo>
                    <a:lnTo>
                      <a:pt x="75" y="67"/>
                    </a:lnTo>
                    <a:lnTo>
                      <a:pt x="75" y="65"/>
                    </a:lnTo>
                    <a:lnTo>
                      <a:pt x="73" y="65"/>
                    </a:lnTo>
                    <a:lnTo>
                      <a:pt x="72" y="67"/>
                    </a:lnTo>
                    <a:lnTo>
                      <a:pt x="72" y="65"/>
                    </a:lnTo>
                    <a:lnTo>
                      <a:pt x="72" y="63"/>
                    </a:lnTo>
                    <a:lnTo>
                      <a:pt x="70" y="63"/>
                    </a:lnTo>
                    <a:lnTo>
                      <a:pt x="68" y="63"/>
                    </a:lnTo>
                    <a:lnTo>
                      <a:pt x="70" y="63"/>
                    </a:lnTo>
                    <a:lnTo>
                      <a:pt x="70" y="62"/>
                    </a:lnTo>
                    <a:lnTo>
                      <a:pt x="68" y="63"/>
                    </a:lnTo>
                    <a:lnTo>
                      <a:pt x="68" y="62"/>
                    </a:lnTo>
                    <a:lnTo>
                      <a:pt x="68" y="63"/>
                    </a:lnTo>
                    <a:lnTo>
                      <a:pt x="68" y="62"/>
                    </a:lnTo>
                    <a:lnTo>
                      <a:pt x="66" y="60"/>
                    </a:lnTo>
                    <a:lnTo>
                      <a:pt x="66" y="62"/>
                    </a:lnTo>
                    <a:lnTo>
                      <a:pt x="66" y="60"/>
                    </a:lnTo>
                    <a:lnTo>
                      <a:pt x="66" y="62"/>
                    </a:lnTo>
                    <a:lnTo>
                      <a:pt x="66" y="63"/>
                    </a:lnTo>
                    <a:lnTo>
                      <a:pt x="65" y="63"/>
                    </a:lnTo>
                    <a:lnTo>
                      <a:pt x="65" y="62"/>
                    </a:lnTo>
                    <a:lnTo>
                      <a:pt x="63" y="63"/>
                    </a:lnTo>
                    <a:lnTo>
                      <a:pt x="65" y="63"/>
                    </a:lnTo>
                    <a:lnTo>
                      <a:pt x="66" y="63"/>
                    </a:lnTo>
                    <a:lnTo>
                      <a:pt x="66" y="65"/>
                    </a:lnTo>
                    <a:lnTo>
                      <a:pt x="65" y="63"/>
                    </a:lnTo>
                    <a:lnTo>
                      <a:pt x="65" y="65"/>
                    </a:lnTo>
                    <a:lnTo>
                      <a:pt x="65" y="67"/>
                    </a:lnTo>
                    <a:lnTo>
                      <a:pt x="65" y="65"/>
                    </a:lnTo>
                    <a:lnTo>
                      <a:pt x="66" y="65"/>
                    </a:lnTo>
                    <a:lnTo>
                      <a:pt x="65" y="67"/>
                    </a:lnTo>
                    <a:lnTo>
                      <a:pt x="66" y="65"/>
                    </a:lnTo>
                    <a:lnTo>
                      <a:pt x="68" y="65"/>
                    </a:lnTo>
                    <a:lnTo>
                      <a:pt x="68" y="67"/>
                    </a:lnTo>
                    <a:lnTo>
                      <a:pt x="66" y="67"/>
                    </a:lnTo>
                    <a:lnTo>
                      <a:pt x="68" y="67"/>
                    </a:lnTo>
                    <a:lnTo>
                      <a:pt x="68" y="68"/>
                    </a:lnTo>
                    <a:lnTo>
                      <a:pt x="66" y="68"/>
                    </a:lnTo>
                    <a:lnTo>
                      <a:pt x="65" y="70"/>
                    </a:lnTo>
                    <a:lnTo>
                      <a:pt x="66" y="70"/>
                    </a:lnTo>
                    <a:lnTo>
                      <a:pt x="66" y="68"/>
                    </a:lnTo>
                    <a:lnTo>
                      <a:pt x="68" y="68"/>
                    </a:lnTo>
                    <a:lnTo>
                      <a:pt x="68" y="70"/>
                    </a:lnTo>
                    <a:lnTo>
                      <a:pt x="66" y="70"/>
                    </a:lnTo>
                    <a:lnTo>
                      <a:pt x="66" y="72"/>
                    </a:lnTo>
                    <a:lnTo>
                      <a:pt x="68" y="72"/>
                    </a:lnTo>
                    <a:lnTo>
                      <a:pt x="68" y="73"/>
                    </a:lnTo>
                    <a:lnTo>
                      <a:pt x="70" y="72"/>
                    </a:lnTo>
                    <a:lnTo>
                      <a:pt x="70" y="73"/>
                    </a:lnTo>
                    <a:lnTo>
                      <a:pt x="68" y="73"/>
                    </a:lnTo>
                    <a:lnTo>
                      <a:pt x="66" y="73"/>
                    </a:lnTo>
                    <a:lnTo>
                      <a:pt x="66" y="72"/>
                    </a:lnTo>
                    <a:lnTo>
                      <a:pt x="65" y="72"/>
                    </a:lnTo>
                    <a:lnTo>
                      <a:pt x="65" y="70"/>
                    </a:lnTo>
                    <a:lnTo>
                      <a:pt x="63" y="70"/>
                    </a:lnTo>
                    <a:lnTo>
                      <a:pt x="63" y="72"/>
                    </a:lnTo>
                    <a:lnTo>
                      <a:pt x="63" y="70"/>
                    </a:lnTo>
                    <a:lnTo>
                      <a:pt x="63" y="68"/>
                    </a:lnTo>
                    <a:lnTo>
                      <a:pt x="63" y="67"/>
                    </a:lnTo>
                    <a:lnTo>
                      <a:pt x="61" y="68"/>
                    </a:lnTo>
                    <a:lnTo>
                      <a:pt x="60" y="68"/>
                    </a:lnTo>
                    <a:lnTo>
                      <a:pt x="60" y="67"/>
                    </a:lnTo>
                    <a:lnTo>
                      <a:pt x="61" y="65"/>
                    </a:lnTo>
                    <a:lnTo>
                      <a:pt x="60" y="65"/>
                    </a:lnTo>
                    <a:lnTo>
                      <a:pt x="58" y="65"/>
                    </a:lnTo>
                    <a:lnTo>
                      <a:pt x="58" y="63"/>
                    </a:lnTo>
                    <a:lnTo>
                      <a:pt x="56" y="62"/>
                    </a:lnTo>
                    <a:lnTo>
                      <a:pt x="55" y="62"/>
                    </a:lnTo>
                    <a:lnTo>
                      <a:pt x="56" y="60"/>
                    </a:lnTo>
                    <a:lnTo>
                      <a:pt x="55" y="60"/>
                    </a:lnTo>
                    <a:lnTo>
                      <a:pt x="56" y="60"/>
                    </a:lnTo>
                    <a:lnTo>
                      <a:pt x="58" y="60"/>
                    </a:lnTo>
                    <a:lnTo>
                      <a:pt x="58" y="62"/>
                    </a:lnTo>
                    <a:lnTo>
                      <a:pt x="60" y="60"/>
                    </a:lnTo>
                    <a:lnTo>
                      <a:pt x="58" y="60"/>
                    </a:lnTo>
                    <a:lnTo>
                      <a:pt x="58" y="58"/>
                    </a:lnTo>
                    <a:lnTo>
                      <a:pt x="60" y="60"/>
                    </a:lnTo>
                    <a:lnTo>
                      <a:pt x="60" y="58"/>
                    </a:lnTo>
                    <a:lnTo>
                      <a:pt x="61" y="58"/>
                    </a:lnTo>
                    <a:lnTo>
                      <a:pt x="60" y="56"/>
                    </a:lnTo>
                    <a:lnTo>
                      <a:pt x="58" y="56"/>
                    </a:lnTo>
                    <a:lnTo>
                      <a:pt x="60" y="55"/>
                    </a:lnTo>
                    <a:lnTo>
                      <a:pt x="58" y="55"/>
                    </a:lnTo>
                    <a:lnTo>
                      <a:pt x="60" y="53"/>
                    </a:lnTo>
                    <a:lnTo>
                      <a:pt x="60" y="55"/>
                    </a:lnTo>
                    <a:lnTo>
                      <a:pt x="61" y="55"/>
                    </a:lnTo>
                    <a:lnTo>
                      <a:pt x="60" y="53"/>
                    </a:lnTo>
                    <a:lnTo>
                      <a:pt x="58" y="53"/>
                    </a:lnTo>
                    <a:lnTo>
                      <a:pt x="60" y="53"/>
                    </a:lnTo>
                    <a:lnTo>
                      <a:pt x="61" y="53"/>
                    </a:lnTo>
                    <a:lnTo>
                      <a:pt x="61" y="51"/>
                    </a:lnTo>
                    <a:lnTo>
                      <a:pt x="61" y="53"/>
                    </a:lnTo>
                    <a:lnTo>
                      <a:pt x="61" y="51"/>
                    </a:lnTo>
                    <a:lnTo>
                      <a:pt x="60" y="51"/>
                    </a:lnTo>
                    <a:lnTo>
                      <a:pt x="58" y="51"/>
                    </a:lnTo>
                    <a:lnTo>
                      <a:pt x="60" y="51"/>
                    </a:lnTo>
                    <a:lnTo>
                      <a:pt x="60" y="50"/>
                    </a:lnTo>
                    <a:lnTo>
                      <a:pt x="60" y="48"/>
                    </a:lnTo>
                    <a:lnTo>
                      <a:pt x="60" y="50"/>
                    </a:lnTo>
                    <a:lnTo>
                      <a:pt x="61" y="50"/>
                    </a:lnTo>
                    <a:lnTo>
                      <a:pt x="61" y="51"/>
                    </a:lnTo>
                    <a:lnTo>
                      <a:pt x="63" y="50"/>
                    </a:lnTo>
                    <a:lnTo>
                      <a:pt x="61" y="50"/>
                    </a:lnTo>
                    <a:lnTo>
                      <a:pt x="61" y="48"/>
                    </a:lnTo>
                    <a:lnTo>
                      <a:pt x="61" y="46"/>
                    </a:lnTo>
                    <a:lnTo>
                      <a:pt x="61" y="48"/>
                    </a:lnTo>
                    <a:lnTo>
                      <a:pt x="63" y="48"/>
                    </a:lnTo>
                    <a:lnTo>
                      <a:pt x="65" y="48"/>
                    </a:lnTo>
                    <a:lnTo>
                      <a:pt x="63" y="48"/>
                    </a:lnTo>
                    <a:lnTo>
                      <a:pt x="65" y="46"/>
                    </a:lnTo>
                    <a:lnTo>
                      <a:pt x="63" y="46"/>
                    </a:lnTo>
                    <a:lnTo>
                      <a:pt x="61" y="46"/>
                    </a:lnTo>
                    <a:lnTo>
                      <a:pt x="63" y="45"/>
                    </a:lnTo>
                    <a:lnTo>
                      <a:pt x="65" y="45"/>
                    </a:lnTo>
                    <a:lnTo>
                      <a:pt x="65" y="46"/>
                    </a:lnTo>
                    <a:lnTo>
                      <a:pt x="65" y="45"/>
                    </a:lnTo>
                    <a:lnTo>
                      <a:pt x="66" y="43"/>
                    </a:lnTo>
                    <a:lnTo>
                      <a:pt x="65" y="45"/>
                    </a:lnTo>
                    <a:lnTo>
                      <a:pt x="66" y="45"/>
                    </a:lnTo>
                    <a:lnTo>
                      <a:pt x="66" y="46"/>
                    </a:lnTo>
                    <a:lnTo>
                      <a:pt x="66" y="45"/>
                    </a:lnTo>
                    <a:lnTo>
                      <a:pt x="68" y="45"/>
                    </a:lnTo>
                    <a:lnTo>
                      <a:pt x="68" y="43"/>
                    </a:lnTo>
                    <a:lnTo>
                      <a:pt x="70" y="43"/>
                    </a:lnTo>
                    <a:lnTo>
                      <a:pt x="70" y="41"/>
                    </a:lnTo>
                    <a:lnTo>
                      <a:pt x="70" y="39"/>
                    </a:lnTo>
                    <a:lnTo>
                      <a:pt x="72" y="41"/>
                    </a:lnTo>
                    <a:lnTo>
                      <a:pt x="72" y="39"/>
                    </a:lnTo>
                    <a:lnTo>
                      <a:pt x="72" y="38"/>
                    </a:lnTo>
                    <a:lnTo>
                      <a:pt x="72" y="39"/>
                    </a:lnTo>
                    <a:lnTo>
                      <a:pt x="72" y="41"/>
                    </a:lnTo>
                    <a:lnTo>
                      <a:pt x="72" y="39"/>
                    </a:lnTo>
                    <a:lnTo>
                      <a:pt x="73" y="39"/>
                    </a:lnTo>
                    <a:lnTo>
                      <a:pt x="75" y="38"/>
                    </a:lnTo>
                    <a:lnTo>
                      <a:pt x="77" y="38"/>
                    </a:lnTo>
                    <a:lnTo>
                      <a:pt x="78" y="38"/>
                    </a:lnTo>
                    <a:lnTo>
                      <a:pt x="78" y="39"/>
                    </a:lnTo>
                    <a:lnTo>
                      <a:pt x="78" y="41"/>
                    </a:lnTo>
                    <a:lnTo>
                      <a:pt x="77" y="43"/>
                    </a:lnTo>
                    <a:lnTo>
                      <a:pt x="78" y="43"/>
                    </a:lnTo>
                    <a:lnTo>
                      <a:pt x="78" y="45"/>
                    </a:lnTo>
                    <a:lnTo>
                      <a:pt x="80" y="43"/>
                    </a:lnTo>
                    <a:lnTo>
                      <a:pt x="82" y="41"/>
                    </a:lnTo>
                    <a:lnTo>
                      <a:pt x="80" y="41"/>
                    </a:lnTo>
                    <a:lnTo>
                      <a:pt x="80" y="43"/>
                    </a:lnTo>
                    <a:lnTo>
                      <a:pt x="80" y="41"/>
                    </a:lnTo>
                    <a:lnTo>
                      <a:pt x="80" y="39"/>
                    </a:lnTo>
                    <a:lnTo>
                      <a:pt x="80" y="38"/>
                    </a:lnTo>
                    <a:lnTo>
                      <a:pt x="78" y="38"/>
                    </a:lnTo>
                    <a:lnTo>
                      <a:pt x="78" y="36"/>
                    </a:lnTo>
                    <a:lnTo>
                      <a:pt x="80" y="36"/>
                    </a:lnTo>
                    <a:lnTo>
                      <a:pt x="78" y="36"/>
                    </a:lnTo>
                    <a:lnTo>
                      <a:pt x="78" y="34"/>
                    </a:lnTo>
                    <a:lnTo>
                      <a:pt x="80" y="36"/>
                    </a:lnTo>
                    <a:lnTo>
                      <a:pt x="78" y="34"/>
                    </a:lnTo>
                    <a:lnTo>
                      <a:pt x="77" y="34"/>
                    </a:lnTo>
                    <a:lnTo>
                      <a:pt x="77" y="33"/>
                    </a:lnTo>
                    <a:lnTo>
                      <a:pt x="75" y="33"/>
                    </a:lnTo>
                    <a:lnTo>
                      <a:pt x="73" y="33"/>
                    </a:lnTo>
                    <a:lnTo>
                      <a:pt x="73" y="31"/>
                    </a:lnTo>
                    <a:lnTo>
                      <a:pt x="75" y="31"/>
                    </a:lnTo>
                    <a:lnTo>
                      <a:pt x="75" y="29"/>
                    </a:lnTo>
                    <a:lnTo>
                      <a:pt x="75" y="27"/>
                    </a:lnTo>
                    <a:lnTo>
                      <a:pt x="75" y="26"/>
                    </a:lnTo>
                    <a:lnTo>
                      <a:pt x="75" y="27"/>
                    </a:lnTo>
                    <a:lnTo>
                      <a:pt x="77" y="27"/>
                    </a:lnTo>
                    <a:lnTo>
                      <a:pt x="77" y="29"/>
                    </a:lnTo>
                    <a:lnTo>
                      <a:pt x="77" y="31"/>
                    </a:lnTo>
                    <a:lnTo>
                      <a:pt x="78" y="31"/>
                    </a:lnTo>
                    <a:lnTo>
                      <a:pt x="78" y="33"/>
                    </a:lnTo>
                    <a:lnTo>
                      <a:pt x="78" y="31"/>
                    </a:lnTo>
                    <a:lnTo>
                      <a:pt x="78" y="29"/>
                    </a:lnTo>
                    <a:lnTo>
                      <a:pt x="77" y="27"/>
                    </a:lnTo>
                    <a:lnTo>
                      <a:pt x="78" y="27"/>
                    </a:lnTo>
                    <a:lnTo>
                      <a:pt x="80" y="27"/>
                    </a:lnTo>
                    <a:lnTo>
                      <a:pt x="82" y="27"/>
                    </a:lnTo>
                    <a:lnTo>
                      <a:pt x="82" y="29"/>
                    </a:lnTo>
                    <a:lnTo>
                      <a:pt x="82" y="27"/>
                    </a:lnTo>
                    <a:lnTo>
                      <a:pt x="83" y="27"/>
                    </a:lnTo>
                    <a:lnTo>
                      <a:pt x="85" y="27"/>
                    </a:lnTo>
                    <a:lnTo>
                      <a:pt x="83" y="27"/>
                    </a:lnTo>
                    <a:lnTo>
                      <a:pt x="82" y="27"/>
                    </a:lnTo>
                    <a:lnTo>
                      <a:pt x="80" y="27"/>
                    </a:lnTo>
                    <a:lnTo>
                      <a:pt x="78" y="26"/>
                    </a:lnTo>
                    <a:lnTo>
                      <a:pt x="77" y="26"/>
                    </a:lnTo>
                    <a:lnTo>
                      <a:pt x="77" y="24"/>
                    </a:lnTo>
                    <a:lnTo>
                      <a:pt x="75" y="26"/>
                    </a:lnTo>
                    <a:lnTo>
                      <a:pt x="75" y="24"/>
                    </a:lnTo>
                    <a:lnTo>
                      <a:pt x="75" y="22"/>
                    </a:lnTo>
                    <a:lnTo>
                      <a:pt x="77" y="22"/>
                    </a:lnTo>
                    <a:lnTo>
                      <a:pt x="78" y="22"/>
                    </a:lnTo>
                    <a:lnTo>
                      <a:pt x="80" y="22"/>
                    </a:lnTo>
                    <a:lnTo>
                      <a:pt x="80" y="24"/>
                    </a:lnTo>
                    <a:lnTo>
                      <a:pt x="80" y="22"/>
                    </a:lnTo>
                    <a:lnTo>
                      <a:pt x="78" y="22"/>
                    </a:lnTo>
                    <a:lnTo>
                      <a:pt x="80" y="22"/>
                    </a:lnTo>
                    <a:lnTo>
                      <a:pt x="80" y="21"/>
                    </a:lnTo>
                    <a:lnTo>
                      <a:pt x="82" y="21"/>
                    </a:lnTo>
                    <a:lnTo>
                      <a:pt x="83" y="21"/>
                    </a:lnTo>
                    <a:lnTo>
                      <a:pt x="83" y="19"/>
                    </a:lnTo>
                    <a:lnTo>
                      <a:pt x="83" y="17"/>
                    </a:lnTo>
                    <a:lnTo>
                      <a:pt x="82" y="17"/>
                    </a:lnTo>
                    <a:lnTo>
                      <a:pt x="82" y="16"/>
                    </a:lnTo>
                    <a:lnTo>
                      <a:pt x="82" y="14"/>
                    </a:lnTo>
                    <a:lnTo>
                      <a:pt x="80" y="14"/>
                    </a:lnTo>
                    <a:lnTo>
                      <a:pt x="82" y="14"/>
                    </a:lnTo>
                    <a:lnTo>
                      <a:pt x="80" y="12"/>
                    </a:lnTo>
                    <a:close/>
                    <a:moveTo>
                      <a:pt x="66" y="19"/>
                    </a:moveTo>
                    <a:lnTo>
                      <a:pt x="68" y="19"/>
                    </a:lnTo>
                    <a:lnTo>
                      <a:pt x="70" y="21"/>
                    </a:lnTo>
                    <a:lnTo>
                      <a:pt x="72" y="21"/>
                    </a:lnTo>
                    <a:lnTo>
                      <a:pt x="73" y="21"/>
                    </a:lnTo>
                    <a:lnTo>
                      <a:pt x="72" y="22"/>
                    </a:lnTo>
                    <a:lnTo>
                      <a:pt x="70" y="22"/>
                    </a:lnTo>
                    <a:lnTo>
                      <a:pt x="70" y="24"/>
                    </a:lnTo>
                    <a:lnTo>
                      <a:pt x="72" y="24"/>
                    </a:lnTo>
                    <a:lnTo>
                      <a:pt x="73" y="22"/>
                    </a:lnTo>
                    <a:lnTo>
                      <a:pt x="72" y="24"/>
                    </a:lnTo>
                    <a:lnTo>
                      <a:pt x="70" y="26"/>
                    </a:lnTo>
                    <a:lnTo>
                      <a:pt x="70" y="27"/>
                    </a:lnTo>
                    <a:lnTo>
                      <a:pt x="68" y="27"/>
                    </a:lnTo>
                    <a:lnTo>
                      <a:pt x="68" y="26"/>
                    </a:lnTo>
                    <a:lnTo>
                      <a:pt x="66" y="26"/>
                    </a:lnTo>
                    <a:lnTo>
                      <a:pt x="68" y="27"/>
                    </a:lnTo>
                    <a:lnTo>
                      <a:pt x="66" y="26"/>
                    </a:lnTo>
                    <a:lnTo>
                      <a:pt x="66" y="27"/>
                    </a:lnTo>
                    <a:lnTo>
                      <a:pt x="65" y="27"/>
                    </a:lnTo>
                    <a:lnTo>
                      <a:pt x="63" y="27"/>
                    </a:lnTo>
                    <a:lnTo>
                      <a:pt x="65" y="27"/>
                    </a:lnTo>
                    <a:lnTo>
                      <a:pt x="66" y="27"/>
                    </a:lnTo>
                    <a:lnTo>
                      <a:pt x="68" y="27"/>
                    </a:lnTo>
                    <a:lnTo>
                      <a:pt x="66" y="27"/>
                    </a:lnTo>
                    <a:lnTo>
                      <a:pt x="66" y="29"/>
                    </a:lnTo>
                    <a:lnTo>
                      <a:pt x="66" y="27"/>
                    </a:lnTo>
                    <a:lnTo>
                      <a:pt x="66" y="29"/>
                    </a:lnTo>
                    <a:lnTo>
                      <a:pt x="68" y="27"/>
                    </a:lnTo>
                    <a:lnTo>
                      <a:pt x="68" y="29"/>
                    </a:lnTo>
                    <a:lnTo>
                      <a:pt x="66" y="29"/>
                    </a:lnTo>
                    <a:lnTo>
                      <a:pt x="66" y="31"/>
                    </a:lnTo>
                    <a:lnTo>
                      <a:pt x="66" y="33"/>
                    </a:lnTo>
                    <a:lnTo>
                      <a:pt x="65" y="33"/>
                    </a:lnTo>
                    <a:lnTo>
                      <a:pt x="65" y="34"/>
                    </a:lnTo>
                    <a:lnTo>
                      <a:pt x="63" y="34"/>
                    </a:lnTo>
                    <a:lnTo>
                      <a:pt x="63" y="33"/>
                    </a:lnTo>
                    <a:lnTo>
                      <a:pt x="65" y="31"/>
                    </a:lnTo>
                    <a:lnTo>
                      <a:pt x="63" y="33"/>
                    </a:lnTo>
                    <a:lnTo>
                      <a:pt x="63" y="34"/>
                    </a:lnTo>
                    <a:lnTo>
                      <a:pt x="61" y="34"/>
                    </a:lnTo>
                    <a:lnTo>
                      <a:pt x="63" y="33"/>
                    </a:lnTo>
                    <a:lnTo>
                      <a:pt x="61" y="33"/>
                    </a:lnTo>
                    <a:lnTo>
                      <a:pt x="61" y="34"/>
                    </a:lnTo>
                    <a:lnTo>
                      <a:pt x="60" y="34"/>
                    </a:lnTo>
                    <a:lnTo>
                      <a:pt x="60" y="36"/>
                    </a:lnTo>
                    <a:lnTo>
                      <a:pt x="61" y="34"/>
                    </a:lnTo>
                    <a:lnTo>
                      <a:pt x="61" y="36"/>
                    </a:lnTo>
                    <a:lnTo>
                      <a:pt x="60" y="36"/>
                    </a:lnTo>
                    <a:lnTo>
                      <a:pt x="60" y="38"/>
                    </a:lnTo>
                    <a:lnTo>
                      <a:pt x="60" y="39"/>
                    </a:lnTo>
                    <a:lnTo>
                      <a:pt x="58" y="39"/>
                    </a:lnTo>
                    <a:lnTo>
                      <a:pt x="56" y="39"/>
                    </a:lnTo>
                    <a:lnTo>
                      <a:pt x="58" y="39"/>
                    </a:lnTo>
                    <a:lnTo>
                      <a:pt x="58" y="41"/>
                    </a:lnTo>
                    <a:lnTo>
                      <a:pt x="56" y="41"/>
                    </a:lnTo>
                    <a:lnTo>
                      <a:pt x="56" y="43"/>
                    </a:lnTo>
                    <a:lnTo>
                      <a:pt x="55" y="43"/>
                    </a:lnTo>
                    <a:lnTo>
                      <a:pt x="53" y="45"/>
                    </a:lnTo>
                    <a:lnTo>
                      <a:pt x="55" y="45"/>
                    </a:lnTo>
                    <a:lnTo>
                      <a:pt x="53" y="45"/>
                    </a:lnTo>
                    <a:lnTo>
                      <a:pt x="53" y="46"/>
                    </a:lnTo>
                    <a:lnTo>
                      <a:pt x="51" y="48"/>
                    </a:lnTo>
                    <a:lnTo>
                      <a:pt x="51" y="50"/>
                    </a:lnTo>
                    <a:lnTo>
                      <a:pt x="51" y="51"/>
                    </a:lnTo>
                    <a:lnTo>
                      <a:pt x="49" y="51"/>
                    </a:lnTo>
                    <a:lnTo>
                      <a:pt x="49" y="53"/>
                    </a:lnTo>
                    <a:lnTo>
                      <a:pt x="48" y="51"/>
                    </a:lnTo>
                    <a:lnTo>
                      <a:pt x="48" y="53"/>
                    </a:lnTo>
                    <a:lnTo>
                      <a:pt x="46" y="53"/>
                    </a:lnTo>
                    <a:lnTo>
                      <a:pt x="46" y="55"/>
                    </a:lnTo>
                    <a:lnTo>
                      <a:pt x="44" y="53"/>
                    </a:lnTo>
                    <a:lnTo>
                      <a:pt x="46" y="53"/>
                    </a:lnTo>
                    <a:lnTo>
                      <a:pt x="44" y="51"/>
                    </a:lnTo>
                    <a:lnTo>
                      <a:pt x="46" y="51"/>
                    </a:lnTo>
                    <a:lnTo>
                      <a:pt x="44" y="53"/>
                    </a:lnTo>
                    <a:lnTo>
                      <a:pt x="43" y="51"/>
                    </a:lnTo>
                    <a:lnTo>
                      <a:pt x="44" y="51"/>
                    </a:lnTo>
                    <a:lnTo>
                      <a:pt x="43" y="50"/>
                    </a:lnTo>
                    <a:lnTo>
                      <a:pt x="43" y="51"/>
                    </a:lnTo>
                    <a:lnTo>
                      <a:pt x="43" y="53"/>
                    </a:lnTo>
                    <a:lnTo>
                      <a:pt x="43" y="55"/>
                    </a:lnTo>
                    <a:lnTo>
                      <a:pt x="41" y="55"/>
                    </a:lnTo>
                    <a:lnTo>
                      <a:pt x="39" y="55"/>
                    </a:lnTo>
                    <a:lnTo>
                      <a:pt x="38" y="55"/>
                    </a:lnTo>
                    <a:lnTo>
                      <a:pt x="39" y="53"/>
                    </a:lnTo>
                    <a:lnTo>
                      <a:pt x="38" y="53"/>
                    </a:lnTo>
                    <a:lnTo>
                      <a:pt x="39" y="53"/>
                    </a:lnTo>
                    <a:lnTo>
                      <a:pt x="38" y="53"/>
                    </a:lnTo>
                    <a:lnTo>
                      <a:pt x="39" y="51"/>
                    </a:lnTo>
                    <a:lnTo>
                      <a:pt x="38" y="53"/>
                    </a:lnTo>
                    <a:lnTo>
                      <a:pt x="36" y="53"/>
                    </a:lnTo>
                    <a:lnTo>
                      <a:pt x="36" y="55"/>
                    </a:lnTo>
                    <a:lnTo>
                      <a:pt x="34" y="53"/>
                    </a:lnTo>
                    <a:lnTo>
                      <a:pt x="34" y="51"/>
                    </a:lnTo>
                    <a:lnTo>
                      <a:pt x="36" y="51"/>
                    </a:lnTo>
                    <a:lnTo>
                      <a:pt x="36" y="50"/>
                    </a:lnTo>
                    <a:lnTo>
                      <a:pt x="34" y="50"/>
                    </a:lnTo>
                    <a:lnTo>
                      <a:pt x="34" y="51"/>
                    </a:lnTo>
                    <a:lnTo>
                      <a:pt x="32" y="50"/>
                    </a:lnTo>
                    <a:lnTo>
                      <a:pt x="34" y="51"/>
                    </a:lnTo>
                    <a:lnTo>
                      <a:pt x="34" y="53"/>
                    </a:lnTo>
                    <a:lnTo>
                      <a:pt x="34" y="55"/>
                    </a:lnTo>
                    <a:lnTo>
                      <a:pt x="34" y="53"/>
                    </a:lnTo>
                    <a:lnTo>
                      <a:pt x="36" y="55"/>
                    </a:lnTo>
                    <a:lnTo>
                      <a:pt x="36" y="56"/>
                    </a:lnTo>
                    <a:lnTo>
                      <a:pt x="36" y="58"/>
                    </a:lnTo>
                    <a:lnTo>
                      <a:pt x="38" y="58"/>
                    </a:lnTo>
                    <a:lnTo>
                      <a:pt x="38" y="56"/>
                    </a:lnTo>
                    <a:lnTo>
                      <a:pt x="38" y="55"/>
                    </a:lnTo>
                    <a:lnTo>
                      <a:pt x="38" y="56"/>
                    </a:lnTo>
                    <a:lnTo>
                      <a:pt x="38" y="58"/>
                    </a:lnTo>
                    <a:lnTo>
                      <a:pt x="36" y="60"/>
                    </a:lnTo>
                    <a:lnTo>
                      <a:pt x="36" y="62"/>
                    </a:lnTo>
                    <a:lnTo>
                      <a:pt x="34" y="62"/>
                    </a:lnTo>
                    <a:lnTo>
                      <a:pt x="34" y="63"/>
                    </a:lnTo>
                    <a:lnTo>
                      <a:pt x="32" y="62"/>
                    </a:lnTo>
                    <a:lnTo>
                      <a:pt x="32" y="60"/>
                    </a:lnTo>
                    <a:lnTo>
                      <a:pt x="34" y="60"/>
                    </a:lnTo>
                    <a:lnTo>
                      <a:pt x="32" y="60"/>
                    </a:lnTo>
                    <a:lnTo>
                      <a:pt x="32" y="58"/>
                    </a:lnTo>
                    <a:lnTo>
                      <a:pt x="32" y="60"/>
                    </a:lnTo>
                    <a:lnTo>
                      <a:pt x="32" y="62"/>
                    </a:lnTo>
                    <a:lnTo>
                      <a:pt x="32" y="60"/>
                    </a:lnTo>
                    <a:lnTo>
                      <a:pt x="31" y="60"/>
                    </a:lnTo>
                    <a:lnTo>
                      <a:pt x="29" y="60"/>
                    </a:lnTo>
                    <a:lnTo>
                      <a:pt x="31" y="60"/>
                    </a:lnTo>
                    <a:lnTo>
                      <a:pt x="32" y="62"/>
                    </a:lnTo>
                    <a:lnTo>
                      <a:pt x="32" y="63"/>
                    </a:lnTo>
                    <a:lnTo>
                      <a:pt x="34" y="63"/>
                    </a:lnTo>
                    <a:lnTo>
                      <a:pt x="32" y="63"/>
                    </a:lnTo>
                    <a:lnTo>
                      <a:pt x="32" y="62"/>
                    </a:lnTo>
                    <a:lnTo>
                      <a:pt x="31" y="62"/>
                    </a:lnTo>
                    <a:lnTo>
                      <a:pt x="31" y="63"/>
                    </a:lnTo>
                    <a:lnTo>
                      <a:pt x="29" y="63"/>
                    </a:lnTo>
                    <a:lnTo>
                      <a:pt x="29" y="62"/>
                    </a:lnTo>
                    <a:lnTo>
                      <a:pt x="29" y="63"/>
                    </a:lnTo>
                    <a:lnTo>
                      <a:pt x="27" y="62"/>
                    </a:lnTo>
                    <a:lnTo>
                      <a:pt x="27" y="60"/>
                    </a:lnTo>
                    <a:lnTo>
                      <a:pt x="26" y="62"/>
                    </a:lnTo>
                    <a:lnTo>
                      <a:pt x="27" y="62"/>
                    </a:lnTo>
                    <a:lnTo>
                      <a:pt x="26" y="62"/>
                    </a:lnTo>
                    <a:lnTo>
                      <a:pt x="26" y="63"/>
                    </a:lnTo>
                    <a:lnTo>
                      <a:pt x="27" y="62"/>
                    </a:lnTo>
                    <a:lnTo>
                      <a:pt x="27" y="63"/>
                    </a:lnTo>
                    <a:lnTo>
                      <a:pt x="29" y="63"/>
                    </a:lnTo>
                    <a:lnTo>
                      <a:pt x="29" y="65"/>
                    </a:lnTo>
                    <a:lnTo>
                      <a:pt x="27" y="65"/>
                    </a:lnTo>
                    <a:lnTo>
                      <a:pt x="29" y="65"/>
                    </a:lnTo>
                    <a:lnTo>
                      <a:pt x="27" y="67"/>
                    </a:lnTo>
                    <a:lnTo>
                      <a:pt x="26" y="67"/>
                    </a:lnTo>
                    <a:lnTo>
                      <a:pt x="26" y="68"/>
                    </a:lnTo>
                    <a:lnTo>
                      <a:pt x="24" y="67"/>
                    </a:lnTo>
                    <a:lnTo>
                      <a:pt x="26" y="68"/>
                    </a:lnTo>
                    <a:lnTo>
                      <a:pt x="24" y="68"/>
                    </a:lnTo>
                    <a:lnTo>
                      <a:pt x="22" y="67"/>
                    </a:lnTo>
                    <a:lnTo>
                      <a:pt x="24" y="67"/>
                    </a:lnTo>
                    <a:lnTo>
                      <a:pt x="22" y="65"/>
                    </a:lnTo>
                    <a:lnTo>
                      <a:pt x="24" y="65"/>
                    </a:lnTo>
                    <a:lnTo>
                      <a:pt x="24" y="63"/>
                    </a:lnTo>
                    <a:lnTo>
                      <a:pt x="22" y="65"/>
                    </a:lnTo>
                    <a:lnTo>
                      <a:pt x="22" y="63"/>
                    </a:lnTo>
                    <a:lnTo>
                      <a:pt x="24" y="63"/>
                    </a:lnTo>
                    <a:lnTo>
                      <a:pt x="22" y="63"/>
                    </a:lnTo>
                    <a:lnTo>
                      <a:pt x="22" y="62"/>
                    </a:lnTo>
                    <a:lnTo>
                      <a:pt x="21" y="63"/>
                    </a:lnTo>
                    <a:lnTo>
                      <a:pt x="21" y="62"/>
                    </a:lnTo>
                    <a:lnTo>
                      <a:pt x="22" y="62"/>
                    </a:lnTo>
                    <a:lnTo>
                      <a:pt x="24" y="62"/>
                    </a:lnTo>
                    <a:lnTo>
                      <a:pt x="22" y="62"/>
                    </a:lnTo>
                    <a:lnTo>
                      <a:pt x="22" y="60"/>
                    </a:lnTo>
                    <a:lnTo>
                      <a:pt x="21" y="60"/>
                    </a:lnTo>
                    <a:lnTo>
                      <a:pt x="21" y="62"/>
                    </a:lnTo>
                    <a:lnTo>
                      <a:pt x="21" y="60"/>
                    </a:lnTo>
                    <a:lnTo>
                      <a:pt x="19" y="60"/>
                    </a:lnTo>
                    <a:lnTo>
                      <a:pt x="17" y="60"/>
                    </a:lnTo>
                    <a:lnTo>
                      <a:pt x="17" y="62"/>
                    </a:lnTo>
                    <a:lnTo>
                      <a:pt x="19" y="62"/>
                    </a:lnTo>
                    <a:lnTo>
                      <a:pt x="19" y="63"/>
                    </a:lnTo>
                    <a:lnTo>
                      <a:pt x="21" y="63"/>
                    </a:lnTo>
                    <a:lnTo>
                      <a:pt x="22" y="63"/>
                    </a:lnTo>
                    <a:lnTo>
                      <a:pt x="22" y="65"/>
                    </a:lnTo>
                    <a:lnTo>
                      <a:pt x="21" y="63"/>
                    </a:lnTo>
                    <a:lnTo>
                      <a:pt x="21" y="65"/>
                    </a:lnTo>
                    <a:lnTo>
                      <a:pt x="21" y="63"/>
                    </a:lnTo>
                    <a:lnTo>
                      <a:pt x="19" y="65"/>
                    </a:lnTo>
                    <a:lnTo>
                      <a:pt x="17" y="63"/>
                    </a:lnTo>
                    <a:lnTo>
                      <a:pt x="19" y="62"/>
                    </a:lnTo>
                    <a:lnTo>
                      <a:pt x="17" y="62"/>
                    </a:lnTo>
                    <a:lnTo>
                      <a:pt x="15" y="60"/>
                    </a:lnTo>
                    <a:lnTo>
                      <a:pt x="14" y="60"/>
                    </a:lnTo>
                    <a:lnTo>
                      <a:pt x="14" y="58"/>
                    </a:lnTo>
                    <a:lnTo>
                      <a:pt x="12" y="58"/>
                    </a:lnTo>
                    <a:lnTo>
                      <a:pt x="12" y="56"/>
                    </a:lnTo>
                    <a:lnTo>
                      <a:pt x="10" y="56"/>
                    </a:lnTo>
                    <a:lnTo>
                      <a:pt x="12" y="58"/>
                    </a:lnTo>
                    <a:lnTo>
                      <a:pt x="10" y="58"/>
                    </a:lnTo>
                    <a:lnTo>
                      <a:pt x="10" y="56"/>
                    </a:lnTo>
                    <a:lnTo>
                      <a:pt x="10" y="55"/>
                    </a:lnTo>
                    <a:lnTo>
                      <a:pt x="9" y="55"/>
                    </a:lnTo>
                    <a:lnTo>
                      <a:pt x="10" y="55"/>
                    </a:lnTo>
                    <a:lnTo>
                      <a:pt x="12" y="55"/>
                    </a:lnTo>
                    <a:lnTo>
                      <a:pt x="12" y="56"/>
                    </a:lnTo>
                    <a:lnTo>
                      <a:pt x="14" y="56"/>
                    </a:lnTo>
                    <a:lnTo>
                      <a:pt x="15" y="56"/>
                    </a:lnTo>
                    <a:lnTo>
                      <a:pt x="15" y="58"/>
                    </a:lnTo>
                    <a:lnTo>
                      <a:pt x="17" y="58"/>
                    </a:lnTo>
                    <a:lnTo>
                      <a:pt x="19" y="56"/>
                    </a:lnTo>
                    <a:lnTo>
                      <a:pt x="17" y="58"/>
                    </a:lnTo>
                    <a:lnTo>
                      <a:pt x="15" y="58"/>
                    </a:lnTo>
                    <a:lnTo>
                      <a:pt x="15" y="56"/>
                    </a:lnTo>
                    <a:lnTo>
                      <a:pt x="15" y="55"/>
                    </a:lnTo>
                    <a:lnTo>
                      <a:pt x="17" y="56"/>
                    </a:lnTo>
                    <a:lnTo>
                      <a:pt x="19" y="56"/>
                    </a:lnTo>
                    <a:lnTo>
                      <a:pt x="19" y="55"/>
                    </a:lnTo>
                    <a:lnTo>
                      <a:pt x="21" y="55"/>
                    </a:lnTo>
                    <a:lnTo>
                      <a:pt x="21" y="53"/>
                    </a:lnTo>
                    <a:lnTo>
                      <a:pt x="19" y="53"/>
                    </a:lnTo>
                    <a:lnTo>
                      <a:pt x="17" y="55"/>
                    </a:lnTo>
                    <a:lnTo>
                      <a:pt x="17" y="53"/>
                    </a:lnTo>
                    <a:lnTo>
                      <a:pt x="17" y="51"/>
                    </a:lnTo>
                    <a:lnTo>
                      <a:pt x="19" y="51"/>
                    </a:lnTo>
                    <a:lnTo>
                      <a:pt x="21" y="51"/>
                    </a:lnTo>
                    <a:lnTo>
                      <a:pt x="21" y="53"/>
                    </a:lnTo>
                    <a:lnTo>
                      <a:pt x="21" y="51"/>
                    </a:lnTo>
                    <a:lnTo>
                      <a:pt x="22" y="51"/>
                    </a:lnTo>
                    <a:lnTo>
                      <a:pt x="21" y="53"/>
                    </a:lnTo>
                    <a:lnTo>
                      <a:pt x="22" y="53"/>
                    </a:lnTo>
                    <a:lnTo>
                      <a:pt x="21" y="55"/>
                    </a:lnTo>
                    <a:lnTo>
                      <a:pt x="22" y="55"/>
                    </a:lnTo>
                    <a:lnTo>
                      <a:pt x="22" y="53"/>
                    </a:lnTo>
                    <a:lnTo>
                      <a:pt x="22" y="55"/>
                    </a:lnTo>
                    <a:lnTo>
                      <a:pt x="22" y="56"/>
                    </a:lnTo>
                    <a:lnTo>
                      <a:pt x="24" y="56"/>
                    </a:lnTo>
                    <a:lnTo>
                      <a:pt x="22" y="56"/>
                    </a:lnTo>
                    <a:lnTo>
                      <a:pt x="24" y="55"/>
                    </a:lnTo>
                    <a:lnTo>
                      <a:pt x="22" y="55"/>
                    </a:lnTo>
                    <a:lnTo>
                      <a:pt x="24" y="55"/>
                    </a:lnTo>
                    <a:lnTo>
                      <a:pt x="24" y="53"/>
                    </a:lnTo>
                    <a:lnTo>
                      <a:pt x="22" y="53"/>
                    </a:lnTo>
                    <a:lnTo>
                      <a:pt x="24" y="53"/>
                    </a:lnTo>
                    <a:lnTo>
                      <a:pt x="26" y="53"/>
                    </a:lnTo>
                    <a:lnTo>
                      <a:pt x="26" y="55"/>
                    </a:lnTo>
                    <a:lnTo>
                      <a:pt x="27" y="55"/>
                    </a:lnTo>
                    <a:lnTo>
                      <a:pt x="26" y="55"/>
                    </a:lnTo>
                    <a:lnTo>
                      <a:pt x="26" y="53"/>
                    </a:lnTo>
                    <a:lnTo>
                      <a:pt x="27" y="55"/>
                    </a:lnTo>
                    <a:lnTo>
                      <a:pt x="29" y="55"/>
                    </a:lnTo>
                    <a:lnTo>
                      <a:pt x="27" y="55"/>
                    </a:lnTo>
                    <a:lnTo>
                      <a:pt x="27" y="53"/>
                    </a:lnTo>
                    <a:lnTo>
                      <a:pt x="29" y="53"/>
                    </a:lnTo>
                    <a:lnTo>
                      <a:pt x="31" y="53"/>
                    </a:lnTo>
                    <a:lnTo>
                      <a:pt x="31" y="51"/>
                    </a:lnTo>
                    <a:lnTo>
                      <a:pt x="32" y="51"/>
                    </a:lnTo>
                    <a:lnTo>
                      <a:pt x="32" y="50"/>
                    </a:lnTo>
                    <a:lnTo>
                      <a:pt x="31" y="50"/>
                    </a:lnTo>
                    <a:lnTo>
                      <a:pt x="31" y="51"/>
                    </a:lnTo>
                    <a:lnTo>
                      <a:pt x="29" y="51"/>
                    </a:lnTo>
                    <a:lnTo>
                      <a:pt x="27" y="51"/>
                    </a:lnTo>
                    <a:lnTo>
                      <a:pt x="27" y="50"/>
                    </a:lnTo>
                    <a:lnTo>
                      <a:pt x="26" y="50"/>
                    </a:lnTo>
                    <a:lnTo>
                      <a:pt x="24" y="50"/>
                    </a:lnTo>
                    <a:lnTo>
                      <a:pt x="26" y="50"/>
                    </a:lnTo>
                    <a:lnTo>
                      <a:pt x="27" y="50"/>
                    </a:lnTo>
                    <a:lnTo>
                      <a:pt x="27" y="51"/>
                    </a:lnTo>
                    <a:lnTo>
                      <a:pt x="27" y="50"/>
                    </a:lnTo>
                    <a:lnTo>
                      <a:pt x="29" y="50"/>
                    </a:lnTo>
                    <a:lnTo>
                      <a:pt x="29" y="48"/>
                    </a:lnTo>
                    <a:lnTo>
                      <a:pt x="31" y="48"/>
                    </a:lnTo>
                    <a:lnTo>
                      <a:pt x="31" y="46"/>
                    </a:lnTo>
                    <a:lnTo>
                      <a:pt x="29" y="46"/>
                    </a:lnTo>
                    <a:lnTo>
                      <a:pt x="31" y="46"/>
                    </a:lnTo>
                    <a:lnTo>
                      <a:pt x="31" y="45"/>
                    </a:lnTo>
                    <a:lnTo>
                      <a:pt x="29" y="45"/>
                    </a:lnTo>
                    <a:lnTo>
                      <a:pt x="31" y="45"/>
                    </a:lnTo>
                    <a:lnTo>
                      <a:pt x="29" y="43"/>
                    </a:lnTo>
                    <a:lnTo>
                      <a:pt x="31" y="43"/>
                    </a:lnTo>
                    <a:lnTo>
                      <a:pt x="31" y="41"/>
                    </a:lnTo>
                    <a:lnTo>
                      <a:pt x="32" y="41"/>
                    </a:lnTo>
                    <a:lnTo>
                      <a:pt x="31" y="43"/>
                    </a:lnTo>
                    <a:lnTo>
                      <a:pt x="32" y="41"/>
                    </a:lnTo>
                    <a:lnTo>
                      <a:pt x="32" y="43"/>
                    </a:lnTo>
                    <a:lnTo>
                      <a:pt x="32" y="45"/>
                    </a:lnTo>
                    <a:lnTo>
                      <a:pt x="32" y="43"/>
                    </a:lnTo>
                    <a:lnTo>
                      <a:pt x="34" y="45"/>
                    </a:lnTo>
                    <a:lnTo>
                      <a:pt x="32" y="45"/>
                    </a:lnTo>
                    <a:lnTo>
                      <a:pt x="32" y="46"/>
                    </a:lnTo>
                    <a:lnTo>
                      <a:pt x="34" y="46"/>
                    </a:lnTo>
                    <a:lnTo>
                      <a:pt x="34" y="48"/>
                    </a:lnTo>
                    <a:lnTo>
                      <a:pt x="34" y="46"/>
                    </a:lnTo>
                    <a:lnTo>
                      <a:pt x="34" y="45"/>
                    </a:lnTo>
                    <a:lnTo>
                      <a:pt x="36" y="45"/>
                    </a:lnTo>
                    <a:lnTo>
                      <a:pt x="34" y="43"/>
                    </a:lnTo>
                    <a:lnTo>
                      <a:pt x="36" y="43"/>
                    </a:lnTo>
                    <a:lnTo>
                      <a:pt x="36" y="41"/>
                    </a:lnTo>
                    <a:lnTo>
                      <a:pt x="34" y="41"/>
                    </a:lnTo>
                    <a:lnTo>
                      <a:pt x="36" y="41"/>
                    </a:lnTo>
                    <a:lnTo>
                      <a:pt x="38" y="39"/>
                    </a:lnTo>
                    <a:lnTo>
                      <a:pt x="36" y="41"/>
                    </a:lnTo>
                    <a:lnTo>
                      <a:pt x="38" y="41"/>
                    </a:lnTo>
                    <a:lnTo>
                      <a:pt x="38" y="43"/>
                    </a:lnTo>
                    <a:lnTo>
                      <a:pt x="38" y="41"/>
                    </a:lnTo>
                    <a:lnTo>
                      <a:pt x="39" y="43"/>
                    </a:lnTo>
                    <a:lnTo>
                      <a:pt x="39" y="41"/>
                    </a:lnTo>
                    <a:lnTo>
                      <a:pt x="39" y="39"/>
                    </a:lnTo>
                    <a:lnTo>
                      <a:pt x="39" y="38"/>
                    </a:lnTo>
                    <a:lnTo>
                      <a:pt x="38" y="38"/>
                    </a:lnTo>
                    <a:lnTo>
                      <a:pt x="36" y="39"/>
                    </a:lnTo>
                    <a:lnTo>
                      <a:pt x="36" y="38"/>
                    </a:lnTo>
                    <a:lnTo>
                      <a:pt x="34" y="38"/>
                    </a:lnTo>
                    <a:lnTo>
                      <a:pt x="32" y="38"/>
                    </a:lnTo>
                    <a:lnTo>
                      <a:pt x="32" y="39"/>
                    </a:lnTo>
                    <a:lnTo>
                      <a:pt x="34" y="41"/>
                    </a:lnTo>
                    <a:lnTo>
                      <a:pt x="32" y="39"/>
                    </a:lnTo>
                    <a:lnTo>
                      <a:pt x="31" y="41"/>
                    </a:lnTo>
                    <a:lnTo>
                      <a:pt x="29" y="41"/>
                    </a:lnTo>
                    <a:lnTo>
                      <a:pt x="27" y="41"/>
                    </a:lnTo>
                    <a:lnTo>
                      <a:pt x="27" y="43"/>
                    </a:lnTo>
                    <a:lnTo>
                      <a:pt x="26" y="41"/>
                    </a:lnTo>
                    <a:lnTo>
                      <a:pt x="27" y="41"/>
                    </a:lnTo>
                    <a:lnTo>
                      <a:pt x="26" y="41"/>
                    </a:lnTo>
                    <a:lnTo>
                      <a:pt x="24" y="39"/>
                    </a:lnTo>
                    <a:lnTo>
                      <a:pt x="24" y="38"/>
                    </a:lnTo>
                    <a:lnTo>
                      <a:pt x="24" y="36"/>
                    </a:lnTo>
                    <a:lnTo>
                      <a:pt x="26" y="36"/>
                    </a:lnTo>
                    <a:lnTo>
                      <a:pt x="26" y="38"/>
                    </a:lnTo>
                    <a:lnTo>
                      <a:pt x="26" y="36"/>
                    </a:lnTo>
                    <a:lnTo>
                      <a:pt x="26" y="38"/>
                    </a:lnTo>
                    <a:lnTo>
                      <a:pt x="27" y="38"/>
                    </a:lnTo>
                    <a:lnTo>
                      <a:pt x="29" y="38"/>
                    </a:lnTo>
                    <a:lnTo>
                      <a:pt x="31" y="38"/>
                    </a:lnTo>
                    <a:lnTo>
                      <a:pt x="32" y="36"/>
                    </a:lnTo>
                    <a:lnTo>
                      <a:pt x="34" y="36"/>
                    </a:lnTo>
                    <a:lnTo>
                      <a:pt x="36" y="36"/>
                    </a:lnTo>
                    <a:lnTo>
                      <a:pt x="38" y="36"/>
                    </a:lnTo>
                    <a:lnTo>
                      <a:pt x="38" y="34"/>
                    </a:lnTo>
                    <a:lnTo>
                      <a:pt x="39" y="36"/>
                    </a:lnTo>
                    <a:lnTo>
                      <a:pt x="39" y="38"/>
                    </a:lnTo>
                    <a:lnTo>
                      <a:pt x="41" y="38"/>
                    </a:lnTo>
                    <a:lnTo>
                      <a:pt x="43" y="38"/>
                    </a:lnTo>
                    <a:lnTo>
                      <a:pt x="43" y="39"/>
                    </a:lnTo>
                    <a:lnTo>
                      <a:pt x="43" y="38"/>
                    </a:lnTo>
                    <a:lnTo>
                      <a:pt x="44" y="39"/>
                    </a:lnTo>
                    <a:lnTo>
                      <a:pt x="46" y="39"/>
                    </a:lnTo>
                    <a:lnTo>
                      <a:pt x="44" y="39"/>
                    </a:lnTo>
                    <a:lnTo>
                      <a:pt x="43" y="38"/>
                    </a:lnTo>
                    <a:lnTo>
                      <a:pt x="43" y="36"/>
                    </a:lnTo>
                    <a:lnTo>
                      <a:pt x="41" y="36"/>
                    </a:lnTo>
                    <a:lnTo>
                      <a:pt x="39" y="36"/>
                    </a:lnTo>
                    <a:lnTo>
                      <a:pt x="39" y="34"/>
                    </a:lnTo>
                    <a:lnTo>
                      <a:pt x="38" y="34"/>
                    </a:lnTo>
                    <a:lnTo>
                      <a:pt x="38" y="33"/>
                    </a:lnTo>
                    <a:lnTo>
                      <a:pt x="36" y="33"/>
                    </a:lnTo>
                    <a:lnTo>
                      <a:pt x="36" y="31"/>
                    </a:lnTo>
                    <a:lnTo>
                      <a:pt x="38" y="31"/>
                    </a:lnTo>
                    <a:lnTo>
                      <a:pt x="36" y="31"/>
                    </a:lnTo>
                    <a:lnTo>
                      <a:pt x="36" y="29"/>
                    </a:lnTo>
                    <a:lnTo>
                      <a:pt x="34" y="29"/>
                    </a:lnTo>
                    <a:lnTo>
                      <a:pt x="36" y="29"/>
                    </a:lnTo>
                    <a:lnTo>
                      <a:pt x="36" y="31"/>
                    </a:lnTo>
                    <a:lnTo>
                      <a:pt x="34" y="31"/>
                    </a:lnTo>
                    <a:lnTo>
                      <a:pt x="32" y="31"/>
                    </a:lnTo>
                    <a:lnTo>
                      <a:pt x="32" y="29"/>
                    </a:lnTo>
                    <a:lnTo>
                      <a:pt x="31" y="29"/>
                    </a:lnTo>
                    <a:lnTo>
                      <a:pt x="29" y="29"/>
                    </a:lnTo>
                    <a:lnTo>
                      <a:pt x="29" y="27"/>
                    </a:lnTo>
                    <a:lnTo>
                      <a:pt x="29" y="29"/>
                    </a:lnTo>
                    <a:lnTo>
                      <a:pt x="29" y="27"/>
                    </a:lnTo>
                    <a:lnTo>
                      <a:pt x="29" y="26"/>
                    </a:lnTo>
                    <a:lnTo>
                      <a:pt x="31" y="26"/>
                    </a:lnTo>
                    <a:lnTo>
                      <a:pt x="32" y="27"/>
                    </a:lnTo>
                    <a:lnTo>
                      <a:pt x="32" y="26"/>
                    </a:lnTo>
                    <a:lnTo>
                      <a:pt x="31" y="24"/>
                    </a:lnTo>
                    <a:lnTo>
                      <a:pt x="31" y="22"/>
                    </a:lnTo>
                    <a:lnTo>
                      <a:pt x="29" y="24"/>
                    </a:lnTo>
                    <a:lnTo>
                      <a:pt x="27" y="24"/>
                    </a:lnTo>
                    <a:lnTo>
                      <a:pt x="26" y="24"/>
                    </a:lnTo>
                    <a:lnTo>
                      <a:pt x="26" y="22"/>
                    </a:lnTo>
                    <a:lnTo>
                      <a:pt x="24" y="22"/>
                    </a:lnTo>
                    <a:lnTo>
                      <a:pt x="24" y="21"/>
                    </a:lnTo>
                    <a:lnTo>
                      <a:pt x="24" y="19"/>
                    </a:lnTo>
                    <a:lnTo>
                      <a:pt x="26" y="19"/>
                    </a:lnTo>
                    <a:lnTo>
                      <a:pt x="24" y="19"/>
                    </a:lnTo>
                    <a:lnTo>
                      <a:pt x="24" y="17"/>
                    </a:lnTo>
                    <a:lnTo>
                      <a:pt x="26" y="19"/>
                    </a:lnTo>
                    <a:lnTo>
                      <a:pt x="27" y="19"/>
                    </a:lnTo>
                    <a:lnTo>
                      <a:pt x="29" y="21"/>
                    </a:lnTo>
                    <a:lnTo>
                      <a:pt x="31" y="21"/>
                    </a:lnTo>
                    <a:lnTo>
                      <a:pt x="31" y="22"/>
                    </a:lnTo>
                    <a:lnTo>
                      <a:pt x="31" y="21"/>
                    </a:lnTo>
                    <a:lnTo>
                      <a:pt x="31" y="22"/>
                    </a:lnTo>
                    <a:lnTo>
                      <a:pt x="32" y="22"/>
                    </a:lnTo>
                    <a:lnTo>
                      <a:pt x="32" y="24"/>
                    </a:lnTo>
                    <a:lnTo>
                      <a:pt x="34" y="24"/>
                    </a:lnTo>
                    <a:lnTo>
                      <a:pt x="36" y="26"/>
                    </a:lnTo>
                    <a:lnTo>
                      <a:pt x="38" y="26"/>
                    </a:lnTo>
                    <a:lnTo>
                      <a:pt x="39" y="26"/>
                    </a:lnTo>
                    <a:lnTo>
                      <a:pt x="41" y="26"/>
                    </a:lnTo>
                    <a:lnTo>
                      <a:pt x="41" y="27"/>
                    </a:lnTo>
                    <a:lnTo>
                      <a:pt x="41" y="26"/>
                    </a:lnTo>
                    <a:lnTo>
                      <a:pt x="43" y="27"/>
                    </a:lnTo>
                    <a:lnTo>
                      <a:pt x="43" y="26"/>
                    </a:lnTo>
                    <a:lnTo>
                      <a:pt x="44" y="26"/>
                    </a:lnTo>
                    <a:lnTo>
                      <a:pt x="46" y="26"/>
                    </a:lnTo>
                    <a:lnTo>
                      <a:pt x="46" y="24"/>
                    </a:lnTo>
                    <a:lnTo>
                      <a:pt x="44" y="24"/>
                    </a:lnTo>
                    <a:lnTo>
                      <a:pt x="43" y="24"/>
                    </a:lnTo>
                    <a:lnTo>
                      <a:pt x="43" y="22"/>
                    </a:lnTo>
                    <a:lnTo>
                      <a:pt x="44" y="22"/>
                    </a:lnTo>
                    <a:lnTo>
                      <a:pt x="44" y="21"/>
                    </a:lnTo>
                    <a:lnTo>
                      <a:pt x="46" y="21"/>
                    </a:lnTo>
                    <a:lnTo>
                      <a:pt x="44" y="21"/>
                    </a:lnTo>
                    <a:lnTo>
                      <a:pt x="44" y="22"/>
                    </a:lnTo>
                    <a:lnTo>
                      <a:pt x="46" y="22"/>
                    </a:lnTo>
                    <a:lnTo>
                      <a:pt x="48" y="21"/>
                    </a:lnTo>
                    <a:lnTo>
                      <a:pt x="49" y="21"/>
                    </a:lnTo>
                    <a:lnTo>
                      <a:pt x="51" y="21"/>
                    </a:lnTo>
                    <a:lnTo>
                      <a:pt x="49" y="21"/>
                    </a:lnTo>
                    <a:lnTo>
                      <a:pt x="49" y="22"/>
                    </a:lnTo>
                    <a:lnTo>
                      <a:pt x="49" y="21"/>
                    </a:lnTo>
                    <a:lnTo>
                      <a:pt x="51" y="21"/>
                    </a:lnTo>
                    <a:lnTo>
                      <a:pt x="53" y="21"/>
                    </a:lnTo>
                    <a:lnTo>
                      <a:pt x="51" y="21"/>
                    </a:lnTo>
                    <a:lnTo>
                      <a:pt x="51" y="22"/>
                    </a:lnTo>
                    <a:lnTo>
                      <a:pt x="49" y="22"/>
                    </a:lnTo>
                    <a:lnTo>
                      <a:pt x="51" y="22"/>
                    </a:lnTo>
                    <a:lnTo>
                      <a:pt x="53" y="22"/>
                    </a:lnTo>
                    <a:lnTo>
                      <a:pt x="55" y="21"/>
                    </a:lnTo>
                    <a:lnTo>
                      <a:pt x="55" y="22"/>
                    </a:lnTo>
                    <a:lnTo>
                      <a:pt x="53" y="22"/>
                    </a:lnTo>
                    <a:lnTo>
                      <a:pt x="53" y="24"/>
                    </a:lnTo>
                    <a:lnTo>
                      <a:pt x="53" y="22"/>
                    </a:lnTo>
                    <a:lnTo>
                      <a:pt x="51" y="22"/>
                    </a:lnTo>
                    <a:lnTo>
                      <a:pt x="53" y="24"/>
                    </a:lnTo>
                    <a:lnTo>
                      <a:pt x="51" y="24"/>
                    </a:lnTo>
                    <a:lnTo>
                      <a:pt x="53" y="24"/>
                    </a:lnTo>
                    <a:lnTo>
                      <a:pt x="55" y="24"/>
                    </a:lnTo>
                    <a:lnTo>
                      <a:pt x="56" y="24"/>
                    </a:lnTo>
                    <a:lnTo>
                      <a:pt x="58" y="22"/>
                    </a:lnTo>
                    <a:lnTo>
                      <a:pt x="58" y="24"/>
                    </a:lnTo>
                    <a:lnTo>
                      <a:pt x="58" y="26"/>
                    </a:lnTo>
                    <a:lnTo>
                      <a:pt x="58" y="24"/>
                    </a:lnTo>
                    <a:lnTo>
                      <a:pt x="58" y="22"/>
                    </a:lnTo>
                    <a:lnTo>
                      <a:pt x="60" y="24"/>
                    </a:lnTo>
                    <a:lnTo>
                      <a:pt x="60" y="22"/>
                    </a:lnTo>
                    <a:lnTo>
                      <a:pt x="61" y="22"/>
                    </a:lnTo>
                    <a:lnTo>
                      <a:pt x="61" y="21"/>
                    </a:lnTo>
                    <a:lnTo>
                      <a:pt x="63" y="21"/>
                    </a:lnTo>
                    <a:lnTo>
                      <a:pt x="63" y="22"/>
                    </a:lnTo>
                    <a:lnTo>
                      <a:pt x="61" y="22"/>
                    </a:lnTo>
                    <a:lnTo>
                      <a:pt x="61" y="24"/>
                    </a:lnTo>
                    <a:lnTo>
                      <a:pt x="61" y="22"/>
                    </a:lnTo>
                    <a:lnTo>
                      <a:pt x="61" y="24"/>
                    </a:lnTo>
                    <a:lnTo>
                      <a:pt x="60" y="24"/>
                    </a:lnTo>
                    <a:lnTo>
                      <a:pt x="61" y="24"/>
                    </a:lnTo>
                    <a:lnTo>
                      <a:pt x="61" y="26"/>
                    </a:lnTo>
                    <a:lnTo>
                      <a:pt x="61" y="24"/>
                    </a:lnTo>
                    <a:lnTo>
                      <a:pt x="63" y="24"/>
                    </a:lnTo>
                    <a:lnTo>
                      <a:pt x="65" y="24"/>
                    </a:lnTo>
                    <a:lnTo>
                      <a:pt x="66" y="22"/>
                    </a:lnTo>
                    <a:lnTo>
                      <a:pt x="66" y="24"/>
                    </a:lnTo>
                    <a:lnTo>
                      <a:pt x="66" y="22"/>
                    </a:lnTo>
                    <a:lnTo>
                      <a:pt x="65" y="22"/>
                    </a:lnTo>
                    <a:lnTo>
                      <a:pt x="65" y="21"/>
                    </a:lnTo>
                    <a:lnTo>
                      <a:pt x="63" y="21"/>
                    </a:lnTo>
                    <a:lnTo>
                      <a:pt x="65" y="21"/>
                    </a:lnTo>
                    <a:lnTo>
                      <a:pt x="65" y="19"/>
                    </a:lnTo>
                    <a:lnTo>
                      <a:pt x="66" y="19"/>
                    </a:lnTo>
                    <a:lnTo>
                      <a:pt x="65" y="17"/>
                    </a:lnTo>
                    <a:lnTo>
                      <a:pt x="66" y="17"/>
                    </a:lnTo>
                    <a:lnTo>
                      <a:pt x="66" y="19"/>
                    </a:lnTo>
                    <a:close/>
                    <a:moveTo>
                      <a:pt x="17" y="41"/>
                    </a:moveTo>
                    <a:lnTo>
                      <a:pt x="17" y="43"/>
                    </a:lnTo>
                    <a:lnTo>
                      <a:pt x="17" y="45"/>
                    </a:lnTo>
                    <a:lnTo>
                      <a:pt x="15" y="45"/>
                    </a:lnTo>
                    <a:lnTo>
                      <a:pt x="15" y="46"/>
                    </a:lnTo>
                    <a:lnTo>
                      <a:pt x="15" y="48"/>
                    </a:lnTo>
                    <a:lnTo>
                      <a:pt x="17" y="48"/>
                    </a:lnTo>
                    <a:lnTo>
                      <a:pt x="15" y="48"/>
                    </a:lnTo>
                    <a:lnTo>
                      <a:pt x="15" y="50"/>
                    </a:lnTo>
                    <a:lnTo>
                      <a:pt x="17" y="48"/>
                    </a:lnTo>
                    <a:lnTo>
                      <a:pt x="17" y="50"/>
                    </a:lnTo>
                    <a:lnTo>
                      <a:pt x="15" y="50"/>
                    </a:lnTo>
                    <a:lnTo>
                      <a:pt x="14" y="50"/>
                    </a:lnTo>
                    <a:lnTo>
                      <a:pt x="15" y="51"/>
                    </a:lnTo>
                    <a:lnTo>
                      <a:pt x="14" y="51"/>
                    </a:lnTo>
                    <a:lnTo>
                      <a:pt x="12" y="53"/>
                    </a:lnTo>
                    <a:lnTo>
                      <a:pt x="10" y="51"/>
                    </a:lnTo>
                    <a:lnTo>
                      <a:pt x="10" y="50"/>
                    </a:lnTo>
                    <a:lnTo>
                      <a:pt x="9" y="50"/>
                    </a:lnTo>
                    <a:lnTo>
                      <a:pt x="9" y="48"/>
                    </a:lnTo>
                    <a:lnTo>
                      <a:pt x="7" y="48"/>
                    </a:lnTo>
                    <a:lnTo>
                      <a:pt x="9" y="48"/>
                    </a:lnTo>
                    <a:lnTo>
                      <a:pt x="7" y="48"/>
                    </a:lnTo>
                    <a:lnTo>
                      <a:pt x="7" y="46"/>
                    </a:lnTo>
                    <a:lnTo>
                      <a:pt x="9" y="46"/>
                    </a:lnTo>
                    <a:lnTo>
                      <a:pt x="7" y="46"/>
                    </a:lnTo>
                    <a:lnTo>
                      <a:pt x="7" y="45"/>
                    </a:lnTo>
                    <a:lnTo>
                      <a:pt x="7" y="46"/>
                    </a:lnTo>
                    <a:lnTo>
                      <a:pt x="7" y="45"/>
                    </a:lnTo>
                    <a:lnTo>
                      <a:pt x="9" y="43"/>
                    </a:lnTo>
                    <a:lnTo>
                      <a:pt x="9" y="45"/>
                    </a:lnTo>
                    <a:lnTo>
                      <a:pt x="10" y="45"/>
                    </a:lnTo>
                    <a:lnTo>
                      <a:pt x="10" y="43"/>
                    </a:lnTo>
                    <a:lnTo>
                      <a:pt x="12" y="43"/>
                    </a:lnTo>
                    <a:lnTo>
                      <a:pt x="12" y="41"/>
                    </a:lnTo>
                    <a:lnTo>
                      <a:pt x="12" y="43"/>
                    </a:lnTo>
                    <a:lnTo>
                      <a:pt x="14" y="43"/>
                    </a:lnTo>
                    <a:lnTo>
                      <a:pt x="14" y="45"/>
                    </a:lnTo>
                    <a:lnTo>
                      <a:pt x="12" y="45"/>
                    </a:lnTo>
                    <a:lnTo>
                      <a:pt x="12" y="46"/>
                    </a:lnTo>
                    <a:lnTo>
                      <a:pt x="10" y="46"/>
                    </a:lnTo>
                    <a:lnTo>
                      <a:pt x="10" y="48"/>
                    </a:lnTo>
                    <a:lnTo>
                      <a:pt x="12" y="46"/>
                    </a:lnTo>
                    <a:lnTo>
                      <a:pt x="14" y="46"/>
                    </a:lnTo>
                    <a:lnTo>
                      <a:pt x="14" y="45"/>
                    </a:lnTo>
                    <a:lnTo>
                      <a:pt x="14" y="46"/>
                    </a:lnTo>
                    <a:lnTo>
                      <a:pt x="15" y="45"/>
                    </a:lnTo>
                    <a:lnTo>
                      <a:pt x="15" y="46"/>
                    </a:lnTo>
                    <a:lnTo>
                      <a:pt x="15" y="45"/>
                    </a:lnTo>
                    <a:lnTo>
                      <a:pt x="15" y="43"/>
                    </a:lnTo>
                    <a:lnTo>
                      <a:pt x="15" y="41"/>
                    </a:lnTo>
                    <a:lnTo>
                      <a:pt x="17" y="41"/>
                    </a:lnTo>
                    <a:close/>
                    <a:moveTo>
                      <a:pt x="36" y="14"/>
                    </a:moveTo>
                    <a:lnTo>
                      <a:pt x="38" y="14"/>
                    </a:lnTo>
                    <a:lnTo>
                      <a:pt x="38" y="16"/>
                    </a:lnTo>
                    <a:lnTo>
                      <a:pt x="39" y="16"/>
                    </a:lnTo>
                    <a:lnTo>
                      <a:pt x="39" y="17"/>
                    </a:lnTo>
                    <a:lnTo>
                      <a:pt x="41" y="17"/>
                    </a:lnTo>
                    <a:lnTo>
                      <a:pt x="41" y="16"/>
                    </a:lnTo>
                    <a:lnTo>
                      <a:pt x="43" y="16"/>
                    </a:lnTo>
                    <a:lnTo>
                      <a:pt x="44" y="17"/>
                    </a:lnTo>
                    <a:lnTo>
                      <a:pt x="43" y="17"/>
                    </a:lnTo>
                    <a:lnTo>
                      <a:pt x="44" y="17"/>
                    </a:lnTo>
                    <a:lnTo>
                      <a:pt x="44" y="19"/>
                    </a:lnTo>
                    <a:lnTo>
                      <a:pt x="43" y="19"/>
                    </a:lnTo>
                    <a:lnTo>
                      <a:pt x="43" y="21"/>
                    </a:lnTo>
                    <a:lnTo>
                      <a:pt x="41" y="21"/>
                    </a:lnTo>
                    <a:lnTo>
                      <a:pt x="43" y="21"/>
                    </a:lnTo>
                    <a:lnTo>
                      <a:pt x="41" y="21"/>
                    </a:lnTo>
                    <a:lnTo>
                      <a:pt x="39" y="21"/>
                    </a:lnTo>
                    <a:lnTo>
                      <a:pt x="38" y="21"/>
                    </a:lnTo>
                    <a:lnTo>
                      <a:pt x="38" y="22"/>
                    </a:lnTo>
                    <a:lnTo>
                      <a:pt x="36" y="22"/>
                    </a:lnTo>
                    <a:lnTo>
                      <a:pt x="36" y="21"/>
                    </a:lnTo>
                    <a:lnTo>
                      <a:pt x="36" y="19"/>
                    </a:lnTo>
                    <a:lnTo>
                      <a:pt x="38" y="19"/>
                    </a:lnTo>
                    <a:lnTo>
                      <a:pt x="38" y="17"/>
                    </a:lnTo>
                    <a:lnTo>
                      <a:pt x="39" y="19"/>
                    </a:lnTo>
                    <a:lnTo>
                      <a:pt x="39" y="21"/>
                    </a:lnTo>
                    <a:lnTo>
                      <a:pt x="41" y="21"/>
                    </a:lnTo>
                    <a:lnTo>
                      <a:pt x="41" y="19"/>
                    </a:lnTo>
                    <a:lnTo>
                      <a:pt x="39" y="19"/>
                    </a:lnTo>
                    <a:lnTo>
                      <a:pt x="39" y="17"/>
                    </a:lnTo>
                    <a:lnTo>
                      <a:pt x="38" y="17"/>
                    </a:lnTo>
                    <a:lnTo>
                      <a:pt x="38" y="16"/>
                    </a:lnTo>
                    <a:lnTo>
                      <a:pt x="36" y="16"/>
                    </a:lnTo>
                    <a:lnTo>
                      <a:pt x="34" y="14"/>
                    </a:lnTo>
                    <a:lnTo>
                      <a:pt x="36" y="14"/>
                    </a:lnTo>
                    <a:close/>
                    <a:moveTo>
                      <a:pt x="55" y="14"/>
                    </a:moveTo>
                    <a:lnTo>
                      <a:pt x="56" y="14"/>
                    </a:lnTo>
                    <a:lnTo>
                      <a:pt x="58" y="14"/>
                    </a:lnTo>
                    <a:lnTo>
                      <a:pt x="60" y="14"/>
                    </a:lnTo>
                    <a:lnTo>
                      <a:pt x="60" y="16"/>
                    </a:lnTo>
                    <a:lnTo>
                      <a:pt x="61" y="16"/>
                    </a:lnTo>
                    <a:lnTo>
                      <a:pt x="61" y="14"/>
                    </a:lnTo>
                    <a:lnTo>
                      <a:pt x="61" y="16"/>
                    </a:lnTo>
                    <a:lnTo>
                      <a:pt x="63" y="14"/>
                    </a:lnTo>
                    <a:lnTo>
                      <a:pt x="63" y="16"/>
                    </a:lnTo>
                    <a:lnTo>
                      <a:pt x="65" y="16"/>
                    </a:lnTo>
                    <a:lnTo>
                      <a:pt x="65" y="17"/>
                    </a:lnTo>
                    <a:lnTo>
                      <a:pt x="63" y="17"/>
                    </a:lnTo>
                    <a:lnTo>
                      <a:pt x="63" y="16"/>
                    </a:lnTo>
                    <a:lnTo>
                      <a:pt x="63" y="17"/>
                    </a:lnTo>
                    <a:lnTo>
                      <a:pt x="65" y="19"/>
                    </a:lnTo>
                    <a:lnTo>
                      <a:pt x="63" y="17"/>
                    </a:lnTo>
                    <a:lnTo>
                      <a:pt x="61" y="19"/>
                    </a:lnTo>
                    <a:lnTo>
                      <a:pt x="61" y="17"/>
                    </a:lnTo>
                    <a:lnTo>
                      <a:pt x="61" y="19"/>
                    </a:lnTo>
                    <a:lnTo>
                      <a:pt x="60" y="17"/>
                    </a:lnTo>
                    <a:lnTo>
                      <a:pt x="58" y="16"/>
                    </a:lnTo>
                    <a:lnTo>
                      <a:pt x="56" y="16"/>
                    </a:lnTo>
                    <a:lnTo>
                      <a:pt x="55" y="16"/>
                    </a:lnTo>
                    <a:lnTo>
                      <a:pt x="53" y="16"/>
                    </a:lnTo>
                    <a:lnTo>
                      <a:pt x="53" y="14"/>
                    </a:lnTo>
                    <a:lnTo>
                      <a:pt x="51" y="14"/>
                    </a:lnTo>
                    <a:lnTo>
                      <a:pt x="53" y="14"/>
                    </a:lnTo>
                    <a:lnTo>
                      <a:pt x="55" y="12"/>
                    </a:lnTo>
                    <a:lnTo>
                      <a:pt x="55" y="14"/>
                    </a:lnTo>
                    <a:close/>
                    <a:moveTo>
                      <a:pt x="100" y="53"/>
                    </a:moveTo>
                    <a:lnTo>
                      <a:pt x="99" y="53"/>
                    </a:lnTo>
                    <a:lnTo>
                      <a:pt x="99" y="55"/>
                    </a:lnTo>
                    <a:lnTo>
                      <a:pt x="97" y="55"/>
                    </a:lnTo>
                    <a:lnTo>
                      <a:pt x="99" y="56"/>
                    </a:lnTo>
                    <a:lnTo>
                      <a:pt x="99" y="55"/>
                    </a:lnTo>
                    <a:lnTo>
                      <a:pt x="99" y="56"/>
                    </a:lnTo>
                    <a:lnTo>
                      <a:pt x="99" y="58"/>
                    </a:lnTo>
                    <a:lnTo>
                      <a:pt x="99" y="60"/>
                    </a:lnTo>
                    <a:lnTo>
                      <a:pt x="97" y="60"/>
                    </a:lnTo>
                    <a:lnTo>
                      <a:pt x="99" y="58"/>
                    </a:lnTo>
                    <a:lnTo>
                      <a:pt x="97" y="58"/>
                    </a:lnTo>
                    <a:lnTo>
                      <a:pt x="95" y="56"/>
                    </a:lnTo>
                    <a:lnTo>
                      <a:pt x="95" y="55"/>
                    </a:lnTo>
                    <a:lnTo>
                      <a:pt x="97" y="55"/>
                    </a:lnTo>
                    <a:lnTo>
                      <a:pt x="97" y="53"/>
                    </a:lnTo>
                    <a:lnTo>
                      <a:pt x="97" y="55"/>
                    </a:lnTo>
                    <a:lnTo>
                      <a:pt x="97" y="53"/>
                    </a:lnTo>
                    <a:lnTo>
                      <a:pt x="99" y="53"/>
                    </a:lnTo>
                    <a:lnTo>
                      <a:pt x="99" y="55"/>
                    </a:lnTo>
                    <a:lnTo>
                      <a:pt x="99" y="53"/>
                    </a:lnTo>
                    <a:lnTo>
                      <a:pt x="100" y="53"/>
                    </a:lnTo>
                    <a:close/>
                    <a:moveTo>
                      <a:pt x="53" y="63"/>
                    </a:moveTo>
                    <a:lnTo>
                      <a:pt x="55" y="63"/>
                    </a:lnTo>
                    <a:lnTo>
                      <a:pt x="56" y="63"/>
                    </a:lnTo>
                    <a:lnTo>
                      <a:pt x="56" y="65"/>
                    </a:lnTo>
                    <a:lnTo>
                      <a:pt x="56" y="67"/>
                    </a:lnTo>
                    <a:lnTo>
                      <a:pt x="56" y="68"/>
                    </a:lnTo>
                    <a:lnTo>
                      <a:pt x="55" y="68"/>
                    </a:lnTo>
                    <a:lnTo>
                      <a:pt x="55" y="70"/>
                    </a:lnTo>
                    <a:lnTo>
                      <a:pt x="55" y="68"/>
                    </a:lnTo>
                    <a:lnTo>
                      <a:pt x="55" y="67"/>
                    </a:lnTo>
                    <a:lnTo>
                      <a:pt x="55" y="65"/>
                    </a:lnTo>
                    <a:lnTo>
                      <a:pt x="55" y="67"/>
                    </a:lnTo>
                    <a:lnTo>
                      <a:pt x="55" y="65"/>
                    </a:lnTo>
                    <a:lnTo>
                      <a:pt x="55" y="63"/>
                    </a:lnTo>
                    <a:lnTo>
                      <a:pt x="53" y="63"/>
                    </a:lnTo>
                    <a:lnTo>
                      <a:pt x="53" y="62"/>
                    </a:lnTo>
                    <a:lnTo>
                      <a:pt x="53" y="63"/>
                    </a:lnTo>
                    <a:close/>
                    <a:moveTo>
                      <a:pt x="48" y="16"/>
                    </a:moveTo>
                    <a:lnTo>
                      <a:pt x="48" y="17"/>
                    </a:lnTo>
                    <a:lnTo>
                      <a:pt x="49" y="17"/>
                    </a:lnTo>
                    <a:lnTo>
                      <a:pt x="48" y="17"/>
                    </a:lnTo>
                    <a:lnTo>
                      <a:pt x="48" y="19"/>
                    </a:lnTo>
                    <a:lnTo>
                      <a:pt x="46" y="19"/>
                    </a:lnTo>
                    <a:lnTo>
                      <a:pt x="46" y="17"/>
                    </a:lnTo>
                    <a:lnTo>
                      <a:pt x="44" y="17"/>
                    </a:lnTo>
                    <a:lnTo>
                      <a:pt x="44" y="16"/>
                    </a:lnTo>
                    <a:lnTo>
                      <a:pt x="46" y="16"/>
                    </a:lnTo>
                    <a:lnTo>
                      <a:pt x="48" y="16"/>
                    </a:lnTo>
                    <a:close/>
                    <a:moveTo>
                      <a:pt x="5" y="45"/>
                    </a:moveTo>
                    <a:lnTo>
                      <a:pt x="4" y="45"/>
                    </a:lnTo>
                    <a:lnTo>
                      <a:pt x="4" y="46"/>
                    </a:lnTo>
                    <a:lnTo>
                      <a:pt x="5" y="46"/>
                    </a:lnTo>
                    <a:lnTo>
                      <a:pt x="4" y="48"/>
                    </a:lnTo>
                    <a:lnTo>
                      <a:pt x="4" y="46"/>
                    </a:lnTo>
                    <a:lnTo>
                      <a:pt x="2" y="46"/>
                    </a:lnTo>
                    <a:lnTo>
                      <a:pt x="2" y="45"/>
                    </a:lnTo>
                    <a:lnTo>
                      <a:pt x="0" y="45"/>
                    </a:lnTo>
                    <a:lnTo>
                      <a:pt x="2" y="45"/>
                    </a:lnTo>
                    <a:lnTo>
                      <a:pt x="2" y="43"/>
                    </a:lnTo>
                    <a:lnTo>
                      <a:pt x="2" y="45"/>
                    </a:lnTo>
                    <a:lnTo>
                      <a:pt x="4" y="45"/>
                    </a:lnTo>
                    <a:lnTo>
                      <a:pt x="4" y="43"/>
                    </a:lnTo>
                    <a:lnTo>
                      <a:pt x="5" y="43"/>
                    </a:lnTo>
                    <a:lnTo>
                      <a:pt x="5" y="45"/>
                    </a:lnTo>
                    <a:close/>
                    <a:moveTo>
                      <a:pt x="56" y="72"/>
                    </a:moveTo>
                    <a:lnTo>
                      <a:pt x="55" y="72"/>
                    </a:lnTo>
                    <a:lnTo>
                      <a:pt x="55" y="73"/>
                    </a:lnTo>
                    <a:lnTo>
                      <a:pt x="55" y="75"/>
                    </a:lnTo>
                    <a:lnTo>
                      <a:pt x="53" y="75"/>
                    </a:lnTo>
                    <a:lnTo>
                      <a:pt x="53" y="73"/>
                    </a:lnTo>
                    <a:lnTo>
                      <a:pt x="51" y="73"/>
                    </a:lnTo>
                    <a:lnTo>
                      <a:pt x="53" y="73"/>
                    </a:lnTo>
                    <a:lnTo>
                      <a:pt x="55" y="72"/>
                    </a:lnTo>
                    <a:lnTo>
                      <a:pt x="56" y="70"/>
                    </a:lnTo>
                    <a:lnTo>
                      <a:pt x="56" y="72"/>
                    </a:lnTo>
                    <a:close/>
                    <a:moveTo>
                      <a:pt x="85" y="63"/>
                    </a:moveTo>
                    <a:lnTo>
                      <a:pt x="85" y="65"/>
                    </a:lnTo>
                    <a:lnTo>
                      <a:pt x="83" y="67"/>
                    </a:lnTo>
                    <a:lnTo>
                      <a:pt x="82" y="67"/>
                    </a:lnTo>
                    <a:lnTo>
                      <a:pt x="80" y="67"/>
                    </a:lnTo>
                    <a:lnTo>
                      <a:pt x="82" y="67"/>
                    </a:lnTo>
                    <a:lnTo>
                      <a:pt x="82" y="65"/>
                    </a:lnTo>
                    <a:lnTo>
                      <a:pt x="83" y="67"/>
                    </a:lnTo>
                    <a:lnTo>
                      <a:pt x="85" y="65"/>
                    </a:lnTo>
                    <a:lnTo>
                      <a:pt x="83" y="65"/>
                    </a:lnTo>
                    <a:lnTo>
                      <a:pt x="85" y="65"/>
                    </a:lnTo>
                    <a:lnTo>
                      <a:pt x="83" y="63"/>
                    </a:lnTo>
                    <a:lnTo>
                      <a:pt x="85" y="63"/>
                    </a:lnTo>
                    <a:lnTo>
                      <a:pt x="85" y="62"/>
                    </a:lnTo>
                    <a:lnTo>
                      <a:pt x="85" y="63"/>
                    </a:lnTo>
                    <a:close/>
                    <a:moveTo>
                      <a:pt x="5" y="38"/>
                    </a:moveTo>
                    <a:lnTo>
                      <a:pt x="4" y="38"/>
                    </a:lnTo>
                    <a:lnTo>
                      <a:pt x="2" y="38"/>
                    </a:lnTo>
                    <a:lnTo>
                      <a:pt x="2" y="39"/>
                    </a:lnTo>
                    <a:lnTo>
                      <a:pt x="4" y="39"/>
                    </a:lnTo>
                    <a:lnTo>
                      <a:pt x="2" y="41"/>
                    </a:lnTo>
                    <a:lnTo>
                      <a:pt x="2" y="39"/>
                    </a:lnTo>
                    <a:lnTo>
                      <a:pt x="2" y="38"/>
                    </a:lnTo>
                    <a:lnTo>
                      <a:pt x="0" y="38"/>
                    </a:lnTo>
                    <a:lnTo>
                      <a:pt x="2" y="38"/>
                    </a:lnTo>
                    <a:lnTo>
                      <a:pt x="4" y="38"/>
                    </a:lnTo>
                    <a:lnTo>
                      <a:pt x="4" y="36"/>
                    </a:lnTo>
                    <a:lnTo>
                      <a:pt x="4" y="38"/>
                    </a:lnTo>
                    <a:lnTo>
                      <a:pt x="5" y="38"/>
                    </a:lnTo>
                    <a:close/>
                    <a:moveTo>
                      <a:pt x="55" y="17"/>
                    </a:moveTo>
                    <a:lnTo>
                      <a:pt x="55" y="19"/>
                    </a:lnTo>
                    <a:lnTo>
                      <a:pt x="56" y="19"/>
                    </a:lnTo>
                    <a:lnTo>
                      <a:pt x="58" y="19"/>
                    </a:lnTo>
                    <a:lnTo>
                      <a:pt x="56" y="19"/>
                    </a:lnTo>
                    <a:lnTo>
                      <a:pt x="55" y="19"/>
                    </a:lnTo>
                    <a:lnTo>
                      <a:pt x="55" y="21"/>
                    </a:lnTo>
                    <a:lnTo>
                      <a:pt x="53" y="19"/>
                    </a:lnTo>
                    <a:lnTo>
                      <a:pt x="55" y="19"/>
                    </a:lnTo>
                    <a:lnTo>
                      <a:pt x="53" y="19"/>
                    </a:lnTo>
                    <a:lnTo>
                      <a:pt x="51" y="19"/>
                    </a:lnTo>
                    <a:lnTo>
                      <a:pt x="53" y="19"/>
                    </a:lnTo>
                    <a:lnTo>
                      <a:pt x="53" y="17"/>
                    </a:lnTo>
                    <a:lnTo>
                      <a:pt x="55" y="19"/>
                    </a:lnTo>
                    <a:lnTo>
                      <a:pt x="53" y="17"/>
                    </a:lnTo>
                    <a:lnTo>
                      <a:pt x="55" y="17"/>
                    </a:lnTo>
                    <a:close/>
                    <a:moveTo>
                      <a:pt x="26" y="12"/>
                    </a:moveTo>
                    <a:lnTo>
                      <a:pt x="29" y="12"/>
                    </a:lnTo>
                    <a:lnTo>
                      <a:pt x="29" y="17"/>
                    </a:lnTo>
                    <a:lnTo>
                      <a:pt x="26" y="17"/>
                    </a:lnTo>
                    <a:lnTo>
                      <a:pt x="26" y="12"/>
                    </a:lnTo>
                    <a:close/>
                    <a:moveTo>
                      <a:pt x="17" y="53"/>
                    </a:moveTo>
                    <a:lnTo>
                      <a:pt x="17" y="55"/>
                    </a:lnTo>
                    <a:lnTo>
                      <a:pt x="15" y="55"/>
                    </a:lnTo>
                    <a:lnTo>
                      <a:pt x="14" y="53"/>
                    </a:lnTo>
                    <a:lnTo>
                      <a:pt x="15" y="53"/>
                    </a:lnTo>
                    <a:lnTo>
                      <a:pt x="15" y="51"/>
                    </a:lnTo>
                    <a:lnTo>
                      <a:pt x="17" y="53"/>
                    </a:lnTo>
                    <a:close/>
                    <a:moveTo>
                      <a:pt x="7" y="0"/>
                    </a:moveTo>
                    <a:lnTo>
                      <a:pt x="10" y="0"/>
                    </a:lnTo>
                    <a:lnTo>
                      <a:pt x="10" y="4"/>
                    </a:lnTo>
                    <a:lnTo>
                      <a:pt x="7" y="4"/>
                    </a:lnTo>
                    <a:lnTo>
                      <a:pt x="7" y="0"/>
                    </a:lnTo>
                    <a:close/>
                    <a:moveTo>
                      <a:pt x="58" y="41"/>
                    </a:moveTo>
                    <a:lnTo>
                      <a:pt x="61" y="41"/>
                    </a:lnTo>
                    <a:lnTo>
                      <a:pt x="61" y="43"/>
                    </a:lnTo>
                    <a:lnTo>
                      <a:pt x="58" y="43"/>
                    </a:lnTo>
                    <a:lnTo>
                      <a:pt x="58" y="41"/>
                    </a:lnTo>
                    <a:close/>
                    <a:moveTo>
                      <a:pt x="55" y="50"/>
                    </a:moveTo>
                    <a:lnTo>
                      <a:pt x="56" y="50"/>
                    </a:lnTo>
                    <a:lnTo>
                      <a:pt x="56" y="53"/>
                    </a:lnTo>
                    <a:lnTo>
                      <a:pt x="55" y="53"/>
                    </a:lnTo>
                    <a:lnTo>
                      <a:pt x="55" y="50"/>
                    </a:lnTo>
                    <a:close/>
                    <a:moveTo>
                      <a:pt x="21" y="17"/>
                    </a:moveTo>
                    <a:lnTo>
                      <a:pt x="24" y="17"/>
                    </a:lnTo>
                    <a:lnTo>
                      <a:pt x="24" y="21"/>
                    </a:lnTo>
                    <a:lnTo>
                      <a:pt x="21" y="21"/>
                    </a:lnTo>
                    <a:lnTo>
                      <a:pt x="21" y="17"/>
                    </a:lnTo>
                    <a:close/>
                    <a:moveTo>
                      <a:pt x="55" y="73"/>
                    </a:moveTo>
                    <a:lnTo>
                      <a:pt x="58" y="73"/>
                    </a:lnTo>
                    <a:lnTo>
                      <a:pt x="58" y="75"/>
                    </a:lnTo>
                    <a:lnTo>
                      <a:pt x="55" y="75"/>
                    </a:lnTo>
                    <a:lnTo>
                      <a:pt x="55" y="73"/>
                    </a:lnTo>
                    <a:close/>
                    <a:moveTo>
                      <a:pt x="78" y="79"/>
                    </a:moveTo>
                    <a:lnTo>
                      <a:pt x="77" y="77"/>
                    </a:lnTo>
                    <a:lnTo>
                      <a:pt x="77" y="79"/>
                    </a:lnTo>
                    <a:lnTo>
                      <a:pt x="75" y="79"/>
                    </a:lnTo>
                    <a:lnTo>
                      <a:pt x="75" y="77"/>
                    </a:lnTo>
                    <a:lnTo>
                      <a:pt x="77" y="77"/>
                    </a:lnTo>
                    <a:lnTo>
                      <a:pt x="78" y="79"/>
                    </a:lnTo>
                    <a:close/>
                    <a:moveTo>
                      <a:pt x="55" y="21"/>
                    </a:moveTo>
                    <a:lnTo>
                      <a:pt x="56" y="21"/>
                    </a:lnTo>
                    <a:lnTo>
                      <a:pt x="56" y="22"/>
                    </a:lnTo>
                    <a:lnTo>
                      <a:pt x="55" y="22"/>
                    </a:lnTo>
                    <a:lnTo>
                      <a:pt x="55" y="21"/>
                    </a:lnTo>
                    <a:close/>
                    <a:moveTo>
                      <a:pt x="4" y="0"/>
                    </a:moveTo>
                    <a:lnTo>
                      <a:pt x="7" y="0"/>
                    </a:lnTo>
                    <a:lnTo>
                      <a:pt x="7" y="2"/>
                    </a:lnTo>
                    <a:lnTo>
                      <a:pt x="4" y="2"/>
                    </a:lnTo>
                    <a:lnTo>
                      <a:pt x="4" y="0"/>
                    </a:lnTo>
                    <a:close/>
                    <a:moveTo>
                      <a:pt x="22" y="33"/>
                    </a:moveTo>
                    <a:lnTo>
                      <a:pt x="24" y="33"/>
                    </a:lnTo>
                    <a:lnTo>
                      <a:pt x="24" y="36"/>
                    </a:lnTo>
                    <a:lnTo>
                      <a:pt x="22" y="36"/>
                    </a:lnTo>
                    <a:lnTo>
                      <a:pt x="22" y="33"/>
                    </a:lnTo>
                    <a:close/>
                    <a:moveTo>
                      <a:pt x="19" y="31"/>
                    </a:moveTo>
                    <a:lnTo>
                      <a:pt x="21" y="31"/>
                    </a:lnTo>
                    <a:lnTo>
                      <a:pt x="19" y="31"/>
                    </a:lnTo>
                    <a:close/>
                    <a:moveTo>
                      <a:pt x="55" y="56"/>
                    </a:moveTo>
                    <a:lnTo>
                      <a:pt x="55" y="60"/>
                    </a:lnTo>
                    <a:lnTo>
                      <a:pt x="55" y="56"/>
                    </a:lnTo>
                    <a:close/>
                    <a:moveTo>
                      <a:pt x="55" y="17"/>
                    </a:moveTo>
                    <a:lnTo>
                      <a:pt x="58" y="17"/>
                    </a:lnTo>
                    <a:lnTo>
                      <a:pt x="58" y="19"/>
                    </a:lnTo>
                    <a:lnTo>
                      <a:pt x="55" y="19"/>
                    </a:lnTo>
                    <a:lnTo>
                      <a:pt x="55" y="17"/>
                    </a:lnTo>
                    <a:close/>
                    <a:moveTo>
                      <a:pt x="56" y="19"/>
                    </a:moveTo>
                    <a:lnTo>
                      <a:pt x="60" y="19"/>
                    </a:lnTo>
                    <a:lnTo>
                      <a:pt x="60" y="21"/>
                    </a:lnTo>
                    <a:lnTo>
                      <a:pt x="56" y="21"/>
                    </a:lnTo>
                    <a:lnTo>
                      <a:pt x="56" y="19"/>
                    </a:lnTo>
                    <a:close/>
                    <a:moveTo>
                      <a:pt x="49" y="12"/>
                    </a:moveTo>
                    <a:lnTo>
                      <a:pt x="51" y="12"/>
                    </a:lnTo>
                    <a:lnTo>
                      <a:pt x="51" y="14"/>
                    </a:lnTo>
                    <a:lnTo>
                      <a:pt x="49" y="14"/>
                    </a:lnTo>
                    <a:lnTo>
                      <a:pt x="49" y="12"/>
                    </a:lnTo>
                    <a:close/>
                    <a:moveTo>
                      <a:pt x="29" y="45"/>
                    </a:moveTo>
                    <a:lnTo>
                      <a:pt x="31" y="45"/>
                    </a:lnTo>
                    <a:lnTo>
                      <a:pt x="31" y="46"/>
                    </a:lnTo>
                    <a:lnTo>
                      <a:pt x="29" y="46"/>
                    </a:lnTo>
                    <a:lnTo>
                      <a:pt x="29" y="45"/>
                    </a:lnTo>
                    <a:close/>
                    <a:moveTo>
                      <a:pt x="58" y="21"/>
                    </a:moveTo>
                    <a:lnTo>
                      <a:pt x="60" y="21"/>
                    </a:lnTo>
                    <a:lnTo>
                      <a:pt x="60" y="22"/>
                    </a:lnTo>
                    <a:lnTo>
                      <a:pt x="58" y="22"/>
                    </a:lnTo>
                    <a:lnTo>
                      <a:pt x="58" y="21"/>
                    </a:lnTo>
                    <a:close/>
                    <a:moveTo>
                      <a:pt x="5" y="46"/>
                    </a:moveTo>
                    <a:lnTo>
                      <a:pt x="7" y="46"/>
                    </a:lnTo>
                    <a:lnTo>
                      <a:pt x="7" y="50"/>
                    </a:lnTo>
                    <a:lnTo>
                      <a:pt x="5" y="50"/>
                    </a:lnTo>
                    <a:lnTo>
                      <a:pt x="5" y="46"/>
                    </a:lnTo>
                    <a:close/>
                    <a:moveTo>
                      <a:pt x="14" y="10"/>
                    </a:moveTo>
                    <a:lnTo>
                      <a:pt x="17" y="10"/>
                    </a:lnTo>
                    <a:lnTo>
                      <a:pt x="14" y="10"/>
                    </a:lnTo>
                    <a:close/>
                    <a:moveTo>
                      <a:pt x="92" y="60"/>
                    </a:moveTo>
                    <a:lnTo>
                      <a:pt x="94" y="60"/>
                    </a:lnTo>
                    <a:lnTo>
                      <a:pt x="94" y="62"/>
                    </a:lnTo>
                    <a:lnTo>
                      <a:pt x="92" y="62"/>
                    </a:lnTo>
                    <a:lnTo>
                      <a:pt x="92" y="60"/>
                    </a:lnTo>
                    <a:close/>
                    <a:moveTo>
                      <a:pt x="95" y="53"/>
                    </a:moveTo>
                    <a:lnTo>
                      <a:pt x="99" y="53"/>
                    </a:lnTo>
                    <a:lnTo>
                      <a:pt x="95" y="53"/>
                    </a:lnTo>
                    <a:close/>
                    <a:moveTo>
                      <a:pt x="100" y="53"/>
                    </a:moveTo>
                    <a:lnTo>
                      <a:pt x="102" y="53"/>
                    </a:lnTo>
                    <a:lnTo>
                      <a:pt x="102" y="55"/>
                    </a:lnTo>
                    <a:lnTo>
                      <a:pt x="100" y="55"/>
                    </a:lnTo>
                    <a:lnTo>
                      <a:pt x="100" y="53"/>
                    </a:lnTo>
                    <a:close/>
                    <a:moveTo>
                      <a:pt x="111" y="29"/>
                    </a:moveTo>
                    <a:lnTo>
                      <a:pt x="112" y="29"/>
                    </a:lnTo>
                    <a:lnTo>
                      <a:pt x="112" y="31"/>
                    </a:lnTo>
                    <a:lnTo>
                      <a:pt x="111" y="31"/>
                    </a:lnTo>
                    <a:lnTo>
                      <a:pt x="111" y="29"/>
                    </a:lnTo>
                    <a:close/>
                    <a:moveTo>
                      <a:pt x="31" y="7"/>
                    </a:moveTo>
                    <a:lnTo>
                      <a:pt x="32" y="7"/>
                    </a:lnTo>
                    <a:lnTo>
                      <a:pt x="31" y="7"/>
                    </a:lnTo>
                    <a:close/>
                    <a:moveTo>
                      <a:pt x="15" y="4"/>
                    </a:moveTo>
                    <a:lnTo>
                      <a:pt x="17" y="4"/>
                    </a:lnTo>
                    <a:lnTo>
                      <a:pt x="17" y="5"/>
                    </a:lnTo>
                    <a:lnTo>
                      <a:pt x="15" y="5"/>
                    </a:lnTo>
                    <a:lnTo>
                      <a:pt x="15" y="4"/>
                    </a:lnTo>
                    <a:close/>
                    <a:moveTo>
                      <a:pt x="5" y="48"/>
                    </a:moveTo>
                    <a:lnTo>
                      <a:pt x="7" y="48"/>
                    </a:lnTo>
                    <a:lnTo>
                      <a:pt x="7" y="50"/>
                    </a:lnTo>
                    <a:lnTo>
                      <a:pt x="5" y="50"/>
                    </a:lnTo>
                    <a:lnTo>
                      <a:pt x="5" y="48"/>
                    </a:lnTo>
                    <a:close/>
                    <a:moveTo>
                      <a:pt x="31" y="33"/>
                    </a:moveTo>
                    <a:lnTo>
                      <a:pt x="32" y="33"/>
                    </a:lnTo>
                    <a:lnTo>
                      <a:pt x="32" y="34"/>
                    </a:lnTo>
                    <a:lnTo>
                      <a:pt x="31" y="34"/>
                    </a:lnTo>
                    <a:lnTo>
                      <a:pt x="31" y="33"/>
                    </a:lnTo>
                    <a:close/>
                    <a:moveTo>
                      <a:pt x="56" y="41"/>
                    </a:moveTo>
                    <a:lnTo>
                      <a:pt x="58" y="41"/>
                    </a:lnTo>
                    <a:lnTo>
                      <a:pt x="58" y="43"/>
                    </a:lnTo>
                    <a:lnTo>
                      <a:pt x="56" y="43"/>
                    </a:lnTo>
                    <a:lnTo>
                      <a:pt x="56" y="41"/>
                    </a:lnTo>
                    <a:close/>
                    <a:moveTo>
                      <a:pt x="49" y="19"/>
                    </a:moveTo>
                    <a:lnTo>
                      <a:pt x="51" y="19"/>
                    </a:lnTo>
                    <a:lnTo>
                      <a:pt x="51" y="21"/>
                    </a:lnTo>
                    <a:lnTo>
                      <a:pt x="49" y="21"/>
                    </a:lnTo>
                    <a:lnTo>
                      <a:pt x="49" y="19"/>
                    </a:lnTo>
                    <a:close/>
                    <a:moveTo>
                      <a:pt x="17" y="7"/>
                    </a:moveTo>
                    <a:lnTo>
                      <a:pt x="17" y="9"/>
                    </a:lnTo>
                    <a:lnTo>
                      <a:pt x="17" y="7"/>
                    </a:lnTo>
                    <a:close/>
                    <a:moveTo>
                      <a:pt x="58" y="46"/>
                    </a:moveTo>
                    <a:lnTo>
                      <a:pt x="60" y="46"/>
                    </a:lnTo>
                    <a:lnTo>
                      <a:pt x="60" y="48"/>
                    </a:lnTo>
                    <a:lnTo>
                      <a:pt x="58" y="48"/>
                    </a:lnTo>
                    <a:lnTo>
                      <a:pt x="58" y="46"/>
                    </a:lnTo>
                    <a:close/>
                    <a:moveTo>
                      <a:pt x="5" y="45"/>
                    </a:moveTo>
                    <a:lnTo>
                      <a:pt x="7" y="45"/>
                    </a:lnTo>
                    <a:lnTo>
                      <a:pt x="7" y="46"/>
                    </a:lnTo>
                    <a:lnTo>
                      <a:pt x="5" y="46"/>
                    </a:lnTo>
                    <a:lnTo>
                      <a:pt x="5" y="45"/>
                    </a:lnTo>
                    <a:close/>
                    <a:moveTo>
                      <a:pt x="95" y="48"/>
                    </a:moveTo>
                    <a:lnTo>
                      <a:pt x="95" y="50"/>
                    </a:lnTo>
                    <a:lnTo>
                      <a:pt x="95" y="48"/>
                    </a:lnTo>
                    <a:close/>
                    <a:moveTo>
                      <a:pt x="55" y="21"/>
                    </a:moveTo>
                    <a:lnTo>
                      <a:pt x="56" y="21"/>
                    </a:lnTo>
                    <a:lnTo>
                      <a:pt x="55" y="21"/>
                    </a:lnTo>
                    <a:close/>
                    <a:moveTo>
                      <a:pt x="31" y="65"/>
                    </a:moveTo>
                    <a:lnTo>
                      <a:pt x="32" y="65"/>
                    </a:lnTo>
                    <a:lnTo>
                      <a:pt x="32" y="67"/>
                    </a:lnTo>
                    <a:lnTo>
                      <a:pt x="31" y="67"/>
                    </a:lnTo>
                    <a:lnTo>
                      <a:pt x="31" y="65"/>
                    </a:lnTo>
                    <a:close/>
                    <a:moveTo>
                      <a:pt x="21" y="24"/>
                    </a:moveTo>
                    <a:lnTo>
                      <a:pt x="22" y="24"/>
                    </a:lnTo>
                    <a:lnTo>
                      <a:pt x="22" y="26"/>
                    </a:lnTo>
                    <a:lnTo>
                      <a:pt x="21" y="26"/>
                    </a:lnTo>
                    <a:lnTo>
                      <a:pt x="21" y="24"/>
                    </a:lnTo>
                    <a:close/>
                    <a:moveTo>
                      <a:pt x="10" y="41"/>
                    </a:moveTo>
                    <a:lnTo>
                      <a:pt x="10" y="43"/>
                    </a:lnTo>
                    <a:lnTo>
                      <a:pt x="10" y="41"/>
                    </a:lnTo>
                    <a:close/>
                    <a:moveTo>
                      <a:pt x="89" y="62"/>
                    </a:moveTo>
                    <a:lnTo>
                      <a:pt x="90" y="62"/>
                    </a:lnTo>
                    <a:lnTo>
                      <a:pt x="89" y="62"/>
                    </a:lnTo>
                    <a:close/>
                    <a:moveTo>
                      <a:pt x="106" y="43"/>
                    </a:moveTo>
                    <a:lnTo>
                      <a:pt x="107" y="43"/>
                    </a:lnTo>
                    <a:lnTo>
                      <a:pt x="106" y="43"/>
                    </a:lnTo>
                    <a:close/>
                    <a:moveTo>
                      <a:pt x="29" y="29"/>
                    </a:moveTo>
                    <a:lnTo>
                      <a:pt x="29" y="31"/>
                    </a:lnTo>
                    <a:lnTo>
                      <a:pt x="29" y="29"/>
                    </a:lnTo>
                    <a:close/>
                    <a:moveTo>
                      <a:pt x="78" y="62"/>
                    </a:moveTo>
                    <a:lnTo>
                      <a:pt x="80" y="62"/>
                    </a:lnTo>
                    <a:lnTo>
                      <a:pt x="78" y="62"/>
                    </a:lnTo>
                    <a:close/>
                    <a:moveTo>
                      <a:pt x="61" y="68"/>
                    </a:moveTo>
                    <a:lnTo>
                      <a:pt x="61" y="70"/>
                    </a:lnTo>
                    <a:lnTo>
                      <a:pt x="61" y="68"/>
                    </a:lnTo>
                    <a:close/>
                    <a:moveTo>
                      <a:pt x="97" y="51"/>
                    </a:moveTo>
                    <a:lnTo>
                      <a:pt x="99" y="51"/>
                    </a:lnTo>
                    <a:lnTo>
                      <a:pt x="97" y="51"/>
                    </a:lnTo>
                    <a:close/>
                    <a:moveTo>
                      <a:pt x="15" y="29"/>
                    </a:moveTo>
                    <a:lnTo>
                      <a:pt x="17" y="29"/>
                    </a:lnTo>
                    <a:lnTo>
                      <a:pt x="17" y="31"/>
                    </a:lnTo>
                    <a:lnTo>
                      <a:pt x="15" y="31"/>
                    </a:lnTo>
                    <a:lnTo>
                      <a:pt x="15" y="29"/>
                    </a:lnTo>
                    <a:close/>
                    <a:moveTo>
                      <a:pt x="111" y="43"/>
                    </a:moveTo>
                    <a:lnTo>
                      <a:pt x="112" y="43"/>
                    </a:lnTo>
                    <a:lnTo>
                      <a:pt x="111" y="43"/>
                    </a:lnTo>
                    <a:close/>
                    <a:moveTo>
                      <a:pt x="61" y="39"/>
                    </a:moveTo>
                    <a:lnTo>
                      <a:pt x="63" y="39"/>
                    </a:lnTo>
                    <a:lnTo>
                      <a:pt x="61" y="39"/>
                    </a:lnTo>
                    <a:close/>
                    <a:moveTo>
                      <a:pt x="48" y="10"/>
                    </a:moveTo>
                    <a:lnTo>
                      <a:pt x="49" y="10"/>
                    </a:lnTo>
                    <a:lnTo>
                      <a:pt x="49" y="12"/>
                    </a:lnTo>
                    <a:lnTo>
                      <a:pt x="48" y="12"/>
                    </a:lnTo>
                    <a:lnTo>
                      <a:pt x="48" y="10"/>
                    </a:lnTo>
                    <a:close/>
                    <a:moveTo>
                      <a:pt x="38" y="41"/>
                    </a:moveTo>
                    <a:lnTo>
                      <a:pt x="39" y="41"/>
                    </a:lnTo>
                    <a:lnTo>
                      <a:pt x="38" y="41"/>
                    </a:lnTo>
                    <a:close/>
                    <a:moveTo>
                      <a:pt x="56" y="48"/>
                    </a:moveTo>
                    <a:lnTo>
                      <a:pt x="58" y="48"/>
                    </a:lnTo>
                    <a:lnTo>
                      <a:pt x="56" y="48"/>
                    </a:lnTo>
                    <a:close/>
                    <a:moveTo>
                      <a:pt x="51" y="17"/>
                    </a:moveTo>
                    <a:lnTo>
                      <a:pt x="51" y="19"/>
                    </a:lnTo>
                    <a:lnTo>
                      <a:pt x="51" y="17"/>
                    </a:lnTo>
                    <a:close/>
                    <a:moveTo>
                      <a:pt x="41" y="22"/>
                    </a:moveTo>
                    <a:lnTo>
                      <a:pt x="43" y="22"/>
                    </a:lnTo>
                    <a:lnTo>
                      <a:pt x="41" y="22"/>
                    </a:lnTo>
                    <a:close/>
                    <a:moveTo>
                      <a:pt x="56" y="21"/>
                    </a:moveTo>
                    <a:lnTo>
                      <a:pt x="58" y="21"/>
                    </a:lnTo>
                    <a:lnTo>
                      <a:pt x="56" y="21"/>
                    </a:lnTo>
                    <a:close/>
                    <a:moveTo>
                      <a:pt x="49" y="19"/>
                    </a:moveTo>
                    <a:lnTo>
                      <a:pt x="49" y="21"/>
                    </a:lnTo>
                    <a:lnTo>
                      <a:pt x="49" y="19"/>
                    </a:lnTo>
                    <a:close/>
                    <a:moveTo>
                      <a:pt x="9" y="41"/>
                    </a:moveTo>
                    <a:lnTo>
                      <a:pt x="9" y="43"/>
                    </a:lnTo>
                    <a:lnTo>
                      <a:pt x="9" y="41"/>
                    </a:lnTo>
                    <a:close/>
                    <a:moveTo>
                      <a:pt x="14" y="63"/>
                    </a:moveTo>
                    <a:lnTo>
                      <a:pt x="15" y="63"/>
                    </a:lnTo>
                    <a:lnTo>
                      <a:pt x="14" y="63"/>
                    </a:lnTo>
                    <a:close/>
                    <a:moveTo>
                      <a:pt x="12" y="55"/>
                    </a:moveTo>
                    <a:lnTo>
                      <a:pt x="14" y="55"/>
                    </a:lnTo>
                    <a:lnTo>
                      <a:pt x="12" y="55"/>
                    </a:lnTo>
                    <a:close/>
                    <a:moveTo>
                      <a:pt x="58" y="51"/>
                    </a:moveTo>
                    <a:lnTo>
                      <a:pt x="58" y="53"/>
                    </a:lnTo>
                    <a:lnTo>
                      <a:pt x="58" y="51"/>
                    </a:lnTo>
                    <a:close/>
                    <a:moveTo>
                      <a:pt x="82" y="79"/>
                    </a:moveTo>
                    <a:lnTo>
                      <a:pt x="83" y="79"/>
                    </a:lnTo>
                    <a:lnTo>
                      <a:pt x="82" y="79"/>
                    </a:lnTo>
                    <a:close/>
                    <a:moveTo>
                      <a:pt x="29" y="67"/>
                    </a:moveTo>
                    <a:lnTo>
                      <a:pt x="31" y="67"/>
                    </a:lnTo>
                    <a:lnTo>
                      <a:pt x="29" y="67"/>
                    </a:lnTo>
                    <a:close/>
                    <a:moveTo>
                      <a:pt x="29" y="17"/>
                    </a:moveTo>
                    <a:lnTo>
                      <a:pt x="31" y="17"/>
                    </a:lnTo>
                    <a:lnTo>
                      <a:pt x="29" y="17"/>
                    </a:lnTo>
                    <a:close/>
                    <a:moveTo>
                      <a:pt x="4" y="34"/>
                    </a:moveTo>
                    <a:lnTo>
                      <a:pt x="4" y="36"/>
                    </a:lnTo>
                    <a:lnTo>
                      <a:pt x="4" y="34"/>
                    </a:lnTo>
                    <a:close/>
                    <a:moveTo>
                      <a:pt x="7" y="43"/>
                    </a:moveTo>
                    <a:lnTo>
                      <a:pt x="9" y="43"/>
                    </a:lnTo>
                    <a:lnTo>
                      <a:pt x="7" y="43"/>
                    </a:lnTo>
                    <a:close/>
                    <a:moveTo>
                      <a:pt x="90" y="51"/>
                    </a:moveTo>
                    <a:lnTo>
                      <a:pt x="92" y="51"/>
                    </a:lnTo>
                    <a:lnTo>
                      <a:pt x="90" y="51"/>
                    </a:lnTo>
                    <a:close/>
                    <a:moveTo>
                      <a:pt x="51" y="55"/>
                    </a:moveTo>
                    <a:lnTo>
                      <a:pt x="51" y="56"/>
                    </a:lnTo>
                    <a:lnTo>
                      <a:pt x="51" y="55"/>
                    </a:lnTo>
                    <a:close/>
                    <a:moveTo>
                      <a:pt x="22" y="63"/>
                    </a:moveTo>
                    <a:lnTo>
                      <a:pt x="22" y="65"/>
                    </a:lnTo>
                    <a:lnTo>
                      <a:pt x="22" y="63"/>
                    </a:lnTo>
                    <a:close/>
                    <a:moveTo>
                      <a:pt x="53" y="21"/>
                    </a:moveTo>
                    <a:lnTo>
                      <a:pt x="55" y="21"/>
                    </a:lnTo>
                    <a:lnTo>
                      <a:pt x="53" y="21"/>
                    </a:lnTo>
                    <a:close/>
                    <a:moveTo>
                      <a:pt x="87" y="51"/>
                    </a:moveTo>
                    <a:lnTo>
                      <a:pt x="89" y="51"/>
                    </a:lnTo>
                    <a:lnTo>
                      <a:pt x="87" y="51"/>
                    </a:lnTo>
                    <a:close/>
                    <a:moveTo>
                      <a:pt x="53" y="45"/>
                    </a:moveTo>
                    <a:lnTo>
                      <a:pt x="55" y="45"/>
                    </a:lnTo>
                    <a:lnTo>
                      <a:pt x="55" y="46"/>
                    </a:lnTo>
                    <a:lnTo>
                      <a:pt x="53" y="46"/>
                    </a:lnTo>
                    <a:lnTo>
                      <a:pt x="53" y="45"/>
                    </a:lnTo>
                    <a:close/>
                    <a:moveTo>
                      <a:pt x="87" y="48"/>
                    </a:moveTo>
                    <a:lnTo>
                      <a:pt x="87" y="50"/>
                    </a:lnTo>
                    <a:lnTo>
                      <a:pt x="87" y="4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6" name="Freeform 31">
                <a:extLst>
                  <a:ext uri="{FF2B5EF4-FFF2-40B4-BE49-F238E27FC236}">
                    <a16:creationId xmlns:a16="http://schemas.microsoft.com/office/drawing/2014/main" id="{24F8747F-DACF-ADF6-8DC0-67FCE93DA038}"/>
                  </a:ext>
                </a:extLst>
              </p:cNvPr>
              <p:cNvSpPr>
                <a:spLocks noEditPoints="1"/>
              </p:cNvSpPr>
              <p:nvPr/>
            </p:nvSpPr>
            <p:spPr bwMode="auto">
              <a:xfrm>
                <a:off x="5837483" y="2889558"/>
                <a:ext cx="28784" cy="36422"/>
              </a:xfrm>
              <a:custGeom>
                <a:avLst/>
                <a:gdLst>
                  <a:gd name="T0" fmla="*/ 95 w 98"/>
                  <a:gd name="T1" fmla="*/ 59 h 124"/>
                  <a:gd name="T2" fmla="*/ 90 w 98"/>
                  <a:gd name="T3" fmla="*/ 66 h 124"/>
                  <a:gd name="T4" fmla="*/ 86 w 98"/>
                  <a:gd name="T5" fmla="*/ 73 h 124"/>
                  <a:gd name="T6" fmla="*/ 83 w 98"/>
                  <a:gd name="T7" fmla="*/ 78 h 124"/>
                  <a:gd name="T8" fmla="*/ 80 w 98"/>
                  <a:gd name="T9" fmla="*/ 83 h 124"/>
                  <a:gd name="T10" fmla="*/ 76 w 98"/>
                  <a:gd name="T11" fmla="*/ 88 h 124"/>
                  <a:gd name="T12" fmla="*/ 73 w 98"/>
                  <a:gd name="T13" fmla="*/ 93 h 124"/>
                  <a:gd name="T14" fmla="*/ 71 w 98"/>
                  <a:gd name="T15" fmla="*/ 100 h 124"/>
                  <a:gd name="T16" fmla="*/ 68 w 98"/>
                  <a:gd name="T17" fmla="*/ 105 h 124"/>
                  <a:gd name="T18" fmla="*/ 66 w 98"/>
                  <a:gd name="T19" fmla="*/ 112 h 124"/>
                  <a:gd name="T20" fmla="*/ 64 w 98"/>
                  <a:gd name="T21" fmla="*/ 115 h 124"/>
                  <a:gd name="T22" fmla="*/ 57 w 98"/>
                  <a:gd name="T23" fmla="*/ 119 h 124"/>
                  <a:gd name="T24" fmla="*/ 52 w 98"/>
                  <a:gd name="T25" fmla="*/ 122 h 124"/>
                  <a:gd name="T26" fmla="*/ 47 w 98"/>
                  <a:gd name="T27" fmla="*/ 120 h 124"/>
                  <a:gd name="T28" fmla="*/ 42 w 98"/>
                  <a:gd name="T29" fmla="*/ 117 h 124"/>
                  <a:gd name="T30" fmla="*/ 34 w 98"/>
                  <a:gd name="T31" fmla="*/ 119 h 124"/>
                  <a:gd name="T32" fmla="*/ 27 w 98"/>
                  <a:gd name="T33" fmla="*/ 117 h 124"/>
                  <a:gd name="T34" fmla="*/ 25 w 98"/>
                  <a:gd name="T35" fmla="*/ 117 h 124"/>
                  <a:gd name="T36" fmla="*/ 20 w 98"/>
                  <a:gd name="T37" fmla="*/ 117 h 124"/>
                  <a:gd name="T38" fmla="*/ 15 w 98"/>
                  <a:gd name="T39" fmla="*/ 120 h 124"/>
                  <a:gd name="T40" fmla="*/ 12 w 98"/>
                  <a:gd name="T41" fmla="*/ 122 h 124"/>
                  <a:gd name="T42" fmla="*/ 5 w 98"/>
                  <a:gd name="T43" fmla="*/ 120 h 124"/>
                  <a:gd name="T44" fmla="*/ 0 w 98"/>
                  <a:gd name="T45" fmla="*/ 117 h 124"/>
                  <a:gd name="T46" fmla="*/ 3 w 98"/>
                  <a:gd name="T47" fmla="*/ 114 h 124"/>
                  <a:gd name="T48" fmla="*/ 6 w 98"/>
                  <a:gd name="T49" fmla="*/ 109 h 124"/>
                  <a:gd name="T50" fmla="*/ 10 w 98"/>
                  <a:gd name="T51" fmla="*/ 103 h 124"/>
                  <a:gd name="T52" fmla="*/ 12 w 98"/>
                  <a:gd name="T53" fmla="*/ 97 h 124"/>
                  <a:gd name="T54" fmla="*/ 12 w 98"/>
                  <a:gd name="T55" fmla="*/ 93 h 124"/>
                  <a:gd name="T56" fmla="*/ 12 w 98"/>
                  <a:gd name="T57" fmla="*/ 88 h 124"/>
                  <a:gd name="T58" fmla="*/ 15 w 98"/>
                  <a:gd name="T59" fmla="*/ 83 h 124"/>
                  <a:gd name="T60" fmla="*/ 18 w 98"/>
                  <a:gd name="T61" fmla="*/ 78 h 124"/>
                  <a:gd name="T62" fmla="*/ 17 w 98"/>
                  <a:gd name="T63" fmla="*/ 71 h 124"/>
                  <a:gd name="T64" fmla="*/ 15 w 98"/>
                  <a:gd name="T65" fmla="*/ 68 h 124"/>
                  <a:gd name="T66" fmla="*/ 10 w 98"/>
                  <a:gd name="T67" fmla="*/ 64 h 124"/>
                  <a:gd name="T68" fmla="*/ 6 w 98"/>
                  <a:gd name="T69" fmla="*/ 59 h 124"/>
                  <a:gd name="T70" fmla="*/ 6 w 98"/>
                  <a:gd name="T71" fmla="*/ 54 h 124"/>
                  <a:gd name="T72" fmla="*/ 5 w 98"/>
                  <a:gd name="T73" fmla="*/ 47 h 124"/>
                  <a:gd name="T74" fmla="*/ 3 w 98"/>
                  <a:gd name="T75" fmla="*/ 41 h 124"/>
                  <a:gd name="T76" fmla="*/ 3 w 98"/>
                  <a:gd name="T77" fmla="*/ 35 h 124"/>
                  <a:gd name="T78" fmla="*/ 3 w 98"/>
                  <a:gd name="T79" fmla="*/ 29 h 124"/>
                  <a:gd name="T80" fmla="*/ 6 w 98"/>
                  <a:gd name="T81" fmla="*/ 22 h 124"/>
                  <a:gd name="T82" fmla="*/ 10 w 98"/>
                  <a:gd name="T83" fmla="*/ 15 h 124"/>
                  <a:gd name="T84" fmla="*/ 15 w 98"/>
                  <a:gd name="T85" fmla="*/ 10 h 124"/>
                  <a:gd name="T86" fmla="*/ 18 w 98"/>
                  <a:gd name="T87" fmla="*/ 5 h 124"/>
                  <a:gd name="T88" fmla="*/ 22 w 98"/>
                  <a:gd name="T89" fmla="*/ 1 h 124"/>
                  <a:gd name="T90" fmla="*/ 29 w 98"/>
                  <a:gd name="T91" fmla="*/ 3 h 124"/>
                  <a:gd name="T92" fmla="*/ 34 w 98"/>
                  <a:gd name="T93" fmla="*/ 6 h 124"/>
                  <a:gd name="T94" fmla="*/ 40 w 98"/>
                  <a:gd name="T95" fmla="*/ 8 h 124"/>
                  <a:gd name="T96" fmla="*/ 44 w 98"/>
                  <a:gd name="T97" fmla="*/ 6 h 124"/>
                  <a:gd name="T98" fmla="*/ 51 w 98"/>
                  <a:gd name="T99" fmla="*/ 10 h 124"/>
                  <a:gd name="T100" fmla="*/ 56 w 98"/>
                  <a:gd name="T101" fmla="*/ 12 h 124"/>
                  <a:gd name="T102" fmla="*/ 59 w 98"/>
                  <a:gd name="T103" fmla="*/ 17 h 124"/>
                  <a:gd name="T104" fmla="*/ 66 w 98"/>
                  <a:gd name="T105" fmla="*/ 22 h 124"/>
                  <a:gd name="T106" fmla="*/ 71 w 98"/>
                  <a:gd name="T107" fmla="*/ 27 h 124"/>
                  <a:gd name="T108" fmla="*/ 74 w 98"/>
                  <a:gd name="T109" fmla="*/ 29 h 124"/>
                  <a:gd name="T110" fmla="*/ 76 w 98"/>
                  <a:gd name="T111" fmla="*/ 29 h 124"/>
                  <a:gd name="T112" fmla="*/ 80 w 98"/>
                  <a:gd name="T113" fmla="*/ 30 h 124"/>
                  <a:gd name="T114" fmla="*/ 85 w 98"/>
                  <a:gd name="T115" fmla="*/ 35 h 124"/>
                  <a:gd name="T116" fmla="*/ 88 w 98"/>
                  <a:gd name="T117" fmla="*/ 37 h 124"/>
                  <a:gd name="T118" fmla="*/ 93 w 98"/>
                  <a:gd name="T119" fmla="*/ 41 h 124"/>
                  <a:gd name="T120" fmla="*/ 95 w 98"/>
                  <a:gd name="T121" fmla="*/ 47 h 124"/>
                  <a:gd name="T122" fmla="*/ 97 w 98"/>
                  <a:gd name="T123" fmla="*/ 51 h 124"/>
                  <a:gd name="T124" fmla="*/ 22 w 98"/>
                  <a:gd name="T125"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8" h="124">
                    <a:moveTo>
                      <a:pt x="98" y="56"/>
                    </a:moveTo>
                    <a:lnTo>
                      <a:pt x="98" y="58"/>
                    </a:lnTo>
                    <a:lnTo>
                      <a:pt x="97" y="58"/>
                    </a:lnTo>
                    <a:lnTo>
                      <a:pt x="97" y="59"/>
                    </a:lnTo>
                    <a:lnTo>
                      <a:pt x="95" y="59"/>
                    </a:lnTo>
                    <a:lnTo>
                      <a:pt x="93" y="61"/>
                    </a:lnTo>
                    <a:lnTo>
                      <a:pt x="93" y="63"/>
                    </a:lnTo>
                    <a:lnTo>
                      <a:pt x="93" y="64"/>
                    </a:lnTo>
                    <a:lnTo>
                      <a:pt x="91" y="64"/>
                    </a:lnTo>
                    <a:lnTo>
                      <a:pt x="90" y="66"/>
                    </a:lnTo>
                    <a:lnTo>
                      <a:pt x="88" y="68"/>
                    </a:lnTo>
                    <a:lnTo>
                      <a:pt x="88" y="69"/>
                    </a:lnTo>
                    <a:lnTo>
                      <a:pt x="86" y="69"/>
                    </a:lnTo>
                    <a:lnTo>
                      <a:pt x="86" y="71"/>
                    </a:lnTo>
                    <a:lnTo>
                      <a:pt x="86" y="73"/>
                    </a:lnTo>
                    <a:lnTo>
                      <a:pt x="85" y="73"/>
                    </a:lnTo>
                    <a:lnTo>
                      <a:pt x="85" y="75"/>
                    </a:lnTo>
                    <a:lnTo>
                      <a:pt x="85" y="76"/>
                    </a:lnTo>
                    <a:lnTo>
                      <a:pt x="83" y="76"/>
                    </a:lnTo>
                    <a:lnTo>
                      <a:pt x="83" y="78"/>
                    </a:lnTo>
                    <a:lnTo>
                      <a:pt x="81" y="78"/>
                    </a:lnTo>
                    <a:lnTo>
                      <a:pt x="81" y="80"/>
                    </a:lnTo>
                    <a:lnTo>
                      <a:pt x="81" y="81"/>
                    </a:lnTo>
                    <a:lnTo>
                      <a:pt x="80" y="81"/>
                    </a:lnTo>
                    <a:lnTo>
                      <a:pt x="80" y="83"/>
                    </a:lnTo>
                    <a:lnTo>
                      <a:pt x="80" y="85"/>
                    </a:lnTo>
                    <a:lnTo>
                      <a:pt x="78" y="85"/>
                    </a:lnTo>
                    <a:lnTo>
                      <a:pt x="76" y="85"/>
                    </a:lnTo>
                    <a:lnTo>
                      <a:pt x="76" y="86"/>
                    </a:lnTo>
                    <a:lnTo>
                      <a:pt x="76" y="88"/>
                    </a:lnTo>
                    <a:lnTo>
                      <a:pt x="74" y="88"/>
                    </a:lnTo>
                    <a:lnTo>
                      <a:pt x="74" y="90"/>
                    </a:lnTo>
                    <a:lnTo>
                      <a:pt x="74" y="92"/>
                    </a:lnTo>
                    <a:lnTo>
                      <a:pt x="74" y="93"/>
                    </a:lnTo>
                    <a:lnTo>
                      <a:pt x="73" y="93"/>
                    </a:lnTo>
                    <a:lnTo>
                      <a:pt x="73" y="95"/>
                    </a:lnTo>
                    <a:lnTo>
                      <a:pt x="73" y="97"/>
                    </a:lnTo>
                    <a:lnTo>
                      <a:pt x="71" y="97"/>
                    </a:lnTo>
                    <a:lnTo>
                      <a:pt x="71" y="98"/>
                    </a:lnTo>
                    <a:lnTo>
                      <a:pt x="71" y="100"/>
                    </a:lnTo>
                    <a:lnTo>
                      <a:pt x="69" y="100"/>
                    </a:lnTo>
                    <a:lnTo>
                      <a:pt x="69" y="102"/>
                    </a:lnTo>
                    <a:lnTo>
                      <a:pt x="69" y="103"/>
                    </a:lnTo>
                    <a:lnTo>
                      <a:pt x="68" y="103"/>
                    </a:lnTo>
                    <a:lnTo>
                      <a:pt x="68" y="105"/>
                    </a:lnTo>
                    <a:lnTo>
                      <a:pt x="68" y="107"/>
                    </a:lnTo>
                    <a:lnTo>
                      <a:pt x="68" y="109"/>
                    </a:lnTo>
                    <a:lnTo>
                      <a:pt x="68" y="110"/>
                    </a:lnTo>
                    <a:lnTo>
                      <a:pt x="66" y="110"/>
                    </a:lnTo>
                    <a:lnTo>
                      <a:pt x="66" y="112"/>
                    </a:lnTo>
                    <a:lnTo>
                      <a:pt x="64" y="112"/>
                    </a:lnTo>
                    <a:lnTo>
                      <a:pt x="66" y="112"/>
                    </a:lnTo>
                    <a:lnTo>
                      <a:pt x="64" y="112"/>
                    </a:lnTo>
                    <a:lnTo>
                      <a:pt x="64" y="114"/>
                    </a:lnTo>
                    <a:lnTo>
                      <a:pt x="64" y="115"/>
                    </a:lnTo>
                    <a:lnTo>
                      <a:pt x="63" y="115"/>
                    </a:lnTo>
                    <a:lnTo>
                      <a:pt x="61" y="115"/>
                    </a:lnTo>
                    <a:lnTo>
                      <a:pt x="59" y="117"/>
                    </a:lnTo>
                    <a:lnTo>
                      <a:pt x="57" y="117"/>
                    </a:lnTo>
                    <a:lnTo>
                      <a:pt x="57" y="119"/>
                    </a:lnTo>
                    <a:lnTo>
                      <a:pt x="56" y="119"/>
                    </a:lnTo>
                    <a:lnTo>
                      <a:pt x="56" y="120"/>
                    </a:lnTo>
                    <a:lnTo>
                      <a:pt x="54" y="120"/>
                    </a:lnTo>
                    <a:lnTo>
                      <a:pt x="54" y="122"/>
                    </a:lnTo>
                    <a:lnTo>
                      <a:pt x="52" y="122"/>
                    </a:lnTo>
                    <a:lnTo>
                      <a:pt x="52" y="120"/>
                    </a:lnTo>
                    <a:lnTo>
                      <a:pt x="51" y="120"/>
                    </a:lnTo>
                    <a:lnTo>
                      <a:pt x="49" y="120"/>
                    </a:lnTo>
                    <a:lnTo>
                      <a:pt x="49" y="119"/>
                    </a:lnTo>
                    <a:lnTo>
                      <a:pt x="47" y="120"/>
                    </a:lnTo>
                    <a:lnTo>
                      <a:pt x="46" y="120"/>
                    </a:lnTo>
                    <a:lnTo>
                      <a:pt x="44" y="120"/>
                    </a:lnTo>
                    <a:lnTo>
                      <a:pt x="44" y="119"/>
                    </a:lnTo>
                    <a:lnTo>
                      <a:pt x="44" y="117"/>
                    </a:lnTo>
                    <a:lnTo>
                      <a:pt x="42" y="117"/>
                    </a:lnTo>
                    <a:lnTo>
                      <a:pt x="40" y="117"/>
                    </a:lnTo>
                    <a:lnTo>
                      <a:pt x="39" y="117"/>
                    </a:lnTo>
                    <a:lnTo>
                      <a:pt x="37" y="117"/>
                    </a:lnTo>
                    <a:lnTo>
                      <a:pt x="35" y="119"/>
                    </a:lnTo>
                    <a:lnTo>
                      <a:pt x="34" y="119"/>
                    </a:lnTo>
                    <a:lnTo>
                      <a:pt x="32" y="119"/>
                    </a:lnTo>
                    <a:lnTo>
                      <a:pt x="32" y="117"/>
                    </a:lnTo>
                    <a:lnTo>
                      <a:pt x="30" y="117"/>
                    </a:lnTo>
                    <a:lnTo>
                      <a:pt x="29" y="117"/>
                    </a:lnTo>
                    <a:lnTo>
                      <a:pt x="27" y="117"/>
                    </a:lnTo>
                    <a:lnTo>
                      <a:pt x="27" y="115"/>
                    </a:lnTo>
                    <a:lnTo>
                      <a:pt x="25" y="115"/>
                    </a:lnTo>
                    <a:lnTo>
                      <a:pt x="23" y="115"/>
                    </a:lnTo>
                    <a:lnTo>
                      <a:pt x="23" y="117"/>
                    </a:lnTo>
                    <a:lnTo>
                      <a:pt x="25" y="117"/>
                    </a:lnTo>
                    <a:lnTo>
                      <a:pt x="23" y="117"/>
                    </a:lnTo>
                    <a:lnTo>
                      <a:pt x="22" y="117"/>
                    </a:lnTo>
                    <a:lnTo>
                      <a:pt x="22" y="119"/>
                    </a:lnTo>
                    <a:lnTo>
                      <a:pt x="20" y="119"/>
                    </a:lnTo>
                    <a:lnTo>
                      <a:pt x="20" y="117"/>
                    </a:lnTo>
                    <a:lnTo>
                      <a:pt x="20" y="119"/>
                    </a:lnTo>
                    <a:lnTo>
                      <a:pt x="20" y="120"/>
                    </a:lnTo>
                    <a:lnTo>
                      <a:pt x="18" y="120"/>
                    </a:lnTo>
                    <a:lnTo>
                      <a:pt x="17" y="120"/>
                    </a:lnTo>
                    <a:lnTo>
                      <a:pt x="15" y="120"/>
                    </a:lnTo>
                    <a:lnTo>
                      <a:pt x="15" y="122"/>
                    </a:lnTo>
                    <a:lnTo>
                      <a:pt x="15" y="124"/>
                    </a:lnTo>
                    <a:lnTo>
                      <a:pt x="13" y="124"/>
                    </a:lnTo>
                    <a:lnTo>
                      <a:pt x="13" y="122"/>
                    </a:lnTo>
                    <a:lnTo>
                      <a:pt x="12" y="122"/>
                    </a:lnTo>
                    <a:lnTo>
                      <a:pt x="10" y="122"/>
                    </a:lnTo>
                    <a:lnTo>
                      <a:pt x="8" y="122"/>
                    </a:lnTo>
                    <a:lnTo>
                      <a:pt x="6" y="122"/>
                    </a:lnTo>
                    <a:lnTo>
                      <a:pt x="6" y="120"/>
                    </a:lnTo>
                    <a:lnTo>
                      <a:pt x="5" y="120"/>
                    </a:lnTo>
                    <a:lnTo>
                      <a:pt x="3" y="120"/>
                    </a:lnTo>
                    <a:lnTo>
                      <a:pt x="1" y="119"/>
                    </a:lnTo>
                    <a:lnTo>
                      <a:pt x="0" y="119"/>
                    </a:lnTo>
                    <a:lnTo>
                      <a:pt x="1" y="117"/>
                    </a:lnTo>
                    <a:lnTo>
                      <a:pt x="0" y="117"/>
                    </a:lnTo>
                    <a:lnTo>
                      <a:pt x="1" y="115"/>
                    </a:lnTo>
                    <a:lnTo>
                      <a:pt x="1" y="117"/>
                    </a:lnTo>
                    <a:lnTo>
                      <a:pt x="1" y="115"/>
                    </a:lnTo>
                    <a:lnTo>
                      <a:pt x="1" y="114"/>
                    </a:lnTo>
                    <a:lnTo>
                      <a:pt x="3" y="114"/>
                    </a:lnTo>
                    <a:lnTo>
                      <a:pt x="3" y="112"/>
                    </a:lnTo>
                    <a:lnTo>
                      <a:pt x="5" y="112"/>
                    </a:lnTo>
                    <a:lnTo>
                      <a:pt x="5" y="110"/>
                    </a:lnTo>
                    <a:lnTo>
                      <a:pt x="6" y="110"/>
                    </a:lnTo>
                    <a:lnTo>
                      <a:pt x="6" y="109"/>
                    </a:lnTo>
                    <a:lnTo>
                      <a:pt x="6" y="107"/>
                    </a:lnTo>
                    <a:lnTo>
                      <a:pt x="8" y="107"/>
                    </a:lnTo>
                    <a:lnTo>
                      <a:pt x="8" y="105"/>
                    </a:lnTo>
                    <a:lnTo>
                      <a:pt x="8" y="103"/>
                    </a:lnTo>
                    <a:lnTo>
                      <a:pt x="10" y="103"/>
                    </a:lnTo>
                    <a:lnTo>
                      <a:pt x="10" y="102"/>
                    </a:lnTo>
                    <a:lnTo>
                      <a:pt x="12" y="102"/>
                    </a:lnTo>
                    <a:lnTo>
                      <a:pt x="12" y="100"/>
                    </a:lnTo>
                    <a:lnTo>
                      <a:pt x="12" y="98"/>
                    </a:lnTo>
                    <a:lnTo>
                      <a:pt x="12" y="97"/>
                    </a:lnTo>
                    <a:lnTo>
                      <a:pt x="12" y="95"/>
                    </a:lnTo>
                    <a:lnTo>
                      <a:pt x="13" y="95"/>
                    </a:lnTo>
                    <a:lnTo>
                      <a:pt x="12" y="93"/>
                    </a:lnTo>
                    <a:lnTo>
                      <a:pt x="13" y="93"/>
                    </a:lnTo>
                    <a:lnTo>
                      <a:pt x="12" y="93"/>
                    </a:lnTo>
                    <a:lnTo>
                      <a:pt x="12" y="92"/>
                    </a:lnTo>
                    <a:lnTo>
                      <a:pt x="12" y="90"/>
                    </a:lnTo>
                    <a:lnTo>
                      <a:pt x="12" y="88"/>
                    </a:lnTo>
                    <a:lnTo>
                      <a:pt x="12" y="90"/>
                    </a:lnTo>
                    <a:lnTo>
                      <a:pt x="12" y="88"/>
                    </a:lnTo>
                    <a:lnTo>
                      <a:pt x="12" y="86"/>
                    </a:lnTo>
                    <a:lnTo>
                      <a:pt x="13" y="86"/>
                    </a:lnTo>
                    <a:lnTo>
                      <a:pt x="13" y="85"/>
                    </a:lnTo>
                    <a:lnTo>
                      <a:pt x="13" y="83"/>
                    </a:lnTo>
                    <a:lnTo>
                      <a:pt x="15" y="83"/>
                    </a:lnTo>
                    <a:lnTo>
                      <a:pt x="17" y="83"/>
                    </a:lnTo>
                    <a:lnTo>
                      <a:pt x="17" y="81"/>
                    </a:lnTo>
                    <a:lnTo>
                      <a:pt x="17" y="80"/>
                    </a:lnTo>
                    <a:lnTo>
                      <a:pt x="18" y="80"/>
                    </a:lnTo>
                    <a:lnTo>
                      <a:pt x="18" y="78"/>
                    </a:lnTo>
                    <a:lnTo>
                      <a:pt x="18" y="76"/>
                    </a:lnTo>
                    <a:lnTo>
                      <a:pt x="18" y="75"/>
                    </a:lnTo>
                    <a:lnTo>
                      <a:pt x="18" y="73"/>
                    </a:lnTo>
                    <a:lnTo>
                      <a:pt x="18" y="71"/>
                    </a:lnTo>
                    <a:lnTo>
                      <a:pt x="17" y="71"/>
                    </a:lnTo>
                    <a:lnTo>
                      <a:pt x="17" y="73"/>
                    </a:lnTo>
                    <a:lnTo>
                      <a:pt x="17" y="71"/>
                    </a:lnTo>
                    <a:lnTo>
                      <a:pt x="15" y="71"/>
                    </a:lnTo>
                    <a:lnTo>
                      <a:pt x="15" y="69"/>
                    </a:lnTo>
                    <a:lnTo>
                      <a:pt x="15" y="68"/>
                    </a:lnTo>
                    <a:lnTo>
                      <a:pt x="15" y="66"/>
                    </a:lnTo>
                    <a:lnTo>
                      <a:pt x="13" y="66"/>
                    </a:lnTo>
                    <a:lnTo>
                      <a:pt x="12" y="66"/>
                    </a:lnTo>
                    <a:lnTo>
                      <a:pt x="12" y="64"/>
                    </a:lnTo>
                    <a:lnTo>
                      <a:pt x="10" y="64"/>
                    </a:lnTo>
                    <a:lnTo>
                      <a:pt x="10" y="63"/>
                    </a:lnTo>
                    <a:lnTo>
                      <a:pt x="8" y="63"/>
                    </a:lnTo>
                    <a:lnTo>
                      <a:pt x="8" y="61"/>
                    </a:lnTo>
                    <a:lnTo>
                      <a:pt x="8" y="59"/>
                    </a:lnTo>
                    <a:lnTo>
                      <a:pt x="6" y="59"/>
                    </a:lnTo>
                    <a:lnTo>
                      <a:pt x="6" y="58"/>
                    </a:lnTo>
                    <a:lnTo>
                      <a:pt x="6" y="56"/>
                    </a:lnTo>
                    <a:lnTo>
                      <a:pt x="8" y="56"/>
                    </a:lnTo>
                    <a:lnTo>
                      <a:pt x="8" y="54"/>
                    </a:lnTo>
                    <a:lnTo>
                      <a:pt x="6" y="54"/>
                    </a:lnTo>
                    <a:lnTo>
                      <a:pt x="5" y="54"/>
                    </a:lnTo>
                    <a:lnTo>
                      <a:pt x="5" y="52"/>
                    </a:lnTo>
                    <a:lnTo>
                      <a:pt x="5" y="51"/>
                    </a:lnTo>
                    <a:lnTo>
                      <a:pt x="5" y="49"/>
                    </a:lnTo>
                    <a:lnTo>
                      <a:pt x="5" y="47"/>
                    </a:lnTo>
                    <a:lnTo>
                      <a:pt x="3" y="47"/>
                    </a:lnTo>
                    <a:lnTo>
                      <a:pt x="3" y="46"/>
                    </a:lnTo>
                    <a:lnTo>
                      <a:pt x="3" y="44"/>
                    </a:lnTo>
                    <a:lnTo>
                      <a:pt x="3" y="42"/>
                    </a:lnTo>
                    <a:lnTo>
                      <a:pt x="3" y="41"/>
                    </a:lnTo>
                    <a:lnTo>
                      <a:pt x="5" y="41"/>
                    </a:lnTo>
                    <a:lnTo>
                      <a:pt x="5" y="39"/>
                    </a:lnTo>
                    <a:lnTo>
                      <a:pt x="3" y="39"/>
                    </a:lnTo>
                    <a:lnTo>
                      <a:pt x="3" y="37"/>
                    </a:lnTo>
                    <a:lnTo>
                      <a:pt x="3" y="35"/>
                    </a:lnTo>
                    <a:lnTo>
                      <a:pt x="3" y="34"/>
                    </a:lnTo>
                    <a:lnTo>
                      <a:pt x="3" y="32"/>
                    </a:lnTo>
                    <a:lnTo>
                      <a:pt x="3" y="30"/>
                    </a:lnTo>
                    <a:lnTo>
                      <a:pt x="1" y="29"/>
                    </a:lnTo>
                    <a:lnTo>
                      <a:pt x="3" y="29"/>
                    </a:lnTo>
                    <a:lnTo>
                      <a:pt x="3" y="27"/>
                    </a:lnTo>
                    <a:lnTo>
                      <a:pt x="3" y="25"/>
                    </a:lnTo>
                    <a:lnTo>
                      <a:pt x="5" y="23"/>
                    </a:lnTo>
                    <a:lnTo>
                      <a:pt x="5" y="22"/>
                    </a:lnTo>
                    <a:lnTo>
                      <a:pt x="6" y="22"/>
                    </a:lnTo>
                    <a:lnTo>
                      <a:pt x="6" y="20"/>
                    </a:lnTo>
                    <a:lnTo>
                      <a:pt x="8" y="18"/>
                    </a:lnTo>
                    <a:lnTo>
                      <a:pt x="8" y="17"/>
                    </a:lnTo>
                    <a:lnTo>
                      <a:pt x="10" y="17"/>
                    </a:lnTo>
                    <a:lnTo>
                      <a:pt x="10" y="15"/>
                    </a:lnTo>
                    <a:lnTo>
                      <a:pt x="12" y="15"/>
                    </a:lnTo>
                    <a:lnTo>
                      <a:pt x="13" y="13"/>
                    </a:lnTo>
                    <a:lnTo>
                      <a:pt x="13" y="12"/>
                    </a:lnTo>
                    <a:lnTo>
                      <a:pt x="15" y="12"/>
                    </a:lnTo>
                    <a:lnTo>
                      <a:pt x="15" y="10"/>
                    </a:lnTo>
                    <a:lnTo>
                      <a:pt x="17" y="10"/>
                    </a:lnTo>
                    <a:lnTo>
                      <a:pt x="17" y="8"/>
                    </a:lnTo>
                    <a:lnTo>
                      <a:pt x="18" y="8"/>
                    </a:lnTo>
                    <a:lnTo>
                      <a:pt x="18" y="6"/>
                    </a:lnTo>
                    <a:lnTo>
                      <a:pt x="18" y="5"/>
                    </a:lnTo>
                    <a:lnTo>
                      <a:pt x="18" y="3"/>
                    </a:lnTo>
                    <a:lnTo>
                      <a:pt x="18" y="1"/>
                    </a:lnTo>
                    <a:lnTo>
                      <a:pt x="20" y="1"/>
                    </a:lnTo>
                    <a:lnTo>
                      <a:pt x="20" y="0"/>
                    </a:lnTo>
                    <a:lnTo>
                      <a:pt x="22" y="1"/>
                    </a:lnTo>
                    <a:lnTo>
                      <a:pt x="23" y="1"/>
                    </a:lnTo>
                    <a:lnTo>
                      <a:pt x="25" y="1"/>
                    </a:lnTo>
                    <a:lnTo>
                      <a:pt x="27" y="1"/>
                    </a:lnTo>
                    <a:lnTo>
                      <a:pt x="27" y="3"/>
                    </a:lnTo>
                    <a:lnTo>
                      <a:pt x="29" y="3"/>
                    </a:lnTo>
                    <a:lnTo>
                      <a:pt x="30" y="3"/>
                    </a:lnTo>
                    <a:lnTo>
                      <a:pt x="30" y="5"/>
                    </a:lnTo>
                    <a:lnTo>
                      <a:pt x="32" y="5"/>
                    </a:lnTo>
                    <a:lnTo>
                      <a:pt x="34" y="5"/>
                    </a:lnTo>
                    <a:lnTo>
                      <a:pt x="34" y="6"/>
                    </a:lnTo>
                    <a:lnTo>
                      <a:pt x="35" y="6"/>
                    </a:lnTo>
                    <a:lnTo>
                      <a:pt x="37" y="6"/>
                    </a:lnTo>
                    <a:lnTo>
                      <a:pt x="39" y="6"/>
                    </a:lnTo>
                    <a:lnTo>
                      <a:pt x="40" y="6"/>
                    </a:lnTo>
                    <a:lnTo>
                      <a:pt x="40" y="8"/>
                    </a:lnTo>
                    <a:lnTo>
                      <a:pt x="42" y="8"/>
                    </a:lnTo>
                    <a:lnTo>
                      <a:pt x="44" y="8"/>
                    </a:lnTo>
                    <a:lnTo>
                      <a:pt x="42" y="8"/>
                    </a:lnTo>
                    <a:lnTo>
                      <a:pt x="42" y="6"/>
                    </a:lnTo>
                    <a:lnTo>
                      <a:pt x="44" y="6"/>
                    </a:lnTo>
                    <a:lnTo>
                      <a:pt x="44" y="8"/>
                    </a:lnTo>
                    <a:lnTo>
                      <a:pt x="46" y="8"/>
                    </a:lnTo>
                    <a:lnTo>
                      <a:pt x="47" y="8"/>
                    </a:lnTo>
                    <a:lnTo>
                      <a:pt x="49" y="10"/>
                    </a:lnTo>
                    <a:lnTo>
                      <a:pt x="51" y="10"/>
                    </a:lnTo>
                    <a:lnTo>
                      <a:pt x="52" y="12"/>
                    </a:lnTo>
                    <a:lnTo>
                      <a:pt x="52" y="10"/>
                    </a:lnTo>
                    <a:lnTo>
                      <a:pt x="54" y="10"/>
                    </a:lnTo>
                    <a:lnTo>
                      <a:pt x="54" y="12"/>
                    </a:lnTo>
                    <a:lnTo>
                      <a:pt x="56" y="12"/>
                    </a:lnTo>
                    <a:lnTo>
                      <a:pt x="56" y="13"/>
                    </a:lnTo>
                    <a:lnTo>
                      <a:pt x="57" y="13"/>
                    </a:lnTo>
                    <a:lnTo>
                      <a:pt x="57" y="15"/>
                    </a:lnTo>
                    <a:lnTo>
                      <a:pt x="59" y="15"/>
                    </a:lnTo>
                    <a:lnTo>
                      <a:pt x="59" y="17"/>
                    </a:lnTo>
                    <a:lnTo>
                      <a:pt x="61" y="17"/>
                    </a:lnTo>
                    <a:lnTo>
                      <a:pt x="61" y="18"/>
                    </a:lnTo>
                    <a:lnTo>
                      <a:pt x="63" y="18"/>
                    </a:lnTo>
                    <a:lnTo>
                      <a:pt x="64" y="20"/>
                    </a:lnTo>
                    <a:lnTo>
                      <a:pt x="66" y="22"/>
                    </a:lnTo>
                    <a:lnTo>
                      <a:pt x="68" y="23"/>
                    </a:lnTo>
                    <a:lnTo>
                      <a:pt x="69" y="23"/>
                    </a:lnTo>
                    <a:lnTo>
                      <a:pt x="69" y="25"/>
                    </a:lnTo>
                    <a:lnTo>
                      <a:pt x="71" y="25"/>
                    </a:lnTo>
                    <a:lnTo>
                      <a:pt x="71" y="27"/>
                    </a:lnTo>
                    <a:lnTo>
                      <a:pt x="73" y="27"/>
                    </a:lnTo>
                    <a:lnTo>
                      <a:pt x="73" y="29"/>
                    </a:lnTo>
                    <a:lnTo>
                      <a:pt x="74" y="29"/>
                    </a:lnTo>
                    <a:lnTo>
                      <a:pt x="73" y="29"/>
                    </a:lnTo>
                    <a:lnTo>
                      <a:pt x="74" y="29"/>
                    </a:lnTo>
                    <a:lnTo>
                      <a:pt x="74" y="27"/>
                    </a:lnTo>
                    <a:lnTo>
                      <a:pt x="76" y="27"/>
                    </a:lnTo>
                    <a:lnTo>
                      <a:pt x="76" y="29"/>
                    </a:lnTo>
                    <a:lnTo>
                      <a:pt x="78" y="29"/>
                    </a:lnTo>
                    <a:lnTo>
                      <a:pt x="76" y="29"/>
                    </a:lnTo>
                    <a:lnTo>
                      <a:pt x="78" y="30"/>
                    </a:lnTo>
                    <a:lnTo>
                      <a:pt x="76" y="30"/>
                    </a:lnTo>
                    <a:lnTo>
                      <a:pt x="78" y="32"/>
                    </a:lnTo>
                    <a:lnTo>
                      <a:pt x="78" y="30"/>
                    </a:lnTo>
                    <a:lnTo>
                      <a:pt x="80" y="30"/>
                    </a:lnTo>
                    <a:lnTo>
                      <a:pt x="80" y="32"/>
                    </a:lnTo>
                    <a:lnTo>
                      <a:pt x="81" y="32"/>
                    </a:lnTo>
                    <a:lnTo>
                      <a:pt x="81" y="34"/>
                    </a:lnTo>
                    <a:lnTo>
                      <a:pt x="83" y="34"/>
                    </a:lnTo>
                    <a:lnTo>
                      <a:pt x="85" y="35"/>
                    </a:lnTo>
                    <a:lnTo>
                      <a:pt x="86" y="35"/>
                    </a:lnTo>
                    <a:lnTo>
                      <a:pt x="86" y="37"/>
                    </a:lnTo>
                    <a:lnTo>
                      <a:pt x="86" y="39"/>
                    </a:lnTo>
                    <a:lnTo>
                      <a:pt x="88" y="39"/>
                    </a:lnTo>
                    <a:lnTo>
                      <a:pt x="88" y="37"/>
                    </a:lnTo>
                    <a:lnTo>
                      <a:pt x="90" y="37"/>
                    </a:lnTo>
                    <a:lnTo>
                      <a:pt x="91" y="37"/>
                    </a:lnTo>
                    <a:lnTo>
                      <a:pt x="91" y="39"/>
                    </a:lnTo>
                    <a:lnTo>
                      <a:pt x="93" y="39"/>
                    </a:lnTo>
                    <a:lnTo>
                      <a:pt x="93" y="41"/>
                    </a:lnTo>
                    <a:lnTo>
                      <a:pt x="93" y="42"/>
                    </a:lnTo>
                    <a:lnTo>
                      <a:pt x="93" y="44"/>
                    </a:lnTo>
                    <a:lnTo>
                      <a:pt x="95" y="44"/>
                    </a:lnTo>
                    <a:lnTo>
                      <a:pt x="95" y="46"/>
                    </a:lnTo>
                    <a:lnTo>
                      <a:pt x="95" y="47"/>
                    </a:lnTo>
                    <a:lnTo>
                      <a:pt x="97" y="46"/>
                    </a:lnTo>
                    <a:lnTo>
                      <a:pt x="95" y="47"/>
                    </a:lnTo>
                    <a:lnTo>
                      <a:pt x="95" y="49"/>
                    </a:lnTo>
                    <a:lnTo>
                      <a:pt x="97" y="49"/>
                    </a:lnTo>
                    <a:lnTo>
                      <a:pt x="97" y="51"/>
                    </a:lnTo>
                    <a:lnTo>
                      <a:pt x="97" y="52"/>
                    </a:lnTo>
                    <a:lnTo>
                      <a:pt x="98" y="52"/>
                    </a:lnTo>
                    <a:lnTo>
                      <a:pt x="98" y="54"/>
                    </a:lnTo>
                    <a:lnTo>
                      <a:pt x="98" y="56"/>
                    </a:lnTo>
                    <a:close/>
                    <a:moveTo>
                      <a:pt x="22" y="0"/>
                    </a:moveTo>
                    <a:lnTo>
                      <a:pt x="23" y="0"/>
                    </a:lnTo>
                    <a:lnTo>
                      <a:pt x="23" y="1"/>
                    </a:lnTo>
                    <a:lnTo>
                      <a:pt x="22" y="1"/>
                    </a:lnTo>
                    <a:lnTo>
                      <a:pt x="22"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2" name="Freeform 32">
                <a:extLst>
                  <a:ext uri="{FF2B5EF4-FFF2-40B4-BE49-F238E27FC236}">
                    <a16:creationId xmlns:a16="http://schemas.microsoft.com/office/drawing/2014/main" id="{06672731-41A3-3FF1-75F2-190314A020FB}"/>
                  </a:ext>
                </a:extLst>
              </p:cNvPr>
              <p:cNvSpPr>
                <a:spLocks noEditPoints="1"/>
              </p:cNvSpPr>
              <p:nvPr/>
            </p:nvSpPr>
            <p:spPr bwMode="auto">
              <a:xfrm>
                <a:off x="5765520" y="2821415"/>
                <a:ext cx="3819" cy="5581"/>
              </a:xfrm>
              <a:custGeom>
                <a:avLst/>
                <a:gdLst>
                  <a:gd name="T0" fmla="*/ 5 w 13"/>
                  <a:gd name="T1" fmla="*/ 11 h 19"/>
                  <a:gd name="T2" fmla="*/ 7 w 13"/>
                  <a:gd name="T3" fmla="*/ 11 h 19"/>
                  <a:gd name="T4" fmla="*/ 7 w 13"/>
                  <a:gd name="T5" fmla="*/ 12 h 19"/>
                  <a:gd name="T6" fmla="*/ 7 w 13"/>
                  <a:gd name="T7" fmla="*/ 14 h 19"/>
                  <a:gd name="T8" fmla="*/ 7 w 13"/>
                  <a:gd name="T9" fmla="*/ 16 h 19"/>
                  <a:gd name="T10" fmla="*/ 5 w 13"/>
                  <a:gd name="T11" fmla="*/ 17 h 19"/>
                  <a:gd name="T12" fmla="*/ 3 w 13"/>
                  <a:gd name="T13" fmla="*/ 17 h 19"/>
                  <a:gd name="T14" fmla="*/ 3 w 13"/>
                  <a:gd name="T15" fmla="*/ 19 h 19"/>
                  <a:gd name="T16" fmla="*/ 3 w 13"/>
                  <a:gd name="T17" fmla="*/ 17 h 19"/>
                  <a:gd name="T18" fmla="*/ 3 w 13"/>
                  <a:gd name="T19" fmla="*/ 19 h 19"/>
                  <a:gd name="T20" fmla="*/ 3 w 13"/>
                  <a:gd name="T21" fmla="*/ 17 h 19"/>
                  <a:gd name="T22" fmla="*/ 3 w 13"/>
                  <a:gd name="T23" fmla="*/ 19 h 19"/>
                  <a:gd name="T24" fmla="*/ 2 w 13"/>
                  <a:gd name="T25" fmla="*/ 17 h 19"/>
                  <a:gd name="T26" fmla="*/ 2 w 13"/>
                  <a:gd name="T27" fmla="*/ 19 h 19"/>
                  <a:gd name="T28" fmla="*/ 0 w 13"/>
                  <a:gd name="T29" fmla="*/ 19 h 19"/>
                  <a:gd name="T30" fmla="*/ 2 w 13"/>
                  <a:gd name="T31" fmla="*/ 17 h 19"/>
                  <a:gd name="T32" fmla="*/ 2 w 13"/>
                  <a:gd name="T33" fmla="*/ 16 h 19"/>
                  <a:gd name="T34" fmla="*/ 2 w 13"/>
                  <a:gd name="T35" fmla="*/ 14 h 19"/>
                  <a:gd name="T36" fmla="*/ 3 w 13"/>
                  <a:gd name="T37" fmla="*/ 12 h 19"/>
                  <a:gd name="T38" fmla="*/ 3 w 13"/>
                  <a:gd name="T39" fmla="*/ 11 h 19"/>
                  <a:gd name="T40" fmla="*/ 5 w 13"/>
                  <a:gd name="T41" fmla="*/ 11 h 19"/>
                  <a:gd name="T42" fmla="*/ 10 w 13"/>
                  <a:gd name="T43" fmla="*/ 0 h 19"/>
                  <a:gd name="T44" fmla="*/ 13 w 13"/>
                  <a:gd name="T45" fmla="*/ 0 h 19"/>
                  <a:gd name="T46" fmla="*/ 13 w 13"/>
                  <a:gd name="T47" fmla="*/ 4 h 19"/>
                  <a:gd name="T48" fmla="*/ 10 w 13"/>
                  <a:gd name="T49" fmla="*/ 4 h 19"/>
                  <a:gd name="T50" fmla="*/ 10 w 13"/>
                  <a:gd name="T51" fmla="*/ 0 h 19"/>
                  <a:gd name="T52" fmla="*/ 7 w 13"/>
                  <a:gd name="T53" fmla="*/ 7 h 19"/>
                  <a:gd name="T54" fmla="*/ 7 w 13"/>
                  <a:gd name="T55" fmla="*/ 9 h 19"/>
                  <a:gd name="T56" fmla="*/ 7 w 13"/>
                  <a:gd name="T57" fmla="*/ 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 h="19">
                    <a:moveTo>
                      <a:pt x="5" y="11"/>
                    </a:moveTo>
                    <a:lnTo>
                      <a:pt x="7" y="11"/>
                    </a:lnTo>
                    <a:lnTo>
                      <a:pt x="7" y="12"/>
                    </a:lnTo>
                    <a:lnTo>
                      <a:pt x="7" y="14"/>
                    </a:lnTo>
                    <a:lnTo>
                      <a:pt x="7" y="16"/>
                    </a:lnTo>
                    <a:lnTo>
                      <a:pt x="5" y="17"/>
                    </a:lnTo>
                    <a:lnTo>
                      <a:pt x="3" y="17"/>
                    </a:lnTo>
                    <a:lnTo>
                      <a:pt x="3" y="19"/>
                    </a:lnTo>
                    <a:lnTo>
                      <a:pt x="3" y="17"/>
                    </a:lnTo>
                    <a:lnTo>
                      <a:pt x="3" y="19"/>
                    </a:lnTo>
                    <a:lnTo>
                      <a:pt x="3" y="17"/>
                    </a:lnTo>
                    <a:lnTo>
                      <a:pt x="3" y="19"/>
                    </a:lnTo>
                    <a:lnTo>
                      <a:pt x="2" y="17"/>
                    </a:lnTo>
                    <a:lnTo>
                      <a:pt x="2" y="19"/>
                    </a:lnTo>
                    <a:lnTo>
                      <a:pt x="0" y="19"/>
                    </a:lnTo>
                    <a:lnTo>
                      <a:pt x="2" y="17"/>
                    </a:lnTo>
                    <a:lnTo>
                      <a:pt x="2" y="16"/>
                    </a:lnTo>
                    <a:lnTo>
                      <a:pt x="2" y="14"/>
                    </a:lnTo>
                    <a:lnTo>
                      <a:pt x="3" y="12"/>
                    </a:lnTo>
                    <a:lnTo>
                      <a:pt x="3" y="11"/>
                    </a:lnTo>
                    <a:lnTo>
                      <a:pt x="5" y="11"/>
                    </a:lnTo>
                    <a:close/>
                    <a:moveTo>
                      <a:pt x="10" y="0"/>
                    </a:moveTo>
                    <a:lnTo>
                      <a:pt x="13" y="0"/>
                    </a:lnTo>
                    <a:lnTo>
                      <a:pt x="13" y="4"/>
                    </a:lnTo>
                    <a:lnTo>
                      <a:pt x="10" y="4"/>
                    </a:lnTo>
                    <a:lnTo>
                      <a:pt x="10" y="0"/>
                    </a:lnTo>
                    <a:close/>
                    <a:moveTo>
                      <a:pt x="7" y="7"/>
                    </a:moveTo>
                    <a:lnTo>
                      <a:pt x="7" y="9"/>
                    </a:lnTo>
                    <a:lnTo>
                      <a:pt x="7" y="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8" name="Freeform 35">
                <a:extLst>
                  <a:ext uri="{FF2B5EF4-FFF2-40B4-BE49-F238E27FC236}">
                    <a16:creationId xmlns:a16="http://schemas.microsoft.com/office/drawing/2014/main" id="{2C2C04CE-0F63-47A7-AC2F-3E7C6D314921}"/>
                  </a:ext>
                </a:extLst>
              </p:cNvPr>
              <p:cNvSpPr>
                <a:spLocks noEditPoints="1"/>
              </p:cNvSpPr>
              <p:nvPr/>
            </p:nvSpPr>
            <p:spPr bwMode="auto">
              <a:xfrm>
                <a:off x="5769340" y="2861949"/>
                <a:ext cx="42589" cy="72842"/>
              </a:xfrm>
              <a:custGeom>
                <a:avLst/>
                <a:gdLst>
                  <a:gd name="T0" fmla="*/ 140 w 145"/>
                  <a:gd name="T1" fmla="*/ 112 h 248"/>
                  <a:gd name="T2" fmla="*/ 138 w 145"/>
                  <a:gd name="T3" fmla="*/ 117 h 248"/>
                  <a:gd name="T4" fmla="*/ 128 w 145"/>
                  <a:gd name="T5" fmla="*/ 119 h 248"/>
                  <a:gd name="T6" fmla="*/ 118 w 145"/>
                  <a:gd name="T7" fmla="*/ 128 h 248"/>
                  <a:gd name="T8" fmla="*/ 116 w 145"/>
                  <a:gd name="T9" fmla="*/ 140 h 248"/>
                  <a:gd name="T10" fmla="*/ 114 w 145"/>
                  <a:gd name="T11" fmla="*/ 153 h 248"/>
                  <a:gd name="T12" fmla="*/ 123 w 145"/>
                  <a:gd name="T13" fmla="*/ 165 h 248"/>
                  <a:gd name="T14" fmla="*/ 128 w 145"/>
                  <a:gd name="T15" fmla="*/ 177 h 248"/>
                  <a:gd name="T16" fmla="*/ 133 w 145"/>
                  <a:gd name="T17" fmla="*/ 192 h 248"/>
                  <a:gd name="T18" fmla="*/ 128 w 145"/>
                  <a:gd name="T19" fmla="*/ 199 h 248"/>
                  <a:gd name="T20" fmla="*/ 119 w 145"/>
                  <a:gd name="T21" fmla="*/ 206 h 248"/>
                  <a:gd name="T22" fmla="*/ 118 w 145"/>
                  <a:gd name="T23" fmla="*/ 214 h 248"/>
                  <a:gd name="T24" fmla="*/ 118 w 145"/>
                  <a:gd name="T25" fmla="*/ 226 h 248"/>
                  <a:gd name="T26" fmla="*/ 106 w 145"/>
                  <a:gd name="T27" fmla="*/ 231 h 248"/>
                  <a:gd name="T28" fmla="*/ 99 w 145"/>
                  <a:gd name="T29" fmla="*/ 240 h 248"/>
                  <a:gd name="T30" fmla="*/ 94 w 145"/>
                  <a:gd name="T31" fmla="*/ 245 h 248"/>
                  <a:gd name="T32" fmla="*/ 84 w 145"/>
                  <a:gd name="T33" fmla="*/ 245 h 248"/>
                  <a:gd name="T34" fmla="*/ 70 w 145"/>
                  <a:gd name="T35" fmla="*/ 238 h 248"/>
                  <a:gd name="T36" fmla="*/ 62 w 145"/>
                  <a:gd name="T37" fmla="*/ 231 h 248"/>
                  <a:gd name="T38" fmla="*/ 57 w 145"/>
                  <a:gd name="T39" fmla="*/ 220 h 248"/>
                  <a:gd name="T40" fmla="*/ 51 w 145"/>
                  <a:gd name="T41" fmla="*/ 208 h 248"/>
                  <a:gd name="T42" fmla="*/ 48 w 145"/>
                  <a:gd name="T43" fmla="*/ 192 h 248"/>
                  <a:gd name="T44" fmla="*/ 51 w 145"/>
                  <a:gd name="T45" fmla="*/ 180 h 248"/>
                  <a:gd name="T46" fmla="*/ 53 w 145"/>
                  <a:gd name="T47" fmla="*/ 172 h 248"/>
                  <a:gd name="T48" fmla="*/ 58 w 145"/>
                  <a:gd name="T49" fmla="*/ 162 h 248"/>
                  <a:gd name="T50" fmla="*/ 60 w 145"/>
                  <a:gd name="T51" fmla="*/ 152 h 248"/>
                  <a:gd name="T52" fmla="*/ 57 w 145"/>
                  <a:gd name="T53" fmla="*/ 141 h 248"/>
                  <a:gd name="T54" fmla="*/ 46 w 145"/>
                  <a:gd name="T55" fmla="*/ 138 h 248"/>
                  <a:gd name="T56" fmla="*/ 46 w 145"/>
                  <a:gd name="T57" fmla="*/ 128 h 248"/>
                  <a:gd name="T58" fmla="*/ 43 w 145"/>
                  <a:gd name="T59" fmla="*/ 112 h 248"/>
                  <a:gd name="T60" fmla="*/ 31 w 145"/>
                  <a:gd name="T61" fmla="*/ 112 h 248"/>
                  <a:gd name="T62" fmla="*/ 0 w 145"/>
                  <a:gd name="T63" fmla="*/ 89 h 248"/>
                  <a:gd name="T64" fmla="*/ 9 w 145"/>
                  <a:gd name="T65" fmla="*/ 77 h 248"/>
                  <a:gd name="T66" fmla="*/ 7 w 145"/>
                  <a:gd name="T67" fmla="*/ 66 h 248"/>
                  <a:gd name="T68" fmla="*/ 16 w 145"/>
                  <a:gd name="T69" fmla="*/ 61 h 248"/>
                  <a:gd name="T70" fmla="*/ 24 w 145"/>
                  <a:gd name="T71" fmla="*/ 58 h 248"/>
                  <a:gd name="T72" fmla="*/ 36 w 145"/>
                  <a:gd name="T73" fmla="*/ 51 h 248"/>
                  <a:gd name="T74" fmla="*/ 29 w 145"/>
                  <a:gd name="T75" fmla="*/ 46 h 248"/>
                  <a:gd name="T76" fmla="*/ 26 w 145"/>
                  <a:gd name="T77" fmla="*/ 32 h 248"/>
                  <a:gd name="T78" fmla="*/ 38 w 145"/>
                  <a:gd name="T79" fmla="*/ 22 h 248"/>
                  <a:gd name="T80" fmla="*/ 50 w 145"/>
                  <a:gd name="T81" fmla="*/ 10 h 248"/>
                  <a:gd name="T82" fmla="*/ 53 w 145"/>
                  <a:gd name="T83" fmla="*/ 5 h 248"/>
                  <a:gd name="T84" fmla="*/ 63 w 145"/>
                  <a:gd name="T85" fmla="*/ 9 h 248"/>
                  <a:gd name="T86" fmla="*/ 79 w 145"/>
                  <a:gd name="T87" fmla="*/ 17 h 248"/>
                  <a:gd name="T88" fmla="*/ 91 w 145"/>
                  <a:gd name="T89" fmla="*/ 32 h 248"/>
                  <a:gd name="T90" fmla="*/ 99 w 145"/>
                  <a:gd name="T91" fmla="*/ 44 h 248"/>
                  <a:gd name="T92" fmla="*/ 96 w 145"/>
                  <a:gd name="T93" fmla="*/ 61 h 248"/>
                  <a:gd name="T94" fmla="*/ 94 w 145"/>
                  <a:gd name="T95" fmla="*/ 73 h 248"/>
                  <a:gd name="T96" fmla="*/ 97 w 145"/>
                  <a:gd name="T97" fmla="*/ 61 h 248"/>
                  <a:gd name="T98" fmla="*/ 111 w 145"/>
                  <a:gd name="T99" fmla="*/ 58 h 248"/>
                  <a:gd name="T100" fmla="*/ 125 w 145"/>
                  <a:gd name="T101" fmla="*/ 66 h 248"/>
                  <a:gd name="T102" fmla="*/ 135 w 145"/>
                  <a:gd name="T103" fmla="*/ 75 h 248"/>
                  <a:gd name="T104" fmla="*/ 145 w 145"/>
                  <a:gd name="T105" fmla="*/ 87 h 248"/>
                  <a:gd name="T106" fmla="*/ 99 w 145"/>
                  <a:gd name="T107" fmla="*/ 56 h 248"/>
                  <a:gd name="T108" fmla="*/ 102 w 145"/>
                  <a:gd name="T109" fmla="*/ 53 h 248"/>
                  <a:gd name="T110" fmla="*/ 101 w 145"/>
                  <a:gd name="T111" fmla="*/ 53 h 248"/>
                  <a:gd name="T112" fmla="*/ 99 w 145"/>
                  <a:gd name="T113" fmla="*/ 49 h 248"/>
                  <a:gd name="T114" fmla="*/ 97 w 145"/>
                  <a:gd name="T115" fmla="*/ 53 h 248"/>
                  <a:gd name="T116" fmla="*/ 97 w 145"/>
                  <a:gd name="T117" fmla="*/ 60 h 248"/>
                  <a:gd name="T118" fmla="*/ 94 w 145"/>
                  <a:gd name="T119" fmla="*/ 6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5" h="248">
                    <a:moveTo>
                      <a:pt x="143" y="97"/>
                    </a:moveTo>
                    <a:lnTo>
                      <a:pt x="143" y="99"/>
                    </a:lnTo>
                    <a:lnTo>
                      <a:pt x="142" y="100"/>
                    </a:lnTo>
                    <a:lnTo>
                      <a:pt x="142" y="102"/>
                    </a:lnTo>
                    <a:lnTo>
                      <a:pt x="140" y="104"/>
                    </a:lnTo>
                    <a:lnTo>
                      <a:pt x="140" y="106"/>
                    </a:lnTo>
                    <a:lnTo>
                      <a:pt x="140" y="107"/>
                    </a:lnTo>
                    <a:lnTo>
                      <a:pt x="138" y="107"/>
                    </a:lnTo>
                    <a:lnTo>
                      <a:pt x="138" y="109"/>
                    </a:lnTo>
                    <a:lnTo>
                      <a:pt x="140" y="109"/>
                    </a:lnTo>
                    <a:lnTo>
                      <a:pt x="140" y="111"/>
                    </a:lnTo>
                    <a:lnTo>
                      <a:pt x="140" y="112"/>
                    </a:lnTo>
                    <a:lnTo>
                      <a:pt x="140" y="111"/>
                    </a:lnTo>
                    <a:lnTo>
                      <a:pt x="142" y="111"/>
                    </a:lnTo>
                    <a:lnTo>
                      <a:pt x="142" y="112"/>
                    </a:lnTo>
                    <a:lnTo>
                      <a:pt x="143" y="112"/>
                    </a:lnTo>
                    <a:lnTo>
                      <a:pt x="143" y="114"/>
                    </a:lnTo>
                    <a:lnTo>
                      <a:pt x="142" y="114"/>
                    </a:lnTo>
                    <a:lnTo>
                      <a:pt x="142" y="116"/>
                    </a:lnTo>
                    <a:lnTo>
                      <a:pt x="142" y="114"/>
                    </a:lnTo>
                    <a:lnTo>
                      <a:pt x="140" y="114"/>
                    </a:lnTo>
                    <a:lnTo>
                      <a:pt x="138" y="114"/>
                    </a:lnTo>
                    <a:lnTo>
                      <a:pt x="138" y="116"/>
                    </a:lnTo>
                    <a:lnTo>
                      <a:pt x="138" y="117"/>
                    </a:lnTo>
                    <a:lnTo>
                      <a:pt x="140" y="117"/>
                    </a:lnTo>
                    <a:lnTo>
                      <a:pt x="140" y="119"/>
                    </a:lnTo>
                    <a:lnTo>
                      <a:pt x="138" y="119"/>
                    </a:lnTo>
                    <a:lnTo>
                      <a:pt x="136" y="119"/>
                    </a:lnTo>
                    <a:lnTo>
                      <a:pt x="135" y="119"/>
                    </a:lnTo>
                    <a:lnTo>
                      <a:pt x="135" y="121"/>
                    </a:lnTo>
                    <a:lnTo>
                      <a:pt x="135" y="119"/>
                    </a:lnTo>
                    <a:lnTo>
                      <a:pt x="133" y="119"/>
                    </a:lnTo>
                    <a:lnTo>
                      <a:pt x="133" y="121"/>
                    </a:lnTo>
                    <a:lnTo>
                      <a:pt x="131" y="119"/>
                    </a:lnTo>
                    <a:lnTo>
                      <a:pt x="130" y="119"/>
                    </a:lnTo>
                    <a:lnTo>
                      <a:pt x="128" y="119"/>
                    </a:lnTo>
                    <a:lnTo>
                      <a:pt x="128" y="121"/>
                    </a:lnTo>
                    <a:lnTo>
                      <a:pt x="126" y="119"/>
                    </a:lnTo>
                    <a:lnTo>
                      <a:pt x="125" y="119"/>
                    </a:lnTo>
                    <a:lnTo>
                      <a:pt x="125" y="121"/>
                    </a:lnTo>
                    <a:lnTo>
                      <a:pt x="123" y="121"/>
                    </a:lnTo>
                    <a:lnTo>
                      <a:pt x="123" y="123"/>
                    </a:lnTo>
                    <a:lnTo>
                      <a:pt x="121" y="123"/>
                    </a:lnTo>
                    <a:lnTo>
                      <a:pt x="119" y="123"/>
                    </a:lnTo>
                    <a:lnTo>
                      <a:pt x="119" y="124"/>
                    </a:lnTo>
                    <a:lnTo>
                      <a:pt x="118" y="124"/>
                    </a:lnTo>
                    <a:lnTo>
                      <a:pt x="118" y="126"/>
                    </a:lnTo>
                    <a:lnTo>
                      <a:pt x="118" y="128"/>
                    </a:lnTo>
                    <a:lnTo>
                      <a:pt x="119" y="128"/>
                    </a:lnTo>
                    <a:lnTo>
                      <a:pt x="119" y="129"/>
                    </a:lnTo>
                    <a:lnTo>
                      <a:pt x="121" y="129"/>
                    </a:lnTo>
                    <a:lnTo>
                      <a:pt x="121" y="131"/>
                    </a:lnTo>
                    <a:lnTo>
                      <a:pt x="121" y="133"/>
                    </a:lnTo>
                    <a:lnTo>
                      <a:pt x="119" y="133"/>
                    </a:lnTo>
                    <a:lnTo>
                      <a:pt x="119" y="135"/>
                    </a:lnTo>
                    <a:lnTo>
                      <a:pt x="119" y="136"/>
                    </a:lnTo>
                    <a:lnTo>
                      <a:pt x="118" y="136"/>
                    </a:lnTo>
                    <a:lnTo>
                      <a:pt x="118" y="138"/>
                    </a:lnTo>
                    <a:lnTo>
                      <a:pt x="118" y="140"/>
                    </a:lnTo>
                    <a:lnTo>
                      <a:pt x="116" y="140"/>
                    </a:lnTo>
                    <a:lnTo>
                      <a:pt x="116" y="141"/>
                    </a:lnTo>
                    <a:lnTo>
                      <a:pt x="118" y="141"/>
                    </a:lnTo>
                    <a:lnTo>
                      <a:pt x="118" y="143"/>
                    </a:lnTo>
                    <a:lnTo>
                      <a:pt x="116" y="143"/>
                    </a:lnTo>
                    <a:lnTo>
                      <a:pt x="116" y="145"/>
                    </a:lnTo>
                    <a:lnTo>
                      <a:pt x="114" y="145"/>
                    </a:lnTo>
                    <a:lnTo>
                      <a:pt x="114" y="146"/>
                    </a:lnTo>
                    <a:lnTo>
                      <a:pt x="114" y="148"/>
                    </a:lnTo>
                    <a:lnTo>
                      <a:pt x="113" y="148"/>
                    </a:lnTo>
                    <a:lnTo>
                      <a:pt x="114" y="150"/>
                    </a:lnTo>
                    <a:lnTo>
                      <a:pt x="114" y="152"/>
                    </a:lnTo>
                    <a:lnTo>
                      <a:pt x="114" y="153"/>
                    </a:lnTo>
                    <a:lnTo>
                      <a:pt x="114" y="155"/>
                    </a:lnTo>
                    <a:lnTo>
                      <a:pt x="116" y="155"/>
                    </a:lnTo>
                    <a:lnTo>
                      <a:pt x="116" y="157"/>
                    </a:lnTo>
                    <a:lnTo>
                      <a:pt x="118" y="157"/>
                    </a:lnTo>
                    <a:lnTo>
                      <a:pt x="118" y="158"/>
                    </a:lnTo>
                    <a:lnTo>
                      <a:pt x="119" y="158"/>
                    </a:lnTo>
                    <a:lnTo>
                      <a:pt x="119" y="160"/>
                    </a:lnTo>
                    <a:lnTo>
                      <a:pt x="119" y="162"/>
                    </a:lnTo>
                    <a:lnTo>
                      <a:pt x="121" y="162"/>
                    </a:lnTo>
                    <a:lnTo>
                      <a:pt x="121" y="163"/>
                    </a:lnTo>
                    <a:lnTo>
                      <a:pt x="121" y="165"/>
                    </a:lnTo>
                    <a:lnTo>
                      <a:pt x="123" y="165"/>
                    </a:lnTo>
                    <a:lnTo>
                      <a:pt x="123" y="167"/>
                    </a:lnTo>
                    <a:lnTo>
                      <a:pt x="125" y="167"/>
                    </a:lnTo>
                    <a:lnTo>
                      <a:pt x="125" y="169"/>
                    </a:lnTo>
                    <a:lnTo>
                      <a:pt x="126" y="169"/>
                    </a:lnTo>
                    <a:lnTo>
                      <a:pt x="128" y="169"/>
                    </a:lnTo>
                    <a:lnTo>
                      <a:pt x="128" y="170"/>
                    </a:lnTo>
                    <a:lnTo>
                      <a:pt x="126" y="170"/>
                    </a:lnTo>
                    <a:lnTo>
                      <a:pt x="126" y="172"/>
                    </a:lnTo>
                    <a:lnTo>
                      <a:pt x="126" y="174"/>
                    </a:lnTo>
                    <a:lnTo>
                      <a:pt x="126" y="175"/>
                    </a:lnTo>
                    <a:lnTo>
                      <a:pt x="128" y="175"/>
                    </a:lnTo>
                    <a:lnTo>
                      <a:pt x="128" y="177"/>
                    </a:lnTo>
                    <a:lnTo>
                      <a:pt x="130" y="177"/>
                    </a:lnTo>
                    <a:lnTo>
                      <a:pt x="128" y="179"/>
                    </a:lnTo>
                    <a:lnTo>
                      <a:pt x="128" y="180"/>
                    </a:lnTo>
                    <a:lnTo>
                      <a:pt x="128" y="182"/>
                    </a:lnTo>
                    <a:lnTo>
                      <a:pt x="128" y="184"/>
                    </a:lnTo>
                    <a:lnTo>
                      <a:pt x="130" y="184"/>
                    </a:lnTo>
                    <a:lnTo>
                      <a:pt x="130" y="186"/>
                    </a:lnTo>
                    <a:lnTo>
                      <a:pt x="131" y="187"/>
                    </a:lnTo>
                    <a:lnTo>
                      <a:pt x="133" y="187"/>
                    </a:lnTo>
                    <a:lnTo>
                      <a:pt x="133" y="189"/>
                    </a:lnTo>
                    <a:lnTo>
                      <a:pt x="133" y="191"/>
                    </a:lnTo>
                    <a:lnTo>
                      <a:pt x="133" y="192"/>
                    </a:lnTo>
                    <a:lnTo>
                      <a:pt x="133" y="191"/>
                    </a:lnTo>
                    <a:lnTo>
                      <a:pt x="133" y="192"/>
                    </a:lnTo>
                    <a:lnTo>
                      <a:pt x="135" y="191"/>
                    </a:lnTo>
                    <a:lnTo>
                      <a:pt x="135" y="192"/>
                    </a:lnTo>
                    <a:lnTo>
                      <a:pt x="135" y="194"/>
                    </a:lnTo>
                    <a:lnTo>
                      <a:pt x="135" y="196"/>
                    </a:lnTo>
                    <a:lnTo>
                      <a:pt x="133" y="196"/>
                    </a:lnTo>
                    <a:lnTo>
                      <a:pt x="133" y="197"/>
                    </a:lnTo>
                    <a:lnTo>
                      <a:pt x="131" y="197"/>
                    </a:lnTo>
                    <a:lnTo>
                      <a:pt x="130" y="197"/>
                    </a:lnTo>
                    <a:lnTo>
                      <a:pt x="130" y="199"/>
                    </a:lnTo>
                    <a:lnTo>
                      <a:pt x="128" y="199"/>
                    </a:lnTo>
                    <a:lnTo>
                      <a:pt x="128" y="197"/>
                    </a:lnTo>
                    <a:lnTo>
                      <a:pt x="128" y="199"/>
                    </a:lnTo>
                    <a:lnTo>
                      <a:pt x="128" y="201"/>
                    </a:lnTo>
                    <a:lnTo>
                      <a:pt x="126" y="199"/>
                    </a:lnTo>
                    <a:lnTo>
                      <a:pt x="126" y="201"/>
                    </a:lnTo>
                    <a:lnTo>
                      <a:pt x="125" y="201"/>
                    </a:lnTo>
                    <a:lnTo>
                      <a:pt x="123" y="201"/>
                    </a:lnTo>
                    <a:lnTo>
                      <a:pt x="123" y="203"/>
                    </a:lnTo>
                    <a:lnTo>
                      <a:pt x="123" y="204"/>
                    </a:lnTo>
                    <a:lnTo>
                      <a:pt x="123" y="206"/>
                    </a:lnTo>
                    <a:lnTo>
                      <a:pt x="121" y="206"/>
                    </a:lnTo>
                    <a:lnTo>
                      <a:pt x="119" y="206"/>
                    </a:lnTo>
                    <a:lnTo>
                      <a:pt x="119" y="208"/>
                    </a:lnTo>
                    <a:lnTo>
                      <a:pt x="118" y="208"/>
                    </a:lnTo>
                    <a:lnTo>
                      <a:pt x="118" y="209"/>
                    </a:lnTo>
                    <a:lnTo>
                      <a:pt x="119" y="209"/>
                    </a:lnTo>
                    <a:lnTo>
                      <a:pt x="119" y="208"/>
                    </a:lnTo>
                    <a:lnTo>
                      <a:pt x="121" y="209"/>
                    </a:lnTo>
                    <a:lnTo>
                      <a:pt x="119" y="209"/>
                    </a:lnTo>
                    <a:lnTo>
                      <a:pt x="119" y="211"/>
                    </a:lnTo>
                    <a:lnTo>
                      <a:pt x="118" y="211"/>
                    </a:lnTo>
                    <a:lnTo>
                      <a:pt x="119" y="213"/>
                    </a:lnTo>
                    <a:lnTo>
                      <a:pt x="118" y="213"/>
                    </a:lnTo>
                    <a:lnTo>
                      <a:pt x="118" y="214"/>
                    </a:lnTo>
                    <a:lnTo>
                      <a:pt x="118" y="216"/>
                    </a:lnTo>
                    <a:lnTo>
                      <a:pt x="119" y="216"/>
                    </a:lnTo>
                    <a:lnTo>
                      <a:pt x="118" y="218"/>
                    </a:lnTo>
                    <a:lnTo>
                      <a:pt x="119" y="218"/>
                    </a:lnTo>
                    <a:lnTo>
                      <a:pt x="118" y="218"/>
                    </a:lnTo>
                    <a:lnTo>
                      <a:pt x="118" y="220"/>
                    </a:lnTo>
                    <a:lnTo>
                      <a:pt x="119" y="220"/>
                    </a:lnTo>
                    <a:lnTo>
                      <a:pt x="118" y="220"/>
                    </a:lnTo>
                    <a:lnTo>
                      <a:pt x="118" y="221"/>
                    </a:lnTo>
                    <a:lnTo>
                      <a:pt x="118" y="223"/>
                    </a:lnTo>
                    <a:lnTo>
                      <a:pt x="118" y="225"/>
                    </a:lnTo>
                    <a:lnTo>
                      <a:pt x="118" y="226"/>
                    </a:lnTo>
                    <a:lnTo>
                      <a:pt x="118" y="228"/>
                    </a:lnTo>
                    <a:lnTo>
                      <a:pt x="116" y="228"/>
                    </a:lnTo>
                    <a:lnTo>
                      <a:pt x="114" y="228"/>
                    </a:lnTo>
                    <a:lnTo>
                      <a:pt x="113" y="228"/>
                    </a:lnTo>
                    <a:lnTo>
                      <a:pt x="111" y="228"/>
                    </a:lnTo>
                    <a:lnTo>
                      <a:pt x="109" y="228"/>
                    </a:lnTo>
                    <a:lnTo>
                      <a:pt x="108" y="228"/>
                    </a:lnTo>
                    <a:lnTo>
                      <a:pt x="108" y="230"/>
                    </a:lnTo>
                    <a:lnTo>
                      <a:pt x="108" y="228"/>
                    </a:lnTo>
                    <a:lnTo>
                      <a:pt x="108" y="230"/>
                    </a:lnTo>
                    <a:lnTo>
                      <a:pt x="108" y="231"/>
                    </a:lnTo>
                    <a:lnTo>
                      <a:pt x="106" y="231"/>
                    </a:lnTo>
                    <a:lnTo>
                      <a:pt x="106" y="233"/>
                    </a:lnTo>
                    <a:lnTo>
                      <a:pt x="104" y="233"/>
                    </a:lnTo>
                    <a:lnTo>
                      <a:pt x="104" y="235"/>
                    </a:lnTo>
                    <a:lnTo>
                      <a:pt x="104" y="237"/>
                    </a:lnTo>
                    <a:lnTo>
                      <a:pt x="102" y="237"/>
                    </a:lnTo>
                    <a:lnTo>
                      <a:pt x="102" y="238"/>
                    </a:lnTo>
                    <a:lnTo>
                      <a:pt x="102" y="240"/>
                    </a:lnTo>
                    <a:lnTo>
                      <a:pt x="101" y="238"/>
                    </a:lnTo>
                    <a:lnTo>
                      <a:pt x="101" y="240"/>
                    </a:lnTo>
                    <a:lnTo>
                      <a:pt x="99" y="240"/>
                    </a:lnTo>
                    <a:lnTo>
                      <a:pt x="97" y="240"/>
                    </a:lnTo>
                    <a:lnTo>
                      <a:pt x="99" y="240"/>
                    </a:lnTo>
                    <a:lnTo>
                      <a:pt x="97" y="242"/>
                    </a:lnTo>
                    <a:lnTo>
                      <a:pt x="99" y="242"/>
                    </a:lnTo>
                    <a:lnTo>
                      <a:pt x="99" y="243"/>
                    </a:lnTo>
                    <a:lnTo>
                      <a:pt x="99" y="245"/>
                    </a:lnTo>
                    <a:lnTo>
                      <a:pt x="99" y="247"/>
                    </a:lnTo>
                    <a:lnTo>
                      <a:pt x="97" y="245"/>
                    </a:lnTo>
                    <a:lnTo>
                      <a:pt x="97" y="247"/>
                    </a:lnTo>
                    <a:lnTo>
                      <a:pt x="97" y="245"/>
                    </a:lnTo>
                    <a:lnTo>
                      <a:pt x="96" y="245"/>
                    </a:lnTo>
                    <a:lnTo>
                      <a:pt x="96" y="247"/>
                    </a:lnTo>
                    <a:lnTo>
                      <a:pt x="96" y="245"/>
                    </a:lnTo>
                    <a:lnTo>
                      <a:pt x="94" y="245"/>
                    </a:lnTo>
                    <a:lnTo>
                      <a:pt x="92" y="245"/>
                    </a:lnTo>
                    <a:lnTo>
                      <a:pt x="91" y="245"/>
                    </a:lnTo>
                    <a:lnTo>
                      <a:pt x="91" y="247"/>
                    </a:lnTo>
                    <a:lnTo>
                      <a:pt x="91" y="248"/>
                    </a:lnTo>
                    <a:lnTo>
                      <a:pt x="89" y="248"/>
                    </a:lnTo>
                    <a:lnTo>
                      <a:pt x="87" y="248"/>
                    </a:lnTo>
                    <a:lnTo>
                      <a:pt x="85" y="248"/>
                    </a:lnTo>
                    <a:lnTo>
                      <a:pt x="85" y="247"/>
                    </a:lnTo>
                    <a:lnTo>
                      <a:pt x="84" y="247"/>
                    </a:lnTo>
                    <a:lnTo>
                      <a:pt x="85" y="247"/>
                    </a:lnTo>
                    <a:lnTo>
                      <a:pt x="85" y="245"/>
                    </a:lnTo>
                    <a:lnTo>
                      <a:pt x="84" y="245"/>
                    </a:lnTo>
                    <a:lnTo>
                      <a:pt x="82" y="245"/>
                    </a:lnTo>
                    <a:lnTo>
                      <a:pt x="82" y="243"/>
                    </a:lnTo>
                    <a:lnTo>
                      <a:pt x="80" y="243"/>
                    </a:lnTo>
                    <a:lnTo>
                      <a:pt x="79" y="243"/>
                    </a:lnTo>
                    <a:lnTo>
                      <a:pt x="77" y="243"/>
                    </a:lnTo>
                    <a:lnTo>
                      <a:pt x="75" y="243"/>
                    </a:lnTo>
                    <a:lnTo>
                      <a:pt x="75" y="242"/>
                    </a:lnTo>
                    <a:lnTo>
                      <a:pt x="74" y="242"/>
                    </a:lnTo>
                    <a:lnTo>
                      <a:pt x="72" y="242"/>
                    </a:lnTo>
                    <a:lnTo>
                      <a:pt x="72" y="240"/>
                    </a:lnTo>
                    <a:lnTo>
                      <a:pt x="70" y="240"/>
                    </a:lnTo>
                    <a:lnTo>
                      <a:pt x="70" y="238"/>
                    </a:lnTo>
                    <a:lnTo>
                      <a:pt x="68" y="238"/>
                    </a:lnTo>
                    <a:lnTo>
                      <a:pt x="68" y="237"/>
                    </a:lnTo>
                    <a:lnTo>
                      <a:pt x="67" y="237"/>
                    </a:lnTo>
                    <a:lnTo>
                      <a:pt x="67" y="235"/>
                    </a:lnTo>
                    <a:lnTo>
                      <a:pt x="65" y="235"/>
                    </a:lnTo>
                    <a:lnTo>
                      <a:pt x="65" y="233"/>
                    </a:lnTo>
                    <a:lnTo>
                      <a:pt x="65" y="231"/>
                    </a:lnTo>
                    <a:lnTo>
                      <a:pt x="65" y="233"/>
                    </a:lnTo>
                    <a:lnTo>
                      <a:pt x="63" y="231"/>
                    </a:lnTo>
                    <a:lnTo>
                      <a:pt x="63" y="230"/>
                    </a:lnTo>
                    <a:lnTo>
                      <a:pt x="62" y="230"/>
                    </a:lnTo>
                    <a:lnTo>
                      <a:pt x="62" y="231"/>
                    </a:lnTo>
                    <a:lnTo>
                      <a:pt x="60" y="231"/>
                    </a:lnTo>
                    <a:lnTo>
                      <a:pt x="60" y="230"/>
                    </a:lnTo>
                    <a:lnTo>
                      <a:pt x="58" y="230"/>
                    </a:lnTo>
                    <a:lnTo>
                      <a:pt x="58" y="228"/>
                    </a:lnTo>
                    <a:lnTo>
                      <a:pt x="60" y="228"/>
                    </a:lnTo>
                    <a:lnTo>
                      <a:pt x="60" y="226"/>
                    </a:lnTo>
                    <a:lnTo>
                      <a:pt x="58" y="226"/>
                    </a:lnTo>
                    <a:lnTo>
                      <a:pt x="57" y="226"/>
                    </a:lnTo>
                    <a:lnTo>
                      <a:pt x="57" y="225"/>
                    </a:lnTo>
                    <a:lnTo>
                      <a:pt x="57" y="223"/>
                    </a:lnTo>
                    <a:lnTo>
                      <a:pt x="57" y="221"/>
                    </a:lnTo>
                    <a:lnTo>
                      <a:pt x="57" y="220"/>
                    </a:lnTo>
                    <a:lnTo>
                      <a:pt x="57" y="218"/>
                    </a:lnTo>
                    <a:lnTo>
                      <a:pt x="57" y="216"/>
                    </a:lnTo>
                    <a:lnTo>
                      <a:pt x="57" y="214"/>
                    </a:lnTo>
                    <a:lnTo>
                      <a:pt x="57" y="213"/>
                    </a:lnTo>
                    <a:lnTo>
                      <a:pt x="57" y="211"/>
                    </a:lnTo>
                    <a:lnTo>
                      <a:pt x="55" y="211"/>
                    </a:lnTo>
                    <a:lnTo>
                      <a:pt x="53" y="211"/>
                    </a:lnTo>
                    <a:lnTo>
                      <a:pt x="53" y="209"/>
                    </a:lnTo>
                    <a:lnTo>
                      <a:pt x="53" y="211"/>
                    </a:lnTo>
                    <a:lnTo>
                      <a:pt x="53" y="209"/>
                    </a:lnTo>
                    <a:lnTo>
                      <a:pt x="51" y="209"/>
                    </a:lnTo>
                    <a:lnTo>
                      <a:pt x="51" y="208"/>
                    </a:lnTo>
                    <a:lnTo>
                      <a:pt x="51" y="206"/>
                    </a:lnTo>
                    <a:lnTo>
                      <a:pt x="51" y="204"/>
                    </a:lnTo>
                    <a:lnTo>
                      <a:pt x="50" y="204"/>
                    </a:lnTo>
                    <a:lnTo>
                      <a:pt x="50" y="203"/>
                    </a:lnTo>
                    <a:lnTo>
                      <a:pt x="50" y="201"/>
                    </a:lnTo>
                    <a:lnTo>
                      <a:pt x="48" y="201"/>
                    </a:lnTo>
                    <a:lnTo>
                      <a:pt x="50" y="201"/>
                    </a:lnTo>
                    <a:lnTo>
                      <a:pt x="48" y="199"/>
                    </a:lnTo>
                    <a:lnTo>
                      <a:pt x="48" y="197"/>
                    </a:lnTo>
                    <a:lnTo>
                      <a:pt x="48" y="196"/>
                    </a:lnTo>
                    <a:lnTo>
                      <a:pt x="48" y="194"/>
                    </a:lnTo>
                    <a:lnTo>
                      <a:pt x="48" y="192"/>
                    </a:lnTo>
                    <a:lnTo>
                      <a:pt x="48" y="191"/>
                    </a:lnTo>
                    <a:lnTo>
                      <a:pt x="48" y="189"/>
                    </a:lnTo>
                    <a:lnTo>
                      <a:pt x="50" y="189"/>
                    </a:lnTo>
                    <a:lnTo>
                      <a:pt x="50" y="187"/>
                    </a:lnTo>
                    <a:lnTo>
                      <a:pt x="50" y="186"/>
                    </a:lnTo>
                    <a:lnTo>
                      <a:pt x="50" y="184"/>
                    </a:lnTo>
                    <a:lnTo>
                      <a:pt x="51" y="184"/>
                    </a:lnTo>
                    <a:lnTo>
                      <a:pt x="50" y="184"/>
                    </a:lnTo>
                    <a:lnTo>
                      <a:pt x="51" y="182"/>
                    </a:lnTo>
                    <a:lnTo>
                      <a:pt x="50" y="182"/>
                    </a:lnTo>
                    <a:lnTo>
                      <a:pt x="51" y="182"/>
                    </a:lnTo>
                    <a:lnTo>
                      <a:pt x="51" y="180"/>
                    </a:lnTo>
                    <a:lnTo>
                      <a:pt x="51" y="179"/>
                    </a:lnTo>
                    <a:lnTo>
                      <a:pt x="53" y="179"/>
                    </a:lnTo>
                    <a:lnTo>
                      <a:pt x="53" y="177"/>
                    </a:lnTo>
                    <a:lnTo>
                      <a:pt x="53" y="175"/>
                    </a:lnTo>
                    <a:lnTo>
                      <a:pt x="55" y="175"/>
                    </a:lnTo>
                    <a:lnTo>
                      <a:pt x="55" y="174"/>
                    </a:lnTo>
                    <a:lnTo>
                      <a:pt x="53" y="174"/>
                    </a:lnTo>
                    <a:lnTo>
                      <a:pt x="55" y="174"/>
                    </a:lnTo>
                    <a:lnTo>
                      <a:pt x="53" y="174"/>
                    </a:lnTo>
                    <a:lnTo>
                      <a:pt x="53" y="172"/>
                    </a:lnTo>
                    <a:lnTo>
                      <a:pt x="55" y="172"/>
                    </a:lnTo>
                    <a:lnTo>
                      <a:pt x="53" y="172"/>
                    </a:lnTo>
                    <a:lnTo>
                      <a:pt x="55" y="170"/>
                    </a:lnTo>
                    <a:lnTo>
                      <a:pt x="53" y="170"/>
                    </a:lnTo>
                    <a:lnTo>
                      <a:pt x="53" y="169"/>
                    </a:lnTo>
                    <a:lnTo>
                      <a:pt x="51" y="169"/>
                    </a:lnTo>
                    <a:lnTo>
                      <a:pt x="53" y="169"/>
                    </a:lnTo>
                    <a:lnTo>
                      <a:pt x="51" y="169"/>
                    </a:lnTo>
                    <a:lnTo>
                      <a:pt x="53" y="169"/>
                    </a:lnTo>
                    <a:lnTo>
                      <a:pt x="53" y="167"/>
                    </a:lnTo>
                    <a:lnTo>
                      <a:pt x="55" y="167"/>
                    </a:lnTo>
                    <a:lnTo>
                      <a:pt x="57" y="165"/>
                    </a:lnTo>
                    <a:lnTo>
                      <a:pt x="58" y="163"/>
                    </a:lnTo>
                    <a:lnTo>
                      <a:pt x="58" y="162"/>
                    </a:lnTo>
                    <a:lnTo>
                      <a:pt x="60" y="162"/>
                    </a:lnTo>
                    <a:lnTo>
                      <a:pt x="60" y="160"/>
                    </a:lnTo>
                    <a:lnTo>
                      <a:pt x="60" y="162"/>
                    </a:lnTo>
                    <a:lnTo>
                      <a:pt x="60" y="160"/>
                    </a:lnTo>
                    <a:lnTo>
                      <a:pt x="62" y="160"/>
                    </a:lnTo>
                    <a:lnTo>
                      <a:pt x="62" y="158"/>
                    </a:lnTo>
                    <a:lnTo>
                      <a:pt x="62" y="157"/>
                    </a:lnTo>
                    <a:lnTo>
                      <a:pt x="63" y="157"/>
                    </a:lnTo>
                    <a:lnTo>
                      <a:pt x="63" y="155"/>
                    </a:lnTo>
                    <a:lnTo>
                      <a:pt x="62" y="155"/>
                    </a:lnTo>
                    <a:lnTo>
                      <a:pt x="62" y="153"/>
                    </a:lnTo>
                    <a:lnTo>
                      <a:pt x="60" y="152"/>
                    </a:lnTo>
                    <a:lnTo>
                      <a:pt x="60" y="150"/>
                    </a:lnTo>
                    <a:lnTo>
                      <a:pt x="60" y="148"/>
                    </a:lnTo>
                    <a:lnTo>
                      <a:pt x="58" y="148"/>
                    </a:lnTo>
                    <a:lnTo>
                      <a:pt x="57" y="148"/>
                    </a:lnTo>
                    <a:lnTo>
                      <a:pt x="57" y="146"/>
                    </a:lnTo>
                    <a:lnTo>
                      <a:pt x="57" y="145"/>
                    </a:lnTo>
                    <a:lnTo>
                      <a:pt x="58" y="145"/>
                    </a:lnTo>
                    <a:lnTo>
                      <a:pt x="57" y="145"/>
                    </a:lnTo>
                    <a:lnTo>
                      <a:pt x="57" y="143"/>
                    </a:lnTo>
                    <a:lnTo>
                      <a:pt x="58" y="143"/>
                    </a:lnTo>
                    <a:lnTo>
                      <a:pt x="58" y="141"/>
                    </a:lnTo>
                    <a:lnTo>
                      <a:pt x="57" y="141"/>
                    </a:lnTo>
                    <a:lnTo>
                      <a:pt x="57" y="140"/>
                    </a:lnTo>
                    <a:lnTo>
                      <a:pt x="55" y="138"/>
                    </a:lnTo>
                    <a:lnTo>
                      <a:pt x="53" y="138"/>
                    </a:lnTo>
                    <a:lnTo>
                      <a:pt x="51" y="138"/>
                    </a:lnTo>
                    <a:lnTo>
                      <a:pt x="53" y="138"/>
                    </a:lnTo>
                    <a:lnTo>
                      <a:pt x="51" y="138"/>
                    </a:lnTo>
                    <a:lnTo>
                      <a:pt x="50" y="138"/>
                    </a:lnTo>
                    <a:lnTo>
                      <a:pt x="50" y="136"/>
                    </a:lnTo>
                    <a:lnTo>
                      <a:pt x="48" y="136"/>
                    </a:lnTo>
                    <a:lnTo>
                      <a:pt x="48" y="138"/>
                    </a:lnTo>
                    <a:lnTo>
                      <a:pt x="48" y="136"/>
                    </a:lnTo>
                    <a:lnTo>
                      <a:pt x="46" y="138"/>
                    </a:lnTo>
                    <a:lnTo>
                      <a:pt x="46" y="136"/>
                    </a:lnTo>
                    <a:lnTo>
                      <a:pt x="45" y="136"/>
                    </a:lnTo>
                    <a:lnTo>
                      <a:pt x="46" y="136"/>
                    </a:lnTo>
                    <a:lnTo>
                      <a:pt x="45" y="136"/>
                    </a:lnTo>
                    <a:lnTo>
                      <a:pt x="43" y="136"/>
                    </a:lnTo>
                    <a:lnTo>
                      <a:pt x="43" y="135"/>
                    </a:lnTo>
                    <a:lnTo>
                      <a:pt x="43" y="133"/>
                    </a:lnTo>
                    <a:lnTo>
                      <a:pt x="45" y="133"/>
                    </a:lnTo>
                    <a:lnTo>
                      <a:pt x="45" y="131"/>
                    </a:lnTo>
                    <a:lnTo>
                      <a:pt x="46" y="131"/>
                    </a:lnTo>
                    <a:lnTo>
                      <a:pt x="46" y="129"/>
                    </a:lnTo>
                    <a:lnTo>
                      <a:pt x="46" y="128"/>
                    </a:lnTo>
                    <a:lnTo>
                      <a:pt x="46" y="126"/>
                    </a:lnTo>
                    <a:lnTo>
                      <a:pt x="48" y="124"/>
                    </a:lnTo>
                    <a:lnTo>
                      <a:pt x="48" y="123"/>
                    </a:lnTo>
                    <a:lnTo>
                      <a:pt x="48" y="121"/>
                    </a:lnTo>
                    <a:lnTo>
                      <a:pt x="48" y="119"/>
                    </a:lnTo>
                    <a:lnTo>
                      <a:pt x="48" y="117"/>
                    </a:lnTo>
                    <a:lnTo>
                      <a:pt x="46" y="117"/>
                    </a:lnTo>
                    <a:lnTo>
                      <a:pt x="46" y="116"/>
                    </a:lnTo>
                    <a:lnTo>
                      <a:pt x="45" y="116"/>
                    </a:lnTo>
                    <a:lnTo>
                      <a:pt x="45" y="114"/>
                    </a:lnTo>
                    <a:lnTo>
                      <a:pt x="45" y="112"/>
                    </a:lnTo>
                    <a:lnTo>
                      <a:pt x="43" y="112"/>
                    </a:lnTo>
                    <a:lnTo>
                      <a:pt x="43" y="111"/>
                    </a:lnTo>
                    <a:lnTo>
                      <a:pt x="43" y="112"/>
                    </a:lnTo>
                    <a:lnTo>
                      <a:pt x="41" y="112"/>
                    </a:lnTo>
                    <a:lnTo>
                      <a:pt x="41" y="111"/>
                    </a:lnTo>
                    <a:lnTo>
                      <a:pt x="40" y="111"/>
                    </a:lnTo>
                    <a:lnTo>
                      <a:pt x="38" y="112"/>
                    </a:lnTo>
                    <a:lnTo>
                      <a:pt x="36" y="112"/>
                    </a:lnTo>
                    <a:lnTo>
                      <a:pt x="34" y="112"/>
                    </a:lnTo>
                    <a:lnTo>
                      <a:pt x="33" y="112"/>
                    </a:lnTo>
                    <a:lnTo>
                      <a:pt x="33" y="114"/>
                    </a:lnTo>
                    <a:lnTo>
                      <a:pt x="33" y="112"/>
                    </a:lnTo>
                    <a:lnTo>
                      <a:pt x="31" y="112"/>
                    </a:lnTo>
                    <a:lnTo>
                      <a:pt x="29" y="112"/>
                    </a:lnTo>
                    <a:lnTo>
                      <a:pt x="28" y="112"/>
                    </a:lnTo>
                    <a:lnTo>
                      <a:pt x="26" y="112"/>
                    </a:lnTo>
                    <a:lnTo>
                      <a:pt x="24" y="112"/>
                    </a:lnTo>
                    <a:lnTo>
                      <a:pt x="23" y="112"/>
                    </a:lnTo>
                    <a:lnTo>
                      <a:pt x="21" y="111"/>
                    </a:lnTo>
                    <a:lnTo>
                      <a:pt x="19" y="109"/>
                    </a:lnTo>
                    <a:lnTo>
                      <a:pt x="12" y="102"/>
                    </a:lnTo>
                    <a:lnTo>
                      <a:pt x="11" y="97"/>
                    </a:lnTo>
                    <a:lnTo>
                      <a:pt x="7" y="95"/>
                    </a:lnTo>
                    <a:lnTo>
                      <a:pt x="2" y="90"/>
                    </a:lnTo>
                    <a:lnTo>
                      <a:pt x="0" y="89"/>
                    </a:lnTo>
                    <a:lnTo>
                      <a:pt x="0" y="87"/>
                    </a:lnTo>
                    <a:lnTo>
                      <a:pt x="2" y="87"/>
                    </a:lnTo>
                    <a:lnTo>
                      <a:pt x="2" y="85"/>
                    </a:lnTo>
                    <a:lnTo>
                      <a:pt x="4" y="85"/>
                    </a:lnTo>
                    <a:lnTo>
                      <a:pt x="4" y="83"/>
                    </a:lnTo>
                    <a:lnTo>
                      <a:pt x="6" y="82"/>
                    </a:lnTo>
                    <a:lnTo>
                      <a:pt x="7" y="82"/>
                    </a:lnTo>
                    <a:lnTo>
                      <a:pt x="7" y="80"/>
                    </a:lnTo>
                    <a:lnTo>
                      <a:pt x="9" y="80"/>
                    </a:lnTo>
                    <a:lnTo>
                      <a:pt x="11" y="78"/>
                    </a:lnTo>
                    <a:lnTo>
                      <a:pt x="9" y="78"/>
                    </a:lnTo>
                    <a:lnTo>
                      <a:pt x="9" y="77"/>
                    </a:lnTo>
                    <a:lnTo>
                      <a:pt x="11" y="77"/>
                    </a:lnTo>
                    <a:lnTo>
                      <a:pt x="9" y="77"/>
                    </a:lnTo>
                    <a:lnTo>
                      <a:pt x="9" y="75"/>
                    </a:lnTo>
                    <a:lnTo>
                      <a:pt x="7" y="75"/>
                    </a:lnTo>
                    <a:lnTo>
                      <a:pt x="9" y="75"/>
                    </a:lnTo>
                    <a:lnTo>
                      <a:pt x="9" y="73"/>
                    </a:lnTo>
                    <a:lnTo>
                      <a:pt x="9" y="72"/>
                    </a:lnTo>
                    <a:lnTo>
                      <a:pt x="9" y="70"/>
                    </a:lnTo>
                    <a:lnTo>
                      <a:pt x="7" y="70"/>
                    </a:lnTo>
                    <a:lnTo>
                      <a:pt x="9" y="68"/>
                    </a:lnTo>
                    <a:lnTo>
                      <a:pt x="7" y="68"/>
                    </a:lnTo>
                    <a:lnTo>
                      <a:pt x="7" y="66"/>
                    </a:lnTo>
                    <a:lnTo>
                      <a:pt x="6" y="66"/>
                    </a:lnTo>
                    <a:lnTo>
                      <a:pt x="7" y="66"/>
                    </a:lnTo>
                    <a:lnTo>
                      <a:pt x="6" y="66"/>
                    </a:lnTo>
                    <a:lnTo>
                      <a:pt x="7" y="66"/>
                    </a:lnTo>
                    <a:lnTo>
                      <a:pt x="7" y="65"/>
                    </a:lnTo>
                    <a:lnTo>
                      <a:pt x="7" y="63"/>
                    </a:lnTo>
                    <a:lnTo>
                      <a:pt x="9" y="63"/>
                    </a:lnTo>
                    <a:lnTo>
                      <a:pt x="9" y="61"/>
                    </a:lnTo>
                    <a:lnTo>
                      <a:pt x="11" y="61"/>
                    </a:lnTo>
                    <a:lnTo>
                      <a:pt x="12" y="61"/>
                    </a:lnTo>
                    <a:lnTo>
                      <a:pt x="14" y="61"/>
                    </a:lnTo>
                    <a:lnTo>
                      <a:pt x="16" y="61"/>
                    </a:lnTo>
                    <a:lnTo>
                      <a:pt x="17" y="60"/>
                    </a:lnTo>
                    <a:lnTo>
                      <a:pt x="16" y="60"/>
                    </a:lnTo>
                    <a:lnTo>
                      <a:pt x="16" y="58"/>
                    </a:lnTo>
                    <a:lnTo>
                      <a:pt x="17" y="58"/>
                    </a:lnTo>
                    <a:lnTo>
                      <a:pt x="17" y="60"/>
                    </a:lnTo>
                    <a:lnTo>
                      <a:pt x="19" y="60"/>
                    </a:lnTo>
                    <a:lnTo>
                      <a:pt x="21" y="60"/>
                    </a:lnTo>
                    <a:lnTo>
                      <a:pt x="21" y="58"/>
                    </a:lnTo>
                    <a:lnTo>
                      <a:pt x="21" y="60"/>
                    </a:lnTo>
                    <a:lnTo>
                      <a:pt x="23" y="60"/>
                    </a:lnTo>
                    <a:lnTo>
                      <a:pt x="24" y="60"/>
                    </a:lnTo>
                    <a:lnTo>
                      <a:pt x="24" y="58"/>
                    </a:lnTo>
                    <a:lnTo>
                      <a:pt x="26" y="58"/>
                    </a:lnTo>
                    <a:lnTo>
                      <a:pt x="28" y="58"/>
                    </a:lnTo>
                    <a:lnTo>
                      <a:pt x="28" y="56"/>
                    </a:lnTo>
                    <a:lnTo>
                      <a:pt x="29" y="56"/>
                    </a:lnTo>
                    <a:lnTo>
                      <a:pt x="31" y="56"/>
                    </a:lnTo>
                    <a:lnTo>
                      <a:pt x="31" y="55"/>
                    </a:lnTo>
                    <a:lnTo>
                      <a:pt x="33" y="55"/>
                    </a:lnTo>
                    <a:lnTo>
                      <a:pt x="34" y="53"/>
                    </a:lnTo>
                    <a:lnTo>
                      <a:pt x="34" y="55"/>
                    </a:lnTo>
                    <a:lnTo>
                      <a:pt x="34" y="53"/>
                    </a:lnTo>
                    <a:lnTo>
                      <a:pt x="36" y="53"/>
                    </a:lnTo>
                    <a:lnTo>
                      <a:pt x="36" y="51"/>
                    </a:lnTo>
                    <a:lnTo>
                      <a:pt x="36" y="49"/>
                    </a:lnTo>
                    <a:lnTo>
                      <a:pt x="36" y="48"/>
                    </a:lnTo>
                    <a:lnTo>
                      <a:pt x="36" y="46"/>
                    </a:lnTo>
                    <a:lnTo>
                      <a:pt x="34" y="46"/>
                    </a:lnTo>
                    <a:lnTo>
                      <a:pt x="33" y="46"/>
                    </a:lnTo>
                    <a:lnTo>
                      <a:pt x="33" y="44"/>
                    </a:lnTo>
                    <a:lnTo>
                      <a:pt x="33" y="46"/>
                    </a:lnTo>
                    <a:lnTo>
                      <a:pt x="31" y="44"/>
                    </a:lnTo>
                    <a:lnTo>
                      <a:pt x="31" y="46"/>
                    </a:lnTo>
                    <a:lnTo>
                      <a:pt x="29" y="46"/>
                    </a:lnTo>
                    <a:lnTo>
                      <a:pt x="29" y="48"/>
                    </a:lnTo>
                    <a:lnTo>
                      <a:pt x="29" y="46"/>
                    </a:lnTo>
                    <a:lnTo>
                      <a:pt x="28" y="46"/>
                    </a:lnTo>
                    <a:lnTo>
                      <a:pt x="28" y="44"/>
                    </a:lnTo>
                    <a:lnTo>
                      <a:pt x="26" y="44"/>
                    </a:lnTo>
                    <a:lnTo>
                      <a:pt x="26" y="43"/>
                    </a:lnTo>
                    <a:lnTo>
                      <a:pt x="28" y="43"/>
                    </a:lnTo>
                    <a:lnTo>
                      <a:pt x="28" y="41"/>
                    </a:lnTo>
                    <a:lnTo>
                      <a:pt x="28" y="39"/>
                    </a:lnTo>
                    <a:lnTo>
                      <a:pt x="26" y="39"/>
                    </a:lnTo>
                    <a:lnTo>
                      <a:pt x="26" y="38"/>
                    </a:lnTo>
                    <a:lnTo>
                      <a:pt x="26" y="36"/>
                    </a:lnTo>
                    <a:lnTo>
                      <a:pt x="26" y="34"/>
                    </a:lnTo>
                    <a:lnTo>
                      <a:pt x="26" y="32"/>
                    </a:lnTo>
                    <a:lnTo>
                      <a:pt x="26" y="31"/>
                    </a:lnTo>
                    <a:lnTo>
                      <a:pt x="28" y="31"/>
                    </a:lnTo>
                    <a:lnTo>
                      <a:pt x="28" y="29"/>
                    </a:lnTo>
                    <a:lnTo>
                      <a:pt x="28" y="27"/>
                    </a:lnTo>
                    <a:lnTo>
                      <a:pt x="29" y="26"/>
                    </a:lnTo>
                    <a:lnTo>
                      <a:pt x="29" y="24"/>
                    </a:lnTo>
                    <a:lnTo>
                      <a:pt x="31" y="24"/>
                    </a:lnTo>
                    <a:lnTo>
                      <a:pt x="33" y="24"/>
                    </a:lnTo>
                    <a:lnTo>
                      <a:pt x="34" y="24"/>
                    </a:lnTo>
                    <a:lnTo>
                      <a:pt x="36" y="24"/>
                    </a:lnTo>
                    <a:lnTo>
                      <a:pt x="36" y="22"/>
                    </a:lnTo>
                    <a:lnTo>
                      <a:pt x="38" y="22"/>
                    </a:lnTo>
                    <a:lnTo>
                      <a:pt x="40" y="21"/>
                    </a:lnTo>
                    <a:lnTo>
                      <a:pt x="40" y="19"/>
                    </a:lnTo>
                    <a:lnTo>
                      <a:pt x="41" y="19"/>
                    </a:lnTo>
                    <a:lnTo>
                      <a:pt x="43" y="19"/>
                    </a:lnTo>
                    <a:lnTo>
                      <a:pt x="43" y="17"/>
                    </a:lnTo>
                    <a:lnTo>
                      <a:pt x="45" y="17"/>
                    </a:lnTo>
                    <a:lnTo>
                      <a:pt x="46" y="17"/>
                    </a:lnTo>
                    <a:lnTo>
                      <a:pt x="46" y="15"/>
                    </a:lnTo>
                    <a:lnTo>
                      <a:pt x="48" y="15"/>
                    </a:lnTo>
                    <a:lnTo>
                      <a:pt x="48" y="14"/>
                    </a:lnTo>
                    <a:lnTo>
                      <a:pt x="48" y="12"/>
                    </a:lnTo>
                    <a:lnTo>
                      <a:pt x="50" y="10"/>
                    </a:lnTo>
                    <a:lnTo>
                      <a:pt x="53" y="10"/>
                    </a:lnTo>
                    <a:lnTo>
                      <a:pt x="53" y="9"/>
                    </a:lnTo>
                    <a:lnTo>
                      <a:pt x="55" y="9"/>
                    </a:lnTo>
                    <a:lnTo>
                      <a:pt x="53" y="7"/>
                    </a:lnTo>
                    <a:lnTo>
                      <a:pt x="51" y="4"/>
                    </a:lnTo>
                    <a:lnTo>
                      <a:pt x="50" y="2"/>
                    </a:lnTo>
                    <a:lnTo>
                      <a:pt x="48" y="0"/>
                    </a:lnTo>
                    <a:lnTo>
                      <a:pt x="50" y="0"/>
                    </a:lnTo>
                    <a:lnTo>
                      <a:pt x="50" y="2"/>
                    </a:lnTo>
                    <a:lnTo>
                      <a:pt x="51" y="2"/>
                    </a:lnTo>
                    <a:lnTo>
                      <a:pt x="51" y="4"/>
                    </a:lnTo>
                    <a:lnTo>
                      <a:pt x="53" y="5"/>
                    </a:lnTo>
                    <a:lnTo>
                      <a:pt x="55" y="5"/>
                    </a:lnTo>
                    <a:lnTo>
                      <a:pt x="57" y="5"/>
                    </a:lnTo>
                    <a:lnTo>
                      <a:pt x="55" y="5"/>
                    </a:lnTo>
                    <a:lnTo>
                      <a:pt x="55" y="4"/>
                    </a:lnTo>
                    <a:lnTo>
                      <a:pt x="57" y="4"/>
                    </a:lnTo>
                    <a:lnTo>
                      <a:pt x="57" y="5"/>
                    </a:lnTo>
                    <a:lnTo>
                      <a:pt x="58" y="5"/>
                    </a:lnTo>
                    <a:lnTo>
                      <a:pt x="60" y="5"/>
                    </a:lnTo>
                    <a:lnTo>
                      <a:pt x="60" y="7"/>
                    </a:lnTo>
                    <a:lnTo>
                      <a:pt x="62" y="7"/>
                    </a:lnTo>
                    <a:lnTo>
                      <a:pt x="62" y="9"/>
                    </a:lnTo>
                    <a:lnTo>
                      <a:pt x="63" y="9"/>
                    </a:lnTo>
                    <a:lnTo>
                      <a:pt x="65" y="9"/>
                    </a:lnTo>
                    <a:lnTo>
                      <a:pt x="65" y="10"/>
                    </a:lnTo>
                    <a:lnTo>
                      <a:pt x="67" y="10"/>
                    </a:lnTo>
                    <a:lnTo>
                      <a:pt x="68" y="10"/>
                    </a:lnTo>
                    <a:lnTo>
                      <a:pt x="68" y="12"/>
                    </a:lnTo>
                    <a:lnTo>
                      <a:pt x="70" y="12"/>
                    </a:lnTo>
                    <a:lnTo>
                      <a:pt x="72" y="14"/>
                    </a:lnTo>
                    <a:lnTo>
                      <a:pt x="74" y="14"/>
                    </a:lnTo>
                    <a:lnTo>
                      <a:pt x="75" y="15"/>
                    </a:lnTo>
                    <a:lnTo>
                      <a:pt x="77" y="15"/>
                    </a:lnTo>
                    <a:lnTo>
                      <a:pt x="77" y="17"/>
                    </a:lnTo>
                    <a:lnTo>
                      <a:pt x="79" y="17"/>
                    </a:lnTo>
                    <a:lnTo>
                      <a:pt x="79" y="19"/>
                    </a:lnTo>
                    <a:lnTo>
                      <a:pt x="80" y="21"/>
                    </a:lnTo>
                    <a:lnTo>
                      <a:pt x="82" y="21"/>
                    </a:lnTo>
                    <a:lnTo>
                      <a:pt x="82" y="22"/>
                    </a:lnTo>
                    <a:lnTo>
                      <a:pt x="84" y="24"/>
                    </a:lnTo>
                    <a:lnTo>
                      <a:pt x="85" y="26"/>
                    </a:lnTo>
                    <a:lnTo>
                      <a:pt x="87" y="27"/>
                    </a:lnTo>
                    <a:lnTo>
                      <a:pt x="89" y="27"/>
                    </a:lnTo>
                    <a:lnTo>
                      <a:pt x="89" y="29"/>
                    </a:lnTo>
                    <a:lnTo>
                      <a:pt x="89" y="31"/>
                    </a:lnTo>
                    <a:lnTo>
                      <a:pt x="91" y="31"/>
                    </a:lnTo>
                    <a:lnTo>
                      <a:pt x="91" y="32"/>
                    </a:lnTo>
                    <a:lnTo>
                      <a:pt x="91" y="31"/>
                    </a:lnTo>
                    <a:lnTo>
                      <a:pt x="92" y="31"/>
                    </a:lnTo>
                    <a:lnTo>
                      <a:pt x="92" y="32"/>
                    </a:lnTo>
                    <a:lnTo>
                      <a:pt x="94" y="32"/>
                    </a:lnTo>
                    <a:lnTo>
                      <a:pt x="94" y="34"/>
                    </a:lnTo>
                    <a:lnTo>
                      <a:pt x="96" y="36"/>
                    </a:lnTo>
                    <a:lnTo>
                      <a:pt x="97" y="38"/>
                    </a:lnTo>
                    <a:lnTo>
                      <a:pt x="97" y="39"/>
                    </a:lnTo>
                    <a:lnTo>
                      <a:pt x="99" y="39"/>
                    </a:lnTo>
                    <a:lnTo>
                      <a:pt x="99" y="41"/>
                    </a:lnTo>
                    <a:lnTo>
                      <a:pt x="99" y="43"/>
                    </a:lnTo>
                    <a:lnTo>
                      <a:pt x="99" y="44"/>
                    </a:lnTo>
                    <a:lnTo>
                      <a:pt x="99" y="46"/>
                    </a:lnTo>
                    <a:lnTo>
                      <a:pt x="99" y="48"/>
                    </a:lnTo>
                    <a:lnTo>
                      <a:pt x="99" y="49"/>
                    </a:lnTo>
                    <a:lnTo>
                      <a:pt x="99" y="51"/>
                    </a:lnTo>
                    <a:lnTo>
                      <a:pt x="99" y="53"/>
                    </a:lnTo>
                    <a:lnTo>
                      <a:pt x="97" y="53"/>
                    </a:lnTo>
                    <a:lnTo>
                      <a:pt x="97" y="55"/>
                    </a:lnTo>
                    <a:lnTo>
                      <a:pt x="96" y="55"/>
                    </a:lnTo>
                    <a:lnTo>
                      <a:pt x="96" y="56"/>
                    </a:lnTo>
                    <a:lnTo>
                      <a:pt x="96" y="58"/>
                    </a:lnTo>
                    <a:lnTo>
                      <a:pt x="96" y="60"/>
                    </a:lnTo>
                    <a:lnTo>
                      <a:pt x="96" y="61"/>
                    </a:lnTo>
                    <a:lnTo>
                      <a:pt x="94" y="61"/>
                    </a:lnTo>
                    <a:lnTo>
                      <a:pt x="94" y="63"/>
                    </a:lnTo>
                    <a:lnTo>
                      <a:pt x="94" y="65"/>
                    </a:lnTo>
                    <a:lnTo>
                      <a:pt x="94" y="66"/>
                    </a:lnTo>
                    <a:lnTo>
                      <a:pt x="94" y="68"/>
                    </a:lnTo>
                    <a:lnTo>
                      <a:pt x="94" y="70"/>
                    </a:lnTo>
                    <a:lnTo>
                      <a:pt x="94" y="72"/>
                    </a:lnTo>
                    <a:lnTo>
                      <a:pt x="92" y="72"/>
                    </a:lnTo>
                    <a:lnTo>
                      <a:pt x="92" y="73"/>
                    </a:lnTo>
                    <a:lnTo>
                      <a:pt x="91" y="73"/>
                    </a:lnTo>
                    <a:lnTo>
                      <a:pt x="92" y="73"/>
                    </a:lnTo>
                    <a:lnTo>
                      <a:pt x="94" y="73"/>
                    </a:lnTo>
                    <a:lnTo>
                      <a:pt x="94" y="72"/>
                    </a:lnTo>
                    <a:lnTo>
                      <a:pt x="94" y="73"/>
                    </a:lnTo>
                    <a:lnTo>
                      <a:pt x="96" y="75"/>
                    </a:lnTo>
                    <a:lnTo>
                      <a:pt x="96" y="73"/>
                    </a:lnTo>
                    <a:lnTo>
                      <a:pt x="96" y="72"/>
                    </a:lnTo>
                    <a:lnTo>
                      <a:pt x="96" y="70"/>
                    </a:lnTo>
                    <a:lnTo>
                      <a:pt x="96" y="68"/>
                    </a:lnTo>
                    <a:lnTo>
                      <a:pt x="96" y="66"/>
                    </a:lnTo>
                    <a:lnTo>
                      <a:pt x="96" y="65"/>
                    </a:lnTo>
                    <a:lnTo>
                      <a:pt x="96" y="63"/>
                    </a:lnTo>
                    <a:lnTo>
                      <a:pt x="97" y="63"/>
                    </a:lnTo>
                    <a:lnTo>
                      <a:pt x="97" y="61"/>
                    </a:lnTo>
                    <a:lnTo>
                      <a:pt x="97" y="60"/>
                    </a:lnTo>
                    <a:lnTo>
                      <a:pt x="99" y="60"/>
                    </a:lnTo>
                    <a:lnTo>
                      <a:pt x="99" y="58"/>
                    </a:lnTo>
                    <a:lnTo>
                      <a:pt x="101" y="58"/>
                    </a:lnTo>
                    <a:lnTo>
                      <a:pt x="101" y="56"/>
                    </a:lnTo>
                    <a:lnTo>
                      <a:pt x="102" y="56"/>
                    </a:lnTo>
                    <a:lnTo>
                      <a:pt x="104" y="56"/>
                    </a:lnTo>
                    <a:lnTo>
                      <a:pt x="106" y="56"/>
                    </a:lnTo>
                    <a:lnTo>
                      <a:pt x="108" y="56"/>
                    </a:lnTo>
                    <a:lnTo>
                      <a:pt x="108" y="58"/>
                    </a:lnTo>
                    <a:lnTo>
                      <a:pt x="109" y="58"/>
                    </a:lnTo>
                    <a:lnTo>
                      <a:pt x="111" y="58"/>
                    </a:lnTo>
                    <a:lnTo>
                      <a:pt x="113" y="58"/>
                    </a:lnTo>
                    <a:lnTo>
                      <a:pt x="114" y="58"/>
                    </a:lnTo>
                    <a:lnTo>
                      <a:pt x="114" y="60"/>
                    </a:lnTo>
                    <a:lnTo>
                      <a:pt x="116" y="60"/>
                    </a:lnTo>
                    <a:lnTo>
                      <a:pt x="116" y="61"/>
                    </a:lnTo>
                    <a:lnTo>
                      <a:pt x="118" y="61"/>
                    </a:lnTo>
                    <a:lnTo>
                      <a:pt x="119" y="61"/>
                    </a:lnTo>
                    <a:lnTo>
                      <a:pt x="119" y="63"/>
                    </a:lnTo>
                    <a:lnTo>
                      <a:pt x="121" y="63"/>
                    </a:lnTo>
                    <a:lnTo>
                      <a:pt x="121" y="65"/>
                    </a:lnTo>
                    <a:lnTo>
                      <a:pt x="123" y="66"/>
                    </a:lnTo>
                    <a:lnTo>
                      <a:pt x="125" y="66"/>
                    </a:lnTo>
                    <a:lnTo>
                      <a:pt x="125" y="68"/>
                    </a:lnTo>
                    <a:lnTo>
                      <a:pt x="126" y="68"/>
                    </a:lnTo>
                    <a:lnTo>
                      <a:pt x="126" y="70"/>
                    </a:lnTo>
                    <a:lnTo>
                      <a:pt x="128" y="70"/>
                    </a:lnTo>
                    <a:lnTo>
                      <a:pt x="128" y="72"/>
                    </a:lnTo>
                    <a:lnTo>
                      <a:pt x="130" y="72"/>
                    </a:lnTo>
                    <a:lnTo>
                      <a:pt x="130" y="73"/>
                    </a:lnTo>
                    <a:lnTo>
                      <a:pt x="130" y="75"/>
                    </a:lnTo>
                    <a:lnTo>
                      <a:pt x="131" y="77"/>
                    </a:lnTo>
                    <a:lnTo>
                      <a:pt x="131" y="75"/>
                    </a:lnTo>
                    <a:lnTo>
                      <a:pt x="133" y="75"/>
                    </a:lnTo>
                    <a:lnTo>
                      <a:pt x="135" y="75"/>
                    </a:lnTo>
                    <a:lnTo>
                      <a:pt x="136" y="75"/>
                    </a:lnTo>
                    <a:lnTo>
                      <a:pt x="136" y="77"/>
                    </a:lnTo>
                    <a:lnTo>
                      <a:pt x="138" y="77"/>
                    </a:lnTo>
                    <a:lnTo>
                      <a:pt x="140" y="78"/>
                    </a:lnTo>
                    <a:lnTo>
                      <a:pt x="142" y="80"/>
                    </a:lnTo>
                    <a:lnTo>
                      <a:pt x="142" y="82"/>
                    </a:lnTo>
                    <a:lnTo>
                      <a:pt x="143" y="82"/>
                    </a:lnTo>
                    <a:lnTo>
                      <a:pt x="143" y="83"/>
                    </a:lnTo>
                    <a:lnTo>
                      <a:pt x="143" y="85"/>
                    </a:lnTo>
                    <a:lnTo>
                      <a:pt x="145" y="87"/>
                    </a:lnTo>
                    <a:lnTo>
                      <a:pt x="143" y="87"/>
                    </a:lnTo>
                    <a:lnTo>
                      <a:pt x="145" y="87"/>
                    </a:lnTo>
                    <a:lnTo>
                      <a:pt x="145" y="89"/>
                    </a:lnTo>
                    <a:lnTo>
                      <a:pt x="145" y="90"/>
                    </a:lnTo>
                    <a:lnTo>
                      <a:pt x="143" y="90"/>
                    </a:lnTo>
                    <a:lnTo>
                      <a:pt x="143" y="92"/>
                    </a:lnTo>
                    <a:lnTo>
                      <a:pt x="143" y="94"/>
                    </a:lnTo>
                    <a:lnTo>
                      <a:pt x="143" y="95"/>
                    </a:lnTo>
                    <a:lnTo>
                      <a:pt x="143" y="97"/>
                    </a:lnTo>
                    <a:close/>
                    <a:moveTo>
                      <a:pt x="96" y="61"/>
                    </a:moveTo>
                    <a:lnTo>
                      <a:pt x="96" y="60"/>
                    </a:lnTo>
                    <a:lnTo>
                      <a:pt x="97" y="58"/>
                    </a:lnTo>
                    <a:lnTo>
                      <a:pt x="97" y="56"/>
                    </a:lnTo>
                    <a:lnTo>
                      <a:pt x="99" y="56"/>
                    </a:lnTo>
                    <a:lnTo>
                      <a:pt x="97" y="58"/>
                    </a:lnTo>
                    <a:lnTo>
                      <a:pt x="97" y="60"/>
                    </a:lnTo>
                    <a:lnTo>
                      <a:pt x="96" y="60"/>
                    </a:lnTo>
                    <a:lnTo>
                      <a:pt x="96" y="61"/>
                    </a:lnTo>
                    <a:close/>
                    <a:moveTo>
                      <a:pt x="97" y="56"/>
                    </a:moveTo>
                    <a:lnTo>
                      <a:pt x="97" y="55"/>
                    </a:lnTo>
                    <a:lnTo>
                      <a:pt x="99" y="55"/>
                    </a:lnTo>
                    <a:lnTo>
                      <a:pt x="99" y="53"/>
                    </a:lnTo>
                    <a:lnTo>
                      <a:pt x="101" y="53"/>
                    </a:lnTo>
                    <a:lnTo>
                      <a:pt x="101" y="51"/>
                    </a:lnTo>
                    <a:lnTo>
                      <a:pt x="101" y="53"/>
                    </a:lnTo>
                    <a:lnTo>
                      <a:pt x="102" y="53"/>
                    </a:lnTo>
                    <a:lnTo>
                      <a:pt x="101" y="53"/>
                    </a:lnTo>
                    <a:lnTo>
                      <a:pt x="99" y="55"/>
                    </a:lnTo>
                    <a:lnTo>
                      <a:pt x="97" y="56"/>
                    </a:lnTo>
                    <a:close/>
                    <a:moveTo>
                      <a:pt x="102" y="53"/>
                    </a:moveTo>
                    <a:lnTo>
                      <a:pt x="104" y="53"/>
                    </a:lnTo>
                    <a:lnTo>
                      <a:pt x="102" y="55"/>
                    </a:lnTo>
                    <a:lnTo>
                      <a:pt x="101" y="55"/>
                    </a:lnTo>
                    <a:lnTo>
                      <a:pt x="101" y="56"/>
                    </a:lnTo>
                    <a:lnTo>
                      <a:pt x="99" y="56"/>
                    </a:lnTo>
                    <a:lnTo>
                      <a:pt x="99" y="55"/>
                    </a:lnTo>
                    <a:lnTo>
                      <a:pt x="101" y="55"/>
                    </a:lnTo>
                    <a:lnTo>
                      <a:pt x="101" y="53"/>
                    </a:lnTo>
                    <a:lnTo>
                      <a:pt x="102" y="53"/>
                    </a:lnTo>
                    <a:close/>
                    <a:moveTo>
                      <a:pt x="96" y="58"/>
                    </a:moveTo>
                    <a:lnTo>
                      <a:pt x="96" y="56"/>
                    </a:lnTo>
                    <a:lnTo>
                      <a:pt x="97" y="55"/>
                    </a:lnTo>
                    <a:lnTo>
                      <a:pt x="99" y="55"/>
                    </a:lnTo>
                    <a:lnTo>
                      <a:pt x="97" y="55"/>
                    </a:lnTo>
                    <a:lnTo>
                      <a:pt x="97" y="56"/>
                    </a:lnTo>
                    <a:lnTo>
                      <a:pt x="96" y="56"/>
                    </a:lnTo>
                    <a:lnTo>
                      <a:pt x="96" y="58"/>
                    </a:lnTo>
                    <a:close/>
                    <a:moveTo>
                      <a:pt x="99" y="49"/>
                    </a:moveTo>
                    <a:lnTo>
                      <a:pt x="99" y="51"/>
                    </a:lnTo>
                    <a:lnTo>
                      <a:pt x="99" y="49"/>
                    </a:lnTo>
                    <a:close/>
                    <a:moveTo>
                      <a:pt x="97" y="60"/>
                    </a:moveTo>
                    <a:lnTo>
                      <a:pt x="97" y="61"/>
                    </a:lnTo>
                    <a:lnTo>
                      <a:pt x="97" y="60"/>
                    </a:lnTo>
                    <a:close/>
                    <a:moveTo>
                      <a:pt x="96" y="56"/>
                    </a:moveTo>
                    <a:lnTo>
                      <a:pt x="97" y="56"/>
                    </a:lnTo>
                    <a:lnTo>
                      <a:pt x="97" y="58"/>
                    </a:lnTo>
                    <a:lnTo>
                      <a:pt x="96" y="58"/>
                    </a:lnTo>
                    <a:lnTo>
                      <a:pt x="96" y="56"/>
                    </a:lnTo>
                    <a:close/>
                    <a:moveTo>
                      <a:pt x="96" y="58"/>
                    </a:moveTo>
                    <a:lnTo>
                      <a:pt x="96" y="60"/>
                    </a:lnTo>
                    <a:lnTo>
                      <a:pt x="96" y="58"/>
                    </a:lnTo>
                    <a:close/>
                    <a:moveTo>
                      <a:pt x="97" y="53"/>
                    </a:moveTo>
                    <a:lnTo>
                      <a:pt x="97" y="55"/>
                    </a:lnTo>
                    <a:lnTo>
                      <a:pt x="97" y="53"/>
                    </a:lnTo>
                    <a:close/>
                    <a:moveTo>
                      <a:pt x="96" y="61"/>
                    </a:moveTo>
                    <a:lnTo>
                      <a:pt x="97" y="61"/>
                    </a:lnTo>
                    <a:lnTo>
                      <a:pt x="96" y="61"/>
                    </a:lnTo>
                    <a:close/>
                    <a:moveTo>
                      <a:pt x="96" y="56"/>
                    </a:moveTo>
                    <a:lnTo>
                      <a:pt x="96" y="58"/>
                    </a:lnTo>
                    <a:lnTo>
                      <a:pt x="96" y="56"/>
                    </a:lnTo>
                    <a:close/>
                    <a:moveTo>
                      <a:pt x="96" y="63"/>
                    </a:moveTo>
                    <a:lnTo>
                      <a:pt x="96" y="65"/>
                    </a:lnTo>
                    <a:lnTo>
                      <a:pt x="96" y="63"/>
                    </a:lnTo>
                    <a:close/>
                    <a:moveTo>
                      <a:pt x="97" y="60"/>
                    </a:moveTo>
                    <a:lnTo>
                      <a:pt x="97" y="61"/>
                    </a:lnTo>
                    <a:lnTo>
                      <a:pt x="97" y="60"/>
                    </a:lnTo>
                    <a:close/>
                    <a:moveTo>
                      <a:pt x="96" y="73"/>
                    </a:moveTo>
                    <a:lnTo>
                      <a:pt x="96" y="75"/>
                    </a:lnTo>
                    <a:lnTo>
                      <a:pt x="96" y="73"/>
                    </a:lnTo>
                    <a:close/>
                    <a:moveTo>
                      <a:pt x="96" y="63"/>
                    </a:moveTo>
                    <a:lnTo>
                      <a:pt x="96" y="65"/>
                    </a:lnTo>
                    <a:lnTo>
                      <a:pt x="96" y="63"/>
                    </a:lnTo>
                    <a:close/>
                    <a:moveTo>
                      <a:pt x="94" y="61"/>
                    </a:moveTo>
                    <a:lnTo>
                      <a:pt x="96" y="61"/>
                    </a:lnTo>
                    <a:lnTo>
                      <a:pt x="96" y="63"/>
                    </a:lnTo>
                    <a:lnTo>
                      <a:pt x="94" y="63"/>
                    </a:lnTo>
                    <a:lnTo>
                      <a:pt x="94" y="61"/>
                    </a:lnTo>
                    <a:close/>
                    <a:moveTo>
                      <a:pt x="96" y="60"/>
                    </a:moveTo>
                    <a:lnTo>
                      <a:pt x="96" y="61"/>
                    </a:lnTo>
                    <a:lnTo>
                      <a:pt x="96" y="60"/>
                    </a:lnTo>
                    <a:close/>
                    <a:moveTo>
                      <a:pt x="96" y="58"/>
                    </a:moveTo>
                    <a:lnTo>
                      <a:pt x="96" y="60"/>
                    </a:lnTo>
                    <a:lnTo>
                      <a:pt x="96" y="58"/>
                    </a:lnTo>
                    <a:close/>
                    <a:moveTo>
                      <a:pt x="94" y="66"/>
                    </a:moveTo>
                    <a:lnTo>
                      <a:pt x="94" y="68"/>
                    </a:lnTo>
                    <a:lnTo>
                      <a:pt x="94" y="66"/>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9" name="Freeform 36">
                <a:extLst>
                  <a:ext uri="{FF2B5EF4-FFF2-40B4-BE49-F238E27FC236}">
                    <a16:creationId xmlns:a16="http://schemas.microsoft.com/office/drawing/2014/main" id="{EFEAD6DC-6A40-04FA-D7ED-5689BFD4B298}"/>
                  </a:ext>
                </a:extLst>
              </p:cNvPr>
              <p:cNvSpPr>
                <a:spLocks/>
              </p:cNvSpPr>
              <p:nvPr/>
            </p:nvSpPr>
            <p:spPr bwMode="auto">
              <a:xfrm>
                <a:off x="5799886" y="2913056"/>
                <a:ext cx="17917" cy="18798"/>
              </a:xfrm>
              <a:custGeom>
                <a:avLst/>
                <a:gdLst>
                  <a:gd name="T0" fmla="*/ 56 w 61"/>
                  <a:gd name="T1" fmla="*/ 49 h 64"/>
                  <a:gd name="T2" fmla="*/ 53 w 61"/>
                  <a:gd name="T3" fmla="*/ 51 h 64"/>
                  <a:gd name="T4" fmla="*/ 49 w 61"/>
                  <a:gd name="T5" fmla="*/ 51 h 64"/>
                  <a:gd name="T6" fmla="*/ 44 w 61"/>
                  <a:gd name="T7" fmla="*/ 51 h 64"/>
                  <a:gd name="T8" fmla="*/ 41 w 61"/>
                  <a:gd name="T9" fmla="*/ 47 h 64"/>
                  <a:gd name="T10" fmla="*/ 38 w 61"/>
                  <a:gd name="T11" fmla="*/ 47 h 64"/>
                  <a:gd name="T12" fmla="*/ 34 w 61"/>
                  <a:gd name="T13" fmla="*/ 47 h 64"/>
                  <a:gd name="T14" fmla="*/ 32 w 61"/>
                  <a:gd name="T15" fmla="*/ 49 h 64"/>
                  <a:gd name="T16" fmla="*/ 31 w 61"/>
                  <a:gd name="T17" fmla="*/ 52 h 64"/>
                  <a:gd name="T18" fmla="*/ 27 w 61"/>
                  <a:gd name="T19" fmla="*/ 57 h 64"/>
                  <a:gd name="T20" fmla="*/ 21 w 61"/>
                  <a:gd name="T21" fmla="*/ 57 h 64"/>
                  <a:gd name="T22" fmla="*/ 19 w 61"/>
                  <a:gd name="T23" fmla="*/ 57 h 64"/>
                  <a:gd name="T24" fmla="*/ 15 w 61"/>
                  <a:gd name="T25" fmla="*/ 59 h 64"/>
                  <a:gd name="T26" fmla="*/ 12 w 61"/>
                  <a:gd name="T27" fmla="*/ 59 h 64"/>
                  <a:gd name="T28" fmla="*/ 12 w 61"/>
                  <a:gd name="T29" fmla="*/ 63 h 64"/>
                  <a:gd name="T30" fmla="*/ 9 w 61"/>
                  <a:gd name="T31" fmla="*/ 64 h 64"/>
                  <a:gd name="T32" fmla="*/ 5 w 61"/>
                  <a:gd name="T33" fmla="*/ 63 h 64"/>
                  <a:gd name="T34" fmla="*/ 2 w 61"/>
                  <a:gd name="T35" fmla="*/ 63 h 64"/>
                  <a:gd name="T36" fmla="*/ 2 w 61"/>
                  <a:gd name="T37" fmla="*/ 59 h 64"/>
                  <a:gd name="T38" fmla="*/ 4 w 61"/>
                  <a:gd name="T39" fmla="*/ 54 h 64"/>
                  <a:gd name="T40" fmla="*/ 7 w 61"/>
                  <a:gd name="T41" fmla="*/ 54 h 64"/>
                  <a:gd name="T42" fmla="*/ 14 w 61"/>
                  <a:gd name="T43" fmla="*/ 54 h 64"/>
                  <a:gd name="T44" fmla="*/ 14 w 61"/>
                  <a:gd name="T45" fmla="*/ 47 h 64"/>
                  <a:gd name="T46" fmla="*/ 14 w 61"/>
                  <a:gd name="T47" fmla="*/ 44 h 64"/>
                  <a:gd name="T48" fmla="*/ 14 w 61"/>
                  <a:gd name="T49" fmla="*/ 42 h 64"/>
                  <a:gd name="T50" fmla="*/ 14 w 61"/>
                  <a:gd name="T51" fmla="*/ 37 h 64"/>
                  <a:gd name="T52" fmla="*/ 15 w 61"/>
                  <a:gd name="T53" fmla="*/ 34 h 64"/>
                  <a:gd name="T54" fmla="*/ 15 w 61"/>
                  <a:gd name="T55" fmla="*/ 34 h 64"/>
                  <a:gd name="T56" fmla="*/ 19 w 61"/>
                  <a:gd name="T57" fmla="*/ 30 h 64"/>
                  <a:gd name="T58" fmla="*/ 22 w 61"/>
                  <a:gd name="T59" fmla="*/ 27 h 64"/>
                  <a:gd name="T60" fmla="*/ 24 w 61"/>
                  <a:gd name="T61" fmla="*/ 23 h 64"/>
                  <a:gd name="T62" fmla="*/ 27 w 61"/>
                  <a:gd name="T63" fmla="*/ 23 h 64"/>
                  <a:gd name="T64" fmla="*/ 31 w 61"/>
                  <a:gd name="T65" fmla="*/ 20 h 64"/>
                  <a:gd name="T66" fmla="*/ 29 w 61"/>
                  <a:gd name="T67" fmla="*/ 17 h 64"/>
                  <a:gd name="T68" fmla="*/ 29 w 61"/>
                  <a:gd name="T69" fmla="*/ 13 h 64"/>
                  <a:gd name="T70" fmla="*/ 24 w 61"/>
                  <a:gd name="T71" fmla="*/ 10 h 64"/>
                  <a:gd name="T72" fmla="*/ 26 w 61"/>
                  <a:gd name="T73" fmla="*/ 3 h 64"/>
                  <a:gd name="T74" fmla="*/ 27 w 61"/>
                  <a:gd name="T75" fmla="*/ 1 h 64"/>
                  <a:gd name="T76" fmla="*/ 31 w 61"/>
                  <a:gd name="T77" fmla="*/ 1 h 64"/>
                  <a:gd name="T78" fmla="*/ 36 w 61"/>
                  <a:gd name="T79" fmla="*/ 1 h 64"/>
                  <a:gd name="T80" fmla="*/ 34 w 61"/>
                  <a:gd name="T81" fmla="*/ 3 h 64"/>
                  <a:gd name="T82" fmla="*/ 34 w 61"/>
                  <a:gd name="T83" fmla="*/ 8 h 64"/>
                  <a:gd name="T84" fmla="*/ 38 w 61"/>
                  <a:gd name="T85" fmla="*/ 8 h 64"/>
                  <a:gd name="T86" fmla="*/ 38 w 61"/>
                  <a:gd name="T87" fmla="*/ 12 h 64"/>
                  <a:gd name="T88" fmla="*/ 38 w 61"/>
                  <a:gd name="T89" fmla="*/ 15 h 64"/>
                  <a:gd name="T90" fmla="*/ 38 w 61"/>
                  <a:gd name="T91" fmla="*/ 18 h 64"/>
                  <a:gd name="T92" fmla="*/ 39 w 61"/>
                  <a:gd name="T93" fmla="*/ 20 h 64"/>
                  <a:gd name="T94" fmla="*/ 41 w 61"/>
                  <a:gd name="T95" fmla="*/ 22 h 64"/>
                  <a:gd name="T96" fmla="*/ 44 w 61"/>
                  <a:gd name="T97" fmla="*/ 27 h 64"/>
                  <a:gd name="T98" fmla="*/ 48 w 61"/>
                  <a:gd name="T99" fmla="*/ 30 h 64"/>
                  <a:gd name="T100" fmla="*/ 48 w 61"/>
                  <a:gd name="T101" fmla="*/ 34 h 64"/>
                  <a:gd name="T102" fmla="*/ 51 w 61"/>
                  <a:gd name="T103" fmla="*/ 39 h 64"/>
                  <a:gd name="T104" fmla="*/ 53 w 61"/>
                  <a:gd name="T105" fmla="*/ 44 h 64"/>
                  <a:gd name="T106" fmla="*/ 56 w 61"/>
                  <a:gd name="T107" fmla="*/ 47 h 64"/>
                  <a:gd name="T108" fmla="*/ 61 w 61"/>
                  <a:gd name="T109" fmla="*/ 4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 h="64">
                    <a:moveTo>
                      <a:pt x="61" y="49"/>
                    </a:moveTo>
                    <a:lnTo>
                      <a:pt x="60" y="51"/>
                    </a:lnTo>
                    <a:lnTo>
                      <a:pt x="58" y="49"/>
                    </a:lnTo>
                    <a:lnTo>
                      <a:pt x="56" y="49"/>
                    </a:lnTo>
                    <a:lnTo>
                      <a:pt x="56" y="51"/>
                    </a:lnTo>
                    <a:lnTo>
                      <a:pt x="55" y="51"/>
                    </a:lnTo>
                    <a:lnTo>
                      <a:pt x="55" y="49"/>
                    </a:lnTo>
                    <a:lnTo>
                      <a:pt x="53" y="51"/>
                    </a:lnTo>
                    <a:lnTo>
                      <a:pt x="53" y="52"/>
                    </a:lnTo>
                    <a:lnTo>
                      <a:pt x="51" y="52"/>
                    </a:lnTo>
                    <a:lnTo>
                      <a:pt x="51" y="51"/>
                    </a:lnTo>
                    <a:lnTo>
                      <a:pt x="49" y="51"/>
                    </a:lnTo>
                    <a:lnTo>
                      <a:pt x="48" y="51"/>
                    </a:lnTo>
                    <a:lnTo>
                      <a:pt x="48" y="49"/>
                    </a:lnTo>
                    <a:lnTo>
                      <a:pt x="46" y="51"/>
                    </a:lnTo>
                    <a:lnTo>
                      <a:pt x="44" y="51"/>
                    </a:lnTo>
                    <a:lnTo>
                      <a:pt x="44" y="49"/>
                    </a:lnTo>
                    <a:lnTo>
                      <a:pt x="43" y="49"/>
                    </a:lnTo>
                    <a:lnTo>
                      <a:pt x="43" y="47"/>
                    </a:lnTo>
                    <a:lnTo>
                      <a:pt x="41" y="47"/>
                    </a:lnTo>
                    <a:lnTo>
                      <a:pt x="41" y="46"/>
                    </a:lnTo>
                    <a:lnTo>
                      <a:pt x="41" y="47"/>
                    </a:lnTo>
                    <a:lnTo>
                      <a:pt x="39" y="47"/>
                    </a:lnTo>
                    <a:lnTo>
                      <a:pt x="38" y="47"/>
                    </a:lnTo>
                    <a:lnTo>
                      <a:pt x="38" y="49"/>
                    </a:lnTo>
                    <a:lnTo>
                      <a:pt x="36" y="49"/>
                    </a:lnTo>
                    <a:lnTo>
                      <a:pt x="36" y="47"/>
                    </a:lnTo>
                    <a:lnTo>
                      <a:pt x="34" y="47"/>
                    </a:lnTo>
                    <a:lnTo>
                      <a:pt x="32" y="47"/>
                    </a:lnTo>
                    <a:lnTo>
                      <a:pt x="32" y="49"/>
                    </a:lnTo>
                    <a:lnTo>
                      <a:pt x="32" y="51"/>
                    </a:lnTo>
                    <a:lnTo>
                      <a:pt x="32" y="49"/>
                    </a:lnTo>
                    <a:lnTo>
                      <a:pt x="31" y="51"/>
                    </a:lnTo>
                    <a:lnTo>
                      <a:pt x="31" y="52"/>
                    </a:lnTo>
                    <a:lnTo>
                      <a:pt x="29" y="52"/>
                    </a:lnTo>
                    <a:lnTo>
                      <a:pt x="31" y="52"/>
                    </a:lnTo>
                    <a:lnTo>
                      <a:pt x="29" y="54"/>
                    </a:lnTo>
                    <a:lnTo>
                      <a:pt x="27" y="54"/>
                    </a:lnTo>
                    <a:lnTo>
                      <a:pt x="27" y="56"/>
                    </a:lnTo>
                    <a:lnTo>
                      <a:pt x="27" y="57"/>
                    </a:lnTo>
                    <a:lnTo>
                      <a:pt x="26" y="57"/>
                    </a:lnTo>
                    <a:lnTo>
                      <a:pt x="24" y="57"/>
                    </a:lnTo>
                    <a:lnTo>
                      <a:pt x="22" y="57"/>
                    </a:lnTo>
                    <a:lnTo>
                      <a:pt x="21" y="57"/>
                    </a:lnTo>
                    <a:lnTo>
                      <a:pt x="21" y="56"/>
                    </a:lnTo>
                    <a:lnTo>
                      <a:pt x="21" y="57"/>
                    </a:lnTo>
                    <a:lnTo>
                      <a:pt x="21" y="56"/>
                    </a:lnTo>
                    <a:lnTo>
                      <a:pt x="19" y="57"/>
                    </a:lnTo>
                    <a:lnTo>
                      <a:pt x="19" y="56"/>
                    </a:lnTo>
                    <a:lnTo>
                      <a:pt x="19" y="57"/>
                    </a:lnTo>
                    <a:lnTo>
                      <a:pt x="17" y="57"/>
                    </a:lnTo>
                    <a:lnTo>
                      <a:pt x="15" y="59"/>
                    </a:lnTo>
                    <a:lnTo>
                      <a:pt x="15" y="57"/>
                    </a:lnTo>
                    <a:lnTo>
                      <a:pt x="15" y="59"/>
                    </a:lnTo>
                    <a:lnTo>
                      <a:pt x="14" y="59"/>
                    </a:lnTo>
                    <a:lnTo>
                      <a:pt x="12" y="59"/>
                    </a:lnTo>
                    <a:lnTo>
                      <a:pt x="10" y="59"/>
                    </a:lnTo>
                    <a:lnTo>
                      <a:pt x="12" y="59"/>
                    </a:lnTo>
                    <a:lnTo>
                      <a:pt x="12" y="61"/>
                    </a:lnTo>
                    <a:lnTo>
                      <a:pt x="12" y="63"/>
                    </a:lnTo>
                    <a:lnTo>
                      <a:pt x="10" y="63"/>
                    </a:lnTo>
                    <a:lnTo>
                      <a:pt x="10" y="64"/>
                    </a:lnTo>
                    <a:lnTo>
                      <a:pt x="9" y="63"/>
                    </a:lnTo>
                    <a:lnTo>
                      <a:pt x="9" y="64"/>
                    </a:lnTo>
                    <a:lnTo>
                      <a:pt x="7" y="64"/>
                    </a:lnTo>
                    <a:lnTo>
                      <a:pt x="5" y="64"/>
                    </a:lnTo>
                    <a:lnTo>
                      <a:pt x="7" y="64"/>
                    </a:lnTo>
                    <a:lnTo>
                      <a:pt x="5" y="63"/>
                    </a:lnTo>
                    <a:lnTo>
                      <a:pt x="4" y="63"/>
                    </a:lnTo>
                    <a:lnTo>
                      <a:pt x="2" y="63"/>
                    </a:lnTo>
                    <a:lnTo>
                      <a:pt x="2" y="61"/>
                    </a:lnTo>
                    <a:lnTo>
                      <a:pt x="2" y="63"/>
                    </a:lnTo>
                    <a:lnTo>
                      <a:pt x="0" y="63"/>
                    </a:lnTo>
                    <a:lnTo>
                      <a:pt x="0" y="61"/>
                    </a:lnTo>
                    <a:lnTo>
                      <a:pt x="0" y="59"/>
                    </a:lnTo>
                    <a:lnTo>
                      <a:pt x="2" y="59"/>
                    </a:lnTo>
                    <a:lnTo>
                      <a:pt x="2" y="57"/>
                    </a:lnTo>
                    <a:lnTo>
                      <a:pt x="4" y="57"/>
                    </a:lnTo>
                    <a:lnTo>
                      <a:pt x="4" y="56"/>
                    </a:lnTo>
                    <a:lnTo>
                      <a:pt x="4" y="54"/>
                    </a:lnTo>
                    <a:lnTo>
                      <a:pt x="4" y="56"/>
                    </a:lnTo>
                    <a:lnTo>
                      <a:pt x="4" y="54"/>
                    </a:lnTo>
                    <a:lnTo>
                      <a:pt x="5" y="54"/>
                    </a:lnTo>
                    <a:lnTo>
                      <a:pt x="7" y="54"/>
                    </a:lnTo>
                    <a:lnTo>
                      <a:pt x="9" y="54"/>
                    </a:lnTo>
                    <a:lnTo>
                      <a:pt x="10" y="54"/>
                    </a:lnTo>
                    <a:lnTo>
                      <a:pt x="12" y="54"/>
                    </a:lnTo>
                    <a:lnTo>
                      <a:pt x="14" y="54"/>
                    </a:lnTo>
                    <a:lnTo>
                      <a:pt x="14" y="52"/>
                    </a:lnTo>
                    <a:lnTo>
                      <a:pt x="14" y="51"/>
                    </a:lnTo>
                    <a:lnTo>
                      <a:pt x="14" y="49"/>
                    </a:lnTo>
                    <a:lnTo>
                      <a:pt x="14" y="47"/>
                    </a:lnTo>
                    <a:lnTo>
                      <a:pt x="14" y="46"/>
                    </a:lnTo>
                    <a:lnTo>
                      <a:pt x="15" y="46"/>
                    </a:lnTo>
                    <a:lnTo>
                      <a:pt x="14" y="46"/>
                    </a:lnTo>
                    <a:lnTo>
                      <a:pt x="14" y="44"/>
                    </a:lnTo>
                    <a:lnTo>
                      <a:pt x="15" y="44"/>
                    </a:lnTo>
                    <a:lnTo>
                      <a:pt x="14" y="44"/>
                    </a:lnTo>
                    <a:lnTo>
                      <a:pt x="15" y="42"/>
                    </a:lnTo>
                    <a:lnTo>
                      <a:pt x="14" y="42"/>
                    </a:lnTo>
                    <a:lnTo>
                      <a:pt x="14" y="40"/>
                    </a:lnTo>
                    <a:lnTo>
                      <a:pt x="14" y="39"/>
                    </a:lnTo>
                    <a:lnTo>
                      <a:pt x="15" y="39"/>
                    </a:lnTo>
                    <a:lnTo>
                      <a:pt x="14" y="37"/>
                    </a:lnTo>
                    <a:lnTo>
                      <a:pt x="15" y="37"/>
                    </a:lnTo>
                    <a:lnTo>
                      <a:pt x="15" y="35"/>
                    </a:lnTo>
                    <a:lnTo>
                      <a:pt x="17" y="35"/>
                    </a:lnTo>
                    <a:lnTo>
                      <a:pt x="15" y="34"/>
                    </a:lnTo>
                    <a:lnTo>
                      <a:pt x="15" y="35"/>
                    </a:lnTo>
                    <a:lnTo>
                      <a:pt x="14" y="35"/>
                    </a:lnTo>
                    <a:lnTo>
                      <a:pt x="14" y="34"/>
                    </a:lnTo>
                    <a:lnTo>
                      <a:pt x="15" y="34"/>
                    </a:lnTo>
                    <a:lnTo>
                      <a:pt x="15" y="32"/>
                    </a:lnTo>
                    <a:lnTo>
                      <a:pt x="17" y="32"/>
                    </a:lnTo>
                    <a:lnTo>
                      <a:pt x="19" y="32"/>
                    </a:lnTo>
                    <a:lnTo>
                      <a:pt x="19" y="30"/>
                    </a:lnTo>
                    <a:lnTo>
                      <a:pt x="19" y="29"/>
                    </a:lnTo>
                    <a:lnTo>
                      <a:pt x="19" y="27"/>
                    </a:lnTo>
                    <a:lnTo>
                      <a:pt x="21" y="27"/>
                    </a:lnTo>
                    <a:lnTo>
                      <a:pt x="22" y="27"/>
                    </a:lnTo>
                    <a:lnTo>
                      <a:pt x="22" y="25"/>
                    </a:lnTo>
                    <a:lnTo>
                      <a:pt x="24" y="27"/>
                    </a:lnTo>
                    <a:lnTo>
                      <a:pt x="24" y="25"/>
                    </a:lnTo>
                    <a:lnTo>
                      <a:pt x="24" y="23"/>
                    </a:lnTo>
                    <a:lnTo>
                      <a:pt x="24" y="25"/>
                    </a:lnTo>
                    <a:lnTo>
                      <a:pt x="26" y="25"/>
                    </a:lnTo>
                    <a:lnTo>
                      <a:pt x="26" y="23"/>
                    </a:lnTo>
                    <a:lnTo>
                      <a:pt x="27" y="23"/>
                    </a:lnTo>
                    <a:lnTo>
                      <a:pt x="29" y="23"/>
                    </a:lnTo>
                    <a:lnTo>
                      <a:pt x="29" y="22"/>
                    </a:lnTo>
                    <a:lnTo>
                      <a:pt x="31" y="22"/>
                    </a:lnTo>
                    <a:lnTo>
                      <a:pt x="31" y="20"/>
                    </a:lnTo>
                    <a:lnTo>
                      <a:pt x="31" y="18"/>
                    </a:lnTo>
                    <a:lnTo>
                      <a:pt x="31" y="17"/>
                    </a:lnTo>
                    <a:lnTo>
                      <a:pt x="29" y="18"/>
                    </a:lnTo>
                    <a:lnTo>
                      <a:pt x="29" y="17"/>
                    </a:lnTo>
                    <a:lnTo>
                      <a:pt x="29" y="18"/>
                    </a:lnTo>
                    <a:lnTo>
                      <a:pt x="29" y="17"/>
                    </a:lnTo>
                    <a:lnTo>
                      <a:pt x="29" y="15"/>
                    </a:lnTo>
                    <a:lnTo>
                      <a:pt x="29" y="13"/>
                    </a:lnTo>
                    <a:lnTo>
                      <a:pt x="27" y="13"/>
                    </a:lnTo>
                    <a:lnTo>
                      <a:pt x="26" y="12"/>
                    </a:lnTo>
                    <a:lnTo>
                      <a:pt x="26" y="10"/>
                    </a:lnTo>
                    <a:lnTo>
                      <a:pt x="24" y="10"/>
                    </a:lnTo>
                    <a:lnTo>
                      <a:pt x="24" y="8"/>
                    </a:lnTo>
                    <a:lnTo>
                      <a:pt x="24" y="6"/>
                    </a:lnTo>
                    <a:lnTo>
                      <a:pt x="24" y="5"/>
                    </a:lnTo>
                    <a:lnTo>
                      <a:pt x="26" y="3"/>
                    </a:lnTo>
                    <a:lnTo>
                      <a:pt x="24" y="3"/>
                    </a:lnTo>
                    <a:lnTo>
                      <a:pt x="24" y="1"/>
                    </a:lnTo>
                    <a:lnTo>
                      <a:pt x="26" y="1"/>
                    </a:lnTo>
                    <a:lnTo>
                      <a:pt x="27" y="1"/>
                    </a:lnTo>
                    <a:lnTo>
                      <a:pt x="29" y="1"/>
                    </a:lnTo>
                    <a:lnTo>
                      <a:pt x="31" y="1"/>
                    </a:lnTo>
                    <a:lnTo>
                      <a:pt x="31" y="0"/>
                    </a:lnTo>
                    <a:lnTo>
                      <a:pt x="31" y="1"/>
                    </a:lnTo>
                    <a:lnTo>
                      <a:pt x="32" y="1"/>
                    </a:lnTo>
                    <a:lnTo>
                      <a:pt x="34" y="1"/>
                    </a:lnTo>
                    <a:lnTo>
                      <a:pt x="34" y="0"/>
                    </a:lnTo>
                    <a:lnTo>
                      <a:pt x="36" y="1"/>
                    </a:lnTo>
                    <a:lnTo>
                      <a:pt x="34" y="1"/>
                    </a:lnTo>
                    <a:lnTo>
                      <a:pt x="36" y="1"/>
                    </a:lnTo>
                    <a:lnTo>
                      <a:pt x="36" y="3"/>
                    </a:lnTo>
                    <a:lnTo>
                      <a:pt x="34" y="3"/>
                    </a:lnTo>
                    <a:lnTo>
                      <a:pt x="36" y="5"/>
                    </a:lnTo>
                    <a:lnTo>
                      <a:pt x="36" y="6"/>
                    </a:lnTo>
                    <a:lnTo>
                      <a:pt x="34" y="6"/>
                    </a:lnTo>
                    <a:lnTo>
                      <a:pt x="34" y="8"/>
                    </a:lnTo>
                    <a:lnTo>
                      <a:pt x="36" y="8"/>
                    </a:lnTo>
                    <a:lnTo>
                      <a:pt x="36" y="10"/>
                    </a:lnTo>
                    <a:lnTo>
                      <a:pt x="36" y="8"/>
                    </a:lnTo>
                    <a:lnTo>
                      <a:pt x="38" y="8"/>
                    </a:lnTo>
                    <a:lnTo>
                      <a:pt x="38" y="10"/>
                    </a:lnTo>
                    <a:lnTo>
                      <a:pt x="36" y="10"/>
                    </a:lnTo>
                    <a:lnTo>
                      <a:pt x="38" y="10"/>
                    </a:lnTo>
                    <a:lnTo>
                      <a:pt x="38" y="12"/>
                    </a:lnTo>
                    <a:lnTo>
                      <a:pt x="39" y="12"/>
                    </a:lnTo>
                    <a:lnTo>
                      <a:pt x="39" y="13"/>
                    </a:lnTo>
                    <a:lnTo>
                      <a:pt x="38" y="13"/>
                    </a:lnTo>
                    <a:lnTo>
                      <a:pt x="38" y="15"/>
                    </a:lnTo>
                    <a:lnTo>
                      <a:pt x="39" y="15"/>
                    </a:lnTo>
                    <a:lnTo>
                      <a:pt x="39" y="17"/>
                    </a:lnTo>
                    <a:lnTo>
                      <a:pt x="38" y="17"/>
                    </a:lnTo>
                    <a:lnTo>
                      <a:pt x="38" y="18"/>
                    </a:lnTo>
                    <a:lnTo>
                      <a:pt x="39" y="18"/>
                    </a:lnTo>
                    <a:lnTo>
                      <a:pt x="38" y="18"/>
                    </a:lnTo>
                    <a:lnTo>
                      <a:pt x="38" y="20"/>
                    </a:lnTo>
                    <a:lnTo>
                      <a:pt x="39" y="20"/>
                    </a:lnTo>
                    <a:lnTo>
                      <a:pt x="41" y="20"/>
                    </a:lnTo>
                    <a:lnTo>
                      <a:pt x="41" y="22"/>
                    </a:lnTo>
                    <a:lnTo>
                      <a:pt x="43" y="22"/>
                    </a:lnTo>
                    <a:lnTo>
                      <a:pt x="41" y="22"/>
                    </a:lnTo>
                    <a:lnTo>
                      <a:pt x="43" y="23"/>
                    </a:lnTo>
                    <a:lnTo>
                      <a:pt x="43" y="25"/>
                    </a:lnTo>
                    <a:lnTo>
                      <a:pt x="44" y="25"/>
                    </a:lnTo>
                    <a:lnTo>
                      <a:pt x="44" y="27"/>
                    </a:lnTo>
                    <a:lnTo>
                      <a:pt x="44" y="29"/>
                    </a:lnTo>
                    <a:lnTo>
                      <a:pt x="46" y="29"/>
                    </a:lnTo>
                    <a:lnTo>
                      <a:pt x="46" y="30"/>
                    </a:lnTo>
                    <a:lnTo>
                      <a:pt x="48" y="30"/>
                    </a:lnTo>
                    <a:lnTo>
                      <a:pt x="48" y="32"/>
                    </a:lnTo>
                    <a:lnTo>
                      <a:pt x="46" y="32"/>
                    </a:lnTo>
                    <a:lnTo>
                      <a:pt x="48" y="32"/>
                    </a:lnTo>
                    <a:lnTo>
                      <a:pt x="48" y="34"/>
                    </a:lnTo>
                    <a:lnTo>
                      <a:pt x="48" y="35"/>
                    </a:lnTo>
                    <a:lnTo>
                      <a:pt x="49" y="35"/>
                    </a:lnTo>
                    <a:lnTo>
                      <a:pt x="49" y="37"/>
                    </a:lnTo>
                    <a:lnTo>
                      <a:pt x="51" y="39"/>
                    </a:lnTo>
                    <a:lnTo>
                      <a:pt x="51" y="40"/>
                    </a:lnTo>
                    <a:lnTo>
                      <a:pt x="53" y="40"/>
                    </a:lnTo>
                    <a:lnTo>
                      <a:pt x="53" y="42"/>
                    </a:lnTo>
                    <a:lnTo>
                      <a:pt x="53" y="44"/>
                    </a:lnTo>
                    <a:lnTo>
                      <a:pt x="55" y="44"/>
                    </a:lnTo>
                    <a:lnTo>
                      <a:pt x="55" y="46"/>
                    </a:lnTo>
                    <a:lnTo>
                      <a:pt x="56" y="46"/>
                    </a:lnTo>
                    <a:lnTo>
                      <a:pt x="56" y="47"/>
                    </a:lnTo>
                    <a:lnTo>
                      <a:pt x="58" y="47"/>
                    </a:lnTo>
                    <a:lnTo>
                      <a:pt x="60" y="47"/>
                    </a:lnTo>
                    <a:lnTo>
                      <a:pt x="61" y="47"/>
                    </a:lnTo>
                    <a:lnTo>
                      <a:pt x="61" y="4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38" name="Freeform 45">
                <a:extLst>
                  <a:ext uri="{FF2B5EF4-FFF2-40B4-BE49-F238E27FC236}">
                    <a16:creationId xmlns:a16="http://schemas.microsoft.com/office/drawing/2014/main" id="{FEA9E46C-7852-9660-BEAC-C0AF94303B46}"/>
                  </a:ext>
                </a:extLst>
              </p:cNvPr>
              <p:cNvSpPr>
                <a:spLocks/>
              </p:cNvSpPr>
              <p:nvPr/>
            </p:nvSpPr>
            <p:spPr bwMode="auto">
              <a:xfrm>
                <a:off x="5757004" y="3141861"/>
                <a:ext cx="83416" cy="89878"/>
              </a:xfrm>
              <a:custGeom>
                <a:avLst/>
                <a:gdLst>
                  <a:gd name="T0" fmla="*/ 155 w 284"/>
                  <a:gd name="T1" fmla="*/ 39 h 306"/>
                  <a:gd name="T2" fmla="*/ 158 w 284"/>
                  <a:gd name="T3" fmla="*/ 51 h 306"/>
                  <a:gd name="T4" fmla="*/ 161 w 284"/>
                  <a:gd name="T5" fmla="*/ 58 h 306"/>
                  <a:gd name="T6" fmla="*/ 161 w 284"/>
                  <a:gd name="T7" fmla="*/ 68 h 306"/>
                  <a:gd name="T8" fmla="*/ 160 w 284"/>
                  <a:gd name="T9" fmla="*/ 80 h 306"/>
                  <a:gd name="T10" fmla="*/ 158 w 284"/>
                  <a:gd name="T11" fmla="*/ 92 h 306"/>
                  <a:gd name="T12" fmla="*/ 158 w 284"/>
                  <a:gd name="T13" fmla="*/ 100 h 306"/>
                  <a:gd name="T14" fmla="*/ 167 w 284"/>
                  <a:gd name="T15" fmla="*/ 102 h 306"/>
                  <a:gd name="T16" fmla="*/ 178 w 284"/>
                  <a:gd name="T17" fmla="*/ 107 h 306"/>
                  <a:gd name="T18" fmla="*/ 189 w 284"/>
                  <a:gd name="T19" fmla="*/ 107 h 306"/>
                  <a:gd name="T20" fmla="*/ 201 w 284"/>
                  <a:gd name="T21" fmla="*/ 105 h 306"/>
                  <a:gd name="T22" fmla="*/ 207 w 284"/>
                  <a:gd name="T23" fmla="*/ 103 h 306"/>
                  <a:gd name="T24" fmla="*/ 216 w 284"/>
                  <a:gd name="T25" fmla="*/ 105 h 306"/>
                  <a:gd name="T26" fmla="*/ 226 w 284"/>
                  <a:gd name="T27" fmla="*/ 109 h 306"/>
                  <a:gd name="T28" fmla="*/ 235 w 284"/>
                  <a:gd name="T29" fmla="*/ 117 h 306"/>
                  <a:gd name="T30" fmla="*/ 236 w 284"/>
                  <a:gd name="T31" fmla="*/ 131 h 306"/>
                  <a:gd name="T32" fmla="*/ 240 w 284"/>
                  <a:gd name="T33" fmla="*/ 143 h 306"/>
                  <a:gd name="T34" fmla="*/ 241 w 284"/>
                  <a:gd name="T35" fmla="*/ 156 h 306"/>
                  <a:gd name="T36" fmla="*/ 243 w 284"/>
                  <a:gd name="T37" fmla="*/ 166 h 306"/>
                  <a:gd name="T38" fmla="*/ 253 w 284"/>
                  <a:gd name="T39" fmla="*/ 170 h 306"/>
                  <a:gd name="T40" fmla="*/ 263 w 284"/>
                  <a:gd name="T41" fmla="*/ 166 h 306"/>
                  <a:gd name="T42" fmla="*/ 277 w 284"/>
                  <a:gd name="T43" fmla="*/ 166 h 306"/>
                  <a:gd name="T44" fmla="*/ 282 w 284"/>
                  <a:gd name="T45" fmla="*/ 180 h 306"/>
                  <a:gd name="T46" fmla="*/ 282 w 284"/>
                  <a:gd name="T47" fmla="*/ 195 h 306"/>
                  <a:gd name="T48" fmla="*/ 277 w 284"/>
                  <a:gd name="T49" fmla="*/ 212 h 306"/>
                  <a:gd name="T50" fmla="*/ 272 w 284"/>
                  <a:gd name="T51" fmla="*/ 229 h 306"/>
                  <a:gd name="T52" fmla="*/ 272 w 284"/>
                  <a:gd name="T53" fmla="*/ 245 h 306"/>
                  <a:gd name="T54" fmla="*/ 270 w 284"/>
                  <a:gd name="T55" fmla="*/ 257 h 306"/>
                  <a:gd name="T56" fmla="*/ 265 w 284"/>
                  <a:gd name="T57" fmla="*/ 270 h 306"/>
                  <a:gd name="T58" fmla="*/ 253 w 284"/>
                  <a:gd name="T59" fmla="*/ 280 h 306"/>
                  <a:gd name="T60" fmla="*/ 240 w 284"/>
                  <a:gd name="T61" fmla="*/ 287 h 306"/>
                  <a:gd name="T62" fmla="*/ 236 w 284"/>
                  <a:gd name="T63" fmla="*/ 297 h 306"/>
                  <a:gd name="T64" fmla="*/ 223 w 284"/>
                  <a:gd name="T65" fmla="*/ 296 h 306"/>
                  <a:gd name="T66" fmla="*/ 212 w 284"/>
                  <a:gd name="T67" fmla="*/ 304 h 306"/>
                  <a:gd name="T68" fmla="*/ 199 w 284"/>
                  <a:gd name="T69" fmla="*/ 303 h 306"/>
                  <a:gd name="T70" fmla="*/ 185 w 284"/>
                  <a:gd name="T71" fmla="*/ 301 h 306"/>
                  <a:gd name="T72" fmla="*/ 170 w 284"/>
                  <a:gd name="T73" fmla="*/ 297 h 306"/>
                  <a:gd name="T74" fmla="*/ 153 w 284"/>
                  <a:gd name="T75" fmla="*/ 294 h 306"/>
                  <a:gd name="T76" fmla="*/ 136 w 284"/>
                  <a:gd name="T77" fmla="*/ 296 h 306"/>
                  <a:gd name="T78" fmla="*/ 139 w 284"/>
                  <a:gd name="T79" fmla="*/ 287 h 306"/>
                  <a:gd name="T80" fmla="*/ 144 w 284"/>
                  <a:gd name="T81" fmla="*/ 280 h 306"/>
                  <a:gd name="T82" fmla="*/ 151 w 284"/>
                  <a:gd name="T83" fmla="*/ 270 h 306"/>
                  <a:gd name="T84" fmla="*/ 151 w 284"/>
                  <a:gd name="T85" fmla="*/ 260 h 306"/>
                  <a:gd name="T86" fmla="*/ 156 w 284"/>
                  <a:gd name="T87" fmla="*/ 250 h 306"/>
                  <a:gd name="T88" fmla="*/ 163 w 284"/>
                  <a:gd name="T89" fmla="*/ 240 h 306"/>
                  <a:gd name="T90" fmla="*/ 168 w 284"/>
                  <a:gd name="T91" fmla="*/ 231 h 306"/>
                  <a:gd name="T92" fmla="*/ 167 w 284"/>
                  <a:gd name="T93" fmla="*/ 221 h 306"/>
                  <a:gd name="T94" fmla="*/ 161 w 284"/>
                  <a:gd name="T95" fmla="*/ 211 h 306"/>
                  <a:gd name="T96" fmla="*/ 153 w 284"/>
                  <a:gd name="T97" fmla="*/ 207 h 306"/>
                  <a:gd name="T98" fmla="*/ 143 w 284"/>
                  <a:gd name="T99" fmla="*/ 204 h 306"/>
                  <a:gd name="T100" fmla="*/ 129 w 284"/>
                  <a:gd name="T101" fmla="*/ 199 h 306"/>
                  <a:gd name="T102" fmla="*/ 114 w 284"/>
                  <a:gd name="T103" fmla="*/ 190 h 306"/>
                  <a:gd name="T104" fmla="*/ 83 w 284"/>
                  <a:gd name="T105" fmla="*/ 173 h 306"/>
                  <a:gd name="T106" fmla="*/ 68 w 284"/>
                  <a:gd name="T107" fmla="*/ 168 h 306"/>
                  <a:gd name="T108" fmla="*/ 54 w 284"/>
                  <a:gd name="T109" fmla="*/ 161 h 306"/>
                  <a:gd name="T110" fmla="*/ 46 w 284"/>
                  <a:gd name="T111" fmla="*/ 151 h 306"/>
                  <a:gd name="T112" fmla="*/ 34 w 284"/>
                  <a:gd name="T113" fmla="*/ 144 h 306"/>
                  <a:gd name="T114" fmla="*/ 22 w 284"/>
                  <a:gd name="T115" fmla="*/ 136 h 306"/>
                  <a:gd name="T116" fmla="*/ 14 w 284"/>
                  <a:gd name="T117" fmla="*/ 122 h 306"/>
                  <a:gd name="T118" fmla="*/ 10 w 284"/>
                  <a:gd name="T119" fmla="*/ 115 h 306"/>
                  <a:gd name="T120" fmla="*/ 0 w 284"/>
                  <a:gd name="T121" fmla="*/ 109 h 306"/>
                  <a:gd name="T122" fmla="*/ 25 w 284"/>
                  <a:gd name="T123" fmla="*/ 27 h 306"/>
                  <a:gd name="T124" fmla="*/ 151 w 284"/>
                  <a:gd name="T125" fmla="*/ 2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4" h="306">
                    <a:moveTo>
                      <a:pt x="151" y="32"/>
                    </a:moveTo>
                    <a:lnTo>
                      <a:pt x="153" y="32"/>
                    </a:lnTo>
                    <a:lnTo>
                      <a:pt x="153" y="34"/>
                    </a:lnTo>
                    <a:lnTo>
                      <a:pt x="151" y="34"/>
                    </a:lnTo>
                    <a:lnTo>
                      <a:pt x="151" y="35"/>
                    </a:lnTo>
                    <a:lnTo>
                      <a:pt x="153" y="35"/>
                    </a:lnTo>
                    <a:lnTo>
                      <a:pt x="153" y="34"/>
                    </a:lnTo>
                    <a:lnTo>
                      <a:pt x="155" y="35"/>
                    </a:lnTo>
                    <a:lnTo>
                      <a:pt x="153" y="37"/>
                    </a:lnTo>
                    <a:lnTo>
                      <a:pt x="155" y="37"/>
                    </a:lnTo>
                    <a:lnTo>
                      <a:pt x="155" y="39"/>
                    </a:lnTo>
                    <a:lnTo>
                      <a:pt x="156" y="41"/>
                    </a:lnTo>
                    <a:lnTo>
                      <a:pt x="158" y="41"/>
                    </a:lnTo>
                    <a:lnTo>
                      <a:pt x="158" y="42"/>
                    </a:lnTo>
                    <a:lnTo>
                      <a:pt x="156" y="42"/>
                    </a:lnTo>
                    <a:lnTo>
                      <a:pt x="156" y="44"/>
                    </a:lnTo>
                    <a:lnTo>
                      <a:pt x="156" y="46"/>
                    </a:lnTo>
                    <a:lnTo>
                      <a:pt x="158" y="46"/>
                    </a:lnTo>
                    <a:lnTo>
                      <a:pt x="156" y="47"/>
                    </a:lnTo>
                    <a:lnTo>
                      <a:pt x="158" y="47"/>
                    </a:lnTo>
                    <a:lnTo>
                      <a:pt x="158" y="49"/>
                    </a:lnTo>
                    <a:lnTo>
                      <a:pt x="158" y="51"/>
                    </a:lnTo>
                    <a:lnTo>
                      <a:pt x="160" y="51"/>
                    </a:lnTo>
                    <a:lnTo>
                      <a:pt x="160" y="49"/>
                    </a:lnTo>
                    <a:lnTo>
                      <a:pt x="160" y="51"/>
                    </a:lnTo>
                    <a:lnTo>
                      <a:pt x="161" y="51"/>
                    </a:lnTo>
                    <a:lnTo>
                      <a:pt x="161" y="52"/>
                    </a:lnTo>
                    <a:lnTo>
                      <a:pt x="160" y="52"/>
                    </a:lnTo>
                    <a:lnTo>
                      <a:pt x="158" y="54"/>
                    </a:lnTo>
                    <a:lnTo>
                      <a:pt x="160" y="54"/>
                    </a:lnTo>
                    <a:lnTo>
                      <a:pt x="161" y="54"/>
                    </a:lnTo>
                    <a:lnTo>
                      <a:pt x="161" y="56"/>
                    </a:lnTo>
                    <a:lnTo>
                      <a:pt x="161" y="58"/>
                    </a:lnTo>
                    <a:lnTo>
                      <a:pt x="160" y="58"/>
                    </a:lnTo>
                    <a:lnTo>
                      <a:pt x="161" y="58"/>
                    </a:lnTo>
                    <a:lnTo>
                      <a:pt x="161" y="59"/>
                    </a:lnTo>
                    <a:lnTo>
                      <a:pt x="163" y="59"/>
                    </a:lnTo>
                    <a:lnTo>
                      <a:pt x="163" y="61"/>
                    </a:lnTo>
                    <a:lnTo>
                      <a:pt x="163" y="63"/>
                    </a:lnTo>
                    <a:lnTo>
                      <a:pt x="161" y="63"/>
                    </a:lnTo>
                    <a:lnTo>
                      <a:pt x="161" y="64"/>
                    </a:lnTo>
                    <a:lnTo>
                      <a:pt x="163" y="64"/>
                    </a:lnTo>
                    <a:lnTo>
                      <a:pt x="161" y="66"/>
                    </a:lnTo>
                    <a:lnTo>
                      <a:pt x="161" y="68"/>
                    </a:lnTo>
                    <a:lnTo>
                      <a:pt x="163" y="68"/>
                    </a:lnTo>
                    <a:lnTo>
                      <a:pt x="163" y="69"/>
                    </a:lnTo>
                    <a:lnTo>
                      <a:pt x="161" y="69"/>
                    </a:lnTo>
                    <a:lnTo>
                      <a:pt x="161" y="71"/>
                    </a:lnTo>
                    <a:lnTo>
                      <a:pt x="160" y="71"/>
                    </a:lnTo>
                    <a:lnTo>
                      <a:pt x="161" y="73"/>
                    </a:lnTo>
                    <a:lnTo>
                      <a:pt x="161" y="75"/>
                    </a:lnTo>
                    <a:lnTo>
                      <a:pt x="161" y="76"/>
                    </a:lnTo>
                    <a:lnTo>
                      <a:pt x="160" y="76"/>
                    </a:lnTo>
                    <a:lnTo>
                      <a:pt x="160" y="78"/>
                    </a:lnTo>
                    <a:lnTo>
                      <a:pt x="160" y="80"/>
                    </a:lnTo>
                    <a:lnTo>
                      <a:pt x="158" y="80"/>
                    </a:lnTo>
                    <a:lnTo>
                      <a:pt x="158" y="81"/>
                    </a:lnTo>
                    <a:lnTo>
                      <a:pt x="160" y="81"/>
                    </a:lnTo>
                    <a:lnTo>
                      <a:pt x="160" y="83"/>
                    </a:lnTo>
                    <a:lnTo>
                      <a:pt x="160" y="85"/>
                    </a:lnTo>
                    <a:lnTo>
                      <a:pt x="160" y="86"/>
                    </a:lnTo>
                    <a:lnTo>
                      <a:pt x="161" y="86"/>
                    </a:lnTo>
                    <a:lnTo>
                      <a:pt x="160" y="88"/>
                    </a:lnTo>
                    <a:lnTo>
                      <a:pt x="160" y="90"/>
                    </a:lnTo>
                    <a:lnTo>
                      <a:pt x="160" y="92"/>
                    </a:lnTo>
                    <a:lnTo>
                      <a:pt x="158" y="92"/>
                    </a:lnTo>
                    <a:lnTo>
                      <a:pt x="158" y="93"/>
                    </a:lnTo>
                    <a:lnTo>
                      <a:pt x="160" y="93"/>
                    </a:lnTo>
                    <a:lnTo>
                      <a:pt x="160" y="95"/>
                    </a:lnTo>
                    <a:lnTo>
                      <a:pt x="160" y="97"/>
                    </a:lnTo>
                    <a:lnTo>
                      <a:pt x="158" y="97"/>
                    </a:lnTo>
                    <a:lnTo>
                      <a:pt x="158" y="98"/>
                    </a:lnTo>
                    <a:lnTo>
                      <a:pt x="156" y="98"/>
                    </a:lnTo>
                    <a:lnTo>
                      <a:pt x="156" y="100"/>
                    </a:lnTo>
                    <a:lnTo>
                      <a:pt x="158" y="100"/>
                    </a:lnTo>
                    <a:lnTo>
                      <a:pt x="158" y="102"/>
                    </a:lnTo>
                    <a:lnTo>
                      <a:pt x="158" y="100"/>
                    </a:lnTo>
                    <a:lnTo>
                      <a:pt x="160" y="100"/>
                    </a:lnTo>
                    <a:lnTo>
                      <a:pt x="160" y="102"/>
                    </a:lnTo>
                    <a:lnTo>
                      <a:pt x="161" y="102"/>
                    </a:lnTo>
                    <a:lnTo>
                      <a:pt x="161" y="103"/>
                    </a:lnTo>
                    <a:lnTo>
                      <a:pt x="161" y="102"/>
                    </a:lnTo>
                    <a:lnTo>
                      <a:pt x="163" y="102"/>
                    </a:lnTo>
                    <a:lnTo>
                      <a:pt x="163" y="103"/>
                    </a:lnTo>
                    <a:lnTo>
                      <a:pt x="165" y="102"/>
                    </a:lnTo>
                    <a:lnTo>
                      <a:pt x="165" y="103"/>
                    </a:lnTo>
                    <a:lnTo>
                      <a:pt x="167" y="103"/>
                    </a:lnTo>
                    <a:lnTo>
                      <a:pt x="167" y="102"/>
                    </a:lnTo>
                    <a:lnTo>
                      <a:pt x="168" y="102"/>
                    </a:lnTo>
                    <a:lnTo>
                      <a:pt x="170" y="102"/>
                    </a:lnTo>
                    <a:lnTo>
                      <a:pt x="170" y="103"/>
                    </a:lnTo>
                    <a:lnTo>
                      <a:pt x="172" y="103"/>
                    </a:lnTo>
                    <a:lnTo>
                      <a:pt x="173" y="105"/>
                    </a:lnTo>
                    <a:lnTo>
                      <a:pt x="173" y="103"/>
                    </a:lnTo>
                    <a:lnTo>
                      <a:pt x="173" y="105"/>
                    </a:lnTo>
                    <a:lnTo>
                      <a:pt x="175" y="105"/>
                    </a:lnTo>
                    <a:lnTo>
                      <a:pt x="177" y="105"/>
                    </a:lnTo>
                    <a:lnTo>
                      <a:pt x="178" y="105"/>
                    </a:lnTo>
                    <a:lnTo>
                      <a:pt x="178" y="107"/>
                    </a:lnTo>
                    <a:lnTo>
                      <a:pt x="178" y="105"/>
                    </a:lnTo>
                    <a:lnTo>
                      <a:pt x="180" y="107"/>
                    </a:lnTo>
                    <a:lnTo>
                      <a:pt x="182" y="105"/>
                    </a:lnTo>
                    <a:lnTo>
                      <a:pt x="182" y="107"/>
                    </a:lnTo>
                    <a:lnTo>
                      <a:pt x="184" y="107"/>
                    </a:lnTo>
                    <a:lnTo>
                      <a:pt x="184" y="105"/>
                    </a:lnTo>
                    <a:lnTo>
                      <a:pt x="185" y="105"/>
                    </a:lnTo>
                    <a:lnTo>
                      <a:pt x="185" y="107"/>
                    </a:lnTo>
                    <a:lnTo>
                      <a:pt x="187" y="105"/>
                    </a:lnTo>
                    <a:lnTo>
                      <a:pt x="187" y="107"/>
                    </a:lnTo>
                    <a:lnTo>
                      <a:pt x="189" y="107"/>
                    </a:lnTo>
                    <a:lnTo>
                      <a:pt x="190" y="107"/>
                    </a:lnTo>
                    <a:lnTo>
                      <a:pt x="190" y="105"/>
                    </a:lnTo>
                    <a:lnTo>
                      <a:pt x="192" y="107"/>
                    </a:lnTo>
                    <a:lnTo>
                      <a:pt x="194" y="107"/>
                    </a:lnTo>
                    <a:lnTo>
                      <a:pt x="195" y="107"/>
                    </a:lnTo>
                    <a:lnTo>
                      <a:pt x="195" y="109"/>
                    </a:lnTo>
                    <a:lnTo>
                      <a:pt x="197" y="109"/>
                    </a:lnTo>
                    <a:lnTo>
                      <a:pt x="197" y="107"/>
                    </a:lnTo>
                    <a:lnTo>
                      <a:pt x="199" y="107"/>
                    </a:lnTo>
                    <a:lnTo>
                      <a:pt x="201" y="107"/>
                    </a:lnTo>
                    <a:lnTo>
                      <a:pt x="201" y="105"/>
                    </a:lnTo>
                    <a:lnTo>
                      <a:pt x="202" y="105"/>
                    </a:lnTo>
                    <a:lnTo>
                      <a:pt x="202" y="107"/>
                    </a:lnTo>
                    <a:lnTo>
                      <a:pt x="204" y="107"/>
                    </a:lnTo>
                    <a:lnTo>
                      <a:pt x="202" y="107"/>
                    </a:lnTo>
                    <a:lnTo>
                      <a:pt x="204" y="107"/>
                    </a:lnTo>
                    <a:lnTo>
                      <a:pt x="204" y="105"/>
                    </a:lnTo>
                    <a:lnTo>
                      <a:pt x="206" y="105"/>
                    </a:lnTo>
                    <a:lnTo>
                      <a:pt x="206" y="103"/>
                    </a:lnTo>
                    <a:lnTo>
                      <a:pt x="207" y="103"/>
                    </a:lnTo>
                    <a:lnTo>
                      <a:pt x="206" y="103"/>
                    </a:lnTo>
                    <a:lnTo>
                      <a:pt x="207" y="103"/>
                    </a:lnTo>
                    <a:lnTo>
                      <a:pt x="207" y="102"/>
                    </a:lnTo>
                    <a:lnTo>
                      <a:pt x="209" y="102"/>
                    </a:lnTo>
                    <a:lnTo>
                      <a:pt x="209" y="100"/>
                    </a:lnTo>
                    <a:lnTo>
                      <a:pt x="211" y="102"/>
                    </a:lnTo>
                    <a:lnTo>
                      <a:pt x="211" y="100"/>
                    </a:lnTo>
                    <a:lnTo>
                      <a:pt x="211" y="102"/>
                    </a:lnTo>
                    <a:lnTo>
                      <a:pt x="212" y="102"/>
                    </a:lnTo>
                    <a:lnTo>
                      <a:pt x="212" y="103"/>
                    </a:lnTo>
                    <a:lnTo>
                      <a:pt x="212" y="105"/>
                    </a:lnTo>
                    <a:lnTo>
                      <a:pt x="214" y="105"/>
                    </a:lnTo>
                    <a:lnTo>
                      <a:pt x="216" y="105"/>
                    </a:lnTo>
                    <a:lnTo>
                      <a:pt x="216" y="107"/>
                    </a:lnTo>
                    <a:lnTo>
                      <a:pt x="218" y="107"/>
                    </a:lnTo>
                    <a:lnTo>
                      <a:pt x="218" y="109"/>
                    </a:lnTo>
                    <a:lnTo>
                      <a:pt x="218" y="107"/>
                    </a:lnTo>
                    <a:lnTo>
                      <a:pt x="219" y="109"/>
                    </a:lnTo>
                    <a:lnTo>
                      <a:pt x="221" y="109"/>
                    </a:lnTo>
                    <a:lnTo>
                      <a:pt x="221" y="107"/>
                    </a:lnTo>
                    <a:lnTo>
                      <a:pt x="221" y="109"/>
                    </a:lnTo>
                    <a:lnTo>
                      <a:pt x="223" y="109"/>
                    </a:lnTo>
                    <a:lnTo>
                      <a:pt x="224" y="109"/>
                    </a:lnTo>
                    <a:lnTo>
                      <a:pt x="226" y="109"/>
                    </a:lnTo>
                    <a:lnTo>
                      <a:pt x="228" y="109"/>
                    </a:lnTo>
                    <a:lnTo>
                      <a:pt x="229" y="109"/>
                    </a:lnTo>
                    <a:lnTo>
                      <a:pt x="231" y="110"/>
                    </a:lnTo>
                    <a:lnTo>
                      <a:pt x="231" y="112"/>
                    </a:lnTo>
                    <a:lnTo>
                      <a:pt x="233" y="112"/>
                    </a:lnTo>
                    <a:lnTo>
                      <a:pt x="233" y="114"/>
                    </a:lnTo>
                    <a:lnTo>
                      <a:pt x="235" y="114"/>
                    </a:lnTo>
                    <a:lnTo>
                      <a:pt x="233" y="114"/>
                    </a:lnTo>
                    <a:lnTo>
                      <a:pt x="233" y="115"/>
                    </a:lnTo>
                    <a:lnTo>
                      <a:pt x="233" y="117"/>
                    </a:lnTo>
                    <a:lnTo>
                      <a:pt x="235" y="117"/>
                    </a:lnTo>
                    <a:lnTo>
                      <a:pt x="235" y="119"/>
                    </a:lnTo>
                    <a:lnTo>
                      <a:pt x="236" y="119"/>
                    </a:lnTo>
                    <a:lnTo>
                      <a:pt x="236" y="121"/>
                    </a:lnTo>
                    <a:lnTo>
                      <a:pt x="238" y="121"/>
                    </a:lnTo>
                    <a:lnTo>
                      <a:pt x="238" y="122"/>
                    </a:lnTo>
                    <a:lnTo>
                      <a:pt x="238" y="124"/>
                    </a:lnTo>
                    <a:lnTo>
                      <a:pt x="238" y="126"/>
                    </a:lnTo>
                    <a:lnTo>
                      <a:pt x="236" y="126"/>
                    </a:lnTo>
                    <a:lnTo>
                      <a:pt x="236" y="127"/>
                    </a:lnTo>
                    <a:lnTo>
                      <a:pt x="236" y="129"/>
                    </a:lnTo>
                    <a:lnTo>
                      <a:pt x="236" y="131"/>
                    </a:lnTo>
                    <a:lnTo>
                      <a:pt x="236" y="132"/>
                    </a:lnTo>
                    <a:lnTo>
                      <a:pt x="238" y="134"/>
                    </a:lnTo>
                    <a:lnTo>
                      <a:pt x="236" y="136"/>
                    </a:lnTo>
                    <a:lnTo>
                      <a:pt x="238" y="136"/>
                    </a:lnTo>
                    <a:lnTo>
                      <a:pt x="238" y="138"/>
                    </a:lnTo>
                    <a:lnTo>
                      <a:pt x="238" y="139"/>
                    </a:lnTo>
                    <a:lnTo>
                      <a:pt x="240" y="139"/>
                    </a:lnTo>
                    <a:lnTo>
                      <a:pt x="240" y="141"/>
                    </a:lnTo>
                    <a:lnTo>
                      <a:pt x="241" y="141"/>
                    </a:lnTo>
                    <a:lnTo>
                      <a:pt x="241" y="143"/>
                    </a:lnTo>
                    <a:lnTo>
                      <a:pt x="240" y="143"/>
                    </a:lnTo>
                    <a:lnTo>
                      <a:pt x="240" y="144"/>
                    </a:lnTo>
                    <a:lnTo>
                      <a:pt x="241" y="144"/>
                    </a:lnTo>
                    <a:lnTo>
                      <a:pt x="240" y="144"/>
                    </a:lnTo>
                    <a:lnTo>
                      <a:pt x="240" y="146"/>
                    </a:lnTo>
                    <a:lnTo>
                      <a:pt x="241" y="148"/>
                    </a:lnTo>
                    <a:lnTo>
                      <a:pt x="241" y="149"/>
                    </a:lnTo>
                    <a:lnTo>
                      <a:pt x="240" y="151"/>
                    </a:lnTo>
                    <a:lnTo>
                      <a:pt x="240" y="153"/>
                    </a:lnTo>
                    <a:lnTo>
                      <a:pt x="240" y="155"/>
                    </a:lnTo>
                    <a:lnTo>
                      <a:pt x="241" y="155"/>
                    </a:lnTo>
                    <a:lnTo>
                      <a:pt x="241" y="156"/>
                    </a:lnTo>
                    <a:lnTo>
                      <a:pt x="240" y="156"/>
                    </a:lnTo>
                    <a:lnTo>
                      <a:pt x="240" y="158"/>
                    </a:lnTo>
                    <a:lnTo>
                      <a:pt x="241" y="158"/>
                    </a:lnTo>
                    <a:lnTo>
                      <a:pt x="243" y="158"/>
                    </a:lnTo>
                    <a:lnTo>
                      <a:pt x="243" y="160"/>
                    </a:lnTo>
                    <a:lnTo>
                      <a:pt x="243" y="161"/>
                    </a:lnTo>
                    <a:lnTo>
                      <a:pt x="243" y="163"/>
                    </a:lnTo>
                    <a:lnTo>
                      <a:pt x="245" y="163"/>
                    </a:lnTo>
                    <a:lnTo>
                      <a:pt x="243" y="163"/>
                    </a:lnTo>
                    <a:lnTo>
                      <a:pt x="243" y="165"/>
                    </a:lnTo>
                    <a:lnTo>
                      <a:pt x="243" y="166"/>
                    </a:lnTo>
                    <a:lnTo>
                      <a:pt x="243" y="168"/>
                    </a:lnTo>
                    <a:lnTo>
                      <a:pt x="245" y="168"/>
                    </a:lnTo>
                    <a:lnTo>
                      <a:pt x="245" y="170"/>
                    </a:lnTo>
                    <a:lnTo>
                      <a:pt x="246" y="170"/>
                    </a:lnTo>
                    <a:lnTo>
                      <a:pt x="246" y="172"/>
                    </a:lnTo>
                    <a:lnTo>
                      <a:pt x="248" y="170"/>
                    </a:lnTo>
                    <a:lnTo>
                      <a:pt x="250" y="170"/>
                    </a:lnTo>
                    <a:lnTo>
                      <a:pt x="250" y="172"/>
                    </a:lnTo>
                    <a:lnTo>
                      <a:pt x="252" y="172"/>
                    </a:lnTo>
                    <a:lnTo>
                      <a:pt x="253" y="172"/>
                    </a:lnTo>
                    <a:lnTo>
                      <a:pt x="253" y="170"/>
                    </a:lnTo>
                    <a:lnTo>
                      <a:pt x="253" y="172"/>
                    </a:lnTo>
                    <a:lnTo>
                      <a:pt x="255" y="170"/>
                    </a:lnTo>
                    <a:lnTo>
                      <a:pt x="257" y="170"/>
                    </a:lnTo>
                    <a:lnTo>
                      <a:pt x="257" y="172"/>
                    </a:lnTo>
                    <a:lnTo>
                      <a:pt x="257" y="170"/>
                    </a:lnTo>
                    <a:lnTo>
                      <a:pt x="258" y="170"/>
                    </a:lnTo>
                    <a:lnTo>
                      <a:pt x="260" y="170"/>
                    </a:lnTo>
                    <a:lnTo>
                      <a:pt x="262" y="170"/>
                    </a:lnTo>
                    <a:lnTo>
                      <a:pt x="262" y="168"/>
                    </a:lnTo>
                    <a:lnTo>
                      <a:pt x="263" y="168"/>
                    </a:lnTo>
                    <a:lnTo>
                      <a:pt x="263" y="166"/>
                    </a:lnTo>
                    <a:lnTo>
                      <a:pt x="265" y="166"/>
                    </a:lnTo>
                    <a:lnTo>
                      <a:pt x="267" y="166"/>
                    </a:lnTo>
                    <a:lnTo>
                      <a:pt x="269" y="166"/>
                    </a:lnTo>
                    <a:lnTo>
                      <a:pt x="269" y="165"/>
                    </a:lnTo>
                    <a:lnTo>
                      <a:pt x="270" y="165"/>
                    </a:lnTo>
                    <a:lnTo>
                      <a:pt x="272" y="165"/>
                    </a:lnTo>
                    <a:lnTo>
                      <a:pt x="272" y="166"/>
                    </a:lnTo>
                    <a:lnTo>
                      <a:pt x="272" y="165"/>
                    </a:lnTo>
                    <a:lnTo>
                      <a:pt x="274" y="166"/>
                    </a:lnTo>
                    <a:lnTo>
                      <a:pt x="275" y="166"/>
                    </a:lnTo>
                    <a:lnTo>
                      <a:pt x="277" y="166"/>
                    </a:lnTo>
                    <a:lnTo>
                      <a:pt x="277" y="168"/>
                    </a:lnTo>
                    <a:lnTo>
                      <a:pt x="279" y="170"/>
                    </a:lnTo>
                    <a:lnTo>
                      <a:pt x="280" y="172"/>
                    </a:lnTo>
                    <a:lnTo>
                      <a:pt x="282" y="172"/>
                    </a:lnTo>
                    <a:lnTo>
                      <a:pt x="282" y="173"/>
                    </a:lnTo>
                    <a:lnTo>
                      <a:pt x="282" y="175"/>
                    </a:lnTo>
                    <a:lnTo>
                      <a:pt x="280" y="175"/>
                    </a:lnTo>
                    <a:lnTo>
                      <a:pt x="280" y="177"/>
                    </a:lnTo>
                    <a:lnTo>
                      <a:pt x="280" y="178"/>
                    </a:lnTo>
                    <a:lnTo>
                      <a:pt x="280" y="180"/>
                    </a:lnTo>
                    <a:lnTo>
                      <a:pt x="282" y="180"/>
                    </a:lnTo>
                    <a:lnTo>
                      <a:pt x="282" y="182"/>
                    </a:lnTo>
                    <a:lnTo>
                      <a:pt x="284" y="183"/>
                    </a:lnTo>
                    <a:lnTo>
                      <a:pt x="284" y="185"/>
                    </a:lnTo>
                    <a:lnTo>
                      <a:pt x="282" y="187"/>
                    </a:lnTo>
                    <a:lnTo>
                      <a:pt x="282" y="189"/>
                    </a:lnTo>
                    <a:lnTo>
                      <a:pt x="280" y="189"/>
                    </a:lnTo>
                    <a:lnTo>
                      <a:pt x="280" y="190"/>
                    </a:lnTo>
                    <a:lnTo>
                      <a:pt x="280" y="192"/>
                    </a:lnTo>
                    <a:lnTo>
                      <a:pt x="282" y="192"/>
                    </a:lnTo>
                    <a:lnTo>
                      <a:pt x="282" y="194"/>
                    </a:lnTo>
                    <a:lnTo>
                      <a:pt x="282" y="195"/>
                    </a:lnTo>
                    <a:lnTo>
                      <a:pt x="280" y="195"/>
                    </a:lnTo>
                    <a:lnTo>
                      <a:pt x="280" y="197"/>
                    </a:lnTo>
                    <a:lnTo>
                      <a:pt x="280" y="199"/>
                    </a:lnTo>
                    <a:lnTo>
                      <a:pt x="279" y="200"/>
                    </a:lnTo>
                    <a:lnTo>
                      <a:pt x="279" y="202"/>
                    </a:lnTo>
                    <a:lnTo>
                      <a:pt x="279" y="204"/>
                    </a:lnTo>
                    <a:lnTo>
                      <a:pt x="277" y="206"/>
                    </a:lnTo>
                    <a:lnTo>
                      <a:pt x="277" y="207"/>
                    </a:lnTo>
                    <a:lnTo>
                      <a:pt x="277" y="209"/>
                    </a:lnTo>
                    <a:lnTo>
                      <a:pt x="277" y="211"/>
                    </a:lnTo>
                    <a:lnTo>
                      <a:pt x="277" y="212"/>
                    </a:lnTo>
                    <a:lnTo>
                      <a:pt x="277" y="214"/>
                    </a:lnTo>
                    <a:lnTo>
                      <a:pt x="277" y="216"/>
                    </a:lnTo>
                    <a:lnTo>
                      <a:pt x="275" y="217"/>
                    </a:lnTo>
                    <a:lnTo>
                      <a:pt x="275" y="219"/>
                    </a:lnTo>
                    <a:lnTo>
                      <a:pt x="274" y="221"/>
                    </a:lnTo>
                    <a:lnTo>
                      <a:pt x="274" y="223"/>
                    </a:lnTo>
                    <a:lnTo>
                      <a:pt x="272" y="223"/>
                    </a:lnTo>
                    <a:lnTo>
                      <a:pt x="272" y="224"/>
                    </a:lnTo>
                    <a:lnTo>
                      <a:pt x="272" y="226"/>
                    </a:lnTo>
                    <a:lnTo>
                      <a:pt x="272" y="228"/>
                    </a:lnTo>
                    <a:lnTo>
                      <a:pt x="272" y="229"/>
                    </a:lnTo>
                    <a:lnTo>
                      <a:pt x="272" y="231"/>
                    </a:lnTo>
                    <a:lnTo>
                      <a:pt x="272" y="233"/>
                    </a:lnTo>
                    <a:lnTo>
                      <a:pt x="270" y="233"/>
                    </a:lnTo>
                    <a:lnTo>
                      <a:pt x="270" y="234"/>
                    </a:lnTo>
                    <a:lnTo>
                      <a:pt x="270" y="236"/>
                    </a:lnTo>
                    <a:lnTo>
                      <a:pt x="270" y="238"/>
                    </a:lnTo>
                    <a:lnTo>
                      <a:pt x="272" y="238"/>
                    </a:lnTo>
                    <a:lnTo>
                      <a:pt x="272" y="240"/>
                    </a:lnTo>
                    <a:lnTo>
                      <a:pt x="272" y="241"/>
                    </a:lnTo>
                    <a:lnTo>
                      <a:pt x="272" y="243"/>
                    </a:lnTo>
                    <a:lnTo>
                      <a:pt x="272" y="245"/>
                    </a:lnTo>
                    <a:lnTo>
                      <a:pt x="270" y="245"/>
                    </a:lnTo>
                    <a:lnTo>
                      <a:pt x="269" y="246"/>
                    </a:lnTo>
                    <a:lnTo>
                      <a:pt x="270" y="248"/>
                    </a:lnTo>
                    <a:lnTo>
                      <a:pt x="270" y="250"/>
                    </a:lnTo>
                    <a:lnTo>
                      <a:pt x="270" y="251"/>
                    </a:lnTo>
                    <a:lnTo>
                      <a:pt x="270" y="253"/>
                    </a:lnTo>
                    <a:lnTo>
                      <a:pt x="272" y="253"/>
                    </a:lnTo>
                    <a:lnTo>
                      <a:pt x="272" y="255"/>
                    </a:lnTo>
                    <a:lnTo>
                      <a:pt x="270" y="255"/>
                    </a:lnTo>
                    <a:lnTo>
                      <a:pt x="269" y="255"/>
                    </a:lnTo>
                    <a:lnTo>
                      <a:pt x="270" y="257"/>
                    </a:lnTo>
                    <a:lnTo>
                      <a:pt x="270" y="258"/>
                    </a:lnTo>
                    <a:lnTo>
                      <a:pt x="269" y="258"/>
                    </a:lnTo>
                    <a:lnTo>
                      <a:pt x="269" y="260"/>
                    </a:lnTo>
                    <a:lnTo>
                      <a:pt x="269" y="262"/>
                    </a:lnTo>
                    <a:lnTo>
                      <a:pt x="269" y="263"/>
                    </a:lnTo>
                    <a:lnTo>
                      <a:pt x="267" y="263"/>
                    </a:lnTo>
                    <a:lnTo>
                      <a:pt x="267" y="265"/>
                    </a:lnTo>
                    <a:lnTo>
                      <a:pt x="265" y="265"/>
                    </a:lnTo>
                    <a:lnTo>
                      <a:pt x="265" y="267"/>
                    </a:lnTo>
                    <a:lnTo>
                      <a:pt x="265" y="268"/>
                    </a:lnTo>
                    <a:lnTo>
                      <a:pt x="265" y="270"/>
                    </a:lnTo>
                    <a:lnTo>
                      <a:pt x="263" y="272"/>
                    </a:lnTo>
                    <a:lnTo>
                      <a:pt x="263" y="270"/>
                    </a:lnTo>
                    <a:lnTo>
                      <a:pt x="262" y="270"/>
                    </a:lnTo>
                    <a:lnTo>
                      <a:pt x="260" y="272"/>
                    </a:lnTo>
                    <a:lnTo>
                      <a:pt x="260" y="274"/>
                    </a:lnTo>
                    <a:lnTo>
                      <a:pt x="260" y="275"/>
                    </a:lnTo>
                    <a:lnTo>
                      <a:pt x="258" y="275"/>
                    </a:lnTo>
                    <a:lnTo>
                      <a:pt x="257" y="275"/>
                    </a:lnTo>
                    <a:lnTo>
                      <a:pt x="255" y="277"/>
                    </a:lnTo>
                    <a:lnTo>
                      <a:pt x="253" y="279"/>
                    </a:lnTo>
                    <a:lnTo>
                      <a:pt x="253" y="280"/>
                    </a:lnTo>
                    <a:lnTo>
                      <a:pt x="253" y="282"/>
                    </a:lnTo>
                    <a:lnTo>
                      <a:pt x="252" y="282"/>
                    </a:lnTo>
                    <a:lnTo>
                      <a:pt x="250" y="280"/>
                    </a:lnTo>
                    <a:lnTo>
                      <a:pt x="248" y="282"/>
                    </a:lnTo>
                    <a:lnTo>
                      <a:pt x="246" y="282"/>
                    </a:lnTo>
                    <a:lnTo>
                      <a:pt x="245" y="284"/>
                    </a:lnTo>
                    <a:lnTo>
                      <a:pt x="243" y="284"/>
                    </a:lnTo>
                    <a:lnTo>
                      <a:pt x="243" y="286"/>
                    </a:lnTo>
                    <a:lnTo>
                      <a:pt x="243" y="287"/>
                    </a:lnTo>
                    <a:lnTo>
                      <a:pt x="241" y="287"/>
                    </a:lnTo>
                    <a:lnTo>
                      <a:pt x="240" y="287"/>
                    </a:lnTo>
                    <a:lnTo>
                      <a:pt x="240" y="289"/>
                    </a:lnTo>
                    <a:lnTo>
                      <a:pt x="240" y="291"/>
                    </a:lnTo>
                    <a:lnTo>
                      <a:pt x="238" y="289"/>
                    </a:lnTo>
                    <a:lnTo>
                      <a:pt x="238" y="291"/>
                    </a:lnTo>
                    <a:lnTo>
                      <a:pt x="238" y="292"/>
                    </a:lnTo>
                    <a:lnTo>
                      <a:pt x="240" y="292"/>
                    </a:lnTo>
                    <a:lnTo>
                      <a:pt x="240" y="294"/>
                    </a:lnTo>
                    <a:lnTo>
                      <a:pt x="238" y="294"/>
                    </a:lnTo>
                    <a:lnTo>
                      <a:pt x="238" y="296"/>
                    </a:lnTo>
                    <a:lnTo>
                      <a:pt x="238" y="297"/>
                    </a:lnTo>
                    <a:lnTo>
                      <a:pt x="236" y="297"/>
                    </a:lnTo>
                    <a:lnTo>
                      <a:pt x="235" y="297"/>
                    </a:lnTo>
                    <a:lnTo>
                      <a:pt x="235" y="299"/>
                    </a:lnTo>
                    <a:lnTo>
                      <a:pt x="233" y="301"/>
                    </a:lnTo>
                    <a:lnTo>
                      <a:pt x="231" y="301"/>
                    </a:lnTo>
                    <a:lnTo>
                      <a:pt x="231" y="299"/>
                    </a:lnTo>
                    <a:lnTo>
                      <a:pt x="229" y="299"/>
                    </a:lnTo>
                    <a:lnTo>
                      <a:pt x="229" y="297"/>
                    </a:lnTo>
                    <a:lnTo>
                      <a:pt x="228" y="296"/>
                    </a:lnTo>
                    <a:lnTo>
                      <a:pt x="226" y="297"/>
                    </a:lnTo>
                    <a:lnTo>
                      <a:pt x="224" y="296"/>
                    </a:lnTo>
                    <a:lnTo>
                      <a:pt x="223" y="296"/>
                    </a:lnTo>
                    <a:lnTo>
                      <a:pt x="221" y="296"/>
                    </a:lnTo>
                    <a:lnTo>
                      <a:pt x="219" y="296"/>
                    </a:lnTo>
                    <a:lnTo>
                      <a:pt x="218" y="297"/>
                    </a:lnTo>
                    <a:lnTo>
                      <a:pt x="218" y="299"/>
                    </a:lnTo>
                    <a:lnTo>
                      <a:pt x="216" y="299"/>
                    </a:lnTo>
                    <a:lnTo>
                      <a:pt x="214" y="299"/>
                    </a:lnTo>
                    <a:lnTo>
                      <a:pt x="214" y="301"/>
                    </a:lnTo>
                    <a:lnTo>
                      <a:pt x="216" y="301"/>
                    </a:lnTo>
                    <a:lnTo>
                      <a:pt x="214" y="303"/>
                    </a:lnTo>
                    <a:lnTo>
                      <a:pt x="214" y="304"/>
                    </a:lnTo>
                    <a:lnTo>
                      <a:pt x="212" y="304"/>
                    </a:lnTo>
                    <a:lnTo>
                      <a:pt x="212" y="306"/>
                    </a:lnTo>
                    <a:lnTo>
                      <a:pt x="209" y="304"/>
                    </a:lnTo>
                    <a:lnTo>
                      <a:pt x="209" y="303"/>
                    </a:lnTo>
                    <a:lnTo>
                      <a:pt x="207" y="303"/>
                    </a:lnTo>
                    <a:lnTo>
                      <a:pt x="207" y="301"/>
                    </a:lnTo>
                    <a:lnTo>
                      <a:pt x="206" y="301"/>
                    </a:lnTo>
                    <a:lnTo>
                      <a:pt x="204" y="301"/>
                    </a:lnTo>
                    <a:lnTo>
                      <a:pt x="202" y="301"/>
                    </a:lnTo>
                    <a:lnTo>
                      <a:pt x="201" y="301"/>
                    </a:lnTo>
                    <a:lnTo>
                      <a:pt x="201" y="303"/>
                    </a:lnTo>
                    <a:lnTo>
                      <a:pt x="199" y="303"/>
                    </a:lnTo>
                    <a:lnTo>
                      <a:pt x="197" y="301"/>
                    </a:lnTo>
                    <a:lnTo>
                      <a:pt x="195" y="301"/>
                    </a:lnTo>
                    <a:lnTo>
                      <a:pt x="195" y="299"/>
                    </a:lnTo>
                    <a:lnTo>
                      <a:pt x="194" y="299"/>
                    </a:lnTo>
                    <a:lnTo>
                      <a:pt x="192" y="299"/>
                    </a:lnTo>
                    <a:lnTo>
                      <a:pt x="192" y="301"/>
                    </a:lnTo>
                    <a:lnTo>
                      <a:pt x="190" y="301"/>
                    </a:lnTo>
                    <a:lnTo>
                      <a:pt x="190" y="303"/>
                    </a:lnTo>
                    <a:lnTo>
                      <a:pt x="189" y="303"/>
                    </a:lnTo>
                    <a:lnTo>
                      <a:pt x="187" y="303"/>
                    </a:lnTo>
                    <a:lnTo>
                      <a:pt x="185" y="301"/>
                    </a:lnTo>
                    <a:lnTo>
                      <a:pt x="184" y="301"/>
                    </a:lnTo>
                    <a:lnTo>
                      <a:pt x="182" y="301"/>
                    </a:lnTo>
                    <a:lnTo>
                      <a:pt x="180" y="299"/>
                    </a:lnTo>
                    <a:lnTo>
                      <a:pt x="178" y="299"/>
                    </a:lnTo>
                    <a:lnTo>
                      <a:pt x="177" y="299"/>
                    </a:lnTo>
                    <a:lnTo>
                      <a:pt x="177" y="301"/>
                    </a:lnTo>
                    <a:lnTo>
                      <a:pt x="175" y="301"/>
                    </a:lnTo>
                    <a:lnTo>
                      <a:pt x="173" y="301"/>
                    </a:lnTo>
                    <a:lnTo>
                      <a:pt x="173" y="299"/>
                    </a:lnTo>
                    <a:lnTo>
                      <a:pt x="172" y="299"/>
                    </a:lnTo>
                    <a:lnTo>
                      <a:pt x="170" y="297"/>
                    </a:lnTo>
                    <a:lnTo>
                      <a:pt x="168" y="297"/>
                    </a:lnTo>
                    <a:lnTo>
                      <a:pt x="168" y="296"/>
                    </a:lnTo>
                    <a:lnTo>
                      <a:pt x="167" y="296"/>
                    </a:lnTo>
                    <a:lnTo>
                      <a:pt x="165" y="296"/>
                    </a:lnTo>
                    <a:lnTo>
                      <a:pt x="163" y="296"/>
                    </a:lnTo>
                    <a:lnTo>
                      <a:pt x="161" y="294"/>
                    </a:lnTo>
                    <a:lnTo>
                      <a:pt x="160" y="294"/>
                    </a:lnTo>
                    <a:lnTo>
                      <a:pt x="158" y="294"/>
                    </a:lnTo>
                    <a:lnTo>
                      <a:pt x="156" y="294"/>
                    </a:lnTo>
                    <a:lnTo>
                      <a:pt x="155" y="294"/>
                    </a:lnTo>
                    <a:lnTo>
                      <a:pt x="153" y="294"/>
                    </a:lnTo>
                    <a:lnTo>
                      <a:pt x="151" y="294"/>
                    </a:lnTo>
                    <a:lnTo>
                      <a:pt x="150" y="294"/>
                    </a:lnTo>
                    <a:lnTo>
                      <a:pt x="148" y="294"/>
                    </a:lnTo>
                    <a:lnTo>
                      <a:pt x="146" y="294"/>
                    </a:lnTo>
                    <a:lnTo>
                      <a:pt x="144" y="294"/>
                    </a:lnTo>
                    <a:lnTo>
                      <a:pt x="143" y="294"/>
                    </a:lnTo>
                    <a:lnTo>
                      <a:pt x="141" y="294"/>
                    </a:lnTo>
                    <a:lnTo>
                      <a:pt x="139" y="294"/>
                    </a:lnTo>
                    <a:lnTo>
                      <a:pt x="138" y="294"/>
                    </a:lnTo>
                    <a:lnTo>
                      <a:pt x="138" y="296"/>
                    </a:lnTo>
                    <a:lnTo>
                      <a:pt x="136" y="296"/>
                    </a:lnTo>
                    <a:lnTo>
                      <a:pt x="136" y="294"/>
                    </a:lnTo>
                    <a:lnTo>
                      <a:pt x="138" y="294"/>
                    </a:lnTo>
                    <a:lnTo>
                      <a:pt x="138" y="292"/>
                    </a:lnTo>
                    <a:lnTo>
                      <a:pt x="136" y="292"/>
                    </a:lnTo>
                    <a:lnTo>
                      <a:pt x="136" y="291"/>
                    </a:lnTo>
                    <a:lnTo>
                      <a:pt x="134" y="291"/>
                    </a:lnTo>
                    <a:lnTo>
                      <a:pt x="134" y="289"/>
                    </a:lnTo>
                    <a:lnTo>
                      <a:pt x="136" y="289"/>
                    </a:lnTo>
                    <a:lnTo>
                      <a:pt x="136" y="287"/>
                    </a:lnTo>
                    <a:lnTo>
                      <a:pt x="138" y="287"/>
                    </a:lnTo>
                    <a:lnTo>
                      <a:pt x="139" y="287"/>
                    </a:lnTo>
                    <a:lnTo>
                      <a:pt x="138" y="287"/>
                    </a:lnTo>
                    <a:lnTo>
                      <a:pt x="139" y="286"/>
                    </a:lnTo>
                    <a:lnTo>
                      <a:pt x="138" y="286"/>
                    </a:lnTo>
                    <a:lnTo>
                      <a:pt x="139" y="286"/>
                    </a:lnTo>
                    <a:lnTo>
                      <a:pt x="141" y="286"/>
                    </a:lnTo>
                    <a:lnTo>
                      <a:pt x="139" y="284"/>
                    </a:lnTo>
                    <a:lnTo>
                      <a:pt x="141" y="284"/>
                    </a:lnTo>
                    <a:lnTo>
                      <a:pt x="141" y="282"/>
                    </a:lnTo>
                    <a:lnTo>
                      <a:pt x="141" y="280"/>
                    </a:lnTo>
                    <a:lnTo>
                      <a:pt x="143" y="280"/>
                    </a:lnTo>
                    <a:lnTo>
                      <a:pt x="144" y="280"/>
                    </a:lnTo>
                    <a:lnTo>
                      <a:pt x="144" y="279"/>
                    </a:lnTo>
                    <a:lnTo>
                      <a:pt x="146" y="279"/>
                    </a:lnTo>
                    <a:lnTo>
                      <a:pt x="146" y="277"/>
                    </a:lnTo>
                    <a:lnTo>
                      <a:pt x="146" y="275"/>
                    </a:lnTo>
                    <a:lnTo>
                      <a:pt x="148" y="275"/>
                    </a:lnTo>
                    <a:lnTo>
                      <a:pt x="148" y="274"/>
                    </a:lnTo>
                    <a:lnTo>
                      <a:pt x="150" y="274"/>
                    </a:lnTo>
                    <a:lnTo>
                      <a:pt x="148" y="272"/>
                    </a:lnTo>
                    <a:lnTo>
                      <a:pt x="148" y="270"/>
                    </a:lnTo>
                    <a:lnTo>
                      <a:pt x="150" y="270"/>
                    </a:lnTo>
                    <a:lnTo>
                      <a:pt x="151" y="270"/>
                    </a:lnTo>
                    <a:lnTo>
                      <a:pt x="150" y="268"/>
                    </a:lnTo>
                    <a:lnTo>
                      <a:pt x="151" y="268"/>
                    </a:lnTo>
                    <a:lnTo>
                      <a:pt x="151" y="267"/>
                    </a:lnTo>
                    <a:lnTo>
                      <a:pt x="150" y="267"/>
                    </a:lnTo>
                    <a:lnTo>
                      <a:pt x="150" y="265"/>
                    </a:lnTo>
                    <a:lnTo>
                      <a:pt x="150" y="263"/>
                    </a:lnTo>
                    <a:lnTo>
                      <a:pt x="151" y="263"/>
                    </a:lnTo>
                    <a:lnTo>
                      <a:pt x="151" y="262"/>
                    </a:lnTo>
                    <a:lnTo>
                      <a:pt x="150" y="262"/>
                    </a:lnTo>
                    <a:lnTo>
                      <a:pt x="150" y="260"/>
                    </a:lnTo>
                    <a:lnTo>
                      <a:pt x="151" y="260"/>
                    </a:lnTo>
                    <a:lnTo>
                      <a:pt x="151" y="258"/>
                    </a:lnTo>
                    <a:lnTo>
                      <a:pt x="151" y="257"/>
                    </a:lnTo>
                    <a:lnTo>
                      <a:pt x="151" y="255"/>
                    </a:lnTo>
                    <a:lnTo>
                      <a:pt x="153" y="255"/>
                    </a:lnTo>
                    <a:lnTo>
                      <a:pt x="153" y="253"/>
                    </a:lnTo>
                    <a:lnTo>
                      <a:pt x="151" y="253"/>
                    </a:lnTo>
                    <a:lnTo>
                      <a:pt x="153" y="253"/>
                    </a:lnTo>
                    <a:lnTo>
                      <a:pt x="153" y="251"/>
                    </a:lnTo>
                    <a:lnTo>
                      <a:pt x="155" y="251"/>
                    </a:lnTo>
                    <a:lnTo>
                      <a:pt x="155" y="250"/>
                    </a:lnTo>
                    <a:lnTo>
                      <a:pt x="156" y="250"/>
                    </a:lnTo>
                    <a:lnTo>
                      <a:pt x="158" y="250"/>
                    </a:lnTo>
                    <a:lnTo>
                      <a:pt x="158" y="248"/>
                    </a:lnTo>
                    <a:lnTo>
                      <a:pt x="160" y="248"/>
                    </a:lnTo>
                    <a:lnTo>
                      <a:pt x="160" y="246"/>
                    </a:lnTo>
                    <a:lnTo>
                      <a:pt x="161" y="246"/>
                    </a:lnTo>
                    <a:lnTo>
                      <a:pt x="161" y="245"/>
                    </a:lnTo>
                    <a:lnTo>
                      <a:pt x="161" y="243"/>
                    </a:lnTo>
                    <a:lnTo>
                      <a:pt x="163" y="243"/>
                    </a:lnTo>
                    <a:lnTo>
                      <a:pt x="161" y="241"/>
                    </a:lnTo>
                    <a:lnTo>
                      <a:pt x="161" y="240"/>
                    </a:lnTo>
                    <a:lnTo>
                      <a:pt x="163" y="240"/>
                    </a:lnTo>
                    <a:lnTo>
                      <a:pt x="165" y="240"/>
                    </a:lnTo>
                    <a:lnTo>
                      <a:pt x="165" y="238"/>
                    </a:lnTo>
                    <a:lnTo>
                      <a:pt x="163" y="238"/>
                    </a:lnTo>
                    <a:lnTo>
                      <a:pt x="163" y="236"/>
                    </a:lnTo>
                    <a:lnTo>
                      <a:pt x="165" y="236"/>
                    </a:lnTo>
                    <a:lnTo>
                      <a:pt x="167" y="236"/>
                    </a:lnTo>
                    <a:lnTo>
                      <a:pt x="167" y="234"/>
                    </a:lnTo>
                    <a:lnTo>
                      <a:pt x="165" y="234"/>
                    </a:lnTo>
                    <a:lnTo>
                      <a:pt x="167" y="233"/>
                    </a:lnTo>
                    <a:lnTo>
                      <a:pt x="168" y="233"/>
                    </a:lnTo>
                    <a:lnTo>
                      <a:pt x="168" y="231"/>
                    </a:lnTo>
                    <a:lnTo>
                      <a:pt x="170" y="231"/>
                    </a:lnTo>
                    <a:lnTo>
                      <a:pt x="170" y="229"/>
                    </a:lnTo>
                    <a:lnTo>
                      <a:pt x="172" y="229"/>
                    </a:lnTo>
                    <a:lnTo>
                      <a:pt x="172" y="228"/>
                    </a:lnTo>
                    <a:lnTo>
                      <a:pt x="172" y="226"/>
                    </a:lnTo>
                    <a:lnTo>
                      <a:pt x="172" y="224"/>
                    </a:lnTo>
                    <a:lnTo>
                      <a:pt x="172" y="223"/>
                    </a:lnTo>
                    <a:lnTo>
                      <a:pt x="170" y="223"/>
                    </a:lnTo>
                    <a:lnTo>
                      <a:pt x="168" y="223"/>
                    </a:lnTo>
                    <a:lnTo>
                      <a:pt x="168" y="221"/>
                    </a:lnTo>
                    <a:lnTo>
                      <a:pt x="167" y="221"/>
                    </a:lnTo>
                    <a:lnTo>
                      <a:pt x="167" y="219"/>
                    </a:lnTo>
                    <a:lnTo>
                      <a:pt x="168" y="219"/>
                    </a:lnTo>
                    <a:lnTo>
                      <a:pt x="167" y="219"/>
                    </a:lnTo>
                    <a:lnTo>
                      <a:pt x="167" y="217"/>
                    </a:lnTo>
                    <a:lnTo>
                      <a:pt x="165" y="216"/>
                    </a:lnTo>
                    <a:lnTo>
                      <a:pt x="167" y="216"/>
                    </a:lnTo>
                    <a:lnTo>
                      <a:pt x="165" y="216"/>
                    </a:lnTo>
                    <a:lnTo>
                      <a:pt x="165" y="214"/>
                    </a:lnTo>
                    <a:lnTo>
                      <a:pt x="163" y="214"/>
                    </a:lnTo>
                    <a:lnTo>
                      <a:pt x="163" y="212"/>
                    </a:lnTo>
                    <a:lnTo>
                      <a:pt x="161" y="211"/>
                    </a:lnTo>
                    <a:lnTo>
                      <a:pt x="160" y="211"/>
                    </a:lnTo>
                    <a:lnTo>
                      <a:pt x="158" y="211"/>
                    </a:lnTo>
                    <a:lnTo>
                      <a:pt x="156" y="209"/>
                    </a:lnTo>
                    <a:lnTo>
                      <a:pt x="156" y="211"/>
                    </a:lnTo>
                    <a:lnTo>
                      <a:pt x="156" y="209"/>
                    </a:lnTo>
                    <a:lnTo>
                      <a:pt x="156" y="211"/>
                    </a:lnTo>
                    <a:lnTo>
                      <a:pt x="156" y="209"/>
                    </a:lnTo>
                    <a:lnTo>
                      <a:pt x="155" y="211"/>
                    </a:lnTo>
                    <a:lnTo>
                      <a:pt x="155" y="209"/>
                    </a:lnTo>
                    <a:lnTo>
                      <a:pt x="153" y="209"/>
                    </a:lnTo>
                    <a:lnTo>
                      <a:pt x="153" y="207"/>
                    </a:lnTo>
                    <a:lnTo>
                      <a:pt x="151" y="207"/>
                    </a:lnTo>
                    <a:lnTo>
                      <a:pt x="150" y="206"/>
                    </a:lnTo>
                    <a:lnTo>
                      <a:pt x="148" y="206"/>
                    </a:lnTo>
                    <a:lnTo>
                      <a:pt x="148" y="207"/>
                    </a:lnTo>
                    <a:lnTo>
                      <a:pt x="146" y="207"/>
                    </a:lnTo>
                    <a:lnTo>
                      <a:pt x="146" y="209"/>
                    </a:lnTo>
                    <a:lnTo>
                      <a:pt x="146" y="207"/>
                    </a:lnTo>
                    <a:lnTo>
                      <a:pt x="144" y="207"/>
                    </a:lnTo>
                    <a:lnTo>
                      <a:pt x="144" y="206"/>
                    </a:lnTo>
                    <a:lnTo>
                      <a:pt x="143" y="206"/>
                    </a:lnTo>
                    <a:lnTo>
                      <a:pt x="143" y="204"/>
                    </a:lnTo>
                    <a:lnTo>
                      <a:pt x="141" y="204"/>
                    </a:lnTo>
                    <a:lnTo>
                      <a:pt x="141" y="202"/>
                    </a:lnTo>
                    <a:lnTo>
                      <a:pt x="139" y="202"/>
                    </a:lnTo>
                    <a:lnTo>
                      <a:pt x="138" y="202"/>
                    </a:lnTo>
                    <a:lnTo>
                      <a:pt x="136" y="202"/>
                    </a:lnTo>
                    <a:lnTo>
                      <a:pt x="134" y="202"/>
                    </a:lnTo>
                    <a:lnTo>
                      <a:pt x="134" y="200"/>
                    </a:lnTo>
                    <a:lnTo>
                      <a:pt x="133" y="200"/>
                    </a:lnTo>
                    <a:lnTo>
                      <a:pt x="131" y="200"/>
                    </a:lnTo>
                    <a:lnTo>
                      <a:pt x="129" y="200"/>
                    </a:lnTo>
                    <a:lnTo>
                      <a:pt x="129" y="199"/>
                    </a:lnTo>
                    <a:lnTo>
                      <a:pt x="127" y="199"/>
                    </a:lnTo>
                    <a:lnTo>
                      <a:pt x="127" y="197"/>
                    </a:lnTo>
                    <a:lnTo>
                      <a:pt x="126" y="197"/>
                    </a:lnTo>
                    <a:lnTo>
                      <a:pt x="124" y="195"/>
                    </a:lnTo>
                    <a:lnTo>
                      <a:pt x="122" y="195"/>
                    </a:lnTo>
                    <a:lnTo>
                      <a:pt x="121" y="194"/>
                    </a:lnTo>
                    <a:lnTo>
                      <a:pt x="119" y="194"/>
                    </a:lnTo>
                    <a:lnTo>
                      <a:pt x="117" y="192"/>
                    </a:lnTo>
                    <a:lnTo>
                      <a:pt x="116" y="192"/>
                    </a:lnTo>
                    <a:lnTo>
                      <a:pt x="116" y="190"/>
                    </a:lnTo>
                    <a:lnTo>
                      <a:pt x="114" y="190"/>
                    </a:lnTo>
                    <a:lnTo>
                      <a:pt x="112" y="189"/>
                    </a:lnTo>
                    <a:lnTo>
                      <a:pt x="110" y="187"/>
                    </a:lnTo>
                    <a:lnTo>
                      <a:pt x="109" y="187"/>
                    </a:lnTo>
                    <a:lnTo>
                      <a:pt x="109" y="185"/>
                    </a:lnTo>
                    <a:lnTo>
                      <a:pt x="107" y="183"/>
                    </a:lnTo>
                    <a:lnTo>
                      <a:pt x="104" y="182"/>
                    </a:lnTo>
                    <a:lnTo>
                      <a:pt x="97" y="177"/>
                    </a:lnTo>
                    <a:lnTo>
                      <a:pt x="88" y="172"/>
                    </a:lnTo>
                    <a:lnTo>
                      <a:pt x="87" y="172"/>
                    </a:lnTo>
                    <a:lnTo>
                      <a:pt x="85" y="173"/>
                    </a:lnTo>
                    <a:lnTo>
                      <a:pt x="83" y="173"/>
                    </a:lnTo>
                    <a:lnTo>
                      <a:pt x="82" y="173"/>
                    </a:lnTo>
                    <a:lnTo>
                      <a:pt x="80" y="173"/>
                    </a:lnTo>
                    <a:lnTo>
                      <a:pt x="78" y="172"/>
                    </a:lnTo>
                    <a:lnTo>
                      <a:pt x="76" y="172"/>
                    </a:lnTo>
                    <a:lnTo>
                      <a:pt x="76" y="170"/>
                    </a:lnTo>
                    <a:lnTo>
                      <a:pt x="75" y="170"/>
                    </a:lnTo>
                    <a:lnTo>
                      <a:pt x="73" y="170"/>
                    </a:lnTo>
                    <a:lnTo>
                      <a:pt x="71" y="170"/>
                    </a:lnTo>
                    <a:lnTo>
                      <a:pt x="70" y="170"/>
                    </a:lnTo>
                    <a:lnTo>
                      <a:pt x="70" y="168"/>
                    </a:lnTo>
                    <a:lnTo>
                      <a:pt x="68" y="168"/>
                    </a:lnTo>
                    <a:lnTo>
                      <a:pt x="66" y="168"/>
                    </a:lnTo>
                    <a:lnTo>
                      <a:pt x="66" y="166"/>
                    </a:lnTo>
                    <a:lnTo>
                      <a:pt x="65" y="166"/>
                    </a:lnTo>
                    <a:lnTo>
                      <a:pt x="63" y="166"/>
                    </a:lnTo>
                    <a:lnTo>
                      <a:pt x="61" y="166"/>
                    </a:lnTo>
                    <a:lnTo>
                      <a:pt x="59" y="165"/>
                    </a:lnTo>
                    <a:lnTo>
                      <a:pt x="58" y="163"/>
                    </a:lnTo>
                    <a:lnTo>
                      <a:pt x="58" y="165"/>
                    </a:lnTo>
                    <a:lnTo>
                      <a:pt x="56" y="165"/>
                    </a:lnTo>
                    <a:lnTo>
                      <a:pt x="56" y="163"/>
                    </a:lnTo>
                    <a:lnTo>
                      <a:pt x="54" y="161"/>
                    </a:lnTo>
                    <a:lnTo>
                      <a:pt x="54" y="160"/>
                    </a:lnTo>
                    <a:lnTo>
                      <a:pt x="53" y="160"/>
                    </a:lnTo>
                    <a:lnTo>
                      <a:pt x="53" y="158"/>
                    </a:lnTo>
                    <a:lnTo>
                      <a:pt x="53" y="156"/>
                    </a:lnTo>
                    <a:lnTo>
                      <a:pt x="51" y="156"/>
                    </a:lnTo>
                    <a:lnTo>
                      <a:pt x="51" y="155"/>
                    </a:lnTo>
                    <a:lnTo>
                      <a:pt x="49" y="155"/>
                    </a:lnTo>
                    <a:lnTo>
                      <a:pt x="48" y="155"/>
                    </a:lnTo>
                    <a:lnTo>
                      <a:pt x="48" y="153"/>
                    </a:lnTo>
                    <a:lnTo>
                      <a:pt x="46" y="153"/>
                    </a:lnTo>
                    <a:lnTo>
                      <a:pt x="46" y="151"/>
                    </a:lnTo>
                    <a:lnTo>
                      <a:pt x="44" y="151"/>
                    </a:lnTo>
                    <a:lnTo>
                      <a:pt x="42" y="151"/>
                    </a:lnTo>
                    <a:lnTo>
                      <a:pt x="41" y="151"/>
                    </a:lnTo>
                    <a:lnTo>
                      <a:pt x="41" y="149"/>
                    </a:lnTo>
                    <a:lnTo>
                      <a:pt x="39" y="149"/>
                    </a:lnTo>
                    <a:lnTo>
                      <a:pt x="39" y="148"/>
                    </a:lnTo>
                    <a:lnTo>
                      <a:pt x="37" y="148"/>
                    </a:lnTo>
                    <a:lnTo>
                      <a:pt x="37" y="146"/>
                    </a:lnTo>
                    <a:lnTo>
                      <a:pt x="36" y="146"/>
                    </a:lnTo>
                    <a:lnTo>
                      <a:pt x="36" y="144"/>
                    </a:lnTo>
                    <a:lnTo>
                      <a:pt x="34" y="144"/>
                    </a:lnTo>
                    <a:lnTo>
                      <a:pt x="32" y="144"/>
                    </a:lnTo>
                    <a:lnTo>
                      <a:pt x="32" y="143"/>
                    </a:lnTo>
                    <a:lnTo>
                      <a:pt x="31" y="143"/>
                    </a:lnTo>
                    <a:lnTo>
                      <a:pt x="31" y="141"/>
                    </a:lnTo>
                    <a:lnTo>
                      <a:pt x="29" y="141"/>
                    </a:lnTo>
                    <a:lnTo>
                      <a:pt x="29" y="139"/>
                    </a:lnTo>
                    <a:lnTo>
                      <a:pt x="27" y="139"/>
                    </a:lnTo>
                    <a:lnTo>
                      <a:pt x="27" y="138"/>
                    </a:lnTo>
                    <a:lnTo>
                      <a:pt x="25" y="138"/>
                    </a:lnTo>
                    <a:lnTo>
                      <a:pt x="24" y="136"/>
                    </a:lnTo>
                    <a:lnTo>
                      <a:pt x="22" y="136"/>
                    </a:lnTo>
                    <a:lnTo>
                      <a:pt x="22" y="134"/>
                    </a:lnTo>
                    <a:lnTo>
                      <a:pt x="20" y="134"/>
                    </a:lnTo>
                    <a:lnTo>
                      <a:pt x="20" y="132"/>
                    </a:lnTo>
                    <a:lnTo>
                      <a:pt x="19" y="131"/>
                    </a:lnTo>
                    <a:lnTo>
                      <a:pt x="19" y="129"/>
                    </a:lnTo>
                    <a:lnTo>
                      <a:pt x="17" y="127"/>
                    </a:lnTo>
                    <a:lnTo>
                      <a:pt x="15" y="126"/>
                    </a:lnTo>
                    <a:lnTo>
                      <a:pt x="15" y="124"/>
                    </a:lnTo>
                    <a:lnTo>
                      <a:pt x="15" y="122"/>
                    </a:lnTo>
                    <a:lnTo>
                      <a:pt x="15" y="121"/>
                    </a:lnTo>
                    <a:lnTo>
                      <a:pt x="14" y="122"/>
                    </a:lnTo>
                    <a:lnTo>
                      <a:pt x="14" y="121"/>
                    </a:lnTo>
                    <a:lnTo>
                      <a:pt x="14" y="119"/>
                    </a:lnTo>
                    <a:lnTo>
                      <a:pt x="15" y="119"/>
                    </a:lnTo>
                    <a:lnTo>
                      <a:pt x="14" y="119"/>
                    </a:lnTo>
                    <a:lnTo>
                      <a:pt x="15" y="117"/>
                    </a:lnTo>
                    <a:lnTo>
                      <a:pt x="14" y="117"/>
                    </a:lnTo>
                    <a:lnTo>
                      <a:pt x="12" y="117"/>
                    </a:lnTo>
                    <a:lnTo>
                      <a:pt x="12" y="115"/>
                    </a:lnTo>
                    <a:lnTo>
                      <a:pt x="10" y="115"/>
                    </a:lnTo>
                    <a:lnTo>
                      <a:pt x="12" y="115"/>
                    </a:lnTo>
                    <a:lnTo>
                      <a:pt x="10" y="115"/>
                    </a:lnTo>
                    <a:lnTo>
                      <a:pt x="10" y="114"/>
                    </a:lnTo>
                    <a:lnTo>
                      <a:pt x="10" y="115"/>
                    </a:lnTo>
                    <a:lnTo>
                      <a:pt x="10" y="114"/>
                    </a:lnTo>
                    <a:lnTo>
                      <a:pt x="8" y="114"/>
                    </a:lnTo>
                    <a:lnTo>
                      <a:pt x="7" y="114"/>
                    </a:lnTo>
                    <a:lnTo>
                      <a:pt x="7" y="112"/>
                    </a:lnTo>
                    <a:lnTo>
                      <a:pt x="5" y="112"/>
                    </a:lnTo>
                    <a:lnTo>
                      <a:pt x="3" y="112"/>
                    </a:lnTo>
                    <a:lnTo>
                      <a:pt x="3" y="110"/>
                    </a:lnTo>
                    <a:lnTo>
                      <a:pt x="2" y="109"/>
                    </a:lnTo>
                    <a:lnTo>
                      <a:pt x="0" y="109"/>
                    </a:lnTo>
                    <a:lnTo>
                      <a:pt x="2" y="109"/>
                    </a:lnTo>
                    <a:lnTo>
                      <a:pt x="2" y="107"/>
                    </a:lnTo>
                    <a:lnTo>
                      <a:pt x="0" y="107"/>
                    </a:lnTo>
                    <a:lnTo>
                      <a:pt x="3" y="95"/>
                    </a:lnTo>
                    <a:lnTo>
                      <a:pt x="7" y="86"/>
                    </a:lnTo>
                    <a:lnTo>
                      <a:pt x="14" y="64"/>
                    </a:lnTo>
                    <a:lnTo>
                      <a:pt x="14" y="61"/>
                    </a:lnTo>
                    <a:lnTo>
                      <a:pt x="14" y="46"/>
                    </a:lnTo>
                    <a:lnTo>
                      <a:pt x="15" y="42"/>
                    </a:lnTo>
                    <a:lnTo>
                      <a:pt x="25" y="29"/>
                    </a:lnTo>
                    <a:lnTo>
                      <a:pt x="25" y="27"/>
                    </a:lnTo>
                    <a:lnTo>
                      <a:pt x="31" y="13"/>
                    </a:lnTo>
                    <a:lnTo>
                      <a:pt x="32" y="13"/>
                    </a:lnTo>
                    <a:lnTo>
                      <a:pt x="70" y="7"/>
                    </a:lnTo>
                    <a:lnTo>
                      <a:pt x="90" y="0"/>
                    </a:lnTo>
                    <a:lnTo>
                      <a:pt x="122" y="0"/>
                    </a:lnTo>
                    <a:lnTo>
                      <a:pt x="139" y="12"/>
                    </a:lnTo>
                    <a:lnTo>
                      <a:pt x="143" y="13"/>
                    </a:lnTo>
                    <a:lnTo>
                      <a:pt x="151" y="20"/>
                    </a:lnTo>
                    <a:lnTo>
                      <a:pt x="150" y="22"/>
                    </a:lnTo>
                    <a:lnTo>
                      <a:pt x="151" y="22"/>
                    </a:lnTo>
                    <a:lnTo>
                      <a:pt x="151" y="24"/>
                    </a:lnTo>
                    <a:lnTo>
                      <a:pt x="150" y="24"/>
                    </a:lnTo>
                    <a:lnTo>
                      <a:pt x="151" y="24"/>
                    </a:lnTo>
                    <a:lnTo>
                      <a:pt x="151" y="25"/>
                    </a:lnTo>
                    <a:lnTo>
                      <a:pt x="151" y="27"/>
                    </a:lnTo>
                    <a:lnTo>
                      <a:pt x="151" y="29"/>
                    </a:lnTo>
                    <a:lnTo>
                      <a:pt x="153" y="29"/>
                    </a:lnTo>
                    <a:lnTo>
                      <a:pt x="153" y="30"/>
                    </a:lnTo>
                    <a:lnTo>
                      <a:pt x="151" y="30"/>
                    </a:lnTo>
                    <a:lnTo>
                      <a:pt x="151" y="3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41" name="Freeform 46">
                <a:extLst>
                  <a:ext uri="{FF2B5EF4-FFF2-40B4-BE49-F238E27FC236}">
                    <a16:creationId xmlns:a16="http://schemas.microsoft.com/office/drawing/2014/main" id="{12792B0A-5B7A-C755-177A-E86EA3952555}"/>
                  </a:ext>
                </a:extLst>
              </p:cNvPr>
              <p:cNvSpPr>
                <a:spLocks noEditPoints="1"/>
              </p:cNvSpPr>
              <p:nvPr/>
            </p:nvSpPr>
            <p:spPr bwMode="auto">
              <a:xfrm>
                <a:off x="5571662" y="2946832"/>
                <a:ext cx="126005" cy="185043"/>
              </a:xfrm>
              <a:custGeom>
                <a:avLst/>
                <a:gdLst>
                  <a:gd name="T0" fmla="*/ 367 w 429"/>
                  <a:gd name="T1" fmla="*/ 141 h 630"/>
                  <a:gd name="T2" fmla="*/ 347 w 429"/>
                  <a:gd name="T3" fmla="*/ 148 h 630"/>
                  <a:gd name="T4" fmla="*/ 323 w 429"/>
                  <a:gd name="T5" fmla="*/ 152 h 630"/>
                  <a:gd name="T6" fmla="*/ 299 w 429"/>
                  <a:gd name="T7" fmla="*/ 165 h 630"/>
                  <a:gd name="T8" fmla="*/ 284 w 429"/>
                  <a:gd name="T9" fmla="*/ 189 h 630"/>
                  <a:gd name="T10" fmla="*/ 276 w 429"/>
                  <a:gd name="T11" fmla="*/ 213 h 630"/>
                  <a:gd name="T12" fmla="*/ 259 w 429"/>
                  <a:gd name="T13" fmla="*/ 230 h 630"/>
                  <a:gd name="T14" fmla="*/ 259 w 429"/>
                  <a:gd name="T15" fmla="*/ 262 h 630"/>
                  <a:gd name="T16" fmla="*/ 272 w 429"/>
                  <a:gd name="T17" fmla="*/ 293 h 630"/>
                  <a:gd name="T18" fmla="*/ 294 w 429"/>
                  <a:gd name="T19" fmla="*/ 320 h 630"/>
                  <a:gd name="T20" fmla="*/ 310 w 429"/>
                  <a:gd name="T21" fmla="*/ 337 h 630"/>
                  <a:gd name="T22" fmla="*/ 357 w 429"/>
                  <a:gd name="T23" fmla="*/ 327 h 630"/>
                  <a:gd name="T24" fmla="*/ 364 w 429"/>
                  <a:gd name="T25" fmla="*/ 332 h 630"/>
                  <a:gd name="T26" fmla="*/ 376 w 429"/>
                  <a:gd name="T27" fmla="*/ 376 h 630"/>
                  <a:gd name="T28" fmla="*/ 408 w 429"/>
                  <a:gd name="T29" fmla="*/ 388 h 630"/>
                  <a:gd name="T30" fmla="*/ 427 w 429"/>
                  <a:gd name="T31" fmla="*/ 432 h 630"/>
                  <a:gd name="T32" fmla="*/ 420 w 429"/>
                  <a:gd name="T33" fmla="*/ 461 h 630"/>
                  <a:gd name="T34" fmla="*/ 417 w 429"/>
                  <a:gd name="T35" fmla="*/ 487 h 630"/>
                  <a:gd name="T36" fmla="*/ 408 w 429"/>
                  <a:gd name="T37" fmla="*/ 516 h 630"/>
                  <a:gd name="T38" fmla="*/ 413 w 429"/>
                  <a:gd name="T39" fmla="*/ 555 h 630"/>
                  <a:gd name="T40" fmla="*/ 403 w 429"/>
                  <a:gd name="T41" fmla="*/ 584 h 630"/>
                  <a:gd name="T42" fmla="*/ 388 w 429"/>
                  <a:gd name="T43" fmla="*/ 609 h 630"/>
                  <a:gd name="T44" fmla="*/ 366 w 429"/>
                  <a:gd name="T45" fmla="*/ 628 h 630"/>
                  <a:gd name="T46" fmla="*/ 339 w 429"/>
                  <a:gd name="T47" fmla="*/ 606 h 630"/>
                  <a:gd name="T48" fmla="*/ 313 w 429"/>
                  <a:gd name="T49" fmla="*/ 582 h 630"/>
                  <a:gd name="T50" fmla="*/ 281 w 429"/>
                  <a:gd name="T51" fmla="*/ 565 h 630"/>
                  <a:gd name="T52" fmla="*/ 248 w 429"/>
                  <a:gd name="T53" fmla="*/ 550 h 630"/>
                  <a:gd name="T54" fmla="*/ 216 w 429"/>
                  <a:gd name="T55" fmla="*/ 529 h 630"/>
                  <a:gd name="T56" fmla="*/ 194 w 429"/>
                  <a:gd name="T57" fmla="*/ 507 h 630"/>
                  <a:gd name="T58" fmla="*/ 172 w 429"/>
                  <a:gd name="T59" fmla="*/ 482 h 630"/>
                  <a:gd name="T60" fmla="*/ 172 w 429"/>
                  <a:gd name="T61" fmla="*/ 470 h 630"/>
                  <a:gd name="T62" fmla="*/ 160 w 429"/>
                  <a:gd name="T63" fmla="*/ 436 h 630"/>
                  <a:gd name="T64" fmla="*/ 141 w 429"/>
                  <a:gd name="T65" fmla="*/ 410 h 630"/>
                  <a:gd name="T66" fmla="*/ 126 w 429"/>
                  <a:gd name="T67" fmla="*/ 381 h 630"/>
                  <a:gd name="T68" fmla="*/ 112 w 429"/>
                  <a:gd name="T69" fmla="*/ 352 h 630"/>
                  <a:gd name="T70" fmla="*/ 99 w 429"/>
                  <a:gd name="T71" fmla="*/ 317 h 630"/>
                  <a:gd name="T72" fmla="*/ 87 w 429"/>
                  <a:gd name="T73" fmla="*/ 298 h 630"/>
                  <a:gd name="T74" fmla="*/ 67 w 429"/>
                  <a:gd name="T75" fmla="*/ 266 h 630"/>
                  <a:gd name="T76" fmla="*/ 46 w 429"/>
                  <a:gd name="T77" fmla="*/ 230 h 630"/>
                  <a:gd name="T78" fmla="*/ 9 w 429"/>
                  <a:gd name="T79" fmla="*/ 204 h 630"/>
                  <a:gd name="T80" fmla="*/ 5 w 429"/>
                  <a:gd name="T81" fmla="*/ 177 h 630"/>
                  <a:gd name="T82" fmla="*/ 4 w 429"/>
                  <a:gd name="T83" fmla="*/ 145 h 630"/>
                  <a:gd name="T84" fmla="*/ 31 w 429"/>
                  <a:gd name="T85" fmla="*/ 119 h 630"/>
                  <a:gd name="T86" fmla="*/ 29 w 429"/>
                  <a:gd name="T87" fmla="*/ 136 h 630"/>
                  <a:gd name="T88" fmla="*/ 39 w 429"/>
                  <a:gd name="T89" fmla="*/ 145 h 630"/>
                  <a:gd name="T90" fmla="*/ 70 w 429"/>
                  <a:gd name="T91" fmla="*/ 165 h 630"/>
                  <a:gd name="T92" fmla="*/ 92 w 429"/>
                  <a:gd name="T93" fmla="*/ 148 h 630"/>
                  <a:gd name="T94" fmla="*/ 101 w 429"/>
                  <a:gd name="T95" fmla="*/ 118 h 630"/>
                  <a:gd name="T96" fmla="*/ 128 w 429"/>
                  <a:gd name="T97" fmla="*/ 99 h 630"/>
                  <a:gd name="T98" fmla="*/ 199 w 429"/>
                  <a:gd name="T99" fmla="*/ 39 h 630"/>
                  <a:gd name="T100" fmla="*/ 203 w 429"/>
                  <a:gd name="T101" fmla="*/ 16 h 630"/>
                  <a:gd name="T102" fmla="*/ 216 w 429"/>
                  <a:gd name="T103" fmla="*/ 5 h 630"/>
                  <a:gd name="T104" fmla="*/ 235 w 429"/>
                  <a:gd name="T105" fmla="*/ 21 h 630"/>
                  <a:gd name="T106" fmla="*/ 248 w 429"/>
                  <a:gd name="T107" fmla="*/ 34 h 630"/>
                  <a:gd name="T108" fmla="*/ 265 w 429"/>
                  <a:gd name="T109" fmla="*/ 51 h 630"/>
                  <a:gd name="T110" fmla="*/ 279 w 429"/>
                  <a:gd name="T111" fmla="*/ 70 h 630"/>
                  <a:gd name="T112" fmla="*/ 298 w 429"/>
                  <a:gd name="T113" fmla="*/ 82 h 630"/>
                  <a:gd name="T114" fmla="*/ 322 w 429"/>
                  <a:gd name="T115" fmla="*/ 75 h 630"/>
                  <a:gd name="T116" fmla="*/ 342 w 429"/>
                  <a:gd name="T117" fmla="*/ 80 h 630"/>
                  <a:gd name="T118" fmla="*/ 367 w 429"/>
                  <a:gd name="T119" fmla="*/ 84 h 630"/>
                  <a:gd name="T120" fmla="*/ 371 w 429"/>
                  <a:gd name="T121" fmla="*/ 109 h 630"/>
                  <a:gd name="T122" fmla="*/ 381 w 429"/>
                  <a:gd name="T123" fmla="*/ 138 h 630"/>
                  <a:gd name="T124" fmla="*/ 36 w 429"/>
                  <a:gd name="T125" fmla="*/ 116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9" h="630">
                    <a:moveTo>
                      <a:pt x="384" y="143"/>
                    </a:moveTo>
                    <a:lnTo>
                      <a:pt x="384" y="145"/>
                    </a:lnTo>
                    <a:lnTo>
                      <a:pt x="384" y="147"/>
                    </a:lnTo>
                    <a:lnTo>
                      <a:pt x="384" y="148"/>
                    </a:lnTo>
                    <a:lnTo>
                      <a:pt x="383" y="148"/>
                    </a:lnTo>
                    <a:lnTo>
                      <a:pt x="381" y="147"/>
                    </a:lnTo>
                    <a:lnTo>
                      <a:pt x="381" y="145"/>
                    </a:lnTo>
                    <a:lnTo>
                      <a:pt x="379" y="145"/>
                    </a:lnTo>
                    <a:lnTo>
                      <a:pt x="379" y="143"/>
                    </a:lnTo>
                    <a:lnTo>
                      <a:pt x="379" y="145"/>
                    </a:lnTo>
                    <a:lnTo>
                      <a:pt x="378" y="145"/>
                    </a:lnTo>
                    <a:lnTo>
                      <a:pt x="378" y="147"/>
                    </a:lnTo>
                    <a:lnTo>
                      <a:pt x="376" y="147"/>
                    </a:lnTo>
                    <a:lnTo>
                      <a:pt x="376" y="145"/>
                    </a:lnTo>
                    <a:lnTo>
                      <a:pt x="376" y="147"/>
                    </a:lnTo>
                    <a:lnTo>
                      <a:pt x="374" y="145"/>
                    </a:lnTo>
                    <a:lnTo>
                      <a:pt x="373" y="143"/>
                    </a:lnTo>
                    <a:lnTo>
                      <a:pt x="374" y="143"/>
                    </a:lnTo>
                    <a:lnTo>
                      <a:pt x="374" y="141"/>
                    </a:lnTo>
                    <a:lnTo>
                      <a:pt x="373" y="140"/>
                    </a:lnTo>
                    <a:lnTo>
                      <a:pt x="373" y="141"/>
                    </a:lnTo>
                    <a:lnTo>
                      <a:pt x="371" y="141"/>
                    </a:lnTo>
                    <a:lnTo>
                      <a:pt x="371" y="140"/>
                    </a:lnTo>
                    <a:lnTo>
                      <a:pt x="369" y="140"/>
                    </a:lnTo>
                    <a:lnTo>
                      <a:pt x="367" y="140"/>
                    </a:lnTo>
                    <a:lnTo>
                      <a:pt x="369" y="140"/>
                    </a:lnTo>
                    <a:lnTo>
                      <a:pt x="367" y="140"/>
                    </a:lnTo>
                    <a:lnTo>
                      <a:pt x="367" y="141"/>
                    </a:lnTo>
                    <a:lnTo>
                      <a:pt x="367" y="140"/>
                    </a:lnTo>
                    <a:lnTo>
                      <a:pt x="367" y="141"/>
                    </a:lnTo>
                    <a:lnTo>
                      <a:pt x="366" y="141"/>
                    </a:lnTo>
                    <a:lnTo>
                      <a:pt x="366" y="140"/>
                    </a:lnTo>
                    <a:lnTo>
                      <a:pt x="364" y="140"/>
                    </a:lnTo>
                    <a:lnTo>
                      <a:pt x="366" y="140"/>
                    </a:lnTo>
                    <a:lnTo>
                      <a:pt x="364" y="141"/>
                    </a:lnTo>
                    <a:lnTo>
                      <a:pt x="362" y="141"/>
                    </a:lnTo>
                    <a:lnTo>
                      <a:pt x="362" y="140"/>
                    </a:lnTo>
                    <a:lnTo>
                      <a:pt x="361" y="140"/>
                    </a:lnTo>
                    <a:lnTo>
                      <a:pt x="361" y="141"/>
                    </a:lnTo>
                    <a:lnTo>
                      <a:pt x="359" y="141"/>
                    </a:lnTo>
                    <a:lnTo>
                      <a:pt x="357" y="140"/>
                    </a:lnTo>
                    <a:lnTo>
                      <a:pt x="357" y="141"/>
                    </a:lnTo>
                    <a:lnTo>
                      <a:pt x="356" y="141"/>
                    </a:lnTo>
                    <a:lnTo>
                      <a:pt x="356" y="143"/>
                    </a:lnTo>
                    <a:lnTo>
                      <a:pt x="354" y="143"/>
                    </a:lnTo>
                    <a:lnTo>
                      <a:pt x="354" y="145"/>
                    </a:lnTo>
                    <a:lnTo>
                      <a:pt x="354" y="147"/>
                    </a:lnTo>
                    <a:lnTo>
                      <a:pt x="352" y="147"/>
                    </a:lnTo>
                    <a:lnTo>
                      <a:pt x="352" y="148"/>
                    </a:lnTo>
                    <a:lnTo>
                      <a:pt x="350" y="148"/>
                    </a:lnTo>
                    <a:lnTo>
                      <a:pt x="350" y="147"/>
                    </a:lnTo>
                    <a:lnTo>
                      <a:pt x="349" y="147"/>
                    </a:lnTo>
                    <a:lnTo>
                      <a:pt x="350" y="147"/>
                    </a:lnTo>
                    <a:lnTo>
                      <a:pt x="350" y="148"/>
                    </a:lnTo>
                    <a:lnTo>
                      <a:pt x="349" y="148"/>
                    </a:lnTo>
                    <a:lnTo>
                      <a:pt x="347" y="148"/>
                    </a:lnTo>
                    <a:lnTo>
                      <a:pt x="345" y="148"/>
                    </a:lnTo>
                    <a:lnTo>
                      <a:pt x="344" y="148"/>
                    </a:lnTo>
                    <a:lnTo>
                      <a:pt x="344" y="150"/>
                    </a:lnTo>
                    <a:lnTo>
                      <a:pt x="342" y="148"/>
                    </a:lnTo>
                    <a:lnTo>
                      <a:pt x="340" y="148"/>
                    </a:lnTo>
                    <a:lnTo>
                      <a:pt x="340" y="150"/>
                    </a:lnTo>
                    <a:lnTo>
                      <a:pt x="339" y="150"/>
                    </a:lnTo>
                    <a:lnTo>
                      <a:pt x="339" y="148"/>
                    </a:lnTo>
                    <a:lnTo>
                      <a:pt x="339" y="150"/>
                    </a:lnTo>
                    <a:lnTo>
                      <a:pt x="337" y="150"/>
                    </a:lnTo>
                    <a:lnTo>
                      <a:pt x="335" y="150"/>
                    </a:lnTo>
                    <a:lnTo>
                      <a:pt x="335" y="152"/>
                    </a:lnTo>
                    <a:lnTo>
                      <a:pt x="335" y="150"/>
                    </a:lnTo>
                    <a:lnTo>
                      <a:pt x="333" y="150"/>
                    </a:lnTo>
                    <a:lnTo>
                      <a:pt x="332" y="150"/>
                    </a:lnTo>
                    <a:lnTo>
                      <a:pt x="333" y="152"/>
                    </a:lnTo>
                    <a:lnTo>
                      <a:pt x="332" y="152"/>
                    </a:lnTo>
                    <a:lnTo>
                      <a:pt x="332" y="150"/>
                    </a:lnTo>
                    <a:lnTo>
                      <a:pt x="332" y="152"/>
                    </a:lnTo>
                    <a:lnTo>
                      <a:pt x="330" y="152"/>
                    </a:lnTo>
                    <a:lnTo>
                      <a:pt x="330" y="153"/>
                    </a:lnTo>
                    <a:lnTo>
                      <a:pt x="328" y="153"/>
                    </a:lnTo>
                    <a:lnTo>
                      <a:pt x="328" y="152"/>
                    </a:lnTo>
                    <a:lnTo>
                      <a:pt x="327" y="152"/>
                    </a:lnTo>
                    <a:lnTo>
                      <a:pt x="325" y="152"/>
                    </a:lnTo>
                    <a:lnTo>
                      <a:pt x="323" y="152"/>
                    </a:lnTo>
                    <a:lnTo>
                      <a:pt x="325" y="152"/>
                    </a:lnTo>
                    <a:lnTo>
                      <a:pt x="323" y="152"/>
                    </a:lnTo>
                    <a:lnTo>
                      <a:pt x="322" y="152"/>
                    </a:lnTo>
                    <a:lnTo>
                      <a:pt x="320" y="152"/>
                    </a:lnTo>
                    <a:lnTo>
                      <a:pt x="320" y="153"/>
                    </a:lnTo>
                    <a:lnTo>
                      <a:pt x="320" y="152"/>
                    </a:lnTo>
                    <a:lnTo>
                      <a:pt x="318" y="152"/>
                    </a:lnTo>
                    <a:lnTo>
                      <a:pt x="320" y="153"/>
                    </a:lnTo>
                    <a:lnTo>
                      <a:pt x="318" y="153"/>
                    </a:lnTo>
                    <a:lnTo>
                      <a:pt x="318" y="155"/>
                    </a:lnTo>
                    <a:lnTo>
                      <a:pt x="316" y="155"/>
                    </a:lnTo>
                    <a:lnTo>
                      <a:pt x="316" y="157"/>
                    </a:lnTo>
                    <a:lnTo>
                      <a:pt x="315" y="157"/>
                    </a:lnTo>
                    <a:lnTo>
                      <a:pt x="313" y="157"/>
                    </a:lnTo>
                    <a:lnTo>
                      <a:pt x="313" y="159"/>
                    </a:lnTo>
                    <a:lnTo>
                      <a:pt x="311" y="159"/>
                    </a:lnTo>
                    <a:lnTo>
                      <a:pt x="311" y="160"/>
                    </a:lnTo>
                    <a:lnTo>
                      <a:pt x="311" y="159"/>
                    </a:lnTo>
                    <a:lnTo>
                      <a:pt x="310" y="160"/>
                    </a:lnTo>
                    <a:lnTo>
                      <a:pt x="308" y="160"/>
                    </a:lnTo>
                    <a:lnTo>
                      <a:pt x="308" y="162"/>
                    </a:lnTo>
                    <a:lnTo>
                      <a:pt x="306" y="160"/>
                    </a:lnTo>
                    <a:lnTo>
                      <a:pt x="308" y="162"/>
                    </a:lnTo>
                    <a:lnTo>
                      <a:pt x="306" y="162"/>
                    </a:lnTo>
                    <a:lnTo>
                      <a:pt x="305" y="162"/>
                    </a:lnTo>
                    <a:lnTo>
                      <a:pt x="303" y="162"/>
                    </a:lnTo>
                    <a:lnTo>
                      <a:pt x="303" y="164"/>
                    </a:lnTo>
                    <a:lnTo>
                      <a:pt x="303" y="165"/>
                    </a:lnTo>
                    <a:lnTo>
                      <a:pt x="301" y="165"/>
                    </a:lnTo>
                    <a:lnTo>
                      <a:pt x="299" y="165"/>
                    </a:lnTo>
                    <a:lnTo>
                      <a:pt x="301" y="165"/>
                    </a:lnTo>
                    <a:lnTo>
                      <a:pt x="299" y="167"/>
                    </a:lnTo>
                    <a:lnTo>
                      <a:pt x="298" y="167"/>
                    </a:lnTo>
                    <a:lnTo>
                      <a:pt x="296" y="169"/>
                    </a:lnTo>
                    <a:lnTo>
                      <a:pt x="294" y="169"/>
                    </a:lnTo>
                    <a:lnTo>
                      <a:pt x="296" y="169"/>
                    </a:lnTo>
                    <a:lnTo>
                      <a:pt x="294" y="169"/>
                    </a:lnTo>
                    <a:lnTo>
                      <a:pt x="296" y="170"/>
                    </a:lnTo>
                    <a:lnTo>
                      <a:pt x="294" y="170"/>
                    </a:lnTo>
                    <a:lnTo>
                      <a:pt x="293" y="170"/>
                    </a:lnTo>
                    <a:lnTo>
                      <a:pt x="291" y="170"/>
                    </a:lnTo>
                    <a:lnTo>
                      <a:pt x="291" y="172"/>
                    </a:lnTo>
                    <a:lnTo>
                      <a:pt x="289" y="172"/>
                    </a:lnTo>
                    <a:lnTo>
                      <a:pt x="288" y="172"/>
                    </a:lnTo>
                    <a:lnTo>
                      <a:pt x="288" y="174"/>
                    </a:lnTo>
                    <a:lnTo>
                      <a:pt x="286" y="174"/>
                    </a:lnTo>
                    <a:lnTo>
                      <a:pt x="286" y="176"/>
                    </a:lnTo>
                    <a:lnTo>
                      <a:pt x="286" y="177"/>
                    </a:lnTo>
                    <a:lnTo>
                      <a:pt x="286" y="179"/>
                    </a:lnTo>
                    <a:lnTo>
                      <a:pt x="286" y="181"/>
                    </a:lnTo>
                    <a:lnTo>
                      <a:pt x="286" y="182"/>
                    </a:lnTo>
                    <a:lnTo>
                      <a:pt x="284" y="182"/>
                    </a:lnTo>
                    <a:lnTo>
                      <a:pt x="284" y="184"/>
                    </a:lnTo>
                    <a:lnTo>
                      <a:pt x="284" y="186"/>
                    </a:lnTo>
                    <a:lnTo>
                      <a:pt x="282" y="186"/>
                    </a:lnTo>
                    <a:lnTo>
                      <a:pt x="284" y="186"/>
                    </a:lnTo>
                    <a:lnTo>
                      <a:pt x="284" y="187"/>
                    </a:lnTo>
                    <a:lnTo>
                      <a:pt x="284" y="189"/>
                    </a:lnTo>
                    <a:lnTo>
                      <a:pt x="282" y="189"/>
                    </a:lnTo>
                    <a:lnTo>
                      <a:pt x="282" y="191"/>
                    </a:lnTo>
                    <a:lnTo>
                      <a:pt x="284" y="191"/>
                    </a:lnTo>
                    <a:lnTo>
                      <a:pt x="282" y="191"/>
                    </a:lnTo>
                    <a:lnTo>
                      <a:pt x="282" y="193"/>
                    </a:lnTo>
                    <a:lnTo>
                      <a:pt x="282" y="194"/>
                    </a:lnTo>
                    <a:lnTo>
                      <a:pt x="281" y="194"/>
                    </a:lnTo>
                    <a:lnTo>
                      <a:pt x="281" y="196"/>
                    </a:lnTo>
                    <a:lnTo>
                      <a:pt x="279" y="196"/>
                    </a:lnTo>
                    <a:lnTo>
                      <a:pt x="279" y="198"/>
                    </a:lnTo>
                    <a:lnTo>
                      <a:pt x="277" y="198"/>
                    </a:lnTo>
                    <a:lnTo>
                      <a:pt x="277" y="199"/>
                    </a:lnTo>
                    <a:lnTo>
                      <a:pt x="276" y="199"/>
                    </a:lnTo>
                    <a:lnTo>
                      <a:pt x="276" y="201"/>
                    </a:lnTo>
                    <a:lnTo>
                      <a:pt x="276" y="203"/>
                    </a:lnTo>
                    <a:lnTo>
                      <a:pt x="274" y="203"/>
                    </a:lnTo>
                    <a:lnTo>
                      <a:pt x="276" y="204"/>
                    </a:lnTo>
                    <a:lnTo>
                      <a:pt x="274" y="203"/>
                    </a:lnTo>
                    <a:lnTo>
                      <a:pt x="274" y="204"/>
                    </a:lnTo>
                    <a:lnTo>
                      <a:pt x="274" y="206"/>
                    </a:lnTo>
                    <a:lnTo>
                      <a:pt x="274" y="208"/>
                    </a:lnTo>
                    <a:lnTo>
                      <a:pt x="274" y="210"/>
                    </a:lnTo>
                    <a:lnTo>
                      <a:pt x="276" y="210"/>
                    </a:lnTo>
                    <a:lnTo>
                      <a:pt x="274" y="210"/>
                    </a:lnTo>
                    <a:lnTo>
                      <a:pt x="276" y="210"/>
                    </a:lnTo>
                    <a:lnTo>
                      <a:pt x="276" y="211"/>
                    </a:lnTo>
                    <a:lnTo>
                      <a:pt x="277" y="213"/>
                    </a:lnTo>
                    <a:lnTo>
                      <a:pt x="276" y="213"/>
                    </a:lnTo>
                    <a:lnTo>
                      <a:pt x="277" y="213"/>
                    </a:lnTo>
                    <a:lnTo>
                      <a:pt x="277" y="215"/>
                    </a:lnTo>
                    <a:lnTo>
                      <a:pt x="277" y="216"/>
                    </a:lnTo>
                    <a:lnTo>
                      <a:pt x="279" y="216"/>
                    </a:lnTo>
                    <a:lnTo>
                      <a:pt x="277" y="218"/>
                    </a:lnTo>
                    <a:lnTo>
                      <a:pt x="279" y="218"/>
                    </a:lnTo>
                    <a:lnTo>
                      <a:pt x="277" y="218"/>
                    </a:lnTo>
                    <a:lnTo>
                      <a:pt x="277" y="220"/>
                    </a:lnTo>
                    <a:lnTo>
                      <a:pt x="277" y="221"/>
                    </a:lnTo>
                    <a:lnTo>
                      <a:pt x="276" y="220"/>
                    </a:lnTo>
                    <a:lnTo>
                      <a:pt x="276" y="221"/>
                    </a:lnTo>
                    <a:lnTo>
                      <a:pt x="276" y="223"/>
                    </a:lnTo>
                    <a:lnTo>
                      <a:pt x="274" y="221"/>
                    </a:lnTo>
                    <a:lnTo>
                      <a:pt x="274" y="223"/>
                    </a:lnTo>
                    <a:lnTo>
                      <a:pt x="272" y="223"/>
                    </a:lnTo>
                    <a:lnTo>
                      <a:pt x="271" y="223"/>
                    </a:lnTo>
                    <a:lnTo>
                      <a:pt x="269" y="223"/>
                    </a:lnTo>
                    <a:lnTo>
                      <a:pt x="269" y="225"/>
                    </a:lnTo>
                    <a:lnTo>
                      <a:pt x="267" y="225"/>
                    </a:lnTo>
                    <a:lnTo>
                      <a:pt x="265" y="225"/>
                    </a:lnTo>
                    <a:lnTo>
                      <a:pt x="265" y="227"/>
                    </a:lnTo>
                    <a:lnTo>
                      <a:pt x="265" y="225"/>
                    </a:lnTo>
                    <a:lnTo>
                      <a:pt x="264" y="227"/>
                    </a:lnTo>
                    <a:lnTo>
                      <a:pt x="264" y="228"/>
                    </a:lnTo>
                    <a:lnTo>
                      <a:pt x="262" y="228"/>
                    </a:lnTo>
                    <a:lnTo>
                      <a:pt x="260" y="228"/>
                    </a:lnTo>
                    <a:lnTo>
                      <a:pt x="260" y="230"/>
                    </a:lnTo>
                    <a:lnTo>
                      <a:pt x="259" y="230"/>
                    </a:lnTo>
                    <a:lnTo>
                      <a:pt x="259" y="232"/>
                    </a:lnTo>
                    <a:lnTo>
                      <a:pt x="257" y="232"/>
                    </a:lnTo>
                    <a:lnTo>
                      <a:pt x="257" y="233"/>
                    </a:lnTo>
                    <a:lnTo>
                      <a:pt x="257" y="235"/>
                    </a:lnTo>
                    <a:lnTo>
                      <a:pt x="257" y="237"/>
                    </a:lnTo>
                    <a:lnTo>
                      <a:pt x="257" y="238"/>
                    </a:lnTo>
                    <a:lnTo>
                      <a:pt x="255" y="240"/>
                    </a:lnTo>
                    <a:lnTo>
                      <a:pt x="257" y="244"/>
                    </a:lnTo>
                    <a:lnTo>
                      <a:pt x="259" y="245"/>
                    </a:lnTo>
                    <a:lnTo>
                      <a:pt x="259" y="247"/>
                    </a:lnTo>
                    <a:lnTo>
                      <a:pt x="257" y="247"/>
                    </a:lnTo>
                    <a:lnTo>
                      <a:pt x="257" y="249"/>
                    </a:lnTo>
                    <a:lnTo>
                      <a:pt x="255" y="249"/>
                    </a:lnTo>
                    <a:lnTo>
                      <a:pt x="254" y="249"/>
                    </a:lnTo>
                    <a:lnTo>
                      <a:pt x="252" y="250"/>
                    </a:lnTo>
                    <a:lnTo>
                      <a:pt x="250" y="249"/>
                    </a:lnTo>
                    <a:lnTo>
                      <a:pt x="250" y="252"/>
                    </a:lnTo>
                    <a:lnTo>
                      <a:pt x="250" y="254"/>
                    </a:lnTo>
                    <a:lnTo>
                      <a:pt x="250" y="255"/>
                    </a:lnTo>
                    <a:lnTo>
                      <a:pt x="248" y="255"/>
                    </a:lnTo>
                    <a:lnTo>
                      <a:pt x="250" y="257"/>
                    </a:lnTo>
                    <a:lnTo>
                      <a:pt x="252" y="259"/>
                    </a:lnTo>
                    <a:lnTo>
                      <a:pt x="254" y="259"/>
                    </a:lnTo>
                    <a:lnTo>
                      <a:pt x="254" y="261"/>
                    </a:lnTo>
                    <a:lnTo>
                      <a:pt x="255" y="261"/>
                    </a:lnTo>
                    <a:lnTo>
                      <a:pt x="255" y="262"/>
                    </a:lnTo>
                    <a:lnTo>
                      <a:pt x="257" y="262"/>
                    </a:lnTo>
                    <a:lnTo>
                      <a:pt x="259" y="262"/>
                    </a:lnTo>
                    <a:lnTo>
                      <a:pt x="259" y="264"/>
                    </a:lnTo>
                    <a:lnTo>
                      <a:pt x="259" y="266"/>
                    </a:lnTo>
                    <a:lnTo>
                      <a:pt x="257" y="267"/>
                    </a:lnTo>
                    <a:lnTo>
                      <a:pt x="257" y="266"/>
                    </a:lnTo>
                    <a:lnTo>
                      <a:pt x="257" y="267"/>
                    </a:lnTo>
                    <a:lnTo>
                      <a:pt x="255" y="267"/>
                    </a:lnTo>
                    <a:lnTo>
                      <a:pt x="257" y="267"/>
                    </a:lnTo>
                    <a:lnTo>
                      <a:pt x="257" y="269"/>
                    </a:lnTo>
                    <a:lnTo>
                      <a:pt x="259" y="269"/>
                    </a:lnTo>
                    <a:lnTo>
                      <a:pt x="259" y="271"/>
                    </a:lnTo>
                    <a:lnTo>
                      <a:pt x="260" y="271"/>
                    </a:lnTo>
                    <a:lnTo>
                      <a:pt x="260" y="272"/>
                    </a:lnTo>
                    <a:lnTo>
                      <a:pt x="262" y="274"/>
                    </a:lnTo>
                    <a:lnTo>
                      <a:pt x="262" y="276"/>
                    </a:lnTo>
                    <a:lnTo>
                      <a:pt x="262" y="278"/>
                    </a:lnTo>
                    <a:lnTo>
                      <a:pt x="264" y="279"/>
                    </a:lnTo>
                    <a:lnTo>
                      <a:pt x="264" y="281"/>
                    </a:lnTo>
                    <a:lnTo>
                      <a:pt x="264" y="283"/>
                    </a:lnTo>
                    <a:lnTo>
                      <a:pt x="265" y="284"/>
                    </a:lnTo>
                    <a:lnTo>
                      <a:pt x="267" y="284"/>
                    </a:lnTo>
                    <a:lnTo>
                      <a:pt x="269" y="284"/>
                    </a:lnTo>
                    <a:lnTo>
                      <a:pt x="269" y="286"/>
                    </a:lnTo>
                    <a:lnTo>
                      <a:pt x="269" y="288"/>
                    </a:lnTo>
                    <a:lnTo>
                      <a:pt x="271" y="288"/>
                    </a:lnTo>
                    <a:lnTo>
                      <a:pt x="271" y="289"/>
                    </a:lnTo>
                    <a:lnTo>
                      <a:pt x="271" y="291"/>
                    </a:lnTo>
                    <a:lnTo>
                      <a:pt x="271" y="293"/>
                    </a:lnTo>
                    <a:lnTo>
                      <a:pt x="272" y="293"/>
                    </a:lnTo>
                    <a:lnTo>
                      <a:pt x="272" y="295"/>
                    </a:lnTo>
                    <a:lnTo>
                      <a:pt x="274" y="295"/>
                    </a:lnTo>
                    <a:lnTo>
                      <a:pt x="276" y="295"/>
                    </a:lnTo>
                    <a:lnTo>
                      <a:pt x="277" y="295"/>
                    </a:lnTo>
                    <a:lnTo>
                      <a:pt x="277" y="296"/>
                    </a:lnTo>
                    <a:lnTo>
                      <a:pt x="277" y="298"/>
                    </a:lnTo>
                    <a:lnTo>
                      <a:pt x="279" y="300"/>
                    </a:lnTo>
                    <a:lnTo>
                      <a:pt x="281" y="301"/>
                    </a:lnTo>
                    <a:lnTo>
                      <a:pt x="282" y="303"/>
                    </a:lnTo>
                    <a:lnTo>
                      <a:pt x="282" y="305"/>
                    </a:lnTo>
                    <a:lnTo>
                      <a:pt x="284" y="305"/>
                    </a:lnTo>
                    <a:lnTo>
                      <a:pt x="284" y="307"/>
                    </a:lnTo>
                    <a:lnTo>
                      <a:pt x="284" y="308"/>
                    </a:lnTo>
                    <a:lnTo>
                      <a:pt x="284" y="310"/>
                    </a:lnTo>
                    <a:lnTo>
                      <a:pt x="282" y="310"/>
                    </a:lnTo>
                    <a:lnTo>
                      <a:pt x="281" y="312"/>
                    </a:lnTo>
                    <a:lnTo>
                      <a:pt x="282" y="312"/>
                    </a:lnTo>
                    <a:lnTo>
                      <a:pt x="281" y="313"/>
                    </a:lnTo>
                    <a:lnTo>
                      <a:pt x="279" y="313"/>
                    </a:lnTo>
                    <a:lnTo>
                      <a:pt x="279" y="315"/>
                    </a:lnTo>
                    <a:lnTo>
                      <a:pt x="277" y="317"/>
                    </a:lnTo>
                    <a:lnTo>
                      <a:pt x="276" y="317"/>
                    </a:lnTo>
                    <a:lnTo>
                      <a:pt x="276" y="318"/>
                    </a:lnTo>
                    <a:lnTo>
                      <a:pt x="284" y="318"/>
                    </a:lnTo>
                    <a:lnTo>
                      <a:pt x="291" y="318"/>
                    </a:lnTo>
                    <a:lnTo>
                      <a:pt x="291" y="320"/>
                    </a:lnTo>
                    <a:lnTo>
                      <a:pt x="293" y="320"/>
                    </a:lnTo>
                    <a:lnTo>
                      <a:pt x="294" y="320"/>
                    </a:lnTo>
                    <a:lnTo>
                      <a:pt x="296" y="320"/>
                    </a:lnTo>
                    <a:lnTo>
                      <a:pt x="296" y="322"/>
                    </a:lnTo>
                    <a:lnTo>
                      <a:pt x="298" y="322"/>
                    </a:lnTo>
                    <a:lnTo>
                      <a:pt x="299" y="322"/>
                    </a:lnTo>
                    <a:lnTo>
                      <a:pt x="301" y="322"/>
                    </a:lnTo>
                    <a:lnTo>
                      <a:pt x="303" y="322"/>
                    </a:lnTo>
                    <a:lnTo>
                      <a:pt x="305" y="322"/>
                    </a:lnTo>
                    <a:lnTo>
                      <a:pt x="305" y="324"/>
                    </a:lnTo>
                    <a:lnTo>
                      <a:pt x="306" y="324"/>
                    </a:lnTo>
                    <a:lnTo>
                      <a:pt x="306" y="325"/>
                    </a:lnTo>
                    <a:lnTo>
                      <a:pt x="306" y="327"/>
                    </a:lnTo>
                    <a:lnTo>
                      <a:pt x="308" y="327"/>
                    </a:lnTo>
                    <a:lnTo>
                      <a:pt x="306" y="327"/>
                    </a:lnTo>
                    <a:lnTo>
                      <a:pt x="308" y="327"/>
                    </a:lnTo>
                    <a:lnTo>
                      <a:pt x="308" y="329"/>
                    </a:lnTo>
                    <a:lnTo>
                      <a:pt x="306" y="329"/>
                    </a:lnTo>
                    <a:lnTo>
                      <a:pt x="308" y="330"/>
                    </a:lnTo>
                    <a:lnTo>
                      <a:pt x="306" y="330"/>
                    </a:lnTo>
                    <a:lnTo>
                      <a:pt x="308" y="330"/>
                    </a:lnTo>
                    <a:lnTo>
                      <a:pt x="308" y="332"/>
                    </a:lnTo>
                    <a:lnTo>
                      <a:pt x="310" y="332"/>
                    </a:lnTo>
                    <a:lnTo>
                      <a:pt x="311" y="332"/>
                    </a:lnTo>
                    <a:lnTo>
                      <a:pt x="310" y="334"/>
                    </a:lnTo>
                    <a:lnTo>
                      <a:pt x="311" y="334"/>
                    </a:lnTo>
                    <a:lnTo>
                      <a:pt x="310" y="334"/>
                    </a:lnTo>
                    <a:lnTo>
                      <a:pt x="311" y="335"/>
                    </a:lnTo>
                    <a:lnTo>
                      <a:pt x="310" y="335"/>
                    </a:lnTo>
                    <a:lnTo>
                      <a:pt x="310" y="337"/>
                    </a:lnTo>
                    <a:lnTo>
                      <a:pt x="311" y="339"/>
                    </a:lnTo>
                    <a:lnTo>
                      <a:pt x="310" y="339"/>
                    </a:lnTo>
                    <a:lnTo>
                      <a:pt x="315" y="339"/>
                    </a:lnTo>
                    <a:lnTo>
                      <a:pt x="318" y="339"/>
                    </a:lnTo>
                    <a:lnTo>
                      <a:pt x="322" y="339"/>
                    </a:lnTo>
                    <a:lnTo>
                      <a:pt x="325" y="339"/>
                    </a:lnTo>
                    <a:lnTo>
                      <a:pt x="328" y="339"/>
                    </a:lnTo>
                    <a:lnTo>
                      <a:pt x="332" y="339"/>
                    </a:lnTo>
                    <a:lnTo>
                      <a:pt x="333" y="339"/>
                    </a:lnTo>
                    <a:lnTo>
                      <a:pt x="337" y="339"/>
                    </a:lnTo>
                    <a:lnTo>
                      <a:pt x="339" y="339"/>
                    </a:lnTo>
                    <a:lnTo>
                      <a:pt x="340" y="339"/>
                    </a:lnTo>
                    <a:lnTo>
                      <a:pt x="342" y="339"/>
                    </a:lnTo>
                    <a:lnTo>
                      <a:pt x="342" y="337"/>
                    </a:lnTo>
                    <a:lnTo>
                      <a:pt x="344" y="337"/>
                    </a:lnTo>
                    <a:lnTo>
                      <a:pt x="344" y="335"/>
                    </a:lnTo>
                    <a:lnTo>
                      <a:pt x="345" y="335"/>
                    </a:lnTo>
                    <a:lnTo>
                      <a:pt x="345" y="334"/>
                    </a:lnTo>
                    <a:lnTo>
                      <a:pt x="347" y="334"/>
                    </a:lnTo>
                    <a:lnTo>
                      <a:pt x="349" y="334"/>
                    </a:lnTo>
                    <a:lnTo>
                      <a:pt x="350" y="334"/>
                    </a:lnTo>
                    <a:lnTo>
                      <a:pt x="350" y="332"/>
                    </a:lnTo>
                    <a:lnTo>
                      <a:pt x="350" y="330"/>
                    </a:lnTo>
                    <a:lnTo>
                      <a:pt x="352" y="330"/>
                    </a:lnTo>
                    <a:lnTo>
                      <a:pt x="354" y="329"/>
                    </a:lnTo>
                    <a:lnTo>
                      <a:pt x="354" y="327"/>
                    </a:lnTo>
                    <a:lnTo>
                      <a:pt x="356" y="327"/>
                    </a:lnTo>
                    <a:lnTo>
                      <a:pt x="357" y="327"/>
                    </a:lnTo>
                    <a:lnTo>
                      <a:pt x="357" y="325"/>
                    </a:lnTo>
                    <a:lnTo>
                      <a:pt x="357" y="324"/>
                    </a:lnTo>
                    <a:lnTo>
                      <a:pt x="359" y="325"/>
                    </a:lnTo>
                    <a:lnTo>
                      <a:pt x="359" y="324"/>
                    </a:lnTo>
                    <a:lnTo>
                      <a:pt x="361" y="324"/>
                    </a:lnTo>
                    <a:lnTo>
                      <a:pt x="361" y="322"/>
                    </a:lnTo>
                    <a:lnTo>
                      <a:pt x="362" y="322"/>
                    </a:lnTo>
                    <a:lnTo>
                      <a:pt x="362" y="320"/>
                    </a:lnTo>
                    <a:lnTo>
                      <a:pt x="364" y="320"/>
                    </a:lnTo>
                    <a:lnTo>
                      <a:pt x="366" y="320"/>
                    </a:lnTo>
                    <a:lnTo>
                      <a:pt x="366" y="322"/>
                    </a:lnTo>
                    <a:lnTo>
                      <a:pt x="366" y="324"/>
                    </a:lnTo>
                    <a:lnTo>
                      <a:pt x="364" y="324"/>
                    </a:lnTo>
                    <a:lnTo>
                      <a:pt x="366" y="324"/>
                    </a:lnTo>
                    <a:lnTo>
                      <a:pt x="364" y="324"/>
                    </a:lnTo>
                    <a:lnTo>
                      <a:pt x="364" y="325"/>
                    </a:lnTo>
                    <a:lnTo>
                      <a:pt x="364" y="324"/>
                    </a:lnTo>
                    <a:lnTo>
                      <a:pt x="364" y="325"/>
                    </a:lnTo>
                    <a:lnTo>
                      <a:pt x="364" y="324"/>
                    </a:lnTo>
                    <a:lnTo>
                      <a:pt x="362" y="324"/>
                    </a:lnTo>
                    <a:lnTo>
                      <a:pt x="364" y="325"/>
                    </a:lnTo>
                    <a:lnTo>
                      <a:pt x="362" y="325"/>
                    </a:lnTo>
                    <a:lnTo>
                      <a:pt x="364" y="327"/>
                    </a:lnTo>
                    <a:lnTo>
                      <a:pt x="364" y="329"/>
                    </a:lnTo>
                    <a:lnTo>
                      <a:pt x="366" y="329"/>
                    </a:lnTo>
                    <a:lnTo>
                      <a:pt x="366" y="330"/>
                    </a:lnTo>
                    <a:lnTo>
                      <a:pt x="366" y="332"/>
                    </a:lnTo>
                    <a:lnTo>
                      <a:pt x="364" y="332"/>
                    </a:lnTo>
                    <a:lnTo>
                      <a:pt x="362" y="332"/>
                    </a:lnTo>
                    <a:lnTo>
                      <a:pt x="362" y="334"/>
                    </a:lnTo>
                    <a:lnTo>
                      <a:pt x="362" y="335"/>
                    </a:lnTo>
                    <a:lnTo>
                      <a:pt x="362" y="339"/>
                    </a:lnTo>
                    <a:lnTo>
                      <a:pt x="362" y="341"/>
                    </a:lnTo>
                    <a:lnTo>
                      <a:pt x="362" y="342"/>
                    </a:lnTo>
                    <a:lnTo>
                      <a:pt x="362" y="344"/>
                    </a:lnTo>
                    <a:lnTo>
                      <a:pt x="362" y="346"/>
                    </a:lnTo>
                    <a:lnTo>
                      <a:pt x="362" y="347"/>
                    </a:lnTo>
                    <a:lnTo>
                      <a:pt x="362" y="351"/>
                    </a:lnTo>
                    <a:lnTo>
                      <a:pt x="362" y="352"/>
                    </a:lnTo>
                    <a:lnTo>
                      <a:pt x="362" y="354"/>
                    </a:lnTo>
                    <a:lnTo>
                      <a:pt x="362" y="356"/>
                    </a:lnTo>
                    <a:lnTo>
                      <a:pt x="362" y="359"/>
                    </a:lnTo>
                    <a:lnTo>
                      <a:pt x="362" y="361"/>
                    </a:lnTo>
                    <a:lnTo>
                      <a:pt x="362" y="364"/>
                    </a:lnTo>
                    <a:lnTo>
                      <a:pt x="362" y="373"/>
                    </a:lnTo>
                    <a:lnTo>
                      <a:pt x="366" y="371"/>
                    </a:lnTo>
                    <a:lnTo>
                      <a:pt x="367" y="373"/>
                    </a:lnTo>
                    <a:lnTo>
                      <a:pt x="369" y="375"/>
                    </a:lnTo>
                    <a:lnTo>
                      <a:pt x="371" y="375"/>
                    </a:lnTo>
                    <a:lnTo>
                      <a:pt x="371" y="376"/>
                    </a:lnTo>
                    <a:lnTo>
                      <a:pt x="373" y="376"/>
                    </a:lnTo>
                    <a:lnTo>
                      <a:pt x="374" y="376"/>
                    </a:lnTo>
                    <a:lnTo>
                      <a:pt x="374" y="375"/>
                    </a:lnTo>
                    <a:lnTo>
                      <a:pt x="376" y="376"/>
                    </a:lnTo>
                    <a:lnTo>
                      <a:pt x="376" y="375"/>
                    </a:lnTo>
                    <a:lnTo>
                      <a:pt x="376" y="376"/>
                    </a:lnTo>
                    <a:lnTo>
                      <a:pt x="378" y="375"/>
                    </a:lnTo>
                    <a:lnTo>
                      <a:pt x="379" y="375"/>
                    </a:lnTo>
                    <a:lnTo>
                      <a:pt x="379" y="373"/>
                    </a:lnTo>
                    <a:lnTo>
                      <a:pt x="381" y="373"/>
                    </a:lnTo>
                    <a:lnTo>
                      <a:pt x="383" y="373"/>
                    </a:lnTo>
                    <a:lnTo>
                      <a:pt x="383" y="371"/>
                    </a:lnTo>
                    <a:lnTo>
                      <a:pt x="384" y="373"/>
                    </a:lnTo>
                    <a:lnTo>
                      <a:pt x="384" y="371"/>
                    </a:lnTo>
                    <a:lnTo>
                      <a:pt x="386" y="371"/>
                    </a:lnTo>
                    <a:lnTo>
                      <a:pt x="388" y="371"/>
                    </a:lnTo>
                    <a:lnTo>
                      <a:pt x="390" y="371"/>
                    </a:lnTo>
                    <a:lnTo>
                      <a:pt x="391" y="371"/>
                    </a:lnTo>
                    <a:lnTo>
                      <a:pt x="391" y="373"/>
                    </a:lnTo>
                    <a:lnTo>
                      <a:pt x="393" y="373"/>
                    </a:lnTo>
                    <a:lnTo>
                      <a:pt x="395" y="373"/>
                    </a:lnTo>
                    <a:lnTo>
                      <a:pt x="396" y="373"/>
                    </a:lnTo>
                    <a:lnTo>
                      <a:pt x="396" y="371"/>
                    </a:lnTo>
                    <a:lnTo>
                      <a:pt x="396" y="373"/>
                    </a:lnTo>
                    <a:lnTo>
                      <a:pt x="396" y="371"/>
                    </a:lnTo>
                    <a:lnTo>
                      <a:pt x="398" y="371"/>
                    </a:lnTo>
                    <a:lnTo>
                      <a:pt x="398" y="373"/>
                    </a:lnTo>
                    <a:lnTo>
                      <a:pt x="400" y="375"/>
                    </a:lnTo>
                    <a:lnTo>
                      <a:pt x="401" y="378"/>
                    </a:lnTo>
                    <a:lnTo>
                      <a:pt x="401" y="380"/>
                    </a:lnTo>
                    <a:lnTo>
                      <a:pt x="403" y="381"/>
                    </a:lnTo>
                    <a:lnTo>
                      <a:pt x="405" y="383"/>
                    </a:lnTo>
                    <a:lnTo>
                      <a:pt x="407" y="385"/>
                    </a:lnTo>
                    <a:lnTo>
                      <a:pt x="408" y="388"/>
                    </a:lnTo>
                    <a:lnTo>
                      <a:pt x="408" y="390"/>
                    </a:lnTo>
                    <a:lnTo>
                      <a:pt x="410" y="390"/>
                    </a:lnTo>
                    <a:lnTo>
                      <a:pt x="410" y="393"/>
                    </a:lnTo>
                    <a:lnTo>
                      <a:pt x="413" y="395"/>
                    </a:lnTo>
                    <a:lnTo>
                      <a:pt x="413" y="397"/>
                    </a:lnTo>
                    <a:lnTo>
                      <a:pt x="415" y="398"/>
                    </a:lnTo>
                    <a:lnTo>
                      <a:pt x="415" y="402"/>
                    </a:lnTo>
                    <a:lnTo>
                      <a:pt x="417" y="403"/>
                    </a:lnTo>
                    <a:lnTo>
                      <a:pt x="418" y="405"/>
                    </a:lnTo>
                    <a:lnTo>
                      <a:pt x="418" y="407"/>
                    </a:lnTo>
                    <a:lnTo>
                      <a:pt x="420" y="409"/>
                    </a:lnTo>
                    <a:lnTo>
                      <a:pt x="420" y="410"/>
                    </a:lnTo>
                    <a:lnTo>
                      <a:pt x="422" y="414"/>
                    </a:lnTo>
                    <a:lnTo>
                      <a:pt x="424" y="415"/>
                    </a:lnTo>
                    <a:lnTo>
                      <a:pt x="427" y="422"/>
                    </a:lnTo>
                    <a:lnTo>
                      <a:pt x="429" y="426"/>
                    </a:lnTo>
                    <a:lnTo>
                      <a:pt x="429" y="427"/>
                    </a:lnTo>
                    <a:lnTo>
                      <a:pt x="429" y="426"/>
                    </a:lnTo>
                    <a:lnTo>
                      <a:pt x="427" y="426"/>
                    </a:lnTo>
                    <a:lnTo>
                      <a:pt x="429" y="426"/>
                    </a:lnTo>
                    <a:lnTo>
                      <a:pt x="429" y="427"/>
                    </a:lnTo>
                    <a:lnTo>
                      <a:pt x="427" y="427"/>
                    </a:lnTo>
                    <a:lnTo>
                      <a:pt x="427" y="429"/>
                    </a:lnTo>
                    <a:lnTo>
                      <a:pt x="425" y="429"/>
                    </a:lnTo>
                    <a:lnTo>
                      <a:pt x="425" y="431"/>
                    </a:lnTo>
                    <a:lnTo>
                      <a:pt x="427" y="432"/>
                    </a:lnTo>
                    <a:lnTo>
                      <a:pt x="425" y="432"/>
                    </a:lnTo>
                    <a:lnTo>
                      <a:pt x="427" y="432"/>
                    </a:lnTo>
                    <a:lnTo>
                      <a:pt x="425" y="432"/>
                    </a:lnTo>
                    <a:lnTo>
                      <a:pt x="427" y="432"/>
                    </a:lnTo>
                    <a:lnTo>
                      <a:pt x="425" y="432"/>
                    </a:lnTo>
                    <a:lnTo>
                      <a:pt x="425" y="434"/>
                    </a:lnTo>
                    <a:lnTo>
                      <a:pt x="424" y="434"/>
                    </a:lnTo>
                    <a:lnTo>
                      <a:pt x="424" y="436"/>
                    </a:lnTo>
                    <a:lnTo>
                      <a:pt x="422" y="436"/>
                    </a:lnTo>
                    <a:lnTo>
                      <a:pt x="424" y="437"/>
                    </a:lnTo>
                    <a:lnTo>
                      <a:pt x="422" y="437"/>
                    </a:lnTo>
                    <a:lnTo>
                      <a:pt x="422" y="439"/>
                    </a:lnTo>
                    <a:lnTo>
                      <a:pt x="422" y="441"/>
                    </a:lnTo>
                    <a:lnTo>
                      <a:pt x="420" y="441"/>
                    </a:lnTo>
                    <a:lnTo>
                      <a:pt x="422" y="443"/>
                    </a:lnTo>
                    <a:lnTo>
                      <a:pt x="422" y="441"/>
                    </a:lnTo>
                    <a:lnTo>
                      <a:pt x="422" y="443"/>
                    </a:lnTo>
                    <a:lnTo>
                      <a:pt x="422" y="444"/>
                    </a:lnTo>
                    <a:lnTo>
                      <a:pt x="422" y="446"/>
                    </a:lnTo>
                    <a:lnTo>
                      <a:pt x="422" y="448"/>
                    </a:lnTo>
                    <a:lnTo>
                      <a:pt x="422" y="449"/>
                    </a:lnTo>
                    <a:lnTo>
                      <a:pt x="422" y="451"/>
                    </a:lnTo>
                    <a:lnTo>
                      <a:pt x="422" y="453"/>
                    </a:lnTo>
                    <a:lnTo>
                      <a:pt x="422" y="454"/>
                    </a:lnTo>
                    <a:lnTo>
                      <a:pt x="420" y="454"/>
                    </a:lnTo>
                    <a:lnTo>
                      <a:pt x="422" y="454"/>
                    </a:lnTo>
                    <a:lnTo>
                      <a:pt x="420" y="456"/>
                    </a:lnTo>
                    <a:lnTo>
                      <a:pt x="420" y="458"/>
                    </a:lnTo>
                    <a:lnTo>
                      <a:pt x="420" y="460"/>
                    </a:lnTo>
                    <a:lnTo>
                      <a:pt x="420" y="461"/>
                    </a:lnTo>
                    <a:lnTo>
                      <a:pt x="418" y="461"/>
                    </a:lnTo>
                    <a:lnTo>
                      <a:pt x="418" y="463"/>
                    </a:lnTo>
                    <a:lnTo>
                      <a:pt x="418" y="465"/>
                    </a:lnTo>
                    <a:lnTo>
                      <a:pt x="417" y="465"/>
                    </a:lnTo>
                    <a:lnTo>
                      <a:pt x="415" y="465"/>
                    </a:lnTo>
                    <a:lnTo>
                      <a:pt x="415" y="466"/>
                    </a:lnTo>
                    <a:lnTo>
                      <a:pt x="415" y="468"/>
                    </a:lnTo>
                    <a:lnTo>
                      <a:pt x="417" y="468"/>
                    </a:lnTo>
                    <a:lnTo>
                      <a:pt x="417" y="470"/>
                    </a:lnTo>
                    <a:lnTo>
                      <a:pt x="417" y="472"/>
                    </a:lnTo>
                    <a:lnTo>
                      <a:pt x="417" y="473"/>
                    </a:lnTo>
                    <a:lnTo>
                      <a:pt x="418" y="473"/>
                    </a:lnTo>
                    <a:lnTo>
                      <a:pt x="417" y="475"/>
                    </a:lnTo>
                    <a:lnTo>
                      <a:pt x="418" y="475"/>
                    </a:lnTo>
                    <a:lnTo>
                      <a:pt x="418" y="477"/>
                    </a:lnTo>
                    <a:lnTo>
                      <a:pt x="418" y="478"/>
                    </a:lnTo>
                    <a:lnTo>
                      <a:pt x="420" y="478"/>
                    </a:lnTo>
                    <a:lnTo>
                      <a:pt x="420" y="480"/>
                    </a:lnTo>
                    <a:lnTo>
                      <a:pt x="422" y="480"/>
                    </a:lnTo>
                    <a:lnTo>
                      <a:pt x="422" y="482"/>
                    </a:lnTo>
                    <a:lnTo>
                      <a:pt x="422" y="483"/>
                    </a:lnTo>
                    <a:lnTo>
                      <a:pt x="422" y="485"/>
                    </a:lnTo>
                    <a:lnTo>
                      <a:pt x="424" y="485"/>
                    </a:lnTo>
                    <a:lnTo>
                      <a:pt x="422" y="485"/>
                    </a:lnTo>
                    <a:lnTo>
                      <a:pt x="420" y="485"/>
                    </a:lnTo>
                    <a:lnTo>
                      <a:pt x="418" y="485"/>
                    </a:lnTo>
                    <a:lnTo>
                      <a:pt x="417" y="485"/>
                    </a:lnTo>
                    <a:lnTo>
                      <a:pt x="417" y="487"/>
                    </a:lnTo>
                    <a:lnTo>
                      <a:pt x="417" y="489"/>
                    </a:lnTo>
                    <a:lnTo>
                      <a:pt x="417" y="490"/>
                    </a:lnTo>
                    <a:lnTo>
                      <a:pt x="417" y="492"/>
                    </a:lnTo>
                    <a:lnTo>
                      <a:pt x="415" y="492"/>
                    </a:lnTo>
                    <a:lnTo>
                      <a:pt x="415" y="494"/>
                    </a:lnTo>
                    <a:lnTo>
                      <a:pt x="413" y="494"/>
                    </a:lnTo>
                    <a:lnTo>
                      <a:pt x="413" y="495"/>
                    </a:lnTo>
                    <a:lnTo>
                      <a:pt x="412" y="495"/>
                    </a:lnTo>
                    <a:lnTo>
                      <a:pt x="412" y="497"/>
                    </a:lnTo>
                    <a:lnTo>
                      <a:pt x="412" y="499"/>
                    </a:lnTo>
                    <a:lnTo>
                      <a:pt x="410" y="497"/>
                    </a:lnTo>
                    <a:lnTo>
                      <a:pt x="410" y="499"/>
                    </a:lnTo>
                    <a:lnTo>
                      <a:pt x="410" y="500"/>
                    </a:lnTo>
                    <a:lnTo>
                      <a:pt x="408" y="500"/>
                    </a:lnTo>
                    <a:lnTo>
                      <a:pt x="408" y="502"/>
                    </a:lnTo>
                    <a:lnTo>
                      <a:pt x="410" y="504"/>
                    </a:lnTo>
                    <a:lnTo>
                      <a:pt x="408" y="504"/>
                    </a:lnTo>
                    <a:lnTo>
                      <a:pt x="407" y="504"/>
                    </a:lnTo>
                    <a:lnTo>
                      <a:pt x="407" y="506"/>
                    </a:lnTo>
                    <a:lnTo>
                      <a:pt x="405" y="506"/>
                    </a:lnTo>
                    <a:lnTo>
                      <a:pt x="405" y="507"/>
                    </a:lnTo>
                    <a:lnTo>
                      <a:pt x="405" y="509"/>
                    </a:lnTo>
                    <a:lnTo>
                      <a:pt x="405" y="511"/>
                    </a:lnTo>
                    <a:lnTo>
                      <a:pt x="405" y="512"/>
                    </a:lnTo>
                    <a:lnTo>
                      <a:pt x="407" y="512"/>
                    </a:lnTo>
                    <a:lnTo>
                      <a:pt x="407" y="514"/>
                    </a:lnTo>
                    <a:lnTo>
                      <a:pt x="407" y="516"/>
                    </a:lnTo>
                    <a:lnTo>
                      <a:pt x="408" y="516"/>
                    </a:lnTo>
                    <a:lnTo>
                      <a:pt x="408" y="517"/>
                    </a:lnTo>
                    <a:lnTo>
                      <a:pt x="408" y="516"/>
                    </a:lnTo>
                    <a:lnTo>
                      <a:pt x="410" y="517"/>
                    </a:lnTo>
                    <a:lnTo>
                      <a:pt x="412" y="519"/>
                    </a:lnTo>
                    <a:lnTo>
                      <a:pt x="412" y="521"/>
                    </a:lnTo>
                    <a:lnTo>
                      <a:pt x="413" y="521"/>
                    </a:lnTo>
                    <a:lnTo>
                      <a:pt x="412" y="521"/>
                    </a:lnTo>
                    <a:lnTo>
                      <a:pt x="412" y="523"/>
                    </a:lnTo>
                    <a:lnTo>
                      <a:pt x="412" y="521"/>
                    </a:lnTo>
                    <a:lnTo>
                      <a:pt x="412" y="523"/>
                    </a:lnTo>
                    <a:lnTo>
                      <a:pt x="410" y="523"/>
                    </a:lnTo>
                    <a:lnTo>
                      <a:pt x="410" y="524"/>
                    </a:lnTo>
                    <a:lnTo>
                      <a:pt x="408" y="526"/>
                    </a:lnTo>
                    <a:lnTo>
                      <a:pt x="408" y="528"/>
                    </a:lnTo>
                    <a:lnTo>
                      <a:pt x="410" y="528"/>
                    </a:lnTo>
                    <a:lnTo>
                      <a:pt x="408" y="528"/>
                    </a:lnTo>
                    <a:lnTo>
                      <a:pt x="408" y="529"/>
                    </a:lnTo>
                    <a:lnTo>
                      <a:pt x="407" y="528"/>
                    </a:lnTo>
                    <a:lnTo>
                      <a:pt x="407" y="529"/>
                    </a:lnTo>
                    <a:lnTo>
                      <a:pt x="407" y="531"/>
                    </a:lnTo>
                    <a:lnTo>
                      <a:pt x="403" y="534"/>
                    </a:lnTo>
                    <a:lnTo>
                      <a:pt x="405" y="538"/>
                    </a:lnTo>
                    <a:lnTo>
                      <a:pt x="405" y="540"/>
                    </a:lnTo>
                    <a:lnTo>
                      <a:pt x="407" y="543"/>
                    </a:lnTo>
                    <a:lnTo>
                      <a:pt x="407" y="548"/>
                    </a:lnTo>
                    <a:lnTo>
                      <a:pt x="408" y="553"/>
                    </a:lnTo>
                    <a:lnTo>
                      <a:pt x="410" y="553"/>
                    </a:lnTo>
                    <a:lnTo>
                      <a:pt x="413" y="555"/>
                    </a:lnTo>
                    <a:lnTo>
                      <a:pt x="415" y="555"/>
                    </a:lnTo>
                    <a:lnTo>
                      <a:pt x="417" y="555"/>
                    </a:lnTo>
                    <a:lnTo>
                      <a:pt x="418" y="555"/>
                    </a:lnTo>
                    <a:lnTo>
                      <a:pt x="420" y="557"/>
                    </a:lnTo>
                    <a:lnTo>
                      <a:pt x="422" y="557"/>
                    </a:lnTo>
                    <a:lnTo>
                      <a:pt x="424" y="558"/>
                    </a:lnTo>
                    <a:lnTo>
                      <a:pt x="424" y="560"/>
                    </a:lnTo>
                    <a:lnTo>
                      <a:pt x="418" y="563"/>
                    </a:lnTo>
                    <a:lnTo>
                      <a:pt x="417" y="563"/>
                    </a:lnTo>
                    <a:lnTo>
                      <a:pt x="417" y="565"/>
                    </a:lnTo>
                    <a:lnTo>
                      <a:pt x="415" y="567"/>
                    </a:lnTo>
                    <a:lnTo>
                      <a:pt x="415" y="568"/>
                    </a:lnTo>
                    <a:lnTo>
                      <a:pt x="417" y="568"/>
                    </a:lnTo>
                    <a:lnTo>
                      <a:pt x="417" y="570"/>
                    </a:lnTo>
                    <a:lnTo>
                      <a:pt x="417" y="572"/>
                    </a:lnTo>
                    <a:lnTo>
                      <a:pt x="415" y="572"/>
                    </a:lnTo>
                    <a:lnTo>
                      <a:pt x="413" y="572"/>
                    </a:lnTo>
                    <a:lnTo>
                      <a:pt x="412" y="574"/>
                    </a:lnTo>
                    <a:lnTo>
                      <a:pt x="412" y="575"/>
                    </a:lnTo>
                    <a:lnTo>
                      <a:pt x="410" y="575"/>
                    </a:lnTo>
                    <a:lnTo>
                      <a:pt x="410" y="577"/>
                    </a:lnTo>
                    <a:lnTo>
                      <a:pt x="408" y="577"/>
                    </a:lnTo>
                    <a:lnTo>
                      <a:pt x="408" y="579"/>
                    </a:lnTo>
                    <a:lnTo>
                      <a:pt x="407" y="579"/>
                    </a:lnTo>
                    <a:lnTo>
                      <a:pt x="407" y="580"/>
                    </a:lnTo>
                    <a:lnTo>
                      <a:pt x="407" y="582"/>
                    </a:lnTo>
                    <a:lnTo>
                      <a:pt x="405" y="582"/>
                    </a:lnTo>
                    <a:lnTo>
                      <a:pt x="403" y="584"/>
                    </a:lnTo>
                    <a:lnTo>
                      <a:pt x="405" y="584"/>
                    </a:lnTo>
                    <a:lnTo>
                      <a:pt x="405" y="585"/>
                    </a:lnTo>
                    <a:lnTo>
                      <a:pt x="403" y="585"/>
                    </a:lnTo>
                    <a:lnTo>
                      <a:pt x="403" y="587"/>
                    </a:lnTo>
                    <a:lnTo>
                      <a:pt x="401" y="587"/>
                    </a:lnTo>
                    <a:lnTo>
                      <a:pt x="401" y="585"/>
                    </a:lnTo>
                    <a:lnTo>
                      <a:pt x="400" y="587"/>
                    </a:lnTo>
                    <a:lnTo>
                      <a:pt x="400" y="589"/>
                    </a:lnTo>
                    <a:lnTo>
                      <a:pt x="398" y="589"/>
                    </a:lnTo>
                    <a:lnTo>
                      <a:pt x="398" y="591"/>
                    </a:lnTo>
                    <a:lnTo>
                      <a:pt x="396" y="591"/>
                    </a:lnTo>
                    <a:lnTo>
                      <a:pt x="396" y="592"/>
                    </a:lnTo>
                    <a:lnTo>
                      <a:pt x="395" y="592"/>
                    </a:lnTo>
                    <a:lnTo>
                      <a:pt x="396" y="592"/>
                    </a:lnTo>
                    <a:lnTo>
                      <a:pt x="398" y="592"/>
                    </a:lnTo>
                    <a:lnTo>
                      <a:pt x="400" y="596"/>
                    </a:lnTo>
                    <a:lnTo>
                      <a:pt x="401" y="596"/>
                    </a:lnTo>
                    <a:lnTo>
                      <a:pt x="401" y="597"/>
                    </a:lnTo>
                    <a:lnTo>
                      <a:pt x="401" y="599"/>
                    </a:lnTo>
                    <a:lnTo>
                      <a:pt x="401" y="601"/>
                    </a:lnTo>
                    <a:lnTo>
                      <a:pt x="398" y="602"/>
                    </a:lnTo>
                    <a:lnTo>
                      <a:pt x="396" y="604"/>
                    </a:lnTo>
                    <a:lnTo>
                      <a:pt x="395" y="606"/>
                    </a:lnTo>
                    <a:lnTo>
                      <a:pt x="393" y="606"/>
                    </a:lnTo>
                    <a:lnTo>
                      <a:pt x="391" y="606"/>
                    </a:lnTo>
                    <a:lnTo>
                      <a:pt x="390" y="606"/>
                    </a:lnTo>
                    <a:lnTo>
                      <a:pt x="390" y="608"/>
                    </a:lnTo>
                    <a:lnTo>
                      <a:pt x="388" y="609"/>
                    </a:lnTo>
                    <a:lnTo>
                      <a:pt x="390" y="609"/>
                    </a:lnTo>
                    <a:lnTo>
                      <a:pt x="390" y="611"/>
                    </a:lnTo>
                    <a:lnTo>
                      <a:pt x="390" y="613"/>
                    </a:lnTo>
                    <a:lnTo>
                      <a:pt x="391" y="613"/>
                    </a:lnTo>
                    <a:lnTo>
                      <a:pt x="390" y="614"/>
                    </a:lnTo>
                    <a:lnTo>
                      <a:pt x="391" y="614"/>
                    </a:lnTo>
                    <a:lnTo>
                      <a:pt x="391" y="616"/>
                    </a:lnTo>
                    <a:lnTo>
                      <a:pt x="391" y="618"/>
                    </a:lnTo>
                    <a:lnTo>
                      <a:pt x="391" y="619"/>
                    </a:lnTo>
                    <a:lnTo>
                      <a:pt x="391" y="621"/>
                    </a:lnTo>
                    <a:lnTo>
                      <a:pt x="391" y="623"/>
                    </a:lnTo>
                    <a:lnTo>
                      <a:pt x="390" y="623"/>
                    </a:lnTo>
                    <a:lnTo>
                      <a:pt x="388" y="625"/>
                    </a:lnTo>
                    <a:lnTo>
                      <a:pt x="386" y="625"/>
                    </a:lnTo>
                    <a:lnTo>
                      <a:pt x="386" y="626"/>
                    </a:lnTo>
                    <a:lnTo>
                      <a:pt x="384" y="626"/>
                    </a:lnTo>
                    <a:lnTo>
                      <a:pt x="383" y="626"/>
                    </a:lnTo>
                    <a:lnTo>
                      <a:pt x="383" y="628"/>
                    </a:lnTo>
                    <a:lnTo>
                      <a:pt x="381" y="628"/>
                    </a:lnTo>
                    <a:lnTo>
                      <a:pt x="379" y="630"/>
                    </a:lnTo>
                    <a:lnTo>
                      <a:pt x="378" y="630"/>
                    </a:lnTo>
                    <a:lnTo>
                      <a:pt x="376" y="630"/>
                    </a:lnTo>
                    <a:lnTo>
                      <a:pt x="374" y="630"/>
                    </a:lnTo>
                    <a:lnTo>
                      <a:pt x="373" y="630"/>
                    </a:lnTo>
                    <a:lnTo>
                      <a:pt x="371" y="630"/>
                    </a:lnTo>
                    <a:lnTo>
                      <a:pt x="369" y="630"/>
                    </a:lnTo>
                    <a:lnTo>
                      <a:pt x="367" y="628"/>
                    </a:lnTo>
                    <a:lnTo>
                      <a:pt x="366" y="628"/>
                    </a:lnTo>
                    <a:lnTo>
                      <a:pt x="366" y="626"/>
                    </a:lnTo>
                    <a:lnTo>
                      <a:pt x="364" y="626"/>
                    </a:lnTo>
                    <a:lnTo>
                      <a:pt x="362" y="625"/>
                    </a:lnTo>
                    <a:lnTo>
                      <a:pt x="361" y="625"/>
                    </a:lnTo>
                    <a:lnTo>
                      <a:pt x="361" y="623"/>
                    </a:lnTo>
                    <a:lnTo>
                      <a:pt x="359" y="623"/>
                    </a:lnTo>
                    <a:lnTo>
                      <a:pt x="359" y="621"/>
                    </a:lnTo>
                    <a:lnTo>
                      <a:pt x="357" y="621"/>
                    </a:lnTo>
                    <a:lnTo>
                      <a:pt x="357" y="619"/>
                    </a:lnTo>
                    <a:lnTo>
                      <a:pt x="356" y="619"/>
                    </a:lnTo>
                    <a:lnTo>
                      <a:pt x="354" y="619"/>
                    </a:lnTo>
                    <a:lnTo>
                      <a:pt x="354" y="618"/>
                    </a:lnTo>
                    <a:lnTo>
                      <a:pt x="354" y="616"/>
                    </a:lnTo>
                    <a:lnTo>
                      <a:pt x="352" y="616"/>
                    </a:lnTo>
                    <a:lnTo>
                      <a:pt x="350" y="614"/>
                    </a:lnTo>
                    <a:lnTo>
                      <a:pt x="349" y="614"/>
                    </a:lnTo>
                    <a:lnTo>
                      <a:pt x="347" y="614"/>
                    </a:lnTo>
                    <a:lnTo>
                      <a:pt x="347" y="613"/>
                    </a:lnTo>
                    <a:lnTo>
                      <a:pt x="347" y="614"/>
                    </a:lnTo>
                    <a:lnTo>
                      <a:pt x="347" y="613"/>
                    </a:lnTo>
                    <a:lnTo>
                      <a:pt x="345" y="613"/>
                    </a:lnTo>
                    <a:lnTo>
                      <a:pt x="345" y="611"/>
                    </a:lnTo>
                    <a:lnTo>
                      <a:pt x="344" y="611"/>
                    </a:lnTo>
                    <a:lnTo>
                      <a:pt x="342" y="609"/>
                    </a:lnTo>
                    <a:lnTo>
                      <a:pt x="339" y="608"/>
                    </a:lnTo>
                    <a:lnTo>
                      <a:pt x="337" y="608"/>
                    </a:lnTo>
                    <a:lnTo>
                      <a:pt x="337" y="606"/>
                    </a:lnTo>
                    <a:lnTo>
                      <a:pt x="339" y="606"/>
                    </a:lnTo>
                    <a:lnTo>
                      <a:pt x="339" y="604"/>
                    </a:lnTo>
                    <a:lnTo>
                      <a:pt x="337" y="604"/>
                    </a:lnTo>
                    <a:lnTo>
                      <a:pt x="337" y="602"/>
                    </a:lnTo>
                    <a:lnTo>
                      <a:pt x="337" y="601"/>
                    </a:lnTo>
                    <a:lnTo>
                      <a:pt x="337" y="599"/>
                    </a:lnTo>
                    <a:lnTo>
                      <a:pt x="337" y="597"/>
                    </a:lnTo>
                    <a:lnTo>
                      <a:pt x="337" y="596"/>
                    </a:lnTo>
                    <a:lnTo>
                      <a:pt x="335" y="596"/>
                    </a:lnTo>
                    <a:lnTo>
                      <a:pt x="335" y="594"/>
                    </a:lnTo>
                    <a:lnTo>
                      <a:pt x="333" y="594"/>
                    </a:lnTo>
                    <a:lnTo>
                      <a:pt x="333" y="592"/>
                    </a:lnTo>
                    <a:lnTo>
                      <a:pt x="332" y="592"/>
                    </a:lnTo>
                    <a:lnTo>
                      <a:pt x="330" y="592"/>
                    </a:lnTo>
                    <a:lnTo>
                      <a:pt x="330" y="591"/>
                    </a:lnTo>
                    <a:lnTo>
                      <a:pt x="328" y="591"/>
                    </a:lnTo>
                    <a:lnTo>
                      <a:pt x="327" y="591"/>
                    </a:lnTo>
                    <a:lnTo>
                      <a:pt x="325" y="591"/>
                    </a:lnTo>
                    <a:lnTo>
                      <a:pt x="325" y="589"/>
                    </a:lnTo>
                    <a:lnTo>
                      <a:pt x="323" y="589"/>
                    </a:lnTo>
                    <a:lnTo>
                      <a:pt x="322" y="589"/>
                    </a:lnTo>
                    <a:lnTo>
                      <a:pt x="320" y="587"/>
                    </a:lnTo>
                    <a:lnTo>
                      <a:pt x="318" y="587"/>
                    </a:lnTo>
                    <a:lnTo>
                      <a:pt x="318" y="585"/>
                    </a:lnTo>
                    <a:lnTo>
                      <a:pt x="316" y="584"/>
                    </a:lnTo>
                    <a:lnTo>
                      <a:pt x="315" y="584"/>
                    </a:lnTo>
                    <a:lnTo>
                      <a:pt x="313" y="584"/>
                    </a:lnTo>
                    <a:lnTo>
                      <a:pt x="311" y="584"/>
                    </a:lnTo>
                    <a:lnTo>
                      <a:pt x="313" y="582"/>
                    </a:lnTo>
                    <a:lnTo>
                      <a:pt x="311" y="582"/>
                    </a:lnTo>
                    <a:lnTo>
                      <a:pt x="311" y="580"/>
                    </a:lnTo>
                    <a:lnTo>
                      <a:pt x="310" y="580"/>
                    </a:lnTo>
                    <a:lnTo>
                      <a:pt x="310" y="579"/>
                    </a:lnTo>
                    <a:lnTo>
                      <a:pt x="308" y="579"/>
                    </a:lnTo>
                    <a:lnTo>
                      <a:pt x="306" y="579"/>
                    </a:lnTo>
                    <a:lnTo>
                      <a:pt x="306" y="577"/>
                    </a:lnTo>
                    <a:lnTo>
                      <a:pt x="305" y="575"/>
                    </a:lnTo>
                    <a:lnTo>
                      <a:pt x="305" y="574"/>
                    </a:lnTo>
                    <a:lnTo>
                      <a:pt x="303" y="574"/>
                    </a:lnTo>
                    <a:lnTo>
                      <a:pt x="301" y="574"/>
                    </a:lnTo>
                    <a:lnTo>
                      <a:pt x="301" y="572"/>
                    </a:lnTo>
                    <a:lnTo>
                      <a:pt x="299" y="572"/>
                    </a:lnTo>
                    <a:lnTo>
                      <a:pt x="298" y="572"/>
                    </a:lnTo>
                    <a:lnTo>
                      <a:pt x="296" y="572"/>
                    </a:lnTo>
                    <a:lnTo>
                      <a:pt x="296" y="570"/>
                    </a:lnTo>
                    <a:lnTo>
                      <a:pt x="294" y="570"/>
                    </a:lnTo>
                    <a:lnTo>
                      <a:pt x="293" y="570"/>
                    </a:lnTo>
                    <a:lnTo>
                      <a:pt x="291" y="570"/>
                    </a:lnTo>
                    <a:lnTo>
                      <a:pt x="289" y="570"/>
                    </a:lnTo>
                    <a:lnTo>
                      <a:pt x="289" y="568"/>
                    </a:lnTo>
                    <a:lnTo>
                      <a:pt x="288" y="568"/>
                    </a:lnTo>
                    <a:lnTo>
                      <a:pt x="288" y="567"/>
                    </a:lnTo>
                    <a:lnTo>
                      <a:pt x="286" y="567"/>
                    </a:lnTo>
                    <a:lnTo>
                      <a:pt x="286" y="565"/>
                    </a:lnTo>
                    <a:lnTo>
                      <a:pt x="284" y="565"/>
                    </a:lnTo>
                    <a:lnTo>
                      <a:pt x="282" y="565"/>
                    </a:lnTo>
                    <a:lnTo>
                      <a:pt x="281" y="565"/>
                    </a:lnTo>
                    <a:lnTo>
                      <a:pt x="279" y="565"/>
                    </a:lnTo>
                    <a:lnTo>
                      <a:pt x="279" y="563"/>
                    </a:lnTo>
                    <a:lnTo>
                      <a:pt x="277" y="563"/>
                    </a:lnTo>
                    <a:lnTo>
                      <a:pt x="277" y="562"/>
                    </a:lnTo>
                    <a:lnTo>
                      <a:pt x="276" y="562"/>
                    </a:lnTo>
                    <a:lnTo>
                      <a:pt x="274" y="562"/>
                    </a:lnTo>
                    <a:lnTo>
                      <a:pt x="272" y="562"/>
                    </a:lnTo>
                    <a:lnTo>
                      <a:pt x="272" y="560"/>
                    </a:lnTo>
                    <a:lnTo>
                      <a:pt x="271" y="560"/>
                    </a:lnTo>
                    <a:lnTo>
                      <a:pt x="271" y="558"/>
                    </a:lnTo>
                    <a:lnTo>
                      <a:pt x="269" y="558"/>
                    </a:lnTo>
                    <a:lnTo>
                      <a:pt x="267" y="558"/>
                    </a:lnTo>
                    <a:lnTo>
                      <a:pt x="267" y="557"/>
                    </a:lnTo>
                    <a:lnTo>
                      <a:pt x="265" y="557"/>
                    </a:lnTo>
                    <a:lnTo>
                      <a:pt x="264" y="557"/>
                    </a:lnTo>
                    <a:lnTo>
                      <a:pt x="262" y="557"/>
                    </a:lnTo>
                    <a:lnTo>
                      <a:pt x="260" y="555"/>
                    </a:lnTo>
                    <a:lnTo>
                      <a:pt x="259" y="555"/>
                    </a:lnTo>
                    <a:lnTo>
                      <a:pt x="259" y="557"/>
                    </a:lnTo>
                    <a:lnTo>
                      <a:pt x="259" y="555"/>
                    </a:lnTo>
                    <a:lnTo>
                      <a:pt x="257" y="555"/>
                    </a:lnTo>
                    <a:lnTo>
                      <a:pt x="257" y="553"/>
                    </a:lnTo>
                    <a:lnTo>
                      <a:pt x="255" y="553"/>
                    </a:lnTo>
                    <a:lnTo>
                      <a:pt x="254" y="553"/>
                    </a:lnTo>
                    <a:lnTo>
                      <a:pt x="254" y="551"/>
                    </a:lnTo>
                    <a:lnTo>
                      <a:pt x="252" y="551"/>
                    </a:lnTo>
                    <a:lnTo>
                      <a:pt x="250" y="550"/>
                    </a:lnTo>
                    <a:lnTo>
                      <a:pt x="248" y="550"/>
                    </a:lnTo>
                    <a:lnTo>
                      <a:pt x="248" y="548"/>
                    </a:lnTo>
                    <a:lnTo>
                      <a:pt x="247" y="548"/>
                    </a:lnTo>
                    <a:lnTo>
                      <a:pt x="247" y="546"/>
                    </a:lnTo>
                    <a:lnTo>
                      <a:pt x="245" y="545"/>
                    </a:lnTo>
                    <a:lnTo>
                      <a:pt x="243" y="545"/>
                    </a:lnTo>
                    <a:lnTo>
                      <a:pt x="242" y="543"/>
                    </a:lnTo>
                    <a:lnTo>
                      <a:pt x="240" y="543"/>
                    </a:lnTo>
                    <a:lnTo>
                      <a:pt x="240" y="541"/>
                    </a:lnTo>
                    <a:lnTo>
                      <a:pt x="238" y="541"/>
                    </a:lnTo>
                    <a:lnTo>
                      <a:pt x="237" y="541"/>
                    </a:lnTo>
                    <a:lnTo>
                      <a:pt x="235" y="541"/>
                    </a:lnTo>
                    <a:lnTo>
                      <a:pt x="233" y="541"/>
                    </a:lnTo>
                    <a:lnTo>
                      <a:pt x="233" y="540"/>
                    </a:lnTo>
                    <a:lnTo>
                      <a:pt x="233" y="538"/>
                    </a:lnTo>
                    <a:lnTo>
                      <a:pt x="231" y="538"/>
                    </a:lnTo>
                    <a:lnTo>
                      <a:pt x="230" y="536"/>
                    </a:lnTo>
                    <a:lnTo>
                      <a:pt x="228" y="536"/>
                    </a:lnTo>
                    <a:lnTo>
                      <a:pt x="226" y="536"/>
                    </a:lnTo>
                    <a:lnTo>
                      <a:pt x="226" y="534"/>
                    </a:lnTo>
                    <a:lnTo>
                      <a:pt x="225" y="534"/>
                    </a:lnTo>
                    <a:lnTo>
                      <a:pt x="223" y="534"/>
                    </a:lnTo>
                    <a:lnTo>
                      <a:pt x="223" y="533"/>
                    </a:lnTo>
                    <a:lnTo>
                      <a:pt x="221" y="533"/>
                    </a:lnTo>
                    <a:lnTo>
                      <a:pt x="220" y="533"/>
                    </a:lnTo>
                    <a:lnTo>
                      <a:pt x="220" y="531"/>
                    </a:lnTo>
                    <a:lnTo>
                      <a:pt x="218" y="531"/>
                    </a:lnTo>
                    <a:lnTo>
                      <a:pt x="218" y="529"/>
                    </a:lnTo>
                    <a:lnTo>
                      <a:pt x="216" y="529"/>
                    </a:lnTo>
                    <a:lnTo>
                      <a:pt x="214" y="529"/>
                    </a:lnTo>
                    <a:lnTo>
                      <a:pt x="213" y="528"/>
                    </a:lnTo>
                    <a:lnTo>
                      <a:pt x="211" y="528"/>
                    </a:lnTo>
                    <a:lnTo>
                      <a:pt x="211" y="526"/>
                    </a:lnTo>
                    <a:lnTo>
                      <a:pt x="209" y="526"/>
                    </a:lnTo>
                    <a:lnTo>
                      <a:pt x="208" y="526"/>
                    </a:lnTo>
                    <a:lnTo>
                      <a:pt x="208" y="524"/>
                    </a:lnTo>
                    <a:lnTo>
                      <a:pt x="209" y="524"/>
                    </a:lnTo>
                    <a:lnTo>
                      <a:pt x="209" y="523"/>
                    </a:lnTo>
                    <a:lnTo>
                      <a:pt x="208" y="523"/>
                    </a:lnTo>
                    <a:lnTo>
                      <a:pt x="206" y="523"/>
                    </a:lnTo>
                    <a:lnTo>
                      <a:pt x="206" y="521"/>
                    </a:lnTo>
                    <a:lnTo>
                      <a:pt x="208" y="521"/>
                    </a:lnTo>
                    <a:lnTo>
                      <a:pt x="208" y="519"/>
                    </a:lnTo>
                    <a:lnTo>
                      <a:pt x="206" y="519"/>
                    </a:lnTo>
                    <a:lnTo>
                      <a:pt x="206" y="517"/>
                    </a:lnTo>
                    <a:lnTo>
                      <a:pt x="204" y="517"/>
                    </a:lnTo>
                    <a:lnTo>
                      <a:pt x="203" y="517"/>
                    </a:lnTo>
                    <a:lnTo>
                      <a:pt x="201" y="516"/>
                    </a:lnTo>
                    <a:lnTo>
                      <a:pt x="201" y="514"/>
                    </a:lnTo>
                    <a:lnTo>
                      <a:pt x="199" y="514"/>
                    </a:lnTo>
                    <a:lnTo>
                      <a:pt x="199" y="512"/>
                    </a:lnTo>
                    <a:lnTo>
                      <a:pt x="197" y="512"/>
                    </a:lnTo>
                    <a:lnTo>
                      <a:pt x="197" y="511"/>
                    </a:lnTo>
                    <a:lnTo>
                      <a:pt x="197" y="509"/>
                    </a:lnTo>
                    <a:lnTo>
                      <a:pt x="196" y="509"/>
                    </a:lnTo>
                    <a:lnTo>
                      <a:pt x="196" y="507"/>
                    </a:lnTo>
                    <a:lnTo>
                      <a:pt x="194" y="507"/>
                    </a:lnTo>
                    <a:lnTo>
                      <a:pt x="192" y="506"/>
                    </a:lnTo>
                    <a:lnTo>
                      <a:pt x="191" y="506"/>
                    </a:lnTo>
                    <a:lnTo>
                      <a:pt x="189" y="506"/>
                    </a:lnTo>
                    <a:lnTo>
                      <a:pt x="189" y="504"/>
                    </a:lnTo>
                    <a:lnTo>
                      <a:pt x="187" y="504"/>
                    </a:lnTo>
                    <a:lnTo>
                      <a:pt x="187" y="502"/>
                    </a:lnTo>
                    <a:lnTo>
                      <a:pt x="186" y="502"/>
                    </a:lnTo>
                    <a:lnTo>
                      <a:pt x="186" y="500"/>
                    </a:lnTo>
                    <a:lnTo>
                      <a:pt x="184" y="500"/>
                    </a:lnTo>
                    <a:lnTo>
                      <a:pt x="184" y="499"/>
                    </a:lnTo>
                    <a:lnTo>
                      <a:pt x="184" y="497"/>
                    </a:lnTo>
                    <a:lnTo>
                      <a:pt x="182" y="497"/>
                    </a:lnTo>
                    <a:lnTo>
                      <a:pt x="182" y="495"/>
                    </a:lnTo>
                    <a:lnTo>
                      <a:pt x="182" y="494"/>
                    </a:lnTo>
                    <a:lnTo>
                      <a:pt x="180" y="494"/>
                    </a:lnTo>
                    <a:lnTo>
                      <a:pt x="180" y="492"/>
                    </a:lnTo>
                    <a:lnTo>
                      <a:pt x="179" y="492"/>
                    </a:lnTo>
                    <a:lnTo>
                      <a:pt x="179" y="490"/>
                    </a:lnTo>
                    <a:lnTo>
                      <a:pt x="177" y="490"/>
                    </a:lnTo>
                    <a:lnTo>
                      <a:pt x="175" y="490"/>
                    </a:lnTo>
                    <a:lnTo>
                      <a:pt x="175" y="489"/>
                    </a:lnTo>
                    <a:lnTo>
                      <a:pt x="177" y="489"/>
                    </a:lnTo>
                    <a:lnTo>
                      <a:pt x="177" y="487"/>
                    </a:lnTo>
                    <a:lnTo>
                      <a:pt x="175" y="485"/>
                    </a:lnTo>
                    <a:lnTo>
                      <a:pt x="174" y="485"/>
                    </a:lnTo>
                    <a:lnTo>
                      <a:pt x="174" y="483"/>
                    </a:lnTo>
                    <a:lnTo>
                      <a:pt x="172" y="483"/>
                    </a:lnTo>
                    <a:lnTo>
                      <a:pt x="172" y="482"/>
                    </a:lnTo>
                    <a:lnTo>
                      <a:pt x="172" y="483"/>
                    </a:lnTo>
                    <a:lnTo>
                      <a:pt x="172" y="485"/>
                    </a:lnTo>
                    <a:lnTo>
                      <a:pt x="172" y="483"/>
                    </a:lnTo>
                    <a:lnTo>
                      <a:pt x="170" y="483"/>
                    </a:lnTo>
                    <a:lnTo>
                      <a:pt x="172" y="483"/>
                    </a:lnTo>
                    <a:lnTo>
                      <a:pt x="170" y="482"/>
                    </a:lnTo>
                    <a:lnTo>
                      <a:pt x="172" y="482"/>
                    </a:lnTo>
                    <a:lnTo>
                      <a:pt x="170" y="480"/>
                    </a:lnTo>
                    <a:lnTo>
                      <a:pt x="172" y="480"/>
                    </a:lnTo>
                    <a:lnTo>
                      <a:pt x="172" y="478"/>
                    </a:lnTo>
                    <a:lnTo>
                      <a:pt x="170" y="477"/>
                    </a:lnTo>
                    <a:lnTo>
                      <a:pt x="172" y="477"/>
                    </a:lnTo>
                    <a:lnTo>
                      <a:pt x="172" y="475"/>
                    </a:lnTo>
                    <a:lnTo>
                      <a:pt x="170" y="475"/>
                    </a:lnTo>
                    <a:lnTo>
                      <a:pt x="172" y="475"/>
                    </a:lnTo>
                    <a:lnTo>
                      <a:pt x="170" y="473"/>
                    </a:lnTo>
                    <a:lnTo>
                      <a:pt x="170" y="475"/>
                    </a:lnTo>
                    <a:lnTo>
                      <a:pt x="169" y="475"/>
                    </a:lnTo>
                    <a:lnTo>
                      <a:pt x="167" y="475"/>
                    </a:lnTo>
                    <a:lnTo>
                      <a:pt x="167" y="473"/>
                    </a:lnTo>
                    <a:lnTo>
                      <a:pt x="169" y="472"/>
                    </a:lnTo>
                    <a:lnTo>
                      <a:pt x="169" y="470"/>
                    </a:lnTo>
                    <a:lnTo>
                      <a:pt x="170" y="470"/>
                    </a:lnTo>
                    <a:lnTo>
                      <a:pt x="170" y="472"/>
                    </a:lnTo>
                    <a:lnTo>
                      <a:pt x="172" y="472"/>
                    </a:lnTo>
                    <a:lnTo>
                      <a:pt x="172" y="473"/>
                    </a:lnTo>
                    <a:lnTo>
                      <a:pt x="172" y="472"/>
                    </a:lnTo>
                    <a:lnTo>
                      <a:pt x="172" y="470"/>
                    </a:lnTo>
                    <a:lnTo>
                      <a:pt x="174" y="468"/>
                    </a:lnTo>
                    <a:lnTo>
                      <a:pt x="174" y="466"/>
                    </a:lnTo>
                    <a:lnTo>
                      <a:pt x="174" y="465"/>
                    </a:lnTo>
                    <a:lnTo>
                      <a:pt x="174" y="463"/>
                    </a:lnTo>
                    <a:lnTo>
                      <a:pt x="174" y="461"/>
                    </a:lnTo>
                    <a:lnTo>
                      <a:pt x="174" y="460"/>
                    </a:lnTo>
                    <a:lnTo>
                      <a:pt x="174" y="458"/>
                    </a:lnTo>
                    <a:lnTo>
                      <a:pt x="174" y="456"/>
                    </a:lnTo>
                    <a:lnTo>
                      <a:pt x="174" y="454"/>
                    </a:lnTo>
                    <a:lnTo>
                      <a:pt x="172" y="454"/>
                    </a:lnTo>
                    <a:lnTo>
                      <a:pt x="172" y="453"/>
                    </a:lnTo>
                    <a:lnTo>
                      <a:pt x="170" y="453"/>
                    </a:lnTo>
                    <a:lnTo>
                      <a:pt x="170" y="451"/>
                    </a:lnTo>
                    <a:lnTo>
                      <a:pt x="169" y="449"/>
                    </a:lnTo>
                    <a:lnTo>
                      <a:pt x="169" y="448"/>
                    </a:lnTo>
                    <a:lnTo>
                      <a:pt x="167" y="448"/>
                    </a:lnTo>
                    <a:lnTo>
                      <a:pt x="167" y="446"/>
                    </a:lnTo>
                    <a:lnTo>
                      <a:pt x="165" y="446"/>
                    </a:lnTo>
                    <a:lnTo>
                      <a:pt x="165" y="444"/>
                    </a:lnTo>
                    <a:lnTo>
                      <a:pt x="163" y="444"/>
                    </a:lnTo>
                    <a:lnTo>
                      <a:pt x="165" y="443"/>
                    </a:lnTo>
                    <a:lnTo>
                      <a:pt x="163" y="443"/>
                    </a:lnTo>
                    <a:lnTo>
                      <a:pt x="163" y="441"/>
                    </a:lnTo>
                    <a:lnTo>
                      <a:pt x="163" y="439"/>
                    </a:lnTo>
                    <a:lnTo>
                      <a:pt x="163" y="437"/>
                    </a:lnTo>
                    <a:lnTo>
                      <a:pt x="162" y="437"/>
                    </a:lnTo>
                    <a:lnTo>
                      <a:pt x="162" y="436"/>
                    </a:lnTo>
                    <a:lnTo>
                      <a:pt x="160" y="436"/>
                    </a:lnTo>
                    <a:lnTo>
                      <a:pt x="160" y="434"/>
                    </a:lnTo>
                    <a:lnTo>
                      <a:pt x="160" y="432"/>
                    </a:lnTo>
                    <a:lnTo>
                      <a:pt x="158" y="432"/>
                    </a:lnTo>
                    <a:lnTo>
                      <a:pt x="158" y="431"/>
                    </a:lnTo>
                    <a:lnTo>
                      <a:pt x="158" y="429"/>
                    </a:lnTo>
                    <a:lnTo>
                      <a:pt x="157" y="429"/>
                    </a:lnTo>
                    <a:lnTo>
                      <a:pt x="157" y="427"/>
                    </a:lnTo>
                    <a:lnTo>
                      <a:pt x="155" y="427"/>
                    </a:lnTo>
                    <a:lnTo>
                      <a:pt x="155" y="426"/>
                    </a:lnTo>
                    <a:lnTo>
                      <a:pt x="153" y="426"/>
                    </a:lnTo>
                    <a:lnTo>
                      <a:pt x="153" y="424"/>
                    </a:lnTo>
                    <a:lnTo>
                      <a:pt x="155" y="424"/>
                    </a:lnTo>
                    <a:lnTo>
                      <a:pt x="155" y="422"/>
                    </a:lnTo>
                    <a:lnTo>
                      <a:pt x="153" y="422"/>
                    </a:lnTo>
                    <a:lnTo>
                      <a:pt x="153" y="420"/>
                    </a:lnTo>
                    <a:lnTo>
                      <a:pt x="153" y="419"/>
                    </a:lnTo>
                    <a:lnTo>
                      <a:pt x="152" y="419"/>
                    </a:lnTo>
                    <a:lnTo>
                      <a:pt x="150" y="417"/>
                    </a:lnTo>
                    <a:lnTo>
                      <a:pt x="148" y="417"/>
                    </a:lnTo>
                    <a:lnTo>
                      <a:pt x="148" y="415"/>
                    </a:lnTo>
                    <a:lnTo>
                      <a:pt x="146" y="415"/>
                    </a:lnTo>
                    <a:lnTo>
                      <a:pt x="146" y="414"/>
                    </a:lnTo>
                    <a:lnTo>
                      <a:pt x="146" y="412"/>
                    </a:lnTo>
                    <a:lnTo>
                      <a:pt x="145" y="412"/>
                    </a:lnTo>
                    <a:lnTo>
                      <a:pt x="143" y="410"/>
                    </a:lnTo>
                    <a:lnTo>
                      <a:pt x="141" y="410"/>
                    </a:lnTo>
                    <a:lnTo>
                      <a:pt x="141" y="409"/>
                    </a:lnTo>
                    <a:lnTo>
                      <a:pt x="141" y="410"/>
                    </a:lnTo>
                    <a:lnTo>
                      <a:pt x="141" y="409"/>
                    </a:lnTo>
                    <a:lnTo>
                      <a:pt x="143" y="409"/>
                    </a:lnTo>
                    <a:lnTo>
                      <a:pt x="143" y="407"/>
                    </a:lnTo>
                    <a:lnTo>
                      <a:pt x="143" y="405"/>
                    </a:lnTo>
                    <a:lnTo>
                      <a:pt x="141" y="405"/>
                    </a:lnTo>
                    <a:lnTo>
                      <a:pt x="141" y="403"/>
                    </a:lnTo>
                    <a:lnTo>
                      <a:pt x="141" y="402"/>
                    </a:lnTo>
                    <a:lnTo>
                      <a:pt x="141" y="400"/>
                    </a:lnTo>
                    <a:lnTo>
                      <a:pt x="140" y="400"/>
                    </a:lnTo>
                    <a:lnTo>
                      <a:pt x="141" y="400"/>
                    </a:lnTo>
                    <a:lnTo>
                      <a:pt x="141" y="398"/>
                    </a:lnTo>
                    <a:lnTo>
                      <a:pt x="140" y="398"/>
                    </a:lnTo>
                    <a:lnTo>
                      <a:pt x="140" y="397"/>
                    </a:lnTo>
                    <a:lnTo>
                      <a:pt x="140" y="395"/>
                    </a:lnTo>
                    <a:lnTo>
                      <a:pt x="138" y="395"/>
                    </a:lnTo>
                    <a:lnTo>
                      <a:pt x="138" y="393"/>
                    </a:lnTo>
                    <a:lnTo>
                      <a:pt x="136" y="392"/>
                    </a:lnTo>
                    <a:lnTo>
                      <a:pt x="136" y="390"/>
                    </a:lnTo>
                    <a:lnTo>
                      <a:pt x="135" y="390"/>
                    </a:lnTo>
                    <a:lnTo>
                      <a:pt x="133" y="388"/>
                    </a:lnTo>
                    <a:lnTo>
                      <a:pt x="129" y="386"/>
                    </a:lnTo>
                    <a:lnTo>
                      <a:pt x="128" y="385"/>
                    </a:lnTo>
                    <a:lnTo>
                      <a:pt x="126" y="385"/>
                    </a:lnTo>
                    <a:lnTo>
                      <a:pt x="124" y="385"/>
                    </a:lnTo>
                    <a:lnTo>
                      <a:pt x="124" y="383"/>
                    </a:lnTo>
                    <a:lnTo>
                      <a:pt x="126" y="383"/>
                    </a:lnTo>
                    <a:lnTo>
                      <a:pt x="124" y="383"/>
                    </a:lnTo>
                    <a:lnTo>
                      <a:pt x="126" y="381"/>
                    </a:lnTo>
                    <a:lnTo>
                      <a:pt x="124" y="381"/>
                    </a:lnTo>
                    <a:lnTo>
                      <a:pt x="126" y="381"/>
                    </a:lnTo>
                    <a:lnTo>
                      <a:pt x="128" y="380"/>
                    </a:lnTo>
                    <a:lnTo>
                      <a:pt x="126" y="380"/>
                    </a:lnTo>
                    <a:lnTo>
                      <a:pt x="126" y="378"/>
                    </a:lnTo>
                    <a:lnTo>
                      <a:pt x="126" y="376"/>
                    </a:lnTo>
                    <a:lnTo>
                      <a:pt x="126" y="375"/>
                    </a:lnTo>
                    <a:lnTo>
                      <a:pt x="124" y="375"/>
                    </a:lnTo>
                    <a:lnTo>
                      <a:pt x="124" y="373"/>
                    </a:lnTo>
                    <a:lnTo>
                      <a:pt x="124" y="371"/>
                    </a:lnTo>
                    <a:lnTo>
                      <a:pt x="124" y="369"/>
                    </a:lnTo>
                    <a:lnTo>
                      <a:pt x="123" y="369"/>
                    </a:lnTo>
                    <a:lnTo>
                      <a:pt x="123" y="368"/>
                    </a:lnTo>
                    <a:lnTo>
                      <a:pt x="121" y="368"/>
                    </a:lnTo>
                    <a:lnTo>
                      <a:pt x="123" y="366"/>
                    </a:lnTo>
                    <a:lnTo>
                      <a:pt x="121" y="366"/>
                    </a:lnTo>
                    <a:lnTo>
                      <a:pt x="121" y="364"/>
                    </a:lnTo>
                    <a:lnTo>
                      <a:pt x="119" y="364"/>
                    </a:lnTo>
                    <a:lnTo>
                      <a:pt x="119" y="363"/>
                    </a:lnTo>
                    <a:lnTo>
                      <a:pt x="118" y="363"/>
                    </a:lnTo>
                    <a:lnTo>
                      <a:pt x="118" y="361"/>
                    </a:lnTo>
                    <a:lnTo>
                      <a:pt x="118" y="359"/>
                    </a:lnTo>
                    <a:lnTo>
                      <a:pt x="116" y="359"/>
                    </a:lnTo>
                    <a:lnTo>
                      <a:pt x="116" y="358"/>
                    </a:lnTo>
                    <a:lnTo>
                      <a:pt x="114" y="356"/>
                    </a:lnTo>
                    <a:lnTo>
                      <a:pt x="114" y="354"/>
                    </a:lnTo>
                    <a:lnTo>
                      <a:pt x="112" y="354"/>
                    </a:lnTo>
                    <a:lnTo>
                      <a:pt x="112" y="352"/>
                    </a:lnTo>
                    <a:lnTo>
                      <a:pt x="112" y="351"/>
                    </a:lnTo>
                    <a:lnTo>
                      <a:pt x="111" y="351"/>
                    </a:lnTo>
                    <a:lnTo>
                      <a:pt x="111" y="349"/>
                    </a:lnTo>
                    <a:lnTo>
                      <a:pt x="111" y="347"/>
                    </a:lnTo>
                    <a:lnTo>
                      <a:pt x="109" y="346"/>
                    </a:lnTo>
                    <a:lnTo>
                      <a:pt x="107" y="344"/>
                    </a:lnTo>
                    <a:lnTo>
                      <a:pt x="107" y="342"/>
                    </a:lnTo>
                    <a:lnTo>
                      <a:pt x="107" y="341"/>
                    </a:lnTo>
                    <a:lnTo>
                      <a:pt x="107" y="339"/>
                    </a:lnTo>
                    <a:lnTo>
                      <a:pt x="106" y="339"/>
                    </a:lnTo>
                    <a:lnTo>
                      <a:pt x="106" y="337"/>
                    </a:lnTo>
                    <a:lnTo>
                      <a:pt x="106" y="335"/>
                    </a:lnTo>
                    <a:lnTo>
                      <a:pt x="106" y="334"/>
                    </a:lnTo>
                    <a:lnTo>
                      <a:pt x="106" y="332"/>
                    </a:lnTo>
                    <a:lnTo>
                      <a:pt x="104" y="330"/>
                    </a:lnTo>
                    <a:lnTo>
                      <a:pt x="104" y="329"/>
                    </a:lnTo>
                    <a:lnTo>
                      <a:pt x="102" y="329"/>
                    </a:lnTo>
                    <a:lnTo>
                      <a:pt x="102" y="327"/>
                    </a:lnTo>
                    <a:lnTo>
                      <a:pt x="101" y="327"/>
                    </a:lnTo>
                    <a:lnTo>
                      <a:pt x="101" y="325"/>
                    </a:lnTo>
                    <a:lnTo>
                      <a:pt x="101" y="324"/>
                    </a:lnTo>
                    <a:lnTo>
                      <a:pt x="101" y="322"/>
                    </a:lnTo>
                    <a:lnTo>
                      <a:pt x="99" y="322"/>
                    </a:lnTo>
                    <a:lnTo>
                      <a:pt x="101" y="322"/>
                    </a:lnTo>
                    <a:lnTo>
                      <a:pt x="101" y="320"/>
                    </a:lnTo>
                    <a:lnTo>
                      <a:pt x="99" y="320"/>
                    </a:lnTo>
                    <a:lnTo>
                      <a:pt x="99" y="318"/>
                    </a:lnTo>
                    <a:lnTo>
                      <a:pt x="99" y="317"/>
                    </a:lnTo>
                    <a:lnTo>
                      <a:pt x="97" y="317"/>
                    </a:lnTo>
                    <a:lnTo>
                      <a:pt x="97" y="315"/>
                    </a:lnTo>
                    <a:lnTo>
                      <a:pt x="95" y="315"/>
                    </a:lnTo>
                    <a:lnTo>
                      <a:pt x="95" y="313"/>
                    </a:lnTo>
                    <a:lnTo>
                      <a:pt x="97" y="313"/>
                    </a:lnTo>
                    <a:lnTo>
                      <a:pt x="97" y="312"/>
                    </a:lnTo>
                    <a:lnTo>
                      <a:pt x="95" y="312"/>
                    </a:lnTo>
                    <a:lnTo>
                      <a:pt x="94" y="312"/>
                    </a:lnTo>
                    <a:lnTo>
                      <a:pt x="94" y="313"/>
                    </a:lnTo>
                    <a:lnTo>
                      <a:pt x="94" y="312"/>
                    </a:lnTo>
                    <a:lnTo>
                      <a:pt x="92" y="312"/>
                    </a:lnTo>
                    <a:lnTo>
                      <a:pt x="92" y="310"/>
                    </a:lnTo>
                    <a:lnTo>
                      <a:pt x="94" y="312"/>
                    </a:lnTo>
                    <a:lnTo>
                      <a:pt x="94" y="310"/>
                    </a:lnTo>
                    <a:lnTo>
                      <a:pt x="94" y="312"/>
                    </a:lnTo>
                    <a:lnTo>
                      <a:pt x="94" y="310"/>
                    </a:lnTo>
                    <a:lnTo>
                      <a:pt x="94" y="308"/>
                    </a:lnTo>
                    <a:lnTo>
                      <a:pt x="92" y="308"/>
                    </a:lnTo>
                    <a:lnTo>
                      <a:pt x="92" y="307"/>
                    </a:lnTo>
                    <a:lnTo>
                      <a:pt x="92" y="305"/>
                    </a:lnTo>
                    <a:lnTo>
                      <a:pt x="90" y="305"/>
                    </a:lnTo>
                    <a:lnTo>
                      <a:pt x="92" y="305"/>
                    </a:lnTo>
                    <a:lnTo>
                      <a:pt x="92" y="303"/>
                    </a:lnTo>
                    <a:lnTo>
                      <a:pt x="90" y="301"/>
                    </a:lnTo>
                    <a:lnTo>
                      <a:pt x="90" y="300"/>
                    </a:lnTo>
                    <a:lnTo>
                      <a:pt x="89" y="300"/>
                    </a:lnTo>
                    <a:lnTo>
                      <a:pt x="89" y="298"/>
                    </a:lnTo>
                    <a:lnTo>
                      <a:pt x="87" y="298"/>
                    </a:lnTo>
                    <a:lnTo>
                      <a:pt x="87" y="296"/>
                    </a:lnTo>
                    <a:lnTo>
                      <a:pt x="89" y="296"/>
                    </a:lnTo>
                    <a:lnTo>
                      <a:pt x="89" y="295"/>
                    </a:lnTo>
                    <a:lnTo>
                      <a:pt x="89" y="293"/>
                    </a:lnTo>
                    <a:lnTo>
                      <a:pt x="87" y="291"/>
                    </a:lnTo>
                    <a:lnTo>
                      <a:pt x="87" y="289"/>
                    </a:lnTo>
                    <a:lnTo>
                      <a:pt x="85" y="289"/>
                    </a:lnTo>
                    <a:lnTo>
                      <a:pt x="85" y="288"/>
                    </a:lnTo>
                    <a:lnTo>
                      <a:pt x="84" y="288"/>
                    </a:lnTo>
                    <a:lnTo>
                      <a:pt x="82" y="286"/>
                    </a:lnTo>
                    <a:lnTo>
                      <a:pt x="84" y="284"/>
                    </a:lnTo>
                    <a:lnTo>
                      <a:pt x="84" y="283"/>
                    </a:lnTo>
                    <a:lnTo>
                      <a:pt x="82" y="283"/>
                    </a:lnTo>
                    <a:lnTo>
                      <a:pt x="82" y="281"/>
                    </a:lnTo>
                    <a:lnTo>
                      <a:pt x="80" y="281"/>
                    </a:lnTo>
                    <a:lnTo>
                      <a:pt x="80" y="279"/>
                    </a:lnTo>
                    <a:lnTo>
                      <a:pt x="80" y="278"/>
                    </a:lnTo>
                    <a:lnTo>
                      <a:pt x="78" y="278"/>
                    </a:lnTo>
                    <a:lnTo>
                      <a:pt x="78" y="276"/>
                    </a:lnTo>
                    <a:lnTo>
                      <a:pt x="77" y="276"/>
                    </a:lnTo>
                    <a:lnTo>
                      <a:pt x="77" y="274"/>
                    </a:lnTo>
                    <a:lnTo>
                      <a:pt x="75" y="274"/>
                    </a:lnTo>
                    <a:lnTo>
                      <a:pt x="75" y="272"/>
                    </a:lnTo>
                    <a:lnTo>
                      <a:pt x="73" y="271"/>
                    </a:lnTo>
                    <a:lnTo>
                      <a:pt x="72" y="271"/>
                    </a:lnTo>
                    <a:lnTo>
                      <a:pt x="70" y="269"/>
                    </a:lnTo>
                    <a:lnTo>
                      <a:pt x="68" y="267"/>
                    </a:lnTo>
                    <a:lnTo>
                      <a:pt x="67" y="266"/>
                    </a:lnTo>
                    <a:lnTo>
                      <a:pt x="67" y="264"/>
                    </a:lnTo>
                    <a:lnTo>
                      <a:pt x="65" y="262"/>
                    </a:lnTo>
                    <a:lnTo>
                      <a:pt x="63" y="261"/>
                    </a:lnTo>
                    <a:lnTo>
                      <a:pt x="65" y="261"/>
                    </a:lnTo>
                    <a:lnTo>
                      <a:pt x="65" y="259"/>
                    </a:lnTo>
                    <a:lnTo>
                      <a:pt x="63" y="257"/>
                    </a:lnTo>
                    <a:lnTo>
                      <a:pt x="63" y="255"/>
                    </a:lnTo>
                    <a:lnTo>
                      <a:pt x="61" y="255"/>
                    </a:lnTo>
                    <a:lnTo>
                      <a:pt x="61" y="254"/>
                    </a:lnTo>
                    <a:lnTo>
                      <a:pt x="60" y="254"/>
                    </a:lnTo>
                    <a:lnTo>
                      <a:pt x="60" y="252"/>
                    </a:lnTo>
                    <a:lnTo>
                      <a:pt x="60" y="250"/>
                    </a:lnTo>
                    <a:lnTo>
                      <a:pt x="60" y="249"/>
                    </a:lnTo>
                    <a:lnTo>
                      <a:pt x="60" y="247"/>
                    </a:lnTo>
                    <a:lnTo>
                      <a:pt x="58" y="245"/>
                    </a:lnTo>
                    <a:lnTo>
                      <a:pt x="56" y="244"/>
                    </a:lnTo>
                    <a:lnTo>
                      <a:pt x="56" y="242"/>
                    </a:lnTo>
                    <a:lnTo>
                      <a:pt x="56" y="240"/>
                    </a:lnTo>
                    <a:lnTo>
                      <a:pt x="55" y="240"/>
                    </a:lnTo>
                    <a:lnTo>
                      <a:pt x="55" y="238"/>
                    </a:lnTo>
                    <a:lnTo>
                      <a:pt x="53" y="237"/>
                    </a:lnTo>
                    <a:lnTo>
                      <a:pt x="51" y="235"/>
                    </a:lnTo>
                    <a:lnTo>
                      <a:pt x="50" y="235"/>
                    </a:lnTo>
                    <a:lnTo>
                      <a:pt x="50" y="233"/>
                    </a:lnTo>
                    <a:lnTo>
                      <a:pt x="48" y="233"/>
                    </a:lnTo>
                    <a:lnTo>
                      <a:pt x="48" y="232"/>
                    </a:lnTo>
                    <a:lnTo>
                      <a:pt x="48" y="230"/>
                    </a:lnTo>
                    <a:lnTo>
                      <a:pt x="46" y="230"/>
                    </a:lnTo>
                    <a:lnTo>
                      <a:pt x="46" y="228"/>
                    </a:lnTo>
                    <a:lnTo>
                      <a:pt x="44" y="227"/>
                    </a:lnTo>
                    <a:lnTo>
                      <a:pt x="43" y="227"/>
                    </a:lnTo>
                    <a:lnTo>
                      <a:pt x="41" y="225"/>
                    </a:lnTo>
                    <a:lnTo>
                      <a:pt x="41" y="223"/>
                    </a:lnTo>
                    <a:lnTo>
                      <a:pt x="39" y="223"/>
                    </a:lnTo>
                    <a:lnTo>
                      <a:pt x="38" y="223"/>
                    </a:lnTo>
                    <a:lnTo>
                      <a:pt x="38" y="221"/>
                    </a:lnTo>
                    <a:lnTo>
                      <a:pt x="36" y="221"/>
                    </a:lnTo>
                    <a:lnTo>
                      <a:pt x="34" y="220"/>
                    </a:lnTo>
                    <a:lnTo>
                      <a:pt x="33" y="220"/>
                    </a:lnTo>
                    <a:lnTo>
                      <a:pt x="31" y="218"/>
                    </a:lnTo>
                    <a:lnTo>
                      <a:pt x="29" y="218"/>
                    </a:lnTo>
                    <a:lnTo>
                      <a:pt x="28" y="216"/>
                    </a:lnTo>
                    <a:lnTo>
                      <a:pt x="26" y="216"/>
                    </a:lnTo>
                    <a:lnTo>
                      <a:pt x="24" y="216"/>
                    </a:lnTo>
                    <a:lnTo>
                      <a:pt x="24" y="215"/>
                    </a:lnTo>
                    <a:lnTo>
                      <a:pt x="22" y="215"/>
                    </a:lnTo>
                    <a:lnTo>
                      <a:pt x="21" y="213"/>
                    </a:lnTo>
                    <a:lnTo>
                      <a:pt x="19" y="213"/>
                    </a:lnTo>
                    <a:lnTo>
                      <a:pt x="17" y="211"/>
                    </a:lnTo>
                    <a:lnTo>
                      <a:pt x="16" y="210"/>
                    </a:lnTo>
                    <a:lnTo>
                      <a:pt x="14" y="210"/>
                    </a:lnTo>
                    <a:lnTo>
                      <a:pt x="14" y="208"/>
                    </a:lnTo>
                    <a:lnTo>
                      <a:pt x="12" y="208"/>
                    </a:lnTo>
                    <a:lnTo>
                      <a:pt x="11" y="206"/>
                    </a:lnTo>
                    <a:lnTo>
                      <a:pt x="9" y="206"/>
                    </a:lnTo>
                    <a:lnTo>
                      <a:pt x="9" y="204"/>
                    </a:lnTo>
                    <a:lnTo>
                      <a:pt x="7" y="204"/>
                    </a:lnTo>
                    <a:lnTo>
                      <a:pt x="7" y="203"/>
                    </a:lnTo>
                    <a:lnTo>
                      <a:pt x="7" y="201"/>
                    </a:lnTo>
                    <a:lnTo>
                      <a:pt x="7" y="199"/>
                    </a:lnTo>
                    <a:lnTo>
                      <a:pt x="7" y="198"/>
                    </a:lnTo>
                    <a:lnTo>
                      <a:pt x="9" y="198"/>
                    </a:lnTo>
                    <a:lnTo>
                      <a:pt x="9" y="196"/>
                    </a:lnTo>
                    <a:lnTo>
                      <a:pt x="11" y="196"/>
                    </a:lnTo>
                    <a:lnTo>
                      <a:pt x="11" y="198"/>
                    </a:lnTo>
                    <a:lnTo>
                      <a:pt x="12" y="198"/>
                    </a:lnTo>
                    <a:lnTo>
                      <a:pt x="14" y="198"/>
                    </a:lnTo>
                    <a:lnTo>
                      <a:pt x="16" y="198"/>
                    </a:lnTo>
                    <a:lnTo>
                      <a:pt x="16" y="196"/>
                    </a:lnTo>
                    <a:lnTo>
                      <a:pt x="17" y="194"/>
                    </a:lnTo>
                    <a:lnTo>
                      <a:pt x="17" y="193"/>
                    </a:lnTo>
                    <a:lnTo>
                      <a:pt x="17" y="191"/>
                    </a:lnTo>
                    <a:lnTo>
                      <a:pt x="17" y="189"/>
                    </a:lnTo>
                    <a:lnTo>
                      <a:pt x="16" y="189"/>
                    </a:lnTo>
                    <a:lnTo>
                      <a:pt x="16" y="187"/>
                    </a:lnTo>
                    <a:lnTo>
                      <a:pt x="16" y="186"/>
                    </a:lnTo>
                    <a:lnTo>
                      <a:pt x="14" y="184"/>
                    </a:lnTo>
                    <a:lnTo>
                      <a:pt x="12" y="182"/>
                    </a:lnTo>
                    <a:lnTo>
                      <a:pt x="11" y="181"/>
                    </a:lnTo>
                    <a:lnTo>
                      <a:pt x="11" y="179"/>
                    </a:lnTo>
                    <a:lnTo>
                      <a:pt x="9" y="179"/>
                    </a:lnTo>
                    <a:lnTo>
                      <a:pt x="7" y="179"/>
                    </a:lnTo>
                    <a:lnTo>
                      <a:pt x="7" y="177"/>
                    </a:lnTo>
                    <a:lnTo>
                      <a:pt x="5" y="177"/>
                    </a:lnTo>
                    <a:lnTo>
                      <a:pt x="5" y="176"/>
                    </a:lnTo>
                    <a:lnTo>
                      <a:pt x="7" y="176"/>
                    </a:lnTo>
                    <a:lnTo>
                      <a:pt x="7" y="174"/>
                    </a:lnTo>
                    <a:lnTo>
                      <a:pt x="5" y="174"/>
                    </a:lnTo>
                    <a:lnTo>
                      <a:pt x="7" y="174"/>
                    </a:lnTo>
                    <a:lnTo>
                      <a:pt x="7" y="172"/>
                    </a:lnTo>
                    <a:lnTo>
                      <a:pt x="5" y="172"/>
                    </a:lnTo>
                    <a:lnTo>
                      <a:pt x="7" y="172"/>
                    </a:lnTo>
                    <a:lnTo>
                      <a:pt x="9" y="172"/>
                    </a:lnTo>
                    <a:lnTo>
                      <a:pt x="11" y="170"/>
                    </a:lnTo>
                    <a:lnTo>
                      <a:pt x="11" y="169"/>
                    </a:lnTo>
                    <a:lnTo>
                      <a:pt x="9" y="169"/>
                    </a:lnTo>
                    <a:lnTo>
                      <a:pt x="9" y="167"/>
                    </a:lnTo>
                    <a:lnTo>
                      <a:pt x="7" y="165"/>
                    </a:lnTo>
                    <a:lnTo>
                      <a:pt x="5" y="164"/>
                    </a:lnTo>
                    <a:lnTo>
                      <a:pt x="5" y="162"/>
                    </a:lnTo>
                    <a:lnTo>
                      <a:pt x="4" y="162"/>
                    </a:lnTo>
                    <a:lnTo>
                      <a:pt x="2" y="159"/>
                    </a:lnTo>
                    <a:lnTo>
                      <a:pt x="0" y="159"/>
                    </a:lnTo>
                    <a:lnTo>
                      <a:pt x="2" y="157"/>
                    </a:lnTo>
                    <a:lnTo>
                      <a:pt x="2" y="155"/>
                    </a:lnTo>
                    <a:lnTo>
                      <a:pt x="2" y="153"/>
                    </a:lnTo>
                    <a:lnTo>
                      <a:pt x="2" y="152"/>
                    </a:lnTo>
                    <a:lnTo>
                      <a:pt x="2" y="150"/>
                    </a:lnTo>
                    <a:lnTo>
                      <a:pt x="4" y="150"/>
                    </a:lnTo>
                    <a:lnTo>
                      <a:pt x="4" y="148"/>
                    </a:lnTo>
                    <a:lnTo>
                      <a:pt x="4" y="147"/>
                    </a:lnTo>
                    <a:lnTo>
                      <a:pt x="4" y="145"/>
                    </a:lnTo>
                    <a:lnTo>
                      <a:pt x="4" y="143"/>
                    </a:lnTo>
                    <a:lnTo>
                      <a:pt x="5" y="143"/>
                    </a:lnTo>
                    <a:lnTo>
                      <a:pt x="7" y="141"/>
                    </a:lnTo>
                    <a:lnTo>
                      <a:pt x="9" y="140"/>
                    </a:lnTo>
                    <a:lnTo>
                      <a:pt x="9" y="138"/>
                    </a:lnTo>
                    <a:lnTo>
                      <a:pt x="11" y="138"/>
                    </a:lnTo>
                    <a:lnTo>
                      <a:pt x="11" y="136"/>
                    </a:lnTo>
                    <a:lnTo>
                      <a:pt x="12" y="136"/>
                    </a:lnTo>
                    <a:lnTo>
                      <a:pt x="12" y="135"/>
                    </a:lnTo>
                    <a:lnTo>
                      <a:pt x="14" y="133"/>
                    </a:lnTo>
                    <a:lnTo>
                      <a:pt x="16" y="131"/>
                    </a:lnTo>
                    <a:lnTo>
                      <a:pt x="17" y="131"/>
                    </a:lnTo>
                    <a:lnTo>
                      <a:pt x="17" y="130"/>
                    </a:lnTo>
                    <a:lnTo>
                      <a:pt x="19" y="128"/>
                    </a:lnTo>
                    <a:lnTo>
                      <a:pt x="19" y="126"/>
                    </a:lnTo>
                    <a:lnTo>
                      <a:pt x="21" y="126"/>
                    </a:lnTo>
                    <a:lnTo>
                      <a:pt x="21" y="124"/>
                    </a:lnTo>
                    <a:lnTo>
                      <a:pt x="22" y="124"/>
                    </a:lnTo>
                    <a:lnTo>
                      <a:pt x="24" y="124"/>
                    </a:lnTo>
                    <a:lnTo>
                      <a:pt x="24" y="123"/>
                    </a:lnTo>
                    <a:lnTo>
                      <a:pt x="26" y="123"/>
                    </a:lnTo>
                    <a:lnTo>
                      <a:pt x="28" y="121"/>
                    </a:lnTo>
                    <a:lnTo>
                      <a:pt x="28" y="119"/>
                    </a:lnTo>
                    <a:lnTo>
                      <a:pt x="29" y="119"/>
                    </a:lnTo>
                    <a:lnTo>
                      <a:pt x="29" y="118"/>
                    </a:lnTo>
                    <a:lnTo>
                      <a:pt x="31" y="118"/>
                    </a:lnTo>
                    <a:lnTo>
                      <a:pt x="33" y="118"/>
                    </a:lnTo>
                    <a:lnTo>
                      <a:pt x="31" y="119"/>
                    </a:lnTo>
                    <a:lnTo>
                      <a:pt x="33" y="118"/>
                    </a:lnTo>
                    <a:lnTo>
                      <a:pt x="34" y="118"/>
                    </a:lnTo>
                    <a:lnTo>
                      <a:pt x="34" y="116"/>
                    </a:lnTo>
                    <a:lnTo>
                      <a:pt x="36" y="114"/>
                    </a:lnTo>
                    <a:lnTo>
                      <a:pt x="36" y="116"/>
                    </a:lnTo>
                    <a:lnTo>
                      <a:pt x="38" y="116"/>
                    </a:lnTo>
                    <a:lnTo>
                      <a:pt x="38" y="118"/>
                    </a:lnTo>
                    <a:lnTo>
                      <a:pt x="38" y="119"/>
                    </a:lnTo>
                    <a:lnTo>
                      <a:pt x="39" y="119"/>
                    </a:lnTo>
                    <a:lnTo>
                      <a:pt x="38" y="121"/>
                    </a:lnTo>
                    <a:lnTo>
                      <a:pt x="39" y="121"/>
                    </a:lnTo>
                    <a:lnTo>
                      <a:pt x="39" y="123"/>
                    </a:lnTo>
                    <a:lnTo>
                      <a:pt x="39" y="124"/>
                    </a:lnTo>
                    <a:lnTo>
                      <a:pt x="39" y="126"/>
                    </a:lnTo>
                    <a:lnTo>
                      <a:pt x="39" y="128"/>
                    </a:lnTo>
                    <a:lnTo>
                      <a:pt x="41" y="128"/>
                    </a:lnTo>
                    <a:lnTo>
                      <a:pt x="41" y="130"/>
                    </a:lnTo>
                    <a:lnTo>
                      <a:pt x="41" y="131"/>
                    </a:lnTo>
                    <a:lnTo>
                      <a:pt x="39" y="133"/>
                    </a:lnTo>
                    <a:lnTo>
                      <a:pt x="38" y="133"/>
                    </a:lnTo>
                    <a:lnTo>
                      <a:pt x="38" y="135"/>
                    </a:lnTo>
                    <a:lnTo>
                      <a:pt x="36" y="135"/>
                    </a:lnTo>
                    <a:lnTo>
                      <a:pt x="36" y="136"/>
                    </a:lnTo>
                    <a:lnTo>
                      <a:pt x="34" y="135"/>
                    </a:lnTo>
                    <a:lnTo>
                      <a:pt x="33" y="135"/>
                    </a:lnTo>
                    <a:lnTo>
                      <a:pt x="31" y="135"/>
                    </a:lnTo>
                    <a:lnTo>
                      <a:pt x="31" y="136"/>
                    </a:lnTo>
                    <a:lnTo>
                      <a:pt x="29" y="136"/>
                    </a:lnTo>
                    <a:lnTo>
                      <a:pt x="29" y="138"/>
                    </a:lnTo>
                    <a:lnTo>
                      <a:pt x="31" y="138"/>
                    </a:lnTo>
                    <a:lnTo>
                      <a:pt x="29" y="140"/>
                    </a:lnTo>
                    <a:lnTo>
                      <a:pt x="31" y="140"/>
                    </a:lnTo>
                    <a:lnTo>
                      <a:pt x="31" y="141"/>
                    </a:lnTo>
                    <a:lnTo>
                      <a:pt x="33" y="143"/>
                    </a:lnTo>
                    <a:lnTo>
                      <a:pt x="33" y="141"/>
                    </a:lnTo>
                    <a:lnTo>
                      <a:pt x="34" y="143"/>
                    </a:lnTo>
                    <a:lnTo>
                      <a:pt x="34" y="141"/>
                    </a:lnTo>
                    <a:lnTo>
                      <a:pt x="36" y="141"/>
                    </a:lnTo>
                    <a:lnTo>
                      <a:pt x="34" y="141"/>
                    </a:lnTo>
                    <a:lnTo>
                      <a:pt x="34" y="143"/>
                    </a:lnTo>
                    <a:lnTo>
                      <a:pt x="33" y="145"/>
                    </a:lnTo>
                    <a:lnTo>
                      <a:pt x="33" y="147"/>
                    </a:lnTo>
                    <a:lnTo>
                      <a:pt x="31" y="147"/>
                    </a:lnTo>
                    <a:lnTo>
                      <a:pt x="31" y="148"/>
                    </a:lnTo>
                    <a:lnTo>
                      <a:pt x="31" y="150"/>
                    </a:lnTo>
                    <a:lnTo>
                      <a:pt x="31" y="152"/>
                    </a:lnTo>
                    <a:lnTo>
                      <a:pt x="31" y="150"/>
                    </a:lnTo>
                    <a:lnTo>
                      <a:pt x="33" y="152"/>
                    </a:lnTo>
                    <a:lnTo>
                      <a:pt x="34" y="152"/>
                    </a:lnTo>
                    <a:lnTo>
                      <a:pt x="34" y="150"/>
                    </a:lnTo>
                    <a:lnTo>
                      <a:pt x="36" y="150"/>
                    </a:lnTo>
                    <a:lnTo>
                      <a:pt x="36" y="148"/>
                    </a:lnTo>
                    <a:lnTo>
                      <a:pt x="38" y="148"/>
                    </a:lnTo>
                    <a:lnTo>
                      <a:pt x="38" y="147"/>
                    </a:lnTo>
                    <a:lnTo>
                      <a:pt x="39" y="147"/>
                    </a:lnTo>
                    <a:lnTo>
                      <a:pt x="39" y="145"/>
                    </a:lnTo>
                    <a:lnTo>
                      <a:pt x="41" y="145"/>
                    </a:lnTo>
                    <a:lnTo>
                      <a:pt x="43" y="145"/>
                    </a:lnTo>
                    <a:lnTo>
                      <a:pt x="44" y="145"/>
                    </a:lnTo>
                    <a:lnTo>
                      <a:pt x="44" y="147"/>
                    </a:lnTo>
                    <a:lnTo>
                      <a:pt x="46" y="148"/>
                    </a:lnTo>
                    <a:lnTo>
                      <a:pt x="48" y="148"/>
                    </a:lnTo>
                    <a:lnTo>
                      <a:pt x="50" y="148"/>
                    </a:lnTo>
                    <a:lnTo>
                      <a:pt x="51" y="150"/>
                    </a:lnTo>
                    <a:lnTo>
                      <a:pt x="51" y="152"/>
                    </a:lnTo>
                    <a:lnTo>
                      <a:pt x="53" y="152"/>
                    </a:lnTo>
                    <a:lnTo>
                      <a:pt x="55" y="152"/>
                    </a:lnTo>
                    <a:lnTo>
                      <a:pt x="56" y="152"/>
                    </a:lnTo>
                    <a:lnTo>
                      <a:pt x="56" y="150"/>
                    </a:lnTo>
                    <a:lnTo>
                      <a:pt x="58" y="150"/>
                    </a:lnTo>
                    <a:lnTo>
                      <a:pt x="60" y="150"/>
                    </a:lnTo>
                    <a:lnTo>
                      <a:pt x="60" y="152"/>
                    </a:lnTo>
                    <a:lnTo>
                      <a:pt x="61" y="152"/>
                    </a:lnTo>
                    <a:lnTo>
                      <a:pt x="61" y="153"/>
                    </a:lnTo>
                    <a:lnTo>
                      <a:pt x="61" y="152"/>
                    </a:lnTo>
                    <a:lnTo>
                      <a:pt x="63" y="153"/>
                    </a:lnTo>
                    <a:lnTo>
                      <a:pt x="63" y="155"/>
                    </a:lnTo>
                    <a:lnTo>
                      <a:pt x="63" y="157"/>
                    </a:lnTo>
                    <a:lnTo>
                      <a:pt x="65" y="159"/>
                    </a:lnTo>
                    <a:lnTo>
                      <a:pt x="65" y="160"/>
                    </a:lnTo>
                    <a:lnTo>
                      <a:pt x="65" y="162"/>
                    </a:lnTo>
                    <a:lnTo>
                      <a:pt x="67" y="164"/>
                    </a:lnTo>
                    <a:lnTo>
                      <a:pt x="68" y="165"/>
                    </a:lnTo>
                    <a:lnTo>
                      <a:pt x="70" y="165"/>
                    </a:lnTo>
                    <a:lnTo>
                      <a:pt x="70" y="167"/>
                    </a:lnTo>
                    <a:lnTo>
                      <a:pt x="72" y="167"/>
                    </a:lnTo>
                    <a:lnTo>
                      <a:pt x="73" y="167"/>
                    </a:lnTo>
                    <a:lnTo>
                      <a:pt x="75" y="167"/>
                    </a:lnTo>
                    <a:lnTo>
                      <a:pt x="75" y="169"/>
                    </a:lnTo>
                    <a:lnTo>
                      <a:pt x="77" y="169"/>
                    </a:lnTo>
                    <a:lnTo>
                      <a:pt x="78" y="169"/>
                    </a:lnTo>
                    <a:lnTo>
                      <a:pt x="80" y="169"/>
                    </a:lnTo>
                    <a:lnTo>
                      <a:pt x="80" y="167"/>
                    </a:lnTo>
                    <a:lnTo>
                      <a:pt x="80" y="165"/>
                    </a:lnTo>
                    <a:lnTo>
                      <a:pt x="82" y="165"/>
                    </a:lnTo>
                    <a:lnTo>
                      <a:pt x="84" y="165"/>
                    </a:lnTo>
                    <a:lnTo>
                      <a:pt x="82" y="164"/>
                    </a:lnTo>
                    <a:lnTo>
                      <a:pt x="84" y="164"/>
                    </a:lnTo>
                    <a:lnTo>
                      <a:pt x="84" y="162"/>
                    </a:lnTo>
                    <a:lnTo>
                      <a:pt x="82" y="162"/>
                    </a:lnTo>
                    <a:lnTo>
                      <a:pt x="84" y="162"/>
                    </a:lnTo>
                    <a:lnTo>
                      <a:pt x="84" y="160"/>
                    </a:lnTo>
                    <a:lnTo>
                      <a:pt x="84" y="159"/>
                    </a:lnTo>
                    <a:lnTo>
                      <a:pt x="85" y="157"/>
                    </a:lnTo>
                    <a:lnTo>
                      <a:pt x="87" y="157"/>
                    </a:lnTo>
                    <a:lnTo>
                      <a:pt x="89" y="157"/>
                    </a:lnTo>
                    <a:lnTo>
                      <a:pt x="90" y="155"/>
                    </a:lnTo>
                    <a:lnTo>
                      <a:pt x="90" y="153"/>
                    </a:lnTo>
                    <a:lnTo>
                      <a:pt x="92" y="152"/>
                    </a:lnTo>
                    <a:lnTo>
                      <a:pt x="92" y="150"/>
                    </a:lnTo>
                    <a:lnTo>
                      <a:pt x="94" y="150"/>
                    </a:lnTo>
                    <a:lnTo>
                      <a:pt x="92" y="148"/>
                    </a:lnTo>
                    <a:lnTo>
                      <a:pt x="92" y="147"/>
                    </a:lnTo>
                    <a:lnTo>
                      <a:pt x="92" y="145"/>
                    </a:lnTo>
                    <a:lnTo>
                      <a:pt x="94" y="143"/>
                    </a:lnTo>
                    <a:lnTo>
                      <a:pt x="92" y="143"/>
                    </a:lnTo>
                    <a:lnTo>
                      <a:pt x="92" y="141"/>
                    </a:lnTo>
                    <a:lnTo>
                      <a:pt x="94" y="141"/>
                    </a:lnTo>
                    <a:lnTo>
                      <a:pt x="94" y="140"/>
                    </a:lnTo>
                    <a:lnTo>
                      <a:pt x="94" y="138"/>
                    </a:lnTo>
                    <a:lnTo>
                      <a:pt x="95" y="138"/>
                    </a:lnTo>
                    <a:lnTo>
                      <a:pt x="95" y="136"/>
                    </a:lnTo>
                    <a:lnTo>
                      <a:pt x="94" y="136"/>
                    </a:lnTo>
                    <a:lnTo>
                      <a:pt x="94" y="135"/>
                    </a:lnTo>
                    <a:lnTo>
                      <a:pt x="95" y="135"/>
                    </a:lnTo>
                    <a:lnTo>
                      <a:pt x="95" y="133"/>
                    </a:lnTo>
                    <a:lnTo>
                      <a:pt x="97" y="133"/>
                    </a:lnTo>
                    <a:lnTo>
                      <a:pt x="97" y="131"/>
                    </a:lnTo>
                    <a:lnTo>
                      <a:pt x="97" y="130"/>
                    </a:lnTo>
                    <a:lnTo>
                      <a:pt x="99" y="130"/>
                    </a:lnTo>
                    <a:lnTo>
                      <a:pt x="99" y="128"/>
                    </a:lnTo>
                    <a:lnTo>
                      <a:pt x="99" y="126"/>
                    </a:lnTo>
                    <a:lnTo>
                      <a:pt x="99" y="124"/>
                    </a:lnTo>
                    <a:lnTo>
                      <a:pt x="101" y="124"/>
                    </a:lnTo>
                    <a:lnTo>
                      <a:pt x="101" y="123"/>
                    </a:lnTo>
                    <a:lnTo>
                      <a:pt x="99" y="123"/>
                    </a:lnTo>
                    <a:lnTo>
                      <a:pt x="101" y="123"/>
                    </a:lnTo>
                    <a:lnTo>
                      <a:pt x="101" y="121"/>
                    </a:lnTo>
                    <a:lnTo>
                      <a:pt x="101" y="119"/>
                    </a:lnTo>
                    <a:lnTo>
                      <a:pt x="101" y="118"/>
                    </a:lnTo>
                    <a:lnTo>
                      <a:pt x="101" y="116"/>
                    </a:lnTo>
                    <a:lnTo>
                      <a:pt x="102" y="116"/>
                    </a:lnTo>
                    <a:lnTo>
                      <a:pt x="101" y="114"/>
                    </a:lnTo>
                    <a:lnTo>
                      <a:pt x="102" y="114"/>
                    </a:lnTo>
                    <a:lnTo>
                      <a:pt x="101" y="114"/>
                    </a:lnTo>
                    <a:lnTo>
                      <a:pt x="102" y="114"/>
                    </a:lnTo>
                    <a:lnTo>
                      <a:pt x="104" y="114"/>
                    </a:lnTo>
                    <a:lnTo>
                      <a:pt x="106" y="114"/>
                    </a:lnTo>
                    <a:lnTo>
                      <a:pt x="106" y="116"/>
                    </a:lnTo>
                    <a:lnTo>
                      <a:pt x="106" y="118"/>
                    </a:lnTo>
                    <a:lnTo>
                      <a:pt x="107" y="118"/>
                    </a:lnTo>
                    <a:lnTo>
                      <a:pt x="109" y="118"/>
                    </a:lnTo>
                    <a:lnTo>
                      <a:pt x="109" y="116"/>
                    </a:lnTo>
                    <a:lnTo>
                      <a:pt x="107" y="116"/>
                    </a:lnTo>
                    <a:lnTo>
                      <a:pt x="107" y="114"/>
                    </a:lnTo>
                    <a:lnTo>
                      <a:pt x="107" y="113"/>
                    </a:lnTo>
                    <a:lnTo>
                      <a:pt x="109" y="113"/>
                    </a:lnTo>
                    <a:lnTo>
                      <a:pt x="109" y="111"/>
                    </a:lnTo>
                    <a:lnTo>
                      <a:pt x="111" y="109"/>
                    </a:lnTo>
                    <a:lnTo>
                      <a:pt x="111" y="107"/>
                    </a:lnTo>
                    <a:lnTo>
                      <a:pt x="112" y="107"/>
                    </a:lnTo>
                    <a:lnTo>
                      <a:pt x="112" y="106"/>
                    </a:lnTo>
                    <a:lnTo>
                      <a:pt x="114" y="106"/>
                    </a:lnTo>
                    <a:lnTo>
                      <a:pt x="114" y="104"/>
                    </a:lnTo>
                    <a:lnTo>
                      <a:pt x="116" y="104"/>
                    </a:lnTo>
                    <a:lnTo>
                      <a:pt x="119" y="101"/>
                    </a:lnTo>
                    <a:lnTo>
                      <a:pt x="123" y="99"/>
                    </a:lnTo>
                    <a:lnTo>
                      <a:pt x="128" y="99"/>
                    </a:lnTo>
                    <a:lnTo>
                      <a:pt x="141" y="94"/>
                    </a:lnTo>
                    <a:lnTo>
                      <a:pt x="153" y="89"/>
                    </a:lnTo>
                    <a:lnTo>
                      <a:pt x="155" y="89"/>
                    </a:lnTo>
                    <a:lnTo>
                      <a:pt x="157" y="89"/>
                    </a:lnTo>
                    <a:lnTo>
                      <a:pt x="158" y="87"/>
                    </a:lnTo>
                    <a:lnTo>
                      <a:pt x="160" y="87"/>
                    </a:lnTo>
                    <a:lnTo>
                      <a:pt x="162" y="85"/>
                    </a:lnTo>
                    <a:lnTo>
                      <a:pt x="163" y="85"/>
                    </a:lnTo>
                    <a:lnTo>
                      <a:pt x="165" y="82"/>
                    </a:lnTo>
                    <a:lnTo>
                      <a:pt x="167" y="80"/>
                    </a:lnTo>
                    <a:lnTo>
                      <a:pt x="170" y="79"/>
                    </a:lnTo>
                    <a:lnTo>
                      <a:pt x="175" y="75"/>
                    </a:lnTo>
                    <a:lnTo>
                      <a:pt x="179" y="73"/>
                    </a:lnTo>
                    <a:lnTo>
                      <a:pt x="179" y="72"/>
                    </a:lnTo>
                    <a:lnTo>
                      <a:pt x="180" y="70"/>
                    </a:lnTo>
                    <a:lnTo>
                      <a:pt x="184" y="65"/>
                    </a:lnTo>
                    <a:lnTo>
                      <a:pt x="187" y="62"/>
                    </a:lnTo>
                    <a:lnTo>
                      <a:pt x="187" y="60"/>
                    </a:lnTo>
                    <a:lnTo>
                      <a:pt x="191" y="58"/>
                    </a:lnTo>
                    <a:lnTo>
                      <a:pt x="192" y="55"/>
                    </a:lnTo>
                    <a:lnTo>
                      <a:pt x="194" y="53"/>
                    </a:lnTo>
                    <a:lnTo>
                      <a:pt x="194" y="51"/>
                    </a:lnTo>
                    <a:lnTo>
                      <a:pt x="196" y="53"/>
                    </a:lnTo>
                    <a:lnTo>
                      <a:pt x="196" y="51"/>
                    </a:lnTo>
                    <a:lnTo>
                      <a:pt x="196" y="50"/>
                    </a:lnTo>
                    <a:lnTo>
                      <a:pt x="197" y="48"/>
                    </a:lnTo>
                    <a:lnTo>
                      <a:pt x="199" y="41"/>
                    </a:lnTo>
                    <a:lnTo>
                      <a:pt x="199" y="39"/>
                    </a:lnTo>
                    <a:lnTo>
                      <a:pt x="201" y="33"/>
                    </a:lnTo>
                    <a:lnTo>
                      <a:pt x="201" y="31"/>
                    </a:lnTo>
                    <a:lnTo>
                      <a:pt x="203" y="31"/>
                    </a:lnTo>
                    <a:lnTo>
                      <a:pt x="203" y="33"/>
                    </a:lnTo>
                    <a:lnTo>
                      <a:pt x="204" y="33"/>
                    </a:lnTo>
                    <a:lnTo>
                      <a:pt x="206" y="33"/>
                    </a:lnTo>
                    <a:lnTo>
                      <a:pt x="208" y="33"/>
                    </a:lnTo>
                    <a:lnTo>
                      <a:pt x="206" y="31"/>
                    </a:lnTo>
                    <a:lnTo>
                      <a:pt x="208" y="31"/>
                    </a:lnTo>
                    <a:lnTo>
                      <a:pt x="208" y="29"/>
                    </a:lnTo>
                    <a:lnTo>
                      <a:pt x="206" y="29"/>
                    </a:lnTo>
                    <a:lnTo>
                      <a:pt x="206" y="28"/>
                    </a:lnTo>
                    <a:lnTo>
                      <a:pt x="206" y="26"/>
                    </a:lnTo>
                    <a:lnTo>
                      <a:pt x="206" y="24"/>
                    </a:lnTo>
                    <a:lnTo>
                      <a:pt x="206" y="22"/>
                    </a:lnTo>
                    <a:lnTo>
                      <a:pt x="206" y="21"/>
                    </a:lnTo>
                    <a:lnTo>
                      <a:pt x="206" y="22"/>
                    </a:lnTo>
                    <a:lnTo>
                      <a:pt x="206" y="21"/>
                    </a:lnTo>
                    <a:lnTo>
                      <a:pt x="206" y="22"/>
                    </a:lnTo>
                    <a:lnTo>
                      <a:pt x="208" y="21"/>
                    </a:lnTo>
                    <a:lnTo>
                      <a:pt x="206" y="21"/>
                    </a:lnTo>
                    <a:lnTo>
                      <a:pt x="206" y="19"/>
                    </a:lnTo>
                    <a:lnTo>
                      <a:pt x="208" y="19"/>
                    </a:lnTo>
                    <a:lnTo>
                      <a:pt x="206" y="19"/>
                    </a:lnTo>
                    <a:lnTo>
                      <a:pt x="206" y="17"/>
                    </a:lnTo>
                    <a:lnTo>
                      <a:pt x="204" y="17"/>
                    </a:lnTo>
                    <a:lnTo>
                      <a:pt x="204" y="16"/>
                    </a:lnTo>
                    <a:lnTo>
                      <a:pt x="203" y="16"/>
                    </a:lnTo>
                    <a:lnTo>
                      <a:pt x="201" y="14"/>
                    </a:lnTo>
                    <a:lnTo>
                      <a:pt x="201" y="12"/>
                    </a:lnTo>
                    <a:lnTo>
                      <a:pt x="199" y="12"/>
                    </a:lnTo>
                    <a:lnTo>
                      <a:pt x="199" y="11"/>
                    </a:lnTo>
                    <a:lnTo>
                      <a:pt x="199" y="9"/>
                    </a:lnTo>
                    <a:lnTo>
                      <a:pt x="197" y="9"/>
                    </a:lnTo>
                    <a:lnTo>
                      <a:pt x="199" y="9"/>
                    </a:lnTo>
                    <a:lnTo>
                      <a:pt x="197" y="7"/>
                    </a:lnTo>
                    <a:lnTo>
                      <a:pt x="196" y="7"/>
                    </a:lnTo>
                    <a:lnTo>
                      <a:pt x="196" y="5"/>
                    </a:lnTo>
                    <a:lnTo>
                      <a:pt x="194" y="5"/>
                    </a:lnTo>
                    <a:lnTo>
                      <a:pt x="194" y="4"/>
                    </a:lnTo>
                    <a:lnTo>
                      <a:pt x="196" y="4"/>
                    </a:lnTo>
                    <a:lnTo>
                      <a:pt x="197" y="4"/>
                    </a:lnTo>
                    <a:lnTo>
                      <a:pt x="199" y="4"/>
                    </a:lnTo>
                    <a:lnTo>
                      <a:pt x="199" y="5"/>
                    </a:lnTo>
                    <a:lnTo>
                      <a:pt x="201" y="5"/>
                    </a:lnTo>
                    <a:lnTo>
                      <a:pt x="203" y="5"/>
                    </a:lnTo>
                    <a:lnTo>
                      <a:pt x="204" y="5"/>
                    </a:lnTo>
                    <a:lnTo>
                      <a:pt x="206" y="4"/>
                    </a:lnTo>
                    <a:lnTo>
                      <a:pt x="208" y="2"/>
                    </a:lnTo>
                    <a:lnTo>
                      <a:pt x="208" y="0"/>
                    </a:lnTo>
                    <a:lnTo>
                      <a:pt x="208" y="2"/>
                    </a:lnTo>
                    <a:lnTo>
                      <a:pt x="209" y="2"/>
                    </a:lnTo>
                    <a:lnTo>
                      <a:pt x="211" y="2"/>
                    </a:lnTo>
                    <a:lnTo>
                      <a:pt x="213" y="4"/>
                    </a:lnTo>
                    <a:lnTo>
                      <a:pt x="214" y="5"/>
                    </a:lnTo>
                    <a:lnTo>
                      <a:pt x="216" y="5"/>
                    </a:lnTo>
                    <a:lnTo>
                      <a:pt x="216" y="7"/>
                    </a:lnTo>
                    <a:lnTo>
                      <a:pt x="218" y="7"/>
                    </a:lnTo>
                    <a:lnTo>
                      <a:pt x="218" y="9"/>
                    </a:lnTo>
                    <a:lnTo>
                      <a:pt x="220" y="7"/>
                    </a:lnTo>
                    <a:lnTo>
                      <a:pt x="221" y="7"/>
                    </a:lnTo>
                    <a:lnTo>
                      <a:pt x="221" y="5"/>
                    </a:lnTo>
                    <a:lnTo>
                      <a:pt x="221" y="7"/>
                    </a:lnTo>
                    <a:lnTo>
                      <a:pt x="223" y="7"/>
                    </a:lnTo>
                    <a:lnTo>
                      <a:pt x="223" y="9"/>
                    </a:lnTo>
                    <a:lnTo>
                      <a:pt x="223" y="11"/>
                    </a:lnTo>
                    <a:lnTo>
                      <a:pt x="223" y="12"/>
                    </a:lnTo>
                    <a:lnTo>
                      <a:pt x="225" y="12"/>
                    </a:lnTo>
                    <a:lnTo>
                      <a:pt x="225" y="11"/>
                    </a:lnTo>
                    <a:lnTo>
                      <a:pt x="225" y="12"/>
                    </a:lnTo>
                    <a:lnTo>
                      <a:pt x="226" y="12"/>
                    </a:lnTo>
                    <a:lnTo>
                      <a:pt x="228" y="12"/>
                    </a:lnTo>
                    <a:lnTo>
                      <a:pt x="230" y="14"/>
                    </a:lnTo>
                    <a:lnTo>
                      <a:pt x="230" y="16"/>
                    </a:lnTo>
                    <a:lnTo>
                      <a:pt x="231" y="16"/>
                    </a:lnTo>
                    <a:lnTo>
                      <a:pt x="233" y="16"/>
                    </a:lnTo>
                    <a:lnTo>
                      <a:pt x="233" y="17"/>
                    </a:lnTo>
                    <a:lnTo>
                      <a:pt x="235" y="17"/>
                    </a:lnTo>
                    <a:lnTo>
                      <a:pt x="233" y="17"/>
                    </a:lnTo>
                    <a:lnTo>
                      <a:pt x="233" y="19"/>
                    </a:lnTo>
                    <a:lnTo>
                      <a:pt x="235" y="19"/>
                    </a:lnTo>
                    <a:lnTo>
                      <a:pt x="235" y="17"/>
                    </a:lnTo>
                    <a:lnTo>
                      <a:pt x="235" y="19"/>
                    </a:lnTo>
                    <a:lnTo>
                      <a:pt x="235" y="21"/>
                    </a:lnTo>
                    <a:lnTo>
                      <a:pt x="237" y="21"/>
                    </a:lnTo>
                    <a:lnTo>
                      <a:pt x="235" y="22"/>
                    </a:lnTo>
                    <a:lnTo>
                      <a:pt x="237" y="22"/>
                    </a:lnTo>
                    <a:lnTo>
                      <a:pt x="237" y="24"/>
                    </a:lnTo>
                    <a:lnTo>
                      <a:pt x="235" y="24"/>
                    </a:lnTo>
                    <a:lnTo>
                      <a:pt x="237" y="24"/>
                    </a:lnTo>
                    <a:lnTo>
                      <a:pt x="237" y="26"/>
                    </a:lnTo>
                    <a:lnTo>
                      <a:pt x="238" y="26"/>
                    </a:lnTo>
                    <a:lnTo>
                      <a:pt x="238" y="28"/>
                    </a:lnTo>
                    <a:lnTo>
                      <a:pt x="240" y="28"/>
                    </a:lnTo>
                    <a:lnTo>
                      <a:pt x="238" y="29"/>
                    </a:lnTo>
                    <a:lnTo>
                      <a:pt x="240" y="29"/>
                    </a:lnTo>
                    <a:lnTo>
                      <a:pt x="238" y="29"/>
                    </a:lnTo>
                    <a:lnTo>
                      <a:pt x="238" y="31"/>
                    </a:lnTo>
                    <a:lnTo>
                      <a:pt x="238" y="29"/>
                    </a:lnTo>
                    <a:lnTo>
                      <a:pt x="238" y="31"/>
                    </a:lnTo>
                    <a:lnTo>
                      <a:pt x="240" y="31"/>
                    </a:lnTo>
                    <a:lnTo>
                      <a:pt x="240" y="33"/>
                    </a:lnTo>
                    <a:lnTo>
                      <a:pt x="238" y="33"/>
                    </a:lnTo>
                    <a:lnTo>
                      <a:pt x="240" y="33"/>
                    </a:lnTo>
                    <a:lnTo>
                      <a:pt x="240" y="34"/>
                    </a:lnTo>
                    <a:lnTo>
                      <a:pt x="242" y="34"/>
                    </a:lnTo>
                    <a:lnTo>
                      <a:pt x="243" y="34"/>
                    </a:lnTo>
                    <a:lnTo>
                      <a:pt x="245" y="34"/>
                    </a:lnTo>
                    <a:lnTo>
                      <a:pt x="245" y="36"/>
                    </a:lnTo>
                    <a:lnTo>
                      <a:pt x="247" y="36"/>
                    </a:lnTo>
                    <a:lnTo>
                      <a:pt x="247" y="34"/>
                    </a:lnTo>
                    <a:lnTo>
                      <a:pt x="248" y="34"/>
                    </a:lnTo>
                    <a:lnTo>
                      <a:pt x="247" y="34"/>
                    </a:lnTo>
                    <a:lnTo>
                      <a:pt x="247" y="36"/>
                    </a:lnTo>
                    <a:lnTo>
                      <a:pt x="248" y="36"/>
                    </a:lnTo>
                    <a:lnTo>
                      <a:pt x="248" y="38"/>
                    </a:lnTo>
                    <a:lnTo>
                      <a:pt x="248" y="36"/>
                    </a:lnTo>
                    <a:lnTo>
                      <a:pt x="250" y="36"/>
                    </a:lnTo>
                    <a:lnTo>
                      <a:pt x="250" y="38"/>
                    </a:lnTo>
                    <a:lnTo>
                      <a:pt x="252" y="38"/>
                    </a:lnTo>
                    <a:lnTo>
                      <a:pt x="252" y="39"/>
                    </a:lnTo>
                    <a:lnTo>
                      <a:pt x="252" y="41"/>
                    </a:lnTo>
                    <a:lnTo>
                      <a:pt x="254" y="41"/>
                    </a:lnTo>
                    <a:lnTo>
                      <a:pt x="255" y="43"/>
                    </a:lnTo>
                    <a:lnTo>
                      <a:pt x="255" y="41"/>
                    </a:lnTo>
                    <a:lnTo>
                      <a:pt x="255" y="43"/>
                    </a:lnTo>
                    <a:lnTo>
                      <a:pt x="257" y="43"/>
                    </a:lnTo>
                    <a:lnTo>
                      <a:pt x="257" y="41"/>
                    </a:lnTo>
                    <a:lnTo>
                      <a:pt x="259" y="43"/>
                    </a:lnTo>
                    <a:lnTo>
                      <a:pt x="259" y="41"/>
                    </a:lnTo>
                    <a:lnTo>
                      <a:pt x="260" y="43"/>
                    </a:lnTo>
                    <a:lnTo>
                      <a:pt x="262" y="45"/>
                    </a:lnTo>
                    <a:lnTo>
                      <a:pt x="262" y="46"/>
                    </a:lnTo>
                    <a:lnTo>
                      <a:pt x="264" y="46"/>
                    </a:lnTo>
                    <a:lnTo>
                      <a:pt x="264" y="48"/>
                    </a:lnTo>
                    <a:lnTo>
                      <a:pt x="262" y="48"/>
                    </a:lnTo>
                    <a:lnTo>
                      <a:pt x="264" y="48"/>
                    </a:lnTo>
                    <a:lnTo>
                      <a:pt x="264" y="50"/>
                    </a:lnTo>
                    <a:lnTo>
                      <a:pt x="265" y="50"/>
                    </a:lnTo>
                    <a:lnTo>
                      <a:pt x="265" y="51"/>
                    </a:lnTo>
                    <a:lnTo>
                      <a:pt x="265" y="53"/>
                    </a:lnTo>
                    <a:lnTo>
                      <a:pt x="267" y="53"/>
                    </a:lnTo>
                    <a:lnTo>
                      <a:pt x="265" y="53"/>
                    </a:lnTo>
                    <a:lnTo>
                      <a:pt x="265" y="55"/>
                    </a:lnTo>
                    <a:lnTo>
                      <a:pt x="265" y="56"/>
                    </a:lnTo>
                    <a:lnTo>
                      <a:pt x="264" y="56"/>
                    </a:lnTo>
                    <a:lnTo>
                      <a:pt x="264" y="58"/>
                    </a:lnTo>
                    <a:lnTo>
                      <a:pt x="265" y="58"/>
                    </a:lnTo>
                    <a:lnTo>
                      <a:pt x="267" y="58"/>
                    </a:lnTo>
                    <a:lnTo>
                      <a:pt x="267" y="60"/>
                    </a:lnTo>
                    <a:lnTo>
                      <a:pt x="269" y="60"/>
                    </a:lnTo>
                    <a:lnTo>
                      <a:pt x="271" y="60"/>
                    </a:lnTo>
                    <a:lnTo>
                      <a:pt x="271" y="62"/>
                    </a:lnTo>
                    <a:lnTo>
                      <a:pt x="272" y="62"/>
                    </a:lnTo>
                    <a:lnTo>
                      <a:pt x="272" y="60"/>
                    </a:lnTo>
                    <a:lnTo>
                      <a:pt x="274" y="60"/>
                    </a:lnTo>
                    <a:lnTo>
                      <a:pt x="274" y="62"/>
                    </a:lnTo>
                    <a:lnTo>
                      <a:pt x="274" y="60"/>
                    </a:lnTo>
                    <a:lnTo>
                      <a:pt x="274" y="58"/>
                    </a:lnTo>
                    <a:lnTo>
                      <a:pt x="276" y="60"/>
                    </a:lnTo>
                    <a:lnTo>
                      <a:pt x="277" y="62"/>
                    </a:lnTo>
                    <a:lnTo>
                      <a:pt x="277" y="63"/>
                    </a:lnTo>
                    <a:lnTo>
                      <a:pt x="279" y="63"/>
                    </a:lnTo>
                    <a:lnTo>
                      <a:pt x="277" y="65"/>
                    </a:lnTo>
                    <a:lnTo>
                      <a:pt x="277" y="67"/>
                    </a:lnTo>
                    <a:lnTo>
                      <a:pt x="277" y="68"/>
                    </a:lnTo>
                    <a:lnTo>
                      <a:pt x="279" y="68"/>
                    </a:lnTo>
                    <a:lnTo>
                      <a:pt x="279" y="70"/>
                    </a:lnTo>
                    <a:lnTo>
                      <a:pt x="279" y="72"/>
                    </a:lnTo>
                    <a:lnTo>
                      <a:pt x="277" y="72"/>
                    </a:lnTo>
                    <a:lnTo>
                      <a:pt x="277" y="73"/>
                    </a:lnTo>
                    <a:lnTo>
                      <a:pt x="276" y="73"/>
                    </a:lnTo>
                    <a:lnTo>
                      <a:pt x="276" y="75"/>
                    </a:lnTo>
                    <a:lnTo>
                      <a:pt x="277" y="77"/>
                    </a:lnTo>
                    <a:lnTo>
                      <a:pt x="277" y="79"/>
                    </a:lnTo>
                    <a:lnTo>
                      <a:pt x="279" y="79"/>
                    </a:lnTo>
                    <a:lnTo>
                      <a:pt x="279" y="80"/>
                    </a:lnTo>
                    <a:lnTo>
                      <a:pt x="281" y="79"/>
                    </a:lnTo>
                    <a:lnTo>
                      <a:pt x="282" y="80"/>
                    </a:lnTo>
                    <a:lnTo>
                      <a:pt x="282" y="79"/>
                    </a:lnTo>
                    <a:lnTo>
                      <a:pt x="282" y="80"/>
                    </a:lnTo>
                    <a:lnTo>
                      <a:pt x="284" y="80"/>
                    </a:lnTo>
                    <a:lnTo>
                      <a:pt x="284" y="82"/>
                    </a:lnTo>
                    <a:lnTo>
                      <a:pt x="286" y="82"/>
                    </a:lnTo>
                    <a:lnTo>
                      <a:pt x="288" y="82"/>
                    </a:lnTo>
                    <a:lnTo>
                      <a:pt x="289" y="82"/>
                    </a:lnTo>
                    <a:lnTo>
                      <a:pt x="289" y="80"/>
                    </a:lnTo>
                    <a:lnTo>
                      <a:pt x="291" y="80"/>
                    </a:lnTo>
                    <a:lnTo>
                      <a:pt x="291" y="82"/>
                    </a:lnTo>
                    <a:lnTo>
                      <a:pt x="291" y="80"/>
                    </a:lnTo>
                    <a:lnTo>
                      <a:pt x="293" y="82"/>
                    </a:lnTo>
                    <a:lnTo>
                      <a:pt x="294" y="82"/>
                    </a:lnTo>
                    <a:lnTo>
                      <a:pt x="294" y="80"/>
                    </a:lnTo>
                    <a:lnTo>
                      <a:pt x="296" y="80"/>
                    </a:lnTo>
                    <a:lnTo>
                      <a:pt x="298" y="80"/>
                    </a:lnTo>
                    <a:lnTo>
                      <a:pt x="298" y="82"/>
                    </a:lnTo>
                    <a:lnTo>
                      <a:pt x="299" y="82"/>
                    </a:lnTo>
                    <a:lnTo>
                      <a:pt x="301" y="82"/>
                    </a:lnTo>
                    <a:lnTo>
                      <a:pt x="303" y="82"/>
                    </a:lnTo>
                    <a:lnTo>
                      <a:pt x="303" y="84"/>
                    </a:lnTo>
                    <a:lnTo>
                      <a:pt x="305" y="84"/>
                    </a:lnTo>
                    <a:lnTo>
                      <a:pt x="306" y="84"/>
                    </a:lnTo>
                    <a:lnTo>
                      <a:pt x="306" y="82"/>
                    </a:lnTo>
                    <a:lnTo>
                      <a:pt x="306" y="84"/>
                    </a:lnTo>
                    <a:lnTo>
                      <a:pt x="306" y="82"/>
                    </a:lnTo>
                    <a:lnTo>
                      <a:pt x="308" y="82"/>
                    </a:lnTo>
                    <a:lnTo>
                      <a:pt x="310" y="82"/>
                    </a:lnTo>
                    <a:lnTo>
                      <a:pt x="310" y="84"/>
                    </a:lnTo>
                    <a:lnTo>
                      <a:pt x="311" y="84"/>
                    </a:lnTo>
                    <a:lnTo>
                      <a:pt x="311" y="82"/>
                    </a:lnTo>
                    <a:lnTo>
                      <a:pt x="311" y="80"/>
                    </a:lnTo>
                    <a:lnTo>
                      <a:pt x="313" y="80"/>
                    </a:lnTo>
                    <a:lnTo>
                      <a:pt x="313" y="79"/>
                    </a:lnTo>
                    <a:lnTo>
                      <a:pt x="315" y="79"/>
                    </a:lnTo>
                    <a:lnTo>
                      <a:pt x="315" y="80"/>
                    </a:lnTo>
                    <a:lnTo>
                      <a:pt x="316" y="80"/>
                    </a:lnTo>
                    <a:lnTo>
                      <a:pt x="318" y="80"/>
                    </a:lnTo>
                    <a:lnTo>
                      <a:pt x="318" y="79"/>
                    </a:lnTo>
                    <a:lnTo>
                      <a:pt x="320" y="79"/>
                    </a:lnTo>
                    <a:lnTo>
                      <a:pt x="320" y="77"/>
                    </a:lnTo>
                    <a:lnTo>
                      <a:pt x="320" y="75"/>
                    </a:lnTo>
                    <a:lnTo>
                      <a:pt x="322" y="75"/>
                    </a:lnTo>
                    <a:lnTo>
                      <a:pt x="322" y="73"/>
                    </a:lnTo>
                    <a:lnTo>
                      <a:pt x="322" y="75"/>
                    </a:lnTo>
                    <a:lnTo>
                      <a:pt x="323" y="73"/>
                    </a:lnTo>
                    <a:lnTo>
                      <a:pt x="325" y="72"/>
                    </a:lnTo>
                    <a:lnTo>
                      <a:pt x="325" y="73"/>
                    </a:lnTo>
                    <a:lnTo>
                      <a:pt x="325" y="75"/>
                    </a:lnTo>
                    <a:lnTo>
                      <a:pt x="327" y="75"/>
                    </a:lnTo>
                    <a:lnTo>
                      <a:pt x="327" y="73"/>
                    </a:lnTo>
                    <a:lnTo>
                      <a:pt x="328" y="73"/>
                    </a:lnTo>
                    <a:lnTo>
                      <a:pt x="328" y="75"/>
                    </a:lnTo>
                    <a:lnTo>
                      <a:pt x="330" y="75"/>
                    </a:lnTo>
                    <a:lnTo>
                      <a:pt x="332" y="75"/>
                    </a:lnTo>
                    <a:lnTo>
                      <a:pt x="332" y="77"/>
                    </a:lnTo>
                    <a:lnTo>
                      <a:pt x="332" y="79"/>
                    </a:lnTo>
                    <a:lnTo>
                      <a:pt x="333" y="79"/>
                    </a:lnTo>
                    <a:lnTo>
                      <a:pt x="333" y="77"/>
                    </a:lnTo>
                    <a:lnTo>
                      <a:pt x="335" y="77"/>
                    </a:lnTo>
                    <a:lnTo>
                      <a:pt x="335" y="79"/>
                    </a:lnTo>
                    <a:lnTo>
                      <a:pt x="337" y="79"/>
                    </a:lnTo>
                    <a:lnTo>
                      <a:pt x="337" y="80"/>
                    </a:lnTo>
                    <a:lnTo>
                      <a:pt x="335" y="80"/>
                    </a:lnTo>
                    <a:lnTo>
                      <a:pt x="337" y="82"/>
                    </a:lnTo>
                    <a:lnTo>
                      <a:pt x="337" y="80"/>
                    </a:lnTo>
                    <a:lnTo>
                      <a:pt x="339" y="80"/>
                    </a:lnTo>
                    <a:lnTo>
                      <a:pt x="339" y="79"/>
                    </a:lnTo>
                    <a:lnTo>
                      <a:pt x="340" y="79"/>
                    </a:lnTo>
                    <a:lnTo>
                      <a:pt x="340" y="80"/>
                    </a:lnTo>
                    <a:lnTo>
                      <a:pt x="340" y="79"/>
                    </a:lnTo>
                    <a:lnTo>
                      <a:pt x="342" y="79"/>
                    </a:lnTo>
                    <a:lnTo>
                      <a:pt x="342" y="80"/>
                    </a:lnTo>
                    <a:lnTo>
                      <a:pt x="344" y="80"/>
                    </a:lnTo>
                    <a:lnTo>
                      <a:pt x="344" y="79"/>
                    </a:lnTo>
                    <a:lnTo>
                      <a:pt x="345" y="79"/>
                    </a:lnTo>
                    <a:lnTo>
                      <a:pt x="345" y="77"/>
                    </a:lnTo>
                    <a:lnTo>
                      <a:pt x="347" y="77"/>
                    </a:lnTo>
                    <a:lnTo>
                      <a:pt x="349" y="77"/>
                    </a:lnTo>
                    <a:lnTo>
                      <a:pt x="350" y="77"/>
                    </a:lnTo>
                    <a:lnTo>
                      <a:pt x="349" y="77"/>
                    </a:lnTo>
                    <a:lnTo>
                      <a:pt x="349" y="75"/>
                    </a:lnTo>
                    <a:lnTo>
                      <a:pt x="350" y="75"/>
                    </a:lnTo>
                    <a:lnTo>
                      <a:pt x="352" y="75"/>
                    </a:lnTo>
                    <a:lnTo>
                      <a:pt x="354" y="75"/>
                    </a:lnTo>
                    <a:lnTo>
                      <a:pt x="354" y="77"/>
                    </a:lnTo>
                    <a:lnTo>
                      <a:pt x="356" y="77"/>
                    </a:lnTo>
                    <a:lnTo>
                      <a:pt x="357" y="77"/>
                    </a:lnTo>
                    <a:lnTo>
                      <a:pt x="357" y="79"/>
                    </a:lnTo>
                    <a:lnTo>
                      <a:pt x="359" y="79"/>
                    </a:lnTo>
                    <a:lnTo>
                      <a:pt x="361" y="79"/>
                    </a:lnTo>
                    <a:lnTo>
                      <a:pt x="361" y="80"/>
                    </a:lnTo>
                    <a:lnTo>
                      <a:pt x="361" y="82"/>
                    </a:lnTo>
                    <a:lnTo>
                      <a:pt x="362" y="80"/>
                    </a:lnTo>
                    <a:lnTo>
                      <a:pt x="362" y="82"/>
                    </a:lnTo>
                    <a:lnTo>
                      <a:pt x="362" y="84"/>
                    </a:lnTo>
                    <a:lnTo>
                      <a:pt x="364" y="84"/>
                    </a:lnTo>
                    <a:lnTo>
                      <a:pt x="364" y="82"/>
                    </a:lnTo>
                    <a:lnTo>
                      <a:pt x="366" y="82"/>
                    </a:lnTo>
                    <a:lnTo>
                      <a:pt x="366" y="84"/>
                    </a:lnTo>
                    <a:lnTo>
                      <a:pt x="367" y="84"/>
                    </a:lnTo>
                    <a:lnTo>
                      <a:pt x="367" y="82"/>
                    </a:lnTo>
                    <a:lnTo>
                      <a:pt x="367" y="84"/>
                    </a:lnTo>
                    <a:lnTo>
                      <a:pt x="367" y="85"/>
                    </a:lnTo>
                    <a:lnTo>
                      <a:pt x="369" y="85"/>
                    </a:lnTo>
                    <a:lnTo>
                      <a:pt x="371" y="84"/>
                    </a:lnTo>
                    <a:lnTo>
                      <a:pt x="373" y="84"/>
                    </a:lnTo>
                    <a:lnTo>
                      <a:pt x="373" y="85"/>
                    </a:lnTo>
                    <a:lnTo>
                      <a:pt x="371" y="85"/>
                    </a:lnTo>
                    <a:lnTo>
                      <a:pt x="371" y="87"/>
                    </a:lnTo>
                    <a:lnTo>
                      <a:pt x="373" y="87"/>
                    </a:lnTo>
                    <a:lnTo>
                      <a:pt x="374" y="85"/>
                    </a:lnTo>
                    <a:lnTo>
                      <a:pt x="376" y="87"/>
                    </a:lnTo>
                    <a:lnTo>
                      <a:pt x="376" y="89"/>
                    </a:lnTo>
                    <a:lnTo>
                      <a:pt x="376" y="90"/>
                    </a:lnTo>
                    <a:lnTo>
                      <a:pt x="376" y="89"/>
                    </a:lnTo>
                    <a:lnTo>
                      <a:pt x="378" y="89"/>
                    </a:lnTo>
                    <a:lnTo>
                      <a:pt x="378" y="90"/>
                    </a:lnTo>
                    <a:lnTo>
                      <a:pt x="379" y="90"/>
                    </a:lnTo>
                    <a:lnTo>
                      <a:pt x="381" y="89"/>
                    </a:lnTo>
                    <a:lnTo>
                      <a:pt x="381" y="90"/>
                    </a:lnTo>
                    <a:lnTo>
                      <a:pt x="381" y="92"/>
                    </a:lnTo>
                    <a:lnTo>
                      <a:pt x="381" y="94"/>
                    </a:lnTo>
                    <a:lnTo>
                      <a:pt x="379" y="97"/>
                    </a:lnTo>
                    <a:lnTo>
                      <a:pt x="378" y="99"/>
                    </a:lnTo>
                    <a:lnTo>
                      <a:pt x="374" y="104"/>
                    </a:lnTo>
                    <a:lnTo>
                      <a:pt x="373" y="106"/>
                    </a:lnTo>
                    <a:lnTo>
                      <a:pt x="373" y="107"/>
                    </a:lnTo>
                    <a:lnTo>
                      <a:pt x="371" y="109"/>
                    </a:lnTo>
                    <a:lnTo>
                      <a:pt x="369" y="113"/>
                    </a:lnTo>
                    <a:lnTo>
                      <a:pt x="367" y="116"/>
                    </a:lnTo>
                    <a:lnTo>
                      <a:pt x="366" y="116"/>
                    </a:lnTo>
                    <a:lnTo>
                      <a:pt x="364" y="119"/>
                    </a:lnTo>
                    <a:lnTo>
                      <a:pt x="362" y="124"/>
                    </a:lnTo>
                    <a:lnTo>
                      <a:pt x="361" y="124"/>
                    </a:lnTo>
                    <a:lnTo>
                      <a:pt x="359" y="128"/>
                    </a:lnTo>
                    <a:lnTo>
                      <a:pt x="361" y="128"/>
                    </a:lnTo>
                    <a:lnTo>
                      <a:pt x="361" y="130"/>
                    </a:lnTo>
                    <a:lnTo>
                      <a:pt x="362" y="130"/>
                    </a:lnTo>
                    <a:lnTo>
                      <a:pt x="364" y="130"/>
                    </a:lnTo>
                    <a:lnTo>
                      <a:pt x="366" y="131"/>
                    </a:lnTo>
                    <a:lnTo>
                      <a:pt x="367" y="131"/>
                    </a:lnTo>
                    <a:lnTo>
                      <a:pt x="367" y="130"/>
                    </a:lnTo>
                    <a:lnTo>
                      <a:pt x="369" y="130"/>
                    </a:lnTo>
                    <a:lnTo>
                      <a:pt x="371" y="130"/>
                    </a:lnTo>
                    <a:lnTo>
                      <a:pt x="371" y="128"/>
                    </a:lnTo>
                    <a:lnTo>
                      <a:pt x="373" y="128"/>
                    </a:lnTo>
                    <a:lnTo>
                      <a:pt x="373" y="130"/>
                    </a:lnTo>
                    <a:lnTo>
                      <a:pt x="374" y="130"/>
                    </a:lnTo>
                    <a:lnTo>
                      <a:pt x="374" y="131"/>
                    </a:lnTo>
                    <a:lnTo>
                      <a:pt x="376" y="131"/>
                    </a:lnTo>
                    <a:lnTo>
                      <a:pt x="376" y="133"/>
                    </a:lnTo>
                    <a:lnTo>
                      <a:pt x="378" y="133"/>
                    </a:lnTo>
                    <a:lnTo>
                      <a:pt x="378" y="135"/>
                    </a:lnTo>
                    <a:lnTo>
                      <a:pt x="378" y="136"/>
                    </a:lnTo>
                    <a:lnTo>
                      <a:pt x="379" y="136"/>
                    </a:lnTo>
                    <a:lnTo>
                      <a:pt x="381" y="138"/>
                    </a:lnTo>
                    <a:lnTo>
                      <a:pt x="381" y="140"/>
                    </a:lnTo>
                    <a:lnTo>
                      <a:pt x="383" y="140"/>
                    </a:lnTo>
                    <a:lnTo>
                      <a:pt x="383" y="141"/>
                    </a:lnTo>
                    <a:lnTo>
                      <a:pt x="384" y="141"/>
                    </a:lnTo>
                    <a:lnTo>
                      <a:pt x="384" y="143"/>
                    </a:lnTo>
                    <a:close/>
                    <a:moveTo>
                      <a:pt x="138" y="410"/>
                    </a:moveTo>
                    <a:lnTo>
                      <a:pt x="141" y="410"/>
                    </a:lnTo>
                    <a:lnTo>
                      <a:pt x="141" y="412"/>
                    </a:lnTo>
                    <a:lnTo>
                      <a:pt x="138" y="412"/>
                    </a:lnTo>
                    <a:lnTo>
                      <a:pt x="138" y="410"/>
                    </a:lnTo>
                    <a:close/>
                    <a:moveTo>
                      <a:pt x="16" y="216"/>
                    </a:moveTo>
                    <a:lnTo>
                      <a:pt x="17" y="216"/>
                    </a:lnTo>
                    <a:lnTo>
                      <a:pt x="17" y="220"/>
                    </a:lnTo>
                    <a:lnTo>
                      <a:pt x="16" y="220"/>
                    </a:lnTo>
                    <a:lnTo>
                      <a:pt x="16" y="216"/>
                    </a:lnTo>
                    <a:close/>
                    <a:moveTo>
                      <a:pt x="174" y="487"/>
                    </a:moveTo>
                    <a:lnTo>
                      <a:pt x="175" y="487"/>
                    </a:lnTo>
                    <a:lnTo>
                      <a:pt x="175" y="489"/>
                    </a:lnTo>
                    <a:lnTo>
                      <a:pt x="174" y="489"/>
                    </a:lnTo>
                    <a:lnTo>
                      <a:pt x="174" y="487"/>
                    </a:lnTo>
                    <a:close/>
                    <a:moveTo>
                      <a:pt x="165" y="472"/>
                    </a:moveTo>
                    <a:lnTo>
                      <a:pt x="167" y="472"/>
                    </a:lnTo>
                    <a:lnTo>
                      <a:pt x="167" y="473"/>
                    </a:lnTo>
                    <a:lnTo>
                      <a:pt x="165" y="473"/>
                    </a:lnTo>
                    <a:lnTo>
                      <a:pt x="165" y="472"/>
                    </a:lnTo>
                    <a:close/>
                    <a:moveTo>
                      <a:pt x="36" y="116"/>
                    </a:moveTo>
                    <a:lnTo>
                      <a:pt x="38" y="116"/>
                    </a:lnTo>
                    <a:lnTo>
                      <a:pt x="36" y="116"/>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4" name="Freeform 52">
                <a:extLst>
                  <a:ext uri="{FF2B5EF4-FFF2-40B4-BE49-F238E27FC236}">
                    <a16:creationId xmlns:a16="http://schemas.microsoft.com/office/drawing/2014/main" id="{1B66D035-6CE8-AE7C-64FF-C9A61FD464A2}"/>
                  </a:ext>
                </a:extLst>
              </p:cNvPr>
              <p:cNvSpPr>
                <a:spLocks noEditPoints="1"/>
              </p:cNvSpPr>
              <p:nvPr/>
            </p:nvSpPr>
            <p:spPr bwMode="auto">
              <a:xfrm>
                <a:off x="5769041" y="2812899"/>
                <a:ext cx="3526" cy="8224"/>
              </a:xfrm>
              <a:custGeom>
                <a:avLst/>
                <a:gdLst>
                  <a:gd name="T0" fmla="*/ 10 w 12"/>
                  <a:gd name="T1" fmla="*/ 0 h 28"/>
                  <a:gd name="T2" fmla="*/ 12 w 12"/>
                  <a:gd name="T3" fmla="*/ 2 h 28"/>
                  <a:gd name="T4" fmla="*/ 12 w 12"/>
                  <a:gd name="T5" fmla="*/ 4 h 28"/>
                  <a:gd name="T6" fmla="*/ 12 w 12"/>
                  <a:gd name="T7" fmla="*/ 6 h 28"/>
                  <a:gd name="T8" fmla="*/ 10 w 12"/>
                  <a:gd name="T9" fmla="*/ 6 h 28"/>
                  <a:gd name="T10" fmla="*/ 10 w 12"/>
                  <a:gd name="T11" fmla="*/ 7 h 28"/>
                  <a:gd name="T12" fmla="*/ 10 w 12"/>
                  <a:gd name="T13" fmla="*/ 9 h 28"/>
                  <a:gd name="T14" fmla="*/ 8 w 12"/>
                  <a:gd name="T15" fmla="*/ 9 h 28"/>
                  <a:gd name="T16" fmla="*/ 7 w 12"/>
                  <a:gd name="T17" fmla="*/ 9 h 28"/>
                  <a:gd name="T18" fmla="*/ 7 w 12"/>
                  <a:gd name="T19" fmla="*/ 7 h 28"/>
                  <a:gd name="T20" fmla="*/ 5 w 12"/>
                  <a:gd name="T21" fmla="*/ 6 h 28"/>
                  <a:gd name="T22" fmla="*/ 5 w 12"/>
                  <a:gd name="T23" fmla="*/ 4 h 28"/>
                  <a:gd name="T24" fmla="*/ 7 w 12"/>
                  <a:gd name="T25" fmla="*/ 4 h 28"/>
                  <a:gd name="T26" fmla="*/ 7 w 12"/>
                  <a:gd name="T27" fmla="*/ 2 h 28"/>
                  <a:gd name="T28" fmla="*/ 8 w 12"/>
                  <a:gd name="T29" fmla="*/ 0 h 28"/>
                  <a:gd name="T30" fmla="*/ 10 w 12"/>
                  <a:gd name="T31" fmla="*/ 0 h 28"/>
                  <a:gd name="T32" fmla="*/ 5 w 12"/>
                  <a:gd name="T33" fmla="*/ 11 h 28"/>
                  <a:gd name="T34" fmla="*/ 8 w 12"/>
                  <a:gd name="T35" fmla="*/ 11 h 28"/>
                  <a:gd name="T36" fmla="*/ 8 w 12"/>
                  <a:gd name="T37" fmla="*/ 14 h 28"/>
                  <a:gd name="T38" fmla="*/ 5 w 12"/>
                  <a:gd name="T39" fmla="*/ 14 h 28"/>
                  <a:gd name="T40" fmla="*/ 5 w 12"/>
                  <a:gd name="T41" fmla="*/ 11 h 28"/>
                  <a:gd name="T42" fmla="*/ 0 w 12"/>
                  <a:gd name="T43" fmla="*/ 26 h 28"/>
                  <a:gd name="T44" fmla="*/ 1 w 12"/>
                  <a:gd name="T45" fmla="*/ 26 h 28"/>
                  <a:gd name="T46" fmla="*/ 1 w 12"/>
                  <a:gd name="T47" fmla="*/ 28 h 28"/>
                  <a:gd name="T48" fmla="*/ 0 w 12"/>
                  <a:gd name="T49" fmla="*/ 28 h 28"/>
                  <a:gd name="T50" fmla="*/ 0 w 12"/>
                  <a:gd name="T51" fmla="*/ 26 h 28"/>
                  <a:gd name="T52" fmla="*/ 3 w 12"/>
                  <a:gd name="T53" fmla="*/ 23 h 28"/>
                  <a:gd name="T54" fmla="*/ 5 w 12"/>
                  <a:gd name="T55" fmla="*/ 23 h 28"/>
                  <a:gd name="T56" fmla="*/ 5 w 12"/>
                  <a:gd name="T57" fmla="*/ 24 h 28"/>
                  <a:gd name="T58" fmla="*/ 3 w 12"/>
                  <a:gd name="T59" fmla="*/ 24 h 28"/>
                  <a:gd name="T60" fmla="*/ 3 w 12"/>
                  <a:gd name="T61" fmla="*/ 23 h 28"/>
                  <a:gd name="T62" fmla="*/ 8 w 12"/>
                  <a:gd name="T63" fmla="*/ 17 h 28"/>
                  <a:gd name="T64" fmla="*/ 10 w 12"/>
                  <a:gd name="T65" fmla="*/ 17 h 28"/>
                  <a:gd name="T66" fmla="*/ 8 w 12"/>
                  <a:gd name="T67" fmla="*/ 17 h 28"/>
                  <a:gd name="T68" fmla="*/ 1 w 12"/>
                  <a:gd name="T69" fmla="*/ 24 h 28"/>
                  <a:gd name="T70" fmla="*/ 1 w 12"/>
                  <a:gd name="T71" fmla="*/ 26 h 28"/>
                  <a:gd name="T72" fmla="*/ 1 w 12"/>
                  <a:gd name="T73" fmla="*/ 24 h 28"/>
                  <a:gd name="T74" fmla="*/ 10 w 12"/>
                  <a:gd name="T75" fmla="*/ 14 h 28"/>
                  <a:gd name="T76" fmla="*/ 10 w 12"/>
                  <a:gd name="T77" fmla="*/ 16 h 28"/>
                  <a:gd name="T78" fmla="*/ 10 w 12"/>
                  <a:gd name="T79"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 h="28">
                    <a:moveTo>
                      <a:pt x="10" y="0"/>
                    </a:moveTo>
                    <a:lnTo>
                      <a:pt x="12" y="2"/>
                    </a:lnTo>
                    <a:lnTo>
                      <a:pt x="12" y="4"/>
                    </a:lnTo>
                    <a:lnTo>
                      <a:pt x="12" y="6"/>
                    </a:lnTo>
                    <a:lnTo>
                      <a:pt x="10" y="6"/>
                    </a:lnTo>
                    <a:lnTo>
                      <a:pt x="10" y="7"/>
                    </a:lnTo>
                    <a:lnTo>
                      <a:pt x="10" y="9"/>
                    </a:lnTo>
                    <a:lnTo>
                      <a:pt x="8" y="9"/>
                    </a:lnTo>
                    <a:lnTo>
                      <a:pt x="7" y="9"/>
                    </a:lnTo>
                    <a:lnTo>
                      <a:pt x="7" y="7"/>
                    </a:lnTo>
                    <a:lnTo>
                      <a:pt x="5" y="6"/>
                    </a:lnTo>
                    <a:lnTo>
                      <a:pt x="5" y="4"/>
                    </a:lnTo>
                    <a:lnTo>
                      <a:pt x="7" y="4"/>
                    </a:lnTo>
                    <a:lnTo>
                      <a:pt x="7" y="2"/>
                    </a:lnTo>
                    <a:lnTo>
                      <a:pt x="8" y="0"/>
                    </a:lnTo>
                    <a:lnTo>
                      <a:pt x="10" y="0"/>
                    </a:lnTo>
                    <a:close/>
                    <a:moveTo>
                      <a:pt x="5" y="11"/>
                    </a:moveTo>
                    <a:lnTo>
                      <a:pt x="8" y="11"/>
                    </a:lnTo>
                    <a:lnTo>
                      <a:pt x="8" y="14"/>
                    </a:lnTo>
                    <a:lnTo>
                      <a:pt x="5" y="14"/>
                    </a:lnTo>
                    <a:lnTo>
                      <a:pt x="5" y="11"/>
                    </a:lnTo>
                    <a:close/>
                    <a:moveTo>
                      <a:pt x="0" y="26"/>
                    </a:moveTo>
                    <a:lnTo>
                      <a:pt x="1" y="26"/>
                    </a:lnTo>
                    <a:lnTo>
                      <a:pt x="1" y="28"/>
                    </a:lnTo>
                    <a:lnTo>
                      <a:pt x="0" y="28"/>
                    </a:lnTo>
                    <a:lnTo>
                      <a:pt x="0" y="26"/>
                    </a:lnTo>
                    <a:close/>
                    <a:moveTo>
                      <a:pt x="3" y="23"/>
                    </a:moveTo>
                    <a:lnTo>
                      <a:pt x="5" y="23"/>
                    </a:lnTo>
                    <a:lnTo>
                      <a:pt x="5" y="24"/>
                    </a:lnTo>
                    <a:lnTo>
                      <a:pt x="3" y="24"/>
                    </a:lnTo>
                    <a:lnTo>
                      <a:pt x="3" y="23"/>
                    </a:lnTo>
                    <a:close/>
                    <a:moveTo>
                      <a:pt x="8" y="17"/>
                    </a:moveTo>
                    <a:lnTo>
                      <a:pt x="10" y="17"/>
                    </a:lnTo>
                    <a:lnTo>
                      <a:pt x="8" y="17"/>
                    </a:lnTo>
                    <a:close/>
                    <a:moveTo>
                      <a:pt x="1" y="24"/>
                    </a:moveTo>
                    <a:lnTo>
                      <a:pt x="1" y="26"/>
                    </a:lnTo>
                    <a:lnTo>
                      <a:pt x="1" y="24"/>
                    </a:lnTo>
                    <a:close/>
                    <a:moveTo>
                      <a:pt x="10" y="14"/>
                    </a:moveTo>
                    <a:lnTo>
                      <a:pt x="10" y="16"/>
                    </a:lnTo>
                    <a:lnTo>
                      <a:pt x="10" y="1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6" name="Freeform 54">
                <a:extLst>
                  <a:ext uri="{FF2B5EF4-FFF2-40B4-BE49-F238E27FC236}">
                    <a16:creationId xmlns:a16="http://schemas.microsoft.com/office/drawing/2014/main" id="{8890AFAC-519C-3C24-CD06-1EC964D53C98}"/>
                  </a:ext>
                </a:extLst>
              </p:cNvPr>
              <p:cNvSpPr>
                <a:spLocks noEditPoints="1"/>
              </p:cNvSpPr>
              <p:nvPr/>
            </p:nvSpPr>
            <p:spPr bwMode="auto">
              <a:xfrm>
                <a:off x="5802525" y="2886916"/>
                <a:ext cx="40239" cy="41415"/>
              </a:xfrm>
              <a:custGeom>
                <a:avLst/>
                <a:gdLst>
                  <a:gd name="T0" fmla="*/ 134 w 137"/>
                  <a:gd name="T1" fmla="*/ 19 h 141"/>
                  <a:gd name="T2" fmla="*/ 127 w 137"/>
                  <a:gd name="T3" fmla="*/ 27 h 141"/>
                  <a:gd name="T4" fmla="*/ 120 w 137"/>
                  <a:gd name="T5" fmla="*/ 38 h 141"/>
                  <a:gd name="T6" fmla="*/ 124 w 137"/>
                  <a:gd name="T7" fmla="*/ 50 h 141"/>
                  <a:gd name="T8" fmla="*/ 124 w 137"/>
                  <a:gd name="T9" fmla="*/ 60 h 141"/>
                  <a:gd name="T10" fmla="*/ 125 w 137"/>
                  <a:gd name="T11" fmla="*/ 68 h 141"/>
                  <a:gd name="T12" fmla="*/ 132 w 137"/>
                  <a:gd name="T13" fmla="*/ 75 h 141"/>
                  <a:gd name="T14" fmla="*/ 137 w 137"/>
                  <a:gd name="T15" fmla="*/ 80 h 141"/>
                  <a:gd name="T16" fmla="*/ 136 w 137"/>
                  <a:gd name="T17" fmla="*/ 92 h 141"/>
                  <a:gd name="T18" fmla="*/ 131 w 137"/>
                  <a:gd name="T19" fmla="*/ 97 h 141"/>
                  <a:gd name="T20" fmla="*/ 131 w 137"/>
                  <a:gd name="T21" fmla="*/ 106 h 141"/>
                  <a:gd name="T22" fmla="*/ 127 w 137"/>
                  <a:gd name="T23" fmla="*/ 116 h 141"/>
                  <a:gd name="T24" fmla="*/ 120 w 137"/>
                  <a:gd name="T25" fmla="*/ 123 h 141"/>
                  <a:gd name="T26" fmla="*/ 117 w 137"/>
                  <a:gd name="T27" fmla="*/ 126 h 141"/>
                  <a:gd name="T28" fmla="*/ 108 w 137"/>
                  <a:gd name="T29" fmla="*/ 121 h 141"/>
                  <a:gd name="T30" fmla="*/ 102 w 137"/>
                  <a:gd name="T31" fmla="*/ 118 h 141"/>
                  <a:gd name="T32" fmla="*/ 93 w 137"/>
                  <a:gd name="T33" fmla="*/ 119 h 141"/>
                  <a:gd name="T34" fmla="*/ 85 w 137"/>
                  <a:gd name="T35" fmla="*/ 121 h 141"/>
                  <a:gd name="T36" fmla="*/ 78 w 137"/>
                  <a:gd name="T37" fmla="*/ 121 h 141"/>
                  <a:gd name="T38" fmla="*/ 69 w 137"/>
                  <a:gd name="T39" fmla="*/ 119 h 141"/>
                  <a:gd name="T40" fmla="*/ 66 w 137"/>
                  <a:gd name="T41" fmla="*/ 124 h 141"/>
                  <a:gd name="T42" fmla="*/ 71 w 137"/>
                  <a:gd name="T43" fmla="*/ 131 h 141"/>
                  <a:gd name="T44" fmla="*/ 71 w 137"/>
                  <a:gd name="T45" fmla="*/ 141 h 141"/>
                  <a:gd name="T46" fmla="*/ 59 w 137"/>
                  <a:gd name="T47" fmla="*/ 138 h 141"/>
                  <a:gd name="T48" fmla="*/ 51 w 137"/>
                  <a:gd name="T49" fmla="*/ 136 h 141"/>
                  <a:gd name="T50" fmla="*/ 44 w 137"/>
                  <a:gd name="T51" fmla="*/ 129 h 141"/>
                  <a:gd name="T52" fmla="*/ 37 w 137"/>
                  <a:gd name="T53" fmla="*/ 121 h 141"/>
                  <a:gd name="T54" fmla="*/ 34 w 137"/>
                  <a:gd name="T55" fmla="*/ 114 h 141"/>
                  <a:gd name="T56" fmla="*/ 29 w 137"/>
                  <a:gd name="T57" fmla="*/ 107 h 141"/>
                  <a:gd name="T58" fmla="*/ 30 w 137"/>
                  <a:gd name="T59" fmla="*/ 102 h 141"/>
                  <a:gd name="T60" fmla="*/ 27 w 137"/>
                  <a:gd name="T61" fmla="*/ 99 h 141"/>
                  <a:gd name="T62" fmla="*/ 27 w 137"/>
                  <a:gd name="T63" fmla="*/ 90 h 141"/>
                  <a:gd name="T64" fmla="*/ 22 w 137"/>
                  <a:gd name="T65" fmla="*/ 90 h 141"/>
                  <a:gd name="T66" fmla="*/ 13 w 137"/>
                  <a:gd name="T67" fmla="*/ 85 h 141"/>
                  <a:gd name="T68" fmla="*/ 8 w 137"/>
                  <a:gd name="T69" fmla="*/ 80 h 141"/>
                  <a:gd name="T70" fmla="*/ 3 w 137"/>
                  <a:gd name="T71" fmla="*/ 72 h 141"/>
                  <a:gd name="T72" fmla="*/ 1 w 137"/>
                  <a:gd name="T73" fmla="*/ 61 h 141"/>
                  <a:gd name="T74" fmla="*/ 5 w 137"/>
                  <a:gd name="T75" fmla="*/ 55 h 141"/>
                  <a:gd name="T76" fmla="*/ 8 w 137"/>
                  <a:gd name="T77" fmla="*/ 44 h 141"/>
                  <a:gd name="T78" fmla="*/ 8 w 137"/>
                  <a:gd name="T79" fmla="*/ 38 h 141"/>
                  <a:gd name="T80" fmla="*/ 17 w 137"/>
                  <a:gd name="T81" fmla="*/ 34 h 141"/>
                  <a:gd name="T82" fmla="*/ 25 w 137"/>
                  <a:gd name="T83" fmla="*/ 34 h 141"/>
                  <a:gd name="T84" fmla="*/ 29 w 137"/>
                  <a:gd name="T85" fmla="*/ 31 h 141"/>
                  <a:gd name="T86" fmla="*/ 27 w 137"/>
                  <a:gd name="T87" fmla="*/ 26 h 141"/>
                  <a:gd name="T88" fmla="*/ 29 w 137"/>
                  <a:gd name="T89" fmla="*/ 15 h 141"/>
                  <a:gd name="T90" fmla="*/ 34 w 137"/>
                  <a:gd name="T91" fmla="*/ 4 h 141"/>
                  <a:gd name="T92" fmla="*/ 42 w 137"/>
                  <a:gd name="T93" fmla="*/ 2 h 141"/>
                  <a:gd name="T94" fmla="*/ 54 w 137"/>
                  <a:gd name="T95" fmla="*/ 4 h 141"/>
                  <a:gd name="T96" fmla="*/ 66 w 137"/>
                  <a:gd name="T97" fmla="*/ 7 h 141"/>
                  <a:gd name="T98" fmla="*/ 73 w 137"/>
                  <a:gd name="T99" fmla="*/ 2 h 141"/>
                  <a:gd name="T100" fmla="*/ 86 w 137"/>
                  <a:gd name="T101" fmla="*/ 2 h 141"/>
                  <a:gd name="T102" fmla="*/ 98 w 137"/>
                  <a:gd name="T103" fmla="*/ 4 h 141"/>
                  <a:gd name="T104" fmla="*/ 100 w 137"/>
                  <a:gd name="T105" fmla="*/ 2 h 141"/>
                  <a:gd name="T106" fmla="*/ 112 w 137"/>
                  <a:gd name="T107" fmla="*/ 2 h 141"/>
                  <a:gd name="T108" fmla="*/ 124 w 137"/>
                  <a:gd name="T109" fmla="*/ 4 h 141"/>
                  <a:gd name="T110" fmla="*/ 136 w 137"/>
                  <a:gd name="T111" fmla="*/ 5 h 141"/>
                  <a:gd name="T112" fmla="*/ 34 w 137"/>
                  <a:gd name="T113" fmla="*/ 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7" h="141">
                    <a:moveTo>
                      <a:pt x="137" y="10"/>
                    </a:moveTo>
                    <a:lnTo>
                      <a:pt x="137" y="12"/>
                    </a:lnTo>
                    <a:lnTo>
                      <a:pt x="137" y="14"/>
                    </a:lnTo>
                    <a:lnTo>
                      <a:pt x="137" y="15"/>
                    </a:lnTo>
                    <a:lnTo>
                      <a:pt x="137" y="17"/>
                    </a:lnTo>
                    <a:lnTo>
                      <a:pt x="136" y="17"/>
                    </a:lnTo>
                    <a:lnTo>
                      <a:pt x="136" y="19"/>
                    </a:lnTo>
                    <a:lnTo>
                      <a:pt x="134" y="19"/>
                    </a:lnTo>
                    <a:lnTo>
                      <a:pt x="134" y="21"/>
                    </a:lnTo>
                    <a:lnTo>
                      <a:pt x="132" y="21"/>
                    </a:lnTo>
                    <a:lnTo>
                      <a:pt x="132" y="22"/>
                    </a:lnTo>
                    <a:lnTo>
                      <a:pt x="131" y="24"/>
                    </a:lnTo>
                    <a:lnTo>
                      <a:pt x="129" y="24"/>
                    </a:lnTo>
                    <a:lnTo>
                      <a:pt x="129" y="26"/>
                    </a:lnTo>
                    <a:lnTo>
                      <a:pt x="127" y="26"/>
                    </a:lnTo>
                    <a:lnTo>
                      <a:pt x="127" y="27"/>
                    </a:lnTo>
                    <a:lnTo>
                      <a:pt x="125" y="29"/>
                    </a:lnTo>
                    <a:lnTo>
                      <a:pt x="125" y="31"/>
                    </a:lnTo>
                    <a:lnTo>
                      <a:pt x="124" y="31"/>
                    </a:lnTo>
                    <a:lnTo>
                      <a:pt x="124" y="32"/>
                    </a:lnTo>
                    <a:lnTo>
                      <a:pt x="122" y="34"/>
                    </a:lnTo>
                    <a:lnTo>
                      <a:pt x="122" y="36"/>
                    </a:lnTo>
                    <a:lnTo>
                      <a:pt x="122" y="38"/>
                    </a:lnTo>
                    <a:lnTo>
                      <a:pt x="120" y="38"/>
                    </a:lnTo>
                    <a:lnTo>
                      <a:pt x="122" y="39"/>
                    </a:lnTo>
                    <a:lnTo>
                      <a:pt x="122" y="41"/>
                    </a:lnTo>
                    <a:lnTo>
                      <a:pt x="122" y="43"/>
                    </a:lnTo>
                    <a:lnTo>
                      <a:pt x="122" y="44"/>
                    </a:lnTo>
                    <a:lnTo>
                      <a:pt x="122" y="46"/>
                    </a:lnTo>
                    <a:lnTo>
                      <a:pt x="122" y="48"/>
                    </a:lnTo>
                    <a:lnTo>
                      <a:pt x="124" y="48"/>
                    </a:lnTo>
                    <a:lnTo>
                      <a:pt x="124" y="50"/>
                    </a:lnTo>
                    <a:lnTo>
                      <a:pt x="122" y="50"/>
                    </a:lnTo>
                    <a:lnTo>
                      <a:pt x="122" y="51"/>
                    </a:lnTo>
                    <a:lnTo>
                      <a:pt x="122" y="53"/>
                    </a:lnTo>
                    <a:lnTo>
                      <a:pt x="122" y="55"/>
                    </a:lnTo>
                    <a:lnTo>
                      <a:pt x="122" y="56"/>
                    </a:lnTo>
                    <a:lnTo>
                      <a:pt x="124" y="56"/>
                    </a:lnTo>
                    <a:lnTo>
                      <a:pt x="124" y="58"/>
                    </a:lnTo>
                    <a:lnTo>
                      <a:pt x="124" y="60"/>
                    </a:lnTo>
                    <a:lnTo>
                      <a:pt x="124" y="61"/>
                    </a:lnTo>
                    <a:lnTo>
                      <a:pt x="124" y="63"/>
                    </a:lnTo>
                    <a:lnTo>
                      <a:pt x="125" y="63"/>
                    </a:lnTo>
                    <a:lnTo>
                      <a:pt x="127" y="63"/>
                    </a:lnTo>
                    <a:lnTo>
                      <a:pt x="127" y="65"/>
                    </a:lnTo>
                    <a:lnTo>
                      <a:pt x="125" y="65"/>
                    </a:lnTo>
                    <a:lnTo>
                      <a:pt x="125" y="67"/>
                    </a:lnTo>
                    <a:lnTo>
                      <a:pt x="125" y="68"/>
                    </a:lnTo>
                    <a:lnTo>
                      <a:pt x="127" y="68"/>
                    </a:lnTo>
                    <a:lnTo>
                      <a:pt x="127" y="70"/>
                    </a:lnTo>
                    <a:lnTo>
                      <a:pt x="127" y="72"/>
                    </a:lnTo>
                    <a:lnTo>
                      <a:pt x="129" y="72"/>
                    </a:lnTo>
                    <a:lnTo>
                      <a:pt x="129" y="73"/>
                    </a:lnTo>
                    <a:lnTo>
                      <a:pt x="131" y="73"/>
                    </a:lnTo>
                    <a:lnTo>
                      <a:pt x="131" y="75"/>
                    </a:lnTo>
                    <a:lnTo>
                      <a:pt x="132" y="75"/>
                    </a:lnTo>
                    <a:lnTo>
                      <a:pt x="134" y="75"/>
                    </a:lnTo>
                    <a:lnTo>
                      <a:pt x="134" y="77"/>
                    </a:lnTo>
                    <a:lnTo>
                      <a:pt x="134" y="78"/>
                    </a:lnTo>
                    <a:lnTo>
                      <a:pt x="134" y="80"/>
                    </a:lnTo>
                    <a:lnTo>
                      <a:pt x="136" y="80"/>
                    </a:lnTo>
                    <a:lnTo>
                      <a:pt x="136" y="82"/>
                    </a:lnTo>
                    <a:lnTo>
                      <a:pt x="136" y="80"/>
                    </a:lnTo>
                    <a:lnTo>
                      <a:pt x="137" y="80"/>
                    </a:lnTo>
                    <a:lnTo>
                      <a:pt x="137" y="82"/>
                    </a:lnTo>
                    <a:lnTo>
                      <a:pt x="137" y="84"/>
                    </a:lnTo>
                    <a:lnTo>
                      <a:pt x="137" y="85"/>
                    </a:lnTo>
                    <a:lnTo>
                      <a:pt x="137" y="87"/>
                    </a:lnTo>
                    <a:lnTo>
                      <a:pt x="137" y="89"/>
                    </a:lnTo>
                    <a:lnTo>
                      <a:pt x="136" y="89"/>
                    </a:lnTo>
                    <a:lnTo>
                      <a:pt x="136" y="90"/>
                    </a:lnTo>
                    <a:lnTo>
                      <a:pt x="136" y="92"/>
                    </a:lnTo>
                    <a:lnTo>
                      <a:pt x="134" y="92"/>
                    </a:lnTo>
                    <a:lnTo>
                      <a:pt x="132" y="92"/>
                    </a:lnTo>
                    <a:lnTo>
                      <a:pt x="132" y="94"/>
                    </a:lnTo>
                    <a:lnTo>
                      <a:pt x="132" y="95"/>
                    </a:lnTo>
                    <a:lnTo>
                      <a:pt x="131" y="95"/>
                    </a:lnTo>
                    <a:lnTo>
                      <a:pt x="131" y="97"/>
                    </a:lnTo>
                    <a:lnTo>
                      <a:pt x="131" y="99"/>
                    </a:lnTo>
                    <a:lnTo>
                      <a:pt x="131" y="97"/>
                    </a:lnTo>
                    <a:lnTo>
                      <a:pt x="131" y="99"/>
                    </a:lnTo>
                    <a:lnTo>
                      <a:pt x="131" y="101"/>
                    </a:lnTo>
                    <a:lnTo>
                      <a:pt x="131" y="102"/>
                    </a:lnTo>
                    <a:lnTo>
                      <a:pt x="132" y="102"/>
                    </a:lnTo>
                    <a:lnTo>
                      <a:pt x="131" y="102"/>
                    </a:lnTo>
                    <a:lnTo>
                      <a:pt x="132" y="104"/>
                    </a:lnTo>
                    <a:lnTo>
                      <a:pt x="131" y="104"/>
                    </a:lnTo>
                    <a:lnTo>
                      <a:pt x="131" y="106"/>
                    </a:lnTo>
                    <a:lnTo>
                      <a:pt x="131" y="107"/>
                    </a:lnTo>
                    <a:lnTo>
                      <a:pt x="131" y="109"/>
                    </a:lnTo>
                    <a:lnTo>
                      <a:pt x="131" y="111"/>
                    </a:lnTo>
                    <a:lnTo>
                      <a:pt x="129" y="111"/>
                    </a:lnTo>
                    <a:lnTo>
                      <a:pt x="129" y="112"/>
                    </a:lnTo>
                    <a:lnTo>
                      <a:pt x="127" y="112"/>
                    </a:lnTo>
                    <a:lnTo>
                      <a:pt x="127" y="114"/>
                    </a:lnTo>
                    <a:lnTo>
                      <a:pt x="127" y="116"/>
                    </a:lnTo>
                    <a:lnTo>
                      <a:pt x="125" y="116"/>
                    </a:lnTo>
                    <a:lnTo>
                      <a:pt x="125" y="118"/>
                    </a:lnTo>
                    <a:lnTo>
                      <a:pt x="125" y="119"/>
                    </a:lnTo>
                    <a:lnTo>
                      <a:pt x="124" y="119"/>
                    </a:lnTo>
                    <a:lnTo>
                      <a:pt x="124" y="121"/>
                    </a:lnTo>
                    <a:lnTo>
                      <a:pt x="122" y="121"/>
                    </a:lnTo>
                    <a:lnTo>
                      <a:pt x="122" y="123"/>
                    </a:lnTo>
                    <a:lnTo>
                      <a:pt x="120" y="123"/>
                    </a:lnTo>
                    <a:lnTo>
                      <a:pt x="120" y="124"/>
                    </a:lnTo>
                    <a:lnTo>
                      <a:pt x="120" y="126"/>
                    </a:lnTo>
                    <a:lnTo>
                      <a:pt x="120" y="124"/>
                    </a:lnTo>
                    <a:lnTo>
                      <a:pt x="119" y="126"/>
                    </a:lnTo>
                    <a:lnTo>
                      <a:pt x="120" y="126"/>
                    </a:lnTo>
                    <a:lnTo>
                      <a:pt x="119" y="128"/>
                    </a:lnTo>
                    <a:lnTo>
                      <a:pt x="119" y="126"/>
                    </a:lnTo>
                    <a:lnTo>
                      <a:pt x="117" y="126"/>
                    </a:lnTo>
                    <a:lnTo>
                      <a:pt x="117" y="124"/>
                    </a:lnTo>
                    <a:lnTo>
                      <a:pt x="115" y="124"/>
                    </a:lnTo>
                    <a:lnTo>
                      <a:pt x="114" y="124"/>
                    </a:lnTo>
                    <a:lnTo>
                      <a:pt x="114" y="123"/>
                    </a:lnTo>
                    <a:lnTo>
                      <a:pt x="114" y="121"/>
                    </a:lnTo>
                    <a:lnTo>
                      <a:pt x="112" y="121"/>
                    </a:lnTo>
                    <a:lnTo>
                      <a:pt x="110" y="121"/>
                    </a:lnTo>
                    <a:lnTo>
                      <a:pt x="108" y="121"/>
                    </a:lnTo>
                    <a:lnTo>
                      <a:pt x="107" y="121"/>
                    </a:lnTo>
                    <a:lnTo>
                      <a:pt x="107" y="119"/>
                    </a:lnTo>
                    <a:lnTo>
                      <a:pt x="105" y="119"/>
                    </a:lnTo>
                    <a:lnTo>
                      <a:pt x="105" y="118"/>
                    </a:lnTo>
                    <a:lnTo>
                      <a:pt x="105" y="116"/>
                    </a:lnTo>
                    <a:lnTo>
                      <a:pt x="103" y="116"/>
                    </a:lnTo>
                    <a:lnTo>
                      <a:pt x="103" y="118"/>
                    </a:lnTo>
                    <a:lnTo>
                      <a:pt x="102" y="118"/>
                    </a:lnTo>
                    <a:lnTo>
                      <a:pt x="100" y="118"/>
                    </a:lnTo>
                    <a:lnTo>
                      <a:pt x="100" y="119"/>
                    </a:lnTo>
                    <a:lnTo>
                      <a:pt x="100" y="118"/>
                    </a:lnTo>
                    <a:lnTo>
                      <a:pt x="98" y="118"/>
                    </a:lnTo>
                    <a:lnTo>
                      <a:pt x="97" y="118"/>
                    </a:lnTo>
                    <a:lnTo>
                      <a:pt x="97" y="119"/>
                    </a:lnTo>
                    <a:lnTo>
                      <a:pt x="95" y="119"/>
                    </a:lnTo>
                    <a:lnTo>
                      <a:pt x="93" y="119"/>
                    </a:lnTo>
                    <a:lnTo>
                      <a:pt x="91" y="119"/>
                    </a:lnTo>
                    <a:lnTo>
                      <a:pt x="91" y="121"/>
                    </a:lnTo>
                    <a:lnTo>
                      <a:pt x="91" y="123"/>
                    </a:lnTo>
                    <a:lnTo>
                      <a:pt x="90" y="123"/>
                    </a:lnTo>
                    <a:lnTo>
                      <a:pt x="90" y="121"/>
                    </a:lnTo>
                    <a:lnTo>
                      <a:pt x="88" y="121"/>
                    </a:lnTo>
                    <a:lnTo>
                      <a:pt x="86" y="121"/>
                    </a:lnTo>
                    <a:lnTo>
                      <a:pt x="85" y="121"/>
                    </a:lnTo>
                    <a:lnTo>
                      <a:pt x="85" y="123"/>
                    </a:lnTo>
                    <a:lnTo>
                      <a:pt x="85" y="121"/>
                    </a:lnTo>
                    <a:lnTo>
                      <a:pt x="83" y="121"/>
                    </a:lnTo>
                    <a:lnTo>
                      <a:pt x="83" y="123"/>
                    </a:lnTo>
                    <a:lnTo>
                      <a:pt x="81" y="123"/>
                    </a:lnTo>
                    <a:lnTo>
                      <a:pt x="80" y="123"/>
                    </a:lnTo>
                    <a:lnTo>
                      <a:pt x="78" y="123"/>
                    </a:lnTo>
                    <a:lnTo>
                      <a:pt x="78" y="121"/>
                    </a:lnTo>
                    <a:lnTo>
                      <a:pt x="76" y="121"/>
                    </a:lnTo>
                    <a:lnTo>
                      <a:pt x="74" y="121"/>
                    </a:lnTo>
                    <a:lnTo>
                      <a:pt x="74" y="119"/>
                    </a:lnTo>
                    <a:lnTo>
                      <a:pt x="73" y="119"/>
                    </a:lnTo>
                    <a:lnTo>
                      <a:pt x="73" y="118"/>
                    </a:lnTo>
                    <a:lnTo>
                      <a:pt x="71" y="118"/>
                    </a:lnTo>
                    <a:lnTo>
                      <a:pt x="71" y="119"/>
                    </a:lnTo>
                    <a:lnTo>
                      <a:pt x="69" y="119"/>
                    </a:lnTo>
                    <a:lnTo>
                      <a:pt x="71" y="119"/>
                    </a:lnTo>
                    <a:lnTo>
                      <a:pt x="69" y="119"/>
                    </a:lnTo>
                    <a:lnTo>
                      <a:pt x="69" y="121"/>
                    </a:lnTo>
                    <a:lnTo>
                      <a:pt x="69" y="123"/>
                    </a:lnTo>
                    <a:lnTo>
                      <a:pt x="68" y="124"/>
                    </a:lnTo>
                    <a:lnTo>
                      <a:pt x="69" y="124"/>
                    </a:lnTo>
                    <a:lnTo>
                      <a:pt x="68" y="124"/>
                    </a:lnTo>
                    <a:lnTo>
                      <a:pt x="66" y="124"/>
                    </a:lnTo>
                    <a:lnTo>
                      <a:pt x="66" y="126"/>
                    </a:lnTo>
                    <a:lnTo>
                      <a:pt x="64" y="128"/>
                    </a:lnTo>
                    <a:lnTo>
                      <a:pt x="66" y="128"/>
                    </a:lnTo>
                    <a:lnTo>
                      <a:pt x="68" y="128"/>
                    </a:lnTo>
                    <a:lnTo>
                      <a:pt x="68" y="129"/>
                    </a:lnTo>
                    <a:lnTo>
                      <a:pt x="68" y="131"/>
                    </a:lnTo>
                    <a:lnTo>
                      <a:pt x="69" y="131"/>
                    </a:lnTo>
                    <a:lnTo>
                      <a:pt x="71" y="131"/>
                    </a:lnTo>
                    <a:lnTo>
                      <a:pt x="71" y="133"/>
                    </a:lnTo>
                    <a:lnTo>
                      <a:pt x="73" y="133"/>
                    </a:lnTo>
                    <a:lnTo>
                      <a:pt x="73" y="135"/>
                    </a:lnTo>
                    <a:lnTo>
                      <a:pt x="73" y="136"/>
                    </a:lnTo>
                    <a:lnTo>
                      <a:pt x="71" y="136"/>
                    </a:lnTo>
                    <a:lnTo>
                      <a:pt x="73" y="138"/>
                    </a:lnTo>
                    <a:lnTo>
                      <a:pt x="73" y="140"/>
                    </a:lnTo>
                    <a:lnTo>
                      <a:pt x="71" y="141"/>
                    </a:lnTo>
                    <a:lnTo>
                      <a:pt x="69" y="141"/>
                    </a:lnTo>
                    <a:lnTo>
                      <a:pt x="68" y="141"/>
                    </a:lnTo>
                    <a:lnTo>
                      <a:pt x="66" y="141"/>
                    </a:lnTo>
                    <a:lnTo>
                      <a:pt x="64" y="140"/>
                    </a:lnTo>
                    <a:lnTo>
                      <a:pt x="63" y="140"/>
                    </a:lnTo>
                    <a:lnTo>
                      <a:pt x="61" y="140"/>
                    </a:lnTo>
                    <a:lnTo>
                      <a:pt x="59" y="140"/>
                    </a:lnTo>
                    <a:lnTo>
                      <a:pt x="59" y="138"/>
                    </a:lnTo>
                    <a:lnTo>
                      <a:pt x="57" y="138"/>
                    </a:lnTo>
                    <a:lnTo>
                      <a:pt x="56" y="138"/>
                    </a:lnTo>
                    <a:lnTo>
                      <a:pt x="56" y="140"/>
                    </a:lnTo>
                    <a:lnTo>
                      <a:pt x="56" y="138"/>
                    </a:lnTo>
                    <a:lnTo>
                      <a:pt x="54" y="138"/>
                    </a:lnTo>
                    <a:lnTo>
                      <a:pt x="52" y="138"/>
                    </a:lnTo>
                    <a:lnTo>
                      <a:pt x="52" y="136"/>
                    </a:lnTo>
                    <a:lnTo>
                      <a:pt x="51" y="136"/>
                    </a:lnTo>
                    <a:lnTo>
                      <a:pt x="49" y="136"/>
                    </a:lnTo>
                    <a:lnTo>
                      <a:pt x="47" y="136"/>
                    </a:lnTo>
                    <a:lnTo>
                      <a:pt x="47" y="135"/>
                    </a:lnTo>
                    <a:lnTo>
                      <a:pt x="46" y="135"/>
                    </a:lnTo>
                    <a:lnTo>
                      <a:pt x="46" y="133"/>
                    </a:lnTo>
                    <a:lnTo>
                      <a:pt x="44" y="133"/>
                    </a:lnTo>
                    <a:lnTo>
                      <a:pt x="44" y="131"/>
                    </a:lnTo>
                    <a:lnTo>
                      <a:pt x="44" y="129"/>
                    </a:lnTo>
                    <a:lnTo>
                      <a:pt x="42" y="129"/>
                    </a:lnTo>
                    <a:lnTo>
                      <a:pt x="42" y="128"/>
                    </a:lnTo>
                    <a:lnTo>
                      <a:pt x="40" y="126"/>
                    </a:lnTo>
                    <a:lnTo>
                      <a:pt x="40" y="124"/>
                    </a:lnTo>
                    <a:lnTo>
                      <a:pt x="39" y="124"/>
                    </a:lnTo>
                    <a:lnTo>
                      <a:pt x="39" y="123"/>
                    </a:lnTo>
                    <a:lnTo>
                      <a:pt x="39" y="121"/>
                    </a:lnTo>
                    <a:lnTo>
                      <a:pt x="37" y="121"/>
                    </a:lnTo>
                    <a:lnTo>
                      <a:pt x="39" y="121"/>
                    </a:lnTo>
                    <a:lnTo>
                      <a:pt x="39" y="119"/>
                    </a:lnTo>
                    <a:lnTo>
                      <a:pt x="37" y="119"/>
                    </a:lnTo>
                    <a:lnTo>
                      <a:pt x="37" y="118"/>
                    </a:lnTo>
                    <a:lnTo>
                      <a:pt x="35" y="118"/>
                    </a:lnTo>
                    <a:lnTo>
                      <a:pt x="35" y="116"/>
                    </a:lnTo>
                    <a:lnTo>
                      <a:pt x="35" y="114"/>
                    </a:lnTo>
                    <a:lnTo>
                      <a:pt x="34" y="114"/>
                    </a:lnTo>
                    <a:lnTo>
                      <a:pt x="34" y="112"/>
                    </a:lnTo>
                    <a:lnTo>
                      <a:pt x="32" y="111"/>
                    </a:lnTo>
                    <a:lnTo>
                      <a:pt x="34" y="111"/>
                    </a:lnTo>
                    <a:lnTo>
                      <a:pt x="32" y="111"/>
                    </a:lnTo>
                    <a:lnTo>
                      <a:pt x="32" y="109"/>
                    </a:lnTo>
                    <a:lnTo>
                      <a:pt x="30" y="109"/>
                    </a:lnTo>
                    <a:lnTo>
                      <a:pt x="29" y="109"/>
                    </a:lnTo>
                    <a:lnTo>
                      <a:pt x="29" y="107"/>
                    </a:lnTo>
                    <a:lnTo>
                      <a:pt x="30" y="107"/>
                    </a:lnTo>
                    <a:lnTo>
                      <a:pt x="29" y="107"/>
                    </a:lnTo>
                    <a:lnTo>
                      <a:pt x="29" y="106"/>
                    </a:lnTo>
                    <a:lnTo>
                      <a:pt x="30" y="106"/>
                    </a:lnTo>
                    <a:lnTo>
                      <a:pt x="30" y="104"/>
                    </a:lnTo>
                    <a:lnTo>
                      <a:pt x="29" y="104"/>
                    </a:lnTo>
                    <a:lnTo>
                      <a:pt x="29" y="102"/>
                    </a:lnTo>
                    <a:lnTo>
                      <a:pt x="30" y="102"/>
                    </a:lnTo>
                    <a:lnTo>
                      <a:pt x="30" y="101"/>
                    </a:lnTo>
                    <a:lnTo>
                      <a:pt x="29" y="101"/>
                    </a:lnTo>
                    <a:lnTo>
                      <a:pt x="29" y="99"/>
                    </a:lnTo>
                    <a:lnTo>
                      <a:pt x="27" y="99"/>
                    </a:lnTo>
                    <a:lnTo>
                      <a:pt x="29" y="99"/>
                    </a:lnTo>
                    <a:lnTo>
                      <a:pt x="29" y="97"/>
                    </a:lnTo>
                    <a:lnTo>
                      <a:pt x="27" y="97"/>
                    </a:lnTo>
                    <a:lnTo>
                      <a:pt x="27" y="99"/>
                    </a:lnTo>
                    <a:lnTo>
                      <a:pt x="27" y="97"/>
                    </a:lnTo>
                    <a:lnTo>
                      <a:pt x="25" y="97"/>
                    </a:lnTo>
                    <a:lnTo>
                      <a:pt x="25" y="95"/>
                    </a:lnTo>
                    <a:lnTo>
                      <a:pt x="27" y="95"/>
                    </a:lnTo>
                    <a:lnTo>
                      <a:pt x="27" y="94"/>
                    </a:lnTo>
                    <a:lnTo>
                      <a:pt x="25" y="92"/>
                    </a:lnTo>
                    <a:lnTo>
                      <a:pt x="27" y="92"/>
                    </a:lnTo>
                    <a:lnTo>
                      <a:pt x="27" y="90"/>
                    </a:lnTo>
                    <a:lnTo>
                      <a:pt x="25" y="90"/>
                    </a:lnTo>
                    <a:lnTo>
                      <a:pt x="27" y="90"/>
                    </a:lnTo>
                    <a:lnTo>
                      <a:pt x="25" y="89"/>
                    </a:lnTo>
                    <a:lnTo>
                      <a:pt x="25" y="90"/>
                    </a:lnTo>
                    <a:lnTo>
                      <a:pt x="23" y="90"/>
                    </a:lnTo>
                    <a:lnTo>
                      <a:pt x="22" y="90"/>
                    </a:lnTo>
                    <a:lnTo>
                      <a:pt x="22" y="89"/>
                    </a:lnTo>
                    <a:lnTo>
                      <a:pt x="22" y="90"/>
                    </a:lnTo>
                    <a:lnTo>
                      <a:pt x="20" y="90"/>
                    </a:lnTo>
                    <a:lnTo>
                      <a:pt x="18" y="90"/>
                    </a:lnTo>
                    <a:lnTo>
                      <a:pt x="17" y="90"/>
                    </a:lnTo>
                    <a:lnTo>
                      <a:pt x="15" y="90"/>
                    </a:lnTo>
                    <a:lnTo>
                      <a:pt x="13" y="90"/>
                    </a:lnTo>
                    <a:lnTo>
                      <a:pt x="13" y="89"/>
                    </a:lnTo>
                    <a:lnTo>
                      <a:pt x="13" y="87"/>
                    </a:lnTo>
                    <a:lnTo>
                      <a:pt x="13" y="85"/>
                    </a:lnTo>
                    <a:lnTo>
                      <a:pt x="15" y="85"/>
                    </a:lnTo>
                    <a:lnTo>
                      <a:pt x="15" y="84"/>
                    </a:lnTo>
                    <a:lnTo>
                      <a:pt x="13" y="84"/>
                    </a:lnTo>
                    <a:lnTo>
                      <a:pt x="12" y="84"/>
                    </a:lnTo>
                    <a:lnTo>
                      <a:pt x="12" y="82"/>
                    </a:lnTo>
                    <a:lnTo>
                      <a:pt x="10" y="82"/>
                    </a:lnTo>
                    <a:lnTo>
                      <a:pt x="10" y="80"/>
                    </a:lnTo>
                    <a:lnTo>
                      <a:pt x="8" y="80"/>
                    </a:lnTo>
                    <a:lnTo>
                      <a:pt x="8" y="78"/>
                    </a:lnTo>
                    <a:lnTo>
                      <a:pt x="8" y="77"/>
                    </a:lnTo>
                    <a:lnTo>
                      <a:pt x="6" y="77"/>
                    </a:lnTo>
                    <a:lnTo>
                      <a:pt x="6" y="75"/>
                    </a:lnTo>
                    <a:lnTo>
                      <a:pt x="6" y="73"/>
                    </a:lnTo>
                    <a:lnTo>
                      <a:pt x="5" y="73"/>
                    </a:lnTo>
                    <a:lnTo>
                      <a:pt x="5" y="72"/>
                    </a:lnTo>
                    <a:lnTo>
                      <a:pt x="3" y="72"/>
                    </a:lnTo>
                    <a:lnTo>
                      <a:pt x="3" y="70"/>
                    </a:lnTo>
                    <a:lnTo>
                      <a:pt x="1" y="70"/>
                    </a:lnTo>
                    <a:lnTo>
                      <a:pt x="1" y="68"/>
                    </a:lnTo>
                    <a:lnTo>
                      <a:pt x="1" y="67"/>
                    </a:lnTo>
                    <a:lnTo>
                      <a:pt x="1" y="65"/>
                    </a:lnTo>
                    <a:lnTo>
                      <a:pt x="0" y="63"/>
                    </a:lnTo>
                    <a:lnTo>
                      <a:pt x="1" y="63"/>
                    </a:lnTo>
                    <a:lnTo>
                      <a:pt x="1" y="61"/>
                    </a:lnTo>
                    <a:lnTo>
                      <a:pt x="1" y="60"/>
                    </a:lnTo>
                    <a:lnTo>
                      <a:pt x="3" y="60"/>
                    </a:lnTo>
                    <a:lnTo>
                      <a:pt x="3" y="58"/>
                    </a:lnTo>
                    <a:lnTo>
                      <a:pt x="5" y="58"/>
                    </a:lnTo>
                    <a:lnTo>
                      <a:pt x="5" y="56"/>
                    </a:lnTo>
                    <a:lnTo>
                      <a:pt x="3" y="56"/>
                    </a:lnTo>
                    <a:lnTo>
                      <a:pt x="3" y="55"/>
                    </a:lnTo>
                    <a:lnTo>
                      <a:pt x="5" y="55"/>
                    </a:lnTo>
                    <a:lnTo>
                      <a:pt x="5" y="53"/>
                    </a:lnTo>
                    <a:lnTo>
                      <a:pt x="5" y="51"/>
                    </a:lnTo>
                    <a:lnTo>
                      <a:pt x="6" y="51"/>
                    </a:lnTo>
                    <a:lnTo>
                      <a:pt x="6" y="50"/>
                    </a:lnTo>
                    <a:lnTo>
                      <a:pt x="6" y="48"/>
                    </a:lnTo>
                    <a:lnTo>
                      <a:pt x="8" y="48"/>
                    </a:lnTo>
                    <a:lnTo>
                      <a:pt x="8" y="46"/>
                    </a:lnTo>
                    <a:lnTo>
                      <a:pt x="8" y="44"/>
                    </a:lnTo>
                    <a:lnTo>
                      <a:pt x="6" y="44"/>
                    </a:lnTo>
                    <a:lnTo>
                      <a:pt x="6" y="43"/>
                    </a:lnTo>
                    <a:lnTo>
                      <a:pt x="5" y="43"/>
                    </a:lnTo>
                    <a:lnTo>
                      <a:pt x="5" y="41"/>
                    </a:lnTo>
                    <a:lnTo>
                      <a:pt x="5" y="39"/>
                    </a:lnTo>
                    <a:lnTo>
                      <a:pt x="6" y="39"/>
                    </a:lnTo>
                    <a:lnTo>
                      <a:pt x="6" y="38"/>
                    </a:lnTo>
                    <a:lnTo>
                      <a:pt x="8" y="38"/>
                    </a:lnTo>
                    <a:lnTo>
                      <a:pt x="10" y="38"/>
                    </a:lnTo>
                    <a:lnTo>
                      <a:pt x="10" y="36"/>
                    </a:lnTo>
                    <a:lnTo>
                      <a:pt x="12" y="36"/>
                    </a:lnTo>
                    <a:lnTo>
                      <a:pt x="12" y="34"/>
                    </a:lnTo>
                    <a:lnTo>
                      <a:pt x="13" y="34"/>
                    </a:lnTo>
                    <a:lnTo>
                      <a:pt x="15" y="36"/>
                    </a:lnTo>
                    <a:lnTo>
                      <a:pt x="15" y="34"/>
                    </a:lnTo>
                    <a:lnTo>
                      <a:pt x="17" y="34"/>
                    </a:lnTo>
                    <a:lnTo>
                      <a:pt x="18" y="34"/>
                    </a:lnTo>
                    <a:lnTo>
                      <a:pt x="20" y="36"/>
                    </a:lnTo>
                    <a:lnTo>
                      <a:pt x="20" y="34"/>
                    </a:lnTo>
                    <a:lnTo>
                      <a:pt x="22" y="34"/>
                    </a:lnTo>
                    <a:lnTo>
                      <a:pt x="22" y="36"/>
                    </a:lnTo>
                    <a:lnTo>
                      <a:pt x="22" y="34"/>
                    </a:lnTo>
                    <a:lnTo>
                      <a:pt x="23" y="34"/>
                    </a:lnTo>
                    <a:lnTo>
                      <a:pt x="25" y="34"/>
                    </a:lnTo>
                    <a:lnTo>
                      <a:pt x="27" y="34"/>
                    </a:lnTo>
                    <a:lnTo>
                      <a:pt x="27" y="32"/>
                    </a:lnTo>
                    <a:lnTo>
                      <a:pt x="25" y="32"/>
                    </a:lnTo>
                    <a:lnTo>
                      <a:pt x="25" y="31"/>
                    </a:lnTo>
                    <a:lnTo>
                      <a:pt x="25" y="29"/>
                    </a:lnTo>
                    <a:lnTo>
                      <a:pt x="27" y="29"/>
                    </a:lnTo>
                    <a:lnTo>
                      <a:pt x="29" y="29"/>
                    </a:lnTo>
                    <a:lnTo>
                      <a:pt x="29" y="31"/>
                    </a:lnTo>
                    <a:lnTo>
                      <a:pt x="29" y="29"/>
                    </a:lnTo>
                    <a:lnTo>
                      <a:pt x="30" y="29"/>
                    </a:lnTo>
                    <a:lnTo>
                      <a:pt x="30" y="27"/>
                    </a:lnTo>
                    <a:lnTo>
                      <a:pt x="29" y="27"/>
                    </a:lnTo>
                    <a:lnTo>
                      <a:pt x="29" y="26"/>
                    </a:lnTo>
                    <a:lnTo>
                      <a:pt x="27" y="26"/>
                    </a:lnTo>
                    <a:lnTo>
                      <a:pt x="27" y="27"/>
                    </a:lnTo>
                    <a:lnTo>
                      <a:pt x="27" y="26"/>
                    </a:lnTo>
                    <a:lnTo>
                      <a:pt x="27" y="24"/>
                    </a:lnTo>
                    <a:lnTo>
                      <a:pt x="25" y="24"/>
                    </a:lnTo>
                    <a:lnTo>
                      <a:pt x="25" y="22"/>
                    </a:lnTo>
                    <a:lnTo>
                      <a:pt x="27" y="22"/>
                    </a:lnTo>
                    <a:lnTo>
                      <a:pt x="27" y="21"/>
                    </a:lnTo>
                    <a:lnTo>
                      <a:pt x="27" y="19"/>
                    </a:lnTo>
                    <a:lnTo>
                      <a:pt x="29" y="17"/>
                    </a:lnTo>
                    <a:lnTo>
                      <a:pt x="29" y="15"/>
                    </a:lnTo>
                    <a:lnTo>
                      <a:pt x="30" y="14"/>
                    </a:lnTo>
                    <a:lnTo>
                      <a:pt x="30" y="12"/>
                    </a:lnTo>
                    <a:lnTo>
                      <a:pt x="32" y="12"/>
                    </a:lnTo>
                    <a:lnTo>
                      <a:pt x="32" y="10"/>
                    </a:lnTo>
                    <a:lnTo>
                      <a:pt x="32" y="9"/>
                    </a:lnTo>
                    <a:lnTo>
                      <a:pt x="32" y="7"/>
                    </a:lnTo>
                    <a:lnTo>
                      <a:pt x="34" y="5"/>
                    </a:lnTo>
                    <a:lnTo>
                      <a:pt x="34" y="4"/>
                    </a:lnTo>
                    <a:lnTo>
                      <a:pt x="34" y="2"/>
                    </a:lnTo>
                    <a:lnTo>
                      <a:pt x="35" y="2"/>
                    </a:lnTo>
                    <a:lnTo>
                      <a:pt x="37" y="2"/>
                    </a:lnTo>
                    <a:lnTo>
                      <a:pt x="37" y="0"/>
                    </a:lnTo>
                    <a:lnTo>
                      <a:pt x="39" y="0"/>
                    </a:lnTo>
                    <a:lnTo>
                      <a:pt x="39" y="2"/>
                    </a:lnTo>
                    <a:lnTo>
                      <a:pt x="40" y="2"/>
                    </a:lnTo>
                    <a:lnTo>
                      <a:pt x="42" y="2"/>
                    </a:lnTo>
                    <a:lnTo>
                      <a:pt x="44" y="2"/>
                    </a:lnTo>
                    <a:lnTo>
                      <a:pt x="46" y="2"/>
                    </a:lnTo>
                    <a:lnTo>
                      <a:pt x="47" y="2"/>
                    </a:lnTo>
                    <a:lnTo>
                      <a:pt x="49" y="2"/>
                    </a:lnTo>
                    <a:lnTo>
                      <a:pt x="49" y="4"/>
                    </a:lnTo>
                    <a:lnTo>
                      <a:pt x="51" y="4"/>
                    </a:lnTo>
                    <a:lnTo>
                      <a:pt x="52" y="4"/>
                    </a:lnTo>
                    <a:lnTo>
                      <a:pt x="54" y="4"/>
                    </a:lnTo>
                    <a:lnTo>
                      <a:pt x="56" y="4"/>
                    </a:lnTo>
                    <a:lnTo>
                      <a:pt x="57" y="4"/>
                    </a:lnTo>
                    <a:lnTo>
                      <a:pt x="59" y="5"/>
                    </a:lnTo>
                    <a:lnTo>
                      <a:pt x="61" y="5"/>
                    </a:lnTo>
                    <a:lnTo>
                      <a:pt x="63" y="5"/>
                    </a:lnTo>
                    <a:lnTo>
                      <a:pt x="64" y="5"/>
                    </a:lnTo>
                    <a:lnTo>
                      <a:pt x="66" y="5"/>
                    </a:lnTo>
                    <a:lnTo>
                      <a:pt x="66" y="7"/>
                    </a:lnTo>
                    <a:lnTo>
                      <a:pt x="68" y="7"/>
                    </a:lnTo>
                    <a:lnTo>
                      <a:pt x="69" y="7"/>
                    </a:lnTo>
                    <a:lnTo>
                      <a:pt x="71" y="7"/>
                    </a:lnTo>
                    <a:lnTo>
                      <a:pt x="73" y="7"/>
                    </a:lnTo>
                    <a:lnTo>
                      <a:pt x="71" y="5"/>
                    </a:lnTo>
                    <a:lnTo>
                      <a:pt x="71" y="4"/>
                    </a:lnTo>
                    <a:lnTo>
                      <a:pt x="73" y="4"/>
                    </a:lnTo>
                    <a:lnTo>
                      <a:pt x="73" y="2"/>
                    </a:lnTo>
                    <a:lnTo>
                      <a:pt x="74" y="2"/>
                    </a:lnTo>
                    <a:lnTo>
                      <a:pt x="76" y="2"/>
                    </a:lnTo>
                    <a:lnTo>
                      <a:pt x="78" y="2"/>
                    </a:lnTo>
                    <a:lnTo>
                      <a:pt x="80" y="2"/>
                    </a:lnTo>
                    <a:lnTo>
                      <a:pt x="81" y="2"/>
                    </a:lnTo>
                    <a:lnTo>
                      <a:pt x="83" y="0"/>
                    </a:lnTo>
                    <a:lnTo>
                      <a:pt x="85" y="2"/>
                    </a:lnTo>
                    <a:lnTo>
                      <a:pt x="86" y="2"/>
                    </a:lnTo>
                    <a:lnTo>
                      <a:pt x="88" y="2"/>
                    </a:lnTo>
                    <a:lnTo>
                      <a:pt x="90" y="2"/>
                    </a:lnTo>
                    <a:lnTo>
                      <a:pt x="91" y="2"/>
                    </a:lnTo>
                    <a:lnTo>
                      <a:pt x="93" y="2"/>
                    </a:lnTo>
                    <a:lnTo>
                      <a:pt x="93" y="4"/>
                    </a:lnTo>
                    <a:lnTo>
                      <a:pt x="95" y="4"/>
                    </a:lnTo>
                    <a:lnTo>
                      <a:pt x="97" y="4"/>
                    </a:lnTo>
                    <a:lnTo>
                      <a:pt x="98" y="4"/>
                    </a:lnTo>
                    <a:lnTo>
                      <a:pt x="100" y="5"/>
                    </a:lnTo>
                    <a:lnTo>
                      <a:pt x="102" y="5"/>
                    </a:lnTo>
                    <a:lnTo>
                      <a:pt x="103" y="5"/>
                    </a:lnTo>
                    <a:lnTo>
                      <a:pt x="102" y="4"/>
                    </a:lnTo>
                    <a:lnTo>
                      <a:pt x="100" y="4"/>
                    </a:lnTo>
                    <a:lnTo>
                      <a:pt x="98" y="4"/>
                    </a:lnTo>
                    <a:lnTo>
                      <a:pt x="98" y="2"/>
                    </a:lnTo>
                    <a:lnTo>
                      <a:pt x="100" y="2"/>
                    </a:lnTo>
                    <a:lnTo>
                      <a:pt x="102" y="2"/>
                    </a:lnTo>
                    <a:lnTo>
                      <a:pt x="103" y="0"/>
                    </a:lnTo>
                    <a:lnTo>
                      <a:pt x="103" y="2"/>
                    </a:lnTo>
                    <a:lnTo>
                      <a:pt x="105" y="2"/>
                    </a:lnTo>
                    <a:lnTo>
                      <a:pt x="107" y="2"/>
                    </a:lnTo>
                    <a:lnTo>
                      <a:pt x="108" y="2"/>
                    </a:lnTo>
                    <a:lnTo>
                      <a:pt x="110" y="2"/>
                    </a:lnTo>
                    <a:lnTo>
                      <a:pt x="112" y="2"/>
                    </a:lnTo>
                    <a:lnTo>
                      <a:pt x="114" y="2"/>
                    </a:lnTo>
                    <a:lnTo>
                      <a:pt x="115" y="2"/>
                    </a:lnTo>
                    <a:lnTo>
                      <a:pt x="117" y="2"/>
                    </a:lnTo>
                    <a:lnTo>
                      <a:pt x="119" y="2"/>
                    </a:lnTo>
                    <a:lnTo>
                      <a:pt x="120" y="2"/>
                    </a:lnTo>
                    <a:lnTo>
                      <a:pt x="120" y="4"/>
                    </a:lnTo>
                    <a:lnTo>
                      <a:pt x="122" y="4"/>
                    </a:lnTo>
                    <a:lnTo>
                      <a:pt x="124" y="4"/>
                    </a:lnTo>
                    <a:lnTo>
                      <a:pt x="125" y="4"/>
                    </a:lnTo>
                    <a:lnTo>
                      <a:pt x="127" y="4"/>
                    </a:lnTo>
                    <a:lnTo>
                      <a:pt x="129" y="4"/>
                    </a:lnTo>
                    <a:lnTo>
                      <a:pt x="129" y="5"/>
                    </a:lnTo>
                    <a:lnTo>
                      <a:pt x="131" y="5"/>
                    </a:lnTo>
                    <a:lnTo>
                      <a:pt x="132" y="5"/>
                    </a:lnTo>
                    <a:lnTo>
                      <a:pt x="134" y="5"/>
                    </a:lnTo>
                    <a:lnTo>
                      <a:pt x="136" y="5"/>
                    </a:lnTo>
                    <a:lnTo>
                      <a:pt x="136" y="7"/>
                    </a:lnTo>
                    <a:lnTo>
                      <a:pt x="137" y="7"/>
                    </a:lnTo>
                    <a:lnTo>
                      <a:pt x="137" y="9"/>
                    </a:lnTo>
                    <a:lnTo>
                      <a:pt x="137" y="10"/>
                    </a:lnTo>
                    <a:close/>
                    <a:moveTo>
                      <a:pt x="32" y="9"/>
                    </a:moveTo>
                    <a:lnTo>
                      <a:pt x="32" y="7"/>
                    </a:lnTo>
                    <a:lnTo>
                      <a:pt x="32" y="5"/>
                    </a:lnTo>
                    <a:lnTo>
                      <a:pt x="34" y="4"/>
                    </a:lnTo>
                    <a:lnTo>
                      <a:pt x="34" y="5"/>
                    </a:lnTo>
                    <a:lnTo>
                      <a:pt x="32" y="7"/>
                    </a:lnTo>
                    <a:lnTo>
                      <a:pt x="32" y="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7" name="Freeform 55">
                <a:extLst>
                  <a:ext uri="{FF2B5EF4-FFF2-40B4-BE49-F238E27FC236}">
                    <a16:creationId xmlns:a16="http://schemas.microsoft.com/office/drawing/2014/main" id="{058881AD-BEFA-0335-69BF-A8B5B4DEA6FC}"/>
                  </a:ext>
                </a:extLst>
              </p:cNvPr>
              <p:cNvSpPr>
                <a:spLocks noEditPoints="1"/>
              </p:cNvSpPr>
              <p:nvPr/>
            </p:nvSpPr>
            <p:spPr bwMode="auto">
              <a:xfrm>
                <a:off x="5764341" y="2833458"/>
                <a:ext cx="13512" cy="12925"/>
              </a:xfrm>
              <a:custGeom>
                <a:avLst/>
                <a:gdLst>
                  <a:gd name="T0" fmla="*/ 34 w 46"/>
                  <a:gd name="T1" fmla="*/ 17 h 44"/>
                  <a:gd name="T2" fmla="*/ 33 w 46"/>
                  <a:gd name="T3" fmla="*/ 21 h 44"/>
                  <a:gd name="T4" fmla="*/ 29 w 46"/>
                  <a:gd name="T5" fmla="*/ 22 h 44"/>
                  <a:gd name="T6" fmla="*/ 31 w 46"/>
                  <a:gd name="T7" fmla="*/ 26 h 44"/>
                  <a:gd name="T8" fmla="*/ 29 w 46"/>
                  <a:gd name="T9" fmla="*/ 29 h 44"/>
                  <a:gd name="T10" fmla="*/ 31 w 46"/>
                  <a:gd name="T11" fmla="*/ 32 h 44"/>
                  <a:gd name="T12" fmla="*/ 31 w 46"/>
                  <a:gd name="T13" fmla="*/ 36 h 44"/>
                  <a:gd name="T14" fmla="*/ 31 w 46"/>
                  <a:gd name="T15" fmla="*/ 41 h 44"/>
                  <a:gd name="T16" fmla="*/ 28 w 46"/>
                  <a:gd name="T17" fmla="*/ 43 h 44"/>
                  <a:gd name="T18" fmla="*/ 24 w 46"/>
                  <a:gd name="T19" fmla="*/ 44 h 44"/>
                  <a:gd name="T20" fmla="*/ 23 w 46"/>
                  <a:gd name="T21" fmla="*/ 44 h 44"/>
                  <a:gd name="T22" fmla="*/ 19 w 46"/>
                  <a:gd name="T23" fmla="*/ 44 h 44"/>
                  <a:gd name="T24" fmla="*/ 14 w 46"/>
                  <a:gd name="T25" fmla="*/ 44 h 44"/>
                  <a:gd name="T26" fmla="*/ 9 w 46"/>
                  <a:gd name="T27" fmla="*/ 44 h 44"/>
                  <a:gd name="T28" fmla="*/ 6 w 46"/>
                  <a:gd name="T29" fmla="*/ 43 h 44"/>
                  <a:gd name="T30" fmla="*/ 4 w 46"/>
                  <a:gd name="T31" fmla="*/ 43 h 44"/>
                  <a:gd name="T32" fmla="*/ 0 w 46"/>
                  <a:gd name="T33" fmla="*/ 44 h 44"/>
                  <a:gd name="T34" fmla="*/ 4 w 46"/>
                  <a:gd name="T35" fmla="*/ 43 h 44"/>
                  <a:gd name="T36" fmla="*/ 7 w 46"/>
                  <a:gd name="T37" fmla="*/ 41 h 44"/>
                  <a:gd name="T38" fmla="*/ 9 w 46"/>
                  <a:gd name="T39" fmla="*/ 38 h 44"/>
                  <a:gd name="T40" fmla="*/ 12 w 46"/>
                  <a:gd name="T41" fmla="*/ 38 h 44"/>
                  <a:gd name="T42" fmla="*/ 16 w 46"/>
                  <a:gd name="T43" fmla="*/ 36 h 44"/>
                  <a:gd name="T44" fmla="*/ 14 w 46"/>
                  <a:gd name="T45" fmla="*/ 32 h 44"/>
                  <a:gd name="T46" fmla="*/ 16 w 46"/>
                  <a:gd name="T47" fmla="*/ 27 h 44"/>
                  <a:gd name="T48" fmla="*/ 12 w 46"/>
                  <a:gd name="T49" fmla="*/ 24 h 44"/>
                  <a:gd name="T50" fmla="*/ 9 w 46"/>
                  <a:gd name="T51" fmla="*/ 24 h 44"/>
                  <a:gd name="T52" fmla="*/ 11 w 46"/>
                  <a:gd name="T53" fmla="*/ 21 h 44"/>
                  <a:gd name="T54" fmla="*/ 16 w 46"/>
                  <a:gd name="T55" fmla="*/ 19 h 44"/>
                  <a:gd name="T56" fmla="*/ 19 w 46"/>
                  <a:gd name="T57" fmla="*/ 19 h 44"/>
                  <a:gd name="T58" fmla="*/ 24 w 46"/>
                  <a:gd name="T59" fmla="*/ 19 h 44"/>
                  <a:gd name="T60" fmla="*/ 29 w 46"/>
                  <a:gd name="T61" fmla="*/ 17 h 44"/>
                  <a:gd name="T62" fmla="*/ 46 w 46"/>
                  <a:gd name="T63" fmla="*/ 2 h 44"/>
                  <a:gd name="T64" fmla="*/ 45 w 46"/>
                  <a:gd name="T65" fmla="*/ 5 h 44"/>
                  <a:gd name="T66" fmla="*/ 41 w 46"/>
                  <a:gd name="T67" fmla="*/ 7 h 44"/>
                  <a:gd name="T68" fmla="*/ 38 w 46"/>
                  <a:gd name="T69" fmla="*/ 7 h 44"/>
                  <a:gd name="T70" fmla="*/ 38 w 46"/>
                  <a:gd name="T71" fmla="*/ 7 h 44"/>
                  <a:gd name="T72" fmla="*/ 38 w 46"/>
                  <a:gd name="T73" fmla="*/ 4 h 44"/>
                  <a:gd name="T74" fmla="*/ 41 w 46"/>
                  <a:gd name="T75" fmla="*/ 2 h 44"/>
                  <a:gd name="T76" fmla="*/ 45 w 46"/>
                  <a:gd name="T77" fmla="*/ 0 h 44"/>
                  <a:gd name="T78" fmla="*/ 7 w 46"/>
                  <a:gd name="T79" fmla="*/ 22 h 44"/>
                  <a:gd name="T80" fmla="*/ 6 w 46"/>
                  <a:gd name="T81" fmla="*/ 22 h 44"/>
                  <a:gd name="T82" fmla="*/ 6 w 46"/>
                  <a:gd name="T83"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6" h="44">
                    <a:moveTo>
                      <a:pt x="31" y="17"/>
                    </a:moveTo>
                    <a:lnTo>
                      <a:pt x="33" y="17"/>
                    </a:lnTo>
                    <a:lnTo>
                      <a:pt x="34" y="17"/>
                    </a:lnTo>
                    <a:lnTo>
                      <a:pt x="34" y="19"/>
                    </a:lnTo>
                    <a:lnTo>
                      <a:pt x="33" y="19"/>
                    </a:lnTo>
                    <a:lnTo>
                      <a:pt x="33" y="21"/>
                    </a:lnTo>
                    <a:lnTo>
                      <a:pt x="31" y="21"/>
                    </a:lnTo>
                    <a:lnTo>
                      <a:pt x="31" y="22"/>
                    </a:lnTo>
                    <a:lnTo>
                      <a:pt x="29" y="22"/>
                    </a:lnTo>
                    <a:lnTo>
                      <a:pt x="29" y="24"/>
                    </a:lnTo>
                    <a:lnTo>
                      <a:pt x="29" y="26"/>
                    </a:lnTo>
                    <a:lnTo>
                      <a:pt x="31" y="26"/>
                    </a:lnTo>
                    <a:lnTo>
                      <a:pt x="31" y="27"/>
                    </a:lnTo>
                    <a:lnTo>
                      <a:pt x="31" y="29"/>
                    </a:lnTo>
                    <a:lnTo>
                      <a:pt x="29" y="29"/>
                    </a:lnTo>
                    <a:lnTo>
                      <a:pt x="29" y="31"/>
                    </a:lnTo>
                    <a:lnTo>
                      <a:pt x="29" y="32"/>
                    </a:lnTo>
                    <a:lnTo>
                      <a:pt x="31" y="32"/>
                    </a:lnTo>
                    <a:lnTo>
                      <a:pt x="31" y="34"/>
                    </a:lnTo>
                    <a:lnTo>
                      <a:pt x="33" y="34"/>
                    </a:lnTo>
                    <a:lnTo>
                      <a:pt x="31" y="36"/>
                    </a:lnTo>
                    <a:lnTo>
                      <a:pt x="31" y="38"/>
                    </a:lnTo>
                    <a:lnTo>
                      <a:pt x="31" y="39"/>
                    </a:lnTo>
                    <a:lnTo>
                      <a:pt x="31" y="41"/>
                    </a:lnTo>
                    <a:lnTo>
                      <a:pt x="29" y="41"/>
                    </a:lnTo>
                    <a:lnTo>
                      <a:pt x="29" y="43"/>
                    </a:lnTo>
                    <a:lnTo>
                      <a:pt x="28" y="43"/>
                    </a:lnTo>
                    <a:lnTo>
                      <a:pt x="26" y="43"/>
                    </a:lnTo>
                    <a:lnTo>
                      <a:pt x="26" y="44"/>
                    </a:lnTo>
                    <a:lnTo>
                      <a:pt x="24" y="44"/>
                    </a:lnTo>
                    <a:lnTo>
                      <a:pt x="23" y="44"/>
                    </a:lnTo>
                    <a:lnTo>
                      <a:pt x="23" y="43"/>
                    </a:lnTo>
                    <a:lnTo>
                      <a:pt x="23" y="44"/>
                    </a:lnTo>
                    <a:lnTo>
                      <a:pt x="21" y="43"/>
                    </a:lnTo>
                    <a:lnTo>
                      <a:pt x="21" y="44"/>
                    </a:lnTo>
                    <a:lnTo>
                      <a:pt x="19" y="44"/>
                    </a:lnTo>
                    <a:lnTo>
                      <a:pt x="17" y="44"/>
                    </a:lnTo>
                    <a:lnTo>
                      <a:pt x="16" y="44"/>
                    </a:lnTo>
                    <a:lnTo>
                      <a:pt x="14" y="44"/>
                    </a:lnTo>
                    <a:lnTo>
                      <a:pt x="12" y="44"/>
                    </a:lnTo>
                    <a:lnTo>
                      <a:pt x="11" y="44"/>
                    </a:lnTo>
                    <a:lnTo>
                      <a:pt x="9" y="44"/>
                    </a:lnTo>
                    <a:lnTo>
                      <a:pt x="7" y="44"/>
                    </a:lnTo>
                    <a:lnTo>
                      <a:pt x="7" y="43"/>
                    </a:lnTo>
                    <a:lnTo>
                      <a:pt x="6" y="43"/>
                    </a:lnTo>
                    <a:lnTo>
                      <a:pt x="6" y="44"/>
                    </a:lnTo>
                    <a:lnTo>
                      <a:pt x="4" y="44"/>
                    </a:lnTo>
                    <a:lnTo>
                      <a:pt x="4" y="43"/>
                    </a:lnTo>
                    <a:lnTo>
                      <a:pt x="4" y="44"/>
                    </a:lnTo>
                    <a:lnTo>
                      <a:pt x="2" y="44"/>
                    </a:lnTo>
                    <a:lnTo>
                      <a:pt x="0" y="44"/>
                    </a:lnTo>
                    <a:lnTo>
                      <a:pt x="0" y="43"/>
                    </a:lnTo>
                    <a:lnTo>
                      <a:pt x="2" y="43"/>
                    </a:lnTo>
                    <a:lnTo>
                      <a:pt x="4" y="43"/>
                    </a:lnTo>
                    <a:lnTo>
                      <a:pt x="4" y="41"/>
                    </a:lnTo>
                    <a:lnTo>
                      <a:pt x="6" y="41"/>
                    </a:lnTo>
                    <a:lnTo>
                      <a:pt x="7" y="41"/>
                    </a:lnTo>
                    <a:lnTo>
                      <a:pt x="7" y="39"/>
                    </a:lnTo>
                    <a:lnTo>
                      <a:pt x="9" y="39"/>
                    </a:lnTo>
                    <a:lnTo>
                      <a:pt x="9" y="38"/>
                    </a:lnTo>
                    <a:lnTo>
                      <a:pt x="11" y="38"/>
                    </a:lnTo>
                    <a:lnTo>
                      <a:pt x="12" y="39"/>
                    </a:lnTo>
                    <a:lnTo>
                      <a:pt x="12" y="38"/>
                    </a:lnTo>
                    <a:lnTo>
                      <a:pt x="14" y="38"/>
                    </a:lnTo>
                    <a:lnTo>
                      <a:pt x="16" y="38"/>
                    </a:lnTo>
                    <a:lnTo>
                      <a:pt x="16" y="36"/>
                    </a:lnTo>
                    <a:lnTo>
                      <a:pt x="16" y="34"/>
                    </a:lnTo>
                    <a:lnTo>
                      <a:pt x="14" y="34"/>
                    </a:lnTo>
                    <a:lnTo>
                      <a:pt x="14" y="32"/>
                    </a:lnTo>
                    <a:lnTo>
                      <a:pt x="14" y="31"/>
                    </a:lnTo>
                    <a:lnTo>
                      <a:pt x="16" y="29"/>
                    </a:lnTo>
                    <a:lnTo>
                      <a:pt x="16" y="27"/>
                    </a:lnTo>
                    <a:lnTo>
                      <a:pt x="14" y="26"/>
                    </a:lnTo>
                    <a:lnTo>
                      <a:pt x="14" y="24"/>
                    </a:lnTo>
                    <a:lnTo>
                      <a:pt x="12" y="24"/>
                    </a:lnTo>
                    <a:lnTo>
                      <a:pt x="11" y="22"/>
                    </a:lnTo>
                    <a:lnTo>
                      <a:pt x="11" y="24"/>
                    </a:lnTo>
                    <a:lnTo>
                      <a:pt x="9" y="24"/>
                    </a:lnTo>
                    <a:lnTo>
                      <a:pt x="9" y="22"/>
                    </a:lnTo>
                    <a:lnTo>
                      <a:pt x="9" y="21"/>
                    </a:lnTo>
                    <a:lnTo>
                      <a:pt x="11" y="21"/>
                    </a:lnTo>
                    <a:lnTo>
                      <a:pt x="12" y="21"/>
                    </a:lnTo>
                    <a:lnTo>
                      <a:pt x="14" y="21"/>
                    </a:lnTo>
                    <a:lnTo>
                      <a:pt x="16" y="19"/>
                    </a:lnTo>
                    <a:lnTo>
                      <a:pt x="16" y="21"/>
                    </a:lnTo>
                    <a:lnTo>
                      <a:pt x="17" y="19"/>
                    </a:lnTo>
                    <a:lnTo>
                      <a:pt x="19" y="19"/>
                    </a:lnTo>
                    <a:lnTo>
                      <a:pt x="21" y="19"/>
                    </a:lnTo>
                    <a:lnTo>
                      <a:pt x="23" y="19"/>
                    </a:lnTo>
                    <a:lnTo>
                      <a:pt x="24" y="19"/>
                    </a:lnTo>
                    <a:lnTo>
                      <a:pt x="26" y="19"/>
                    </a:lnTo>
                    <a:lnTo>
                      <a:pt x="28" y="19"/>
                    </a:lnTo>
                    <a:lnTo>
                      <a:pt x="29" y="17"/>
                    </a:lnTo>
                    <a:lnTo>
                      <a:pt x="31" y="17"/>
                    </a:lnTo>
                    <a:close/>
                    <a:moveTo>
                      <a:pt x="46" y="0"/>
                    </a:moveTo>
                    <a:lnTo>
                      <a:pt x="46" y="2"/>
                    </a:lnTo>
                    <a:lnTo>
                      <a:pt x="46" y="4"/>
                    </a:lnTo>
                    <a:lnTo>
                      <a:pt x="45" y="4"/>
                    </a:lnTo>
                    <a:lnTo>
                      <a:pt x="45" y="5"/>
                    </a:lnTo>
                    <a:lnTo>
                      <a:pt x="43" y="5"/>
                    </a:lnTo>
                    <a:lnTo>
                      <a:pt x="41" y="5"/>
                    </a:lnTo>
                    <a:lnTo>
                      <a:pt x="41" y="7"/>
                    </a:lnTo>
                    <a:lnTo>
                      <a:pt x="40" y="5"/>
                    </a:lnTo>
                    <a:lnTo>
                      <a:pt x="40" y="7"/>
                    </a:lnTo>
                    <a:lnTo>
                      <a:pt x="38" y="7"/>
                    </a:lnTo>
                    <a:lnTo>
                      <a:pt x="36" y="7"/>
                    </a:lnTo>
                    <a:lnTo>
                      <a:pt x="36" y="5"/>
                    </a:lnTo>
                    <a:lnTo>
                      <a:pt x="38" y="7"/>
                    </a:lnTo>
                    <a:lnTo>
                      <a:pt x="36" y="5"/>
                    </a:lnTo>
                    <a:lnTo>
                      <a:pt x="38" y="5"/>
                    </a:lnTo>
                    <a:lnTo>
                      <a:pt x="38" y="4"/>
                    </a:lnTo>
                    <a:lnTo>
                      <a:pt x="40" y="4"/>
                    </a:lnTo>
                    <a:lnTo>
                      <a:pt x="41" y="4"/>
                    </a:lnTo>
                    <a:lnTo>
                      <a:pt x="41" y="2"/>
                    </a:lnTo>
                    <a:lnTo>
                      <a:pt x="43" y="2"/>
                    </a:lnTo>
                    <a:lnTo>
                      <a:pt x="45" y="2"/>
                    </a:lnTo>
                    <a:lnTo>
                      <a:pt x="45" y="0"/>
                    </a:lnTo>
                    <a:lnTo>
                      <a:pt x="46" y="2"/>
                    </a:lnTo>
                    <a:lnTo>
                      <a:pt x="46" y="0"/>
                    </a:lnTo>
                    <a:close/>
                    <a:moveTo>
                      <a:pt x="7" y="22"/>
                    </a:moveTo>
                    <a:lnTo>
                      <a:pt x="9" y="22"/>
                    </a:lnTo>
                    <a:lnTo>
                      <a:pt x="7" y="22"/>
                    </a:lnTo>
                    <a:close/>
                    <a:moveTo>
                      <a:pt x="6" y="22"/>
                    </a:moveTo>
                    <a:lnTo>
                      <a:pt x="6" y="24"/>
                    </a:lnTo>
                    <a:lnTo>
                      <a:pt x="6" y="22"/>
                    </a:lnTo>
                    <a:close/>
                    <a:moveTo>
                      <a:pt x="6" y="22"/>
                    </a:moveTo>
                    <a:lnTo>
                      <a:pt x="7" y="22"/>
                    </a:lnTo>
                    <a:lnTo>
                      <a:pt x="6" y="2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9" name="Freeform 57">
                <a:extLst>
                  <a:ext uri="{FF2B5EF4-FFF2-40B4-BE49-F238E27FC236}">
                    <a16:creationId xmlns:a16="http://schemas.microsoft.com/office/drawing/2014/main" id="{77F6F645-CED9-0C71-FBF4-B8875F1EEAC5}"/>
                  </a:ext>
                </a:extLst>
              </p:cNvPr>
              <p:cNvSpPr>
                <a:spLocks noEditPoints="1"/>
              </p:cNvSpPr>
              <p:nvPr/>
            </p:nvSpPr>
            <p:spPr bwMode="auto">
              <a:xfrm>
                <a:off x="5798423" y="3260229"/>
                <a:ext cx="53457" cy="57570"/>
              </a:xfrm>
              <a:custGeom>
                <a:avLst/>
                <a:gdLst>
                  <a:gd name="T0" fmla="*/ 167 w 182"/>
                  <a:gd name="T1" fmla="*/ 153 h 196"/>
                  <a:gd name="T2" fmla="*/ 162 w 182"/>
                  <a:gd name="T3" fmla="*/ 163 h 196"/>
                  <a:gd name="T4" fmla="*/ 156 w 182"/>
                  <a:gd name="T5" fmla="*/ 172 h 196"/>
                  <a:gd name="T6" fmla="*/ 146 w 182"/>
                  <a:gd name="T7" fmla="*/ 182 h 196"/>
                  <a:gd name="T8" fmla="*/ 134 w 182"/>
                  <a:gd name="T9" fmla="*/ 187 h 196"/>
                  <a:gd name="T10" fmla="*/ 128 w 182"/>
                  <a:gd name="T11" fmla="*/ 190 h 196"/>
                  <a:gd name="T12" fmla="*/ 117 w 182"/>
                  <a:gd name="T13" fmla="*/ 192 h 196"/>
                  <a:gd name="T14" fmla="*/ 107 w 182"/>
                  <a:gd name="T15" fmla="*/ 192 h 196"/>
                  <a:gd name="T16" fmla="*/ 100 w 182"/>
                  <a:gd name="T17" fmla="*/ 187 h 196"/>
                  <a:gd name="T18" fmla="*/ 87 w 182"/>
                  <a:gd name="T19" fmla="*/ 189 h 196"/>
                  <a:gd name="T20" fmla="*/ 78 w 182"/>
                  <a:gd name="T21" fmla="*/ 192 h 196"/>
                  <a:gd name="T22" fmla="*/ 70 w 182"/>
                  <a:gd name="T23" fmla="*/ 189 h 196"/>
                  <a:gd name="T24" fmla="*/ 63 w 182"/>
                  <a:gd name="T25" fmla="*/ 185 h 196"/>
                  <a:gd name="T26" fmla="*/ 53 w 182"/>
                  <a:gd name="T27" fmla="*/ 180 h 196"/>
                  <a:gd name="T28" fmla="*/ 44 w 182"/>
                  <a:gd name="T29" fmla="*/ 173 h 196"/>
                  <a:gd name="T30" fmla="*/ 32 w 182"/>
                  <a:gd name="T31" fmla="*/ 173 h 196"/>
                  <a:gd name="T32" fmla="*/ 24 w 182"/>
                  <a:gd name="T33" fmla="*/ 173 h 196"/>
                  <a:gd name="T34" fmla="*/ 19 w 182"/>
                  <a:gd name="T35" fmla="*/ 168 h 196"/>
                  <a:gd name="T36" fmla="*/ 9 w 182"/>
                  <a:gd name="T37" fmla="*/ 161 h 196"/>
                  <a:gd name="T38" fmla="*/ 2 w 182"/>
                  <a:gd name="T39" fmla="*/ 151 h 196"/>
                  <a:gd name="T40" fmla="*/ 0 w 182"/>
                  <a:gd name="T41" fmla="*/ 134 h 196"/>
                  <a:gd name="T42" fmla="*/ 5 w 182"/>
                  <a:gd name="T43" fmla="*/ 119 h 196"/>
                  <a:gd name="T44" fmla="*/ 14 w 182"/>
                  <a:gd name="T45" fmla="*/ 112 h 196"/>
                  <a:gd name="T46" fmla="*/ 10 w 182"/>
                  <a:gd name="T47" fmla="*/ 100 h 196"/>
                  <a:gd name="T48" fmla="*/ 10 w 182"/>
                  <a:gd name="T49" fmla="*/ 90 h 196"/>
                  <a:gd name="T50" fmla="*/ 10 w 182"/>
                  <a:gd name="T51" fmla="*/ 82 h 196"/>
                  <a:gd name="T52" fmla="*/ 10 w 182"/>
                  <a:gd name="T53" fmla="*/ 70 h 196"/>
                  <a:gd name="T54" fmla="*/ 17 w 182"/>
                  <a:gd name="T55" fmla="*/ 56 h 196"/>
                  <a:gd name="T56" fmla="*/ 17 w 182"/>
                  <a:gd name="T57" fmla="*/ 48 h 196"/>
                  <a:gd name="T58" fmla="*/ 20 w 182"/>
                  <a:gd name="T59" fmla="*/ 36 h 196"/>
                  <a:gd name="T60" fmla="*/ 22 w 182"/>
                  <a:gd name="T61" fmla="*/ 25 h 196"/>
                  <a:gd name="T62" fmla="*/ 22 w 182"/>
                  <a:gd name="T63" fmla="*/ 13 h 196"/>
                  <a:gd name="T64" fmla="*/ 29 w 182"/>
                  <a:gd name="T65" fmla="*/ 5 h 196"/>
                  <a:gd name="T66" fmla="*/ 34 w 182"/>
                  <a:gd name="T67" fmla="*/ 7 h 196"/>
                  <a:gd name="T68" fmla="*/ 41 w 182"/>
                  <a:gd name="T69" fmla="*/ 7 h 196"/>
                  <a:gd name="T70" fmla="*/ 51 w 182"/>
                  <a:gd name="T71" fmla="*/ 0 h 196"/>
                  <a:gd name="T72" fmla="*/ 61 w 182"/>
                  <a:gd name="T73" fmla="*/ 5 h 196"/>
                  <a:gd name="T74" fmla="*/ 66 w 182"/>
                  <a:gd name="T75" fmla="*/ 10 h 196"/>
                  <a:gd name="T76" fmla="*/ 70 w 182"/>
                  <a:gd name="T77" fmla="*/ 15 h 196"/>
                  <a:gd name="T78" fmla="*/ 77 w 182"/>
                  <a:gd name="T79" fmla="*/ 19 h 196"/>
                  <a:gd name="T80" fmla="*/ 82 w 182"/>
                  <a:gd name="T81" fmla="*/ 25 h 196"/>
                  <a:gd name="T82" fmla="*/ 88 w 182"/>
                  <a:gd name="T83" fmla="*/ 36 h 196"/>
                  <a:gd name="T84" fmla="*/ 95 w 182"/>
                  <a:gd name="T85" fmla="*/ 34 h 196"/>
                  <a:gd name="T86" fmla="*/ 100 w 182"/>
                  <a:gd name="T87" fmla="*/ 32 h 196"/>
                  <a:gd name="T88" fmla="*/ 105 w 182"/>
                  <a:gd name="T89" fmla="*/ 39 h 196"/>
                  <a:gd name="T90" fmla="*/ 109 w 182"/>
                  <a:gd name="T91" fmla="*/ 46 h 196"/>
                  <a:gd name="T92" fmla="*/ 117 w 182"/>
                  <a:gd name="T93" fmla="*/ 48 h 196"/>
                  <a:gd name="T94" fmla="*/ 124 w 182"/>
                  <a:gd name="T95" fmla="*/ 53 h 196"/>
                  <a:gd name="T96" fmla="*/ 134 w 182"/>
                  <a:gd name="T97" fmla="*/ 56 h 196"/>
                  <a:gd name="T98" fmla="*/ 143 w 182"/>
                  <a:gd name="T99" fmla="*/ 68 h 196"/>
                  <a:gd name="T100" fmla="*/ 151 w 182"/>
                  <a:gd name="T101" fmla="*/ 71 h 196"/>
                  <a:gd name="T102" fmla="*/ 158 w 182"/>
                  <a:gd name="T103" fmla="*/ 78 h 196"/>
                  <a:gd name="T104" fmla="*/ 162 w 182"/>
                  <a:gd name="T105" fmla="*/ 85 h 196"/>
                  <a:gd name="T106" fmla="*/ 168 w 182"/>
                  <a:gd name="T107" fmla="*/ 93 h 196"/>
                  <a:gd name="T108" fmla="*/ 175 w 182"/>
                  <a:gd name="T109" fmla="*/ 99 h 196"/>
                  <a:gd name="T110" fmla="*/ 179 w 182"/>
                  <a:gd name="T111" fmla="*/ 105 h 196"/>
                  <a:gd name="T112" fmla="*/ 170 w 182"/>
                  <a:gd name="T113" fmla="*/ 119 h 196"/>
                  <a:gd name="T114" fmla="*/ 168 w 182"/>
                  <a:gd name="T115" fmla="*/ 129 h 196"/>
                  <a:gd name="T116" fmla="*/ 168 w 182"/>
                  <a:gd name="T117" fmla="*/ 143 h 196"/>
                  <a:gd name="T118" fmla="*/ 71 w 182"/>
                  <a:gd name="T119" fmla="*/ 187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2" h="196">
                    <a:moveTo>
                      <a:pt x="172" y="144"/>
                    </a:moveTo>
                    <a:lnTo>
                      <a:pt x="172" y="146"/>
                    </a:lnTo>
                    <a:lnTo>
                      <a:pt x="170" y="146"/>
                    </a:lnTo>
                    <a:lnTo>
                      <a:pt x="170" y="148"/>
                    </a:lnTo>
                    <a:lnTo>
                      <a:pt x="168" y="150"/>
                    </a:lnTo>
                    <a:lnTo>
                      <a:pt x="168" y="151"/>
                    </a:lnTo>
                    <a:lnTo>
                      <a:pt x="168" y="153"/>
                    </a:lnTo>
                    <a:lnTo>
                      <a:pt x="167" y="153"/>
                    </a:lnTo>
                    <a:lnTo>
                      <a:pt x="167" y="155"/>
                    </a:lnTo>
                    <a:lnTo>
                      <a:pt x="167" y="156"/>
                    </a:lnTo>
                    <a:lnTo>
                      <a:pt x="167" y="158"/>
                    </a:lnTo>
                    <a:lnTo>
                      <a:pt x="165" y="158"/>
                    </a:lnTo>
                    <a:lnTo>
                      <a:pt x="163" y="160"/>
                    </a:lnTo>
                    <a:lnTo>
                      <a:pt x="163" y="161"/>
                    </a:lnTo>
                    <a:lnTo>
                      <a:pt x="162" y="161"/>
                    </a:lnTo>
                    <a:lnTo>
                      <a:pt x="162" y="163"/>
                    </a:lnTo>
                    <a:lnTo>
                      <a:pt x="160" y="163"/>
                    </a:lnTo>
                    <a:lnTo>
                      <a:pt x="160" y="165"/>
                    </a:lnTo>
                    <a:lnTo>
                      <a:pt x="158" y="167"/>
                    </a:lnTo>
                    <a:lnTo>
                      <a:pt x="158" y="168"/>
                    </a:lnTo>
                    <a:lnTo>
                      <a:pt x="160" y="170"/>
                    </a:lnTo>
                    <a:lnTo>
                      <a:pt x="158" y="170"/>
                    </a:lnTo>
                    <a:lnTo>
                      <a:pt x="158" y="172"/>
                    </a:lnTo>
                    <a:lnTo>
                      <a:pt x="156" y="172"/>
                    </a:lnTo>
                    <a:lnTo>
                      <a:pt x="155" y="173"/>
                    </a:lnTo>
                    <a:lnTo>
                      <a:pt x="153" y="173"/>
                    </a:lnTo>
                    <a:lnTo>
                      <a:pt x="151" y="175"/>
                    </a:lnTo>
                    <a:lnTo>
                      <a:pt x="150" y="177"/>
                    </a:lnTo>
                    <a:lnTo>
                      <a:pt x="148" y="178"/>
                    </a:lnTo>
                    <a:lnTo>
                      <a:pt x="148" y="180"/>
                    </a:lnTo>
                    <a:lnTo>
                      <a:pt x="146" y="180"/>
                    </a:lnTo>
                    <a:lnTo>
                      <a:pt x="146" y="182"/>
                    </a:lnTo>
                    <a:lnTo>
                      <a:pt x="145" y="182"/>
                    </a:lnTo>
                    <a:lnTo>
                      <a:pt x="143" y="182"/>
                    </a:lnTo>
                    <a:lnTo>
                      <a:pt x="141" y="184"/>
                    </a:lnTo>
                    <a:lnTo>
                      <a:pt x="139" y="184"/>
                    </a:lnTo>
                    <a:lnTo>
                      <a:pt x="139" y="185"/>
                    </a:lnTo>
                    <a:lnTo>
                      <a:pt x="138" y="185"/>
                    </a:lnTo>
                    <a:lnTo>
                      <a:pt x="136" y="185"/>
                    </a:lnTo>
                    <a:lnTo>
                      <a:pt x="134" y="187"/>
                    </a:lnTo>
                    <a:lnTo>
                      <a:pt x="133" y="187"/>
                    </a:lnTo>
                    <a:lnTo>
                      <a:pt x="133" y="189"/>
                    </a:lnTo>
                    <a:lnTo>
                      <a:pt x="131" y="189"/>
                    </a:lnTo>
                    <a:lnTo>
                      <a:pt x="129" y="189"/>
                    </a:lnTo>
                    <a:lnTo>
                      <a:pt x="129" y="190"/>
                    </a:lnTo>
                    <a:lnTo>
                      <a:pt x="129" y="189"/>
                    </a:lnTo>
                    <a:lnTo>
                      <a:pt x="129" y="190"/>
                    </a:lnTo>
                    <a:lnTo>
                      <a:pt x="128" y="190"/>
                    </a:lnTo>
                    <a:lnTo>
                      <a:pt x="126" y="190"/>
                    </a:lnTo>
                    <a:lnTo>
                      <a:pt x="124" y="192"/>
                    </a:lnTo>
                    <a:lnTo>
                      <a:pt x="122" y="192"/>
                    </a:lnTo>
                    <a:lnTo>
                      <a:pt x="121" y="194"/>
                    </a:lnTo>
                    <a:lnTo>
                      <a:pt x="119" y="196"/>
                    </a:lnTo>
                    <a:lnTo>
                      <a:pt x="119" y="194"/>
                    </a:lnTo>
                    <a:lnTo>
                      <a:pt x="119" y="192"/>
                    </a:lnTo>
                    <a:lnTo>
                      <a:pt x="117" y="192"/>
                    </a:lnTo>
                    <a:lnTo>
                      <a:pt x="116" y="192"/>
                    </a:lnTo>
                    <a:lnTo>
                      <a:pt x="116" y="190"/>
                    </a:lnTo>
                    <a:lnTo>
                      <a:pt x="114" y="190"/>
                    </a:lnTo>
                    <a:lnTo>
                      <a:pt x="112" y="190"/>
                    </a:lnTo>
                    <a:lnTo>
                      <a:pt x="112" y="192"/>
                    </a:lnTo>
                    <a:lnTo>
                      <a:pt x="111" y="192"/>
                    </a:lnTo>
                    <a:lnTo>
                      <a:pt x="109" y="192"/>
                    </a:lnTo>
                    <a:lnTo>
                      <a:pt x="107" y="192"/>
                    </a:lnTo>
                    <a:lnTo>
                      <a:pt x="109" y="190"/>
                    </a:lnTo>
                    <a:lnTo>
                      <a:pt x="107" y="190"/>
                    </a:lnTo>
                    <a:lnTo>
                      <a:pt x="107" y="189"/>
                    </a:lnTo>
                    <a:lnTo>
                      <a:pt x="105" y="189"/>
                    </a:lnTo>
                    <a:lnTo>
                      <a:pt x="104" y="189"/>
                    </a:lnTo>
                    <a:lnTo>
                      <a:pt x="104" y="187"/>
                    </a:lnTo>
                    <a:lnTo>
                      <a:pt x="102" y="187"/>
                    </a:lnTo>
                    <a:lnTo>
                      <a:pt x="100" y="187"/>
                    </a:lnTo>
                    <a:lnTo>
                      <a:pt x="99" y="187"/>
                    </a:lnTo>
                    <a:lnTo>
                      <a:pt x="97" y="187"/>
                    </a:lnTo>
                    <a:lnTo>
                      <a:pt x="95" y="187"/>
                    </a:lnTo>
                    <a:lnTo>
                      <a:pt x="94" y="187"/>
                    </a:lnTo>
                    <a:lnTo>
                      <a:pt x="92" y="187"/>
                    </a:lnTo>
                    <a:lnTo>
                      <a:pt x="90" y="187"/>
                    </a:lnTo>
                    <a:lnTo>
                      <a:pt x="88" y="187"/>
                    </a:lnTo>
                    <a:lnTo>
                      <a:pt x="87" y="189"/>
                    </a:lnTo>
                    <a:lnTo>
                      <a:pt x="85" y="189"/>
                    </a:lnTo>
                    <a:lnTo>
                      <a:pt x="85" y="190"/>
                    </a:lnTo>
                    <a:lnTo>
                      <a:pt x="83" y="190"/>
                    </a:lnTo>
                    <a:lnTo>
                      <a:pt x="82" y="192"/>
                    </a:lnTo>
                    <a:lnTo>
                      <a:pt x="80" y="192"/>
                    </a:lnTo>
                    <a:lnTo>
                      <a:pt x="78" y="192"/>
                    </a:lnTo>
                    <a:lnTo>
                      <a:pt x="78" y="194"/>
                    </a:lnTo>
                    <a:lnTo>
                      <a:pt x="78" y="192"/>
                    </a:lnTo>
                    <a:lnTo>
                      <a:pt x="77" y="192"/>
                    </a:lnTo>
                    <a:lnTo>
                      <a:pt x="77" y="190"/>
                    </a:lnTo>
                    <a:lnTo>
                      <a:pt x="75" y="190"/>
                    </a:lnTo>
                    <a:lnTo>
                      <a:pt x="75" y="192"/>
                    </a:lnTo>
                    <a:lnTo>
                      <a:pt x="73" y="192"/>
                    </a:lnTo>
                    <a:lnTo>
                      <a:pt x="71" y="190"/>
                    </a:lnTo>
                    <a:lnTo>
                      <a:pt x="70" y="190"/>
                    </a:lnTo>
                    <a:lnTo>
                      <a:pt x="70" y="189"/>
                    </a:lnTo>
                    <a:lnTo>
                      <a:pt x="71" y="187"/>
                    </a:lnTo>
                    <a:lnTo>
                      <a:pt x="70" y="187"/>
                    </a:lnTo>
                    <a:lnTo>
                      <a:pt x="70" y="185"/>
                    </a:lnTo>
                    <a:lnTo>
                      <a:pt x="68" y="185"/>
                    </a:lnTo>
                    <a:lnTo>
                      <a:pt x="66" y="185"/>
                    </a:lnTo>
                    <a:lnTo>
                      <a:pt x="65" y="187"/>
                    </a:lnTo>
                    <a:lnTo>
                      <a:pt x="65" y="185"/>
                    </a:lnTo>
                    <a:lnTo>
                      <a:pt x="63" y="185"/>
                    </a:lnTo>
                    <a:lnTo>
                      <a:pt x="61" y="185"/>
                    </a:lnTo>
                    <a:lnTo>
                      <a:pt x="61" y="184"/>
                    </a:lnTo>
                    <a:lnTo>
                      <a:pt x="60" y="184"/>
                    </a:lnTo>
                    <a:lnTo>
                      <a:pt x="58" y="184"/>
                    </a:lnTo>
                    <a:lnTo>
                      <a:pt x="56" y="184"/>
                    </a:lnTo>
                    <a:lnTo>
                      <a:pt x="54" y="182"/>
                    </a:lnTo>
                    <a:lnTo>
                      <a:pt x="53" y="182"/>
                    </a:lnTo>
                    <a:lnTo>
                      <a:pt x="53" y="180"/>
                    </a:lnTo>
                    <a:lnTo>
                      <a:pt x="51" y="180"/>
                    </a:lnTo>
                    <a:lnTo>
                      <a:pt x="51" y="178"/>
                    </a:lnTo>
                    <a:lnTo>
                      <a:pt x="49" y="177"/>
                    </a:lnTo>
                    <a:lnTo>
                      <a:pt x="48" y="177"/>
                    </a:lnTo>
                    <a:lnTo>
                      <a:pt x="48" y="175"/>
                    </a:lnTo>
                    <a:lnTo>
                      <a:pt x="46" y="175"/>
                    </a:lnTo>
                    <a:lnTo>
                      <a:pt x="46" y="173"/>
                    </a:lnTo>
                    <a:lnTo>
                      <a:pt x="44" y="173"/>
                    </a:lnTo>
                    <a:lnTo>
                      <a:pt x="43" y="173"/>
                    </a:lnTo>
                    <a:lnTo>
                      <a:pt x="41" y="173"/>
                    </a:lnTo>
                    <a:lnTo>
                      <a:pt x="39" y="173"/>
                    </a:lnTo>
                    <a:lnTo>
                      <a:pt x="37" y="173"/>
                    </a:lnTo>
                    <a:lnTo>
                      <a:pt x="37" y="172"/>
                    </a:lnTo>
                    <a:lnTo>
                      <a:pt x="36" y="173"/>
                    </a:lnTo>
                    <a:lnTo>
                      <a:pt x="34" y="173"/>
                    </a:lnTo>
                    <a:lnTo>
                      <a:pt x="32" y="173"/>
                    </a:lnTo>
                    <a:lnTo>
                      <a:pt x="31" y="173"/>
                    </a:lnTo>
                    <a:lnTo>
                      <a:pt x="31" y="172"/>
                    </a:lnTo>
                    <a:lnTo>
                      <a:pt x="29" y="173"/>
                    </a:lnTo>
                    <a:lnTo>
                      <a:pt x="27" y="173"/>
                    </a:lnTo>
                    <a:lnTo>
                      <a:pt x="26" y="173"/>
                    </a:lnTo>
                    <a:lnTo>
                      <a:pt x="24" y="173"/>
                    </a:lnTo>
                    <a:lnTo>
                      <a:pt x="24" y="175"/>
                    </a:lnTo>
                    <a:lnTo>
                      <a:pt x="24" y="173"/>
                    </a:lnTo>
                    <a:lnTo>
                      <a:pt x="22" y="175"/>
                    </a:lnTo>
                    <a:lnTo>
                      <a:pt x="20" y="175"/>
                    </a:lnTo>
                    <a:lnTo>
                      <a:pt x="22" y="173"/>
                    </a:lnTo>
                    <a:lnTo>
                      <a:pt x="20" y="173"/>
                    </a:lnTo>
                    <a:lnTo>
                      <a:pt x="20" y="172"/>
                    </a:lnTo>
                    <a:lnTo>
                      <a:pt x="20" y="170"/>
                    </a:lnTo>
                    <a:lnTo>
                      <a:pt x="19" y="170"/>
                    </a:lnTo>
                    <a:lnTo>
                      <a:pt x="19" y="168"/>
                    </a:lnTo>
                    <a:lnTo>
                      <a:pt x="17" y="168"/>
                    </a:lnTo>
                    <a:lnTo>
                      <a:pt x="17" y="167"/>
                    </a:lnTo>
                    <a:lnTo>
                      <a:pt x="15" y="165"/>
                    </a:lnTo>
                    <a:lnTo>
                      <a:pt x="14" y="165"/>
                    </a:lnTo>
                    <a:lnTo>
                      <a:pt x="14" y="163"/>
                    </a:lnTo>
                    <a:lnTo>
                      <a:pt x="12" y="161"/>
                    </a:lnTo>
                    <a:lnTo>
                      <a:pt x="10" y="161"/>
                    </a:lnTo>
                    <a:lnTo>
                      <a:pt x="9" y="161"/>
                    </a:lnTo>
                    <a:lnTo>
                      <a:pt x="9" y="160"/>
                    </a:lnTo>
                    <a:lnTo>
                      <a:pt x="9" y="158"/>
                    </a:lnTo>
                    <a:lnTo>
                      <a:pt x="7" y="156"/>
                    </a:lnTo>
                    <a:lnTo>
                      <a:pt x="7" y="155"/>
                    </a:lnTo>
                    <a:lnTo>
                      <a:pt x="5" y="155"/>
                    </a:lnTo>
                    <a:lnTo>
                      <a:pt x="5" y="153"/>
                    </a:lnTo>
                    <a:lnTo>
                      <a:pt x="3" y="153"/>
                    </a:lnTo>
                    <a:lnTo>
                      <a:pt x="2" y="151"/>
                    </a:lnTo>
                    <a:lnTo>
                      <a:pt x="2" y="150"/>
                    </a:lnTo>
                    <a:lnTo>
                      <a:pt x="2" y="148"/>
                    </a:lnTo>
                    <a:lnTo>
                      <a:pt x="2" y="146"/>
                    </a:lnTo>
                    <a:lnTo>
                      <a:pt x="0" y="144"/>
                    </a:lnTo>
                    <a:lnTo>
                      <a:pt x="0" y="143"/>
                    </a:lnTo>
                    <a:lnTo>
                      <a:pt x="0" y="138"/>
                    </a:lnTo>
                    <a:lnTo>
                      <a:pt x="0" y="136"/>
                    </a:lnTo>
                    <a:lnTo>
                      <a:pt x="0" y="134"/>
                    </a:lnTo>
                    <a:lnTo>
                      <a:pt x="0" y="131"/>
                    </a:lnTo>
                    <a:lnTo>
                      <a:pt x="2" y="129"/>
                    </a:lnTo>
                    <a:lnTo>
                      <a:pt x="2" y="127"/>
                    </a:lnTo>
                    <a:lnTo>
                      <a:pt x="3" y="127"/>
                    </a:lnTo>
                    <a:lnTo>
                      <a:pt x="3" y="126"/>
                    </a:lnTo>
                    <a:lnTo>
                      <a:pt x="3" y="121"/>
                    </a:lnTo>
                    <a:lnTo>
                      <a:pt x="3" y="119"/>
                    </a:lnTo>
                    <a:lnTo>
                      <a:pt x="5" y="119"/>
                    </a:lnTo>
                    <a:lnTo>
                      <a:pt x="7" y="119"/>
                    </a:lnTo>
                    <a:lnTo>
                      <a:pt x="9" y="119"/>
                    </a:lnTo>
                    <a:lnTo>
                      <a:pt x="10" y="117"/>
                    </a:lnTo>
                    <a:lnTo>
                      <a:pt x="12" y="117"/>
                    </a:lnTo>
                    <a:lnTo>
                      <a:pt x="12" y="116"/>
                    </a:lnTo>
                    <a:lnTo>
                      <a:pt x="14" y="116"/>
                    </a:lnTo>
                    <a:lnTo>
                      <a:pt x="14" y="114"/>
                    </a:lnTo>
                    <a:lnTo>
                      <a:pt x="14" y="112"/>
                    </a:lnTo>
                    <a:lnTo>
                      <a:pt x="12" y="110"/>
                    </a:lnTo>
                    <a:lnTo>
                      <a:pt x="12" y="109"/>
                    </a:lnTo>
                    <a:lnTo>
                      <a:pt x="12" y="107"/>
                    </a:lnTo>
                    <a:lnTo>
                      <a:pt x="12" y="105"/>
                    </a:lnTo>
                    <a:lnTo>
                      <a:pt x="12" y="104"/>
                    </a:lnTo>
                    <a:lnTo>
                      <a:pt x="12" y="102"/>
                    </a:lnTo>
                    <a:lnTo>
                      <a:pt x="12" y="100"/>
                    </a:lnTo>
                    <a:lnTo>
                      <a:pt x="10" y="100"/>
                    </a:lnTo>
                    <a:lnTo>
                      <a:pt x="12" y="100"/>
                    </a:lnTo>
                    <a:lnTo>
                      <a:pt x="10" y="99"/>
                    </a:lnTo>
                    <a:lnTo>
                      <a:pt x="10" y="97"/>
                    </a:lnTo>
                    <a:lnTo>
                      <a:pt x="10" y="95"/>
                    </a:lnTo>
                    <a:lnTo>
                      <a:pt x="10" y="93"/>
                    </a:lnTo>
                    <a:lnTo>
                      <a:pt x="9" y="93"/>
                    </a:lnTo>
                    <a:lnTo>
                      <a:pt x="10" y="92"/>
                    </a:lnTo>
                    <a:lnTo>
                      <a:pt x="10" y="90"/>
                    </a:lnTo>
                    <a:lnTo>
                      <a:pt x="10" y="88"/>
                    </a:lnTo>
                    <a:lnTo>
                      <a:pt x="12" y="88"/>
                    </a:lnTo>
                    <a:lnTo>
                      <a:pt x="12" y="87"/>
                    </a:lnTo>
                    <a:lnTo>
                      <a:pt x="14" y="87"/>
                    </a:lnTo>
                    <a:lnTo>
                      <a:pt x="14" y="85"/>
                    </a:lnTo>
                    <a:lnTo>
                      <a:pt x="12" y="85"/>
                    </a:lnTo>
                    <a:lnTo>
                      <a:pt x="12" y="83"/>
                    </a:lnTo>
                    <a:lnTo>
                      <a:pt x="10" y="82"/>
                    </a:lnTo>
                    <a:lnTo>
                      <a:pt x="10" y="80"/>
                    </a:lnTo>
                    <a:lnTo>
                      <a:pt x="10" y="78"/>
                    </a:lnTo>
                    <a:lnTo>
                      <a:pt x="12" y="78"/>
                    </a:lnTo>
                    <a:lnTo>
                      <a:pt x="12" y="76"/>
                    </a:lnTo>
                    <a:lnTo>
                      <a:pt x="12" y="75"/>
                    </a:lnTo>
                    <a:lnTo>
                      <a:pt x="10" y="73"/>
                    </a:lnTo>
                    <a:lnTo>
                      <a:pt x="10" y="71"/>
                    </a:lnTo>
                    <a:lnTo>
                      <a:pt x="10" y="70"/>
                    </a:lnTo>
                    <a:lnTo>
                      <a:pt x="10" y="68"/>
                    </a:lnTo>
                    <a:lnTo>
                      <a:pt x="12" y="68"/>
                    </a:lnTo>
                    <a:lnTo>
                      <a:pt x="14" y="68"/>
                    </a:lnTo>
                    <a:lnTo>
                      <a:pt x="15" y="65"/>
                    </a:lnTo>
                    <a:lnTo>
                      <a:pt x="15" y="63"/>
                    </a:lnTo>
                    <a:lnTo>
                      <a:pt x="17" y="59"/>
                    </a:lnTo>
                    <a:lnTo>
                      <a:pt x="17" y="58"/>
                    </a:lnTo>
                    <a:lnTo>
                      <a:pt x="17" y="56"/>
                    </a:lnTo>
                    <a:lnTo>
                      <a:pt x="15" y="56"/>
                    </a:lnTo>
                    <a:lnTo>
                      <a:pt x="15" y="54"/>
                    </a:lnTo>
                    <a:lnTo>
                      <a:pt x="14" y="54"/>
                    </a:lnTo>
                    <a:lnTo>
                      <a:pt x="14" y="53"/>
                    </a:lnTo>
                    <a:lnTo>
                      <a:pt x="15" y="51"/>
                    </a:lnTo>
                    <a:lnTo>
                      <a:pt x="17" y="51"/>
                    </a:lnTo>
                    <a:lnTo>
                      <a:pt x="17" y="49"/>
                    </a:lnTo>
                    <a:lnTo>
                      <a:pt x="17" y="48"/>
                    </a:lnTo>
                    <a:lnTo>
                      <a:pt x="19" y="46"/>
                    </a:lnTo>
                    <a:lnTo>
                      <a:pt x="19" y="44"/>
                    </a:lnTo>
                    <a:lnTo>
                      <a:pt x="19" y="42"/>
                    </a:lnTo>
                    <a:lnTo>
                      <a:pt x="19" y="41"/>
                    </a:lnTo>
                    <a:lnTo>
                      <a:pt x="19" y="39"/>
                    </a:lnTo>
                    <a:lnTo>
                      <a:pt x="20" y="39"/>
                    </a:lnTo>
                    <a:lnTo>
                      <a:pt x="20" y="37"/>
                    </a:lnTo>
                    <a:lnTo>
                      <a:pt x="20" y="36"/>
                    </a:lnTo>
                    <a:lnTo>
                      <a:pt x="20" y="34"/>
                    </a:lnTo>
                    <a:lnTo>
                      <a:pt x="19" y="34"/>
                    </a:lnTo>
                    <a:lnTo>
                      <a:pt x="19" y="32"/>
                    </a:lnTo>
                    <a:lnTo>
                      <a:pt x="20" y="32"/>
                    </a:lnTo>
                    <a:lnTo>
                      <a:pt x="22" y="32"/>
                    </a:lnTo>
                    <a:lnTo>
                      <a:pt x="22" y="31"/>
                    </a:lnTo>
                    <a:lnTo>
                      <a:pt x="22" y="27"/>
                    </a:lnTo>
                    <a:lnTo>
                      <a:pt x="22" y="25"/>
                    </a:lnTo>
                    <a:lnTo>
                      <a:pt x="22" y="24"/>
                    </a:lnTo>
                    <a:lnTo>
                      <a:pt x="22" y="22"/>
                    </a:lnTo>
                    <a:lnTo>
                      <a:pt x="22" y="20"/>
                    </a:lnTo>
                    <a:lnTo>
                      <a:pt x="20" y="19"/>
                    </a:lnTo>
                    <a:lnTo>
                      <a:pt x="20" y="17"/>
                    </a:lnTo>
                    <a:lnTo>
                      <a:pt x="20" y="15"/>
                    </a:lnTo>
                    <a:lnTo>
                      <a:pt x="20" y="13"/>
                    </a:lnTo>
                    <a:lnTo>
                      <a:pt x="22" y="13"/>
                    </a:lnTo>
                    <a:lnTo>
                      <a:pt x="24" y="13"/>
                    </a:lnTo>
                    <a:lnTo>
                      <a:pt x="24" y="12"/>
                    </a:lnTo>
                    <a:lnTo>
                      <a:pt x="26" y="12"/>
                    </a:lnTo>
                    <a:lnTo>
                      <a:pt x="27" y="10"/>
                    </a:lnTo>
                    <a:lnTo>
                      <a:pt x="29" y="10"/>
                    </a:lnTo>
                    <a:lnTo>
                      <a:pt x="29" y="8"/>
                    </a:lnTo>
                    <a:lnTo>
                      <a:pt x="29" y="7"/>
                    </a:lnTo>
                    <a:lnTo>
                      <a:pt x="29" y="5"/>
                    </a:lnTo>
                    <a:lnTo>
                      <a:pt x="29" y="3"/>
                    </a:lnTo>
                    <a:lnTo>
                      <a:pt x="27" y="3"/>
                    </a:lnTo>
                    <a:lnTo>
                      <a:pt x="29" y="3"/>
                    </a:lnTo>
                    <a:lnTo>
                      <a:pt x="31" y="3"/>
                    </a:lnTo>
                    <a:lnTo>
                      <a:pt x="31" y="5"/>
                    </a:lnTo>
                    <a:lnTo>
                      <a:pt x="31" y="7"/>
                    </a:lnTo>
                    <a:lnTo>
                      <a:pt x="32" y="7"/>
                    </a:lnTo>
                    <a:lnTo>
                      <a:pt x="34" y="7"/>
                    </a:lnTo>
                    <a:lnTo>
                      <a:pt x="36" y="7"/>
                    </a:lnTo>
                    <a:lnTo>
                      <a:pt x="36" y="8"/>
                    </a:lnTo>
                    <a:lnTo>
                      <a:pt x="37" y="8"/>
                    </a:lnTo>
                    <a:lnTo>
                      <a:pt x="37" y="7"/>
                    </a:lnTo>
                    <a:lnTo>
                      <a:pt x="39" y="7"/>
                    </a:lnTo>
                    <a:lnTo>
                      <a:pt x="39" y="5"/>
                    </a:lnTo>
                    <a:lnTo>
                      <a:pt x="39" y="7"/>
                    </a:lnTo>
                    <a:lnTo>
                      <a:pt x="41" y="7"/>
                    </a:lnTo>
                    <a:lnTo>
                      <a:pt x="43" y="7"/>
                    </a:lnTo>
                    <a:lnTo>
                      <a:pt x="44" y="5"/>
                    </a:lnTo>
                    <a:lnTo>
                      <a:pt x="44" y="3"/>
                    </a:lnTo>
                    <a:lnTo>
                      <a:pt x="46" y="2"/>
                    </a:lnTo>
                    <a:lnTo>
                      <a:pt x="46" y="0"/>
                    </a:lnTo>
                    <a:lnTo>
                      <a:pt x="48" y="0"/>
                    </a:lnTo>
                    <a:lnTo>
                      <a:pt x="49" y="0"/>
                    </a:lnTo>
                    <a:lnTo>
                      <a:pt x="51" y="0"/>
                    </a:lnTo>
                    <a:lnTo>
                      <a:pt x="53" y="0"/>
                    </a:lnTo>
                    <a:lnTo>
                      <a:pt x="54" y="0"/>
                    </a:lnTo>
                    <a:lnTo>
                      <a:pt x="56" y="0"/>
                    </a:lnTo>
                    <a:lnTo>
                      <a:pt x="58" y="0"/>
                    </a:lnTo>
                    <a:lnTo>
                      <a:pt x="58" y="2"/>
                    </a:lnTo>
                    <a:lnTo>
                      <a:pt x="60" y="3"/>
                    </a:lnTo>
                    <a:lnTo>
                      <a:pt x="61" y="3"/>
                    </a:lnTo>
                    <a:lnTo>
                      <a:pt x="61" y="5"/>
                    </a:lnTo>
                    <a:lnTo>
                      <a:pt x="63" y="5"/>
                    </a:lnTo>
                    <a:lnTo>
                      <a:pt x="63" y="7"/>
                    </a:lnTo>
                    <a:lnTo>
                      <a:pt x="65" y="7"/>
                    </a:lnTo>
                    <a:lnTo>
                      <a:pt x="65" y="8"/>
                    </a:lnTo>
                    <a:lnTo>
                      <a:pt x="66" y="8"/>
                    </a:lnTo>
                    <a:lnTo>
                      <a:pt x="65" y="8"/>
                    </a:lnTo>
                    <a:lnTo>
                      <a:pt x="65" y="10"/>
                    </a:lnTo>
                    <a:lnTo>
                      <a:pt x="66" y="10"/>
                    </a:lnTo>
                    <a:lnTo>
                      <a:pt x="66" y="12"/>
                    </a:lnTo>
                    <a:lnTo>
                      <a:pt x="68" y="12"/>
                    </a:lnTo>
                    <a:lnTo>
                      <a:pt x="68" y="10"/>
                    </a:lnTo>
                    <a:lnTo>
                      <a:pt x="68" y="12"/>
                    </a:lnTo>
                    <a:lnTo>
                      <a:pt x="70" y="13"/>
                    </a:lnTo>
                    <a:lnTo>
                      <a:pt x="70" y="12"/>
                    </a:lnTo>
                    <a:lnTo>
                      <a:pt x="70" y="13"/>
                    </a:lnTo>
                    <a:lnTo>
                      <a:pt x="70" y="15"/>
                    </a:lnTo>
                    <a:lnTo>
                      <a:pt x="71" y="15"/>
                    </a:lnTo>
                    <a:lnTo>
                      <a:pt x="73" y="15"/>
                    </a:lnTo>
                    <a:lnTo>
                      <a:pt x="73" y="17"/>
                    </a:lnTo>
                    <a:lnTo>
                      <a:pt x="75" y="17"/>
                    </a:lnTo>
                    <a:lnTo>
                      <a:pt x="75" y="19"/>
                    </a:lnTo>
                    <a:lnTo>
                      <a:pt x="77" y="19"/>
                    </a:lnTo>
                    <a:lnTo>
                      <a:pt x="77" y="20"/>
                    </a:lnTo>
                    <a:lnTo>
                      <a:pt x="77" y="19"/>
                    </a:lnTo>
                    <a:lnTo>
                      <a:pt x="78" y="20"/>
                    </a:lnTo>
                    <a:lnTo>
                      <a:pt x="78" y="22"/>
                    </a:lnTo>
                    <a:lnTo>
                      <a:pt x="78" y="24"/>
                    </a:lnTo>
                    <a:lnTo>
                      <a:pt x="80" y="24"/>
                    </a:lnTo>
                    <a:lnTo>
                      <a:pt x="80" y="25"/>
                    </a:lnTo>
                    <a:lnTo>
                      <a:pt x="80" y="24"/>
                    </a:lnTo>
                    <a:lnTo>
                      <a:pt x="80" y="25"/>
                    </a:lnTo>
                    <a:lnTo>
                      <a:pt x="82" y="25"/>
                    </a:lnTo>
                    <a:lnTo>
                      <a:pt x="83" y="27"/>
                    </a:lnTo>
                    <a:lnTo>
                      <a:pt x="83" y="29"/>
                    </a:lnTo>
                    <a:lnTo>
                      <a:pt x="85" y="31"/>
                    </a:lnTo>
                    <a:lnTo>
                      <a:pt x="85" y="32"/>
                    </a:lnTo>
                    <a:lnTo>
                      <a:pt x="87" y="32"/>
                    </a:lnTo>
                    <a:lnTo>
                      <a:pt x="87" y="34"/>
                    </a:lnTo>
                    <a:lnTo>
                      <a:pt x="88" y="34"/>
                    </a:lnTo>
                    <a:lnTo>
                      <a:pt x="88" y="36"/>
                    </a:lnTo>
                    <a:lnTo>
                      <a:pt x="90" y="36"/>
                    </a:lnTo>
                    <a:lnTo>
                      <a:pt x="92" y="36"/>
                    </a:lnTo>
                    <a:lnTo>
                      <a:pt x="92" y="34"/>
                    </a:lnTo>
                    <a:lnTo>
                      <a:pt x="94" y="34"/>
                    </a:lnTo>
                    <a:lnTo>
                      <a:pt x="94" y="32"/>
                    </a:lnTo>
                    <a:lnTo>
                      <a:pt x="94" y="34"/>
                    </a:lnTo>
                    <a:lnTo>
                      <a:pt x="94" y="32"/>
                    </a:lnTo>
                    <a:lnTo>
                      <a:pt x="95" y="34"/>
                    </a:lnTo>
                    <a:lnTo>
                      <a:pt x="95" y="32"/>
                    </a:lnTo>
                    <a:lnTo>
                      <a:pt x="95" y="31"/>
                    </a:lnTo>
                    <a:lnTo>
                      <a:pt x="95" y="29"/>
                    </a:lnTo>
                    <a:lnTo>
                      <a:pt x="97" y="29"/>
                    </a:lnTo>
                    <a:lnTo>
                      <a:pt x="99" y="29"/>
                    </a:lnTo>
                    <a:lnTo>
                      <a:pt x="99" y="31"/>
                    </a:lnTo>
                    <a:lnTo>
                      <a:pt x="100" y="31"/>
                    </a:lnTo>
                    <a:lnTo>
                      <a:pt x="100" y="32"/>
                    </a:lnTo>
                    <a:lnTo>
                      <a:pt x="102" y="32"/>
                    </a:lnTo>
                    <a:lnTo>
                      <a:pt x="102" y="34"/>
                    </a:lnTo>
                    <a:lnTo>
                      <a:pt x="104" y="34"/>
                    </a:lnTo>
                    <a:lnTo>
                      <a:pt x="102" y="36"/>
                    </a:lnTo>
                    <a:lnTo>
                      <a:pt x="104" y="36"/>
                    </a:lnTo>
                    <a:lnTo>
                      <a:pt x="105" y="36"/>
                    </a:lnTo>
                    <a:lnTo>
                      <a:pt x="105" y="37"/>
                    </a:lnTo>
                    <a:lnTo>
                      <a:pt x="105" y="39"/>
                    </a:lnTo>
                    <a:lnTo>
                      <a:pt x="107" y="39"/>
                    </a:lnTo>
                    <a:lnTo>
                      <a:pt x="105" y="41"/>
                    </a:lnTo>
                    <a:lnTo>
                      <a:pt x="107" y="41"/>
                    </a:lnTo>
                    <a:lnTo>
                      <a:pt x="109" y="42"/>
                    </a:lnTo>
                    <a:lnTo>
                      <a:pt x="107" y="42"/>
                    </a:lnTo>
                    <a:lnTo>
                      <a:pt x="109" y="42"/>
                    </a:lnTo>
                    <a:lnTo>
                      <a:pt x="109" y="44"/>
                    </a:lnTo>
                    <a:lnTo>
                      <a:pt x="109" y="46"/>
                    </a:lnTo>
                    <a:lnTo>
                      <a:pt x="111" y="46"/>
                    </a:lnTo>
                    <a:lnTo>
                      <a:pt x="112" y="46"/>
                    </a:lnTo>
                    <a:lnTo>
                      <a:pt x="112" y="48"/>
                    </a:lnTo>
                    <a:lnTo>
                      <a:pt x="114" y="48"/>
                    </a:lnTo>
                    <a:lnTo>
                      <a:pt x="116" y="48"/>
                    </a:lnTo>
                    <a:lnTo>
                      <a:pt x="116" y="46"/>
                    </a:lnTo>
                    <a:lnTo>
                      <a:pt x="117" y="46"/>
                    </a:lnTo>
                    <a:lnTo>
                      <a:pt x="117" y="48"/>
                    </a:lnTo>
                    <a:lnTo>
                      <a:pt x="119" y="48"/>
                    </a:lnTo>
                    <a:lnTo>
                      <a:pt x="119" y="49"/>
                    </a:lnTo>
                    <a:lnTo>
                      <a:pt x="119" y="51"/>
                    </a:lnTo>
                    <a:lnTo>
                      <a:pt x="121" y="51"/>
                    </a:lnTo>
                    <a:lnTo>
                      <a:pt x="121" y="49"/>
                    </a:lnTo>
                    <a:lnTo>
                      <a:pt x="122" y="51"/>
                    </a:lnTo>
                    <a:lnTo>
                      <a:pt x="122" y="53"/>
                    </a:lnTo>
                    <a:lnTo>
                      <a:pt x="124" y="53"/>
                    </a:lnTo>
                    <a:lnTo>
                      <a:pt x="126" y="53"/>
                    </a:lnTo>
                    <a:lnTo>
                      <a:pt x="126" y="51"/>
                    </a:lnTo>
                    <a:lnTo>
                      <a:pt x="128" y="53"/>
                    </a:lnTo>
                    <a:lnTo>
                      <a:pt x="129" y="53"/>
                    </a:lnTo>
                    <a:lnTo>
                      <a:pt x="131" y="53"/>
                    </a:lnTo>
                    <a:lnTo>
                      <a:pt x="133" y="54"/>
                    </a:lnTo>
                    <a:lnTo>
                      <a:pt x="134" y="54"/>
                    </a:lnTo>
                    <a:lnTo>
                      <a:pt x="134" y="56"/>
                    </a:lnTo>
                    <a:lnTo>
                      <a:pt x="134" y="58"/>
                    </a:lnTo>
                    <a:lnTo>
                      <a:pt x="136" y="58"/>
                    </a:lnTo>
                    <a:lnTo>
                      <a:pt x="136" y="59"/>
                    </a:lnTo>
                    <a:lnTo>
                      <a:pt x="136" y="61"/>
                    </a:lnTo>
                    <a:lnTo>
                      <a:pt x="139" y="65"/>
                    </a:lnTo>
                    <a:lnTo>
                      <a:pt x="141" y="66"/>
                    </a:lnTo>
                    <a:lnTo>
                      <a:pt x="143" y="66"/>
                    </a:lnTo>
                    <a:lnTo>
                      <a:pt x="143" y="68"/>
                    </a:lnTo>
                    <a:lnTo>
                      <a:pt x="145" y="68"/>
                    </a:lnTo>
                    <a:lnTo>
                      <a:pt x="145" y="70"/>
                    </a:lnTo>
                    <a:lnTo>
                      <a:pt x="146" y="70"/>
                    </a:lnTo>
                    <a:lnTo>
                      <a:pt x="146" y="71"/>
                    </a:lnTo>
                    <a:lnTo>
                      <a:pt x="148" y="71"/>
                    </a:lnTo>
                    <a:lnTo>
                      <a:pt x="150" y="71"/>
                    </a:lnTo>
                    <a:lnTo>
                      <a:pt x="150" y="70"/>
                    </a:lnTo>
                    <a:lnTo>
                      <a:pt x="151" y="71"/>
                    </a:lnTo>
                    <a:lnTo>
                      <a:pt x="153" y="71"/>
                    </a:lnTo>
                    <a:lnTo>
                      <a:pt x="151" y="71"/>
                    </a:lnTo>
                    <a:lnTo>
                      <a:pt x="153" y="73"/>
                    </a:lnTo>
                    <a:lnTo>
                      <a:pt x="155" y="73"/>
                    </a:lnTo>
                    <a:lnTo>
                      <a:pt x="155" y="75"/>
                    </a:lnTo>
                    <a:lnTo>
                      <a:pt x="156" y="75"/>
                    </a:lnTo>
                    <a:lnTo>
                      <a:pt x="156" y="76"/>
                    </a:lnTo>
                    <a:lnTo>
                      <a:pt x="158" y="78"/>
                    </a:lnTo>
                    <a:lnTo>
                      <a:pt x="158" y="76"/>
                    </a:lnTo>
                    <a:lnTo>
                      <a:pt x="160" y="78"/>
                    </a:lnTo>
                    <a:lnTo>
                      <a:pt x="160" y="80"/>
                    </a:lnTo>
                    <a:lnTo>
                      <a:pt x="162" y="80"/>
                    </a:lnTo>
                    <a:lnTo>
                      <a:pt x="160" y="82"/>
                    </a:lnTo>
                    <a:lnTo>
                      <a:pt x="162" y="82"/>
                    </a:lnTo>
                    <a:lnTo>
                      <a:pt x="162" y="83"/>
                    </a:lnTo>
                    <a:lnTo>
                      <a:pt x="162" y="85"/>
                    </a:lnTo>
                    <a:lnTo>
                      <a:pt x="163" y="85"/>
                    </a:lnTo>
                    <a:lnTo>
                      <a:pt x="163" y="87"/>
                    </a:lnTo>
                    <a:lnTo>
                      <a:pt x="163" y="88"/>
                    </a:lnTo>
                    <a:lnTo>
                      <a:pt x="163" y="90"/>
                    </a:lnTo>
                    <a:lnTo>
                      <a:pt x="165" y="90"/>
                    </a:lnTo>
                    <a:lnTo>
                      <a:pt x="165" y="92"/>
                    </a:lnTo>
                    <a:lnTo>
                      <a:pt x="167" y="93"/>
                    </a:lnTo>
                    <a:lnTo>
                      <a:pt x="168" y="93"/>
                    </a:lnTo>
                    <a:lnTo>
                      <a:pt x="170" y="93"/>
                    </a:lnTo>
                    <a:lnTo>
                      <a:pt x="170" y="95"/>
                    </a:lnTo>
                    <a:lnTo>
                      <a:pt x="170" y="97"/>
                    </a:lnTo>
                    <a:lnTo>
                      <a:pt x="172" y="97"/>
                    </a:lnTo>
                    <a:lnTo>
                      <a:pt x="172" y="99"/>
                    </a:lnTo>
                    <a:lnTo>
                      <a:pt x="172" y="97"/>
                    </a:lnTo>
                    <a:lnTo>
                      <a:pt x="173" y="99"/>
                    </a:lnTo>
                    <a:lnTo>
                      <a:pt x="175" y="99"/>
                    </a:lnTo>
                    <a:lnTo>
                      <a:pt x="177" y="99"/>
                    </a:lnTo>
                    <a:lnTo>
                      <a:pt x="177" y="100"/>
                    </a:lnTo>
                    <a:lnTo>
                      <a:pt x="179" y="100"/>
                    </a:lnTo>
                    <a:lnTo>
                      <a:pt x="179" y="102"/>
                    </a:lnTo>
                    <a:lnTo>
                      <a:pt x="182" y="104"/>
                    </a:lnTo>
                    <a:lnTo>
                      <a:pt x="180" y="104"/>
                    </a:lnTo>
                    <a:lnTo>
                      <a:pt x="180" y="105"/>
                    </a:lnTo>
                    <a:lnTo>
                      <a:pt x="179" y="105"/>
                    </a:lnTo>
                    <a:lnTo>
                      <a:pt x="177" y="107"/>
                    </a:lnTo>
                    <a:lnTo>
                      <a:pt x="177" y="109"/>
                    </a:lnTo>
                    <a:lnTo>
                      <a:pt x="175" y="109"/>
                    </a:lnTo>
                    <a:lnTo>
                      <a:pt x="175" y="110"/>
                    </a:lnTo>
                    <a:lnTo>
                      <a:pt x="175" y="112"/>
                    </a:lnTo>
                    <a:lnTo>
                      <a:pt x="175" y="114"/>
                    </a:lnTo>
                    <a:lnTo>
                      <a:pt x="173" y="114"/>
                    </a:lnTo>
                    <a:lnTo>
                      <a:pt x="170" y="119"/>
                    </a:lnTo>
                    <a:lnTo>
                      <a:pt x="168" y="119"/>
                    </a:lnTo>
                    <a:lnTo>
                      <a:pt x="168" y="121"/>
                    </a:lnTo>
                    <a:lnTo>
                      <a:pt x="168" y="122"/>
                    </a:lnTo>
                    <a:lnTo>
                      <a:pt x="167" y="122"/>
                    </a:lnTo>
                    <a:lnTo>
                      <a:pt x="167" y="124"/>
                    </a:lnTo>
                    <a:lnTo>
                      <a:pt x="167" y="126"/>
                    </a:lnTo>
                    <a:lnTo>
                      <a:pt x="167" y="127"/>
                    </a:lnTo>
                    <a:lnTo>
                      <a:pt x="168" y="129"/>
                    </a:lnTo>
                    <a:lnTo>
                      <a:pt x="168" y="131"/>
                    </a:lnTo>
                    <a:lnTo>
                      <a:pt x="168" y="134"/>
                    </a:lnTo>
                    <a:lnTo>
                      <a:pt x="167" y="136"/>
                    </a:lnTo>
                    <a:lnTo>
                      <a:pt x="167" y="138"/>
                    </a:lnTo>
                    <a:lnTo>
                      <a:pt x="167" y="139"/>
                    </a:lnTo>
                    <a:lnTo>
                      <a:pt x="167" y="141"/>
                    </a:lnTo>
                    <a:lnTo>
                      <a:pt x="167" y="143"/>
                    </a:lnTo>
                    <a:lnTo>
                      <a:pt x="168" y="143"/>
                    </a:lnTo>
                    <a:lnTo>
                      <a:pt x="170" y="143"/>
                    </a:lnTo>
                    <a:lnTo>
                      <a:pt x="170" y="144"/>
                    </a:lnTo>
                    <a:lnTo>
                      <a:pt x="172" y="144"/>
                    </a:lnTo>
                    <a:close/>
                    <a:moveTo>
                      <a:pt x="3" y="153"/>
                    </a:moveTo>
                    <a:lnTo>
                      <a:pt x="3" y="155"/>
                    </a:lnTo>
                    <a:lnTo>
                      <a:pt x="3" y="153"/>
                    </a:lnTo>
                    <a:close/>
                    <a:moveTo>
                      <a:pt x="70" y="187"/>
                    </a:moveTo>
                    <a:lnTo>
                      <a:pt x="71" y="187"/>
                    </a:lnTo>
                    <a:lnTo>
                      <a:pt x="70" y="187"/>
                    </a:lnTo>
                    <a:close/>
                    <a:moveTo>
                      <a:pt x="5" y="156"/>
                    </a:moveTo>
                    <a:lnTo>
                      <a:pt x="5" y="158"/>
                    </a:lnTo>
                    <a:lnTo>
                      <a:pt x="5" y="156"/>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81" name="Freeform 59">
                <a:extLst>
                  <a:ext uri="{FF2B5EF4-FFF2-40B4-BE49-F238E27FC236}">
                    <a16:creationId xmlns:a16="http://schemas.microsoft.com/office/drawing/2014/main" id="{F09156C3-02AF-7424-2C52-BFDF736C2126}"/>
                  </a:ext>
                </a:extLst>
              </p:cNvPr>
              <p:cNvSpPr>
                <a:spLocks noEditPoints="1"/>
              </p:cNvSpPr>
              <p:nvPr/>
            </p:nvSpPr>
            <p:spPr bwMode="auto">
              <a:xfrm>
                <a:off x="5651260" y="2824952"/>
                <a:ext cx="134228" cy="115431"/>
              </a:xfrm>
              <a:custGeom>
                <a:avLst/>
                <a:gdLst>
                  <a:gd name="T0" fmla="*/ 428 w 457"/>
                  <a:gd name="T1" fmla="*/ 157 h 393"/>
                  <a:gd name="T2" fmla="*/ 433 w 457"/>
                  <a:gd name="T3" fmla="*/ 181 h 393"/>
                  <a:gd name="T4" fmla="*/ 409 w 457"/>
                  <a:gd name="T5" fmla="*/ 194 h 393"/>
                  <a:gd name="T6" fmla="*/ 426 w 457"/>
                  <a:gd name="T7" fmla="*/ 238 h 393"/>
                  <a:gd name="T8" fmla="*/ 408 w 457"/>
                  <a:gd name="T9" fmla="*/ 262 h 393"/>
                  <a:gd name="T10" fmla="*/ 380 w 457"/>
                  <a:gd name="T11" fmla="*/ 276 h 393"/>
                  <a:gd name="T12" fmla="*/ 357 w 457"/>
                  <a:gd name="T13" fmla="*/ 286 h 393"/>
                  <a:gd name="T14" fmla="*/ 333 w 457"/>
                  <a:gd name="T15" fmla="*/ 281 h 393"/>
                  <a:gd name="T16" fmla="*/ 311 w 457"/>
                  <a:gd name="T17" fmla="*/ 279 h 393"/>
                  <a:gd name="T18" fmla="*/ 292 w 457"/>
                  <a:gd name="T19" fmla="*/ 279 h 393"/>
                  <a:gd name="T20" fmla="*/ 312 w 457"/>
                  <a:gd name="T21" fmla="*/ 317 h 393"/>
                  <a:gd name="T22" fmla="*/ 336 w 457"/>
                  <a:gd name="T23" fmla="*/ 334 h 393"/>
                  <a:gd name="T24" fmla="*/ 312 w 457"/>
                  <a:gd name="T25" fmla="*/ 352 h 393"/>
                  <a:gd name="T26" fmla="*/ 292 w 457"/>
                  <a:gd name="T27" fmla="*/ 371 h 393"/>
                  <a:gd name="T28" fmla="*/ 270 w 457"/>
                  <a:gd name="T29" fmla="*/ 383 h 393"/>
                  <a:gd name="T30" fmla="*/ 249 w 457"/>
                  <a:gd name="T31" fmla="*/ 385 h 393"/>
                  <a:gd name="T32" fmla="*/ 212 w 457"/>
                  <a:gd name="T33" fmla="*/ 352 h 393"/>
                  <a:gd name="T34" fmla="*/ 192 w 457"/>
                  <a:gd name="T35" fmla="*/ 320 h 393"/>
                  <a:gd name="T36" fmla="*/ 192 w 457"/>
                  <a:gd name="T37" fmla="*/ 288 h 393"/>
                  <a:gd name="T38" fmla="*/ 185 w 457"/>
                  <a:gd name="T39" fmla="*/ 252 h 393"/>
                  <a:gd name="T40" fmla="*/ 195 w 457"/>
                  <a:gd name="T41" fmla="*/ 216 h 393"/>
                  <a:gd name="T42" fmla="*/ 171 w 457"/>
                  <a:gd name="T43" fmla="*/ 206 h 393"/>
                  <a:gd name="T44" fmla="*/ 120 w 457"/>
                  <a:gd name="T45" fmla="*/ 194 h 393"/>
                  <a:gd name="T46" fmla="*/ 76 w 457"/>
                  <a:gd name="T47" fmla="*/ 179 h 393"/>
                  <a:gd name="T48" fmla="*/ 40 w 457"/>
                  <a:gd name="T49" fmla="*/ 167 h 393"/>
                  <a:gd name="T50" fmla="*/ 32 w 457"/>
                  <a:gd name="T51" fmla="*/ 141 h 393"/>
                  <a:gd name="T52" fmla="*/ 11 w 457"/>
                  <a:gd name="T53" fmla="*/ 106 h 393"/>
                  <a:gd name="T54" fmla="*/ 11 w 457"/>
                  <a:gd name="T55" fmla="*/ 82 h 393"/>
                  <a:gd name="T56" fmla="*/ 25 w 457"/>
                  <a:gd name="T57" fmla="*/ 44 h 393"/>
                  <a:gd name="T58" fmla="*/ 64 w 457"/>
                  <a:gd name="T59" fmla="*/ 16 h 393"/>
                  <a:gd name="T60" fmla="*/ 57 w 457"/>
                  <a:gd name="T61" fmla="*/ 41 h 393"/>
                  <a:gd name="T62" fmla="*/ 49 w 457"/>
                  <a:gd name="T63" fmla="*/ 72 h 393"/>
                  <a:gd name="T64" fmla="*/ 47 w 457"/>
                  <a:gd name="T65" fmla="*/ 97 h 393"/>
                  <a:gd name="T66" fmla="*/ 62 w 457"/>
                  <a:gd name="T67" fmla="*/ 107 h 393"/>
                  <a:gd name="T68" fmla="*/ 71 w 457"/>
                  <a:gd name="T69" fmla="*/ 77 h 393"/>
                  <a:gd name="T70" fmla="*/ 62 w 457"/>
                  <a:gd name="T71" fmla="*/ 44 h 393"/>
                  <a:gd name="T72" fmla="*/ 96 w 457"/>
                  <a:gd name="T73" fmla="*/ 31 h 393"/>
                  <a:gd name="T74" fmla="*/ 113 w 457"/>
                  <a:gd name="T75" fmla="*/ 24 h 393"/>
                  <a:gd name="T76" fmla="*/ 105 w 457"/>
                  <a:gd name="T77" fmla="*/ 19 h 393"/>
                  <a:gd name="T78" fmla="*/ 119 w 457"/>
                  <a:gd name="T79" fmla="*/ 9 h 393"/>
                  <a:gd name="T80" fmla="*/ 153 w 457"/>
                  <a:gd name="T81" fmla="*/ 27 h 393"/>
                  <a:gd name="T82" fmla="*/ 170 w 457"/>
                  <a:gd name="T83" fmla="*/ 48 h 393"/>
                  <a:gd name="T84" fmla="*/ 200 w 457"/>
                  <a:gd name="T85" fmla="*/ 56 h 393"/>
                  <a:gd name="T86" fmla="*/ 244 w 457"/>
                  <a:gd name="T87" fmla="*/ 56 h 393"/>
                  <a:gd name="T88" fmla="*/ 282 w 457"/>
                  <a:gd name="T89" fmla="*/ 73 h 393"/>
                  <a:gd name="T90" fmla="*/ 307 w 457"/>
                  <a:gd name="T91" fmla="*/ 61 h 393"/>
                  <a:gd name="T92" fmla="*/ 311 w 457"/>
                  <a:gd name="T93" fmla="*/ 56 h 393"/>
                  <a:gd name="T94" fmla="*/ 329 w 457"/>
                  <a:gd name="T95" fmla="*/ 53 h 393"/>
                  <a:gd name="T96" fmla="*/ 370 w 457"/>
                  <a:gd name="T97" fmla="*/ 51 h 393"/>
                  <a:gd name="T98" fmla="*/ 363 w 457"/>
                  <a:gd name="T99" fmla="*/ 56 h 393"/>
                  <a:gd name="T100" fmla="*/ 370 w 457"/>
                  <a:gd name="T101" fmla="*/ 78 h 393"/>
                  <a:gd name="T102" fmla="*/ 399 w 457"/>
                  <a:gd name="T103" fmla="*/ 82 h 393"/>
                  <a:gd name="T104" fmla="*/ 419 w 457"/>
                  <a:gd name="T105" fmla="*/ 101 h 393"/>
                  <a:gd name="T106" fmla="*/ 423 w 457"/>
                  <a:gd name="T107" fmla="*/ 116 h 393"/>
                  <a:gd name="T108" fmla="*/ 436 w 457"/>
                  <a:gd name="T109" fmla="*/ 124 h 393"/>
                  <a:gd name="T110" fmla="*/ 311 w 457"/>
                  <a:gd name="T111" fmla="*/ 44 h 393"/>
                  <a:gd name="T112" fmla="*/ 309 w 457"/>
                  <a:gd name="T113" fmla="*/ 39 h 393"/>
                  <a:gd name="T114" fmla="*/ 295 w 457"/>
                  <a:gd name="T115" fmla="*/ 10 h 393"/>
                  <a:gd name="T116" fmla="*/ 226 w 457"/>
                  <a:gd name="T117" fmla="*/ 14 h 393"/>
                  <a:gd name="T118" fmla="*/ 221 w 457"/>
                  <a:gd name="T119" fmla="*/ 10 h 393"/>
                  <a:gd name="T120" fmla="*/ 302 w 457"/>
                  <a:gd name="T121" fmla="*/ 63 h 393"/>
                  <a:gd name="T122" fmla="*/ 190 w 457"/>
                  <a:gd name="T123" fmla="*/ 7 h 393"/>
                  <a:gd name="T124" fmla="*/ 219 w 457"/>
                  <a:gd name="T125"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7" h="393">
                    <a:moveTo>
                      <a:pt x="450" y="126"/>
                    </a:moveTo>
                    <a:lnTo>
                      <a:pt x="452" y="128"/>
                    </a:lnTo>
                    <a:lnTo>
                      <a:pt x="453" y="130"/>
                    </a:lnTo>
                    <a:lnTo>
                      <a:pt x="455" y="133"/>
                    </a:lnTo>
                    <a:lnTo>
                      <a:pt x="457" y="135"/>
                    </a:lnTo>
                    <a:lnTo>
                      <a:pt x="455" y="135"/>
                    </a:lnTo>
                    <a:lnTo>
                      <a:pt x="455" y="136"/>
                    </a:lnTo>
                    <a:lnTo>
                      <a:pt x="452" y="136"/>
                    </a:lnTo>
                    <a:lnTo>
                      <a:pt x="450" y="138"/>
                    </a:lnTo>
                    <a:lnTo>
                      <a:pt x="450" y="140"/>
                    </a:lnTo>
                    <a:lnTo>
                      <a:pt x="450" y="141"/>
                    </a:lnTo>
                    <a:lnTo>
                      <a:pt x="448" y="141"/>
                    </a:lnTo>
                    <a:lnTo>
                      <a:pt x="448" y="143"/>
                    </a:lnTo>
                    <a:lnTo>
                      <a:pt x="447" y="143"/>
                    </a:lnTo>
                    <a:lnTo>
                      <a:pt x="445" y="143"/>
                    </a:lnTo>
                    <a:lnTo>
                      <a:pt x="445" y="145"/>
                    </a:lnTo>
                    <a:lnTo>
                      <a:pt x="443" y="145"/>
                    </a:lnTo>
                    <a:lnTo>
                      <a:pt x="442" y="145"/>
                    </a:lnTo>
                    <a:lnTo>
                      <a:pt x="442" y="147"/>
                    </a:lnTo>
                    <a:lnTo>
                      <a:pt x="440" y="148"/>
                    </a:lnTo>
                    <a:lnTo>
                      <a:pt x="438" y="148"/>
                    </a:lnTo>
                    <a:lnTo>
                      <a:pt x="438" y="150"/>
                    </a:lnTo>
                    <a:lnTo>
                      <a:pt x="436" y="150"/>
                    </a:lnTo>
                    <a:lnTo>
                      <a:pt x="435" y="150"/>
                    </a:lnTo>
                    <a:lnTo>
                      <a:pt x="433" y="150"/>
                    </a:lnTo>
                    <a:lnTo>
                      <a:pt x="431" y="150"/>
                    </a:lnTo>
                    <a:lnTo>
                      <a:pt x="431" y="152"/>
                    </a:lnTo>
                    <a:lnTo>
                      <a:pt x="430" y="153"/>
                    </a:lnTo>
                    <a:lnTo>
                      <a:pt x="430" y="155"/>
                    </a:lnTo>
                    <a:lnTo>
                      <a:pt x="430" y="157"/>
                    </a:lnTo>
                    <a:lnTo>
                      <a:pt x="428" y="157"/>
                    </a:lnTo>
                    <a:lnTo>
                      <a:pt x="428" y="158"/>
                    </a:lnTo>
                    <a:lnTo>
                      <a:pt x="428" y="160"/>
                    </a:lnTo>
                    <a:lnTo>
                      <a:pt x="428" y="162"/>
                    </a:lnTo>
                    <a:lnTo>
                      <a:pt x="428" y="164"/>
                    </a:lnTo>
                    <a:lnTo>
                      <a:pt x="428" y="165"/>
                    </a:lnTo>
                    <a:lnTo>
                      <a:pt x="430" y="165"/>
                    </a:lnTo>
                    <a:lnTo>
                      <a:pt x="430" y="167"/>
                    </a:lnTo>
                    <a:lnTo>
                      <a:pt x="430" y="169"/>
                    </a:lnTo>
                    <a:lnTo>
                      <a:pt x="428" y="169"/>
                    </a:lnTo>
                    <a:lnTo>
                      <a:pt x="428" y="170"/>
                    </a:lnTo>
                    <a:lnTo>
                      <a:pt x="430" y="170"/>
                    </a:lnTo>
                    <a:lnTo>
                      <a:pt x="430" y="172"/>
                    </a:lnTo>
                    <a:lnTo>
                      <a:pt x="431" y="172"/>
                    </a:lnTo>
                    <a:lnTo>
                      <a:pt x="431" y="174"/>
                    </a:lnTo>
                    <a:lnTo>
                      <a:pt x="431" y="172"/>
                    </a:lnTo>
                    <a:lnTo>
                      <a:pt x="433" y="172"/>
                    </a:lnTo>
                    <a:lnTo>
                      <a:pt x="433" y="170"/>
                    </a:lnTo>
                    <a:lnTo>
                      <a:pt x="435" y="172"/>
                    </a:lnTo>
                    <a:lnTo>
                      <a:pt x="435" y="170"/>
                    </a:lnTo>
                    <a:lnTo>
                      <a:pt x="435" y="172"/>
                    </a:lnTo>
                    <a:lnTo>
                      <a:pt x="436" y="172"/>
                    </a:lnTo>
                    <a:lnTo>
                      <a:pt x="438" y="172"/>
                    </a:lnTo>
                    <a:lnTo>
                      <a:pt x="438" y="174"/>
                    </a:lnTo>
                    <a:lnTo>
                      <a:pt x="438" y="175"/>
                    </a:lnTo>
                    <a:lnTo>
                      <a:pt x="438" y="177"/>
                    </a:lnTo>
                    <a:lnTo>
                      <a:pt x="438" y="179"/>
                    </a:lnTo>
                    <a:lnTo>
                      <a:pt x="436" y="179"/>
                    </a:lnTo>
                    <a:lnTo>
                      <a:pt x="436" y="181"/>
                    </a:lnTo>
                    <a:lnTo>
                      <a:pt x="436" y="179"/>
                    </a:lnTo>
                    <a:lnTo>
                      <a:pt x="435" y="181"/>
                    </a:lnTo>
                    <a:lnTo>
                      <a:pt x="433" y="181"/>
                    </a:lnTo>
                    <a:lnTo>
                      <a:pt x="433" y="182"/>
                    </a:lnTo>
                    <a:lnTo>
                      <a:pt x="431" y="182"/>
                    </a:lnTo>
                    <a:lnTo>
                      <a:pt x="430" y="182"/>
                    </a:lnTo>
                    <a:lnTo>
                      <a:pt x="430" y="184"/>
                    </a:lnTo>
                    <a:lnTo>
                      <a:pt x="428" y="184"/>
                    </a:lnTo>
                    <a:lnTo>
                      <a:pt x="426" y="184"/>
                    </a:lnTo>
                    <a:lnTo>
                      <a:pt x="426" y="186"/>
                    </a:lnTo>
                    <a:lnTo>
                      <a:pt x="425" y="186"/>
                    </a:lnTo>
                    <a:lnTo>
                      <a:pt x="423" y="186"/>
                    </a:lnTo>
                    <a:lnTo>
                      <a:pt x="423" y="184"/>
                    </a:lnTo>
                    <a:lnTo>
                      <a:pt x="423" y="186"/>
                    </a:lnTo>
                    <a:lnTo>
                      <a:pt x="421" y="186"/>
                    </a:lnTo>
                    <a:lnTo>
                      <a:pt x="419" y="186"/>
                    </a:lnTo>
                    <a:lnTo>
                      <a:pt x="419" y="184"/>
                    </a:lnTo>
                    <a:lnTo>
                      <a:pt x="418" y="184"/>
                    </a:lnTo>
                    <a:lnTo>
                      <a:pt x="418" y="186"/>
                    </a:lnTo>
                    <a:lnTo>
                      <a:pt x="419" y="186"/>
                    </a:lnTo>
                    <a:lnTo>
                      <a:pt x="418" y="187"/>
                    </a:lnTo>
                    <a:lnTo>
                      <a:pt x="416" y="187"/>
                    </a:lnTo>
                    <a:lnTo>
                      <a:pt x="414" y="187"/>
                    </a:lnTo>
                    <a:lnTo>
                      <a:pt x="413" y="187"/>
                    </a:lnTo>
                    <a:lnTo>
                      <a:pt x="411" y="187"/>
                    </a:lnTo>
                    <a:lnTo>
                      <a:pt x="411" y="189"/>
                    </a:lnTo>
                    <a:lnTo>
                      <a:pt x="409" y="189"/>
                    </a:lnTo>
                    <a:lnTo>
                      <a:pt x="409" y="191"/>
                    </a:lnTo>
                    <a:lnTo>
                      <a:pt x="409" y="192"/>
                    </a:lnTo>
                    <a:lnTo>
                      <a:pt x="408" y="192"/>
                    </a:lnTo>
                    <a:lnTo>
                      <a:pt x="409" y="192"/>
                    </a:lnTo>
                    <a:lnTo>
                      <a:pt x="408" y="192"/>
                    </a:lnTo>
                    <a:lnTo>
                      <a:pt x="409" y="192"/>
                    </a:lnTo>
                    <a:lnTo>
                      <a:pt x="409" y="194"/>
                    </a:lnTo>
                    <a:lnTo>
                      <a:pt x="411" y="194"/>
                    </a:lnTo>
                    <a:lnTo>
                      <a:pt x="409" y="196"/>
                    </a:lnTo>
                    <a:lnTo>
                      <a:pt x="411" y="196"/>
                    </a:lnTo>
                    <a:lnTo>
                      <a:pt x="411" y="198"/>
                    </a:lnTo>
                    <a:lnTo>
                      <a:pt x="411" y="199"/>
                    </a:lnTo>
                    <a:lnTo>
                      <a:pt x="411" y="201"/>
                    </a:lnTo>
                    <a:lnTo>
                      <a:pt x="409" y="201"/>
                    </a:lnTo>
                    <a:lnTo>
                      <a:pt x="411" y="201"/>
                    </a:lnTo>
                    <a:lnTo>
                      <a:pt x="411" y="203"/>
                    </a:lnTo>
                    <a:lnTo>
                      <a:pt x="413" y="203"/>
                    </a:lnTo>
                    <a:lnTo>
                      <a:pt x="411" y="203"/>
                    </a:lnTo>
                    <a:lnTo>
                      <a:pt x="411" y="204"/>
                    </a:lnTo>
                    <a:lnTo>
                      <a:pt x="413" y="204"/>
                    </a:lnTo>
                    <a:lnTo>
                      <a:pt x="411" y="206"/>
                    </a:lnTo>
                    <a:lnTo>
                      <a:pt x="409" y="206"/>
                    </a:lnTo>
                    <a:lnTo>
                      <a:pt x="409" y="208"/>
                    </a:lnTo>
                    <a:lnTo>
                      <a:pt x="408" y="208"/>
                    </a:lnTo>
                    <a:lnTo>
                      <a:pt x="406" y="209"/>
                    </a:lnTo>
                    <a:lnTo>
                      <a:pt x="406" y="211"/>
                    </a:lnTo>
                    <a:lnTo>
                      <a:pt x="404" y="211"/>
                    </a:lnTo>
                    <a:lnTo>
                      <a:pt x="404" y="213"/>
                    </a:lnTo>
                    <a:lnTo>
                      <a:pt x="402" y="213"/>
                    </a:lnTo>
                    <a:lnTo>
                      <a:pt x="402" y="215"/>
                    </a:lnTo>
                    <a:lnTo>
                      <a:pt x="404" y="216"/>
                    </a:lnTo>
                    <a:lnTo>
                      <a:pt x="409" y="221"/>
                    </a:lnTo>
                    <a:lnTo>
                      <a:pt x="413" y="223"/>
                    </a:lnTo>
                    <a:lnTo>
                      <a:pt x="414" y="228"/>
                    </a:lnTo>
                    <a:lnTo>
                      <a:pt x="421" y="235"/>
                    </a:lnTo>
                    <a:lnTo>
                      <a:pt x="423" y="237"/>
                    </a:lnTo>
                    <a:lnTo>
                      <a:pt x="425" y="238"/>
                    </a:lnTo>
                    <a:lnTo>
                      <a:pt x="426" y="238"/>
                    </a:lnTo>
                    <a:lnTo>
                      <a:pt x="426" y="240"/>
                    </a:lnTo>
                    <a:lnTo>
                      <a:pt x="428" y="240"/>
                    </a:lnTo>
                    <a:lnTo>
                      <a:pt x="428" y="242"/>
                    </a:lnTo>
                    <a:lnTo>
                      <a:pt x="428" y="243"/>
                    </a:lnTo>
                    <a:lnTo>
                      <a:pt x="428" y="245"/>
                    </a:lnTo>
                    <a:lnTo>
                      <a:pt x="430" y="245"/>
                    </a:lnTo>
                    <a:lnTo>
                      <a:pt x="430" y="247"/>
                    </a:lnTo>
                    <a:lnTo>
                      <a:pt x="430" y="249"/>
                    </a:lnTo>
                    <a:lnTo>
                      <a:pt x="428" y="249"/>
                    </a:lnTo>
                    <a:lnTo>
                      <a:pt x="428" y="250"/>
                    </a:lnTo>
                    <a:lnTo>
                      <a:pt x="426" y="250"/>
                    </a:lnTo>
                    <a:lnTo>
                      <a:pt x="426" y="252"/>
                    </a:lnTo>
                    <a:lnTo>
                      <a:pt x="425" y="252"/>
                    </a:lnTo>
                    <a:lnTo>
                      <a:pt x="425" y="254"/>
                    </a:lnTo>
                    <a:lnTo>
                      <a:pt x="423" y="254"/>
                    </a:lnTo>
                    <a:lnTo>
                      <a:pt x="423" y="255"/>
                    </a:lnTo>
                    <a:lnTo>
                      <a:pt x="421" y="255"/>
                    </a:lnTo>
                    <a:lnTo>
                      <a:pt x="419" y="255"/>
                    </a:lnTo>
                    <a:lnTo>
                      <a:pt x="419" y="257"/>
                    </a:lnTo>
                    <a:lnTo>
                      <a:pt x="418" y="257"/>
                    </a:lnTo>
                    <a:lnTo>
                      <a:pt x="418" y="259"/>
                    </a:lnTo>
                    <a:lnTo>
                      <a:pt x="418" y="261"/>
                    </a:lnTo>
                    <a:lnTo>
                      <a:pt x="416" y="261"/>
                    </a:lnTo>
                    <a:lnTo>
                      <a:pt x="416" y="262"/>
                    </a:lnTo>
                    <a:lnTo>
                      <a:pt x="414" y="262"/>
                    </a:lnTo>
                    <a:lnTo>
                      <a:pt x="413" y="262"/>
                    </a:lnTo>
                    <a:lnTo>
                      <a:pt x="411" y="262"/>
                    </a:lnTo>
                    <a:lnTo>
                      <a:pt x="411" y="264"/>
                    </a:lnTo>
                    <a:lnTo>
                      <a:pt x="411" y="262"/>
                    </a:lnTo>
                    <a:lnTo>
                      <a:pt x="409" y="262"/>
                    </a:lnTo>
                    <a:lnTo>
                      <a:pt x="408" y="262"/>
                    </a:lnTo>
                    <a:lnTo>
                      <a:pt x="406" y="262"/>
                    </a:lnTo>
                    <a:lnTo>
                      <a:pt x="404" y="262"/>
                    </a:lnTo>
                    <a:lnTo>
                      <a:pt x="406" y="262"/>
                    </a:lnTo>
                    <a:lnTo>
                      <a:pt x="406" y="264"/>
                    </a:lnTo>
                    <a:lnTo>
                      <a:pt x="406" y="266"/>
                    </a:lnTo>
                    <a:lnTo>
                      <a:pt x="404" y="266"/>
                    </a:lnTo>
                    <a:lnTo>
                      <a:pt x="402" y="266"/>
                    </a:lnTo>
                    <a:lnTo>
                      <a:pt x="401" y="266"/>
                    </a:lnTo>
                    <a:lnTo>
                      <a:pt x="399" y="266"/>
                    </a:lnTo>
                    <a:lnTo>
                      <a:pt x="399" y="267"/>
                    </a:lnTo>
                    <a:lnTo>
                      <a:pt x="399" y="269"/>
                    </a:lnTo>
                    <a:lnTo>
                      <a:pt x="399" y="271"/>
                    </a:lnTo>
                    <a:lnTo>
                      <a:pt x="397" y="271"/>
                    </a:lnTo>
                    <a:lnTo>
                      <a:pt x="396" y="271"/>
                    </a:lnTo>
                    <a:lnTo>
                      <a:pt x="394" y="271"/>
                    </a:lnTo>
                    <a:lnTo>
                      <a:pt x="394" y="272"/>
                    </a:lnTo>
                    <a:lnTo>
                      <a:pt x="394" y="271"/>
                    </a:lnTo>
                    <a:lnTo>
                      <a:pt x="392" y="271"/>
                    </a:lnTo>
                    <a:lnTo>
                      <a:pt x="391" y="271"/>
                    </a:lnTo>
                    <a:lnTo>
                      <a:pt x="391" y="272"/>
                    </a:lnTo>
                    <a:lnTo>
                      <a:pt x="389" y="272"/>
                    </a:lnTo>
                    <a:lnTo>
                      <a:pt x="389" y="274"/>
                    </a:lnTo>
                    <a:lnTo>
                      <a:pt x="387" y="274"/>
                    </a:lnTo>
                    <a:lnTo>
                      <a:pt x="385" y="274"/>
                    </a:lnTo>
                    <a:lnTo>
                      <a:pt x="385" y="276"/>
                    </a:lnTo>
                    <a:lnTo>
                      <a:pt x="384" y="276"/>
                    </a:lnTo>
                    <a:lnTo>
                      <a:pt x="384" y="274"/>
                    </a:lnTo>
                    <a:lnTo>
                      <a:pt x="382" y="274"/>
                    </a:lnTo>
                    <a:lnTo>
                      <a:pt x="380" y="274"/>
                    </a:lnTo>
                    <a:lnTo>
                      <a:pt x="379" y="274"/>
                    </a:lnTo>
                    <a:lnTo>
                      <a:pt x="380" y="276"/>
                    </a:lnTo>
                    <a:lnTo>
                      <a:pt x="379" y="276"/>
                    </a:lnTo>
                    <a:lnTo>
                      <a:pt x="377" y="278"/>
                    </a:lnTo>
                    <a:lnTo>
                      <a:pt x="377" y="276"/>
                    </a:lnTo>
                    <a:lnTo>
                      <a:pt x="375" y="276"/>
                    </a:lnTo>
                    <a:lnTo>
                      <a:pt x="374" y="276"/>
                    </a:lnTo>
                    <a:lnTo>
                      <a:pt x="372" y="274"/>
                    </a:lnTo>
                    <a:lnTo>
                      <a:pt x="372" y="276"/>
                    </a:lnTo>
                    <a:lnTo>
                      <a:pt x="372" y="274"/>
                    </a:lnTo>
                    <a:lnTo>
                      <a:pt x="372" y="276"/>
                    </a:lnTo>
                    <a:lnTo>
                      <a:pt x="370" y="274"/>
                    </a:lnTo>
                    <a:lnTo>
                      <a:pt x="368" y="274"/>
                    </a:lnTo>
                    <a:lnTo>
                      <a:pt x="367" y="274"/>
                    </a:lnTo>
                    <a:lnTo>
                      <a:pt x="367" y="276"/>
                    </a:lnTo>
                    <a:lnTo>
                      <a:pt x="365" y="274"/>
                    </a:lnTo>
                    <a:lnTo>
                      <a:pt x="365" y="276"/>
                    </a:lnTo>
                    <a:lnTo>
                      <a:pt x="363" y="276"/>
                    </a:lnTo>
                    <a:lnTo>
                      <a:pt x="363" y="278"/>
                    </a:lnTo>
                    <a:lnTo>
                      <a:pt x="363" y="279"/>
                    </a:lnTo>
                    <a:lnTo>
                      <a:pt x="362" y="279"/>
                    </a:lnTo>
                    <a:lnTo>
                      <a:pt x="362" y="278"/>
                    </a:lnTo>
                    <a:lnTo>
                      <a:pt x="360" y="278"/>
                    </a:lnTo>
                    <a:lnTo>
                      <a:pt x="360" y="279"/>
                    </a:lnTo>
                    <a:lnTo>
                      <a:pt x="360" y="278"/>
                    </a:lnTo>
                    <a:lnTo>
                      <a:pt x="358" y="279"/>
                    </a:lnTo>
                    <a:lnTo>
                      <a:pt x="357" y="278"/>
                    </a:lnTo>
                    <a:lnTo>
                      <a:pt x="357" y="279"/>
                    </a:lnTo>
                    <a:lnTo>
                      <a:pt x="357" y="281"/>
                    </a:lnTo>
                    <a:lnTo>
                      <a:pt x="357" y="283"/>
                    </a:lnTo>
                    <a:lnTo>
                      <a:pt x="355" y="283"/>
                    </a:lnTo>
                    <a:lnTo>
                      <a:pt x="357" y="284"/>
                    </a:lnTo>
                    <a:lnTo>
                      <a:pt x="357" y="286"/>
                    </a:lnTo>
                    <a:lnTo>
                      <a:pt x="358" y="286"/>
                    </a:lnTo>
                    <a:lnTo>
                      <a:pt x="357" y="286"/>
                    </a:lnTo>
                    <a:lnTo>
                      <a:pt x="358" y="288"/>
                    </a:lnTo>
                    <a:lnTo>
                      <a:pt x="357" y="288"/>
                    </a:lnTo>
                    <a:lnTo>
                      <a:pt x="358" y="289"/>
                    </a:lnTo>
                    <a:lnTo>
                      <a:pt x="357" y="289"/>
                    </a:lnTo>
                    <a:lnTo>
                      <a:pt x="357" y="291"/>
                    </a:lnTo>
                    <a:lnTo>
                      <a:pt x="357" y="289"/>
                    </a:lnTo>
                    <a:lnTo>
                      <a:pt x="355" y="289"/>
                    </a:lnTo>
                    <a:lnTo>
                      <a:pt x="355" y="288"/>
                    </a:lnTo>
                    <a:lnTo>
                      <a:pt x="353" y="289"/>
                    </a:lnTo>
                    <a:lnTo>
                      <a:pt x="351" y="291"/>
                    </a:lnTo>
                    <a:lnTo>
                      <a:pt x="351" y="293"/>
                    </a:lnTo>
                    <a:lnTo>
                      <a:pt x="350" y="293"/>
                    </a:lnTo>
                    <a:lnTo>
                      <a:pt x="348" y="293"/>
                    </a:lnTo>
                    <a:lnTo>
                      <a:pt x="348" y="291"/>
                    </a:lnTo>
                    <a:lnTo>
                      <a:pt x="346" y="291"/>
                    </a:lnTo>
                    <a:lnTo>
                      <a:pt x="346" y="289"/>
                    </a:lnTo>
                    <a:lnTo>
                      <a:pt x="346" y="288"/>
                    </a:lnTo>
                    <a:lnTo>
                      <a:pt x="345" y="288"/>
                    </a:lnTo>
                    <a:lnTo>
                      <a:pt x="345" y="286"/>
                    </a:lnTo>
                    <a:lnTo>
                      <a:pt x="343" y="286"/>
                    </a:lnTo>
                    <a:lnTo>
                      <a:pt x="341" y="286"/>
                    </a:lnTo>
                    <a:lnTo>
                      <a:pt x="341" y="284"/>
                    </a:lnTo>
                    <a:lnTo>
                      <a:pt x="341" y="283"/>
                    </a:lnTo>
                    <a:lnTo>
                      <a:pt x="341" y="281"/>
                    </a:lnTo>
                    <a:lnTo>
                      <a:pt x="340" y="281"/>
                    </a:lnTo>
                    <a:lnTo>
                      <a:pt x="338" y="281"/>
                    </a:lnTo>
                    <a:lnTo>
                      <a:pt x="336" y="281"/>
                    </a:lnTo>
                    <a:lnTo>
                      <a:pt x="334" y="281"/>
                    </a:lnTo>
                    <a:lnTo>
                      <a:pt x="333" y="281"/>
                    </a:lnTo>
                    <a:lnTo>
                      <a:pt x="334" y="281"/>
                    </a:lnTo>
                    <a:lnTo>
                      <a:pt x="334" y="283"/>
                    </a:lnTo>
                    <a:lnTo>
                      <a:pt x="334" y="284"/>
                    </a:lnTo>
                    <a:lnTo>
                      <a:pt x="333" y="284"/>
                    </a:lnTo>
                    <a:lnTo>
                      <a:pt x="331" y="284"/>
                    </a:lnTo>
                    <a:lnTo>
                      <a:pt x="329" y="284"/>
                    </a:lnTo>
                    <a:lnTo>
                      <a:pt x="329" y="283"/>
                    </a:lnTo>
                    <a:lnTo>
                      <a:pt x="329" y="284"/>
                    </a:lnTo>
                    <a:lnTo>
                      <a:pt x="328" y="283"/>
                    </a:lnTo>
                    <a:lnTo>
                      <a:pt x="329" y="283"/>
                    </a:lnTo>
                    <a:lnTo>
                      <a:pt x="328" y="283"/>
                    </a:lnTo>
                    <a:lnTo>
                      <a:pt x="328" y="281"/>
                    </a:lnTo>
                    <a:lnTo>
                      <a:pt x="326" y="281"/>
                    </a:lnTo>
                    <a:lnTo>
                      <a:pt x="326" y="279"/>
                    </a:lnTo>
                    <a:lnTo>
                      <a:pt x="324" y="281"/>
                    </a:lnTo>
                    <a:lnTo>
                      <a:pt x="326" y="283"/>
                    </a:lnTo>
                    <a:lnTo>
                      <a:pt x="324" y="283"/>
                    </a:lnTo>
                    <a:lnTo>
                      <a:pt x="323" y="281"/>
                    </a:lnTo>
                    <a:lnTo>
                      <a:pt x="323" y="283"/>
                    </a:lnTo>
                    <a:lnTo>
                      <a:pt x="321" y="283"/>
                    </a:lnTo>
                    <a:lnTo>
                      <a:pt x="321" y="281"/>
                    </a:lnTo>
                    <a:lnTo>
                      <a:pt x="319" y="281"/>
                    </a:lnTo>
                    <a:lnTo>
                      <a:pt x="319" y="283"/>
                    </a:lnTo>
                    <a:lnTo>
                      <a:pt x="317" y="283"/>
                    </a:lnTo>
                    <a:lnTo>
                      <a:pt x="316" y="283"/>
                    </a:lnTo>
                    <a:lnTo>
                      <a:pt x="316" y="284"/>
                    </a:lnTo>
                    <a:lnTo>
                      <a:pt x="316" y="283"/>
                    </a:lnTo>
                    <a:lnTo>
                      <a:pt x="314" y="283"/>
                    </a:lnTo>
                    <a:lnTo>
                      <a:pt x="312" y="281"/>
                    </a:lnTo>
                    <a:lnTo>
                      <a:pt x="312" y="279"/>
                    </a:lnTo>
                    <a:lnTo>
                      <a:pt x="311" y="279"/>
                    </a:lnTo>
                    <a:lnTo>
                      <a:pt x="312" y="278"/>
                    </a:lnTo>
                    <a:lnTo>
                      <a:pt x="311" y="278"/>
                    </a:lnTo>
                    <a:lnTo>
                      <a:pt x="311" y="276"/>
                    </a:lnTo>
                    <a:lnTo>
                      <a:pt x="309" y="276"/>
                    </a:lnTo>
                    <a:lnTo>
                      <a:pt x="307" y="276"/>
                    </a:lnTo>
                    <a:lnTo>
                      <a:pt x="306" y="276"/>
                    </a:lnTo>
                    <a:lnTo>
                      <a:pt x="306" y="274"/>
                    </a:lnTo>
                    <a:lnTo>
                      <a:pt x="304" y="276"/>
                    </a:lnTo>
                    <a:lnTo>
                      <a:pt x="302" y="276"/>
                    </a:lnTo>
                    <a:lnTo>
                      <a:pt x="302" y="274"/>
                    </a:lnTo>
                    <a:lnTo>
                      <a:pt x="300" y="276"/>
                    </a:lnTo>
                    <a:lnTo>
                      <a:pt x="300" y="274"/>
                    </a:lnTo>
                    <a:lnTo>
                      <a:pt x="300" y="276"/>
                    </a:lnTo>
                    <a:lnTo>
                      <a:pt x="299" y="276"/>
                    </a:lnTo>
                    <a:lnTo>
                      <a:pt x="297" y="276"/>
                    </a:lnTo>
                    <a:lnTo>
                      <a:pt x="295" y="276"/>
                    </a:lnTo>
                    <a:lnTo>
                      <a:pt x="294" y="276"/>
                    </a:lnTo>
                    <a:lnTo>
                      <a:pt x="294" y="274"/>
                    </a:lnTo>
                    <a:lnTo>
                      <a:pt x="292" y="272"/>
                    </a:lnTo>
                    <a:lnTo>
                      <a:pt x="292" y="271"/>
                    </a:lnTo>
                    <a:lnTo>
                      <a:pt x="290" y="271"/>
                    </a:lnTo>
                    <a:lnTo>
                      <a:pt x="289" y="271"/>
                    </a:lnTo>
                    <a:lnTo>
                      <a:pt x="287" y="271"/>
                    </a:lnTo>
                    <a:lnTo>
                      <a:pt x="287" y="272"/>
                    </a:lnTo>
                    <a:lnTo>
                      <a:pt x="287" y="274"/>
                    </a:lnTo>
                    <a:lnTo>
                      <a:pt x="289" y="274"/>
                    </a:lnTo>
                    <a:lnTo>
                      <a:pt x="289" y="276"/>
                    </a:lnTo>
                    <a:lnTo>
                      <a:pt x="290" y="276"/>
                    </a:lnTo>
                    <a:lnTo>
                      <a:pt x="290" y="278"/>
                    </a:lnTo>
                    <a:lnTo>
                      <a:pt x="292" y="278"/>
                    </a:lnTo>
                    <a:lnTo>
                      <a:pt x="292" y="279"/>
                    </a:lnTo>
                    <a:lnTo>
                      <a:pt x="294" y="281"/>
                    </a:lnTo>
                    <a:lnTo>
                      <a:pt x="295" y="283"/>
                    </a:lnTo>
                    <a:lnTo>
                      <a:pt x="295" y="284"/>
                    </a:lnTo>
                    <a:lnTo>
                      <a:pt x="297" y="284"/>
                    </a:lnTo>
                    <a:lnTo>
                      <a:pt x="297" y="286"/>
                    </a:lnTo>
                    <a:lnTo>
                      <a:pt x="299" y="286"/>
                    </a:lnTo>
                    <a:lnTo>
                      <a:pt x="299" y="288"/>
                    </a:lnTo>
                    <a:lnTo>
                      <a:pt x="300" y="288"/>
                    </a:lnTo>
                    <a:lnTo>
                      <a:pt x="302" y="288"/>
                    </a:lnTo>
                    <a:lnTo>
                      <a:pt x="304" y="288"/>
                    </a:lnTo>
                    <a:lnTo>
                      <a:pt x="304" y="289"/>
                    </a:lnTo>
                    <a:lnTo>
                      <a:pt x="306" y="289"/>
                    </a:lnTo>
                    <a:lnTo>
                      <a:pt x="306" y="291"/>
                    </a:lnTo>
                    <a:lnTo>
                      <a:pt x="307" y="293"/>
                    </a:lnTo>
                    <a:lnTo>
                      <a:pt x="309" y="295"/>
                    </a:lnTo>
                    <a:lnTo>
                      <a:pt x="309" y="296"/>
                    </a:lnTo>
                    <a:lnTo>
                      <a:pt x="307" y="298"/>
                    </a:lnTo>
                    <a:lnTo>
                      <a:pt x="306" y="300"/>
                    </a:lnTo>
                    <a:lnTo>
                      <a:pt x="307" y="300"/>
                    </a:lnTo>
                    <a:lnTo>
                      <a:pt x="307" y="301"/>
                    </a:lnTo>
                    <a:lnTo>
                      <a:pt x="307" y="303"/>
                    </a:lnTo>
                    <a:lnTo>
                      <a:pt x="307" y="305"/>
                    </a:lnTo>
                    <a:lnTo>
                      <a:pt x="307" y="306"/>
                    </a:lnTo>
                    <a:lnTo>
                      <a:pt x="307" y="308"/>
                    </a:lnTo>
                    <a:lnTo>
                      <a:pt x="307" y="310"/>
                    </a:lnTo>
                    <a:lnTo>
                      <a:pt x="309" y="312"/>
                    </a:lnTo>
                    <a:lnTo>
                      <a:pt x="309" y="313"/>
                    </a:lnTo>
                    <a:lnTo>
                      <a:pt x="311" y="313"/>
                    </a:lnTo>
                    <a:lnTo>
                      <a:pt x="311" y="315"/>
                    </a:lnTo>
                    <a:lnTo>
                      <a:pt x="312" y="315"/>
                    </a:lnTo>
                    <a:lnTo>
                      <a:pt x="312" y="317"/>
                    </a:lnTo>
                    <a:lnTo>
                      <a:pt x="312" y="318"/>
                    </a:lnTo>
                    <a:lnTo>
                      <a:pt x="314" y="320"/>
                    </a:lnTo>
                    <a:lnTo>
                      <a:pt x="314" y="322"/>
                    </a:lnTo>
                    <a:lnTo>
                      <a:pt x="316" y="322"/>
                    </a:lnTo>
                    <a:lnTo>
                      <a:pt x="314" y="322"/>
                    </a:lnTo>
                    <a:lnTo>
                      <a:pt x="316" y="323"/>
                    </a:lnTo>
                    <a:lnTo>
                      <a:pt x="314" y="323"/>
                    </a:lnTo>
                    <a:lnTo>
                      <a:pt x="316" y="323"/>
                    </a:lnTo>
                    <a:lnTo>
                      <a:pt x="316" y="325"/>
                    </a:lnTo>
                    <a:lnTo>
                      <a:pt x="314" y="325"/>
                    </a:lnTo>
                    <a:lnTo>
                      <a:pt x="314" y="327"/>
                    </a:lnTo>
                    <a:lnTo>
                      <a:pt x="314" y="329"/>
                    </a:lnTo>
                    <a:lnTo>
                      <a:pt x="312" y="329"/>
                    </a:lnTo>
                    <a:lnTo>
                      <a:pt x="312" y="330"/>
                    </a:lnTo>
                    <a:lnTo>
                      <a:pt x="314" y="330"/>
                    </a:lnTo>
                    <a:lnTo>
                      <a:pt x="314" y="332"/>
                    </a:lnTo>
                    <a:lnTo>
                      <a:pt x="314" y="330"/>
                    </a:lnTo>
                    <a:lnTo>
                      <a:pt x="316" y="332"/>
                    </a:lnTo>
                    <a:lnTo>
                      <a:pt x="317" y="332"/>
                    </a:lnTo>
                    <a:lnTo>
                      <a:pt x="319" y="332"/>
                    </a:lnTo>
                    <a:lnTo>
                      <a:pt x="321" y="334"/>
                    </a:lnTo>
                    <a:lnTo>
                      <a:pt x="323" y="334"/>
                    </a:lnTo>
                    <a:lnTo>
                      <a:pt x="324" y="334"/>
                    </a:lnTo>
                    <a:lnTo>
                      <a:pt x="326" y="334"/>
                    </a:lnTo>
                    <a:lnTo>
                      <a:pt x="328" y="334"/>
                    </a:lnTo>
                    <a:lnTo>
                      <a:pt x="329" y="334"/>
                    </a:lnTo>
                    <a:lnTo>
                      <a:pt x="331" y="334"/>
                    </a:lnTo>
                    <a:lnTo>
                      <a:pt x="333" y="332"/>
                    </a:lnTo>
                    <a:lnTo>
                      <a:pt x="334" y="332"/>
                    </a:lnTo>
                    <a:lnTo>
                      <a:pt x="336" y="332"/>
                    </a:lnTo>
                    <a:lnTo>
                      <a:pt x="336" y="334"/>
                    </a:lnTo>
                    <a:lnTo>
                      <a:pt x="336" y="335"/>
                    </a:lnTo>
                    <a:lnTo>
                      <a:pt x="336" y="337"/>
                    </a:lnTo>
                    <a:lnTo>
                      <a:pt x="336" y="339"/>
                    </a:lnTo>
                    <a:lnTo>
                      <a:pt x="336" y="340"/>
                    </a:lnTo>
                    <a:lnTo>
                      <a:pt x="334" y="340"/>
                    </a:lnTo>
                    <a:lnTo>
                      <a:pt x="336" y="340"/>
                    </a:lnTo>
                    <a:lnTo>
                      <a:pt x="334" y="342"/>
                    </a:lnTo>
                    <a:lnTo>
                      <a:pt x="333" y="344"/>
                    </a:lnTo>
                    <a:lnTo>
                      <a:pt x="333" y="342"/>
                    </a:lnTo>
                    <a:lnTo>
                      <a:pt x="333" y="344"/>
                    </a:lnTo>
                    <a:lnTo>
                      <a:pt x="331" y="344"/>
                    </a:lnTo>
                    <a:lnTo>
                      <a:pt x="331" y="342"/>
                    </a:lnTo>
                    <a:lnTo>
                      <a:pt x="329" y="342"/>
                    </a:lnTo>
                    <a:lnTo>
                      <a:pt x="329" y="344"/>
                    </a:lnTo>
                    <a:lnTo>
                      <a:pt x="328" y="344"/>
                    </a:lnTo>
                    <a:lnTo>
                      <a:pt x="328" y="346"/>
                    </a:lnTo>
                    <a:lnTo>
                      <a:pt x="326" y="346"/>
                    </a:lnTo>
                    <a:lnTo>
                      <a:pt x="326" y="347"/>
                    </a:lnTo>
                    <a:lnTo>
                      <a:pt x="324" y="346"/>
                    </a:lnTo>
                    <a:lnTo>
                      <a:pt x="324" y="347"/>
                    </a:lnTo>
                    <a:lnTo>
                      <a:pt x="323" y="347"/>
                    </a:lnTo>
                    <a:lnTo>
                      <a:pt x="321" y="347"/>
                    </a:lnTo>
                    <a:lnTo>
                      <a:pt x="321" y="349"/>
                    </a:lnTo>
                    <a:lnTo>
                      <a:pt x="319" y="347"/>
                    </a:lnTo>
                    <a:lnTo>
                      <a:pt x="317" y="347"/>
                    </a:lnTo>
                    <a:lnTo>
                      <a:pt x="316" y="347"/>
                    </a:lnTo>
                    <a:lnTo>
                      <a:pt x="314" y="347"/>
                    </a:lnTo>
                    <a:lnTo>
                      <a:pt x="314" y="349"/>
                    </a:lnTo>
                    <a:lnTo>
                      <a:pt x="312" y="349"/>
                    </a:lnTo>
                    <a:lnTo>
                      <a:pt x="312" y="351"/>
                    </a:lnTo>
                    <a:lnTo>
                      <a:pt x="312" y="352"/>
                    </a:lnTo>
                    <a:lnTo>
                      <a:pt x="312" y="354"/>
                    </a:lnTo>
                    <a:lnTo>
                      <a:pt x="312" y="356"/>
                    </a:lnTo>
                    <a:lnTo>
                      <a:pt x="312" y="357"/>
                    </a:lnTo>
                    <a:lnTo>
                      <a:pt x="312" y="359"/>
                    </a:lnTo>
                    <a:lnTo>
                      <a:pt x="312" y="361"/>
                    </a:lnTo>
                    <a:lnTo>
                      <a:pt x="311" y="361"/>
                    </a:lnTo>
                    <a:lnTo>
                      <a:pt x="309" y="361"/>
                    </a:lnTo>
                    <a:lnTo>
                      <a:pt x="309" y="363"/>
                    </a:lnTo>
                    <a:lnTo>
                      <a:pt x="309" y="364"/>
                    </a:lnTo>
                    <a:lnTo>
                      <a:pt x="307" y="364"/>
                    </a:lnTo>
                    <a:lnTo>
                      <a:pt x="306" y="364"/>
                    </a:lnTo>
                    <a:lnTo>
                      <a:pt x="304" y="366"/>
                    </a:lnTo>
                    <a:lnTo>
                      <a:pt x="304" y="368"/>
                    </a:lnTo>
                    <a:lnTo>
                      <a:pt x="304" y="369"/>
                    </a:lnTo>
                    <a:lnTo>
                      <a:pt x="302" y="368"/>
                    </a:lnTo>
                    <a:lnTo>
                      <a:pt x="300" y="368"/>
                    </a:lnTo>
                    <a:lnTo>
                      <a:pt x="302" y="368"/>
                    </a:lnTo>
                    <a:lnTo>
                      <a:pt x="302" y="366"/>
                    </a:lnTo>
                    <a:lnTo>
                      <a:pt x="302" y="364"/>
                    </a:lnTo>
                    <a:lnTo>
                      <a:pt x="302" y="363"/>
                    </a:lnTo>
                    <a:lnTo>
                      <a:pt x="302" y="364"/>
                    </a:lnTo>
                    <a:lnTo>
                      <a:pt x="302" y="363"/>
                    </a:lnTo>
                    <a:lnTo>
                      <a:pt x="300" y="364"/>
                    </a:lnTo>
                    <a:lnTo>
                      <a:pt x="299" y="364"/>
                    </a:lnTo>
                    <a:lnTo>
                      <a:pt x="299" y="366"/>
                    </a:lnTo>
                    <a:lnTo>
                      <a:pt x="297" y="366"/>
                    </a:lnTo>
                    <a:lnTo>
                      <a:pt x="295" y="368"/>
                    </a:lnTo>
                    <a:lnTo>
                      <a:pt x="295" y="369"/>
                    </a:lnTo>
                    <a:lnTo>
                      <a:pt x="294" y="369"/>
                    </a:lnTo>
                    <a:lnTo>
                      <a:pt x="294" y="371"/>
                    </a:lnTo>
                    <a:lnTo>
                      <a:pt x="292" y="371"/>
                    </a:lnTo>
                    <a:lnTo>
                      <a:pt x="290" y="371"/>
                    </a:lnTo>
                    <a:lnTo>
                      <a:pt x="290" y="373"/>
                    </a:lnTo>
                    <a:lnTo>
                      <a:pt x="289" y="373"/>
                    </a:lnTo>
                    <a:lnTo>
                      <a:pt x="289" y="371"/>
                    </a:lnTo>
                    <a:lnTo>
                      <a:pt x="287" y="371"/>
                    </a:lnTo>
                    <a:lnTo>
                      <a:pt x="285" y="371"/>
                    </a:lnTo>
                    <a:lnTo>
                      <a:pt x="287" y="373"/>
                    </a:lnTo>
                    <a:lnTo>
                      <a:pt x="285" y="373"/>
                    </a:lnTo>
                    <a:lnTo>
                      <a:pt x="283" y="373"/>
                    </a:lnTo>
                    <a:lnTo>
                      <a:pt x="283" y="374"/>
                    </a:lnTo>
                    <a:lnTo>
                      <a:pt x="283" y="373"/>
                    </a:lnTo>
                    <a:lnTo>
                      <a:pt x="282" y="373"/>
                    </a:lnTo>
                    <a:lnTo>
                      <a:pt x="282" y="374"/>
                    </a:lnTo>
                    <a:lnTo>
                      <a:pt x="282" y="376"/>
                    </a:lnTo>
                    <a:lnTo>
                      <a:pt x="280" y="376"/>
                    </a:lnTo>
                    <a:lnTo>
                      <a:pt x="280" y="378"/>
                    </a:lnTo>
                    <a:lnTo>
                      <a:pt x="278" y="378"/>
                    </a:lnTo>
                    <a:lnTo>
                      <a:pt x="278" y="376"/>
                    </a:lnTo>
                    <a:lnTo>
                      <a:pt x="277" y="376"/>
                    </a:lnTo>
                    <a:lnTo>
                      <a:pt x="275" y="376"/>
                    </a:lnTo>
                    <a:lnTo>
                      <a:pt x="277" y="378"/>
                    </a:lnTo>
                    <a:lnTo>
                      <a:pt x="275" y="378"/>
                    </a:lnTo>
                    <a:lnTo>
                      <a:pt x="275" y="380"/>
                    </a:lnTo>
                    <a:lnTo>
                      <a:pt x="277" y="381"/>
                    </a:lnTo>
                    <a:lnTo>
                      <a:pt x="275" y="381"/>
                    </a:lnTo>
                    <a:lnTo>
                      <a:pt x="275" y="383"/>
                    </a:lnTo>
                    <a:lnTo>
                      <a:pt x="275" y="385"/>
                    </a:lnTo>
                    <a:lnTo>
                      <a:pt x="273" y="385"/>
                    </a:lnTo>
                    <a:lnTo>
                      <a:pt x="273" y="383"/>
                    </a:lnTo>
                    <a:lnTo>
                      <a:pt x="272" y="383"/>
                    </a:lnTo>
                    <a:lnTo>
                      <a:pt x="270" y="383"/>
                    </a:lnTo>
                    <a:lnTo>
                      <a:pt x="270" y="385"/>
                    </a:lnTo>
                    <a:lnTo>
                      <a:pt x="268" y="385"/>
                    </a:lnTo>
                    <a:lnTo>
                      <a:pt x="270" y="385"/>
                    </a:lnTo>
                    <a:lnTo>
                      <a:pt x="268" y="386"/>
                    </a:lnTo>
                    <a:lnTo>
                      <a:pt x="266" y="388"/>
                    </a:lnTo>
                    <a:lnTo>
                      <a:pt x="268" y="388"/>
                    </a:lnTo>
                    <a:lnTo>
                      <a:pt x="268" y="390"/>
                    </a:lnTo>
                    <a:lnTo>
                      <a:pt x="266" y="390"/>
                    </a:lnTo>
                    <a:lnTo>
                      <a:pt x="266" y="391"/>
                    </a:lnTo>
                    <a:lnTo>
                      <a:pt x="265" y="391"/>
                    </a:lnTo>
                    <a:lnTo>
                      <a:pt x="263" y="391"/>
                    </a:lnTo>
                    <a:lnTo>
                      <a:pt x="263" y="393"/>
                    </a:lnTo>
                    <a:lnTo>
                      <a:pt x="261" y="391"/>
                    </a:lnTo>
                    <a:lnTo>
                      <a:pt x="261" y="390"/>
                    </a:lnTo>
                    <a:lnTo>
                      <a:pt x="263" y="388"/>
                    </a:lnTo>
                    <a:lnTo>
                      <a:pt x="263" y="386"/>
                    </a:lnTo>
                    <a:lnTo>
                      <a:pt x="265" y="386"/>
                    </a:lnTo>
                    <a:lnTo>
                      <a:pt x="265" y="385"/>
                    </a:lnTo>
                    <a:lnTo>
                      <a:pt x="263" y="385"/>
                    </a:lnTo>
                    <a:lnTo>
                      <a:pt x="263" y="383"/>
                    </a:lnTo>
                    <a:lnTo>
                      <a:pt x="263" y="381"/>
                    </a:lnTo>
                    <a:lnTo>
                      <a:pt x="261" y="381"/>
                    </a:lnTo>
                    <a:lnTo>
                      <a:pt x="260" y="381"/>
                    </a:lnTo>
                    <a:lnTo>
                      <a:pt x="258" y="381"/>
                    </a:lnTo>
                    <a:lnTo>
                      <a:pt x="256" y="381"/>
                    </a:lnTo>
                    <a:lnTo>
                      <a:pt x="255" y="381"/>
                    </a:lnTo>
                    <a:lnTo>
                      <a:pt x="255" y="383"/>
                    </a:lnTo>
                    <a:lnTo>
                      <a:pt x="253" y="383"/>
                    </a:lnTo>
                    <a:lnTo>
                      <a:pt x="251" y="383"/>
                    </a:lnTo>
                    <a:lnTo>
                      <a:pt x="251" y="385"/>
                    </a:lnTo>
                    <a:lnTo>
                      <a:pt x="249" y="385"/>
                    </a:lnTo>
                    <a:lnTo>
                      <a:pt x="249" y="386"/>
                    </a:lnTo>
                    <a:lnTo>
                      <a:pt x="248" y="386"/>
                    </a:lnTo>
                    <a:lnTo>
                      <a:pt x="248" y="388"/>
                    </a:lnTo>
                    <a:lnTo>
                      <a:pt x="246" y="388"/>
                    </a:lnTo>
                    <a:lnTo>
                      <a:pt x="244" y="388"/>
                    </a:lnTo>
                    <a:lnTo>
                      <a:pt x="244" y="390"/>
                    </a:lnTo>
                    <a:lnTo>
                      <a:pt x="243" y="390"/>
                    </a:lnTo>
                    <a:lnTo>
                      <a:pt x="241" y="390"/>
                    </a:lnTo>
                    <a:lnTo>
                      <a:pt x="241" y="388"/>
                    </a:lnTo>
                    <a:lnTo>
                      <a:pt x="239" y="388"/>
                    </a:lnTo>
                    <a:lnTo>
                      <a:pt x="238" y="390"/>
                    </a:lnTo>
                    <a:lnTo>
                      <a:pt x="236" y="390"/>
                    </a:lnTo>
                    <a:lnTo>
                      <a:pt x="219" y="373"/>
                    </a:lnTo>
                    <a:lnTo>
                      <a:pt x="217" y="373"/>
                    </a:lnTo>
                    <a:lnTo>
                      <a:pt x="217" y="371"/>
                    </a:lnTo>
                    <a:lnTo>
                      <a:pt x="219" y="371"/>
                    </a:lnTo>
                    <a:lnTo>
                      <a:pt x="219" y="369"/>
                    </a:lnTo>
                    <a:lnTo>
                      <a:pt x="219" y="368"/>
                    </a:lnTo>
                    <a:lnTo>
                      <a:pt x="217" y="368"/>
                    </a:lnTo>
                    <a:lnTo>
                      <a:pt x="217" y="366"/>
                    </a:lnTo>
                    <a:lnTo>
                      <a:pt x="217" y="364"/>
                    </a:lnTo>
                    <a:lnTo>
                      <a:pt x="215" y="364"/>
                    </a:lnTo>
                    <a:lnTo>
                      <a:pt x="215" y="363"/>
                    </a:lnTo>
                    <a:lnTo>
                      <a:pt x="215" y="361"/>
                    </a:lnTo>
                    <a:lnTo>
                      <a:pt x="215" y="359"/>
                    </a:lnTo>
                    <a:lnTo>
                      <a:pt x="214" y="359"/>
                    </a:lnTo>
                    <a:lnTo>
                      <a:pt x="214" y="357"/>
                    </a:lnTo>
                    <a:lnTo>
                      <a:pt x="214" y="356"/>
                    </a:lnTo>
                    <a:lnTo>
                      <a:pt x="212" y="356"/>
                    </a:lnTo>
                    <a:lnTo>
                      <a:pt x="212" y="354"/>
                    </a:lnTo>
                    <a:lnTo>
                      <a:pt x="212" y="352"/>
                    </a:lnTo>
                    <a:lnTo>
                      <a:pt x="212" y="351"/>
                    </a:lnTo>
                    <a:lnTo>
                      <a:pt x="210" y="349"/>
                    </a:lnTo>
                    <a:lnTo>
                      <a:pt x="209" y="347"/>
                    </a:lnTo>
                    <a:lnTo>
                      <a:pt x="210" y="347"/>
                    </a:lnTo>
                    <a:lnTo>
                      <a:pt x="210" y="346"/>
                    </a:lnTo>
                    <a:lnTo>
                      <a:pt x="210" y="344"/>
                    </a:lnTo>
                    <a:lnTo>
                      <a:pt x="209" y="342"/>
                    </a:lnTo>
                    <a:lnTo>
                      <a:pt x="209" y="344"/>
                    </a:lnTo>
                    <a:lnTo>
                      <a:pt x="209" y="342"/>
                    </a:lnTo>
                    <a:lnTo>
                      <a:pt x="207" y="342"/>
                    </a:lnTo>
                    <a:lnTo>
                      <a:pt x="207" y="340"/>
                    </a:lnTo>
                    <a:lnTo>
                      <a:pt x="207" y="339"/>
                    </a:lnTo>
                    <a:lnTo>
                      <a:pt x="205" y="339"/>
                    </a:lnTo>
                    <a:lnTo>
                      <a:pt x="207" y="339"/>
                    </a:lnTo>
                    <a:lnTo>
                      <a:pt x="207" y="337"/>
                    </a:lnTo>
                    <a:lnTo>
                      <a:pt x="207" y="335"/>
                    </a:lnTo>
                    <a:lnTo>
                      <a:pt x="207" y="334"/>
                    </a:lnTo>
                    <a:lnTo>
                      <a:pt x="205" y="334"/>
                    </a:lnTo>
                    <a:lnTo>
                      <a:pt x="205" y="332"/>
                    </a:lnTo>
                    <a:lnTo>
                      <a:pt x="204" y="332"/>
                    </a:lnTo>
                    <a:lnTo>
                      <a:pt x="202" y="330"/>
                    </a:lnTo>
                    <a:lnTo>
                      <a:pt x="202" y="329"/>
                    </a:lnTo>
                    <a:lnTo>
                      <a:pt x="200" y="329"/>
                    </a:lnTo>
                    <a:lnTo>
                      <a:pt x="200" y="327"/>
                    </a:lnTo>
                    <a:lnTo>
                      <a:pt x="198" y="327"/>
                    </a:lnTo>
                    <a:lnTo>
                      <a:pt x="197" y="325"/>
                    </a:lnTo>
                    <a:lnTo>
                      <a:pt x="195" y="325"/>
                    </a:lnTo>
                    <a:lnTo>
                      <a:pt x="195" y="323"/>
                    </a:lnTo>
                    <a:lnTo>
                      <a:pt x="193" y="322"/>
                    </a:lnTo>
                    <a:lnTo>
                      <a:pt x="193" y="320"/>
                    </a:lnTo>
                    <a:lnTo>
                      <a:pt x="192" y="320"/>
                    </a:lnTo>
                    <a:lnTo>
                      <a:pt x="190" y="320"/>
                    </a:lnTo>
                    <a:lnTo>
                      <a:pt x="188" y="320"/>
                    </a:lnTo>
                    <a:lnTo>
                      <a:pt x="188" y="318"/>
                    </a:lnTo>
                    <a:lnTo>
                      <a:pt x="187" y="320"/>
                    </a:lnTo>
                    <a:lnTo>
                      <a:pt x="187" y="318"/>
                    </a:lnTo>
                    <a:lnTo>
                      <a:pt x="185" y="320"/>
                    </a:lnTo>
                    <a:lnTo>
                      <a:pt x="185" y="318"/>
                    </a:lnTo>
                    <a:lnTo>
                      <a:pt x="187" y="317"/>
                    </a:lnTo>
                    <a:lnTo>
                      <a:pt x="190" y="313"/>
                    </a:lnTo>
                    <a:lnTo>
                      <a:pt x="193" y="310"/>
                    </a:lnTo>
                    <a:lnTo>
                      <a:pt x="197" y="308"/>
                    </a:lnTo>
                    <a:lnTo>
                      <a:pt x="198" y="305"/>
                    </a:lnTo>
                    <a:lnTo>
                      <a:pt x="200" y="305"/>
                    </a:lnTo>
                    <a:lnTo>
                      <a:pt x="200" y="303"/>
                    </a:lnTo>
                    <a:lnTo>
                      <a:pt x="202" y="303"/>
                    </a:lnTo>
                    <a:lnTo>
                      <a:pt x="202" y="301"/>
                    </a:lnTo>
                    <a:lnTo>
                      <a:pt x="204" y="301"/>
                    </a:lnTo>
                    <a:lnTo>
                      <a:pt x="204" y="300"/>
                    </a:lnTo>
                    <a:lnTo>
                      <a:pt x="202" y="300"/>
                    </a:lnTo>
                    <a:lnTo>
                      <a:pt x="202" y="298"/>
                    </a:lnTo>
                    <a:lnTo>
                      <a:pt x="200" y="298"/>
                    </a:lnTo>
                    <a:lnTo>
                      <a:pt x="200" y="296"/>
                    </a:lnTo>
                    <a:lnTo>
                      <a:pt x="200" y="295"/>
                    </a:lnTo>
                    <a:lnTo>
                      <a:pt x="198" y="295"/>
                    </a:lnTo>
                    <a:lnTo>
                      <a:pt x="198" y="293"/>
                    </a:lnTo>
                    <a:lnTo>
                      <a:pt x="198" y="291"/>
                    </a:lnTo>
                    <a:lnTo>
                      <a:pt x="197" y="289"/>
                    </a:lnTo>
                    <a:lnTo>
                      <a:pt x="197" y="288"/>
                    </a:lnTo>
                    <a:lnTo>
                      <a:pt x="195" y="288"/>
                    </a:lnTo>
                    <a:lnTo>
                      <a:pt x="193" y="288"/>
                    </a:lnTo>
                    <a:lnTo>
                      <a:pt x="192" y="288"/>
                    </a:lnTo>
                    <a:lnTo>
                      <a:pt x="192" y="286"/>
                    </a:lnTo>
                    <a:lnTo>
                      <a:pt x="192" y="284"/>
                    </a:lnTo>
                    <a:lnTo>
                      <a:pt x="192" y="283"/>
                    </a:lnTo>
                    <a:lnTo>
                      <a:pt x="190" y="283"/>
                    </a:lnTo>
                    <a:lnTo>
                      <a:pt x="190" y="281"/>
                    </a:lnTo>
                    <a:lnTo>
                      <a:pt x="190" y="279"/>
                    </a:lnTo>
                    <a:lnTo>
                      <a:pt x="190" y="278"/>
                    </a:lnTo>
                    <a:lnTo>
                      <a:pt x="188" y="276"/>
                    </a:lnTo>
                    <a:lnTo>
                      <a:pt x="188" y="274"/>
                    </a:lnTo>
                    <a:lnTo>
                      <a:pt x="187" y="274"/>
                    </a:lnTo>
                    <a:lnTo>
                      <a:pt x="187" y="272"/>
                    </a:lnTo>
                    <a:lnTo>
                      <a:pt x="187" y="271"/>
                    </a:lnTo>
                    <a:lnTo>
                      <a:pt x="187" y="269"/>
                    </a:lnTo>
                    <a:lnTo>
                      <a:pt x="187" y="267"/>
                    </a:lnTo>
                    <a:lnTo>
                      <a:pt x="188" y="269"/>
                    </a:lnTo>
                    <a:lnTo>
                      <a:pt x="188" y="267"/>
                    </a:lnTo>
                    <a:lnTo>
                      <a:pt x="187" y="267"/>
                    </a:lnTo>
                    <a:lnTo>
                      <a:pt x="187" y="266"/>
                    </a:lnTo>
                    <a:lnTo>
                      <a:pt x="188" y="266"/>
                    </a:lnTo>
                    <a:lnTo>
                      <a:pt x="187" y="266"/>
                    </a:lnTo>
                    <a:lnTo>
                      <a:pt x="187" y="264"/>
                    </a:lnTo>
                    <a:lnTo>
                      <a:pt x="187" y="262"/>
                    </a:lnTo>
                    <a:lnTo>
                      <a:pt x="185" y="262"/>
                    </a:lnTo>
                    <a:lnTo>
                      <a:pt x="185" y="261"/>
                    </a:lnTo>
                    <a:lnTo>
                      <a:pt x="185" y="259"/>
                    </a:lnTo>
                    <a:lnTo>
                      <a:pt x="185" y="257"/>
                    </a:lnTo>
                    <a:lnTo>
                      <a:pt x="185" y="255"/>
                    </a:lnTo>
                    <a:lnTo>
                      <a:pt x="187" y="255"/>
                    </a:lnTo>
                    <a:lnTo>
                      <a:pt x="187" y="254"/>
                    </a:lnTo>
                    <a:lnTo>
                      <a:pt x="185" y="254"/>
                    </a:lnTo>
                    <a:lnTo>
                      <a:pt x="185" y="252"/>
                    </a:lnTo>
                    <a:lnTo>
                      <a:pt x="185" y="250"/>
                    </a:lnTo>
                    <a:lnTo>
                      <a:pt x="185" y="249"/>
                    </a:lnTo>
                    <a:lnTo>
                      <a:pt x="185" y="247"/>
                    </a:lnTo>
                    <a:lnTo>
                      <a:pt x="187" y="247"/>
                    </a:lnTo>
                    <a:lnTo>
                      <a:pt x="187" y="245"/>
                    </a:lnTo>
                    <a:lnTo>
                      <a:pt x="187" y="243"/>
                    </a:lnTo>
                    <a:lnTo>
                      <a:pt x="185" y="243"/>
                    </a:lnTo>
                    <a:lnTo>
                      <a:pt x="187" y="243"/>
                    </a:lnTo>
                    <a:lnTo>
                      <a:pt x="185" y="242"/>
                    </a:lnTo>
                    <a:lnTo>
                      <a:pt x="185" y="240"/>
                    </a:lnTo>
                    <a:lnTo>
                      <a:pt x="185" y="238"/>
                    </a:lnTo>
                    <a:lnTo>
                      <a:pt x="187" y="237"/>
                    </a:lnTo>
                    <a:lnTo>
                      <a:pt x="185" y="237"/>
                    </a:lnTo>
                    <a:lnTo>
                      <a:pt x="185" y="235"/>
                    </a:lnTo>
                    <a:lnTo>
                      <a:pt x="187" y="235"/>
                    </a:lnTo>
                    <a:lnTo>
                      <a:pt x="187" y="233"/>
                    </a:lnTo>
                    <a:lnTo>
                      <a:pt x="188" y="233"/>
                    </a:lnTo>
                    <a:lnTo>
                      <a:pt x="188" y="232"/>
                    </a:lnTo>
                    <a:lnTo>
                      <a:pt x="190" y="232"/>
                    </a:lnTo>
                    <a:lnTo>
                      <a:pt x="192" y="230"/>
                    </a:lnTo>
                    <a:lnTo>
                      <a:pt x="192" y="228"/>
                    </a:lnTo>
                    <a:lnTo>
                      <a:pt x="193" y="228"/>
                    </a:lnTo>
                    <a:lnTo>
                      <a:pt x="193" y="226"/>
                    </a:lnTo>
                    <a:lnTo>
                      <a:pt x="193" y="225"/>
                    </a:lnTo>
                    <a:lnTo>
                      <a:pt x="192" y="225"/>
                    </a:lnTo>
                    <a:lnTo>
                      <a:pt x="192" y="223"/>
                    </a:lnTo>
                    <a:lnTo>
                      <a:pt x="192" y="221"/>
                    </a:lnTo>
                    <a:lnTo>
                      <a:pt x="193" y="220"/>
                    </a:lnTo>
                    <a:lnTo>
                      <a:pt x="193" y="218"/>
                    </a:lnTo>
                    <a:lnTo>
                      <a:pt x="193" y="216"/>
                    </a:lnTo>
                    <a:lnTo>
                      <a:pt x="195" y="216"/>
                    </a:lnTo>
                    <a:lnTo>
                      <a:pt x="195" y="215"/>
                    </a:lnTo>
                    <a:lnTo>
                      <a:pt x="197" y="215"/>
                    </a:lnTo>
                    <a:lnTo>
                      <a:pt x="198" y="213"/>
                    </a:lnTo>
                    <a:lnTo>
                      <a:pt x="200" y="213"/>
                    </a:lnTo>
                    <a:lnTo>
                      <a:pt x="200" y="211"/>
                    </a:lnTo>
                    <a:lnTo>
                      <a:pt x="198" y="211"/>
                    </a:lnTo>
                    <a:lnTo>
                      <a:pt x="198" y="209"/>
                    </a:lnTo>
                    <a:lnTo>
                      <a:pt x="197" y="208"/>
                    </a:lnTo>
                    <a:lnTo>
                      <a:pt x="197" y="206"/>
                    </a:lnTo>
                    <a:lnTo>
                      <a:pt x="198" y="206"/>
                    </a:lnTo>
                    <a:lnTo>
                      <a:pt x="198" y="204"/>
                    </a:lnTo>
                    <a:lnTo>
                      <a:pt x="197" y="204"/>
                    </a:lnTo>
                    <a:lnTo>
                      <a:pt x="195" y="203"/>
                    </a:lnTo>
                    <a:lnTo>
                      <a:pt x="193" y="203"/>
                    </a:lnTo>
                    <a:lnTo>
                      <a:pt x="192" y="203"/>
                    </a:lnTo>
                    <a:lnTo>
                      <a:pt x="190" y="203"/>
                    </a:lnTo>
                    <a:lnTo>
                      <a:pt x="190" y="201"/>
                    </a:lnTo>
                    <a:lnTo>
                      <a:pt x="188" y="201"/>
                    </a:lnTo>
                    <a:lnTo>
                      <a:pt x="188" y="203"/>
                    </a:lnTo>
                    <a:lnTo>
                      <a:pt x="188" y="201"/>
                    </a:lnTo>
                    <a:lnTo>
                      <a:pt x="187" y="201"/>
                    </a:lnTo>
                    <a:lnTo>
                      <a:pt x="185" y="201"/>
                    </a:lnTo>
                    <a:lnTo>
                      <a:pt x="183" y="203"/>
                    </a:lnTo>
                    <a:lnTo>
                      <a:pt x="181" y="204"/>
                    </a:lnTo>
                    <a:lnTo>
                      <a:pt x="180" y="204"/>
                    </a:lnTo>
                    <a:lnTo>
                      <a:pt x="178" y="204"/>
                    </a:lnTo>
                    <a:lnTo>
                      <a:pt x="176" y="204"/>
                    </a:lnTo>
                    <a:lnTo>
                      <a:pt x="175" y="204"/>
                    </a:lnTo>
                    <a:lnTo>
                      <a:pt x="173" y="204"/>
                    </a:lnTo>
                    <a:lnTo>
                      <a:pt x="171" y="204"/>
                    </a:lnTo>
                    <a:lnTo>
                      <a:pt x="171" y="206"/>
                    </a:lnTo>
                    <a:lnTo>
                      <a:pt x="170" y="206"/>
                    </a:lnTo>
                    <a:lnTo>
                      <a:pt x="168" y="206"/>
                    </a:lnTo>
                    <a:lnTo>
                      <a:pt x="166" y="206"/>
                    </a:lnTo>
                    <a:lnTo>
                      <a:pt x="164" y="206"/>
                    </a:lnTo>
                    <a:lnTo>
                      <a:pt x="163" y="206"/>
                    </a:lnTo>
                    <a:lnTo>
                      <a:pt x="161" y="206"/>
                    </a:lnTo>
                    <a:lnTo>
                      <a:pt x="159" y="206"/>
                    </a:lnTo>
                    <a:lnTo>
                      <a:pt x="158" y="208"/>
                    </a:lnTo>
                    <a:lnTo>
                      <a:pt x="156" y="208"/>
                    </a:lnTo>
                    <a:lnTo>
                      <a:pt x="156" y="206"/>
                    </a:lnTo>
                    <a:lnTo>
                      <a:pt x="154" y="206"/>
                    </a:lnTo>
                    <a:lnTo>
                      <a:pt x="153" y="206"/>
                    </a:lnTo>
                    <a:lnTo>
                      <a:pt x="151" y="206"/>
                    </a:lnTo>
                    <a:lnTo>
                      <a:pt x="149" y="206"/>
                    </a:lnTo>
                    <a:lnTo>
                      <a:pt x="147" y="206"/>
                    </a:lnTo>
                    <a:lnTo>
                      <a:pt x="147" y="204"/>
                    </a:lnTo>
                    <a:lnTo>
                      <a:pt x="146" y="206"/>
                    </a:lnTo>
                    <a:lnTo>
                      <a:pt x="146" y="204"/>
                    </a:lnTo>
                    <a:lnTo>
                      <a:pt x="144" y="204"/>
                    </a:lnTo>
                    <a:lnTo>
                      <a:pt x="142" y="204"/>
                    </a:lnTo>
                    <a:lnTo>
                      <a:pt x="142" y="206"/>
                    </a:lnTo>
                    <a:lnTo>
                      <a:pt x="141" y="206"/>
                    </a:lnTo>
                    <a:lnTo>
                      <a:pt x="139" y="208"/>
                    </a:lnTo>
                    <a:lnTo>
                      <a:pt x="137" y="209"/>
                    </a:lnTo>
                    <a:lnTo>
                      <a:pt x="136" y="209"/>
                    </a:lnTo>
                    <a:lnTo>
                      <a:pt x="136" y="208"/>
                    </a:lnTo>
                    <a:lnTo>
                      <a:pt x="134" y="208"/>
                    </a:lnTo>
                    <a:lnTo>
                      <a:pt x="132" y="208"/>
                    </a:lnTo>
                    <a:lnTo>
                      <a:pt x="127" y="203"/>
                    </a:lnTo>
                    <a:lnTo>
                      <a:pt x="127" y="201"/>
                    </a:lnTo>
                    <a:lnTo>
                      <a:pt x="120" y="194"/>
                    </a:lnTo>
                    <a:lnTo>
                      <a:pt x="113" y="186"/>
                    </a:lnTo>
                    <a:lnTo>
                      <a:pt x="110" y="181"/>
                    </a:lnTo>
                    <a:lnTo>
                      <a:pt x="108" y="179"/>
                    </a:lnTo>
                    <a:lnTo>
                      <a:pt x="107" y="179"/>
                    </a:lnTo>
                    <a:lnTo>
                      <a:pt x="105" y="179"/>
                    </a:lnTo>
                    <a:lnTo>
                      <a:pt x="103" y="179"/>
                    </a:lnTo>
                    <a:lnTo>
                      <a:pt x="103" y="181"/>
                    </a:lnTo>
                    <a:lnTo>
                      <a:pt x="102" y="181"/>
                    </a:lnTo>
                    <a:lnTo>
                      <a:pt x="100" y="181"/>
                    </a:lnTo>
                    <a:lnTo>
                      <a:pt x="100" y="179"/>
                    </a:lnTo>
                    <a:lnTo>
                      <a:pt x="98" y="179"/>
                    </a:lnTo>
                    <a:lnTo>
                      <a:pt x="98" y="177"/>
                    </a:lnTo>
                    <a:lnTo>
                      <a:pt x="96" y="177"/>
                    </a:lnTo>
                    <a:lnTo>
                      <a:pt x="95" y="177"/>
                    </a:lnTo>
                    <a:lnTo>
                      <a:pt x="95" y="175"/>
                    </a:lnTo>
                    <a:lnTo>
                      <a:pt x="93" y="175"/>
                    </a:lnTo>
                    <a:lnTo>
                      <a:pt x="91" y="175"/>
                    </a:lnTo>
                    <a:lnTo>
                      <a:pt x="90" y="175"/>
                    </a:lnTo>
                    <a:lnTo>
                      <a:pt x="90" y="174"/>
                    </a:lnTo>
                    <a:lnTo>
                      <a:pt x="88" y="175"/>
                    </a:lnTo>
                    <a:lnTo>
                      <a:pt x="86" y="174"/>
                    </a:lnTo>
                    <a:lnTo>
                      <a:pt x="86" y="175"/>
                    </a:lnTo>
                    <a:lnTo>
                      <a:pt x="85" y="175"/>
                    </a:lnTo>
                    <a:lnTo>
                      <a:pt x="83" y="175"/>
                    </a:lnTo>
                    <a:lnTo>
                      <a:pt x="81" y="177"/>
                    </a:lnTo>
                    <a:lnTo>
                      <a:pt x="81" y="175"/>
                    </a:lnTo>
                    <a:lnTo>
                      <a:pt x="81" y="177"/>
                    </a:lnTo>
                    <a:lnTo>
                      <a:pt x="79" y="177"/>
                    </a:lnTo>
                    <a:lnTo>
                      <a:pt x="79" y="179"/>
                    </a:lnTo>
                    <a:lnTo>
                      <a:pt x="78" y="179"/>
                    </a:lnTo>
                    <a:lnTo>
                      <a:pt x="76" y="179"/>
                    </a:lnTo>
                    <a:lnTo>
                      <a:pt x="74" y="179"/>
                    </a:lnTo>
                    <a:lnTo>
                      <a:pt x="74" y="177"/>
                    </a:lnTo>
                    <a:lnTo>
                      <a:pt x="73" y="177"/>
                    </a:lnTo>
                    <a:lnTo>
                      <a:pt x="71" y="177"/>
                    </a:lnTo>
                    <a:lnTo>
                      <a:pt x="69" y="177"/>
                    </a:lnTo>
                    <a:lnTo>
                      <a:pt x="68" y="177"/>
                    </a:lnTo>
                    <a:lnTo>
                      <a:pt x="66" y="177"/>
                    </a:lnTo>
                    <a:lnTo>
                      <a:pt x="64" y="177"/>
                    </a:lnTo>
                    <a:lnTo>
                      <a:pt x="62" y="177"/>
                    </a:lnTo>
                    <a:lnTo>
                      <a:pt x="61" y="177"/>
                    </a:lnTo>
                    <a:lnTo>
                      <a:pt x="59" y="177"/>
                    </a:lnTo>
                    <a:lnTo>
                      <a:pt x="59" y="175"/>
                    </a:lnTo>
                    <a:lnTo>
                      <a:pt x="57" y="177"/>
                    </a:lnTo>
                    <a:lnTo>
                      <a:pt x="57" y="175"/>
                    </a:lnTo>
                    <a:lnTo>
                      <a:pt x="56" y="177"/>
                    </a:lnTo>
                    <a:lnTo>
                      <a:pt x="54" y="177"/>
                    </a:lnTo>
                    <a:lnTo>
                      <a:pt x="54" y="175"/>
                    </a:lnTo>
                    <a:lnTo>
                      <a:pt x="52" y="175"/>
                    </a:lnTo>
                    <a:lnTo>
                      <a:pt x="51" y="175"/>
                    </a:lnTo>
                    <a:lnTo>
                      <a:pt x="51" y="177"/>
                    </a:lnTo>
                    <a:lnTo>
                      <a:pt x="49" y="177"/>
                    </a:lnTo>
                    <a:lnTo>
                      <a:pt x="47" y="177"/>
                    </a:lnTo>
                    <a:lnTo>
                      <a:pt x="45" y="177"/>
                    </a:lnTo>
                    <a:lnTo>
                      <a:pt x="44" y="177"/>
                    </a:lnTo>
                    <a:lnTo>
                      <a:pt x="42" y="175"/>
                    </a:lnTo>
                    <a:lnTo>
                      <a:pt x="40" y="172"/>
                    </a:lnTo>
                    <a:lnTo>
                      <a:pt x="40" y="170"/>
                    </a:lnTo>
                    <a:lnTo>
                      <a:pt x="39" y="170"/>
                    </a:lnTo>
                    <a:lnTo>
                      <a:pt x="39" y="169"/>
                    </a:lnTo>
                    <a:lnTo>
                      <a:pt x="39" y="167"/>
                    </a:lnTo>
                    <a:lnTo>
                      <a:pt x="40" y="167"/>
                    </a:lnTo>
                    <a:lnTo>
                      <a:pt x="39" y="167"/>
                    </a:lnTo>
                    <a:lnTo>
                      <a:pt x="39" y="165"/>
                    </a:lnTo>
                    <a:lnTo>
                      <a:pt x="37" y="164"/>
                    </a:lnTo>
                    <a:lnTo>
                      <a:pt x="37" y="165"/>
                    </a:lnTo>
                    <a:lnTo>
                      <a:pt x="35" y="165"/>
                    </a:lnTo>
                    <a:lnTo>
                      <a:pt x="34" y="165"/>
                    </a:lnTo>
                    <a:lnTo>
                      <a:pt x="34" y="164"/>
                    </a:lnTo>
                    <a:lnTo>
                      <a:pt x="32" y="165"/>
                    </a:lnTo>
                    <a:lnTo>
                      <a:pt x="32" y="164"/>
                    </a:lnTo>
                    <a:lnTo>
                      <a:pt x="30" y="164"/>
                    </a:lnTo>
                    <a:lnTo>
                      <a:pt x="30" y="162"/>
                    </a:lnTo>
                    <a:lnTo>
                      <a:pt x="28" y="162"/>
                    </a:lnTo>
                    <a:lnTo>
                      <a:pt x="28" y="160"/>
                    </a:lnTo>
                    <a:lnTo>
                      <a:pt x="30" y="160"/>
                    </a:lnTo>
                    <a:lnTo>
                      <a:pt x="30" y="158"/>
                    </a:lnTo>
                    <a:lnTo>
                      <a:pt x="28" y="158"/>
                    </a:lnTo>
                    <a:lnTo>
                      <a:pt x="28" y="157"/>
                    </a:lnTo>
                    <a:lnTo>
                      <a:pt x="28" y="155"/>
                    </a:lnTo>
                    <a:lnTo>
                      <a:pt x="28" y="153"/>
                    </a:lnTo>
                    <a:lnTo>
                      <a:pt x="28" y="152"/>
                    </a:lnTo>
                    <a:lnTo>
                      <a:pt x="30" y="150"/>
                    </a:lnTo>
                    <a:lnTo>
                      <a:pt x="30" y="148"/>
                    </a:lnTo>
                    <a:lnTo>
                      <a:pt x="28" y="148"/>
                    </a:lnTo>
                    <a:lnTo>
                      <a:pt x="28" y="147"/>
                    </a:lnTo>
                    <a:lnTo>
                      <a:pt x="28" y="145"/>
                    </a:lnTo>
                    <a:lnTo>
                      <a:pt x="30" y="145"/>
                    </a:lnTo>
                    <a:lnTo>
                      <a:pt x="30" y="143"/>
                    </a:lnTo>
                    <a:lnTo>
                      <a:pt x="32" y="143"/>
                    </a:lnTo>
                    <a:lnTo>
                      <a:pt x="34" y="143"/>
                    </a:lnTo>
                    <a:lnTo>
                      <a:pt x="34" y="141"/>
                    </a:lnTo>
                    <a:lnTo>
                      <a:pt x="32" y="141"/>
                    </a:lnTo>
                    <a:lnTo>
                      <a:pt x="32" y="140"/>
                    </a:lnTo>
                    <a:lnTo>
                      <a:pt x="32" y="138"/>
                    </a:lnTo>
                    <a:lnTo>
                      <a:pt x="34" y="138"/>
                    </a:lnTo>
                    <a:lnTo>
                      <a:pt x="32" y="138"/>
                    </a:lnTo>
                    <a:lnTo>
                      <a:pt x="32" y="136"/>
                    </a:lnTo>
                    <a:lnTo>
                      <a:pt x="32" y="135"/>
                    </a:lnTo>
                    <a:lnTo>
                      <a:pt x="32" y="133"/>
                    </a:lnTo>
                    <a:lnTo>
                      <a:pt x="32" y="131"/>
                    </a:lnTo>
                    <a:lnTo>
                      <a:pt x="30" y="131"/>
                    </a:lnTo>
                    <a:lnTo>
                      <a:pt x="28" y="130"/>
                    </a:lnTo>
                    <a:lnTo>
                      <a:pt x="28" y="128"/>
                    </a:lnTo>
                    <a:lnTo>
                      <a:pt x="27" y="126"/>
                    </a:lnTo>
                    <a:lnTo>
                      <a:pt x="25" y="126"/>
                    </a:lnTo>
                    <a:lnTo>
                      <a:pt x="25" y="124"/>
                    </a:lnTo>
                    <a:lnTo>
                      <a:pt x="23" y="124"/>
                    </a:lnTo>
                    <a:lnTo>
                      <a:pt x="23" y="123"/>
                    </a:lnTo>
                    <a:lnTo>
                      <a:pt x="22" y="121"/>
                    </a:lnTo>
                    <a:lnTo>
                      <a:pt x="22" y="118"/>
                    </a:lnTo>
                    <a:lnTo>
                      <a:pt x="20" y="113"/>
                    </a:lnTo>
                    <a:lnTo>
                      <a:pt x="20" y="111"/>
                    </a:lnTo>
                    <a:lnTo>
                      <a:pt x="20" y="109"/>
                    </a:lnTo>
                    <a:lnTo>
                      <a:pt x="18" y="107"/>
                    </a:lnTo>
                    <a:lnTo>
                      <a:pt x="18" y="106"/>
                    </a:lnTo>
                    <a:lnTo>
                      <a:pt x="17" y="106"/>
                    </a:lnTo>
                    <a:lnTo>
                      <a:pt x="17" y="104"/>
                    </a:lnTo>
                    <a:lnTo>
                      <a:pt x="17" y="106"/>
                    </a:lnTo>
                    <a:lnTo>
                      <a:pt x="15" y="106"/>
                    </a:lnTo>
                    <a:lnTo>
                      <a:pt x="13" y="106"/>
                    </a:lnTo>
                    <a:lnTo>
                      <a:pt x="13" y="107"/>
                    </a:lnTo>
                    <a:lnTo>
                      <a:pt x="13" y="106"/>
                    </a:lnTo>
                    <a:lnTo>
                      <a:pt x="11" y="106"/>
                    </a:lnTo>
                    <a:lnTo>
                      <a:pt x="11" y="104"/>
                    </a:lnTo>
                    <a:lnTo>
                      <a:pt x="13" y="104"/>
                    </a:lnTo>
                    <a:lnTo>
                      <a:pt x="11" y="104"/>
                    </a:lnTo>
                    <a:lnTo>
                      <a:pt x="11" y="102"/>
                    </a:lnTo>
                    <a:lnTo>
                      <a:pt x="11" y="101"/>
                    </a:lnTo>
                    <a:lnTo>
                      <a:pt x="11" y="99"/>
                    </a:lnTo>
                    <a:lnTo>
                      <a:pt x="10" y="101"/>
                    </a:lnTo>
                    <a:lnTo>
                      <a:pt x="8" y="101"/>
                    </a:lnTo>
                    <a:lnTo>
                      <a:pt x="8" y="102"/>
                    </a:lnTo>
                    <a:lnTo>
                      <a:pt x="6" y="102"/>
                    </a:lnTo>
                    <a:lnTo>
                      <a:pt x="5" y="104"/>
                    </a:lnTo>
                    <a:lnTo>
                      <a:pt x="3" y="104"/>
                    </a:lnTo>
                    <a:lnTo>
                      <a:pt x="1" y="104"/>
                    </a:lnTo>
                    <a:lnTo>
                      <a:pt x="0" y="104"/>
                    </a:lnTo>
                    <a:lnTo>
                      <a:pt x="0" y="102"/>
                    </a:lnTo>
                    <a:lnTo>
                      <a:pt x="0" y="101"/>
                    </a:lnTo>
                    <a:lnTo>
                      <a:pt x="1" y="101"/>
                    </a:lnTo>
                    <a:lnTo>
                      <a:pt x="1" y="99"/>
                    </a:lnTo>
                    <a:lnTo>
                      <a:pt x="3" y="97"/>
                    </a:lnTo>
                    <a:lnTo>
                      <a:pt x="3" y="96"/>
                    </a:lnTo>
                    <a:lnTo>
                      <a:pt x="5" y="96"/>
                    </a:lnTo>
                    <a:lnTo>
                      <a:pt x="5" y="94"/>
                    </a:lnTo>
                    <a:lnTo>
                      <a:pt x="5" y="92"/>
                    </a:lnTo>
                    <a:lnTo>
                      <a:pt x="6" y="92"/>
                    </a:lnTo>
                    <a:lnTo>
                      <a:pt x="6" y="90"/>
                    </a:lnTo>
                    <a:lnTo>
                      <a:pt x="8" y="89"/>
                    </a:lnTo>
                    <a:lnTo>
                      <a:pt x="8" y="87"/>
                    </a:lnTo>
                    <a:lnTo>
                      <a:pt x="10" y="87"/>
                    </a:lnTo>
                    <a:lnTo>
                      <a:pt x="10" y="85"/>
                    </a:lnTo>
                    <a:lnTo>
                      <a:pt x="11" y="84"/>
                    </a:lnTo>
                    <a:lnTo>
                      <a:pt x="11" y="82"/>
                    </a:lnTo>
                    <a:lnTo>
                      <a:pt x="13" y="82"/>
                    </a:lnTo>
                    <a:lnTo>
                      <a:pt x="13" y="80"/>
                    </a:lnTo>
                    <a:lnTo>
                      <a:pt x="11" y="80"/>
                    </a:lnTo>
                    <a:lnTo>
                      <a:pt x="11" y="78"/>
                    </a:lnTo>
                    <a:lnTo>
                      <a:pt x="11" y="77"/>
                    </a:lnTo>
                    <a:lnTo>
                      <a:pt x="11" y="75"/>
                    </a:lnTo>
                    <a:lnTo>
                      <a:pt x="13" y="75"/>
                    </a:lnTo>
                    <a:lnTo>
                      <a:pt x="13" y="73"/>
                    </a:lnTo>
                    <a:lnTo>
                      <a:pt x="13" y="72"/>
                    </a:lnTo>
                    <a:lnTo>
                      <a:pt x="15" y="72"/>
                    </a:lnTo>
                    <a:lnTo>
                      <a:pt x="13" y="70"/>
                    </a:lnTo>
                    <a:lnTo>
                      <a:pt x="15" y="70"/>
                    </a:lnTo>
                    <a:lnTo>
                      <a:pt x="15" y="68"/>
                    </a:lnTo>
                    <a:lnTo>
                      <a:pt x="15" y="67"/>
                    </a:lnTo>
                    <a:lnTo>
                      <a:pt x="15" y="65"/>
                    </a:lnTo>
                    <a:lnTo>
                      <a:pt x="15" y="63"/>
                    </a:lnTo>
                    <a:lnTo>
                      <a:pt x="15" y="61"/>
                    </a:lnTo>
                    <a:lnTo>
                      <a:pt x="15" y="60"/>
                    </a:lnTo>
                    <a:lnTo>
                      <a:pt x="17" y="60"/>
                    </a:lnTo>
                    <a:lnTo>
                      <a:pt x="17" y="58"/>
                    </a:lnTo>
                    <a:lnTo>
                      <a:pt x="17" y="56"/>
                    </a:lnTo>
                    <a:lnTo>
                      <a:pt x="18" y="55"/>
                    </a:lnTo>
                    <a:lnTo>
                      <a:pt x="20" y="55"/>
                    </a:lnTo>
                    <a:lnTo>
                      <a:pt x="20" y="53"/>
                    </a:lnTo>
                    <a:lnTo>
                      <a:pt x="20" y="51"/>
                    </a:lnTo>
                    <a:lnTo>
                      <a:pt x="20" y="50"/>
                    </a:lnTo>
                    <a:lnTo>
                      <a:pt x="22" y="50"/>
                    </a:lnTo>
                    <a:lnTo>
                      <a:pt x="22" y="48"/>
                    </a:lnTo>
                    <a:lnTo>
                      <a:pt x="22" y="46"/>
                    </a:lnTo>
                    <a:lnTo>
                      <a:pt x="23" y="44"/>
                    </a:lnTo>
                    <a:lnTo>
                      <a:pt x="25" y="44"/>
                    </a:lnTo>
                    <a:lnTo>
                      <a:pt x="27" y="43"/>
                    </a:lnTo>
                    <a:lnTo>
                      <a:pt x="27" y="41"/>
                    </a:lnTo>
                    <a:lnTo>
                      <a:pt x="28" y="39"/>
                    </a:lnTo>
                    <a:lnTo>
                      <a:pt x="28" y="38"/>
                    </a:lnTo>
                    <a:lnTo>
                      <a:pt x="30" y="36"/>
                    </a:lnTo>
                    <a:lnTo>
                      <a:pt x="30" y="38"/>
                    </a:lnTo>
                    <a:lnTo>
                      <a:pt x="30" y="36"/>
                    </a:lnTo>
                    <a:lnTo>
                      <a:pt x="32" y="36"/>
                    </a:lnTo>
                    <a:lnTo>
                      <a:pt x="34" y="36"/>
                    </a:lnTo>
                    <a:lnTo>
                      <a:pt x="35" y="36"/>
                    </a:lnTo>
                    <a:lnTo>
                      <a:pt x="37" y="36"/>
                    </a:lnTo>
                    <a:lnTo>
                      <a:pt x="39" y="33"/>
                    </a:lnTo>
                    <a:lnTo>
                      <a:pt x="40" y="29"/>
                    </a:lnTo>
                    <a:lnTo>
                      <a:pt x="40" y="27"/>
                    </a:lnTo>
                    <a:lnTo>
                      <a:pt x="42" y="27"/>
                    </a:lnTo>
                    <a:lnTo>
                      <a:pt x="42" y="26"/>
                    </a:lnTo>
                    <a:lnTo>
                      <a:pt x="44" y="24"/>
                    </a:lnTo>
                    <a:lnTo>
                      <a:pt x="44" y="22"/>
                    </a:lnTo>
                    <a:lnTo>
                      <a:pt x="45" y="21"/>
                    </a:lnTo>
                    <a:lnTo>
                      <a:pt x="45" y="19"/>
                    </a:lnTo>
                    <a:lnTo>
                      <a:pt x="52" y="17"/>
                    </a:lnTo>
                    <a:lnTo>
                      <a:pt x="57" y="16"/>
                    </a:lnTo>
                    <a:lnTo>
                      <a:pt x="62" y="14"/>
                    </a:lnTo>
                    <a:lnTo>
                      <a:pt x="66" y="12"/>
                    </a:lnTo>
                    <a:lnTo>
                      <a:pt x="66" y="14"/>
                    </a:lnTo>
                    <a:lnTo>
                      <a:pt x="66" y="12"/>
                    </a:lnTo>
                    <a:lnTo>
                      <a:pt x="68" y="12"/>
                    </a:lnTo>
                    <a:lnTo>
                      <a:pt x="68" y="14"/>
                    </a:lnTo>
                    <a:lnTo>
                      <a:pt x="66" y="14"/>
                    </a:lnTo>
                    <a:lnTo>
                      <a:pt x="66" y="16"/>
                    </a:lnTo>
                    <a:lnTo>
                      <a:pt x="64" y="16"/>
                    </a:lnTo>
                    <a:lnTo>
                      <a:pt x="62" y="17"/>
                    </a:lnTo>
                    <a:lnTo>
                      <a:pt x="61" y="17"/>
                    </a:lnTo>
                    <a:lnTo>
                      <a:pt x="59" y="17"/>
                    </a:lnTo>
                    <a:lnTo>
                      <a:pt x="57" y="17"/>
                    </a:lnTo>
                    <a:lnTo>
                      <a:pt x="56" y="17"/>
                    </a:lnTo>
                    <a:lnTo>
                      <a:pt x="54" y="19"/>
                    </a:lnTo>
                    <a:lnTo>
                      <a:pt x="52" y="19"/>
                    </a:lnTo>
                    <a:lnTo>
                      <a:pt x="51" y="19"/>
                    </a:lnTo>
                    <a:lnTo>
                      <a:pt x="49" y="19"/>
                    </a:lnTo>
                    <a:lnTo>
                      <a:pt x="49" y="21"/>
                    </a:lnTo>
                    <a:lnTo>
                      <a:pt x="47" y="21"/>
                    </a:lnTo>
                    <a:lnTo>
                      <a:pt x="45" y="21"/>
                    </a:lnTo>
                    <a:lnTo>
                      <a:pt x="45" y="22"/>
                    </a:lnTo>
                    <a:lnTo>
                      <a:pt x="45" y="24"/>
                    </a:lnTo>
                    <a:lnTo>
                      <a:pt x="45" y="26"/>
                    </a:lnTo>
                    <a:lnTo>
                      <a:pt x="45" y="27"/>
                    </a:lnTo>
                    <a:lnTo>
                      <a:pt x="47" y="27"/>
                    </a:lnTo>
                    <a:lnTo>
                      <a:pt x="47" y="29"/>
                    </a:lnTo>
                    <a:lnTo>
                      <a:pt x="47" y="31"/>
                    </a:lnTo>
                    <a:lnTo>
                      <a:pt x="49" y="33"/>
                    </a:lnTo>
                    <a:lnTo>
                      <a:pt x="49" y="34"/>
                    </a:lnTo>
                    <a:lnTo>
                      <a:pt x="51" y="34"/>
                    </a:lnTo>
                    <a:lnTo>
                      <a:pt x="51" y="36"/>
                    </a:lnTo>
                    <a:lnTo>
                      <a:pt x="52" y="38"/>
                    </a:lnTo>
                    <a:lnTo>
                      <a:pt x="54" y="38"/>
                    </a:lnTo>
                    <a:lnTo>
                      <a:pt x="54" y="39"/>
                    </a:lnTo>
                    <a:lnTo>
                      <a:pt x="56" y="39"/>
                    </a:lnTo>
                    <a:lnTo>
                      <a:pt x="56" y="41"/>
                    </a:lnTo>
                    <a:lnTo>
                      <a:pt x="57" y="41"/>
                    </a:lnTo>
                    <a:lnTo>
                      <a:pt x="57" y="43"/>
                    </a:lnTo>
                    <a:lnTo>
                      <a:pt x="57" y="41"/>
                    </a:lnTo>
                    <a:lnTo>
                      <a:pt x="56" y="41"/>
                    </a:lnTo>
                    <a:lnTo>
                      <a:pt x="54" y="41"/>
                    </a:lnTo>
                    <a:lnTo>
                      <a:pt x="52" y="41"/>
                    </a:lnTo>
                    <a:lnTo>
                      <a:pt x="54" y="43"/>
                    </a:lnTo>
                    <a:lnTo>
                      <a:pt x="54" y="44"/>
                    </a:lnTo>
                    <a:lnTo>
                      <a:pt x="54" y="46"/>
                    </a:lnTo>
                    <a:lnTo>
                      <a:pt x="56" y="46"/>
                    </a:lnTo>
                    <a:lnTo>
                      <a:pt x="56" y="48"/>
                    </a:lnTo>
                    <a:lnTo>
                      <a:pt x="56" y="50"/>
                    </a:lnTo>
                    <a:lnTo>
                      <a:pt x="57" y="50"/>
                    </a:lnTo>
                    <a:lnTo>
                      <a:pt x="56" y="50"/>
                    </a:lnTo>
                    <a:lnTo>
                      <a:pt x="57" y="50"/>
                    </a:lnTo>
                    <a:lnTo>
                      <a:pt x="59" y="51"/>
                    </a:lnTo>
                    <a:lnTo>
                      <a:pt x="59" y="53"/>
                    </a:lnTo>
                    <a:lnTo>
                      <a:pt x="57" y="53"/>
                    </a:lnTo>
                    <a:lnTo>
                      <a:pt x="57" y="55"/>
                    </a:lnTo>
                    <a:lnTo>
                      <a:pt x="57" y="56"/>
                    </a:lnTo>
                    <a:lnTo>
                      <a:pt x="57" y="58"/>
                    </a:lnTo>
                    <a:lnTo>
                      <a:pt x="57" y="60"/>
                    </a:lnTo>
                    <a:lnTo>
                      <a:pt x="56" y="60"/>
                    </a:lnTo>
                    <a:lnTo>
                      <a:pt x="56" y="61"/>
                    </a:lnTo>
                    <a:lnTo>
                      <a:pt x="54" y="61"/>
                    </a:lnTo>
                    <a:lnTo>
                      <a:pt x="54" y="63"/>
                    </a:lnTo>
                    <a:lnTo>
                      <a:pt x="52" y="63"/>
                    </a:lnTo>
                    <a:lnTo>
                      <a:pt x="52" y="65"/>
                    </a:lnTo>
                    <a:lnTo>
                      <a:pt x="51" y="65"/>
                    </a:lnTo>
                    <a:lnTo>
                      <a:pt x="51" y="67"/>
                    </a:lnTo>
                    <a:lnTo>
                      <a:pt x="51" y="68"/>
                    </a:lnTo>
                    <a:lnTo>
                      <a:pt x="49" y="68"/>
                    </a:lnTo>
                    <a:lnTo>
                      <a:pt x="49" y="70"/>
                    </a:lnTo>
                    <a:lnTo>
                      <a:pt x="49" y="72"/>
                    </a:lnTo>
                    <a:lnTo>
                      <a:pt x="47" y="72"/>
                    </a:lnTo>
                    <a:lnTo>
                      <a:pt x="45" y="72"/>
                    </a:lnTo>
                    <a:lnTo>
                      <a:pt x="45" y="73"/>
                    </a:lnTo>
                    <a:lnTo>
                      <a:pt x="45" y="75"/>
                    </a:lnTo>
                    <a:lnTo>
                      <a:pt x="44" y="75"/>
                    </a:lnTo>
                    <a:lnTo>
                      <a:pt x="44" y="77"/>
                    </a:lnTo>
                    <a:lnTo>
                      <a:pt x="44" y="78"/>
                    </a:lnTo>
                    <a:lnTo>
                      <a:pt x="42" y="78"/>
                    </a:lnTo>
                    <a:lnTo>
                      <a:pt x="42" y="80"/>
                    </a:lnTo>
                    <a:lnTo>
                      <a:pt x="40" y="80"/>
                    </a:lnTo>
                    <a:lnTo>
                      <a:pt x="40" y="82"/>
                    </a:lnTo>
                    <a:lnTo>
                      <a:pt x="40" y="84"/>
                    </a:lnTo>
                    <a:lnTo>
                      <a:pt x="42" y="84"/>
                    </a:lnTo>
                    <a:lnTo>
                      <a:pt x="42" y="85"/>
                    </a:lnTo>
                    <a:lnTo>
                      <a:pt x="44" y="85"/>
                    </a:lnTo>
                    <a:lnTo>
                      <a:pt x="44" y="87"/>
                    </a:lnTo>
                    <a:lnTo>
                      <a:pt x="45" y="87"/>
                    </a:lnTo>
                    <a:lnTo>
                      <a:pt x="45" y="89"/>
                    </a:lnTo>
                    <a:lnTo>
                      <a:pt x="45" y="90"/>
                    </a:lnTo>
                    <a:lnTo>
                      <a:pt x="45" y="89"/>
                    </a:lnTo>
                    <a:lnTo>
                      <a:pt x="45" y="90"/>
                    </a:lnTo>
                    <a:lnTo>
                      <a:pt x="44" y="90"/>
                    </a:lnTo>
                    <a:lnTo>
                      <a:pt x="45" y="90"/>
                    </a:lnTo>
                    <a:lnTo>
                      <a:pt x="45" y="92"/>
                    </a:lnTo>
                    <a:lnTo>
                      <a:pt x="47" y="92"/>
                    </a:lnTo>
                    <a:lnTo>
                      <a:pt x="47" y="94"/>
                    </a:lnTo>
                    <a:lnTo>
                      <a:pt x="49" y="94"/>
                    </a:lnTo>
                    <a:lnTo>
                      <a:pt x="51" y="96"/>
                    </a:lnTo>
                    <a:lnTo>
                      <a:pt x="49" y="96"/>
                    </a:lnTo>
                    <a:lnTo>
                      <a:pt x="47" y="96"/>
                    </a:lnTo>
                    <a:lnTo>
                      <a:pt x="47" y="97"/>
                    </a:lnTo>
                    <a:lnTo>
                      <a:pt x="49" y="97"/>
                    </a:lnTo>
                    <a:lnTo>
                      <a:pt x="49" y="96"/>
                    </a:lnTo>
                    <a:lnTo>
                      <a:pt x="51" y="96"/>
                    </a:lnTo>
                    <a:lnTo>
                      <a:pt x="51" y="97"/>
                    </a:lnTo>
                    <a:lnTo>
                      <a:pt x="52" y="97"/>
                    </a:lnTo>
                    <a:lnTo>
                      <a:pt x="52" y="96"/>
                    </a:lnTo>
                    <a:lnTo>
                      <a:pt x="52" y="97"/>
                    </a:lnTo>
                    <a:lnTo>
                      <a:pt x="54" y="97"/>
                    </a:lnTo>
                    <a:lnTo>
                      <a:pt x="54" y="96"/>
                    </a:lnTo>
                    <a:lnTo>
                      <a:pt x="54" y="97"/>
                    </a:lnTo>
                    <a:lnTo>
                      <a:pt x="54" y="99"/>
                    </a:lnTo>
                    <a:lnTo>
                      <a:pt x="54" y="101"/>
                    </a:lnTo>
                    <a:lnTo>
                      <a:pt x="52" y="101"/>
                    </a:lnTo>
                    <a:lnTo>
                      <a:pt x="51" y="102"/>
                    </a:lnTo>
                    <a:lnTo>
                      <a:pt x="52" y="102"/>
                    </a:lnTo>
                    <a:lnTo>
                      <a:pt x="54" y="102"/>
                    </a:lnTo>
                    <a:lnTo>
                      <a:pt x="52" y="102"/>
                    </a:lnTo>
                    <a:lnTo>
                      <a:pt x="54" y="102"/>
                    </a:lnTo>
                    <a:lnTo>
                      <a:pt x="54" y="104"/>
                    </a:lnTo>
                    <a:lnTo>
                      <a:pt x="54" y="106"/>
                    </a:lnTo>
                    <a:lnTo>
                      <a:pt x="52" y="106"/>
                    </a:lnTo>
                    <a:lnTo>
                      <a:pt x="54" y="106"/>
                    </a:lnTo>
                    <a:lnTo>
                      <a:pt x="54" y="107"/>
                    </a:lnTo>
                    <a:lnTo>
                      <a:pt x="56" y="107"/>
                    </a:lnTo>
                    <a:lnTo>
                      <a:pt x="57" y="107"/>
                    </a:lnTo>
                    <a:lnTo>
                      <a:pt x="57" y="109"/>
                    </a:lnTo>
                    <a:lnTo>
                      <a:pt x="59" y="109"/>
                    </a:lnTo>
                    <a:lnTo>
                      <a:pt x="59" y="107"/>
                    </a:lnTo>
                    <a:lnTo>
                      <a:pt x="61" y="109"/>
                    </a:lnTo>
                    <a:lnTo>
                      <a:pt x="61" y="107"/>
                    </a:lnTo>
                    <a:lnTo>
                      <a:pt x="62" y="107"/>
                    </a:lnTo>
                    <a:lnTo>
                      <a:pt x="64" y="107"/>
                    </a:lnTo>
                    <a:lnTo>
                      <a:pt x="66" y="107"/>
                    </a:lnTo>
                    <a:lnTo>
                      <a:pt x="68" y="107"/>
                    </a:lnTo>
                    <a:lnTo>
                      <a:pt x="68" y="106"/>
                    </a:lnTo>
                    <a:lnTo>
                      <a:pt x="69" y="106"/>
                    </a:lnTo>
                    <a:lnTo>
                      <a:pt x="69" y="104"/>
                    </a:lnTo>
                    <a:lnTo>
                      <a:pt x="71" y="104"/>
                    </a:lnTo>
                    <a:lnTo>
                      <a:pt x="71" y="102"/>
                    </a:lnTo>
                    <a:lnTo>
                      <a:pt x="73" y="102"/>
                    </a:lnTo>
                    <a:lnTo>
                      <a:pt x="73" y="101"/>
                    </a:lnTo>
                    <a:lnTo>
                      <a:pt x="74" y="101"/>
                    </a:lnTo>
                    <a:lnTo>
                      <a:pt x="74" y="99"/>
                    </a:lnTo>
                    <a:lnTo>
                      <a:pt x="76" y="99"/>
                    </a:lnTo>
                    <a:lnTo>
                      <a:pt x="76" y="97"/>
                    </a:lnTo>
                    <a:lnTo>
                      <a:pt x="76" y="96"/>
                    </a:lnTo>
                    <a:lnTo>
                      <a:pt x="76" y="94"/>
                    </a:lnTo>
                    <a:lnTo>
                      <a:pt x="76" y="92"/>
                    </a:lnTo>
                    <a:lnTo>
                      <a:pt x="76" y="90"/>
                    </a:lnTo>
                    <a:lnTo>
                      <a:pt x="76" y="89"/>
                    </a:lnTo>
                    <a:lnTo>
                      <a:pt x="76" y="87"/>
                    </a:lnTo>
                    <a:lnTo>
                      <a:pt x="78" y="87"/>
                    </a:lnTo>
                    <a:lnTo>
                      <a:pt x="76" y="85"/>
                    </a:lnTo>
                    <a:lnTo>
                      <a:pt x="78" y="85"/>
                    </a:lnTo>
                    <a:lnTo>
                      <a:pt x="78" y="84"/>
                    </a:lnTo>
                    <a:lnTo>
                      <a:pt x="76" y="84"/>
                    </a:lnTo>
                    <a:lnTo>
                      <a:pt x="76" y="82"/>
                    </a:lnTo>
                    <a:lnTo>
                      <a:pt x="76" y="80"/>
                    </a:lnTo>
                    <a:lnTo>
                      <a:pt x="74" y="78"/>
                    </a:lnTo>
                    <a:lnTo>
                      <a:pt x="74" y="77"/>
                    </a:lnTo>
                    <a:lnTo>
                      <a:pt x="73" y="77"/>
                    </a:lnTo>
                    <a:lnTo>
                      <a:pt x="71" y="77"/>
                    </a:lnTo>
                    <a:lnTo>
                      <a:pt x="71" y="75"/>
                    </a:lnTo>
                    <a:lnTo>
                      <a:pt x="71" y="73"/>
                    </a:lnTo>
                    <a:lnTo>
                      <a:pt x="71" y="72"/>
                    </a:lnTo>
                    <a:lnTo>
                      <a:pt x="69" y="72"/>
                    </a:lnTo>
                    <a:lnTo>
                      <a:pt x="69" y="70"/>
                    </a:lnTo>
                    <a:lnTo>
                      <a:pt x="68" y="68"/>
                    </a:lnTo>
                    <a:lnTo>
                      <a:pt x="66" y="68"/>
                    </a:lnTo>
                    <a:lnTo>
                      <a:pt x="66" y="67"/>
                    </a:lnTo>
                    <a:lnTo>
                      <a:pt x="66" y="65"/>
                    </a:lnTo>
                    <a:lnTo>
                      <a:pt x="64" y="65"/>
                    </a:lnTo>
                    <a:lnTo>
                      <a:pt x="64" y="63"/>
                    </a:lnTo>
                    <a:lnTo>
                      <a:pt x="62" y="63"/>
                    </a:lnTo>
                    <a:lnTo>
                      <a:pt x="62" y="61"/>
                    </a:lnTo>
                    <a:lnTo>
                      <a:pt x="62" y="60"/>
                    </a:lnTo>
                    <a:lnTo>
                      <a:pt x="62" y="58"/>
                    </a:lnTo>
                    <a:lnTo>
                      <a:pt x="61" y="58"/>
                    </a:lnTo>
                    <a:lnTo>
                      <a:pt x="61" y="56"/>
                    </a:lnTo>
                    <a:lnTo>
                      <a:pt x="61" y="55"/>
                    </a:lnTo>
                    <a:lnTo>
                      <a:pt x="62" y="55"/>
                    </a:lnTo>
                    <a:lnTo>
                      <a:pt x="61" y="55"/>
                    </a:lnTo>
                    <a:lnTo>
                      <a:pt x="61" y="53"/>
                    </a:lnTo>
                    <a:lnTo>
                      <a:pt x="61" y="51"/>
                    </a:lnTo>
                    <a:lnTo>
                      <a:pt x="61" y="50"/>
                    </a:lnTo>
                    <a:lnTo>
                      <a:pt x="59" y="50"/>
                    </a:lnTo>
                    <a:lnTo>
                      <a:pt x="59" y="48"/>
                    </a:lnTo>
                    <a:lnTo>
                      <a:pt x="61" y="48"/>
                    </a:lnTo>
                    <a:lnTo>
                      <a:pt x="62" y="48"/>
                    </a:lnTo>
                    <a:lnTo>
                      <a:pt x="64" y="48"/>
                    </a:lnTo>
                    <a:lnTo>
                      <a:pt x="64" y="46"/>
                    </a:lnTo>
                    <a:lnTo>
                      <a:pt x="64" y="44"/>
                    </a:lnTo>
                    <a:lnTo>
                      <a:pt x="62" y="44"/>
                    </a:lnTo>
                    <a:lnTo>
                      <a:pt x="62" y="43"/>
                    </a:lnTo>
                    <a:lnTo>
                      <a:pt x="64" y="43"/>
                    </a:lnTo>
                    <a:lnTo>
                      <a:pt x="64" y="44"/>
                    </a:lnTo>
                    <a:lnTo>
                      <a:pt x="64" y="43"/>
                    </a:lnTo>
                    <a:lnTo>
                      <a:pt x="62" y="43"/>
                    </a:lnTo>
                    <a:lnTo>
                      <a:pt x="64" y="43"/>
                    </a:lnTo>
                    <a:lnTo>
                      <a:pt x="66" y="43"/>
                    </a:lnTo>
                    <a:lnTo>
                      <a:pt x="68" y="43"/>
                    </a:lnTo>
                    <a:lnTo>
                      <a:pt x="69" y="43"/>
                    </a:lnTo>
                    <a:lnTo>
                      <a:pt x="69" y="41"/>
                    </a:lnTo>
                    <a:lnTo>
                      <a:pt x="71" y="41"/>
                    </a:lnTo>
                    <a:lnTo>
                      <a:pt x="73" y="41"/>
                    </a:lnTo>
                    <a:lnTo>
                      <a:pt x="73" y="39"/>
                    </a:lnTo>
                    <a:lnTo>
                      <a:pt x="74" y="39"/>
                    </a:lnTo>
                    <a:lnTo>
                      <a:pt x="76" y="39"/>
                    </a:lnTo>
                    <a:lnTo>
                      <a:pt x="76" y="38"/>
                    </a:lnTo>
                    <a:lnTo>
                      <a:pt x="78" y="38"/>
                    </a:lnTo>
                    <a:lnTo>
                      <a:pt x="79" y="38"/>
                    </a:lnTo>
                    <a:lnTo>
                      <a:pt x="79" y="36"/>
                    </a:lnTo>
                    <a:lnTo>
                      <a:pt x="81" y="36"/>
                    </a:lnTo>
                    <a:lnTo>
                      <a:pt x="83" y="36"/>
                    </a:lnTo>
                    <a:lnTo>
                      <a:pt x="83" y="34"/>
                    </a:lnTo>
                    <a:lnTo>
                      <a:pt x="85" y="34"/>
                    </a:lnTo>
                    <a:lnTo>
                      <a:pt x="86" y="34"/>
                    </a:lnTo>
                    <a:lnTo>
                      <a:pt x="88" y="34"/>
                    </a:lnTo>
                    <a:lnTo>
                      <a:pt x="88" y="33"/>
                    </a:lnTo>
                    <a:lnTo>
                      <a:pt x="90" y="33"/>
                    </a:lnTo>
                    <a:lnTo>
                      <a:pt x="91" y="33"/>
                    </a:lnTo>
                    <a:lnTo>
                      <a:pt x="93" y="33"/>
                    </a:lnTo>
                    <a:lnTo>
                      <a:pt x="95" y="33"/>
                    </a:lnTo>
                    <a:lnTo>
                      <a:pt x="96" y="31"/>
                    </a:lnTo>
                    <a:lnTo>
                      <a:pt x="95" y="33"/>
                    </a:lnTo>
                    <a:lnTo>
                      <a:pt x="95" y="31"/>
                    </a:lnTo>
                    <a:lnTo>
                      <a:pt x="96" y="31"/>
                    </a:lnTo>
                    <a:lnTo>
                      <a:pt x="98" y="31"/>
                    </a:lnTo>
                    <a:lnTo>
                      <a:pt x="100" y="31"/>
                    </a:lnTo>
                    <a:lnTo>
                      <a:pt x="102" y="31"/>
                    </a:lnTo>
                    <a:lnTo>
                      <a:pt x="102" y="29"/>
                    </a:lnTo>
                    <a:lnTo>
                      <a:pt x="103" y="29"/>
                    </a:lnTo>
                    <a:lnTo>
                      <a:pt x="105" y="29"/>
                    </a:lnTo>
                    <a:lnTo>
                      <a:pt x="107" y="29"/>
                    </a:lnTo>
                    <a:lnTo>
                      <a:pt x="107" y="27"/>
                    </a:lnTo>
                    <a:lnTo>
                      <a:pt x="107" y="26"/>
                    </a:lnTo>
                    <a:lnTo>
                      <a:pt x="108" y="26"/>
                    </a:lnTo>
                    <a:lnTo>
                      <a:pt x="107" y="26"/>
                    </a:lnTo>
                    <a:lnTo>
                      <a:pt x="108" y="26"/>
                    </a:lnTo>
                    <a:lnTo>
                      <a:pt x="110" y="26"/>
                    </a:lnTo>
                    <a:lnTo>
                      <a:pt x="110" y="24"/>
                    </a:lnTo>
                    <a:lnTo>
                      <a:pt x="112" y="24"/>
                    </a:lnTo>
                    <a:lnTo>
                      <a:pt x="110" y="24"/>
                    </a:lnTo>
                    <a:lnTo>
                      <a:pt x="110" y="22"/>
                    </a:lnTo>
                    <a:lnTo>
                      <a:pt x="108" y="22"/>
                    </a:lnTo>
                    <a:lnTo>
                      <a:pt x="110" y="22"/>
                    </a:lnTo>
                    <a:lnTo>
                      <a:pt x="108" y="22"/>
                    </a:lnTo>
                    <a:lnTo>
                      <a:pt x="110" y="22"/>
                    </a:lnTo>
                    <a:lnTo>
                      <a:pt x="110" y="24"/>
                    </a:lnTo>
                    <a:lnTo>
                      <a:pt x="112" y="24"/>
                    </a:lnTo>
                    <a:lnTo>
                      <a:pt x="112" y="22"/>
                    </a:lnTo>
                    <a:lnTo>
                      <a:pt x="112" y="24"/>
                    </a:lnTo>
                    <a:lnTo>
                      <a:pt x="113" y="24"/>
                    </a:lnTo>
                    <a:lnTo>
                      <a:pt x="113" y="22"/>
                    </a:lnTo>
                    <a:lnTo>
                      <a:pt x="113" y="24"/>
                    </a:lnTo>
                    <a:lnTo>
                      <a:pt x="115" y="22"/>
                    </a:lnTo>
                    <a:lnTo>
                      <a:pt x="115" y="24"/>
                    </a:lnTo>
                    <a:lnTo>
                      <a:pt x="117" y="24"/>
                    </a:lnTo>
                    <a:lnTo>
                      <a:pt x="117" y="26"/>
                    </a:lnTo>
                    <a:lnTo>
                      <a:pt x="119" y="26"/>
                    </a:lnTo>
                    <a:lnTo>
                      <a:pt x="120" y="26"/>
                    </a:lnTo>
                    <a:lnTo>
                      <a:pt x="120" y="24"/>
                    </a:lnTo>
                    <a:lnTo>
                      <a:pt x="122" y="24"/>
                    </a:lnTo>
                    <a:lnTo>
                      <a:pt x="120" y="22"/>
                    </a:lnTo>
                    <a:lnTo>
                      <a:pt x="120" y="21"/>
                    </a:lnTo>
                    <a:lnTo>
                      <a:pt x="120" y="19"/>
                    </a:lnTo>
                    <a:lnTo>
                      <a:pt x="119" y="19"/>
                    </a:lnTo>
                    <a:lnTo>
                      <a:pt x="119" y="17"/>
                    </a:lnTo>
                    <a:lnTo>
                      <a:pt x="117" y="17"/>
                    </a:lnTo>
                    <a:lnTo>
                      <a:pt x="117" y="19"/>
                    </a:lnTo>
                    <a:lnTo>
                      <a:pt x="117" y="17"/>
                    </a:lnTo>
                    <a:lnTo>
                      <a:pt x="115" y="17"/>
                    </a:lnTo>
                    <a:lnTo>
                      <a:pt x="115" y="19"/>
                    </a:lnTo>
                    <a:lnTo>
                      <a:pt x="113" y="19"/>
                    </a:lnTo>
                    <a:lnTo>
                      <a:pt x="115" y="19"/>
                    </a:lnTo>
                    <a:lnTo>
                      <a:pt x="113" y="17"/>
                    </a:lnTo>
                    <a:lnTo>
                      <a:pt x="113" y="19"/>
                    </a:lnTo>
                    <a:lnTo>
                      <a:pt x="113" y="17"/>
                    </a:lnTo>
                    <a:lnTo>
                      <a:pt x="113" y="19"/>
                    </a:lnTo>
                    <a:lnTo>
                      <a:pt x="112" y="19"/>
                    </a:lnTo>
                    <a:lnTo>
                      <a:pt x="110" y="19"/>
                    </a:lnTo>
                    <a:lnTo>
                      <a:pt x="108" y="19"/>
                    </a:lnTo>
                    <a:lnTo>
                      <a:pt x="107" y="19"/>
                    </a:lnTo>
                    <a:lnTo>
                      <a:pt x="107" y="21"/>
                    </a:lnTo>
                    <a:lnTo>
                      <a:pt x="105" y="21"/>
                    </a:lnTo>
                    <a:lnTo>
                      <a:pt x="105" y="19"/>
                    </a:lnTo>
                    <a:lnTo>
                      <a:pt x="105" y="17"/>
                    </a:lnTo>
                    <a:lnTo>
                      <a:pt x="105" y="16"/>
                    </a:lnTo>
                    <a:lnTo>
                      <a:pt x="105" y="17"/>
                    </a:lnTo>
                    <a:lnTo>
                      <a:pt x="105" y="16"/>
                    </a:lnTo>
                    <a:lnTo>
                      <a:pt x="105" y="14"/>
                    </a:lnTo>
                    <a:lnTo>
                      <a:pt x="105" y="16"/>
                    </a:lnTo>
                    <a:lnTo>
                      <a:pt x="103" y="14"/>
                    </a:lnTo>
                    <a:lnTo>
                      <a:pt x="103" y="12"/>
                    </a:lnTo>
                    <a:lnTo>
                      <a:pt x="102" y="12"/>
                    </a:lnTo>
                    <a:lnTo>
                      <a:pt x="103" y="10"/>
                    </a:lnTo>
                    <a:lnTo>
                      <a:pt x="102" y="10"/>
                    </a:lnTo>
                    <a:lnTo>
                      <a:pt x="103" y="9"/>
                    </a:lnTo>
                    <a:lnTo>
                      <a:pt x="103" y="7"/>
                    </a:lnTo>
                    <a:lnTo>
                      <a:pt x="105" y="5"/>
                    </a:lnTo>
                    <a:lnTo>
                      <a:pt x="105" y="4"/>
                    </a:lnTo>
                    <a:lnTo>
                      <a:pt x="107" y="4"/>
                    </a:lnTo>
                    <a:lnTo>
                      <a:pt x="107" y="2"/>
                    </a:lnTo>
                    <a:lnTo>
                      <a:pt x="108" y="2"/>
                    </a:lnTo>
                    <a:lnTo>
                      <a:pt x="110" y="0"/>
                    </a:lnTo>
                    <a:lnTo>
                      <a:pt x="112" y="0"/>
                    </a:lnTo>
                    <a:lnTo>
                      <a:pt x="113" y="0"/>
                    </a:lnTo>
                    <a:lnTo>
                      <a:pt x="115" y="0"/>
                    </a:lnTo>
                    <a:lnTo>
                      <a:pt x="115" y="2"/>
                    </a:lnTo>
                    <a:lnTo>
                      <a:pt x="117" y="2"/>
                    </a:lnTo>
                    <a:lnTo>
                      <a:pt x="117" y="4"/>
                    </a:lnTo>
                    <a:lnTo>
                      <a:pt x="117" y="5"/>
                    </a:lnTo>
                    <a:lnTo>
                      <a:pt x="117" y="7"/>
                    </a:lnTo>
                    <a:lnTo>
                      <a:pt x="117" y="5"/>
                    </a:lnTo>
                    <a:lnTo>
                      <a:pt x="119" y="5"/>
                    </a:lnTo>
                    <a:lnTo>
                      <a:pt x="119" y="7"/>
                    </a:lnTo>
                    <a:lnTo>
                      <a:pt x="119" y="9"/>
                    </a:lnTo>
                    <a:lnTo>
                      <a:pt x="119" y="10"/>
                    </a:lnTo>
                    <a:lnTo>
                      <a:pt x="119" y="12"/>
                    </a:lnTo>
                    <a:lnTo>
                      <a:pt x="119" y="14"/>
                    </a:lnTo>
                    <a:lnTo>
                      <a:pt x="120" y="16"/>
                    </a:lnTo>
                    <a:lnTo>
                      <a:pt x="120" y="17"/>
                    </a:lnTo>
                    <a:lnTo>
                      <a:pt x="122" y="19"/>
                    </a:lnTo>
                    <a:lnTo>
                      <a:pt x="122" y="21"/>
                    </a:lnTo>
                    <a:lnTo>
                      <a:pt x="122" y="22"/>
                    </a:lnTo>
                    <a:lnTo>
                      <a:pt x="124" y="22"/>
                    </a:lnTo>
                    <a:lnTo>
                      <a:pt x="124" y="24"/>
                    </a:lnTo>
                    <a:lnTo>
                      <a:pt x="125" y="24"/>
                    </a:lnTo>
                    <a:lnTo>
                      <a:pt x="125" y="26"/>
                    </a:lnTo>
                    <a:lnTo>
                      <a:pt x="127" y="26"/>
                    </a:lnTo>
                    <a:lnTo>
                      <a:pt x="127" y="24"/>
                    </a:lnTo>
                    <a:lnTo>
                      <a:pt x="129" y="24"/>
                    </a:lnTo>
                    <a:lnTo>
                      <a:pt x="130" y="24"/>
                    </a:lnTo>
                    <a:lnTo>
                      <a:pt x="132" y="24"/>
                    </a:lnTo>
                    <a:lnTo>
                      <a:pt x="134" y="24"/>
                    </a:lnTo>
                    <a:lnTo>
                      <a:pt x="136" y="24"/>
                    </a:lnTo>
                    <a:lnTo>
                      <a:pt x="136" y="22"/>
                    </a:lnTo>
                    <a:lnTo>
                      <a:pt x="137" y="22"/>
                    </a:lnTo>
                    <a:lnTo>
                      <a:pt x="139" y="24"/>
                    </a:lnTo>
                    <a:lnTo>
                      <a:pt x="141" y="24"/>
                    </a:lnTo>
                    <a:lnTo>
                      <a:pt x="142" y="24"/>
                    </a:lnTo>
                    <a:lnTo>
                      <a:pt x="144" y="26"/>
                    </a:lnTo>
                    <a:lnTo>
                      <a:pt x="146" y="26"/>
                    </a:lnTo>
                    <a:lnTo>
                      <a:pt x="147" y="26"/>
                    </a:lnTo>
                    <a:lnTo>
                      <a:pt x="149" y="26"/>
                    </a:lnTo>
                    <a:lnTo>
                      <a:pt x="151" y="26"/>
                    </a:lnTo>
                    <a:lnTo>
                      <a:pt x="153" y="26"/>
                    </a:lnTo>
                    <a:lnTo>
                      <a:pt x="153" y="27"/>
                    </a:lnTo>
                    <a:lnTo>
                      <a:pt x="154" y="27"/>
                    </a:lnTo>
                    <a:lnTo>
                      <a:pt x="154" y="29"/>
                    </a:lnTo>
                    <a:lnTo>
                      <a:pt x="156" y="29"/>
                    </a:lnTo>
                    <a:lnTo>
                      <a:pt x="158" y="29"/>
                    </a:lnTo>
                    <a:lnTo>
                      <a:pt x="158" y="31"/>
                    </a:lnTo>
                    <a:lnTo>
                      <a:pt x="159" y="31"/>
                    </a:lnTo>
                    <a:lnTo>
                      <a:pt x="161" y="31"/>
                    </a:lnTo>
                    <a:lnTo>
                      <a:pt x="161" y="33"/>
                    </a:lnTo>
                    <a:lnTo>
                      <a:pt x="163" y="33"/>
                    </a:lnTo>
                    <a:lnTo>
                      <a:pt x="163" y="34"/>
                    </a:lnTo>
                    <a:lnTo>
                      <a:pt x="164" y="34"/>
                    </a:lnTo>
                    <a:lnTo>
                      <a:pt x="166" y="34"/>
                    </a:lnTo>
                    <a:lnTo>
                      <a:pt x="166" y="36"/>
                    </a:lnTo>
                    <a:lnTo>
                      <a:pt x="168" y="38"/>
                    </a:lnTo>
                    <a:lnTo>
                      <a:pt x="168" y="39"/>
                    </a:lnTo>
                    <a:lnTo>
                      <a:pt x="170" y="39"/>
                    </a:lnTo>
                    <a:lnTo>
                      <a:pt x="170" y="41"/>
                    </a:lnTo>
                    <a:lnTo>
                      <a:pt x="170" y="43"/>
                    </a:lnTo>
                    <a:lnTo>
                      <a:pt x="171" y="43"/>
                    </a:lnTo>
                    <a:lnTo>
                      <a:pt x="171" y="44"/>
                    </a:lnTo>
                    <a:lnTo>
                      <a:pt x="170" y="44"/>
                    </a:lnTo>
                    <a:lnTo>
                      <a:pt x="170" y="43"/>
                    </a:lnTo>
                    <a:lnTo>
                      <a:pt x="168" y="43"/>
                    </a:lnTo>
                    <a:lnTo>
                      <a:pt x="168" y="44"/>
                    </a:lnTo>
                    <a:lnTo>
                      <a:pt x="170" y="44"/>
                    </a:lnTo>
                    <a:lnTo>
                      <a:pt x="171" y="44"/>
                    </a:lnTo>
                    <a:lnTo>
                      <a:pt x="173" y="44"/>
                    </a:lnTo>
                    <a:lnTo>
                      <a:pt x="173" y="46"/>
                    </a:lnTo>
                    <a:lnTo>
                      <a:pt x="171" y="46"/>
                    </a:lnTo>
                    <a:lnTo>
                      <a:pt x="170" y="46"/>
                    </a:lnTo>
                    <a:lnTo>
                      <a:pt x="170" y="48"/>
                    </a:lnTo>
                    <a:lnTo>
                      <a:pt x="170" y="50"/>
                    </a:lnTo>
                    <a:lnTo>
                      <a:pt x="170" y="51"/>
                    </a:lnTo>
                    <a:lnTo>
                      <a:pt x="170" y="53"/>
                    </a:lnTo>
                    <a:lnTo>
                      <a:pt x="171" y="53"/>
                    </a:lnTo>
                    <a:lnTo>
                      <a:pt x="171" y="55"/>
                    </a:lnTo>
                    <a:lnTo>
                      <a:pt x="171" y="56"/>
                    </a:lnTo>
                    <a:lnTo>
                      <a:pt x="173" y="56"/>
                    </a:lnTo>
                    <a:lnTo>
                      <a:pt x="173" y="58"/>
                    </a:lnTo>
                    <a:lnTo>
                      <a:pt x="175" y="58"/>
                    </a:lnTo>
                    <a:lnTo>
                      <a:pt x="176" y="58"/>
                    </a:lnTo>
                    <a:lnTo>
                      <a:pt x="178" y="58"/>
                    </a:lnTo>
                    <a:lnTo>
                      <a:pt x="178" y="60"/>
                    </a:lnTo>
                    <a:lnTo>
                      <a:pt x="180" y="60"/>
                    </a:lnTo>
                    <a:lnTo>
                      <a:pt x="180" y="58"/>
                    </a:lnTo>
                    <a:lnTo>
                      <a:pt x="180" y="60"/>
                    </a:lnTo>
                    <a:lnTo>
                      <a:pt x="180" y="58"/>
                    </a:lnTo>
                    <a:lnTo>
                      <a:pt x="181" y="60"/>
                    </a:lnTo>
                    <a:lnTo>
                      <a:pt x="183" y="60"/>
                    </a:lnTo>
                    <a:lnTo>
                      <a:pt x="185" y="60"/>
                    </a:lnTo>
                    <a:lnTo>
                      <a:pt x="187" y="58"/>
                    </a:lnTo>
                    <a:lnTo>
                      <a:pt x="187" y="60"/>
                    </a:lnTo>
                    <a:lnTo>
                      <a:pt x="187" y="58"/>
                    </a:lnTo>
                    <a:lnTo>
                      <a:pt x="188" y="58"/>
                    </a:lnTo>
                    <a:lnTo>
                      <a:pt x="190" y="58"/>
                    </a:lnTo>
                    <a:lnTo>
                      <a:pt x="192" y="58"/>
                    </a:lnTo>
                    <a:lnTo>
                      <a:pt x="193" y="58"/>
                    </a:lnTo>
                    <a:lnTo>
                      <a:pt x="195" y="58"/>
                    </a:lnTo>
                    <a:lnTo>
                      <a:pt x="197" y="58"/>
                    </a:lnTo>
                    <a:lnTo>
                      <a:pt x="197" y="56"/>
                    </a:lnTo>
                    <a:lnTo>
                      <a:pt x="198" y="56"/>
                    </a:lnTo>
                    <a:lnTo>
                      <a:pt x="200" y="56"/>
                    </a:lnTo>
                    <a:lnTo>
                      <a:pt x="202" y="56"/>
                    </a:lnTo>
                    <a:lnTo>
                      <a:pt x="204" y="56"/>
                    </a:lnTo>
                    <a:lnTo>
                      <a:pt x="205" y="56"/>
                    </a:lnTo>
                    <a:lnTo>
                      <a:pt x="207" y="56"/>
                    </a:lnTo>
                    <a:lnTo>
                      <a:pt x="209" y="56"/>
                    </a:lnTo>
                    <a:lnTo>
                      <a:pt x="210" y="55"/>
                    </a:lnTo>
                    <a:lnTo>
                      <a:pt x="212" y="55"/>
                    </a:lnTo>
                    <a:lnTo>
                      <a:pt x="214" y="55"/>
                    </a:lnTo>
                    <a:lnTo>
                      <a:pt x="215" y="55"/>
                    </a:lnTo>
                    <a:lnTo>
                      <a:pt x="217" y="55"/>
                    </a:lnTo>
                    <a:lnTo>
                      <a:pt x="219" y="55"/>
                    </a:lnTo>
                    <a:lnTo>
                      <a:pt x="221" y="55"/>
                    </a:lnTo>
                    <a:lnTo>
                      <a:pt x="222" y="55"/>
                    </a:lnTo>
                    <a:lnTo>
                      <a:pt x="224" y="55"/>
                    </a:lnTo>
                    <a:lnTo>
                      <a:pt x="226" y="55"/>
                    </a:lnTo>
                    <a:lnTo>
                      <a:pt x="227" y="55"/>
                    </a:lnTo>
                    <a:lnTo>
                      <a:pt x="227" y="53"/>
                    </a:lnTo>
                    <a:lnTo>
                      <a:pt x="229" y="55"/>
                    </a:lnTo>
                    <a:lnTo>
                      <a:pt x="229" y="53"/>
                    </a:lnTo>
                    <a:lnTo>
                      <a:pt x="231" y="53"/>
                    </a:lnTo>
                    <a:lnTo>
                      <a:pt x="232" y="53"/>
                    </a:lnTo>
                    <a:lnTo>
                      <a:pt x="232" y="55"/>
                    </a:lnTo>
                    <a:lnTo>
                      <a:pt x="234" y="53"/>
                    </a:lnTo>
                    <a:lnTo>
                      <a:pt x="234" y="55"/>
                    </a:lnTo>
                    <a:lnTo>
                      <a:pt x="236" y="55"/>
                    </a:lnTo>
                    <a:lnTo>
                      <a:pt x="238" y="53"/>
                    </a:lnTo>
                    <a:lnTo>
                      <a:pt x="239" y="53"/>
                    </a:lnTo>
                    <a:lnTo>
                      <a:pt x="241" y="55"/>
                    </a:lnTo>
                    <a:lnTo>
                      <a:pt x="243" y="55"/>
                    </a:lnTo>
                    <a:lnTo>
                      <a:pt x="244" y="55"/>
                    </a:lnTo>
                    <a:lnTo>
                      <a:pt x="244" y="56"/>
                    </a:lnTo>
                    <a:lnTo>
                      <a:pt x="244" y="55"/>
                    </a:lnTo>
                    <a:lnTo>
                      <a:pt x="246" y="56"/>
                    </a:lnTo>
                    <a:lnTo>
                      <a:pt x="244" y="56"/>
                    </a:lnTo>
                    <a:lnTo>
                      <a:pt x="243" y="56"/>
                    </a:lnTo>
                    <a:lnTo>
                      <a:pt x="244" y="56"/>
                    </a:lnTo>
                    <a:lnTo>
                      <a:pt x="243" y="58"/>
                    </a:lnTo>
                    <a:lnTo>
                      <a:pt x="244" y="58"/>
                    </a:lnTo>
                    <a:lnTo>
                      <a:pt x="244" y="60"/>
                    </a:lnTo>
                    <a:lnTo>
                      <a:pt x="246" y="60"/>
                    </a:lnTo>
                    <a:lnTo>
                      <a:pt x="246" y="61"/>
                    </a:lnTo>
                    <a:lnTo>
                      <a:pt x="248" y="61"/>
                    </a:lnTo>
                    <a:lnTo>
                      <a:pt x="248" y="63"/>
                    </a:lnTo>
                    <a:lnTo>
                      <a:pt x="249" y="63"/>
                    </a:lnTo>
                    <a:lnTo>
                      <a:pt x="251" y="65"/>
                    </a:lnTo>
                    <a:lnTo>
                      <a:pt x="253" y="65"/>
                    </a:lnTo>
                    <a:lnTo>
                      <a:pt x="255" y="67"/>
                    </a:lnTo>
                    <a:lnTo>
                      <a:pt x="256" y="67"/>
                    </a:lnTo>
                    <a:lnTo>
                      <a:pt x="258" y="68"/>
                    </a:lnTo>
                    <a:lnTo>
                      <a:pt x="260" y="68"/>
                    </a:lnTo>
                    <a:lnTo>
                      <a:pt x="263" y="70"/>
                    </a:lnTo>
                    <a:lnTo>
                      <a:pt x="265" y="70"/>
                    </a:lnTo>
                    <a:lnTo>
                      <a:pt x="266" y="70"/>
                    </a:lnTo>
                    <a:lnTo>
                      <a:pt x="268" y="72"/>
                    </a:lnTo>
                    <a:lnTo>
                      <a:pt x="270" y="72"/>
                    </a:lnTo>
                    <a:lnTo>
                      <a:pt x="272" y="72"/>
                    </a:lnTo>
                    <a:lnTo>
                      <a:pt x="273" y="72"/>
                    </a:lnTo>
                    <a:lnTo>
                      <a:pt x="275" y="72"/>
                    </a:lnTo>
                    <a:lnTo>
                      <a:pt x="277" y="73"/>
                    </a:lnTo>
                    <a:lnTo>
                      <a:pt x="278" y="73"/>
                    </a:lnTo>
                    <a:lnTo>
                      <a:pt x="280" y="73"/>
                    </a:lnTo>
                    <a:lnTo>
                      <a:pt x="282" y="73"/>
                    </a:lnTo>
                    <a:lnTo>
                      <a:pt x="282" y="72"/>
                    </a:lnTo>
                    <a:lnTo>
                      <a:pt x="283" y="72"/>
                    </a:lnTo>
                    <a:lnTo>
                      <a:pt x="285" y="72"/>
                    </a:lnTo>
                    <a:lnTo>
                      <a:pt x="287" y="72"/>
                    </a:lnTo>
                    <a:lnTo>
                      <a:pt x="289" y="72"/>
                    </a:lnTo>
                    <a:lnTo>
                      <a:pt x="290" y="72"/>
                    </a:lnTo>
                    <a:lnTo>
                      <a:pt x="290" y="70"/>
                    </a:lnTo>
                    <a:lnTo>
                      <a:pt x="292" y="68"/>
                    </a:lnTo>
                    <a:lnTo>
                      <a:pt x="290" y="68"/>
                    </a:lnTo>
                    <a:lnTo>
                      <a:pt x="292" y="68"/>
                    </a:lnTo>
                    <a:lnTo>
                      <a:pt x="294" y="68"/>
                    </a:lnTo>
                    <a:lnTo>
                      <a:pt x="294" y="67"/>
                    </a:lnTo>
                    <a:lnTo>
                      <a:pt x="295" y="67"/>
                    </a:lnTo>
                    <a:lnTo>
                      <a:pt x="297" y="67"/>
                    </a:lnTo>
                    <a:lnTo>
                      <a:pt x="299" y="67"/>
                    </a:lnTo>
                    <a:lnTo>
                      <a:pt x="300" y="67"/>
                    </a:lnTo>
                    <a:lnTo>
                      <a:pt x="300" y="65"/>
                    </a:lnTo>
                    <a:lnTo>
                      <a:pt x="302" y="65"/>
                    </a:lnTo>
                    <a:lnTo>
                      <a:pt x="300" y="65"/>
                    </a:lnTo>
                    <a:lnTo>
                      <a:pt x="299" y="65"/>
                    </a:lnTo>
                    <a:lnTo>
                      <a:pt x="300" y="65"/>
                    </a:lnTo>
                    <a:lnTo>
                      <a:pt x="300" y="63"/>
                    </a:lnTo>
                    <a:lnTo>
                      <a:pt x="302" y="63"/>
                    </a:lnTo>
                    <a:lnTo>
                      <a:pt x="302" y="61"/>
                    </a:lnTo>
                    <a:lnTo>
                      <a:pt x="304" y="61"/>
                    </a:lnTo>
                    <a:lnTo>
                      <a:pt x="304" y="63"/>
                    </a:lnTo>
                    <a:lnTo>
                      <a:pt x="302" y="63"/>
                    </a:lnTo>
                    <a:lnTo>
                      <a:pt x="304" y="63"/>
                    </a:lnTo>
                    <a:lnTo>
                      <a:pt x="304" y="61"/>
                    </a:lnTo>
                    <a:lnTo>
                      <a:pt x="306" y="61"/>
                    </a:lnTo>
                    <a:lnTo>
                      <a:pt x="307" y="61"/>
                    </a:lnTo>
                    <a:lnTo>
                      <a:pt x="309" y="60"/>
                    </a:lnTo>
                    <a:lnTo>
                      <a:pt x="309" y="58"/>
                    </a:lnTo>
                    <a:lnTo>
                      <a:pt x="309" y="60"/>
                    </a:lnTo>
                    <a:lnTo>
                      <a:pt x="311" y="60"/>
                    </a:lnTo>
                    <a:lnTo>
                      <a:pt x="312" y="60"/>
                    </a:lnTo>
                    <a:lnTo>
                      <a:pt x="314" y="60"/>
                    </a:lnTo>
                    <a:lnTo>
                      <a:pt x="316" y="60"/>
                    </a:lnTo>
                    <a:lnTo>
                      <a:pt x="317" y="60"/>
                    </a:lnTo>
                    <a:lnTo>
                      <a:pt x="319" y="60"/>
                    </a:lnTo>
                    <a:lnTo>
                      <a:pt x="321" y="60"/>
                    </a:lnTo>
                    <a:lnTo>
                      <a:pt x="323" y="60"/>
                    </a:lnTo>
                    <a:lnTo>
                      <a:pt x="324" y="60"/>
                    </a:lnTo>
                    <a:lnTo>
                      <a:pt x="326" y="60"/>
                    </a:lnTo>
                    <a:lnTo>
                      <a:pt x="326" y="58"/>
                    </a:lnTo>
                    <a:lnTo>
                      <a:pt x="324" y="58"/>
                    </a:lnTo>
                    <a:lnTo>
                      <a:pt x="323" y="58"/>
                    </a:lnTo>
                    <a:lnTo>
                      <a:pt x="321" y="56"/>
                    </a:lnTo>
                    <a:lnTo>
                      <a:pt x="319" y="56"/>
                    </a:lnTo>
                    <a:lnTo>
                      <a:pt x="317" y="56"/>
                    </a:lnTo>
                    <a:lnTo>
                      <a:pt x="316" y="56"/>
                    </a:lnTo>
                    <a:lnTo>
                      <a:pt x="316" y="55"/>
                    </a:lnTo>
                    <a:lnTo>
                      <a:pt x="316" y="56"/>
                    </a:lnTo>
                    <a:lnTo>
                      <a:pt x="314" y="55"/>
                    </a:lnTo>
                    <a:lnTo>
                      <a:pt x="314" y="56"/>
                    </a:lnTo>
                    <a:lnTo>
                      <a:pt x="314" y="55"/>
                    </a:lnTo>
                    <a:lnTo>
                      <a:pt x="314" y="56"/>
                    </a:lnTo>
                    <a:lnTo>
                      <a:pt x="312" y="55"/>
                    </a:lnTo>
                    <a:lnTo>
                      <a:pt x="314" y="55"/>
                    </a:lnTo>
                    <a:lnTo>
                      <a:pt x="312" y="55"/>
                    </a:lnTo>
                    <a:lnTo>
                      <a:pt x="312" y="56"/>
                    </a:lnTo>
                    <a:lnTo>
                      <a:pt x="311" y="56"/>
                    </a:lnTo>
                    <a:lnTo>
                      <a:pt x="311" y="55"/>
                    </a:lnTo>
                    <a:lnTo>
                      <a:pt x="309" y="56"/>
                    </a:lnTo>
                    <a:lnTo>
                      <a:pt x="307" y="56"/>
                    </a:lnTo>
                    <a:lnTo>
                      <a:pt x="307" y="58"/>
                    </a:lnTo>
                    <a:lnTo>
                      <a:pt x="306" y="56"/>
                    </a:lnTo>
                    <a:lnTo>
                      <a:pt x="306" y="55"/>
                    </a:lnTo>
                    <a:lnTo>
                      <a:pt x="306" y="53"/>
                    </a:lnTo>
                    <a:lnTo>
                      <a:pt x="307" y="53"/>
                    </a:lnTo>
                    <a:lnTo>
                      <a:pt x="309" y="53"/>
                    </a:lnTo>
                    <a:lnTo>
                      <a:pt x="309" y="55"/>
                    </a:lnTo>
                    <a:lnTo>
                      <a:pt x="309" y="53"/>
                    </a:lnTo>
                    <a:lnTo>
                      <a:pt x="309" y="55"/>
                    </a:lnTo>
                    <a:lnTo>
                      <a:pt x="311" y="55"/>
                    </a:lnTo>
                    <a:lnTo>
                      <a:pt x="311" y="53"/>
                    </a:lnTo>
                    <a:lnTo>
                      <a:pt x="312" y="53"/>
                    </a:lnTo>
                    <a:lnTo>
                      <a:pt x="314" y="53"/>
                    </a:lnTo>
                    <a:lnTo>
                      <a:pt x="316" y="53"/>
                    </a:lnTo>
                    <a:lnTo>
                      <a:pt x="317" y="55"/>
                    </a:lnTo>
                    <a:lnTo>
                      <a:pt x="317" y="53"/>
                    </a:lnTo>
                    <a:lnTo>
                      <a:pt x="319" y="53"/>
                    </a:lnTo>
                    <a:lnTo>
                      <a:pt x="321" y="53"/>
                    </a:lnTo>
                    <a:lnTo>
                      <a:pt x="323" y="53"/>
                    </a:lnTo>
                    <a:lnTo>
                      <a:pt x="321" y="51"/>
                    </a:lnTo>
                    <a:lnTo>
                      <a:pt x="321" y="53"/>
                    </a:lnTo>
                    <a:lnTo>
                      <a:pt x="321" y="51"/>
                    </a:lnTo>
                    <a:lnTo>
                      <a:pt x="323" y="51"/>
                    </a:lnTo>
                    <a:lnTo>
                      <a:pt x="323" y="53"/>
                    </a:lnTo>
                    <a:lnTo>
                      <a:pt x="324" y="53"/>
                    </a:lnTo>
                    <a:lnTo>
                      <a:pt x="326" y="53"/>
                    </a:lnTo>
                    <a:lnTo>
                      <a:pt x="328" y="53"/>
                    </a:lnTo>
                    <a:lnTo>
                      <a:pt x="329" y="53"/>
                    </a:lnTo>
                    <a:lnTo>
                      <a:pt x="331" y="55"/>
                    </a:lnTo>
                    <a:lnTo>
                      <a:pt x="331" y="53"/>
                    </a:lnTo>
                    <a:lnTo>
                      <a:pt x="333" y="53"/>
                    </a:lnTo>
                    <a:lnTo>
                      <a:pt x="334" y="53"/>
                    </a:lnTo>
                    <a:lnTo>
                      <a:pt x="334" y="51"/>
                    </a:lnTo>
                    <a:lnTo>
                      <a:pt x="336" y="51"/>
                    </a:lnTo>
                    <a:lnTo>
                      <a:pt x="336" y="53"/>
                    </a:lnTo>
                    <a:lnTo>
                      <a:pt x="338" y="53"/>
                    </a:lnTo>
                    <a:lnTo>
                      <a:pt x="338" y="51"/>
                    </a:lnTo>
                    <a:lnTo>
                      <a:pt x="338" y="53"/>
                    </a:lnTo>
                    <a:lnTo>
                      <a:pt x="340" y="53"/>
                    </a:lnTo>
                    <a:lnTo>
                      <a:pt x="341" y="53"/>
                    </a:lnTo>
                    <a:lnTo>
                      <a:pt x="341" y="51"/>
                    </a:lnTo>
                    <a:lnTo>
                      <a:pt x="343" y="51"/>
                    </a:lnTo>
                    <a:lnTo>
                      <a:pt x="345" y="51"/>
                    </a:lnTo>
                    <a:lnTo>
                      <a:pt x="346" y="51"/>
                    </a:lnTo>
                    <a:lnTo>
                      <a:pt x="348" y="51"/>
                    </a:lnTo>
                    <a:lnTo>
                      <a:pt x="350" y="51"/>
                    </a:lnTo>
                    <a:lnTo>
                      <a:pt x="351" y="51"/>
                    </a:lnTo>
                    <a:lnTo>
                      <a:pt x="353" y="51"/>
                    </a:lnTo>
                    <a:lnTo>
                      <a:pt x="355" y="51"/>
                    </a:lnTo>
                    <a:lnTo>
                      <a:pt x="355" y="50"/>
                    </a:lnTo>
                    <a:lnTo>
                      <a:pt x="357" y="50"/>
                    </a:lnTo>
                    <a:lnTo>
                      <a:pt x="358" y="50"/>
                    </a:lnTo>
                    <a:lnTo>
                      <a:pt x="360" y="50"/>
                    </a:lnTo>
                    <a:lnTo>
                      <a:pt x="362" y="50"/>
                    </a:lnTo>
                    <a:lnTo>
                      <a:pt x="363" y="50"/>
                    </a:lnTo>
                    <a:lnTo>
                      <a:pt x="365" y="50"/>
                    </a:lnTo>
                    <a:lnTo>
                      <a:pt x="367" y="51"/>
                    </a:lnTo>
                    <a:lnTo>
                      <a:pt x="368" y="51"/>
                    </a:lnTo>
                    <a:lnTo>
                      <a:pt x="370" y="51"/>
                    </a:lnTo>
                    <a:lnTo>
                      <a:pt x="372" y="51"/>
                    </a:lnTo>
                    <a:lnTo>
                      <a:pt x="374" y="51"/>
                    </a:lnTo>
                    <a:lnTo>
                      <a:pt x="375" y="51"/>
                    </a:lnTo>
                    <a:lnTo>
                      <a:pt x="377" y="51"/>
                    </a:lnTo>
                    <a:lnTo>
                      <a:pt x="379" y="51"/>
                    </a:lnTo>
                    <a:lnTo>
                      <a:pt x="380" y="51"/>
                    </a:lnTo>
                    <a:lnTo>
                      <a:pt x="382" y="51"/>
                    </a:lnTo>
                    <a:lnTo>
                      <a:pt x="384" y="51"/>
                    </a:lnTo>
                    <a:lnTo>
                      <a:pt x="385" y="51"/>
                    </a:lnTo>
                    <a:lnTo>
                      <a:pt x="385" y="50"/>
                    </a:lnTo>
                    <a:lnTo>
                      <a:pt x="387" y="50"/>
                    </a:lnTo>
                    <a:lnTo>
                      <a:pt x="387" y="51"/>
                    </a:lnTo>
                    <a:lnTo>
                      <a:pt x="385" y="51"/>
                    </a:lnTo>
                    <a:lnTo>
                      <a:pt x="385" y="53"/>
                    </a:lnTo>
                    <a:lnTo>
                      <a:pt x="385" y="51"/>
                    </a:lnTo>
                    <a:lnTo>
                      <a:pt x="385" y="53"/>
                    </a:lnTo>
                    <a:lnTo>
                      <a:pt x="384" y="53"/>
                    </a:lnTo>
                    <a:lnTo>
                      <a:pt x="382" y="53"/>
                    </a:lnTo>
                    <a:lnTo>
                      <a:pt x="380" y="53"/>
                    </a:lnTo>
                    <a:lnTo>
                      <a:pt x="379" y="53"/>
                    </a:lnTo>
                    <a:lnTo>
                      <a:pt x="377" y="53"/>
                    </a:lnTo>
                    <a:lnTo>
                      <a:pt x="375" y="53"/>
                    </a:lnTo>
                    <a:lnTo>
                      <a:pt x="374" y="53"/>
                    </a:lnTo>
                    <a:lnTo>
                      <a:pt x="374" y="55"/>
                    </a:lnTo>
                    <a:lnTo>
                      <a:pt x="372" y="55"/>
                    </a:lnTo>
                    <a:lnTo>
                      <a:pt x="372" y="56"/>
                    </a:lnTo>
                    <a:lnTo>
                      <a:pt x="370" y="56"/>
                    </a:lnTo>
                    <a:lnTo>
                      <a:pt x="368" y="56"/>
                    </a:lnTo>
                    <a:lnTo>
                      <a:pt x="367" y="56"/>
                    </a:lnTo>
                    <a:lnTo>
                      <a:pt x="365" y="56"/>
                    </a:lnTo>
                    <a:lnTo>
                      <a:pt x="363" y="56"/>
                    </a:lnTo>
                    <a:lnTo>
                      <a:pt x="362" y="56"/>
                    </a:lnTo>
                    <a:lnTo>
                      <a:pt x="360" y="56"/>
                    </a:lnTo>
                    <a:lnTo>
                      <a:pt x="358" y="56"/>
                    </a:lnTo>
                    <a:lnTo>
                      <a:pt x="357" y="56"/>
                    </a:lnTo>
                    <a:lnTo>
                      <a:pt x="355" y="56"/>
                    </a:lnTo>
                    <a:lnTo>
                      <a:pt x="353" y="58"/>
                    </a:lnTo>
                    <a:lnTo>
                      <a:pt x="355" y="58"/>
                    </a:lnTo>
                    <a:lnTo>
                      <a:pt x="357" y="58"/>
                    </a:lnTo>
                    <a:lnTo>
                      <a:pt x="357" y="60"/>
                    </a:lnTo>
                    <a:lnTo>
                      <a:pt x="358" y="60"/>
                    </a:lnTo>
                    <a:lnTo>
                      <a:pt x="358" y="61"/>
                    </a:lnTo>
                    <a:lnTo>
                      <a:pt x="360" y="63"/>
                    </a:lnTo>
                    <a:lnTo>
                      <a:pt x="360" y="65"/>
                    </a:lnTo>
                    <a:lnTo>
                      <a:pt x="360" y="67"/>
                    </a:lnTo>
                    <a:lnTo>
                      <a:pt x="360" y="68"/>
                    </a:lnTo>
                    <a:lnTo>
                      <a:pt x="360" y="70"/>
                    </a:lnTo>
                    <a:lnTo>
                      <a:pt x="362" y="70"/>
                    </a:lnTo>
                    <a:lnTo>
                      <a:pt x="362" y="68"/>
                    </a:lnTo>
                    <a:lnTo>
                      <a:pt x="362" y="67"/>
                    </a:lnTo>
                    <a:lnTo>
                      <a:pt x="363" y="68"/>
                    </a:lnTo>
                    <a:lnTo>
                      <a:pt x="365" y="68"/>
                    </a:lnTo>
                    <a:lnTo>
                      <a:pt x="365" y="70"/>
                    </a:lnTo>
                    <a:lnTo>
                      <a:pt x="367" y="70"/>
                    </a:lnTo>
                    <a:lnTo>
                      <a:pt x="367" y="72"/>
                    </a:lnTo>
                    <a:lnTo>
                      <a:pt x="367" y="73"/>
                    </a:lnTo>
                    <a:lnTo>
                      <a:pt x="367" y="75"/>
                    </a:lnTo>
                    <a:lnTo>
                      <a:pt x="368" y="75"/>
                    </a:lnTo>
                    <a:lnTo>
                      <a:pt x="368" y="77"/>
                    </a:lnTo>
                    <a:lnTo>
                      <a:pt x="367" y="77"/>
                    </a:lnTo>
                    <a:lnTo>
                      <a:pt x="368" y="78"/>
                    </a:lnTo>
                    <a:lnTo>
                      <a:pt x="370" y="78"/>
                    </a:lnTo>
                    <a:lnTo>
                      <a:pt x="370" y="80"/>
                    </a:lnTo>
                    <a:lnTo>
                      <a:pt x="370" y="78"/>
                    </a:lnTo>
                    <a:lnTo>
                      <a:pt x="372" y="78"/>
                    </a:lnTo>
                    <a:lnTo>
                      <a:pt x="370" y="77"/>
                    </a:lnTo>
                    <a:lnTo>
                      <a:pt x="372" y="77"/>
                    </a:lnTo>
                    <a:lnTo>
                      <a:pt x="374" y="77"/>
                    </a:lnTo>
                    <a:lnTo>
                      <a:pt x="375" y="75"/>
                    </a:lnTo>
                    <a:lnTo>
                      <a:pt x="377" y="75"/>
                    </a:lnTo>
                    <a:lnTo>
                      <a:pt x="379" y="75"/>
                    </a:lnTo>
                    <a:lnTo>
                      <a:pt x="380" y="77"/>
                    </a:lnTo>
                    <a:lnTo>
                      <a:pt x="382" y="77"/>
                    </a:lnTo>
                    <a:lnTo>
                      <a:pt x="382" y="78"/>
                    </a:lnTo>
                    <a:lnTo>
                      <a:pt x="384" y="78"/>
                    </a:lnTo>
                    <a:lnTo>
                      <a:pt x="385" y="80"/>
                    </a:lnTo>
                    <a:lnTo>
                      <a:pt x="385" y="82"/>
                    </a:lnTo>
                    <a:lnTo>
                      <a:pt x="387" y="82"/>
                    </a:lnTo>
                    <a:lnTo>
                      <a:pt x="389" y="82"/>
                    </a:lnTo>
                    <a:lnTo>
                      <a:pt x="391" y="82"/>
                    </a:lnTo>
                    <a:lnTo>
                      <a:pt x="392" y="82"/>
                    </a:lnTo>
                    <a:lnTo>
                      <a:pt x="394" y="82"/>
                    </a:lnTo>
                    <a:lnTo>
                      <a:pt x="396" y="82"/>
                    </a:lnTo>
                    <a:lnTo>
                      <a:pt x="394" y="82"/>
                    </a:lnTo>
                    <a:lnTo>
                      <a:pt x="396" y="82"/>
                    </a:lnTo>
                    <a:lnTo>
                      <a:pt x="396" y="80"/>
                    </a:lnTo>
                    <a:lnTo>
                      <a:pt x="394" y="80"/>
                    </a:lnTo>
                    <a:lnTo>
                      <a:pt x="396" y="80"/>
                    </a:lnTo>
                    <a:lnTo>
                      <a:pt x="394" y="80"/>
                    </a:lnTo>
                    <a:lnTo>
                      <a:pt x="394" y="78"/>
                    </a:lnTo>
                    <a:lnTo>
                      <a:pt x="396" y="80"/>
                    </a:lnTo>
                    <a:lnTo>
                      <a:pt x="397" y="80"/>
                    </a:lnTo>
                    <a:lnTo>
                      <a:pt x="399" y="82"/>
                    </a:lnTo>
                    <a:lnTo>
                      <a:pt x="401" y="82"/>
                    </a:lnTo>
                    <a:lnTo>
                      <a:pt x="401" y="84"/>
                    </a:lnTo>
                    <a:lnTo>
                      <a:pt x="401" y="82"/>
                    </a:lnTo>
                    <a:lnTo>
                      <a:pt x="399" y="82"/>
                    </a:lnTo>
                    <a:lnTo>
                      <a:pt x="399" y="80"/>
                    </a:lnTo>
                    <a:lnTo>
                      <a:pt x="399" y="82"/>
                    </a:lnTo>
                    <a:lnTo>
                      <a:pt x="401" y="82"/>
                    </a:lnTo>
                    <a:lnTo>
                      <a:pt x="402" y="82"/>
                    </a:lnTo>
                    <a:lnTo>
                      <a:pt x="402" y="84"/>
                    </a:lnTo>
                    <a:lnTo>
                      <a:pt x="404" y="84"/>
                    </a:lnTo>
                    <a:lnTo>
                      <a:pt x="404" y="85"/>
                    </a:lnTo>
                    <a:lnTo>
                      <a:pt x="406" y="85"/>
                    </a:lnTo>
                    <a:lnTo>
                      <a:pt x="406" y="87"/>
                    </a:lnTo>
                    <a:lnTo>
                      <a:pt x="408" y="87"/>
                    </a:lnTo>
                    <a:lnTo>
                      <a:pt x="408" y="89"/>
                    </a:lnTo>
                    <a:lnTo>
                      <a:pt x="409" y="89"/>
                    </a:lnTo>
                    <a:lnTo>
                      <a:pt x="411" y="90"/>
                    </a:lnTo>
                    <a:lnTo>
                      <a:pt x="413" y="90"/>
                    </a:lnTo>
                    <a:lnTo>
                      <a:pt x="414" y="90"/>
                    </a:lnTo>
                    <a:lnTo>
                      <a:pt x="416" y="90"/>
                    </a:lnTo>
                    <a:lnTo>
                      <a:pt x="416" y="92"/>
                    </a:lnTo>
                    <a:lnTo>
                      <a:pt x="418" y="92"/>
                    </a:lnTo>
                    <a:lnTo>
                      <a:pt x="419" y="94"/>
                    </a:lnTo>
                    <a:lnTo>
                      <a:pt x="421" y="94"/>
                    </a:lnTo>
                    <a:lnTo>
                      <a:pt x="421" y="96"/>
                    </a:lnTo>
                    <a:lnTo>
                      <a:pt x="423" y="96"/>
                    </a:lnTo>
                    <a:lnTo>
                      <a:pt x="423" y="97"/>
                    </a:lnTo>
                    <a:lnTo>
                      <a:pt x="423" y="99"/>
                    </a:lnTo>
                    <a:lnTo>
                      <a:pt x="423" y="101"/>
                    </a:lnTo>
                    <a:lnTo>
                      <a:pt x="421" y="101"/>
                    </a:lnTo>
                    <a:lnTo>
                      <a:pt x="419" y="101"/>
                    </a:lnTo>
                    <a:lnTo>
                      <a:pt x="419" y="102"/>
                    </a:lnTo>
                    <a:lnTo>
                      <a:pt x="418" y="102"/>
                    </a:lnTo>
                    <a:lnTo>
                      <a:pt x="418" y="104"/>
                    </a:lnTo>
                    <a:lnTo>
                      <a:pt x="419" y="104"/>
                    </a:lnTo>
                    <a:lnTo>
                      <a:pt x="419" y="102"/>
                    </a:lnTo>
                    <a:lnTo>
                      <a:pt x="421" y="102"/>
                    </a:lnTo>
                    <a:lnTo>
                      <a:pt x="423" y="102"/>
                    </a:lnTo>
                    <a:lnTo>
                      <a:pt x="425" y="102"/>
                    </a:lnTo>
                    <a:lnTo>
                      <a:pt x="425" y="104"/>
                    </a:lnTo>
                    <a:lnTo>
                      <a:pt x="423" y="104"/>
                    </a:lnTo>
                    <a:lnTo>
                      <a:pt x="425" y="104"/>
                    </a:lnTo>
                    <a:lnTo>
                      <a:pt x="425" y="106"/>
                    </a:lnTo>
                    <a:lnTo>
                      <a:pt x="423" y="106"/>
                    </a:lnTo>
                    <a:lnTo>
                      <a:pt x="423" y="107"/>
                    </a:lnTo>
                    <a:lnTo>
                      <a:pt x="425" y="107"/>
                    </a:lnTo>
                    <a:lnTo>
                      <a:pt x="423" y="107"/>
                    </a:lnTo>
                    <a:lnTo>
                      <a:pt x="423" y="109"/>
                    </a:lnTo>
                    <a:lnTo>
                      <a:pt x="423" y="111"/>
                    </a:lnTo>
                    <a:lnTo>
                      <a:pt x="421" y="111"/>
                    </a:lnTo>
                    <a:lnTo>
                      <a:pt x="421" y="109"/>
                    </a:lnTo>
                    <a:lnTo>
                      <a:pt x="421" y="111"/>
                    </a:lnTo>
                    <a:lnTo>
                      <a:pt x="423" y="111"/>
                    </a:lnTo>
                    <a:lnTo>
                      <a:pt x="425" y="111"/>
                    </a:lnTo>
                    <a:lnTo>
                      <a:pt x="423" y="111"/>
                    </a:lnTo>
                    <a:lnTo>
                      <a:pt x="423" y="113"/>
                    </a:lnTo>
                    <a:lnTo>
                      <a:pt x="421" y="113"/>
                    </a:lnTo>
                    <a:lnTo>
                      <a:pt x="421" y="114"/>
                    </a:lnTo>
                    <a:lnTo>
                      <a:pt x="423" y="114"/>
                    </a:lnTo>
                    <a:lnTo>
                      <a:pt x="425" y="114"/>
                    </a:lnTo>
                    <a:lnTo>
                      <a:pt x="423" y="114"/>
                    </a:lnTo>
                    <a:lnTo>
                      <a:pt x="423" y="116"/>
                    </a:lnTo>
                    <a:lnTo>
                      <a:pt x="425" y="116"/>
                    </a:lnTo>
                    <a:lnTo>
                      <a:pt x="426" y="116"/>
                    </a:lnTo>
                    <a:lnTo>
                      <a:pt x="426" y="118"/>
                    </a:lnTo>
                    <a:lnTo>
                      <a:pt x="425" y="118"/>
                    </a:lnTo>
                    <a:lnTo>
                      <a:pt x="425" y="119"/>
                    </a:lnTo>
                    <a:lnTo>
                      <a:pt x="423" y="119"/>
                    </a:lnTo>
                    <a:lnTo>
                      <a:pt x="423" y="121"/>
                    </a:lnTo>
                    <a:lnTo>
                      <a:pt x="421" y="121"/>
                    </a:lnTo>
                    <a:lnTo>
                      <a:pt x="419" y="121"/>
                    </a:lnTo>
                    <a:lnTo>
                      <a:pt x="419" y="123"/>
                    </a:lnTo>
                    <a:lnTo>
                      <a:pt x="418" y="123"/>
                    </a:lnTo>
                    <a:lnTo>
                      <a:pt x="416" y="123"/>
                    </a:lnTo>
                    <a:lnTo>
                      <a:pt x="416" y="124"/>
                    </a:lnTo>
                    <a:lnTo>
                      <a:pt x="414" y="126"/>
                    </a:lnTo>
                    <a:lnTo>
                      <a:pt x="416" y="126"/>
                    </a:lnTo>
                    <a:lnTo>
                      <a:pt x="416" y="124"/>
                    </a:lnTo>
                    <a:lnTo>
                      <a:pt x="418" y="124"/>
                    </a:lnTo>
                    <a:lnTo>
                      <a:pt x="419" y="123"/>
                    </a:lnTo>
                    <a:lnTo>
                      <a:pt x="421" y="124"/>
                    </a:lnTo>
                    <a:lnTo>
                      <a:pt x="423" y="124"/>
                    </a:lnTo>
                    <a:lnTo>
                      <a:pt x="425" y="123"/>
                    </a:lnTo>
                    <a:lnTo>
                      <a:pt x="426" y="123"/>
                    </a:lnTo>
                    <a:lnTo>
                      <a:pt x="426" y="124"/>
                    </a:lnTo>
                    <a:lnTo>
                      <a:pt x="428" y="124"/>
                    </a:lnTo>
                    <a:lnTo>
                      <a:pt x="430" y="124"/>
                    </a:lnTo>
                    <a:lnTo>
                      <a:pt x="430" y="126"/>
                    </a:lnTo>
                    <a:lnTo>
                      <a:pt x="431" y="126"/>
                    </a:lnTo>
                    <a:lnTo>
                      <a:pt x="433" y="126"/>
                    </a:lnTo>
                    <a:lnTo>
                      <a:pt x="435" y="126"/>
                    </a:lnTo>
                    <a:lnTo>
                      <a:pt x="435" y="124"/>
                    </a:lnTo>
                    <a:lnTo>
                      <a:pt x="436" y="124"/>
                    </a:lnTo>
                    <a:lnTo>
                      <a:pt x="435" y="123"/>
                    </a:lnTo>
                    <a:lnTo>
                      <a:pt x="436" y="123"/>
                    </a:lnTo>
                    <a:lnTo>
                      <a:pt x="438" y="123"/>
                    </a:lnTo>
                    <a:lnTo>
                      <a:pt x="440" y="123"/>
                    </a:lnTo>
                    <a:lnTo>
                      <a:pt x="442" y="123"/>
                    </a:lnTo>
                    <a:lnTo>
                      <a:pt x="443" y="123"/>
                    </a:lnTo>
                    <a:lnTo>
                      <a:pt x="445" y="123"/>
                    </a:lnTo>
                    <a:lnTo>
                      <a:pt x="447" y="123"/>
                    </a:lnTo>
                    <a:lnTo>
                      <a:pt x="447" y="124"/>
                    </a:lnTo>
                    <a:lnTo>
                      <a:pt x="448" y="124"/>
                    </a:lnTo>
                    <a:lnTo>
                      <a:pt x="450" y="124"/>
                    </a:lnTo>
                    <a:lnTo>
                      <a:pt x="450" y="126"/>
                    </a:lnTo>
                    <a:close/>
                    <a:moveTo>
                      <a:pt x="321" y="38"/>
                    </a:moveTo>
                    <a:lnTo>
                      <a:pt x="321" y="39"/>
                    </a:lnTo>
                    <a:lnTo>
                      <a:pt x="321" y="41"/>
                    </a:lnTo>
                    <a:lnTo>
                      <a:pt x="323" y="41"/>
                    </a:lnTo>
                    <a:lnTo>
                      <a:pt x="321" y="41"/>
                    </a:lnTo>
                    <a:lnTo>
                      <a:pt x="321" y="43"/>
                    </a:lnTo>
                    <a:lnTo>
                      <a:pt x="319" y="43"/>
                    </a:lnTo>
                    <a:lnTo>
                      <a:pt x="319" y="44"/>
                    </a:lnTo>
                    <a:lnTo>
                      <a:pt x="317" y="44"/>
                    </a:lnTo>
                    <a:lnTo>
                      <a:pt x="316" y="43"/>
                    </a:lnTo>
                    <a:lnTo>
                      <a:pt x="317" y="44"/>
                    </a:lnTo>
                    <a:lnTo>
                      <a:pt x="316" y="44"/>
                    </a:lnTo>
                    <a:lnTo>
                      <a:pt x="317" y="44"/>
                    </a:lnTo>
                    <a:lnTo>
                      <a:pt x="316" y="44"/>
                    </a:lnTo>
                    <a:lnTo>
                      <a:pt x="314" y="44"/>
                    </a:lnTo>
                    <a:lnTo>
                      <a:pt x="314" y="46"/>
                    </a:lnTo>
                    <a:lnTo>
                      <a:pt x="312" y="46"/>
                    </a:lnTo>
                    <a:lnTo>
                      <a:pt x="312" y="44"/>
                    </a:lnTo>
                    <a:lnTo>
                      <a:pt x="311" y="44"/>
                    </a:lnTo>
                    <a:lnTo>
                      <a:pt x="311" y="43"/>
                    </a:lnTo>
                    <a:lnTo>
                      <a:pt x="311" y="44"/>
                    </a:lnTo>
                    <a:lnTo>
                      <a:pt x="311" y="43"/>
                    </a:lnTo>
                    <a:lnTo>
                      <a:pt x="309" y="43"/>
                    </a:lnTo>
                    <a:lnTo>
                      <a:pt x="309" y="41"/>
                    </a:lnTo>
                    <a:lnTo>
                      <a:pt x="311" y="41"/>
                    </a:lnTo>
                    <a:lnTo>
                      <a:pt x="311" y="43"/>
                    </a:lnTo>
                    <a:lnTo>
                      <a:pt x="311" y="41"/>
                    </a:lnTo>
                    <a:lnTo>
                      <a:pt x="311" y="43"/>
                    </a:lnTo>
                    <a:lnTo>
                      <a:pt x="312" y="41"/>
                    </a:lnTo>
                    <a:lnTo>
                      <a:pt x="314" y="43"/>
                    </a:lnTo>
                    <a:lnTo>
                      <a:pt x="314" y="41"/>
                    </a:lnTo>
                    <a:lnTo>
                      <a:pt x="312" y="41"/>
                    </a:lnTo>
                    <a:lnTo>
                      <a:pt x="311" y="41"/>
                    </a:lnTo>
                    <a:lnTo>
                      <a:pt x="309" y="41"/>
                    </a:lnTo>
                    <a:lnTo>
                      <a:pt x="309" y="43"/>
                    </a:lnTo>
                    <a:lnTo>
                      <a:pt x="307" y="43"/>
                    </a:lnTo>
                    <a:lnTo>
                      <a:pt x="306" y="43"/>
                    </a:lnTo>
                    <a:lnTo>
                      <a:pt x="304" y="43"/>
                    </a:lnTo>
                    <a:lnTo>
                      <a:pt x="302" y="43"/>
                    </a:lnTo>
                    <a:lnTo>
                      <a:pt x="300" y="43"/>
                    </a:lnTo>
                    <a:lnTo>
                      <a:pt x="300" y="41"/>
                    </a:lnTo>
                    <a:lnTo>
                      <a:pt x="302" y="41"/>
                    </a:lnTo>
                    <a:lnTo>
                      <a:pt x="302" y="39"/>
                    </a:lnTo>
                    <a:lnTo>
                      <a:pt x="304" y="39"/>
                    </a:lnTo>
                    <a:lnTo>
                      <a:pt x="306" y="39"/>
                    </a:lnTo>
                    <a:lnTo>
                      <a:pt x="307" y="38"/>
                    </a:lnTo>
                    <a:lnTo>
                      <a:pt x="309" y="38"/>
                    </a:lnTo>
                    <a:lnTo>
                      <a:pt x="309" y="39"/>
                    </a:lnTo>
                    <a:lnTo>
                      <a:pt x="307" y="39"/>
                    </a:lnTo>
                    <a:lnTo>
                      <a:pt x="309" y="39"/>
                    </a:lnTo>
                    <a:lnTo>
                      <a:pt x="309" y="41"/>
                    </a:lnTo>
                    <a:lnTo>
                      <a:pt x="311" y="41"/>
                    </a:lnTo>
                    <a:lnTo>
                      <a:pt x="312" y="41"/>
                    </a:lnTo>
                    <a:lnTo>
                      <a:pt x="314" y="41"/>
                    </a:lnTo>
                    <a:lnTo>
                      <a:pt x="314" y="39"/>
                    </a:lnTo>
                    <a:lnTo>
                      <a:pt x="316" y="39"/>
                    </a:lnTo>
                    <a:lnTo>
                      <a:pt x="316" y="38"/>
                    </a:lnTo>
                    <a:lnTo>
                      <a:pt x="317" y="38"/>
                    </a:lnTo>
                    <a:lnTo>
                      <a:pt x="317" y="36"/>
                    </a:lnTo>
                    <a:lnTo>
                      <a:pt x="319" y="36"/>
                    </a:lnTo>
                    <a:lnTo>
                      <a:pt x="319" y="34"/>
                    </a:lnTo>
                    <a:lnTo>
                      <a:pt x="319" y="36"/>
                    </a:lnTo>
                    <a:lnTo>
                      <a:pt x="321" y="36"/>
                    </a:lnTo>
                    <a:lnTo>
                      <a:pt x="321" y="38"/>
                    </a:lnTo>
                    <a:close/>
                    <a:moveTo>
                      <a:pt x="272" y="43"/>
                    </a:moveTo>
                    <a:lnTo>
                      <a:pt x="273" y="43"/>
                    </a:lnTo>
                    <a:lnTo>
                      <a:pt x="275" y="43"/>
                    </a:lnTo>
                    <a:lnTo>
                      <a:pt x="275" y="44"/>
                    </a:lnTo>
                    <a:lnTo>
                      <a:pt x="273" y="44"/>
                    </a:lnTo>
                    <a:lnTo>
                      <a:pt x="272" y="44"/>
                    </a:lnTo>
                    <a:lnTo>
                      <a:pt x="270" y="44"/>
                    </a:lnTo>
                    <a:lnTo>
                      <a:pt x="268" y="44"/>
                    </a:lnTo>
                    <a:lnTo>
                      <a:pt x="266" y="44"/>
                    </a:lnTo>
                    <a:lnTo>
                      <a:pt x="266" y="43"/>
                    </a:lnTo>
                    <a:lnTo>
                      <a:pt x="268" y="43"/>
                    </a:lnTo>
                    <a:lnTo>
                      <a:pt x="268" y="41"/>
                    </a:lnTo>
                    <a:lnTo>
                      <a:pt x="270" y="41"/>
                    </a:lnTo>
                    <a:lnTo>
                      <a:pt x="272" y="41"/>
                    </a:lnTo>
                    <a:lnTo>
                      <a:pt x="272" y="43"/>
                    </a:lnTo>
                    <a:close/>
                    <a:moveTo>
                      <a:pt x="294" y="10"/>
                    </a:moveTo>
                    <a:lnTo>
                      <a:pt x="295" y="10"/>
                    </a:lnTo>
                    <a:lnTo>
                      <a:pt x="295" y="14"/>
                    </a:lnTo>
                    <a:lnTo>
                      <a:pt x="294" y="14"/>
                    </a:lnTo>
                    <a:lnTo>
                      <a:pt x="294" y="10"/>
                    </a:lnTo>
                    <a:close/>
                    <a:moveTo>
                      <a:pt x="316" y="48"/>
                    </a:moveTo>
                    <a:lnTo>
                      <a:pt x="317" y="48"/>
                    </a:lnTo>
                    <a:lnTo>
                      <a:pt x="319" y="50"/>
                    </a:lnTo>
                    <a:lnTo>
                      <a:pt x="317" y="50"/>
                    </a:lnTo>
                    <a:lnTo>
                      <a:pt x="316" y="50"/>
                    </a:lnTo>
                    <a:lnTo>
                      <a:pt x="317" y="50"/>
                    </a:lnTo>
                    <a:lnTo>
                      <a:pt x="316" y="50"/>
                    </a:lnTo>
                    <a:lnTo>
                      <a:pt x="314" y="48"/>
                    </a:lnTo>
                    <a:lnTo>
                      <a:pt x="316" y="48"/>
                    </a:lnTo>
                    <a:close/>
                    <a:moveTo>
                      <a:pt x="244" y="14"/>
                    </a:moveTo>
                    <a:lnTo>
                      <a:pt x="243" y="14"/>
                    </a:lnTo>
                    <a:lnTo>
                      <a:pt x="241" y="14"/>
                    </a:lnTo>
                    <a:lnTo>
                      <a:pt x="241" y="12"/>
                    </a:lnTo>
                    <a:lnTo>
                      <a:pt x="243" y="12"/>
                    </a:lnTo>
                    <a:lnTo>
                      <a:pt x="244" y="14"/>
                    </a:lnTo>
                    <a:close/>
                    <a:moveTo>
                      <a:pt x="307" y="46"/>
                    </a:moveTo>
                    <a:lnTo>
                      <a:pt x="311" y="46"/>
                    </a:lnTo>
                    <a:lnTo>
                      <a:pt x="311" y="48"/>
                    </a:lnTo>
                    <a:lnTo>
                      <a:pt x="307" y="48"/>
                    </a:lnTo>
                    <a:lnTo>
                      <a:pt x="307" y="46"/>
                    </a:lnTo>
                    <a:close/>
                    <a:moveTo>
                      <a:pt x="227" y="14"/>
                    </a:moveTo>
                    <a:lnTo>
                      <a:pt x="227" y="16"/>
                    </a:lnTo>
                    <a:lnTo>
                      <a:pt x="226" y="16"/>
                    </a:lnTo>
                    <a:lnTo>
                      <a:pt x="224" y="16"/>
                    </a:lnTo>
                    <a:lnTo>
                      <a:pt x="224" y="14"/>
                    </a:lnTo>
                    <a:lnTo>
                      <a:pt x="224" y="16"/>
                    </a:lnTo>
                    <a:lnTo>
                      <a:pt x="226" y="16"/>
                    </a:lnTo>
                    <a:lnTo>
                      <a:pt x="226" y="14"/>
                    </a:lnTo>
                    <a:lnTo>
                      <a:pt x="227" y="14"/>
                    </a:lnTo>
                    <a:lnTo>
                      <a:pt x="226" y="12"/>
                    </a:lnTo>
                    <a:lnTo>
                      <a:pt x="227" y="14"/>
                    </a:lnTo>
                    <a:close/>
                    <a:moveTo>
                      <a:pt x="59" y="41"/>
                    </a:moveTo>
                    <a:lnTo>
                      <a:pt x="61" y="41"/>
                    </a:lnTo>
                    <a:lnTo>
                      <a:pt x="61" y="43"/>
                    </a:lnTo>
                    <a:lnTo>
                      <a:pt x="59" y="43"/>
                    </a:lnTo>
                    <a:lnTo>
                      <a:pt x="59" y="41"/>
                    </a:lnTo>
                    <a:close/>
                    <a:moveTo>
                      <a:pt x="292" y="65"/>
                    </a:moveTo>
                    <a:lnTo>
                      <a:pt x="294" y="65"/>
                    </a:lnTo>
                    <a:lnTo>
                      <a:pt x="294" y="67"/>
                    </a:lnTo>
                    <a:lnTo>
                      <a:pt x="292" y="67"/>
                    </a:lnTo>
                    <a:lnTo>
                      <a:pt x="292" y="65"/>
                    </a:lnTo>
                    <a:close/>
                    <a:moveTo>
                      <a:pt x="289" y="65"/>
                    </a:moveTo>
                    <a:lnTo>
                      <a:pt x="290" y="65"/>
                    </a:lnTo>
                    <a:lnTo>
                      <a:pt x="290" y="67"/>
                    </a:lnTo>
                    <a:lnTo>
                      <a:pt x="289" y="67"/>
                    </a:lnTo>
                    <a:lnTo>
                      <a:pt x="289" y="65"/>
                    </a:lnTo>
                    <a:close/>
                    <a:moveTo>
                      <a:pt x="57" y="41"/>
                    </a:moveTo>
                    <a:lnTo>
                      <a:pt x="57" y="43"/>
                    </a:lnTo>
                    <a:lnTo>
                      <a:pt x="57" y="41"/>
                    </a:lnTo>
                    <a:close/>
                    <a:moveTo>
                      <a:pt x="56" y="43"/>
                    </a:moveTo>
                    <a:lnTo>
                      <a:pt x="57" y="43"/>
                    </a:lnTo>
                    <a:lnTo>
                      <a:pt x="56" y="43"/>
                    </a:lnTo>
                    <a:close/>
                    <a:moveTo>
                      <a:pt x="300" y="61"/>
                    </a:moveTo>
                    <a:lnTo>
                      <a:pt x="300" y="63"/>
                    </a:lnTo>
                    <a:lnTo>
                      <a:pt x="300" y="61"/>
                    </a:lnTo>
                    <a:close/>
                    <a:moveTo>
                      <a:pt x="345" y="27"/>
                    </a:moveTo>
                    <a:lnTo>
                      <a:pt x="345" y="29"/>
                    </a:lnTo>
                    <a:lnTo>
                      <a:pt x="345" y="27"/>
                    </a:lnTo>
                    <a:close/>
                    <a:moveTo>
                      <a:pt x="221" y="10"/>
                    </a:moveTo>
                    <a:lnTo>
                      <a:pt x="221" y="12"/>
                    </a:lnTo>
                    <a:lnTo>
                      <a:pt x="222" y="12"/>
                    </a:lnTo>
                    <a:lnTo>
                      <a:pt x="224" y="10"/>
                    </a:lnTo>
                    <a:lnTo>
                      <a:pt x="224" y="12"/>
                    </a:lnTo>
                    <a:lnTo>
                      <a:pt x="222" y="12"/>
                    </a:lnTo>
                    <a:lnTo>
                      <a:pt x="221" y="12"/>
                    </a:lnTo>
                    <a:lnTo>
                      <a:pt x="221" y="10"/>
                    </a:lnTo>
                    <a:lnTo>
                      <a:pt x="219" y="10"/>
                    </a:lnTo>
                    <a:lnTo>
                      <a:pt x="221" y="10"/>
                    </a:lnTo>
                    <a:close/>
                    <a:moveTo>
                      <a:pt x="299" y="63"/>
                    </a:moveTo>
                    <a:lnTo>
                      <a:pt x="300" y="63"/>
                    </a:lnTo>
                    <a:lnTo>
                      <a:pt x="299" y="63"/>
                    </a:lnTo>
                    <a:close/>
                    <a:moveTo>
                      <a:pt x="170" y="46"/>
                    </a:moveTo>
                    <a:lnTo>
                      <a:pt x="170" y="48"/>
                    </a:lnTo>
                    <a:lnTo>
                      <a:pt x="170" y="46"/>
                    </a:lnTo>
                    <a:close/>
                    <a:moveTo>
                      <a:pt x="243" y="10"/>
                    </a:moveTo>
                    <a:lnTo>
                      <a:pt x="244" y="10"/>
                    </a:lnTo>
                    <a:lnTo>
                      <a:pt x="244" y="12"/>
                    </a:lnTo>
                    <a:lnTo>
                      <a:pt x="243" y="12"/>
                    </a:lnTo>
                    <a:lnTo>
                      <a:pt x="243" y="10"/>
                    </a:lnTo>
                    <a:close/>
                    <a:moveTo>
                      <a:pt x="282" y="70"/>
                    </a:moveTo>
                    <a:lnTo>
                      <a:pt x="283" y="70"/>
                    </a:lnTo>
                    <a:lnTo>
                      <a:pt x="282" y="70"/>
                    </a:lnTo>
                    <a:close/>
                    <a:moveTo>
                      <a:pt x="227" y="12"/>
                    </a:moveTo>
                    <a:lnTo>
                      <a:pt x="227" y="14"/>
                    </a:lnTo>
                    <a:lnTo>
                      <a:pt x="227" y="12"/>
                    </a:lnTo>
                    <a:close/>
                    <a:moveTo>
                      <a:pt x="224" y="9"/>
                    </a:moveTo>
                    <a:lnTo>
                      <a:pt x="226" y="9"/>
                    </a:lnTo>
                    <a:lnTo>
                      <a:pt x="224" y="9"/>
                    </a:lnTo>
                    <a:close/>
                    <a:moveTo>
                      <a:pt x="300" y="63"/>
                    </a:moveTo>
                    <a:lnTo>
                      <a:pt x="302" y="63"/>
                    </a:lnTo>
                    <a:lnTo>
                      <a:pt x="300" y="63"/>
                    </a:lnTo>
                    <a:close/>
                    <a:moveTo>
                      <a:pt x="226" y="10"/>
                    </a:moveTo>
                    <a:lnTo>
                      <a:pt x="227" y="10"/>
                    </a:lnTo>
                    <a:lnTo>
                      <a:pt x="227" y="12"/>
                    </a:lnTo>
                    <a:lnTo>
                      <a:pt x="226" y="12"/>
                    </a:lnTo>
                    <a:lnTo>
                      <a:pt x="226" y="10"/>
                    </a:lnTo>
                    <a:close/>
                    <a:moveTo>
                      <a:pt x="59" y="43"/>
                    </a:moveTo>
                    <a:lnTo>
                      <a:pt x="59" y="44"/>
                    </a:lnTo>
                    <a:lnTo>
                      <a:pt x="59" y="43"/>
                    </a:lnTo>
                    <a:close/>
                    <a:moveTo>
                      <a:pt x="170" y="46"/>
                    </a:moveTo>
                    <a:lnTo>
                      <a:pt x="171" y="46"/>
                    </a:lnTo>
                    <a:lnTo>
                      <a:pt x="171" y="48"/>
                    </a:lnTo>
                    <a:lnTo>
                      <a:pt x="170" y="48"/>
                    </a:lnTo>
                    <a:lnTo>
                      <a:pt x="170" y="46"/>
                    </a:lnTo>
                    <a:close/>
                    <a:moveTo>
                      <a:pt x="222" y="14"/>
                    </a:moveTo>
                    <a:lnTo>
                      <a:pt x="222" y="16"/>
                    </a:lnTo>
                    <a:lnTo>
                      <a:pt x="221" y="16"/>
                    </a:lnTo>
                    <a:lnTo>
                      <a:pt x="219" y="16"/>
                    </a:lnTo>
                    <a:lnTo>
                      <a:pt x="221" y="16"/>
                    </a:lnTo>
                    <a:lnTo>
                      <a:pt x="222" y="16"/>
                    </a:lnTo>
                    <a:lnTo>
                      <a:pt x="222" y="14"/>
                    </a:lnTo>
                    <a:close/>
                    <a:moveTo>
                      <a:pt x="295" y="67"/>
                    </a:moveTo>
                    <a:lnTo>
                      <a:pt x="297" y="67"/>
                    </a:lnTo>
                    <a:lnTo>
                      <a:pt x="295" y="67"/>
                    </a:lnTo>
                    <a:close/>
                    <a:moveTo>
                      <a:pt x="171" y="46"/>
                    </a:moveTo>
                    <a:lnTo>
                      <a:pt x="171" y="48"/>
                    </a:lnTo>
                    <a:lnTo>
                      <a:pt x="171" y="46"/>
                    </a:lnTo>
                    <a:close/>
                    <a:moveTo>
                      <a:pt x="61" y="43"/>
                    </a:moveTo>
                    <a:lnTo>
                      <a:pt x="62" y="43"/>
                    </a:lnTo>
                    <a:lnTo>
                      <a:pt x="61" y="43"/>
                    </a:lnTo>
                    <a:close/>
                    <a:moveTo>
                      <a:pt x="190" y="7"/>
                    </a:moveTo>
                    <a:lnTo>
                      <a:pt x="192" y="7"/>
                    </a:lnTo>
                    <a:lnTo>
                      <a:pt x="190" y="7"/>
                    </a:lnTo>
                    <a:close/>
                    <a:moveTo>
                      <a:pt x="294" y="65"/>
                    </a:moveTo>
                    <a:lnTo>
                      <a:pt x="295" y="65"/>
                    </a:lnTo>
                    <a:lnTo>
                      <a:pt x="294" y="65"/>
                    </a:lnTo>
                    <a:close/>
                    <a:moveTo>
                      <a:pt x="297" y="63"/>
                    </a:moveTo>
                    <a:lnTo>
                      <a:pt x="299" y="63"/>
                    </a:lnTo>
                    <a:lnTo>
                      <a:pt x="297" y="63"/>
                    </a:lnTo>
                    <a:close/>
                    <a:moveTo>
                      <a:pt x="224" y="10"/>
                    </a:moveTo>
                    <a:lnTo>
                      <a:pt x="224" y="12"/>
                    </a:lnTo>
                    <a:lnTo>
                      <a:pt x="224" y="10"/>
                    </a:lnTo>
                    <a:close/>
                    <a:moveTo>
                      <a:pt x="345" y="27"/>
                    </a:moveTo>
                    <a:lnTo>
                      <a:pt x="346" y="27"/>
                    </a:lnTo>
                    <a:lnTo>
                      <a:pt x="345" y="27"/>
                    </a:lnTo>
                    <a:close/>
                    <a:moveTo>
                      <a:pt x="170" y="46"/>
                    </a:moveTo>
                    <a:lnTo>
                      <a:pt x="170" y="48"/>
                    </a:lnTo>
                    <a:lnTo>
                      <a:pt x="170" y="46"/>
                    </a:lnTo>
                    <a:close/>
                    <a:moveTo>
                      <a:pt x="198" y="9"/>
                    </a:moveTo>
                    <a:lnTo>
                      <a:pt x="200" y="9"/>
                    </a:lnTo>
                    <a:lnTo>
                      <a:pt x="198" y="9"/>
                    </a:lnTo>
                    <a:close/>
                    <a:moveTo>
                      <a:pt x="170" y="46"/>
                    </a:moveTo>
                    <a:lnTo>
                      <a:pt x="171" y="46"/>
                    </a:lnTo>
                    <a:lnTo>
                      <a:pt x="170" y="46"/>
                    </a:lnTo>
                    <a:close/>
                    <a:moveTo>
                      <a:pt x="171" y="46"/>
                    </a:moveTo>
                    <a:lnTo>
                      <a:pt x="173" y="46"/>
                    </a:lnTo>
                    <a:lnTo>
                      <a:pt x="171" y="46"/>
                    </a:lnTo>
                    <a:close/>
                    <a:moveTo>
                      <a:pt x="226" y="7"/>
                    </a:moveTo>
                    <a:lnTo>
                      <a:pt x="226" y="9"/>
                    </a:lnTo>
                    <a:lnTo>
                      <a:pt x="226" y="7"/>
                    </a:lnTo>
                    <a:close/>
                    <a:moveTo>
                      <a:pt x="217" y="10"/>
                    </a:moveTo>
                    <a:lnTo>
                      <a:pt x="219" y="10"/>
                    </a:lnTo>
                    <a:lnTo>
                      <a:pt x="217" y="10"/>
                    </a:lnTo>
                    <a:close/>
                    <a:moveTo>
                      <a:pt x="272" y="44"/>
                    </a:moveTo>
                    <a:lnTo>
                      <a:pt x="273" y="44"/>
                    </a:lnTo>
                    <a:lnTo>
                      <a:pt x="272" y="4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 name="Oval 7">
                <a:extLst>
                  <a:ext uri="{FF2B5EF4-FFF2-40B4-BE49-F238E27FC236}">
                    <a16:creationId xmlns:a16="http://schemas.microsoft.com/office/drawing/2014/main" id="{8F930C40-5995-C619-16DF-F8884C1A0BD1}"/>
                  </a:ext>
                </a:extLst>
              </p:cNvPr>
              <p:cNvSpPr/>
              <p:nvPr/>
            </p:nvSpPr>
            <p:spPr>
              <a:xfrm>
                <a:off x="3957324" y="2842086"/>
                <a:ext cx="1229355" cy="620442"/>
              </a:xfrm>
              <a:prstGeom prst="ellipse">
                <a:avLst/>
              </a:prstGeom>
              <a:solidFill>
                <a:srgbClr val="F7F7F7"/>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Freeform 22">
                <a:extLst>
                  <a:ext uri="{FF2B5EF4-FFF2-40B4-BE49-F238E27FC236}">
                    <a16:creationId xmlns:a16="http://schemas.microsoft.com/office/drawing/2014/main" id="{16A50FFA-44EC-3BB1-8329-643C0AF4BBCA}"/>
                  </a:ext>
                </a:extLst>
              </p:cNvPr>
              <p:cNvSpPr>
                <a:spLocks noEditPoints="1"/>
              </p:cNvSpPr>
              <p:nvPr/>
            </p:nvSpPr>
            <p:spPr bwMode="auto">
              <a:xfrm>
                <a:off x="4282552" y="2861132"/>
                <a:ext cx="465119" cy="554812"/>
              </a:xfrm>
              <a:custGeom>
                <a:avLst/>
                <a:gdLst>
                  <a:gd name="T0" fmla="*/ 304 w 503"/>
                  <a:gd name="T1" fmla="*/ 93 h 600"/>
                  <a:gd name="T2" fmla="*/ 290 w 503"/>
                  <a:gd name="T3" fmla="*/ 132 h 600"/>
                  <a:gd name="T4" fmla="*/ 301 w 503"/>
                  <a:gd name="T5" fmla="*/ 146 h 600"/>
                  <a:gd name="T6" fmla="*/ 312 w 503"/>
                  <a:gd name="T7" fmla="*/ 187 h 600"/>
                  <a:gd name="T8" fmla="*/ 326 w 503"/>
                  <a:gd name="T9" fmla="*/ 217 h 600"/>
                  <a:gd name="T10" fmla="*/ 365 w 503"/>
                  <a:gd name="T11" fmla="*/ 219 h 600"/>
                  <a:gd name="T12" fmla="*/ 420 w 503"/>
                  <a:gd name="T13" fmla="*/ 251 h 600"/>
                  <a:gd name="T14" fmla="*/ 464 w 503"/>
                  <a:gd name="T15" fmla="*/ 246 h 600"/>
                  <a:gd name="T16" fmla="*/ 476 w 503"/>
                  <a:gd name="T17" fmla="*/ 267 h 600"/>
                  <a:gd name="T18" fmla="*/ 469 w 503"/>
                  <a:gd name="T19" fmla="*/ 301 h 600"/>
                  <a:gd name="T20" fmla="*/ 482 w 503"/>
                  <a:gd name="T21" fmla="*/ 335 h 600"/>
                  <a:gd name="T22" fmla="*/ 482 w 503"/>
                  <a:gd name="T23" fmla="*/ 369 h 600"/>
                  <a:gd name="T24" fmla="*/ 499 w 503"/>
                  <a:gd name="T25" fmla="*/ 401 h 600"/>
                  <a:gd name="T26" fmla="*/ 493 w 503"/>
                  <a:gd name="T27" fmla="*/ 398 h 600"/>
                  <a:gd name="T28" fmla="*/ 469 w 503"/>
                  <a:gd name="T29" fmla="*/ 393 h 600"/>
                  <a:gd name="T30" fmla="*/ 457 w 503"/>
                  <a:gd name="T31" fmla="*/ 398 h 600"/>
                  <a:gd name="T32" fmla="*/ 401 w 503"/>
                  <a:gd name="T33" fmla="*/ 415 h 600"/>
                  <a:gd name="T34" fmla="*/ 426 w 503"/>
                  <a:gd name="T35" fmla="*/ 435 h 600"/>
                  <a:gd name="T36" fmla="*/ 397 w 503"/>
                  <a:gd name="T37" fmla="*/ 437 h 600"/>
                  <a:gd name="T38" fmla="*/ 411 w 503"/>
                  <a:gd name="T39" fmla="*/ 478 h 600"/>
                  <a:gd name="T40" fmla="*/ 411 w 503"/>
                  <a:gd name="T41" fmla="*/ 529 h 600"/>
                  <a:gd name="T42" fmla="*/ 375 w 503"/>
                  <a:gd name="T43" fmla="*/ 587 h 600"/>
                  <a:gd name="T44" fmla="*/ 386 w 503"/>
                  <a:gd name="T45" fmla="*/ 542 h 600"/>
                  <a:gd name="T46" fmla="*/ 358 w 503"/>
                  <a:gd name="T47" fmla="*/ 534 h 600"/>
                  <a:gd name="T48" fmla="*/ 336 w 503"/>
                  <a:gd name="T49" fmla="*/ 530 h 600"/>
                  <a:gd name="T50" fmla="*/ 309 w 503"/>
                  <a:gd name="T51" fmla="*/ 537 h 600"/>
                  <a:gd name="T52" fmla="*/ 292 w 503"/>
                  <a:gd name="T53" fmla="*/ 520 h 600"/>
                  <a:gd name="T54" fmla="*/ 275 w 503"/>
                  <a:gd name="T55" fmla="*/ 502 h 600"/>
                  <a:gd name="T56" fmla="*/ 253 w 503"/>
                  <a:gd name="T57" fmla="*/ 488 h 600"/>
                  <a:gd name="T58" fmla="*/ 238 w 503"/>
                  <a:gd name="T59" fmla="*/ 469 h 600"/>
                  <a:gd name="T60" fmla="*/ 207 w 503"/>
                  <a:gd name="T61" fmla="*/ 457 h 600"/>
                  <a:gd name="T62" fmla="*/ 175 w 503"/>
                  <a:gd name="T63" fmla="*/ 449 h 600"/>
                  <a:gd name="T64" fmla="*/ 144 w 503"/>
                  <a:gd name="T65" fmla="*/ 442 h 600"/>
                  <a:gd name="T66" fmla="*/ 120 w 503"/>
                  <a:gd name="T67" fmla="*/ 425 h 600"/>
                  <a:gd name="T68" fmla="*/ 91 w 503"/>
                  <a:gd name="T69" fmla="*/ 401 h 600"/>
                  <a:gd name="T70" fmla="*/ 107 w 503"/>
                  <a:gd name="T71" fmla="*/ 391 h 600"/>
                  <a:gd name="T72" fmla="*/ 110 w 503"/>
                  <a:gd name="T73" fmla="*/ 369 h 600"/>
                  <a:gd name="T74" fmla="*/ 120 w 503"/>
                  <a:gd name="T75" fmla="*/ 367 h 600"/>
                  <a:gd name="T76" fmla="*/ 136 w 503"/>
                  <a:gd name="T77" fmla="*/ 364 h 600"/>
                  <a:gd name="T78" fmla="*/ 141 w 503"/>
                  <a:gd name="T79" fmla="*/ 347 h 600"/>
                  <a:gd name="T80" fmla="*/ 154 w 503"/>
                  <a:gd name="T81" fmla="*/ 328 h 600"/>
                  <a:gd name="T82" fmla="*/ 149 w 503"/>
                  <a:gd name="T83" fmla="*/ 323 h 600"/>
                  <a:gd name="T84" fmla="*/ 149 w 503"/>
                  <a:gd name="T85" fmla="*/ 303 h 600"/>
                  <a:gd name="T86" fmla="*/ 142 w 503"/>
                  <a:gd name="T87" fmla="*/ 270 h 600"/>
                  <a:gd name="T88" fmla="*/ 146 w 503"/>
                  <a:gd name="T89" fmla="*/ 245 h 600"/>
                  <a:gd name="T90" fmla="*/ 136 w 503"/>
                  <a:gd name="T91" fmla="*/ 223 h 600"/>
                  <a:gd name="T92" fmla="*/ 141 w 503"/>
                  <a:gd name="T93" fmla="*/ 202 h 600"/>
                  <a:gd name="T94" fmla="*/ 148 w 503"/>
                  <a:gd name="T95" fmla="*/ 173 h 600"/>
                  <a:gd name="T96" fmla="*/ 161 w 503"/>
                  <a:gd name="T97" fmla="*/ 178 h 600"/>
                  <a:gd name="T98" fmla="*/ 168 w 503"/>
                  <a:gd name="T99" fmla="*/ 187 h 600"/>
                  <a:gd name="T100" fmla="*/ 180 w 503"/>
                  <a:gd name="T101" fmla="*/ 156 h 600"/>
                  <a:gd name="T102" fmla="*/ 207 w 503"/>
                  <a:gd name="T103" fmla="*/ 136 h 600"/>
                  <a:gd name="T104" fmla="*/ 209 w 503"/>
                  <a:gd name="T105" fmla="*/ 110 h 600"/>
                  <a:gd name="T106" fmla="*/ 212 w 503"/>
                  <a:gd name="T107" fmla="*/ 97 h 600"/>
                  <a:gd name="T108" fmla="*/ 243 w 503"/>
                  <a:gd name="T109" fmla="*/ 83 h 600"/>
                  <a:gd name="T110" fmla="*/ 267 w 503"/>
                  <a:gd name="T111" fmla="*/ 73 h 600"/>
                  <a:gd name="T112" fmla="*/ 304 w 503"/>
                  <a:gd name="T113" fmla="*/ 59 h 600"/>
                  <a:gd name="T114" fmla="*/ 333 w 503"/>
                  <a:gd name="T115" fmla="*/ 41 h 600"/>
                  <a:gd name="T116" fmla="*/ 340 w 503"/>
                  <a:gd name="T117" fmla="*/ 34 h 600"/>
                  <a:gd name="T118" fmla="*/ 350 w 503"/>
                  <a:gd name="T119" fmla="*/ 54 h 600"/>
                  <a:gd name="T120" fmla="*/ 158 w 503"/>
                  <a:gd name="T121" fmla="*/ 325 h 600"/>
                  <a:gd name="T122" fmla="*/ 100 w 503"/>
                  <a:gd name="T123" fmla="*/ 396 h 600"/>
                  <a:gd name="T124" fmla="*/ 142 w 503"/>
                  <a:gd name="T125" fmla="*/ 318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3" h="600">
                    <a:moveTo>
                      <a:pt x="350" y="54"/>
                    </a:moveTo>
                    <a:lnTo>
                      <a:pt x="346" y="56"/>
                    </a:lnTo>
                    <a:lnTo>
                      <a:pt x="341" y="58"/>
                    </a:lnTo>
                    <a:lnTo>
                      <a:pt x="336" y="59"/>
                    </a:lnTo>
                    <a:lnTo>
                      <a:pt x="329" y="61"/>
                    </a:lnTo>
                    <a:lnTo>
                      <a:pt x="329" y="63"/>
                    </a:lnTo>
                    <a:lnTo>
                      <a:pt x="328" y="64"/>
                    </a:lnTo>
                    <a:lnTo>
                      <a:pt x="328" y="66"/>
                    </a:lnTo>
                    <a:lnTo>
                      <a:pt x="326" y="68"/>
                    </a:lnTo>
                    <a:lnTo>
                      <a:pt x="326" y="69"/>
                    </a:lnTo>
                    <a:lnTo>
                      <a:pt x="324" y="69"/>
                    </a:lnTo>
                    <a:lnTo>
                      <a:pt x="324" y="71"/>
                    </a:lnTo>
                    <a:lnTo>
                      <a:pt x="323" y="75"/>
                    </a:lnTo>
                    <a:lnTo>
                      <a:pt x="321" y="78"/>
                    </a:lnTo>
                    <a:lnTo>
                      <a:pt x="319" y="78"/>
                    </a:lnTo>
                    <a:lnTo>
                      <a:pt x="318" y="78"/>
                    </a:lnTo>
                    <a:lnTo>
                      <a:pt x="316" y="78"/>
                    </a:lnTo>
                    <a:lnTo>
                      <a:pt x="314" y="78"/>
                    </a:lnTo>
                    <a:lnTo>
                      <a:pt x="314" y="80"/>
                    </a:lnTo>
                    <a:lnTo>
                      <a:pt x="314" y="78"/>
                    </a:lnTo>
                    <a:lnTo>
                      <a:pt x="312" y="80"/>
                    </a:lnTo>
                    <a:lnTo>
                      <a:pt x="312" y="81"/>
                    </a:lnTo>
                    <a:lnTo>
                      <a:pt x="311" y="83"/>
                    </a:lnTo>
                    <a:lnTo>
                      <a:pt x="311" y="85"/>
                    </a:lnTo>
                    <a:lnTo>
                      <a:pt x="309" y="86"/>
                    </a:lnTo>
                    <a:lnTo>
                      <a:pt x="307" y="86"/>
                    </a:lnTo>
                    <a:lnTo>
                      <a:pt x="306" y="88"/>
                    </a:lnTo>
                    <a:lnTo>
                      <a:pt x="306" y="90"/>
                    </a:lnTo>
                    <a:lnTo>
                      <a:pt x="306" y="92"/>
                    </a:lnTo>
                    <a:lnTo>
                      <a:pt x="304" y="92"/>
                    </a:lnTo>
                    <a:lnTo>
                      <a:pt x="304" y="93"/>
                    </a:lnTo>
                    <a:lnTo>
                      <a:pt x="304" y="95"/>
                    </a:lnTo>
                    <a:lnTo>
                      <a:pt x="304" y="97"/>
                    </a:lnTo>
                    <a:lnTo>
                      <a:pt x="302" y="97"/>
                    </a:lnTo>
                    <a:lnTo>
                      <a:pt x="301" y="98"/>
                    </a:lnTo>
                    <a:lnTo>
                      <a:pt x="301" y="100"/>
                    </a:lnTo>
                    <a:lnTo>
                      <a:pt x="301" y="102"/>
                    </a:lnTo>
                    <a:lnTo>
                      <a:pt x="299" y="102"/>
                    </a:lnTo>
                    <a:lnTo>
                      <a:pt x="299" y="103"/>
                    </a:lnTo>
                    <a:lnTo>
                      <a:pt x="299" y="105"/>
                    </a:lnTo>
                    <a:lnTo>
                      <a:pt x="299" y="107"/>
                    </a:lnTo>
                    <a:lnTo>
                      <a:pt x="299" y="109"/>
                    </a:lnTo>
                    <a:lnTo>
                      <a:pt x="299" y="110"/>
                    </a:lnTo>
                    <a:lnTo>
                      <a:pt x="299" y="112"/>
                    </a:lnTo>
                    <a:lnTo>
                      <a:pt x="297" y="112"/>
                    </a:lnTo>
                    <a:lnTo>
                      <a:pt x="299" y="114"/>
                    </a:lnTo>
                    <a:lnTo>
                      <a:pt x="297" y="114"/>
                    </a:lnTo>
                    <a:lnTo>
                      <a:pt x="297" y="115"/>
                    </a:lnTo>
                    <a:lnTo>
                      <a:pt x="297" y="117"/>
                    </a:lnTo>
                    <a:lnTo>
                      <a:pt x="295" y="117"/>
                    </a:lnTo>
                    <a:lnTo>
                      <a:pt x="295" y="119"/>
                    </a:lnTo>
                    <a:lnTo>
                      <a:pt x="295" y="120"/>
                    </a:lnTo>
                    <a:lnTo>
                      <a:pt x="295" y="122"/>
                    </a:lnTo>
                    <a:lnTo>
                      <a:pt x="297" y="122"/>
                    </a:lnTo>
                    <a:lnTo>
                      <a:pt x="297" y="124"/>
                    </a:lnTo>
                    <a:lnTo>
                      <a:pt x="295" y="124"/>
                    </a:lnTo>
                    <a:lnTo>
                      <a:pt x="295" y="126"/>
                    </a:lnTo>
                    <a:lnTo>
                      <a:pt x="294" y="127"/>
                    </a:lnTo>
                    <a:lnTo>
                      <a:pt x="294" y="129"/>
                    </a:lnTo>
                    <a:lnTo>
                      <a:pt x="292" y="129"/>
                    </a:lnTo>
                    <a:lnTo>
                      <a:pt x="292" y="131"/>
                    </a:lnTo>
                    <a:lnTo>
                      <a:pt x="290" y="132"/>
                    </a:lnTo>
                    <a:lnTo>
                      <a:pt x="290" y="134"/>
                    </a:lnTo>
                    <a:lnTo>
                      <a:pt x="289" y="134"/>
                    </a:lnTo>
                    <a:lnTo>
                      <a:pt x="289" y="136"/>
                    </a:lnTo>
                    <a:lnTo>
                      <a:pt x="289" y="138"/>
                    </a:lnTo>
                    <a:lnTo>
                      <a:pt x="287" y="138"/>
                    </a:lnTo>
                    <a:lnTo>
                      <a:pt x="287" y="139"/>
                    </a:lnTo>
                    <a:lnTo>
                      <a:pt x="285" y="141"/>
                    </a:lnTo>
                    <a:lnTo>
                      <a:pt x="285" y="143"/>
                    </a:lnTo>
                    <a:lnTo>
                      <a:pt x="284" y="143"/>
                    </a:lnTo>
                    <a:lnTo>
                      <a:pt x="284" y="144"/>
                    </a:lnTo>
                    <a:lnTo>
                      <a:pt x="284" y="146"/>
                    </a:lnTo>
                    <a:lnTo>
                      <a:pt x="285" y="146"/>
                    </a:lnTo>
                    <a:lnTo>
                      <a:pt x="287" y="146"/>
                    </a:lnTo>
                    <a:lnTo>
                      <a:pt x="289" y="146"/>
                    </a:lnTo>
                    <a:lnTo>
                      <a:pt x="290" y="144"/>
                    </a:lnTo>
                    <a:lnTo>
                      <a:pt x="292" y="144"/>
                    </a:lnTo>
                    <a:lnTo>
                      <a:pt x="292" y="143"/>
                    </a:lnTo>
                    <a:lnTo>
                      <a:pt x="294" y="143"/>
                    </a:lnTo>
                    <a:lnTo>
                      <a:pt x="295" y="141"/>
                    </a:lnTo>
                    <a:lnTo>
                      <a:pt x="295" y="143"/>
                    </a:lnTo>
                    <a:lnTo>
                      <a:pt x="295" y="144"/>
                    </a:lnTo>
                    <a:lnTo>
                      <a:pt x="295" y="146"/>
                    </a:lnTo>
                    <a:lnTo>
                      <a:pt x="297" y="146"/>
                    </a:lnTo>
                    <a:lnTo>
                      <a:pt x="295" y="146"/>
                    </a:lnTo>
                    <a:lnTo>
                      <a:pt x="295" y="148"/>
                    </a:lnTo>
                    <a:lnTo>
                      <a:pt x="297" y="148"/>
                    </a:lnTo>
                    <a:lnTo>
                      <a:pt x="297" y="149"/>
                    </a:lnTo>
                    <a:lnTo>
                      <a:pt x="297" y="148"/>
                    </a:lnTo>
                    <a:lnTo>
                      <a:pt x="299" y="148"/>
                    </a:lnTo>
                    <a:lnTo>
                      <a:pt x="301" y="148"/>
                    </a:lnTo>
                    <a:lnTo>
                      <a:pt x="301" y="146"/>
                    </a:lnTo>
                    <a:lnTo>
                      <a:pt x="301" y="148"/>
                    </a:lnTo>
                    <a:lnTo>
                      <a:pt x="302" y="148"/>
                    </a:lnTo>
                    <a:lnTo>
                      <a:pt x="302" y="149"/>
                    </a:lnTo>
                    <a:lnTo>
                      <a:pt x="304" y="151"/>
                    </a:lnTo>
                    <a:lnTo>
                      <a:pt x="304" y="153"/>
                    </a:lnTo>
                    <a:lnTo>
                      <a:pt x="304" y="155"/>
                    </a:lnTo>
                    <a:lnTo>
                      <a:pt x="306" y="160"/>
                    </a:lnTo>
                    <a:lnTo>
                      <a:pt x="306" y="163"/>
                    </a:lnTo>
                    <a:lnTo>
                      <a:pt x="307" y="165"/>
                    </a:lnTo>
                    <a:lnTo>
                      <a:pt x="307" y="166"/>
                    </a:lnTo>
                    <a:lnTo>
                      <a:pt x="309" y="166"/>
                    </a:lnTo>
                    <a:lnTo>
                      <a:pt x="309" y="168"/>
                    </a:lnTo>
                    <a:lnTo>
                      <a:pt x="311" y="168"/>
                    </a:lnTo>
                    <a:lnTo>
                      <a:pt x="312" y="170"/>
                    </a:lnTo>
                    <a:lnTo>
                      <a:pt x="312" y="172"/>
                    </a:lnTo>
                    <a:lnTo>
                      <a:pt x="314" y="173"/>
                    </a:lnTo>
                    <a:lnTo>
                      <a:pt x="316" y="173"/>
                    </a:lnTo>
                    <a:lnTo>
                      <a:pt x="316" y="175"/>
                    </a:lnTo>
                    <a:lnTo>
                      <a:pt x="316" y="177"/>
                    </a:lnTo>
                    <a:lnTo>
                      <a:pt x="316" y="178"/>
                    </a:lnTo>
                    <a:lnTo>
                      <a:pt x="316" y="180"/>
                    </a:lnTo>
                    <a:lnTo>
                      <a:pt x="318" y="180"/>
                    </a:lnTo>
                    <a:lnTo>
                      <a:pt x="316" y="180"/>
                    </a:lnTo>
                    <a:lnTo>
                      <a:pt x="316" y="182"/>
                    </a:lnTo>
                    <a:lnTo>
                      <a:pt x="316" y="183"/>
                    </a:lnTo>
                    <a:lnTo>
                      <a:pt x="318" y="183"/>
                    </a:lnTo>
                    <a:lnTo>
                      <a:pt x="318" y="185"/>
                    </a:lnTo>
                    <a:lnTo>
                      <a:pt x="316" y="185"/>
                    </a:lnTo>
                    <a:lnTo>
                      <a:pt x="314" y="185"/>
                    </a:lnTo>
                    <a:lnTo>
                      <a:pt x="314" y="187"/>
                    </a:lnTo>
                    <a:lnTo>
                      <a:pt x="312" y="187"/>
                    </a:lnTo>
                    <a:lnTo>
                      <a:pt x="312" y="189"/>
                    </a:lnTo>
                    <a:lnTo>
                      <a:pt x="312" y="190"/>
                    </a:lnTo>
                    <a:lnTo>
                      <a:pt x="314" y="190"/>
                    </a:lnTo>
                    <a:lnTo>
                      <a:pt x="314" y="192"/>
                    </a:lnTo>
                    <a:lnTo>
                      <a:pt x="312" y="194"/>
                    </a:lnTo>
                    <a:lnTo>
                      <a:pt x="312" y="195"/>
                    </a:lnTo>
                    <a:lnTo>
                      <a:pt x="312" y="197"/>
                    </a:lnTo>
                    <a:lnTo>
                      <a:pt x="312" y="199"/>
                    </a:lnTo>
                    <a:lnTo>
                      <a:pt x="312" y="200"/>
                    </a:lnTo>
                    <a:lnTo>
                      <a:pt x="314" y="200"/>
                    </a:lnTo>
                    <a:lnTo>
                      <a:pt x="314" y="202"/>
                    </a:lnTo>
                    <a:lnTo>
                      <a:pt x="312" y="202"/>
                    </a:lnTo>
                    <a:lnTo>
                      <a:pt x="312" y="204"/>
                    </a:lnTo>
                    <a:lnTo>
                      <a:pt x="314" y="204"/>
                    </a:lnTo>
                    <a:lnTo>
                      <a:pt x="314" y="206"/>
                    </a:lnTo>
                    <a:lnTo>
                      <a:pt x="316" y="206"/>
                    </a:lnTo>
                    <a:lnTo>
                      <a:pt x="316" y="207"/>
                    </a:lnTo>
                    <a:lnTo>
                      <a:pt x="318" y="206"/>
                    </a:lnTo>
                    <a:lnTo>
                      <a:pt x="318" y="207"/>
                    </a:lnTo>
                    <a:lnTo>
                      <a:pt x="319" y="207"/>
                    </a:lnTo>
                    <a:lnTo>
                      <a:pt x="321" y="207"/>
                    </a:lnTo>
                    <a:lnTo>
                      <a:pt x="321" y="206"/>
                    </a:lnTo>
                    <a:lnTo>
                      <a:pt x="323" y="207"/>
                    </a:lnTo>
                    <a:lnTo>
                      <a:pt x="323" y="209"/>
                    </a:lnTo>
                    <a:lnTo>
                      <a:pt x="324" y="209"/>
                    </a:lnTo>
                    <a:lnTo>
                      <a:pt x="323" y="209"/>
                    </a:lnTo>
                    <a:lnTo>
                      <a:pt x="323" y="211"/>
                    </a:lnTo>
                    <a:lnTo>
                      <a:pt x="323" y="212"/>
                    </a:lnTo>
                    <a:lnTo>
                      <a:pt x="324" y="212"/>
                    </a:lnTo>
                    <a:lnTo>
                      <a:pt x="324" y="214"/>
                    </a:lnTo>
                    <a:lnTo>
                      <a:pt x="326" y="217"/>
                    </a:lnTo>
                    <a:lnTo>
                      <a:pt x="328" y="219"/>
                    </a:lnTo>
                    <a:lnTo>
                      <a:pt x="329" y="219"/>
                    </a:lnTo>
                    <a:lnTo>
                      <a:pt x="331" y="219"/>
                    </a:lnTo>
                    <a:lnTo>
                      <a:pt x="333" y="219"/>
                    </a:lnTo>
                    <a:lnTo>
                      <a:pt x="335" y="219"/>
                    </a:lnTo>
                    <a:lnTo>
                      <a:pt x="335" y="217"/>
                    </a:lnTo>
                    <a:lnTo>
                      <a:pt x="336" y="217"/>
                    </a:lnTo>
                    <a:lnTo>
                      <a:pt x="338" y="217"/>
                    </a:lnTo>
                    <a:lnTo>
                      <a:pt x="338" y="219"/>
                    </a:lnTo>
                    <a:lnTo>
                      <a:pt x="340" y="219"/>
                    </a:lnTo>
                    <a:lnTo>
                      <a:pt x="341" y="217"/>
                    </a:lnTo>
                    <a:lnTo>
                      <a:pt x="341" y="219"/>
                    </a:lnTo>
                    <a:lnTo>
                      <a:pt x="343" y="217"/>
                    </a:lnTo>
                    <a:lnTo>
                      <a:pt x="343" y="219"/>
                    </a:lnTo>
                    <a:lnTo>
                      <a:pt x="345" y="219"/>
                    </a:lnTo>
                    <a:lnTo>
                      <a:pt x="346" y="219"/>
                    </a:lnTo>
                    <a:lnTo>
                      <a:pt x="348" y="219"/>
                    </a:lnTo>
                    <a:lnTo>
                      <a:pt x="350" y="219"/>
                    </a:lnTo>
                    <a:lnTo>
                      <a:pt x="352" y="219"/>
                    </a:lnTo>
                    <a:lnTo>
                      <a:pt x="353" y="219"/>
                    </a:lnTo>
                    <a:lnTo>
                      <a:pt x="355" y="219"/>
                    </a:lnTo>
                    <a:lnTo>
                      <a:pt x="357" y="219"/>
                    </a:lnTo>
                    <a:lnTo>
                      <a:pt x="358" y="219"/>
                    </a:lnTo>
                    <a:lnTo>
                      <a:pt x="358" y="221"/>
                    </a:lnTo>
                    <a:lnTo>
                      <a:pt x="360" y="221"/>
                    </a:lnTo>
                    <a:lnTo>
                      <a:pt x="362" y="221"/>
                    </a:lnTo>
                    <a:lnTo>
                      <a:pt x="363" y="221"/>
                    </a:lnTo>
                    <a:lnTo>
                      <a:pt x="363" y="219"/>
                    </a:lnTo>
                    <a:lnTo>
                      <a:pt x="365" y="219"/>
                    </a:lnTo>
                    <a:lnTo>
                      <a:pt x="365" y="217"/>
                    </a:lnTo>
                    <a:lnTo>
                      <a:pt x="365" y="219"/>
                    </a:lnTo>
                    <a:lnTo>
                      <a:pt x="367" y="217"/>
                    </a:lnTo>
                    <a:lnTo>
                      <a:pt x="369" y="217"/>
                    </a:lnTo>
                    <a:lnTo>
                      <a:pt x="370" y="217"/>
                    </a:lnTo>
                    <a:lnTo>
                      <a:pt x="370" y="216"/>
                    </a:lnTo>
                    <a:lnTo>
                      <a:pt x="372" y="217"/>
                    </a:lnTo>
                    <a:lnTo>
                      <a:pt x="374" y="216"/>
                    </a:lnTo>
                    <a:lnTo>
                      <a:pt x="374" y="217"/>
                    </a:lnTo>
                    <a:lnTo>
                      <a:pt x="375" y="217"/>
                    </a:lnTo>
                    <a:lnTo>
                      <a:pt x="377" y="217"/>
                    </a:lnTo>
                    <a:lnTo>
                      <a:pt x="379" y="217"/>
                    </a:lnTo>
                    <a:lnTo>
                      <a:pt x="379" y="219"/>
                    </a:lnTo>
                    <a:lnTo>
                      <a:pt x="380" y="219"/>
                    </a:lnTo>
                    <a:lnTo>
                      <a:pt x="382" y="219"/>
                    </a:lnTo>
                    <a:lnTo>
                      <a:pt x="382" y="221"/>
                    </a:lnTo>
                    <a:lnTo>
                      <a:pt x="384" y="221"/>
                    </a:lnTo>
                    <a:lnTo>
                      <a:pt x="384" y="223"/>
                    </a:lnTo>
                    <a:lnTo>
                      <a:pt x="386" y="223"/>
                    </a:lnTo>
                    <a:lnTo>
                      <a:pt x="387" y="223"/>
                    </a:lnTo>
                    <a:lnTo>
                      <a:pt x="387" y="221"/>
                    </a:lnTo>
                    <a:lnTo>
                      <a:pt x="389" y="221"/>
                    </a:lnTo>
                    <a:lnTo>
                      <a:pt x="391" y="221"/>
                    </a:lnTo>
                    <a:lnTo>
                      <a:pt x="392" y="221"/>
                    </a:lnTo>
                    <a:lnTo>
                      <a:pt x="394" y="223"/>
                    </a:lnTo>
                    <a:lnTo>
                      <a:pt x="397" y="228"/>
                    </a:lnTo>
                    <a:lnTo>
                      <a:pt x="404" y="236"/>
                    </a:lnTo>
                    <a:lnTo>
                      <a:pt x="411" y="243"/>
                    </a:lnTo>
                    <a:lnTo>
                      <a:pt x="411" y="245"/>
                    </a:lnTo>
                    <a:lnTo>
                      <a:pt x="416" y="250"/>
                    </a:lnTo>
                    <a:lnTo>
                      <a:pt x="418" y="250"/>
                    </a:lnTo>
                    <a:lnTo>
                      <a:pt x="420" y="250"/>
                    </a:lnTo>
                    <a:lnTo>
                      <a:pt x="420" y="251"/>
                    </a:lnTo>
                    <a:lnTo>
                      <a:pt x="421" y="251"/>
                    </a:lnTo>
                    <a:lnTo>
                      <a:pt x="423" y="250"/>
                    </a:lnTo>
                    <a:lnTo>
                      <a:pt x="425" y="248"/>
                    </a:lnTo>
                    <a:lnTo>
                      <a:pt x="426" y="248"/>
                    </a:lnTo>
                    <a:lnTo>
                      <a:pt x="426" y="246"/>
                    </a:lnTo>
                    <a:lnTo>
                      <a:pt x="428" y="246"/>
                    </a:lnTo>
                    <a:lnTo>
                      <a:pt x="430" y="246"/>
                    </a:lnTo>
                    <a:lnTo>
                      <a:pt x="430" y="248"/>
                    </a:lnTo>
                    <a:lnTo>
                      <a:pt x="431" y="246"/>
                    </a:lnTo>
                    <a:lnTo>
                      <a:pt x="431" y="248"/>
                    </a:lnTo>
                    <a:lnTo>
                      <a:pt x="433" y="248"/>
                    </a:lnTo>
                    <a:lnTo>
                      <a:pt x="435" y="248"/>
                    </a:lnTo>
                    <a:lnTo>
                      <a:pt x="437" y="248"/>
                    </a:lnTo>
                    <a:lnTo>
                      <a:pt x="438" y="248"/>
                    </a:lnTo>
                    <a:lnTo>
                      <a:pt x="440" y="248"/>
                    </a:lnTo>
                    <a:lnTo>
                      <a:pt x="440" y="250"/>
                    </a:lnTo>
                    <a:lnTo>
                      <a:pt x="442" y="250"/>
                    </a:lnTo>
                    <a:lnTo>
                      <a:pt x="443" y="248"/>
                    </a:lnTo>
                    <a:lnTo>
                      <a:pt x="445" y="248"/>
                    </a:lnTo>
                    <a:lnTo>
                      <a:pt x="447" y="248"/>
                    </a:lnTo>
                    <a:lnTo>
                      <a:pt x="448" y="248"/>
                    </a:lnTo>
                    <a:lnTo>
                      <a:pt x="450" y="248"/>
                    </a:lnTo>
                    <a:lnTo>
                      <a:pt x="452" y="248"/>
                    </a:lnTo>
                    <a:lnTo>
                      <a:pt x="454" y="248"/>
                    </a:lnTo>
                    <a:lnTo>
                      <a:pt x="455" y="248"/>
                    </a:lnTo>
                    <a:lnTo>
                      <a:pt x="455" y="246"/>
                    </a:lnTo>
                    <a:lnTo>
                      <a:pt x="457" y="246"/>
                    </a:lnTo>
                    <a:lnTo>
                      <a:pt x="459" y="246"/>
                    </a:lnTo>
                    <a:lnTo>
                      <a:pt x="460" y="246"/>
                    </a:lnTo>
                    <a:lnTo>
                      <a:pt x="462" y="246"/>
                    </a:lnTo>
                    <a:lnTo>
                      <a:pt x="464" y="246"/>
                    </a:lnTo>
                    <a:lnTo>
                      <a:pt x="465" y="246"/>
                    </a:lnTo>
                    <a:lnTo>
                      <a:pt x="467" y="245"/>
                    </a:lnTo>
                    <a:lnTo>
                      <a:pt x="469" y="243"/>
                    </a:lnTo>
                    <a:lnTo>
                      <a:pt x="471" y="243"/>
                    </a:lnTo>
                    <a:lnTo>
                      <a:pt x="472" y="243"/>
                    </a:lnTo>
                    <a:lnTo>
                      <a:pt x="472" y="245"/>
                    </a:lnTo>
                    <a:lnTo>
                      <a:pt x="472" y="243"/>
                    </a:lnTo>
                    <a:lnTo>
                      <a:pt x="474" y="243"/>
                    </a:lnTo>
                    <a:lnTo>
                      <a:pt x="474" y="245"/>
                    </a:lnTo>
                    <a:lnTo>
                      <a:pt x="476" y="245"/>
                    </a:lnTo>
                    <a:lnTo>
                      <a:pt x="477" y="245"/>
                    </a:lnTo>
                    <a:lnTo>
                      <a:pt x="479" y="245"/>
                    </a:lnTo>
                    <a:lnTo>
                      <a:pt x="481" y="246"/>
                    </a:lnTo>
                    <a:lnTo>
                      <a:pt x="482" y="246"/>
                    </a:lnTo>
                    <a:lnTo>
                      <a:pt x="482" y="248"/>
                    </a:lnTo>
                    <a:lnTo>
                      <a:pt x="481" y="248"/>
                    </a:lnTo>
                    <a:lnTo>
                      <a:pt x="481" y="250"/>
                    </a:lnTo>
                    <a:lnTo>
                      <a:pt x="482" y="251"/>
                    </a:lnTo>
                    <a:lnTo>
                      <a:pt x="482" y="253"/>
                    </a:lnTo>
                    <a:lnTo>
                      <a:pt x="484" y="253"/>
                    </a:lnTo>
                    <a:lnTo>
                      <a:pt x="484" y="255"/>
                    </a:lnTo>
                    <a:lnTo>
                      <a:pt x="482" y="255"/>
                    </a:lnTo>
                    <a:lnTo>
                      <a:pt x="481" y="257"/>
                    </a:lnTo>
                    <a:lnTo>
                      <a:pt x="479" y="257"/>
                    </a:lnTo>
                    <a:lnTo>
                      <a:pt x="479" y="258"/>
                    </a:lnTo>
                    <a:lnTo>
                      <a:pt x="477" y="258"/>
                    </a:lnTo>
                    <a:lnTo>
                      <a:pt x="477" y="260"/>
                    </a:lnTo>
                    <a:lnTo>
                      <a:pt x="477" y="262"/>
                    </a:lnTo>
                    <a:lnTo>
                      <a:pt x="476" y="263"/>
                    </a:lnTo>
                    <a:lnTo>
                      <a:pt x="476" y="265"/>
                    </a:lnTo>
                    <a:lnTo>
                      <a:pt x="476" y="267"/>
                    </a:lnTo>
                    <a:lnTo>
                      <a:pt x="477" y="267"/>
                    </a:lnTo>
                    <a:lnTo>
                      <a:pt x="477" y="268"/>
                    </a:lnTo>
                    <a:lnTo>
                      <a:pt x="477" y="270"/>
                    </a:lnTo>
                    <a:lnTo>
                      <a:pt x="476" y="270"/>
                    </a:lnTo>
                    <a:lnTo>
                      <a:pt x="476" y="272"/>
                    </a:lnTo>
                    <a:lnTo>
                      <a:pt x="474" y="274"/>
                    </a:lnTo>
                    <a:lnTo>
                      <a:pt x="472" y="274"/>
                    </a:lnTo>
                    <a:lnTo>
                      <a:pt x="472" y="275"/>
                    </a:lnTo>
                    <a:lnTo>
                      <a:pt x="471" y="275"/>
                    </a:lnTo>
                    <a:lnTo>
                      <a:pt x="471" y="277"/>
                    </a:lnTo>
                    <a:lnTo>
                      <a:pt x="469" y="277"/>
                    </a:lnTo>
                    <a:lnTo>
                      <a:pt x="469" y="279"/>
                    </a:lnTo>
                    <a:lnTo>
                      <a:pt x="471" y="279"/>
                    </a:lnTo>
                    <a:lnTo>
                      <a:pt x="469" y="280"/>
                    </a:lnTo>
                    <a:lnTo>
                      <a:pt x="469" y="282"/>
                    </a:lnTo>
                    <a:lnTo>
                      <a:pt x="469" y="284"/>
                    </a:lnTo>
                    <a:lnTo>
                      <a:pt x="471" y="285"/>
                    </a:lnTo>
                    <a:lnTo>
                      <a:pt x="469" y="285"/>
                    </a:lnTo>
                    <a:lnTo>
                      <a:pt x="471" y="285"/>
                    </a:lnTo>
                    <a:lnTo>
                      <a:pt x="471" y="287"/>
                    </a:lnTo>
                    <a:lnTo>
                      <a:pt x="471" y="289"/>
                    </a:lnTo>
                    <a:lnTo>
                      <a:pt x="469" y="289"/>
                    </a:lnTo>
                    <a:lnTo>
                      <a:pt x="469" y="291"/>
                    </a:lnTo>
                    <a:lnTo>
                      <a:pt x="469" y="292"/>
                    </a:lnTo>
                    <a:lnTo>
                      <a:pt x="469" y="294"/>
                    </a:lnTo>
                    <a:lnTo>
                      <a:pt x="469" y="296"/>
                    </a:lnTo>
                    <a:lnTo>
                      <a:pt x="471" y="296"/>
                    </a:lnTo>
                    <a:lnTo>
                      <a:pt x="471" y="297"/>
                    </a:lnTo>
                    <a:lnTo>
                      <a:pt x="469" y="297"/>
                    </a:lnTo>
                    <a:lnTo>
                      <a:pt x="469" y="299"/>
                    </a:lnTo>
                    <a:lnTo>
                      <a:pt x="469" y="301"/>
                    </a:lnTo>
                    <a:lnTo>
                      <a:pt x="469" y="303"/>
                    </a:lnTo>
                    <a:lnTo>
                      <a:pt x="469" y="304"/>
                    </a:lnTo>
                    <a:lnTo>
                      <a:pt x="471" y="304"/>
                    </a:lnTo>
                    <a:lnTo>
                      <a:pt x="471" y="306"/>
                    </a:lnTo>
                    <a:lnTo>
                      <a:pt x="471" y="308"/>
                    </a:lnTo>
                    <a:lnTo>
                      <a:pt x="472" y="308"/>
                    </a:lnTo>
                    <a:lnTo>
                      <a:pt x="471" y="308"/>
                    </a:lnTo>
                    <a:lnTo>
                      <a:pt x="471" y="309"/>
                    </a:lnTo>
                    <a:lnTo>
                      <a:pt x="472" y="309"/>
                    </a:lnTo>
                    <a:lnTo>
                      <a:pt x="472" y="311"/>
                    </a:lnTo>
                    <a:lnTo>
                      <a:pt x="471" y="309"/>
                    </a:lnTo>
                    <a:lnTo>
                      <a:pt x="471" y="311"/>
                    </a:lnTo>
                    <a:lnTo>
                      <a:pt x="471" y="313"/>
                    </a:lnTo>
                    <a:lnTo>
                      <a:pt x="471" y="314"/>
                    </a:lnTo>
                    <a:lnTo>
                      <a:pt x="471" y="316"/>
                    </a:lnTo>
                    <a:lnTo>
                      <a:pt x="472" y="316"/>
                    </a:lnTo>
                    <a:lnTo>
                      <a:pt x="472" y="318"/>
                    </a:lnTo>
                    <a:lnTo>
                      <a:pt x="474" y="320"/>
                    </a:lnTo>
                    <a:lnTo>
                      <a:pt x="474" y="321"/>
                    </a:lnTo>
                    <a:lnTo>
                      <a:pt x="474" y="323"/>
                    </a:lnTo>
                    <a:lnTo>
                      <a:pt x="474" y="325"/>
                    </a:lnTo>
                    <a:lnTo>
                      <a:pt x="476" y="325"/>
                    </a:lnTo>
                    <a:lnTo>
                      <a:pt x="476" y="326"/>
                    </a:lnTo>
                    <a:lnTo>
                      <a:pt x="476" y="328"/>
                    </a:lnTo>
                    <a:lnTo>
                      <a:pt x="476" y="330"/>
                    </a:lnTo>
                    <a:lnTo>
                      <a:pt x="477" y="330"/>
                    </a:lnTo>
                    <a:lnTo>
                      <a:pt x="479" y="330"/>
                    </a:lnTo>
                    <a:lnTo>
                      <a:pt x="481" y="330"/>
                    </a:lnTo>
                    <a:lnTo>
                      <a:pt x="481" y="331"/>
                    </a:lnTo>
                    <a:lnTo>
                      <a:pt x="482" y="333"/>
                    </a:lnTo>
                    <a:lnTo>
                      <a:pt x="482" y="335"/>
                    </a:lnTo>
                    <a:lnTo>
                      <a:pt x="482" y="337"/>
                    </a:lnTo>
                    <a:lnTo>
                      <a:pt x="484" y="337"/>
                    </a:lnTo>
                    <a:lnTo>
                      <a:pt x="484" y="338"/>
                    </a:lnTo>
                    <a:lnTo>
                      <a:pt x="484" y="340"/>
                    </a:lnTo>
                    <a:lnTo>
                      <a:pt x="486" y="340"/>
                    </a:lnTo>
                    <a:lnTo>
                      <a:pt x="486" y="342"/>
                    </a:lnTo>
                    <a:lnTo>
                      <a:pt x="488" y="342"/>
                    </a:lnTo>
                    <a:lnTo>
                      <a:pt x="488" y="343"/>
                    </a:lnTo>
                    <a:lnTo>
                      <a:pt x="486" y="343"/>
                    </a:lnTo>
                    <a:lnTo>
                      <a:pt x="486" y="345"/>
                    </a:lnTo>
                    <a:lnTo>
                      <a:pt x="484" y="345"/>
                    </a:lnTo>
                    <a:lnTo>
                      <a:pt x="484" y="347"/>
                    </a:lnTo>
                    <a:lnTo>
                      <a:pt x="482" y="347"/>
                    </a:lnTo>
                    <a:lnTo>
                      <a:pt x="481" y="350"/>
                    </a:lnTo>
                    <a:lnTo>
                      <a:pt x="477" y="352"/>
                    </a:lnTo>
                    <a:lnTo>
                      <a:pt x="474" y="355"/>
                    </a:lnTo>
                    <a:lnTo>
                      <a:pt x="471" y="359"/>
                    </a:lnTo>
                    <a:lnTo>
                      <a:pt x="469" y="360"/>
                    </a:lnTo>
                    <a:lnTo>
                      <a:pt x="469" y="362"/>
                    </a:lnTo>
                    <a:lnTo>
                      <a:pt x="471" y="360"/>
                    </a:lnTo>
                    <a:lnTo>
                      <a:pt x="471" y="362"/>
                    </a:lnTo>
                    <a:lnTo>
                      <a:pt x="472" y="360"/>
                    </a:lnTo>
                    <a:lnTo>
                      <a:pt x="472" y="362"/>
                    </a:lnTo>
                    <a:lnTo>
                      <a:pt x="474" y="362"/>
                    </a:lnTo>
                    <a:lnTo>
                      <a:pt x="476" y="362"/>
                    </a:lnTo>
                    <a:lnTo>
                      <a:pt x="477" y="362"/>
                    </a:lnTo>
                    <a:lnTo>
                      <a:pt x="477" y="364"/>
                    </a:lnTo>
                    <a:lnTo>
                      <a:pt x="479" y="365"/>
                    </a:lnTo>
                    <a:lnTo>
                      <a:pt x="479" y="367"/>
                    </a:lnTo>
                    <a:lnTo>
                      <a:pt x="481" y="367"/>
                    </a:lnTo>
                    <a:lnTo>
                      <a:pt x="482" y="369"/>
                    </a:lnTo>
                    <a:lnTo>
                      <a:pt x="484" y="369"/>
                    </a:lnTo>
                    <a:lnTo>
                      <a:pt x="484" y="371"/>
                    </a:lnTo>
                    <a:lnTo>
                      <a:pt x="486" y="371"/>
                    </a:lnTo>
                    <a:lnTo>
                      <a:pt x="486" y="372"/>
                    </a:lnTo>
                    <a:lnTo>
                      <a:pt x="488" y="374"/>
                    </a:lnTo>
                    <a:lnTo>
                      <a:pt x="489" y="374"/>
                    </a:lnTo>
                    <a:lnTo>
                      <a:pt x="489" y="376"/>
                    </a:lnTo>
                    <a:lnTo>
                      <a:pt x="491" y="376"/>
                    </a:lnTo>
                    <a:lnTo>
                      <a:pt x="491" y="377"/>
                    </a:lnTo>
                    <a:lnTo>
                      <a:pt x="491" y="379"/>
                    </a:lnTo>
                    <a:lnTo>
                      <a:pt x="491" y="381"/>
                    </a:lnTo>
                    <a:lnTo>
                      <a:pt x="489" y="381"/>
                    </a:lnTo>
                    <a:lnTo>
                      <a:pt x="491" y="381"/>
                    </a:lnTo>
                    <a:lnTo>
                      <a:pt x="491" y="382"/>
                    </a:lnTo>
                    <a:lnTo>
                      <a:pt x="491" y="384"/>
                    </a:lnTo>
                    <a:lnTo>
                      <a:pt x="493" y="384"/>
                    </a:lnTo>
                    <a:lnTo>
                      <a:pt x="493" y="386"/>
                    </a:lnTo>
                    <a:lnTo>
                      <a:pt x="493" y="384"/>
                    </a:lnTo>
                    <a:lnTo>
                      <a:pt x="494" y="386"/>
                    </a:lnTo>
                    <a:lnTo>
                      <a:pt x="494" y="388"/>
                    </a:lnTo>
                    <a:lnTo>
                      <a:pt x="494" y="389"/>
                    </a:lnTo>
                    <a:lnTo>
                      <a:pt x="493" y="389"/>
                    </a:lnTo>
                    <a:lnTo>
                      <a:pt x="494" y="391"/>
                    </a:lnTo>
                    <a:lnTo>
                      <a:pt x="496" y="393"/>
                    </a:lnTo>
                    <a:lnTo>
                      <a:pt x="496" y="394"/>
                    </a:lnTo>
                    <a:lnTo>
                      <a:pt x="496" y="396"/>
                    </a:lnTo>
                    <a:lnTo>
                      <a:pt x="496" y="398"/>
                    </a:lnTo>
                    <a:lnTo>
                      <a:pt x="498" y="398"/>
                    </a:lnTo>
                    <a:lnTo>
                      <a:pt x="498" y="399"/>
                    </a:lnTo>
                    <a:lnTo>
                      <a:pt x="498" y="401"/>
                    </a:lnTo>
                    <a:lnTo>
                      <a:pt x="499" y="401"/>
                    </a:lnTo>
                    <a:lnTo>
                      <a:pt x="499" y="403"/>
                    </a:lnTo>
                    <a:lnTo>
                      <a:pt x="499" y="405"/>
                    </a:lnTo>
                    <a:lnTo>
                      <a:pt x="499" y="406"/>
                    </a:lnTo>
                    <a:lnTo>
                      <a:pt x="501" y="406"/>
                    </a:lnTo>
                    <a:lnTo>
                      <a:pt x="501" y="408"/>
                    </a:lnTo>
                    <a:lnTo>
                      <a:pt x="501" y="410"/>
                    </a:lnTo>
                    <a:lnTo>
                      <a:pt x="503" y="410"/>
                    </a:lnTo>
                    <a:lnTo>
                      <a:pt x="503" y="411"/>
                    </a:lnTo>
                    <a:lnTo>
                      <a:pt x="503" y="413"/>
                    </a:lnTo>
                    <a:lnTo>
                      <a:pt x="501" y="413"/>
                    </a:lnTo>
                    <a:lnTo>
                      <a:pt x="501" y="415"/>
                    </a:lnTo>
                    <a:lnTo>
                      <a:pt x="503" y="415"/>
                    </a:lnTo>
                    <a:lnTo>
                      <a:pt x="501" y="416"/>
                    </a:lnTo>
                    <a:lnTo>
                      <a:pt x="496" y="416"/>
                    </a:lnTo>
                    <a:lnTo>
                      <a:pt x="494" y="418"/>
                    </a:lnTo>
                    <a:lnTo>
                      <a:pt x="494" y="416"/>
                    </a:lnTo>
                    <a:lnTo>
                      <a:pt x="494" y="415"/>
                    </a:lnTo>
                    <a:lnTo>
                      <a:pt x="494" y="413"/>
                    </a:lnTo>
                    <a:lnTo>
                      <a:pt x="493" y="413"/>
                    </a:lnTo>
                    <a:lnTo>
                      <a:pt x="493" y="411"/>
                    </a:lnTo>
                    <a:lnTo>
                      <a:pt x="494" y="411"/>
                    </a:lnTo>
                    <a:lnTo>
                      <a:pt x="494" y="410"/>
                    </a:lnTo>
                    <a:lnTo>
                      <a:pt x="494" y="408"/>
                    </a:lnTo>
                    <a:lnTo>
                      <a:pt x="494" y="406"/>
                    </a:lnTo>
                    <a:lnTo>
                      <a:pt x="493" y="406"/>
                    </a:lnTo>
                    <a:lnTo>
                      <a:pt x="493" y="405"/>
                    </a:lnTo>
                    <a:lnTo>
                      <a:pt x="494" y="403"/>
                    </a:lnTo>
                    <a:lnTo>
                      <a:pt x="493" y="403"/>
                    </a:lnTo>
                    <a:lnTo>
                      <a:pt x="493" y="401"/>
                    </a:lnTo>
                    <a:lnTo>
                      <a:pt x="493" y="399"/>
                    </a:lnTo>
                    <a:lnTo>
                      <a:pt x="493" y="398"/>
                    </a:lnTo>
                    <a:lnTo>
                      <a:pt x="493" y="396"/>
                    </a:lnTo>
                    <a:lnTo>
                      <a:pt x="493" y="394"/>
                    </a:lnTo>
                    <a:lnTo>
                      <a:pt x="491" y="394"/>
                    </a:lnTo>
                    <a:lnTo>
                      <a:pt x="489" y="394"/>
                    </a:lnTo>
                    <a:lnTo>
                      <a:pt x="488" y="393"/>
                    </a:lnTo>
                    <a:lnTo>
                      <a:pt x="488" y="391"/>
                    </a:lnTo>
                    <a:lnTo>
                      <a:pt x="486" y="391"/>
                    </a:lnTo>
                    <a:lnTo>
                      <a:pt x="486" y="389"/>
                    </a:lnTo>
                    <a:lnTo>
                      <a:pt x="486" y="388"/>
                    </a:lnTo>
                    <a:lnTo>
                      <a:pt x="486" y="386"/>
                    </a:lnTo>
                    <a:lnTo>
                      <a:pt x="486" y="384"/>
                    </a:lnTo>
                    <a:lnTo>
                      <a:pt x="484" y="384"/>
                    </a:lnTo>
                    <a:lnTo>
                      <a:pt x="484" y="382"/>
                    </a:lnTo>
                    <a:lnTo>
                      <a:pt x="486" y="382"/>
                    </a:lnTo>
                    <a:lnTo>
                      <a:pt x="484" y="382"/>
                    </a:lnTo>
                    <a:lnTo>
                      <a:pt x="484" y="381"/>
                    </a:lnTo>
                    <a:lnTo>
                      <a:pt x="482" y="382"/>
                    </a:lnTo>
                    <a:lnTo>
                      <a:pt x="482" y="384"/>
                    </a:lnTo>
                    <a:lnTo>
                      <a:pt x="481" y="384"/>
                    </a:lnTo>
                    <a:lnTo>
                      <a:pt x="481" y="386"/>
                    </a:lnTo>
                    <a:lnTo>
                      <a:pt x="479" y="386"/>
                    </a:lnTo>
                    <a:lnTo>
                      <a:pt x="479" y="388"/>
                    </a:lnTo>
                    <a:lnTo>
                      <a:pt x="477" y="388"/>
                    </a:lnTo>
                    <a:lnTo>
                      <a:pt x="476" y="388"/>
                    </a:lnTo>
                    <a:lnTo>
                      <a:pt x="474" y="388"/>
                    </a:lnTo>
                    <a:lnTo>
                      <a:pt x="472" y="388"/>
                    </a:lnTo>
                    <a:lnTo>
                      <a:pt x="472" y="389"/>
                    </a:lnTo>
                    <a:lnTo>
                      <a:pt x="471" y="389"/>
                    </a:lnTo>
                    <a:lnTo>
                      <a:pt x="471" y="391"/>
                    </a:lnTo>
                    <a:lnTo>
                      <a:pt x="469" y="391"/>
                    </a:lnTo>
                    <a:lnTo>
                      <a:pt x="469" y="393"/>
                    </a:lnTo>
                    <a:lnTo>
                      <a:pt x="467" y="394"/>
                    </a:lnTo>
                    <a:lnTo>
                      <a:pt x="467" y="396"/>
                    </a:lnTo>
                    <a:lnTo>
                      <a:pt x="465" y="396"/>
                    </a:lnTo>
                    <a:lnTo>
                      <a:pt x="465" y="394"/>
                    </a:lnTo>
                    <a:lnTo>
                      <a:pt x="464" y="394"/>
                    </a:lnTo>
                    <a:lnTo>
                      <a:pt x="464" y="393"/>
                    </a:lnTo>
                    <a:lnTo>
                      <a:pt x="462" y="393"/>
                    </a:lnTo>
                    <a:lnTo>
                      <a:pt x="460" y="393"/>
                    </a:lnTo>
                    <a:lnTo>
                      <a:pt x="460" y="391"/>
                    </a:lnTo>
                    <a:lnTo>
                      <a:pt x="459" y="391"/>
                    </a:lnTo>
                    <a:lnTo>
                      <a:pt x="459" y="389"/>
                    </a:lnTo>
                    <a:lnTo>
                      <a:pt x="459" y="391"/>
                    </a:lnTo>
                    <a:lnTo>
                      <a:pt x="457" y="391"/>
                    </a:lnTo>
                    <a:lnTo>
                      <a:pt x="457" y="389"/>
                    </a:lnTo>
                    <a:lnTo>
                      <a:pt x="457" y="388"/>
                    </a:lnTo>
                    <a:lnTo>
                      <a:pt x="457" y="389"/>
                    </a:lnTo>
                    <a:lnTo>
                      <a:pt x="457" y="391"/>
                    </a:lnTo>
                    <a:lnTo>
                      <a:pt x="455" y="391"/>
                    </a:lnTo>
                    <a:lnTo>
                      <a:pt x="455" y="393"/>
                    </a:lnTo>
                    <a:lnTo>
                      <a:pt x="455" y="394"/>
                    </a:lnTo>
                    <a:lnTo>
                      <a:pt x="454" y="394"/>
                    </a:lnTo>
                    <a:lnTo>
                      <a:pt x="455" y="394"/>
                    </a:lnTo>
                    <a:lnTo>
                      <a:pt x="454" y="394"/>
                    </a:lnTo>
                    <a:lnTo>
                      <a:pt x="455" y="396"/>
                    </a:lnTo>
                    <a:lnTo>
                      <a:pt x="455" y="394"/>
                    </a:lnTo>
                    <a:lnTo>
                      <a:pt x="455" y="396"/>
                    </a:lnTo>
                    <a:lnTo>
                      <a:pt x="455" y="394"/>
                    </a:lnTo>
                    <a:lnTo>
                      <a:pt x="455" y="396"/>
                    </a:lnTo>
                    <a:lnTo>
                      <a:pt x="455" y="398"/>
                    </a:lnTo>
                    <a:lnTo>
                      <a:pt x="455" y="396"/>
                    </a:lnTo>
                    <a:lnTo>
                      <a:pt x="457" y="398"/>
                    </a:lnTo>
                    <a:lnTo>
                      <a:pt x="457" y="396"/>
                    </a:lnTo>
                    <a:lnTo>
                      <a:pt x="457" y="398"/>
                    </a:lnTo>
                    <a:lnTo>
                      <a:pt x="459" y="398"/>
                    </a:lnTo>
                    <a:lnTo>
                      <a:pt x="445" y="398"/>
                    </a:lnTo>
                    <a:lnTo>
                      <a:pt x="435" y="398"/>
                    </a:lnTo>
                    <a:lnTo>
                      <a:pt x="430" y="398"/>
                    </a:lnTo>
                    <a:lnTo>
                      <a:pt x="425" y="398"/>
                    </a:lnTo>
                    <a:lnTo>
                      <a:pt x="420" y="398"/>
                    </a:lnTo>
                    <a:lnTo>
                      <a:pt x="416" y="398"/>
                    </a:lnTo>
                    <a:lnTo>
                      <a:pt x="414" y="398"/>
                    </a:lnTo>
                    <a:lnTo>
                      <a:pt x="413" y="398"/>
                    </a:lnTo>
                    <a:lnTo>
                      <a:pt x="413" y="396"/>
                    </a:lnTo>
                    <a:lnTo>
                      <a:pt x="411" y="398"/>
                    </a:lnTo>
                    <a:lnTo>
                      <a:pt x="409" y="398"/>
                    </a:lnTo>
                    <a:lnTo>
                      <a:pt x="409" y="399"/>
                    </a:lnTo>
                    <a:lnTo>
                      <a:pt x="408" y="398"/>
                    </a:lnTo>
                    <a:lnTo>
                      <a:pt x="408" y="399"/>
                    </a:lnTo>
                    <a:lnTo>
                      <a:pt x="408" y="398"/>
                    </a:lnTo>
                    <a:lnTo>
                      <a:pt x="408" y="399"/>
                    </a:lnTo>
                    <a:lnTo>
                      <a:pt x="408" y="398"/>
                    </a:lnTo>
                    <a:lnTo>
                      <a:pt x="406" y="398"/>
                    </a:lnTo>
                    <a:lnTo>
                      <a:pt x="404" y="398"/>
                    </a:lnTo>
                    <a:lnTo>
                      <a:pt x="404" y="399"/>
                    </a:lnTo>
                    <a:lnTo>
                      <a:pt x="403" y="399"/>
                    </a:lnTo>
                    <a:lnTo>
                      <a:pt x="401" y="399"/>
                    </a:lnTo>
                    <a:lnTo>
                      <a:pt x="401" y="401"/>
                    </a:lnTo>
                    <a:lnTo>
                      <a:pt x="401" y="405"/>
                    </a:lnTo>
                    <a:lnTo>
                      <a:pt x="401" y="408"/>
                    </a:lnTo>
                    <a:lnTo>
                      <a:pt x="401" y="411"/>
                    </a:lnTo>
                    <a:lnTo>
                      <a:pt x="401" y="413"/>
                    </a:lnTo>
                    <a:lnTo>
                      <a:pt x="401" y="415"/>
                    </a:lnTo>
                    <a:lnTo>
                      <a:pt x="401" y="418"/>
                    </a:lnTo>
                    <a:lnTo>
                      <a:pt x="401" y="420"/>
                    </a:lnTo>
                    <a:lnTo>
                      <a:pt x="403" y="420"/>
                    </a:lnTo>
                    <a:lnTo>
                      <a:pt x="403" y="422"/>
                    </a:lnTo>
                    <a:lnTo>
                      <a:pt x="403" y="420"/>
                    </a:lnTo>
                    <a:lnTo>
                      <a:pt x="404" y="420"/>
                    </a:lnTo>
                    <a:lnTo>
                      <a:pt x="406" y="420"/>
                    </a:lnTo>
                    <a:lnTo>
                      <a:pt x="408" y="420"/>
                    </a:lnTo>
                    <a:lnTo>
                      <a:pt x="409" y="420"/>
                    </a:lnTo>
                    <a:lnTo>
                      <a:pt x="411" y="420"/>
                    </a:lnTo>
                    <a:lnTo>
                      <a:pt x="413" y="420"/>
                    </a:lnTo>
                    <a:lnTo>
                      <a:pt x="414" y="420"/>
                    </a:lnTo>
                    <a:lnTo>
                      <a:pt x="416" y="422"/>
                    </a:lnTo>
                    <a:lnTo>
                      <a:pt x="418" y="420"/>
                    </a:lnTo>
                    <a:lnTo>
                      <a:pt x="420" y="420"/>
                    </a:lnTo>
                    <a:lnTo>
                      <a:pt x="420" y="422"/>
                    </a:lnTo>
                    <a:lnTo>
                      <a:pt x="421" y="422"/>
                    </a:lnTo>
                    <a:lnTo>
                      <a:pt x="423" y="422"/>
                    </a:lnTo>
                    <a:lnTo>
                      <a:pt x="423" y="423"/>
                    </a:lnTo>
                    <a:lnTo>
                      <a:pt x="423" y="425"/>
                    </a:lnTo>
                    <a:lnTo>
                      <a:pt x="425" y="425"/>
                    </a:lnTo>
                    <a:lnTo>
                      <a:pt x="423" y="425"/>
                    </a:lnTo>
                    <a:lnTo>
                      <a:pt x="423" y="427"/>
                    </a:lnTo>
                    <a:lnTo>
                      <a:pt x="425" y="427"/>
                    </a:lnTo>
                    <a:lnTo>
                      <a:pt x="425" y="428"/>
                    </a:lnTo>
                    <a:lnTo>
                      <a:pt x="425" y="430"/>
                    </a:lnTo>
                    <a:lnTo>
                      <a:pt x="425" y="432"/>
                    </a:lnTo>
                    <a:lnTo>
                      <a:pt x="423" y="432"/>
                    </a:lnTo>
                    <a:lnTo>
                      <a:pt x="425" y="433"/>
                    </a:lnTo>
                    <a:lnTo>
                      <a:pt x="426" y="433"/>
                    </a:lnTo>
                    <a:lnTo>
                      <a:pt x="426" y="435"/>
                    </a:lnTo>
                    <a:lnTo>
                      <a:pt x="425" y="435"/>
                    </a:lnTo>
                    <a:lnTo>
                      <a:pt x="423" y="435"/>
                    </a:lnTo>
                    <a:lnTo>
                      <a:pt x="423" y="437"/>
                    </a:lnTo>
                    <a:lnTo>
                      <a:pt x="421" y="437"/>
                    </a:lnTo>
                    <a:lnTo>
                      <a:pt x="420" y="437"/>
                    </a:lnTo>
                    <a:lnTo>
                      <a:pt x="420" y="435"/>
                    </a:lnTo>
                    <a:lnTo>
                      <a:pt x="418" y="435"/>
                    </a:lnTo>
                    <a:lnTo>
                      <a:pt x="418" y="437"/>
                    </a:lnTo>
                    <a:lnTo>
                      <a:pt x="418" y="435"/>
                    </a:lnTo>
                    <a:lnTo>
                      <a:pt x="416" y="435"/>
                    </a:lnTo>
                    <a:lnTo>
                      <a:pt x="416" y="433"/>
                    </a:lnTo>
                    <a:lnTo>
                      <a:pt x="414" y="432"/>
                    </a:lnTo>
                    <a:lnTo>
                      <a:pt x="413" y="432"/>
                    </a:lnTo>
                    <a:lnTo>
                      <a:pt x="413" y="433"/>
                    </a:lnTo>
                    <a:lnTo>
                      <a:pt x="411" y="433"/>
                    </a:lnTo>
                    <a:lnTo>
                      <a:pt x="411" y="435"/>
                    </a:lnTo>
                    <a:lnTo>
                      <a:pt x="409" y="435"/>
                    </a:lnTo>
                    <a:lnTo>
                      <a:pt x="409" y="437"/>
                    </a:lnTo>
                    <a:lnTo>
                      <a:pt x="409" y="435"/>
                    </a:lnTo>
                    <a:lnTo>
                      <a:pt x="408" y="435"/>
                    </a:lnTo>
                    <a:lnTo>
                      <a:pt x="408" y="433"/>
                    </a:lnTo>
                    <a:lnTo>
                      <a:pt x="406" y="435"/>
                    </a:lnTo>
                    <a:lnTo>
                      <a:pt x="406" y="437"/>
                    </a:lnTo>
                    <a:lnTo>
                      <a:pt x="404" y="435"/>
                    </a:lnTo>
                    <a:lnTo>
                      <a:pt x="404" y="437"/>
                    </a:lnTo>
                    <a:lnTo>
                      <a:pt x="403" y="437"/>
                    </a:lnTo>
                    <a:lnTo>
                      <a:pt x="401" y="437"/>
                    </a:lnTo>
                    <a:lnTo>
                      <a:pt x="399" y="437"/>
                    </a:lnTo>
                    <a:lnTo>
                      <a:pt x="399" y="439"/>
                    </a:lnTo>
                    <a:lnTo>
                      <a:pt x="397" y="439"/>
                    </a:lnTo>
                    <a:lnTo>
                      <a:pt x="397" y="437"/>
                    </a:lnTo>
                    <a:lnTo>
                      <a:pt x="396" y="437"/>
                    </a:lnTo>
                    <a:lnTo>
                      <a:pt x="396" y="439"/>
                    </a:lnTo>
                    <a:lnTo>
                      <a:pt x="394" y="439"/>
                    </a:lnTo>
                    <a:lnTo>
                      <a:pt x="394" y="440"/>
                    </a:lnTo>
                    <a:lnTo>
                      <a:pt x="394" y="444"/>
                    </a:lnTo>
                    <a:lnTo>
                      <a:pt x="394" y="445"/>
                    </a:lnTo>
                    <a:lnTo>
                      <a:pt x="394" y="447"/>
                    </a:lnTo>
                    <a:lnTo>
                      <a:pt x="394" y="449"/>
                    </a:lnTo>
                    <a:lnTo>
                      <a:pt x="394" y="451"/>
                    </a:lnTo>
                    <a:lnTo>
                      <a:pt x="394" y="454"/>
                    </a:lnTo>
                    <a:lnTo>
                      <a:pt x="394" y="457"/>
                    </a:lnTo>
                    <a:lnTo>
                      <a:pt x="394" y="461"/>
                    </a:lnTo>
                    <a:lnTo>
                      <a:pt x="396" y="461"/>
                    </a:lnTo>
                    <a:lnTo>
                      <a:pt x="396" y="462"/>
                    </a:lnTo>
                    <a:lnTo>
                      <a:pt x="396" y="464"/>
                    </a:lnTo>
                    <a:lnTo>
                      <a:pt x="397" y="466"/>
                    </a:lnTo>
                    <a:lnTo>
                      <a:pt x="397" y="468"/>
                    </a:lnTo>
                    <a:lnTo>
                      <a:pt x="399" y="468"/>
                    </a:lnTo>
                    <a:lnTo>
                      <a:pt x="399" y="469"/>
                    </a:lnTo>
                    <a:lnTo>
                      <a:pt x="401" y="468"/>
                    </a:lnTo>
                    <a:lnTo>
                      <a:pt x="403" y="469"/>
                    </a:lnTo>
                    <a:lnTo>
                      <a:pt x="403" y="471"/>
                    </a:lnTo>
                    <a:lnTo>
                      <a:pt x="404" y="471"/>
                    </a:lnTo>
                    <a:lnTo>
                      <a:pt x="406" y="473"/>
                    </a:lnTo>
                    <a:lnTo>
                      <a:pt x="408" y="473"/>
                    </a:lnTo>
                    <a:lnTo>
                      <a:pt x="408" y="474"/>
                    </a:lnTo>
                    <a:lnTo>
                      <a:pt x="409" y="473"/>
                    </a:lnTo>
                    <a:lnTo>
                      <a:pt x="409" y="474"/>
                    </a:lnTo>
                    <a:lnTo>
                      <a:pt x="409" y="476"/>
                    </a:lnTo>
                    <a:lnTo>
                      <a:pt x="409" y="478"/>
                    </a:lnTo>
                    <a:lnTo>
                      <a:pt x="411" y="478"/>
                    </a:lnTo>
                    <a:lnTo>
                      <a:pt x="411" y="479"/>
                    </a:lnTo>
                    <a:lnTo>
                      <a:pt x="409" y="479"/>
                    </a:lnTo>
                    <a:lnTo>
                      <a:pt x="409" y="481"/>
                    </a:lnTo>
                    <a:lnTo>
                      <a:pt x="409" y="483"/>
                    </a:lnTo>
                    <a:lnTo>
                      <a:pt x="411" y="483"/>
                    </a:lnTo>
                    <a:lnTo>
                      <a:pt x="409" y="483"/>
                    </a:lnTo>
                    <a:lnTo>
                      <a:pt x="411" y="485"/>
                    </a:lnTo>
                    <a:lnTo>
                      <a:pt x="411" y="486"/>
                    </a:lnTo>
                    <a:lnTo>
                      <a:pt x="413" y="486"/>
                    </a:lnTo>
                    <a:lnTo>
                      <a:pt x="413" y="488"/>
                    </a:lnTo>
                    <a:lnTo>
                      <a:pt x="413" y="490"/>
                    </a:lnTo>
                    <a:lnTo>
                      <a:pt x="413" y="488"/>
                    </a:lnTo>
                    <a:lnTo>
                      <a:pt x="414" y="490"/>
                    </a:lnTo>
                    <a:lnTo>
                      <a:pt x="416" y="491"/>
                    </a:lnTo>
                    <a:lnTo>
                      <a:pt x="414" y="491"/>
                    </a:lnTo>
                    <a:lnTo>
                      <a:pt x="416" y="491"/>
                    </a:lnTo>
                    <a:lnTo>
                      <a:pt x="416" y="493"/>
                    </a:lnTo>
                    <a:lnTo>
                      <a:pt x="416" y="495"/>
                    </a:lnTo>
                    <a:lnTo>
                      <a:pt x="416" y="496"/>
                    </a:lnTo>
                    <a:lnTo>
                      <a:pt x="416" y="498"/>
                    </a:lnTo>
                    <a:lnTo>
                      <a:pt x="416" y="500"/>
                    </a:lnTo>
                    <a:lnTo>
                      <a:pt x="416" y="502"/>
                    </a:lnTo>
                    <a:lnTo>
                      <a:pt x="416" y="503"/>
                    </a:lnTo>
                    <a:lnTo>
                      <a:pt x="414" y="505"/>
                    </a:lnTo>
                    <a:lnTo>
                      <a:pt x="416" y="505"/>
                    </a:lnTo>
                    <a:lnTo>
                      <a:pt x="416" y="507"/>
                    </a:lnTo>
                    <a:lnTo>
                      <a:pt x="414" y="507"/>
                    </a:lnTo>
                    <a:lnTo>
                      <a:pt x="414" y="508"/>
                    </a:lnTo>
                    <a:lnTo>
                      <a:pt x="413" y="517"/>
                    </a:lnTo>
                    <a:lnTo>
                      <a:pt x="413" y="524"/>
                    </a:lnTo>
                    <a:lnTo>
                      <a:pt x="411" y="529"/>
                    </a:lnTo>
                    <a:lnTo>
                      <a:pt x="409" y="534"/>
                    </a:lnTo>
                    <a:lnTo>
                      <a:pt x="409" y="539"/>
                    </a:lnTo>
                    <a:lnTo>
                      <a:pt x="406" y="554"/>
                    </a:lnTo>
                    <a:lnTo>
                      <a:pt x="406" y="558"/>
                    </a:lnTo>
                    <a:lnTo>
                      <a:pt x="403" y="581"/>
                    </a:lnTo>
                    <a:lnTo>
                      <a:pt x="401" y="590"/>
                    </a:lnTo>
                    <a:lnTo>
                      <a:pt x="399" y="600"/>
                    </a:lnTo>
                    <a:lnTo>
                      <a:pt x="397" y="600"/>
                    </a:lnTo>
                    <a:lnTo>
                      <a:pt x="397" y="598"/>
                    </a:lnTo>
                    <a:lnTo>
                      <a:pt x="396" y="598"/>
                    </a:lnTo>
                    <a:lnTo>
                      <a:pt x="396" y="597"/>
                    </a:lnTo>
                    <a:lnTo>
                      <a:pt x="394" y="597"/>
                    </a:lnTo>
                    <a:lnTo>
                      <a:pt x="394" y="595"/>
                    </a:lnTo>
                    <a:lnTo>
                      <a:pt x="392" y="593"/>
                    </a:lnTo>
                    <a:lnTo>
                      <a:pt x="391" y="593"/>
                    </a:lnTo>
                    <a:lnTo>
                      <a:pt x="391" y="592"/>
                    </a:lnTo>
                    <a:lnTo>
                      <a:pt x="391" y="590"/>
                    </a:lnTo>
                    <a:lnTo>
                      <a:pt x="389" y="590"/>
                    </a:lnTo>
                    <a:lnTo>
                      <a:pt x="389" y="588"/>
                    </a:lnTo>
                    <a:lnTo>
                      <a:pt x="387" y="588"/>
                    </a:lnTo>
                    <a:lnTo>
                      <a:pt x="387" y="587"/>
                    </a:lnTo>
                    <a:lnTo>
                      <a:pt x="386" y="587"/>
                    </a:lnTo>
                    <a:lnTo>
                      <a:pt x="386" y="585"/>
                    </a:lnTo>
                    <a:lnTo>
                      <a:pt x="384" y="585"/>
                    </a:lnTo>
                    <a:lnTo>
                      <a:pt x="384" y="587"/>
                    </a:lnTo>
                    <a:lnTo>
                      <a:pt x="382" y="587"/>
                    </a:lnTo>
                    <a:lnTo>
                      <a:pt x="380" y="587"/>
                    </a:lnTo>
                    <a:lnTo>
                      <a:pt x="380" y="588"/>
                    </a:lnTo>
                    <a:lnTo>
                      <a:pt x="379" y="588"/>
                    </a:lnTo>
                    <a:lnTo>
                      <a:pt x="377" y="587"/>
                    </a:lnTo>
                    <a:lnTo>
                      <a:pt x="375" y="587"/>
                    </a:lnTo>
                    <a:lnTo>
                      <a:pt x="374" y="587"/>
                    </a:lnTo>
                    <a:lnTo>
                      <a:pt x="374" y="585"/>
                    </a:lnTo>
                    <a:lnTo>
                      <a:pt x="372" y="585"/>
                    </a:lnTo>
                    <a:lnTo>
                      <a:pt x="374" y="581"/>
                    </a:lnTo>
                    <a:lnTo>
                      <a:pt x="375" y="581"/>
                    </a:lnTo>
                    <a:lnTo>
                      <a:pt x="377" y="576"/>
                    </a:lnTo>
                    <a:lnTo>
                      <a:pt x="379" y="573"/>
                    </a:lnTo>
                    <a:lnTo>
                      <a:pt x="380" y="573"/>
                    </a:lnTo>
                    <a:lnTo>
                      <a:pt x="382" y="570"/>
                    </a:lnTo>
                    <a:lnTo>
                      <a:pt x="384" y="566"/>
                    </a:lnTo>
                    <a:lnTo>
                      <a:pt x="386" y="564"/>
                    </a:lnTo>
                    <a:lnTo>
                      <a:pt x="386" y="563"/>
                    </a:lnTo>
                    <a:lnTo>
                      <a:pt x="387" y="561"/>
                    </a:lnTo>
                    <a:lnTo>
                      <a:pt x="391" y="556"/>
                    </a:lnTo>
                    <a:lnTo>
                      <a:pt x="392" y="554"/>
                    </a:lnTo>
                    <a:lnTo>
                      <a:pt x="394" y="551"/>
                    </a:lnTo>
                    <a:lnTo>
                      <a:pt x="394" y="549"/>
                    </a:lnTo>
                    <a:lnTo>
                      <a:pt x="394" y="547"/>
                    </a:lnTo>
                    <a:lnTo>
                      <a:pt x="394" y="546"/>
                    </a:lnTo>
                    <a:lnTo>
                      <a:pt x="392" y="547"/>
                    </a:lnTo>
                    <a:lnTo>
                      <a:pt x="391" y="547"/>
                    </a:lnTo>
                    <a:lnTo>
                      <a:pt x="391" y="546"/>
                    </a:lnTo>
                    <a:lnTo>
                      <a:pt x="389" y="546"/>
                    </a:lnTo>
                    <a:lnTo>
                      <a:pt x="389" y="547"/>
                    </a:lnTo>
                    <a:lnTo>
                      <a:pt x="389" y="546"/>
                    </a:lnTo>
                    <a:lnTo>
                      <a:pt x="389" y="544"/>
                    </a:lnTo>
                    <a:lnTo>
                      <a:pt x="387" y="542"/>
                    </a:lnTo>
                    <a:lnTo>
                      <a:pt x="386" y="544"/>
                    </a:lnTo>
                    <a:lnTo>
                      <a:pt x="384" y="544"/>
                    </a:lnTo>
                    <a:lnTo>
                      <a:pt x="384" y="542"/>
                    </a:lnTo>
                    <a:lnTo>
                      <a:pt x="386" y="542"/>
                    </a:lnTo>
                    <a:lnTo>
                      <a:pt x="386" y="541"/>
                    </a:lnTo>
                    <a:lnTo>
                      <a:pt x="384" y="541"/>
                    </a:lnTo>
                    <a:lnTo>
                      <a:pt x="382" y="542"/>
                    </a:lnTo>
                    <a:lnTo>
                      <a:pt x="380" y="542"/>
                    </a:lnTo>
                    <a:lnTo>
                      <a:pt x="380" y="541"/>
                    </a:lnTo>
                    <a:lnTo>
                      <a:pt x="380" y="539"/>
                    </a:lnTo>
                    <a:lnTo>
                      <a:pt x="380" y="541"/>
                    </a:lnTo>
                    <a:lnTo>
                      <a:pt x="379" y="541"/>
                    </a:lnTo>
                    <a:lnTo>
                      <a:pt x="379" y="539"/>
                    </a:lnTo>
                    <a:lnTo>
                      <a:pt x="377" y="539"/>
                    </a:lnTo>
                    <a:lnTo>
                      <a:pt x="377" y="541"/>
                    </a:lnTo>
                    <a:lnTo>
                      <a:pt x="375" y="541"/>
                    </a:lnTo>
                    <a:lnTo>
                      <a:pt x="375" y="539"/>
                    </a:lnTo>
                    <a:lnTo>
                      <a:pt x="375" y="537"/>
                    </a:lnTo>
                    <a:lnTo>
                      <a:pt x="374" y="539"/>
                    </a:lnTo>
                    <a:lnTo>
                      <a:pt x="374" y="537"/>
                    </a:lnTo>
                    <a:lnTo>
                      <a:pt x="374" y="536"/>
                    </a:lnTo>
                    <a:lnTo>
                      <a:pt x="372" y="536"/>
                    </a:lnTo>
                    <a:lnTo>
                      <a:pt x="370" y="536"/>
                    </a:lnTo>
                    <a:lnTo>
                      <a:pt x="370" y="534"/>
                    </a:lnTo>
                    <a:lnTo>
                      <a:pt x="369" y="534"/>
                    </a:lnTo>
                    <a:lnTo>
                      <a:pt x="367" y="534"/>
                    </a:lnTo>
                    <a:lnTo>
                      <a:pt x="367" y="532"/>
                    </a:lnTo>
                    <a:lnTo>
                      <a:pt x="365" y="532"/>
                    </a:lnTo>
                    <a:lnTo>
                      <a:pt x="363" y="532"/>
                    </a:lnTo>
                    <a:lnTo>
                      <a:pt x="362" y="532"/>
                    </a:lnTo>
                    <a:lnTo>
                      <a:pt x="362" y="534"/>
                    </a:lnTo>
                    <a:lnTo>
                      <a:pt x="363" y="534"/>
                    </a:lnTo>
                    <a:lnTo>
                      <a:pt x="362" y="534"/>
                    </a:lnTo>
                    <a:lnTo>
                      <a:pt x="360" y="534"/>
                    </a:lnTo>
                    <a:lnTo>
                      <a:pt x="358" y="534"/>
                    </a:lnTo>
                    <a:lnTo>
                      <a:pt x="358" y="536"/>
                    </a:lnTo>
                    <a:lnTo>
                      <a:pt x="357" y="536"/>
                    </a:lnTo>
                    <a:lnTo>
                      <a:pt x="357" y="537"/>
                    </a:lnTo>
                    <a:lnTo>
                      <a:pt x="355" y="537"/>
                    </a:lnTo>
                    <a:lnTo>
                      <a:pt x="355" y="536"/>
                    </a:lnTo>
                    <a:lnTo>
                      <a:pt x="353" y="536"/>
                    </a:lnTo>
                    <a:lnTo>
                      <a:pt x="353" y="537"/>
                    </a:lnTo>
                    <a:lnTo>
                      <a:pt x="353" y="536"/>
                    </a:lnTo>
                    <a:lnTo>
                      <a:pt x="352" y="536"/>
                    </a:lnTo>
                    <a:lnTo>
                      <a:pt x="352" y="537"/>
                    </a:lnTo>
                    <a:lnTo>
                      <a:pt x="350" y="537"/>
                    </a:lnTo>
                    <a:lnTo>
                      <a:pt x="350" y="539"/>
                    </a:lnTo>
                    <a:lnTo>
                      <a:pt x="348" y="537"/>
                    </a:lnTo>
                    <a:lnTo>
                      <a:pt x="350" y="537"/>
                    </a:lnTo>
                    <a:lnTo>
                      <a:pt x="350" y="536"/>
                    </a:lnTo>
                    <a:lnTo>
                      <a:pt x="348" y="536"/>
                    </a:lnTo>
                    <a:lnTo>
                      <a:pt x="348" y="534"/>
                    </a:lnTo>
                    <a:lnTo>
                      <a:pt x="346" y="534"/>
                    </a:lnTo>
                    <a:lnTo>
                      <a:pt x="346" y="536"/>
                    </a:lnTo>
                    <a:lnTo>
                      <a:pt x="345" y="536"/>
                    </a:lnTo>
                    <a:lnTo>
                      <a:pt x="345" y="534"/>
                    </a:lnTo>
                    <a:lnTo>
                      <a:pt x="345" y="532"/>
                    </a:lnTo>
                    <a:lnTo>
                      <a:pt x="343" y="532"/>
                    </a:lnTo>
                    <a:lnTo>
                      <a:pt x="341" y="532"/>
                    </a:lnTo>
                    <a:lnTo>
                      <a:pt x="341" y="530"/>
                    </a:lnTo>
                    <a:lnTo>
                      <a:pt x="340" y="530"/>
                    </a:lnTo>
                    <a:lnTo>
                      <a:pt x="340" y="532"/>
                    </a:lnTo>
                    <a:lnTo>
                      <a:pt x="338" y="532"/>
                    </a:lnTo>
                    <a:lnTo>
                      <a:pt x="338" y="530"/>
                    </a:lnTo>
                    <a:lnTo>
                      <a:pt x="338" y="529"/>
                    </a:lnTo>
                    <a:lnTo>
                      <a:pt x="336" y="530"/>
                    </a:lnTo>
                    <a:lnTo>
                      <a:pt x="335" y="532"/>
                    </a:lnTo>
                    <a:lnTo>
                      <a:pt x="335" y="530"/>
                    </a:lnTo>
                    <a:lnTo>
                      <a:pt x="335" y="532"/>
                    </a:lnTo>
                    <a:lnTo>
                      <a:pt x="333" y="532"/>
                    </a:lnTo>
                    <a:lnTo>
                      <a:pt x="333" y="534"/>
                    </a:lnTo>
                    <a:lnTo>
                      <a:pt x="333" y="536"/>
                    </a:lnTo>
                    <a:lnTo>
                      <a:pt x="331" y="536"/>
                    </a:lnTo>
                    <a:lnTo>
                      <a:pt x="331" y="537"/>
                    </a:lnTo>
                    <a:lnTo>
                      <a:pt x="329" y="537"/>
                    </a:lnTo>
                    <a:lnTo>
                      <a:pt x="328" y="537"/>
                    </a:lnTo>
                    <a:lnTo>
                      <a:pt x="328" y="536"/>
                    </a:lnTo>
                    <a:lnTo>
                      <a:pt x="326" y="536"/>
                    </a:lnTo>
                    <a:lnTo>
                      <a:pt x="326" y="537"/>
                    </a:lnTo>
                    <a:lnTo>
                      <a:pt x="324" y="537"/>
                    </a:lnTo>
                    <a:lnTo>
                      <a:pt x="324" y="539"/>
                    </a:lnTo>
                    <a:lnTo>
                      <a:pt x="324" y="541"/>
                    </a:lnTo>
                    <a:lnTo>
                      <a:pt x="323" y="541"/>
                    </a:lnTo>
                    <a:lnTo>
                      <a:pt x="323" y="539"/>
                    </a:lnTo>
                    <a:lnTo>
                      <a:pt x="321" y="539"/>
                    </a:lnTo>
                    <a:lnTo>
                      <a:pt x="319" y="539"/>
                    </a:lnTo>
                    <a:lnTo>
                      <a:pt x="319" y="541"/>
                    </a:lnTo>
                    <a:lnTo>
                      <a:pt x="319" y="539"/>
                    </a:lnTo>
                    <a:lnTo>
                      <a:pt x="319" y="541"/>
                    </a:lnTo>
                    <a:lnTo>
                      <a:pt x="318" y="541"/>
                    </a:lnTo>
                    <a:lnTo>
                      <a:pt x="316" y="541"/>
                    </a:lnTo>
                    <a:lnTo>
                      <a:pt x="316" y="539"/>
                    </a:lnTo>
                    <a:lnTo>
                      <a:pt x="314" y="539"/>
                    </a:lnTo>
                    <a:lnTo>
                      <a:pt x="312" y="539"/>
                    </a:lnTo>
                    <a:lnTo>
                      <a:pt x="311" y="539"/>
                    </a:lnTo>
                    <a:lnTo>
                      <a:pt x="311" y="537"/>
                    </a:lnTo>
                    <a:lnTo>
                      <a:pt x="309" y="537"/>
                    </a:lnTo>
                    <a:lnTo>
                      <a:pt x="307" y="537"/>
                    </a:lnTo>
                    <a:lnTo>
                      <a:pt x="307" y="539"/>
                    </a:lnTo>
                    <a:lnTo>
                      <a:pt x="306" y="539"/>
                    </a:lnTo>
                    <a:lnTo>
                      <a:pt x="304" y="537"/>
                    </a:lnTo>
                    <a:lnTo>
                      <a:pt x="304" y="539"/>
                    </a:lnTo>
                    <a:lnTo>
                      <a:pt x="304" y="537"/>
                    </a:lnTo>
                    <a:lnTo>
                      <a:pt x="302" y="537"/>
                    </a:lnTo>
                    <a:lnTo>
                      <a:pt x="302" y="539"/>
                    </a:lnTo>
                    <a:lnTo>
                      <a:pt x="301" y="539"/>
                    </a:lnTo>
                    <a:lnTo>
                      <a:pt x="299" y="539"/>
                    </a:lnTo>
                    <a:lnTo>
                      <a:pt x="297" y="539"/>
                    </a:lnTo>
                    <a:lnTo>
                      <a:pt x="297" y="537"/>
                    </a:lnTo>
                    <a:lnTo>
                      <a:pt x="295" y="537"/>
                    </a:lnTo>
                    <a:lnTo>
                      <a:pt x="295" y="536"/>
                    </a:lnTo>
                    <a:lnTo>
                      <a:pt x="295" y="537"/>
                    </a:lnTo>
                    <a:lnTo>
                      <a:pt x="294" y="536"/>
                    </a:lnTo>
                    <a:lnTo>
                      <a:pt x="292" y="537"/>
                    </a:lnTo>
                    <a:lnTo>
                      <a:pt x="292" y="536"/>
                    </a:lnTo>
                    <a:lnTo>
                      <a:pt x="290" y="536"/>
                    </a:lnTo>
                    <a:lnTo>
                      <a:pt x="290" y="534"/>
                    </a:lnTo>
                    <a:lnTo>
                      <a:pt x="289" y="532"/>
                    </a:lnTo>
                    <a:lnTo>
                      <a:pt x="289" y="530"/>
                    </a:lnTo>
                    <a:lnTo>
                      <a:pt x="290" y="530"/>
                    </a:lnTo>
                    <a:lnTo>
                      <a:pt x="290" y="529"/>
                    </a:lnTo>
                    <a:lnTo>
                      <a:pt x="292" y="529"/>
                    </a:lnTo>
                    <a:lnTo>
                      <a:pt x="292" y="527"/>
                    </a:lnTo>
                    <a:lnTo>
                      <a:pt x="292" y="525"/>
                    </a:lnTo>
                    <a:lnTo>
                      <a:pt x="290" y="525"/>
                    </a:lnTo>
                    <a:lnTo>
                      <a:pt x="290" y="524"/>
                    </a:lnTo>
                    <a:lnTo>
                      <a:pt x="290" y="522"/>
                    </a:lnTo>
                    <a:lnTo>
                      <a:pt x="292" y="520"/>
                    </a:lnTo>
                    <a:lnTo>
                      <a:pt x="290" y="520"/>
                    </a:lnTo>
                    <a:lnTo>
                      <a:pt x="290" y="519"/>
                    </a:lnTo>
                    <a:lnTo>
                      <a:pt x="289" y="517"/>
                    </a:lnTo>
                    <a:lnTo>
                      <a:pt x="287" y="515"/>
                    </a:lnTo>
                    <a:lnTo>
                      <a:pt x="287" y="517"/>
                    </a:lnTo>
                    <a:lnTo>
                      <a:pt x="287" y="519"/>
                    </a:lnTo>
                    <a:lnTo>
                      <a:pt x="287" y="517"/>
                    </a:lnTo>
                    <a:lnTo>
                      <a:pt x="285" y="517"/>
                    </a:lnTo>
                    <a:lnTo>
                      <a:pt x="285" y="519"/>
                    </a:lnTo>
                    <a:lnTo>
                      <a:pt x="284" y="519"/>
                    </a:lnTo>
                    <a:lnTo>
                      <a:pt x="284" y="517"/>
                    </a:lnTo>
                    <a:lnTo>
                      <a:pt x="282" y="517"/>
                    </a:lnTo>
                    <a:lnTo>
                      <a:pt x="280" y="517"/>
                    </a:lnTo>
                    <a:lnTo>
                      <a:pt x="280" y="515"/>
                    </a:lnTo>
                    <a:lnTo>
                      <a:pt x="278" y="515"/>
                    </a:lnTo>
                    <a:lnTo>
                      <a:pt x="277" y="515"/>
                    </a:lnTo>
                    <a:lnTo>
                      <a:pt x="277" y="513"/>
                    </a:lnTo>
                    <a:lnTo>
                      <a:pt x="278" y="513"/>
                    </a:lnTo>
                    <a:lnTo>
                      <a:pt x="278" y="512"/>
                    </a:lnTo>
                    <a:lnTo>
                      <a:pt x="278" y="510"/>
                    </a:lnTo>
                    <a:lnTo>
                      <a:pt x="280" y="510"/>
                    </a:lnTo>
                    <a:lnTo>
                      <a:pt x="278" y="510"/>
                    </a:lnTo>
                    <a:lnTo>
                      <a:pt x="278" y="508"/>
                    </a:lnTo>
                    <a:lnTo>
                      <a:pt x="278" y="507"/>
                    </a:lnTo>
                    <a:lnTo>
                      <a:pt x="277" y="507"/>
                    </a:lnTo>
                    <a:lnTo>
                      <a:pt x="277" y="505"/>
                    </a:lnTo>
                    <a:lnTo>
                      <a:pt x="275" y="505"/>
                    </a:lnTo>
                    <a:lnTo>
                      <a:pt x="277" y="505"/>
                    </a:lnTo>
                    <a:lnTo>
                      <a:pt x="277" y="503"/>
                    </a:lnTo>
                    <a:lnTo>
                      <a:pt x="275" y="503"/>
                    </a:lnTo>
                    <a:lnTo>
                      <a:pt x="275" y="502"/>
                    </a:lnTo>
                    <a:lnTo>
                      <a:pt x="273" y="500"/>
                    </a:lnTo>
                    <a:lnTo>
                      <a:pt x="272" y="498"/>
                    </a:lnTo>
                    <a:lnTo>
                      <a:pt x="272" y="500"/>
                    </a:lnTo>
                    <a:lnTo>
                      <a:pt x="270" y="498"/>
                    </a:lnTo>
                    <a:lnTo>
                      <a:pt x="270" y="500"/>
                    </a:lnTo>
                    <a:lnTo>
                      <a:pt x="268" y="500"/>
                    </a:lnTo>
                    <a:lnTo>
                      <a:pt x="268" y="498"/>
                    </a:lnTo>
                    <a:lnTo>
                      <a:pt x="268" y="500"/>
                    </a:lnTo>
                    <a:lnTo>
                      <a:pt x="267" y="498"/>
                    </a:lnTo>
                    <a:lnTo>
                      <a:pt x="265" y="498"/>
                    </a:lnTo>
                    <a:lnTo>
                      <a:pt x="265" y="496"/>
                    </a:lnTo>
                    <a:lnTo>
                      <a:pt x="265" y="495"/>
                    </a:lnTo>
                    <a:lnTo>
                      <a:pt x="263" y="495"/>
                    </a:lnTo>
                    <a:lnTo>
                      <a:pt x="263" y="493"/>
                    </a:lnTo>
                    <a:lnTo>
                      <a:pt x="261" y="493"/>
                    </a:lnTo>
                    <a:lnTo>
                      <a:pt x="261" y="495"/>
                    </a:lnTo>
                    <a:lnTo>
                      <a:pt x="261" y="493"/>
                    </a:lnTo>
                    <a:lnTo>
                      <a:pt x="260" y="493"/>
                    </a:lnTo>
                    <a:lnTo>
                      <a:pt x="260" y="491"/>
                    </a:lnTo>
                    <a:lnTo>
                      <a:pt x="261" y="491"/>
                    </a:lnTo>
                    <a:lnTo>
                      <a:pt x="260" y="491"/>
                    </a:lnTo>
                    <a:lnTo>
                      <a:pt x="260" y="493"/>
                    </a:lnTo>
                    <a:lnTo>
                      <a:pt x="258" y="493"/>
                    </a:lnTo>
                    <a:lnTo>
                      <a:pt x="258" y="491"/>
                    </a:lnTo>
                    <a:lnTo>
                      <a:pt x="256" y="491"/>
                    </a:lnTo>
                    <a:lnTo>
                      <a:pt x="255" y="491"/>
                    </a:lnTo>
                    <a:lnTo>
                      <a:pt x="253" y="491"/>
                    </a:lnTo>
                    <a:lnTo>
                      <a:pt x="253" y="490"/>
                    </a:lnTo>
                    <a:lnTo>
                      <a:pt x="251" y="490"/>
                    </a:lnTo>
                    <a:lnTo>
                      <a:pt x="253" y="490"/>
                    </a:lnTo>
                    <a:lnTo>
                      <a:pt x="253" y="488"/>
                    </a:lnTo>
                    <a:lnTo>
                      <a:pt x="251" y="488"/>
                    </a:lnTo>
                    <a:lnTo>
                      <a:pt x="251" y="486"/>
                    </a:lnTo>
                    <a:lnTo>
                      <a:pt x="251" y="488"/>
                    </a:lnTo>
                    <a:lnTo>
                      <a:pt x="251" y="486"/>
                    </a:lnTo>
                    <a:lnTo>
                      <a:pt x="253" y="486"/>
                    </a:lnTo>
                    <a:lnTo>
                      <a:pt x="251" y="486"/>
                    </a:lnTo>
                    <a:lnTo>
                      <a:pt x="253" y="485"/>
                    </a:lnTo>
                    <a:lnTo>
                      <a:pt x="251" y="485"/>
                    </a:lnTo>
                    <a:lnTo>
                      <a:pt x="251" y="483"/>
                    </a:lnTo>
                    <a:lnTo>
                      <a:pt x="250" y="483"/>
                    </a:lnTo>
                    <a:lnTo>
                      <a:pt x="250" y="481"/>
                    </a:lnTo>
                    <a:lnTo>
                      <a:pt x="248" y="481"/>
                    </a:lnTo>
                    <a:lnTo>
                      <a:pt x="250" y="481"/>
                    </a:lnTo>
                    <a:lnTo>
                      <a:pt x="250" y="479"/>
                    </a:lnTo>
                    <a:lnTo>
                      <a:pt x="248" y="479"/>
                    </a:lnTo>
                    <a:lnTo>
                      <a:pt x="250" y="478"/>
                    </a:lnTo>
                    <a:lnTo>
                      <a:pt x="248" y="478"/>
                    </a:lnTo>
                    <a:lnTo>
                      <a:pt x="248" y="476"/>
                    </a:lnTo>
                    <a:lnTo>
                      <a:pt x="248" y="474"/>
                    </a:lnTo>
                    <a:lnTo>
                      <a:pt x="248" y="476"/>
                    </a:lnTo>
                    <a:lnTo>
                      <a:pt x="246" y="476"/>
                    </a:lnTo>
                    <a:lnTo>
                      <a:pt x="246" y="474"/>
                    </a:lnTo>
                    <a:lnTo>
                      <a:pt x="248" y="474"/>
                    </a:lnTo>
                    <a:lnTo>
                      <a:pt x="246" y="474"/>
                    </a:lnTo>
                    <a:lnTo>
                      <a:pt x="246" y="473"/>
                    </a:lnTo>
                    <a:lnTo>
                      <a:pt x="244" y="473"/>
                    </a:lnTo>
                    <a:lnTo>
                      <a:pt x="243" y="473"/>
                    </a:lnTo>
                    <a:lnTo>
                      <a:pt x="243" y="471"/>
                    </a:lnTo>
                    <a:lnTo>
                      <a:pt x="241" y="469"/>
                    </a:lnTo>
                    <a:lnTo>
                      <a:pt x="239" y="469"/>
                    </a:lnTo>
                    <a:lnTo>
                      <a:pt x="238" y="469"/>
                    </a:lnTo>
                    <a:lnTo>
                      <a:pt x="238" y="468"/>
                    </a:lnTo>
                    <a:lnTo>
                      <a:pt x="238" y="469"/>
                    </a:lnTo>
                    <a:lnTo>
                      <a:pt x="236" y="469"/>
                    </a:lnTo>
                    <a:lnTo>
                      <a:pt x="236" y="468"/>
                    </a:lnTo>
                    <a:lnTo>
                      <a:pt x="236" y="466"/>
                    </a:lnTo>
                    <a:lnTo>
                      <a:pt x="236" y="464"/>
                    </a:lnTo>
                    <a:lnTo>
                      <a:pt x="234" y="464"/>
                    </a:lnTo>
                    <a:lnTo>
                      <a:pt x="234" y="462"/>
                    </a:lnTo>
                    <a:lnTo>
                      <a:pt x="234" y="464"/>
                    </a:lnTo>
                    <a:lnTo>
                      <a:pt x="233" y="464"/>
                    </a:lnTo>
                    <a:lnTo>
                      <a:pt x="231" y="466"/>
                    </a:lnTo>
                    <a:lnTo>
                      <a:pt x="231" y="464"/>
                    </a:lnTo>
                    <a:lnTo>
                      <a:pt x="229" y="464"/>
                    </a:lnTo>
                    <a:lnTo>
                      <a:pt x="229" y="462"/>
                    </a:lnTo>
                    <a:lnTo>
                      <a:pt x="227" y="462"/>
                    </a:lnTo>
                    <a:lnTo>
                      <a:pt x="226" y="461"/>
                    </a:lnTo>
                    <a:lnTo>
                      <a:pt x="224" y="459"/>
                    </a:lnTo>
                    <a:lnTo>
                      <a:pt x="222" y="459"/>
                    </a:lnTo>
                    <a:lnTo>
                      <a:pt x="221" y="459"/>
                    </a:lnTo>
                    <a:lnTo>
                      <a:pt x="221" y="457"/>
                    </a:lnTo>
                    <a:lnTo>
                      <a:pt x="221" y="459"/>
                    </a:lnTo>
                    <a:lnTo>
                      <a:pt x="219" y="461"/>
                    </a:lnTo>
                    <a:lnTo>
                      <a:pt x="217" y="461"/>
                    </a:lnTo>
                    <a:lnTo>
                      <a:pt x="216" y="461"/>
                    </a:lnTo>
                    <a:lnTo>
                      <a:pt x="214" y="461"/>
                    </a:lnTo>
                    <a:lnTo>
                      <a:pt x="214" y="459"/>
                    </a:lnTo>
                    <a:lnTo>
                      <a:pt x="212" y="459"/>
                    </a:lnTo>
                    <a:lnTo>
                      <a:pt x="210" y="459"/>
                    </a:lnTo>
                    <a:lnTo>
                      <a:pt x="210" y="457"/>
                    </a:lnTo>
                    <a:lnTo>
                      <a:pt x="209" y="457"/>
                    </a:lnTo>
                    <a:lnTo>
                      <a:pt x="207" y="457"/>
                    </a:lnTo>
                    <a:lnTo>
                      <a:pt x="207" y="456"/>
                    </a:lnTo>
                    <a:lnTo>
                      <a:pt x="205" y="456"/>
                    </a:lnTo>
                    <a:lnTo>
                      <a:pt x="204" y="456"/>
                    </a:lnTo>
                    <a:lnTo>
                      <a:pt x="202" y="456"/>
                    </a:lnTo>
                    <a:lnTo>
                      <a:pt x="200" y="456"/>
                    </a:lnTo>
                    <a:lnTo>
                      <a:pt x="200" y="454"/>
                    </a:lnTo>
                    <a:lnTo>
                      <a:pt x="199" y="454"/>
                    </a:lnTo>
                    <a:lnTo>
                      <a:pt x="199" y="452"/>
                    </a:lnTo>
                    <a:lnTo>
                      <a:pt x="197" y="452"/>
                    </a:lnTo>
                    <a:lnTo>
                      <a:pt x="197" y="451"/>
                    </a:lnTo>
                    <a:lnTo>
                      <a:pt x="195" y="451"/>
                    </a:lnTo>
                    <a:lnTo>
                      <a:pt x="195" y="449"/>
                    </a:lnTo>
                    <a:lnTo>
                      <a:pt x="193" y="449"/>
                    </a:lnTo>
                    <a:lnTo>
                      <a:pt x="193" y="447"/>
                    </a:lnTo>
                    <a:lnTo>
                      <a:pt x="192" y="447"/>
                    </a:lnTo>
                    <a:lnTo>
                      <a:pt x="192" y="445"/>
                    </a:lnTo>
                    <a:lnTo>
                      <a:pt x="190" y="445"/>
                    </a:lnTo>
                    <a:lnTo>
                      <a:pt x="190" y="444"/>
                    </a:lnTo>
                    <a:lnTo>
                      <a:pt x="188" y="444"/>
                    </a:lnTo>
                    <a:lnTo>
                      <a:pt x="187" y="444"/>
                    </a:lnTo>
                    <a:lnTo>
                      <a:pt x="185" y="444"/>
                    </a:lnTo>
                    <a:lnTo>
                      <a:pt x="185" y="442"/>
                    </a:lnTo>
                    <a:lnTo>
                      <a:pt x="183" y="442"/>
                    </a:lnTo>
                    <a:lnTo>
                      <a:pt x="183" y="444"/>
                    </a:lnTo>
                    <a:lnTo>
                      <a:pt x="182" y="444"/>
                    </a:lnTo>
                    <a:lnTo>
                      <a:pt x="180" y="444"/>
                    </a:lnTo>
                    <a:lnTo>
                      <a:pt x="180" y="445"/>
                    </a:lnTo>
                    <a:lnTo>
                      <a:pt x="180" y="449"/>
                    </a:lnTo>
                    <a:lnTo>
                      <a:pt x="178" y="449"/>
                    </a:lnTo>
                    <a:lnTo>
                      <a:pt x="176" y="449"/>
                    </a:lnTo>
                    <a:lnTo>
                      <a:pt x="175" y="449"/>
                    </a:lnTo>
                    <a:lnTo>
                      <a:pt x="173" y="449"/>
                    </a:lnTo>
                    <a:lnTo>
                      <a:pt x="171" y="449"/>
                    </a:lnTo>
                    <a:lnTo>
                      <a:pt x="171" y="447"/>
                    </a:lnTo>
                    <a:lnTo>
                      <a:pt x="170" y="447"/>
                    </a:lnTo>
                    <a:lnTo>
                      <a:pt x="168" y="447"/>
                    </a:lnTo>
                    <a:lnTo>
                      <a:pt x="168" y="449"/>
                    </a:lnTo>
                    <a:lnTo>
                      <a:pt x="166" y="447"/>
                    </a:lnTo>
                    <a:lnTo>
                      <a:pt x="166" y="449"/>
                    </a:lnTo>
                    <a:lnTo>
                      <a:pt x="166" y="447"/>
                    </a:lnTo>
                    <a:lnTo>
                      <a:pt x="166" y="449"/>
                    </a:lnTo>
                    <a:lnTo>
                      <a:pt x="165" y="449"/>
                    </a:lnTo>
                    <a:lnTo>
                      <a:pt x="163" y="449"/>
                    </a:lnTo>
                    <a:lnTo>
                      <a:pt x="163" y="447"/>
                    </a:lnTo>
                    <a:lnTo>
                      <a:pt x="161" y="447"/>
                    </a:lnTo>
                    <a:lnTo>
                      <a:pt x="159" y="447"/>
                    </a:lnTo>
                    <a:lnTo>
                      <a:pt x="158" y="447"/>
                    </a:lnTo>
                    <a:lnTo>
                      <a:pt x="158" y="445"/>
                    </a:lnTo>
                    <a:lnTo>
                      <a:pt x="156" y="445"/>
                    </a:lnTo>
                    <a:lnTo>
                      <a:pt x="156" y="444"/>
                    </a:lnTo>
                    <a:lnTo>
                      <a:pt x="154" y="444"/>
                    </a:lnTo>
                    <a:lnTo>
                      <a:pt x="153" y="444"/>
                    </a:lnTo>
                    <a:lnTo>
                      <a:pt x="153" y="445"/>
                    </a:lnTo>
                    <a:lnTo>
                      <a:pt x="153" y="444"/>
                    </a:lnTo>
                    <a:lnTo>
                      <a:pt x="151" y="445"/>
                    </a:lnTo>
                    <a:lnTo>
                      <a:pt x="151" y="444"/>
                    </a:lnTo>
                    <a:lnTo>
                      <a:pt x="151" y="445"/>
                    </a:lnTo>
                    <a:lnTo>
                      <a:pt x="149" y="444"/>
                    </a:lnTo>
                    <a:lnTo>
                      <a:pt x="148" y="444"/>
                    </a:lnTo>
                    <a:lnTo>
                      <a:pt x="146" y="444"/>
                    </a:lnTo>
                    <a:lnTo>
                      <a:pt x="146" y="442"/>
                    </a:lnTo>
                    <a:lnTo>
                      <a:pt x="144" y="442"/>
                    </a:lnTo>
                    <a:lnTo>
                      <a:pt x="142" y="444"/>
                    </a:lnTo>
                    <a:lnTo>
                      <a:pt x="142" y="442"/>
                    </a:lnTo>
                    <a:lnTo>
                      <a:pt x="142" y="440"/>
                    </a:lnTo>
                    <a:lnTo>
                      <a:pt x="142" y="439"/>
                    </a:lnTo>
                    <a:lnTo>
                      <a:pt x="142" y="437"/>
                    </a:lnTo>
                    <a:lnTo>
                      <a:pt x="144" y="437"/>
                    </a:lnTo>
                    <a:lnTo>
                      <a:pt x="144" y="435"/>
                    </a:lnTo>
                    <a:lnTo>
                      <a:pt x="142" y="435"/>
                    </a:lnTo>
                    <a:lnTo>
                      <a:pt x="141" y="435"/>
                    </a:lnTo>
                    <a:lnTo>
                      <a:pt x="141" y="433"/>
                    </a:lnTo>
                    <a:lnTo>
                      <a:pt x="139" y="433"/>
                    </a:lnTo>
                    <a:lnTo>
                      <a:pt x="137" y="433"/>
                    </a:lnTo>
                    <a:lnTo>
                      <a:pt x="137" y="432"/>
                    </a:lnTo>
                    <a:lnTo>
                      <a:pt x="136" y="432"/>
                    </a:lnTo>
                    <a:lnTo>
                      <a:pt x="137" y="432"/>
                    </a:lnTo>
                    <a:lnTo>
                      <a:pt x="137" y="430"/>
                    </a:lnTo>
                    <a:lnTo>
                      <a:pt x="137" y="428"/>
                    </a:lnTo>
                    <a:lnTo>
                      <a:pt x="136" y="428"/>
                    </a:lnTo>
                    <a:lnTo>
                      <a:pt x="134" y="428"/>
                    </a:lnTo>
                    <a:lnTo>
                      <a:pt x="132" y="428"/>
                    </a:lnTo>
                    <a:lnTo>
                      <a:pt x="132" y="430"/>
                    </a:lnTo>
                    <a:lnTo>
                      <a:pt x="131" y="430"/>
                    </a:lnTo>
                    <a:lnTo>
                      <a:pt x="129" y="430"/>
                    </a:lnTo>
                    <a:lnTo>
                      <a:pt x="129" y="428"/>
                    </a:lnTo>
                    <a:lnTo>
                      <a:pt x="127" y="428"/>
                    </a:lnTo>
                    <a:lnTo>
                      <a:pt x="125" y="428"/>
                    </a:lnTo>
                    <a:lnTo>
                      <a:pt x="125" y="427"/>
                    </a:lnTo>
                    <a:lnTo>
                      <a:pt x="124" y="427"/>
                    </a:lnTo>
                    <a:lnTo>
                      <a:pt x="122" y="427"/>
                    </a:lnTo>
                    <a:lnTo>
                      <a:pt x="122" y="425"/>
                    </a:lnTo>
                    <a:lnTo>
                      <a:pt x="120" y="425"/>
                    </a:lnTo>
                    <a:lnTo>
                      <a:pt x="119" y="425"/>
                    </a:lnTo>
                    <a:lnTo>
                      <a:pt x="120" y="423"/>
                    </a:lnTo>
                    <a:lnTo>
                      <a:pt x="119" y="423"/>
                    </a:lnTo>
                    <a:lnTo>
                      <a:pt x="119" y="422"/>
                    </a:lnTo>
                    <a:lnTo>
                      <a:pt x="117" y="422"/>
                    </a:lnTo>
                    <a:lnTo>
                      <a:pt x="117" y="420"/>
                    </a:lnTo>
                    <a:lnTo>
                      <a:pt x="117" y="418"/>
                    </a:lnTo>
                    <a:lnTo>
                      <a:pt x="115" y="416"/>
                    </a:lnTo>
                    <a:lnTo>
                      <a:pt x="114" y="416"/>
                    </a:lnTo>
                    <a:lnTo>
                      <a:pt x="114" y="418"/>
                    </a:lnTo>
                    <a:lnTo>
                      <a:pt x="112" y="418"/>
                    </a:lnTo>
                    <a:lnTo>
                      <a:pt x="112" y="416"/>
                    </a:lnTo>
                    <a:lnTo>
                      <a:pt x="110" y="416"/>
                    </a:lnTo>
                    <a:lnTo>
                      <a:pt x="108" y="416"/>
                    </a:lnTo>
                    <a:lnTo>
                      <a:pt x="108" y="415"/>
                    </a:lnTo>
                    <a:lnTo>
                      <a:pt x="107" y="415"/>
                    </a:lnTo>
                    <a:lnTo>
                      <a:pt x="105" y="415"/>
                    </a:lnTo>
                    <a:lnTo>
                      <a:pt x="105" y="413"/>
                    </a:lnTo>
                    <a:lnTo>
                      <a:pt x="103" y="413"/>
                    </a:lnTo>
                    <a:lnTo>
                      <a:pt x="103" y="411"/>
                    </a:lnTo>
                    <a:lnTo>
                      <a:pt x="102" y="411"/>
                    </a:lnTo>
                    <a:lnTo>
                      <a:pt x="102" y="410"/>
                    </a:lnTo>
                    <a:lnTo>
                      <a:pt x="100" y="410"/>
                    </a:lnTo>
                    <a:lnTo>
                      <a:pt x="98" y="408"/>
                    </a:lnTo>
                    <a:lnTo>
                      <a:pt x="98" y="406"/>
                    </a:lnTo>
                    <a:lnTo>
                      <a:pt x="97" y="406"/>
                    </a:lnTo>
                    <a:lnTo>
                      <a:pt x="97" y="405"/>
                    </a:lnTo>
                    <a:lnTo>
                      <a:pt x="95" y="405"/>
                    </a:lnTo>
                    <a:lnTo>
                      <a:pt x="95" y="403"/>
                    </a:lnTo>
                    <a:lnTo>
                      <a:pt x="93" y="403"/>
                    </a:lnTo>
                    <a:lnTo>
                      <a:pt x="91" y="401"/>
                    </a:lnTo>
                    <a:lnTo>
                      <a:pt x="93" y="401"/>
                    </a:lnTo>
                    <a:lnTo>
                      <a:pt x="91" y="401"/>
                    </a:lnTo>
                    <a:lnTo>
                      <a:pt x="93" y="401"/>
                    </a:lnTo>
                    <a:lnTo>
                      <a:pt x="93" y="399"/>
                    </a:lnTo>
                    <a:lnTo>
                      <a:pt x="95" y="399"/>
                    </a:lnTo>
                    <a:lnTo>
                      <a:pt x="95" y="398"/>
                    </a:lnTo>
                    <a:lnTo>
                      <a:pt x="97" y="398"/>
                    </a:lnTo>
                    <a:lnTo>
                      <a:pt x="97" y="396"/>
                    </a:lnTo>
                    <a:lnTo>
                      <a:pt x="98" y="396"/>
                    </a:lnTo>
                    <a:lnTo>
                      <a:pt x="98" y="394"/>
                    </a:lnTo>
                    <a:lnTo>
                      <a:pt x="98" y="396"/>
                    </a:lnTo>
                    <a:lnTo>
                      <a:pt x="100" y="396"/>
                    </a:lnTo>
                    <a:lnTo>
                      <a:pt x="102" y="396"/>
                    </a:lnTo>
                    <a:lnTo>
                      <a:pt x="102" y="398"/>
                    </a:lnTo>
                    <a:lnTo>
                      <a:pt x="102" y="396"/>
                    </a:lnTo>
                    <a:lnTo>
                      <a:pt x="103" y="398"/>
                    </a:lnTo>
                    <a:lnTo>
                      <a:pt x="103" y="396"/>
                    </a:lnTo>
                    <a:lnTo>
                      <a:pt x="103" y="398"/>
                    </a:lnTo>
                    <a:lnTo>
                      <a:pt x="103" y="396"/>
                    </a:lnTo>
                    <a:lnTo>
                      <a:pt x="105" y="396"/>
                    </a:lnTo>
                    <a:lnTo>
                      <a:pt x="107" y="396"/>
                    </a:lnTo>
                    <a:lnTo>
                      <a:pt x="105" y="396"/>
                    </a:lnTo>
                    <a:lnTo>
                      <a:pt x="107" y="398"/>
                    </a:lnTo>
                    <a:lnTo>
                      <a:pt x="107" y="396"/>
                    </a:lnTo>
                    <a:lnTo>
                      <a:pt x="108" y="396"/>
                    </a:lnTo>
                    <a:lnTo>
                      <a:pt x="108" y="394"/>
                    </a:lnTo>
                    <a:lnTo>
                      <a:pt x="108" y="393"/>
                    </a:lnTo>
                    <a:lnTo>
                      <a:pt x="107" y="393"/>
                    </a:lnTo>
                    <a:lnTo>
                      <a:pt x="107" y="391"/>
                    </a:lnTo>
                    <a:lnTo>
                      <a:pt x="105" y="391"/>
                    </a:lnTo>
                    <a:lnTo>
                      <a:pt x="107" y="391"/>
                    </a:lnTo>
                    <a:lnTo>
                      <a:pt x="105" y="389"/>
                    </a:lnTo>
                    <a:lnTo>
                      <a:pt x="103" y="391"/>
                    </a:lnTo>
                    <a:lnTo>
                      <a:pt x="103" y="389"/>
                    </a:lnTo>
                    <a:lnTo>
                      <a:pt x="103" y="388"/>
                    </a:lnTo>
                    <a:lnTo>
                      <a:pt x="103" y="386"/>
                    </a:lnTo>
                    <a:lnTo>
                      <a:pt x="102" y="386"/>
                    </a:lnTo>
                    <a:lnTo>
                      <a:pt x="102" y="384"/>
                    </a:lnTo>
                    <a:lnTo>
                      <a:pt x="102" y="382"/>
                    </a:lnTo>
                    <a:lnTo>
                      <a:pt x="103" y="382"/>
                    </a:lnTo>
                    <a:lnTo>
                      <a:pt x="103" y="381"/>
                    </a:lnTo>
                    <a:lnTo>
                      <a:pt x="105" y="381"/>
                    </a:lnTo>
                    <a:lnTo>
                      <a:pt x="103" y="381"/>
                    </a:lnTo>
                    <a:lnTo>
                      <a:pt x="103" y="379"/>
                    </a:lnTo>
                    <a:lnTo>
                      <a:pt x="105" y="379"/>
                    </a:lnTo>
                    <a:lnTo>
                      <a:pt x="105" y="377"/>
                    </a:lnTo>
                    <a:lnTo>
                      <a:pt x="105" y="376"/>
                    </a:lnTo>
                    <a:lnTo>
                      <a:pt x="107" y="376"/>
                    </a:lnTo>
                    <a:lnTo>
                      <a:pt x="107" y="374"/>
                    </a:lnTo>
                    <a:lnTo>
                      <a:pt x="108" y="374"/>
                    </a:lnTo>
                    <a:lnTo>
                      <a:pt x="107" y="374"/>
                    </a:lnTo>
                    <a:lnTo>
                      <a:pt x="108" y="374"/>
                    </a:lnTo>
                    <a:lnTo>
                      <a:pt x="107" y="374"/>
                    </a:lnTo>
                    <a:lnTo>
                      <a:pt x="108" y="372"/>
                    </a:lnTo>
                    <a:lnTo>
                      <a:pt x="110" y="374"/>
                    </a:lnTo>
                    <a:lnTo>
                      <a:pt x="110" y="372"/>
                    </a:lnTo>
                    <a:lnTo>
                      <a:pt x="108" y="372"/>
                    </a:lnTo>
                    <a:lnTo>
                      <a:pt x="110" y="371"/>
                    </a:lnTo>
                    <a:lnTo>
                      <a:pt x="112" y="372"/>
                    </a:lnTo>
                    <a:lnTo>
                      <a:pt x="112" y="371"/>
                    </a:lnTo>
                    <a:lnTo>
                      <a:pt x="110" y="371"/>
                    </a:lnTo>
                    <a:lnTo>
                      <a:pt x="110" y="369"/>
                    </a:lnTo>
                    <a:lnTo>
                      <a:pt x="112" y="369"/>
                    </a:lnTo>
                    <a:lnTo>
                      <a:pt x="112" y="371"/>
                    </a:lnTo>
                    <a:lnTo>
                      <a:pt x="114" y="371"/>
                    </a:lnTo>
                    <a:lnTo>
                      <a:pt x="114" y="372"/>
                    </a:lnTo>
                    <a:lnTo>
                      <a:pt x="114" y="371"/>
                    </a:lnTo>
                    <a:lnTo>
                      <a:pt x="115" y="371"/>
                    </a:lnTo>
                    <a:lnTo>
                      <a:pt x="114" y="371"/>
                    </a:lnTo>
                    <a:lnTo>
                      <a:pt x="114" y="369"/>
                    </a:lnTo>
                    <a:lnTo>
                      <a:pt x="114" y="367"/>
                    </a:lnTo>
                    <a:lnTo>
                      <a:pt x="115" y="367"/>
                    </a:lnTo>
                    <a:lnTo>
                      <a:pt x="115" y="369"/>
                    </a:lnTo>
                    <a:lnTo>
                      <a:pt x="115" y="371"/>
                    </a:lnTo>
                    <a:lnTo>
                      <a:pt x="117" y="371"/>
                    </a:lnTo>
                    <a:lnTo>
                      <a:pt x="115" y="369"/>
                    </a:lnTo>
                    <a:lnTo>
                      <a:pt x="117" y="371"/>
                    </a:lnTo>
                    <a:lnTo>
                      <a:pt x="119" y="372"/>
                    </a:lnTo>
                    <a:lnTo>
                      <a:pt x="119" y="371"/>
                    </a:lnTo>
                    <a:lnTo>
                      <a:pt x="117" y="371"/>
                    </a:lnTo>
                    <a:lnTo>
                      <a:pt x="117" y="369"/>
                    </a:lnTo>
                    <a:lnTo>
                      <a:pt x="115" y="367"/>
                    </a:lnTo>
                    <a:lnTo>
                      <a:pt x="117" y="367"/>
                    </a:lnTo>
                    <a:lnTo>
                      <a:pt x="119" y="367"/>
                    </a:lnTo>
                    <a:lnTo>
                      <a:pt x="119" y="369"/>
                    </a:lnTo>
                    <a:lnTo>
                      <a:pt x="120" y="369"/>
                    </a:lnTo>
                    <a:lnTo>
                      <a:pt x="120" y="367"/>
                    </a:lnTo>
                    <a:lnTo>
                      <a:pt x="119" y="367"/>
                    </a:lnTo>
                    <a:lnTo>
                      <a:pt x="120" y="367"/>
                    </a:lnTo>
                    <a:lnTo>
                      <a:pt x="120" y="365"/>
                    </a:lnTo>
                    <a:lnTo>
                      <a:pt x="122" y="365"/>
                    </a:lnTo>
                    <a:lnTo>
                      <a:pt x="122" y="367"/>
                    </a:lnTo>
                    <a:lnTo>
                      <a:pt x="120" y="367"/>
                    </a:lnTo>
                    <a:lnTo>
                      <a:pt x="120" y="369"/>
                    </a:lnTo>
                    <a:lnTo>
                      <a:pt x="120" y="371"/>
                    </a:lnTo>
                    <a:lnTo>
                      <a:pt x="122" y="371"/>
                    </a:lnTo>
                    <a:lnTo>
                      <a:pt x="122" y="369"/>
                    </a:lnTo>
                    <a:lnTo>
                      <a:pt x="122" y="367"/>
                    </a:lnTo>
                    <a:lnTo>
                      <a:pt x="122" y="369"/>
                    </a:lnTo>
                    <a:lnTo>
                      <a:pt x="124" y="369"/>
                    </a:lnTo>
                    <a:lnTo>
                      <a:pt x="122" y="369"/>
                    </a:lnTo>
                    <a:lnTo>
                      <a:pt x="122" y="367"/>
                    </a:lnTo>
                    <a:lnTo>
                      <a:pt x="124" y="367"/>
                    </a:lnTo>
                    <a:lnTo>
                      <a:pt x="124" y="369"/>
                    </a:lnTo>
                    <a:lnTo>
                      <a:pt x="125" y="367"/>
                    </a:lnTo>
                    <a:lnTo>
                      <a:pt x="127" y="367"/>
                    </a:lnTo>
                    <a:lnTo>
                      <a:pt x="129" y="369"/>
                    </a:lnTo>
                    <a:lnTo>
                      <a:pt x="129" y="367"/>
                    </a:lnTo>
                    <a:lnTo>
                      <a:pt x="129" y="369"/>
                    </a:lnTo>
                    <a:lnTo>
                      <a:pt x="129" y="367"/>
                    </a:lnTo>
                    <a:lnTo>
                      <a:pt x="129" y="365"/>
                    </a:lnTo>
                    <a:lnTo>
                      <a:pt x="131" y="365"/>
                    </a:lnTo>
                    <a:lnTo>
                      <a:pt x="131" y="367"/>
                    </a:lnTo>
                    <a:lnTo>
                      <a:pt x="131" y="365"/>
                    </a:lnTo>
                    <a:lnTo>
                      <a:pt x="132" y="365"/>
                    </a:lnTo>
                    <a:lnTo>
                      <a:pt x="132" y="367"/>
                    </a:lnTo>
                    <a:lnTo>
                      <a:pt x="134" y="367"/>
                    </a:lnTo>
                    <a:lnTo>
                      <a:pt x="134" y="365"/>
                    </a:lnTo>
                    <a:lnTo>
                      <a:pt x="132" y="365"/>
                    </a:lnTo>
                    <a:lnTo>
                      <a:pt x="132" y="364"/>
                    </a:lnTo>
                    <a:lnTo>
                      <a:pt x="134" y="364"/>
                    </a:lnTo>
                    <a:lnTo>
                      <a:pt x="136" y="364"/>
                    </a:lnTo>
                    <a:lnTo>
                      <a:pt x="136" y="362"/>
                    </a:lnTo>
                    <a:lnTo>
                      <a:pt x="136" y="364"/>
                    </a:lnTo>
                    <a:lnTo>
                      <a:pt x="136" y="362"/>
                    </a:lnTo>
                    <a:lnTo>
                      <a:pt x="134" y="362"/>
                    </a:lnTo>
                    <a:lnTo>
                      <a:pt x="136" y="362"/>
                    </a:lnTo>
                    <a:lnTo>
                      <a:pt x="136" y="360"/>
                    </a:lnTo>
                    <a:lnTo>
                      <a:pt x="137" y="360"/>
                    </a:lnTo>
                    <a:lnTo>
                      <a:pt x="137" y="359"/>
                    </a:lnTo>
                    <a:lnTo>
                      <a:pt x="136" y="359"/>
                    </a:lnTo>
                    <a:lnTo>
                      <a:pt x="137" y="359"/>
                    </a:lnTo>
                    <a:lnTo>
                      <a:pt x="137" y="357"/>
                    </a:lnTo>
                    <a:lnTo>
                      <a:pt x="137" y="359"/>
                    </a:lnTo>
                    <a:lnTo>
                      <a:pt x="137" y="357"/>
                    </a:lnTo>
                    <a:lnTo>
                      <a:pt x="137" y="355"/>
                    </a:lnTo>
                    <a:lnTo>
                      <a:pt x="136" y="357"/>
                    </a:lnTo>
                    <a:lnTo>
                      <a:pt x="137" y="355"/>
                    </a:lnTo>
                    <a:lnTo>
                      <a:pt x="137" y="354"/>
                    </a:lnTo>
                    <a:lnTo>
                      <a:pt x="137" y="355"/>
                    </a:lnTo>
                    <a:lnTo>
                      <a:pt x="137" y="354"/>
                    </a:lnTo>
                    <a:lnTo>
                      <a:pt x="139" y="354"/>
                    </a:lnTo>
                    <a:lnTo>
                      <a:pt x="139" y="352"/>
                    </a:lnTo>
                    <a:lnTo>
                      <a:pt x="141" y="350"/>
                    </a:lnTo>
                    <a:lnTo>
                      <a:pt x="141" y="352"/>
                    </a:lnTo>
                    <a:lnTo>
                      <a:pt x="141" y="350"/>
                    </a:lnTo>
                    <a:lnTo>
                      <a:pt x="141" y="348"/>
                    </a:lnTo>
                    <a:lnTo>
                      <a:pt x="142" y="348"/>
                    </a:lnTo>
                    <a:lnTo>
                      <a:pt x="144" y="348"/>
                    </a:lnTo>
                    <a:lnTo>
                      <a:pt x="142" y="348"/>
                    </a:lnTo>
                    <a:lnTo>
                      <a:pt x="144" y="348"/>
                    </a:lnTo>
                    <a:lnTo>
                      <a:pt x="142" y="348"/>
                    </a:lnTo>
                    <a:lnTo>
                      <a:pt x="142" y="347"/>
                    </a:lnTo>
                    <a:lnTo>
                      <a:pt x="142" y="348"/>
                    </a:lnTo>
                    <a:lnTo>
                      <a:pt x="141" y="347"/>
                    </a:lnTo>
                    <a:lnTo>
                      <a:pt x="142" y="347"/>
                    </a:lnTo>
                    <a:lnTo>
                      <a:pt x="142" y="345"/>
                    </a:lnTo>
                    <a:lnTo>
                      <a:pt x="144" y="345"/>
                    </a:lnTo>
                    <a:lnTo>
                      <a:pt x="144" y="343"/>
                    </a:lnTo>
                    <a:lnTo>
                      <a:pt x="146" y="343"/>
                    </a:lnTo>
                    <a:lnTo>
                      <a:pt x="146" y="342"/>
                    </a:lnTo>
                    <a:lnTo>
                      <a:pt x="148" y="342"/>
                    </a:lnTo>
                    <a:lnTo>
                      <a:pt x="148" y="340"/>
                    </a:lnTo>
                    <a:lnTo>
                      <a:pt x="148" y="342"/>
                    </a:lnTo>
                    <a:lnTo>
                      <a:pt x="149" y="342"/>
                    </a:lnTo>
                    <a:lnTo>
                      <a:pt x="149" y="340"/>
                    </a:lnTo>
                    <a:lnTo>
                      <a:pt x="148" y="340"/>
                    </a:lnTo>
                    <a:lnTo>
                      <a:pt x="148" y="338"/>
                    </a:lnTo>
                    <a:lnTo>
                      <a:pt x="149" y="338"/>
                    </a:lnTo>
                    <a:lnTo>
                      <a:pt x="151" y="338"/>
                    </a:lnTo>
                    <a:lnTo>
                      <a:pt x="149" y="338"/>
                    </a:lnTo>
                    <a:lnTo>
                      <a:pt x="151" y="338"/>
                    </a:lnTo>
                    <a:lnTo>
                      <a:pt x="149" y="338"/>
                    </a:lnTo>
                    <a:lnTo>
                      <a:pt x="149" y="337"/>
                    </a:lnTo>
                    <a:lnTo>
                      <a:pt x="151" y="337"/>
                    </a:lnTo>
                    <a:lnTo>
                      <a:pt x="153" y="337"/>
                    </a:lnTo>
                    <a:lnTo>
                      <a:pt x="153" y="335"/>
                    </a:lnTo>
                    <a:lnTo>
                      <a:pt x="154" y="333"/>
                    </a:lnTo>
                    <a:lnTo>
                      <a:pt x="154" y="331"/>
                    </a:lnTo>
                    <a:lnTo>
                      <a:pt x="153" y="331"/>
                    </a:lnTo>
                    <a:lnTo>
                      <a:pt x="153" y="330"/>
                    </a:lnTo>
                    <a:lnTo>
                      <a:pt x="154" y="330"/>
                    </a:lnTo>
                    <a:lnTo>
                      <a:pt x="156" y="330"/>
                    </a:lnTo>
                    <a:lnTo>
                      <a:pt x="154" y="330"/>
                    </a:lnTo>
                    <a:lnTo>
                      <a:pt x="156" y="328"/>
                    </a:lnTo>
                    <a:lnTo>
                      <a:pt x="154" y="328"/>
                    </a:lnTo>
                    <a:lnTo>
                      <a:pt x="156" y="328"/>
                    </a:lnTo>
                    <a:lnTo>
                      <a:pt x="156" y="326"/>
                    </a:lnTo>
                    <a:lnTo>
                      <a:pt x="158" y="326"/>
                    </a:lnTo>
                    <a:lnTo>
                      <a:pt x="158" y="325"/>
                    </a:lnTo>
                    <a:lnTo>
                      <a:pt x="159" y="326"/>
                    </a:lnTo>
                    <a:lnTo>
                      <a:pt x="158" y="325"/>
                    </a:lnTo>
                    <a:lnTo>
                      <a:pt x="156" y="325"/>
                    </a:lnTo>
                    <a:lnTo>
                      <a:pt x="156" y="326"/>
                    </a:lnTo>
                    <a:lnTo>
                      <a:pt x="154" y="326"/>
                    </a:lnTo>
                    <a:lnTo>
                      <a:pt x="154" y="328"/>
                    </a:lnTo>
                    <a:lnTo>
                      <a:pt x="153" y="326"/>
                    </a:lnTo>
                    <a:lnTo>
                      <a:pt x="153" y="328"/>
                    </a:lnTo>
                    <a:lnTo>
                      <a:pt x="151" y="328"/>
                    </a:lnTo>
                    <a:lnTo>
                      <a:pt x="151" y="326"/>
                    </a:lnTo>
                    <a:lnTo>
                      <a:pt x="149" y="326"/>
                    </a:lnTo>
                    <a:lnTo>
                      <a:pt x="151" y="326"/>
                    </a:lnTo>
                    <a:lnTo>
                      <a:pt x="151" y="325"/>
                    </a:lnTo>
                    <a:lnTo>
                      <a:pt x="149" y="325"/>
                    </a:lnTo>
                    <a:lnTo>
                      <a:pt x="149" y="323"/>
                    </a:lnTo>
                    <a:lnTo>
                      <a:pt x="151" y="323"/>
                    </a:lnTo>
                    <a:lnTo>
                      <a:pt x="153" y="323"/>
                    </a:lnTo>
                    <a:lnTo>
                      <a:pt x="151" y="321"/>
                    </a:lnTo>
                    <a:lnTo>
                      <a:pt x="153" y="323"/>
                    </a:lnTo>
                    <a:lnTo>
                      <a:pt x="153" y="321"/>
                    </a:lnTo>
                    <a:lnTo>
                      <a:pt x="153" y="320"/>
                    </a:lnTo>
                    <a:lnTo>
                      <a:pt x="154" y="320"/>
                    </a:lnTo>
                    <a:lnTo>
                      <a:pt x="153" y="320"/>
                    </a:lnTo>
                    <a:lnTo>
                      <a:pt x="151" y="320"/>
                    </a:lnTo>
                    <a:lnTo>
                      <a:pt x="149" y="320"/>
                    </a:lnTo>
                    <a:lnTo>
                      <a:pt x="149" y="321"/>
                    </a:lnTo>
                    <a:lnTo>
                      <a:pt x="149" y="323"/>
                    </a:lnTo>
                    <a:lnTo>
                      <a:pt x="148" y="325"/>
                    </a:lnTo>
                    <a:lnTo>
                      <a:pt x="148" y="323"/>
                    </a:lnTo>
                    <a:lnTo>
                      <a:pt x="148" y="321"/>
                    </a:lnTo>
                    <a:lnTo>
                      <a:pt x="146" y="323"/>
                    </a:lnTo>
                    <a:lnTo>
                      <a:pt x="146" y="321"/>
                    </a:lnTo>
                    <a:lnTo>
                      <a:pt x="146" y="320"/>
                    </a:lnTo>
                    <a:lnTo>
                      <a:pt x="144" y="320"/>
                    </a:lnTo>
                    <a:lnTo>
                      <a:pt x="142" y="318"/>
                    </a:lnTo>
                    <a:lnTo>
                      <a:pt x="144" y="318"/>
                    </a:lnTo>
                    <a:lnTo>
                      <a:pt x="144" y="316"/>
                    </a:lnTo>
                    <a:lnTo>
                      <a:pt x="146" y="316"/>
                    </a:lnTo>
                    <a:lnTo>
                      <a:pt x="144" y="316"/>
                    </a:lnTo>
                    <a:lnTo>
                      <a:pt x="142" y="316"/>
                    </a:lnTo>
                    <a:lnTo>
                      <a:pt x="142" y="318"/>
                    </a:lnTo>
                    <a:lnTo>
                      <a:pt x="142" y="316"/>
                    </a:lnTo>
                    <a:lnTo>
                      <a:pt x="142" y="314"/>
                    </a:lnTo>
                    <a:lnTo>
                      <a:pt x="142" y="313"/>
                    </a:lnTo>
                    <a:lnTo>
                      <a:pt x="142" y="311"/>
                    </a:lnTo>
                    <a:lnTo>
                      <a:pt x="144" y="311"/>
                    </a:lnTo>
                    <a:lnTo>
                      <a:pt x="142" y="311"/>
                    </a:lnTo>
                    <a:lnTo>
                      <a:pt x="144" y="313"/>
                    </a:lnTo>
                    <a:lnTo>
                      <a:pt x="142" y="313"/>
                    </a:lnTo>
                    <a:lnTo>
                      <a:pt x="144" y="313"/>
                    </a:lnTo>
                    <a:lnTo>
                      <a:pt x="146" y="313"/>
                    </a:lnTo>
                    <a:lnTo>
                      <a:pt x="146" y="311"/>
                    </a:lnTo>
                    <a:lnTo>
                      <a:pt x="146" y="309"/>
                    </a:lnTo>
                    <a:lnTo>
                      <a:pt x="148" y="309"/>
                    </a:lnTo>
                    <a:lnTo>
                      <a:pt x="148" y="308"/>
                    </a:lnTo>
                    <a:lnTo>
                      <a:pt x="148" y="306"/>
                    </a:lnTo>
                    <a:lnTo>
                      <a:pt x="149" y="304"/>
                    </a:lnTo>
                    <a:lnTo>
                      <a:pt x="149" y="303"/>
                    </a:lnTo>
                    <a:lnTo>
                      <a:pt x="149" y="301"/>
                    </a:lnTo>
                    <a:lnTo>
                      <a:pt x="149" y="299"/>
                    </a:lnTo>
                    <a:lnTo>
                      <a:pt x="149" y="297"/>
                    </a:lnTo>
                    <a:lnTo>
                      <a:pt x="149" y="296"/>
                    </a:lnTo>
                    <a:lnTo>
                      <a:pt x="149" y="297"/>
                    </a:lnTo>
                    <a:lnTo>
                      <a:pt x="151" y="297"/>
                    </a:lnTo>
                    <a:lnTo>
                      <a:pt x="149" y="296"/>
                    </a:lnTo>
                    <a:lnTo>
                      <a:pt x="148" y="296"/>
                    </a:lnTo>
                    <a:lnTo>
                      <a:pt x="149" y="294"/>
                    </a:lnTo>
                    <a:lnTo>
                      <a:pt x="148" y="294"/>
                    </a:lnTo>
                    <a:lnTo>
                      <a:pt x="148" y="292"/>
                    </a:lnTo>
                    <a:lnTo>
                      <a:pt x="148" y="291"/>
                    </a:lnTo>
                    <a:lnTo>
                      <a:pt x="148" y="289"/>
                    </a:lnTo>
                    <a:lnTo>
                      <a:pt x="148" y="287"/>
                    </a:lnTo>
                    <a:lnTo>
                      <a:pt x="148" y="285"/>
                    </a:lnTo>
                    <a:lnTo>
                      <a:pt x="148" y="284"/>
                    </a:lnTo>
                    <a:lnTo>
                      <a:pt x="148" y="282"/>
                    </a:lnTo>
                    <a:lnTo>
                      <a:pt x="148" y="284"/>
                    </a:lnTo>
                    <a:lnTo>
                      <a:pt x="148" y="282"/>
                    </a:lnTo>
                    <a:lnTo>
                      <a:pt x="146" y="282"/>
                    </a:lnTo>
                    <a:lnTo>
                      <a:pt x="148" y="280"/>
                    </a:lnTo>
                    <a:lnTo>
                      <a:pt x="148" y="279"/>
                    </a:lnTo>
                    <a:lnTo>
                      <a:pt x="148" y="277"/>
                    </a:lnTo>
                    <a:lnTo>
                      <a:pt x="146" y="277"/>
                    </a:lnTo>
                    <a:lnTo>
                      <a:pt x="148" y="275"/>
                    </a:lnTo>
                    <a:lnTo>
                      <a:pt x="146" y="275"/>
                    </a:lnTo>
                    <a:lnTo>
                      <a:pt x="146" y="274"/>
                    </a:lnTo>
                    <a:lnTo>
                      <a:pt x="146" y="272"/>
                    </a:lnTo>
                    <a:lnTo>
                      <a:pt x="144" y="272"/>
                    </a:lnTo>
                    <a:lnTo>
                      <a:pt x="142" y="272"/>
                    </a:lnTo>
                    <a:lnTo>
                      <a:pt x="142" y="270"/>
                    </a:lnTo>
                    <a:lnTo>
                      <a:pt x="142" y="268"/>
                    </a:lnTo>
                    <a:lnTo>
                      <a:pt x="144" y="267"/>
                    </a:lnTo>
                    <a:lnTo>
                      <a:pt x="146" y="267"/>
                    </a:lnTo>
                    <a:lnTo>
                      <a:pt x="148" y="267"/>
                    </a:lnTo>
                    <a:lnTo>
                      <a:pt x="149" y="267"/>
                    </a:lnTo>
                    <a:lnTo>
                      <a:pt x="149" y="265"/>
                    </a:lnTo>
                    <a:lnTo>
                      <a:pt x="151" y="265"/>
                    </a:lnTo>
                    <a:lnTo>
                      <a:pt x="151" y="263"/>
                    </a:lnTo>
                    <a:lnTo>
                      <a:pt x="151" y="262"/>
                    </a:lnTo>
                    <a:lnTo>
                      <a:pt x="153" y="262"/>
                    </a:lnTo>
                    <a:lnTo>
                      <a:pt x="151" y="262"/>
                    </a:lnTo>
                    <a:lnTo>
                      <a:pt x="151" y="260"/>
                    </a:lnTo>
                    <a:lnTo>
                      <a:pt x="151" y="258"/>
                    </a:lnTo>
                    <a:lnTo>
                      <a:pt x="151" y="260"/>
                    </a:lnTo>
                    <a:lnTo>
                      <a:pt x="149" y="258"/>
                    </a:lnTo>
                    <a:lnTo>
                      <a:pt x="149" y="257"/>
                    </a:lnTo>
                    <a:lnTo>
                      <a:pt x="149" y="255"/>
                    </a:lnTo>
                    <a:lnTo>
                      <a:pt x="149" y="253"/>
                    </a:lnTo>
                    <a:lnTo>
                      <a:pt x="148" y="253"/>
                    </a:lnTo>
                    <a:lnTo>
                      <a:pt x="148" y="251"/>
                    </a:lnTo>
                    <a:lnTo>
                      <a:pt x="148" y="253"/>
                    </a:lnTo>
                    <a:lnTo>
                      <a:pt x="148" y="251"/>
                    </a:lnTo>
                    <a:lnTo>
                      <a:pt x="146" y="251"/>
                    </a:lnTo>
                    <a:lnTo>
                      <a:pt x="146" y="250"/>
                    </a:lnTo>
                    <a:lnTo>
                      <a:pt x="144" y="250"/>
                    </a:lnTo>
                    <a:lnTo>
                      <a:pt x="144" y="248"/>
                    </a:lnTo>
                    <a:lnTo>
                      <a:pt x="144" y="246"/>
                    </a:lnTo>
                    <a:lnTo>
                      <a:pt x="144" y="245"/>
                    </a:lnTo>
                    <a:lnTo>
                      <a:pt x="144" y="243"/>
                    </a:lnTo>
                    <a:lnTo>
                      <a:pt x="144" y="245"/>
                    </a:lnTo>
                    <a:lnTo>
                      <a:pt x="146" y="245"/>
                    </a:lnTo>
                    <a:lnTo>
                      <a:pt x="146" y="246"/>
                    </a:lnTo>
                    <a:lnTo>
                      <a:pt x="146" y="245"/>
                    </a:lnTo>
                    <a:lnTo>
                      <a:pt x="148" y="245"/>
                    </a:lnTo>
                    <a:lnTo>
                      <a:pt x="148" y="243"/>
                    </a:lnTo>
                    <a:lnTo>
                      <a:pt x="148" y="241"/>
                    </a:lnTo>
                    <a:lnTo>
                      <a:pt x="146" y="241"/>
                    </a:lnTo>
                    <a:lnTo>
                      <a:pt x="148" y="240"/>
                    </a:lnTo>
                    <a:lnTo>
                      <a:pt x="148" y="241"/>
                    </a:lnTo>
                    <a:lnTo>
                      <a:pt x="148" y="240"/>
                    </a:lnTo>
                    <a:lnTo>
                      <a:pt x="148" y="238"/>
                    </a:lnTo>
                    <a:lnTo>
                      <a:pt x="148" y="236"/>
                    </a:lnTo>
                    <a:lnTo>
                      <a:pt x="149" y="236"/>
                    </a:lnTo>
                    <a:lnTo>
                      <a:pt x="149" y="234"/>
                    </a:lnTo>
                    <a:lnTo>
                      <a:pt x="148" y="234"/>
                    </a:lnTo>
                    <a:lnTo>
                      <a:pt x="148" y="233"/>
                    </a:lnTo>
                    <a:lnTo>
                      <a:pt x="146" y="233"/>
                    </a:lnTo>
                    <a:lnTo>
                      <a:pt x="146" y="231"/>
                    </a:lnTo>
                    <a:lnTo>
                      <a:pt x="146" y="229"/>
                    </a:lnTo>
                    <a:lnTo>
                      <a:pt x="144" y="229"/>
                    </a:lnTo>
                    <a:lnTo>
                      <a:pt x="142" y="231"/>
                    </a:lnTo>
                    <a:lnTo>
                      <a:pt x="142" y="229"/>
                    </a:lnTo>
                    <a:lnTo>
                      <a:pt x="141" y="229"/>
                    </a:lnTo>
                    <a:lnTo>
                      <a:pt x="141" y="228"/>
                    </a:lnTo>
                    <a:lnTo>
                      <a:pt x="141" y="226"/>
                    </a:lnTo>
                    <a:lnTo>
                      <a:pt x="139" y="226"/>
                    </a:lnTo>
                    <a:lnTo>
                      <a:pt x="139" y="224"/>
                    </a:lnTo>
                    <a:lnTo>
                      <a:pt x="137" y="224"/>
                    </a:lnTo>
                    <a:lnTo>
                      <a:pt x="137" y="226"/>
                    </a:lnTo>
                    <a:lnTo>
                      <a:pt x="136" y="226"/>
                    </a:lnTo>
                    <a:lnTo>
                      <a:pt x="136" y="224"/>
                    </a:lnTo>
                    <a:lnTo>
                      <a:pt x="136" y="223"/>
                    </a:lnTo>
                    <a:lnTo>
                      <a:pt x="137" y="223"/>
                    </a:lnTo>
                    <a:lnTo>
                      <a:pt x="136" y="223"/>
                    </a:lnTo>
                    <a:lnTo>
                      <a:pt x="137" y="221"/>
                    </a:lnTo>
                    <a:lnTo>
                      <a:pt x="137" y="219"/>
                    </a:lnTo>
                    <a:lnTo>
                      <a:pt x="136" y="217"/>
                    </a:lnTo>
                    <a:lnTo>
                      <a:pt x="134" y="217"/>
                    </a:lnTo>
                    <a:lnTo>
                      <a:pt x="134" y="216"/>
                    </a:lnTo>
                    <a:lnTo>
                      <a:pt x="134" y="214"/>
                    </a:lnTo>
                    <a:lnTo>
                      <a:pt x="132" y="216"/>
                    </a:lnTo>
                    <a:lnTo>
                      <a:pt x="132" y="214"/>
                    </a:lnTo>
                    <a:lnTo>
                      <a:pt x="131" y="214"/>
                    </a:lnTo>
                    <a:lnTo>
                      <a:pt x="131" y="212"/>
                    </a:lnTo>
                    <a:lnTo>
                      <a:pt x="131" y="209"/>
                    </a:lnTo>
                    <a:lnTo>
                      <a:pt x="131" y="207"/>
                    </a:lnTo>
                    <a:lnTo>
                      <a:pt x="132" y="204"/>
                    </a:lnTo>
                    <a:lnTo>
                      <a:pt x="134" y="204"/>
                    </a:lnTo>
                    <a:lnTo>
                      <a:pt x="136" y="204"/>
                    </a:lnTo>
                    <a:lnTo>
                      <a:pt x="136" y="202"/>
                    </a:lnTo>
                    <a:lnTo>
                      <a:pt x="136" y="200"/>
                    </a:lnTo>
                    <a:lnTo>
                      <a:pt x="136" y="199"/>
                    </a:lnTo>
                    <a:lnTo>
                      <a:pt x="134" y="199"/>
                    </a:lnTo>
                    <a:lnTo>
                      <a:pt x="136" y="199"/>
                    </a:lnTo>
                    <a:lnTo>
                      <a:pt x="134" y="197"/>
                    </a:lnTo>
                    <a:lnTo>
                      <a:pt x="136" y="197"/>
                    </a:lnTo>
                    <a:lnTo>
                      <a:pt x="136" y="195"/>
                    </a:lnTo>
                    <a:lnTo>
                      <a:pt x="136" y="197"/>
                    </a:lnTo>
                    <a:lnTo>
                      <a:pt x="137" y="197"/>
                    </a:lnTo>
                    <a:lnTo>
                      <a:pt x="139" y="199"/>
                    </a:lnTo>
                    <a:lnTo>
                      <a:pt x="139" y="200"/>
                    </a:lnTo>
                    <a:lnTo>
                      <a:pt x="139" y="202"/>
                    </a:lnTo>
                    <a:lnTo>
                      <a:pt x="141" y="202"/>
                    </a:lnTo>
                    <a:lnTo>
                      <a:pt x="142" y="202"/>
                    </a:lnTo>
                    <a:lnTo>
                      <a:pt x="142" y="200"/>
                    </a:lnTo>
                    <a:lnTo>
                      <a:pt x="144" y="200"/>
                    </a:lnTo>
                    <a:lnTo>
                      <a:pt x="144" y="199"/>
                    </a:lnTo>
                    <a:lnTo>
                      <a:pt x="144" y="197"/>
                    </a:lnTo>
                    <a:lnTo>
                      <a:pt x="146" y="197"/>
                    </a:lnTo>
                    <a:lnTo>
                      <a:pt x="146" y="195"/>
                    </a:lnTo>
                    <a:lnTo>
                      <a:pt x="146" y="194"/>
                    </a:lnTo>
                    <a:lnTo>
                      <a:pt x="148" y="194"/>
                    </a:lnTo>
                    <a:lnTo>
                      <a:pt x="146" y="194"/>
                    </a:lnTo>
                    <a:lnTo>
                      <a:pt x="148" y="194"/>
                    </a:lnTo>
                    <a:lnTo>
                      <a:pt x="149" y="194"/>
                    </a:lnTo>
                    <a:lnTo>
                      <a:pt x="148" y="192"/>
                    </a:lnTo>
                    <a:lnTo>
                      <a:pt x="148" y="190"/>
                    </a:lnTo>
                    <a:lnTo>
                      <a:pt x="149" y="190"/>
                    </a:lnTo>
                    <a:lnTo>
                      <a:pt x="149" y="189"/>
                    </a:lnTo>
                    <a:lnTo>
                      <a:pt x="151" y="189"/>
                    </a:lnTo>
                    <a:lnTo>
                      <a:pt x="153" y="189"/>
                    </a:lnTo>
                    <a:lnTo>
                      <a:pt x="154" y="189"/>
                    </a:lnTo>
                    <a:lnTo>
                      <a:pt x="154" y="187"/>
                    </a:lnTo>
                    <a:lnTo>
                      <a:pt x="156" y="187"/>
                    </a:lnTo>
                    <a:lnTo>
                      <a:pt x="154" y="187"/>
                    </a:lnTo>
                    <a:lnTo>
                      <a:pt x="153" y="185"/>
                    </a:lnTo>
                    <a:lnTo>
                      <a:pt x="153" y="183"/>
                    </a:lnTo>
                    <a:lnTo>
                      <a:pt x="153" y="182"/>
                    </a:lnTo>
                    <a:lnTo>
                      <a:pt x="151" y="180"/>
                    </a:lnTo>
                    <a:lnTo>
                      <a:pt x="151" y="178"/>
                    </a:lnTo>
                    <a:lnTo>
                      <a:pt x="151" y="177"/>
                    </a:lnTo>
                    <a:lnTo>
                      <a:pt x="149" y="177"/>
                    </a:lnTo>
                    <a:lnTo>
                      <a:pt x="148" y="175"/>
                    </a:lnTo>
                    <a:lnTo>
                      <a:pt x="148" y="173"/>
                    </a:lnTo>
                    <a:lnTo>
                      <a:pt x="148" y="172"/>
                    </a:lnTo>
                    <a:lnTo>
                      <a:pt x="146" y="170"/>
                    </a:lnTo>
                    <a:lnTo>
                      <a:pt x="144" y="170"/>
                    </a:lnTo>
                    <a:lnTo>
                      <a:pt x="144" y="168"/>
                    </a:lnTo>
                    <a:lnTo>
                      <a:pt x="146" y="168"/>
                    </a:lnTo>
                    <a:lnTo>
                      <a:pt x="146" y="166"/>
                    </a:lnTo>
                    <a:lnTo>
                      <a:pt x="144" y="166"/>
                    </a:lnTo>
                    <a:lnTo>
                      <a:pt x="146" y="166"/>
                    </a:lnTo>
                    <a:lnTo>
                      <a:pt x="146" y="165"/>
                    </a:lnTo>
                    <a:lnTo>
                      <a:pt x="146" y="163"/>
                    </a:lnTo>
                    <a:lnTo>
                      <a:pt x="148" y="163"/>
                    </a:lnTo>
                    <a:lnTo>
                      <a:pt x="148" y="165"/>
                    </a:lnTo>
                    <a:lnTo>
                      <a:pt x="148" y="163"/>
                    </a:lnTo>
                    <a:lnTo>
                      <a:pt x="149" y="165"/>
                    </a:lnTo>
                    <a:lnTo>
                      <a:pt x="149" y="166"/>
                    </a:lnTo>
                    <a:lnTo>
                      <a:pt x="151" y="166"/>
                    </a:lnTo>
                    <a:lnTo>
                      <a:pt x="151" y="168"/>
                    </a:lnTo>
                    <a:lnTo>
                      <a:pt x="151" y="170"/>
                    </a:lnTo>
                    <a:lnTo>
                      <a:pt x="153" y="170"/>
                    </a:lnTo>
                    <a:lnTo>
                      <a:pt x="154" y="172"/>
                    </a:lnTo>
                    <a:lnTo>
                      <a:pt x="156" y="172"/>
                    </a:lnTo>
                    <a:lnTo>
                      <a:pt x="156" y="173"/>
                    </a:lnTo>
                    <a:lnTo>
                      <a:pt x="158" y="175"/>
                    </a:lnTo>
                    <a:lnTo>
                      <a:pt x="158" y="177"/>
                    </a:lnTo>
                    <a:lnTo>
                      <a:pt x="159" y="177"/>
                    </a:lnTo>
                    <a:lnTo>
                      <a:pt x="161" y="177"/>
                    </a:lnTo>
                    <a:lnTo>
                      <a:pt x="161" y="178"/>
                    </a:lnTo>
                    <a:lnTo>
                      <a:pt x="161" y="180"/>
                    </a:lnTo>
                    <a:lnTo>
                      <a:pt x="163" y="180"/>
                    </a:lnTo>
                    <a:lnTo>
                      <a:pt x="163" y="178"/>
                    </a:lnTo>
                    <a:lnTo>
                      <a:pt x="161" y="178"/>
                    </a:lnTo>
                    <a:lnTo>
                      <a:pt x="163" y="178"/>
                    </a:lnTo>
                    <a:lnTo>
                      <a:pt x="163" y="180"/>
                    </a:lnTo>
                    <a:lnTo>
                      <a:pt x="163" y="178"/>
                    </a:lnTo>
                    <a:lnTo>
                      <a:pt x="163" y="180"/>
                    </a:lnTo>
                    <a:lnTo>
                      <a:pt x="161" y="180"/>
                    </a:lnTo>
                    <a:lnTo>
                      <a:pt x="161" y="182"/>
                    </a:lnTo>
                    <a:lnTo>
                      <a:pt x="163" y="182"/>
                    </a:lnTo>
                    <a:lnTo>
                      <a:pt x="163" y="183"/>
                    </a:lnTo>
                    <a:lnTo>
                      <a:pt x="163" y="182"/>
                    </a:lnTo>
                    <a:lnTo>
                      <a:pt x="165" y="182"/>
                    </a:lnTo>
                    <a:lnTo>
                      <a:pt x="163" y="182"/>
                    </a:lnTo>
                    <a:lnTo>
                      <a:pt x="165" y="182"/>
                    </a:lnTo>
                    <a:lnTo>
                      <a:pt x="166" y="182"/>
                    </a:lnTo>
                    <a:lnTo>
                      <a:pt x="165" y="182"/>
                    </a:lnTo>
                    <a:lnTo>
                      <a:pt x="165" y="183"/>
                    </a:lnTo>
                    <a:lnTo>
                      <a:pt x="166" y="183"/>
                    </a:lnTo>
                    <a:lnTo>
                      <a:pt x="165" y="183"/>
                    </a:lnTo>
                    <a:lnTo>
                      <a:pt x="166" y="183"/>
                    </a:lnTo>
                    <a:lnTo>
                      <a:pt x="166" y="185"/>
                    </a:lnTo>
                    <a:lnTo>
                      <a:pt x="165" y="183"/>
                    </a:lnTo>
                    <a:lnTo>
                      <a:pt x="165" y="185"/>
                    </a:lnTo>
                    <a:lnTo>
                      <a:pt x="166" y="185"/>
                    </a:lnTo>
                    <a:lnTo>
                      <a:pt x="165" y="185"/>
                    </a:lnTo>
                    <a:lnTo>
                      <a:pt x="165" y="183"/>
                    </a:lnTo>
                    <a:lnTo>
                      <a:pt x="163" y="185"/>
                    </a:lnTo>
                    <a:lnTo>
                      <a:pt x="163" y="187"/>
                    </a:lnTo>
                    <a:lnTo>
                      <a:pt x="163" y="189"/>
                    </a:lnTo>
                    <a:lnTo>
                      <a:pt x="165" y="189"/>
                    </a:lnTo>
                    <a:lnTo>
                      <a:pt x="166" y="189"/>
                    </a:lnTo>
                    <a:lnTo>
                      <a:pt x="168" y="189"/>
                    </a:lnTo>
                    <a:lnTo>
                      <a:pt x="168" y="187"/>
                    </a:lnTo>
                    <a:lnTo>
                      <a:pt x="170" y="187"/>
                    </a:lnTo>
                    <a:lnTo>
                      <a:pt x="168" y="185"/>
                    </a:lnTo>
                    <a:lnTo>
                      <a:pt x="170" y="185"/>
                    </a:lnTo>
                    <a:lnTo>
                      <a:pt x="170" y="183"/>
                    </a:lnTo>
                    <a:lnTo>
                      <a:pt x="168" y="183"/>
                    </a:lnTo>
                    <a:lnTo>
                      <a:pt x="168" y="182"/>
                    </a:lnTo>
                    <a:lnTo>
                      <a:pt x="168" y="180"/>
                    </a:lnTo>
                    <a:lnTo>
                      <a:pt x="168" y="178"/>
                    </a:lnTo>
                    <a:lnTo>
                      <a:pt x="168" y="177"/>
                    </a:lnTo>
                    <a:lnTo>
                      <a:pt x="168" y="175"/>
                    </a:lnTo>
                    <a:lnTo>
                      <a:pt x="168" y="173"/>
                    </a:lnTo>
                    <a:lnTo>
                      <a:pt x="168" y="172"/>
                    </a:lnTo>
                    <a:lnTo>
                      <a:pt x="166" y="172"/>
                    </a:lnTo>
                    <a:lnTo>
                      <a:pt x="166" y="170"/>
                    </a:lnTo>
                    <a:lnTo>
                      <a:pt x="166" y="168"/>
                    </a:lnTo>
                    <a:lnTo>
                      <a:pt x="165" y="168"/>
                    </a:lnTo>
                    <a:lnTo>
                      <a:pt x="163" y="168"/>
                    </a:lnTo>
                    <a:lnTo>
                      <a:pt x="163" y="166"/>
                    </a:lnTo>
                    <a:lnTo>
                      <a:pt x="165" y="165"/>
                    </a:lnTo>
                    <a:lnTo>
                      <a:pt x="166" y="165"/>
                    </a:lnTo>
                    <a:lnTo>
                      <a:pt x="168" y="165"/>
                    </a:lnTo>
                    <a:lnTo>
                      <a:pt x="170" y="163"/>
                    </a:lnTo>
                    <a:lnTo>
                      <a:pt x="171" y="163"/>
                    </a:lnTo>
                    <a:lnTo>
                      <a:pt x="173" y="163"/>
                    </a:lnTo>
                    <a:lnTo>
                      <a:pt x="171" y="161"/>
                    </a:lnTo>
                    <a:lnTo>
                      <a:pt x="173" y="161"/>
                    </a:lnTo>
                    <a:lnTo>
                      <a:pt x="175" y="160"/>
                    </a:lnTo>
                    <a:lnTo>
                      <a:pt x="176" y="160"/>
                    </a:lnTo>
                    <a:lnTo>
                      <a:pt x="176" y="158"/>
                    </a:lnTo>
                    <a:lnTo>
                      <a:pt x="178" y="158"/>
                    </a:lnTo>
                    <a:lnTo>
                      <a:pt x="180" y="156"/>
                    </a:lnTo>
                    <a:lnTo>
                      <a:pt x="180" y="155"/>
                    </a:lnTo>
                    <a:lnTo>
                      <a:pt x="182" y="155"/>
                    </a:lnTo>
                    <a:lnTo>
                      <a:pt x="183" y="155"/>
                    </a:lnTo>
                    <a:lnTo>
                      <a:pt x="183" y="153"/>
                    </a:lnTo>
                    <a:lnTo>
                      <a:pt x="185" y="153"/>
                    </a:lnTo>
                    <a:lnTo>
                      <a:pt x="185" y="151"/>
                    </a:lnTo>
                    <a:lnTo>
                      <a:pt x="185" y="149"/>
                    </a:lnTo>
                    <a:lnTo>
                      <a:pt x="187" y="149"/>
                    </a:lnTo>
                    <a:lnTo>
                      <a:pt x="187" y="148"/>
                    </a:lnTo>
                    <a:lnTo>
                      <a:pt x="188" y="146"/>
                    </a:lnTo>
                    <a:lnTo>
                      <a:pt x="188" y="144"/>
                    </a:lnTo>
                    <a:lnTo>
                      <a:pt x="188" y="143"/>
                    </a:lnTo>
                    <a:lnTo>
                      <a:pt x="190" y="143"/>
                    </a:lnTo>
                    <a:lnTo>
                      <a:pt x="190" y="141"/>
                    </a:lnTo>
                    <a:lnTo>
                      <a:pt x="192" y="139"/>
                    </a:lnTo>
                    <a:lnTo>
                      <a:pt x="193" y="139"/>
                    </a:lnTo>
                    <a:lnTo>
                      <a:pt x="195" y="139"/>
                    </a:lnTo>
                    <a:lnTo>
                      <a:pt x="195" y="138"/>
                    </a:lnTo>
                    <a:lnTo>
                      <a:pt x="195" y="136"/>
                    </a:lnTo>
                    <a:lnTo>
                      <a:pt x="195" y="138"/>
                    </a:lnTo>
                    <a:lnTo>
                      <a:pt x="195" y="136"/>
                    </a:lnTo>
                    <a:lnTo>
                      <a:pt x="197" y="136"/>
                    </a:lnTo>
                    <a:lnTo>
                      <a:pt x="197" y="138"/>
                    </a:lnTo>
                    <a:lnTo>
                      <a:pt x="199" y="138"/>
                    </a:lnTo>
                    <a:lnTo>
                      <a:pt x="200" y="138"/>
                    </a:lnTo>
                    <a:lnTo>
                      <a:pt x="199" y="138"/>
                    </a:lnTo>
                    <a:lnTo>
                      <a:pt x="200" y="138"/>
                    </a:lnTo>
                    <a:lnTo>
                      <a:pt x="202" y="138"/>
                    </a:lnTo>
                    <a:lnTo>
                      <a:pt x="204" y="138"/>
                    </a:lnTo>
                    <a:lnTo>
                      <a:pt x="205" y="138"/>
                    </a:lnTo>
                    <a:lnTo>
                      <a:pt x="207" y="136"/>
                    </a:lnTo>
                    <a:lnTo>
                      <a:pt x="207" y="134"/>
                    </a:lnTo>
                    <a:lnTo>
                      <a:pt x="209" y="132"/>
                    </a:lnTo>
                    <a:lnTo>
                      <a:pt x="209" y="131"/>
                    </a:lnTo>
                    <a:lnTo>
                      <a:pt x="207" y="129"/>
                    </a:lnTo>
                    <a:lnTo>
                      <a:pt x="207" y="127"/>
                    </a:lnTo>
                    <a:lnTo>
                      <a:pt x="205" y="127"/>
                    </a:lnTo>
                    <a:lnTo>
                      <a:pt x="204" y="127"/>
                    </a:lnTo>
                    <a:lnTo>
                      <a:pt x="205" y="127"/>
                    </a:lnTo>
                    <a:lnTo>
                      <a:pt x="205" y="126"/>
                    </a:lnTo>
                    <a:lnTo>
                      <a:pt x="207" y="124"/>
                    </a:lnTo>
                    <a:lnTo>
                      <a:pt x="207" y="122"/>
                    </a:lnTo>
                    <a:lnTo>
                      <a:pt x="207" y="120"/>
                    </a:lnTo>
                    <a:lnTo>
                      <a:pt x="207" y="119"/>
                    </a:lnTo>
                    <a:lnTo>
                      <a:pt x="209" y="119"/>
                    </a:lnTo>
                    <a:lnTo>
                      <a:pt x="207" y="117"/>
                    </a:lnTo>
                    <a:lnTo>
                      <a:pt x="209" y="117"/>
                    </a:lnTo>
                    <a:lnTo>
                      <a:pt x="209" y="115"/>
                    </a:lnTo>
                    <a:lnTo>
                      <a:pt x="209" y="114"/>
                    </a:lnTo>
                    <a:lnTo>
                      <a:pt x="207" y="114"/>
                    </a:lnTo>
                    <a:lnTo>
                      <a:pt x="209" y="114"/>
                    </a:lnTo>
                    <a:lnTo>
                      <a:pt x="209" y="112"/>
                    </a:lnTo>
                    <a:lnTo>
                      <a:pt x="210" y="112"/>
                    </a:lnTo>
                    <a:lnTo>
                      <a:pt x="209" y="112"/>
                    </a:lnTo>
                    <a:lnTo>
                      <a:pt x="209" y="110"/>
                    </a:lnTo>
                    <a:lnTo>
                      <a:pt x="209" y="112"/>
                    </a:lnTo>
                    <a:lnTo>
                      <a:pt x="210" y="112"/>
                    </a:lnTo>
                    <a:lnTo>
                      <a:pt x="210" y="110"/>
                    </a:lnTo>
                    <a:lnTo>
                      <a:pt x="209" y="110"/>
                    </a:lnTo>
                    <a:lnTo>
                      <a:pt x="210" y="109"/>
                    </a:lnTo>
                    <a:lnTo>
                      <a:pt x="209" y="109"/>
                    </a:lnTo>
                    <a:lnTo>
                      <a:pt x="209" y="110"/>
                    </a:lnTo>
                    <a:lnTo>
                      <a:pt x="207" y="110"/>
                    </a:lnTo>
                    <a:lnTo>
                      <a:pt x="205" y="112"/>
                    </a:lnTo>
                    <a:lnTo>
                      <a:pt x="205" y="110"/>
                    </a:lnTo>
                    <a:lnTo>
                      <a:pt x="205" y="112"/>
                    </a:lnTo>
                    <a:lnTo>
                      <a:pt x="204" y="114"/>
                    </a:lnTo>
                    <a:lnTo>
                      <a:pt x="204" y="112"/>
                    </a:lnTo>
                    <a:lnTo>
                      <a:pt x="205" y="112"/>
                    </a:lnTo>
                    <a:lnTo>
                      <a:pt x="205" y="110"/>
                    </a:lnTo>
                    <a:lnTo>
                      <a:pt x="207" y="110"/>
                    </a:lnTo>
                    <a:lnTo>
                      <a:pt x="207" y="109"/>
                    </a:lnTo>
                    <a:lnTo>
                      <a:pt x="207" y="110"/>
                    </a:lnTo>
                    <a:lnTo>
                      <a:pt x="207" y="109"/>
                    </a:lnTo>
                    <a:lnTo>
                      <a:pt x="207" y="107"/>
                    </a:lnTo>
                    <a:lnTo>
                      <a:pt x="209" y="107"/>
                    </a:lnTo>
                    <a:lnTo>
                      <a:pt x="207" y="109"/>
                    </a:lnTo>
                    <a:lnTo>
                      <a:pt x="209" y="109"/>
                    </a:lnTo>
                    <a:lnTo>
                      <a:pt x="210" y="107"/>
                    </a:lnTo>
                    <a:lnTo>
                      <a:pt x="210" y="105"/>
                    </a:lnTo>
                    <a:lnTo>
                      <a:pt x="210" y="103"/>
                    </a:lnTo>
                    <a:lnTo>
                      <a:pt x="209" y="103"/>
                    </a:lnTo>
                    <a:lnTo>
                      <a:pt x="210" y="103"/>
                    </a:lnTo>
                    <a:lnTo>
                      <a:pt x="209" y="103"/>
                    </a:lnTo>
                    <a:lnTo>
                      <a:pt x="209" y="102"/>
                    </a:lnTo>
                    <a:lnTo>
                      <a:pt x="210" y="102"/>
                    </a:lnTo>
                    <a:lnTo>
                      <a:pt x="210" y="103"/>
                    </a:lnTo>
                    <a:lnTo>
                      <a:pt x="212" y="103"/>
                    </a:lnTo>
                    <a:lnTo>
                      <a:pt x="210" y="102"/>
                    </a:lnTo>
                    <a:lnTo>
                      <a:pt x="212" y="100"/>
                    </a:lnTo>
                    <a:lnTo>
                      <a:pt x="210" y="100"/>
                    </a:lnTo>
                    <a:lnTo>
                      <a:pt x="210" y="98"/>
                    </a:lnTo>
                    <a:lnTo>
                      <a:pt x="212" y="97"/>
                    </a:lnTo>
                    <a:lnTo>
                      <a:pt x="212" y="95"/>
                    </a:lnTo>
                    <a:lnTo>
                      <a:pt x="214" y="95"/>
                    </a:lnTo>
                    <a:lnTo>
                      <a:pt x="214" y="93"/>
                    </a:lnTo>
                    <a:lnTo>
                      <a:pt x="216" y="93"/>
                    </a:lnTo>
                    <a:lnTo>
                      <a:pt x="217" y="93"/>
                    </a:lnTo>
                    <a:lnTo>
                      <a:pt x="219" y="93"/>
                    </a:lnTo>
                    <a:lnTo>
                      <a:pt x="219" y="92"/>
                    </a:lnTo>
                    <a:lnTo>
                      <a:pt x="219" y="90"/>
                    </a:lnTo>
                    <a:lnTo>
                      <a:pt x="221" y="90"/>
                    </a:lnTo>
                    <a:lnTo>
                      <a:pt x="221" y="88"/>
                    </a:lnTo>
                    <a:lnTo>
                      <a:pt x="222" y="88"/>
                    </a:lnTo>
                    <a:lnTo>
                      <a:pt x="224" y="88"/>
                    </a:lnTo>
                    <a:lnTo>
                      <a:pt x="224" y="86"/>
                    </a:lnTo>
                    <a:lnTo>
                      <a:pt x="226" y="86"/>
                    </a:lnTo>
                    <a:lnTo>
                      <a:pt x="226" y="85"/>
                    </a:lnTo>
                    <a:lnTo>
                      <a:pt x="227" y="85"/>
                    </a:lnTo>
                    <a:lnTo>
                      <a:pt x="227" y="83"/>
                    </a:lnTo>
                    <a:lnTo>
                      <a:pt x="229" y="83"/>
                    </a:lnTo>
                    <a:lnTo>
                      <a:pt x="227" y="83"/>
                    </a:lnTo>
                    <a:lnTo>
                      <a:pt x="229" y="83"/>
                    </a:lnTo>
                    <a:lnTo>
                      <a:pt x="231" y="81"/>
                    </a:lnTo>
                    <a:lnTo>
                      <a:pt x="233" y="81"/>
                    </a:lnTo>
                    <a:lnTo>
                      <a:pt x="233" y="80"/>
                    </a:lnTo>
                    <a:lnTo>
                      <a:pt x="234" y="80"/>
                    </a:lnTo>
                    <a:lnTo>
                      <a:pt x="236" y="80"/>
                    </a:lnTo>
                    <a:lnTo>
                      <a:pt x="236" y="81"/>
                    </a:lnTo>
                    <a:lnTo>
                      <a:pt x="238" y="81"/>
                    </a:lnTo>
                    <a:lnTo>
                      <a:pt x="239" y="81"/>
                    </a:lnTo>
                    <a:lnTo>
                      <a:pt x="239" y="83"/>
                    </a:lnTo>
                    <a:lnTo>
                      <a:pt x="241" y="83"/>
                    </a:lnTo>
                    <a:lnTo>
                      <a:pt x="243" y="83"/>
                    </a:lnTo>
                    <a:lnTo>
                      <a:pt x="244" y="83"/>
                    </a:lnTo>
                    <a:lnTo>
                      <a:pt x="246" y="83"/>
                    </a:lnTo>
                    <a:lnTo>
                      <a:pt x="248" y="83"/>
                    </a:lnTo>
                    <a:lnTo>
                      <a:pt x="250" y="83"/>
                    </a:lnTo>
                    <a:lnTo>
                      <a:pt x="251" y="83"/>
                    </a:lnTo>
                    <a:lnTo>
                      <a:pt x="253" y="83"/>
                    </a:lnTo>
                    <a:lnTo>
                      <a:pt x="253" y="81"/>
                    </a:lnTo>
                    <a:lnTo>
                      <a:pt x="255" y="81"/>
                    </a:lnTo>
                    <a:lnTo>
                      <a:pt x="255" y="80"/>
                    </a:lnTo>
                    <a:lnTo>
                      <a:pt x="253" y="80"/>
                    </a:lnTo>
                    <a:lnTo>
                      <a:pt x="253" y="78"/>
                    </a:lnTo>
                    <a:lnTo>
                      <a:pt x="253" y="76"/>
                    </a:lnTo>
                    <a:lnTo>
                      <a:pt x="253" y="75"/>
                    </a:lnTo>
                    <a:lnTo>
                      <a:pt x="255" y="75"/>
                    </a:lnTo>
                    <a:lnTo>
                      <a:pt x="253" y="75"/>
                    </a:lnTo>
                    <a:lnTo>
                      <a:pt x="255" y="75"/>
                    </a:lnTo>
                    <a:lnTo>
                      <a:pt x="255" y="73"/>
                    </a:lnTo>
                    <a:lnTo>
                      <a:pt x="256" y="73"/>
                    </a:lnTo>
                    <a:lnTo>
                      <a:pt x="256" y="71"/>
                    </a:lnTo>
                    <a:lnTo>
                      <a:pt x="256" y="73"/>
                    </a:lnTo>
                    <a:lnTo>
                      <a:pt x="256" y="71"/>
                    </a:lnTo>
                    <a:lnTo>
                      <a:pt x="258" y="73"/>
                    </a:lnTo>
                    <a:lnTo>
                      <a:pt x="258" y="71"/>
                    </a:lnTo>
                    <a:lnTo>
                      <a:pt x="258" y="73"/>
                    </a:lnTo>
                    <a:lnTo>
                      <a:pt x="258" y="71"/>
                    </a:lnTo>
                    <a:lnTo>
                      <a:pt x="260" y="71"/>
                    </a:lnTo>
                    <a:lnTo>
                      <a:pt x="261" y="71"/>
                    </a:lnTo>
                    <a:lnTo>
                      <a:pt x="263" y="71"/>
                    </a:lnTo>
                    <a:lnTo>
                      <a:pt x="263" y="73"/>
                    </a:lnTo>
                    <a:lnTo>
                      <a:pt x="265" y="73"/>
                    </a:lnTo>
                    <a:lnTo>
                      <a:pt x="267" y="73"/>
                    </a:lnTo>
                    <a:lnTo>
                      <a:pt x="267" y="75"/>
                    </a:lnTo>
                    <a:lnTo>
                      <a:pt x="268" y="75"/>
                    </a:lnTo>
                    <a:lnTo>
                      <a:pt x="270" y="75"/>
                    </a:lnTo>
                    <a:lnTo>
                      <a:pt x="272" y="75"/>
                    </a:lnTo>
                    <a:lnTo>
                      <a:pt x="273" y="75"/>
                    </a:lnTo>
                    <a:lnTo>
                      <a:pt x="275" y="75"/>
                    </a:lnTo>
                    <a:lnTo>
                      <a:pt x="277" y="75"/>
                    </a:lnTo>
                    <a:lnTo>
                      <a:pt x="278" y="75"/>
                    </a:lnTo>
                    <a:lnTo>
                      <a:pt x="280" y="75"/>
                    </a:lnTo>
                    <a:lnTo>
                      <a:pt x="282" y="75"/>
                    </a:lnTo>
                    <a:lnTo>
                      <a:pt x="284" y="75"/>
                    </a:lnTo>
                    <a:lnTo>
                      <a:pt x="284" y="73"/>
                    </a:lnTo>
                    <a:lnTo>
                      <a:pt x="285" y="73"/>
                    </a:lnTo>
                    <a:lnTo>
                      <a:pt x="287" y="73"/>
                    </a:lnTo>
                    <a:lnTo>
                      <a:pt x="287" y="71"/>
                    </a:lnTo>
                    <a:lnTo>
                      <a:pt x="289" y="71"/>
                    </a:lnTo>
                    <a:lnTo>
                      <a:pt x="289" y="69"/>
                    </a:lnTo>
                    <a:lnTo>
                      <a:pt x="290" y="69"/>
                    </a:lnTo>
                    <a:lnTo>
                      <a:pt x="292" y="69"/>
                    </a:lnTo>
                    <a:lnTo>
                      <a:pt x="292" y="68"/>
                    </a:lnTo>
                    <a:lnTo>
                      <a:pt x="294" y="66"/>
                    </a:lnTo>
                    <a:lnTo>
                      <a:pt x="295" y="66"/>
                    </a:lnTo>
                    <a:lnTo>
                      <a:pt x="295" y="64"/>
                    </a:lnTo>
                    <a:lnTo>
                      <a:pt x="297" y="64"/>
                    </a:lnTo>
                    <a:lnTo>
                      <a:pt x="299" y="64"/>
                    </a:lnTo>
                    <a:lnTo>
                      <a:pt x="299" y="63"/>
                    </a:lnTo>
                    <a:lnTo>
                      <a:pt x="301" y="63"/>
                    </a:lnTo>
                    <a:lnTo>
                      <a:pt x="301" y="61"/>
                    </a:lnTo>
                    <a:lnTo>
                      <a:pt x="302" y="61"/>
                    </a:lnTo>
                    <a:lnTo>
                      <a:pt x="302" y="59"/>
                    </a:lnTo>
                    <a:lnTo>
                      <a:pt x="304" y="59"/>
                    </a:lnTo>
                    <a:lnTo>
                      <a:pt x="306" y="59"/>
                    </a:lnTo>
                    <a:lnTo>
                      <a:pt x="307" y="58"/>
                    </a:lnTo>
                    <a:lnTo>
                      <a:pt x="309" y="58"/>
                    </a:lnTo>
                    <a:lnTo>
                      <a:pt x="311" y="58"/>
                    </a:lnTo>
                    <a:lnTo>
                      <a:pt x="311" y="56"/>
                    </a:lnTo>
                    <a:lnTo>
                      <a:pt x="312" y="56"/>
                    </a:lnTo>
                    <a:lnTo>
                      <a:pt x="314" y="56"/>
                    </a:lnTo>
                    <a:lnTo>
                      <a:pt x="316" y="56"/>
                    </a:lnTo>
                    <a:lnTo>
                      <a:pt x="316" y="54"/>
                    </a:lnTo>
                    <a:lnTo>
                      <a:pt x="318" y="54"/>
                    </a:lnTo>
                    <a:lnTo>
                      <a:pt x="319" y="54"/>
                    </a:lnTo>
                    <a:lnTo>
                      <a:pt x="319" y="52"/>
                    </a:lnTo>
                    <a:lnTo>
                      <a:pt x="321" y="52"/>
                    </a:lnTo>
                    <a:lnTo>
                      <a:pt x="321" y="51"/>
                    </a:lnTo>
                    <a:lnTo>
                      <a:pt x="323" y="49"/>
                    </a:lnTo>
                    <a:lnTo>
                      <a:pt x="323" y="47"/>
                    </a:lnTo>
                    <a:lnTo>
                      <a:pt x="324" y="46"/>
                    </a:lnTo>
                    <a:lnTo>
                      <a:pt x="324" y="44"/>
                    </a:lnTo>
                    <a:lnTo>
                      <a:pt x="324" y="42"/>
                    </a:lnTo>
                    <a:lnTo>
                      <a:pt x="323" y="42"/>
                    </a:lnTo>
                    <a:lnTo>
                      <a:pt x="323" y="41"/>
                    </a:lnTo>
                    <a:lnTo>
                      <a:pt x="324" y="41"/>
                    </a:lnTo>
                    <a:lnTo>
                      <a:pt x="326" y="41"/>
                    </a:lnTo>
                    <a:lnTo>
                      <a:pt x="328" y="41"/>
                    </a:lnTo>
                    <a:lnTo>
                      <a:pt x="329" y="41"/>
                    </a:lnTo>
                    <a:lnTo>
                      <a:pt x="329" y="42"/>
                    </a:lnTo>
                    <a:lnTo>
                      <a:pt x="329" y="44"/>
                    </a:lnTo>
                    <a:lnTo>
                      <a:pt x="331" y="44"/>
                    </a:lnTo>
                    <a:lnTo>
                      <a:pt x="331" y="42"/>
                    </a:lnTo>
                    <a:lnTo>
                      <a:pt x="333" y="42"/>
                    </a:lnTo>
                    <a:lnTo>
                      <a:pt x="333" y="41"/>
                    </a:lnTo>
                    <a:lnTo>
                      <a:pt x="333" y="39"/>
                    </a:lnTo>
                    <a:lnTo>
                      <a:pt x="333" y="41"/>
                    </a:lnTo>
                    <a:lnTo>
                      <a:pt x="333" y="39"/>
                    </a:lnTo>
                    <a:lnTo>
                      <a:pt x="331" y="39"/>
                    </a:lnTo>
                    <a:lnTo>
                      <a:pt x="333" y="39"/>
                    </a:lnTo>
                    <a:lnTo>
                      <a:pt x="331" y="39"/>
                    </a:lnTo>
                    <a:lnTo>
                      <a:pt x="329" y="39"/>
                    </a:lnTo>
                    <a:lnTo>
                      <a:pt x="331" y="39"/>
                    </a:lnTo>
                    <a:lnTo>
                      <a:pt x="333" y="37"/>
                    </a:lnTo>
                    <a:lnTo>
                      <a:pt x="333" y="35"/>
                    </a:lnTo>
                    <a:lnTo>
                      <a:pt x="335" y="37"/>
                    </a:lnTo>
                    <a:lnTo>
                      <a:pt x="335" y="35"/>
                    </a:lnTo>
                    <a:lnTo>
                      <a:pt x="335" y="37"/>
                    </a:lnTo>
                    <a:lnTo>
                      <a:pt x="336" y="39"/>
                    </a:lnTo>
                    <a:lnTo>
                      <a:pt x="336" y="37"/>
                    </a:lnTo>
                    <a:lnTo>
                      <a:pt x="338" y="37"/>
                    </a:lnTo>
                    <a:lnTo>
                      <a:pt x="338" y="35"/>
                    </a:lnTo>
                    <a:lnTo>
                      <a:pt x="336" y="35"/>
                    </a:lnTo>
                    <a:lnTo>
                      <a:pt x="338" y="35"/>
                    </a:lnTo>
                    <a:lnTo>
                      <a:pt x="338" y="34"/>
                    </a:lnTo>
                    <a:lnTo>
                      <a:pt x="338" y="35"/>
                    </a:lnTo>
                    <a:lnTo>
                      <a:pt x="340" y="35"/>
                    </a:lnTo>
                    <a:lnTo>
                      <a:pt x="338" y="35"/>
                    </a:lnTo>
                    <a:lnTo>
                      <a:pt x="340" y="35"/>
                    </a:lnTo>
                    <a:lnTo>
                      <a:pt x="341" y="35"/>
                    </a:lnTo>
                    <a:lnTo>
                      <a:pt x="341" y="34"/>
                    </a:lnTo>
                    <a:lnTo>
                      <a:pt x="340" y="34"/>
                    </a:lnTo>
                    <a:lnTo>
                      <a:pt x="341" y="34"/>
                    </a:lnTo>
                    <a:lnTo>
                      <a:pt x="340" y="34"/>
                    </a:lnTo>
                    <a:lnTo>
                      <a:pt x="338" y="34"/>
                    </a:lnTo>
                    <a:lnTo>
                      <a:pt x="340" y="34"/>
                    </a:lnTo>
                    <a:lnTo>
                      <a:pt x="340" y="32"/>
                    </a:lnTo>
                    <a:lnTo>
                      <a:pt x="341" y="34"/>
                    </a:lnTo>
                    <a:lnTo>
                      <a:pt x="343" y="34"/>
                    </a:lnTo>
                    <a:lnTo>
                      <a:pt x="345" y="34"/>
                    </a:lnTo>
                    <a:lnTo>
                      <a:pt x="346" y="34"/>
                    </a:lnTo>
                    <a:lnTo>
                      <a:pt x="346" y="35"/>
                    </a:lnTo>
                    <a:lnTo>
                      <a:pt x="348" y="35"/>
                    </a:lnTo>
                    <a:lnTo>
                      <a:pt x="350" y="35"/>
                    </a:lnTo>
                    <a:lnTo>
                      <a:pt x="352" y="35"/>
                    </a:lnTo>
                    <a:lnTo>
                      <a:pt x="352" y="37"/>
                    </a:lnTo>
                    <a:lnTo>
                      <a:pt x="352" y="35"/>
                    </a:lnTo>
                    <a:lnTo>
                      <a:pt x="352" y="37"/>
                    </a:lnTo>
                    <a:lnTo>
                      <a:pt x="353" y="37"/>
                    </a:lnTo>
                    <a:lnTo>
                      <a:pt x="355" y="37"/>
                    </a:lnTo>
                    <a:lnTo>
                      <a:pt x="355" y="39"/>
                    </a:lnTo>
                    <a:lnTo>
                      <a:pt x="355" y="41"/>
                    </a:lnTo>
                    <a:lnTo>
                      <a:pt x="357" y="41"/>
                    </a:lnTo>
                    <a:lnTo>
                      <a:pt x="357" y="42"/>
                    </a:lnTo>
                    <a:lnTo>
                      <a:pt x="357" y="44"/>
                    </a:lnTo>
                    <a:lnTo>
                      <a:pt x="358" y="44"/>
                    </a:lnTo>
                    <a:lnTo>
                      <a:pt x="358" y="46"/>
                    </a:lnTo>
                    <a:lnTo>
                      <a:pt x="358" y="47"/>
                    </a:lnTo>
                    <a:lnTo>
                      <a:pt x="358" y="49"/>
                    </a:lnTo>
                    <a:lnTo>
                      <a:pt x="357" y="49"/>
                    </a:lnTo>
                    <a:lnTo>
                      <a:pt x="355" y="49"/>
                    </a:lnTo>
                    <a:lnTo>
                      <a:pt x="355" y="51"/>
                    </a:lnTo>
                    <a:lnTo>
                      <a:pt x="353" y="51"/>
                    </a:lnTo>
                    <a:lnTo>
                      <a:pt x="353" y="52"/>
                    </a:lnTo>
                    <a:lnTo>
                      <a:pt x="352" y="52"/>
                    </a:lnTo>
                    <a:lnTo>
                      <a:pt x="352" y="54"/>
                    </a:lnTo>
                    <a:lnTo>
                      <a:pt x="350" y="54"/>
                    </a:lnTo>
                    <a:close/>
                    <a:moveTo>
                      <a:pt x="1" y="29"/>
                    </a:moveTo>
                    <a:lnTo>
                      <a:pt x="1" y="30"/>
                    </a:lnTo>
                    <a:lnTo>
                      <a:pt x="1" y="32"/>
                    </a:lnTo>
                    <a:lnTo>
                      <a:pt x="0" y="32"/>
                    </a:lnTo>
                    <a:lnTo>
                      <a:pt x="0" y="30"/>
                    </a:lnTo>
                    <a:lnTo>
                      <a:pt x="0" y="29"/>
                    </a:lnTo>
                    <a:lnTo>
                      <a:pt x="1" y="29"/>
                    </a:lnTo>
                    <a:close/>
                    <a:moveTo>
                      <a:pt x="12" y="1"/>
                    </a:moveTo>
                    <a:lnTo>
                      <a:pt x="13" y="1"/>
                    </a:lnTo>
                    <a:lnTo>
                      <a:pt x="13" y="3"/>
                    </a:lnTo>
                    <a:lnTo>
                      <a:pt x="12" y="3"/>
                    </a:lnTo>
                    <a:lnTo>
                      <a:pt x="12" y="1"/>
                    </a:lnTo>
                    <a:close/>
                    <a:moveTo>
                      <a:pt x="207" y="105"/>
                    </a:moveTo>
                    <a:lnTo>
                      <a:pt x="209" y="105"/>
                    </a:lnTo>
                    <a:lnTo>
                      <a:pt x="209" y="107"/>
                    </a:lnTo>
                    <a:lnTo>
                      <a:pt x="207" y="107"/>
                    </a:lnTo>
                    <a:lnTo>
                      <a:pt x="207" y="105"/>
                    </a:lnTo>
                    <a:close/>
                    <a:moveTo>
                      <a:pt x="119" y="355"/>
                    </a:moveTo>
                    <a:lnTo>
                      <a:pt x="120" y="355"/>
                    </a:lnTo>
                    <a:lnTo>
                      <a:pt x="120" y="357"/>
                    </a:lnTo>
                    <a:lnTo>
                      <a:pt x="119" y="357"/>
                    </a:lnTo>
                    <a:lnTo>
                      <a:pt x="119" y="355"/>
                    </a:lnTo>
                    <a:close/>
                    <a:moveTo>
                      <a:pt x="154" y="328"/>
                    </a:moveTo>
                    <a:lnTo>
                      <a:pt x="154" y="330"/>
                    </a:lnTo>
                    <a:lnTo>
                      <a:pt x="154" y="328"/>
                    </a:lnTo>
                    <a:close/>
                    <a:moveTo>
                      <a:pt x="100" y="394"/>
                    </a:moveTo>
                    <a:lnTo>
                      <a:pt x="102" y="394"/>
                    </a:lnTo>
                    <a:lnTo>
                      <a:pt x="102" y="396"/>
                    </a:lnTo>
                    <a:lnTo>
                      <a:pt x="100" y="396"/>
                    </a:lnTo>
                    <a:lnTo>
                      <a:pt x="100" y="394"/>
                    </a:lnTo>
                    <a:close/>
                    <a:moveTo>
                      <a:pt x="158" y="325"/>
                    </a:moveTo>
                    <a:lnTo>
                      <a:pt x="158" y="326"/>
                    </a:lnTo>
                    <a:lnTo>
                      <a:pt x="158" y="325"/>
                    </a:lnTo>
                    <a:close/>
                    <a:moveTo>
                      <a:pt x="93" y="403"/>
                    </a:moveTo>
                    <a:lnTo>
                      <a:pt x="95" y="403"/>
                    </a:lnTo>
                    <a:lnTo>
                      <a:pt x="95" y="405"/>
                    </a:lnTo>
                    <a:lnTo>
                      <a:pt x="93" y="405"/>
                    </a:lnTo>
                    <a:lnTo>
                      <a:pt x="93" y="403"/>
                    </a:lnTo>
                    <a:close/>
                    <a:moveTo>
                      <a:pt x="199" y="124"/>
                    </a:moveTo>
                    <a:lnTo>
                      <a:pt x="200" y="124"/>
                    </a:lnTo>
                    <a:lnTo>
                      <a:pt x="199" y="124"/>
                    </a:lnTo>
                    <a:close/>
                    <a:moveTo>
                      <a:pt x="187" y="138"/>
                    </a:moveTo>
                    <a:lnTo>
                      <a:pt x="188" y="138"/>
                    </a:lnTo>
                    <a:lnTo>
                      <a:pt x="188" y="139"/>
                    </a:lnTo>
                    <a:lnTo>
                      <a:pt x="187" y="139"/>
                    </a:lnTo>
                    <a:lnTo>
                      <a:pt x="187" y="138"/>
                    </a:lnTo>
                    <a:close/>
                    <a:moveTo>
                      <a:pt x="156" y="325"/>
                    </a:moveTo>
                    <a:lnTo>
                      <a:pt x="156" y="326"/>
                    </a:lnTo>
                    <a:lnTo>
                      <a:pt x="156" y="325"/>
                    </a:lnTo>
                    <a:close/>
                    <a:moveTo>
                      <a:pt x="202" y="110"/>
                    </a:moveTo>
                    <a:lnTo>
                      <a:pt x="204" y="110"/>
                    </a:lnTo>
                    <a:lnTo>
                      <a:pt x="204" y="112"/>
                    </a:lnTo>
                    <a:lnTo>
                      <a:pt x="202" y="112"/>
                    </a:lnTo>
                    <a:lnTo>
                      <a:pt x="202" y="110"/>
                    </a:lnTo>
                    <a:close/>
                    <a:moveTo>
                      <a:pt x="144" y="311"/>
                    </a:moveTo>
                    <a:lnTo>
                      <a:pt x="146" y="311"/>
                    </a:lnTo>
                    <a:lnTo>
                      <a:pt x="144" y="311"/>
                    </a:lnTo>
                    <a:close/>
                    <a:moveTo>
                      <a:pt x="210" y="100"/>
                    </a:moveTo>
                    <a:lnTo>
                      <a:pt x="210" y="102"/>
                    </a:lnTo>
                    <a:lnTo>
                      <a:pt x="210" y="100"/>
                    </a:lnTo>
                    <a:close/>
                    <a:moveTo>
                      <a:pt x="98" y="396"/>
                    </a:moveTo>
                    <a:lnTo>
                      <a:pt x="100" y="396"/>
                    </a:lnTo>
                    <a:lnTo>
                      <a:pt x="98" y="396"/>
                    </a:lnTo>
                    <a:close/>
                    <a:moveTo>
                      <a:pt x="209" y="103"/>
                    </a:moveTo>
                    <a:lnTo>
                      <a:pt x="210" y="103"/>
                    </a:lnTo>
                    <a:lnTo>
                      <a:pt x="209" y="103"/>
                    </a:lnTo>
                    <a:close/>
                    <a:moveTo>
                      <a:pt x="108" y="372"/>
                    </a:moveTo>
                    <a:lnTo>
                      <a:pt x="110" y="372"/>
                    </a:lnTo>
                    <a:lnTo>
                      <a:pt x="108" y="372"/>
                    </a:lnTo>
                    <a:close/>
                    <a:moveTo>
                      <a:pt x="105" y="377"/>
                    </a:moveTo>
                    <a:lnTo>
                      <a:pt x="105" y="379"/>
                    </a:lnTo>
                    <a:lnTo>
                      <a:pt x="105" y="377"/>
                    </a:lnTo>
                    <a:close/>
                    <a:moveTo>
                      <a:pt x="12" y="0"/>
                    </a:moveTo>
                    <a:lnTo>
                      <a:pt x="13" y="0"/>
                    </a:lnTo>
                    <a:lnTo>
                      <a:pt x="13" y="1"/>
                    </a:lnTo>
                    <a:lnTo>
                      <a:pt x="12" y="1"/>
                    </a:lnTo>
                    <a:lnTo>
                      <a:pt x="12" y="0"/>
                    </a:lnTo>
                    <a:close/>
                    <a:moveTo>
                      <a:pt x="146" y="311"/>
                    </a:moveTo>
                    <a:lnTo>
                      <a:pt x="146" y="313"/>
                    </a:lnTo>
                    <a:lnTo>
                      <a:pt x="146" y="311"/>
                    </a:lnTo>
                    <a:close/>
                    <a:moveTo>
                      <a:pt x="255" y="71"/>
                    </a:moveTo>
                    <a:lnTo>
                      <a:pt x="255" y="73"/>
                    </a:lnTo>
                    <a:lnTo>
                      <a:pt x="255" y="71"/>
                    </a:lnTo>
                    <a:close/>
                    <a:moveTo>
                      <a:pt x="148" y="308"/>
                    </a:moveTo>
                    <a:lnTo>
                      <a:pt x="148" y="309"/>
                    </a:lnTo>
                    <a:lnTo>
                      <a:pt x="148" y="308"/>
                    </a:lnTo>
                    <a:close/>
                    <a:moveTo>
                      <a:pt x="142" y="316"/>
                    </a:moveTo>
                    <a:lnTo>
                      <a:pt x="144" y="316"/>
                    </a:lnTo>
                    <a:lnTo>
                      <a:pt x="142" y="316"/>
                    </a:lnTo>
                    <a:close/>
                    <a:moveTo>
                      <a:pt x="142" y="316"/>
                    </a:moveTo>
                    <a:lnTo>
                      <a:pt x="144" y="316"/>
                    </a:lnTo>
                    <a:lnTo>
                      <a:pt x="144" y="318"/>
                    </a:lnTo>
                    <a:lnTo>
                      <a:pt x="142" y="318"/>
                    </a:lnTo>
                    <a:lnTo>
                      <a:pt x="142" y="316"/>
                    </a:lnTo>
                    <a:close/>
                    <a:moveTo>
                      <a:pt x="122" y="369"/>
                    </a:moveTo>
                    <a:lnTo>
                      <a:pt x="122" y="371"/>
                    </a:lnTo>
                    <a:lnTo>
                      <a:pt x="122" y="369"/>
                    </a:lnTo>
                    <a:close/>
                  </a:path>
                </a:pathLst>
              </a:custGeom>
              <a:solidFill>
                <a:schemeClr val="accent1"/>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pic>
          <p:nvPicPr>
            <p:cNvPr id="6" name="Picture 5">
              <a:extLst>
                <a:ext uri="{FF2B5EF4-FFF2-40B4-BE49-F238E27FC236}">
                  <a16:creationId xmlns:a16="http://schemas.microsoft.com/office/drawing/2014/main" id="{88BCA773-2C11-5577-F90D-8625CA7843D3}"/>
                </a:ext>
              </a:extLst>
            </p:cNvPr>
            <p:cNvPicPr>
              <a:picLocks/>
            </p:cNvPicPr>
            <p:nvPr/>
          </p:nvPicPr>
          <p:blipFill>
            <a:blip r:embed="rId98" cstate="screen">
              <a:extLst>
                <a:ext uri="{28A0092B-C50C-407E-A947-70E740481C1C}">
                  <a14:useLocalDpi xmlns:a14="http://schemas.microsoft.com/office/drawing/2010/main"/>
                </a:ext>
              </a:extLst>
            </a:blip>
            <a:stretch>
              <a:fillRect/>
            </a:stretch>
          </p:blipFill>
          <p:spPr>
            <a:xfrm>
              <a:off x="1615441" y="2629815"/>
              <a:ext cx="259080" cy="167383"/>
            </a:xfrm>
            <a:prstGeom prst="rect">
              <a:avLst/>
            </a:prstGeom>
            <a:ln>
              <a:solidFill>
                <a:srgbClr val="CCCCCC"/>
              </a:solidFill>
            </a:ln>
          </p:spPr>
        </p:pic>
      </p:grpSp>
      <p:sp>
        <p:nvSpPr>
          <p:cNvPr id="3" name="4. Footnote">
            <a:extLst>
              <a:ext uri="{FF2B5EF4-FFF2-40B4-BE49-F238E27FC236}">
                <a16:creationId xmlns:a16="http://schemas.microsoft.com/office/drawing/2014/main" id="{941BF14B-D3A3-1083-8AFA-6615F2555128}"/>
              </a:ext>
            </a:extLst>
          </p:cNvPr>
          <p:cNvSpPr txBox="1"/>
          <p:nvPr>
            <p:custDataLst>
              <p:tags r:id="rId44"/>
            </p:custDataLst>
          </p:nvPr>
        </p:nvSpPr>
        <p:spPr>
          <a:xfrm>
            <a:off x="553973" y="6371361"/>
            <a:ext cx="7277861" cy="123111"/>
          </a:xfrm>
          <a:prstGeom prst="rect">
            <a:avLst/>
          </a:prstGeom>
          <a:noFill/>
        </p:spPr>
        <p:txBody>
          <a:bodyPr vert="horz" wrap="square" lIns="0" tIns="0" rIns="0" bIns="0" rtlCol="0" anchor="b" anchorCtr="0">
            <a:spAutoFit/>
          </a:bodyPr>
          <a:lstStyle/>
          <a:p>
            <a:pPr marL="203200" marR="0" lvl="0" indent="-212725" algn="l" defTabSz="9144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rgbClr val="000000"/>
                </a:solidFill>
                <a:effectLst/>
                <a:uLnTx/>
                <a:uFillTx/>
                <a:latin typeface="Calibri" panose="020F0502020204030204"/>
                <a:ea typeface="+mn-ea"/>
                <a:cs typeface="+mn-cs"/>
              </a:rPr>
              <a:t>1.	Excluding coal</a:t>
            </a:r>
          </a:p>
        </p:txBody>
      </p:sp>
      <p:pic>
        <p:nvPicPr>
          <p:cNvPr id="56" name="Picture 6">
            <a:extLst>
              <a:ext uri="{FF2B5EF4-FFF2-40B4-BE49-F238E27FC236}">
                <a16:creationId xmlns:a16="http://schemas.microsoft.com/office/drawing/2014/main" id="{68315AB3-E0DD-F1CF-36D5-55A4B4620268}"/>
              </a:ext>
            </a:extLst>
          </p:cNvPr>
          <p:cNvPicPr>
            <a:picLocks noChangeAspect="1" noChangeArrowheads="1"/>
          </p:cNvPicPr>
          <p:nvPr/>
        </p:nvPicPr>
        <p:blipFill rotWithShape="1">
          <a:blip r:embed="rId99" cstate="screen">
            <a:extLst>
              <a:ext uri="{28A0092B-C50C-407E-A947-70E740481C1C}">
                <a14:useLocalDpi xmlns:a14="http://schemas.microsoft.com/office/drawing/2010/main"/>
              </a:ext>
            </a:extLst>
          </a:blip>
          <a:srcRect t="14430" r="1813" b="12518"/>
          <a:stretch/>
        </p:blipFill>
        <p:spPr bwMode="auto">
          <a:xfrm>
            <a:off x="7261280" y="2853429"/>
            <a:ext cx="501595" cy="216324"/>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56">
            <a:extLst>
              <a:ext uri="{FF2B5EF4-FFF2-40B4-BE49-F238E27FC236}">
                <a16:creationId xmlns:a16="http://schemas.microsoft.com/office/drawing/2014/main" id="{45D15ADE-6BBA-39D9-3C4F-66121228924F}"/>
              </a:ext>
            </a:extLst>
          </p:cNvPr>
          <p:cNvPicPr>
            <a:picLocks noChangeAspect="1"/>
          </p:cNvPicPr>
          <p:nvPr>
            <p:custDataLst>
              <p:tags r:id="rId45"/>
            </p:custDataLst>
          </p:nvPr>
        </p:nvPicPr>
        <p:blipFill rotWithShape="1">
          <a:blip r:embed="rId100" cstate="screen">
            <a:extLst>
              <a:ext uri="{28A0092B-C50C-407E-A947-70E740481C1C}">
                <a14:useLocalDpi xmlns:a14="http://schemas.microsoft.com/office/drawing/2010/main"/>
              </a:ext>
            </a:extLst>
          </a:blip>
          <a:srcRect/>
          <a:stretch/>
        </p:blipFill>
        <p:spPr>
          <a:xfrm>
            <a:off x="7217389" y="2637734"/>
            <a:ext cx="949526" cy="192474"/>
          </a:xfrm>
          <a:prstGeom prst="rect">
            <a:avLst/>
          </a:prstGeom>
        </p:spPr>
      </p:pic>
      <p:pic>
        <p:nvPicPr>
          <p:cNvPr id="61" name="Picture 4">
            <a:extLst>
              <a:ext uri="{FF2B5EF4-FFF2-40B4-BE49-F238E27FC236}">
                <a16:creationId xmlns:a16="http://schemas.microsoft.com/office/drawing/2014/main" id="{2CD0FB61-E345-852C-AC3C-BE0BFBB46C49}"/>
              </a:ext>
            </a:extLst>
          </p:cNvPr>
          <p:cNvPicPr>
            <a:picLocks noChangeAspect="1" noChangeArrowheads="1"/>
          </p:cNvPicPr>
          <p:nvPr/>
        </p:nvPicPr>
        <p:blipFill rotWithShape="1">
          <a:blip r:embed="rId101" cstate="screen">
            <a:extLst>
              <a:ext uri="{28A0092B-C50C-407E-A947-70E740481C1C}">
                <a14:useLocalDpi xmlns:a14="http://schemas.microsoft.com/office/drawing/2010/main"/>
              </a:ext>
            </a:extLst>
          </a:blip>
          <a:srcRect l="11288" t="26488" r="7863" b="33979"/>
          <a:stretch/>
        </p:blipFill>
        <p:spPr bwMode="auto">
          <a:xfrm>
            <a:off x="7218915" y="2455528"/>
            <a:ext cx="675723" cy="172112"/>
          </a:xfrm>
          <a:prstGeom prst="rect">
            <a:avLst/>
          </a:prstGeom>
          <a:noFill/>
          <a:extLst>
            <a:ext uri="{909E8E84-426E-40DD-AFC4-6F175D3DCCD1}">
              <a14:hiddenFill xmlns:a14="http://schemas.microsoft.com/office/drawing/2010/main">
                <a:solidFill>
                  <a:srgbClr val="FFFFFF"/>
                </a:solidFill>
              </a14:hiddenFill>
            </a:ext>
          </a:extLst>
        </p:spPr>
      </p:pic>
      <p:sp>
        <p:nvSpPr>
          <p:cNvPr id="95" name="Rectangle 5">
            <a:extLst>
              <a:ext uri="{FF2B5EF4-FFF2-40B4-BE49-F238E27FC236}">
                <a16:creationId xmlns:a16="http://schemas.microsoft.com/office/drawing/2014/main" id="{B90FB38B-DE28-600E-007F-03946C6E4ACD}"/>
              </a:ext>
            </a:extLst>
          </p:cNvPr>
          <p:cNvSpPr txBox="1">
            <a:spLocks/>
          </p:cNvSpPr>
          <p:nvPr>
            <p:custDataLst>
              <p:tags r:id="rId46"/>
            </p:custDataLst>
          </p:nvPr>
        </p:nvSpPr>
        <p:spPr>
          <a:xfrm>
            <a:off x="6197600" y="5064759"/>
            <a:ext cx="5689601" cy="1296355"/>
          </a:xfrm>
          <a:prstGeom prst="rect">
            <a:avLst/>
          </a:prstGeom>
          <a:noFill/>
          <a:ln w="6350">
            <a:solidFill>
              <a:schemeClr val="accent1"/>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C9A319"/>
              </a:buClr>
              <a:buSzTx/>
              <a:buFontTx/>
              <a:buNone/>
              <a:tabLst/>
              <a:defRPr/>
            </a:pPr>
            <a:endParaRPr kumimoji="0" lang="en-CA" sz="1200" b="0" i="0" u="none" strike="noStrike" kern="1200" cap="none" spc="0" normalizeH="0" baseline="0" noProof="0" dirty="0">
              <a:ln>
                <a:noFill/>
              </a:ln>
              <a:solidFill>
                <a:srgbClr val="FF0000"/>
              </a:solidFill>
              <a:effectLst/>
              <a:uLnTx/>
              <a:uFillTx/>
              <a:latin typeface="Calibri" panose="020F0502020204030204" pitchFamily="34" charset="0"/>
              <a:ea typeface="ＭＳ Ｐゴシック"/>
              <a:cs typeface="Calibri" panose="020F0502020204030204" pitchFamily="34" charset="0"/>
            </a:endParaRPr>
          </a:p>
        </p:txBody>
      </p:sp>
      <p:sp>
        <p:nvSpPr>
          <p:cNvPr id="96" name="Rectangle 8">
            <a:extLst>
              <a:ext uri="{FF2B5EF4-FFF2-40B4-BE49-F238E27FC236}">
                <a16:creationId xmlns:a16="http://schemas.microsoft.com/office/drawing/2014/main" id="{48EFFF39-E43A-B9F5-03B6-85AB455C4FBB}"/>
              </a:ext>
            </a:extLst>
          </p:cNvPr>
          <p:cNvSpPr txBox="1">
            <a:spLocks/>
          </p:cNvSpPr>
          <p:nvPr>
            <p:custDataLst>
              <p:tags r:id="rId47"/>
            </p:custDataLst>
          </p:nvPr>
        </p:nvSpPr>
        <p:spPr>
          <a:xfrm>
            <a:off x="6312992" y="5108149"/>
            <a:ext cx="5744216" cy="184666"/>
          </a:xfrm>
          <a:prstGeom prst="rect">
            <a:avLst/>
          </a:prstGeom>
          <a:noFill/>
          <a:ln w="9525">
            <a:noFill/>
            <a:miter lim="800000"/>
            <a:headEnd/>
            <a:tailEnd/>
          </a:ln>
          <a:effectLst/>
        </p:spPr>
        <p:txBody>
          <a:bodyPr vert="horz" wrap="square" lIns="0" tIns="0" rIns="0" bIns="0" numCol="1" anchor="ctr"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CA" sz="12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Majority of gold is produced in artisanal and small-scale mines (ASM)</a:t>
            </a:r>
          </a:p>
        </p:txBody>
      </p:sp>
      <p:sp>
        <p:nvSpPr>
          <p:cNvPr id="98" name="AutoShape 250">
            <a:extLst>
              <a:ext uri="{FF2B5EF4-FFF2-40B4-BE49-F238E27FC236}">
                <a16:creationId xmlns:a16="http://schemas.microsoft.com/office/drawing/2014/main" id="{388214F2-02C8-12C6-D72B-E4A73FFC2BDA}"/>
              </a:ext>
            </a:extLst>
          </p:cNvPr>
          <p:cNvSpPr>
            <a:spLocks noChangeArrowheads="1"/>
          </p:cNvSpPr>
          <p:nvPr/>
        </p:nvSpPr>
        <p:spPr bwMode="auto">
          <a:xfrm>
            <a:off x="6300402" y="5337175"/>
            <a:ext cx="5483996" cy="153888"/>
          </a:xfrm>
          <a:prstGeom prst="leftRightArrow">
            <a:avLst>
              <a:gd name="adj1" fmla="val 100000"/>
              <a:gd name="adj2" fmla="val 0"/>
            </a:avLst>
          </a:prstGeom>
          <a:noFill/>
          <a:ln w="9525">
            <a:noFill/>
            <a:miter lim="800000"/>
            <a:headEnd/>
            <a:tailEnd/>
          </a:ln>
          <a:effectLst/>
        </p:spPr>
        <p:txBody>
          <a:bodyPr vert="horz" wrap="square" lIns="0" tIns="0" rIns="0" bIns="0" numCol="1" anchor="ctr" anchorCtr="0" compatLnSpc="1">
            <a:prstTxWarp prst="textNoShape">
              <a:avLst/>
            </a:prstTxWarp>
            <a:spAutoFit/>
          </a:body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Gold production (2022), </a:t>
            </a: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a:cs typeface="Calibri" panose="020F0502020204030204" pitchFamily="34" charset="0"/>
              </a:rPr>
              <a:t>koz</a:t>
            </a:r>
            <a:endPar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aphicFrame>
        <p:nvGraphicFramePr>
          <p:cNvPr id="87" name="Chart 86">
            <a:extLst>
              <a:ext uri="{FF2B5EF4-FFF2-40B4-BE49-F238E27FC236}">
                <a16:creationId xmlns:a16="http://schemas.microsoft.com/office/drawing/2014/main" id="{C47DDAC9-7503-54AF-A7CB-B4BE5C18E9F3}"/>
              </a:ext>
            </a:extLst>
          </p:cNvPr>
          <p:cNvGraphicFramePr/>
          <p:nvPr>
            <p:custDataLst>
              <p:tags r:id="rId48"/>
            </p:custDataLst>
            <p:extLst>
              <p:ext uri="{D42A27DB-BD31-4B8C-83A1-F6EECF244321}">
                <p14:modId xmlns:p14="http://schemas.microsoft.com/office/powerpoint/2010/main" val="923591949"/>
              </p:ext>
            </p:extLst>
          </p:nvPr>
        </p:nvGraphicFramePr>
        <p:xfrm>
          <a:off x="6218238" y="5483225"/>
          <a:ext cx="5648325" cy="866775"/>
        </p:xfrm>
        <a:graphic>
          <a:graphicData uri="http://schemas.openxmlformats.org/drawingml/2006/chart">
            <c:chart xmlns:c="http://schemas.openxmlformats.org/drawingml/2006/chart" xmlns:r="http://schemas.openxmlformats.org/officeDocument/2006/relationships" r:id="rId102"/>
          </a:graphicData>
        </a:graphic>
      </p:graphicFrame>
      <p:cxnSp>
        <p:nvCxnSpPr>
          <p:cNvPr id="101" name="Straight Connector 100">
            <a:extLst>
              <a:ext uri="{FF2B5EF4-FFF2-40B4-BE49-F238E27FC236}">
                <a16:creationId xmlns:a16="http://schemas.microsoft.com/office/drawing/2014/main" id="{200E7BFE-99A2-49ED-1C42-0EC1CCBFF1DD}"/>
              </a:ext>
            </a:extLst>
          </p:cNvPr>
          <p:cNvCxnSpPr>
            <a:cxnSpLocks/>
          </p:cNvCxnSpPr>
          <p:nvPr>
            <p:custDataLst>
              <p:tags r:id="rId49"/>
            </p:custDataLst>
          </p:nvPr>
        </p:nvCxnSpPr>
        <p:spPr bwMode="gray">
          <a:xfrm flipH="1" flipV="1">
            <a:off x="7077075" y="5876925"/>
            <a:ext cx="92075" cy="85725"/>
          </a:xfrm>
          <a:prstGeom prst="line">
            <a:avLst/>
          </a:prstGeom>
          <a:ln w="6350" cap="flat" cmpd="sng" algn="ctr">
            <a:solidFill>
              <a:schemeClr val="tx1">
                <a:lumMod val="85000"/>
                <a:lumOff val="15000"/>
              </a:schemeClr>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3" name="Straight Connector 102">
            <a:extLst>
              <a:ext uri="{FF2B5EF4-FFF2-40B4-BE49-F238E27FC236}">
                <a16:creationId xmlns:a16="http://schemas.microsoft.com/office/drawing/2014/main" id="{EBC4D619-CE4D-BDE2-4437-F9D14ACEFF2B}"/>
              </a:ext>
            </a:extLst>
          </p:cNvPr>
          <p:cNvCxnSpPr>
            <a:cxnSpLocks/>
          </p:cNvCxnSpPr>
          <p:nvPr>
            <p:custDataLst>
              <p:tags r:id="rId50"/>
            </p:custDataLst>
          </p:nvPr>
        </p:nvCxnSpPr>
        <p:spPr bwMode="gray">
          <a:xfrm flipH="1" flipV="1">
            <a:off x="9271000" y="5813425"/>
            <a:ext cx="92075" cy="149225"/>
          </a:xfrm>
          <a:prstGeom prst="line">
            <a:avLst/>
          </a:prstGeom>
          <a:ln w="6350" cap="flat" cmpd="sng" algn="ctr">
            <a:solidFill>
              <a:schemeClr val="tx1">
                <a:lumMod val="85000"/>
                <a:lumOff val="15000"/>
              </a:schemeClr>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4" name="Straight Connector 103">
            <a:extLst>
              <a:ext uri="{FF2B5EF4-FFF2-40B4-BE49-F238E27FC236}">
                <a16:creationId xmlns:a16="http://schemas.microsoft.com/office/drawing/2014/main" id="{10B24924-CC97-1444-748B-C26B22D5331A}"/>
              </a:ext>
            </a:extLst>
          </p:cNvPr>
          <p:cNvCxnSpPr/>
          <p:nvPr>
            <p:custDataLst>
              <p:tags r:id="rId51"/>
            </p:custDataLst>
          </p:nvPr>
        </p:nvCxnSpPr>
        <p:spPr bwMode="gray">
          <a:xfrm flipH="1" flipV="1">
            <a:off x="11463338" y="5726113"/>
            <a:ext cx="92075" cy="31750"/>
          </a:xfrm>
          <a:prstGeom prst="line">
            <a:avLst/>
          </a:prstGeom>
          <a:ln w="6350" cap="flat" cmpd="sng" algn="ctr">
            <a:solidFill>
              <a:schemeClr val="tx1">
                <a:lumMod val="85000"/>
                <a:lumOff val="15000"/>
              </a:schemeClr>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931DE893-60A7-4C6C-716E-BB44A2FE192A}"/>
              </a:ext>
            </a:extLst>
          </p:cNvPr>
          <p:cNvCxnSpPr>
            <a:cxnSpLocks/>
          </p:cNvCxnSpPr>
          <p:nvPr>
            <p:custDataLst>
              <p:tags r:id="rId52"/>
            </p:custDataLst>
          </p:nvPr>
        </p:nvCxnSpPr>
        <p:spPr bwMode="gray">
          <a:xfrm flipH="1" flipV="1">
            <a:off x="8174038" y="5865813"/>
            <a:ext cx="92075" cy="96838"/>
          </a:xfrm>
          <a:prstGeom prst="line">
            <a:avLst/>
          </a:prstGeom>
          <a:ln w="6350" cap="flat" cmpd="sng" algn="ctr">
            <a:solidFill>
              <a:schemeClr val="tx1">
                <a:lumMod val="85000"/>
                <a:lumOff val="15000"/>
              </a:schemeClr>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3FF1BE74-57F2-57CC-ABD6-B6760BDC50F2}"/>
              </a:ext>
            </a:extLst>
          </p:cNvPr>
          <p:cNvCxnSpPr/>
          <p:nvPr>
            <p:custDataLst>
              <p:tags r:id="rId53"/>
            </p:custDataLst>
          </p:nvPr>
        </p:nvCxnSpPr>
        <p:spPr bwMode="gray">
          <a:xfrm flipH="1" flipV="1">
            <a:off x="10366375" y="5716588"/>
            <a:ext cx="92075" cy="41275"/>
          </a:xfrm>
          <a:prstGeom prst="line">
            <a:avLst/>
          </a:prstGeom>
          <a:ln w="6350" cap="flat" cmpd="sng" algn="ctr">
            <a:solidFill>
              <a:schemeClr val="tx1">
                <a:lumMod val="85000"/>
                <a:lumOff val="15000"/>
              </a:schemeClr>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Straight Connector 63">
            <a:extLst>
              <a:ext uri="{FF2B5EF4-FFF2-40B4-BE49-F238E27FC236}">
                <a16:creationId xmlns:a16="http://schemas.microsoft.com/office/drawing/2014/main" id="{2A9AE74B-CDFC-376F-72BF-B49616D25B96}"/>
              </a:ext>
            </a:extLst>
          </p:cNvPr>
          <p:cNvCxnSpPr/>
          <p:nvPr>
            <p:custDataLst>
              <p:tags r:id="rId54"/>
            </p:custDataLst>
          </p:nvPr>
        </p:nvCxnSpPr>
        <p:spPr bwMode="auto">
          <a:xfrm flipH="1" flipV="1">
            <a:off x="7077075" y="5856288"/>
            <a:ext cx="92075" cy="3810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 name="Straight Connector 66">
            <a:extLst>
              <a:ext uri="{FF2B5EF4-FFF2-40B4-BE49-F238E27FC236}">
                <a16:creationId xmlns:a16="http://schemas.microsoft.com/office/drawing/2014/main" id="{FD730DEA-4AD8-42B5-1DFB-780A2848DFF3}"/>
              </a:ext>
            </a:extLst>
          </p:cNvPr>
          <p:cNvCxnSpPr/>
          <p:nvPr>
            <p:custDataLst>
              <p:tags r:id="rId55"/>
            </p:custDataLst>
          </p:nvPr>
        </p:nvCxnSpPr>
        <p:spPr bwMode="auto">
          <a:xfrm flipH="1">
            <a:off x="7077075" y="5757863"/>
            <a:ext cx="92075" cy="68262"/>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 name="Straight Connector 67">
            <a:extLst>
              <a:ext uri="{FF2B5EF4-FFF2-40B4-BE49-F238E27FC236}">
                <a16:creationId xmlns:a16="http://schemas.microsoft.com/office/drawing/2014/main" id="{18621601-5314-2BBB-C6CD-620543FB2396}"/>
              </a:ext>
            </a:extLst>
          </p:cNvPr>
          <p:cNvCxnSpPr/>
          <p:nvPr>
            <p:custDataLst>
              <p:tags r:id="rId56"/>
            </p:custDataLst>
          </p:nvPr>
        </p:nvCxnSpPr>
        <p:spPr bwMode="auto">
          <a:xfrm flipH="1" flipV="1">
            <a:off x="8174038" y="5842000"/>
            <a:ext cx="92075" cy="5238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0" name="Straight Connector 69">
            <a:extLst>
              <a:ext uri="{FF2B5EF4-FFF2-40B4-BE49-F238E27FC236}">
                <a16:creationId xmlns:a16="http://schemas.microsoft.com/office/drawing/2014/main" id="{5FECA710-4155-A279-AE7B-8CFBFA6D38C4}"/>
              </a:ext>
            </a:extLst>
          </p:cNvPr>
          <p:cNvCxnSpPr/>
          <p:nvPr>
            <p:custDataLst>
              <p:tags r:id="rId57"/>
            </p:custDataLst>
          </p:nvPr>
        </p:nvCxnSpPr>
        <p:spPr bwMode="auto">
          <a:xfrm flipH="1">
            <a:off x="8174038" y="5757863"/>
            <a:ext cx="92075" cy="5397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Straight Connector 70">
            <a:extLst>
              <a:ext uri="{FF2B5EF4-FFF2-40B4-BE49-F238E27FC236}">
                <a16:creationId xmlns:a16="http://schemas.microsoft.com/office/drawing/2014/main" id="{3E679550-C0A1-6538-8E17-1AE306934F51}"/>
              </a:ext>
            </a:extLst>
          </p:cNvPr>
          <p:cNvCxnSpPr/>
          <p:nvPr>
            <p:custDataLst>
              <p:tags r:id="rId58"/>
            </p:custDataLst>
          </p:nvPr>
        </p:nvCxnSpPr>
        <p:spPr bwMode="auto">
          <a:xfrm flipH="1" flipV="1">
            <a:off x="9271000" y="5784850"/>
            <a:ext cx="92075" cy="1095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7" name="Straight Connector 76">
            <a:extLst>
              <a:ext uri="{FF2B5EF4-FFF2-40B4-BE49-F238E27FC236}">
                <a16:creationId xmlns:a16="http://schemas.microsoft.com/office/drawing/2014/main" id="{B301A7F1-8E80-E20C-EBE7-B36A89C1F1AD}"/>
              </a:ext>
            </a:extLst>
          </p:cNvPr>
          <p:cNvCxnSpPr/>
          <p:nvPr>
            <p:custDataLst>
              <p:tags r:id="rId59"/>
            </p:custDataLst>
          </p:nvPr>
        </p:nvCxnSpPr>
        <p:spPr bwMode="auto">
          <a:xfrm flipH="1" flipV="1">
            <a:off x="9271000" y="5756275"/>
            <a:ext cx="92075" cy="158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3" name="Straight Connector 82">
            <a:extLst>
              <a:ext uri="{FF2B5EF4-FFF2-40B4-BE49-F238E27FC236}">
                <a16:creationId xmlns:a16="http://schemas.microsoft.com/office/drawing/2014/main" id="{CC1C3F3B-75E4-B637-5B5E-83B2DDE97031}"/>
              </a:ext>
            </a:extLst>
          </p:cNvPr>
          <p:cNvCxnSpPr/>
          <p:nvPr>
            <p:custDataLst>
              <p:tags r:id="rId60"/>
            </p:custDataLst>
          </p:nvPr>
        </p:nvCxnSpPr>
        <p:spPr bwMode="auto">
          <a:xfrm flipH="1" flipV="1">
            <a:off x="10366375" y="5789613"/>
            <a:ext cx="92075" cy="173037"/>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4" name="Straight Connector 83">
            <a:extLst>
              <a:ext uri="{FF2B5EF4-FFF2-40B4-BE49-F238E27FC236}">
                <a16:creationId xmlns:a16="http://schemas.microsoft.com/office/drawing/2014/main" id="{18DB5E54-9009-30F1-9386-5A3707828411}"/>
              </a:ext>
            </a:extLst>
          </p:cNvPr>
          <p:cNvCxnSpPr/>
          <p:nvPr>
            <p:custDataLst>
              <p:tags r:id="rId61"/>
            </p:custDataLst>
          </p:nvPr>
        </p:nvCxnSpPr>
        <p:spPr bwMode="auto">
          <a:xfrm flipH="1" flipV="1">
            <a:off x="10366375" y="5746750"/>
            <a:ext cx="92075" cy="7937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5" name="Straight Connector 84">
            <a:extLst>
              <a:ext uri="{FF2B5EF4-FFF2-40B4-BE49-F238E27FC236}">
                <a16:creationId xmlns:a16="http://schemas.microsoft.com/office/drawing/2014/main" id="{5BC0DD43-E803-9DCD-CFE7-BF725BEBE602}"/>
              </a:ext>
            </a:extLst>
          </p:cNvPr>
          <p:cNvCxnSpPr/>
          <p:nvPr>
            <p:custDataLst>
              <p:tags r:id="rId62"/>
            </p:custDataLst>
          </p:nvPr>
        </p:nvCxnSpPr>
        <p:spPr bwMode="auto">
          <a:xfrm flipH="1" flipV="1">
            <a:off x="11463338" y="5807075"/>
            <a:ext cx="92075" cy="15557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6" name="Straight Connector 85">
            <a:extLst>
              <a:ext uri="{FF2B5EF4-FFF2-40B4-BE49-F238E27FC236}">
                <a16:creationId xmlns:a16="http://schemas.microsoft.com/office/drawing/2014/main" id="{FEA13FA5-A6CD-9479-DD1A-1F13D3FCB7F6}"/>
              </a:ext>
            </a:extLst>
          </p:cNvPr>
          <p:cNvCxnSpPr/>
          <p:nvPr>
            <p:custDataLst>
              <p:tags r:id="rId63"/>
            </p:custDataLst>
          </p:nvPr>
        </p:nvCxnSpPr>
        <p:spPr bwMode="auto">
          <a:xfrm flipH="1" flipV="1">
            <a:off x="11463338" y="5759450"/>
            <a:ext cx="92075" cy="1349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0" name="Text Placeholder 2">
            <a:extLst>
              <a:ext uri="{FF2B5EF4-FFF2-40B4-BE49-F238E27FC236}">
                <a16:creationId xmlns:a16="http://schemas.microsoft.com/office/drawing/2014/main" id="{56C8F3B0-B647-328A-5E71-FE9E4973E2A4}"/>
              </a:ext>
            </a:extLst>
          </p:cNvPr>
          <p:cNvSpPr>
            <a:spLocks noGrp="1"/>
          </p:cNvSpPr>
          <p:nvPr>
            <p:custDataLst>
              <p:tags r:id="rId64"/>
            </p:custDataLst>
          </p:nvPr>
        </p:nvSpPr>
        <p:spPr bwMode="gray">
          <a:xfrm>
            <a:off x="7169150" y="5962650"/>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AD214663-56FC-4150-B390-58B66228F8CD}" type="datetime'''''''''''''''''''''''''''0'">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0</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55" name="Text Placeholder 4">
            <a:extLst>
              <a:ext uri="{FF2B5EF4-FFF2-40B4-BE49-F238E27FC236}">
                <a16:creationId xmlns:a16="http://schemas.microsoft.com/office/drawing/2014/main" id="{4C1F3293-4EFE-461D-940D-7EE66BAE31C5}"/>
              </a:ext>
            </a:extLst>
          </p:cNvPr>
          <p:cNvSpPr>
            <a:spLocks noGrp="1"/>
          </p:cNvSpPr>
          <p:nvPr>
            <p:custDataLst>
              <p:tags r:id="rId65"/>
            </p:custDataLst>
          </p:nvPr>
        </p:nvSpPr>
        <p:spPr bwMode="gray">
          <a:xfrm>
            <a:off x="6684963" y="5932489"/>
            <a:ext cx="3270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lnSpc>
                <a:spcPct val="90000"/>
              </a:lnSpc>
              <a:spcBef>
                <a:spcPct val="0"/>
              </a:spcBef>
              <a:spcAft>
                <a:spcPct val="0"/>
              </a:spcAft>
            </a:pPr>
            <a:fld id="{5F45DB14-58AE-4307-B95E-62C500F11281}" type="datetime'1'''',1''''''''''''''''''''''''''3''''''''''8'">
              <a:rPr lang="pt-BR" altLang="en-US" sz="1000" smtClean="0">
                <a:effectLst/>
                <a:cs typeface="Calibri" panose="020F0502020204030204" pitchFamily="34" charset="0"/>
              </a:rPr>
              <a:pPr lvl="0" algn="ctr">
                <a:lnSpc>
                  <a:spcPct val="90000"/>
                </a:lnSpc>
                <a:spcBef>
                  <a:spcPct val="0"/>
                </a:spcBef>
                <a:spcAft>
                  <a:spcPct val="0"/>
                </a:spcAft>
              </a:pPr>
              <a:t>1,138</a:t>
            </a:fld>
            <a:endParaRPr lang="pt-BR" sz="1000" dirty="0">
              <a:cs typeface="Calibri" panose="020F0502020204030204" pitchFamily="34" charset="0"/>
            </a:endParaRPr>
          </a:p>
        </p:txBody>
      </p:sp>
      <p:sp>
        <p:nvSpPr>
          <p:cNvPr id="58" name="Text Placeholder 4">
            <a:extLst>
              <a:ext uri="{FF2B5EF4-FFF2-40B4-BE49-F238E27FC236}">
                <a16:creationId xmlns:a16="http://schemas.microsoft.com/office/drawing/2014/main" id="{4C1F3293-4EFE-461D-940D-7EE66BAE31C5}"/>
              </a:ext>
            </a:extLst>
          </p:cNvPr>
          <p:cNvSpPr>
            <a:spLocks noGrp="1"/>
          </p:cNvSpPr>
          <p:nvPr>
            <p:custDataLst>
              <p:tags r:id="rId66"/>
            </p:custDataLst>
          </p:nvPr>
        </p:nvSpPr>
        <p:spPr bwMode="gray">
          <a:xfrm>
            <a:off x="7781925" y="5926139"/>
            <a:ext cx="3270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lnSpc>
                <a:spcPct val="90000"/>
              </a:lnSpc>
              <a:spcBef>
                <a:spcPct val="0"/>
              </a:spcBef>
              <a:spcAft>
                <a:spcPct val="0"/>
              </a:spcAft>
            </a:pPr>
            <a:fld id="{ABD80DE5-DA3D-403E-A75C-347D18C2C708}" type="datetime'''''''1'',''''''1''''''''''''''''''''''''''''''''9''''''4'">
              <a:rPr lang="pt-BR" altLang="en-US" sz="1000" smtClean="0">
                <a:effectLst/>
                <a:cs typeface="Calibri" panose="020F0502020204030204" pitchFamily="34" charset="0"/>
              </a:rPr>
              <a:pPr lvl="0" algn="ctr">
                <a:lnSpc>
                  <a:spcPct val="90000"/>
                </a:lnSpc>
                <a:spcBef>
                  <a:spcPct val="0"/>
                </a:spcBef>
                <a:spcAft>
                  <a:spcPct val="0"/>
                </a:spcAft>
              </a:pPr>
              <a:t>1,194</a:t>
            </a:fld>
            <a:endParaRPr lang="pt-BR" sz="1000" dirty="0">
              <a:cs typeface="Calibri" panose="020F0502020204030204" pitchFamily="34" charset="0"/>
            </a:endParaRPr>
          </a:p>
        </p:txBody>
      </p:sp>
      <p:sp>
        <p:nvSpPr>
          <p:cNvPr id="59" name="Text Placeholder 4">
            <a:extLst>
              <a:ext uri="{FF2B5EF4-FFF2-40B4-BE49-F238E27FC236}">
                <a16:creationId xmlns:a16="http://schemas.microsoft.com/office/drawing/2014/main" id="{4C1F3293-4EFE-461D-940D-7EE66BAE31C5}"/>
              </a:ext>
            </a:extLst>
          </p:cNvPr>
          <p:cNvSpPr>
            <a:spLocks noGrp="1"/>
          </p:cNvSpPr>
          <p:nvPr>
            <p:custDataLst>
              <p:tags r:id="rId67"/>
            </p:custDataLst>
          </p:nvPr>
        </p:nvSpPr>
        <p:spPr bwMode="gray">
          <a:xfrm>
            <a:off x="8878888" y="5903914"/>
            <a:ext cx="3270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lnSpc>
                <a:spcPct val="90000"/>
              </a:lnSpc>
              <a:spcBef>
                <a:spcPct val="0"/>
              </a:spcBef>
              <a:spcAft>
                <a:spcPct val="0"/>
              </a:spcAft>
            </a:pPr>
            <a:fld id="{3688B6C1-7097-40A0-A28F-3A44C5527C39}" type="datetime'1'',''''''''''''''''''''''''''3''''''9''''''5'''">
              <a:rPr lang="pt-BR" altLang="en-US" sz="1000" smtClean="0">
                <a:effectLst/>
                <a:cs typeface="Calibri" panose="020F0502020204030204" pitchFamily="34" charset="0"/>
              </a:rPr>
              <a:pPr lvl="0" algn="ctr">
                <a:lnSpc>
                  <a:spcPct val="90000"/>
                </a:lnSpc>
                <a:spcBef>
                  <a:spcPct val="0"/>
                </a:spcBef>
                <a:spcAft>
                  <a:spcPct val="0"/>
                </a:spcAft>
              </a:pPr>
              <a:t>1,395</a:t>
            </a:fld>
            <a:endParaRPr lang="pt-BR" sz="1000" dirty="0">
              <a:cs typeface="Calibri" panose="020F0502020204030204" pitchFamily="34" charset="0"/>
            </a:endParaRPr>
          </a:p>
        </p:txBody>
      </p:sp>
      <p:sp>
        <p:nvSpPr>
          <p:cNvPr id="60" name="Text Placeholder 4">
            <a:extLst>
              <a:ext uri="{FF2B5EF4-FFF2-40B4-BE49-F238E27FC236}">
                <a16:creationId xmlns:a16="http://schemas.microsoft.com/office/drawing/2014/main" id="{4C1F3293-4EFE-461D-940D-7EE66BAE31C5}"/>
              </a:ext>
            </a:extLst>
          </p:cNvPr>
          <p:cNvSpPr>
            <a:spLocks noGrp="1"/>
          </p:cNvSpPr>
          <p:nvPr>
            <p:custDataLst>
              <p:tags r:id="rId68"/>
            </p:custDataLst>
          </p:nvPr>
        </p:nvSpPr>
        <p:spPr bwMode="gray">
          <a:xfrm>
            <a:off x="9974263" y="5899151"/>
            <a:ext cx="3270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lnSpc>
                <a:spcPct val="90000"/>
              </a:lnSpc>
              <a:spcBef>
                <a:spcPct val="0"/>
              </a:spcBef>
              <a:spcAft>
                <a:spcPct val="0"/>
              </a:spcAft>
            </a:pPr>
            <a:fld id="{C753CD75-5B17-4D3C-B78D-BAEEE04822B0}" type="datetime'1'''''',''4''''''4''''''3'''''">
              <a:rPr lang="pt-BR" altLang="en-US" sz="1000" smtClean="0">
                <a:effectLst/>
                <a:cs typeface="Calibri" panose="020F0502020204030204" pitchFamily="34" charset="0"/>
              </a:rPr>
              <a:pPr lvl="0" algn="ctr">
                <a:lnSpc>
                  <a:spcPct val="90000"/>
                </a:lnSpc>
                <a:spcBef>
                  <a:spcPct val="0"/>
                </a:spcBef>
                <a:spcAft>
                  <a:spcPct val="0"/>
                </a:spcAft>
              </a:pPr>
              <a:t>1,443</a:t>
            </a:fld>
            <a:endParaRPr lang="pt-BR" sz="1000" dirty="0">
              <a:cs typeface="Calibri" panose="020F0502020204030204" pitchFamily="34" charset="0"/>
            </a:endParaRPr>
          </a:p>
        </p:txBody>
      </p:sp>
      <p:sp>
        <p:nvSpPr>
          <p:cNvPr id="62" name="Text Placeholder 4">
            <a:extLst>
              <a:ext uri="{FF2B5EF4-FFF2-40B4-BE49-F238E27FC236}">
                <a16:creationId xmlns:a16="http://schemas.microsoft.com/office/drawing/2014/main" id="{4C1F3293-4EFE-461D-940D-7EE66BAE31C5}"/>
              </a:ext>
            </a:extLst>
          </p:cNvPr>
          <p:cNvSpPr>
            <a:spLocks noGrp="1"/>
          </p:cNvSpPr>
          <p:nvPr>
            <p:custDataLst>
              <p:tags r:id="rId69"/>
            </p:custDataLst>
          </p:nvPr>
        </p:nvSpPr>
        <p:spPr bwMode="gray">
          <a:xfrm>
            <a:off x="11071225" y="5910264"/>
            <a:ext cx="3270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lnSpc>
                <a:spcPct val="90000"/>
              </a:lnSpc>
              <a:spcBef>
                <a:spcPct val="0"/>
              </a:spcBef>
              <a:spcAft>
                <a:spcPct val="0"/>
              </a:spcAft>
            </a:pPr>
            <a:fld id="{211A6DAA-1930-4227-A0E2-926738C17ADD}" type="datetime'''''''''1'',''''''''''''''3''''3''''''''5'''''''''''''''''''">
              <a:rPr lang="pt-BR" altLang="en-US" sz="1000" smtClean="0">
                <a:effectLst/>
                <a:cs typeface="Calibri" panose="020F0502020204030204" pitchFamily="34" charset="0"/>
              </a:rPr>
              <a:pPr lvl="0" algn="ctr">
                <a:lnSpc>
                  <a:spcPct val="90000"/>
                </a:lnSpc>
                <a:spcBef>
                  <a:spcPct val="0"/>
                </a:spcBef>
                <a:spcAft>
                  <a:spcPct val="0"/>
                </a:spcAft>
              </a:pPr>
              <a:t>1,335</a:t>
            </a:fld>
            <a:endParaRPr lang="pt-BR" sz="1000" dirty="0">
              <a:cs typeface="Calibri" panose="020F0502020204030204" pitchFamily="34" charset="0"/>
            </a:endParaRPr>
          </a:p>
        </p:txBody>
      </p:sp>
      <p:sp>
        <p:nvSpPr>
          <p:cNvPr id="115" name="Text Placeholder 2">
            <a:extLst>
              <a:ext uri="{FF2B5EF4-FFF2-40B4-BE49-F238E27FC236}">
                <a16:creationId xmlns:a16="http://schemas.microsoft.com/office/drawing/2014/main" id="{7306167E-8DAC-D02F-569A-CBC518602BBA}"/>
              </a:ext>
            </a:extLst>
          </p:cNvPr>
          <p:cNvSpPr>
            <a:spLocks noGrp="1"/>
          </p:cNvSpPr>
          <p:nvPr>
            <p:custDataLst>
              <p:tags r:id="rId70"/>
            </p:custDataLst>
          </p:nvPr>
        </p:nvSpPr>
        <p:spPr bwMode="auto">
          <a:xfrm>
            <a:off x="6711950" y="6167438"/>
            <a:ext cx="2730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F8812E90-63FD-48F2-86D7-3C750785886C}" type="datetime'2''''''''''''''''''''''01''''''''''''''''''''''8'''">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018</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157" name="Text Placeholder 2">
            <a:extLst>
              <a:ext uri="{FF2B5EF4-FFF2-40B4-BE49-F238E27FC236}">
                <a16:creationId xmlns:a16="http://schemas.microsoft.com/office/drawing/2014/main" id="{AD2BE574-EBCC-3E8A-C3CF-B8C19EE2B753}"/>
              </a:ext>
            </a:extLst>
          </p:cNvPr>
          <p:cNvSpPr>
            <a:spLocks noGrp="1"/>
          </p:cNvSpPr>
          <p:nvPr>
            <p:custDataLst>
              <p:tags r:id="rId71"/>
            </p:custDataLst>
          </p:nvPr>
        </p:nvSpPr>
        <p:spPr bwMode="gray">
          <a:xfrm>
            <a:off x="8266113" y="5962650"/>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AFAB64B3-1555-4185-BEBB-A7D33E5A8169}" type="datetime'''''''''''0'''''''''">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0</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124" name="Text Placeholder 2">
            <a:extLst>
              <a:ext uri="{FF2B5EF4-FFF2-40B4-BE49-F238E27FC236}">
                <a16:creationId xmlns:a16="http://schemas.microsoft.com/office/drawing/2014/main" id="{2A348F53-40A1-0341-DCCF-E5D9C30033DF}"/>
              </a:ext>
            </a:extLst>
          </p:cNvPr>
          <p:cNvSpPr>
            <a:spLocks noGrp="1"/>
          </p:cNvSpPr>
          <p:nvPr>
            <p:custDataLst>
              <p:tags r:id="rId72"/>
            </p:custDataLst>
          </p:nvPr>
        </p:nvSpPr>
        <p:spPr bwMode="auto">
          <a:xfrm>
            <a:off x="7808913" y="6167438"/>
            <a:ext cx="2730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A677E2E6-0F67-422F-847D-678742A7771E}" type="datetime'''''2''''''''''''''''''''''''''0''19'''''''''''">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019</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114" name="Text Placeholder 2">
            <a:extLst>
              <a:ext uri="{FF2B5EF4-FFF2-40B4-BE49-F238E27FC236}">
                <a16:creationId xmlns:a16="http://schemas.microsoft.com/office/drawing/2014/main" id="{101F940A-54BB-7AD0-8BDE-D9DA436AD71C}"/>
              </a:ext>
            </a:extLst>
          </p:cNvPr>
          <p:cNvSpPr>
            <a:spLocks noGrp="1"/>
          </p:cNvSpPr>
          <p:nvPr>
            <p:custDataLst>
              <p:tags r:id="rId73"/>
            </p:custDataLst>
          </p:nvPr>
        </p:nvSpPr>
        <p:spPr bwMode="auto">
          <a:xfrm>
            <a:off x="8905875" y="6167438"/>
            <a:ext cx="2730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9911056E-DE19-4BA6-8F02-91129757681E}" type="datetime'''''''''''''''''2''''''''''''''0''''''''''''''''2''0'''">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020</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131" name="Text Placeholder 2">
            <a:extLst>
              <a:ext uri="{FF2B5EF4-FFF2-40B4-BE49-F238E27FC236}">
                <a16:creationId xmlns:a16="http://schemas.microsoft.com/office/drawing/2014/main" id="{37390D8E-A2AA-9D07-0117-3E47A9BE976B}"/>
              </a:ext>
            </a:extLst>
          </p:cNvPr>
          <p:cNvSpPr>
            <a:spLocks noGrp="1"/>
          </p:cNvSpPr>
          <p:nvPr>
            <p:custDataLst>
              <p:tags r:id="rId74"/>
            </p:custDataLst>
          </p:nvPr>
        </p:nvSpPr>
        <p:spPr bwMode="auto">
          <a:xfrm>
            <a:off x="10001250" y="6167438"/>
            <a:ext cx="2730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29FE92D7-9410-49A9-83C0-10E5322FF2C7}" type="datetime'''2''''''''''''''''''''''''''''0''''''''''2''1'">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021</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116" name="Text Placeholder 2">
            <a:extLst>
              <a:ext uri="{FF2B5EF4-FFF2-40B4-BE49-F238E27FC236}">
                <a16:creationId xmlns:a16="http://schemas.microsoft.com/office/drawing/2014/main" id="{B3C7A513-D499-6671-33F5-62E1755866FE}"/>
              </a:ext>
            </a:extLst>
          </p:cNvPr>
          <p:cNvSpPr>
            <a:spLocks noGrp="1"/>
          </p:cNvSpPr>
          <p:nvPr>
            <p:custDataLst>
              <p:tags r:id="rId75"/>
            </p:custDataLst>
          </p:nvPr>
        </p:nvSpPr>
        <p:spPr bwMode="auto">
          <a:xfrm>
            <a:off x="11098213" y="6167438"/>
            <a:ext cx="2730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6969B5BA-1B3E-4673-9E0A-5C300C57DD3B}" type="datetime'20''''2''2'''''''''''''''''''''''''''''''''''''''''''''''''''">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022</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154" name="Text Placeholder 2">
            <a:extLst>
              <a:ext uri="{FF2B5EF4-FFF2-40B4-BE49-F238E27FC236}">
                <a16:creationId xmlns:a16="http://schemas.microsoft.com/office/drawing/2014/main" id="{907B4C34-212F-757F-32BC-A99E167DCFAF}"/>
              </a:ext>
            </a:extLst>
          </p:cNvPr>
          <p:cNvSpPr>
            <a:spLocks noGrp="1"/>
          </p:cNvSpPr>
          <p:nvPr>
            <p:custDataLst>
              <p:tags r:id="rId76"/>
            </p:custDataLst>
          </p:nvPr>
        </p:nvSpPr>
        <p:spPr bwMode="gray">
          <a:xfrm>
            <a:off x="6684963" y="5656263"/>
            <a:ext cx="3270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E50588BA-16AA-4C3A-BC0D-D46D5DB0EB68}" type="datetime'''''''''''''''''''''''1'''''''''',''''''''4''''''''1''''2'">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412</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134" name="Text Placeholder 2">
            <a:extLst>
              <a:ext uri="{FF2B5EF4-FFF2-40B4-BE49-F238E27FC236}">
                <a16:creationId xmlns:a16="http://schemas.microsoft.com/office/drawing/2014/main" id="{792487FA-4F14-810F-5819-0343ED604939}"/>
              </a:ext>
            </a:extLst>
          </p:cNvPr>
          <p:cNvSpPr>
            <a:spLocks noGrp="1"/>
          </p:cNvSpPr>
          <p:nvPr>
            <p:custDataLst>
              <p:tags r:id="rId77"/>
            </p:custDataLst>
          </p:nvPr>
        </p:nvSpPr>
        <p:spPr bwMode="gray">
          <a:xfrm>
            <a:off x="7781925" y="5645150"/>
            <a:ext cx="3270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5DAE374E-DA05-482E-8496-F3969D856217}" type="datetime'''1'''''''''',''''''''''''''''''''''''''''''''''4''''6''3'''''">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463</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137" name="Text Placeholder 2">
            <a:extLst>
              <a:ext uri="{FF2B5EF4-FFF2-40B4-BE49-F238E27FC236}">
                <a16:creationId xmlns:a16="http://schemas.microsoft.com/office/drawing/2014/main" id="{7F4F4D1B-5BE9-8C50-FE0E-7F9F84FD6450}"/>
              </a:ext>
            </a:extLst>
          </p:cNvPr>
          <p:cNvSpPr>
            <a:spLocks noGrp="1"/>
          </p:cNvSpPr>
          <p:nvPr>
            <p:custDataLst>
              <p:tags r:id="rId78"/>
            </p:custDataLst>
          </p:nvPr>
        </p:nvSpPr>
        <p:spPr bwMode="gray">
          <a:xfrm>
            <a:off x="8878888" y="5586413"/>
            <a:ext cx="3270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B85E009B-C751-4F80-BA14-60D2A177E636}" type="datetime'''1'',''7''''''''3''''''''''''''''''''''''''''''''''''''2'''">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732</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142" name="Text Placeholder 2">
            <a:extLst>
              <a:ext uri="{FF2B5EF4-FFF2-40B4-BE49-F238E27FC236}">
                <a16:creationId xmlns:a16="http://schemas.microsoft.com/office/drawing/2014/main" id="{98775AE5-60FF-9D00-FDA5-2CFD195246F7}"/>
              </a:ext>
            </a:extLst>
          </p:cNvPr>
          <p:cNvSpPr>
            <a:spLocks noGrp="1"/>
          </p:cNvSpPr>
          <p:nvPr>
            <p:custDataLst>
              <p:tags r:id="rId79"/>
            </p:custDataLst>
          </p:nvPr>
        </p:nvSpPr>
        <p:spPr bwMode="gray">
          <a:xfrm>
            <a:off x="9974263" y="5546725"/>
            <a:ext cx="3270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90097409-C565-4555-B45A-0E5068EFAF94}" type="datetime'''''''''''''1'''''''''''''''''''''''',9''''''1''''''''9'''''''">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919</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145" name="Text Placeholder 2">
            <a:extLst>
              <a:ext uri="{FF2B5EF4-FFF2-40B4-BE49-F238E27FC236}">
                <a16:creationId xmlns:a16="http://schemas.microsoft.com/office/drawing/2014/main" id="{BE94D93A-36F5-1DB7-941F-1C24B6977245}"/>
              </a:ext>
            </a:extLst>
          </p:cNvPr>
          <p:cNvSpPr>
            <a:spLocks noGrp="1"/>
          </p:cNvSpPr>
          <p:nvPr>
            <p:custDataLst>
              <p:tags r:id="rId80"/>
            </p:custDataLst>
          </p:nvPr>
        </p:nvSpPr>
        <p:spPr bwMode="gray">
          <a:xfrm>
            <a:off x="11071225" y="5554663"/>
            <a:ext cx="3270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0BAD03B8-6972-4A82-98D9-CDD3E01BEFB5}" type="datetime'''''''''1'''''''''',''8''''''7''''''''''''''''''''''''''7'''''">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877</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170" name="Rectangle 169">
            <a:extLst>
              <a:ext uri="{FF2B5EF4-FFF2-40B4-BE49-F238E27FC236}">
                <a16:creationId xmlns:a16="http://schemas.microsoft.com/office/drawing/2014/main" id="{82594021-FC11-1ABB-7F16-B1291991BDAC}"/>
              </a:ext>
            </a:extLst>
          </p:cNvPr>
          <p:cNvSpPr/>
          <p:nvPr>
            <p:custDataLst>
              <p:tags r:id="rId81"/>
            </p:custDataLst>
          </p:nvPr>
        </p:nvSpPr>
        <p:spPr bwMode="auto">
          <a:xfrm>
            <a:off x="8077201" y="5383213"/>
            <a:ext cx="123825" cy="123825"/>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1" name="Rectangle 170">
            <a:extLst>
              <a:ext uri="{FF2B5EF4-FFF2-40B4-BE49-F238E27FC236}">
                <a16:creationId xmlns:a16="http://schemas.microsoft.com/office/drawing/2014/main" id="{C4477A65-6145-8735-950D-1C142F1CC83D}"/>
              </a:ext>
            </a:extLst>
          </p:cNvPr>
          <p:cNvSpPr/>
          <p:nvPr>
            <p:custDataLst>
              <p:tags r:id="rId82"/>
            </p:custDataLst>
          </p:nvPr>
        </p:nvSpPr>
        <p:spPr bwMode="auto">
          <a:xfrm>
            <a:off x="9029701" y="5383213"/>
            <a:ext cx="123825" cy="123825"/>
          </a:xfrm>
          <a:prstGeom prst="rect">
            <a:avLst/>
          </a:prstGeom>
          <a:solidFill>
            <a:schemeClr val="accent2"/>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9" name="Rectangle 168">
            <a:extLst>
              <a:ext uri="{FF2B5EF4-FFF2-40B4-BE49-F238E27FC236}">
                <a16:creationId xmlns:a16="http://schemas.microsoft.com/office/drawing/2014/main" id="{D551656C-7152-92DE-30A7-A26CEB08FB67}"/>
              </a:ext>
            </a:extLst>
          </p:cNvPr>
          <p:cNvSpPr/>
          <p:nvPr>
            <p:custDataLst>
              <p:tags r:id="rId83"/>
            </p:custDataLst>
          </p:nvPr>
        </p:nvSpPr>
        <p:spPr bwMode="auto">
          <a:xfrm>
            <a:off x="10206039" y="5383213"/>
            <a:ext cx="123825" cy="123825"/>
          </a:xfrm>
          <a:prstGeom prst="rect">
            <a:avLst/>
          </a:prstGeom>
          <a:solidFill>
            <a:schemeClr val="accent3"/>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2" name="Rectangle 171">
            <a:extLst>
              <a:ext uri="{FF2B5EF4-FFF2-40B4-BE49-F238E27FC236}">
                <a16:creationId xmlns:a16="http://schemas.microsoft.com/office/drawing/2014/main" id="{5864AF75-3F39-F9B5-EA33-CC3331A1E2EA}"/>
              </a:ext>
            </a:extLst>
          </p:cNvPr>
          <p:cNvSpPr/>
          <p:nvPr>
            <p:custDataLst>
              <p:tags r:id="rId84"/>
            </p:custDataLst>
          </p:nvPr>
        </p:nvSpPr>
        <p:spPr bwMode="auto">
          <a:xfrm>
            <a:off x="10837864" y="5383213"/>
            <a:ext cx="123825" cy="123825"/>
          </a:xfrm>
          <a:prstGeom prst="rect">
            <a:avLst/>
          </a:prstGeom>
          <a:solidFill>
            <a:schemeClr val="accent4"/>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3" name="Text Placeholder 2">
            <a:extLst>
              <a:ext uri="{FF2B5EF4-FFF2-40B4-BE49-F238E27FC236}">
                <a16:creationId xmlns:a16="http://schemas.microsoft.com/office/drawing/2014/main" id="{29291E30-751E-9752-AAE8-16CA992B8E41}"/>
              </a:ext>
            </a:extLst>
          </p:cNvPr>
          <p:cNvSpPr>
            <a:spLocks noGrp="1"/>
          </p:cNvSpPr>
          <p:nvPr>
            <p:custDataLst>
              <p:tags r:id="rId85"/>
            </p:custDataLst>
          </p:nvPr>
        </p:nvSpPr>
        <p:spPr bwMode="auto">
          <a:xfrm>
            <a:off x="8251825" y="5391150"/>
            <a:ext cx="676275"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1556E576-C13E-4F77-8860-1007516CF52E}" type="datetime'''''Ne''''''chi Alluv''''i''''''''''''als'''''''''''''''''''">
              <a:rPr kumimoji="0" lang="pt-BR" altLang="en-US" sz="9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Nechi Alluvials</a:t>
            </a:fld>
            <a:endParaRPr kumimoji="0" lang="pt-BR" sz="9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175" name="Text Placeholder 2">
            <a:extLst>
              <a:ext uri="{FF2B5EF4-FFF2-40B4-BE49-F238E27FC236}">
                <a16:creationId xmlns:a16="http://schemas.microsoft.com/office/drawing/2014/main" id="{9B48D4A3-E099-7800-484F-04BD51B0D147}"/>
              </a:ext>
            </a:extLst>
          </p:cNvPr>
          <p:cNvSpPr>
            <a:spLocks noGrp="1"/>
          </p:cNvSpPr>
          <p:nvPr>
            <p:custDataLst>
              <p:tags r:id="rId86"/>
            </p:custDataLst>
          </p:nvPr>
        </p:nvSpPr>
        <p:spPr bwMode="auto">
          <a:xfrm>
            <a:off x="9204325" y="5391150"/>
            <a:ext cx="900113"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6DFB96E3-4C47-49F8-9D08-F9E7990CCB75}" type="datetime'''S''ego''vi''''a ''''''''''''Op''e''r''ati''''o''''''n''s'">
              <a:rPr kumimoji="0" lang="pt-BR" altLang="en-US" sz="9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Segovia Operations</a:t>
            </a:fld>
            <a:endParaRPr kumimoji="0" lang="pt-BR" sz="9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178" name="Text Placeholder 2">
            <a:extLst>
              <a:ext uri="{FF2B5EF4-FFF2-40B4-BE49-F238E27FC236}">
                <a16:creationId xmlns:a16="http://schemas.microsoft.com/office/drawing/2014/main" id="{370367F5-A188-5C7F-BFC6-2B79C229E551}"/>
              </a:ext>
            </a:extLst>
          </p:cNvPr>
          <p:cNvSpPr>
            <a:spLocks noGrp="1"/>
          </p:cNvSpPr>
          <p:nvPr>
            <p:custDataLst>
              <p:tags r:id="rId87"/>
            </p:custDataLst>
          </p:nvPr>
        </p:nvSpPr>
        <p:spPr bwMode="auto">
          <a:xfrm>
            <a:off x="10380663" y="5391150"/>
            <a:ext cx="3556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011292AC-AF9B-4188-A825-12D2ADF11BAA}" type="datetime'''''''''''B''u''r''i''''t''''ic''a'''''''''''''''''''''''">
              <a:rPr kumimoji="0" lang="pt-BR" altLang="en-US" sz="9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Buritica</a:t>
            </a:fld>
            <a:endParaRPr kumimoji="0" lang="pt-BR" sz="9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180" name="Text Placeholder 2">
            <a:extLst>
              <a:ext uri="{FF2B5EF4-FFF2-40B4-BE49-F238E27FC236}">
                <a16:creationId xmlns:a16="http://schemas.microsoft.com/office/drawing/2014/main" id="{4F291B1D-BA05-5B88-DB75-FCDD138B3A39}"/>
              </a:ext>
            </a:extLst>
          </p:cNvPr>
          <p:cNvSpPr>
            <a:spLocks noGrp="1"/>
          </p:cNvSpPr>
          <p:nvPr>
            <p:custDataLst>
              <p:tags r:id="rId88"/>
            </p:custDataLst>
          </p:nvPr>
        </p:nvSpPr>
        <p:spPr bwMode="auto">
          <a:xfrm>
            <a:off x="11012488" y="5391150"/>
            <a:ext cx="5842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2FD8C2C4-53E5-48D3-9C63-2856A43995B4}" type="datetime'''O''''''t''h''''er ''''''''(''''''''''''AS''M'')'''''">
              <a:rPr kumimoji="0" lang="pt-BR" altLang="en-US" sz="9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Other (ASM)</a:t>
            </a:fld>
            <a:endParaRPr kumimoji="0" lang="pt-BR" sz="9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Tree>
    <p:extLst>
      <p:ext uri="{BB962C8B-B14F-4D97-AF65-F5344CB8AC3E}">
        <p14:creationId xmlns:p14="http://schemas.microsoft.com/office/powerpoint/2010/main" val="31692619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 hidden="1">
            <a:extLst>
              <a:ext uri="{FF2B5EF4-FFF2-40B4-BE49-F238E27FC236}">
                <a16:creationId xmlns:a16="http://schemas.microsoft.com/office/drawing/2014/main" id="{578D55DE-3BB1-3BCB-BC1B-44EF337F1908}"/>
              </a:ext>
            </a:extLst>
          </p:cNvPr>
          <p:cNvGraphicFramePr>
            <a:graphicFrameLocks noChangeAspect="1"/>
          </p:cNvGraphicFramePr>
          <p:nvPr>
            <p:custDataLst>
              <p:tags r:id="rId1"/>
            </p:custDataLst>
            <p:extLst>
              <p:ext uri="{D42A27DB-BD31-4B8C-83A1-F6EECF244321}">
                <p14:modId xmlns:p14="http://schemas.microsoft.com/office/powerpoint/2010/main" val="1736001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7" imgW="395" imgH="396" progId="TCLayout.ActiveDocument.1">
                  <p:embed/>
                </p:oleObj>
              </mc:Choice>
              <mc:Fallback>
                <p:oleObj name="think-cell Slide" r:id="rId87" imgW="395" imgH="396" progId="TCLayout.ActiveDocument.1">
                  <p:embed/>
                  <p:pic>
                    <p:nvPicPr>
                      <p:cNvPr id="15" name="Object 1" hidden="1">
                        <a:extLst>
                          <a:ext uri="{FF2B5EF4-FFF2-40B4-BE49-F238E27FC236}">
                            <a16:creationId xmlns:a16="http://schemas.microsoft.com/office/drawing/2014/main" id="{578D55DE-3BB1-3BCB-BC1B-44EF337F1908}"/>
                          </a:ext>
                        </a:extLst>
                      </p:cNvPr>
                      <p:cNvPicPr/>
                      <p:nvPr/>
                    </p:nvPicPr>
                    <p:blipFill>
                      <a:blip r:embed="rId88"/>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idx="4294967295"/>
          </p:nvPr>
        </p:nvSpPr>
        <p:spPr>
          <a:xfrm>
            <a:off x="262527" y="236449"/>
            <a:ext cx="9166496" cy="830997"/>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ctr" anchorCtr="0">
            <a:spAutoFit/>
          </a:bodyPr>
          <a:lstStyle/>
          <a:p>
            <a:r>
              <a:rPr lang="en-CA" sz="2400" dirty="0"/>
              <a:t>Gold production in Guyana is driven by artisan operations and Zijin’s Aurora mine</a:t>
            </a:r>
          </a:p>
        </p:txBody>
      </p:sp>
      <p:sp>
        <p:nvSpPr>
          <p:cNvPr id="51" name="5. Source">
            <a:extLst>
              <a:ext uri="{FF2B5EF4-FFF2-40B4-BE49-F238E27FC236}">
                <a16:creationId xmlns:a16="http://schemas.microsoft.com/office/drawing/2014/main" id="{FEA89F67-585A-557F-A85D-1AAFAD031886}"/>
              </a:ext>
            </a:extLst>
          </p:cNvPr>
          <p:cNvSpPr txBox="1"/>
          <p:nvPr>
            <p:custDataLst>
              <p:tags r:id="rId2"/>
            </p:custDataLst>
          </p:nvPr>
        </p:nvSpPr>
        <p:spPr>
          <a:xfrm>
            <a:off x="346356"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ource: CIA World Factbook, </a:t>
            </a:r>
            <a:r>
              <a:rPr kumimoji="0" lang="en-US" sz="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PlanetGold</a:t>
            </a: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World Bank WDI, IMF (WEO), Oxford Economics, </a:t>
            </a:r>
            <a:r>
              <a:rPr kumimoji="0" lang="en-US" sz="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MineSpans</a:t>
            </a: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en-US" sz="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Dentos</a:t>
            </a: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Global Mining Guide, </a:t>
            </a:r>
            <a:r>
              <a:rPr kumimoji="0" lang="en-US" sz="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Lexology</a:t>
            </a: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press search</a:t>
            </a:r>
          </a:p>
        </p:txBody>
      </p:sp>
      <p:cxnSp>
        <p:nvCxnSpPr>
          <p:cNvPr id="34" name="Straight Connector 33">
            <a:extLst>
              <a:ext uri="{FF2B5EF4-FFF2-40B4-BE49-F238E27FC236}">
                <a16:creationId xmlns:a16="http://schemas.microsoft.com/office/drawing/2014/main" id="{EB3C492B-2B23-BBB8-FD5D-B1EF650D1AA8}"/>
              </a:ext>
            </a:extLst>
          </p:cNvPr>
          <p:cNvCxnSpPr>
            <a:cxnSpLocks/>
          </p:cNvCxnSpPr>
          <p:nvPr>
            <p:custDataLst>
              <p:tags r:id="rId3"/>
            </p:custDataLst>
          </p:nvPr>
        </p:nvCxnSpPr>
        <p:spPr>
          <a:xfrm>
            <a:off x="346074" y="4210228"/>
            <a:ext cx="5524265" cy="0"/>
          </a:xfrm>
          <a:prstGeom prst="line">
            <a:avLst/>
          </a:prstGeom>
          <a:ln w="6350">
            <a:solidFill>
              <a:srgbClr val="757575"/>
            </a:solidFill>
            <a:prstDash val="soli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D80A1D05-FAF3-BED8-FD5C-2BE9D20B7596}"/>
              </a:ext>
            </a:extLst>
          </p:cNvPr>
          <p:cNvCxnSpPr>
            <a:cxnSpLocks/>
          </p:cNvCxnSpPr>
          <p:nvPr>
            <p:custDataLst>
              <p:tags r:id="rId4"/>
            </p:custDataLst>
          </p:nvPr>
        </p:nvCxnSpPr>
        <p:spPr>
          <a:xfrm>
            <a:off x="346074" y="2366606"/>
            <a:ext cx="5524265" cy="0"/>
          </a:xfrm>
          <a:prstGeom prst="line">
            <a:avLst/>
          </a:prstGeom>
          <a:ln w="6350">
            <a:solidFill>
              <a:srgbClr val="757575"/>
            </a:solidFill>
            <a:prstDash val="soli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E48FF427-B204-0939-2F10-F61E62D6A4AB}"/>
              </a:ext>
            </a:extLst>
          </p:cNvPr>
          <p:cNvCxnSpPr>
            <a:cxnSpLocks/>
          </p:cNvCxnSpPr>
          <p:nvPr>
            <p:custDataLst>
              <p:tags r:id="rId5"/>
            </p:custDataLst>
          </p:nvPr>
        </p:nvCxnSpPr>
        <p:spPr>
          <a:xfrm>
            <a:off x="346074" y="3497381"/>
            <a:ext cx="5524265" cy="0"/>
          </a:xfrm>
          <a:prstGeom prst="line">
            <a:avLst/>
          </a:prstGeom>
          <a:ln w="6350">
            <a:solidFill>
              <a:srgbClr val="757575"/>
            </a:solidFill>
            <a:prstDash val="soli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64A3520-D2D9-CE31-EF86-4AF475BF887E}"/>
              </a:ext>
            </a:extLst>
          </p:cNvPr>
          <p:cNvCxnSpPr>
            <a:cxnSpLocks/>
          </p:cNvCxnSpPr>
          <p:nvPr>
            <p:custDataLst>
              <p:tags r:id="rId6"/>
            </p:custDataLst>
          </p:nvPr>
        </p:nvCxnSpPr>
        <p:spPr>
          <a:xfrm>
            <a:off x="6197600" y="3128633"/>
            <a:ext cx="5689601" cy="0"/>
          </a:xfrm>
          <a:prstGeom prst="line">
            <a:avLst/>
          </a:prstGeom>
          <a:ln w="6350">
            <a:solidFill>
              <a:srgbClr val="757575"/>
            </a:solidFill>
            <a:prstDash val="solid"/>
          </a:ln>
        </p:spPr>
        <p:style>
          <a:lnRef idx="1">
            <a:schemeClr val="accent1"/>
          </a:lnRef>
          <a:fillRef idx="0">
            <a:schemeClr val="accent1"/>
          </a:fillRef>
          <a:effectRef idx="0">
            <a:schemeClr val="accent1"/>
          </a:effectRef>
          <a:fontRef idx="minor">
            <a:schemeClr val="tx1"/>
          </a:fontRef>
        </p:style>
      </p:cxnSp>
      <p:sp>
        <p:nvSpPr>
          <p:cNvPr id="42" name="Rectangle 8">
            <a:extLst>
              <a:ext uri="{FF2B5EF4-FFF2-40B4-BE49-F238E27FC236}">
                <a16:creationId xmlns:a16="http://schemas.microsoft.com/office/drawing/2014/main" id="{EF0C4F77-5819-4FF8-28E6-3CC6E87DC0F5}"/>
              </a:ext>
            </a:extLst>
          </p:cNvPr>
          <p:cNvSpPr txBox="1">
            <a:spLocks/>
          </p:cNvSpPr>
          <p:nvPr>
            <p:custDataLst>
              <p:tags r:id="rId7"/>
            </p:custDataLst>
          </p:nvPr>
        </p:nvSpPr>
        <p:spPr>
          <a:xfrm>
            <a:off x="6197598" y="3188945"/>
            <a:ext cx="896621" cy="1801067"/>
          </a:xfrm>
          <a:prstGeom prst="rect">
            <a:avLst/>
          </a:prstGeom>
          <a:solidFill>
            <a:schemeClr val="accent1"/>
          </a:solidFill>
          <a:ln w="9525">
            <a:noFill/>
            <a:miter lim="800000"/>
            <a:headEnd/>
            <a:tailEnd/>
          </a:ln>
          <a:effectLst/>
        </p:spPr>
        <p:txBody>
          <a:bodyPr vert="horz" wrap="square" lIns="36576" tIns="76200" rIns="36576" bIns="76200" numCol="1" anchor="ctr" anchorCtr="0" compatLnSpc="1">
            <a:prstTxWarp prst="textNoShape">
              <a:avLst/>
            </a:prstTxWarp>
            <a:noAutofit/>
          </a:bodyPr>
          <a:lstStyle>
            <a:defPPr>
              <a:defRPr lang="en-US"/>
            </a:defPPr>
            <a:lvl1pPr marL="0" lvl="0" indent="0" defTabSz="913526" eaLnBrk="1" hangingPunct="1">
              <a:buClr>
                <a:schemeClr val="tx2"/>
              </a:buClr>
              <a:defRPr sz="1000" b="1"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Fiscal and regulatory terms relevant to gold industry</a:t>
            </a:r>
            <a:endParaRPr kumimoji="0" lang="en-CA"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endParaRPr>
          </a:p>
        </p:txBody>
      </p:sp>
      <p:sp>
        <p:nvSpPr>
          <p:cNvPr id="93" name="TextBox 92">
            <a:extLst>
              <a:ext uri="{FF2B5EF4-FFF2-40B4-BE49-F238E27FC236}">
                <a16:creationId xmlns:a16="http://schemas.microsoft.com/office/drawing/2014/main" id="{973EABFE-AA29-2CE1-B02E-CAAF3B875086}"/>
              </a:ext>
            </a:extLst>
          </p:cNvPr>
          <p:cNvSpPr txBox="1">
            <a:spLocks/>
          </p:cNvSpPr>
          <p:nvPr/>
        </p:nvSpPr>
        <p:spPr>
          <a:xfrm>
            <a:off x="7174991" y="3188945"/>
            <a:ext cx="4712209" cy="180106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Guyana has a legal system that is primarily </a:t>
            </a: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based on the British Common Law </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that was inherited from British colonial times. The legal system is also </a:t>
            </a: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based on the principle of supremacy of the Constitution</a:t>
            </a:r>
          </a:p>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The </a:t>
            </a: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Mining Act of 1989 provides mining licenses and permits, allowing</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the holder to carry out the permitted activity on the land. Foreign companies </a:t>
            </a: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are prohibited from holding mining licenses on their own</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The company can incorporate a local company to apply for mining claims. The other method used is to </a:t>
            </a: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enter into Joint Venture Agreements with local miners</a:t>
            </a:r>
          </a:p>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For commercial companies, the </a:t>
            </a: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tax rate is 40% of gross income</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Employees pay a </a:t>
            </a: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contributor’s tax of 10% of the remittance or salary</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In the gold industry there is a </a:t>
            </a: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tax of 2% on the gold sold and royalties of between 5-8%</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depending on the price that it is sold for</a:t>
            </a:r>
          </a:p>
        </p:txBody>
      </p:sp>
      <p:grpSp>
        <p:nvGrpSpPr>
          <p:cNvPr id="59" name="Group 58">
            <a:extLst>
              <a:ext uri="{FF2B5EF4-FFF2-40B4-BE49-F238E27FC236}">
                <a16:creationId xmlns:a16="http://schemas.microsoft.com/office/drawing/2014/main" id="{84DE2DF0-059A-5165-87F2-C8A67FC6C4EB}"/>
              </a:ext>
            </a:extLst>
          </p:cNvPr>
          <p:cNvGrpSpPr/>
          <p:nvPr/>
        </p:nvGrpSpPr>
        <p:grpSpPr>
          <a:xfrm>
            <a:off x="346075" y="3620462"/>
            <a:ext cx="5524259" cy="466685"/>
            <a:chOff x="346075" y="3738544"/>
            <a:chExt cx="5524259" cy="466685"/>
          </a:xfrm>
        </p:grpSpPr>
        <p:sp>
          <p:nvSpPr>
            <p:cNvPr id="33" name="Rectangle 8">
              <a:extLst>
                <a:ext uri="{FF2B5EF4-FFF2-40B4-BE49-F238E27FC236}">
                  <a16:creationId xmlns:a16="http://schemas.microsoft.com/office/drawing/2014/main" id="{CB027349-3B9C-8384-4834-48368D61E2E8}"/>
                </a:ext>
              </a:extLst>
            </p:cNvPr>
            <p:cNvSpPr txBox="1">
              <a:spLocks/>
            </p:cNvSpPr>
            <p:nvPr>
              <p:custDataLst>
                <p:tags r:id="rId84"/>
              </p:custDataLst>
            </p:nvPr>
          </p:nvSpPr>
          <p:spPr>
            <a:xfrm>
              <a:off x="346075" y="3738544"/>
              <a:ext cx="1194435" cy="466685"/>
            </a:xfrm>
            <a:prstGeom prst="rect">
              <a:avLst/>
            </a:prstGeom>
            <a:solidFill>
              <a:schemeClr val="accent1"/>
            </a:solidFill>
            <a:ln w="9525">
              <a:noFill/>
              <a:miter lim="800000"/>
              <a:headEnd/>
              <a:tailEnd/>
            </a:ln>
            <a:effectLst/>
          </p:spPr>
          <p:txBody>
            <a:bodyPr vert="horz" wrap="square" lIns="36576" tIns="76200" rIns="36576" bIns="76200" numCol="1" anchor="ctr" anchorCtr="0" compatLnSpc="1">
              <a:prstTxWarp prst="textNoShape">
                <a:avLst/>
              </a:prstTxWarp>
              <a:noAutofit/>
            </a:bodyPr>
            <a:lstStyle>
              <a:defPPr>
                <a:defRPr lang="en-US"/>
              </a:defPPr>
              <a:lvl1pPr marL="0" lvl="0" indent="0" defTabSz="913526" eaLnBrk="1" hangingPunct="1">
                <a:buClr>
                  <a:schemeClr val="tx2"/>
                </a:buClr>
                <a:defRPr sz="1000" b="1"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Comparable opera-</a:t>
              </a:r>
              <a:r>
                <a:rPr kumimoji="0" lang="en-US" sz="1000" b="1" i="0" u="none" strike="noStrike" kern="1200" cap="none" spc="0" normalizeH="0" baseline="0" noProof="0" dirty="0" err="1">
                  <a:ln>
                    <a:noFill/>
                  </a:ln>
                  <a:solidFill>
                    <a:srgbClr val="FFFFFF"/>
                  </a:solidFill>
                  <a:effectLst/>
                  <a:uLnTx/>
                  <a:uFillTx/>
                  <a:latin typeface="Calibri" panose="020F0502020204030204" pitchFamily="34" charset="0"/>
                  <a:ea typeface="ＭＳ Ｐゴシック"/>
                  <a:cs typeface="Calibri" panose="020F0502020204030204" pitchFamily="34" charset="0"/>
                </a:rPr>
                <a:t>tional</a:t>
              </a: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 environments</a:t>
              </a:r>
              <a:endParaRPr kumimoji="0" lang="en-CA"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endParaRPr>
            </a:p>
          </p:txBody>
        </p:sp>
        <p:sp>
          <p:nvSpPr>
            <p:cNvPr id="91" name="TextBox 90">
              <a:extLst>
                <a:ext uri="{FF2B5EF4-FFF2-40B4-BE49-F238E27FC236}">
                  <a16:creationId xmlns:a16="http://schemas.microsoft.com/office/drawing/2014/main" id="{BEE782B9-C50C-7145-E203-58E3D3C475B7}"/>
                </a:ext>
              </a:extLst>
            </p:cNvPr>
            <p:cNvSpPr txBox="1">
              <a:spLocks/>
            </p:cNvSpPr>
            <p:nvPr/>
          </p:nvSpPr>
          <p:spPr>
            <a:xfrm>
              <a:off x="1615439" y="3738545"/>
              <a:ext cx="4254895" cy="45398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Ghana/Australia – deposits in isolated areas with limited infrastructure</a:t>
              </a:r>
            </a:p>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Colombia/Ecuador – significant presence of artisan gold mining, sometimes connected to smuggling and crime</a:t>
              </a:r>
            </a:p>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endPar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endParaRPr>
            </a:p>
          </p:txBody>
        </p:sp>
      </p:grpSp>
      <p:grpSp>
        <p:nvGrpSpPr>
          <p:cNvPr id="60" name="Group 59">
            <a:extLst>
              <a:ext uri="{FF2B5EF4-FFF2-40B4-BE49-F238E27FC236}">
                <a16:creationId xmlns:a16="http://schemas.microsoft.com/office/drawing/2014/main" id="{6E5E14AC-7BEB-ACC1-7ECD-6D02B0D3D109}"/>
              </a:ext>
            </a:extLst>
          </p:cNvPr>
          <p:cNvGrpSpPr/>
          <p:nvPr/>
        </p:nvGrpSpPr>
        <p:grpSpPr>
          <a:xfrm>
            <a:off x="346075" y="4333312"/>
            <a:ext cx="5361782" cy="665824"/>
            <a:chOff x="346075" y="4333312"/>
            <a:chExt cx="5361782" cy="665824"/>
          </a:xfrm>
        </p:grpSpPr>
        <p:sp>
          <p:nvSpPr>
            <p:cNvPr id="41" name="Rectangle 8">
              <a:extLst>
                <a:ext uri="{FF2B5EF4-FFF2-40B4-BE49-F238E27FC236}">
                  <a16:creationId xmlns:a16="http://schemas.microsoft.com/office/drawing/2014/main" id="{EA08B892-A175-5A1E-4459-FB7C21FBFBD3}"/>
                </a:ext>
              </a:extLst>
            </p:cNvPr>
            <p:cNvSpPr txBox="1">
              <a:spLocks/>
            </p:cNvSpPr>
            <p:nvPr>
              <p:custDataLst>
                <p:tags r:id="rId83"/>
              </p:custDataLst>
            </p:nvPr>
          </p:nvSpPr>
          <p:spPr>
            <a:xfrm>
              <a:off x="346075" y="4333312"/>
              <a:ext cx="1194435" cy="663687"/>
            </a:xfrm>
            <a:prstGeom prst="rect">
              <a:avLst/>
            </a:prstGeom>
            <a:solidFill>
              <a:schemeClr val="accent1"/>
            </a:solidFill>
            <a:ln w="9525">
              <a:noFill/>
              <a:miter lim="800000"/>
              <a:headEnd/>
              <a:tailEnd/>
            </a:ln>
            <a:effectLst/>
          </p:spPr>
          <p:txBody>
            <a:bodyPr vert="horz" wrap="square" lIns="36576" tIns="76200" rIns="36576" bIns="76200" numCol="1" anchor="ctr"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Other relevant factors</a:t>
              </a:r>
              <a:endParaRPr kumimoji="0" lang="en-CA"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endParaRPr>
            </a:p>
          </p:txBody>
        </p:sp>
        <p:sp>
          <p:nvSpPr>
            <p:cNvPr id="92" name="TextBox 91">
              <a:extLst>
                <a:ext uri="{FF2B5EF4-FFF2-40B4-BE49-F238E27FC236}">
                  <a16:creationId xmlns:a16="http://schemas.microsoft.com/office/drawing/2014/main" id="{234F2287-030E-8A2F-7325-FADEC940D7CA}"/>
                </a:ext>
              </a:extLst>
            </p:cNvPr>
            <p:cNvSpPr txBox="1">
              <a:spLocks/>
            </p:cNvSpPr>
            <p:nvPr/>
          </p:nvSpPr>
          <p:spPr>
            <a:xfrm>
              <a:off x="1615441" y="4333312"/>
              <a:ext cx="4092416" cy="66582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Guyana has a long history of artisan gold mining and a traditional bauxite mining industry, and overall mining industry has public support</a:t>
              </a:r>
            </a:p>
            <a:p>
              <a:pPr marL="228600" marR="0" lvl="1" indent="-225425"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Guyana is in the middle of an oil boom and has the fastest-growing economy in the world (63% GDP growth in 2022)</a:t>
              </a:r>
              <a:endPar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endParaRPr>
            </a:p>
          </p:txBody>
        </p:sp>
      </p:grpSp>
      <p:grpSp>
        <p:nvGrpSpPr>
          <p:cNvPr id="53" name="Group 52">
            <a:extLst>
              <a:ext uri="{FF2B5EF4-FFF2-40B4-BE49-F238E27FC236}">
                <a16:creationId xmlns:a16="http://schemas.microsoft.com/office/drawing/2014/main" id="{A7C3111F-AADD-7D59-22C9-EE1591565009}"/>
              </a:ext>
            </a:extLst>
          </p:cNvPr>
          <p:cNvGrpSpPr/>
          <p:nvPr/>
        </p:nvGrpSpPr>
        <p:grpSpPr>
          <a:xfrm>
            <a:off x="346075" y="1370013"/>
            <a:ext cx="5524265" cy="873512"/>
            <a:chOff x="346075" y="1742180"/>
            <a:chExt cx="5524265" cy="873512"/>
          </a:xfrm>
        </p:grpSpPr>
        <p:sp>
          <p:nvSpPr>
            <p:cNvPr id="46" name="Rectangle 8">
              <a:extLst>
                <a:ext uri="{FF2B5EF4-FFF2-40B4-BE49-F238E27FC236}">
                  <a16:creationId xmlns:a16="http://schemas.microsoft.com/office/drawing/2014/main" id="{DF62B165-B198-85FE-915A-1686D3ACAA0E}"/>
                </a:ext>
              </a:extLst>
            </p:cNvPr>
            <p:cNvSpPr txBox="1">
              <a:spLocks/>
            </p:cNvSpPr>
            <p:nvPr>
              <p:custDataLst>
                <p:tags r:id="rId82"/>
              </p:custDataLst>
            </p:nvPr>
          </p:nvSpPr>
          <p:spPr>
            <a:xfrm>
              <a:off x="346075" y="1742180"/>
              <a:ext cx="1194435" cy="873512"/>
            </a:xfrm>
            <a:prstGeom prst="rect">
              <a:avLst/>
            </a:prstGeom>
            <a:solidFill>
              <a:schemeClr val="accent1"/>
            </a:solidFill>
            <a:ln w="9525">
              <a:noFill/>
              <a:miter lim="800000"/>
              <a:headEnd/>
              <a:tailEnd/>
            </a:ln>
            <a:effectLst/>
          </p:spPr>
          <p:txBody>
            <a:bodyPr vert="horz" wrap="square" lIns="36576" tIns="76200" rIns="36576" bIns="76200" numCol="1" anchor="ctr"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Government overview and key stakeholders</a:t>
              </a:r>
              <a:endParaRPr kumimoji="0" lang="en-CA"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endParaRPr>
            </a:p>
          </p:txBody>
        </p:sp>
        <p:sp>
          <p:nvSpPr>
            <p:cNvPr id="132" name="TextBox 131">
              <a:extLst>
                <a:ext uri="{FF2B5EF4-FFF2-40B4-BE49-F238E27FC236}">
                  <a16:creationId xmlns:a16="http://schemas.microsoft.com/office/drawing/2014/main" id="{92FF2AEE-7746-7067-2EA0-26A153EB1600}"/>
                </a:ext>
              </a:extLst>
            </p:cNvPr>
            <p:cNvSpPr txBox="1">
              <a:spLocks/>
            </p:cNvSpPr>
            <p:nvPr/>
          </p:nvSpPr>
          <p:spPr>
            <a:xfrm>
              <a:off x="1615442" y="1887603"/>
              <a:ext cx="913446" cy="13652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Parliament type:</a:t>
              </a:r>
            </a:p>
          </p:txBody>
        </p:sp>
        <p:sp>
          <p:nvSpPr>
            <p:cNvPr id="133" name="TextBox 132">
              <a:extLst>
                <a:ext uri="{FF2B5EF4-FFF2-40B4-BE49-F238E27FC236}">
                  <a16:creationId xmlns:a16="http://schemas.microsoft.com/office/drawing/2014/main" id="{045FCAF2-5034-7D0C-CAC2-3B228E3769BA}"/>
                </a:ext>
              </a:extLst>
            </p:cNvPr>
            <p:cNvSpPr txBox="1">
              <a:spLocks/>
            </p:cNvSpPr>
            <p:nvPr/>
          </p:nvSpPr>
          <p:spPr>
            <a:xfrm>
              <a:off x="2600326" y="1887603"/>
              <a:ext cx="3270014"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unicameral National Assembly</a:t>
              </a:r>
              <a:endPar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endParaRPr>
            </a:p>
          </p:txBody>
        </p:sp>
        <p:sp>
          <p:nvSpPr>
            <p:cNvPr id="128" name="TextBox 127">
              <a:extLst>
                <a:ext uri="{FF2B5EF4-FFF2-40B4-BE49-F238E27FC236}">
                  <a16:creationId xmlns:a16="http://schemas.microsoft.com/office/drawing/2014/main" id="{08BB0351-7469-B33B-7341-A6C5B691B92D}"/>
                </a:ext>
              </a:extLst>
            </p:cNvPr>
            <p:cNvSpPr txBox="1">
              <a:spLocks/>
            </p:cNvSpPr>
            <p:nvPr/>
          </p:nvSpPr>
          <p:spPr>
            <a:xfrm>
              <a:off x="1615442" y="1742180"/>
              <a:ext cx="913446" cy="13652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Government type:</a:t>
              </a:r>
            </a:p>
          </p:txBody>
        </p:sp>
        <p:sp>
          <p:nvSpPr>
            <p:cNvPr id="129" name="TextBox 128">
              <a:extLst>
                <a:ext uri="{FF2B5EF4-FFF2-40B4-BE49-F238E27FC236}">
                  <a16:creationId xmlns:a16="http://schemas.microsoft.com/office/drawing/2014/main" id="{1591AFA9-25E4-06CF-CED4-57D391FB4D61}"/>
                </a:ext>
              </a:extLst>
            </p:cNvPr>
            <p:cNvSpPr txBox="1">
              <a:spLocks/>
            </p:cNvSpPr>
            <p:nvPr/>
          </p:nvSpPr>
          <p:spPr>
            <a:xfrm>
              <a:off x="2600326" y="1742180"/>
              <a:ext cx="3270014" cy="13652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parliamentary republic</a:t>
              </a:r>
            </a:p>
          </p:txBody>
        </p:sp>
        <p:sp>
          <p:nvSpPr>
            <p:cNvPr id="135" name="TextBox 134">
              <a:extLst>
                <a:ext uri="{FF2B5EF4-FFF2-40B4-BE49-F238E27FC236}">
                  <a16:creationId xmlns:a16="http://schemas.microsoft.com/office/drawing/2014/main" id="{8FC8F185-8320-ED7C-8C9C-C417ECD7A218}"/>
                </a:ext>
              </a:extLst>
            </p:cNvPr>
            <p:cNvSpPr txBox="1">
              <a:spLocks/>
            </p:cNvSpPr>
            <p:nvPr/>
          </p:nvSpPr>
          <p:spPr>
            <a:xfrm>
              <a:off x="1615442" y="2035000"/>
              <a:ext cx="913446" cy="13493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President:</a:t>
              </a:r>
            </a:p>
          </p:txBody>
        </p:sp>
        <p:sp>
          <p:nvSpPr>
            <p:cNvPr id="136" name="TextBox 135">
              <a:extLst>
                <a:ext uri="{FF2B5EF4-FFF2-40B4-BE49-F238E27FC236}">
                  <a16:creationId xmlns:a16="http://schemas.microsoft.com/office/drawing/2014/main" id="{286FD3F8-A9FB-E0FA-11D2-E82BA030CF9B}"/>
                </a:ext>
              </a:extLst>
            </p:cNvPr>
            <p:cNvSpPr txBox="1">
              <a:spLocks/>
            </p:cNvSpPr>
            <p:nvPr/>
          </p:nvSpPr>
          <p:spPr>
            <a:xfrm>
              <a:off x="2600326" y="2035000"/>
              <a:ext cx="3270014" cy="138499"/>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s-PE"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Mohammed </a:t>
              </a:r>
              <a:r>
                <a:rPr kumimoji="0" lang="es-PE" sz="9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Irfaan</a:t>
              </a:r>
              <a:r>
                <a:rPr kumimoji="0" lang="es-PE"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Ali </a:t>
              </a:r>
              <a:r>
                <a:rPr kumimoji="0" lang="es-E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a:t>
              </a:r>
              <a:r>
                <a:rPr kumimoji="0" lang="es-ES" sz="9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since</a:t>
              </a:r>
              <a:r>
                <a:rPr kumimoji="0" lang="es-E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2020)</a:t>
              </a:r>
              <a:endPar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endParaRPr>
            </a:p>
          </p:txBody>
        </p:sp>
        <p:sp>
          <p:nvSpPr>
            <p:cNvPr id="139" name="TextBox 138">
              <a:extLst>
                <a:ext uri="{FF2B5EF4-FFF2-40B4-BE49-F238E27FC236}">
                  <a16:creationId xmlns:a16="http://schemas.microsoft.com/office/drawing/2014/main" id="{CC8673C0-B27B-4146-B381-90AA05457754}"/>
                </a:ext>
              </a:extLst>
            </p:cNvPr>
            <p:cNvSpPr txBox="1">
              <a:spLocks/>
            </p:cNvSpPr>
            <p:nvPr/>
          </p:nvSpPr>
          <p:spPr>
            <a:xfrm>
              <a:off x="1615442" y="2182397"/>
              <a:ext cx="913446"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Next election:</a:t>
              </a:r>
            </a:p>
          </p:txBody>
        </p:sp>
        <p:sp>
          <p:nvSpPr>
            <p:cNvPr id="140" name="TextBox 139">
              <a:extLst>
                <a:ext uri="{FF2B5EF4-FFF2-40B4-BE49-F238E27FC236}">
                  <a16:creationId xmlns:a16="http://schemas.microsoft.com/office/drawing/2014/main" id="{3ED62777-DDCE-5F21-D331-4AEE1668ECF3}"/>
                </a:ext>
              </a:extLst>
            </p:cNvPr>
            <p:cNvSpPr txBox="1">
              <a:spLocks/>
            </p:cNvSpPr>
            <p:nvPr/>
          </p:nvSpPr>
          <p:spPr>
            <a:xfrm>
              <a:off x="2600326" y="2182397"/>
              <a:ext cx="3270014"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2025</a:t>
              </a:r>
            </a:p>
          </p:txBody>
        </p:sp>
        <p:sp>
          <p:nvSpPr>
            <p:cNvPr id="143" name="TextBox 142">
              <a:extLst>
                <a:ext uri="{FF2B5EF4-FFF2-40B4-BE49-F238E27FC236}">
                  <a16:creationId xmlns:a16="http://schemas.microsoft.com/office/drawing/2014/main" id="{CA777830-90B0-AC47-B276-1B852CEBD625}"/>
                </a:ext>
              </a:extLst>
            </p:cNvPr>
            <p:cNvSpPr txBox="1">
              <a:spLocks/>
            </p:cNvSpPr>
            <p:nvPr/>
          </p:nvSpPr>
          <p:spPr>
            <a:xfrm>
              <a:off x="1615442" y="2329794"/>
              <a:ext cx="913446" cy="13493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Mining ministry:</a:t>
              </a:r>
            </a:p>
          </p:txBody>
        </p:sp>
        <p:sp>
          <p:nvSpPr>
            <p:cNvPr id="144" name="TextBox 143">
              <a:extLst>
                <a:ext uri="{FF2B5EF4-FFF2-40B4-BE49-F238E27FC236}">
                  <a16:creationId xmlns:a16="http://schemas.microsoft.com/office/drawing/2014/main" id="{0F6E1B82-5A40-B08E-4FCB-69D6C6C2E0A8}"/>
                </a:ext>
              </a:extLst>
            </p:cNvPr>
            <p:cNvSpPr txBox="1">
              <a:spLocks/>
            </p:cNvSpPr>
            <p:nvPr/>
          </p:nvSpPr>
          <p:spPr>
            <a:xfrm>
              <a:off x="2600326" y="2329794"/>
              <a:ext cx="3270014"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Ministry of Natural Resources</a:t>
              </a:r>
            </a:p>
          </p:txBody>
        </p:sp>
        <p:sp>
          <p:nvSpPr>
            <p:cNvPr id="146" name="TextBox 145">
              <a:extLst>
                <a:ext uri="{FF2B5EF4-FFF2-40B4-BE49-F238E27FC236}">
                  <a16:creationId xmlns:a16="http://schemas.microsoft.com/office/drawing/2014/main" id="{C9C2C543-5312-BA95-CE37-7BA9D157C26F}"/>
                </a:ext>
              </a:extLst>
            </p:cNvPr>
            <p:cNvSpPr txBox="1">
              <a:spLocks/>
            </p:cNvSpPr>
            <p:nvPr/>
          </p:nvSpPr>
          <p:spPr>
            <a:xfrm>
              <a:off x="1615442" y="2477193"/>
              <a:ext cx="913446" cy="13493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Affiliations:</a:t>
              </a:r>
            </a:p>
          </p:txBody>
        </p:sp>
        <p:sp>
          <p:nvSpPr>
            <p:cNvPr id="147" name="TextBox 146">
              <a:extLst>
                <a:ext uri="{FF2B5EF4-FFF2-40B4-BE49-F238E27FC236}">
                  <a16:creationId xmlns:a16="http://schemas.microsoft.com/office/drawing/2014/main" id="{7343889F-A382-98A9-7730-3C431ABAD8B5}"/>
                </a:ext>
              </a:extLst>
            </p:cNvPr>
            <p:cNvSpPr txBox="1">
              <a:spLocks/>
            </p:cNvSpPr>
            <p:nvPr/>
          </p:nvSpPr>
          <p:spPr>
            <a:xfrm>
              <a:off x="2600326" y="2477193"/>
              <a:ext cx="3270014"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FAO, Petrocaribe, WTO, IFC, OAS, UN, Mercosur, PROSUR</a:t>
              </a:r>
            </a:p>
          </p:txBody>
        </p:sp>
      </p:grpSp>
      <p:cxnSp>
        <p:nvCxnSpPr>
          <p:cNvPr id="112" name="Straight Connector 111">
            <a:extLst>
              <a:ext uri="{FF2B5EF4-FFF2-40B4-BE49-F238E27FC236}">
                <a16:creationId xmlns:a16="http://schemas.microsoft.com/office/drawing/2014/main" id="{5F66926C-576E-AABA-7FC9-3DE28A7C9518}"/>
              </a:ext>
            </a:extLst>
          </p:cNvPr>
          <p:cNvCxnSpPr>
            <a:cxnSpLocks/>
          </p:cNvCxnSpPr>
          <p:nvPr/>
        </p:nvCxnSpPr>
        <p:spPr>
          <a:xfrm>
            <a:off x="5979753" y="1370013"/>
            <a:ext cx="0" cy="4991101"/>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24" name="Rectangle 8">
            <a:extLst>
              <a:ext uri="{FF2B5EF4-FFF2-40B4-BE49-F238E27FC236}">
                <a16:creationId xmlns:a16="http://schemas.microsoft.com/office/drawing/2014/main" id="{A3F78508-A964-0314-D537-B58AC27C34DF}"/>
              </a:ext>
            </a:extLst>
          </p:cNvPr>
          <p:cNvSpPr txBox="1">
            <a:spLocks/>
          </p:cNvSpPr>
          <p:nvPr>
            <p:custDataLst>
              <p:tags r:id="rId8"/>
            </p:custDataLst>
          </p:nvPr>
        </p:nvSpPr>
        <p:spPr>
          <a:xfrm>
            <a:off x="6197599" y="1370013"/>
            <a:ext cx="896621" cy="1698307"/>
          </a:xfrm>
          <a:prstGeom prst="rect">
            <a:avLst/>
          </a:prstGeom>
          <a:solidFill>
            <a:schemeClr val="accent1"/>
          </a:solidFill>
          <a:ln w="9525">
            <a:noFill/>
            <a:miter lim="800000"/>
            <a:headEnd/>
            <a:tailEnd/>
          </a:ln>
          <a:effectLst/>
        </p:spPr>
        <p:txBody>
          <a:bodyPr vert="horz" wrap="square" lIns="36576" tIns="76200" rIns="36576" bIns="76200" numCol="1" anchor="ctr"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Gold industry context</a:t>
            </a:r>
            <a:endParaRPr kumimoji="0" lang="en-CA"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endParaRPr>
          </a:p>
        </p:txBody>
      </p:sp>
      <p:sp>
        <p:nvSpPr>
          <p:cNvPr id="1025" name="TextBox 1024">
            <a:extLst>
              <a:ext uri="{FF2B5EF4-FFF2-40B4-BE49-F238E27FC236}">
                <a16:creationId xmlns:a16="http://schemas.microsoft.com/office/drawing/2014/main" id="{DAD314E2-AD5F-2097-3D88-678F0CCF4CBE}"/>
              </a:ext>
            </a:extLst>
          </p:cNvPr>
          <p:cNvSpPr txBox="1">
            <a:spLocks/>
          </p:cNvSpPr>
          <p:nvPr/>
        </p:nvSpPr>
        <p:spPr>
          <a:xfrm>
            <a:off x="7171818" y="1370012"/>
            <a:ext cx="4712206" cy="105738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5425"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Only one industrial-scale mine is operating in Guyana – Aurora, from Zijin Mining – and most of the country’s production comes from artisan operations, which employ ~15k people (~1.8% of the country’s population)</a:t>
            </a:r>
          </a:p>
          <a:p>
            <a:pPr marL="228600" marR="0" lvl="1" indent="-225425"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Zijin also owns an expansion project (Aurora UG) and an early-stage project (</a:t>
            </a:r>
            <a:r>
              <a:rPr kumimoji="0" lang="en-US" sz="9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Aranka</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a:t>
            </a:r>
            <a:r>
              <a:rPr kumimoji="0" lang="en-US" sz="9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Oko</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West (Reunion Gold) and </a:t>
            </a:r>
            <a:r>
              <a:rPr kumimoji="0" lang="en-US" sz="9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Omai</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a:t>
            </a:r>
            <a:r>
              <a:rPr kumimoji="0" lang="en-US" sz="9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Omai</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Gold) are the largest undeveloped deposits (~4Moz R&amp;R each)</a:t>
            </a:r>
          </a:p>
          <a:p>
            <a:pPr marL="228600" marR="0" lvl="1" indent="-225425"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Barrick Gold is conducting exploration in partnership with Troy Resources near the depleted </a:t>
            </a:r>
            <a:r>
              <a:rPr kumimoji="0" lang="en-US" sz="9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Karouni</a:t>
            </a: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mine</a:t>
            </a:r>
          </a:p>
        </p:txBody>
      </p:sp>
      <p:sp>
        <p:nvSpPr>
          <p:cNvPr id="1026" name="TextBox 1025">
            <a:extLst>
              <a:ext uri="{FF2B5EF4-FFF2-40B4-BE49-F238E27FC236}">
                <a16:creationId xmlns:a16="http://schemas.microsoft.com/office/drawing/2014/main" id="{1E4E2C97-85F2-E614-DACB-CADA4522D9BA}"/>
              </a:ext>
            </a:extLst>
          </p:cNvPr>
          <p:cNvSpPr txBox="1">
            <a:spLocks/>
          </p:cNvSpPr>
          <p:nvPr/>
        </p:nvSpPr>
        <p:spPr>
          <a:xfrm>
            <a:off x="7254089" y="2451308"/>
            <a:ext cx="4554013" cy="153888"/>
          </a:xfrm>
          <a:prstGeom prst="rect">
            <a:avLst/>
          </a:prstGeom>
          <a:noFill/>
          <a:ln w="9525">
            <a:noFill/>
            <a:miter lim="800000"/>
            <a:headEnd/>
            <a:tailEnd/>
          </a:ln>
          <a:effectLst/>
        </p:spPr>
        <p:txBody>
          <a:bodyPr vert="horz" wrap="square" lIns="0" tIns="0" rIns="0" bIns="0" numCol="1" anchor="ctr"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C9A319"/>
              </a:buClr>
              <a:buSzTx/>
              <a:buFontTx/>
              <a:buNone/>
              <a:tabLst/>
              <a:defRPr/>
            </a:pPr>
            <a:r>
              <a:rPr kumimoji="0" lang="en-CA" sz="10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Largest gold mines by production </a:t>
            </a:r>
          </a:p>
        </p:txBody>
      </p:sp>
      <p:cxnSp>
        <p:nvCxnSpPr>
          <p:cNvPr id="1028" name="Straight Connector 1027">
            <a:extLst>
              <a:ext uri="{FF2B5EF4-FFF2-40B4-BE49-F238E27FC236}">
                <a16:creationId xmlns:a16="http://schemas.microsoft.com/office/drawing/2014/main" id="{FF0B593C-D848-9FB4-A4F6-0E12D9A887D3}"/>
              </a:ext>
            </a:extLst>
          </p:cNvPr>
          <p:cNvCxnSpPr>
            <a:cxnSpLocks/>
          </p:cNvCxnSpPr>
          <p:nvPr>
            <p:custDataLst>
              <p:tags r:id="rId9"/>
            </p:custDataLst>
          </p:nvPr>
        </p:nvCxnSpPr>
        <p:spPr>
          <a:xfrm>
            <a:off x="8710559" y="2828915"/>
            <a:ext cx="784899" cy="0"/>
          </a:xfrm>
          <a:prstGeom prst="line">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sp>
        <p:nvSpPr>
          <p:cNvPr id="1029" name="TextBox 1028">
            <a:extLst>
              <a:ext uri="{FF2B5EF4-FFF2-40B4-BE49-F238E27FC236}">
                <a16:creationId xmlns:a16="http://schemas.microsoft.com/office/drawing/2014/main" id="{482CA360-9D79-17B5-9ADF-D4357DEB7783}"/>
              </a:ext>
            </a:extLst>
          </p:cNvPr>
          <p:cNvSpPr txBox="1">
            <a:spLocks/>
          </p:cNvSpPr>
          <p:nvPr/>
        </p:nvSpPr>
        <p:spPr>
          <a:xfrm>
            <a:off x="8710559" y="2666816"/>
            <a:ext cx="401691" cy="1384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Mine</a:t>
            </a:r>
          </a:p>
        </p:txBody>
      </p:sp>
      <p:cxnSp>
        <p:nvCxnSpPr>
          <p:cNvPr id="1030" name="Straight Connector 1029">
            <a:extLst>
              <a:ext uri="{FF2B5EF4-FFF2-40B4-BE49-F238E27FC236}">
                <a16:creationId xmlns:a16="http://schemas.microsoft.com/office/drawing/2014/main" id="{58FAC8FE-427B-945B-18CE-2D531EF1CB05}"/>
              </a:ext>
            </a:extLst>
          </p:cNvPr>
          <p:cNvCxnSpPr>
            <a:cxnSpLocks/>
          </p:cNvCxnSpPr>
          <p:nvPr>
            <p:custDataLst>
              <p:tags r:id="rId10"/>
            </p:custDataLst>
          </p:nvPr>
        </p:nvCxnSpPr>
        <p:spPr>
          <a:xfrm>
            <a:off x="9703779" y="2828915"/>
            <a:ext cx="797529" cy="0"/>
          </a:xfrm>
          <a:prstGeom prst="line">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sp>
        <p:nvSpPr>
          <p:cNvPr id="1031" name="TextBox 1030">
            <a:extLst>
              <a:ext uri="{FF2B5EF4-FFF2-40B4-BE49-F238E27FC236}">
                <a16:creationId xmlns:a16="http://schemas.microsoft.com/office/drawing/2014/main" id="{DA9AE0B7-F515-5E02-EE91-A9C47C13156C}"/>
              </a:ext>
            </a:extLst>
          </p:cNvPr>
          <p:cNvSpPr txBox="1">
            <a:spLocks/>
          </p:cNvSpPr>
          <p:nvPr/>
        </p:nvSpPr>
        <p:spPr>
          <a:xfrm>
            <a:off x="9703779" y="2656291"/>
            <a:ext cx="797529" cy="1384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Output</a:t>
            </a: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 oz / year</a:t>
            </a:r>
          </a:p>
        </p:txBody>
      </p:sp>
      <p:cxnSp>
        <p:nvCxnSpPr>
          <p:cNvPr id="1032" name="Straight Connector 1031">
            <a:extLst>
              <a:ext uri="{FF2B5EF4-FFF2-40B4-BE49-F238E27FC236}">
                <a16:creationId xmlns:a16="http://schemas.microsoft.com/office/drawing/2014/main" id="{B7C007AA-56BB-619C-F2A8-85C273755624}"/>
              </a:ext>
            </a:extLst>
          </p:cNvPr>
          <p:cNvCxnSpPr>
            <a:cxnSpLocks/>
          </p:cNvCxnSpPr>
          <p:nvPr>
            <p:custDataLst>
              <p:tags r:id="rId11"/>
            </p:custDataLst>
          </p:nvPr>
        </p:nvCxnSpPr>
        <p:spPr>
          <a:xfrm>
            <a:off x="10683198" y="2828915"/>
            <a:ext cx="1124902" cy="0"/>
          </a:xfrm>
          <a:prstGeom prst="line">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sp>
        <p:nvSpPr>
          <p:cNvPr id="1035" name="TextBox 1034">
            <a:extLst>
              <a:ext uri="{FF2B5EF4-FFF2-40B4-BE49-F238E27FC236}">
                <a16:creationId xmlns:a16="http://schemas.microsoft.com/office/drawing/2014/main" id="{1E4CD653-A35E-0DCD-6A78-C2E1878AC761}"/>
              </a:ext>
            </a:extLst>
          </p:cNvPr>
          <p:cNvSpPr txBox="1">
            <a:spLocks/>
          </p:cNvSpPr>
          <p:nvPr/>
        </p:nvSpPr>
        <p:spPr>
          <a:xfrm>
            <a:off x="10683198" y="2655307"/>
            <a:ext cx="1124902" cy="1384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Date of first production</a:t>
            </a:r>
          </a:p>
        </p:txBody>
      </p:sp>
      <p:sp>
        <p:nvSpPr>
          <p:cNvPr id="1037" name="TextBox 1036">
            <a:extLst>
              <a:ext uri="{FF2B5EF4-FFF2-40B4-BE49-F238E27FC236}">
                <a16:creationId xmlns:a16="http://schemas.microsoft.com/office/drawing/2014/main" id="{55A506C1-33E5-6199-554D-45AAA2FC19BF}"/>
              </a:ext>
            </a:extLst>
          </p:cNvPr>
          <p:cNvSpPr txBox="1">
            <a:spLocks/>
          </p:cNvSpPr>
          <p:nvPr/>
        </p:nvSpPr>
        <p:spPr>
          <a:xfrm>
            <a:off x="7254089" y="2674541"/>
            <a:ext cx="1248149" cy="1384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Company</a:t>
            </a:r>
          </a:p>
        </p:txBody>
      </p:sp>
      <p:sp>
        <p:nvSpPr>
          <p:cNvPr id="1038" name="TextBox 1037">
            <a:extLst>
              <a:ext uri="{FF2B5EF4-FFF2-40B4-BE49-F238E27FC236}">
                <a16:creationId xmlns:a16="http://schemas.microsoft.com/office/drawing/2014/main" id="{3CDE89D9-6FA6-CBBA-BD5F-E04EA230D579}"/>
              </a:ext>
            </a:extLst>
          </p:cNvPr>
          <p:cNvSpPr txBox="1">
            <a:spLocks/>
          </p:cNvSpPr>
          <p:nvPr/>
        </p:nvSpPr>
        <p:spPr>
          <a:xfrm>
            <a:off x="8710560" y="2876598"/>
            <a:ext cx="664862" cy="12906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Aurora</a:t>
            </a:r>
          </a:p>
        </p:txBody>
      </p:sp>
      <p:sp>
        <p:nvSpPr>
          <p:cNvPr id="1039" name="TextBox 1038">
            <a:extLst>
              <a:ext uri="{FF2B5EF4-FFF2-40B4-BE49-F238E27FC236}">
                <a16:creationId xmlns:a16="http://schemas.microsoft.com/office/drawing/2014/main" id="{A4920BEE-2966-562A-5E1C-6303979D945F}"/>
              </a:ext>
            </a:extLst>
          </p:cNvPr>
          <p:cNvSpPr txBox="1">
            <a:spLocks/>
          </p:cNvSpPr>
          <p:nvPr/>
        </p:nvSpPr>
        <p:spPr>
          <a:xfrm>
            <a:off x="9704901" y="2876598"/>
            <a:ext cx="796688" cy="13512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120</a:t>
            </a:r>
          </a:p>
        </p:txBody>
      </p:sp>
      <p:sp>
        <p:nvSpPr>
          <p:cNvPr id="1040" name="TextBox 1039">
            <a:extLst>
              <a:ext uri="{FF2B5EF4-FFF2-40B4-BE49-F238E27FC236}">
                <a16:creationId xmlns:a16="http://schemas.microsoft.com/office/drawing/2014/main" id="{979CE3AE-03C8-53BF-EC59-82861F799DD9}"/>
              </a:ext>
            </a:extLst>
          </p:cNvPr>
          <p:cNvSpPr txBox="1">
            <a:spLocks/>
          </p:cNvSpPr>
          <p:nvPr/>
        </p:nvSpPr>
        <p:spPr>
          <a:xfrm>
            <a:off x="10682552" y="2876598"/>
            <a:ext cx="899848" cy="13715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2015</a:t>
            </a:r>
          </a:p>
        </p:txBody>
      </p:sp>
      <p:cxnSp>
        <p:nvCxnSpPr>
          <p:cNvPr id="1044" name="Straight Connector 1043">
            <a:extLst>
              <a:ext uri="{FF2B5EF4-FFF2-40B4-BE49-F238E27FC236}">
                <a16:creationId xmlns:a16="http://schemas.microsoft.com/office/drawing/2014/main" id="{F6C248A5-3840-C9CD-27E4-804CF784D90E}"/>
              </a:ext>
            </a:extLst>
          </p:cNvPr>
          <p:cNvCxnSpPr>
            <a:cxnSpLocks/>
          </p:cNvCxnSpPr>
          <p:nvPr>
            <p:custDataLst>
              <p:tags r:id="rId12"/>
            </p:custDataLst>
          </p:nvPr>
        </p:nvCxnSpPr>
        <p:spPr>
          <a:xfrm>
            <a:off x="7254089" y="2828915"/>
            <a:ext cx="1248149" cy="0"/>
          </a:xfrm>
          <a:prstGeom prst="line">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sp>
        <p:nvSpPr>
          <p:cNvPr id="1055" name="Rectangle 1054">
            <a:extLst>
              <a:ext uri="{FF2B5EF4-FFF2-40B4-BE49-F238E27FC236}">
                <a16:creationId xmlns:a16="http://schemas.microsoft.com/office/drawing/2014/main" id="{F7B0F23C-8F86-927D-0684-1B9FFDBF2FF1}"/>
              </a:ext>
            </a:extLst>
          </p:cNvPr>
          <p:cNvSpPr>
            <a:spLocks/>
          </p:cNvSpPr>
          <p:nvPr/>
        </p:nvSpPr>
        <p:spPr>
          <a:xfrm>
            <a:off x="7174991" y="2629009"/>
            <a:ext cx="4712207" cy="423862"/>
          </a:xfrm>
          <a:prstGeom prst="rect">
            <a:avLst/>
          </a:prstGeom>
          <a:no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CA" sz="1400" b="0" i="0" u="none" strike="noStrike" kern="1200" cap="none" spc="0" normalizeH="0" baseline="0" noProof="0" dirty="0" err="1">
              <a:ln>
                <a:noFill/>
              </a:ln>
              <a:solidFill>
                <a:srgbClr val="2A516C"/>
              </a:solidFill>
              <a:effectLst/>
              <a:uLnTx/>
              <a:uFillTx/>
              <a:latin typeface="Calibri" panose="020F0502020204030204" pitchFamily="34" charset="0"/>
              <a:ea typeface="ＭＳ Ｐゴシック"/>
              <a:cs typeface="Calibri" panose="020F0502020204030204" pitchFamily="34" charset="0"/>
            </a:endParaRPr>
          </a:p>
        </p:txBody>
      </p:sp>
      <p:grpSp>
        <p:nvGrpSpPr>
          <p:cNvPr id="58" name="Group 57">
            <a:extLst>
              <a:ext uri="{FF2B5EF4-FFF2-40B4-BE49-F238E27FC236}">
                <a16:creationId xmlns:a16="http://schemas.microsoft.com/office/drawing/2014/main" id="{92349A93-87FC-3389-CF7F-461503339AA0}"/>
              </a:ext>
            </a:extLst>
          </p:cNvPr>
          <p:cNvGrpSpPr/>
          <p:nvPr/>
        </p:nvGrpSpPr>
        <p:grpSpPr>
          <a:xfrm>
            <a:off x="346075" y="2489687"/>
            <a:ext cx="5524265" cy="884613"/>
            <a:chOff x="346075" y="2734812"/>
            <a:chExt cx="5524265" cy="884613"/>
          </a:xfrm>
        </p:grpSpPr>
        <p:sp>
          <p:nvSpPr>
            <p:cNvPr id="43" name="Rectangle 8">
              <a:extLst>
                <a:ext uri="{FF2B5EF4-FFF2-40B4-BE49-F238E27FC236}">
                  <a16:creationId xmlns:a16="http://schemas.microsoft.com/office/drawing/2014/main" id="{F8D474FE-B311-2170-5018-2B21548A87C7}"/>
                </a:ext>
              </a:extLst>
            </p:cNvPr>
            <p:cNvSpPr txBox="1">
              <a:spLocks/>
            </p:cNvSpPr>
            <p:nvPr>
              <p:custDataLst>
                <p:tags r:id="rId81"/>
              </p:custDataLst>
            </p:nvPr>
          </p:nvSpPr>
          <p:spPr>
            <a:xfrm>
              <a:off x="346075" y="2734812"/>
              <a:ext cx="1194435" cy="884613"/>
            </a:xfrm>
            <a:prstGeom prst="rect">
              <a:avLst/>
            </a:prstGeom>
            <a:solidFill>
              <a:schemeClr val="accent1"/>
            </a:solidFill>
            <a:ln w="9525">
              <a:noFill/>
              <a:miter lim="800000"/>
              <a:headEnd/>
              <a:tailEnd/>
            </a:ln>
            <a:effectLst/>
          </p:spPr>
          <p:txBody>
            <a:bodyPr vert="horz" wrap="square" lIns="36576" tIns="76200" rIns="36576" bIns="76200" numCol="1" anchor="ctr"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Country overview</a:t>
              </a:r>
              <a:endParaRPr kumimoji="0" lang="en-CA" sz="1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endParaRPr>
            </a:p>
          </p:txBody>
        </p:sp>
        <p:grpSp>
          <p:nvGrpSpPr>
            <p:cNvPr id="117" name="Group 116">
              <a:extLst>
                <a:ext uri="{FF2B5EF4-FFF2-40B4-BE49-F238E27FC236}">
                  <a16:creationId xmlns:a16="http://schemas.microsoft.com/office/drawing/2014/main" id="{0D700741-E291-821A-8C10-BB317B1AF13D}"/>
                </a:ext>
              </a:extLst>
            </p:cNvPr>
            <p:cNvGrpSpPr/>
            <p:nvPr/>
          </p:nvGrpSpPr>
          <p:grpSpPr>
            <a:xfrm>
              <a:off x="1615442" y="2734812"/>
              <a:ext cx="4254898" cy="138499"/>
              <a:chOff x="1615442" y="2734812"/>
              <a:chExt cx="4254898" cy="138499"/>
            </a:xfrm>
          </p:grpSpPr>
          <p:sp>
            <p:nvSpPr>
              <p:cNvPr id="149" name="TextBox 148">
                <a:extLst>
                  <a:ext uri="{FF2B5EF4-FFF2-40B4-BE49-F238E27FC236}">
                    <a16:creationId xmlns:a16="http://schemas.microsoft.com/office/drawing/2014/main" id="{AE99F63B-9356-119E-2124-9025192EC592}"/>
                  </a:ext>
                </a:extLst>
              </p:cNvPr>
              <p:cNvSpPr txBox="1">
                <a:spLocks/>
              </p:cNvSpPr>
              <p:nvPr/>
            </p:nvSpPr>
            <p:spPr>
              <a:xfrm>
                <a:off x="1615442" y="2734812"/>
                <a:ext cx="913446" cy="13493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Population:</a:t>
                </a:r>
              </a:p>
            </p:txBody>
          </p:sp>
          <p:sp>
            <p:nvSpPr>
              <p:cNvPr id="150" name="TextBox 149">
                <a:extLst>
                  <a:ext uri="{FF2B5EF4-FFF2-40B4-BE49-F238E27FC236}">
                    <a16:creationId xmlns:a16="http://schemas.microsoft.com/office/drawing/2014/main" id="{AB7C5F20-D7EE-1CF5-FE7D-7AAB651A0DE7}"/>
                  </a:ext>
                </a:extLst>
              </p:cNvPr>
              <p:cNvSpPr txBox="1">
                <a:spLocks/>
              </p:cNvSpPr>
              <p:nvPr/>
            </p:nvSpPr>
            <p:spPr>
              <a:xfrm>
                <a:off x="2600326" y="2734812"/>
                <a:ext cx="3270014" cy="138499"/>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0.8 M</a:t>
                </a:r>
              </a:p>
            </p:txBody>
          </p:sp>
        </p:grpSp>
        <p:grpSp>
          <p:nvGrpSpPr>
            <p:cNvPr id="118" name="Group 117">
              <a:extLst>
                <a:ext uri="{FF2B5EF4-FFF2-40B4-BE49-F238E27FC236}">
                  <a16:creationId xmlns:a16="http://schemas.microsoft.com/office/drawing/2014/main" id="{75D92D83-F78D-2A33-183E-21E55BE40F5E}"/>
                </a:ext>
              </a:extLst>
            </p:cNvPr>
            <p:cNvGrpSpPr/>
            <p:nvPr/>
          </p:nvGrpSpPr>
          <p:grpSpPr>
            <a:xfrm>
              <a:off x="1615442" y="2884747"/>
              <a:ext cx="4254898" cy="134938"/>
              <a:chOff x="1615442" y="2884747"/>
              <a:chExt cx="4254898" cy="134938"/>
            </a:xfrm>
          </p:grpSpPr>
          <p:sp>
            <p:nvSpPr>
              <p:cNvPr id="152" name="TextBox 151">
                <a:extLst>
                  <a:ext uri="{FF2B5EF4-FFF2-40B4-BE49-F238E27FC236}">
                    <a16:creationId xmlns:a16="http://schemas.microsoft.com/office/drawing/2014/main" id="{313CD90E-654F-4BD9-14E0-95192A35D357}"/>
                  </a:ext>
                </a:extLst>
              </p:cNvPr>
              <p:cNvSpPr txBox="1">
                <a:spLocks/>
              </p:cNvSpPr>
              <p:nvPr/>
            </p:nvSpPr>
            <p:spPr>
              <a:xfrm>
                <a:off x="1615442" y="2884747"/>
                <a:ext cx="913446" cy="13493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Language:</a:t>
                </a:r>
              </a:p>
            </p:txBody>
          </p:sp>
          <p:sp>
            <p:nvSpPr>
              <p:cNvPr id="153" name="TextBox 152">
                <a:extLst>
                  <a:ext uri="{FF2B5EF4-FFF2-40B4-BE49-F238E27FC236}">
                    <a16:creationId xmlns:a16="http://schemas.microsoft.com/office/drawing/2014/main" id="{E254005B-DA49-EDF3-48A6-CCA356330855}"/>
                  </a:ext>
                </a:extLst>
              </p:cNvPr>
              <p:cNvSpPr txBox="1">
                <a:spLocks/>
              </p:cNvSpPr>
              <p:nvPr/>
            </p:nvSpPr>
            <p:spPr>
              <a:xfrm>
                <a:off x="2600326" y="2884747"/>
                <a:ext cx="3270014" cy="134938"/>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Spanish</a:t>
                </a:r>
              </a:p>
            </p:txBody>
          </p:sp>
        </p:grpSp>
        <p:grpSp>
          <p:nvGrpSpPr>
            <p:cNvPr id="119" name="Group 118">
              <a:extLst>
                <a:ext uri="{FF2B5EF4-FFF2-40B4-BE49-F238E27FC236}">
                  <a16:creationId xmlns:a16="http://schemas.microsoft.com/office/drawing/2014/main" id="{E3276519-0FBA-B8DD-DEB5-94D4112A275E}"/>
                </a:ext>
              </a:extLst>
            </p:cNvPr>
            <p:cNvGrpSpPr/>
            <p:nvPr/>
          </p:nvGrpSpPr>
          <p:grpSpPr>
            <a:xfrm>
              <a:off x="1615442" y="3031121"/>
              <a:ext cx="4254898" cy="138499"/>
              <a:chOff x="1615442" y="3031121"/>
              <a:chExt cx="4254898" cy="138499"/>
            </a:xfrm>
          </p:grpSpPr>
          <p:sp>
            <p:nvSpPr>
              <p:cNvPr id="155" name="TextBox 154">
                <a:extLst>
                  <a:ext uri="{FF2B5EF4-FFF2-40B4-BE49-F238E27FC236}">
                    <a16:creationId xmlns:a16="http://schemas.microsoft.com/office/drawing/2014/main" id="{E1CEF0DF-2075-199B-7D67-0C756649C778}"/>
                  </a:ext>
                </a:extLst>
              </p:cNvPr>
              <p:cNvSpPr txBox="1">
                <a:spLocks/>
              </p:cNvSpPr>
              <p:nvPr/>
            </p:nvSpPr>
            <p:spPr>
              <a:xfrm>
                <a:off x="1615442" y="3031121"/>
                <a:ext cx="913446" cy="13493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Currency:</a:t>
                </a:r>
              </a:p>
            </p:txBody>
          </p:sp>
          <p:sp>
            <p:nvSpPr>
              <p:cNvPr id="156" name="TextBox 155">
                <a:extLst>
                  <a:ext uri="{FF2B5EF4-FFF2-40B4-BE49-F238E27FC236}">
                    <a16:creationId xmlns:a16="http://schemas.microsoft.com/office/drawing/2014/main" id="{E8E68DDD-ED49-C541-1AE5-B7EEC7DC9112}"/>
                  </a:ext>
                </a:extLst>
              </p:cNvPr>
              <p:cNvSpPr txBox="1">
                <a:spLocks/>
              </p:cNvSpPr>
              <p:nvPr/>
            </p:nvSpPr>
            <p:spPr>
              <a:xfrm>
                <a:off x="2600326" y="3031121"/>
                <a:ext cx="3270014" cy="138499"/>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Guyanese dollars (GYD)</a:t>
                </a:r>
              </a:p>
            </p:txBody>
          </p:sp>
        </p:grpSp>
        <p:grpSp>
          <p:nvGrpSpPr>
            <p:cNvPr id="120" name="Group 119">
              <a:extLst>
                <a:ext uri="{FF2B5EF4-FFF2-40B4-BE49-F238E27FC236}">
                  <a16:creationId xmlns:a16="http://schemas.microsoft.com/office/drawing/2014/main" id="{35AFA302-D84E-EE58-CF86-DF61DA597128}"/>
                </a:ext>
              </a:extLst>
            </p:cNvPr>
            <p:cNvGrpSpPr/>
            <p:nvPr/>
          </p:nvGrpSpPr>
          <p:grpSpPr>
            <a:xfrm>
              <a:off x="1615442" y="3181056"/>
              <a:ext cx="4254898" cy="138499"/>
              <a:chOff x="1615442" y="3181056"/>
              <a:chExt cx="4254898" cy="138499"/>
            </a:xfrm>
          </p:grpSpPr>
          <p:sp>
            <p:nvSpPr>
              <p:cNvPr id="159" name="TextBox 158">
                <a:extLst>
                  <a:ext uri="{FF2B5EF4-FFF2-40B4-BE49-F238E27FC236}">
                    <a16:creationId xmlns:a16="http://schemas.microsoft.com/office/drawing/2014/main" id="{E77F8775-5EF5-5DA0-F571-01185669986D}"/>
                  </a:ext>
                </a:extLst>
              </p:cNvPr>
              <p:cNvSpPr txBox="1">
                <a:spLocks/>
              </p:cNvSpPr>
              <p:nvPr/>
            </p:nvSpPr>
            <p:spPr>
              <a:xfrm>
                <a:off x="1615442" y="3181056"/>
                <a:ext cx="913446"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Exchange rate:</a:t>
                </a:r>
              </a:p>
            </p:txBody>
          </p:sp>
          <p:sp>
            <p:nvSpPr>
              <p:cNvPr id="160" name="TextBox 159">
                <a:extLst>
                  <a:ext uri="{FF2B5EF4-FFF2-40B4-BE49-F238E27FC236}">
                    <a16:creationId xmlns:a16="http://schemas.microsoft.com/office/drawing/2014/main" id="{8D2084E0-1F0A-EA53-2101-573D4A0B7D35}"/>
                  </a:ext>
                </a:extLst>
              </p:cNvPr>
              <p:cNvSpPr txBox="1">
                <a:spLocks/>
              </p:cNvSpPr>
              <p:nvPr/>
            </p:nvSpPr>
            <p:spPr>
              <a:xfrm>
                <a:off x="2600326" y="3181056"/>
                <a:ext cx="3270014" cy="138499"/>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1 USD = 209.21 GYD</a:t>
                </a:r>
              </a:p>
            </p:txBody>
          </p:sp>
        </p:grpSp>
        <p:grpSp>
          <p:nvGrpSpPr>
            <p:cNvPr id="122" name="Group 121">
              <a:extLst>
                <a:ext uri="{FF2B5EF4-FFF2-40B4-BE49-F238E27FC236}">
                  <a16:creationId xmlns:a16="http://schemas.microsoft.com/office/drawing/2014/main" id="{1B8844CB-0FC0-9D73-DA72-21471BD615A7}"/>
                </a:ext>
              </a:extLst>
            </p:cNvPr>
            <p:cNvGrpSpPr/>
            <p:nvPr/>
          </p:nvGrpSpPr>
          <p:grpSpPr>
            <a:xfrm>
              <a:off x="1615442" y="3330991"/>
              <a:ext cx="4254898" cy="138499"/>
              <a:chOff x="1615442" y="3330991"/>
              <a:chExt cx="4254898" cy="138499"/>
            </a:xfrm>
          </p:grpSpPr>
          <p:sp>
            <p:nvSpPr>
              <p:cNvPr id="162" name="TextBox 161">
                <a:extLst>
                  <a:ext uri="{FF2B5EF4-FFF2-40B4-BE49-F238E27FC236}">
                    <a16:creationId xmlns:a16="http://schemas.microsoft.com/office/drawing/2014/main" id="{76B76856-C654-E263-B4BA-6F7F2F92C6D5}"/>
                  </a:ext>
                </a:extLst>
              </p:cNvPr>
              <p:cNvSpPr txBox="1">
                <a:spLocks/>
              </p:cNvSpPr>
              <p:nvPr/>
            </p:nvSpPr>
            <p:spPr>
              <a:xfrm>
                <a:off x="1615442" y="3330991"/>
                <a:ext cx="913446" cy="13652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Unemployment:</a:t>
                </a:r>
              </a:p>
            </p:txBody>
          </p:sp>
          <p:sp>
            <p:nvSpPr>
              <p:cNvPr id="163" name="TextBox 162">
                <a:extLst>
                  <a:ext uri="{FF2B5EF4-FFF2-40B4-BE49-F238E27FC236}">
                    <a16:creationId xmlns:a16="http://schemas.microsoft.com/office/drawing/2014/main" id="{5056F202-CE90-6AAF-63E3-548B804AE4F1}"/>
                  </a:ext>
                </a:extLst>
              </p:cNvPr>
              <p:cNvSpPr txBox="1">
                <a:spLocks/>
              </p:cNvSpPr>
              <p:nvPr/>
            </p:nvSpPr>
            <p:spPr>
              <a:xfrm>
                <a:off x="2600326" y="3330991"/>
                <a:ext cx="3270014" cy="138499"/>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14.98% (2023)</a:t>
                </a:r>
              </a:p>
            </p:txBody>
          </p:sp>
        </p:grpSp>
        <p:grpSp>
          <p:nvGrpSpPr>
            <p:cNvPr id="121" name="Group 120">
              <a:extLst>
                <a:ext uri="{FF2B5EF4-FFF2-40B4-BE49-F238E27FC236}">
                  <a16:creationId xmlns:a16="http://schemas.microsoft.com/office/drawing/2014/main" id="{6996271A-FA53-38D8-C9B4-8E1C1D06E063}"/>
                </a:ext>
              </a:extLst>
            </p:cNvPr>
            <p:cNvGrpSpPr/>
            <p:nvPr/>
          </p:nvGrpSpPr>
          <p:grpSpPr>
            <a:xfrm>
              <a:off x="1615442" y="3480926"/>
              <a:ext cx="4254898" cy="138499"/>
              <a:chOff x="1615442" y="3480926"/>
              <a:chExt cx="4254898" cy="138499"/>
            </a:xfrm>
          </p:grpSpPr>
          <p:sp>
            <p:nvSpPr>
              <p:cNvPr id="165" name="TextBox 164">
                <a:extLst>
                  <a:ext uri="{FF2B5EF4-FFF2-40B4-BE49-F238E27FC236}">
                    <a16:creationId xmlns:a16="http://schemas.microsoft.com/office/drawing/2014/main" id="{444C5EFD-7B02-49E1-5490-7F10EC8CD8AC}"/>
                  </a:ext>
                </a:extLst>
              </p:cNvPr>
              <p:cNvSpPr txBox="1">
                <a:spLocks/>
              </p:cNvSpPr>
              <p:nvPr/>
            </p:nvSpPr>
            <p:spPr>
              <a:xfrm>
                <a:off x="1615442" y="3480926"/>
                <a:ext cx="913446"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Inflation (CPI):</a:t>
                </a:r>
              </a:p>
            </p:txBody>
          </p:sp>
          <p:sp>
            <p:nvSpPr>
              <p:cNvPr id="166" name="TextBox 165">
                <a:extLst>
                  <a:ext uri="{FF2B5EF4-FFF2-40B4-BE49-F238E27FC236}">
                    <a16:creationId xmlns:a16="http://schemas.microsoft.com/office/drawing/2014/main" id="{0740A040-C3E7-6D3E-153A-B12C72258648}"/>
                  </a:ext>
                </a:extLst>
              </p:cNvPr>
              <p:cNvSpPr txBox="1">
                <a:spLocks/>
              </p:cNvSpPr>
              <p:nvPr/>
            </p:nvSpPr>
            <p:spPr>
              <a:xfrm>
                <a:off x="2600326" y="3480926"/>
                <a:ext cx="3270014" cy="138499"/>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9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Calibri" panose="020F0502020204030204" pitchFamily="34" charset="0"/>
                  </a:rPr>
                  <a:t>6.01% (2023)</a:t>
                </a:r>
              </a:p>
            </p:txBody>
          </p:sp>
        </p:grpSp>
        <p:grpSp>
          <p:nvGrpSpPr>
            <p:cNvPr id="30" name="Group 29">
              <a:extLst>
                <a:ext uri="{FF2B5EF4-FFF2-40B4-BE49-F238E27FC236}">
                  <a16:creationId xmlns:a16="http://schemas.microsoft.com/office/drawing/2014/main" id="{01DCF41D-C81B-9E91-E9BE-BB08DC5EDC92}"/>
                </a:ext>
              </a:extLst>
            </p:cNvPr>
            <p:cNvGrpSpPr/>
            <p:nvPr/>
          </p:nvGrpSpPr>
          <p:grpSpPr>
            <a:xfrm>
              <a:off x="3740224" y="2751667"/>
              <a:ext cx="2130116" cy="850903"/>
              <a:chOff x="3957324" y="2769132"/>
              <a:chExt cx="2130116" cy="850903"/>
            </a:xfrm>
          </p:grpSpPr>
          <p:sp>
            <p:nvSpPr>
              <p:cNvPr id="16" name="Freeform: Shape 15">
                <a:extLst>
                  <a:ext uri="{FF2B5EF4-FFF2-40B4-BE49-F238E27FC236}">
                    <a16:creationId xmlns:a16="http://schemas.microsoft.com/office/drawing/2014/main" id="{F9B5D8D3-C6A0-E8FB-9318-5C03935D715E}"/>
                  </a:ext>
                </a:extLst>
              </p:cNvPr>
              <p:cNvSpPr/>
              <p:nvPr/>
            </p:nvSpPr>
            <p:spPr>
              <a:xfrm>
                <a:off x="4503493" y="2851785"/>
                <a:ext cx="1186750" cy="529625"/>
              </a:xfrm>
              <a:custGeom>
                <a:avLst/>
                <a:gdLst>
                  <a:gd name="connsiteX0" fmla="*/ 1013460 w 1018540"/>
                  <a:gd name="connsiteY0" fmla="*/ 88900 h 624840"/>
                  <a:gd name="connsiteX1" fmla="*/ 0 w 1018540"/>
                  <a:gd name="connsiteY1" fmla="*/ 0 h 624840"/>
                  <a:gd name="connsiteX2" fmla="*/ 0 w 1018540"/>
                  <a:gd name="connsiteY2" fmla="*/ 624840 h 624840"/>
                  <a:gd name="connsiteX3" fmla="*/ 1018540 w 1018540"/>
                  <a:gd name="connsiteY3" fmla="*/ 147320 h 624840"/>
                  <a:gd name="connsiteX4" fmla="*/ 1013460 w 1018540"/>
                  <a:gd name="connsiteY4" fmla="*/ 88900 h 624840"/>
                  <a:gd name="connsiteX0" fmla="*/ 1013460 w 1018540"/>
                  <a:gd name="connsiteY0" fmla="*/ 88900 h 501015"/>
                  <a:gd name="connsiteX1" fmla="*/ 0 w 1018540"/>
                  <a:gd name="connsiteY1" fmla="*/ 0 h 501015"/>
                  <a:gd name="connsiteX2" fmla="*/ 470535 w 1018540"/>
                  <a:gd name="connsiteY2" fmla="*/ 501015 h 501015"/>
                  <a:gd name="connsiteX3" fmla="*/ 1018540 w 1018540"/>
                  <a:gd name="connsiteY3" fmla="*/ 147320 h 501015"/>
                  <a:gd name="connsiteX4" fmla="*/ 1013460 w 1018540"/>
                  <a:gd name="connsiteY4" fmla="*/ 88900 h 501015"/>
                  <a:gd name="connsiteX0" fmla="*/ 691515 w 696595"/>
                  <a:gd name="connsiteY0" fmla="*/ 41275 h 453390"/>
                  <a:gd name="connsiteX1" fmla="*/ 0 w 696595"/>
                  <a:gd name="connsiteY1" fmla="*/ 0 h 453390"/>
                  <a:gd name="connsiteX2" fmla="*/ 148590 w 696595"/>
                  <a:gd name="connsiteY2" fmla="*/ 453390 h 453390"/>
                  <a:gd name="connsiteX3" fmla="*/ 696595 w 696595"/>
                  <a:gd name="connsiteY3" fmla="*/ 99695 h 453390"/>
                  <a:gd name="connsiteX4" fmla="*/ 691515 w 696595"/>
                  <a:gd name="connsiteY4" fmla="*/ 41275 h 453390"/>
                  <a:gd name="connsiteX0" fmla="*/ 691515 w 692785"/>
                  <a:gd name="connsiteY0" fmla="*/ 41275 h 453390"/>
                  <a:gd name="connsiteX1" fmla="*/ 0 w 692785"/>
                  <a:gd name="connsiteY1" fmla="*/ 0 h 453390"/>
                  <a:gd name="connsiteX2" fmla="*/ 148590 w 692785"/>
                  <a:gd name="connsiteY2" fmla="*/ 453390 h 453390"/>
                  <a:gd name="connsiteX3" fmla="*/ 692785 w 692785"/>
                  <a:gd name="connsiteY3" fmla="*/ 76835 h 453390"/>
                  <a:gd name="connsiteX4" fmla="*/ 691515 w 692785"/>
                  <a:gd name="connsiteY4" fmla="*/ 41275 h 453390"/>
                  <a:gd name="connsiteX0" fmla="*/ 874395 w 875665"/>
                  <a:gd name="connsiteY0" fmla="*/ 79375 h 491490"/>
                  <a:gd name="connsiteX1" fmla="*/ 0 w 875665"/>
                  <a:gd name="connsiteY1" fmla="*/ 0 h 491490"/>
                  <a:gd name="connsiteX2" fmla="*/ 331470 w 875665"/>
                  <a:gd name="connsiteY2" fmla="*/ 491490 h 491490"/>
                  <a:gd name="connsiteX3" fmla="*/ 875665 w 875665"/>
                  <a:gd name="connsiteY3" fmla="*/ 114935 h 491490"/>
                  <a:gd name="connsiteX4" fmla="*/ 874395 w 875665"/>
                  <a:gd name="connsiteY4" fmla="*/ 79375 h 491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5665" h="491490">
                    <a:moveTo>
                      <a:pt x="874395" y="79375"/>
                    </a:moveTo>
                    <a:lnTo>
                      <a:pt x="0" y="0"/>
                    </a:lnTo>
                    <a:lnTo>
                      <a:pt x="331470" y="491490"/>
                    </a:lnTo>
                    <a:lnTo>
                      <a:pt x="875665" y="114935"/>
                    </a:lnTo>
                    <a:cubicBezTo>
                      <a:pt x="875242" y="103082"/>
                      <a:pt x="874818" y="91228"/>
                      <a:pt x="874395" y="79375"/>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Freeform 11">
                <a:extLst>
                  <a:ext uri="{FF2B5EF4-FFF2-40B4-BE49-F238E27FC236}">
                    <a16:creationId xmlns:a16="http://schemas.microsoft.com/office/drawing/2014/main" id="{ED43C623-77B2-0000-B9F1-AF0F22E61AA1}"/>
                  </a:ext>
                </a:extLst>
              </p:cNvPr>
              <p:cNvSpPr>
                <a:spLocks noEditPoints="1"/>
              </p:cNvSpPr>
              <p:nvPr/>
            </p:nvSpPr>
            <p:spPr bwMode="auto">
              <a:xfrm>
                <a:off x="5648622" y="3168297"/>
                <a:ext cx="197672" cy="435584"/>
              </a:xfrm>
              <a:custGeom>
                <a:avLst/>
                <a:gdLst>
                  <a:gd name="T0" fmla="*/ 418 w 673"/>
                  <a:gd name="T1" fmla="*/ 65 h 1483"/>
                  <a:gd name="T2" fmla="*/ 512 w 673"/>
                  <a:gd name="T3" fmla="*/ 116 h 1483"/>
                  <a:gd name="T4" fmla="*/ 527 w 673"/>
                  <a:gd name="T5" fmla="*/ 158 h 1483"/>
                  <a:gd name="T6" fmla="*/ 513 w 673"/>
                  <a:gd name="T7" fmla="*/ 204 h 1483"/>
                  <a:gd name="T8" fmla="*/ 597 w 673"/>
                  <a:gd name="T9" fmla="*/ 206 h 1483"/>
                  <a:gd name="T10" fmla="*/ 641 w 673"/>
                  <a:gd name="T11" fmla="*/ 155 h 1483"/>
                  <a:gd name="T12" fmla="*/ 668 w 673"/>
                  <a:gd name="T13" fmla="*/ 155 h 1483"/>
                  <a:gd name="T14" fmla="*/ 658 w 673"/>
                  <a:gd name="T15" fmla="*/ 204 h 1483"/>
                  <a:gd name="T16" fmla="*/ 614 w 673"/>
                  <a:gd name="T17" fmla="*/ 233 h 1483"/>
                  <a:gd name="T18" fmla="*/ 566 w 673"/>
                  <a:gd name="T19" fmla="*/ 287 h 1483"/>
                  <a:gd name="T20" fmla="*/ 529 w 673"/>
                  <a:gd name="T21" fmla="*/ 357 h 1483"/>
                  <a:gd name="T22" fmla="*/ 512 w 673"/>
                  <a:gd name="T23" fmla="*/ 440 h 1483"/>
                  <a:gd name="T24" fmla="*/ 530 w 673"/>
                  <a:gd name="T25" fmla="*/ 502 h 1483"/>
                  <a:gd name="T26" fmla="*/ 566 w 673"/>
                  <a:gd name="T27" fmla="*/ 565 h 1483"/>
                  <a:gd name="T28" fmla="*/ 532 w 673"/>
                  <a:gd name="T29" fmla="*/ 648 h 1483"/>
                  <a:gd name="T30" fmla="*/ 430 w 673"/>
                  <a:gd name="T31" fmla="*/ 677 h 1483"/>
                  <a:gd name="T32" fmla="*/ 384 w 673"/>
                  <a:gd name="T33" fmla="*/ 691 h 1483"/>
                  <a:gd name="T34" fmla="*/ 376 w 673"/>
                  <a:gd name="T35" fmla="*/ 738 h 1483"/>
                  <a:gd name="T36" fmla="*/ 320 w 673"/>
                  <a:gd name="T37" fmla="*/ 767 h 1483"/>
                  <a:gd name="T38" fmla="*/ 286 w 673"/>
                  <a:gd name="T39" fmla="*/ 774 h 1483"/>
                  <a:gd name="T40" fmla="*/ 309 w 673"/>
                  <a:gd name="T41" fmla="*/ 832 h 1483"/>
                  <a:gd name="T42" fmla="*/ 330 w 673"/>
                  <a:gd name="T43" fmla="*/ 849 h 1483"/>
                  <a:gd name="T44" fmla="*/ 311 w 673"/>
                  <a:gd name="T45" fmla="*/ 856 h 1483"/>
                  <a:gd name="T46" fmla="*/ 281 w 673"/>
                  <a:gd name="T47" fmla="*/ 920 h 1483"/>
                  <a:gd name="T48" fmla="*/ 248 w 673"/>
                  <a:gd name="T49" fmla="*/ 952 h 1483"/>
                  <a:gd name="T50" fmla="*/ 202 w 673"/>
                  <a:gd name="T51" fmla="*/ 1002 h 1483"/>
                  <a:gd name="T52" fmla="*/ 265 w 673"/>
                  <a:gd name="T53" fmla="*/ 1065 h 1483"/>
                  <a:gd name="T54" fmla="*/ 235 w 673"/>
                  <a:gd name="T55" fmla="*/ 1121 h 1483"/>
                  <a:gd name="T56" fmla="*/ 192 w 673"/>
                  <a:gd name="T57" fmla="*/ 1203 h 1483"/>
                  <a:gd name="T58" fmla="*/ 155 w 673"/>
                  <a:gd name="T59" fmla="*/ 1279 h 1483"/>
                  <a:gd name="T60" fmla="*/ 56 w 673"/>
                  <a:gd name="T61" fmla="*/ 1308 h 1483"/>
                  <a:gd name="T62" fmla="*/ 43 w 673"/>
                  <a:gd name="T63" fmla="*/ 1242 h 1483"/>
                  <a:gd name="T64" fmla="*/ 2 w 673"/>
                  <a:gd name="T65" fmla="*/ 1201 h 1483"/>
                  <a:gd name="T66" fmla="*/ 36 w 673"/>
                  <a:gd name="T67" fmla="*/ 1131 h 1483"/>
                  <a:gd name="T68" fmla="*/ 43 w 673"/>
                  <a:gd name="T69" fmla="*/ 1072 h 1483"/>
                  <a:gd name="T70" fmla="*/ 60 w 673"/>
                  <a:gd name="T71" fmla="*/ 1009 h 1483"/>
                  <a:gd name="T72" fmla="*/ 66 w 673"/>
                  <a:gd name="T73" fmla="*/ 951 h 1483"/>
                  <a:gd name="T74" fmla="*/ 85 w 673"/>
                  <a:gd name="T75" fmla="*/ 929 h 1483"/>
                  <a:gd name="T76" fmla="*/ 68 w 673"/>
                  <a:gd name="T77" fmla="*/ 886 h 1483"/>
                  <a:gd name="T78" fmla="*/ 53 w 673"/>
                  <a:gd name="T79" fmla="*/ 830 h 1483"/>
                  <a:gd name="T80" fmla="*/ 58 w 673"/>
                  <a:gd name="T81" fmla="*/ 774 h 1483"/>
                  <a:gd name="T82" fmla="*/ 65 w 673"/>
                  <a:gd name="T83" fmla="*/ 716 h 1483"/>
                  <a:gd name="T84" fmla="*/ 90 w 673"/>
                  <a:gd name="T85" fmla="*/ 663 h 1483"/>
                  <a:gd name="T86" fmla="*/ 83 w 673"/>
                  <a:gd name="T87" fmla="*/ 597 h 1483"/>
                  <a:gd name="T88" fmla="*/ 107 w 673"/>
                  <a:gd name="T89" fmla="*/ 554 h 1483"/>
                  <a:gd name="T90" fmla="*/ 119 w 673"/>
                  <a:gd name="T91" fmla="*/ 486 h 1483"/>
                  <a:gd name="T92" fmla="*/ 121 w 673"/>
                  <a:gd name="T93" fmla="*/ 427 h 1483"/>
                  <a:gd name="T94" fmla="*/ 104 w 673"/>
                  <a:gd name="T95" fmla="*/ 354 h 1483"/>
                  <a:gd name="T96" fmla="*/ 126 w 673"/>
                  <a:gd name="T97" fmla="*/ 304 h 1483"/>
                  <a:gd name="T98" fmla="*/ 138 w 673"/>
                  <a:gd name="T99" fmla="*/ 243 h 1483"/>
                  <a:gd name="T100" fmla="*/ 175 w 673"/>
                  <a:gd name="T101" fmla="*/ 196 h 1483"/>
                  <a:gd name="T102" fmla="*/ 170 w 673"/>
                  <a:gd name="T103" fmla="*/ 110 h 1483"/>
                  <a:gd name="T104" fmla="*/ 253 w 673"/>
                  <a:gd name="T105" fmla="*/ 2 h 1483"/>
                  <a:gd name="T106" fmla="*/ 315 w 673"/>
                  <a:gd name="T107" fmla="*/ 32 h 1483"/>
                  <a:gd name="T108" fmla="*/ 180 w 673"/>
                  <a:gd name="T109" fmla="*/ 1362 h 1483"/>
                  <a:gd name="T110" fmla="*/ 213 w 673"/>
                  <a:gd name="T111" fmla="*/ 1425 h 1483"/>
                  <a:gd name="T112" fmla="*/ 282 w 673"/>
                  <a:gd name="T113" fmla="*/ 1466 h 1483"/>
                  <a:gd name="T114" fmla="*/ 223 w 673"/>
                  <a:gd name="T115" fmla="*/ 1475 h 1483"/>
                  <a:gd name="T116" fmla="*/ 320 w 673"/>
                  <a:gd name="T117" fmla="*/ 1465 h 1483"/>
                  <a:gd name="T118" fmla="*/ 301 w 673"/>
                  <a:gd name="T119" fmla="*/ 1466 h 1483"/>
                  <a:gd name="T120" fmla="*/ 206 w 673"/>
                  <a:gd name="T121" fmla="*/ 1473 h 1483"/>
                  <a:gd name="T122" fmla="*/ 269 w 673"/>
                  <a:gd name="T123" fmla="*/ 954 h 1483"/>
                  <a:gd name="T124" fmla="*/ 383 w 673"/>
                  <a:gd name="T125" fmla="*/ 721 h 1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73" h="1483">
                    <a:moveTo>
                      <a:pt x="369" y="17"/>
                    </a:moveTo>
                    <a:lnTo>
                      <a:pt x="371" y="17"/>
                    </a:lnTo>
                    <a:lnTo>
                      <a:pt x="371" y="19"/>
                    </a:lnTo>
                    <a:lnTo>
                      <a:pt x="369" y="19"/>
                    </a:lnTo>
                    <a:lnTo>
                      <a:pt x="371" y="19"/>
                    </a:lnTo>
                    <a:lnTo>
                      <a:pt x="372" y="20"/>
                    </a:lnTo>
                    <a:lnTo>
                      <a:pt x="372" y="22"/>
                    </a:lnTo>
                    <a:lnTo>
                      <a:pt x="374" y="22"/>
                    </a:lnTo>
                    <a:lnTo>
                      <a:pt x="376" y="22"/>
                    </a:lnTo>
                    <a:lnTo>
                      <a:pt x="376" y="24"/>
                    </a:lnTo>
                    <a:lnTo>
                      <a:pt x="377" y="24"/>
                    </a:lnTo>
                    <a:lnTo>
                      <a:pt x="379" y="24"/>
                    </a:lnTo>
                    <a:lnTo>
                      <a:pt x="379" y="25"/>
                    </a:lnTo>
                    <a:lnTo>
                      <a:pt x="379" y="24"/>
                    </a:lnTo>
                    <a:lnTo>
                      <a:pt x="379" y="25"/>
                    </a:lnTo>
                    <a:lnTo>
                      <a:pt x="381" y="25"/>
                    </a:lnTo>
                    <a:lnTo>
                      <a:pt x="379" y="25"/>
                    </a:lnTo>
                    <a:lnTo>
                      <a:pt x="381" y="25"/>
                    </a:lnTo>
                    <a:lnTo>
                      <a:pt x="381" y="27"/>
                    </a:lnTo>
                    <a:lnTo>
                      <a:pt x="383" y="27"/>
                    </a:lnTo>
                    <a:lnTo>
                      <a:pt x="384" y="27"/>
                    </a:lnTo>
                    <a:lnTo>
                      <a:pt x="383" y="29"/>
                    </a:lnTo>
                    <a:lnTo>
                      <a:pt x="384" y="29"/>
                    </a:lnTo>
                    <a:lnTo>
                      <a:pt x="383" y="29"/>
                    </a:lnTo>
                    <a:lnTo>
                      <a:pt x="383" y="31"/>
                    </a:lnTo>
                    <a:lnTo>
                      <a:pt x="383" y="32"/>
                    </a:lnTo>
                    <a:lnTo>
                      <a:pt x="384" y="31"/>
                    </a:lnTo>
                    <a:lnTo>
                      <a:pt x="384" y="32"/>
                    </a:lnTo>
                    <a:lnTo>
                      <a:pt x="384" y="34"/>
                    </a:lnTo>
                    <a:lnTo>
                      <a:pt x="384" y="36"/>
                    </a:lnTo>
                    <a:lnTo>
                      <a:pt x="386" y="37"/>
                    </a:lnTo>
                    <a:lnTo>
                      <a:pt x="388" y="39"/>
                    </a:lnTo>
                    <a:lnTo>
                      <a:pt x="388" y="41"/>
                    </a:lnTo>
                    <a:lnTo>
                      <a:pt x="389" y="42"/>
                    </a:lnTo>
                    <a:lnTo>
                      <a:pt x="389" y="44"/>
                    </a:lnTo>
                    <a:lnTo>
                      <a:pt x="391" y="44"/>
                    </a:lnTo>
                    <a:lnTo>
                      <a:pt x="391" y="46"/>
                    </a:lnTo>
                    <a:lnTo>
                      <a:pt x="393" y="46"/>
                    </a:lnTo>
                    <a:lnTo>
                      <a:pt x="394" y="48"/>
                    </a:lnTo>
                    <a:lnTo>
                      <a:pt x="396" y="48"/>
                    </a:lnTo>
                    <a:lnTo>
                      <a:pt x="396" y="49"/>
                    </a:lnTo>
                    <a:lnTo>
                      <a:pt x="398" y="49"/>
                    </a:lnTo>
                    <a:lnTo>
                      <a:pt x="398" y="51"/>
                    </a:lnTo>
                    <a:lnTo>
                      <a:pt x="400" y="51"/>
                    </a:lnTo>
                    <a:lnTo>
                      <a:pt x="400" y="53"/>
                    </a:lnTo>
                    <a:lnTo>
                      <a:pt x="401" y="53"/>
                    </a:lnTo>
                    <a:lnTo>
                      <a:pt x="401" y="54"/>
                    </a:lnTo>
                    <a:lnTo>
                      <a:pt x="403" y="54"/>
                    </a:lnTo>
                    <a:lnTo>
                      <a:pt x="405" y="54"/>
                    </a:lnTo>
                    <a:lnTo>
                      <a:pt x="405" y="56"/>
                    </a:lnTo>
                    <a:lnTo>
                      <a:pt x="406" y="56"/>
                    </a:lnTo>
                    <a:lnTo>
                      <a:pt x="406" y="58"/>
                    </a:lnTo>
                    <a:lnTo>
                      <a:pt x="408" y="58"/>
                    </a:lnTo>
                    <a:lnTo>
                      <a:pt x="408" y="59"/>
                    </a:lnTo>
                    <a:lnTo>
                      <a:pt x="410" y="59"/>
                    </a:lnTo>
                    <a:lnTo>
                      <a:pt x="410" y="61"/>
                    </a:lnTo>
                    <a:lnTo>
                      <a:pt x="411" y="61"/>
                    </a:lnTo>
                    <a:lnTo>
                      <a:pt x="413" y="61"/>
                    </a:lnTo>
                    <a:lnTo>
                      <a:pt x="415" y="61"/>
                    </a:lnTo>
                    <a:lnTo>
                      <a:pt x="415" y="63"/>
                    </a:lnTo>
                    <a:lnTo>
                      <a:pt x="417" y="63"/>
                    </a:lnTo>
                    <a:lnTo>
                      <a:pt x="417" y="65"/>
                    </a:lnTo>
                    <a:lnTo>
                      <a:pt x="418" y="65"/>
                    </a:lnTo>
                    <a:lnTo>
                      <a:pt x="420" y="65"/>
                    </a:lnTo>
                    <a:lnTo>
                      <a:pt x="420" y="66"/>
                    </a:lnTo>
                    <a:lnTo>
                      <a:pt x="422" y="66"/>
                    </a:lnTo>
                    <a:lnTo>
                      <a:pt x="422" y="68"/>
                    </a:lnTo>
                    <a:lnTo>
                      <a:pt x="422" y="70"/>
                    </a:lnTo>
                    <a:lnTo>
                      <a:pt x="423" y="70"/>
                    </a:lnTo>
                    <a:lnTo>
                      <a:pt x="423" y="71"/>
                    </a:lnTo>
                    <a:lnTo>
                      <a:pt x="425" y="73"/>
                    </a:lnTo>
                    <a:lnTo>
                      <a:pt x="425" y="75"/>
                    </a:lnTo>
                    <a:lnTo>
                      <a:pt x="427" y="75"/>
                    </a:lnTo>
                    <a:lnTo>
                      <a:pt x="427" y="73"/>
                    </a:lnTo>
                    <a:lnTo>
                      <a:pt x="428" y="75"/>
                    </a:lnTo>
                    <a:lnTo>
                      <a:pt x="430" y="76"/>
                    </a:lnTo>
                    <a:lnTo>
                      <a:pt x="432" y="76"/>
                    </a:lnTo>
                    <a:lnTo>
                      <a:pt x="434" y="76"/>
                    </a:lnTo>
                    <a:lnTo>
                      <a:pt x="435" y="76"/>
                    </a:lnTo>
                    <a:lnTo>
                      <a:pt x="435" y="78"/>
                    </a:lnTo>
                    <a:lnTo>
                      <a:pt x="437" y="78"/>
                    </a:lnTo>
                    <a:lnTo>
                      <a:pt x="439" y="78"/>
                    </a:lnTo>
                    <a:lnTo>
                      <a:pt x="439" y="80"/>
                    </a:lnTo>
                    <a:lnTo>
                      <a:pt x="440" y="80"/>
                    </a:lnTo>
                    <a:lnTo>
                      <a:pt x="442" y="80"/>
                    </a:lnTo>
                    <a:lnTo>
                      <a:pt x="444" y="80"/>
                    </a:lnTo>
                    <a:lnTo>
                      <a:pt x="445" y="80"/>
                    </a:lnTo>
                    <a:lnTo>
                      <a:pt x="445" y="82"/>
                    </a:lnTo>
                    <a:lnTo>
                      <a:pt x="447" y="82"/>
                    </a:lnTo>
                    <a:lnTo>
                      <a:pt x="449" y="83"/>
                    </a:lnTo>
                    <a:lnTo>
                      <a:pt x="451" y="83"/>
                    </a:lnTo>
                    <a:lnTo>
                      <a:pt x="452" y="83"/>
                    </a:lnTo>
                    <a:lnTo>
                      <a:pt x="454" y="83"/>
                    </a:lnTo>
                    <a:lnTo>
                      <a:pt x="456" y="82"/>
                    </a:lnTo>
                    <a:lnTo>
                      <a:pt x="457" y="82"/>
                    </a:lnTo>
                    <a:lnTo>
                      <a:pt x="466" y="87"/>
                    </a:lnTo>
                    <a:lnTo>
                      <a:pt x="473" y="92"/>
                    </a:lnTo>
                    <a:lnTo>
                      <a:pt x="476" y="93"/>
                    </a:lnTo>
                    <a:lnTo>
                      <a:pt x="478" y="95"/>
                    </a:lnTo>
                    <a:lnTo>
                      <a:pt x="478" y="97"/>
                    </a:lnTo>
                    <a:lnTo>
                      <a:pt x="479" y="97"/>
                    </a:lnTo>
                    <a:lnTo>
                      <a:pt x="481" y="99"/>
                    </a:lnTo>
                    <a:lnTo>
                      <a:pt x="483" y="100"/>
                    </a:lnTo>
                    <a:lnTo>
                      <a:pt x="485" y="100"/>
                    </a:lnTo>
                    <a:lnTo>
                      <a:pt x="485" y="102"/>
                    </a:lnTo>
                    <a:lnTo>
                      <a:pt x="486" y="102"/>
                    </a:lnTo>
                    <a:lnTo>
                      <a:pt x="488" y="104"/>
                    </a:lnTo>
                    <a:lnTo>
                      <a:pt x="490" y="104"/>
                    </a:lnTo>
                    <a:lnTo>
                      <a:pt x="491" y="105"/>
                    </a:lnTo>
                    <a:lnTo>
                      <a:pt x="493" y="105"/>
                    </a:lnTo>
                    <a:lnTo>
                      <a:pt x="495" y="107"/>
                    </a:lnTo>
                    <a:lnTo>
                      <a:pt x="496" y="107"/>
                    </a:lnTo>
                    <a:lnTo>
                      <a:pt x="496" y="109"/>
                    </a:lnTo>
                    <a:lnTo>
                      <a:pt x="498" y="109"/>
                    </a:lnTo>
                    <a:lnTo>
                      <a:pt x="498" y="110"/>
                    </a:lnTo>
                    <a:lnTo>
                      <a:pt x="500" y="110"/>
                    </a:lnTo>
                    <a:lnTo>
                      <a:pt x="502" y="110"/>
                    </a:lnTo>
                    <a:lnTo>
                      <a:pt x="503" y="110"/>
                    </a:lnTo>
                    <a:lnTo>
                      <a:pt x="503" y="112"/>
                    </a:lnTo>
                    <a:lnTo>
                      <a:pt x="505" y="112"/>
                    </a:lnTo>
                    <a:lnTo>
                      <a:pt x="507" y="112"/>
                    </a:lnTo>
                    <a:lnTo>
                      <a:pt x="508" y="112"/>
                    </a:lnTo>
                    <a:lnTo>
                      <a:pt x="510" y="112"/>
                    </a:lnTo>
                    <a:lnTo>
                      <a:pt x="510" y="114"/>
                    </a:lnTo>
                    <a:lnTo>
                      <a:pt x="512" y="114"/>
                    </a:lnTo>
                    <a:lnTo>
                      <a:pt x="512" y="116"/>
                    </a:lnTo>
                    <a:lnTo>
                      <a:pt x="513" y="116"/>
                    </a:lnTo>
                    <a:lnTo>
                      <a:pt x="513" y="117"/>
                    </a:lnTo>
                    <a:lnTo>
                      <a:pt x="515" y="117"/>
                    </a:lnTo>
                    <a:lnTo>
                      <a:pt x="515" y="119"/>
                    </a:lnTo>
                    <a:lnTo>
                      <a:pt x="515" y="117"/>
                    </a:lnTo>
                    <a:lnTo>
                      <a:pt x="517" y="117"/>
                    </a:lnTo>
                    <a:lnTo>
                      <a:pt x="517" y="116"/>
                    </a:lnTo>
                    <a:lnTo>
                      <a:pt x="519" y="116"/>
                    </a:lnTo>
                    <a:lnTo>
                      <a:pt x="520" y="117"/>
                    </a:lnTo>
                    <a:lnTo>
                      <a:pt x="522" y="117"/>
                    </a:lnTo>
                    <a:lnTo>
                      <a:pt x="522" y="119"/>
                    </a:lnTo>
                    <a:lnTo>
                      <a:pt x="524" y="119"/>
                    </a:lnTo>
                    <a:lnTo>
                      <a:pt x="524" y="121"/>
                    </a:lnTo>
                    <a:lnTo>
                      <a:pt x="525" y="119"/>
                    </a:lnTo>
                    <a:lnTo>
                      <a:pt x="525" y="121"/>
                    </a:lnTo>
                    <a:lnTo>
                      <a:pt x="525" y="119"/>
                    </a:lnTo>
                    <a:lnTo>
                      <a:pt x="525" y="121"/>
                    </a:lnTo>
                    <a:lnTo>
                      <a:pt x="525" y="119"/>
                    </a:lnTo>
                    <a:lnTo>
                      <a:pt x="527" y="121"/>
                    </a:lnTo>
                    <a:lnTo>
                      <a:pt x="529" y="121"/>
                    </a:lnTo>
                    <a:lnTo>
                      <a:pt x="530" y="121"/>
                    </a:lnTo>
                    <a:lnTo>
                      <a:pt x="532" y="122"/>
                    </a:lnTo>
                    <a:lnTo>
                      <a:pt x="532" y="124"/>
                    </a:lnTo>
                    <a:lnTo>
                      <a:pt x="534" y="124"/>
                    </a:lnTo>
                    <a:lnTo>
                      <a:pt x="534" y="126"/>
                    </a:lnTo>
                    <a:lnTo>
                      <a:pt x="536" y="126"/>
                    </a:lnTo>
                    <a:lnTo>
                      <a:pt x="534" y="126"/>
                    </a:lnTo>
                    <a:lnTo>
                      <a:pt x="536" y="127"/>
                    </a:lnTo>
                    <a:lnTo>
                      <a:pt x="536" y="129"/>
                    </a:lnTo>
                    <a:lnTo>
                      <a:pt x="537" y="129"/>
                    </a:lnTo>
                    <a:lnTo>
                      <a:pt x="536" y="129"/>
                    </a:lnTo>
                    <a:lnTo>
                      <a:pt x="536" y="131"/>
                    </a:lnTo>
                    <a:lnTo>
                      <a:pt x="537" y="131"/>
                    </a:lnTo>
                    <a:lnTo>
                      <a:pt x="537" y="133"/>
                    </a:lnTo>
                    <a:lnTo>
                      <a:pt x="539" y="133"/>
                    </a:lnTo>
                    <a:lnTo>
                      <a:pt x="541" y="133"/>
                    </a:lnTo>
                    <a:lnTo>
                      <a:pt x="541" y="134"/>
                    </a:lnTo>
                    <a:lnTo>
                      <a:pt x="541" y="136"/>
                    </a:lnTo>
                    <a:lnTo>
                      <a:pt x="541" y="138"/>
                    </a:lnTo>
                    <a:lnTo>
                      <a:pt x="541" y="139"/>
                    </a:lnTo>
                    <a:lnTo>
                      <a:pt x="539" y="139"/>
                    </a:lnTo>
                    <a:lnTo>
                      <a:pt x="539" y="141"/>
                    </a:lnTo>
                    <a:lnTo>
                      <a:pt x="537" y="141"/>
                    </a:lnTo>
                    <a:lnTo>
                      <a:pt x="537" y="143"/>
                    </a:lnTo>
                    <a:lnTo>
                      <a:pt x="536" y="143"/>
                    </a:lnTo>
                    <a:lnTo>
                      <a:pt x="534" y="144"/>
                    </a:lnTo>
                    <a:lnTo>
                      <a:pt x="536" y="144"/>
                    </a:lnTo>
                    <a:lnTo>
                      <a:pt x="536" y="146"/>
                    </a:lnTo>
                    <a:lnTo>
                      <a:pt x="534" y="146"/>
                    </a:lnTo>
                    <a:lnTo>
                      <a:pt x="532" y="146"/>
                    </a:lnTo>
                    <a:lnTo>
                      <a:pt x="532" y="148"/>
                    </a:lnTo>
                    <a:lnTo>
                      <a:pt x="534" y="148"/>
                    </a:lnTo>
                    <a:lnTo>
                      <a:pt x="534" y="150"/>
                    </a:lnTo>
                    <a:lnTo>
                      <a:pt x="532" y="150"/>
                    </a:lnTo>
                    <a:lnTo>
                      <a:pt x="530" y="150"/>
                    </a:lnTo>
                    <a:lnTo>
                      <a:pt x="530" y="151"/>
                    </a:lnTo>
                    <a:lnTo>
                      <a:pt x="532" y="153"/>
                    </a:lnTo>
                    <a:lnTo>
                      <a:pt x="530" y="153"/>
                    </a:lnTo>
                    <a:lnTo>
                      <a:pt x="530" y="155"/>
                    </a:lnTo>
                    <a:lnTo>
                      <a:pt x="530" y="156"/>
                    </a:lnTo>
                    <a:lnTo>
                      <a:pt x="529" y="156"/>
                    </a:lnTo>
                    <a:lnTo>
                      <a:pt x="529" y="158"/>
                    </a:lnTo>
                    <a:lnTo>
                      <a:pt x="527" y="158"/>
                    </a:lnTo>
                    <a:lnTo>
                      <a:pt x="527" y="160"/>
                    </a:lnTo>
                    <a:lnTo>
                      <a:pt x="525" y="160"/>
                    </a:lnTo>
                    <a:lnTo>
                      <a:pt x="524" y="160"/>
                    </a:lnTo>
                    <a:lnTo>
                      <a:pt x="524" y="161"/>
                    </a:lnTo>
                    <a:lnTo>
                      <a:pt x="522" y="161"/>
                    </a:lnTo>
                    <a:lnTo>
                      <a:pt x="522" y="163"/>
                    </a:lnTo>
                    <a:lnTo>
                      <a:pt x="520" y="163"/>
                    </a:lnTo>
                    <a:lnTo>
                      <a:pt x="522" y="163"/>
                    </a:lnTo>
                    <a:lnTo>
                      <a:pt x="522" y="165"/>
                    </a:lnTo>
                    <a:lnTo>
                      <a:pt x="520" y="165"/>
                    </a:lnTo>
                    <a:lnTo>
                      <a:pt x="520" y="167"/>
                    </a:lnTo>
                    <a:lnTo>
                      <a:pt x="520" y="168"/>
                    </a:lnTo>
                    <a:lnTo>
                      <a:pt x="520" y="170"/>
                    </a:lnTo>
                    <a:lnTo>
                      <a:pt x="519" y="170"/>
                    </a:lnTo>
                    <a:lnTo>
                      <a:pt x="519" y="172"/>
                    </a:lnTo>
                    <a:lnTo>
                      <a:pt x="520" y="172"/>
                    </a:lnTo>
                    <a:lnTo>
                      <a:pt x="520" y="173"/>
                    </a:lnTo>
                    <a:lnTo>
                      <a:pt x="519" y="173"/>
                    </a:lnTo>
                    <a:lnTo>
                      <a:pt x="519" y="175"/>
                    </a:lnTo>
                    <a:lnTo>
                      <a:pt x="519" y="177"/>
                    </a:lnTo>
                    <a:lnTo>
                      <a:pt x="520" y="177"/>
                    </a:lnTo>
                    <a:lnTo>
                      <a:pt x="520" y="178"/>
                    </a:lnTo>
                    <a:lnTo>
                      <a:pt x="519" y="178"/>
                    </a:lnTo>
                    <a:lnTo>
                      <a:pt x="520" y="180"/>
                    </a:lnTo>
                    <a:lnTo>
                      <a:pt x="519" y="180"/>
                    </a:lnTo>
                    <a:lnTo>
                      <a:pt x="517" y="180"/>
                    </a:lnTo>
                    <a:lnTo>
                      <a:pt x="517" y="182"/>
                    </a:lnTo>
                    <a:lnTo>
                      <a:pt x="519" y="184"/>
                    </a:lnTo>
                    <a:lnTo>
                      <a:pt x="517" y="184"/>
                    </a:lnTo>
                    <a:lnTo>
                      <a:pt x="517" y="185"/>
                    </a:lnTo>
                    <a:lnTo>
                      <a:pt x="515" y="185"/>
                    </a:lnTo>
                    <a:lnTo>
                      <a:pt x="515" y="187"/>
                    </a:lnTo>
                    <a:lnTo>
                      <a:pt x="515" y="189"/>
                    </a:lnTo>
                    <a:lnTo>
                      <a:pt x="513" y="189"/>
                    </a:lnTo>
                    <a:lnTo>
                      <a:pt x="513" y="190"/>
                    </a:lnTo>
                    <a:lnTo>
                      <a:pt x="512" y="190"/>
                    </a:lnTo>
                    <a:lnTo>
                      <a:pt x="510" y="190"/>
                    </a:lnTo>
                    <a:lnTo>
                      <a:pt x="510" y="192"/>
                    </a:lnTo>
                    <a:lnTo>
                      <a:pt x="510" y="194"/>
                    </a:lnTo>
                    <a:lnTo>
                      <a:pt x="508" y="194"/>
                    </a:lnTo>
                    <a:lnTo>
                      <a:pt x="510" y="196"/>
                    </a:lnTo>
                    <a:lnTo>
                      <a:pt x="508" y="196"/>
                    </a:lnTo>
                    <a:lnTo>
                      <a:pt x="507" y="196"/>
                    </a:lnTo>
                    <a:lnTo>
                      <a:pt x="508" y="196"/>
                    </a:lnTo>
                    <a:lnTo>
                      <a:pt x="507" y="197"/>
                    </a:lnTo>
                    <a:lnTo>
                      <a:pt x="508" y="197"/>
                    </a:lnTo>
                    <a:lnTo>
                      <a:pt x="507" y="197"/>
                    </a:lnTo>
                    <a:lnTo>
                      <a:pt x="505" y="197"/>
                    </a:lnTo>
                    <a:lnTo>
                      <a:pt x="505" y="199"/>
                    </a:lnTo>
                    <a:lnTo>
                      <a:pt x="503" y="199"/>
                    </a:lnTo>
                    <a:lnTo>
                      <a:pt x="503" y="201"/>
                    </a:lnTo>
                    <a:lnTo>
                      <a:pt x="505" y="201"/>
                    </a:lnTo>
                    <a:lnTo>
                      <a:pt x="505" y="202"/>
                    </a:lnTo>
                    <a:lnTo>
                      <a:pt x="507" y="202"/>
                    </a:lnTo>
                    <a:lnTo>
                      <a:pt x="507" y="204"/>
                    </a:lnTo>
                    <a:lnTo>
                      <a:pt x="505" y="204"/>
                    </a:lnTo>
                    <a:lnTo>
                      <a:pt x="505" y="206"/>
                    </a:lnTo>
                    <a:lnTo>
                      <a:pt x="507" y="206"/>
                    </a:lnTo>
                    <a:lnTo>
                      <a:pt x="507" y="204"/>
                    </a:lnTo>
                    <a:lnTo>
                      <a:pt x="508" y="204"/>
                    </a:lnTo>
                    <a:lnTo>
                      <a:pt x="510" y="204"/>
                    </a:lnTo>
                    <a:lnTo>
                      <a:pt x="512" y="204"/>
                    </a:lnTo>
                    <a:lnTo>
                      <a:pt x="513" y="204"/>
                    </a:lnTo>
                    <a:lnTo>
                      <a:pt x="515" y="204"/>
                    </a:lnTo>
                    <a:lnTo>
                      <a:pt x="517" y="204"/>
                    </a:lnTo>
                    <a:lnTo>
                      <a:pt x="519" y="204"/>
                    </a:lnTo>
                    <a:lnTo>
                      <a:pt x="520" y="204"/>
                    </a:lnTo>
                    <a:lnTo>
                      <a:pt x="522" y="204"/>
                    </a:lnTo>
                    <a:lnTo>
                      <a:pt x="524" y="204"/>
                    </a:lnTo>
                    <a:lnTo>
                      <a:pt x="525" y="204"/>
                    </a:lnTo>
                    <a:lnTo>
                      <a:pt x="527" y="204"/>
                    </a:lnTo>
                    <a:lnTo>
                      <a:pt x="529" y="204"/>
                    </a:lnTo>
                    <a:lnTo>
                      <a:pt x="530" y="204"/>
                    </a:lnTo>
                    <a:lnTo>
                      <a:pt x="532" y="206"/>
                    </a:lnTo>
                    <a:lnTo>
                      <a:pt x="534" y="206"/>
                    </a:lnTo>
                    <a:lnTo>
                      <a:pt x="536" y="206"/>
                    </a:lnTo>
                    <a:lnTo>
                      <a:pt x="537" y="206"/>
                    </a:lnTo>
                    <a:lnTo>
                      <a:pt x="537" y="207"/>
                    </a:lnTo>
                    <a:lnTo>
                      <a:pt x="539" y="207"/>
                    </a:lnTo>
                    <a:lnTo>
                      <a:pt x="541" y="209"/>
                    </a:lnTo>
                    <a:lnTo>
                      <a:pt x="542" y="209"/>
                    </a:lnTo>
                    <a:lnTo>
                      <a:pt x="542" y="211"/>
                    </a:lnTo>
                    <a:lnTo>
                      <a:pt x="544" y="211"/>
                    </a:lnTo>
                    <a:lnTo>
                      <a:pt x="546" y="211"/>
                    </a:lnTo>
                    <a:lnTo>
                      <a:pt x="546" y="209"/>
                    </a:lnTo>
                    <a:lnTo>
                      <a:pt x="547" y="209"/>
                    </a:lnTo>
                    <a:lnTo>
                      <a:pt x="549" y="209"/>
                    </a:lnTo>
                    <a:lnTo>
                      <a:pt x="551" y="211"/>
                    </a:lnTo>
                    <a:lnTo>
                      <a:pt x="553" y="211"/>
                    </a:lnTo>
                    <a:lnTo>
                      <a:pt x="554" y="211"/>
                    </a:lnTo>
                    <a:lnTo>
                      <a:pt x="556" y="213"/>
                    </a:lnTo>
                    <a:lnTo>
                      <a:pt x="558" y="213"/>
                    </a:lnTo>
                    <a:lnTo>
                      <a:pt x="559" y="213"/>
                    </a:lnTo>
                    <a:lnTo>
                      <a:pt x="559" y="211"/>
                    </a:lnTo>
                    <a:lnTo>
                      <a:pt x="561" y="211"/>
                    </a:lnTo>
                    <a:lnTo>
                      <a:pt x="561" y="209"/>
                    </a:lnTo>
                    <a:lnTo>
                      <a:pt x="563" y="209"/>
                    </a:lnTo>
                    <a:lnTo>
                      <a:pt x="564" y="209"/>
                    </a:lnTo>
                    <a:lnTo>
                      <a:pt x="564" y="211"/>
                    </a:lnTo>
                    <a:lnTo>
                      <a:pt x="566" y="211"/>
                    </a:lnTo>
                    <a:lnTo>
                      <a:pt x="568" y="213"/>
                    </a:lnTo>
                    <a:lnTo>
                      <a:pt x="570" y="213"/>
                    </a:lnTo>
                    <a:lnTo>
                      <a:pt x="570" y="211"/>
                    </a:lnTo>
                    <a:lnTo>
                      <a:pt x="571" y="211"/>
                    </a:lnTo>
                    <a:lnTo>
                      <a:pt x="573" y="211"/>
                    </a:lnTo>
                    <a:lnTo>
                      <a:pt x="575" y="211"/>
                    </a:lnTo>
                    <a:lnTo>
                      <a:pt x="576" y="211"/>
                    </a:lnTo>
                    <a:lnTo>
                      <a:pt x="576" y="213"/>
                    </a:lnTo>
                    <a:lnTo>
                      <a:pt x="578" y="213"/>
                    </a:lnTo>
                    <a:lnTo>
                      <a:pt x="578" y="214"/>
                    </a:lnTo>
                    <a:lnTo>
                      <a:pt x="581" y="216"/>
                    </a:lnTo>
                    <a:lnTo>
                      <a:pt x="581" y="214"/>
                    </a:lnTo>
                    <a:lnTo>
                      <a:pt x="583" y="214"/>
                    </a:lnTo>
                    <a:lnTo>
                      <a:pt x="583" y="213"/>
                    </a:lnTo>
                    <a:lnTo>
                      <a:pt x="585" y="211"/>
                    </a:lnTo>
                    <a:lnTo>
                      <a:pt x="583" y="211"/>
                    </a:lnTo>
                    <a:lnTo>
                      <a:pt x="583" y="209"/>
                    </a:lnTo>
                    <a:lnTo>
                      <a:pt x="585" y="209"/>
                    </a:lnTo>
                    <a:lnTo>
                      <a:pt x="587" y="209"/>
                    </a:lnTo>
                    <a:lnTo>
                      <a:pt x="587" y="207"/>
                    </a:lnTo>
                    <a:lnTo>
                      <a:pt x="588" y="206"/>
                    </a:lnTo>
                    <a:lnTo>
                      <a:pt x="590" y="206"/>
                    </a:lnTo>
                    <a:lnTo>
                      <a:pt x="592" y="206"/>
                    </a:lnTo>
                    <a:lnTo>
                      <a:pt x="593" y="206"/>
                    </a:lnTo>
                    <a:lnTo>
                      <a:pt x="595" y="207"/>
                    </a:lnTo>
                    <a:lnTo>
                      <a:pt x="597" y="206"/>
                    </a:lnTo>
                    <a:lnTo>
                      <a:pt x="598" y="207"/>
                    </a:lnTo>
                    <a:lnTo>
                      <a:pt x="598" y="209"/>
                    </a:lnTo>
                    <a:lnTo>
                      <a:pt x="600" y="209"/>
                    </a:lnTo>
                    <a:lnTo>
                      <a:pt x="600" y="211"/>
                    </a:lnTo>
                    <a:lnTo>
                      <a:pt x="602" y="211"/>
                    </a:lnTo>
                    <a:lnTo>
                      <a:pt x="604" y="209"/>
                    </a:lnTo>
                    <a:lnTo>
                      <a:pt x="604" y="207"/>
                    </a:lnTo>
                    <a:lnTo>
                      <a:pt x="605" y="207"/>
                    </a:lnTo>
                    <a:lnTo>
                      <a:pt x="607" y="207"/>
                    </a:lnTo>
                    <a:lnTo>
                      <a:pt x="607" y="206"/>
                    </a:lnTo>
                    <a:lnTo>
                      <a:pt x="607" y="204"/>
                    </a:lnTo>
                    <a:lnTo>
                      <a:pt x="609" y="204"/>
                    </a:lnTo>
                    <a:lnTo>
                      <a:pt x="609" y="202"/>
                    </a:lnTo>
                    <a:lnTo>
                      <a:pt x="607" y="202"/>
                    </a:lnTo>
                    <a:lnTo>
                      <a:pt x="607" y="201"/>
                    </a:lnTo>
                    <a:lnTo>
                      <a:pt x="607" y="199"/>
                    </a:lnTo>
                    <a:lnTo>
                      <a:pt x="609" y="201"/>
                    </a:lnTo>
                    <a:lnTo>
                      <a:pt x="609" y="199"/>
                    </a:lnTo>
                    <a:lnTo>
                      <a:pt x="609" y="197"/>
                    </a:lnTo>
                    <a:lnTo>
                      <a:pt x="610" y="197"/>
                    </a:lnTo>
                    <a:lnTo>
                      <a:pt x="612" y="197"/>
                    </a:lnTo>
                    <a:lnTo>
                      <a:pt x="612" y="196"/>
                    </a:lnTo>
                    <a:lnTo>
                      <a:pt x="612" y="194"/>
                    </a:lnTo>
                    <a:lnTo>
                      <a:pt x="614" y="194"/>
                    </a:lnTo>
                    <a:lnTo>
                      <a:pt x="615" y="192"/>
                    </a:lnTo>
                    <a:lnTo>
                      <a:pt x="617" y="192"/>
                    </a:lnTo>
                    <a:lnTo>
                      <a:pt x="619" y="190"/>
                    </a:lnTo>
                    <a:lnTo>
                      <a:pt x="621" y="192"/>
                    </a:lnTo>
                    <a:lnTo>
                      <a:pt x="622" y="192"/>
                    </a:lnTo>
                    <a:lnTo>
                      <a:pt x="622" y="190"/>
                    </a:lnTo>
                    <a:lnTo>
                      <a:pt x="622" y="189"/>
                    </a:lnTo>
                    <a:lnTo>
                      <a:pt x="624" y="187"/>
                    </a:lnTo>
                    <a:lnTo>
                      <a:pt x="626" y="185"/>
                    </a:lnTo>
                    <a:lnTo>
                      <a:pt x="627" y="185"/>
                    </a:lnTo>
                    <a:lnTo>
                      <a:pt x="629" y="185"/>
                    </a:lnTo>
                    <a:lnTo>
                      <a:pt x="629" y="184"/>
                    </a:lnTo>
                    <a:lnTo>
                      <a:pt x="629" y="182"/>
                    </a:lnTo>
                    <a:lnTo>
                      <a:pt x="631" y="180"/>
                    </a:lnTo>
                    <a:lnTo>
                      <a:pt x="632" y="180"/>
                    </a:lnTo>
                    <a:lnTo>
                      <a:pt x="632" y="182"/>
                    </a:lnTo>
                    <a:lnTo>
                      <a:pt x="634" y="180"/>
                    </a:lnTo>
                    <a:lnTo>
                      <a:pt x="634" y="178"/>
                    </a:lnTo>
                    <a:lnTo>
                      <a:pt x="634" y="177"/>
                    </a:lnTo>
                    <a:lnTo>
                      <a:pt x="634" y="175"/>
                    </a:lnTo>
                    <a:lnTo>
                      <a:pt x="636" y="175"/>
                    </a:lnTo>
                    <a:lnTo>
                      <a:pt x="636" y="173"/>
                    </a:lnTo>
                    <a:lnTo>
                      <a:pt x="638" y="173"/>
                    </a:lnTo>
                    <a:lnTo>
                      <a:pt x="638" y="172"/>
                    </a:lnTo>
                    <a:lnTo>
                      <a:pt x="638" y="170"/>
                    </a:lnTo>
                    <a:lnTo>
                      <a:pt x="638" y="168"/>
                    </a:lnTo>
                    <a:lnTo>
                      <a:pt x="639" y="168"/>
                    </a:lnTo>
                    <a:lnTo>
                      <a:pt x="639" y="167"/>
                    </a:lnTo>
                    <a:lnTo>
                      <a:pt x="638" y="165"/>
                    </a:lnTo>
                    <a:lnTo>
                      <a:pt x="639" y="165"/>
                    </a:lnTo>
                    <a:lnTo>
                      <a:pt x="641" y="165"/>
                    </a:lnTo>
                    <a:lnTo>
                      <a:pt x="641" y="163"/>
                    </a:lnTo>
                    <a:lnTo>
                      <a:pt x="639" y="163"/>
                    </a:lnTo>
                    <a:lnTo>
                      <a:pt x="639" y="161"/>
                    </a:lnTo>
                    <a:lnTo>
                      <a:pt x="639" y="160"/>
                    </a:lnTo>
                    <a:lnTo>
                      <a:pt x="639" y="158"/>
                    </a:lnTo>
                    <a:lnTo>
                      <a:pt x="638" y="156"/>
                    </a:lnTo>
                    <a:lnTo>
                      <a:pt x="639" y="155"/>
                    </a:lnTo>
                    <a:lnTo>
                      <a:pt x="641" y="155"/>
                    </a:lnTo>
                    <a:lnTo>
                      <a:pt x="641" y="153"/>
                    </a:lnTo>
                    <a:lnTo>
                      <a:pt x="641" y="151"/>
                    </a:lnTo>
                    <a:lnTo>
                      <a:pt x="641" y="150"/>
                    </a:lnTo>
                    <a:lnTo>
                      <a:pt x="641" y="148"/>
                    </a:lnTo>
                    <a:lnTo>
                      <a:pt x="639" y="148"/>
                    </a:lnTo>
                    <a:lnTo>
                      <a:pt x="639" y="146"/>
                    </a:lnTo>
                    <a:lnTo>
                      <a:pt x="639" y="144"/>
                    </a:lnTo>
                    <a:lnTo>
                      <a:pt x="639" y="143"/>
                    </a:lnTo>
                    <a:lnTo>
                      <a:pt x="641" y="143"/>
                    </a:lnTo>
                    <a:lnTo>
                      <a:pt x="641" y="141"/>
                    </a:lnTo>
                    <a:lnTo>
                      <a:pt x="643" y="141"/>
                    </a:lnTo>
                    <a:lnTo>
                      <a:pt x="643" y="139"/>
                    </a:lnTo>
                    <a:lnTo>
                      <a:pt x="643" y="141"/>
                    </a:lnTo>
                    <a:lnTo>
                      <a:pt x="644" y="141"/>
                    </a:lnTo>
                    <a:lnTo>
                      <a:pt x="646" y="143"/>
                    </a:lnTo>
                    <a:lnTo>
                      <a:pt x="646" y="144"/>
                    </a:lnTo>
                    <a:lnTo>
                      <a:pt x="648" y="144"/>
                    </a:lnTo>
                    <a:lnTo>
                      <a:pt x="646" y="143"/>
                    </a:lnTo>
                    <a:lnTo>
                      <a:pt x="648" y="143"/>
                    </a:lnTo>
                    <a:lnTo>
                      <a:pt x="648" y="141"/>
                    </a:lnTo>
                    <a:lnTo>
                      <a:pt x="649" y="141"/>
                    </a:lnTo>
                    <a:lnTo>
                      <a:pt x="649" y="139"/>
                    </a:lnTo>
                    <a:lnTo>
                      <a:pt x="651" y="139"/>
                    </a:lnTo>
                    <a:lnTo>
                      <a:pt x="653" y="141"/>
                    </a:lnTo>
                    <a:lnTo>
                      <a:pt x="653" y="139"/>
                    </a:lnTo>
                    <a:lnTo>
                      <a:pt x="655" y="139"/>
                    </a:lnTo>
                    <a:lnTo>
                      <a:pt x="655" y="138"/>
                    </a:lnTo>
                    <a:lnTo>
                      <a:pt x="656" y="138"/>
                    </a:lnTo>
                    <a:lnTo>
                      <a:pt x="658" y="136"/>
                    </a:lnTo>
                    <a:lnTo>
                      <a:pt x="658" y="138"/>
                    </a:lnTo>
                    <a:lnTo>
                      <a:pt x="658" y="139"/>
                    </a:lnTo>
                    <a:lnTo>
                      <a:pt x="656" y="139"/>
                    </a:lnTo>
                    <a:lnTo>
                      <a:pt x="658" y="141"/>
                    </a:lnTo>
                    <a:lnTo>
                      <a:pt x="658" y="139"/>
                    </a:lnTo>
                    <a:lnTo>
                      <a:pt x="660" y="139"/>
                    </a:lnTo>
                    <a:lnTo>
                      <a:pt x="661" y="139"/>
                    </a:lnTo>
                    <a:lnTo>
                      <a:pt x="661" y="141"/>
                    </a:lnTo>
                    <a:lnTo>
                      <a:pt x="663" y="141"/>
                    </a:lnTo>
                    <a:lnTo>
                      <a:pt x="661" y="141"/>
                    </a:lnTo>
                    <a:lnTo>
                      <a:pt x="663" y="141"/>
                    </a:lnTo>
                    <a:lnTo>
                      <a:pt x="663" y="143"/>
                    </a:lnTo>
                    <a:lnTo>
                      <a:pt x="663" y="141"/>
                    </a:lnTo>
                    <a:lnTo>
                      <a:pt x="665" y="141"/>
                    </a:lnTo>
                    <a:lnTo>
                      <a:pt x="665" y="143"/>
                    </a:lnTo>
                    <a:lnTo>
                      <a:pt x="665" y="141"/>
                    </a:lnTo>
                    <a:lnTo>
                      <a:pt x="665" y="143"/>
                    </a:lnTo>
                    <a:lnTo>
                      <a:pt x="666" y="143"/>
                    </a:lnTo>
                    <a:lnTo>
                      <a:pt x="666" y="144"/>
                    </a:lnTo>
                    <a:lnTo>
                      <a:pt x="665" y="144"/>
                    </a:lnTo>
                    <a:lnTo>
                      <a:pt x="666" y="144"/>
                    </a:lnTo>
                    <a:lnTo>
                      <a:pt x="665" y="144"/>
                    </a:lnTo>
                    <a:lnTo>
                      <a:pt x="666" y="144"/>
                    </a:lnTo>
                    <a:lnTo>
                      <a:pt x="666" y="146"/>
                    </a:lnTo>
                    <a:lnTo>
                      <a:pt x="666" y="148"/>
                    </a:lnTo>
                    <a:lnTo>
                      <a:pt x="668" y="150"/>
                    </a:lnTo>
                    <a:lnTo>
                      <a:pt x="666" y="150"/>
                    </a:lnTo>
                    <a:lnTo>
                      <a:pt x="666" y="151"/>
                    </a:lnTo>
                    <a:lnTo>
                      <a:pt x="668" y="151"/>
                    </a:lnTo>
                    <a:lnTo>
                      <a:pt x="666" y="153"/>
                    </a:lnTo>
                    <a:lnTo>
                      <a:pt x="668" y="153"/>
                    </a:lnTo>
                    <a:lnTo>
                      <a:pt x="666" y="153"/>
                    </a:lnTo>
                    <a:lnTo>
                      <a:pt x="666" y="155"/>
                    </a:lnTo>
                    <a:lnTo>
                      <a:pt x="668" y="155"/>
                    </a:lnTo>
                    <a:lnTo>
                      <a:pt x="668" y="156"/>
                    </a:lnTo>
                    <a:lnTo>
                      <a:pt x="670" y="158"/>
                    </a:lnTo>
                    <a:lnTo>
                      <a:pt x="670" y="160"/>
                    </a:lnTo>
                    <a:lnTo>
                      <a:pt x="672" y="161"/>
                    </a:lnTo>
                    <a:lnTo>
                      <a:pt x="673" y="163"/>
                    </a:lnTo>
                    <a:lnTo>
                      <a:pt x="673" y="165"/>
                    </a:lnTo>
                    <a:lnTo>
                      <a:pt x="673" y="167"/>
                    </a:lnTo>
                    <a:lnTo>
                      <a:pt x="673" y="168"/>
                    </a:lnTo>
                    <a:lnTo>
                      <a:pt x="672" y="168"/>
                    </a:lnTo>
                    <a:lnTo>
                      <a:pt x="672" y="170"/>
                    </a:lnTo>
                    <a:lnTo>
                      <a:pt x="672" y="172"/>
                    </a:lnTo>
                    <a:lnTo>
                      <a:pt x="672" y="173"/>
                    </a:lnTo>
                    <a:lnTo>
                      <a:pt x="672" y="175"/>
                    </a:lnTo>
                    <a:lnTo>
                      <a:pt x="670" y="175"/>
                    </a:lnTo>
                    <a:lnTo>
                      <a:pt x="672" y="175"/>
                    </a:lnTo>
                    <a:lnTo>
                      <a:pt x="670" y="177"/>
                    </a:lnTo>
                    <a:lnTo>
                      <a:pt x="672" y="177"/>
                    </a:lnTo>
                    <a:lnTo>
                      <a:pt x="670" y="177"/>
                    </a:lnTo>
                    <a:lnTo>
                      <a:pt x="670" y="178"/>
                    </a:lnTo>
                    <a:lnTo>
                      <a:pt x="670" y="180"/>
                    </a:lnTo>
                    <a:lnTo>
                      <a:pt x="672" y="180"/>
                    </a:lnTo>
                    <a:lnTo>
                      <a:pt x="670" y="182"/>
                    </a:lnTo>
                    <a:lnTo>
                      <a:pt x="672" y="182"/>
                    </a:lnTo>
                    <a:lnTo>
                      <a:pt x="670" y="182"/>
                    </a:lnTo>
                    <a:lnTo>
                      <a:pt x="670" y="184"/>
                    </a:lnTo>
                    <a:lnTo>
                      <a:pt x="670" y="182"/>
                    </a:lnTo>
                    <a:lnTo>
                      <a:pt x="670" y="184"/>
                    </a:lnTo>
                    <a:lnTo>
                      <a:pt x="672" y="184"/>
                    </a:lnTo>
                    <a:lnTo>
                      <a:pt x="670" y="185"/>
                    </a:lnTo>
                    <a:lnTo>
                      <a:pt x="672" y="185"/>
                    </a:lnTo>
                    <a:lnTo>
                      <a:pt x="672" y="187"/>
                    </a:lnTo>
                    <a:lnTo>
                      <a:pt x="673" y="189"/>
                    </a:lnTo>
                    <a:lnTo>
                      <a:pt x="672" y="189"/>
                    </a:lnTo>
                    <a:lnTo>
                      <a:pt x="672" y="190"/>
                    </a:lnTo>
                    <a:lnTo>
                      <a:pt x="672" y="192"/>
                    </a:lnTo>
                    <a:lnTo>
                      <a:pt x="672" y="190"/>
                    </a:lnTo>
                    <a:lnTo>
                      <a:pt x="672" y="192"/>
                    </a:lnTo>
                    <a:lnTo>
                      <a:pt x="670" y="192"/>
                    </a:lnTo>
                    <a:lnTo>
                      <a:pt x="672" y="194"/>
                    </a:lnTo>
                    <a:lnTo>
                      <a:pt x="670" y="194"/>
                    </a:lnTo>
                    <a:lnTo>
                      <a:pt x="670" y="196"/>
                    </a:lnTo>
                    <a:lnTo>
                      <a:pt x="668" y="194"/>
                    </a:lnTo>
                    <a:lnTo>
                      <a:pt x="668" y="196"/>
                    </a:lnTo>
                    <a:lnTo>
                      <a:pt x="670" y="196"/>
                    </a:lnTo>
                    <a:lnTo>
                      <a:pt x="668" y="196"/>
                    </a:lnTo>
                    <a:lnTo>
                      <a:pt x="668" y="197"/>
                    </a:lnTo>
                    <a:lnTo>
                      <a:pt x="668" y="196"/>
                    </a:lnTo>
                    <a:lnTo>
                      <a:pt x="668" y="197"/>
                    </a:lnTo>
                    <a:lnTo>
                      <a:pt x="668" y="199"/>
                    </a:lnTo>
                    <a:lnTo>
                      <a:pt x="666" y="199"/>
                    </a:lnTo>
                    <a:lnTo>
                      <a:pt x="668" y="199"/>
                    </a:lnTo>
                    <a:lnTo>
                      <a:pt x="666" y="199"/>
                    </a:lnTo>
                    <a:lnTo>
                      <a:pt x="666" y="201"/>
                    </a:lnTo>
                    <a:lnTo>
                      <a:pt x="666" y="199"/>
                    </a:lnTo>
                    <a:lnTo>
                      <a:pt x="665" y="199"/>
                    </a:lnTo>
                    <a:lnTo>
                      <a:pt x="665" y="201"/>
                    </a:lnTo>
                    <a:lnTo>
                      <a:pt x="663" y="199"/>
                    </a:lnTo>
                    <a:lnTo>
                      <a:pt x="663" y="201"/>
                    </a:lnTo>
                    <a:lnTo>
                      <a:pt x="661" y="201"/>
                    </a:lnTo>
                    <a:lnTo>
                      <a:pt x="661" y="202"/>
                    </a:lnTo>
                    <a:lnTo>
                      <a:pt x="660" y="202"/>
                    </a:lnTo>
                    <a:lnTo>
                      <a:pt x="660" y="204"/>
                    </a:lnTo>
                    <a:lnTo>
                      <a:pt x="658" y="204"/>
                    </a:lnTo>
                    <a:lnTo>
                      <a:pt x="658" y="206"/>
                    </a:lnTo>
                    <a:lnTo>
                      <a:pt x="656" y="206"/>
                    </a:lnTo>
                    <a:lnTo>
                      <a:pt x="656" y="204"/>
                    </a:lnTo>
                    <a:lnTo>
                      <a:pt x="655" y="204"/>
                    </a:lnTo>
                    <a:lnTo>
                      <a:pt x="655" y="206"/>
                    </a:lnTo>
                    <a:lnTo>
                      <a:pt x="655" y="207"/>
                    </a:lnTo>
                    <a:lnTo>
                      <a:pt x="653" y="209"/>
                    </a:lnTo>
                    <a:lnTo>
                      <a:pt x="653" y="211"/>
                    </a:lnTo>
                    <a:lnTo>
                      <a:pt x="651" y="211"/>
                    </a:lnTo>
                    <a:lnTo>
                      <a:pt x="651" y="209"/>
                    </a:lnTo>
                    <a:lnTo>
                      <a:pt x="649" y="209"/>
                    </a:lnTo>
                    <a:lnTo>
                      <a:pt x="649" y="211"/>
                    </a:lnTo>
                    <a:lnTo>
                      <a:pt x="648" y="211"/>
                    </a:lnTo>
                    <a:lnTo>
                      <a:pt x="648" y="209"/>
                    </a:lnTo>
                    <a:lnTo>
                      <a:pt x="646" y="209"/>
                    </a:lnTo>
                    <a:lnTo>
                      <a:pt x="646" y="211"/>
                    </a:lnTo>
                    <a:lnTo>
                      <a:pt x="646" y="213"/>
                    </a:lnTo>
                    <a:lnTo>
                      <a:pt x="644" y="213"/>
                    </a:lnTo>
                    <a:lnTo>
                      <a:pt x="643" y="213"/>
                    </a:lnTo>
                    <a:lnTo>
                      <a:pt x="643" y="211"/>
                    </a:lnTo>
                    <a:lnTo>
                      <a:pt x="641" y="211"/>
                    </a:lnTo>
                    <a:lnTo>
                      <a:pt x="641" y="213"/>
                    </a:lnTo>
                    <a:lnTo>
                      <a:pt x="641" y="214"/>
                    </a:lnTo>
                    <a:lnTo>
                      <a:pt x="639" y="214"/>
                    </a:lnTo>
                    <a:lnTo>
                      <a:pt x="639" y="213"/>
                    </a:lnTo>
                    <a:lnTo>
                      <a:pt x="638" y="213"/>
                    </a:lnTo>
                    <a:lnTo>
                      <a:pt x="638" y="214"/>
                    </a:lnTo>
                    <a:lnTo>
                      <a:pt x="639" y="214"/>
                    </a:lnTo>
                    <a:lnTo>
                      <a:pt x="638" y="216"/>
                    </a:lnTo>
                    <a:lnTo>
                      <a:pt x="638" y="214"/>
                    </a:lnTo>
                    <a:lnTo>
                      <a:pt x="636" y="214"/>
                    </a:lnTo>
                    <a:lnTo>
                      <a:pt x="636" y="216"/>
                    </a:lnTo>
                    <a:lnTo>
                      <a:pt x="634" y="216"/>
                    </a:lnTo>
                    <a:lnTo>
                      <a:pt x="634" y="214"/>
                    </a:lnTo>
                    <a:lnTo>
                      <a:pt x="632" y="216"/>
                    </a:lnTo>
                    <a:lnTo>
                      <a:pt x="632" y="218"/>
                    </a:lnTo>
                    <a:lnTo>
                      <a:pt x="631" y="218"/>
                    </a:lnTo>
                    <a:lnTo>
                      <a:pt x="631" y="219"/>
                    </a:lnTo>
                    <a:lnTo>
                      <a:pt x="631" y="221"/>
                    </a:lnTo>
                    <a:lnTo>
                      <a:pt x="631" y="223"/>
                    </a:lnTo>
                    <a:lnTo>
                      <a:pt x="629" y="223"/>
                    </a:lnTo>
                    <a:lnTo>
                      <a:pt x="627" y="223"/>
                    </a:lnTo>
                    <a:lnTo>
                      <a:pt x="627" y="224"/>
                    </a:lnTo>
                    <a:lnTo>
                      <a:pt x="626" y="223"/>
                    </a:lnTo>
                    <a:lnTo>
                      <a:pt x="624" y="223"/>
                    </a:lnTo>
                    <a:lnTo>
                      <a:pt x="624" y="224"/>
                    </a:lnTo>
                    <a:lnTo>
                      <a:pt x="626" y="224"/>
                    </a:lnTo>
                    <a:lnTo>
                      <a:pt x="627" y="224"/>
                    </a:lnTo>
                    <a:lnTo>
                      <a:pt x="626" y="226"/>
                    </a:lnTo>
                    <a:lnTo>
                      <a:pt x="624" y="226"/>
                    </a:lnTo>
                    <a:lnTo>
                      <a:pt x="624" y="228"/>
                    </a:lnTo>
                    <a:lnTo>
                      <a:pt x="622" y="228"/>
                    </a:lnTo>
                    <a:lnTo>
                      <a:pt x="622" y="226"/>
                    </a:lnTo>
                    <a:lnTo>
                      <a:pt x="621" y="226"/>
                    </a:lnTo>
                    <a:lnTo>
                      <a:pt x="621" y="228"/>
                    </a:lnTo>
                    <a:lnTo>
                      <a:pt x="619" y="228"/>
                    </a:lnTo>
                    <a:lnTo>
                      <a:pt x="619" y="230"/>
                    </a:lnTo>
                    <a:lnTo>
                      <a:pt x="617" y="228"/>
                    </a:lnTo>
                    <a:lnTo>
                      <a:pt x="615" y="230"/>
                    </a:lnTo>
                    <a:lnTo>
                      <a:pt x="615" y="231"/>
                    </a:lnTo>
                    <a:lnTo>
                      <a:pt x="614" y="231"/>
                    </a:lnTo>
                    <a:lnTo>
                      <a:pt x="615" y="233"/>
                    </a:lnTo>
                    <a:lnTo>
                      <a:pt x="614" y="233"/>
                    </a:lnTo>
                    <a:lnTo>
                      <a:pt x="612" y="235"/>
                    </a:lnTo>
                    <a:lnTo>
                      <a:pt x="610" y="235"/>
                    </a:lnTo>
                    <a:lnTo>
                      <a:pt x="610" y="236"/>
                    </a:lnTo>
                    <a:lnTo>
                      <a:pt x="609" y="236"/>
                    </a:lnTo>
                    <a:lnTo>
                      <a:pt x="609" y="238"/>
                    </a:lnTo>
                    <a:lnTo>
                      <a:pt x="607" y="238"/>
                    </a:lnTo>
                    <a:lnTo>
                      <a:pt x="607" y="236"/>
                    </a:lnTo>
                    <a:lnTo>
                      <a:pt x="607" y="238"/>
                    </a:lnTo>
                    <a:lnTo>
                      <a:pt x="605" y="238"/>
                    </a:lnTo>
                    <a:lnTo>
                      <a:pt x="605" y="240"/>
                    </a:lnTo>
                    <a:lnTo>
                      <a:pt x="604" y="240"/>
                    </a:lnTo>
                    <a:lnTo>
                      <a:pt x="602" y="240"/>
                    </a:lnTo>
                    <a:lnTo>
                      <a:pt x="602" y="241"/>
                    </a:lnTo>
                    <a:lnTo>
                      <a:pt x="602" y="243"/>
                    </a:lnTo>
                    <a:lnTo>
                      <a:pt x="604" y="243"/>
                    </a:lnTo>
                    <a:lnTo>
                      <a:pt x="605" y="243"/>
                    </a:lnTo>
                    <a:lnTo>
                      <a:pt x="605" y="245"/>
                    </a:lnTo>
                    <a:lnTo>
                      <a:pt x="604" y="247"/>
                    </a:lnTo>
                    <a:lnTo>
                      <a:pt x="604" y="248"/>
                    </a:lnTo>
                    <a:lnTo>
                      <a:pt x="604" y="247"/>
                    </a:lnTo>
                    <a:lnTo>
                      <a:pt x="602" y="245"/>
                    </a:lnTo>
                    <a:lnTo>
                      <a:pt x="600" y="245"/>
                    </a:lnTo>
                    <a:lnTo>
                      <a:pt x="598" y="245"/>
                    </a:lnTo>
                    <a:lnTo>
                      <a:pt x="597" y="247"/>
                    </a:lnTo>
                    <a:lnTo>
                      <a:pt x="597" y="248"/>
                    </a:lnTo>
                    <a:lnTo>
                      <a:pt x="598" y="250"/>
                    </a:lnTo>
                    <a:lnTo>
                      <a:pt x="597" y="250"/>
                    </a:lnTo>
                    <a:lnTo>
                      <a:pt x="595" y="250"/>
                    </a:lnTo>
                    <a:lnTo>
                      <a:pt x="593" y="250"/>
                    </a:lnTo>
                    <a:lnTo>
                      <a:pt x="593" y="252"/>
                    </a:lnTo>
                    <a:lnTo>
                      <a:pt x="593" y="253"/>
                    </a:lnTo>
                    <a:lnTo>
                      <a:pt x="593" y="255"/>
                    </a:lnTo>
                    <a:lnTo>
                      <a:pt x="592" y="255"/>
                    </a:lnTo>
                    <a:lnTo>
                      <a:pt x="592" y="257"/>
                    </a:lnTo>
                    <a:lnTo>
                      <a:pt x="590" y="257"/>
                    </a:lnTo>
                    <a:lnTo>
                      <a:pt x="590" y="258"/>
                    </a:lnTo>
                    <a:lnTo>
                      <a:pt x="588" y="258"/>
                    </a:lnTo>
                    <a:lnTo>
                      <a:pt x="588" y="260"/>
                    </a:lnTo>
                    <a:lnTo>
                      <a:pt x="587" y="262"/>
                    </a:lnTo>
                    <a:lnTo>
                      <a:pt x="585" y="262"/>
                    </a:lnTo>
                    <a:lnTo>
                      <a:pt x="583" y="262"/>
                    </a:lnTo>
                    <a:lnTo>
                      <a:pt x="583" y="264"/>
                    </a:lnTo>
                    <a:lnTo>
                      <a:pt x="583" y="265"/>
                    </a:lnTo>
                    <a:lnTo>
                      <a:pt x="583" y="267"/>
                    </a:lnTo>
                    <a:lnTo>
                      <a:pt x="581" y="267"/>
                    </a:lnTo>
                    <a:lnTo>
                      <a:pt x="581" y="269"/>
                    </a:lnTo>
                    <a:lnTo>
                      <a:pt x="580" y="269"/>
                    </a:lnTo>
                    <a:lnTo>
                      <a:pt x="580" y="270"/>
                    </a:lnTo>
                    <a:lnTo>
                      <a:pt x="580" y="272"/>
                    </a:lnTo>
                    <a:lnTo>
                      <a:pt x="580" y="274"/>
                    </a:lnTo>
                    <a:lnTo>
                      <a:pt x="576" y="274"/>
                    </a:lnTo>
                    <a:lnTo>
                      <a:pt x="575" y="274"/>
                    </a:lnTo>
                    <a:lnTo>
                      <a:pt x="575" y="275"/>
                    </a:lnTo>
                    <a:lnTo>
                      <a:pt x="573" y="275"/>
                    </a:lnTo>
                    <a:lnTo>
                      <a:pt x="573" y="277"/>
                    </a:lnTo>
                    <a:lnTo>
                      <a:pt x="571" y="277"/>
                    </a:lnTo>
                    <a:lnTo>
                      <a:pt x="571" y="279"/>
                    </a:lnTo>
                    <a:lnTo>
                      <a:pt x="571" y="281"/>
                    </a:lnTo>
                    <a:lnTo>
                      <a:pt x="570" y="284"/>
                    </a:lnTo>
                    <a:lnTo>
                      <a:pt x="568" y="284"/>
                    </a:lnTo>
                    <a:lnTo>
                      <a:pt x="568" y="286"/>
                    </a:lnTo>
                    <a:lnTo>
                      <a:pt x="568" y="287"/>
                    </a:lnTo>
                    <a:lnTo>
                      <a:pt x="566" y="287"/>
                    </a:lnTo>
                    <a:lnTo>
                      <a:pt x="566" y="289"/>
                    </a:lnTo>
                    <a:lnTo>
                      <a:pt x="564" y="289"/>
                    </a:lnTo>
                    <a:lnTo>
                      <a:pt x="564" y="291"/>
                    </a:lnTo>
                    <a:lnTo>
                      <a:pt x="563" y="291"/>
                    </a:lnTo>
                    <a:lnTo>
                      <a:pt x="563" y="292"/>
                    </a:lnTo>
                    <a:lnTo>
                      <a:pt x="561" y="292"/>
                    </a:lnTo>
                    <a:lnTo>
                      <a:pt x="561" y="294"/>
                    </a:lnTo>
                    <a:lnTo>
                      <a:pt x="561" y="296"/>
                    </a:lnTo>
                    <a:lnTo>
                      <a:pt x="559" y="296"/>
                    </a:lnTo>
                    <a:lnTo>
                      <a:pt x="559" y="298"/>
                    </a:lnTo>
                    <a:lnTo>
                      <a:pt x="558" y="298"/>
                    </a:lnTo>
                    <a:lnTo>
                      <a:pt x="558" y="299"/>
                    </a:lnTo>
                    <a:lnTo>
                      <a:pt x="556" y="299"/>
                    </a:lnTo>
                    <a:lnTo>
                      <a:pt x="554" y="301"/>
                    </a:lnTo>
                    <a:lnTo>
                      <a:pt x="553" y="299"/>
                    </a:lnTo>
                    <a:lnTo>
                      <a:pt x="553" y="301"/>
                    </a:lnTo>
                    <a:lnTo>
                      <a:pt x="551" y="301"/>
                    </a:lnTo>
                    <a:lnTo>
                      <a:pt x="549" y="303"/>
                    </a:lnTo>
                    <a:lnTo>
                      <a:pt x="549" y="304"/>
                    </a:lnTo>
                    <a:lnTo>
                      <a:pt x="549" y="306"/>
                    </a:lnTo>
                    <a:lnTo>
                      <a:pt x="549" y="308"/>
                    </a:lnTo>
                    <a:lnTo>
                      <a:pt x="549" y="309"/>
                    </a:lnTo>
                    <a:lnTo>
                      <a:pt x="547" y="309"/>
                    </a:lnTo>
                    <a:lnTo>
                      <a:pt x="546" y="309"/>
                    </a:lnTo>
                    <a:lnTo>
                      <a:pt x="546" y="311"/>
                    </a:lnTo>
                    <a:lnTo>
                      <a:pt x="544" y="311"/>
                    </a:lnTo>
                    <a:lnTo>
                      <a:pt x="544" y="313"/>
                    </a:lnTo>
                    <a:lnTo>
                      <a:pt x="542" y="315"/>
                    </a:lnTo>
                    <a:lnTo>
                      <a:pt x="541" y="316"/>
                    </a:lnTo>
                    <a:lnTo>
                      <a:pt x="539" y="316"/>
                    </a:lnTo>
                    <a:lnTo>
                      <a:pt x="537" y="316"/>
                    </a:lnTo>
                    <a:lnTo>
                      <a:pt x="539" y="316"/>
                    </a:lnTo>
                    <a:lnTo>
                      <a:pt x="539" y="318"/>
                    </a:lnTo>
                    <a:lnTo>
                      <a:pt x="539" y="320"/>
                    </a:lnTo>
                    <a:lnTo>
                      <a:pt x="539" y="321"/>
                    </a:lnTo>
                    <a:lnTo>
                      <a:pt x="539" y="323"/>
                    </a:lnTo>
                    <a:lnTo>
                      <a:pt x="537" y="323"/>
                    </a:lnTo>
                    <a:lnTo>
                      <a:pt x="536" y="325"/>
                    </a:lnTo>
                    <a:lnTo>
                      <a:pt x="534" y="325"/>
                    </a:lnTo>
                    <a:lnTo>
                      <a:pt x="534" y="326"/>
                    </a:lnTo>
                    <a:lnTo>
                      <a:pt x="532" y="326"/>
                    </a:lnTo>
                    <a:lnTo>
                      <a:pt x="530" y="326"/>
                    </a:lnTo>
                    <a:lnTo>
                      <a:pt x="530" y="328"/>
                    </a:lnTo>
                    <a:lnTo>
                      <a:pt x="530" y="330"/>
                    </a:lnTo>
                    <a:lnTo>
                      <a:pt x="530" y="332"/>
                    </a:lnTo>
                    <a:lnTo>
                      <a:pt x="532" y="333"/>
                    </a:lnTo>
                    <a:lnTo>
                      <a:pt x="532" y="335"/>
                    </a:lnTo>
                    <a:lnTo>
                      <a:pt x="532" y="337"/>
                    </a:lnTo>
                    <a:lnTo>
                      <a:pt x="532" y="338"/>
                    </a:lnTo>
                    <a:lnTo>
                      <a:pt x="532" y="340"/>
                    </a:lnTo>
                    <a:lnTo>
                      <a:pt x="532" y="344"/>
                    </a:lnTo>
                    <a:lnTo>
                      <a:pt x="532" y="345"/>
                    </a:lnTo>
                    <a:lnTo>
                      <a:pt x="530" y="345"/>
                    </a:lnTo>
                    <a:lnTo>
                      <a:pt x="529" y="345"/>
                    </a:lnTo>
                    <a:lnTo>
                      <a:pt x="529" y="347"/>
                    </a:lnTo>
                    <a:lnTo>
                      <a:pt x="530" y="347"/>
                    </a:lnTo>
                    <a:lnTo>
                      <a:pt x="530" y="349"/>
                    </a:lnTo>
                    <a:lnTo>
                      <a:pt x="530" y="350"/>
                    </a:lnTo>
                    <a:lnTo>
                      <a:pt x="530" y="352"/>
                    </a:lnTo>
                    <a:lnTo>
                      <a:pt x="529" y="352"/>
                    </a:lnTo>
                    <a:lnTo>
                      <a:pt x="529" y="354"/>
                    </a:lnTo>
                    <a:lnTo>
                      <a:pt x="529" y="355"/>
                    </a:lnTo>
                    <a:lnTo>
                      <a:pt x="529" y="357"/>
                    </a:lnTo>
                    <a:lnTo>
                      <a:pt x="529" y="359"/>
                    </a:lnTo>
                    <a:lnTo>
                      <a:pt x="527" y="361"/>
                    </a:lnTo>
                    <a:lnTo>
                      <a:pt x="527" y="362"/>
                    </a:lnTo>
                    <a:lnTo>
                      <a:pt x="527" y="364"/>
                    </a:lnTo>
                    <a:lnTo>
                      <a:pt x="525" y="364"/>
                    </a:lnTo>
                    <a:lnTo>
                      <a:pt x="524" y="366"/>
                    </a:lnTo>
                    <a:lnTo>
                      <a:pt x="524" y="367"/>
                    </a:lnTo>
                    <a:lnTo>
                      <a:pt x="525" y="367"/>
                    </a:lnTo>
                    <a:lnTo>
                      <a:pt x="525" y="369"/>
                    </a:lnTo>
                    <a:lnTo>
                      <a:pt x="527" y="369"/>
                    </a:lnTo>
                    <a:lnTo>
                      <a:pt x="527" y="371"/>
                    </a:lnTo>
                    <a:lnTo>
                      <a:pt x="527" y="372"/>
                    </a:lnTo>
                    <a:lnTo>
                      <a:pt x="525" y="376"/>
                    </a:lnTo>
                    <a:lnTo>
                      <a:pt x="525" y="378"/>
                    </a:lnTo>
                    <a:lnTo>
                      <a:pt x="524" y="381"/>
                    </a:lnTo>
                    <a:lnTo>
                      <a:pt x="522" y="381"/>
                    </a:lnTo>
                    <a:lnTo>
                      <a:pt x="520" y="381"/>
                    </a:lnTo>
                    <a:lnTo>
                      <a:pt x="520" y="383"/>
                    </a:lnTo>
                    <a:lnTo>
                      <a:pt x="520" y="384"/>
                    </a:lnTo>
                    <a:lnTo>
                      <a:pt x="520" y="386"/>
                    </a:lnTo>
                    <a:lnTo>
                      <a:pt x="522" y="388"/>
                    </a:lnTo>
                    <a:lnTo>
                      <a:pt x="522" y="389"/>
                    </a:lnTo>
                    <a:lnTo>
                      <a:pt x="522" y="391"/>
                    </a:lnTo>
                    <a:lnTo>
                      <a:pt x="520" y="391"/>
                    </a:lnTo>
                    <a:lnTo>
                      <a:pt x="520" y="393"/>
                    </a:lnTo>
                    <a:lnTo>
                      <a:pt x="520" y="395"/>
                    </a:lnTo>
                    <a:lnTo>
                      <a:pt x="522" y="396"/>
                    </a:lnTo>
                    <a:lnTo>
                      <a:pt x="522" y="398"/>
                    </a:lnTo>
                    <a:lnTo>
                      <a:pt x="524" y="398"/>
                    </a:lnTo>
                    <a:lnTo>
                      <a:pt x="524" y="400"/>
                    </a:lnTo>
                    <a:lnTo>
                      <a:pt x="522" y="400"/>
                    </a:lnTo>
                    <a:lnTo>
                      <a:pt x="522" y="401"/>
                    </a:lnTo>
                    <a:lnTo>
                      <a:pt x="520" y="401"/>
                    </a:lnTo>
                    <a:lnTo>
                      <a:pt x="520" y="403"/>
                    </a:lnTo>
                    <a:lnTo>
                      <a:pt x="520" y="405"/>
                    </a:lnTo>
                    <a:lnTo>
                      <a:pt x="519" y="406"/>
                    </a:lnTo>
                    <a:lnTo>
                      <a:pt x="520" y="406"/>
                    </a:lnTo>
                    <a:lnTo>
                      <a:pt x="520" y="408"/>
                    </a:lnTo>
                    <a:lnTo>
                      <a:pt x="520" y="410"/>
                    </a:lnTo>
                    <a:lnTo>
                      <a:pt x="520" y="412"/>
                    </a:lnTo>
                    <a:lnTo>
                      <a:pt x="522" y="413"/>
                    </a:lnTo>
                    <a:lnTo>
                      <a:pt x="520" y="413"/>
                    </a:lnTo>
                    <a:lnTo>
                      <a:pt x="522" y="413"/>
                    </a:lnTo>
                    <a:lnTo>
                      <a:pt x="522" y="415"/>
                    </a:lnTo>
                    <a:lnTo>
                      <a:pt x="522" y="417"/>
                    </a:lnTo>
                    <a:lnTo>
                      <a:pt x="522" y="418"/>
                    </a:lnTo>
                    <a:lnTo>
                      <a:pt x="522" y="420"/>
                    </a:lnTo>
                    <a:lnTo>
                      <a:pt x="522" y="422"/>
                    </a:lnTo>
                    <a:lnTo>
                      <a:pt x="522" y="423"/>
                    </a:lnTo>
                    <a:lnTo>
                      <a:pt x="524" y="425"/>
                    </a:lnTo>
                    <a:lnTo>
                      <a:pt x="524" y="427"/>
                    </a:lnTo>
                    <a:lnTo>
                      <a:pt x="524" y="429"/>
                    </a:lnTo>
                    <a:lnTo>
                      <a:pt x="522" y="429"/>
                    </a:lnTo>
                    <a:lnTo>
                      <a:pt x="522" y="430"/>
                    </a:lnTo>
                    <a:lnTo>
                      <a:pt x="520" y="430"/>
                    </a:lnTo>
                    <a:lnTo>
                      <a:pt x="519" y="432"/>
                    </a:lnTo>
                    <a:lnTo>
                      <a:pt x="517" y="432"/>
                    </a:lnTo>
                    <a:lnTo>
                      <a:pt x="515" y="432"/>
                    </a:lnTo>
                    <a:lnTo>
                      <a:pt x="513" y="432"/>
                    </a:lnTo>
                    <a:lnTo>
                      <a:pt x="513" y="434"/>
                    </a:lnTo>
                    <a:lnTo>
                      <a:pt x="513" y="439"/>
                    </a:lnTo>
                    <a:lnTo>
                      <a:pt x="513" y="440"/>
                    </a:lnTo>
                    <a:lnTo>
                      <a:pt x="512" y="440"/>
                    </a:lnTo>
                    <a:lnTo>
                      <a:pt x="512" y="442"/>
                    </a:lnTo>
                    <a:lnTo>
                      <a:pt x="510" y="444"/>
                    </a:lnTo>
                    <a:lnTo>
                      <a:pt x="510" y="447"/>
                    </a:lnTo>
                    <a:lnTo>
                      <a:pt x="510" y="449"/>
                    </a:lnTo>
                    <a:lnTo>
                      <a:pt x="510" y="451"/>
                    </a:lnTo>
                    <a:lnTo>
                      <a:pt x="510" y="456"/>
                    </a:lnTo>
                    <a:lnTo>
                      <a:pt x="510" y="457"/>
                    </a:lnTo>
                    <a:lnTo>
                      <a:pt x="512" y="459"/>
                    </a:lnTo>
                    <a:lnTo>
                      <a:pt x="512" y="461"/>
                    </a:lnTo>
                    <a:lnTo>
                      <a:pt x="512" y="463"/>
                    </a:lnTo>
                    <a:lnTo>
                      <a:pt x="512" y="464"/>
                    </a:lnTo>
                    <a:lnTo>
                      <a:pt x="512" y="466"/>
                    </a:lnTo>
                    <a:lnTo>
                      <a:pt x="512" y="468"/>
                    </a:lnTo>
                    <a:lnTo>
                      <a:pt x="513" y="469"/>
                    </a:lnTo>
                    <a:lnTo>
                      <a:pt x="515" y="469"/>
                    </a:lnTo>
                    <a:lnTo>
                      <a:pt x="513" y="469"/>
                    </a:lnTo>
                    <a:lnTo>
                      <a:pt x="513" y="471"/>
                    </a:lnTo>
                    <a:lnTo>
                      <a:pt x="513" y="473"/>
                    </a:lnTo>
                    <a:lnTo>
                      <a:pt x="513" y="474"/>
                    </a:lnTo>
                    <a:lnTo>
                      <a:pt x="513" y="476"/>
                    </a:lnTo>
                    <a:lnTo>
                      <a:pt x="513" y="478"/>
                    </a:lnTo>
                    <a:lnTo>
                      <a:pt x="512" y="480"/>
                    </a:lnTo>
                    <a:lnTo>
                      <a:pt x="510" y="480"/>
                    </a:lnTo>
                    <a:lnTo>
                      <a:pt x="510" y="481"/>
                    </a:lnTo>
                    <a:lnTo>
                      <a:pt x="512" y="481"/>
                    </a:lnTo>
                    <a:lnTo>
                      <a:pt x="512" y="483"/>
                    </a:lnTo>
                    <a:lnTo>
                      <a:pt x="512" y="485"/>
                    </a:lnTo>
                    <a:lnTo>
                      <a:pt x="510" y="483"/>
                    </a:lnTo>
                    <a:lnTo>
                      <a:pt x="510" y="485"/>
                    </a:lnTo>
                    <a:lnTo>
                      <a:pt x="510" y="486"/>
                    </a:lnTo>
                    <a:lnTo>
                      <a:pt x="508" y="486"/>
                    </a:lnTo>
                    <a:lnTo>
                      <a:pt x="508" y="485"/>
                    </a:lnTo>
                    <a:lnTo>
                      <a:pt x="507" y="485"/>
                    </a:lnTo>
                    <a:lnTo>
                      <a:pt x="507" y="486"/>
                    </a:lnTo>
                    <a:lnTo>
                      <a:pt x="508" y="486"/>
                    </a:lnTo>
                    <a:lnTo>
                      <a:pt x="510" y="486"/>
                    </a:lnTo>
                    <a:lnTo>
                      <a:pt x="510" y="488"/>
                    </a:lnTo>
                    <a:lnTo>
                      <a:pt x="510" y="490"/>
                    </a:lnTo>
                    <a:lnTo>
                      <a:pt x="512" y="490"/>
                    </a:lnTo>
                    <a:lnTo>
                      <a:pt x="510" y="490"/>
                    </a:lnTo>
                    <a:lnTo>
                      <a:pt x="512" y="490"/>
                    </a:lnTo>
                    <a:lnTo>
                      <a:pt x="512" y="491"/>
                    </a:lnTo>
                    <a:lnTo>
                      <a:pt x="513" y="491"/>
                    </a:lnTo>
                    <a:lnTo>
                      <a:pt x="513" y="493"/>
                    </a:lnTo>
                    <a:lnTo>
                      <a:pt x="515" y="495"/>
                    </a:lnTo>
                    <a:lnTo>
                      <a:pt x="515" y="493"/>
                    </a:lnTo>
                    <a:lnTo>
                      <a:pt x="515" y="495"/>
                    </a:lnTo>
                    <a:lnTo>
                      <a:pt x="517" y="495"/>
                    </a:lnTo>
                    <a:lnTo>
                      <a:pt x="517" y="497"/>
                    </a:lnTo>
                    <a:lnTo>
                      <a:pt x="519" y="497"/>
                    </a:lnTo>
                    <a:lnTo>
                      <a:pt x="519" y="498"/>
                    </a:lnTo>
                    <a:lnTo>
                      <a:pt x="520" y="498"/>
                    </a:lnTo>
                    <a:lnTo>
                      <a:pt x="522" y="498"/>
                    </a:lnTo>
                    <a:lnTo>
                      <a:pt x="524" y="498"/>
                    </a:lnTo>
                    <a:lnTo>
                      <a:pt x="524" y="500"/>
                    </a:lnTo>
                    <a:lnTo>
                      <a:pt x="525" y="500"/>
                    </a:lnTo>
                    <a:lnTo>
                      <a:pt x="527" y="500"/>
                    </a:lnTo>
                    <a:lnTo>
                      <a:pt x="527" y="502"/>
                    </a:lnTo>
                    <a:lnTo>
                      <a:pt x="529" y="502"/>
                    </a:lnTo>
                    <a:lnTo>
                      <a:pt x="529" y="503"/>
                    </a:lnTo>
                    <a:lnTo>
                      <a:pt x="529" y="502"/>
                    </a:lnTo>
                    <a:lnTo>
                      <a:pt x="530" y="503"/>
                    </a:lnTo>
                    <a:lnTo>
                      <a:pt x="530" y="502"/>
                    </a:lnTo>
                    <a:lnTo>
                      <a:pt x="532" y="503"/>
                    </a:lnTo>
                    <a:lnTo>
                      <a:pt x="534" y="505"/>
                    </a:lnTo>
                    <a:lnTo>
                      <a:pt x="536" y="505"/>
                    </a:lnTo>
                    <a:lnTo>
                      <a:pt x="536" y="507"/>
                    </a:lnTo>
                    <a:lnTo>
                      <a:pt x="537" y="507"/>
                    </a:lnTo>
                    <a:lnTo>
                      <a:pt x="539" y="507"/>
                    </a:lnTo>
                    <a:lnTo>
                      <a:pt x="539" y="509"/>
                    </a:lnTo>
                    <a:lnTo>
                      <a:pt x="541" y="509"/>
                    </a:lnTo>
                    <a:lnTo>
                      <a:pt x="542" y="510"/>
                    </a:lnTo>
                    <a:lnTo>
                      <a:pt x="544" y="510"/>
                    </a:lnTo>
                    <a:lnTo>
                      <a:pt x="544" y="512"/>
                    </a:lnTo>
                    <a:lnTo>
                      <a:pt x="546" y="512"/>
                    </a:lnTo>
                    <a:lnTo>
                      <a:pt x="546" y="514"/>
                    </a:lnTo>
                    <a:lnTo>
                      <a:pt x="547" y="514"/>
                    </a:lnTo>
                    <a:lnTo>
                      <a:pt x="547" y="515"/>
                    </a:lnTo>
                    <a:lnTo>
                      <a:pt x="549" y="515"/>
                    </a:lnTo>
                    <a:lnTo>
                      <a:pt x="549" y="517"/>
                    </a:lnTo>
                    <a:lnTo>
                      <a:pt x="551" y="517"/>
                    </a:lnTo>
                    <a:lnTo>
                      <a:pt x="551" y="519"/>
                    </a:lnTo>
                    <a:lnTo>
                      <a:pt x="553" y="520"/>
                    </a:lnTo>
                    <a:lnTo>
                      <a:pt x="553" y="522"/>
                    </a:lnTo>
                    <a:lnTo>
                      <a:pt x="554" y="522"/>
                    </a:lnTo>
                    <a:lnTo>
                      <a:pt x="554" y="524"/>
                    </a:lnTo>
                    <a:lnTo>
                      <a:pt x="554" y="526"/>
                    </a:lnTo>
                    <a:lnTo>
                      <a:pt x="556" y="526"/>
                    </a:lnTo>
                    <a:lnTo>
                      <a:pt x="556" y="527"/>
                    </a:lnTo>
                    <a:lnTo>
                      <a:pt x="556" y="529"/>
                    </a:lnTo>
                    <a:lnTo>
                      <a:pt x="554" y="529"/>
                    </a:lnTo>
                    <a:lnTo>
                      <a:pt x="554" y="531"/>
                    </a:lnTo>
                    <a:lnTo>
                      <a:pt x="553" y="531"/>
                    </a:lnTo>
                    <a:lnTo>
                      <a:pt x="553" y="532"/>
                    </a:lnTo>
                    <a:lnTo>
                      <a:pt x="551" y="534"/>
                    </a:lnTo>
                    <a:lnTo>
                      <a:pt x="551" y="536"/>
                    </a:lnTo>
                    <a:lnTo>
                      <a:pt x="549" y="537"/>
                    </a:lnTo>
                    <a:lnTo>
                      <a:pt x="549" y="539"/>
                    </a:lnTo>
                    <a:lnTo>
                      <a:pt x="547" y="539"/>
                    </a:lnTo>
                    <a:lnTo>
                      <a:pt x="549" y="539"/>
                    </a:lnTo>
                    <a:lnTo>
                      <a:pt x="547" y="539"/>
                    </a:lnTo>
                    <a:lnTo>
                      <a:pt x="547" y="541"/>
                    </a:lnTo>
                    <a:lnTo>
                      <a:pt x="547" y="543"/>
                    </a:lnTo>
                    <a:lnTo>
                      <a:pt x="547" y="544"/>
                    </a:lnTo>
                    <a:lnTo>
                      <a:pt x="547" y="546"/>
                    </a:lnTo>
                    <a:lnTo>
                      <a:pt x="547" y="548"/>
                    </a:lnTo>
                    <a:lnTo>
                      <a:pt x="547" y="549"/>
                    </a:lnTo>
                    <a:lnTo>
                      <a:pt x="547" y="551"/>
                    </a:lnTo>
                    <a:lnTo>
                      <a:pt x="549" y="551"/>
                    </a:lnTo>
                    <a:lnTo>
                      <a:pt x="549" y="553"/>
                    </a:lnTo>
                    <a:lnTo>
                      <a:pt x="549" y="554"/>
                    </a:lnTo>
                    <a:lnTo>
                      <a:pt x="551" y="554"/>
                    </a:lnTo>
                    <a:lnTo>
                      <a:pt x="551" y="556"/>
                    </a:lnTo>
                    <a:lnTo>
                      <a:pt x="551" y="558"/>
                    </a:lnTo>
                    <a:lnTo>
                      <a:pt x="553" y="558"/>
                    </a:lnTo>
                    <a:lnTo>
                      <a:pt x="553" y="560"/>
                    </a:lnTo>
                    <a:lnTo>
                      <a:pt x="554" y="560"/>
                    </a:lnTo>
                    <a:lnTo>
                      <a:pt x="554" y="561"/>
                    </a:lnTo>
                    <a:lnTo>
                      <a:pt x="556" y="561"/>
                    </a:lnTo>
                    <a:lnTo>
                      <a:pt x="556" y="563"/>
                    </a:lnTo>
                    <a:lnTo>
                      <a:pt x="558" y="563"/>
                    </a:lnTo>
                    <a:lnTo>
                      <a:pt x="559" y="565"/>
                    </a:lnTo>
                    <a:lnTo>
                      <a:pt x="561" y="565"/>
                    </a:lnTo>
                    <a:lnTo>
                      <a:pt x="563" y="565"/>
                    </a:lnTo>
                    <a:lnTo>
                      <a:pt x="564" y="565"/>
                    </a:lnTo>
                    <a:lnTo>
                      <a:pt x="566" y="565"/>
                    </a:lnTo>
                    <a:lnTo>
                      <a:pt x="568" y="565"/>
                    </a:lnTo>
                    <a:lnTo>
                      <a:pt x="568" y="563"/>
                    </a:lnTo>
                    <a:lnTo>
                      <a:pt x="570" y="563"/>
                    </a:lnTo>
                    <a:lnTo>
                      <a:pt x="570" y="565"/>
                    </a:lnTo>
                    <a:lnTo>
                      <a:pt x="570" y="566"/>
                    </a:lnTo>
                    <a:lnTo>
                      <a:pt x="570" y="568"/>
                    </a:lnTo>
                    <a:lnTo>
                      <a:pt x="571" y="571"/>
                    </a:lnTo>
                    <a:lnTo>
                      <a:pt x="571" y="573"/>
                    </a:lnTo>
                    <a:lnTo>
                      <a:pt x="571" y="575"/>
                    </a:lnTo>
                    <a:lnTo>
                      <a:pt x="571" y="577"/>
                    </a:lnTo>
                    <a:lnTo>
                      <a:pt x="571" y="578"/>
                    </a:lnTo>
                    <a:lnTo>
                      <a:pt x="571" y="580"/>
                    </a:lnTo>
                    <a:lnTo>
                      <a:pt x="571" y="582"/>
                    </a:lnTo>
                    <a:lnTo>
                      <a:pt x="571" y="583"/>
                    </a:lnTo>
                    <a:lnTo>
                      <a:pt x="571" y="585"/>
                    </a:lnTo>
                    <a:lnTo>
                      <a:pt x="571" y="587"/>
                    </a:lnTo>
                    <a:lnTo>
                      <a:pt x="571" y="588"/>
                    </a:lnTo>
                    <a:lnTo>
                      <a:pt x="570" y="590"/>
                    </a:lnTo>
                    <a:lnTo>
                      <a:pt x="568" y="592"/>
                    </a:lnTo>
                    <a:lnTo>
                      <a:pt x="568" y="594"/>
                    </a:lnTo>
                    <a:lnTo>
                      <a:pt x="566" y="595"/>
                    </a:lnTo>
                    <a:lnTo>
                      <a:pt x="566" y="597"/>
                    </a:lnTo>
                    <a:lnTo>
                      <a:pt x="564" y="599"/>
                    </a:lnTo>
                    <a:lnTo>
                      <a:pt x="563" y="600"/>
                    </a:lnTo>
                    <a:lnTo>
                      <a:pt x="563" y="602"/>
                    </a:lnTo>
                    <a:lnTo>
                      <a:pt x="561" y="604"/>
                    </a:lnTo>
                    <a:lnTo>
                      <a:pt x="561" y="605"/>
                    </a:lnTo>
                    <a:lnTo>
                      <a:pt x="559" y="605"/>
                    </a:lnTo>
                    <a:lnTo>
                      <a:pt x="559" y="607"/>
                    </a:lnTo>
                    <a:lnTo>
                      <a:pt x="558" y="609"/>
                    </a:lnTo>
                    <a:lnTo>
                      <a:pt x="558" y="611"/>
                    </a:lnTo>
                    <a:lnTo>
                      <a:pt x="558" y="612"/>
                    </a:lnTo>
                    <a:lnTo>
                      <a:pt x="556" y="612"/>
                    </a:lnTo>
                    <a:lnTo>
                      <a:pt x="556" y="614"/>
                    </a:lnTo>
                    <a:lnTo>
                      <a:pt x="554" y="614"/>
                    </a:lnTo>
                    <a:lnTo>
                      <a:pt x="554" y="616"/>
                    </a:lnTo>
                    <a:lnTo>
                      <a:pt x="553" y="617"/>
                    </a:lnTo>
                    <a:lnTo>
                      <a:pt x="551" y="619"/>
                    </a:lnTo>
                    <a:lnTo>
                      <a:pt x="549" y="621"/>
                    </a:lnTo>
                    <a:lnTo>
                      <a:pt x="547" y="622"/>
                    </a:lnTo>
                    <a:lnTo>
                      <a:pt x="546" y="624"/>
                    </a:lnTo>
                    <a:lnTo>
                      <a:pt x="546" y="626"/>
                    </a:lnTo>
                    <a:lnTo>
                      <a:pt x="544" y="626"/>
                    </a:lnTo>
                    <a:lnTo>
                      <a:pt x="544" y="628"/>
                    </a:lnTo>
                    <a:lnTo>
                      <a:pt x="542" y="629"/>
                    </a:lnTo>
                    <a:lnTo>
                      <a:pt x="542" y="631"/>
                    </a:lnTo>
                    <a:lnTo>
                      <a:pt x="542" y="633"/>
                    </a:lnTo>
                    <a:lnTo>
                      <a:pt x="542" y="634"/>
                    </a:lnTo>
                    <a:lnTo>
                      <a:pt x="542" y="636"/>
                    </a:lnTo>
                    <a:lnTo>
                      <a:pt x="542" y="638"/>
                    </a:lnTo>
                    <a:lnTo>
                      <a:pt x="542" y="636"/>
                    </a:lnTo>
                    <a:lnTo>
                      <a:pt x="542" y="638"/>
                    </a:lnTo>
                    <a:lnTo>
                      <a:pt x="542" y="639"/>
                    </a:lnTo>
                    <a:lnTo>
                      <a:pt x="541" y="639"/>
                    </a:lnTo>
                    <a:lnTo>
                      <a:pt x="539" y="641"/>
                    </a:lnTo>
                    <a:lnTo>
                      <a:pt x="539" y="643"/>
                    </a:lnTo>
                    <a:lnTo>
                      <a:pt x="537" y="643"/>
                    </a:lnTo>
                    <a:lnTo>
                      <a:pt x="537" y="645"/>
                    </a:lnTo>
                    <a:lnTo>
                      <a:pt x="536" y="645"/>
                    </a:lnTo>
                    <a:lnTo>
                      <a:pt x="534" y="645"/>
                    </a:lnTo>
                    <a:lnTo>
                      <a:pt x="534" y="646"/>
                    </a:lnTo>
                    <a:lnTo>
                      <a:pt x="532" y="646"/>
                    </a:lnTo>
                    <a:lnTo>
                      <a:pt x="532" y="648"/>
                    </a:lnTo>
                    <a:lnTo>
                      <a:pt x="530" y="648"/>
                    </a:lnTo>
                    <a:lnTo>
                      <a:pt x="529" y="648"/>
                    </a:lnTo>
                    <a:lnTo>
                      <a:pt x="527" y="650"/>
                    </a:lnTo>
                    <a:lnTo>
                      <a:pt x="525" y="650"/>
                    </a:lnTo>
                    <a:lnTo>
                      <a:pt x="525" y="651"/>
                    </a:lnTo>
                    <a:lnTo>
                      <a:pt x="524" y="651"/>
                    </a:lnTo>
                    <a:lnTo>
                      <a:pt x="522" y="653"/>
                    </a:lnTo>
                    <a:lnTo>
                      <a:pt x="520" y="653"/>
                    </a:lnTo>
                    <a:lnTo>
                      <a:pt x="519" y="655"/>
                    </a:lnTo>
                    <a:lnTo>
                      <a:pt x="517" y="655"/>
                    </a:lnTo>
                    <a:lnTo>
                      <a:pt x="515" y="655"/>
                    </a:lnTo>
                    <a:lnTo>
                      <a:pt x="515" y="656"/>
                    </a:lnTo>
                    <a:lnTo>
                      <a:pt x="513" y="656"/>
                    </a:lnTo>
                    <a:lnTo>
                      <a:pt x="512" y="656"/>
                    </a:lnTo>
                    <a:lnTo>
                      <a:pt x="510" y="658"/>
                    </a:lnTo>
                    <a:lnTo>
                      <a:pt x="508" y="658"/>
                    </a:lnTo>
                    <a:lnTo>
                      <a:pt x="507" y="658"/>
                    </a:lnTo>
                    <a:lnTo>
                      <a:pt x="507" y="660"/>
                    </a:lnTo>
                    <a:lnTo>
                      <a:pt x="505" y="660"/>
                    </a:lnTo>
                    <a:lnTo>
                      <a:pt x="503" y="660"/>
                    </a:lnTo>
                    <a:lnTo>
                      <a:pt x="502" y="660"/>
                    </a:lnTo>
                    <a:lnTo>
                      <a:pt x="500" y="662"/>
                    </a:lnTo>
                    <a:lnTo>
                      <a:pt x="498" y="662"/>
                    </a:lnTo>
                    <a:lnTo>
                      <a:pt x="496" y="663"/>
                    </a:lnTo>
                    <a:lnTo>
                      <a:pt x="495" y="663"/>
                    </a:lnTo>
                    <a:lnTo>
                      <a:pt x="493" y="663"/>
                    </a:lnTo>
                    <a:lnTo>
                      <a:pt x="491" y="665"/>
                    </a:lnTo>
                    <a:lnTo>
                      <a:pt x="490" y="665"/>
                    </a:lnTo>
                    <a:lnTo>
                      <a:pt x="488" y="665"/>
                    </a:lnTo>
                    <a:lnTo>
                      <a:pt x="486" y="665"/>
                    </a:lnTo>
                    <a:lnTo>
                      <a:pt x="485" y="667"/>
                    </a:lnTo>
                    <a:lnTo>
                      <a:pt x="483" y="667"/>
                    </a:lnTo>
                    <a:lnTo>
                      <a:pt x="481" y="667"/>
                    </a:lnTo>
                    <a:lnTo>
                      <a:pt x="479" y="667"/>
                    </a:lnTo>
                    <a:lnTo>
                      <a:pt x="479" y="668"/>
                    </a:lnTo>
                    <a:lnTo>
                      <a:pt x="478" y="668"/>
                    </a:lnTo>
                    <a:lnTo>
                      <a:pt x="476" y="668"/>
                    </a:lnTo>
                    <a:lnTo>
                      <a:pt x="474" y="668"/>
                    </a:lnTo>
                    <a:lnTo>
                      <a:pt x="473" y="668"/>
                    </a:lnTo>
                    <a:lnTo>
                      <a:pt x="471" y="668"/>
                    </a:lnTo>
                    <a:lnTo>
                      <a:pt x="469" y="670"/>
                    </a:lnTo>
                    <a:lnTo>
                      <a:pt x="468" y="670"/>
                    </a:lnTo>
                    <a:lnTo>
                      <a:pt x="466" y="670"/>
                    </a:lnTo>
                    <a:lnTo>
                      <a:pt x="464" y="672"/>
                    </a:lnTo>
                    <a:lnTo>
                      <a:pt x="462" y="672"/>
                    </a:lnTo>
                    <a:lnTo>
                      <a:pt x="461" y="672"/>
                    </a:lnTo>
                    <a:lnTo>
                      <a:pt x="459" y="672"/>
                    </a:lnTo>
                    <a:lnTo>
                      <a:pt x="457" y="672"/>
                    </a:lnTo>
                    <a:lnTo>
                      <a:pt x="456" y="672"/>
                    </a:lnTo>
                    <a:lnTo>
                      <a:pt x="454" y="672"/>
                    </a:lnTo>
                    <a:lnTo>
                      <a:pt x="454" y="674"/>
                    </a:lnTo>
                    <a:lnTo>
                      <a:pt x="452" y="674"/>
                    </a:lnTo>
                    <a:lnTo>
                      <a:pt x="449" y="674"/>
                    </a:lnTo>
                    <a:lnTo>
                      <a:pt x="447" y="674"/>
                    </a:lnTo>
                    <a:lnTo>
                      <a:pt x="445" y="675"/>
                    </a:lnTo>
                    <a:lnTo>
                      <a:pt x="444" y="675"/>
                    </a:lnTo>
                    <a:lnTo>
                      <a:pt x="442" y="675"/>
                    </a:lnTo>
                    <a:lnTo>
                      <a:pt x="440" y="675"/>
                    </a:lnTo>
                    <a:lnTo>
                      <a:pt x="439" y="675"/>
                    </a:lnTo>
                    <a:lnTo>
                      <a:pt x="435" y="677"/>
                    </a:lnTo>
                    <a:lnTo>
                      <a:pt x="434" y="677"/>
                    </a:lnTo>
                    <a:lnTo>
                      <a:pt x="432" y="677"/>
                    </a:lnTo>
                    <a:lnTo>
                      <a:pt x="430" y="677"/>
                    </a:lnTo>
                    <a:lnTo>
                      <a:pt x="428" y="677"/>
                    </a:lnTo>
                    <a:lnTo>
                      <a:pt x="427" y="677"/>
                    </a:lnTo>
                    <a:lnTo>
                      <a:pt x="425" y="677"/>
                    </a:lnTo>
                    <a:lnTo>
                      <a:pt x="423" y="679"/>
                    </a:lnTo>
                    <a:lnTo>
                      <a:pt x="422" y="679"/>
                    </a:lnTo>
                    <a:lnTo>
                      <a:pt x="420" y="679"/>
                    </a:lnTo>
                    <a:lnTo>
                      <a:pt x="418" y="679"/>
                    </a:lnTo>
                    <a:lnTo>
                      <a:pt x="417" y="679"/>
                    </a:lnTo>
                    <a:lnTo>
                      <a:pt x="415" y="679"/>
                    </a:lnTo>
                    <a:lnTo>
                      <a:pt x="411" y="679"/>
                    </a:lnTo>
                    <a:lnTo>
                      <a:pt x="410" y="679"/>
                    </a:lnTo>
                    <a:lnTo>
                      <a:pt x="408" y="679"/>
                    </a:lnTo>
                    <a:lnTo>
                      <a:pt x="406" y="679"/>
                    </a:lnTo>
                    <a:lnTo>
                      <a:pt x="405" y="679"/>
                    </a:lnTo>
                    <a:lnTo>
                      <a:pt x="403" y="679"/>
                    </a:lnTo>
                    <a:lnTo>
                      <a:pt x="401" y="677"/>
                    </a:lnTo>
                    <a:lnTo>
                      <a:pt x="400" y="677"/>
                    </a:lnTo>
                    <a:lnTo>
                      <a:pt x="398" y="679"/>
                    </a:lnTo>
                    <a:lnTo>
                      <a:pt x="396" y="677"/>
                    </a:lnTo>
                    <a:lnTo>
                      <a:pt x="394" y="677"/>
                    </a:lnTo>
                    <a:lnTo>
                      <a:pt x="393" y="677"/>
                    </a:lnTo>
                    <a:lnTo>
                      <a:pt x="393" y="675"/>
                    </a:lnTo>
                    <a:lnTo>
                      <a:pt x="391" y="675"/>
                    </a:lnTo>
                    <a:lnTo>
                      <a:pt x="389" y="675"/>
                    </a:lnTo>
                    <a:lnTo>
                      <a:pt x="389" y="674"/>
                    </a:lnTo>
                    <a:lnTo>
                      <a:pt x="388" y="674"/>
                    </a:lnTo>
                    <a:lnTo>
                      <a:pt x="388" y="672"/>
                    </a:lnTo>
                    <a:lnTo>
                      <a:pt x="386" y="670"/>
                    </a:lnTo>
                    <a:lnTo>
                      <a:pt x="384" y="670"/>
                    </a:lnTo>
                    <a:lnTo>
                      <a:pt x="383" y="668"/>
                    </a:lnTo>
                    <a:lnTo>
                      <a:pt x="383" y="670"/>
                    </a:lnTo>
                    <a:lnTo>
                      <a:pt x="381" y="668"/>
                    </a:lnTo>
                    <a:lnTo>
                      <a:pt x="379" y="668"/>
                    </a:lnTo>
                    <a:lnTo>
                      <a:pt x="381" y="668"/>
                    </a:lnTo>
                    <a:lnTo>
                      <a:pt x="381" y="670"/>
                    </a:lnTo>
                    <a:lnTo>
                      <a:pt x="379" y="670"/>
                    </a:lnTo>
                    <a:lnTo>
                      <a:pt x="379" y="672"/>
                    </a:lnTo>
                    <a:lnTo>
                      <a:pt x="381" y="670"/>
                    </a:lnTo>
                    <a:lnTo>
                      <a:pt x="381" y="672"/>
                    </a:lnTo>
                    <a:lnTo>
                      <a:pt x="383" y="672"/>
                    </a:lnTo>
                    <a:lnTo>
                      <a:pt x="381" y="672"/>
                    </a:lnTo>
                    <a:lnTo>
                      <a:pt x="379" y="672"/>
                    </a:lnTo>
                    <a:lnTo>
                      <a:pt x="379" y="674"/>
                    </a:lnTo>
                    <a:lnTo>
                      <a:pt x="381" y="674"/>
                    </a:lnTo>
                    <a:lnTo>
                      <a:pt x="379" y="675"/>
                    </a:lnTo>
                    <a:lnTo>
                      <a:pt x="379" y="677"/>
                    </a:lnTo>
                    <a:lnTo>
                      <a:pt x="381" y="677"/>
                    </a:lnTo>
                    <a:lnTo>
                      <a:pt x="383" y="677"/>
                    </a:lnTo>
                    <a:lnTo>
                      <a:pt x="384" y="677"/>
                    </a:lnTo>
                    <a:lnTo>
                      <a:pt x="386" y="679"/>
                    </a:lnTo>
                    <a:lnTo>
                      <a:pt x="384" y="679"/>
                    </a:lnTo>
                    <a:lnTo>
                      <a:pt x="383" y="680"/>
                    </a:lnTo>
                    <a:lnTo>
                      <a:pt x="381" y="680"/>
                    </a:lnTo>
                    <a:lnTo>
                      <a:pt x="381" y="682"/>
                    </a:lnTo>
                    <a:lnTo>
                      <a:pt x="381" y="684"/>
                    </a:lnTo>
                    <a:lnTo>
                      <a:pt x="381" y="685"/>
                    </a:lnTo>
                    <a:lnTo>
                      <a:pt x="381" y="687"/>
                    </a:lnTo>
                    <a:lnTo>
                      <a:pt x="381" y="689"/>
                    </a:lnTo>
                    <a:lnTo>
                      <a:pt x="383" y="689"/>
                    </a:lnTo>
                    <a:lnTo>
                      <a:pt x="381" y="689"/>
                    </a:lnTo>
                    <a:lnTo>
                      <a:pt x="381" y="691"/>
                    </a:lnTo>
                    <a:lnTo>
                      <a:pt x="383" y="691"/>
                    </a:lnTo>
                    <a:lnTo>
                      <a:pt x="384" y="691"/>
                    </a:lnTo>
                    <a:lnTo>
                      <a:pt x="386" y="691"/>
                    </a:lnTo>
                    <a:lnTo>
                      <a:pt x="388" y="691"/>
                    </a:lnTo>
                    <a:lnTo>
                      <a:pt x="388" y="692"/>
                    </a:lnTo>
                    <a:lnTo>
                      <a:pt x="389" y="692"/>
                    </a:lnTo>
                    <a:lnTo>
                      <a:pt x="389" y="694"/>
                    </a:lnTo>
                    <a:lnTo>
                      <a:pt x="391" y="694"/>
                    </a:lnTo>
                    <a:lnTo>
                      <a:pt x="391" y="696"/>
                    </a:lnTo>
                    <a:lnTo>
                      <a:pt x="391" y="697"/>
                    </a:lnTo>
                    <a:lnTo>
                      <a:pt x="389" y="696"/>
                    </a:lnTo>
                    <a:lnTo>
                      <a:pt x="388" y="696"/>
                    </a:lnTo>
                    <a:lnTo>
                      <a:pt x="388" y="694"/>
                    </a:lnTo>
                    <a:lnTo>
                      <a:pt x="386" y="694"/>
                    </a:lnTo>
                    <a:lnTo>
                      <a:pt x="386" y="692"/>
                    </a:lnTo>
                    <a:lnTo>
                      <a:pt x="384" y="691"/>
                    </a:lnTo>
                    <a:lnTo>
                      <a:pt x="384" y="692"/>
                    </a:lnTo>
                    <a:lnTo>
                      <a:pt x="384" y="691"/>
                    </a:lnTo>
                    <a:lnTo>
                      <a:pt x="383" y="692"/>
                    </a:lnTo>
                    <a:lnTo>
                      <a:pt x="384" y="692"/>
                    </a:lnTo>
                    <a:lnTo>
                      <a:pt x="384" y="694"/>
                    </a:lnTo>
                    <a:lnTo>
                      <a:pt x="386" y="694"/>
                    </a:lnTo>
                    <a:lnTo>
                      <a:pt x="386" y="696"/>
                    </a:lnTo>
                    <a:lnTo>
                      <a:pt x="388" y="696"/>
                    </a:lnTo>
                    <a:lnTo>
                      <a:pt x="388" y="697"/>
                    </a:lnTo>
                    <a:lnTo>
                      <a:pt x="389" y="697"/>
                    </a:lnTo>
                    <a:lnTo>
                      <a:pt x="389" y="699"/>
                    </a:lnTo>
                    <a:lnTo>
                      <a:pt x="389" y="701"/>
                    </a:lnTo>
                    <a:lnTo>
                      <a:pt x="389" y="702"/>
                    </a:lnTo>
                    <a:lnTo>
                      <a:pt x="388" y="702"/>
                    </a:lnTo>
                    <a:lnTo>
                      <a:pt x="388" y="704"/>
                    </a:lnTo>
                    <a:lnTo>
                      <a:pt x="388" y="706"/>
                    </a:lnTo>
                    <a:lnTo>
                      <a:pt x="388" y="708"/>
                    </a:lnTo>
                    <a:lnTo>
                      <a:pt x="388" y="709"/>
                    </a:lnTo>
                    <a:lnTo>
                      <a:pt x="388" y="711"/>
                    </a:lnTo>
                    <a:lnTo>
                      <a:pt x="388" y="713"/>
                    </a:lnTo>
                    <a:lnTo>
                      <a:pt x="388" y="714"/>
                    </a:lnTo>
                    <a:lnTo>
                      <a:pt x="388" y="716"/>
                    </a:lnTo>
                    <a:lnTo>
                      <a:pt x="388" y="718"/>
                    </a:lnTo>
                    <a:lnTo>
                      <a:pt x="386" y="718"/>
                    </a:lnTo>
                    <a:lnTo>
                      <a:pt x="386" y="716"/>
                    </a:lnTo>
                    <a:lnTo>
                      <a:pt x="384" y="716"/>
                    </a:lnTo>
                    <a:lnTo>
                      <a:pt x="384" y="718"/>
                    </a:lnTo>
                    <a:lnTo>
                      <a:pt x="383" y="718"/>
                    </a:lnTo>
                    <a:lnTo>
                      <a:pt x="383" y="716"/>
                    </a:lnTo>
                    <a:lnTo>
                      <a:pt x="381" y="716"/>
                    </a:lnTo>
                    <a:lnTo>
                      <a:pt x="381" y="718"/>
                    </a:lnTo>
                    <a:lnTo>
                      <a:pt x="381" y="719"/>
                    </a:lnTo>
                    <a:lnTo>
                      <a:pt x="381" y="721"/>
                    </a:lnTo>
                    <a:lnTo>
                      <a:pt x="381" y="723"/>
                    </a:lnTo>
                    <a:lnTo>
                      <a:pt x="379" y="723"/>
                    </a:lnTo>
                    <a:lnTo>
                      <a:pt x="379" y="725"/>
                    </a:lnTo>
                    <a:lnTo>
                      <a:pt x="379" y="726"/>
                    </a:lnTo>
                    <a:lnTo>
                      <a:pt x="379" y="728"/>
                    </a:lnTo>
                    <a:lnTo>
                      <a:pt x="381" y="728"/>
                    </a:lnTo>
                    <a:lnTo>
                      <a:pt x="381" y="730"/>
                    </a:lnTo>
                    <a:lnTo>
                      <a:pt x="379" y="730"/>
                    </a:lnTo>
                    <a:lnTo>
                      <a:pt x="379" y="731"/>
                    </a:lnTo>
                    <a:lnTo>
                      <a:pt x="377" y="731"/>
                    </a:lnTo>
                    <a:lnTo>
                      <a:pt x="377" y="733"/>
                    </a:lnTo>
                    <a:lnTo>
                      <a:pt x="376" y="733"/>
                    </a:lnTo>
                    <a:lnTo>
                      <a:pt x="376" y="735"/>
                    </a:lnTo>
                    <a:lnTo>
                      <a:pt x="374" y="735"/>
                    </a:lnTo>
                    <a:lnTo>
                      <a:pt x="374" y="736"/>
                    </a:lnTo>
                    <a:lnTo>
                      <a:pt x="376" y="738"/>
                    </a:lnTo>
                    <a:lnTo>
                      <a:pt x="376" y="740"/>
                    </a:lnTo>
                    <a:lnTo>
                      <a:pt x="376" y="742"/>
                    </a:lnTo>
                    <a:lnTo>
                      <a:pt x="377" y="742"/>
                    </a:lnTo>
                    <a:lnTo>
                      <a:pt x="377" y="743"/>
                    </a:lnTo>
                    <a:lnTo>
                      <a:pt x="379" y="743"/>
                    </a:lnTo>
                    <a:lnTo>
                      <a:pt x="381" y="745"/>
                    </a:lnTo>
                    <a:lnTo>
                      <a:pt x="383" y="747"/>
                    </a:lnTo>
                    <a:lnTo>
                      <a:pt x="384" y="747"/>
                    </a:lnTo>
                    <a:lnTo>
                      <a:pt x="384" y="748"/>
                    </a:lnTo>
                    <a:lnTo>
                      <a:pt x="386" y="748"/>
                    </a:lnTo>
                    <a:lnTo>
                      <a:pt x="386" y="750"/>
                    </a:lnTo>
                    <a:lnTo>
                      <a:pt x="384" y="752"/>
                    </a:lnTo>
                    <a:lnTo>
                      <a:pt x="383" y="753"/>
                    </a:lnTo>
                    <a:lnTo>
                      <a:pt x="383" y="755"/>
                    </a:lnTo>
                    <a:lnTo>
                      <a:pt x="383" y="757"/>
                    </a:lnTo>
                    <a:lnTo>
                      <a:pt x="381" y="759"/>
                    </a:lnTo>
                    <a:lnTo>
                      <a:pt x="381" y="760"/>
                    </a:lnTo>
                    <a:lnTo>
                      <a:pt x="379" y="762"/>
                    </a:lnTo>
                    <a:lnTo>
                      <a:pt x="377" y="762"/>
                    </a:lnTo>
                    <a:lnTo>
                      <a:pt x="377" y="764"/>
                    </a:lnTo>
                    <a:lnTo>
                      <a:pt x="376" y="764"/>
                    </a:lnTo>
                    <a:lnTo>
                      <a:pt x="374" y="764"/>
                    </a:lnTo>
                    <a:lnTo>
                      <a:pt x="372" y="764"/>
                    </a:lnTo>
                    <a:lnTo>
                      <a:pt x="372" y="765"/>
                    </a:lnTo>
                    <a:lnTo>
                      <a:pt x="371" y="765"/>
                    </a:lnTo>
                    <a:lnTo>
                      <a:pt x="369" y="767"/>
                    </a:lnTo>
                    <a:lnTo>
                      <a:pt x="367" y="767"/>
                    </a:lnTo>
                    <a:lnTo>
                      <a:pt x="367" y="769"/>
                    </a:lnTo>
                    <a:lnTo>
                      <a:pt x="366" y="769"/>
                    </a:lnTo>
                    <a:lnTo>
                      <a:pt x="366" y="767"/>
                    </a:lnTo>
                    <a:lnTo>
                      <a:pt x="364" y="767"/>
                    </a:lnTo>
                    <a:lnTo>
                      <a:pt x="364" y="769"/>
                    </a:lnTo>
                    <a:lnTo>
                      <a:pt x="362" y="769"/>
                    </a:lnTo>
                    <a:lnTo>
                      <a:pt x="362" y="770"/>
                    </a:lnTo>
                    <a:lnTo>
                      <a:pt x="360" y="770"/>
                    </a:lnTo>
                    <a:lnTo>
                      <a:pt x="359" y="770"/>
                    </a:lnTo>
                    <a:lnTo>
                      <a:pt x="357" y="772"/>
                    </a:lnTo>
                    <a:lnTo>
                      <a:pt x="355" y="772"/>
                    </a:lnTo>
                    <a:lnTo>
                      <a:pt x="355" y="774"/>
                    </a:lnTo>
                    <a:lnTo>
                      <a:pt x="354" y="774"/>
                    </a:lnTo>
                    <a:lnTo>
                      <a:pt x="352" y="774"/>
                    </a:lnTo>
                    <a:lnTo>
                      <a:pt x="350" y="774"/>
                    </a:lnTo>
                    <a:lnTo>
                      <a:pt x="349" y="774"/>
                    </a:lnTo>
                    <a:lnTo>
                      <a:pt x="347" y="774"/>
                    </a:lnTo>
                    <a:lnTo>
                      <a:pt x="345" y="774"/>
                    </a:lnTo>
                    <a:lnTo>
                      <a:pt x="343" y="774"/>
                    </a:lnTo>
                    <a:lnTo>
                      <a:pt x="342" y="774"/>
                    </a:lnTo>
                    <a:lnTo>
                      <a:pt x="340" y="774"/>
                    </a:lnTo>
                    <a:lnTo>
                      <a:pt x="338" y="774"/>
                    </a:lnTo>
                    <a:lnTo>
                      <a:pt x="337" y="774"/>
                    </a:lnTo>
                    <a:lnTo>
                      <a:pt x="335" y="774"/>
                    </a:lnTo>
                    <a:lnTo>
                      <a:pt x="333" y="774"/>
                    </a:lnTo>
                    <a:lnTo>
                      <a:pt x="332" y="774"/>
                    </a:lnTo>
                    <a:lnTo>
                      <a:pt x="330" y="774"/>
                    </a:lnTo>
                    <a:lnTo>
                      <a:pt x="330" y="772"/>
                    </a:lnTo>
                    <a:lnTo>
                      <a:pt x="328" y="772"/>
                    </a:lnTo>
                    <a:lnTo>
                      <a:pt x="326" y="772"/>
                    </a:lnTo>
                    <a:lnTo>
                      <a:pt x="326" y="770"/>
                    </a:lnTo>
                    <a:lnTo>
                      <a:pt x="325" y="769"/>
                    </a:lnTo>
                    <a:lnTo>
                      <a:pt x="323" y="769"/>
                    </a:lnTo>
                    <a:lnTo>
                      <a:pt x="321" y="769"/>
                    </a:lnTo>
                    <a:lnTo>
                      <a:pt x="321" y="767"/>
                    </a:lnTo>
                    <a:lnTo>
                      <a:pt x="320" y="767"/>
                    </a:lnTo>
                    <a:lnTo>
                      <a:pt x="321" y="767"/>
                    </a:lnTo>
                    <a:lnTo>
                      <a:pt x="321" y="765"/>
                    </a:lnTo>
                    <a:lnTo>
                      <a:pt x="320" y="765"/>
                    </a:lnTo>
                    <a:lnTo>
                      <a:pt x="320" y="767"/>
                    </a:lnTo>
                    <a:lnTo>
                      <a:pt x="318" y="767"/>
                    </a:lnTo>
                    <a:lnTo>
                      <a:pt x="316" y="767"/>
                    </a:lnTo>
                    <a:lnTo>
                      <a:pt x="315" y="765"/>
                    </a:lnTo>
                    <a:lnTo>
                      <a:pt x="313" y="765"/>
                    </a:lnTo>
                    <a:lnTo>
                      <a:pt x="313" y="764"/>
                    </a:lnTo>
                    <a:lnTo>
                      <a:pt x="311" y="764"/>
                    </a:lnTo>
                    <a:lnTo>
                      <a:pt x="309" y="762"/>
                    </a:lnTo>
                    <a:lnTo>
                      <a:pt x="308" y="762"/>
                    </a:lnTo>
                    <a:lnTo>
                      <a:pt x="306" y="760"/>
                    </a:lnTo>
                    <a:lnTo>
                      <a:pt x="304" y="760"/>
                    </a:lnTo>
                    <a:lnTo>
                      <a:pt x="303" y="760"/>
                    </a:lnTo>
                    <a:lnTo>
                      <a:pt x="301" y="759"/>
                    </a:lnTo>
                    <a:lnTo>
                      <a:pt x="299" y="759"/>
                    </a:lnTo>
                    <a:lnTo>
                      <a:pt x="298" y="759"/>
                    </a:lnTo>
                    <a:lnTo>
                      <a:pt x="296" y="759"/>
                    </a:lnTo>
                    <a:lnTo>
                      <a:pt x="294" y="759"/>
                    </a:lnTo>
                    <a:lnTo>
                      <a:pt x="292" y="759"/>
                    </a:lnTo>
                    <a:lnTo>
                      <a:pt x="294" y="757"/>
                    </a:lnTo>
                    <a:lnTo>
                      <a:pt x="296" y="757"/>
                    </a:lnTo>
                    <a:lnTo>
                      <a:pt x="298" y="757"/>
                    </a:lnTo>
                    <a:lnTo>
                      <a:pt x="298" y="759"/>
                    </a:lnTo>
                    <a:lnTo>
                      <a:pt x="299" y="757"/>
                    </a:lnTo>
                    <a:lnTo>
                      <a:pt x="298" y="757"/>
                    </a:lnTo>
                    <a:lnTo>
                      <a:pt x="299" y="757"/>
                    </a:lnTo>
                    <a:lnTo>
                      <a:pt x="298" y="757"/>
                    </a:lnTo>
                    <a:lnTo>
                      <a:pt x="296" y="757"/>
                    </a:lnTo>
                    <a:lnTo>
                      <a:pt x="298" y="755"/>
                    </a:lnTo>
                    <a:lnTo>
                      <a:pt x="296" y="755"/>
                    </a:lnTo>
                    <a:lnTo>
                      <a:pt x="298" y="755"/>
                    </a:lnTo>
                    <a:lnTo>
                      <a:pt x="296" y="755"/>
                    </a:lnTo>
                    <a:lnTo>
                      <a:pt x="296" y="753"/>
                    </a:lnTo>
                    <a:lnTo>
                      <a:pt x="294" y="753"/>
                    </a:lnTo>
                    <a:lnTo>
                      <a:pt x="292" y="753"/>
                    </a:lnTo>
                    <a:lnTo>
                      <a:pt x="291" y="753"/>
                    </a:lnTo>
                    <a:lnTo>
                      <a:pt x="292" y="753"/>
                    </a:lnTo>
                    <a:lnTo>
                      <a:pt x="291" y="753"/>
                    </a:lnTo>
                    <a:lnTo>
                      <a:pt x="291" y="755"/>
                    </a:lnTo>
                    <a:lnTo>
                      <a:pt x="292" y="753"/>
                    </a:lnTo>
                    <a:lnTo>
                      <a:pt x="292" y="755"/>
                    </a:lnTo>
                    <a:lnTo>
                      <a:pt x="294" y="755"/>
                    </a:lnTo>
                    <a:lnTo>
                      <a:pt x="292" y="755"/>
                    </a:lnTo>
                    <a:lnTo>
                      <a:pt x="291" y="755"/>
                    </a:lnTo>
                    <a:lnTo>
                      <a:pt x="289" y="755"/>
                    </a:lnTo>
                    <a:lnTo>
                      <a:pt x="289" y="757"/>
                    </a:lnTo>
                    <a:lnTo>
                      <a:pt x="287" y="757"/>
                    </a:lnTo>
                    <a:lnTo>
                      <a:pt x="287" y="759"/>
                    </a:lnTo>
                    <a:lnTo>
                      <a:pt x="286" y="759"/>
                    </a:lnTo>
                    <a:lnTo>
                      <a:pt x="286" y="760"/>
                    </a:lnTo>
                    <a:lnTo>
                      <a:pt x="286" y="762"/>
                    </a:lnTo>
                    <a:lnTo>
                      <a:pt x="284" y="764"/>
                    </a:lnTo>
                    <a:lnTo>
                      <a:pt x="284" y="765"/>
                    </a:lnTo>
                    <a:lnTo>
                      <a:pt x="284" y="767"/>
                    </a:lnTo>
                    <a:lnTo>
                      <a:pt x="284" y="769"/>
                    </a:lnTo>
                    <a:lnTo>
                      <a:pt x="284" y="770"/>
                    </a:lnTo>
                    <a:lnTo>
                      <a:pt x="286" y="770"/>
                    </a:lnTo>
                    <a:lnTo>
                      <a:pt x="286" y="772"/>
                    </a:lnTo>
                    <a:lnTo>
                      <a:pt x="286" y="774"/>
                    </a:lnTo>
                    <a:lnTo>
                      <a:pt x="284" y="774"/>
                    </a:lnTo>
                    <a:lnTo>
                      <a:pt x="286" y="774"/>
                    </a:lnTo>
                    <a:lnTo>
                      <a:pt x="286" y="776"/>
                    </a:lnTo>
                    <a:lnTo>
                      <a:pt x="286" y="777"/>
                    </a:lnTo>
                    <a:lnTo>
                      <a:pt x="286" y="779"/>
                    </a:lnTo>
                    <a:lnTo>
                      <a:pt x="286" y="781"/>
                    </a:lnTo>
                    <a:lnTo>
                      <a:pt x="287" y="781"/>
                    </a:lnTo>
                    <a:lnTo>
                      <a:pt x="287" y="782"/>
                    </a:lnTo>
                    <a:lnTo>
                      <a:pt x="287" y="784"/>
                    </a:lnTo>
                    <a:lnTo>
                      <a:pt x="287" y="786"/>
                    </a:lnTo>
                    <a:lnTo>
                      <a:pt x="289" y="787"/>
                    </a:lnTo>
                    <a:lnTo>
                      <a:pt x="291" y="789"/>
                    </a:lnTo>
                    <a:lnTo>
                      <a:pt x="291" y="791"/>
                    </a:lnTo>
                    <a:lnTo>
                      <a:pt x="289" y="791"/>
                    </a:lnTo>
                    <a:lnTo>
                      <a:pt x="291" y="793"/>
                    </a:lnTo>
                    <a:lnTo>
                      <a:pt x="289" y="793"/>
                    </a:lnTo>
                    <a:lnTo>
                      <a:pt x="289" y="794"/>
                    </a:lnTo>
                    <a:lnTo>
                      <a:pt x="289" y="796"/>
                    </a:lnTo>
                    <a:lnTo>
                      <a:pt x="289" y="798"/>
                    </a:lnTo>
                    <a:lnTo>
                      <a:pt x="289" y="799"/>
                    </a:lnTo>
                    <a:lnTo>
                      <a:pt x="289" y="801"/>
                    </a:lnTo>
                    <a:lnTo>
                      <a:pt x="291" y="801"/>
                    </a:lnTo>
                    <a:lnTo>
                      <a:pt x="289" y="801"/>
                    </a:lnTo>
                    <a:lnTo>
                      <a:pt x="289" y="803"/>
                    </a:lnTo>
                    <a:lnTo>
                      <a:pt x="289" y="804"/>
                    </a:lnTo>
                    <a:lnTo>
                      <a:pt x="289" y="806"/>
                    </a:lnTo>
                    <a:lnTo>
                      <a:pt x="287" y="806"/>
                    </a:lnTo>
                    <a:lnTo>
                      <a:pt x="287" y="808"/>
                    </a:lnTo>
                    <a:lnTo>
                      <a:pt x="287" y="810"/>
                    </a:lnTo>
                    <a:lnTo>
                      <a:pt x="287" y="811"/>
                    </a:lnTo>
                    <a:lnTo>
                      <a:pt x="287" y="813"/>
                    </a:lnTo>
                    <a:lnTo>
                      <a:pt x="289" y="815"/>
                    </a:lnTo>
                    <a:lnTo>
                      <a:pt x="289" y="816"/>
                    </a:lnTo>
                    <a:lnTo>
                      <a:pt x="291" y="816"/>
                    </a:lnTo>
                    <a:lnTo>
                      <a:pt x="291" y="818"/>
                    </a:lnTo>
                    <a:lnTo>
                      <a:pt x="292" y="818"/>
                    </a:lnTo>
                    <a:lnTo>
                      <a:pt x="292" y="820"/>
                    </a:lnTo>
                    <a:lnTo>
                      <a:pt x="294" y="820"/>
                    </a:lnTo>
                    <a:lnTo>
                      <a:pt x="296" y="820"/>
                    </a:lnTo>
                    <a:lnTo>
                      <a:pt x="298" y="820"/>
                    </a:lnTo>
                    <a:lnTo>
                      <a:pt x="298" y="822"/>
                    </a:lnTo>
                    <a:lnTo>
                      <a:pt x="299" y="822"/>
                    </a:lnTo>
                    <a:lnTo>
                      <a:pt x="301" y="822"/>
                    </a:lnTo>
                    <a:lnTo>
                      <a:pt x="303" y="822"/>
                    </a:lnTo>
                    <a:lnTo>
                      <a:pt x="304" y="822"/>
                    </a:lnTo>
                    <a:lnTo>
                      <a:pt x="306" y="822"/>
                    </a:lnTo>
                    <a:lnTo>
                      <a:pt x="306" y="823"/>
                    </a:lnTo>
                    <a:lnTo>
                      <a:pt x="306" y="822"/>
                    </a:lnTo>
                    <a:lnTo>
                      <a:pt x="308" y="823"/>
                    </a:lnTo>
                    <a:lnTo>
                      <a:pt x="306" y="823"/>
                    </a:lnTo>
                    <a:lnTo>
                      <a:pt x="306" y="825"/>
                    </a:lnTo>
                    <a:lnTo>
                      <a:pt x="304" y="825"/>
                    </a:lnTo>
                    <a:lnTo>
                      <a:pt x="304" y="827"/>
                    </a:lnTo>
                    <a:lnTo>
                      <a:pt x="304" y="828"/>
                    </a:lnTo>
                    <a:lnTo>
                      <a:pt x="303" y="830"/>
                    </a:lnTo>
                    <a:lnTo>
                      <a:pt x="303" y="832"/>
                    </a:lnTo>
                    <a:lnTo>
                      <a:pt x="304" y="832"/>
                    </a:lnTo>
                    <a:lnTo>
                      <a:pt x="304" y="830"/>
                    </a:lnTo>
                    <a:lnTo>
                      <a:pt x="304" y="832"/>
                    </a:lnTo>
                    <a:lnTo>
                      <a:pt x="306" y="830"/>
                    </a:lnTo>
                    <a:lnTo>
                      <a:pt x="306" y="832"/>
                    </a:lnTo>
                    <a:lnTo>
                      <a:pt x="308" y="832"/>
                    </a:lnTo>
                    <a:lnTo>
                      <a:pt x="308" y="830"/>
                    </a:lnTo>
                    <a:lnTo>
                      <a:pt x="308" y="832"/>
                    </a:lnTo>
                    <a:lnTo>
                      <a:pt x="309" y="832"/>
                    </a:lnTo>
                    <a:lnTo>
                      <a:pt x="311" y="832"/>
                    </a:lnTo>
                    <a:lnTo>
                      <a:pt x="311" y="830"/>
                    </a:lnTo>
                    <a:lnTo>
                      <a:pt x="311" y="832"/>
                    </a:lnTo>
                    <a:lnTo>
                      <a:pt x="313" y="830"/>
                    </a:lnTo>
                    <a:lnTo>
                      <a:pt x="315" y="830"/>
                    </a:lnTo>
                    <a:lnTo>
                      <a:pt x="316" y="830"/>
                    </a:lnTo>
                    <a:lnTo>
                      <a:pt x="318" y="830"/>
                    </a:lnTo>
                    <a:lnTo>
                      <a:pt x="320" y="832"/>
                    </a:lnTo>
                    <a:lnTo>
                      <a:pt x="320" y="830"/>
                    </a:lnTo>
                    <a:lnTo>
                      <a:pt x="321" y="830"/>
                    </a:lnTo>
                    <a:lnTo>
                      <a:pt x="321" y="828"/>
                    </a:lnTo>
                    <a:lnTo>
                      <a:pt x="323" y="828"/>
                    </a:lnTo>
                    <a:lnTo>
                      <a:pt x="321" y="827"/>
                    </a:lnTo>
                    <a:lnTo>
                      <a:pt x="323" y="827"/>
                    </a:lnTo>
                    <a:lnTo>
                      <a:pt x="321" y="825"/>
                    </a:lnTo>
                    <a:lnTo>
                      <a:pt x="321" y="823"/>
                    </a:lnTo>
                    <a:lnTo>
                      <a:pt x="320" y="823"/>
                    </a:lnTo>
                    <a:lnTo>
                      <a:pt x="318" y="823"/>
                    </a:lnTo>
                    <a:lnTo>
                      <a:pt x="316" y="823"/>
                    </a:lnTo>
                    <a:lnTo>
                      <a:pt x="316" y="822"/>
                    </a:lnTo>
                    <a:lnTo>
                      <a:pt x="315" y="823"/>
                    </a:lnTo>
                    <a:lnTo>
                      <a:pt x="313" y="823"/>
                    </a:lnTo>
                    <a:lnTo>
                      <a:pt x="311" y="823"/>
                    </a:lnTo>
                    <a:lnTo>
                      <a:pt x="311" y="822"/>
                    </a:lnTo>
                    <a:lnTo>
                      <a:pt x="313" y="822"/>
                    </a:lnTo>
                    <a:lnTo>
                      <a:pt x="316" y="822"/>
                    </a:lnTo>
                    <a:lnTo>
                      <a:pt x="318" y="820"/>
                    </a:lnTo>
                    <a:lnTo>
                      <a:pt x="320" y="820"/>
                    </a:lnTo>
                    <a:lnTo>
                      <a:pt x="321" y="820"/>
                    </a:lnTo>
                    <a:lnTo>
                      <a:pt x="323" y="820"/>
                    </a:lnTo>
                    <a:lnTo>
                      <a:pt x="323" y="818"/>
                    </a:lnTo>
                    <a:lnTo>
                      <a:pt x="325" y="818"/>
                    </a:lnTo>
                    <a:lnTo>
                      <a:pt x="325" y="816"/>
                    </a:lnTo>
                    <a:lnTo>
                      <a:pt x="326" y="816"/>
                    </a:lnTo>
                    <a:lnTo>
                      <a:pt x="328" y="816"/>
                    </a:lnTo>
                    <a:lnTo>
                      <a:pt x="328" y="815"/>
                    </a:lnTo>
                    <a:lnTo>
                      <a:pt x="330" y="815"/>
                    </a:lnTo>
                    <a:lnTo>
                      <a:pt x="332" y="815"/>
                    </a:lnTo>
                    <a:lnTo>
                      <a:pt x="333" y="816"/>
                    </a:lnTo>
                    <a:lnTo>
                      <a:pt x="333" y="818"/>
                    </a:lnTo>
                    <a:lnTo>
                      <a:pt x="333" y="820"/>
                    </a:lnTo>
                    <a:lnTo>
                      <a:pt x="335" y="822"/>
                    </a:lnTo>
                    <a:lnTo>
                      <a:pt x="335" y="823"/>
                    </a:lnTo>
                    <a:lnTo>
                      <a:pt x="337" y="825"/>
                    </a:lnTo>
                    <a:lnTo>
                      <a:pt x="337" y="827"/>
                    </a:lnTo>
                    <a:lnTo>
                      <a:pt x="337" y="828"/>
                    </a:lnTo>
                    <a:lnTo>
                      <a:pt x="337" y="830"/>
                    </a:lnTo>
                    <a:lnTo>
                      <a:pt x="337" y="832"/>
                    </a:lnTo>
                    <a:lnTo>
                      <a:pt x="337" y="833"/>
                    </a:lnTo>
                    <a:lnTo>
                      <a:pt x="337" y="835"/>
                    </a:lnTo>
                    <a:lnTo>
                      <a:pt x="337" y="837"/>
                    </a:lnTo>
                    <a:lnTo>
                      <a:pt x="338" y="837"/>
                    </a:lnTo>
                    <a:lnTo>
                      <a:pt x="338" y="839"/>
                    </a:lnTo>
                    <a:lnTo>
                      <a:pt x="338" y="840"/>
                    </a:lnTo>
                    <a:lnTo>
                      <a:pt x="337" y="840"/>
                    </a:lnTo>
                    <a:lnTo>
                      <a:pt x="337" y="842"/>
                    </a:lnTo>
                    <a:lnTo>
                      <a:pt x="337" y="844"/>
                    </a:lnTo>
                    <a:lnTo>
                      <a:pt x="337" y="845"/>
                    </a:lnTo>
                    <a:lnTo>
                      <a:pt x="337" y="847"/>
                    </a:lnTo>
                    <a:lnTo>
                      <a:pt x="335" y="847"/>
                    </a:lnTo>
                    <a:lnTo>
                      <a:pt x="333" y="849"/>
                    </a:lnTo>
                    <a:lnTo>
                      <a:pt x="332" y="849"/>
                    </a:lnTo>
                    <a:lnTo>
                      <a:pt x="330" y="849"/>
                    </a:lnTo>
                    <a:lnTo>
                      <a:pt x="328" y="849"/>
                    </a:lnTo>
                    <a:lnTo>
                      <a:pt x="328" y="850"/>
                    </a:lnTo>
                    <a:lnTo>
                      <a:pt x="326" y="850"/>
                    </a:lnTo>
                    <a:lnTo>
                      <a:pt x="325" y="850"/>
                    </a:lnTo>
                    <a:lnTo>
                      <a:pt x="323" y="850"/>
                    </a:lnTo>
                    <a:lnTo>
                      <a:pt x="321" y="850"/>
                    </a:lnTo>
                    <a:lnTo>
                      <a:pt x="321" y="852"/>
                    </a:lnTo>
                    <a:lnTo>
                      <a:pt x="320" y="852"/>
                    </a:lnTo>
                    <a:lnTo>
                      <a:pt x="318" y="850"/>
                    </a:lnTo>
                    <a:lnTo>
                      <a:pt x="316" y="849"/>
                    </a:lnTo>
                    <a:lnTo>
                      <a:pt x="316" y="847"/>
                    </a:lnTo>
                    <a:lnTo>
                      <a:pt x="315" y="847"/>
                    </a:lnTo>
                    <a:lnTo>
                      <a:pt x="315" y="845"/>
                    </a:lnTo>
                    <a:lnTo>
                      <a:pt x="316" y="844"/>
                    </a:lnTo>
                    <a:lnTo>
                      <a:pt x="315" y="842"/>
                    </a:lnTo>
                    <a:lnTo>
                      <a:pt x="316" y="842"/>
                    </a:lnTo>
                    <a:lnTo>
                      <a:pt x="316" y="840"/>
                    </a:lnTo>
                    <a:lnTo>
                      <a:pt x="315" y="840"/>
                    </a:lnTo>
                    <a:lnTo>
                      <a:pt x="315" y="839"/>
                    </a:lnTo>
                    <a:lnTo>
                      <a:pt x="313" y="839"/>
                    </a:lnTo>
                    <a:lnTo>
                      <a:pt x="313" y="837"/>
                    </a:lnTo>
                    <a:lnTo>
                      <a:pt x="311" y="837"/>
                    </a:lnTo>
                    <a:lnTo>
                      <a:pt x="311" y="835"/>
                    </a:lnTo>
                    <a:lnTo>
                      <a:pt x="309" y="835"/>
                    </a:lnTo>
                    <a:lnTo>
                      <a:pt x="308" y="835"/>
                    </a:lnTo>
                    <a:lnTo>
                      <a:pt x="306" y="835"/>
                    </a:lnTo>
                    <a:lnTo>
                      <a:pt x="306" y="833"/>
                    </a:lnTo>
                    <a:lnTo>
                      <a:pt x="304" y="833"/>
                    </a:lnTo>
                    <a:lnTo>
                      <a:pt x="303" y="835"/>
                    </a:lnTo>
                    <a:lnTo>
                      <a:pt x="301" y="835"/>
                    </a:lnTo>
                    <a:lnTo>
                      <a:pt x="299" y="835"/>
                    </a:lnTo>
                    <a:lnTo>
                      <a:pt x="299" y="837"/>
                    </a:lnTo>
                    <a:lnTo>
                      <a:pt x="298" y="837"/>
                    </a:lnTo>
                    <a:lnTo>
                      <a:pt x="298" y="839"/>
                    </a:lnTo>
                    <a:lnTo>
                      <a:pt x="296" y="839"/>
                    </a:lnTo>
                    <a:lnTo>
                      <a:pt x="296" y="840"/>
                    </a:lnTo>
                    <a:lnTo>
                      <a:pt x="294" y="840"/>
                    </a:lnTo>
                    <a:lnTo>
                      <a:pt x="292" y="840"/>
                    </a:lnTo>
                    <a:lnTo>
                      <a:pt x="291" y="840"/>
                    </a:lnTo>
                    <a:lnTo>
                      <a:pt x="291" y="842"/>
                    </a:lnTo>
                    <a:lnTo>
                      <a:pt x="291" y="844"/>
                    </a:lnTo>
                    <a:lnTo>
                      <a:pt x="289" y="844"/>
                    </a:lnTo>
                    <a:lnTo>
                      <a:pt x="289" y="845"/>
                    </a:lnTo>
                    <a:lnTo>
                      <a:pt x="289" y="847"/>
                    </a:lnTo>
                    <a:lnTo>
                      <a:pt x="291" y="847"/>
                    </a:lnTo>
                    <a:lnTo>
                      <a:pt x="291" y="849"/>
                    </a:lnTo>
                    <a:lnTo>
                      <a:pt x="291" y="847"/>
                    </a:lnTo>
                    <a:lnTo>
                      <a:pt x="292" y="847"/>
                    </a:lnTo>
                    <a:lnTo>
                      <a:pt x="292" y="849"/>
                    </a:lnTo>
                    <a:lnTo>
                      <a:pt x="294" y="849"/>
                    </a:lnTo>
                    <a:lnTo>
                      <a:pt x="294" y="850"/>
                    </a:lnTo>
                    <a:lnTo>
                      <a:pt x="296" y="850"/>
                    </a:lnTo>
                    <a:lnTo>
                      <a:pt x="298" y="850"/>
                    </a:lnTo>
                    <a:lnTo>
                      <a:pt x="299" y="852"/>
                    </a:lnTo>
                    <a:lnTo>
                      <a:pt x="301" y="852"/>
                    </a:lnTo>
                    <a:lnTo>
                      <a:pt x="301" y="854"/>
                    </a:lnTo>
                    <a:lnTo>
                      <a:pt x="303" y="854"/>
                    </a:lnTo>
                    <a:lnTo>
                      <a:pt x="304" y="854"/>
                    </a:lnTo>
                    <a:lnTo>
                      <a:pt x="306" y="854"/>
                    </a:lnTo>
                    <a:lnTo>
                      <a:pt x="306" y="856"/>
                    </a:lnTo>
                    <a:lnTo>
                      <a:pt x="308" y="856"/>
                    </a:lnTo>
                    <a:lnTo>
                      <a:pt x="309" y="856"/>
                    </a:lnTo>
                    <a:lnTo>
                      <a:pt x="311" y="856"/>
                    </a:lnTo>
                    <a:lnTo>
                      <a:pt x="313" y="854"/>
                    </a:lnTo>
                    <a:lnTo>
                      <a:pt x="313" y="856"/>
                    </a:lnTo>
                    <a:lnTo>
                      <a:pt x="313" y="857"/>
                    </a:lnTo>
                    <a:lnTo>
                      <a:pt x="311" y="857"/>
                    </a:lnTo>
                    <a:lnTo>
                      <a:pt x="311" y="859"/>
                    </a:lnTo>
                    <a:lnTo>
                      <a:pt x="309" y="859"/>
                    </a:lnTo>
                    <a:lnTo>
                      <a:pt x="309" y="861"/>
                    </a:lnTo>
                    <a:lnTo>
                      <a:pt x="308" y="861"/>
                    </a:lnTo>
                    <a:lnTo>
                      <a:pt x="306" y="861"/>
                    </a:lnTo>
                    <a:lnTo>
                      <a:pt x="304" y="862"/>
                    </a:lnTo>
                    <a:lnTo>
                      <a:pt x="303" y="862"/>
                    </a:lnTo>
                    <a:lnTo>
                      <a:pt x="301" y="864"/>
                    </a:lnTo>
                    <a:lnTo>
                      <a:pt x="298" y="864"/>
                    </a:lnTo>
                    <a:lnTo>
                      <a:pt x="294" y="866"/>
                    </a:lnTo>
                    <a:lnTo>
                      <a:pt x="294" y="867"/>
                    </a:lnTo>
                    <a:lnTo>
                      <a:pt x="291" y="869"/>
                    </a:lnTo>
                    <a:lnTo>
                      <a:pt x="289" y="871"/>
                    </a:lnTo>
                    <a:lnTo>
                      <a:pt x="289" y="873"/>
                    </a:lnTo>
                    <a:lnTo>
                      <a:pt x="287" y="874"/>
                    </a:lnTo>
                    <a:lnTo>
                      <a:pt x="289" y="874"/>
                    </a:lnTo>
                    <a:lnTo>
                      <a:pt x="289" y="876"/>
                    </a:lnTo>
                    <a:lnTo>
                      <a:pt x="287" y="876"/>
                    </a:lnTo>
                    <a:lnTo>
                      <a:pt x="287" y="878"/>
                    </a:lnTo>
                    <a:lnTo>
                      <a:pt x="286" y="878"/>
                    </a:lnTo>
                    <a:lnTo>
                      <a:pt x="286" y="879"/>
                    </a:lnTo>
                    <a:lnTo>
                      <a:pt x="284" y="879"/>
                    </a:lnTo>
                    <a:lnTo>
                      <a:pt x="284" y="881"/>
                    </a:lnTo>
                    <a:lnTo>
                      <a:pt x="284" y="883"/>
                    </a:lnTo>
                    <a:lnTo>
                      <a:pt x="282" y="883"/>
                    </a:lnTo>
                    <a:lnTo>
                      <a:pt x="282" y="884"/>
                    </a:lnTo>
                    <a:lnTo>
                      <a:pt x="281" y="884"/>
                    </a:lnTo>
                    <a:lnTo>
                      <a:pt x="281" y="886"/>
                    </a:lnTo>
                    <a:lnTo>
                      <a:pt x="279" y="886"/>
                    </a:lnTo>
                    <a:lnTo>
                      <a:pt x="279" y="888"/>
                    </a:lnTo>
                    <a:lnTo>
                      <a:pt x="279" y="890"/>
                    </a:lnTo>
                    <a:lnTo>
                      <a:pt x="279" y="891"/>
                    </a:lnTo>
                    <a:lnTo>
                      <a:pt x="279" y="893"/>
                    </a:lnTo>
                    <a:lnTo>
                      <a:pt x="279" y="895"/>
                    </a:lnTo>
                    <a:lnTo>
                      <a:pt x="279" y="896"/>
                    </a:lnTo>
                    <a:lnTo>
                      <a:pt x="279" y="898"/>
                    </a:lnTo>
                    <a:lnTo>
                      <a:pt x="279" y="900"/>
                    </a:lnTo>
                    <a:lnTo>
                      <a:pt x="281" y="900"/>
                    </a:lnTo>
                    <a:lnTo>
                      <a:pt x="281" y="901"/>
                    </a:lnTo>
                    <a:lnTo>
                      <a:pt x="281" y="903"/>
                    </a:lnTo>
                    <a:lnTo>
                      <a:pt x="282" y="903"/>
                    </a:lnTo>
                    <a:lnTo>
                      <a:pt x="281" y="903"/>
                    </a:lnTo>
                    <a:lnTo>
                      <a:pt x="282" y="905"/>
                    </a:lnTo>
                    <a:lnTo>
                      <a:pt x="282" y="907"/>
                    </a:lnTo>
                    <a:lnTo>
                      <a:pt x="284" y="905"/>
                    </a:lnTo>
                    <a:lnTo>
                      <a:pt x="282" y="907"/>
                    </a:lnTo>
                    <a:lnTo>
                      <a:pt x="282" y="908"/>
                    </a:lnTo>
                    <a:lnTo>
                      <a:pt x="282" y="910"/>
                    </a:lnTo>
                    <a:lnTo>
                      <a:pt x="282" y="912"/>
                    </a:lnTo>
                    <a:lnTo>
                      <a:pt x="281" y="910"/>
                    </a:lnTo>
                    <a:lnTo>
                      <a:pt x="281" y="912"/>
                    </a:lnTo>
                    <a:lnTo>
                      <a:pt x="279" y="912"/>
                    </a:lnTo>
                    <a:lnTo>
                      <a:pt x="279" y="913"/>
                    </a:lnTo>
                    <a:lnTo>
                      <a:pt x="279" y="915"/>
                    </a:lnTo>
                    <a:lnTo>
                      <a:pt x="281" y="915"/>
                    </a:lnTo>
                    <a:lnTo>
                      <a:pt x="281" y="917"/>
                    </a:lnTo>
                    <a:lnTo>
                      <a:pt x="281" y="918"/>
                    </a:lnTo>
                    <a:lnTo>
                      <a:pt x="282" y="918"/>
                    </a:lnTo>
                    <a:lnTo>
                      <a:pt x="281" y="920"/>
                    </a:lnTo>
                    <a:lnTo>
                      <a:pt x="282" y="920"/>
                    </a:lnTo>
                    <a:lnTo>
                      <a:pt x="282" y="922"/>
                    </a:lnTo>
                    <a:lnTo>
                      <a:pt x="281" y="922"/>
                    </a:lnTo>
                    <a:lnTo>
                      <a:pt x="281" y="924"/>
                    </a:lnTo>
                    <a:lnTo>
                      <a:pt x="279" y="924"/>
                    </a:lnTo>
                    <a:lnTo>
                      <a:pt x="279" y="925"/>
                    </a:lnTo>
                    <a:lnTo>
                      <a:pt x="279" y="927"/>
                    </a:lnTo>
                    <a:lnTo>
                      <a:pt x="281" y="927"/>
                    </a:lnTo>
                    <a:lnTo>
                      <a:pt x="281" y="929"/>
                    </a:lnTo>
                    <a:lnTo>
                      <a:pt x="279" y="929"/>
                    </a:lnTo>
                    <a:lnTo>
                      <a:pt x="277" y="929"/>
                    </a:lnTo>
                    <a:lnTo>
                      <a:pt x="277" y="930"/>
                    </a:lnTo>
                    <a:lnTo>
                      <a:pt x="277" y="932"/>
                    </a:lnTo>
                    <a:lnTo>
                      <a:pt x="277" y="930"/>
                    </a:lnTo>
                    <a:lnTo>
                      <a:pt x="277" y="932"/>
                    </a:lnTo>
                    <a:lnTo>
                      <a:pt x="275" y="930"/>
                    </a:lnTo>
                    <a:lnTo>
                      <a:pt x="274" y="930"/>
                    </a:lnTo>
                    <a:lnTo>
                      <a:pt x="274" y="932"/>
                    </a:lnTo>
                    <a:lnTo>
                      <a:pt x="272" y="932"/>
                    </a:lnTo>
                    <a:lnTo>
                      <a:pt x="272" y="934"/>
                    </a:lnTo>
                    <a:lnTo>
                      <a:pt x="270" y="934"/>
                    </a:lnTo>
                    <a:lnTo>
                      <a:pt x="269" y="935"/>
                    </a:lnTo>
                    <a:lnTo>
                      <a:pt x="267" y="937"/>
                    </a:lnTo>
                    <a:lnTo>
                      <a:pt x="267" y="939"/>
                    </a:lnTo>
                    <a:lnTo>
                      <a:pt x="267" y="941"/>
                    </a:lnTo>
                    <a:lnTo>
                      <a:pt x="267" y="942"/>
                    </a:lnTo>
                    <a:lnTo>
                      <a:pt x="265" y="942"/>
                    </a:lnTo>
                    <a:lnTo>
                      <a:pt x="265" y="944"/>
                    </a:lnTo>
                    <a:lnTo>
                      <a:pt x="265" y="946"/>
                    </a:lnTo>
                    <a:lnTo>
                      <a:pt x="267" y="946"/>
                    </a:lnTo>
                    <a:lnTo>
                      <a:pt x="269" y="946"/>
                    </a:lnTo>
                    <a:lnTo>
                      <a:pt x="270" y="947"/>
                    </a:lnTo>
                    <a:lnTo>
                      <a:pt x="270" y="946"/>
                    </a:lnTo>
                    <a:lnTo>
                      <a:pt x="270" y="947"/>
                    </a:lnTo>
                    <a:lnTo>
                      <a:pt x="272" y="947"/>
                    </a:lnTo>
                    <a:lnTo>
                      <a:pt x="272" y="949"/>
                    </a:lnTo>
                    <a:lnTo>
                      <a:pt x="270" y="949"/>
                    </a:lnTo>
                    <a:lnTo>
                      <a:pt x="270" y="951"/>
                    </a:lnTo>
                    <a:lnTo>
                      <a:pt x="269" y="951"/>
                    </a:lnTo>
                    <a:lnTo>
                      <a:pt x="269" y="952"/>
                    </a:lnTo>
                    <a:lnTo>
                      <a:pt x="270" y="952"/>
                    </a:lnTo>
                    <a:lnTo>
                      <a:pt x="269" y="952"/>
                    </a:lnTo>
                    <a:lnTo>
                      <a:pt x="269" y="954"/>
                    </a:lnTo>
                    <a:lnTo>
                      <a:pt x="269" y="952"/>
                    </a:lnTo>
                    <a:lnTo>
                      <a:pt x="267" y="952"/>
                    </a:lnTo>
                    <a:lnTo>
                      <a:pt x="267" y="954"/>
                    </a:lnTo>
                    <a:lnTo>
                      <a:pt x="265" y="952"/>
                    </a:lnTo>
                    <a:lnTo>
                      <a:pt x="264" y="952"/>
                    </a:lnTo>
                    <a:lnTo>
                      <a:pt x="262" y="952"/>
                    </a:lnTo>
                    <a:lnTo>
                      <a:pt x="264" y="952"/>
                    </a:lnTo>
                    <a:lnTo>
                      <a:pt x="262" y="952"/>
                    </a:lnTo>
                    <a:lnTo>
                      <a:pt x="262" y="951"/>
                    </a:lnTo>
                    <a:lnTo>
                      <a:pt x="260" y="951"/>
                    </a:lnTo>
                    <a:lnTo>
                      <a:pt x="260" y="952"/>
                    </a:lnTo>
                    <a:lnTo>
                      <a:pt x="258" y="952"/>
                    </a:lnTo>
                    <a:lnTo>
                      <a:pt x="258" y="954"/>
                    </a:lnTo>
                    <a:lnTo>
                      <a:pt x="257" y="954"/>
                    </a:lnTo>
                    <a:lnTo>
                      <a:pt x="257" y="952"/>
                    </a:lnTo>
                    <a:lnTo>
                      <a:pt x="255" y="951"/>
                    </a:lnTo>
                    <a:lnTo>
                      <a:pt x="253" y="951"/>
                    </a:lnTo>
                    <a:lnTo>
                      <a:pt x="252" y="951"/>
                    </a:lnTo>
                    <a:lnTo>
                      <a:pt x="250" y="951"/>
                    </a:lnTo>
                    <a:lnTo>
                      <a:pt x="248" y="952"/>
                    </a:lnTo>
                    <a:lnTo>
                      <a:pt x="247" y="954"/>
                    </a:lnTo>
                    <a:lnTo>
                      <a:pt x="245" y="954"/>
                    </a:lnTo>
                    <a:lnTo>
                      <a:pt x="245" y="952"/>
                    </a:lnTo>
                    <a:lnTo>
                      <a:pt x="243" y="954"/>
                    </a:lnTo>
                    <a:lnTo>
                      <a:pt x="245" y="954"/>
                    </a:lnTo>
                    <a:lnTo>
                      <a:pt x="243" y="954"/>
                    </a:lnTo>
                    <a:lnTo>
                      <a:pt x="241" y="954"/>
                    </a:lnTo>
                    <a:lnTo>
                      <a:pt x="240" y="954"/>
                    </a:lnTo>
                    <a:lnTo>
                      <a:pt x="240" y="956"/>
                    </a:lnTo>
                    <a:lnTo>
                      <a:pt x="238" y="958"/>
                    </a:lnTo>
                    <a:lnTo>
                      <a:pt x="238" y="959"/>
                    </a:lnTo>
                    <a:lnTo>
                      <a:pt x="240" y="958"/>
                    </a:lnTo>
                    <a:lnTo>
                      <a:pt x="240" y="959"/>
                    </a:lnTo>
                    <a:lnTo>
                      <a:pt x="238" y="959"/>
                    </a:lnTo>
                    <a:lnTo>
                      <a:pt x="238" y="958"/>
                    </a:lnTo>
                    <a:lnTo>
                      <a:pt x="236" y="958"/>
                    </a:lnTo>
                    <a:lnTo>
                      <a:pt x="236" y="959"/>
                    </a:lnTo>
                    <a:lnTo>
                      <a:pt x="238" y="959"/>
                    </a:lnTo>
                    <a:lnTo>
                      <a:pt x="238" y="961"/>
                    </a:lnTo>
                    <a:lnTo>
                      <a:pt x="238" y="963"/>
                    </a:lnTo>
                    <a:lnTo>
                      <a:pt x="238" y="961"/>
                    </a:lnTo>
                    <a:lnTo>
                      <a:pt x="236" y="961"/>
                    </a:lnTo>
                    <a:lnTo>
                      <a:pt x="235" y="961"/>
                    </a:lnTo>
                    <a:lnTo>
                      <a:pt x="233" y="961"/>
                    </a:lnTo>
                    <a:lnTo>
                      <a:pt x="233" y="963"/>
                    </a:lnTo>
                    <a:lnTo>
                      <a:pt x="231" y="963"/>
                    </a:lnTo>
                    <a:lnTo>
                      <a:pt x="230" y="963"/>
                    </a:lnTo>
                    <a:lnTo>
                      <a:pt x="228" y="963"/>
                    </a:lnTo>
                    <a:lnTo>
                      <a:pt x="226" y="963"/>
                    </a:lnTo>
                    <a:lnTo>
                      <a:pt x="224" y="964"/>
                    </a:lnTo>
                    <a:lnTo>
                      <a:pt x="223" y="966"/>
                    </a:lnTo>
                    <a:lnTo>
                      <a:pt x="221" y="966"/>
                    </a:lnTo>
                    <a:lnTo>
                      <a:pt x="221" y="968"/>
                    </a:lnTo>
                    <a:lnTo>
                      <a:pt x="219" y="969"/>
                    </a:lnTo>
                    <a:lnTo>
                      <a:pt x="218" y="971"/>
                    </a:lnTo>
                    <a:lnTo>
                      <a:pt x="218" y="973"/>
                    </a:lnTo>
                    <a:lnTo>
                      <a:pt x="216" y="975"/>
                    </a:lnTo>
                    <a:lnTo>
                      <a:pt x="214" y="976"/>
                    </a:lnTo>
                    <a:lnTo>
                      <a:pt x="214" y="978"/>
                    </a:lnTo>
                    <a:lnTo>
                      <a:pt x="213" y="978"/>
                    </a:lnTo>
                    <a:lnTo>
                      <a:pt x="213" y="980"/>
                    </a:lnTo>
                    <a:lnTo>
                      <a:pt x="211" y="980"/>
                    </a:lnTo>
                    <a:lnTo>
                      <a:pt x="211" y="981"/>
                    </a:lnTo>
                    <a:lnTo>
                      <a:pt x="211" y="983"/>
                    </a:lnTo>
                    <a:lnTo>
                      <a:pt x="211" y="985"/>
                    </a:lnTo>
                    <a:lnTo>
                      <a:pt x="211" y="987"/>
                    </a:lnTo>
                    <a:lnTo>
                      <a:pt x="209" y="987"/>
                    </a:lnTo>
                    <a:lnTo>
                      <a:pt x="211" y="988"/>
                    </a:lnTo>
                    <a:lnTo>
                      <a:pt x="209" y="988"/>
                    </a:lnTo>
                    <a:lnTo>
                      <a:pt x="211" y="990"/>
                    </a:lnTo>
                    <a:lnTo>
                      <a:pt x="209" y="990"/>
                    </a:lnTo>
                    <a:lnTo>
                      <a:pt x="207" y="990"/>
                    </a:lnTo>
                    <a:lnTo>
                      <a:pt x="207" y="992"/>
                    </a:lnTo>
                    <a:lnTo>
                      <a:pt x="206" y="992"/>
                    </a:lnTo>
                    <a:lnTo>
                      <a:pt x="207" y="993"/>
                    </a:lnTo>
                    <a:lnTo>
                      <a:pt x="206" y="993"/>
                    </a:lnTo>
                    <a:lnTo>
                      <a:pt x="206" y="995"/>
                    </a:lnTo>
                    <a:lnTo>
                      <a:pt x="204" y="995"/>
                    </a:lnTo>
                    <a:lnTo>
                      <a:pt x="204" y="997"/>
                    </a:lnTo>
                    <a:lnTo>
                      <a:pt x="204" y="998"/>
                    </a:lnTo>
                    <a:lnTo>
                      <a:pt x="202" y="998"/>
                    </a:lnTo>
                    <a:lnTo>
                      <a:pt x="202" y="1000"/>
                    </a:lnTo>
                    <a:lnTo>
                      <a:pt x="202" y="1002"/>
                    </a:lnTo>
                    <a:lnTo>
                      <a:pt x="201" y="1002"/>
                    </a:lnTo>
                    <a:lnTo>
                      <a:pt x="202" y="1002"/>
                    </a:lnTo>
                    <a:lnTo>
                      <a:pt x="201" y="1004"/>
                    </a:lnTo>
                    <a:lnTo>
                      <a:pt x="201" y="1005"/>
                    </a:lnTo>
                    <a:lnTo>
                      <a:pt x="201" y="1007"/>
                    </a:lnTo>
                    <a:lnTo>
                      <a:pt x="202" y="1009"/>
                    </a:lnTo>
                    <a:lnTo>
                      <a:pt x="202" y="1012"/>
                    </a:lnTo>
                    <a:lnTo>
                      <a:pt x="202" y="1014"/>
                    </a:lnTo>
                    <a:lnTo>
                      <a:pt x="202" y="1015"/>
                    </a:lnTo>
                    <a:lnTo>
                      <a:pt x="204" y="1017"/>
                    </a:lnTo>
                    <a:lnTo>
                      <a:pt x="204" y="1019"/>
                    </a:lnTo>
                    <a:lnTo>
                      <a:pt x="206" y="1021"/>
                    </a:lnTo>
                    <a:lnTo>
                      <a:pt x="206" y="1022"/>
                    </a:lnTo>
                    <a:lnTo>
                      <a:pt x="206" y="1024"/>
                    </a:lnTo>
                    <a:lnTo>
                      <a:pt x="207" y="1024"/>
                    </a:lnTo>
                    <a:lnTo>
                      <a:pt x="207" y="1027"/>
                    </a:lnTo>
                    <a:lnTo>
                      <a:pt x="209" y="1027"/>
                    </a:lnTo>
                    <a:lnTo>
                      <a:pt x="209" y="1029"/>
                    </a:lnTo>
                    <a:lnTo>
                      <a:pt x="211" y="1029"/>
                    </a:lnTo>
                    <a:lnTo>
                      <a:pt x="211" y="1031"/>
                    </a:lnTo>
                    <a:lnTo>
                      <a:pt x="213" y="1031"/>
                    </a:lnTo>
                    <a:lnTo>
                      <a:pt x="214" y="1031"/>
                    </a:lnTo>
                    <a:lnTo>
                      <a:pt x="214" y="1032"/>
                    </a:lnTo>
                    <a:lnTo>
                      <a:pt x="216" y="1032"/>
                    </a:lnTo>
                    <a:lnTo>
                      <a:pt x="218" y="1034"/>
                    </a:lnTo>
                    <a:lnTo>
                      <a:pt x="219" y="1036"/>
                    </a:lnTo>
                    <a:lnTo>
                      <a:pt x="219" y="1038"/>
                    </a:lnTo>
                    <a:lnTo>
                      <a:pt x="221" y="1038"/>
                    </a:lnTo>
                    <a:lnTo>
                      <a:pt x="221" y="1039"/>
                    </a:lnTo>
                    <a:lnTo>
                      <a:pt x="223" y="1041"/>
                    </a:lnTo>
                    <a:lnTo>
                      <a:pt x="224" y="1043"/>
                    </a:lnTo>
                    <a:lnTo>
                      <a:pt x="226" y="1044"/>
                    </a:lnTo>
                    <a:lnTo>
                      <a:pt x="228" y="1046"/>
                    </a:lnTo>
                    <a:lnTo>
                      <a:pt x="228" y="1048"/>
                    </a:lnTo>
                    <a:lnTo>
                      <a:pt x="230" y="1048"/>
                    </a:lnTo>
                    <a:lnTo>
                      <a:pt x="230" y="1049"/>
                    </a:lnTo>
                    <a:lnTo>
                      <a:pt x="231" y="1049"/>
                    </a:lnTo>
                    <a:lnTo>
                      <a:pt x="233" y="1049"/>
                    </a:lnTo>
                    <a:lnTo>
                      <a:pt x="235" y="1051"/>
                    </a:lnTo>
                    <a:lnTo>
                      <a:pt x="236" y="1051"/>
                    </a:lnTo>
                    <a:lnTo>
                      <a:pt x="238" y="1051"/>
                    </a:lnTo>
                    <a:lnTo>
                      <a:pt x="240" y="1051"/>
                    </a:lnTo>
                    <a:lnTo>
                      <a:pt x="241" y="1051"/>
                    </a:lnTo>
                    <a:lnTo>
                      <a:pt x="243" y="1051"/>
                    </a:lnTo>
                    <a:lnTo>
                      <a:pt x="245" y="1051"/>
                    </a:lnTo>
                    <a:lnTo>
                      <a:pt x="245" y="1053"/>
                    </a:lnTo>
                    <a:lnTo>
                      <a:pt x="247" y="1053"/>
                    </a:lnTo>
                    <a:lnTo>
                      <a:pt x="248" y="1053"/>
                    </a:lnTo>
                    <a:lnTo>
                      <a:pt x="250" y="1053"/>
                    </a:lnTo>
                    <a:lnTo>
                      <a:pt x="252" y="1053"/>
                    </a:lnTo>
                    <a:lnTo>
                      <a:pt x="253" y="1053"/>
                    </a:lnTo>
                    <a:lnTo>
                      <a:pt x="255" y="1053"/>
                    </a:lnTo>
                    <a:lnTo>
                      <a:pt x="257" y="1053"/>
                    </a:lnTo>
                    <a:lnTo>
                      <a:pt x="258" y="1053"/>
                    </a:lnTo>
                    <a:lnTo>
                      <a:pt x="260" y="1053"/>
                    </a:lnTo>
                    <a:lnTo>
                      <a:pt x="262" y="1055"/>
                    </a:lnTo>
                    <a:lnTo>
                      <a:pt x="262" y="1056"/>
                    </a:lnTo>
                    <a:lnTo>
                      <a:pt x="264" y="1056"/>
                    </a:lnTo>
                    <a:lnTo>
                      <a:pt x="265" y="1058"/>
                    </a:lnTo>
                    <a:lnTo>
                      <a:pt x="265" y="1060"/>
                    </a:lnTo>
                    <a:lnTo>
                      <a:pt x="265" y="1061"/>
                    </a:lnTo>
                    <a:lnTo>
                      <a:pt x="265" y="1063"/>
                    </a:lnTo>
                    <a:lnTo>
                      <a:pt x="265" y="1065"/>
                    </a:lnTo>
                    <a:lnTo>
                      <a:pt x="265" y="1066"/>
                    </a:lnTo>
                    <a:lnTo>
                      <a:pt x="265" y="1068"/>
                    </a:lnTo>
                    <a:lnTo>
                      <a:pt x="265" y="1070"/>
                    </a:lnTo>
                    <a:lnTo>
                      <a:pt x="265" y="1072"/>
                    </a:lnTo>
                    <a:lnTo>
                      <a:pt x="265" y="1073"/>
                    </a:lnTo>
                    <a:lnTo>
                      <a:pt x="265" y="1075"/>
                    </a:lnTo>
                    <a:lnTo>
                      <a:pt x="265" y="1077"/>
                    </a:lnTo>
                    <a:lnTo>
                      <a:pt x="264" y="1077"/>
                    </a:lnTo>
                    <a:lnTo>
                      <a:pt x="264" y="1078"/>
                    </a:lnTo>
                    <a:lnTo>
                      <a:pt x="264" y="1080"/>
                    </a:lnTo>
                    <a:lnTo>
                      <a:pt x="262" y="1082"/>
                    </a:lnTo>
                    <a:lnTo>
                      <a:pt x="262" y="1083"/>
                    </a:lnTo>
                    <a:lnTo>
                      <a:pt x="262" y="1085"/>
                    </a:lnTo>
                    <a:lnTo>
                      <a:pt x="260" y="1087"/>
                    </a:lnTo>
                    <a:lnTo>
                      <a:pt x="260" y="1089"/>
                    </a:lnTo>
                    <a:lnTo>
                      <a:pt x="260" y="1090"/>
                    </a:lnTo>
                    <a:lnTo>
                      <a:pt x="260" y="1092"/>
                    </a:lnTo>
                    <a:lnTo>
                      <a:pt x="262" y="1092"/>
                    </a:lnTo>
                    <a:lnTo>
                      <a:pt x="262" y="1094"/>
                    </a:lnTo>
                    <a:lnTo>
                      <a:pt x="264" y="1094"/>
                    </a:lnTo>
                    <a:lnTo>
                      <a:pt x="264" y="1095"/>
                    </a:lnTo>
                    <a:lnTo>
                      <a:pt x="262" y="1097"/>
                    </a:lnTo>
                    <a:lnTo>
                      <a:pt x="262" y="1095"/>
                    </a:lnTo>
                    <a:lnTo>
                      <a:pt x="260" y="1095"/>
                    </a:lnTo>
                    <a:lnTo>
                      <a:pt x="258" y="1095"/>
                    </a:lnTo>
                    <a:lnTo>
                      <a:pt x="258" y="1097"/>
                    </a:lnTo>
                    <a:lnTo>
                      <a:pt x="258" y="1099"/>
                    </a:lnTo>
                    <a:lnTo>
                      <a:pt x="258" y="1100"/>
                    </a:lnTo>
                    <a:lnTo>
                      <a:pt x="257" y="1100"/>
                    </a:lnTo>
                    <a:lnTo>
                      <a:pt x="257" y="1102"/>
                    </a:lnTo>
                    <a:lnTo>
                      <a:pt x="258" y="1102"/>
                    </a:lnTo>
                    <a:lnTo>
                      <a:pt x="260" y="1102"/>
                    </a:lnTo>
                    <a:lnTo>
                      <a:pt x="260" y="1104"/>
                    </a:lnTo>
                    <a:lnTo>
                      <a:pt x="258" y="1104"/>
                    </a:lnTo>
                    <a:lnTo>
                      <a:pt x="260" y="1104"/>
                    </a:lnTo>
                    <a:lnTo>
                      <a:pt x="258" y="1104"/>
                    </a:lnTo>
                    <a:lnTo>
                      <a:pt x="257" y="1104"/>
                    </a:lnTo>
                    <a:lnTo>
                      <a:pt x="255" y="1104"/>
                    </a:lnTo>
                    <a:lnTo>
                      <a:pt x="253" y="1104"/>
                    </a:lnTo>
                    <a:lnTo>
                      <a:pt x="252" y="1104"/>
                    </a:lnTo>
                    <a:lnTo>
                      <a:pt x="252" y="1106"/>
                    </a:lnTo>
                    <a:lnTo>
                      <a:pt x="252" y="1107"/>
                    </a:lnTo>
                    <a:lnTo>
                      <a:pt x="250" y="1107"/>
                    </a:lnTo>
                    <a:lnTo>
                      <a:pt x="252" y="1109"/>
                    </a:lnTo>
                    <a:lnTo>
                      <a:pt x="250" y="1109"/>
                    </a:lnTo>
                    <a:lnTo>
                      <a:pt x="248" y="1109"/>
                    </a:lnTo>
                    <a:lnTo>
                      <a:pt x="247" y="1111"/>
                    </a:lnTo>
                    <a:lnTo>
                      <a:pt x="247" y="1112"/>
                    </a:lnTo>
                    <a:lnTo>
                      <a:pt x="245" y="1112"/>
                    </a:lnTo>
                    <a:lnTo>
                      <a:pt x="245" y="1114"/>
                    </a:lnTo>
                    <a:lnTo>
                      <a:pt x="245" y="1116"/>
                    </a:lnTo>
                    <a:lnTo>
                      <a:pt x="245" y="1117"/>
                    </a:lnTo>
                    <a:lnTo>
                      <a:pt x="245" y="1116"/>
                    </a:lnTo>
                    <a:lnTo>
                      <a:pt x="245" y="1117"/>
                    </a:lnTo>
                    <a:lnTo>
                      <a:pt x="243" y="1116"/>
                    </a:lnTo>
                    <a:lnTo>
                      <a:pt x="241" y="1116"/>
                    </a:lnTo>
                    <a:lnTo>
                      <a:pt x="240" y="1117"/>
                    </a:lnTo>
                    <a:lnTo>
                      <a:pt x="240" y="1119"/>
                    </a:lnTo>
                    <a:lnTo>
                      <a:pt x="238" y="1119"/>
                    </a:lnTo>
                    <a:lnTo>
                      <a:pt x="238" y="1121"/>
                    </a:lnTo>
                    <a:lnTo>
                      <a:pt x="238" y="1119"/>
                    </a:lnTo>
                    <a:lnTo>
                      <a:pt x="236" y="1119"/>
                    </a:lnTo>
                    <a:lnTo>
                      <a:pt x="235" y="1121"/>
                    </a:lnTo>
                    <a:lnTo>
                      <a:pt x="233" y="1121"/>
                    </a:lnTo>
                    <a:lnTo>
                      <a:pt x="231" y="1123"/>
                    </a:lnTo>
                    <a:lnTo>
                      <a:pt x="230" y="1124"/>
                    </a:lnTo>
                    <a:lnTo>
                      <a:pt x="228" y="1124"/>
                    </a:lnTo>
                    <a:lnTo>
                      <a:pt x="228" y="1126"/>
                    </a:lnTo>
                    <a:lnTo>
                      <a:pt x="226" y="1128"/>
                    </a:lnTo>
                    <a:lnTo>
                      <a:pt x="226" y="1129"/>
                    </a:lnTo>
                    <a:lnTo>
                      <a:pt x="224" y="1129"/>
                    </a:lnTo>
                    <a:lnTo>
                      <a:pt x="223" y="1129"/>
                    </a:lnTo>
                    <a:lnTo>
                      <a:pt x="221" y="1131"/>
                    </a:lnTo>
                    <a:lnTo>
                      <a:pt x="219" y="1133"/>
                    </a:lnTo>
                    <a:lnTo>
                      <a:pt x="218" y="1133"/>
                    </a:lnTo>
                    <a:lnTo>
                      <a:pt x="218" y="1135"/>
                    </a:lnTo>
                    <a:lnTo>
                      <a:pt x="218" y="1136"/>
                    </a:lnTo>
                    <a:lnTo>
                      <a:pt x="218" y="1138"/>
                    </a:lnTo>
                    <a:lnTo>
                      <a:pt x="216" y="1138"/>
                    </a:lnTo>
                    <a:lnTo>
                      <a:pt x="216" y="1140"/>
                    </a:lnTo>
                    <a:lnTo>
                      <a:pt x="216" y="1141"/>
                    </a:lnTo>
                    <a:lnTo>
                      <a:pt x="214" y="1141"/>
                    </a:lnTo>
                    <a:lnTo>
                      <a:pt x="213" y="1143"/>
                    </a:lnTo>
                    <a:lnTo>
                      <a:pt x="211" y="1143"/>
                    </a:lnTo>
                    <a:lnTo>
                      <a:pt x="209" y="1145"/>
                    </a:lnTo>
                    <a:lnTo>
                      <a:pt x="206" y="1146"/>
                    </a:lnTo>
                    <a:lnTo>
                      <a:pt x="206" y="1148"/>
                    </a:lnTo>
                    <a:lnTo>
                      <a:pt x="204" y="1150"/>
                    </a:lnTo>
                    <a:lnTo>
                      <a:pt x="204" y="1152"/>
                    </a:lnTo>
                    <a:lnTo>
                      <a:pt x="202" y="1152"/>
                    </a:lnTo>
                    <a:lnTo>
                      <a:pt x="202" y="1155"/>
                    </a:lnTo>
                    <a:lnTo>
                      <a:pt x="201" y="1157"/>
                    </a:lnTo>
                    <a:lnTo>
                      <a:pt x="202" y="1158"/>
                    </a:lnTo>
                    <a:lnTo>
                      <a:pt x="201" y="1160"/>
                    </a:lnTo>
                    <a:lnTo>
                      <a:pt x="199" y="1162"/>
                    </a:lnTo>
                    <a:lnTo>
                      <a:pt x="201" y="1162"/>
                    </a:lnTo>
                    <a:lnTo>
                      <a:pt x="199" y="1162"/>
                    </a:lnTo>
                    <a:lnTo>
                      <a:pt x="201" y="1163"/>
                    </a:lnTo>
                    <a:lnTo>
                      <a:pt x="202" y="1162"/>
                    </a:lnTo>
                    <a:lnTo>
                      <a:pt x="202" y="1163"/>
                    </a:lnTo>
                    <a:lnTo>
                      <a:pt x="202" y="1165"/>
                    </a:lnTo>
                    <a:lnTo>
                      <a:pt x="202" y="1167"/>
                    </a:lnTo>
                    <a:lnTo>
                      <a:pt x="201" y="1167"/>
                    </a:lnTo>
                    <a:lnTo>
                      <a:pt x="201" y="1169"/>
                    </a:lnTo>
                    <a:lnTo>
                      <a:pt x="201" y="1170"/>
                    </a:lnTo>
                    <a:lnTo>
                      <a:pt x="201" y="1172"/>
                    </a:lnTo>
                    <a:lnTo>
                      <a:pt x="199" y="1174"/>
                    </a:lnTo>
                    <a:lnTo>
                      <a:pt x="199" y="1175"/>
                    </a:lnTo>
                    <a:lnTo>
                      <a:pt x="199" y="1177"/>
                    </a:lnTo>
                    <a:lnTo>
                      <a:pt x="199" y="1179"/>
                    </a:lnTo>
                    <a:lnTo>
                      <a:pt x="199" y="1180"/>
                    </a:lnTo>
                    <a:lnTo>
                      <a:pt x="199" y="1182"/>
                    </a:lnTo>
                    <a:lnTo>
                      <a:pt x="199" y="1184"/>
                    </a:lnTo>
                    <a:lnTo>
                      <a:pt x="199" y="1186"/>
                    </a:lnTo>
                    <a:lnTo>
                      <a:pt x="199" y="1187"/>
                    </a:lnTo>
                    <a:lnTo>
                      <a:pt x="197" y="1189"/>
                    </a:lnTo>
                    <a:lnTo>
                      <a:pt x="197" y="1191"/>
                    </a:lnTo>
                    <a:lnTo>
                      <a:pt x="197" y="1192"/>
                    </a:lnTo>
                    <a:lnTo>
                      <a:pt x="196" y="1194"/>
                    </a:lnTo>
                    <a:lnTo>
                      <a:pt x="196" y="1196"/>
                    </a:lnTo>
                    <a:lnTo>
                      <a:pt x="196" y="1197"/>
                    </a:lnTo>
                    <a:lnTo>
                      <a:pt x="194" y="1197"/>
                    </a:lnTo>
                    <a:lnTo>
                      <a:pt x="194" y="1199"/>
                    </a:lnTo>
                    <a:lnTo>
                      <a:pt x="194" y="1201"/>
                    </a:lnTo>
                    <a:lnTo>
                      <a:pt x="192" y="1201"/>
                    </a:lnTo>
                    <a:lnTo>
                      <a:pt x="192" y="1203"/>
                    </a:lnTo>
                    <a:lnTo>
                      <a:pt x="190" y="1203"/>
                    </a:lnTo>
                    <a:lnTo>
                      <a:pt x="189" y="1204"/>
                    </a:lnTo>
                    <a:lnTo>
                      <a:pt x="187" y="1204"/>
                    </a:lnTo>
                    <a:lnTo>
                      <a:pt x="187" y="1206"/>
                    </a:lnTo>
                    <a:lnTo>
                      <a:pt x="185" y="1206"/>
                    </a:lnTo>
                    <a:lnTo>
                      <a:pt x="184" y="1208"/>
                    </a:lnTo>
                    <a:lnTo>
                      <a:pt x="182" y="1208"/>
                    </a:lnTo>
                    <a:lnTo>
                      <a:pt x="180" y="1208"/>
                    </a:lnTo>
                    <a:lnTo>
                      <a:pt x="179" y="1208"/>
                    </a:lnTo>
                    <a:lnTo>
                      <a:pt x="177" y="1208"/>
                    </a:lnTo>
                    <a:lnTo>
                      <a:pt x="177" y="1209"/>
                    </a:lnTo>
                    <a:lnTo>
                      <a:pt x="177" y="1211"/>
                    </a:lnTo>
                    <a:lnTo>
                      <a:pt x="175" y="1211"/>
                    </a:lnTo>
                    <a:lnTo>
                      <a:pt x="173" y="1213"/>
                    </a:lnTo>
                    <a:lnTo>
                      <a:pt x="172" y="1213"/>
                    </a:lnTo>
                    <a:lnTo>
                      <a:pt x="170" y="1213"/>
                    </a:lnTo>
                    <a:lnTo>
                      <a:pt x="170" y="1214"/>
                    </a:lnTo>
                    <a:lnTo>
                      <a:pt x="168" y="1214"/>
                    </a:lnTo>
                    <a:lnTo>
                      <a:pt x="167" y="1214"/>
                    </a:lnTo>
                    <a:lnTo>
                      <a:pt x="167" y="1216"/>
                    </a:lnTo>
                    <a:lnTo>
                      <a:pt x="167" y="1214"/>
                    </a:lnTo>
                    <a:lnTo>
                      <a:pt x="167" y="1216"/>
                    </a:lnTo>
                    <a:lnTo>
                      <a:pt x="165" y="1216"/>
                    </a:lnTo>
                    <a:lnTo>
                      <a:pt x="163" y="1216"/>
                    </a:lnTo>
                    <a:lnTo>
                      <a:pt x="162" y="1218"/>
                    </a:lnTo>
                    <a:lnTo>
                      <a:pt x="160" y="1218"/>
                    </a:lnTo>
                    <a:lnTo>
                      <a:pt x="160" y="1220"/>
                    </a:lnTo>
                    <a:lnTo>
                      <a:pt x="158" y="1220"/>
                    </a:lnTo>
                    <a:lnTo>
                      <a:pt x="160" y="1221"/>
                    </a:lnTo>
                    <a:lnTo>
                      <a:pt x="158" y="1221"/>
                    </a:lnTo>
                    <a:lnTo>
                      <a:pt x="156" y="1223"/>
                    </a:lnTo>
                    <a:lnTo>
                      <a:pt x="156" y="1225"/>
                    </a:lnTo>
                    <a:lnTo>
                      <a:pt x="155" y="1225"/>
                    </a:lnTo>
                    <a:lnTo>
                      <a:pt x="155" y="1226"/>
                    </a:lnTo>
                    <a:lnTo>
                      <a:pt x="153" y="1228"/>
                    </a:lnTo>
                    <a:lnTo>
                      <a:pt x="153" y="1230"/>
                    </a:lnTo>
                    <a:lnTo>
                      <a:pt x="153" y="1231"/>
                    </a:lnTo>
                    <a:lnTo>
                      <a:pt x="153" y="1233"/>
                    </a:lnTo>
                    <a:lnTo>
                      <a:pt x="151" y="1233"/>
                    </a:lnTo>
                    <a:lnTo>
                      <a:pt x="151" y="1235"/>
                    </a:lnTo>
                    <a:lnTo>
                      <a:pt x="151" y="1237"/>
                    </a:lnTo>
                    <a:lnTo>
                      <a:pt x="151" y="1238"/>
                    </a:lnTo>
                    <a:lnTo>
                      <a:pt x="150" y="1240"/>
                    </a:lnTo>
                    <a:lnTo>
                      <a:pt x="150" y="1242"/>
                    </a:lnTo>
                    <a:lnTo>
                      <a:pt x="151" y="1243"/>
                    </a:lnTo>
                    <a:lnTo>
                      <a:pt x="151" y="1245"/>
                    </a:lnTo>
                    <a:lnTo>
                      <a:pt x="151" y="1247"/>
                    </a:lnTo>
                    <a:lnTo>
                      <a:pt x="151" y="1248"/>
                    </a:lnTo>
                    <a:lnTo>
                      <a:pt x="150" y="1250"/>
                    </a:lnTo>
                    <a:lnTo>
                      <a:pt x="148" y="1252"/>
                    </a:lnTo>
                    <a:lnTo>
                      <a:pt x="148" y="1254"/>
                    </a:lnTo>
                    <a:lnTo>
                      <a:pt x="150" y="1254"/>
                    </a:lnTo>
                    <a:lnTo>
                      <a:pt x="150" y="1255"/>
                    </a:lnTo>
                    <a:lnTo>
                      <a:pt x="150" y="1257"/>
                    </a:lnTo>
                    <a:lnTo>
                      <a:pt x="150" y="1259"/>
                    </a:lnTo>
                    <a:lnTo>
                      <a:pt x="151" y="1264"/>
                    </a:lnTo>
                    <a:lnTo>
                      <a:pt x="151" y="1265"/>
                    </a:lnTo>
                    <a:lnTo>
                      <a:pt x="153" y="1267"/>
                    </a:lnTo>
                    <a:lnTo>
                      <a:pt x="153" y="1269"/>
                    </a:lnTo>
                    <a:lnTo>
                      <a:pt x="153" y="1271"/>
                    </a:lnTo>
                    <a:lnTo>
                      <a:pt x="155" y="1274"/>
                    </a:lnTo>
                    <a:lnTo>
                      <a:pt x="155" y="1276"/>
                    </a:lnTo>
                    <a:lnTo>
                      <a:pt x="155" y="1279"/>
                    </a:lnTo>
                    <a:lnTo>
                      <a:pt x="156" y="1281"/>
                    </a:lnTo>
                    <a:lnTo>
                      <a:pt x="156" y="1282"/>
                    </a:lnTo>
                    <a:lnTo>
                      <a:pt x="156" y="1284"/>
                    </a:lnTo>
                    <a:lnTo>
                      <a:pt x="156" y="1286"/>
                    </a:lnTo>
                    <a:lnTo>
                      <a:pt x="155" y="1286"/>
                    </a:lnTo>
                    <a:lnTo>
                      <a:pt x="155" y="1288"/>
                    </a:lnTo>
                    <a:lnTo>
                      <a:pt x="156" y="1288"/>
                    </a:lnTo>
                    <a:lnTo>
                      <a:pt x="156" y="1289"/>
                    </a:lnTo>
                    <a:lnTo>
                      <a:pt x="156" y="1291"/>
                    </a:lnTo>
                    <a:lnTo>
                      <a:pt x="158" y="1293"/>
                    </a:lnTo>
                    <a:lnTo>
                      <a:pt x="160" y="1296"/>
                    </a:lnTo>
                    <a:lnTo>
                      <a:pt x="162" y="1300"/>
                    </a:lnTo>
                    <a:lnTo>
                      <a:pt x="163" y="1305"/>
                    </a:lnTo>
                    <a:lnTo>
                      <a:pt x="165" y="1308"/>
                    </a:lnTo>
                    <a:lnTo>
                      <a:pt x="167" y="1310"/>
                    </a:lnTo>
                    <a:lnTo>
                      <a:pt x="168" y="1315"/>
                    </a:lnTo>
                    <a:lnTo>
                      <a:pt x="170" y="1317"/>
                    </a:lnTo>
                    <a:lnTo>
                      <a:pt x="173" y="1322"/>
                    </a:lnTo>
                    <a:lnTo>
                      <a:pt x="175" y="1325"/>
                    </a:lnTo>
                    <a:lnTo>
                      <a:pt x="177" y="1325"/>
                    </a:lnTo>
                    <a:lnTo>
                      <a:pt x="177" y="1327"/>
                    </a:lnTo>
                    <a:lnTo>
                      <a:pt x="177" y="1328"/>
                    </a:lnTo>
                    <a:lnTo>
                      <a:pt x="175" y="1328"/>
                    </a:lnTo>
                    <a:lnTo>
                      <a:pt x="175" y="1330"/>
                    </a:lnTo>
                    <a:lnTo>
                      <a:pt x="175" y="1328"/>
                    </a:lnTo>
                    <a:lnTo>
                      <a:pt x="175" y="1327"/>
                    </a:lnTo>
                    <a:lnTo>
                      <a:pt x="173" y="1327"/>
                    </a:lnTo>
                    <a:lnTo>
                      <a:pt x="172" y="1327"/>
                    </a:lnTo>
                    <a:lnTo>
                      <a:pt x="170" y="1327"/>
                    </a:lnTo>
                    <a:lnTo>
                      <a:pt x="168" y="1327"/>
                    </a:lnTo>
                    <a:lnTo>
                      <a:pt x="168" y="1325"/>
                    </a:lnTo>
                    <a:lnTo>
                      <a:pt x="167" y="1325"/>
                    </a:lnTo>
                    <a:lnTo>
                      <a:pt x="165" y="1325"/>
                    </a:lnTo>
                    <a:lnTo>
                      <a:pt x="163" y="1325"/>
                    </a:lnTo>
                    <a:lnTo>
                      <a:pt x="163" y="1323"/>
                    </a:lnTo>
                    <a:lnTo>
                      <a:pt x="162" y="1323"/>
                    </a:lnTo>
                    <a:lnTo>
                      <a:pt x="158" y="1322"/>
                    </a:lnTo>
                    <a:lnTo>
                      <a:pt x="156" y="1322"/>
                    </a:lnTo>
                    <a:lnTo>
                      <a:pt x="155" y="1320"/>
                    </a:lnTo>
                    <a:lnTo>
                      <a:pt x="153" y="1320"/>
                    </a:lnTo>
                    <a:lnTo>
                      <a:pt x="151" y="1320"/>
                    </a:lnTo>
                    <a:lnTo>
                      <a:pt x="150" y="1318"/>
                    </a:lnTo>
                    <a:lnTo>
                      <a:pt x="148" y="1318"/>
                    </a:lnTo>
                    <a:lnTo>
                      <a:pt x="145" y="1318"/>
                    </a:lnTo>
                    <a:lnTo>
                      <a:pt x="141" y="1318"/>
                    </a:lnTo>
                    <a:lnTo>
                      <a:pt x="139" y="1317"/>
                    </a:lnTo>
                    <a:lnTo>
                      <a:pt x="138" y="1317"/>
                    </a:lnTo>
                    <a:lnTo>
                      <a:pt x="134" y="1315"/>
                    </a:lnTo>
                    <a:lnTo>
                      <a:pt x="131" y="1313"/>
                    </a:lnTo>
                    <a:lnTo>
                      <a:pt x="128" y="1313"/>
                    </a:lnTo>
                    <a:lnTo>
                      <a:pt x="126" y="1311"/>
                    </a:lnTo>
                    <a:lnTo>
                      <a:pt x="124" y="1310"/>
                    </a:lnTo>
                    <a:lnTo>
                      <a:pt x="121" y="1308"/>
                    </a:lnTo>
                    <a:lnTo>
                      <a:pt x="109" y="1310"/>
                    </a:lnTo>
                    <a:lnTo>
                      <a:pt x="104" y="1308"/>
                    </a:lnTo>
                    <a:lnTo>
                      <a:pt x="99" y="1310"/>
                    </a:lnTo>
                    <a:lnTo>
                      <a:pt x="92" y="1308"/>
                    </a:lnTo>
                    <a:lnTo>
                      <a:pt x="78" y="1310"/>
                    </a:lnTo>
                    <a:lnTo>
                      <a:pt x="75" y="1308"/>
                    </a:lnTo>
                    <a:lnTo>
                      <a:pt x="73" y="1308"/>
                    </a:lnTo>
                    <a:lnTo>
                      <a:pt x="65" y="1308"/>
                    </a:lnTo>
                    <a:lnTo>
                      <a:pt x="56" y="1310"/>
                    </a:lnTo>
                    <a:lnTo>
                      <a:pt x="56" y="1308"/>
                    </a:lnTo>
                    <a:lnTo>
                      <a:pt x="54" y="1308"/>
                    </a:lnTo>
                    <a:lnTo>
                      <a:pt x="53" y="1308"/>
                    </a:lnTo>
                    <a:lnTo>
                      <a:pt x="53" y="1306"/>
                    </a:lnTo>
                    <a:lnTo>
                      <a:pt x="54" y="1306"/>
                    </a:lnTo>
                    <a:lnTo>
                      <a:pt x="54" y="1305"/>
                    </a:lnTo>
                    <a:lnTo>
                      <a:pt x="56" y="1305"/>
                    </a:lnTo>
                    <a:lnTo>
                      <a:pt x="56" y="1303"/>
                    </a:lnTo>
                    <a:lnTo>
                      <a:pt x="54" y="1301"/>
                    </a:lnTo>
                    <a:lnTo>
                      <a:pt x="54" y="1300"/>
                    </a:lnTo>
                    <a:lnTo>
                      <a:pt x="53" y="1300"/>
                    </a:lnTo>
                    <a:lnTo>
                      <a:pt x="53" y="1298"/>
                    </a:lnTo>
                    <a:lnTo>
                      <a:pt x="51" y="1298"/>
                    </a:lnTo>
                    <a:lnTo>
                      <a:pt x="51" y="1296"/>
                    </a:lnTo>
                    <a:lnTo>
                      <a:pt x="49" y="1296"/>
                    </a:lnTo>
                    <a:lnTo>
                      <a:pt x="49" y="1294"/>
                    </a:lnTo>
                    <a:lnTo>
                      <a:pt x="48" y="1294"/>
                    </a:lnTo>
                    <a:lnTo>
                      <a:pt x="48" y="1293"/>
                    </a:lnTo>
                    <a:lnTo>
                      <a:pt x="46" y="1293"/>
                    </a:lnTo>
                    <a:lnTo>
                      <a:pt x="44" y="1293"/>
                    </a:lnTo>
                    <a:lnTo>
                      <a:pt x="44" y="1291"/>
                    </a:lnTo>
                    <a:lnTo>
                      <a:pt x="44" y="1289"/>
                    </a:lnTo>
                    <a:lnTo>
                      <a:pt x="43" y="1288"/>
                    </a:lnTo>
                    <a:lnTo>
                      <a:pt x="43" y="1286"/>
                    </a:lnTo>
                    <a:lnTo>
                      <a:pt x="41" y="1286"/>
                    </a:lnTo>
                    <a:lnTo>
                      <a:pt x="39" y="1286"/>
                    </a:lnTo>
                    <a:lnTo>
                      <a:pt x="39" y="1284"/>
                    </a:lnTo>
                    <a:lnTo>
                      <a:pt x="41" y="1282"/>
                    </a:lnTo>
                    <a:lnTo>
                      <a:pt x="39" y="1282"/>
                    </a:lnTo>
                    <a:lnTo>
                      <a:pt x="41" y="1282"/>
                    </a:lnTo>
                    <a:lnTo>
                      <a:pt x="43" y="1282"/>
                    </a:lnTo>
                    <a:lnTo>
                      <a:pt x="43" y="1281"/>
                    </a:lnTo>
                    <a:lnTo>
                      <a:pt x="43" y="1279"/>
                    </a:lnTo>
                    <a:lnTo>
                      <a:pt x="43" y="1277"/>
                    </a:lnTo>
                    <a:lnTo>
                      <a:pt x="43" y="1276"/>
                    </a:lnTo>
                    <a:lnTo>
                      <a:pt x="43" y="1274"/>
                    </a:lnTo>
                    <a:lnTo>
                      <a:pt x="41" y="1272"/>
                    </a:lnTo>
                    <a:lnTo>
                      <a:pt x="43" y="1272"/>
                    </a:lnTo>
                    <a:lnTo>
                      <a:pt x="43" y="1271"/>
                    </a:lnTo>
                    <a:lnTo>
                      <a:pt x="44" y="1271"/>
                    </a:lnTo>
                    <a:lnTo>
                      <a:pt x="44" y="1269"/>
                    </a:lnTo>
                    <a:lnTo>
                      <a:pt x="44" y="1267"/>
                    </a:lnTo>
                    <a:lnTo>
                      <a:pt x="44" y="1265"/>
                    </a:lnTo>
                    <a:lnTo>
                      <a:pt x="43" y="1265"/>
                    </a:lnTo>
                    <a:lnTo>
                      <a:pt x="41" y="1264"/>
                    </a:lnTo>
                    <a:lnTo>
                      <a:pt x="41" y="1262"/>
                    </a:lnTo>
                    <a:lnTo>
                      <a:pt x="41" y="1260"/>
                    </a:lnTo>
                    <a:lnTo>
                      <a:pt x="39" y="1260"/>
                    </a:lnTo>
                    <a:lnTo>
                      <a:pt x="41" y="1259"/>
                    </a:lnTo>
                    <a:lnTo>
                      <a:pt x="41" y="1257"/>
                    </a:lnTo>
                    <a:lnTo>
                      <a:pt x="41" y="1255"/>
                    </a:lnTo>
                    <a:lnTo>
                      <a:pt x="43" y="1255"/>
                    </a:lnTo>
                    <a:lnTo>
                      <a:pt x="43" y="1257"/>
                    </a:lnTo>
                    <a:lnTo>
                      <a:pt x="44" y="1257"/>
                    </a:lnTo>
                    <a:lnTo>
                      <a:pt x="44" y="1255"/>
                    </a:lnTo>
                    <a:lnTo>
                      <a:pt x="44" y="1254"/>
                    </a:lnTo>
                    <a:lnTo>
                      <a:pt x="44" y="1252"/>
                    </a:lnTo>
                    <a:lnTo>
                      <a:pt x="46" y="1250"/>
                    </a:lnTo>
                    <a:lnTo>
                      <a:pt x="46" y="1248"/>
                    </a:lnTo>
                    <a:lnTo>
                      <a:pt x="44" y="1247"/>
                    </a:lnTo>
                    <a:lnTo>
                      <a:pt x="44" y="1245"/>
                    </a:lnTo>
                    <a:lnTo>
                      <a:pt x="44" y="1243"/>
                    </a:lnTo>
                    <a:lnTo>
                      <a:pt x="43" y="1243"/>
                    </a:lnTo>
                    <a:lnTo>
                      <a:pt x="43" y="1242"/>
                    </a:lnTo>
                    <a:lnTo>
                      <a:pt x="43" y="1240"/>
                    </a:lnTo>
                    <a:lnTo>
                      <a:pt x="44" y="1238"/>
                    </a:lnTo>
                    <a:lnTo>
                      <a:pt x="44" y="1237"/>
                    </a:lnTo>
                    <a:lnTo>
                      <a:pt x="43" y="1237"/>
                    </a:lnTo>
                    <a:lnTo>
                      <a:pt x="43" y="1235"/>
                    </a:lnTo>
                    <a:lnTo>
                      <a:pt x="41" y="1235"/>
                    </a:lnTo>
                    <a:lnTo>
                      <a:pt x="39" y="1235"/>
                    </a:lnTo>
                    <a:lnTo>
                      <a:pt x="37" y="1233"/>
                    </a:lnTo>
                    <a:lnTo>
                      <a:pt x="36" y="1235"/>
                    </a:lnTo>
                    <a:lnTo>
                      <a:pt x="34" y="1235"/>
                    </a:lnTo>
                    <a:lnTo>
                      <a:pt x="34" y="1237"/>
                    </a:lnTo>
                    <a:lnTo>
                      <a:pt x="34" y="1238"/>
                    </a:lnTo>
                    <a:lnTo>
                      <a:pt x="32" y="1237"/>
                    </a:lnTo>
                    <a:lnTo>
                      <a:pt x="31" y="1235"/>
                    </a:lnTo>
                    <a:lnTo>
                      <a:pt x="31" y="1237"/>
                    </a:lnTo>
                    <a:lnTo>
                      <a:pt x="29" y="1235"/>
                    </a:lnTo>
                    <a:lnTo>
                      <a:pt x="27" y="1235"/>
                    </a:lnTo>
                    <a:lnTo>
                      <a:pt x="26" y="1237"/>
                    </a:lnTo>
                    <a:lnTo>
                      <a:pt x="24" y="1237"/>
                    </a:lnTo>
                    <a:lnTo>
                      <a:pt x="24" y="1238"/>
                    </a:lnTo>
                    <a:lnTo>
                      <a:pt x="22" y="1238"/>
                    </a:lnTo>
                    <a:lnTo>
                      <a:pt x="22" y="1240"/>
                    </a:lnTo>
                    <a:lnTo>
                      <a:pt x="20" y="1242"/>
                    </a:lnTo>
                    <a:lnTo>
                      <a:pt x="19" y="1242"/>
                    </a:lnTo>
                    <a:lnTo>
                      <a:pt x="17" y="1243"/>
                    </a:lnTo>
                    <a:lnTo>
                      <a:pt x="17" y="1242"/>
                    </a:lnTo>
                    <a:lnTo>
                      <a:pt x="15" y="1243"/>
                    </a:lnTo>
                    <a:lnTo>
                      <a:pt x="14" y="1245"/>
                    </a:lnTo>
                    <a:lnTo>
                      <a:pt x="12" y="1245"/>
                    </a:lnTo>
                    <a:lnTo>
                      <a:pt x="10" y="1245"/>
                    </a:lnTo>
                    <a:lnTo>
                      <a:pt x="10" y="1243"/>
                    </a:lnTo>
                    <a:lnTo>
                      <a:pt x="10" y="1242"/>
                    </a:lnTo>
                    <a:lnTo>
                      <a:pt x="10" y="1240"/>
                    </a:lnTo>
                    <a:lnTo>
                      <a:pt x="12" y="1240"/>
                    </a:lnTo>
                    <a:lnTo>
                      <a:pt x="14" y="1238"/>
                    </a:lnTo>
                    <a:lnTo>
                      <a:pt x="14" y="1237"/>
                    </a:lnTo>
                    <a:lnTo>
                      <a:pt x="12" y="1237"/>
                    </a:lnTo>
                    <a:lnTo>
                      <a:pt x="10" y="1235"/>
                    </a:lnTo>
                    <a:lnTo>
                      <a:pt x="10" y="1233"/>
                    </a:lnTo>
                    <a:lnTo>
                      <a:pt x="10" y="1231"/>
                    </a:lnTo>
                    <a:lnTo>
                      <a:pt x="9" y="1231"/>
                    </a:lnTo>
                    <a:lnTo>
                      <a:pt x="9" y="1230"/>
                    </a:lnTo>
                    <a:lnTo>
                      <a:pt x="7" y="1228"/>
                    </a:lnTo>
                    <a:lnTo>
                      <a:pt x="9" y="1228"/>
                    </a:lnTo>
                    <a:lnTo>
                      <a:pt x="7" y="1226"/>
                    </a:lnTo>
                    <a:lnTo>
                      <a:pt x="5" y="1226"/>
                    </a:lnTo>
                    <a:lnTo>
                      <a:pt x="7" y="1226"/>
                    </a:lnTo>
                    <a:lnTo>
                      <a:pt x="5" y="1225"/>
                    </a:lnTo>
                    <a:lnTo>
                      <a:pt x="3" y="1221"/>
                    </a:lnTo>
                    <a:lnTo>
                      <a:pt x="3" y="1220"/>
                    </a:lnTo>
                    <a:lnTo>
                      <a:pt x="3" y="1218"/>
                    </a:lnTo>
                    <a:lnTo>
                      <a:pt x="2" y="1218"/>
                    </a:lnTo>
                    <a:lnTo>
                      <a:pt x="2" y="1216"/>
                    </a:lnTo>
                    <a:lnTo>
                      <a:pt x="0" y="1214"/>
                    </a:lnTo>
                    <a:lnTo>
                      <a:pt x="2" y="1213"/>
                    </a:lnTo>
                    <a:lnTo>
                      <a:pt x="2" y="1211"/>
                    </a:lnTo>
                    <a:lnTo>
                      <a:pt x="2" y="1209"/>
                    </a:lnTo>
                    <a:lnTo>
                      <a:pt x="2" y="1208"/>
                    </a:lnTo>
                    <a:lnTo>
                      <a:pt x="3" y="1206"/>
                    </a:lnTo>
                    <a:lnTo>
                      <a:pt x="3" y="1204"/>
                    </a:lnTo>
                    <a:lnTo>
                      <a:pt x="2" y="1204"/>
                    </a:lnTo>
                    <a:lnTo>
                      <a:pt x="2" y="1203"/>
                    </a:lnTo>
                    <a:lnTo>
                      <a:pt x="2" y="1201"/>
                    </a:lnTo>
                    <a:lnTo>
                      <a:pt x="3" y="1199"/>
                    </a:lnTo>
                    <a:lnTo>
                      <a:pt x="2" y="1199"/>
                    </a:lnTo>
                    <a:lnTo>
                      <a:pt x="2" y="1197"/>
                    </a:lnTo>
                    <a:lnTo>
                      <a:pt x="2" y="1196"/>
                    </a:lnTo>
                    <a:lnTo>
                      <a:pt x="3" y="1196"/>
                    </a:lnTo>
                    <a:lnTo>
                      <a:pt x="3" y="1194"/>
                    </a:lnTo>
                    <a:lnTo>
                      <a:pt x="3" y="1192"/>
                    </a:lnTo>
                    <a:lnTo>
                      <a:pt x="5" y="1191"/>
                    </a:lnTo>
                    <a:lnTo>
                      <a:pt x="5" y="1189"/>
                    </a:lnTo>
                    <a:lnTo>
                      <a:pt x="3" y="1187"/>
                    </a:lnTo>
                    <a:lnTo>
                      <a:pt x="3" y="1186"/>
                    </a:lnTo>
                    <a:lnTo>
                      <a:pt x="3" y="1184"/>
                    </a:lnTo>
                    <a:lnTo>
                      <a:pt x="3" y="1182"/>
                    </a:lnTo>
                    <a:lnTo>
                      <a:pt x="5" y="1182"/>
                    </a:lnTo>
                    <a:lnTo>
                      <a:pt x="3" y="1180"/>
                    </a:lnTo>
                    <a:lnTo>
                      <a:pt x="3" y="1179"/>
                    </a:lnTo>
                    <a:lnTo>
                      <a:pt x="2" y="1179"/>
                    </a:lnTo>
                    <a:lnTo>
                      <a:pt x="2" y="1177"/>
                    </a:lnTo>
                    <a:lnTo>
                      <a:pt x="2" y="1175"/>
                    </a:lnTo>
                    <a:lnTo>
                      <a:pt x="3" y="1175"/>
                    </a:lnTo>
                    <a:lnTo>
                      <a:pt x="3" y="1174"/>
                    </a:lnTo>
                    <a:lnTo>
                      <a:pt x="3" y="1172"/>
                    </a:lnTo>
                    <a:lnTo>
                      <a:pt x="3" y="1170"/>
                    </a:lnTo>
                    <a:lnTo>
                      <a:pt x="5" y="1170"/>
                    </a:lnTo>
                    <a:lnTo>
                      <a:pt x="5" y="1169"/>
                    </a:lnTo>
                    <a:lnTo>
                      <a:pt x="5" y="1167"/>
                    </a:lnTo>
                    <a:lnTo>
                      <a:pt x="7" y="1165"/>
                    </a:lnTo>
                    <a:lnTo>
                      <a:pt x="5" y="1165"/>
                    </a:lnTo>
                    <a:lnTo>
                      <a:pt x="3" y="1163"/>
                    </a:lnTo>
                    <a:lnTo>
                      <a:pt x="3" y="1162"/>
                    </a:lnTo>
                    <a:lnTo>
                      <a:pt x="3" y="1160"/>
                    </a:lnTo>
                    <a:lnTo>
                      <a:pt x="17" y="1163"/>
                    </a:lnTo>
                    <a:lnTo>
                      <a:pt x="19" y="1163"/>
                    </a:lnTo>
                    <a:lnTo>
                      <a:pt x="17" y="1163"/>
                    </a:lnTo>
                    <a:lnTo>
                      <a:pt x="17" y="1162"/>
                    </a:lnTo>
                    <a:lnTo>
                      <a:pt x="17" y="1163"/>
                    </a:lnTo>
                    <a:lnTo>
                      <a:pt x="15" y="1163"/>
                    </a:lnTo>
                    <a:lnTo>
                      <a:pt x="15" y="1162"/>
                    </a:lnTo>
                    <a:lnTo>
                      <a:pt x="15" y="1160"/>
                    </a:lnTo>
                    <a:lnTo>
                      <a:pt x="15" y="1158"/>
                    </a:lnTo>
                    <a:lnTo>
                      <a:pt x="17" y="1157"/>
                    </a:lnTo>
                    <a:lnTo>
                      <a:pt x="19" y="1155"/>
                    </a:lnTo>
                    <a:lnTo>
                      <a:pt x="19" y="1153"/>
                    </a:lnTo>
                    <a:lnTo>
                      <a:pt x="20" y="1153"/>
                    </a:lnTo>
                    <a:lnTo>
                      <a:pt x="20" y="1152"/>
                    </a:lnTo>
                    <a:lnTo>
                      <a:pt x="20" y="1150"/>
                    </a:lnTo>
                    <a:lnTo>
                      <a:pt x="20" y="1148"/>
                    </a:lnTo>
                    <a:lnTo>
                      <a:pt x="22" y="1148"/>
                    </a:lnTo>
                    <a:lnTo>
                      <a:pt x="22" y="1146"/>
                    </a:lnTo>
                    <a:lnTo>
                      <a:pt x="24" y="1146"/>
                    </a:lnTo>
                    <a:lnTo>
                      <a:pt x="26" y="1148"/>
                    </a:lnTo>
                    <a:lnTo>
                      <a:pt x="27" y="1148"/>
                    </a:lnTo>
                    <a:lnTo>
                      <a:pt x="27" y="1146"/>
                    </a:lnTo>
                    <a:lnTo>
                      <a:pt x="29" y="1145"/>
                    </a:lnTo>
                    <a:lnTo>
                      <a:pt x="31" y="1145"/>
                    </a:lnTo>
                    <a:lnTo>
                      <a:pt x="31" y="1143"/>
                    </a:lnTo>
                    <a:lnTo>
                      <a:pt x="32" y="1141"/>
                    </a:lnTo>
                    <a:lnTo>
                      <a:pt x="34" y="1140"/>
                    </a:lnTo>
                    <a:lnTo>
                      <a:pt x="36" y="1140"/>
                    </a:lnTo>
                    <a:lnTo>
                      <a:pt x="36" y="1138"/>
                    </a:lnTo>
                    <a:lnTo>
                      <a:pt x="36" y="1136"/>
                    </a:lnTo>
                    <a:lnTo>
                      <a:pt x="36" y="1135"/>
                    </a:lnTo>
                    <a:lnTo>
                      <a:pt x="36" y="1131"/>
                    </a:lnTo>
                    <a:lnTo>
                      <a:pt x="34" y="1124"/>
                    </a:lnTo>
                    <a:lnTo>
                      <a:pt x="34" y="1123"/>
                    </a:lnTo>
                    <a:lnTo>
                      <a:pt x="36" y="1123"/>
                    </a:lnTo>
                    <a:lnTo>
                      <a:pt x="36" y="1124"/>
                    </a:lnTo>
                    <a:lnTo>
                      <a:pt x="37" y="1124"/>
                    </a:lnTo>
                    <a:lnTo>
                      <a:pt x="39" y="1124"/>
                    </a:lnTo>
                    <a:lnTo>
                      <a:pt x="41" y="1123"/>
                    </a:lnTo>
                    <a:lnTo>
                      <a:pt x="41" y="1121"/>
                    </a:lnTo>
                    <a:lnTo>
                      <a:pt x="39" y="1121"/>
                    </a:lnTo>
                    <a:lnTo>
                      <a:pt x="39" y="1119"/>
                    </a:lnTo>
                    <a:lnTo>
                      <a:pt x="41" y="1119"/>
                    </a:lnTo>
                    <a:lnTo>
                      <a:pt x="43" y="1117"/>
                    </a:lnTo>
                    <a:lnTo>
                      <a:pt x="41" y="1117"/>
                    </a:lnTo>
                    <a:lnTo>
                      <a:pt x="41" y="1116"/>
                    </a:lnTo>
                    <a:lnTo>
                      <a:pt x="43" y="1116"/>
                    </a:lnTo>
                    <a:lnTo>
                      <a:pt x="43" y="1117"/>
                    </a:lnTo>
                    <a:lnTo>
                      <a:pt x="43" y="1116"/>
                    </a:lnTo>
                    <a:lnTo>
                      <a:pt x="44" y="1117"/>
                    </a:lnTo>
                    <a:lnTo>
                      <a:pt x="44" y="1116"/>
                    </a:lnTo>
                    <a:lnTo>
                      <a:pt x="46" y="1116"/>
                    </a:lnTo>
                    <a:lnTo>
                      <a:pt x="46" y="1114"/>
                    </a:lnTo>
                    <a:lnTo>
                      <a:pt x="44" y="1112"/>
                    </a:lnTo>
                    <a:lnTo>
                      <a:pt x="44" y="1111"/>
                    </a:lnTo>
                    <a:lnTo>
                      <a:pt x="43" y="1111"/>
                    </a:lnTo>
                    <a:lnTo>
                      <a:pt x="43" y="1109"/>
                    </a:lnTo>
                    <a:lnTo>
                      <a:pt x="44" y="1109"/>
                    </a:lnTo>
                    <a:lnTo>
                      <a:pt x="43" y="1107"/>
                    </a:lnTo>
                    <a:lnTo>
                      <a:pt x="44" y="1106"/>
                    </a:lnTo>
                    <a:lnTo>
                      <a:pt x="43" y="1106"/>
                    </a:lnTo>
                    <a:lnTo>
                      <a:pt x="43" y="1104"/>
                    </a:lnTo>
                    <a:lnTo>
                      <a:pt x="41" y="1104"/>
                    </a:lnTo>
                    <a:lnTo>
                      <a:pt x="41" y="1102"/>
                    </a:lnTo>
                    <a:lnTo>
                      <a:pt x="39" y="1102"/>
                    </a:lnTo>
                    <a:lnTo>
                      <a:pt x="39" y="1100"/>
                    </a:lnTo>
                    <a:lnTo>
                      <a:pt x="39" y="1099"/>
                    </a:lnTo>
                    <a:lnTo>
                      <a:pt x="39" y="1097"/>
                    </a:lnTo>
                    <a:lnTo>
                      <a:pt x="37" y="1097"/>
                    </a:lnTo>
                    <a:lnTo>
                      <a:pt x="36" y="1095"/>
                    </a:lnTo>
                    <a:lnTo>
                      <a:pt x="36" y="1094"/>
                    </a:lnTo>
                    <a:lnTo>
                      <a:pt x="37" y="1094"/>
                    </a:lnTo>
                    <a:lnTo>
                      <a:pt x="37" y="1092"/>
                    </a:lnTo>
                    <a:lnTo>
                      <a:pt x="37" y="1090"/>
                    </a:lnTo>
                    <a:lnTo>
                      <a:pt x="37" y="1089"/>
                    </a:lnTo>
                    <a:lnTo>
                      <a:pt x="37" y="1087"/>
                    </a:lnTo>
                    <a:lnTo>
                      <a:pt x="36" y="1087"/>
                    </a:lnTo>
                    <a:lnTo>
                      <a:pt x="36" y="1085"/>
                    </a:lnTo>
                    <a:lnTo>
                      <a:pt x="37" y="1087"/>
                    </a:lnTo>
                    <a:lnTo>
                      <a:pt x="39" y="1087"/>
                    </a:lnTo>
                    <a:lnTo>
                      <a:pt x="41" y="1087"/>
                    </a:lnTo>
                    <a:lnTo>
                      <a:pt x="41" y="1085"/>
                    </a:lnTo>
                    <a:lnTo>
                      <a:pt x="39" y="1085"/>
                    </a:lnTo>
                    <a:lnTo>
                      <a:pt x="39" y="1083"/>
                    </a:lnTo>
                    <a:lnTo>
                      <a:pt x="39" y="1082"/>
                    </a:lnTo>
                    <a:lnTo>
                      <a:pt x="41" y="1082"/>
                    </a:lnTo>
                    <a:lnTo>
                      <a:pt x="41" y="1080"/>
                    </a:lnTo>
                    <a:lnTo>
                      <a:pt x="43" y="1080"/>
                    </a:lnTo>
                    <a:lnTo>
                      <a:pt x="43" y="1078"/>
                    </a:lnTo>
                    <a:lnTo>
                      <a:pt x="43" y="1077"/>
                    </a:lnTo>
                    <a:lnTo>
                      <a:pt x="43" y="1075"/>
                    </a:lnTo>
                    <a:lnTo>
                      <a:pt x="44" y="1075"/>
                    </a:lnTo>
                    <a:lnTo>
                      <a:pt x="44" y="1073"/>
                    </a:lnTo>
                    <a:lnTo>
                      <a:pt x="43" y="1073"/>
                    </a:lnTo>
                    <a:lnTo>
                      <a:pt x="43" y="1072"/>
                    </a:lnTo>
                    <a:lnTo>
                      <a:pt x="43" y="1073"/>
                    </a:lnTo>
                    <a:lnTo>
                      <a:pt x="43" y="1072"/>
                    </a:lnTo>
                    <a:lnTo>
                      <a:pt x="44" y="1072"/>
                    </a:lnTo>
                    <a:lnTo>
                      <a:pt x="44" y="1070"/>
                    </a:lnTo>
                    <a:lnTo>
                      <a:pt x="46" y="1070"/>
                    </a:lnTo>
                    <a:lnTo>
                      <a:pt x="46" y="1068"/>
                    </a:lnTo>
                    <a:lnTo>
                      <a:pt x="48" y="1070"/>
                    </a:lnTo>
                    <a:lnTo>
                      <a:pt x="48" y="1068"/>
                    </a:lnTo>
                    <a:lnTo>
                      <a:pt x="49" y="1066"/>
                    </a:lnTo>
                    <a:lnTo>
                      <a:pt x="49" y="1065"/>
                    </a:lnTo>
                    <a:lnTo>
                      <a:pt x="51" y="1065"/>
                    </a:lnTo>
                    <a:lnTo>
                      <a:pt x="53" y="1065"/>
                    </a:lnTo>
                    <a:lnTo>
                      <a:pt x="53" y="1063"/>
                    </a:lnTo>
                    <a:lnTo>
                      <a:pt x="54" y="1063"/>
                    </a:lnTo>
                    <a:lnTo>
                      <a:pt x="53" y="1061"/>
                    </a:lnTo>
                    <a:lnTo>
                      <a:pt x="54" y="1060"/>
                    </a:lnTo>
                    <a:lnTo>
                      <a:pt x="53" y="1058"/>
                    </a:lnTo>
                    <a:lnTo>
                      <a:pt x="54" y="1060"/>
                    </a:lnTo>
                    <a:lnTo>
                      <a:pt x="56" y="1060"/>
                    </a:lnTo>
                    <a:lnTo>
                      <a:pt x="58" y="1060"/>
                    </a:lnTo>
                    <a:lnTo>
                      <a:pt x="58" y="1058"/>
                    </a:lnTo>
                    <a:lnTo>
                      <a:pt x="58" y="1056"/>
                    </a:lnTo>
                    <a:lnTo>
                      <a:pt x="60" y="1056"/>
                    </a:lnTo>
                    <a:lnTo>
                      <a:pt x="58" y="1056"/>
                    </a:lnTo>
                    <a:lnTo>
                      <a:pt x="58" y="1055"/>
                    </a:lnTo>
                    <a:lnTo>
                      <a:pt x="56" y="1053"/>
                    </a:lnTo>
                    <a:lnTo>
                      <a:pt x="54" y="1053"/>
                    </a:lnTo>
                    <a:lnTo>
                      <a:pt x="56" y="1051"/>
                    </a:lnTo>
                    <a:lnTo>
                      <a:pt x="58" y="1049"/>
                    </a:lnTo>
                    <a:lnTo>
                      <a:pt x="58" y="1048"/>
                    </a:lnTo>
                    <a:lnTo>
                      <a:pt x="56" y="1048"/>
                    </a:lnTo>
                    <a:lnTo>
                      <a:pt x="54" y="1048"/>
                    </a:lnTo>
                    <a:lnTo>
                      <a:pt x="56" y="1046"/>
                    </a:lnTo>
                    <a:lnTo>
                      <a:pt x="54" y="1046"/>
                    </a:lnTo>
                    <a:lnTo>
                      <a:pt x="54" y="1044"/>
                    </a:lnTo>
                    <a:lnTo>
                      <a:pt x="54" y="1043"/>
                    </a:lnTo>
                    <a:lnTo>
                      <a:pt x="56" y="1043"/>
                    </a:lnTo>
                    <a:lnTo>
                      <a:pt x="56" y="1041"/>
                    </a:lnTo>
                    <a:lnTo>
                      <a:pt x="54" y="1039"/>
                    </a:lnTo>
                    <a:lnTo>
                      <a:pt x="56" y="1039"/>
                    </a:lnTo>
                    <a:lnTo>
                      <a:pt x="58" y="1039"/>
                    </a:lnTo>
                    <a:lnTo>
                      <a:pt x="60" y="1039"/>
                    </a:lnTo>
                    <a:lnTo>
                      <a:pt x="60" y="1038"/>
                    </a:lnTo>
                    <a:lnTo>
                      <a:pt x="61" y="1038"/>
                    </a:lnTo>
                    <a:lnTo>
                      <a:pt x="61" y="1036"/>
                    </a:lnTo>
                    <a:lnTo>
                      <a:pt x="63" y="1036"/>
                    </a:lnTo>
                    <a:lnTo>
                      <a:pt x="63" y="1034"/>
                    </a:lnTo>
                    <a:lnTo>
                      <a:pt x="65" y="1034"/>
                    </a:lnTo>
                    <a:lnTo>
                      <a:pt x="66" y="1032"/>
                    </a:lnTo>
                    <a:lnTo>
                      <a:pt x="65" y="1031"/>
                    </a:lnTo>
                    <a:lnTo>
                      <a:pt x="66" y="1031"/>
                    </a:lnTo>
                    <a:lnTo>
                      <a:pt x="65" y="1029"/>
                    </a:lnTo>
                    <a:lnTo>
                      <a:pt x="65" y="1027"/>
                    </a:lnTo>
                    <a:lnTo>
                      <a:pt x="65" y="1026"/>
                    </a:lnTo>
                    <a:lnTo>
                      <a:pt x="65" y="1024"/>
                    </a:lnTo>
                    <a:lnTo>
                      <a:pt x="63" y="1021"/>
                    </a:lnTo>
                    <a:lnTo>
                      <a:pt x="63" y="1017"/>
                    </a:lnTo>
                    <a:lnTo>
                      <a:pt x="63" y="1015"/>
                    </a:lnTo>
                    <a:lnTo>
                      <a:pt x="63" y="1014"/>
                    </a:lnTo>
                    <a:lnTo>
                      <a:pt x="63" y="1012"/>
                    </a:lnTo>
                    <a:lnTo>
                      <a:pt x="61" y="1010"/>
                    </a:lnTo>
                    <a:lnTo>
                      <a:pt x="61" y="1009"/>
                    </a:lnTo>
                    <a:lnTo>
                      <a:pt x="60" y="1009"/>
                    </a:lnTo>
                    <a:lnTo>
                      <a:pt x="58" y="1009"/>
                    </a:lnTo>
                    <a:lnTo>
                      <a:pt x="58" y="1007"/>
                    </a:lnTo>
                    <a:lnTo>
                      <a:pt x="56" y="1007"/>
                    </a:lnTo>
                    <a:lnTo>
                      <a:pt x="58" y="1005"/>
                    </a:lnTo>
                    <a:lnTo>
                      <a:pt x="60" y="1005"/>
                    </a:lnTo>
                    <a:lnTo>
                      <a:pt x="61" y="1005"/>
                    </a:lnTo>
                    <a:lnTo>
                      <a:pt x="61" y="1004"/>
                    </a:lnTo>
                    <a:lnTo>
                      <a:pt x="63" y="1004"/>
                    </a:lnTo>
                    <a:lnTo>
                      <a:pt x="65" y="1004"/>
                    </a:lnTo>
                    <a:lnTo>
                      <a:pt x="65" y="1002"/>
                    </a:lnTo>
                    <a:lnTo>
                      <a:pt x="65" y="1000"/>
                    </a:lnTo>
                    <a:lnTo>
                      <a:pt x="66" y="1000"/>
                    </a:lnTo>
                    <a:lnTo>
                      <a:pt x="66" y="998"/>
                    </a:lnTo>
                    <a:lnTo>
                      <a:pt x="66" y="997"/>
                    </a:lnTo>
                    <a:lnTo>
                      <a:pt x="66" y="995"/>
                    </a:lnTo>
                    <a:lnTo>
                      <a:pt x="65" y="993"/>
                    </a:lnTo>
                    <a:lnTo>
                      <a:pt x="63" y="993"/>
                    </a:lnTo>
                    <a:lnTo>
                      <a:pt x="63" y="992"/>
                    </a:lnTo>
                    <a:lnTo>
                      <a:pt x="63" y="993"/>
                    </a:lnTo>
                    <a:lnTo>
                      <a:pt x="61" y="992"/>
                    </a:lnTo>
                    <a:lnTo>
                      <a:pt x="63" y="990"/>
                    </a:lnTo>
                    <a:lnTo>
                      <a:pt x="61" y="990"/>
                    </a:lnTo>
                    <a:lnTo>
                      <a:pt x="61" y="988"/>
                    </a:lnTo>
                    <a:lnTo>
                      <a:pt x="61" y="987"/>
                    </a:lnTo>
                    <a:lnTo>
                      <a:pt x="61" y="985"/>
                    </a:lnTo>
                    <a:lnTo>
                      <a:pt x="61" y="983"/>
                    </a:lnTo>
                    <a:lnTo>
                      <a:pt x="61" y="981"/>
                    </a:lnTo>
                    <a:lnTo>
                      <a:pt x="63" y="980"/>
                    </a:lnTo>
                    <a:lnTo>
                      <a:pt x="61" y="980"/>
                    </a:lnTo>
                    <a:lnTo>
                      <a:pt x="61" y="978"/>
                    </a:lnTo>
                    <a:lnTo>
                      <a:pt x="63" y="978"/>
                    </a:lnTo>
                    <a:lnTo>
                      <a:pt x="63" y="976"/>
                    </a:lnTo>
                    <a:lnTo>
                      <a:pt x="65" y="976"/>
                    </a:lnTo>
                    <a:lnTo>
                      <a:pt x="66" y="976"/>
                    </a:lnTo>
                    <a:lnTo>
                      <a:pt x="68" y="976"/>
                    </a:lnTo>
                    <a:lnTo>
                      <a:pt x="70" y="976"/>
                    </a:lnTo>
                    <a:lnTo>
                      <a:pt x="70" y="975"/>
                    </a:lnTo>
                    <a:lnTo>
                      <a:pt x="71" y="975"/>
                    </a:lnTo>
                    <a:lnTo>
                      <a:pt x="70" y="973"/>
                    </a:lnTo>
                    <a:lnTo>
                      <a:pt x="70" y="971"/>
                    </a:lnTo>
                    <a:lnTo>
                      <a:pt x="70" y="969"/>
                    </a:lnTo>
                    <a:lnTo>
                      <a:pt x="71" y="969"/>
                    </a:lnTo>
                    <a:lnTo>
                      <a:pt x="73" y="969"/>
                    </a:lnTo>
                    <a:lnTo>
                      <a:pt x="73" y="968"/>
                    </a:lnTo>
                    <a:lnTo>
                      <a:pt x="75" y="968"/>
                    </a:lnTo>
                    <a:lnTo>
                      <a:pt x="77" y="968"/>
                    </a:lnTo>
                    <a:lnTo>
                      <a:pt x="77" y="966"/>
                    </a:lnTo>
                    <a:lnTo>
                      <a:pt x="77" y="964"/>
                    </a:lnTo>
                    <a:lnTo>
                      <a:pt x="75" y="964"/>
                    </a:lnTo>
                    <a:lnTo>
                      <a:pt x="77" y="963"/>
                    </a:lnTo>
                    <a:lnTo>
                      <a:pt x="75" y="963"/>
                    </a:lnTo>
                    <a:lnTo>
                      <a:pt x="75" y="961"/>
                    </a:lnTo>
                    <a:lnTo>
                      <a:pt x="73" y="961"/>
                    </a:lnTo>
                    <a:lnTo>
                      <a:pt x="73" y="959"/>
                    </a:lnTo>
                    <a:lnTo>
                      <a:pt x="71" y="958"/>
                    </a:lnTo>
                    <a:lnTo>
                      <a:pt x="71" y="956"/>
                    </a:lnTo>
                    <a:lnTo>
                      <a:pt x="70" y="956"/>
                    </a:lnTo>
                    <a:lnTo>
                      <a:pt x="70" y="954"/>
                    </a:lnTo>
                    <a:lnTo>
                      <a:pt x="68" y="952"/>
                    </a:lnTo>
                    <a:lnTo>
                      <a:pt x="68" y="951"/>
                    </a:lnTo>
                    <a:lnTo>
                      <a:pt x="70" y="951"/>
                    </a:lnTo>
                    <a:lnTo>
                      <a:pt x="68" y="951"/>
                    </a:lnTo>
                    <a:lnTo>
                      <a:pt x="66" y="951"/>
                    </a:lnTo>
                    <a:lnTo>
                      <a:pt x="66" y="949"/>
                    </a:lnTo>
                    <a:lnTo>
                      <a:pt x="65" y="951"/>
                    </a:lnTo>
                    <a:lnTo>
                      <a:pt x="65" y="949"/>
                    </a:lnTo>
                    <a:lnTo>
                      <a:pt x="63" y="949"/>
                    </a:lnTo>
                    <a:lnTo>
                      <a:pt x="61" y="947"/>
                    </a:lnTo>
                    <a:lnTo>
                      <a:pt x="61" y="949"/>
                    </a:lnTo>
                    <a:lnTo>
                      <a:pt x="60" y="947"/>
                    </a:lnTo>
                    <a:lnTo>
                      <a:pt x="58" y="947"/>
                    </a:lnTo>
                    <a:lnTo>
                      <a:pt x="58" y="949"/>
                    </a:lnTo>
                    <a:lnTo>
                      <a:pt x="56" y="949"/>
                    </a:lnTo>
                    <a:lnTo>
                      <a:pt x="56" y="947"/>
                    </a:lnTo>
                    <a:lnTo>
                      <a:pt x="54" y="947"/>
                    </a:lnTo>
                    <a:lnTo>
                      <a:pt x="53" y="946"/>
                    </a:lnTo>
                    <a:lnTo>
                      <a:pt x="53" y="947"/>
                    </a:lnTo>
                    <a:lnTo>
                      <a:pt x="53" y="946"/>
                    </a:lnTo>
                    <a:lnTo>
                      <a:pt x="51" y="946"/>
                    </a:lnTo>
                    <a:lnTo>
                      <a:pt x="53" y="944"/>
                    </a:lnTo>
                    <a:lnTo>
                      <a:pt x="51" y="944"/>
                    </a:lnTo>
                    <a:lnTo>
                      <a:pt x="53" y="944"/>
                    </a:lnTo>
                    <a:lnTo>
                      <a:pt x="53" y="942"/>
                    </a:lnTo>
                    <a:lnTo>
                      <a:pt x="51" y="942"/>
                    </a:lnTo>
                    <a:lnTo>
                      <a:pt x="51" y="941"/>
                    </a:lnTo>
                    <a:lnTo>
                      <a:pt x="51" y="939"/>
                    </a:lnTo>
                    <a:lnTo>
                      <a:pt x="53" y="941"/>
                    </a:lnTo>
                    <a:lnTo>
                      <a:pt x="54" y="941"/>
                    </a:lnTo>
                    <a:lnTo>
                      <a:pt x="56" y="941"/>
                    </a:lnTo>
                    <a:lnTo>
                      <a:pt x="56" y="942"/>
                    </a:lnTo>
                    <a:lnTo>
                      <a:pt x="56" y="941"/>
                    </a:lnTo>
                    <a:lnTo>
                      <a:pt x="58" y="941"/>
                    </a:lnTo>
                    <a:lnTo>
                      <a:pt x="58" y="942"/>
                    </a:lnTo>
                    <a:lnTo>
                      <a:pt x="60" y="941"/>
                    </a:lnTo>
                    <a:lnTo>
                      <a:pt x="60" y="942"/>
                    </a:lnTo>
                    <a:lnTo>
                      <a:pt x="60" y="941"/>
                    </a:lnTo>
                    <a:lnTo>
                      <a:pt x="61" y="939"/>
                    </a:lnTo>
                    <a:lnTo>
                      <a:pt x="61" y="941"/>
                    </a:lnTo>
                    <a:lnTo>
                      <a:pt x="63" y="941"/>
                    </a:lnTo>
                    <a:lnTo>
                      <a:pt x="65" y="941"/>
                    </a:lnTo>
                    <a:lnTo>
                      <a:pt x="66" y="941"/>
                    </a:lnTo>
                    <a:lnTo>
                      <a:pt x="68" y="941"/>
                    </a:lnTo>
                    <a:lnTo>
                      <a:pt x="68" y="939"/>
                    </a:lnTo>
                    <a:lnTo>
                      <a:pt x="68" y="941"/>
                    </a:lnTo>
                    <a:lnTo>
                      <a:pt x="70" y="939"/>
                    </a:lnTo>
                    <a:lnTo>
                      <a:pt x="71" y="939"/>
                    </a:lnTo>
                    <a:lnTo>
                      <a:pt x="73" y="939"/>
                    </a:lnTo>
                    <a:lnTo>
                      <a:pt x="73" y="941"/>
                    </a:lnTo>
                    <a:lnTo>
                      <a:pt x="75" y="941"/>
                    </a:lnTo>
                    <a:lnTo>
                      <a:pt x="75" y="942"/>
                    </a:lnTo>
                    <a:lnTo>
                      <a:pt x="77" y="942"/>
                    </a:lnTo>
                    <a:lnTo>
                      <a:pt x="78" y="942"/>
                    </a:lnTo>
                    <a:lnTo>
                      <a:pt x="78" y="941"/>
                    </a:lnTo>
                    <a:lnTo>
                      <a:pt x="80" y="941"/>
                    </a:lnTo>
                    <a:lnTo>
                      <a:pt x="80" y="939"/>
                    </a:lnTo>
                    <a:lnTo>
                      <a:pt x="80" y="937"/>
                    </a:lnTo>
                    <a:lnTo>
                      <a:pt x="82" y="935"/>
                    </a:lnTo>
                    <a:lnTo>
                      <a:pt x="80" y="935"/>
                    </a:lnTo>
                    <a:lnTo>
                      <a:pt x="80" y="934"/>
                    </a:lnTo>
                    <a:lnTo>
                      <a:pt x="82" y="932"/>
                    </a:lnTo>
                    <a:lnTo>
                      <a:pt x="80" y="932"/>
                    </a:lnTo>
                    <a:lnTo>
                      <a:pt x="82" y="932"/>
                    </a:lnTo>
                    <a:lnTo>
                      <a:pt x="83" y="932"/>
                    </a:lnTo>
                    <a:lnTo>
                      <a:pt x="85" y="932"/>
                    </a:lnTo>
                    <a:lnTo>
                      <a:pt x="83" y="930"/>
                    </a:lnTo>
                    <a:lnTo>
                      <a:pt x="85" y="929"/>
                    </a:lnTo>
                    <a:lnTo>
                      <a:pt x="83" y="929"/>
                    </a:lnTo>
                    <a:lnTo>
                      <a:pt x="82" y="927"/>
                    </a:lnTo>
                    <a:lnTo>
                      <a:pt x="83" y="927"/>
                    </a:lnTo>
                    <a:lnTo>
                      <a:pt x="83" y="925"/>
                    </a:lnTo>
                    <a:lnTo>
                      <a:pt x="82" y="925"/>
                    </a:lnTo>
                    <a:lnTo>
                      <a:pt x="80" y="924"/>
                    </a:lnTo>
                    <a:lnTo>
                      <a:pt x="80" y="925"/>
                    </a:lnTo>
                    <a:lnTo>
                      <a:pt x="80" y="924"/>
                    </a:lnTo>
                    <a:lnTo>
                      <a:pt x="78" y="924"/>
                    </a:lnTo>
                    <a:lnTo>
                      <a:pt x="77" y="924"/>
                    </a:lnTo>
                    <a:lnTo>
                      <a:pt x="75" y="924"/>
                    </a:lnTo>
                    <a:lnTo>
                      <a:pt x="75" y="922"/>
                    </a:lnTo>
                    <a:lnTo>
                      <a:pt x="73" y="922"/>
                    </a:lnTo>
                    <a:lnTo>
                      <a:pt x="71" y="922"/>
                    </a:lnTo>
                    <a:lnTo>
                      <a:pt x="71" y="924"/>
                    </a:lnTo>
                    <a:lnTo>
                      <a:pt x="70" y="922"/>
                    </a:lnTo>
                    <a:lnTo>
                      <a:pt x="70" y="924"/>
                    </a:lnTo>
                    <a:lnTo>
                      <a:pt x="68" y="924"/>
                    </a:lnTo>
                    <a:lnTo>
                      <a:pt x="66" y="922"/>
                    </a:lnTo>
                    <a:lnTo>
                      <a:pt x="66" y="924"/>
                    </a:lnTo>
                    <a:lnTo>
                      <a:pt x="65" y="924"/>
                    </a:lnTo>
                    <a:lnTo>
                      <a:pt x="65" y="922"/>
                    </a:lnTo>
                    <a:lnTo>
                      <a:pt x="63" y="922"/>
                    </a:lnTo>
                    <a:lnTo>
                      <a:pt x="63" y="924"/>
                    </a:lnTo>
                    <a:lnTo>
                      <a:pt x="61" y="924"/>
                    </a:lnTo>
                    <a:lnTo>
                      <a:pt x="60" y="924"/>
                    </a:lnTo>
                    <a:lnTo>
                      <a:pt x="60" y="922"/>
                    </a:lnTo>
                    <a:lnTo>
                      <a:pt x="60" y="920"/>
                    </a:lnTo>
                    <a:lnTo>
                      <a:pt x="61" y="920"/>
                    </a:lnTo>
                    <a:lnTo>
                      <a:pt x="61" y="918"/>
                    </a:lnTo>
                    <a:lnTo>
                      <a:pt x="60" y="917"/>
                    </a:lnTo>
                    <a:lnTo>
                      <a:pt x="60" y="915"/>
                    </a:lnTo>
                    <a:lnTo>
                      <a:pt x="61" y="913"/>
                    </a:lnTo>
                    <a:lnTo>
                      <a:pt x="60" y="913"/>
                    </a:lnTo>
                    <a:lnTo>
                      <a:pt x="60" y="912"/>
                    </a:lnTo>
                    <a:lnTo>
                      <a:pt x="58" y="910"/>
                    </a:lnTo>
                    <a:lnTo>
                      <a:pt x="60" y="910"/>
                    </a:lnTo>
                    <a:lnTo>
                      <a:pt x="61" y="910"/>
                    </a:lnTo>
                    <a:lnTo>
                      <a:pt x="63" y="908"/>
                    </a:lnTo>
                    <a:lnTo>
                      <a:pt x="63" y="907"/>
                    </a:lnTo>
                    <a:lnTo>
                      <a:pt x="63" y="905"/>
                    </a:lnTo>
                    <a:lnTo>
                      <a:pt x="65" y="905"/>
                    </a:lnTo>
                    <a:lnTo>
                      <a:pt x="65" y="903"/>
                    </a:lnTo>
                    <a:lnTo>
                      <a:pt x="65" y="901"/>
                    </a:lnTo>
                    <a:lnTo>
                      <a:pt x="66" y="901"/>
                    </a:lnTo>
                    <a:lnTo>
                      <a:pt x="65" y="900"/>
                    </a:lnTo>
                    <a:lnTo>
                      <a:pt x="63" y="900"/>
                    </a:lnTo>
                    <a:lnTo>
                      <a:pt x="63" y="898"/>
                    </a:lnTo>
                    <a:lnTo>
                      <a:pt x="63" y="896"/>
                    </a:lnTo>
                    <a:lnTo>
                      <a:pt x="61" y="896"/>
                    </a:lnTo>
                    <a:lnTo>
                      <a:pt x="63" y="896"/>
                    </a:lnTo>
                    <a:lnTo>
                      <a:pt x="61" y="896"/>
                    </a:lnTo>
                    <a:lnTo>
                      <a:pt x="63" y="895"/>
                    </a:lnTo>
                    <a:lnTo>
                      <a:pt x="61" y="895"/>
                    </a:lnTo>
                    <a:lnTo>
                      <a:pt x="63" y="893"/>
                    </a:lnTo>
                    <a:lnTo>
                      <a:pt x="65" y="891"/>
                    </a:lnTo>
                    <a:lnTo>
                      <a:pt x="65" y="890"/>
                    </a:lnTo>
                    <a:lnTo>
                      <a:pt x="66" y="890"/>
                    </a:lnTo>
                    <a:lnTo>
                      <a:pt x="68" y="890"/>
                    </a:lnTo>
                    <a:lnTo>
                      <a:pt x="66" y="890"/>
                    </a:lnTo>
                    <a:lnTo>
                      <a:pt x="68" y="890"/>
                    </a:lnTo>
                    <a:lnTo>
                      <a:pt x="68" y="888"/>
                    </a:lnTo>
                    <a:lnTo>
                      <a:pt x="68" y="886"/>
                    </a:lnTo>
                    <a:lnTo>
                      <a:pt x="66" y="886"/>
                    </a:lnTo>
                    <a:lnTo>
                      <a:pt x="65" y="886"/>
                    </a:lnTo>
                    <a:lnTo>
                      <a:pt x="63" y="886"/>
                    </a:lnTo>
                    <a:lnTo>
                      <a:pt x="63" y="884"/>
                    </a:lnTo>
                    <a:lnTo>
                      <a:pt x="61" y="884"/>
                    </a:lnTo>
                    <a:lnTo>
                      <a:pt x="61" y="883"/>
                    </a:lnTo>
                    <a:lnTo>
                      <a:pt x="60" y="883"/>
                    </a:lnTo>
                    <a:lnTo>
                      <a:pt x="58" y="883"/>
                    </a:lnTo>
                    <a:lnTo>
                      <a:pt x="58" y="881"/>
                    </a:lnTo>
                    <a:lnTo>
                      <a:pt x="60" y="879"/>
                    </a:lnTo>
                    <a:lnTo>
                      <a:pt x="58" y="879"/>
                    </a:lnTo>
                    <a:lnTo>
                      <a:pt x="58" y="878"/>
                    </a:lnTo>
                    <a:lnTo>
                      <a:pt x="58" y="879"/>
                    </a:lnTo>
                    <a:lnTo>
                      <a:pt x="56" y="879"/>
                    </a:lnTo>
                    <a:lnTo>
                      <a:pt x="56" y="878"/>
                    </a:lnTo>
                    <a:lnTo>
                      <a:pt x="56" y="876"/>
                    </a:lnTo>
                    <a:lnTo>
                      <a:pt x="58" y="874"/>
                    </a:lnTo>
                    <a:lnTo>
                      <a:pt x="58" y="873"/>
                    </a:lnTo>
                    <a:lnTo>
                      <a:pt x="56" y="873"/>
                    </a:lnTo>
                    <a:lnTo>
                      <a:pt x="58" y="873"/>
                    </a:lnTo>
                    <a:lnTo>
                      <a:pt x="60" y="873"/>
                    </a:lnTo>
                    <a:lnTo>
                      <a:pt x="61" y="873"/>
                    </a:lnTo>
                    <a:lnTo>
                      <a:pt x="61" y="871"/>
                    </a:lnTo>
                    <a:lnTo>
                      <a:pt x="61" y="873"/>
                    </a:lnTo>
                    <a:lnTo>
                      <a:pt x="63" y="873"/>
                    </a:lnTo>
                    <a:lnTo>
                      <a:pt x="63" y="871"/>
                    </a:lnTo>
                    <a:lnTo>
                      <a:pt x="63" y="869"/>
                    </a:lnTo>
                    <a:lnTo>
                      <a:pt x="61" y="867"/>
                    </a:lnTo>
                    <a:lnTo>
                      <a:pt x="63" y="867"/>
                    </a:lnTo>
                    <a:lnTo>
                      <a:pt x="63" y="866"/>
                    </a:lnTo>
                    <a:lnTo>
                      <a:pt x="61" y="866"/>
                    </a:lnTo>
                    <a:lnTo>
                      <a:pt x="61" y="864"/>
                    </a:lnTo>
                    <a:lnTo>
                      <a:pt x="60" y="864"/>
                    </a:lnTo>
                    <a:lnTo>
                      <a:pt x="58" y="864"/>
                    </a:lnTo>
                    <a:lnTo>
                      <a:pt x="58" y="862"/>
                    </a:lnTo>
                    <a:lnTo>
                      <a:pt x="56" y="862"/>
                    </a:lnTo>
                    <a:lnTo>
                      <a:pt x="56" y="861"/>
                    </a:lnTo>
                    <a:lnTo>
                      <a:pt x="54" y="859"/>
                    </a:lnTo>
                    <a:lnTo>
                      <a:pt x="53" y="859"/>
                    </a:lnTo>
                    <a:lnTo>
                      <a:pt x="53" y="857"/>
                    </a:lnTo>
                    <a:lnTo>
                      <a:pt x="51" y="857"/>
                    </a:lnTo>
                    <a:lnTo>
                      <a:pt x="51" y="856"/>
                    </a:lnTo>
                    <a:lnTo>
                      <a:pt x="49" y="854"/>
                    </a:lnTo>
                    <a:lnTo>
                      <a:pt x="49" y="852"/>
                    </a:lnTo>
                    <a:lnTo>
                      <a:pt x="49" y="850"/>
                    </a:lnTo>
                    <a:lnTo>
                      <a:pt x="49" y="849"/>
                    </a:lnTo>
                    <a:lnTo>
                      <a:pt x="48" y="849"/>
                    </a:lnTo>
                    <a:lnTo>
                      <a:pt x="49" y="849"/>
                    </a:lnTo>
                    <a:lnTo>
                      <a:pt x="49" y="847"/>
                    </a:lnTo>
                    <a:lnTo>
                      <a:pt x="49" y="845"/>
                    </a:lnTo>
                    <a:lnTo>
                      <a:pt x="49" y="844"/>
                    </a:lnTo>
                    <a:lnTo>
                      <a:pt x="48" y="844"/>
                    </a:lnTo>
                    <a:lnTo>
                      <a:pt x="48" y="842"/>
                    </a:lnTo>
                    <a:lnTo>
                      <a:pt x="49" y="842"/>
                    </a:lnTo>
                    <a:lnTo>
                      <a:pt x="49" y="840"/>
                    </a:lnTo>
                    <a:lnTo>
                      <a:pt x="49" y="839"/>
                    </a:lnTo>
                    <a:lnTo>
                      <a:pt x="51" y="839"/>
                    </a:lnTo>
                    <a:lnTo>
                      <a:pt x="51" y="837"/>
                    </a:lnTo>
                    <a:lnTo>
                      <a:pt x="53" y="837"/>
                    </a:lnTo>
                    <a:lnTo>
                      <a:pt x="53" y="835"/>
                    </a:lnTo>
                    <a:lnTo>
                      <a:pt x="53" y="833"/>
                    </a:lnTo>
                    <a:lnTo>
                      <a:pt x="53" y="832"/>
                    </a:lnTo>
                    <a:lnTo>
                      <a:pt x="53" y="830"/>
                    </a:lnTo>
                    <a:lnTo>
                      <a:pt x="51" y="830"/>
                    </a:lnTo>
                    <a:lnTo>
                      <a:pt x="51" y="828"/>
                    </a:lnTo>
                    <a:lnTo>
                      <a:pt x="49" y="830"/>
                    </a:lnTo>
                    <a:lnTo>
                      <a:pt x="49" y="828"/>
                    </a:lnTo>
                    <a:lnTo>
                      <a:pt x="49" y="827"/>
                    </a:lnTo>
                    <a:lnTo>
                      <a:pt x="49" y="825"/>
                    </a:lnTo>
                    <a:lnTo>
                      <a:pt x="48" y="823"/>
                    </a:lnTo>
                    <a:lnTo>
                      <a:pt x="49" y="823"/>
                    </a:lnTo>
                    <a:lnTo>
                      <a:pt x="48" y="822"/>
                    </a:lnTo>
                    <a:lnTo>
                      <a:pt x="48" y="820"/>
                    </a:lnTo>
                    <a:lnTo>
                      <a:pt x="48" y="818"/>
                    </a:lnTo>
                    <a:lnTo>
                      <a:pt x="49" y="818"/>
                    </a:lnTo>
                    <a:lnTo>
                      <a:pt x="51" y="818"/>
                    </a:lnTo>
                    <a:lnTo>
                      <a:pt x="51" y="816"/>
                    </a:lnTo>
                    <a:lnTo>
                      <a:pt x="53" y="816"/>
                    </a:lnTo>
                    <a:lnTo>
                      <a:pt x="53" y="818"/>
                    </a:lnTo>
                    <a:lnTo>
                      <a:pt x="54" y="818"/>
                    </a:lnTo>
                    <a:lnTo>
                      <a:pt x="56" y="820"/>
                    </a:lnTo>
                    <a:lnTo>
                      <a:pt x="58" y="820"/>
                    </a:lnTo>
                    <a:lnTo>
                      <a:pt x="58" y="818"/>
                    </a:lnTo>
                    <a:lnTo>
                      <a:pt x="60" y="818"/>
                    </a:lnTo>
                    <a:lnTo>
                      <a:pt x="60" y="820"/>
                    </a:lnTo>
                    <a:lnTo>
                      <a:pt x="60" y="818"/>
                    </a:lnTo>
                    <a:lnTo>
                      <a:pt x="61" y="818"/>
                    </a:lnTo>
                    <a:lnTo>
                      <a:pt x="63" y="818"/>
                    </a:lnTo>
                    <a:lnTo>
                      <a:pt x="63" y="816"/>
                    </a:lnTo>
                    <a:lnTo>
                      <a:pt x="63" y="815"/>
                    </a:lnTo>
                    <a:lnTo>
                      <a:pt x="63" y="813"/>
                    </a:lnTo>
                    <a:lnTo>
                      <a:pt x="61" y="813"/>
                    </a:lnTo>
                    <a:lnTo>
                      <a:pt x="61" y="811"/>
                    </a:lnTo>
                    <a:lnTo>
                      <a:pt x="61" y="810"/>
                    </a:lnTo>
                    <a:lnTo>
                      <a:pt x="61" y="808"/>
                    </a:lnTo>
                    <a:lnTo>
                      <a:pt x="61" y="806"/>
                    </a:lnTo>
                    <a:lnTo>
                      <a:pt x="61" y="804"/>
                    </a:lnTo>
                    <a:lnTo>
                      <a:pt x="61" y="803"/>
                    </a:lnTo>
                    <a:lnTo>
                      <a:pt x="61" y="801"/>
                    </a:lnTo>
                    <a:lnTo>
                      <a:pt x="61" y="799"/>
                    </a:lnTo>
                    <a:lnTo>
                      <a:pt x="60" y="799"/>
                    </a:lnTo>
                    <a:lnTo>
                      <a:pt x="61" y="798"/>
                    </a:lnTo>
                    <a:lnTo>
                      <a:pt x="60" y="798"/>
                    </a:lnTo>
                    <a:lnTo>
                      <a:pt x="60" y="796"/>
                    </a:lnTo>
                    <a:lnTo>
                      <a:pt x="58" y="796"/>
                    </a:lnTo>
                    <a:lnTo>
                      <a:pt x="58" y="794"/>
                    </a:lnTo>
                    <a:lnTo>
                      <a:pt x="58" y="793"/>
                    </a:lnTo>
                    <a:lnTo>
                      <a:pt x="60" y="793"/>
                    </a:lnTo>
                    <a:lnTo>
                      <a:pt x="60" y="791"/>
                    </a:lnTo>
                    <a:lnTo>
                      <a:pt x="60" y="789"/>
                    </a:lnTo>
                    <a:lnTo>
                      <a:pt x="60" y="787"/>
                    </a:lnTo>
                    <a:lnTo>
                      <a:pt x="60" y="786"/>
                    </a:lnTo>
                    <a:lnTo>
                      <a:pt x="58" y="786"/>
                    </a:lnTo>
                    <a:lnTo>
                      <a:pt x="58" y="784"/>
                    </a:lnTo>
                    <a:lnTo>
                      <a:pt x="58" y="782"/>
                    </a:lnTo>
                    <a:lnTo>
                      <a:pt x="56" y="782"/>
                    </a:lnTo>
                    <a:lnTo>
                      <a:pt x="58" y="782"/>
                    </a:lnTo>
                    <a:lnTo>
                      <a:pt x="58" y="781"/>
                    </a:lnTo>
                    <a:lnTo>
                      <a:pt x="58" y="779"/>
                    </a:lnTo>
                    <a:lnTo>
                      <a:pt x="58" y="777"/>
                    </a:lnTo>
                    <a:lnTo>
                      <a:pt x="60" y="779"/>
                    </a:lnTo>
                    <a:lnTo>
                      <a:pt x="58" y="777"/>
                    </a:lnTo>
                    <a:lnTo>
                      <a:pt x="60" y="777"/>
                    </a:lnTo>
                    <a:lnTo>
                      <a:pt x="58" y="777"/>
                    </a:lnTo>
                    <a:lnTo>
                      <a:pt x="58" y="776"/>
                    </a:lnTo>
                    <a:lnTo>
                      <a:pt x="58" y="774"/>
                    </a:lnTo>
                    <a:lnTo>
                      <a:pt x="60" y="774"/>
                    </a:lnTo>
                    <a:lnTo>
                      <a:pt x="60" y="772"/>
                    </a:lnTo>
                    <a:lnTo>
                      <a:pt x="60" y="770"/>
                    </a:lnTo>
                    <a:lnTo>
                      <a:pt x="60" y="769"/>
                    </a:lnTo>
                    <a:lnTo>
                      <a:pt x="58" y="769"/>
                    </a:lnTo>
                    <a:lnTo>
                      <a:pt x="58" y="767"/>
                    </a:lnTo>
                    <a:lnTo>
                      <a:pt x="58" y="765"/>
                    </a:lnTo>
                    <a:lnTo>
                      <a:pt x="56" y="765"/>
                    </a:lnTo>
                    <a:lnTo>
                      <a:pt x="58" y="765"/>
                    </a:lnTo>
                    <a:lnTo>
                      <a:pt x="58" y="764"/>
                    </a:lnTo>
                    <a:lnTo>
                      <a:pt x="58" y="762"/>
                    </a:lnTo>
                    <a:lnTo>
                      <a:pt x="58" y="760"/>
                    </a:lnTo>
                    <a:lnTo>
                      <a:pt x="58" y="762"/>
                    </a:lnTo>
                    <a:lnTo>
                      <a:pt x="58" y="760"/>
                    </a:lnTo>
                    <a:lnTo>
                      <a:pt x="56" y="760"/>
                    </a:lnTo>
                    <a:lnTo>
                      <a:pt x="56" y="759"/>
                    </a:lnTo>
                    <a:lnTo>
                      <a:pt x="56" y="757"/>
                    </a:lnTo>
                    <a:lnTo>
                      <a:pt x="56" y="755"/>
                    </a:lnTo>
                    <a:lnTo>
                      <a:pt x="54" y="755"/>
                    </a:lnTo>
                    <a:lnTo>
                      <a:pt x="54" y="753"/>
                    </a:lnTo>
                    <a:lnTo>
                      <a:pt x="56" y="753"/>
                    </a:lnTo>
                    <a:lnTo>
                      <a:pt x="58" y="752"/>
                    </a:lnTo>
                    <a:lnTo>
                      <a:pt x="58" y="750"/>
                    </a:lnTo>
                    <a:lnTo>
                      <a:pt x="60" y="750"/>
                    </a:lnTo>
                    <a:lnTo>
                      <a:pt x="60" y="748"/>
                    </a:lnTo>
                    <a:lnTo>
                      <a:pt x="58" y="748"/>
                    </a:lnTo>
                    <a:lnTo>
                      <a:pt x="58" y="747"/>
                    </a:lnTo>
                    <a:lnTo>
                      <a:pt x="60" y="745"/>
                    </a:lnTo>
                    <a:lnTo>
                      <a:pt x="58" y="745"/>
                    </a:lnTo>
                    <a:lnTo>
                      <a:pt x="60" y="743"/>
                    </a:lnTo>
                    <a:lnTo>
                      <a:pt x="60" y="742"/>
                    </a:lnTo>
                    <a:lnTo>
                      <a:pt x="61" y="740"/>
                    </a:lnTo>
                    <a:lnTo>
                      <a:pt x="61" y="742"/>
                    </a:lnTo>
                    <a:lnTo>
                      <a:pt x="61" y="740"/>
                    </a:lnTo>
                    <a:lnTo>
                      <a:pt x="63" y="742"/>
                    </a:lnTo>
                    <a:lnTo>
                      <a:pt x="65" y="740"/>
                    </a:lnTo>
                    <a:lnTo>
                      <a:pt x="65" y="738"/>
                    </a:lnTo>
                    <a:lnTo>
                      <a:pt x="65" y="736"/>
                    </a:lnTo>
                    <a:lnTo>
                      <a:pt x="65" y="735"/>
                    </a:lnTo>
                    <a:lnTo>
                      <a:pt x="63" y="735"/>
                    </a:lnTo>
                    <a:lnTo>
                      <a:pt x="61" y="735"/>
                    </a:lnTo>
                    <a:lnTo>
                      <a:pt x="60" y="733"/>
                    </a:lnTo>
                    <a:lnTo>
                      <a:pt x="61" y="733"/>
                    </a:lnTo>
                    <a:lnTo>
                      <a:pt x="60" y="733"/>
                    </a:lnTo>
                    <a:lnTo>
                      <a:pt x="60" y="731"/>
                    </a:lnTo>
                    <a:lnTo>
                      <a:pt x="61" y="730"/>
                    </a:lnTo>
                    <a:lnTo>
                      <a:pt x="60" y="730"/>
                    </a:lnTo>
                    <a:lnTo>
                      <a:pt x="60" y="728"/>
                    </a:lnTo>
                    <a:lnTo>
                      <a:pt x="61" y="728"/>
                    </a:lnTo>
                    <a:lnTo>
                      <a:pt x="60" y="726"/>
                    </a:lnTo>
                    <a:lnTo>
                      <a:pt x="61" y="726"/>
                    </a:lnTo>
                    <a:lnTo>
                      <a:pt x="63" y="726"/>
                    </a:lnTo>
                    <a:lnTo>
                      <a:pt x="65" y="728"/>
                    </a:lnTo>
                    <a:lnTo>
                      <a:pt x="65" y="726"/>
                    </a:lnTo>
                    <a:lnTo>
                      <a:pt x="65" y="725"/>
                    </a:lnTo>
                    <a:lnTo>
                      <a:pt x="65" y="723"/>
                    </a:lnTo>
                    <a:lnTo>
                      <a:pt x="65" y="721"/>
                    </a:lnTo>
                    <a:lnTo>
                      <a:pt x="66" y="721"/>
                    </a:lnTo>
                    <a:lnTo>
                      <a:pt x="66" y="719"/>
                    </a:lnTo>
                    <a:lnTo>
                      <a:pt x="68" y="719"/>
                    </a:lnTo>
                    <a:lnTo>
                      <a:pt x="68" y="718"/>
                    </a:lnTo>
                    <a:lnTo>
                      <a:pt x="66" y="716"/>
                    </a:lnTo>
                    <a:lnTo>
                      <a:pt x="65" y="716"/>
                    </a:lnTo>
                    <a:lnTo>
                      <a:pt x="65" y="714"/>
                    </a:lnTo>
                    <a:lnTo>
                      <a:pt x="65" y="713"/>
                    </a:lnTo>
                    <a:lnTo>
                      <a:pt x="65" y="711"/>
                    </a:lnTo>
                    <a:lnTo>
                      <a:pt x="63" y="711"/>
                    </a:lnTo>
                    <a:lnTo>
                      <a:pt x="63" y="709"/>
                    </a:lnTo>
                    <a:lnTo>
                      <a:pt x="65" y="709"/>
                    </a:lnTo>
                    <a:lnTo>
                      <a:pt x="63" y="709"/>
                    </a:lnTo>
                    <a:lnTo>
                      <a:pt x="65" y="709"/>
                    </a:lnTo>
                    <a:lnTo>
                      <a:pt x="65" y="708"/>
                    </a:lnTo>
                    <a:lnTo>
                      <a:pt x="63" y="706"/>
                    </a:lnTo>
                    <a:lnTo>
                      <a:pt x="65" y="706"/>
                    </a:lnTo>
                    <a:lnTo>
                      <a:pt x="65" y="704"/>
                    </a:lnTo>
                    <a:lnTo>
                      <a:pt x="65" y="702"/>
                    </a:lnTo>
                    <a:lnTo>
                      <a:pt x="65" y="704"/>
                    </a:lnTo>
                    <a:lnTo>
                      <a:pt x="66" y="704"/>
                    </a:lnTo>
                    <a:lnTo>
                      <a:pt x="66" y="706"/>
                    </a:lnTo>
                    <a:lnTo>
                      <a:pt x="68" y="706"/>
                    </a:lnTo>
                    <a:lnTo>
                      <a:pt x="70" y="706"/>
                    </a:lnTo>
                    <a:lnTo>
                      <a:pt x="71" y="706"/>
                    </a:lnTo>
                    <a:lnTo>
                      <a:pt x="71" y="704"/>
                    </a:lnTo>
                    <a:lnTo>
                      <a:pt x="71" y="702"/>
                    </a:lnTo>
                    <a:lnTo>
                      <a:pt x="70" y="702"/>
                    </a:lnTo>
                    <a:lnTo>
                      <a:pt x="70" y="701"/>
                    </a:lnTo>
                    <a:lnTo>
                      <a:pt x="71" y="699"/>
                    </a:lnTo>
                    <a:lnTo>
                      <a:pt x="71" y="697"/>
                    </a:lnTo>
                    <a:lnTo>
                      <a:pt x="73" y="697"/>
                    </a:lnTo>
                    <a:lnTo>
                      <a:pt x="71" y="697"/>
                    </a:lnTo>
                    <a:lnTo>
                      <a:pt x="73" y="696"/>
                    </a:lnTo>
                    <a:lnTo>
                      <a:pt x="71" y="696"/>
                    </a:lnTo>
                    <a:lnTo>
                      <a:pt x="71" y="694"/>
                    </a:lnTo>
                    <a:lnTo>
                      <a:pt x="73" y="694"/>
                    </a:lnTo>
                    <a:lnTo>
                      <a:pt x="75" y="694"/>
                    </a:lnTo>
                    <a:lnTo>
                      <a:pt x="75" y="692"/>
                    </a:lnTo>
                    <a:lnTo>
                      <a:pt x="75" y="691"/>
                    </a:lnTo>
                    <a:lnTo>
                      <a:pt x="75" y="689"/>
                    </a:lnTo>
                    <a:lnTo>
                      <a:pt x="75" y="687"/>
                    </a:lnTo>
                    <a:lnTo>
                      <a:pt x="73" y="685"/>
                    </a:lnTo>
                    <a:lnTo>
                      <a:pt x="73" y="684"/>
                    </a:lnTo>
                    <a:lnTo>
                      <a:pt x="73" y="682"/>
                    </a:lnTo>
                    <a:lnTo>
                      <a:pt x="73" y="680"/>
                    </a:lnTo>
                    <a:lnTo>
                      <a:pt x="75" y="680"/>
                    </a:lnTo>
                    <a:lnTo>
                      <a:pt x="73" y="680"/>
                    </a:lnTo>
                    <a:lnTo>
                      <a:pt x="73" y="679"/>
                    </a:lnTo>
                    <a:lnTo>
                      <a:pt x="73" y="677"/>
                    </a:lnTo>
                    <a:lnTo>
                      <a:pt x="73" y="675"/>
                    </a:lnTo>
                    <a:lnTo>
                      <a:pt x="75" y="675"/>
                    </a:lnTo>
                    <a:lnTo>
                      <a:pt x="75" y="674"/>
                    </a:lnTo>
                    <a:lnTo>
                      <a:pt x="77" y="674"/>
                    </a:lnTo>
                    <a:lnTo>
                      <a:pt x="78" y="672"/>
                    </a:lnTo>
                    <a:lnTo>
                      <a:pt x="78" y="670"/>
                    </a:lnTo>
                    <a:lnTo>
                      <a:pt x="80" y="670"/>
                    </a:lnTo>
                    <a:lnTo>
                      <a:pt x="82" y="670"/>
                    </a:lnTo>
                    <a:lnTo>
                      <a:pt x="83" y="670"/>
                    </a:lnTo>
                    <a:lnTo>
                      <a:pt x="83" y="668"/>
                    </a:lnTo>
                    <a:lnTo>
                      <a:pt x="85" y="668"/>
                    </a:lnTo>
                    <a:lnTo>
                      <a:pt x="87" y="668"/>
                    </a:lnTo>
                    <a:lnTo>
                      <a:pt x="88" y="668"/>
                    </a:lnTo>
                    <a:lnTo>
                      <a:pt x="90" y="668"/>
                    </a:lnTo>
                    <a:lnTo>
                      <a:pt x="90" y="667"/>
                    </a:lnTo>
                    <a:lnTo>
                      <a:pt x="92" y="667"/>
                    </a:lnTo>
                    <a:lnTo>
                      <a:pt x="92" y="665"/>
                    </a:lnTo>
                    <a:lnTo>
                      <a:pt x="90" y="665"/>
                    </a:lnTo>
                    <a:lnTo>
                      <a:pt x="90" y="663"/>
                    </a:lnTo>
                    <a:lnTo>
                      <a:pt x="92" y="663"/>
                    </a:lnTo>
                    <a:lnTo>
                      <a:pt x="92" y="662"/>
                    </a:lnTo>
                    <a:lnTo>
                      <a:pt x="94" y="662"/>
                    </a:lnTo>
                    <a:lnTo>
                      <a:pt x="94" y="660"/>
                    </a:lnTo>
                    <a:lnTo>
                      <a:pt x="94" y="658"/>
                    </a:lnTo>
                    <a:lnTo>
                      <a:pt x="92" y="658"/>
                    </a:lnTo>
                    <a:lnTo>
                      <a:pt x="92" y="656"/>
                    </a:lnTo>
                    <a:lnTo>
                      <a:pt x="90" y="656"/>
                    </a:lnTo>
                    <a:lnTo>
                      <a:pt x="90" y="655"/>
                    </a:lnTo>
                    <a:lnTo>
                      <a:pt x="88" y="655"/>
                    </a:lnTo>
                    <a:lnTo>
                      <a:pt x="88" y="653"/>
                    </a:lnTo>
                    <a:lnTo>
                      <a:pt x="88" y="651"/>
                    </a:lnTo>
                    <a:lnTo>
                      <a:pt x="87" y="650"/>
                    </a:lnTo>
                    <a:lnTo>
                      <a:pt x="88" y="650"/>
                    </a:lnTo>
                    <a:lnTo>
                      <a:pt x="87" y="650"/>
                    </a:lnTo>
                    <a:lnTo>
                      <a:pt x="87" y="648"/>
                    </a:lnTo>
                    <a:lnTo>
                      <a:pt x="87" y="646"/>
                    </a:lnTo>
                    <a:lnTo>
                      <a:pt x="87" y="645"/>
                    </a:lnTo>
                    <a:lnTo>
                      <a:pt x="88" y="645"/>
                    </a:lnTo>
                    <a:lnTo>
                      <a:pt x="88" y="643"/>
                    </a:lnTo>
                    <a:lnTo>
                      <a:pt x="87" y="641"/>
                    </a:lnTo>
                    <a:lnTo>
                      <a:pt x="85" y="639"/>
                    </a:lnTo>
                    <a:lnTo>
                      <a:pt x="87" y="639"/>
                    </a:lnTo>
                    <a:lnTo>
                      <a:pt x="88" y="639"/>
                    </a:lnTo>
                    <a:lnTo>
                      <a:pt x="87" y="639"/>
                    </a:lnTo>
                    <a:lnTo>
                      <a:pt x="87" y="638"/>
                    </a:lnTo>
                    <a:lnTo>
                      <a:pt x="85" y="638"/>
                    </a:lnTo>
                    <a:lnTo>
                      <a:pt x="85" y="636"/>
                    </a:lnTo>
                    <a:lnTo>
                      <a:pt x="85" y="634"/>
                    </a:lnTo>
                    <a:lnTo>
                      <a:pt x="83" y="633"/>
                    </a:lnTo>
                    <a:lnTo>
                      <a:pt x="83" y="631"/>
                    </a:lnTo>
                    <a:lnTo>
                      <a:pt x="83" y="629"/>
                    </a:lnTo>
                    <a:lnTo>
                      <a:pt x="82" y="629"/>
                    </a:lnTo>
                    <a:lnTo>
                      <a:pt x="82" y="628"/>
                    </a:lnTo>
                    <a:lnTo>
                      <a:pt x="83" y="628"/>
                    </a:lnTo>
                    <a:lnTo>
                      <a:pt x="82" y="628"/>
                    </a:lnTo>
                    <a:lnTo>
                      <a:pt x="82" y="626"/>
                    </a:lnTo>
                    <a:lnTo>
                      <a:pt x="82" y="624"/>
                    </a:lnTo>
                    <a:lnTo>
                      <a:pt x="82" y="622"/>
                    </a:lnTo>
                    <a:lnTo>
                      <a:pt x="80" y="622"/>
                    </a:lnTo>
                    <a:lnTo>
                      <a:pt x="80" y="621"/>
                    </a:lnTo>
                    <a:lnTo>
                      <a:pt x="82" y="619"/>
                    </a:lnTo>
                    <a:lnTo>
                      <a:pt x="83" y="617"/>
                    </a:lnTo>
                    <a:lnTo>
                      <a:pt x="83" y="616"/>
                    </a:lnTo>
                    <a:lnTo>
                      <a:pt x="82" y="616"/>
                    </a:lnTo>
                    <a:lnTo>
                      <a:pt x="83" y="616"/>
                    </a:lnTo>
                    <a:lnTo>
                      <a:pt x="83" y="614"/>
                    </a:lnTo>
                    <a:lnTo>
                      <a:pt x="83" y="612"/>
                    </a:lnTo>
                    <a:lnTo>
                      <a:pt x="83" y="611"/>
                    </a:lnTo>
                    <a:lnTo>
                      <a:pt x="82" y="609"/>
                    </a:lnTo>
                    <a:lnTo>
                      <a:pt x="80" y="609"/>
                    </a:lnTo>
                    <a:lnTo>
                      <a:pt x="82" y="607"/>
                    </a:lnTo>
                    <a:lnTo>
                      <a:pt x="80" y="607"/>
                    </a:lnTo>
                    <a:lnTo>
                      <a:pt x="80" y="605"/>
                    </a:lnTo>
                    <a:lnTo>
                      <a:pt x="80" y="604"/>
                    </a:lnTo>
                    <a:lnTo>
                      <a:pt x="82" y="604"/>
                    </a:lnTo>
                    <a:lnTo>
                      <a:pt x="82" y="602"/>
                    </a:lnTo>
                    <a:lnTo>
                      <a:pt x="83" y="602"/>
                    </a:lnTo>
                    <a:lnTo>
                      <a:pt x="83" y="600"/>
                    </a:lnTo>
                    <a:lnTo>
                      <a:pt x="83" y="599"/>
                    </a:lnTo>
                    <a:lnTo>
                      <a:pt x="85" y="599"/>
                    </a:lnTo>
                    <a:lnTo>
                      <a:pt x="85" y="597"/>
                    </a:lnTo>
                    <a:lnTo>
                      <a:pt x="83" y="597"/>
                    </a:lnTo>
                    <a:lnTo>
                      <a:pt x="83" y="595"/>
                    </a:lnTo>
                    <a:lnTo>
                      <a:pt x="83" y="594"/>
                    </a:lnTo>
                    <a:lnTo>
                      <a:pt x="82" y="594"/>
                    </a:lnTo>
                    <a:lnTo>
                      <a:pt x="82" y="592"/>
                    </a:lnTo>
                    <a:lnTo>
                      <a:pt x="80" y="592"/>
                    </a:lnTo>
                    <a:lnTo>
                      <a:pt x="82" y="592"/>
                    </a:lnTo>
                    <a:lnTo>
                      <a:pt x="83" y="592"/>
                    </a:lnTo>
                    <a:lnTo>
                      <a:pt x="83" y="590"/>
                    </a:lnTo>
                    <a:lnTo>
                      <a:pt x="85" y="590"/>
                    </a:lnTo>
                    <a:lnTo>
                      <a:pt x="83" y="590"/>
                    </a:lnTo>
                    <a:lnTo>
                      <a:pt x="82" y="588"/>
                    </a:lnTo>
                    <a:lnTo>
                      <a:pt x="83" y="588"/>
                    </a:lnTo>
                    <a:lnTo>
                      <a:pt x="83" y="587"/>
                    </a:lnTo>
                    <a:lnTo>
                      <a:pt x="82" y="587"/>
                    </a:lnTo>
                    <a:lnTo>
                      <a:pt x="82" y="585"/>
                    </a:lnTo>
                    <a:lnTo>
                      <a:pt x="83" y="585"/>
                    </a:lnTo>
                    <a:lnTo>
                      <a:pt x="83" y="583"/>
                    </a:lnTo>
                    <a:lnTo>
                      <a:pt x="83" y="582"/>
                    </a:lnTo>
                    <a:lnTo>
                      <a:pt x="83" y="580"/>
                    </a:lnTo>
                    <a:lnTo>
                      <a:pt x="83" y="578"/>
                    </a:lnTo>
                    <a:lnTo>
                      <a:pt x="85" y="578"/>
                    </a:lnTo>
                    <a:lnTo>
                      <a:pt x="85" y="580"/>
                    </a:lnTo>
                    <a:lnTo>
                      <a:pt x="87" y="580"/>
                    </a:lnTo>
                    <a:lnTo>
                      <a:pt x="87" y="578"/>
                    </a:lnTo>
                    <a:lnTo>
                      <a:pt x="87" y="577"/>
                    </a:lnTo>
                    <a:lnTo>
                      <a:pt x="85" y="577"/>
                    </a:lnTo>
                    <a:lnTo>
                      <a:pt x="87" y="575"/>
                    </a:lnTo>
                    <a:lnTo>
                      <a:pt x="85" y="575"/>
                    </a:lnTo>
                    <a:lnTo>
                      <a:pt x="87" y="573"/>
                    </a:lnTo>
                    <a:lnTo>
                      <a:pt x="85" y="573"/>
                    </a:lnTo>
                    <a:lnTo>
                      <a:pt x="87" y="571"/>
                    </a:lnTo>
                    <a:lnTo>
                      <a:pt x="87" y="570"/>
                    </a:lnTo>
                    <a:lnTo>
                      <a:pt x="87" y="571"/>
                    </a:lnTo>
                    <a:lnTo>
                      <a:pt x="88" y="571"/>
                    </a:lnTo>
                    <a:lnTo>
                      <a:pt x="90" y="571"/>
                    </a:lnTo>
                    <a:lnTo>
                      <a:pt x="90" y="570"/>
                    </a:lnTo>
                    <a:lnTo>
                      <a:pt x="92" y="570"/>
                    </a:lnTo>
                    <a:lnTo>
                      <a:pt x="92" y="568"/>
                    </a:lnTo>
                    <a:lnTo>
                      <a:pt x="92" y="566"/>
                    </a:lnTo>
                    <a:lnTo>
                      <a:pt x="92" y="568"/>
                    </a:lnTo>
                    <a:lnTo>
                      <a:pt x="94" y="568"/>
                    </a:lnTo>
                    <a:lnTo>
                      <a:pt x="94" y="566"/>
                    </a:lnTo>
                    <a:lnTo>
                      <a:pt x="94" y="568"/>
                    </a:lnTo>
                    <a:lnTo>
                      <a:pt x="95" y="568"/>
                    </a:lnTo>
                    <a:lnTo>
                      <a:pt x="97" y="568"/>
                    </a:lnTo>
                    <a:lnTo>
                      <a:pt x="99" y="568"/>
                    </a:lnTo>
                    <a:lnTo>
                      <a:pt x="99" y="566"/>
                    </a:lnTo>
                    <a:lnTo>
                      <a:pt x="97" y="566"/>
                    </a:lnTo>
                    <a:lnTo>
                      <a:pt x="97" y="565"/>
                    </a:lnTo>
                    <a:lnTo>
                      <a:pt x="99" y="563"/>
                    </a:lnTo>
                    <a:lnTo>
                      <a:pt x="97" y="561"/>
                    </a:lnTo>
                    <a:lnTo>
                      <a:pt x="99" y="561"/>
                    </a:lnTo>
                    <a:lnTo>
                      <a:pt x="100" y="561"/>
                    </a:lnTo>
                    <a:lnTo>
                      <a:pt x="100" y="560"/>
                    </a:lnTo>
                    <a:lnTo>
                      <a:pt x="100" y="558"/>
                    </a:lnTo>
                    <a:lnTo>
                      <a:pt x="102" y="558"/>
                    </a:lnTo>
                    <a:lnTo>
                      <a:pt x="102" y="556"/>
                    </a:lnTo>
                    <a:lnTo>
                      <a:pt x="104" y="556"/>
                    </a:lnTo>
                    <a:lnTo>
                      <a:pt x="104" y="558"/>
                    </a:lnTo>
                    <a:lnTo>
                      <a:pt x="105" y="558"/>
                    </a:lnTo>
                    <a:lnTo>
                      <a:pt x="107" y="558"/>
                    </a:lnTo>
                    <a:lnTo>
                      <a:pt x="107" y="556"/>
                    </a:lnTo>
                    <a:lnTo>
                      <a:pt x="107" y="554"/>
                    </a:lnTo>
                    <a:lnTo>
                      <a:pt x="107" y="553"/>
                    </a:lnTo>
                    <a:lnTo>
                      <a:pt x="109" y="553"/>
                    </a:lnTo>
                    <a:lnTo>
                      <a:pt x="109" y="551"/>
                    </a:lnTo>
                    <a:lnTo>
                      <a:pt x="109" y="549"/>
                    </a:lnTo>
                    <a:lnTo>
                      <a:pt x="107" y="549"/>
                    </a:lnTo>
                    <a:lnTo>
                      <a:pt x="109" y="548"/>
                    </a:lnTo>
                    <a:lnTo>
                      <a:pt x="107" y="548"/>
                    </a:lnTo>
                    <a:lnTo>
                      <a:pt x="107" y="546"/>
                    </a:lnTo>
                    <a:lnTo>
                      <a:pt x="107" y="544"/>
                    </a:lnTo>
                    <a:lnTo>
                      <a:pt x="109" y="544"/>
                    </a:lnTo>
                    <a:lnTo>
                      <a:pt x="111" y="544"/>
                    </a:lnTo>
                    <a:lnTo>
                      <a:pt x="111" y="543"/>
                    </a:lnTo>
                    <a:lnTo>
                      <a:pt x="109" y="543"/>
                    </a:lnTo>
                    <a:lnTo>
                      <a:pt x="109" y="541"/>
                    </a:lnTo>
                    <a:lnTo>
                      <a:pt x="109" y="539"/>
                    </a:lnTo>
                    <a:lnTo>
                      <a:pt x="109" y="537"/>
                    </a:lnTo>
                    <a:lnTo>
                      <a:pt x="107" y="537"/>
                    </a:lnTo>
                    <a:lnTo>
                      <a:pt x="107" y="536"/>
                    </a:lnTo>
                    <a:lnTo>
                      <a:pt x="109" y="534"/>
                    </a:lnTo>
                    <a:lnTo>
                      <a:pt x="107" y="532"/>
                    </a:lnTo>
                    <a:lnTo>
                      <a:pt x="107" y="531"/>
                    </a:lnTo>
                    <a:lnTo>
                      <a:pt x="109" y="531"/>
                    </a:lnTo>
                    <a:lnTo>
                      <a:pt x="107" y="529"/>
                    </a:lnTo>
                    <a:lnTo>
                      <a:pt x="105" y="529"/>
                    </a:lnTo>
                    <a:lnTo>
                      <a:pt x="107" y="527"/>
                    </a:lnTo>
                    <a:lnTo>
                      <a:pt x="105" y="527"/>
                    </a:lnTo>
                    <a:lnTo>
                      <a:pt x="107" y="526"/>
                    </a:lnTo>
                    <a:lnTo>
                      <a:pt x="105" y="526"/>
                    </a:lnTo>
                    <a:lnTo>
                      <a:pt x="107" y="524"/>
                    </a:lnTo>
                    <a:lnTo>
                      <a:pt x="107" y="522"/>
                    </a:lnTo>
                    <a:lnTo>
                      <a:pt x="105" y="522"/>
                    </a:lnTo>
                    <a:lnTo>
                      <a:pt x="104" y="522"/>
                    </a:lnTo>
                    <a:lnTo>
                      <a:pt x="102" y="522"/>
                    </a:lnTo>
                    <a:lnTo>
                      <a:pt x="102" y="520"/>
                    </a:lnTo>
                    <a:lnTo>
                      <a:pt x="102" y="519"/>
                    </a:lnTo>
                    <a:lnTo>
                      <a:pt x="102" y="517"/>
                    </a:lnTo>
                    <a:lnTo>
                      <a:pt x="104" y="517"/>
                    </a:lnTo>
                    <a:lnTo>
                      <a:pt x="105" y="517"/>
                    </a:lnTo>
                    <a:lnTo>
                      <a:pt x="107" y="517"/>
                    </a:lnTo>
                    <a:lnTo>
                      <a:pt x="109" y="517"/>
                    </a:lnTo>
                    <a:lnTo>
                      <a:pt x="109" y="515"/>
                    </a:lnTo>
                    <a:lnTo>
                      <a:pt x="109" y="514"/>
                    </a:lnTo>
                    <a:lnTo>
                      <a:pt x="109" y="512"/>
                    </a:lnTo>
                    <a:lnTo>
                      <a:pt x="109" y="510"/>
                    </a:lnTo>
                    <a:lnTo>
                      <a:pt x="109" y="509"/>
                    </a:lnTo>
                    <a:lnTo>
                      <a:pt x="111" y="509"/>
                    </a:lnTo>
                    <a:lnTo>
                      <a:pt x="111" y="507"/>
                    </a:lnTo>
                    <a:lnTo>
                      <a:pt x="111" y="505"/>
                    </a:lnTo>
                    <a:lnTo>
                      <a:pt x="112" y="503"/>
                    </a:lnTo>
                    <a:lnTo>
                      <a:pt x="112" y="502"/>
                    </a:lnTo>
                    <a:lnTo>
                      <a:pt x="112" y="500"/>
                    </a:lnTo>
                    <a:lnTo>
                      <a:pt x="111" y="500"/>
                    </a:lnTo>
                    <a:lnTo>
                      <a:pt x="111" y="498"/>
                    </a:lnTo>
                    <a:lnTo>
                      <a:pt x="112" y="498"/>
                    </a:lnTo>
                    <a:lnTo>
                      <a:pt x="112" y="497"/>
                    </a:lnTo>
                    <a:lnTo>
                      <a:pt x="114" y="497"/>
                    </a:lnTo>
                    <a:lnTo>
                      <a:pt x="114" y="495"/>
                    </a:lnTo>
                    <a:lnTo>
                      <a:pt x="114" y="493"/>
                    </a:lnTo>
                    <a:lnTo>
                      <a:pt x="116" y="491"/>
                    </a:lnTo>
                    <a:lnTo>
                      <a:pt x="116" y="490"/>
                    </a:lnTo>
                    <a:lnTo>
                      <a:pt x="117" y="488"/>
                    </a:lnTo>
                    <a:lnTo>
                      <a:pt x="119" y="488"/>
                    </a:lnTo>
                    <a:lnTo>
                      <a:pt x="119" y="486"/>
                    </a:lnTo>
                    <a:lnTo>
                      <a:pt x="121" y="485"/>
                    </a:lnTo>
                    <a:lnTo>
                      <a:pt x="121" y="483"/>
                    </a:lnTo>
                    <a:lnTo>
                      <a:pt x="121" y="481"/>
                    </a:lnTo>
                    <a:lnTo>
                      <a:pt x="121" y="480"/>
                    </a:lnTo>
                    <a:lnTo>
                      <a:pt x="122" y="480"/>
                    </a:lnTo>
                    <a:lnTo>
                      <a:pt x="122" y="478"/>
                    </a:lnTo>
                    <a:lnTo>
                      <a:pt x="122" y="480"/>
                    </a:lnTo>
                    <a:lnTo>
                      <a:pt x="124" y="480"/>
                    </a:lnTo>
                    <a:lnTo>
                      <a:pt x="126" y="480"/>
                    </a:lnTo>
                    <a:lnTo>
                      <a:pt x="126" y="478"/>
                    </a:lnTo>
                    <a:lnTo>
                      <a:pt x="128" y="478"/>
                    </a:lnTo>
                    <a:lnTo>
                      <a:pt x="128" y="476"/>
                    </a:lnTo>
                    <a:lnTo>
                      <a:pt x="128" y="474"/>
                    </a:lnTo>
                    <a:lnTo>
                      <a:pt x="126" y="474"/>
                    </a:lnTo>
                    <a:lnTo>
                      <a:pt x="126" y="473"/>
                    </a:lnTo>
                    <a:lnTo>
                      <a:pt x="128" y="471"/>
                    </a:lnTo>
                    <a:lnTo>
                      <a:pt x="126" y="471"/>
                    </a:lnTo>
                    <a:lnTo>
                      <a:pt x="126" y="469"/>
                    </a:lnTo>
                    <a:lnTo>
                      <a:pt x="128" y="469"/>
                    </a:lnTo>
                    <a:lnTo>
                      <a:pt x="126" y="468"/>
                    </a:lnTo>
                    <a:lnTo>
                      <a:pt x="126" y="466"/>
                    </a:lnTo>
                    <a:lnTo>
                      <a:pt x="126" y="468"/>
                    </a:lnTo>
                    <a:lnTo>
                      <a:pt x="124" y="466"/>
                    </a:lnTo>
                    <a:lnTo>
                      <a:pt x="124" y="464"/>
                    </a:lnTo>
                    <a:lnTo>
                      <a:pt x="126" y="464"/>
                    </a:lnTo>
                    <a:lnTo>
                      <a:pt x="126" y="463"/>
                    </a:lnTo>
                    <a:lnTo>
                      <a:pt x="124" y="463"/>
                    </a:lnTo>
                    <a:lnTo>
                      <a:pt x="124" y="461"/>
                    </a:lnTo>
                    <a:lnTo>
                      <a:pt x="124" y="459"/>
                    </a:lnTo>
                    <a:lnTo>
                      <a:pt x="124" y="457"/>
                    </a:lnTo>
                    <a:lnTo>
                      <a:pt x="126" y="457"/>
                    </a:lnTo>
                    <a:lnTo>
                      <a:pt x="126" y="456"/>
                    </a:lnTo>
                    <a:lnTo>
                      <a:pt x="126" y="454"/>
                    </a:lnTo>
                    <a:lnTo>
                      <a:pt x="126" y="452"/>
                    </a:lnTo>
                    <a:lnTo>
                      <a:pt x="126" y="451"/>
                    </a:lnTo>
                    <a:lnTo>
                      <a:pt x="126" y="449"/>
                    </a:lnTo>
                    <a:lnTo>
                      <a:pt x="128" y="449"/>
                    </a:lnTo>
                    <a:lnTo>
                      <a:pt x="128" y="447"/>
                    </a:lnTo>
                    <a:lnTo>
                      <a:pt x="128" y="446"/>
                    </a:lnTo>
                    <a:lnTo>
                      <a:pt x="128" y="444"/>
                    </a:lnTo>
                    <a:lnTo>
                      <a:pt x="129" y="444"/>
                    </a:lnTo>
                    <a:lnTo>
                      <a:pt x="129" y="442"/>
                    </a:lnTo>
                    <a:lnTo>
                      <a:pt x="129" y="440"/>
                    </a:lnTo>
                    <a:lnTo>
                      <a:pt x="128" y="440"/>
                    </a:lnTo>
                    <a:lnTo>
                      <a:pt x="128" y="439"/>
                    </a:lnTo>
                    <a:lnTo>
                      <a:pt x="126" y="439"/>
                    </a:lnTo>
                    <a:lnTo>
                      <a:pt x="124" y="439"/>
                    </a:lnTo>
                    <a:lnTo>
                      <a:pt x="124" y="437"/>
                    </a:lnTo>
                    <a:lnTo>
                      <a:pt x="124" y="439"/>
                    </a:lnTo>
                    <a:lnTo>
                      <a:pt x="122" y="439"/>
                    </a:lnTo>
                    <a:lnTo>
                      <a:pt x="122" y="440"/>
                    </a:lnTo>
                    <a:lnTo>
                      <a:pt x="121" y="440"/>
                    </a:lnTo>
                    <a:lnTo>
                      <a:pt x="121" y="439"/>
                    </a:lnTo>
                    <a:lnTo>
                      <a:pt x="121" y="437"/>
                    </a:lnTo>
                    <a:lnTo>
                      <a:pt x="119" y="437"/>
                    </a:lnTo>
                    <a:lnTo>
                      <a:pt x="119" y="435"/>
                    </a:lnTo>
                    <a:lnTo>
                      <a:pt x="119" y="434"/>
                    </a:lnTo>
                    <a:lnTo>
                      <a:pt x="119" y="432"/>
                    </a:lnTo>
                    <a:lnTo>
                      <a:pt x="119" y="430"/>
                    </a:lnTo>
                    <a:lnTo>
                      <a:pt x="117" y="430"/>
                    </a:lnTo>
                    <a:lnTo>
                      <a:pt x="119" y="429"/>
                    </a:lnTo>
                    <a:lnTo>
                      <a:pt x="121" y="429"/>
                    </a:lnTo>
                    <a:lnTo>
                      <a:pt x="121" y="427"/>
                    </a:lnTo>
                    <a:lnTo>
                      <a:pt x="122" y="427"/>
                    </a:lnTo>
                    <a:lnTo>
                      <a:pt x="121" y="427"/>
                    </a:lnTo>
                    <a:lnTo>
                      <a:pt x="121" y="425"/>
                    </a:lnTo>
                    <a:lnTo>
                      <a:pt x="121" y="423"/>
                    </a:lnTo>
                    <a:lnTo>
                      <a:pt x="119" y="422"/>
                    </a:lnTo>
                    <a:lnTo>
                      <a:pt x="119" y="420"/>
                    </a:lnTo>
                    <a:lnTo>
                      <a:pt x="117" y="420"/>
                    </a:lnTo>
                    <a:lnTo>
                      <a:pt x="117" y="418"/>
                    </a:lnTo>
                    <a:lnTo>
                      <a:pt x="117" y="417"/>
                    </a:lnTo>
                    <a:lnTo>
                      <a:pt x="116" y="417"/>
                    </a:lnTo>
                    <a:lnTo>
                      <a:pt x="116" y="415"/>
                    </a:lnTo>
                    <a:lnTo>
                      <a:pt x="116" y="413"/>
                    </a:lnTo>
                    <a:lnTo>
                      <a:pt x="116" y="412"/>
                    </a:lnTo>
                    <a:lnTo>
                      <a:pt x="117" y="410"/>
                    </a:lnTo>
                    <a:lnTo>
                      <a:pt x="117" y="408"/>
                    </a:lnTo>
                    <a:lnTo>
                      <a:pt x="116" y="408"/>
                    </a:lnTo>
                    <a:lnTo>
                      <a:pt x="117" y="406"/>
                    </a:lnTo>
                    <a:lnTo>
                      <a:pt x="116" y="406"/>
                    </a:lnTo>
                    <a:lnTo>
                      <a:pt x="114" y="405"/>
                    </a:lnTo>
                    <a:lnTo>
                      <a:pt x="114" y="403"/>
                    </a:lnTo>
                    <a:lnTo>
                      <a:pt x="114" y="401"/>
                    </a:lnTo>
                    <a:lnTo>
                      <a:pt x="114" y="400"/>
                    </a:lnTo>
                    <a:lnTo>
                      <a:pt x="112" y="400"/>
                    </a:lnTo>
                    <a:lnTo>
                      <a:pt x="111" y="398"/>
                    </a:lnTo>
                    <a:lnTo>
                      <a:pt x="111" y="396"/>
                    </a:lnTo>
                    <a:lnTo>
                      <a:pt x="111" y="395"/>
                    </a:lnTo>
                    <a:lnTo>
                      <a:pt x="111" y="393"/>
                    </a:lnTo>
                    <a:lnTo>
                      <a:pt x="111" y="391"/>
                    </a:lnTo>
                    <a:lnTo>
                      <a:pt x="109" y="391"/>
                    </a:lnTo>
                    <a:lnTo>
                      <a:pt x="111" y="391"/>
                    </a:lnTo>
                    <a:lnTo>
                      <a:pt x="109" y="389"/>
                    </a:lnTo>
                    <a:lnTo>
                      <a:pt x="109" y="388"/>
                    </a:lnTo>
                    <a:lnTo>
                      <a:pt x="111" y="389"/>
                    </a:lnTo>
                    <a:lnTo>
                      <a:pt x="112" y="389"/>
                    </a:lnTo>
                    <a:lnTo>
                      <a:pt x="112" y="388"/>
                    </a:lnTo>
                    <a:lnTo>
                      <a:pt x="114" y="386"/>
                    </a:lnTo>
                    <a:lnTo>
                      <a:pt x="114" y="384"/>
                    </a:lnTo>
                    <a:lnTo>
                      <a:pt x="112" y="384"/>
                    </a:lnTo>
                    <a:lnTo>
                      <a:pt x="112" y="383"/>
                    </a:lnTo>
                    <a:lnTo>
                      <a:pt x="111" y="383"/>
                    </a:lnTo>
                    <a:lnTo>
                      <a:pt x="109" y="383"/>
                    </a:lnTo>
                    <a:lnTo>
                      <a:pt x="107" y="383"/>
                    </a:lnTo>
                    <a:lnTo>
                      <a:pt x="105" y="381"/>
                    </a:lnTo>
                    <a:lnTo>
                      <a:pt x="105" y="379"/>
                    </a:lnTo>
                    <a:lnTo>
                      <a:pt x="105" y="378"/>
                    </a:lnTo>
                    <a:lnTo>
                      <a:pt x="105" y="376"/>
                    </a:lnTo>
                    <a:lnTo>
                      <a:pt x="105" y="374"/>
                    </a:lnTo>
                    <a:lnTo>
                      <a:pt x="104" y="374"/>
                    </a:lnTo>
                    <a:lnTo>
                      <a:pt x="104" y="372"/>
                    </a:lnTo>
                    <a:lnTo>
                      <a:pt x="102" y="372"/>
                    </a:lnTo>
                    <a:lnTo>
                      <a:pt x="102" y="371"/>
                    </a:lnTo>
                    <a:lnTo>
                      <a:pt x="102" y="369"/>
                    </a:lnTo>
                    <a:lnTo>
                      <a:pt x="102" y="367"/>
                    </a:lnTo>
                    <a:lnTo>
                      <a:pt x="102" y="366"/>
                    </a:lnTo>
                    <a:lnTo>
                      <a:pt x="102" y="364"/>
                    </a:lnTo>
                    <a:lnTo>
                      <a:pt x="104" y="364"/>
                    </a:lnTo>
                    <a:lnTo>
                      <a:pt x="104" y="362"/>
                    </a:lnTo>
                    <a:lnTo>
                      <a:pt x="104" y="361"/>
                    </a:lnTo>
                    <a:lnTo>
                      <a:pt x="102" y="361"/>
                    </a:lnTo>
                    <a:lnTo>
                      <a:pt x="104" y="359"/>
                    </a:lnTo>
                    <a:lnTo>
                      <a:pt x="104" y="357"/>
                    </a:lnTo>
                    <a:lnTo>
                      <a:pt x="104" y="355"/>
                    </a:lnTo>
                    <a:lnTo>
                      <a:pt x="104" y="354"/>
                    </a:lnTo>
                    <a:lnTo>
                      <a:pt x="104" y="352"/>
                    </a:lnTo>
                    <a:lnTo>
                      <a:pt x="105" y="352"/>
                    </a:lnTo>
                    <a:lnTo>
                      <a:pt x="105" y="350"/>
                    </a:lnTo>
                    <a:lnTo>
                      <a:pt x="105" y="352"/>
                    </a:lnTo>
                    <a:lnTo>
                      <a:pt x="107" y="352"/>
                    </a:lnTo>
                    <a:lnTo>
                      <a:pt x="107" y="354"/>
                    </a:lnTo>
                    <a:lnTo>
                      <a:pt x="107" y="355"/>
                    </a:lnTo>
                    <a:lnTo>
                      <a:pt x="109" y="354"/>
                    </a:lnTo>
                    <a:lnTo>
                      <a:pt x="109" y="352"/>
                    </a:lnTo>
                    <a:lnTo>
                      <a:pt x="109" y="350"/>
                    </a:lnTo>
                    <a:lnTo>
                      <a:pt x="111" y="350"/>
                    </a:lnTo>
                    <a:lnTo>
                      <a:pt x="112" y="350"/>
                    </a:lnTo>
                    <a:lnTo>
                      <a:pt x="112" y="349"/>
                    </a:lnTo>
                    <a:lnTo>
                      <a:pt x="111" y="349"/>
                    </a:lnTo>
                    <a:lnTo>
                      <a:pt x="111" y="347"/>
                    </a:lnTo>
                    <a:lnTo>
                      <a:pt x="111" y="345"/>
                    </a:lnTo>
                    <a:lnTo>
                      <a:pt x="111" y="344"/>
                    </a:lnTo>
                    <a:lnTo>
                      <a:pt x="111" y="342"/>
                    </a:lnTo>
                    <a:lnTo>
                      <a:pt x="112" y="342"/>
                    </a:lnTo>
                    <a:lnTo>
                      <a:pt x="112" y="340"/>
                    </a:lnTo>
                    <a:lnTo>
                      <a:pt x="112" y="338"/>
                    </a:lnTo>
                    <a:lnTo>
                      <a:pt x="112" y="337"/>
                    </a:lnTo>
                    <a:lnTo>
                      <a:pt x="112" y="335"/>
                    </a:lnTo>
                    <a:lnTo>
                      <a:pt x="114" y="335"/>
                    </a:lnTo>
                    <a:lnTo>
                      <a:pt x="112" y="335"/>
                    </a:lnTo>
                    <a:lnTo>
                      <a:pt x="112" y="333"/>
                    </a:lnTo>
                    <a:lnTo>
                      <a:pt x="114" y="333"/>
                    </a:lnTo>
                    <a:lnTo>
                      <a:pt x="114" y="332"/>
                    </a:lnTo>
                    <a:lnTo>
                      <a:pt x="114" y="330"/>
                    </a:lnTo>
                    <a:lnTo>
                      <a:pt x="116" y="328"/>
                    </a:lnTo>
                    <a:lnTo>
                      <a:pt x="114" y="328"/>
                    </a:lnTo>
                    <a:lnTo>
                      <a:pt x="116" y="328"/>
                    </a:lnTo>
                    <a:lnTo>
                      <a:pt x="116" y="326"/>
                    </a:lnTo>
                    <a:lnTo>
                      <a:pt x="117" y="326"/>
                    </a:lnTo>
                    <a:lnTo>
                      <a:pt x="117" y="325"/>
                    </a:lnTo>
                    <a:lnTo>
                      <a:pt x="116" y="323"/>
                    </a:lnTo>
                    <a:lnTo>
                      <a:pt x="117" y="321"/>
                    </a:lnTo>
                    <a:lnTo>
                      <a:pt x="117" y="323"/>
                    </a:lnTo>
                    <a:lnTo>
                      <a:pt x="119" y="323"/>
                    </a:lnTo>
                    <a:lnTo>
                      <a:pt x="119" y="325"/>
                    </a:lnTo>
                    <a:lnTo>
                      <a:pt x="121" y="325"/>
                    </a:lnTo>
                    <a:lnTo>
                      <a:pt x="121" y="323"/>
                    </a:lnTo>
                    <a:lnTo>
                      <a:pt x="122" y="323"/>
                    </a:lnTo>
                    <a:lnTo>
                      <a:pt x="124" y="323"/>
                    </a:lnTo>
                    <a:lnTo>
                      <a:pt x="124" y="321"/>
                    </a:lnTo>
                    <a:lnTo>
                      <a:pt x="124" y="320"/>
                    </a:lnTo>
                    <a:lnTo>
                      <a:pt x="126" y="320"/>
                    </a:lnTo>
                    <a:lnTo>
                      <a:pt x="126" y="318"/>
                    </a:lnTo>
                    <a:lnTo>
                      <a:pt x="126" y="316"/>
                    </a:lnTo>
                    <a:lnTo>
                      <a:pt x="126" y="318"/>
                    </a:lnTo>
                    <a:lnTo>
                      <a:pt x="128" y="318"/>
                    </a:lnTo>
                    <a:lnTo>
                      <a:pt x="128" y="316"/>
                    </a:lnTo>
                    <a:lnTo>
                      <a:pt x="128" y="315"/>
                    </a:lnTo>
                    <a:lnTo>
                      <a:pt x="126" y="315"/>
                    </a:lnTo>
                    <a:lnTo>
                      <a:pt x="126" y="313"/>
                    </a:lnTo>
                    <a:lnTo>
                      <a:pt x="124" y="313"/>
                    </a:lnTo>
                    <a:lnTo>
                      <a:pt x="122" y="313"/>
                    </a:lnTo>
                    <a:lnTo>
                      <a:pt x="122" y="311"/>
                    </a:lnTo>
                    <a:lnTo>
                      <a:pt x="124" y="311"/>
                    </a:lnTo>
                    <a:lnTo>
                      <a:pt x="124" y="309"/>
                    </a:lnTo>
                    <a:lnTo>
                      <a:pt x="124" y="308"/>
                    </a:lnTo>
                    <a:lnTo>
                      <a:pt x="124" y="306"/>
                    </a:lnTo>
                    <a:lnTo>
                      <a:pt x="126" y="304"/>
                    </a:lnTo>
                    <a:lnTo>
                      <a:pt x="124" y="304"/>
                    </a:lnTo>
                    <a:lnTo>
                      <a:pt x="126" y="303"/>
                    </a:lnTo>
                    <a:lnTo>
                      <a:pt x="124" y="303"/>
                    </a:lnTo>
                    <a:lnTo>
                      <a:pt x="124" y="301"/>
                    </a:lnTo>
                    <a:lnTo>
                      <a:pt x="124" y="299"/>
                    </a:lnTo>
                    <a:lnTo>
                      <a:pt x="126" y="299"/>
                    </a:lnTo>
                    <a:lnTo>
                      <a:pt x="126" y="298"/>
                    </a:lnTo>
                    <a:lnTo>
                      <a:pt x="124" y="298"/>
                    </a:lnTo>
                    <a:lnTo>
                      <a:pt x="124" y="296"/>
                    </a:lnTo>
                    <a:lnTo>
                      <a:pt x="122" y="296"/>
                    </a:lnTo>
                    <a:lnTo>
                      <a:pt x="122" y="294"/>
                    </a:lnTo>
                    <a:lnTo>
                      <a:pt x="124" y="294"/>
                    </a:lnTo>
                    <a:lnTo>
                      <a:pt x="122" y="294"/>
                    </a:lnTo>
                    <a:lnTo>
                      <a:pt x="124" y="292"/>
                    </a:lnTo>
                    <a:lnTo>
                      <a:pt x="122" y="292"/>
                    </a:lnTo>
                    <a:lnTo>
                      <a:pt x="124" y="291"/>
                    </a:lnTo>
                    <a:lnTo>
                      <a:pt x="122" y="291"/>
                    </a:lnTo>
                    <a:lnTo>
                      <a:pt x="122" y="289"/>
                    </a:lnTo>
                    <a:lnTo>
                      <a:pt x="122" y="287"/>
                    </a:lnTo>
                    <a:lnTo>
                      <a:pt x="122" y="286"/>
                    </a:lnTo>
                    <a:lnTo>
                      <a:pt x="121" y="286"/>
                    </a:lnTo>
                    <a:lnTo>
                      <a:pt x="121" y="284"/>
                    </a:lnTo>
                    <a:lnTo>
                      <a:pt x="121" y="282"/>
                    </a:lnTo>
                    <a:lnTo>
                      <a:pt x="121" y="281"/>
                    </a:lnTo>
                    <a:lnTo>
                      <a:pt x="122" y="281"/>
                    </a:lnTo>
                    <a:lnTo>
                      <a:pt x="122" y="279"/>
                    </a:lnTo>
                    <a:lnTo>
                      <a:pt x="122" y="277"/>
                    </a:lnTo>
                    <a:lnTo>
                      <a:pt x="124" y="277"/>
                    </a:lnTo>
                    <a:lnTo>
                      <a:pt x="124" y="275"/>
                    </a:lnTo>
                    <a:lnTo>
                      <a:pt x="126" y="275"/>
                    </a:lnTo>
                    <a:lnTo>
                      <a:pt x="128" y="275"/>
                    </a:lnTo>
                    <a:lnTo>
                      <a:pt x="128" y="274"/>
                    </a:lnTo>
                    <a:lnTo>
                      <a:pt x="129" y="274"/>
                    </a:lnTo>
                    <a:lnTo>
                      <a:pt x="128" y="274"/>
                    </a:lnTo>
                    <a:lnTo>
                      <a:pt x="128" y="272"/>
                    </a:lnTo>
                    <a:lnTo>
                      <a:pt x="129" y="272"/>
                    </a:lnTo>
                    <a:lnTo>
                      <a:pt x="128" y="270"/>
                    </a:lnTo>
                    <a:lnTo>
                      <a:pt x="129" y="270"/>
                    </a:lnTo>
                    <a:lnTo>
                      <a:pt x="129" y="269"/>
                    </a:lnTo>
                    <a:lnTo>
                      <a:pt x="129" y="267"/>
                    </a:lnTo>
                    <a:lnTo>
                      <a:pt x="129" y="265"/>
                    </a:lnTo>
                    <a:lnTo>
                      <a:pt x="129" y="264"/>
                    </a:lnTo>
                    <a:lnTo>
                      <a:pt x="131" y="264"/>
                    </a:lnTo>
                    <a:lnTo>
                      <a:pt x="131" y="262"/>
                    </a:lnTo>
                    <a:lnTo>
                      <a:pt x="131" y="260"/>
                    </a:lnTo>
                    <a:lnTo>
                      <a:pt x="131" y="258"/>
                    </a:lnTo>
                    <a:lnTo>
                      <a:pt x="131" y="257"/>
                    </a:lnTo>
                    <a:lnTo>
                      <a:pt x="131" y="255"/>
                    </a:lnTo>
                    <a:lnTo>
                      <a:pt x="133" y="255"/>
                    </a:lnTo>
                    <a:lnTo>
                      <a:pt x="131" y="253"/>
                    </a:lnTo>
                    <a:lnTo>
                      <a:pt x="133" y="253"/>
                    </a:lnTo>
                    <a:lnTo>
                      <a:pt x="133" y="252"/>
                    </a:lnTo>
                    <a:lnTo>
                      <a:pt x="133" y="250"/>
                    </a:lnTo>
                    <a:lnTo>
                      <a:pt x="133" y="248"/>
                    </a:lnTo>
                    <a:lnTo>
                      <a:pt x="134" y="248"/>
                    </a:lnTo>
                    <a:lnTo>
                      <a:pt x="133" y="248"/>
                    </a:lnTo>
                    <a:lnTo>
                      <a:pt x="133" y="247"/>
                    </a:lnTo>
                    <a:lnTo>
                      <a:pt x="134" y="247"/>
                    </a:lnTo>
                    <a:lnTo>
                      <a:pt x="136" y="247"/>
                    </a:lnTo>
                    <a:lnTo>
                      <a:pt x="134" y="245"/>
                    </a:lnTo>
                    <a:lnTo>
                      <a:pt x="136" y="245"/>
                    </a:lnTo>
                    <a:lnTo>
                      <a:pt x="138" y="245"/>
                    </a:lnTo>
                    <a:lnTo>
                      <a:pt x="138" y="243"/>
                    </a:lnTo>
                    <a:lnTo>
                      <a:pt x="138" y="241"/>
                    </a:lnTo>
                    <a:lnTo>
                      <a:pt x="139" y="241"/>
                    </a:lnTo>
                    <a:lnTo>
                      <a:pt x="139" y="240"/>
                    </a:lnTo>
                    <a:lnTo>
                      <a:pt x="139" y="238"/>
                    </a:lnTo>
                    <a:lnTo>
                      <a:pt x="141" y="240"/>
                    </a:lnTo>
                    <a:lnTo>
                      <a:pt x="143" y="240"/>
                    </a:lnTo>
                    <a:lnTo>
                      <a:pt x="143" y="238"/>
                    </a:lnTo>
                    <a:lnTo>
                      <a:pt x="145" y="236"/>
                    </a:lnTo>
                    <a:lnTo>
                      <a:pt x="145" y="235"/>
                    </a:lnTo>
                    <a:lnTo>
                      <a:pt x="146" y="233"/>
                    </a:lnTo>
                    <a:lnTo>
                      <a:pt x="146" y="231"/>
                    </a:lnTo>
                    <a:lnTo>
                      <a:pt x="148" y="230"/>
                    </a:lnTo>
                    <a:lnTo>
                      <a:pt x="150" y="231"/>
                    </a:lnTo>
                    <a:lnTo>
                      <a:pt x="150" y="230"/>
                    </a:lnTo>
                    <a:lnTo>
                      <a:pt x="150" y="228"/>
                    </a:lnTo>
                    <a:lnTo>
                      <a:pt x="151" y="228"/>
                    </a:lnTo>
                    <a:lnTo>
                      <a:pt x="151" y="226"/>
                    </a:lnTo>
                    <a:lnTo>
                      <a:pt x="151" y="224"/>
                    </a:lnTo>
                    <a:lnTo>
                      <a:pt x="151" y="223"/>
                    </a:lnTo>
                    <a:lnTo>
                      <a:pt x="151" y="221"/>
                    </a:lnTo>
                    <a:lnTo>
                      <a:pt x="153" y="221"/>
                    </a:lnTo>
                    <a:lnTo>
                      <a:pt x="153" y="219"/>
                    </a:lnTo>
                    <a:lnTo>
                      <a:pt x="153" y="218"/>
                    </a:lnTo>
                    <a:lnTo>
                      <a:pt x="153" y="216"/>
                    </a:lnTo>
                    <a:lnTo>
                      <a:pt x="155" y="216"/>
                    </a:lnTo>
                    <a:lnTo>
                      <a:pt x="156" y="214"/>
                    </a:lnTo>
                    <a:lnTo>
                      <a:pt x="155" y="214"/>
                    </a:lnTo>
                    <a:lnTo>
                      <a:pt x="156" y="214"/>
                    </a:lnTo>
                    <a:lnTo>
                      <a:pt x="156" y="213"/>
                    </a:lnTo>
                    <a:lnTo>
                      <a:pt x="156" y="211"/>
                    </a:lnTo>
                    <a:lnTo>
                      <a:pt x="155" y="211"/>
                    </a:lnTo>
                    <a:lnTo>
                      <a:pt x="156" y="211"/>
                    </a:lnTo>
                    <a:lnTo>
                      <a:pt x="156" y="209"/>
                    </a:lnTo>
                    <a:lnTo>
                      <a:pt x="156" y="211"/>
                    </a:lnTo>
                    <a:lnTo>
                      <a:pt x="158" y="209"/>
                    </a:lnTo>
                    <a:lnTo>
                      <a:pt x="156" y="209"/>
                    </a:lnTo>
                    <a:lnTo>
                      <a:pt x="158" y="209"/>
                    </a:lnTo>
                    <a:lnTo>
                      <a:pt x="158" y="207"/>
                    </a:lnTo>
                    <a:lnTo>
                      <a:pt x="158" y="206"/>
                    </a:lnTo>
                    <a:lnTo>
                      <a:pt x="160" y="206"/>
                    </a:lnTo>
                    <a:lnTo>
                      <a:pt x="160" y="204"/>
                    </a:lnTo>
                    <a:lnTo>
                      <a:pt x="162" y="204"/>
                    </a:lnTo>
                    <a:lnTo>
                      <a:pt x="160" y="204"/>
                    </a:lnTo>
                    <a:lnTo>
                      <a:pt x="160" y="202"/>
                    </a:lnTo>
                    <a:lnTo>
                      <a:pt x="160" y="201"/>
                    </a:lnTo>
                    <a:lnTo>
                      <a:pt x="160" y="199"/>
                    </a:lnTo>
                    <a:lnTo>
                      <a:pt x="162" y="199"/>
                    </a:lnTo>
                    <a:lnTo>
                      <a:pt x="162" y="197"/>
                    </a:lnTo>
                    <a:lnTo>
                      <a:pt x="163" y="197"/>
                    </a:lnTo>
                    <a:lnTo>
                      <a:pt x="165" y="197"/>
                    </a:lnTo>
                    <a:lnTo>
                      <a:pt x="167" y="197"/>
                    </a:lnTo>
                    <a:lnTo>
                      <a:pt x="167" y="199"/>
                    </a:lnTo>
                    <a:lnTo>
                      <a:pt x="168" y="201"/>
                    </a:lnTo>
                    <a:lnTo>
                      <a:pt x="168" y="199"/>
                    </a:lnTo>
                    <a:lnTo>
                      <a:pt x="170" y="201"/>
                    </a:lnTo>
                    <a:lnTo>
                      <a:pt x="170" y="199"/>
                    </a:lnTo>
                    <a:lnTo>
                      <a:pt x="170" y="197"/>
                    </a:lnTo>
                    <a:lnTo>
                      <a:pt x="172" y="199"/>
                    </a:lnTo>
                    <a:lnTo>
                      <a:pt x="173" y="197"/>
                    </a:lnTo>
                    <a:lnTo>
                      <a:pt x="172" y="196"/>
                    </a:lnTo>
                    <a:lnTo>
                      <a:pt x="173" y="197"/>
                    </a:lnTo>
                    <a:lnTo>
                      <a:pt x="173" y="196"/>
                    </a:lnTo>
                    <a:lnTo>
                      <a:pt x="175" y="196"/>
                    </a:lnTo>
                    <a:lnTo>
                      <a:pt x="177" y="196"/>
                    </a:lnTo>
                    <a:lnTo>
                      <a:pt x="179" y="196"/>
                    </a:lnTo>
                    <a:lnTo>
                      <a:pt x="179" y="194"/>
                    </a:lnTo>
                    <a:lnTo>
                      <a:pt x="179" y="192"/>
                    </a:lnTo>
                    <a:lnTo>
                      <a:pt x="179" y="190"/>
                    </a:lnTo>
                    <a:lnTo>
                      <a:pt x="180" y="190"/>
                    </a:lnTo>
                    <a:lnTo>
                      <a:pt x="179" y="190"/>
                    </a:lnTo>
                    <a:lnTo>
                      <a:pt x="179" y="189"/>
                    </a:lnTo>
                    <a:lnTo>
                      <a:pt x="177" y="187"/>
                    </a:lnTo>
                    <a:lnTo>
                      <a:pt x="177" y="185"/>
                    </a:lnTo>
                    <a:lnTo>
                      <a:pt x="175" y="185"/>
                    </a:lnTo>
                    <a:lnTo>
                      <a:pt x="173" y="182"/>
                    </a:lnTo>
                    <a:lnTo>
                      <a:pt x="173" y="180"/>
                    </a:lnTo>
                    <a:lnTo>
                      <a:pt x="172" y="180"/>
                    </a:lnTo>
                    <a:lnTo>
                      <a:pt x="172" y="178"/>
                    </a:lnTo>
                    <a:lnTo>
                      <a:pt x="170" y="177"/>
                    </a:lnTo>
                    <a:lnTo>
                      <a:pt x="170" y="175"/>
                    </a:lnTo>
                    <a:lnTo>
                      <a:pt x="168" y="173"/>
                    </a:lnTo>
                    <a:lnTo>
                      <a:pt x="168" y="172"/>
                    </a:lnTo>
                    <a:lnTo>
                      <a:pt x="170" y="170"/>
                    </a:lnTo>
                    <a:lnTo>
                      <a:pt x="170" y="167"/>
                    </a:lnTo>
                    <a:lnTo>
                      <a:pt x="172" y="165"/>
                    </a:lnTo>
                    <a:lnTo>
                      <a:pt x="173" y="163"/>
                    </a:lnTo>
                    <a:lnTo>
                      <a:pt x="175" y="163"/>
                    </a:lnTo>
                    <a:lnTo>
                      <a:pt x="175" y="160"/>
                    </a:lnTo>
                    <a:lnTo>
                      <a:pt x="175" y="156"/>
                    </a:lnTo>
                    <a:lnTo>
                      <a:pt x="175" y="155"/>
                    </a:lnTo>
                    <a:lnTo>
                      <a:pt x="173" y="151"/>
                    </a:lnTo>
                    <a:lnTo>
                      <a:pt x="173" y="146"/>
                    </a:lnTo>
                    <a:lnTo>
                      <a:pt x="172" y="144"/>
                    </a:lnTo>
                    <a:lnTo>
                      <a:pt x="172" y="143"/>
                    </a:lnTo>
                    <a:lnTo>
                      <a:pt x="170" y="143"/>
                    </a:lnTo>
                    <a:lnTo>
                      <a:pt x="170" y="141"/>
                    </a:lnTo>
                    <a:lnTo>
                      <a:pt x="172" y="139"/>
                    </a:lnTo>
                    <a:lnTo>
                      <a:pt x="170" y="139"/>
                    </a:lnTo>
                    <a:lnTo>
                      <a:pt x="170" y="138"/>
                    </a:lnTo>
                    <a:lnTo>
                      <a:pt x="170" y="136"/>
                    </a:lnTo>
                    <a:lnTo>
                      <a:pt x="168" y="134"/>
                    </a:lnTo>
                    <a:lnTo>
                      <a:pt x="170" y="134"/>
                    </a:lnTo>
                    <a:lnTo>
                      <a:pt x="170" y="133"/>
                    </a:lnTo>
                    <a:lnTo>
                      <a:pt x="172" y="133"/>
                    </a:lnTo>
                    <a:lnTo>
                      <a:pt x="172" y="131"/>
                    </a:lnTo>
                    <a:lnTo>
                      <a:pt x="170" y="131"/>
                    </a:lnTo>
                    <a:lnTo>
                      <a:pt x="170" y="129"/>
                    </a:lnTo>
                    <a:lnTo>
                      <a:pt x="170" y="127"/>
                    </a:lnTo>
                    <a:lnTo>
                      <a:pt x="172" y="127"/>
                    </a:lnTo>
                    <a:lnTo>
                      <a:pt x="172" y="126"/>
                    </a:lnTo>
                    <a:lnTo>
                      <a:pt x="172" y="124"/>
                    </a:lnTo>
                    <a:lnTo>
                      <a:pt x="173" y="122"/>
                    </a:lnTo>
                    <a:lnTo>
                      <a:pt x="175" y="122"/>
                    </a:lnTo>
                    <a:lnTo>
                      <a:pt x="175" y="124"/>
                    </a:lnTo>
                    <a:lnTo>
                      <a:pt x="175" y="122"/>
                    </a:lnTo>
                    <a:lnTo>
                      <a:pt x="177" y="122"/>
                    </a:lnTo>
                    <a:lnTo>
                      <a:pt x="177" y="121"/>
                    </a:lnTo>
                    <a:lnTo>
                      <a:pt x="177" y="119"/>
                    </a:lnTo>
                    <a:lnTo>
                      <a:pt x="175" y="119"/>
                    </a:lnTo>
                    <a:lnTo>
                      <a:pt x="175" y="117"/>
                    </a:lnTo>
                    <a:lnTo>
                      <a:pt x="173" y="117"/>
                    </a:lnTo>
                    <a:lnTo>
                      <a:pt x="173" y="116"/>
                    </a:lnTo>
                    <a:lnTo>
                      <a:pt x="173" y="114"/>
                    </a:lnTo>
                    <a:lnTo>
                      <a:pt x="172" y="114"/>
                    </a:lnTo>
                    <a:lnTo>
                      <a:pt x="170" y="112"/>
                    </a:lnTo>
                    <a:lnTo>
                      <a:pt x="170" y="110"/>
                    </a:lnTo>
                    <a:lnTo>
                      <a:pt x="170" y="109"/>
                    </a:lnTo>
                    <a:lnTo>
                      <a:pt x="170" y="107"/>
                    </a:lnTo>
                    <a:lnTo>
                      <a:pt x="172" y="107"/>
                    </a:lnTo>
                    <a:lnTo>
                      <a:pt x="172" y="105"/>
                    </a:lnTo>
                    <a:lnTo>
                      <a:pt x="172" y="104"/>
                    </a:lnTo>
                    <a:lnTo>
                      <a:pt x="173" y="104"/>
                    </a:lnTo>
                    <a:lnTo>
                      <a:pt x="173" y="102"/>
                    </a:lnTo>
                    <a:lnTo>
                      <a:pt x="175" y="102"/>
                    </a:lnTo>
                    <a:lnTo>
                      <a:pt x="175" y="100"/>
                    </a:lnTo>
                    <a:lnTo>
                      <a:pt x="175" y="99"/>
                    </a:lnTo>
                    <a:lnTo>
                      <a:pt x="177" y="99"/>
                    </a:lnTo>
                    <a:lnTo>
                      <a:pt x="177" y="100"/>
                    </a:lnTo>
                    <a:lnTo>
                      <a:pt x="179" y="99"/>
                    </a:lnTo>
                    <a:lnTo>
                      <a:pt x="179" y="97"/>
                    </a:lnTo>
                    <a:lnTo>
                      <a:pt x="180" y="97"/>
                    </a:lnTo>
                    <a:lnTo>
                      <a:pt x="180" y="95"/>
                    </a:lnTo>
                    <a:lnTo>
                      <a:pt x="187" y="93"/>
                    </a:lnTo>
                    <a:lnTo>
                      <a:pt x="189" y="92"/>
                    </a:lnTo>
                    <a:lnTo>
                      <a:pt x="190" y="92"/>
                    </a:lnTo>
                    <a:lnTo>
                      <a:pt x="199" y="88"/>
                    </a:lnTo>
                    <a:lnTo>
                      <a:pt x="206" y="85"/>
                    </a:lnTo>
                    <a:lnTo>
                      <a:pt x="211" y="83"/>
                    </a:lnTo>
                    <a:lnTo>
                      <a:pt x="214" y="73"/>
                    </a:lnTo>
                    <a:lnTo>
                      <a:pt x="214" y="71"/>
                    </a:lnTo>
                    <a:lnTo>
                      <a:pt x="218" y="61"/>
                    </a:lnTo>
                    <a:lnTo>
                      <a:pt x="219" y="54"/>
                    </a:lnTo>
                    <a:lnTo>
                      <a:pt x="219" y="53"/>
                    </a:lnTo>
                    <a:lnTo>
                      <a:pt x="223" y="44"/>
                    </a:lnTo>
                    <a:lnTo>
                      <a:pt x="219" y="41"/>
                    </a:lnTo>
                    <a:lnTo>
                      <a:pt x="216" y="37"/>
                    </a:lnTo>
                    <a:lnTo>
                      <a:pt x="218" y="34"/>
                    </a:lnTo>
                    <a:lnTo>
                      <a:pt x="223" y="32"/>
                    </a:lnTo>
                    <a:lnTo>
                      <a:pt x="223" y="31"/>
                    </a:lnTo>
                    <a:lnTo>
                      <a:pt x="221" y="31"/>
                    </a:lnTo>
                    <a:lnTo>
                      <a:pt x="221" y="29"/>
                    </a:lnTo>
                    <a:lnTo>
                      <a:pt x="221" y="27"/>
                    </a:lnTo>
                    <a:lnTo>
                      <a:pt x="223" y="27"/>
                    </a:lnTo>
                    <a:lnTo>
                      <a:pt x="224" y="25"/>
                    </a:lnTo>
                    <a:lnTo>
                      <a:pt x="226" y="25"/>
                    </a:lnTo>
                    <a:lnTo>
                      <a:pt x="230" y="24"/>
                    </a:lnTo>
                    <a:lnTo>
                      <a:pt x="230" y="22"/>
                    </a:lnTo>
                    <a:lnTo>
                      <a:pt x="230" y="20"/>
                    </a:lnTo>
                    <a:lnTo>
                      <a:pt x="231" y="20"/>
                    </a:lnTo>
                    <a:lnTo>
                      <a:pt x="231" y="19"/>
                    </a:lnTo>
                    <a:lnTo>
                      <a:pt x="231" y="17"/>
                    </a:lnTo>
                    <a:lnTo>
                      <a:pt x="233" y="15"/>
                    </a:lnTo>
                    <a:lnTo>
                      <a:pt x="235" y="15"/>
                    </a:lnTo>
                    <a:lnTo>
                      <a:pt x="241" y="13"/>
                    </a:lnTo>
                    <a:lnTo>
                      <a:pt x="245" y="12"/>
                    </a:lnTo>
                    <a:lnTo>
                      <a:pt x="247" y="12"/>
                    </a:lnTo>
                    <a:lnTo>
                      <a:pt x="247" y="10"/>
                    </a:lnTo>
                    <a:lnTo>
                      <a:pt x="247" y="8"/>
                    </a:lnTo>
                    <a:lnTo>
                      <a:pt x="247" y="7"/>
                    </a:lnTo>
                    <a:lnTo>
                      <a:pt x="247" y="5"/>
                    </a:lnTo>
                    <a:lnTo>
                      <a:pt x="248" y="5"/>
                    </a:lnTo>
                    <a:lnTo>
                      <a:pt x="247" y="5"/>
                    </a:lnTo>
                    <a:lnTo>
                      <a:pt x="248" y="5"/>
                    </a:lnTo>
                    <a:lnTo>
                      <a:pt x="248" y="3"/>
                    </a:lnTo>
                    <a:lnTo>
                      <a:pt x="248" y="2"/>
                    </a:lnTo>
                    <a:lnTo>
                      <a:pt x="248" y="0"/>
                    </a:lnTo>
                    <a:lnTo>
                      <a:pt x="250" y="0"/>
                    </a:lnTo>
                    <a:lnTo>
                      <a:pt x="252" y="2"/>
                    </a:lnTo>
                    <a:lnTo>
                      <a:pt x="253" y="2"/>
                    </a:lnTo>
                    <a:lnTo>
                      <a:pt x="255" y="3"/>
                    </a:lnTo>
                    <a:lnTo>
                      <a:pt x="255" y="5"/>
                    </a:lnTo>
                    <a:lnTo>
                      <a:pt x="257" y="5"/>
                    </a:lnTo>
                    <a:lnTo>
                      <a:pt x="258" y="5"/>
                    </a:lnTo>
                    <a:lnTo>
                      <a:pt x="260" y="8"/>
                    </a:lnTo>
                    <a:lnTo>
                      <a:pt x="262" y="10"/>
                    </a:lnTo>
                    <a:lnTo>
                      <a:pt x="264" y="10"/>
                    </a:lnTo>
                    <a:lnTo>
                      <a:pt x="264" y="12"/>
                    </a:lnTo>
                    <a:lnTo>
                      <a:pt x="265" y="12"/>
                    </a:lnTo>
                    <a:lnTo>
                      <a:pt x="267" y="12"/>
                    </a:lnTo>
                    <a:lnTo>
                      <a:pt x="269" y="12"/>
                    </a:lnTo>
                    <a:lnTo>
                      <a:pt x="270" y="12"/>
                    </a:lnTo>
                    <a:lnTo>
                      <a:pt x="270" y="10"/>
                    </a:lnTo>
                    <a:lnTo>
                      <a:pt x="274" y="12"/>
                    </a:lnTo>
                    <a:lnTo>
                      <a:pt x="275" y="12"/>
                    </a:lnTo>
                    <a:lnTo>
                      <a:pt x="277" y="12"/>
                    </a:lnTo>
                    <a:lnTo>
                      <a:pt x="281" y="12"/>
                    </a:lnTo>
                    <a:lnTo>
                      <a:pt x="281" y="10"/>
                    </a:lnTo>
                    <a:lnTo>
                      <a:pt x="281" y="12"/>
                    </a:lnTo>
                    <a:lnTo>
                      <a:pt x="284" y="10"/>
                    </a:lnTo>
                    <a:lnTo>
                      <a:pt x="287" y="10"/>
                    </a:lnTo>
                    <a:lnTo>
                      <a:pt x="289" y="10"/>
                    </a:lnTo>
                    <a:lnTo>
                      <a:pt x="291" y="10"/>
                    </a:lnTo>
                    <a:lnTo>
                      <a:pt x="291" y="12"/>
                    </a:lnTo>
                    <a:lnTo>
                      <a:pt x="292" y="12"/>
                    </a:lnTo>
                    <a:lnTo>
                      <a:pt x="294" y="12"/>
                    </a:lnTo>
                    <a:lnTo>
                      <a:pt x="296" y="13"/>
                    </a:lnTo>
                    <a:lnTo>
                      <a:pt x="298" y="13"/>
                    </a:lnTo>
                    <a:lnTo>
                      <a:pt x="299" y="15"/>
                    </a:lnTo>
                    <a:lnTo>
                      <a:pt x="301" y="15"/>
                    </a:lnTo>
                    <a:lnTo>
                      <a:pt x="303" y="15"/>
                    </a:lnTo>
                    <a:lnTo>
                      <a:pt x="304" y="17"/>
                    </a:lnTo>
                    <a:lnTo>
                      <a:pt x="306" y="17"/>
                    </a:lnTo>
                    <a:lnTo>
                      <a:pt x="306" y="19"/>
                    </a:lnTo>
                    <a:lnTo>
                      <a:pt x="304" y="20"/>
                    </a:lnTo>
                    <a:lnTo>
                      <a:pt x="304" y="22"/>
                    </a:lnTo>
                    <a:lnTo>
                      <a:pt x="306" y="22"/>
                    </a:lnTo>
                    <a:lnTo>
                      <a:pt x="306" y="24"/>
                    </a:lnTo>
                    <a:lnTo>
                      <a:pt x="308" y="24"/>
                    </a:lnTo>
                    <a:lnTo>
                      <a:pt x="308" y="25"/>
                    </a:lnTo>
                    <a:lnTo>
                      <a:pt x="309" y="25"/>
                    </a:lnTo>
                    <a:lnTo>
                      <a:pt x="308" y="27"/>
                    </a:lnTo>
                    <a:lnTo>
                      <a:pt x="309" y="27"/>
                    </a:lnTo>
                    <a:lnTo>
                      <a:pt x="309" y="29"/>
                    </a:lnTo>
                    <a:lnTo>
                      <a:pt x="309" y="31"/>
                    </a:lnTo>
                    <a:lnTo>
                      <a:pt x="309" y="32"/>
                    </a:lnTo>
                    <a:lnTo>
                      <a:pt x="311" y="32"/>
                    </a:lnTo>
                    <a:lnTo>
                      <a:pt x="311" y="34"/>
                    </a:lnTo>
                    <a:lnTo>
                      <a:pt x="309" y="34"/>
                    </a:lnTo>
                    <a:lnTo>
                      <a:pt x="311" y="34"/>
                    </a:lnTo>
                    <a:lnTo>
                      <a:pt x="313" y="36"/>
                    </a:lnTo>
                    <a:lnTo>
                      <a:pt x="313" y="37"/>
                    </a:lnTo>
                    <a:lnTo>
                      <a:pt x="311" y="37"/>
                    </a:lnTo>
                    <a:lnTo>
                      <a:pt x="313" y="37"/>
                    </a:lnTo>
                    <a:lnTo>
                      <a:pt x="313" y="39"/>
                    </a:lnTo>
                    <a:lnTo>
                      <a:pt x="313" y="41"/>
                    </a:lnTo>
                    <a:lnTo>
                      <a:pt x="313" y="39"/>
                    </a:lnTo>
                    <a:lnTo>
                      <a:pt x="315" y="39"/>
                    </a:lnTo>
                    <a:lnTo>
                      <a:pt x="313" y="39"/>
                    </a:lnTo>
                    <a:lnTo>
                      <a:pt x="315" y="37"/>
                    </a:lnTo>
                    <a:lnTo>
                      <a:pt x="315" y="36"/>
                    </a:lnTo>
                    <a:lnTo>
                      <a:pt x="315" y="34"/>
                    </a:lnTo>
                    <a:lnTo>
                      <a:pt x="315" y="32"/>
                    </a:lnTo>
                    <a:lnTo>
                      <a:pt x="315" y="31"/>
                    </a:lnTo>
                    <a:lnTo>
                      <a:pt x="316" y="31"/>
                    </a:lnTo>
                    <a:lnTo>
                      <a:pt x="316" y="29"/>
                    </a:lnTo>
                    <a:lnTo>
                      <a:pt x="315" y="29"/>
                    </a:lnTo>
                    <a:lnTo>
                      <a:pt x="316" y="29"/>
                    </a:lnTo>
                    <a:lnTo>
                      <a:pt x="316" y="27"/>
                    </a:lnTo>
                    <a:lnTo>
                      <a:pt x="316" y="25"/>
                    </a:lnTo>
                    <a:lnTo>
                      <a:pt x="318" y="25"/>
                    </a:lnTo>
                    <a:lnTo>
                      <a:pt x="318" y="24"/>
                    </a:lnTo>
                    <a:lnTo>
                      <a:pt x="320" y="24"/>
                    </a:lnTo>
                    <a:lnTo>
                      <a:pt x="320" y="22"/>
                    </a:lnTo>
                    <a:lnTo>
                      <a:pt x="320" y="20"/>
                    </a:lnTo>
                    <a:lnTo>
                      <a:pt x="321" y="19"/>
                    </a:lnTo>
                    <a:lnTo>
                      <a:pt x="321" y="17"/>
                    </a:lnTo>
                    <a:lnTo>
                      <a:pt x="323" y="17"/>
                    </a:lnTo>
                    <a:lnTo>
                      <a:pt x="323" y="15"/>
                    </a:lnTo>
                    <a:lnTo>
                      <a:pt x="323" y="13"/>
                    </a:lnTo>
                    <a:lnTo>
                      <a:pt x="325" y="12"/>
                    </a:lnTo>
                    <a:lnTo>
                      <a:pt x="323" y="12"/>
                    </a:lnTo>
                    <a:lnTo>
                      <a:pt x="325" y="12"/>
                    </a:lnTo>
                    <a:lnTo>
                      <a:pt x="325" y="10"/>
                    </a:lnTo>
                    <a:lnTo>
                      <a:pt x="325" y="8"/>
                    </a:lnTo>
                    <a:lnTo>
                      <a:pt x="326" y="8"/>
                    </a:lnTo>
                    <a:lnTo>
                      <a:pt x="332" y="8"/>
                    </a:lnTo>
                    <a:lnTo>
                      <a:pt x="333" y="8"/>
                    </a:lnTo>
                    <a:lnTo>
                      <a:pt x="335" y="8"/>
                    </a:lnTo>
                    <a:lnTo>
                      <a:pt x="335" y="10"/>
                    </a:lnTo>
                    <a:lnTo>
                      <a:pt x="335" y="8"/>
                    </a:lnTo>
                    <a:lnTo>
                      <a:pt x="354" y="8"/>
                    </a:lnTo>
                    <a:lnTo>
                      <a:pt x="364" y="8"/>
                    </a:lnTo>
                    <a:lnTo>
                      <a:pt x="364" y="10"/>
                    </a:lnTo>
                    <a:lnTo>
                      <a:pt x="364" y="12"/>
                    </a:lnTo>
                    <a:lnTo>
                      <a:pt x="364" y="13"/>
                    </a:lnTo>
                    <a:lnTo>
                      <a:pt x="366" y="13"/>
                    </a:lnTo>
                    <a:lnTo>
                      <a:pt x="367" y="13"/>
                    </a:lnTo>
                    <a:lnTo>
                      <a:pt x="367" y="15"/>
                    </a:lnTo>
                    <a:lnTo>
                      <a:pt x="369" y="15"/>
                    </a:lnTo>
                    <a:lnTo>
                      <a:pt x="369" y="17"/>
                    </a:lnTo>
                    <a:close/>
                    <a:moveTo>
                      <a:pt x="167" y="1473"/>
                    </a:moveTo>
                    <a:lnTo>
                      <a:pt x="167" y="1468"/>
                    </a:lnTo>
                    <a:lnTo>
                      <a:pt x="167" y="1456"/>
                    </a:lnTo>
                    <a:lnTo>
                      <a:pt x="167" y="1454"/>
                    </a:lnTo>
                    <a:lnTo>
                      <a:pt x="167" y="1453"/>
                    </a:lnTo>
                    <a:lnTo>
                      <a:pt x="167" y="1451"/>
                    </a:lnTo>
                    <a:lnTo>
                      <a:pt x="167" y="1444"/>
                    </a:lnTo>
                    <a:lnTo>
                      <a:pt x="167" y="1442"/>
                    </a:lnTo>
                    <a:lnTo>
                      <a:pt x="167" y="1429"/>
                    </a:lnTo>
                    <a:lnTo>
                      <a:pt x="167" y="1417"/>
                    </a:lnTo>
                    <a:lnTo>
                      <a:pt x="167" y="1410"/>
                    </a:lnTo>
                    <a:lnTo>
                      <a:pt x="168" y="1398"/>
                    </a:lnTo>
                    <a:lnTo>
                      <a:pt x="168" y="1386"/>
                    </a:lnTo>
                    <a:lnTo>
                      <a:pt x="168" y="1383"/>
                    </a:lnTo>
                    <a:lnTo>
                      <a:pt x="168" y="1378"/>
                    </a:lnTo>
                    <a:lnTo>
                      <a:pt x="168" y="1364"/>
                    </a:lnTo>
                    <a:lnTo>
                      <a:pt x="168" y="1347"/>
                    </a:lnTo>
                    <a:lnTo>
                      <a:pt x="168" y="1345"/>
                    </a:lnTo>
                    <a:lnTo>
                      <a:pt x="168" y="1347"/>
                    </a:lnTo>
                    <a:lnTo>
                      <a:pt x="170" y="1349"/>
                    </a:lnTo>
                    <a:lnTo>
                      <a:pt x="173" y="1352"/>
                    </a:lnTo>
                    <a:lnTo>
                      <a:pt x="175" y="1356"/>
                    </a:lnTo>
                    <a:lnTo>
                      <a:pt x="177" y="1359"/>
                    </a:lnTo>
                    <a:lnTo>
                      <a:pt x="179" y="1361"/>
                    </a:lnTo>
                    <a:lnTo>
                      <a:pt x="180" y="1362"/>
                    </a:lnTo>
                    <a:lnTo>
                      <a:pt x="180" y="1366"/>
                    </a:lnTo>
                    <a:lnTo>
                      <a:pt x="180" y="1368"/>
                    </a:lnTo>
                    <a:lnTo>
                      <a:pt x="182" y="1371"/>
                    </a:lnTo>
                    <a:lnTo>
                      <a:pt x="182" y="1373"/>
                    </a:lnTo>
                    <a:lnTo>
                      <a:pt x="182" y="1371"/>
                    </a:lnTo>
                    <a:lnTo>
                      <a:pt x="180" y="1369"/>
                    </a:lnTo>
                    <a:lnTo>
                      <a:pt x="180" y="1368"/>
                    </a:lnTo>
                    <a:lnTo>
                      <a:pt x="180" y="1366"/>
                    </a:lnTo>
                    <a:lnTo>
                      <a:pt x="179" y="1364"/>
                    </a:lnTo>
                    <a:lnTo>
                      <a:pt x="179" y="1366"/>
                    </a:lnTo>
                    <a:lnTo>
                      <a:pt x="177" y="1366"/>
                    </a:lnTo>
                    <a:lnTo>
                      <a:pt x="175" y="1366"/>
                    </a:lnTo>
                    <a:lnTo>
                      <a:pt x="175" y="1368"/>
                    </a:lnTo>
                    <a:lnTo>
                      <a:pt x="173" y="1369"/>
                    </a:lnTo>
                    <a:lnTo>
                      <a:pt x="172" y="1371"/>
                    </a:lnTo>
                    <a:lnTo>
                      <a:pt x="172" y="1373"/>
                    </a:lnTo>
                    <a:lnTo>
                      <a:pt x="170" y="1373"/>
                    </a:lnTo>
                    <a:lnTo>
                      <a:pt x="170" y="1374"/>
                    </a:lnTo>
                    <a:lnTo>
                      <a:pt x="170" y="1376"/>
                    </a:lnTo>
                    <a:lnTo>
                      <a:pt x="170" y="1378"/>
                    </a:lnTo>
                    <a:lnTo>
                      <a:pt x="172" y="1379"/>
                    </a:lnTo>
                    <a:lnTo>
                      <a:pt x="173" y="1381"/>
                    </a:lnTo>
                    <a:lnTo>
                      <a:pt x="175" y="1381"/>
                    </a:lnTo>
                    <a:lnTo>
                      <a:pt x="177" y="1381"/>
                    </a:lnTo>
                    <a:lnTo>
                      <a:pt x="177" y="1383"/>
                    </a:lnTo>
                    <a:lnTo>
                      <a:pt x="179" y="1383"/>
                    </a:lnTo>
                    <a:lnTo>
                      <a:pt x="180" y="1381"/>
                    </a:lnTo>
                    <a:lnTo>
                      <a:pt x="182" y="1381"/>
                    </a:lnTo>
                    <a:lnTo>
                      <a:pt x="182" y="1383"/>
                    </a:lnTo>
                    <a:lnTo>
                      <a:pt x="184" y="1383"/>
                    </a:lnTo>
                    <a:lnTo>
                      <a:pt x="185" y="1385"/>
                    </a:lnTo>
                    <a:lnTo>
                      <a:pt x="185" y="1386"/>
                    </a:lnTo>
                    <a:lnTo>
                      <a:pt x="185" y="1388"/>
                    </a:lnTo>
                    <a:lnTo>
                      <a:pt x="187" y="1390"/>
                    </a:lnTo>
                    <a:lnTo>
                      <a:pt x="187" y="1391"/>
                    </a:lnTo>
                    <a:lnTo>
                      <a:pt x="187" y="1393"/>
                    </a:lnTo>
                    <a:lnTo>
                      <a:pt x="189" y="1395"/>
                    </a:lnTo>
                    <a:lnTo>
                      <a:pt x="189" y="1396"/>
                    </a:lnTo>
                    <a:lnTo>
                      <a:pt x="189" y="1398"/>
                    </a:lnTo>
                    <a:lnTo>
                      <a:pt x="190" y="1398"/>
                    </a:lnTo>
                    <a:lnTo>
                      <a:pt x="190" y="1400"/>
                    </a:lnTo>
                    <a:lnTo>
                      <a:pt x="192" y="1402"/>
                    </a:lnTo>
                    <a:lnTo>
                      <a:pt x="194" y="1403"/>
                    </a:lnTo>
                    <a:lnTo>
                      <a:pt x="194" y="1405"/>
                    </a:lnTo>
                    <a:lnTo>
                      <a:pt x="196" y="1405"/>
                    </a:lnTo>
                    <a:lnTo>
                      <a:pt x="197" y="1407"/>
                    </a:lnTo>
                    <a:lnTo>
                      <a:pt x="199" y="1408"/>
                    </a:lnTo>
                    <a:lnTo>
                      <a:pt x="201" y="1410"/>
                    </a:lnTo>
                    <a:lnTo>
                      <a:pt x="202" y="1412"/>
                    </a:lnTo>
                    <a:lnTo>
                      <a:pt x="204" y="1412"/>
                    </a:lnTo>
                    <a:lnTo>
                      <a:pt x="202" y="1413"/>
                    </a:lnTo>
                    <a:lnTo>
                      <a:pt x="204" y="1415"/>
                    </a:lnTo>
                    <a:lnTo>
                      <a:pt x="204" y="1417"/>
                    </a:lnTo>
                    <a:lnTo>
                      <a:pt x="206" y="1417"/>
                    </a:lnTo>
                    <a:lnTo>
                      <a:pt x="206" y="1419"/>
                    </a:lnTo>
                    <a:lnTo>
                      <a:pt x="207" y="1419"/>
                    </a:lnTo>
                    <a:lnTo>
                      <a:pt x="207" y="1420"/>
                    </a:lnTo>
                    <a:lnTo>
                      <a:pt x="209" y="1420"/>
                    </a:lnTo>
                    <a:lnTo>
                      <a:pt x="209" y="1422"/>
                    </a:lnTo>
                    <a:lnTo>
                      <a:pt x="211" y="1422"/>
                    </a:lnTo>
                    <a:lnTo>
                      <a:pt x="211" y="1424"/>
                    </a:lnTo>
                    <a:lnTo>
                      <a:pt x="213" y="1424"/>
                    </a:lnTo>
                    <a:lnTo>
                      <a:pt x="213" y="1425"/>
                    </a:lnTo>
                    <a:lnTo>
                      <a:pt x="214" y="1425"/>
                    </a:lnTo>
                    <a:lnTo>
                      <a:pt x="216" y="1427"/>
                    </a:lnTo>
                    <a:lnTo>
                      <a:pt x="218" y="1427"/>
                    </a:lnTo>
                    <a:lnTo>
                      <a:pt x="218" y="1429"/>
                    </a:lnTo>
                    <a:lnTo>
                      <a:pt x="219" y="1429"/>
                    </a:lnTo>
                    <a:lnTo>
                      <a:pt x="221" y="1430"/>
                    </a:lnTo>
                    <a:lnTo>
                      <a:pt x="223" y="1430"/>
                    </a:lnTo>
                    <a:lnTo>
                      <a:pt x="224" y="1432"/>
                    </a:lnTo>
                    <a:lnTo>
                      <a:pt x="226" y="1434"/>
                    </a:lnTo>
                    <a:lnTo>
                      <a:pt x="228" y="1434"/>
                    </a:lnTo>
                    <a:lnTo>
                      <a:pt x="230" y="1436"/>
                    </a:lnTo>
                    <a:lnTo>
                      <a:pt x="231" y="1436"/>
                    </a:lnTo>
                    <a:lnTo>
                      <a:pt x="231" y="1437"/>
                    </a:lnTo>
                    <a:lnTo>
                      <a:pt x="233" y="1437"/>
                    </a:lnTo>
                    <a:lnTo>
                      <a:pt x="233" y="1439"/>
                    </a:lnTo>
                    <a:lnTo>
                      <a:pt x="233" y="1441"/>
                    </a:lnTo>
                    <a:lnTo>
                      <a:pt x="235" y="1441"/>
                    </a:lnTo>
                    <a:lnTo>
                      <a:pt x="235" y="1442"/>
                    </a:lnTo>
                    <a:lnTo>
                      <a:pt x="236" y="1442"/>
                    </a:lnTo>
                    <a:lnTo>
                      <a:pt x="236" y="1444"/>
                    </a:lnTo>
                    <a:lnTo>
                      <a:pt x="238" y="1444"/>
                    </a:lnTo>
                    <a:lnTo>
                      <a:pt x="238" y="1446"/>
                    </a:lnTo>
                    <a:lnTo>
                      <a:pt x="240" y="1447"/>
                    </a:lnTo>
                    <a:lnTo>
                      <a:pt x="240" y="1449"/>
                    </a:lnTo>
                    <a:lnTo>
                      <a:pt x="241" y="1449"/>
                    </a:lnTo>
                    <a:lnTo>
                      <a:pt x="243" y="1449"/>
                    </a:lnTo>
                    <a:lnTo>
                      <a:pt x="245" y="1451"/>
                    </a:lnTo>
                    <a:lnTo>
                      <a:pt x="247" y="1451"/>
                    </a:lnTo>
                    <a:lnTo>
                      <a:pt x="248" y="1453"/>
                    </a:lnTo>
                    <a:lnTo>
                      <a:pt x="250" y="1453"/>
                    </a:lnTo>
                    <a:lnTo>
                      <a:pt x="252" y="1454"/>
                    </a:lnTo>
                    <a:lnTo>
                      <a:pt x="253" y="1454"/>
                    </a:lnTo>
                    <a:lnTo>
                      <a:pt x="255" y="1454"/>
                    </a:lnTo>
                    <a:lnTo>
                      <a:pt x="257" y="1456"/>
                    </a:lnTo>
                    <a:lnTo>
                      <a:pt x="258" y="1456"/>
                    </a:lnTo>
                    <a:lnTo>
                      <a:pt x="260" y="1456"/>
                    </a:lnTo>
                    <a:lnTo>
                      <a:pt x="260" y="1458"/>
                    </a:lnTo>
                    <a:lnTo>
                      <a:pt x="262" y="1458"/>
                    </a:lnTo>
                    <a:lnTo>
                      <a:pt x="264" y="1459"/>
                    </a:lnTo>
                    <a:lnTo>
                      <a:pt x="265" y="1459"/>
                    </a:lnTo>
                    <a:lnTo>
                      <a:pt x="267" y="1459"/>
                    </a:lnTo>
                    <a:lnTo>
                      <a:pt x="269" y="1459"/>
                    </a:lnTo>
                    <a:lnTo>
                      <a:pt x="270" y="1459"/>
                    </a:lnTo>
                    <a:lnTo>
                      <a:pt x="272" y="1459"/>
                    </a:lnTo>
                    <a:lnTo>
                      <a:pt x="274" y="1459"/>
                    </a:lnTo>
                    <a:lnTo>
                      <a:pt x="275" y="1458"/>
                    </a:lnTo>
                    <a:lnTo>
                      <a:pt x="275" y="1459"/>
                    </a:lnTo>
                    <a:lnTo>
                      <a:pt x="275" y="1458"/>
                    </a:lnTo>
                    <a:lnTo>
                      <a:pt x="277" y="1458"/>
                    </a:lnTo>
                    <a:lnTo>
                      <a:pt x="279" y="1458"/>
                    </a:lnTo>
                    <a:lnTo>
                      <a:pt x="281" y="1458"/>
                    </a:lnTo>
                    <a:lnTo>
                      <a:pt x="282" y="1458"/>
                    </a:lnTo>
                    <a:lnTo>
                      <a:pt x="282" y="1459"/>
                    </a:lnTo>
                    <a:lnTo>
                      <a:pt x="282" y="1458"/>
                    </a:lnTo>
                    <a:lnTo>
                      <a:pt x="282" y="1459"/>
                    </a:lnTo>
                    <a:lnTo>
                      <a:pt x="284" y="1459"/>
                    </a:lnTo>
                    <a:lnTo>
                      <a:pt x="286" y="1459"/>
                    </a:lnTo>
                    <a:lnTo>
                      <a:pt x="284" y="1461"/>
                    </a:lnTo>
                    <a:lnTo>
                      <a:pt x="284" y="1463"/>
                    </a:lnTo>
                    <a:lnTo>
                      <a:pt x="284" y="1465"/>
                    </a:lnTo>
                    <a:lnTo>
                      <a:pt x="282" y="1465"/>
                    </a:lnTo>
                    <a:lnTo>
                      <a:pt x="284" y="1465"/>
                    </a:lnTo>
                    <a:lnTo>
                      <a:pt x="282" y="1466"/>
                    </a:lnTo>
                    <a:lnTo>
                      <a:pt x="282" y="1468"/>
                    </a:lnTo>
                    <a:lnTo>
                      <a:pt x="281" y="1468"/>
                    </a:lnTo>
                    <a:lnTo>
                      <a:pt x="282" y="1468"/>
                    </a:lnTo>
                    <a:lnTo>
                      <a:pt x="282" y="1470"/>
                    </a:lnTo>
                    <a:lnTo>
                      <a:pt x="281" y="1470"/>
                    </a:lnTo>
                    <a:lnTo>
                      <a:pt x="281" y="1471"/>
                    </a:lnTo>
                    <a:lnTo>
                      <a:pt x="279" y="1471"/>
                    </a:lnTo>
                    <a:lnTo>
                      <a:pt x="279" y="1473"/>
                    </a:lnTo>
                    <a:lnTo>
                      <a:pt x="279" y="1475"/>
                    </a:lnTo>
                    <a:lnTo>
                      <a:pt x="277" y="1476"/>
                    </a:lnTo>
                    <a:lnTo>
                      <a:pt x="275" y="1476"/>
                    </a:lnTo>
                    <a:lnTo>
                      <a:pt x="275" y="1475"/>
                    </a:lnTo>
                    <a:lnTo>
                      <a:pt x="275" y="1473"/>
                    </a:lnTo>
                    <a:lnTo>
                      <a:pt x="274" y="1473"/>
                    </a:lnTo>
                    <a:lnTo>
                      <a:pt x="274" y="1475"/>
                    </a:lnTo>
                    <a:lnTo>
                      <a:pt x="272" y="1476"/>
                    </a:lnTo>
                    <a:lnTo>
                      <a:pt x="270" y="1476"/>
                    </a:lnTo>
                    <a:lnTo>
                      <a:pt x="269" y="1476"/>
                    </a:lnTo>
                    <a:lnTo>
                      <a:pt x="269" y="1478"/>
                    </a:lnTo>
                    <a:lnTo>
                      <a:pt x="267" y="1478"/>
                    </a:lnTo>
                    <a:lnTo>
                      <a:pt x="265" y="1478"/>
                    </a:lnTo>
                    <a:lnTo>
                      <a:pt x="265" y="1476"/>
                    </a:lnTo>
                    <a:lnTo>
                      <a:pt x="265" y="1475"/>
                    </a:lnTo>
                    <a:lnTo>
                      <a:pt x="264" y="1473"/>
                    </a:lnTo>
                    <a:lnTo>
                      <a:pt x="264" y="1475"/>
                    </a:lnTo>
                    <a:lnTo>
                      <a:pt x="262" y="1475"/>
                    </a:lnTo>
                    <a:lnTo>
                      <a:pt x="262" y="1473"/>
                    </a:lnTo>
                    <a:lnTo>
                      <a:pt x="260" y="1473"/>
                    </a:lnTo>
                    <a:lnTo>
                      <a:pt x="258" y="1475"/>
                    </a:lnTo>
                    <a:lnTo>
                      <a:pt x="258" y="1473"/>
                    </a:lnTo>
                    <a:lnTo>
                      <a:pt x="257" y="1473"/>
                    </a:lnTo>
                    <a:lnTo>
                      <a:pt x="257" y="1475"/>
                    </a:lnTo>
                    <a:lnTo>
                      <a:pt x="258" y="1476"/>
                    </a:lnTo>
                    <a:lnTo>
                      <a:pt x="257" y="1478"/>
                    </a:lnTo>
                    <a:lnTo>
                      <a:pt x="255" y="1478"/>
                    </a:lnTo>
                    <a:lnTo>
                      <a:pt x="253" y="1478"/>
                    </a:lnTo>
                    <a:lnTo>
                      <a:pt x="252" y="1478"/>
                    </a:lnTo>
                    <a:lnTo>
                      <a:pt x="250" y="1478"/>
                    </a:lnTo>
                    <a:lnTo>
                      <a:pt x="250" y="1480"/>
                    </a:lnTo>
                    <a:lnTo>
                      <a:pt x="248" y="1478"/>
                    </a:lnTo>
                    <a:lnTo>
                      <a:pt x="247" y="1478"/>
                    </a:lnTo>
                    <a:lnTo>
                      <a:pt x="245" y="1478"/>
                    </a:lnTo>
                    <a:lnTo>
                      <a:pt x="245" y="1480"/>
                    </a:lnTo>
                    <a:lnTo>
                      <a:pt x="243" y="1480"/>
                    </a:lnTo>
                    <a:lnTo>
                      <a:pt x="245" y="1482"/>
                    </a:lnTo>
                    <a:lnTo>
                      <a:pt x="243" y="1482"/>
                    </a:lnTo>
                    <a:lnTo>
                      <a:pt x="241" y="1482"/>
                    </a:lnTo>
                    <a:lnTo>
                      <a:pt x="241" y="1483"/>
                    </a:lnTo>
                    <a:lnTo>
                      <a:pt x="240" y="1482"/>
                    </a:lnTo>
                    <a:lnTo>
                      <a:pt x="238" y="1483"/>
                    </a:lnTo>
                    <a:lnTo>
                      <a:pt x="238" y="1482"/>
                    </a:lnTo>
                    <a:lnTo>
                      <a:pt x="236" y="1482"/>
                    </a:lnTo>
                    <a:lnTo>
                      <a:pt x="235" y="1482"/>
                    </a:lnTo>
                    <a:lnTo>
                      <a:pt x="233" y="1480"/>
                    </a:lnTo>
                    <a:lnTo>
                      <a:pt x="231" y="1480"/>
                    </a:lnTo>
                    <a:lnTo>
                      <a:pt x="231" y="1478"/>
                    </a:lnTo>
                    <a:lnTo>
                      <a:pt x="231" y="1476"/>
                    </a:lnTo>
                    <a:lnTo>
                      <a:pt x="230" y="1476"/>
                    </a:lnTo>
                    <a:lnTo>
                      <a:pt x="228" y="1476"/>
                    </a:lnTo>
                    <a:lnTo>
                      <a:pt x="226" y="1476"/>
                    </a:lnTo>
                    <a:lnTo>
                      <a:pt x="224" y="1476"/>
                    </a:lnTo>
                    <a:lnTo>
                      <a:pt x="224" y="1475"/>
                    </a:lnTo>
                    <a:lnTo>
                      <a:pt x="223" y="1475"/>
                    </a:lnTo>
                    <a:lnTo>
                      <a:pt x="221" y="1475"/>
                    </a:lnTo>
                    <a:lnTo>
                      <a:pt x="219" y="1475"/>
                    </a:lnTo>
                    <a:lnTo>
                      <a:pt x="219" y="1473"/>
                    </a:lnTo>
                    <a:lnTo>
                      <a:pt x="218" y="1473"/>
                    </a:lnTo>
                    <a:lnTo>
                      <a:pt x="216" y="1473"/>
                    </a:lnTo>
                    <a:lnTo>
                      <a:pt x="214" y="1473"/>
                    </a:lnTo>
                    <a:lnTo>
                      <a:pt x="213" y="1473"/>
                    </a:lnTo>
                    <a:lnTo>
                      <a:pt x="213" y="1471"/>
                    </a:lnTo>
                    <a:lnTo>
                      <a:pt x="213" y="1473"/>
                    </a:lnTo>
                    <a:lnTo>
                      <a:pt x="213" y="1471"/>
                    </a:lnTo>
                    <a:lnTo>
                      <a:pt x="213" y="1473"/>
                    </a:lnTo>
                    <a:lnTo>
                      <a:pt x="211" y="1471"/>
                    </a:lnTo>
                    <a:lnTo>
                      <a:pt x="213" y="1473"/>
                    </a:lnTo>
                    <a:lnTo>
                      <a:pt x="211" y="1473"/>
                    </a:lnTo>
                    <a:lnTo>
                      <a:pt x="211" y="1471"/>
                    </a:lnTo>
                    <a:lnTo>
                      <a:pt x="209" y="1471"/>
                    </a:lnTo>
                    <a:lnTo>
                      <a:pt x="211" y="1473"/>
                    </a:lnTo>
                    <a:lnTo>
                      <a:pt x="209" y="1473"/>
                    </a:lnTo>
                    <a:lnTo>
                      <a:pt x="207" y="1473"/>
                    </a:lnTo>
                    <a:lnTo>
                      <a:pt x="207" y="1471"/>
                    </a:lnTo>
                    <a:lnTo>
                      <a:pt x="206" y="1471"/>
                    </a:lnTo>
                    <a:lnTo>
                      <a:pt x="204" y="1471"/>
                    </a:lnTo>
                    <a:lnTo>
                      <a:pt x="202" y="1471"/>
                    </a:lnTo>
                    <a:lnTo>
                      <a:pt x="202" y="1473"/>
                    </a:lnTo>
                    <a:lnTo>
                      <a:pt x="201" y="1473"/>
                    </a:lnTo>
                    <a:lnTo>
                      <a:pt x="199" y="1473"/>
                    </a:lnTo>
                    <a:lnTo>
                      <a:pt x="197" y="1473"/>
                    </a:lnTo>
                    <a:lnTo>
                      <a:pt x="196" y="1471"/>
                    </a:lnTo>
                    <a:lnTo>
                      <a:pt x="194" y="1471"/>
                    </a:lnTo>
                    <a:lnTo>
                      <a:pt x="192" y="1471"/>
                    </a:lnTo>
                    <a:lnTo>
                      <a:pt x="190" y="1471"/>
                    </a:lnTo>
                    <a:lnTo>
                      <a:pt x="189" y="1471"/>
                    </a:lnTo>
                    <a:lnTo>
                      <a:pt x="189" y="1470"/>
                    </a:lnTo>
                    <a:lnTo>
                      <a:pt x="187" y="1471"/>
                    </a:lnTo>
                    <a:lnTo>
                      <a:pt x="187" y="1470"/>
                    </a:lnTo>
                    <a:lnTo>
                      <a:pt x="185" y="1470"/>
                    </a:lnTo>
                    <a:lnTo>
                      <a:pt x="184" y="1470"/>
                    </a:lnTo>
                    <a:lnTo>
                      <a:pt x="182" y="1468"/>
                    </a:lnTo>
                    <a:lnTo>
                      <a:pt x="180" y="1468"/>
                    </a:lnTo>
                    <a:lnTo>
                      <a:pt x="179" y="1468"/>
                    </a:lnTo>
                    <a:lnTo>
                      <a:pt x="179" y="1470"/>
                    </a:lnTo>
                    <a:lnTo>
                      <a:pt x="180" y="1470"/>
                    </a:lnTo>
                    <a:lnTo>
                      <a:pt x="179" y="1470"/>
                    </a:lnTo>
                    <a:lnTo>
                      <a:pt x="177" y="1470"/>
                    </a:lnTo>
                    <a:lnTo>
                      <a:pt x="175" y="1471"/>
                    </a:lnTo>
                    <a:lnTo>
                      <a:pt x="173" y="1471"/>
                    </a:lnTo>
                    <a:lnTo>
                      <a:pt x="172" y="1470"/>
                    </a:lnTo>
                    <a:lnTo>
                      <a:pt x="172" y="1471"/>
                    </a:lnTo>
                    <a:lnTo>
                      <a:pt x="170" y="1471"/>
                    </a:lnTo>
                    <a:lnTo>
                      <a:pt x="172" y="1471"/>
                    </a:lnTo>
                    <a:lnTo>
                      <a:pt x="170" y="1473"/>
                    </a:lnTo>
                    <a:lnTo>
                      <a:pt x="168" y="1473"/>
                    </a:lnTo>
                    <a:lnTo>
                      <a:pt x="167" y="1473"/>
                    </a:lnTo>
                    <a:close/>
                    <a:moveTo>
                      <a:pt x="313" y="1465"/>
                    </a:moveTo>
                    <a:lnTo>
                      <a:pt x="315" y="1463"/>
                    </a:lnTo>
                    <a:lnTo>
                      <a:pt x="315" y="1465"/>
                    </a:lnTo>
                    <a:lnTo>
                      <a:pt x="316" y="1463"/>
                    </a:lnTo>
                    <a:lnTo>
                      <a:pt x="318" y="1465"/>
                    </a:lnTo>
                    <a:lnTo>
                      <a:pt x="318" y="1466"/>
                    </a:lnTo>
                    <a:lnTo>
                      <a:pt x="320" y="1465"/>
                    </a:lnTo>
                    <a:lnTo>
                      <a:pt x="318" y="1465"/>
                    </a:lnTo>
                    <a:lnTo>
                      <a:pt x="318" y="1463"/>
                    </a:lnTo>
                    <a:lnTo>
                      <a:pt x="320" y="1465"/>
                    </a:lnTo>
                    <a:lnTo>
                      <a:pt x="321" y="1465"/>
                    </a:lnTo>
                    <a:lnTo>
                      <a:pt x="321" y="1463"/>
                    </a:lnTo>
                    <a:lnTo>
                      <a:pt x="323" y="1465"/>
                    </a:lnTo>
                    <a:lnTo>
                      <a:pt x="321" y="1466"/>
                    </a:lnTo>
                    <a:lnTo>
                      <a:pt x="323" y="1466"/>
                    </a:lnTo>
                    <a:lnTo>
                      <a:pt x="323" y="1465"/>
                    </a:lnTo>
                    <a:lnTo>
                      <a:pt x="325" y="1465"/>
                    </a:lnTo>
                    <a:lnTo>
                      <a:pt x="326" y="1463"/>
                    </a:lnTo>
                    <a:lnTo>
                      <a:pt x="328" y="1463"/>
                    </a:lnTo>
                    <a:lnTo>
                      <a:pt x="328" y="1465"/>
                    </a:lnTo>
                    <a:lnTo>
                      <a:pt x="330" y="1463"/>
                    </a:lnTo>
                    <a:lnTo>
                      <a:pt x="330" y="1465"/>
                    </a:lnTo>
                    <a:lnTo>
                      <a:pt x="328" y="1466"/>
                    </a:lnTo>
                    <a:lnTo>
                      <a:pt x="328" y="1468"/>
                    </a:lnTo>
                    <a:lnTo>
                      <a:pt x="328" y="1466"/>
                    </a:lnTo>
                    <a:lnTo>
                      <a:pt x="326" y="1466"/>
                    </a:lnTo>
                    <a:lnTo>
                      <a:pt x="326" y="1468"/>
                    </a:lnTo>
                    <a:lnTo>
                      <a:pt x="325" y="1468"/>
                    </a:lnTo>
                    <a:lnTo>
                      <a:pt x="325" y="1466"/>
                    </a:lnTo>
                    <a:lnTo>
                      <a:pt x="323" y="1466"/>
                    </a:lnTo>
                    <a:lnTo>
                      <a:pt x="323" y="1468"/>
                    </a:lnTo>
                    <a:lnTo>
                      <a:pt x="321" y="1468"/>
                    </a:lnTo>
                    <a:lnTo>
                      <a:pt x="321" y="1466"/>
                    </a:lnTo>
                    <a:lnTo>
                      <a:pt x="321" y="1468"/>
                    </a:lnTo>
                    <a:lnTo>
                      <a:pt x="320" y="1468"/>
                    </a:lnTo>
                    <a:lnTo>
                      <a:pt x="320" y="1470"/>
                    </a:lnTo>
                    <a:lnTo>
                      <a:pt x="320" y="1468"/>
                    </a:lnTo>
                    <a:lnTo>
                      <a:pt x="318" y="1470"/>
                    </a:lnTo>
                    <a:lnTo>
                      <a:pt x="316" y="1470"/>
                    </a:lnTo>
                    <a:lnTo>
                      <a:pt x="316" y="1471"/>
                    </a:lnTo>
                    <a:lnTo>
                      <a:pt x="316" y="1470"/>
                    </a:lnTo>
                    <a:lnTo>
                      <a:pt x="316" y="1468"/>
                    </a:lnTo>
                    <a:lnTo>
                      <a:pt x="316" y="1466"/>
                    </a:lnTo>
                    <a:lnTo>
                      <a:pt x="315" y="1468"/>
                    </a:lnTo>
                    <a:lnTo>
                      <a:pt x="315" y="1466"/>
                    </a:lnTo>
                    <a:lnTo>
                      <a:pt x="313" y="1466"/>
                    </a:lnTo>
                    <a:lnTo>
                      <a:pt x="313" y="1468"/>
                    </a:lnTo>
                    <a:lnTo>
                      <a:pt x="313" y="1470"/>
                    </a:lnTo>
                    <a:lnTo>
                      <a:pt x="311" y="1470"/>
                    </a:lnTo>
                    <a:lnTo>
                      <a:pt x="309" y="1471"/>
                    </a:lnTo>
                    <a:lnTo>
                      <a:pt x="308" y="1471"/>
                    </a:lnTo>
                    <a:lnTo>
                      <a:pt x="308" y="1470"/>
                    </a:lnTo>
                    <a:lnTo>
                      <a:pt x="309" y="1470"/>
                    </a:lnTo>
                    <a:lnTo>
                      <a:pt x="308" y="1470"/>
                    </a:lnTo>
                    <a:lnTo>
                      <a:pt x="306" y="1471"/>
                    </a:lnTo>
                    <a:lnTo>
                      <a:pt x="306" y="1473"/>
                    </a:lnTo>
                    <a:lnTo>
                      <a:pt x="304" y="1473"/>
                    </a:lnTo>
                    <a:lnTo>
                      <a:pt x="303" y="1475"/>
                    </a:lnTo>
                    <a:lnTo>
                      <a:pt x="303" y="1473"/>
                    </a:lnTo>
                    <a:lnTo>
                      <a:pt x="301" y="1475"/>
                    </a:lnTo>
                    <a:lnTo>
                      <a:pt x="299" y="1475"/>
                    </a:lnTo>
                    <a:lnTo>
                      <a:pt x="299" y="1473"/>
                    </a:lnTo>
                    <a:lnTo>
                      <a:pt x="301" y="1473"/>
                    </a:lnTo>
                    <a:lnTo>
                      <a:pt x="303" y="1473"/>
                    </a:lnTo>
                    <a:lnTo>
                      <a:pt x="301" y="1471"/>
                    </a:lnTo>
                    <a:lnTo>
                      <a:pt x="301" y="1470"/>
                    </a:lnTo>
                    <a:lnTo>
                      <a:pt x="299" y="1471"/>
                    </a:lnTo>
                    <a:lnTo>
                      <a:pt x="298" y="1470"/>
                    </a:lnTo>
                    <a:lnTo>
                      <a:pt x="299" y="1470"/>
                    </a:lnTo>
                    <a:lnTo>
                      <a:pt x="299" y="1468"/>
                    </a:lnTo>
                    <a:lnTo>
                      <a:pt x="299" y="1466"/>
                    </a:lnTo>
                    <a:lnTo>
                      <a:pt x="301" y="1468"/>
                    </a:lnTo>
                    <a:lnTo>
                      <a:pt x="301" y="1466"/>
                    </a:lnTo>
                    <a:lnTo>
                      <a:pt x="303" y="1466"/>
                    </a:lnTo>
                    <a:lnTo>
                      <a:pt x="303" y="1468"/>
                    </a:lnTo>
                    <a:lnTo>
                      <a:pt x="304" y="1468"/>
                    </a:lnTo>
                    <a:lnTo>
                      <a:pt x="306" y="1468"/>
                    </a:lnTo>
                    <a:lnTo>
                      <a:pt x="306" y="1466"/>
                    </a:lnTo>
                    <a:lnTo>
                      <a:pt x="306" y="1465"/>
                    </a:lnTo>
                    <a:lnTo>
                      <a:pt x="306" y="1463"/>
                    </a:lnTo>
                    <a:lnTo>
                      <a:pt x="306" y="1465"/>
                    </a:lnTo>
                    <a:lnTo>
                      <a:pt x="308" y="1466"/>
                    </a:lnTo>
                    <a:lnTo>
                      <a:pt x="309" y="1465"/>
                    </a:lnTo>
                    <a:lnTo>
                      <a:pt x="309" y="1466"/>
                    </a:lnTo>
                    <a:lnTo>
                      <a:pt x="309" y="1465"/>
                    </a:lnTo>
                    <a:lnTo>
                      <a:pt x="311" y="1465"/>
                    </a:lnTo>
                    <a:lnTo>
                      <a:pt x="311" y="1466"/>
                    </a:lnTo>
                    <a:lnTo>
                      <a:pt x="311" y="1465"/>
                    </a:lnTo>
                    <a:lnTo>
                      <a:pt x="313" y="1463"/>
                    </a:lnTo>
                    <a:lnTo>
                      <a:pt x="313" y="1465"/>
                    </a:lnTo>
                    <a:close/>
                    <a:moveTo>
                      <a:pt x="391" y="682"/>
                    </a:moveTo>
                    <a:lnTo>
                      <a:pt x="393" y="682"/>
                    </a:lnTo>
                    <a:lnTo>
                      <a:pt x="394" y="682"/>
                    </a:lnTo>
                    <a:lnTo>
                      <a:pt x="394" y="684"/>
                    </a:lnTo>
                    <a:lnTo>
                      <a:pt x="396" y="684"/>
                    </a:lnTo>
                    <a:lnTo>
                      <a:pt x="396" y="685"/>
                    </a:lnTo>
                    <a:lnTo>
                      <a:pt x="396" y="687"/>
                    </a:lnTo>
                    <a:lnTo>
                      <a:pt x="396" y="689"/>
                    </a:lnTo>
                    <a:lnTo>
                      <a:pt x="394" y="689"/>
                    </a:lnTo>
                    <a:lnTo>
                      <a:pt x="394" y="687"/>
                    </a:lnTo>
                    <a:lnTo>
                      <a:pt x="393" y="687"/>
                    </a:lnTo>
                    <a:lnTo>
                      <a:pt x="391" y="687"/>
                    </a:lnTo>
                    <a:lnTo>
                      <a:pt x="391" y="685"/>
                    </a:lnTo>
                    <a:lnTo>
                      <a:pt x="389" y="685"/>
                    </a:lnTo>
                    <a:lnTo>
                      <a:pt x="389" y="684"/>
                    </a:lnTo>
                    <a:lnTo>
                      <a:pt x="388" y="684"/>
                    </a:lnTo>
                    <a:lnTo>
                      <a:pt x="388" y="682"/>
                    </a:lnTo>
                    <a:lnTo>
                      <a:pt x="389" y="682"/>
                    </a:lnTo>
                    <a:lnTo>
                      <a:pt x="391" y="682"/>
                    </a:lnTo>
                    <a:close/>
                    <a:moveTo>
                      <a:pt x="388" y="718"/>
                    </a:moveTo>
                    <a:lnTo>
                      <a:pt x="388" y="719"/>
                    </a:lnTo>
                    <a:lnTo>
                      <a:pt x="388" y="721"/>
                    </a:lnTo>
                    <a:lnTo>
                      <a:pt x="386" y="719"/>
                    </a:lnTo>
                    <a:lnTo>
                      <a:pt x="384" y="719"/>
                    </a:lnTo>
                    <a:lnTo>
                      <a:pt x="384" y="718"/>
                    </a:lnTo>
                    <a:lnTo>
                      <a:pt x="386" y="718"/>
                    </a:lnTo>
                    <a:lnTo>
                      <a:pt x="386" y="716"/>
                    </a:lnTo>
                    <a:lnTo>
                      <a:pt x="386" y="718"/>
                    </a:lnTo>
                    <a:lnTo>
                      <a:pt x="388" y="718"/>
                    </a:lnTo>
                    <a:close/>
                    <a:moveTo>
                      <a:pt x="386" y="742"/>
                    </a:moveTo>
                    <a:lnTo>
                      <a:pt x="386" y="743"/>
                    </a:lnTo>
                    <a:lnTo>
                      <a:pt x="386" y="745"/>
                    </a:lnTo>
                    <a:lnTo>
                      <a:pt x="386" y="747"/>
                    </a:lnTo>
                    <a:lnTo>
                      <a:pt x="384" y="745"/>
                    </a:lnTo>
                    <a:lnTo>
                      <a:pt x="383" y="745"/>
                    </a:lnTo>
                    <a:lnTo>
                      <a:pt x="384" y="743"/>
                    </a:lnTo>
                    <a:lnTo>
                      <a:pt x="384" y="742"/>
                    </a:lnTo>
                    <a:lnTo>
                      <a:pt x="386" y="742"/>
                    </a:lnTo>
                    <a:close/>
                    <a:moveTo>
                      <a:pt x="207" y="1473"/>
                    </a:moveTo>
                    <a:lnTo>
                      <a:pt x="209" y="1473"/>
                    </a:lnTo>
                    <a:lnTo>
                      <a:pt x="209" y="1475"/>
                    </a:lnTo>
                    <a:lnTo>
                      <a:pt x="207" y="1473"/>
                    </a:lnTo>
                    <a:lnTo>
                      <a:pt x="206" y="1475"/>
                    </a:lnTo>
                    <a:lnTo>
                      <a:pt x="204" y="1473"/>
                    </a:lnTo>
                    <a:lnTo>
                      <a:pt x="206" y="1471"/>
                    </a:lnTo>
                    <a:lnTo>
                      <a:pt x="206" y="1473"/>
                    </a:lnTo>
                    <a:lnTo>
                      <a:pt x="206" y="1471"/>
                    </a:lnTo>
                    <a:lnTo>
                      <a:pt x="207" y="1471"/>
                    </a:lnTo>
                    <a:lnTo>
                      <a:pt x="207" y="1473"/>
                    </a:lnTo>
                    <a:close/>
                    <a:moveTo>
                      <a:pt x="384" y="738"/>
                    </a:moveTo>
                    <a:lnTo>
                      <a:pt x="386" y="738"/>
                    </a:lnTo>
                    <a:lnTo>
                      <a:pt x="386" y="742"/>
                    </a:lnTo>
                    <a:lnTo>
                      <a:pt x="384" y="742"/>
                    </a:lnTo>
                    <a:lnTo>
                      <a:pt x="384" y="738"/>
                    </a:lnTo>
                    <a:close/>
                    <a:moveTo>
                      <a:pt x="386" y="687"/>
                    </a:moveTo>
                    <a:lnTo>
                      <a:pt x="389" y="687"/>
                    </a:lnTo>
                    <a:lnTo>
                      <a:pt x="389" y="689"/>
                    </a:lnTo>
                    <a:lnTo>
                      <a:pt x="386" y="689"/>
                    </a:lnTo>
                    <a:lnTo>
                      <a:pt x="386" y="687"/>
                    </a:lnTo>
                    <a:close/>
                    <a:moveTo>
                      <a:pt x="389" y="679"/>
                    </a:moveTo>
                    <a:lnTo>
                      <a:pt x="391" y="679"/>
                    </a:lnTo>
                    <a:lnTo>
                      <a:pt x="391" y="680"/>
                    </a:lnTo>
                    <a:lnTo>
                      <a:pt x="389" y="680"/>
                    </a:lnTo>
                    <a:lnTo>
                      <a:pt x="389" y="679"/>
                    </a:lnTo>
                    <a:close/>
                    <a:moveTo>
                      <a:pt x="381" y="672"/>
                    </a:moveTo>
                    <a:lnTo>
                      <a:pt x="383" y="672"/>
                    </a:lnTo>
                    <a:lnTo>
                      <a:pt x="383" y="675"/>
                    </a:lnTo>
                    <a:lnTo>
                      <a:pt x="381" y="675"/>
                    </a:lnTo>
                    <a:lnTo>
                      <a:pt x="381" y="672"/>
                    </a:lnTo>
                    <a:close/>
                    <a:moveTo>
                      <a:pt x="386" y="679"/>
                    </a:moveTo>
                    <a:lnTo>
                      <a:pt x="389" y="679"/>
                    </a:lnTo>
                    <a:lnTo>
                      <a:pt x="389" y="680"/>
                    </a:lnTo>
                    <a:lnTo>
                      <a:pt x="386" y="680"/>
                    </a:lnTo>
                    <a:lnTo>
                      <a:pt x="386" y="679"/>
                    </a:lnTo>
                    <a:close/>
                    <a:moveTo>
                      <a:pt x="386" y="728"/>
                    </a:moveTo>
                    <a:lnTo>
                      <a:pt x="388" y="728"/>
                    </a:lnTo>
                    <a:lnTo>
                      <a:pt x="388" y="731"/>
                    </a:lnTo>
                    <a:lnTo>
                      <a:pt x="386" y="731"/>
                    </a:lnTo>
                    <a:lnTo>
                      <a:pt x="386" y="728"/>
                    </a:lnTo>
                    <a:close/>
                    <a:moveTo>
                      <a:pt x="515" y="476"/>
                    </a:moveTo>
                    <a:lnTo>
                      <a:pt x="517" y="476"/>
                    </a:lnTo>
                    <a:lnTo>
                      <a:pt x="517" y="478"/>
                    </a:lnTo>
                    <a:lnTo>
                      <a:pt x="515" y="478"/>
                    </a:lnTo>
                    <a:lnTo>
                      <a:pt x="515" y="476"/>
                    </a:lnTo>
                    <a:close/>
                    <a:moveTo>
                      <a:pt x="386" y="677"/>
                    </a:moveTo>
                    <a:lnTo>
                      <a:pt x="388" y="677"/>
                    </a:lnTo>
                    <a:lnTo>
                      <a:pt x="388" y="679"/>
                    </a:lnTo>
                    <a:lnTo>
                      <a:pt x="386" y="679"/>
                    </a:lnTo>
                    <a:lnTo>
                      <a:pt x="386" y="677"/>
                    </a:lnTo>
                    <a:close/>
                    <a:moveTo>
                      <a:pt x="381" y="675"/>
                    </a:moveTo>
                    <a:lnTo>
                      <a:pt x="384" y="675"/>
                    </a:lnTo>
                    <a:lnTo>
                      <a:pt x="384" y="677"/>
                    </a:lnTo>
                    <a:lnTo>
                      <a:pt x="381" y="677"/>
                    </a:lnTo>
                    <a:lnTo>
                      <a:pt x="381" y="675"/>
                    </a:lnTo>
                    <a:close/>
                    <a:moveTo>
                      <a:pt x="255" y="956"/>
                    </a:moveTo>
                    <a:lnTo>
                      <a:pt x="257" y="956"/>
                    </a:lnTo>
                    <a:lnTo>
                      <a:pt x="255" y="956"/>
                    </a:lnTo>
                    <a:close/>
                    <a:moveTo>
                      <a:pt x="513" y="493"/>
                    </a:moveTo>
                    <a:lnTo>
                      <a:pt x="515" y="493"/>
                    </a:lnTo>
                    <a:lnTo>
                      <a:pt x="513" y="493"/>
                    </a:lnTo>
                    <a:close/>
                    <a:moveTo>
                      <a:pt x="318" y="1458"/>
                    </a:moveTo>
                    <a:lnTo>
                      <a:pt x="320" y="1458"/>
                    </a:lnTo>
                    <a:lnTo>
                      <a:pt x="320" y="1459"/>
                    </a:lnTo>
                    <a:lnTo>
                      <a:pt x="318" y="1459"/>
                    </a:lnTo>
                    <a:lnTo>
                      <a:pt x="318" y="1458"/>
                    </a:lnTo>
                    <a:close/>
                    <a:moveTo>
                      <a:pt x="269" y="952"/>
                    </a:moveTo>
                    <a:lnTo>
                      <a:pt x="270" y="952"/>
                    </a:lnTo>
                    <a:lnTo>
                      <a:pt x="270" y="954"/>
                    </a:lnTo>
                    <a:lnTo>
                      <a:pt x="269" y="954"/>
                    </a:lnTo>
                    <a:lnTo>
                      <a:pt x="269" y="952"/>
                    </a:lnTo>
                    <a:close/>
                    <a:moveTo>
                      <a:pt x="389" y="689"/>
                    </a:moveTo>
                    <a:lnTo>
                      <a:pt x="391" y="689"/>
                    </a:lnTo>
                    <a:lnTo>
                      <a:pt x="389" y="689"/>
                    </a:lnTo>
                    <a:close/>
                    <a:moveTo>
                      <a:pt x="383" y="718"/>
                    </a:moveTo>
                    <a:lnTo>
                      <a:pt x="384" y="718"/>
                    </a:lnTo>
                    <a:lnTo>
                      <a:pt x="384" y="719"/>
                    </a:lnTo>
                    <a:lnTo>
                      <a:pt x="383" y="719"/>
                    </a:lnTo>
                    <a:lnTo>
                      <a:pt x="383" y="718"/>
                    </a:lnTo>
                    <a:close/>
                    <a:moveTo>
                      <a:pt x="529" y="502"/>
                    </a:moveTo>
                    <a:lnTo>
                      <a:pt x="530" y="502"/>
                    </a:lnTo>
                    <a:lnTo>
                      <a:pt x="530" y="503"/>
                    </a:lnTo>
                    <a:lnTo>
                      <a:pt x="529" y="503"/>
                    </a:lnTo>
                    <a:lnTo>
                      <a:pt x="529" y="502"/>
                    </a:lnTo>
                    <a:close/>
                    <a:moveTo>
                      <a:pt x="515" y="474"/>
                    </a:moveTo>
                    <a:lnTo>
                      <a:pt x="515" y="476"/>
                    </a:lnTo>
                    <a:lnTo>
                      <a:pt x="515" y="474"/>
                    </a:lnTo>
                    <a:close/>
                    <a:moveTo>
                      <a:pt x="381" y="716"/>
                    </a:moveTo>
                    <a:lnTo>
                      <a:pt x="383" y="716"/>
                    </a:lnTo>
                    <a:lnTo>
                      <a:pt x="383" y="718"/>
                    </a:lnTo>
                    <a:lnTo>
                      <a:pt x="381" y="718"/>
                    </a:lnTo>
                    <a:lnTo>
                      <a:pt x="381" y="716"/>
                    </a:lnTo>
                    <a:close/>
                    <a:moveTo>
                      <a:pt x="383" y="674"/>
                    </a:moveTo>
                    <a:lnTo>
                      <a:pt x="384" y="674"/>
                    </a:lnTo>
                    <a:lnTo>
                      <a:pt x="384" y="675"/>
                    </a:lnTo>
                    <a:lnTo>
                      <a:pt x="383" y="675"/>
                    </a:lnTo>
                    <a:lnTo>
                      <a:pt x="383" y="674"/>
                    </a:lnTo>
                    <a:close/>
                    <a:moveTo>
                      <a:pt x="315" y="1459"/>
                    </a:moveTo>
                    <a:lnTo>
                      <a:pt x="315" y="1461"/>
                    </a:lnTo>
                    <a:lnTo>
                      <a:pt x="315" y="1459"/>
                    </a:lnTo>
                    <a:close/>
                    <a:moveTo>
                      <a:pt x="515" y="476"/>
                    </a:moveTo>
                    <a:lnTo>
                      <a:pt x="515" y="478"/>
                    </a:lnTo>
                    <a:lnTo>
                      <a:pt x="515" y="476"/>
                    </a:lnTo>
                    <a:close/>
                    <a:moveTo>
                      <a:pt x="517" y="474"/>
                    </a:moveTo>
                    <a:lnTo>
                      <a:pt x="519" y="474"/>
                    </a:lnTo>
                    <a:lnTo>
                      <a:pt x="519" y="476"/>
                    </a:lnTo>
                    <a:lnTo>
                      <a:pt x="517" y="476"/>
                    </a:lnTo>
                    <a:lnTo>
                      <a:pt x="517" y="474"/>
                    </a:lnTo>
                    <a:close/>
                    <a:moveTo>
                      <a:pt x="383" y="687"/>
                    </a:moveTo>
                    <a:lnTo>
                      <a:pt x="384" y="687"/>
                    </a:lnTo>
                    <a:lnTo>
                      <a:pt x="383" y="687"/>
                    </a:lnTo>
                    <a:close/>
                    <a:moveTo>
                      <a:pt x="257" y="956"/>
                    </a:moveTo>
                    <a:lnTo>
                      <a:pt x="258" y="956"/>
                    </a:lnTo>
                    <a:lnTo>
                      <a:pt x="258" y="958"/>
                    </a:lnTo>
                    <a:lnTo>
                      <a:pt x="257" y="958"/>
                    </a:lnTo>
                    <a:lnTo>
                      <a:pt x="257" y="956"/>
                    </a:lnTo>
                    <a:close/>
                    <a:moveTo>
                      <a:pt x="384" y="675"/>
                    </a:moveTo>
                    <a:lnTo>
                      <a:pt x="386" y="675"/>
                    </a:lnTo>
                    <a:lnTo>
                      <a:pt x="384" y="675"/>
                    </a:lnTo>
                    <a:close/>
                    <a:moveTo>
                      <a:pt x="386" y="723"/>
                    </a:moveTo>
                    <a:lnTo>
                      <a:pt x="388" y="723"/>
                    </a:lnTo>
                    <a:lnTo>
                      <a:pt x="388" y="725"/>
                    </a:lnTo>
                    <a:lnTo>
                      <a:pt x="386" y="725"/>
                    </a:lnTo>
                    <a:lnTo>
                      <a:pt x="386" y="723"/>
                    </a:lnTo>
                    <a:close/>
                    <a:moveTo>
                      <a:pt x="265" y="954"/>
                    </a:moveTo>
                    <a:lnTo>
                      <a:pt x="267" y="954"/>
                    </a:lnTo>
                    <a:lnTo>
                      <a:pt x="265" y="954"/>
                    </a:lnTo>
                    <a:close/>
                    <a:moveTo>
                      <a:pt x="381" y="721"/>
                    </a:moveTo>
                    <a:lnTo>
                      <a:pt x="383" y="721"/>
                    </a:lnTo>
                    <a:lnTo>
                      <a:pt x="381" y="721"/>
                    </a:lnTo>
                    <a:close/>
                    <a:moveTo>
                      <a:pt x="383" y="721"/>
                    </a:moveTo>
                    <a:lnTo>
                      <a:pt x="383" y="723"/>
                    </a:lnTo>
                    <a:lnTo>
                      <a:pt x="383" y="721"/>
                    </a:lnTo>
                    <a:close/>
                    <a:moveTo>
                      <a:pt x="274" y="951"/>
                    </a:moveTo>
                    <a:lnTo>
                      <a:pt x="274" y="952"/>
                    </a:lnTo>
                    <a:lnTo>
                      <a:pt x="274" y="951"/>
                    </a:lnTo>
                    <a:close/>
                    <a:moveTo>
                      <a:pt x="367" y="767"/>
                    </a:moveTo>
                    <a:lnTo>
                      <a:pt x="369" y="767"/>
                    </a:lnTo>
                    <a:lnTo>
                      <a:pt x="367" y="767"/>
                    </a:lnTo>
                    <a:close/>
                    <a:moveTo>
                      <a:pt x="517" y="474"/>
                    </a:moveTo>
                    <a:lnTo>
                      <a:pt x="519" y="474"/>
                    </a:lnTo>
                    <a:lnTo>
                      <a:pt x="517" y="474"/>
                    </a:lnTo>
                    <a:close/>
                    <a:moveTo>
                      <a:pt x="515" y="471"/>
                    </a:moveTo>
                    <a:lnTo>
                      <a:pt x="515" y="473"/>
                    </a:lnTo>
                    <a:lnTo>
                      <a:pt x="515" y="471"/>
                    </a:lnTo>
                    <a:close/>
                    <a:moveTo>
                      <a:pt x="513" y="476"/>
                    </a:moveTo>
                    <a:lnTo>
                      <a:pt x="515" y="476"/>
                    </a:lnTo>
                    <a:lnTo>
                      <a:pt x="513" y="476"/>
                    </a:lnTo>
                    <a:close/>
                    <a:moveTo>
                      <a:pt x="209" y="1473"/>
                    </a:moveTo>
                    <a:lnTo>
                      <a:pt x="209" y="1475"/>
                    </a:lnTo>
                    <a:lnTo>
                      <a:pt x="209" y="1473"/>
                    </a:lnTo>
                    <a:close/>
                    <a:moveTo>
                      <a:pt x="388" y="721"/>
                    </a:moveTo>
                    <a:lnTo>
                      <a:pt x="389" y="721"/>
                    </a:lnTo>
                    <a:lnTo>
                      <a:pt x="389" y="723"/>
                    </a:lnTo>
                    <a:lnTo>
                      <a:pt x="388" y="723"/>
                    </a:lnTo>
                    <a:lnTo>
                      <a:pt x="388" y="721"/>
                    </a:lnTo>
                    <a:close/>
                    <a:moveTo>
                      <a:pt x="384" y="677"/>
                    </a:moveTo>
                    <a:lnTo>
                      <a:pt x="386" y="677"/>
                    </a:lnTo>
                    <a:lnTo>
                      <a:pt x="384" y="677"/>
                    </a:lnTo>
                    <a:close/>
                    <a:moveTo>
                      <a:pt x="394" y="680"/>
                    </a:moveTo>
                    <a:lnTo>
                      <a:pt x="394" y="682"/>
                    </a:lnTo>
                    <a:lnTo>
                      <a:pt x="394" y="680"/>
                    </a:lnTo>
                    <a:close/>
                    <a:moveTo>
                      <a:pt x="512" y="464"/>
                    </a:moveTo>
                    <a:lnTo>
                      <a:pt x="512" y="466"/>
                    </a:lnTo>
                    <a:lnTo>
                      <a:pt x="512" y="46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2" name="Freeform 12">
                <a:extLst>
                  <a:ext uri="{FF2B5EF4-FFF2-40B4-BE49-F238E27FC236}">
                    <a16:creationId xmlns:a16="http://schemas.microsoft.com/office/drawing/2014/main" id="{D0CA2042-1D74-2124-C35A-4E189A90A6EC}"/>
                  </a:ext>
                </a:extLst>
              </p:cNvPr>
              <p:cNvSpPr>
                <a:spLocks noEditPoints="1"/>
              </p:cNvSpPr>
              <p:nvPr/>
            </p:nvSpPr>
            <p:spPr bwMode="auto">
              <a:xfrm>
                <a:off x="5683575" y="2820535"/>
                <a:ext cx="2056" cy="2056"/>
              </a:xfrm>
              <a:custGeom>
                <a:avLst/>
                <a:gdLst>
                  <a:gd name="T0" fmla="*/ 0 w 7"/>
                  <a:gd name="T1" fmla="*/ 0 h 7"/>
                  <a:gd name="T2" fmla="*/ 2 w 7"/>
                  <a:gd name="T3" fmla="*/ 0 h 7"/>
                  <a:gd name="T4" fmla="*/ 2 w 7"/>
                  <a:gd name="T5" fmla="*/ 2 h 7"/>
                  <a:gd name="T6" fmla="*/ 3 w 7"/>
                  <a:gd name="T7" fmla="*/ 2 h 7"/>
                  <a:gd name="T8" fmla="*/ 3 w 7"/>
                  <a:gd name="T9" fmla="*/ 3 h 7"/>
                  <a:gd name="T10" fmla="*/ 5 w 7"/>
                  <a:gd name="T11" fmla="*/ 3 h 7"/>
                  <a:gd name="T12" fmla="*/ 5 w 7"/>
                  <a:gd name="T13" fmla="*/ 5 h 7"/>
                  <a:gd name="T14" fmla="*/ 7 w 7"/>
                  <a:gd name="T15" fmla="*/ 5 h 7"/>
                  <a:gd name="T16" fmla="*/ 7 w 7"/>
                  <a:gd name="T17" fmla="*/ 7 h 7"/>
                  <a:gd name="T18" fmla="*/ 5 w 7"/>
                  <a:gd name="T19" fmla="*/ 7 h 7"/>
                  <a:gd name="T20" fmla="*/ 3 w 7"/>
                  <a:gd name="T21" fmla="*/ 7 h 7"/>
                  <a:gd name="T22" fmla="*/ 3 w 7"/>
                  <a:gd name="T23" fmla="*/ 5 h 7"/>
                  <a:gd name="T24" fmla="*/ 2 w 7"/>
                  <a:gd name="T25" fmla="*/ 5 h 7"/>
                  <a:gd name="T26" fmla="*/ 2 w 7"/>
                  <a:gd name="T27" fmla="*/ 3 h 7"/>
                  <a:gd name="T28" fmla="*/ 0 w 7"/>
                  <a:gd name="T29" fmla="*/ 3 h 7"/>
                  <a:gd name="T30" fmla="*/ 0 w 7"/>
                  <a:gd name="T31" fmla="*/ 2 h 7"/>
                  <a:gd name="T32" fmla="*/ 0 w 7"/>
                  <a:gd name="T33" fmla="*/ 0 h 7"/>
                  <a:gd name="T34" fmla="*/ 2 w 7"/>
                  <a:gd name="T35" fmla="*/ 5 h 7"/>
                  <a:gd name="T36" fmla="*/ 3 w 7"/>
                  <a:gd name="T37" fmla="*/ 5 h 7"/>
                  <a:gd name="T38" fmla="*/ 2 w 7"/>
                  <a:gd name="T3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 h="7">
                    <a:moveTo>
                      <a:pt x="0" y="0"/>
                    </a:moveTo>
                    <a:lnTo>
                      <a:pt x="2" y="0"/>
                    </a:lnTo>
                    <a:lnTo>
                      <a:pt x="2" y="2"/>
                    </a:lnTo>
                    <a:lnTo>
                      <a:pt x="3" y="2"/>
                    </a:lnTo>
                    <a:lnTo>
                      <a:pt x="3" y="3"/>
                    </a:lnTo>
                    <a:lnTo>
                      <a:pt x="5" y="3"/>
                    </a:lnTo>
                    <a:lnTo>
                      <a:pt x="5" y="5"/>
                    </a:lnTo>
                    <a:lnTo>
                      <a:pt x="7" y="5"/>
                    </a:lnTo>
                    <a:lnTo>
                      <a:pt x="7" y="7"/>
                    </a:lnTo>
                    <a:lnTo>
                      <a:pt x="5" y="7"/>
                    </a:lnTo>
                    <a:lnTo>
                      <a:pt x="3" y="7"/>
                    </a:lnTo>
                    <a:lnTo>
                      <a:pt x="3" y="5"/>
                    </a:lnTo>
                    <a:lnTo>
                      <a:pt x="2" y="5"/>
                    </a:lnTo>
                    <a:lnTo>
                      <a:pt x="2" y="3"/>
                    </a:lnTo>
                    <a:lnTo>
                      <a:pt x="0" y="3"/>
                    </a:lnTo>
                    <a:lnTo>
                      <a:pt x="0" y="2"/>
                    </a:lnTo>
                    <a:lnTo>
                      <a:pt x="0" y="0"/>
                    </a:lnTo>
                    <a:close/>
                    <a:moveTo>
                      <a:pt x="2" y="5"/>
                    </a:moveTo>
                    <a:lnTo>
                      <a:pt x="3" y="5"/>
                    </a:lnTo>
                    <a:lnTo>
                      <a:pt x="2" y="5"/>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4" name="Freeform 14">
                <a:extLst>
                  <a:ext uri="{FF2B5EF4-FFF2-40B4-BE49-F238E27FC236}">
                    <a16:creationId xmlns:a16="http://schemas.microsoft.com/office/drawing/2014/main" id="{EE4B53D8-7570-EF59-47F0-6E1A39F2832D}"/>
                  </a:ext>
                </a:extLst>
              </p:cNvPr>
              <p:cNvSpPr>
                <a:spLocks/>
              </p:cNvSpPr>
              <p:nvPr/>
            </p:nvSpPr>
            <p:spPr bwMode="auto">
              <a:xfrm>
                <a:off x="5786963" y="2813485"/>
                <a:ext cx="2056" cy="2644"/>
              </a:xfrm>
              <a:custGeom>
                <a:avLst/>
                <a:gdLst>
                  <a:gd name="T0" fmla="*/ 2 w 7"/>
                  <a:gd name="T1" fmla="*/ 0 h 9"/>
                  <a:gd name="T2" fmla="*/ 2 w 7"/>
                  <a:gd name="T3" fmla="*/ 2 h 9"/>
                  <a:gd name="T4" fmla="*/ 3 w 7"/>
                  <a:gd name="T5" fmla="*/ 2 h 9"/>
                  <a:gd name="T6" fmla="*/ 3 w 7"/>
                  <a:gd name="T7" fmla="*/ 4 h 9"/>
                  <a:gd name="T8" fmla="*/ 5 w 7"/>
                  <a:gd name="T9" fmla="*/ 4 h 9"/>
                  <a:gd name="T10" fmla="*/ 5 w 7"/>
                  <a:gd name="T11" fmla="*/ 5 h 9"/>
                  <a:gd name="T12" fmla="*/ 7 w 7"/>
                  <a:gd name="T13" fmla="*/ 5 h 9"/>
                  <a:gd name="T14" fmla="*/ 7 w 7"/>
                  <a:gd name="T15" fmla="*/ 7 h 9"/>
                  <a:gd name="T16" fmla="*/ 7 w 7"/>
                  <a:gd name="T17" fmla="*/ 9 h 9"/>
                  <a:gd name="T18" fmla="*/ 5 w 7"/>
                  <a:gd name="T19" fmla="*/ 9 h 9"/>
                  <a:gd name="T20" fmla="*/ 3 w 7"/>
                  <a:gd name="T21" fmla="*/ 9 h 9"/>
                  <a:gd name="T22" fmla="*/ 2 w 7"/>
                  <a:gd name="T23" fmla="*/ 9 h 9"/>
                  <a:gd name="T24" fmla="*/ 0 w 7"/>
                  <a:gd name="T25" fmla="*/ 7 h 9"/>
                  <a:gd name="T26" fmla="*/ 0 w 7"/>
                  <a:gd name="T27" fmla="*/ 5 h 9"/>
                  <a:gd name="T28" fmla="*/ 0 w 7"/>
                  <a:gd name="T29" fmla="*/ 4 h 9"/>
                  <a:gd name="T30" fmla="*/ 0 w 7"/>
                  <a:gd name="T31" fmla="*/ 2 h 9"/>
                  <a:gd name="T32" fmla="*/ 0 w 7"/>
                  <a:gd name="T33" fmla="*/ 0 h 9"/>
                  <a:gd name="T34" fmla="*/ 2 w 7"/>
                  <a:gd name="T3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9">
                    <a:moveTo>
                      <a:pt x="2" y="0"/>
                    </a:moveTo>
                    <a:lnTo>
                      <a:pt x="2" y="2"/>
                    </a:lnTo>
                    <a:lnTo>
                      <a:pt x="3" y="2"/>
                    </a:lnTo>
                    <a:lnTo>
                      <a:pt x="3" y="4"/>
                    </a:lnTo>
                    <a:lnTo>
                      <a:pt x="5" y="4"/>
                    </a:lnTo>
                    <a:lnTo>
                      <a:pt x="5" y="5"/>
                    </a:lnTo>
                    <a:lnTo>
                      <a:pt x="7" y="5"/>
                    </a:lnTo>
                    <a:lnTo>
                      <a:pt x="7" y="7"/>
                    </a:lnTo>
                    <a:lnTo>
                      <a:pt x="7" y="9"/>
                    </a:lnTo>
                    <a:lnTo>
                      <a:pt x="5" y="9"/>
                    </a:lnTo>
                    <a:lnTo>
                      <a:pt x="3" y="9"/>
                    </a:lnTo>
                    <a:lnTo>
                      <a:pt x="2" y="9"/>
                    </a:lnTo>
                    <a:lnTo>
                      <a:pt x="0" y="7"/>
                    </a:lnTo>
                    <a:lnTo>
                      <a:pt x="0" y="5"/>
                    </a:lnTo>
                    <a:lnTo>
                      <a:pt x="0" y="4"/>
                    </a:lnTo>
                    <a:lnTo>
                      <a:pt x="0" y="2"/>
                    </a:lnTo>
                    <a:lnTo>
                      <a:pt x="0" y="0"/>
                    </a:lnTo>
                    <a:lnTo>
                      <a:pt x="2"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 name="Freeform 16">
                <a:extLst>
                  <a:ext uri="{FF2B5EF4-FFF2-40B4-BE49-F238E27FC236}">
                    <a16:creationId xmlns:a16="http://schemas.microsoft.com/office/drawing/2014/main" id="{57A9C2A5-739D-4E9A-26A2-CF3307E8F913}"/>
                  </a:ext>
                </a:extLst>
              </p:cNvPr>
              <p:cNvSpPr>
                <a:spLocks/>
              </p:cNvSpPr>
              <p:nvPr/>
            </p:nvSpPr>
            <p:spPr bwMode="auto">
              <a:xfrm>
                <a:off x="5687688" y="3043466"/>
                <a:ext cx="120719" cy="136874"/>
              </a:xfrm>
              <a:custGeom>
                <a:avLst/>
                <a:gdLst>
                  <a:gd name="T0" fmla="*/ 306 w 411"/>
                  <a:gd name="T1" fmla="*/ 342 h 466"/>
                  <a:gd name="T2" fmla="*/ 231 w 411"/>
                  <a:gd name="T3" fmla="*/ 435 h 466"/>
                  <a:gd name="T4" fmla="*/ 188 w 411"/>
                  <a:gd name="T5" fmla="*/ 444 h 466"/>
                  <a:gd name="T6" fmla="*/ 182 w 411"/>
                  <a:gd name="T7" fmla="*/ 464 h 466"/>
                  <a:gd name="T8" fmla="*/ 175 w 411"/>
                  <a:gd name="T9" fmla="*/ 450 h 466"/>
                  <a:gd name="T10" fmla="*/ 156 w 411"/>
                  <a:gd name="T11" fmla="*/ 435 h 466"/>
                  <a:gd name="T12" fmla="*/ 125 w 411"/>
                  <a:gd name="T13" fmla="*/ 430 h 466"/>
                  <a:gd name="T14" fmla="*/ 112 w 411"/>
                  <a:gd name="T15" fmla="*/ 437 h 466"/>
                  <a:gd name="T16" fmla="*/ 85 w 411"/>
                  <a:gd name="T17" fmla="*/ 459 h 466"/>
                  <a:gd name="T18" fmla="*/ 59 w 411"/>
                  <a:gd name="T19" fmla="*/ 452 h 466"/>
                  <a:gd name="T20" fmla="*/ 54 w 411"/>
                  <a:gd name="T21" fmla="*/ 427 h 466"/>
                  <a:gd name="T22" fmla="*/ 42 w 411"/>
                  <a:gd name="T23" fmla="*/ 394 h 466"/>
                  <a:gd name="T24" fmla="*/ 32 w 411"/>
                  <a:gd name="T25" fmla="*/ 379 h 466"/>
                  <a:gd name="T26" fmla="*/ 37 w 411"/>
                  <a:gd name="T27" fmla="*/ 362 h 466"/>
                  <a:gd name="T28" fmla="*/ 37 w 411"/>
                  <a:gd name="T29" fmla="*/ 347 h 466"/>
                  <a:gd name="T30" fmla="*/ 29 w 411"/>
                  <a:gd name="T31" fmla="*/ 328 h 466"/>
                  <a:gd name="T32" fmla="*/ 22 w 411"/>
                  <a:gd name="T33" fmla="*/ 308 h 466"/>
                  <a:gd name="T34" fmla="*/ 18 w 411"/>
                  <a:gd name="T35" fmla="*/ 290 h 466"/>
                  <a:gd name="T36" fmla="*/ 6 w 411"/>
                  <a:gd name="T37" fmla="*/ 267 h 466"/>
                  <a:gd name="T38" fmla="*/ 10 w 411"/>
                  <a:gd name="T39" fmla="*/ 253 h 466"/>
                  <a:gd name="T40" fmla="*/ 22 w 411"/>
                  <a:gd name="T41" fmla="*/ 234 h 466"/>
                  <a:gd name="T42" fmla="*/ 12 w 411"/>
                  <a:gd name="T43" fmla="*/ 200 h 466"/>
                  <a:gd name="T44" fmla="*/ 13 w 411"/>
                  <a:gd name="T45" fmla="*/ 188 h 466"/>
                  <a:gd name="T46" fmla="*/ 15 w 411"/>
                  <a:gd name="T47" fmla="*/ 168 h 466"/>
                  <a:gd name="T48" fmla="*/ 27 w 411"/>
                  <a:gd name="T49" fmla="*/ 154 h 466"/>
                  <a:gd name="T50" fmla="*/ 23 w 411"/>
                  <a:gd name="T51" fmla="*/ 136 h 466"/>
                  <a:gd name="T52" fmla="*/ 27 w 411"/>
                  <a:gd name="T53" fmla="*/ 114 h 466"/>
                  <a:gd name="T54" fmla="*/ 32 w 411"/>
                  <a:gd name="T55" fmla="*/ 100 h 466"/>
                  <a:gd name="T56" fmla="*/ 18 w 411"/>
                  <a:gd name="T57" fmla="*/ 68 h 466"/>
                  <a:gd name="T58" fmla="*/ 6 w 411"/>
                  <a:gd name="T59" fmla="*/ 42 h 466"/>
                  <a:gd name="T60" fmla="*/ 23 w 411"/>
                  <a:gd name="T61" fmla="*/ 44 h 466"/>
                  <a:gd name="T62" fmla="*/ 39 w 411"/>
                  <a:gd name="T63" fmla="*/ 46 h 466"/>
                  <a:gd name="T64" fmla="*/ 54 w 411"/>
                  <a:gd name="T65" fmla="*/ 34 h 466"/>
                  <a:gd name="T66" fmla="*/ 71 w 411"/>
                  <a:gd name="T67" fmla="*/ 27 h 466"/>
                  <a:gd name="T68" fmla="*/ 86 w 411"/>
                  <a:gd name="T69" fmla="*/ 20 h 466"/>
                  <a:gd name="T70" fmla="*/ 103 w 411"/>
                  <a:gd name="T71" fmla="*/ 6 h 466"/>
                  <a:gd name="T72" fmla="*/ 120 w 411"/>
                  <a:gd name="T73" fmla="*/ 3 h 466"/>
                  <a:gd name="T74" fmla="*/ 132 w 411"/>
                  <a:gd name="T75" fmla="*/ 3 h 466"/>
                  <a:gd name="T76" fmla="*/ 141 w 411"/>
                  <a:gd name="T77" fmla="*/ 3 h 466"/>
                  <a:gd name="T78" fmla="*/ 148 w 411"/>
                  <a:gd name="T79" fmla="*/ 13 h 466"/>
                  <a:gd name="T80" fmla="*/ 146 w 411"/>
                  <a:gd name="T81" fmla="*/ 34 h 466"/>
                  <a:gd name="T82" fmla="*/ 146 w 411"/>
                  <a:gd name="T83" fmla="*/ 54 h 466"/>
                  <a:gd name="T84" fmla="*/ 154 w 411"/>
                  <a:gd name="T85" fmla="*/ 69 h 466"/>
                  <a:gd name="T86" fmla="*/ 166 w 411"/>
                  <a:gd name="T87" fmla="*/ 85 h 466"/>
                  <a:gd name="T88" fmla="*/ 175 w 411"/>
                  <a:gd name="T89" fmla="*/ 93 h 466"/>
                  <a:gd name="T90" fmla="*/ 193 w 411"/>
                  <a:gd name="T91" fmla="*/ 97 h 466"/>
                  <a:gd name="T92" fmla="*/ 212 w 411"/>
                  <a:gd name="T93" fmla="*/ 102 h 466"/>
                  <a:gd name="T94" fmla="*/ 226 w 411"/>
                  <a:gd name="T95" fmla="*/ 108 h 466"/>
                  <a:gd name="T96" fmla="*/ 241 w 411"/>
                  <a:gd name="T97" fmla="*/ 117 h 466"/>
                  <a:gd name="T98" fmla="*/ 255 w 411"/>
                  <a:gd name="T99" fmla="*/ 119 h 466"/>
                  <a:gd name="T100" fmla="*/ 268 w 411"/>
                  <a:gd name="T101" fmla="*/ 132 h 466"/>
                  <a:gd name="T102" fmla="*/ 285 w 411"/>
                  <a:gd name="T103" fmla="*/ 132 h 466"/>
                  <a:gd name="T104" fmla="*/ 301 w 411"/>
                  <a:gd name="T105" fmla="*/ 137 h 466"/>
                  <a:gd name="T106" fmla="*/ 309 w 411"/>
                  <a:gd name="T107" fmla="*/ 144 h 466"/>
                  <a:gd name="T108" fmla="*/ 312 w 411"/>
                  <a:gd name="T109" fmla="*/ 165 h 466"/>
                  <a:gd name="T110" fmla="*/ 306 w 411"/>
                  <a:gd name="T111" fmla="*/ 187 h 466"/>
                  <a:gd name="T112" fmla="*/ 343 w 411"/>
                  <a:gd name="T113" fmla="*/ 228 h 466"/>
                  <a:gd name="T114" fmla="*/ 380 w 411"/>
                  <a:gd name="T115" fmla="*/ 233 h 466"/>
                  <a:gd name="T116" fmla="*/ 379 w 411"/>
                  <a:gd name="T117" fmla="*/ 256 h 466"/>
                  <a:gd name="T118" fmla="*/ 396 w 411"/>
                  <a:gd name="T119" fmla="*/ 272 h 466"/>
                  <a:gd name="T120" fmla="*/ 408 w 411"/>
                  <a:gd name="T121" fmla="*/ 294 h 466"/>
                  <a:gd name="T122" fmla="*/ 403 w 411"/>
                  <a:gd name="T123" fmla="*/ 325 h 466"/>
                  <a:gd name="T124" fmla="*/ 392 w 411"/>
                  <a:gd name="T125" fmla="*/ 36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1" h="466">
                    <a:moveTo>
                      <a:pt x="387" y="367"/>
                    </a:moveTo>
                    <a:lnTo>
                      <a:pt x="387" y="365"/>
                    </a:lnTo>
                    <a:lnTo>
                      <a:pt x="389" y="365"/>
                    </a:lnTo>
                    <a:lnTo>
                      <a:pt x="389" y="364"/>
                    </a:lnTo>
                    <a:lnTo>
                      <a:pt x="387" y="364"/>
                    </a:lnTo>
                    <a:lnTo>
                      <a:pt x="387" y="362"/>
                    </a:lnTo>
                    <a:lnTo>
                      <a:pt x="387" y="360"/>
                    </a:lnTo>
                    <a:lnTo>
                      <a:pt x="387" y="359"/>
                    </a:lnTo>
                    <a:lnTo>
                      <a:pt x="386" y="359"/>
                    </a:lnTo>
                    <a:lnTo>
                      <a:pt x="387" y="359"/>
                    </a:lnTo>
                    <a:lnTo>
                      <a:pt x="387" y="357"/>
                    </a:lnTo>
                    <a:lnTo>
                      <a:pt x="386" y="357"/>
                    </a:lnTo>
                    <a:lnTo>
                      <a:pt x="387" y="355"/>
                    </a:lnTo>
                    <a:lnTo>
                      <a:pt x="379" y="348"/>
                    </a:lnTo>
                    <a:lnTo>
                      <a:pt x="375" y="347"/>
                    </a:lnTo>
                    <a:lnTo>
                      <a:pt x="358" y="335"/>
                    </a:lnTo>
                    <a:lnTo>
                      <a:pt x="326" y="335"/>
                    </a:lnTo>
                    <a:lnTo>
                      <a:pt x="306" y="342"/>
                    </a:lnTo>
                    <a:lnTo>
                      <a:pt x="268" y="348"/>
                    </a:lnTo>
                    <a:lnTo>
                      <a:pt x="267" y="348"/>
                    </a:lnTo>
                    <a:lnTo>
                      <a:pt x="261" y="362"/>
                    </a:lnTo>
                    <a:lnTo>
                      <a:pt x="261" y="364"/>
                    </a:lnTo>
                    <a:lnTo>
                      <a:pt x="251" y="377"/>
                    </a:lnTo>
                    <a:lnTo>
                      <a:pt x="250" y="381"/>
                    </a:lnTo>
                    <a:lnTo>
                      <a:pt x="250" y="396"/>
                    </a:lnTo>
                    <a:lnTo>
                      <a:pt x="250" y="399"/>
                    </a:lnTo>
                    <a:lnTo>
                      <a:pt x="243" y="421"/>
                    </a:lnTo>
                    <a:lnTo>
                      <a:pt x="239" y="430"/>
                    </a:lnTo>
                    <a:lnTo>
                      <a:pt x="236" y="442"/>
                    </a:lnTo>
                    <a:lnTo>
                      <a:pt x="236" y="440"/>
                    </a:lnTo>
                    <a:lnTo>
                      <a:pt x="234" y="440"/>
                    </a:lnTo>
                    <a:lnTo>
                      <a:pt x="234" y="438"/>
                    </a:lnTo>
                    <a:lnTo>
                      <a:pt x="233" y="438"/>
                    </a:lnTo>
                    <a:lnTo>
                      <a:pt x="231" y="438"/>
                    </a:lnTo>
                    <a:lnTo>
                      <a:pt x="231" y="437"/>
                    </a:lnTo>
                    <a:lnTo>
                      <a:pt x="231" y="435"/>
                    </a:lnTo>
                    <a:lnTo>
                      <a:pt x="231" y="433"/>
                    </a:lnTo>
                    <a:lnTo>
                      <a:pt x="221" y="433"/>
                    </a:lnTo>
                    <a:lnTo>
                      <a:pt x="202" y="433"/>
                    </a:lnTo>
                    <a:lnTo>
                      <a:pt x="202" y="435"/>
                    </a:lnTo>
                    <a:lnTo>
                      <a:pt x="202" y="433"/>
                    </a:lnTo>
                    <a:lnTo>
                      <a:pt x="200" y="433"/>
                    </a:lnTo>
                    <a:lnTo>
                      <a:pt x="199" y="433"/>
                    </a:lnTo>
                    <a:lnTo>
                      <a:pt x="193" y="433"/>
                    </a:lnTo>
                    <a:lnTo>
                      <a:pt x="192" y="433"/>
                    </a:lnTo>
                    <a:lnTo>
                      <a:pt x="192" y="435"/>
                    </a:lnTo>
                    <a:lnTo>
                      <a:pt x="192" y="437"/>
                    </a:lnTo>
                    <a:lnTo>
                      <a:pt x="190" y="437"/>
                    </a:lnTo>
                    <a:lnTo>
                      <a:pt x="192" y="437"/>
                    </a:lnTo>
                    <a:lnTo>
                      <a:pt x="190" y="438"/>
                    </a:lnTo>
                    <a:lnTo>
                      <a:pt x="190" y="440"/>
                    </a:lnTo>
                    <a:lnTo>
                      <a:pt x="190" y="442"/>
                    </a:lnTo>
                    <a:lnTo>
                      <a:pt x="188" y="442"/>
                    </a:lnTo>
                    <a:lnTo>
                      <a:pt x="188" y="444"/>
                    </a:lnTo>
                    <a:lnTo>
                      <a:pt x="187" y="445"/>
                    </a:lnTo>
                    <a:lnTo>
                      <a:pt x="187" y="447"/>
                    </a:lnTo>
                    <a:lnTo>
                      <a:pt x="187" y="449"/>
                    </a:lnTo>
                    <a:lnTo>
                      <a:pt x="185" y="449"/>
                    </a:lnTo>
                    <a:lnTo>
                      <a:pt x="185" y="450"/>
                    </a:lnTo>
                    <a:lnTo>
                      <a:pt x="183" y="450"/>
                    </a:lnTo>
                    <a:lnTo>
                      <a:pt x="183" y="452"/>
                    </a:lnTo>
                    <a:lnTo>
                      <a:pt x="183" y="454"/>
                    </a:lnTo>
                    <a:lnTo>
                      <a:pt x="182" y="454"/>
                    </a:lnTo>
                    <a:lnTo>
                      <a:pt x="183" y="454"/>
                    </a:lnTo>
                    <a:lnTo>
                      <a:pt x="183" y="456"/>
                    </a:lnTo>
                    <a:lnTo>
                      <a:pt x="182" y="456"/>
                    </a:lnTo>
                    <a:lnTo>
                      <a:pt x="182" y="457"/>
                    </a:lnTo>
                    <a:lnTo>
                      <a:pt x="182" y="459"/>
                    </a:lnTo>
                    <a:lnTo>
                      <a:pt x="182" y="461"/>
                    </a:lnTo>
                    <a:lnTo>
                      <a:pt x="182" y="462"/>
                    </a:lnTo>
                    <a:lnTo>
                      <a:pt x="180" y="464"/>
                    </a:lnTo>
                    <a:lnTo>
                      <a:pt x="182" y="464"/>
                    </a:lnTo>
                    <a:lnTo>
                      <a:pt x="180" y="464"/>
                    </a:lnTo>
                    <a:lnTo>
                      <a:pt x="180" y="466"/>
                    </a:lnTo>
                    <a:lnTo>
                      <a:pt x="180" y="464"/>
                    </a:lnTo>
                    <a:lnTo>
                      <a:pt x="180" y="462"/>
                    </a:lnTo>
                    <a:lnTo>
                      <a:pt x="178" y="462"/>
                    </a:lnTo>
                    <a:lnTo>
                      <a:pt x="180" y="462"/>
                    </a:lnTo>
                    <a:lnTo>
                      <a:pt x="180" y="461"/>
                    </a:lnTo>
                    <a:lnTo>
                      <a:pt x="178" y="459"/>
                    </a:lnTo>
                    <a:lnTo>
                      <a:pt x="176" y="459"/>
                    </a:lnTo>
                    <a:lnTo>
                      <a:pt x="178" y="459"/>
                    </a:lnTo>
                    <a:lnTo>
                      <a:pt x="178" y="457"/>
                    </a:lnTo>
                    <a:lnTo>
                      <a:pt x="176" y="457"/>
                    </a:lnTo>
                    <a:lnTo>
                      <a:pt x="176" y="456"/>
                    </a:lnTo>
                    <a:lnTo>
                      <a:pt x="176" y="454"/>
                    </a:lnTo>
                    <a:lnTo>
                      <a:pt x="176" y="452"/>
                    </a:lnTo>
                    <a:lnTo>
                      <a:pt x="175" y="452"/>
                    </a:lnTo>
                    <a:lnTo>
                      <a:pt x="176" y="450"/>
                    </a:lnTo>
                    <a:lnTo>
                      <a:pt x="175" y="450"/>
                    </a:lnTo>
                    <a:lnTo>
                      <a:pt x="175" y="449"/>
                    </a:lnTo>
                    <a:lnTo>
                      <a:pt x="173" y="449"/>
                    </a:lnTo>
                    <a:lnTo>
                      <a:pt x="173" y="447"/>
                    </a:lnTo>
                    <a:lnTo>
                      <a:pt x="171" y="447"/>
                    </a:lnTo>
                    <a:lnTo>
                      <a:pt x="171" y="445"/>
                    </a:lnTo>
                    <a:lnTo>
                      <a:pt x="173" y="444"/>
                    </a:lnTo>
                    <a:lnTo>
                      <a:pt x="173" y="442"/>
                    </a:lnTo>
                    <a:lnTo>
                      <a:pt x="171" y="442"/>
                    </a:lnTo>
                    <a:lnTo>
                      <a:pt x="170" y="440"/>
                    </a:lnTo>
                    <a:lnTo>
                      <a:pt x="168" y="440"/>
                    </a:lnTo>
                    <a:lnTo>
                      <a:pt x="166" y="440"/>
                    </a:lnTo>
                    <a:lnTo>
                      <a:pt x="165" y="438"/>
                    </a:lnTo>
                    <a:lnTo>
                      <a:pt x="163" y="438"/>
                    </a:lnTo>
                    <a:lnTo>
                      <a:pt x="161" y="437"/>
                    </a:lnTo>
                    <a:lnTo>
                      <a:pt x="159" y="437"/>
                    </a:lnTo>
                    <a:lnTo>
                      <a:pt x="158" y="437"/>
                    </a:lnTo>
                    <a:lnTo>
                      <a:pt x="158" y="435"/>
                    </a:lnTo>
                    <a:lnTo>
                      <a:pt x="156" y="435"/>
                    </a:lnTo>
                    <a:lnTo>
                      <a:pt x="154" y="435"/>
                    </a:lnTo>
                    <a:lnTo>
                      <a:pt x="151" y="435"/>
                    </a:lnTo>
                    <a:lnTo>
                      <a:pt x="148" y="437"/>
                    </a:lnTo>
                    <a:lnTo>
                      <a:pt x="148" y="435"/>
                    </a:lnTo>
                    <a:lnTo>
                      <a:pt x="148" y="437"/>
                    </a:lnTo>
                    <a:lnTo>
                      <a:pt x="144" y="437"/>
                    </a:lnTo>
                    <a:lnTo>
                      <a:pt x="142" y="437"/>
                    </a:lnTo>
                    <a:lnTo>
                      <a:pt x="141" y="437"/>
                    </a:lnTo>
                    <a:lnTo>
                      <a:pt x="137" y="435"/>
                    </a:lnTo>
                    <a:lnTo>
                      <a:pt x="137" y="437"/>
                    </a:lnTo>
                    <a:lnTo>
                      <a:pt x="136" y="437"/>
                    </a:lnTo>
                    <a:lnTo>
                      <a:pt x="134" y="437"/>
                    </a:lnTo>
                    <a:lnTo>
                      <a:pt x="132" y="437"/>
                    </a:lnTo>
                    <a:lnTo>
                      <a:pt x="131" y="437"/>
                    </a:lnTo>
                    <a:lnTo>
                      <a:pt x="131" y="435"/>
                    </a:lnTo>
                    <a:lnTo>
                      <a:pt x="129" y="435"/>
                    </a:lnTo>
                    <a:lnTo>
                      <a:pt x="127" y="433"/>
                    </a:lnTo>
                    <a:lnTo>
                      <a:pt x="125" y="430"/>
                    </a:lnTo>
                    <a:lnTo>
                      <a:pt x="124" y="430"/>
                    </a:lnTo>
                    <a:lnTo>
                      <a:pt x="122" y="430"/>
                    </a:lnTo>
                    <a:lnTo>
                      <a:pt x="122" y="428"/>
                    </a:lnTo>
                    <a:lnTo>
                      <a:pt x="120" y="427"/>
                    </a:lnTo>
                    <a:lnTo>
                      <a:pt x="119" y="427"/>
                    </a:lnTo>
                    <a:lnTo>
                      <a:pt x="117" y="425"/>
                    </a:lnTo>
                    <a:lnTo>
                      <a:pt x="115" y="425"/>
                    </a:lnTo>
                    <a:lnTo>
                      <a:pt x="115" y="427"/>
                    </a:lnTo>
                    <a:lnTo>
                      <a:pt x="115" y="428"/>
                    </a:lnTo>
                    <a:lnTo>
                      <a:pt x="115" y="430"/>
                    </a:lnTo>
                    <a:lnTo>
                      <a:pt x="114" y="430"/>
                    </a:lnTo>
                    <a:lnTo>
                      <a:pt x="115" y="430"/>
                    </a:lnTo>
                    <a:lnTo>
                      <a:pt x="114" y="430"/>
                    </a:lnTo>
                    <a:lnTo>
                      <a:pt x="114" y="432"/>
                    </a:lnTo>
                    <a:lnTo>
                      <a:pt x="114" y="433"/>
                    </a:lnTo>
                    <a:lnTo>
                      <a:pt x="114" y="435"/>
                    </a:lnTo>
                    <a:lnTo>
                      <a:pt x="114" y="437"/>
                    </a:lnTo>
                    <a:lnTo>
                      <a:pt x="112" y="437"/>
                    </a:lnTo>
                    <a:lnTo>
                      <a:pt x="108" y="438"/>
                    </a:lnTo>
                    <a:lnTo>
                      <a:pt x="102" y="440"/>
                    </a:lnTo>
                    <a:lnTo>
                      <a:pt x="100" y="440"/>
                    </a:lnTo>
                    <a:lnTo>
                      <a:pt x="98" y="442"/>
                    </a:lnTo>
                    <a:lnTo>
                      <a:pt x="98" y="444"/>
                    </a:lnTo>
                    <a:lnTo>
                      <a:pt x="98" y="445"/>
                    </a:lnTo>
                    <a:lnTo>
                      <a:pt x="97" y="445"/>
                    </a:lnTo>
                    <a:lnTo>
                      <a:pt x="97" y="447"/>
                    </a:lnTo>
                    <a:lnTo>
                      <a:pt x="97" y="449"/>
                    </a:lnTo>
                    <a:lnTo>
                      <a:pt x="93" y="450"/>
                    </a:lnTo>
                    <a:lnTo>
                      <a:pt x="91" y="450"/>
                    </a:lnTo>
                    <a:lnTo>
                      <a:pt x="90" y="452"/>
                    </a:lnTo>
                    <a:lnTo>
                      <a:pt x="88" y="452"/>
                    </a:lnTo>
                    <a:lnTo>
                      <a:pt x="88" y="454"/>
                    </a:lnTo>
                    <a:lnTo>
                      <a:pt x="88" y="456"/>
                    </a:lnTo>
                    <a:lnTo>
                      <a:pt x="90" y="456"/>
                    </a:lnTo>
                    <a:lnTo>
                      <a:pt x="90" y="457"/>
                    </a:lnTo>
                    <a:lnTo>
                      <a:pt x="85" y="459"/>
                    </a:lnTo>
                    <a:lnTo>
                      <a:pt x="83" y="462"/>
                    </a:lnTo>
                    <a:lnTo>
                      <a:pt x="73" y="466"/>
                    </a:lnTo>
                    <a:lnTo>
                      <a:pt x="71" y="466"/>
                    </a:lnTo>
                    <a:lnTo>
                      <a:pt x="63" y="464"/>
                    </a:lnTo>
                    <a:lnTo>
                      <a:pt x="61" y="464"/>
                    </a:lnTo>
                    <a:lnTo>
                      <a:pt x="59" y="464"/>
                    </a:lnTo>
                    <a:lnTo>
                      <a:pt x="59" y="462"/>
                    </a:lnTo>
                    <a:lnTo>
                      <a:pt x="61" y="461"/>
                    </a:lnTo>
                    <a:lnTo>
                      <a:pt x="59" y="461"/>
                    </a:lnTo>
                    <a:lnTo>
                      <a:pt x="61" y="461"/>
                    </a:lnTo>
                    <a:lnTo>
                      <a:pt x="59" y="459"/>
                    </a:lnTo>
                    <a:lnTo>
                      <a:pt x="61" y="457"/>
                    </a:lnTo>
                    <a:lnTo>
                      <a:pt x="59" y="457"/>
                    </a:lnTo>
                    <a:lnTo>
                      <a:pt x="59" y="456"/>
                    </a:lnTo>
                    <a:lnTo>
                      <a:pt x="61" y="456"/>
                    </a:lnTo>
                    <a:lnTo>
                      <a:pt x="61" y="454"/>
                    </a:lnTo>
                    <a:lnTo>
                      <a:pt x="61" y="452"/>
                    </a:lnTo>
                    <a:lnTo>
                      <a:pt x="59" y="452"/>
                    </a:lnTo>
                    <a:lnTo>
                      <a:pt x="59" y="450"/>
                    </a:lnTo>
                    <a:lnTo>
                      <a:pt x="59" y="449"/>
                    </a:lnTo>
                    <a:lnTo>
                      <a:pt x="59" y="447"/>
                    </a:lnTo>
                    <a:lnTo>
                      <a:pt x="57" y="447"/>
                    </a:lnTo>
                    <a:lnTo>
                      <a:pt x="57" y="445"/>
                    </a:lnTo>
                    <a:lnTo>
                      <a:pt x="57" y="444"/>
                    </a:lnTo>
                    <a:lnTo>
                      <a:pt x="59" y="442"/>
                    </a:lnTo>
                    <a:lnTo>
                      <a:pt x="57" y="442"/>
                    </a:lnTo>
                    <a:lnTo>
                      <a:pt x="59" y="440"/>
                    </a:lnTo>
                    <a:lnTo>
                      <a:pt x="57" y="440"/>
                    </a:lnTo>
                    <a:lnTo>
                      <a:pt x="57" y="438"/>
                    </a:lnTo>
                    <a:lnTo>
                      <a:pt x="57" y="437"/>
                    </a:lnTo>
                    <a:lnTo>
                      <a:pt x="57" y="435"/>
                    </a:lnTo>
                    <a:lnTo>
                      <a:pt x="56" y="435"/>
                    </a:lnTo>
                    <a:lnTo>
                      <a:pt x="56" y="433"/>
                    </a:lnTo>
                    <a:lnTo>
                      <a:pt x="54" y="433"/>
                    </a:lnTo>
                    <a:lnTo>
                      <a:pt x="54" y="432"/>
                    </a:lnTo>
                    <a:lnTo>
                      <a:pt x="54" y="427"/>
                    </a:lnTo>
                    <a:lnTo>
                      <a:pt x="54" y="425"/>
                    </a:lnTo>
                    <a:lnTo>
                      <a:pt x="52" y="423"/>
                    </a:lnTo>
                    <a:lnTo>
                      <a:pt x="52" y="421"/>
                    </a:lnTo>
                    <a:lnTo>
                      <a:pt x="51" y="420"/>
                    </a:lnTo>
                    <a:lnTo>
                      <a:pt x="49" y="418"/>
                    </a:lnTo>
                    <a:lnTo>
                      <a:pt x="49" y="416"/>
                    </a:lnTo>
                    <a:lnTo>
                      <a:pt x="49" y="415"/>
                    </a:lnTo>
                    <a:lnTo>
                      <a:pt x="49" y="413"/>
                    </a:lnTo>
                    <a:lnTo>
                      <a:pt x="49" y="410"/>
                    </a:lnTo>
                    <a:lnTo>
                      <a:pt x="49" y="408"/>
                    </a:lnTo>
                    <a:lnTo>
                      <a:pt x="49" y="406"/>
                    </a:lnTo>
                    <a:lnTo>
                      <a:pt x="46" y="401"/>
                    </a:lnTo>
                    <a:lnTo>
                      <a:pt x="46" y="399"/>
                    </a:lnTo>
                    <a:lnTo>
                      <a:pt x="46" y="398"/>
                    </a:lnTo>
                    <a:lnTo>
                      <a:pt x="44" y="398"/>
                    </a:lnTo>
                    <a:lnTo>
                      <a:pt x="44" y="396"/>
                    </a:lnTo>
                    <a:lnTo>
                      <a:pt x="42" y="396"/>
                    </a:lnTo>
                    <a:lnTo>
                      <a:pt x="42" y="394"/>
                    </a:lnTo>
                    <a:lnTo>
                      <a:pt x="40" y="394"/>
                    </a:lnTo>
                    <a:lnTo>
                      <a:pt x="39" y="394"/>
                    </a:lnTo>
                    <a:lnTo>
                      <a:pt x="37" y="393"/>
                    </a:lnTo>
                    <a:lnTo>
                      <a:pt x="37" y="391"/>
                    </a:lnTo>
                    <a:lnTo>
                      <a:pt x="37" y="389"/>
                    </a:lnTo>
                    <a:lnTo>
                      <a:pt x="37" y="387"/>
                    </a:lnTo>
                    <a:lnTo>
                      <a:pt x="37" y="386"/>
                    </a:lnTo>
                    <a:lnTo>
                      <a:pt x="39" y="386"/>
                    </a:lnTo>
                    <a:lnTo>
                      <a:pt x="39" y="384"/>
                    </a:lnTo>
                    <a:lnTo>
                      <a:pt x="40" y="384"/>
                    </a:lnTo>
                    <a:lnTo>
                      <a:pt x="40" y="382"/>
                    </a:lnTo>
                    <a:lnTo>
                      <a:pt x="39" y="382"/>
                    </a:lnTo>
                    <a:lnTo>
                      <a:pt x="39" y="381"/>
                    </a:lnTo>
                    <a:lnTo>
                      <a:pt x="37" y="381"/>
                    </a:lnTo>
                    <a:lnTo>
                      <a:pt x="35" y="381"/>
                    </a:lnTo>
                    <a:lnTo>
                      <a:pt x="35" y="379"/>
                    </a:lnTo>
                    <a:lnTo>
                      <a:pt x="34" y="379"/>
                    </a:lnTo>
                    <a:lnTo>
                      <a:pt x="32" y="379"/>
                    </a:lnTo>
                    <a:lnTo>
                      <a:pt x="32" y="377"/>
                    </a:lnTo>
                    <a:lnTo>
                      <a:pt x="30" y="377"/>
                    </a:lnTo>
                    <a:lnTo>
                      <a:pt x="30" y="376"/>
                    </a:lnTo>
                    <a:lnTo>
                      <a:pt x="30" y="374"/>
                    </a:lnTo>
                    <a:lnTo>
                      <a:pt x="32" y="374"/>
                    </a:lnTo>
                    <a:lnTo>
                      <a:pt x="34" y="374"/>
                    </a:lnTo>
                    <a:lnTo>
                      <a:pt x="34" y="372"/>
                    </a:lnTo>
                    <a:lnTo>
                      <a:pt x="34" y="370"/>
                    </a:lnTo>
                    <a:lnTo>
                      <a:pt x="32" y="370"/>
                    </a:lnTo>
                    <a:lnTo>
                      <a:pt x="32" y="369"/>
                    </a:lnTo>
                    <a:lnTo>
                      <a:pt x="32" y="367"/>
                    </a:lnTo>
                    <a:lnTo>
                      <a:pt x="32" y="365"/>
                    </a:lnTo>
                    <a:lnTo>
                      <a:pt x="30" y="365"/>
                    </a:lnTo>
                    <a:lnTo>
                      <a:pt x="30" y="364"/>
                    </a:lnTo>
                    <a:lnTo>
                      <a:pt x="32" y="364"/>
                    </a:lnTo>
                    <a:lnTo>
                      <a:pt x="34" y="362"/>
                    </a:lnTo>
                    <a:lnTo>
                      <a:pt x="35" y="362"/>
                    </a:lnTo>
                    <a:lnTo>
                      <a:pt x="37" y="362"/>
                    </a:lnTo>
                    <a:lnTo>
                      <a:pt x="37" y="360"/>
                    </a:lnTo>
                    <a:lnTo>
                      <a:pt x="37" y="359"/>
                    </a:lnTo>
                    <a:lnTo>
                      <a:pt x="39" y="359"/>
                    </a:lnTo>
                    <a:lnTo>
                      <a:pt x="39" y="357"/>
                    </a:lnTo>
                    <a:lnTo>
                      <a:pt x="37" y="357"/>
                    </a:lnTo>
                    <a:lnTo>
                      <a:pt x="37" y="355"/>
                    </a:lnTo>
                    <a:lnTo>
                      <a:pt x="39" y="355"/>
                    </a:lnTo>
                    <a:lnTo>
                      <a:pt x="37" y="355"/>
                    </a:lnTo>
                    <a:lnTo>
                      <a:pt x="35" y="355"/>
                    </a:lnTo>
                    <a:lnTo>
                      <a:pt x="35" y="353"/>
                    </a:lnTo>
                    <a:lnTo>
                      <a:pt x="34" y="352"/>
                    </a:lnTo>
                    <a:lnTo>
                      <a:pt x="32" y="352"/>
                    </a:lnTo>
                    <a:lnTo>
                      <a:pt x="32" y="350"/>
                    </a:lnTo>
                    <a:lnTo>
                      <a:pt x="34" y="350"/>
                    </a:lnTo>
                    <a:lnTo>
                      <a:pt x="35" y="350"/>
                    </a:lnTo>
                    <a:lnTo>
                      <a:pt x="35" y="348"/>
                    </a:lnTo>
                    <a:lnTo>
                      <a:pt x="35" y="347"/>
                    </a:lnTo>
                    <a:lnTo>
                      <a:pt x="37" y="347"/>
                    </a:lnTo>
                    <a:lnTo>
                      <a:pt x="37" y="345"/>
                    </a:lnTo>
                    <a:lnTo>
                      <a:pt x="39" y="345"/>
                    </a:lnTo>
                    <a:lnTo>
                      <a:pt x="39" y="343"/>
                    </a:lnTo>
                    <a:lnTo>
                      <a:pt x="40" y="342"/>
                    </a:lnTo>
                    <a:lnTo>
                      <a:pt x="40" y="340"/>
                    </a:lnTo>
                    <a:lnTo>
                      <a:pt x="40" y="338"/>
                    </a:lnTo>
                    <a:lnTo>
                      <a:pt x="39" y="338"/>
                    </a:lnTo>
                    <a:lnTo>
                      <a:pt x="39" y="336"/>
                    </a:lnTo>
                    <a:lnTo>
                      <a:pt x="37" y="335"/>
                    </a:lnTo>
                    <a:lnTo>
                      <a:pt x="35" y="335"/>
                    </a:lnTo>
                    <a:lnTo>
                      <a:pt x="35" y="333"/>
                    </a:lnTo>
                    <a:lnTo>
                      <a:pt x="34" y="333"/>
                    </a:lnTo>
                    <a:lnTo>
                      <a:pt x="34" y="331"/>
                    </a:lnTo>
                    <a:lnTo>
                      <a:pt x="32" y="331"/>
                    </a:lnTo>
                    <a:lnTo>
                      <a:pt x="32" y="330"/>
                    </a:lnTo>
                    <a:lnTo>
                      <a:pt x="30" y="330"/>
                    </a:lnTo>
                    <a:lnTo>
                      <a:pt x="30" y="328"/>
                    </a:lnTo>
                    <a:lnTo>
                      <a:pt x="29" y="328"/>
                    </a:lnTo>
                    <a:lnTo>
                      <a:pt x="27" y="326"/>
                    </a:lnTo>
                    <a:lnTo>
                      <a:pt x="25" y="326"/>
                    </a:lnTo>
                    <a:lnTo>
                      <a:pt x="25" y="325"/>
                    </a:lnTo>
                    <a:lnTo>
                      <a:pt x="25" y="323"/>
                    </a:lnTo>
                    <a:lnTo>
                      <a:pt x="23" y="323"/>
                    </a:lnTo>
                    <a:lnTo>
                      <a:pt x="23" y="321"/>
                    </a:lnTo>
                    <a:lnTo>
                      <a:pt x="25" y="321"/>
                    </a:lnTo>
                    <a:lnTo>
                      <a:pt x="25" y="319"/>
                    </a:lnTo>
                    <a:lnTo>
                      <a:pt x="23" y="318"/>
                    </a:lnTo>
                    <a:lnTo>
                      <a:pt x="23" y="316"/>
                    </a:lnTo>
                    <a:lnTo>
                      <a:pt x="23" y="314"/>
                    </a:lnTo>
                    <a:lnTo>
                      <a:pt x="22" y="314"/>
                    </a:lnTo>
                    <a:lnTo>
                      <a:pt x="22" y="313"/>
                    </a:lnTo>
                    <a:lnTo>
                      <a:pt x="22" y="311"/>
                    </a:lnTo>
                    <a:lnTo>
                      <a:pt x="20" y="311"/>
                    </a:lnTo>
                    <a:lnTo>
                      <a:pt x="22" y="311"/>
                    </a:lnTo>
                    <a:lnTo>
                      <a:pt x="22" y="309"/>
                    </a:lnTo>
                    <a:lnTo>
                      <a:pt x="22" y="308"/>
                    </a:lnTo>
                    <a:lnTo>
                      <a:pt x="22" y="306"/>
                    </a:lnTo>
                    <a:lnTo>
                      <a:pt x="22" y="304"/>
                    </a:lnTo>
                    <a:lnTo>
                      <a:pt x="20" y="304"/>
                    </a:lnTo>
                    <a:lnTo>
                      <a:pt x="20" y="302"/>
                    </a:lnTo>
                    <a:lnTo>
                      <a:pt x="20" y="301"/>
                    </a:lnTo>
                    <a:lnTo>
                      <a:pt x="20" y="299"/>
                    </a:lnTo>
                    <a:lnTo>
                      <a:pt x="20" y="297"/>
                    </a:lnTo>
                    <a:lnTo>
                      <a:pt x="18" y="297"/>
                    </a:lnTo>
                    <a:lnTo>
                      <a:pt x="18" y="296"/>
                    </a:lnTo>
                    <a:lnTo>
                      <a:pt x="17" y="296"/>
                    </a:lnTo>
                    <a:lnTo>
                      <a:pt x="17" y="294"/>
                    </a:lnTo>
                    <a:lnTo>
                      <a:pt x="18" y="294"/>
                    </a:lnTo>
                    <a:lnTo>
                      <a:pt x="18" y="292"/>
                    </a:lnTo>
                    <a:lnTo>
                      <a:pt x="20" y="292"/>
                    </a:lnTo>
                    <a:lnTo>
                      <a:pt x="18" y="292"/>
                    </a:lnTo>
                    <a:lnTo>
                      <a:pt x="20" y="292"/>
                    </a:lnTo>
                    <a:lnTo>
                      <a:pt x="20" y="290"/>
                    </a:lnTo>
                    <a:lnTo>
                      <a:pt x="18" y="290"/>
                    </a:lnTo>
                    <a:lnTo>
                      <a:pt x="18" y="289"/>
                    </a:lnTo>
                    <a:lnTo>
                      <a:pt x="17" y="289"/>
                    </a:lnTo>
                    <a:lnTo>
                      <a:pt x="15" y="289"/>
                    </a:lnTo>
                    <a:lnTo>
                      <a:pt x="13" y="289"/>
                    </a:lnTo>
                    <a:lnTo>
                      <a:pt x="13" y="287"/>
                    </a:lnTo>
                    <a:lnTo>
                      <a:pt x="12" y="287"/>
                    </a:lnTo>
                    <a:lnTo>
                      <a:pt x="12" y="285"/>
                    </a:lnTo>
                    <a:lnTo>
                      <a:pt x="12" y="284"/>
                    </a:lnTo>
                    <a:lnTo>
                      <a:pt x="12" y="282"/>
                    </a:lnTo>
                    <a:lnTo>
                      <a:pt x="12" y="280"/>
                    </a:lnTo>
                    <a:lnTo>
                      <a:pt x="10" y="280"/>
                    </a:lnTo>
                    <a:lnTo>
                      <a:pt x="10" y="279"/>
                    </a:lnTo>
                    <a:lnTo>
                      <a:pt x="8" y="277"/>
                    </a:lnTo>
                    <a:lnTo>
                      <a:pt x="6" y="275"/>
                    </a:lnTo>
                    <a:lnTo>
                      <a:pt x="6" y="272"/>
                    </a:lnTo>
                    <a:lnTo>
                      <a:pt x="6" y="270"/>
                    </a:lnTo>
                    <a:lnTo>
                      <a:pt x="6" y="268"/>
                    </a:lnTo>
                    <a:lnTo>
                      <a:pt x="6" y="267"/>
                    </a:lnTo>
                    <a:lnTo>
                      <a:pt x="5" y="267"/>
                    </a:lnTo>
                    <a:lnTo>
                      <a:pt x="3" y="263"/>
                    </a:lnTo>
                    <a:lnTo>
                      <a:pt x="1" y="263"/>
                    </a:lnTo>
                    <a:lnTo>
                      <a:pt x="0" y="263"/>
                    </a:lnTo>
                    <a:lnTo>
                      <a:pt x="1" y="263"/>
                    </a:lnTo>
                    <a:lnTo>
                      <a:pt x="1" y="262"/>
                    </a:lnTo>
                    <a:lnTo>
                      <a:pt x="3" y="262"/>
                    </a:lnTo>
                    <a:lnTo>
                      <a:pt x="3" y="260"/>
                    </a:lnTo>
                    <a:lnTo>
                      <a:pt x="5" y="260"/>
                    </a:lnTo>
                    <a:lnTo>
                      <a:pt x="5" y="258"/>
                    </a:lnTo>
                    <a:lnTo>
                      <a:pt x="6" y="256"/>
                    </a:lnTo>
                    <a:lnTo>
                      <a:pt x="6" y="258"/>
                    </a:lnTo>
                    <a:lnTo>
                      <a:pt x="8" y="258"/>
                    </a:lnTo>
                    <a:lnTo>
                      <a:pt x="8" y="256"/>
                    </a:lnTo>
                    <a:lnTo>
                      <a:pt x="10" y="256"/>
                    </a:lnTo>
                    <a:lnTo>
                      <a:pt x="10" y="255"/>
                    </a:lnTo>
                    <a:lnTo>
                      <a:pt x="8" y="255"/>
                    </a:lnTo>
                    <a:lnTo>
                      <a:pt x="10" y="253"/>
                    </a:lnTo>
                    <a:lnTo>
                      <a:pt x="12" y="253"/>
                    </a:lnTo>
                    <a:lnTo>
                      <a:pt x="12" y="251"/>
                    </a:lnTo>
                    <a:lnTo>
                      <a:pt x="12" y="250"/>
                    </a:lnTo>
                    <a:lnTo>
                      <a:pt x="13" y="250"/>
                    </a:lnTo>
                    <a:lnTo>
                      <a:pt x="13" y="248"/>
                    </a:lnTo>
                    <a:lnTo>
                      <a:pt x="15" y="248"/>
                    </a:lnTo>
                    <a:lnTo>
                      <a:pt x="15" y="246"/>
                    </a:lnTo>
                    <a:lnTo>
                      <a:pt x="17" y="246"/>
                    </a:lnTo>
                    <a:lnTo>
                      <a:pt x="17" y="245"/>
                    </a:lnTo>
                    <a:lnTo>
                      <a:pt x="18" y="243"/>
                    </a:lnTo>
                    <a:lnTo>
                      <a:pt x="20" y="243"/>
                    </a:lnTo>
                    <a:lnTo>
                      <a:pt x="22" y="243"/>
                    </a:lnTo>
                    <a:lnTo>
                      <a:pt x="22" y="241"/>
                    </a:lnTo>
                    <a:lnTo>
                      <a:pt x="22" y="239"/>
                    </a:lnTo>
                    <a:lnTo>
                      <a:pt x="20" y="239"/>
                    </a:lnTo>
                    <a:lnTo>
                      <a:pt x="20" y="238"/>
                    </a:lnTo>
                    <a:lnTo>
                      <a:pt x="22" y="236"/>
                    </a:lnTo>
                    <a:lnTo>
                      <a:pt x="22" y="234"/>
                    </a:lnTo>
                    <a:lnTo>
                      <a:pt x="23" y="234"/>
                    </a:lnTo>
                    <a:lnTo>
                      <a:pt x="29" y="231"/>
                    </a:lnTo>
                    <a:lnTo>
                      <a:pt x="29" y="229"/>
                    </a:lnTo>
                    <a:lnTo>
                      <a:pt x="27" y="228"/>
                    </a:lnTo>
                    <a:lnTo>
                      <a:pt x="25" y="228"/>
                    </a:lnTo>
                    <a:lnTo>
                      <a:pt x="23" y="226"/>
                    </a:lnTo>
                    <a:lnTo>
                      <a:pt x="22" y="226"/>
                    </a:lnTo>
                    <a:lnTo>
                      <a:pt x="20" y="226"/>
                    </a:lnTo>
                    <a:lnTo>
                      <a:pt x="18" y="226"/>
                    </a:lnTo>
                    <a:lnTo>
                      <a:pt x="15" y="224"/>
                    </a:lnTo>
                    <a:lnTo>
                      <a:pt x="13" y="224"/>
                    </a:lnTo>
                    <a:lnTo>
                      <a:pt x="12" y="219"/>
                    </a:lnTo>
                    <a:lnTo>
                      <a:pt x="12" y="214"/>
                    </a:lnTo>
                    <a:lnTo>
                      <a:pt x="10" y="211"/>
                    </a:lnTo>
                    <a:lnTo>
                      <a:pt x="10" y="209"/>
                    </a:lnTo>
                    <a:lnTo>
                      <a:pt x="8" y="205"/>
                    </a:lnTo>
                    <a:lnTo>
                      <a:pt x="12" y="202"/>
                    </a:lnTo>
                    <a:lnTo>
                      <a:pt x="12" y="200"/>
                    </a:lnTo>
                    <a:lnTo>
                      <a:pt x="12" y="199"/>
                    </a:lnTo>
                    <a:lnTo>
                      <a:pt x="13" y="200"/>
                    </a:lnTo>
                    <a:lnTo>
                      <a:pt x="13" y="199"/>
                    </a:lnTo>
                    <a:lnTo>
                      <a:pt x="15" y="199"/>
                    </a:lnTo>
                    <a:lnTo>
                      <a:pt x="13" y="199"/>
                    </a:lnTo>
                    <a:lnTo>
                      <a:pt x="13" y="197"/>
                    </a:lnTo>
                    <a:lnTo>
                      <a:pt x="15" y="195"/>
                    </a:lnTo>
                    <a:lnTo>
                      <a:pt x="15" y="194"/>
                    </a:lnTo>
                    <a:lnTo>
                      <a:pt x="17" y="194"/>
                    </a:lnTo>
                    <a:lnTo>
                      <a:pt x="17" y="192"/>
                    </a:lnTo>
                    <a:lnTo>
                      <a:pt x="17" y="194"/>
                    </a:lnTo>
                    <a:lnTo>
                      <a:pt x="17" y="192"/>
                    </a:lnTo>
                    <a:lnTo>
                      <a:pt x="18" y="192"/>
                    </a:lnTo>
                    <a:lnTo>
                      <a:pt x="17" y="192"/>
                    </a:lnTo>
                    <a:lnTo>
                      <a:pt x="17" y="190"/>
                    </a:lnTo>
                    <a:lnTo>
                      <a:pt x="15" y="188"/>
                    </a:lnTo>
                    <a:lnTo>
                      <a:pt x="13" y="187"/>
                    </a:lnTo>
                    <a:lnTo>
                      <a:pt x="13" y="188"/>
                    </a:lnTo>
                    <a:lnTo>
                      <a:pt x="13" y="187"/>
                    </a:lnTo>
                    <a:lnTo>
                      <a:pt x="12" y="187"/>
                    </a:lnTo>
                    <a:lnTo>
                      <a:pt x="12" y="185"/>
                    </a:lnTo>
                    <a:lnTo>
                      <a:pt x="12" y="183"/>
                    </a:lnTo>
                    <a:lnTo>
                      <a:pt x="10" y="183"/>
                    </a:lnTo>
                    <a:lnTo>
                      <a:pt x="10" y="182"/>
                    </a:lnTo>
                    <a:lnTo>
                      <a:pt x="10" y="180"/>
                    </a:lnTo>
                    <a:lnTo>
                      <a:pt x="10" y="178"/>
                    </a:lnTo>
                    <a:lnTo>
                      <a:pt x="10" y="177"/>
                    </a:lnTo>
                    <a:lnTo>
                      <a:pt x="12" y="177"/>
                    </a:lnTo>
                    <a:lnTo>
                      <a:pt x="12" y="175"/>
                    </a:lnTo>
                    <a:lnTo>
                      <a:pt x="13" y="175"/>
                    </a:lnTo>
                    <a:lnTo>
                      <a:pt x="15" y="175"/>
                    </a:lnTo>
                    <a:lnTo>
                      <a:pt x="13" y="173"/>
                    </a:lnTo>
                    <a:lnTo>
                      <a:pt x="13" y="171"/>
                    </a:lnTo>
                    <a:lnTo>
                      <a:pt x="15" y="171"/>
                    </a:lnTo>
                    <a:lnTo>
                      <a:pt x="15" y="170"/>
                    </a:lnTo>
                    <a:lnTo>
                      <a:pt x="15" y="168"/>
                    </a:lnTo>
                    <a:lnTo>
                      <a:pt x="17" y="170"/>
                    </a:lnTo>
                    <a:lnTo>
                      <a:pt x="17" y="168"/>
                    </a:lnTo>
                    <a:lnTo>
                      <a:pt x="17" y="166"/>
                    </a:lnTo>
                    <a:lnTo>
                      <a:pt x="18" y="166"/>
                    </a:lnTo>
                    <a:lnTo>
                      <a:pt x="18" y="165"/>
                    </a:lnTo>
                    <a:lnTo>
                      <a:pt x="20" y="165"/>
                    </a:lnTo>
                    <a:lnTo>
                      <a:pt x="20" y="163"/>
                    </a:lnTo>
                    <a:lnTo>
                      <a:pt x="22" y="163"/>
                    </a:lnTo>
                    <a:lnTo>
                      <a:pt x="22" y="161"/>
                    </a:lnTo>
                    <a:lnTo>
                      <a:pt x="22" y="160"/>
                    </a:lnTo>
                    <a:lnTo>
                      <a:pt x="22" y="158"/>
                    </a:lnTo>
                    <a:lnTo>
                      <a:pt x="22" y="156"/>
                    </a:lnTo>
                    <a:lnTo>
                      <a:pt x="23" y="156"/>
                    </a:lnTo>
                    <a:lnTo>
                      <a:pt x="25" y="156"/>
                    </a:lnTo>
                    <a:lnTo>
                      <a:pt x="27" y="156"/>
                    </a:lnTo>
                    <a:lnTo>
                      <a:pt x="29" y="156"/>
                    </a:lnTo>
                    <a:lnTo>
                      <a:pt x="27" y="156"/>
                    </a:lnTo>
                    <a:lnTo>
                      <a:pt x="27" y="154"/>
                    </a:lnTo>
                    <a:lnTo>
                      <a:pt x="27" y="153"/>
                    </a:lnTo>
                    <a:lnTo>
                      <a:pt x="27" y="151"/>
                    </a:lnTo>
                    <a:lnTo>
                      <a:pt x="25" y="151"/>
                    </a:lnTo>
                    <a:lnTo>
                      <a:pt x="25" y="149"/>
                    </a:lnTo>
                    <a:lnTo>
                      <a:pt x="23" y="149"/>
                    </a:lnTo>
                    <a:lnTo>
                      <a:pt x="23" y="148"/>
                    </a:lnTo>
                    <a:lnTo>
                      <a:pt x="23" y="146"/>
                    </a:lnTo>
                    <a:lnTo>
                      <a:pt x="22" y="146"/>
                    </a:lnTo>
                    <a:lnTo>
                      <a:pt x="23" y="144"/>
                    </a:lnTo>
                    <a:lnTo>
                      <a:pt x="22" y="144"/>
                    </a:lnTo>
                    <a:lnTo>
                      <a:pt x="22" y="143"/>
                    </a:lnTo>
                    <a:lnTo>
                      <a:pt x="22" y="141"/>
                    </a:lnTo>
                    <a:lnTo>
                      <a:pt x="22" y="139"/>
                    </a:lnTo>
                    <a:lnTo>
                      <a:pt x="20" y="139"/>
                    </a:lnTo>
                    <a:lnTo>
                      <a:pt x="20" y="137"/>
                    </a:lnTo>
                    <a:lnTo>
                      <a:pt x="20" y="136"/>
                    </a:lnTo>
                    <a:lnTo>
                      <a:pt x="22" y="136"/>
                    </a:lnTo>
                    <a:lnTo>
                      <a:pt x="23" y="136"/>
                    </a:lnTo>
                    <a:lnTo>
                      <a:pt x="23" y="134"/>
                    </a:lnTo>
                    <a:lnTo>
                      <a:pt x="23" y="132"/>
                    </a:lnTo>
                    <a:lnTo>
                      <a:pt x="25" y="132"/>
                    </a:lnTo>
                    <a:lnTo>
                      <a:pt x="25" y="131"/>
                    </a:lnTo>
                    <a:lnTo>
                      <a:pt x="25" y="129"/>
                    </a:lnTo>
                    <a:lnTo>
                      <a:pt x="25" y="127"/>
                    </a:lnTo>
                    <a:lnTo>
                      <a:pt x="27" y="125"/>
                    </a:lnTo>
                    <a:lnTo>
                      <a:pt x="25" y="125"/>
                    </a:lnTo>
                    <a:lnTo>
                      <a:pt x="27" y="125"/>
                    </a:lnTo>
                    <a:lnTo>
                      <a:pt x="27" y="124"/>
                    </a:lnTo>
                    <a:lnTo>
                      <a:pt x="27" y="122"/>
                    </a:lnTo>
                    <a:lnTo>
                      <a:pt x="27" y="120"/>
                    </a:lnTo>
                    <a:lnTo>
                      <a:pt x="27" y="119"/>
                    </a:lnTo>
                    <a:lnTo>
                      <a:pt x="27" y="117"/>
                    </a:lnTo>
                    <a:lnTo>
                      <a:pt x="27" y="115"/>
                    </a:lnTo>
                    <a:lnTo>
                      <a:pt x="27" y="114"/>
                    </a:lnTo>
                    <a:lnTo>
                      <a:pt x="27" y="112"/>
                    </a:lnTo>
                    <a:lnTo>
                      <a:pt x="27" y="114"/>
                    </a:lnTo>
                    <a:lnTo>
                      <a:pt x="25" y="112"/>
                    </a:lnTo>
                    <a:lnTo>
                      <a:pt x="27" y="112"/>
                    </a:lnTo>
                    <a:lnTo>
                      <a:pt x="27" y="110"/>
                    </a:lnTo>
                    <a:lnTo>
                      <a:pt x="27" y="108"/>
                    </a:lnTo>
                    <a:lnTo>
                      <a:pt x="29" y="108"/>
                    </a:lnTo>
                    <a:lnTo>
                      <a:pt x="27" y="107"/>
                    </a:lnTo>
                    <a:lnTo>
                      <a:pt x="29" y="107"/>
                    </a:lnTo>
                    <a:lnTo>
                      <a:pt x="29" y="105"/>
                    </a:lnTo>
                    <a:lnTo>
                      <a:pt x="30" y="105"/>
                    </a:lnTo>
                    <a:lnTo>
                      <a:pt x="30" y="103"/>
                    </a:lnTo>
                    <a:lnTo>
                      <a:pt x="32" y="103"/>
                    </a:lnTo>
                    <a:lnTo>
                      <a:pt x="30" y="103"/>
                    </a:lnTo>
                    <a:lnTo>
                      <a:pt x="32" y="103"/>
                    </a:lnTo>
                    <a:lnTo>
                      <a:pt x="30" y="103"/>
                    </a:lnTo>
                    <a:lnTo>
                      <a:pt x="32" y="103"/>
                    </a:lnTo>
                    <a:lnTo>
                      <a:pt x="30" y="102"/>
                    </a:lnTo>
                    <a:lnTo>
                      <a:pt x="30" y="100"/>
                    </a:lnTo>
                    <a:lnTo>
                      <a:pt x="32" y="100"/>
                    </a:lnTo>
                    <a:lnTo>
                      <a:pt x="32" y="98"/>
                    </a:lnTo>
                    <a:lnTo>
                      <a:pt x="34" y="98"/>
                    </a:lnTo>
                    <a:lnTo>
                      <a:pt x="34" y="97"/>
                    </a:lnTo>
                    <a:lnTo>
                      <a:pt x="32" y="97"/>
                    </a:lnTo>
                    <a:lnTo>
                      <a:pt x="34" y="97"/>
                    </a:lnTo>
                    <a:lnTo>
                      <a:pt x="34" y="98"/>
                    </a:lnTo>
                    <a:lnTo>
                      <a:pt x="34" y="97"/>
                    </a:lnTo>
                    <a:lnTo>
                      <a:pt x="32" y="93"/>
                    </a:lnTo>
                    <a:lnTo>
                      <a:pt x="29" y="86"/>
                    </a:lnTo>
                    <a:lnTo>
                      <a:pt x="27" y="85"/>
                    </a:lnTo>
                    <a:lnTo>
                      <a:pt x="25" y="81"/>
                    </a:lnTo>
                    <a:lnTo>
                      <a:pt x="25" y="80"/>
                    </a:lnTo>
                    <a:lnTo>
                      <a:pt x="23" y="78"/>
                    </a:lnTo>
                    <a:lnTo>
                      <a:pt x="23" y="76"/>
                    </a:lnTo>
                    <a:lnTo>
                      <a:pt x="22" y="74"/>
                    </a:lnTo>
                    <a:lnTo>
                      <a:pt x="20" y="73"/>
                    </a:lnTo>
                    <a:lnTo>
                      <a:pt x="20" y="69"/>
                    </a:lnTo>
                    <a:lnTo>
                      <a:pt x="18" y="68"/>
                    </a:lnTo>
                    <a:lnTo>
                      <a:pt x="18" y="66"/>
                    </a:lnTo>
                    <a:lnTo>
                      <a:pt x="15" y="64"/>
                    </a:lnTo>
                    <a:lnTo>
                      <a:pt x="15" y="61"/>
                    </a:lnTo>
                    <a:lnTo>
                      <a:pt x="13" y="61"/>
                    </a:lnTo>
                    <a:lnTo>
                      <a:pt x="13" y="59"/>
                    </a:lnTo>
                    <a:lnTo>
                      <a:pt x="12" y="56"/>
                    </a:lnTo>
                    <a:lnTo>
                      <a:pt x="10" y="54"/>
                    </a:lnTo>
                    <a:lnTo>
                      <a:pt x="8" y="52"/>
                    </a:lnTo>
                    <a:lnTo>
                      <a:pt x="6" y="51"/>
                    </a:lnTo>
                    <a:lnTo>
                      <a:pt x="6" y="49"/>
                    </a:lnTo>
                    <a:lnTo>
                      <a:pt x="5" y="46"/>
                    </a:lnTo>
                    <a:lnTo>
                      <a:pt x="3" y="44"/>
                    </a:lnTo>
                    <a:lnTo>
                      <a:pt x="3" y="42"/>
                    </a:lnTo>
                    <a:lnTo>
                      <a:pt x="3" y="44"/>
                    </a:lnTo>
                    <a:lnTo>
                      <a:pt x="3" y="42"/>
                    </a:lnTo>
                    <a:lnTo>
                      <a:pt x="5" y="42"/>
                    </a:lnTo>
                    <a:lnTo>
                      <a:pt x="6" y="44"/>
                    </a:lnTo>
                    <a:lnTo>
                      <a:pt x="6" y="42"/>
                    </a:lnTo>
                    <a:lnTo>
                      <a:pt x="8" y="42"/>
                    </a:lnTo>
                    <a:lnTo>
                      <a:pt x="10" y="44"/>
                    </a:lnTo>
                    <a:lnTo>
                      <a:pt x="10" y="42"/>
                    </a:lnTo>
                    <a:lnTo>
                      <a:pt x="10" y="44"/>
                    </a:lnTo>
                    <a:lnTo>
                      <a:pt x="12" y="42"/>
                    </a:lnTo>
                    <a:lnTo>
                      <a:pt x="13" y="42"/>
                    </a:lnTo>
                    <a:lnTo>
                      <a:pt x="13" y="44"/>
                    </a:lnTo>
                    <a:lnTo>
                      <a:pt x="13" y="42"/>
                    </a:lnTo>
                    <a:lnTo>
                      <a:pt x="15" y="42"/>
                    </a:lnTo>
                    <a:lnTo>
                      <a:pt x="15" y="44"/>
                    </a:lnTo>
                    <a:lnTo>
                      <a:pt x="15" y="42"/>
                    </a:lnTo>
                    <a:lnTo>
                      <a:pt x="17" y="44"/>
                    </a:lnTo>
                    <a:lnTo>
                      <a:pt x="18" y="44"/>
                    </a:lnTo>
                    <a:lnTo>
                      <a:pt x="20" y="44"/>
                    </a:lnTo>
                    <a:lnTo>
                      <a:pt x="22" y="44"/>
                    </a:lnTo>
                    <a:lnTo>
                      <a:pt x="22" y="46"/>
                    </a:lnTo>
                    <a:lnTo>
                      <a:pt x="22" y="44"/>
                    </a:lnTo>
                    <a:lnTo>
                      <a:pt x="23" y="44"/>
                    </a:lnTo>
                    <a:lnTo>
                      <a:pt x="23" y="46"/>
                    </a:lnTo>
                    <a:lnTo>
                      <a:pt x="25" y="46"/>
                    </a:lnTo>
                    <a:lnTo>
                      <a:pt x="27" y="46"/>
                    </a:lnTo>
                    <a:lnTo>
                      <a:pt x="25" y="46"/>
                    </a:lnTo>
                    <a:lnTo>
                      <a:pt x="27" y="46"/>
                    </a:lnTo>
                    <a:lnTo>
                      <a:pt x="27" y="44"/>
                    </a:lnTo>
                    <a:lnTo>
                      <a:pt x="29" y="46"/>
                    </a:lnTo>
                    <a:lnTo>
                      <a:pt x="29" y="44"/>
                    </a:lnTo>
                    <a:lnTo>
                      <a:pt x="29" y="46"/>
                    </a:lnTo>
                    <a:lnTo>
                      <a:pt x="30" y="44"/>
                    </a:lnTo>
                    <a:lnTo>
                      <a:pt x="30" y="46"/>
                    </a:lnTo>
                    <a:lnTo>
                      <a:pt x="30" y="47"/>
                    </a:lnTo>
                    <a:lnTo>
                      <a:pt x="32" y="49"/>
                    </a:lnTo>
                    <a:lnTo>
                      <a:pt x="32" y="51"/>
                    </a:lnTo>
                    <a:lnTo>
                      <a:pt x="37" y="49"/>
                    </a:lnTo>
                    <a:lnTo>
                      <a:pt x="37" y="47"/>
                    </a:lnTo>
                    <a:lnTo>
                      <a:pt x="39" y="47"/>
                    </a:lnTo>
                    <a:lnTo>
                      <a:pt x="39" y="46"/>
                    </a:lnTo>
                    <a:lnTo>
                      <a:pt x="40" y="47"/>
                    </a:lnTo>
                    <a:lnTo>
                      <a:pt x="40" y="46"/>
                    </a:lnTo>
                    <a:lnTo>
                      <a:pt x="42" y="46"/>
                    </a:lnTo>
                    <a:lnTo>
                      <a:pt x="42" y="47"/>
                    </a:lnTo>
                    <a:lnTo>
                      <a:pt x="42" y="46"/>
                    </a:lnTo>
                    <a:lnTo>
                      <a:pt x="44" y="46"/>
                    </a:lnTo>
                    <a:lnTo>
                      <a:pt x="46" y="46"/>
                    </a:lnTo>
                    <a:lnTo>
                      <a:pt x="46" y="44"/>
                    </a:lnTo>
                    <a:lnTo>
                      <a:pt x="47" y="44"/>
                    </a:lnTo>
                    <a:lnTo>
                      <a:pt x="47" y="42"/>
                    </a:lnTo>
                    <a:lnTo>
                      <a:pt x="49" y="42"/>
                    </a:lnTo>
                    <a:lnTo>
                      <a:pt x="49" y="40"/>
                    </a:lnTo>
                    <a:lnTo>
                      <a:pt x="51" y="39"/>
                    </a:lnTo>
                    <a:lnTo>
                      <a:pt x="51" y="37"/>
                    </a:lnTo>
                    <a:lnTo>
                      <a:pt x="52" y="37"/>
                    </a:lnTo>
                    <a:lnTo>
                      <a:pt x="52" y="35"/>
                    </a:lnTo>
                    <a:lnTo>
                      <a:pt x="52" y="34"/>
                    </a:lnTo>
                    <a:lnTo>
                      <a:pt x="54" y="34"/>
                    </a:lnTo>
                    <a:lnTo>
                      <a:pt x="56" y="32"/>
                    </a:lnTo>
                    <a:lnTo>
                      <a:pt x="56" y="34"/>
                    </a:lnTo>
                    <a:lnTo>
                      <a:pt x="57" y="32"/>
                    </a:lnTo>
                    <a:lnTo>
                      <a:pt x="57" y="34"/>
                    </a:lnTo>
                    <a:lnTo>
                      <a:pt x="59" y="32"/>
                    </a:lnTo>
                    <a:lnTo>
                      <a:pt x="61" y="32"/>
                    </a:lnTo>
                    <a:lnTo>
                      <a:pt x="63" y="34"/>
                    </a:lnTo>
                    <a:lnTo>
                      <a:pt x="64" y="34"/>
                    </a:lnTo>
                    <a:lnTo>
                      <a:pt x="64" y="35"/>
                    </a:lnTo>
                    <a:lnTo>
                      <a:pt x="66" y="35"/>
                    </a:lnTo>
                    <a:lnTo>
                      <a:pt x="66" y="34"/>
                    </a:lnTo>
                    <a:lnTo>
                      <a:pt x="66" y="32"/>
                    </a:lnTo>
                    <a:lnTo>
                      <a:pt x="66" y="30"/>
                    </a:lnTo>
                    <a:lnTo>
                      <a:pt x="68" y="32"/>
                    </a:lnTo>
                    <a:lnTo>
                      <a:pt x="68" y="30"/>
                    </a:lnTo>
                    <a:lnTo>
                      <a:pt x="69" y="30"/>
                    </a:lnTo>
                    <a:lnTo>
                      <a:pt x="69" y="29"/>
                    </a:lnTo>
                    <a:lnTo>
                      <a:pt x="71" y="27"/>
                    </a:lnTo>
                    <a:lnTo>
                      <a:pt x="73" y="27"/>
                    </a:lnTo>
                    <a:lnTo>
                      <a:pt x="74" y="25"/>
                    </a:lnTo>
                    <a:lnTo>
                      <a:pt x="74" y="27"/>
                    </a:lnTo>
                    <a:lnTo>
                      <a:pt x="74" y="25"/>
                    </a:lnTo>
                    <a:lnTo>
                      <a:pt x="76" y="25"/>
                    </a:lnTo>
                    <a:lnTo>
                      <a:pt x="76" y="23"/>
                    </a:lnTo>
                    <a:lnTo>
                      <a:pt x="74" y="23"/>
                    </a:lnTo>
                    <a:lnTo>
                      <a:pt x="76" y="23"/>
                    </a:lnTo>
                    <a:lnTo>
                      <a:pt x="78" y="23"/>
                    </a:lnTo>
                    <a:lnTo>
                      <a:pt x="80" y="23"/>
                    </a:lnTo>
                    <a:lnTo>
                      <a:pt x="80" y="22"/>
                    </a:lnTo>
                    <a:lnTo>
                      <a:pt x="78" y="22"/>
                    </a:lnTo>
                    <a:lnTo>
                      <a:pt x="80" y="22"/>
                    </a:lnTo>
                    <a:lnTo>
                      <a:pt x="81" y="22"/>
                    </a:lnTo>
                    <a:lnTo>
                      <a:pt x="83" y="22"/>
                    </a:lnTo>
                    <a:lnTo>
                      <a:pt x="85" y="22"/>
                    </a:lnTo>
                    <a:lnTo>
                      <a:pt x="85" y="20"/>
                    </a:lnTo>
                    <a:lnTo>
                      <a:pt x="86" y="20"/>
                    </a:lnTo>
                    <a:lnTo>
                      <a:pt x="88" y="20"/>
                    </a:lnTo>
                    <a:lnTo>
                      <a:pt x="90" y="18"/>
                    </a:lnTo>
                    <a:lnTo>
                      <a:pt x="90" y="17"/>
                    </a:lnTo>
                    <a:lnTo>
                      <a:pt x="91" y="17"/>
                    </a:lnTo>
                    <a:lnTo>
                      <a:pt x="91" y="15"/>
                    </a:lnTo>
                    <a:lnTo>
                      <a:pt x="93" y="15"/>
                    </a:lnTo>
                    <a:lnTo>
                      <a:pt x="91" y="15"/>
                    </a:lnTo>
                    <a:lnTo>
                      <a:pt x="93" y="15"/>
                    </a:lnTo>
                    <a:lnTo>
                      <a:pt x="93" y="13"/>
                    </a:lnTo>
                    <a:lnTo>
                      <a:pt x="95" y="13"/>
                    </a:lnTo>
                    <a:lnTo>
                      <a:pt x="95" y="12"/>
                    </a:lnTo>
                    <a:lnTo>
                      <a:pt x="97" y="12"/>
                    </a:lnTo>
                    <a:lnTo>
                      <a:pt x="98" y="10"/>
                    </a:lnTo>
                    <a:lnTo>
                      <a:pt x="100" y="10"/>
                    </a:lnTo>
                    <a:lnTo>
                      <a:pt x="100" y="8"/>
                    </a:lnTo>
                    <a:lnTo>
                      <a:pt x="102" y="8"/>
                    </a:lnTo>
                    <a:lnTo>
                      <a:pt x="102" y="6"/>
                    </a:lnTo>
                    <a:lnTo>
                      <a:pt x="103" y="6"/>
                    </a:lnTo>
                    <a:lnTo>
                      <a:pt x="105" y="6"/>
                    </a:lnTo>
                    <a:lnTo>
                      <a:pt x="107" y="6"/>
                    </a:lnTo>
                    <a:lnTo>
                      <a:pt x="108" y="6"/>
                    </a:lnTo>
                    <a:lnTo>
                      <a:pt x="110" y="6"/>
                    </a:lnTo>
                    <a:lnTo>
                      <a:pt x="108" y="6"/>
                    </a:lnTo>
                    <a:lnTo>
                      <a:pt x="110" y="6"/>
                    </a:lnTo>
                    <a:lnTo>
                      <a:pt x="112" y="6"/>
                    </a:lnTo>
                    <a:lnTo>
                      <a:pt x="112" y="5"/>
                    </a:lnTo>
                    <a:lnTo>
                      <a:pt x="114" y="5"/>
                    </a:lnTo>
                    <a:lnTo>
                      <a:pt x="115" y="5"/>
                    </a:lnTo>
                    <a:lnTo>
                      <a:pt x="115" y="3"/>
                    </a:lnTo>
                    <a:lnTo>
                      <a:pt x="115" y="5"/>
                    </a:lnTo>
                    <a:lnTo>
                      <a:pt x="117" y="5"/>
                    </a:lnTo>
                    <a:lnTo>
                      <a:pt x="117" y="3"/>
                    </a:lnTo>
                    <a:lnTo>
                      <a:pt x="119" y="3"/>
                    </a:lnTo>
                    <a:lnTo>
                      <a:pt x="120" y="3"/>
                    </a:lnTo>
                    <a:lnTo>
                      <a:pt x="120" y="5"/>
                    </a:lnTo>
                    <a:lnTo>
                      <a:pt x="120" y="3"/>
                    </a:lnTo>
                    <a:lnTo>
                      <a:pt x="122" y="3"/>
                    </a:lnTo>
                    <a:lnTo>
                      <a:pt x="122" y="5"/>
                    </a:lnTo>
                    <a:lnTo>
                      <a:pt x="122" y="3"/>
                    </a:lnTo>
                    <a:lnTo>
                      <a:pt x="124" y="3"/>
                    </a:lnTo>
                    <a:lnTo>
                      <a:pt x="125" y="3"/>
                    </a:lnTo>
                    <a:lnTo>
                      <a:pt x="125" y="1"/>
                    </a:lnTo>
                    <a:lnTo>
                      <a:pt x="125" y="3"/>
                    </a:lnTo>
                    <a:lnTo>
                      <a:pt x="125" y="1"/>
                    </a:lnTo>
                    <a:lnTo>
                      <a:pt x="127" y="3"/>
                    </a:lnTo>
                    <a:lnTo>
                      <a:pt x="127" y="1"/>
                    </a:lnTo>
                    <a:lnTo>
                      <a:pt x="127" y="3"/>
                    </a:lnTo>
                    <a:lnTo>
                      <a:pt x="129" y="3"/>
                    </a:lnTo>
                    <a:lnTo>
                      <a:pt x="129" y="1"/>
                    </a:lnTo>
                    <a:lnTo>
                      <a:pt x="131" y="1"/>
                    </a:lnTo>
                    <a:lnTo>
                      <a:pt x="129" y="3"/>
                    </a:lnTo>
                    <a:lnTo>
                      <a:pt x="131" y="3"/>
                    </a:lnTo>
                    <a:lnTo>
                      <a:pt x="131" y="1"/>
                    </a:lnTo>
                    <a:lnTo>
                      <a:pt x="132" y="3"/>
                    </a:lnTo>
                    <a:lnTo>
                      <a:pt x="132" y="1"/>
                    </a:lnTo>
                    <a:lnTo>
                      <a:pt x="134" y="1"/>
                    </a:lnTo>
                    <a:lnTo>
                      <a:pt x="134" y="3"/>
                    </a:lnTo>
                    <a:lnTo>
                      <a:pt x="132" y="3"/>
                    </a:lnTo>
                    <a:lnTo>
                      <a:pt x="134" y="3"/>
                    </a:lnTo>
                    <a:lnTo>
                      <a:pt x="132" y="3"/>
                    </a:lnTo>
                    <a:lnTo>
                      <a:pt x="134" y="5"/>
                    </a:lnTo>
                    <a:lnTo>
                      <a:pt x="134" y="3"/>
                    </a:lnTo>
                    <a:lnTo>
                      <a:pt x="136" y="3"/>
                    </a:lnTo>
                    <a:lnTo>
                      <a:pt x="136" y="5"/>
                    </a:lnTo>
                    <a:lnTo>
                      <a:pt x="136" y="3"/>
                    </a:lnTo>
                    <a:lnTo>
                      <a:pt x="136" y="5"/>
                    </a:lnTo>
                    <a:lnTo>
                      <a:pt x="137" y="5"/>
                    </a:lnTo>
                    <a:lnTo>
                      <a:pt x="139" y="5"/>
                    </a:lnTo>
                    <a:lnTo>
                      <a:pt x="137" y="5"/>
                    </a:lnTo>
                    <a:lnTo>
                      <a:pt x="137" y="3"/>
                    </a:lnTo>
                    <a:lnTo>
                      <a:pt x="139" y="3"/>
                    </a:lnTo>
                    <a:lnTo>
                      <a:pt x="141" y="3"/>
                    </a:lnTo>
                    <a:lnTo>
                      <a:pt x="141" y="1"/>
                    </a:lnTo>
                    <a:lnTo>
                      <a:pt x="141" y="0"/>
                    </a:lnTo>
                    <a:lnTo>
                      <a:pt x="141" y="1"/>
                    </a:lnTo>
                    <a:lnTo>
                      <a:pt x="141" y="0"/>
                    </a:lnTo>
                    <a:lnTo>
                      <a:pt x="142" y="0"/>
                    </a:lnTo>
                    <a:lnTo>
                      <a:pt x="144" y="0"/>
                    </a:lnTo>
                    <a:lnTo>
                      <a:pt x="144" y="1"/>
                    </a:lnTo>
                    <a:lnTo>
                      <a:pt x="146" y="1"/>
                    </a:lnTo>
                    <a:lnTo>
                      <a:pt x="146" y="3"/>
                    </a:lnTo>
                    <a:lnTo>
                      <a:pt x="146" y="5"/>
                    </a:lnTo>
                    <a:lnTo>
                      <a:pt x="148" y="5"/>
                    </a:lnTo>
                    <a:lnTo>
                      <a:pt x="148" y="6"/>
                    </a:lnTo>
                    <a:lnTo>
                      <a:pt x="146" y="6"/>
                    </a:lnTo>
                    <a:lnTo>
                      <a:pt x="146" y="8"/>
                    </a:lnTo>
                    <a:lnTo>
                      <a:pt x="146" y="10"/>
                    </a:lnTo>
                    <a:lnTo>
                      <a:pt x="146" y="12"/>
                    </a:lnTo>
                    <a:lnTo>
                      <a:pt x="146" y="13"/>
                    </a:lnTo>
                    <a:lnTo>
                      <a:pt x="148" y="13"/>
                    </a:lnTo>
                    <a:lnTo>
                      <a:pt x="148" y="15"/>
                    </a:lnTo>
                    <a:lnTo>
                      <a:pt x="146" y="17"/>
                    </a:lnTo>
                    <a:lnTo>
                      <a:pt x="148" y="17"/>
                    </a:lnTo>
                    <a:lnTo>
                      <a:pt x="148" y="18"/>
                    </a:lnTo>
                    <a:lnTo>
                      <a:pt x="146" y="18"/>
                    </a:lnTo>
                    <a:lnTo>
                      <a:pt x="146" y="20"/>
                    </a:lnTo>
                    <a:lnTo>
                      <a:pt x="146" y="22"/>
                    </a:lnTo>
                    <a:lnTo>
                      <a:pt x="144" y="22"/>
                    </a:lnTo>
                    <a:lnTo>
                      <a:pt x="144" y="23"/>
                    </a:lnTo>
                    <a:lnTo>
                      <a:pt x="144" y="25"/>
                    </a:lnTo>
                    <a:lnTo>
                      <a:pt x="144" y="27"/>
                    </a:lnTo>
                    <a:lnTo>
                      <a:pt x="142" y="27"/>
                    </a:lnTo>
                    <a:lnTo>
                      <a:pt x="142" y="29"/>
                    </a:lnTo>
                    <a:lnTo>
                      <a:pt x="144" y="29"/>
                    </a:lnTo>
                    <a:lnTo>
                      <a:pt x="144" y="30"/>
                    </a:lnTo>
                    <a:lnTo>
                      <a:pt x="142" y="30"/>
                    </a:lnTo>
                    <a:lnTo>
                      <a:pt x="144" y="32"/>
                    </a:lnTo>
                    <a:lnTo>
                      <a:pt x="146" y="34"/>
                    </a:lnTo>
                    <a:lnTo>
                      <a:pt x="146" y="35"/>
                    </a:lnTo>
                    <a:lnTo>
                      <a:pt x="146" y="37"/>
                    </a:lnTo>
                    <a:lnTo>
                      <a:pt x="146" y="39"/>
                    </a:lnTo>
                    <a:lnTo>
                      <a:pt x="148" y="39"/>
                    </a:lnTo>
                    <a:lnTo>
                      <a:pt x="148" y="40"/>
                    </a:lnTo>
                    <a:lnTo>
                      <a:pt x="148" y="42"/>
                    </a:lnTo>
                    <a:lnTo>
                      <a:pt x="148" y="44"/>
                    </a:lnTo>
                    <a:lnTo>
                      <a:pt x="149" y="44"/>
                    </a:lnTo>
                    <a:lnTo>
                      <a:pt x="148" y="46"/>
                    </a:lnTo>
                    <a:lnTo>
                      <a:pt x="148" y="47"/>
                    </a:lnTo>
                    <a:lnTo>
                      <a:pt x="146" y="49"/>
                    </a:lnTo>
                    <a:lnTo>
                      <a:pt x="144" y="49"/>
                    </a:lnTo>
                    <a:lnTo>
                      <a:pt x="144" y="51"/>
                    </a:lnTo>
                    <a:lnTo>
                      <a:pt x="146" y="51"/>
                    </a:lnTo>
                    <a:lnTo>
                      <a:pt x="146" y="52"/>
                    </a:lnTo>
                    <a:lnTo>
                      <a:pt x="144" y="52"/>
                    </a:lnTo>
                    <a:lnTo>
                      <a:pt x="144" y="54"/>
                    </a:lnTo>
                    <a:lnTo>
                      <a:pt x="146" y="54"/>
                    </a:lnTo>
                    <a:lnTo>
                      <a:pt x="146" y="56"/>
                    </a:lnTo>
                    <a:lnTo>
                      <a:pt x="148" y="56"/>
                    </a:lnTo>
                    <a:lnTo>
                      <a:pt x="146" y="56"/>
                    </a:lnTo>
                    <a:lnTo>
                      <a:pt x="146" y="57"/>
                    </a:lnTo>
                    <a:lnTo>
                      <a:pt x="146" y="59"/>
                    </a:lnTo>
                    <a:lnTo>
                      <a:pt x="146" y="61"/>
                    </a:lnTo>
                    <a:lnTo>
                      <a:pt x="148" y="63"/>
                    </a:lnTo>
                    <a:lnTo>
                      <a:pt x="149" y="63"/>
                    </a:lnTo>
                    <a:lnTo>
                      <a:pt x="149" y="64"/>
                    </a:lnTo>
                    <a:lnTo>
                      <a:pt x="149" y="66"/>
                    </a:lnTo>
                    <a:lnTo>
                      <a:pt x="149" y="68"/>
                    </a:lnTo>
                    <a:lnTo>
                      <a:pt x="148" y="69"/>
                    </a:lnTo>
                    <a:lnTo>
                      <a:pt x="149" y="69"/>
                    </a:lnTo>
                    <a:lnTo>
                      <a:pt x="149" y="71"/>
                    </a:lnTo>
                    <a:lnTo>
                      <a:pt x="151" y="71"/>
                    </a:lnTo>
                    <a:lnTo>
                      <a:pt x="151" y="69"/>
                    </a:lnTo>
                    <a:lnTo>
                      <a:pt x="153" y="69"/>
                    </a:lnTo>
                    <a:lnTo>
                      <a:pt x="154" y="69"/>
                    </a:lnTo>
                    <a:lnTo>
                      <a:pt x="154" y="71"/>
                    </a:lnTo>
                    <a:lnTo>
                      <a:pt x="154" y="73"/>
                    </a:lnTo>
                    <a:lnTo>
                      <a:pt x="154" y="74"/>
                    </a:lnTo>
                    <a:lnTo>
                      <a:pt x="156" y="74"/>
                    </a:lnTo>
                    <a:lnTo>
                      <a:pt x="156" y="76"/>
                    </a:lnTo>
                    <a:lnTo>
                      <a:pt x="156" y="78"/>
                    </a:lnTo>
                    <a:lnTo>
                      <a:pt x="156" y="80"/>
                    </a:lnTo>
                    <a:lnTo>
                      <a:pt x="158" y="80"/>
                    </a:lnTo>
                    <a:lnTo>
                      <a:pt x="159" y="80"/>
                    </a:lnTo>
                    <a:lnTo>
                      <a:pt x="161" y="80"/>
                    </a:lnTo>
                    <a:lnTo>
                      <a:pt x="163" y="80"/>
                    </a:lnTo>
                    <a:lnTo>
                      <a:pt x="163" y="81"/>
                    </a:lnTo>
                    <a:lnTo>
                      <a:pt x="163" y="83"/>
                    </a:lnTo>
                    <a:lnTo>
                      <a:pt x="163" y="81"/>
                    </a:lnTo>
                    <a:lnTo>
                      <a:pt x="165" y="81"/>
                    </a:lnTo>
                    <a:lnTo>
                      <a:pt x="165" y="83"/>
                    </a:lnTo>
                    <a:lnTo>
                      <a:pt x="165" y="85"/>
                    </a:lnTo>
                    <a:lnTo>
                      <a:pt x="166" y="85"/>
                    </a:lnTo>
                    <a:lnTo>
                      <a:pt x="166" y="83"/>
                    </a:lnTo>
                    <a:lnTo>
                      <a:pt x="166" y="81"/>
                    </a:lnTo>
                    <a:lnTo>
                      <a:pt x="166" y="83"/>
                    </a:lnTo>
                    <a:lnTo>
                      <a:pt x="168" y="83"/>
                    </a:lnTo>
                    <a:lnTo>
                      <a:pt x="166" y="83"/>
                    </a:lnTo>
                    <a:lnTo>
                      <a:pt x="166" y="85"/>
                    </a:lnTo>
                    <a:lnTo>
                      <a:pt x="168" y="86"/>
                    </a:lnTo>
                    <a:lnTo>
                      <a:pt x="170" y="86"/>
                    </a:lnTo>
                    <a:lnTo>
                      <a:pt x="171" y="86"/>
                    </a:lnTo>
                    <a:lnTo>
                      <a:pt x="171" y="88"/>
                    </a:lnTo>
                    <a:lnTo>
                      <a:pt x="173" y="88"/>
                    </a:lnTo>
                    <a:lnTo>
                      <a:pt x="173" y="86"/>
                    </a:lnTo>
                    <a:lnTo>
                      <a:pt x="173" y="88"/>
                    </a:lnTo>
                    <a:lnTo>
                      <a:pt x="175" y="88"/>
                    </a:lnTo>
                    <a:lnTo>
                      <a:pt x="175" y="90"/>
                    </a:lnTo>
                    <a:lnTo>
                      <a:pt x="173" y="91"/>
                    </a:lnTo>
                    <a:lnTo>
                      <a:pt x="175" y="91"/>
                    </a:lnTo>
                    <a:lnTo>
                      <a:pt x="175" y="93"/>
                    </a:lnTo>
                    <a:lnTo>
                      <a:pt x="176" y="93"/>
                    </a:lnTo>
                    <a:lnTo>
                      <a:pt x="176" y="95"/>
                    </a:lnTo>
                    <a:lnTo>
                      <a:pt x="178" y="95"/>
                    </a:lnTo>
                    <a:lnTo>
                      <a:pt x="180" y="95"/>
                    </a:lnTo>
                    <a:lnTo>
                      <a:pt x="182" y="95"/>
                    </a:lnTo>
                    <a:lnTo>
                      <a:pt x="180" y="97"/>
                    </a:lnTo>
                    <a:lnTo>
                      <a:pt x="182" y="97"/>
                    </a:lnTo>
                    <a:lnTo>
                      <a:pt x="182" y="95"/>
                    </a:lnTo>
                    <a:lnTo>
                      <a:pt x="183" y="95"/>
                    </a:lnTo>
                    <a:lnTo>
                      <a:pt x="185" y="95"/>
                    </a:lnTo>
                    <a:lnTo>
                      <a:pt x="185" y="97"/>
                    </a:lnTo>
                    <a:lnTo>
                      <a:pt x="187" y="97"/>
                    </a:lnTo>
                    <a:lnTo>
                      <a:pt x="187" y="95"/>
                    </a:lnTo>
                    <a:lnTo>
                      <a:pt x="187" y="97"/>
                    </a:lnTo>
                    <a:lnTo>
                      <a:pt x="188" y="97"/>
                    </a:lnTo>
                    <a:lnTo>
                      <a:pt x="190" y="97"/>
                    </a:lnTo>
                    <a:lnTo>
                      <a:pt x="192" y="97"/>
                    </a:lnTo>
                    <a:lnTo>
                      <a:pt x="193" y="97"/>
                    </a:lnTo>
                    <a:lnTo>
                      <a:pt x="195" y="95"/>
                    </a:lnTo>
                    <a:lnTo>
                      <a:pt x="197" y="95"/>
                    </a:lnTo>
                    <a:lnTo>
                      <a:pt x="199" y="93"/>
                    </a:lnTo>
                    <a:lnTo>
                      <a:pt x="199" y="95"/>
                    </a:lnTo>
                    <a:lnTo>
                      <a:pt x="200" y="95"/>
                    </a:lnTo>
                    <a:lnTo>
                      <a:pt x="202" y="95"/>
                    </a:lnTo>
                    <a:lnTo>
                      <a:pt x="204" y="95"/>
                    </a:lnTo>
                    <a:lnTo>
                      <a:pt x="204" y="97"/>
                    </a:lnTo>
                    <a:lnTo>
                      <a:pt x="205" y="97"/>
                    </a:lnTo>
                    <a:lnTo>
                      <a:pt x="207" y="97"/>
                    </a:lnTo>
                    <a:lnTo>
                      <a:pt x="207" y="98"/>
                    </a:lnTo>
                    <a:lnTo>
                      <a:pt x="209" y="98"/>
                    </a:lnTo>
                    <a:lnTo>
                      <a:pt x="210" y="98"/>
                    </a:lnTo>
                    <a:lnTo>
                      <a:pt x="210" y="100"/>
                    </a:lnTo>
                    <a:lnTo>
                      <a:pt x="209" y="100"/>
                    </a:lnTo>
                    <a:lnTo>
                      <a:pt x="210" y="100"/>
                    </a:lnTo>
                    <a:lnTo>
                      <a:pt x="210" y="102"/>
                    </a:lnTo>
                    <a:lnTo>
                      <a:pt x="212" y="102"/>
                    </a:lnTo>
                    <a:lnTo>
                      <a:pt x="214" y="102"/>
                    </a:lnTo>
                    <a:lnTo>
                      <a:pt x="214" y="103"/>
                    </a:lnTo>
                    <a:lnTo>
                      <a:pt x="216" y="103"/>
                    </a:lnTo>
                    <a:lnTo>
                      <a:pt x="217" y="103"/>
                    </a:lnTo>
                    <a:lnTo>
                      <a:pt x="216" y="102"/>
                    </a:lnTo>
                    <a:lnTo>
                      <a:pt x="217" y="102"/>
                    </a:lnTo>
                    <a:lnTo>
                      <a:pt x="217" y="100"/>
                    </a:lnTo>
                    <a:lnTo>
                      <a:pt x="219" y="102"/>
                    </a:lnTo>
                    <a:lnTo>
                      <a:pt x="219" y="100"/>
                    </a:lnTo>
                    <a:lnTo>
                      <a:pt x="219" y="102"/>
                    </a:lnTo>
                    <a:lnTo>
                      <a:pt x="221" y="102"/>
                    </a:lnTo>
                    <a:lnTo>
                      <a:pt x="221" y="103"/>
                    </a:lnTo>
                    <a:lnTo>
                      <a:pt x="222" y="103"/>
                    </a:lnTo>
                    <a:lnTo>
                      <a:pt x="222" y="105"/>
                    </a:lnTo>
                    <a:lnTo>
                      <a:pt x="224" y="105"/>
                    </a:lnTo>
                    <a:lnTo>
                      <a:pt x="224" y="107"/>
                    </a:lnTo>
                    <a:lnTo>
                      <a:pt x="224" y="108"/>
                    </a:lnTo>
                    <a:lnTo>
                      <a:pt x="226" y="108"/>
                    </a:lnTo>
                    <a:lnTo>
                      <a:pt x="227" y="108"/>
                    </a:lnTo>
                    <a:lnTo>
                      <a:pt x="227" y="110"/>
                    </a:lnTo>
                    <a:lnTo>
                      <a:pt x="229" y="110"/>
                    </a:lnTo>
                    <a:lnTo>
                      <a:pt x="229" y="112"/>
                    </a:lnTo>
                    <a:lnTo>
                      <a:pt x="231" y="112"/>
                    </a:lnTo>
                    <a:lnTo>
                      <a:pt x="231" y="114"/>
                    </a:lnTo>
                    <a:lnTo>
                      <a:pt x="233" y="114"/>
                    </a:lnTo>
                    <a:lnTo>
                      <a:pt x="234" y="115"/>
                    </a:lnTo>
                    <a:lnTo>
                      <a:pt x="234" y="114"/>
                    </a:lnTo>
                    <a:lnTo>
                      <a:pt x="236" y="114"/>
                    </a:lnTo>
                    <a:lnTo>
                      <a:pt x="236" y="112"/>
                    </a:lnTo>
                    <a:lnTo>
                      <a:pt x="236" y="114"/>
                    </a:lnTo>
                    <a:lnTo>
                      <a:pt x="238" y="114"/>
                    </a:lnTo>
                    <a:lnTo>
                      <a:pt x="238" y="115"/>
                    </a:lnTo>
                    <a:lnTo>
                      <a:pt x="239" y="115"/>
                    </a:lnTo>
                    <a:lnTo>
                      <a:pt x="239" y="117"/>
                    </a:lnTo>
                    <a:lnTo>
                      <a:pt x="241" y="115"/>
                    </a:lnTo>
                    <a:lnTo>
                      <a:pt x="241" y="117"/>
                    </a:lnTo>
                    <a:lnTo>
                      <a:pt x="243" y="117"/>
                    </a:lnTo>
                    <a:lnTo>
                      <a:pt x="243" y="115"/>
                    </a:lnTo>
                    <a:lnTo>
                      <a:pt x="243" y="117"/>
                    </a:lnTo>
                    <a:lnTo>
                      <a:pt x="244" y="117"/>
                    </a:lnTo>
                    <a:lnTo>
                      <a:pt x="244" y="119"/>
                    </a:lnTo>
                    <a:lnTo>
                      <a:pt x="244" y="117"/>
                    </a:lnTo>
                    <a:lnTo>
                      <a:pt x="244" y="119"/>
                    </a:lnTo>
                    <a:lnTo>
                      <a:pt x="246" y="119"/>
                    </a:lnTo>
                    <a:lnTo>
                      <a:pt x="248" y="119"/>
                    </a:lnTo>
                    <a:lnTo>
                      <a:pt x="250" y="119"/>
                    </a:lnTo>
                    <a:lnTo>
                      <a:pt x="250" y="117"/>
                    </a:lnTo>
                    <a:lnTo>
                      <a:pt x="251" y="117"/>
                    </a:lnTo>
                    <a:lnTo>
                      <a:pt x="251" y="119"/>
                    </a:lnTo>
                    <a:lnTo>
                      <a:pt x="253" y="119"/>
                    </a:lnTo>
                    <a:lnTo>
                      <a:pt x="251" y="117"/>
                    </a:lnTo>
                    <a:lnTo>
                      <a:pt x="253" y="117"/>
                    </a:lnTo>
                    <a:lnTo>
                      <a:pt x="253" y="119"/>
                    </a:lnTo>
                    <a:lnTo>
                      <a:pt x="255" y="119"/>
                    </a:lnTo>
                    <a:lnTo>
                      <a:pt x="255" y="120"/>
                    </a:lnTo>
                    <a:lnTo>
                      <a:pt x="255" y="122"/>
                    </a:lnTo>
                    <a:lnTo>
                      <a:pt x="255" y="124"/>
                    </a:lnTo>
                    <a:lnTo>
                      <a:pt x="256" y="124"/>
                    </a:lnTo>
                    <a:lnTo>
                      <a:pt x="256" y="125"/>
                    </a:lnTo>
                    <a:lnTo>
                      <a:pt x="258" y="125"/>
                    </a:lnTo>
                    <a:lnTo>
                      <a:pt x="258" y="127"/>
                    </a:lnTo>
                    <a:lnTo>
                      <a:pt x="258" y="125"/>
                    </a:lnTo>
                    <a:lnTo>
                      <a:pt x="260" y="127"/>
                    </a:lnTo>
                    <a:lnTo>
                      <a:pt x="260" y="129"/>
                    </a:lnTo>
                    <a:lnTo>
                      <a:pt x="260" y="127"/>
                    </a:lnTo>
                    <a:lnTo>
                      <a:pt x="261" y="129"/>
                    </a:lnTo>
                    <a:lnTo>
                      <a:pt x="261" y="131"/>
                    </a:lnTo>
                    <a:lnTo>
                      <a:pt x="263" y="131"/>
                    </a:lnTo>
                    <a:lnTo>
                      <a:pt x="263" y="132"/>
                    </a:lnTo>
                    <a:lnTo>
                      <a:pt x="265" y="132"/>
                    </a:lnTo>
                    <a:lnTo>
                      <a:pt x="267" y="132"/>
                    </a:lnTo>
                    <a:lnTo>
                      <a:pt x="268" y="132"/>
                    </a:lnTo>
                    <a:lnTo>
                      <a:pt x="268" y="131"/>
                    </a:lnTo>
                    <a:lnTo>
                      <a:pt x="270" y="131"/>
                    </a:lnTo>
                    <a:lnTo>
                      <a:pt x="270" y="132"/>
                    </a:lnTo>
                    <a:lnTo>
                      <a:pt x="270" y="131"/>
                    </a:lnTo>
                    <a:lnTo>
                      <a:pt x="272" y="132"/>
                    </a:lnTo>
                    <a:lnTo>
                      <a:pt x="272" y="131"/>
                    </a:lnTo>
                    <a:lnTo>
                      <a:pt x="273" y="132"/>
                    </a:lnTo>
                    <a:lnTo>
                      <a:pt x="275" y="132"/>
                    </a:lnTo>
                    <a:lnTo>
                      <a:pt x="277" y="132"/>
                    </a:lnTo>
                    <a:lnTo>
                      <a:pt x="278" y="132"/>
                    </a:lnTo>
                    <a:lnTo>
                      <a:pt x="280" y="132"/>
                    </a:lnTo>
                    <a:lnTo>
                      <a:pt x="280" y="131"/>
                    </a:lnTo>
                    <a:lnTo>
                      <a:pt x="282" y="131"/>
                    </a:lnTo>
                    <a:lnTo>
                      <a:pt x="284" y="131"/>
                    </a:lnTo>
                    <a:lnTo>
                      <a:pt x="284" y="132"/>
                    </a:lnTo>
                    <a:lnTo>
                      <a:pt x="285" y="132"/>
                    </a:lnTo>
                    <a:lnTo>
                      <a:pt x="285" y="131"/>
                    </a:lnTo>
                    <a:lnTo>
                      <a:pt x="285" y="132"/>
                    </a:lnTo>
                    <a:lnTo>
                      <a:pt x="287" y="132"/>
                    </a:lnTo>
                    <a:lnTo>
                      <a:pt x="287" y="131"/>
                    </a:lnTo>
                    <a:lnTo>
                      <a:pt x="287" y="132"/>
                    </a:lnTo>
                    <a:lnTo>
                      <a:pt x="289" y="132"/>
                    </a:lnTo>
                    <a:lnTo>
                      <a:pt x="289" y="131"/>
                    </a:lnTo>
                    <a:lnTo>
                      <a:pt x="290" y="131"/>
                    </a:lnTo>
                    <a:lnTo>
                      <a:pt x="290" y="132"/>
                    </a:lnTo>
                    <a:lnTo>
                      <a:pt x="290" y="131"/>
                    </a:lnTo>
                    <a:lnTo>
                      <a:pt x="292" y="131"/>
                    </a:lnTo>
                    <a:lnTo>
                      <a:pt x="292" y="132"/>
                    </a:lnTo>
                    <a:lnTo>
                      <a:pt x="294" y="132"/>
                    </a:lnTo>
                    <a:lnTo>
                      <a:pt x="295" y="132"/>
                    </a:lnTo>
                    <a:lnTo>
                      <a:pt x="295" y="134"/>
                    </a:lnTo>
                    <a:lnTo>
                      <a:pt x="295" y="136"/>
                    </a:lnTo>
                    <a:lnTo>
                      <a:pt x="297" y="136"/>
                    </a:lnTo>
                    <a:lnTo>
                      <a:pt x="299" y="136"/>
                    </a:lnTo>
                    <a:lnTo>
                      <a:pt x="299" y="137"/>
                    </a:lnTo>
                    <a:lnTo>
                      <a:pt x="301" y="137"/>
                    </a:lnTo>
                    <a:lnTo>
                      <a:pt x="302" y="137"/>
                    </a:lnTo>
                    <a:lnTo>
                      <a:pt x="302" y="139"/>
                    </a:lnTo>
                    <a:lnTo>
                      <a:pt x="302" y="137"/>
                    </a:lnTo>
                    <a:lnTo>
                      <a:pt x="302" y="139"/>
                    </a:lnTo>
                    <a:lnTo>
                      <a:pt x="304" y="139"/>
                    </a:lnTo>
                    <a:lnTo>
                      <a:pt x="306" y="139"/>
                    </a:lnTo>
                    <a:lnTo>
                      <a:pt x="307" y="141"/>
                    </a:lnTo>
                    <a:lnTo>
                      <a:pt x="309" y="141"/>
                    </a:lnTo>
                    <a:lnTo>
                      <a:pt x="311" y="141"/>
                    </a:lnTo>
                    <a:lnTo>
                      <a:pt x="309" y="143"/>
                    </a:lnTo>
                    <a:lnTo>
                      <a:pt x="311" y="143"/>
                    </a:lnTo>
                    <a:lnTo>
                      <a:pt x="309" y="143"/>
                    </a:lnTo>
                    <a:lnTo>
                      <a:pt x="311" y="143"/>
                    </a:lnTo>
                    <a:lnTo>
                      <a:pt x="309" y="143"/>
                    </a:lnTo>
                    <a:lnTo>
                      <a:pt x="309" y="144"/>
                    </a:lnTo>
                    <a:lnTo>
                      <a:pt x="309" y="143"/>
                    </a:lnTo>
                    <a:lnTo>
                      <a:pt x="311" y="144"/>
                    </a:lnTo>
                    <a:lnTo>
                      <a:pt x="309" y="144"/>
                    </a:lnTo>
                    <a:lnTo>
                      <a:pt x="311" y="144"/>
                    </a:lnTo>
                    <a:lnTo>
                      <a:pt x="311" y="146"/>
                    </a:lnTo>
                    <a:lnTo>
                      <a:pt x="311" y="148"/>
                    </a:lnTo>
                    <a:lnTo>
                      <a:pt x="312" y="148"/>
                    </a:lnTo>
                    <a:lnTo>
                      <a:pt x="312" y="149"/>
                    </a:lnTo>
                    <a:lnTo>
                      <a:pt x="311" y="149"/>
                    </a:lnTo>
                    <a:lnTo>
                      <a:pt x="311" y="151"/>
                    </a:lnTo>
                    <a:lnTo>
                      <a:pt x="309" y="151"/>
                    </a:lnTo>
                    <a:lnTo>
                      <a:pt x="309" y="153"/>
                    </a:lnTo>
                    <a:lnTo>
                      <a:pt x="309" y="154"/>
                    </a:lnTo>
                    <a:lnTo>
                      <a:pt x="309" y="156"/>
                    </a:lnTo>
                    <a:lnTo>
                      <a:pt x="311" y="156"/>
                    </a:lnTo>
                    <a:lnTo>
                      <a:pt x="311" y="158"/>
                    </a:lnTo>
                    <a:lnTo>
                      <a:pt x="311" y="160"/>
                    </a:lnTo>
                    <a:lnTo>
                      <a:pt x="311" y="161"/>
                    </a:lnTo>
                    <a:lnTo>
                      <a:pt x="312" y="161"/>
                    </a:lnTo>
                    <a:lnTo>
                      <a:pt x="312" y="163"/>
                    </a:lnTo>
                    <a:lnTo>
                      <a:pt x="312" y="165"/>
                    </a:lnTo>
                    <a:lnTo>
                      <a:pt x="314" y="165"/>
                    </a:lnTo>
                    <a:lnTo>
                      <a:pt x="314" y="166"/>
                    </a:lnTo>
                    <a:lnTo>
                      <a:pt x="314" y="168"/>
                    </a:lnTo>
                    <a:lnTo>
                      <a:pt x="314" y="170"/>
                    </a:lnTo>
                    <a:lnTo>
                      <a:pt x="316" y="170"/>
                    </a:lnTo>
                    <a:lnTo>
                      <a:pt x="316" y="171"/>
                    </a:lnTo>
                    <a:lnTo>
                      <a:pt x="318" y="173"/>
                    </a:lnTo>
                    <a:lnTo>
                      <a:pt x="318" y="175"/>
                    </a:lnTo>
                    <a:lnTo>
                      <a:pt x="318" y="177"/>
                    </a:lnTo>
                    <a:lnTo>
                      <a:pt x="318" y="180"/>
                    </a:lnTo>
                    <a:lnTo>
                      <a:pt x="318" y="182"/>
                    </a:lnTo>
                    <a:lnTo>
                      <a:pt x="318" y="183"/>
                    </a:lnTo>
                    <a:lnTo>
                      <a:pt x="318" y="187"/>
                    </a:lnTo>
                    <a:lnTo>
                      <a:pt x="316" y="187"/>
                    </a:lnTo>
                    <a:lnTo>
                      <a:pt x="314" y="187"/>
                    </a:lnTo>
                    <a:lnTo>
                      <a:pt x="311" y="187"/>
                    </a:lnTo>
                    <a:lnTo>
                      <a:pt x="309" y="187"/>
                    </a:lnTo>
                    <a:lnTo>
                      <a:pt x="306" y="187"/>
                    </a:lnTo>
                    <a:lnTo>
                      <a:pt x="309" y="190"/>
                    </a:lnTo>
                    <a:lnTo>
                      <a:pt x="314" y="195"/>
                    </a:lnTo>
                    <a:lnTo>
                      <a:pt x="316" y="199"/>
                    </a:lnTo>
                    <a:lnTo>
                      <a:pt x="318" y="200"/>
                    </a:lnTo>
                    <a:lnTo>
                      <a:pt x="318" y="202"/>
                    </a:lnTo>
                    <a:lnTo>
                      <a:pt x="318" y="204"/>
                    </a:lnTo>
                    <a:lnTo>
                      <a:pt x="319" y="221"/>
                    </a:lnTo>
                    <a:lnTo>
                      <a:pt x="319" y="224"/>
                    </a:lnTo>
                    <a:lnTo>
                      <a:pt x="319" y="228"/>
                    </a:lnTo>
                    <a:lnTo>
                      <a:pt x="321" y="228"/>
                    </a:lnTo>
                    <a:lnTo>
                      <a:pt x="323" y="228"/>
                    </a:lnTo>
                    <a:lnTo>
                      <a:pt x="324" y="228"/>
                    </a:lnTo>
                    <a:lnTo>
                      <a:pt x="326" y="228"/>
                    </a:lnTo>
                    <a:lnTo>
                      <a:pt x="329" y="228"/>
                    </a:lnTo>
                    <a:lnTo>
                      <a:pt x="331" y="228"/>
                    </a:lnTo>
                    <a:lnTo>
                      <a:pt x="335" y="228"/>
                    </a:lnTo>
                    <a:lnTo>
                      <a:pt x="341" y="228"/>
                    </a:lnTo>
                    <a:lnTo>
                      <a:pt x="343" y="228"/>
                    </a:lnTo>
                    <a:lnTo>
                      <a:pt x="345" y="228"/>
                    </a:lnTo>
                    <a:lnTo>
                      <a:pt x="348" y="228"/>
                    </a:lnTo>
                    <a:lnTo>
                      <a:pt x="352" y="229"/>
                    </a:lnTo>
                    <a:lnTo>
                      <a:pt x="353" y="229"/>
                    </a:lnTo>
                    <a:lnTo>
                      <a:pt x="355" y="229"/>
                    </a:lnTo>
                    <a:lnTo>
                      <a:pt x="360" y="229"/>
                    </a:lnTo>
                    <a:lnTo>
                      <a:pt x="367" y="229"/>
                    </a:lnTo>
                    <a:lnTo>
                      <a:pt x="369" y="229"/>
                    </a:lnTo>
                    <a:lnTo>
                      <a:pt x="370" y="229"/>
                    </a:lnTo>
                    <a:lnTo>
                      <a:pt x="375" y="229"/>
                    </a:lnTo>
                    <a:lnTo>
                      <a:pt x="379" y="229"/>
                    </a:lnTo>
                    <a:lnTo>
                      <a:pt x="380" y="229"/>
                    </a:lnTo>
                    <a:lnTo>
                      <a:pt x="380" y="228"/>
                    </a:lnTo>
                    <a:lnTo>
                      <a:pt x="382" y="228"/>
                    </a:lnTo>
                    <a:lnTo>
                      <a:pt x="382" y="229"/>
                    </a:lnTo>
                    <a:lnTo>
                      <a:pt x="382" y="231"/>
                    </a:lnTo>
                    <a:lnTo>
                      <a:pt x="382" y="233"/>
                    </a:lnTo>
                    <a:lnTo>
                      <a:pt x="380" y="233"/>
                    </a:lnTo>
                    <a:lnTo>
                      <a:pt x="380" y="234"/>
                    </a:lnTo>
                    <a:lnTo>
                      <a:pt x="382" y="234"/>
                    </a:lnTo>
                    <a:lnTo>
                      <a:pt x="382" y="236"/>
                    </a:lnTo>
                    <a:lnTo>
                      <a:pt x="380" y="238"/>
                    </a:lnTo>
                    <a:lnTo>
                      <a:pt x="379" y="238"/>
                    </a:lnTo>
                    <a:lnTo>
                      <a:pt x="379" y="239"/>
                    </a:lnTo>
                    <a:lnTo>
                      <a:pt x="379" y="241"/>
                    </a:lnTo>
                    <a:lnTo>
                      <a:pt x="377" y="241"/>
                    </a:lnTo>
                    <a:lnTo>
                      <a:pt x="377" y="243"/>
                    </a:lnTo>
                    <a:lnTo>
                      <a:pt x="377" y="245"/>
                    </a:lnTo>
                    <a:lnTo>
                      <a:pt x="377" y="246"/>
                    </a:lnTo>
                    <a:lnTo>
                      <a:pt x="377" y="248"/>
                    </a:lnTo>
                    <a:lnTo>
                      <a:pt x="377" y="250"/>
                    </a:lnTo>
                    <a:lnTo>
                      <a:pt x="377" y="251"/>
                    </a:lnTo>
                    <a:lnTo>
                      <a:pt x="377" y="253"/>
                    </a:lnTo>
                    <a:lnTo>
                      <a:pt x="379" y="253"/>
                    </a:lnTo>
                    <a:lnTo>
                      <a:pt x="379" y="255"/>
                    </a:lnTo>
                    <a:lnTo>
                      <a:pt x="379" y="256"/>
                    </a:lnTo>
                    <a:lnTo>
                      <a:pt x="380" y="256"/>
                    </a:lnTo>
                    <a:lnTo>
                      <a:pt x="380" y="258"/>
                    </a:lnTo>
                    <a:lnTo>
                      <a:pt x="380" y="260"/>
                    </a:lnTo>
                    <a:lnTo>
                      <a:pt x="380" y="262"/>
                    </a:lnTo>
                    <a:lnTo>
                      <a:pt x="382" y="262"/>
                    </a:lnTo>
                    <a:lnTo>
                      <a:pt x="382" y="263"/>
                    </a:lnTo>
                    <a:lnTo>
                      <a:pt x="384" y="263"/>
                    </a:lnTo>
                    <a:lnTo>
                      <a:pt x="384" y="265"/>
                    </a:lnTo>
                    <a:lnTo>
                      <a:pt x="384" y="267"/>
                    </a:lnTo>
                    <a:lnTo>
                      <a:pt x="386" y="267"/>
                    </a:lnTo>
                    <a:lnTo>
                      <a:pt x="387" y="267"/>
                    </a:lnTo>
                    <a:lnTo>
                      <a:pt x="389" y="268"/>
                    </a:lnTo>
                    <a:lnTo>
                      <a:pt x="389" y="270"/>
                    </a:lnTo>
                    <a:lnTo>
                      <a:pt x="391" y="270"/>
                    </a:lnTo>
                    <a:lnTo>
                      <a:pt x="392" y="270"/>
                    </a:lnTo>
                    <a:lnTo>
                      <a:pt x="392" y="272"/>
                    </a:lnTo>
                    <a:lnTo>
                      <a:pt x="394" y="272"/>
                    </a:lnTo>
                    <a:lnTo>
                      <a:pt x="396" y="272"/>
                    </a:lnTo>
                    <a:lnTo>
                      <a:pt x="396" y="270"/>
                    </a:lnTo>
                    <a:lnTo>
                      <a:pt x="397" y="270"/>
                    </a:lnTo>
                    <a:lnTo>
                      <a:pt x="399" y="272"/>
                    </a:lnTo>
                    <a:lnTo>
                      <a:pt x="401" y="273"/>
                    </a:lnTo>
                    <a:lnTo>
                      <a:pt x="403" y="273"/>
                    </a:lnTo>
                    <a:lnTo>
                      <a:pt x="401" y="273"/>
                    </a:lnTo>
                    <a:lnTo>
                      <a:pt x="401" y="275"/>
                    </a:lnTo>
                    <a:lnTo>
                      <a:pt x="401" y="277"/>
                    </a:lnTo>
                    <a:lnTo>
                      <a:pt x="401" y="279"/>
                    </a:lnTo>
                    <a:lnTo>
                      <a:pt x="403" y="279"/>
                    </a:lnTo>
                    <a:lnTo>
                      <a:pt x="403" y="280"/>
                    </a:lnTo>
                    <a:lnTo>
                      <a:pt x="404" y="282"/>
                    </a:lnTo>
                    <a:lnTo>
                      <a:pt x="404" y="284"/>
                    </a:lnTo>
                    <a:lnTo>
                      <a:pt x="403" y="284"/>
                    </a:lnTo>
                    <a:lnTo>
                      <a:pt x="406" y="289"/>
                    </a:lnTo>
                    <a:lnTo>
                      <a:pt x="406" y="290"/>
                    </a:lnTo>
                    <a:lnTo>
                      <a:pt x="408" y="292"/>
                    </a:lnTo>
                    <a:lnTo>
                      <a:pt x="408" y="294"/>
                    </a:lnTo>
                    <a:lnTo>
                      <a:pt x="409" y="296"/>
                    </a:lnTo>
                    <a:lnTo>
                      <a:pt x="411" y="296"/>
                    </a:lnTo>
                    <a:lnTo>
                      <a:pt x="411" y="297"/>
                    </a:lnTo>
                    <a:lnTo>
                      <a:pt x="409" y="297"/>
                    </a:lnTo>
                    <a:lnTo>
                      <a:pt x="408" y="297"/>
                    </a:lnTo>
                    <a:lnTo>
                      <a:pt x="408" y="299"/>
                    </a:lnTo>
                    <a:lnTo>
                      <a:pt x="408" y="301"/>
                    </a:lnTo>
                    <a:lnTo>
                      <a:pt x="406" y="308"/>
                    </a:lnTo>
                    <a:lnTo>
                      <a:pt x="404" y="309"/>
                    </a:lnTo>
                    <a:lnTo>
                      <a:pt x="404" y="313"/>
                    </a:lnTo>
                    <a:lnTo>
                      <a:pt x="403" y="314"/>
                    </a:lnTo>
                    <a:lnTo>
                      <a:pt x="403" y="316"/>
                    </a:lnTo>
                    <a:lnTo>
                      <a:pt x="403" y="318"/>
                    </a:lnTo>
                    <a:lnTo>
                      <a:pt x="401" y="319"/>
                    </a:lnTo>
                    <a:lnTo>
                      <a:pt x="401" y="321"/>
                    </a:lnTo>
                    <a:lnTo>
                      <a:pt x="403" y="321"/>
                    </a:lnTo>
                    <a:lnTo>
                      <a:pt x="403" y="323"/>
                    </a:lnTo>
                    <a:lnTo>
                      <a:pt x="403" y="325"/>
                    </a:lnTo>
                    <a:lnTo>
                      <a:pt x="404" y="325"/>
                    </a:lnTo>
                    <a:lnTo>
                      <a:pt x="403" y="325"/>
                    </a:lnTo>
                    <a:lnTo>
                      <a:pt x="403" y="326"/>
                    </a:lnTo>
                    <a:lnTo>
                      <a:pt x="401" y="326"/>
                    </a:lnTo>
                    <a:lnTo>
                      <a:pt x="399" y="330"/>
                    </a:lnTo>
                    <a:lnTo>
                      <a:pt x="397" y="331"/>
                    </a:lnTo>
                    <a:lnTo>
                      <a:pt x="397" y="333"/>
                    </a:lnTo>
                    <a:lnTo>
                      <a:pt x="397" y="335"/>
                    </a:lnTo>
                    <a:lnTo>
                      <a:pt x="394" y="342"/>
                    </a:lnTo>
                    <a:lnTo>
                      <a:pt x="391" y="348"/>
                    </a:lnTo>
                    <a:lnTo>
                      <a:pt x="389" y="352"/>
                    </a:lnTo>
                    <a:lnTo>
                      <a:pt x="394" y="355"/>
                    </a:lnTo>
                    <a:lnTo>
                      <a:pt x="397" y="359"/>
                    </a:lnTo>
                    <a:lnTo>
                      <a:pt x="397" y="360"/>
                    </a:lnTo>
                    <a:lnTo>
                      <a:pt x="397" y="362"/>
                    </a:lnTo>
                    <a:lnTo>
                      <a:pt x="396" y="362"/>
                    </a:lnTo>
                    <a:lnTo>
                      <a:pt x="394" y="362"/>
                    </a:lnTo>
                    <a:lnTo>
                      <a:pt x="392" y="362"/>
                    </a:lnTo>
                    <a:lnTo>
                      <a:pt x="392" y="364"/>
                    </a:lnTo>
                    <a:lnTo>
                      <a:pt x="391" y="364"/>
                    </a:lnTo>
                    <a:lnTo>
                      <a:pt x="391" y="365"/>
                    </a:lnTo>
                    <a:lnTo>
                      <a:pt x="389" y="365"/>
                    </a:lnTo>
                    <a:lnTo>
                      <a:pt x="387" y="36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8" name="Freeform 17">
                <a:extLst>
                  <a:ext uri="{FF2B5EF4-FFF2-40B4-BE49-F238E27FC236}">
                    <a16:creationId xmlns:a16="http://schemas.microsoft.com/office/drawing/2014/main" id="{F891C738-8B7F-A920-D907-FF661EB76FF3}"/>
                  </a:ext>
                </a:extLst>
              </p:cNvPr>
              <p:cNvSpPr>
                <a:spLocks noEditPoints="1"/>
              </p:cNvSpPr>
              <p:nvPr/>
            </p:nvSpPr>
            <p:spPr bwMode="auto">
              <a:xfrm>
                <a:off x="5700022" y="2769132"/>
                <a:ext cx="54044" cy="57276"/>
              </a:xfrm>
              <a:custGeom>
                <a:avLst/>
                <a:gdLst>
                  <a:gd name="T0" fmla="*/ 2 w 184"/>
                  <a:gd name="T1" fmla="*/ 187 h 195"/>
                  <a:gd name="T2" fmla="*/ 4 w 184"/>
                  <a:gd name="T3" fmla="*/ 187 h 195"/>
                  <a:gd name="T4" fmla="*/ 4 w 184"/>
                  <a:gd name="T5" fmla="*/ 189 h 195"/>
                  <a:gd name="T6" fmla="*/ 5 w 184"/>
                  <a:gd name="T7" fmla="*/ 189 h 195"/>
                  <a:gd name="T8" fmla="*/ 7 w 184"/>
                  <a:gd name="T9" fmla="*/ 189 h 195"/>
                  <a:gd name="T10" fmla="*/ 7 w 184"/>
                  <a:gd name="T11" fmla="*/ 190 h 195"/>
                  <a:gd name="T12" fmla="*/ 7 w 184"/>
                  <a:gd name="T13" fmla="*/ 192 h 195"/>
                  <a:gd name="T14" fmla="*/ 7 w 184"/>
                  <a:gd name="T15" fmla="*/ 194 h 195"/>
                  <a:gd name="T16" fmla="*/ 5 w 184"/>
                  <a:gd name="T17" fmla="*/ 192 h 195"/>
                  <a:gd name="T18" fmla="*/ 5 w 184"/>
                  <a:gd name="T19" fmla="*/ 194 h 195"/>
                  <a:gd name="T20" fmla="*/ 7 w 184"/>
                  <a:gd name="T21" fmla="*/ 195 h 195"/>
                  <a:gd name="T22" fmla="*/ 5 w 184"/>
                  <a:gd name="T23" fmla="*/ 195 h 195"/>
                  <a:gd name="T24" fmla="*/ 4 w 184"/>
                  <a:gd name="T25" fmla="*/ 195 h 195"/>
                  <a:gd name="T26" fmla="*/ 4 w 184"/>
                  <a:gd name="T27" fmla="*/ 194 h 195"/>
                  <a:gd name="T28" fmla="*/ 4 w 184"/>
                  <a:gd name="T29" fmla="*/ 192 h 195"/>
                  <a:gd name="T30" fmla="*/ 5 w 184"/>
                  <a:gd name="T31" fmla="*/ 192 h 195"/>
                  <a:gd name="T32" fmla="*/ 4 w 184"/>
                  <a:gd name="T33" fmla="*/ 192 h 195"/>
                  <a:gd name="T34" fmla="*/ 4 w 184"/>
                  <a:gd name="T35" fmla="*/ 190 h 195"/>
                  <a:gd name="T36" fmla="*/ 4 w 184"/>
                  <a:gd name="T37" fmla="*/ 189 h 195"/>
                  <a:gd name="T38" fmla="*/ 2 w 184"/>
                  <a:gd name="T39" fmla="*/ 189 h 195"/>
                  <a:gd name="T40" fmla="*/ 0 w 184"/>
                  <a:gd name="T41" fmla="*/ 189 h 195"/>
                  <a:gd name="T42" fmla="*/ 0 w 184"/>
                  <a:gd name="T43" fmla="*/ 187 h 195"/>
                  <a:gd name="T44" fmla="*/ 0 w 184"/>
                  <a:gd name="T45" fmla="*/ 185 h 195"/>
                  <a:gd name="T46" fmla="*/ 2 w 184"/>
                  <a:gd name="T47" fmla="*/ 187 h 195"/>
                  <a:gd name="T48" fmla="*/ 182 w 184"/>
                  <a:gd name="T49" fmla="*/ 3 h 195"/>
                  <a:gd name="T50" fmla="*/ 184 w 184"/>
                  <a:gd name="T51" fmla="*/ 3 h 195"/>
                  <a:gd name="T52" fmla="*/ 184 w 184"/>
                  <a:gd name="T53" fmla="*/ 5 h 195"/>
                  <a:gd name="T54" fmla="*/ 182 w 184"/>
                  <a:gd name="T55" fmla="*/ 5 h 195"/>
                  <a:gd name="T56" fmla="*/ 182 w 184"/>
                  <a:gd name="T57" fmla="*/ 3 h 195"/>
                  <a:gd name="T58" fmla="*/ 174 w 184"/>
                  <a:gd name="T59" fmla="*/ 0 h 195"/>
                  <a:gd name="T60" fmla="*/ 175 w 184"/>
                  <a:gd name="T61" fmla="*/ 0 h 195"/>
                  <a:gd name="T62" fmla="*/ 174 w 184"/>
                  <a:gd name="T63" fmla="*/ 0 h 195"/>
                  <a:gd name="T64" fmla="*/ 2 w 184"/>
                  <a:gd name="T65" fmla="*/ 190 h 195"/>
                  <a:gd name="T66" fmla="*/ 4 w 184"/>
                  <a:gd name="T67" fmla="*/ 190 h 195"/>
                  <a:gd name="T68" fmla="*/ 4 w 184"/>
                  <a:gd name="T69" fmla="*/ 192 h 195"/>
                  <a:gd name="T70" fmla="*/ 2 w 184"/>
                  <a:gd name="T71" fmla="*/ 192 h 195"/>
                  <a:gd name="T72" fmla="*/ 2 w 184"/>
                  <a:gd name="T73" fmla="*/ 19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4" h="195">
                    <a:moveTo>
                      <a:pt x="2" y="187"/>
                    </a:moveTo>
                    <a:lnTo>
                      <a:pt x="4" y="187"/>
                    </a:lnTo>
                    <a:lnTo>
                      <a:pt x="4" y="189"/>
                    </a:lnTo>
                    <a:lnTo>
                      <a:pt x="5" y="189"/>
                    </a:lnTo>
                    <a:lnTo>
                      <a:pt x="7" y="189"/>
                    </a:lnTo>
                    <a:lnTo>
                      <a:pt x="7" y="190"/>
                    </a:lnTo>
                    <a:lnTo>
                      <a:pt x="7" y="192"/>
                    </a:lnTo>
                    <a:lnTo>
                      <a:pt x="7" y="194"/>
                    </a:lnTo>
                    <a:lnTo>
                      <a:pt x="5" y="192"/>
                    </a:lnTo>
                    <a:lnTo>
                      <a:pt x="5" y="194"/>
                    </a:lnTo>
                    <a:lnTo>
                      <a:pt x="7" y="195"/>
                    </a:lnTo>
                    <a:lnTo>
                      <a:pt x="5" y="195"/>
                    </a:lnTo>
                    <a:lnTo>
                      <a:pt x="4" y="195"/>
                    </a:lnTo>
                    <a:lnTo>
                      <a:pt x="4" y="194"/>
                    </a:lnTo>
                    <a:lnTo>
                      <a:pt x="4" y="192"/>
                    </a:lnTo>
                    <a:lnTo>
                      <a:pt x="5" y="192"/>
                    </a:lnTo>
                    <a:lnTo>
                      <a:pt x="4" y="192"/>
                    </a:lnTo>
                    <a:lnTo>
                      <a:pt x="4" y="190"/>
                    </a:lnTo>
                    <a:lnTo>
                      <a:pt x="4" y="189"/>
                    </a:lnTo>
                    <a:lnTo>
                      <a:pt x="2" y="189"/>
                    </a:lnTo>
                    <a:lnTo>
                      <a:pt x="0" y="189"/>
                    </a:lnTo>
                    <a:lnTo>
                      <a:pt x="0" y="187"/>
                    </a:lnTo>
                    <a:lnTo>
                      <a:pt x="0" y="185"/>
                    </a:lnTo>
                    <a:lnTo>
                      <a:pt x="2" y="187"/>
                    </a:lnTo>
                    <a:close/>
                    <a:moveTo>
                      <a:pt x="182" y="3"/>
                    </a:moveTo>
                    <a:lnTo>
                      <a:pt x="184" y="3"/>
                    </a:lnTo>
                    <a:lnTo>
                      <a:pt x="184" y="5"/>
                    </a:lnTo>
                    <a:lnTo>
                      <a:pt x="182" y="5"/>
                    </a:lnTo>
                    <a:lnTo>
                      <a:pt x="182" y="3"/>
                    </a:lnTo>
                    <a:close/>
                    <a:moveTo>
                      <a:pt x="174" y="0"/>
                    </a:moveTo>
                    <a:lnTo>
                      <a:pt x="175" y="0"/>
                    </a:lnTo>
                    <a:lnTo>
                      <a:pt x="174" y="0"/>
                    </a:lnTo>
                    <a:close/>
                    <a:moveTo>
                      <a:pt x="2" y="190"/>
                    </a:moveTo>
                    <a:lnTo>
                      <a:pt x="4" y="190"/>
                    </a:lnTo>
                    <a:lnTo>
                      <a:pt x="4" y="192"/>
                    </a:lnTo>
                    <a:lnTo>
                      <a:pt x="2" y="192"/>
                    </a:lnTo>
                    <a:lnTo>
                      <a:pt x="2" y="19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9" name="Freeform 18">
                <a:extLst>
                  <a:ext uri="{FF2B5EF4-FFF2-40B4-BE49-F238E27FC236}">
                    <a16:creationId xmlns:a16="http://schemas.microsoft.com/office/drawing/2014/main" id="{4E88C0F6-0275-140C-B363-E9B295EBEBA7}"/>
                  </a:ext>
                </a:extLst>
              </p:cNvPr>
              <p:cNvSpPr>
                <a:spLocks noEditPoints="1"/>
              </p:cNvSpPr>
              <p:nvPr/>
            </p:nvSpPr>
            <p:spPr bwMode="auto">
              <a:xfrm>
                <a:off x="5644513" y="2894550"/>
                <a:ext cx="442927" cy="407976"/>
              </a:xfrm>
              <a:custGeom>
                <a:avLst/>
                <a:gdLst>
                  <a:gd name="T0" fmla="*/ 84 w 1508"/>
                  <a:gd name="T1" fmla="*/ 517 h 1389"/>
                  <a:gd name="T2" fmla="*/ 6 w 1508"/>
                  <a:gd name="T3" fmla="*/ 437 h 1389"/>
                  <a:gd name="T4" fmla="*/ 45 w 1508"/>
                  <a:gd name="T5" fmla="*/ 348 h 1389"/>
                  <a:gd name="T6" fmla="*/ 119 w 1508"/>
                  <a:gd name="T7" fmla="*/ 318 h 1389"/>
                  <a:gd name="T8" fmla="*/ 138 w 1508"/>
                  <a:gd name="T9" fmla="*/ 158 h 1389"/>
                  <a:gd name="T10" fmla="*/ 194 w 1508"/>
                  <a:gd name="T11" fmla="*/ 117 h 1389"/>
                  <a:gd name="T12" fmla="*/ 286 w 1508"/>
                  <a:gd name="T13" fmla="*/ 144 h 1389"/>
                  <a:gd name="T14" fmla="*/ 349 w 1508"/>
                  <a:gd name="T15" fmla="*/ 109 h 1389"/>
                  <a:gd name="T16" fmla="*/ 323 w 1508"/>
                  <a:gd name="T17" fmla="*/ 39 h 1389"/>
                  <a:gd name="T18" fmla="*/ 395 w 1508"/>
                  <a:gd name="T19" fmla="*/ 39 h 1389"/>
                  <a:gd name="T20" fmla="*/ 473 w 1508"/>
                  <a:gd name="T21" fmla="*/ 10 h 1389"/>
                  <a:gd name="T22" fmla="*/ 475 w 1508"/>
                  <a:gd name="T23" fmla="*/ 93 h 1389"/>
                  <a:gd name="T24" fmla="*/ 539 w 1508"/>
                  <a:gd name="T25" fmla="*/ 126 h 1389"/>
                  <a:gd name="T26" fmla="*/ 609 w 1508"/>
                  <a:gd name="T27" fmla="*/ 93 h 1389"/>
                  <a:gd name="T28" fmla="*/ 708 w 1508"/>
                  <a:gd name="T29" fmla="*/ 103 h 1389"/>
                  <a:gd name="T30" fmla="*/ 764 w 1508"/>
                  <a:gd name="T31" fmla="*/ 30 h 1389"/>
                  <a:gd name="T32" fmla="*/ 813 w 1508"/>
                  <a:gd name="T33" fmla="*/ 120 h 1389"/>
                  <a:gd name="T34" fmla="*/ 786 w 1508"/>
                  <a:gd name="T35" fmla="*/ 183 h 1389"/>
                  <a:gd name="T36" fmla="*/ 854 w 1508"/>
                  <a:gd name="T37" fmla="*/ 187 h 1389"/>
                  <a:gd name="T38" fmla="*/ 861 w 1508"/>
                  <a:gd name="T39" fmla="*/ 223 h 1389"/>
                  <a:gd name="T40" fmla="*/ 896 w 1508"/>
                  <a:gd name="T41" fmla="*/ 199 h 1389"/>
                  <a:gd name="T42" fmla="*/ 924 w 1508"/>
                  <a:gd name="T43" fmla="*/ 211 h 1389"/>
                  <a:gd name="T44" fmla="*/ 949 w 1508"/>
                  <a:gd name="T45" fmla="*/ 219 h 1389"/>
                  <a:gd name="T46" fmla="*/ 969 w 1508"/>
                  <a:gd name="T47" fmla="*/ 234 h 1389"/>
                  <a:gd name="T48" fmla="*/ 988 w 1508"/>
                  <a:gd name="T49" fmla="*/ 258 h 1389"/>
                  <a:gd name="T50" fmla="*/ 1012 w 1508"/>
                  <a:gd name="T51" fmla="*/ 263 h 1389"/>
                  <a:gd name="T52" fmla="*/ 1049 w 1508"/>
                  <a:gd name="T53" fmla="*/ 262 h 1389"/>
                  <a:gd name="T54" fmla="*/ 1153 w 1508"/>
                  <a:gd name="T55" fmla="*/ 275 h 1389"/>
                  <a:gd name="T56" fmla="*/ 1264 w 1508"/>
                  <a:gd name="T57" fmla="*/ 350 h 1389"/>
                  <a:gd name="T58" fmla="*/ 1323 w 1508"/>
                  <a:gd name="T59" fmla="*/ 437 h 1389"/>
                  <a:gd name="T60" fmla="*/ 1258 w 1508"/>
                  <a:gd name="T61" fmla="*/ 539 h 1389"/>
                  <a:gd name="T62" fmla="*/ 1192 w 1508"/>
                  <a:gd name="T63" fmla="*/ 607 h 1389"/>
                  <a:gd name="T64" fmla="*/ 1180 w 1508"/>
                  <a:gd name="T65" fmla="*/ 672 h 1389"/>
                  <a:gd name="T66" fmla="*/ 1163 w 1508"/>
                  <a:gd name="T67" fmla="*/ 797 h 1389"/>
                  <a:gd name="T68" fmla="*/ 1117 w 1508"/>
                  <a:gd name="T69" fmla="*/ 908 h 1389"/>
                  <a:gd name="T70" fmla="*/ 1044 w 1508"/>
                  <a:gd name="T71" fmla="*/ 976 h 1389"/>
                  <a:gd name="T72" fmla="*/ 1002 w 1508"/>
                  <a:gd name="T73" fmla="*/ 974 h 1389"/>
                  <a:gd name="T74" fmla="*/ 949 w 1508"/>
                  <a:gd name="T75" fmla="*/ 1005 h 1389"/>
                  <a:gd name="T76" fmla="*/ 859 w 1508"/>
                  <a:gd name="T77" fmla="*/ 1085 h 1389"/>
                  <a:gd name="T78" fmla="*/ 856 w 1508"/>
                  <a:gd name="T79" fmla="*/ 1170 h 1389"/>
                  <a:gd name="T80" fmla="*/ 743 w 1508"/>
                  <a:gd name="T81" fmla="*/ 1320 h 1389"/>
                  <a:gd name="T82" fmla="*/ 687 w 1508"/>
                  <a:gd name="T83" fmla="*/ 1332 h 1389"/>
                  <a:gd name="T84" fmla="*/ 607 w 1508"/>
                  <a:gd name="T85" fmla="*/ 1272 h 1389"/>
                  <a:gd name="T86" fmla="*/ 585 w 1508"/>
                  <a:gd name="T87" fmla="*/ 1213 h 1389"/>
                  <a:gd name="T88" fmla="*/ 653 w 1508"/>
                  <a:gd name="T89" fmla="*/ 1146 h 1389"/>
                  <a:gd name="T90" fmla="*/ 680 w 1508"/>
                  <a:gd name="T91" fmla="*/ 1078 h 1389"/>
                  <a:gd name="T92" fmla="*/ 650 w 1508"/>
                  <a:gd name="T93" fmla="*/ 1008 h 1389"/>
                  <a:gd name="T94" fmla="*/ 594 w 1508"/>
                  <a:gd name="T95" fmla="*/ 944 h 1389"/>
                  <a:gd name="T96" fmla="*/ 546 w 1508"/>
                  <a:gd name="T97" fmla="*/ 905 h 1389"/>
                  <a:gd name="T98" fmla="*/ 543 w 1508"/>
                  <a:gd name="T99" fmla="*/ 779 h 1389"/>
                  <a:gd name="T100" fmla="*/ 456 w 1508"/>
                  <a:gd name="T101" fmla="*/ 663 h 1389"/>
                  <a:gd name="T102" fmla="*/ 391 w 1508"/>
                  <a:gd name="T103" fmla="*/ 624 h 1389"/>
                  <a:gd name="T104" fmla="*/ 312 w 1508"/>
                  <a:gd name="T105" fmla="*/ 588 h 1389"/>
                  <a:gd name="T106" fmla="*/ 281 w 1508"/>
                  <a:gd name="T107" fmla="*/ 510 h 1389"/>
                  <a:gd name="T108" fmla="*/ 203 w 1508"/>
                  <a:gd name="T109" fmla="*/ 539 h 1389"/>
                  <a:gd name="T110" fmla="*/ 930 w 1508"/>
                  <a:gd name="T111" fmla="*/ 209 h 1389"/>
                  <a:gd name="T112" fmla="*/ 781 w 1508"/>
                  <a:gd name="T113" fmla="*/ 177 h 1389"/>
                  <a:gd name="T114" fmla="*/ 818 w 1508"/>
                  <a:gd name="T115" fmla="*/ 173 h 1389"/>
                  <a:gd name="T116" fmla="*/ 793 w 1508"/>
                  <a:gd name="T117" fmla="*/ 168 h 1389"/>
                  <a:gd name="T118" fmla="*/ 990 w 1508"/>
                  <a:gd name="T119" fmla="*/ 285 h 1389"/>
                  <a:gd name="T120" fmla="*/ 986 w 1508"/>
                  <a:gd name="T121" fmla="*/ 228 h 1389"/>
                  <a:gd name="T122" fmla="*/ 1189 w 1508"/>
                  <a:gd name="T123" fmla="*/ 621 h 1389"/>
                  <a:gd name="T124" fmla="*/ 973 w 1508"/>
                  <a:gd name="T125" fmla="*/ 1007 h 1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08" h="1389">
                    <a:moveTo>
                      <a:pt x="150" y="549"/>
                    </a:moveTo>
                    <a:lnTo>
                      <a:pt x="148" y="549"/>
                    </a:lnTo>
                    <a:lnTo>
                      <a:pt x="148" y="551"/>
                    </a:lnTo>
                    <a:lnTo>
                      <a:pt x="148" y="549"/>
                    </a:lnTo>
                    <a:lnTo>
                      <a:pt x="148" y="551"/>
                    </a:lnTo>
                    <a:lnTo>
                      <a:pt x="147" y="551"/>
                    </a:lnTo>
                    <a:lnTo>
                      <a:pt x="145" y="551"/>
                    </a:lnTo>
                    <a:lnTo>
                      <a:pt x="143" y="551"/>
                    </a:lnTo>
                    <a:lnTo>
                      <a:pt x="143" y="549"/>
                    </a:lnTo>
                    <a:lnTo>
                      <a:pt x="142" y="549"/>
                    </a:lnTo>
                    <a:lnTo>
                      <a:pt x="140" y="549"/>
                    </a:lnTo>
                    <a:lnTo>
                      <a:pt x="138" y="549"/>
                    </a:lnTo>
                    <a:lnTo>
                      <a:pt x="136" y="549"/>
                    </a:lnTo>
                    <a:lnTo>
                      <a:pt x="136" y="551"/>
                    </a:lnTo>
                    <a:lnTo>
                      <a:pt x="135" y="549"/>
                    </a:lnTo>
                    <a:lnTo>
                      <a:pt x="135" y="551"/>
                    </a:lnTo>
                    <a:lnTo>
                      <a:pt x="133" y="551"/>
                    </a:lnTo>
                    <a:lnTo>
                      <a:pt x="131" y="551"/>
                    </a:lnTo>
                    <a:lnTo>
                      <a:pt x="131" y="553"/>
                    </a:lnTo>
                    <a:lnTo>
                      <a:pt x="130" y="553"/>
                    </a:lnTo>
                    <a:lnTo>
                      <a:pt x="128" y="554"/>
                    </a:lnTo>
                    <a:lnTo>
                      <a:pt x="128" y="553"/>
                    </a:lnTo>
                    <a:lnTo>
                      <a:pt x="128" y="554"/>
                    </a:lnTo>
                    <a:lnTo>
                      <a:pt x="126" y="553"/>
                    </a:lnTo>
                    <a:lnTo>
                      <a:pt x="126" y="554"/>
                    </a:lnTo>
                    <a:lnTo>
                      <a:pt x="125" y="554"/>
                    </a:lnTo>
                    <a:lnTo>
                      <a:pt x="123" y="554"/>
                    </a:lnTo>
                    <a:lnTo>
                      <a:pt x="123" y="553"/>
                    </a:lnTo>
                    <a:lnTo>
                      <a:pt x="121" y="553"/>
                    </a:lnTo>
                    <a:lnTo>
                      <a:pt x="119" y="551"/>
                    </a:lnTo>
                    <a:lnTo>
                      <a:pt x="118" y="549"/>
                    </a:lnTo>
                    <a:lnTo>
                      <a:pt x="114" y="551"/>
                    </a:lnTo>
                    <a:lnTo>
                      <a:pt x="114" y="542"/>
                    </a:lnTo>
                    <a:lnTo>
                      <a:pt x="114" y="539"/>
                    </a:lnTo>
                    <a:lnTo>
                      <a:pt x="114" y="537"/>
                    </a:lnTo>
                    <a:lnTo>
                      <a:pt x="114" y="534"/>
                    </a:lnTo>
                    <a:lnTo>
                      <a:pt x="114" y="532"/>
                    </a:lnTo>
                    <a:lnTo>
                      <a:pt x="114" y="530"/>
                    </a:lnTo>
                    <a:lnTo>
                      <a:pt x="114" y="529"/>
                    </a:lnTo>
                    <a:lnTo>
                      <a:pt x="114" y="525"/>
                    </a:lnTo>
                    <a:lnTo>
                      <a:pt x="114" y="524"/>
                    </a:lnTo>
                    <a:lnTo>
                      <a:pt x="114" y="522"/>
                    </a:lnTo>
                    <a:lnTo>
                      <a:pt x="114" y="520"/>
                    </a:lnTo>
                    <a:lnTo>
                      <a:pt x="114" y="519"/>
                    </a:lnTo>
                    <a:lnTo>
                      <a:pt x="114" y="517"/>
                    </a:lnTo>
                    <a:lnTo>
                      <a:pt x="114" y="513"/>
                    </a:lnTo>
                    <a:lnTo>
                      <a:pt x="114" y="512"/>
                    </a:lnTo>
                    <a:lnTo>
                      <a:pt x="114" y="510"/>
                    </a:lnTo>
                    <a:lnTo>
                      <a:pt x="116" y="510"/>
                    </a:lnTo>
                    <a:lnTo>
                      <a:pt x="118" y="510"/>
                    </a:lnTo>
                    <a:lnTo>
                      <a:pt x="118" y="508"/>
                    </a:lnTo>
                    <a:lnTo>
                      <a:pt x="118" y="507"/>
                    </a:lnTo>
                    <a:lnTo>
                      <a:pt x="116" y="507"/>
                    </a:lnTo>
                    <a:lnTo>
                      <a:pt x="116" y="505"/>
                    </a:lnTo>
                    <a:lnTo>
                      <a:pt x="114" y="503"/>
                    </a:lnTo>
                    <a:lnTo>
                      <a:pt x="116" y="503"/>
                    </a:lnTo>
                    <a:lnTo>
                      <a:pt x="114" y="502"/>
                    </a:lnTo>
                    <a:lnTo>
                      <a:pt x="116" y="502"/>
                    </a:lnTo>
                    <a:lnTo>
                      <a:pt x="116" y="503"/>
                    </a:lnTo>
                    <a:lnTo>
                      <a:pt x="116" y="502"/>
                    </a:lnTo>
                    <a:lnTo>
                      <a:pt x="116" y="503"/>
                    </a:lnTo>
                    <a:lnTo>
                      <a:pt x="116" y="502"/>
                    </a:lnTo>
                    <a:lnTo>
                      <a:pt x="118" y="502"/>
                    </a:lnTo>
                    <a:lnTo>
                      <a:pt x="116" y="502"/>
                    </a:lnTo>
                    <a:lnTo>
                      <a:pt x="118" y="502"/>
                    </a:lnTo>
                    <a:lnTo>
                      <a:pt x="118" y="500"/>
                    </a:lnTo>
                    <a:lnTo>
                      <a:pt x="118" y="498"/>
                    </a:lnTo>
                    <a:lnTo>
                      <a:pt x="116" y="498"/>
                    </a:lnTo>
                    <a:lnTo>
                      <a:pt x="114" y="498"/>
                    </a:lnTo>
                    <a:lnTo>
                      <a:pt x="114" y="500"/>
                    </a:lnTo>
                    <a:lnTo>
                      <a:pt x="113" y="500"/>
                    </a:lnTo>
                    <a:lnTo>
                      <a:pt x="113" y="502"/>
                    </a:lnTo>
                    <a:lnTo>
                      <a:pt x="111" y="502"/>
                    </a:lnTo>
                    <a:lnTo>
                      <a:pt x="111" y="503"/>
                    </a:lnTo>
                    <a:lnTo>
                      <a:pt x="109" y="502"/>
                    </a:lnTo>
                    <a:lnTo>
                      <a:pt x="109" y="503"/>
                    </a:lnTo>
                    <a:lnTo>
                      <a:pt x="109" y="505"/>
                    </a:lnTo>
                    <a:lnTo>
                      <a:pt x="108" y="505"/>
                    </a:lnTo>
                    <a:lnTo>
                      <a:pt x="106" y="505"/>
                    </a:lnTo>
                    <a:lnTo>
                      <a:pt x="106" y="507"/>
                    </a:lnTo>
                    <a:lnTo>
                      <a:pt x="104" y="508"/>
                    </a:lnTo>
                    <a:lnTo>
                      <a:pt x="102" y="508"/>
                    </a:lnTo>
                    <a:lnTo>
                      <a:pt x="102" y="510"/>
                    </a:lnTo>
                    <a:lnTo>
                      <a:pt x="102" y="512"/>
                    </a:lnTo>
                    <a:lnTo>
                      <a:pt x="101" y="512"/>
                    </a:lnTo>
                    <a:lnTo>
                      <a:pt x="99" y="512"/>
                    </a:lnTo>
                    <a:lnTo>
                      <a:pt x="97" y="512"/>
                    </a:lnTo>
                    <a:lnTo>
                      <a:pt x="97" y="513"/>
                    </a:lnTo>
                    <a:lnTo>
                      <a:pt x="96" y="513"/>
                    </a:lnTo>
                    <a:lnTo>
                      <a:pt x="96" y="515"/>
                    </a:lnTo>
                    <a:lnTo>
                      <a:pt x="94" y="515"/>
                    </a:lnTo>
                    <a:lnTo>
                      <a:pt x="94" y="517"/>
                    </a:lnTo>
                    <a:lnTo>
                      <a:pt x="92" y="517"/>
                    </a:lnTo>
                    <a:lnTo>
                      <a:pt x="91" y="517"/>
                    </a:lnTo>
                    <a:lnTo>
                      <a:pt x="89" y="517"/>
                    </a:lnTo>
                    <a:lnTo>
                      <a:pt x="85" y="517"/>
                    </a:lnTo>
                    <a:lnTo>
                      <a:pt x="84" y="517"/>
                    </a:lnTo>
                    <a:lnTo>
                      <a:pt x="80" y="517"/>
                    </a:lnTo>
                    <a:lnTo>
                      <a:pt x="77" y="517"/>
                    </a:lnTo>
                    <a:lnTo>
                      <a:pt x="74" y="517"/>
                    </a:lnTo>
                    <a:lnTo>
                      <a:pt x="70" y="517"/>
                    </a:lnTo>
                    <a:lnTo>
                      <a:pt x="67" y="517"/>
                    </a:lnTo>
                    <a:lnTo>
                      <a:pt x="62" y="517"/>
                    </a:lnTo>
                    <a:lnTo>
                      <a:pt x="63" y="517"/>
                    </a:lnTo>
                    <a:lnTo>
                      <a:pt x="62" y="515"/>
                    </a:lnTo>
                    <a:lnTo>
                      <a:pt x="62" y="513"/>
                    </a:lnTo>
                    <a:lnTo>
                      <a:pt x="63" y="513"/>
                    </a:lnTo>
                    <a:lnTo>
                      <a:pt x="62" y="512"/>
                    </a:lnTo>
                    <a:lnTo>
                      <a:pt x="63" y="512"/>
                    </a:lnTo>
                    <a:lnTo>
                      <a:pt x="62" y="512"/>
                    </a:lnTo>
                    <a:lnTo>
                      <a:pt x="63" y="510"/>
                    </a:lnTo>
                    <a:lnTo>
                      <a:pt x="62" y="510"/>
                    </a:lnTo>
                    <a:lnTo>
                      <a:pt x="60" y="510"/>
                    </a:lnTo>
                    <a:lnTo>
                      <a:pt x="60" y="508"/>
                    </a:lnTo>
                    <a:lnTo>
                      <a:pt x="58" y="508"/>
                    </a:lnTo>
                    <a:lnTo>
                      <a:pt x="60" y="508"/>
                    </a:lnTo>
                    <a:lnTo>
                      <a:pt x="58" y="507"/>
                    </a:lnTo>
                    <a:lnTo>
                      <a:pt x="60" y="507"/>
                    </a:lnTo>
                    <a:lnTo>
                      <a:pt x="60" y="505"/>
                    </a:lnTo>
                    <a:lnTo>
                      <a:pt x="58" y="505"/>
                    </a:lnTo>
                    <a:lnTo>
                      <a:pt x="60" y="505"/>
                    </a:lnTo>
                    <a:lnTo>
                      <a:pt x="58" y="505"/>
                    </a:lnTo>
                    <a:lnTo>
                      <a:pt x="58" y="503"/>
                    </a:lnTo>
                    <a:lnTo>
                      <a:pt x="58" y="502"/>
                    </a:lnTo>
                    <a:lnTo>
                      <a:pt x="57" y="502"/>
                    </a:lnTo>
                    <a:lnTo>
                      <a:pt x="57" y="500"/>
                    </a:lnTo>
                    <a:lnTo>
                      <a:pt x="55" y="500"/>
                    </a:lnTo>
                    <a:lnTo>
                      <a:pt x="53" y="500"/>
                    </a:lnTo>
                    <a:lnTo>
                      <a:pt x="51" y="500"/>
                    </a:lnTo>
                    <a:lnTo>
                      <a:pt x="50" y="500"/>
                    </a:lnTo>
                    <a:lnTo>
                      <a:pt x="48" y="500"/>
                    </a:lnTo>
                    <a:lnTo>
                      <a:pt x="48" y="498"/>
                    </a:lnTo>
                    <a:lnTo>
                      <a:pt x="46" y="498"/>
                    </a:lnTo>
                    <a:lnTo>
                      <a:pt x="45" y="498"/>
                    </a:lnTo>
                    <a:lnTo>
                      <a:pt x="43" y="498"/>
                    </a:lnTo>
                    <a:lnTo>
                      <a:pt x="43" y="496"/>
                    </a:lnTo>
                    <a:lnTo>
                      <a:pt x="36" y="496"/>
                    </a:lnTo>
                    <a:lnTo>
                      <a:pt x="28" y="496"/>
                    </a:lnTo>
                    <a:lnTo>
                      <a:pt x="28" y="495"/>
                    </a:lnTo>
                    <a:lnTo>
                      <a:pt x="29" y="495"/>
                    </a:lnTo>
                    <a:lnTo>
                      <a:pt x="31" y="493"/>
                    </a:lnTo>
                    <a:lnTo>
                      <a:pt x="31" y="491"/>
                    </a:lnTo>
                    <a:lnTo>
                      <a:pt x="33" y="491"/>
                    </a:lnTo>
                    <a:lnTo>
                      <a:pt x="34" y="490"/>
                    </a:lnTo>
                    <a:lnTo>
                      <a:pt x="33" y="490"/>
                    </a:lnTo>
                    <a:lnTo>
                      <a:pt x="34" y="488"/>
                    </a:lnTo>
                    <a:lnTo>
                      <a:pt x="36" y="488"/>
                    </a:lnTo>
                    <a:lnTo>
                      <a:pt x="36" y="486"/>
                    </a:lnTo>
                    <a:lnTo>
                      <a:pt x="36" y="485"/>
                    </a:lnTo>
                    <a:lnTo>
                      <a:pt x="36" y="483"/>
                    </a:lnTo>
                    <a:lnTo>
                      <a:pt x="34" y="483"/>
                    </a:lnTo>
                    <a:lnTo>
                      <a:pt x="34" y="481"/>
                    </a:lnTo>
                    <a:lnTo>
                      <a:pt x="33" y="479"/>
                    </a:lnTo>
                    <a:lnTo>
                      <a:pt x="31" y="478"/>
                    </a:lnTo>
                    <a:lnTo>
                      <a:pt x="29" y="476"/>
                    </a:lnTo>
                    <a:lnTo>
                      <a:pt x="29" y="474"/>
                    </a:lnTo>
                    <a:lnTo>
                      <a:pt x="29" y="473"/>
                    </a:lnTo>
                    <a:lnTo>
                      <a:pt x="28" y="473"/>
                    </a:lnTo>
                    <a:lnTo>
                      <a:pt x="26" y="473"/>
                    </a:lnTo>
                    <a:lnTo>
                      <a:pt x="24" y="473"/>
                    </a:lnTo>
                    <a:lnTo>
                      <a:pt x="24" y="471"/>
                    </a:lnTo>
                    <a:lnTo>
                      <a:pt x="23" y="471"/>
                    </a:lnTo>
                    <a:lnTo>
                      <a:pt x="23" y="469"/>
                    </a:lnTo>
                    <a:lnTo>
                      <a:pt x="23" y="467"/>
                    </a:lnTo>
                    <a:lnTo>
                      <a:pt x="23" y="466"/>
                    </a:lnTo>
                    <a:lnTo>
                      <a:pt x="21" y="466"/>
                    </a:lnTo>
                    <a:lnTo>
                      <a:pt x="21" y="464"/>
                    </a:lnTo>
                    <a:lnTo>
                      <a:pt x="21" y="462"/>
                    </a:lnTo>
                    <a:lnTo>
                      <a:pt x="19" y="462"/>
                    </a:lnTo>
                    <a:lnTo>
                      <a:pt x="17" y="462"/>
                    </a:lnTo>
                    <a:lnTo>
                      <a:pt x="16" y="461"/>
                    </a:lnTo>
                    <a:lnTo>
                      <a:pt x="16" y="459"/>
                    </a:lnTo>
                    <a:lnTo>
                      <a:pt x="16" y="457"/>
                    </a:lnTo>
                    <a:lnTo>
                      <a:pt x="14" y="456"/>
                    </a:lnTo>
                    <a:lnTo>
                      <a:pt x="14" y="454"/>
                    </a:lnTo>
                    <a:lnTo>
                      <a:pt x="14" y="452"/>
                    </a:lnTo>
                    <a:lnTo>
                      <a:pt x="12" y="450"/>
                    </a:lnTo>
                    <a:lnTo>
                      <a:pt x="12" y="449"/>
                    </a:lnTo>
                    <a:lnTo>
                      <a:pt x="11" y="449"/>
                    </a:lnTo>
                    <a:lnTo>
                      <a:pt x="11" y="447"/>
                    </a:lnTo>
                    <a:lnTo>
                      <a:pt x="9" y="447"/>
                    </a:lnTo>
                    <a:lnTo>
                      <a:pt x="9" y="445"/>
                    </a:lnTo>
                    <a:lnTo>
                      <a:pt x="7" y="445"/>
                    </a:lnTo>
                    <a:lnTo>
                      <a:pt x="9" y="445"/>
                    </a:lnTo>
                    <a:lnTo>
                      <a:pt x="9" y="444"/>
                    </a:lnTo>
                    <a:lnTo>
                      <a:pt x="9" y="445"/>
                    </a:lnTo>
                    <a:lnTo>
                      <a:pt x="11" y="444"/>
                    </a:lnTo>
                    <a:lnTo>
                      <a:pt x="11" y="442"/>
                    </a:lnTo>
                    <a:lnTo>
                      <a:pt x="11" y="440"/>
                    </a:lnTo>
                    <a:lnTo>
                      <a:pt x="9" y="440"/>
                    </a:lnTo>
                    <a:lnTo>
                      <a:pt x="7" y="440"/>
                    </a:lnTo>
                    <a:lnTo>
                      <a:pt x="7" y="439"/>
                    </a:lnTo>
                    <a:lnTo>
                      <a:pt x="6" y="439"/>
                    </a:lnTo>
                    <a:lnTo>
                      <a:pt x="6" y="437"/>
                    </a:lnTo>
                    <a:lnTo>
                      <a:pt x="4" y="437"/>
                    </a:lnTo>
                    <a:lnTo>
                      <a:pt x="2" y="435"/>
                    </a:lnTo>
                    <a:lnTo>
                      <a:pt x="0" y="433"/>
                    </a:lnTo>
                    <a:lnTo>
                      <a:pt x="2" y="433"/>
                    </a:lnTo>
                    <a:lnTo>
                      <a:pt x="2" y="432"/>
                    </a:lnTo>
                    <a:lnTo>
                      <a:pt x="2" y="430"/>
                    </a:lnTo>
                    <a:lnTo>
                      <a:pt x="2" y="427"/>
                    </a:lnTo>
                    <a:lnTo>
                      <a:pt x="4" y="428"/>
                    </a:lnTo>
                    <a:lnTo>
                      <a:pt x="6" y="427"/>
                    </a:lnTo>
                    <a:lnTo>
                      <a:pt x="7" y="427"/>
                    </a:lnTo>
                    <a:lnTo>
                      <a:pt x="9" y="427"/>
                    </a:lnTo>
                    <a:lnTo>
                      <a:pt x="9" y="425"/>
                    </a:lnTo>
                    <a:lnTo>
                      <a:pt x="11" y="425"/>
                    </a:lnTo>
                    <a:lnTo>
                      <a:pt x="11" y="423"/>
                    </a:lnTo>
                    <a:lnTo>
                      <a:pt x="9" y="422"/>
                    </a:lnTo>
                    <a:lnTo>
                      <a:pt x="7" y="418"/>
                    </a:lnTo>
                    <a:lnTo>
                      <a:pt x="9" y="416"/>
                    </a:lnTo>
                    <a:lnTo>
                      <a:pt x="9" y="415"/>
                    </a:lnTo>
                    <a:lnTo>
                      <a:pt x="9" y="413"/>
                    </a:lnTo>
                    <a:lnTo>
                      <a:pt x="9" y="411"/>
                    </a:lnTo>
                    <a:lnTo>
                      <a:pt x="9" y="410"/>
                    </a:lnTo>
                    <a:lnTo>
                      <a:pt x="11" y="410"/>
                    </a:lnTo>
                    <a:lnTo>
                      <a:pt x="11" y="408"/>
                    </a:lnTo>
                    <a:lnTo>
                      <a:pt x="12" y="408"/>
                    </a:lnTo>
                    <a:lnTo>
                      <a:pt x="12" y="406"/>
                    </a:lnTo>
                    <a:lnTo>
                      <a:pt x="14" y="406"/>
                    </a:lnTo>
                    <a:lnTo>
                      <a:pt x="16" y="406"/>
                    </a:lnTo>
                    <a:lnTo>
                      <a:pt x="16" y="405"/>
                    </a:lnTo>
                    <a:lnTo>
                      <a:pt x="17" y="403"/>
                    </a:lnTo>
                    <a:lnTo>
                      <a:pt x="17" y="405"/>
                    </a:lnTo>
                    <a:lnTo>
                      <a:pt x="17" y="403"/>
                    </a:lnTo>
                    <a:lnTo>
                      <a:pt x="19" y="403"/>
                    </a:lnTo>
                    <a:lnTo>
                      <a:pt x="21" y="403"/>
                    </a:lnTo>
                    <a:lnTo>
                      <a:pt x="21" y="401"/>
                    </a:lnTo>
                    <a:lnTo>
                      <a:pt x="23" y="401"/>
                    </a:lnTo>
                    <a:lnTo>
                      <a:pt x="24" y="401"/>
                    </a:lnTo>
                    <a:lnTo>
                      <a:pt x="26" y="401"/>
                    </a:lnTo>
                    <a:lnTo>
                      <a:pt x="26" y="399"/>
                    </a:lnTo>
                    <a:lnTo>
                      <a:pt x="28" y="401"/>
                    </a:lnTo>
                    <a:lnTo>
                      <a:pt x="28" y="399"/>
                    </a:lnTo>
                    <a:lnTo>
                      <a:pt x="28" y="398"/>
                    </a:lnTo>
                    <a:lnTo>
                      <a:pt x="29" y="399"/>
                    </a:lnTo>
                    <a:lnTo>
                      <a:pt x="29" y="398"/>
                    </a:lnTo>
                    <a:lnTo>
                      <a:pt x="29" y="396"/>
                    </a:lnTo>
                    <a:lnTo>
                      <a:pt x="31" y="396"/>
                    </a:lnTo>
                    <a:lnTo>
                      <a:pt x="29" y="396"/>
                    </a:lnTo>
                    <a:lnTo>
                      <a:pt x="31" y="394"/>
                    </a:lnTo>
                    <a:lnTo>
                      <a:pt x="29" y="394"/>
                    </a:lnTo>
                    <a:lnTo>
                      <a:pt x="29" y="393"/>
                    </a:lnTo>
                    <a:lnTo>
                      <a:pt x="29" y="391"/>
                    </a:lnTo>
                    <a:lnTo>
                      <a:pt x="28" y="391"/>
                    </a:lnTo>
                    <a:lnTo>
                      <a:pt x="29" y="391"/>
                    </a:lnTo>
                    <a:lnTo>
                      <a:pt x="28" y="389"/>
                    </a:lnTo>
                    <a:lnTo>
                      <a:pt x="28" y="388"/>
                    </a:lnTo>
                    <a:lnTo>
                      <a:pt x="26" y="388"/>
                    </a:lnTo>
                    <a:lnTo>
                      <a:pt x="28" y="388"/>
                    </a:lnTo>
                    <a:lnTo>
                      <a:pt x="26" y="388"/>
                    </a:lnTo>
                    <a:lnTo>
                      <a:pt x="26" y="386"/>
                    </a:lnTo>
                    <a:lnTo>
                      <a:pt x="26" y="384"/>
                    </a:lnTo>
                    <a:lnTo>
                      <a:pt x="26" y="382"/>
                    </a:lnTo>
                    <a:lnTo>
                      <a:pt x="26" y="381"/>
                    </a:lnTo>
                    <a:lnTo>
                      <a:pt x="28" y="382"/>
                    </a:lnTo>
                    <a:lnTo>
                      <a:pt x="26" y="381"/>
                    </a:lnTo>
                    <a:lnTo>
                      <a:pt x="28" y="381"/>
                    </a:lnTo>
                    <a:lnTo>
                      <a:pt x="28" y="379"/>
                    </a:lnTo>
                    <a:lnTo>
                      <a:pt x="28" y="377"/>
                    </a:lnTo>
                    <a:lnTo>
                      <a:pt x="29" y="377"/>
                    </a:lnTo>
                    <a:lnTo>
                      <a:pt x="29" y="376"/>
                    </a:lnTo>
                    <a:lnTo>
                      <a:pt x="31" y="376"/>
                    </a:lnTo>
                    <a:lnTo>
                      <a:pt x="31" y="374"/>
                    </a:lnTo>
                    <a:lnTo>
                      <a:pt x="33" y="374"/>
                    </a:lnTo>
                    <a:lnTo>
                      <a:pt x="33" y="372"/>
                    </a:lnTo>
                    <a:lnTo>
                      <a:pt x="34" y="372"/>
                    </a:lnTo>
                    <a:lnTo>
                      <a:pt x="34" y="371"/>
                    </a:lnTo>
                    <a:lnTo>
                      <a:pt x="34" y="369"/>
                    </a:lnTo>
                    <a:lnTo>
                      <a:pt x="36" y="369"/>
                    </a:lnTo>
                    <a:lnTo>
                      <a:pt x="34" y="369"/>
                    </a:lnTo>
                    <a:lnTo>
                      <a:pt x="34" y="367"/>
                    </a:lnTo>
                    <a:lnTo>
                      <a:pt x="36" y="367"/>
                    </a:lnTo>
                    <a:lnTo>
                      <a:pt x="36" y="365"/>
                    </a:lnTo>
                    <a:lnTo>
                      <a:pt x="36" y="364"/>
                    </a:lnTo>
                    <a:lnTo>
                      <a:pt x="34" y="364"/>
                    </a:lnTo>
                    <a:lnTo>
                      <a:pt x="36" y="364"/>
                    </a:lnTo>
                    <a:lnTo>
                      <a:pt x="36" y="362"/>
                    </a:lnTo>
                    <a:lnTo>
                      <a:pt x="36" y="360"/>
                    </a:lnTo>
                    <a:lnTo>
                      <a:pt x="38" y="360"/>
                    </a:lnTo>
                    <a:lnTo>
                      <a:pt x="38" y="359"/>
                    </a:lnTo>
                    <a:lnTo>
                      <a:pt x="38" y="357"/>
                    </a:lnTo>
                    <a:lnTo>
                      <a:pt x="38" y="355"/>
                    </a:lnTo>
                    <a:lnTo>
                      <a:pt x="38" y="354"/>
                    </a:lnTo>
                    <a:lnTo>
                      <a:pt x="38" y="352"/>
                    </a:lnTo>
                    <a:lnTo>
                      <a:pt x="40" y="352"/>
                    </a:lnTo>
                    <a:lnTo>
                      <a:pt x="40" y="350"/>
                    </a:lnTo>
                    <a:lnTo>
                      <a:pt x="41" y="350"/>
                    </a:lnTo>
                    <a:lnTo>
                      <a:pt x="43" y="350"/>
                    </a:lnTo>
                    <a:lnTo>
                      <a:pt x="43" y="348"/>
                    </a:lnTo>
                    <a:lnTo>
                      <a:pt x="45" y="348"/>
                    </a:lnTo>
                    <a:lnTo>
                      <a:pt x="46" y="348"/>
                    </a:lnTo>
                    <a:lnTo>
                      <a:pt x="48" y="348"/>
                    </a:lnTo>
                    <a:lnTo>
                      <a:pt x="46" y="347"/>
                    </a:lnTo>
                    <a:lnTo>
                      <a:pt x="48" y="347"/>
                    </a:lnTo>
                    <a:lnTo>
                      <a:pt x="46" y="347"/>
                    </a:lnTo>
                    <a:lnTo>
                      <a:pt x="48" y="347"/>
                    </a:lnTo>
                    <a:lnTo>
                      <a:pt x="50" y="345"/>
                    </a:lnTo>
                    <a:lnTo>
                      <a:pt x="51" y="345"/>
                    </a:lnTo>
                    <a:lnTo>
                      <a:pt x="53" y="343"/>
                    </a:lnTo>
                    <a:lnTo>
                      <a:pt x="51" y="343"/>
                    </a:lnTo>
                    <a:lnTo>
                      <a:pt x="53" y="343"/>
                    </a:lnTo>
                    <a:lnTo>
                      <a:pt x="55" y="343"/>
                    </a:lnTo>
                    <a:lnTo>
                      <a:pt x="55" y="342"/>
                    </a:lnTo>
                    <a:lnTo>
                      <a:pt x="55" y="340"/>
                    </a:lnTo>
                    <a:lnTo>
                      <a:pt x="57" y="340"/>
                    </a:lnTo>
                    <a:lnTo>
                      <a:pt x="58" y="340"/>
                    </a:lnTo>
                    <a:lnTo>
                      <a:pt x="60" y="340"/>
                    </a:lnTo>
                    <a:lnTo>
                      <a:pt x="58" y="338"/>
                    </a:lnTo>
                    <a:lnTo>
                      <a:pt x="60" y="340"/>
                    </a:lnTo>
                    <a:lnTo>
                      <a:pt x="60" y="338"/>
                    </a:lnTo>
                    <a:lnTo>
                      <a:pt x="62" y="338"/>
                    </a:lnTo>
                    <a:lnTo>
                      <a:pt x="63" y="337"/>
                    </a:lnTo>
                    <a:lnTo>
                      <a:pt x="63" y="338"/>
                    </a:lnTo>
                    <a:lnTo>
                      <a:pt x="63" y="337"/>
                    </a:lnTo>
                    <a:lnTo>
                      <a:pt x="65" y="337"/>
                    </a:lnTo>
                    <a:lnTo>
                      <a:pt x="65" y="335"/>
                    </a:lnTo>
                    <a:lnTo>
                      <a:pt x="67" y="335"/>
                    </a:lnTo>
                    <a:lnTo>
                      <a:pt x="68" y="335"/>
                    </a:lnTo>
                    <a:lnTo>
                      <a:pt x="68" y="333"/>
                    </a:lnTo>
                    <a:lnTo>
                      <a:pt x="70" y="333"/>
                    </a:lnTo>
                    <a:lnTo>
                      <a:pt x="70" y="331"/>
                    </a:lnTo>
                    <a:lnTo>
                      <a:pt x="72" y="331"/>
                    </a:lnTo>
                    <a:lnTo>
                      <a:pt x="70" y="330"/>
                    </a:lnTo>
                    <a:lnTo>
                      <a:pt x="72" y="330"/>
                    </a:lnTo>
                    <a:lnTo>
                      <a:pt x="72" y="331"/>
                    </a:lnTo>
                    <a:lnTo>
                      <a:pt x="72" y="330"/>
                    </a:lnTo>
                    <a:lnTo>
                      <a:pt x="74" y="330"/>
                    </a:lnTo>
                    <a:lnTo>
                      <a:pt x="75" y="330"/>
                    </a:lnTo>
                    <a:lnTo>
                      <a:pt x="77" y="330"/>
                    </a:lnTo>
                    <a:lnTo>
                      <a:pt x="75" y="330"/>
                    </a:lnTo>
                    <a:lnTo>
                      <a:pt x="77" y="330"/>
                    </a:lnTo>
                    <a:lnTo>
                      <a:pt x="79" y="330"/>
                    </a:lnTo>
                    <a:lnTo>
                      <a:pt x="80" y="330"/>
                    </a:lnTo>
                    <a:lnTo>
                      <a:pt x="80" y="331"/>
                    </a:lnTo>
                    <a:lnTo>
                      <a:pt x="82" y="331"/>
                    </a:lnTo>
                    <a:lnTo>
                      <a:pt x="82" y="330"/>
                    </a:lnTo>
                    <a:lnTo>
                      <a:pt x="84" y="330"/>
                    </a:lnTo>
                    <a:lnTo>
                      <a:pt x="84" y="328"/>
                    </a:lnTo>
                    <a:lnTo>
                      <a:pt x="84" y="330"/>
                    </a:lnTo>
                    <a:lnTo>
                      <a:pt x="85" y="330"/>
                    </a:lnTo>
                    <a:lnTo>
                      <a:pt x="84" y="328"/>
                    </a:lnTo>
                    <a:lnTo>
                      <a:pt x="85" y="328"/>
                    </a:lnTo>
                    <a:lnTo>
                      <a:pt x="87" y="328"/>
                    </a:lnTo>
                    <a:lnTo>
                      <a:pt x="87" y="330"/>
                    </a:lnTo>
                    <a:lnTo>
                      <a:pt x="87" y="328"/>
                    </a:lnTo>
                    <a:lnTo>
                      <a:pt x="89" y="328"/>
                    </a:lnTo>
                    <a:lnTo>
                      <a:pt x="91" y="328"/>
                    </a:lnTo>
                    <a:lnTo>
                      <a:pt x="91" y="326"/>
                    </a:lnTo>
                    <a:lnTo>
                      <a:pt x="91" y="328"/>
                    </a:lnTo>
                    <a:lnTo>
                      <a:pt x="92" y="328"/>
                    </a:lnTo>
                    <a:lnTo>
                      <a:pt x="92" y="326"/>
                    </a:lnTo>
                    <a:lnTo>
                      <a:pt x="94" y="326"/>
                    </a:lnTo>
                    <a:lnTo>
                      <a:pt x="96" y="328"/>
                    </a:lnTo>
                    <a:lnTo>
                      <a:pt x="96" y="326"/>
                    </a:lnTo>
                    <a:lnTo>
                      <a:pt x="97" y="326"/>
                    </a:lnTo>
                    <a:lnTo>
                      <a:pt x="99" y="326"/>
                    </a:lnTo>
                    <a:lnTo>
                      <a:pt x="101" y="326"/>
                    </a:lnTo>
                    <a:lnTo>
                      <a:pt x="102" y="326"/>
                    </a:lnTo>
                    <a:lnTo>
                      <a:pt x="102" y="325"/>
                    </a:lnTo>
                    <a:lnTo>
                      <a:pt x="101" y="325"/>
                    </a:lnTo>
                    <a:lnTo>
                      <a:pt x="102" y="325"/>
                    </a:lnTo>
                    <a:lnTo>
                      <a:pt x="102" y="326"/>
                    </a:lnTo>
                    <a:lnTo>
                      <a:pt x="104" y="326"/>
                    </a:lnTo>
                    <a:lnTo>
                      <a:pt x="104" y="325"/>
                    </a:lnTo>
                    <a:lnTo>
                      <a:pt x="106" y="325"/>
                    </a:lnTo>
                    <a:lnTo>
                      <a:pt x="106" y="323"/>
                    </a:lnTo>
                    <a:lnTo>
                      <a:pt x="106" y="321"/>
                    </a:lnTo>
                    <a:lnTo>
                      <a:pt x="108" y="321"/>
                    </a:lnTo>
                    <a:lnTo>
                      <a:pt x="108" y="319"/>
                    </a:lnTo>
                    <a:lnTo>
                      <a:pt x="109" y="319"/>
                    </a:lnTo>
                    <a:lnTo>
                      <a:pt x="109" y="318"/>
                    </a:lnTo>
                    <a:lnTo>
                      <a:pt x="111" y="319"/>
                    </a:lnTo>
                    <a:lnTo>
                      <a:pt x="113" y="319"/>
                    </a:lnTo>
                    <a:lnTo>
                      <a:pt x="113" y="318"/>
                    </a:lnTo>
                    <a:lnTo>
                      <a:pt x="114" y="318"/>
                    </a:lnTo>
                    <a:lnTo>
                      <a:pt x="114" y="319"/>
                    </a:lnTo>
                    <a:lnTo>
                      <a:pt x="116" y="319"/>
                    </a:lnTo>
                    <a:lnTo>
                      <a:pt x="118" y="318"/>
                    </a:lnTo>
                    <a:lnTo>
                      <a:pt x="116" y="318"/>
                    </a:lnTo>
                    <a:lnTo>
                      <a:pt x="118" y="318"/>
                    </a:lnTo>
                    <a:lnTo>
                      <a:pt x="118" y="319"/>
                    </a:lnTo>
                    <a:lnTo>
                      <a:pt x="119" y="319"/>
                    </a:lnTo>
                    <a:lnTo>
                      <a:pt x="119" y="318"/>
                    </a:lnTo>
                    <a:lnTo>
                      <a:pt x="119" y="319"/>
                    </a:lnTo>
                    <a:lnTo>
                      <a:pt x="119" y="318"/>
                    </a:lnTo>
                    <a:lnTo>
                      <a:pt x="121" y="318"/>
                    </a:lnTo>
                    <a:lnTo>
                      <a:pt x="119" y="318"/>
                    </a:lnTo>
                    <a:lnTo>
                      <a:pt x="121" y="318"/>
                    </a:lnTo>
                    <a:lnTo>
                      <a:pt x="123" y="318"/>
                    </a:lnTo>
                    <a:lnTo>
                      <a:pt x="123" y="319"/>
                    </a:lnTo>
                    <a:lnTo>
                      <a:pt x="125" y="319"/>
                    </a:lnTo>
                    <a:lnTo>
                      <a:pt x="125" y="318"/>
                    </a:lnTo>
                    <a:lnTo>
                      <a:pt x="126" y="319"/>
                    </a:lnTo>
                    <a:lnTo>
                      <a:pt x="126" y="321"/>
                    </a:lnTo>
                    <a:lnTo>
                      <a:pt x="125" y="321"/>
                    </a:lnTo>
                    <a:lnTo>
                      <a:pt x="126" y="323"/>
                    </a:lnTo>
                    <a:lnTo>
                      <a:pt x="128" y="325"/>
                    </a:lnTo>
                    <a:lnTo>
                      <a:pt x="128" y="323"/>
                    </a:lnTo>
                    <a:lnTo>
                      <a:pt x="128" y="325"/>
                    </a:lnTo>
                    <a:lnTo>
                      <a:pt x="130" y="325"/>
                    </a:lnTo>
                    <a:lnTo>
                      <a:pt x="130" y="323"/>
                    </a:lnTo>
                    <a:lnTo>
                      <a:pt x="131" y="323"/>
                    </a:lnTo>
                    <a:lnTo>
                      <a:pt x="131" y="321"/>
                    </a:lnTo>
                    <a:lnTo>
                      <a:pt x="131" y="323"/>
                    </a:lnTo>
                    <a:lnTo>
                      <a:pt x="133" y="323"/>
                    </a:lnTo>
                    <a:lnTo>
                      <a:pt x="133" y="325"/>
                    </a:lnTo>
                    <a:lnTo>
                      <a:pt x="135" y="326"/>
                    </a:lnTo>
                    <a:lnTo>
                      <a:pt x="136" y="326"/>
                    </a:lnTo>
                    <a:lnTo>
                      <a:pt x="136" y="325"/>
                    </a:lnTo>
                    <a:lnTo>
                      <a:pt x="136" y="323"/>
                    </a:lnTo>
                    <a:lnTo>
                      <a:pt x="136" y="321"/>
                    </a:lnTo>
                    <a:lnTo>
                      <a:pt x="138" y="321"/>
                    </a:lnTo>
                    <a:lnTo>
                      <a:pt x="140" y="311"/>
                    </a:lnTo>
                    <a:lnTo>
                      <a:pt x="142" y="302"/>
                    </a:lnTo>
                    <a:lnTo>
                      <a:pt x="145" y="279"/>
                    </a:lnTo>
                    <a:lnTo>
                      <a:pt x="145" y="275"/>
                    </a:lnTo>
                    <a:lnTo>
                      <a:pt x="148" y="260"/>
                    </a:lnTo>
                    <a:lnTo>
                      <a:pt x="148" y="255"/>
                    </a:lnTo>
                    <a:lnTo>
                      <a:pt x="150" y="250"/>
                    </a:lnTo>
                    <a:lnTo>
                      <a:pt x="152" y="245"/>
                    </a:lnTo>
                    <a:lnTo>
                      <a:pt x="152" y="238"/>
                    </a:lnTo>
                    <a:lnTo>
                      <a:pt x="153" y="229"/>
                    </a:lnTo>
                    <a:lnTo>
                      <a:pt x="153" y="228"/>
                    </a:lnTo>
                    <a:lnTo>
                      <a:pt x="155" y="228"/>
                    </a:lnTo>
                    <a:lnTo>
                      <a:pt x="155" y="226"/>
                    </a:lnTo>
                    <a:lnTo>
                      <a:pt x="153" y="226"/>
                    </a:lnTo>
                    <a:lnTo>
                      <a:pt x="155" y="224"/>
                    </a:lnTo>
                    <a:lnTo>
                      <a:pt x="155" y="223"/>
                    </a:lnTo>
                    <a:lnTo>
                      <a:pt x="155" y="221"/>
                    </a:lnTo>
                    <a:lnTo>
                      <a:pt x="155" y="219"/>
                    </a:lnTo>
                    <a:lnTo>
                      <a:pt x="155" y="217"/>
                    </a:lnTo>
                    <a:lnTo>
                      <a:pt x="155" y="216"/>
                    </a:lnTo>
                    <a:lnTo>
                      <a:pt x="155" y="214"/>
                    </a:lnTo>
                    <a:lnTo>
                      <a:pt x="155" y="212"/>
                    </a:lnTo>
                    <a:lnTo>
                      <a:pt x="153" y="212"/>
                    </a:lnTo>
                    <a:lnTo>
                      <a:pt x="155" y="212"/>
                    </a:lnTo>
                    <a:lnTo>
                      <a:pt x="153" y="211"/>
                    </a:lnTo>
                    <a:lnTo>
                      <a:pt x="152" y="209"/>
                    </a:lnTo>
                    <a:lnTo>
                      <a:pt x="152" y="211"/>
                    </a:lnTo>
                    <a:lnTo>
                      <a:pt x="152" y="209"/>
                    </a:lnTo>
                    <a:lnTo>
                      <a:pt x="152" y="207"/>
                    </a:lnTo>
                    <a:lnTo>
                      <a:pt x="150" y="207"/>
                    </a:lnTo>
                    <a:lnTo>
                      <a:pt x="150" y="206"/>
                    </a:lnTo>
                    <a:lnTo>
                      <a:pt x="148" y="204"/>
                    </a:lnTo>
                    <a:lnTo>
                      <a:pt x="150" y="204"/>
                    </a:lnTo>
                    <a:lnTo>
                      <a:pt x="148" y="204"/>
                    </a:lnTo>
                    <a:lnTo>
                      <a:pt x="148" y="202"/>
                    </a:lnTo>
                    <a:lnTo>
                      <a:pt x="148" y="200"/>
                    </a:lnTo>
                    <a:lnTo>
                      <a:pt x="150" y="200"/>
                    </a:lnTo>
                    <a:lnTo>
                      <a:pt x="150" y="199"/>
                    </a:lnTo>
                    <a:lnTo>
                      <a:pt x="148" y="199"/>
                    </a:lnTo>
                    <a:lnTo>
                      <a:pt x="148" y="197"/>
                    </a:lnTo>
                    <a:lnTo>
                      <a:pt x="148" y="195"/>
                    </a:lnTo>
                    <a:lnTo>
                      <a:pt x="148" y="194"/>
                    </a:lnTo>
                    <a:lnTo>
                      <a:pt x="147" y="195"/>
                    </a:lnTo>
                    <a:lnTo>
                      <a:pt x="147" y="194"/>
                    </a:lnTo>
                    <a:lnTo>
                      <a:pt x="145" y="194"/>
                    </a:lnTo>
                    <a:lnTo>
                      <a:pt x="143" y="192"/>
                    </a:lnTo>
                    <a:lnTo>
                      <a:pt x="142" y="192"/>
                    </a:lnTo>
                    <a:lnTo>
                      <a:pt x="142" y="190"/>
                    </a:lnTo>
                    <a:lnTo>
                      <a:pt x="140" y="189"/>
                    </a:lnTo>
                    <a:lnTo>
                      <a:pt x="138" y="190"/>
                    </a:lnTo>
                    <a:lnTo>
                      <a:pt x="138" y="189"/>
                    </a:lnTo>
                    <a:lnTo>
                      <a:pt x="136" y="189"/>
                    </a:lnTo>
                    <a:lnTo>
                      <a:pt x="136" y="187"/>
                    </a:lnTo>
                    <a:lnTo>
                      <a:pt x="135" y="185"/>
                    </a:lnTo>
                    <a:lnTo>
                      <a:pt x="135" y="183"/>
                    </a:lnTo>
                    <a:lnTo>
                      <a:pt x="135" y="182"/>
                    </a:lnTo>
                    <a:lnTo>
                      <a:pt x="133" y="182"/>
                    </a:lnTo>
                    <a:lnTo>
                      <a:pt x="133" y="178"/>
                    </a:lnTo>
                    <a:lnTo>
                      <a:pt x="133" y="175"/>
                    </a:lnTo>
                    <a:lnTo>
                      <a:pt x="133" y="172"/>
                    </a:lnTo>
                    <a:lnTo>
                      <a:pt x="133" y="170"/>
                    </a:lnTo>
                    <a:lnTo>
                      <a:pt x="133" y="168"/>
                    </a:lnTo>
                    <a:lnTo>
                      <a:pt x="133" y="166"/>
                    </a:lnTo>
                    <a:lnTo>
                      <a:pt x="133" y="165"/>
                    </a:lnTo>
                    <a:lnTo>
                      <a:pt x="133" y="161"/>
                    </a:lnTo>
                    <a:lnTo>
                      <a:pt x="133" y="160"/>
                    </a:lnTo>
                    <a:lnTo>
                      <a:pt x="135" y="160"/>
                    </a:lnTo>
                    <a:lnTo>
                      <a:pt x="135" y="158"/>
                    </a:lnTo>
                    <a:lnTo>
                      <a:pt x="136" y="158"/>
                    </a:lnTo>
                    <a:lnTo>
                      <a:pt x="136" y="160"/>
                    </a:lnTo>
                    <a:lnTo>
                      <a:pt x="138" y="160"/>
                    </a:lnTo>
                    <a:lnTo>
                      <a:pt x="138" y="158"/>
                    </a:lnTo>
                    <a:lnTo>
                      <a:pt x="140" y="158"/>
                    </a:lnTo>
                    <a:lnTo>
                      <a:pt x="142" y="158"/>
                    </a:lnTo>
                    <a:lnTo>
                      <a:pt x="143" y="158"/>
                    </a:lnTo>
                    <a:lnTo>
                      <a:pt x="143" y="156"/>
                    </a:lnTo>
                    <a:lnTo>
                      <a:pt x="145" y="158"/>
                    </a:lnTo>
                    <a:lnTo>
                      <a:pt x="145" y="156"/>
                    </a:lnTo>
                    <a:lnTo>
                      <a:pt x="147" y="154"/>
                    </a:lnTo>
                    <a:lnTo>
                      <a:pt x="147" y="156"/>
                    </a:lnTo>
                    <a:lnTo>
                      <a:pt x="148" y="156"/>
                    </a:lnTo>
                    <a:lnTo>
                      <a:pt x="148" y="158"/>
                    </a:lnTo>
                    <a:lnTo>
                      <a:pt x="148" y="156"/>
                    </a:lnTo>
                    <a:lnTo>
                      <a:pt x="150" y="156"/>
                    </a:lnTo>
                    <a:lnTo>
                      <a:pt x="150" y="154"/>
                    </a:lnTo>
                    <a:lnTo>
                      <a:pt x="152" y="154"/>
                    </a:lnTo>
                    <a:lnTo>
                      <a:pt x="152" y="153"/>
                    </a:lnTo>
                    <a:lnTo>
                      <a:pt x="153" y="153"/>
                    </a:lnTo>
                    <a:lnTo>
                      <a:pt x="155" y="154"/>
                    </a:lnTo>
                    <a:lnTo>
                      <a:pt x="155" y="156"/>
                    </a:lnTo>
                    <a:lnTo>
                      <a:pt x="157" y="156"/>
                    </a:lnTo>
                    <a:lnTo>
                      <a:pt x="157" y="158"/>
                    </a:lnTo>
                    <a:lnTo>
                      <a:pt x="157" y="156"/>
                    </a:lnTo>
                    <a:lnTo>
                      <a:pt x="159" y="156"/>
                    </a:lnTo>
                    <a:lnTo>
                      <a:pt x="159" y="158"/>
                    </a:lnTo>
                    <a:lnTo>
                      <a:pt x="160" y="158"/>
                    </a:lnTo>
                    <a:lnTo>
                      <a:pt x="162" y="158"/>
                    </a:lnTo>
                    <a:lnTo>
                      <a:pt x="162" y="156"/>
                    </a:lnTo>
                    <a:lnTo>
                      <a:pt x="164" y="156"/>
                    </a:lnTo>
                    <a:lnTo>
                      <a:pt x="165" y="156"/>
                    </a:lnTo>
                    <a:lnTo>
                      <a:pt x="165" y="154"/>
                    </a:lnTo>
                    <a:lnTo>
                      <a:pt x="164" y="154"/>
                    </a:lnTo>
                    <a:lnTo>
                      <a:pt x="162" y="153"/>
                    </a:lnTo>
                    <a:lnTo>
                      <a:pt x="164" y="153"/>
                    </a:lnTo>
                    <a:lnTo>
                      <a:pt x="164" y="151"/>
                    </a:lnTo>
                    <a:lnTo>
                      <a:pt x="164" y="149"/>
                    </a:lnTo>
                    <a:lnTo>
                      <a:pt x="164" y="148"/>
                    </a:lnTo>
                    <a:lnTo>
                      <a:pt x="162" y="148"/>
                    </a:lnTo>
                    <a:lnTo>
                      <a:pt x="162" y="146"/>
                    </a:lnTo>
                    <a:lnTo>
                      <a:pt x="164" y="146"/>
                    </a:lnTo>
                    <a:lnTo>
                      <a:pt x="162" y="146"/>
                    </a:lnTo>
                    <a:lnTo>
                      <a:pt x="162" y="144"/>
                    </a:lnTo>
                    <a:lnTo>
                      <a:pt x="162" y="143"/>
                    </a:lnTo>
                    <a:lnTo>
                      <a:pt x="160" y="143"/>
                    </a:lnTo>
                    <a:lnTo>
                      <a:pt x="159" y="143"/>
                    </a:lnTo>
                    <a:lnTo>
                      <a:pt x="159" y="141"/>
                    </a:lnTo>
                    <a:lnTo>
                      <a:pt x="157" y="141"/>
                    </a:lnTo>
                    <a:lnTo>
                      <a:pt x="155" y="143"/>
                    </a:lnTo>
                    <a:lnTo>
                      <a:pt x="153" y="141"/>
                    </a:lnTo>
                    <a:lnTo>
                      <a:pt x="152" y="141"/>
                    </a:lnTo>
                    <a:lnTo>
                      <a:pt x="150" y="141"/>
                    </a:lnTo>
                    <a:lnTo>
                      <a:pt x="148" y="141"/>
                    </a:lnTo>
                    <a:lnTo>
                      <a:pt x="147" y="141"/>
                    </a:lnTo>
                    <a:lnTo>
                      <a:pt x="145" y="141"/>
                    </a:lnTo>
                    <a:lnTo>
                      <a:pt x="143" y="141"/>
                    </a:lnTo>
                    <a:lnTo>
                      <a:pt x="142" y="141"/>
                    </a:lnTo>
                    <a:lnTo>
                      <a:pt x="142" y="143"/>
                    </a:lnTo>
                    <a:lnTo>
                      <a:pt x="142" y="141"/>
                    </a:lnTo>
                    <a:lnTo>
                      <a:pt x="140" y="141"/>
                    </a:lnTo>
                    <a:lnTo>
                      <a:pt x="140" y="139"/>
                    </a:lnTo>
                    <a:lnTo>
                      <a:pt x="140" y="136"/>
                    </a:lnTo>
                    <a:lnTo>
                      <a:pt x="140" y="134"/>
                    </a:lnTo>
                    <a:lnTo>
                      <a:pt x="140" y="132"/>
                    </a:lnTo>
                    <a:lnTo>
                      <a:pt x="140" y="129"/>
                    </a:lnTo>
                    <a:lnTo>
                      <a:pt x="140" y="126"/>
                    </a:lnTo>
                    <a:lnTo>
                      <a:pt x="140" y="122"/>
                    </a:lnTo>
                    <a:lnTo>
                      <a:pt x="140" y="120"/>
                    </a:lnTo>
                    <a:lnTo>
                      <a:pt x="142" y="120"/>
                    </a:lnTo>
                    <a:lnTo>
                      <a:pt x="143" y="120"/>
                    </a:lnTo>
                    <a:lnTo>
                      <a:pt x="143" y="119"/>
                    </a:lnTo>
                    <a:lnTo>
                      <a:pt x="145" y="119"/>
                    </a:lnTo>
                    <a:lnTo>
                      <a:pt x="147" y="119"/>
                    </a:lnTo>
                    <a:lnTo>
                      <a:pt x="147" y="120"/>
                    </a:lnTo>
                    <a:lnTo>
                      <a:pt x="147" y="119"/>
                    </a:lnTo>
                    <a:lnTo>
                      <a:pt x="147" y="120"/>
                    </a:lnTo>
                    <a:lnTo>
                      <a:pt x="147" y="119"/>
                    </a:lnTo>
                    <a:lnTo>
                      <a:pt x="148" y="120"/>
                    </a:lnTo>
                    <a:lnTo>
                      <a:pt x="148" y="119"/>
                    </a:lnTo>
                    <a:lnTo>
                      <a:pt x="150" y="119"/>
                    </a:lnTo>
                    <a:lnTo>
                      <a:pt x="152" y="117"/>
                    </a:lnTo>
                    <a:lnTo>
                      <a:pt x="152" y="119"/>
                    </a:lnTo>
                    <a:lnTo>
                      <a:pt x="153" y="119"/>
                    </a:lnTo>
                    <a:lnTo>
                      <a:pt x="155" y="119"/>
                    </a:lnTo>
                    <a:lnTo>
                      <a:pt x="159" y="119"/>
                    </a:lnTo>
                    <a:lnTo>
                      <a:pt x="164" y="119"/>
                    </a:lnTo>
                    <a:lnTo>
                      <a:pt x="169" y="119"/>
                    </a:lnTo>
                    <a:lnTo>
                      <a:pt x="174" y="119"/>
                    </a:lnTo>
                    <a:lnTo>
                      <a:pt x="184" y="119"/>
                    </a:lnTo>
                    <a:lnTo>
                      <a:pt x="198" y="119"/>
                    </a:lnTo>
                    <a:lnTo>
                      <a:pt x="196" y="119"/>
                    </a:lnTo>
                    <a:lnTo>
                      <a:pt x="196" y="117"/>
                    </a:lnTo>
                    <a:lnTo>
                      <a:pt x="196" y="119"/>
                    </a:lnTo>
                    <a:lnTo>
                      <a:pt x="194" y="117"/>
                    </a:lnTo>
                    <a:lnTo>
                      <a:pt x="194" y="119"/>
                    </a:lnTo>
                    <a:lnTo>
                      <a:pt x="194" y="117"/>
                    </a:lnTo>
                    <a:lnTo>
                      <a:pt x="194" y="115"/>
                    </a:lnTo>
                    <a:lnTo>
                      <a:pt x="194" y="117"/>
                    </a:lnTo>
                    <a:lnTo>
                      <a:pt x="194" y="115"/>
                    </a:lnTo>
                    <a:lnTo>
                      <a:pt x="194" y="117"/>
                    </a:lnTo>
                    <a:lnTo>
                      <a:pt x="193" y="115"/>
                    </a:lnTo>
                    <a:lnTo>
                      <a:pt x="194" y="115"/>
                    </a:lnTo>
                    <a:lnTo>
                      <a:pt x="193" y="115"/>
                    </a:lnTo>
                    <a:lnTo>
                      <a:pt x="194" y="115"/>
                    </a:lnTo>
                    <a:lnTo>
                      <a:pt x="194" y="114"/>
                    </a:lnTo>
                    <a:lnTo>
                      <a:pt x="194" y="112"/>
                    </a:lnTo>
                    <a:lnTo>
                      <a:pt x="196" y="112"/>
                    </a:lnTo>
                    <a:lnTo>
                      <a:pt x="196" y="110"/>
                    </a:lnTo>
                    <a:lnTo>
                      <a:pt x="196" y="109"/>
                    </a:lnTo>
                    <a:lnTo>
                      <a:pt x="196" y="110"/>
                    </a:lnTo>
                    <a:lnTo>
                      <a:pt x="196" y="112"/>
                    </a:lnTo>
                    <a:lnTo>
                      <a:pt x="198" y="112"/>
                    </a:lnTo>
                    <a:lnTo>
                      <a:pt x="198" y="110"/>
                    </a:lnTo>
                    <a:lnTo>
                      <a:pt x="198" y="112"/>
                    </a:lnTo>
                    <a:lnTo>
                      <a:pt x="199" y="112"/>
                    </a:lnTo>
                    <a:lnTo>
                      <a:pt x="199" y="114"/>
                    </a:lnTo>
                    <a:lnTo>
                      <a:pt x="201" y="114"/>
                    </a:lnTo>
                    <a:lnTo>
                      <a:pt x="203" y="114"/>
                    </a:lnTo>
                    <a:lnTo>
                      <a:pt x="203" y="115"/>
                    </a:lnTo>
                    <a:lnTo>
                      <a:pt x="204" y="115"/>
                    </a:lnTo>
                    <a:lnTo>
                      <a:pt x="204" y="117"/>
                    </a:lnTo>
                    <a:lnTo>
                      <a:pt x="206" y="117"/>
                    </a:lnTo>
                    <a:lnTo>
                      <a:pt x="206" y="115"/>
                    </a:lnTo>
                    <a:lnTo>
                      <a:pt x="208" y="114"/>
                    </a:lnTo>
                    <a:lnTo>
                      <a:pt x="208" y="112"/>
                    </a:lnTo>
                    <a:lnTo>
                      <a:pt x="210" y="112"/>
                    </a:lnTo>
                    <a:lnTo>
                      <a:pt x="210" y="110"/>
                    </a:lnTo>
                    <a:lnTo>
                      <a:pt x="211" y="110"/>
                    </a:lnTo>
                    <a:lnTo>
                      <a:pt x="211" y="109"/>
                    </a:lnTo>
                    <a:lnTo>
                      <a:pt x="213" y="109"/>
                    </a:lnTo>
                    <a:lnTo>
                      <a:pt x="215" y="109"/>
                    </a:lnTo>
                    <a:lnTo>
                      <a:pt x="216" y="109"/>
                    </a:lnTo>
                    <a:lnTo>
                      <a:pt x="218" y="109"/>
                    </a:lnTo>
                    <a:lnTo>
                      <a:pt x="218" y="107"/>
                    </a:lnTo>
                    <a:lnTo>
                      <a:pt x="220" y="107"/>
                    </a:lnTo>
                    <a:lnTo>
                      <a:pt x="220" y="105"/>
                    </a:lnTo>
                    <a:lnTo>
                      <a:pt x="221" y="105"/>
                    </a:lnTo>
                    <a:lnTo>
                      <a:pt x="221" y="103"/>
                    </a:lnTo>
                    <a:lnTo>
                      <a:pt x="223" y="102"/>
                    </a:lnTo>
                    <a:lnTo>
                      <a:pt x="223" y="103"/>
                    </a:lnTo>
                    <a:lnTo>
                      <a:pt x="225" y="103"/>
                    </a:lnTo>
                    <a:lnTo>
                      <a:pt x="223" y="103"/>
                    </a:lnTo>
                    <a:lnTo>
                      <a:pt x="223" y="105"/>
                    </a:lnTo>
                    <a:lnTo>
                      <a:pt x="225" y="105"/>
                    </a:lnTo>
                    <a:lnTo>
                      <a:pt x="225" y="107"/>
                    </a:lnTo>
                    <a:lnTo>
                      <a:pt x="225" y="109"/>
                    </a:lnTo>
                    <a:lnTo>
                      <a:pt x="225" y="110"/>
                    </a:lnTo>
                    <a:lnTo>
                      <a:pt x="225" y="112"/>
                    </a:lnTo>
                    <a:lnTo>
                      <a:pt x="227" y="112"/>
                    </a:lnTo>
                    <a:lnTo>
                      <a:pt x="227" y="114"/>
                    </a:lnTo>
                    <a:lnTo>
                      <a:pt x="228" y="115"/>
                    </a:lnTo>
                    <a:lnTo>
                      <a:pt x="230" y="115"/>
                    </a:lnTo>
                    <a:lnTo>
                      <a:pt x="232" y="115"/>
                    </a:lnTo>
                    <a:lnTo>
                      <a:pt x="232" y="117"/>
                    </a:lnTo>
                    <a:lnTo>
                      <a:pt x="232" y="119"/>
                    </a:lnTo>
                    <a:lnTo>
                      <a:pt x="232" y="120"/>
                    </a:lnTo>
                    <a:lnTo>
                      <a:pt x="232" y="122"/>
                    </a:lnTo>
                    <a:lnTo>
                      <a:pt x="232" y="124"/>
                    </a:lnTo>
                    <a:lnTo>
                      <a:pt x="233" y="124"/>
                    </a:lnTo>
                    <a:lnTo>
                      <a:pt x="232" y="126"/>
                    </a:lnTo>
                    <a:lnTo>
                      <a:pt x="232" y="127"/>
                    </a:lnTo>
                    <a:lnTo>
                      <a:pt x="233" y="127"/>
                    </a:lnTo>
                    <a:lnTo>
                      <a:pt x="233" y="129"/>
                    </a:lnTo>
                    <a:lnTo>
                      <a:pt x="233" y="131"/>
                    </a:lnTo>
                    <a:lnTo>
                      <a:pt x="233" y="132"/>
                    </a:lnTo>
                    <a:lnTo>
                      <a:pt x="232" y="132"/>
                    </a:lnTo>
                    <a:lnTo>
                      <a:pt x="232" y="134"/>
                    </a:lnTo>
                    <a:lnTo>
                      <a:pt x="233" y="134"/>
                    </a:lnTo>
                    <a:lnTo>
                      <a:pt x="233" y="136"/>
                    </a:lnTo>
                    <a:lnTo>
                      <a:pt x="233" y="137"/>
                    </a:lnTo>
                    <a:lnTo>
                      <a:pt x="233" y="139"/>
                    </a:lnTo>
                    <a:lnTo>
                      <a:pt x="235" y="137"/>
                    </a:lnTo>
                    <a:lnTo>
                      <a:pt x="240" y="137"/>
                    </a:lnTo>
                    <a:lnTo>
                      <a:pt x="242" y="136"/>
                    </a:lnTo>
                    <a:lnTo>
                      <a:pt x="259" y="153"/>
                    </a:lnTo>
                    <a:lnTo>
                      <a:pt x="261" y="153"/>
                    </a:lnTo>
                    <a:lnTo>
                      <a:pt x="262" y="151"/>
                    </a:lnTo>
                    <a:lnTo>
                      <a:pt x="264" y="151"/>
                    </a:lnTo>
                    <a:lnTo>
                      <a:pt x="264" y="153"/>
                    </a:lnTo>
                    <a:lnTo>
                      <a:pt x="266" y="153"/>
                    </a:lnTo>
                    <a:lnTo>
                      <a:pt x="267" y="153"/>
                    </a:lnTo>
                    <a:lnTo>
                      <a:pt x="267" y="151"/>
                    </a:lnTo>
                    <a:lnTo>
                      <a:pt x="269" y="151"/>
                    </a:lnTo>
                    <a:lnTo>
                      <a:pt x="271" y="151"/>
                    </a:lnTo>
                    <a:lnTo>
                      <a:pt x="271" y="149"/>
                    </a:lnTo>
                    <a:lnTo>
                      <a:pt x="272" y="149"/>
                    </a:lnTo>
                    <a:lnTo>
                      <a:pt x="272" y="148"/>
                    </a:lnTo>
                    <a:lnTo>
                      <a:pt x="274" y="148"/>
                    </a:lnTo>
                    <a:lnTo>
                      <a:pt x="274" y="146"/>
                    </a:lnTo>
                    <a:lnTo>
                      <a:pt x="276" y="146"/>
                    </a:lnTo>
                    <a:lnTo>
                      <a:pt x="278" y="146"/>
                    </a:lnTo>
                    <a:lnTo>
                      <a:pt x="278" y="144"/>
                    </a:lnTo>
                    <a:lnTo>
                      <a:pt x="279" y="144"/>
                    </a:lnTo>
                    <a:lnTo>
                      <a:pt x="281" y="144"/>
                    </a:lnTo>
                    <a:lnTo>
                      <a:pt x="283" y="144"/>
                    </a:lnTo>
                    <a:lnTo>
                      <a:pt x="284" y="144"/>
                    </a:lnTo>
                    <a:lnTo>
                      <a:pt x="286" y="144"/>
                    </a:lnTo>
                    <a:lnTo>
                      <a:pt x="286" y="146"/>
                    </a:lnTo>
                    <a:lnTo>
                      <a:pt x="286" y="148"/>
                    </a:lnTo>
                    <a:lnTo>
                      <a:pt x="288" y="148"/>
                    </a:lnTo>
                    <a:lnTo>
                      <a:pt x="288" y="149"/>
                    </a:lnTo>
                    <a:lnTo>
                      <a:pt x="286" y="149"/>
                    </a:lnTo>
                    <a:lnTo>
                      <a:pt x="286" y="151"/>
                    </a:lnTo>
                    <a:lnTo>
                      <a:pt x="284" y="153"/>
                    </a:lnTo>
                    <a:lnTo>
                      <a:pt x="284" y="154"/>
                    </a:lnTo>
                    <a:lnTo>
                      <a:pt x="286" y="156"/>
                    </a:lnTo>
                    <a:lnTo>
                      <a:pt x="286" y="154"/>
                    </a:lnTo>
                    <a:lnTo>
                      <a:pt x="288" y="154"/>
                    </a:lnTo>
                    <a:lnTo>
                      <a:pt x="289" y="154"/>
                    </a:lnTo>
                    <a:lnTo>
                      <a:pt x="289" y="153"/>
                    </a:lnTo>
                    <a:lnTo>
                      <a:pt x="291" y="153"/>
                    </a:lnTo>
                    <a:lnTo>
                      <a:pt x="291" y="151"/>
                    </a:lnTo>
                    <a:lnTo>
                      <a:pt x="289" y="151"/>
                    </a:lnTo>
                    <a:lnTo>
                      <a:pt x="291" y="149"/>
                    </a:lnTo>
                    <a:lnTo>
                      <a:pt x="293" y="148"/>
                    </a:lnTo>
                    <a:lnTo>
                      <a:pt x="291" y="148"/>
                    </a:lnTo>
                    <a:lnTo>
                      <a:pt x="293" y="148"/>
                    </a:lnTo>
                    <a:lnTo>
                      <a:pt x="293" y="146"/>
                    </a:lnTo>
                    <a:lnTo>
                      <a:pt x="295" y="146"/>
                    </a:lnTo>
                    <a:lnTo>
                      <a:pt x="296" y="146"/>
                    </a:lnTo>
                    <a:lnTo>
                      <a:pt x="296" y="148"/>
                    </a:lnTo>
                    <a:lnTo>
                      <a:pt x="298" y="148"/>
                    </a:lnTo>
                    <a:lnTo>
                      <a:pt x="298" y="146"/>
                    </a:lnTo>
                    <a:lnTo>
                      <a:pt x="298" y="144"/>
                    </a:lnTo>
                    <a:lnTo>
                      <a:pt x="300" y="144"/>
                    </a:lnTo>
                    <a:lnTo>
                      <a:pt x="298" y="143"/>
                    </a:lnTo>
                    <a:lnTo>
                      <a:pt x="298" y="141"/>
                    </a:lnTo>
                    <a:lnTo>
                      <a:pt x="300" y="141"/>
                    </a:lnTo>
                    <a:lnTo>
                      <a:pt x="298" y="139"/>
                    </a:lnTo>
                    <a:lnTo>
                      <a:pt x="300" y="139"/>
                    </a:lnTo>
                    <a:lnTo>
                      <a:pt x="301" y="139"/>
                    </a:lnTo>
                    <a:lnTo>
                      <a:pt x="301" y="141"/>
                    </a:lnTo>
                    <a:lnTo>
                      <a:pt x="303" y="141"/>
                    </a:lnTo>
                    <a:lnTo>
                      <a:pt x="303" y="139"/>
                    </a:lnTo>
                    <a:lnTo>
                      <a:pt x="305" y="139"/>
                    </a:lnTo>
                    <a:lnTo>
                      <a:pt x="305" y="137"/>
                    </a:lnTo>
                    <a:lnTo>
                      <a:pt x="305" y="136"/>
                    </a:lnTo>
                    <a:lnTo>
                      <a:pt x="306" y="136"/>
                    </a:lnTo>
                    <a:lnTo>
                      <a:pt x="306" y="137"/>
                    </a:lnTo>
                    <a:lnTo>
                      <a:pt x="306" y="136"/>
                    </a:lnTo>
                    <a:lnTo>
                      <a:pt x="308" y="136"/>
                    </a:lnTo>
                    <a:lnTo>
                      <a:pt x="310" y="136"/>
                    </a:lnTo>
                    <a:lnTo>
                      <a:pt x="308" y="134"/>
                    </a:lnTo>
                    <a:lnTo>
                      <a:pt x="310" y="134"/>
                    </a:lnTo>
                    <a:lnTo>
                      <a:pt x="312" y="134"/>
                    </a:lnTo>
                    <a:lnTo>
                      <a:pt x="312" y="136"/>
                    </a:lnTo>
                    <a:lnTo>
                      <a:pt x="313" y="136"/>
                    </a:lnTo>
                    <a:lnTo>
                      <a:pt x="313" y="134"/>
                    </a:lnTo>
                    <a:lnTo>
                      <a:pt x="315" y="134"/>
                    </a:lnTo>
                    <a:lnTo>
                      <a:pt x="317" y="134"/>
                    </a:lnTo>
                    <a:lnTo>
                      <a:pt x="317" y="132"/>
                    </a:lnTo>
                    <a:lnTo>
                      <a:pt x="318" y="132"/>
                    </a:lnTo>
                    <a:lnTo>
                      <a:pt x="318" y="131"/>
                    </a:lnTo>
                    <a:lnTo>
                      <a:pt x="320" y="129"/>
                    </a:lnTo>
                    <a:lnTo>
                      <a:pt x="322" y="129"/>
                    </a:lnTo>
                    <a:lnTo>
                      <a:pt x="322" y="127"/>
                    </a:lnTo>
                    <a:lnTo>
                      <a:pt x="323" y="127"/>
                    </a:lnTo>
                    <a:lnTo>
                      <a:pt x="325" y="126"/>
                    </a:lnTo>
                    <a:lnTo>
                      <a:pt x="325" y="127"/>
                    </a:lnTo>
                    <a:lnTo>
                      <a:pt x="325" y="126"/>
                    </a:lnTo>
                    <a:lnTo>
                      <a:pt x="325" y="127"/>
                    </a:lnTo>
                    <a:lnTo>
                      <a:pt x="325" y="129"/>
                    </a:lnTo>
                    <a:lnTo>
                      <a:pt x="325" y="131"/>
                    </a:lnTo>
                    <a:lnTo>
                      <a:pt x="323" y="131"/>
                    </a:lnTo>
                    <a:lnTo>
                      <a:pt x="325" y="131"/>
                    </a:lnTo>
                    <a:lnTo>
                      <a:pt x="327" y="132"/>
                    </a:lnTo>
                    <a:lnTo>
                      <a:pt x="327" y="131"/>
                    </a:lnTo>
                    <a:lnTo>
                      <a:pt x="327" y="129"/>
                    </a:lnTo>
                    <a:lnTo>
                      <a:pt x="329" y="127"/>
                    </a:lnTo>
                    <a:lnTo>
                      <a:pt x="330" y="127"/>
                    </a:lnTo>
                    <a:lnTo>
                      <a:pt x="332" y="127"/>
                    </a:lnTo>
                    <a:lnTo>
                      <a:pt x="332" y="126"/>
                    </a:lnTo>
                    <a:lnTo>
                      <a:pt x="332" y="124"/>
                    </a:lnTo>
                    <a:lnTo>
                      <a:pt x="334" y="124"/>
                    </a:lnTo>
                    <a:lnTo>
                      <a:pt x="335" y="124"/>
                    </a:lnTo>
                    <a:lnTo>
                      <a:pt x="335" y="122"/>
                    </a:lnTo>
                    <a:lnTo>
                      <a:pt x="335" y="120"/>
                    </a:lnTo>
                    <a:lnTo>
                      <a:pt x="335" y="119"/>
                    </a:lnTo>
                    <a:lnTo>
                      <a:pt x="335" y="117"/>
                    </a:lnTo>
                    <a:lnTo>
                      <a:pt x="335" y="115"/>
                    </a:lnTo>
                    <a:lnTo>
                      <a:pt x="335" y="114"/>
                    </a:lnTo>
                    <a:lnTo>
                      <a:pt x="335" y="112"/>
                    </a:lnTo>
                    <a:lnTo>
                      <a:pt x="337" y="112"/>
                    </a:lnTo>
                    <a:lnTo>
                      <a:pt x="337" y="110"/>
                    </a:lnTo>
                    <a:lnTo>
                      <a:pt x="339" y="110"/>
                    </a:lnTo>
                    <a:lnTo>
                      <a:pt x="340" y="110"/>
                    </a:lnTo>
                    <a:lnTo>
                      <a:pt x="342" y="110"/>
                    </a:lnTo>
                    <a:lnTo>
                      <a:pt x="344" y="112"/>
                    </a:lnTo>
                    <a:lnTo>
                      <a:pt x="344" y="110"/>
                    </a:lnTo>
                    <a:lnTo>
                      <a:pt x="346" y="110"/>
                    </a:lnTo>
                    <a:lnTo>
                      <a:pt x="347" y="110"/>
                    </a:lnTo>
                    <a:lnTo>
                      <a:pt x="347" y="109"/>
                    </a:lnTo>
                    <a:lnTo>
                      <a:pt x="349" y="110"/>
                    </a:lnTo>
                    <a:lnTo>
                      <a:pt x="349" y="109"/>
                    </a:lnTo>
                    <a:lnTo>
                      <a:pt x="351" y="109"/>
                    </a:lnTo>
                    <a:lnTo>
                      <a:pt x="351" y="107"/>
                    </a:lnTo>
                    <a:lnTo>
                      <a:pt x="352" y="107"/>
                    </a:lnTo>
                    <a:lnTo>
                      <a:pt x="352" y="105"/>
                    </a:lnTo>
                    <a:lnTo>
                      <a:pt x="354" y="105"/>
                    </a:lnTo>
                    <a:lnTo>
                      <a:pt x="354" y="107"/>
                    </a:lnTo>
                    <a:lnTo>
                      <a:pt x="356" y="107"/>
                    </a:lnTo>
                    <a:lnTo>
                      <a:pt x="356" y="105"/>
                    </a:lnTo>
                    <a:lnTo>
                      <a:pt x="356" y="107"/>
                    </a:lnTo>
                    <a:lnTo>
                      <a:pt x="357" y="105"/>
                    </a:lnTo>
                    <a:lnTo>
                      <a:pt x="359" y="103"/>
                    </a:lnTo>
                    <a:lnTo>
                      <a:pt x="357" y="103"/>
                    </a:lnTo>
                    <a:lnTo>
                      <a:pt x="359" y="103"/>
                    </a:lnTo>
                    <a:lnTo>
                      <a:pt x="359" y="102"/>
                    </a:lnTo>
                    <a:lnTo>
                      <a:pt x="359" y="100"/>
                    </a:lnTo>
                    <a:lnTo>
                      <a:pt x="359" y="98"/>
                    </a:lnTo>
                    <a:lnTo>
                      <a:pt x="359" y="97"/>
                    </a:lnTo>
                    <a:lnTo>
                      <a:pt x="359" y="95"/>
                    </a:lnTo>
                    <a:lnTo>
                      <a:pt x="357" y="95"/>
                    </a:lnTo>
                    <a:lnTo>
                      <a:pt x="356" y="95"/>
                    </a:lnTo>
                    <a:lnTo>
                      <a:pt x="354" y="97"/>
                    </a:lnTo>
                    <a:lnTo>
                      <a:pt x="352" y="97"/>
                    </a:lnTo>
                    <a:lnTo>
                      <a:pt x="351" y="97"/>
                    </a:lnTo>
                    <a:lnTo>
                      <a:pt x="349" y="97"/>
                    </a:lnTo>
                    <a:lnTo>
                      <a:pt x="347" y="97"/>
                    </a:lnTo>
                    <a:lnTo>
                      <a:pt x="346" y="97"/>
                    </a:lnTo>
                    <a:lnTo>
                      <a:pt x="344" y="97"/>
                    </a:lnTo>
                    <a:lnTo>
                      <a:pt x="342" y="95"/>
                    </a:lnTo>
                    <a:lnTo>
                      <a:pt x="340" y="95"/>
                    </a:lnTo>
                    <a:lnTo>
                      <a:pt x="339" y="95"/>
                    </a:lnTo>
                    <a:lnTo>
                      <a:pt x="337" y="93"/>
                    </a:lnTo>
                    <a:lnTo>
                      <a:pt x="337" y="95"/>
                    </a:lnTo>
                    <a:lnTo>
                      <a:pt x="337" y="93"/>
                    </a:lnTo>
                    <a:lnTo>
                      <a:pt x="335" y="93"/>
                    </a:lnTo>
                    <a:lnTo>
                      <a:pt x="335" y="92"/>
                    </a:lnTo>
                    <a:lnTo>
                      <a:pt x="337" y="92"/>
                    </a:lnTo>
                    <a:lnTo>
                      <a:pt x="337" y="90"/>
                    </a:lnTo>
                    <a:lnTo>
                      <a:pt x="337" y="88"/>
                    </a:lnTo>
                    <a:lnTo>
                      <a:pt x="339" y="88"/>
                    </a:lnTo>
                    <a:lnTo>
                      <a:pt x="339" y="86"/>
                    </a:lnTo>
                    <a:lnTo>
                      <a:pt x="337" y="86"/>
                    </a:lnTo>
                    <a:lnTo>
                      <a:pt x="339" y="86"/>
                    </a:lnTo>
                    <a:lnTo>
                      <a:pt x="337" y="85"/>
                    </a:lnTo>
                    <a:lnTo>
                      <a:pt x="339" y="85"/>
                    </a:lnTo>
                    <a:lnTo>
                      <a:pt x="337" y="85"/>
                    </a:lnTo>
                    <a:lnTo>
                      <a:pt x="337" y="83"/>
                    </a:lnTo>
                    <a:lnTo>
                      <a:pt x="335" y="81"/>
                    </a:lnTo>
                    <a:lnTo>
                      <a:pt x="335" y="80"/>
                    </a:lnTo>
                    <a:lnTo>
                      <a:pt x="335" y="78"/>
                    </a:lnTo>
                    <a:lnTo>
                      <a:pt x="334" y="78"/>
                    </a:lnTo>
                    <a:lnTo>
                      <a:pt x="334" y="76"/>
                    </a:lnTo>
                    <a:lnTo>
                      <a:pt x="332" y="76"/>
                    </a:lnTo>
                    <a:lnTo>
                      <a:pt x="332" y="75"/>
                    </a:lnTo>
                    <a:lnTo>
                      <a:pt x="330" y="73"/>
                    </a:lnTo>
                    <a:lnTo>
                      <a:pt x="330" y="71"/>
                    </a:lnTo>
                    <a:lnTo>
                      <a:pt x="330" y="69"/>
                    </a:lnTo>
                    <a:lnTo>
                      <a:pt x="330" y="68"/>
                    </a:lnTo>
                    <a:lnTo>
                      <a:pt x="330" y="66"/>
                    </a:lnTo>
                    <a:lnTo>
                      <a:pt x="330" y="64"/>
                    </a:lnTo>
                    <a:lnTo>
                      <a:pt x="330" y="63"/>
                    </a:lnTo>
                    <a:lnTo>
                      <a:pt x="329" y="63"/>
                    </a:lnTo>
                    <a:lnTo>
                      <a:pt x="330" y="61"/>
                    </a:lnTo>
                    <a:lnTo>
                      <a:pt x="332" y="59"/>
                    </a:lnTo>
                    <a:lnTo>
                      <a:pt x="332" y="58"/>
                    </a:lnTo>
                    <a:lnTo>
                      <a:pt x="330" y="56"/>
                    </a:lnTo>
                    <a:lnTo>
                      <a:pt x="329" y="54"/>
                    </a:lnTo>
                    <a:lnTo>
                      <a:pt x="329" y="52"/>
                    </a:lnTo>
                    <a:lnTo>
                      <a:pt x="327" y="52"/>
                    </a:lnTo>
                    <a:lnTo>
                      <a:pt x="327" y="51"/>
                    </a:lnTo>
                    <a:lnTo>
                      <a:pt x="325" y="51"/>
                    </a:lnTo>
                    <a:lnTo>
                      <a:pt x="323" y="51"/>
                    </a:lnTo>
                    <a:lnTo>
                      <a:pt x="322" y="51"/>
                    </a:lnTo>
                    <a:lnTo>
                      <a:pt x="322" y="49"/>
                    </a:lnTo>
                    <a:lnTo>
                      <a:pt x="320" y="49"/>
                    </a:lnTo>
                    <a:lnTo>
                      <a:pt x="320" y="47"/>
                    </a:lnTo>
                    <a:lnTo>
                      <a:pt x="318" y="47"/>
                    </a:lnTo>
                    <a:lnTo>
                      <a:pt x="318" y="46"/>
                    </a:lnTo>
                    <a:lnTo>
                      <a:pt x="317" y="44"/>
                    </a:lnTo>
                    <a:lnTo>
                      <a:pt x="315" y="42"/>
                    </a:lnTo>
                    <a:lnTo>
                      <a:pt x="315" y="41"/>
                    </a:lnTo>
                    <a:lnTo>
                      <a:pt x="313" y="41"/>
                    </a:lnTo>
                    <a:lnTo>
                      <a:pt x="313" y="39"/>
                    </a:lnTo>
                    <a:lnTo>
                      <a:pt x="312" y="39"/>
                    </a:lnTo>
                    <a:lnTo>
                      <a:pt x="312" y="37"/>
                    </a:lnTo>
                    <a:lnTo>
                      <a:pt x="310" y="37"/>
                    </a:lnTo>
                    <a:lnTo>
                      <a:pt x="310" y="35"/>
                    </a:lnTo>
                    <a:lnTo>
                      <a:pt x="310" y="34"/>
                    </a:lnTo>
                    <a:lnTo>
                      <a:pt x="312" y="34"/>
                    </a:lnTo>
                    <a:lnTo>
                      <a:pt x="313" y="34"/>
                    </a:lnTo>
                    <a:lnTo>
                      <a:pt x="315" y="34"/>
                    </a:lnTo>
                    <a:lnTo>
                      <a:pt x="315" y="35"/>
                    </a:lnTo>
                    <a:lnTo>
                      <a:pt x="317" y="37"/>
                    </a:lnTo>
                    <a:lnTo>
                      <a:pt x="317" y="39"/>
                    </a:lnTo>
                    <a:lnTo>
                      <a:pt x="318" y="39"/>
                    </a:lnTo>
                    <a:lnTo>
                      <a:pt x="320" y="39"/>
                    </a:lnTo>
                    <a:lnTo>
                      <a:pt x="322" y="39"/>
                    </a:lnTo>
                    <a:lnTo>
                      <a:pt x="323" y="39"/>
                    </a:lnTo>
                    <a:lnTo>
                      <a:pt x="323" y="37"/>
                    </a:lnTo>
                    <a:lnTo>
                      <a:pt x="323" y="39"/>
                    </a:lnTo>
                    <a:lnTo>
                      <a:pt x="325" y="37"/>
                    </a:lnTo>
                    <a:lnTo>
                      <a:pt x="325" y="39"/>
                    </a:lnTo>
                    <a:lnTo>
                      <a:pt x="327" y="39"/>
                    </a:lnTo>
                    <a:lnTo>
                      <a:pt x="329" y="37"/>
                    </a:lnTo>
                    <a:lnTo>
                      <a:pt x="329" y="39"/>
                    </a:lnTo>
                    <a:lnTo>
                      <a:pt x="330" y="39"/>
                    </a:lnTo>
                    <a:lnTo>
                      <a:pt x="332" y="39"/>
                    </a:lnTo>
                    <a:lnTo>
                      <a:pt x="334" y="39"/>
                    </a:lnTo>
                    <a:lnTo>
                      <a:pt x="334" y="41"/>
                    </a:lnTo>
                    <a:lnTo>
                      <a:pt x="335" y="41"/>
                    </a:lnTo>
                    <a:lnTo>
                      <a:pt x="334" y="42"/>
                    </a:lnTo>
                    <a:lnTo>
                      <a:pt x="335" y="42"/>
                    </a:lnTo>
                    <a:lnTo>
                      <a:pt x="335" y="44"/>
                    </a:lnTo>
                    <a:lnTo>
                      <a:pt x="337" y="46"/>
                    </a:lnTo>
                    <a:lnTo>
                      <a:pt x="339" y="46"/>
                    </a:lnTo>
                    <a:lnTo>
                      <a:pt x="339" y="47"/>
                    </a:lnTo>
                    <a:lnTo>
                      <a:pt x="339" y="46"/>
                    </a:lnTo>
                    <a:lnTo>
                      <a:pt x="340" y="46"/>
                    </a:lnTo>
                    <a:lnTo>
                      <a:pt x="342" y="46"/>
                    </a:lnTo>
                    <a:lnTo>
                      <a:pt x="342" y="44"/>
                    </a:lnTo>
                    <a:lnTo>
                      <a:pt x="344" y="44"/>
                    </a:lnTo>
                    <a:lnTo>
                      <a:pt x="344" y="46"/>
                    </a:lnTo>
                    <a:lnTo>
                      <a:pt x="346" y="46"/>
                    </a:lnTo>
                    <a:lnTo>
                      <a:pt x="346" y="44"/>
                    </a:lnTo>
                    <a:lnTo>
                      <a:pt x="347" y="46"/>
                    </a:lnTo>
                    <a:lnTo>
                      <a:pt x="349" y="46"/>
                    </a:lnTo>
                    <a:lnTo>
                      <a:pt x="347" y="44"/>
                    </a:lnTo>
                    <a:lnTo>
                      <a:pt x="349" y="42"/>
                    </a:lnTo>
                    <a:lnTo>
                      <a:pt x="349" y="44"/>
                    </a:lnTo>
                    <a:lnTo>
                      <a:pt x="351" y="44"/>
                    </a:lnTo>
                    <a:lnTo>
                      <a:pt x="351" y="46"/>
                    </a:lnTo>
                    <a:lnTo>
                      <a:pt x="352" y="46"/>
                    </a:lnTo>
                    <a:lnTo>
                      <a:pt x="351" y="46"/>
                    </a:lnTo>
                    <a:lnTo>
                      <a:pt x="352" y="47"/>
                    </a:lnTo>
                    <a:lnTo>
                      <a:pt x="352" y="46"/>
                    </a:lnTo>
                    <a:lnTo>
                      <a:pt x="352" y="47"/>
                    </a:lnTo>
                    <a:lnTo>
                      <a:pt x="354" y="47"/>
                    </a:lnTo>
                    <a:lnTo>
                      <a:pt x="356" y="47"/>
                    </a:lnTo>
                    <a:lnTo>
                      <a:pt x="357" y="47"/>
                    </a:lnTo>
                    <a:lnTo>
                      <a:pt x="357" y="46"/>
                    </a:lnTo>
                    <a:lnTo>
                      <a:pt x="357" y="44"/>
                    </a:lnTo>
                    <a:lnTo>
                      <a:pt x="356" y="44"/>
                    </a:lnTo>
                    <a:lnTo>
                      <a:pt x="357" y="44"/>
                    </a:lnTo>
                    <a:lnTo>
                      <a:pt x="359" y="44"/>
                    </a:lnTo>
                    <a:lnTo>
                      <a:pt x="361" y="44"/>
                    </a:lnTo>
                    <a:lnTo>
                      <a:pt x="363" y="44"/>
                    </a:lnTo>
                    <a:lnTo>
                      <a:pt x="364" y="44"/>
                    </a:lnTo>
                    <a:lnTo>
                      <a:pt x="364" y="46"/>
                    </a:lnTo>
                    <a:lnTo>
                      <a:pt x="364" y="47"/>
                    </a:lnTo>
                    <a:lnTo>
                      <a:pt x="364" y="49"/>
                    </a:lnTo>
                    <a:lnTo>
                      <a:pt x="366" y="49"/>
                    </a:lnTo>
                    <a:lnTo>
                      <a:pt x="368" y="49"/>
                    </a:lnTo>
                    <a:lnTo>
                      <a:pt x="368" y="51"/>
                    </a:lnTo>
                    <a:lnTo>
                      <a:pt x="369" y="51"/>
                    </a:lnTo>
                    <a:lnTo>
                      <a:pt x="369" y="52"/>
                    </a:lnTo>
                    <a:lnTo>
                      <a:pt x="369" y="54"/>
                    </a:lnTo>
                    <a:lnTo>
                      <a:pt x="371" y="54"/>
                    </a:lnTo>
                    <a:lnTo>
                      <a:pt x="371" y="56"/>
                    </a:lnTo>
                    <a:lnTo>
                      <a:pt x="373" y="56"/>
                    </a:lnTo>
                    <a:lnTo>
                      <a:pt x="374" y="56"/>
                    </a:lnTo>
                    <a:lnTo>
                      <a:pt x="374" y="54"/>
                    </a:lnTo>
                    <a:lnTo>
                      <a:pt x="376" y="52"/>
                    </a:lnTo>
                    <a:lnTo>
                      <a:pt x="378" y="51"/>
                    </a:lnTo>
                    <a:lnTo>
                      <a:pt x="378" y="52"/>
                    </a:lnTo>
                    <a:lnTo>
                      <a:pt x="380" y="52"/>
                    </a:lnTo>
                    <a:lnTo>
                      <a:pt x="380" y="54"/>
                    </a:lnTo>
                    <a:lnTo>
                      <a:pt x="380" y="52"/>
                    </a:lnTo>
                    <a:lnTo>
                      <a:pt x="381" y="52"/>
                    </a:lnTo>
                    <a:lnTo>
                      <a:pt x="380" y="51"/>
                    </a:lnTo>
                    <a:lnTo>
                      <a:pt x="381" y="51"/>
                    </a:lnTo>
                    <a:lnTo>
                      <a:pt x="380" y="49"/>
                    </a:lnTo>
                    <a:lnTo>
                      <a:pt x="381" y="49"/>
                    </a:lnTo>
                    <a:lnTo>
                      <a:pt x="380" y="49"/>
                    </a:lnTo>
                    <a:lnTo>
                      <a:pt x="380" y="47"/>
                    </a:lnTo>
                    <a:lnTo>
                      <a:pt x="378" y="46"/>
                    </a:lnTo>
                    <a:lnTo>
                      <a:pt x="380" y="46"/>
                    </a:lnTo>
                    <a:lnTo>
                      <a:pt x="380" y="44"/>
                    </a:lnTo>
                    <a:lnTo>
                      <a:pt x="380" y="42"/>
                    </a:lnTo>
                    <a:lnTo>
                      <a:pt x="380" y="41"/>
                    </a:lnTo>
                    <a:lnTo>
                      <a:pt x="381" y="42"/>
                    </a:lnTo>
                    <a:lnTo>
                      <a:pt x="383" y="41"/>
                    </a:lnTo>
                    <a:lnTo>
                      <a:pt x="383" y="42"/>
                    </a:lnTo>
                    <a:lnTo>
                      <a:pt x="383" y="41"/>
                    </a:lnTo>
                    <a:lnTo>
                      <a:pt x="385" y="41"/>
                    </a:lnTo>
                    <a:lnTo>
                      <a:pt x="385" y="42"/>
                    </a:lnTo>
                    <a:lnTo>
                      <a:pt x="386" y="42"/>
                    </a:lnTo>
                    <a:lnTo>
                      <a:pt x="386" y="41"/>
                    </a:lnTo>
                    <a:lnTo>
                      <a:pt x="386" y="39"/>
                    </a:lnTo>
                    <a:lnTo>
                      <a:pt x="388" y="39"/>
                    </a:lnTo>
                    <a:lnTo>
                      <a:pt x="388" y="37"/>
                    </a:lnTo>
                    <a:lnTo>
                      <a:pt x="390" y="39"/>
                    </a:lnTo>
                    <a:lnTo>
                      <a:pt x="390" y="37"/>
                    </a:lnTo>
                    <a:lnTo>
                      <a:pt x="391" y="37"/>
                    </a:lnTo>
                    <a:lnTo>
                      <a:pt x="393" y="37"/>
                    </a:lnTo>
                    <a:lnTo>
                      <a:pt x="395" y="39"/>
                    </a:lnTo>
                    <a:lnTo>
                      <a:pt x="395" y="37"/>
                    </a:lnTo>
                    <a:lnTo>
                      <a:pt x="395" y="39"/>
                    </a:lnTo>
                    <a:lnTo>
                      <a:pt x="395" y="37"/>
                    </a:lnTo>
                    <a:lnTo>
                      <a:pt x="397" y="39"/>
                    </a:lnTo>
                    <a:lnTo>
                      <a:pt x="398" y="39"/>
                    </a:lnTo>
                    <a:lnTo>
                      <a:pt x="400" y="39"/>
                    </a:lnTo>
                    <a:lnTo>
                      <a:pt x="400" y="41"/>
                    </a:lnTo>
                    <a:lnTo>
                      <a:pt x="402" y="39"/>
                    </a:lnTo>
                    <a:lnTo>
                      <a:pt x="403" y="39"/>
                    </a:lnTo>
                    <a:lnTo>
                      <a:pt x="402" y="37"/>
                    </a:lnTo>
                    <a:lnTo>
                      <a:pt x="403" y="37"/>
                    </a:lnTo>
                    <a:lnTo>
                      <a:pt x="405" y="37"/>
                    </a:lnTo>
                    <a:lnTo>
                      <a:pt x="407" y="37"/>
                    </a:lnTo>
                    <a:lnTo>
                      <a:pt x="407" y="39"/>
                    </a:lnTo>
                    <a:lnTo>
                      <a:pt x="408" y="39"/>
                    </a:lnTo>
                    <a:lnTo>
                      <a:pt x="408" y="37"/>
                    </a:lnTo>
                    <a:lnTo>
                      <a:pt x="410" y="37"/>
                    </a:lnTo>
                    <a:lnTo>
                      <a:pt x="412" y="37"/>
                    </a:lnTo>
                    <a:lnTo>
                      <a:pt x="412" y="35"/>
                    </a:lnTo>
                    <a:lnTo>
                      <a:pt x="414" y="35"/>
                    </a:lnTo>
                    <a:lnTo>
                      <a:pt x="414" y="34"/>
                    </a:lnTo>
                    <a:lnTo>
                      <a:pt x="415" y="34"/>
                    </a:lnTo>
                    <a:lnTo>
                      <a:pt x="417" y="34"/>
                    </a:lnTo>
                    <a:lnTo>
                      <a:pt x="417" y="35"/>
                    </a:lnTo>
                    <a:lnTo>
                      <a:pt x="417" y="34"/>
                    </a:lnTo>
                    <a:lnTo>
                      <a:pt x="419" y="34"/>
                    </a:lnTo>
                    <a:lnTo>
                      <a:pt x="420" y="34"/>
                    </a:lnTo>
                    <a:lnTo>
                      <a:pt x="422" y="34"/>
                    </a:lnTo>
                    <a:lnTo>
                      <a:pt x="422" y="32"/>
                    </a:lnTo>
                    <a:lnTo>
                      <a:pt x="422" y="30"/>
                    </a:lnTo>
                    <a:lnTo>
                      <a:pt x="422" y="29"/>
                    </a:lnTo>
                    <a:lnTo>
                      <a:pt x="424" y="29"/>
                    </a:lnTo>
                    <a:lnTo>
                      <a:pt x="425" y="29"/>
                    </a:lnTo>
                    <a:lnTo>
                      <a:pt x="427" y="29"/>
                    </a:lnTo>
                    <a:lnTo>
                      <a:pt x="429" y="29"/>
                    </a:lnTo>
                    <a:lnTo>
                      <a:pt x="429" y="27"/>
                    </a:lnTo>
                    <a:lnTo>
                      <a:pt x="429" y="25"/>
                    </a:lnTo>
                    <a:lnTo>
                      <a:pt x="427" y="25"/>
                    </a:lnTo>
                    <a:lnTo>
                      <a:pt x="429" y="25"/>
                    </a:lnTo>
                    <a:lnTo>
                      <a:pt x="431" y="25"/>
                    </a:lnTo>
                    <a:lnTo>
                      <a:pt x="432" y="25"/>
                    </a:lnTo>
                    <a:lnTo>
                      <a:pt x="434" y="25"/>
                    </a:lnTo>
                    <a:lnTo>
                      <a:pt x="434" y="27"/>
                    </a:lnTo>
                    <a:lnTo>
                      <a:pt x="434" y="25"/>
                    </a:lnTo>
                    <a:lnTo>
                      <a:pt x="436" y="25"/>
                    </a:lnTo>
                    <a:lnTo>
                      <a:pt x="437" y="25"/>
                    </a:lnTo>
                    <a:lnTo>
                      <a:pt x="439" y="25"/>
                    </a:lnTo>
                    <a:lnTo>
                      <a:pt x="439" y="24"/>
                    </a:lnTo>
                    <a:lnTo>
                      <a:pt x="441" y="24"/>
                    </a:lnTo>
                    <a:lnTo>
                      <a:pt x="441" y="22"/>
                    </a:lnTo>
                    <a:lnTo>
                      <a:pt x="441" y="20"/>
                    </a:lnTo>
                    <a:lnTo>
                      <a:pt x="442" y="20"/>
                    </a:lnTo>
                    <a:lnTo>
                      <a:pt x="442" y="18"/>
                    </a:lnTo>
                    <a:lnTo>
                      <a:pt x="444" y="18"/>
                    </a:lnTo>
                    <a:lnTo>
                      <a:pt x="446" y="18"/>
                    </a:lnTo>
                    <a:lnTo>
                      <a:pt x="446" y="17"/>
                    </a:lnTo>
                    <a:lnTo>
                      <a:pt x="448" y="17"/>
                    </a:lnTo>
                    <a:lnTo>
                      <a:pt x="448" y="15"/>
                    </a:lnTo>
                    <a:lnTo>
                      <a:pt x="449" y="15"/>
                    </a:lnTo>
                    <a:lnTo>
                      <a:pt x="449" y="13"/>
                    </a:lnTo>
                    <a:lnTo>
                      <a:pt x="451" y="13"/>
                    </a:lnTo>
                    <a:lnTo>
                      <a:pt x="451" y="12"/>
                    </a:lnTo>
                    <a:lnTo>
                      <a:pt x="453" y="12"/>
                    </a:lnTo>
                    <a:lnTo>
                      <a:pt x="453" y="10"/>
                    </a:lnTo>
                    <a:lnTo>
                      <a:pt x="453" y="8"/>
                    </a:lnTo>
                    <a:lnTo>
                      <a:pt x="451" y="8"/>
                    </a:lnTo>
                    <a:lnTo>
                      <a:pt x="451" y="6"/>
                    </a:lnTo>
                    <a:lnTo>
                      <a:pt x="451" y="5"/>
                    </a:lnTo>
                    <a:lnTo>
                      <a:pt x="451" y="3"/>
                    </a:lnTo>
                    <a:lnTo>
                      <a:pt x="449" y="3"/>
                    </a:lnTo>
                    <a:lnTo>
                      <a:pt x="449" y="1"/>
                    </a:lnTo>
                    <a:lnTo>
                      <a:pt x="448" y="1"/>
                    </a:lnTo>
                    <a:lnTo>
                      <a:pt x="449" y="1"/>
                    </a:lnTo>
                    <a:lnTo>
                      <a:pt x="451" y="1"/>
                    </a:lnTo>
                    <a:lnTo>
                      <a:pt x="453" y="1"/>
                    </a:lnTo>
                    <a:lnTo>
                      <a:pt x="454" y="1"/>
                    </a:lnTo>
                    <a:lnTo>
                      <a:pt x="456" y="1"/>
                    </a:lnTo>
                    <a:lnTo>
                      <a:pt x="458" y="1"/>
                    </a:lnTo>
                    <a:lnTo>
                      <a:pt x="458" y="3"/>
                    </a:lnTo>
                    <a:lnTo>
                      <a:pt x="458" y="1"/>
                    </a:lnTo>
                    <a:lnTo>
                      <a:pt x="459" y="1"/>
                    </a:lnTo>
                    <a:lnTo>
                      <a:pt x="461" y="1"/>
                    </a:lnTo>
                    <a:lnTo>
                      <a:pt x="463" y="1"/>
                    </a:lnTo>
                    <a:lnTo>
                      <a:pt x="465" y="0"/>
                    </a:lnTo>
                    <a:lnTo>
                      <a:pt x="466" y="0"/>
                    </a:lnTo>
                    <a:lnTo>
                      <a:pt x="466" y="1"/>
                    </a:lnTo>
                    <a:lnTo>
                      <a:pt x="468" y="1"/>
                    </a:lnTo>
                    <a:lnTo>
                      <a:pt x="468" y="0"/>
                    </a:lnTo>
                    <a:lnTo>
                      <a:pt x="468" y="1"/>
                    </a:lnTo>
                    <a:lnTo>
                      <a:pt x="470" y="1"/>
                    </a:lnTo>
                    <a:lnTo>
                      <a:pt x="470" y="3"/>
                    </a:lnTo>
                    <a:lnTo>
                      <a:pt x="470" y="5"/>
                    </a:lnTo>
                    <a:lnTo>
                      <a:pt x="471" y="5"/>
                    </a:lnTo>
                    <a:lnTo>
                      <a:pt x="471" y="6"/>
                    </a:lnTo>
                    <a:lnTo>
                      <a:pt x="473" y="6"/>
                    </a:lnTo>
                    <a:lnTo>
                      <a:pt x="473" y="8"/>
                    </a:lnTo>
                    <a:lnTo>
                      <a:pt x="473" y="10"/>
                    </a:lnTo>
                    <a:lnTo>
                      <a:pt x="473" y="12"/>
                    </a:lnTo>
                    <a:lnTo>
                      <a:pt x="473" y="13"/>
                    </a:lnTo>
                    <a:lnTo>
                      <a:pt x="471" y="15"/>
                    </a:lnTo>
                    <a:lnTo>
                      <a:pt x="471" y="17"/>
                    </a:lnTo>
                    <a:lnTo>
                      <a:pt x="471" y="18"/>
                    </a:lnTo>
                    <a:lnTo>
                      <a:pt x="471" y="20"/>
                    </a:lnTo>
                    <a:lnTo>
                      <a:pt x="470" y="20"/>
                    </a:lnTo>
                    <a:lnTo>
                      <a:pt x="470" y="22"/>
                    </a:lnTo>
                    <a:lnTo>
                      <a:pt x="468" y="22"/>
                    </a:lnTo>
                    <a:lnTo>
                      <a:pt x="468" y="24"/>
                    </a:lnTo>
                    <a:lnTo>
                      <a:pt x="468" y="25"/>
                    </a:lnTo>
                    <a:lnTo>
                      <a:pt x="470" y="25"/>
                    </a:lnTo>
                    <a:lnTo>
                      <a:pt x="471" y="25"/>
                    </a:lnTo>
                    <a:lnTo>
                      <a:pt x="470" y="25"/>
                    </a:lnTo>
                    <a:lnTo>
                      <a:pt x="471" y="25"/>
                    </a:lnTo>
                    <a:lnTo>
                      <a:pt x="471" y="27"/>
                    </a:lnTo>
                    <a:lnTo>
                      <a:pt x="473" y="25"/>
                    </a:lnTo>
                    <a:lnTo>
                      <a:pt x="473" y="27"/>
                    </a:lnTo>
                    <a:lnTo>
                      <a:pt x="473" y="25"/>
                    </a:lnTo>
                    <a:lnTo>
                      <a:pt x="475" y="25"/>
                    </a:lnTo>
                    <a:lnTo>
                      <a:pt x="475" y="27"/>
                    </a:lnTo>
                    <a:lnTo>
                      <a:pt x="476" y="27"/>
                    </a:lnTo>
                    <a:lnTo>
                      <a:pt x="478" y="27"/>
                    </a:lnTo>
                    <a:lnTo>
                      <a:pt x="476" y="27"/>
                    </a:lnTo>
                    <a:lnTo>
                      <a:pt x="478" y="27"/>
                    </a:lnTo>
                    <a:lnTo>
                      <a:pt x="480" y="27"/>
                    </a:lnTo>
                    <a:lnTo>
                      <a:pt x="482" y="29"/>
                    </a:lnTo>
                    <a:lnTo>
                      <a:pt x="482" y="30"/>
                    </a:lnTo>
                    <a:lnTo>
                      <a:pt x="483" y="30"/>
                    </a:lnTo>
                    <a:lnTo>
                      <a:pt x="483" y="32"/>
                    </a:lnTo>
                    <a:lnTo>
                      <a:pt x="482" y="32"/>
                    </a:lnTo>
                    <a:lnTo>
                      <a:pt x="482" y="34"/>
                    </a:lnTo>
                    <a:lnTo>
                      <a:pt x="483" y="34"/>
                    </a:lnTo>
                    <a:lnTo>
                      <a:pt x="482" y="34"/>
                    </a:lnTo>
                    <a:lnTo>
                      <a:pt x="482" y="35"/>
                    </a:lnTo>
                    <a:lnTo>
                      <a:pt x="482" y="37"/>
                    </a:lnTo>
                    <a:lnTo>
                      <a:pt x="483" y="37"/>
                    </a:lnTo>
                    <a:lnTo>
                      <a:pt x="485" y="37"/>
                    </a:lnTo>
                    <a:lnTo>
                      <a:pt x="485" y="39"/>
                    </a:lnTo>
                    <a:lnTo>
                      <a:pt x="485" y="41"/>
                    </a:lnTo>
                    <a:lnTo>
                      <a:pt x="487" y="42"/>
                    </a:lnTo>
                    <a:lnTo>
                      <a:pt x="487" y="44"/>
                    </a:lnTo>
                    <a:lnTo>
                      <a:pt x="488" y="44"/>
                    </a:lnTo>
                    <a:lnTo>
                      <a:pt x="488" y="46"/>
                    </a:lnTo>
                    <a:lnTo>
                      <a:pt x="487" y="46"/>
                    </a:lnTo>
                    <a:lnTo>
                      <a:pt x="487" y="47"/>
                    </a:lnTo>
                    <a:lnTo>
                      <a:pt x="487" y="49"/>
                    </a:lnTo>
                    <a:lnTo>
                      <a:pt x="485" y="49"/>
                    </a:lnTo>
                    <a:lnTo>
                      <a:pt x="485" y="51"/>
                    </a:lnTo>
                    <a:lnTo>
                      <a:pt x="485" y="49"/>
                    </a:lnTo>
                    <a:lnTo>
                      <a:pt x="485" y="51"/>
                    </a:lnTo>
                    <a:lnTo>
                      <a:pt x="483" y="51"/>
                    </a:lnTo>
                    <a:lnTo>
                      <a:pt x="483" y="52"/>
                    </a:lnTo>
                    <a:lnTo>
                      <a:pt x="482" y="54"/>
                    </a:lnTo>
                    <a:lnTo>
                      <a:pt x="480" y="56"/>
                    </a:lnTo>
                    <a:lnTo>
                      <a:pt x="478" y="56"/>
                    </a:lnTo>
                    <a:lnTo>
                      <a:pt x="478" y="58"/>
                    </a:lnTo>
                    <a:lnTo>
                      <a:pt x="476" y="58"/>
                    </a:lnTo>
                    <a:lnTo>
                      <a:pt x="478" y="58"/>
                    </a:lnTo>
                    <a:lnTo>
                      <a:pt x="476" y="58"/>
                    </a:lnTo>
                    <a:lnTo>
                      <a:pt x="478" y="58"/>
                    </a:lnTo>
                    <a:lnTo>
                      <a:pt x="478" y="59"/>
                    </a:lnTo>
                    <a:lnTo>
                      <a:pt x="480" y="59"/>
                    </a:lnTo>
                    <a:lnTo>
                      <a:pt x="478" y="61"/>
                    </a:lnTo>
                    <a:lnTo>
                      <a:pt x="480" y="61"/>
                    </a:lnTo>
                    <a:lnTo>
                      <a:pt x="478" y="61"/>
                    </a:lnTo>
                    <a:lnTo>
                      <a:pt x="478" y="63"/>
                    </a:lnTo>
                    <a:lnTo>
                      <a:pt x="480" y="63"/>
                    </a:lnTo>
                    <a:lnTo>
                      <a:pt x="478" y="63"/>
                    </a:lnTo>
                    <a:lnTo>
                      <a:pt x="480" y="63"/>
                    </a:lnTo>
                    <a:lnTo>
                      <a:pt x="480" y="64"/>
                    </a:lnTo>
                    <a:lnTo>
                      <a:pt x="478" y="64"/>
                    </a:lnTo>
                    <a:lnTo>
                      <a:pt x="478" y="66"/>
                    </a:lnTo>
                    <a:lnTo>
                      <a:pt x="478" y="68"/>
                    </a:lnTo>
                    <a:lnTo>
                      <a:pt x="476" y="68"/>
                    </a:lnTo>
                    <a:lnTo>
                      <a:pt x="476" y="69"/>
                    </a:lnTo>
                    <a:lnTo>
                      <a:pt x="476" y="71"/>
                    </a:lnTo>
                    <a:lnTo>
                      <a:pt x="475" y="71"/>
                    </a:lnTo>
                    <a:lnTo>
                      <a:pt x="476" y="71"/>
                    </a:lnTo>
                    <a:lnTo>
                      <a:pt x="475" y="73"/>
                    </a:lnTo>
                    <a:lnTo>
                      <a:pt x="476" y="73"/>
                    </a:lnTo>
                    <a:lnTo>
                      <a:pt x="475" y="73"/>
                    </a:lnTo>
                    <a:lnTo>
                      <a:pt x="475" y="75"/>
                    </a:lnTo>
                    <a:lnTo>
                      <a:pt x="475" y="76"/>
                    </a:lnTo>
                    <a:lnTo>
                      <a:pt x="475" y="78"/>
                    </a:lnTo>
                    <a:lnTo>
                      <a:pt x="473" y="78"/>
                    </a:lnTo>
                    <a:lnTo>
                      <a:pt x="473" y="80"/>
                    </a:lnTo>
                    <a:lnTo>
                      <a:pt x="473" y="81"/>
                    </a:lnTo>
                    <a:lnTo>
                      <a:pt x="473" y="83"/>
                    </a:lnTo>
                    <a:lnTo>
                      <a:pt x="473" y="85"/>
                    </a:lnTo>
                    <a:lnTo>
                      <a:pt x="473" y="86"/>
                    </a:lnTo>
                    <a:lnTo>
                      <a:pt x="473" y="88"/>
                    </a:lnTo>
                    <a:lnTo>
                      <a:pt x="475" y="90"/>
                    </a:lnTo>
                    <a:lnTo>
                      <a:pt x="473" y="90"/>
                    </a:lnTo>
                    <a:lnTo>
                      <a:pt x="475" y="90"/>
                    </a:lnTo>
                    <a:lnTo>
                      <a:pt x="475" y="92"/>
                    </a:lnTo>
                    <a:lnTo>
                      <a:pt x="475" y="93"/>
                    </a:lnTo>
                    <a:lnTo>
                      <a:pt x="476" y="93"/>
                    </a:lnTo>
                    <a:lnTo>
                      <a:pt x="476" y="95"/>
                    </a:lnTo>
                    <a:lnTo>
                      <a:pt x="476" y="97"/>
                    </a:lnTo>
                    <a:lnTo>
                      <a:pt x="476" y="98"/>
                    </a:lnTo>
                    <a:lnTo>
                      <a:pt x="478" y="98"/>
                    </a:lnTo>
                    <a:lnTo>
                      <a:pt x="478" y="100"/>
                    </a:lnTo>
                    <a:lnTo>
                      <a:pt x="478" y="98"/>
                    </a:lnTo>
                    <a:lnTo>
                      <a:pt x="478" y="100"/>
                    </a:lnTo>
                    <a:lnTo>
                      <a:pt x="480" y="100"/>
                    </a:lnTo>
                    <a:lnTo>
                      <a:pt x="482" y="100"/>
                    </a:lnTo>
                    <a:lnTo>
                      <a:pt x="482" y="102"/>
                    </a:lnTo>
                    <a:lnTo>
                      <a:pt x="482" y="103"/>
                    </a:lnTo>
                    <a:lnTo>
                      <a:pt x="482" y="105"/>
                    </a:lnTo>
                    <a:lnTo>
                      <a:pt x="482" y="107"/>
                    </a:lnTo>
                    <a:lnTo>
                      <a:pt x="482" y="109"/>
                    </a:lnTo>
                    <a:lnTo>
                      <a:pt x="482" y="110"/>
                    </a:lnTo>
                    <a:lnTo>
                      <a:pt x="482" y="112"/>
                    </a:lnTo>
                    <a:lnTo>
                      <a:pt x="482" y="114"/>
                    </a:lnTo>
                    <a:lnTo>
                      <a:pt x="482" y="115"/>
                    </a:lnTo>
                    <a:lnTo>
                      <a:pt x="483" y="115"/>
                    </a:lnTo>
                    <a:lnTo>
                      <a:pt x="485" y="115"/>
                    </a:lnTo>
                    <a:lnTo>
                      <a:pt x="485" y="117"/>
                    </a:lnTo>
                    <a:lnTo>
                      <a:pt x="483" y="117"/>
                    </a:lnTo>
                    <a:lnTo>
                      <a:pt x="483" y="119"/>
                    </a:lnTo>
                    <a:lnTo>
                      <a:pt x="485" y="119"/>
                    </a:lnTo>
                    <a:lnTo>
                      <a:pt x="485" y="120"/>
                    </a:lnTo>
                    <a:lnTo>
                      <a:pt x="487" y="120"/>
                    </a:lnTo>
                    <a:lnTo>
                      <a:pt x="487" y="119"/>
                    </a:lnTo>
                    <a:lnTo>
                      <a:pt x="488" y="119"/>
                    </a:lnTo>
                    <a:lnTo>
                      <a:pt x="488" y="120"/>
                    </a:lnTo>
                    <a:lnTo>
                      <a:pt x="490" y="122"/>
                    </a:lnTo>
                    <a:lnTo>
                      <a:pt x="490" y="120"/>
                    </a:lnTo>
                    <a:lnTo>
                      <a:pt x="490" y="122"/>
                    </a:lnTo>
                    <a:lnTo>
                      <a:pt x="490" y="124"/>
                    </a:lnTo>
                    <a:lnTo>
                      <a:pt x="492" y="124"/>
                    </a:lnTo>
                    <a:lnTo>
                      <a:pt x="492" y="126"/>
                    </a:lnTo>
                    <a:lnTo>
                      <a:pt x="493" y="126"/>
                    </a:lnTo>
                    <a:lnTo>
                      <a:pt x="493" y="127"/>
                    </a:lnTo>
                    <a:lnTo>
                      <a:pt x="495" y="127"/>
                    </a:lnTo>
                    <a:lnTo>
                      <a:pt x="495" y="129"/>
                    </a:lnTo>
                    <a:lnTo>
                      <a:pt x="497" y="129"/>
                    </a:lnTo>
                    <a:lnTo>
                      <a:pt x="497" y="131"/>
                    </a:lnTo>
                    <a:lnTo>
                      <a:pt x="499" y="131"/>
                    </a:lnTo>
                    <a:lnTo>
                      <a:pt x="500" y="131"/>
                    </a:lnTo>
                    <a:lnTo>
                      <a:pt x="500" y="132"/>
                    </a:lnTo>
                    <a:lnTo>
                      <a:pt x="502" y="132"/>
                    </a:lnTo>
                    <a:lnTo>
                      <a:pt x="504" y="132"/>
                    </a:lnTo>
                    <a:lnTo>
                      <a:pt x="505" y="132"/>
                    </a:lnTo>
                    <a:lnTo>
                      <a:pt x="507" y="132"/>
                    </a:lnTo>
                    <a:lnTo>
                      <a:pt x="507" y="134"/>
                    </a:lnTo>
                    <a:lnTo>
                      <a:pt x="509" y="134"/>
                    </a:lnTo>
                    <a:lnTo>
                      <a:pt x="510" y="134"/>
                    </a:lnTo>
                    <a:lnTo>
                      <a:pt x="510" y="136"/>
                    </a:lnTo>
                    <a:lnTo>
                      <a:pt x="509" y="136"/>
                    </a:lnTo>
                    <a:lnTo>
                      <a:pt x="510" y="136"/>
                    </a:lnTo>
                    <a:lnTo>
                      <a:pt x="510" y="137"/>
                    </a:lnTo>
                    <a:lnTo>
                      <a:pt x="512" y="137"/>
                    </a:lnTo>
                    <a:lnTo>
                      <a:pt x="514" y="137"/>
                    </a:lnTo>
                    <a:lnTo>
                      <a:pt x="516" y="137"/>
                    </a:lnTo>
                    <a:lnTo>
                      <a:pt x="516" y="136"/>
                    </a:lnTo>
                    <a:lnTo>
                      <a:pt x="516" y="134"/>
                    </a:lnTo>
                    <a:lnTo>
                      <a:pt x="517" y="134"/>
                    </a:lnTo>
                    <a:lnTo>
                      <a:pt x="519" y="134"/>
                    </a:lnTo>
                    <a:lnTo>
                      <a:pt x="521" y="134"/>
                    </a:lnTo>
                    <a:lnTo>
                      <a:pt x="521" y="136"/>
                    </a:lnTo>
                    <a:lnTo>
                      <a:pt x="521" y="134"/>
                    </a:lnTo>
                    <a:lnTo>
                      <a:pt x="522" y="134"/>
                    </a:lnTo>
                    <a:lnTo>
                      <a:pt x="522" y="136"/>
                    </a:lnTo>
                    <a:lnTo>
                      <a:pt x="522" y="134"/>
                    </a:lnTo>
                    <a:lnTo>
                      <a:pt x="524" y="136"/>
                    </a:lnTo>
                    <a:lnTo>
                      <a:pt x="524" y="134"/>
                    </a:lnTo>
                    <a:lnTo>
                      <a:pt x="524" y="132"/>
                    </a:lnTo>
                    <a:lnTo>
                      <a:pt x="524" y="131"/>
                    </a:lnTo>
                    <a:lnTo>
                      <a:pt x="522" y="131"/>
                    </a:lnTo>
                    <a:lnTo>
                      <a:pt x="524" y="129"/>
                    </a:lnTo>
                    <a:lnTo>
                      <a:pt x="522" y="129"/>
                    </a:lnTo>
                    <a:lnTo>
                      <a:pt x="524" y="129"/>
                    </a:lnTo>
                    <a:lnTo>
                      <a:pt x="526" y="129"/>
                    </a:lnTo>
                    <a:lnTo>
                      <a:pt x="526" y="127"/>
                    </a:lnTo>
                    <a:lnTo>
                      <a:pt x="527" y="129"/>
                    </a:lnTo>
                    <a:lnTo>
                      <a:pt x="527" y="127"/>
                    </a:lnTo>
                    <a:lnTo>
                      <a:pt x="527" y="126"/>
                    </a:lnTo>
                    <a:lnTo>
                      <a:pt x="529" y="126"/>
                    </a:lnTo>
                    <a:lnTo>
                      <a:pt x="529" y="124"/>
                    </a:lnTo>
                    <a:lnTo>
                      <a:pt x="529" y="126"/>
                    </a:lnTo>
                    <a:lnTo>
                      <a:pt x="531" y="126"/>
                    </a:lnTo>
                    <a:lnTo>
                      <a:pt x="531" y="124"/>
                    </a:lnTo>
                    <a:lnTo>
                      <a:pt x="531" y="126"/>
                    </a:lnTo>
                    <a:lnTo>
                      <a:pt x="533" y="126"/>
                    </a:lnTo>
                    <a:lnTo>
                      <a:pt x="534" y="126"/>
                    </a:lnTo>
                    <a:lnTo>
                      <a:pt x="536" y="127"/>
                    </a:lnTo>
                    <a:lnTo>
                      <a:pt x="534" y="127"/>
                    </a:lnTo>
                    <a:lnTo>
                      <a:pt x="536" y="127"/>
                    </a:lnTo>
                    <a:lnTo>
                      <a:pt x="538" y="127"/>
                    </a:lnTo>
                    <a:lnTo>
                      <a:pt x="538" y="126"/>
                    </a:lnTo>
                    <a:lnTo>
                      <a:pt x="539" y="127"/>
                    </a:lnTo>
                    <a:lnTo>
                      <a:pt x="539" y="126"/>
                    </a:lnTo>
                    <a:lnTo>
                      <a:pt x="541" y="126"/>
                    </a:lnTo>
                    <a:lnTo>
                      <a:pt x="541" y="124"/>
                    </a:lnTo>
                    <a:lnTo>
                      <a:pt x="541" y="122"/>
                    </a:lnTo>
                    <a:lnTo>
                      <a:pt x="539" y="122"/>
                    </a:lnTo>
                    <a:lnTo>
                      <a:pt x="541" y="122"/>
                    </a:lnTo>
                    <a:lnTo>
                      <a:pt x="543" y="122"/>
                    </a:lnTo>
                    <a:lnTo>
                      <a:pt x="544" y="122"/>
                    </a:lnTo>
                    <a:lnTo>
                      <a:pt x="544" y="120"/>
                    </a:lnTo>
                    <a:lnTo>
                      <a:pt x="544" y="122"/>
                    </a:lnTo>
                    <a:lnTo>
                      <a:pt x="546" y="120"/>
                    </a:lnTo>
                    <a:lnTo>
                      <a:pt x="548" y="120"/>
                    </a:lnTo>
                    <a:lnTo>
                      <a:pt x="548" y="119"/>
                    </a:lnTo>
                    <a:lnTo>
                      <a:pt x="548" y="120"/>
                    </a:lnTo>
                    <a:lnTo>
                      <a:pt x="550" y="119"/>
                    </a:lnTo>
                    <a:lnTo>
                      <a:pt x="550" y="120"/>
                    </a:lnTo>
                    <a:lnTo>
                      <a:pt x="550" y="119"/>
                    </a:lnTo>
                    <a:lnTo>
                      <a:pt x="550" y="120"/>
                    </a:lnTo>
                    <a:lnTo>
                      <a:pt x="551" y="120"/>
                    </a:lnTo>
                    <a:lnTo>
                      <a:pt x="553" y="120"/>
                    </a:lnTo>
                    <a:lnTo>
                      <a:pt x="555" y="120"/>
                    </a:lnTo>
                    <a:lnTo>
                      <a:pt x="556" y="120"/>
                    </a:lnTo>
                    <a:lnTo>
                      <a:pt x="556" y="119"/>
                    </a:lnTo>
                    <a:lnTo>
                      <a:pt x="556" y="117"/>
                    </a:lnTo>
                    <a:lnTo>
                      <a:pt x="558" y="117"/>
                    </a:lnTo>
                    <a:lnTo>
                      <a:pt x="560" y="115"/>
                    </a:lnTo>
                    <a:lnTo>
                      <a:pt x="558" y="115"/>
                    </a:lnTo>
                    <a:lnTo>
                      <a:pt x="560" y="115"/>
                    </a:lnTo>
                    <a:lnTo>
                      <a:pt x="560" y="114"/>
                    </a:lnTo>
                    <a:lnTo>
                      <a:pt x="561" y="112"/>
                    </a:lnTo>
                    <a:lnTo>
                      <a:pt x="561" y="114"/>
                    </a:lnTo>
                    <a:lnTo>
                      <a:pt x="561" y="112"/>
                    </a:lnTo>
                    <a:lnTo>
                      <a:pt x="561" y="110"/>
                    </a:lnTo>
                    <a:lnTo>
                      <a:pt x="563" y="110"/>
                    </a:lnTo>
                    <a:lnTo>
                      <a:pt x="565" y="110"/>
                    </a:lnTo>
                    <a:lnTo>
                      <a:pt x="565" y="112"/>
                    </a:lnTo>
                    <a:lnTo>
                      <a:pt x="567" y="112"/>
                    </a:lnTo>
                    <a:lnTo>
                      <a:pt x="567" y="110"/>
                    </a:lnTo>
                    <a:lnTo>
                      <a:pt x="568" y="110"/>
                    </a:lnTo>
                    <a:lnTo>
                      <a:pt x="570" y="110"/>
                    </a:lnTo>
                    <a:lnTo>
                      <a:pt x="570" y="109"/>
                    </a:lnTo>
                    <a:lnTo>
                      <a:pt x="570" y="110"/>
                    </a:lnTo>
                    <a:lnTo>
                      <a:pt x="572" y="110"/>
                    </a:lnTo>
                    <a:lnTo>
                      <a:pt x="572" y="112"/>
                    </a:lnTo>
                    <a:lnTo>
                      <a:pt x="573" y="112"/>
                    </a:lnTo>
                    <a:lnTo>
                      <a:pt x="573" y="114"/>
                    </a:lnTo>
                    <a:lnTo>
                      <a:pt x="575" y="114"/>
                    </a:lnTo>
                    <a:lnTo>
                      <a:pt x="577" y="112"/>
                    </a:lnTo>
                    <a:lnTo>
                      <a:pt x="577" y="114"/>
                    </a:lnTo>
                    <a:lnTo>
                      <a:pt x="578" y="114"/>
                    </a:lnTo>
                    <a:lnTo>
                      <a:pt x="580" y="114"/>
                    </a:lnTo>
                    <a:lnTo>
                      <a:pt x="580" y="115"/>
                    </a:lnTo>
                    <a:lnTo>
                      <a:pt x="582" y="115"/>
                    </a:lnTo>
                    <a:lnTo>
                      <a:pt x="582" y="114"/>
                    </a:lnTo>
                    <a:lnTo>
                      <a:pt x="584" y="112"/>
                    </a:lnTo>
                    <a:lnTo>
                      <a:pt x="584" y="114"/>
                    </a:lnTo>
                    <a:lnTo>
                      <a:pt x="585" y="114"/>
                    </a:lnTo>
                    <a:lnTo>
                      <a:pt x="585" y="112"/>
                    </a:lnTo>
                    <a:lnTo>
                      <a:pt x="587" y="112"/>
                    </a:lnTo>
                    <a:lnTo>
                      <a:pt x="589" y="114"/>
                    </a:lnTo>
                    <a:lnTo>
                      <a:pt x="590" y="112"/>
                    </a:lnTo>
                    <a:lnTo>
                      <a:pt x="592" y="112"/>
                    </a:lnTo>
                    <a:lnTo>
                      <a:pt x="594" y="112"/>
                    </a:lnTo>
                    <a:lnTo>
                      <a:pt x="594" y="114"/>
                    </a:lnTo>
                    <a:lnTo>
                      <a:pt x="594" y="112"/>
                    </a:lnTo>
                    <a:lnTo>
                      <a:pt x="595" y="112"/>
                    </a:lnTo>
                    <a:lnTo>
                      <a:pt x="597" y="112"/>
                    </a:lnTo>
                    <a:lnTo>
                      <a:pt x="597" y="114"/>
                    </a:lnTo>
                    <a:lnTo>
                      <a:pt x="599" y="114"/>
                    </a:lnTo>
                    <a:lnTo>
                      <a:pt x="601" y="114"/>
                    </a:lnTo>
                    <a:lnTo>
                      <a:pt x="602" y="114"/>
                    </a:lnTo>
                    <a:lnTo>
                      <a:pt x="604" y="115"/>
                    </a:lnTo>
                    <a:lnTo>
                      <a:pt x="606" y="115"/>
                    </a:lnTo>
                    <a:lnTo>
                      <a:pt x="607" y="115"/>
                    </a:lnTo>
                    <a:lnTo>
                      <a:pt x="609" y="115"/>
                    </a:lnTo>
                    <a:lnTo>
                      <a:pt x="611" y="114"/>
                    </a:lnTo>
                    <a:lnTo>
                      <a:pt x="611" y="112"/>
                    </a:lnTo>
                    <a:lnTo>
                      <a:pt x="609" y="110"/>
                    </a:lnTo>
                    <a:lnTo>
                      <a:pt x="611" y="110"/>
                    </a:lnTo>
                    <a:lnTo>
                      <a:pt x="611" y="109"/>
                    </a:lnTo>
                    <a:lnTo>
                      <a:pt x="611" y="107"/>
                    </a:lnTo>
                    <a:lnTo>
                      <a:pt x="609" y="107"/>
                    </a:lnTo>
                    <a:lnTo>
                      <a:pt x="609" y="105"/>
                    </a:lnTo>
                    <a:lnTo>
                      <a:pt x="607" y="105"/>
                    </a:lnTo>
                    <a:lnTo>
                      <a:pt x="606" y="105"/>
                    </a:lnTo>
                    <a:lnTo>
                      <a:pt x="606" y="103"/>
                    </a:lnTo>
                    <a:lnTo>
                      <a:pt x="606" y="102"/>
                    </a:lnTo>
                    <a:lnTo>
                      <a:pt x="604" y="102"/>
                    </a:lnTo>
                    <a:lnTo>
                      <a:pt x="602" y="102"/>
                    </a:lnTo>
                    <a:lnTo>
                      <a:pt x="604" y="100"/>
                    </a:lnTo>
                    <a:lnTo>
                      <a:pt x="604" y="98"/>
                    </a:lnTo>
                    <a:lnTo>
                      <a:pt x="606" y="98"/>
                    </a:lnTo>
                    <a:lnTo>
                      <a:pt x="607" y="98"/>
                    </a:lnTo>
                    <a:lnTo>
                      <a:pt x="606" y="98"/>
                    </a:lnTo>
                    <a:lnTo>
                      <a:pt x="607" y="97"/>
                    </a:lnTo>
                    <a:lnTo>
                      <a:pt x="607" y="95"/>
                    </a:lnTo>
                    <a:lnTo>
                      <a:pt x="607" y="93"/>
                    </a:lnTo>
                    <a:lnTo>
                      <a:pt x="609" y="93"/>
                    </a:lnTo>
                    <a:lnTo>
                      <a:pt x="607" y="93"/>
                    </a:lnTo>
                    <a:lnTo>
                      <a:pt x="609" y="93"/>
                    </a:lnTo>
                    <a:lnTo>
                      <a:pt x="609" y="92"/>
                    </a:lnTo>
                    <a:lnTo>
                      <a:pt x="611" y="92"/>
                    </a:lnTo>
                    <a:lnTo>
                      <a:pt x="611" y="93"/>
                    </a:lnTo>
                    <a:lnTo>
                      <a:pt x="612" y="93"/>
                    </a:lnTo>
                    <a:lnTo>
                      <a:pt x="612" y="95"/>
                    </a:lnTo>
                    <a:lnTo>
                      <a:pt x="614" y="95"/>
                    </a:lnTo>
                    <a:lnTo>
                      <a:pt x="616" y="95"/>
                    </a:lnTo>
                    <a:lnTo>
                      <a:pt x="616" y="97"/>
                    </a:lnTo>
                    <a:lnTo>
                      <a:pt x="618" y="97"/>
                    </a:lnTo>
                    <a:lnTo>
                      <a:pt x="619" y="97"/>
                    </a:lnTo>
                    <a:lnTo>
                      <a:pt x="621" y="97"/>
                    </a:lnTo>
                    <a:lnTo>
                      <a:pt x="621" y="95"/>
                    </a:lnTo>
                    <a:lnTo>
                      <a:pt x="623" y="95"/>
                    </a:lnTo>
                    <a:lnTo>
                      <a:pt x="623" y="97"/>
                    </a:lnTo>
                    <a:lnTo>
                      <a:pt x="623" y="95"/>
                    </a:lnTo>
                    <a:lnTo>
                      <a:pt x="624" y="95"/>
                    </a:lnTo>
                    <a:lnTo>
                      <a:pt x="626" y="95"/>
                    </a:lnTo>
                    <a:lnTo>
                      <a:pt x="628" y="95"/>
                    </a:lnTo>
                    <a:lnTo>
                      <a:pt x="628" y="97"/>
                    </a:lnTo>
                    <a:lnTo>
                      <a:pt x="629" y="97"/>
                    </a:lnTo>
                    <a:lnTo>
                      <a:pt x="629" y="95"/>
                    </a:lnTo>
                    <a:lnTo>
                      <a:pt x="629" y="93"/>
                    </a:lnTo>
                    <a:lnTo>
                      <a:pt x="631" y="93"/>
                    </a:lnTo>
                    <a:lnTo>
                      <a:pt x="633" y="93"/>
                    </a:lnTo>
                    <a:lnTo>
                      <a:pt x="635" y="93"/>
                    </a:lnTo>
                    <a:lnTo>
                      <a:pt x="635" y="92"/>
                    </a:lnTo>
                    <a:lnTo>
                      <a:pt x="636" y="92"/>
                    </a:lnTo>
                    <a:lnTo>
                      <a:pt x="638" y="92"/>
                    </a:lnTo>
                    <a:lnTo>
                      <a:pt x="638" y="93"/>
                    </a:lnTo>
                    <a:lnTo>
                      <a:pt x="638" y="92"/>
                    </a:lnTo>
                    <a:lnTo>
                      <a:pt x="640" y="92"/>
                    </a:lnTo>
                    <a:lnTo>
                      <a:pt x="641" y="92"/>
                    </a:lnTo>
                    <a:lnTo>
                      <a:pt x="641" y="90"/>
                    </a:lnTo>
                    <a:lnTo>
                      <a:pt x="643" y="90"/>
                    </a:lnTo>
                    <a:lnTo>
                      <a:pt x="643" y="92"/>
                    </a:lnTo>
                    <a:lnTo>
                      <a:pt x="643" y="93"/>
                    </a:lnTo>
                    <a:lnTo>
                      <a:pt x="645" y="93"/>
                    </a:lnTo>
                    <a:lnTo>
                      <a:pt x="645" y="95"/>
                    </a:lnTo>
                    <a:lnTo>
                      <a:pt x="646" y="95"/>
                    </a:lnTo>
                    <a:lnTo>
                      <a:pt x="648" y="95"/>
                    </a:lnTo>
                    <a:lnTo>
                      <a:pt x="650" y="95"/>
                    </a:lnTo>
                    <a:lnTo>
                      <a:pt x="652" y="95"/>
                    </a:lnTo>
                    <a:lnTo>
                      <a:pt x="652" y="97"/>
                    </a:lnTo>
                    <a:lnTo>
                      <a:pt x="652" y="98"/>
                    </a:lnTo>
                    <a:lnTo>
                      <a:pt x="653" y="98"/>
                    </a:lnTo>
                    <a:lnTo>
                      <a:pt x="655" y="98"/>
                    </a:lnTo>
                    <a:lnTo>
                      <a:pt x="655" y="100"/>
                    </a:lnTo>
                    <a:lnTo>
                      <a:pt x="657" y="100"/>
                    </a:lnTo>
                    <a:lnTo>
                      <a:pt x="657" y="102"/>
                    </a:lnTo>
                    <a:lnTo>
                      <a:pt x="658" y="102"/>
                    </a:lnTo>
                    <a:lnTo>
                      <a:pt x="660" y="103"/>
                    </a:lnTo>
                    <a:lnTo>
                      <a:pt x="662" y="103"/>
                    </a:lnTo>
                    <a:lnTo>
                      <a:pt x="663" y="103"/>
                    </a:lnTo>
                    <a:lnTo>
                      <a:pt x="663" y="105"/>
                    </a:lnTo>
                    <a:lnTo>
                      <a:pt x="665" y="105"/>
                    </a:lnTo>
                    <a:lnTo>
                      <a:pt x="667" y="105"/>
                    </a:lnTo>
                    <a:lnTo>
                      <a:pt x="669" y="105"/>
                    </a:lnTo>
                    <a:lnTo>
                      <a:pt x="670" y="105"/>
                    </a:lnTo>
                    <a:lnTo>
                      <a:pt x="670" y="107"/>
                    </a:lnTo>
                    <a:lnTo>
                      <a:pt x="672" y="107"/>
                    </a:lnTo>
                    <a:lnTo>
                      <a:pt x="672" y="105"/>
                    </a:lnTo>
                    <a:lnTo>
                      <a:pt x="672" y="103"/>
                    </a:lnTo>
                    <a:lnTo>
                      <a:pt x="674" y="103"/>
                    </a:lnTo>
                    <a:lnTo>
                      <a:pt x="675" y="103"/>
                    </a:lnTo>
                    <a:lnTo>
                      <a:pt x="677" y="103"/>
                    </a:lnTo>
                    <a:lnTo>
                      <a:pt x="677" y="102"/>
                    </a:lnTo>
                    <a:lnTo>
                      <a:pt x="677" y="100"/>
                    </a:lnTo>
                    <a:lnTo>
                      <a:pt x="677" y="102"/>
                    </a:lnTo>
                    <a:lnTo>
                      <a:pt x="679" y="102"/>
                    </a:lnTo>
                    <a:lnTo>
                      <a:pt x="679" y="100"/>
                    </a:lnTo>
                    <a:lnTo>
                      <a:pt x="680" y="100"/>
                    </a:lnTo>
                    <a:lnTo>
                      <a:pt x="682" y="100"/>
                    </a:lnTo>
                    <a:lnTo>
                      <a:pt x="680" y="100"/>
                    </a:lnTo>
                    <a:lnTo>
                      <a:pt x="680" y="98"/>
                    </a:lnTo>
                    <a:lnTo>
                      <a:pt x="682" y="98"/>
                    </a:lnTo>
                    <a:lnTo>
                      <a:pt x="684" y="98"/>
                    </a:lnTo>
                    <a:lnTo>
                      <a:pt x="684" y="100"/>
                    </a:lnTo>
                    <a:lnTo>
                      <a:pt x="686" y="100"/>
                    </a:lnTo>
                    <a:lnTo>
                      <a:pt x="687" y="100"/>
                    </a:lnTo>
                    <a:lnTo>
                      <a:pt x="689" y="100"/>
                    </a:lnTo>
                    <a:lnTo>
                      <a:pt x="689" y="102"/>
                    </a:lnTo>
                    <a:lnTo>
                      <a:pt x="691" y="102"/>
                    </a:lnTo>
                    <a:lnTo>
                      <a:pt x="692" y="102"/>
                    </a:lnTo>
                    <a:lnTo>
                      <a:pt x="694" y="100"/>
                    </a:lnTo>
                    <a:lnTo>
                      <a:pt x="696" y="100"/>
                    </a:lnTo>
                    <a:lnTo>
                      <a:pt x="697" y="100"/>
                    </a:lnTo>
                    <a:lnTo>
                      <a:pt x="699" y="100"/>
                    </a:lnTo>
                    <a:lnTo>
                      <a:pt x="701" y="100"/>
                    </a:lnTo>
                    <a:lnTo>
                      <a:pt x="701" y="102"/>
                    </a:lnTo>
                    <a:lnTo>
                      <a:pt x="701" y="103"/>
                    </a:lnTo>
                    <a:lnTo>
                      <a:pt x="703" y="103"/>
                    </a:lnTo>
                    <a:lnTo>
                      <a:pt x="704" y="103"/>
                    </a:lnTo>
                    <a:lnTo>
                      <a:pt x="706" y="102"/>
                    </a:lnTo>
                    <a:lnTo>
                      <a:pt x="706" y="103"/>
                    </a:lnTo>
                    <a:lnTo>
                      <a:pt x="708" y="103"/>
                    </a:lnTo>
                    <a:lnTo>
                      <a:pt x="709" y="103"/>
                    </a:lnTo>
                    <a:lnTo>
                      <a:pt x="709" y="105"/>
                    </a:lnTo>
                    <a:lnTo>
                      <a:pt x="711" y="105"/>
                    </a:lnTo>
                    <a:lnTo>
                      <a:pt x="711" y="103"/>
                    </a:lnTo>
                    <a:lnTo>
                      <a:pt x="713" y="103"/>
                    </a:lnTo>
                    <a:lnTo>
                      <a:pt x="713" y="102"/>
                    </a:lnTo>
                    <a:lnTo>
                      <a:pt x="714" y="102"/>
                    </a:lnTo>
                    <a:lnTo>
                      <a:pt x="714" y="100"/>
                    </a:lnTo>
                    <a:lnTo>
                      <a:pt x="716" y="100"/>
                    </a:lnTo>
                    <a:lnTo>
                      <a:pt x="718" y="98"/>
                    </a:lnTo>
                    <a:lnTo>
                      <a:pt x="720" y="98"/>
                    </a:lnTo>
                    <a:lnTo>
                      <a:pt x="721" y="98"/>
                    </a:lnTo>
                    <a:lnTo>
                      <a:pt x="721" y="97"/>
                    </a:lnTo>
                    <a:lnTo>
                      <a:pt x="721" y="95"/>
                    </a:lnTo>
                    <a:lnTo>
                      <a:pt x="723" y="95"/>
                    </a:lnTo>
                    <a:lnTo>
                      <a:pt x="721" y="95"/>
                    </a:lnTo>
                    <a:lnTo>
                      <a:pt x="723" y="95"/>
                    </a:lnTo>
                    <a:lnTo>
                      <a:pt x="723" y="93"/>
                    </a:lnTo>
                    <a:lnTo>
                      <a:pt x="725" y="93"/>
                    </a:lnTo>
                    <a:lnTo>
                      <a:pt x="725" y="92"/>
                    </a:lnTo>
                    <a:lnTo>
                      <a:pt x="725" y="90"/>
                    </a:lnTo>
                    <a:lnTo>
                      <a:pt x="725" y="88"/>
                    </a:lnTo>
                    <a:lnTo>
                      <a:pt x="725" y="86"/>
                    </a:lnTo>
                    <a:lnTo>
                      <a:pt x="726" y="86"/>
                    </a:lnTo>
                    <a:lnTo>
                      <a:pt x="726" y="85"/>
                    </a:lnTo>
                    <a:lnTo>
                      <a:pt x="726" y="83"/>
                    </a:lnTo>
                    <a:lnTo>
                      <a:pt x="728" y="83"/>
                    </a:lnTo>
                    <a:lnTo>
                      <a:pt x="728" y="81"/>
                    </a:lnTo>
                    <a:lnTo>
                      <a:pt x="728" y="80"/>
                    </a:lnTo>
                    <a:lnTo>
                      <a:pt x="730" y="80"/>
                    </a:lnTo>
                    <a:lnTo>
                      <a:pt x="730" y="78"/>
                    </a:lnTo>
                    <a:lnTo>
                      <a:pt x="730" y="76"/>
                    </a:lnTo>
                    <a:lnTo>
                      <a:pt x="731" y="76"/>
                    </a:lnTo>
                    <a:lnTo>
                      <a:pt x="731" y="75"/>
                    </a:lnTo>
                    <a:lnTo>
                      <a:pt x="731" y="73"/>
                    </a:lnTo>
                    <a:lnTo>
                      <a:pt x="731" y="71"/>
                    </a:lnTo>
                    <a:lnTo>
                      <a:pt x="733" y="71"/>
                    </a:lnTo>
                    <a:lnTo>
                      <a:pt x="733" y="69"/>
                    </a:lnTo>
                    <a:lnTo>
                      <a:pt x="733" y="68"/>
                    </a:lnTo>
                    <a:lnTo>
                      <a:pt x="735" y="68"/>
                    </a:lnTo>
                    <a:lnTo>
                      <a:pt x="737" y="68"/>
                    </a:lnTo>
                    <a:lnTo>
                      <a:pt x="737" y="66"/>
                    </a:lnTo>
                    <a:lnTo>
                      <a:pt x="737" y="64"/>
                    </a:lnTo>
                    <a:lnTo>
                      <a:pt x="738" y="64"/>
                    </a:lnTo>
                    <a:lnTo>
                      <a:pt x="738" y="63"/>
                    </a:lnTo>
                    <a:lnTo>
                      <a:pt x="738" y="61"/>
                    </a:lnTo>
                    <a:lnTo>
                      <a:pt x="740" y="61"/>
                    </a:lnTo>
                    <a:lnTo>
                      <a:pt x="740" y="59"/>
                    </a:lnTo>
                    <a:lnTo>
                      <a:pt x="742" y="59"/>
                    </a:lnTo>
                    <a:lnTo>
                      <a:pt x="742" y="58"/>
                    </a:lnTo>
                    <a:lnTo>
                      <a:pt x="742" y="56"/>
                    </a:lnTo>
                    <a:lnTo>
                      <a:pt x="743" y="56"/>
                    </a:lnTo>
                    <a:lnTo>
                      <a:pt x="743" y="54"/>
                    </a:lnTo>
                    <a:lnTo>
                      <a:pt x="743" y="52"/>
                    </a:lnTo>
                    <a:lnTo>
                      <a:pt x="745" y="52"/>
                    </a:lnTo>
                    <a:lnTo>
                      <a:pt x="745" y="51"/>
                    </a:lnTo>
                    <a:lnTo>
                      <a:pt x="747" y="49"/>
                    </a:lnTo>
                    <a:lnTo>
                      <a:pt x="748" y="47"/>
                    </a:lnTo>
                    <a:lnTo>
                      <a:pt x="750" y="47"/>
                    </a:lnTo>
                    <a:lnTo>
                      <a:pt x="750" y="46"/>
                    </a:lnTo>
                    <a:lnTo>
                      <a:pt x="750" y="44"/>
                    </a:lnTo>
                    <a:lnTo>
                      <a:pt x="752" y="42"/>
                    </a:lnTo>
                    <a:lnTo>
                      <a:pt x="754" y="42"/>
                    </a:lnTo>
                    <a:lnTo>
                      <a:pt x="754" y="41"/>
                    </a:lnTo>
                    <a:lnTo>
                      <a:pt x="755" y="41"/>
                    </a:lnTo>
                    <a:lnTo>
                      <a:pt x="755" y="39"/>
                    </a:lnTo>
                    <a:lnTo>
                      <a:pt x="755" y="37"/>
                    </a:lnTo>
                    <a:lnTo>
                      <a:pt x="757" y="37"/>
                    </a:lnTo>
                    <a:lnTo>
                      <a:pt x="755" y="35"/>
                    </a:lnTo>
                    <a:lnTo>
                      <a:pt x="757" y="35"/>
                    </a:lnTo>
                    <a:lnTo>
                      <a:pt x="757" y="34"/>
                    </a:lnTo>
                    <a:lnTo>
                      <a:pt x="757" y="35"/>
                    </a:lnTo>
                    <a:lnTo>
                      <a:pt x="759" y="37"/>
                    </a:lnTo>
                    <a:lnTo>
                      <a:pt x="759" y="39"/>
                    </a:lnTo>
                    <a:lnTo>
                      <a:pt x="759" y="41"/>
                    </a:lnTo>
                    <a:lnTo>
                      <a:pt x="760" y="41"/>
                    </a:lnTo>
                    <a:lnTo>
                      <a:pt x="760" y="42"/>
                    </a:lnTo>
                    <a:lnTo>
                      <a:pt x="760" y="44"/>
                    </a:lnTo>
                    <a:lnTo>
                      <a:pt x="762" y="44"/>
                    </a:lnTo>
                    <a:lnTo>
                      <a:pt x="760" y="44"/>
                    </a:lnTo>
                    <a:lnTo>
                      <a:pt x="760" y="42"/>
                    </a:lnTo>
                    <a:lnTo>
                      <a:pt x="760" y="41"/>
                    </a:lnTo>
                    <a:lnTo>
                      <a:pt x="760" y="39"/>
                    </a:lnTo>
                    <a:lnTo>
                      <a:pt x="759" y="39"/>
                    </a:lnTo>
                    <a:lnTo>
                      <a:pt x="759" y="37"/>
                    </a:lnTo>
                    <a:lnTo>
                      <a:pt x="759" y="35"/>
                    </a:lnTo>
                    <a:lnTo>
                      <a:pt x="759" y="34"/>
                    </a:lnTo>
                    <a:lnTo>
                      <a:pt x="757" y="34"/>
                    </a:lnTo>
                    <a:lnTo>
                      <a:pt x="757" y="32"/>
                    </a:lnTo>
                    <a:lnTo>
                      <a:pt x="757" y="30"/>
                    </a:lnTo>
                    <a:lnTo>
                      <a:pt x="757" y="29"/>
                    </a:lnTo>
                    <a:lnTo>
                      <a:pt x="759" y="29"/>
                    </a:lnTo>
                    <a:lnTo>
                      <a:pt x="759" y="27"/>
                    </a:lnTo>
                    <a:lnTo>
                      <a:pt x="760" y="29"/>
                    </a:lnTo>
                    <a:lnTo>
                      <a:pt x="762" y="29"/>
                    </a:lnTo>
                    <a:lnTo>
                      <a:pt x="762" y="30"/>
                    </a:lnTo>
                    <a:lnTo>
                      <a:pt x="764" y="30"/>
                    </a:lnTo>
                    <a:lnTo>
                      <a:pt x="764" y="32"/>
                    </a:lnTo>
                    <a:lnTo>
                      <a:pt x="765" y="32"/>
                    </a:lnTo>
                    <a:lnTo>
                      <a:pt x="765" y="34"/>
                    </a:lnTo>
                    <a:lnTo>
                      <a:pt x="767" y="34"/>
                    </a:lnTo>
                    <a:lnTo>
                      <a:pt x="767" y="35"/>
                    </a:lnTo>
                    <a:lnTo>
                      <a:pt x="769" y="37"/>
                    </a:lnTo>
                    <a:lnTo>
                      <a:pt x="769" y="39"/>
                    </a:lnTo>
                    <a:lnTo>
                      <a:pt x="771" y="39"/>
                    </a:lnTo>
                    <a:lnTo>
                      <a:pt x="771" y="41"/>
                    </a:lnTo>
                    <a:lnTo>
                      <a:pt x="771" y="42"/>
                    </a:lnTo>
                    <a:lnTo>
                      <a:pt x="771" y="44"/>
                    </a:lnTo>
                    <a:lnTo>
                      <a:pt x="771" y="46"/>
                    </a:lnTo>
                    <a:lnTo>
                      <a:pt x="771" y="47"/>
                    </a:lnTo>
                    <a:lnTo>
                      <a:pt x="771" y="49"/>
                    </a:lnTo>
                    <a:lnTo>
                      <a:pt x="771" y="51"/>
                    </a:lnTo>
                    <a:lnTo>
                      <a:pt x="771" y="52"/>
                    </a:lnTo>
                    <a:lnTo>
                      <a:pt x="769" y="54"/>
                    </a:lnTo>
                    <a:lnTo>
                      <a:pt x="771" y="52"/>
                    </a:lnTo>
                    <a:lnTo>
                      <a:pt x="771" y="51"/>
                    </a:lnTo>
                    <a:lnTo>
                      <a:pt x="771" y="49"/>
                    </a:lnTo>
                    <a:lnTo>
                      <a:pt x="771" y="47"/>
                    </a:lnTo>
                    <a:lnTo>
                      <a:pt x="772" y="47"/>
                    </a:lnTo>
                    <a:lnTo>
                      <a:pt x="772" y="46"/>
                    </a:lnTo>
                    <a:lnTo>
                      <a:pt x="774" y="46"/>
                    </a:lnTo>
                    <a:lnTo>
                      <a:pt x="774" y="47"/>
                    </a:lnTo>
                    <a:lnTo>
                      <a:pt x="774" y="49"/>
                    </a:lnTo>
                    <a:lnTo>
                      <a:pt x="774" y="51"/>
                    </a:lnTo>
                    <a:lnTo>
                      <a:pt x="774" y="52"/>
                    </a:lnTo>
                    <a:lnTo>
                      <a:pt x="774" y="54"/>
                    </a:lnTo>
                    <a:lnTo>
                      <a:pt x="774" y="56"/>
                    </a:lnTo>
                    <a:lnTo>
                      <a:pt x="774" y="58"/>
                    </a:lnTo>
                    <a:lnTo>
                      <a:pt x="774" y="59"/>
                    </a:lnTo>
                    <a:lnTo>
                      <a:pt x="774" y="61"/>
                    </a:lnTo>
                    <a:lnTo>
                      <a:pt x="772" y="61"/>
                    </a:lnTo>
                    <a:lnTo>
                      <a:pt x="774" y="63"/>
                    </a:lnTo>
                    <a:lnTo>
                      <a:pt x="774" y="64"/>
                    </a:lnTo>
                    <a:lnTo>
                      <a:pt x="774" y="66"/>
                    </a:lnTo>
                    <a:lnTo>
                      <a:pt x="774" y="68"/>
                    </a:lnTo>
                    <a:lnTo>
                      <a:pt x="776" y="68"/>
                    </a:lnTo>
                    <a:lnTo>
                      <a:pt x="776" y="69"/>
                    </a:lnTo>
                    <a:lnTo>
                      <a:pt x="776" y="71"/>
                    </a:lnTo>
                    <a:lnTo>
                      <a:pt x="776" y="73"/>
                    </a:lnTo>
                    <a:lnTo>
                      <a:pt x="776" y="75"/>
                    </a:lnTo>
                    <a:lnTo>
                      <a:pt x="776" y="76"/>
                    </a:lnTo>
                    <a:lnTo>
                      <a:pt x="777" y="76"/>
                    </a:lnTo>
                    <a:lnTo>
                      <a:pt x="777" y="78"/>
                    </a:lnTo>
                    <a:lnTo>
                      <a:pt x="777" y="80"/>
                    </a:lnTo>
                    <a:lnTo>
                      <a:pt x="779" y="81"/>
                    </a:lnTo>
                    <a:lnTo>
                      <a:pt x="777" y="81"/>
                    </a:lnTo>
                    <a:lnTo>
                      <a:pt x="779" y="83"/>
                    </a:lnTo>
                    <a:lnTo>
                      <a:pt x="779" y="85"/>
                    </a:lnTo>
                    <a:lnTo>
                      <a:pt x="781" y="85"/>
                    </a:lnTo>
                    <a:lnTo>
                      <a:pt x="781" y="86"/>
                    </a:lnTo>
                    <a:lnTo>
                      <a:pt x="781" y="88"/>
                    </a:lnTo>
                    <a:lnTo>
                      <a:pt x="782" y="88"/>
                    </a:lnTo>
                    <a:lnTo>
                      <a:pt x="782" y="90"/>
                    </a:lnTo>
                    <a:lnTo>
                      <a:pt x="782" y="92"/>
                    </a:lnTo>
                    <a:lnTo>
                      <a:pt x="782" y="93"/>
                    </a:lnTo>
                    <a:lnTo>
                      <a:pt x="781" y="93"/>
                    </a:lnTo>
                    <a:lnTo>
                      <a:pt x="782" y="93"/>
                    </a:lnTo>
                    <a:lnTo>
                      <a:pt x="784" y="93"/>
                    </a:lnTo>
                    <a:lnTo>
                      <a:pt x="784" y="95"/>
                    </a:lnTo>
                    <a:lnTo>
                      <a:pt x="784" y="97"/>
                    </a:lnTo>
                    <a:lnTo>
                      <a:pt x="784" y="98"/>
                    </a:lnTo>
                    <a:lnTo>
                      <a:pt x="786" y="98"/>
                    </a:lnTo>
                    <a:lnTo>
                      <a:pt x="786" y="100"/>
                    </a:lnTo>
                    <a:lnTo>
                      <a:pt x="786" y="102"/>
                    </a:lnTo>
                    <a:lnTo>
                      <a:pt x="786" y="103"/>
                    </a:lnTo>
                    <a:lnTo>
                      <a:pt x="788" y="103"/>
                    </a:lnTo>
                    <a:lnTo>
                      <a:pt x="788" y="105"/>
                    </a:lnTo>
                    <a:lnTo>
                      <a:pt x="786" y="105"/>
                    </a:lnTo>
                    <a:lnTo>
                      <a:pt x="786" y="107"/>
                    </a:lnTo>
                    <a:lnTo>
                      <a:pt x="784" y="107"/>
                    </a:lnTo>
                    <a:lnTo>
                      <a:pt x="786" y="107"/>
                    </a:lnTo>
                    <a:lnTo>
                      <a:pt x="788" y="105"/>
                    </a:lnTo>
                    <a:lnTo>
                      <a:pt x="788" y="107"/>
                    </a:lnTo>
                    <a:lnTo>
                      <a:pt x="789" y="107"/>
                    </a:lnTo>
                    <a:lnTo>
                      <a:pt x="791" y="109"/>
                    </a:lnTo>
                    <a:lnTo>
                      <a:pt x="789" y="109"/>
                    </a:lnTo>
                    <a:lnTo>
                      <a:pt x="789" y="110"/>
                    </a:lnTo>
                    <a:lnTo>
                      <a:pt x="791" y="110"/>
                    </a:lnTo>
                    <a:lnTo>
                      <a:pt x="791" y="112"/>
                    </a:lnTo>
                    <a:lnTo>
                      <a:pt x="793" y="112"/>
                    </a:lnTo>
                    <a:lnTo>
                      <a:pt x="793" y="114"/>
                    </a:lnTo>
                    <a:lnTo>
                      <a:pt x="794" y="115"/>
                    </a:lnTo>
                    <a:lnTo>
                      <a:pt x="794" y="117"/>
                    </a:lnTo>
                    <a:lnTo>
                      <a:pt x="796" y="117"/>
                    </a:lnTo>
                    <a:lnTo>
                      <a:pt x="798" y="117"/>
                    </a:lnTo>
                    <a:lnTo>
                      <a:pt x="799" y="117"/>
                    </a:lnTo>
                    <a:lnTo>
                      <a:pt x="801" y="117"/>
                    </a:lnTo>
                    <a:lnTo>
                      <a:pt x="803" y="117"/>
                    </a:lnTo>
                    <a:lnTo>
                      <a:pt x="805" y="117"/>
                    </a:lnTo>
                    <a:lnTo>
                      <a:pt x="806" y="117"/>
                    </a:lnTo>
                    <a:lnTo>
                      <a:pt x="808" y="117"/>
                    </a:lnTo>
                    <a:lnTo>
                      <a:pt x="810" y="119"/>
                    </a:lnTo>
                    <a:lnTo>
                      <a:pt x="811" y="119"/>
                    </a:lnTo>
                    <a:lnTo>
                      <a:pt x="813" y="120"/>
                    </a:lnTo>
                    <a:lnTo>
                      <a:pt x="813" y="122"/>
                    </a:lnTo>
                    <a:lnTo>
                      <a:pt x="813" y="124"/>
                    </a:lnTo>
                    <a:lnTo>
                      <a:pt x="813" y="126"/>
                    </a:lnTo>
                    <a:lnTo>
                      <a:pt x="813" y="127"/>
                    </a:lnTo>
                    <a:lnTo>
                      <a:pt x="815" y="127"/>
                    </a:lnTo>
                    <a:lnTo>
                      <a:pt x="815" y="129"/>
                    </a:lnTo>
                    <a:lnTo>
                      <a:pt x="815" y="131"/>
                    </a:lnTo>
                    <a:lnTo>
                      <a:pt x="815" y="132"/>
                    </a:lnTo>
                    <a:lnTo>
                      <a:pt x="813" y="134"/>
                    </a:lnTo>
                    <a:lnTo>
                      <a:pt x="813" y="136"/>
                    </a:lnTo>
                    <a:lnTo>
                      <a:pt x="811" y="136"/>
                    </a:lnTo>
                    <a:lnTo>
                      <a:pt x="810" y="136"/>
                    </a:lnTo>
                    <a:lnTo>
                      <a:pt x="808" y="136"/>
                    </a:lnTo>
                    <a:lnTo>
                      <a:pt x="806" y="136"/>
                    </a:lnTo>
                    <a:lnTo>
                      <a:pt x="806" y="137"/>
                    </a:lnTo>
                    <a:lnTo>
                      <a:pt x="806" y="136"/>
                    </a:lnTo>
                    <a:lnTo>
                      <a:pt x="806" y="134"/>
                    </a:lnTo>
                    <a:lnTo>
                      <a:pt x="806" y="132"/>
                    </a:lnTo>
                    <a:lnTo>
                      <a:pt x="805" y="132"/>
                    </a:lnTo>
                    <a:lnTo>
                      <a:pt x="803" y="132"/>
                    </a:lnTo>
                    <a:lnTo>
                      <a:pt x="801" y="132"/>
                    </a:lnTo>
                    <a:lnTo>
                      <a:pt x="801" y="134"/>
                    </a:lnTo>
                    <a:lnTo>
                      <a:pt x="803" y="132"/>
                    </a:lnTo>
                    <a:lnTo>
                      <a:pt x="805" y="132"/>
                    </a:lnTo>
                    <a:lnTo>
                      <a:pt x="806" y="132"/>
                    </a:lnTo>
                    <a:lnTo>
                      <a:pt x="806" y="134"/>
                    </a:lnTo>
                    <a:lnTo>
                      <a:pt x="805" y="136"/>
                    </a:lnTo>
                    <a:lnTo>
                      <a:pt x="805" y="137"/>
                    </a:lnTo>
                    <a:lnTo>
                      <a:pt x="806" y="137"/>
                    </a:lnTo>
                    <a:lnTo>
                      <a:pt x="808" y="137"/>
                    </a:lnTo>
                    <a:lnTo>
                      <a:pt x="810" y="137"/>
                    </a:lnTo>
                    <a:lnTo>
                      <a:pt x="811" y="137"/>
                    </a:lnTo>
                    <a:lnTo>
                      <a:pt x="811" y="136"/>
                    </a:lnTo>
                    <a:lnTo>
                      <a:pt x="813" y="136"/>
                    </a:lnTo>
                    <a:lnTo>
                      <a:pt x="813" y="137"/>
                    </a:lnTo>
                    <a:lnTo>
                      <a:pt x="815" y="137"/>
                    </a:lnTo>
                    <a:lnTo>
                      <a:pt x="815" y="139"/>
                    </a:lnTo>
                    <a:lnTo>
                      <a:pt x="813" y="139"/>
                    </a:lnTo>
                    <a:lnTo>
                      <a:pt x="813" y="141"/>
                    </a:lnTo>
                    <a:lnTo>
                      <a:pt x="811" y="141"/>
                    </a:lnTo>
                    <a:lnTo>
                      <a:pt x="810" y="143"/>
                    </a:lnTo>
                    <a:lnTo>
                      <a:pt x="808" y="143"/>
                    </a:lnTo>
                    <a:lnTo>
                      <a:pt x="808" y="144"/>
                    </a:lnTo>
                    <a:lnTo>
                      <a:pt x="806" y="144"/>
                    </a:lnTo>
                    <a:lnTo>
                      <a:pt x="806" y="146"/>
                    </a:lnTo>
                    <a:lnTo>
                      <a:pt x="805" y="146"/>
                    </a:lnTo>
                    <a:lnTo>
                      <a:pt x="805" y="148"/>
                    </a:lnTo>
                    <a:lnTo>
                      <a:pt x="803" y="148"/>
                    </a:lnTo>
                    <a:lnTo>
                      <a:pt x="801" y="148"/>
                    </a:lnTo>
                    <a:lnTo>
                      <a:pt x="801" y="149"/>
                    </a:lnTo>
                    <a:lnTo>
                      <a:pt x="799" y="149"/>
                    </a:lnTo>
                    <a:lnTo>
                      <a:pt x="799" y="151"/>
                    </a:lnTo>
                    <a:lnTo>
                      <a:pt x="799" y="153"/>
                    </a:lnTo>
                    <a:lnTo>
                      <a:pt x="798" y="153"/>
                    </a:lnTo>
                    <a:lnTo>
                      <a:pt x="798" y="154"/>
                    </a:lnTo>
                    <a:lnTo>
                      <a:pt x="796" y="154"/>
                    </a:lnTo>
                    <a:lnTo>
                      <a:pt x="794" y="156"/>
                    </a:lnTo>
                    <a:lnTo>
                      <a:pt x="794" y="158"/>
                    </a:lnTo>
                    <a:lnTo>
                      <a:pt x="793" y="158"/>
                    </a:lnTo>
                    <a:lnTo>
                      <a:pt x="793" y="160"/>
                    </a:lnTo>
                    <a:lnTo>
                      <a:pt x="793" y="161"/>
                    </a:lnTo>
                    <a:lnTo>
                      <a:pt x="791" y="161"/>
                    </a:lnTo>
                    <a:lnTo>
                      <a:pt x="791" y="163"/>
                    </a:lnTo>
                    <a:lnTo>
                      <a:pt x="791" y="165"/>
                    </a:lnTo>
                    <a:lnTo>
                      <a:pt x="789" y="165"/>
                    </a:lnTo>
                    <a:lnTo>
                      <a:pt x="789" y="166"/>
                    </a:lnTo>
                    <a:lnTo>
                      <a:pt x="788" y="166"/>
                    </a:lnTo>
                    <a:lnTo>
                      <a:pt x="788" y="168"/>
                    </a:lnTo>
                    <a:lnTo>
                      <a:pt x="786" y="168"/>
                    </a:lnTo>
                    <a:lnTo>
                      <a:pt x="786" y="170"/>
                    </a:lnTo>
                    <a:lnTo>
                      <a:pt x="784" y="170"/>
                    </a:lnTo>
                    <a:lnTo>
                      <a:pt x="784" y="172"/>
                    </a:lnTo>
                    <a:lnTo>
                      <a:pt x="782" y="172"/>
                    </a:lnTo>
                    <a:lnTo>
                      <a:pt x="781" y="172"/>
                    </a:lnTo>
                    <a:lnTo>
                      <a:pt x="779" y="172"/>
                    </a:lnTo>
                    <a:lnTo>
                      <a:pt x="779" y="173"/>
                    </a:lnTo>
                    <a:lnTo>
                      <a:pt x="777" y="173"/>
                    </a:lnTo>
                    <a:lnTo>
                      <a:pt x="776" y="175"/>
                    </a:lnTo>
                    <a:lnTo>
                      <a:pt x="776" y="177"/>
                    </a:lnTo>
                    <a:lnTo>
                      <a:pt x="774" y="177"/>
                    </a:lnTo>
                    <a:lnTo>
                      <a:pt x="774" y="178"/>
                    </a:lnTo>
                    <a:lnTo>
                      <a:pt x="774" y="180"/>
                    </a:lnTo>
                    <a:lnTo>
                      <a:pt x="777" y="182"/>
                    </a:lnTo>
                    <a:lnTo>
                      <a:pt x="777" y="180"/>
                    </a:lnTo>
                    <a:lnTo>
                      <a:pt x="779" y="180"/>
                    </a:lnTo>
                    <a:lnTo>
                      <a:pt x="781" y="180"/>
                    </a:lnTo>
                    <a:lnTo>
                      <a:pt x="782" y="180"/>
                    </a:lnTo>
                    <a:lnTo>
                      <a:pt x="782" y="178"/>
                    </a:lnTo>
                    <a:lnTo>
                      <a:pt x="784" y="178"/>
                    </a:lnTo>
                    <a:lnTo>
                      <a:pt x="786" y="178"/>
                    </a:lnTo>
                    <a:lnTo>
                      <a:pt x="788" y="178"/>
                    </a:lnTo>
                    <a:lnTo>
                      <a:pt x="788" y="180"/>
                    </a:lnTo>
                    <a:lnTo>
                      <a:pt x="789" y="180"/>
                    </a:lnTo>
                    <a:lnTo>
                      <a:pt x="789" y="182"/>
                    </a:lnTo>
                    <a:lnTo>
                      <a:pt x="788" y="182"/>
                    </a:lnTo>
                    <a:lnTo>
                      <a:pt x="788" y="183"/>
                    </a:lnTo>
                    <a:lnTo>
                      <a:pt x="786" y="183"/>
                    </a:lnTo>
                    <a:lnTo>
                      <a:pt x="784" y="185"/>
                    </a:lnTo>
                    <a:lnTo>
                      <a:pt x="782" y="185"/>
                    </a:lnTo>
                    <a:lnTo>
                      <a:pt x="782" y="187"/>
                    </a:lnTo>
                    <a:lnTo>
                      <a:pt x="781" y="187"/>
                    </a:lnTo>
                    <a:lnTo>
                      <a:pt x="779" y="189"/>
                    </a:lnTo>
                    <a:lnTo>
                      <a:pt x="777" y="190"/>
                    </a:lnTo>
                    <a:lnTo>
                      <a:pt x="776" y="190"/>
                    </a:lnTo>
                    <a:lnTo>
                      <a:pt x="777" y="192"/>
                    </a:lnTo>
                    <a:lnTo>
                      <a:pt x="777" y="190"/>
                    </a:lnTo>
                    <a:lnTo>
                      <a:pt x="779" y="190"/>
                    </a:lnTo>
                    <a:lnTo>
                      <a:pt x="781" y="190"/>
                    </a:lnTo>
                    <a:lnTo>
                      <a:pt x="782" y="190"/>
                    </a:lnTo>
                    <a:lnTo>
                      <a:pt x="782" y="192"/>
                    </a:lnTo>
                    <a:lnTo>
                      <a:pt x="782" y="190"/>
                    </a:lnTo>
                    <a:lnTo>
                      <a:pt x="784" y="190"/>
                    </a:lnTo>
                    <a:lnTo>
                      <a:pt x="784" y="192"/>
                    </a:lnTo>
                    <a:lnTo>
                      <a:pt x="784" y="194"/>
                    </a:lnTo>
                    <a:lnTo>
                      <a:pt x="782" y="194"/>
                    </a:lnTo>
                    <a:lnTo>
                      <a:pt x="782" y="195"/>
                    </a:lnTo>
                    <a:lnTo>
                      <a:pt x="781" y="195"/>
                    </a:lnTo>
                    <a:lnTo>
                      <a:pt x="779" y="195"/>
                    </a:lnTo>
                    <a:lnTo>
                      <a:pt x="779" y="197"/>
                    </a:lnTo>
                    <a:lnTo>
                      <a:pt x="777" y="197"/>
                    </a:lnTo>
                    <a:lnTo>
                      <a:pt x="776" y="197"/>
                    </a:lnTo>
                    <a:lnTo>
                      <a:pt x="776" y="199"/>
                    </a:lnTo>
                    <a:lnTo>
                      <a:pt x="776" y="200"/>
                    </a:lnTo>
                    <a:lnTo>
                      <a:pt x="774" y="200"/>
                    </a:lnTo>
                    <a:lnTo>
                      <a:pt x="776" y="200"/>
                    </a:lnTo>
                    <a:lnTo>
                      <a:pt x="777" y="199"/>
                    </a:lnTo>
                    <a:lnTo>
                      <a:pt x="779" y="197"/>
                    </a:lnTo>
                    <a:lnTo>
                      <a:pt x="781" y="197"/>
                    </a:lnTo>
                    <a:lnTo>
                      <a:pt x="782" y="197"/>
                    </a:lnTo>
                    <a:lnTo>
                      <a:pt x="782" y="199"/>
                    </a:lnTo>
                    <a:lnTo>
                      <a:pt x="782" y="200"/>
                    </a:lnTo>
                    <a:lnTo>
                      <a:pt x="782" y="202"/>
                    </a:lnTo>
                    <a:lnTo>
                      <a:pt x="782" y="204"/>
                    </a:lnTo>
                    <a:lnTo>
                      <a:pt x="784" y="204"/>
                    </a:lnTo>
                    <a:lnTo>
                      <a:pt x="784" y="202"/>
                    </a:lnTo>
                    <a:lnTo>
                      <a:pt x="784" y="200"/>
                    </a:lnTo>
                    <a:lnTo>
                      <a:pt x="784" y="199"/>
                    </a:lnTo>
                    <a:lnTo>
                      <a:pt x="784" y="197"/>
                    </a:lnTo>
                    <a:lnTo>
                      <a:pt x="786" y="197"/>
                    </a:lnTo>
                    <a:lnTo>
                      <a:pt x="786" y="195"/>
                    </a:lnTo>
                    <a:lnTo>
                      <a:pt x="786" y="194"/>
                    </a:lnTo>
                    <a:lnTo>
                      <a:pt x="786" y="192"/>
                    </a:lnTo>
                    <a:lnTo>
                      <a:pt x="786" y="190"/>
                    </a:lnTo>
                    <a:lnTo>
                      <a:pt x="788" y="190"/>
                    </a:lnTo>
                    <a:lnTo>
                      <a:pt x="788" y="189"/>
                    </a:lnTo>
                    <a:lnTo>
                      <a:pt x="788" y="187"/>
                    </a:lnTo>
                    <a:lnTo>
                      <a:pt x="789" y="187"/>
                    </a:lnTo>
                    <a:lnTo>
                      <a:pt x="789" y="185"/>
                    </a:lnTo>
                    <a:lnTo>
                      <a:pt x="791" y="185"/>
                    </a:lnTo>
                    <a:lnTo>
                      <a:pt x="791" y="183"/>
                    </a:lnTo>
                    <a:lnTo>
                      <a:pt x="793" y="183"/>
                    </a:lnTo>
                    <a:lnTo>
                      <a:pt x="794" y="183"/>
                    </a:lnTo>
                    <a:lnTo>
                      <a:pt x="794" y="182"/>
                    </a:lnTo>
                    <a:lnTo>
                      <a:pt x="796" y="182"/>
                    </a:lnTo>
                    <a:lnTo>
                      <a:pt x="798" y="182"/>
                    </a:lnTo>
                    <a:lnTo>
                      <a:pt x="799" y="182"/>
                    </a:lnTo>
                    <a:lnTo>
                      <a:pt x="801" y="182"/>
                    </a:lnTo>
                    <a:lnTo>
                      <a:pt x="803" y="182"/>
                    </a:lnTo>
                    <a:lnTo>
                      <a:pt x="805" y="182"/>
                    </a:lnTo>
                    <a:lnTo>
                      <a:pt x="806" y="182"/>
                    </a:lnTo>
                    <a:lnTo>
                      <a:pt x="806" y="183"/>
                    </a:lnTo>
                    <a:lnTo>
                      <a:pt x="808" y="183"/>
                    </a:lnTo>
                    <a:lnTo>
                      <a:pt x="810" y="183"/>
                    </a:lnTo>
                    <a:lnTo>
                      <a:pt x="811" y="183"/>
                    </a:lnTo>
                    <a:lnTo>
                      <a:pt x="813" y="183"/>
                    </a:lnTo>
                    <a:lnTo>
                      <a:pt x="815" y="183"/>
                    </a:lnTo>
                    <a:lnTo>
                      <a:pt x="815" y="185"/>
                    </a:lnTo>
                    <a:lnTo>
                      <a:pt x="816" y="185"/>
                    </a:lnTo>
                    <a:lnTo>
                      <a:pt x="818" y="185"/>
                    </a:lnTo>
                    <a:lnTo>
                      <a:pt x="820" y="185"/>
                    </a:lnTo>
                    <a:lnTo>
                      <a:pt x="822" y="185"/>
                    </a:lnTo>
                    <a:lnTo>
                      <a:pt x="823" y="187"/>
                    </a:lnTo>
                    <a:lnTo>
                      <a:pt x="823" y="185"/>
                    </a:lnTo>
                    <a:lnTo>
                      <a:pt x="825" y="185"/>
                    </a:lnTo>
                    <a:lnTo>
                      <a:pt x="827" y="185"/>
                    </a:lnTo>
                    <a:lnTo>
                      <a:pt x="828" y="185"/>
                    </a:lnTo>
                    <a:lnTo>
                      <a:pt x="830" y="185"/>
                    </a:lnTo>
                    <a:lnTo>
                      <a:pt x="830" y="183"/>
                    </a:lnTo>
                    <a:lnTo>
                      <a:pt x="832" y="183"/>
                    </a:lnTo>
                    <a:lnTo>
                      <a:pt x="833" y="183"/>
                    </a:lnTo>
                    <a:lnTo>
                      <a:pt x="835" y="183"/>
                    </a:lnTo>
                    <a:lnTo>
                      <a:pt x="837" y="183"/>
                    </a:lnTo>
                    <a:lnTo>
                      <a:pt x="837" y="182"/>
                    </a:lnTo>
                    <a:lnTo>
                      <a:pt x="839" y="183"/>
                    </a:lnTo>
                    <a:lnTo>
                      <a:pt x="840" y="183"/>
                    </a:lnTo>
                    <a:lnTo>
                      <a:pt x="842" y="183"/>
                    </a:lnTo>
                    <a:lnTo>
                      <a:pt x="844" y="183"/>
                    </a:lnTo>
                    <a:lnTo>
                      <a:pt x="845" y="185"/>
                    </a:lnTo>
                    <a:lnTo>
                      <a:pt x="847" y="185"/>
                    </a:lnTo>
                    <a:lnTo>
                      <a:pt x="849" y="185"/>
                    </a:lnTo>
                    <a:lnTo>
                      <a:pt x="850" y="185"/>
                    </a:lnTo>
                    <a:lnTo>
                      <a:pt x="852" y="185"/>
                    </a:lnTo>
                    <a:lnTo>
                      <a:pt x="852" y="187"/>
                    </a:lnTo>
                    <a:lnTo>
                      <a:pt x="854" y="187"/>
                    </a:lnTo>
                    <a:lnTo>
                      <a:pt x="856" y="187"/>
                    </a:lnTo>
                    <a:lnTo>
                      <a:pt x="856" y="185"/>
                    </a:lnTo>
                    <a:lnTo>
                      <a:pt x="857" y="185"/>
                    </a:lnTo>
                    <a:lnTo>
                      <a:pt x="859" y="185"/>
                    </a:lnTo>
                    <a:lnTo>
                      <a:pt x="861" y="185"/>
                    </a:lnTo>
                    <a:lnTo>
                      <a:pt x="861" y="187"/>
                    </a:lnTo>
                    <a:lnTo>
                      <a:pt x="861" y="185"/>
                    </a:lnTo>
                    <a:lnTo>
                      <a:pt x="862" y="185"/>
                    </a:lnTo>
                    <a:lnTo>
                      <a:pt x="864" y="187"/>
                    </a:lnTo>
                    <a:lnTo>
                      <a:pt x="866" y="187"/>
                    </a:lnTo>
                    <a:lnTo>
                      <a:pt x="866" y="189"/>
                    </a:lnTo>
                    <a:lnTo>
                      <a:pt x="864" y="189"/>
                    </a:lnTo>
                    <a:lnTo>
                      <a:pt x="864" y="190"/>
                    </a:lnTo>
                    <a:lnTo>
                      <a:pt x="864" y="192"/>
                    </a:lnTo>
                    <a:lnTo>
                      <a:pt x="862" y="192"/>
                    </a:lnTo>
                    <a:lnTo>
                      <a:pt x="862" y="194"/>
                    </a:lnTo>
                    <a:lnTo>
                      <a:pt x="862" y="195"/>
                    </a:lnTo>
                    <a:lnTo>
                      <a:pt x="862" y="197"/>
                    </a:lnTo>
                    <a:lnTo>
                      <a:pt x="862" y="199"/>
                    </a:lnTo>
                    <a:lnTo>
                      <a:pt x="861" y="199"/>
                    </a:lnTo>
                    <a:lnTo>
                      <a:pt x="862" y="199"/>
                    </a:lnTo>
                    <a:lnTo>
                      <a:pt x="861" y="200"/>
                    </a:lnTo>
                    <a:lnTo>
                      <a:pt x="862" y="200"/>
                    </a:lnTo>
                    <a:lnTo>
                      <a:pt x="861" y="200"/>
                    </a:lnTo>
                    <a:lnTo>
                      <a:pt x="861" y="202"/>
                    </a:lnTo>
                    <a:lnTo>
                      <a:pt x="861" y="204"/>
                    </a:lnTo>
                    <a:lnTo>
                      <a:pt x="861" y="206"/>
                    </a:lnTo>
                    <a:lnTo>
                      <a:pt x="861" y="207"/>
                    </a:lnTo>
                    <a:lnTo>
                      <a:pt x="861" y="209"/>
                    </a:lnTo>
                    <a:lnTo>
                      <a:pt x="859" y="209"/>
                    </a:lnTo>
                    <a:lnTo>
                      <a:pt x="857" y="211"/>
                    </a:lnTo>
                    <a:lnTo>
                      <a:pt x="856" y="212"/>
                    </a:lnTo>
                    <a:lnTo>
                      <a:pt x="857" y="212"/>
                    </a:lnTo>
                    <a:lnTo>
                      <a:pt x="857" y="214"/>
                    </a:lnTo>
                    <a:lnTo>
                      <a:pt x="856" y="214"/>
                    </a:lnTo>
                    <a:lnTo>
                      <a:pt x="856" y="216"/>
                    </a:lnTo>
                    <a:lnTo>
                      <a:pt x="854" y="216"/>
                    </a:lnTo>
                    <a:lnTo>
                      <a:pt x="854" y="217"/>
                    </a:lnTo>
                    <a:lnTo>
                      <a:pt x="852" y="217"/>
                    </a:lnTo>
                    <a:lnTo>
                      <a:pt x="852" y="219"/>
                    </a:lnTo>
                    <a:lnTo>
                      <a:pt x="852" y="221"/>
                    </a:lnTo>
                    <a:lnTo>
                      <a:pt x="850" y="221"/>
                    </a:lnTo>
                    <a:lnTo>
                      <a:pt x="850" y="223"/>
                    </a:lnTo>
                    <a:lnTo>
                      <a:pt x="850" y="224"/>
                    </a:lnTo>
                    <a:lnTo>
                      <a:pt x="850" y="226"/>
                    </a:lnTo>
                    <a:lnTo>
                      <a:pt x="850" y="228"/>
                    </a:lnTo>
                    <a:lnTo>
                      <a:pt x="849" y="228"/>
                    </a:lnTo>
                    <a:lnTo>
                      <a:pt x="847" y="228"/>
                    </a:lnTo>
                    <a:lnTo>
                      <a:pt x="847" y="229"/>
                    </a:lnTo>
                    <a:lnTo>
                      <a:pt x="847" y="231"/>
                    </a:lnTo>
                    <a:lnTo>
                      <a:pt x="847" y="233"/>
                    </a:lnTo>
                    <a:lnTo>
                      <a:pt x="847" y="234"/>
                    </a:lnTo>
                    <a:lnTo>
                      <a:pt x="845" y="234"/>
                    </a:lnTo>
                    <a:lnTo>
                      <a:pt x="845" y="236"/>
                    </a:lnTo>
                    <a:lnTo>
                      <a:pt x="847" y="236"/>
                    </a:lnTo>
                    <a:lnTo>
                      <a:pt x="845" y="238"/>
                    </a:lnTo>
                    <a:lnTo>
                      <a:pt x="844" y="238"/>
                    </a:lnTo>
                    <a:lnTo>
                      <a:pt x="844" y="240"/>
                    </a:lnTo>
                    <a:lnTo>
                      <a:pt x="842" y="241"/>
                    </a:lnTo>
                    <a:lnTo>
                      <a:pt x="842" y="240"/>
                    </a:lnTo>
                    <a:lnTo>
                      <a:pt x="842" y="241"/>
                    </a:lnTo>
                    <a:lnTo>
                      <a:pt x="844" y="240"/>
                    </a:lnTo>
                    <a:lnTo>
                      <a:pt x="845" y="240"/>
                    </a:lnTo>
                    <a:lnTo>
                      <a:pt x="845" y="238"/>
                    </a:lnTo>
                    <a:lnTo>
                      <a:pt x="847" y="238"/>
                    </a:lnTo>
                    <a:lnTo>
                      <a:pt x="847" y="236"/>
                    </a:lnTo>
                    <a:lnTo>
                      <a:pt x="849" y="236"/>
                    </a:lnTo>
                    <a:lnTo>
                      <a:pt x="849" y="234"/>
                    </a:lnTo>
                    <a:lnTo>
                      <a:pt x="849" y="233"/>
                    </a:lnTo>
                    <a:lnTo>
                      <a:pt x="850" y="233"/>
                    </a:lnTo>
                    <a:lnTo>
                      <a:pt x="850" y="231"/>
                    </a:lnTo>
                    <a:lnTo>
                      <a:pt x="852" y="231"/>
                    </a:lnTo>
                    <a:lnTo>
                      <a:pt x="852" y="229"/>
                    </a:lnTo>
                    <a:lnTo>
                      <a:pt x="854" y="229"/>
                    </a:lnTo>
                    <a:lnTo>
                      <a:pt x="854" y="228"/>
                    </a:lnTo>
                    <a:lnTo>
                      <a:pt x="854" y="226"/>
                    </a:lnTo>
                    <a:lnTo>
                      <a:pt x="856" y="226"/>
                    </a:lnTo>
                    <a:lnTo>
                      <a:pt x="856" y="224"/>
                    </a:lnTo>
                    <a:lnTo>
                      <a:pt x="857" y="224"/>
                    </a:lnTo>
                    <a:lnTo>
                      <a:pt x="857" y="223"/>
                    </a:lnTo>
                    <a:lnTo>
                      <a:pt x="859" y="223"/>
                    </a:lnTo>
                    <a:lnTo>
                      <a:pt x="859" y="224"/>
                    </a:lnTo>
                    <a:lnTo>
                      <a:pt x="861" y="224"/>
                    </a:lnTo>
                    <a:lnTo>
                      <a:pt x="861" y="226"/>
                    </a:lnTo>
                    <a:lnTo>
                      <a:pt x="859" y="226"/>
                    </a:lnTo>
                    <a:lnTo>
                      <a:pt x="859" y="228"/>
                    </a:lnTo>
                    <a:lnTo>
                      <a:pt x="861" y="228"/>
                    </a:lnTo>
                    <a:lnTo>
                      <a:pt x="861" y="229"/>
                    </a:lnTo>
                    <a:lnTo>
                      <a:pt x="861" y="228"/>
                    </a:lnTo>
                    <a:lnTo>
                      <a:pt x="862" y="228"/>
                    </a:lnTo>
                    <a:lnTo>
                      <a:pt x="864" y="228"/>
                    </a:lnTo>
                    <a:lnTo>
                      <a:pt x="862" y="228"/>
                    </a:lnTo>
                    <a:lnTo>
                      <a:pt x="861" y="228"/>
                    </a:lnTo>
                    <a:lnTo>
                      <a:pt x="861" y="226"/>
                    </a:lnTo>
                    <a:lnTo>
                      <a:pt x="861" y="224"/>
                    </a:lnTo>
                    <a:lnTo>
                      <a:pt x="862" y="224"/>
                    </a:lnTo>
                    <a:lnTo>
                      <a:pt x="861" y="223"/>
                    </a:lnTo>
                    <a:lnTo>
                      <a:pt x="861" y="221"/>
                    </a:lnTo>
                    <a:lnTo>
                      <a:pt x="862" y="221"/>
                    </a:lnTo>
                    <a:lnTo>
                      <a:pt x="862" y="219"/>
                    </a:lnTo>
                    <a:lnTo>
                      <a:pt x="864" y="219"/>
                    </a:lnTo>
                    <a:lnTo>
                      <a:pt x="862" y="217"/>
                    </a:lnTo>
                    <a:lnTo>
                      <a:pt x="862" y="216"/>
                    </a:lnTo>
                    <a:lnTo>
                      <a:pt x="864" y="216"/>
                    </a:lnTo>
                    <a:lnTo>
                      <a:pt x="864" y="214"/>
                    </a:lnTo>
                    <a:lnTo>
                      <a:pt x="864" y="216"/>
                    </a:lnTo>
                    <a:lnTo>
                      <a:pt x="864" y="214"/>
                    </a:lnTo>
                    <a:lnTo>
                      <a:pt x="866" y="214"/>
                    </a:lnTo>
                    <a:lnTo>
                      <a:pt x="867" y="214"/>
                    </a:lnTo>
                    <a:lnTo>
                      <a:pt x="866" y="214"/>
                    </a:lnTo>
                    <a:lnTo>
                      <a:pt x="867" y="216"/>
                    </a:lnTo>
                    <a:lnTo>
                      <a:pt x="867" y="214"/>
                    </a:lnTo>
                    <a:lnTo>
                      <a:pt x="867" y="212"/>
                    </a:lnTo>
                    <a:lnTo>
                      <a:pt x="867" y="211"/>
                    </a:lnTo>
                    <a:lnTo>
                      <a:pt x="867" y="209"/>
                    </a:lnTo>
                    <a:lnTo>
                      <a:pt x="869" y="209"/>
                    </a:lnTo>
                    <a:lnTo>
                      <a:pt x="869" y="207"/>
                    </a:lnTo>
                    <a:lnTo>
                      <a:pt x="871" y="206"/>
                    </a:lnTo>
                    <a:lnTo>
                      <a:pt x="873" y="206"/>
                    </a:lnTo>
                    <a:lnTo>
                      <a:pt x="873" y="207"/>
                    </a:lnTo>
                    <a:lnTo>
                      <a:pt x="873" y="206"/>
                    </a:lnTo>
                    <a:lnTo>
                      <a:pt x="873" y="204"/>
                    </a:lnTo>
                    <a:lnTo>
                      <a:pt x="874" y="204"/>
                    </a:lnTo>
                    <a:lnTo>
                      <a:pt x="874" y="202"/>
                    </a:lnTo>
                    <a:lnTo>
                      <a:pt x="876" y="200"/>
                    </a:lnTo>
                    <a:lnTo>
                      <a:pt x="878" y="200"/>
                    </a:lnTo>
                    <a:lnTo>
                      <a:pt x="878" y="202"/>
                    </a:lnTo>
                    <a:lnTo>
                      <a:pt x="878" y="200"/>
                    </a:lnTo>
                    <a:lnTo>
                      <a:pt x="878" y="202"/>
                    </a:lnTo>
                    <a:lnTo>
                      <a:pt x="878" y="200"/>
                    </a:lnTo>
                    <a:lnTo>
                      <a:pt x="879" y="202"/>
                    </a:lnTo>
                    <a:lnTo>
                      <a:pt x="879" y="204"/>
                    </a:lnTo>
                    <a:lnTo>
                      <a:pt x="879" y="202"/>
                    </a:lnTo>
                    <a:lnTo>
                      <a:pt x="879" y="200"/>
                    </a:lnTo>
                    <a:lnTo>
                      <a:pt x="879" y="199"/>
                    </a:lnTo>
                    <a:lnTo>
                      <a:pt x="881" y="199"/>
                    </a:lnTo>
                    <a:lnTo>
                      <a:pt x="881" y="197"/>
                    </a:lnTo>
                    <a:lnTo>
                      <a:pt x="883" y="197"/>
                    </a:lnTo>
                    <a:lnTo>
                      <a:pt x="883" y="199"/>
                    </a:lnTo>
                    <a:lnTo>
                      <a:pt x="883" y="200"/>
                    </a:lnTo>
                    <a:lnTo>
                      <a:pt x="883" y="202"/>
                    </a:lnTo>
                    <a:lnTo>
                      <a:pt x="883" y="200"/>
                    </a:lnTo>
                    <a:lnTo>
                      <a:pt x="884" y="200"/>
                    </a:lnTo>
                    <a:lnTo>
                      <a:pt x="884" y="199"/>
                    </a:lnTo>
                    <a:lnTo>
                      <a:pt x="883" y="199"/>
                    </a:lnTo>
                    <a:lnTo>
                      <a:pt x="884" y="199"/>
                    </a:lnTo>
                    <a:lnTo>
                      <a:pt x="884" y="197"/>
                    </a:lnTo>
                    <a:lnTo>
                      <a:pt x="884" y="199"/>
                    </a:lnTo>
                    <a:lnTo>
                      <a:pt x="884" y="197"/>
                    </a:lnTo>
                    <a:lnTo>
                      <a:pt x="884" y="199"/>
                    </a:lnTo>
                    <a:lnTo>
                      <a:pt x="886" y="199"/>
                    </a:lnTo>
                    <a:lnTo>
                      <a:pt x="884" y="199"/>
                    </a:lnTo>
                    <a:lnTo>
                      <a:pt x="886" y="199"/>
                    </a:lnTo>
                    <a:lnTo>
                      <a:pt x="888" y="200"/>
                    </a:lnTo>
                    <a:lnTo>
                      <a:pt x="888" y="199"/>
                    </a:lnTo>
                    <a:lnTo>
                      <a:pt x="886" y="199"/>
                    </a:lnTo>
                    <a:lnTo>
                      <a:pt x="886" y="197"/>
                    </a:lnTo>
                    <a:lnTo>
                      <a:pt x="886" y="195"/>
                    </a:lnTo>
                    <a:lnTo>
                      <a:pt x="888" y="195"/>
                    </a:lnTo>
                    <a:lnTo>
                      <a:pt x="888" y="197"/>
                    </a:lnTo>
                    <a:lnTo>
                      <a:pt x="888" y="199"/>
                    </a:lnTo>
                    <a:lnTo>
                      <a:pt x="888" y="197"/>
                    </a:lnTo>
                    <a:lnTo>
                      <a:pt x="890" y="197"/>
                    </a:lnTo>
                    <a:lnTo>
                      <a:pt x="890" y="199"/>
                    </a:lnTo>
                    <a:lnTo>
                      <a:pt x="890" y="200"/>
                    </a:lnTo>
                    <a:lnTo>
                      <a:pt x="890" y="202"/>
                    </a:lnTo>
                    <a:lnTo>
                      <a:pt x="890" y="200"/>
                    </a:lnTo>
                    <a:lnTo>
                      <a:pt x="890" y="202"/>
                    </a:lnTo>
                    <a:lnTo>
                      <a:pt x="888" y="202"/>
                    </a:lnTo>
                    <a:lnTo>
                      <a:pt x="886" y="202"/>
                    </a:lnTo>
                    <a:lnTo>
                      <a:pt x="886" y="204"/>
                    </a:lnTo>
                    <a:lnTo>
                      <a:pt x="888" y="204"/>
                    </a:lnTo>
                    <a:lnTo>
                      <a:pt x="888" y="202"/>
                    </a:lnTo>
                    <a:lnTo>
                      <a:pt x="890" y="202"/>
                    </a:lnTo>
                    <a:lnTo>
                      <a:pt x="891" y="202"/>
                    </a:lnTo>
                    <a:lnTo>
                      <a:pt x="891" y="200"/>
                    </a:lnTo>
                    <a:lnTo>
                      <a:pt x="891" y="199"/>
                    </a:lnTo>
                    <a:lnTo>
                      <a:pt x="893" y="199"/>
                    </a:lnTo>
                    <a:lnTo>
                      <a:pt x="891" y="199"/>
                    </a:lnTo>
                    <a:lnTo>
                      <a:pt x="891" y="197"/>
                    </a:lnTo>
                    <a:lnTo>
                      <a:pt x="893" y="197"/>
                    </a:lnTo>
                    <a:lnTo>
                      <a:pt x="893" y="199"/>
                    </a:lnTo>
                    <a:lnTo>
                      <a:pt x="893" y="200"/>
                    </a:lnTo>
                    <a:lnTo>
                      <a:pt x="895" y="200"/>
                    </a:lnTo>
                    <a:lnTo>
                      <a:pt x="895" y="202"/>
                    </a:lnTo>
                    <a:lnTo>
                      <a:pt x="895" y="204"/>
                    </a:lnTo>
                    <a:lnTo>
                      <a:pt x="896" y="204"/>
                    </a:lnTo>
                    <a:lnTo>
                      <a:pt x="898" y="204"/>
                    </a:lnTo>
                    <a:lnTo>
                      <a:pt x="898" y="206"/>
                    </a:lnTo>
                    <a:lnTo>
                      <a:pt x="898" y="204"/>
                    </a:lnTo>
                    <a:lnTo>
                      <a:pt x="896" y="202"/>
                    </a:lnTo>
                    <a:lnTo>
                      <a:pt x="896" y="200"/>
                    </a:lnTo>
                    <a:lnTo>
                      <a:pt x="895" y="200"/>
                    </a:lnTo>
                    <a:lnTo>
                      <a:pt x="896" y="199"/>
                    </a:lnTo>
                    <a:lnTo>
                      <a:pt x="895" y="199"/>
                    </a:lnTo>
                    <a:lnTo>
                      <a:pt x="896" y="199"/>
                    </a:lnTo>
                    <a:lnTo>
                      <a:pt x="895" y="199"/>
                    </a:lnTo>
                    <a:lnTo>
                      <a:pt x="895" y="197"/>
                    </a:lnTo>
                    <a:lnTo>
                      <a:pt x="896" y="197"/>
                    </a:lnTo>
                    <a:lnTo>
                      <a:pt x="898" y="197"/>
                    </a:lnTo>
                    <a:lnTo>
                      <a:pt x="898" y="199"/>
                    </a:lnTo>
                    <a:lnTo>
                      <a:pt x="896" y="199"/>
                    </a:lnTo>
                    <a:lnTo>
                      <a:pt x="898" y="199"/>
                    </a:lnTo>
                    <a:lnTo>
                      <a:pt x="896" y="199"/>
                    </a:lnTo>
                    <a:lnTo>
                      <a:pt x="896" y="200"/>
                    </a:lnTo>
                    <a:lnTo>
                      <a:pt x="898" y="199"/>
                    </a:lnTo>
                    <a:lnTo>
                      <a:pt x="898" y="200"/>
                    </a:lnTo>
                    <a:lnTo>
                      <a:pt x="898" y="199"/>
                    </a:lnTo>
                    <a:lnTo>
                      <a:pt x="900" y="199"/>
                    </a:lnTo>
                    <a:lnTo>
                      <a:pt x="898" y="199"/>
                    </a:lnTo>
                    <a:lnTo>
                      <a:pt x="900" y="199"/>
                    </a:lnTo>
                    <a:lnTo>
                      <a:pt x="901" y="197"/>
                    </a:lnTo>
                    <a:lnTo>
                      <a:pt x="901" y="199"/>
                    </a:lnTo>
                    <a:lnTo>
                      <a:pt x="901" y="200"/>
                    </a:lnTo>
                    <a:lnTo>
                      <a:pt x="901" y="199"/>
                    </a:lnTo>
                    <a:lnTo>
                      <a:pt x="903" y="200"/>
                    </a:lnTo>
                    <a:lnTo>
                      <a:pt x="903" y="199"/>
                    </a:lnTo>
                    <a:lnTo>
                      <a:pt x="905" y="199"/>
                    </a:lnTo>
                    <a:lnTo>
                      <a:pt x="905" y="200"/>
                    </a:lnTo>
                    <a:lnTo>
                      <a:pt x="903" y="200"/>
                    </a:lnTo>
                    <a:lnTo>
                      <a:pt x="903" y="202"/>
                    </a:lnTo>
                    <a:lnTo>
                      <a:pt x="905" y="202"/>
                    </a:lnTo>
                    <a:lnTo>
                      <a:pt x="905" y="200"/>
                    </a:lnTo>
                    <a:lnTo>
                      <a:pt x="907" y="200"/>
                    </a:lnTo>
                    <a:lnTo>
                      <a:pt x="907" y="202"/>
                    </a:lnTo>
                    <a:lnTo>
                      <a:pt x="905" y="202"/>
                    </a:lnTo>
                    <a:lnTo>
                      <a:pt x="905" y="204"/>
                    </a:lnTo>
                    <a:lnTo>
                      <a:pt x="907" y="204"/>
                    </a:lnTo>
                    <a:lnTo>
                      <a:pt x="907" y="206"/>
                    </a:lnTo>
                    <a:lnTo>
                      <a:pt x="907" y="204"/>
                    </a:lnTo>
                    <a:lnTo>
                      <a:pt x="907" y="202"/>
                    </a:lnTo>
                    <a:lnTo>
                      <a:pt x="907" y="204"/>
                    </a:lnTo>
                    <a:lnTo>
                      <a:pt x="907" y="202"/>
                    </a:lnTo>
                    <a:lnTo>
                      <a:pt x="908" y="202"/>
                    </a:lnTo>
                    <a:lnTo>
                      <a:pt x="907" y="200"/>
                    </a:lnTo>
                    <a:lnTo>
                      <a:pt x="908" y="200"/>
                    </a:lnTo>
                    <a:lnTo>
                      <a:pt x="908" y="202"/>
                    </a:lnTo>
                    <a:lnTo>
                      <a:pt x="908" y="204"/>
                    </a:lnTo>
                    <a:lnTo>
                      <a:pt x="908" y="206"/>
                    </a:lnTo>
                    <a:lnTo>
                      <a:pt x="910" y="204"/>
                    </a:lnTo>
                    <a:lnTo>
                      <a:pt x="910" y="206"/>
                    </a:lnTo>
                    <a:lnTo>
                      <a:pt x="908" y="206"/>
                    </a:lnTo>
                    <a:lnTo>
                      <a:pt x="908" y="207"/>
                    </a:lnTo>
                    <a:lnTo>
                      <a:pt x="908" y="206"/>
                    </a:lnTo>
                    <a:lnTo>
                      <a:pt x="910" y="206"/>
                    </a:lnTo>
                    <a:lnTo>
                      <a:pt x="912" y="206"/>
                    </a:lnTo>
                    <a:lnTo>
                      <a:pt x="910" y="206"/>
                    </a:lnTo>
                    <a:lnTo>
                      <a:pt x="910" y="204"/>
                    </a:lnTo>
                    <a:lnTo>
                      <a:pt x="912" y="204"/>
                    </a:lnTo>
                    <a:lnTo>
                      <a:pt x="912" y="202"/>
                    </a:lnTo>
                    <a:lnTo>
                      <a:pt x="913" y="202"/>
                    </a:lnTo>
                    <a:lnTo>
                      <a:pt x="913" y="204"/>
                    </a:lnTo>
                    <a:lnTo>
                      <a:pt x="912" y="204"/>
                    </a:lnTo>
                    <a:lnTo>
                      <a:pt x="913" y="204"/>
                    </a:lnTo>
                    <a:lnTo>
                      <a:pt x="913" y="206"/>
                    </a:lnTo>
                    <a:lnTo>
                      <a:pt x="913" y="207"/>
                    </a:lnTo>
                    <a:lnTo>
                      <a:pt x="915" y="207"/>
                    </a:lnTo>
                    <a:lnTo>
                      <a:pt x="915" y="206"/>
                    </a:lnTo>
                    <a:lnTo>
                      <a:pt x="915" y="204"/>
                    </a:lnTo>
                    <a:lnTo>
                      <a:pt x="917" y="204"/>
                    </a:lnTo>
                    <a:lnTo>
                      <a:pt x="917" y="202"/>
                    </a:lnTo>
                    <a:lnTo>
                      <a:pt x="917" y="204"/>
                    </a:lnTo>
                    <a:lnTo>
                      <a:pt x="917" y="206"/>
                    </a:lnTo>
                    <a:lnTo>
                      <a:pt x="917" y="207"/>
                    </a:lnTo>
                    <a:lnTo>
                      <a:pt x="918" y="206"/>
                    </a:lnTo>
                    <a:lnTo>
                      <a:pt x="918" y="207"/>
                    </a:lnTo>
                    <a:lnTo>
                      <a:pt x="917" y="207"/>
                    </a:lnTo>
                    <a:lnTo>
                      <a:pt x="918" y="209"/>
                    </a:lnTo>
                    <a:lnTo>
                      <a:pt x="918" y="207"/>
                    </a:lnTo>
                    <a:lnTo>
                      <a:pt x="918" y="206"/>
                    </a:lnTo>
                    <a:lnTo>
                      <a:pt x="920" y="206"/>
                    </a:lnTo>
                    <a:lnTo>
                      <a:pt x="920" y="207"/>
                    </a:lnTo>
                    <a:lnTo>
                      <a:pt x="920" y="209"/>
                    </a:lnTo>
                    <a:lnTo>
                      <a:pt x="922" y="209"/>
                    </a:lnTo>
                    <a:lnTo>
                      <a:pt x="920" y="207"/>
                    </a:lnTo>
                    <a:lnTo>
                      <a:pt x="922" y="207"/>
                    </a:lnTo>
                    <a:lnTo>
                      <a:pt x="922" y="206"/>
                    </a:lnTo>
                    <a:lnTo>
                      <a:pt x="922" y="207"/>
                    </a:lnTo>
                    <a:lnTo>
                      <a:pt x="924" y="207"/>
                    </a:lnTo>
                    <a:lnTo>
                      <a:pt x="922" y="206"/>
                    </a:lnTo>
                    <a:lnTo>
                      <a:pt x="924" y="206"/>
                    </a:lnTo>
                    <a:lnTo>
                      <a:pt x="922" y="204"/>
                    </a:lnTo>
                    <a:lnTo>
                      <a:pt x="924" y="204"/>
                    </a:lnTo>
                    <a:lnTo>
                      <a:pt x="924" y="206"/>
                    </a:lnTo>
                    <a:lnTo>
                      <a:pt x="925" y="206"/>
                    </a:lnTo>
                    <a:lnTo>
                      <a:pt x="925" y="207"/>
                    </a:lnTo>
                    <a:lnTo>
                      <a:pt x="924" y="207"/>
                    </a:lnTo>
                    <a:lnTo>
                      <a:pt x="925" y="207"/>
                    </a:lnTo>
                    <a:lnTo>
                      <a:pt x="924" y="207"/>
                    </a:lnTo>
                    <a:lnTo>
                      <a:pt x="924" y="209"/>
                    </a:lnTo>
                    <a:lnTo>
                      <a:pt x="924" y="211"/>
                    </a:lnTo>
                    <a:lnTo>
                      <a:pt x="922" y="211"/>
                    </a:lnTo>
                    <a:lnTo>
                      <a:pt x="920" y="211"/>
                    </a:lnTo>
                    <a:lnTo>
                      <a:pt x="922" y="211"/>
                    </a:lnTo>
                    <a:lnTo>
                      <a:pt x="924" y="211"/>
                    </a:lnTo>
                    <a:lnTo>
                      <a:pt x="925" y="211"/>
                    </a:lnTo>
                    <a:lnTo>
                      <a:pt x="927" y="211"/>
                    </a:lnTo>
                    <a:lnTo>
                      <a:pt x="927" y="209"/>
                    </a:lnTo>
                    <a:lnTo>
                      <a:pt x="927" y="211"/>
                    </a:lnTo>
                    <a:lnTo>
                      <a:pt x="929" y="209"/>
                    </a:lnTo>
                    <a:lnTo>
                      <a:pt x="929" y="207"/>
                    </a:lnTo>
                    <a:lnTo>
                      <a:pt x="929" y="209"/>
                    </a:lnTo>
                    <a:lnTo>
                      <a:pt x="930" y="207"/>
                    </a:lnTo>
                    <a:lnTo>
                      <a:pt x="932" y="207"/>
                    </a:lnTo>
                    <a:lnTo>
                      <a:pt x="930" y="207"/>
                    </a:lnTo>
                    <a:lnTo>
                      <a:pt x="930" y="209"/>
                    </a:lnTo>
                    <a:lnTo>
                      <a:pt x="929" y="209"/>
                    </a:lnTo>
                    <a:lnTo>
                      <a:pt x="929" y="211"/>
                    </a:lnTo>
                    <a:lnTo>
                      <a:pt x="930" y="212"/>
                    </a:lnTo>
                    <a:lnTo>
                      <a:pt x="929" y="212"/>
                    </a:lnTo>
                    <a:lnTo>
                      <a:pt x="930" y="212"/>
                    </a:lnTo>
                    <a:lnTo>
                      <a:pt x="932" y="212"/>
                    </a:lnTo>
                    <a:lnTo>
                      <a:pt x="930" y="212"/>
                    </a:lnTo>
                    <a:lnTo>
                      <a:pt x="932" y="212"/>
                    </a:lnTo>
                    <a:lnTo>
                      <a:pt x="932" y="211"/>
                    </a:lnTo>
                    <a:lnTo>
                      <a:pt x="932" y="212"/>
                    </a:lnTo>
                    <a:lnTo>
                      <a:pt x="934" y="212"/>
                    </a:lnTo>
                    <a:lnTo>
                      <a:pt x="934" y="214"/>
                    </a:lnTo>
                    <a:lnTo>
                      <a:pt x="934" y="212"/>
                    </a:lnTo>
                    <a:lnTo>
                      <a:pt x="935" y="212"/>
                    </a:lnTo>
                    <a:lnTo>
                      <a:pt x="935" y="214"/>
                    </a:lnTo>
                    <a:lnTo>
                      <a:pt x="935" y="212"/>
                    </a:lnTo>
                    <a:lnTo>
                      <a:pt x="935" y="211"/>
                    </a:lnTo>
                    <a:lnTo>
                      <a:pt x="937" y="209"/>
                    </a:lnTo>
                    <a:lnTo>
                      <a:pt x="935" y="209"/>
                    </a:lnTo>
                    <a:lnTo>
                      <a:pt x="937" y="209"/>
                    </a:lnTo>
                    <a:lnTo>
                      <a:pt x="937" y="207"/>
                    </a:lnTo>
                    <a:lnTo>
                      <a:pt x="939" y="207"/>
                    </a:lnTo>
                    <a:lnTo>
                      <a:pt x="939" y="209"/>
                    </a:lnTo>
                    <a:lnTo>
                      <a:pt x="939" y="211"/>
                    </a:lnTo>
                    <a:lnTo>
                      <a:pt x="937" y="211"/>
                    </a:lnTo>
                    <a:lnTo>
                      <a:pt x="937" y="212"/>
                    </a:lnTo>
                    <a:lnTo>
                      <a:pt x="939" y="212"/>
                    </a:lnTo>
                    <a:lnTo>
                      <a:pt x="939" y="214"/>
                    </a:lnTo>
                    <a:lnTo>
                      <a:pt x="937" y="214"/>
                    </a:lnTo>
                    <a:lnTo>
                      <a:pt x="937" y="216"/>
                    </a:lnTo>
                    <a:lnTo>
                      <a:pt x="937" y="217"/>
                    </a:lnTo>
                    <a:lnTo>
                      <a:pt x="935" y="217"/>
                    </a:lnTo>
                    <a:lnTo>
                      <a:pt x="937" y="217"/>
                    </a:lnTo>
                    <a:lnTo>
                      <a:pt x="937" y="216"/>
                    </a:lnTo>
                    <a:lnTo>
                      <a:pt x="939" y="214"/>
                    </a:lnTo>
                    <a:lnTo>
                      <a:pt x="939" y="212"/>
                    </a:lnTo>
                    <a:lnTo>
                      <a:pt x="941" y="212"/>
                    </a:lnTo>
                    <a:lnTo>
                      <a:pt x="941" y="214"/>
                    </a:lnTo>
                    <a:lnTo>
                      <a:pt x="939" y="214"/>
                    </a:lnTo>
                    <a:lnTo>
                      <a:pt x="939" y="216"/>
                    </a:lnTo>
                    <a:lnTo>
                      <a:pt x="939" y="214"/>
                    </a:lnTo>
                    <a:lnTo>
                      <a:pt x="941" y="214"/>
                    </a:lnTo>
                    <a:lnTo>
                      <a:pt x="941" y="216"/>
                    </a:lnTo>
                    <a:lnTo>
                      <a:pt x="941" y="214"/>
                    </a:lnTo>
                    <a:lnTo>
                      <a:pt x="942" y="212"/>
                    </a:lnTo>
                    <a:lnTo>
                      <a:pt x="942" y="214"/>
                    </a:lnTo>
                    <a:lnTo>
                      <a:pt x="942" y="212"/>
                    </a:lnTo>
                    <a:lnTo>
                      <a:pt x="942" y="214"/>
                    </a:lnTo>
                    <a:lnTo>
                      <a:pt x="942" y="216"/>
                    </a:lnTo>
                    <a:lnTo>
                      <a:pt x="944" y="216"/>
                    </a:lnTo>
                    <a:lnTo>
                      <a:pt x="942" y="216"/>
                    </a:lnTo>
                    <a:lnTo>
                      <a:pt x="942" y="217"/>
                    </a:lnTo>
                    <a:lnTo>
                      <a:pt x="942" y="219"/>
                    </a:lnTo>
                    <a:lnTo>
                      <a:pt x="941" y="219"/>
                    </a:lnTo>
                    <a:lnTo>
                      <a:pt x="942" y="219"/>
                    </a:lnTo>
                    <a:lnTo>
                      <a:pt x="942" y="217"/>
                    </a:lnTo>
                    <a:lnTo>
                      <a:pt x="942" y="216"/>
                    </a:lnTo>
                    <a:lnTo>
                      <a:pt x="944" y="216"/>
                    </a:lnTo>
                    <a:lnTo>
                      <a:pt x="944" y="217"/>
                    </a:lnTo>
                    <a:lnTo>
                      <a:pt x="944" y="216"/>
                    </a:lnTo>
                    <a:lnTo>
                      <a:pt x="944" y="214"/>
                    </a:lnTo>
                    <a:lnTo>
                      <a:pt x="946" y="214"/>
                    </a:lnTo>
                    <a:lnTo>
                      <a:pt x="946" y="216"/>
                    </a:lnTo>
                    <a:lnTo>
                      <a:pt x="947" y="216"/>
                    </a:lnTo>
                    <a:lnTo>
                      <a:pt x="946" y="216"/>
                    </a:lnTo>
                    <a:lnTo>
                      <a:pt x="946" y="217"/>
                    </a:lnTo>
                    <a:lnTo>
                      <a:pt x="944" y="217"/>
                    </a:lnTo>
                    <a:lnTo>
                      <a:pt x="946" y="217"/>
                    </a:lnTo>
                    <a:lnTo>
                      <a:pt x="947" y="219"/>
                    </a:lnTo>
                    <a:lnTo>
                      <a:pt x="946" y="219"/>
                    </a:lnTo>
                    <a:lnTo>
                      <a:pt x="947" y="219"/>
                    </a:lnTo>
                    <a:lnTo>
                      <a:pt x="947" y="217"/>
                    </a:lnTo>
                    <a:lnTo>
                      <a:pt x="947" y="216"/>
                    </a:lnTo>
                    <a:lnTo>
                      <a:pt x="949" y="216"/>
                    </a:lnTo>
                    <a:lnTo>
                      <a:pt x="949" y="214"/>
                    </a:lnTo>
                    <a:lnTo>
                      <a:pt x="951" y="214"/>
                    </a:lnTo>
                    <a:lnTo>
                      <a:pt x="951" y="216"/>
                    </a:lnTo>
                    <a:lnTo>
                      <a:pt x="949" y="216"/>
                    </a:lnTo>
                    <a:lnTo>
                      <a:pt x="949" y="217"/>
                    </a:lnTo>
                    <a:lnTo>
                      <a:pt x="947" y="217"/>
                    </a:lnTo>
                    <a:lnTo>
                      <a:pt x="949" y="217"/>
                    </a:lnTo>
                    <a:lnTo>
                      <a:pt x="949" y="219"/>
                    </a:lnTo>
                    <a:lnTo>
                      <a:pt x="951" y="219"/>
                    </a:lnTo>
                    <a:lnTo>
                      <a:pt x="949" y="219"/>
                    </a:lnTo>
                    <a:lnTo>
                      <a:pt x="951" y="219"/>
                    </a:lnTo>
                    <a:lnTo>
                      <a:pt x="949" y="219"/>
                    </a:lnTo>
                    <a:lnTo>
                      <a:pt x="949" y="221"/>
                    </a:lnTo>
                    <a:lnTo>
                      <a:pt x="951" y="221"/>
                    </a:lnTo>
                    <a:lnTo>
                      <a:pt x="951" y="219"/>
                    </a:lnTo>
                    <a:lnTo>
                      <a:pt x="951" y="217"/>
                    </a:lnTo>
                    <a:lnTo>
                      <a:pt x="952" y="217"/>
                    </a:lnTo>
                    <a:lnTo>
                      <a:pt x="951" y="219"/>
                    </a:lnTo>
                    <a:lnTo>
                      <a:pt x="952" y="219"/>
                    </a:lnTo>
                    <a:lnTo>
                      <a:pt x="951" y="219"/>
                    </a:lnTo>
                    <a:lnTo>
                      <a:pt x="951" y="221"/>
                    </a:lnTo>
                    <a:lnTo>
                      <a:pt x="952" y="219"/>
                    </a:lnTo>
                    <a:lnTo>
                      <a:pt x="952" y="217"/>
                    </a:lnTo>
                    <a:lnTo>
                      <a:pt x="954" y="217"/>
                    </a:lnTo>
                    <a:lnTo>
                      <a:pt x="954" y="216"/>
                    </a:lnTo>
                    <a:lnTo>
                      <a:pt x="956" y="216"/>
                    </a:lnTo>
                    <a:lnTo>
                      <a:pt x="956" y="217"/>
                    </a:lnTo>
                    <a:lnTo>
                      <a:pt x="954" y="217"/>
                    </a:lnTo>
                    <a:lnTo>
                      <a:pt x="954" y="219"/>
                    </a:lnTo>
                    <a:lnTo>
                      <a:pt x="954" y="221"/>
                    </a:lnTo>
                    <a:lnTo>
                      <a:pt x="956" y="221"/>
                    </a:lnTo>
                    <a:lnTo>
                      <a:pt x="954" y="223"/>
                    </a:lnTo>
                    <a:lnTo>
                      <a:pt x="956" y="223"/>
                    </a:lnTo>
                    <a:lnTo>
                      <a:pt x="956" y="224"/>
                    </a:lnTo>
                    <a:lnTo>
                      <a:pt x="954" y="224"/>
                    </a:lnTo>
                    <a:lnTo>
                      <a:pt x="956" y="224"/>
                    </a:lnTo>
                    <a:lnTo>
                      <a:pt x="956" y="226"/>
                    </a:lnTo>
                    <a:lnTo>
                      <a:pt x="956" y="224"/>
                    </a:lnTo>
                    <a:lnTo>
                      <a:pt x="958" y="224"/>
                    </a:lnTo>
                    <a:lnTo>
                      <a:pt x="958" y="223"/>
                    </a:lnTo>
                    <a:lnTo>
                      <a:pt x="958" y="221"/>
                    </a:lnTo>
                    <a:lnTo>
                      <a:pt x="959" y="221"/>
                    </a:lnTo>
                    <a:lnTo>
                      <a:pt x="959" y="223"/>
                    </a:lnTo>
                    <a:lnTo>
                      <a:pt x="959" y="221"/>
                    </a:lnTo>
                    <a:lnTo>
                      <a:pt x="959" y="223"/>
                    </a:lnTo>
                    <a:lnTo>
                      <a:pt x="961" y="223"/>
                    </a:lnTo>
                    <a:lnTo>
                      <a:pt x="961" y="224"/>
                    </a:lnTo>
                    <a:lnTo>
                      <a:pt x="961" y="226"/>
                    </a:lnTo>
                    <a:lnTo>
                      <a:pt x="959" y="224"/>
                    </a:lnTo>
                    <a:lnTo>
                      <a:pt x="959" y="226"/>
                    </a:lnTo>
                    <a:lnTo>
                      <a:pt x="959" y="224"/>
                    </a:lnTo>
                    <a:lnTo>
                      <a:pt x="961" y="226"/>
                    </a:lnTo>
                    <a:lnTo>
                      <a:pt x="961" y="224"/>
                    </a:lnTo>
                    <a:lnTo>
                      <a:pt x="963" y="224"/>
                    </a:lnTo>
                    <a:lnTo>
                      <a:pt x="963" y="223"/>
                    </a:lnTo>
                    <a:lnTo>
                      <a:pt x="963" y="224"/>
                    </a:lnTo>
                    <a:lnTo>
                      <a:pt x="963" y="223"/>
                    </a:lnTo>
                    <a:lnTo>
                      <a:pt x="964" y="223"/>
                    </a:lnTo>
                    <a:lnTo>
                      <a:pt x="964" y="221"/>
                    </a:lnTo>
                    <a:lnTo>
                      <a:pt x="966" y="223"/>
                    </a:lnTo>
                    <a:lnTo>
                      <a:pt x="964" y="223"/>
                    </a:lnTo>
                    <a:lnTo>
                      <a:pt x="964" y="224"/>
                    </a:lnTo>
                    <a:lnTo>
                      <a:pt x="963" y="224"/>
                    </a:lnTo>
                    <a:lnTo>
                      <a:pt x="963" y="226"/>
                    </a:lnTo>
                    <a:lnTo>
                      <a:pt x="963" y="228"/>
                    </a:lnTo>
                    <a:lnTo>
                      <a:pt x="964" y="228"/>
                    </a:lnTo>
                    <a:lnTo>
                      <a:pt x="963" y="228"/>
                    </a:lnTo>
                    <a:lnTo>
                      <a:pt x="964" y="228"/>
                    </a:lnTo>
                    <a:lnTo>
                      <a:pt x="964" y="226"/>
                    </a:lnTo>
                    <a:lnTo>
                      <a:pt x="966" y="226"/>
                    </a:lnTo>
                    <a:lnTo>
                      <a:pt x="966" y="224"/>
                    </a:lnTo>
                    <a:lnTo>
                      <a:pt x="968" y="223"/>
                    </a:lnTo>
                    <a:lnTo>
                      <a:pt x="966" y="223"/>
                    </a:lnTo>
                    <a:lnTo>
                      <a:pt x="968" y="223"/>
                    </a:lnTo>
                    <a:lnTo>
                      <a:pt x="969" y="223"/>
                    </a:lnTo>
                    <a:lnTo>
                      <a:pt x="968" y="223"/>
                    </a:lnTo>
                    <a:lnTo>
                      <a:pt x="969" y="224"/>
                    </a:lnTo>
                    <a:lnTo>
                      <a:pt x="968" y="224"/>
                    </a:lnTo>
                    <a:lnTo>
                      <a:pt x="969" y="224"/>
                    </a:lnTo>
                    <a:lnTo>
                      <a:pt x="969" y="226"/>
                    </a:lnTo>
                    <a:lnTo>
                      <a:pt x="968" y="226"/>
                    </a:lnTo>
                    <a:lnTo>
                      <a:pt x="968" y="228"/>
                    </a:lnTo>
                    <a:lnTo>
                      <a:pt x="966" y="228"/>
                    </a:lnTo>
                    <a:lnTo>
                      <a:pt x="968" y="228"/>
                    </a:lnTo>
                    <a:lnTo>
                      <a:pt x="969" y="228"/>
                    </a:lnTo>
                    <a:lnTo>
                      <a:pt x="968" y="229"/>
                    </a:lnTo>
                    <a:lnTo>
                      <a:pt x="968" y="231"/>
                    </a:lnTo>
                    <a:lnTo>
                      <a:pt x="968" y="233"/>
                    </a:lnTo>
                    <a:lnTo>
                      <a:pt x="968" y="234"/>
                    </a:lnTo>
                    <a:lnTo>
                      <a:pt x="966" y="234"/>
                    </a:lnTo>
                    <a:lnTo>
                      <a:pt x="966" y="236"/>
                    </a:lnTo>
                    <a:lnTo>
                      <a:pt x="968" y="236"/>
                    </a:lnTo>
                    <a:lnTo>
                      <a:pt x="969" y="236"/>
                    </a:lnTo>
                    <a:lnTo>
                      <a:pt x="969" y="238"/>
                    </a:lnTo>
                    <a:lnTo>
                      <a:pt x="971" y="238"/>
                    </a:lnTo>
                    <a:lnTo>
                      <a:pt x="971" y="240"/>
                    </a:lnTo>
                    <a:lnTo>
                      <a:pt x="971" y="241"/>
                    </a:lnTo>
                    <a:lnTo>
                      <a:pt x="973" y="241"/>
                    </a:lnTo>
                    <a:lnTo>
                      <a:pt x="973" y="240"/>
                    </a:lnTo>
                    <a:lnTo>
                      <a:pt x="971" y="241"/>
                    </a:lnTo>
                    <a:lnTo>
                      <a:pt x="971" y="240"/>
                    </a:lnTo>
                    <a:lnTo>
                      <a:pt x="971" y="238"/>
                    </a:lnTo>
                    <a:lnTo>
                      <a:pt x="971" y="236"/>
                    </a:lnTo>
                    <a:lnTo>
                      <a:pt x="969" y="236"/>
                    </a:lnTo>
                    <a:lnTo>
                      <a:pt x="969" y="234"/>
                    </a:lnTo>
                    <a:lnTo>
                      <a:pt x="971" y="234"/>
                    </a:lnTo>
                    <a:lnTo>
                      <a:pt x="971" y="233"/>
                    </a:lnTo>
                    <a:lnTo>
                      <a:pt x="971" y="231"/>
                    </a:lnTo>
                    <a:lnTo>
                      <a:pt x="971" y="229"/>
                    </a:lnTo>
                    <a:lnTo>
                      <a:pt x="973" y="229"/>
                    </a:lnTo>
                    <a:lnTo>
                      <a:pt x="973" y="228"/>
                    </a:lnTo>
                    <a:lnTo>
                      <a:pt x="973" y="229"/>
                    </a:lnTo>
                    <a:lnTo>
                      <a:pt x="973" y="228"/>
                    </a:lnTo>
                    <a:lnTo>
                      <a:pt x="975" y="228"/>
                    </a:lnTo>
                    <a:lnTo>
                      <a:pt x="975" y="229"/>
                    </a:lnTo>
                    <a:lnTo>
                      <a:pt x="975" y="228"/>
                    </a:lnTo>
                    <a:lnTo>
                      <a:pt x="976" y="228"/>
                    </a:lnTo>
                    <a:lnTo>
                      <a:pt x="978" y="228"/>
                    </a:lnTo>
                    <a:lnTo>
                      <a:pt x="980" y="229"/>
                    </a:lnTo>
                    <a:lnTo>
                      <a:pt x="978" y="229"/>
                    </a:lnTo>
                    <a:lnTo>
                      <a:pt x="980" y="229"/>
                    </a:lnTo>
                    <a:lnTo>
                      <a:pt x="980" y="231"/>
                    </a:lnTo>
                    <a:lnTo>
                      <a:pt x="978" y="231"/>
                    </a:lnTo>
                    <a:lnTo>
                      <a:pt x="980" y="231"/>
                    </a:lnTo>
                    <a:lnTo>
                      <a:pt x="981" y="231"/>
                    </a:lnTo>
                    <a:lnTo>
                      <a:pt x="981" y="229"/>
                    </a:lnTo>
                    <a:lnTo>
                      <a:pt x="980" y="229"/>
                    </a:lnTo>
                    <a:lnTo>
                      <a:pt x="980" y="228"/>
                    </a:lnTo>
                    <a:lnTo>
                      <a:pt x="981" y="228"/>
                    </a:lnTo>
                    <a:lnTo>
                      <a:pt x="983" y="226"/>
                    </a:lnTo>
                    <a:lnTo>
                      <a:pt x="985" y="226"/>
                    </a:lnTo>
                    <a:lnTo>
                      <a:pt x="985" y="228"/>
                    </a:lnTo>
                    <a:lnTo>
                      <a:pt x="983" y="228"/>
                    </a:lnTo>
                    <a:lnTo>
                      <a:pt x="983" y="229"/>
                    </a:lnTo>
                    <a:lnTo>
                      <a:pt x="981" y="229"/>
                    </a:lnTo>
                    <a:lnTo>
                      <a:pt x="981" y="231"/>
                    </a:lnTo>
                    <a:lnTo>
                      <a:pt x="981" y="233"/>
                    </a:lnTo>
                    <a:lnTo>
                      <a:pt x="983" y="233"/>
                    </a:lnTo>
                    <a:lnTo>
                      <a:pt x="985" y="233"/>
                    </a:lnTo>
                    <a:lnTo>
                      <a:pt x="985" y="231"/>
                    </a:lnTo>
                    <a:lnTo>
                      <a:pt x="986" y="231"/>
                    </a:lnTo>
                    <a:lnTo>
                      <a:pt x="986" y="233"/>
                    </a:lnTo>
                    <a:lnTo>
                      <a:pt x="986" y="231"/>
                    </a:lnTo>
                    <a:lnTo>
                      <a:pt x="988" y="231"/>
                    </a:lnTo>
                    <a:lnTo>
                      <a:pt x="988" y="233"/>
                    </a:lnTo>
                    <a:lnTo>
                      <a:pt x="988" y="231"/>
                    </a:lnTo>
                    <a:lnTo>
                      <a:pt x="990" y="231"/>
                    </a:lnTo>
                    <a:lnTo>
                      <a:pt x="992" y="233"/>
                    </a:lnTo>
                    <a:lnTo>
                      <a:pt x="990" y="234"/>
                    </a:lnTo>
                    <a:lnTo>
                      <a:pt x="990" y="233"/>
                    </a:lnTo>
                    <a:lnTo>
                      <a:pt x="988" y="233"/>
                    </a:lnTo>
                    <a:lnTo>
                      <a:pt x="988" y="234"/>
                    </a:lnTo>
                    <a:lnTo>
                      <a:pt x="986" y="234"/>
                    </a:lnTo>
                    <a:lnTo>
                      <a:pt x="986" y="236"/>
                    </a:lnTo>
                    <a:lnTo>
                      <a:pt x="988" y="236"/>
                    </a:lnTo>
                    <a:lnTo>
                      <a:pt x="990" y="236"/>
                    </a:lnTo>
                    <a:lnTo>
                      <a:pt x="988" y="236"/>
                    </a:lnTo>
                    <a:lnTo>
                      <a:pt x="988" y="238"/>
                    </a:lnTo>
                    <a:lnTo>
                      <a:pt x="986" y="238"/>
                    </a:lnTo>
                    <a:lnTo>
                      <a:pt x="988" y="238"/>
                    </a:lnTo>
                    <a:lnTo>
                      <a:pt x="990" y="238"/>
                    </a:lnTo>
                    <a:lnTo>
                      <a:pt x="992" y="238"/>
                    </a:lnTo>
                    <a:lnTo>
                      <a:pt x="990" y="236"/>
                    </a:lnTo>
                    <a:lnTo>
                      <a:pt x="992" y="236"/>
                    </a:lnTo>
                    <a:lnTo>
                      <a:pt x="993" y="236"/>
                    </a:lnTo>
                    <a:lnTo>
                      <a:pt x="992" y="236"/>
                    </a:lnTo>
                    <a:lnTo>
                      <a:pt x="992" y="238"/>
                    </a:lnTo>
                    <a:lnTo>
                      <a:pt x="993" y="238"/>
                    </a:lnTo>
                    <a:lnTo>
                      <a:pt x="992" y="238"/>
                    </a:lnTo>
                    <a:lnTo>
                      <a:pt x="993" y="240"/>
                    </a:lnTo>
                    <a:lnTo>
                      <a:pt x="993" y="238"/>
                    </a:lnTo>
                    <a:lnTo>
                      <a:pt x="993" y="240"/>
                    </a:lnTo>
                    <a:lnTo>
                      <a:pt x="995" y="240"/>
                    </a:lnTo>
                    <a:lnTo>
                      <a:pt x="995" y="241"/>
                    </a:lnTo>
                    <a:lnTo>
                      <a:pt x="993" y="241"/>
                    </a:lnTo>
                    <a:lnTo>
                      <a:pt x="995" y="241"/>
                    </a:lnTo>
                    <a:lnTo>
                      <a:pt x="997" y="243"/>
                    </a:lnTo>
                    <a:lnTo>
                      <a:pt x="997" y="245"/>
                    </a:lnTo>
                    <a:lnTo>
                      <a:pt x="995" y="245"/>
                    </a:lnTo>
                    <a:lnTo>
                      <a:pt x="997" y="245"/>
                    </a:lnTo>
                    <a:lnTo>
                      <a:pt x="995" y="246"/>
                    </a:lnTo>
                    <a:lnTo>
                      <a:pt x="993" y="246"/>
                    </a:lnTo>
                    <a:lnTo>
                      <a:pt x="995" y="246"/>
                    </a:lnTo>
                    <a:lnTo>
                      <a:pt x="997" y="246"/>
                    </a:lnTo>
                    <a:lnTo>
                      <a:pt x="995" y="248"/>
                    </a:lnTo>
                    <a:lnTo>
                      <a:pt x="993" y="248"/>
                    </a:lnTo>
                    <a:lnTo>
                      <a:pt x="993" y="250"/>
                    </a:lnTo>
                    <a:lnTo>
                      <a:pt x="993" y="251"/>
                    </a:lnTo>
                    <a:lnTo>
                      <a:pt x="992" y="251"/>
                    </a:lnTo>
                    <a:lnTo>
                      <a:pt x="992" y="253"/>
                    </a:lnTo>
                    <a:lnTo>
                      <a:pt x="990" y="253"/>
                    </a:lnTo>
                    <a:lnTo>
                      <a:pt x="990" y="255"/>
                    </a:lnTo>
                    <a:lnTo>
                      <a:pt x="990" y="253"/>
                    </a:lnTo>
                    <a:lnTo>
                      <a:pt x="990" y="255"/>
                    </a:lnTo>
                    <a:lnTo>
                      <a:pt x="988" y="255"/>
                    </a:lnTo>
                    <a:lnTo>
                      <a:pt x="986" y="255"/>
                    </a:lnTo>
                    <a:lnTo>
                      <a:pt x="988" y="255"/>
                    </a:lnTo>
                    <a:lnTo>
                      <a:pt x="990" y="255"/>
                    </a:lnTo>
                    <a:lnTo>
                      <a:pt x="992" y="255"/>
                    </a:lnTo>
                    <a:lnTo>
                      <a:pt x="990" y="257"/>
                    </a:lnTo>
                    <a:lnTo>
                      <a:pt x="990" y="258"/>
                    </a:lnTo>
                    <a:lnTo>
                      <a:pt x="988" y="258"/>
                    </a:lnTo>
                    <a:lnTo>
                      <a:pt x="990" y="258"/>
                    </a:lnTo>
                    <a:lnTo>
                      <a:pt x="992" y="258"/>
                    </a:lnTo>
                    <a:lnTo>
                      <a:pt x="990" y="257"/>
                    </a:lnTo>
                    <a:lnTo>
                      <a:pt x="992" y="257"/>
                    </a:lnTo>
                    <a:lnTo>
                      <a:pt x="992" y="255"/>
                    </a:lnTo>
                    <a:lnTo>
                      <a:pt x="993" y="253"/>
                    </a:lnTo>
                    <a:lnTo>
                      <a:pt x="995" y="253"/>
                    </a:lnTo>
                    <a:lnTo>
                      <a:pt x="993" y="253"/>
                    </a:lnTo>
                    <a:lnTo>
                      <a:pt x="995" y="251"/>
                    </a:lnTo>
                    <a:lnTo>
                      <a:pt x="995" y="250"/>
                    </a:lnTo>
                    <a:lnTo>
                      <a:pt x="997" y="250"/>
                    </a:lnTo>
                    <a:lnTo>
                      <a:pt x="998" y="251"/>
                    </a:lnTo>
                    <a:lnTo>
                      <a:pt x="1000" y="253"/>
                    </a:lnTo>
                    <a:lnTo>
                      <a:pt x="998" y="253"/>
                    </a:lnTo>
                    <a:lnTo>
                      <a:pt x="1000" y="253"/>
                    </a:lnTo>
                    <a:lnTo>
                      <a:pt x="1000" y="255"/>
                    </a:lnTo>
                    <a:lnTo>
                      <a:pt x="1000" y="257"/>
                    </a:lnTo>
                    <a:lnTo>
                      <a:pt x="1000" y="258"/>
                    </a:lnTo>
                    <a:lnTo>
                      <a:pt x="1000" y="260"/>
                    </a:lnTo>
                    <a:lnTo>
                      <a:pt x="998" y="260"/>
                    </a:lnTo>
                    <a:lnTo>
                      <a:pt x="997" y="260"/>
                    </a:lnTo>
                    <a:lnTo>
                      <a:pt x="997" y="258"/>
                    </a:lnTo>
                    <a:lnTo>
                      <a:pt x="995" y="258"/>
                    </a:lnTo>
                    <a:lnTo>
                      <a:pt x="997" y="258"/>
                    </a:lnTo>
                    <a:lnTo>
                      <a:pt x="997" y="260"/>
                    </a:lnTo>
                    <a:lnTo>
                      <a:pt x="995" y="260"/>
                    </a:lnTo>
                    <a:lnTo>
                      <a:pt x="995" y="262"/>
                    </a:lnTo>
                    <a:lnTo>
                      <a:pt x="997" y="262"/>
                    </a:lnTo>
                    <a:lnTo>
                      <a:pt x="995" y="262"/>
                    </a:lnTo>
                    <a:lnTo>
                      <a:pt x="995" y="263"/>
                    </a:lnTo>
                    <a:lnTo>
                      <a:pt x="993" y="263"/>
                    </a:lnTo>
                    <a:lnTo>
                      <a:pt x="993" y="265"/>
                    </a:lnTo>
                    <a:lnTo>
                      <a:pt x="993" y="263"/>
                    </a:lnTo>
                    <a:lnTo>
                      <a:pt x="995" y="263"/>
                    </a:lnTo>
                    <a:lnTo>
                      <a:pt x="995" y="265"/>
                    </a:lnTo>
                    <a:lnTo>
                      <a:pt x="993" y="265"/>
                    </a:lnTo>
                    <a:lnTo>
                      <a:pt x="993" y="267"/>
                    </a:lnTo>
                    <a:lnTo>
                      <a:pt x="993" y="268"/>
                    </a:lnTo>
                    <a:lnTo>
                      <a:pt x="992" y="268"/>
                    </a:lnTo>
                    <a:lnTo>
                      <a:pt x="992" y="270"/>
                    </a:lnTo>
                    <a:lnTo>
                      <a:pt x="992" y="272"/>
                    </a:lnTo>
                    <a:lnTo>
                      <a:pt x="992" y="274"/>
                    </a:lnTo>
                    <a:lnTo>
                      <a:pt x="992" y="275"/>
                    </a:lnTo>
                    <a:lnTo>
                      <a:pt x="990" y="275"/>
                    </a:lnTo>
                    <a:lnTo>
                      <a:pt x="990" y="277"/>
                    </a:lnTo>
                    <a:lnTo>
                      <a:pt x="990" y="279"/>
                    </a:lnTo>
                    <a:lnTo>
                      <a:pt x="992" y="280"/>
                    </a:lnTo>
                    <a:lnTo>
                      <a:pt x="992" y="282"/>
                    </a:lnTo>
                    <a:lnTo>
                      <a:pt x="990" y="282"/>
                    </a:lnTo>
                    <a:lnTo>
                      <a:pt x="990" y="284"/>
                    </a:lnTo>
                    <a:lnTo>
                      <a:pt x="988" y="284"/>
                    </a:lnTo>
                    <a:lnTo>
                      <a:pt x="988" y="285"/>
                    </a:lnTo>
                    <a:lnTo>
                      <a:pt x="986" y="285"/>
                    </a:lnTo>
                    <a:lnTo>
                      <a:pt x="986" y="287"/>
                    </a:lnTo>
                    <a:lnTo>
                      <a:pt x="986" y="289"/>
                    </a:lnTo>
                    <a:lnTo>
                      <a:pt x="986" y="291"/>
                    </a:lnTo>
                    <a:lnTo>
                      <a:pt x="988" y="291"/>
                    </a:lnTo>
                    <a:lnTo>
                      <a:pt x="988" y="289"/>
                    </a:lnTo>
                    <a:lnTo>
                      <a:pt x="986" y="287"/>
                    </a:lnTo>
                    <a:lnTo>
                      <a:pt x="988" y="287"/>
                    </a:lnTo>
                    <a:lnTo>
                      <a:pt x="988" y="285"/>
                    </a:lnTo>
                    <a:lnTo>
                      <a:pt x="990" y="285"/>
                    </a:lnTo>
                    <a:lnTo>
                      <a:pt x="992" y="285"/>
                    </a:lnTo>
                    <a:lnTo>
                      <a:pt x="992" y="284"/>
                    </a:lnTo>
                    <a:lnTo>
                      <a:pt x="995" y="282"/>
                    </a:lnTo>
                    <a:lnTo>
                      <a:pt x="995" y="280"/>
                    </a:lnTo>
                    <a:lnTo>
                      <a:pt x="997" y="280"/>
                    </a:lnTo>
                    <a:lnTo>
                      <a:pt x="997" y="279"/>
                    </a:lnTo>
                    <a:lnTo>
                      <a:pt x="998" y="279"/>
                    </a:lnTo>
                    <a:lnTo>
                      <a:pt x="998" y="277"/>
                    </a:lnTo>
                    <a:lnTo>
                      <a:pt x="998" y="275"/>
                    </a:lnTo>
                    <a:lnTo>
                      <a:pt x="998" y="274"/>
                    </a:lnTo>
                    <a:lnTo>
                      <a:pt x="998" y="272"/>
                    </a:lnTo>
                    <a:lnTo>
                      <a:pt x="1000" y="270"/>
                    </a:lnTo>
                    <a:lnTo>
                      <a:pt x="1000" y="268"/>
                    </a:lnTo>
                    <a:lnTo>
                      <a:pt x="1000" y="267"/>
                    </a:lnTo>
                    <a:lnTo>
                      <a:pt x="1000" y="265"/>
                    </a:lnTo>
                    <a:lnTo>
                      <a:pt x="1000" y="263"/>
                    </a:lnTo>
                    <a:lnTo>
                      <a:pt x="1002" y="263"/>
                    </a:lnTo>
                    <a:lnTo>
                      <a:pt x="1003" y="265"/>
                    </a:lnTo>
                    <a:lnTo>
                      <a:pt x="1003" y="263"/>
                    </a:lnTo>
                    <a:lnTo>
                      <a:pt x="1002" y="263"/>
                    </a:lnTo>
                    <a:lnTo>
                      <a:pt x="1003" y="263"/>
                    </a:lnTo>
                    <a:lnTo>
                      <a:pt x="1002" y="263"/>
                    </a:lnTo>
                    <a:lnTo>
                      <a:pt x="1002" y="262"/>
                    </a:lnTo>
                    <a:lnTo>
                      <a:pt x="1003" y="262"/>
                    </a:lnTo>
                    <a:lnTo>
                      <a:pt x="1005" y="262"/>
                    </a:lnTo>
                    <a:lnTo>
                      <a:pt x="1007" y="262"/>
                    </a:lnTo>
                    <a:lnTo>
                      <a:pt x="1007" y="260"/>
                    </a:lnTo>
                    <a:lnTo>
                      <a:pt x="1009" y="260"/>
                    </a:lnTo>
                    <a:lnTo>
                      <a:pt x="1010" y="260"/>
                    </a:lnTo>
                    <a:lnTo>
                      <a:pt x="1010" y="258"/>
                    </a:lnTo>
                    <a:lnTo>
                      <a:pt x="1012" y="260"/>
                    </a:lnTo>
                    <a:lnTo>
                      <a:pt x="1010" y="260"/>
                    </a:lnTo>
                    <a:lnTo>
                      <a:pt x="1010" y="262"/>
                    </a:lnTo>
                    <a:lnTo>
                      <a:pt x="1012" y="262"/>
                    </a:lnTo>
                    <a:lnTo>
                      <a:pt x="1012" y="263"/>
                    </a:lnTo>
                    <a:lnTo>
                      <a:pt x="1010" y="265"/>
                    </a:lnTo>
                    <a:lnTo>
                      <a:pt x="1009" y="265"/>
                    </a:lnTo>
                    <a:lnTo>
                      <a:pt x="1009" y="267"/>
                    </a:lnTo>
                    <a:lnTo>
                      <a:pt x="1009" y="268"/>
                    </a:lnTo>
                    <a:lnTo>
                      <a:pt x="1007" y="268"/>
                    </a:lnTo>
                    <a:lnTo>
                      <a:pt x="1005" y="268"/>
                    </a:lnTo>
                    <a:lnTo>
                      <a:pt x="1005" y="270"/>
                    </a:lnTo>
                    <a:lnTo>
                      <a:pt x="1003" y="270"/>
                    </a:lnTo>
                    <a:lnTo>
                      <a:pt x="1003" y="272"/>
                    </a:lnTo>
                    <a:lnTo>
                      <a:pt x="1002" y="272"/>
                    </a:lnTo>
                    <a:lnTo>
                      <a:pt x="1003" y="272"/>
                    </a:lnTo>
                    <a:lnTo>
                      <a:pt x="1003" y="274"/>
                    </a:lnTo>
                    <a:lnTo>
                      <a:pt x="1003" y="272"/>
                    </a:lnTo>
                    <a:lnTo>
                      <a:pt x="1005" y="272"/>
                    </a:lnTo>
                    <a:lnTo>
                      <a:pt x="1007" y="272"/>
                    </a:lnTo>
                    <a:lnTo>
                      <a:pt x="1007" y="274"/>
                    </a:lnTo>
                    <a:lnTo>
                      <a:pt x="1007" y="272"/>
                    </a:lnTo>
                    <a:lnTo>
                      <a:pt x="1009" y="272"/>
                    </a:lnTo>
                    <a:lnTo>
                      <a:pt x="1009" y="270"/>
                    </a:lnTo>
                    <a:lnTo>
                      <a:pt x="1010" y="272"/>
                    </a:lnTo>
                    <a:lnTo>
                      <a:pt x="1010" y="270"/>
                    </a:lnTo>
                    <a:lnTo>
                      <a:pt x="1010" y="272"/>
                    </a:lnTo>
                    <a:lnTo>
                      <a:pt x="1010" y="270"/>
                    </a:lnTo>
                    <a:lnTo>
                      <a:pt x="1012" y="268"/>
                    </a:lnTo>
                    <a:lnTo>
                      <a:pt x="1012" y="267"/>
                    </a:lnTo>
                    <a:lnTo>
                      <a:pt x="1014" y="267"/>
                    </a:lnTo>
                    <a:lnTo>
                      <a:pt x="1014" y="265"/>
                    </a:lnTo>
                    <a:lnTo>
                      <a:pt x="1015" y="265"/>
                    </a:lnTo>
                    <a:lnTo>
                      <a:pt x="1015" y="263"/>
                    </a:lnTo>
                    <a:lnTo>
                      <a:pt x="1017" y="265"/>
                    </a:lnTo>
                    <a:lnTo>
                      <a:pt x="1017" y="263"/>
                    </a:lnTo>
                    <a:lnTo>
                      <a:pt x="1019" y="263"/>
                    </a:lnTo>
                    <a:lnTo>
                      <a:pt x="1017" y="263"/>
                    </a:lnTo>
                    <a:lnTo>
                      <a:pt x="1019" y="262"/>
                    </a:lnTo>
                    <a:lnTo>
                      <a:pt x="1019" y="260"/>
                    </a:lnTo>
                    <a:lnTo>
                      <a:pt x="1019" y="258"/>
                    </a:lnTo>
                    <a:lnTo>
                      <a:pt x="1020" y="258"/>
                    </a:lnTo>
                    <a:lnTo>
                      <a:pt x="1019" y="260"/>
                    </a:lnTo>
                    <a:lnTo>
                      <a:pt x="1019" y="262"/>
                    </a:lnTo>
                    <a:lnTo>
                      <a:pt x="1019" y="260"/>
                    </a:lnTo>
                    <a:lnTo>
                      <a:pt x="1020" y="260"/>
                    </a:lnTo>
                    <a:lnTo>
                      <a:pt x="1022" y="258"/>
                    </a:lnTo>
                    <a:lnTo>
                      <a:pt x="1022" y="257"/>
                    </a:lnTo>
                    <a:lnTo>
                      <a:pt x="1022" y="255"/>
                    </a:lnTo>
                    <a:lnTo>
                      <a:pt x="1024" y="255"/>
                    </a:lnTo>
                    <a:lnTo>
                      <a:pt x="1026" y="255"/>
                    </a:lnTo>
                    <a:lnTo>
                      <a:pt x="1026" y="253"/>
                    </a:lnTo>
                    <a:lnTo>
                      <a:pt x="1026" y="255"/>
                    </a:lnTo>
                    <a:lnTo>
                      <a:pt x="1024" y="255"/>
                    </a:lnTo>
                    <a:lnTo>
                      <a:pt x="1024" y="257"/>
                    </a:lnTo>
                    <a:lnTo>
                      <a:pt x="1026" y="257"/>
                    </a:lnTo>
                    <a:lnTo>
                      <a:pt x="1026" y="258"/>
                    </a:lnTo>
                    <a:lnTo>
                      <a:pt x="1024" y="258"/>
                    </a:lnTo>
                    <a:lnTo>
                      <a:pt x="1024" y="260"/>
                    </a:lnTo>
                    <a:lnTo>
                      <a:pt x="1022" y="260"/>
                    </a:lnTo>
                    <a:lnTo>
                      <a:pt x="1020" y="260"/>
                    </a:lnTo>
                    <a:lnTo>
                      <a:pt x="1020" y="262"/>
                    </a:lnTo>
                    <a:lnTo>
                      <a:pt x="1020" y="263"/>
                    </a:lnTo>
                    <a:lnTo>
                      <a:pt x="1020" y="262"/>
                    </a:lnTo>
                    <a:lnTo>
                      <a:pt x="1022" y="262"/>
                    </a:lnTo>
                    <a:lnTo>
                      <a:pt x="1024" y="262"/>
                    </a:lnTo>
                    <a:lnTo>
                      <a:pt x="1022" y="262"/>
                    </a:lnTo>
                    <a:lnTo>
                      <a:pt x="1022" y="263"/>
                    </a:lnTo>
                    <a:lnTo>
                      <a:pt x="1024" y="263"/>
                    </a:lnTo>
                    <a:lnTo>
                      <a:pt x="1024" y="262"/>
                    </a:lnTo>
                    <a:lnTo>
                      <a:pt x="1026" y="262"/>
                    </a:lnTo>
                    <a:lnTo>
                      <a:pt x="1026" y="263"/>
                    </a:lnTo>
                    <a:lnTo>
                      <a:pt x="1026" y="262"/>
                    </a:lnTo>
                    <a:lnTo>
                      <a:pt x="1027" y="262"/>
                    </a:lnTo>
                    <a:lnTo>
                      <a:pt x="1026" y="262"/>
                    </a:lnTo>
                    <a:lnTo>
                      <a:pt x="1027" y="263"/>
                    </a:lnTo>
                    <a:lnTo>
                      <a:pt x="1027" y="262"/>
                    </a:lnTo>
                    <a:lnTo>
                      <a:pt x="1027" y="260"/>
                    </a:lnTo>
                    <a:lnTo>
                      <a:pt x="1029" y="260"/>
                    </a:lnTo>
                    <a:lnTo>
                      <a:pt x="1029" y="262"/>
                    </a:lnTo>
                    <a:lnTo>
                      <a:pt x="1031" y="262"/>
                    </a:lnTo>
                    <a:lnTo>
                      <a:pt x="1031" y="263"/>
                    </a:lnTo>
                    <a:lnTo>
                      <a:pt x="1031" y="262"/>
                    </a:lnTo>
                    <a:lnTo>
                      <a:pt x="1031" y="260"/>
                    </a:lnTo>
                    <a:lnTo>
                      <a:pt x="1032" y="260"/>
                    </a:lnTo>
                    <a:lnTo>
                      <a:pt x="1034" y="260"/>
                    </a:lnTo>
                    <a:lnTo>
                      <a:pt x="1032" y="260"/>
                    </a:lnTo>
                    <a:lnTo>
                      <a:pt x="1031" y="260"/>
                    </a:lnTo>
                    <a:lnTo>
                      <a:pt x="1031" y="258"/>
                    </a:lnTo>
                    <a:lnTo>
                      <a:pt x="1031" y="257"/>
                    </a:lnTo>
                    <a:lnTo>
                      <a:pt x="1032" y="257"/>
                    </a:lnTo>
                    <a:lnTo>
                      <a:pt x="1034" y="257"/>
                    </a:lnTo>
                    <a:lnTo>
                      <a:pt x="1036" y="257"/>
                    </a:lnTo>
                    <a:lnTo>
                      <a:pt x="1037" y="257"/>
                    </a:lnTo>
                    <a:lnTo>
                      <a:pt x="1039" y="258"/>
                    </a:lnTo>
                    <a:lnTo>
                      <a:pt x="1041" y="258"/>
                    </a:lnTo>
                    <a:lnTo>
                      <a:pt x="1043" y="258"/>
                    </a:lnTo>
                    <a:lnTo>
                      <a:pt x="1043" y="260"/>
                    </a:lnTo>
                    <a:lnTo>
                      <a:pt x="1044" y="260"/>
                    </a:lnTo>
                    <a:lnTo>
                      <a:pt x="1046" y="262"/>
                    </a:lnTo>
                    <a:lnTo>
                      <a:pt x="1048" y="262"/>
                    </a:lnTo>
                    <a:lnTo>
                      <a:pt x="1049" y="262"/>
                    </a:lnTo>
                    <a:lnTo>
                      <a:pt x="1049" y="263"/>
                    </a:lnTo>
                    <a:lnTo>
                      <a:pt x="1051" y="263"/>
                    </a:lnTo>
                    <a:lnTo>
                      <a:pt x="1053" y="263"/>
                    </a:lnTo>
                    <a:lnTo>
                      <a:pt x="1053" y="265"/>
                    </a:lnTo>
                    <a:lnTo>
                      <a:pt x="1054" y="265"/>
                    </a:lnTo>
                    <a:lnTo>
                      <a:pt x="1056" y="265"/>
                    </a:lnTo>
                    <a:lnTo>
                      <a:pt x="1058" y="267"/>
                    </a:lnTo>
                    <a:lnTo>
                      <a:pt x="1060" y="267"/>
                    </a:lnTo>
                    <a:lnTo>
                      <a:pt x="1061" y="268"/>
                    </a:lnTo>
                    <a:lnTo>
                      <a:pt x="1063" y="268"/>
                    </a:lnTo>
                    <a:lnTo>
                      <a:pt x="1065" y="268"/>
                    </a:lnTo>
                    <a:lnTo>
                      <a:pt x="1066" y="270"/>
                    </a:lnTo>
                    <a:lnTo>
                      <a:pt x="1068" y="270"/>
                    </a:lnTo>
                    <a:lnTo>
                      <a:pt x="1070" y="270"/>
                    </a:lnTo>
                    <a:lnTo>
                      <a:pt x="1071" y="270"/>
                    </a:lnTo>
                    <a:lnTo>
                      <a:pt x="1071" y="272"/>
                    </a:lnTo>
                    <a:lnTo>
                      <a:pt x="1073" y="274"/>
                    </a:lnTo>
                    <a:lnTo>
                      <a:pt x="1071" y="274"/>
                    </a:lnTo>
                    <a:lnTo>
                      <a:pt x="1073" y="274"/>
                    </a:lnTo>
                    <a:lnTo>
                      <a:pt x="1073" y="272"/>
                    </a:lnTo>
                    <a:lnTo>
                      <a:pt x="1073" y="274"/>
                    </a:lnTo>
                    <a:lnTo>
                      <a:pt x="1073" y="272"/>
                    </a:lnTo>
                    <a:lnTo>
                      <a:pt x="1073" y="274"/>
                    </a:lnTo>
                    <a:lnTo>
                      <a:pt x="1075" y="274"/>
                    </a:lnTo>
                    <a:lnTo>
                      <a:pt x="1075" y="272"/>
                    </a:lnTo>
                    <a:lnTo>
                      <a:pt x="1077" y="272"/>
                    </a:lnTo>
                    <a:lnTo>
                      <a:pt x="1075" y="272"/>
                    </a:lnTo>
                    <a:lnTo>
                      <a:pt x="1073" y="272"/>
                    </a:lnTo>
                    <a:lnTo>
                      <a:pt x="1075" y="272"/>
                    </a:lnTo>
                    <a:lnTo>
                      <a:pt x="1075" y="270"/>
                    </a:lnTo>
                    <a:lnTo>
                      <a:pt x="1077" y="272"/>
                    </a:lnTo>
                    <a:lnTo>
                      <a:pt x="1078" y="272"/>
                    </a:lnTo>
                    <a:lnTo>
                      <a:pt x="1078" y="274"/>
                    </a:lnTo>
                    <a:lnTo>
                      <a:pt x="1078" y="272"/>
                    </a:lnTo>
                    <a:lnTo>
                      <a:pt x="1080" y="272"/>
                    </a:lnTo>
                    <a:lnTo>
                      <a:pt x="1080" y="270"/>
                    </a:lnTo>
                    <a:lnTo>
                      <a:pt x="1082" y="270"/>
                    </a:lnTo>
                    <a:lnTo>
                      <a:pt x="1083" y="270"/>
                    </a:lnTo>
                    <a:lnTo>
                      <a:pt x="1085" y="270"/>
                    </a:lnTo>
                    <a:lnTo>
                      <a:pt x="1087" y="270"/>
                    </a:lnTo>
                    <a:lnTo>
                      <a:pt x="1085" y="272"/>
                    </a:lnTo>
                    <a:lnTo>
                      <a:pt x="1087" y="272"/>
                    </a:lnTo>
                    <a:lnTo>
                      <a:pt x="1087" y="270"/>
                    </a:lnTo>
                    <a:lnTo>
                      <a:pt x="1088" y="272"/>
                    </a:lnTo>
                    <a:lnTo>
                      <a:pt x="1090" y="272"/>
                    </a:lnTo>
                    <a:lnTo>
                      <a:pt x="1090" y="274"/>
                    </a:lnTo>
                    <a:lnTo>
                      <a:pt x="1092" y="274"/>
                    </a:lnTo>
                    <a:lnTo>
                      <a:pt x="1092" y="275"/>
                    </a:lnTo>
                    <a:lnTo>
                      <a:pt x="1094" y="275"/>
                    </a:lnTo>
                    <a:lnTo>
                      <a:pt x="1095" y="275"/>
                    </a:lnTo>
                    <a:lnTo>
                      <a:pt x="1095" y="277"/>
                    </a:lnTo>
                    <a:lnTo>
                      <a:pt x="1097" y="277"/>
                    </a:lnTo>
                    <a:lnTo>
                      <a:pt x="1097" y="275"/>
                    </a:lnTo>
                    <a:lnTo>
                      <a:pt x="1099" y="275"/>
                    </a:lnTo>
                    <a:lnTo>
                      <a:pt x="1099" y="277"/>
                    </a:lnTo>
                    <a:lnTo>
                      <a:pt x="1100" y="277"/>
                    </a:lnTo>
                    <a:lnTo>
                      <a:pt x="1100" y="275"/>
                    </a:lnTo>
                    <a:lnTo>
                      <a:pt x="1100" y="277"/>
                    </a:lnTo>
                    <a:lnTo>
                      <a:pt x="1102" y="277"/>
                    </a:lnTo>
                    <a:lnTo>
                      <a:pt x="1104" y="277"/>
                    </a:lnTo>
                    <a:lnTo>
                      <a:pt x="1104" y="275"/>
                    </a:lnTo>
                    <a:lnTo>
                      <a:pt x="1105" y="275"/>
                    </a:lnTo>
                    <a:lnTo>
                      <a:pt x="1107" y="275"/>
                    </a:lnTo>
                    <a:lnTo>
                      <a:pt x="1109" y="275"/>
                    </a:lnTo>
                    <a:lnTo>
                      <a:pt x="1111" y="275"/>
                    </a:lnTo>
                    <a:lnTo>
                      <a:pt x="1112" y="275"/>
                    </a:lnTo>
                    <a:lnTo>
                      <a:pt x="1114" y="275"/>
                    </a:lnTo>
                    <a:lnTo>
                      <a:pt x="1116" y="275"/>
                    </a:lnTo>
                    <a:lnTo>
                      <a:pt x="1117" y="275"/>
                    </a:lnTo>
                    <a:lnTo>
                      <a:pt x="1119" y="275"/>
                    </a:lnTo>
                    <a:lnTo>
                      <a:pt x="1121" y="275"/>
                    </a:lnTo>
                    <a:lnTo>
                      <a:pt x="1121" y="274"/>
                    </a:lnTo>
                    <a:lnTo>
                      <a:pt x="1122" y="274"/>
                    </a:lnTo>
                    <a:lnTo>
                      <a:pt x="1124" y="274"/>
                    </a:lnTo>
                    <a:lnTo>
                      <a:pt x="1126" y="274"/>
                    </a:lnTo>
                    <a:lnTo>
                      <a:pt x="1128" y="274"/>
                    </a:lnTo>
                    <a:lnTo>
                      <a:pt x="1129" y="274"/>
                    </a:lnTo>
                    <a:lnTo>
                      <a:pt x="1131" y="272"/>
                    </a:lnTo>
                    <a:lnTo>
                      <a:pt x="1133" y="272"/>
                    </a:lnTo>
                    <a:lnTo>
                      <a:pt x="1133" y="274"/>
                    </a:lnTo>
                    <a:lnTo>
                      <a:pt x="1134" y="274"/>
                    </a:lnTo>
                    <a:lnTo>
                      <a:pt x="1136" y="274"/>
                    </a:lnTo>
                    <a:lnTo>
                      <a:pt x="1136" y="272"/>
                    </a:lnTo>
                    <a:lnTo>
                      <a:pt x="1138" y="272"/>
                    </a:lnTo>
                    <a:lnTo>
                      <a:pt x="1138" y="274"/>
                    </a:lnTo>
                    <a:lnTo>
                      <a:pt x="1139" y="274"/>
                    </a:lnTo>
                    <a:lnTo>
                      <a:pt x="1141" y="274"/>
                    </a:lnTo>
                    <a:lnTo>
                      <a:pt x="1143" y="274"/>
                    </a:lnTo>
                    <a:lnTo>
                      <a:pt x="1145" y="274"/>
                    </a:lnTo>
                    <a:lnTo>
                      <a:pt x="1146" y="274"/>
                    </a:lnTo>
                    <a:lnTo>
                      <a:pt x="1148" y="274"/>
                    </a:lnTo>
                    <a:lnTo>
                      <a:pt x="1150" y="274"/>
                    </a:lnTo>
                    <a:lnTo>
                      <a:pt x="1150" y="275"/>
                    </a:lnTo>
                    <a:lnTo>
                      <a:pt x="1151" y="275"/>
                    </a:lnTo>
                    <a:lnTo>
                      <a:pt x="1150" y="275"/>
                    </a:lnTo>
                    <a:lnTo>
                      <a:pt x="1151" y="275"/>
                    </a:lnTo>
                    <a:lnTo>
                      <a:pt x="1153" y="275"/>
                    </a:lnTo>
                    <a:lnTo>
                      <a:pt x="1153" y="277"/>
                    </a:lnTo>
                    <a:lnTo>
                      <a:pt x="1155" y="277"/>
                    </a:lnTo>
                    <a:lnTo>
                      <a:pt x="1156" y="279"/>
                    </a:lnTo>
                    <a:lnTo>
                      <a:pt x="1158" y="279"/>
                    </a:lnTo>
                    <a:lnTo>
                      <a:pt x="1160" y="280"/>
                    </a:lnTo>
                    <a:lnTo>
                      <a:pt x="1162" y="280"/>
                    </a:lnTo>
                    <a:lnTo>
                      <a:pt x="1162" y="282"/>
                    </a:lnTo>
                    <a:lnTo>
                      <a:pt x="1163" y="282"/>
                    </a:lnTo>
                    <a:lnTo>
                      <a:pt x="1165" y="282"/>
                    </a:lnTo>
                    <a:lnTo>
                      <a:pt x="1165" y="284"/>
                    </a:lnTo>
                    <a:lnTo>
                      <a:pt x="1167" y="284"/>
                    </a:lnTo>
                    <a:lnTo>
                      <a:pt x="1168" y="285"/>
                    </a:lnTo>
                    <a:lnTo>
                      <a:pt x="1170" y="285"/>
                    </a:lnTo>
                    <a:lnTo>
                      <a:pt x="1172" y="285"/>
                    </a:lnTo>
                    <a:lnTo>
                      <a:pt x="1172" y="287"/>
                    </a:lnTo>
                    <a:lnTo>
                      <a:pt x="1173" y="287"/>
                    </a:lnTo>
                    <a:lnTo>
                      <a:pt x="1175" y="287"/>
                    </a:lnTo>
                    <a:lnTo>
                      <a:pt x="1175" y="289"/>
                    </a:lnTo>
                    <a:lnTo>
                      <a:pt x="1175" y="291"/>
                    </a:lnTo>
                    <a:lnTo>
                      <a:pt x="1177" y="291"/>
                    </a:lnTo>
                    <a:lnTo>
                      <a:pt x="1179" y="292"/>
                    </a:lnTo>
                    <a:lnTo>
                      <a:pt x="1180" y="294"/>
                    </a:lnTo>
                    <a:lnTo>
                      <a:pt x="1180" y="292"/>
                    </a:lnTo>
                    <a:lnTo>
                      <a:pt x="1182" y="292"/>
                    </a:lnTo>
                    <a:lnTo>
                      <a:pt x="1184" y="294"/>
                    </a:lnTo>
                    <a:lnTo>
                      <a:pt x="1184" y="296"/>
                    </a:lnTo>
                    <a:lnTo>
                      <a:pt x="1185" y="296"/>
                    </a:lnTo>
                    <a:lnTo>
                      <a:pt x="1185" y="297"/>
                    </a:lnTo>
                    <a:lnTo>
                      <a:pt x="1187" y="297"/>
                    </a:lnTo>
                    <a:lnTo>
                      <a:pt x="1189" y="297"/>
                    </a:lnTo>
                    <a:lnTo>
                      <a:pt x="1189" y="299"/>
                    </a:lnTo>
                    <a:lnTo>
                      <a:pt x="1190" y="301"/>
                    </a:lnTo>
                    <a:lnTo>
                      <a:pt x="1192" y="301"/>
                    </a:lnTo>
                    <a:lnTo>
                      <a:pt x="1192" y="302"/>
                    </a:lnTo>
                    <a:lnTo>
                      <a:pt x="1194" y="302"/>
                    </a:lnTo>
                    <a:lnTo>
                      <a:pt x="1196" y="302"/>
                    </a:lnTo>
                    <a:lnTo>
                      <a:pt x="1197" y="304"/>
                    </a:lnTo>
                    <a:lnTo>
                      <a:pt x="1199" y="304"/>
                    </a:lnTo>
                    <a:lnTo>
                      <a:pt x="1199" y="302"/>
                    </a:lnTo>
                    <a:lnTo>
                      <a:pt x="1199" y="304"/>
                    </a:lnTo>
                    <a:lnTo>
                      <a:pt x="1201" y="304"/>
                    </a:lnTo>
                    <a:lnTo>
                      <a:pt x="1201" y="306"/>
                    </a:lnTo>
                    <a:lnTo>
                      <a:pt x="1202" y="308"/>
                    </a:lnTo>
                    <a:lnTo>
                      <a:pt x="1202" y="309"/>
                    </a:lnTo>
                    <a:lnTo>
                      <a:pt x="1204" y="309"/>
                    </a:lnTo>
                    <a:lnTo>
                      <a:pt x="1204" y="311"/>
                    </a:lnTo>
                    <a:lnTo>
                      <a:pt x="1206" y="311"/>
                    </a:lnTo>
                    <a:lnTo>
                      <a:pt x="1207" y="313"/>
                    </a:lnTo>
                    <a:lnTo>
                      <a:pt x="1209" y="314"/>
                    </a:lnTo>
                    <a:lnTo>
                      <a:pt x="1209" y="316"/>
                    </a:lnTo>
                    <a:lnTo>
                      <a:pt x="1211" y="316"/>
                    </a:lnTo>
                    <a:lnTo>
                      <a:pt x="1211" y="318"/>
                    </a:lnTo>
                    <a:lnTo>
                      <a:pt x="1213" y="319"/>
                    </a:lnTo>
                    <a:lnTo>
                      <a:pt x="1214" y="321"/>
                    </a:lnTo>
                    <a:lnTo>
                      <a:pt x="1216" y="321"/>
                    </a:lnTo>
                    <a:lnTo>
                      <a:pt x="1216" y="323"/>
                    </a:lnTo>
                    <a:lnTo>
                      <a:pt x="1218" y="323"/>
                    </a:lnTo>
                    <a:lnTo>
                      <a:pt x="1218" y="325"/>
                    </a:lnTo>
                    <a:lnTo>
                      <a:pt x="1219" y="326"/>
                    </a:lnTo>
                    <a:lnTo>
                      <a:pt x="1221" y="326"/>
                    </a:lnTo>
                    <a:lnTo>
                      <a:pt x="1223" y="326"/>
                    </a:lnTo>
                    <a:lnTo>
                      <a:pt x="1223" y="328"/>
                    </a:lnTo>
                    <a:lnTo>
                      <a:pt x="1224" y="328"/>
                    </a:lnTo>
                    <a:lnTo>
                      <a:pt x="1224" y="330"/>
                    </a:lnTo>
                    <a:lnTo>
                      <a:pt x="1224" y="331"/>
                    </a:lnTo>
                    <a:lnTo>
                      <a:pt x="1226" y="331"/>
                    </a:lnTo>
                    <a:lnTo>
                      <a:pt x="1228" y="333"/>
                    </a:lnTo>
                    <a:lnTo>
                      <a:pt x="1230" y="335"/>
                    </a:lnTo>
                    <a:lnTo>
                      <a:pt x="1231" y="335"/>
                    </a:lnTo>
                    <a:lnTo>
                      <a:pt x="1233" y="335"/>
                    </a:lnTo>
                    <a:lnTo>
                      <a:pt x="1235" y="335"/>
                    </a:lnTo>
                    <a:lnTo>
                      <a:pt x="1235" y="337"/>
                    </a:lnTo>
                    <a:lnTo>
                      <a:pt x="1236" y="337"/>
                    </a:lnTo>
                    <a:lnTo>
                      <a:pt x="1238" y="337"/>
                    </a:lnTo>
                    <a:lnTo>
                      <a:pt x="1238" y="338"/>
                    </a:lnTo>
                    <a:lnTo>
                      <a:pt x="1240" y="338"/>
                    </a:lnTo>
                    <a:lnTo>
                      <a:pt x="1240" y="340"/>
                    </a:lnTo>
                    <a:lnTo>
                      <a:pt x="1240" y="342"/>
                    </a:lnTo>
                    <a:lnTo>
                      <a:pt x="1241" y="342"/>
                    </a:lnTo>
                    <a:lnTo>
                      <a:pt x="1241" y="343"/>
                    </a:lnTo>
                    <a:lnTo>
                      <a:pt x="1243" y="343"/>
                    </a:lnTo>
                    <a:lnTo>
                      <a:pt x="1243" y="345"/>
                    </a:lnTo>
                    <a:lnTo>
                      <a:pt x="1245" y="345"/>
                    </a:lnTo>
                    <a:lnTo>
                      <a:pt x="1247" y="345"/>
                    </a:lnTo>
                    <a:lnTo>
                      <a:pt x="1248" y="345"/>
                    </a:lnTo>
                    <a:lnTo>
                      <a:pt x="1250" y="345"/>
                    </a:lnTo>
                    <a:lnTo>
                      <a:pt x="1252" y="345"/>
                    </a:lnTo>
                    <a:lnTo>
                      <a:pt x="1253" y="345"/>
                    </a:lnTo>
                    <a:lnTo>
                      <a:pt x="1253" y="347"/>
                    </a:lnTo>
                    <a:lnTo>
                      <a:pt x="1255" y="347"/>
                    </a:lnTo>
                    <a:lnTo>
                      <a:pt x="1255" y="348"/>
                    </a:lnTo>
                    <a:lnTo>
                      <a:pt x="1257" y="348"/>
                    </a:lnTo>
                    <a:lnTo>
                      <a:pt x="1258" y="348"/>
                    </a:lnTo>
                    <a:lnTo>
                      <a:pt x="1258" y="350"/>
                    </a:lnTo>
                    <a:lnTo>
                      <a:pt x="1260" y="350"/>
                    </a:lnTo>
                    <a:lnTo>
                      <a:pt x="1262" y="350"/>
                    </a:lnTo>
                    <a:lnTo>
                      <a:pt x="1264" y="350"/>
                    </a:lnTo>
                    <a:lnTo>
                      <a:pt x="1262" y="350"/>
                    </a:lnTo>
                    <a:lnTo>
                      <a:pt x="1264" y="350"/>
                    </a:lnTo>
                    <a:lnTo>
                      <a:pt x="1265" y="350"/>
                    </a:lnTo>
                    <a:lnTo>
                      <a:pt x="1267" y="350"/>
                    </a:lnTo>
                    <a:lnTo>
                      <a:pt x="1267" y="348"/>
                    </a:lnTo>
                    <a:lnTo>
                      <a:pt x="1269" y="350"/>
                    </a:lnTo>
                    <a:lnTo>
                      <a:pt x="1270" y="350"/>
                    </a:lnTo>
                    <a:lnTo>
                      <a:pt x="1272" y="350"/>
                    </a:lnTo>
                    <a:lnTo>
                      <a:pt x="1274" y="350"/>
                    </a:lnTo>
                    <a:lnTo>
                      <a:pt x="1275" y="350"/>
                    </a:lnTo>
                    <a:lnTo>
                      <a:pt x="1277" y="350"/>
                    </a:lnTo>
                    <a:lnTo>
                      <a:pt x="1279" y="350"/>
                    </a:lnTo>
                    <a:lnTo>
                      <a:pt x="1281" y="348"/>
                    </a:lnTo>
                    <a:lnTo>
                      <a:pt x="1282" y="348"/>
                    </a:lnTo>
                    <a:lnTo>
                      <a:pt x="1284" y="348"/>
                    </a:lnTo>
                    <a:lnTo>
                      <a:pt x="1286" y="348"/>
                    </a:lnTo>
                    <a:lnTo>
                      <a:pt x="1287" y="348"/>
                    </a:lnTo>
                    <a:lnTo>
                      <a:pt x="1289" y="350"/>
                    </a:lnTo>
                    <a:lnTo>
                      <a:pt x="1291" y="350"/>
                    </a:lnTo>
                    <a:lnTo>
                      <a:pt x="1292" y="350"/>
                    </a:lnTo>
                    <a:lnTo>
                      <a:pt x="1294" y="350"/>
                    </a:lnTo>
                    <a:lnTo>
                      <a:pt x="1294" y="352"/>
                    </a:lnTo>
                    <a:lnTo>
                      <a:pt x="1296" y="350"/>
                    </a:lnTo>
                    <a:lnTo>
                      <a:pt x="1296" y="352"/>
                    </a:lnTo>
                    <a:lnTo>
                      <a:pt x="1298" y="352"/>
                    </a:lnTo>
                    <a:lnTo>
                      <a:pt x="1299" y="352"/>
                    </a:lnTo>
                    <a:lnTo>
                      <a:pt x="1301" y="352"/>
                    </a:lnTo>
                    <a:lnTo>
                      <a:pt x="1301" y="354"/>
                    </a:lnTo>
                    <a:lnTo>
                      <a:pt x="1303" y="354"/>
                    </a:lnTo>
                    <a:lnTo>
                      <a:pt x="1303" y="355"/>
                    </a:lnTo>
                    <a:lnTo>
                      <a:pt x="1304" y="357"/>
                    </a:lnTo>
                    <a:lnTo>
                      <a:pt x="1304" y="359"/>
                    </a:lnTo>
                    <a:lnTo>
                      <a:pt x="1306" y="360"/>
                    </a:lnTo>
                    <a:lnTo>
                      <a:pt x="1306" y="362"/>
                    </a:lnTo>
                    <a:lnTo>
                      <a:pt x="1308" y="364"/>
                    </a:lnTo>
                    <a:lnTo>
                      <a:pt x="1308" y="365"/>
                    </a:lnTo>
                    <a:lnTo>
                      <a:pt x="1308" y="367"/>
                    </a:lnTo>
                    <a:lnTo>
                      <a:pt x="1309" y="367"/>
                    </a:lnTo>
                    <a:lnTo>
                      <a:pt x="1309" y="369"/>
                    </a:lnTo>
                    <a:lnTo>
                      <a:pt x="1309" y="371"/>
                    </a:lnTo>
                    <a:lnTo>
                      <a:pt x="1309" y="372"/>
                    </a:lnTo>
                    <a:lnTo>
                      <a:pt x="1309" y="374"/>
                    </a:lnTo>
                    <a:lnTo>
                      <a:pt x="1311" y="374"/>
                    </a:lnTo>
                    <a:lnTo>
                      <a:pt x="1311" y="376"/>
                    </a:lnTo>
                    <a:lnTo>
                      <a:pt x="1311" y="377"/>
                    </a:lnTo>
                    <a:lnTo>
                      <a:pt x="1311" y="379"/>
                    </a:lnTo>
                    <a:lnTo>
                      <a:pt x="1313" y="379"/>
                    </a:lnTo>
                    <a:lnTo>
                      <a:pt x="1313" y="381"/>
                    </a:lnTo>
                    <a:lnTo>
                      <a:pt x="1313" y="382"/>
                    </a:lnTo>
                    <a:lnTo>
                      <a:pt x="1313" y="384"/>
                    </a:lnTo>
                    <a:lnTo>
                      <a:pt x="1313" y="386"/>
                    </a:lnTo>
                    <a:lnTo>
                      <a:pt x="1313" y="388"/>
                    </a:lnTo>
                    <a:lnTo>
                      <a:pt x="1315" y="388"/>
                    </a:lnTo>
                    <a:lnTo>
                      <a:pt x="1315" y="389"/>
                    </a:lnTo>
                    <a:lnTo>
                      <a:pt x="1315" y="391"/>
                    </a:lnTo>
                    <a:lnTo>
                      <a:pt x="1316" y="391"/>
                    </a:lnTo>
                    <a:lnTo>
                      <a:pt x="1315" y="391"/>
                    </a:lnTo>
                    <a:lnTo>
                      <a:pt x="1316" y="393"/>
                    </a:lnTo>
                    <a:lnTo>
                      <a:pt x="1316" y="394"/>
                    </a:lnTo>
                    <a:lnTo>
                      <a:pt x="1318" y="394"/>
                    </a:lnTo>
                    <a:lnTo>
                      <a:pt x="1318" y="396"/>
                    </a:lnTo>
                    <a:lnTo>
                      <a:pt x="1318" y="398"/>
                    </a:lnTo>
                    <a:lnTo>
                      <a:pt x="1318" y="399"/>
                    </a:lnTo>
                    <a:lnTo>
                      <a:pt x="1318" y="401"/>
                    </a:lnTo>
                    <a:lnTo>
                      <a:pt x="1318" y="403"/>
                    </a:lnTo>
                    <a:lnTo>
                      <a:pt x="1318" y="405"/>
                    </a:lnTo>
                    <a:lnTo>
                      <a:pt x="1320" y="405"/>
                    </a:lnTo>
                    <a:lnTo>
                      <a:pt x="1318" y="405"/>
                    </a:lnTo>
                    <a:lnTo>
                      <a:pt x="1320" y="405"/>
                    </a:lnTo>
                    <a:lnTo>
                      <a:pt x="1318" y="406"/>
                    </a:lnTo>
                    <a:lnTo>
                      <a:pt x="1320" y="406"/>
                    </a:lnTo>
                    <a:lnTo>
                      <a:pt x="1318" y="406"/>
                    </a:lnTo>
                    <a:lnTo>
                      <a:pt x="1320" y="406"/>
                    </a:lnTo>
                    <a:lnTo>
                      <a:pt x="1320" y="408"/>
                    </a:lnTo>
                    <a:lnTo>
                      <a:pt x="1320" y="410"/>
                    </a:lnTo>
                    <a:lnTo>
                      <a:pt x="1320" y="411"/>
                    </a:lnTo>
                    <a:lnTo>
                      <a:pt x="1321" y="411"/>
                    </a:lnTo>
                    <a:lnTo>
                      <a:pt x="1321" y="413"/>
                    </a:lnTo>
                    <a:lnTo>
                      <a:pt x="1323" y="413"/>
                    </a:lnTo>
                    <a:lnTo>
                      <a:pt x="1323" y="415"/>
                    </a:lnTo>
                    <a:lnTo>
                      <a:pt x="1323" y="416"/>
                    </a:lnTo>
                    <a:lnTo>
                      <a:pt x="1321" y="416"/>
                    </a:lnTo>
                    <a:lnTo>
                      <a:pt x="1323" y="418"/>
                    </a:lnTo>
                    <a:lnTo>
                      <a:pt x="1321" y="418"/>
                    </a:lnTo>
                    <a:lnTo>
                      <a:pt x="1323" y="418"/>
                    </a:lnTo>
                    <a:lnTo>
                      <a:pt x="1323" y="420"/>
                    </a:lnTo>
                    <a:lnTo>
                      <a:pt x="1323" y="422"/>
                    </a:lnTo>
                    <a:lnTo>
                      <a:pt x="1323" y="423"/>
                    </a:lnTo>
                    <a:lnTo>
                      <a:pt x="1323" y="425"/>
                    </a:lnTo>
                    <a:lnTo>
                      <a:pt x="1323" y="427"/>
                    </a:lnTo>
                    <a:lnTo>
                      <a:pt x="1323" y="428"/>
                    </a:lnTo>
                    <a:lnTo>
                      <a:pt x="1323" y="430"/>
                    </a:lnTo>
                    <a:lnTo>
                      <a:pt x="1323" y="432"/>
                    </a:lnTo>
                    <a:lnTo>
                      <a:pt x="1323" y="433"/>
                    </a:lnTo>
                    <a:lnTo>
                      <a:pt x="1321" y="433"/>
                    </a:lnTo>
                    <a:lnTo>
                      <a:pt x="1323" y="435"/>
                    </a:lnTo>
                    <a:lnTo>
                      <a:pt x="1323" y="437"/>
                    </a:lnTo>
                    <a:lnTo>
                      <a:pt x="1323" y="439"/>
                    </a:lnTo>
                    <a:lnTo>
                      <a:pt x="1321" y="439"/>
                    </a:lnTo>
                    <a:lnTo>
                      <a:pt x="1323" y="439"/>
                    </a:lnTo>
                    <a:lnTo>
                      <a:pt x="1321" y="439"/>
                    </a:lnTo>
                    <a:lnTo>
                      <a:pt x="1323" y="440"/>
                    </a:lnTo>
                    <a:lnTo>
                      <a:pt x="1321" y="442"/>
                    </a:lnTo>
                    <a:lnTo>
                      <a:pt x="1321" y="444"/>
                    </a:lnTo>
                    <a:lnTo>
                      <a:pt x="1323" y="445"/>
                    </a:lnTo>
                    <a:lnTo>
                      <a:pt x="1323" y="447"/>
                    </a:lnTo>
                    <a:lnTo>
                      <a:pt x="1321" y="449"/>
                    </a:lnTo>
                    <a:lnTo>
                      <a:pt x="1321" y="450"/>
                    </a:lnTo>
                    <a:lnTo>
                      <a:pt x="1320" y="452"/>
                    </a:lnTo>
                    <a:lnTo>
                      <a:pt x="1321" y="452"/>
                    </a:lnTo>
                    <a:lnTo>
                      <a:pt x="1320" y="452"/>
                    </a:lnTo>
                    <a:lnTo>
                      <a:pt x="1320" y="454"/>
                    </a:lnTo>
                    <a:lnTo>
                      <a:pt x="1320" y="456"/>
                    </a:lnTo>
                    <a:lnTo>
                      <a:pt x="1320" y="457"/>
                    </a:lnTo>
                    <a:lnTo>
                      <a:pt x="1318" y="457"/>
                    </a:lnTo>
                    <a:lnTo>
                      <a:pt x="1318" y="459"/>
                    </a:lnTo>
                    <a:lnTo>
                      <a:pt x="1318" y="461"/>
                    </a:lnTo>
                    <a:lnTo>
                      <a:pt x="1318" y="462"/>
                    </a:lnTo>
                    <a:lnTo>
                      <a:pt x="1318" y="464"/>
                    </a:lnTo>
                    <a:lnTo>
                      <a:pt x="1316" y="464"/>
                    </a:lnTo>
                    <a:lnTo>
                      <a:pt x="1316" y="466"/>
                    </a:lnTo>
                    <a:lnTo>
                      <a:pt x="1316" y="467"/>
                    </a:lnTo>
                    <a:lnTo>
                      <a:pt x="1315" y="469"/>
                    </a:lnTo>
                    <a:lnTo>
                      <a:pt x="1315" y="471"/>
                    </a:lnTo>
                    <a:lnTo>
                      <a:pt x="1315" y="473"/>
                    </a:lnTo>
                    <a:lnTo>
                      <a:pt x="1313" y="473"/>
                    </a:lnTo>
                    <a:lnTo>
                      <a:pt x="1315" y="473"/>
                    </a:lnTo>
                    <a:lnTo>
                      <a:pt x="1313" y="474"/>
                    </a:lnTo>
                    <a:lnTo>
                      <a:pt x="1313" y="476"/>
                    </a:lnTo>
                    <a:lnTo>
                      <a:pt x="1313" y="478"/>
                    </a:lnTo>
                    <a:lnTo>
                      <a:pt x="1311" y="478"/>
                    </a:lnTo>
                    <a:lnTo>
                      <a:pt x="1313" y="478"/>
                    </a:lnTo>
                    <a:lnTo>
                      <a:pt x="1311" y="479"/>
                    </a:lnTo>
                    <a:lnTo>
                      <a:pt x="1311" y="481"/>
                    </a:lnTo>
                    <a:lnTo>
                      <a:pt x="1311" y="483"/>
                    </a:lnTo>
                    <a:lnTo>
                      <a:pt x="1309" y="483"/>
                    </a:lnTo>
                    <a:lnTo>
                      <a:pt x="1309" y="485"/>
                    </a:lnTo>
                    <a:lnTo>
                      <a:pt x="1308" y="485"/>
                    </a:lnTo>
                    <a:lnTo>
                      <a:pt x="1308" y="486"/>
                    </a:lnTo>
                    <a:lnTo>
                      <a:pt x="1308" y="488"/>
                    </a:lnTo>
                    <a:lnTo>
                      <a:pt x="1306" y="488"/>
                    </a:lnTo>
                    <a:lnTo>
                      <a:pt x="1306" y="490"/>
                    </a:lnTo>
                    <a:lnTo>
                      <a:pt x="1306" y="491"/>
                    </a:lnTo>
                    <a:lnTo>
                      <a:pt x="1304" y="491"/>
                    </a:lnTo>
                    <a:lnTo>
                      <a:pt x="1304" y="493"/>
                    </a:lnTo>
                    <a:lnTo>
                      <a:pt x="1303" y="493"/>
                    </a:lnTo>
                    <a:lnTo>
                      <a:pt x="1303" y="495"/>
                    </a:lnTo>
                    <a:lnTo>
                      <a:pt x="1301" y="495"/>
                    </a:lnTo>
                    <a:lnTo>
                      <a:pt x="1301" y="496"/>
                    </a:lnTo>
                    <a:lnTo>
                      <a:pt x="1299" y="496"/>
                    </a:lnTo>
                    <a:lnTo>
                      <a:pt x="1299" y="498"/>
                    </a:lnTo>
                    <a:lnTo>
                      <a:pt x="1298" y="500"/>
                    </a:lnTo>
                    <a:lnTo>
                      <a:pt x="1296" y="500"/>
                    </a:lnTo>
                    <a:lnTo>
                      <a:pt x="1296" y="502"/>
                    </a:lnTo>
                    <a:lnTo>
                      <a:pt x="1294" y="502"/>
                    </a:lnTo>
                    <a:lnTo>
                      <a:pt x="1294" y="503"/>
                    </a:lnTo>
                    <a:lnTo>
                      <a:pt x="1292" y="505"/>
                    </a:lnTo>
                    <a:lnTo>
                      <a:pt x="1292" y="507"/>
                    </a:lnTo>
                    <a:lnTo>
                      <a:pt x="1291" y="507"/>
                    </a:lnTo>
                    <a:lnTo>
                      <a:pt x="1289" y="507"/>
                    </a:lnTo>
                    <a:lnTo>
                      <a:pt x="1289" y="508"/>
                    </a:lnTo>
                    <a:lnTo>
                      <a:pt x="1289" y="510"/>
                    </a:lnTo>
                    <a:lnTo>
                      <a:pt x="1287" y="510"/>
                    </a:lnTo>
                    <a:lnTo>
                      <a:pt x="1287" y="512"/>
                    </a:lnTo>
                    <a:lnTo>
                      <a:pt x="1286" y="512"/>
                    </a:lnTo>
                    <a:lnTo>
                      <a:pt x="1286" y="513"/>
                    </a:lnTo>
                    <a:lnTo>
                      <a:pt x="1284" y="513"/>
                    </a:lnTo>
                    <a:lnTo>
                      <a:pt x="1284" y="515"/>
                    </a:lnTo>
                    <a:lnTo>
                      <a:pt x="1284" y="517"/>
                    </a:lnTo>
                    <a:lnTo>
                      <a:pt x="1282" y="517"/>
                    </a:lnTo>
                    <a:lnTo>
                      <a:pt x="1282" y="519"/>
                    </a:lnTo>
                    <a:lnTo>
                      <a:pt x="1281" y="520"/>
                    </a:lnTo>
                    <a:lnTo>
                      <a:pt x="1279" y="520"/>
                    </a:lnTo>
                    <a:lnTo>
                      <a:pt x="1279" y="522"/>
                    </a:lnTo>
                    <a:lnTo>
                      <a:pt x="1279" y="524"/>
                    </a:lnTo>
                    <a:lnTo>
                      <a:pt x="1277" y="522"/>
                    </a:lnTo>
                    <a:lnTo>
                      <a:pt x="1277" y="524"/>
                    </a:lnTo>
                    <a:lnTo>
                      <a:pt x="1275" y="524"/>
                    </a:lnTo>
                    <a:lnTo>
                      <a:pt x="1275" y="525"/>
                    </a:lnTo>
                    <a:lnTo>
                      <a:pt x="1274" y="525"/>
                    </a:lnTo>
                    <a:lnTo>
                      <a:pt x="1274" y="527"/>
                    </a:lnTo>
                    <a:lnTo>
                      <a:pt x="1272" y="527"/>
                    </a:lnTo>
                    <a:lnTo>
                      <a:pt x="1272" y="529"/>
                    </a:lnTo>
                    <a:lnTo>
                      <a:pt x="1272" y="530"/>
                    </a:lnTo>
                    <a:lnTo>
                      <a:pt x="1270" y="532"/>
                    </a:lnTo>
                    <a:lnTo>
                      <a:pt x="1270" y="534"/>
                    </a:lnTo>
                    <a:lnTo>
                      <a:pt x="1269" y="534"/>
                    </a:lnTo>
                    <a:lnTo>
                      <a:pt x="1269" y="536"/>
                    </a:lnTo>
                    <a:lnTo>
                      <a:pt x="1267" y="536"/>
                    </a:lnTo>
                    <a:lnTo>
                      <a:pt x="1265" y="536"/>
                    </a:lnTo>
                    <a:lnTo>
                      <a:pt x="1264" y="537"/>
                    </a:lnTo>
                    <a:lnTo>
                      <a:pt x="1262" y="537"/>
                    </a:lnTo>
                    <a:lnTo>
                      <a:pt x="1260" y="539"/>
                    </a:lnTo>
                    <a:lnTo>
                      <a:pt x="1258" y="539"/>
                    </a:lnTo>
                    <a:lnTo>
                      <a:pt x="1258" y="541"/>
                    </a:lnTo>
                    <a:lnTo>
                      <a:pt x="1257" y="541"/>
                    </a:lnTo>
                    <a:lnTo>
                      <a:pt x="1255" y="541"/>
                    </a:lnTo>
                    <a:lnTo>
                      <a:pt x="1255" y="542"/>
                    </a:lnTo>
                    <a:lnTo>
                      <a:pt x="1253" y="542"/>
                    </a:lnTo>
                    <a:lnTo>
                      <a:pt x="1253" y="544"/>
                    </a:lnTo>
                    <a:lnTo>
                      <a:pt x="1252" y="546"/>
                    </a:lnTo>
                    <a:lnTo>
                      <a:pt x="1250" y="547"/>
                    </a:lnTo>
                    <a:lnTo>
                      <a:pt x="1248" y="549"/>
                    </a:lnTo>
                    <a:lnTo>
                      <a:pt x="1248" y="551"/>
                    </a:lnTo>
                    <a:lnTo>
                      <a:pt x="1248" y="549"/>
                    </a:lnTo>
                    <a:lnTo>
                      <a:pt x="1248" y="551"/>
                    </a:lnTo>
                    <a:lnTo>
                      <a:pt x="1247" y="551"/>
                    </a:lnTo>
                    <a:lnTo>
                      <a:pt x="1247" y="553"/>
                    </a:lnTo>
                    <a:lnTo>
                      <a:pt x="1245" y="554"/>
                    </a:lnTo>
                    <a:lnTo>
                      <a:pt x="1245" y="556"/>
                    </a:lnTo>
                    <a:lnTo>
                      <a:pt x="1243" y="556"/>
                    </a:lnTo>
                    <a:lnTo>
                      <a:pt x="1243" y="558"/>
                    </a:lnTo>
                    <a:lnTo>
                      <a:pt x="1243" y="559"/>
                    </a:lnTo>
                    <a:lnTo>
                      <a:pt x="1241" y="559"/>
                    </a:lnTo>
                    <a:lnTo>
                      <a:pt x="1241" y="561"/>
                    </a:lnTo>
                    <a:lnTo>
                      <a:pt x="1240" y="561"/>
                    </a:lnTo>
                    <a:lnTo>
                      <a:pt x="1240" y="563"/>
                    </a:lnTo>
                    <a:lnTo>
                      <a:pt x="1238" y="564"/>
                    </a:lnTo>
                    <a:lnTo>
                      <a:pt x="1238" y="566"/>
                    </a:lnTo>
                    <a:lnTo>
                      <a:pt x="1236" y="566"/>
                    </a:lnTo>
                    <a:lnTo>
                      <a:pt x="1238" y="568"/>
                    </a:lnTo>
                    <a:lnTo>
                      <a:pt x="1236" y="568"/>
                    </a:lnTo>
                    <a:lnTo>
                      <a:pt x="1236" y="570"/>
                    </a:lnTo>
                    <a:lnTo>
                      <a:pt x="1235" y="571"/>
                    </a:lnTo>
                    <a:lnTo>
                      <a:pt x="1233" y="573"/>
                    </a:lnTo>
                    <a:lnTo>
                      <a:pt x="1233" y="575"/>
                    </a:lnTo>
                    <a:lnTo>
                      <a:pt x="1233" y="576"/>
                    </a:lnTo>
                    <a:lnTo>
                      <a:pt x="1231" y="576"/>
                    </a:lnTo>
                    <a:lnTo>
                      <a:pt x="1231" y="578"/>
                    </a:lnTo>
                    <a:lnTo>
                      <a:pt x="1231" y="580"/>
                    </a:lnTo>
                    <a:lnTo>
                      <a:pt x="1230" y="581"/>
                    </a:lnTo>
                    <a:lnTo>
                      <a:pt x="1230" y="583"/>
                    </a:lnTo>
                    <a:lnTo>
                      <a:pt x="1228" y="585"/>
                    </a:lnTo>
                    <a:lnTo>
                      <a:pt x="1228" y="587"/>
                    </a:lnTo>
                    <a:lnTo>
                      <a:pt x="1226" y="588"/>
                    </a:lnTo>
                    <a:lnTo>
                      <a:pt x="1226" y="590"/>
                    </a:lnTo>
                    <a:lnTo>
                      <a:pt x="1224" y="592"/>
                    </a:lnTo>
                    <a:lnTo>
                      <a:pt x="1223" y="593"/>
                    </a:lnTo>
                    <a:lnTo>
                      <a:pt x="1223" y="595"/>
                    </a:lnTo>
                    <a:lnTo>
                      <a:pt x="1221" y="597"/>
                    </a:lnTo>
                    <a:lnTo>
                      <a:pt x="1221" y="598"/>
                    </a:lnTo>
                    <a:lnTo>
                      <a:pt x="1219" y="598"/>
                    </a:lnTo>
                    <a:lnTo>
                      <a:pt x="1219" y="600"/>
                    </a:lnTo>
                    <a:lnTo>
                      <a:pt x="1218" y="600"/>
                    </a:lnTo>
                    <a:lnTo>
                      <a:pt x="1218" y="602"/>
                    </a:lnTo>
                    <a:lnTo>
                      <a:pt x="1218" y="604"/>
                    </a:lnTo>
                    <a:lnTo>
                      <a:pt x="1216" y="604"/>
                    </a:lnTo>
                    <a:lnTo>
                      <a:pt x="1216" y="605"/>
                    </a:lnTo>
                    <a:lnTo>
                      <a:pt x="1214" y="607"/>
                    </a:lnTo>
                    <a:lnTo>
                      <a:pt x="1214" y="609"/>
                    </a:lnTo>
                    <a:lnTo>
                      <a:pt x="1213" y="609"/>
                    </a:lnTo>
                    <a:lnTo>
                      <a:pt x="1213" y="610"/>
                    </a:lnTo>
                    <a:lnTo>
                      <a:pt x="1211" y="610"/>
                    </a:lnTo>
                    <a:lnTo>
                      <a:pt x="1211" y="612"/>
                    </a:lnTo>
                    <a:lnTo>
                      <a:pt x="1209" y="612"/>
                    </a:lnTo>
                    <a:lnTo>
                      <a:pt x="1209" y="614"/>
                    </a:lnTo>
                    <a:lnTo>
                      <a:pt x="1207" y="614"/>
                    </a:lnTo>
                    <a:lnTo>
                      <a:pt x="1207" y="615"/>
                    </a:lnTo>
                    <a:lnTo>
                      <a:pt x="1206" y="615"/>
                    </a:lnTo>
                    <a:lnTo>
                      <a:pt x="1206" y="617"/>
                    </a:lnTo>
                    <a:lnTo>
                      <a:pt x="1204" y="617"/>
                    </a:lnTo>
                    <a:lnTo>
                      <a:pt x="1204" y="619"/>
                    </a:lnTo>
                    <a:lnTo>
                      <a:pt x="1202" y="619"/>
                    </a:lnTo>
                    <a:lnTo>
                      <a:pt x="1201" y="621"/>
                    </a:lnTo>
                    <a:lnTo>
                      <a:pt x="1199" y="621"/>
                    </a:lnTo>
                    <a:lnTo>
                      <a:pt x="1197" y="621"/>
                    </a:lnTo>
                    <a:lnTo>
                      <a:pt x="1199" y="619"/>
                    </a:lnTo>
                    <a:lnTo>
                      <a:pt x="1197" y="619"/>
                    </a:lnTo>
                    <a:lnTo>
                      <a:pt x="1199" y="617"/>
                    </a:lnTo>
                    <a:lnTo>
                      <a:pt x="1199" y="619"/>
                    </a:lnTo>
                    <a:lnTo>
                      <a:pt x="1199" y="617"/>
                    </a:lnTo>
                    <a:lnTo>
                      <a:pt x="1199" y="615"/>
                    </a:lnTo>
                    <a:lnTo>
                      <a:pt x="1199" y="614"/>
                    </a:lnTo>
                    <a:lnTo>
                      <a:pt x="1201" y="614"/>
                    </a:lnTo>
                    <a:lnTo>
                      <a:pt x="1201" y="612"/>
                    </a:lnTo>
                    <a:lnTo>
                      <a:pt x="1201" y="614"/>
                    </a:lnTo>
                    <a:lnTo>
                      <a:pt x="1201" y="612"/>
                    </a:lnTo>
                    <a:lnTo>
                      <a:pt x="1199" y="614"/>
                    </a:lnTo>
                    <a:lnTo>
                      <a:pt x="1199" y="612"/>
                    </a:lnTo>
                    <a:lnTo>
                      <a:pt x="1199" y="614"/>
                    </a:lnTo>
                    <a:lnTo>
                      <a:pt x="1199" y="612"/>
                    </a:lnTo>
                    <a:lnTo>
                      <a:pt x="1197" y="612"/>
                    </a:lnTo>
                    <a:lnTo>
                      <a:pt x="1197" y="610"/>
                    </a:lnTo>
                    <a:lnTo>
                      <a:pt x="1196" y="610"/>
                    </a:lnTo>
                    <a:lnTo>
                      <a:pt x="1196" y="612"/>
                    </a:lnTo>
                    <a:lnTo>
                      <a:pt x="1194" y="610"/>
                    </a:lnTo>
                    <a:lnTo>
                      <a:pt x="1194" y="609"/>
                    </a:lnTo>
                    <a:lnTo>
                      <a:pt x="1194" y="610"/>
                    </a:lnTo>
                    <a:lnTo>
                      <a:pt x="1194" y="609"/>
                    </a:lnTo>
                    <a:lnTo>
                      <a:pt x="1192" y="609"/>
                    </a:lnTo>
                    <a:lnTo>
                      <a:pt x="1192" y="607"/>
                    </a:lnTo>
                    <a:lnTo>
                      <a:pt x="1192" y="609"/>
                    </a:lnTo>
                    <a:lnTo>
                      <a:pt x="1190" y="609"/>
                    </a:lnTo>
                    <a:lnTo>
                      <a:pt x="1190" y="607"/>
                    </a:lnTo>
                    <a:lnTo>
                      <a:pt x="1190" y="609"/>
                    </a:lnTo>
                    <a:lnTo>
                      <a:pt x="1190" y="610"/>
                    </a:lnTo>
                    <a:lnTo>
                      <a:pt x="1190" y="612"/>
                    </a:lnTo>
                    <a:lnTo>
                      <a:pt x="1189" y="614"/>
                    </a:lnTo>
                    <a:lnTo>
                      <a:pt x="1189" y="615"/>
                    </a:lnTo>
                    <a:lnTo>
                      <a:pt x="1187" y="615"/>
                    </a:lnTo>
                    <a:lnTo>
                      <a:pt x="1187" y="614"/>
                    </a:lnTo>
                    <a:lnTo>
                      <a:pt x="1185" y="612"/>
                    </a:lnTo>
                    <a:lnTo>
                      <a:pt x="1185" y="610"/>
                    </a:lnTo>
                    <a:lnTo>
                      <a:pt x="1187" y="610"/>
                    </a:lnTo>
                    <a:lnTo>
                      <a:pt x="1187" y="609"/>
                    </a:lnTo>
                    <a:lnTo>
                      <a:pt x="1185" y="609"/>
                    </a:lnTo>
                    <a:lnTo>
                      <a:pt x="1187" y="609"/>
                    </a:lnTo>
                    <a:lnTo>
                      <a:pt x="1185" y="610"/>
                    </a:lnTo>
                    <a:lnTo>
                      <a:pt x="1185" y="609"/>
                    </a:lnTo>
                    <a:lnTo>
                      <a:pt x="1185" y="610"/>
                    </a:lnTo>
                    <a:lnTo>
                      <a:pt x="1184" y="612"/>
                    </a:lnTo>
                    <a:lnTo>
                      <a:pt x="1185" y="612"/>
                    </a:lnTo>
                    <a:lnTo>
                      <a:pt x="1185" y="614"/>
                    </a:lnTo>
                    <a:lnTo>
                      <a:pt x="1184" y="614"/>
                    </a:lnTo>
                    <a:lnTo>
                      <a:pt x="1185" y="614"/>
                    </a:lnTo>
                    <a:lnTo>
                      <a:pt x="1187" y="614"/>
                    </a:lnTo>
                    <a:lnTo>
                      <a:pt x="1185" y="614"/>
                    </a:lnTo>
                    <a:lnTo>
                      <a:pt x="1187" y="615"/>
                    </a:lnTo>
                    <a:lnTo>
                      <a:pt x="1189" y="615"/>
                    </a:lnTo>
                    <a:lnTo>
                      <a:pt x="1189" y="617"/>
                    </a:lnTo>
                    <a:lnTo>
                      <a:pt x="1190" y="615"/>
                    </a:lnTo>
                    <a:lnTo>
                      <a:pt x="1190" y="617"/>
                    </a:lnTo>
                    <a:lnTo>
                      <a:pt x="1189" y="617"/>
                    </a:lnTo>
                    <a:lnTo>
                      <a:pt x="1189" y="619"/>
                    </a:lnTo>
                    <a:lnTo>
                      <a:pt x="1189" y="621"/>
                    </a:lnTo>
                    <a:lnTo>
                      <a:pt x="1189" y="622"/>
                    </a:lnTo>
                    <a:lnTo>
                      <a:pt x="1190" y="622"/>
                    </a:lnTo>
                    <a:lnTo>
                      <a:pt x="1190" y="621"/>
                    </a:lnTo>
                    <a:lnTo>
                      <a:pt x="1192" y="621"/>
                    </a:lnTo>
                    <a:lnTo>
                      <a:pt x="1192" y="619"/>
                    </a:lnTo>
                    <a:lnTo>
                      <a:pt x="1192" y="617"/>
                    </a:lnTo>
                    <a:lnTo>
                      <a:pt x="1194" y="617"/>
                    </a:lnTo>
                    <a:lnTo>
                      <a:pt x="1194" y="619"/>
                    </a:lnTo>
                    <a:lnTo>
                      <a:pt x="1196" y="619"/>
                    </a:lnTo>
                    <a:lnTo>
                      <a:pt x="1194" y="621"/>
                    </a:lnTo>
                    <a:lnTo>
                      <a:pt x="1194" y="622"/>
                    </a:lnTo>
                    <a:lnTo>
                      <a:pt x="1192" y="622"/>
                    </a:lnTo>
                    <a:lnTo>
                      <a:pt x="1190" y="622"/>
                    </a:lnTo>
                    <a:lnTo>
                      <a:pt x="1190" y="624"/>
                    </a:lnTo>
                    <a:lnTo>
                      <a:pt x="1189" y="624"/>
                    </a:lnTo>
                    <a:lnTo>
                      <a:pt x="1189" y="626"/>
                    </a:lnTo>
                    <a:lnTo>
                      <a:pt x="1189" y="624"/>
                    </a:lnTo>
                    <a:lnTo>
                      <a:pt x="1187" y="624"/>
                    </a:lnTo>
                    <a:lnTo>
                      <a:pt x="1187" y="626"/>
                    </a:lnTo>
                    <a:lnTo>
                      <a:pt x="1189" y="626"/>
                    </a:lnTo>
                    <a:lnTo>
                      <a:pt x="1187" y="626"/>
                    </a:lnTo>
                    <a:lnTo>
                      <a:pt x="1187" y="627"/>
                    </a:lnTo>
                    <a:lnTo>
                      <a:pt x="1185" y="627"/>
                    </a:lnTo>
                    <a:lnTo>
                      <a:pt x="1184" y="629"/>
                    </a:lnTo>
                    <a:lnTo>
                      <a:pt x="1182" y="631"/>
                    </a:lnTo>
                    <a:lnTo>
                      <a:pt x="1182" y="632"/>
                    </a:lnTo>
                    <a:lnTo>
                      <a:pt x="1184" y="634"/>
                    </a:lnTo>
                    <a:lnTo>
                      <a:pt x="1185" y="634"/>
                    </a:lnTo>
                    <a:lnTo>
                      <a:pt x="1185" y="636"/>
                    </a:lnTo>
                    <a:lnTo>
                      <a:pt x="1185" y="638"/>
                    </a:lnTo>
                    <a:lnTo>
                      <a:pt x="1184" y="638"/>
                    </a:lnTo>
                    <a:lnTo>
                      <a:pt x="1185" y="638"/>
                    </a:lnTo>
                    <a:lnTo>
                      <a:pt x="1184" y="639"/>
                    </a:lnTo>
                    <a:lnTo>
                      <a:pt x="1184" y="641"/>
                    </a:lnTo>
                    <a:lnTo>
                      <a:pt x="1185" y="641"/>
                    </a:lnTo>
                    <a:lnTo>
                      <a:pt x="1185" y="643"/>
                    </a:lnTo>
                    <a:lnTo>
                      <a:pt x="1185" y="644"/>
                    </a:lnTo>
                    <a:lnTo>
                      <a:pt x="1184" y="644"/>
                    </a:lnTo>
                    <a:lnTo>
                      <a:pt x="1184" y="643"/>
                    </a:lnTo>
                    <a:lnTo>
                      <a:pt x="1184" y="644"/>
                    </a:lnTo>
                    <a:lnTo>
                      <a:pt x="1182" y="644"/>
                    </a:lnTo>
                    <a:lnTo>
                      <a:pt x="1182" y="646"/>
                    </a:lnTo>
                    <a:lnTo>
                      <a:pt x="1182" y="648"/>
                    </a:lnTo>
                    <a:lnTo>
                      <a:pt x="1182" y="650"/>
                    </a:lnTo>
                    <a:lnTo>
                      <a:pt x="1182" y="651"/>
                    </a:lnTo>
                    <a:lnTo>
                      <a:pt x="1180" y="651"/>
                    </a:lnTo>
                    <a:lnTo>
                      <a:pt x="1182" y="651"/>
                    </a:lnTo>
                    <a:lnTo>
                      <a:pt x="1182" y="653"/>
                    </a:lnTo>
                    <a:lnTo>
                      <a:pt x="1182" y="651"/>
                    </a:lnTo>
                    <a:lnTo>
                      <a:pt x="1184" y="651"/>
                    </a:lnTo>
                    <a:lnTo>
                      <a:pt x="1184" y="653"/>
                    </a:lnTo>
                    <a:lnTo>
                      <a:pt x="1184" y="655"/>
                    </a:lnTo>
                    <a:lnTo>
                      <a:pt x="1184" y="656"/>
                    </a:lnTo>
                    <a:lnTo>
                      <a:pt x="1184" y="658"/>
                    </a:lnTo>
                    <a:lnTo>
                      <a:pt x="1182" y="660"/>
                    </a:lnTo>
                    <a:lnTo>
                      <a:pt x="1182" y="661"/>
                    </a:lnTo>
                    <a:lnTo>
                      <a:pt x="1182" y="663"/>
                    </a:lnTo>
                    <a:lnTo>
                      <a:pt x="1182" y="665"/>
                    </a:lnTo>
                    <a:lnTo>
                      <a:pt x="1182" y="667"/>
                    </a:lnTo>
                    <a:lnTo>
                      <a:pt x="1182" y="668"/>
                    </a:lnTo>
                    <a:lnTo>
                      <a:pt x="1182" y="670"/>
                    </a:lnTo>
                    <a:lnTo>
                      <a:pt x="1180" y="670"/>
                    </a:lnTo>
                    <a:lnTo>
                      <a:pt x="1180" y="672"/>
                    </a:lnTo>
                    <a:lnTo>
                      <a:pt x="1180" y="673"/>
                    </a:lnTo>
                    <a:lnTo>
                      <a:pt x="1180" y="675"/>
                    </a:lnTo>
                    <a:lnTo>
                      <a:pt x="1180" y="677"/>
                    </a:lnTo>
                    <a:lnTo>
                      <a:pt x="1179" y="678"/>
                    </a:lnTo>
                    <a:lnTo>
                      <a:pt x="1179" y="680"/>
                    </a:lnTo>
                    <a:lnTo>
                      <a:pt x="1179" y="682"/>
                    </a:lnTo>
                    <a:lnTo>
                      <a:pt x="1180" y="682"/>
                    </a:lnTo>
                    <a:lnTo>
                      <a:pt x="1180" y="684"/>
                    </a:lnTo>
                    <a:lnTo>
                      <a:pt x="1180" y="682"/>
                    </a:lnTo>
                    <a:lnTo>
                      <a:pt x="1180" y="684"/>
                    </a:lnTo>
                    <a:lnTo>
                      <a:pt x="1180" y="685"/>
                    </a:lnTo>
                    <a:lnTo>
                      <a:pt x="1180" y="687"/>
                    </a:lnTo>
                    <a:lnTo>
                      <a:pt x="1180" y="689"/>
                    </a:lnTo>
                    <a:lnTo>
                      <a:pt x="1182" y="689"/>
                    </a:lnTo>
                    <a:lnTo>
                      <a:pt x="1182" y="690"/>
                    </a:lnTo>
                    <a:lnTo>
                      <a:pt x="1182" y="694"/>
                    </a:lnTo>
                    <a:lnTo>
                      <a:pt x="1182" y="695"/>
                    </a:lnTo>
                    <a:lnTo>
                      <a:pt x="1182" y="697"/>
                    </a:lnTo>
                    <a:lnTo>
                      <a:pt x="1182" y="699"/>
                    </a:lnTo>
                    <a:lnTo>
                      <a:pt x="1182" y="701"/>
                    </a:lnTo>
                    <a:lnTo>
                      <a:pt x="1182" y="702"/>
                    </a:lnTo>
                    <a:lnTo>
                      <a:pt x="1182" y="704"/>
                    </a:lnTo>
                    <a:lnTo>
                      <a:pt x="1184" y="706"/>
                    </a:lnTo>
                    <a:lnTo>
                      <a:pt x="1184" y="707"/>
                    </a:lnTo>
                    <a:lnTo>
                      <a:pt x="1184" y="709"/>
                    </a:lnTo>
                    <a:lnTo>
                      <a:pt x="1184" y="711"/>
                    </a:lnTo>
                    <a:lnTo>
                      <a:pt x="1184" y="712"/>
                    </a:lnTo>
                    <a:lnTo>
                      <a:pt x="1184" y="714"/>
                    </a:lnTo>
                    <a:lnTo>
                      <a:pt x="1184" y="716"/>
                    </a:lnTo>
                    <a:lnTo>
                      <a:pt x="1185" y="716"/>
                    </a:lnTo>
                    <a:lnTo>
                      <a:pt x="1185" y="718"/>
                    </a:lnTo>
                    <a:lnTo>
                      <a:pt x="1185" y="719"/>
                    </a:lnTo>
                    <a:lnTo>
                      <a:pt x="1187" y="719"/>
                    </a:lnTo>
                    <a:lnTo>
                      <a:pt x="1187" y="721"/>
                    </a:lnTo>
                    <a:lnTo>
                      <a:pt x="1185" y="721"/>
                    </a:lnTo>
                    <a:lnTo>
                      <a:pt x="1185" y="723"/>
                    </a:lnTo>
                    <a:lnTo>
                      <a:pt x="1185" y="724"/>
                    </a:lnTo>
                    <a:lnTo>
                      <a:pt x="1184" y="726"/>
                    </a:lnTo>
                    <a:lnTo>
                      <a:pt x="1184" y="728"/>
                    </a:lnTo>
                    <a:lnTo>
                      <a:pt x="1184" y="729"/>
                    </a:lnTo>
                    <a:lnTo>
                      <a:pt x="1184" y="731"/>
                    </a:lnTo>
                    <a:lnTo>
                      <a:pt x="1182" y="731"/>
                    </a:lnTo>
                    <a:lnTo>
                      <a:pt x="1182" y="733"/>
                    </a:lnTo>
                    <a:lnTo>
                      <a:pt x="1182" y="735"/>
                    </a:lnTo>
                    <a:lnTo>
                      <a:pt x="1180" y="735"/>
                    </a:lnTo>
                    <a:lnTo>
                      <a:pt x="1180" y="736"/>
                    </a:lnTo>
                    <a:lnTo>
                      <a:pt x="1182" y="736"/>
                    </a:lnTo>
                    <a:lnTo>
                      <a:pt x="1180" y="738"/>
                    </a:lnTo>
                    <a:lnTo>
                      <a:pt x="1182" y="738"/>
                    </a:lnTo>
                    <a:lnTo>
                      <a:pt x="1180" y="740"/>
                    </a:lnTo>
                    <a:lnTo>
                      <a:pt x="1180" y="741"/>
                    </a:lnTo>
                    <a:lnTo>
                      <a:pt x="1179" y="741"/>
                    </a:lnTo>
                    <a:lnTo>
                      <a:pt x="1180" y="741"/>
                    </a:lnTo>
                    <a:lnTo>
                      <a:pt x="1179" y="743"/>
                    </a:lnTo>
                    <a:lnTo>
                      <a:pt x="1179" y="745"/>
                    </a:lnTo>
                    <a:lnTo>
                      <a:pt x="1179" y="746"/>
                    </a:lnTo>
                    <a:lnTo>
                      <a:pt x="1179" y="748"/>
                    </a:lnTo>
                    <a:lnTo>
                      <a:pt x="1179" y="750"/>
                    </a:lnTo>
                    <a:lnTo>
                      <a:pt x="1177" y="750"/>
                    </a:lnTo>
                    <a:lnTo>
                      <a:pt x="1177" y="752"/>
                    </a:lnTo>
                    <a:lnTo>
                      <a:pt x="1177" y="753"/>
                    </a:lnTo>
                    <a:lnTo>
                      <a:pt x="1177" y="755"/>
                    </a:lnTo>
                    <a:lnTo>
                      <a:pt x="1177" y="757"/>
                    </a:lnTo>
                    <a:lnTo>
                      <a:pt x="1179" y="757"/>
                    </a:lnTo>
                    <a:lnTo>
                      <a:pt x="1177" y="757"/>
                    </a:lnTo>
                    <a:lnTo>
                      <a:pt x="1177" y="758"/>
                    </a:lnTo>
                    <a:lnTo>
                      <a:pt x="1177" y="760"/>
                    </a:lnTo>
                    <a:lnTo>
                      <a:pt x="1175" y="760"/>
                    </a:lnTo>
                    <a:lnTo>
                      <a:pt x="1175" y="762"/>
                    </a:lnTo>
                    <a:lnTo>
                      <a:pt x="1175" y="763"/>
                    </a:lnTo>
                    <a:lnTo>
                      <a:pt x="1175" y="765"/>
                    </a:lnTo>
                    <a:lnTo>
                      <a:pt x="1175" y="767"/>
                    </a:lnTo>
                    <a:lnTo>
                      <a:pt x="1173" y="769"/>
                    </a:lnTo>
                    <a:lnTo>
                      <a:pt x="1175" y="769"/>
                    </a:lnTo>
                    <a:lnTo>
                      <a:pt x="1173" y="770"/>
                    </a:lnTo>
                    <a:lnTo>
                      <a:pt x="1173" y="772"/>
                    </a:lnTo>
                    <a:lnTo>
                      <a:pt x="1175" y="774"/>
                    </a:lnTo>
                    <a:lnTo>
                      <a:pt x="1175" y="775"/>
                    </a:lnTo>
                    <a:lnTo>
                      <a:pt x="1175" y="777"/>
                    </a:lnTo>
                    <a:lnTo>
                      <a:pt x="1175" y="779"/>
                    </a:lnTo>
                    <a:lnTo>
                      <a:pt x="1175" y="780"/>
                    </a:lnTo>
                    <a:lnTo>
                      <a:pt x="1175" y="782"/>
                    </a:lnTo>
                    <a:lnTo>
                      <a:pt x="1175" y="784"/>
                    </a:lnTo>
                    <a:lnTo>
                      <a:pt x="1177" y="784"/>
                    </a:lnTo>
                    <a:lnTo>
                      <a:pt x="1177" y="786"/>
                    </a:lnTo>
                    <a:lnTo>
                      <a:pt x="1175" y="786"/>
                    </a:lnTo>
                    <a:lnTo>
                      <a:pt x="1175" y="787"/>
                    </a:lnTo>
                    <a:lnTo>
                      <a:pt x="1173" y="789"/>
                    </a:lnTo>
                    <a:lnTo>
                      <a:pt x="1173" y="791"/>
                    </a:lnTo>
                    <a:lnTo>
                      <a:pt x="1172" y="791"/>
                    </a:lnTo>
                    <a:lnTo>
                      <a:pt x="1172" y="792"/>
                    </a:lnTo>
                    <a:lnTo>
                      <a:pt x="1170" y="792"/>
                    </a:lnTo>
                    <a:lnTo>
                      <a:pt x="1168" y="792"/>
                    </a:lnTo>
                    <a:lnTo>
                      <a:pt x="1168" y="794"/>
                    </a:lnTo>
                    <a:lnTo>
                      <a:pt x="1167" y="794"/>
                    </a:lnTo>
                    <a:lnTo>
                      <a:pt x="1165" y="796"/>
                    </a:lnTo>
                    <a:lnTo>
                      <a:pt x="1163" y="797"/>
                    </a:lnTo>
                    <a:lnTo>
                      <a:pt x="1163" y="799"/>
                    </a:lnTo>
                    <a:lnTo>
                      <a:pt x="1162" y="801"/>
                    </a:lnTo>
                    <a:lnTo>
                      <a:pt x="1162" y="803"/>
                    </a:lnTo>
                    <a:lnTo>
                      <a:pt x="1160" y="804"/>
                    </a:lnTo>
                    <a:lnTo>
                      <a:pt x="1160" y="806"/>
                    </a:lnTo>
                    <a:lnTo>
                      <a:pt x="1160" y="808"/>
                    </a:lnTo>
                    <a:lnTo>
                      <a:pt x="1158" y="808"/>
                    </a:lnTo>
                    <a:lnTo>
                      <a:pt x="1158" y="809"/>
                    </a:lnTo>
                    <a:lnTo>
                      <a:pt x="1158" y="811"/>
                    </a:lnTo>
                    <a:lnTo>
                      <a:pt x="1158" y="813"/>
                    </a:lnTo>
                    <a:lnTo>
                      <a:pt x="1156" y="813"/>
                    </a:lnTo>
                    <a:lnTo>
                      <a:pt x="1156" y="815"/>
                    </a:lnTo>
                    <a:lnTo>
                      <a:pt x="1156" y="816"/>
                    </a:lnTo>
                    <a:lnTo>
                      <a:pt x="1156" y="818"/>
                    </a:lnTo>
                    <a:lnTo>
                      <a:pt x="1156" y="820"/>
                    </a:lnTo>
                    <a:lnTo>
                      <a:pt x="1156" y="821"/>
                    </a:lnTo>
                    <a:lnTo>
                      <a:pt x="1156" y="823"/>
                    </a:lnTo>
                    <a:lnTo>
                      <a:pt x="1156" y="825"/>
                    </a:lnTo>
                    <a:lnTo>
                      <a:pt x="1156" y="826"/>
                    </a:lnTo>
                    <a:lnTo>
                      <a:pt x="1156" y="828"/>
                    </a:lnTo>
                    <a:lnTo>
                      <a:pt x="1156" y="830"/>
                    </a:lnTo>
                    <a:lnTo>
                      <a:pt x="1156" y="832"/>
                    </a:lnTo>
                    <a:lnTo>
                      <a:pt x="1156" y="833"/>
                    </a:lnTo>
                    <a:lnTo>
                      <a:pt x="1156" y="835"/>
                    </a:lnTo>
                    <a:lnTo>
                      <a:pt x="1158" y="837"/>
                    </a:lnTo>
                    <a:lnTo>
                      <a:pt x="1158" y="838"/>
                    </a:lnTo>
                    <a:lnTo>
                      <a:pt x="1158" y="840"/>
                    </a:lnTo>
                    <a:lnTo>
                      <a:pt x="1158" y="842"/>
                    </a:lnTo>
                    <a:lnTo>
                      <a:pt x="1158" y="843"/>
                    </a:lnTo>
                    <a:lnTo>
                      <a:pt x="1158" y="845"/>
                    </a:lnTo>
                    <a:lnTo>
                      <a:pt x="1158" y="847"/>
                    </a:lnTo>
                    <a:lnTo>
                      <a:pt x="1156" y="849"/>
                    </a:lnTo>
                    <a:lnTo>
                      <a:pt x="1156" y="850"/>
                    </a:lnTo>
                    <a:lnTo>
                      <a:pt x="1156" y="852"/>
                    </a:lnTo>
                    <a:lnTo>
                      <a:pt x="1155" y="852"/>
                    </a:lnTo>
                    <a:lnTo>
                      <a:pt x="1155" y="854"/>
                    </a:lnTo>
                    <a:lnTo>
                      <a:pt x="1155" y="855"/>
                    </a:lnTo>
                    <a:lnTo>
                      <a:pt x="1153" y="855"/>
                    </a:lnTo>
                    <a:lnTo>
                      <a:pt x="1151" y="855"/>
                    </a:lnTo>
                    <a:lnTo>
                      <a:pt x="1150" y="857"/>
                    </a:lnTo>
                    <a:lnTo>
                      <a:pt x="1148" y="857"/>
                    </a:lnTo>
                    <a:lnTo>
                      <a:pt x="1148" y="859"/>
                    </a:lnTo>
                    <a:lnTo>
                      <a:pt x="1146" y="859"/>
                    </a:lnTo>
                    <a:lnTo>
                      <a:pt x="1146" y="860"/>
                    </a:lnTo>
                    <a:lnTo>
                      <a:pt x="1146" y="862"/>
                    </a:lnTo>
                    <a:lnTo>
                      <a:pt x="1145" y="862"/>
                    </a:lnTo>
                    <a:lnTo>
                      <a:pt x="1145" y="864"/>
                    </a:lnTo>
                    <a:lnTo>
                      <a:pt x="1145" y="866"/>
                    </a:lnTo>
                    <a:lnTo>
                      <a:pt x="1143" y="866"/>
                    </a:lnTo>
                    <a:lnTo>
                      <a:pt x="1143" y="867"/>
                    </a:lnTo>
                    <a:lnTo>
                      <a:pt x="1143" y="869"/>
                    </a:lnTo>
                    <a:lnTo>
                      <a:pt x="1141" y="869"/>
                    </a:lnTo>
                    <a:lnTo>
                      <a:pt x="1141" y="871"/>
                    </a:lnTo>
                    <a:lnTo>
                      <a:pt x="1141" y="872"/>
                    </a:lnTo>
                    <a:lnTo>
                      <a:pt x="1141" y="874"/>
                    </a:lnTo>
                    <a:lnTo>
                      <a:pt x="1141" y="876"/>
                    </a:lnTo>
                    <a:lnTo>
                      <a:pt x="1141" y="877"/>
                    </a:lnTo>
                    <a:lnTo>
                      <a:pt x="1139" y="877"/>
                    </a:lnTo>
                    <a:lnTo>
                      <a:pt x="1138" y="877"/>
                    </a:lnTo>
                    <a:lnTo>
                      <a:pt x="1138" y="879"/>
                    </a:lnTo>
                    <a:lnTo>
                      <a:pt x="1136" y="879"/>
                    </a:lnTo>
                    <a:lnTo>
                      <a:pt x="1138" y="879"/>
                    </a:lnTo>
                    <a:lnTo>
                      <a:pt x="1139" y="879"/>
                    </a:lnTo>
                    <a:lnTo>
                      <a:pt x="1138" y="879"/>
                    </a:lnTo>
                    <a:lnTo>
                      <a:pt x="1138" y="881"/>
                    </a:lnTo>
                    <a:lnTo>
                      <a:pt x="1138" y="883"/>
                    </a:lnTo>
                    <a:lnTo>
                      <a:pt x="1136" y="884"/>
                    </a:lnTo>
                    <a:lnTo>
                      <a:pt x="1136" y="886"/>
                    </a:lnTo>
                    <a:lnTo>
                      <a:pt x="1134" y="886"/>
                    </a:lnTo>
                    <a:lnTo>
                      <a:pt x="1134" y="888"/>
                    </a:lnTo>
                    <a:lnTo>
                      <a:pt x="1134" y="889"/>
                    </a:lnTo>
                    <a:lnTo>
                      <a:pt x="1133" y="889"/>
                    </a:lnTo>
                    <a:lnTo>
                      <a:pt x="1133" y="891"/>
                    </a:lnTo>
                    <a:lnTo>
                      <a:pt x="1133" y="889"/>
                    </a:lnTo>
                    <a:lnTo>
                      <a:pt x="1133" y="891"/>
                    </a:lnTo>
                    <a:lnTo>
                      <a:pt x="1131" y="891"/>
                    </a:lnTo>
                    <a:lnTo>
                      <a:pt x="1131" y="893"/>
                    </a:lnTo>
                    <a:lnTo>
                      <a:pt x="1129" y="893"/>
                    </a:lnTo>
                    <a:lnTo>
                      <a:pt x="1131" y="894"/>
                    </a:lnTo>
                    <a:lnTo>
                      <a:pt x="1129" y="894"/>
                    </a:lnTo>
                    <a:lnTo>
                      <a:pt x="1128" y="894"/>
                    </a:lnTo>
                    <a:lnTo>
                      <a:pt x="1129" y="896"/>
                    </a:lnTo>
                    <a:lnTo>
                      <a:pt x="1128" y="896"/>
                    </a:lnTo>
                    <a:lnTo>
                      <a:pt x="1128" y="898"/>
                    </a:lnTo>
                    <a:lnTo>
                      <a:pt x="1126" y="898"/>
                    </a:lnTo>
                    <a:lnTo>
                      <a:pt x="1126" y="896"/>
                    </a:lnTo>
                    <a:lnTo>
                      <a:pt x="1124" y="898"/>
                    </a:lnTo>
                    <a:lnTo>
                      <a:pt x="1122" y="898"/>
                    </a:lnTo>
                    <a:lnTo>
                      <a:pt x="1122" y="900"/>
                    </a:lnTo>
                    <a:lnTo>
                      <a:pt x="1121" y="900"/>
                    </a:lnTo>
                    <a:lnTo>
                      <a:pt x="1121" y="901"/>
                    </a:lnTo>
                    <a:lnTo>
                      <a:pt x="1121" y="903"/>
                    </a:lnTo>
                    <a:lnTo>
                      <a:pt x="1121" y="905"/>
                    </a:lnTo>
                    <a:lnTo>
                      <a:pt x="1119" y="905"/>
                    </a:lnTo>
                    <a:lnTo>
                      <a:pt x="1119" y="906"/>
                    </a:lnTo>
                    <a:lnTo>
                      <a:pt x="1119" y="908"/>
                    </a:lnTo>
                    <a:lnTo>
                      <a:pt x="1117" y="908"/>
                    </a:lnTo>
                    <a:lnTo>
                      <a:pt x="1117" y="910"/>
                    </a:lnTo>
                    <a:lnTo>
                      <a:pt x="1116" y="910"/>
                    </a:lnTo>
                    <a:lnTo>
                      <a:pt x="1116" y="911"/>
                    </a:lnTo>
                    <a:lnTo>
                      <a:pt x="1116" y="913"/>
                    </a:lnTo>
                    <a:lnTo>
                      <a:pt x="1116" y="915"/>
                    </a:lnTo>
                    <a:lnTo>
                      <a:pt x="1116" y="917"/>
                    </a:lnTo>
                    <a:lnTo>
                      <a:pt x="1114" y="918"/>
                    </a:lnTo>
                    <a:lnTo>
                      <a:pt x="1114" y="920"/>
                    </a:lnTo>
                    <a:lnTo>
                      <a:pt x="1112" y="920"/>
                    </a:lnTo>
                    <a:lnTo>
                      <a:pt x="1112" y="922"/>
                    </a:lnTo>
                    <a:lnTo>
                      <a:pt x="1112" y="923"/>
                    </a:lnTo>
                    <a:lnTo>
                      <a:pt x="1112" y="925"/>
                    </a:lnTo>
                    <a:lnTo>
                      <a:pt x="1114" y="925"/>
                    </a:lnTo>
                    <a:lnTo>
                      <a:pt x="1114" y="927"/>
                    </a:lnTo>
                    <a:lnTo>
                      <a:pt x="1114" y="928"/>
                    </a:lnTo>
                    <a:lnTo>
                      <a:pt x="1114" y="930"/>
                    </a:lnTo>
                    <a:lnTo>
                      <a:pt x="1114" y="932"/>
                    </a:lnTo>
                    <a:lnTo>
                      <a:pt x="1114" y="934"/>
                    </a:lnTo>
                    <a:lnTo>
                      <a:pt x="1114" y="935"/>
                    </a:lnTo>
                    <a:lnTo>
                      <a:pt x="1114" y="937"/>
                    </a:lnTo>
                    <a:lnTo>
                      <a:pt x="1116" y="937"/>
                    </a:lnTo>
                    <a:lnTo>
                      <a:pt x="1116" y="939"/>
                    </a:lnTo>
                    <a:lnTo>
                      <a:pt x="1114" y="939"/>
                    </a:lnTo>
                    <a:lnTo>
                      <a:pt x="1114" y="940"/>
                    </a:lnTo>
                    <a:lnTo>
                      <a:pt x="1112" y="940"/>
                    </a:lnTo>
                    <a:lnTo>
                      <a:pt x="1112" y="942"/>
                    </a:lnTo>
                    <a:lnTo>
                      <a:pt x="1111" y="942"/>
                    </a:lnTo>
                    <a:lnTo>
                      <a:pt x="1109" y="944"/>
                    </a:lnTo>
                    <a:lnTo>
                      <a:pt x="1107" y="944"/>
                    </a:lnTo>
                    <a:lnTo>
                      <a:pt x="1107" y="945"/>
                    </a:lnTo>
                    <a:lnTo>
                      <a:pt x="1105" y="945"/>
                    </a:lnTo>
                    <a:lnTo>
                      <a:pt x="1104" y="945"/>
                    </a:lnTo>
                    <a:lnTo>
                      <a:pt x="1102" y="945"/>
                    </a:lnTo>
                    <a:lnTo>
                      <a:pt x="1100" y="947"/>
                    </a:lnTo>
                    <a:lnTo>
                      <a:pt x="1099" y="947"/>
                    </a:lnTo>
                    <a:lnTo>
                      <a:pt x="1097" y="947"/>
                    </a:lnTo>
                    <a:lnTo>
                      <a:pt x="1095" y="949"/>
                    </a:lnTo>
                    <a:lnTo>
                      <a:pt x="1095" y="947"/>
                    </a:lnTo>
                    <a:lnTo>
                      <a:pt x="1095" y="949"/>
                    </a:lnTo>
                    <a:lnTo>
                      <a:pt x="1094" y="949"/>
                    </a:lnTo>
                    <a:lnTo>
                      <a:pt x="1092" y="951"/>
                    </a:lnTo>
                    <a:lnTo>
                      <a:pt x="1090" y="951"/>
                    </a:lnTo>
                    <a:lnTo>
                      <a:pt x="1090" y="952"/>
                    </a:lnTo>
                    <a:lnTo>
                      <a:pt x="1088" y="952"/>
                    </a:lnTo>
                    <a:lnTo>
                      <a:pt x="1088" y="954"/>
                    </a:lnTo>
                    <a:lnTo>
                      <a:pt x="1087" y="954"/>
                    </a:lnTo>
                    <a:lnTo>
                      <a:pt x="1087" y="956"/>
                    </a:lnTo>
                    <a:lnTo>
                      <a:pt x="1085" y="956"/>
                    </a:lnTo>
                    <a:lnTo>
                      <a:pt x="1085" y="957"/>
                    </a:lnTo>
                    <a:lnTo>
                      <a:pt x="1083" y="957"/>
                    </a:lnTo>
                    <a:lnTo>
                      <a:pt x="1083" y="959"/>
                    </a:lnTo>
                    <a:lnTo>
                      <a:pt x="1082" y="959"/>
                    </a:lnTo>
                    <a:lnTo>
                      <a:pt x="1082" y="961"/>
                    </a:lnTo>
                    <a:lnTo>
                      <a:pt x="1080" y="961"/>
                    </a:lnTo>
                    <a:lnTo>
                      <a:pt x="1080" y="963"/>
                    </a:lnTo>
                    <a:lnTo>
                      <a:pt x="1080" y="964"/>
                    </a:lnTo>
                    <a:lnTo>
                      <a:pt x="1080" y="966"/>
                    </a:lnTo>
                    <a:lnTo>
                      <a:pt x="1082" y="966"/>
                    </a:lnTo>
                    <a:lnTo>
                      <a:pt x="1082" y="968"/>
                    </a:lnTo>
                    <a:lnTo>
                      <a:pt x="1083" y="968"/>
                    </a:lnTo>
                    <a:lnTo>
                      <a:pt x="1085" y="966"/>
                    </a:lnTo>
                    <a:lnTo>
                      <a:pt x="1085" y="968"/>
                    </a:lnTo>
                    <a:lnTo>
                      <a:pt x="1083" y="968"/>
                    </a:lnTo>
                    <a:lnTo>
                      <a:pt x="1085" y="968"/>
                    </a:lnTo>
                    <a:lnTo>
                      <a:pt x="1083" y="968"/>
                    </a:lnTo>
                    <a:lnTo>
                      <a:pt x="1083" y="969"/>
                    </a:lnTo>
                    <a:lnTo>
                      <a:pt x="1082" y="969"/>
                    </a:lnTo>
                    <a:lnTo>
                      <a:pt x="1082" y="971"/>
                    </a:lnTo>
                    <a:lnTo>
                      <a:pt x="1080" y="971"/>
                    </a:lnTo>
                    <a:lnTo>
                      <a:pt x="1082" y="971"/>
                    </a:lnTo>
                    <a:lnTo>
                      <a:pt x="1080" y="973"/>
                    </a:lnTo>
                    <a:lnTo>
                      <a:pt x="1078" y="973"/>
                    </a:lnTo>
                    <a:lnTo>
                      <a:pt x="1080" y="974"/>
                    </a:lnTo>
                    <a:lnTo>
                      <a:pt x="1080" y="976"/>
                    </a:lnTo>
                    <a:lnTo>
                      <a:pt x="1078" y="974"/>
                    </a:lnTo>
                    <a:lnTo>
                      <a:pt x="1077" y="974"/>
                    </a:lnTo>
                    <a:lnTo>
                      <a:pt x="1075" y="974"/>
                    </a:lnTo>
                    <a:lnTo>
                      <a:pt x="1073" y="974"/>
                    </a:lnTo>
                    <a:lnTo>
                      <a:pt x="1071" y="974"/>
                    </a:lnTo>
                    <a:lnTo>
                      <a:pt x="1070" y="974"/>
                    </a:lnTo>
                    <a:lnTo>
                      <a:pt x="1068" y="974"/>
                    </a:lnTo>
                    <a:lnTo>
                      <a:pt x="1066" y="974"/>
                    </a:lnTo>
                    <a:lnTo>
                      <a:pt x="1065" y="974"/>
                    </a:lnTo>
                    <a:lnTo>
                      <a:pt x="1063" y="974"/>
                    </a:lnTo>
                    <a:lnTo>
                      <a:pt x="1061" y="974"/>
                    </a:lnTo>
                    <a:lnTo>
                      <a:pt x="1060" y="974"/>
                    </a:lnTo>
                    <a:lnTo>
                      <a:pt x="1058" y="974"/>
                    </a:lnTo>
                    <a:lnTo>
                      <a:pt x="1056" y="974"/>
                    </a:lnTo>
                    <a:lnTo>
                      <a:pt x="1054" y="974"/>
                    </a:lnTo>
                    <a:lnTo>
                      <a:pt x="1053" y="974"/>
                    </a:lnTo>
                    <a:lnTo>
                      <a:pt x="1051" y="974"/>
                    </a:lnTo>
                    <a:lnTo>
                      <a:pt x="1049" y="974"/>
                    </a:lnTo>
                    <a:lnTo>
                      <a:pt x="1049" y="976"/>
                    </a:lnTo>
                    <a:lnTo>
                      <a:pt x="1048" y="976"/>
                    </a:lnTo>
                    <a:lnTo>
                      <a:pt x="1046" y="974"/>
                    </a:lnTo>
                    <a:lnTo>
                      <a:pt x="1046" y="976"/>
                    </a:lnTo>
                    <a:lnTo>
                      <a:pt x="1044" y="976"/>
                    </a:lnTo>
                    <a:lnTo>
                      <a:pt x="1044" y="974"/>
                    </a:lnTo>
                    <a:lnTo>
                      <a:pt x="1043" y="974"/>
                    </a:lnTo>
                    <a:lnTo>
                      <a:pt x="1043" y="973"/>
                    </a:lnTo>
                    <a:lnTo>
                      <a:pt x="1043" y="974"/>
                    </a:lnTo>
                    <a:lnTo>
                      <a:pt x="1043" y="973"/>
                    </a:lnTo>
                    <a:lnTo>
                      <a:pt x="1043" y="971"/>
                    </a:lnTo>
                    <a:lnTo>
                      <a:pt x="1043" y="969"/>
                    </a:lnTo>
                    <a:lnTo>
                      <a:pt x="1044" y="969"/>
                    </a:lnTo>
                    <a:lnTo>
                      <a:pt x="1044" y="968"/>
                    </a:lnTo>
                    <a:lnTo>
                      <a:pt x="1046" y="968"/>
                    </a:lnTo>
                    <a:lnTo>
                      <a:pt x="1046" y="966"/>
                    </a:lnTo>
                    <a:lnTo>
                      <a:pt x="1044" y="964"/>
                    </a:lnTo>
                    <a:lnTo>
                      <a:pt x="1043" y="964"/>
                    </a:lnTo>
                    <a:lnTo>
                      <a:pt x="1043" y="966"/>
                    </a:lnTo>
                    <a:lnTo>
                      <a:pt x="1041" y="966"/>
                    </a:lnTo>
                    <a:lnTo>
                      <a:pt x="1039" y="966"/>
                    </a:lnTo>
                    <a:lnTo>
                      <a:pt x="1039" y="968"/>
                    </a:lnTo>
                    <a:lnTo>
                      <a:pt x="1039" y="966"/>
                    </a:lnTo>
                    <a:lnTo>
                      <a:pt x="1037" y="968"/>
                    </a:lnTo>
                    <a:lnTo>
                      <a:pt x="1037" y="969"/>
                    </a:lnTo>
                    <a:lnTo>
                      <a:pt x="1037" y="971"/>
                    </a:lnTo>
                    <a:lnTo>
                      <a:pt x="1039" y="971"/>
                    </a:lnTo>
                    <a:lnTo>
                      <a:pt x="1039" y="973"/>
                    </a:lnTo>
                    <a:lnTo>
                      <a:pt x="1041" y="973"/>
                    </a:lnTo>
                    <a:lnTo>
                      <a:pt x="1041" y="974"/>
                    </a:lnTo>
                    <a:lnTo>
                      <a:pt x="1041" y="976"/>
                    </a:lnTo>
                    <a:lnTo>
                      <a:pt x="1039" y="976"/>
                    </a:lnTo>
                    <a:lnTo>
                      <a:pt x="1037" y="976"/>
                    </a:lnTo>
                    <a:lnTo>
                      <a:pt x="1036" y="978"/>
                    </a:lnTo>
                    <a:lnTo>
                      <a:pt x="1036" y="976"/>
                    </a:lnTo>
                    <a:lnTo>
                      <a:pt x="1034" y="976"/>
                    </a:lnTo>
                    <a:lnTo>
                      <a:pt x="1032" y="976"/>
                    </a:lnTo>
                    <a:lnTo>
                      <a:pt x="1032" y="978"/>
                    </a:lnTo>
                    <a:lnTo>
                      <a:pt x="1031" y="978"/>
                    </a:lnTo>
                    <a:lnTo>
                      <a:pt x="1029" y="978"/>
                    </a:lnTo>
                    <a:lnTo>
                      <a:pt x="1027" y="978"/>
                    </a:lnTo>
                    <a:lnTo>
                      <a:pt x="1027" y="980"/>
                    </a:lnTo>
                    <a:lnTo>
                      <a:pt x="1027" y="978"/>
                    </a:lnTo>
                    <a:lnTo>
                      <a:pt x="1026" y="978"/>
                    </a:lnTo>
                    <a:lnTo>
                      <a:pt x="1024" y="978"/>
                    </a:lnTo>
                    <a:lnTo>
                      <a:pt x="1022" y="978"/>
                    </a:lnTo>
                    <a:lnTo>
                      <a:pt x="1020" y="978"/>
                    </a:lnTo>
                    <a:lnTo>
                      <a:pt x="1020" y="980"/>
                    </a:lnTo>
                    <a:lnTo>
                      <a:pt x="1019" y="980"/>
                    </a:lnTo>
                    <a:lnTo>
                      <a:pt x="1017" y="980"/>
                    </a:lnTo>
                    <a:lnTo>
                      <a:pt x="1015" y="980"/>
                    </a:lnTo>
                    <a:lnTo>
                      <a:pt x="1014" y="980"/>
                    </a:lnTo>
                    <a:lnTo>
                      <a:pt x="1012" y="980"/>
                    </a:lnTo>
                    <a:lnTo>
                      <a:pt x="1014" y="978"/>
                    </a:lnTo>
                    <a:lnTo>
                      <a:pt x="1015" y="978"/>
                    </a:lnTo>
                    <a:lnTo>
                      <a:pt x="1015" y="980"/>
                    </a:lnTo>
                    <a:lnTo>
                      <a:pt x="1017" y="980"/>
                    </a:lnTo>
                    <a:lnTo>
                      <a:pt x="1017" y="978"/>
                    </a:lnTo>
                    <a:lnTo>
                      <a:pt x="1015" y="978"/>
                    </a:lnTo>
                    <a:lnTo>
                      <a:pt x="1017" y="978"/>
                    </a:lnTo>
                    <a:lnTo>
                      <a:pt x="1019" y="978"/>
                    </a:lnTo>
                    <a:lnTo>
                      <a:pt x="1020" y="978"/>
                    </a:lnTo>
                    <a:lnTo>
                      <a:pt x="1022" y="978"/>
                    </a:lnTo>
                    <a:lnTo>
                      <a:pt x="1024" y="978"/>
                    </a:lnTo>
                    <a:lnTo>
                      <a:pt x="1026" y="978"/>
                    </a:lnTo>
                    <a:lnTo>
                      <a:pt x="1026" y="976"/>
                    </a:lnTo>
                    <a:lnTo>
                      <a:pt x="1024" y="976"/>
                    </a:lnTo>
                    <a:lnTo>
                      <a:pt x="1022" y="976"/>
                    </a:lnTo>
                    <a:lnTo>
                      <a:pt x="1022" y="974"/>
                    </a:lnTo>
                    <a:lnTo>
                      <a:pt x="1020" y="974"/>
                    </a:lnTo>
                    <a:lnTo>
                      <a:pt x="1020" y="973"/>
                    </a:lnTo>
                    <a:lnTo>
                      <a:pt x="1020" y="974"/>
                    </a:lnTo>
                    <a:lnTo>
                      <a:pt x="1020" y="973"/>
                    </a:lnTo>
                    <a:lnTo>
                      <a:pt x="1019" y="973"/>
                    </a:lnTo>
                    <a:lnTo>
                      <a:pt x="1019" y="974"/>
                    </a:lnTo>
                    <a:lnTo>
                      <a:pt x="1017" y="973"/>
                    </a:lnTo>
                    <a:lnTo>
                      <a:pt x="1019" y="973"/>
                    </a:lnTo>
                    <a:lnTo>
                      <a:pt x="1017" y="973"/>
                    </a:lnTo>
                    <a:lnTo>
                      <a:pt x="1015" y="974"/>
                    </a:lnTo>
                    <a:lnTo>
                      <a:pt x="1014" y="974"/>
                    </a:lnTo>
                    <a:lnTo>
                      <a:pt x="1012" y="974"/>
                    </a:lnTo>
                    <a:lnTo>
                      <a:pt x="1012" y="976"/>
                    </a:lnTo>
                    <a:lnTo>
                      <a:pt x="1010" y="976"/>
                    </a:lnTo>
                    <a:lnTo>
                      <a:pt x="1012" y="974"/>
                    </a:lnTo>
                    <a:lnTo>
                      <a:pt x="1010" y="974"/>
                    </a:lnTo>
                    <a:lnTo>
                      <a:pt x="1010" y="976"/>
                    </a:lnTo>
                    <a:lnTo>
                      <a:pt x="1009" y="978"/>
                    </a:lnTo>
                    <a:lnTo>
                      <a:pt x="1007" y="978"/>
                    </a:lnTo>
                    <a:lnTo>
                      <a:pt x="1005" y="978"/>
                    </a:lnTo>
                    <a:lnTo>
                      <a:pt x="1005" y="976"/>
                    </a:lnTo>
                    <a:lnTo>
                      <a:pt x="1003" y="976"/>
                    </a:lnTo>
                    <a:lnTo>
                      <a:pt x="1003" y="978"/>
                    </a:lnTo>
                    <a:lnTo>
                      <a:pt x="1002" y="976"/>
                    </a:lnTo>
                    <a:lnTo>
                      <a:pt x="1002" y="978"/>
                    </a:lnTo>
                    <a:lnTo>
                      <a:pt x="1000" y="978"/>
                    </a:lnTo>
                    <a:lnTo>
                      <a:pt x="1000" y="976"/>
                    </a:lnTo>
                    <a:lnTo>
                      <a:pt x="1002" y="976"/>
                    </a:lnTo>
                    <a:lnTo>
                      <a:pt x="1002" y="974"/>
                    </a:lnTo>
                    <a:lnTo>
                      <a:pt x="1003" y="974"/>
                    </a:lnTo>
                    <a:lnTo>
                      <a:pt x="1002" y="974"/>
                    </a:lnTo>
                    <a:lnTo>
                      <a:pt x="1000" y="974"/>
                    </a:lnTo>
                    <a:lnTo>
                      <a:pt x="1002" y="974"/>
                    </a:lnTo>
                    <a:lnTo>
                      <a:pt x="1000" y="974"/>
                    </a:lnTo>
                    <a:lnTo>
                      <a:pt x="1000" y="976"/>
                    </a:lnTo>
                    <a:lnTo>
                      <a:pt x="1000" y="974"/>
                    </a:lnTo>
                    <a:lnTo>
                      <a:pt x="998" y="974"/>
                    </a:lnTo>
                    <a:lnTo>
                      <a:pt x="998" y="976"/>
                    </a:lnTo>
                    <a:lnTo>
                      <a:pt x="998" y="978"/>
                    </a:lnTo>
                    <a:lnTo>
                      <a:pt x="997" y="976"/>
                    </a:lnTo>
                    <a:lnTo>
                      <a:pt x="997" y="978"/>
                    </a:lnTo>
                    <a:lnTo>
                      <a:pt x="995" y="978"/>
                    </a:lnTo>
                    <a:lnTo>
                      <a:pt x="993" y="978"/>
                    </a:lnTo>
                    <a:lnTo>
                      <a:pt x="993" y="980"/>
                    </a:lnTo>
                    <a:lnTo>
                      <a:pt x="993" y="978"/>
                    </a:lnTo>
                    <a:lnTo>
                      <a:pt x="992" y="978"/>
                    </a:lnTo>
                    <a:lnTo>
                      <a:pt x="990" y="978"/>
                    </a:lnTo>
                    <a:lnTo>
                      <a:pt x="990" y="980"/>
                    </a:lnTo>
                    <a:lnTo>
                      <a:pt x="990" y="981"/>
                    </a:lnTo>
                    <a:lnTo>
                      <a:pt x="988" y="983"/>
                    </a:lnTo>
                    <a:lnTo>
                      <a:pt x="990" y="983"/>
                    </a:lnTo>
                    <a:lnTo>
                      <a:pt x="988" y="983"/>
                    </a:lnTo>
                    <a:lnTo>
                      <a:pt x="988" y="985"/>
                    </a:lnTo>
                    <a:lnTo>
                      <a:pt x="990" y="985"/>
                    </a:lnTo>
                    <a:lnTo>
                      <a:pt x="992" y="983"/>
                    </a:lnTo>
                    <a:lnTo>
                      <a:pt x="992" y="985"/>
                    </a:lnTo>
                    <a:lnTo>
                      <a:pt x="990" y="985"/>
                    </a:lnTo>
                    <a:lnTo>
                      <a:pt x="990" y="986"/>
                    </a:lnTo>
                    <a:lnTo>
                      <a:pt x="990" y="985"/>
                    </a:lnTo>
                    <a:lnTo>
                      <a:pt x="992" y="985"/>
                    </a:lnTo>
                    <a:lnTo>
                      <a:pt x="992" y="986"/>
                    </a:lnTo>
                    <a:lnTo>
                      <a:pt x="990" y="986"/>
                    </a:lnTo>
                    <a:lnTo>
                      <a:pt x="992" y="988"/>
                    </a:lnTo>
                    <a:lnTo>
                      <a:pt x="992" y="986"/>
                    </a:lnTo>
                    <a:lnTo>
                      <a:pt x="993" y="985"/>
                    </a:lnTo>
                    <a:lnTo>
                      <a:pt x="993" y="986"/>
                    </a:lnTo>
                    <a:lnTo>
                      <a:pt x="995" y="986"/>
                    </a:lnTo>
                    <a:lnTo>
                      <a:pt x="995" y="988"/>
                    </a:lnTo>
                    <a:lnTo>
                      <a:pt x="995" y="986"/>
                    </a:lnTo>
                    <a:lnTo>
                      <a:pt x="995" y="988"/>
                    </a:lnTo>
                    <a:lnTo>
                      <a:pt x="993" y="988"/>
                    </a:lnTo>
                    <a:lnTo>
                      <a:pt x="993" y="990"/>
                    </a:lnTo>
                    <a:lnTo>
                      <a:pt x="992" y="990"/>
                    </a:lnTo>
                    <a:lnTo>
                      <a:pt x="992" y="988"/>
                    </a:lnTo>
                    <a:lnTo>
                      <a:pt x="992" y="990"/>
                    </a:lnTo>
                    <a:lnTo>
                      <a:pt x="992" y="988"/>
                    </a:lnTo>
                    <a:lnTo>
                      <a:pt x="990" y="990"/>
                    </a:lnTo>
                    <a:lnTo>
                      <a:pt x="990" y="988"/>
                    </a:lnTo>
                    <a:lnTo>
                      <a:pt x="990" y="990"/>
                    </a:lnTo>
                    <a:lnTo>
                      <a:pt x="990" y="988"/>
                    </a:lnTo>
                    <a:lnTo>
                      <a:pt x="988" y="990"/>
                    </a:lnTo>
                    <a:lnTo>
                      <a:pt x="986" y="990"/>
                    </a:lnTo>
                    <a:lnTo>
                      <a:pt x="985" y="990"/>
                    </a:lnTo>
                    <a:lnTo>
                      <a:pt x="985" y="991"/>
                    </a:lnTo>
                    <a:lnTo>
                      <a:pt x="985" y="990"/>
                    </a:lnTo>
                    <a:lnTo>
                      <a:pt x="983" y="990"/>
                    </a:lnTo>
                    <a:lnTo>
                      <a:pt x="981" y="988"/>
                    </a:lnTo>
                    <a:lnTo>
                      <a:pt x="981" y="990"/>
                    </a:lnTo>
                    <a:lnTo>
                      <a:pt x="980" y="990"/>
                    </a:lnTo>
                    <a:lnTo>
                      <a:pt x="980" y="991"/>
                    </a:lnTo>
                    <a:lnTo>
                      <a:pt x="978" y="991"/>
                    </a:lnTo>
                    <a:lnTo>
                      <a:pt x="976" y="991"/>
                    </a:lnTo>
                    <a:lnTo>
                      <a:pt x="976" y="993"/>
                    </a:lnTo>
                    <a:lnTo>
                      <a:pt x="978" y="993"/>
                    </a:lnTo>
                    <a:lnTo>
                      <a:pt x="976" y="993"/>
                    </a:lnTo>
                    <a:lnTo>
                      <a:pt x="976" y="995"/>
                    </a:lnTo>
                    <a:lnTo>
                      <a:pt x="975" y="995"/>
                    </a:lnTo>
                    <a:lnTo>
                      <a:pt x="975" y="997"/>
                    </a:lnTo>
                    <a:lnTo>
                      <a:pt x="975" y="995"/>
                    </a:lnTo>
                    <a:lnTo>
                      <a:pt x="973" y="995"/>
                    </a:lnTo>
                    <a:lnTo>
                      <a:pt x="973" y="997"/>
                    </a:lnTo>
                    <a:lnTo>
                      <a:pt x="973" y="995"/>
                    </a:lnTo>
                    <a:lnTo>
                      <a:pt x="971" y="995"/>
                    </a:lnTo>
                    <a:lnTo>
                      <a:pt x="971" y="997"/>
                    </a:lnTo>
                    <a:lnTo>
                      <a:pt x="971" y="998"/>
                    </a:lnTo>
                    <a:lnTo>
                      <a:pt x="969" y="998"/>
                    </a:lnTo>
                    <a:lnTo>
                      <a:pt x="969" y="997"/>
                    </a:lnTo>
                    <a:lnTo>
                      <a:pt x="968" y="998"/>
                    </a:lnTo>
                    <a:lnTo>
                      <a:pt x="968" y="1000"/>
                    </a:lnTo>
                    <a:lnTo>
                      <a:pt x="966" y="1000"/>
                    </a:lnTo>
                    <a:lnTo>
                      <a:pt x="964" y="1000"/>
                    </a:lnTo>
                    <a:lnTo>
                      <a:pt x="964" y="1002"/>
                    </a:lnTo>
                    <a:lnTo>
                      <a:pt x="964" y="1003"/>
                    </a:lnTo>
                    <a:lnTo>
                      <a:pt x="966" y="1003"/>
                    </a:lnTo>
                    <a:lnTo>
                      <a:pt x="964" y="1003"/>
                    </a:lnTo>
                    <a:lnTo>
                      <a:pt x="966" y="1005"/>
                    </a:lnTo>
                    <a:lnTo>
                      <a:pt x="966" y="1007"/>
                    </a:lnTo>
                    <a:lnTo>
                      <a:pt x="964" y="1007"/>
                    </a:lnTo>
                    <a:lnTo>
                      <a:pt x="963" y="1007"/>
                    </a:lnTo>
                    <a:lnTo>
                      <a:pt x="961" y="1007"/>
                    </a:lnTo>
                    <a:lnTo>
                      <a:pt x="959" y="1005"/>
                    </a:lnTo>
                    <a:lnTo>
                      <a:pt x="958" y="1005"/>
                    </a:lnTo>
                    <a:lnTo>
                      <a:pt x="958" y="1007"/>
                    </a:lnTo>
                    <a:lnTo>
                      <a:pt x="958" y="1005"/>
                    </a:lnTo>
                    <a:lnTo>
                      <a:pt x="956" y="1005"/>
                    </a:lnTo>
                    <a:lnTo>
                      <a:pt x="954" y="1005"/>
                    </a:lnTo>
                    <a:lnTo>
                      <a:pt x="952" y="1005"/>
                    </a:lnTo>
                    <a:lnTo>
                      <a:pt x="951" y="1003"/>
                    </a:lnTo>
                    <a:lnTo>
                      <a:pt x="951" y="1005"/>
                    </a:lnTo>
                    <a:lnTo>
                      <a:pt x="949" y="1005"/>
                    </a:lnTo>
                    <a:lnTo>
                      <a:pt x="947" y="1005"/>
                    </a:lnTo>
                    <a:lnTo>
                      <a:pt x="946" y="1005"/>
                    </a:lnTo>
                    <a:lnTo>
                      <a:pt x="944" y="1007"/>
                    </a:lnTo>
                    <a:lnTo>
                      <a:pt x="942" y="1007"/>
                    </a:lnTo>
                    <a:lnTo>
                      <a:pt x="941" y="1007"/>
                    </a:lnTo>
                    <a:lnTo>
                      <a:pt x="941" y="1008"/>
                    </a:lnTo>
                    <a:lnTo>
                      <a:pt x="941" y="1010"/>
                    </a:lnTo>
                    <a:lnTo>
                      <a:pt x="939" y="1010"/>
                    </a:lnTo>
                    <a:lnTo>
                      <a:pt x="941" y="1012"/>
                    </a:lnTo>
                    <a:lnTo>
                      <a:pt x="939" y="1012"/>
                    </a:lnTo>
                    <a:lnTo>
                      <a:pt x="939" y="1014"/>
                    </a:lnTo>
                    <a:lnTo>
                      <a:pt x="939" y="1012"/>
                    </a:lnTo>
                    <a:lnTo>
                      <a:pt x="937" y="1014"/>
                    </a:lnTo>
                    <a:lnTo>
                      <a:pt x="935" y="1014"/>
                    </a:lnTo>
                    <a:lnTo>
                      <a:pt x="935" y="1015"/>
                    </a:lnTo>
                    <a:lnTo>
                      <a:pt x="935" y="1014"/>
                    </a:lnTo>
                    <a:lnTo>
                      <a:pt x="934" y="1014"/>
                    </a:lnTo>
                    <a:lnTo>
                      <a:pt x="935" y="1014"/>
                    </a:lnTo>
                    <a:lnTo>
                      <a:pt x="934" y="1012"/>
                    </a:lnTo>
                    <a:lnTo>
                      <a:pt x="932" y="1012"/>
                    </a:lnTo>
                    <a:lnTo>
                      <a:pt x="932" y="1014"/>
                    </a:lnTo>
                    <a:lnTo>
                      <a:pt x="932" y="1015"/>
                    </a:lnTo>
                    <a:lnTo>
                      <a:pt x="932" y="1014"/>
                    </a:lnTo>
                    <a:lnTo>
                      <a:pt x="930" y="1014"/>
                    </a:lnTo>
                    <a:lnTo>
                      <a:pt x="929" y="1015"/>
                    </a:lnTo>
                    <a:lnTo>
                      <a:pt x="927" y="1015"/>
                    </a:lnTo>
                    <a:lnTo>
                      <a:pt x="925" y="1017"/>
                    </a:lnTo>
                    <a:lnTo>
                      <a:pt x="924" y="1017"/>
                    </a:lnTo>
                    <a:lnTo>
                      <a:pt x="922" y="1017"/>
                    </a:lnTo>
                    <a:lnTo>
                      <a:pt x="922" y="1019"/>
                    </a:lnTo>
                    <a:lnTo>
                      <a:pt x="920" y="1019"/>
                    </a:lnTo>
                    <a:lnTo>
                      <a:pt x="920" y="1020"/>
                    </a:lnTo>
                    <a:lnTo>
                      <a:pt x="918" y="1020"/>
                    </a:lnTo>
                    <a:lnTo>
                      <a:pt x="917" y="1020"/>
                    </a:lnTo>
                    <a:lnTo>
                      <a:pt x="917" y="1022"/>
                    </a:lnTo>
                    <a:lnTo>
                      <a:pt x="915" y="1022"/>
                    </a:lnTo>
                    <a:lnTo>
                      <a:pt x="913" y="1024"/>
                    </a:lnTo>
                    <a:lnTo>
                      <a:pt x="912" y="1025"/>
                    </a:lnTo>
                    <a:lnTo>
                      <a:pt x="912" y="1027"/>
                    </a:lnTo>
                    <a:lnTo>
                      <a:pt x="912" y="1029"/>
                    </a:lnTo>
                    <a:lnTo>
                      <a:pt x="910" y="1029"/>
                    </a:lnTo>
                    <a:lnTo>
                      <a:pt x="908" y="1031"/>
                    </a:lnTo>
                    <a:lnTo>
                      <a:pt x="907" y="1032"/>
                    </a:lnTo>
                    <a:lnTo>
                      <a:pt x="905" y="1032"/>
                    </a:lnTo>
                    <a:lnTo>
                      <a:pt x="905" y="1034"/>
                    </a:lnTo>
                    <a:lnTo>
                      <a:pt x="903" y="1034"/>
                    </a:lnTo>
                    <a:lnTo>
                      <a:pt x="901" y="1036"/>
                    </a:lnTo>
                    <a:lnTo>
                      <a:pt x="900" y="1036"/>
                    </a:lnTo>
                    <a:lnTo>
                      <a:pt x="900" y="1037"/>
                    </a:lnTo>
                    <a:lnTo>
                      <a:pt x="898" y="1037"/>
                    </a:lnTo>
                    <a:lnTo>
                      <a:pt x="896" y="1039"/>
                    </a:lnTo>
                    <a:lnTo>
                      <a:pt x="895" y="1039"/>
                    </a:lnTo>
                    <a:lnTo>
                      <a:pt x="895" y="1041"/>
                    </a:lnTo>
                    <a:lnTo>
                      <a:pt x="893" y="1041"/>
                    </a:lnTo>
                    <a:lnTo>
                      <a:pt x="891" y="1042"/>
                    </a:lnTo>
                    <a:lnTo>
                      <a:pt x="890" y="1042"/>
                    </a:lnTo>
                    <a:lnTo>
                      <a:pt x="890" y="1044"/>
                    </a:lnTo>
                    <a:lnTo>
                      <a:pt x="888" y="1044"/>
                    </a:lnTo>
                    <a:lnTo>
                      <a:pt x="888" y="1046"/>
                    </a:lnTo>
                    <a:lnTo>
                      <a:pt x="886" y="1046"/>
                    </a:lnTo>
                    <a:lnTo>
                      <a:pt x="884" y="1048"/>
                    </a:lnTo>
                    <a:lnTo>
                      <a:pt x="884" y="1049"/>
                    </a:lnTo>
                    <a:lnTo>
                      <a:pt x="883" y="1049"/>
                    </a:lnTo>
                    <a:lnTo>
                      <a:pt x="883" y="1051"/>
                    </a:lnTo>
                    <a:lnTo>
                      <a:pt x="881" y="1051"/>
                    </a:lnTo>
                    <a:lnTo>
                      <a:pt x="881" y="1053"/>
                    </a:lnTo>
                    <a:lnTo>
                      <a:pt x="881" y="1054"/>
                    </a:lnTo>
                    <a:lnTo>
                      <a:pt x="881" y="1056"/>
                    </a:lnTo>
                    <a:lnTo>
                      <a:pt x="879" y="1056"/>
                    </a:lnTo>
                    <a:lnTo>
                      <a:pt x="879" y="1058"/>
                    </a:lnTo>
                    <a:lnTo>
                      <a:pt x="878" y="1058"/>
                    </a:lnTo>
                    <a:lnTo>
                      <a:pt x="878" y="1059"/>
                    </a:lnTo>
                    <a:lnTo>
                      <a:pt x="876" y="1059"/>
                    </a:lnTo>
                    <a:lnTo>
                      <a:pt x="876" y="1061"/>
                    </a:lnTo>
                    <a:lnTo>
                      <a:pt x="874" y="1061"/>
                    </a:lnTo>
                    <a:lnTo>
                      <a:pt x="874" y="1063"/>
                    </a:lnTo>
                    <a:lnTo>
                      <a:pt x="873" y="1063"/>
                    </a:lnTo>
                    <a:lnTo>
                      <a:pt x="873" y="1065"/>
                    </a:lnTo>
                    <a:lnTo>
                      <a:pt x="871" y="1065"/>
                    </a:lnTo>
                    <a:lnTo>
                      <a:pt x="871" y="1066"/>
                    </a:lnTo>
                    <a:lnTo>
                      <a:pt x="871" y="1068"/>
                    </a:lnTo>
                    <a:lnTo>
                      <a:pt x="869" y="1068"/>
                    </a:lnTo>
                    <a:lnTo>
                      <a:pt x="867" y="1068"/>
                    </a:lnTo>
                    <a:lnTo>
                      <a:pt x="867" y="1070"/>
                    </a:lnTo>
                    <a:lnTo>
                      <a:pt x="867" y="1071"/>
                    </a:lnTo>
                    <a:lnTo>
                      <a:pt x="866" y="1071"/>
                    </a:lnTo>
                    <a:lnTo>
                      <a:pt x="866" y="1073"/>
                    </a:lnTo>
                    <a:lnTo>
                      <a:pt x="864" y="1073"/>
                    </a:lnTo>
                    <a:lnTo>
                      <a:pt x="862" y="1075"/>
                    </a:lnTo>
                    <a:lnTo>
                      <a:pt x="862" y="1076"/>
                    </a:lnTo>
                    <a:lnTo>
                      <a:pt x="861" y="1078"/>
                    </a:lnTo>
                    <a:lnTo>
                      <a:pt x="861" y="1080"/>
                    </a:lnTo>
                    <a:lnTo>
                      <a:pt x="859" y="1080"/>
                    </a:lnTo>
                    <a:lnTo>
                      <a:pt x="861" y="1082"/>
                    </a:lnTo>
                    <a:lnTo>
                      <a:pt x="859" y="1082"/>
                    </a:lnTo>
                    <a:lnTo>
                      <a:pt x="859" y="1083"/>
                    </a:lnTo>
                    <a:lnTo>
                      <a:pt x="859" y="1085"/>
                    </a:lnTo>
                    <a:lnTo>
                      <a:pt x="857" y="1085"/>
                    </a:lnTo>
                    <a:lnTo>
                      <a:pt x="857" y="1087"/>
                    </a:lnTo>
                    <a:lnTo>
                      <a:pt x="857" y="1088"/>
                    </a:lnTo>
                    <a:lnTo>
                      <a:pt x="857" y="1090"/>
                    </a:lnTo>
                    <a:lnTo>
                      <a:pt x="857" y="1092"/>
                    </a:lnTo>
                    <a:lnTo>
                      <a:pt x="857" y="1093"/>
                    </a:lnTo>
                    <a:lnTo>
                      <a:pt x="859" y="1093"/>
                    </a:lnTo>
                    <a:lnTo>
                      <a:pt x="861" y="1093"/>
                    </a:lnTo>
                    <a:lnTo>
                      <a:pt x="861" y="1095"/>
                    </a:lnTo>
                    <a:lnTo>
                      <a:pt x="861" y="1097"/>
                    </a:lnTo>
                    <a:lnTo>
                      <a:pt x="859" y="1099"/>
                    </a:lnTo>
                    <a:lnTo>
                      <a:pt x="859" y="1100"/>
                    </a:lnTo>
                    <a:lnTo>
                      <a:pt x="859" y="1102"/>
                    </a:lnTo>
                    <a:lnTo>
                      <a:pt x="857" y="1102"/>
                    </a:lnTo>
                    <a:lnTo>
                      <a:pt x="857" y="1104"/>
                    </a:lnTo>
                    <a:lnTo>
                      <a:pt x="857" y="1105"/>
                    </a:lnTo>
                    <a:lnTo>
                      <a:pt x="857" y="1107"/>
                    </a:lnTo>
                    <a:lnTo>
                      <a:pt x="856" y="1107"/>
                    </a:lnTo>
                    <a:lnTo>
                      <a:pt x="856" y="1109"/>
                    </a:lnTo>
                    <a:lnTo>
                      <a:pt x="856" y="1110"/>
                    </a:lnTo>
                    <a:lnTo>
                      <a:pt x="856" y="1112"/>
                    </a:lnTo>
                    <a:lnTo>
                      <a:pt x="854" y="1112"/>
                    </a:lnTo>
                    <a:lnTo>
                      <a:pt x="856" y="1112"/>
                    </a:lnTo>
                    <a:lnTo>
                      <a:pt x="854" y="1112"/>
                    </a:lnTo>
                    <a:lnTo>
                      <a:pt x="854" y="1114"/>
                    </a:lnTo>
                    <a:lnTo>
                      <a:pt x="856" y="1114"/>
                    </a:lnTo>
                    <a:lnTo>
                      <a:pt x="856" y="1116"/>
                    </a:lnTo>
                    <a:lnTo>
                      <a:pt x="856" y="1117"/>
                    </a:lnTo>
                    <a:lnTo>
                      <a:pt x="856" y="1116"/>
                    </a:lnTo>
                    <a:lnTo>
                      <a:pt x="857" y="1117"/>
                    </a:lnTo>
                    <a:lnTo>
                      <a:pt x="857" y="1119"/>
                    </a:lnTo>
                    <a:lnTo>
                      <a:pt x="856" y="1121"/>
                    </a:lnTo>
                    <a:lnTo>
                      <a:pt x="856" y="1122"/>
                    </a:lnTo>
                    <a:lnTo>
                      <a:pt x="857" y="1122"/>
                    </a:lnTo>
                    <a:lnTo>
                      <a:pt x="857" y="1124"/>
                    </a:lnTo>
                    <a:lnTo>
                      <a:pt x="856" y="1124"/>
                    </a:lnTo>
                    <a:lnTo>
                      <a:pt x="857" y="1126"/>
                    </a:lnTo>
                    <a:lnTo>
                      <a:pt x="859" y="1126"/>
                    </a:lnTo>
                    <a:lnTo>
                      <a:pt x="859" y="1128"/>
                    </a:lnTo>
                    <a:lnTo>
                      <a:pt x="857" y="1128"/>
                    </a:lnTo>
                    <a:lnTo>
                      <a:pt x="857" y="1129"/>
                    </a:lnTo>
                    <a:lnTo>
                      <a:pt x="857" y="1131"/>
                    </a:lnTo>
                    <a:lnTo>
                      <a:pt x="859" y="1131"/>
                    </a:lnTo>
                    <a:lnTo>
                      <a:pt x="861" y="1131"/>
                    </a:lnTo>
                    <a:lnTo>
                      <a:pt x="861" y="1129"/>
                    </a:lnTo>
                    <a:lnTo>
                      <a:pt x="861" y="1131"/>
                    </a:lnTo>
                    <a:lnTo>
                      <a:pt x="862" y="1131"/>
                    </a:lnTo>
                    <a:lnTo>
                      <a:pt x="861" y="1131"/>
                    </a:lnTo>
                    <a:lnTo>
                      <a:pt x="861" y="1133"/>
                    </a:lnTo>
                    <a:lnTo>
                      <a:pt x="862" y="1133"/>
                    </a:lnTo>
                    <a:lnTo>
                      <a:pt x="861" y="1134"/>
                    </a:lnTo>
                    <a:lnTo>
                      <a:pt x="861" y="1133"/>
                    </a:lnTo>
                    <a:lnTo>
                      <a:pt x="859" y="1133"/>
                    </a:lnTo>
                    <a:lnTo>
                      <a:pt x="857" y="1134"/>
                    </a:lnTo>
                    <a:lnTo>
                      <a:pt x="857" y="1136"/>
                    </a:lnTo>
                    <a:lnTo>
                      <a:pt x="857" y="1138"/>
                    </a:lnTo>
                    <a:lnTo>
                      <a:pt x="859" y="1138"/>
                    </a:lnTo>
                    <a:lnTo>
                      <a:pt x="859" y="1136"/>
                    </a:lnTo>
                    <a:lnTo>
                      <a:pt x="859" y="1138"/>
                    </a:lnTo>
                    <a:lnTo>
                      <a:pt x="861" y="1138"/>
                    </a:lnTo>
                    <a:lnTo>
                      <a:pt x="859" y="1139"/>
                    </a:lnTo>
                    <a:lnTo>
                      <a:pt x="861" y="1139"/>
                    </a:lnTo>
                    <a:lnTo>
                      <a:pt x="859" y="1139"/>
                    </a:lnTo>
                    <a:lnTo>
                      <a:pt x="859" y="1141"/>
                    </a:lnTo>
                    <a:lnTo>
                      <a:pt x="857" y="1141"/>
                    </a:lnTo>
                    <a:lnTo>
                      <a:pt x="857" y="1143"/>
                    </a:lnTo>
                    <a:lnTo>
                      <a:pt x="856" y="1143"/>
                    </a:lnTo>
                    <a:lnTo>
                      <a:pt x="856" y="1145"/>
                    </a:lnTo>
                    <a:lnTo>
                      <a:pt x="857" y="1145"/>
                    </a:lnTo>
                    <a:lnTo>
                      <a:pt x="857" y="1146"/>
                    </a:lnTo>
                    <a:lnTo>
                      <a:pt x="857" y="1148"/>
                    </a:lnTo>
                    <a:lnTo>
                      <a:pt x="859" y="1148"/>
                    </a:lnTo>
                    <a:lnTo>
                      <a:pt x="857" y="1150"/>
                    </a:lnTo>
                    <a:lnTo>
                      <a:pt x="857" y="1148"/>
                    </a:lnTo>
                    <a:lnTo>
                      <a:pt x="857" y="1150"/>
                    </a:lnTo>
                    <a:lnTo>
                      <a:pt x="856" y="1150"/>
                    </a:lnTo>
                    <a:lnTo>
                      <a:pt x="856" y="1151"/>
                    </a:lnTo>
                    <a:lnTo>
                      <a:pt x="857" y="1151"/>
                    </a:lnTo>
                    <a:lnTo>
                      <a:pt x="856" y="1151"/>
                    </a:lnTo>
                    <a:lnTo>
                      <a:pt x="856" y="1153"/>
                    </a:lnTo>
                    <a:lnTo>
                      <a:pt x="857" y="1155"/>
                    </a:lnTo>
                    <a:lnTo>
                      <a:pt x="856" y="1155"/>
                    </a:lnTo>
                    <a:lnTo>
                      <a:pt x="857" y="1155"/>
                    </a:lnTo>
                    <a:lnTo>
                      <a:pt x="857" y="1156"/>
                    </a:lnTo>
                    <a:lnTo>
                      <a:pt x="859" y="1158"/>
                    </a:lnTo>
                    <a:lnTo>
                      <a:pt x="857" y="1158"/>
                    </a:lnTo>
                    <a:lnTo>
                      <a:pt x="857" y="1160"/>
                    </a:lnTo>
                    <a:lnTo>
                      <a:pt x="859" y="1160"/>
                    </a:lnTo>
                    <a:lnTo>
                      <a:pt x="857" y="1160"/>
                    </a:lnTo>
                    <a:lnTo>
                      <a:pt x="857" y="1162"/>
                    </a:lnTo>
                    <a:lnTo>
                      <a:pt x="857" y="1163"/>
                    </a:lnTo>
                    <a:lnTo>
                      <a:pt x="857" y="1165"/>
                    </a:lnTo>
                    <a:lnTo>
                      <a:pt x="857" y="1167"/>
                    </a:lnTo>
                    <a:lnTo>
                      <a:pt x="856" y="1168"/>
                    </a:lnTo>
                    <a:lnTo>
                      <a:pt x="857" y="1168"/>
                    </a:lnTo>
                    <a:lnTo>
                      <a:pt x="856" y="1168"/>
                    </a:lnTo>
                    <a:lnTo>
                      <a:pt x="856" y="1170"/>
                    </a:lnTo>
                    <a:lnTo>
                      <a:pt x="856" y="1172"/>
                    </a:lnTo>
                    <a:lnTo>
                      <a:pt x="856" y="1173"/>
                    </a:lnTo>
                    <a:lnTo>
                      <a:pt x="854" y="1175"/>
                    </a:lnTo>
                    <a:lnTo>
                      <a:pt x="854" y="1177"/>
                    </a:lnTo>
                    <a:lnTo>
                      <a:pt x="852" y="1179"/>
                    </a:lnTo>
                    <a:lnTo>
                      <a:pt x="852" y="1180"/>
                    </a:lnTo>
                    <a:lnTo>
                      <a:pt x="852" y="1182"/>
                    </a:lnTo>
                    <a:lnTo>
                      <a:pt x="852" y="1184"/>
                    </a:lnTo>
                    <a:lnTo>
                      <a:pt x="852" y="1185"/>
                    </a:lnTo>
                    <a:lnTo>
                      <a:pt x="850" y="1185"/>
                    </a:lnTo>
                    <a:lnTo>
                      <a:pt x="850" y="1187"/>
                    </a:lnTo>
                    <a:lnTo>
                      <a:pt x="849" y="1187"/>
                    </a:lnTo>
                    <a:lnTo>
                      <a:pt x="847" y="1187"/>
                    </a:lnTo>
                    <a:lnTo>
                      <a:pt x="847" y="1189"/>
                    </a:lnTo>
                    <a:lnTo>
                      <a:pt x="845" y="1189"/>
                    </a:lnTo>
                    <a:lnTo>
                      <a:pt x="844" y="1190"/>
                    </a:lnTo>
                    <a:lnTo>
                      <a:pt x="840" y="1192"/>
                    </a:lnTo>
                    <a:lnTo>
                      <a:pt x="839" y="1194"/>
                    </a:lnTo>
                    <a:lnTo>
                      <a:pt x="837" y="1194"/>
                    </a:lnTo>
                    <a:lnTo>
                      <a:pt x="837" y="1196"/>
                    </a:lnTo>
                    <a:lnTo>
                      <a:pt x="833" y="1197"/>
                    </a:lnTo>
                    <a:lnTo>
                      <a:pt x="833" y="1199"/>
                    </a:lnTo>
                    <a:lnTo>
                      <a:pt x="832" y="1199"/>
                    </a:lnTo>
                    <a:lnTo>
                      <a:pt x="832" y="1201"/>
                    </a:lnTo>
                    <a:lnTo>
                      <a:pt x="828" y="1202"/>
                    </a:lnTo>
                    <a:lnTo>
                      <a:pt x="828" y="1204"/>
                    </a:lnTo>
                    <a:lnTo>
                      <a:pt x="827" y="1206"/>
                    </a:lnTo>
                    <a:lnTo>
                      <a:pt x="825" y="1207"/>
                    </a:lnTo>
                    <a:lnTo>
                      <a:pt x="823" y="1209"/>
                    </a:lnTo>
                    <a:lnTo>
                      <a:pt x="822" y="1211"/>
                    </a:lnTo>
                    <a:lnTo>
                      <a:pt x="822" y="1213"/>
                    </a:lnTo>
                    <a:lnTo>
                      <a:pt x="820" y="1213"/>
                    </a:lnTo>
                    <a:lnTo>
                      <a:pt x="820" y="1214"/>
                    </a:lnTo>
                    <a:lnTo>
                      <a:pt x="820" y="1216"/>
                    </a:lnTo>
                    <a:lnTo>
                      <a:pt x="818" y="1216"/>
                    </a:lnTo>
                    <a:lnTo>
                      <a:pt x="818" y="1218"/>
                    </a:lnTo>
                    <a:lnTo>
                      <a:pt x="816" y="1219"/>
                    </a:lnTo>
                    <a:lnTo>
                      <a:pt x="815" y="1221"/>
                    </a:lnTo>
                    <a:lnTo>
                      <a:pt x="815" y="1223"/>
                    </a:lnTo>
                    <a:lnTo>
                      <a:pt x="813" y="1224"/>
                    </a:lnTo>
                    <a:lnTo>
                      <a:pt x="813" y="1226"/>
                    </a:lnTo>
                    <a:lnTo>
                      <a:pt x="811" y="1228"/>
                    </a:lnTo>
                    <a:lnTo>
                      <a:pt x="810" y="1231"/>
                    </a:lnTo>
                    <a:lnTo>
                      <a:pt x="810" y="1233"/>
                    </a:lnTo>
                    <a:lnTo>
                      <a:pt x="808" y="1235"/>
                    </a:lnTo>
                    <a:lnTo>
                      <a:pt x="808" y="1236"/>
                    </a:lnTo>
                    <a:lnTo>
                      <a:pt x="806" y="1240"/>
                    </a:lnTo>
                    <a:lnTo>
                      <a:pt x="806" y="1241"/>
                    </a:lnTo>
                    <a:lnTo>
                      <a:pt x="805" y="1245"/>
                    </a:lnTo>
                    <a:lnTo>
                      <a:pt x="803" y="1250"/>
                    </a:lnTo>
                    <a:lnTo>
                      <a:pt x="801" y="1252"/>
                    </a:lnTo>
                    <a:lnTo>
                      <a:pt x="801" y="1253"/>
                    </a:lnTo>
                    <a:lnTo>
                      <a:pt x="799" y="1257"/>
                    </a:lnTo>
                    <a:lnTo>
                      <a:pt x="799" y="1258"/>
                    </a:lnTo>
                    <a:lnTo>
                      <a:pt x="799" y="1260"/>
                    </a:lnTo>
                    <a:lnTo>
                      <a:pt x="798" y="1262"/>
                    </a:lnTo>
                    <a:lnTo>
                      <a:pt x="798" y="1264"/>
                    </a:lnTo>
                    <a:lnTo>
                      <a:pt x="796" y="1267"/>
                    </a:lnTo>
                    <a:lnTo>
                      <a:pt x="794" y="1269"/>
                    </a:lnTo>
                    <a:lnTo>
                      <a:pt x="793" y="1270"/>
                    </a:lnTo>
                    <a:lnTo>
                      <a:pt x="793" y="1272"/>
                    </a:lnTo>
                    <a:lnTo>
                      <a:pt x="791" y="1272"/>
                    </a:lnTo>
                    <a:lnTo>
                      <a:pt x="791" y="1274"/>
                    </a:lnTo>
                    <a:lnTo>
                      <a:pt x="789" y="1276"/>
                    </a:lnTo>
                    <a:lnTo>
                      <a:pt x="789" y="1277"/>
                    </a:lnTo>
                    <a:lnTo>
                      <a:pt x="788" y="1279"/>
                    </a:lnTo>
                    <a:lnTo>
                      <a:pt x="786" y="1281"/>
                    </a:lnTo>
                    <a:lnTo>
                      <a:pt x="784" y="1284"/>
                    </a:lnTo>
                    <a:lnTo>
                      <a:pt x="784" y="1286"/>
                    </a:lnTo>
                    <a:lnTo>
                      <a:pt x="782" y="1286"/>
                    </a:lnTo>
                    <a:lnTo>
                      <a:pt x="782" y="1287"/>
                    </a:lnTo>
                    <a:lnTo>
                      <a:pt x="779" y="1289"/>
                    </a:lnTo>
                    <a:lnTo>
                      <a:pt x="779" y="1291"/>
                    </a:lnTo>
                    <a:lnTo>
                      <a:pt x="777" y="1293"/>
                    </a:lnTo>
                    <a:lnTo>
                      <a:pt x="776" y="1294"/>
                    </a:lnTo>
                    <a:lnTo>
                      <a:pt x="774" y="1294"/>
                    </a:lnTo>
                    <a:lnTo>
                      <a:pt x="774" y="1296"/>
                    </a:lnTo>
                    <a:lnTo>
                      <a:pt x="772" y="1298"/>
                    </a:lnTo>
                    <a:lnTo>
                      <a:pt x="771" y="1299"/>
                    </a:lnTo>
                    <a:lnTo>
                      <a:pt x="769" y="1301"/>
                    </a:lnTo>
                    <a:lnTo>
                      <a:pt x="769" y="1303"/>
                    </a:lnTo>
                    <a:lnTo>
                      <a:pt x="767" y="1303"/>
                    </a:lnTo>
                    <a:lnTo>
                      <a:pt x="765" y="1304"/>
                    </a:lnTo>
                    <a:lnTo>
                      <a:pt x="764" y="1306"/>
                    </a:lnTo>
                    <a:lnTo>
                      <a:pt x="762" y="1308"/>
                    </a:lnTo>
                    <a:lnTo>
                      <a:pt x="760" y="1308"/>
                    </a:lnTo>
                    <a:lnTo>
                      <a:pt x="759" y="1310"/>
                    </a:lnTo>
                    <a:lnTo>
                      <a:pt x="757" y="1311"/>
                    </a:lnTo>
                    <a:lnTo>
                      <a:pt x="755" y="1311"/>
                    </a:lnTo>
                    <a:lnTo>
                      <a:pt x="755" y="1313"/>
                    </a:lnTo>
                    <a:lnTo>
                      <a:pt x="754" y="1313"/>
                    </a:lnTo>
                    <a:lnTo>
                      <a:pt x="752" y="1315"/>
                    </a:lnTo>
                    <a:lnTo>
                      <a:pt x="750" y="1315"/>
                    </a:lnTo>
                    <a:lnTo>
                      <a:pt x="748" y="1316"/>
                    </a:lnTo>
                    <a:lnTo>
                      <a:pt x="747" y="1318"/>
                    </a:lnTo>
                    <a:lnTo>
                      <a:pt x="745" y="1320"/>
                    </a:lnTo>
                    <a:lnTo>
                      <a:pt x="743" y="1320"/>
                    </a:lnTo>
                    <a:lnTo>
                      <a:pt x="742" y="1323"/>
                    </a:lnTo>
                    <a:lnTo>
                      <a:pt x="742" y="1325"/>
                    </a:lnTo>
                    <a:lnTo>
                      <a:pt x="740" y="1325"/>
                    </a:lnTo>
                    <a:lnTo>
                      <a:pt x="740" y="1327"/>
                    </a:lnTo>
                    <a:lnTo>
                      <a:pt x="740" y="1325"/>
                    </a:lnTo>
                    <a:lnTo>
                      <a:pt x="740" y="1327"/>
                    </a:lnTo>
                    <a:lnTo>
                      <a:pt x="738" y="1327"/>
                    </a:lnTo>
                    <a:lnTo>
                      <a:pt x="737" y="1328"/>
                    </a:lnTo>
                    <a:lnTo>
                      <a:pt x="735" y="1330"/>
                    </a:lnTo>
                    <a:lnTo>
                      <a:pt x="733" y="1333"/>
                    </a:lnTo>
                    <a:lnTo>
                      <a:pt x="731" y="1335"/>
                    </a:lnTo>
                    <a:lnTo>
                      <a:pt x="731" y="1337"/>
                    </a:lnTo>
                    <a:lnTo>
                      <a:pt x="731" y="1338"/>
                    </a:lnTo>
                    <a:lnTo>
                      <a:pt x="730" y="1338"/>
                    </a:lnTo>
                    <a:lnTo>
                      <a:pt x="730" y="1342"/>
                    </a:lnTo>
                    <a:lnTo>
                      <a:pt x="730" y="1344"/>
                    </a:lnTo>
                    <a:lnTo>
                      <a:pt x="728" y="1344"/>
                    </a:lnTo>
                    <a:lnTo>
                      <a:pt x="728" y="1345"/>
                    </a:lnTo>
                    <a:lnTo>
                      <a:pt x="728" y="1347"/>
                    </a:lnTo>
                    <a:lnTo>
                      <a:pt x="728" y="1349"/>
                    </a:lnTo>
                    <a:lnTo>
                      <a:pt x="728" y="1350"/>
                    </a:lnTo>
                    <a:lnTo>
                      <a:pt x="726" y="1352"/>
                    </a:lnTo>
                    <a:lnTo>
                      <a:pt x="726" y="1354"/>
                    </a:lnTo>
                    <a:lnTo>
                      <a:pt x="726" y="1355"/>
                    </a:lnTo>
                    <a:lnTo>
                      <a:pt x="725" y="1355"/>
                    </a:lnTo>
                    <a:lnTo>
                      <a:pt x="725" y="1357"/>
                    </a:lnTo>
                    <a:lnTo>
                      <a:pt x="725" y="1359"/>
                    </a:lnTo>
                    <a:lnTo>
                      <a:pt x="723" y="1362"/>
                    </a:lnTo>
                    <a:lnTo>
                      <a:pt x="721" y="1364"/>
                    </a:lnTo>
                    <a:lnTo>
                      <a:pt x="721" y="1366"/>
                    </a:lnTo>
                    <a:lnTo>
                      <a:pt x="720" y="1366"/>
                    </a:lnTo>
                    <a:lnTo>
                      <a:pt x="720" y="1367"/>
                    </a:lnTo>
                    <a:lnTo>
                      <a:pt x="718" y="1369"/>
                    </a:lnTo>
                    <a:lnTo>
                      <a:pt x="716" y="1371"/>
                    </a:lnTo>
                    <a:lnTo>
                      <a:pt x="714" y="1372"/>
                    </a:lnTo>
                    <a:lnTo>
                      <a:pt x="713" y="1374"/>
                    </a:lnTo>
                    <a:lnTo>
                      <a:pt x="711" y="1376"/>
                    </a:lnTo>
                    <a:lnTo>
                      <a:pt x="709" y="1378"/>
                    </a:lnTo>
                    <a:lnTo>
                      <a:pt x="708" y="1379"/>
                    </a:lnTo>
                    <a:lnTo>
                      <a:pt x="706" y="1381"/>
                    </a:lnTo>
                    <a:lnTo>
                      <a:pt x="704" y="1383"/>
                    </a:lnTo>
                    <a:lnTo>
                      <a:pt x="704" y="1384"/>
                    </a:lnTo>
                    <a:lnTo>
                      <a:pt x="703" y="1384"/>
                    </a:lnTo>
                    <a:lnTo>
                      <a:pt x="701" y="1386"/>
                    </a:lnTo>
                    <a:lnTo>
                      <a:pt x="699" y="1388"/>
                    </a:lnTo>
                    <a:lnTo>
                      <a:pt x="697" y="1388"/>
                    </a:lnTo>
                    <a:lnTo>
                      <a:pt x="697" y="1389"/>
                    </a:lnTo>
                    <a:lnTo>
                      <a:pt x="696" y="1389"/>
                    </a:lnTo>
                    <a:lnTo>
                      <a:pt x="694" y="1389"/>
                    </a:lnTo>
                    <a:lnTo>
                      <a:pt x="694" y="1388"/>
                    </a:lnTo>
                    <a:lnTo>
                      <a:pt x="692" y="1388"/>
                    </a:lnTo>
                    <a:lnTo>
                      <a:pt x="691" y="1388"/>
                    </a:lnTo>
                    <a:lnTo>
                      <a:pt x="691" y="1386"/>
                    </a:lnTo>
                    <a:lnTo>
                      <a:pt x="691" y="1384"/>
                    </a:lnTo>
                    <a:lnTo>
                      <a:pt x="691" y="1383"/>
                    </a:lnTo>
                    <a:lnTo>
                      <a:pt x="691" y="1381"/>
                    </a:lnTo>
                    <a:lnTo>
                      <a:pt x="692" y="1379"/>
                    </a:lnTo>
                    <a:lnTo>
                      <a:pt x="692" y="1376"/>
                    </a:lnTo>
                    <a:lnTo>
                      <a:pt x="692" y="1374"/>
                    </a:lnTo>
                    <a:lnTo>
                      <a:pt x="691" y="1372"/>
                    </a:lnTo>
                    <a:lnTo>
                      <a:pt x="691" y="1371"/>
                    </a:lnTo>
                    <a:lnTo>
                      <a:pt x="691" y="1369"/>
                    </a:lnTo>
                    <a:lnTo>
                      <a:pt x="691" y="1367"/>
                    </a:lnTo>
                    <a:lnTo>
                      <a:pt x="692" y="1367"/>
                    </a:lnTo>
                    <a:lnTo>
                      <a:pt x="692" y="1366"/>
                    </a:lnTo>
                    <a:lnTo>
                      <a:pt x="692" y="1364"/>
                    </a:lnTo>
                    <a:lnTo>
                      <a:pt x="694" y="1364"/>
                    </a:lnTo>
                    <a:lnTo>
                      <a:pt x="697" y="1359"/>
                    </a:lnTo>
                    <a:lnTo>
                      <a:pt x="699" y="1359"/>
                    </a:lnTo>
                    <a:lnTo>
                      <a:pt x="699" y="1357"/>
                    </a:lnTo>
                    <a:lnTo>
                      <a:pt x="699" y="1355"/>
                    </a:lnTo>
                    <a:lnTo>
                      <a:pt x="699" y="1354"/>
                    </a:lnTo>
                    <a:lnTo>
                      <a:pt x="701" y="1354"/>
                    </a:lnTo>
                    <a:lnTo>
                      <a:pt x="701" y="1352"/>
                    </a:lnTo>
                    <a:lnTo>
                      <a:pt x="703" y="1350"/>
                    </a:lnTo>
                    <a:lnTo>
                      <a:pt x="704" y="1350"/>
                    </a:lnTo>
                    <a:lnTo>
                      <a:pt x="704" y="1349"/>
                    </a:lnTo>
                    <a:lnTo>
                      <a:pt x="706" y="1349"/>
                    </a:lnTo>
                    <a:lnTo>
                      <a:pt x="703" y="1347"/>
                    </a:lnTo>
                    <a:lnTo>
                      <a:pt x="703" y="1345"/>
                    </a:lnTo>
                    <a:lnTo>
                      <a:pt x="701" y="1345"/>
                    </a:lnTo>
                    <a:lnTo>
                      <a:pt x="701" y="1344"/>
                    </a:lnTo>
                    <a:lnTo>
                      <a:pt x="699" y="1344"/>
                    </a:lnTo>
                    <a:lnTo>
                      <a:pt x="697" y="1344"/>
                    </a:lnTo>
                    <a:lnTo>
                      <a:pt x="696" y="1342"/>
                    </a:lnTo>
                    <a:lnTo>
                      <a:pt x="696" y="1344"/>
                    </a:lnTo>
                    <a:lnTo>
                      <a:pt x="696" y="1342"/>
                    </a:lnTo>
                    <a:lnTo>
                      <a:pt x="694" y="1342"/>
                    </a:lnTo>
                    <a:lnTo>
                      <a:pt x="694" y="1340"/>
                    </a:lnTo>
                    <a:lnTo>
                      <a:pt x="694" y="1338"/>
                    </a:lnTo>
                    <a:lnTo>
                      <a:pt x="692" y="1338"/>
                    </a:lnTo>
                    <a:lnTo>
                      <a:pt x="691" y="1338"/>
                    </a:lnTo>
                    <a:lnTo>
                      <a:pt x="689" y="1337"/>
                    </a:lnTo>
                    <a:lnTo>
                      <a:pt x="689" y="1335"/>
                    </a:lnTo>
                    <a:lnTo>
                      <a:pt x="687" y="1335"/>
                    </a:lnTo>
                    <a:lnTo>
                      <a:pt x="687" y="1333"/>
                    </a:lnTo>
                    <a:lnTo>
                      <a:pt x="687" y="1332"/>
                    </a:lnTo>
                    <a:lnTo>
                      <a:pt x="687" y="1330"/>
                    </a:lnTo>
                    <a:lnTo>
                      <a:pt x="686" y="1330"/>
                    </a:lnTo>
                    <a:lnTo>
                      <a:pt x="686" y="1328"/>
                    </a:lnTo>
                    <a:lnTo>
                      <a:pt x="686" y="1327"/>
                    </a:lnTo>
                    <a:lnTo>
                      <a:pt x="684" y="1327"/>
                    </a:lnTo>
                    <a:lnTo>
                      <a:pt x="686" y="1325"/>
                    </a:lnTo>
                    <a:lnTo>
                      <a:pt x="684" y="1325"/>
                    </a:lnTo>
                    <a:lnTo>
                      <a:pt x="684" y="1323"/>
                    </a:lnTo>
                    <a:lnTo>
                      <a:pt x="682" y="1321"/>
                    </a:lnTo>
                    <a:lnTo>
                      <a:pt x="682" y="1323"/>
                    </a:lnTo>
                    <a:lnTo>
                      <a:pt x="680" y="1321"/>
                    </a:lnTo>
                    <a:lnTo>
                      <a:pt x="680" y="1320"/>
                    </a:lnTo>
                    <a:lnTo>
                      <a:pt x="679" y="1320"/>
                    </a:lnTo>
                    <a:lnTo>
                      <a:pt x="679" y="1318"/>
                    </a:lnTo>
                    <a:lnTo>
                      <a:pt x="677" y="1318"/>
                    </a:lnTo>
                    <a:lnTo>
                      <a:pt x="675" y="1316"/>
                    </a:lnTo>
                    <a:lnTo>
                      <a:pt x="677" y="1316"/>
                    </a:lnTo>
                    <a:lnTo>
                      <a:pt x="675" y="1316"/>
                    </a:lnTo>
                    <a:lnTo>
                      <a:pt x="674" y="1315"/>
                    </a:lnTo>
                    <a:lnTo>
                      <a:pt x="674" y="1316"/>
                    </a:lnTo>
                    <a:lnTo>
                      <a:pt x="672" y="1316"/>
                    </a:lnTo>
                    <a:lnTo>
                      <a:pt x="670" y="1316"/>
                    </a:lnTo>
                    <a:lnTo>
                      <a:pt x="670" y="1315"/>
                    </a:lnTo>
                    <a:lnTo>
                      <a:pt x="669" y="1315"/>
                    </a:lnTo>
                    <a:lnTo>
                      <a:pt x="669" y="1313"/>
                    </a:lnTo>
                    <a:lnTo>
                      <a:pt x="667" y="1313"/>
                    </a:lnTo>
                    <a:lnTo>
                      <a:pt x="667" y="1311"/>
                    </a:lnTo>
                    <a:lnTo>
                      <a:pt x="665" y="1311"/>
                    </a:lnTo>
                    <a:lnTo>
                      <a:pt x="663" y="1310"/>
                    </a:lnTo>
                    <a:lnTo>
                      <a:pt x="660" y="1306"/>
                    </a:lnTo>
                    <a:lnTo>
                      <a:pt x="660" y="1304"/>
                    </a:lnTo>
                    <a:lnTo>
                      <a:pt x="660" y="1303"/>
                    </a:lnTo>
                    <a:lnTo>
                      <a:pt x="658" y="1303"/>
                    </a:lnTo>
                    <a:lnTo>
                      <a:pt x="658" y="1301"/>
                    </a:lnTo>
                    <a:lnTo>
                      <a:pt x="658" y="1299"/>
                    </a:lnTo>
                    <a:lnTo>
                      <a:pt x="657" y="1299"/>
                    </a:lnTo>
                    <a:lnTo>
                      <a:pt x="655" y="1298"/>
                    </a:lnTo>
                    <a:lnTo>
                      <a:pt x="653" y="1298"/>
                    </a:lnTo>
                    <a:lnTo>
                      <a:pt x="652" y="1298"/>
                    </a:lnTo>
                    <a:lnTo>
                      <a:pt x="650" y="1296"/>
                    </a:lnTo>
                    <a:lnTo>
                      <a:pt x="650" y="1298"/>
                    </a:lnTo>
                    <a:lnTo>
                      <a:pt x="648" y="1298"/>
                    </a:lnTo>
                    <a:lnTo>
                      <a:pt x="646" y="1298"/>
                    </a:lnTo>
                    <a:lnTo>
                      <a:pt x="646" y="1296"/>
                    </a:lnTo>
                    <a:lnTo>
                      <a:pt x="645" y="1294"/>
                    </a:lnTo>
                    <a:lnTo>
                      <a:pt x="645" y="1296"/>
                    </a:lnTo>
                    <a:lnTo>
                      <a:pt x="643" y="1296"/>
                    </a:lnTo>
                    <a:lnTo>
                      <a:pt x="643" y="1294"/>
                    </a:lnTo>
                    <a:lnTo>
                      <a:pt x="643" y="1293"/>
                    </a:lnTo>
                    <a:lnTo>
                      <a:pt x="641" y="1293"/>
                    </a:lnTo>
                    <a:lnTo>
                      <a:pt x="641" y="1291"/>
                    </a:lnTo>
                    <a:lnTo>
                      <a:pt x="640" y="1291"/>
                    </a:lnTo>
                    <a:lnTo>
                      <a:pt x="640" y="1293"/>
                    </a:lnTo>
                    <a:lnTo>
                      <a:pt x="638" y="1293"/>
                    </a:lnTo>
                    <a:lnTo>
                      <a:pt x="636" y="1293"/>
                    </a:lnTo>
                    <a:lnTo>
                      <a:pt x="636" y="1291"/>
                    </a:lnTo>
                    <a:lnTo>
                      <a:pt x="635" y="1291"/>
                    </a:lnTo>
                    <a:lnTo>
                      <a:pt x="633" y="1291"/>
                    </a:lnTo>
                    <a:lnTo>
                      <a:pt x="633" y="1289"/>
                    </a:lnTo>
                    <a:lnTo>
                      <a:pt x="633" y="1287"/>
                    </a:lnTo>
                    <a:lnTo>
                      <a:pt x="631" y="1287"/>
                    </a:lnTo>
                    <a:lnTo>
                      <a:pt x="633" y="1287"/>
                    </a:lnTo>
                    <a:lnTo>
                      <a:pt x="631" y="1286"/>
                    </a:lnTo>
                    <a:lnTo>
                      <a:pt x="629" y="1286"/>
                    </a:lnTo>
                    <a:lnTo>
                      <a:pt x="631" y="1284"/>
                    </a:lnTo>
                    <a:lnTo>
                      <a:pt x="629" y="1284"/>
                    </a:lnTo>
                    <a:lnTo>
                      <a:pt x="629" y="1282"/>
                    </a:lnTo>
                    <a:lnTo>
                      <a:pt x="629" y="1281"/>
                    </a:lnTo>
                    <a:lnTo>
                      <a:pt x="628" y="1281"/>
                    </a:lnTo>
                    <a:lnTo>
                      <a:pt x="626" y="1281"/>
                    </a:lnTo>
                    <a:lnTo>
                      <a:pt x="628" y="1279"/>
                    </a:lnTo>
                    <a:lnTo>
                      <a:pt x="626" y="1279"/>
                    </a:lnTo>
                    <a:lnTo>
                      <a:pt x="626" y="1277"/>
                    </a:lnTo>
                    <a:lnTo>
                      <a:pt x="624" y="1277"/>
                    </a:lnTo>
                    <a:lnTo>
                      <a:pt x="624" y="1276"/>
                    </a:lnTo>
                    <a:lnTo>
                      <a:pt x="623" y="1276"/>
                    </a:lnTo>
                    <a:lnTo>
                      <a:pt x="623" y="1274"/>
                    </a:lnTo>
                    <a:lnTo>
                      <a:pt x="621" y="1274"/>
                    </a:lnTo>
                    <a:lnTo>
                      <a:pt x="619" y="1274"/>
                    </a:lnTo>
                    <a:lnTo>
                      <a:pt x="619" y="1276"/>
                    </a:lnTo>
                    <a:lnTo>
                      <a:pt x="619" y="1277"/>
                    </a:lnTo>
                    <a:lnTo>
                      <a:pt x="619" y="1279"/>
                    </a:lnTo>
                    <a:lnTo>
                      <a:pt x="618" y="1277"/>
                    </a:lnTo>
                    <a:lnTo>
                      <a:pt x="618" y="1279"/>
                    </a:lnTo>
                    <a:lnTo>
                      <a:pt x="618" y="1277"/>
                    </a:lnTo>
                    <a:lnTo>
                      <a:pt x="618" y="1279"/>
                    </a:lnTo>
                    <a:lnTo>
                      <a:pt x="616" y="1279"/>
                    </a:lnTo>
                    <a:lnTo>
                      <a:pt x="616" y="1281"/>
                    </a:lnTo>
                    <a:lnTo>
                      <a:pt x="614" y="1281"/>
                    </a:lnTo>
                    <a:lnTo>
                      <a:pt x="612" y="1281"/>
                    </a:lnTo>
                    <a:lnTo>
                      <a:pt x="612" y="1279"/>
                    </a:lnTo>
                    <a:lnTo>
                      <a:pt x="611" y="1279"/>
                    </a:lnTo>
                    <a:lnTo>
                      <a:pt x="611" y="1277"/>
                    </a:lnTo>
                    <a:lnTo>
                      <a:pt x="609" y="1277"/>
                    </a:lnTo>
                    <a:lnTo>
                      <a:pt x="609" y="1276"/>
                    </a:lnTo>
                    <a:lnTo>
                      <a:pt x="607" y="1274"/>
                    </a:lnTo>
                    <a:lnTo>
                      <a:pt x="607" y="1272"/>
                    </a:lnTo>
                    <a:lnTo>
                      <a:pt x="606" y="1270"/>
                    </a:lnTo>
                    <a:lnTo>
                      <a:pt x="604" y="1270"/>
                    </a:lnTo>
                    <a:lnTo>
                      <a:pt x="604" y="1269"/>
                    </a:lnTo>
                    <a:lnTo>
                      <a:pt x="604" y="1270"/>
                    </a:lnTo>
                    <a:lnTo>
                      <a:pt x="604" y="1269"/>
                    </a:lnTo>
                    <a:lnTo>
                      <a:pt x="602" y="1269"/>
                    </a:lnTo>
                    <a:lnTo>
                      <a:pt x="602" y="1267"/>
                    </a:lnTo>
                    <a:lnTo>
                      <a:pt x="602" y="1265"/>
                    </a:lnTo>
                    <a:lnTo>
                      <a:pt x="601" y="1264"/>
                    </a:lnTo>
                    <a:lnTo>
                      <a:pt x="601" y="1265"/>
                    </a:lnTo>
                    <a:lnTo>
                      <a:pt x="601" y="1264"/>
                    </a:lnTo>
                    <a:lnTo>
                      <a:pt x="599" y="1264"/>
                    </a:lnTo>
                    <a:lnTo>
                      <a:pt x="599" y="1262"/>
                    </a:lnTo>
                    <a:lnTo>
                      <a:pt x="597" y="1262"/>
                    </a:lnTo>
                    <a:lnTo>
                      <a:pt x="597" y="1260"/>
                    </a:lnTo>
                    <a:lnTo>
                      <a:pt x="595" y="1260"/>
                    </a:lnTo>
                    <a:lnTo>
                      <a:pt x="594" y="1260"/>
                    </a:lnTo>
                    <a:lnTo>
                      <a:pt x="594" y="1258"/>
                    </a:lnTo>
                    <a:lnTo>
                      <a:pt x="594" y="1257"/>
                    </a:lnTo>
                    <a:lnTo>
                      <a:pt x="594" y="1258"/>
                    </a:lnTo>
                    <a:lnTo>
                      <a:pt x="592" y="1257"/>
                    </a:lnTo>
                    <a:lnTo>
                      <a:pt x="592" y="1255"/>
                    </a:lnTo>
                    <a:lnTo>
                      <a:pt x="592" y="1257"/>
                    </a:lnTo>
                    <a:lnTo>
                      <a:pt x="590" y="1257"/>
                    </a:lnTo>
                    <a:lnTo>
                      <a:pt x="590" y="1255"/>
                    </a:lnTo>
                    <a:lnTo>
                      <a:pt x="589" y="1255"/>
                    </a:lnTo>
                    <a:lnTo>
                      <a:pt x="589" y="1253"/>
                    </a:lnTo>
                    <a:lnTo>
                      <a:pt x="590" y="1253"/>
                    </a:lnTo>
                    <a:lnTo>
                      <a:pt x="589" y="1253"/>
                    </a:lnTo>
                    <a:lnTo>
                      <a:pt x="589" y="1252"/>
                    </a:lnTo>
                    <a:lnTo>
                      <a:pt x="587" y="1252"/>
                    </a:lnTo>
                    <a:lnTo>
                      <a:pt x="587" y="1250"/>
                    </a:lnTo>
                    <a:lnTo>
                      <a:pt x="585" y="1250"/>
                    </a:lnTo>
                    <a:lnTo>
                      <a:pt x="585" y="1248"/>
                    </a:lnTo>
                    <a:lnTo>
                      <a:pt x="584" y="1248"/>
                    </a:lnTo>
                    <a:lnTo>
                      <a:pt x="582" y="1247"/>
                    </a:lnTo>
                    <a:lnTo>
                      <a:pt x="582" y="1245"/>
                    </a:lnTo>
                    <a:lnTo>
                      <a:pt x="580" y="1245"/>
                    </a:lnTo>
                    <a:lnTo>
                      <a:pt x="578" y="1245"/>
                    </a:lnTo>
                    <a:lnTo>
                      <a:pt x="577" y="1245"/>
                    </a:lnTo>
                    <a:lnTo>
                      <a:pt x="575" y="1245"/>
                    </a:lnTo>
                    <a:lnTo>
                      <a:pt x="573" y="1245"/>
                    </a:lnTo>
                    <a:lnTo>
                      <a:pt x="572" y="1245"/>
                    </a:lnTo>
                    <a:lnTo>
                      <a:pt x="570" y="1245"/>
                    </a:lnTo>
                    <a:lnTo>
                      <a:pt x="570" y="1247"/>
                    </a:lnTo>
                    <a:lnTo>
                      <a:pt x="568" y="1248"/>
                    </a:lnTo>
                    <a:lnTo>
                      <a:pt x="568" y="1250"/>
                    </a:lnTo>
                    <a:lnTo>
                      <a:pt x="567" y="1252"/>
                    </a:lnTo>
                    <a:lnTo>
                      <a:pt x="565" y="1252"/>
                    </a:lnTo>
                    <a:lnTo>
                      <a:pt x="563" y="1252"/>
                    </a:lnTo>
                    <a:lnTo>
                      <a:pt x="563" y="1250"/>
                    </a:lnTo>
                    <a:lnTo>
                      <a:pt x="563" y="1252"/>
                    </a:lnTo>
                    <a:lnTo>
                      <a:pt x="561" y="1252"/>
                    </a:lnTo>
                    <a:lnTo>
                      <a:pt x="561" y="1253"/>
                    </a:lnTo>
                    <a:lnTo>
                      <a:pt x="560" y="1253"/>
                    </a:lnTo>
                    <a:lnTo>
                      <a:pt x="560" y="1252"/>
                    </a:lnTo>
                    <a:lnTo>
                      <a:pt x="558" y="1252"/>
                    </a:lnTo>
                    <a:lnTo>
                      <a:pt x="556" y="1252"/>
                    </a:lnTo>
                    <a:lnTo>
                      <a:pt x="555" y="1252"/>
                    </a:lnTo>
                    <a:lnTo>
                      <a:pt x="555" y="1250"/>
                    </a:lnTo>
                    <a:lnTo>
                      <a:pt x="555" y="1248"/>
                    </a:lnTo>
                    <a:lnTo>
                      <a:pt x="553" y="1248"/>
                    </a:lnTo>
                    <a:lnTo>
                      <a:pt x="555" y="1248"/>
                    </a:lnTo>
                    <a:lnTo>
                      <a:pt x="556" y="1247"/>
                    </a:lnTo>
                    <a:lnTo>
                      <a:pt x="558" y="1245"/>
                    </a:lnTo>
                    <a:lnTo>
                      <a:pt x="558" y="1243"/>
                    </a:lnTo>
                    <a:lnTo>
                      <a:pt x="560" y="1243"/>
                    </a:lnTo>
                    <a:lnTo>
                      <a:pt x="560" y="1241"/>
                    </a:lnTo>
                    <a:lnTo>
                      <a:pt x="561" y="1241"/>
                    </a:lnTo>
                    <a:lnTo>
                      <a:pt x="563" y="1241"/>
                    </a:lnTo>
                    <a:lnTo>
                      <a:pt x="563" y="1240"/>
                    </a:lnTo>
                    <a:lnTo>
                      <a:pt x="563" y="1238"/>
                    </a:lnTo>
                    <a:lnTo>
                      <a:pt x="563" y="1236"/>
                    </a:lnTo>
                    <a:lnTo>
                      <a:pt x="563" y="1235"/>
                    </a:lnTo>
                    <a:lnTo>
                      <a:pt x="565" y="1233"/>
                    </a:lnTo>
                    <a:lnTo>
                      <a:pt x="567" y="1233"/>
                    </a:lnTo>
                    <a:lnTo>
                      <a:pt x="567" y="1231"/>
                    </a:lnTo>
                    <a:lnTo>
                      <a:pt x="568" y="1233"/>
                    </a:lnTo>
                    <a:lnTo>
                      <a:pt x="570" y="1231"/>
                    </a:lnTo>
                    <a:lnTo>
                      <a:pt x="572" y="1231"/>
                    </a:lnTo>
                    <a:lnTo>
                      <a:pt x="572" y="1230"/>
                    </a:lnTo>
                    <a:lnTo>
                      <a:pt x="573" y="1230"/>
                    </a:lnTo>
                    <a:lnTo>
                      <a:pt x="573" y="1228"/>
                    </a:lnTo>
                    <a:lnTo>
                      <a:pt x="575" y="1228"/>
                    </a:lnTo>
                    <a:lnTo>
                      <a:pt x="575" y="1226"/>
                    </a:lnTo>
                    <a:lnTo>
                      <a:pt x="575" y="1224"/>
                    </a:lnTo>
                    <a:lnTo>
                      <a:pt x="577" y="1224"/>
                    </a:lnTo>
                    <a:lnTo>
                      <a:pt x="577" y="1223"/>
                    </a:lnTo>
                    <a:lnTo>
                      <a:pt x="578" y="1223"/>
                    </a:lnTo>
                    <a:lnTo>
                      <a:pt x="578" y="1221"/>
                    </a:lnTo>
                    <a:lnTo>
                      <a:pt x="580" y="1221"/>
                    </a:lnTo>
                    <a:lnTo>
                      <a:pt x="580" y="1219"/>
                    </a:lnTo>
                    <a:lnTo>
                      <a:pt x="582" y="1219"/>
                    </a:lnTo>
                    <a:lnTo>
                      <a:pt x="582" y="1218"/>
                    </a:lnTo>
                    <a:lnTo>
                      <a:pt x="582" y="1216"/>
                    </a:lnTo>
                    <a:lnTo>
                      <a:pt x="584" y="1216"/>
                    </a:lnTo>
                    <a:lnTo>
                      <a:pt x="585" y="1213"/>
                    </a:lnTo>
                    <a:lnTo>
                      <a:pt x="585" y="1211"/>
                    </a:lnTo>
                    <a:lnTo>
                      <a:pt x="585" y="1209"/>
                    </a:lnTo>
                    <a:lnTo>
                      <a:pt x="587" y="1209"/>
                    </a:lnTo>
                    <a:lnTo>
                      <a:pt x="587" y="1207"/>
                    </a:lnTo>
                    <a:lnTo>
                      <a:pt x="589" y="1207"/>
                    </a:lnTo>
                    <a:lnTo>
                      <a:pt x="589" y="1206"/>
                    </a:lnTo>
                    <a:lnTo>
                      <a:pt x="590" y="1206"/>
                    </a:lnTo>
                    <a:lnTo>
                      <a:pt x="594" y="1206"/>
                    </a:lnTo>
                    <a:lnTo>
                      <a:pt x="594" y="1204"/>
                    </a:lnTo>
                    <a:lnTo>
                      <a:pt x="594" y="1202"/>
                    </a:lnTo>
                    <a:lnTo>
                      <a:pt x="594" y="1201"/>
                    </a:lnTo>
                    <a:lnTo>
                      <a:pt x="595" y="1201"/>
                    </a:lnTo>
                    <a:lnTo>
                      <a:pt x="595" y="1199"/>
                    </a:lnTo>
                    <a:lnTo>
                      <a:pt x="597" y="1199"/>
                    </a:lnTo>
                    <a:lnTo>
                      <a:pt x="597" y="1197"/>
                    </a:lnTo>
                    <a:lnTo>
                      <a:pt x="597" y="1196"/>
                    </a:lnTo>
                    <a:lnTo>
                      <a:pt x="597" y="1194"/>
                    </a:lnTo>
                    <a:lnTo>
                      <a:pt x="599" y="1194"/>
                    </a:lnTo>
                    <a:lnTo>
                      <a:pt x="601" y="1194"/>
                    </a:lnTo>
                    <a:lnTo>
                      <a:pt x="602" y="1192"/>
                    </a:lnTo>
                    <a:lnTo>
                      <a:pt x="602" y="1190"/>
                    </a:lnTo>
                    <a:lnTo>
                      <a:pt x="604" y="1190"/>
                    </a:lnTo>
                    <a:lnTo>
                      <a:pt x="604" y="1189"/>
                    </a:lnTo>
                    <a:lnTo>
                      <a:pt x="606" y="1189"/>
                    </a:lnTo>
                    <a:lnTo>
                      <a:pt x="606" y="1187"/>
                    </a:lnTo>
                    <a:lnTo>
                      <a:pt x="607" y="1187"/>
                    </a:lnTo>
                    <a:lnTo>
                      <a:pt x="607" y="1185"/>
                    </a:lnTo>
                    <a:lnTo>
                      <a:pt x="607" y="1184"/>
                    </a:lnTo>
                    <a:lnTo>
                      <a:pt x="607" y="1182"/>
                    </a:lnTo>
                    <a:lnTo>
                      <a:pt x="609" y="1182"/>
                    </a:lnTo>
                    <a:lnTo>
                      <a:pt x="611" y="1182"/>
                    </a:lnTo>
                    <a:lnTo>
                      <a:pt x="612" y="1182"/>
                    </a:lnTo>
                    <a:lnTo>
                      <a:pt x="611" y="1180"/>
                    </a:lnTo>
                    <a:lnTo>
                      <a:pt x="611" y="1179"/>
                    </a:lnTo>
                    <a:lnTo>
                      <a:pt x="612" y="1177"/>
                    </a:lnTo>
                    <a:lnTo>
                      <a:pt x="614" y="1177"/>
                    </a:lnTo>
                    <a:lnTo>
                      <a:pt x="616" y="1177"/>
                    </a:lnTo>
                    <a:lnTo>
                      <a:pt x="618" y="1179"/>
                    </a:lnTo>
                    <a:lnTo>
                      <a:pt x="618" y="1180"/>
                    </a:lnTo>
                    <a:lnTo>
                      <a:pt x="618" y="1179"/>
                    </a:lnTo>
                    <a:lnTo>
                      <a:pt x="619" y="1177"/>
                    </a:lnTo>
                    <a:lnTo>
                      <a:pt x="619" y="1175"/>
                    </a:lnTo>
                    <a:lnTo>
                      <a:pt x="618" y="1175"/>
                    </a:lnTo>
                    <a:lnTo>
                      <a:pt x="616" y="1175"/>
                    </a:lnTo>
                    <a:lnTo>
                      <a:pt x="616" y="1173"/>
                    </a:lnTo>
                    <a:lnTo>
                      <a:pt x="616" y="1172"/>
                    </a:lnTo>
                    <a:lnTo>
                      <a:pt x="618" y="1172"/>
                    </a:lnTo>
                    <a:lnTo>
                      <a:pt x="619" y="1172"/>
                    </a:lnTo>
                    <a:lnTo>
                      <a:pt x="619" y="1170"/>
                    </a:lnTo>
                    <a:lnTo>
                      <a:pt x="621" y="1170"/>
                    </a:lnTo>
                    <a:lnTo>
                      <a:pt x="621" y="1168"/>
                    </a:lnTo>
                    <a:lnTo>
                      <a:pt x="621" y="1170"/>
                    </a:lnTo>
                    <a:lnTo>
                      <a:pt x="623" y="1170"/>
                    </a:lnTo>
                    <a:lnTo>
                      <a:pt x="623" y="1168"/>
                    </a:lnTo>
                    <a:lnTo>
                      <a:pt x="624" y="1168"/>
                    </a:lnTo>
                    <a:lnTo>
                      <a:pt x="624" y="1167"/>
                    </a:lnTo>
                    <a:lnTo>
                      <a:pt x="626" y="1167"/>
                    </a:lnTo>
                    <a:lnTo>
                      <a:pt x="628" y="1165"/>
                    </a:lnTo>
                    <a:lnTo>
                      <a:pt x="629" y="1165"/>
                    </a:lnTo>
                    <a:lnTo>
                      <a:pt x="628" y="1163"/>
                    </a:lnTo>
                    <a:lnTo>
                      <a:pt x="629" y="1163"/>
                    </a:lnTo>
                    <a:lnTo>
                      <a:pt x="629" y="1162"/>
                    </a:lnTo>
                    <a:lnTo>
                      <a:pt x="631" y="1160"/>
                    </a:lnTo>
                    <a:lnTo>
                      <a:pt x="633" y="1162"/>
                    </a:lnTo>
                    <a:lnTo>
                      <a:pt x="633" y="1160"/>
                    </a:lnTo>
                    <a:lnTo>
                      <a:pt x="635" y="1160"/>
                    </a:lnTo>
                    <a:lnTo>
                      <a:pt x="635" y="1158"/>
                    </a:lnTo>
                    <a:lnTo>
                      <a:pt x="636" y="1158"/>
                    </a:lnTo>
                    <a:lnTo>
                      <a:pt x="636" y="1160"/>
                    </a:lnTo>
                    <a:lnTo>
                      <a:pt x="638" y="1160"/>
                    </a:lnTo>
                    <a:lnTo>
                      <a:pt x="638" y="1158"/>
                    </a:lnTo>
                    <a:lnTo>
                      <a:pt x="640" y="1158"/>
                    </a:lnTo>
                    <a:lnTo>
                      <a:pt x="641" y="1156"/>
                    </a:lnTo>
                    <a:lnTo>
                      <a:pt x="640" y="1156"/>
                    </a:lnTo>
                    <a:lnTo>
                      <a:pt x="638" y="1156"/>
                    </a:lnTo>
                    <a:lnTo>
                      <a:pt x="638" y="1155"/>
                    </a:lnTo>
                    <a:lnTo>
                      <a:pt x="640" y="1155"/>
                    </a:lnTo>
                    <a:lnTo>
                      <a:pt x="641" y="1156"/>
                    </a:lnTo>
                    <a:lnTo>
                      <a:pt x="641" y="1155"/>
                    </a:lnTo>
                    <a:lnTo>
                      <a:pt x="643" y="1155"/>
                    </a:lnTo>
                    <a:lnTo>
                      <a:pt x="645" y="1155"/>
                    </a:lnTo>
                    <a:lnTo>
                      <a:pt x="645" y="1153"/>
                    </a:lnTo>
                    <a:lnTo>
                      <a:pt x="645" y="1151"/>
                    </a:lnTo>
                    <a:lnTo>
                      <a:pt x="645" y="1150"/>
                    </a:lnTo>
                    <a:lnTo>
                      <a:pt x="646" y="1150"/>
                    </a:lnTo>
                    <a:lnTo>
                      <a:pt x="646" y="1148"/>
                    </a:lnTo>
                    <a:lnTo>
                      <a:pt x="648" y="1146"/>
                    </a:lnTo>
                    <a:lnTo>
                      <a:pt x="648" y="1148"/>
                    </a:lnTo>
                    <a:lnTo>
                      <a:pt x="650" y="1148"/>
                    </a:lnTo>
                    <a:lnTo>
                      <a:pt x="650" y="1146"/>
                    </a:lnTo>
                    <a:lnTo>
                      <a:pt x="652" y="1146"/>
                    </a:lnTo>
                    <a:lnTo>
                      <a:pt x="652" y="1148"/>
                    </a:lnTo>
                    <a:lnTo>
                      <a:pt x="653" y="1146"/>
                    </a:lnTo>
                    <a:lnTo>
                      <a:pt x="652" y="1146"/>
                    </a:lnTo>
                    <a:lnTo>
                      <a:pt x="652" y="1145"/>
                    </a:lnTo>
                    <a:lnTo>
                      <a:pt x="653" y="1145"/>
                    </a:lnTo>
                    <a:lnTo>
                      <a:pt x="653" y="1146"/>
                    </a:lnTo>
                    <a:lnTo>
                      <a:pt x="655" y="1146"/>
                    </a:lnTo>
                    <a:lnTo>
                      <a:pt x="655" y="1145"/>
                    </a:lnTo>
                    <a:lnTo>
                      <a:pt x="655" y="1143"/>
                    </a:lnTo>
                    <a:lnTo>
                      <a:pt x="657" y="1143"/>
                    </a:lnTo>
                    <a:lnTo>
                      <a:pt x="657" y="1145"/>
                    </a:lnTo>
                    <a:lnTo>
                      <a:pt x="658" y="1145"/>
                    </a:lnTo>
                    <a:lnTo>
                      <a:pt x="660" y="1145"/>
                    </a:lnTo>
                    <a:lnTo>
                      <a:pt x="660" y="1143"/>
                    </a:lnTo>
                    <a:lnTo>
                      <a:pt x="660" y="1141"/>
                    </a:lnTo>
                    <a:lnTo>
                      <a:pt x="662" y="1141"/>
                    </a:lnTo>
                    <a:lnTo>
                      <a:pt x="662" y="1143"/>
                    </a:lnTo>
                    <a:lnTo>
                      <a:pt x="663" y="1143"/>
                    </a:lnTo>
                    <a:lnTo>
                      <a:pt x="663" y="1141"/>
                    </a:lnTo>
                    <a:lnTo>
                      <a:pt x="665" y="1141"/>
                    </a:lnTo>
                    <a:lnTo>
                      <a:pt x="665" y="1143"/>
                    </a:lnTo>
                    <a:lnTo>
                      <a:pt x="667" y="1143"/>
                    </a:lnTo>
                    <a:lnTo>
                      <a:pt x="667" y="1141"/>
                    </a:lnTo>
                    <a:lnTo>
                      <a:pt x="669" y="1139"/>
                    </a:lnTo>
                    <a:lnTo>
                      <a:pt x="669" y="1138"/>
                    </a:lnTo>
                    <a:lnTo>
                      <a:pt x="669" y="1136"/>
                    </a:lnTo>
                    <a:lnTo>
                      <a:pt x="670" y="1136"/>
                    </a:lnTo>
                    <a:lnTo>
                      <a:pt x="670" y="1138"/>
                    </a:lnTo>
                    <a:lnTo>
                      <a:pt x="672" y="1138"/>
                    </a:lnTo>
                    <a:lnTo>
                      <a:pt x="672" y="1136"/>
                    </a:lnTo>
                    <a:lnTo>
                      <a:pt x="674" y="1136"/>
                    </a:lnTo>
                    <a:lnTo>
                      <a:pt x="674" y="1134"/>
                    </a:lnTo>
                    <a:lnTo>
                      <a:pt x="675" y="1134"/>
                    </a:lnTo>
                    <a:lnTo>
                      <a:pt x="675" y="1133"/>
                    </a:lnTo>
                    <a:lnTo>
                      <a:pt x="677" y="1133"/>
                    </a:lnTo>
                    <a:lnTo>
                      <a:pt x="677" y="1131"/>
                    </a:lnTo>
                    <a:lnTo>
                      <a:pt x="679" y="1133"/>
                    </a:lnTo>
                    <a:lnTo>
                      <a:pt x="679" y="1131"/>
                    </a:lnTo>
                    <a:lnTo>
                      <a:pt x="680" y="1131"/>
                    </a:lnTo>
                    <a:lnTo>
                      <a:pt x="680" y="1133"/>
                    </a:lnTo>
                    <a:lnTo>
                      <a:pt x="680" y="1131"/>
                    </a:lnTo>
                    <a:lnTo>
                      <a:pt x="682" y="1131"/>
                    </a:lnTo>
                    <a:lnTo>
                      <a:pt x="680" y="1131"/>
                    </a:lnTo>
                    <a:lnTo>
                      <a:pt x="682" y="1131"/>
                    </a:lnTo>
                    <a:lnTo>
                      <a:pt x="682" y="1129"/>
                    </a:lnTo>
                    <a:lnTo>
                      <a:pt x="682" y="1128"/>
                    </a:lnTo>
                    <a:lnTo>
                      <a:pt x="682" y="1129"/>
                    </a:lnTo>
                    <a:lnTo>
                      <a:pt x="682" y="1128"/>
                    </a:lnTo>
                    <a:lnTo>
                      <a:pt x="684" y="1128"/>
                    </a:lnTo>
                    <a:lnTo>
                      <a:pt x="682" y="1128"/>
                    </a:lnTo>
                    <a:lnTo>
                      <a:pt x="682" y="1126"/>
                    </a:lnTo>
                    <a:lnTo>
                      <a:pt x="684" y="1128"/>
                    </a:lnTo>
                    <a:lnTo>
                      <a:pt x="684" y="1126"/>
                    </a:lnTo>
                    <a:lnTo>
                      <a:pt x="686" y="1126"/>
                    </a:lnTo>
                    <a:lnTo>
                      <a:pt x="684" y="1124"/>
                    </a:lnTo>
                    <a:lnTo>
                      <a:pt x="686" y="1124"/>
                    </a:lnTo>
                    <a:lnTo>
                      <a:pt x="686" y="1122"/>
                    </a:lnTo>
                    <a:lnTo>
                      <a:pt x="686" y="1124"/>
                    </a:lnTo>
                    <a:lnTo>
                      <a:pt x="686" y="1122"/>
                    </a:lnTo>
                    <a:lnTo>
                      <a:pt x="686" y="1121"/>
                    </a:lnTo>
                    <a:lnTo>
                      <a:pt x="687" y="1121"/>
                    </a:lnTo>
                    <a:lnTo>
                      <a:pt x="686" y="1119"/>
                    </a:lnTo>
                    <a:lnTo>
                      <a:pt x="686" y="1117"/>
                    </a:lnTo>
                    <a:lnTo>
                      <a:pt x="684" y="1117"/>
                    </a:lnTo>
                    <a:lnTo>
                      <a:pt x="686" y="1116"/>
                    </a:lnTo>
                    <a:lnTo>
                      <a:pt x="684" y="1116"/>
                    </a:lnTo>
                    <a:lnTo>
                      <a:pt x="684" y="1114"/>
                    </a:lnTo>
                    <a:lnTo>
                      <a:pt x="684" y="1116"/>
                    </a:lnTo>
                    <a:lnTo>
                      <a:pt x="684" y="1114"/>
                    </a:lnTo>
                    <a:lnTo>
                      <a:pt x="686" y="1114"/>
                    </a:lnTo>
                    <a:lnTo>
                      <a:pt x="684" y="1114"/>
                    </a:lnTo>
                    <a:lnTo>
                      <a:pt x="686" y="1112"/>
                    </a:lnTo>
                    <a:lnTo>
                      <a:pt x="684" y="1112"/>
                    </a:lnTo>
                    <a:lnTo>
                      <a:pt x="684" y="1110"/>
                    </a:lnTo>
                    <a:lnTo>
                      <a:pt x="684" y="1109"/>
                    </a:lnTo>
                    <a:lnTo>
                      <a:pt x="686" y="1109"/>
                    </a:lnTo>
                    <a:lnTo>
                      <a:pt x="684" y="1109"/>
                    </a:lnTo>
                    <a:lnTo>
                      <a:pt x="686" y="1107"/>
                    </a:lnTo>
                    <a:lnTo>
                      <a:pt x="684" y="1107"/>
                    </a:lnTo>
                    <a:lnTo>
                      <a:pt x="686" y="1107"/>
                    </a:lnTo>
                    <a:lnTo>
                      <a:pt x="686" y="1105"/>
                    </a:lnTo>
                    <a:lnTo>
                      <a:pt x="686" y="1104"/>
                    </a:lnTo>
                    <a:lnTo>
                      <a:pt x="686" y="1102"/>
                    </a:lnTo>
                    <a:lnTo>
                      <a:pt x="686" y="1100"/>
                    </a:lnTo>
                    <a:lnTo>
                      <a:pt x="687" y="1100"/>
                    </a:lnTo>
                    <a:lnTo>
                      <a:pt x="687" y="1099"/>
                    </a:lnTo>
                    <a:lnTo>
                      <a:pt x="687" y="1097"/>
                    </a:lnTo>
                    <a:lnTo>
                      <a:pt x="687" y="1095"/>
                    </a:lnTo>
                    <a:lnTo>
                      <a:pt x="686" y="1093"/>
                    </a:lnTo>
                    <a:lnTo>
                      <a:pt x="684" y="1092"/>
                    </a:lnTo>
                    <a:lnTo>
                      <a:pt x="684" y="1090"/>
                    </a:lnTo>
                    <a:lnTo>
                      <a:pt x="682" y="1088"/>
                    </a:lnTo>
                    <a:lnTo>
                      <a:pt x="682" y="1087"/>
                    </a:lnTo>
                    <a:lnTo>
                      <a:pt x="680" y="1087"/>
                    </a:lnTo>
                    <a:lnTo>
                      <a:pt x="680" y="1085"/>
                    </a:lnTo>
                    <a:lnTo>
                      <a:pt x="682" y="1085"/>
                    </a:lnTo>
                    <a:lnTo>
                      <a:pt x="680" y="1085"/>
                    </a:lnTo>
                    <a:lnTo>
                      <a:pt x="682" y="1083"/>
                    </a:lnTo>
                    <a:lnTo>
                      <a:pt x="680" y="1083"/>
                    </a:lnTo>
                    <a:lnTo>
                      <a:pt x="680" y="1082"/>
                    </a:lnTo>
                    <a:lnTo>
                      <a:pt x="682" y="1082"/>
                    </a:lnTo>
                    <a:lnTo>
                      <a:pt x="680" y="1080"/>
                    </a:lnTo>
                    <a:lnTo>
                      <a:pt x="680" y="1078"/>
                    </a:lnTo>
                    <a:lnTo>
                      <a:pt x="680" y="1076"/>
                    </a:lnTo>
                    <a:lnTo>
                      <a:pt x="679" y="1076"/>
                    </a:lnTo>
                    <a:lnTo>
                      <a:pt x="680" y="1076"/>
                    </a:lnTo>
                    <a:lnTo>
                      <a:pt x="679" y="1076"/>
                    </a:lnTo>
                    <a:lnTo>
                      <a:pt x="680" y="1076"/>
                    </a:lnTo>
                    <a:lnTo>
                      <a:pt x="680" y="1075"/>
                    </a:lnTo>
                    <a:lnTo>
                      <a:pt x="679" y="1075"/>
                    </a:lnTo>
                    <a:lnTo>
                      <a:pt x="679" y="1073"/>
                    </a:lnTo>
                    <a:lnTo>
                      <a:pt x="679" y="1075"/>
                    </a:lnTo>
                    <a:lnTo>
                      <a:pt x="679" y="1073"/>
                    </a:lnTo>
                    <a:lnTo>
                      <a:pt x="677" y="1073"/>
                    </a:lnTo>
                    <a:lnTo>
                      <a:pt x="677" y="1075"/>
                    </a:lnTo>
                    <a:lnTo>
                      <a:pt x="677" y="1073"/>
                    </a:lnTo>
                    <a:lnTo>
                      <a:pt x="675" y="1073"/>
                    </a:lnTo>
                    <a:lnTo>
                      <a:pt x="677" y="1073"/>
                    </a:lnTo>
                    <a:lnTo>
                      <a:pt x="675" y="1073"/>
                    </a:lnTo>
                    <a:lnTo>
                      <a:pt x="675" y="1071"/>
                    </a:lnTo>
                    <a:lnTo>
                      <a:pt x="674" y="1071"/>
                    </a:lnTo>
                    <a:lnTo>
                      <a:pt x="672" y="1071"/>
                    </a:lnTo>
                    <a:lnTo>
                      <a:pt x="672" y="1073"/>
                    </a:lnTo>
                    <a:lnTo>
                      <a:pt x="670" y="1071"/>
                    </a:lnTo>
                    <a:lnTo>
                      <a:pt x="672" y="1071"/>
                    </a:lnTo>
                    <a:lnTo>
                      <a:pt x="672" y="1070"/>
                    </a:lnTo>
                    <a:lnTo>
                      <a:pt x="672" y="1068"/>
                    </a:lnTo>
                    <a:lnTo>
                      <a:pt x="670" y="1070"/>
                    </a:lnTo>
                    <a:lnTo>
                      <a:pt x="669" y="1070"/>
                    </a:lnTo>
                    <a:lnTo>
                      <a:pt x="669" y="1071"/>
                    </a:lnTo>
                    <a:lnTo>
                      <a:pt x="667" y="1071"/>
                    </a:lnTo>
                    <a:lnTo>
                      <a:pt x="667" y="1073"/>
                    </a:lnTo>
                    <a:lnTo>
                      <a:pt x="665" y="1071"/>
                    </a:lnTo>
                    <a:lnTo>
                      <a:pt x="663" y="1071"/>
                    </a:lnTo>
                    <a:lnTo>
                      <a:pt x="663" y="1073"/>
                    </a:lnTo>
                    <a:lnTo>
                      <a:pt x="662" y="1073"/>
                    </a:lnTo>
                    <a:lnTo>
                      <a:pt x="662" y="1075"/>
                    </a:lnTo>
                    <a:lnTo>
                      <a:pt x="660" y="1075"/>
                    </a:lnTo>
                    <a:lnTo>
                      <a:pt x="662" y="1076"/>
                    </a:lnTo>
                    <a:lnTo>
                      <a:pt x="660" y="1076"/>
                    </a:lnTo>
                    <a:lnTo>
                      <a:pt x="660" y="1075"/>
                    </a:lnTo>
                    <a:lnTo>
                      <a:pt x="658" y="1073"/>
                    </a:lnTo>
                    <a:lnTo>
                      <a:pt x="657" y="1073"/>
                    </a:lnTo>
                    <a:lnTo>
                      <a:pt x="657" y="1071"/>
                    </a:lnTo>
                    <a:lnTo>
                      <a:pt x="657" y="1073"/>
                    </a:lnTo>
                    <a:lnTo>
                      <a:pt x="655" y="1073"/>
                    </a:lnTo>
                    <a:lnTo>
                      <a:pt x="655" y="1071"/>
                    </a:lnTo>
                    <a:lnTo>
                      <a:pt x="655" y="1070"/>
                    </a:lnTo>
                    <a:lnTo>
                      <a:pt x="655" y="1068"/>
                    </a:lnTo>
                    <a:lnTo>
                      <a:pt x="655" y="1066"/>
                    </a:lnTo>
                    <a:lnTo>
                      <a:pt x="655" y="1065"/>
                    </a:lnTo>
                    <a:lnTo>
                      <a:pt x="657" y="1065"/>
                    </a:lnTo>
                    <a:lnTo>
                      <a:pt x="657" y="1063"/>
                    </a:lnTo>
                    <a:lnTo>
                      <a:pt x="658" y="1061"/>
                    </a:lnTo>
                    <a:lnTo>
                      <a:pt x="658" y="1059"/>
                    </a:lnTo>
                    <a:lnTo>
                      <a:pt x="660" y="1058"/>
                    </a:lnTo>
                    <a:lnTo>
                      <a:pt x="660" y="1056"/>
                    </a:lnTo>
                    <a:lnTo>
                      <a:pt x="660" y="1054"/>
                    </a:lnTo>
                    <a:lnTo>
                      <a:pt x="660" y="1053"/>
                    </a:lnTo>
                    <a:lnTo>
                      <a:pt x="660" y="1051"/>
                    </a:lnTo>
                    <a:lnTo>
                      <a:pt x="660" y="1049"/>
                    </a:lnTo>
                    <a:lnTo>
                      <a:pt x="660" y="1048"/>
                    </a:lnTo>
                    <a:lnTo>
                      <a:pt x="662" y="1046"/>
                    </a:lnTo>
                    <a:lnTo>
                      <a:pt x="662" y="1044"/>
                    </a:lnTo>
                    <a:lnTo>
                      <a:pt x="662" y="1042"/>
                    </a:lnTo>
                    <a:lnTo>
                      <a:pt x="663" y="1041"/>
                    </a:lnTo>
                    <a:lnTo>
                      <a:pt x="663" y="1039"/>
                    </a:lnTo>
                    <a:lnTo>
                      <a:pt x="663" y="1037"/>
                    </a:lnTo>
                    <a:lnTo>
                      <a:pt x="665" y="1037"/>
                    </a:lnTo>
                    <a:lnTo>
                      <a:pt x="665" y="1036"/>
                    </a:lnTo>
                    <a:lnTo>
                      <a:pt x="665" y="1034"/>
                    </a:lnTo>
                    <a:lnTo>
                      <a:pt x="663" y="1034"/>
                    </a:lnTo>
                    <a:lnTo>
                      <a:pt x="663" y="1032"/>
                    </a:lnTo>
                    <a:lnTo>
                      <a:pt x="663" y="1031"/>
                    </a:lnTo>
                    <a:lnTo>
                      <a:pt x="665" y="1031"/>
                    </a:lnTo>
                    <a:lnTo>
                      <a:pt x="665" y="1029"/>
                    </a:lnTo>
                    <a:lnTo>
                      <a:pt x="667" y="1027"/>
                    </a:lnTo>
                    <a:lnTo>
                      <a:pt x="667" y="1025"/>
                    </a:lnTo>
                    <a:lnTo>
                      <a:pt x="665" y="1024"/>
                    </a:lnTo>
                    <a:lnTo>
                      <a:pt x="665" y="1022"/>
                    </a:lnTo>
                    <a:lnTo>
                      <a:pt x="663" y="1022"/>
                    </a:lnTo>
                    <a:lnTo>
                      <a:pt x="663" y="1020"/>
                    </a:lnTo>
                    <a:lnTo>
                      <a:pt x="663" y="1019"/>
                    </a:lnTo>
                    <a:lnTo>
                      <a:pt x="663" y="1017"/>
                    </a:lnTo>
                    <a:lnTo>
                      <a:pt x="665" y="1017"/>
                    </a:lnTo>
                    <a:lnTo>
                      <a:pt x="665" y="1015"/>
                    </a:lnTo>
                    <a:lnTo>
                      <a:pt x="665" y="1014"/>
                    </a:lnTo>
                    <a:lnTo>
                      <a:pt x="663" y="1014"/>
                    </a:lnTo>
                    <a:lnTo>
                      <a:pt x="662" y="1012"/>
                    </a:lnTo>
                    <a:lnTo>
                      <a:pt x="660" y="1010"/>
                    </a:lnTo>
                    <a:lnTo>
                      <a:pt x="660" y="1008"/>
                    </a:lnTo>
                    <a:lnTo>
                      <a:pt x="658" y="1008"/>
                    </a:lnTo>
                    <a:lnTo>
                      <a:pt x="657" y="1008"/>
                    </a:lnTo>
                    <a:lnTo>
                      <a:pt x="655" y="1007"/>
                    </a:lnTo>
                    <a:lnTo>
                      <a:pt x="655" y="1008"/>
                    </a:lnTo>
                    <a:lnTo>
                      <a:pt x="655" y="1007"/>
                    </a:lnTo>
                    <a:lnTo>
                      <a:pt x="653" y="1007"/>
                    </a:lnTo>
                    <a:lnTo>
                      <a:pt x="652" y="1007"/>
                    </a:lnTo>
                    <a:lnTo>
                      <a:pt x="652" y="1008"/>
                    </a:lnTo>
                    <a:lnTo>
                      <a:pt x="650" y="1008"/>
                    </a:lnTo>
                    <a:lnTo>
                      <a:pt x="648" y="1008"/>
                    </a:lnTo>
                    <a:lnTo>
                      <a:pt x="646" y="1008"/>
                    </a:lnTo>
                    <a:lnTo>
                      <a:pt x="646" y="1010"/>
                    </a:lnTo>
                    <a:lnTo>
                      <a:pt x="645" y="1010"/>
                    </a:lnTo>
                    <a:lnTo>
                      <a:pt x="645" y="1012"/>
                    </a:lnTo>
                    <a:lnTo>
                      <a:pt x="643" y="1012"/>
                    </a:lnTo>
                    <a:lnTo>
                      <a:pt x="641" y="1012"/>
                    </a:lnTo>
                    <a:lnTo>
                      <a:pt x="640" y="1012"/>
                    </a:lnTo>
                    <a:lnTo>
                      <a:pt x="640" y="1014"/>
                    </a:lnTo>
                    <a:lnTo>
                      <a:pt x="640" y="1012"/>
                    </a:lnTo>
                    <a:lnTo>
                      <a:pt x="638" y="1012"/>
                    </a:lnTo>
                    <a:lnTo>
                      <a:pt x="636" y="1014"/>
                    </a:lnTo>
                    <a:lnTo>
                      <a:pt x="636" y="1012"/>
                    </a:lnTo>
                    <a:lnTo>
                      <a:pt x="636" y="1014"/>
                    </a:lnTo>
                    <a:lnTo>
                      <a:pt x="635" y="1014"/>
                    </a:lnTo>
                    <a:lnTo>
                      <a:pt x="633" y="1014"/>
                    </a:lnTo>
                    <a:lnTo>
                      <a:pt x="633" y="1012"/>
                    </a:lnTo>
                    <a:lnTo>
                      <a:pt x="631" y="1012"/>
                    </a:lnTo>
                    <a:lnTo>
                      <a:pt x="629" y="1014"/>
                    </a:lnTo>
                    <a:lnTo>
                      <a:pt x="629" y="1012"/>
                    </a:lnTo>
                    <a:lnTo>
                      <a:pt x="628" y="1012"/>
                    </a:lnTo>
                    <a:lnTo>
                      <a:pt x="628" y="1010"/>
                    </a:lnTo>
                    <a:lnTo>
                      <a:pt x="626" y="1010"/>
                    </a:lnTo>
                    <a:lnTo>
                      <a:pt x="626" y="1008"/>
                    </a:lnTo>
                    <a:lnTo>
                      <a:pt x="626" y="1007"/>
                    </a:lnTo>
                    <a:lnTo>
                      <a:pt x="626" y="1005"/>
                    </a:lnTo>
                    <a:lnTo>
                      <a:pt x="628" y="1005"/>
                    </a:lnTo>
                    <a:lnTo>
                      <a:pt x="626" y="1005"/>
                    </a:lnTo>
                    <a:lnTo>
                      <a:pt x="626" y="1003"/>
                    </a:lnTo>
                    <a:lnTo>
                      <a:pt x="626" y="1002"/>
                    </a:lnTo>
                    <a:lnTo>
                      <a:pt x="626" y="1000"/>
                    </a:lnTo>
                    <a:lnTo>
                      <a:pt x="624" y="1000"/>
                    </a:lnTo>
                    <a:lnTo>
                      <a:pt x="623" y="1000"/>
                    </a:lnTo>
                    <a:lnTo>
                      <a:pt x="623" y="998"/>
                    </a:lnTo>
                    <a:lnTo>
                      <a:pt x="624" y="998"/>
                    </a:lnTo>
                    <a:lnTo>
                      <a:pt x="624" y="997"/>
                    </a:lnTo>
                    <a:lnTo>
                      <a:pt x="623" y="997"/>
                    </a:lnTo>
                    <a:lnTo>
                      <a:pt x="623" y="995"/>
                    </a:lnTo>
                    <a:lnTo>
                      <a:pt x="623" y="993"/>
                    </a:lnTo>
                    <a:lnTo>
                      <a:pt x="624" y="991"/>
                    </a:lnTo>
                    <a:lnTo>
                      <a:pt x="624" y="990"/>
                    </a:lnTo>
                    <a:lnTo>
                      <a:pt x="623" y="988"/>
                    </a:lnTo>
                    <a:lnTo>
                      <a:pt x="623" y="986"/>
                    </a:lnTo>
                    <a:lnTo>
                      <a:pt x="624" y="986"/>
                    </a:lnTo>
                    <a:lnTo>
                      <a:pt x="623" y="986"/>
                    </a:lnTo>
                    <a:lnTo>
                      <a:pt x="623" y="985"/>
                    </a:lnTo>
                    <a:lnTo>
                      <a:pt x="624" y="985"/>
                    </a:lnTo>
                    <a:lnTo>
                      <a:pt x="624" y="983"/>
                    </a:lnTo>
                    <a:lnTo>
                      <a:pt x="623" y="983"/>
                    </a:lnTo>
                    <a:lnTo>
                      <a:pt x="623" y="981"/>
                    </a:lnTo>
                    <a:lnTo>
                      <a:pt x="621" y="981"/>
                    </a:lnTo>
                    <a:lnTo>
                      <a:pt x="621" y="980"/>
                    </a:lnTo>
                    <a:lnTo>
                      <a:pt x="621" y="978"/>
                    </a:lnTo>
                    <a:lnTo>
                      <a:pt x="619" y="978"/>
                    </a:lnTo>
                    <a:lnTo>
                      <a:pt x="621" y="976"/>
                    </a:lnTo>
                    <a:lnTo>
                      <a:pt x="619" y="974"/>
                    </a:lnTo>
                    <a:lnTo>
                      <a:pt x="619" y="973"/>
                    </a:lnTo>
                    <a:lnTo>
                      <a:pt x="619" y="971"/>
                    </a:lnTo>
                    <a:lnTo>
                      <a:pt x="619" y="969"/>
                    </a:lnTo>
                    <a:lnTo>
                      <a:pt x="619" y="968"/>
                    </a:lnTo>
                    <a:lnTo>
                      <a:pt x="621" y="968"/>
                    </a:lnTo>
                    <a:lnTo>
                      <a:pt x="621" y="966"/>
                    </a:lnTo>
                    <a:lnTo>
                      <a:pt x="621" y="964"/>
                    </a:lnTo>
                    <a:lnTo>
                      <a:pt x="621" y="963"/>
                    </a:lnTo>
                    <a:lnTo>
                      <a:pt x="619" y="963"/>
                    </a:lnTo>
                    <a:lnTo>
                      <a:pt x="619" y="961"/>
                    </a:lnTo>
                    <a:lnTo>
                      <a:pt x="618" y="961"/>
                    </a:lnTo>
                    <a:lnTo>
                      <a:pt x="618" y="959"/>
                    </a:lnTo>
                    <a:lnTo>
                      <a:pt x="616" y="959"/>
                    </a:lnTo>
                    <a:lnTo>
                      <a:pt x="616" y="957"/>
                    </a:lnTo>
                    <a:lnTo>
                      <a:pt x="616" y="956"/>
                    </a:lnTo>
                    <a:lnTo>
                      <a:pt x="618" y="956"/>
                    </a:lnTo>
                    <a:lnTo>
                      <a:pt x="616" y="956"/>
                    </a:lnTo>
                    <a:lnTo>
                      <a:pt x="616" y="954"/>
                    </a:lnTo>
                    <a:lnTo>
                      <a:pt x="614" y="954"/>
                    </a:lnTo>
                    <a:lnTo>
                      <a:pt x="614" y="952"/>
                    </a:lnTo>
                    <a:lnTo>
                      <a:pt x="612" y="951"/>
                    </a:lnTo>
                    <a:lnTo>
                      <a:pt x="611" y="951"/>
                    </a:lnTo>
                    <a:lnTo>
                      <a:pt x="609" y="951"/>
                    </a:lnTo>
                    <a:lnTo>
                      <a:pt x="607" y="951"/>
                    </a:lnTo>
                    <a:lnTo>
                      <a:pt x="606" y="951"/>
                    </a:lnTo>
                    <a:lnTo>
                      <a:pt x="604" y="951"/>
                    </a:lnTo>
                    <a:lnTo>
                      <a:pt x="604" y="949"/>
                    </a:lnTo>
                    <a:lnTo>
                      <a:pt x="604" y="951"/>
                    </a:lnTo>
                    <a:lnTo>
                      <a:pt x="602" y="951"/>
                    </a:lnTo>
                    <a:lnTo>
                      <a:pt x="601" y="949"/>
                    </a:lnTo>
                    <a:lnTo>
                      <a:pt x="601" y="951"/>
                    </a:lnTo>
                    <a:lnTo>
                      <a:pt x="601" y="949"/>
                    </a:lnTo>
                    <a:lnTo>
                      <a:pt x="599" y="949"/>
                    </a:lnTo>
                    <a:lnTo>
                      <a:pt x="599" y="947"/>
                    </a:lnTo>
                    <a:lnTo>
                      <a:pt x="597" y="947"/>
                    </a:lnTo>
                    <a:lnTo>
                      <a:pt x="595" y="947"/>
                    </a:lnTo>
                    <a:lnTo>
                      <a:pt x="595" y="945"/>
                    </a:lnTo>
                    <a:lnTo>
                      <a:pt x="595" y="944"/>
                    </a:lnTo>
                    <a:lnTo>
                      <a:pt x="594" y="944"/>
                    </a:lnTo>
                    <a:lnTo>
                      <a:pt x="594" y="942"/>
                    </a:lnTo>
                    <a:lnTo>
                      <a:pt x="594" y="944"/>
                    </a:lnTo>
                    <a:lnTo>
                      <a:pt x="592" y="942"/>
                    </a:lnTo>
                    <a:lnTo>
                      <a:pt x="592" y="944"/>
                    </a:lnTo>
                    <a:lnTo>
                      <a:pt x="590" y="944"/>
                    </a:lnTo>
                    <a:lnTo>
                      <a:pt x="590" y="945"/>
                    </a:lnTo>
                    <a:lnTo>
                      <a:pt x="589" y="945"/>
                    </a:lnTo>
                    <a:lnTo>
                      <a:pt x="590" y="945"/>
                    </a:lnTo>
                    <a:lnTo>
                      <a:pt x="589" y="945"/>
                    </a:lnTo>
                    <a:lnTo>
                      <a:pt x="589" y="947"/>
                    </a:lnTo>
                    <a:lnTo>
                      <a:pt x="587" y="947"/>
                    </a:lnTo>
                    <a:lnTo>
                      <a:pt x="587" y="949"/>
                    </a:lnTo>
                    <a:lnTo>
                      <a:pt x="585" y="949"/>
                    </a:lnTo>
                    <a:lnTo>
                      <a:pt x="587" y="949"/>
                    </a:lnTo>
                    <a:lnTo>
                      <a:pt x="585" y="949"/>
                    </a:lnTo>
                    <a:lnTo>
                      <a:pt x="585" y="947"/>
                    </a:lnTo>
                    <a:lnTo>
                      <a:pt x="584" y="947"/>
                    </a:lnTo>
                    <a:lnTo>
                      <a:pt x="584" y="949"/>
                    </a:lnTo>
                    <a:lnTo>
                      <a:pt x="582" y="949"/>
                    </a:lnTo>
                    <a:lnTo>
                      <a:pt x="580" y="949"/>
                    </a:lnTo>
                    <a:lnTo>
                      <a:pt x="580" y="951"/>
                    </a:lnTo>
                    <a:lnTo>
                      <a:pt x="578" y="951"/>
                    </a:lnTo>
                    <a:lnTo>
                      <a:pt x="578" y="949"/>
                    </a:lnTo>
                    <a:lnTo>
                      <a:pt x="577" y="949"/>
                    </a:lnTo>
                    <a:lnTo>
                      <a:pt x="575" y="949"/>
                    </a:lnTo>
                    <a:lnTo>
                      <a:pt x="573" y="947"/>
                    </a:lnTo>
                    <a:lnTo>
                      <a:pt x="573" y="949"/>
                    </a:lnTo>
                    <a:lnTo>
                      <a:pt x="572" y="949"/>
                    </a:lnTo>
                    <a:lnTo>
                      <a:pt x="570" y="949"/>
                    </a:lnTo>
                    <a:lnTo>
                      <a:pt x="570" y="947"/>
                    </a:lnTo>
                    <a:lnTo>
                      <a:pt x="568" y="949"/>
                    </a:lnTo>
                    <a:lnTo>
                      <a:pt x="568" y="947"/>
                    </a:lnTo>
                    <a:lnTo>
                      <a:pt x="567" y="947"/>
                    </a:lnTo>
                    <a:lnTo>
                      <a:pt x="567" y="949"/>
                    </a:lnTo>
                    <a:lnTo>
                      <a:pt x="565" y="949"/>
                    </a:lnTo>
                    <a:lnTo>
                      <a:pt x="565" y="947"/>
                    </a:lnTo>
                    <a:lnTo>
                      <a:pt x="563" y="949"/>
                    </a:lnTo>
                    <a:lnTo>
                      <a:pt x="561" y="947"/>
                    </a:lnTo>
                    <a:lnTo>
                      <a:pt x="561" y="949"/>
                    </a:lnTo>
                    <a:lnTo>
                      <a:pt x="561" y="947"/>
                    </a:lnTo>
                    <a:lnTo>
                      <a:pt x="560" y="947"/>
                    </a:lnTo>
                    <a:lnTo>
                      <a:pt x="558" y="947"/>
                    </a:lnTo>
                    <a:lnTo>
                      <a:pt x="556" y="947"/>
                    </a:lnTo>
                    <a:lnTo>
                      <a:pt x="556" y="945"/>
                    </a:lnTo>
                    <a:lnTo>
                      <a:pt x="556" y="947"/>
                    </a:lnTo>
                    <a:lnTo>
                      <a:pt x="555" y="945"/>
                    </a:lnTo>
                    <a:lnTo>
                      <a:pt x="553" y="945"/>
                    </a:lnTo>
                    <a:lnTo>
                      <a:pt x="553" y="944"/>
                    </a:lnTo>
                    <a:lnTo>
                      <a:pt x="551" y="944"/>
                    </a:lnTo>
                    <a:lnTo>
                      <a:pt x="550" y="944"/>
                    </a:lnTo>
                    <a:lnTo>
                      <a:pt x="550" y="945"/>
                    </a:lnTo>
                    <a:lnTo>
                      <a:pt x="548" y="945"/>
                    </a:lnTo>
                    <a:lnTo>
                      <a:pt x="548" y="944"/>
                    </a:lnTo>
                    <a:lnTo>
                      <a:pt x="546" y="945"/>
                    </a:lnTo>
                    <a:lnTo>
                      <a:pt x="546" y="944"/>
                    </a:lnTo>
                    <a:lnTo>
                      <a:pt x="544" y="944"/>
                    </a:lnTo>
                    <a:lnTo>
                      <a:pt x="544" y="945"/>
                    </a:lnTo>
                    <a:lnTo>
                      <a:pt x="544" y="944"/>
                    </a:lnTo>
                    <a:lnTo>
                      <a:pt x="543" y="944"/>
                    </a:lnTo>
                    <a:lnTo>
                      <a:pt x="543" y="942"/>
                    </a:lnTo>
                    <a:lnTo>
                      <a:pt x="541" y="942"/>
                    </a:lnTo>
                    <a:lnTo>
                      <a:pt x="541" y="944"/>
                    </a:lnTo>
                    <a:lnTo>
                      <a:pt x="541" y="942"/>
                    </a:lnTo>
                    <a:lnTo>
                      <a:pt x="539" y="942"/>
                    </a:lnTo>
                    <a:lnTo>
                      <a:pt x="539" y="940"/>
                    </a:lnTo>
                    <a:lnTo>
                      <a:pt x="541" y="940"/>
                    </a:lnTo>
                    <a:lnTo>
                      <a:pt x="541" y="939"/>
                    </a:lnTo>
                    <a:lnTo>
                      <a:pt x="543" y="939"/>
                    </a:lnTo>
                    <a:lnTo>
                      <a:pt x="543" y="937"/>
                    </a:lnTo>
                    <a:lnTo>
                      <a:pt x="543" y="935"/>
                    </a:lnTo>
                    <a:lnTo>
                      <a:pt x="541" y="935"/>
                    </a:lnTo>
                    <a:lnTo>
                      <a:pt x="541" y="934"/>
                    </a:lnTo>
                    <a:lnTo>
                      <a:pt x="543" y="934"/>
                    </a:lnTo>
                    <a:lnTo>
                      <a:pt x="543" y="932"/>
                    </a:lnTo>
                    <a:lnTo>
                      <a:pt x="543" y="930"/>
                    </a:lnTo>
                    <a:lnTo>
                      <a:pt x="544" y="928"/>
                    </a:lnTo>
                    <a:lnTo>
                      <a:pt x="543" y="928"/>
                    </a:lnTo>
                    <a:lnTo>
                      <a:pt x="543" y="927"/>
                    </a:lnTo>
                    <a:lnTo>
                      <a:pt x="543" y="925"/>
                    </a:lnTo>
                    <a:lnTo>
                      <a:pt x="543" y="923"/>
                    </a:lnTo>
                    <a:lnTo>
                      <a:pt x="541" y="923"/>
                    </a:lnTo>
                    <a:lnTo>
                      <a:pt x="541" y="922"/>
                    </a:lnTo>
                    <a:lnTo>
                      <a:pt x="543" y="922"/>
                    </a:lnTo>
                    <a:lnTo>
                      <a:pt x="543" y="920"/>
                    </a:lnTo>
                    <a:lnTo>
                      <a:pt x="543" y="918"/>
                    </a:lnTo>
                    <a:lnTo>
                      <a:pt x="544" y="918"/>
                    </a:lnTo>
                    <a:lnTo>
                      <a:pt x="544" y="917"/>
                    </a:lnTo>
                    <a:lnTo>
                      <a:pt x="544" y="915"/>
                    </a:lnTo>
                    <a:lnTo>
                      <a:pt x="543" y="913"/>
                    </a:lnTo>
                    <a:lnTo>
                      <a:pt x="544" y="913"/>
                    </a:lnTo>
                    <a:lnTo>
                      <a:pt x="544" y="911"/>
                    </a:lnTo>
                    <a:lnTo>
                      <a:pt x="546" y="911"/>
                    </a:lnTo>
                    <a:lnTo>
                      <a:pt x="546" y="910"/>
                    </a:lnTo>
                    <a:lnTo>
                      <a:pt x="544" y="910"/>
                    </a:lnTo>
                    <a:lnTo>
                      <a:pt x="544" y="908"/>
                    </a:lnTo>
                    <a:lnTo>
                      <a:pt x="546" y="906"/>
                    </a:lnTo>
                    <a:lnTo>
                      <a:pt x="544" y="906"/>
                    </a:lnTo>
                    <a:lnTo>
                      <a:pt x="544" y="905"/>
                    </a:lnTo>
                    <a:lnTo>
                      <a:pt x="546" y="905"/>
                    </a:lnTo>
                    <a:lnTo>
                      <a:pt x="546" y="903"/>
                    </a:lnTo>
                    <a:lnTo>
                      <a:pt x="546" y="901"/>
                    </a:lnTo>
                    <a:lnTo>
                      <a:pt x="544" y="901"/>
                    </a:lnTo>
                    <a:lnTo>
                      <a:pt x="544" y="900"/>
                    </a:lnTo>
                    <a:lnTo>
                      <a:pt x="543" y="900"/>
                    </a:lnTo>
                    <a:lnTo>
                      <a:pt x="544" y="900"/>
                    </a:lnTo>
                    <a:lnTo>
                      <a:pt x="544" y="898"/>
                    </a:lnTo>
                    <a:lnTo>
                      <a:pt x="544" y="896"/>
                    </a:lnTo>
                    <a:lnTo>
                      <a:pt x="543" y="896"/>
                    </a:lnTo>
                    <a:lnTo>
                      <a:pt x="541" y="896"/>
                    </a:lnTo>
                    <a:lnTo>
                      <a:pt x="543" y="894"/>
                    </a:lnTo>
                    <a:lnTo>
                      <a:pt x="544" y="894"/>
                    </a:lnTo>
                    <a:lnTo>
                      <a:pt x="544" y="893"/>
                    </a:lnTo>
                    <a:lnTo>
                      <a:pt x="543" y="893"/>
                    </a:lnTo>
                    <a:lnTo>
                      <a:pt x="543" y="891"/>
                    </a:lnTo>
                    <a:lnTo>
                      <a:pt x="543" y="893"/>
                    </a:lnTo>
                    <a:lnTo>
                      <a:pt x="541" y="893"/>
                    </a:lnTo>
                    <a:lnTo>
                      <a:pt x="541" y="891"/>
                    </a:lnTo>
                    <a:lnTo>
                      <a:pt x="541" y="889"/>
                    </a:lnTo>
                    <a:lnTo>
                      <a:pt x="539" y="889"/>
                    </a:lnTo>
                    <a:lnTo>
                      <a:pt x="541" y="888"/>
                    </a:lnTo>
                    <a:lnTo>
                      <a:pt x="539" y="888"/>
                    </a:lnTo>
                    <a:lnTo>
                      <a:pt x="539" y="886"/>
                    </a:lnTo>
                    <a:lnTo>
                      <a:pt x="539" y="884"/>
                    </a:lnTo>
                    <a:lnTo>
                      <a:pt x="541" y="884"/>
                    </a:lnTo>
                    <a:lnTo>
                      <a:pt x="541" y="883"/>
                    </a:lnTo>
                    <a:lnTo>
                      <a:pt x="539" y="883"/>
                    </a:lnTo>
                    <a:lnTo>
                      <a:pt x="538" y="881"/>
                    </a:lnTo>
                    <a:lnTo>
                      <a:pt x="538" y="879"/>
                    </a:lnTo>
                    <a:lnTo>
                      <a:pt x="536" y="879"/>
                    </a:lnTo>
                    <a:lnTo>
                      <a:pt x="538" y="877"/>
                    </a:lnTo>
                    <a:lnTo>
                      <a:pt x="536" y="876"/>
                    </a:lnTo>
                    <a:lnTo>
                      <a:pt x="536" y="877"/>
                    </a:lnTo>
                    <a:lnTo>
                      <a:pt x="534" y="877"/>
                    </a:lnTo>
                    <a:lnTo>
                      <a:pt x="534" y="876"/>
                    </a:lnTo>
                    <a:lnTo>
                      <a:pt x="536" y="876"/>
                    </a:lnTo>
                    <a:lnTo>
                      <a:pt x="536" y="874"/>
                    </a:lnTo>
                    <a:lnTo>
                      <a:pt x="534" y="874"/>
                    </a:lnTo>
                    <a:lnTo>
                      <a:pt x="536" y="872"/>
                    </a:lnTo>
                    <a:lnTo>
                      <a:pt x="538" y="872"/>
                    </a:lnTo>
                    <a:lnTo>
                      <a:pt x="538" y="871"/>
                    </a:lnTo>
                    <a:lnTo>
                      <a:pt x="539" y="871"/>
                    </a:lnTo>
                    <a:lnTo>
                      <a:pt x="539" y="869"/>
                    </a:lnTo>
                    <a:lnTo>
                      <a:pt x="541" y="869"/>
                    </a:lnTo>
                    <a:lnTo>
                      <a:pt x="543" y="869"/>
                    </a:lnTo>
                    <a:lnTo>
                      <a:pt x="544" y="869"/>
                    </a:lnTo>
                    <a:lnTo>
                      <a:pt x="544" y="867"/>
                    </a:lnTo>
                    <a:lnTo>
                      <a:pt x="544" y="866"/>
                    </a:lnTo>
                    <a:lnTo>
                      <a:pt x="541" y="862"/>
                    </a:lnTo>
                    <a:lnTo>
                      <a:pt x="536" y="859"/>
                    </a:lnTo>
                    <a:lnTo>
                      <a:pt x="538" y="855"/>
                    </a:lnTo>
                    <a:lnTo>
                      <a:pt x="541" y="849"/>
                    </a:lnTo>
                    <a:lnTo>
                      <a:pt x="544" y="842"/>
                    </a:lnTo>
                    <a:lnTo>
                      <a:pt x="544" y="840"/>
                    </a:lnTo>
                    <a:lnTo>
                      <a:pt x="544" y="838"/>
                    </a:lnTo>
                    <a:lnTo>
                      <a:pt x="546" y="837"/>
                    </a:lnTo>
                    <a:lnTo>
                      <a:pt x="548" y="833"/>
                    </a:lnTo>
                    <a:lnTo>
                      <a:pt x="550" y="833"/>
                    </a:lnTo>
                    <a:lnTo>
                      <a:pt x="550" y="832"/>
                    </a:lnTo>
                    <a:lnTo>
                      <a:pt x="551" y="832"/>
                    </a:lnTo>
                    <a:lnTo>
                      <a:pt x="550" y="832"/>
                    </a:lnTo>
                    <a:lnTo>
                      <a:pt x="550" y="830"/>
                    </a:lnTo>
                    <a:lnTo>
                      <a:pt x="550" y="828"/>
                    </a:lnTo>
                    <a:lnTo>
                      <a:pt x="548" y="828"/>
                    </a:lnTo>
                    <a:lnTo>
                      <a:pt x="548" y="826"/>
                    </a:lnTo>
                    <a:lnTo>
                      <a:pt x="550" y="825"/>
                    </a:lnTo>
                    <a:lnTo>
                      <a:pt x="550" y="823"/>
                    </a:lnTo>
                    <a:lnTo>
                      <a:pt x="550" y="821"/>
                    </a:lnTo>
                    <a:lnTo>
                      <a:pt x="551" y="820"/>
                    </a:lnTo>
                    <a:lnTo>
                      <a:pt x="551" y="816"/>
                    </a:lnTo>
                    <a:lnTo>
                      <a:pt x="553" y="815"/>
                    </a:lnTo>
                    <a:lnTo>
                      <a:pt x="555" y="808"/>
                    </a:lnTo>
                    <a:lnTo>
                      <a:pt x="555" y="806"/>
                    </a:lnTo>
                    <a:lnTo>
                      <a:pt x="555" y="804"/>
                    </a:lnTo>
                    <a:lnTo>
                      <a:pt x="556" y="804"/>
                    </a:lnTo>
                    <a:lnTo>
                      <a:pt x="558" y="804"/>
                    </a:lnTo>
                    <a:lnTo>
                      <a:pt x="558" y="803"/>
                    </a:lnTo>
                    <a:lnTo>
                      <a:pt x="556" y="803"/>
                    </a:lnTo>
                    <a:lnTo>
                      <a:pt x="555" y="801"/>
                    </a:lnTo>
                    <a:lnTo>
                      <a:pt x="555" y="799"/>
                    </a:lnTo>
                    <a:lnTo>
                      <a:pt x="553" y="797"/>
                    </a:lnTo>
                    <a:lnTo>
                      <a:pt x="553" y="796"/>
                    </a:lnTo>
                    <a:lnTo>
                      <a:pt x="550" y="791"/>
                    </a:lnTo>
                    <a:lnTo>
                      <a:pt x="551" y="791"/>
                    </a:lnTo>
                    <a:lnTo>
                      <a:pt x="551" y="789"/>
                    </a:lnTo>
                    <a:lnTo>
                      <a:pt x="550" y="787"/>
                    </a:lnTo>
                    <a:lnTo>
                      <a:pt x="550" y="786"/>
                    </a:lnTo>
                    <a:lnTo>
                      <a:pt x="548" y="786"/>
                    </a:lnTo>
                    <a:lnTo>
                      <a:pt x="548" y="784"/>
                    </a:lnTo>
                    <a:lnTo>
                      <a:pt x="548" y="782"/>
                    </a:lnTo>
                    <a:lnTo>
                      <a:pt x="548" y="780"/>
                    </a:lnTo>
                    <a:lnTo>
                      <a:pt x="550" y="780"/>
                    </a:lnTo>
                    <a:lnTo>
                      <a:pt x="548" y="780"/>
                    </a:lnTo>
                    <a:lnTo>
                      <a:pt x="546" y="779"/>
                    </a:lnTo>
                    <a:lnTo>
                      <a:pt x="544" y="777"/>
                    </a:lnTo>
                    <a:lnTo>
                      <a:pt x="543" y="777"/>
                    </a:lnTo>
                    <a:lnTo>
                      <a:pt x="543" y="779"/>
                    </a:lnTo>
                    <a:lnTo>
                      <a:pt x="541" y="779"/>
                    </a:lnTo>
                    <a:lnTo>
                      <a:pt x="539" y="779"/>
                    </a:lnTo>
                    <a:lnTo>
                      <a:pt x="539" y="777"/>
                    </a:lnTo>
                    <a:lnTo>
                      <a:pt x="538" y="777"/>
                    </a:lnTo>
                    <a:lnTo>
                      <a:pt x="536" y="777"/>
                    </a:lnTo>
                    <a:lnTo>
                      <a:pt x="536" y="775"/>
                    </a:lnTo>
                    <a:lnTo>
                      <a:pt x="534" y="774"/>
                    </a:lnTo>
                    <a:lnTo>
                      <a:pt x="533" y="774"/>
                    </a:lnTo>
                    <a:lnTo>
                      <a:pt x="531" y="774"/>
                    </a:lnTo>
                    <a:lnTo>
                      <a:pt x="531" y="772"/>
                    </a:lnTo>
                    <a:lnTo>
                      <a:pt x="531" y="770"/>
                    </a:lnTo>
                    <a:lnTo>
                      <a:pt x="529" y="770"/>
                    </a:lnTo>
                    <a:lnTo>
                      <a:pt x="529" y="769"/>
                    </a:lnTo>
                    <a:lnTo>
                      <a:pt x="527" y="769"/>
                    </a:lnTo>
                    <a:lnTo>
                      <a:pt x="527" y="767"/>
                    </a:lnTo>
                    <a:lnTo>
                      <a:pt x="527" y="765"/>
                    </a:lnTo>
                    <a:lnTo>
                      <a:pt x="527" y="763"/>
                    </a:lnTo>
                    <a:lnTo>
                      <a:pt x="526" y="763"/>
                    </a:lnTo>
                    <a:lnTo>
                      <a:pt x="526" y="762"/>
                    </a:lnTo>
                    <a:lnTo>
                      <a:pt x="526" y="760"/>
                    </a:lnTo>
                    <a:lnTo>
                      <a:pt x="524" y="760"/>
                    </a:lnTo>
                    <a:lnTo>
                      <a:pt x="524" y="758"/>
                    </a:lnTo>
                    <a:lnTo>
                      <a:pt x="524" y="757"/>
                    </a:lnTo>
                    <a:lnTo>
                      <a:pt x="524" y="755"/>
                    </a:lnTo>
                    <a:lnTo>
                      <a:pt x="524" y="753"/>
                    </a:lnTo>
                    <a:lnTo>
                      <a:pt x="524" y="752"/>
                    </a:lnTo>
                    <a:lnTo>
                      <a:pt x="524" y="750"/>
                    </a:lnTo>
                    <a:lnTo>
                      <a:pt x="524" y="748"/>
                    </a:lnTo>
                    <a:lnTo>
                      <a:pt x="526" y="748"/>
                    </a:lnTo>
                    <a:lnTo>
                      <a:pt x="526" y="746"/>
                    </a:lnTo>
                    <a:lnTo>
                      <a:pt x="526" y="745"/>
                    </a:lnTo>
                    <a:lnTo>
                      <a:pt x="527" y="745"/>
                    </a:lnTo>
                    <a:lnTo>
                      <a:pt x="529" y="743"/>
                    </a:lnTo>
                    <a:lnTo>
                      <a:pt x="529" y="741"/>
                    </a:lnTo>
                    <a:lnTo>
                      <a:pt x="527" y="741"/>
                    </a:lnTo>
                    <a:lnTo>
                      <a:pt x="527" y="740"/>
                    </a:lnTo>
                    <a:lnTo>
                      <a:pt x="529" y="740"/>
                    </a:lnTo>
                    <a:lnTo>
                      <a:pt x="529" y="738"/>
                    </a:lnTo>
                    <a:lnTo>
                      <a:pt x="529" y="736"/>
                    </a:lnTo>
                    <a:lnTo>
                      <a:pt x="529" y="735"/>
                    </a:lnTo>
                    <a:lnTo>
                      <a:pt x="527" y="735"/>
                    </a:lnTo>
                    <a:lnTo>
                      <a:pt x="527" y="736"/>
                    </a:lnTo>
                    <a:lnTo>
                      <a:pt x="526" y="736"/>
                    </a:lnTo>
                    <a:lnTo>
                      <a:pt x="522" y="736"/>
                    </a:lnTo>
                    <a:lnTo>
                      <a:pt x="517" y="736"/>
                    </a:lnTo>
                    <a:lnTo>
                      <a:pt x="516" y="736"/>
                    </a:lnTo>
                    <a:lnTo>
                      <a:pt x="514" y="736"/>
                    </a:lnTo>
                    <a:lnTo>
                      <a:pt x="507" y="736"/>
                    </a:lnTo>
                    <a:lnTo>
                      <a:pt x="502" y="736"/>
                    </a:lnTo>
                    <a:lnTo>
                      <a:pt x="500" y="736"/>
                    </a:lnTo>
                    <a:lnTo>
                      <a:pt x="499" y="736"/>
                    </a:lnTo>
                    <a:lnTo>
                      <a:pt x="495" y="735"/>
                    </a:lnTo>
                    <a:lnTo>
                      <a:pt x="492" y="735"/>
                    </a:lnTo>
                    <a:lnTo>
                      <a:pt x="490" y="735"/>
                    </a:lnTo>
                    <a:lnTo>
                      <a:pt x="488" y="735"/>
                    </a:lnTo>
                    <a:lnTo>
                      <a:pt x="482" y="735"/>
                    </a:lnTo>
                    <a:lnTo>
                      <a:pt x="478" y="735"/>
                    </a:lnTo>
                    <a:lnTo>
                      <a:pt x="476" y="735"/>
                    </a:lnTo>
                    <a:lnTo>
                      <a:pt x="473" y="735"/>
                    </a:lnTo>
                    <a:lnTo>
                      <a:pt x="471" y="735"/>
                    </a:lnTo>
                    <a:lnTo>
                      <a:pt x="470" y="735"/>
                    </a:lnTo>
                    <a:lnTo>
                      <a:pt x="468" y="735"/>
                    </a:lnTo>
                    <a:lnTo>
                      <a:pt x="466" y="735"/>
                    </a:lnTo>
                    <a:lnTo>
                      <a:pt x="466" y="731"/>
                    </a:lnTo>
                    <a:lnTo>
                      <a:pt x="466" y="728"/>
                    </a:lnTo>
                    <a:lnTo>
                      <a:pt x="465" y="711"/>
                    </a:lnTo>
                    <a:lnTo>
                      <a:pt x="465" y="709"/>
                    </a:lnTo>
                    <a:lnTo>
                      <a:pt x="465" y="707"/>
                    </a:lnTo>
                    <a:lnTo>
                      <a:pt x="463" y="706"/>
                    </a:lnTo>
                    <a:lnTo>
                      <a:pt x="461" y="702"/>
                    </a:lnTo>
                    <a:lnTo>
                      <a:pt x="456" y="697"/>
                    </a:lnTo>
                    <a:lnTo>
                      <a:pt x="453" y="694"/>
                    </a:lnTo>
                    <a:lnTo>
                      <a:pt x="456" y="694"/>
                    </a:lnTo>
                    <a:lnTo>
                      <a:pt x="458" y="694"/>
                    </a:lnTo>
                    <a:lnTo>
                      <a:pt x="461" y="694"/>
                    </a:lnTo>
                    <a:lnTo>
                      <a:pt x="463" y="694"/>
                    </a:lnTo>
                    <a:lnTo>
                      <a:pt x="465" y="694"/>
                    </a:lnTo>
                    <a:lnTo>
                      <a:pt x="465" y="690"/>
                    </a:lnTo>
                    <a:lnTo>
                      <a:pt x="465" y="689"/>
                    </a:lnTo>
                    <a:lnTo>
                      <a:pt x="465" y="687"/>
                    </a:lnTo>
                    <a:lnTo>
                      <a:pt x="465" y="684"/>
                    </a:lnTo>
                    <a:lnTo>
                      <a:pt x="465" y="682"/>
                    </a:lnTo>
                    <a:lnTo>
                      <a:pt x="465" y="680"/>
                    </a:lnTo>
                    <a:lnTo>
                      <a:pt x="463" y="678"/>
                    </a:lnTo>
                    <a:lnTo>
                      <a:pt x="463" y="677"/>
                    </a:lnTo>
                    <a:lnTo>
                      <a:pt x="461" y="677"/>
                    </a:lnTo>
                    <a:lnTo>
                      <a:pt x="461" y="675"/>
                    </a:lnTo>
                    <a:lnTo>
                      <a:pt x="461" y="673"/>
                    </a:lnTo>
                    <a:lnTo>
                      <a:pt x="461" y="672"/>
                    </a:lnTo>
                    <a:lnTo>
                      <a:pt x="459" y="672"/>
                    </a:lnTo>
                    <a:lnTo>
                      <a:pt x="459" y="670"/>
                    </a:lnTo>
                    <a:lnTo>
                      <a:pt x="459" y="668"/>
                    </a:lnTo>
                    <a:lnTo>
                      <a:pt x="458" y="668"/>
                    </a:lnTo>
                    <a:lnTo>
                      <a:pt x="458" y="667"/>
                    </a:lnTo>
                    <a:lnTo>
                      <a:pt x="458" y="665"/>
                    </a:lnTo>
                    <a:lnTo>
                      <a:pt x="458" y="663"/>
                    </a:lnTo>
                    <a:lnTo>
                      <a:pt x="456" y="663"/>
                    </a:lnTo>
                    <a:lnTo>
                      <a:pt x="456" y="661"/>
                    </a:lnTo>
                    <a:lnTo>
                      <a:pt x="456" y="660"/>
                    </a:lnTo>
                    <a:lnTo>
                      <a:pt x="456" y="658"/>
                    </a:lnTo>
                    <a:lnTo>
                      <a:pt x="458" y="658"/>
                    </a:lnTo>
                    <a:lnTo>
                      <a:pt x="458" y="656"/>
                    </a:lnTo>
                    <a:lnTo>
                      <a:pt x="459" y="656"/>
                    </a:lnTo>
                    <a:lnTo>
                      <a:pt x="459" y="655"/>
                    </a:lnTo>
                    <a:lnTo>
                      <a:pt x="458" y="655"/>
                    </a:lnTo>
                    <a:lnTo>
                      <a:pt x="458" y="653"/>
                    </a:lnTo>
                    <a:lnTo>
                      <a:pt x="458" y="651"/>
                    </a:lnTo>
                    <a:lnTo>
                      <a:pt x="456" y="651"/>
                    </a:lnTo>
                    <a:lnTo>
                      <a:pt x="458" y="651"/>
                    </a:lnTo>
                    <a:lnTo>
                      <a:pt x="456" y="650"/>
                    </a:lnTo>
                    <a:lnTo>
                      <a:pt x="456" y="651"/>
                    </a:lnTo>
                    <a:lnTo>
                      <a:pt x="456" y="650"/>
                    </a:lnTo>
                    <a:lnTo>
                      <a:pt x="458" y="650"/>
                    </a:lnTo>
                    <a:lnTo>
                      <a:pt x="456" y="650"/>
                    </a:lnTo>
                    <a:lnTo>
                      <a:pt x="458" y="650"/>
                    </a:lnTo>
                    <a:lnTo>
                      <a:pt x="456" y="650"/>
                    </a:lnTo>
                    <a:lnTo>
                      <a:pt x="458" y="648"/>
                    </a:lnTo>
                    <a:lnTo>
                      <a:pt x="456" y="648"/>
                    </a:lnTo>
                    <a:lnTo>
                      <a:pt x="454" y="648"/>
                    </a:lnTo>
                    <a:lnTo>
                      <a:pt x="453" y="646"/>
                    </a:lnTo>
                    <a:lnTo>
                      <a:pt x="451" y="646"/>
                    </a:lnTo>
                    <a:lnTo>
                      <a:pt x="449" y="646"/>
                    </a:lnTo>
                    <a:lnTo>
                      <a:pt x="449" y="644"/>
                    </a:lnTo>
                    <a:lnTo>
                      <a:pt x="449" y="646"/>
                    </a:lnTo>
                    <a:lnTo>
                      <a:pt x="449" y="644"/>
                    </a:lnTo>
                    <a:lnTo>
                      <a:pt x="448" y="644"/>
                    </a:lnTo>
                    <a:lnTo>
                      <a:pt x="446" y="644"/>
                    </a:lnTo>
                    <a:lnTo>
                      <a:pt x="446" y="643"/>
                    </a:lnTo>
                    <a:lnTo>
                      <a:pt x="444" y="643"/>
                    </a:lnTo>
                    <a:lnTo>
                      <a:pt x="442" y="643"/>
                    </a:lnTo>
                    <a:lnTo>
                      <a:pt x="442" y="641"/>
                    </a:lnTo>
                    <a:lnTo>
                      <a:pt x="442" y="639"/>
                    </a:lnTo>
                    <a:lnTo>
                      <a:pt x="441" y="639"/>
                    </a:lnTo>
                    <a:lnTo>
                      <a:pt x="439" y="639"/>
                    </a:lnTo>
                    <a:lnTo>
                      <a:pt x="439" y="638"/>
                    </a:lnTo>
                    <a:lnTo>
                      <a:pt x="437" y="638"/>
                    </a:lnTo>
                    <a:lnTo>
                      <a:pt x="437" y="639"/>
                    </a:lnTo>
                    <a:lnTo>
                      <a:pt x="437" y="638"/>
                    </a:lnTo>
                    <a:lnTo>
                      <a:pt x="436" y="638"/>
                    </a:lnTo>
                    <a:lnTo>
                      <a:pt x="436" y="639"/>
                    </a:lnTo>
                    <a:lnTo>
                      <a:pt x="434" y="639"/>
                    </a:lnTo>
                    <a:lnTo>
                      <a:pt x="434" y="638"/>
                    </a:lnTo>
                    <a:lnTo>
                      <a:pt x="434" y="639"/>
                    </a:lnTo>
                    <a:lnTo>
                      <a:pt x="432" y="639"/>
                    </a:lnTo>
                    <a:lnTo>
                      <a:pt x="432" y="638"/>
                    </a:lnTo>
                    <a:lnTo>
                      <a:pt x="432" y="639"/>
                    </a:lnTo>
                    <a:lnTo>
                      <a:pt x="431" y="639"/>
                    </a:lnTo>
                    <a:lnTo>
                      <a:pt x="431" y="638"/>
                    </a:lnTo>
                    <a:lnTo>
                      <a:pt x="429" y="638"/>
                    </a:lnTo>
                    <a:lnTo>
                      <a:pt x="427" y="638"/>
                    </a:lnTo>
                    <a:lnTo>
                      <a:pt x="427" y="639"/>
                    </a:lnTo>
                    <a:lnTo>
                      <a:pt x="425" y="639"/>
                    </a:lnTo>
                    <a:lnTo>
                      <a:pt x="424" y="639"/>
                    </a:lnTo>
                    <a:lnTo>
                      <a:pt x="422" y="639"/>
                    </a:lnTo>
                    <a:lnTo>
                      <a:pt x="420" y="639"/>
                    </a:lnTo>
                    <a:lnTo>
                      <a:pt x="419" y="638"/>
                    </a:lnTo>
                    <a:lnTo>
                      <a:pt x="419" y="639"/>
                    </a:lnTo>
                    <a:lnTo>
                      <a:pt x="417" y="638"/>
                    </a:lnTo>
                    <a:lnTo>
                      <a:pt x="417" y="639"/>
                    </a:lnTo>
                    <a:lnTo>
                      <a:pt x="417" y="638"/>
                    </a:lnTo>
                    <a:lnTo>
                      <a:pt x="415" y="638"/>
                    </a:lnTo>
                    <a:lnTo>
                      <a:pt x="415" y="639"/>
                    </a:lnTo>
                    <a:lnTo>
                      <a:pt x="414" y="639"/>
                    </a:lnTo>
                    <a:lnTo>
                      <a:pt x="412" y="639"/>
                    </a:lnTo>
                    <a:lnTo>
                      <a:pt x="410" y="639"/>
                    </a:lnTo>
                    <a:lnTo>
                      <a:pt x="410" y="638"/>
                    </a:lnTo>
                    <a:lnTo>
                      <a:pt x="408" y="638"/>
                    </a:lnTo>
                    <a:lnTo>
                      <a:pt x="408" y="636"/>
                    </a:lnTo>
                    <a:lnTo>
                      <a:pt x="407" y="634"/>
                    </a:lnTo>
                    <a:lnTo>
                      <a:pt x="407" y="636"/>
                    </a:lnTo>
                    <a:lnTo>
                      <a:pt x="407" y="634"/>
                    </a:lnTo>
                    <a:lnTo>
                      <a:pt x="405" y="632"/>
                    </a:lnTo>
                    <a:lnTo>
                      <a:pt x="405" y="634"/>
                    </a:lnTo>
                    <a:lnTo>
                      <a:pt x="405" y="632"/>
                    </a:lnTo>
                    <a:lnTo>
                      <a:pt x="403" y="632"/>
                    </a:lnTo>
                    <a:lnTo>
                      <a:pt x="403" y="631"/>
                    </a:lnTo>
                    <a:lnTo>
                      <a:pt x="402" y="631"/>
                    </a:lnTo>
                    <a:lnTo>
                      <a:pt x="402" y="629"/>
                    </a:lnTo>
                    <a:lnTo>
                      <a:pt x="402" y="627"/>
                    </a:lnTo>
                    <a:lnTo>
                      <a:pt x="402" y="626"/>
                    </a:lnTo>
                    <a:lnTo>
                      <a:pt x="400" y="626"/>
                    </a:lnTo>
                    <a:lnTo>
                      <a:pt x="400" y="624"/>
                    </a:lnTo>
                    <a:lnTo>
                      <a:pt x="398" y="624"/>
                    </a:lnTo>
                    <a:lnTo>
                      <a:pt x="400" y="626"/>
                    </a:lnTo>
                    <a:lnTo>
                      <a:pt x="398" y="626"/>
                    </a:lnTo>
                    <a:lnTo>
                      <a:pt x="398" y="624"/>
                    </a:lnTo>
                    <a:lnTo>
                      <a:pt x="397" y="624"/>
                    </a:lnTo>
                    <a:lnTo>
                      <a:pt x="397" y="626"/>
                    </a:lnTo>
                    <a:lnTo>
                      <a:pt x="395" y="626"/>
                    </a:lnTo>
                    <a:lnTo>
                      <a:pt x="393" y="626"/>
                    </a:lnTo>
                    <a:lnTo>
                      <a:pt x="391" y="626"/>
                    </a:lnTo>
                    <a:lnTo>
                      <a:pt x="391" y="624"/>
                    </a:lnTo>
                    <a:lnTo>
                      <a:pt x="391" y="626"/>
                    </a:lnTo>
                    <a:lnTo>
                      <a:pt x="391" y="624"/>
                    </a:lnTo>
                    <a:lnTo>
                      <a:pt x="390" y="624"/>
                    </a:lnTo>
                    <a:lnTo>
                      <a:pt x="390" y="622"/>
                    </a:lnTo>
                    <a:lnTo>
                      <a:pt x="390" y="624"/>
                    </a:lnTo>
                    <a:lnTo>
                      <a:pt x="388" y="624"/>
                    </a:lnTo>
                    <a:lnTo>
                      <a:pt x="388" y="622"/>
                    </a:lnTo>
                    <a:lnTo>
                      <a:pt x="386" y="624"/>
                    </a:lnTo>
                    <a:lnTo>
                      <a:pt x="386" y="622"/>
                    </a:lnTo>
                    <a:lnTo>
                      <a:pt x="385" y="622"/>
                    </a:lnTo>
                    <a:lnTo>
                      <a:pt x="385" y="621"/>
                    </a:lnTo>
                    <a:lnTo>
                      <a:pt x="383" y="621"/>
                    </a:lnTo>
                    <a:lnTo>
                      <a:pt x="383" y="619"/>
                    </a:lnTo>
                    <a:lnTo>
                      <a:pt x="383" y="621"/>
                    </a:lnTo>
                    <a:lnTo>
                      <a:pt x="381" y="621"/>
                    </a:lnTo>
                    <a:lnTo>
                      <a:pt x="381" y="622"/>
                    </a:lnTo>
                    <a:lnTo>
                      <a:pt x="380" y="621"/>
                    </a:lnTo>
                    <a:lnTo>
                      <a:pt x="378" y="621"/>
                    </a:lnTo>
                    <a:lnTo>
                      <a:pt x="378" y="619"/>
                    </a:lnTo>
                    <a:lnTo>
                      <a:pt x="376" y="619"/>
                    </a:lnTo>
                    <a:lnTo>
                      <a:pt x="376" y="617"/>
                    </a:lnTo>
                    <a:lnTo>
                      <a:pt x="374" y="617"/>
                    </a:lnTo>
                    <a:lnTo>
                      <a:pt x="374" y="615"/>
                    </a:lnTo>
                    <a:lnTo>
                      <a:pt x="373" y="615"/>
                    </a:lnTo>
                    <a:lnTo>
                      <a:pt x="371" y="615"/>
                    </a:lnTo>
                    <a:lnTo>
                      <a:pt x="371" y="614"/>
                    </a:lnTo>
                    <a:lnTo>
                      <a:pt x="371" y="612"/>
                    </a:lnTo>
                    <a:lnTo>
                      <a:pt x="369" y="612"/>
                    </a:lnTo>
                    <a:lnTo>
                      <a:pt x="369" y="610"/>
                    </a:lnTo>
                    <a:lnTo>
                      <a:pt x="368" y="610"/>
                    </a:lnTo>
                    <a:lnTo>
                      <a:pt x="368" y="609"/>
                    </a:lnTo>
                    <a:lnTo>
                      <a:pt x="366" y="609"/>
                    </a:lnTo>
                    <a:lnTo>
                      <a:pt x="366" y="607"/>
                    </a:lnTo>
                    <a:lnTo>
                      <a:pt x="366" y="609"/>
                    </a:lnTo>
                    <a:lnTo>
                      <a:pt x="364" y="607"/>
                    </a:lnTo>
                    <a:lnTo>
                      <a:pt x="364" y="609"/>
                    </a:lnTo>
                    <a:lnTo>
                      <a:pt x="363" y="609"/>
                    </a:lnTo>
                    <a:lnTo>
                      <a:pt x="364" y="610"/>
                    </a:lnTo>
                    <a:lnTo>
                      <a:pt x="363" y="610"/>
                    </a:lnTo>
                    <a:lnTo>
                      <a:pt x="361" y="610"/>
                    </a:lnTo>
                    <a:lnTo>
                      <a:pt x="361" y="609"/>
                    </a:lnTo>
                    <a:lnTo>
                      <a:pt x="359" y="609"/>
                    </a:lnTo>
                    <a:lnTo>
                      <a:pt x="357" y="609"/>
                    </a:lnTo>
                    <a:lnTo>
                      <a:pt x="357" y="607"/>
                    </a:lnTo>
                    <a:lnTo>
                      <a:pt x="356" y="607"/>
                    </a:lnTo>
                    <a:lnTo>
                      <a:pt x="357" y="607"/>
                    </a:lnTo>
                    <a:lnTo>
                      <a:pt x="357" y="605"/>
                    </a:lnTo>
                    <a:lnTo>
                      <a:pt x="356" y="605"/>
                    </a:lnTo>
                    <a:lnTo>
                      <a:pt x="354" y="605"/>
                    </a:lnTo>
                    <a:lnTo>
                      <a:pt x="354" y="604"/>
                    </a:lnTo>
                    <a:lnTo>
                      <a:pt x="352" y="604"/>
                    </a:lnTo>
                    <a:lnTo>
                      <a:pt x="351" y="604"/>
                    </a:lnTo>
                    <a:lnTo>
                      <a:pt x="351" y="602"/>
                    </a:lnTo>
                    <a:lnTo>
                      <a:pt x="349" y="602"/>
                    </a:lnTo>
                    <a:lnTo>
                      <a:pt x="347" y="602"/>
                    </a:lnTo>
                    <a:lnTo>
                      <a:pt x="346" y="602"/>
                    </a:lnTo>
                    <a:lnTo>
                      <a:pt x="346" y="600"/>
                    </a:lnTo>
                    <a:lnTo>
                      <a:pt x="344" y="602"/>
                    </a:lnTo>
                    <a:lnTo>
                      <a:pt x="342" y="602"/>
                    </a:lnTo>
                    <a:lnTo>
                      <a:pt x="340" y="604"/>
                    </a:lnTo>
                    <a:lnTo>
                      <a:pt x="339" y="604"/>
                    </a:lnTo>
                    <a:lnTo>
                      <a:pt x="337" y="604"/>
                    </a:lnTo>
                    <a:lnTo>
                      <a:pt x="335" y="604"/>
                    </a:lnTo>
                    <a:lnTo>
                      <a:pt x="334" y="604"/>
                    </a:lnTo>
                    <a:lnTo>
                      <a:pt x="334" y="602"/>
                    </a:lnTo>
                    <a:lnTo>
                      <a:pt x="334" y="604"/>
                    </a:lnTo>
                    <a:lnTo>
                      <a:pt x="332" y="604"/>
                    </a:lnTo>
                    <a:lnTo>
                      <a:pt x="332" y="602"/>
                    </a:lnTo>
                    <a:lnTo>
                      <a:pt x="330" y="602"/>
                    </a:lnTo>
                    <a:lnTo>
                      <a:pt x="329" y="602"/>
                    </a:lnTo>
                    <a:lnTo>
                      <a:pt x="329" y="604"/>
                    </a:lnTo>
                    <a:lnTo>
                      <a:pt x="327" y="604"/>
                    </a:lnTo>
                    <a:lnTo>
                      <a:pt x="329" y="602"/>
                    </a:lnTo>
                    <a:lnTo>
                      <a:pt x="327" y="602"/>
                    </a:lnTo>
                    <a:lnTo>
                      <a:pt x="325" y="602"/>
                    </a:lnTo>
                    <a:lnTo>
                      <a:pt x="323" y="602"/>
                    </a:lnTo>
                    <a:lnTo>
                      <a:pt x="323" y="600"/>
                    </a:lnTo>
                    <a:lnTo>
                      <a:pt x="322" y="600"/>
                    </a:lnTo>
                    <a:lnTo>
                      <a:pt x="322" y="598"/>
                    </a:lnTo>
                    <a:lnTo>
                      <a:pt x="320" y="598"/>
                    </a:lnTo>
                    <a:lnTo>
                      <a:pt x="322" y="597"/>
                    </a:lnTo>
                    <a:lnTo>
                      <a:pt x="322" y="595"/>
                    </a:lnTo>
                    <a:lnTo>
                      <a:pt x="320" y="595"/>
                    </a:lnTo>
                    <a:lnTo>
                      <a:pt x="320" y="593"/>
                    </a:lnTo>
                    <a:lnTo>
                      <a:pt x="320" y="595"/>
                    </a:lnTo>
                    <a:lnTo>
                      <a:pt x="318" y="595"/>
                    </a:lnTo>
                    <a:lnTo>
                      <a:pt x="318" y="593"/>
                    </a:lnTo>
                    <a:lnTo>
                      <a:pt x="317" y="593"/>
                    </a:lnTo>
                    <a:lnTo>
                      <a:pt x="315" y="593"/>
                    </a:lnTo>
                    <a:lnTo>
                      <a:pt x="313" y="592"/>
                    </a:lnTo>
                    <a:lnTo>
                      <a:pt x="313" y="590"/>
                    </a:lnTo>
                    <a:lnTo>
                      <a:pt x="315" y="590"/>
                    </a:lnTo>
                    <a:lnTo>
                      <a:pt x="313" y="590"/>
                    </a:lnTo>
                    <a:lnTo>
                      <a:pt x="313" y="588"/>
                    </a:lnTo>
                    <a:lnTo>
                      <a:pt x="313" y="590"/>
                    </a:lnTo>
                    <a:lnTo>
                      <a:pt x="313" y="592"/>
                    </a:lnTo>
                    <a:lnTo>
                      <a:pt x="312" y="592"/>
                    </a:lnTo>
                    <a:lnTo>
                      <a:pt x="312" y="590"/>
                    </a:lnTo>
                    <a:lnTo>
                      <a:pt x="312" y="588"/>
                    </a:lnTo>
                    <a:lnTo>
                      <a:pt x="310" y="588"/>
                    </a:lnTo>
                    <a:lnTo>
                      <a:pt x="310" y="590"/>
                    </a:lnTo>
                    <a:lnTo>
                      <a:pt x="310" y="588"/>
                    </a:lnTo>
                    <a:lnTo>
                      <a:pt x="310" y="587"/>
                    </a:lnTo>
                    <a:lnTo>
                      <a:pt x="308" y="587"/>
                    </a:lnTo>
                    <a:lnTo>
                      <a:pt x="306" y="587"/>
                    </a:lnTo>
                    <a:lnTo>
                      <a:pt x="305" y="587"/>
                    </a:lnTo>
                    <a:lnTo>
                      <a:pt x="303" y="587"/>
                    </a:lnTo>
                    <a:lnTo>
                      <a:pt x="303" y="585"/>
                    </a:lnTo>
                    <a:lnTo>
                      <a:pt x="303" y="583"/>
                    </a:lnTo>
                    <a:lnTo>
                      <a:pt x="303" y="581"/>
                    </a:lnTo>
                    <a:lnTo>
                      <a:pt x="301" y="581"/>
                    </a:lnTo>
                    <a:lnTo>
                      <a:pt x="301" y="580"/>
                    </a:lnTo>
                    <a:lnTo>
                      <a:pt x="301" y="578"/>
                    </a:lnTo>
                    <a:lnTo>
                      <a:pt x="301" y="576"/>
                    </a:lnTo>
                    <a:lnTo>
                      <a:pt x="300" y="576"/>
                    </a:lnTo>
                    <a:lnTo>
                      <a:pt x="298" y="576"/>
                    </a:lnTo>
                    <a:lnTo>
                      <a:pt x="298" y="578"/>
                    </a:lnTo>
                    <a:lnTo>
                      <a:pt x="296" y="578"/>
                    </a:lnTo>
                    <a:lnTo>
                      <a:pt x="296" y="576"/>
                    </a:lnTo>
                    <a:lnTo>
                      <a:pt x="295" y="576"/>
                    </a:lnTo>
                    <a:lnTo>
                      <a:pt x="296" y="575"/>
                    </a:lnTo>
                    <a:lnTo>
                      <a:pt x="296" y="573"/>
                    </a:lnTo>
                    <a:lnTo>
                      <a:pt x="296" y="571"/>
                    </a:lnTo>
                    <a:lnTo>
                      <a:pt x="296" y="570"/>
                    </a:lnTo>
                    <a:lnTo>
                      <a:pt x="295" y="570"/>
                    </a:lnTo>
                    <a:lnTo>
                      <a:pt x="293" y="568"/>
                    </a:lnTo>
                    <a:lnTo>
                      <a:pt x="293" y="566"/>
                    </a:lnTo>
                    <a:lnTo>
                      <a:pt x="293" y="564"/>
                    </a:lnTo>
                    <a:lnTo>
                      <a:pt x="293" y="563"/>
                    </a:lnTo>
                    <a:lnTo>
                      <a:pt x="295" y="563"/>
                    </a:lnTo>
                    <a:lnTo>
                      <a:pt x="293" y="563"/>
                    </a:lnTo>
                    <a:lnTo>
                      <a:pt x="293" y="561"/>
                    </a:lnTo>
                    <a:lnTo>
                      <a:pt x="291" y="561"/>
                    </a:lnTo>
                    <a:lnTo>
                      <a:pt x="291" y="559"/>
                    </a:lnTo>
                    <a:lnTo>
                      <a:pt x="293" y="559"/>
                    </a:lnTo>
                    <a:lnTo>
                      <a:pt x="293" y="558"/>
                    </a:lnTo>
                    <a:lnTo>
                      <a:pt x="291" y="558"/>
                    </a:lnTo>
                    <a:lnTo>
                      <a:pt x="291" y="556"/>
                    </a:lnTo>
                    <a:lnTo>
                      <a:pt x="293" y="556"/>
                    </a:lnTo>
                    <a:lnTo>
                      <a:pt x="295" y="554"/>
                    </a:lnTo>
                    <a:lnTo>
                      <a:pt x="295" y="553"/>
                    </a:lnTo>
                    <a:lnTo>
                      <a:pt x="296" y="551"/>
                    </a:lnTo>
                    <a:lnTo>
                      <a:pt x="295" y="551"/>
                    </a:lnTo>
                    <a:lnTo>
                      <a:pt x="295" y="549"/>
                    </a:lnTo>
                    <a:lnTo>
                      <a:pt x="295" y="547"/>
                    </a:lnTo>
                    <a:lnTo>
                      <a:pt x="295" y="546"/>
                    </a:lnTo>
                    <a:lnTo>
                      <a:pt x="293" y="546"/>
                    </a:lnTo>
                    <a:lnTo>
                      <a:pt x="293" y="544"/>
                    </a:lnTo>
                    <a:lnTo>
                      <a:pt x="293" y="542"/>
                    </a:lnTo>
                    <a:lnTo>
                      <a:pt x="293" y="541"/>
                    </a:lnTo>
                    <a:lnTo>
                      <a:pt x="291" y="539"/>
                    </a:lnTo>
                    <a:lnTo>
                      <a:pt x="289" y="537"/>
                    </a:lnTo>
                    <a:lnTo>
                      <a:pt x="291" y="537"/>
                    </a:lnTo>
                    <a:lnTo>
                      <a:pt x="291" y="536"/>
                    </a:lnTo>
                    <a:lnTo>
                      <a:pt x="289" y="536"/>
                    </a:lnTo>
                    <a:lnTo>
                      <a:pt x="289" y="534"/>
                    </a:lnTo>
                    <a:lnTo>
                      <a:pt x="291" y="534"/>
                    </a:lnTo>
                    <a:lnTo>
                      <a:pt x="291" y="532"/>
                    </a:lnTo>
                    <a:lnTo>
                      <a:pt x="291" y="530"/>
                    </a:lnTo>
                    <a:lnTo>
                      <a:pt x="291" y="529"/>
                    </a:lnTo>
                    <a:lnTo>
                      <a:pt x="293" y="529"/>
                    </a:lnTo>
                    <a:lnTo>
                      <a:pt x="293" y="527"/>
                    </a:lnTo>
                    <a:lnTo>
                      <a:pt x="293" y="525"/>
                    </a:lnTo>
                    <a:lnTo>
                      <a:pt x="295" y="525"/>
                    </a:lnTo>
                    <a:lnTo>
                      <a:pt x="295" y="524"/>
                    </a:lnTo>
                    <a:lnTo>
                      <a:pt x="293" y="524"/>
                    </a:lnTo>
                    <a:lnTo>
                      <a:pt x="295" y="522"/>
                    </a:lnTo>
                    <a:lnTo>
                      <a:pt x="295" y="520"/>
                    </a:lnTo>
                    <a:lnTo>
                      <a:pt x="293" y="520"/>
                    </a:lnTo>
                    <a:lnTo>
                      <a:pt x="293" y="519"/>
                    </a:lnTo>
                    <a:lnTo>
                      <a:pt x="293" y="517"/>
                    </a:lnTo>
                    <a:lnTo>
                      <a:pt x="293" y="515"/>
                    </a:lnTo>
                    <a:lnTo>
                      <a:pt x="293" y="513"/>
                    </a:lnTo>
                    <a:lnTo>
                      <a:pt x="295" y="513"/>
                    </a:lnTo>
                    <a:lnTo>
                      <a:pt x="295" y="512"/>
                    </a:lnTo>
                    <a:lnTo>
                      <a:pt x="293" y="512"/>
                    </a:lnTo>
                    <a:lnTo>
                      <a:pt x="293" y="510"/>
                    </a:lnTo>
                    <a:lnTo>
                      <a:pt x="293" y="508"/>
                    </a:lnTo>
                    <a:lnTo>
                      <a:pt x="291" y="508"/>
                    </a:lnTo>
                    <a:lnTo>
                      <a:pt x="291" y="507"/>
                    </a:lnTo>
                    <a:lnTo>
                      <a:pt x="289" y="507"/>
                    </a:lnTo>
                    <a:lnTo>
                      <a:pt x="288" y="507"/>
                    </a:lnTo>
                    <a:lnTo>
                      <a:pt x="288" y="508"/>
                    </a:lnTo>
                    <a:lnTo>
                      <a:pt x="288" y="507"/>
                    </a:lnTo>
                    <a:lnTo>
                      <a:pt x="288" y="508"/>
                    </a:lnTo>
                    <a:lnTo>
                      <a:pt x="288" y="510"/>
                    </a:lnTo>
                    <a:lnTo>
                      <a:pt x="286" y="510"/>
                    </a:lnTo>
                    <a:lnTo>
                      <a:pt x="284" y="510"/>
                    </a:lnTo>
                    <a:lnTo>
                      <a:pt x="284" y="512"/>
                    </a:lnTo>
                    <a:lnTo>
                      <a:pt x="286" y="512"/>
                    </a:lnTo>
                    <a:lnTo>
                      <a:pt x="284" y="512"/>
                    </a:lnTo>
                    <a:lnTo>
                      <a:pt x="283" y="512"/>
                    </a:lnTo>
                    <a:lnTo>
                      <a:pt x="283" y="510"/>
                    </a:lnTo>
                    <a:lnTo>
                      <a:pt x="283" y="512"/>
                    </a:lnTo>
                    <a:lnTo>
                      <a:pt x="283" y="510"/>
                    </a:lnTo>
                    <a:lnTo>
                      <a:pt x="281" y="510"/>
                    </a:lnTo>
                    <a:lnTo>
                      <a:pt x="281" y="512"/>
                    </a:lnTo>
                    <a:lnTo>
                      <a:pt x="279" y="510"/>
                    </a:lnTo>
                    <a:lnTo>
                      <a:pt x="281" y="510"/>
                    </a:lnTo>
                    <a:lnTo>
                      <a:pt x="279" y="510"/>
                    </a:lnTo>
                    <a:lnTo>
                      <a:pt x="281" y="510"/>
                    </a:lnTo>
                    <a:lnTo>
                      <a:pt x="281" y="508"/>
                    </a:lnTo>
                    <a:lnTo>
                      <a:pt x="279" y="508"/>
                    </a:lnTo>
                    <a:lnTo>
                      <a:pt x="279" y="510"/>
                    </a:lnTo>
                    <a:lnTo>
                      <a:pt x="278" y="508"/>
                    </a:lnTo>
                    <a:lnTo>
                      <a:pt x="278" y="510"/>
                    </a:lnTo>
                    <a:lnTo>
                      <a:pt x="276" y="510"/>
                    </a:lnTo>
                    <a:lnTo>
                      <a:pt x="278" y="508"/>
                    </a:lnTo>
                    <a:lnTo>
                      <a:pt x="276" y="508"/>
                    </a:lnTo>
                    <a:lnTo>
                      <a:pt x="276" y="510"/>
                    </a:lnTo>
                    <a:lnTo>
                      <a:pt x="274" y="510"/>
                    </a:lnTo>
                    <a:lnTo>
                      <a:pt x="274" y="508"/>
                    </a:lnTo>
                    <a:lnTo>
                      <a:pt x="274" y="510"/>
                    </a:lnTo>
                    <a:lnTo>
                      <a:pt x="272" y="508"/>
                    </a:lnTo>
                    <a:lnTo>
                      <a:pt x="272" y="510"/>
                    </a:lnTo>
                    <a:lnTo>
                      <a:pt x="272" y="508"/>
                    </a:lnTo>
                    <a:lnTo>
                      <a:pt x="272" y="510"/>
                    </a:lnTo>
                    <a:lnTo>
                      <a:pt x="271" y="510"/>
                    </a:lnTo>
                    <a:lnTo>
                      <a:pt x="269" y="510"/>
                    </a:lnTo>
                    <a:lnTo>
                      <a:pt x="269" y="512"/>
                    </a:lnTo>
                    <a:lnTo>
                      <a:pt x="269" y="510"/>
                    </a:lnTo>
                    <a:lnTo>
                      <a:pt x="267" y="510"/>
                    </a:lnTo>
                    <a:lnTo>
                      <a:pt x="267" y="512"/>
                    </a:lnTo>
                    <a:lnTo>
                      <a:pt x="267" y="510"/>
                    </a:lnTo>
                    <a:lnTo>
                      <a:pt x="266" y="510"/>
                    </a:lnTo>
                    <a:lnTo>
                      <a:pt x="264" y="510"/>
                    </a:lnTo>
                    <a:lnTo>
                      <a:pt x="264" y="512"/>
                    </a:lnTo>
                    <a:lnTo>
                      <a:pt x="262" y="512"/>
                    </a:lnTo>
                    <a:lnTo>
                      <a:pt x="262" y="510"/>
                    </a:lnTo>
                    <a:lnTo>
                      <a:pt x="262" y="512"/>
                    </a:lnTo>
                    <a:lnTo>
                      <a:pt x="261" y="512"/>
                    </a:lnTo>
                    <a:lnTo>
                      <a:pt x="259" y="512"/>
                    </a:lnTo>
                    <a:lnTo>
                      <a:pt x="259" y="513"/>
                    </a:lnTo>
                    <a:lnTo>
                      <a:pt x="257" y="513"/>
                    </a:lnTo>
                    <a:lnTo>
                      <a:pt x="255" y="513"/>
                    </a:lnTo>
                    <a:lnTo>
                      <a:pt x="257" y="513"/>
                    </a:lnTo>
                    <a:lnTo>
                      <a:pt x="255" y="513"/>
                    </a:lnTo>
                    <a:lnTo>
                      <a:pt x="254" y="513"/>
                    </a:lnTo>
                    <a:lnTo>
                      <a:pt x="252" y="513"/>
                    </a:lnTo>
                    <a:lnTo>
                      <a:pt x="250" y="513"/>
                    </a:lnTo>
                    <a:lnTo>
                      <a:pt x="249" y="513"/>
                    </a:lnTo>
                    <a:lnTo>
                      <a:pt x="249" y="515"/>
                    </a:lnTo>
                    <a:lnTo>
                      <a:pt x="247" y="515"/>
                    </a:lnTo>
                    <a:lnTo>
                      <a:pt x="247" y="517"/>
                    </a:lnTo>
                    <a:lnTo>
                      <a:pt x="245" y="517"/>
                    </a:lnTo>
                    <a:lnTo>
                      <a:pt x="244" y="519"/>
                    </a:lnTo>
                    <a:lnTo>
                      <a:pt x="242" y="519"/>
                    </a:lnTo>
                    <a:lnTo>
                      <a:pt x="242" y="520"/>
                    </a:lnTo>
                    <a:lnTo>
                      <a:pt x="240" y="520"/>
                    </a:lnTo>
                    <a:lnTo>
                      <a:pt x="240" y="522"/>
                    </a:lnTo>
                    <a:lnTo>
                      <a:pt x="238" y="522"/>
                    </a:lnTo>
                    <a:lnTo>
                      <a:pt x="240" y="522"/>
                    </a:lnTo>
                    <a:lnTo>
                      <a:pt x="238" y="522"/>
                    </a:lnTo>
                    <a:lnTo>
                      <a:pt x="238" y="524"/>
                    </a:lnTo>
                    <a:lnTo>
                      <a:pt x="237" y="524"/>
                    </a:lnTo>
                    <a:lnTo>
                      <a:pt x="237" y="525"/>
                    </a:lnTo>
                    <a:lnTo>
                      <a:pt x="235" y="527"/>
                    </a:lnTo>
                    <a:lnTo>
                      <a:pt x="233" y="527"/>
                    </a:lnTo>
                    <a:lnTo>
                      <a:pt x="232" y="527"/>
                    </a:lnTo>
                    <a:lnTo>
                      <a:pt x="232" y="529"/>
                    </a:lnTo>
                    <a:lnTo>
                      <a:pt x="230" y="529"/>
                    </a:lnTo>
                    <a:lnTo>
                      <a:pt x="228" y="529"/>
                    </a:lnTo>
                    <a:lnTo>
                      <a:pt x="227" y="529"/>
                    </a:lnTo>
                    <a:lnTo>
                      <a:pt x="225" y="529"/>
                    </a:lnTo>
                    <a:lnTo>
                      <a:pt x="227" y="529"/>
                    </a:lnTo>
                    <a:lnTo>
                      <a:pt x="227" y="530"/>
                    </a:lnTo>
                    <a:lnTo>
                      <a:pt x="225" y="530"/>
                    </a:lnTo>
                    <a:lnTo>
                      <a:pt x="223" y="530"/>
                    </a:lnTo>
                    <a:lnTo>
                      <a:pt x="221" y="530"/>
                    </a:lnTo>
                    <a:lnTo>
                      <a:pt x="223" y="530"/>
                    </a:lnTo>
                    <a:lnTo>
                      <a:pt x="223" y="532"/>
                    </a:lnTo>
                    <a:lnTo>
                      <a:pt x="221" y="532"/>
                    </a:lnTo>
                    <a:lnTo>
                      <a:pt x="221" y="534"/>
                    </a:lnTo>
                    <a:lnTo>
                      <a:pt x="221" y="532"/>
                    </a:lnTo>
                    <a:lnTo>
                      <a:pt x="220" y="534"/>
                    </a:lnTo>
                    <a:lnTo>
                      <a:pt x="218" y="534"/>
                    </a:lnTo>
                    <a:lnTo>
                      <a:pt x="216" y="536"/>
                    </a:lnTo>
                    <a:lnTo>
                      <a:pt x="216" y="537"/>
                    </a:lnTo>
                    <a:lnTo>
                      <a:pt x="215" y="537"/>
                    </a:lnTo>
                    <a:lnTo>
                      <a:pt x="215" y="539"/>
                    </a:lnTo>
                    <a:lnTo>
                      <a:pt x="213" y="537"/>
                    </a:lnTo>
                    <a:lnTo>
                      <a:pt x="213" y="539"/>
                    </a:lnTo>
                    <a:lnTo>
                      <a:pt x="213" y="541"/>
                    </a:lnTo>
                    <a:lnTo>
                      <a:pt x="213" y="542"/>
                    </a:lnTo>
                    <a:lnTo>
                      <a:pt x="211" y="542"/>
                    </a:lnTo>
                    <a:lnTo>
                      <a:pt x="211" y="541"/>
                    </a:lnTo>
                    <a:lnTo>
                      <a:pt x="210" y="541"/>
                    </a:lnTo>
                    <a:lnTo>
                      <a:pt x="208" y="539"/>
                    </a:lnTo>
                    <a:lnTo>
                      <a:pt x="206" y="539"/>
                    </a:lnTo>
                    <a:lnTo>
                      <a:pt x="204" y="541"/>
                    </a:lnTo>
                    <a:lnTo>
                      <a:pt x="204" y="539"/>
                    </a:lnTo>
                    <a:lnTo>
                      <a:pt x="203" y="541"/>
                    </a:lnTo>
                    <a:lnTo>
                      <a:pt x="203" y="539"/>
                    </a:lnTo>
                    <a:lnTo>
                      <a:pt x="201" y="541"/>
                    </a:lnTo>
                    <a:lnTo>
                      <a:pt x="199" y="541"/>
                    </a:lnTo>
                    <a:lnTo>
                      <a:pt x="199" y="542"/>
                    </a:lnTo>
                    <a:lnTo>
                      <a:pt x="199" y="544"/>
                    </a:lnTo>
                    <a:lnTo>
                      <a:pt x="198" y="544"/>
                    </a:lnTo>
                    <a:lnTo>
                      <a:pt x="198" y="546"/>
                    </a:lnTo>
                    <a:lnTo>
                      <a:pt x="196" y="547"/>
                    </a:lnTo>
                    <a:lnTo>
                      <a:pt x="196" y="549"/>
                    </a:lnTo>
                    <a:lnTo>
                      <a:pt x="194" y="549"/>
                    </a:lnTo>
                    <a:lnTo>
                      <a:pt x="194" y="551"/>
                    </a:lnTo>
                    <a:lnTo>
                      <a:pt x="193" y="551"/>
                    </a:lnTo>
                    <a:lnTo>
                      <a:pt x="193" y="553"/>
                    </a:lnTo>
                    <a:lnTo>
                      <a:pt x="191" y="553"/>
                    </a:lnTo>
                    <a:lnTo>
                      <a:pt x="189" y="553"/>
                    </a:lnTo>
                    <a:lnTo>
                      <a:pt x="189" y="554"/>
                    </a:lnTo>
                    <a:lnTo>
                      <a:pt x="189" y="553"/>
                    </a:lnTo>
                    <a:lnTo>
                      <a:pt x="187" y="553"/>
                    </a:lnTo>
                    <a:lnTo>
                      <a:pt x="187" y="554"/>
                    </a:lnTo>
                    <a:lnTo>
                      <a:pt x="186" y="553"/>
                    </a:lnTo>
                    <a:lnTo>
                      <a:pt x="186" y="554"/>
                    </a:lnTo>
                    <a:lnTo>
                      <a:pt x="184" y="554"/>
                    </a:lnTo>
                    <a:lnTo>
                      <a:pt x="184" y="556"/>
                    </a:lnTo>
                    <a:lnTo>
                      <a:pt x="179" y="558"/>
                    </a:lnTo>
                    <a:lnTo>
                      <a:pt x="179" y="556"/>
                    </a:lnTo>
                    <a:lnTo>
                      <a:pt x="177" y="554"/>
                    </a:lnTo>
                    <a:lnTo>
                      <a:pt x="177" y="553"/>
                    </a:lnTo>
                    <a:lnTo>
                      <a:pt x="177" y="551"/>
                    </a:lnTo>
                    <a:lnTo>
                      <a:pt x="176" y="553"/>
                    </a:lnTo>
                    <a:lnTo>
                      <a:pt x="176" y="551"/>
                    </a:lnTo>
                    <a:lnTo>
                      <a:pt x="176" y="553"/>
                    </a:lnTo>
                    <a:lnTo>
                      <a:pt x="174" y="551"/>
                    </a:lnTo>
                    <a:lnTo>
                      <a:pt x="174" y="553"/>
                    </a:lnTo>
                    <a:lnTo>
                      <a:pt x="172" y="553"/>
                    </a:lnTo>
                    <a:lnTo>
                      <a:pt x="174" y="553"/>
                    </a:lnTo>
                    <a:lnTo>
                      <a:pt x="172" y="553"/>
                    </a:lnTo>
                    <a:lnTo>
                      <a:pt x="170" y="553"/>
                    </a:lnTo>
                    <a:lnTo>
                      <a:pt x="170" y="551"/>
                    </a:lnTo>
                    <a:lnTo>
                      <a:pt x="169" y="551"/>
                    </a:lnTo>
                    <a:lnTo>
                      <a:pt x="169" y="553"/>
                    </a:lnTo>
                    <a:lnTo>
                      <a:pt x="169" y="551"/>
                    </a:lnTo>
                    <a:lnTo>
                      <a:pt x="167" y="551"/>
                    </a:lnTo>
                    <a:lnTo>
                      <a:pt x="165" y="551"/>
                    </a:lnTo>
                    <a:lnTo>
                      <a:pt x="164" y="551"/>
                    </a:lnTo>
                    <a:lnTo>
                      <a:pt x="162" y="549"/>
                    </a:lnTo>
                    <a:lnTo>
                      <a:pt x="162" y="551"/>
                    </a:lnTo>
                    <a:lnTo>
                      <a:pt x="162" y="549"/>
                    </a:lnTo>
                    <a:lnTo>
                      <a:pt x="160" y="549"/>
                    </a:lnTo>
                    <a:lnTo>
                      <a:pt x="160" y="551"/>
                    </a:lnTo>
                    <a:lnTo>
                      <a:pt x="160" y="549"/>
                    </a:lnTo>
                    <a:lnTo>
                      <a:pt x="159" y="549"/>
                    </a:lnTo>
                    <a:lnTo>
                      <a:pt x="157" y="551"/>
                    </a:lnTo>
                    <a:lnTo>
                      <a:pt x="157" y="549"/>
                    </a:lnTo>
                    <a:lnTo>
                      <a:pt x="157" y="551"/>
                    </a:lnTo>
                    <a:lnTo>
                      <a:pt x="155" y="549"/>
                    </a:lnTo>
                    <a:lnTo>
                      <a:pt x="153" y="549"/>
                    </a:lnTo>
                    <a:lnTo>
                      <a:pt x="153" y="551"/>
                    </a:lnTo>
                    <a:lnTo>
                      <a:pt x="152" y="549"/>
                    </a:lnTo>
                    <a:lnTo>
                      <a:pt x="150" y="549"/>
                    </a:lnTo>
                    <a:lnTo>
                      <a:pt x="150" y="551"/>
                    </a:lnTo>
                    <a:lnTo>
                      <a:pt x="150" y="549"/>
                    </a:lnTo>
                    <a:close/>
                    <a:moveTo>
                      <a:pt x="1401" y="308"/>
                    </a:moveTo>
                    <a:lnTo>
                      <a:pt x="1405" y="308"/>
                    </a:lnTo>
                    <a:lnTo>
                      <a:pt x="1405" y="309"/>
                    </a:lnTo>
                    <a:lnTo>
                      <a:pt x="1401" y="309"/>
                    </a:lnTo>
                    <a:lnTo>
                      <a:pt x="1401" y="308"/>
                    </a:lnTo>
                    <a:close/>
                    <a:moveTo>
                      <a:pt x="847" y="234"/>
                    </a:moveTo>
                    <a:lnTo>
                      <a:pt x="849" y="234"/>
                    </a:lnTo>
                    <a:lnTo>
                      <a:pt x="849" y="236"/>
                    </a:lnTo>
                    <a:lnTo>
                      <a:pt x="847" y="236"/>
                    </a:lnTo>
                    <a:lnTo>
                      <a:pt x="847" y="234"/>
                    </a:lnTo>
                    <a:close/>
                    <a:moveTo>
                      <a:pt x="847" y="231"/>
                    </a:moveTo>
                    <a:lnTo>
                      <a:pt x="849" y="231"/>
                    </a:lnTo>
                    <a:lnTo>
                      <a:pt x="847" y="231"/>
                    </a:lnTo>
                    <a:close/>
                    <a:moveTo>
                      <a:pt x="859" y="223"/>
                    </a:moveTo>
                    <a:lnTo>
                      <a:pt x="861" y="223"/>
                    </a:lnTo>
                    <a:lnTo>
                      <a:pt x="861" y="224"/>
                    </a:lnTo>
                    <a:lnTo>
                      <a:pt x="859" y="224"/>
                    </a:lnTo>
                    <a:lnTo>
                      <a:pt x="859" y="223"/>
                    </a:lnTo>
                    <a:close/>
                    <a:moveTo>
                      <a:pt x="859" y="221"/>
                    </a:moveTo>
                    <a:lnTo>
                      <a:pt x="861" y="221"/>
                    </a:lnTo>
                    <a:lnTo>
                      <a:pt x="861" y="223"/>
                    </a:lnTo>
                    <a:lnTo>
                      <a:pt x="859" y="223"/>
                    </a:lnTo>
                    <a:lnTo>
                      <a:pt x="859" y="221"/>
                    </a:lnTo>
                    <a:close/>
                    <a:moveTo>
                      <a:pt x="859" y="221"/>
                    </a:moveTo>
                    <a:lnTo>
                      <a:pt x="861" y="221"/>
                    </a:lnTo>
                    <a:lnTo>
                      <a:pt x="861" y="223"/>
                    </a:lnTo>
                    <a:lnTo>
                      <a:pt x="859" y="223"/>
                    </a:lnTo>
                    <a:lnTo>
                      <a:pt x="859" y="221"/>
                    </a:lnTo>
                    <a:close/>
                    <a:moveTo>
                      <a:pt x="861" y="219"/>
                    </a:moveTo>
                    <a:lnTo>
                      <a:pt x="861" y="221"/>
                    </a:lnTo>
                    <a:lnTo>
                      <a:pt x="861" y="219"/>
                    </a:lnTo>
                    <a:close/>
                    <a:moveTo>
                      <a:pt x="859" y="219"/>
                    </a:moveTo>
                    <a:lnTo>
                      <a:pt x="861" y="219"/>
                    </a:lnTo>
                    <a:lnTo>
                      <a:pt x="861" y="221"/>
                    </a:lnTo>
                    <a:lnTo>
                      <a:pt x="859" y="221"/>
                    </a:lnTo>
                    <a:lnTo>
                      <a:pt x="859" y="219"/>
                    </a:lnTo>
                    <a:close/>
                    <a:moveTo>
                      <a:pt x="930" y="209"/>
                    </a:moveTo>
                    <a:lnTo>
                      <a:pt x="932" y="209"/>
                    </a:lnTo>
                    <a:lnTo>
                      <a:pt x="932" y="211"/>
                    </a:lnTo>
                    <a:lnTo>
                      <a:pt x="930" y="211"/>
                    </a:lnTo>
                    <a:lnTo>
                      <a:pt x="930" y="209"/>
                    </a:lnTo>
                    <a:close/>
                    <a:moveTo>
                      <a:pt x="934" y="209"/>
                    </a:moveTo>
                    <a:lnTo>
                      <a:pt x="935" y="209"/>
                    </a:lnTo>
                    <a:lnTo>
                      <a:pt x="935" y="212"/>
                    </a:lnTo>
                    <a:lnTo>
                      <a:pt x="934" y="212"/>
                    </a:lnTo>
                    <a:lnTo>
                      <a:pt x="934" y="209"/>
                    </a:lnTo>
                    <a:close/>
                    <a:moveTo>
                      <a:pt x="920" y="204"/>
                    </a:moveTo>
                    <a:lnTo>
                      <a:pt x="922" y="204"/>
                    </a:lnTo>
                    <a:lnTo>
                      <a:pt x="920" y="204"/>
                    </a:lnTo>
                    <a:close/>
                    <a:moveTo>
                      <a:pt x="896" y="202"/>
                    </a:moveTo>
                    <a:lnTo>
                      <a:pt x="896" y="204"/>
                    </a:lnTo>
                    <a:lnTo>
                      <a:pt x="896" y="202"/>
                    </a:lnTo>
                    <a:close/>
                    <a:moveTo>
                      <a:pt x="878" y="200"/>
                    </a:moveTo>
                    <a:lnTo>
                      <a:pt x="878" y="202"/>
                    </a:lnTo>
                    <a:lnTo>
                      <a:pt x="878" y="200"/>
                    </a:lnTo>
                    <a:close/>
                    <a:moveTo>
                      <a:pt x="878" y="200"/>
                    </a:moveTo>
                    <a:lnTo>
                      <a:pt x="879" y="200"/>
                    </a:lnTo>
                    <a:lnTo>
                      <a:pt x="878" y="200"/>
                    </a:lnTo>
                    <a:close/>
                    <a:moveTo>
                      <a:pt x="883" y="199"/>
                    </a:moveTo>
                    <a:lnTo>
                      <a:pt x="884" y="199"/>
                    </a:lnTo>
                    <a:lnTo>
                      <a:pt x="884" y="200"/>
                    </a:lnTo>
                    <a:lnTo>
                      <a:pt x="883" y="200"/>
                    </a:lnTo>
                    <a:lnTo>
                      <a:pt x="883" y="199"/>
                    </a:lnTo>
                    <a:close/>
                    <a:moveTo>
                      <a:pt x="884" y="197"/>
                    </a:moveTo>
                    <a:lnTo>
                      <a:pt x="884" y="199"/>
                    </a:lnTo>
                    <a:lnTo>
                      <a:pt x="884" y="197"/>
                    </a:lnTo>
                    <a:close/>
                    <a:moveTo>
                      <a:pt x="784" y="190"/>
                    </a:moveTo>
                    <a:lnTo>
                      <a:pt x="782" y="190"/>
                    </a:lnTo>
                    <a:lnTo>
                      <a:pt x="781" y="190"/>
                    </a:lnTo>
                    <a:lnTo>
                      <a:pt x="779" y="190"/>
                    </a:lnTo>
                    <a:lnTo>
                      <a:pt x="779" y="189"/>
                    </a:lnTo>
                    <a:lnTo>
                      <a:pt x="781" y="189"/>
                    </a:lnTo>
                    <a:lnTo>
                      <a:pt x="782" y="187"/>
                    </a:lnTo>
                    <a:lnTo>
                      <a:pt x="784" y="187"/>
                    </a:lnTo>
                    <a:lnTo>
                      <a:pt x="784" y="185"/>
                    </a:lnTo>
                    <a:lnTo>
                      <a:pt x="784" y="187"/>
                    </a:lnTo>
                    <a:lnTo>
                      <a:pt x="784" y="189"/>
                    </a:lnTo>
                    <a:lnTo>
                      <a:pt x="784" y="190"/>
                    </a:lnTo>
                    <a:close/>
                    <a:moveTo>
                      <a:pt x="844" y="183"/>
                    </a:moveTo>
                    <a:lnTo>
                      <a:pt x="845" y="183"/>
                    </a:lnTo>
                    <a:lnTo>
                      <a:pt x="844" y="183"/>
                    </a:lnTo>
                    <a:close/>
                    <a:moveTo>
                      <a:pt x="793" y="183"/>
                    </a:moveTo>
                    <a:lnTo>
                      <a:pt x="794" y="183"/>
                    </a:lnTo>
                    <a:lnTo>
                      <a:pt x="793" y="183"/>
                    </a:lnTo>
                    <a:close/>
                    <a:moveTo>
                      <a:pt x="845" y="183"/>
                    </a:moveTo>
                    <a:lnTo>
                      <a:pt x="849" y="183"/>
                    </a:lnTo>
                    <a:lnTo>
                      <a:pt x="849" y="185"/>
                    </a:lnTo>
                    <a:lnTo>
                      <a:pt x="845" y="185"/>
                    </a:lnTo>
                    <a:lnTo>
                      <a:pt x="845" y="183"/>
                    </a:lnTo>
                    <a:close/>
                    <a:moveTo>
                      <a:pt x="839" y="182"/>
                    </a:moveTo>
                    <a:lnTo>
                      <a:pt x="840" y="182"/>
                    </a:lnTo>
                    <a:lnTo>
                      <a:pt x="840" y="183"/>
                    </a:lnTo>
                    <a:lnTo>
                      <a:pt x="839" y="183"/>
                    </a:lnTo>
                    <a:lnTo>
                      <a:pt x="839" y="182"/>
                    </a:lnTo>
                    <a:close/>
                    <a:moveTo>
                      <a:pt x="796" y="178"/>
                    </a:moveTo>
                    <a:lnTo>
                      <a:pt x="798" y="178"/>
                    </a:lnTo>
                    <a:lnTo>
                      <a:pt x="798" y="180"/>
                    </a:lnTo>
                    <a:lnTo>
                      <a:pt x="796" y="180"/>
                    </a:lnTo>
                    <a:lnTo>
                      <a:pt x="796" y="178"/>
                    </a:lnTo>
                    <a:close/>
                    <a:moveTo>
                      <a:pt x="789" y="178"/>
                    </a:moveTo>
                    <a:lnTo>
                      <a:pt x="791" y="178"/>
                    </a:lnTo>
                    <a:lnTo>
                      <a:pt x="791" y="180"/>
                    </a:lnTo>
                    <a:lnTo>
                      <a:pt x="789" y="180"/>
                    </a:lnTo>
                    <a:lnTo>
                      <a:pt x="789" y="178"/>
                    </a:lnTo>
                    <a:close/>
                    <a:moveTo>
                      <a:pt x="788" y="178"/>
                    </a:moveTo>
                    <a:lnTo>
                      <a:pt x="789" y="178"/>
                    </a:lnTo>
                    <a:lnTo>
                      <a:pt x="789" y="180"/>
                    </a:lnTo>
                    <a:lnTo>
                      <a:pt x="788" y="180"/>
                    </a:lnTo>
                    <a:lnTo>
                      <a:pt x="788" y="178"/>
                    </a:lnTo>
                    <a:close/>
                    <a:moveTo>
                      <a:pt x="789" y="178"/>
                    </a:moveTo>
                    <a:lnTo>
                      <a:pt x="791" y="178"/>
                    </a:lnTo>
                    <a:lnTo>
                      <a:pt x="789" y="178"/>
                    </a:lnTo>
                    <a:close/>
                    <a:moveTo>
                      <a:pt x="786" y="177"/>
                    </a:moveTo>
                    <a:lnTo>
                      <a:pt x="788" y="177"/>
                    </a:lnTo>
                    <a:lnTo>
                      <a:pt x="788" y="178"/>
                    </a:lnTo>
                    <a:lnTo>
                      <a:pt x="786" y="178"/>
                    </a:lnTo>
                    <a:lnTo>
                      <a:pt x="786" y="177"/>
                    </a:lnTo>
                    <a:close/>
                    <a:moveTo>
                      <a:pt x="779" y="177"/>
                    </a:moveTo>
                    <a:lnTo>
                      <a:pt x="781" y="177"/>
                    </a:lnTo>
                    <a:lnTo>
                      <a:pt x="779" y="177"/>
                    </a:lnTo>
                    <a:close/>
                    <a:moveTo>
                      <a:pt x="784" y="177"/>
                    </a:moveTo>
                    <a:lnTo>
                      <a:pt x="786" y="177"/>
                    </a:lnTo>
                    <a:lnTo>
                      <a:pt x="786" y="178"/>
                    </a:lnTo>
                    <a:lnTo>
                      <a:pt x="784" y="178"/>
                    </a:lnTo>
                    <a:lnTo>
                      <a:pt x="782" y="178"/>
                    </a:lnTo>
                    <a:lnTo>
                      <a:pt x="781" y="178"/>
                    </a:lnTo>
                    <a:lnTo>
                      <a:pt x="779" y="178"/>
                    </a:lnTo>
                    <a:lnTo>
                      <a:pt x="779" y="180"/>
                    </a:lnTo>
                    <a:lnTo>
                      <a:pt x="779" y="178"/>
                    </a:lnTo>
                    <a:lnTo>
                      <a:pt x="777" y="180"/>
                    </a:lnTo>
                    <a:lnTo>
                      <a:pt x="777" y="178"/>
                    </a:lnTo>
                    <a:lnTo>
                      <a:pt x="779" y="178"/>
                    </a:lnTo>
                    <a:lnTo>
                      <a:pt x="781" y="178"/>
                    </a:lnTo>
                    <a:lnTo>
                      <a:pt x="781" y="177"/>
                    </a:lnTo>
                    <a:lnTo>
                      <a:pt x="782" y="177"/>
                    </a:lnTo>
                    <a:lnTo>
                      <a:pt x="784" y="177"/>
                    </a:lnTo>
                    <a:close/>
                    <a:moveTo>
                      <a:pt x="825" y="175"/>
                    </a:moveTo>
                    <a:lnTo>
                      <a:pt x="827" y="175"/>
                    </a:lnTo>
                    <a:lnTo>
                      <a:pt x="828" y="175"/>
                    </a:lnTo>
                    <a:lnTo>
                      <a:pt x="830" y="175"/>
                    </a:lnTo>
                    <a:lnTo>
                      <a:pt x="830" y="177"/>
                    </a:lnTo>
                    <a:lnTo>
                      <a:pt x="832" y="177"/>
                    </a:lnTo>
                    <a:lnTo>
                      <a:pt x="830" y="177"/>
                    </a:lnTo>
                    <a:lnTo>
                      <a:pt x="832" y="177"/>
                    </a:lnTo>
                    <a:lnTo>
                      <a:pt x="832" y="178"/>
                    </a:lnTo>
                    <a:lnTo>
                      <a:pt x="832" y="180"/>
                    </a:lnTo>
                    <a:lnTo>
                      <a:pt x="830" y="180"/>
                    </a:lnTo>
                    <a:lnTo>
                      <a:pt x="828" y="182"/>
                    </a:lnTo>
                    <a:lnTo>
                      <a:pt x="827" y="182"/>
                    </a:lnTo>
                    <a:lnTo>
                      <a:pt x="825" y="182"/>
                    </a:lnTo>
                    <a:lnTo>
                      <a:pt x="823" y="182"/>
                    </a:lnTo>
                    <a:lnTo>
                      <a:pt x="822" y="182"/>
                    </a:lnTo>
                    <a:lnTo>
                      <a:pt x="822" y="183"/>
                    </a:lnTo>
                    <a:lnTo>
                      <a:pt x="820" y="182"/>
                    </a:lnTo>
                    <a:lnTo>
                      <a:pt x="818" y="182"/>
                    </a:lnTo>
                    <a:lnTo>
                      <a:pt x="816" y="182"/>
                    </a:lnTo>
                    <a:lnTo>
                      <a:pt x="816" y="180"/>
                    </a:lnTo>
                    <a:lnTo>
                      <a:pt x="816" y="178"/>
                    </a:lnTo>
                    <a:lnTo>
                      <a:pt x="818" y="178"/>
                    </a:lnTo>
                    <a:lnTo>
                      <a:pt x="820" y="178"/>
                    </a:lnTo>
                    <a:lnTo>
                      <a:pt x="820" y="177"/>
                    </a:lnTo>
                    <a:lnTo>
                      <a:pt x="822" y="177"/>
                    </a:lnTo>
                    <a:lnTo>
                      <a:pt x="823" y="175"/>
                    </a:lnTo>
                    <a:lnTo>
                      <a:pt x="825" y="175"/>
                    </a:lnTo>
                    <a:close/>
                    <a:moveTo>
                      <a:pt x="827" y="173"/>
                    </a:moveTo>
                    <a:lnTo>
                      <a:pt x="828" y="173"/>
                    </a:lnTo>
                    <a:lnTo>
                      <a:pt x="828" y="175"/>
                    </a:lnTo>
                    <a:lnTo>
                      <a:pt x="827" y="175"/>
                    </a:lnTo>
                    <a:lnTo>
                      <a:pt x="827" y="173"/>
                    </a:lnTo>
                    <a:close/>
                    <a:moveTo>
                      <a:pt x="818" y="173"/>
                    </a:moveTo>
                    <a:lnTo>
                      <a:pt x="820" y="173"/>
                    </a:lnTo>
                    <a:lnTo>
                      <a:pt x="820" y="175"/>
                    </a:lnTo>
                    <a:lnTo>
                      <a:pt x="818" y="175"/>
                    </a:lnTo>
                    <a:lnTo>
                      <a:pt x="818" y="173"/>
                    </a:lnTo>
                    <a:close/>
                    <a:moveTo>
                      <a:pt x="791" y="172"/>
                    </a:moveTo>
                    <a:lnTo>
                      <a:pt x="793" y="172"/>
                    </a:lnTo>
                    <a:lnTo>
                      <a:pt x="794" y="173"/>
                    </a:lnTo>
                    <a:lnTo>
                      <a:pt x="796" y="173"/>
                    </a:lnTo>
                    <a:lnTo>
                      <a:pt x="794" y="175"/>
                    </a:lnTo>
                    <a:lnTo>
                      <a:pt x="796" y="175"/>
                    </a:lnTo>
                    <a:lnTo>
                      <a:pt x="796" y="177"/>
                    </a:lnTo>
                    <a:lnTo>
                      <a:pt x="796" y="178"/>
                    </a:lnTo>
                    <a:lnTo>
                      <a:pt x="794" y="178"/>
                    </a:lnTo>
                    <a:lnTo>
                      <a:pt x="793" y="178"/>
                    </a:lnTo>
                    <a:lnTo>
                      <a:pt x="791" y="177"/>
                    </a:lnTo>
                    <a:lnTo>
                      <a:pt x="789" y="177"/>
                    </a:lnTo>
                    <a:lnTo>
                      <a:pt x="789" y="175"/>
                    </a:lnTo>
                    <a:lnTo>
                      <a:pt x="788" y="175"/>
                    </a:lnTo>
                    <a:lnTo>
                      <a:pt x="788" y="173"/>
                    </a:lnTo>
                    <a:lnTo>
                      <a:pt x="788" y="172"/>
                    </a:lnTo>
                    <a:lnTo>
                      <a:pt x="789" y="172"/>
                    </a:lnTo>
                    <a:lnTo>
                      <a:pt x="791" y="172"/>
                    </a:lnTo>
                    <a:close/>
                    <a:moveTo>
                      <a:pt x="788" y="172"/>
                    </a:moveTo>
                    <a:lnTo>
                      <a:pt x="789" y="172"/>
                    </a:lnTo>
                    <a:lnTo>
                      <a:pt x="788" y="172"/>
                    </a:lnTo>
                    <a:close/>
                    <a:moveTo>
                      <a:pt x="822" y="172"/>
                    </a:moveTo>
                    <a:lnTo>
                      <a:pt x="823" y="172"/>
                    </a:lnTo>
                    <a:lnTo>
                      <a:pt x="823" y="173"/>
                    </a:lnTo>
                    <a:lnTo>
                      <a:pt x="822" y="173"/>
                    </a:lnTo>
                    <a:lnTo>
                      <a:pt x="822" y="172"/>
                    </a:lnTo>
                    <a:close/>
                    <a:moveTo>
                      <a:pt x="789" y="172"/>
                    </a:moveTo>
                    <a:lnTo>
                      <a:pt x="791" y="172"/>
                    </a:lnTo>
                    <a:lnTo>
                      <a:pt x="789" y="172"/>
                    </a:lnTo>
                    <a:close/>
                    <a:moveTo>
                      <a:pt x="823" y="170"/>
                    </a:moveTo>
                    <a:lnTo>
                      <a:pt x="825" y="170"/>
                    </a:lnTo>
                    <a:lnTo>
                      <a:pt x="825" y="172"/>
                    </a:lnTo>
                    <a:lnTo>
                      <a:pt x="823" y="172"/>
                    </a:lnTo>
                    <a:lnTo>
                      <a:pt x="823" y="170"/>
                    </a:lnTo>
                    <a:close/>
                    <a:moveTo>
                      <a:pt x="806" y="168"/>
                    </a:moveTo>
                    <a:lnTo>
                      <a:pt x="806" y="170"/>
                    </a:lnTo>
                    <a:lnTo>
                      <a:pt x="805" y="170"/>
                    </a:lnTo>
                    <a:lnTo>
                      <a:pt x="803" y="170"/>
                    </a:lnTo>
                    <a:lnTo>
                      <a:pt x="803" y="168"/>
                    </a:lnTo>
                    <a:lnTo>
                      <a:pt x="805" y="168"/>
                    </a:lnTo>
                    <a:lnTo>
                      <a:pt x="805" y="166"/>
                    </a:lnTo>
                    <a:lnTo>
                      <a:pt x="806" y="166"/>
                    </a:lnTo>
                    <a:lnTo>
                      <a:pt x="808" y="166"/>
                    </a:lnTo>
                    <a:lnTo>
                      <a:pt x="808" y="168"/>
                    </a:lnTo>
                    <a:lnTo>
                      <a:pt x="806" y="168"/>
                    </a:lnTo>
                    <a:close/>
                    <a:moveTo>
                      <a:pt x="825" y="165"/>
                    </a:moveTo>
                    <a:lnTo>
                      <a:pt x="825" y="166"/>
                    </a:lnTo>
                    <a:lnTo>
                      <a:pt x="827" y="166"/>
                    </a:lnTo>
                    <a:lnTo>
                      <a:pt x="825" y="166"/>
                    </a:lnTo>
                    <a:lnTo>
                      <a:pt x="825" y="168"/>
                    </a:lnTo>
                    <a:lnTo>
                      <a:pt x="823" y="168"/>
                    </a:lnTo>
                    <a:lnTo>
                      <a:pt x="823" y="170"/>
                    </a:lnTo>
                    <a:lnTo>
                      <a:pt x="822" y="170"/>
                    </a:lnTo>
                    <a:lnTo>
                      <a:pt x="822" y="172"/>
                    </a:lnTo>
                    <a:lnTo>
                      <a:pt x="820" y="172"/>
                    </a:lnTo>
                    <a:lnTo>
                      <a:pt x="820" y="173"/>
                    </a:lnTo>
                    <a:lnTo>
                      <a:pt x="818" y="173"/>
                    </a:lnTo>
                    <a:lnTo>
                      <a:pt x="818" y="175"/>
                    </a:lnTo>
                    <a:lnTo>
                      <a:pt x="816" y="175"/>
                    </a:lnTo>
                    <a:lnTo>
                      <a:pt x="816" y="177"/>
                    </a:lnTo>
                    <a:lnTo>
                      <a:pt x="815" y="177"/>
                    </a:lnTo>
                    <a:lnTo>
                      <a:pt x="815" y="178"/>
                    </a:lnTo>
                    <a:lnTo>
                      <a:pt x="813" y="178"/>
                    </a:lnTo>
                    <a:lnTo>
                      <a:pt x="811" y="178"/>
                    </a:lnTo>
                    <a:lnTo>
                      <a:pt x="811" y="180"/>
                    </a:lnTo>
                    <a:lnTo>
                      <a:pt x="810" y="180"/>
                    </a:lnTo>
                    <a:lnTo>
                      <a:pt x="810" y="178"/>
                    </a:lnTo>
                    <a:lnTo>
                      <a:pt x="808" y="177"/>
                    </a:lnTo>
                    <a:lnTo>
                      <a:pt x="806" y="177"/>
                    </a:lnTo>
                    <a:lnTo>
                      <a:pt x="805" y="177"/>
                    </a:lnTo>
                    <a:lnTo>
                      <a:pt x="803" y="177"/>
                    </a:lnTo>
                    <a:lnTo>
                      <a:pt x="801" y="177"/>
                    </a:lnTo>
                    <a:lnTo>
                      <a:pt x="799" y="177"/>
                    </a:lnTo>
                    <a:lnTo>
                      <a:pt x="798" y="177"/>
                    </a:lnTo>
                    <a:lnTo>
                      <a:pt x="798" y="175"/>
                    </a:lnTo>
                    <a:lnTo>
                      <a:pt x="798" y="173"/>
                    </a:lnTo>
                    <a:lnTo>
                      <a:pt x="796" y="173"/>
                    </a:lnTo>
                    <a:lnTo>
                      <a:pt x="796" y="172"/>
                    </a:lnTo>
                    <a:lnTo>
                      <a:pt x="798" y="172"/>
                    </a:lnTo>
                    <a:lnTo>
                      <a:pt x="799" y="172"/>
                    </a:lnTo>
                    <a:lnTo>
                      <a:pt x="799" y="170"/>
                    </a:lnTo>
                    <a:lnTo>
                      <a:pt x="801" y="170"/>
                    </a:lnTo>
                    <a:lnTo>
                      <a:pt x="803" y="170"/>
                    </a:lnTo>
                    <a:lnTo>
                      <a:pt x="805" y="170"/>
                    </a:lnTo>
                    <a:lnTo>
                      <a:pt x="806" y="170"/>
                    </a:lnTo>
                    <a:lnTo>
                      <a:pt x="808" y="170"/>
                    </a:lnTo>
                    <a:lnTo>
                      <a:pt x="808" y="168"/>
                    </a:lnTo>
                    <a:lnTo>
                      <a:pt x="808" y="166"/>
                    </a:lnTo>
                    <a:lnTo>
                      <a:pt x="810" y="166"/>
                    </a:lnTo>
                    <a:lnTo>
                      <a:pt x="810" y="168"/>
                    </a:lnTo>
                    <a:lnTo>
                      <a:pt x="810" y="166"/>
                    </a:lnTo>
                    <a:lnTo>
                      <a:pt x="810" y="168"/>
                    </a:lnTo>
                    <a:lnTo>
                      <a:pt x="810" y="166"/>
                    </a:lnTo>
                    <a:lnTo>
                      <a:pt x="811" y="166"/>
                    </a:lnTo>
                    <a:lnTo>
                      <a:pt x="811" y="168"/>
                    </a:lnTo>
                    <a:lnTo>
                      <a:pt x="813" y="168"/>
                    </a:lnTo>
                    <a:lnTo>
                      <a:pt x="815" y="168"/>
                    </a:lnTo>
                    <a:lnTo>
                      <a:pt x="816" y="168"/>
                    </a:lnTo>
                    <a:lnTo>
                      <a:pt x="816" y="166"/>
                    </a:lnTo>
                    <a:lnTo>
                      <a:pt x="818" y="166"/>
                    </a:lnTo>
                    <a:lnTo>
                      <a:pt x="820" y="166"/>
                    </a:lnTo>
                    <a:lnTo>
                      <a:pt x="820" y="165"/>
                    </a:lnTo>
                    <a:lnTo>
                      <a:pt x="822" y="165"/>
                    </a:lnTo>
                    <a:lnTo>
                      <a:pt x="822" y="166"/>
                    </a:lnTo>
                    <a:lnTo>
                      <a:pt x="822" y="165"/>
                    </a:lnTo>
                    <a:lnTo>
                      <a:pt x="823" y="165"/>
                    </a:lnTo>
                    <a:lnTo>
                      <a:pt x="825" y="165"/>
                    </a:lnTo>
                    <a:close/>
                    <a:moveTo>
                      <a:pt x="803" y="156"/>
                    </a:moveTo>
                    <a:lnTo>
                      <a:pt x="805" y="156"/>
                    </a:lnTo>
                    <a:lnTo>
                      <a:pt x="803" y="156"/>
                    </a:lnTo>
                    <a:close/>
                    <a:moveTo>
                      <a:pt x="808" y="156"/>
                    </a:moveTo>
                    <a:lnTo>
                      <a:pt x="808" y="158"/>
                    </a:lnTo>
                    <a:lnTo>
                      <a:pt x="810" y="158"/>
                    </a:lnTo>
                    <a:lnTo>
                      <a:pt x="810" y="160"/>
                    </a:lnTo>
                    <a:lnTo>
                      <a:pt x="808" y="160"/>
                    </a:lnTo>
                    <a:lnTo>
                      <a:pt x="808" y="161"/>
                    </a:lnTo>
                    <a:lnTo>
                      <a:pt x="806" y="161"/>
                    </a:lnTo>
                    <a:lnTo>
                      <a:pt x="806" y="163"/>
                    </a:lnTo>
                    <a:lnTo>
                      <a:pt x="805" y="163"/>
                    </a:lnTo>
                    <a:lnTo>
                      <a:pt x="805" y="165"/>
                    </a:lnTo>
                    <a:lnTo>
                      <a:pt x="803" y="165"/>
                    </a:lnTo>
                    <a:lnTo>
                      <a:pt x="803" y="166"/>
                    </a:lnTo>
                    <a:lnTo>
                      <a:pt x="801" y="166"/>
                    </a:lnTo>
                    <a:lnTo>
                      <a:pt x="799" y="166"/>
                    </a:lnTo>
                    <a:lnTo>
                      <a:pt x="799" y="165"/>
                    </a:lnTo>
                    <a:lnTo>
                      <a:pt x="799" y="163"/>
                    </a:lnTo>
                    <a:lnTo>
                      <a:pt x="799" y="161"/>
                    </a:lnTo>
                    <a:lnTo>
                      <a:pt x="799" y="160"/>
                    </a:lnTo>
                    <a:lnTo>
                      <a:pt x="799" y="158"/>
                    </a:lnTo>
                    <a:lnTo>
                      <a:pt x="801" y="158"/>
                    </a:lnTo>
                    <a:lnTo>
                      <a:pt x="803" y="158"/>
                    </a:lnTo>
                    <a:lnTo>
                      <a:pt x="805" y="158"/>
                    </a:lnTo>
                    <a:lnTo>
                      <a:pt x="806" y="158"/>
                    </a:lnTo>
                    <a:lnTo>
                      <a:pt x="806" y="156"/>
                    </a:lnTo>
                    <a:lnTo>
                      <a:pt x="808" y="156"/>
                    </a:lnTo>
                    <a:close/>
                    <a:moveTo>
                      <a:pt x="799" y="156"/>
                    </a:moveTo>
                    <a:lnTo>
                      <a:pt x="801" y="158"/>
                    </a:lnTo>
                    <a:lnTo>
                      <a:pt x="799" y="158"/>
                    </a:lnTo>
                    <a:lnTo>
                      <a:pt x="799" y="160"/>
                    </a:lnTo>
                    <a:lnTo>
                      <a:pt x="799" y="161"/>
                    </a:lnTo>
                    <a:lnTo>
                      <a:pt x="799" y="163"/>
                    </a:lnTo>
                    <a:lnTo>
                      <a:pt x="799" y="165"/>
                    </a:lnTo>
                    <a:lnTo>
                      <a:pt x="799" y="166"/>
                    </a:lnTo>
                    <a:lnTo>
                      <a:pt x="799" y="168"/>
                    </a:lnTo>
                    <a:lnTo>
                      <a:pt x="799" y="170"/>
                    </a:lnTo>
                    <a:lnTo>
                      <a:pt x="798" y="170"/>
                    </a:lnTo>
                    <a:lnTo>
                      <a:pt x="796" y="170"/>
                    </a:lnTo>
                    <a:lnTo>
                      <a:pt x="796" y="172"/>
                    </a:lnTo>
                    <a:lnTo>
                      <a:pt x="796" y="173"/>
                    </a:lnTo>
                    <a:lnTo>
                      <a:pt x="794" y="172"/>
                    </a:lnTo>
                    <a:lnTo>
                      <a:pt x="793" y="172"/>
                    </a:lnTo>
                    <a:lnTo>
                      <a:pt x="793" y="170"/>
                    </a:lnTo>
                    <a:lnTo>
                      <a:pt x="791" y="170"/>
                    </a:lnTo>
                    <a:lnTo>
                      <a:pt x="793" y="168"/>
                    </a:lnTo>
                    <a:lnTo>
                      <a:pt x="794" y="168"/>
                    </a:lnTo>
                    <a:lnTo>
                      <a:pt x="796" y="165"/>
                    </a:lnTo>
                    <a:lnTo>
                      <a:pt x="796" y="163"/>
                    </a:lnTo>
                    <a:lnTo>
                      <a:pt x="796" y="161"/>
                    </a:lnTo>
                    <a:lnTo>
                      <a:pt x="796" y="160"/>
                    </a:lnTo>
                    <a:lnTo>
                      <a:pt x="796" y="158"/>
                    </a:lnTo>
                    <a:lnTo>
                      <a:pt x="798" y="158"/>
                    </a:lnTo>
                    <a:lnTo>
                      <a:pt x="798" y="156"/>
                    </a:lnTo>
                    <a:lnTo>
                      <a:pt x="799" y="156"/>
                    </a:lnTo>
                    <a:close/>
                    <a:moveTo>
                      <a:pt x="801" y="156"/>
                    </a:moveTo>
                    <a:lnTo>
                      <a:pt x="801" y="158"/>
                    </a:lnTo>
                    <a:lnTo>
                      <a:pt x="801" y="156"/>
                    </a:lnTo>
                    <a:close/>
                    <a:moveTo>
                      <a:pt x="789" y="166"/>
                    </a:moveTo>
                    <a:lnTo>
                      <a:pt x="791" y="166"/>
                    </a:lnTo>
                    <a:lnTo>
                      <a:pt x="791" y="168"/>
                    </a:lnTo>
                    <a:lnTo>
                      <a:pt x="789" y="168"/>
                    </a:lnTo>
                    <a:lnTo>
                      <a:pt x="789" y="166"/>
                    </a:lnTo>
                    <a:close/>
                    <a:moveTo>
                      <a:pt x="801" y="148"/>
                    </a:moveTo>
                    <a:lnTo>
                      <a:pt x="801" y="149"/>
                    </a:lnTo>
                    <a:lnTo>
                      <a:pt x="801" y="148"/>
                    </a:lnTo>
                    <a:close/>
                    <a:moveTo>
                      <a:pt x="810" y="148"/>
                    </a:moveTo>
                    <a:lnTo>
                      <a:pt x="811" y="148"/>
                    </a:lnTo>
                    <a:lnTo>
                      <a:pt x="810" y="148"/>
                    </a:lnTo>
                    <a:close/>
                    <a:moveTo>
                      <a:pt x="810" y="148"/>
                    </a:moveTo>
                    <a:lnTo>
                      <a:pt x="810" y="149"/>
                    </a:lnTo>
                    <a:lnTo>
                      <a:pt x="808" y="149"/>
                    </a:lnTo>
                    <a:lnTo>
                      <a:pt x="810" y="149"/>
                    </a:lnTo>
                    <a:lnTo>
                      <a:pt x="808" y="151"/>
                    </a:lnTo>
                    <a:lnTo>
                      <a:pt x="806" y="153"/>
                    </a:lnTo>
                    <a:lnTo>
                      <a:pt x="805" y="153"/>
                    </a:lnTo>
                    <a:lnTo>
                      <a:pt x="803" y="153"/>
                    </a:lnTo>
                    <a:lnTo>
                      <a:pt x="801" y="153"/>
                    </a:lnTo>
                    <a:lnTo>
                      <a:pt x="801" y="151"/>
                    </a:lnTo>
                    <a:lnTo>
                      <a:pt x="801" y="149"/>
                    </a:lnTo>
                    <a:lnTo>
                      <a:pt x="803" y="148"/>
                    </a:lnTo>
                    <a:lnTo>
                      <a:pt x="805" y="148"/>
                    </a:lnTo>
                    <a:lnTo>
                      <a:pt x="806" y="148"/>
                    </a:lnTo>
                    <a:lnTo>
                      <a:pt x="808" y="148"/>
                    </a:lnTo>
                    <a:lnTo>
                      <a:pt x="810" y="148"/>
                    </a:lnTo>
                    <a:close/>
                    <a:moveTo>
                      <a:pt x="806" y="146"/>
                    </a:moveTo>
                    <a:lnTo>
                      <a:pt x="810" y="146"/>
                    </a:lnTo>
                    <a:lnTo>
                      <a:pt x="810" y="148"/>
                    </a:lnTo>
                    <a:lnTo>
                      <a:pt x="806" y="148"/>
                    </a:lnTo>
                    <a:lnTo>
                      <a:pt x="806" y="146"/>
                    </a:lnTo>
                    <a:close/>
                    <a:moveTo>
                      <a:pt x="805" y="146"/>
                    </a:moveTo>
                    <a:lnTo>
                      <a:pt x="806" y="146"/>
                    </a:lnTo>
                    <a:lnTo>
                      <a:pt x="806" y="148"/>
                    </a:lnTo>
                    <a:lnTo>
                      <a:pt x="805" y="148"/>
                    </a:lnTo>
                    <a:lnTo>
                      <a:pt x="805" y="146"/>
                    </a:lnTo>
                    <a:close/>
                    <a:moveTo>
                      <a:pt x="813" y="141"/>
                    </a:moveTo>
                    <a:lnTo>
                      <a:pt x="813" y="143"/>
                    </a:lnTo>
                    <a:lnTo>
                      <a:pt x="813" y="144"/>
                    </a:lnTo>
                    <a:lnTo>
                      <a:pt x="811" y="146"/>
                    </a:lnTo>
                    <a:lnTo>
                      <a:pt x="810" y="146"/>
                    </a:lnTo>
                    <a:lnTo>
                      <a:pt x="808" y="146"/>
                    </a:lnTo>
                    <a:lnTo>
                      <a:pt x="806" y="146"/>
                    </a:lnTo>
                    <a:lnTo>
                      <a:pt x="806" y="144"/>
                    </a:lnTo>
                    <a:lnTo>
                      <a:pt x="808" y="144"/>
                    </a:lnTo>
                    <a:lnTo>
                      <a:pt x="808" y="143"/>
                    </a:lnTo>
                    <a:lnTo>
                      <a:pt x="810" y="143"/>
                    </a:lnTo>
                    <a:lnTo>
                      <a:pt x="811" y="143"/>
                    </a:lnTo>
                    <a:lnTo>
                      <a:pt x="811" y="141"/>
                    </a:lnTo>
                    <a:lnTo>
                      <a:pt x="813" y="141"/>
                    </a:lnTo>
                    <a:close/>
                    <a:moveTo>
                      <a:pt x="798" y="107"/>
                    </a:moveTo>
                    <a:lnTo>
                      <a:pt x="798" y="109"/>
                    </a:lnTo>
                    <a:lnTo>
                      <a:pt x="798" y="110"/>
                    </a:lnTo>
                    <a:lnTo>
                      <a:pt x="799" y="110"/>
                    </a:lnTo>
                    <a:lnTo>
                      <a:pt x="799" y="112"/>
                    </a:lnTo>
                    <a:lnTo>
                      <a:pt x="798" y="114"/>
                    </a:lnTo>
                    <a:lnTo>
                      <a:pt x="796" y="115"/>
                    </a:lnTo>
                    <a:lnTo>
                      <a:pt x="794" y="114"/>
                    </a:lnTo>
                    <a:lnTo>
                      <a:pt x="794" y="112"/>
                    </a:lnTo>
                    <a:lnTo>
                      <a:pt x="794" y="110"/>
                    </a:lnTo>
                    <a:lnTo>
                      <a:pt x="793" y="110"/>
                    </a:lnTo>
                    <a:lnTo>
                      <a:pt x="793" y="109"/>
                    </a:lnTo>
                    <a:lnTo>
                      <a:pt x="793" y="107"/>
                    </a:lnTo>
                    <a:lnTo>
                      <a:pt x="794" y="107"/>
                    </a:lnTo>
                    <a:lnTo>
                      <a:pt x="796" y="107"/>
                    </a:lnTo>
                    <a:lnTo>
                      <a:pt x="798" y="107"/>
                    </a:lnTo>
                    <a:close/>
                    <a:moveTo>
                      <a:pt x="786" y="105"/>
                    </a:moveTo>
                    <a:lnTo>
                      <a:pt x="786" y="107"/>
                    </a:lnTo>
                    <a:lnTo>
                      <a:pt x="786" y="105"/>
                    </a:lnTo>
                    <a:close/>
                    <a:moveTo>
                      <a:pt x="794" y="103"/>
                    </a:moveTo>
                    <a:lnTo>
                      <a:pt x="794" y="105"/>
                    </a:lnTo>
                    <a:lnTo>
                      <a:pt x="796" y="105"/>
                    </a:lnTo>
                    <a:lnTo>
                      <a:pt x="796" y="107"/>
                    </a:lnTo>
                    <a:lnTo>
                      <a:pt x="794" y="107"/>
                    </a:lnTo>
                    <a:lnTo>
                      <a:pt x="793" y="107"/>
                    </a:lnTo>
                    <a:lnTo>
                      <a:pt x="793" y="105"/>
                    </a:lnTo>
                    <a:lnTo>
                      <a:pt x="791" y="105"/>
                    </a:lnTo>
                    <a:lnTo>
                      <a:pt x="793" y="105"/>
                    </a:lnTo>
                    <a:lnTo>
                      <a:pt x="793" y="103"/>
                    </a:lnTo>
                    <a:lnTo>
                      <a:pt x="794" y="103"/>
                    </a:lnTo>
                    <a:close/>
                    <a:moveTo>
                      <a:pt x="990" y="284"/>
                    </a:moveTo>
                    <a:lnTo>
                      <a:pt x="992" y="284"/>
                    </a:lnTo>
                    <a:lnTo>
                      <a:pt x="992" y="285"/>
                    </a:lnTo>
                    <a:lnTo>
                      <a:pt x="990" y="285"/>
                    </a:lnTo>
                    <a:lnTo>
                      <a:pt x="990" y="284"/>
                    </a:lnTo>
                    <a:close/>
                    <a:moveTo>
                      <a:pt x="990" y="277"/>
                    </a:moveTo>
                    <a:lnTo>
                      <a:pt x="992" y="277"/>
                    </a:lnTo>
                    <a:lnTo>
                      <a:pt x="990" y="277"/>
                    </a:lnTo>
                    <a:close/>
                    <a:moveTo>
                      <a:pt x="1071" y="272"/>
                    </a:moveTo>
                    <a:lnTo>
                      <a:pt x="1073" y="272"/>
                    </a:lnTo>
                    <a:lnTo>
                      <a:pt x="1071" y="272"/>
                    </a:lnTo>
                    <a:close/>
                    <a:moveTo>
                      <a:pt x="997" y="270"/>
                    </a:moveTo>
                    <a:lnTo>
                      <a:pt x="997" y="272"/>
                    </a:lnTo>
                    <a:lnTo>
                      <a:pt x="997" y="274"/>
                    </a:lnTo>
                    <a:lnTo>
                      <a:pt x="997" y="275"/>
                    </a:lnTo>
                    <a:lnTo>
                      <a:pt x="997" y="277"/>
                    </a:lnTo>
                    <a:lnTo>
                      <a:pt x="997" y="279"/>
                    </a:lnTo>
                    <a:lnTo>
                      <a:pt x="995" y="279"/>
                    </a:lnTo>
                    <a:lnTo>
                      <a:pt x="995" y="280"/>
                    </a:lnTo>
                    <a:lnTo>
                      <a:pt x="993" y="280"/>
                    </a:lnTo>
                    <a:lnTo>
                      <a:pt x="992" y="279"/>
                    </a:lnTo>
                    <a:lnTo>
                      <a:pt x="992" y="277"/>
                    </a:lnTo>
                    <a:lnTo>
                      <a:pt x="993" y="275"/>
                    </a:lnTo>
                    <a:lnTo>
                      <a:pt x="993" y="274"/>
                    </a:lnTo>
                    <a:lnTo>
                      <a:pt x="993" y="272"/>
                    </a:lnTo>
                    <a:lnTo>
                      <a:pt x="995" y="272"/>
                    </a:lnTo>
                    <a:lnTo>
                      <a:pt x="995" y="270"/>
                    </a:lnTo>
                    <a:lnTo>
                      <a:pt x="997" y="270"/>
                    </a:lnTo>
                    <a:close/>
                    <a:moveTo>
                      <a:pt x="1073" y="270"/>
                    </a:moveTo>
                    <a:lnTo>
                      <a:pt x="1075" y="270"/>
                    </a:lnTo>
                    <a:lnTo>
                      <a:pt x="1077" y="270"/>
                    </a:lnTo>
                    <a:lnTo>
                      <a:pt x="1075" y="270"/>
                    </a:lnTo>
                    <a:lnTo>
                      <a:pt x="1075" y="272"/>
                    </a:lnTo>
                    <a:lnTo>
                      <a:pt x="1073" y="270"/>
                    </a:lnTo>
                    <a:lnTo>
                      <a:pt x="1071" y="270"/>
                    </a:lnTo>
                    <a:lnTo>
                      <a:pt x="1071" y="268"/>
                    </a:lnTo>
                    <a:lnTo>
                      <a:pt x="1073" y="268"/>
                    </a:lnTo>
                    <a:lnTo>
                      <a:pt x="1073" y="270"/>
                    </a:lnTo>
                    <a:close/>
                    <a:moveTo>
                      <a:pt x="1073" y="268"/>
                    </a:moveTo>
                    <a:lnTo>
                      <a:pt x="1075" y="268"/>
                    </a:lnTo>
                    <a:lnTo>
                      <a:pt x="1077" y="268"/>
                    </a:lnTo>
                    <a:lnTo>
                      <a:pt x="1078" y="268"/>
                    </a:lnTo>
                    <a:lnTo>
                      <a:pt x="1078" y="270"/>
                    </a:lnTo>
                    <a:lnTo>
                      <a:pt x="1080" y="270"/>
                    </a:lnTo>
                    <a:lnTo>
                      <a:pt x="1080" y="272"/>
                    </a:lnTo>
                    <a:lnTo>
                      <a:pt x="1078" y="272"/>
                    </a:lnTo>
                    <a:lnTo>
                      <a:pt x="1077" y="272"/>
                    </a:lnTo>
                    <a:lnTo>
                      <a:pt x="1077" y="270"/>
                    </a:lnTo>
                    <a:lnTo>
                      <a:pt x="1075" y="270"/>
                    </a:lnTo>
                    <a:lnTo>
                      <a:pt x="1073" y="268"/>
                    </a:lnTo>
                    <a:close/>
                    <a:moveTo>
                      <a:pt x="998" y="260"/>
                    </a:moveTo>
                    <a:lnTo>
                      <a:pt x="998" y="262"/>
                    </a:lnTo>
                    <a:lnTo>
                      <a:pt x="997" y="262"/>
                    </a:lnTo>
                    <a:lnTo>
                      <a:pt x="997" y="263"/>
                    </a:lnTo>
                    <a:lnTo>
                      <a:pt x="995" y="263"/>
                    </a:lnTo>
                    <a:lnTo>
                      <a:pt x="995" y="262"/>
                    </a:lnTo>
                    <a:lnTo>
                      <a:pt x="997" y="262"/>
                    </a:lnTo>
                    <a:lnTo>
                      <a:pt x="995" y="260"/>
                    </a:lnTo>
                    <a:lnTo>
                      <a:pt x="997" y="260"/>
                    </a:lnTo>
                    <a:lnTo>
                      <a:pt x="998" y="260"/>
                    </a:lnTo>
                    <a:close/>
                    <a:moveTo>
                      <a:pt x="1029" y="258"/>
                    </a:moveTo>
                    <a:lnTo>
                      <a:pt x="1029" y="260"/>
                    </a:lnTo>
                    <a:lnTo>
                      <a:pt x="1029" y="258"/>
                    </a:lnTo>
                    <a:close/>
                    <a:moveTo>
                      <a:pt x="1020" y="258"/>
                    </a:moveTo>
                    <a:lnTo>
                      <a:pt x="1020" y="260"/>
                    </a:lnTo>
                    <a:lnTo>
                      <a:pt x="1020" y="258"/>
                    </a:lnTo>
                    <a:close/>
                    <a:moveTo>
                      <a:pt x="1026" y="258"/>
                    </a:moveTo>
                    <a:lnTo>
                      <a:pt x="1029" y="258"/>
                    </a:lnTo>
                    <a:lnTo>
                      <a:pt x="1029" y="260"/>
                    </a:lnTo>
                    <a:lnTo>
                      <a:pt x="1026" y="260"/>
                    </a:lnTo>
                    <a:lnTo>
                      <a:pt x="1026" y="258"/>
                    </a:lnTo>
                    <a:close/>
                    <a:moveTo>
                      <a:pt x="1024" y="255"/>
                    </a:moveTo>
                    <a:lnTo>
                      <a:pt x="1026" y="255"/>
                    </a:lnTo>
                    <a:lnTo>
                      <a:pt x="1024" y="255"/>
                    </a:lnTo>
                    <a:close/>
                    <a:moveTo>
                      <a:pt x="1026" y="255"/>
                    </a:moveTo>
                    <a:lnTo>
                      <a:pt x="1027" y="255"/>
                    </a:lnTo>
                    <a:lnTo>
                      <a:pt x="1026" y="255"/>
                    </a:lnTo>
                    <a:close/>
                    <a:moveTo>
                      <a:pt x="986" y="234"/>
                    </a:moveTo>
                    <a:lnTo>
                      <a:pt x="988" y="234"/>
                    </a:lnTo>
                    <a:lnTo>
                      <a:pt x="986" y="234"/>
                    </a:lnTo>
                    <a:close/>
                    <a:moveTo>
                      <a:pt x="969" y="233"/>
                    </a:moveTo>
                    <a:lnTo>
                      <a:pt x="971" y="233"/>
                    </a:lnTo>
                    <a:lnTo>
                      <a:pt x="971" y="236"/>
                    </a:lnTo>
                    <a:lnTo>
                      <a:pt x="969" y="236"/>
                    </a:lnTo>
                    <a:lnTo>
                      <a:pt x="969" y="233"/>
                    </a:lnTo>
                    <a:close/>
                    <a:moveTo>
                      <a:pt x="969" y="233"/>
                    </a:moveTo>
                    <a:lnTo>
                      <a:pt x="968" y="234"/>
                    </a:lnTo>
                    <a:lnTo>
                      <a:pt x="969" y="234"/>
                    </a:lnTo>
                    <a:lnTo>
                      <a:pt x="969" y="236"/>
                    </a:lnTo>
                    <a:lnTo>
                      <a:pt x="968" y="236"/>
                    </a:lnTo>
                    <a:lnTo>
                      <a:pt x="968" y="234"/>
                    </a:lnTo>
                    <a:lnTo>
                      <a:pt x="968" y="233"/>
                    </a:lnTo>
                    <a:lnTo>
                      <a:pt x="969" y="231"/>
                    </a:lnTo>
                    <a:lnTo>
                      <a:pt x="969" y="233"/>
                    </a:lnTo>
                    <a:close/>
                    <a:moveTo>
                      <a:pt x="986" y="229"/>
                    </a:moveTo>
                    <a:lnTo>
                      <a:pt x="988" y="229"/>
                    </a:lnTo>
                    <a:lnTo>
                      <a:pt x="988" y="231"/>
                    </a:lnTo>
                    <a:lnTo>
                      <a:pt x="986" y="231"/>
                    </a:lnTo>
                    <a:lnTo>
                      <a:pt x="986" y="229"/>
                    </a:lnTo>
                    <a:close/>
                    <a:moveTo>
                      <a:pt x="985" y="228"/>
                    </a:moveTo>
                    <a:lnTo>
                      <a:pt x="986" y="228"/>
                    </a:lnTo>
                    <a:lnTo>
                      <a:pt x="986" y="231"/>
                    </a:lnTo>
                    <a:lnTo>
                      <a:pt x="985" y="231"/>
                    </a:lnTo>
                    <a:lnTo>
                      <a:pt x="985" y="228"/>
                    </a:lnTo>
                    <a:close/>
                    <a:moveTo>
                      <a:pt x="986" y="228"/>
                    </a:moveTo>
                    <a:lnTo>
                      <a:pt x="988" y="228"/>
                    </a:lnTo>
                    <a:lnTo>
                      <a:pt x="988" y="229"/>
                    </a:lnTo>
                    <a:lnTo>
                      <a:pt x="986" y="229"/>
                    </a:lnTo>
                    <a:lnTo>
                      <a:pt x="986" y="228"/>
                    </a:lnTo>
                    <a:close/>
                    <a:moveTo>
                      <a:pt x="976" y="226"/>
                    </a:moveTo>
                    <a:lnTo>
                      <a:pt x="976" y="228"/>
                    </a:lnTo>
                    <a:lnTo>
                      <a:pt x="976" y="226"/>
                    </a:lnTo>
                    <a:close/>
                    <a:moveTo>
                      <a:pt x="975" y="226"/>
                    </a:moveTo>
                    <a:lnTo>
                      <a:pt x="976" y="226"/>
                    </a:lnTo>
                    <a:lnTo>
                      <a:pt x="976" y="228"/>
                    </a:lnTo>
                    <a:lnTo>
                      <a:pt x="975" y="228"/>
                    </a:lnTo>
                    <a:lnTo>
                      <a:pt x="975" y="226"/>
                    </a:lnTo>
                    <a:close/>
                    <a:moveTo>
                      <a:pt x="964" y="226"/>
                    </a:moveTo>
                    <a:lnTo>
                      <a:pt x="966" y="226"/>
                    </a:lnTo>
                    <a:lnTo>
                      <a:pt x="964" y="226"/>
                    </a:lnTo>
                    <a:close/>
                    <a:moveTo>
                      <a:pt x="976" y="224"/>
                    </a:moveTo>
                    <a:lnTo>
                      <a:pt x="976" y="226"/>
                    </a:lnTo>
                    <a:lnTo>
                      <a:pt x="976" y="224"/>
                    </a:lnTo>
                    <a:close/>
                    <a:moveTo>
                      <a:pt x="975" y="224"/>
                    </a:moveTo>
                    <a:lnTo>
                      <a:pt x="976" y="224"/>
                    </a:lnTo>
                    <a:lnTo>
                      <a:pt x="976" y="226"/>
                    </a:lnTo>
                    <a:lnTo>
                      <a:pt x="975" y="226"/>
                    </a:lnTo>
                    <a:lnTo>
                      <a:pt x="975" y="224"/>
                    </a:lnTo>
                    <a:close/>
                    <a:moveTo>
                      <a:pt x="978" y="224"/>
                    </a:moveTo>
                    <a:lnTo>
                      <a:pt x="978" y="226"/>
                    </a:lnTo>
                    <a:lnTo>
                      <a:pt x="978" y="224"/>
                    </a:lnTo>
                    <a:close/>
                    <a:moveTo>
                      <a:pt x="983" y="223"/>
                    </a:moveTo>
                    <a:lnTo>
                      <a:pt x="983" y="224"/>
                    </a:lnTo>
                    <a:lnTo>
                      <a:pt x="983" y="223"/>
                    </a:lnTo>
                    <a:close/>
                    <a:moveTo>
                      <a:pt x="959" y="223"/>
                    </a:moveTo>
                    <a:lnTo>
                      <a:pt x="961" y="223"/>
                    </a:lnTo>
                    <a:lnTo>
                      <a:pt x="959" y="223"/>
                    </a:lnTo>
                    <a:close/>
                    <a:moveTo>
                      <a:pt x="959" y="221"/>
                    </a:moveTo>
                    <a:lnTo>
                      <a:pt x="961" y="221"/>
                    </a:lnTo>
                    <a:lnTo>
                      <a:pt x="961" y="223"/>
                    </a:lnTo>
                    <a:lnTo>
                      <a:pt x="959" y="223"/>
                    </a:lnTo>
                    <a:lnTo>
                      <a:pt x="959" y="221"/>
                    </a:lnTo>
                    <a:close/>
                    <a:moveTo>
                      <a:pt x="959" y="221"/>
                    </a:moveTo>
                    <a:lnTo>
                      <a:pt x="961" y="221"/>
                    </a:lnTo>
                    <a:lnTo>
                      <a:pt x="959" y="221"/>
                    </a:lnTo>
                    <a:close/>
                    <a:moveTo>
                      <a:pt x="980" y="221"/>
                    </a:moveTo>
                    <a:lnTo>
                      <a:pt x="981" y="221"/>
                    </a:lnTo>
                    <a:lnTo>
                      <a:pt x="983" y="221"/>
                    </a:lnTo>
                    <a:lnTo>
                      <a:pt x="983" y="223"/>
                    </a:lnTo>
                    <a:lnTo>
                      <a:pt x="983" y="221"/>
                    </a:lnTo>
                    <a:lnTo>
                      <a:pt x="983" y="223"/>
                    </a:lnTo>
                    <a:lnTo>
                      <a:pt x="981" y="223"/>
                    </a:lnTo>
                    <a:lnTo>
                      <a:pt x="981" y="224"/>
                    </a:lnTo>
                    <a:lnTo>
                      <a:pt x="980" y="224"/>
                    </a:lnTo>
                    <a:lnTo>
                      <a:pt x="980" y="226"/>
                    </a:lnTo>
                    <a:lnTo>
                      <a:pt x="978" y="224"/>
                    </a:lnTo>
                    <a:lnTo>
                      <a:pt x="978" y="223"/>
                    </a:lnTo>
                    <a:lnTo>
                      <a:pt x="980" y="223"/>
                    </a:lnTo>
                    <a:lnTo>
                      <a:pt x="980" y="221"/>
                    </a:lnTo>
                    <a:close/>
                    <a:moveTo>
                      <a:pt x="959" y="217"/>
                    </a:moveTo>
                    <a:lnTo>
                      <a:pt x="961" y="217"/>
                    </a:lnTo>
                    <a:lnTo>
                      <a:pt x="961" y="219"/>
                    </a:lnTo>
                    <a:lnTo>
                      <a:pt x="959" y="219"/>
                    </a:lnTo>
                    <a:lnTo>
                      <a:pt x="959" y="217"/>
                    </a:lnTo>
                    <a:close/>
                    <a:moveTo>
                      <a:pt x="956" y="217"/>
                    </a:moveTo>
                    <a:lnTo>
                      <a:pt x="956" y="221"/>
                    </a:lnTo>
                    <a:lnTo>
                      <a:pt x="956" y="217"/>
                    </a:lnTo>
                    <a:close/>
                    <a:moveTo>
                      <a:pt x="952" y="217"/>
                    </a:moveTo>
                    <a:lnTo>
                      <a:pt x="952" y="219"/>
                    </a:lnTo>
                    <a:lnTo>
                      <a:pt x="952" y="217"/>
                    </a:lnTo>
                    <a:close/>
                    <a:moveTo>
                      <a:pt x="944" y="216"/>
                    </a:moveTo>
                    <a:lnTo>
                      <a:pt x="947" y="216"/>
                    </a:lnTo>
                    <a:lnTo>
                      <a:pt x="947" y="217"/>
                    </a:lnTo>
                    <a:lnTo>
                      <a:pt x="944" y="217"/>
                    </a:lnTo>
                    <a:lnTo>
                      <a:pt x="944" y="216"/>
                    </a:lnTo>
                    <a:close/>
                    <a:moveTo>
                      <a:pt x="958" y="217"/>
                    </a:moveTo>
                    <a:lnTo>
                      <a:pt x="958" y="219"/>
                    </a:lnTo>
                    <a:lnTo>
                      <a:pt x="958" y="221"/>
                    </a:lnTo>
                    <a:lnTo>
                      <a:pt x="958" y="223"/>
                    </a:lnTo>
                    <a:lnTo>
                      <a:pt x="958" y="224"/>
                    </a:lnTo>
                    <a:lnTo>
                      <a:pt x="956" y="224"/>
                    </a:lnTo>
                    <a:lnTo>
                      <a:pt x="956" y="223"/>
                    </a:lnTo>
                    <a:lnTo>
                      <a:pt x="956" y="221"/>
                    </a:lnTo>
                    <a:lnTo>
                      <a:pt x="958" y="221"/>
                    </a:lnTo>
                    <a:lnTo>
                      <a:pt x="958" y="219"/>
                    </a:lnTo>
                    <a:lnTo>
                      <a:pt x="958" y="217"/>
                    </a:lnTo>
                    <a:lnTo>
                      <a:pt x="958" y="216"/>
                    </a:lnTo>
                    <a:lnTo>
                      <a:pt x="958" y="217"/>
                    </a:lnTo>
                    <a:close/>
                    <a:moveTo>
                      <a:pt x="951" y="216"/>
                    </a:moveTo>
                    <a:lnTo>
                      <a:pt x="952" y="216"/>
                    </a:lnTo>
                    <a:lnTo>
                      <a:pt x="952" y="217"/>
                    </a:lnTo>
                    <a:lnTo>
                      <a:pt x="951" y="217"/>
                    </a:lnTo>
                    <a:lnTo>
                      <a:pt x="951" y="216"/>
                    </a:lnTo>
                    <a:close/>
                    <a:moveTo>
                      <a:pt x="1189" y="621"/>
                    </a:moveTo>
                    <a:lnTo>
                      <a:pt x="1190" y="621"/>
                    </a:lnTo>
                    <a:lnTo>
                      <a:pt x="1190" y="622"/>
                    </a:lnTo>
                    <a:lnTo>
                      <a:pt x="1189" y="622"/>
                    </a:lnTo>
                    <a:lnTo>
                      <a:pt x="1189" y="621"/>
                    </a:lnTo>
                    <a:close/>
                    <a:moveTo>
                      <a:pt x="1189" y="621"/>
                    </a:moveTo>
                    <a:lnTo>
                      <a:pt x="1190" y="621"/>
                    </a:lnTo>
                    <a:lnTo>
                      <a:pt x="1189" y="621"/>
                    </a:lnTo>
                    <a:close/>
                    <a:moveTo>
                      <a:pt x="1194" y="612"/>
                    </a:moveTo>
                    <a:lnTo>
                      <a:pt x="1194" y="614"/>
                    </a:lnTo>
                    <a:lnTo>
                      <a:pt x="1194" y="612"/>
                    </a:lnTo>
                    <a:close/>
                    <a:moveTo>
                      <a:pt x="1197" y="612"/>
                    </a:moveTo>
                    <a:lnTo>
                      <a:pt x="1197" y="614"/>
                    </a:lnTo>
                    <a:lnTo>
                      <a:pt x="1197" y="612"/>
                    </a:lnTo>
                    <a:close/>
                    <a:moveTo>
                      <a:pt x="1194" y="612"/>
                    </a:moveTo>
                    <a:lnTo>
                      <a:pt x="1196" y="612"/>
                    </a:lnTo>
                    <a:lnTo>
                      <a:pt x="1194" y="612"/>
                    </a:lnTo>
                    <a:close/>
                    <a:moveTo>
                      <a:pt x="1190" y="609"/>
                    </a:moveTo>
                    <a:lnTo>
                      <a:pt x="1192" y="609"/>
                    </a:lnTo>
                    <a:lnTo>
                      <a:pt x="1192" y="610"/>
                    </a:lnTo>
                    <a:lnTo>
                      <a:pt x="1190" y="610"/>
                    </a:lnTo>
                    <a:lnTo>
                      <a:pt x="1190" y="609"/>
                    </a:lnTo>
                    <a:close/>
                    <a:moveTo>
                      <a:pt x="1507" y="884"/>
                    </a:moveTo>
                    <a:lnTo>
                      <a:pt x="1508" y="884"/>
                    </a:lnTo>
                    <a:lnTo>
                      <a:pt x="1508" y="886"/>
                    </a:lnTo>
                    <a:lnTo>
                      <a:pt x="1507" y="886"/>
                    </a:lnTo>
                    <a:lnTo>
                      <a:pt x="1507" y="884"/>
                    </a:lnTo>
                    <a:close/>
                    <a:moveTo>
                      <a:pt x="1007" y="985"/>
                    </a:moveTo>
                    <a:lnTo>
                      <a:pt x="1009" y="985"/>
                    </a:lnTo>
                    <a:lnTo>
                      <a:pt x="1007" y="985"/>
                    </a:lnTo>
                    <a:close/>
                    <a:moveTo>
                      <a:pt x="992" y="985"/>
                    </a:moveTo>
                    <a:lnTo>
                      <a:pt x="993" y="985"/>
                    </a:lnTo>
                    <a:lnTo>
                      <a:pt x="992" y="985"/>
                    </a:lnTo>
                    <a:close/>
                    <a:moveTo>
                      <a:pt x="990" y="981"/>
                    </a:moveTo>
                    <a:lnTo>
                      <a:pt x="990" y="983"/>
                    </a:lnTo>
                    <a:lnTo>
                      <a:pt x="990" y="981"/>
                    </a:lnTo>
                    <a:close/>
                    <a:moveTo>
                      <a:pt x="1005" y="980"/>
                    </a:moveTo>
                    <a:lnTo>
                      <a:pt x="1007" y="980"/>
                    </a:lnTo>
                    <a:lnTo>
                      <a:pt x="1005" y="980"/>
                    </a:lnTo>
                    <a:lnTo>
                      <a:pt x="1007" y="981"/>
                    </a:lnTo>
                    <a:lnTo>
                      <a:pt x="1009" y="981"/>
                    </a:lnTo>
                    <a:lnTo>
                      <a:pt x="1009" y="983"/>
                    </a:lnTo>
                    <a:lnTo>
                      <a:pt x="1009" y="981"/>
                    </a:lnTo>
                    <a:lnTo>
                      <a:pt x="1009" y="983"/>
                    </a:lnTo>
                    <a:lnTo>
                      <a:pt x="1010" y="983"/>
                    </a:lnTo>
                    <a:lnTo>
                      <a:pt x="1009" y="983"/>
                    </a:lnTo>
                    <a:lnTo>
                      <a:pt x="1007" y="983"/>
                    </a:lnTo>
                    <a:lnTo>
                      <a:pt x="1007" y="985"/>
                    </a:lnTo>
                    <a:lnTo>
                      <a:pt x="1005" y="983"/>
                    </a:lnTo>
                    <a:lnTo>
                      <a:pt x="1003" y="985"/>
                    </a:lnTo>
                    <a:lnTo>
                      <a:pt x="1003" y="983"/>
                    </a:lnTo>
                    <a:lnTo>
                      <a:pt x="1002" y="983"/>
                    </a:lnTo>
                    <a:lnTo>
                      <a:pt x="1002" y="985"/>
                    </a:lnTo>
                    <a:lnTo>
                      <a:pt x="1002" y="983"/>
                    </a:lnTo>
                    <a:lnTo>
                      <a:pt x="1000" y="983"/>
                    </a:lnTo>
                    <a:lnTo>
                      <a:pt x="1002" y="983"/>
                    </a:lnTo>
                    <a:lnTo>
                      <a:pt x="1002" y="981"/>
                    </a:lnTo>
                    <a:lnTo>
                      <a:pt x="1003" y="981"/>
                    </a:lnTo>
                    <a:lnTo>
                      <a:pt x="1005" y="981"/>
                    </a:lnTo>
                    <a:lnTo>
                      <a:pt x="1003" y="980"/>
                    </a:lnTo>
                    <a:lnTo>
                      <a:pt x="1005" y="980"/>
                    </a:lnTo>
                    <a:close/>
                    <a:moveTo>
                      <a:pt x="993" y="978"/>
                    </a:moveTo>
                    <a:lnTo>
                      <a:pt x="995" y="978"/>
                    </a:lnTo>
                    <a:lnTo>
                      <a:pt x="995" y="980"/>
                    </a:lnTo>
                    <a:lnTo>
                      <a:pt x="993" y="980"/>
                    </a:lnTo>
                    <a:lnTo>
                      <a:pt x="993" y="978"/>
                    </a:lnTo>
                    <a:close/>
                    <a:moveTo>
                      <a:pt x="995" y="978"/>
                    </a:moveTo>
                    <a:lnTo>
                      <a:pt x="997" y="978"/>
                    </a:lnTo>
                    <a:lnTo>
                      <a:pt x="995" y="978"/>
                    </a:lnTo>
                    <a:close/>
                    <a:moveTo>
                      <a:pt x="1000" y="978"/>
                    </a:moveTo>
                    <a:lnTo>
                      <a:pt x="1002" y="978"/>
                    </a:lnTo>
                    <a:lnTo>
                      <a:pt x="1002" y="980"/>
                    </a:lnTo>
                    <a:lnTo>
                      <a:pt x="1000" y="980"/>
                    </a:lnTo>
                    <a:lnTo>
                      <a:pt x="1000" y="978"/>
                    </a:lnTo>
                    <a:close/>
                    <a:moveTo>
                      <a:pt x="1010" y="976"/>
                    </a:moveTo>
                    <a:lnTo>
                      <a:pt x="1012" y="976"/>
                    </a:lnTo>
                    <a:lnTo>
                      <a:pt x="1010" y="976"/>
                    </a:lnTo>
                    <a:close/>
                    <a:moveTo>
                      <a:pt x="1080" y="976"/>
                    </a:moveTo>
                    <a:lnTo>
                      <a:pt x="1082" y="976"/>
                    </a:lnTo>
                    <a:lnTo>
                      <a:pt x="1080" y="976"/>
                    </a:lnTo>
                    <a:close/>
                    <a:moveTo>
                      <a:pt x="1015" y="974"/>
                    </a:moveTo>
                    <a:lnTo>
                      <a:pt x="1017" y="974"/>
                    </a:lnTo>
                    <a:lnTo>
                      <a:pt x="1015" y="974"/>
                    </a:lnTo>
                    <a:close/>
                    <a:moveTo>
                      <a:pt x="1041" y="968"/>
                    </a:moveTo>
                    <a:lnTo>
                      <a:pt x="1041" y="969"/>
                    </a:lnTo>
                    <a:lnTo>
                      <a:pt x="1041" y="971"/>
                    </a:lnTo>
                    <a:lnTo>
                      <a:pt x="1041" y="969"/>
                    </a:lnTo>
                    <a:lnTo>
                      <a:pt x="1039" y="969"/>
                    </a:lnTo>
                    <a:lnTo>
                      <a:pt x="1039" y="971"/>
                    </a:lnTo>
                    <a:lnTo>
                      <a:pt x="1037" y="969"/>
                    </a:lnTo>
                    <a:lnTo>
                      <a:pt x="1039" y="969"/>
                    </a:lnTo>
                    <a:lnTo>
                      <a:pt x="1039" y="968"/>
                    </a:lnTo>
                    <a:lnTo>
                      <a:pt x="1039" y="969"/>
                    </a:lnTo>
                    <a:lnTo>
                      <a:pt x="1041" y="969"/>
                    </a:lnTo>
                    <a:lnTo>
                      <a:pt x="1041" y="968"/>
                    </a:lnTo>
                    <a:close/>
                    <a:moveTo>
                      <a:pt x="1090" y="954"/>
                    </a:moveTo>
                    <a:lnTo>
                      <a:pt x="1090" y="956"/>
                    </a:lnTo>
                    <a:lnTo>
                      <a:pt x="1090" y="954"/>
                    </a:lnTo>
                    <a:close/>
                    <a:moveTo>
                      <a:pt x="973" y="1005"/>
                    </a:moveTo>
                    <a:lnTo>
                      <a:pt x="975" y="1005"/>
                    </a:lnTo>
                    <a:lnTo>
                      <a:pt x="975" y="1007"/>
                    </a:lnTo>
                    <a:lnTo>
                      <a:pt x="973" y="1007"/>
                    </a:lnTo>
                    <a:lnTo>
                      <a:pt x="973" y="1005"/>
                    </a:lnTo>
                    <a:close/>
                    <a:moveTo>
                      <a:pt x="978" y="1003"/>
                    </a:moveTo>
                    <a:lnTo>
                      <a:pt x="978" y="1005"/>
                    </a:lnTo>
                    <a:lnTo>
                      <a:pt x="978" y="1003"/>
                    </a:lnTo>
                    <a:close/>
                    <a:moveTo>
                      <a:pt x="968" y="1003"/>
                    </a:moveTo>
                    <a:lnTo>
                      <a:pt x="969" y="1003"/>
                    </a:lnTo>
                    <a:lnTo>
                      <a:pt x="971" y="1005"/>
                    </a:lnTo>
                    <a:lnTo>
                      <a:pt x="971" y="1007"/>
                    </a:lnTo>
                    <a:lnTo>
                      <a:pt x="969" y="1007"/>
                    </a:lnTo>
                    <a:lnTo>
                      <a:pt x="969" y="1008"/>
                    </a:lnTo>
                    <a:lnTo>
                      <a:pt x="971" y="1010"/>
                    </a:lnTo>
                    <a:lnTo>
                      <a:pt x="971" y="1008"/>
                    </a:lnTo>
                    <a:lnTo>
                      <a:pt x="971" y="1010"/>
                    </a:lnTo>
                    <a:lnTo>
                      <a:pt x="971" y="1012"/>
                    </a:lnTo>
                    <a:lnTo>
                      <a:pt x="969" y="1012"/>
                    </a:lnTo>
                    <a:lnTo>
                      <a:pt x="969" y="1010"/>
                    </a:lnTo>
                    <a:lnTo>
                      <a:pt x="968" y="1010"/>
                    </a:lnTo>
                    <a:lnTo>
                      <a:pt x="966" y="1010"/>
                    </a:lnTo>
                    <a:lnTo>
                      <a:pt x="964" y="1012"/>
                    </a:lnTo>
                    <a:lnTo>
                      <a:pt x="964" y="1010"/>
                    </a:lnTo>
                    <a:lnTo>
                      <a:pt x="963" y="1010"/>
                    </a:lnTo>
                    <a:lnTo>
                      <a:pt x="963" y="1008"/>
                    </a:lnTo>
                    <a:lnTo>
                      <a:pt x="964" y="1008"/>
                    </a:lnTo>
                    <a:lnTo>
                      <a:pt x="964" y="1007"/>
                    </a:lnTo>
                    <a:lnTo>
                      <a:pt x="966" y="1007"/>
                    </a:lnTo>
                    <a:lnTo>
                      <a:pt x="966" y="1005"/>
                    </a:lnTo>
                    <a:lnTo>
                      <a:pt x="968" y="1005"/>
                    </a:lnTo>
                    <a:lnTo>
                      <a:pt x="968" y="1003"/>
                    </a:lnTo>
                    <a:close/>
                    <a:moveTo>
                      <a:pt x="973" y="997"/>
                    </a:moveTo>
                    <a:lnTo>
                      <a:pt x="975" y="997"/>
                    </a:lnTo>
                    <a:lnTo>
                      <a:pt x="973" y="997"/>
                    </a:lnTo>
                    <a:close/>
                    <a:moveTo>
                      <a:pt x="976" y="997"/>
                    </a:moveTo>
                    <a:lnTo>
                      <a:pt x="978" y="997"/>
                    </a:lnTo>
                    <a:lnTo>
                      <a:pt x="976" y="997"/>
                    </a:lnTo>
                    <a:close/>
                    <a:moveTo>
                      <a:pt x="983" y="991"/>
                    </a:moveTo>
                    <a:lnTo>
                      <a:pt x="985" y="991"/>
                    </a:lnTo>
                    <a:lnTo>
                      <a:pt x="983" y="991"/>
                    </a:lnTo>
                    <a:close/>
                    <a:moveTo>
                      <a:pt x="861" y="1156"/>
                    </a:moveTo>
                    <a:lnTo>
                      <a:pt x="861" y="1158"/>
                    </a:lnTo>
                    <a:lnTo>
                      <a:pt x="861" y="1156"/>
                    </a:lnTo>
                    <a:close/>
                    <a:moveTo>
                      <a:pt x="864" y="1141"/>
                    </a:moveTo>
                    <a:lnTo>
                      <a:pt x="866" y="1143"/>
                    </a:lnTo>
                    <a:lnTo>
                      <a:pt x="866" y="1141"/>
                    </a:lnTo>
                    <a:lnTo>
                      <a:pt x="866" y="1143"/>
                    </a:lnTo>
                    <a:lnTo>
                      <a:pt x="866" y="1145"/>
                    </a:lnTo>
                    <a:lnTo>
                      <a:pt x="864" y="1145"/>
                    </a:lnTo>
                    <a:lnTo>
                      <a:pt x="864" y="1146"/>
                    </a:lnTo>
                    <a:lnTo>
                      <a:pt x="864" y="1148"/>
                    </a:lnTo>
                    <a:lnTo>
                      <a:pt x="862" y="1148"/>
                    </a:lnTo>
                    <a:lnTo>
                      <a:pt x="862" y="1150"/>
                    </a:lnTo>
                    <a:lnTo>
                      <a:pt x="862" y="1151"/>
                    </a:lnTo>
                    <a:lnTo>
                      <a:pt x="861" y="1151"/>
                    </a:lnTo>
                    <a:lnTo>
                      <a:pt x="861" y="1153"/>
                    </a:lnTo>
                    <a:lnTo>
                      <a:pt x="861" y="1155"/>
                    </a:lnTo>
                    <a:lnTo>
                      <a:pt x="862" y="1155"/>
                    </a:lnTo>
                    <a:lnTo>
                      <a:pt x="861" y="1155"/>
                    </a:lnTo>
                    <a:lnTo>
                      <a:pt x="861" y="1156"/>
                    </a:lnTo>
                    <a:lnTo>
                      <a:pt x="861" y="1155"/>
                    </a:lnTo>
                    <a:lnTo>
                      <a:pt x="859" y="1156"/>
                    </a:lnTo>
                    <a:lnTo>
                      <a:pt x="859" y="1155"/>
                    </a:lnTo>
                    <a:lnTo>
                      <a:pt x="859" y="1153"/>
                    </a:lnTo>
                    <a:lnTo>
                      <a:pt x="859" y="1151"/>
                    </a:lnTo>
                    <a:lnTo>
                      <a:pt x="859" y="1150"/>
                    </a:lnTo>
                    <a:lnTo>
                      <a:pt x="861" y="1150"/>
                    </a:lnTo>
                    <a:lnTo>
                      <a:pt x="859" y="1150"/>
                    </a:lnTo>
                    <a:lnTo>
                      <a:pt x="859" y="1148"/>
                    </a:lnTo>
                    <a:lnTo>
                      <a:pt x="861" y="1148"/>
                    </a:lnTo>
                    <a:lnTo>
                      <a:pt x="861" y="1146"/>
                    </a:lnTo>
                    <a:lnTo>
                      <a:pt x="861" y="1145"/>
                    </a:lnTo>
                    <a:lnTo>
                      <a:pt x="859" y="1145"/>
                    </a:lnTo>
                    <a:lnTo>
                      <a:pt x="859" y="1143"/>
                    </a:lnTo>
                    <a:lnTo>
                      <a:pt x="861" y="1143"/>
                    </a:lnTo>
                    <a:lnTo>
                      <a:pt x="859" y="1143"/>
                    </a:lnTo>
                    <a:lnTo>
                      <a:pt x="861" y="1143"/>
                    </a:lnTo>
                    <a:lnTo>
                      <a:pt x="861" y="1141"/>
                    </a:lnTo>
                    <a:lnTo>
                      <a:pt x="861" y="1143"/>
                    </a:lnTo>
                    <a:lnTo>
                      <a:pt x="862" y="1141"/>
                    </a:lnTo>
                    <a:lnTo>
                      <a:pt x="864" y="1141"/>
                    </a:lnTo>
                    <a:lnTo>
                      <a:pt x="862" y="1141"/>
                    </a:lnTo>
                    <a:lnTo>
                      <a:pt x="864" y="1139"/>
                    </a:lnTo>
                    <a:lnTo>
                      <a:pt x="864" y="1141"/>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8" name="Freeform 21">
                <a:extLst>
                  <a:ext uri="{FF2B5EF4-FFF2-40B4-BE49-F238E27FC236}">
                    <a16:creationId xmlns:a16="http://schemas.microsoft.com/office/drawing/2014/main" id="{638A737B-AC0B-D22D-457B-2E0830861D2D}"/>
                  </a:ext>
                </a:extLst>
              </p:cNvPr>
              <p:cNvSpPr>
                <a:spLocks noEditPoints="1"/>
              </p:cNvSpPr>
              <p:nvPr/>
            </p:nvSpPr>
            <p:spPr bwMode="auto">
              <a:xfrm>
                <a:off x="5293224" y="3123357"/>
                <a:ext cx="426185" cy="496678"/>
              </a:xfrm>
              <a:custGeom>
                <a:avLst/>
                <a:gdLst>
                  <a:gd name="T0" fmla="*/ 1322 w 1451"/>
                  <a:gd name="T1" fmla="*/ 542 h 1691"/>
                  <a:gd name="T2" fmla="*/ 1283 w 1451"/>
                  <a:gd name="T3" fmla="*/ 838 h 1691"/>
                  <a:gd name="T4" fmla="*/ 1278 w 1451"/>
                  <a:gd name="T5" fmla="*/ 1092 h 1691"/>
                  <a:gd name="T6" fmla="*/ 1217 w 1451"/>
                  <a:gd name="T7" fmla="*/ 1381 h 1691"/>
                  <a:gd name="T8" fmla="*/ 1264 w 1451"/>
                  <a:gd name="T9" fmla="*/ 1556 h 1691"/>
                  <a:gd name="T10" fmla="*/ 1205 w 1451"/>
                  <a:gd name="T11" fmla="*/ 1514 h 1691"/>
                  <a:gd name="T12" fmla="*/ 1234 w 1451"/>
                  <a:gd name="T13" fmla="*/ 1488 h 1691"/>
                  <a:gd name="T14" fmla="*/ 1208 w 1451"/>
                  <a:gd name="T15" fmla="*/ 1446 h 1691"/>
                  <a:gd name="T16" fmla="*/ 1196 w 1451"/>
                  <a:gd name="T17" fmla="*/ 1384 h 1691"/>
                  <a:gd name="T18" fmla="*/ 1200 w 1451"/>
                  <a:gd name="T19" fmla="*/ 1320 h 1691"/>
                  <a:gd name="T20" fmla="*/ 1219 w 1451"/>
                  <a:gd name="T21" fmla="*/ 1260 h 1691"/>
                  <a:gd name="T22" fmla="*/ 1196 w 1451"/>
                  <a:gd name="T23" fmla="*/ 1208 h 1691"/>
                  <a:gd name="T24" fmla="*/ 1169 w 1451"/>
                  <a:gd name="T25" fmla="*/ 1153 h 1691"/>
                  <a:gd name="T26" fmla="*/ 1222 w 1451"/>
                  <a:gd name="T27" fmla="*/ 1134 h 1691"/>
                  <a:gd name="T28" fmla="*/ 1236 w 1451"/>
                  <a:gd name="T29" fmla="*/ 988 h 1691"/>
                  <a:gd name="T30" fmla="*/ 1219 w 1451"/>
                  <a:gd name="T31" fmla="*/ 871 h 1691"/>
                  <a:gd name="T32" fmla="*/ 1285 w 1451"/>
                  <a:gd name="T33" fmla="*/ 556 h 1691"/>
                  <a:gd name="T34" fmla="*/ 1312 w 1451"/>
                  <a:gd name="T35" fmla="*/ 212 h 1691"/>
                  <a:gd name="T36" fmla="*/ 1389 w 1451"/>
                  <a:gd name="T37" fmla="*/ 127 h 1691"/>
                  <a:gd name="T38" fmla="*/ 1287 w 1451"/>
                  <a:gd name="T39" fmla="*/ 1609 h 1691"/>
                  <a:gd name="T40" fmla="*/ 1321 w 1451"/>
                  <a:gd name="T41" fmla="*/ 1595 h 1691"/>
                  <a:gd name="T42" fmla="*/ 1338 w 1451"/>
                  <a:gd name="T43" fmla="*/ 1505 h 1691"/>
                  <a:gd name="T44" fmla="*/ 1174 w 1451"/>
                  <a:gd name="T45" fmla="*/ 1286 h 1691"/>
                  <a:gd name="T46" fmla="*/ 1164 w 1451"/>
                  <a:gd name="T47" fmla="*/ 1344 h 1691"/>
                  <a:gd name="T48" fmla="*/ 1173 w 1451"/>
                  <a:gd name="T49" fmla="*/ 1284 h 1691"/>
                  <a:gd name="T50" fmla="*/ 1251 w 1451"/>
                  <a:gd name="T51" fmla="*/ 1505 h 1691"/>
                  <a:gd name="T52" fmla="*/ 1355 w 1451"/>
                  <a:gd name="T53" fmla="*/ 1662 h 1691"/>
                  <a:gd name="T54" fmla="*/ 1247 w 1451"/>
                  <a:gd name="T55" fmla="*/ 1568 h 1691"/>
                  <a:gd name="T56" fmla="*/ 1402 w 1451"/>
                  <a:gd name="T57" fmla="*/ 1628 h 1691"/>
                  <a:gd name="T58" fmla="*/ 1300 w 1451"/>
                  <a:gd name="T59" fmla="*/ 1566 h 1691"/>
                  <a:gd name="T60" fmla="*/ 1174 w 1451"/>
                  <a:gd name="T61" fmla="*/ 1502 h 1691"/>
                  <a:gd name="T62" fmla="*/ 1156 w 1451"/>
                  <a:gd name="T63" fmla="*/ 1379 h 1691"/>
                  <a:gd name="T64" fmla="*/ 1156 w 1451"/>
                  <a:gd name="T65" fmla="*/ 1284 h 1691"/>
                  <a:gd name="T66" fmla="*/ 1179 w 1451"/>
                  <a:gd name="T67" fmla="*/ 1282 h 1691"/>
                  <a:gd name="T68" fmla="*/ 1312 w 1451"/>
                  <a:gd name="T69" fmla="*/ 1643 h 1691"/>
                  <a:gd name="T70" fmla="*/ 1169 w 1451"/>
                  <a:gd name="T71" fmla="*/ 1265 h 1691"/>
                  <a:gd name="T72" fmla="*/ 1152 w 1451"/>
                  <a:gd name="T73" fmla="*/ 1277 h 1691"/>
                  <a:gd name="T74" fmla="*/ 1168 w 1451"/>
                  <a:gd name="T75" fmla="*/ 1422 h 1691"/>
                  <a:gd name="T76" fmla="*/ 1196 w 1451"/>
                  <a:gd name="T77" fmla="*/ 1481 h 1691"/>
                  <a:gd name="T78" fmla="*/ 1208 w 1451"/>
                  <a:gd name="T79" fmla="*/ 1126 h 1691"/>
                  <a:gd name="T80" fmla="*/ 1193 w 1451"/>
                  <a:gd name="T81" fmla="*/ 1099 h 1691"/>
                  <a:gd name="T82" fmla="*/ 1292 w 1451"/>
                  <a:gd name="T83" fmla="*/ 1626 h 1691"/>
                  <a:gd name="T84" fmla="*/ 1207 w 1451"/>
                  <a:gd name="T85" fmla="*/ 1155 h 1691"/>
                  <a:gd name="T86" fmla="*/ 1190 w 1451"/>
                  <a:gd name="T87" fmla="*/ 1114 h 1691"/>
                  <a:gd name="T88" fmla="*/ 1173 w 1451"/>
                  <a:gd name="T89" fmla="*/ 1138 h 1691"/>
                  <a:gd name="T90" fmla="*/ 1326 w 1451"/>
                  <a:gd name="T91" fmla="*/ 1629 h 1691"/>
                  <a:gd name="T92" fmla="*/ 1164 w 1451"/>
                  <a:gd name="T93" fmla="*/ 1391 h 1691"/>
                  <a:gd name="T94" fmla="*/ 1173 w 1451"/>
                  <a:gd name="T95" fmla="*/ 1417 h 1691"/>
                  <a:gd name="T96" fmla="*/ 1229 w 1451"/>
                  <a:gd name="T97" fmla="*/ 952 h 1691"/>
                  <a:gd name="T98" fmla="*/ 1183 w 1451"/>
                  <a:gd name="T99" fmla="*/ 1075 h 1691"/>
                  <a:gd name="T100" fmla="*/ 1229 w 1451"/>
                  <a:gd name="T101" fmla="*/ 976 h 1691"/>
                  <a:gd name="T102" fmla="*/ 1378 w 1451"/>
                  <a:gd name="T103" fmla="*/ 1660 h 1691"/>
                  <a:gd name="T104" fmla="*/ 1208 w 1451"/>
                  <a:gd name="T105" fmla="*/ 1065 h 1691"/>
                  <a:gd name="T106" fmla="*/ 1229 w 1451"/>
                  <a:gd name="T107" fmla="*/ 1585 h 1691"/>
                  <a:gd name="T108" fmla="*/ 1336 w 1451"/>
                  <a:gd name="T109" fmla="*/ 1653 h 1691"/>
                  <a:gd name="T110" fmla="*/ 1185 w 1451"/>
                  <a:gd name="T111" fmla="*/ 1463 h 1691"/>
                  <a:gd name="T112" fmla="*/ 1171 w 1451"/>
                  <a:gd name="T113" fmla="*/ 1481 h 1691"/>
                  <a:gd name="T114" fmla="*/ 1215 w 1451"/>
                  <a:gd name="T115" fmla="*/ 1521 h 1691"/>
                  <a:gd name="T116" fmla="*/ 1159 w 1451"/>
                  <a:gd name="T117" fmla="*/ 1356 h 1691"/>
                  <a:gd name="T118" fmla="*/ 1251 w 1451"/>
                  <a:gd name="T119" fmla="*/ 1597 h 1691"/>
                  <a:gd name="T120" fmla="*/ 1232 w 1451"/>
                  <a:gd name="T121" fmla="*/ 1546 h 1691"/>
                  <a:gd name="T122" fmla="*/ 1281 w 1451"/>
                  <a:gd name="T123" fmla="*/ 1614 h 1691"/>
                  <a:gd name="T124" fmla="*/ 1168 w 1451"/>
                  <a:gd name="T125" fmla="*/ 1405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51" h="1691">
                    <a:moveTo>
                      <a:pt x="1426" y="190"/>
                    </a:moveTo>
                    <a:lnTo>
                      <a:pt x="1429" y="194"/>
                    </a:lnTo>
                    <a:lnTo>
                      <a:pt x="1433" y="197"/>
                    </a:lnTo>
                    <a:lnTo>
                      <a:pt x="1429" y="206"/>
                    </a:lnTo>
                    <a:lnTo>
                      <a:pt x="1429" y="207"/>
                    </a:lnTo>
                    <a:lnTo>
                      <a:pt x="1428" y="214"/>
                    </a:lnTo>
                    <a:lnTo>
                      <a:pt x="1424" y="224"/>
                    </a:lnTo>
                    <a:lnTo>
                      <a:pt x="1424" y="226"/>
                    </a:lnTo>
                    <a:lnTo>
                      <a:pt x="1421" y="236"/>
                    </a:lnTo>
                    <a:lnTo>
                      <a:pt x="1416" y="238"/>
                    </a:lnTo>
                    <a:lnTo>
                      <a:pt x="1409" y="241"/>
                    </a:lnTo>
                    <a:lnTo>
                      <a:pt x="1400" y="245"/>
                    </a:lnTo>
                    <a:lnTo>
                      <a:pt x="1399" y="245"/>
                    </a:lnTo>
                    <a:lnTo>
                      <a:pt x="1397" y="246"/>
                    </a:lnTo>
                    <a:lnTo>
                      <a:pt x="1390" y="248"/>
                    </a:lnTo>
                    <a:lnTo>
                      <a:pt x="1390" y="250"/>
                    </a:lnTo>
                    <a:lnTo>
                      <a:pt x="1389" y="250"/>
                    </a:lnTo>
                    <a:lnTo>
                      <a:pt x="1389" y="252"/>
                    </a:lnTo>
                    <a:lnTo>
                      <a:pt x="1387" y="253"/>
                    </a:lnTo>
                    <a:lnTo>
                      <a:pt x="1387" y="252"/>
                    </a:lnTo>
                    <a:lnTo>
                      <a:pt x="1385" y="252"/>
                    </a:lnTo>
                    <a:lnTo>
                      <a:pt x="1385" y="253"/>
                    </a:lnTo>
                    <a:lnTo>
                      <a:pt x="1385" y="255"/>
                    </a:lnTo>
                    <a:lnTo>
                      <a:pt x="1383" y="255"/>
                    </a:lnTo>
                    <a:lnTo>
                      <a:pt x="1383" y="257"/>
                    </a:lnTo>
                    <a:lnTo>
                      <a:pt x="1382" y="257"/>
                    </a:lnTo>
                    <a:lnTo>
                      <a:pt x="1382" y="258"/>
                    </a:lnTo>
                    <a:lnTo>
                      <a:pt x="1382" y="260"/>
                    </a:lnTo>
                    <a:lnTo>
                      <a:pt x="1380" y="260"/>
                    </a:lnTo>
                    <a:lnTo>
                      <a:pt x="1380" y="262"/>
                    </a:lnTo>
                    <a:lnTo>
                      <a:pt x="1380" y="263"/>
                    </a:lnTo>
                    <a:lnTo>
                      <a:pt x="1380" y="265"/>
                    </a:lnTo>
                    <a:lnTo>
                      <a:pt x="1382" y="267"/>
                    </a:lnTo>
                    <a:lnTo>
                      <a:pt x="1383" y="267"/>
                    </a:lnTo>
                    <a:lnTo>
                      <a:pt x="1383" y="269"/>
                    </a:lnTo>
                    <a:lnTo>
                      <a:pt x="1383" y="270"/>
                    </a:lnTo>
                    <a:lnTo>
                      <a:pt x="1385" y="270"/>
                    </a:lnTo>
                    <a:lnTo>
                      <a:pt x="1385" y="272"/>
                    </a:lnTo>
                    <a:lnTo>
                      <a:pt x="1387" y="272"/>
                    </a:lnTo>
                    <a:lnTo>
                      <a:pt x="1387" y="274"/>
                    </a:lnTo>
                    <a:lnTo>
                      <a:pt x="1387" y="275"/>
                    </a:lnTo>
                    <a:lnTo>
                      <a:pt x="1385" y="275"/>
                    </a:lnTo>
                    <a:lnTo>
                      <a:pt x="1385" y="277"/>
                    </a:lnTo>
                    <a:lnTo>
                      <a:pt x="1385" y="275"/>
                    </a:lnTo>
                    <a:lnTo>
                      <a:pt x="1383" y="275"/>
                    </a:lnTo>
                    <a:lnTo>
                      <a:pt x="1382" y="277"/>
                    </a:lnTo>
                    <a:lnTo>
                      <a:pt x="1382" y="279"/>
                    </a:lnTo>
                    <a:lnTo>
                      <a:pt x="1382" y="280"/>
                    </a:lnTo>
                    <a:lnTo>
                      <a:pt x="1380" y="280"/>
                    </a:lnTo>
                    <a:lnTo>
                      <a:pt x="1380" y="282"/>
                    </a:lnTo>
                    <a:lnTo>
                      <a:pt x="1380" y="284"/>
                    </a:lnTo>
                    <a:lnTo>
                      <a:pt x="1382" y="284"/>
                    </a:lnTo>
                    <a:lnTo>
                      <a:pt x="1382" y="286"/>
                    </a:lnTo>
                    <a:lnTo>
                      <a:pt x="1380" y="286"/>
                    </a:lnTo>
                    <a:lnTo>
                      <a:pt x="1380" y="287"/>
                    </a:lnTo>
                    <a:lnTo>
                      <a:pt x="1378" y="287"/>
                    </a:lnTo>
                    <a:lnTo>
                      <a:pt x="1380" y="289"/>
                    </a:lnTo>
                    <a:lnTo>
                      <a:pt x="1380" y="291"/>
                    </a:lnTo>
                    <a:lnTo>
                      <a:pt x="1380" y="292"/>
                    </a:lnTo>
                    <a:lnTo>
                      <a:pt x="1382" y="292"/>
                    </a:lnTo>
                    <a:lnTo>
                      <a:pt x="1380" y="294"/>
                    </a:lnTo>
                    <a:lnTo>
                      <a:pt x="1380" y="296"/>
                    </a:lnTo>
                    <a:lnTo>
                      <a:pt x="1382" y="296"/>
                    </a:lnTo>
                    <a:lnTo>
                      <a:pt x="1382" y="297"/>
                    </a:lnTo>
                    <a:lnTo>
                      <a:pt x="1383" y="299"/>
                    </a:lnTo>
                    <a:lnTo>
                      <a:pt x="1383" y="304"/>
                    </a:lnTo>
                    <a:lnTo>
                      <a:pt x="1385" y="308"/>
                    </a:lnTo>
                    <a:lnTo>
                      <a:pt x="1385" y="309"/>
                    </a:lnTo>
                    <a:lnTo>
                      <a:pt x="1385" y="313"/>
                    </a:lnTo>
                    <a:lnTo>
                      <a:pt x="1385" y="316"/>
                    </a:lnTo>
                    <a:lnTo>
                      <a:pt x="1383" y="316"/>
                    </a:lnTo>
                    <a:lnTo>
                      <a:pt x="1382" y="318"/>
                    </a:lnTo>
                    <a:lnTo>
                      <a:pt x="1380" y="320"/>
                    </a:lnTo>
                    <a:lnTo>
                      <a:pt x="1380" y="323"/>
                    </a:lnTo>
                    <a:lnTo>
                      <a:pt x="1378" y="325"/>
                    </a:lnTo>
                    <a:lnTo>
                      <a:pt x="1378" y="326"/>
                    </a:lnTo>
                    <a:lnTo>
                      <a:pt x="1380" y="328"/>
                    </a:lnTo>
                    <a:lnTo>
                      <a:pt x="1380" y="330"/>
                    </a:lnTo>
                    <a:lnTo>
                      <a:pt x="1382" y="331"/>
                    </a:lnTo>
                    <a:lnTo>
                      <a:pt x="1382" y="333"/>
                    </a:lnTo>
                    <a:lnTo>
                      <a:pt x="1383" y="333"/>
                    </a:lnTo>
                    <a:lnTo>
                      <a:pt x="1383" y="335"/>
                    </a:lnTo>
                    <a:lnTo>
                      <a:pt x="1385" y="338"/>
                    </a:lnTo>
                    <a:lnTo>
                      <a:pt x="1387" y="338"/>
                    </a:lnTo>
                    <a:lnTo>
                      <a:pt x="1387" y="340"/>
                    </a:lnTo>
                    <a:lnTo>
                      <a:pt x="1389" y="342"/>
                    </a:lnTo>
                    <a:lnTo>
                      <a:pt x="1389" y="343"/>
                    </a:lnTo>
                    <a:lnTo>
                      <a:pt x="1390" y="343"/>
                    </a:lnTo>
                    <a:lnTo>
                      <a:pt x="1389" y="343"/>
                    </a:lnTo>
                    <a:lnTo>
                      <a:pt x="1389" y="345"/>
                    </a:lnTo>
                    <a:lnTo>
                      <a:pt x="1389" y="347"/>
                    </a:lnTo>
                    <a:lnTo>
                      <a:pt x="1389" y="349"/>
                    </a:lnTo>
                    <a:lnTo>
                      <a:pt x="1387" y="349"/>
                    </a:lnTo>
                    <a:lnTo>
                      <a:pt x="1385" y="349"/>
                    </a:lnTo>
                    <a:lnTo>
                      <a:pt x="1383" y="349"/>
                    </a:lnTo>
                    <a:lnTo>
                      <a:pt x="1383" y="350"/>
                    </a:lnTo>
                    <a:lnTo>
                      <a:pt x="1382" y="349"/>
                    </a:lnTo>
                    <a:lnTo>
                      <a:pt x="1383" y="350"/>
                    </a:lnTo>
                    <a:lnTo>
                      <a:pt x="1382" y="352"/>
                    </a:lnTo>
                    <a:lnTo>
                      <a:pt x="1380" y="350"/>
                    </a:lnTo>
                    <a:lnTo>
                      <a:pt x="1380" y="352"/>
                    </a:lnTo>
                    <a:lnTo>
                      <a:pt x="1380" y="354"/>
                    </a:lnTo>
                    <a:lnTo>
                      <a:pt x="1378" y="352"/>
                    </a:lnTo>
                    <a:lnTo>
                      <a:pt x="1378" y="354"/>
                    </a:lnTo>
                    <a:lnTo>
                      <a:pt x="1377" y="352"/>
                    </a:lnTo>
                    <a:lnTo>
                      <a:pt x="1377" y="350"/>
                    </a:lnTo>
                    <a:lnTo>
                      <a:pt x="1375" y="350"/>
                    </a:lnTo>
                    <a:lnTo>
                      <a:pt x="1373" y="350"/>
                    </a:lnTo>
                    <a:lnTo>
                      <a:pt x="1372" y="350"/>
                    </a:lnTo>
                    <a:lnTo>
                      <a:pt x="1372" y="352"/>
                    </a:lnTo>
                    <a:lnTo>
                      <a:pt x="1370" y="352"/>
                    </a:lnTo>
                    <a:lnTo>
                      <a:pt x="1370" y="354"/>
                    </a:lnTo>
                    <a:lnTo>
                      <a:pt x="1370" y="355"/>
                    </a:lnTo>
                    <a:lnTo>
                      <a:pt x="1370" y="357"/>
                    </a:lnTo>
                    <a:lnTo>
                      <a:pt x="1372" y="357"/>
                    </a:lnTo>
                    <a:lnTo>
                      <a:pt x="1370" y="357"/>
                    </a:lnTo>
                    <a:lnTo>
                      <a:pt x="1370" y="359"/>
                    </a:lnTo>
                    <a:lnTo>
                      <a:pt x="1368" y="359"/>
                    </a:lnTo>
                    <a:lnTo>
                      <a:pt x="1368" y="360"/>
                    </a:lnTo>
                    <a:lnTo>
                      <a:pt x="1368" y="362"/>
                    </a:lnTo>
                    <a:lnTo>
                      <a:pt x="1366" y="362"/>
                    </a:lnTo>
                    <a:lnTo>
                      <a:pt x="1368" y="362"/>
                    </a:lnTo>
                    <a:lnTo>
                      <a:pt x="1366" y="364"/>
                    </a:lnTo>
                    <a:lnTo>
                      <a:pt x="1366" y="362"/>
                    </a:lnTo>
                    <a:lnTo>
                      <a:pt x="1366" y="364"/>
                    </a:lnTo>
                    <a:lnTo>
                      <a:pt x="1365" y="364"/>
                    </a:lnTo>
                    <a:lnTo>
                      <a:pt x="1366" y="364"/>
                    </a:lnTo>
                    <a:lnTo>
                      <a:pt x="1366" y="366"/>
                    </a:lnTo>
                    <a:lnTo>
                      <a:pt x="1366" y="367"/>
                    </a:lnTo>
                    <a:lnTo>
                      <a:pt x="1365" y="367"/>
                    </a:lnTo>
                    <a:lnTo>
                      <a:pt x="1366" y="367"/>
                    </a:lnTo>
                    <a:lnTo>
                      <a:pt x="1365" y="369"/>
                    </a:lnTo>
                    <a:lnTo>
                      <a:pt x="1363" y="369"/>
                    </a:lnTo>
                    <a:lnTo>
                      <a:pt x="1363" y="371"/>
                    </a:lnTo>
                    <a:lnTo>
                      <a:pt x="1363" y="372"/>
                    </a:lnTo>
                    <a:lnTo>
                      <a:pt x="1363" y="374"/>
                    </a:lnTo>
                    <a:lnTo>
                      <a:pt x="1361" y="374"/>
                    </a:lnTo>
                    <a:lnTo>
                      <a:pt x="1361" y="376"/>
                    </a:lnTo>
                    <a:lnTo>
                      <a:pt x="1361" y="377"/>
                    </a:lnTo>
                    <a:lnTo>
                      <a:pt x="1361" y="379"/>
                    </a:lnTo>
                    <a:lnTo>
                      <a:pt x="1361" y="381"/>
                    </a:lnTo>
                    <a:lnTo>
                      <a:pt x="1360" y="381"/>
                    </a:lnTo>
                    <a:lnTo>
                      <a:pt x="1360" y="383"/>
                    </a:lnTo>
                    <a:lnTo>
                      <a:pt x="1360" y="384"/>
                    </a:lnTo>
                    <a:lnTo>
                      <a:pt x="1358" y="383"/>
                    </a:lnTo>
                    <a:lnTo>
                      <a:pt x="1356" y="384"/>
                    </a:lnTo>
                    <a:lnTo>
                      <a:pt x="1356" y="386"/>
                    </a:lnTo>
                    <a:lnTo>
                      <a:pt x="1355" y="388"/>
                    </a:lnTo>
                    <a:lnTo>
                      <a:pt x="1355" y="389"/>
                    </a:lnTo>
                    <a:lnTo>
                      <a:pt x="1353" y="391"/>
                    </a:lnTo>
                    <a:lnTo>
                      <a:pt x="1353" y="393"/>
                    </a:lnTo>
                    <a:lnTo>
                      <a:pt x="1351" y="393"/>
                    </a:lnTo>
                    <a:lnTo>
                      <a:pt x="1349" y="391"/>
                    </a:lnTo>
                    <a:lnTo>
                      <a:pt x="1349" y="393"/>
                    </a:lnTo>
                    <a:lnTo>
                      <a:pt x="1349" y="394"/>
                    </a:lnTo>
                    <a:lnTo>
                      <a:pt x="1348" y="394"/>
                    </a:lnTo>
                    <a:lnTo>
                      <a:pt x="1348" y="396"/>
                    </a:lnTo>
                    <a:lnTo>
                      <a:pt x="1348" y="398"/>
                    </a:lnTo>
                    <a:lnTo>
                      <a:pt x="1346" y="398"/>
                    </a:lnTo>
                    <a:lnTo>
                      <a:pt x="1344" y="398"/>
                    </a:lnTo>
                    <a:lnTo>
                      <a:pt x="1346" y="400"/>
                    </a:lnTo>
                    <a:lnTo>
                      <a:pt x="1344" y="400"/>
                    </a:lnTo>
                    <a:lnTo>
                      <a:pt x="1343" y="400"/>
                    </a:lnTo>
                    <a:lnTo>
                      <a:pt x="1343" y="401"/>
                    </a:lnTo>
                    <a:lnTo>
                      <a:pt x="1344" y="401"/>
                    </a:lnTo>
                    <a:lnTo>
                      <a:pt x="1343" y="401"/>
                    </a:lnTo>
                    <a:lnTo>
                      <a:pt x="1343" y="403"/>
                    </a:lnTo>
                    <a:lnTo>
                      <a:pt x="1343" y="405"/>
                    </a:lnTo>
                    <a:lnTo>
                      <a:pt x="1343" y="406"/>
                    </a:lnTo>
                    <a:lnTo>
                      <a:pt x="1341" y="406"/>
                    </a:lnTo>
                    <a:lnTo>
                      <a:pt x="1343" y="408"/>
                    </a:lnTo>
                    <a:lnTo>
                      <a:pt x="1341" y="408"/>
                    </a:lnTo>
                    <a:lnTo>
                      <a:pt x="1341" y="410"/>
                    </a:lnTo>
                    <a:lnTo>
                      <a:pt x="1341" y="411"/>
                    </a:lnTo>
                    <a:lnTo>
                      <a:pt x="1341" y="413"/>
                    </a:lnTo>
                    <a:lnTo>
                      <a:pt x="1341" y="415"/>
                    </a:lnTo>
                    <a:lnTo>
                      <a:pt x="1341" y="417"/>
                    </a:lnTo>
                    <a:lnTo>
                      <a:pt x="1339" y="417"/>
                    </a:lnTo>
                    <a:lnTo>
                      <a:pt x="1339" y="418"/>
                    </a:lnTo>
                    <a:lnTo>
                      <a:pt x="1339" y="420"/>
                    </a:lnTo>
                    <a:lnTo>
                      <a:pt x="1339" y="422"/>
                    </a:lnTo>
                    <a:lnTo>
                      <a:pt x="1339" y="423"/>
                    </a:lnTo>
                    <a:lnTo>
                      <a:pt x="1338" y="423"/>
                    </a:lnTo>
                    <a:lnTo>
                      <a:pt x="1339" y="425"/>
                    </a:lnTo>
                    <a:lnTo>
                      <a:pt x="1338" y="425"/>
                    </a:lnTo>
                    <a:lnTo>
                      <a:pt x="1338" y="427"/>
                    </a:lnTo>
                    <a:lnTo>
                      <a:pt x="1339" y="427"/>
                    </a:lnTo>
                    <a:lnTo>
                      <a:pt x="1338" y="427"/>
                    </a:lnTo>
                    <a:lnTo>
                      <a:pt x="1338" y="428"/>
                    </a:lnTo>
                    <a:lnTo>
                      <a:pt x="1336" y="428"/>
                    </a:lnTo>
                    <a:lnTo>
                      <a:pt x="1334" y="428"/>
                    </a:lnTo>
                    <a:lnTo>
                      <a:pt x="1334" y="430"/>
                    </a:lnTo>
                    <a:lnTo>
                      <a:pt x="1332" y="430"/>
                    </a:lnTo>
                    <a:lnTo>
                      <a:pt x="1332" y="432"/>
                    </a:lnTo>
                    <a:lnTo>
                      <a:pt x="1332" y="434"/>
                    </a:lnTo>
                    <a:lnTo>
                      <a:pt x="1331" y="434"/>
                    </a:lnTo>
                    <a:lnTo>
                      <a:pt x="1331" y="435"/>
                    </a:lnTo>
                    <a:lnTo>
                      <a:pt x="1331" y="437"/>
                    </a:lnTo>
                    <a:lnTo>
                      <a:pt x="1331" y="439"/>
                    </a:lnTo>
                    <a:lnTo>
                      <a:pt x="1332" y="439"/>
                    </a:lnTo>
                    <a:lnTo>
                      <a:pt x="1332" y="440"/>
                    </a:lnTo>
                    <a:lnTo>
                      <a:pt x="1332" y="442"/>
                    </a:lnTo>
                    <a:lnTo>
                      <a:pt x="1332" y="444"/>
                    </a:lnTo>
                    <a:lnTo>
                      <a:pt x="1334" y="444"/>
                    </a:lnTo>
                    <a:lnTo>
                      <a:pt x="1332" y="445"/>
                    </a:lnTo>
                    <a:lnTo>
                      <a:pt x="1334" y="445"/>
                    </a:lnTo>
                    <a:lnTo>
                      <a:pt x="1332" y="447"/>
                    </a:lnTo>
                    <a:lnTo>
                      <a:pt x="1334" y="447"/>
                    </a:lnTo>
                    <a:lnTo>
                      <a:pt x="1332" y="447"/>
                    </a:lnTo>
                    <a:lnTo>
                      <a:pt x="1332" y="449"/>
                    </a:lnTo>
                    <a:lnTo>
                      <a:pt x="1334" y="449"/>
                    </a:lnTo>
                    <a:lnTo>
                      <a:pt x="1334" y="451"/>
                    </a:lnTo>
                    <a:lnTo>
                      <a:pt x="1336" y="451"/>
                    </a:lnTo>
                    <a:lnTo>
                      <a:pt x="1336" y="452"/>
                    </a:lnTo>
                    <a:lnTo>
                      <a:pt x="1334" y="452"/>
                    </a:lnTo>
                    <a:lnTo>
                      <a:pt x="1334" y="454"/>
                    </a:lnTo>
                    <a:lnTo>
                      <a:pt x="1334" y="456"/>
                    </a:lnTo>
                    <a:lnTo>
                      <a:pt x="1336" y="456"/>
                    </a:lnTo>
                    <a:lnTo>
                      <a:pt x="1334" y="457"/>
                    </a:lnTo>
                    <a:lnTo>
                      <a:pt x="1336" y="457"/>
                    </a:lnTo>
                    <a:lnTo>
                      <a:pt x="1334" y="459"/>
                    </a:lnTo>
                    <a:lnTo>
                      <a:pt x="1334" y="461"/>
                    </a:lnTo>
                    <a:lnTo>
                      <a:pt x="1334" y="462"/>
                    </a:lnTo>
                    <a:lnTo>
                      <a:pt x="1334" y="464"/>
                    </a:lnTo>
                    <a:lnTo>
                      <a:pt x="1332" y="464"/>
                    </a:lnTo>
                    <a:lnTo>
                      <a:pt x="1332" y="466"/>
                    </a:lnTo>
                    <a:lnTo>
                      <a:pt x="1334" y="466"/>
                    </a:lnTo>
                    <a:lnTo>
                      <a:pt x="1336" y="466"/>
                    </a:lnTo>
                    <a:lnTo>
                      <a:pt x="1336" y="468"/>
                    </a:lnTo>
                    <a:lnTo>
                      <a:pt x="1338" y="468"/>
                    </a:lnTo>
                    <a:lnTo>
                      <a:pt x="1338" y="469"/>
                    </a:lnTo>
                    <a:lnTo>
                      <a:pt x="1338" y="471"/>
                    </a:lnTo>
                    <a:lnTo>
                      <a:pt x="1336" y="471"/>
                    </a:lnTo>
                    <a:lnTo>
                      <a:pt x="1336" y="469"/>
                    </a:lnTo>
                    <a:lnTo>
                      <a:pt x="1336" y="471"/>
                    </a:lnTo>
                    <a:lnTo>
                      <a:pt x="1336" y="473"/>
                    </a:lnTo>
                    <a:lnTo>
                      <a:pt x="1334" y="473"/>
                    </a:lnTo>
                    <a:lnTo>
                      <a:pt x="1334" y="474"/>
                    </a:lnTo>
                    <a:lnTo>
                      <a:pt x="1334" y="476"/>
                    </a:lnTo>
                    <a:lnTo>
                      <a:pt x="1332" y="476"/>
                    </a:lnTo>
                    <a:lnTo>
                      <a:pt x="1331" y="476"/>
                    </a:lnTo>
                    <a:lnTo>
                      <a:pt x="1331" y="478"/>
                    </a:lnTo>
                    <a:lnTo>
                      <a:pt x="1329" y="478"/>
                    </a:lnTo>
                    <a:lnTo>
                      <a:pt x="1329" y="476"/>
                    </a:lnTo>
                    <a:lnTo>
                      <a:pt x="1327" y="476"/>
                    </a:lnTo>
                    <a:lnTo>
                      <a:pt x="1327" y="474"/>
                    </a:lnTo>
                    <a:lnTo>
                      <a:pt x="1326" y="476"/>
                    </a:lnTo>
                    <a:lnTo>
                      <a:pt x="1327" y="478"/>
                    </a:lnTo>
                    <a:lnTo>
                      <a:pt x="1327" y="479"/>
                    </a:lnTo>
                    <a:lnTo>
                      <a:pt x="1326" y="479"/>
                    </a:lnTo>
                    <a:lnTo>
                      <a:pt x="1326" y="481"/>
                    </a:lnTo>
                    <a:lnTo>
                      <a:pt x="1324" y="481"/>
                    </a:lnTo>
                    <a:lnTo>
                      <a:pt x="1326" y="481"/>
                    </a:lnTo>
                    <a:lnTo>
                      <a:pt x="1324" y="483"/>
                    </a:lnTo>
                    <a:lnTo>
                      <a:pt x="1324" y="485"/>
                    </a:lnTo>
                    <a:lnTo>
                      <a:pt x="1324" y="486"/>
                    </a:lnTo>
                    <a:lnTo>
                      <a:pt x="1322" y="486"/>
                    </a:lnTo>
                    <a:lnTo>
                      <a:pt x="1322" y="488"/>
                    </a:lnTo>
                    <a:lnTo>
                      <a:pt x="1324" y="488"/>
                    </a:lnTo>
                    <a:lnTo>
                      <a:pt x="1322" y="488"/>
                    </a:lnTo>
                    <a:lnTo>
                      <a:pt x="1322" y="490"/>
                    </a:lnTo>
                    <a:lnTo>
                      <a:pt x="1322" y="491"/>
                    </a:lnTo>
                    <a:lnTo>
                      <a:pt x="1322" y="493"/>
                    </a:lnTo>
                    <a:lnTo>
                      <a:pt x="1322" y="495"/>
                    </a:lnTo>
                    <a:lnTo>
                      <a:pt x="1321" y="495"/>
                    </a:lnTo>
                    <a:lnTo>
                      <a:pt x="1321" y="497"/>
                    </a:lnTo>
                    <a:lnTo>
                      <a:pt x="1321" y="498"/>
                    </a:lnTo>
                    <a:lnTo>
                      <a:pt x="1321" y="500"/>
                    </a:lnTo>
                    <a:lnTo>
                      <a:pt x="1321" y="502"/>
                    </a:lnTo>
                    <a:lnTo>
                      <a:pt x="1322" y="502"/>
                    </a:lnTo>
                    <a:lnTo>
                      <a:pt x="1322" y="503"/>
                    </a:lnTo>
                    <a:lnTo>
                      <a:pt x="1321" y="503"/>
                    </a:lnTo>
                    <a:lnTo>
                      <a:pt x="1319" y="503"/>
                    </a:lnTo>
                    <a:lnTo>
                      <a:pt x="1319" y="505"/>
                    </a:lnTo>
                    <a:lnTo>
                      <a:pt x="1319" y="507"/>
                    </a:lnTo>
                    <a:lnTo>
                      <a:pt x="1317" y="508"/>
                    </a:lnTo>
                    <a:lnTo>
                      <a:pt x="1317" y="507"/>
                    </a:lnTo>
                    <a:lnTo>
                      <a:pt x="1317" y="505"/>
                    </a:lnTo>
                    <a:lnTo>
                      <a:pt x="1315" y="505"/>
                    </a:lnTo>
                    <a:lnTo>
                      <a:pt x="1315" y="503"/>
                    </a:lnTo>
                    <a:lnTo>
                      <a:pt x="1315" y="505"/>
                    </a:lnTo>
                    <a:lnTo>
                      <a:pt x="1314" y="505"/>
                    </a:lnTo>
                    <a:lnTo>
                      <a:pt x="1314" y="507"/>
                    </a:lnTo>
                    <a:lnTo>
                      <a:pt x="1314" y="508"/>
                    </a:lnTo>
                    <a:lnTo>
                      <a:pt x="1314" y="510"/>
                    </a:lnTo>
                    <a:lnTo>
                      <a:pt x="1314" y="512"/>
                    </a:lnTo>
                    <a:lnTo>
                      <a:pt x="1312" y="514"/>
                    </a:lnTo>
                    <a:lnTo>
                      <a:pt x="1314" y="514"/>
                    </a:lnTo>
                    <a:lnTo>
                      <a:pt x="1314" y="515"/>
                    </a:lnTo>
                    <a:lnTo>
                      <a:pt x="1314" y="517"/>
                    </a:lnTo>
                    <a:lnTo>
                      <a:pt x="1312" y="517"/>
                    </a:lnTo>
                    <a:lnTo>
                      <a:pt x="1312" y="519"/>
                    </a:lnTo>
                    <a:lnTo>
                      <a:pt x="1312" y="520"/>
                    </a:lnTo>
                    <a:lnTo>
                      <a:pt x="1312" y="522"/>
                    </a:lnTo>
                    <a:lnTo>
                      <a:pt x="1312" y="524"/>
                    </a:lnTo>
                    <a:lnTo>
                      <a:pt x="1312" y="525"/>
                    </a:lnTo>
                    <a:lnTo>
                      <a:pt x="1314" y="525"/>
                    </a:lnTo>
                    <a:lnTo>
                      <a:pt x="1314" y="527"/>
                    </a:lnTo>
                    <a:lnTo>
                      <a:pt x="1315" y="527"/>
                    </a:lnTo>
                    <a:lnTo>
                      <a:pt x="1315" y="529"/>
                    </a:lnTo>
                    <a:lnTo>
                      <a:pt x="1315" y="531"/>
                    </a:lnTo>
                    <a:lnTo>
                      <a:pt x="1315" y="532"/>
                    </a:lnTo>
                    <a:lnTo>
                      <a:pt x="1315" y="534"/>
                    </a:lnTo>
                    <a:lnTo>
                      <a:pt x="1317" y="536"/>
                    </a:lnTo>
                    <a:lnTo>
                      <a:pt x="1319" y="536"/>
                    </a:lnTo>
                    <a:lnTo>
                      <a:pt x="1321" y="536"/>
                    </a:lnTo>
                    <a:lnTo>
                      <a:pt x="1322" y="536"/>
                    </a:lnTo>
                    <a:lnTo>
                      <a:pt x="1322" y="537"/>
                    </a:lnTo>
                    <a:lnTo>
                      <a:pt x="1324" y="537"/>
                    </a:lnTo>
                    <a:lnTo>
                      <a:pt x="1324" y="539"/>
                    </a:lnTo>
                    <a:lnTo>
                      <a:pt x="1322" y="541"/>
                    </a:lnTo>
                    <a:lnTo>
                      <a:pt x="1322" y="542"/>
                    </a:lnTo>
                    <a:lnTo>
                      <a:pt x="1321" y="542"/>
                    </a:lnTo>
                    <a:lnTo>
                      <a:pt x="1319" y="541"/>
                    </a:lnTo>
                    <a:lnTo>
                      <a:pt x="1319" y="542"/>
                    </a:lnTo>
                    <a:lnTo>
                      <a:pt x="1321" y="544"/>
                    </a:lnTo>
                    <a:lnTo>
                      <a:pt x="1319" y="544"/>
                    </a:lnTo>
                    <a:lnTo>
                      <a:pt x="1321" y="544"/>
                    </a:lnTo>
                    <a:lnTo>
                      <a:pt x="1321" y="546"/>
                    </a:lnTo>
                    <a:lnTo>
                      <a:pt x="1321" y="548"/>
                    </a:lnTo>
                    <a:lnTo>
                      <a:pt x="1321" y="549"/>
                    </a:lnTo>
                    <a:lnTo>
                      <a:pt x="1321" y="551"/>
                    </a:lnTo>
                    <a:lnTo>
                      <a:pt x="1322" y="553"/>
                    </a:lnTo>
                    <a:lnTo>
                      <a:pt x="1324" y="553"/>
                    </a:lnTo>
                    <a:lnTo>
                      <a:pt x="1324" y="554"/>
                    </a:lnTo>
                    <a:lnTo>
                      <a:pt x="1324" y="556"/>
                    </a:lnTo>
                    <a:lnTo>
                      <a:pt x="1324" y="558"/>
                    </a:lnTo>
                    <a:lnTo>
                      <a:pt x="1326" y="559"/>
                    </a:lnTo>
                    <a:lnTo>
                      <a:pt x="1327" y="559"/>
                    </a:lnTo>
                    <a:lnTo>
                      <a:pt x="1326" y="561"/>
                    </a:lnTo>
                    <a:lnTo>
                      <a:pt x="1327" y="561"/>
                    </a:lnTo>
                    <a:lnTo>
                      <a:pt x="1327" y="563"/>
                    </a:lnTo>
                    <a:lnTo>
                      <a:pt x="1326" y="565"/>
                    </a:lnTo>
                    <a:lnTo>
                      <a:pt x="1326" y="566"/>
                    </a:lnTo>
                    <a:lnTo>
                      <a:pt x="1326" y="568"/>
                    </a:lnTo>
                    <a:lnTo>
                      <a:pt x="1326" y="570"/>
                    </a:lnTo>
                    <a:lnTo>
                      <a:pt x="1327" y="570"/>
                    </a:lnTo>
                    <a:lnTo>
                      <a:pt x="1327" y="571"/>
                    </a:lnTo>
                    <a:lnTo>
                      <a:pt x="1327" y="573"/>
                    </a:lnTo>
                    <a:lnTo>
                      <a:pt x="1329" y="573"/>
                    </a:lnTo>
                    <a:lnTo>
                      <a:pt x="1329" y="575"/>
                    </a:lnTo>
                    <a:lnTo>
                      <a:pt x="1331" y="576"/>
                    </a:lnTo>
                    <a:lnTo>
                      <a:pt x="1331" y="578"/>
                    </a:lnTo>
                    <a:lnTo>
                      <a:pt x="1331" y="580"/>
                    </a:lnTo>
                    <a:lnTo>
                      <a:pt x="1332" y="580"/>
                    </a:lnTo>
                    <a:lnTo>
                      <a:pt x="1331" y="580"/>
                    </a:lnTo>
                    <a:lnTo>
                      <a:pt x="1331" y="582"/>
                    </a:lnTo>
                    <a:lnTo>
                      <a:pt x="1329" y="582"/>
                    </a:lnTo>
                    <a:lnTo>
                      <a:pt x="1327" y="583"/>
                    </a:lnTo>
                    <a:lnTo>
                      <a:pt x="1329" y="583"/>
                    </a:lnTo>
                    <a:lnTo>
                      <a:pt x="1329" y="585"/>
                    </a:lnTo>
                    <a:lnTo>
                      <a:pt x="1329" y="587"/>
                    </a:lnTo>
                    <a:lnTo>
                      <a:pt x="1329" y="588"/>
                    </a:lnTo>
                    <a:lnTo>
                      <a:pt x="1329" y="590"/>
                    </a:lnTo>
                    <a:lnTo>
                      <a:pt x="1331" y="590"/>
                    </a:lnTo>
                    <a:lnTo>
                      <a:pt x="1331" y="592"/>
                    </a:lnTo>
                    <a:lnTo>
                      <a:pt x="1331" y="593"/>
                    </a:lnTo>
                    <a:lnTo>
                      <a:pt x="1332" y="593"/>
                    </a:lnTo>
                    <a:lnTo>
                      <a:pt x="1332" y="592"/>
                    </a:lnTo>
                    <a:lnTo>
                      <a:pt x="1334" y="592"/>
                    </a:lnTo>
                    <a:lnTo>
                      <a:pt x="1334" y="590"/>
                    </a:lnTo>
                    <a:lnTo>
                      <a:pt x="1334" y="592"/>
                    </a:lnTo>
                    <a:lnTo>
                      <a:pt x="1336" y="592"/>
                    </a:lnTo>
                    <a:lnTo>
                      <a:pt x="1338" y="592"/>
                    </a:lnTo>
                    <a:lnTo>
                      <a:pt x="1338" y="593"/>
                    </a:lnTo>
                    <a:lnTo>
                      <a:pt x="1339" y="593"/>
                    </a:lnTo>
                    <a:lnTo>
                      <a:pt x="1339" y="595"/>
                    </a:lnTo>
                    <a:lnTo>
                      <a:pt x="1339" y="597"/>
                    </a:lnTo>
                    <a:lnTo>
                      <a:pt x="1338" y="597"/>
                    </a:lnTo>
                    <a:lnTo>
                      <a:pt x="1338" y="599"/>
                    </a:lnTo>
                    <a:lnTo>
                      <a:pt x="1338" y="600"/>
                    </a:lnTo>
                    <a:lnTo>
                      <a:pt x="1338" y="602"/>
                    </a:lnTo>
                    <a:lnTo>
                      <a:pt x="1336" y="602"/>
                    </a:lnTo>
                    <a:lnTo>
                      <a:pt x="1336" y="604"/>
                    </a:lnTo>
                    <a:lnTo>
                      <a:pt x="1336" y="605"/>
                    </a:lnTo>
                    <a:lnTo>
                      <a:pt x="1336" y="607"/>
                    </a:lnTo>
                    <a:lnTo>
                      <a:pt x="1336" y="609"/>
                    </a:lnTo>
                    <a:lnTo>
                      <a:pt x="1336" y="610"/>
                    </a:lnTo>
                    <a:lnTo>
                      <a:pt x="1334" y="610"/>
                    </a:lnTo>
                    <a:lnTo>
                      <a:pt x="1334" y="612"/>
                    </a:lnTo>
                    <a:lnTo>
                      <a:pt x="1334" y="614"/>
                    </a:lnTo>
                    <a:lnTo>
                      <a:pt x="1334" y="616"/>
                    </a:lnTo>
                    <a:lnTo>
                      <a:pt x="1336" y="616"/>
                    </a:lnTo>
                    <a:lnTo>
                      <a:pt x="1336" y="617"/>
                    </a:lnTo>
                    <a:lnTo>
                      <a:pt x="1334" y="617"/>
                    </a:lnTo>
                    <a:lnTo>
                      <a:pt x="1334" y="619"/>
                    </a:lnTo>
                    <a:lnTo>
                      <a:pt x="1336" y="621"/>
                    </a:lnTo>
                    <a:lnTo>
                      <a:pt x="1336" y="619"/>
                    </a:lnTo>
                    <a:lnTo>
                      <a:pt x="1336" y="621"/>
                    </a:lnTo>
                    <a:lnTo>
                      <a:pt x="1338" y="622"/>
                    </a:lnTo>
                    <a:lnTo>
                      <a:pt x="1336" y="622"/>
                    </a:lnTo>
                    <a:lnTo>
                      <a:pt x="1336" y="624"/>
                    </a:lnTo>
                    <a:lnTo>
                      <a:pt x="1338" y="624"/>
                    </a:lnTo>
                    <a:lnTo>
                      <a:pt x="1336" y="626"/>
                    </a:lnTo>
                    <a:lnTo>
                      <a:pt x="1336" y="627"/>
                    </a:lnTo>
                    <a:lnTo>
                      <a:pt x="1338" y="627"/>
                    </a:lnTo>
                    <a:lnTo>
                      <a:pt x="1338" y="629"/>
                    </a:lnTo>
                    <a:lnTo>
                      <a:pt x="1338" y="631"/>
                    </a:lnTo>
                    <a:lnTo>
                      <a:pt x="1336" y="631"/>
                    </a:lnTo>
                    <a:lnTo>
                      <a:pt x="1336" y="633"/>
                    </a:lnTo>
                    <a:lnTo>
                      <a:pt x="1334" y="633"/>
                    </a:lnTo>
                    <a:lnTo>
                      <a:pt x="1332" y="633"/>
                    </a:lnTo>
                    <a:lnTo>
                      <a:pt x="1332" y="631"/>
                    </a:lnTo>
                    <a:lnTo>
                      <a:pt x="1332" y="633"/>
                    </a:lnTo>
                    <a:lnTo>
                      <a:pt x="1331" y="633"/>
                    </a:lnTo>
                    <a:lnTo>
                      <a:pt x="1331" y="634"/>
                    </a:lnTo>
                    <a:lnTo>
                      <a:pt x="1331" y="636"/>
                    </a:lnTo>
                    <a:lnTo>
                      <a:pt x="1331" y="638"/>
                    </a:lnTo>
                    <a:lnTo>
                      <a:pt x="1329" y="639"/>
                    </a:lnTo>
                    <a:lnTo>
                      <a:pt x="1329" y="641"/>
                    </a:lnTo>
                    <a:lnTo>
                      <a:pt x="1327" y="641"/>
                    </a:lnTo>
                    <a:lnTo>
                      <a:pt x="1326" y="643"/>
                    </a:lnTo>
                    <a:lnTo>
                      <a:pt x="1326" y="644"/>
                    </a:lnTo>
                    <a:lnTo>
                      <a:pt x="1324" y="646"/>
                    </a:lnTo>
                    <a:lnTo>
                      <a:pt x="1324" y="648"/>
                    </a:lnTo>
                    <a:lnTo>
                      <a:pt x="1324" y="650"/>
                    </a:lnTo>
                    <a:lnTo>
                      <a:pt x="1322" y="650"/>
                    </a:lnTo>
                    <a:lnTo>
                      <a:pt x="1322" y="651"/>
                    </a:lnTo>
                    <a:lnTo>
                      <a:pt x="1321" y="651"/>
                    </a:lnTo>
                    <a:lnTo>
                      <a:pt x="1321" y="653"/>
                    </a:lnTo>
                    <a:lnTo>
                      <a:pt x="1322" y="653"/>
                    </a:lnTo>
                    <a:lnTo>
                      <a:pt x="1322" y="655"/>
                    </a:lnTo>
                    <a:lnTo>
                      <a:pt x="1322" y="656"/>
                    </a:lnTo>
                    <a:lnTo>
                      <a:pt x="1321" y="658"/>
                    </a:lnTo>
                    <a:lnTo>
                      <a:pt x="1321" y="660"/>
                    </a:lnTo>
                    <a:lnTo>
                      <a:pt x="1321" y="662"/>
                    </a:lnTo>
                    <a:lnTo>
                      <a:pt x="1319" y="662"/>
                    </a:lnTo>
                    <a:lnTo>
                      <a:pt x="1319" y="663"/>
                    </a:lnTo>
                    <a:lnTo>
                      <a:pt x="1319" y="665"/>
                    </a:lnTo>
                    <a:lnTo>
                      <a:pt x="1319" y="667"/>
                    </a:lnTo>
                    <a:lnTo>
                      <a:pt x="1319" y="668"/>
                    </a:lnTo>
                    <a:lnTo>
                      <a:pt x="1319" y="670"/>
                    </a:lnTo>
                    <a:lnTo>
                      <a:pt x="1317" y="670"/>
                    </a:lnTo>
                    <a:lnTo>
                      <a:pt x="1315" y="670"/>
                    </a:lnTo>
                    <a:lnTo>
                      <a:pt x="1314" y="670"/>
                    </a:lnTo>
                    <a:lnTo>
                      <a:pt x="1312" y="670"/>
                    </a:lnTo>
                    <a:lnTo>
                      <a:pt x="1312" y="672"/>
                    </a:lnTo>
                    <a:lnTo>
                      <a:pt x="1312" y="673"/>
                    </a:lnTo>
                    <a:lnTo>
                      <a:pt x="1312" y="675"/>
                    </a:lnTo>
                    <a:lnTo>
                      <a:pt x="1314" y="675"/>
                    </a:lnTo>
                    <a:lnTo>
                      <a:pt x="1315" y="675"/>
                    </a:lnTo>
                    <a:lnTo>
                      <a:pt x="1317" y="675"/>
                    </a:lnTo>
                    <a:lnTo>
                      <a:pt x="1317" y="677"/>
                    </a:lnTo>
                    <a:lnTo>
                      <a:pt x="1315" y="679"/>
                    </a:lnTo>
                    <a:lnTo>
                      <a:pt x="1317" y="679"/>
                    </a:lnTo>
                    <a:lnTo>
                      <a:pt x="1315" y="680"/>
                    </a:lnTo>
                    <a:lnTo>
                      <a:pt x="1317" y="680"/>
                    </a:lnTo>
                    <a:lnTo>
                      <a:pt x="1315" y="682"/>
                    </a:lnTo>
                    <a:lnTo>
                      <a:pt x="1317" y="682"/>
                    </a:lnTo>
                    <a:lnTo>
                      <a:pt x="1319" y="684"/>
                    </a:lnTo>
                    <a:lnTo>
                      <a:pt x="1317" y="684"/>
                    </a:lnTo>
                    <a:lnTo>
                      <a:pt x="1317" y="685"/>
                    </a:lnTo>
                    <a:lnTo>
                      <a:pt x="1319" y="687"/>
                    </a:lnTo>
                    <a:lnTo>
                      <a:pt x="1317" y="689"/>
                    </a:lnTo>
                    <a:lnTo>
                      <a:pt x="1317" y="690"/>
                    </a:lnTo>
                    <a:lnTo>
                      <a:pt x="1319" y="690"/>
                    </a:lnTo>
                    <a:lnTo>
                      <a:pt x="1319" y="692"/>
                    </a:lnTo>
                    <a:lnTo>
                      <a:pt x="1319" y="694"/>
                    </a:lnTo>
                    <a:lnTo>
                      <a:pt x="1319" y="696"/>
                    </a:lnTo>
                    <a:lnTo>
                      <a:pt x="1321" y="696"/>
                    </a:lnTo>
                    <a:lnTo>
                      <a:pt x="1321" y="697"/>
                    </a:lnTo>
                    <a:lnTo>
                      <a:pt x="1319" y="697"/>
                    </a:lnTo>
                    <a:lnTo>
                      <a:pt x="1317" y="697"/>
                    </a:lnTo>
                    <a:lnTo>
                      <a:pt x="1317" y="699"/>
                    </a:lnTo>
                    <a:lnTo>
                      <a:pt x="1317" y="701"/>
                    </a:lnTo>
                    <a:lnTo>
                      <a:pt x="1319" y="701"/>
                    </a:lnTo>
                    <a:lnTo>
                      <a:pt x="1317" y="702"/>
                    </a:lnTo>
                    <a:lnTo>
                      <a:pt x="1319" y="702"/>
                    </a:lnTo>
                    <a:lnTo>
                      <a:pt x="1319" y="704"/>
                    </a:lnTo>
                    <a:lnTo>
                      <a:pt x="1319" y="706"/>
                    </a:lnTo>
                    <a:lnTo>
                      <a:pt x="1317" y="706"/>
                    </a:lnTo>
                    <a:lnTo>
                      <a:pt x="1317" y="707"/>
                    </a:lnTo>
                    <a:lnTo>
                      <a:pt x="1317" y="709"/>
                    </a:lnTo>
                    <a:lnTo>
                      <a:pt x="1317" y="711"/>
                    </a:lnTo>
                    <a:lnTo>
                      <a:pt x="1315" y="711"/>
                    </a:lnTo>
                    <a:lnTo>
                      <a:pt x="1314" y="711"/>
                    </a:lnTo>
                    <a:lnTo>
                      <a:pt x="1314" y="709"/>
                    </a:lnTo>
                    <a:lnTo>
                      <a:pt x="1312" y="709"/>
                    </a:lnTo>
                    <a:lnTo>
                      <a:pt x="1312" y="711"/>
                    </a:lnTo>
                    <a:lnTo>
                      <a:pt x="1310" y="711"/>
                    </a:lnTo>
                    <a:lnTo>
                      <a:pt x="1310" y="713"/>
                    </a:lnTo>
                    <a:lnTo>
                      <a:pt x="1310" y="714"/>
                    </a:lnTo>
                    <a:lnTo>
                      <a:pt x="1309" y="714"/>
                    </a:lnTo>
                    <a:lnTo>
                      <a:pt x="1307" y="714"/>
                    </a:lnTo>
                    <a:lnTo>
                      <a:pt x="1309" y="716"/>
                    </a:lnTo>
                    <a:lnTo>
                      <a:pt x="1307" y="718"/>
                    </a:lnTo>
                    <a:lnTo>
                      <a:pt x="1307" y="719"/>
                    </a:lnTo>
                    <a:lnTo>
                      <a:pt x="1309" y="719"/>
                    </a:lnTo>
                    <a:lnTo>
                      <a:pt x="1309" y="721"/>
                    </a:lnTo>
                    <a:lnTo>
                      <a:pt x="1307" y="721"/>
                    </a:lnTo>
                    <a:lnTo>
                      <a:pt x="1305" y="721"/>
                    </a:lnTo>
                    <a:lnTo>
                      <a:pt x="1304" y="721"/>
                    </a:lnTo>
                    <a:lnTo>
                      <a:pt x="1304" y="719"/>
                    </a:lnTo>
                    <a:lnTo>
                      <a:pt x="1304" y="721"/>
                    </a:lnTo>
                    <a:lnTo>
                      <a:pt x="1302" y="721"/>
                    </a:lnTo>
                    <a:lnTo>
                      <a:pt x="1302" y="719"/>
                    </a:lnTo>
                    <a:lnTo>
                      <a:pt x="1302" y="721"/>
                    </a:lnTo>
                    <a:lnTo>
                      <a:pt x="1302" y="723"/>
                    </a:lnTo>
                    <a:lnTo>
                      <a:pt x="1300" y="723"/>
                    </a:lnTo>
                    <a:lnTo>
                      <a:pt x="1300" y="724"/>
                    </a:lnTo>
                    <a:lnTo>
                      <a:pt x="1298" y="724"/>
                    </a:lnTo>
                    <a:lnTo>
                      <a:pt x="1297" y="724"/>
                    </a:lnTo>
                    <a:lnTo>
                      <a:pt x="1297" y="723"/>
                    </a:lnTo>
                    <a:lnTo>
                      <a:pt x="1297" y="724"/>
                    </a:lnTo>
                    <a:lnTo>
                      <a:pt x="1295" y="726"/>
                    </a:lnTo>
                    <a:lnTo>
                      <a:pt x="1297" y="726"/>
                    </a:lnTo>
                    <a:lnTo>
                      <a:pt x="1295" y="728"/>
                    </a:lnTo>
                    <a:lnTo>
                      <a:pt x="1297" y="728"/>
                    </a:lnTo>
                    <a:lnTo>
                      <a:pt x="1295" y="730"/>
                    </a:lnTo>
                    <a:lnTo>
                      <a:pt x="1297" y="730"/>
                    </a:lnTo>
                    <a:lnTo>
                      <a:pt x="1297" y="731"/>
                    </a:lnTo>
                    <a:lnTo>
                      <a:pt x="1297" y="733"/>
                    </a:lnTo>
                    <a:lnTo>
                      <a:pt x="1295" y="733"/>
                    </a:lnTo>
                    <a:lnTo>
                      <a:pt x="1295" y="731"/>
                    </a:lnTo>
                    <a:lnTo>
                      <a:pt x="1293" y="731"/>
                    </a:lnTo>
                    <a:lnTo>
                      <a:pt x="1293" y="733"/>
                    </a:lnTo>
                    <a:lnTo>
                      <a:pt x="1293" y="735"/>
                    </a:lnTo>
                    <a:lnTo>
                      <a:pt x="1293" y="736"/>
                    </a:lnTo>
                    <a:lnTo>
                      <a:pt x="1293" y="738"/>
                    </a:lnTo>
                    <a:lnTo>
                      <a:pt x="1292" y="738"/>
                    </a:lnTo>
                    <a:lnTo>
                      <a:pt x="1292" y="740"/>
                    </a:lnTo>
                    <a:lnTo>
                      <a:pt x="1293" y="740"/>
                    </a:lnTo>
                    <a:lnTo>
                      <a:pt x="1293" y="741"/>
                    </a:lnTo>
                    <a:lnTo>
                      <a:pt x="1292" y="741"/>
                    </a:lnTo>
                    <a:lnTo>
                      <a:pt x="1293" y="743"/>
                    </a:lnTo>
                    <a:lnTo>
                      <a:pt x="1295" y="743"/>
                    </a:lnTo>
                    <a:lnTo>
                      <a:pt x="1293" y="743"/>
                    </a:lnTo>
                    <a:lnTo>
                      <a:pt x="1293" y="745"/>
                    </a:lnTo>
                    <a:lnTo>
                      <a:pt x="1292" y="745"/>
                    </a:lnTo>
                    <a:lnTo>
                      <a:pt x="1290" y="745"/>
                    </a:lnTo>
                    <a:lnTo>
                      <a:pt x="1292" y="745"/>
                    </a:lnTo>
                    <a:lnTo>
                      <a:pt x="1292" y="747"/>
                    </a:lnTo>
                    <a:lnTo>
                      <a:pt x="1293" y="747"/>
                    </a:lnTo>
                    <a:lnTo>
                      <a:pt x="1293" y="748"/>
                    </a:lnTo>
                    <a:lnTo>
                      <a:pt x="1293" y="750"/>
                    </a:lnTo>
                    <a:lnTo>
                      <a:pt x="1295" y="750"/>
                    </a:lnTo>
                    <a:lnTo>
                      <a:pt x="1295" y="752"/>
                    </a:lnTo>
                    <a:lnTo>
                      <a:pt x="1293" y="752"/>
                    </a:lnTo>
                    <a:lnTo>
                      <a:pt x="1293" y="753"/>
                    </a:lnTo>
                    <a:lnTo>
                      <a:pt x="1293" y="755"/>
                    </a:lnTo>
                    <a:lnTo>
                      <a:pt x="1292" y="755"/>
                    </a:lnTo>
                    <a:lnTo>
                      <a:pt x="1292" y="757"/>
                    </a:lnTo>
                    <a:lnTo>
                      <a:pt x="1290" y="757"/>
                    </a:lnTo>
                    <a:lnTo>
                      <a:pt x="1290" y="758"/>
                    </a:lnTo>
                    <a:lnTo>
                      <a:pt x="1290" y="760"/>
                    </a:lnTo>
                    <a:lnTo>
                      <a:pt x="1292" y="760"/>
                    </a:lnTo>
                    <a:lnTo>
                      <a:pt x="1290" y="762"/>
                    </a:lnTo>
                    <a:lnTo>
                      <a:pt x="1292" y="762"/>
                    </a:lnTo>
                    <a:lnTo>
                      <a:pt x="1293" y="764"/>
                    </a:lnTo>
                    <a:lnTo>
                      <a:pt x="1293" y="765"/>
                    </a:lnTo>
                    <a:lnTo>
                      <a:pt x="1293" y="767"/>
                    </a:lnTo>
                    <a:lnTo>
                      <a:pt x="1293" y="769"/>
                    </a:lnTo>
                    <a:lnTo>
                      <a:pt x="1292" y="769"/>
                    </a:lnTo>
                    <a:lnTo>
                      <a:pt x="1293" y="769"/>
                    </a:lnTo>
                    <a:lnTo>
                      <a:pt x="1293" y="770"/>
                    </a:lnTo>
                    <a:lnTo>
                      <a:pt x="1292" y="772"/>
                    </a:lnTo>
                    <a:lnTo>
                      <a:pt x="1290" y="774"/>
                    </a:lnTo>
                    <a:lnTo>
                      <a:pt x="1290" y="775"/>
                    </a:lnTo>
                    <a:lnTo>
                      <a:pt x="1292" y="775"/>
                    </a:lnTo>
                    <a:lnTo>
                      <a:pt x="1292" y="777"/>
                    </a:lnTo>
                    <a:lnTo>
                      <a:pt x="1292" y="779"/>
                    </a:lnTo>
                    <a:lnTo>
                      <a:pt x="1292" y="781"/>
                    </a:lnTo>
                    <a:lnTo>
                      <a:pt x="1293" y="781"/>
                    </a:lnTo>
                    <a:lnTo>
                      <a:pt x="1292" y="781"/>
                    </a:lnTo>
                    <a:lnTo>
                      <a:pt x="1292" y="782"/>
                    </a:lnTo>
                    <a:lnTo>
                      <a:pt x="1293" y="782"/>
                    </a:lnTo>
                    <a:lnTo>
                      <a:pt x="1293" y="784"/>
                    </a:lnTo>
                    <a:lnTo>
                      <a:pt x="1293" y="786"/>
                    </a:lnTo>
                    <a:lnTo>
                      <a:pt x="1295" y="787"/>
                    </a:lnTo>
                    <a:lnTo>
                      <a:pt x="1295" y="789"/>
                    </a:lnTo>
                    <a:lnTo>
                      <a:pt x="1295" y="791"/>
                    </a:lnTo>
                    <a:lnTo>
                      <a:pt x="1297" y="791"/>
                    </a:lnTo>
                    <a:lnTo>
                      <a:pt x="1297" y="792"/>
                    </a:lnTo>
                    <a:lnTo>
                      <a:pt x="1298" y="792"/>
                    </a:lnTo>
                    <a:lnTo>
                      <a:pt x="1297" y="792"/>
                    </a:lnTo>
                    <a:lnTo>
                      <a:pt x="1295" y="792"/>
                    </a:lnTo>
                    <a:lnTo>
                      <a:pt x="1297" y="794"/>
                    </a:lnTo>
                    <a:lnTo>
                      <a:pt x="1298" y="796"/>
                    </a:lnTo>
                    <a:lnTo>
                      <a:pt x="1298" y="798"/>
                    </a:lnTo>
                    <a:lnTo>
                      <a:pt x="1297" y="798"/>
                    </a:lnTo>
                    <a:lnTo>
                      <a:pt x="1297" y="799"/>
                    </a:lnTo>
                    <a:lnTo>
                      <a:pt x="1297" y="801"/>
                    </a:lnTo>
                    <a:lnTo>
                      <a:pt x="1297" y="803"/>
                    </a:lnTo>
                    <a:lnTo>
                      <a:pt x="1298" y="803"/>
                    </a:lnTo>
                    <a:lnTo>
                      <a:pt x="1297" y="803"/>
                    </a:lnTo>
                    <a:lnTo>
                      <a:pt x="1298" y="804"/>
                    </a:lnTo>
                    <a:lnTo>
                      <a:pt x="1298" y="806"/>
                    </a:lnTo>
                    <a:lnTo>
                      <a:pt x="1298" y="808"/>
                    </a:lnTo>
                    <a:lnTo>
                      <a:pt x="1300" y="808"/>
                    </a:lnTo>
                    <a:lnTo>
                      <a:pt x="1300" y="809"/>
                    </a:lnTo>
                    <a:lnTo>
                      <a:pt x="1302" y="809"/>
                    </a:lnTo>
                    <a:lnTo>
                      <a:pt x="1302" y="811"/>
                    </a:lnTo>
                    <a:lnTo>
                      <a:pt x="1304" y="811"/>
                    </a:lnTo>
                    <a:lnTo>
                      <a:pt x="1304" y="813"/>
                    </a:lnTo>
                    <a:lnTo>
                      <a:pt x="1304" y="815"/>
                    </a:lnTo>
                    <a:lnTo>
                      <a:pt x="1302" y="815"/>
                    </a:lnTo>
                    <a:lnTo>
                      <a:pt x="1302" y="816"/>
                    </a:lnTo>
                    <a:lnTo>
                      <a:pt x="1300" y="816"/>
                    </a:lnTo>
                    <a:lnTo>
                      <a:pt x="1300" y="818"/>
                    </a:lnTo>
                    <a:lnTo>
                      <a:pt x="1302" y="818"/>
                    </a:lnTo>
                    <a:lnTo>
                      <a:pt x="1302" y="820"/>
                    </a:lnTo>
                    <a:lnTo>
                      <a:pt x="1300" y="820"/>
                    </a:lnTo>
                    <a:lnTo>
                      <a:pt x="1300" y="821"/>
                    </a:lnTo>
                    <a:lnTo>
                      <a:pt x="1298" y="821"/>
                    </a:lnTo>
                    <a:lnTo>
                      <a:pt x="1297" y="821"/>
                    </a:lnTo>
                    <a:lnTo>
                      <a:pt x="1295" y="821"/>
                    </a:lnTo>
                    <a:lnTo>
                      <a:pt x="1293" y="821"/>
                    </a:lnTo>
                    <a:lnTo>
                      <a:pt x="1293" y="823"/>
                    </a:lnTo>
                    <a:lnTo>
                      <a:pt x="1292" y="823"/>
                    </a:lnTo>
                    <a:lnTo>
                      <a:pt x="1290" y="823"/>
                    </a:lnTo>
                    <a:lnTo>
                      <a:pt x="1288" y="823"/>
                    </a:lnTo>
                    <a:lnTo>
                      <a:pt x="1288" y="825"/>
                    </a:lnTo>
                    <a:lnTo>
                      <a:pt x="1287" y="827"/>
                    </a:lnTo>
                    <a:lnTo>
                      <a:pt x="1285" y="827"/>
                    </a:lnTo>
                    <a:lnTo>
                      <a:pt x="1285" y="828"/>
                    </a:lnTo>
                    <a:lnTo>
                      <a:pt x="1283" y="828"/>
                    </a:lnTo>
                    <a:lnTo>
                      <a:pt x="1283" y="830"/>
                    </a:lnTo>
                    <a:lnTo>
                      <a:pt x="1283" y="832"/>
                    </a:lnTo>
                    <a:lnTo>
                      <a:pt x="1283" y="833"/>
                    </a:lnTo>
                    <a:lnTo>
                      <a:pt x="1285" y="833"/>
                    </a:lnTo>
                    <a:lnTo>
                      <a:pt x="1283" y="833"/>
                    </a:lnTo>
                    <a:lnTo>
                      <a:pt x="1283" y="835"/>
                    </a:lnTo>
                    <a:lnTo>
                      <a:pt x="1283" y="837"/>
                    </a:lnTo>
                    <a:lnTo>
                      <a:pt x="1283" y="838"/>
                    </a:lnTo>
                    <a:lnTo>
                      <a:pt x="1285" y="840"/>
                    </a:lnTo>
                    <a:lnTo>
                      <a:pt x="1285" y="842"/>
                    </a:lnTo>
                    <a:lnTo>
                      <a:pt x="1285" y="844"/>
                    </a:lnTo>
                    <a:lnTo>
                      <a:pt x="1285" y="845"/>
                    </a:lnTo>
                    <a:lnTo>
                      <a:pt x="1285" y="847"/>
                    </a:lnTo>
                    <a:lnTo>
                      <a:pt x="1283" y="847"/>
                    </a:lnTo>
                    <a:lnTo>
                      <a:pt x="1281" y="847"/>
                    </a:lnTo>
                    <a:lnTo>
                      <a:pt x="1281" y="849"/>
                    </a:lnTo>
                    <a:lnTo>
                      <a:pt x="1283" y="849"/>
                    </a:lnTo>
                    <a:lnTo>
                      <a:pt x="1281" y="850"/>
                    </a:lnTo>
                    <a:lnTo>
                      <a:pt x="1283" y="850"/>
                    </a:lnTo>
                    <a:lnTo>
                      <a:pt x="1281" y="850"/>
                    </a:lnTo>
                    <a:lnTo>
                      <a:pt x="1281" y="852"/>
                    </a:lnTo>
                    <a:lnTo>
                      <a:pt x="1280" y="854"/>
                    </a:lnTo>
                    <a:lnTo>
                      <a:pt x="1280" y="855"/>
                    </a:lnTo>
                    <a:lnTo>
                      <a:pt x="1281" y="855"/>
                    </a:lnTo>
                    <a:lnTo>
                      <a:pt x="1281" y="857"/>
                    </a:lnTo>
                    <a:lnTo>
                      <a:pt x="1281" y="859"/>
                    </a:lnTo>
                    <a:lnTo>
                      <a:pt x="1280" y="859"/>
                    </a:lnTo>
                    <a:lnTo>
                      <a:pt x="1278" y="859"/>
                    </a:lnTo>
                    <a:lnTo>
                      <a:pt x="1276" y="859"/>
                    </a:lnTo>
                    <a:lnTo>
                      <a:pt x="1276" y="857"/>
                    </a:lnTo>
                    <a:lnTo>
                      <a:pt x="1275" y="857"/>
                    </a:lnTo>
                    <a:lnTo>
                      <a:pt x="1275" y="855"/>
                    </a:lnTo>
                    <a:lnTo>
                      <a:pt x="1275" y="857"/>
                    </a:lnTo>
                    <a:lnTo>
                      <a:pt x="1275" y="859"/>
                    </a:lnTo>
                    <a:lnTo>
                      <a:pt x="1273" y="859"/>
                    </a:lnTo>
                    <a:lnTo>
                      <a:pt x="1275" y="861"/>
                    </a:lnTo>
                    <a:lnTo>
                      <a:pt x="1275" y="862"/>
                    </a:lnTo>
                    <a:lnTo>
                      <a:pt x="1273" y="862"/>
                    </a:lnTo>
                    <a:lnTo>
                      <a:pt x="1275" y="862"/>
                    </a:lnTo>
                    <a:lnTo>
                      <a:pt x="1273" y="862"/>
                    </a:lnTo>
                    <a:lnTo>
                      <a:pt x="1273" y="864"/>
                    </a:lnTo>
                    <a:lnTo>
                      <a:pt x="1275" y="864"/>
                    </a:lnTo>
                    <a:lnTo>
                      <a:pt x="1275" y="866"/>
                    </a:lnTo>
                    <a:lnTo>
                      <a:pt x="1275" y="867"/>
                    </a:lnTo>
                    <a:lnTo>
                      <a:pt x="1275" y="869"/>
                    </a:lnTo>
                    <a:lnTo>
                      <a:pt x="1276" y="869"/>
                    </a:lnTo>
                    <a:lnTo>
                      <a:pt x="1278" y="871"/>
                    </a:lnTo>
                    <a:lnTo>
                      <a:pt x="1278" y="872"/>
                    </a:lnTo>
                    <a:lnTo>
                      <a:pt x="1276" y="872"/>
                    </a:lnTo>
                    <a:lnTo>
                      <a:pt x="1276" y="874"/>
                    </a:lnTo>
                    <a:lnTo>
                      <a:pt x="1275" y="874"/>
                    </a:lnTo>
                    <a:lnTo>
                      <a:pt x="1275" y="876"/>
                    </a:lnTo>
                    <a:lnTo>
                      <a:pt x="1275" y="878"/>
                    </a:lnTo>
                    <a:lnTo>
                      <a:pt x="1275" y="879"/>
                    </a:lnTo>
                    <a:lnTo>
                      <a:pt x="1275" y="881"/>
                    </a:lnTo>
                    <a:lnTo>
                      <a:pt x="1273" y="879"/>
                    </a:lnTo>
                    <a:lnTo>
                      <a:pt x="1271" y="879"/>
                    </a:lnTo>
                    <a:lnTo>
                      <a:pt x="1270" y="879"/>
                    </a:lnTo>
                    <a:lnTo>
                      <a:pt x="1271" y="881"/>
                    </a:lnTo>
                    <a:lnTo>
                      <a:pt x="1270" y="881"/>
                    </a:lnTo>
                    <a:lnTo>
                      <a:pt x="1270" y="883"/>
                    </a:lnTo>
                    <a:lnTo>
                      <a:pt x="1271" y="883"/>
                    </a:lnTo>
                    <a:lnTo>
                      <a:pt x="1270" y="884"/>
                    </a:lnTo>
                    <a:lnTo>
                      <a:pt x="1270" y="886"/>
                    </a:lnTo>
                    <a:lnTo>
                      <a:pt x="1271" y="886"/>
                    </a:lnTo>
                    <a:lnTo>
                      <a:pt x="1270" y="886"/>
                    </a:lnTo>
                    <a:lnTo>
                      <a:pt x="1271" y="888"/>
                    </a:lnTo>
                    <a:lnTo>
                      <a:pt x="1273" y="888"/>
                    </a:lnTo>
                    <a:lnTo>
                      <a:pt x="1275" y="888"/>
                    </a:lnTo>
                    <a:lnTo>
                      <a:pt x="1275" y="889"/>
                    </a:lnTo>
                    <a:lnTo>
                      <a:pt x="1275" y="891"/>
                    </a:lnTo>
                    <a:lnTo>
                      <a:pt x="1275" y="893"/>
                    </a:lnTo>
                    <a:lnTo>
                      <a:pt x="1273" y="895"/>
                    </a:lnTo>
                    <a:lnTo>
                      <a:pt x="1271" y="893"/>
                    </a:lnTo>
                    <a:lnTo>
                      <a:pt x="1271" y="895"/>
                    </a:lnTo>
                    <a:lnTo>
                      <a:pt x="1271" y="893"/>
                    </a:lnTo>
                    <a:lnTo>
                      <a:pt x="1270" y="895"/>
                    </a:lnTo>
                    <a:lnTo>
                      <a:pt x="1270" y="896"/>
                    </a:lnTo>
                    <a:lnTo>
                      <a:pt x="1268" y="898"/>
                    </a:lnTo>
                    <a:lnTo>
                      <a:pt x="1270" y="898"/>
                    </a:lnTo>
                    <a:lnTo>
                      <a:pt x="1268" y="900"/>
                    </a:lnTo>
                    <a:lnTo>
                      <a:pt x="1268" y="901"/>
                    </a:lnTo>
                    <a:lnTo>
                      <a:pt x="1270" y="901"/>
                    </a:lnTo>
                    <a:lnTo>
                      <a:pt x="1270" y="903"/>
                    </a:lnTo>
                    <a:lnTo>
                      <a:pt x="1268" y="903"/>
                    </a:lnTo>
                    <a:lnTo>
                      <a:pt x="1268" y="905"/>
                    </a:lnTo>
                    <a:lnTo>
                      <a:pt x="1266" y="906"/>
                    </a:lnTo>
                    <a:lnTo>
                      <a:pt x="1264" y="906"/>
                    </a:lnTo>
                    <a:lnTo>
                      <a:pt x="1264" y="908"/>
                    </a:lnTo>
                    <a:lnTo>
                      <a:pt x="1266" y="908"/>
                    </a:lnTo>
                    <a:lnTo>
                      <a:pt x="1266" y="910"/>
                    </a:lnTo>
                    <a:lnTo>
                      <a:pt x="1266" y="912"/>
                    </a:lnTo>
                    <a:lnTo>
                      <a:pt x="1266" y="913"/>
                    </a:lnTo>
                    <a:lnTo>
                      <a:pt x="1268" y="913"/>
                    </a:lnTo>
                    <a:lnTo>
                      <a:pt x="1268" y="915"/>
                    </a:lnTo>
                    <a:lnTo>
                      <a:pt x="1268" y="913"/>
                    </a:lnTo>
                    <a:lnTo>
                      <a:pt x="1268" y="915"/>
                    </a:lnTo>
                    <a:lnTo>
                      <a:pt x="1268" y="917"/>
                    </a:lnTo>
                    <a:lnTo>
                      <a:pt x="1268" y="918"/>
                    </a:lnTo>
                    <a:lnTo>
                      <a:pt x="1266" y="918"/>
                    </a:lnTo>
                    <a:lnTo>
                      <a:pt x="1268" y="918"/>
                    </a:lnTo>
                    <a:lnTo>
                      <a:pt x="1268" y="920"/>
                    </a:lnTo>
                    <a:lnTo>
                      <a:pt x="1268" y="922"/>
                    </a:lnTo>
                    <a:lnTo>
                      <a:pt x="1270" y="922"/>
                    </a:lnTo>
                    <a:lnTo>
                      <a:pt x="1270" y="923"/>
                    </a:lnTo>
                    <a:lnTo>
                      <a:pt x="1270" y="925"/>
                    </a:lnTo>
                    <a:lnTo>
                      <a:pt x="1270" y="927"/>
                    </a:lnTo>
                    <a:lnTo>
                      <a:pt x="1268" y="927"/>
                    </a:lnTo>
                    <a:lnTo>
                      <a:pt x="1268" y="929"/>
                    </a:lnTo>
                    <a:lnTo>
                      <a:pt x="1268" y="930"/>
                    </a:lnTo>
                    <a:lnTo>
                      <a:pt x="1270" y="930"/>
                    </a:lnTo>
                    <a:lnTo>
                      <a:pt x="1268" y="930"/>
                    </a:lnTo>
                    <a:lnTo>
                      <a:pt x="1270" y="932"/>
                    </a:lnTo>
                    <a:lnTo>
                      <a:pt x="1268" y="930"/>
                    </a:lnTo>
                    <a:lnTo>
                      <a:pt x="1268" y="932"/>
                    </a:lnTo>
                    <a:lnTo>
                      <a:pt x="1268" y="934"/>
                    </a:lnTo>
                    <a:lnTo>
                      <a:pt x="1268" y="935"/>
                    </a:lnTo>
                    <a:lnTo>
                      <a:pt x="1266" y="935"/>
                    </a:lnTo>
                    <a:lnTo>
                      <a:pt x="1268" y="935"/>
                    </a:lnTo>
                    <a:lnTo>
                      <a:pt x="1268" y="937"/>
                    </a:lnTo>
                    <a:lnTo>
                      <a:pt x="1268" y="939"/>
                    </a:lnTo>
                    <a:lnTo>
                      <a:pt x="1270" y="939"/>
                    </a:lnTo>
                    <a:lnTo>
                      <a:pt x="1270" y="940"/>
                    </a:lnTo>
                    <a:lnTo>
                      <a:pt x="1270" y="942"/>
                    </a:lnTo>
                    <a:lnTo>
                      <a:pt x="1270" y="944"/>
                    </a:lnTo>
                    <a:lnTo>
                      <a:pt x="1270" y="946"/>
                    </a:lnTo>
                    <a:lnTo>
                      <a:pt x="1268" y="946"/>
                    </a:lnTo>
                    <a:lnTo>
                      <a:pt x="1268" y="947"/>
                    </a:lnTo>
                    <a:lnTo>
                      <a:pt x="1268" y="949"/>
                    </a:lnTo>
                    <a:lnTo>
                      <a:pt x="1270" y="949"/>
                    </a:lnTo>
                    <a:lnTo>
                      <a:pt x="1270" y="951"/>
                    </a:lnTo>
                    <a:lnTo>
                      <a:pt x="1271" y="951"/>
                    </a:lnTo>
                    <a:lnTo>
                      <a:pt x="1270" y="952"/>
                    </a:lnTo>
                    <a:lnTo>
                      <a:pt x="1271" y="952"/>
                    </a:lnTo>
                    <a:lnTo>
                      <a:pt x="1271" y="954"/>
                    </a:lnTo>
                    <a:lnTo>
                      <a:pt x="1271" y="956"/>
                    </a:lnTo>
                    <a:lnTo>
                      <a:pt x="1271" y="957"/>
                    </a:lnTo>
                    <a:lnTo>
                      <a:pt x="1271" y="959"/>
                    </a:lnTo>
                    <a:lnTo>
                      <a:pt x="1271" y="961"/>
                    </a:lnTo>
                    <a:lnTo>
                      <a:pt x="1271" y="963"/>
                    </a:lnTo>
                    <a:lnTo>
                      <a:pt x="1271" y="964"/>
                    </a:lnTo>
                    <a:lnTo>
                      <a:pt x="1271" y="966"/>
                    </a:lnTo>
                    <a:lnTo>
                      <a:pt x="1273" y="966"/>
                    </a:lnTo>
                    <a:lnTo>
                      <a:pt x="1273" y="968"/>
                    </a:lnTo>
                    <a:lnTo>
                      <a:pt x="1273" y="969"/>
                    </a:lnTo>
                    <a:lnTo>
                      <a:pt x="1273" y="971"/>
                    </a:lnTo>
                    <a:lnTo>
                      <a:pt x="1271" y="971"/>
                    </a:lnTo>
                    <a:lnTo>
                      <a:pt x="1270" y="971"/>
                    </a:lnTo>
                    <a:lnTo>
                      <a:pt x="1270" y="973"/>
                    </a:lnTo>
                    <a:lnTo>
                      <a:pt x="1270" y="971"/>
                    </a:lnTo>
                    <a:lnTo>
                      <a:pt x="1268" y="971"/>
                    </a:lnTo>
                    <a:lnTo>
                      <a:pt x="1268" y="973"/>
                    </a:lnTo>
                    <a:lnTo>
                      <a:pt x="1266" y="973"/>
                    </a:lnTo>
                    <a:lnTo>
                      <a:pt x="1264" y="971"/>
                    </a:lnTo>
                    <a:lnTo>
                      <a:pt x="1263" y="971"/>
                    </a:lnTo>
                    <a:lnTo>
                      <a:pt x="1263" y="969"/>
                    </a:lnTo>
                    <a:lnTo>
                      <a:pt x="1261" y="969"/>
                    </a:lnTo>
                    <a:lnTo>
                      <a:pt x="1261" y="971"/>
                    </a:lnTo>
                    <a:lnTo>
                      <a:pt x="1259" y="971"/>
                    </a:lnTo>
                    <a:lnTo>
                      <a:pt x="1258" y="971"/>
                    </a:lnTo>
                    <a:lnTo>
                      <a:pt x="1258" y="973"/>
                    </a:lnTo>
                    <a:lnTo>
                      <a:pt x="1258" y="975"/>
                    </a:lnTo>
                    <a:lnTo>
                      <a:pt x="1259" y="976"/>
                    </a:lnTo>
                    <a:lnTo>
                      <a:pt x="1258" y="976"/>
                    </a:lnTo>
                    <a:lnTo>
                      <a:pt x="1259" y="978"/>
                    </a:lnTo>
                    <a:lnTo>
                      <a:pt x="1259" y="980"/>
                    </a:lnTo>
                    <a:lnTo>
                      <a:pt x="1259" y="981"/>
                    </a:lnTo>
                    <a:lnTo>
                      <a:pt x="1259" y="983"/>
                    </a:lnTo>
                    <a:lnTo>
                      <a:pt x="1261" y="981"/>
                    </a:lnTo>
                    <a:lnTo>
                      <a:pt x="1261" y="983"/>
                    </a:lnTo>
                    <a:lnTo>
                      <a:pt x="1263" y="983"/>
                    </a:lnTo>
                    <a:lnTo>
                      <a:pt x="1263" y="985"/>
                    </a:lnTo>
                    <a:lnTo>
                      <a:pt x="1263" y="986"/>
                    </a:lnTo>
                    <a:lnTo>
                      <a:pt x="1263" y="988"/>
                    </a:lnTo>
                    <a:lnTo>
                      <a:pt x="1263" y="990"/>
                    </a:lnTo>
                    <a:lnTo>
                      <a:pt x="1261" y="990"/>
                    </a:lnTo>
                    <a:lnTo>
                      <a:pt x="1261" y="992"/>
                    </a:lnTo>
                    <a:lnTo>
                      <a:pt x="1259" y="992"/>
                    </a:lnTo>
                    <a:lnTo>
                      <a:pt x="1259" y="993"/>
                    </a:lnTo>
                    <a:lnTo>
                      <a:pt x="1259" y="995"/>
                    </a:lnTo>
                    <a:lnTo>
                      <a:pt x="1258" y="995"/>
                    </a:lnTo>
                    <a:lnTo>
                      <a:pt x="1258" y="997"/>
                    </a:lnTo>
                    <a:lnTo>
                      <a:pt x="1259" y="997"/>
                    </a:lnTo>
                    <a:lnTo>
                      <a:pt x="1259" y="998"/>
                    </a:lnTo>
                    <a:lnTo>
                      <a:pt x="1259" y="1000"/>
                    </a:lnTo>
                    <a:lnTo>
                      <a:pt x="1259" y="1002"/>
                    </a:lnTo>
                    <a:lnTo>
                      <a:pt x="1258" y="1002"/>
                    </a:lnTo>
                    <a:lnTo>
                      <a:pt x="1259" y="1002"/>
                    </a:lnTo>
                    <a:lnTo>
                      <a:pt x="1259" y="1003"/>
                    </a:lnTo>
                    <a:lnTo>
                      <a:pt x="1259" y="1005"/>
                    </a:lnTo>
                    <a:lnTo>
                      <a:pt x="1259" y="1007"/>
                    </a:lnTo>
                    <a:lnTo>
                      <a:pt x="1261" y="1009"/>
                    </a:lnTo>
                    <a:lnTo>
                      <a:pt x="1261" y="1010"/>
                    </a:lnTo>
                    <a:lnTo>
                      <a:pt x="1263" y="1010"/>
                    </a:lnTo>
                    <a:lnTo>
                      <a:pt x="1263" y="1012"/>
                    </a:lnTo>
                    <a:lnTo>
                      <a:pt x="1264" y="1012"/>
                    </a:lnTo>
                    <a:lnTo>
                      <a:pt x="1266" y="1014"/>
                    </a:lnTo>
                    <a:lnTo>
                      <a:pt x="1266" y="1015"/>
                    </a:lnTo>
                    <a:lnTo>
                      <a:pt x="1268" y="1015"/>
                    </a:lnTo>
                    <a:lnTo>
                      <a:pt x="1268" y="1017"/>
                    </a:lnTo>
                    <a:lnTo>
                      <a:pt x="1270" y="1017"/>
                    </a:lnTo>
                    <a:lnTo>
                      <a:pt x="1271" y="1017"/>
                    </a:lnTo>
                    <a:lnTo>
                      <a:pt x="1271" y="1019"/>
                    </a:lnTo>
                    <a:lnTo>
                      <a:pt x="1273" y="1019"/>
                    </a:lnTo>
                    <a:lnTo>
                      <a:pt x="1273" y="1020"/>
                    </a:lnTo>
                    <a:lnTo>
                      <a:pt x="1271" y="1020"/>
                    </a:lnTo>
                    <a:lnTo>
                      <a:pt x="1273" y="1022"/>
                    </a:lnTo>
                    <a:lnTo>
                      <a:pt x="1273" y="1024"/>
                    </a:lnTo>
                    <a:lnTo>
                      <a:pt x="1273" y="1026"/>
                    </a:lnTo>
                    <a:lnTo>
                      <a:pt x="1271" y="1026"/>
                    </a:lnTo>
                    <a:lnTo>
                      <a:pt x="1271" y="1024"/>
                    </a:lnTo>
                    <a:lnTo>
                      <a:pt x="1271" y="1026"/>
                    </a:lnTo>
                    <a:lnTo>
                      <a:pt x="1270" y="1026"/>
                    </a:lnTo>
                    <a:lnTo>
                      <a:pt x="1268" y="1026"/>
                    </a:lnTo>
                    <a:lnTo>
                      <a:pt x="1266" y="1026"/>
                    </a:lnTo>
                    <a:lnTo>
                      <a:pt x="1268" y="1026"/>
                    </a:lnTo>
                    <a:lnTo>
                      <a:pt x="1268" y="1027"/>
                    </a:lnTo>
                    <a:lnTo>
                      <a:pt x="1266" y="1029"/>
                    </a:lnTo>
                    <a:lnTo>
                      <a:pt x="1266" y="1031"/>
                    </a:lnTo>
                    <a:lnTo>
                      <a:pt x="1266" y="1032"/>
                    </a:lnTo>
                    <a:lnTo>
                      <a:pt x="1268" y="1032"/>
                    </a:lnTo>
                    <a:lnTo>
                      <a:pt x="1268" y="1031"/>
                    </a:lnTo>
                    <a:lnTo>
                      <a:pt x="1268" y="1032"/>
                    </a:lnTo>
                    <a:lnTo>
                      <a:pt x="1270" y="1032"/>
                    </a:lnTo>
                    <a:lnTo>
                      <a:pt x="1268" y="1034"/>
                    </a:lnTo>
                    <a:lnTo>
                      <a:pt x="1268" y="1036"/>
                    </a:lnTo>
                    <a:lnTo>
                      <a:pt x="1270" y="1036"/>
                    </a:lnTo>
                    <a:lnTo>
                      <a:pt x="1271" y="1036"/>
                    </a:lnTo>
                    <a:lnTo>
                      <a:pt x="1271" y="1037"/>
                    </a:lnTo>
                    <a:lnTo>
                      <a:pt x="1273" y="1037"/>
                    </a:lnTo>
                    <a:lnTo>
                      <a:pt x="1273" y="1039"/>
                    </a:lnTo>
                    <a:lnTo>
                      <a:pt x="1275" y="1039"/>
                    </a:lnTo>
                    <a:lnTo>
                      <a:pt x="1276" y="1039"/>
                    </a:lnTo>
                    <a:lnTo>
                      <a:pt x="1278" y="1039"/>
                    </a:lnTo>
                    <a:lnTo>
                      <a:pt x="1278" y="1041"/>
                    </a:lnTo>
                    <a:lnTo>
                      <a:pt x="1278" y="1043"/>
                    </a:lnTo>
                    <a:lnTo>
                      <a:pt x="1276" y="1043"/>
                    </a:lnTo>
                    <a:lnTo>
                      <a:pt x="1278" y="1043"/>
                    </a:lnTo>
                    <a:lnTo>
                      <a:pt x="1276" y="1043"/>
                    </a:lnTo>
                    <a:lnTo>
                      <a:pt x="1275" y="1043"/>
                    </a:lnTo>
                    <a:lnTo>
                      <a:pt x="1275" y="1044"/>
                    </a:lnTo>
                    <a:lnTo>
                      <a:pt x="1273" y="1046"/>
                    </a:lnTo>
                    <a:lnTo>
                      <a:pt x="1271" y="1048"/>
                    </a:lnTo>
                    <a:lnTo>
                      <a:pt x="1273" y="1048"/>
                    </a:lnTo>
                    <a:lnTo>
                      <a:pt x="1271" y="1049"/>
                    </a:lnTo>
                    <a:lnTo>
                      <a:pt x="1273" y="1049"/>
                    </a:lnTo>
                    <a:lnTo>
                      <a:pt x="1271" y="1049"/>
                    </a:lnTo>
                    <a:lnTo>
                      <a:pt x="1273" y="1049"/>
                    </a:lnTo>
                    <a:lnTo>
                      <a:pt x="1273" y="1051"/>
                    </a:lnTo>
                    <a:lnTo>
                      <a:pt x="1273" y="1053"/>
                    </a:lnTo>
                    <a:lnTo>
                      <a:pt x="1275" y="1053"/>
                    </a:lnTo>
                    <a:lnTo>
                      <a:pt x="1276" y="1054"/>
                    </a:lnTo>
                    <a:lnTo>
                      <a:pt x="1275" y="1054"/>
                    </a:lnTo>
                    <a:lnTo>
                      <a:pt x="1275" y="1056"/>
                    </a:lnTo>
                    <a:lnTo>
                      <a:pt x="1275" y="1058"/>
                    </a:lnTo>
                    <a:lnTo>
                      <a:pt x="1273" y="1058"/>
                    </a:lnTo>
                    <a:lnTo>
                      <a:pt x="1273" y="1060"/>
                    </a:lnTo>
                    <a:lnTo>
                      <a:pt x="1273" y="1061"/>
                    </a:lnTo>
                    <a:lnTo>
                      <a:pt x="1271" y="1063"/>
                    </a:lnTo>
                    <a:lnTo>
                      <a:pt x="1270" y="1063"/>
                    </a:lnTo>
                    <a:lnTo>
                      <a:pt x="1268" y="1063"/>
                    </a:lnTo>
                    <a:lnTo>
                      <a:pt x="1270" y="1065"/>
                    </a:lnTo>
                    <a:lnTo>
                      <a:pt x="1270" y="1066"/>
                    </a:lnTo>
                    <a:lnTo>
                      <a:pt x="1271" y="1066"/>
                    </a:lnTo>
                    <a:lnTo>
                      <a:pt x="1270" y="1068"/>
                    </a:lnTo>
                    <a:lnTo>
                      <a:pt x="1270" y="1070"/>
                    </a:lnTo>
                    <a:lnTo>
                      <a:pt x="1271" y="1071"/>
                    </a:lnTo>
                    <a:lnTo>
                      <a:pt x="1271" y="1073"/>
                    </a:lnTo>
                    <a:lnTo>
                      <a:pt x="1270" y="1073"/>
                    </a:lnTo>
                    <a:lnTo>
                      <a:pt x="1270" y="1075"/>
                    </a:lnTo>
                    <a:lnTo>
                      <a:pt x="1270" y="1077"/>
                    </a:lnTo>
                    <a:lnTo>
                      <a:pt x="1271" y="1077"/>
                    </a:lnTo>
                    <a:lnTo>
                      <a:pt x="1273" y="1077"/>
                    </a:lnTo>
                    <a:lnTo>
                      <a:pt x="1273" y="1075"/>
                    </a:lnTo>
                    <a:lnTo>
                      <a:pt x="1275" y="1075"/>
                    </a:lnTo>
                    <a:lnTo>
                      <a:pt x="1275" y="1077"/>
                    </a:lnTo>
                    <a:lnTo>
                      <a:pt x="1276" y="1077"/>
                    </a:lnTo>
                    <a:lnTo>
                      <a:pt x="1276" y="1075"/>
                    </a:lnTo>
                    <a:lnTo>
                      <a:pt x="1278" y="1077"/>
                    </a:lnTo>
                    <a:lnTo>
                      <a:pt x="1280" y="1077"/>
                    </a:lnTo>
                    <a:lnTo>
                      <a:pt x="1280" y="1075"/>
                    </a:lnTo>
                    <a:lnTo>
                      <a:pt x="1281" y="1077"/>
                    </a:lnTo>
                    <a:lnTo>
                      <a:pt x="1281" y="1075"/>
                    </a:lnTo>
                    <a:lnTo>
                      <a:pt x="1283" y="1075"/>
                    </a:lnTo>
                    <a:lnTo>
                      <a:pt x="1285" y="1075"/>
                    </a:lnTo>
                    <a:lnTo>
                      <a:pt x="1285" y="1077"/>
                    </a:lnTo>
                    <a:lnTo>
                      <a:pt x="1287" y="1077"/>
                    </a:lnTo>
                    <a:lnTo>
                      <a:pt x="1288" y="1077"/>
                    </a:lnTo>
                    <a:lnTo>
                      <a:pt x="1290" y="1077"/>
                    </a:lnTo>
                    <a:lnTo>
                      <a:pt x="1290" y="1078"/>
                    </a:lnTo>
                    <a:lnTo>
                      <a:pt x="1290" y="1077"/>
                    </a:lnTo>
                    <a:lnTo>
                      <a:pt x="1292" y="1078"/>
                    </a:lnTo>
                    <a:lnTo>
                      <a:pt x="1293" y="1078"/>
                    </a:lnTo>
                    <a:lnTo>
                      <a:pt x="1293" y="1080"/>
                    </a:lnTo>
                    <a:lnTo>
                      <a:pt x="1292" y="1080"/>
                    </a:lnTo>
                    <a:lnTo>
                      <a:pt x="1293" y="1082"/>
                    </a:lnTo>
                    <a:lnTo>
                      <a:pt x="1295" y="1082"/>
                    </a:lnTo>
                    <a:lnTo>
                      <a:pt x="1293" y="1083"/>
                    </a:lnTo>
                    <a:lnTo>
                      <a:pt x="1295" y="1085"/>
                    </a:lnTo>
                    <a:lnTo>
                      <a:pt x="1293" y="1085"/>
                    </a:lnTo>
                    <a:lnTo>
                      <a:pt x="1292" y="1085"/>
                    </a:lnTo>
                    <a:lnTo>
                      <a:pt x="1290" y="1085"/>
                    </a:lnTo>
                    <a:lnTo>
                      <a:pt x="1292" y="1085"/>
                    </a:lnTo>
                    <a:lnTo>
                      <a:pt x="1290" y="1087"/>
                    </a:lnTo>
                    <a:lnTo>
                      <a:pt x="1290" y="1088"/>
                    </a:lnTo>
                    <a:lnTo>
                      <a:pt x="1292" y="1088"/>
                    </a:lnTo>
                    <a:lnTo>
                      <a:pt x="1290" y="1090"/>
                    </a:lnTo>
                    <a:lnTo>
                      <a:pt x="1290" y="1092"/>
                    </a:lnTo>
                    <a:lnTo>
                      <a:pt x="1290" y="1094"/>
                    </a:lnTo>
                    <a:lnTo>
                      <a:pt x="1288" y="1094"/>
                    </a:lnTo>
                    <a:lnTo>
                      <a:pt x="1288" y="1095"/>
                    </a:lnTo>
                    <a:lnTo>
                      <a:pt x="1287" y="1095"/>
                    </a:lnTo>
                    <a:lnTo>
                      <a:pt x="1285" y="1095"/>
                    </a:lnTo>
                    <a:lnTo>
                      <a:pt x="1285" y="1094"/>
                    </a:lnTo>
                    <a:lnTo>
                      <a:pt x="1283" y="1094"/>
                    </a:lnTo>
                    <a:lnTo>
                      <a:pt x="1283" y="1092"/>
                    </a:lnTo>
                    <a:lnTo>
                      <a:pt x="1281" y="1092"/>
                    </a:lnTo>
                    <a:lnTo>
                      <a:pt x="1280" y="1092"/>
                    </a:lnTo>
                    <a:lnTo>
                      <a:pt x="1278" y="1094"/>
                    </a:lnTo>
                    <a:lnTo>
                      <a:pt x="1278" y="1092"/>
                    </a:lnTo>
                    <a:lnTo>
                      <a:pt x="1278" y="1094"/>
                    </a:lnTo>
                    <a:lnTo>
                      <a:pt x="1276" y="1094"/>
                    </a:lnTo>
                    <a:lnTo>
                      <a:pt x="1275" y="1094"/>
                    </a:lnTo>
                    <a:lnTo>
                      <a:pt x="1273" y="1094"/>
                    </a:lnTo>
                    <a:lnTo>
                      <a:pt x="1271" y="1094"/>
                    </a:lnTo>
                    <a:lnTo>
                      <a:pt x="1271" y="1092"/>
                    </a:lnTo>
                    <a:lnTo>
                      <a:pt x="1270" y="1094"/>
                    </a:lnTo>
                    <a:lnTo>
                      <a:pt x="1270" y="1095"/>
                    </a:lnTo>
                    <a:lnTo>
                      <a:pt x="1270" y="1094"/>
                    </a:lnTo>
                    <a:lnTo>
                      <a:pt x="1268" y="1095"/>
                    </a:lnTo>
                    <a:lnTo>
                      <a:pt x="1268" y="1094"/>
                    </a:lnTo>
                    <a:lnTo>
                      <a:pt x="1266" y="1094"/>
                    </a:lnTo>
                    <a:lnTo>
                      <a:pt x="1266" y="1095"/>
                    </a:lnTo>
                    <a:lnTo>
                      <a:pt x="1266" y="1094"/>
                    </a:lnTo>
                    <a:lnTo>
                      <a:pt x="1264" y="1094"/>
                    </a:lnTo>
                    <a:lnTo>
                      <a:pt x="1263" y="1094"/>
                    </a:lnTo>
                    <a:lnTo>
                      <a:pt x="1261" y="1092"/>
                    </a:lnTo>
                    <a:lnTo>
                      <a:pt x="1261" y="1094"/>
                    </a:lnTo>
                    <a:lnTo>
                      <a:pt x="1261" y="1095"/>
                    </a:lnTo>
                    <a:lnTo>
                      <a:pt x="1263" y="1095"/>
                    </a:lnTo>
                    <a:lnTo>
                      <a:pt x="1263" y="1097"/>
                    </a:lnTo>
                    <a:lnTo>
                      <a:pt x="1261" y="1097"/>
                    </a:lnTo>
                    <a:lnTo>
                      <a:pt x="1263" y="1097"/>
                    </a:lnTo>
                    <a:lnTo>
                      <a:pt x="1261" y="1099"/>
                    </a:lnTo>
                    <a:lnTo>
                      <a:pt x="1263" y="1099"/>
                    </a:lnTo>
                    <a:lnTo>
                      <a:pt x="1263" y="1100"/>
                    </a:lnTo>
                    <a:lnTo>
                      <a:pt x="1263" y="1099"/>
                    </a:lnTo>
                    <a:lnTo>
                      <a:pt x="1264" y="1100"/>
                    </a:lnTo>
                    <a:lnTo>
                      <a:pt x="1266" y="1100"/>
                    </a:lnTo>
                    <a:lnTo>
                      <a:pt x="1266" y="1102"/>
                    </a:lnTo>
                    <a:lnTo>
                      <a:pt x="1268" y="1102"/>
                    </a:lnTo>
                    <a:lnTo>
                      <a:pt x="1268" y="1100"/>
                    </a:lnTo>
                    <a:lnTo>
                      <a:pt x="1270" y="1100"/>
                    </a:lnTo>
                    <a:lnTo>
                      <a:pt x="1271" y="1102"/>
                    </a:lnTo>
                    <a:lnTo>
                      <a:pt x="1271" y="1100"/>
                    </a:lnTo>
                    <a:lnTo>
                      <a:pt x="1273" y="1102"/>
                    </a:lnTo>
                    <a:lnTo>
                      <a:pt x="1275" y="1102"/>
                    </a:lnTo>
                    <a:lnTo>
                      <a:pt x="1275" y="1104"/>
                    </a:lnTo>
                    <a:lnTo>
                      <a:pt x="1276" y="1102"/>
                    </a:lnTo>
                    <a:lnTo>
                      <a:pt x="1276" y="1104"/>
                    </a:lnTo>
                    <a:lnTo>
                      <a:pt x="1278" y="1104"/>
                    </a:lnTo>
                    <a:lnTo>
                      <a:pt x="1280" y="1104"/>
                    </a:lnTo>
                    <a:lnTo>
                      <a:pt x="1278" y="1104"/>
                    </a:lnTo>
                    <a:lnTo>
                      <a:pt x="1278" y="1105"/>
                    </a:lnTo>
                    <a:lnTo>
                      <a:pt x="1280" y="1107"/>
                    </a:lnTo>
                    <a:lnTo>
                      <a:pt x="1280" y="1109"/>
                    </a:lnTo>
                    <a:lnTo>
                      <a:pt x="1281" y="1109"/>
                    </a:lnTo>
                    <a:lnTo>
                      <a:pt x="1281" y="1111"/>
                    </a:lnTo>
                    <a:lnTo>
                      <a:pt x="1283" y="1112"/>
                    </a:lnTo>
                    <a:lnTo>
                      <a:pt x="1283" y="1114"/>
                    </a:lnTo>
                    <a:lnTo>
                      <a:pt x="1285" y="1114"/>
                    </a:lnTo>
                    <a:lnTo>
                      <a:pt x="1285" y="1116"/>
                    </a:lnTo>
                    <a:lnTo>
                      <a:pt x="1287" y="1116"/>
                    </a:lnTo>
                    <a:lnTo>
                      <a:pt x="1285" y="1117"/>
                    </a:lnTo>
                    <a:lnTo>
                      <a:pt x="1287" y="1117"/>
                    </a:lnTo>
                    <a:lnTo>
                      <a:pt x="1287" y="1119"/>
                    </a:lnTo>
                    <a:lnTo>
                      <a:pt x="1287" y="1121"/>
                    </a:lnTo>
                    <a:lnTo>
                      <a:pt x="1285" y="1121"/>
                    </a:lnTo>
                    <a:lnTo>
                      <a:pt x="1283" y="1121"/>
                    </a:lnTo>
                    <a:lnTo>
                      <a:pt x="1283" y="1122"/>
                    </a:lnTo>
                    <a:lnTo>
                      <a:pt x="1281" y="1122"/>
                    </a:lnTo>
                    <a:lnTo>
                      <a:pt x="1280" y="1122"/>
                    </a:lnTo>
                    <a:lnTo>
                      <a:pt x="1280" y="1124"/>
                    </a:lnTo>
                    <a:lnTo>
                      <a:pt x="1280" y="1126"/>
                    </a:lnTo>
                    <a:lnTo>
                      <a:pt x="1281" y="1128"/>
                    </a:lnTo>
                    <a:lnTo>
                      <a:pt x="1280" y="1128"/>
                    </a:lnTo>
                    <a:lnTo>
                      <a:pt x="1280" y="1129"/>
                    </a:lnTo>
                    <a:lnTo>
                      <a:pt x="1278" y="1129"/>
                    </a:lnTo>
                    <a:lnTo>
                      <a:pt x="1276" y="1129"/>
                    </a:lnTo>
                    <a:lnTo>
                      <a:pt x="1275" y="1129"/>
                    </a:lnTo>
                    <a:lnTo>
                      <a:pt x="1273" y="1129"/>
                    </a:lnTo>
                    <a:lnTo>
                      <a:pt x="1273" y="1131"/>
                    </a:lnTo>
                    <a:lnTo>
                      <a:pt x="1271" y="1131"/>
                    </a:lnTo>
                    <a:lnTo>
                      <a:pt x="1271" y="1133"/>
                    </a:lnTo>
                    <a:lnTo>
                      <a:pt x="1273" y="1133"/>
                    </a:lnTo>
                    <a:lnTo>
                      <a:pt x="1271" y="1134"/>
                    </a:lnTo>
                    <a:lnTo>
                      <a:pt x="1271" y="1136"/>
                    </a:lnTo>
                    <a:lnTo>
                      <a:pt x="1271" y="1138"/>
                    </a:lnTo>
                    <a:lnTo>
                      <a:pt x="1271" y="1140"/>
                    </a:lnTo>
                    <a:lnTo>
                      <a:pt x="1271" y="1141"/>
                    </a:lnTo>
                    <a:lnTo>
                      <a:pt x="1271" y="1143"/>
                    </a:lnTo>
                    <a:lnTo>
                      <a:pt x="1273" y="1143"/>
                    </a:lnTo>
                    <a:lnTo>
                      <a:pt x="1271" y="1145"/>
                    </a:lnTo>
                    <a:lnTo>
                      <a:pt x="1273" y="1146"/>
                    </a:lnTo>
                    <a:lnTo>
                      <a:pt x="1273" y="1145"/>
                    </a:lnTo>
                    <a:lnTo>
                      <a:pt x="1273" y="1146"/>
                    </a:lnTo>
                    <a:lnTo>
                      <a:pt x="1275" y="1146"/>
                    </a:lnTo>
                    <a:lnTo>
                      <a:pt x="1276" y="1148"/>
                    </a:lnTo>
                    <a:lnTo>
                      <a:pt x="1276" y="1150"/>
                    </a:lnTo>
                    <a:lnTo>
                      <a:pt x="1276" y="1151"/>
                    </a:lnTo>
                    <a:lnTo>
                      <a:pt x="1276" y="1153"/>
                    </a:lnTo>
                    <a:lnTo>
                      <a:pt x="1275" y="1153"/>
                    </a:lnTo>
                    <a:lnTo>
                      <a:pt x="1275" y="1155"/>
                    </a:lnTo>
                    <a:lnTo>
                      <a:pt x="1275" y="1157"/>
                    </a:lnTo>
                    <a:lnTo>
                      <a:pt x="1273" y="1157"/>
                    </a:lnTo>
                    <a:lnTo>
                      <a:pt x="1271" y="1157"/>
                    </a:lnTo>
                    <a:lnTo>
                      <a:pt x="1271" y="1158"/>
                    </a:lnTo>
                    <a:lnTo>
                      <a:pt x="1270" y="1158"/>
                    </a:lnTo>
                    <a:lnTo>
                      <a:pt x="1268" y="1158"/>
                    </a:lnTo>
                    <a:lnTo>
                      <a:pt x="1266" y="1160"/>
                    </a:lnTo>
                    <a:lnTo>
                      <a:pt x="1268" y="1160"/>
                    </a:lnTo>
                    <a:lnTo>
                      <a:pt x="1268" y="1162"/>
                    </a:lnTo>
                    <a:lnTo>
                      <a:pt x="1270" y="1162"/>
                    </a:lnTo>
                    <a:lnTo>
                      <a:pt x="1271" y="1162"/>
                    </a:lnTo>
                    <a:lnTo>
                      <a:pt x="1271" y="1163"/>
                    </a:lnTo>
                    <a:lnTo>
                      <a:pt x="1273" y="1165"/>
                    </a:lnTo>
                    <a:lnTo>
                      <a:pt x="1273" y="1167"/>
                    </a:lnTo>
                    <a:lnTo>
                      <a:pt x="1273" y="1168"/>
                    </a:lnTo>
                    <a:lnTo>
                      <a:pt x="1273" y="1170"/>
                    </a:lnTo>
                    <a:lnTo>
                      <a:pt x="1273" y="1174"/>
                    </a:lnTo>
                    <a:lnTo>
                      <a:pt x="1275" y="1177"/>
                    </a:lnTo>
                    <a:lnTo>
                      <a:pt x="1275" y="1179"/>
                    </a:lnTo>
                    <a:lnTo>
                      <a:pt x="1275" y="1180"/>
                    </a:lnTo>
                    <a:lnTo>
                      <a:pt x="1275" y="1182"/>
                    </a:lnTo>
                    <a:lnTo>
                      <a:pt x="1276" y="1184"/>
                    </a:lnTo>
                    <a:lnTo>
                      <a:pt x="1275" y="1184"/>
                    </a:lnTo>
                    <a:lnTo>
                      <a:pt x="1276" y="1185"/>
                    </a:lnTo>
                    <a:lnTo>
                      <a:pt x="1275" y="1187"/>
                    </a:lnTo>
                    <a:lnTo>
                      <a:pt x="1273" y="1187"/>
                    </a:lnTo>
                    <a:lnTo>
                      <a:pt x="1273" y="1189"/>
                    </a:lnTo>
                    <a:lnTo>
                      <a:pt x="1271" y="1189"/>
                    </a:lnTo>
                    <a:lnTo>
                      <a:pt x="1271" y="1191"/>
                    </a:lnTo>
                    <a:lnTo>
                      <a:pt x="1270" y="1191"/>
                    </a:lnTo>
                    <a:lnTo>
                      <a:pt x="1270" y="1192"/>
                    </a:lnTo>
                    <a:lnTo>
                      <a:pt x="1268" y="1192"/>
                    </a:lnTo>
                    <a:lnTo>
                      <a:pt x="1266" y="1192"/>
                    </a:lnTo>
                    <a:lnTo>
                      <a:pt x="1264" y="1192"/>
                    </a:lnTo>
                    <a:lnTo>
                      <a:pt x="1266" y="1194"/>
                    </a:lnTo>
                    <a:lnTo>
                      <a:pt x="1266" y="1196"/>
                    </a:lnTo>
                    <a:lnTo>
                      <a:pt x="1264" y="1196"/>
                    </a:lnTo>
                    <a:lnTo>
                      <a:pt x="1264" y="1197"/>
                    </a:lnTo>
                    <a:lnTo>
                      <a:pt x="1264" y="1199"/>
                    </a:lnTo>
                    <a:lnTo>
                      <a:pt x="1266" y="1199"/>
                    </a:lnTo>
                    <a:lnTo>
                      <a:pt x="1264" y="1201"/>
                    </a:lnTo>
                    <a:lnTo>
                      <a:pt x="1266" y="1201"/>
                    </a:lnTo>
                    <a:lnTo>
                      <a:pt x="1268" y="1201"/>
                    </a:lnTo>
                    <a:lnTo>
                      <a:pt x="1268" y="1202"/>
                    </a:lnTo>
                    <a:lnTo>
                      <a:pt x="1266" y="1204"/>
                    </a:lnTo>
                    <a:lnTo>
                      <a:pt x="1264" y="1206"/>
                    </a:lnTo>
                    <a:lnTo>
                      <a:pt x="1266" y="1206"/>
                    </a:lnTo>
                    <a:lnTo>
                      <a:pt x="1268" y="1208"/>
                    </a:lnTo>
                    <a:lnTo>
                      <a:pt x="1268" y="1209"/>
                    </a:lnTo>
                    <a:lnTo>
                      <a:pt x="1270" y="1209"/>
                    </a:lnTo>
                    <a:lnTo>
                      <a:pt x="1268" y="1209"/>
                    </a:lnTo>
                    <a:lnTo>
                      <a:pt x="1268" y="1211"/>
                    </a:lnTo>
                    <a:lnTo>
                      <a:pt x="1268" y="1213"/>
                    </a:lnTo>
                    <a:lnTo>
                      <a:pt x="1266" y="1213"/>
                    </a:lnTo>
                    <a:lnTo>
                      <a:pt x="1264" y="1213"/>
                    </a:lnTo>
                    <a:lnTo>
                      <a:pt x="1263" y="1211"/>
                    </a:lnTo>
                    <a:lnTo>
                      <a:pt x="1264" y="1213"/>
                    </a:lnTo>
                    <a:lnTo>
                      <a:pt x="1263" y="1214"/>
                    </a:lnTo>
                    <a:lnTo>
                      <a:pt x="1264" y="1216"/>
                    </a:lnTo>
                    <a:lnTo>
                      <a:pt x="1263" y="1216"/>
                    </a:lnTo>
                    <a:lnTo>
                      <a:pt x="1263" y="1218"/>
                    </a:lnTo>
                    <a:lnTo>
                      <a:pt x="1261" y="1218"/>
                    </a:lnTo>
                    <a:lnTo>
                      <a:pt x="1259" y="1218"/>
                    </a:lnTo>
                    <a:lnTo>
                      <a:pt x="1259" y="1219"/>
                    </a:lnTo>
                    <a:lnTo>
                      <a:pt x="1258" y="1221"/>
                    </a:lnTo>
                    <a:lnTo>
                      <a:pt x="1258" y="1223"/>
                    </a:lnTo>
                    <a:lnTo>
                      <a:pt x="1256" y="1221"/>
                    </a:lnTo>
                    <a:lnTo>
                      <a:pt x="1256" y="1223"/>
                    </a:lnTo>
                    <a:lnTo>
                      <a:pt x="1254" y="1223"/>
                    </a:lnTo>
                    <a:lnTo>
                      <a:pt x="1254" y="1225"/>
                    </a:lnTo>
                    <a:lnTo>
                      <a:pt x="1253" y="1225"/>
                    </a:lnTo>
                    <a:lnTo>
                      <a:pt x="1253" y="1226"/>
                    </a:lnTo>
                    <a:lnTo>
                      <a:pt x="1253" y="1225"/>
                    </a:lnTo>
                    <a:lnTo>
                      <a:pt x="1253" y="1226"/>
                    </a:lnTo>
                    <a:lnTo>
                      <a:pt x="1254" y="1226"/>
                    </a:lnTo>
                    <a:lnTo>
                      <a:pt x="1254" y="1228"/>
                    </a:lnTo>
                    <a:lnTo>
                      <a:pt x="1253" y="1228"/>
                    </a:lnTo>
                    <a:lnTo>
                      <a:pt x="1253" y="1230"/>
                    </a:lnTo>
                    <a:lnTo>
                      <a:pt x="1253" y="1231"/>
                    </a:lnTo>
                    <a:lnTo>
                      <a:pt x="1253" y="1233"/>
                    </a:lnTo>
                    <a:lnTo>
                      <a:pt x="1251" y="1233"/>
                    </a:lnTo>
                    <a:lnTo>
                      <a:pt x="1251" y="1235"/>
                    </a:lnTo>
                    <a:lnTo>
                      <a:pt x="1249" y="1235"/>
                    </a:lnTo>
                    <a:lnTo>
                      <a:pt x="1249" y="1236"/>
                    </a:lnTo>
                    <a:lnTo>
                      <a:pt x="1249" y="1238"/>
                    </a:lnTo>
                    <a:lnTo>
                      <a:pt x="1251" y="1238"/>
                    </a:lnTo>
                    <a:lnTo>
                      <a:pt x="1251" y="1240"/>
                    </a:lnTo>
                    <a:lnTo>
                      <a:pt x="1249" y="1240"/>
                    </a:lnTo>
                    <a:lnTo>
                      <a:pt x="1247" y="1240"/>
                    </a:lnTo>
                    <a:lnTo>
                      <a:pt x="1246" y="1238"/>
                    </a:lnTo>
                    <a:lnTo>
                      <a:pt x="1246" y="1240"/>
                    </a:lnTo>
                    <a:lnTo>
                      <a:pt x="1247" y="1240"/>
                    </a:lnTo>
                    <a:lnTo>
                      <a:pt x="1247" y="1242"/>
                    </a:lnTo>
                    <a:lnTo>
                      <a:pt x="1247" y="1243"/>
                    </a:lnTo>
                    <a:lnTo>
                      <a:pt x="1247" y="1245"/>
                    </a:lnTo>
                    <a:lnTo>
                      <a:pt x="1247" y="1247"/>
                    </a:lnTo>
                    <a:lnTo>
                      <a:pt x="1246" y="1247"/>
                    </a:lnTo>
                    <a:lnTo>
                      <a:pt x="1246" y="1248"/>
                    </a:lnTo>
                    <a:lnTo>
                      <a:pt x="1247" y="1250"/>
                    </a:lnTo>
                    <a:lnTo>
                      <a:pt x="1249" y="1250"/>
                    </a:lnTo>
                    <a:lnTo>
                      <a:pt x="1249" y="1252"/>
                    </a:lnTo>
                    <a:lnTo>
                      <a:pt x="1249" y="1253"/>
                    </a:lnTo>
                    <a:lnTo>
                      <a:pt x="1249" y="1255"/>
                    </a:lnTo>
                    <a:lnTo>
                      <a:pt x="1251" y="1255"/>
                    </a:lnTo>
                    <a:lnTo>
                      <a:pt x="1251" y="1257"/>
                    </a:lnTo>
                    <a:lnTo>
                      <a:pt x="1253" y="1257"/>
                    </a:lnTo>
                    <a:lnTo>
                      <a:pt x="1253" y="1259"/>
                    </a:lnTo>
                    <a:lnTo>
                      <a:pt x="1254" y="1259"/>
                    </a:lnTo>
                    <a:lnTo>
                      <a:pt x="1253" y="1260"/>
                    </a:lnTo>
                    <a:lnTo>
                      <a:pt x="1254" y="1262"/>
                    </a:lnTo>
                    <a:lnTo>
                      <a:pt x="1253" y="1262"/>
                    </a:lnTo>
                    <a:lnTo>
                      <a:pt x="1253" y="1264"/>
                    </a:lnTo>
                    <a:lnTo>
                      <a:pt x="1254" y="1264"/>
                    </a:lnTo>
                    <a:lnTo>
                      <a:pt x="1254" y="1265"/>
                    </a:lnTo>
                    <a:lnTo>
                      <a:pt x="1256" y="1267"/>
                    </a:lnTo>
                    <a:lnTo>
                      <a:pt x="1256" y="1269"/>
                    </a:lnTo>
                    <a:lnTo>
                      <a:pt x="1254" y="1269"/>
                    </a:lnTo>
                    <a:lnTo>
                      <a:pt x="1254" y="1270"/>
                    </a:lnTo>
                    <a:lnTo>
                      <a:pt x="1253" y="1269"/>
                    </a:lnTo>
                    <a:lnTo>
                      <a:pt x="1253" y="1270"/>
                    </a:lnTo>
                    <a:lnTo>
                      <a:pt x="1253" y="1269"/>
                    </a:lnTo>
                    <a:lnTo>
                      <a:pt x="1251" y="1269"/>
                    </a:lnTo>
                    <a:lnTo>
                      <a:pt x="1251" y="1270"/>
                    </a:lnTo>
                    <a:lnTo>
                      <a:pt x="1253" y="1270"/>
                    </a:lnTo>
                    <a:lnTo>
                      <a:pt x="1251" y="1272"/>
                    </a:lnTo>
                    <a:lnTo>
                      <a:pt x="1249" y="1272"/>
                    </a:lnTo>
                    <a:lnTo>
                      <a:pt x="1249" y="1274"/>
                    </a:lnTo>
                    <a:lnTo>
                      <a:pt x="1251" y="1274"/>
                    </a:lnTo>
                    <a:lnTo>
                      <a:pt x="1251" y="1276"/>
                    </a:lnTo>
                    <a:lnTo>
                      <a:pt x="1249" y="1277"/>
                    </a:lnTo>
                    <a:lnTo>
                      <a:pt x="1247" y="1277"/>
                    </a:lnTo>
                    <a:lnTo>
                      <a:pt x="1246" y="1277"/>
                    </a:lnTo>
                    <a:lnTo>
                      <a:pt x="1246" y="1276"/>
                    </a:lnTo>
                    <a:lnTo>
                      <a:pt x="1244" y="1276"/>
                    </a:lnTo>
                    <a:lnTo>
                      <a:pt x="1244" y="1277"/>
                    </a:lnTo>
                    <a:lnTo>
                      <a:pt x="1246" y="1284"/>
                    </a:lnTo>
                    <a:lnTo>
                      <a:pt x="1246" y="1288"/>
                    </a:lnTo>
                    <a:lnTo>
                      <a:pt x="1246" y="1289"/>
                    </a:lnTo>
                    <a:lnTo>
                      <a:pt x="1246" y="1291"/>
                    </a:lnTo>
                    <a:lnTo>
                      <a:pt x="1246" y="1293"/>
                    </a:lnTo>
                    <a:lnTo>
                      <a:pt x="1244" y="1293"/>
                    </a:lnTo>
                    <a:lnTo>
                      <a:pt x="1242" y="1294"/>
                    </a:lnTo>
                    <a:lnTo>
                      <a:pt x="1241" y="1296"/>
                    </a:lnTo>
                    <a:lnTo>
                      <a:pt x="1241" y="1298"/>
                    </a:lnTo>
                    <a:lnTo>
                      <a:pt x="1239" y="1298"/>
                    </a:lnTo>
                    <a:lnTo>
                      <a:pt x="1237" y="1299"/>
                    </a:lnTo>
                    <a:lnTo>
                      <a:pt x="1237" y="1301"/>
                    </a:lnTo>
                    <a:lnTo>
                      <a:pt x="1236" y="1301"/>
                    </a:lnTo>
                    <a:lnTo>
                      <a:pt x="1234" y="1299"/>
                    </a:lnTo>
                    <a:lnTo>
                      <a:pt x="1232" y="1299"/>
                    </a:lnTo>
                    <a:lnTo>
                      <a:pt x="1232" y="1301"/>
                    </a:lnTo>
                    <a:lnTo>
                      <a:pt x="1230" y="1301"/>
                    </a:lnTo>
                    <a:lnTo>
                      <a:pt x="1230" y="1303"/>
                    </a:lnTo>
                    <a:lnTo>
                      <a:pt x="1230" y="1305"/>
                    </a:lnTo>
                    <a:lnTo>
                      <a:pt x="1230" y="1306"/>
                    </a:lnTo>
                    <a:lnTo>
                      <a:pt x="1229" y="1306"/>
                    </a:lnTo>
                    <a:lnTo>
                      <a:pt x="1229" y="1308"/>
                    </a:lnTo>
                    <a:lnTo>
                      <a:pt x="1227" y="1310"/>
                    </a:lnTo>
                    <a:lnTo>
                      <a:pt x="1225" y="1311"/>
                    </a:lnTo>
                    <a:lnTo>
                      <a:pt x="1225" y="1313"/>
                    </a:lnTo>
                    <a:lnTo>
                      <a:pt x="1225" y="1315"/>
                    </a:lnTo>
                    <a:lnTo>
                      <a:pt x="1225" y="1316"/>
                    </a:lnTo>
                    <a:lnTo>
                      <a:pt x="1227" y="1316"/>
                    </a:lnTo>
                    <a:lnTo>
                      <a:pt x="1227" y="1315"/>
                    </a:lnTo>
                    <a:lnTo>
                      <a:pt x="1227" y="1316"/>
                    </a:lnTo>
                    <a:lnTo>
                      <a:pt x="1229" y="1316"/>
                    </a:lnTo>
                    <a:lnTo>
                      <a:pt x="1227" y="1316"/>
                    </a:lnTo>
                    <a:lnTo>
                      <a:pt x="1213" y="1313"/>
                    </a:lnTo>
                    <a:lnTo>
                      <a:pt x="1213" y="1315"/>
                    </a:lnTo>
                    <a:lnTo>
                      <a:pt x="1213" y="1316"/>
                    </a:lnTo>
                    <a:lnTo>
                      <a:pt x="1215" y="1318"/>
                    </a:lnTo>
                    <a:lnTo>
                      <a:pt x="1217" y="1318"/>
                    </a:lnTo>
                    <a:lnTo>
                      <a:pt x="1215" y="1320"/>
                    </a:lnTo>
                    <a:lnTo>
                      <a:pt x="1215" y="1322"/>
                    </a:lnTo>
                    <a:lnTo>
                      <a:pt x="1215" y="1323"/>
                    </a:lnTo>
                    <a:lnTo>
                      <a:pt x="1213" y="1323"/>
                    </a:lnTo>
                    <a:lnTo>
                      <a:pt x="1213" y="1325"/>
                    </a:lnTo>
                    <a:lnTo>
                      <a:pt x="1213" y="1327"/>
                    </a:lnTo>
                    <a:lnTo>
                      <a:pt x="1213" y="1328"/>
                    </a:lnTo>
                    <a:lnTo>
                      <a:pt x="1212" y="1328"/>
                    </a:lnTo>
                    <a:lnTo>
                      <a:pt x="1212" y="1330"/>
                    </a:lnTo>
                    <a:lnTo>
                      <a:pt x="1212" y="1332"/>
                    </a:lnTo>
                    <a:lnTo>
                      <a:pt x="1213" y="1332"/>
                    </a:lnTo>
                    <a:lnTo>
                      <a:pt x="1213" y="1333"/>
                    </a:lnTo>
                    <a:lnTo>
                      <a:pt x="1215" y="1335"/>
                    </a:lnTo>
                    <a:lnTo>
                      <a:pt x="1213" y="1335"/>
                    </a:lnTo>
                    <a:lnTo>
                      <a:pt x="1213" y="1337"/>
                    </a:lnTo>
                    <a:lnTo>
                      <a:pt x="1213" y="1339"/>
                    </a:lnTo>
                    <a:lnTo>
                      <a:pt x="1213" y="1340"/>
                    </a:lnTo>
                    <a:lnTo>
                      <a:pt x="1215" y="1342"/>
                    </a:lnTo>
                    <a:lnTo>
                      <a:pt x="1215" y="1344"/>
                    </a:lnTo>
                    <a:lnTo>
                      <a:pt x="1213" y="1345"/>
                    </a:lnTo>
                    <a:lnTo>
                      <a:pt x="1213" y="1347"/>
                    </a:lnTo>
                    <a:lnTo>
                      <a:pt x="1213" y="1349"/>
                    </a:lnTo>
                    <a:lnTo>
                      <a:pt x="1212" y="1349"/>
                    </a:lnTo>
                    <a:lnTo>
                      <a:pt x="1212" y="1350"/>
                    </a:lnTo>
                    <a:lnTo>
                      <a:pt x="1212" y="1352"/>
                    </a:lnTo>
                    <a:lnTo>
                      <a:pt x="1213" y="1352"/>
                    </a:lnTo>
                    <a:lnTo>
                      <a:pt x="1212" y="1354"/>
                    </a:lnTo>
                    <a:lnTo>
                      <a:pt x="1212" y="1356"/>
                    </a:lnTo>
                    <a:lnTo>
                      <a:pt x="1212" y="1357"/>
                    </a:lnTo>
                    <a:lnTo>
                      <a:pt x="1213" y="1357"/>
                    </a:lnTo>
                    <a:lnTo>
                      <a:pt x="1213" y="1359"/>
                    </a:lnTo>
                    <a:lnTo>
                      <a:pt x="1212" y="1361"/>
                    </a:lnTo>
                    <a:lnTo>
                      <a:pt x="1212" y="1362"/>
                    </a:lnTo>
                    <a:lnTo>
                      <a:pt x="1212" y="1364"/>
                    </a:lnTo>
                    <a:lnTo>
                      <a:pt x="1212" y="1366"/>
                    </a:lnTo>
                    <a:lnTo>
                      <a:pt x="1210" y="1367"/>
                    </a:lnTo>
                    <a:lnTo>
                      <a:pt x="1212" y="1369"/>
                    </a:lnTo>
                    <a:lnTo>
                      <a:pt x="1212" y="1371"/>
                    </a:lnTo>
                    <a:lnTo>
                      <a:pt x="1213" y="1371"/>
                    </a:lnTo>
                    <a:lnTo>
                      <a:pt x="1213" y="1373"/>
                    </a:lnTo>
                    <a:lnTo>
                      <a:pt x="1213" y="1374"/>
                    </a:lnTo>
                    <a:lnTo>
                      <a:pt x="1215" y="1378"/>
                    </a:lnTo>
                    <a:lnTo>
                      <a:pt x="1217" y="1379"/>
                    </a:lnTo>
                    <a:lnTo>
                      <a:pt x="1215" y="1379"/>
                    </a:lnTo>
                    <a:lnTo>
                      <a:pt x="1217" y="1379"/>
                    </a:lnTo>
                    <a:lnTo>
                      <a:pt x="1219" y="1381"/>
                    </a:lnTo>
                    <a:lnTo>
                      <a:pt x="1217" y="1381"/>
                    </a:lnTo>
                    <a:lnTo>
                      <a:pt x="1219" y="1383"/>
                    </a:lnTo>
                    <a:lnTo>
                      <a:pt x="1219" y="1384"/>
                    </a:lnTo>
                    <a:lnTo>
                      <a:pt x="1220" y="1384"/>
                    </a:lnTo>
                    <a:lnTo>
                      <a:pt x="1220" y="1386"/>
                    </a:lnTo>
                    <a:lnTo>
                      <a:pt x="1220" y="1388"/>
                    </a:lnTo>
                    <a:lnTo>
                      <a:pt x="1222" y="1390"/>
                    </a:lnTo>
                    <a:lnTo>
                      <a:pt x="1224" y="1390"/>
                    </a:lnTo>
                    <a:lnTo>
                      <a:pt x="1224" y="1391"/>
                    </a:lnTo>
                    <a:lnTo>
                      <a:pt x="1222" y="1393"/>
                    </a:lnTo>
                    <a:lnTo>
                      <a:pt x="1220" y="1393"/>
                    </a:lnTo>
                    <a:lnTo>
                      <a:pt x="1220" y="1395"/>
                    </a:lnTo>
                    <a:lnTo>
                      <a:pt x="1220" y="1396"/>
                    </a:lnTo>
                    <a:lnTo>
                      <a:pt x="1220" y="1398"/>
                    </a:lnTo>
                    <a:lnTo>
                      <a:pt x="1222" y="1398"/>
                    </a:lnTo>
                    <a:lnTo>
                      <a:pt x="1224" y="1398"/>
                    </a:lnTo>
                    <a:lnTo>
                      <a:pt x="1225" y="1396"/>
                    </a:lnTo>
                    <a:lnTo>
                      <a:pt x="1227" y="1395"/>
                    </a:lnTo>
                    <a:lnTo>
                      <a:pt x="1227" y="1396"/>
                    </a:lnTo>
                    <a:lnTo>
                      <a:pt x="1229" y="1395"/>
                    </a:lnTo>
                    <a:lnTo>
                      <a:pt x="1230" y="1395"/>
                    </a:lnTo>
                    <a:lnTo>
                      <a:pt x="1232" y="1393"/>
                    </a:lnTo>
                    <a:lnTo>
                      <a:pt x="1232" y="1391"/>
                    </a:lnTo>
                    <a:lnTo>
                      <a:pt x="1234" y="1391"/>
                    </a:lnTo>
                    <a:lnTo>
                      <a:pt x="1234" y="1390"/>
                    </a:lnTo>
                    <a:lnTo>
                      <a:pt x="1236" y="1390"/>
                    </a:lnTo>
                    <a:lnTo>
                      <a:pt x="1237" y="1388"/>
                    </a:lnTo>
                    <a:lnTo>
                      <a:pt x="1239" y="1388"/>
                    </a:lnTo>
                    <a:lnTo>
                      <a:pt x="1241" y="1390"/>
                    </a:lnTo>
                    <a:lnTo>
                      <a:pt x="1241" y="1388"/>
                    </a:lnTo>
                    <a:lnTo>
                      <a:pt x="1242" y="1390"/>
                    </a:lnTo>
                    <a:lnTo>
                      <a:pt x="1244" y="1391"/>
                    </a:lnTo>
                    <a:lnTo>
                      <a:pt x="1244" y="1390"/>
                    </a:lnTo>
                    <a:lnTo>
                      <a:pt x="1244" y="1388"/>
                    </a:lnTo>
                    <a:lnTo>
                      <a:pt x="1246" y="1388"/>
                    </a:lnTo>
                    <a:lnTo>
                      <a:pt x="1247" y="1386"/>
                    </a:lnTo>
                    <a:lnTo>
                      <a:pt x="1249" y="1388"/>
                    </a:lnTo>
                    <a:lnTo>
                      <a:pt x="1251" y="1388"/>
                    </a:lnTo>
                    <a:lnTo>
                      <a:pt x="1253" y="1388"/>
                    </a:lnTo>
                    <a:lnTo>
                      <a:pt x="1253" y="1390"/>
                    </a:lnTo>
                    <a:lnTo>
                      <a:pt x="1254" y="1390"/>
                    </a:lnTo>
                    <a:lnTo>
                      <a:pt x="1254" y="1391"/>
                    </a:lnTo>
                    <a:lnTo>
                      <a:pt x="1253" y="1393"/>
                    </a:lnTo>
                    <a:lnTo>
                      <a:pt x="1253" y="1395"/>
                    </a:lnTo>
                    <a:lnTo>
                      <a:pt x="1253" y="1396"/>
                    </a:lnTo>
                    <a:lnTo>
                      <a:pt x="1254" y="1396"/>
                    </a:lnTo>
                    <a:lnTo>
                      <a:pt x="1254" y="1398"/>
                    </a:lnTo>
                    <a:lnTo>
                      <a:pt x="1254" y="1400"/>
                    </a:lnTo>
                    <a:lnTo>
                      <a:pt x="1256" y="1401"/>
                    </a:lnTo>
                    <a:lnTo>
                      <a:pt x="1256" y="1403"/>
                    </a:lnTo>
                    <a:lnTo>
                      <a:pt x="1254" y="1405"/>
                    </a:lnTo>
                    <a:lnTo>
                      <a:pt x="1254" y="1407"/>
                    </a:lnTo>
                    <a:lnTo>
                      <a:pt x="1254" y="1408"/>
                    </a:lnTo>
                    <a:lnTo>
                      <a:pt x="1254" y="1410"/>
                    </a:lnTo>
                    <a:lnTo>
                      <a:pt x="1253" y="1410"/>
                    </a:lnTo>
                    <a:lnTo>
                      <a:pt x="1253" y="1408"/>
                    </a:lnTo>
                    <a:lnTo>
                      <a:pt x="1251" y="1408"/>
                    </a:lnTo>
                    <a:lnTo>
                      <a:pt x="1251" y="1410"/>
                    </a:lnTo>
                    <a:lnTo>
                      <a:pt x="1251" y="1412"/>
                    </a:lnTo>
                    <a:lnTo>
                      <a:pt x="1249" y="1413"/>
                    </a:lnTo>
                    <a:lnTo>
                      <a:pt x="1251" y="1413"/>
                    </a:lnTo>
                    <a:lnTo>
                      <a:pt x="1251" y="1415"/>
                    </a:lnTo>
                    <a:lnTo>
                      <a:pt x="1251" y="1417"/>
                    </a:lnTo>
                    <a:lnTo>
                      <a:pt x="1253" y="1418"/>
                    </a:lnTo>
                    <a:lnTo>
                      <a:pt x="1254" y="1418"/>
                    </a:lnTo>
                    <a:lnTo>
                      <a:pt x="1254" y="1420"/>
                    </a:lnTo>
                    <a:lnTo>
                      <a:pt x="1254" y="1422"/>
                    </a:lnTo>
                    <a:lnTo>
                      <a:pt x="1254" y="1424"/>
                    </a:lnTo>
                    <a:lnTo>
                      <a:pt x="1253" y="1424"/>
                    </a:lnTo>
                    <a:lnTo>
                      <a:pt x="1253" y="1425"/>
                    </a:lnTo>
                    <a:lnTo>
                      <a:pt x="1251" y="1425"/>
                    </a:lnTo>
                    <a:lnTo>
                      <a:pt x="1253" y="1427"/>
                    </a:lnTo>
                    <a:lnTo>
                      <a:pt x="1253" y="1429"/>
                    </a:lnTo>
                    <a:lnTo>
                      <a:pt x="1253" y="1430"/>
                    </a:lnTo>
                    <a:lnTo>
                      <a:pt x="1253" y="1432"/>
                    </a:lnTo>
                    <a:lnTo>
                      <a:pt x="1253" y="1434"/>
                    </a:lnTo>
                    <a:lnTo>
                      <a:pt x="1253" y="1435"/>
                    </a:lnTo>
                    <a:lnTo>
                      <a:pt x="1251" y="1435"/>
                    </a:lnTo>
                    <a:lnTo>
                      <a:pt x="1249" y="1435"/>
                    </a:lnTo>
                    <a:lnTo>
                      <a:pt x="1251" y="1435"/>
                    </a:lnTo>
                    <a:lnTo>
                      <a:pt x="1249" y="1437"/>
                    </a:lnTo>
                    <a:lnTo>
                      <a:pt x="1249" y="1439"/>
                    </a:lnTo>
                    <a:lnTo>
                      <a:pt x="1251" y="1439"/>
                    </a:lnTo>
                    <a:lnTo>
                      <a:pt x="1253" y="1439"/>
                    </a:lnTo>
                    <a:lnTo>
                      <a:pt x="1253" y="1441"/>
                    </a:lnTo>
                    <a:lnTo>
                      <a:pt x="1254" y="1442"/>
                    </a:lnTo>
                    <a:lnTo>
                      <a:pt x="1254" y="1444"/>
                    </a:lnTo>
                    <a:lnTo>
                      <a:pt x="1254" y="1446"/>
                    </a:lnTo>
                    <a:lnTo>
                      <a:pt x="1256" y="1446"/>
                    </a:lnTo>
                    <a:lnTo>
                      <a:pt x="1258" y="1446"/>
                    </a:lnTo>
                    <a:lnTo>
                      <a:pt x="1258" y="1447"/>
                    </a:lnTo>
                    <a:lnTo>
                      <a:pt x="1259" y="1447"/>
                    </a:lnTo>
                    <a:lnTo>
                      <a:pt x="1259" y="1449"/>
                    </a:lnTo>
                    <a:lnTo>
                      <a:pt x="1261" y="1449"/>
                    </a:lnTo>
                    <a:lnTo>
                      <a:pt x="1261" y="1451"/>
                    </a:lnTo>
                    <a:lnTo>
                      <a:pt x="1263" y="1451"/>
                    </a:lnTo>
                    <a:lnTo>
                      <a:pt x="1263" y="1453"/>
                    </a:lnTo>
                    <a:lnTo>
                      <a:pt x="1264" y="1453"/>
                    </a:lnTo>
                    <a:lnTo>
                      <a:pt x="1264" y="1454"/>
                    </a:lnTo>
                    <a:lnTo>
                      <a:pt x="1266" y="1456"/>
                    </a:lnTo>
                    <a:lnTo>
                      <a:pt x="1266" y="1458"/>
                    </a:lnTo>
                    <a:lnTo>
                      <a:pt x="1264" y="1458"/>
                    </a:lnTo>
                    <a:lnTo>
                      <a:pt x="1264" y="1459"/>
                    </a:lnTo>
                    <a:lnTo>
                      <a:pt x="1263" y="1459"/>
                    </a:lnTo>
                    <a:lnTo>
                      <a:pt x="1263" y="1461"/>
                    </a:lnTo>
                    <a:lnTo>
                      <a:pt x="1264" y="1461"/>
                    </a:lnTo>
                    <a:lnTo>
                      <a:pt x="1266" y="1461"/>
                    </a:lnTo>
                    <a:lnTo>
                      <a:pt x="1266" y="1463"/>
                    </a:lnTo>
                    <a:lnTo>
                      <a:pt x="1275" y="1461"/>
                    </a:lnTo>
                    <a:lnTo>
                      <a:pt x="1283" y="1461"/>
                    </a:lnTo>
                    <a:lnTo>
                      <a:pt x="1285" y="1461"/>
                    </a:lnTo>
                    <a:lnTo>
                      <a:pt x="1288" y="1463"/>
                    </a:lnTo>
                    <a:lnTo>
                      <a:pt x="1302" y="1461"/>
                    </a:lnTo>
                    <a:lnTo>
                      <a:pt x="1309" y="1463"/>
                    </a:lnTo>
                    <a:lnTo>
                      <a:pt x="1314" y="1461"/>
                    </a:lnTo>
                    <a:lnTo>
                      <a:pt x="1319" y="1463"/>
                    </a:lnTo>
                    <a:lnTo>
                      <a:pt x="1331" y="1461"/>
                    </a:lnTo>
                    <a:lnTo>
                      <a:pt x="1334" y="1463"/>
                    </a:lnTo>
                    <a:lnTo>
                      <a:pt x="1336" y="1464"/>
                    </a:lnTo>
                    <a:lnTo>
                      <a:pt x="1338" y="1466"/>
                    </a:lnTo>
                    <a:lnTo>
                      <a:pt x="1341" y="1466"/>
                    </a:lnTo>
                    <a:lnTo>
                      <a:pt x="1344" y="1468"/>
                    </a:lnTo>
                    <a:lnTo>
                      <a:pt x="1348" y="1470"/>
                    </a:lnTo>
                    <a:lnTo>
                      <a:pt x="1349" y="1470"/>
                    </a:lnTo>
                    <a:lnTo>
                      <a:pt x="1351" y="1471"/>
                    </a:lnTo>
                    <a:lnTo>
                      <a:pt x="1355" y="1471"/>
                    </a:lnTo>
                    <a:lnTo>
                      <a:pt x="1358" y="1471"/>
                    </a:lnTo>
                    <a:lnTo>
                      <a:pt x="1360" y="1471"/>
                    </a:lnTo>
                    <a:lnTo>
                      <a:pt x="1361" y="1473"/>
                    </a:lnTo>
                    <a:lnTo>
                      <a:pt x="1363" y="1473"/>
                    </a:lnTo>
                    <a:lnTo>
                      <a:pt x="1365" y="1473"/>
                    </a:lnTo>
                    <a:lnTo>
                      <a:pt x="1366" y="1475"/>
                    </a:lnTo>
                    <a:lnTo>
                      <a:pt x="1368" y="1475"/>
                    </a:lnTo>
                    <a:lnTo>
                      <a:pt x="1372" y="1476"/>
                    </a:lnTo>
                    <a:lnTo>
                      <a:pt x="1373" y="1476"/>
                    </a:lnTo>
                    <a:lnTo>
                      <a:pt x="1373" y="1478"/>
                    </a:lnTo>
                    <a:lnTo>
                      <a:pt x="1375" y="1478"/>
                    </a:lnTo>
                    <a:lnTo>
                      <a:pt x="1377" y="1478"/>
                    </a:lnTo>
                    <a:lnTo>
                      <a:pt x="1378" y="1478"/>
                    </a:lnTo>
                    <a:lnTo>
                      <a:pt x="1378" y="1480"/>
                    </a:lnTo>
                    <a:lnTo>
                      <a:pt x="1380" y="1480"/>
                    </a:lnTo>
                    <a:lnTo>
                      <a:pt x="1382" y="1480"/>
                    </a:lnTo>
                    <a:lnTo>
                      <a:pt x="1383" y="1480"/>
                    </a:lnTo>
                    <a:lnTo>
                      <a:pt x="1385" y="1480"/>
                    </a:lnTo>
                    <a:lnTo>
                      <a:pt x="1385" y="1481"/>
                    </a:lnTo>
                    <a:lnTo>
                      <a:pt x="1385" y="1483"/>
                    </a:lnTo>
                    <a:lnTo>
                      <a:pt x="1383" y="1483"/>
                    </a:lnTo>
                    <a:lnTo>
                      <a:pt x="1383" y="1481"/>
                    </a:lnTo>
                    <a:lnTo>
                      <a:pt x="1382" y="1481"/>
                    </a:lnTo>
                    <a:lnTo>
                      <a:pt x="1382" y="1480"/>
                    </a:lnTo>
                    <a:lnTo>
                      <a:pt x="1380" y="1481"/>
                    </a:lnTo>
                    <a:lnTo>
                      <a:pt x="1378" y="1480"/>
                    </a:lnTo>
                    <a:lnTo>
                      <a:pt x="1377" y="1480"/>
                    </a:lnTo>
                    <a:lnTo>
                      <a:pt x="1375" y="1480"/>
                    </a:lnTo>
                    <a:lnTo>
                      <a:pt x="1373" y="1480"/>
                    </a:lnTo>
                    <a:lnTo>
                      <a:pt x="1373" y="1478"/>
                    </a:lnTo>
                    <a:lnTo>
                      <a:pt x="1372" y="1480"/>
                    </a:lnTo>
                    <a:lnTo>
                      <a:pt x="1372" y="1478"/>
                    </a:lnTo>
                    <a:lnTo>
                      <a:pt x="1370" y="1480"/>
                    </a:lnTo>
                    <a:lnTo>
                      <a:pt x="1368" y="1478"/>
                    </a:lnTo>
                    <a:lnTo>
                      <a:pt x="1366" y="1478"/>
                    </a:lnTo>
                    <a:lnTo>
                      <a:pt x="1365" y="1476"/>
                    </a:lnTo>
                    <a:lnTo>
                      <a:pt x="1363" y="1475"/>
                    </a:lnTo>
                    <a:lnTo>
                      <a:pt x="1361" y="1475"/>
                    </a:lnTo>
                    <a:lnTo>
                      <a:pt x="1361" y="1473"/>
                    </a:lnTo>
                    <a:lnTo>
                      <a:pt x="1360" y="1473"/>
                    </a:lnTo>
                    <a:lnTo>
                      <a:pt x="1358" y="1473"/>
                    </a:lnTo>
                    <a:lnTo>
                      <a:pt x="1356" y="1473"/>
                    </a:lnTo>
                    <a:lnTo>
                      <a:pt x="1356" y="1475"/>
                    </a:lnTo>
                    <a:lnTo>
                      <a:pt x="1355" y="1475"/>
                    </a:lnTo>
                    <a:lnTo>
                      <a:pt x="1353" y="1475"/>
                    </a:lnTo>
                    <a:lnTo>
                      <a:pt x="1353" y="1476"/>
                    </a:lnTo>
                    <a:lnTo>
                      <a:pt x="1351" y="1476"/>
                    </a:lnTo>
                    <a:lnTo>
                      <a:pt x="1349" y="1476"/>
                    </a:lnTo>
                    <a:lnTo>
                      <a:pt x="1349" y="1478"/>
                    </a:lnTo>
                    <a:lnTo>
                      <a:pt x="1349" y="1480"/>
                    </a:lnTo>
                    <a:lnTo>
                      <a:pt x="1348" y="1480"/>
                    </a:lnTo>
                    <a:lnTo>
                      <a:pt x="1349" y="1481"/>
                    </a:lnTo>
                    <a:lnTo>
                      <a:pt x="1348" y="1481"/>
                    </a:lnTo>
                    <a:lnTo>
                      <a:pt x="1349" y="1483"/>
                    </a:lnTo>
                    <a:lnTo>
                      <a:pt x="1348" y="1483"/>
                    </a:lnTo>
                    <a:lnTo>
                      <a:pt x="1346" y="1485"/>
                    </a:lnTo>
                    <a:lnTo>
                      <a:pt x="1346" y="1487"/>
                    </a:lnTo>
                    <a:lnTo>
                      <a:pt x="1346" y="1488"/>
                    </a:lnTo>
                    <a:lnTo>
                      <a:pt x="1344" y="1488"/>
                    </a:lnTo>
                    <a:lnTo>
                      <a:pt x="1344" y="1490"/>
                    </a:lnTo>
                    <a:lnTo>
                      <a:pt x="1343" y="1492"/>
                    </a:lnTo>
                    <a:lnTo>
                      <a:pt x="1341" y="1492"/>
                    </a:lnTo>
                    <a:lnTo>
                      <a:pt x="1339" y="1492"/>
                    </a:lnTo>
                    <a:lnTo>
                      <a:pt x="1338" y="1490"/>
                    </a:lnTo>
                    <a:lnTo>
                      <a:pt x="1338" y="1488"/>
                    </a:lnTo>
                    <a:lnTo>
                      <a:pt x="1336" y="1488"/>
                    </a:lnTo>
                    <a:lnTo>
                      <a:pt x="1336" y="1490"/>
                    </a:lnTo>
                    <a:lnTo>
                      <a:pt x="1334" y="1490"/>
                    </a:lnTo>
                    <a:lnTo>
                      <a:pt x="1332" y="1492"/>
                    </a:lnTo>
                    <a:lnTo>
                      <a:pt x="1331" y="1492"/>
                    </a:lnTo>
                    <a:lnTo>
                      <a:pt x="1331" y="1493"/>
                    </a:lnTo>
                    <a:lnTo>
                      <a:pt x="1329" y="1493"/>
                    </a:lnTo>
                    <a:lnTo>
                      <a:pt x="1327" y="1493"/>
                    </a:lnTo>
                    <a:lnTo>
                      <a:pt x="1326" y="1495"/>
                    </a:lnTo>
                    <a:lnTo>
                      <a:pt x="1324" y="1495"/>
                    </a:lnTo>
                    <a:lnTo>
                      <a:pt x="1324" y="1497"/>
                    </a:lnTo>
                    <a:lnTo>
                      <a:pt x="1324" y="1498"/>
                    </a:lnTo>
                    <a:lnTo>
                      <a:pt x="1324" y="1497"/>
                    </a:lnTo>
                    <a:lnTo>
                      <a:pt x="1322" y="1497"/>
                    </a:lnTo>
                    <a:lnTo>
                      <a:pt x="1321" y="1497"/>
                    </a:lnTo>
                    <a:lnTo>
                      <a:pt x="1321" y="1498"/>
                    </a:lnTo>
                    <a:lnTo>
                      <a:pt x="1319" y="1498"/>
                    </a:lnTo>
                    <a:lnTo>
                      <a:pt x="1317" y="1500"/>
                    </a:lnTo>
                    <a:lnTo>
                      <a:pt x="1315" y="1500"/>
                    </a:lnTo>
                    <a:lnTo>
                      <a:pt x="1314" y="1502"/>
                    </a:lnTo>
                    <a:lnTo>
                      <a:pt x="1312" y="1502"/>
                    </a:lnTo>
                    <a:lnTo>
                      <a:pt x="1312" y="1500"/>
                    </a:lnTo>
                    <a:lnTo>
                      <a:pt x="1314" y="1500"/>
                    </a:lnTo>
                    <a:lnTo>
                      <a:pt x="1314" y="1498"/>
                    </a:lnTo>
                    <a:lnTo>
                      <a:pt x="1312" y="1498"/>
                    </a:lnTo>
                    <a:lnTo>
                      <a:pt x="1312" y="1500"/>
                    </a:lnTo>
                    <a:lnTo>
                      <a:pt x="1310" y="1502"/>
                    </a:lnTo>
                    <a:lnTo>
                      <a:pt x="1310" y="1500"/>
                    </a:lnTo>
                    <a:lnTo>
                      <a:pt x="1309" y="1502"/>
                    </a:lnTo>
                    <a:lnTo>
                      <a:pt x="1307" y="1502"/>
                    </a:lnTo>
                    <a:lnTo>
                      <a:pt x="1309" y="1504"/>
                    </a:lnTo>
                    <a:lnTo>
                      <a:pt x="1307" y="1504"/>
                    </a:lnTo>
                    <a:lnTo>
                      <a:pt x="1307" y="1502"/>
                    </a:lnTo>
                    <a:lnTo>
                      <a:pt x="1305" y="1502"/>
                    </a:lnTo>
                    <a:lnTo>
                      <a:pt x="1305" y="1504"/>
                    </a:lnTo>
                    <a:lnTo>
                      <a:pt x="1304" y="1504"/>
                    </a:lnTo>
                    <a:lnTo>
                      <a:pt x="1304" y="1502"/>
                    </a:lnTo>
                    <a:lnTo>
                      <a:pt x="1302" y="1502"/>
                    </a:lnTo>
                    <a:lnTo>
                      <a:pt x="1304" y="1502"/>
                    </a:lnTo>
                    <a:lnTo>
                      <a:pt x="1302" y="1502"/>
                    </a:lnTo>
                    <a:lnTo>
                      <a:pt x="1302" y="1504"/>
                    </a:lnTo>
                    <a:lnTo>
                      <a:pt x="1304" y="1504"/>
                    </a:lnTo>
                    <a:lnTo>
                      <a:pt x="1305" y="1504"/>
                    </a:lnTo>
                    <a:lnTo>
                      <a:pt x="1304" y="1505"/>
                    </a:lnTo>
                    <a:lnTo>
                      <a:pt x="1305" y="1505"/>
                    </a:lnTo>
                    <a:lnTo>
                      <a:pt x="1307" y="1505"/>
                    </a:lnTo>
                    <a:lnTo>
                      <a:pt x="1305" y="1507"/>
                    </a:lnTo>
                    <a:lnTo>
                      <a:pt x="1304" y="1507"/>
                    </a:lnTo>
                    <a:lnTo>
                      <a:pt x="1304" y="1509"/>
                    </a:lnTo>
                    <a:lnTo>
                      <a:pt x="1304" y="1507"/>
                    </a:lnTo>
                    <a:lnTo>
                      <a:pt x="1304" y="1509"/>
                    </a:lnTo>
                    <a:lnTo>
                      <a:pt x="1304" y="1510"/>
                    </a:lnTo>
                    <a:lnTo>
                      <a:pt x="1304" y="1512"/>
                    </a:lnTo>
                    <a:lnTo>
                      <a:pt x="1302" y="1512"/>
                    </a:lnTo>
                    <a:lnTo>
                      <a:pt x="1302" y="1514"/>
                    </a:lnTo>
                    <a:lnTo>
                      <a:pt x="1304" y="1514"/>
                    </a:lnTo>
                    <a:lnTo>
                      <a:pt x="1305" y="1514"/>
                    </a:lnTo>
                    <a:lnTo>
                      <a:pt x="1304" y="1515"/>
                    </a:lnTo>
                    <a:lnTo>
                      <a:pt x="1304" y="1517"/>
                    </a:lnTo>
                    <a:lnTo>
                      <a:pt x="1304" y="1519"/>
                    </a:lnTo>
                    <a:lnTo>
                      <a:pt x="1304" y="1521"/>
                    </a:lnTo>
                    <a:lnTo>
                      <a:pt x="1302" y="1521"/>
                    </a:lnTo>
                    <a:lnTo>
                      <a:pt x="1302" y="1522"/>
                    </a:lnTo>
                    <a:lnTo>
                      <a:pt x="1302" y="1524"/>
                    </a:lnTo>
                    <a:lnTo>
                      <a:pt x="1302" y="1526"/>
                    </a:lnTo>
                    <a:lnTo>
                      <a:pt x="1302" y="1527"/>
                    </a:lnTo>
                    <a:lnTo>
                      <a:pt x="1300" y="1527"/>
                    </a:lnTo>
                    <a:lnTo>
                      <a:pt x="1300" y="1529"/>
                    </a:lnTo>
                    <a:lnTo>
                      <a:pt x="1300" y="1531"/>
                    </a:lnTo>
                    <a:lnTo>
                      <a:pt x="1298" y="1532"/>
                    </a:lnTo>
                    <a:lnTo>
                      <a:pt x="1300" y="1532"/>
                    </a:lnTo>
                    <a:lnTo>
                      <a:pt x="1300" y="1534"/>
                    </a:lnTo>
                    <a:lnTo>
                      <a:pt x="1300" y="1536"/>
                    </a:lnTo>
                    <a:lnTo>
                      <a:pt x="1298" y="1538"/>
                    </a:lnTo>
                    <a:lnTo>
                      <a:pt x="1298" y="1539"/>
                    </a:lnTo>
                    <a:lnTo>
                      <a:pt x="1298" y="1541"/>
                    </a:lnTo>
                    <a:lnTo>
                      <a:pt x="1298" y="1543"/>
                    </a:lnTo>
                    <a:lnTo>
                      <a:pt x="1298" y="1544"/>
                    </a:lnTo>
                    <a:lnTo>
                      <a:pt x="1298" y="1546"/>
                    </a:lnTo>
                    <a:lnTo>
                      <a:pt x="1300" y="1548"/>
                    </a:lnTo>
                    <a:lnTo>
                      <a:pt x="1300" y="1549"/>
                    </a:lnTo>
                    <a:lnTo>
                      <a:pt x="1300" y="1551"/>
                    </a:lnTo>
                    <a:lnTo>
                      <a:pt x="1300" y="1553"/>
                    </a:lnTo>
                    <a:lnTo>
                      <a:pt x="1298" y="1553"/>
                    </a:lnTo>
                    <a:lnTo>
                      <a:pt x="1300" y="1555"/>
                    </a:lnTo>
                    <a:lnTo>
                      <a:pt x="1298" y="1556"/>
                    </a:lnTo>
                    <a:lnTo>
                      <a:pt x="1298" y="1558"/>
                    </a:lnTo>
                    <a:lnTo>
                      <a:pt x="1298" y="1560"/>
                    </a:lnTo>
                    <a:lnTo>
                      <a:pt x="1298" y="1561"/>
                    </a:lnTo>
                    <a:lnTo>
                      <a:pt x="1297" y="1561"/>
                    </a:lnTo>
                    <a:lnTo>
                      <a:pt x="1297" y="1563"/>
                    </a:lnTo>
                    <a:lnTo>
                      <a:pt x="1295" y="1565"/>
                    </a:lnTo>
                    <a:lnTo>
                      <a:pt x="1295" y="1563"/>
                    </a:lnTo>
                    <a:lnTo>
                      <a:pt x="1295" y="1565"/>
                    </a:lnTo>
                    <a:lnTo>
                      <a:pt x="1293" y="1565"/>
                    </a:lnTo>
                    <a:lnTo>
                      <a:pt x="1292" y="1566"/>
                    </a:lnTo>
                    <a:lnTo>
                      <a:pt x="1290" y="1566"/>
                    </a:lnTo>
                    <a:lnTo>
                      <a:pt x="1290" y="1568"/>
                    </a:lnTo>
                    <a:lnTo>
                      <a:pt x="1288" y="1568"/>
                    </a:lnTo>
                    <a:lnTo>
                      <a:pt x="1287" y="1568"/>
                    </a:lnTo>
                    <a:lnTo>
                      <a:pt x="1287" y="1566"/>
                    </a:lnTo>
                    <a:lnTo>
                      <a:pt x="1285" y="1566"/>
                    </a:lnTo>
                    <a:lnTo>
                      <a:pt x="1283" y="1565"/>
                    </a:lnTo>
                    <a:lnTo>
                      <a:pt x="1281" y="1565"/>
                    </a:lnTo>
                    <a:lnTo>
                      <a:pt x="1280" y="1565"/>
                    </a:lnTo>
                    <a:lnTo>
                      <a:pt x="1280" y="1563"/>
                    </a:lnTo>
                    <a:lnTo>
                      <a:pt x="1278" y="1563"/>
                    </a:lnTo>
                    <a:lnTo>
                      <a:pt x="1276" y="1563"/>
                    </a:lnTo>
                    <a:lnTo>
                      <a:pt x="1275" y="1563"/>
                    </a:lnTo>
                    <a:lnTo>
                      <a:pt x="1273" y="1563"/>
                    </a:lnTo>
                    <a:lnTo>
                      <a:pt x="1273" y="1561"/>
                    </a:lnTo>
                    <a:lnTo>
                      <a:pt x="1271" y="1561"/>
                    </a:lnTo>
                    <a:lnTo>
                      <a:pt x="1271" y="1560"/>
                    </a:lnTo>
                    <a:lnTo>
                      <a:pt x="1270" y="1560"/>
                    </a:lnTo>
                    <a:lnTo>
                      <a:pt x="1268" y="1560"/>
                    </a:lnTo>
                    <a:lnTo>
                      <a:pt x="1268" y="1558"/>
                    </a:lnTo>
                    <a:lnTo>
                      <a:pt x="1266" y="1556"/>
                    </a:lnTo>
                    <a:lnTo>
                      <a:pt x="1268" y="1556"/>
                    </a:lnTo>
                    <a:lnTo>
                      <a:pt x="1266" y="1556"/>
                    </a:lnTo>
                    <a:lnTo>
                      <a:pt x="1266" y="1558"/>
                    </a:lnTo>
                    <a:lnTo>
                      <a:pt x="1264" y="1558"/>
                    </a:lnTo>
                    <a:lnTo>
                      <a:pt x="1264" y="1556"/>
                    </a:lnTo>
                    <a:lnTo>
                      <a:pt x="1263" y="1556"/>
                    </a:lnTo>
                    <a:lnTo>
                      <a:pt x="1263" y="1558"/>
                    </a:lnTo>
                    <a:lnTo>
                      <a:pt x="1263" y="1556"/>
                    </a:lnTo>
                    <a:lnTo>
                      <a:pt x="1261" y="1556"/>
                    </a:lnTo>
                    <a:lnTo>
                      <a:pt x="1259" y="1556"/>
                    </a:lnTo>
                    <a:lnTo>
                      <a:pt x="1259" y="1555"/>
                    </a:lnTo>
                    <a:lnTo>
                      <a:pt x="1258" y="1555"/>
                    </a:lnTo>
                    <a:lnTo>
                      <a:pt x="1258" y="1553"/>
                    </a:lnTo>
                    <a:lnTo>
                      <a:pt x="1256" y="1553"/>
                    </a:lnTo>
                    <a:lnTo>
                      <a:pt x="1256" y="1551"/>
                    </a:lnTo>
                    <a:lnTo>
                      <a:pt x="1254" y="1551"/>
                    </a:lnTo>
                    <a:lnTo>
                      <a:pt x="1254" y="1549"/>
                    </a:lnTo>
                    <a:lnTo>
                      <a:pt x="1253" y="1549"/>
                    </a:lnTo>
                    <a:lnTo>
                      <a:pt x="1253" y="1548"/>
                    </a:lnTo>
                    <a:lnTo>
                      <a:pt x="1251" y="1546"/>
                    </a:lnTo>
                    <a:lnTo>
                      <a:pt x="1251" y="1544"/>
                    </a:lnTo>
                    <a:lnTo>
                      <a:pt x="1251" y="1546"/>
                    </a:lnTo>
                    <a:lnTo>
                      <a:pt x="1249" y="1544"/>
                    </a:lnTo>
                    <a:lnTo>
                      <a:pt x="1249" y="1543"/>
                    </a:lnTo>
                    <a:lnTo>
                      <a:pt x="1249" y="1541"/>
                    </a:lnTo>
                    <a:lnTo>
                      <a:pt x="1247" y="1541"/>
                    </a:lnTo>
                    <a:lnTo>
                      <a:pt x="1247" y="1539"/>
                    </a:lnTo>
                    <a:lnTo>
                      <a:pt x="1247" y="1538"/>
                    </a:lnTo>
                    <a:lnTo>
                      <a:pt x="1249" y="1539"/>
                    </a:lnTo>
                    <a:lnTo>
                      <a:pt x="1249" y="1538"/>
                    </a:lnTo>
                    <a:lnTo>
                      <a:pt x="1249" y="1536"/>
                    </a:lnTo>
                    <a:lnTo>
                      <a:pt x="1249" y="1534"/>
                    </a:lnTo>
                    <a:lnTo>
                      <a:pt x="1251" y="1534"/>
                    </a:lnTo>
                    <a:lnTo>
                      <a:pt x="1251" y="1532"/>
                    </a:lnTo>
                    <a:lnTo>
                      <a:pt x="1253" y="1532"/>
                    </a:lnTo>
                    <a:lnTo>
                      <a:pt x="1254" y="1531"/>
                    </a:lnTo>
                    <a:lnTo>
                      <a:pt x="1256" y="1532"/>
                    </a:lnTo>
                    <a:lnTo>
                      <a:pt x="1258" y="1532"/>
                    </a:lnTo>
                    <a:lnTo>
                      <a:pt x="1259" y="1532"/>
                    </a:lnTo>
                    <a:lnTo>
                      <a:pt x="1259" y="1531"/>
                    </a:lnTo>
                    <a:lnTo>
                      <a:pt x="1259" y="1532"/>
                    </a:lnTo>
                    <a:lnTo>
                      <a:pt x="1259" y="1534"/>
                    </a:lnTo>
                    <a:lnTo>
                      <a:pt x="1261" y="1534"/>
                    </a:lnTo>
                    <a:lnTo>
                      <a:pt x="1259" y="1536"/>
                    </a:lnTo>
                    <a:lnTo>
                      <a:pt x="1261" y="1536"/>
                    </a:lnTo>
                    <a:lnTo>
                      <a:pt x="1261" y="1538"/>
                    </a:lnTo>
                    <a:lnTo>
                      <a:pt x="1259" y="1539"/>
                    </a:lnTo>
                    <a:lnTo>
                      <a:pt x="1259" y="1541"/>
                    </a:lnTo>
                    <a:lnTo>
                      <a:pt x="1258" y="1541"/>
                    </a:lnTo>
                    <a:lnTo>
                      <a:pt x="1256" y="1543"/>
                    </a:lnTo>
                    <a:lnTo>
                      <a:pt x="1254" y="1541"/>
                    </a:lnTo>
                    <a:lnTo>
                      <a:pt x="1256" y="1543"/>
                    </a:lnTo>
                    <a:lnTo>
                      <a:pt x="1258" y="1543"/>
                    </a:lnTo>
                    <a:lnTo>
                      <a:pt x="1259" y="1541"/>
                    </a:lnTo>
                    <a:lnTo>
                      <a:pt x="1261" y="1541"/>
                    </a:lnTo>
                    <a:lnTo>
                      <a:pt x="1261" y="1539"/>
                    </a:lnTo>
                    <a:lnTo>
                      <a:pt x="1263" y="1539"/>
                    </a:lnTo>
                    <a:lnTo>
                      <a:pt x="1263" y="1538"/>
                    </a:lnTo>
                    <a:lnTo>
                      <a:pt x="1263" y="1536"/>
                    </a:lnTo>
                    <a:lnTo>
                      <a:pt x="1263" y="1534"/>
                    </a:lnTo>
                    <a:lnTo>
                      <a:pt x="1263" y="1532"/>
                    </a:lnTo>
                    <a:lnTo>
                      <a:pt x="1263" y="1531"/>
                    </a:lnTo>
                    <a:lnTo>
                      <a:pt x="1264" y="1531"/>
                    </a:lnTo>
                    <a:lnTo>
                      <a:pt x="1266" y="1531"/>
                    </a:lnTo>
                    <a:lnTo>
                      <a:pt x="1268" y="1531"/>
                    </a:lnTo>
                    <a:lnTo>
                      <a:pt x="1270" y="1531"/>
                    </a:lnTo>
                    <a:lnTo>
                      <a:pt x="1270" y="1532"/>
                    </a:lnTo>
                    <a:lnTo>
                      <a:pt x="1270" y="1534"/>
                    </a:lnTo>
                    <a:lnTo>
                      <a:pt x="1270" y="1536"/>
                    </a:lnTo>
                    <a:lnTo>
                      <a:pt x="1270" y="1538"/>
                    </a:lnTo>
                    <a:lnTo>
                      <a:pt x="1270" y="1539"/>
                    </a:lnTo>
                    <a:lnTo>
                      <a:pt x="1271" y="1541"/>
                    </a:lnTo>
                    <a:lnTo>
                      <a:pt x="1271" y="1543"/>
                    </a:lnTo>
                    <a:lnTo>
                      <a:pt x="1271" y="1541"/>
                    </a:lnTo>
                    <a:lnTo>
                      <a:pt x="1270" y="1543"/>
                    </a:lnTo>
                    <a:lnTo>
                      <a:pt x="1270" y="1544"/>
                    </a:lnTo>
                    <a:lnTo>
                      <a:pt x="1268" y="1544"/>
                    </a:lnTo>
                    <a:lnTo>
                      <a:pt x="1266" y="1546"/>
                    </a:lnTo>
                    <a:lnTo>
                      <a:pt x="1264" y="1546"/>
                    </a:lnTo>
                    <a:lnTo>
                      <a:pt x="1264" y="1548"/>
                    </a:lnTo>
                    <a:lnTo>
                      <a:pt x="1263" y="1548"/>
                    </a:lnTo>
                    <a:lnTo>
                      <a:pt x="1261" y="1548"/>
                    </a:lnTo>
                    <a:lnTo>
                      <a:pt x="1263" y="1548"/>
                    </a:lnTo>
                    <a:lnTo>
                      <a:pt x="1264" y="1549"/>
                    </a:lnTo>
                    <a:lnTo>
                      <a:pt x="1266" y="1548"/>
                    </a:lnTo>
                    <a:lnTo>
                      <a:pt x="1268" y="1548"/>
                    </a:lnTo>
                    <a:lnTo>
                      <a:pt x="1270" y="1546"/>
                    </a:lnTo>
                    <a:lnTo>
                      <a:pt x="1271" y="1544"/>
                    </a:lnTo>
                    <a:lnTo>
                      <a:pt x="1273" y="1543"/>
                    </a:lnTo>
                    <a:lnTo>
                      <a:pt x="1271" y="1543"/>
                    </a:lnTo>
                    <a:lnTo>
                      <a:pt x="1271" y="1541"/>
                    </a:lnTo>
                    <a:lnTo>
                      <a:pt x="1271" y="1539"/>
                    </a:lnTo>
                    <a:lnTo>
                      <a:pt x="1273" y="1538"/>
                    </a:lnTo>
                    <a:lnTo>
                      <a:pt x="1271" y="1538"/>
                    </a:lnTo>
                    <a:lnTo>
                      <a:pt x="1271" y="1536"/>
                    </a:lnTo>
                    <a:lnTo>
                      <a:pt x="1271" y="1534"/>
                    </a:lnTo>
                    <a:lnTo>
                      <a:pt x="1273" y="1536"/>
                    </a:lnTo>
                    <a:lnTo>
                      <a:pt x="1271" y="1534"/>
                    </a:lnTo>
                    <a:lnTo>
                      <a:pt x="1271" y="1532"/>
                    </a:lnTo>
                    <a:lnTo>
                      <a:pt x="1273" y="1532"/>
                    </a:lnTo>
                    <a:lnTo>
                      <a:pt x="1273" y="1531"/>
                    </a:lnTo>
                    <a:lnTo>
                      <a:pt x="1273" y="1529"/>
                    </a:lnTo>
                    <a:lnTo>
                      <a:pt x="1275" y="1529"/>
                    </a:lnTo>
                    <a:lnTo>
                      <a:pt x="1276" y="1529"/>
                    </a:lnTo>
                    <a:lnTo>
                      <a:pt x="1278" y="1527"/>
                    </a:lnTo>
                    <a:lnTo>
                      <a:pt x="1280" y="1527"/>
                    </a:lnTo>
                    <a:lnTo>
                      <a:pt x="1280" y="1526"/>
                    </a:lnTo>
                    <a:lnTo>
                      <a:pt x="1281" y="1526"/>
                    </a:lnTo>
                    <a:lnTo>
                      <a:pt x="1283" y="1526"/>
                    </a:lnTo>
                    <a:lnTo>
                      <a:pt x="1285" y="1524"/>
                    </a:lnTo>
                    <a:lnTo>
                      <a:pt x="1287" y="1524"/>
                    </a:lnTo>
                    <a:lnTo>
                      <a:pt x="1287" y="1522"/>
                    </a:lnTo>
                    <a:lnTo>
                      <a:pt x="1287" y="1521"/>
                    </a:lnTo>
                    <a:lnTo>
                      <a:pt x="1288" y="1521"/>
                    </a:lnTo>
                    <a:lnTo>
                      <a:pt x="1288" y="1519"/>
                    </a:lnTo>
                    <a:lnTo>
                      <a:pt x="1290" y="1517"/>
                    </a:lnTo>
                    <a:lnTo>
                      <a:pt x="1290" y="1515"/>
                    </a:lnTo>
                    <a:lnTo>
                      <a:pt x="1292" y="1515"/>
                    </a:lnTo>
                    <a:lnTo>
                      <a:pt x="1292" y="1514"/>
                    </a:lnTo>
                    <a:lnTo>
                      <a:pt x="1293" y="1514"/>
                    </a:lnTo>
                    <a:lnTo>
                      <a:pt x="1293" y="1512"/>
                    </a:lnTo>
                    <a:lnTo>
                      <a:pt x="1293" y="1510"/>
                    </a:lnTo>
                    <a:lnTo>
                      <a:pt x="1293" y="1509"/>
                    </a:lnTo>
                    <a:lnTo>
                      <a:pt x="1293" y="1507"/>
                    </a:lnTo>
                    <a:lnTo>
                      <a:pt x="1292" y="1507"/>
                    </a:lnTo>
                    <a:lnTo>
                      <a:pt x="1290" y="1507"/>
                    </a:lnTo>
                    <a:lnTo>
                      <a:pt x="1290" y="1505"/>
                    </a:lnTo>
                    <a:lnTo>
                      <a:pt x="1288" y="1505"/>
                    </a:lnTo>
                    <a:lnTo>
                      <a:pt x="1287" y="1507"/>
                    </a:lnTo>
                    <a:lnTo>
                      <a:pt x="1285" y="1507"/>
                    </a:lnTo>
                    <a:lnTo>
                      <a:pt x="1285" y="1505"/>
                    </a:lnTo>
                    <a:lnTo>
                      <a:pt x="1285" y="1504"/>
                    </a:lnTo>
                    <a:lnTo>
                      <a:pt x="1285" y="1502"/>
                    </a:lnTo>
                    <a:lnTo>
                      <a:pt x="1283" y="1502"/>
                    </a:lnTo>
                    <a:lnTo>
                      <a:pt x="1283" y="1500"/>
                    </a:lnTo>
                    <a:lnTo>
                      <a:pt x="1281" y="1498"/>
                    </a:lnTo>
                    <a:lnTo>
                      <a:pt x="1281" y="1497"/>
                    </a:lnTo>
                    <a:lnTo>
                      <a:pt x="1280" y="1497"/>
                    </a:lnTo>
                    <a:lnTo>
                      <a:pt x="1280" y="1495"/>
                    </a:lnTo>
                    <a:lnTo>
                      <a:pt x="1280" y="1493"/>
                    </a:lnTo>
                    <a:lnTo>
                      <a:pt x="1278" y="1493"/>
                    </a:lnTo>
                    <a:lnTo>
                      <a:pt x="1276" y="1493"/>
                    </a:lnTo>
                    <a:lnTo>
                      <a:pt x="1275" y="1493"/>
                    </a:lnTo>
                    <a:lnTo>
                      <a:pt x="1273" y="1493"/>
                    </a:lnTo>
                    <a:lnTo>
                      <a:pt x="1271" y="1493"/>
                    </a:lnTo>
                    <a:lnTo>
                      <a:pt x="1270" y="1493"/>
                    </a:lnTo>
                    <a:lnTo>
                      <a:pt x="1270" y="1492"/>
                    </a:lnTo>
                    <a:lnTo>
                      <a:pt x="1268" y="1492"/>
                    </a:lnTo>
                    <a:lnTo>
                      <a:pt x="1266" y="1492"/>
                    </a:lnTo>
                    <a:lnTo>
                      <a:pt x="1264" y="1492"/>
                    </a:lnTo>
                    <a:lnTo>
                      <a:pt x="1264" y="1493"/>
                    </a:lnTo>
                    <a:lnTo>
                      <a:pt x="1263" y="1492"/>
                    </a:lnTo>
                    <a:lnTo>
                      <a:pt x="1263" y="1493"/>
                    </a:lnTo>
                    <a:lnTo>
                      <a:pt x="1263" y="1492"/>
                    </a:lnTo>
                    <a:lnTo>
                      <a:pt x="1263" y="1493"/>
                    </a:lnTo>
                    <a:lnTo>
                      <a:pt x="1261" y="1492"/>
                    </a:lnTo>
                    <a:lnTo>
                      <a:pt x="1259" y="1492"/>
                    </a:lnTo>
                    <a:lnTo>
                      <a:pt x="1261" y="1492"/>
                    </a:lnTo>
                    <a:lnTo>
                      <a:pt x="1259" y="1493"/>
                    </a:lnTo>
                    <a:lnTo>
                      <a:pt x="1259" y="1492"/>
                    </a:lnTo>
                    <a:lnTo>
                      <a:pt x="1259" y="1490"/>
                    </a:lnTo>
                    <a:lnTo>
                      <a:pt x="1259" y="1492"/>
                    </a:lnTo>
                    <a:lnTo>
                      <a:pt x="1258" y="1490"/>
                    </a:lnTo>
                    <a:lnTo>
                      <a:pt x="1258" y="1492"/>
                    </a:lnTo>
                    <a:lnTo>
                      <a:pt x="1256" y="1492"/>
                    </a:lnTo>
                    <a:lnTo>
                      <a:pt x="1254" y="1492"/>
                    </a:lnTo>
                    <a:lnTo>
                      <a:pt x="1253" y="1492"/>
                    </a:lnTo>
                    <a:lnTo>
                      <a:pt x="1253" y="1493"/>
                    </a:lnTo>
                    <a:lnTo>
                      <a:pt x="1251" y="1495"/>
                    </a:lnTo>
                    <a:lnTo>
                      <a:pt x="1249" y="1495"/>
                    </a:lnTo>
                    <a:lnTo>
                      <a:pt x="1249" y="1497"/>
                    </a:lnTo>
                    <a:lnTo>
                      <a:pt x="1251" y="1497"/>
                    </a:lnTo>
                    <a:lnTo>
                      <a:pt x="1249" y="1498"/>
                    </a:lnTo>
                    <a:lnTo>
                      <a:pt x="1247" y="1498"/>
                    </a:lnTo>
                    <a:lnTo>
                      <a:pt x="1247" y="1497"/>
                    </a:lnTo>
                    <a:lnTo>
                      <a:pt x="1246" y="1497"/>
                    </a:lnTo>
                    <a:lnTo>
                      <a:pt x="1244" y="1495"/>
                    </a:lnTo>
                    <a:lnTo>
                      <a:pt x="1246" y="1495"/>
                    </a:lnTo>
                    <a:lnTo>
                      <a:pt x="1246" y="1493"/>
                    </a:lnTo>
                    <a:lnTo>
                      <a:pt x="1247" y="1493"/>
                    </a:lnTo>
                    <a:lnTo>
                      <a:pt x="1247" y="1492"/>
                    </a:lnTo>
                    <a:lnTo>
                      <a:pt x="1249" y="1493"/>
                    </a:lnTo>
                    <a:lnTo>
                      <a:pt x="1251" y="1493"/>
                    </a:lnTo>
                    <a:lnTo>
                      <a:pt x="1251" y="1492"/>
                    </a:lnTo>
                    <a:lnTo>
                      <a:pt x="1251" y="1490"/>
                    </a:lnTo>
                    <a:lnTo>
                      <a:pt x="1249" y="1490"/>
                    </a:lnTo>
                    <a:lnTo>
                      <a:pt x="1249" y="1492"/>
                    </a:lnTo>
                    <a:lnTo>
                      <a:pt x="1247" y="1492"/>
                    </a:lnTo>
                    <a:lnTo>
                      <a:pt x="1246" y="1492"/>
                    </a:lnTo>
                    <a:lnTo>
                      <a:pt x="1246" y="1493"/>
                    </a:lnTo>
                    <a:lnTo>
                      <a:pt x="1244" y="1493"/>
                    </a:lnTo>
                    <a:lnTo>
                      <a:pt x="1244" y="1495"/>
                    </a:lnTo>
                    <a:lnTo>
                      <a:pt x="1242" y="1493"/>
                    </a:lnTo>
                    <a:lnTo>
                      <a:pt x="1242" y="1492"/>
                    </a:lnTo>
                    <a:lnTo>
                      <a:pt x="1244" y="1490"/>
                    </a:lnTo>
                    <a:lnTo>
                      <a:pt x="1242" y="1492"/>
                    </a:lnTo>
                    <a:lnTo>
                      <a:pt x="1241" y="1492"/>
                    </a:lnTo>
                    <a:lnTo>
                      <a:pt x="1241" y="1493"/>
                    </a:lnTo>
                    <a:lnTo>
                      <a:pt x="1239" y="1493"/>
                    </a:lnTo>
                    <a:lnTo>
                      <a:pt x="1237" y="1493"/>
                    </a:lnTo>
                    <a:lnTo>
                      <a:pt x="1236" y="1492"/>
                    </a:lnTo>
                    <a:lnTo>
                      <a:pt x="1234" y="1492"/>
                    </a:lnTo>
                    <a:lnTo>
                      <a:pt x="1236" y="1493"/>
                    </a:lnTo>
                    <a:lnTo>
                      <a:pt x="1234" y="1493"/>
                    </a:lnTo>
                    <a:lnTo>
                      <a:pt x="1236" y="1493"/>
                    </a:lnTo>
                    <a:lnTo>
                      <a:pt x="1234" y="1493"/>
                    </a:lnTo>
                    <a:lnTo>
                      <a:pt x="1234" y="1495"/>
                    </a:lnTo>
                    <a:lnTo>
                      <a:pt x="1236" y="1495"/>
                    </a:lnTo>
                    <a:lnTo>
                      <a:pt x="1234" y="1495"/>
                    </a:lnTo>
                    <a:lnTo>
                      <a:pt x="1232" y="1495"/>
                    </a:lnTo>
                    <a:lnTo>
                      <a:pt x="1234" y="1495"/>
                    </a:lnTo>
                    <a:lnTo>
                      <a:pt x="1234" y="1497"/>
                    </a:lnTo>
                    <a:lnTo>
                      <a:pt x="1234" y="1498"/>
                    </a:lnTo>
                    <a:lnTo>
                      <a:pt x="1234" y="1497"/>
                    </a:lnTo>
                    <a:lnTo>
                      <a:pt x="1236" y="1497"/>
                    </a:lnTo>
                    <a:lnTo>
                      <a:pt x="1236" y="1495"/>
                    </a:lnTo>
                    <a:lnTo>
                      <a:pt x="1237" y="1497"/>
                    </a:lnTo>
                    <a:lnTo>
                      <a:pt x="1236" y="1498"/>
                    </a:lnTo>
                    <a:lnTo>
                      <a:pt x="1237" y="1497"/>
                    </a:lnTo>
                    <a:lnTo>
                      <a:pt x="1239" y="1497"/>
                    </a:lnTo>
                    <a:lnTo>
                      <a:pt x="1237" y="1498"/>
                    </a:lnTo>
                    <a:lnTo>
                      <a:pt x="1239" y="1497"/>
                    </a:lnTo>
                    <a:lnTo>
                      <a:pt x="1239" y="1498"/>
                    </a:lnTo>
                    <a:lnTo>
                      <a:pt x="1241" y="1498"/>
                    </a:lnTo>
                    <a:lnTo>
                      <a:pt x="1241" y="1500"/>
                    </a:lnTo>
                    <a:lnTo>
                      <a:pt x="1239" y="1502"/>
                    </a:lnTo>
                    <a:lnTo>
                      <a:pt x="1239" y="1504"/>
                    </a:lnTo>
                    <a:lnTo>
                      <a:pt x="1237" y="1504"/>
                    </a:lnTo>
                    <a:lnTo>
                      <a:pt x="1236" y="1505"/>
                    </a:lnTo>
                    <a:lnTo>
                      <a:pt x="1236" y="1507"/>
                    </a:lnTo>
                    <a:lnTo>
                      <a:pt x="1234" y="1507"/>
                    </a:lnTo>
                    <a:lnTo>
                      <a:pt x="1232" y="1505"/>
                    </a:lnTo>
                    <a:lnTo>
                      <a:pt x="1232" y="1507"/>
                    </a:lnTo>
                    <a:lnTo>
                      <a:pt x="1232" y="1509"/>
                    </a:lnTo>
                    <a:lnTo>
                      <a:pt x="1230" y="1509"/>
                    </a:lnTo>
                    <a:lnTo>
                      <a:pt x="1229" y="1509"/>
                    </a:lnTo>
                    <a:lnTo>
                      <a:pt x="1229" y="1510"/>
                    </a:lnTo>
                    <a:lnTo>
                      <a:pt x="1230" y="1510"/>
                    </a:lnTo>
                    <a:lnTo>
                      <a:pt x="1230" y="1512"/>
                    </a:lnTo>
                    <a:lnTo>
                      <a:pt x="1232" y="1512"/>
                    </a:lnTo>
                    <a:lnTo>
                      <a:pt x="1230" y="1514"/>
                    </a:lnTo>
                    <a:lnTo>
                      <a:pt x="1232" y="1515"/>
                    </a:lnTo>
                    <a:lnTo>
                      <a:pt x="1230" y="1515"/>
                    </a:lnTo>
                    <a:lnTo>
                      <a:pt x="1232" y="1515"/>
                    </a:lnTo>
                    <a:lnTo>
                      <a:pt x="1232" y="1517"/>
                    </a:lnTo>
                    <a:lnTo>
                      <a:pt x="1230" y="1517"/>
                    </a:lnTo>
                    <a:lnTo>
                      <a:pt x="1230" y="1519"/>
                    </a:lnTo>
                    <a:lnTo>
                      <a:pt x="1232" y="1519"/>
                    </a:lnTo>
                    <a:lnTo>
                      <a:pt x="1230" y="1521"/>
                    </a:lnTo>
                    <a:lnTo>
                      <a:pt x="1230" y="1522"/>
                    </a:lnTo>
                    <a:lnTo>
                      <a:pt x="1229" y="1521"/>
                    </a:lnTo>
                    <a:lnTo>
                      <a:pt x="1229" y="1522"/>
                    </a:lnTo>
                    <a:lnTo>
                      <a:pt x="1227" y="1522"/>
                    </a:lnTo>
                    <a:lnTo>
                      <a:pt x="1227" y="1524"/>
                    </a:lnTo>
                    <a:lnTo>
                      <a:pt x="1225" y="1524"/>
                    </a:lnTo>
                    <a:lnTo>
                      <a:pt x="1225" y="1522"/>
                    </a:lnTo>
                    <a:lnTo>
                      <a:pt x="1224" y="1521"/>
                    </a:lnTo>
                    <a:lnTo>
                      <a:pt x="1225" y="1521"/>
                    </a:lnTo>
                    <a:lnTo>
                      <a:pt x="1225" y="1519"/>
                    </a:lnTo>
                    <a:lnTo>
                      <a:pt x="1224" y="1519"/>
                    </a:lnTo>
                    <a:lnTo>
                      <a:pt x="1224" y="1521"/>
                    </a:lnTo>
                    <a:lnTo>
                      <a:pt x="1224" y="1522"/>
                    </a:lnTo>
                    <a:lnTo>
                      <a:pt x="1224" y="1524"/>
                    </a:lnTo>
                    <a:lnTo>
                      <a:pt x="1222" y="1522"/>
                    </a:lnTo>
                    <a:lnTo>
                      <a:pt x="1220" y="1522"/>
                    </a:lnTo>
                    <a:lnTo>
                      <a:pt x="1219" y="1522"/>
                    </a:lnTo>
                    <a:lnTo>
                      <a:pt x="1219" y="1521"/>
                    </a:lnTo>
                    <a:lnTo>
                      <a:pt x="1217" y="1521"/>
                    </a:lnTo>
                    <a:lnTo>
                      <a:pt x="1219" y="1521"/>
                    </a:lnTo>
                    <a:lnTo>
                      <a:pt x="1217" y="1521"/>
                    </a:lnTo>
                    <a:lnTo>
                      <a:pt x="1215" y="1519"/>
                    </a:lnTo>
                    <a:lnTo>
                      <a:pt x="1217" y="1517"/>
                    </a:lnTo>
                    <a:lnTo>
                      <a:pt x="1219" y="1517"/>
                    </a:lnTo>
                    <a:lnTo>
                      <a:pt x="1219" y="1519"/>
                    </a:lnTo>
                    <a:lnTo>
                      <a:pt x="1220" y="1517"/>
                    </a:lnTo>
                    <a:lnTo>
                      <a:pt x="1219" y="1517"/>
                    </a:lnTo>
                    <a:lnTo>
                      <a:pt x="1217" y="1515"/>
                    </a:lnTo>
                    <a:lnTo>
                      <a:pt x="1219" y="1515"/>
                    </a:lnTo>
                    <a:lnTo>
                      <a:pt x="1220" y="1515"/>
                    </a:lnTo>
                    <a:lnTo>
                      <a:pt x="1222" y="1515"/>
                    </a:lnTo>
                    <a:lnTo>
                      <a:pt x="1222" y="1517"/>
                    </a:lnTo>
                    <a:lnTo>
                      <a:pt x="1222" y="1515"/>
                    </a:lnTo>
                    <a:lnTo>
                      <a:pt x="1220" y="1515"/>
                    </a:lnTo>
                    <a:lnTo>
                      <a:pt x="1222" y="1514"/>
                    </a:lnTo>
                    <a:lnTo>
                      <a:pt x="1222" y="1512"/>
                    </a:lnTo>
                    <a:lnTo>
                      <a:pt x="1224" y="1512"/>
                    </a:lnTo>
                    <a:lnTo>
                      <a:pt x="1224" y="1514"/>
                    </a:lnTo>
                    <a:lnTo>
                      <a:pt x="1225" y="1514"/>
                    </a:lnTo>
                    <a:lnTo>
                      <a:pt x="1224" y="1512"/>
                    </a:lnTo>
                    <a:lnTo>
                      <a:pt x="1222" y="1512"/>
                    </a:lnTo>
                    <a:lnTo>
                      <a:pt x="1222" y="1514"/>
                    </a:lnTo>
                    <a:lnTo>
                      <a:pt x="1220" y="1514"/>
                    </a:lnTo>
                    <a:lnTo>
                      <a:pt x="1220" y="1512"/>
                    </a:lnTo>
                    <a:lnTo>
                      <a:pt x="1219" y="1514"/>
                    </a:lnTo>
                    <a:lnTo>
                      <a:pt x="1219" y="1512"/>
                    </a:lnTo>
                    <a:lnTo>
                      <a:pt x="1219" y="1514"/>
                    </a:lnTo>
                    <a:lnTo>
                      <a:pt x="1219" y="1512"/>
                    </a:lnTo>
                    <a:lnTo>
                      <a:pt x="1217" y="1512"/>
                    </a:lnTo>
                    <a:lnTo>
                      <a:pt x="1219" y="1514"/>
                    </a:lnTo>
                    <a:lnTo>
                      <a:pt x="1217" y="1514"/>
                    </a:lnTo>
                    <a:lnTo>
                      <a:pt x="1219" y="1515"/>
                    </a:lnTo>
                    <a:lnTo>
                      <a:pt x="1217" y="1515"/>
                    </a:lnTo>
                    <a:lnTo>
                      <a:pt x="1215" y="1515"/>
                    </a:lnTo>
                    <a:lnTo>
                      <a:pt x="1213" y="1515"/>
                    </a:lnTo>
                    <a:lnTo>
                      <a:pt x="1213" y="1514"/>
                    </a:lnTo>
                    <a:lnTo>
                      <a:pt x="1215" y="1514"/>
                    </a:lnTo>
                    <a:lnTo>
                      <a:pt x="1217" y="1514"/>
                    </a:lnTo>
                    <a:lnTo>
                      <a:pt x="1215" y="1512"/>
                    </a:lnTo>
                    <a:lnTo>
                      <a:pt x="1213" y="1512"/>
                    </a:lnTo>
                    <a:lnTo>
                      <a:pt x="1215" y="1514"/>
                    </a:lnTo>
                    <a:lnTo>
                      <a:pt x="1213" y="1514"/>
                    </a:lnTo>
                    <a:lnTo>
                      <a:pt x="1213" y="1512"/>
                    </a:lnTo>
                    <a:lnTo>
                      <a:pt x="1212" y="1512"/>
                    </a:lnTo>
                    <a:lnTo>
                      <a:pt x="1210" y="1512"/>
                    </a:lnTo>
                    <a:lnTo>
                      <a:pt x="1208" y="1512"/>
                    </a:lnTo>
                    <a:lnTo>
                      <a:pt x="1207" y="1512"/>
                    </a:lnTo>
                    <a:lnTo>
                      <a:pt x="1205" y="1514"/>
                    </a:lnTo>
                    <a:lnTo>
                      <a:pt x="1203" y="1514"/>
                    </a:lnTo>
                    <a:lnTo>
                      <a:pt x="1203" y="1512"/>
                    </a:lnTo>
                    <a:lnTo>
                      <a:pt x="1205" y="1512"/>
                    </a:lnTo>
                    <a:lnTo>
                      <a:pt x="1205" y="1510"/>
                    </a:lnTo>
                    <a:lnTo>
                      <a:pt x="1207" y="1510"/>
                    </a:lnTo>
                    <a:lnTo>
                      <a:pt x="1208" y="1509"/>
                    </a:lnTo>
                    <a:lnTo>
                      <a:pt x="1208" y="1510"/>
                    </a:lnTo>
                    <a:lnTo>
                      <a:pt x="1210" y="1510"/>
                    </a:lnTo>
                    <a:lnTo>
                      <a:pt x="1208" y="1509"/>
                    </a:lnTo>
                    <a:lnTo>
                      <a:pt x="1210" y="1509"/>
                    </a:lnTo>
                    <a:lnTo>
                      <a:pt x="1212" y="1510"/>
                    </a:lnTo>
                    <a:lnTo>
                      <a:pt x="1212" y="1509"/>
                    </a:lnTo>
                    <a:lnTo>
                      <a:pt x="1212" y="1510"/>
                    </a:lnTo>
                    <a:lnTo>
                      <a:pt x="1213" y="1510"/>
                    </a:lnTo>
                    <a:lnTo>
                      <a:pt x="1215" y="1510"/>
                    </a:lnTo>
                    <a:lnTo>
                      <a:pt x="1215" y="1512"/>
                    </a:lnTo>
                    <a:lnTo>
                      <a:pt x="1217" y="1510"/>
                    </a:lnTo>
                    <a:lnTo>
                      <a:pt x="1217" y="1512"/>
                    </a:lnTo>
                    <a:lnTo>
                      <a:pt x="1219" y="1512"/>
                    </a:lnTo>
                    <a:lnTo>
                      <a:pt x="1219" y="1510"/>
                    </a:lnTo>
                    <a:lnTo>
                      <a:pt x="1217" y="1510"/>
                    </a:lnTo>
                    <a:lnTo>
                      <a:pt x="1215" y="1510"/>
                    </a:lnTo>
                    <a:lnTo>
                      <a:pt x="1213" y="1510"/>
                    </a:lnTo>
                    <a:lnTo>
                      <a:pt x="1212" y="1509"/>
                    </a:lnTo>
                    <a:lnTo>
                      <a:pt x="1213" y="1509"/>
                    </a:lnTo>
                    <a:lnTo>
                      <a:pt x="1213" y="1510"/>
                    </a:lnTo>
                    <a:lnTo>
                      <a:pt x="1213" y="1509"/>
                    </a:lnTo>
                    <a:lnTo>
                      <a:pt x="1212" y="1509"/>
                    </a:lnTo>
                    <a:lnTo>
                      <a:pt x="1213" y="1509"/>
                    </a:lnTo>
                    <a:lnTo>
                      <a:pt x="1212" y="1507"/>
                    </a:lnTo>
                    <a:lnTo>
                      <a:pt x="1210" y="1507"/>
                    </a:lnTo>
                    <a:lnTo>
                      <a:pt x="1212" y="1507"/>
                    </a:lnTo>
                    <a:lnTo>
                      <a:pt x="1212" y="1505"/>
                    </a:lnTo>
                    <a:lnTo>
                      <a:pt x="1213" y="1505"/>
                    </a:lnTo>
                    <a:lnTo>
                      <a:pt x="1213" y="1507"/>
                    </a:lnTo>
                    <a:lnTo>
                      <a:pt x="1215" y="1507"/>
                    </a:lnTo>
                    <a:lnTo>
                      <a:pt x="1215" y="1509"/>
                    </a:lnTo>
                    <a:lnTo>
                      <a:pt x="1213" y="1509"/>
                    </a:lnTo>
                    <a:lnTo>
                      <a:pt x="1215" y="1509"/>
                    </a:lnTo>
                    <a:lnTo>
                      <a:pt x="1215" y="1507"/>
                    </a:lnTo>
                    <a:lnTo>
                      <a:pt x="1217" y="1505"/>
                    </a:lnTo>
                    <a:lnTo>
                      <a:pt x="1219" y="1507"/>
                    </a:lnTo>
                    <a:lnTo>
                      <a:pt x="1217" y="1507"/>
                    </a:lnTo>
                    <a:lnTo>
                      <a:pt x="1217" y="1509"/>
                    </a:lnTo>
                    <a:lnTo>
                      <a:pt x="1219" y="1509"/>
                    </a:lnTo>
                    <a:lnTo>
                      <a:pt x="1219" y="1507"/>
                    </a:lnTo>
                    <a:lnTo>
                      <a:pt x="1220" y="1509"/>
                    </a:lnTo>
                    <a:lnTo>
                      <a:pt x="1219" y="1507"/>
                    </a:lnTo>
                    <a:lnTo>
                      <a:pt x="1220" y="1507"/>
                    </a:lnTo>
                    <a:lnTo>
                      <a:pt x="1222" y="1507"/>
                    </a:lnTo>
                    <a:lnTo>
                      <a:pt x="1222" y="1505"/>
                    </a:lnTo>
                    <a:lnTo>
                      <a:pt x="1222" y="1504"/>
                    </a:lnTo>
                    <a:lnTo>
                      <a:pt x="1220" y="1505"/>
                    </a:lnTo>
                    <a:lnTo>
                      <a:pt x="1220" y="1504"/>
                    </a:lnTo>
                    <a:lnTo>
                      <a:pt x="1220" y="1502"/>
                    </a:lnTo>
                    <a:lnTo>
                      <a:pt x="1220" y="1504"/>
                    </a:lnTo>
                    <a:lnTo>
                      <a:pt x="1222" y="1504"/>
                    </a:lnTo>
                    <a:lnTo>
                      <a:pt x="1220" y="1502"/>
                    </a:lnTo>
                    <a:lnTo>
                      <a:pt x="1222" y="1502"/>
                    </a:lnTo>
                    <a:lnTo>
                      <a:pt x="1222" y="1500"/>
                    </a:lnTo>
                    <a:lnTo>
                      <a:pt x="1220" y="1500"/>
                    </a:lnTo>
                    <a:lnTo>
                      <a:pt x="1219" y="1500"/>
                    </a:lnTo>
                    <a:lnTo>
                      <a:pt x="1219" y="1498"/>
                    </a:lnTo>
                    <a:lnTo>
                      <a:pt x="1219" y="1497"/>
                    </a:lnTo>
                    <a:lnTo>
                      <a:pt x="1220" y="1497"/>
                    </a:lnTo>
                    <a:lnTo>
                      <a:pt x="1219" y="1497"/>
                    </a:lnTo>
                    <a:lnTo>
                      <a:pt x="1219" y="1495"/>
                    </a:lnTo>
                    <a:lnTo>
                      <a:pt x="1217" y="1495"/>
                    </a:lnTo>
                    <a:lnTo>
                      <a:pt x="1217" y="1493"/>
                    </a:lnTo>
                    <a:lnTo>
                      <a:pt x="1217" y="1495"/>
                    </a:lnTo>
                    <a:lnTo>
                      <a:pt x="1219" y="1495"/>
                    </a:lnTo>
                    <a:lnTo>
                      <a:pt x="1217" y="1495"/>
                    </a:lnTo>
                    <a:lnTo>
                      <a:pt x="1219" y="1497"/>
                    </a:lnTo>
                    <a:lnTo>
                      <a:pt x="1219" y="1498"/>
                    </a:lnTo>
                    <a:lnTo>
                      <a:pt x="1217" y="1498"/>
                    </a:lnTo>
                    <a:lnTo>
                      <a:pt x="1217" y="1500"/>
                    </a:lnTo>
                    <a:lnTo>
                      <a:pt x="1217" y="1498"/>
                    </a:lnTo>
                    <a:lnTo>
                      <a:pt x="1215" y="1500"/>
                    </a:lnTo>
                    <a:lnTo>
                      <a:pt x="1215" y="1498"/>
                    </a:lnTo>
                    <a:lnTo>
                      <a:pt x="1215" y="1500"/>
                    </a:lnTo>
                    <a:lnTo>
                      <a:pt x="1215" y="1498"/>
                    </a:lnTo>
                    <a:lnTo>
                      <a:pt x="1215" y="1500"/>
                    </a:lnTo>
                    <a:lnTo>
                      <a:pt x="1213" y="1498"/>
                    </a:lnTo>
                    <a:lnTo>
                      <a:pt x="1213" y="1500"/>
                    </a:lnTo>
                    <a:lnTo>
                      <a:pt x="1212" y="1498"/>
                    </a:lnTo>
                    <a:lnTo>
                      <a:pt x="1212" y="1500"/>
                    </a:lnTo>
                    <a:lnTo>
                      <a:pt x="1213" y="1500"/>
                    </a:lnTo>
                    <a:lnTo>
                      <a:pt x="1213" y="1502"/>
                    </a:lnTo>
                    <a:lnTo>
                      <a:pt x="1213" y="1500"/>
                    </a:lnTo>
                    <a:lnTo>
                      <a:pt x="1212" y="1500"/>
                    </a:lnTo>
                    <a:lnTo>
                      <a:pt x="1212" y="1502"/>
                    </a:lnTo>
                    <a:lnTo>
                      <a:pt x="1210" y="1502"/>
                    </a:lnTo>
                    <a:lnTo>
                      <a:pt x="1212" y="1502"/>
                    </a:lnTo>
                    <a:lnTo>
                      <a:pt x="1210" y="1504"/>
                    </a:lnTo>
                    <a:lnTo>
                      <a:pt x="1210" y="1502"/>
                    </a:lnTo>
                    <a:lnTo>
                      <a:pt x="1210" y="1504"/>
                    </a:lnTo>
                    <a:lnTo>
                      <a:pt x="1210" y="1502"/>
                    </a:lnTo>
                    <a:lnTo>
                      <a:pt x="1208" y="1502"/>
                    </a:lnTo>
                    <a:lnTo>
                      <a:pt x="1208" y="1504"/>
                    </a:lnTo>
                    <a:lnTo>
                      <a:pt x="1208" y="1505"/>
                    </a:lnTo>
                    <a:lnTo>
                      <a:pt x="1207" y="1505"/>
                    </a:lnTo>
                    <a:lnTo>
                      <a:pt x="1208" y="1505"/>
                    </a:lnTo>
                    <a:lnTo>
                      <a:pt x="1207" y="1505"/>
                    </a:lnTo>
                    <a:lnTo>
                      <a:pt x="1207" y="1504"/>
                    </a:lnTo>
                    <a:lnTo>
                      <a:pt x="1208" y="1504"/>
                    </a:lnTo>
                    <a:lnTo>
                      <a:pt x="1207" y="1504"/>
                    </a:lnTo>
                    <a:lnTo>
                      <a:pt x="1205" y="1504"/>
                    </a:lnTo>
                    <a:lnTo>
                      <a:pt x="1207" y="1502"/>
                    </a:lnTo>
                    <a:lnTo>
                      <a:pt x="1208" y="1502"/>
                    </a:lnTo>
                    <a:lnTo>
                      <a:pt x="1208" y="1500"/>
                    </a:lnTo>
                    <a:lnTo>
                      <a:pt x="1208" y="1498"/>
                    </a:lnTo>
                    <a:lnTo>
                      <a:pt x="1208" y="1500"/>
                    </a:lnTo>
                    <a:lnTo>
                      <a:pt x="1210" y="1498"/>
                    </a:lnTo>
                    <a:lnTo>
                      <a:pt x="1208" y="1500"/>
                    </a:lnTo>
                    <a:lnTo>
                      <a:pt x="1210" y="1500"/>
                    </a:lnTo>
                    <a:lnTo>
                      <a:pt x="1210" y="1498"/>
                    </a:lnTo>
                    <a:lnTo>
                      <a:pt x="1212" y="1498"/>
                    </a:lnTo>
                    <a:lnTo>
                      <a:pt x="1210" y="1498"/>
                    </a:lnTo>
                    <a:lnTo>
                      <a:pt x="1208" y="1498"/>
                    </a:lnTo>
                    <a:lnTo>
                      <a:pt x="1208" y="1497"/>
                    </a:lnTo>
                    <a:lnTo>
                      <a:pt x="1207" y="1497"/>
                    </a:lnTo>
                    <a:lnTo>
                      <a:pt x="1208" y="1497"/>
                    </a:lnTo>
                    <a:lnTo>
                      <a:pt x="1207" y="1497"/>
                    </a:lnTo>
                    <a:lnTo>
                      <a:pt x="1208" y="1495"/>
                    </a:lnTo>
                    <a:lnTo>
                      <a:pt x="1210" y="1495"/>
                    </a:lnTo>
                    <a:lnTo>
                      <a:pt x="1208" y="1495"/>
                    </a:lnTo>
                    <a:lnTo>
                      <a:pt x="1210" y="1493"/>
                    </a:lnTo>
                    <a:lnTo>
                      <a:pt x="1210" y="1495"/>
                    </a:lnTo>
                    <a:lnTo>
                      <a:pt x="1212" y="1495"/>
                    </a:lnTo>
                    <a:lnTo>
                      <a:pt x="1210" y="1493"/>
                    </a:lnTo>
                    <a:lnTo>
                      <a:pt x="1208" y="1492"/>
                    </a:lnTo>
                    <a:lnTo>
                      <a:pt x="1210" y="1493"/>
                    </a:lnTo>
                    <a:lnTo>
                      <a:pt x="1212" y="1493"/>
                    </a:lnTo>
                    <a:lnTo>
                      <a:pt x="1212" y="1495"/>
                    </a:lnTo>
                    <a:lnTo>
                      <a:pt x="1212" y="1493"/>
                    </a:lnTo>
                    <a:lnTo>
                      <a:pt x="1212" y="1492"/>
                    </a:lnTo>
                    <a:lnTo>
                      <a:pt x="1210" y="1492"/>
                    </a:lnTo>
                    <a:lnTo>
                      <a:pt x="1212" y="1490"/>
                    </a:lnTo>
                    <a:lnTo>
                      <a:pt x="1212" y="1488"/>
                    </a:lnTo>
                    <a:lnTo>
                      <a:pt x="1212" y="1490"/>
                    </a:lnTo>
                    <a:lnTo>
                      <a:pt x="1213" y="1490"/>
                    </a:lnTo>
                    <a:lnTo>
                      <a:pt x="1215" y="1490"/>
                    </a:lnTo>
                    <a:lnTo>
                      <a:pt x="1215" y="1488"/>
                    </a:lnTo>
                    <a:lnTo>
                      <a:pt x="1213" y="1488"/>
                    </a:lnTo>
                    <a:lnTo>
                      <a:pt x="1212" y="1488"/>
                    </a:lnTo>
                    <a:lnTo>
                      <a:pt x="1212" y="1487"/>
                    </a:lnTo>
                    <a:lnTo>
                      <a:pt x="1213" y="1487"/>
                    </a:lnTo>
                    <a:lnTo>
                      <a:pt x="1213" y="1485"/>
                    </a:lnTo>
                    <a:lnTo>
                      <a:pt x="1212" y="1487"/>
                    </a:lnTo>
                    <a:lnTo>
                      <a:pt x="1212" y="1488"/>
                    </a:lnTo>
                    <a:lnTo>
                      <a:pt x="1210" y="1488"/>
                    </a:lnTo>
                    <a:lnTo>
                      <a:pt x="1210" y="1487"/>
                    </a:lnTo>
                    <a:lnTo>
                      <a:pt x="1208" y="1487"/>
                    </a:lnTo>
                    <a:lnTo>
                      <a:pt x="1208" y="1485"/>
                    </a:lnTo>
                    <a:lnTo>
                      <a:pt x="1208" y="1483"/>
                    </a:lnTo>
                    <a:lnTo>
                      <a:pt x="1210" y="1483"/>
                    </a:lnTo>
                    <a:lnTo>
                      <a:pt x="1210" y="1485"/>
                    </a:lnTo>
                    <a:lnTo>
                      <a:pt x="1212" y="1483"/>
                    </a:lnTo>
                    <a:lnTo>
                      <a:pt x="1210" y="1481"/>
                    </a:lnTo>
                    <a:lnTo>
                      <a:pt x="1212" y="1481"/>
                    </a:lnTo>
                    <a:lnTo>
                      <a:pt x="1210" y="1481"/>
                    </a:lnTo>
                    <a:lnTo>
                      <a:pt x="1212" y="1481"/>
                    </a:lnTo>
                    <a:lnTo>
                      <a:pt x="1212" y="1480"/>
                    </a:lnTo>
                    <a:lnTo>
                      <a:pt x="1210" y="1480"/>
                    </a:lnTo>
                    <a:lnTo>
                      <a:pt x="1210" y="1478"/>
                    </a:lnTo>
                    <a:lnTo>
                      <a:pt x="1210" y="1476"/>
                    </a:lnTo>
                    <a:lnTo>
                      <a:pt x="1212" y="1475"/>
                    </a:lnTo>
                    <a:lnTo>
                      <a:pt x="1212" y="1473"/>
                    </a:lnTo>
                    <a:lnTo>
                      <a:pt x="1210" y="1473"/>
                    </a:lnTo>
                    <a:lnTo>
                      <a:pt x="1210" y="1471"/>
                    </a:lnTo>
                    <a:lnTo>
                      <a:pt x="1208" y="1471"/>
                    </a:lnTo>
                    <a:lnTo>
                      <a:pt x="1208" y="1470"/>
                    </a:lnTo>
                    <a:lnTo>
                      <a:pt x="1207" y="1468"/>
                    </a:lnTo>
                    <a:lnTo>
                      <a:pt x="1207" y="1466"/>
                    </a:lnTo>
                    <a:lnTo>
                      <a:pt x="1205" y="1466"/>
                    </a:lnTo>
                    <a:lnTo>
                      <a:pt x="1205" y="1464"/>
                    </a:lnTo>
                    <a:lnTo>
                      <a:pt x="1207" y="1463"/>
                    </a:lnTo>
                    <a:lnTo>
                      <a:pt x="1208" y="1464"/>
                    </a:lnTo>
                    <a:lnTo>
                      <a:pt x="1207" y="1466"/>
                    </a:lnTo>
                    <a:lnTo>
                      <a:pt x="1208" y="1466"/>
                    </a:lnTo>
                    <a:lnTo>
                      <a:pt x="1208" y="1468"/>
                    </a:lnTo>
                    <a:lnTo>
                      <a:pt x="1210" y="1468"/>
                    </a:lnTo>
                    <a:lnTo>
                      <a:pt x="1210" y="1470"/>
                    </a:lnTo>
                    <a:lnTo>
                      <a:pt x="1210" y="1471"/>
                    </a:lnTo>
                    <a:lnTo>
                      <a:pt x="1210" y="1470"/>
                    </a:lnTo>
                    <a:lnTo>
                      <a:pt x="1212" y="1470"/>
                    </a:lnTo>
                    <a:lnTo>
                      <a:pt x="1212" y="1471"/>
                    </a:lnTo>
                    <a:lnTo>
                      <a:pt x="1212" y="1473"/>
                    </a:lnTo>
                    <a:lnTo>
                      <a:pt x="1213" y="1473"/>
                    </a:lnTo>
                    <a:lnTo>
                      <a:pt x="1213" y="1471"/>
                    </a:lnTo>
                    <a:lnTo>
                      <a:pt x="1213" y="1470"/>
                    </a:lnTo>
                    <a:lnTo>
                      <a:pt x="1212" y="1470"/>
                    </a:lnTo>
                    <a:lnTo>
                      <a:pt x="1213" y="1470"/>
                    </a:lnTo>
                    <a:lnTo>
                      <a:pt x="1215" y="1470"/>
                    </a:lnTo>
                    <a:lnTo>
                      <a:pt x="1217" y="1471"/>
                    </a:lnTo>
                    <a:lnTo>
                      <a:pt x="1217" y="1473"/>
                    </a:lnTo>
                    <a:lnTo>
                      <a:pt x="1219" y="1475"/>
                    </a:lnTo>
                    <a:lnTo>
                      <a:pt x="1219" y="1473"/>
                    </a:lnTo>
                    <a:lnTo>
                      <a:pt x="1220" y="1473"/>
                    </a:lnTo>
                    <a:lnTo>
                      <a:pt x="1222" y="1473"/>
                    </a:lnTo>
                    <a:lnTo>
                      <a:pt x="1222" y="1471"/>
                    </a:lnTo>
                    <a:lnTo>
                      <a:pt x="1222" y="1470"/>
                    </a:lnTo>
                    <a:lnTo>
                      <a:pt x="1222" y="1468"/>
                    </a:lnTo>
                    <a:lnTo>
                      <a:pt x="1224" y="1468"/>
                    </a:lnTo>
                    <a:lnTo>
                      <a:pt x="1225" y="1470"/>
                    </a:lnTo>
                    <a:lnTo>
                      <a:pt x="1225" y="1468"/>
                    </a:lnTo>
                    <a:lnTo>
                      <a:pt x="1227" y="1466"/>
                    </a:lnTo>
                    <a:lnTo>
                      <a:pt x="1229" y="1466"/>
                    </a:lnTo>
                    <a:lnTo>
                      <a:pt x="1230" y="1464"/>
                    </a:lnTo>
                    <a:lnTo>
                      <a:pt x="1230" y="1466"/>
                    </a:lnTo>
                    <a:lnTo>
                      <a:pt x="1229" y="1466"/>
                    </a:lnTo>
                    <a:lnTo>
                      <a:pt x="1229" y="1468"/>
                    </a:lnTo>
                    <a:lnTo>
                      <a:pt x="1230" y="1470"/>
                    </a:lnTo>
                    <a:lnTo>
                      <a:pt x="1229" y="1470"/>
                    </a:lnTo>
                    <a:lnTo>
                      <a:pt x="1227" y="1470"/>
                    </a:lnTo>
                    <a:lnTo>
                      <a:pt x="1229" y="1471"/>
                    </a:lnTo>
                    <a:lnTo>
                      <a:pt x="1227" y="1471"/>
                    </a:lnTo>
                    <a:lnTo>
                      <a:pt x="1227" y="1473"/>
                    </a:lnTo>
                    <a:lnTo>
                      <a:pt x="1227" y="1475"/>
                    </a:lnTo>
                    <a:lnTo>
                      <a:pt x="1225" y="1475"/>
                    </a:lnTo>
                    <a:lnTo>
                      <a:pt x="1227" y="1475"/>
                    </a:lnTo>
                    <a:lnTo>
                      <a:pt x="1227" y="1473"/>
                    </a:lnTo>
                    <a:lnTo>
                      <a:pt x="1229" y="1471"/>
                    </a:lnTo>
                    <a:lnTo>
                      <a:pt x="1230" y="1471"/>
                    </a:lnTo>
                    <a:lnTo>
                      <a:pt x="1230" y="1473"/>
                    </a:lnTo>
                    <a:lnTo>
                      <a:pt x="1232" y="1473"/>
                    </a:lnTo>
                    <a:lnTo>
                      <a:pt x="1232" y="1475"/>
                    </a:lnTo>
                    <a:lnTo>
                      <a:pt x="1232" y="1476"/>
                    </a:lnTo>
                    <a:lnTo>
                      <a:pt x="1230" y="1476"/>
                    </a:lnTo>
                    <a:lnTo>
                      <a:pt x="1230" y="1478"/>
                    </a:lnTo>
                    <a:lnTo>
                      <a:pt x="1232" y="1478"/>
                    </a:lnTo>
                    <a:lnTo>
                      <a:pt x="1234" y="1478"/>
                    </a:lnTo>
                    <a:lnTo>
                      <a:pt x="1232" y="1476"/>
                    </a:lnTo>
                    <a:lnTo>
                      <a:pt x="1234" y="1476"/>
                    </a:lnTo>
                    <a:lnTo>
                      <a:pt x="1234" y="1478"/>
                    </a:lnTo>
                    <a:lnTo>
                      <a:pt x="1234" y="1476"/>
                    </a:lnTo>
                    <a:lnTo>
                      <a:pt x="1234" y="1475"/>
                    </a:lnTo>
                    <a:lnTo>
                      <a:pt x="1234" y="1473"/>
                    </a:lnTo>
                    <a:lnTo>
                      <a:pt x="1236" y="1473"/>
                    </a:lnTo>
                    <a:lnTo>
                      <a:pt x="1236" y="1471"/>
                    </a:lnTo>
                    <a:lnTo>
                      <a:pt x="1236" y="1470"/>
                    </a:lnTo>
                    <a:lnTo>
                      <a:pt x="1236" y="1468"/>
                    </a:lnTo>
                    <a:lnTo>
                      <a:pt x="1237" y="1468"/>
                    </a:lnTo>
                    <a:lnTo>
                      <a:pt x="1236" y="1466"/>
                    </a:lnTo>
                    <a:lnTo>
                      <a:pt x="1237" y="1468"/>
                    </a:lnTo>
                    <a:lnTo>
                      <a:pt x="1237" y="1466"/>
                    </a:lnTo>
                    <a:lnTo>
                      <a:pt x="1239" y="1466"/>
                    </a:lnTo>
                    <a:lnTo>
                      <a:pt x="1237" y="1464"/>
                    </a:lnTo>
                    <a:lnTo>
                      <a:pt x="1237" y="1466"/>
                    </a:lnTo>
                    <a:lnTo>
                      <a:pt x="1236" y="1466"/>
                    </a:lnTo>
                    <a:lnTo>
                      <a:pt x="1236" y="1468"/>
                    </a:lnTo>
                    <a:lnTo>
                      <a:pt x="1234" y="1470"/>
                    </a:lnTo>
                    <a:lnTo>
                      <a:pt x="1234" y="1471"/>
                    </a:lnTo>
                    <a:lnTo>
                      <a:pt x="1234" y="1473"/>
                    </a:lnTo>
                    <a:lnTo>
                      <a:pt x="1232" y="1475"/>
                    </a:lnTo>
                    <a:lnTo>
                      <a:pt x="1232" y="1473"/>
                    </a:lnTo>
                    <a:lnTo>
                      <a:pt x="1232" y="1471"/>
                    </a:lnTo>
                    <a:lnTo>
                      <a:pt x="1230" y="1471"/>
                    </a:lnTo>
                    <a:lnTo>
                      <a:pt x="1230" y="1470"/>
                    </a:lnTo>
                    <a:lnTo>
                      <a:pt x="1230" y="1468"/>
                    </a:lnTo>
                    <a:lnTo>
                      <a:pt x="1230" y="1466"/>
                    </a:lnTo>
                    <a:lnTo>
                      <a:pt x="1232" y="1466"/>
                    </a:lnTo>
                    <a:lnTo>
                      <a:pt x="1230" y="1466"/>
                    </a:lnTo>
                    <a:lnTo>
                      <a:pt x="1232" y="1464"/>
                    </a:lnTo>
                    <a:lnTo>
                      <a:pt x="1232" y="1466"/>
                    </a:lnTo>
                    <a:lnTo>
                      <a:pt x="1234" y="1466"/>
                    </a:lnTo>
                    <a:lnTo>
                      <a:pt x="1234" y="1464"/>
                    </a:lnTo>
                    <a:lnTo>
                      <a:pt x="1234" y="1463"/>
                    </a:lnTo>
                    <a:lnTo>
                      <a:pt x="1234" y="1461"/>
                    </a:lnTo>
                    <a:lnTo>
                      <a:pt x="1234" y="1459"/>
                    </a:lnTo>
                    <a:lnTo>
                      <a:pt x="1236" y="1459"/>
                    </a:lnTo>
                    <a:lnTo>
                      <a:pt x="1237" y="1459"/>
                    </a:lnTo>
                    <a:lnTo>
                      <a:pt x="1239" y="1459"/>
                    </a:lnTo>
                    <a:lnTo>
                      <a:pt x="1239" y="1461"/>
                    </a:lnTo>
                    <a:lnTo>
                      <a:pt x="1239" y="1463"/>
                    </a:lnTo>
                    <a:lnTo>
                      <a:pt x="1239" y="1464"/>
                    </a:lnTo>
                    <a:lnTo>
                      <a:pt x="1239" y="1466"/>
                    </a:lnTo>
                    <a:lnTo>
                      <a:pt x="1241" y="1468"/>
                    </a:lnTo>
                    <a:lnTo>
                      <a:pt x="1241" y="1470"/>
                    </a:lnTo>
                    <a:lnTo>
                      <a:pt x="1242" y="1470"/>
                    </a:lnTo>
                    <a:lnTo>
                      <a:pt x="1242" y="1468"/>
                    </a:lnTo>
                    <a:lnTo>
                      <a:pt x="1244" y="1470"/>
                    </a:lnTo>
                    <a:lnTo>
                      <a:pt x="1244" y="1471"/>
                    </a:lnTo>
                    <a:lnTo>
                      <a:pt x="1244" y="1473"/>
                    </a:lnTo>
                    <a:lnTo>
                      <a:pt x="1246" y="1473"/>
                    </a:lnTo>
                    <a:lnTo>
                      <a:pt x="1246" y="1475"/>
                    </a:lnTo>
                    <a:lnTo>
                      <a:pt x="1244" y="1475"/>
                    </a:lnTo>
                    <a:lnTo>
                      <a:pt x="1244" y="1476"/>
                    </a:lnTo>
                    <a:lnTo>
                      <a:pt x="1244" y="1478"/>
                    </a:lnTo>
                    <a:lnTo>
                      <a:pt x="1244" y="1480"/>
                    </a:lnTo>
                    <a:lnTo>
                      <a:pt x="1244" y="1481"/>
                    </a:lnTo>
                    <a:lnTo>
                      <a:pt x="1242" y="1481"/>
                    </a:lnTo>
                    <a:lnTo>
                      <a:pt x="1244" y="1481"/>
                    </a:lnTo>
                    <a:lnTo>
                      <a:pt x="1242" y="1481"/>
                    </a:lnTo>
                    <a:lnTo>
                      <a:pt x="1242" y="1483"/>
                    </a:lnTo>
                    <a:lnTo>
                      <a:pt x="1242" y="1481"/>
                    </a:lnTo>
                    <a:lnTo>
                      <a:pt x="1242" y="1483"/>
                    </a:lnTo>
                    <a:lnTo>
                      <a:pt x="1241" y="1481"/>
                    </a:lnTo>
                    <a:lnTo>
                      <a:pt x="1239" y="1481"/>
                    </a:lnTo>
                    <a:lnTo>
                      <a:pt x="1239" y="1483"/>
                    </a:lnTo>
                    <a:lnTo>
                      <a:pt x="1239" y="1485"/>
                    </a:lnTo>
                    <a:lnTo>
                      <a:pt x="1237" y="1483"/>
                    </a:lnTo>
                    <a:lnTo>
                      <a:pt x="1237" y="1485"/>
                    </a:lnTo>
                    <a:lnTo>
                      <a:pt x="1236" y="1485"/>
                    </a:lnTo>
                    <a:lnTo>
                      <a:pt x="1236" y="1487"/>
                    </a:lnTo>
                    <a:lnTo>
                      <a:pt x="1234" y="1487"/>
                    </a:lnTo>
                    <a:lnTo>
                      <a:pt x="1234" y="1488"/>
                    </a:lnTo>
                    <a:lnTo>
                      <a:pt x="1232" y="1488"/>
                    </a:lnTo>
                    <a:lnTo>
                      <a:pt x="1230" y="1488"/>
                    </a:lnTo>
                    <a:lnTo>
                      <a:pt x="1230" y="1490"/>
                    </a:lnTo>
                    <a:lnTo>
                      <a:pt x="1232" y="1490"/>
                    </a:lnTo>
                    <a:lnTo>
                      <a:pt x="1234" y="1488"/>
                    </a:lnTo>
                    <a:lnTo>
                      <a:pt x="1236" y="1488"/>
                    </a:lnTo>
                    <a:lnTo>
                      <a:pt x="1236" y="1487"/>
                    </a:lnTo>
                    <a:lnTo>
                      <a:pt x="1237" y="1487"/>
                    </a:lnTo>
                    <a:lnTo>
                      <a:pt x="1239" y="1487"/>
                    </a:lnTo>
                    <a:lnTo>
                      <a:pt x="1241" y="1487"/>
                    </a:lnTo>
                    <a:lnTo>
                      <a:pt x="1242" y="1487"/>
                    </a:lnTo>
                    <a:lnTo>
                      <a:pt x="1241" y="1487"/>
                    </a:lnTo>
                    <a:lnTo>
                      <a:pt x="1242" y="1487"/>
                    </a:lnTo>
                    <a:lnTo>
                      <a:pt x="1241" y="1485"/>
                    </a:lnTo>
                    <a:lnTo>
                      <a:pt x="1242" y="1485"/>
                    </a:lnTo>
                    <a:lnTo>
                      <a:pt x="1242" y="1483"/>
                    </a:lnTo>
                    <a:lnTo>
                      <a:pt x="1242" y="1485"/>
                    </a:lnTo>
                    <a:lnTo>
                      <a:pt x="1244" y="1483"/>
                    </a:lnTo>
                    <a:lnTo>
                      <a:pt x="1244" y="1485"/>
                    </a:lnTo>
                    <a:lnTo>
                      <a:pt x="1244" y="1483"/>
                    </a:lnTo>
                    <a:lnTo>
                      <a:pt x="1246" y="1483"/>
                    </a:lnTo>
                    <a:lnTo>
                      <a:pt x="1246" y="1481"/>
                    </a:lnTo>
                    <a:lnTo>
                      <a:pt x="1246" y="1480"/>
                    </a:lnTo>
                    <a:lnTo>
                      <a:pt x="1247" y="1478"/>
                    </a:lnTo>
                    <a:lnTo>
                      <a:pt x="1246" y="1478"/>
                    </a:lnTo>
                    <a:lnTo>
                      <a:pt x="1246" y="1476"/>
                    </a:lnTo>
                    <a:lnTo>
                      <a:pt x="1247" y="1476"/>
                    </a:lnTo>
                    <a:lnTo>
                      <a:pt x="1247" y="1475"/>
                    </a:lnTo>
                    <a:lnTo>
                      <a:pt x="1247" y="1473"/>
                    </a:lnTo>
                    <a:lnTo>
                      <a:pt x="1246" y="1473"/>
                    </a:lnTo>
                    <a:lnTo>
                      <a:pt x="1246" y="1471"/>
                    </a:lnTo>
                    <a:lnTo>
                      <a:pt x="1244" y="1470"/>
                    </a:lnTo>
                    <a:lnTo>
                      <a:pt x="1244" y="1468"/>
                    </a:lnTo>
                    <a:lnTo>
                      <a:pt x="1242" y="1466"/>
                    </a:lnTo>
                    <a:lnTo>
                      <a:pt x="1242" y="1464"/>
                    </a:lnTo>
                    <a:lnTo>
                      <a:pt x="1241" y="1464"/>
                    </a:lnTo>
                    <a:lnTo>
                      <a:pt x="1241" y="1463"/>
                    </a:lnTo>
                    <a:lnTo>
                      <a:pt x="1241" y="1461"/>
                    </a:lnTo>
                    <a:lnTo>
                      <a:pt x="1241" y="1459"/>
                    </a:lnTo>
                    <a:lnTo>
                      <a:pt x="1242" y="1458"/>
                    </a:lnTo>
                    <a:lnTo>
                      <a:pt x="1244" y="1458"/>
                    </a:lnTo>
                    <a:lnTo>
                      <a:pt x="1242" y="1458"/>
                    </a:lnTo>
                    <a:lnTo>
                      <a:pt x="1244" y="1459"/>
                    </a:lnTo>
                    <a:lnTo>
                      <a:pt x="1244" y="1461"/>
                    </a:lnTo>
                    <a:lnTo>
                      <a:pt x="1244" y="1459"/>
                    </a:lnTo>
                    <a:lnTo>
                      <a:pt x="1244" y="1458"/>
                    </a:lnTo>
                    <a:lnTo>
                      <a:pt x="1246" y="1459"/>
                    </a:lnTo>
                    <a:lnTo>
                      <a:pt x="1247" y="1458"/>
                    </a:lnTo>
                    <a:lnTo>
                      <a:pt x="1249" y="1458"/>
                    </a:lnTo>
                    <a:lnTo>
                      <a:pt x="1247" y="1456"/>
                    </a:lnTo>
                    <a:lnTo>
                      <a:pt x="1247" y="1454"/>
                    </a:lnTo>
                    <a:lnTo>
                      <a:pt x="1246" y="1453"/>
                    </a:lnTo>
                    <a:lnTo>
                      <a:pt x="1247" y="1453"/>
                    </a:lnTo>
                    <a:lnTo>
                      <a:pt x="1247" y="1451"/>
                    </a:lnTo>
                    <a:lnTo>
                      <a:pt x="1249" y="1449"/>
                    </a:lnTo>
                    <a:lnTo>
                      <a:pt x="1247" y="1449"/>
                    </a:lnTo>
                    <a:lnTo>
                      <a:pt x="1247" y="1447"/>
                    </a:lnTo>
                    <a:lnTo>
                      <a:pt x="1246" y="1447"/>
                    </a:lnTo>
                    <a:lnTo>
                      <a:pt x="1247" y="1446"/>
                    </a:lnTo>
                    <a:lnTo>
                      <a:pt x="1246" y="1446"/>
                    </a:lnTo>
                    <a:lnTo>
                      <a:pt x="1244" y="1444"/>
                    </a:lnTo>
                    <a:lnTo>
                      <a:pt x="1242" y="1444"/>
                    </a:lnTo>
                    <a:lnTo>
                      <a:pt x="1242" y="1442"/>
                    </a:lnTo>
                    <a:lnTo>
                      <a:pt x="1242" y="1441"/>
                    </a:lnTo>
                    <a:lnTo>
                      <a:pt x="1241" y="1441"/>
                    </a:lnTo>
                    <a:lnTo>
                      <a:pt x="1241" y="1439"/>
                    </a:lnTo>
                    <a:lnTo>
                      <a:pt x="1241" y="1441"/>
                    </a:lnTo>
                    <a:lnTo>
                      <a:pt x="1242" y="1441"/>
                    </a:lnTo>
                    <a:lnTo>
                      <a:pt x="1241" y="1442"/>
                    </a:lnTo>
                    <a:lnTo>
                      <a:pt x="1241" y="1441"/>
                    </a:lnTo>
                    <a:lnTo>
                      <a:pt x="1241" y="1439"/>
                    </a:lnTo>
                    <a:lnTo>
                      <a:pt x="1239" y="1439"/>
                    </a:lnTo>
                    <a:lnTo>
                      <a:pt x="1241" y="1439"/>
                    </a:lnTo>
                    <a:lnTo>
                      <a:pt x="1239" y="1439"/>
                    </a:lnTo>
                    <a:lnTo>
                      <a:pt x="1239" y="1437"/>
                    </a:lnTo>
                    <a:lnTo>
                      <a:pt x="1237" y="1439"/>
                    </a:lnTo>
                    <a:lnTo>
                      <a:pt x="1237" y="1437"/>
                    </a:lnTo>
                    <a:lnTo>
                      <a:pt x="1236" y="1437"/>
                    </a:lnTo>
                    <a:lnTo>
                      <a:pt x="1234" y="1437"/>
                    </a:lnTo>
                    <a:lnTo>
                      <a:pt x="1232" y="1435"/>
                    </a:lnTo>
                    <a:lnTo>
                      <a:pt x="1232" y="1434"/>
                    </a:lnTo>
                    <a:lnTo>
                      <a:pt x="1230" y="1434"/>
                    </a:lnTo>
                    <a:lnTo>
                      <a:pt x="1229" y="1434"/>
                    </a:lnTo>
                    <a:lnTo>
                      <a:pt x="1227" y="1434"/>
                    </a:lnTo>
                    <a:lnTo>
                      <a:pt x="1227" y="1432"/>
                    </a:lnTo>
                    <a:lnTo>
                      <a:pt x="1227" y="1430"/>
                    </a:lnTo>
                    <a:lnTo>
                      <a:pt x="1225" y="1432"/>
                    </a:lnTo>
                    <a:lnTo>
                      <a:pt x="1224" y="1432"/>
                    </a:lnTo>
                    <a:lnTo>
                      <a:pt x="1224" y="1434"/>
                    </a:lnTo>
                    <a:lnTo>
                      <a:pt x="1222" y="1432"/>
                    </a:lnTo>
                    <a:lnTo>
                      <a:pt x="1222" y="1434"/>
                    </a:lnTo>
                    <a:lnTo>
                      <a:pt x="1222" y="1432"/>
                    </a:lnTo>
                    <a:lnTo>
                      <a:pt x="1220" y="1434"/>
                    </a:lnTo>
                    <a:lnTo>
                      <a:pt x="1222" y="1434"/>
                    </a:lnTo>
                    <a:lnTo>
                      <a:pt x="1222" y="1435"/>
                    </a:lnTo>
                    <a:lnTo>
                      <a:pt x="1224" y="1435"/>
                    </a:lnTo>
                    <a:lnTo>
                      <a:pt x="1224" y="1434"/>
                    </a:lnTo>
                    <a:lnTo>
                      <a:pt x="1225" y="1434"/>
                    </a:lnTo>
                    <a:lnTo>
                      <a:pt x="1227" y="1434"/>
                    </a:lnTo>
                    <a:lnTo>
                      <a:pt x="1229" y="1434"/>
                    </a:lnTo>
                    <a:lnTo>
                      <a:pt x="1229" y="1435"/>
                    </a:lnTo>
                    <a:lnTo>
                      <a:pt x="1229" y="1437"/>
                    </a:lnTo>
                    <a:lnTo>
                      <a:pt x="1227" y="1439"/>
                    </a:lnTo>
                    <a:lnTo>
                      <a:pt x="1225" y="1439"/>
                    </a:lnTo>
                    <a:lnTo>
                      <a:pt x="1225" y="1441"/>
                    </a:lnTo>
                    <a:lnTo>
                      <a:pt x="1227" y="1439"/>
                    </a:lnTo>
                    <a:lnTo>
                      <a:pt x="1229" y="1439"/>
                    </a:lnTo>
                    <a:lnTo>
                      <a:pt x="1229" y="1437"/>
                    </a:lnTo>
                    <a:lnTo>
                      <a:pt x="1229" y="1435"/>
                    </a:lnTo>
                    <a:lnTo>
                      <a:pt x="1230" y="1435"/>
                    </a:lnTo>
                    <a:lnTo>
                      <a:pt x="1232" y="1437"/>
                    </a:lnTo>
                    <a:lnTo>
                      <a:pt x="1232" y="1439"/>
                    </a:lnTo>
                    <a:lnTo>
                      <a:pt x="1234" y="1437"/>
                    </a:lnTo>
                    <a:lnTo>
                      <a:pt x="1234" y="1439"/>
                    </a:lnTo>
                    <a:lnTo>
                      <a:pt x="1236" y="1441"/>
                    </a:lnTo>
                    <a:lnTo>
                      <a:pt x="1236" y="1439"/>
                    </a:lnTo>
                    <a:lnTo>
                      <a:pt x="1237" y="1439"/>
                    </a:lnTo>
                    <a:lnTo>
                      <a:pt x="1237" y="1441"/>
                    </a:lnTo>
                    <a:lnTo>
                      <a:pt x="1239" y="1441"/>
                    </a:lnTo>
                    <a:lnTo>
                      <a:pt x="1239" y="1442"/>
                    </a:lnTo>
                    <a:lnTo>
                      <a:pt x="1241" y="1444"/>
                    </a:lnTo>
                    <a:lnTo>
                      <a:pt x="1241" y="1446"/>
                    </a:lnTo>
                    <a:lnTo>
                      <a:pt x="1242" y="1444"/>
                    </a:lnTo>
                    <a:lnTo>
                      <a:pt x="1242" y="1446"/>
                    </a:lnTo>
                    <a:lnTo>
                      <a:pt x="1244" y="1446"/>
                    </a:lnTo>
                    <a:lnTo>
                      <a:pt x="1246" y="1446"/>
                    </a:lnTo>
                    <a:lnTo>
                      <a:pt x="1246" y="1447"/>
                    </a:lnTo>
                    <a:lnTo>
                      <a:pt x="1246" y="1449"/>
                    </a:lnTo>
                    <a:lnTo>
                      <a:pt x="1244" y="1451"/>
                    </a:lnTo>
                    <a:lnTo>
                      <a:pt x="1244" y="1453"/>
                    </a:lnTo>
                    <a:lnTo>
                      <a:pt x="1242" y="1453"/>
                    </a:lnTo>
                    <a:lnTo>
                      <a:pt x="1241" y="1453"/>
                    </a:lnTo>
                    <a:lnTo>
                      <a:pt x="1239" y="1451"/>
                    </a:lnTo>
                    <a:lnTo>
                      <a:pt x="1239" y="1453"/>
                    </a:lnTo>
                    <a:lnTo>
                      <a:pt x="1239" y="1451"/>
                    </a:lnTo>
                    <a:lnTo>
                      <a:pt x="1237" y="1451"/>
                    </a:lnTo>
                    <a:lnTo>
                      <a:pt x="1237" y="1449"/>
                    </a:lnTo>
                    <a:lnTo>
                      <a:pt x="1236" y="1449"/>
                    </a:lnTo>
                    <a:lnTo>
                      <a:pt x="1234" y="1447"/>
                    </a:lnTo>
                    <a:lnTo>
                      <a:pt x="1234" y="1449"/>
                    </a:lnTo>
                    <a:lnTo>
                      <a:pt x="1232" y="1447"/>
                    </a:lnTo>
                    <a:lnTo>
                      <a:pt x="1232" y="1449"/>
                    </a:lnTo>
                    <a:lnTo>
                      <a:pt x="1230" y="1449"/>
                    </a:lnTo>
                    <a:lnTo>
                      <a:pt x="1230" y="1447"/>
                    </a:lnTo>
                    <a:lnTo>
                      <a:pt x="1230" y="1446"/>
                    </a:lnTo>
                    <a:lnTo>
                      <a:pt x="1229" y="1446"/>
                    </a:lnTo>
                    <a:lnTo>
                      <a:pt x="1227" y="1446"/>
                    </a:lnTo>
                    <a:lnTo>
                      <a:pt x="1227" y="1444"/>
                    </a:lnTo>
                    <a:lnTo>
                      <a:pt x="1227" y="1446"/>
                    </a:lnTo>
                    <a:lnTo>
                      <a:pt x="1225" y="1446"/>
                    </a:lnTo>
                    <a:lnTo>
                      <a:pt x="1225" y="1444"/>
                    </a:lnTo>
                    <a:lnTo>
                      <a:pt x="1224" y="1444"/>
                    </a:lnTo>
                    <a:lnTo>
                      <a:pt x="1224" y="1442"/>
                    </a:lnTo>
                    <a:lnTo>
                      <a:pt x="1224" y="1441"/>
                    </a:lnTo>
                    <a:lnTo>
                      <a:pt x="1222" y="1441"/>
                    </a:lnTo>
                    <a:lnTo>
                      <a:pt x="1220" y="1439"/>
                    </a:lnTo>
                    <a:lnTo>
                      <a:pt x="1220" y="1441"/>
                    </a:lnTo>
                    <a:lnTo>
                      <a:pt x="1222" y="1441"/>
                    </a:lnTo>
                    <a:lnTo>
                      <a:pt x="1222" y="1442"/>
                    </a:lnTo>
                    <a:lnTo>
                      <a:pt x="1222" y="1444"/>
                    </a:lnTo>
                    <a:lnTo>
                      <a:pt x="1220" y="1444"/>
                    </a:lnTo>
                    <a:lnTo>
                      <a:pt x="1220" y="1446"/>
                    </a:lnTo>
                    <a:lnTo>
                      <a:pt x="1222" y="1444"/>
                    </a:lnTo>
                    <a:lnTo>
                      <a:pt x="1224" y="1446"/>
                    </a:lnTo>
                    <a:lnTo>
                      <a:pt x="1225" y="1446"/>
                    </a:lnTo>
                    <a:lnTo>
                      <a:pt x="1227" y="1446"/>
                    </a:lnTo>
                    <a:lnTo>
                      <a:pt x="1229" y="1447"/>
                    </a:lnTo>
                    <a:lnTo>
                      <a:pt x="1229" y="1449"/>
                    </a:lnTo>
                    <a:lnTo>
                      <a:pt x="1230" y="1451"/>
                    </a:lnTo>
                    <a:lnTo>
                      <a:pt x="1229" y="1451"/>
                    </a:lnTo>
                    <a:lnTo>
                      <a:pt x="1229" y="1449"/>
                    </a:lnTo>
                    <a:lnTo>
                      <a:pt x="1227" y="1447"/>
                    </a:lnTo>
                    <a:lnTo>
                      <a:pt x="1225" y="1449"/>
                    </a:lnTo>
                    <a:lnTo>
                      <a:pt x="1224" y="1449"/>
                    </a:lnTo>
                    <a:lnTo>
                      <a:pt x="1225" y="1451"/>
                    </a:lnTo>
                    <a:lnTo>
                      <a:pt x="1225" y="1449"/>
                    </a:lnTo>
                    <a:lnTo>
                      <a:pt x="1227" y="1449"/>
                    </a:lnTo>
                    <a:lnTo>
                      <a:pt x="1229" y="1449"/>
                    </a:lnTo>
                    <a:lnTo>
                      <a:pt x="1229" y="1451"/>
                    </a:lnTo>
                    <a:lnTo>
                      <a:pt x="1229" y="1453"/>
                    </a:lnTo>
                    <a:lnTo>
                      <a:pt x="1227" y="1453"/>
                    </a:lnTo>
                    <a:lnTo>
                      <a:pt x="1227" y="1454"/>
                    </a:lnTo>
                    <a:lnTo>
                      <a:pt x="1225" y="1454"/>
                    </a:lnTo>
                    <a:lnTo>
                      <a:pt x="1225" y="1456"/>
                    </a:lnTo>
                    <a:lnTo>
                      <a:pt x="1224" y="1454"/>
                    </a:lnTo>
                    <a:lnTo>
                      <a:pt x="1224" y="1456"/>
                    </a:lnTo>
                    <a:lnTo>
                      <a:pt x="1224" y="1454"/>
                    </a:lnTo>
                    <a:lnTo>
                      <a:pt x="1222" y="1456"/>
                    </a:lnTo>
                    <a:lnTo>
                      <a:pt x="1224" y="1456"/>
                    </a:lnTo>
                    <a:lnTo>
                      <a:pt x="1225" y="1456"/>
                    </a:lnTo>
                    <a:lnTo>
                      <a:pt x="1227" y="1456"/>
                    </a:lnTo>
                    <a:lnTo>
                      <a:pt x="1227" y="1454"/>
                    </a:lnTo>
                    <a:lnTo>
                      <a:pt x="1229" y="1454"/>
                    </a:lnTo>
                    <a:lnTo>
                      <a:pt x="1229" y="1453"/>
                    </a:lnTo>
                    <a:lnTo>
                      <a:pt x="1230" y="1453"/>
                    </a:lnTo>
                    <a:lnTo>
                      <a:pt x="1230" y="1451"/>
                    </a:lnTo>
                    <a:lnTo>
                      <a:pt x="1232" y="1453"/>
                    </a:lnTo>
                    <a:lnTo>
                      <a:pt x="1232" y="1454"/>
                    </a:lnTo>
                    <a:lnTo>
                      <a:pt x="1232" y="1453"/>
                    </a:lnTo>
                    <a:lnTo>
                      <a:pt x="1232" y="1454"/>
                    </a:lnTo>
                    <a:lnTo>
                      <a:pt x="1232" y="1456"/>
                    </a:lnTo>
                    <a:lnTo>
                      <a:pt x="1230" y="1456"/>
                    </a:lnTo>
                    <a:lnTo>
                      <a:pt x="1229" y="1458"/>
                    </a:lnTo>
                    <a:lnTo>
                      <a:pt x="1227" y="1458"/>
                    </a:lnTo>
                    <a:lnTo>
                      <a:pt x="1225" y="1459"/>
                    </a:lnTo>
                    <a:lnTo>
                      <a:pt x="1225" y="1461"/>
                    </a:lnTo>
                    <a:lnTo>
                      <a:pt x="1225" y="1463"/>
                    </a:lnTo>
                    <a:lnTo>
                      <a:pt x="1225" y="1464"/>
                    </a:lnTo>
                    <a:lnTo>
                      <a:pt x="1225" y="1466"/>
                    </a:lnTo>
                    <a:lnTo>
                      <a:pt x="1225" y="1468"/>
                    </a:lnTo>
                    <a:lnTo>
                      <a:pt x="1224" y="1468"/>
                    </a:lnTo>
                    <a:lnTo>
                      <a:pt x="1222" y="1468"/>
                    </a:lnTo>
                    <a:lnTo>
                      <a:pt x="1222" y="1466"/>
                    </a:lnTo>
                    <a:lnTo>
                      <a:pt x="1222" y="1464"/>
                    </a:lnTo>
                    <a:lnTo>
                      <a:pt x="1222" y="1463"/>
                    </a:lnTo>
                    <a:lnTo>
                      <a:pt x="1222" y="1461"/>
                    </a:lnTo>
                    <a:lnTo>
                      <a:pt x="1220" y="1459"/>
                    </a:lnTo>
                    <a:lnTo>
                      <a:pt x="1222" y="1458"/>
                    </a:lnTo>
                    <a:lnTo>
                      <a:pt x="1220" y="1456"/>
                    </a:lnTo>
                    <a:lnTo>
                      <a:pt x="1220" y="1458"/>
                    </a:lnTo>
                    <a:lnTo>
                      <a:pt x="1220" y="1456"/>
                    </a:lnTo>
                    <a:lnTo>
                      <a:pt x="1222" y="1456"/>
                    </a:lnTo>
                    <a:lnTo>
                      <a:pt x="1220" y="1454"/>
                    </a:lnTo>
                    <a:lnTo>
                      <a:pt x="1220" y="1453"/>
                    </a:lnTo>
                    <a:lnTo>
                      <a:pt x="1220" y="1451"/>
                    </a:lnTo>
                    <a:lnTo>
                      <a:pt x="1220" y="1449"/>
                    </a:lnTo>
                    <a:lnTo>
                      <a:pt x="1219" y="1449"/>
                    </a:lnTo>
                    <a:lnTo>
                      <a:pt x="1219" y="1447"/>
                    </a:lnTo>
                    <a:lnTo>
                      <a:pt x="1219" y="1446"/>
                    </a:lnTo>
                    <a:lnTo>
                      <a:pt x="1217" y="1444"/>
                    </a:lnTo>
                    <a:lnTo>
                      <a:pt x="1217" y="1442"/>
                    </a:lnTo>
                    <a:lnTo>
                      <a:pt x="1217" y="1444"/>
                    </a:lnTo>
                    <a:lnTo>
                      <a:pt x="1217" y="1446"/>
                    </a:lnTo>
                    <a:lnTo>
                      <a:pt x="1219" y="1446"/>
                    </a:lnTo>
                    <a:lnTo>
                      <a:pt x="1219" y="1447"/>
                    </a:lnTo>
                    <a:lnTo>
                      <a:pt x="1219" y="1449"/>
                    </a:lnTo>
                    <a:lnTo>
                      <a:pt x="1219" y="1451"/>
                    </a:lnTo>
                    <a:lnTo>
                      <a:pt x="1219" y="1453"/>
                    </a:lnTo>
                    <a:lnTo>
                      <a:pt x="1220" y="1454"/>
                    </a:lnTo>
                    <a:lnTo>
                      <a:pt x="1219" y="1453"/>
                    </a:lnTo>
                    <a:lnTo>
                      <a:pt x="1219" y="1454"/>
                    </a:lnTo>
                    <a:lnTo>
                      <a:pt x="1220" y="1454"/>
                    </a:lnTo>
                    <a:lnTo>
                      <a:pt x="1219" y="1456"/>
                    </a:lnTo>
                    <a:lnTo>
                      <a:pt x="1220" y="1458"/>
                    </a:lnTo>
                    <a:lnTo>
                      <a:pt x="1220" y="1459"/>
                    </a:lnTo>
                    <a:lnTo>
                      <a:pt x="1220" y="1461"/>
                    </a:lnTo>
                    <a:lnTo>
                      <a:pt x="1220" y="1463"/>
                    </a:lnTo>
                    <a:lnTo>
                      <a:pt x="1220" y="1464"/>
                    </a:lnTo>
                    <a:lnTo>
                      <a:pt x="1220" y="1466"/>
                    </a:lnTo>
                    <a:lnTo>
                      <a:pt x="1222" y="1468"/>
                    </a:lnTo>
                    <a:lnTo>
                      <a:pt x="1220" y="1470"/>
                    </a:lnTo>
                    <a:lnTo>
                      <a:pt x="1220" y="1471"/>
                    </a:lnTo>
                    <a:lnTo>
                      <a:pt x="1219" y="1471"/>
                    </a:lnTo>
                    <a:lnTo>
                      <a:pt x="1219" y="1470"/>
                    </a:lnTo>
                    <a:lnTo>
                      <a:pt x="1217" y="1470"/>
                    </a:lnTo>
                    <a:lnTo>
                      <a:pt x="1217" y="1468"/>
                    </a:lnTo>
                    <a:lnTo>
                      <a:pt x="1215" y="1468"/>
                    </a:lnTo>
                    <a:lnTo>
                      <a:pt x="1215" y="1466"/>
                    </a:lnTo>
                    <a:lnTo>
                      <a:pt x="1213" y="1466"/>
                    </a:lnTo>
                    <a:lnTo>
                      <a:pt x="1212" y="1464"/>
                    </a:lnTo>
                    <a:lnTo>
                      <a:pt x="1212" y="1463"/>
                    </a:lnTo>
                    <a:lnTo>
                      <a:pt x="1210" y="1463"/>
                    </a:lnTo>
                    <a:lnTo>
                      <a:pt x="1212" y="1463"/>
                    </a:lnTo>
                    <a:lnTo>
                      <a:pt x="1210" y="1463"/>
                    </a:lnTo>
                    <a:lnTo>
                      <a:pt x="1210" y="1461"/>
                    </a:lnTo>
                    <a:lnTo>
                      <a:pt x="1210" y="1459"/>
                    </a:lnTo>
                    <a:lnTo>
                      <a:pt x="1210" y="1458"/>
                    </a:lnTo>
                    <a:lnTo>
                      <a:pt x="1212" y="1458"/>
                    </a:lnTo>
                    <a:lnTo>
                      <a:pt x="1210" y="1458"/>
                    </a:lnTo>
                    <a:lnTo>
                      <a:pt x="1210" y="1456"/>
                    </a:lnTo>
                    <a:lnTo>
                      <a:pt x="1208" y="1456"/>
                    </a:lnTo>
                    <a:lnTo>
                      <a:pt x="1208" y="1454"/>
                    </a:lnTo>
                    <a:lnTo>
                      <a:pt x="1208" y="1453"/>
                    </a:lnTo>
                    <a:lnTo>
                      <a:pt x="1208" y="1451"/>
                    </a:lnTo>
                    <a:lnTo>
                      <a:pt x="1210" y="1453"/>
                    </a:lnTo>
                    <a:lnTo>
                      <a:pt x="1210" y="1451"/>
                    </a:lnTo>
                    <a:lnTo>
                      <a:pt x="1210" y="1453"/>
                    </a:lnTo>
                    <a:lnTo>
                      <a:pt x="1210" y="1454"/>
                    </a:lnTo>
                    <a:lnTo>
                      <a:pt x="1212" y="1454"/>
                    </a:lnTo>
                    <a:lnTo>
                      <a:pt x="1212" y="1456"/>
                    </a:lnTo>
                    <a:lnTo>
                      <a:pt x="1213" y="1458"/>
                    </a:lnTo>
                    <a:lnTo>
                      <a:pt x="1213" y="1459"/>
                    </a:lnTo>
                    <a:lnTo>
                      <a:pt x="1212" y="1458"/>
                    </a:lnTo>
                    <a:lnTo>
                      <a:pt x="1212" y="1459"/>
                    </a:lnTo>
                    <a:lnTo>
                      <a:pt x="1213" y="1459"/>
                    </a:lnTo>
                    <a:lnTo>
                      <a:pt x="1215" y="1461"/>
                    </a:lnTo>
                    <a:lnTo>
                      <a:pt x="1215" y="1463"/>
                    </a:lnTo>
                    <a:lnTo>
                      <a:pt x="1217" y="1464"/>
                    </a:lnTo>
                    <a:lnTo>
                      <a:pt x="1217" y="1463"/>
                    </a:lnTo>
                    <a:lnTo>
                      <a:pt x="1215" y="1461"/>
                    </a:lnTo>
                    <a:lnTo>
                      <a:pt x="1215" y="1459"/>
                    </a:lnTo>
                    <a:lnTo>
                      <a:pt x="1215" y="1458"/>
                    </a:lnTo>
                    <a:lnTo>
                      <a:pt x="1213" y="1458"/>
                    </a:lnTo>
                    <a:lnTo>
                      <a:pt x="1215" y="1456"/>
                    </a:lnTo>
                    <a:lnTo>
                      <a:pt x="1213" y="1456"/>
                    </a:lnTo>
                    <a:lnTo>
                      <a:pt x="1213" y="1454"/>
                    </a:lnTo>
                    <a:lnTo>
                      <a:pt x="1212" y="1453"/>
                    </a:lnTo>
                    <a:lnTo>
                      <a:pt x="1212" y="1451"/>
                    </a:lnTo>
                    <a:lnTo>
                      <a:pt x="1213" y="1451"/>
                    </a:lnTo>
                    <a:lnTo>
                      <a:pt x="1212" y="1451"/>
                    </a:lnTo>
                    <a:lnTo>
                      <a:pt x="1212" y="1449"/>
                    </a:lnTo>
                    <a:lnTo>
                      <a:pt x="1210" y="1449"/>
                    </a:lnTo>
                    <a:lnTo>
                      <a:pt x="1210" y="1447"/>
                    </a:lnTo>
                    <a:lnTo>
                      <a:pt x="1212" y="1447"/>
                    </a:lnTo>
                    <a:lnTo>
                      <a:pt x="1213" y="1447"/>
                    </a:lnTo>
                    <a:lnTo>
                      <a:pt x="1213" y="1446"/>
                    </a:lnTo>
                    <a:lnTo>
                      <a:pt x="1215" y="1444"/>
                    </a:lnTo>
                    <a:lnTo>
                      <a:pt x="1213" y="1444"/>
                    </a:lnTo>
                    <a:lnTo>
                      <a:pt x="1213" y="1446"/>
                    </a:lnTo>
                    <a:lnTo>
                      <a:pt x="1212" y="1446"/>
                    </a:lnTo>
                    <a:lnTo>
                      <a:pt x="1212" y="1447"/>
                    </a:lnTo>
                    <a:lnTo>
                      <a:pt x="1212" y="1446"/>
                    </a:lnTo>
                    <a:lnTo>
                      <a:pt x="1212" y="1444"/>
                    </a:lnTo>
                    <a:lnTo>
                      <a:pt x="1212" y="1446"/>
                    </a:lnTo>
                    <a:lnTo>
                      <a:pt x="1210" y="1447"/>
                    </a:lnTo>
                    <a:lnTo>
                      <a:pt x="1210" y="1446"/>
                    </a:lnTo>
                    <a:lnTo>
                      <a:pt x="1208" y="1446"/>
                    </a:lnTo>
                    <a:lnTo>
                      <a:pt x="1208" y="1444"/>
                    </a:lnTo>
                    <a:lnTo>
                      <a:pt x="1208" y="1442"/>
                    </a:lnTo>
                    <a:lnTo>
                      <a:pt x="1208" y="1444"/>
                    </a:lnTo>
                    <a:lnTo>
                      <a:pt x="1208" y="1446"/>
                    </a:lnTo>
                    <a:lnTo>
                      <a:pt x="1208" y="1447"/>
                    </a:lnTo>
                    <a:lnTo>
                      <a:pt x="1207" y="1447"/>
                    </a:lnTo>
                    <a:lnTo>
                      <a:pt x="1207" y="1449"/>
                    </a:lnTo>
                    <a:lnTo>
                      <a:pt x="1207" y="1451"/>
                    </a:lnTo>
                    <a:lnTo>
                      <a:pt x="1205" y="1449"/>
                    </a:lnTo>
                    <a:lnTo>
                      <a:pt x="1205" y="1447"/>
                    </a:lnTo>
                    <a:lnTo>
                      <a:pt x="1205" y="1446"/>
                    </a:lnTo>
                    <a:lnTo>
                      <a:pt x="1203" y="1446"/>
                    </a:lnTo>
                    <a:lnTo>
                      <a:pt x="1203" y="1444"/>
                    </a:lnTo>
                    <a:lnTo>
                      <a:pt x="1202" y="1444"/>
                    </a:lnTo>
                    <a:lnTo>
                      <a:pt x="1203" y="1442"/>
                    </a:lnTo>
                    <a:lnTo>
                      <a:pt x="1205" y="1442"/>
                    </a:lnTo>
                    <a:lnTo>
                      <a:pt x="1203" y="1442"/>
                    </a:lnTo>
                    <a:lnTo>
                      <a:pt x="1202" y="1442"/>
                    </a:lnTo>
                    <a:lnTo>
                      <a:pt x="1200" y="1442"/>
                    </a:lnTo>
                    <a:lnTo>
                      <a:pt x="1200" y="1441"/>
                    </a:lnTo>
                    <a:lnTo>
                      <a:pt x="1198" y="1441"/>
                    </a:lnTo>
                    <a:lnTo>
                      <a:pt x="1200" y="1441"/>
                    </a:lnTo>
                    <a:lnTo>
                      <a:pt x="1200" y="1439"/>
                    </a:lnTo>
                    <a:lnTo>
                      <a:pt x="1202" y="1439"/>
                    </a:lnTo>
                    <a:lnTo>
                      <a:pt x="1203" y="1439"/>
                    </a:lnTo>
                    <a:lnTo>
                      <a:pt x="1202" y="1439"/>
                    </a:lnTo>
                    <a:lnTo>
                      <a:pt x="1202" y="1437"/>
                    </a:lnTo>
                    <a:lnTo>
                      <a:pt x="1203" y="1437"/>
                    </a:lnTo>
                    <a:lnTo>
                      <a:pt x="1202" y="1437"/>
                    </a:lnTo>
                    <a:lnTo>
                      <a:pt x="1203" y="1435"/>
                    </a:lnTo>
                    <a:lnTo>
                      <a:pt x="1202" y="1437"/>
                    </a:lnTo>
                    <a:lnTo>
                      <a:pt x="1202" y="1435"/>
                    </a:lnTo>
                    <a:lnTo>
                      <a:pt x="1200" y="1437"/>
                    </a:lnTo>
                    <a:lnTo>
                      <a:pt x="1200" y="1439"/>
                    </a:lnTo>
                    <a:lnTo>
                      <a:pt x="1200" y="1437"/>
                    </a:lnTo>
                    <a:lnTo>
                      <a:pt x="1200" y="1435"/>
                    </a:lnTo>
                    <a:lnTo>
                      <a:pt x="1198" y="1435"/>
                    </a:lnTo>
                    <a:lnTo>
                      <a:pt x="1200" y="1435"/>
                    </a:lnTo>
                    <a:lnTo>
                      <a:pt x="1198" y="1435"/>
                    </a:lnTo>
                    <a:lnTo>
                      <a:pt x="1198" y="1434"/>
                    </a:lnTo>
                    <a:lnTo>
                      <a:pt x="1198" y="1435"/>
                    </a:lnTo>
                    <a:lnTo>
                      <a:pt x="1198" y="1434"/>
                    </a:lnTo>
                    <a:lnTo>
                      <a:pt x="1196" y="1435"/>
                    </a:lnTo>
                    <a:lnTo>
                      <a:pt x="1196" y="1434"/>
                    </a:lnTo>
                    <a:lnTo>
                      <a:pt x="1198" y="1432"/>
                    </a:lnTo>
                    <a:lnTo>
                      <a:pt x="1198" y="1434"/>
                    </a:lnTo>
                    <a:lnTo>
                      <a:pt x="1198" y="1432"/>
                    </a:lnTo>
                    <a:lnTo>
                      <a:pt x="1200" y="1432"/>
                    </a:lnTo>
                    <a:lnTo>
                      <a:pt x="1198" y="1432"/>
                    </a:lnTo>
                    <a:lnTo>
                      <a:pt x="1198" y="1430"/>
                    </a:lnTo>
                    <a:lnTo>
                      <a:pt x="1200" y="1430"/>
                    </a:lnTo>
                    <a:lnTo>
                      <a:pt x="1198" y="1430"/>
                    </a:lnTo>
                    <a:lnTo>
                      <a:pt x="1198" y="1429"/>
                    </a:lnTo>
                    <a:lnTo>
                      <a:pt x="1200" y="1429"/>
                    </a:lnTo>
                    <a:lnTo>
                      <a:pt x="1200" y="1427"/>
                    </a:lnTo>
                    <a:lnTo>
                      <a:pt x="1200" y="1429"/>
                    </a:lnTo>
                    <a:lnTo>
                      <a:pt x="1202" y="1429"/>
                    </a:lnTo>
                    <a:lnTo>
                      <a:pt x="1203" y="1429"/>
                    </a:lnTo>
                    <a:lnTo>
                      <a:pt x="1203" y="1430"/>
                    </a:lnTo>
                    <a:lnTo>
                      <a:pt x="1203" y="1432"/>
                    </a:lnTo>
                    <a:lnTo>
                      <a:pt x="1205" y="1432"/>
                    </a:lnTo>
                    <a:lnTo>
                      <a:pt x="1205" y="1434"/>
                    </a:lnTo>
                    <a:lnTo>
                      <a:pt x="1205" y="1432"/>
                    </a:lnTo>
                    <a:lnTo>
                      <a:pt x="1205" y="1430"/>
                    </a:lnTo>
                    <a:lnTo>
                      <a:pt x="1205" y="1432"/>
                    </a:lnTo>
                    <a:lnTo>
                      <a:pt x="1207" y="1434"/>
                    </a:lnTo>
                    <a:lnTo>
                      <a:pt x="1207" y="1435"/>
                    </a:lnTo>
                    <a:lnTo>
                      <a:pt x="1208" y="1437"/>
                    </a:lnTo>
                    <a:lnTo>
                      <a:pt x="1208" y="1439"/>
                    </a:lnTo>
                    <a:lnTo>
                      <a:pt x="1208" y="1441"/>
                    </a:lnTo>
                    <a:lnTo>
                      <a:pt x="1208" y="1442"/>
                    </a:lnTo>
                    <a:lnTo>
                      <a:pt x="1210" y="1441"/>
                    </a:lnTo>
                    <a:lnTo>
                      <a:pt x="1208" y="1439"/>
                    </a:lnTo>
                    <a:lnTo>
                      <a:pt x="1208" y="1437"/>
                    </a:lnTo>
                    <a:lnTo>
                      <a:pt x="1208" y="1435"/>
                    </a:lnTo>
                    <a:lnTo>
                      <a:pt x="1207" y="1434"/>
                    </a:lnTo>
                    <a:lnTo>
                      <a:pt x="1207" y="1435"/>
                    </a:lnTo>
                    <a:lnTo>
                      <a:pt x="1208" y="1435"/>
                    </a:lnTo>
                    <a:lnTo>
                      <a:pt x="1210" y="1435"/>
                    </a:lnTo>
                    <a:lnTo>
                      <a:pt x="1210" y="1437"/>
                    </a:lnTo>
                    <a:lnTo>
                      <a:pt x="1210" y="1435"/>
                    </a:lnTo>
                    <a:lnTo>
                      <a:pt x="1208" y="1435"/>
                    </a:lnTo>
                    <a:lnTo>
                      <a:pt x="1208" y="1434"/>
                    </a:lnTo>
                    <a:lnTo>
                      <a:pt x="1208" y="1432"/>
                    </a:lnTo>
                    <a:lnTo>
                      <a:pt x="1210" y="1432"/>
                    </a:lnTo>
                    <a:lnTo>
                      <a:pt x="1212" y="1432"/>
                    </a:lnTo>
                    <a:lnTo>
                      <a:pt x="1210" y="1432"/>
                    </a:lnTo>
                    <a:lnTo>
                      <a:pt x="1208" y="1432"/>
                    </a:lnTo>
                    <a:lnTo>
                      <a:pt x="1207" y="1430"/>
                    </a:lnTo>
                    <a:lnTo>
                      <a:pt x="1207" y="1429"/>
                    </a:lnTo>
                    <a:lnTo>
                      <a:pt x="1207" y="1427"/>
                    </a:lnTo>
                    <a:lnTo>
                      <a:pt x="1207" y="1425"/>
                    </a:lnTo>
                    <a:lnTo>
                      <a:pt x="1207" y="1427"/>
                    </a:lnTo>
                    <a:lnTo>
                      <a:pt x="1207" y="1425"/>
                    </a:lnTo>
                    <a:lnTo>
                      <a:pt x="1207" y="1424"/>
                    </a:lnTo>
                    <a:lnTo>
                      <a:pt x="1205" y="1422"/>
                    </a:lnTo>
                    <a:lnTo>
                      <a:pt x="1203" y="1420"/>
                    </a:lnTo>
                    <a:lnTo>
                      <a:pt x="1203" y="1418"/>
                    </a:lnTo>
                    <a:lnTo>
                      <a:pt x="1205" y="1418"/>
                    </a:lnTo>
                    <a:lnTo>
                      <a:pt x="1207" y="1418"/>
                    </a:lnTo>
                    <a:lnTo>
                      <a:pt x="1207" y="1420"/>
                    </a:lnTo>
                    <a:lnTo>
                      <a:pt x="1207" y="1422"/>
                    </a:lnTo>
                    <a:lnTo>
                      <a:pt x="1208" y="1422"/>
                    </a:lnTo>
                    <a:lnTo>
                      <a:pt x="1207" y="1422"/>
                    </a:lnTo>
                    <a:lnTo>
                      <a:pt x="1207" y="1420"/>
                    </a:lnTo>
                    <a:lnTo>
                      <a:pt x="1207" y="1418"/>
                    </a:lnTo>
                    <a:lnTo>
                      <a:pt x="1208" y="1418"/>
                    </a:lnTo>
                    <a:lnTo>
                      <a:pt x="1207" y="1418"/>
                    </a:lnTo>
                    <a:lnTo>
                      <a:pt x="1207" y="1417"/>
                    </a:lnTo>
                    <a:lnTo>
                      <a:pt x="1207" y="1415"/>
                    </a:lnTo>
                    <a:lnTo>
                      <a:pt x="1207" y="1417"/>
                    </a:lnTo>
                    <a:lnTo>
                      <a:pt x="1205" y="1417"/>
                    </a:lnTo>
                    <a:lnTo>
                      <a:pt x="1205" y="1415"/>
                    </a:lnTo>
                    <a:lnTo>
                      <a:pt x="1203" y="1413"/>
                    </a:lnTo>
                    <a:lnTo>
                      <a:pt x="1203" y="1412"/>
                    </a:lnTo>
                    <a:lnTo>
                      <a:pt x="1202" y="1412"/>
                    </a:lnTo>
                    <a:lnTo>
                      <a:pt x="1203" y="1412"/>
                    </a:lnTo>
                    <a:lnTo>
                      <a:pt x="1203" y="1413"/>
                    </a:lnTo>
                    <a:lnTo>
                      <a:pt x="1203" y="1415"/>
                    </a:lnTo>
                    <a:lnTo>
                      <a:pt x="1205" y="1415"/>
                    </a:lnTo>
                    <a:lnTo>
                      <a:pt x="1205" y="1417"/>
                    </a:lnTo>
                    <a:lnTo>
                      <a:pt x="1205" y="1418"/>
                    </a:lnTo>
                    <a:lnTo>
                      <a:pt x="1203" y="1418"/>
                    </a:lnTo>
                    <a:lnTo>
                      <a:pt x="1202" y="1420"/>
                    </a:lnTo>
                    <a:lnTo>
                      <a:pt x="1200" y="1422"/>
                    </a:lnTo>
                    <a:lnTo>
                      <a:pt x="1198" y="1420"/>
                    </a:lnTo>
                    <a:lnTo>
                      <a:pt x="1198" y="1418"/>
                    </a:lnTo>
                    <a:lnTo>
                      <a:pt x="1198" y="1417"/>
                    </a:lnTo>
                    <a:lnTo>
                      <a:pt x="1198" y="1415"/>
                    </a:lnTo>
                    <a:lnTo>
                      <a:pt x="1196" y="1415"/>
                    </a:lnTo>
                    <a:lnTo>
                      <a:pt x="1196" y="1413"/>
                    </a:lnTo>
                    <a:lnTo>
                      <a:pt x="1196" y="1415"/>
                    </a:lnTo>
                    <a:lnTo>
                      <a:pt x="1196" y="1417"/>
                    </a:lnTo>
                    <a:lnTo>
                      <a:pt x="1196" y="1418"/>
                    </a:lnTo>
                    <a:lnTo>
                      <a:pt x="1195" y="1418"/>
                    </a:lnTo>
                    <a:lnTo>
                      <a:pt x="1193" y="1418"/>
                    </a:lnTo>
                    <a:lnTo>
                      <a:pt x="1191" y="1417"/>
                    </a:lnTo>
                    <a:lnTo>
                      <a:pt x="1193" y="1415"/>
                    </a:lnTo>
                    <a:lnTo>
                      <a:pt x="1191" y="1413"/>
                    </a:lnTo>
                    <a:lnTo>
                      <a:pt x="1193" y="1413"/>
                    </a:lnTo>
                    <a:lnTo>
                      <a:pt x="1191" y="1413"/>
                    </a:lnTo>
                    <a:lnTo>
                      <a:pt x="1191" y="1412"/>
                    </a:lnTo>
                    <a:lnTo>
                      <a:pt x="1191" y="1410"/>
                    </a:lnTo>
                    <a:lnTo>
                      <a:pt x="1191" y="1412"/>
                    </a:lnTo>
                    <a:lnTo>
                      <a:pt x="1191" y="1410"/>
                    </a:lnTo>
                    <a:lnTo>
                      <a:pt x="1193" y="1410"/>
                    </a:lnTo>
                    <a:lnTo>
                      <a:pt x="1193" y="1408"/>
                    </a:lnTo>
                    <a:lnTo>
                      <a:pt x="1195" y="1408"/>
                    </a:lnTo>
                    <a:lnTo>
                      <a:pt x="1195" y="1407"/>
                    </a:lnTo>
                    <a:lnTo>
                      <a:pt x="1193" y="1407"/>
                    </a:lnTo>
                    <a:lnTo>
                      <a:pt x="1195" y="1405"/>
                    </a:lnTo>
                    <a:lnTo>
                      <a:pt x="1193" y="1407"/>
                    </a:lnTo>
                    <a:lnTo>
                      <a:pt x="1193" y="1405"/>
                    </a:lnTo>
                    <a:lnTo>
                      <a:pt x="1193" y="1407"/>
                    </a:lnTo>
                    <a:lnTo>
                      <a:pt x="1191" y="1408"/>
                    </a:lnTo>
                    <a:lnTo>
                      <a:pt x="1193" y="1407"/>
                    </a:lnTo>
                    <a:lnTo>
                      <a:pt x="1191" y="1407"/>
                    </a:lnTo>
                    <a:lnTo>
                      <a:pt x="1191" y="1408"/>
                    </a:lnTo>
                    <a:lnTo>
                      <a:pt x="1191" y="1410"/>
                    </a:lnTo>
                    <a:lnTo>
                      <a:pt x="1190" y="1410"/>
                    </a:lnTo>
                    <a:lnTo>
                      <a:pt x="1190" y="1408"/>
                    </a:lnTo>
                    <a:lnTo>
                      <a:pt x="1188" y="1408"/>
                    </a:lnTo>
                    <a:lnTo>
                      <a:pt x="1190" y="1407"/>
                    </a:lnTo>
                    <a:lnTo>
                      <a:pt x="1188" y="1407"/>
                    </a:lnTo>
                    <a:lnTo>
                      <a:pt x="1188" y="1405"/>
                    </a:lnTo>
                    <a:lnTo>
                      <a:pt x="1188" y="1403"/>
                    </a:lnTo>
                    <a:lnTo>
                      <a:pt x="1190" y="1403"/>
                    </a:lnTo>
                    <a:lnTo>
                      <a:pt x="1190" y="1401"/>
                    </a:lnTo>
                    <a:lnTo>
                      <a:pt x="1191" y="1401"/>
                    </a:lnTo>
                    <a:lnTo>
                      <a:pt x="1193" y="1400"/>
                    </a:lnTo>
                    <a:lnTo>
                      <a:pt x="1195" y="1401"/>
                    </a:lnTo>
                    <a:lnTo>
                      <a:pt x="1196" y="1401"/>
                    </a:lnTo>
                    <a:lnTo>
                      <a:pt x="1198" y="1401"/>
                    </a:lnTo>
                    <a:lnTo>
                      <a:pt x="1198" y="1403"/>
                    </a:lnTo>
                    <a:lnTo>
                      <a:pt x="1198" y="1401"/>
                    </a:lnTo>
                    <a:lnTo>
                      <a:pt x="1200" y="1400"/>
                    </a:lnTo>
                    <a:lnTo>
                      <a:pt x="1202" y="1401"/>
                    </a:lnTo>
                    <a:lnTo>
                      <a:pt x="1202" y="1403"/>
                    </a:lnTo>
                    <a:lnTo>
                      <a:pt x="1200" y="1405"/>
                    </a:lnTo>
                    <a:lnTo>
                      <a:pt x="1202" y="1405"/>
                    </a:lnTo>
                    <a:lnTo>
                      <a:pt x="1203" y="1405"/>
                    </a:lnTo>
                    <a:lnTo>
                      <a:pt x="1205" y="1405"/>
                    </a:lnTo>
                    <a:lnTo>
                      <a:pt x="1207" y="1405"/>
                    </a:lnTo>
                    <a:lnTo>
                      <a:pt x="1207" y="1403"/>
                    </a:lnTo>
                    <a:lnTo>
                      <a:pt x="1205" y="1405"/>
                    </a:lnTo>
                    <a:lnTo>
                      <a:pt x="1203" y="1403"/>
                    </a:lnTo>
                    <a:lnTo>
                      <a:pt x="1203" y="1401"/>
                    </a:lnTo>
                    <a:lnTo>
                      <a:pt x="1202" y="1401"/>
                    </a:lnTo>
                    <a:lnTo>
                      <a:pt x="1202" y="1400"/>
                    </a:lnTo>
                    <a:lnTo>
                      <a:pt x="1200" y="1400"/>
                    </a:lnTo>
                    <a:lnTo>
                      <a:pt x="1200" y="1398"/>
                    </a:lnTo>
                    <a:lnTo>
                      <a:pt x="1202" y="1398"/>
                    </a:lnTo>
                    <a:lnTo>
                      <a:pt x="1202" y="1396"/>
                    </a:lnTo>
                    <a:lnTo>
                      <a:pt x="1203" y="1396"/>
                    </a:lnTo>
                    <a:lnTo>
                      <a:pt x="1203" y="1398"/>
                    </a:lnTo>
                    <a:lnTo>
                      <a:pt x="1205" y="1398"/>
                    </a:lnTo>
                    <a:lnTo>
                      <a:pt x="1203" y="1398"/>
                    </a:lnTo>
                    <a:lnTo>
                      <a:pt x="1203" y="1396"/>
                    </a:lnTo>
                    <a:lnTo>
                      <a:pt x="1203" y="1395"/>
                    </a:lnTo>
                    <a:lnTo>
                      <a:pt x="1203" y="1393"/>
                    </a:lnTo>
                    <a:lnTo>
                      <a:pt x="1203" y="1391"/>
                    </a:lnTo>
                    <a:lnTo>
                      <a:pt x="1203" y="1390"/>
                    </a:lnTo>
                    <a:lnTo>
                      <a:pt x="1205" y="1390"/>
                    </a:lnTo>
                    <a:lnTo>
                      <a:pt x="1207" y="1390"/>
                    </a:lnTo>
                    <a:lnTo>
                      <a:pt x="1208" y="1388"/>
                    </a:lnTo>
                    <a:lnTo>
                      <a:pt x="1210" y="1390"/>
                    </a:lnTo>
                    <a:lnTo>
                      <a:pt x="1212" y="1390"/>
                    </a:lnTo>
                    <a:lnTo>
                      <a:pt x="1213" y="1391"/>
                    </a:lnTo>
                    <a:lnTo>
                      <a:pt x="1213" y="1390"/>
                    </a:lnTo>
                    <a:lnTo>
                      <a:pt x="1212" y="1390"/>
                    </a:lnTo>
                    <a:lnTo>
                      <a:pt x="1210" y="1388"/>
                    </a:lnTo>
                    <a:lnTo>
                      <a:pt x="1212" y="1388"/>
                    </a:lnTo>
                    <a:lnTo>
                      <a:pt x="1210" y="1386"/>
                    </a:lnTo>
                    <a:lnTo>
                      <a:pt x="1210" y="1388"/>
                    </a:lnTo>
                    <a:lnTo>
                      <a:pt x="1210" y="1386"/>
                    </a:lnTo>
                    <a:lnTo>
                      <a:pt x="1208" y="1388"/>
                    </a:lnTo>
                    <a:lnTo>
                      <a:pt x="1208" y="1386"/>
                    </a:lnTo>
                    <a:lnTo>
                      <a:pt x="1207" y="1386"/>
                    </a:lnTo>
                    <a:lnTo>
                      <a:pt x="1207" y="1384"/>
                    </a:lnTo>
                    <a:lnTo>
                      <a:pt x="1205" y="1384"/>
                    </a:lnTo>
                    <a:lnTo>
                      <a:pt x="1205" y="1383"/>
                    </a:lnTo>
                    <a:lnTo>
                      <a:pt x="1205" y="1381"/>
                    </a:lnTo>
                    <a:lnTo>
                      <a:pt x="1207" y="1381"/>
                    </a:lnTo>
                    <a:lnTo>
                      <a:pt x="1208" y="1381"/>
                    </a:lnTo>
                    <a:lnTo>
                      <a:pt x="1210" y="1381"/>
                    </a:lnTo>
                    <a:lnTo>
                      <a:pt x="1210" y="1379"/>
                    </a:lnTo>
                    <a:lnTo>
                      <a:pt x="1210" y="1378"/>
                    </a:lnTo>
                    <a:lnTo>
                      <a:pt x="1212" y="1378"/>
                    </a:lnTo>
                    <a:lnTo>
                      <a:pt x="1210" y="1376"/>
                    </a:lnTo>
                    <a:lnTo>
                      <a:pt x="1212" y="1376"/>
                    </a:lnTo>
                    <a:lnTo>
                      <a:pt x="1212" y="1374"/>
                    </a:lnTo>
                    <a:lnTo>
                      <a:pt x="1210" y="1374"/>
                    </a:lnTo>
                    <a:lnTo>
                      <a:pt x="1210" y="1376"/>
                    </a:lnTo>
                    <a:lnTo>
                      <a:pt x="1210" y="1378"/>
                    </a:lnTo>
                    <a:lnTo>
                      <a:pt x="1208" y="1379"/>
                    </a:lnTo>
                    <a:lnTo>
                      <a:pt x="1208" y="1381"/>
                    </a:lnTo>
                    <a:lnTo>
                      <a:pt x="1208" y="1379"/>
                    </a:lnTo>
                    <a:lnTo>
                      <a:pt x="1207" y="1381"/>
                    </a:lnTo>
                    <a:lnTo>
                      <a:pt x="1205" y="1381"/>
                    </a:lnTo>
                    <a:lnTo>
                      <a:pt x="1203" y="1383"/>
                    </a:lnTo>
                    <a:lnTo>
                      <a:pt x="1203" y="1384"/>
                    </a:lnTo>
                    <a:lnTo>
                      <a:pt x="1203" y="1386"/>
                    </a:lnTo>
                    <a:lnTo>
                      <a:pt x="1203" y="1388"/>
                    </a:lnTo>
                    <a:lnTo>
                      <a:pt x="1203" y="1390"/>
                    </a:lnTo>
                    <a:lnTo>
                      <a:pt x="1202" y="1391"/>
                    </a:lnTo>
                    <a:lnTo>
                      <a:pt x="1202" y="1393"/>
                    </a:lnTo>
                    <a:lnTo>
                      <a:pt x="1203" y="1393"/>
                    </a:lnTo>
                    <a:lnTo>
                      <a:pt x="1202" y="1395"/>
                    </a:lnTo>
                    <a:lnTo>
                      <a:pt x="1202" y="1396"/>
                    </a:lnTo>
                    <a:lnTo>
                      <a:pt x="1200" y="1396"/>
                    </a:lnTo>
                    <a:lnTo>
                      <a:pt x="1200" y="1398"/>
                    </a:lnTo>
                    <a:lnTo>
                      <a:pt x="1198" y="1400"/>
                    </a:lnTo>
                    <a:lnTo>
                      <a:pt x="1196" y="1400"/>
                    </a:lnTo>
                    <a:lnTo>
                      <a:pt x="1196" y="1398"/>
                    </a:lnTo>
                    <a:lnTo>
                      <a:pt x="1195" y="1400"/>
                    </a:lnTo>
                    <a:lnTo>
                      <a:pt x="1195" y="1398"/>
                    </a:lnTo>
                    <a:lnTo>
                      <a:pt x="1193" y="1396"/>
                    </a:lnTo>
                    <a:lnTo>
                      <a:pt x="1193" y="1395"/>
                    </a:lnTo>
                    <a:lnTo>
                      <a:pt x="1191" y="1395"/>
                    </a:lnTo>
                    <a:lnTo>
                      <a:pt x="1193" y="1395"/>
                    </a:lnTo>
                    <a:lnTo>
                      <a:pt x="1193" y="1393"/>
                    </a:lnTo>
                    <a:lnTo>
                      <a:pt x="1195" y="1393"/>
                    </a:lnTo>
                    <a:lnTo>
                      <a:pt x="1195" y="1391"/>
                    </a:lnTo>
                    <a:lnTo>
                      <a:pt x="1193" y="1391"/>
                    </a:lnTo>
                    <a:lnTo>
                      <a:pt x="1191" y="1391"/>
                    </a:lnTo>
                    <a:lnTo>
                      <a:pt x="1193" y="1391"/>
                    </a:lnTo>
                    <a:lnTo>
                      <a:pt x="1191" y="1393"/>
                    </a:lnTo>
                    <a:lnTo>
                      <a:pt x="1193" y="1395"/>
                    </a:lnTo>
                    <a:lnTo>
                      <a:pt x="1191" y="1395"/>
                    </a:lnTo>
                    <a:lnTo>
                      <a:pt x="1193" y="1395"/>
                    </a:lnTo>
                    <a:lnTo>
                      <a:pt x="1191" y="1393"/>
                    </a:lnTo>
                    <a:lnTo>
                      <a:pt x="1191" y="1391"/>
                    </a:lnTo>
                    <a:lnTo>
                      <a:pt x="1191" y="1390"/>
                    </a:lnTo>
                    <a:lnTo>
                      <a:pt x="1190" y="1390"/>
                    </a:lnTo>
                    <a:lnTo>
                      <a:pt x="1190" y="1388"/>
                    </a:lnTo>
                    <a:lnTo>
                      <a:pt x="1188" y="1386"/>
                    </a:lnTo>
                    <a:lnTo>
                      <a:pt x="1188" y="1384"/>
                    </a:lnTo>
                    <a:lnTo>
                      <a:pt x="1190" y="1384"/>
                    </a:lnTo>
                    <a:lnTo>
                      <a:pt x="1191" y="1383"/>
                    </a:lnTo>
                    <a:lnTo>
                      <a:pt x="1191" y="1384"/>
                    </a:lnTo>
                    <a:lnTo>
                      <a:pt x="1193" y="1384"/>
                    </a:lnTo>
                    <a:lnTo>
                      <a:pt x="1193" y="1386"/>
                    </a:lnTo>
                    <a:lnTo>
                      <a:pt x="1193" y="1384"/>
                    </a:lnTo>
                    <a:lnTo>
                      <a:pt x="1191" y="1384"/>
                    </a:lnTo>
                    <a:lnTo>
                      <a:pt x="1191" y="1383"/>
                    </a:lnTo>
                    <a:lnTo>
                      <a:pt x="1190" y="1383"/>
                    </a:lnTo>
                    <a:lnTo>
                      <a:pt x="1191" y="1383"/>
                    </a:lnTo>
                    <a:lnTo>
                      <a:pt x="1190" y="1384"/>
                    </a:lnTo>
                    <a:lnTo>
                      <a:pt x="1188" y="1384"/>
                    </a:lnTo>
                    <a:lnTo>
                      <a:pt x="1188" y="1383"/>
                    </a:lnTo>
                    <a:lnTo>
                      <a:pt x="1186" y="1381"/>
                    </a:lnTo>
                    <a:lnTo>
                      <a:pt x="1186" y="1379"/>
                    </a:lnTo>
                    <a:lnTo>
                      <a:pt x="1188" y="1379"/>
                    </a:lnTo>
                    <a:lnTo>
                      <a:pt x="1190" y="1379"/>
                    </a:lnTo>
                    <a:lnTo>
                      <a:pt x="1191" y="1381"/>
                    </a:lnTo>
                    <a:lnTo>
                      <a:pt x="1190" y="1381"/>
                    </a:lnTo>
                    <a:lnTo>
                      <a:pt x="1191" y="1383"/>
                    </a:lnTo>
                    <a:lnTo>
                      <a:pt x="1191" y="1381"/>
                    </a:lnTo>
                    <a:lnTo>
                      <a:pt x="1193" y="1383"/>
                    </a:lnTo>
                    <a:lnTo>
                      <a:pt x="1193" y="1381"/>
                    </a:lnTo>
                    <a:lnTo>
                      <a:pt x="1191" y="1381"/>
                    </a:lnTo>
                    <a:lnTo>
                      <a:pt x="1191" y="1379"/>
                    </a:lnTo>
                    <a:lnTo>
                      <a:pt x="1191" y="1381"/>
                    </a:lnTo>
                    <a:lnTo>
                      <a:pt x="1191" y="1379"/>
                    </a:lnTo>
                    <a:lnTo>
                      <a:pt x="1191" y="1381"/>
                    </a:lnTo>
                    <a:lnTo>
                      <a:pt x="1193" y="1381"/>
                    </a:lnTo>
                    <a:lnTo>
                      <a:pt x="1195" y="1381"/>
                    </a:lnTo>
                    <a:lnTo>
                      <a:pt x="1195" y="1383"/>
                    </a:lnTo>
                    <a:lnTo>
                      <a:pt x="1196" y="1383"/>
                    </a:lnTo>
                    <a:lnTo>
                      <a:pt x="1196" y="1384"/>
                    </a:lnTo>
                    <a:lnTo>
                      <a:pt x="1196" y="1386"/>
                    </a:lnTo>
                    <a:lnTo>
                      <a:pt x="1196" y="1384"/>
                    </a:lnTo>
                    <a:lnTo>
                      <a:pt x="1196" y="1383"/>
                    </a:lnTo>
                    <a:lnTo>
                      <a:pt x="1198" y="1383"/>
                    </a:lnTo>
                    <a:lnTo>
                      <a:pt x="1200" y="1383"/>
                    </a:lnTo>
                    <a:lnTo>
                      <a:pt x="1200" y="1384"/>
                    </a:lnTo>
                    <a:lnTo>
                      <a:pt x="1202" y="1384"/>
                    </a:lnTo>
                    <a:lnTo>
                      <a:pt x="1200" y="1383"/>
                    </a:lnTo>
                    <a:lnTo>
                      <a:pt x="1198" y="1383"/>
                    </a:lnTo>
                    <a:lnTo>
                      <a:pt x="1196" y="1383"/>
                    </a:lnTo>
                    <a:lnTo>
                      <a:pt x="1196" y="1381"/>
                    </a:lnTo>
                    <a:lnTo>
                      <a:pt x="1195" y="1381"/>
                    </a:lnTo>
                    <a:lnTo>
                      <a:pt x="1196" y="1379"/>
                    </a:lnTo>
                    <a:lnTo>
                      <a:pt x="1195" y="1379"/>
                    </a:lnTo>
                    <a:lnTo>
                      <a:pt x="1195" y="1381"/>
                    </a:lnTo>
                    <a:lnTo>
                      <a:pt x="1195" y="1379"/>
                    </a:lnTo>
                    <a:lnTo>
                      <a:pt x="1193" y="1379"/>
                    </a:lnTo>
                    <a:lnTo>
                      <a:pt x="1191" y="1378"/>
                    </a:lnTo>
                    <a:lnTo>
                      <a:pt x="1191" y="1376"/>
                    </a:lnTo>
                    <a:lnTo>
                      <a:pt x="1193" y="1376"/>
                    </a:lnTo>
                    <a:lnTo>
                      <a:pt x="1195" y="1374"/>
                    </a:lnTo>
                    <a:lnTo>
                      <a:pt x="1196" y="1374"/>
                    </a:lnTo>
                    <a:lnTo>
                      <a:pt x="1198" y="1374"/>
                    </a:lnTo>
                    <a:lnTo>
                      <a:pt x="1196" y="1374"/>
                    </a:lnTo>
                    <a:lnTo>
                      <a:pt x="1195" y="1374"/>
                    </a:lnTo>
                    <a:lnTo>
                      <a:pt x="1193" y="1374"/>
                    </a:lnTo>
                    <a:lnTo>
                      <a:pt x="1193" y="1376"/>
                    </a:lnTo>
                    <a:lnTo>
                      <a:pt x="1191" y="1376"/>
                    </a:lnTo>
                    <a:lnTo>
                      <a:pt x="1190" y="1378"/>
                    </a:lnTo>
                    <a:lnTo>
                      <a:pt x="1190" y="1376"/>
                    </a:lnTo>
                    <a:lnTo>
                      <a:pt x="1188" y="1378"/>
                    </a:lnTo>
                    <a:lnTo>
                      <a:pt x="1190" y="1378"/>
                    </a:lnTo>
                    <a:lnTo>
                      <a:pt x="1188" y="1378"/>
                    </a:lnTo>
                    <a:lnTo>
                      <a:pt x="1186" y="1378"/>
                    </a:lnTo>
                    <a:lnTo>
                      <a:pt x="1188" y="1376"/>
                    </a:lnTo>
                    <a:lnTo>
                      <a:pt x="1186" y="1376"/>
                    </a:lnTo>
                    <a:lnTo>
                      <a:pt x="1186" y="1378"/>
                    </a:lnTo>
                    <a:lnTo>
                      <a:pt x="1185" y="1376"/>
                    </a:lnTo>
                    <a:lnTo>
                      <a:pt x="1186" y="1374"/>
                    </a:lnTo>
                    <a:lnTo>
                      <a:pt x="1186" y="1373"/>
                    </a:lnTo>
                    <a:lnTo>
                      <a:pt x="1188" y="1373"/>
                    </a:lnTo>
                    <a:lnTo>
                      <a:pt x="1188" y="1371"/>
                    </a:lnTo>
                    <a:lnTo>
                      <a:pt x="1186" y="1371"/>
                    </a:lnTo>
                    <a:lnTo>
                      <a:pt x="1188" y="1371"/>
                    </a:lnTo>
                    <a:lnTo>
                      <a:pt x="1186" y="1371"/>
                    </a:lnTo>
                    <a:lnTo>
                      <a:pt x="1188" y="1369"/>
                    </a:lnTo>
                    <a:lnTo>
                      <a:pt x="1186" y="1367"/>
                    </a:lnTo>
                    <a:lnTo>
                      <a:pt x="1186" y="1369"/>
                    </a:lnTo>
                    <a:lnTo>
                      <a:pt x="1186" y="1367"/>
                    </a:lnTo>
                    <a:lnTo>
                      <a:pt x="1186" y="1369"/>
                    </a:lnTo>
                    <a:lnTo>
                      <a:pt x="1186" y="1371"/>
                    </a:lnTo>
                    <a:lnTo>
                      <a:pt x="1185" y="1371"/>
                    </a:lnTo>
                    <a:lnTo>
                      <a:pt x="1185" y="1373"/>
                    </a:lnTo>
                    <a:lnTo>
                      <a:pt x="1185" y="1374"/>
                    </a:lnTo>
                    <a:lnTo>
                      <a:pt x="1183" y="1374"/>
                    </a:lnTo>
                    <a:lnTo>
                      <a:pt x="1185" y="1374"/>
                    </a:lnTo>
                    <a:lnTo>
                      <a:pt x="1185" y="1376"/>
                    </a:lnTo>
                    <a:lnTo>
                      <a:pt x="1183" y="1374"/>
                    </a:lnTo>
                    <a:lnTo>
                      <a:pt x="1181" y="1374"/>
                    </a:lnTo>
                    <a:lnTo>
                      <a:pt x="1179" y="1373"/>
                    </a:lnTo>
                    <a:lnTo>
                      <a:pt x="1181" y="1373"/>
                    </a:lnTo>
                    <a:lnTo>
                      <a:pt x="1181" y="1371"/>
                    </a:lnTo>
                    <a:lnTo>
                      <a:pt x="1181" y="1373"/>
                    </a:lnTo>
                    <a:lnTo>
                      <a:pt x="1179" y="1373"/>
                    </a:lnTo>
                    <a:lnTo>
                      <a:pt x="1179" y="1371"/>
                    </a:lnTo>
                    <a:lnTo>
                      <a:pt x="1178" y="1371"/>
                    </a:lnTo>
                    <a:lnTo>
                      <a:pt x="1178" y="1369"/>
                    </a:lnTo>
                    <a:lnTo>
                      <a:pt x="1179" y="1369"/>
                    </a:lnTo>
                    <a:lnTo>
                      <a:pt x="1181" y="1369"/>
                    </a:lnTo>
                    <a:lnTo>
                      <a:pt x="1179" y="1369"/>
                    </a:lnTo>
                    <a:lnTo>
                      <a:pt x="1178" y="1369"/>
                    </a:lnTo>
                    <a:lnTo>
                      <a:pt x="1178" y="1367"/>
                    </a:lnTo>
                    <a:lnTo>
                      <a:pt x="1178" y="1366"/>
                    </a:lnTo>
                    <a:lnTo>
                      <a:pt x="1178" y="1367"/>
                    </a:lnTo>
                    <a:lnTo>
                      <a:pt x="1176" y="1367"/>
                    </a:lnTo>
                    <a:lnTo>
                      <a:pt x="1174" y="1367"/>
                    </a:lnTo>
                    <a:lnTo>
                      <a:pt x="1176" y="1366"/>
                    </a:lnTo>
                    <a:lnTo>
                      <a:pt x="1176" y="1364"/>
                    </a:lnTo>
                    <a:lnTo>
                      <a:pt x="1178" y="1364"/>
                    </a:lnTo>
                    <a:lnTo>
                      <a:pt x="1176" y="1364"/>
                    </a:lnTo>
                    <a:lnTo>
                      <a:pt x="1176" y="1366"/>
                    </a:lnTo>
                    <a:lnTo>
                      <a:pt x="1174" y="1366"/>
                    </a:lnTo>
                    <a:lnTo>
                      <a:pt x="1173" y="1366"/>
                    </a:lnTo>
                    <a:lnTo>
                      <a:pt x="1173" y="1364"/>
                    </a:lnTo>
                    <a:lnTo>
                      <a:pt x="1173" y="1362"/>
                    </a:lnTo>
                    <a:lnTo>
                      <a:pt x="1174" y="1362"/>
                    </a:lnTo>
                    <a:lnTo>
                      <a:pt x="1174" y="1361"/>
                    </a:lnTo>
                    <a:lnTo>
                      <a:pt x="1176" y="1361"/>
                    </a:lnTo>
                    <a:lnTo>
                      <a:pt x="1178" y="1359"/>
                    </a:lnTo>
                    <a:lnTo>
                      <a:pt x="1179" y="1361"/>
                    </a:lnTo>
                    <a:lnTo>
                      <a:pt x="1178" y="1362"/>
                    </a:lnTo>
                    <a:lnTo>
                      <a:pt x="1179" y="1362"/>
                    </a:lnTo>
                    <a:lnTo>
                      <a:pt x="1179" y="1361"/>
                    </a:lnTo>
                    <a:lnTo>
                      <a:pt x="1178" y="1359"/>
                    </a:lnTo>
                    <a:lnTo>
                      <a:pt x="1179" y="1359"/>
                    </a:lnTo>
                    <a:lnTo>
                      <a:pt x="1178" y="1359"/>
                    </a:lnTo>
                    <a:lnTo>
                      <a:pt x="1179" y="1359"/>
                    </a:lnTo>
                    <a:lnTo>
                      <a:pt x="1181" y="1359"/>
                    </a:lnTo>
                    <a:lnTo>
                      <a:pt x="1181" y="1361"/>
                    </a:lnTo>
                    <a:lnTo>
                      <a:pt x="1181" y="1359"/>
                    </a:lnTo>
                    <a:lnTo>
                      <a:pt x="1183" y="1359"/>
                    </a:lnTo>
                    <a:lnTo>
                      <a:pt x="1183" y="1361"/>
                    </a:lnTo>
                    <a:lnTo>
                      <a:pt x="1183" y="1359"/>
                    </a:lnTo>
                    <a:lnTo>
                      <a:pt x="1181" y="1359"/>
                    </a:lnTo>
                    <a:lnTo>
                      <a:pt x="1179" y="1357"/>
                    </a:lnTo>
                    <a:lnTo>
                      <a:pt x="1179" y="1359"/>
                    </a:lnTo>
                    <a:lnTo>
                      <a:pt x="1178" y="1359"/>
                    </a:lnTo>
                    <a:lnTo>
                      <a:pt x="1176" y="1359"/>
                    </a:lnTo>
                    <a:lnTo>
                      <a:pt x="1176" y="1361"/>
                    </a:lnTo>
                    <a:lnTo>
                      <a:pt x="1176" y="1359"/>
                    </a:lnTo>
                    <a:lnTo>
                      <a:pt x="1178" y="1359"/>
                    </a:lnTo>
                    <a:lnTo>
                      <a:pt x="1178" y="1357"/>
                    </a:lnTo>
                    <a:lnTo>
                      <a:pt x="1179" y="1357"/>
                    </a:lnTo>
                    <a:lnTo>
                      <a:pt x="1181" y="1356"/>
                    </a:lnTo>
                    <a:lnTo>
                      <a:pt x="1183" y="1357"/>
                    </a:lnTo>
                    <a:lnTo>
                      <a:pt x="1185" y="1357"/>
                    </a:lnTo>
                    <a:lnTo>
                      <a:pt x="1185" y="1359"/>
                    </a:lnTo>
                    <a:lnTo>
                      <a:pt x="1183" y="1359"/>
                    </a:lnTo>
                    <a:lnTo>
                      <a:pt x="1185" y="1359"/>
                    </a:lnTo>
                    <a:lnTo>
                      <a:pt x="1185" y="1361"/>
                    </a:lnTo>
                    <a:lnTo>
                      <a:pt x="1185" y="1359"/>
                    </a:lnTo>
                    <a:lnTo>
                      <a:pt x="1186" y="1359"/>
                    </a:lnTo>
                    <a:lnTo>
                      <a:pt x="1186" y="1361"/>
                    </a:lnTo>
                    <a:lnTo>
                      <a:pt x="1188" y="1361"/>
                    </a:lnTo>
                    <a:lnTo>
                      <a:pt x="1188" y="1362"/>
                    </a:lnTo>
                    <a:lnTo>
                      <a:pt x="1186" y="1362"/>
                    </a:lnTo>
                    <a:lnTo>
                      <a:pt x="1186" y="1364"/>
                    </a:lnTo>
                    <a:lnTo>
                      <a:pt x="1185" y="1364"/>
                    </a:lnTo>
                    <a:lnTo>
                      <a:pt x="1186" y="1364"/>
                    </a:lnTo>
                    <a:lnTo>
                      <a:pt x="1188" y="1362"/>
                    </a:lnTo>
                    <a:lnTo>
                      <a:pt x="1188" y="1364"/>
                    </a:lnTo>
                    <a:lnTo>
                      <a:pt x="1188" y="1366"/>
                    </a:lnTo>
                    <a:lnTo>
                      <a:pt x="1190" y="1366"/>
                    </a:lnTo>
                    <a:lnTo>
                      <a:pt x="1190" y="1367"/>
                    </a:lnTo>
                    <a:lnTo>
                      <a:pt x="1191" y="1369"/>
                    </a:lnTo>
                    <a:lnTo>
                      <a:pt x="1191" y="1367"/>
                    </a:lnTo>
                    <a:lnTo>
                      <a:pt x="1193" y="1366"/>
                    </a:lnTo>
                    <a:lnTo>
                      <a:pt x="1193" y="1367"/>
                    </a:lnTo>
                    <a:lnTo>
                      <a:pt x="1193" y="1366"/>
                    </a:lnTo>
                    <a:lnTo>
                      <a:pt x="1195" y="1367"/>
                    </a:lnTo>
                    <a:lnTo>
                      <a:pt x="1196" y="1367"/>
                    </a:lnTo>
                    <a:lnTo>
                      <a:pt x="1196" y="1369"/>
                    </a:lnTo>
                    <a:lnTo>
                      <a:pt x="1198" y="1369"/>
                    </a:lnTo>
                    <a:lnTo>
                      <a:pt x="1196" y="1367"/>
                    </a:lnTo>
                    <a:lnTo>
                      <a:pt x="1195" y="1367"/>
                    </a:lnTo>
                    <a:lnTo>
                      <a:pt x="1195" y="1366"/>
                    </a:lnTo>
                    <a:lnTo>
                      <a:pt x="1196" y="1366"/>
                    </a:lnTo>
                    <a:lnTo>
                      <a:pt x="1195" y="1366"/>
                    </a:lnTo>
                    <a:lnTo>
                      <a:pt x="1195" y="1364"/>
                    </a:lnTo>
                    <a:lnTo>
                      <a:pt x="1193" y="1364"/>
                    </a:lnTo>
                    <a:lnTo>
                      <a:pt x="1193" y="1366"/>
                    </a:lnTo>
                    <a:lnTo>
                      <a:pt x="1191" y="1366"/>
                    </a:lnTo>
                    <a:lnTo>
                      <a:pt x="1191" y="1364"/>
                    </a:lnTo>
                    <a:lnTo>
                      <a:pt x="1190" y="1364"/>
                    </a:lnTo>
                    <a:lnTo>
                      <a:pt x="1190" y="1362"/>
                    </a:lnTo>
                    <a:lnTo>
                      <a:pt x="1190" y="1361"/>
                    </a:lnTo>
                    <a:lnTo>
                      <a:pt x="1188" y="1361"/>
                    </a:lnTo>
                    <a:lnTo>
                      <a:pt x="1188" y="1359"/>
                    </a:lnTo>
                    <a:lnTo>
                      <a:pt x="1186" y="1359"/>
                    </a:lnTo>
                    <a:lnTo>
                      <a:pt x="1186" y="1357"/>
                    </a:lnTo>
                    <a:lnTo>
                      <a:pt x="1186" y="1356"/>
                    </a:lnTo>
                    <a:lnTo>
                      <a:pt x="1185" y="1356"/>
                    </a:lnTo>
                    <a:lnTo>
                      <a:pt x="1185" y="1354"/>
                    </a:lnTo>
                    <a:lnTo>
                      <a:pt x="1185" y="1352"/>
                    </a:lnTo>
                    <a:lnTo>
                      <a:pt x="1186" y="1350"/>
                    </a:lnTo>
                    <a:lnTo>
                      <a:pt x="1186" y="1352"/>
                    </a:lnTo>
                    <a:lnTo>
                      <a:pt x="1186" y="1354"/>
                    </a:lnTo>
                    <a:lnTo>
                      <a:pt x="1186" y="1352"/>
                    </a:lnTo>
                    <a:lnTo>
                      <a:pt x="1188" y="1352"/>
                    </a:lnTo>
                    <a:lnTo>
                      <a:pt x="1190" y="1352"/>
                    </a:lnTo>
                    <a:lnTo>
                      <a:pt x="1190" y="1354"/>
                    </a:lnTo>
                    <a:lnTo>
                      <a:pt x="1191" y="1354"/>
                    </a:lnTo>
                    <a:lnTo>
                      <a:pt x="1193" y="1356"/>
                    </a:lnTo>
                    <a:lnTo>
                      <a:pt x="1193" y="1354"/>
                    </a:lnTo>
                    <a:lnTo>
                      <a:pt x="1195" y="1356"/>
                    </a:lnTo>
                    <a:lnTo>
                      <a:pt x="1195" y="1357"/>
                    </a:lnTo>
                    <a:lnTo>
                      <a:pt x="1195" y="1356"/>
                    </a:lnTo>
                    <a:lnTo>
                      <a:pt x="1195" y="1357"/>
                    </a:lnTo>
                    <a:lnTo>
                      <a:pt x="1196" y="1356"/>
                    </a:lnTo>
                    <a:lnTo>
                      <a:pt x="1196" y="1354"/>
                    </a:lnTo>
                    <a:lnTo>
                      <a:pt x="1196" y="1352"/>
                    </a:lnTo>
                    <a:lnTo>
                      <a:pt x="1198" y="1352"/>
                    </a:lnTo>
                    <a:lnTo>
                      <a:pt x="1198" y="1350"/>
                    </a:lnTo>
                    <a:lnTo>
                      <a:pt x="1200" y="1350"/>
                    </a:lnTo>
                    <a:lnTo>
                      <a:pt x="1202" y="1350"/>
                    </a:lnTo>
                    <a:lnTo>
                      <a:pt x="1200" y="1350"/>
                    </a:lnTo>
                    <a:lnTo>
                      <a:pt x="1200" y="1349"/>
                    </a:lnTo>
                    <a:lnTo>
                      <a:pt x="1200" y="1347"/>
                    </a:lnTo>
                    <a:lnTo>
                      <a:pt x="1202" y="1347"/>
                    </a:lnTo>
                    <a:lnTo>
                      <a:pt x="1202" y="1345"/>
                    </a:lnTo>
                    <a:lnTo>
                      <a:pt x="1203" y="1345"/>
                    </a:lnTo>
                    <a:lnTo>
                      <a:pt x="1202" y="1345"/>
                    </a:lnTo>
                    <a:lnTo>
                      <a:pt x="1202" y="1347"/>
                    </a:lnTo>
                    <a:lnTo>
                      <a:pt x="1200" y="1347"/>
                    </a:lnTo>
                    <a:lnTo>
                      <a:pt x="1200" y="1349"/>
                    </a:lnTo>
                    <a:lnTo>
                      <a:pt x="1200" y="1350"/>
                    </a:lnTo>
                    <a:lnTo>
                      <a:pt x="1198" y="1350"/>
                    </a:lnTo>
                    <a:lnTo>
                      <a:pt x="1196" y="1350"/>
                    </a:lnTo>
                    <a:lnTo>
                      <a:pt x="1196" y="1352"/>
                    </a:lnTo>
                    <a:lnTo>
                      <a:pt x="1195" y="1354"/>
                    </a:lnTo>
                    <a:lnTo>
                      <a:pt x="1193" y="1352"/>
                    </a:lnTo>
                    <a:lnTo>
                      <a:pt x="1191" y="1350"/>
                    </a:lnTo>
                    <a:lnTo>
                      <a:pt x="1191" y="1349"/>
                    </a:lnTo>
                    <a:lnTo>
                      <a:pt x="1190" y="1350"/>
                    </a:lnTo>
                    <a:lnTo>
                      <a:pt x="1190" y="1349"/>
                    </a:lnTo>
                    <a:lnTo>
                      <a:pt x="1190" y="1350"/>
                    </a:lnTo>
                    <a:lnTo>
                      <a:pt x="1188" y="1350"/>
                    </a:lnTo>
                    <a:lnTo>
                      <a:pt x="1190" y="1350"/>
                    </a:lnTo>
                    <a:lnTo>
                      <a:pt x="1188" y="1349"/>
                    </a:lnTo>
                    <a:lnTo>
                      <a:pt x="1186" y="1350"/>
                    </a:lnTo>
                    <a:lnTo>
                      <a:pt x="1186" y="1349"/>
                    </a:lnTo>
                    <a:lnTo>
                      <a:pt x="1185" y="1349"/>
                    </a:lnTo>
                    <a:lnTo>
                      <a:pt x="1186" y="1347"/>
                    </a:lnTo>
                    <a:lnTo>
                      <a:pt x="1185" y="1347"/>
                    </a:lnTo>
                    <a:lnTo>
                      <a:pt x="1185" y="1345"/>
                    </a:lnTo>
                    <a:lnTo>
                      <a:pt x="1185" y="1344"/>
                    </a:lnTo>
                    <a:lnTo>
                      <a:pt x="1186" y="1344"/>
                    </a:lnTo>
                    <a:lnTo>
                      <a:pt x="1188" y="1344"/>
                    </a:lnTo>
                    <a:lnTo>
                      <a:pt x="1188" y="1342"/>
                    </a:lnTo>
                    <a:lnTo>
                      <a:pt x="1190" y="1342"/>
                    </a:lnTo>
                    <a:lnTo>
                      <a:pt x="1191" y="1342"/>
                    </a:lnTo>
                    <a:lnTo>
                      <a:pt x="1193" y="1342"/>
                    </a:lnTo>
                    <a:lnTo>
                      <a:pt x="1195" y="1340"/>
                    </a:lnTo>
                    <a:lnTo>
                      <a:pt x="1195" y="1342"/>
                    </a:lnTo>
                    <a:lnTo>
                      <a:pt x="1195" y="1340"/>
                    </a:lnTo>
                    <a:lnTo>
                      <a:pt x="1193" y="1340"/>
                    </a:lnTo>
                    <a:lnTo>
                      <a:pt x="1191" y="1340"/>
                    </a:lnTo>
                    <a:lnTo>
                      <a:pt x="1190" y="1340"/>
                    </a:lnTo>
                    <a:lnTo>
                      <a:pt x="1188" y="1340"/>
                    </a:lnTo>
                    <a:lnTo>
                      <a:pt x="1188" y="1342"/>
                    </a:lnTo>
                    <a:lnTo>
                      <a:pt x="1186" y="1342"/>
                    </a:lnTo>
                    <a:lnTo>
                      <a:pt x="1186" y="1340"/>
                    </a:lnTo>
                    <a:lnTo>
                      <a:pt x="1186" y="1339"/>
                    </a:lnTo>
                    <a:lnTo>
                      <a:pt x="1186" y="1337"/>
                    </a:lnTo>
                    <a:lnTo>
                      <a:pt x="1186" y="1335"/>
                    </a:lnTo>
                    <a:lnTo>
                      <a:pt x="1188" y="1333"/>
                    </a:lnTo>
                    <a:lnTo>
                      <a:pt x="1188" y="1335"/>
                    </a:lnTo>
                    <a:lnTo>
                      <a:pt x="1188" y="1333"/>
                    </a:lnTo>
                    <a:lnTo>
                      <a:pt x="1190" y="1332"/>
                    </a:lnTo>
                    <a:lnTo>
                      <a:pt x="1191" y="1332"/>
                    </a:lnTo>
                    <a:lnTo>
                      <a:pt x="1191" y="1333"/>
                    </a:lnTo>
                    <a:lnTo>
                      <a:pt x="1191" y="1332"/>
                    </a:lnTo>
                    <a:lnTo>
                      <a:pt x="1193" y="1332"/>
                    </a:lnTo>
                    <a:lnTo>
                      <a:pt x="1193" y="1330"/>
                    </a:lnTo>
                    <a:lnTo>
                      <a:pt x="1195" y="1330"/>
                    </a:lnTo>
                    <a:lnTo>
                      <a:pt x="1196" y="1332"/>
                    </a:lnTo>
                    <a:lnTo>
                      <a:pt x="1196" y="1333"/>
                    </a:lnTo>
                    <a:lnTo>
                      <a:pt x="1196" y="1335"/>
                    </a:lnTo>
                    <a:lnTo>
                      <a:pt x="1195" y="1335"/>
                    </a:lnTo>
                    <a:lnTo>
                      <a:pt x="1195" y="1337"/>
                    </a:lnTo>
                    <a:lnTo>
                      <a:pt x="1196" y="1335"/>
                    </a:lnTo>
                    <a:lnTo>
                      <a:pt x="1196" y="1333"/>
                    </a:lnTo>
                    <a:lnTo>
                      <a:pt x="1198" y="1332"/>
                    </a:lnTo>
                    <a:lnTo>
                      <a:pt x="1200" y="1332"/>
                    </a:lnTo>
                    <a:lnTo>
                      <a:pt x="1200" y="1333"/>
                    </a:lnTo>
                    <a:lnTo>
                      <a:pt x="1200" y="1335"/>
                    </a:lnTo>
                    <a:lnTo>
                      <a:pt x="1202" y="1335"/>
                    </a:lnTo>
                    <a:lnTo>
                      <a:pt x="1202" y="1337"/>
                    </a:lnTo>
                    <a:lnTo>
                      <a:pt x="1203" y="1337"/>
                    </a:lnTo>
                    <a:lnTo>
                      <a:pt x="1203" y="1339"/>
                    </a:lnTo>
                    <a:lnTo>
                      <a:pt x="1203" y="1340"/>
                    </a:lnTo>
                    <a:lnTo>
                      <a:pt x="1203" y="1339"/>
                    </a:lnTo>
                    <a:lnTo>
                      <a:pt x="1205" y="1339"/>
                    </a:lnTo>
                    <a:lnTo>
                      <a:pt x="1203" y="1339"/>
                    </a:lnTo>
                    <a:lnTo>
                      <a:pt x="1203" y="1337"/>
                    </a:lnTo>
                    <a:lnTo>
                      <a:pt x="1205" y="1337"/>
                    </a:lnTo>
                    <a:lnTo>
                      <a:pt x="1205" y="1339"/>
                    </a:lnTo>
                    <a:lnTo>
                      <a:pt x="1205" y="1340"/>
                    </a:lnTo>
                    <a:lnTo>
                      <a:pt x="1207" y="1340"/>
                    </a:lnTo>
                    <a:lnTo>
                      <a:pt x="1207" y="1342"/>
                    </a:lnTo>
                    <a:lnTo>
                      <a:pt x="1207" y="1340"/>
                    </a:lnTo>
                    <a:lnTo>
                      <a:pt x="1208" y="1340"/>
                    </a:lnTo>
                    <a:lnTo>
                      <a:pt x="1207" y="1340"/>
                    </a:lnTo>
                    <a:lnTo>
                      <a:pt x="1207" y="1339"/>
                    </a:lnTo>
                    <a:lnTo>
                      <a:pt x="1205" y="1339"/>
                    </a:lnTo>
                    <a:lnTo>
                      <a:pt x="1205" y="1337"/>
                    </a:lnTo>
                    <a:lnTo>
                      <a:pt x="1203" y="1335"/>
                    </a:lnTo>
                    <a:lnTo>
                      <a:pt x="1202" y="1335"/>
                    </a:lnTo>
                    <a:lnTo>
                      <a:pt x="1202" y="1333"/>
                    </a:lnTo>
                    <a:lnTo>
                      <a:pt x="1202" y="1332"/>
                    </a:lnTo>
                    <a:lnTo>
                      <a:pt x="1202" y="1330"/>
                    </a:lnTo>
                    <a:lnTo>
                      <a:pt x="1200" y="1330"/>
                    </a:lnTo>
                    <a:lnTo>
                      <a:pt x="1198" y="1330"/>
                    </a:lnTo>
                    <a:lnTo>
                      <a:pt x="1196" y="1330"/>
                    </a:lnTo>
                    <a:lnTo>
                      <a:pt x="1195" y="1328"/>
                    </a:lnTo>
                    <a:lnTo>
                      <a:pt x="1195" y="1330"/>
                    </a:lnTo>
                    <a:lnTo>
                      <a:pt x="1193" y="1328"/>
                    </a:lnTo>
                    <a:lnTo>
                      <a:pt x="1193" y="1327"/>
                    </a:lnTo>
                    <a:lnTo>
                      <a:pt x="1195" y="1327"/>
                    </a:lnTo>
                    <a:lnTo>
                      <a:pt x="1195" y="1325"/>
                    </a:lnTo>
                    <a:lnTo>
                      <a:pt x="1193" y="1325"/>
                    </a:lnTo>
                    <a:lnTo>
                      <a:pt x="1193" y="1323"/>
                    </a:lnTo>
                    <a:lnTo>
                      <a:pt x="1195" y="1323"/>
                    </a:lnTo>
                    <a:lnTo>
                      <a:pt x="1195" y="1322"/>
                    </a:lnTo>
                    <a:lnTo>
                      <a:pt x="1195" y="1320"/>
                    </a:lnTo>
                    <a:lnTo>
                      <a:pt x="1195" y="1318"/>
                    </a:lnTo>
                    <a:lnTo>
                      <a:pt x="1195" y="1316"/>
                    </a:lnTo>
                    <a:lnTo>
                      <a:pt x="1196" y="1316"/>
                    </a:lnTo>
                    <a:lnTo>
                      <a:pt x="1198" y="1316"/>
                    </a:lnTo>
                    <a:lnTo>
                      <a:pt x="1198" y="1318"/>
                    </a:lnTo>
                    <a:lnTo>
                      <a:pt x="1198" y="1320"/>
                    </a:lnTo>
                    <a:lnTo>
                      <a:pt x="1200" y="1320"/>
                    </a:lnTo>
                    <a:lnTo>
                      <a:pt x="1202" y="1320"/>
                    </a:lnTo>
                    <a:lnTo>
                      <a:pt x="1203" y="1320"/>
                    </a:lnTo>
                    <a:lnTo>
                      <a:pt x="1203" y="1322"/>
                    </a:lnTo>
                    <a:lnTo>
                      <a:pt x="1203" y="1323"/>
                    </a:lnTo>
                    <a:lnTo>
                      <a:pt x="1205" y="1323"/>
                    </a:lnTo>
                    <a:lnTo>
                      <a:pt x="1203" y="1323"/>
                    </a:lnTo>
                    <a:lnTo>
                      <a:pt x="1203" y="1322"/>
                    </a:lnTo>
                    <a:lnTo>
                      <a:pt x="1203" y="1320"/>
                    </a:lnTo>
                    <a:lnTo>
                      <a:pt x="1203" y="1322"/>
                    </a:lnTo>
                    <a:lnTo>
                      <a:pt x="1203" y="1320"/>
                    </a:lnTo>
                    <a:lnTo>
                      <a:pt x="1202" y="1320"/>
                    </a:lnTo>
                    <a:lnTo>
                      <a:pt x="1200" y="1320"/>
                    </a:lnTo>
                    <a:lnTo>
                      <a:pt x="1200" y="1318"/>
                    </a:lnTo>
                    <a:lnTo>
                      <a:pt x="1200" y="1316"/>
                    </a:lnTo>
                    <a:lnTo>
                      <a:pt x="1198" y="1316"/>
                    </a:lnTo>
                    <a:lnTo>
                      <a:pt x="1200" y="1318"/>
                    </a:lnTo>
                    <a:lnTo>
                      <a:pt x="1198" y="1318"/>
                    </a:lnTo>
                    <a:lnTo>
                      <a:pt x="1198" y="1316"/>
                    </a:lnTo>
                    <a:lnTo>
                      <a:pt x="1198" y="1315"/>
                    </a:lnTo>
                    <a:lnTo>
                      <a:pt x="1196" y="1315"/>
                    </a:lnTo>
                    <a:lnTo>
                      <a:pt x="1196" y="1313"/>
                    </a:lnTo>
                    <a:lnTo>
                      <a:pt x="1195" y="1313"/>
                    </a:lnTo>
                    <a:lnTo>
                      <a:pt x="1195" y="1315"/>
                    </a:lnTo>
                    <a:lnTo>
                      <a:pt x="1193" y="1315"/>
                    </a:lnTo>
                    <a:lnTo>
                      <a:pt x="1193" y="1313"/>
                    </a:lnTo>
                    <a:lnTo>
                      <a:pt x="1191" y="1313"/>
                    </a:lnTo>
                    <a:lnTo>
                      <a:pt x="1193" y="1315"/>
                    </a:lnTo>
                    <a:lnTo>
                      <a:pt x="1193" y="1316"/>
                    </a:lnTo>
                    <a:lnTo>
                      <a:pt x="1193" y="1318"/>
                    </a:lnTo>
                    <a:lnTo>
                      <a:pt x="1193" y="1320"/>
                    </a:lnTo>
                    <a:lnTo>
                      <a:pt x="1193" y="1322"/>
                    </a:lnTo>
                    <a:lnTo>
                      <a:pt x="1191" y="1322"/>
                    </a:lnTo>
                    <a:lnTo>
                      <a:pt x="1191" y="1323"/>
                    </a:lnTo>
                    <a:lnTo>
                      <a:pt x="1191" y="1325"/>
                    </a:lnTo>
                    <a:lnTo>
                      <a:pt x="1191" y="1327"/>
                    </a:lnTo>
                    <a:lnTo>
                      <a:pt x="1191" y="1328"/>
                    </a:lnTo>
                    <a:lnTo>
                      <a:pt x="1191" y="1330"/>
                    </a:lnTo>
                    <a:lnTo>
                      <a:pt x="1190" y="1330"/>
                    </a:lnTo>
                    <a:lnTo>
                      <a:pt x="1188" y="1330"/>
                    </a:lnTo>
                    <a:lnTo>
                      <a:pt x="1188" y="1328"/>
                    </a:lnTo>
                    <a:lnTo>
                      <a:pt x="1186" y="1327"/>
                    </a:lnTo>
                    <a:lnTo>
                      <a:pt x="1186" y="1325"/>
                    </a:lnTo>
                    <a:lnTo>
                      <a:pt x="1186" y="1323"/>
                    </a:lnTo>
                    <a:lnTo>
                      <a:pt x="1186" y="1325"/>
                    </a:lnTo>
                    <a:lnTo>
                      <a:pt x="1185" y="1325"/>
                    </a:lnTo>
                    <a:lnTo>
                      <a:pt x="1185" y="1323"/>
                    </a:lnTo>
                    <a:lnTo>
                      <a:pt x="1183" y="1323"/>
                    </a:lnTo>
                    <a:lnTo>
                      <a:pt x="1183" y="1322"/>
                    </a:lnTo>
                    <a:lnTo>
                      <a:pt x="1183" y="1323"/>
                    </a:lnTo>
                    <a:lnTo>
                      <a:pt x="1183" y="1322"/>
                    </a:lnTo>
                    <a:lnTo>
                      <a:pt x="1183" y="1320"/>
                    </a:lnTo>
                    <a:lnTo>
                      <a:pt x="1185" y="1320"/>
                    </a:lnTo>
                    <a:lnTo>
                      <a:pt x="1185" y="1318"/>
                    </a:lnTo>
                    <a:lnTo>
                      <a:pt x="1185" y="1316"/>
                    </a:lnTo>
                    <a:lnTo>
                      <a:pt x="1185" y="1315"/>
                    </a:lnTo>
                    <a:lnTo>
                      <a:pt x="1185" y="1313"/>
                    </a:lnTo>
                    <a:lnTo>
                      <a:pt x="1185" y="1311"/>
                    </a:lnTo>
                    <a:lnTo>
                      <a:pt x="1186" y="1311"/>
                    </a:lnTo>
                    <a:lnTo>
                      <a:pt x="1185" y="1311"/>
                    </a:lnTo>
                    <a:lnTo>
                      <a:pt x="1185" y="1310"/>
                    </a:lnTo>
                    <a:lnTo>
                      <a:pt x="1185" y="1308"/>
                    </a:lnTo>
                    <a:lnTo>
                      <a:pt x="1185" y="1306"/>
                    </a:lnTo>
                    <a:lnTo>
                      <a:pt x="1185" y="1305"/>
                    </a:lnTo>
                    <a:lnTo>
                      <a:pt x="1183" y="1306"/>
                    </a:lnTo>
                    <a:lnTo>
                      <a:pt x="1183" y="1308"/>
                    </a:lnTo>
                    <a:lnTo>
                      <a:pt x="1183" y="1306"/>
                    </a:lnTo>
                    <a:lnTo>
                      <a:pt x="1183" y="1305"/>
                    </a:lnTo>
                    <a:lnTo>
                      <a:pt x="1181" y="1303"/>
                    </a:lnTo>
                    <a:lnTo>
                      <a:pt x="1183" y="1303"/>
                    </a:lnTo>
                    <a:lnTo>
                      <a:pt x="1183" y="1301"/>
                    </a:lnTo>
                    <a:lnTo>
                      <a:pt x="1183" y="1303"/>
                    </a:lnTo>
                    <a:lnTo>
                      <a:pt x="1185" y="1301"/>
                    </a:lnTo>
                    <a:lnTo>
                      <a:pt x="1185" y="1299"/>
                    </a:lnTo>
                    <a:lnTo>
                      <a:pt x="1183" y="1299"/>
                    </a:lnTo>
                    <a:lnTo>
                      <a:pt x="1183" y="1298"/>
                    </a:lnTo>
                    <a:lnTo>
                      <a:pt x="1185" y="1299"/>
                    </a:lnTo>
                    <a:lnTo>
                      <a:pt x="1185" y="1298"/>
                    </a:lnTo>
                    <a:lnTo>
                      <a:pt x="1186" y="1299"/>
                    </a:lnTo>
                    <a:lnTo>
                      <a:pt x="1185" y="1298"/>
                    </a:lnTo>
                    <a:lnTo>
                      <a:pt x="1183" y="1298"/>
                    </a:lnTo>
                    <a:lnTo>
                      <a:pt x="1183" y="1296"/>
                    </a:lnTo>
                    <a:lnTo>
                      <a:pt x="1185" y="1296"/>
                    </a:lnTo>
                    <a:lnTo>
                      <a:pt x="1183" y="1296"/>
                    </a:lnTo>
                    <a:lnTo>
                      <a:pt x="1183" y="1294"/>
                    </a:lnTo>
                    <a:lnTo>
                      <a:pt x="1183" y="1293"/>
                    </a:lnTo>
                    <a:lnTo>
                      <a:pt x="1183" y="1291"/>
                    </a:lnTo>
                    <a:lnTo>
                      <a:pt x="1185" y="1291"/>
                    </a:lnTo>
                    <a:lnTo>
                      <a:pt x="1185" y="1289"/>
                    </a:lnTo>
                    <a:lnTo>
                      <a:pt x="1185" y="1288"/>
                    </a:lnTo>
                    <a:lnTo>
                      <a:pt x="1186" y="1288"/>
                    </a:lnTo>
                    <a:lnTo>
                      <a:pt x="1186" y="1289"/>
                    </a:lnTo>
                    <a:lnTo>
                      <a:pt x="1186" y="1288"/>
                    </a:lnTo>
                    <a:lnTo>
                      <a:pt x="1186" y="1289"/>
                    </a:lnTo>
                    <a:lnTo>
                      <a:pt x="1188" y="1289"/>
                    </a:lnTo>
                    <a:lnTo>
                      <a:pt x="1190" y="1289"/>
                    </a:lnTo>
                    <a:lnTo>
                      <a:pt x="1190" y="1288"/>
                    </a:lnTo>
                    <a:lnTo>
                      <a:pt x="1191" y="1288"/>
                    </a:lnTo>
                    <a:lnTo>
                      <a:pt x="1193" y="1288"/>
                    </a:lnTo>
                    <a:lnTo>
                      <a:pt x="1195" y="1289"/>
                    </a:lnTo>
                    <a:lnTo>
                      <a:pt x="1196" y="1288"/>
                    </a:lnTo>
                    <a:lnTo>
                      <a:pt x="1196" y="1289"/>
                    </a:lnTo>
                    <a:lnTo>
                      <a:pt x="1198" y="1288"/>
                    </a:lnTo>
                    <a:lnTo>
                      <a:pt x="1196" y="1288"/>
                    </a:lnTo>
                    <a:lnTo>
                      <a:pt x="1195" y="1288"/>
                    </a:lnTo>
                    <a:lnTo>
                      <a:pt x="1193" y="1288"/>
                    </a:lnTo>
                    <a:lnTo>
                      <a:pt x="1191" y="1286"/>
                    </a:lnTo>
                    <a:lnTo>
                      <a:pt x="1190" y="1288"/>
                    </a:lnTo>
                    <a:lnTo>
                      <a:pt x="1188" y="1288"/>
                    </a:lnTo>
                    <a:lnTo>
                      <a:pt x="1186" y="1288"/>
                    </a:lnTo>
                    <a:lnTo>
                      <a:pt x="1188" y="1286"/>
                    </a:lnTo>
                    <a:lnTo>
                      <a:pt x="1190" y="1286"/>
                    </a:lnTo>
                    <a:lnTo>
                      <a:pt x="1190" y="1284"/>
                    </a:lnTo>
                    <a:lnTo>
                      <a:pt x="1190" y="1286"/>
                    </a:lnTo>
                    <a:lnTo>
                      <a:pt x="1188" y="1286"/>
                    </a:lnTo>
                    <a:lnTo>
                      <a:pt x="1188" y="1284"/>
                    </a:lnTo>
                    <a:lnTo>
                      <a:pt x="1188" y="1286"/>
                    </a:lnTo>
                    <a:lnTo>
                      <a:pt x="1186" y="1286"/>
                    </a:lnTo>
                    <a:lnTo>
                      <a:pt x="1186" y="1284"/>
                    </a:lnTo>
                    <a:lnTo>
                      <a:pt x="1185" y="1286"/>
                    </a:lnTo>
                    <a:lnTo>
                      <a:pt x="1185" y="1284"/>
                    </a:lnTo>
                    <a:lnTo>
                      <a:pt x="1186" y="1284"/>
                    </a:lnTo>
                    <a:lnTo>
                      <a:pt x="1185" y="1282"/>
                    </a:lnTo>
                    <a:lnTo>
                      <a:pt x="1185" y="1281"/>
                    </a:lnTo>
                    <a:lnTo>
                      <a:pt x="1186" y="1281"/>
                    </a:lnTo>
                    <a:lnTo>
                      <a:pt x="1186" y="1279"/>
                    </a:lnTo>
                    <a:lnTo>
                      <a:pt x="1188" y="1279"/>
                    </a:lnTo>
                    <a:lnTo>
                      <a:pt x="1188" y="1277"/>
                    </a:lnTo>
                    <a:lnTo>
                      <a:pt x="1190" y="1279"/>
                    </a:lnTo>
                    <a:lnTo>
                      <a:pt x="1188" y="1277"/>
                    </a:lnTo>
                    <a:lnTo>
                      <a:pt x="1190" y="1277"/>
                    </a:lnTo>
                    <a:lnTo>
                      <a:pt x="1190" y="1276"/>
                    </a:lnTo>
                    <a:lnTo>
                      <a:pt x="1191" y="1276"/>
                    </a:lnTo>
                    <a:lnTo>
                      <a:pt x="1193" y="1276"/>
                    </a:lnTo>
                    <a:lnTo>
                      <a:pt x="1193" y="1277"/>
                    </a:lnTo>
                    <a:lnTo>
                      <a:pt x="1195" y="1277"/>
                    </a:lnTo>
                    <a:lnTo>
                      <a:pt x="1195" y="1279"/>
                    </a:lnTo>
                    <a:lnTo>
                      <a:pt x="1196" y="1279"/>
                    </a:lnTo>
                    <a:lnTo>
                      <a:pt x="1198" y="1281"/>
                    </a:lnTo>
                    <a:lnTo>
                      <a:pt x="1200" y="1282"/>
                    </a:lnTo>
                    <a:lnTo>
                      <a:pt x="1200" y="1281"/>
                    </a:lnTo>
                    <a:lnTo>
                      <a:pt x="1200" y="1279"/>
                    </a:lnTo>
                    <a:lnTo>
                      <a:pt x="1198" y="1279"/>
                    </a:lnTo>
                    <a:lnTo>
                      <a:pt x="1196" y="1279"/>
                    </a:lnTo>
                    <a:lnTo>
                      <a:pt x="1196" y="1277"/>
                    </a:lnTo>
                    <a:lnTo>
                      <a:pt x="1196" y="1276"/>
                    </a:lnTo>
                    <a:lnTo>
                      <a:pt x="1196" y="1274"/>
                    </a:lnTo>
                    <a:lnTo>
                      <a:pt x="1198" y="1272"/>
                    </a:lnTo>
                    <a:lnTo>
                      <a:pt x="1200" y="1274"/>
                    </a:lnTo>
                    <a:lnTo>
                      <a:pt x="1200" y="1272"/>
                    </a:lnTo>
                    <a:lnTo>
                      <a:pt x="1202" y="1272"/>
                    </a:lnTo>
                    <a:lnTo>
                      <a:pt x="1200" y="1272"/>
                    </a:lnTo>
                    <a:lnTo>
                      <a:pt x="1198" y="1272"/>
                    </a:lnTo>
                    <a:lnTo>
                      <a:pt x="1196" y="1272"/>
                    </a:lnTo>
                    <a:lnTo>
                      <a:pt x="1196" y="1270"/>
                    </a:lnTo>
                    <a:lnTo>
                      <a:pt x="1195" y="1270"/>
                    </a:lnTo>
                    <a:lnTo>
                      <a:pt x="1193" y="1270"/>
                    </a:lnTo>
                    <a:lnTo>
                      <a:pt x="1193" y="1269"/>
                    </a:lnTo>
                    <a:lnTo>
                      <a:pt x="1191" y="1269"/>
                    </a:lnTo>
                    <a:lnTo>
                      <a:pt x="1190" y="1269"/>
                    </a:lnTo>
                    <a:lnTo>
                      <a:pt x="1191" y="1267"/>
                    </a:lnTo>
                    <a:lnTo>
                      <a:pt x="1193" y="1267"/>
                    </a:lnTo>
                    <a:lnTo>
                      <a:pt x="1195" y="1267"/>
                    </a:lnTo>
                    <a:lnTo>
                      <a:pt x="1196" y="1267"/>
                    </a:lnTo>
                    <a:lnTo>
                      <a:pt x="1198" y="1267"/>
                    </a:lnTo>
                    <a:lnTo>
                      <a:pt x="1200" y="1267"/>
                    </a:lnTo>
                    <a:lnTo>
                      <a:pt x="1198" y="1267"/>
                    </a:lnTo>
                    <a:lnTo>
                      <a:pt x="1196" y="1267"/>
                    </a:lnTo>
                    <a:lnTo>
                      <a:pt x="1195" y="1267"/>
                    </a:lnTo>
                    <a:lnTo>
                      <a:pt x="1193" y="1267"/>
                    </a:lnTo>
                    <a:lnTo>
                      <a:pt x="1191" y="1267"/>
                    </a:lnTo>
                    <a:lnTo>
                      <a:pt x="1190" y="1267"/>
                    </a:lnTo>
                    <a:lnTo>
                      <a:pt x="1190" y="1269"/>
                    </a:lnTo>
                    <a:lnTo>
                      <a:pt x="1188" y="1269"/>
                    </a:lnTo>
                    <a:lnTo>
                      <a:pt x="1188" y="1267"/>
                    </a:lnTo>
                    <a:lnTo>
                      <a:pt x="1190" y="1267"/>
                    </a:lnTo>
                    <a:lnTo>
                      <a:pt x="1190" y="1265"/>
                    </a:lnTo>
                    <a:lnTo>
                      <a:pt x="1188" y="1264"/>
                    </a:lnTo>
                    <a:lnTo>
                      <a:pt x="1188" y="1265"/>
                    </a:lnTo>
                    <a:lnTo>
                      <a:pt x="1188" y="1264"/>
                    </a:lnTo>
                    <a:lnTo>
                      <a:pt x="1188" y="1262"/>
                    </a:lnTo>
                    <a:lnTo>
                      <a:pt x="1186" y="1262"/>
                    </a:lnTo>
                    <a:lnTo>
                      <a:pt x="1185" y="1262"/>
                    </a:lnTo>
                    <a:lnTo>
                      <a:pt x="1185" y="1260"/>
                    </a:lnTo>
                    <a:lnTo>
                      <a:pt x="1183" y="1260"/>
                    </a:lnTo>
                    <a:lnTo>
                      <a:pt x="1183" y="1259"/>
                    </a:lnTo>
                    <a:lnTo>
                      <a:pt x="1181" y="1259"/>
                    </a:lnTo>
                    <a:lnTo>
                      <a:pt x="1181" y="1257"/>
                    </a:lnTo>
                    <a:lnTo>
                      <a:pt x="1181" y="1255"/>
                    </a:lnTo>
                    <a:lnTo>
                      <a:pt x="1183" y="1255"/>
                    </a:lnTo>
                    <a:lnTo>
                      <a:pt x="1183" y="1253"/>
                    </a:lnTo>
                    <a:lnTo>
                      <a:pt x="1183" y="1255"/>
                    </a:lnTo>
                    <a:lnTo>
                      <a:pt x="1183" y="1253"/>
                    </a:lnTo>
                    <a:lnTo>
                      <a:pt x="1183" y="1252"/>
                    </a:lnTo>
                    <a:lnTo>
                      <a:pt x="1185" y="1252"/>
                    </a:lnTo>
                    <a:lnTo>
                      <a:pt x="1183" y="1252"/>
                    </a:lnTo>
                    <a:lnTo>
                      <a:pt x="1183" y="1253"/>
                    </a:lnTo>
                    <a:lnTo>
                      <a:pt x="1181" y="1253"/>
                    </a:lnTo>
                    <a:lnTo>
                      <a:pt x="1181" y="1255"/>
                    </a:lnTo>
                    <a:lnTo>
                      <a:pt x="1179" y="1255"/>
                    </a:lnTo>
                    <a:lnTo>
                      <a:pt x="1181" y="1255"/>
                    </a:lnTo>
                    <a:lnTo>
                      <a:pt x="1181" y="1253"/>
                    </a:lnTo>
                    <a:lnTo>
                      <a:pt x="1181" y="1255"/>
                    </a:lnTo>
                    <a:lnTo>
                      <a:pt x="1179" y="1255"/>
                    </a:lnTo>
                    <a:lnTo>
                      <a:pt x="1178" y="1257"/>
                    </a:lnTo>
                    <a:lnTo>
                      <a:pt x="1178" y="1255"/>
                    </a:lnTo>
                    <a:lnTo>
                      <a:pt x="1176" y="1255"/>
                    </a:lnTo>
                    <a:lnTo>
                      <a:pt x="1176" y="1253"/>
                    </a:lnTo>
                    <a:lnTo>
                      <a:pt x="1176" y="1255"/>
                    </a:lnTo>
                    <a:lnTo>
                      <a:pt x="1176" y="1253"/>
                    </a:lnTo>
                    <a:lnTo>
                      <a:pt x="1176" y="1252"/>
                    </a:lnTo>
                    <a:lnTo>
                      <a:pt x="1176" y="1250"/>
                    </a:lnTo>
                    <a:lnTo>
                      <a:pt x="1178" y="1250"/>
                    </a:lnTo>
                    <a:lnTo>
                      <a:pt x="1179" y="1248"/>
                    </a:lnTo>
                    <a:lnTo>
                      <a:pt x="1181" y="1248"/>
                    </a:lnTo>
                    <a:lnTo>
                      <a:pt x="1183" y="1250"/>
                    </a:lnTo>
                    <a:lnTo>
                      <a:pt x="1185" y="1250"/>
                    </a:lnTo>
                    <a:lnTo>
                      <a:pt x="1186" y="1252"/>
                    </a:lnTo>
                    <a:lnTo>
                      <a:pt x="1186" y="1253"/>
                    </a:lnTo>
                    <a:lnTo>
                      <a:pt x="1186" y="1252"/>
                    </a:lnTo>
                    <a:lnTo>
                      <a:pt x="1186" y="1253"/>
                    </a:lnTo>
                    <a:lnTo>
                      <a:pt x="1188" y="1255"/>
                    </a:lnTo>
                    <a:lnTo>
                      <a:pt x="1188" y="1257"/>
                    </a:lnTo>
                    <a:lnTo>
                      <a:pt x="1190" y="1259"/>
                    </a:lnTo>
                    <a:lnTo>
                      <a:pt x="1190" y="1260"/>
                    </a:lnTo>
                    <a:lnTo>
                      <a:pt x="1190" y="1262"/>
                    </a:lnTo>
                    <a:lnTo>
                      <a:pt x="1188" y="1262"/>
                    </a:lnTo>
                    <a:lnTo>
                      <a:pt x="1190" y="1262"/>
                    </a:lnTo>
                    <a:lnTo>
                      <a:pt x="1188" y="1264"/>
                    </a:lnTo>
                    <a:lnTo>
                      <a:pt x="1190" y="1264"/>
                    </a:lnTo>
                    <a:lnTo>
                      <a:pt x="1190" y="1262"/>
                    </a:lnTo>
                    <a:lnTo>
                      <a:pt x="1190" y="1260"/>
                    </a:lnTo>
                    <a:lnTo>
                      <a:pt x="1191" y="1262"/>
                    </a:lnTo>
                    <a:lnTo>
                      <a:pt x="1191" y="1264"/>
                    </a:lnTo>
                    <a:lnTo>
                      <a:pt x="1193" y="1262"/>
                    </a:lnTo>
                    <a:lnTo>
                      <a:pt x="1195" y="1262"/>
                    </a:lnTo>
                    <a:lnTo>
                      <a:pt x="1193" y="1262"/>
                    </a:lnTo>
                    <a:lnTo>
                      <a:pt x="1191" y="1264"/>
                    </a:lnTo>
                    <a:lnTo>
                      <a:pt x="1191" y="1262"/>
                    </a:lnTo>
                    <a:lnTo>
                      <a:pt x="1191" y="1260"/>
                    </a:lnTo>
                    <a:lnTo>
                      <a:pt x="1190" y="1260"/>
                    </a:lnTo>
                    <a:lnTo>
                      <a:pt x="1190" y="1259"/>
                    </a:lnTo>
                    <a:lnTo>
                      <a:pt x="1191" y="1259"/>
                    </a:lnTo>
                    <a:lnTo>
                      <a:pt x="1190" y="1259"/>
                    </a:lnTo>
                    <a:lnTo>
                      <a:pt x="1190" y="1257"/>
                    </a:lnTo>
                    <a:lnTo>
                      <a:pt x="1188" y="1255"/>
                    </a:lnTo>
                    <a:lnTo>
                      <a:pt x="1188" y="1253"/>
                    </a:lnTo>
                    <a:lnTo>
                      <a:pt x="1188" y="1252"/>
                    </a:lnTo>
                    <a:lnTo>
                      <a:pt x="1190" y="1252"/>
                    </a:lnTo>
                    <a:lnTo>
                      <a:pt x="1190" y="1250"/>
                    </a:lnTo>
                    <a:lnTo>
                      <a:pt x="1191" y="1250"/>
                    </a:lnTo>
                    <a:lnTo>
                      <a:pt x="1191" y="1252"/>
                    </a:lnTo>
                    <a:lnTo>
                      <a:pt x="1191" y="1253"/>
                    </a:lnTo>
                    <a:lnTo>
                      <a:pt x="1193" y="1253"/>
                    </a:lnTo>
                    <a:lnTo>
                      <a:pt x="1193" y="1255"/>
                    </a:lnTo>
                    <a:lnTo>
                      <a:pt x="1191" y="1253"/>
                    </a:lnTo>
                    <a:lnTo>
                      <a:pt x="1191" y="1252"/>
                    </a:lnTo>
                    <a:lnTo>
                      <a:pt x="1191" y="1250"/>
                    </a:lnTo>
                    <a:lnTo>
                      <a:pt x="1193" y="1250"/>
                    </a:lnTo>
                    <a:lnTo>
                      <a:pt x="1193" y="1252"/>
                    </a:lnTo>
                    <a:lnTo>
                      <a:pt x="1193" y="1250"/>
                    </a:lnTo>
                    <a:lnTo>
                      <a:pt x="1195" y="1250"/>
                    </a:lnTo>
                    <a:lnTo>
                      <a:pt x="1196" y="1250"/>
                    </a:lnTo>
                    <a:lnTo>
                      <a:pt x="1196" y="1252"/>
                    </a:lnTo>
                    <a:lnTo>
                      <a:pt x="1195" y="1252"/>
                    </a:lnTo>
                    <a:lnTo>
                      <a:pt x="1196" y="1252"/>
                    </a:lnTo>
                    <a:lnTo>
                      <a:pt x="1196" y="1253"/>
                    </a:lnTo>
                    <a:lnTo>
                      <a:pt x="1196" y="1252"/>
                    </a:lnTo>
                    <a:lnTo>
                      <a:pt x="1198" y="1252"/>
                    </a:lnTo>
                    <a:lnTo>
                      <a:pt x="1198" y="1253"/>
                    </a:lnTo>
                    <a:lnTo>
                      <a:pt x="1200" y="1253"/>
                    </a:lnTo>
                    <a:lnTo>
                      <a:pt x="1202" y="1252"/>
                    </a:lnTo>
                    <a:lnTo>
                      <a:pt x="1202" y="1253"/>
                    </a:lnTo>
                    <a:lnTo>
                      <a:pt x="1202" y="1252"/>
                    </a:lnTo>
                    <a:lnTo>
                      <a:pt x="1202" y="1253"/>
                    </a:lnTo>
                    <a:lnTo>
                      <a:pt x="1203" y="1253"/>
                    </a:lnTo>
                    <a:lnTo>
                      <a:pt x="1203" y="1255"/>
                    </a:lnTo>
                    <a:lnTo>
                      <a:pt x="1202" y="1255"/>
                    </a:lnTo>
                    <a:lnTo>
                      <a:pt x="1203" y="1257"/>
                    </a:lnTo>
                    <a:lnTo>
                      <a:pt x="1202" y="1257"/>
                    </a:lnTo>
                    <a:lnTo>
                      <a:pt x="1203" y="1257"/>
                    </a:lnTo>
                    <a:lnTo>
                      <a:pt x="1203" y="1255"/>
                    </a:lnTo>
                    <a:lnTo>
                      <a:pt x="1203" y="1253"/>
                    </a:lnTo>
                    <a:lnTo>
                      <a:pt x="1205" y="1253"/>
                    </a:lnTo>
                    <a:lnTo>
                      <a:pt x="1207" y="1253"/>
                    </a:lnTo>
                    <a:lnTo>
                      <a:pt x="1207" y="1255"/>
                    </a:lnTo>
                    <a:lnTo>
                      <a:pt x="1205" y="1255"/>
                    </a:lnTo>
                    <a:lnTo>
                      <a:pt x="1205" y="1257"/>
                    </a:lnTo>
                    <a:lnTo>
                      <a:pt x="1205" y="1259"/>
                    </a:lnTo>
                    <a:lnTo>
                      <a:pt x="1205" y="1257"/>
                    </a:lnTo>
                    <a:lnTo>
                      <a:pt x="1207" y="1255"/>
                    </a:lnTo>
                    <a:lnTo>
                      <a:pt x="1208" y="1257"/>
                    </a:lnTo>
                    <a:lnTo>
                      <a:pt x="1210" y="1257"/>
                    </a:lnTo>
                    <a:lnTo>
                      <a:pt x="1210" y="1259"/>
                    </a:lnTo>
                    <a:lnTo>
                      <a:pt x="1210" y="1257"/>
                    </a:lnTo>
                    <a:lnTo>
                      <a:pt x="1212" y="1259"/>
                    </a:lnTo>
                    <a:lnTo>
                      <a:pt x="1212" y="1260"/>
                    </a:lnTo>
                    <a:lnTo>
                      <a:pt x="1212" y="1262"/>
                    </a:lnTo>
                    <a:lnTo>
                      <a:pt x="1210" y="1262"/>
                    </a:lnTo>
                    <a:lnTo>
                      <a:pt x="1210" y="1264"/>
                    </a:lnTo>
                    <a:lnTo>
                      <a:pt x="1212" y="1262"/>
                    </a:lnTo>
                    <a:lnTo>
                      <a:pt x="1212" y="1260"/>
                    </a:lnTo>
                    <a:lnTo>
                      <a:pt x="1212" y="1262"/>
                    </a:lnTo>
                    <a:lnTo>
                      <a:pt x="1212" y="1264"/>
                    </a:lnTo>
                    <a:lnTo>
                      <a:pt x="1213" y="1264"/>
                    </a:lnTo>
                    <a:lnTo>
                      <a:pt x="1215" y="1264"/>
                    </a:lnTo>
                    <a:lnTo>
                      <a:pt x="1213" y="1262"/>
                    </a:lnTo>
                    <a:lnTo>
                      <a:pt x="1215" y="1260"/>
                    </a:lnTo>
                    <a:lnTo>
                      <a:pt x="1217" y="1260"/>
                    </a:lnTo>
                    <a:lnTo>
                      <a:pt x="1217" y="1262"/>
                    </a:lnTo>
                    <a:lnTo>
                      <a:pt x="1219" y="1262"/>
                    </a:lnTo>
                    <a:lnTo>
                      <a:pt x="1220" y="1262"/>
                    </a:lnTo>
                    <a:lnTo>
                      <a:pt x="1220" y="1260"/>
                    </a:lnTo>
                    <a:lnTo>
                      <a:pt x="1222" y="1260"/>
                    </a:lnTo>
                    <a:lnTo>
                      <a:pt x="1222" y="1259"/>
                    </a:lnTo>
                    <a:lnTo>
                      <a:pt x="1222" y="1257"/>
                    </a:lnTo>
                    <a:lnTo>
                      <a:pt x="1222" y="1255"/>
                    </a:lnTo>
                    <a:lnTo>
                      <a:pt x="1222" y="1253"/>
                    </a:lnTo>
                    <a:lnTo>
                      <a:pt x="1222" y="1252"/>
                    </a:lnTo>
                    <a:lnTo>
                      <a:pt x="1222" y="1253"/>
                    </a:lnTo>
                    <a:lnTo>
                      <a:pt x="1222" y="1255"/>
                    </a:lnTo>
                    <a:lnTo>
                      <a:pt x="1222" y="1257"/>
                    </a:lnTo>
                    <a:lnTo>
                      <a:pt x="1222" y="1259"/>
                    </a:lnTo>
                    <a:lnTo>
                      <a:pt x="1220" y="1260"/>
                    </a:lnTo>
                    <a:lnTo>
                      <a:pt x="1219" y="1260"/>
                    </a:lnTo>
                    <a:lnTo>
                      <a:pt x="1219" y="1259"/>
                    </a:lnTo>
                    <a:lnTo>
                      <a:pt x="1217" y="1259"/>
                    </a:lnTo>
                    <a:lnTo>
                      <a:pt x="1215" y="1259"/>
                    </a:lnTo>
                    <a:lnTo>
                      <a:pt x="1215" y="1257"/>
                    </a:lnTo>
                    <a:lnTo>
                      <a:pt x="1213" y="1255"/>
                    </a:lnTo>
                    <a:lnTo>
                      <a:pt x="1212" y="1255"/>
                    </a:lnTo>
                    <a:lnTo>
                      <a:pt x="1212" y="1253"/>
                    </a:lnTo>
                    <a:lnTo>
                      <a:pt x="1212" y="1252"/>
                    </a:lnTo>
                    <a:lnTo>
                      <a:pt x="1213" y="1252"/>
                    </a:lnTo>
                    <a:lnTo>
                      <a:pt x="1213" y="1250"/>
                    </a:lnTo>
                    <a:lnTo>
                      <a:pt x="1212" y="1250"/>
                    </a:lnTo>
                    <a:lnTo>
                      <a:pt x="1212" y="1252"/>
                    </a:lnTo>
                    <a:lnTo>
                      <a:pt x="1210" y="1252"/>
                    </a:lnTo>
                    <a:lnTo>
                      <a:pt x="1210" y="1250"/>
                    </a:lnTo>
                    <a:lnTo>
                      <a:pt x="1208" y="1248"/>
                    </a:lnTo>
                    <a:lnTo>
                      <a:pt x="1210" y="1248"/>
                    </a:lnTo>
                    <a:lnTo>
                      <a:pt x="1210" y="1247"/>
                    </a:lnTo>
                    <a:lnTo>
                      <a:pt x="1208" y="1247"/>
                    </a:lnTo>
                    <a:lnTo>
                      <a:pt x="1210" y="1245"/>
                    </a:lnTo>
                    <a:lnTo>
                      <a:pt x="1212" y="1245"/>
                    </a:lnTo>
                    <a:lnTo>
                      <a:pt x="1213" y="1245"/>
                    </a:lnTo>
                    <a:lnTo>
                      <a:pt x="1213" y="1247"/>
                    </a:lnTo>
                    <a:lnTo>
                      <a:pt x="1213" y="1248"/>
                    </a:lnTo>
                    <a:lnTo>
                      <a:pt x="1215" y="1248"/>
                    </a:lnTo>
                    <a:lnTo>
                      <a:pt x="1215" y="1250"/>
                    </a:lnTo>
                    <a:lnTo>
                      <a:pt x="1217" y="1250"/>
                    </a:lnTo>
                    <a:lnTo>
                      <a:pt x="1219" y="1250"/>
                    </a:lnTo>
                    <a:lnTo>
                      <a:pt x="1220" y="1248"/>
                    </a:lnTo>
                    <a:lnTo>
                      <a:pt x="1220" y="1250"/>
                    </a:lnTo>
                    <a:lnTo>
                      <a:pt x="1222" y="1250"/>
                    </a:lnTo>
                    <a:lnTo>
                      <a:pt x="1224" y="1250"/>
                    </a:lnTo>
                    <a:lnTo>
                      <a:pt x="1222" y="1248"/>
                    </a:lnTo>
                    <a:lnTo>
                      <a:pt x="1220" y="1248"/>
                    </a:lnTo>
                    <a:lnTo>
                      <a:pt x="1219" y="1248"/>
                    </a:lnTo>
                    <a:lnTo>
                      <a:pt x="1217" y="1248"/>
                    </a:lnTo>
                    <a:lnTo>
                      <a:pt x="1215" y="1248"/>
                    </a:lnTo>
                    <a:lnTo>
                      <a:pt x="1213" y="1248"/>
                    </a:lnTo>
                    <a:lnTo>
                      <a:pt x="1213" y="1247"/>
                    </a:lnTo>
                    <a:lnTo>
                      <a:pt x="1215" y="1247"/>
                    </a:lnTo>
                    <a:lnTo>
                      <a:pt x="1213" y="1245"/>
                    </a:lnTo>
                    <a:lnTo>
                      <a:pt x="1215" y="1245"/>
                    </a:lnTo>
                    <a:lnTo>
                      <a:pt x="1215" y="1243"/>
                    </a:lnTo>
                    <a:lnTo>
                      <a:pt x="1215" y="1245"/>
                    </a:lnTo>
                    <a:lnTo>
                      <a:pt x="1213" y="1245"/>
                    </a:lnTo>
                    <a:lnTo>
                      <a:pt x="1213" y="1243"/>
                    </a:lnTo>
                    <a:lnTo>
                      <a:pt x="1212" y="1243"/>
                    </a:lnTo>
                    <a:lnTo>
                      <a:pt x="1212" y="1242"/>
                    </a:lnTo>
                    <a:lnTo>
                      <a:pt x="1210" y="1242"/>
                    </a:lnTo>
                    <a:lnTo>
                      <a:pt x="1212" y="1242"/>
                    </a:lnTo>
                    <a:lnTo>
                      <a:pt x="1212" y="1240"/>
                    </a:lnTo>
                    <a:lnTo>
                      <a:pt x="1210" y="1240"/>
                    </a:lnTo>
                    <a:lnTo>
                      <a:pt x="1208" y="1240"/>
                    </a:lnTo>
                    <a:lnTo>
                      <a:pt x="1207" y="1240"/>
                    </a:lnTo>
                    <a:lnTo>
                      <a:pt x="1207" y="1238"/>
                    </a:lnTo>
                    <a:lnTo>
                      <a:pt x="1207" y="1236"/>
                    </a:lnTo>
                    <a:lnTo>
                      <a:pt x="1207" y="1235"/>
                    </a:lnTo>
                    <a:lnTo>
                      <a:pt x="1208" y="1233"/>
                    </a:lnTo>
                    <a:lnTo>
                      <a:pt x="1210" y="1231"/>
                    </a:lnTo>
                    <a:lnTo>
                      <a:pt x="1208" y="1231"/>
                    </a:lnTo>
                    <a:lnTo>
                      <a:pt x="1208" y="1233"/>
                    </a:lnTo>
                    <a:lnTo>
                      <a:pt x="1207" y="1233"/>
                    </a:lnTo>
                    <a:lnTo>
                      <a:pt x="1208" y="1233"/>
                    </a:lnTo>
                    <a:lnTo>
                      <a:pt x="1207" y="1233"/>
                    </a:lnTo>
                    <a:lnTo>
                      <a:pt x="1207" y="1235"/>
                    </a:lnTo>
                    <a:lnTo>
                      <a:pt x="1205" y="1235"/>
                    </a:lnTo>
                    <a:lnTo>
                      <a:pt x="1205" y="1236"/>
                    </a:lnTo>
                    <a:lnTo>
                      <a:pt x="1205" y="1238"/>
                    </a:lnTo>
                    <a:lnTo>
                      <a:pt x="1207" y="1238"/>
                    </a:lnTo>
                    <a:lnTo>
                      <a:pt x="1207" y="1240"/>
                    </a:lnTo>
                    <a:lnTo>
                      <a:pt x="1205" y="1240"/>
                    </a:lnTo>
                    <a:lnTo>
                      <a:pt x="1205" y="1242"/>
                    </a:lnTo>
                    <a:lnTo>
                      <a:pt x="1203" y="1242"/>
                    </a:lnTo>
                    <a:lnTo>
                      <a:pt x="1202" y="1242"/>
                    </a:lnTo>
                    <a:lnTo>
                      <a:pt x="1202" y="1243"/>
                    </a:lnTo>
                    <a:lnTo>
                      <a:pt x="1200" y="1243"/>
                    </a:lnTo>
                    <a:lnTo>
                      <a:pt x="1200" y="1242"/>
                    </a:lnTo>
                    <a:lnTo>
                      <a:pt x="1198" y="1242"/>
                    </a:lnTo>
                    <a:lnTo>
                      <a:pt x="1196" y="1242"/>
                    </a:lnTo>
                    <a:lnTo>
                      <a:pt x="1196" y="1240"/>
                    </a:lnTo>
                    <a:lnTo>
                      <a:pt x="1196" y="1238"/>
                    </a:lnTo>
                    <a:lnTo>
                      <a:pt x="1195" y="1240"/>
                    </a:lnTo>
                    <a:lnTo>
                      <a:pt x="1193" y="1240"/>
                    </a:lnTo>
                    <a:lnTo>
                      <a:pt x="1191" y="1240"/>
                    </a:lnTo>
                    <a:lnTo>
                      <a:pt x="1190" y="1240"/>
                    </a:lnTo>
                    <a:lnTo>
                      <a:pt x="1188" y="1240"/>
                    </a:lnTo>
                    <a:lnTo>
                      <a:pt x="1186" y="1240"/>
                    </a:lnTo>
                    <a:lnTo>
                      <a:pt x="1185" y="1240"/>
                    </a:lnTo>
                    <a:lnTo>
                      <a:pt x="1185" y="1238"/>
                    </a:lnTo>
                    <a:lnTo>
                      <a:pt x="1186" y="1238"/>
                    </a:lnTo>
                    <a:lnTo>
                      <a:pt x="1186" y="1240"/>
                    </a:lnTo>
                    <a:lnTo>
                      <a:pt x="1188" y="1240"/>
                    </a:lnTo>
                    <a:lnTo>
                      <a:pt x="1186" y="1238"/>
                    </a:lnTo>
                    <a:lnTo>
                      <a:pt x="1185" y="1238"/>
                    </a:lnTo>
                    <a:lnTo>
                      <a:pt x="1183" y="1238"/>
                    </a:lnTo>
                    <a:lnTo>
                      <a:pt x="1181" y="1238"/>
                    </a:lnTo>
                    <a:lnTo>
                      <a:pt x="1181" y="1240"/>
                    </a:lnTo>
                    <a:lnTo>
                      <a:pt x="1179" y="1240"/>
                    </a:lnTo>
                    <a:lnTo>
                      <a:pt x="1179" y="1238"/>
                    </a:lnTo>
                    <a:lnTo>
                      <a:pt x="1181" y="1238"/>
                    </a:lnTo>
                    <a:lnTo>
                      <a:pt x="1179" y="1238"/>
                    </a:lnTo>
                    <a:lnTo>
                      <a:pt x="1179" y="1240"/>
                    </a:lnTo>
                    <a:lnTo>
                      <a:pt x="1178" y="1240"/>
                    </a:lnTo>
                    <a:lnTo>
                      <a:pt x="1176" y="1240"/>
                    </a:lnTo>
                    <a:lnTo>
                      <a:pt x="1174" y="1238"/>
                    </a:lnTo>
                    <a:lnTo>
                      <a:pt x="1176" y="1238"/>
                    </a:lnTo>
                    <a:lnTo>
                      <a:pt x="1176" y="1236"/>
                    </a:lnTo>
                    <a:lnTo>
                      <a:pt x="1178" y="1236"/>
                    </a:lnTo>
                    <a:lnTo>
                      <a:pt x="1176" y="1236"/>
                    </a:lnTo>
                    <a:lnTo>
                      <a:pt x="1176" y="1238"/>
                    </a:lnTo>
                    <a:lnTo>
                      <a:pt x="1174" y="1238"/>
                    </a:lnTo>
                    <a:lnTo>
                      <a:pt x="1173" y="1238"/>
                    </a:lnTo>
                    <a:lnTo>
                      <a:pt x="1173" y="1236"/>
                    </a:lnTo>
                    <a:lnTo>
                      <a:pt x="1174" y="1235"/>
                    </a:lnTo>
                    <a:lnTo>
                      <a:pt x="1174" y="1233"/>
                    </a:lnTo>
                    <a:lnTo>
                      <a:pt x="1176" y="1233"/>
                    </a:lnTo>
                    <a:lnTo>
                      <a:pt x="1176" y="1231"/>
                    </a:lnTo>
                    <a:lnTo>
                      <a:pt x="1178" y="1233"/>
                    </a:lnTo>
                    <a:lnTo>
                      <a:pt x="1178" y="1231"/>
                    </a:lnTo>
                    <a:lnTo>
                      <a:pt x="1178" y="1233"/>
                    </a:lnTo>
                    <a:lnTo>
                      <a:pt x="1178" y="1231"/>
                    </a:lnTo>
                    <a:lnTo>
                      <a:pt x="1176" y="1231"/>
                    </a:lnTo>
                    <a:lnTo>
                      <a:pt x="1176" y="1230"/>
                    </a:lnTo>
                    <a:lnTo>
                      <a:pt x="1178" y="1230"/>
                    </a:lnTo>
                    <a:lnTo>
                      <a:pt x="1178" y="1228"/>
                    </a:lnTo>
                    <a:lnTo>
                      <a:pt x="1179" y="1228"/>
                    </a:lnTo>
                    <a:lnTo>
                      <a:pt x="1181" y="1228"/>
                    </a:lnTo>
                    <a:lnTo>
                      <a:pt x="1179" y="1230"/>
                    </a:lnTo>
                    <a:lnTo>
                      <a:pt x="1181" y="1230"/>
                    </a:lnTo>
                    <a:lnTo>
                      <a:pt x="1181" y="1231"/>
                    </a:lnTo>
                    <a:lnTo>
                      <a:pt x="1181" y="1230"/>
                    </a:lnTo>
                    <a:lnTo>
                      <a:pt x="1181" y="1228"/>
                    </a:lnTo>
                    <a:lnTo>
                      <a:pt x="1183" y="1228"/>
                    </a:lnTo>
                    <a:lnTo>
                      <a:pt x="1185" y="1228"/>
                    </a:lnTo>
                    <a:lnTo>
                      <a:pt x="1185" y="1230"/>
                    </a:lnTo>
                    <a:lnTo>
                      <a:pt x="1185" y="1231"/>
                    </a:lnTo>
                    <a:lnTo>
                      <a:pt x="1185" y="1230"/>
                    </a:lnTo>
                    <a:lnTo>
                      <a:pt x="1186" y="1231"/>
                    </a:lnTo>
                    <a:lnTo>
                      <a:pt x="1186" y="1233"/>
                    </a:lnTo>
                    <a:lnTo>
                      <a:pt x="1185" y="1233"/>
                    </a:lnTo>
                    <a:lnTo>
                      <a:pt x="1185" y="1235"/>
                    </a:lnTo>
                    <a:lnTo>
                      <a:pt x="1185" y="1233"/>
                    </a:lnTo>
                    <a:lnTo>
                      <a:pt x="1185" y="1231"/>
                    </a:lnTo>
                    <a:lnTo>
                      <a:pt x="1185" y="1233"/>
                    </a:lnTo>
                    <a:lnTo>
                      <a:pt x="1183" y="1233"/>
                    </a:lnTo>
                    <a:lnTo>
                      <a:pt x="1183" y="1235"/>
                    </a:lnTo>
                    <a:lnTo>
                      <a:pt x="1181" y="1235"/>
                    </a:lnTo>
                    <a:lnTo>
                      <a:pt x="1179" y="1235"/>
                    </a:lnTo>
                    <a:lnTo>
                      <a:pt x="1179" y="1233"/>
                    </a:lnTo>
                    <a:lnTo>
                      <a:pt x="1178" y="1233"/>
                    </a:lnTo>
                    <a:lnTo>
                      <a:pt x="1179" y="1233"/>
                    </a:lnTo>
                    <a:lnTo>
                      <a:pt x="1178" y="1235"/>
                    </a:lnTo>
                    <a:lnTo>
                      <a:pt x="1179" y="1235"/>
                    </a:lnTo>
                    <a:lnTo>
                      <a:pt x="1179" y="1236"/>
                    </a:lnTo>
                    <a:lnTo>
                      <a:pt x="1181" y="1235"/>
                    </a:lnTo>
                    <a:lnTo>
                      <a:pt x="1183" y="1235"/>
                    </a:lnTo>
                    <a:lnTo>
                      <a:pt x="1185" y="1235"/>
                    </a:lnTo>
                    <a:lnTo>
                      <a:pt x="1186" y="1233"/>
                    </a:lnTo>
                    <a:lnTo>
                      <a:pt x="1186" y="1235"/>
                    </a:lnTo>
                    <a:lnTo>
                      <a:pt x="1186" y="1233"/>
                    </a:lnTo>
                    <a:lnTo>
                      <a:pt x="1188" y="1235"/>
                    </a:lnTo>
                    <a:lnTo>
                      <a:pt x="1186" y="1235"/>
                    </a:lnTo>
                    <a:lnTo>
                      <a:pt x="1186" y="1236"/>
                    </a:lnTo>
                    <a:lnTo>
                      <a:pt x="1188" y="1236"/>
                    </a:lnTo>
                    <a:lnTo>
                      <a:pt x="1188" y="1238"/>
                    </a:lnTo>
                    <a:lnTo>
                      <a:pt x="1190" y="1238"/>
                    </a:lnTo>
                    <a:lnTo>
                      <a:pt x="1191" y="1238"/>
                    </a:lnTo>
                    <a:lnTo>
                      <a:pt x="1191" y="1240"/>
                    </a:lnTo>
                    <a:lnTo>
                      <a:pt x="1191" y="1238"/>
                    </a:lnTo>
                    <a:lnTo>
                      <a:pt x="1193" y="1238"/>
                    </a:lnTo>
                    <a:lnTo>
                      <a:pt x="1195" y="1238"/>
                    </a:lnTo>
                    <a:lnTo>
                      <a:pt x="1193" y="1238"/>
                    </a:lnTo>
                    <a:lnTo>
                      <a:pt x="1191" y="1238"/>
                    </a:lnTo>
                    <a:lnTo>
                      <a:pt x="1190" y="1238"/>
                    </a:lnTo>
                    <a:lnTo>
                      <a:pt x="1190" y="1236"/>
                    </a:lnTo>
                    <a:lnTo>
                      <a:pt x="1188" y="1236"/>
                    </a:lnTo>
                    <a:lnTo>
                      <a:pt x="1188" y="1235"/>
                    </a:lnTo>
                    <a:lnTo>
                      <a:pt x="1188" y="1233"/>
                    </a:lnTo>
                    <a:lnTo>
                      <a:pt x="1190" y="1233"/>
                    </a:lnTo>
                    <a:lnTo>
                      <a:pt x="1191" y="1233"/>
                    </a:lnTo>
                    <a:lnTo>
                      <a:pt x="1193" y="1235"/>
                    </a:lnTo>
                    <a:lnTo>
                      <a:pt x="1195" y="1235"/>
                    </a:lnTo>
                    <a:lnTo>
                      <a:pt x="1193" y="1233"/>
                    </a:lnTo>
                    <a:lnTo>
                      <a:pt x="1195" y="1233"/>
                    </a:lnTo>
                    <a:lnTo>
                      <a:pt x="1193" y="1233"/>
                    </a:lnTo>
                    <a:lnTo>
                      <a:pt x="1191" y="1233"/>
                    </a:lnTo>
                    <a:lnTo>
                      <a:pt x="1190" y="1233"/>
                    </a:lnTo>
                    <a:lnTo>
                      <a:pt x="1188" y="1233"/>
                    </a:lnTo>
                    <a:lnTo>
                      <a:pt x="1190" y="1233"/>
                    </a:lnTo>
                    <a:lnTo>
                      <a:pt x="1188" y="1233"/>
                    </a:lnTo>
                    <a:lnTo>
                      <a:pt x="1188" y="1231"/>
                    </a:lnTo>
                    <a:lnTo>
                      <a:pt x="1190" y="1231"/>
                    </a:lnTo>
                    <a:lnTo>
                      <a:pt x="1191" y="1231"/>
                    </a:lnTo>
                    <a:lnTo>
                      <a:pt x="1193" y="1231"/>
                    </a:lnTo>
                    <a:lnTo>
                      <a:pt x="1195" y="1231"/>
                    </a:lnTo>
                    <a:lnTo>
                      <a:pt x="1196" y="1231"/>
                    </a:lnTo>
                    <a:lnTo>
                      <a:pt x="1198" y="1231"/>
                    </a:lnTo>
                    <a:lnTo>
                      <a:pt x="1198" y="1230"/>
                    </a:lnTo>
                    <a:lnTo>
                      <a:pt x="1198" y="1231"/>
                    </a:lnTo>
                    <a:lnTo>
                      <a:pt x="1196" y="1231"/>
                    </a:lnTo>
                    <a:lnTo>
                      <a:pt x="1195" y="1231"/>
                    </a:lnTo>
                    <a:lnTo>
                      <a:pt x="1193" y="1231"/>
                    </a:lnTo>
                    <a:lnTo>
                      <a:pt x="1193" y="1230"/>
                    </a:lnTo>
                    <a:lnTo>
                      <a:pt x="1195" y="1230"/>
                    </a:lnTo>
                    <a:lnTo>
                      <a:pt x="1195" y="1228"/>
                    </a:lnTo>
                    <a:lnTo>
                      <a:pt x="1196" y="1228"/>
                    </a:lnTo>
                    <a:lnTo>
                      <a:pt x="1198" y="1226"/>
                    </a:lnTo>
                    <a:lnTo>
                      <a:pt x="1200" y="1226"/>
                    </a:lnTo>
                    <a:lnTo>
                      <a:pt x="1198" y="1226"/>
                    </a:lnTo>
                    <a:lnTo>
                      <a:pt x="1196" y="1226"/>
                    </a:lnTo>
                    <a:lnTo>
                      <a:pt x="1195" y="1226"/>
                    </a:lnTo>
                    <a:lnTo>
                      <a:pt x="1195" y="1228"/>
                    </a:lnTo>
                    <a:lnTo>
                      <a:pt x="1193" y="1230"/>
                    </a:lnTo>
                    <a:lnTo>
                      <a:pt x="1191" y="1230"/>
                    </a:lnTo>
                    <a:lnTo>
                      <a:pt x="1190" y="1230"/>
                    </a:lnTo>
                    <a:lnTo>
                      <a:pt x="1188" y="1230"/>
                    </a:lnTo>
                    <a:lnTo>
                      <a:pt x="1188" y="1231"/>
                    </a:lnTo>
                    <a:lnTo>
                      <a:pt x="1186" y="1231"/>
                    </a:lnTo>
                    <a:lnTo>
                      <a:pt x="1186" y="1230"/>
                    </a:lnTo>
                    <a:lnTo>
                      <a:pt x="1186" y="1228"/>
                    </a:lnTo>
                    <a:lnTo>
                      <a:pt x="1186" y="1226"/>
                    </a:lnTo>
                    <a:lnTo>
                      <a:pt x="1188" y="1226"/>
                    </a:lnTo>
                    <a:lnTo>
                      <a:pt x="1190" y="1226"/>
                    </a:lnTo>
                    <a:lnTo>
                      <a:pt x="1191" y="1226"/>
                    </a:lnTo>
                    <a:lnTo>
                      <a:pt x="1193" y="1225"/>
                    </a:lnTo>
                    <a:lnTo>
                      <a:pt x="1195" y="1225"/>
                    </a:lnTo>
                    <a:lnTo>
                      <a:pt x="1195" y="1223"/>
                    </a:lnTo>
                    <a:lnTo>
                      <a:pt x="1193" y="1223"/>
                    </a:lnTo>
                    <a:lnTo>
                      <a:pt x="1193" y="1225"/>
                    </a:lnTo>
                    <a:lnTo>
                      <a:pt x="1191" y="1225"/>
                    </a:lnTo>
                    <a:lnTo>
                      <a:pt x="1191" y="1226"/>
                    </a:lnTo>
                    <a:lnTo>
                      <a:pt x="1190" y="1225"/>
                    </a:lnTo>
                    <a:lnTo>
                      <a:pt x="1190" y="1226"/>
                    </a:lnTo>
                    <a:lnTo>
                      <a:pt x="1188" y="1226"/>
                    </a:lnTo>
                    <a:lnTo>
                      <a:pt x="1186" y="1226"/>
                    </a:lnTo>
                    <a:lnTo>
                      <a:pt x="1185" y="1226"/>
                    </a:lnTo>
                    <a:lnTo>
                      <a:pt x="1183" y="1226"/>
                    </a:lnTo>
                    <a:lnTo>
                      <a:pt x="1185" y="1226"/>
                    </a:lnTo>
                    <a:lnTo>
                      <a:pt x="1185" y="1228"/>
                    </a:lnTo>
                    <a:lnTo>
                      <a:pt x="1186" y="1226"/>
                    </a:lnTo>
                    <a:lnTo>
                      <a:pt x="1186" y="1228"/>
                    </a:lnTo>
                    <a:lnTo>
                      <a:pt x="1185" y="1228"/>
                    </a:lnTo>
                    <a:lnTo>
                      <a:pt x="1183" y="1226"/>
                    </a:lnTo>
                    <a:lnTo>
                      <a:pt x="1181" y="1225"/>
                    </a:lnTo>
                    <a:lnTo>
                      <a:pt x="1183" y="1225"/>
                    </a:lnTo>
                    <a:lnTo>
                      <a:pt x="1183" y="1223"/>
                    </a:lnTo>
                    <a:lnTo>
                      <a:pt x="1183" y="1225"/>
                    </a:lnTo>
                    <a:lnTo>
                      <a:pt x="1185" y="1223"/>
                    </a:lnTo>
                    <a:lnTo>
                      <a:pt x="1185" y="1225"/>
                    </a:lnTo>
                    <a:lnTo>
                      <a:pt x="1186" y="1225"/>
                    </a:lnTo>
                    <a:lnTo>
                      <a:pt x="1186" y="1223"/>
                    </a:lnTo>
                    <a:lnTo>
                      <a:pt x="1188" y="1223"/>
                    </a:lnTo>
                    <a:lnTo>
                      <a:pt x="1188" y="1221"/>
                    </a:lnTo>
                    <a:lnTo>
                      <a:pt x="1188" y="1223"/>
                    </a:lnTo>
                    <a:lnTo>
                      <a:pt x="1186" y="1223"/>
                    </a:lnTo>
                    <a:lnTo>
                      <a:pt x="1185" y="1223"/>
                    </a:lnTo>
                    <a:lnTo>
                      <a:pt x="1183" y="1223"/>
                    </a:lnTo>
                    <a:lnTo>
                      <a:pt x="1183" y="1221"/>
                    </a:lnTo>
                    <a:lnTo>
                      <a:pt x="1181" y="1223"/>
                    </a:lnTo>
                    <a:lnTo>
                      <a:pt x="1181" y="1225"/>
                    </a:lnTo>
                    <a:lnTo>
                      <a:pt x="1179" y="1223"/>
                    </a:lnTo>
                    <a:lnTo>
                      <a:pt x="1181" y="1223"/>
                    </a:lnTo>
                    <a:lnTo>
                      <a:pt x="1179" y="1223"/>
                    </a:lnTo>
                    <a:lnTo>
                      <a:pt x="1179" y="1221"/>
                    </a:lnTo>
                    <a:lnTo>
                      <a:pt x="1181" y="1221"/>
                    </a:lnTo>
                    <a:lnTo>
                      <a:pt x="1181" y="1219"/>
                    </a:lnTo>
                    <a:lnTo>
                      <a:pt x="1181" y="1218"/>
                    </a:lnTo>
                    <a:lnTo>
                      <a:pt x="1183" y="1218"/>
                    </a:lnTo>
                    <a:lnTo>
                      <a:pt x="1183" y="1216"/>
                    </a:lnTo>
                    <a:lnTo>
                      <a:pt x="1185" y="1216"/>
                    </a:lnTo>
                    <a:lnTo>
                      <a:pt x="1185" y="1214"/>
                    </a:lnTo>
                    <a:lnTo>
                      <a:pt x="1186" y="1214"/>
                    </a:lnTo>
                    <a:lnTo>
                      <a:pt x="1186" y="1213"/>
                    </a:lnTo>
                    <a:lnTo>
                      <a:pt x="1186" y="1211"/>
                    </a:lnTo>
                    <a:lnTo>
                      <a:pt x="1188" y="1211"/>
                    </a:lnTo>
                    <a:lnTo>
                      <a:pt x="1188" y="1213"/>
                    </a:lnTo>
                    <a:lnTo>
                      <a:pt x="1190" y="1213"/>
                    </a:lnTo>
                    <a:lnTo>
                      <a:pt x="1188" y="1213"/>
                    </a:lnTo>
                    <a:lnTo>
                      <a:pt x="1188" y="1211"/>
                    </a:lnTo>
                    <a:lnTo>
                      <a:pt x="1190" y="1211"/>
                    </a:lnTo>
                    <a:lnTo>
                      <a:pt x="1190" y="1213"/>
                    </a:lnTo>
                    <a:lnTo>
                      <a:pt x="1190" y="1214"/>
                    </a:lnTo>
                    <a:lnTo>
                      <a:pt x="1190" y="1216"/>
                    </a:lnTo>
                    <a:lnTo>
                      <a:pt x="1190" y="1218"/>
                    </a:lnTo>
                    <a:lnTo>
                      <a:pt x="1190" y="1219"/>
                    </a:lnTo>
                    <a:lnTo>
                      <a:pt x="1191" y="1219"/>
                    </a:lnTo>
                    <a:lnTo>
                      <a:pt x="1190" y="1218"/>
                    </a:lnTo>
                    <a:lnTo>
                      <a:pt x="1190" y="1216"/>
                    </a:lnTo>
                    <a:lnTo>
                      <a:pt x="1191" y="1214"/>
                    </a:lnTo>
                    <a:lnTo>
                      <a:pt x="1190" y="1213"/>
                    </a:lnTo>
                    <a:lnTo>
                      <a:pt x="1191" y="1211"/>
                    </a:lnTo>
                    <a:lnTo>
                      <a:pt x="1190" y="1213"/>
                    </a:lnTo>
                    <a:lnTo>
                      <a:pt x="1190" y="1211"/>
                    </a:lnTo>
                    <a:lnTo>
                      <a:pt x="1191" y="1211"/>
                    </a:lnTo>
                    <a:lnTo>
                      <a:pt x="1193" y="1211"/>
                    </a:lnTo>
                    <a:lnTo>
                      <a:pt x="1193" y="1213"/>
                    </a:lnTo>
                    <a:lnTo>
                      <a:pt x="1193" y="1214"/>
                    </a:lnTo>
                    <a:lnTo>
                      <a:pt x="1195" y="1214"/>
                    </a:lnTo>
                    <a:lnTo>
                      <a:pt x="1193" y="1214"/>
                    </a:lnTo>
                    <a:lnTo>
                      <a:pt x="1193" y="1213"/>
                    </a:lnTo>
                    <a:lnTo>
                      <a:pt x="1193" y="1211"/>
                    </a:lnTo>
                    <a:lnTo>
                      <a:pt x="1195" y="1211"/>
                    </a:lnTo>
                    <a:lnTo>
                      <a:pt x="1195" y="1209"/>
                    </a:lnTo>
                    <a:lnTo>
                      <a:pt x="1196" y="1209"/>
                    </a:lnTo>
                    <a:lnTo>
                      <a:pt x="1195" y="1211"/>
                    </a:lnTo>
                    <a:lnTo>
                      <a:pt x="1196" y="1211"/>
                    </a:lnTo>
                    <a:lnTo>
                      <a:pt x="1195" y="1213"/>
                    </a:lnTo>
                    <a:lnTo>
                      <a:pt x="1196" y="1213"/>
                    </a:lnTo>
                    <a:lnTo>
                      <a:pt x="1196" y="1211"/>
                    </a:lnTo>
                    <a:lnTo>
                      <a:pt x="1196" y="1209"/>
                    </a:lnTo>
                    <a:lnTo>
                      <a:pt x="1196" y="1208"/>
                    </a:lnTo>
                    <a:lnTo>
                      <a:pt x="1196" y="1206"/>
                    </a:lnTo>
                    <a:lnTo>
                      <a:pt x="1196" y="1208"/>
                    </a:lnTo>
                    <a:lnTo>
                      <a:pt x="1195" y="1208"/>
                    </a:lnTo>
                    <a:lnTo>
                      <a:pt x="1195" y="1209"/>
                    </a:lnTo>
                    <a:lnTo>
                      <a:pt x="1193" y="1209"/>
                    </a:lnTo>
                    <a:lnTo>
                      <a:pt x="1191" y="1209"/>
                    </a:lnTo>
                    <a:lnTo>
                      <a:pt x="1191" y="1208"/>
                    </a:lnTo>
                    <a:lnTo>
                      <a:pt x="1190" y="1208"/>
                    </a:lnTo>
                    <a:lnTo>
                      <a:pt x="1190" y="1206"/>
                    </a:lnTo>
                    <a:lnTo>
                      <a:pt x="1190" y="1204"/>
                    </a:lnTo>
                    <a:lnTo>
                      <a:pt x="1191" y="1202"/>
                    </a:lnTo>
                    <a:lnTo>
                      <a:pt x="1191" y="1201"/>
                    </a:lnTo>
                    <a:lnTo>
                      <a:pt x="1193" y="1201"/>
                    </a:lnTo>
                    <a:lnTo>
                      <a:pt x="1193" y="1202"/>
                    </a:lnTo>
                    <a:lnTo>
                      <a:pt x="1195" y="1202"/>
                    </a:lnTo>
                    <a:lnTo>
                      <a:pt x="1195" y="1204"/>
                    </a:lnTo>
                    <a:lnTo>
                      <a:pt x="1195" y="1202"/>
                    </a:lnTo>
                    <a:lnTo>
                      <a:pt x="1195" y="1201"/>
                    </a:lnTo>
                    <a:lnTo>
                      <a:pt x="1196" y="1199"/>
                    </a:lnTo>
                    <a:lnTo>
                      <a:pt x="1195" y="1199"/>
                    </a:lnTo>
                    <a:lnTo>
                      <a:pt x="1195" y="1201"/>
                    </a:lnTo>
                    <a:lnTo>
                      <a:pt x="1193" y="1199"/>
                    </a:lnTo>
                    <a:lnTo>
                      <a:pt x="1191" y="1197"/>
                    </a:lnTo>
                    <a:lnTo>
                      <a:pt x="1191" y="1196"/>
                    </a:lnTo>
                    <a:lnTo>
                      <a:pt x="1190" y="1196"/>
                    </a:lnTo>
                    <a:lnTo>
                      <a:pt x="1191" y="1194"/>
                    </a:lnTo>
                    <a:lnTo>
                      <a:pt x="1190" y="1194"/>
                    </a:lnTo>
                    <a:lnTo>
                      <a:pt x="1188" y="1192"/>
                    </a:lnTo>
                    <a:lnTo>
                      <a:pt x="1186" y="1191"/>
                    </a:lnTo>
                    <a:lnTo>
                      <a:pt x="1185" y="1191"/>
                    </a:lnTo>
                    <a:lnTo>
                      <a:pt x="1186" y="1191"/>
                    </a:lnTo>
                    <a:lnTo>
                      <a:pt x="1188" y="1192"/>
                    </a:lnTo>
                    <a:lnTo>
                      <a:pt x="1190" y="1191"/>
                    </a:lnTo>
                    <a:lnTo>
                      <a:pt x="1188" y="1191"/>
                    </a:lnTo>
                    <a:lnTo>
                      <a:pt x="1188" y="1189"/>
                    </a:lnTo>
                    <a:lnTo>
                      <a:pt x="1186" y="1191"/>
                    </a:lnTo>
                    <a:lnTo>
                      <a:pt x="1186" y="1189"/>
                    </a:lnTo>
                    <a:lnTo>
                      <a:pt x="1186" y="1191"/>
                    </a:lnTo>
                    <a:lnTo>
                      <a:pt x="1185" y="1189"/>
                    </a:lnTo>
                    <a:lnTo>
                      <a:pt x="1183" y="1189"/>
                    </a:lnTo>
                    <a:lnTo>
                      <a:pt x="1181" y="1189"/>
                    </a:lnTo>
                    <a:lnTo>
                      <a:pt x="1179" y="1189"/>
                    </a:lnTo>
                    <a:lnTo>
                      <a:pt x="1181" y="1187"/>
                    </a:lnTo>
                    <a:lnTo>
                      <a:pt x="1179" y="1187"/>
                    </a:lnTo>
                    <a:lnTo>
                      <a:pt x="1178" y="1187"/>
                    </a:lnTo>
                    <a:lnTo>
                      <a:pt x="1178" y="1189"/>
                    </a:lnTo>
                    <a:lnTo>
                      <a:pt x="1179" y="1189"/>
                    </a:lnTo>
                    <a:lnTo>
                      <a:pt x="1181" y="1189"/>
                    </a:lnTo>
                    <a:lnTo>
                      <a:pt x="1181" y="1191"/>
                    </a:lnTo>
                    <a:lnTo>
                      <a:pt x="1179" y="1191"/>
                    </a:lnTo>
                    <a:lnTo>
                      <a:pt x="1178" y="1191"/>
                    </a:lnTo>
                    <a:lnTo>
                      <a:pt x="1176" y="1191"/>
                    </a:lnTo>
                    <a:lnTo>
                      <a:pt x="1176" y="1192"/>
                    </a:lnTo>
                    <a:lnTo>
                      <a:pt x="1176" y="1194"/>
                    </a:lnTo>
                    <a:lnTo>
                      <a:pt x="1174" y="1194"/>
                    </a:lnTo>
                    <a:lnTo>
                      <a:pt x="1174" y="1192"/>
                    </a:lnTo>
                    <a:lnTo>
                      <a:pt x="1173" y="1192"/>
                    </a:lnTo>
                    <a:lnTo>
                      <a:pt x="1174" y="1192"/>
                    </a:lnTo>
                    <a:lnTo>
                      <a:pt x="1174" y="1194"/>
                    </a:lnTo>
                    <a:lnTo>
                      <a:pt x="1176" y="1194"/>
                    </a:lnTo>
                    <a:lnTo>
                      <a:pt x="1178" y="1194"/>
                    </a:lnTo>
                    <a:lnTo>
                      <a:pt x="1179" y="1192"/>
                    </a:lnTo>
                    <a:lnTo>
                      <a:pt x="1181" y="1194"/>
                    </a:lnTo>
                    <a:lnTo>
                      <a:pt x="1183" y="1194"/>
                    </a:lnTo>
                    <a:lnTo>
                      <a:pt x="1183" y="1196"/>
                    </a:lnTo>
                    <a:lnTo>
                      <a:pt x="1183" y="1197"/>
                    </a:lnTo>
                    <a:lnTo>
                      <a:pt x="1183" y="1196"/>
                    </a:lnTo>
                    <a:lnTo>
                      <a:pt x="1181" y="1196"/>
                    </a:lnTo>
                    <a:lnTo>
                      <a:pt x="1179" y="1196"/>
                    </a:lnTo>
                    <a:lnTo>
                      <a:pt x="1178" y="1196"/>
                    </a:lnTo>
                    <a:lnTo>
                      <a:pt x="1176" y="1194"/>
                    </a:lnTo>
                    <a:lnTo>
                      <a:pt x="1176" y="1196"/>
                    </a:lnTo>
                    <a:lnTo>
                      <a:pt x="1174" y="1196"/>
                    </a:lnTo>
                    <a:lnTo>
                      <a:pt x="1174" y="1194"/>
                    </a:lnTo>
                    <a:lnTo>
                      <a:pt x="1173" y="1192"/>
                    </a:lnTo>
                    <a:lnTo>
                      <a:pt x="1171" y="1192"/>
                    </a:lnTo>
                    <a:lnTo>
                      <a:pt x="1171" y="1191"/>
                    </a:lnTo>
                    <a:lnTo>
                      <a:pt x="1169" y="1191"/>
                    </a:lnTo>
                    <a:lnTo>
                      <a:pt x="1171" y="1191"/>
                    </a:lnTo>
                    <a:lnTo>
                      <a:pt x="1171" y="1189"/>
                    </a:lnTo>
                    <a:lnTo>
                      <a:pt x="1171" y="1191"/>
                    </a:lnTo>
                    <a:lnTo>
                      <a:pt x="1169" y="1191"/>
                    </a:lnTo>
                    <a:lnTo>
                      <a:pt x="1169" y="1192"/>
                    </a:lnTo>
                    <a:lnTo>
                      <a:pt x="1168" y="1191"/>
                    </a:lnTo>
                    <a:lnTo>
                      <a:pt x="1166" y="1191"/>
                    </a:lnTo>
                    <a:lnTo>
                      <a:pt x="1166" y="1189"/>
                    </a:lnTo>
                    <a:lnTo>
                      <a:pt x="1164" y="1189"/>
                    </a:lnTo>
                    <a:lnTo>
                      <a:pt x="1164" y="1187"/>
                    </a:lnTo>
                    <a:lnTo>
                      <a:pt x="1162" y="1187"/>
                    </a:lnTo>
                    <a:lnTo>
                      <a:pt x="1162" y="1185"/>
                    </a:lnTo>
                    <a:lnTo>
                      <a:pt x="1161" y="1185"/>
                    </a:lnTo>
                    <a:lnTo>
                      <a:pt x="1161" y="1184"/>
                    </a:lnTo>
                    <a:lnTo>
                      <a:pt x="1161" y="1182"/>
                    </a:lnTo>
                    <a:lnTo>
                      <a:pt x="1162" y="1182"/>
                    </a:lnTo>
                    <a:lnTo>
                      <a:pt x="1162" y="1180"/>
                    </a:lnTo>
                    <a:lnTo>
                      <a:pt x="1164" y="1179"/>
                    </a:lnTo>
                    <a:lnTo>
                      <a:pt x="1166" y="1177"/>
                    </a:lnTo>
                    <a:lnTo>
                      <a:pt x="1166" y="1175"/>
                    </a:lnTo>
                    <a:lnTo>
                      <a:pt x="1166" y="1174"/>
                    </a:lnTo>
                    <a:lnTo>
                      <a:pt x="1164" y="1174"/>
                    </a:lnTo>
                    <a:lnTo>
                      <a:pt x="1164" y="1175"/>
                    </a:lnTo>
                    <a:lnTo>
                      <a:pt x="1164" y="1177"/>
                    </a:lnTo>
                    <a:lnTo>
                      <a:pt x="1162" y="1177"/>
                    </a:lnTo>
                    <a:lnTo>
                      <a:pt x="1162" y="1179"/>
                    </a:lnTo>
                    <a:lnTo>
                      <a:pt x="1162" y="1177"/>
                    </a:lnTo>
                    <a:lnTo>
                      <a:pt x="1162" y="1179"/>
                    </a:lnTo>
                    <a:lnTo>
                      <a:pt x="1162" y="1177"/>
                    </a:lnTo>
                    <a:lnTo>
                      <a:pt x="1162" y="1179"/>
                    </a:lnTo>
                    <a:lnTo>
                      <a:pt x="1162" y="1180"/>
                    </a:lnTo>
                    <a:lnTo>
                      <a:pt x="1161" y="1180"/>
                    </a:lnTo>
                    <a:lnTo>
                      <a:pt x="1161" y="1182"/>
                    </a:lnTo>
                    <a:lnTo>
                      <a:pt x="1159" y="1182"/>
                    </a:lnTo>
                    <a:lnTo>
                      <a:pt x="1157" y="1184"/>
                    </a:lnTo>
                    <a:lnTo>
                      <a:pt x="1157" y="1182"/>
                    </a:lnTo>
                    <a:lnTo>
                      <a:pt x="1156" y="1180"/>
                    </a:lnTo>
                    <a:lnTo>
                      <a:pt x="1157" y="1182"/>
                    </a:lnTo>
                    <a:lnTo>
                      <a:pt x="1156" y="1182"/>
                    </a:lnTo>
                    <a:lnTo>
                      <a:pt x="1157" y="1182"/>
                    </a:lnTo>
                    <a:lnTo>
                      <a:pt x="1156" y="1184"/>
                    </a:lnTo>
                    <a:lnTo>
                      <a:pt x="1154" y="1184"/>
                    </a:lnTo>
                    <a:lnTo>
                      <a:pt x="1152" y="1184"/>
                    </a:lnTo>
                    <a:lnTo>
                      <a:pt x="1152" y="1185"/>
                    </a:lnTo>
                    <a:lnTo>
                      <a:pt x="1152" y="1184"/>
                    </a:lnTo>
                    <a:lnTo>
                      <a:pt x="1151" y="1185"/>
                    </a:lnTo>
                    <a:lnTo>
                      <a:pt x="1152" y="1185"/>
                    </a:lnTo>
                    <a:lnTo>
                      <a:pt x="1151" y="1185"/>
                    </a:lnTo>
                    <a:lnTo>
                      <a:pt x="1151" y="1184"/>
                    </a:lnTo>
                    <a:lnTo>
                      <a:pt x="1149" y="1184"/>
                    </a:lnTo>
                    <a:lnTo>
                      <a:pt x="1149" y="1185"/>
                    </a:lnTo>
                    <a:lnTo>
                      <a:pt x="1147" y="1185"/>
                    </a:lnTo>
                    <a:lnTo>
                      <a:pt x="1145" y="1187"/>
                    </a:lnTo>
                    <a:lnTo>
                      <a:pt x="1144" y="1187"/>
                    </a:lnTo>
                    <a:lnTo>
                      <a:pt x="1145" y="1187"/>
                    </a:lnTo>
                    <a:lnTo>
                      <a:pt x="1145" y="1189"/>
                    </a:lnTo>
                    <a:lnTo>
                      <a:pt x="1144" y="1189"/>
                    </a:lnTo>
                    <a:lnTo>
                      <a:pt x="1144" y="1191"/>
                    </a:lnTo>
                    <a:lnTo>
                      <a:pt x="1144" y="1192"/>
                    </a:lnTo>
                    <a:lnTo>
                      <a:pt x="1144" y="1191"/>
                    </a:lnTo>
                    <a:lnTo>
                      <a:pt x="1145" y="1191"/>
                    </a:lnTo>
                    <a:lnTo>
                      <a:pt x="1145" y="1189"/>
                    </a:lnTo>
                    <a:lnTo>
                      <a:pt x="1147" y="1187"/>
                    </a:lnTo>
                    <a:lnTo>
                      <a:pt x="1147" y="1189"/>
                    </a:lnTo>
                    <a:lnTo>
                      <a:pt x="1149" y="1187"/>
                    </a:lnTo>
                    <a:lnTo>
                      <a:pt x="1151" y="1187"/>
                    </a:lnTo>
                    <a:lnTo>
                      <a:pt x="1152" y="1189"/>
                    </a:lnTo>
                    <a:lnTo>
                      <a:pt x="1151" y="1189"/>
                    </a:lnTo>
                    <a:lnTo>
                      <a:pt x="1149" y="1189"/>
                    </a:lnTo>
                    <a:lnTo>
                      <a:pt x="1151" y="1189"/>
                    </a:lnTo>
                    <a:lnTo>
                      <a:pt x="1149" y="1191"/>
                    </a:lnTo>
                    <a:lnTo>
                      <a:pt x="1149" y="1192"/>
                    </a:lnTo>
                    <a:lnTo>
                      <a:pt x="1151" y="1191"/>
                    </a:lnTo>
                    <a:lnTo>
                      <a:pt x="1151" y="1192"/>
                    </a:lnTo>
                    <a:lnTo>
                      <a:pt x="1151" y="1191"/>
                    </a:lnTo>
                    <a:lnTo>
                      <a:pt x="1152" y="1191"/>
                    </a:lnTo>
                    <a:lnTo>
                      <a:pt x="1152" y="1192"/>
                    </a:lnTo>
                    <a:lnTo>
                      <a:pt x="1152" y="1194"/>
                    </a:lnTo>
                    <a:lnTo>
                      <a:pt x="1151" y="1194"/>
                    </a:lnTo>
                    <a:lnTo>
                      <a:pt x="1151" y="1196"/>
                    </a:lnTo>
                    <a:lnTo>
                      <a:pt x="1149" y="1196"/>
                    </a:lnTo>
                    <a:lnTo>
                      <a:pt x="1151" y="1196"/>
                    </a:lnTo>
                    <a:lnTo>
                      <a:pt x="1151" y="1194"/>
                    </a:lnTo>
                    <a:lnTo>
                      <a:pt x="1152" y="1194"/>
                    </a:lnTo>
                    <a:lnTo>
                      <a:pt x="1154" y="1196"/>
                    </a:lnTo>
                    <a:lnTo>
                      <a:pt x="1152" y="1194"/>
                    </a:lnTo>
                    <a:lnTo>
                      <a:pt x="1154" y="1194"/>
                    </a:lnTo>
                    <a:lnTo>
                      <a:pt x="1152" y="1194"/>
                    </a:lnTo>
                    <a:lnTo>
                      <a:pt x="1152" y="1192"/>
                    </a:lnTo>
                    <a:lnTo>
                      <a:pt x="1154" y="1194"/>
                    </a:lnTo>
                    <a:lnTo>
                      <a:pt x="1154" y="1196"/>
                    </a:lnTo>
                    <a:lnTo>
                      <a:pt x="1154" y="1197"/>
                    </a:lnTo>
                    <a:lnTo>
                      <a:pt x="1152" y="1197"/>
                    </a:lnTo>
                    <a:lnTo>
                      <a:pt x="1152" y="1199"/>
                    </a:lnTo>
                    <a:lnTo>
                      <a:pt x="1151" y="1199"/>
                    </a:lnTo>
                    <a:lnTo>
                      <a:pt x="1149" y="1199"/>
                    </a:lnTo>
                    <a:lnTo>
                      <a:pt x="1147" y="1201"/>
                    </a:lnTo>
                    <a:lnTo>
                      <a:pt x="1147" y="1199"/>
                    </a:lnTo>
                    <a:lnTo>
                      <a:pt x="1145" y="1199"/>
                    </a:lnTo>
                    <a:lnTo>
                      <a:pt x="1145" y="1197"/>
                    </a:lnTo>
                    <a:lnTo>
                      <a:pt x="1144" y="1197"/>
                    </a:lnTo>
                    <a:lnTo>
                      <a:pt x="1144" y="1196"/>
                    </a:lnTo>
                    <a:lnTo>
                      <a:pt x="1142" y="1194"/>
                    </a:lnTo>
                    <a:lnTo>
                      <a:pt x="1142" y="1192"/>
                    </a:lnTo>
                    <a:lnTo>
                      <a:pt x="1140" y="1192"/>
                    </a:lnTo>
                    <a:lnTo>
                      <a:pt x="1140" y="1191"/>
                    </a:lnTo>
                    <a:lnTo>
                      <a:pt x="1142" y="1191"/>
                    </a:lnTo>
                    <a:lnTo>
                      <a:pt x="1140" y="1189"/>
                    </a:lnTo>
                    <a:lnTo>
                      <a:pt x="1140" y="1187"/>
                    </a:lnTo>
                    <a:lnTo>
                      <a:pt x="1140" y="1185"/>
                    </a:lnTo>
                    <a:lnTo>
                      <a:pt x="1142" y="1185"/>
                    </a:lnTo>
                    <a:lnTo>
                      <a:pt x="1142" y="1184"/>
                    </a:lnTo>
                    <a:lnTo>
                      <a:pt x="1142" y="1182"/>
                    </a:lnTo>
                    <a:lnTo>
                      <a:pt x="1144" y="1182"/>
                    </a:lnTo>
                    <a:lnTo>
                      <a:pt x="1144" y="1180"/>
                    </a:lnTo>
                    <a:lnTo>
                      <a:pt x="1144" y="1182"/>
                    </a:lnTo>
                    <a:lnTo>
                      <a:pt x="1144" y="1180"/>
                    </a:lnTo>
                    <a:lnTo>
                      <a:pt x="1145" y="1182"/>
                    </a:lnTo>
                    <a:lnTo>
                      <a:pt x="1147" y="1182"/>
                    </a:lnTo>
                    <a:lnTo>
                      <a:pt x="1147" y="1184"/>
                    </a:lnTo>
                    <a:lnTo>
                      <a:pt x="1147" y="1182"/>
                    </a:lnTo>
                    <a:lnTo>
                      <a:pt x="1145" y="1182"/>
                    </a:lnTo>
                    <a:lnTo>
                      <a:pt x="1145" y="1180"/>
                    </a:lnTo>
                    <a:lnTo>
                      <a:pt x="1147" y="1180"/>
                    </a:lnTo>
                    <a:lnTo>
                      <a:pt x="1149" y="1182"/>
                    </a:lnTo>
                    <a:lnTo>
                      <a:pt x="1149" y="1180"/>
                    </a:lnTo>
                    <a:lnTo>
                      <a:pt x="1147" y="1180"/>
                    </a:lnTo>
                    <a:lnTo>
                      <a:pt x="1147" y="1179"/>
                    </a:lnTo>
                    <a:lnTo>
                      <a:pt x="1145" y="1179"/>
                    </a:lnTo>
                    <a:lnTo>
                      <a:pt x="1147" y="1179"/>
                    </a:lnTo>
                    <a:lnTo>
                      <a:pt x="1147" y="1177"/>
                    </a:lnTo>
                    <a:lnTo>
                      <a:pt x="1147" y="1179"/>
                    </a:lnTo>
                    <a:lnTo>
                      <a:pt x="1149" y="1179"/>
                    </a:lnTo>
                    <a:lnTo>
                      <a:pt x="1149" y="1177"/>
                    </a:lnTo>
                    <a:lnTo>
                      <a:pt x="1149" y="1179"/>
                    </a:lnTo>
                    <a:lnTo>
                      <a:pt x="1149" y="1177"/>
                    </a:lnTo>
                    <a:lnTo>
                      <a:pt x="1151" y="1177"/>
                    </a:lnTo>
                    <a:lnTo>
                      <a:pt x="1152" y="1177"/>
                    </a:lnTo>
                    <a:lnTo>
                      <a:pt x="1151" y="1175"/>
                    </a:lnTo>
                    <a:lnTo>
                      <a:pt x="1151" y="1174"/>
                    </a:lnTo>
                    <a:lnTo>
                      <a:pt x="1151" y="1175"/>
                    </a:lnTo>
                    <a:lnTo>
                      <a:pt x="1152" y="1175"/>
                    </a:lnTo>
                    <a:lnTo>
                      <a:pt x="1151" y="1174"/>
                    </a:lnTo>
                    <a:lnTo>
                      <a:pt x="1152" y="1174"/>
                    </a:lnTo>
                    <a:lnTo>
                      <a:pt x="1152" y="1172"/>
                    </a:lnTo>
                    <a:lnTo>
                      <a:pt x="1154" y="1172"/>
                    </a:lnTo>
                    <a:lnTo>
                      <a:pt x="1156" y="1170"/>
                    </a:lnTo>
                    <a:lnTo>
                      <a:pt x="1157" y="1172"/>
                    </a:lnTo>
                    <a:lnTo>
                      <a:pt x="1156" y="1170"/>
                    </a:lnTo>
                    <a:lnTo>
                      <a:pt x="1157" y="1170"/>
                    </a:lnTo>
                    <a:lnTo>
                      <a:pt x="1157" y="1168"/>
                    </a:lnTo>
                    <a:lnTo>
                      <a:pt x="1157" y="1167"/>
                    </a:lnTo>
                    <a:lnTo>
                      <a:pt x="1157" y="1168"/>
                    </a:lnTo>
                    <a:lnTo>
                      <a:pt x="1159" y="1168"/>
                    </a:lnTo>
                    <a:lnTo>
                      <a:pt x="1159" y="1170"/>
                    </a:lnTo>
                    <a:lnTo>
                      <a:pt x="1161" y="1170"/>
                    </a:lnTo>
                    <a:lnTo>
                      <a:pt x="1162" y="1170"/>
                    </a:lnTo>
                    <a:lnTo>
                      <a:pt x="1164" y="1170"/>
                    </a:lnTo>
                    <a:lnTo>
                      <a:pt x="1166" y="1170"/>
                    </a:lnTo>
                    <a:lnTo>
                      <a:pt x="1168" y="1170"/>
                    </a:lnTo>
                    <a:lnTo>
                      <a:pt x="1166" y="1170"/>
                    </a:lnTo>
                    <a:lnTo>
                      <a:pt x="1164" y="1170"/>
                    </a:lnTo>
                    <a:lnTo>
                      <a:pt x="1162" y="1170"/>
                    </a:lnTo>
                    <a:lnTo>
                      <a:pt x="1161" y="1170"/>
                    </a:lnTo>
                    <a:lnTo>
                      <a:pt x="1161" y="1168"/>
                    </a:lnTo>
                    <a:lnTo>
                      <a:pt x="1159" y="1168"/>
                    </a:lnTo>
                    <a:lnTo>
                      <a:pt x="1159" y="1167"/>
                    </a:lnTo>
                    <a:lnTo>
                      <a:pt x="1161" y="1167"/>
                    </a:lnTo>
                    <a:lnTo>
                      <a:pt x="1162" y="1167"/>
                    </a:lnTo>
                    <a:lnTo>
                      <a:pt x="1161" y="1167"/>
                    </a:lnTo>
                    <a:lnTo>
                      <a:pt x="1161" y="1165"/>
                    </a:lnTo>
                    <a:lnTo>
                      <a:pt x="1161" y="1163"/>
                    </a:lnTo>
                    <a:lnTo>
                      <a:pt x="1162" y="1163"/>
                    </a:lnTo>
                    <a:lnTo>
                      <a:pt x="1164" y="1163"/>
                    </a:lnTo>
                    <a:lnTo>
                      <a:pt x="1164" y="1165"/>
                    </a:lnTo>
                    <a:lnTo>
                      <a:pt x="1166" y="1165"/>
                    </a:lnTo>
                    <a:lnTo>
                      <a:pt x="1166" y="1167"/>
                    </a:lnTo>
                    <a:lnTo>
                      <a:pt x="1168" y="1167"/>
                    </a:lnTo>
                    <a:lnTo>
                      <a:pt x="1166" y="1165"/>
                    </a:lnTo>
                    <a:lnTo>
                      <a:pt x="1166" y="1163"/>
                    </a:lnTo>
                    <a:lnTo>
                      <a:pt x="1166" y="1162"/>
                    </a:lnTo>
                    <a:lnTo>
                      <a:pt x="1168" y="1162"/>
                    </a:lnTo>
                    <a:lnTo>
                      <a:pt x="1168" y="1160"/>
                    </a:lnTo>
                    <a:lnTo>
                      <a:pt x="1169" y="1160"/>
                    </a:lnTo>
                    <a:lnTo>
                      <a:pt x="1169" y="1162"/>
                    </a:lnTo>
                    <a:lnTo>
                      <a:pt x="1169" y="1160"/>
                    </a:lnTo>
                    <a:lnTo>
                      <a:pt x="1169" y="1162"/>
                    </a:lnTo>
                    <a:lnTo>
                      <a:pt x="1171" y="1162"/>
                    </a:lnTo>
                    <a:lnTo>
                      <a:pt x="1171" y="1163"/>
                    </a:lnTo>
                    <a:lnTo>
                      <a:pt x="1171" y="1162"/>
                    </a:lnTo>
                    <a:lnTo>
                      <a:pt x="1173" y="1162"/>
                    </a:lnTo>
                    <a:lnTo>
                      <a:pt x="1174" y="1162"/>
                    </a:lnTo>
                    <a:lnTo>
                      <a:pt x="1173" y="1160"/>
                    </a:lnTo>
                    <a:lnTo>
                      <a:pt x="1173" y="1162"/>
                    </a:lnTo>
                    <a:lnTo>
                      <a:pt x="1171" y="1162"/>
                    </a:lnTo>
                    <a:lnTo>
                      <a:pt x="1171" y="1160"/>
                    </a:lnTo>
                    <a:lnTo>
                      <a:pt x="1171" y="1158"/>
                    </a:lnTo>
                    <a:lnTo>
                      <a:pt x="1171" y="1157"/>
                    </a:lnTo>
                    <a:lnTo>
                      <a:pt x="1171" y="1155"/>
                    </a:lnTo>
                    <a:lnTo>
                      <a:pt x="1173" y="1155"/>
                    </a:lnTo>
                    <a:lnTo>
                      <a:pt x="1174" y="1155"/>
                    </a:lnTo>
                    <a:lnTo>
                      <a:pt x="1176" y="1155"/>
                    </a:lnTo>
                    <a:lnTo>
                      <a:pt x="1178" y="1155"/>
                    </a:lnTo>
                    <a:lnTo>
                      <a:pt x="1176" y="1153"/>
                    </a:lnTo>
                    <a:lnTo>
                      <a:pt x="1176" y="1155"/>
                    </a:lnTo>
                    <a:lnTo>
                      <a:pt x="1174" y="1155"/>
                    </a:lnTo>
                    <a:lnTo>
                      <a:pt x="1173" y="1155"/>
                    </a:lnTo>
                    <a:lnTo>
                      <a:pt x="1173" y="1153"/>
                    </a:lnTo>
                    <a:lnTo>
                      <a:pt x="1174" y="1153"/>
                    </a:lnTo>
                    <a:lnTo>
                      <a:pt x="1173" y="1151"/>
                    </a:lnTo>
                    <a:lnTo>
                      <a:pt x="1173" y="1150"/>
                    </a:lnTo>
                    <a:lnTo>
                      <a:pt x="1174" y="1148"/>
                    </a:lnTo>
                    <a:lnTo>
                      <a:pt x="1173" y="1148"/>
                    </a:lnTo>
                    <a:lnTo>
                      <a:pt x="1173" y="1150"/>
                    </a:lnTo>
                    <a:lnTo>
                      <a:pt x="1173" y="1151"/>
                    </a:lnTo>
                    <a:lnTo>
                      <a:pt x="1171" y="1151"/>
                    </a:lnTo>
                    <a:lnTo>
                      <a:pt x="1173" y="1151"/>
                    </a:lnTo>
                    <a:lnTo>
                      <a:pt x="1173" y="1153"/>
                    </a:lnTo>
                    <a:lnTo>
                      <a:pt x="1171" y="1153"/>
                    </a:lnTo>
                    <a:lnTo>
                      <a:pt x="1171" y="1155"/>
                    </a:lnTo>
                    <a:lnTo>
                      <a:pt x="1169" y="1155"/>
                    </a:lnTo>
                    <a:lnTo>
                      <a:pt x="1168" y="1155"/>
                    </a:lnTo>
                    <a:lnTo>
                      <a:pt x="1168" y="1157"/>
                    </a:lnTo>
                    <a:lnTo>
                      <a:pt x="1168" y="1158"/>
                    </a:lnTo>
                    <a:lnTo>
                      <a:pt x="1166" y="1158"/>
                    </a:lnTo>
                    <a:lnTo>
                      <a:pt x="1164" y="1158"/>
                    </a:lnTo>
                    <a:lnTo>
                      <a:pt x="1162" y="1158"/>
                    </a:lnTo>
                    <a:lnTo>
                      <a:pt x="1161" y="1157"/>
                    </a:lnTo>
                    <a:lnTo>
                      <a:pt x="1161" y="1155"/>
                    </a:lnTo>
                    <a:lnTo>
                      <a:pt x="1162" y="1155"/>
                    </a:lnTo>
                    <a:lnTo>
                      <a:pt x="1162" y="1153"/>
                    </a:lnTo>
                    <a:lnTo>
                      <a:pt x="1164" y="1155"/>
                    </a:lnTo>
                    <a:lnTo>
                      <a:pt x="1164" y="1153"/>
                    </a:lnTo>
                    <a:lnTo>
                      <a:pt x="1166" y="1153"/>
                    </a:lnTo>
                    <a:lnTo>
                      <a:pt x="1168" y="1153"/>
                    </a:lnTo>
                    <a:lnTo>
                      <a:pt x="1169" y="1153"/>
                    </a:lnTo>
                    <a:lnTo>
                      <a:pt x="1168" y="1153"/>
                    </a:lnTo>
                    <a:lnTo>
                      <a:pt x="1166" y="1151"/>
                    </a:lnTo>
                    <a:lnTo>
                      <a:pt x="1168" y="1153"/>
                    </a:lnTo>
                    <a:lnTo>
                      <a:pt x="1166" y="1153"/>
                    </a:lnTo>
                    <a:lnTo>
                      <a:pt x="1164" y="1153"/>
                    </a:lnTo>
                    <a:lnTo>
                      <a:pt x="1162" y="1153"/>
                    </a:lnTo>
                    <a:lnTo>
                      <a:pt x="1161" y="1151"/>
                    </a:lnTo>
                    <a:lnTo>
                      <a:pt x="1162" y="1151"/>
                    </a:lnTo>
                    <a:lnTo>
                      <a:pt x="1164" y="1151"/>
                    </a:lnTo>
                    <a:lnTo>
                      <a:pt x="1164" y="1150"/>
                    </a:lnTo>
                    <a:lnTo>
                      <a:pt x="1166" y="1151"/>
                    </a:lnTo>
                    <a:lnTo>
                      <a:pt x="1164" y="1150"/>
                    </a:lnTo>
                    <a:lnTo>
                      <a:pt x="1162" y="1151"/>
                    </a:lnTo>
                    <a:lnTo>
                      <a:pt x="1161" y="1151"/>
                    </a:lnTo>
                    <a:lnTo>
                      <a:pt x="1161" y="1150"/>
                    </a:lnTo>
                    <a:lnTo>
                      <a:pt x="1161" y="1148"/>
                    </a:lnTo>
                    <a:lnTo>
                      <a:pt x="1159" y="1148"/>
                    </a:lnTo>
                    <a:lnTo>
                      <a:pt x="1161" y="1146"/>
                    </a:lnTo>
                    <a:lnTo>
                      <a:pt x="1162" y="1146"/>
                    </a:lnTo>
                    <a:lnTo>
                      <a:pt x="1164" y="1146"/>
                    </a:lnTo>
                    <a:lnTo>
                      <a:pt x="1164" y="1148"/>
                    </a:lnTo>
                    <a:lnTo>
                      <a:pt x="1164" y="1146"/>
                    </a:lnTo>
                    <a:lnTo>
                      <a:pt x="1164" y="1148"/>
                    </a:lnTo>
                    <a:lnTo>
                      <a:pt x="1166" y="1148"/>
                    </a:lnTo>
                    <a:lnTo>
                      <a:pt x="1168" y="1148"/>
                    </a:lnTo>
                    <a:lnTo>
                      <a:pt x="1168" y="1150"/>
                    </a:lnTo>
                    <a:lnTo>
                      <a:pt x="1169" y="1150"/>
                    </a:lnTo>
                    <a:lnTo>
                      <a:pt x="1168" y="1150"/>
                    </a:lnTo>
                    <a:lnTo>
                      <a:pt x="1168" y="1148"/>
                    </a:lnTo>
                    <a:lnTo>
                      <a:pt x="1166" y="1148"/>
                    </a:lnTo>
                    <a:lnTo>
                      <a:pt x="1164" y="1146"/>
                    </a:lnTo>
                    <a:lnTo>
                      <a:pt x="1166" y="1146"/>
                    </a:lnTo>
                    <a:lnTo>
                      <a:pt x="1168" y="1146"/>
                    </a:lnTo>
                    <a:lnTo>
                      <a:pt x="1168" y="1148"/>
                    </a:lnTo>
                    <a:lnTo>
                      <a:pt x="1168" y="1146"/>
                    </a:lnTo>
                    <a:lnTo>
                      <a:pt x="1169" y="1146"/>
                    </a:lnTo>
                    <a:lnTo>
                      <a:pt x="1168" y="1146"/>
                    </a:lnTo>
                    <a:lnTo>
                      <a:pt x="1169" y="1146"/>
                    </a:lnTo>
                    <a:lnTo>
                      <a:pt x="1171" y="1146"/>
                    </a:lnTo>
                    <a:lnTo>
                      <a:pt x="1169" y="1146"/>
                    </a:lnTo>
                    <a:lnTo>
                      <a:pt x="1169" y="1145"/>
                    </a:lnTo>
                    <a:lnTo>
                      <a:pt x="1171" y="1145"/>
                    </a:lnTo>
                    <a:lnTo>
                      <a:pt x="1173" y="1143"/>
                    </a:lnTo>
                    <a:lnTo>
                      <a:pt x="1173" y="1145"/>
                    </a:lnTo>
                    <a:lnTo>
                      <a:pt x="1174" y="1145"/>
                    </a:lnTo>
                    <a:lnTo>
                      <a:pt x="1173" y="1146"/>
                    </a:lnTo>
                    <a:lnTo>
                      <a:pt x="1173" y="1148"/>
                    </a:lnTo>
                    <a:lnTo>
                      <a:pt x="1174" y="1146"/>
                    </a:lnTo>
                    <a:lnTo>
                      <a:pt x="1174" y="1145"/>
                    </a:lnTo>
                    <a:lnTo>
                      <a:pt x="1176" y="1145"/>
                    </a:lnTo>
                    <a:lnTo>
                      <a:pt x="1178" y="1145"/>
                    </a:lnTo>
                    <a:lnTo>
                      <a:pt x="1178" y="1146"/>
                    </a:lnTo>
                    <a:lnTo>
                      <a:pt x="1176" y="1146"/>
                    </a:lnTo>
                    <a:lnTo>
                      <a:pt x="1178" y="1146"/>
                    </a:lnTo>
                    <a:lnTo>
                      <a:pt x="1178" y="1145"/>
                    </a:lnTo>
                    <a:lnTo>
                      <a:pt x="1179" y="1145"/>
                    </a:lnTo>
                    <a:lnTo>
                      <a:pt x="1179" y="1146"/>
                    </a:lnTo>
                    <a:lnTo>
                      <a:pt x="1179" y="1148"/>
                    </a:lnTo>
                    <a:lnTo>
                      <a:pt x="1178" y="1148"/>
                    </a:lnTo>
                    <a:lnTo>
                      <a:pt x="1179" y="1148"/>
                    </a:lnTo>
                    <a:lnTo>
                      <a:pt x="1181" y="1148"/>
                    </a:lnTo>
                    <a:lnTo>
                      <a:pt x="1179" y="1150"/>
                    </a:lnTo>
                    <a:lnTo>
                      <a:pt x="1181" y="1150"/>
                    </a:lnTo>
                    <a:lnTo>
                      <a:pt x="1181" y="1148"/>
                    </a:lnTo>
                    <a:lnTo>
                      <a:pt x="1183" y="1150"/>
                    </a:lnTo>
                    <a:lnTo>
                      <a:pt x="1181" y="1151"/>
                    </a:lnTo>
                    <a:lnTo>
                      <a:pt x="1181" y="1153"/>
                    </a:lnTo>
                    <a:lnTo>
                      <a:pt x="1181" y="1155"/>
                    </a:lnTo>
                    <a:lnTo>
                      <a:pt x="1183" y="1155"/>
                    </a:lnTo>
                    <a:lnTo>
                      <a:pt x="1183" y="1153"/>
                    </a:lnTo>
                    <a:lnTo>
                      <a:pt x="1183" y="1151"/>
                    </a:lnTo>
                    <a:lnTo>
                      <a:pt x="1183" y="1153"/>
                    </a:lnTo>
                    <a:lnTo>
                      <a:pt x="1183" y="1151"/>
                    </a:lnTo>
                    <a:lnTo>
                      <a:pt x="1183" y="1150"/>
                    </a:lnTo>
                    <a:lnTo>
                      <a:pt x="1185" y="1150"/>
                    </a:lnTo>
                    <a:lnTo>
                      <a:pt x="1185" y="1151"/>
                    </a:lnTo>
                    <a:lnTo>
                      <a:pt x="1185" y="1150"/>
                    </a:lnTo>
                    <a:lnTo>
                      <a:pt x="1183" y="1150"/>
                    </a:lnTo>
                    <a:lnTo>
                      <a:pt x="1183" y="1148"/>
                    </a:lnTo>
                    <a:lnTo>
                      <a:pt x="1181" y="1148"/>
                    </a:lnTo>
                    <a:lnTo>
                      <a:pt x="1181" y="1146"/>
                    </a:lnTo>
                    <a:lnTo>
                      <a:pt x="1181" y="1145"/>
                    </a:lnTo>
                    <a:lnTo>
                      <a:pt x="1183" y="1145"/>
                    </a:lnTo>
                    <a:lnTo>
                      <a:pt x="1183" y="1146"/>
                    </a:lnTo>
                    <a:lnTo>
                      <a:pt x="1183" y="1145"/>
                    </a:lnTo>
                    <a:lnTo>
                      <a:pt x="1181" y="1145"/>
                    </a:lnTo>
                    <a:lnTo>
                      <a:pt x="1181" y="1143"/>
                    </a:lnTo>
                    <a:lnTo>
                      <a:pt x="1183" y="1145"/>
                    </a:lnTo>
                    <a:lnTo>
                      <a:pt x="1183" y="1143"/>
                    </a:lnTo>
                    <a:lnTo>
                      <a:pt x="1185" y="1143"/>
                    </a:lnTo>
                    <a:lnTo>
                      <a:pt x="1186" y="1145"/>
                    </a:lnTo>
                    <a:lnTo>
                      <a:pt x="1186" y="1143"/>
                    </a:lnTo>
                    <a:lnTo>
                      <a:pt x="1186" y="1145"/>
                    </a:lnTo>
                    <a:lnTo>
                      <a:pt x="1186" y="1146"/>
                    </a:lnTo>
                    <a:lnTo>
                      <a:pt x="1188" y="1146"/>
                    </a:lnTo>
                    <a:lnTo>
                      <a:pt x="1186" y="1146"/>
                    </a:lnTo>
                    <a:lnTo>
                      <a:pt x="1188" y="1145"/>
                    </a:lnTo>
                    <a:lnTo>
                      <a:pt x="1190" y="1143"/>
                    </a:lnTo>
                    <a:lnTo>
                      <a:pt x="1191" y="1143"/>
                    </a:lnTo>
                    <a:lnTo>
                      <a:pt x="1193" y="1143"/>
                    </a:lnTo>
                    <a:lnTo>
                      <a:pt x="1193" y="1145"/>
                    </a:lnTo>
                    <a:lnTo>
                      <a:pt x="1195" y="1145"/>
                    </a:lnTo>
                    <a:lnTo>
                      <a:pt x="1193" y="1145"/>
                    </a:lnTo>
                    <a:lnTo>
                      <a:pt x="1193" y="1143"/>
                    </a:lnTo>
                    <a:lnTo>
                      <a:pt x="1195" y="1145"/>
                    </a:lnTo>
                    <a:lnTo>
                      <a:pt x="1195" y="1146"/>
                    </a:lnTo>
                    <a:lnTo>
                      <a:pt x="1193" y="1146"/>
                    </a:lnTo>
                    <a:lnTo>
                      <a:pt x="1191" y="1146"/>
                    </a:lnTo>
                    <a:lnTo>
                      <a:pt x="1190" y="1146"/>
                    </a:lnTo>
                    <a:lnTo>
                      <a:pt x="1190" y="1148"/>
                    </a:lnTo>
                    <a:lnTo>
                      <a:pt x="1188" y="1148"/>
                    </a:lnTo>
                    <a:lnTo>
                      <a:pt x="1190" y="1148"/>
                    </a:lnTo>
                    <a:lnTo>
                      <a:pt x="1191" y="1148"/>
                    </a:lnTo>
                    <a:lnTo>
                      <a:pt x="1193" y="1148"/>
                    </a:lnTo>
                    <a:lnTo>
                      <a:pt x="1193" y="1150"/>
                    </a:lnTo>
                    <a:lnTo>
                      <a:pt x="1191" y="1150"/>
                    </a:lnTo>
                    <a:lnTo>
                      <a:pt x="1193" y="1150"/>
                    </a:lnTo>
                    <a:lnTo>
                      <a:pt x="1193" y="1148"/>
                    </a:lnTo>
                    <a:lnTo>
                      <a:pt x="1195" y="1148"/>
                    </a:lnTo>
                    <a:lnTo>
                      <a:pt x="1196" y="1150"/>
                    </a:lnTo>
                    <a:lnTo>
                      <a:pt x="1196" y="1151"/>
                    </a:lnTo>
                    <a:lnTo>
                      <a:pt x="1195" y="1151"/>
                    </a:lnTo>
                    <a:lnTo>
                      <a:pt x="1195" y="1153"/>
                    </a:lnTo>
                    <a:lnTo>
                      <a:pt x="1193" y="1153"/>
                    </a:lnTo>
                    <a:lnTo>
                      <a:pt x="1191" y="1153"/>
                    </a:lnTo>
                    <a:lnTo>
                      <a:pt x="1190" y="1153"/>
                    </a:lnTo>
                    <a:lnTo>
                      <a:pt x="1188" y="1155"/>
                    </a:lnTo>
                    <a:lnTo>
                      <a:pt x="1186" y="1153"/>
                    </a:lnTo>
                    <a:lnTo>
                      <a:pt x="1186" y="1155"/>
                    </a:lnTo>
                    <a:lnTo>
                      <a:pt x="1188" y="1155"/>
                    </a:lnTo>
                    <a:lnTo>
                      <a:pt x="1190" y="1155"/>
                    </a:lnTo>
                    <a:lnTo>
                      <a:pt x="1191" y="1153"/>
                    </a:lnTo>
                    <a:lnTo>
                      <a:pt x="1193" y="1153"/>
                    </a:lnTo>
                    <a:lnTo>
                      <a:pt x="1195" y="1153"/>
                    </a:lnTo>
                    <a:lnTo>
                      <a:pt x="1195" y="1155"/>
                    </a:lnTo>
                    <a:lnTo>
                      <a:pt x="1195" y="1157"/>
                    </a:lnTo>
                    <a:lnTo>
                      <a:pt x="1195" y="1158"/>
                    </a:lnTo>
                    <a:lnTo>
                      <a:pt x="1193" y="1158"/>
                    </a:lnTo>
                    <a:lnTo>
                      <a:pt x="1191" y="1160"/>
                    </a:lnTo>
                    <a:lnTo>
                      <a:pt x="1191" y="1158"/>
                    </a:lnTo>
                    <a:lnTo>
                      <a:pt x="1190" y="1158"/>
                    </a:lnTo>
                    <a:lnTo>
                      <a:pt x="1190" y="1160"/>
                    </a:lnTo>
                    <a:lnTo>
                      <a:pt x="1188" y="1160"/>
                    </a:lnTo>
                    <a:lnTo>
                      <a:pt x="1186" y="1160"/>
                    </a:lnTo>
                    <a:lnTo>
                      <a:pt x="1186" y="1158"/>
                    </a:lnTo>
                    <a:lnTo>
                      <a:pt x="1186" y="1160"/>
                    </a:lnTo>
                    <a:lnTo>
                      <a:pt x="1185" y="1158"/>
                    </a:lnTo>
                    <a:lnTo>
                      <a:pt x="1186" y="1160"/>
                    </a:lnTo>
                    <a:lnTo>
                      <a:pt x="1188" y="1160"/>
                    </a:lnTo>
                    <a:lnTo>
                      <a:pt x="1190" y="1160"/>
                    </a:lnTo>
                    <a:lnTo>
                      <a:pt x="1191" y="1160"/>
                    </a:lnTo>
                    <a:lnTo>
                      <a:pt x="1193" y="1160"/>
                    </a:lnTo>
                    <a:lnTo>
                      <a:pt x="1193" y="1158"/>
                    </a:lnTo>
                    <a:lnTo>
                      <a:pt x="1195" y="1158"/>
                    </a:lnTo>
                    <a:lnTo>
                      <a:pt x="1196" y="1157"/>
                    </a:lnTo>
                    <a:lnTo>
                      <a:pt x="1195" y="1157"/>
                    </a:lnTo>
                    <a:lnTo>
                      <a:pt x="1195" y="1155"/>
                    </a:lnTo>
                    <a:lnTo>
                      <a:pt x="1195" y="1153"/>
                    </a:lnTo>
                    <a:lnTo>
                      <a:pt x="1195" y="1151"/>
                    </a:lnTo>
                    <a:lnTo>
                      <a:pt x="1196" y="1151"/>
                    </a:lnTo>
                    <a:lnTo>
                      <a:pt x="1196" y="1153"/>
                    </a:lnTo>
                    <a:lnTo>
                      <a:pt x="1198" y="1153"/>
                    </a:lnTo>
                    <a:lnTo>
                      <a:pt x="1198" y="1155"/>
                    </a:lnTo>
                    <a:lnTo>
                      <a:pt x="1198" y="1157"/>
                    </a:lnTo>
                    <a:lnTo>
                      <a:pt x="1198" y="1158"/>
                    </a:lnTo>
                    <a:lnTo>
                      <a:pt x="1196" y="1160"/>
                    </a:lnTo>
                    <a:lnTo>
                      <a:pt x="1195" y="1160"/>
                    </a:lnTo>
                    <a:lnTo>
                      <a:pt x="1195" y="1162"/>
                    </a:lnTo>
                    <a:lnTo>
                      <a:pt x="1193" y="1162"/>
                    </a:lnTo>
                    <a:lnTo>
                      <a:pt x="1191" y="1163"/>
                    </a:lnTo>
                    <a:lnTo>
                      <a:pt x="1190" y="1163"/>
                    </a:lnTo>
                    <a:lnTo>
                      <a:pt x="1188" y="1163"/>
                    </a:lnTo>
                    <a:lnTo>
                      <a:pt x="1188" y="1165"/>
                    </a:lnTo>
                    <a:lnTo>
                      <a:pt x="1186" y="1165"/>
                    </a:lnTo>
                    <a:lnTo>
                      <a:pt x="1185" y="1163"/>
                    </a:lnTo>
                    <a:lnTo>
                      <a:pt x="1183" y="1163"/>
                    </a:lnTo>
                    <a:lnTo>
                      <a:pt x="1181" y="1162"/>
                    </a:lnTo>
                    <a:lnTo>
                      <a:pt x="1183" y="1162"/>
                    </a:lnTo>
                    <a:lnTo>
                      <a:pt x="1181" y="1160"/>
                    </a:lnTo>
                    <a:lnTo>
                      <a:pt x="1181" y="1162"/>
                    </a:lnTo>
                    <a:lnTo>
                      <a:pt x="1181" y="1163"/>
                    </a:lnTo>
                    <a:lnTo>
                      <a:pt x="1183" y="1163"/>
                    </a:lnTo>
                    <a:lnTo>
                      <a:pt x="1185" y="1165"/>
                    </a:lnTo>
                    <a:lnTo>
                      <a:pt x="1186" y="1165"/>
                    </a:lnTo>
                    <a:lnTo>
                      <a:pt x="1188" y="1165"/>
                    </a:lnTo>
                    <a:lnTo>
                      <a:pt x="1190" y="1165"/>
                    </a:lnTo>
                    <a:lnTo>
                      <a:pt x="1190" y="1163"/>
                    </a:lnTo>
                    <a:lnTo>
                      <a:pt x="1191" y="1163"/>
                    </a:lnTo>
                    <a:lnTo>
                      <a:pt x="1193" y="1163"/>
                    </a:lnTo>
                    <a:lnTo>
                      <a:pt x="1195" y="1162"/>
                    </a:lnTo>
                    <a:lnTo>
                      <a:pt x="1196" y="1162"/>
                    </a:lnTo>
                    <a:lnTo>
                      <a:pt x="1196" y="1163"/>
                    </a:lnTo>
                    <a:lnTo>
                      <a:pt x="1195" y="1163"/>
                    </a:lnTo>
                    <a:lnTo>
                      <a:pt x="1196" y="1163"/>
                    </a:lnTo>
                    <a:lnTo>
                      <a:pt x="1196" y="1165"/>
                    </a:lnTo>
                    <a:lnTo>
                      <a:pt x="1196" y="1163"/>
                    </a:lnTo>
                    <a:lnTo>
                      <a:pt x="1196" y="1162"/>
                    </a:lnTo>
                    <a:lnTo>
                      <a:pt x="1198" y="1162"/>
                    </a:lnTo>
                    <a:lnTo>
                      <a:pt x="1198" y="1160"/>
                    </a:lnTo>
                    <a:lnTo>
                      <a:pt x="1200" y="1160"/>
                    </a:lnTo>
                    <a:lnTo>
                      <a:pt x="1202" y="1158"/>
                    </a:lnTo>
                    <a:lnTo>
                      <a:pt x="1202" y="1160"/>
                    </a:lnTo>
                    <a:lnTo>
                      <a:pt x="1202" y="1162"/>
                    </a:lnTo>
                    <a:lnTo>
                      <a:pt x="1203" y="1162"/>
                    </a:lnTo>
                    <a:lnTo>
                      <a:pt x="1203" y="1163"/>
                    </a:lnTo>
                    <a:lnTo>
                      <a:pt x="1205" y="1163"/>
                    </a:lnTo>
                    <a:lnTo>
                      <a:pt x="1205" y="1165"/>
                    </a:lnTo>
                    <a:lnTo>
                      <a:pt x="1205" y="1167"/>
                    </a:lnTo>
                    <a:lnTo>
                      <a:pt x="1205" y="1168"/>
                    </a:lnTo>
                    <a:lnTo>
                      <a:pt x="1205" y="1170"/>
                    </a:lnTo>
                    <a:lnTo>
                      <a:pt x="1203" y="1170"/>
                    </a:lnTo>
                    <a:lnTo>
                      <a:pt x="1203" y="1172"/>
                    </a:lnTo>
                    <a:lnTo>
                      <a:pt x="1203" y="1174"/>
                    </a:lnTo>
                    <a:lnTo>
                      <a:pt x="1202" y="1174"/>
                    </a:lnTo>
                    <a:lnTo>
                      <a:pt x="1202" y="1175"/>
                    </a:lnTo>
                    <a:lnTo>
                      <a:pt x="1200" y="1175"/>
                    </a:lnTo>
                    <a:lnTo>
                      <a:pt x="1202" y="1177"/>
                    </a:lnTo>
                    <a:lnTo>
                      <a:pt x="1202" y="1179"/>
                    </a:lnTo>
                    <a:lnTo>
                      <a:pt x="1202" y="1177"/>
                    </a:lnTo>
                    <a:lnTo>
                      <a:pt x="1200" y="1177"/>
                    </a:lnTo>
                    <a:lnTo>
                      <a:pt x="1200" y="1179"/>
                    </a:lnTo>
                    <a:lnTo>
                      <a:pt x="1198" y="1179"/>
                    </a:lnTo>
                    <a:lnTo>
                      <a:pt x="1200" y="1179"/>
                    </a:lnTo>
                    <a:lnTo>
                      <a:pt x="1200" y="1180"/>
                    </a:lnTo>
                    <a:lnTo>
                      <a:pt x="1202" y="1180"/>
                    </a:lnTo>
                    <a:lnTo>
                      <a:pt x="1202" y="1182"/>
                    </a:lnTo>
                    <a:lnTo>
                      <a:pt x="1203" y="1180"/>
                    </a:lnTo>
                    <a:lnTo>
                      <a:pt x="1203" y="1179"/>
                    </a:lnTo>
                    <a:lnTo>
                      <a:pt x="1203" y="1177"/>
                    </a:lnTo>
                    <a:lnTo>
                      <a:pt x="1205" y="1177"/>
                    </a:lnTo>
                    <a:lnTo>
                      <a:pt x="1205" y="1175"/>
                    </a:lnTo>
                    <a:lnTo>
                      <a:pt x="1205" y="1174"/>
                    </a:lnTo>
                    <a:lnTo>
                      <a:pt x="1205" y="1172"/>
                    </a:lnTo>
                    <a:lnTo>
                      <a:pt x="1207" y="1172"/>
                    </a:lnTo>
                    <a:lnTo>
                      <a:pt x="1208" y="1170"/>
                    </a:lnTo>
                    <a:lnTo>
                      <a:pt x="1208" y="1168"/>
                    </a:lnTo>
                    <a:lnTo>
                      <a:pt x="1210" y="1168"/>
                    </a:lnTo>
                    <a:lnTo>
                      <a:pt x="1210" y="1167"/>
                    </a:lnTo>
                    <a:lnTo>
                      <a:pt x="1212" y="1167"/>
                    </a:lnTo>
                    <a:lnTo>
                      <a:pt x="1213" y="1167"/>
                    </a:lnTo>
                    <a:lnTo>
                      <a:pt x="1215" y="1167"/>
                    </a:lnTo>
                    <a:lnTo>
                      <a:pt x="1213" y="1167"/>
                    </a:lnTo>
                    <a:lnTo>
                      <a:pt x="1212" y="1167"/>
                    </a:lnTo>
                    <a:lnTo>
                      <a:pt x="1212" y="1165"/>
                    </a:lnTo>
                    <a:lnTo>
                      <a:pt x="1212" y="1163"/>
                    </a:lnTo>
                    <a:lnTo>
                      <a:pt x="1212" y="1162"/>
                    </a:lnTo>
                    <a:lnTo>
                      <a:pt x="1213" y="1162"/>
                    </a:lnTo>
                    <a:lnTo>
                      <a:pt x="1213" y="1160"/>
                    </a:lnTo>
                    <a:lnTo>
                      <a:pt x="1215" y="1160"/>
                    </a:lnTo>
                    <a:lnTo>
                      <a:pt x="1213" y="1160"/>
                    </a:lnTo>
                    <a:lnTo>
                      <a:pt x="1213" y="1158"/>
                    </a:lnTo>
                    <a:lnTo>
                      <a:pt x="1215" y="1158"/>
                    </a:lnTo>
                    <a:lnTo>
                      <a:pt x="1215" y="1157"/>
                    </a:lnTo>
                    <a:lnTo>
                      <a:pt x="1217" y="1157"/>
                    </a:lnTo>
                    <a:lnTo>
                      <a:pt x="1217" y="1155"/>
                    </a:lnTo>
                    <a:lnTo>
                      <a:pt x="1219" y="1155"/>
                    </a:lnTo>
                    <a:lnTo>
                      <a:pt x="1219" y="1153"/>
                    </a:lnTo>
                    <a:lnTo>
                      <a:pt x="1217" y="1153"/>
                    </a:lnTo>
                    <a:lnTo>
                      <a:pt x="1215" y="1155"/>
                    </a:lnTo>
                    <a:lnTo>
                      <a:pt x="1215" y="1157"/>
                    </a:lnTo>
                    <a:lnTo>
                      <a:pt x="1213" y="1157"/>
                    </a:lnTo>
                    <a:lnTo>
                      <a:pt x="1213" y="1158"/>
                    </a:lnTo>
                    <a:lnTo>
                      <a:pt x="1212" y="1160"/>
                    </a:lnTo>
                    <a:lnTo>
                      <a:pt x="1212" y="1162"/>
                    </a:lnTo>
                    <a:lnTo>
                      <a:pt x="1210" y="1163"/>
                    </a:lnTo>
                    <a:lnTo>
                      <a:pt x="1212" y="1162"/>
                    </a:lnTo>
                    <a:lnTo>
                      <a:pt x="1212" y="1163"/>
                    </a:lnTo>
                    <a:lnTo>
                      <a:pt x="1210" y="1163"/>
                    </a:lnTo>
                    <a:lnTo>
                      <a:pt x="1210" y="1165"/>
                    </a:lnTo>
                    <a:lnTo>
                      <a:pt x="1208" y="1167"/>
                    </a:lnTo>
                    <a:lnTo>
                      <a:pt x="1208" y="1168"/>
                    </a:lnTo>
                    <a:lnTo>
                      <a:pt x="1207" y="1168"/>
                    </a:lnTo>
                    <a:lnTo>
                      <a:pt x="1208" y="1168"/>
                    </a:lnTo>
                    <a:lnTo>
                      <a:pt x="1207" y="1168"/>
                    </a:lnTo>
                    <a:lnTo>
                      <a:pt x="1208" y="1167"/>
                    </a:lnTo>
                    <a:lnTo>
                      <a:pt x="1208" y="1165"/>
                    </a:lnTo>
                    <a:lnTo>
                      <a:pt x="1208" y="1163"/>
                    </a:lnTo>
                    <a:lnTo>
                      <a:pt x="1210" y="1163"/>
                    </a:lnTo>
                    <a:lnTo>
                      <a:pt x="1208" y="1163"/>
                    </a:lnTo>
                    <a:lnTo>
                      <a:pt x="1208" y="1162"/>
                    </a:lnTo>
                    <a:lnTo>
                      <a:pt x="1208" y="1160"/>
                    </a:lnTo>
                    <a:lnTo>
                      <a:pt x="1208" y="1158"/>
                    </a:lnTo>
                    <a:lnTo>
                      <a:pt x="1210" y="1158"/>
                    </a:lnTo>
                    <a:lnTo>
                      <a:pt x="1210" y="1157"/>
                    </a:lnTo>
                    <a:lnTo>
                      <a:pt x="1210" y="1155"/>
                    </a:lnTo>
                    <a:lnTo>
                      <a:pt x="1208" y="1153"/>
                    </a:lnTo>
                    <a:lnTo>
                      <a:pt x="1210" y="1153"/>
                    </a:lnTo>
                    <a:lnTo>
                      <a:pt x="1208" y="1151"/>
                    </a:lnTo>
                    <a:lnTo>
                      <a:pt x="1210" y="1151"/>
                    </a:lnTo>
                    <a:lnTo>
                      <a:pt x="1210" y="1150"/>
                    </a:lnTo>
                    <a:lnTo>
                      <a:pt x="1212" y="1150"/>
                    </a:lnTo>
                    <a:lnTo>
                      <a:pt x="1210" y="1150"/>
                    </a:lnTo>
                    <a:lnTo>
                      <a:pt x="1210" y="1148"/>
                    </a:lnTo>
                    <a:lnTo>
                      <a:pt x="1212" y="1146"/>
                    </a:lnTo>
                    <a:lnTo>
                      <a:pt x="1213" y="1146"/>
                    </a:lnTo>
                    <a:lnTo>
                      <a:pt x="1212" y="1145"/>
                    </a:lnTo>
                    <a:lnTo>
                      <a:pt x="1213" y="1143"/>
                    </a:lnTo>
                    <a:lnTo>
                      <a:pt x="1213" y="1141"/>
                    </a:lnTo>
                    <a:lnTo>
                      <a:pt x="1215" y="1141"/>
                    </a:lnTo>
                    <a:lnTo>
                      <a:pt x="1215" y="1140"/>
                    </a:lnTo>
                    <a:lnTo>
                      <a:pt x="1217" y="1138"/>
                    </a:lnTo>
                    <a:lnTo>
                      <a:pt x="1219" y="1138"/>
                    </a:lnTo>
                    <a:lnTo>
                      <a:pt x="1220" y="1138"/>
                    </a:lnTo>
                    <a:lnTo>
                      <a:pt x="1220" y="1136"/>
                    </a:lnTo>
                    <a:lnTo>
                      <a:pt x="1222" y="1138"/>
                    </a:lnTo>
                    <a:lnTo>
                      <a:pt x="1222" y="1136"/>
                    </a:lnTo>
                    <a:lnTo>
                      <a:pt x="1222" y="1138"/>
                    </a:lnTo>
                    <a:lnTo>
                      <a:pt x="1224" y="1138"/>
                    </a:lnTo>
                    <a:lnTo>
                      <a:pt x="1225" y="1136"/>
                    </a:lnTo>
                    <a:lnTo>
                      <a:pt x="1224" y="1136"/>
                    </a:lnTo>
                    <a:lnTo>
                      <a:pt x="1224" y="1134"/>
                    </a:lnTo>
                    <a:lnTo>
                      <a:pt x="1222" y="1134"/>
                    </a:lnTo>
                    <a:lnTo>
                      <a:pt x="1222" y="1136"/>
                    </a:lnTo>
                    <a:lnTo>
                      <a:pt x="1220" y="1136"/>
                    </a:lnTo>
                    <a:lnTo>
                      <a:pt x="1220" y="1134"/>
                    </a:lnTo>
                    <a:lnTo>
                      <a:pt x="1220" y="1133"/>
                    </a:lnTo>
                    <a:lnTo>
                      <a:pt x="1222" y="1133"/>
                    </a:lnTo>
                    <a:lnTo>
                      <a:pt x="1220" y="1133"/>
                    </a:lnTo>
                    <a:lnTo>
                      <a:pt x="1220" y="1134"/>
                    </a:lnTo>
                    <a:lnTo>
                      <a:pt x="1219" y="1134"/>
                    </a:lnTo>
                    <a:lnTo>
                      <a:pt x="1217" y="1136"/>
                    </a:lnTo>
                    <a:lnTo>
                      <a:pt x="1217" y="1138"/>
                    </a:lnTo>
                    <a:lnTo>
                      <a:pt x="1215" y="1138"/>
                    </a:lnTo>
                    <a:lnTo>
                      <a:pt x="1215" y="1140"/>
                    </a:lnTo>
                    <a:lnTo>
                      <a:pt x="1213" y="1140"/>
                    </a:lnTo>
                    <a:lnTo>
                      <a:pt x="1213" y="1141"/>
                    </a:lnTo>
                    <a:lnTo>
                      <a:pt x="1212" y="1141"/>
                    </a:lnTo>
                    <a:lnTo>
                      <a:pt x="1212" y="1140"/>
                    </a:lnTo>
                    <a:lnTo>
                      <a:pt x="1212" y="1138"/>
                    </a:lnTo>
                    <a:lnTo>
                      <a:pt x="1212" y="1136"/>
                    </a:lnTo>
                    <a:lnTo>
                      <a:pt x="1212" y="1134"/>
                    </a:lnTo>
                    <a:lnTo>
                      <a:pt x="1212" y="1133"/>
                    </a:lnTo>
                    <a:lnTo>
                      <a:pt x="1213" y="1133"/>
                    </a:lnTo>
                    <a:lnTo>
                      <a:pt x="1213" y="1131"/>
                    </a:lnTo>
                    <a:lnTo>
                      <a:pt x="1213" y="1129"/>
                    </a:lnTo>
                    <a:lnTo>
                      <a:pt x="1213" y="1128"/>
                    </a:lnTo>
                    <a:lnTo>
                      <a:pt x="1213" y="1126"/>
                    </a:lnTo>
                    <a:lnTo>
                      <a:pt x="1215" y="1124"/>
                    </a:lnTo>
                    <a:lnTo>
                      <a:pt x="1217" y="1124"/>
                    </a:lnTo>
                    <a:lnTo>
                      <a:pt x="1217" y="1126"/>
                    </a:lnTo>
                    <a:lnTo>
                      <a:pt x="1217" y="1128"/>
                    </a:lnTo>
                    <a:lnTo>
                      <a:pt x="1217" y="1126"/>
                    </a:lnTo>
                    <a:lnTo>
                      <a:pt x="1217" y="1124"/>
                    </a:lnTo>
                    <a:lnTo>
                      <a:pt x="1217" y="1122"/>
                    </a:lnTo>
                    <a:lnTo>
                      <a:pt x="1219" y="1122"/>
                    </a:lnTo>
                    <a:lnTo>
                      <a:pt x="1219" y="1121"/>
                    </a:lnTo>
                    <a:lnTo>
                      <a:pt x="1219" y="1122"/>
                    </a:lnTo>
                    <a:lnTo>
                      <a:pt x="1220" y="1124"/>
                    </a:lnTo>
                    <a:lnTo>
                      <a:pt x="1220" y="1122"/>
                    </a:lnTo>
                    <a:lnTo>
                      <a:pt x="1220" y="1121"/>
                    </a:lnTo>
                    <a:lnTo>
                      <a:pt x="1219" y="1121"/>
                    </a:lnTo>
                    <a:lnTo>
                      <a:pt x="1220" y="1121"/>
                    </a:lnTo>
                    <a:lnTo>
                      <a:pt x="1220" y="1119"/>
                    </a:lnTo>
                    <a:lnTo>
                      <a:pt x="1222" y="1119"/>
                    </a:lnTo>
                    <a:lnTo>
                      <a:pt x="1224" y="1119"/>
                    </a:lnTo>
                    <a:lnTo>
                      <a:pt x="1225" y="1119"/>
                    </a:lnTo>
                    <a:lnTo>
                      <a:pt x="1225" y="1121"/>
                    </a:lnTo>
                    <a:lnTo>
                      <a:pt x="1225" y="1122"/>
                    </a:lnTo>
                    <a:lnTo>
                      <a:pt x="1227" y="1122"/>
                    </a:lnTo>
                    <a:lnTo>
                      <a:pt x="1227" y="1124"/>
                    </a:lnTo>
                    <a:lnTo>
                      <a:pt x="1229" y="1124"/>
                    </a:lnTo>
                    <a:lnTo>
                      <a:pt x="1230" y="1126"/>
                    </a:lnTo>
                    <a:lnTo>
                      <a:pt x="1232" y="1126"/>
                    </a:lnTo>
                    <a:lnTo>
                      <a:pt x="1234" y="1126"/>
                    </a:lnTo>
                    <a:lnTo>
                      <a:pt x="1234" y="1128"/>
                    </a:lnTo>
                    <a:lnTo>
                      <a:pt x="1234" y="1126"/>
                    </a:lnTo>
                    <a:lnTo>
                      <a:pt x="1234" y="1128"/>
                    </a:lnTo>
                    <a:lnTo>
                      <a:pt x="1236" y="1126"/>
                    </a:lnTo>
                    <a:lnTo>
                      <a:pt x="1236" y="1128"/>
                    </a:lnTo>
                    <a:lnTo>
                      <a:pt x="1236" y="1126"/>
                    </a:lnTo>
                    <a:lnTo>
                      <a:pt x="1237" y="1126"/>
                    </a:lnTo>
                    <a:lnTo>
                      <a:pt x="1236" y="1126"/>
                    </a:lnTo>
                    <a:lnTo>
                      <a:pt x="1237" y="1126"/>
                    </a:lnTo>
                    <a:lnTo>
                      <a:pt x="1237" y="1124"/>
                    </a:lnTo>
                    <a:lnTo>
                      <a:pt x="1236" y="1124"/>
                    </a:lnTo>
                    <a:lnTo>
                      <a:pt x="1237" y="1122"/>
                    </a:lnTo>
                    <a:lnTo>
                      <a:pt x="1236" y="1122"/>
                    </a:lnTo>
                    <a:lnTo>
                      <a:pt x="1234" y="1122"/>
                    </a:lnTo>
                    <a:lnTo>
                      <a:pt x="1234" y="1124"/>
                    </a:lnTo>
                    <a:lnTo>
                      <a:pt x="1232" y="1124"/>
                    </a:lnTo>
                    <a:lnTo>
                      <a:pt x="1230" y="1124"/>
                    </a:lnTo>
                    <a:lnTo>
                      <a:pt x="1230" y="1122"/>
                    </a:lnTo>
                    <a:lnTo>
                      <a:pt x="1229" y="1122"/>
                    </a:lnTo>
                    <a:lnTo>
                      <a:pt x="1229" y="1121"/>
                    </a:lnTo>
                    <a:lnTo>
                      <a:pt x="1227" y="1121"/>
                    </a:lnTo>
                    <a:lnTo>
                      <a:pt x="1227" y="1119"/>
                    </a:lnTo>
                    <a:lnTo>
                      <a:pt x="1225" y="1117"/>
                    </a:lnTo>
                    <a:lnTo>
                      <a:pt x="1224" y="1117"/>
                    </a:lnTo>
                    <a:lnTo>
                      <a:pt x="1224" y="1116"/>
                    </a:lnTo>
                    <a:lnTo>
                      <a:pt x="1222" y="1116"/>
                    </a:lnTo>
                    <a:lnTo>
                      <a:pt x="1220" y="1116"/>
                    </a:lnTo>
                    <a:lnTo>
                      <a:pt x="1220" y="1117"/>
                    </a:lnTo>
                    <a:lnTo>
                      <a:pt x="1219" y="1117"/>
                    </a:lnTo>
                    <a:lnTo>
                      <a:pt x="1219" y="1119"/>
                    </a:lnTo>
                    <a:lnTo>
                      <a:pt x="1219" y="1117"/>
                    </a:lnTo>
                    <a:lnTo>
                      <a:pt x="1217" y="1117"/>
                    </a:lnTo>
                    <a:lnTo>
                      <a:pt x="1215" y="1117"/>
                    </a:lnTo>
                    <a:lnTo>
                      <a:pt x="1213" y="1116"/>
                    </a:lnTo>
                    <a:lnTo>
                      <a:pt x="1213" y="1114"/>
                    </a:lnTo>
                    <a:lnTo>
                      <a:pt x="1215" y="1116"/>
                    </a:lnTo>
                    <a:lnTo>
                      <a:pt x="1215" y="1117"/>
                    </a:lnTo>
                    <a:lnTo>
                      <a:pt x="1215" y="1116"/>
                    </a:lnTo>
                    <a:lnTo>
                      <a:pt x="1215" y="1114"/>
                    </a:lnTo>
                    <a:lnTo>
                      <a:pt x="1217" y="1114"/>
                    </a:lnTo>
                    <a:lnTo>
                      <a:pt x="1219" y="1114"/>
                    </a:lnTo>
                    <a:lnTo>
                      <a:pt x="1220" y="1114"/>
                    </a:lnTo>
                    <a:lnTo>
                      <a:pt x="1220" y="1112"/>
                    </a:lnTo>
                    <a:lnTo>
                      <a:pt x="1219" y="1112"/>
                    </a:lnTo>
                    <a:lnTo>
                      <a:pt x="1220" y="1112"/>
                    </a:lnTo>
                    <a:lnTo>
                      <a:pt x="1220" y="1111"/>
                    </a:lnTo>
                    <a:lnTo>
                      <a:pt x="1220" y="1109"/>
                    </a:lnTo>
                    <a:lnTo>
                      <a:pt x="1219" y="1109"/>
                    </a:lnTo>
                    <a:lnTo>
                      <a:pt x="1220" y="1109"/>
                    </a:lnTo>
                    <a:lnTo>
                      <a:pt x="1220" y="1107"/>
                    </a:lnTo>
                    <a:lnTo>
                      <a:pt x="1220" y="1109"/>
                    </a:lnTo>
                    <a:lnTo>
                      <a:pt x="1219" y="1109"/>
                    </a:lnTo>
                    <a:lnTo>
                      <a:pt x="1219" y="1107"/>
                    </a:lnTo>
                    <a:lnTo>
                      <a:pt x="1217" y="1107"/>
                    </a:lnTo>
                    <a:lnTo>
                      <a:pt x="1217" y="1105"/>
                    </a:lnTo>
                    <a:lnTo>
                      <a:pt x="1217" y="1104"/>
                    </a:lnTo>
                    <a:lnTo>
                      <a:pt x="1217" y="1102"/>
                    </a:lnTo>
                    <a:lnTo>
                      <a:pt x="1219" y="1102"/>
                    </a:lnTo>
                    <a:lnTo>
                      <a:pt x="1220" y="1102"/>
                    </a:lnTo>
                    <a:lnTo>
                      <a:pt x="1222" y="1102"/>
                    </a:lnTo>
                    <a:lnTo>
                      <a:pt x="1224" y="1102"/>
                    </a:lnTo>
                    <a:lnTo>
                      <a:pt x="1225" y="1100"/>
                    </a:lnTo>
                    <a:lnTo>
                      <a:pt x="1227" y="1102"/>
                    </a:lnTo>
                    <a:lnTo>
                      <a:pt x="1227" y="1100"/>
                    </a:lnTo>
                    <a:lnTo>
                      <a:pt x="1229" y="1100"/>
                    </a:lnTo>
                    <a:lnTo>
                      <a:pt x="1229" y="1099"/>
                    </a:lnTo>
                    <a:lnTo>
                      <a:pt x="1230" y="1099"/>
                    </a:lnTo>
                    <a:lnTo>
                      <a:pt x="1230" y="1097"/>
                    </a:lnTo>
                    <a:lnTo>
                      <a:pt x="1232" y="1097"/>
                    </a:lnTo>
                    <a:lnTo>
                      <a:pt x="1232" y="1099"/>
                    </a:lnTo>
                    <a:lnTo>
                      <a:pt x="1232" y="1097"/>
                    </a:lnTo>
                    <a:lnTo>
                      <a:pt x="1234" y="1097"/>
                    </a:lnTo>
                    <a:lnTo>
                      <a:pt x="1236" y="1095"/>
                    </a:lnTo>
                    <a:lnTo>
                      <a:pt x="1237" y="1094"/>
                    </a:lnTo>
                    <a:lnTo>
                      <a:pt x="1239" y="1092"/>
                    </a:lnTo>
                    <a:lnTo>
                      <a:pt x="1241" y="1092"/>
                    </a:lnTo>
                    <a:lnTo>
                      <a:pt x="1241" y="1090"/>
                    </a:lnTo>
                    <a:lnTo>
                      <a:pt x="1239" y="1088"/>
                    </a:lnTo>
                    <a:lnTo>
                      <a:pt x="1241" y="1087"/>
                    </a:lnTo>
                    <a:lnTo>
                      <a:pt x="1241" y="1085"/>
                    </a:lnTo>
                    <a:lnTo>
                      <a:pt x="1241" y="1083"/>
                    </a:lnTo>
                    <a:lnTo>
                      <a:pt x="1242" y="1082"/>
                    </a:lnTo>
                    <a:lnTo>
                      <a:pt x="1244" y="1082"/>
                    </a:lnTo>
                    <a:lnTo>
                      <a:pt x="1244" y="1080"/>
                    </a:lnTo>
                    <a:lnTo>
                      <a:pt x="1244" y="1082"/>
                    </a:lnTo>
                    <a:lnTo>
                      <a:pt x="1246" y="1082"/>
                    </a:lnTo>
                    <a:lnTo>
                      <a:pt x="1244" y="1080"/>
                    </a:lnTo>
                    <a:lnTo>
                      <a:pt x="1244" y="1078"/>
                    </a:lnTo>
                    <a:lnTo>
                      <a:pt x="1244" y="1077"/>
                    </a:lnTo>
                    <a:lnTo>
                      <a:pt x="1244" y="1075"/>
                    </a:lnTo>
                    <a:lnTo>
                      <a:pt x="1244" y="1073"/>
                    </a:lnTo>
                    <a:lnTo>
                      <a:pt x="1246" y="1071"/>
                    </a:lnTo>
                    <a:lnTo>
                      <a:pt x="1244" y="1071"/>
                    </a:lnTo>
                    <a:lnTo>
                      <a:pt x="1244" y="1073"/>
                    </a:lnTo>
                    <a:lnTo>
                      <a:pt x="1244" y="1075"/>
                    </a:lnTo>
                    <a:lnTo>
                      <a:pt x="1242" y="1077"/>
                    </a:lnTo>
                    <a:lnTo>
                      <a:pt x="1242" y="1078"/>
                    </a:lnTo>
                    <a:lnTo>
                      <a:pt x="1242" y="1080"/>
                    </a:lnTo>
                    <a:lnTo>
                      <a:pt x="1241" y="1080"/>
                    </a:lnTo>
                    <a:lnTo>
                      <a:pt x="1241" y="1082"/>
                    </a:lnTo>
                    <a:lnTo>
                      <a:pt x="1241" y="1080"/>
                    </a:lnTo>
                    <a:lnTo>
                      <a:pt x="1239" y="1080"/>
                    </a:lnTo>
                    <a:lnTo>
                      <a:pt x="1239" y="1078"/>
                    </a:lnTo>
                    <a:lnTo>
                      <a:pt x="1241" y="1078"/>
                    </a:lnTo>
                    <a:lnTo>
                      <a:pt x="1239" y="1078"/>
                    </a:lnTo>
                    <a:lnTo>
                      <a:pt x="1237" y="1078"/>
                    </a:lnTo>
                    <a:lnTo>
                      <a:pt x="1237" y="1077"/>
                    </a:lnTo>
                    <a:lnTo>
                      <a:pt x="1237" y="1075"/>
                    </a:lnTo>
                    <a:lnTo>
                      <a:pt x="1236" y="1075"/>
                    </a:lnTo>
                    <a:lnTo>
                      <a:pt x="1234" y="1075"/>
                    </a:lnTo>
                    <a:lnTo>
                      <a:pt x="1232" y="1073"/>
                    </a:lnTo>
                    <a:lnTo>
                      <a:pt x="1234" y="1073"/>
                    </a:lnTo>
                    <a:lnTo>
                      <a:pt x="1234" y="1071"/>
                    </a:lnTo>
                    <a:lnTo>
                      <a:pt x="1236" y="1071"/>
                    </a:lnTo>
                    <a:lnTo>
                      <a:pt x="1234" y="1071"/>
                    </a:lnTo>
                    <a:lnTo>
                      <a:pt x="1232" y="1071"/>
                    </a:lnTo>
                    <a:lnTo>
                      <a:pt x="1230" y="1071"/>
                    </a:lnTo>
                    <a:lnTo>
                      <a:pt x="1230" y="1070"/>
                    </a:lnTo>
                    <a:lnTo>
                      <a:pt x="1229" y="1070"/>
                    </a:lnTo>
                    <a:lnTo>
                      <a:pt x="1229" y="1068"/>
                    </a:lnTo>
                    <a:lnTo>
                      <a:pt x="1227" y="1068"/>
                    </a:lnTo>
                    <a:lnTo>
                      <a:pt x="1227" y="1070"/>
                    </a:lnTo>
                    <a:lnTo>
                      <a:pt x="1225" y="1070"/>
                    </a:lnTo>
                    <a:lnTo>
                      <a:pt x="1225" y="1068"/>
                    </a:lnTo>
                    <a:lnTo>
                      <a:pt x="1224" y="1068"/>
                    </a:lnTo>
                    <a:lnTo>
                      <a:pt x="1224" y="1066"/>
                    </a:lnTo>
                    <a:lnTo>
                      <a:pt x="1225" y="1066"/>
                    </a:lnTo>
                    <a:lnTo>
                      <a:pt x="1225" y="1068"/>
                    </a:lnTo>
                    <a:lnTo>
                      <a:pt x="1227" y="1068"/>
                    </a:lnTo>
                    <a:lnTo>
                      <a:pt x="1225" y="1066"/>
                    </a:lnTo>
                    <a:lnTo>
                      <a:pt x="1227" y="1066"/>
                    </a:lnTo>
                    <a:lnTo>
                      <a:pt x="1227" y="1065"/>
                    </a:lnTo>
                    <a:lnTo>
                      <a:pt x="1227" y="1066"/>
                    </a:lnTo>
                    <a:lnTo>
                      <a:pt x="1225" y="1065"/>
                    </a:lnTo>
                    <a:lnTo>
                      <a:pt x="1227" y="1065"/>
                    </a:lnTo>
                    <a:lnTo>
                      <a:pt x="1227" y="1063"/>
                    </a:lnTo>
                    <a:lnTo>
                      <a:pt x="1225" y="1063"/>
                    </a:lnTo>
                    <a:lnTo>
                      <a:pt x="1225" y="1065"/>
                    </a:lnTo>
                    <a:lnTo>
                      <a:pt x="1225" y="1066"/>
                    </a:lnTo>
                    <a:lnTo>
                      <a:pt x="1224" y="1066"/>
                    </a:lnTo>
                    <a:lnTo>
                      <a:pt x="1222" y="1066"/>
                    </a:lnTo>
                    <a:lnTo>
                      <a:pt x="1222" y="1065"/>
                    </a:lnTo>
                    <a:lnTo>
                      <a:pt x="1222" y="1066"/>
                    </a:lnTo>
                    <a:lnTo>
                      <a:pt x="1220" y="1066"/>
                    </a:lnTo>
                    <a:lnTo>
                      <a:pt x="1220" y="1065"/>
                    </a:lnTo>
                    <a:lnTo>
                      <a:pt x="1222" y="1065"/>
                    </a:lnTo>
                    <a:lnTo>
                      <a:pt x="1220" y="1065"/>
                    </a:lnTo>
                    <a:lnTo>
                      <a:pt x="1220" y="1063"/>
                    </a:lnTo>
                    <a:lnTo>
                      <a:pt x="1222" y="1061"/>
                    </a:lnTo>
                    <a:lnTo>
                      <a:pt x="1222" y="1063"/>
                    </a:lnTo>
                    <a:lnTo>
                      <a:pt x="1224" y="1065"/>
                    </a:lnTo>
                    <a:lnTo>
                      <a:pt x="1224" y="1063"/>
                    </a:lnTo>
                    <a:lnTo>
                      <a:pt x="1222" y="1061"/>
                    </a:lnTo>
                    <a:lnTo>
                      <a:pt x="1224" y="1060"/>
                    </a:lnTo>
                    <a:lnTo>
                      <a:pt x="1225" y="1060"/>
                    </a:lnTo>
                    <a:lnTo>
                      <a:pt x="1225" y="1061"/>
                    </a:lnTo>
                    <a:lnTo>
                      <a:pt x="1227" y="1061"/>
                    </a:lnTo>
                    <a:lnTo>
                      <a:pt x="1227" y="1060"/>
                    </a:lnTo>
                    <a:lnTo>
                      <a:pt x="1225" y="1060"/>
                    </a:lnTo>
                    <a:lnTo>
                      <a:pt x="1225" y="1058"/>
                    </a:lnTo>
                    <a:lnTo>
                      <a:pt x="1225" y="1056"/>
                    </a:lnTo>
                    <a:lnTo>
                      <a:pt x="1227" y="1056"/>
                    </a:lnTo>
                    <a:lnTo>
                      <a:pt x="1227" y="1054"/>
                    </a:lnTo>
                    <a:lnTo>
                      <a:pt x="1229" y="1054"/>
                    </a:lnTo>
                    <a:lnTo>
                      <a:pt x="1229" y="1053"/>
                    </a:lnTo>
                    <a:lnTo>
                      <a:pt x="1229" y="1051"/>
                    </a:lnTo>
                    <a:lnTo>
                      <a:pt x="1229" y="1049"/>
                    </a:lnTo>
                    <a:lnTo>
                      <a:pt x="1230" y="1049"/>
                    </a:lnTo>
                    <a:lnTo>
                      <a:pt x="1230" y="1048"/>
                    </a:lnTo>
                    <a:lnTo>
                      <a:pt x="1230" y="1046"/>
                    </a:lnTo>
                    <a:lnTo>
                      <a:pt x="1232" y="1046"/>
                    </a:lnTo>
                    <a:lnTo>
                      <a:pt x="1232" y="1048"/>
                    </a:lnTo>
                    <a:lnTo>
                      <a:pt x="1234" y="1048"/>
                    </a:lnTo>
                    <a:lnTo>
                      <a:pt x="1236" y="1048"/>
                    </a:lnTo>
                    <a:lnTo>
                      <a:pt x="1236" y="1049"/>
                    </a:lnTo>
                    <a:lnTo>
                      <a:pt x="1237" y="1048"/>
                    </a:lnTo>
                    <a:lnTo>
                      <a:pt x="1237" y="1049"/>
                    </a:lnTo>
                    <a:lnTo>
                      <a:pt x="1239" y="1049"/>
                    </a:lnTo>
                    <a:lnTo>
                      <a:pt x="1237" y="1049"/>
                    </a:lnTo>
                    <a:lnTo>
                      <a:pt x="1237" y="1048"/>
                    </a:lnTo>
                    <a:lnTo>
                      <a:pt x="1236" y="1048"/>
                    </a:lnTo>
                    <a:lnTo>
                      <a:pt x="1236" y="1046"/>
                    </a:lnTo>
                    <a:lnTo>
                      <a:pt x="1236" y="1044"/>
                    </a:lnTo>
                    <a:lnTo>
                      <a:pt x="1236" y="1043"/>
                    </a:lnTo>
                    <a:lnTo>
                      <a:pt x="1237" y="1043"/>
                    </a:lnTo>
                    <a:lnTo>
                      <a:pt x="1236" y="1043"/>
                    </a:lnTo>
                    <a:lnTo>
                      <a:pt x="1236" y="1041"/>
                    </a:lnTo>
                    <a:lnTo>
                      <a:pt x="1236" y="1043"/>
                    </a:lnTo>
                    <a:lnTo>
                      <a:pt x="1236" y="1044"/>
                    </a:lnTo>
                    <a:lnTo>
                      <a:pt x="1236" y="1046"/>
                    </a:lnTo>
                    <a:lnTo>
                      <a:pt x="1234" y="1046"/>
                    </a:lnTo>
                    <a:lnTo>
                      <a:pt x="1232" y="1046"/>
                    </a:lnTo>
                    <a:lnTo>
                      <a:pt x="1232" y="1048"/>
                    </a:lnTo>
                    <a:lnTo>
                      <a:pt x="1232" y="1046"/>
                    </a:lnTo>
                    <a:lnTo>
                      <a:pt x="1230" y="1046"/>
                    </a:lnTo>
                    <a:lnTo>
                      <a:pt x="1230" y="1044"/>
                    </a:lnTo>
                    <a:lnTo>
                      <a:pt x="1229" y="1044"/>
                    </a:lnTo>
                    <a:lnTo>
                      <a:pt x="1229" y="1043"/>
                    </a:lnTo>
                    <a:lnTo>
                      <a:pt x="1230" y="1043"/>
                    </a:lnTo>
                    <a:lnTo>
                      <a:pt x="1232" y="1041"/>
                    </a:lnTo>
                    <a:lnTo>
                      <a:pt x="1232" y="1039"/>
                    </a:lnTo>
                    <a:lnTo>
                      <a:pt x="1234" y="1039"/>
                    </a:lnTo>
                    <a:lnTo>
                      <a:pt x="1234" y="1037"/>
                    </a:lnTo>
                    <a:lnTo>
                      <a:pt x="1232" y="1039"/>
                    </a:lnTo>
                    <a:lnTo>
                      <a:pt x="1232" y="1037"/>
                    </a:lnTo>
                    <a:lnTo>
                      <a:pt x="1232" y="1039"/>
                    </a:lnTo>
                    <a:lnTo>
                      <a:pt x="1230" y="1037"/>
                    </a:lnTo>
                    <a:lnTo>
                      <a:pt x="1229" y="1037"/>
                    </a:lnTo>
                    <a:lnTo>
                      <a:pt x="1229" y="1036"/>
                    </a:lnTo>
                    <a:lnTo>
                      <a:pt x="1229" y="1034"/>
                    </a:lnTo>
                    <a:lnTo>
                      <a:pt x="1227" y="1032"/>
                    </a:lnTo>
                    <a:lnTo>
                      <a:pt x="1227" y="1031"/>
                    </a:lnTo>
                    <a:lnTo>
                      <a:pt x="1229" y="1029"/>
                    </a:lnTo>
                    <a:lnTo>
                      <a:pt x="1229" y="1027"/>
                    </a:lnTo>
                    <a:lnTo>
                      <a:pt x="1227" y="1027"/>
                    </a:lnTo>
                    <a:lnTo>
                      <a:pt x="1227" y="1026"/>
                    </a:lnTo>
                    <a:lnTo>
                      <a:pt x="1229" y="1026"/>
                    </a:lnTo>
                    <a:lnTo>
                      <a:pt x="1229" y="1024"/>
                    </a:lnTo>
                    <a:lnTo>
                      <a:pt x="1230" y="1024"/>
                    </a:lnTo>
                    <a:lnTo>
                      <a:pt x="1230" y="1022"/>
                    </a:lnTo>
                    <a:lnTo>
                      <a:pt x="1232" y="1022"/>
                    </a:lnTo>
                    <a:lnTo>
                      <a:pt x="1234" y="1022"/>
                    </a:lnTo>
                    <a:lnTo>
                      <a:pt x="1234" y="1020"/>
                    </a:lnTo>
                    <a:lnTo>
                      <a:pt x="1234" y="1019"/>
                    </a:lnTo>
                    <a:lnTo>
                      <a:pt x="1234" y="1017"/>
                    </a:lnTo>
                    <a:lnTo>
                      <a:pt x="1232" y="1017"/>
                    </a:lnTo>
                    <a:lnTo>
                      <a:pt x="1232" y="1015"/>
                    </a:lnTo>
                    <a:lnTo>
                      <a:pt x="1234" y="1015"/>
                    </a:lnTo>
                    <a:lnTo>
                      <a:pt x="1234" y="1014"/>
                    </a:lnTo>
                    <a:lnTo>
                      <a:pt x="1234" y="1012"/>
                    </a:lnTo>
                    <a:lnTo>
                      <a:pt x="1236" y="1012"/>
                    </a:lnTo>
                    <a:lnTo>
                      <a:pt x="1237" y="1012"/>
                    </a:lnTo>
                    <a:lnTo>
                      <a:pt x="1237" y="1014"/>
                    </a:lnTo>
                    <a:lnTo>
                      <a:pt x="1239" y="1014"/>
                    </a:lnTo>
                    <a:lnTo>
                      <a:pt x="1239" y="1012"/>
                    </a:lnTo>
                    <a:lnTo>
                      <a:pt x="1239" y="1010"/>
                    </a:lnTo>
                    <a:lnTo>
                      <a:pt x="1237" y="1010"/>
                    </a:lnTo>
                    <a:lnTo>
                      <a:pt x="1239" y="1010"/>
                    </a:lnTo>
                    <a:lnTo>
                      <a:pt x="1237" y="1010"/>
                    </a:lnTo>
                    <a:lnTo>
                      <a:pt x="1237" y="1009"/>
                    </a:lnTo>
                    <a:lnTo>
                      <a:pt x="1236" y="1009"/>
                    </a:lnTo>
                    <a:lnTo>
                      <a:pt x="1237" y="1007"/>
                    </a:lnTo>
                    <a:lnTo>
                      <a:pt x="1237" y="1009"/>
                    </a:lnTo>
                    <a:lnTo>
                      <a:pt x="1239" y="1009"/>
                    </a:lnTo>
                    <a:lnTo>
                      <a:pt x="1239" y="1007"/>
                    </a:lnTo>
                    <a:lnTo>
                      <a:pt x="1239" y="1005"/>
                    </a:lnTo>
                    <a:lnTo>
                      <a:pt x="1237" y="1005"/>
                    </a:lnTo>
                    <a:lnTo>
                      <a:pt x="1237" y="1003"/>
                    </a:lnTo>
                    <a:lnTo>
                      <a:pt x="1236" y="1003"/>
                    </a:lnTo>
                    <a:lnTo>
                      <a:pt x="1236" y="1002"/>
                    </a:lnTo>
                    <a:lnTo>
                      <a:pt x="1236" y="1000"/>
                    </a:lnTo>
                    <a:lnTo>
                      <a:pt x="1236" y="998"/>
                    </a:lnTo>
                    <a:lnTo>
                      <a:pt x="1236" y="997"/>
                    </a:lnTo>
                    <a:lnTo>
                      <a:pt x="1237" y="997"/>
                    </a:lnTo>
                    <a:lnTo>
                      <a:pt x="1237" y="995"/>
                    </a:lnTo>
                    <a:lnTo>
                      <a:pt x="1236" y="995"/>
                    </a:lnTo>
                    <a:lnTo>
                      <a:pt x="1236" y="993"/>
                    </a:lnTo>
                    <a:lnTo>
                      <a:pt x="1236" y="992"/>
                    </a:lnTo>
                    <a:lnTo>
                      <a:pt x="1236" y="990"/>
                    </a:lnTo>
                    <a:lnTo>
                      <a:pt x="1236" y="988"/>
                    </a:lnTo>
                    <a:lnTo>
                      <a:pt x="1237" y="988"/>
                    </a:lnTo>
                    <a:lnTo>
                      <a:pt x="1239" y="988"/>
                    </a:lnTo>
                    <a:lnTo>
                      <a:pt x="1241" y="988"/>
                    </a:lnTo>
                    <a:lnTo>
                      <a:pt x="1242" y="990"/>
                    </a:lnTo>
                    <a:lnTo>
                      <a:pt x="1244" y="990"/>
                    </a:lnTo>
                    <a:lnTo>
                      <a:pt x="1244" y="992"/>
                    </a:lnTo>
                    <a:lnTo>
                      <a:pt x="1246" y="992"/>
                    </a:lnTo>
                    <a:lnTo>
                      <a:pt x="1247" y="992"/>
                    </a:lnTo>
                    <a:lnTo>
                      <a:pt x="1247" y="990"/>
                    </a:lnTo>
                    <a:lnTo>
                      <a:pt x="1246" y="992"/>
                    </a:lnTo>
                    <a:lnTo>
                      <a:pt x="1246" y="990"/>
                    </a:lnTo>
                    <a:lnTo>
                      <a:pt x="1244" y="990"/>
                    </a:lnTo>
                    <a:lnTo>
                      <a:pt x="1244" y="988"/>
                    </a:lnTo>
                    <a:lnTo>
                      <a:pt x="1242" y="988"/>
                    </a:lnTo>
                    <a:lnTo>
                      <a:pt x="1242" y="986"/>
                    </a:lnTo>
                    <a:lnTo>
                      <a:pt x="1241" y="986"/>
                    </a:lnTo>
                    <a:lnTo>
                      <a:pt x="1241" y="985"/>
                    </a:lnTo>
                    <a:lnTo>
                      <a:pt x="1241" y="983"/>
                    </a:lnTo>
                    <a:lnTo>
                      <a:pt x="1239" y="983"/>
                    </a:lnTo>
                    <a:lnTo>
                      <a:pt x="1237" y="981"/>
                    </a:lnTo>
                    <a:lnTo>
                      <a:pt x="1237" y="980"/>
                    </a:lnTo>
                    <a:lnTo>
                      <a:pt x="1237" y="978"/>
                    </a:lnTo>
                    <a:lnTo>
                      <a:pt x="1237" y="980"/>
                    </a:lnTo>
                    <a:lnTo>
                      <a:pt x="1236" y="980"/>
                    </a:lnTo>
                    <a:lnTo>
                      <a:pt x="1236" y="978"/>
                    </a:lnTo>
                    <a:lnTo>
                      <a:pt x="1237" y="978"/>
                    </a:lnTo>
                    <a:lnTo>
                      <a:pt x="1237" y="976"/>
                    </a:lnTo>
                    <a:lnTo>
                      <a:pt x="1239" y="976"/>
                    </a:lnTo>
                    <a:lnTo>
                      <a:pt x="1239" y="975"/>
                    </a:lnTo>
                    <a:lnTo>
                      <a:pt x="1241" y="975"/>
                    </a:lnTo>
                    <a:lnTo>
                      <a:pt x="1242" y="975"/>
                    </a:lnTo>
                    <a:lnTo>
                      <a:pt x="1244" y="975"/>
                    </a:lnTo>
                    <a:lnTo>
                      <a:pt x="1244" y="973"/>
                    </a:lnTo>
                    <a:lnTo>
                      <a:pt x="1244" y="975"/>
                    </a:lnTo>
                    <a:lnTo>
                      <a:pt x="1246" y="975"/>
                    </a:lnTo>
                    <a:lnTo>
                      <a:pt x="1246" y="976"/>
                    </a:lnTo>
                    <a:lnTo>
                      <a:pt x="1246" y="978"/>
                    </a:lnTo>
                    <a:lnTo>
                      <a:pt x="1246" y="980"/>
                    </a:lnTo>
                    <a:lnTo>
                      <a:pt x="1247" y="981"/>
                    </a:lnTo>
                    <a:lnTo>
                      <a:pt x="1247" y="983"/>
                    </a:lnTo>
                    <a:lnTo>
                      <a:pt x="1249" y="983"/>
                    </a:lnTo>
                    <a:lnTo>
                      <a:pt x="1249" y="985"/>
                    </a:lnTo>
                    <a:lnTo>
                      <a:pt x="1249" y="986"/>
                    </a:lnTo>
                    <a:lnTo>
                      <a:pt x="1249" y="988"/>
                    </a:lnTo>
                    <a:lnTo>
                      <a:pt x="1249" y="986"/>
                    </a:lnTo>
                    <a:lnTo>
                      <a:pt x="1251" y="986"/>
                    </a:lnTo>
                    <a:lnTo>
                      <a:pt x="1249" y="986"/>
                    </a:lnTo>
                    <a:lnTo>
                      <a:pt x="1249" y="985"/>
                    </a:lnTo>
                    <a:lnTo>
                      <a:pt x="1249" y="983"/>
                    </a:lnTo>
                    <a:lnTo>
                      <a:pt x="1249" y="981"/>
                    </a:lnTo>
                    <a:lnTo>
                      <a:pt x="1249" y="980"/>
                    </a:lnTo>
                    <a:lnTo>
                      <a:pt x="1247" y="980"/>
                    </a:lnTo>
                    <a:lnTo>
                      <a:pt x="1247" y="978"/>
                    </a:lnTo>
                    <a:lnTo>
                      <a:pt x="1249" y="976"/>
                    </a:lnTo>
                    <a:lnTo>
                      <a:pt x="1251" y="976"/>
                    </a:lnTo>
                    <a:lnTo>
                      <a:pt x="1249" y="976"/>
                    </a:lnTo>
                    <a:lnTo>
                      <a:pt x="1249" y="975"/>
                    </a:lnTo>
                    <a:lnTo>
                      <a:pt x="1247" y="975"/>
                    </a:lnTo>
                    <a:lnTo>
                      <a:pt x="1249" y="973"/>
                    </a:lnTo>
                    <a:lnTo>
                      <a:pt x="1251" y="973"/>
                    </a:lnTo>
                    <a:lnTo>
                      <a:pt x="1253" y="973"/>
                    </a:lnTo>
                    <a:lnTo>
                      <a:pt x="1251" y="973"/>
                    </a:lnTo>
                    <a:lnTo>
                      <a:pt x="1251" y="971"/>
                    </a:lnTo>
                    <a:lnTo>
                      <a:pt x="1251" y="973"/>
                    </a:lnTo>
                    <a:lnTo>
                      <a:pt x="1249" y="973"/>
                    </a:lnTo>
                    <a:lnTo>
                      <a:pt x="1247" y="971"/>
                    </a:lnTo>
                    <a:lnTo>
                      <a:pt x="1247" y="969"/>
                    </a:lnTo>
                    <a:lnTo>
                      <a:pt x="1249" y="969"/>
                    </a:lnTo>
                    <a:lnTo>
                      <a:pt x="1247" y="968"/>
                    </a:lnTo>
                    <a:lnTo>
                      <a:pt x="1249" y="968"/>
                    </a:lnTo>
                    <a:lnTo>
                      <a:pt x="1249" y="966"/>
                    </a:lnTo>
                    <a:lnTo>
                      <a:pt x="1249" y="964"/>
                    </a:lnTo>
                    <a:lnTo>
                      <a:pt x="1247" y="963"/>
                    </a:lnTo>
                    <a:lnTo>
                      <a:pt x="1246" y="964"/>
                    </a:lnTo>
                    <a:lnTo>
                      <a:pt x="1246" y="966"/>
                    </a:lnTo>
                    <a:lnTo>
                      <a:pt x="1244" y="966"/>
                    </a:lnTo>
                    <a:lnTo>
                      <a:pt x="1244" y="964"/>
                    </a:lnTo>
                    <a:lnTo>
                      <a:pt x="1244" y="966"/>
                    </a:lnTo>
                    <a:lnTo>
                      <a:pt x="1242" y="966"/>
                    </a:lnTo>
                    <a:lnTo>
                      <a:pt x="1242" y="964"/>
                    </a:lnTo>
                    <a:lnTo>
                      <a:pt x="1241" y="964"/>
                    </a:lnTo>
                    <a:lnTo>
                      <a:pt x="1241" y="966"/>
                    </a:lnTo>
                    <a:lnTo>
                      <a:pt x="1239" y="964"/>
                    </a:lnTo>
                    <a:lnTo>
                      <a:pt x="1237" y="964"/>
                    </a:lnTo>
                    <a:lnTo>
                      <a:pt x="1236" y="963"/>
                    </a:lnTo>
                    <a:lnTo>
                      <a:pt x="1237" y="963"/>
                    </a:lnTo>
                    <a:lnTo>
                      <a:pt x="1236" y="961"/>
                    </a:lnTo>
                    <a:lnTo>
                      <a:pt x="1234" y="961"/>
                    </a:lnTo>
                    <a:lnTo>
                      <a:pt x="1236" y="961"/>
                    </a:lnTo>
                    <a:lnTo>
                      <a:pt x="1236" y="959"/>
                    </a:lnTo>
                    <a:lnTo>
                      <a:pt x="1237" y="959"/>
                    </a:lnTo>
                    <a:lnTo>
                      <a:pt x="1237" y="957"/>
                    </a:lnTo>
                    <a:lnTo>
                      <a:pt x="1237" y="956"/>
                    </a:lnTo>
                    <a:lnTo>
                      <a:pt x="1239" y="956"/>
                    </a:lnTo>
                    <a:lnTo>
                      <a:pt x="1241" y="956"/>
                    </a:lnTo>
                    <a:lnTo>
                      <a:pt x="1241" y="954"/>
                    </a:lnTo>
                    <a:lnTo>
                      <a:pt x="1242" y="952"/>
                    </a:lnTo>
                    <a:lnTo>
                      <a:pt x="1244" y="952"/>
                    </a:lnTo>
                    <a:lnTo>
                      <a:pt x="1246" y="952"/>
                    </a:lnTo>
                    <a:lnTo>
                      <a:pt x="1247" y="952"/>
                    </a:lnTo>
                    <a:lnTo>
                      <a:pt x="1249" y="952"/>
                    </a:lnTo>
                    <a:lnTo>
                      <a:pt x="1249" y="951"/>
                    </a:lnTo>
                    <a:lnTo>
                      <a:pt x="1251" y="951"/>
                    </a:lnTo>
                    <a:lnTo>
                      <a:pt x="1253" y="949"/>
                    </a:lnTo>
                    <a:lnTo>
                      <a:pt x="1253" y="947"/>
                    </a:lnTo>
                    <a:lnTo>
                      <a:pt x="1253" y="946"/>
                    </a:lnTo>
                    <a:lnTo>
                      <a:pt x="1253" y="944"/>
                    </a:lnTo>
                    <a:lnTo>
                      <a:pt x="1254" y="944"/>
                    </a:lnTo>
                    <a:lnTo>
                      <a:pt x="1254" y="942"/>
                    </a:lnTo>
                    <a:lnTo>
                      <a:pt x="1253" y="942"/>
                    </a:lnTo>
                    <a:lnTo>
                      <a:pt x="1253" y="940"/>
                    </a:lnTo>
                    <a:lnTo>
                      <a:pt x="1254" y="939"/>
                    </a:lnTo>
                    <a:lnTo>
                      <a:pt x="1254" y="937"/>
                    </a:lnTo>
                    <a:lnTo>
                      <a:pt x="1253" y="937"/>
                    </a:lnTo>
                    <a:lnTo>
                      <a:pt x="1253" y="939"/>
                    </a:lnTo>
                    <a:lnTo>
                      <a:pt x="1253" y="937"/>
                    </a:lnTo>
                    <a:lnTo>
                      <a:pt x="1254" y="939"/>
                    </a:lnTo>
                    <a:lnTo>
                      <a:pt x="1253" y="939"/>
                    </a:lnTo>
                    <a:lnTo>
                      <a:pt x="1253" y="940"/>
                    </a:lnTo>
                    <a:lnTo>
                      <a:pt x="1253" y="942"/>
                    </a:lnTo>
                    <a:lnTo>
                      <a:pt x="1253" y="944"/>
                    </a:lnTo>
                    <a:lnTo>
                      <a:pt x="1253" y="946"/>
                    </a:lnTo>
                    <a:lnTo>
                      <a:pt x="1253" y="947"/>
                    </a:lnTo>
                    <a:lnTo>
                      <a:pt x="1251" y="947"/>
                    </a:lnTo>
                    <a:lnTo>
                      <a:pt x="1251" y="949"/>
                    </a:lnTo>
                    <a:lnTo>
                      <a:pt x="1249" y="949"/>
                    </a:lnTo>
                    <a:lnTo>
                      <a:pt x="1249" y="951"/>
                    </a:lnTo>
                    <a:lnTo>
                      <a:pt x="1249" y="949"/>
                    </a:lnTo>
                    <a:lnTo>
                      <a:pt x="1247" y="951"/>
                    </a:lnTo>
                    <a:lnTo>
                      <a:pt x="1246" y="951"/>
                    </a:lnTo>
                    <a:lnTo>
                      <a:pt x="1244" y="952"/>
                    </a:lnTo>
                    <a:lnTo>
                      <a:pt x="1244" y="951"/>
                    </a:lnTo>
                    <a:lnTo>
                      <a:pt x="1242" y="951"/>
                    </a:lnTo>
                    <a:lnTo>
                      <a:pt x="1241" y="949"/>
                    </a:lnTo>
                    <a:lnTo>
                      <a:pt x="1241" y="947"/>
                    </a:lnTo>
                    <a:lnTo>
                      <a:pt x="1241" y="946"/>
                    </a:lnTo>
                    <a:lnTo>
                      <a:pt x="1239" y="946"/>
                    </a:lnTo>
                    <a:lnTo>
                      <a:pt x="1239" y="944"/>
                    </a:lnTo>
                    <a:lnTo>
                      <a:pt x="1237" y="944"/>
                    </a:lnTo>
                    <a:lnTo>
                      <a:pt x="1237" y="942"/>
                    </a:lnTo>
                    <a:lnTo>
                      <a:pt x="1236" y="942"/>
                    </a:lnTo>
                    <a:lnTo>
                      <a:pt x="1234" y="942"/>
                    </a:lnTo>
                    <a:lnTo>
                      <a:pt x="1232" y="940"/>
                    </a:lnTo>
                    <a:lnTo>
                      <a:pt x="1230" y="942"/>
                    </a:lnTo>
                    <a:lnTo>
                      <a:pt x="1229" y="942"/>
                    </a:lnTo>
                    <a:lnTo>
                      <a:pt x="1229" y="944"/>
                    </a:lnTo>
                    <a:lnTo>
                      <a:pt x="1229" y="946"/>
                    </a:lnTo>
                    <a:lnTo>
                      <a:pt x="1227" y="946"/>
                    </a:lnTo>
                    <a:lnTo>
                      <a:pt x="1227" y="947"/>
                    </a:lnTo>
                    <a:lnTo>
                      <a:pt x="1229" y="949"/>
                    </a:lnTo>
                    <a:lnTo>
                      <a:pt x="1227" y="949"/>
                    </a:lnTo>
                    <a:lnTo>
                      <a:pt x="1229" y="951"/>
                    </a:lnTo>
                    <a:lnTo>
                      <a:pt x="1229" y="952"/>
                    </a:lnTo>
                    <a:lnTo>
                      <a:pt x="1227" y="951"/>
                    </a:lnTo>
                    <a:lnTo>
                      <a:pt x="1227" y="952"/>
                    </a:lnTo>
                    <a:lnTo>
                      <a:pt x="1225" y="954"/>
                    </a:lnTo>
                    <a:lnTo>
                      <a:pt x="1225" y="952"/>
                    </a:lnTo>
                    <a:lnTo>
                      <a:pt x="1225" y="951"/>
                    </a:lnTo>
                    <a:lnTo>
                      <a:pt x="1225" y="952"/>
                    </a:lnTo>
                    <a:lnTo>
                      <a:pt x="1224" y="952"/>
                    </a:lnTo>
                    <a:lnTo>
                      <a:pt x="1225" y="954"/>
                    </a:lnTo>
                    <a:lnTo>
                      <a:pt x="1224" y="954"/>
                    </a:lnTo>
                    <a:lnTo>
                      <a:pt x="1225" y="954"/>
                    </a:lnTo>
                    <a:lnTo>
                      <a:pt x="1225" y="956"/>
                    </a:lnTo>
                    <a:lnTo>
                      <a:pt x="1224" y="954"/>
                    </a:lnTo>
                    <a:lnTo>
                      <a:pt x="1224" y="956"/>
                    </a:lnTo>
                    <a:lnTo>
                      <a:pt x="1222" y="956"/>
                    </a:lnTo>
                    <a:lnTo>
                      <a:pt x="1222" y="954"/>
                    </a:lnTo>
                    <a:lnTo>
                      <a:pt x="1222" y="952"/>
                    </a:lnTo>
                    <a:lnTo>
                      <a:pt x="1224" y="952"/>
                    </a:lnTo>
                    <a:lnTo>
                      <a:pt x="1224" y="954"/>
                    </a:lnTo>
                    <a:lnTo>
                      <a:pt x="1224" y="952"/>
                    </a:lnTo>
                    <a:lnTo>
                      <a:pt x="1222" y="952"/>
                    </a:lnTo>
                    <a:lnTo>
                      <a:pt x="1222" y="954"/>
                    </a:lnTo>
                    <a:lnTo>
                      <a:pt x="1222" y="956"/>
                    </a:lnTo>
                    <a:lnTo>
                      <a:pt x="1220" y="954"/>
                    </a:lnTo>
                    <a:lnTo>
                      <a:pt x="1219" y="954"/>
                    </a:lnTo>
                    <a:lnTo>
                      <a:pt x="1217" y="954"/>
                    </a:lnTo>
                    <a:lnTo>
                      <a:pt x="1219" y="956"/>
                    </a:lnTo>
                    <a:lnTo>
                      <a:pt x="1217" y="956"/>
                    </a:lnTo>
                    <a:lnTo>
                      <a:pt x="1215" y="954"/>
                    </a:lnTo>
                    <a:lnTo>
                      <a:pt x="1215" y="956"/>
                    </a:lnTo>
                    <a:lnTo>
                      <a:pt x="1213" y="956"/>
                    </a:lnTo>
                    <a:lnTo>
                      <a:pt x="1212" y="954"/>
                    </a:lnTo>
                    <a:lnTo>
                      <a:pt x="1210" y="954"/>
                    </a:lnTo>
                    <a:lnTo>
                      <a:pt x="1208" y="954"/>
                    </a:lnTo>
                    <a:lnTo>
                      <a:pt x="1207" y="954"/>
                    </a:lnTo>
                    <a:lnTo>
                      <a:pt x="1207" y="952"/>
                    </a:lnTo>
                    <a:lnTo>
                      <a:pt x="1207" y="954"/>
                    </a:lnTo>
                    <a:lnTo>
                      <a:pt x="1205" y="952"/>
                    </a:lnTo>
                    <a:lnTo>
                      <a:pt x="1207" y="952"/>
                    </a:lnTo>
                    <a:lnTo>
                      <a:pt x="1207" y="951"/>
                    </a:lnTo>
                    <a:lnTo>
                      <a:pt x="1207" y="949"/>
                    </a:lnTo>
                    <a:lnTo>
                      <a:pt x="1207" y="947"/>
                    </a:lnTo>
                    <a:lnTo>
                      <a:pt x="1207" y="949"/>
                    </a:lnTo>
                    <a:lnTo>
                      <a:pt x="1208" y="949"/>
                    </a:lnTo>
                    <a:lnTo>
                      <a:pt x="1207" y="949"/>
                    </a:lnTo>
                    <a:lnTo>
                      <a:pt x="1207" y="951"/>
                    </a:lnTo>
                    <a:lnTo>
                      <a:pt x="1208" y="949"/>
                    </a:lnTo>
                    <a:lnTo>
                      <a:pt x="1207" y="949"/>
                    </a:lnTo>
                    <a:lnTo>
                      <a:pt x="1208" y="947"/>
                    </a:lnTo>
                    <a:lnTo>
                      <a:pt x="1210" y="947"/>
                    </a:lnTo>
                    <a:lnTo>
                      <a:pt x="1210" y="949"/>
                    </a:lnTo>
                    <a:lnTo>
                      <a:pt x="1212" y="949"/>
                    </a:lnTo>
                    <a:lnTo>
                      <a:pt x="1210" y="947"/>
                    </a:lnTo>
                    <a:lnTo>
                      <a:pt x="1212" y="947"/>
                    </a:lnTo>
                    <a:lnTo>
                      <a:pt x="1210" y="947"/>
                    </a:lnTo>
                    <a:lnTo>
                      <a:pt x="1212" y="947"/>
                    </a:lnTo>
                    <a:lnTo>
                      <a:pt x="1213" y="947"/>
                    </a:lnTo>
                    <a:lnTo>
                      <a:pt x="1212" y="947"/>
                    </a:lnTo>
                    <a:lnTo>
                      <a:pt x="1213" y="946"/>
                    </a:lnTo>
                    <a:lnTo>
                      <a:pt x="1213" y="944"/>
                    </a:lnTo>
                    <a:lnTo>
                      <a:pt x="1215" y="942"/>
                    </a:lnTo>
                    <a:lnTo>
                      <a:pt x="1217" y="942"/>
                    </a:lnTo>
                    <a:lnTo>
                      <a:pt x="1219" y="942"/>
                    </a:lnTo>
                    <a:lnTo>
                      <a:pt x="1217" y="942"/>
                    </a:lnTo>
                    <a:lnTo>
                      <a:pt x="1215" y="942"/>
                    </a:lnTo>
                    <a:lnTo>
                      <a:pt x="1213" y="942"/>
                    </a:lnTo>
                    <a:lnTo>
                      <a:pt x="1213" y="944"/>
                    </a:lnTo>
                    <a:lnTo>
                      <a:pt x="1212" y="946"/>
                    </a:lnTo>
                    <a:lnTo>
                      <a:pt x="1210" y="946"/>
                    </a:lnTo>
                    <a:lnTo>
                      <a:pt x="1210" y="947"/>
                    </a:lnTo>
                    <a:lnTo>
                      <a:pt x="1208" y="946"/>
                    </a:lnTo>
                    <a:lnTo>
                      <a:pt x="1208" y="944"/>
                    </a:lnTo>
                    <a:lnTo>
                      <a:pt x="1210" y="944"/>
                    </a:lnTo>
                    <a:lnTo>
                      <a:pt x="1208" y="944"/>
                    </a:lnTo>
                    <a:lnTo>
                      <a:pt x="1207" y="942"/>
                    </a:lnTo>
                    <a:lnTo>
                      <a:pt x="1207" y="944"/>
                    </a:lnTo>
                    <a:lnTo>
                      <a:pt x="1207" y="946"/>
                    </a:lnTo>
                    <a:lnTo>
                      <a:pt x="1208" y="946"/>
                    </a:lnTo>
                    <a:lnTo>
                      <a:pt x="1207" y="947"/>
                    </a:lnTo>
                    <a:lnTo>
                      <a:pt x="1207" y="946"/>
                    </a:lnTo>
                    <a:lnTo>
                      <a:pt x="1205" y="946"/>
                    </a:lnTo>
                    <a:lnTo>
                      <a:pt x="1205" y="944"/>
                    </a:lnTo>
                    <a:lnTo>
                      <a:pt x="1203" y="944"/>
                    </a:lnTo>
                    <a:lnTo>
                      <a:pt x="1203" y="946"/>
                    </a:lnTo>
                    <a:lnTo>
                      <a:pt x="1203" y="944"/>
                    </a:lnTo>
                    <a:lnTo>
                      <a:pt x="1203" y="942"/>
                    </a:lnTo>
                    <a:lnTo>
                      <a:pt x="1202" y="942"/>
                    </a:lnTo>
                    <a:lnTo>
                      <a:pt x="1202" y="940"/>
                    </a:lnTo>
                    <a:lnTo>
                      <a:pt x="1202" y="939"/>
                    </a:lnTo>
                    <a:lnTo>
                      <a:pt x="1202" y="937"/>
                    </a:lnTo>
                    <a:lnTo>
                      <a:pt x="1202" y="935"/>
                    </a:lnTo>
                    <a:lnTo>
                      <a:pt x="1202" y="934"/>
                    </a:lnTo>
                    <a:lnTo>
                      <a:pt x="1202" y="932"/>
                    </a:lnTo>
                    <a:lnTo>
                      <a:pt x="1202" y="930"/>
                    </a:lnTo>
                    <a:lnTo>
                      <a:pt x="1200" y="930"/>
                    </a:lnTo>
                    <a:lnTo>
                      <a:pt x="1200" y="929"/>
                    </a:lnTo>
                    <a:lnTo>
                      <a:pt x="1200" y="927"/>
                    </a:lnTo>
                    <a:lnTo>
                      <a:pt x="1198" y="925"/>
                    </a:lnTo>
                    <a:lnTo>
                      <a:pt x="1200" y="925"/>
                    </a:lnTo>
                    <a:lnTo>
                      <a:pt x="1198" y="925"/>
                    </a:lnTo>
                    <a:lnTo>
                      <a:pt x="1198" y="923"/>
                    </a:lnTo>
                    <a:lnTo>
                      <a:pt x="1198" y="922"/>
                    </a:lnTo>
                    <a:lnTo>
                      <a:pt x="1198" y="920"/>
                    </a:lnTo>
                    <a:lnTo>
                      <a:pt x="1198" y="918"/>
                    </a:lnTo>
                    <a:lnTo>
                      <a:pt x="1200" y="917"/>
                    </a:lnTo>
                    <a:lnTo>
                      <a:pt x="1202" y="917"/>
                    </a:lnTo>
                    <a:lnTo>
                      <a:pt x="1202" y="915"/>
                    </a:lnTo>
                    <a:lnTo>
                      <a:pt x="1200" y="915"/>
                    </a:lnTo>
                    <a:lnTo>
                      <a:pt x="1200" y="913"/>
                    </a:lnTo>
                    <a:lnTo>
                      <a:pt x="1200" y="912"/>
                    </a:lnTo>
                    <a:lnTo>
                      <a:pt x="1202" y="912"/>
                    </a:lnTo>
                    <a:lnTo>
                      <a:pt x="1200" y="912"/>
                    </a:lnTo>
                    <a:lnTo>
                      <a:pt x="1202" y="910"/>
                    </a:lnTo>
                    <a:lnTo>
                      <a:pt x="1202" y="908"/>
                    </a:lnTo>
                    <a:lnTo>
                      <a:pt x="1202" y="906"/>
                    </a:lnTo>
                    <a:lnTo>
                      <a:pt x="1203" y="906"/>
                    </a:lnTo>
                    <a:lnTo>
                      <a:pt x="1202" y="905"/>
                    </a:lnTo>
                    <a:lnTo>
                      <a:pt x="1203" y="905"/>
                    </a:lnTo>
                    <a:lnTo>
                      <a:pt x="1203" y="903"/>
                    </a:lnTo>
                    <a:lnTo>
                      <a:pt x="1205" y="903"/>
                    </a:lnTo>
                    <a:lnTo>
                      <a:pt x="1205" y="901"/>
                    </a:lnTo>
                    <a:lnTo>
                      <a:pt x="1205" y="900"/>
                    </a:lnTo>
                    <a:lnTo>
                      <a:pt x="1207" y="898"/>
                    </a:lnTo>
                    <a:lnTo>
                      <a:pt x="1205" y="898"/>
                    </a:lnTo>
                    <a:lnTo>
                      <a:pt x="1205" y="896"/>
                    </a:lnTo>
                    <a:lnTo>
                      <a:pt x="1203" y="896"/>
                    </a:lnTo>
                    <a:lnTo>
                      <a:pt x="1203" y="895"/>
                    </a:lnTo>
                    <a:lnTo>
                      <a:pt x="1205" y="895"/>
                    </a:lnTo>
                    <a:lnTo>
                      <a:pt x="1205" y="893"/>
                    </a:lnTo>
                    <a:lnTo>
                      <a:pt x="1205" y="891"/>
                    </a:lnTo>
                    <a:lnTo>
                      <a:pt x="1205" y="889"/>
                    </a:lnTo>
                    <a:lnTo>
                      <a:pt x="1205" y="888"/>
                    </a:lnTo>
                    <a:lnTo>
                      <a:pt x="1205" y="886"/>
                    </a:lnTo>
                    <a:lnTo>
                      <a:pt x="1207" y="886"/>
                    </a:lnTo>
                    <a:lnTo>
                      <a:pt x="1205" y="886"/>
                    </a:lnTo>
                    <a:lnTo>
                      <a:pt x="1207" y="884"/>
                    </a:lnTo>
                    <a:lnTo>
                      <a:pt x="1205" y="884"/>
                    </a:lnTo>
                    <a:lnTo>
                      <a:pt x="1207" y="884"/>
                    </a:lnTo>
                    <a:lnTo>
                      <a:pt x="1207" y="883"/>
                    </a:lnTo>
                    <a:lnTo>
                      <a:pt x="1208" y="883"/>
                    </a:lnTo>
                    <a:lnTo>
                      <a:pt x="1208" y="881"/>
                    </a:lnTo>
                    <a:lnTo>
                      <a:pt x="1208" y="879"/>
                    </a:lnTo>
                    <a:lnTo>
                      <a:pt x="1208" y="878"/>
                    </a:lnTo>
                    <a:lnTo>
                      <a:pt x="1207" y="878"/>
                    </a:lnTo>
                    <a:lnTo>
                      <a:pt x="1207" y="876"/>
                    </a:lnTo>
                    <a:lnTo>
                      <a:pt x="1207" y="874"/>
                    </a:lnTo>
                    <a:lnTo>
                      <a:pt x="1208" y="872"/>
                    </a:lnTo>
                    <a:lnTo>
                      <a:pt x="1210" y="872"/>
                    </a:lnTo>
                    <a:lnTo>
                      <a:pt x="1212" y="872"/>
                    </a:lnTo>
                    <a:lnTo>
                      <a:pt x="1212" y="871"/>
                    </a:lnTo>
                    <a:lnTo>
                      <a:pt x="1213" y="871"/>
                    </a:lnTo>
                    <a:lnTo>
                      <a:pt x="1213" y="869"/>
                    </a:lnTo>
                    <a:lnTo>
                      <a:pt x="1215" y="869"/>
                    </a:lnTo>
                    <a:lnTo>
                      <a:pt x="1215" y="871"/>
                    </a:lnTo>
                    <a:lnTo>
                      <a:pt x="1217" y="871"/>
                    </a:lnTo>
                    <a:lnTo>
                      <a:pt x="1217" y="872"/>
                    </a:lnTo>
                    <a:lnTo>
                      <a:pt x="1217" y="871"/>
                    </a:lnTo>
                    <a:lnTo>
                      <a:pt x="1217" y="872"/>
                    </a:lnTo>
                    <a:lnTo>
                      <a:pt x="1217" y="871"/>
                    </a:lnTo>
                    <a:lnTo>
                      <a:pt x="1219" y="871"/>
                    </a:lnTo>
                    <a:lnTo>
                      <a:pt x="1217" y="871"/>
                    </a:lnTo>
                    <a:lnTo>
                      <a:pt x="1217" y="869"/>
                    </a:lnTo>
                    <a:lnTo>
                      <a:pt x="1219" y="869"/>
                    </a:lnTo>
                    <a:lnTo>
                      <a:pt x="1220" y="869"/>
                    </a:lnTo>
                    <a:lnTo>
                      <a:pt x="1222" y="869"/>
                    </a:lnTo>
                    <a:lnTo>
                      <a:pt x="1220" y="867"/>
                    </a:lnTo>
                    <a:lnTo>
                      <a:pt x="1220" y="869"/>
                    </a:lnTo>
                    <a:lnTo>
                      <a:pt x="1219" y="869"/>
                    </a:lnTo>
                    <a:lnTo>
                      <a:pt x="1217" y="869"/>
                    </a:lnTo>
                    <a:lnTo>
                      <a:pt x="1217" y="867"/>
                    </a:lnTo>
                    <a:lnTo>
                      <a:pt x="1217" y="866"/>
                    </a:lnTo>
                    <a:lnTo>
                      <a:pt x="1217" y="864"/>
                    </a:lnTo>
                    <a:lnTo>
                      <a:pt x="1217" y="862"/>
                    </a:lnTo>
                    <a:lnTo>
                      <a:pt x="1217" y="861"/>
                    </a:lnTo>
                    <a:lnTo>
                      <a:pt x="1219" y="861"/>
                    </a:lnTo>
                    <a:lnTo>
                      <a:pt x="1219" y="859"/>
                    </a:lnTo>
                    <a:lnTo>
                      <a:pt x="1220" y="859"/>
                    </a:lnTo>
                    <a:lnTo>
                      <a:pt x="1220" y="857"/>
                    </a:lnTo>
                    <a:lnTo>
                      <a:pt x="1220" y="855"/>
                    </a:lnTo>
                    <a:lnTo>
                      <a:pt x="1222" y="855"/>
                    </a:lnTo>
                    <a:lnTo>
                      <a:pt x="1222" y="854"/>
                    </a:lnTo>
                    <a:lnTo>
                      <a:pt x="1222" y="852"/>
                    </a:lnTo>
                    <a:lnTo>
                      <a:pt x="1220" y="852"/>
                    </a:lnTo>
                    <a:lnTo>
                      <a:pt x="1220" y="850"/>
                    </a:lnTo>
                    <a:lnTo>
                      <a:pt x="1222" y="850"/>
                    </a:lnTo>
                    <a:lnTo>
                      <a:pt x="1224" y="850"/>
                    </a:lnTo>
                    <a:lnTo>
                      <a:pt x="1222" y="850"/>
                    </a:lnTo>
                    <a:lnTo>
                      <a:pt x="1222" y="849"/>
                    </a:lnTo>
                    <a:lnTo>
                      <a:pt x="1224" y="849"/>
                    </a:lnTo>
                    <a:lnTo>
                      <a:pt x="1222" y="849"/>
                    </a:lnTo>
                    <a:lnTo>
                      <a:pt x="1224" y="849"/>
                    </a:lnTo>
                    <a:lnTo>
                      <a:pt x="1224" y="847"/>
                    </a:lnTo>
                    <a:lnTo>
                      <a:pt x="1222" y="845"/>
                    </a:lnTo>
                    <a:lnTo>
                      <a:pt x="1222" y="844"/>
                    </a:lnTo>
                    <a:lnTo>
                      <a:pt x="1222" y="842"/>
                    </a:lnTo>
                    <a:lnTo>
                      <a:pt x="1222" y="840"/>
                    </a:lnTo>
                    <a:lnTo>
                      <a:pt x="1222" y="838"/>
                    </a:lnTo>
                    <a:lnTo>
                      <a:pt x="1220" y="838"/>
                    </a:lnTo>
                    <a:lnTo>
                      <a:pt x="1220" y="837"/>
                    </a:lnTo>
                    <a:lnTo>
                      <a:pt x="1220" y="835"/>
                    </a:lnTo>
                    <a:lnTo>
                      <a:pt x="1220" y="833"/>
                    </a:lnTo>
                    <a:lnTo>
                      <a:pt x="1219" y="832"/>
                    </a:lnTo>
                    <a:lnTo>
                      <a:pt x="1219" y="830"/>
                    </a:lnTo>
                    <a:lnTo>
                      <a:pt x="1219" y="828"/>
                    </a:lnTo>
                    <a:lnTo>
                      <a:pt x="1219" y="827"/>
                    </a:lnTo>
                    <a:lnTo>
                      <a:pt x="1217" y="827"/>
                    </a:lnTo>
                    <a:lnTo>
                      <a:pt x="1217" y="825"/>
                    </a:lnTo>
                    <a:lnTo>
                      <a:pt x="1217" y="823"/>
                    </a:lnTo>
                    <a:lnTo>
                      <a:pt x="1217" y="821"/>
                    </a:lnTo>
                    <a:lnTo>
                      <a:pt x="1215" y="821"/>
                    </a:lnTo>
                    <a:lnTo>
                      <a:pt x="1217" y="820"/>
                    </a:lnTo>
                    <a:lnTo>
                      <a:pt x="1215" y="820"/>
                    </a:lnTo>
                    <a:lnTo>
                      <a:pt x="1215" y="821"/>
                    </a:lnTo>
                    <a:lnTo>
                      <a:pt x="1217" y="821"/>
                    </a:lnTo>
                    <a:lnTo>
                      <a:pt x="1215" y="821"/>
                    </a:lnTo>
                    <a:lnTo>
                      <a:pt x="1215" y="820"/>
                    </a:lnTo>
                    <a:lnTo>
                      <a:pt x="1213" y="818"/>
                    </a:lnTo>
                    <a:lnTo>
                      <a:pt x="1213" y="816"/>
                    </a:lnTo>
                    <a:lnTo>
                      <a:pt x="1213" y="815"/>
                    </a:lnTo>
                    <a:lnTo>
                      <a:pt x="1213" y="813"/>
                    </a:lnTo>
                    <a:lnTo>
                      <a:pt x="1213" y="811"/>
                    </a:lnTo>
                    <a:lnTo>
                      <a:pt x="1212" y="809"/>
                    </a:lnTo>
                    <a:lnTo>
                      <a:pt x="1213" y="809"/>
                    </a:lnTo>
                    <a:lnTo>
                      <a:pt x="1212" y="809"/>
                    </a:lnTo>
                    <a:lnTo>
                      <a:pt x="1212" y="808"/>
                    </a:lnTo>
                    <a:lnTo>
                      <a:pt x="1212" y="806"/>
                    </a:lnTo>
                    <a:lnTo>
                      <a:pt x="1212" y="804"/>
                    </a:lnTo>
                    <a:lnTo>
                      <a:pt x="1213" y="804"/>
                    </a:lnTo>
                    <a:lnTo>
                      <a:pt x="1213" y="803"/>
                    </a:lnTo>
                    <a:lnTo>
                      <a:pt x="1213" y="801"/>
                    </a:lnTo>
                    <a:lnTo>
                      <a:pt x="1213" y="799"/>
                    </a:lnTo>
                    <a:lnTo>
                      <a:pt x="1213" y="798"/>
                    </a:lnTo>
                    <a:lnTo>
                      <a:pt x="1215" y="798"/>
                    </a:lnTo>
                    <a:lnTo>
                      <a:pt x="1215" y="796"/>
                    </a:lnTo>
                    <a:lnTo>
                      <a:pt x="1215" y="794"/>
                    </a:lnTo>
                    <a:lnTo>
                      <a:pt x="1215" y="792"/>
                    </a:lnTo>
                    <a:lnTo>
                      <a:pt x="1215" y="791"/>
                    </a:lnTo>
                    <a:lnTo>
                      <a:pt x="1213" y="789"/>
                    </a:lnTo>
                    <a:lnTo>
                      <a:pt x="1213" y="787"/>
                    </a:lnTo>
                    <a:lnTo>
                      <a:pt x="1213" y="786"/>
                    </a:lnTo>
                    <a:lnTo>
                      <a:pt x="1212" y="784"/>
                    </a:lnTo>
                    <a:lnTo>
                      <a:pt x="1212" y="782"/>
                    </a:lnTo>
                    <a:lnTo>
                      <a:pt x="1210" y="781"/>
                    </a:lnTo>
                    <a:lnTo>
                      <a:pt x="1210" y="779"/>
                    </a:lnTo>
                    <a:lnTo>
                      <a:pt x="1208" y="779"/>
                    </a:lnTo>
                    <a:lnTo>
                      <a:pt x="1208" y="777"/>
                    </a:lnTo>
                    <a:lnTo>
                      <a:pt x="1207" y="775"/>
                    </a:lnTo>
                    <a:lnTo>
                      <a:pt x="1208" y="775"/>
                    </a:lnTo>
                    <a:lnTo>
                      <a:pt x="1208" y="774"/>
                    </a:lnTo>
                    <a:lnTo>
                      <a:pt x="1207" y="774"/>
                    </a:lnTo>
                    <a:lnTo>
                      <a:pt x="1207" y="772"/>
                    </a:lnTo>
                    <a:lnTo>
                      <a:pt x="1207" y="770"/>
                    </a:lnTo>
                    <a:lnTo>
                      <a:pt x="1208" y="772"/>
                    </a:lnTo>
                    <a:lnTo>
                      <a:pt x="1208" y="770"/>
                    </a:lnTo>
                    <a:lnTo>
                      <a:pt x="1208" y="769"/>
                    </a:lnTo>
                    <a:lnTo>
                      <a:pt x="1210" y="769"/>
                    </a:lnTo>
                    <a:lnTo>
                      <a:pt x="1210" y="767"/>
                    </a:lnTo>
                    <a:lnTo>
                      <a:pt x="1210" y="765"/>
                    </a:lnTo>
                    <a:lnTo>
                      <a:pt x="1210" y="764"/>
                    </a:lnTo>
                    <a:lnTo>
                      <a:pt x="1210" y="765"/>
                    </a:lnTo>
                    <a:lnTo>
                      <a:pt x="1210" y="764"/>
                    </a:lnTo>
                    <a:lnTo>
                      <a:pt x="1210" y="762"/>
                    </a:lnTo>
                    <a:lnTo>
                      <a:pt x="1208" y="762"/>
                    </a:lnTo>
                    <a:lnTo>
                      <a:pt x="1207" y="760"/>
                    </a:lnTo>
                    <a:lnTo>
                      <a:pt x="1207" y="762"/>
                    </a:lnTo>
                    <a:lnTo>
                      <a:pt x="1207" y="760"/>
                    </a:lnTo>
                    <a:lnTo>
                      <a:pt x="1208" y="758"/>
                    </a:lnTo>
                    <a:lnTo>
                      <a:pt x="1207" y="758"/>
                    </a:lnTo>
                    <a:lnTo>
                      <a:pt x="1208" y="757"/>
                    </a:lnTo>
                    <a:lnTo>
                      <a:pt x="1208" y="755"/>
                    </a:lnTo>
                    <a:lnTo>
                      <a:pt x="1208" y="753"/>
                    </a:lnTo>
                    <a:lnTo>
                      <a:pt x="1210" y="752"/>
                    </a:lnTo>
                    <a:lnTo>
                      <a:pt x="1212" y="753"/>
                    </a:lnTo>
                    <a:lnTo>
                      <a:pt x="1210" y="753"/>
                    </a:lnTo>
                    <a:lnTo>
                      <a:pt x="1212" y="755"/>
                    </a:lnTo>
                    <a:lnTo>
                      <a:pt x="1213" y="755"/>
                    </a:lnTo>
                    <a:lnTo>
                      <a:pt x="1213" y="753"/>
                    </a:lnTo>
                    <a:lnTo>
                      <a:pt x="1213" y="755"/>
                    </a:lnTo>
                    <a:lnTo>
                      <a:pt x="1215" y="755"/>
                    </a:lnTo>
                    <a:lnTo>
                      <a:pt x="1215" y="757"/>
                    </a:lnTo>
                    <a:lnTo>
                      <a:pt x="1215" y="755"/>
                    </a:lnTo>
                    <a:lnTo>
                      <a:pt x="1217" y="755"/>
                    </a:lnTo>
                    <a:lnTo>
                      <a:pt x="1219" y="755"/>
                    </a:lnTo>
                    <a:lnTo>
                      <a:pt x="1220" y="755"/>
                    </a:lnTo>
                    <a:lnTo>
                      <a:pt x="1222" y="755"/>
                    </a:lnTo>
                    <a:lnTo>
                      <a:pt x="1222" y="753"/>
                    </a:lnTo>
                    <a:lnTo>
                      <a:pt x="1224" y="753"/>
                    </a:lnTo>
                    <a:lnTo>
                      <a:pt x="1224" y="752"/>
                    </a:lnTo>
                    <a:lnTo>
                      <a:pt x="1225" y="750"/>
                    </a:lnTo>
                    <a:lnTo>
                      <a:pt x="1224" y="750"/>
                    </a:lnTo>
                    <a:lnTo>
                      <a:pt x="1224" y="748"/>
                    </a:lnTo>
                    <a:lnTo>
                      <a:pt x="1225" y="748"/>
                    </a:lnTo>
                    <a:lnTo>
                      <a:pt x="1225" y="747"/>
                    </a:lnTo>
                    <a:lnTo>
                      <a:pt x="1224" y="747"/>
                    </a:lnTo>
                    <a:lnTo>
                      <a:pt x="1224" y="745"/>
                    </a:lnTo>
                    <a:lnTo>
                      <a:pt x="1224" y="743"/>
                    </a:lnTo>
                    <a:lnTo>
                      <a:pt x="1225" y="743"/>
                    </a:lnTo>
                    <a:lnTo>
                      <a:pt x="1225" y="741"/>
                    </a:lnTo>
                    <a:lnTo>
                      <a:pt x="1225" y="740"/>
                    </a:lnTo>
                    <a:lnTo>
                      <a:pt x="1225" y="738"/>
                    </a:lnTo>
                    <a:lnTo>
                      <a:pt x="1227" y="738"/>
                    </a:lnTo>
                    <a:lnTo>
                      <a:pt x="1227" y="740"/>
                    </a:lnTo>
                    <a:lnTo>
                      <a:pt x="1229" y="738"/>
                    </a:lnTo>
                    <a:lnTo>
                      <a:pt x="1227" y="738"/>
                    </a:lnTo>
                    <a:lnTo>
                      <a:pt x="1225" y="738"/>
                    </a:lnTo>
                    <a:lnTo>
                      <a:pt x="1224" y="738"/>
                    </a:lnTo>
                    <a:lnTo>
                      <a:pt x="1224" y="736"/>
                    </a:lnTo>
                    <a:lnTo>
                      <a:pt x="1222" y="736"/>
                    </a:lnTo>
                    <a:lnTo>
                      <a:pt x="1224" y="736"/>
                    </a:lnTo>
                    <a:lnTo>
                      <a:pt x="1224" y="735"/>
                    </a:lnTo>
                    <a:lnTo>
                      <a:pt x="1224" y="736"/>
                    </a:lnTo>
                    <a:lnTo>
                      <a:pt x="1225" y="735"/>
                    </a:lnTo>
                    <a:lnTo>
                      <a:pt x="1225" y="733"/>
                    </a:lnTo>
                    <a:lnTo>
                      <a:pt x="1225" y="731"/>
                    </a:lnTo>
                    <a:lnTo>
                      <a:pt x="1225" y="730"/>
                    </a:lnTo>
                    <a:lnTo>
                      <a:pt x="1227" y="730"/>
                    </a:lnTo>
                    <a:lnTo>
                      <a:pt x="1227" y="731"/>
                    </a:lnTo>
                    <a:lnTo>
                      <a:pt x="1227" y="733"/>
                    </a:lnTo>
                    <a:lnTo>
                      <a:pt x="1225" y="733"/>
                    </a:lnTo>
                    <a:lnTo>
                      <a:pt x="1227" y="735"/>
                    </a:lnTo>
                    <a:lnTo>
                      <a:pt x="1229" y="735"/>
                    </a:lnTo>
                    <a:lnTo>
                      <a:pt x="1230" y="735"/>
                    </a:lnTo>
                    <a:lnTo>
                      <a:pt x="1230" y="733"/>
                    </a:lnTo>
                    <a:lnTo>
                      <a:pt x="1230" y="731"/>
                    </a:lnTo>
                    <a:lnTo>
                      <a:pt x="1232" y="730"/>
                    </a:lnTo>
                    <a:lnTo>
                      <a:pt x="1230" y="730"/>
                    </a:lnTo>
                    <a:lnTo>
                      <a:pt x="1230" y="728"/>
                    </a:lnTo>
                    <a:lnTo>
                      <a:pt x="1230" y="726"/>
                    </a:lnTo>
                    <a:lnTo>
                      <a:pt x="1232" y="726"/>
                    </a:lnTo>
                    <a:lnTo>
                      <a:pt x="1232" y="724"/>
                    </a:lnTo>
                    <a:lnTo>
                      <a:pt x="1234" y="724"/>
                    </a:lnTo>
                    <a:lnTo>
                      <a:pt x="1232" y="724"/>
                    </a:lnTo>
                    <a:lnTo>
                      <a:pt x="1232" y="723"/>
                    </a:lnTo>
                    <a:lnTo>
                      <a:pt x="1234" y="723"/>
                    </a:lnTo>
                    <a:lnTo>
                      <a:pt x="1234" y="721"/>
                    </a:lnTo>
                    <a:lnTo>
                      <a:pt x="1234" y="719"/>
                    </a:lnTo>
                    <a:lnTo>
                      <a:pt x="1236" y="718"/>
                    </a:lnTo>
                    <a:lnTo>
                      <a:pt x="1236" y="716"/>
                    </a:lnTo>
                    <a:lnTo>
                      <a:pt x="1236" y="714"/>
                    </a:lnTo>
                    <a:lnTo>
                      <a:pt x="1236" y="713"/>
                    </a:lnTo>
                    <a:lnTo>
                      <a:pt x="1236" y="711"/>
                    </a:lnTo>
                    <a:lnTo>
                      <a:pt x="1237" y="711"/>
                    </a:lnTo>
                    <a:lnTo>
                      <a:pt x="1237" y="709"/>
                    </a:lnTo>
                    <a:lnTo>
                      <a:pt x="1236" y="707"/>
                    </a:lnTo>
                    <a:lnTo>
                      <a:pt x="1237" y="707"/>
                    </a:lnTo>
                    <a:lnTo>
                      <a:pt x="1237" y="706"/>
                    </a:lnTo>
                    <a:lnTo>
                      <a:pt x="1237" y="704"/>
                    </a:lnTo>
                    <a:lnTo>
                      <a:pt x="1237" y="702"/>
                    </a:lnTo>
                    <a:lnTo>
                      <a:pt x="1239" y="702"/>
                    </a:lnTo>
                    <a:lnTo>
                      <a:pt x="1239" y="701"/>
                    </a:lnTo>
                    <a:lnTo>
                      <a:pt x="1241" y="701"/>
                    </a:lnTo>
                    <a:lnTo>
                      <a:pt x="1241" y="699"/>
                    </a:lnTo>
                    <a:lnTo>
                      <a:pt x="1242" y="697"/>
                    </a:lnTo>
                    <a:lnTo>
                      <a:pt x="1244" y="696"/>
                    </a:lnTo>
                    <a:lnTo>
                      <a:pt x="1244" y="694"/>
                    </a:lnTo>
                    <a:lnTo>
                      <a:pt x="1244" y="692"/>
                    </a:lnTo>
                    <a:lnTo>
                      <a:pt x="1244" y="690"/>
                    </a:lnTo>
                    <a:lnTo>
                      <a:pt x="1244" y="689"/>
                    </a:lnTo>
                    <a:lnTo>
                      <a:pt x="1242" y="689"/>
                    </a:lnTo>
                    <a:lnTo>
                      <a:pt x="1242" y="687"/>
                    </a:lnTo>
                    <a:lnTo>
                      <a:pt x="1242" y="685"/>
                    </a:lnTo>
                    <a:lnTo>
                      <a:pt x="1244" y="685"/>
                    </a:lnTo>
                    <a:lnTo>
                      <a:pt x="1244" y="684"/>
                    </a:lnTo>
                    <a:lnTo>
                      <a:pt x="1246" y="684"/>
                    </a:lnTo>
                    <a:lnTo>
                      <a:pt x="1246" y="682"/>
                    </a:lnTo>
                    <a:lnTo>
                      <a:pt x="1247" y="682"/>
                    </a:lnTo>
                    <a:lnTo>
                      <a:pt x="1247" y="680"/>
                    </a:lnTo>
                    <a:lnTo>
                      <a:pt x="1247" y="679"/>
                    </a:lnTo>
                    <a:lnTo>
                      <a:pt x="1247" y="677"/>
                    </a:lnTo>
                    <a:lnTo>
                      <a:pt x="1249" y="677"/>
                    </a:lnTo>
                    <a:lnTo>
                      <a:pt x="1249" y="675"/>
                    </a:lnTo>
                    <a:lnTo>
                      <a:pt x="1251" y="675"/>
                    </a:lnTo>
                    <a:lnTo>
                      <a:pt x="1251" y="673"/>
                    </a:lnTo>
                    <a:lnTo>
                      <a:pt x="1251" y="672"/>
                    </a:lnTo>
                    <a:lnTo>
                      <a:pt x="1251" y="670"/>
                    </a:lnTo>
                    <a:lnTo>
                      <a:pt x="1253" y="670"/>
                    </a:lnTo>
                    <a:lnTo>
                      <a:pt x="1254" y="668"/>
                    </a:lnTo>
                    <a:lnTo>
                      <a:pt x="1256" y="668"/>
                    </a:lnTo>
                    <a:lnTo>
                      <a:pt x="1256" y="667"/>
                    </a:lnTo>
                    <a:lnTo>
                      <a:pt x="1258" y="667"/>
                    </a:lnTo>
                    <a:lnTo>
                      <a:pt x="1258" y="665"/>
                    </a:lnTo>
                    <a:lnTo>
                      <a:pt x="1258" y="663"/>
                    </a:lnTo>
                    <a:lnTo>
                      <a:pt x="1258" y="662"/>
                    </a:lnTo>
                    <a:lnTo>
                      <a:pt x="1258" y="660"/>
                    </a:lnTo>
                    <a:lnTo>
                      <a:pt x="1258" y="658"/>
                    </a:lnTo>
                    <a:lnTo>
                      <a:pt x="1258" y="656"/>
                    </a:lnTo>
                    <a:lnTo>
                      <a:pt x="1259" y="656"/>
                    </a:lnTo>
                    <a:lnTo>
                      <a:pt x="1259" y="655"/>
                    </a:lnTo>
                    <a:lnTo>
                      <a:pt x="1259" y="653"/>
                    </a:lnTo>
                    <a:lnTo>
                      <a:pt x="1261" y="651"/>
                    </a:lnTo>
                    <a:lnTo>
                      <a:pt x="1261" y="650"/>
                    </a:lnTo>
                    <a:lnTo>
                      <a:pt x="1263" y="650"/>
                    </a:lnTo>
                    <a:lnTo>
                      <a:pt x="1263" y="648"/>
                    </a:lnTo>
                    <a:lnTo>
                      <a:pt x="1263" y="646"/>
                    </a:lnTo>
                    <a:lnTo>
                      <a:pt x="1263" y="644"/>
                    </a:lnTo>
                    <a:lnTo>
                      <a:pt x="1263" y="643"/>
                    </a:lnTo>
                    <a:lnTo>
                      <a:pt x="1263" y="641"/>
                    </a:lnTo>
                    <a:lnTo>
                      <a:pt x="1263" y="639"/>
                    </a:lnTo>
                    <a:lnTo>
                      <a:pt x="1263" y="638"/>
                    </a:lnTo>
                    <a:lnTo>
                      <a:pt x="1263" y="636"/>
                    </a:lnTo>
                    <a:lnTo>
                      <a:pt x="1264" y="636"/>
                    </a:lnTo>
                    <a:lnTo>
                      <a:pt x="1264" y="634"/>
                    </a:lnTo>
                    <a:lnTo>
                      <a:pt x="1264" y="633"/>
                    </a:lnTo>
                    <a:lnTo>
                      <a:pt x="1264" y="631"/>
                    </a:lnTo>
                    <a:lnTo>
                      <a:pt x="1264" y="629"/>
                    </a:lnTo>
                    <a:lnTo>
                      <a:pt x="1264" y="627"/>
                    </a:lnTo>
                    <a:lnTo>
                      <a:pt x="1263" y="627"/>
                    </a:lnTo>
                    <a:lnTo>
                      <a:pt x="1264" y="627"/>
                    </a:lnTo>
                    <a:lnTo>
                      <a:pt x="1263" y="626"/>
                    </a:lnTo>
                    <a:lnTo>
                      <a:pt x="1264" y="626"/>
                    </a:lnTo>
                    <a:lnTo>
                      <a:pt x="1266" y="624"/>
                    </a:lnTo>
                    <a:lnTo>
                      <a:pt x="1266" y="622"/>
                    </a:lnTo>
                    <a:lnTo>
                      <a:pt x="1268" y="621"/>
                    </a:lnTo>
                    <a:lnTo>
                      <a:pt x="1268" y="619"/>
                    </a:lnTo>
                    <a:lnTo>
                      <a:pt x="1270" y="617"/>
                    </a:lnTo>
                    <a:lnTo>
                      <a:pt x="1270" y="616"/>
                    </a:lnTo>
                    <a:lnTo>
                      <a:pt x="1270" y="614"/>
                    </a:lnTo>
                    <a:lnTo>
                      <a:pt x="1271" y="612"/>
                    </a:lnTo>
                    <a:lnTo>
                      <a:pt x="1273" y="612"/>
                    </a:lnTo>
                    <a:lnTo>
                      <a:pt x="1273" y="610"/>
                    </a:lnTo>
                    <a:lnTo>
                      <a:pt x="1275" y="610"/>
                    </a:lnTo>
                    <a:lnTo>
                      <a:pt x="1275" y="609"/>
                    </a:lnTo>
                    <a:lnTo>
                      <a:pt x="1276" y="609"/>
                    </a:lnTo>
                    <a:lnTo>
                      <a:pt x="1276" y="607"/>
                    </a:lnTo>
                    <a:lnTo>
                      <a:pt x="1276" y="605"/>
                    </a:lnTo>
                    <a:lnTo>
                      <a:pt x="1276" y="604"/>
                    </a:lnTo>
                    <a:lnTo>
                      <a:pt x="1276" y="602"/>
                    </a:lnTo>
                    <a:lnTo>
                      <a:pt x="1276" y="600"/>
                    </a:lnTo>
                    <a:lnTo>
                      <a:pt x="1275" y="599"/>
                    </a:lnTo>
                    <a:lnTo>
                      <a:pt x="1273" y="599"/>
                    </a:lnTo>
                    <a:lnTo>
                      <a:pt x="1275" y="597"/>
                    </a:lnTo>
                    <a:lnTo>
                      <a:pt x="1273" y="597"/>
                    </a:lnTo>
                    <a:lnTo>
                      <a:pt x="1275" y="597"/>
                    </a:lnTo>
                    <a:lnTo>
                      <a:pt x="1275" y="595"/>
                    </a:lnTo>
                    <a:lnTo>
                      <a:pt x="1276" y="593"/>
                    </a:lnTo>
                    <a:lnTo>
                      <a:pt x="1275" y="593"/>
                    </a:lnTo>
                    <a:lnTo>
                      <a:pt x="1275" y="592"/>
                    </a:lnTo>
                    <a:lnTo>
                      <a:pt x="1275" y="590"/>
                    </a:lnTo>
                    <a:lnTo>
                      <a:pt x="1275" y="588"/>
                    </a:lnTo>
                    <a:lnTo>
                      <a:pt x="1273" y="588"/>
                    </a:lnTo>
                    <a:lnTo>
                      <a:pt x="1275" y="588"/>
                    </a:lnTo>
                    <a:lnTo>
                      <a:pt x="1275" y="587"/>
                    </a:lnTo>
                    <a:lnTo>
                      <a:pt x="1273" y="587"/>
                    </a:lnTo>
                    <a:lnTo>
                      <a:pt x="1273" y="585"/>
                    </a:lnTo>
                    <a:lnTo>
                      <a:pt x="1275" y="585"/>
                    </a:lnTo>
                    <a:lnTo>
                      <a:pt x="1275" y="583"/>
                    </a:lnTo>
                    <a:lnTo>
                      <a:pt x="1275" y="582"/>
                    </a:lnTo>
                    <a:lnTo>
                      <a:pt x="1276" y="582"/>
                    </a:lnTo>
                    <a:lnTo>
                      <a:pt x="1278" y="582"/>
                    </a:lnTo>
                    <a:lnTo>
                      <a:pt x="1280" y="580"/>
                    </a:lnTo>
                    <a:lnTo>
                      <a:pt x="1280" y="578"/>
                    </a:lnTo>
                    <a:lnTo>
                      <a:pt x="1278" y="578"/>
                    </a:lnTo>
                    <a:lnTo>
                      <a:pt x="1280" y="578"/>
                    </a:lnTo>
                    <a:lnTo>
                      <a:pt x="1280" y="576"/>
                    </a:lnTo>
                    <a:lnTo>
                      <a:pt x="1280" y="575"/>
                    </a:lnTo>
                    <a:lnTo>
                      <a:pt x="1280" y="573"/>
                    </a:lnTo>
                    <a:lnTo>
                      <a:pt x="1280" y="571"/>
                    </a:lnTo>
                    <a:lnTo>
                      <a:pt x="1281" y="571"/>
                    </a:lnTo>
                    <a:lnTo>
                      <a:pt x="1281" y="570"/>
                    </a:lnTo>
                    <a:lnTo>
                      <a:pt x="1280" y="570"/>
                    </a:lnTo>
                    <a:lnTo>
                      <a:pt x="1281" y="570"/>
                    </a:lnTo>
                    <a:lnTo>
                      <a:pt x="1281" y="568"/>
                    </a:lnTo>
                    <a:lnTo>
                      <a:pt x="1283" y="568"/>
                    </a:lnTo>
                    <a:lnTo>
                      <a:pt x="1283" y="566"/>
                    </a:lnTo>
                    <a:lnTo>
                      <a:pt x="1283" y="565"/>
                    </a:lnTo>
                    <a:lnTo>
                      <a:pt x="1281" y="565"/>
                    </a:lnTo>
                    <a:lnTo>
                      <a:pt x="1281" y="563"/>
                    </a:lnTo>
                    <a:lnTo>
                      <a:pt x="1281" y="561"/>
                    </a:lnTo>
                    <a:lnTo>
                      <a:pt x="1283" y="561"/>
                    </a:lnTo>
                    <a:lnTo>
                      <a:pt x="1283" y="559"/>
                    </a:lnTo>
                    <a:lnTo>
                      <a:pt x="1283" y="558"/>
                    </a:lnTo>
                    <a:lnTo>
                      <a:pt x="1285" y="556"/>
                    </a:lnTo>
                    <a:lnTo>
                      <a:pt x="1283" y="556"/>
                    </a:lnTo>
                    <a:lnTo>
                      <a:pt x="1283" y="554"/>
                    </a:lnTo>
                    <a:lnTo>
                      <a:pt x="1281" y="554"/>
                    </a:lnTo>
                    <a:lnTo>
                      <a:pt x="1281" y="553"/>
                    </a:lnTo>
                    <a:lnTo>
                      <a:pt x="1281" y="551"/>
                    </a:lnTo>
                    <a:lnTo>
                      <a:pt x="1280" y="549"/>
                    </a:lnTo>
                    <a:lnTo>
                      <a:pt x="1280" y="548"/>
                    </a:lnTo>
                    <a:lnTo>
                      <a:pt x="1280" y="546"/>
                    </a:lnTo>
                    <a:lnTo>
                      <a:pt x="1280" y="544"/>
                    </a:lnTo>
                    <a:lnTo>
                      <a:pt x="1280" y="542"/>
                    </a:lnTo>
                    <a:lnTo>
                      <a:pt x="1280" y="541"/>
                    </a:lnTo>
                    <a:lnTo>
                      <a:pt x="1280" y="539"/>
                    </a:lnTo>
                    <a:lnTo>
                      <a:pt x="1281" y="539"/>
                    </a:lnTo>
                    <a:lnTo>
                      <a:pt x="1280" y="539"/>
                    </a:lnTo>
                    <a:lnTo>
                      <a:pt x="1280" y="537"/>
                    </a:lnTo>
                    <a:lnTo>
                      <a:pt x="1281" y="536"/>
                    </a:lnTo>
                    <a:lnTo>
                      <a:pt x="1280" y="536"/>
                    </a:lnTo>
                    <a:lnTo>
                      <a:pt x="1280" y="534"/>
                    </a:lnTo>
                    <a:lnTo>
                      <a:pt x="1278" y="536"/>
                    </a:lnTo>
                    <a:lnTo>
                      <a:pt x="1278" y="534"/>
                    </a:lnTo>
                    <a:lnTo>
                      <a:pt x="1280" y="534"/>
                    </a:lnTo>
                    <a:lnTo>
                      <a:pt x="1280" y="532"/>
                    </a:lnTo>
                    <a:lnTo>
                      <a:pt x="1280" y="531"/>
                    </a:lnTo>
                    <a:lnTo>
                      <a:pt x="1280" y="529"/>
                    </a:lnTo>
                    <a:lnTo>
                      <a:pt x="1278" y="527"/>
                    </a:lnTo>
                    <a:lnTo>
                      <a:pt x="1278" y="525"/>
                    </a:lnTo>
                    <a:lnTo>
                      <a:pt x="1278" y="524"/>
                    </a:lnTo>
                    <a:lnTo>
                      <a:pt x="1278" y="522"/>
                    </a:lnTo>
                    <a:lnTo>
                      <a:pt x="1278" y="520"/>
                    </a:lnTo>
                    <a:lnTo>
                      <a:pt x="1278" y="519"/>
                    </a:lnTo>
                    <a:lnTo>
                      <a:pt x="1278" y="517"/>
                    </a:lnTo>
                    <a:lnTo>
                      <a:pt x="1276" y="517"/>
                    </a:lnTo>
                    <a:lnTo>
                      <a:pt x="1276" y="515"/>
                    </a:lnTo>
                    <a:lnTo>
                      <a:pt x="1276" y="514"/>
                    </a:lnTo>
                    <a:lnTo>
                      <a:pt x="1276" y="512"/>
                    </a:lnTo>
                    <a:lnTo>
                      <a:pt x="1276" y="510"/>
                    </a:lnTo>
                    <a:lnTo>
                      <a:pt x="1275" y="508"/>
                    </a:lnTo>
                    <a:lnTo>
                      <a:pt x="1276" y="508"/>
                    </a:lnTo>
                    <a:lnTo>
                      <a:pt x="1275" y="508"/>
                    </a:lnTo>
                    <a:lnTo>
                      <a:pt x="1275" y="507"/>
                    </a:lnTo>
                    <a:lnTo>
                      <a:pt x="1275" y="505"/>
                    </a:lnTo>
                    <a:lnTo>
                      <a:pt x="1276" y="505"/>
                    </a:lnTo>
                    <a:lnTo>
                      <a:pt x="1275" y="505"/>
                    </a:lnTo>
                    <a:lnTo>
                      <a:pt x="1275" y="503"/>
                    </a:lnTo>
                    <a:lnTo>
                      <a:pt x="1275" y="502"/>
                    </a:lnTo>
                    <a:lnTo>
                      <a:pt x="1276" y="502"/>
                    </a:lnTo>
                    <a:lnTo>
                      <a:pt x="1275" y="500"/>
                    </a:lnTo>
                    <a:lnTo>
                      <a:pt x="1276" y="500"/>
                    </a:lnTo>
                    <a:lnTo>
                      <a:pt x="1275" y="500"/>
                    </a:lnTo>
                    <a:lnTo>
                      <a:pt x="1275" y="498"/>
                    </a:lnTo>
                    <a:lnTo>
                      <a:pt x="1275" y="497"/>
                    </a:lnTo>
                    <a:lnTo>
                      <a:pt x="1275" y="495"/>
                    </a:lnTo>
                    <a:lnTo>
                      <a:pt x="1275" y="493"/>
                    </a:lnTo>
                    <a:lnTo>
                      <a:pt x="1273" y="493"/>
                    </a:lnTo>
                    <a:lnTo>
                      <a:pt x="1273" y="491"/>
                    </a:lnTo>
                    <a:lnTo>
                      <a:pt x="1275" y="490"/>
                    </a:lnTo>
                    <a:lnTo>
                      <a:pt x="1273" y="490"/>
                    </a:lnTo>
                    <a:lnTo>
                      <a:pt x="1275" y="490"/>
                    </a:lnTo>
                    <a:lnTo>
                      <a:pt x="1275" y="488"/>
                    </a:lnTo>
                    <a:lnTo>
                      <a:pt x="1273" y="488"/>
                    </a:lnTo>
                    <a:lnTo>
                      <a:pt x="1273" y="486"/>
                    </a:lnTo>
                    <a:lnTo>
                      <a:pt x="1273" y="485"/>
                    </a:lnTo>
                    <a:lnTo>
                      <a:pt x="1273" y="483"/>
                    </a:lnTo>
                    <a:lnTo>
                      <a:pt x="1275" y="483"/>
                    </a:lnTo>
                    <a:lnTo>
                      <a:pt x="1275" y="481"/>
                    </a:lnTo>
                    <a:lnTo>
                      <a:pt x="1275" y="479"/>
                    </a:lnTo>
                    <a:lnTo>
                      <a:pt x="1275" y="478"/>
                    </a:lnTo>
                    <a:lnTo>
                      <a:pt x="1275" y="476"/>
                    </a:lnTo>
                    <a:lnTo>
                      <a:pt x="1275" y="474"/>
                    </a:lnTo>
                    <a:lnTo>
                      <a:pt x="1275" y="473"/>
                    </a:lnTo>
                    <a:lnTo>
                      <a:pt x="1276" y="473"/>
                    </a:lnTo>
                    <a:lnTo>
                      <a:pt x="1276" y="471"/>
                    </a:lnTo>
                    <a:lnTo>
                      <a:pt x="1276" y="473"/>
                    </a:lnTo>
                    <a:lnTo>
                      <a:pt x="1278" y="474"/>
                    </a:lnTo>
                    <a:lnTo>
                      <a:pt x="1278" y="473"/>
                    </a:lnTo>
                    <a:lnTo>
                      <a:pt x="1280" y="473"/>
                    </a:lnTo>
                    <a:lnTo>
                      <a:pt x="1281" y="473"/>
                    </a:lnTo>
                    <a:lnTo>
                      <a:pt x="1280" y="471"/>
                    </a:lnTo>
                    <a:lnTo>
                      <a:pt x="1281" y="471"/>
                    </a:lnTo>
                    <a:lnTo>
                      <a:pt x="1281" y="469"/>
                    </a:lnTo>
                    <a:lnTo>
                      <a:pt x="1283" y="468"/>
                    </a:lnTo>
                    <a:lnTo>
                      <a:pt x="1283" y="469"/>
                    </a:lnTo>
                    <a:lnTo>
                      <a:pt x="1285" y="469"/>
                    </a:lnTo>
                    <a:lnTo>
                      <a:pt x="1285" y="468"/>
                    </a:lnTo>
                    <a:lnTo>
                      <a:pt x="1285" y="466"/>
                    </a:lnTo>
                    <a:lnTo>
                      <a:pt x="1285" y="464"/>
                    </a:lnTo>
                    <a:lnTo>
                      <a:pt x="1285" y="462"/>
                    </a:lnTo>
                    <a:lnTo>
                      <a:pt x="1283" y="462"/>
                    </a:lnTo>
                    <a:lnTo>
                      <a:pt x="1285" y="461"/>
                    </a:lnTo>
                    <a:lnTo>
                      <a:pt x="1285" y="459"/>
                    </a:lnTo>
                    <a:lnTo>
                      <a:pt x="1287" y="459"/>
                    </a:lnTo>
                    <a:lnTo>
                      <a:pt x="1287" y="461"/>
                    </a:lnTo>
                    <a:lnTo>
                      <a:pt x="1287" y="459"/>
                    </a:lnTo>
                    <a:lnTo>
                      <a:pt x="1288" y="459"/>
                    </a:lnTo>
                    <a:lnTo>
                      <a:pt x="1288" y="457"/>
                    </a:lnTo>
                    <a:lnTo>
                      <a:pt x="1288" y="456"/>
                    </a:lnTo>
                    <a:lnTo>
                      <a:pt x="1287" y="454"/>
                    </a:lnTo>
                    <a:lnTo>
                      <a:pt x="1287" y="452"/>
                    </a:lnTo>
                    <a:lnTo>
                      <a:pt x="1287" y="451"/>
                    </a:lnTo>
                    <a:lnTo>
                      <a:pt x="1287" y="449"/>
                    </a:lnTo>
                    <a:lnTo>
                      <a:pt x="1287" y="447"/>
                    </a:lnTo>
                    <a:lnTo>
                      <a:pt x="1288" y="447"/>
                    </a:lnTo>
                    <a:lnTo>
                      <a:pt x="1288" y="445"/>
                    </a:lnTo>
                    <a:lnTo>
                      <a:pt x="1287" y="445"/>
                    </a:lnTo>
                    <a:lnTo>
                      <a:pt x="1287" y="444"/>
                    </a:lnTo>
                    <a:lnTo>
                      <a:pt x="1287" y="442"/>
                    </a:lnTo>
                    <a:lnTo>
                      <a:pt x="1287" y="440"/>
                    </a:lnTo>
                    <a:lnTo>
                      <a:pt x="1287" y="439"/>
                    </a:lnTo>
                    <a:lnTo>
                      <a:pt x="1287" y="437"/>
                    </a:lnTo>
                    <a:lnTo>
                      <a:pt x="1287" y="435"/>
                    </a:lnTo>
                    <a:lnTo>
                      <a:pt x="1285" y="435"/>
                    </a:lnTo>
                    <a:lnTo>
                      <a:pt x="1285" y="434"/>
                    </a:lnTo>
                    <a:lnTo>
                      <a:pt x="1283" y="434"/>
                    </a:lnTo>
                    <a:lnTo>
                      <a:pt x="1281" y="432"/>
                    </a:lnTo>
                    <a:lnTo>
                      <a:pt x="1281" y="430"/>
                    </a:lnTo>
                    <a:lnTo>
                      <a:pt x="1280" y="428"/>
                    </a:lnTo>
                    <a:lnTo>
                      <a:pt x="1281" y="428"/>
                    </a:lnTo>
                    <a:lnTo>
                      <a:pt x="1281" y="427"/>
                    </a:lnTo>
                    <a:lnTo>
                      <a:pt x="1280" y="427"/>
                    </a:lnTo>
                    <a:lnTo>
                      <a:pt x="1281" y="425"/>
                    </a:lnTo>
                    <a:lnTo>
                      <a:pt x="1280" y="423"/>
                    </a:lnTo>
                    <a:lnTo>
                      <a:pt x="1281" y="423"/>
                    </a:lnTo>
                    <a:lnTo>
                      <a:pt x="1281" y="422"/>
                    </a:lnTo>
                    <a:lnTo>
                      <a:pt x="1280" y="422"/>
                    </a:lnTo>
                    <a:lnTo>
                      <a:pt x="1280" y="420"/>
                    </a:lnTo>
                    <a:lnTo>
                      <a:pt x="1280" y="418"/>
                    </a:lnTo>
                    <a:lnTo>
                      <a:pt x="1281" y="418"/>
                    </a:lnTo>
                    <a:lnTo>
                      <a:pt x="1281" y="417"/>
                    </a:lnTo>
                    <a:lnTo>
                      <a:pt x="1283" y="417"/>
                    </a:lnTo>
                    <a:lnTo>
                      <a:pt x="1285" y="415"/>
                    </a:lnTo>
                    <a:lnTo>
                      <a:pt x="1285" y="413"/>
                    </a:lnTo>
                    <a:lnTo>
                      <a:pt x="1287" y="411"/>
                    </a:lnTo>
                    <a:lnTo>
                      <a:pt x="1288" y="411"/>
                    </a:lnTo>
                    <a:lnTo>
                      <a:pt x="1288" y="410"/>
                    </a:lnTo>
                    <a:lnTo>
                      <a:pt x="1288" y="408"/>
                    </a:lnTo>
                    <a:lnTo>
                      <a:pt x="1287" y="408"/>
                    </a:lnTo>
                    <a:lnTo>
                      <a:pt x="1287" y="406"/>
                    </a:lnTo>
                    <a:lnTo>
                      <a:pt x="1288" y="406"/>
                    </a:lnTo>
                    <a:lnTo>
                      <a:pt x="1288" y="405"/>
                    </a:lnTo>
                    <a:lnTo>
                      <a:pt x="1288" y="403"/>
                    </a:lnTo>
                    <a:lnTo>
                      <a:pt x="1290" y="403"/>
                    </a:lnTo>
                    <a:lnTo>
                      <a:pt x="1290" y="401"/>
                    </a:lnTo>
                    <a:lnTo>
                      <a:pt x="1292" y="400"/>
                    </a:lnTo>
                    <a:lnTo>
                      <a:pt x="1292" y="398"/>
                    </a:lnTo>
                    <a:lnTo>
                      <a:pt x="1292" y="396"/>
                    </a:lnTo>
                    <a:lnTo>
                      <a:pt x="1290" y="396"/>
                    </a:lnTo>
                    <a:lnTo>
                      <a:pt x="1292" y="396"/>
                    </a:lnTo>
                    <a:lnTo>
                      <a:pt x="1292" y="394"/>
                    </a:lnTo>
                    <a:lnTo>
                      <a:pt x="1292" y="393"/>
                    </a:lnTo>
                    <a:lnTo>
                      <a:pt x="1292" y="391"/>
                    </a:lnTo>
                    <a:lnTo>
                      <a:pt x="1292" y="389"/>
                    </a:lnTo>
                    <a:lnTo>
                      <a:pt x="1292" y="388"/>
                    </a:lnTo>
                    <a:lnTo>
                      <a:pt x="1293" y="388"/>
                    </a:lnTo>
                    <a:lnTo>
                      <a:pt x="1292" y="386"/>
                    </a:lnTo>
                    <a:lnTo>
                      <a:pt x="1293" y="386"/>
                    </a:lnTo>
                    <a:lnTo>
                      <a:pt x="1292" y="386"/>
                    </a:lnTo>
                    <a:lnTo>
                      <a:pt x="1293" y="386"/>
                    </a:lnTo>
                    <a:lnTo>
                      <a:pt x="1292" y="384"/>
                    </a:lnTo>
                    <a:lnTo>
                      <a:pt x="1293" y="384"/>
                    </a:lnTo>
                    <a:lnTo>
                      <a:pt x="1292" y="384"/>
                    </a:lnTo>
                    <a:lnTo>
                      <a:pt x="1293" y="383"/>
                    </a:lnTo>
                    <a:lnTo>
                      <a:pt x="1293" y="381"/>
                    </a:lnTo>
                    <a:lnTo>
                      <a:pt x="1293" y="379"/>
                    </a:lnTo>
                    <a:lnTo>
                      <a:pt x="1295" y="377"/>
                    </a:lnTo>
                    <a:lnTo>
                      <a:pt x="1295" y="376"/>
                    </a:lnTo>
                    <a:lnTo>
                      <a:pt x="1295" y="374"/>
                    </a:lnTo>
                    <a:lnTo>
                      <a:pt x="1297" y="374"/>
                    </a:lnTo>
                    <a:lnTo>
                      <a:pt x="1297" y="372"/>
                    </a:lnTo>
                    <a:lnTo>
                      <a:pt x="1298" y="372"/>
                    </a:lnTo>
                    <a:lnTo>
                      <a:pt x="1300" y="372"/>
                    </a:lnTo>
                    <a:lnTo>
                      <a:pt x="1300" y="371"/>
                    </a:lnTo>
                    <a:lnTo>
                      <a:pt x="1300" y="369"/>
                    </a:lnTo>
                    <a:lnTo>
                      <a:pt x="1300" y="367"/>
                    </a:lnTo>
                    <a:lnTo>
                      <a:pt x="1302" y="367"/>
                    </a:lnTo>
                    <a:lnTo>
                      <a:pt x="1302" y="366"/>
                    </a:lnTo>
                    <a:lnTo>
                      <a:pt x="1300" y="366"/>
                    </a:lnTo>
                    <a:lnTo>
                      <a:pt x="1302" y="366"/>
                    </a:lnTo>
                    <a:lnTo>
                      <a:pt x="1300" y="364"/>
                    </a:lnTo>
                    <a:lnTo>
                      <a:pt x="1300" y="362"/>
                    </a:lnTo>
                    <a:lnTo>
                      <a:pt x="1298" y="360"/>
                    </a:lnTo>
                    <a:lnTo>
                      <a:pt x="1300" y="359"/>
                    </a:lnTo>
                    <a:lnTo>
                      <a:pt x="1300" y="357"/>
                    </a:lnTo>
                    <a:lnTo>
                      <a:pt x="1298" y="357"/>
                    </a:lnTo>
                    <a:lnTo>
                      <a:pt x="1298" y="355"/>
                    </a:lnTo>
                    <a:lnTo>
                      <a:pt x="1298" y="354"/>
                    </a:lnTo>
                    <a:lnTo>
                      <a:pt x="1298" y="352"/>
                    </a:lnTo>
                    <a:lnTo>
                      <a:pt x="1300" y="350"/>
                    </a:lnTo>
                    <a:lnTo>
                      <a:pt x="1300" y="352"/>
                    </a:lnTo>
                    <a:lnTo>
                      <a:pt x="1302" y="352"/>
                    </a:lnTo>
                    <a:lnTo>
                      <a:pt x="1302" y="350"/>
                    </a:lnTo>
                    <a:lnTo>
                      <a:pt x="1304" y="350"/>
                    </a:lnTo>
                    <a:lnTo>
                      <a:pt x="1302" y="349"/>
                    </a:lnTo>
                    <a:lnTo>
                      <a:pt x="1304" y="349"/>
                    </a:lnTo>
                    <a:lnTo>
                      <a:pt x="1304" y="347"/>
                    </a:lnTo>
                    <a:lnTo>
                      <a:pt x="1305" y="347"/>
                    </a:lnTo>
                    <a:lnTo>
                      <a:pt x="1305" y="345"/>
                    </a:lnTo>
                    <a:lnTo>
                      <a:pt x="1304" y="345"/>
                    </a:lnTo>
                    <a:lnTo>
                      <a:pt x="1304" y="343"/>
                    </a:lnTo>
                    <a:lnTo>
                      <a:pt x="1304" y="342"/>
                    </a:lnTo>
                    <a:lnTo>
                      <a:pt x="1304" y="340"/>
                    </a:lnTo>
                    <a:lnTo>
                      <a:pt x="1305" y="338"/>
                    </a:lnTo>
                    <a:lnTo>
                      <a:pt x="1307" y="337"/>
                    </a:lnTo>
                    <a:lnTo>
                      <a:pt x="1305" y="337"/>
                    </a:lnTo>
                    <a:lnTo>
                      <a:pt x="1305" y="335"/>
                    </a:lnTo>
                    <a:lnTo>
                      <a:pt x="1307" y="335"/>
                    </a:lnTo>
                    <a:lnTo>
                      <a:pt x="1307" y="333"/>
                    </a:lnTo>
                    <a:lnTo>
                      <a:pt x="1307" y="331"/>
                    </a:lnTo>
                    <a:lnTo>
                      <a:pt x="1307" y="330"/>
                    </a:lnTo>
                    <a:lnTo>
                      <a:pt x="1309" y="330"/>
                    </a:lnTo>
                    <a:lnTo>
                      <a:pt x="1307" y="330"/>
                    </a:lnTo>
                    <a:lnTo>
                      <a:pt x="1307" y="328"/>
                    </a:lnTo>
                    <a:lnTo>
                      <a:pt x="1309" y="326"/>
                    </a:lnTo>
                    <a:lnTo>
                      <a:pt x="1309" y="325"/>
                    </a:lnTo>
                    <a:lnTo>
                      <a:pt x="1307" y="325"/>
                    </a:lnTo>
                    <a:lnTo>
                      <a:pt x="1307" y="323"/>
                    </a:lnTo>
                    <a:lnTo>
                      <a:pt x="1309" y="323"/>
                    </a:lnTo>
                    <a:lnTo>
                      <a:pt x="1310" y="323"/>
                    </a:lnTo>
                    <a:lnTo>
                      <a:pt x="1310" y="321"/>
                    </a:lnTo>
                    <a:lnTo>
                      <a:pt x="1310" y="320"/>
                    </a:lnTo>
                    <a:lnTo>
                      <a:pt x="1309" y="320"/>
                    </a:lnTo>
                    <a:lnTo>
                      <a:pt x="1309" y="318"/>
                    </a:lnTo>
                    <a:lnTo>
                      <a:pt x="1309" y="316"/>
                    </a:lnTo>
                    <a:lnTo>
                      <a:pt x="1309" y="314"/>
                    </a:lnTo>
                    <a:lnTo>
                      <a:pt x="1309" y="313"/>
                    </a:lnTo>
                    <a:lnTo>
                      <a:pt x="1309" y="311"/>
                    </a:lnTo>
                    <a:lnTo>
                      <a:pt x="1310" y="311"/>
                    </a:lnTo>
                    <a:lnTo>
                      <a:pt x="1310" y="309"/>
                    </a:lnTo>
                    <a:lnTo>
                      <a:pt x="1310" y="308"/>
                    </a:lnTo>
                    <a:lnTo>
                      <a:pt x="1309" y="306"/>
                    </a:lnTo>
                    <a:lnTo>
                      <a:pt x="1309" y="304"/>
                    </a:lnTo>
                    <a:lnTo>
                      <a:pt x="1307" y="304"/>
                    </a:lnTo>
                    <a:lnTo>
                      <a:pt x="1307" y="303"/>
                    </a:lnTo>
                    <a:lnTo>
                      <a:pt x="1307" y="301"/>
                    </a:lnTo>
                    <a:lnTo>
                      <a:pt x="1307" y="299"/>
                    </a:lnTo>
                    <a:lnTo>
                      <a:pt x="1309" y="299"/>
                    </a:lnTo>
                    <a:lnTo>
                      <a:pt x="1307" y="297"/>
                    </a:lnTo>
                    <a:lnTo>
                      <a:pt x="1309" y="297"/>
                    </a:lnTo>
                    <a:lnTo>
                      <a:pt x="1309" y="296"/>
                    </a:lnTo>
                    <a:lnTo>
                      <a:pt x="1310" y="296"/>
                    </a:lnTo>
                    <a:lnTo>
                      <a:pt x="1310" y="294"/>
                    </a:lnTo>
                    <a:lnTo>
                      <a:pt x="1309" y="294"/>
                    </a:lnTo>
                    <a:lnTo>
                      <a:pt x="1310" y="294"/>
                    </a:lnTo>
                    <a:lnTo>
                      <a:pt x="1310" y="292"/>
                    </a:lnTo>
                    <a:lnTo>
                      <a:pt x="1309" y="291"/>
                    </a:lnTo>
                    <a:lnTo>
                      <a:pt x="1310" y="291"/>
                    </a:lnTo>
                    <a:lnTo>
                      <a:pt x="1312" y="291"/>
                    </a:lnTo>
                    <a:lnTo>
                      <a:pt x="1312" y="289"/>
                    </a:lnTo>
                    <a:lnTo>
                      <a:pt x="1314" y="289"/>
                    </a:lnTo>
                    <a:lnTo>
                      <a:pt x="1314" y="287"/>
                    </a:lnTo>
                    <a:lnTo>
                      <a:pt x="1314" y="286"/>
                    </a:lnTo>
                    <a:lnTo>
                      <a:pt x="1315" y="287"/>
                    </a:lnTo>
                    <a:lnTo>
                      <a:pt x="1315" y="286"/>
                    </a:lnTo>
                    <a:lnTo>
                      <a:pt x="1315" y="284"/>
                    </a:lnTo>
                    <a:lnTo>
                      <a:pt x="1315" y="282"/>
                    </a:lnTo>
                    <a:lnTo>
                      <a:pt x="1317" y="282"/>
                    </a:lnTo>
                    <a:lnTo>
                      <a:pt x="1317" y="280"/>
                    </a:lnTo>
                    <a:lnTo>
                      <a:pt x="1317" y="279"/>
                    </a:lnTo>
                    <a:lnTo>
                      <a:pt x="1315" y="277"/>
                    </a:lnTo>
                    <a:lnTo>
                      <a:pt x="1315" y="275"/>
                    </a:lnTo>
                    <a:lnTo>
                      <a:pt x="1314" y="275"/>
                    </a:lnTo>
                    <a:lnTo>
                      <a:pt x="1315" y="274"/>
                    </a:lnTo>
                    <a:lnTo>
                      <a:pt x="1315" y="272"/>
                    </a:lnTo>
                    <a:lnTo>
                      <a:pt x="1315" y="270"/>
                    </a:lnTo>
                    <a:lnTo>
                      <a:pt x="1314" y="269"/>
                    </a:lnTo>
                    <a:lnTo>
                      <a:pt x="1314" y="267"/>
                    </a:lnTo>
                    <a:lnTo>
                      <a:pt x="1314" y="265"/>
                    </a:lnTo>
                    <a:lnTo>
                      <a:pt x="1312" y="265"/>
                    </a:lnTo>
                    <a:lnTo>
                      <a:pt x="1314" y="265"/>
                    </a:lnTo>
                    <a:lnTo>
                      <a:pt x="1312" y="265"/>
                    </a:lnTo>
                    <a:lnTo>
                      <a:pt x="1312" y="263"/>
                    </a:lnTo>
                    <a:lnTo>
                      <a:pt x="1312" y="262"/>
                    </a:lnTo>
                    <a:lnTo>
                      <a:pt x="1312" y="260"/>
                    </a:lnTo>
                    <a:lnTo>
                      <a:pt x="1312" y="258"/>
                    </a:lnTo>
                    <a:lnTo>
                      <a:pt x="1312" y="257"/>
                    </a:lnTo>
                    <a:lnTo>
                      <a:pt x="1312" y="255"/>
                    </a:lnTo>
                    <a:lnTo>
                      <a:pt x="1312" y="253"/>
                    </a:lnTo>
                    <a:lnTo>
                      <a:pt x="1312" y="252"/>
                    </a:lnTo>
                    <a:lnTo>
                      <a:pt x="1312" y="250"/>
                    </a:lnTo>
                    <a:lnTo>
                      <a:pt x="1314" y="250"/>
                    </a:lnTo>
                    <a:lnTo>
                      <a:pt x="1312" y="248"/>
                    </a:lnTo>
                    <a:lnTo>
                      <a:pt x="1314" y="248"/>
                    </a:lnTo>
                    <a:lnTo>
                      <a:pt x="1312" y="246"/>
                    </a:lnTo>
                    <a:lnTo>
                      <a:pt x="1314" y="246"/>
                    </a:lnTo>
                    <a:lnTo>
                      <a:pt x="1314" y="245"/>
                    </a:lnTo>
                    <a:lnTo>
                      <a:pt x="1314" y="243"/>
                    </a:lnTo>
                    <a:lnTo>
                      <a:pt x="1314" y="241"/>
                    </a:lnTo>
                    <a:lnTo>
                      <a:pt x="1314" y="240"/>
                    </a:lnTo>
                    <a:lnTo>
                      <a:pt x="1314" y="238"/>
                    </a:lnTo>
                    <a:lnTo>
                      <a:pt x="1314" y="236"/>
                    </a:lnTo>
                    <a:lnTo>
                      <a:pt x="1314" y="235"/>
                    </a:lnTo>
                    <a:lnTo>
                      <a:pt x="1314" y="233"/>
                    </a:lnTo>
                    <a:lnTo>
                      <a:pt x="1314" y="231"/>
                    </a:lnTo>
                    <a:lnTo>
                      <a:pt x="1314" y="229"/>
                    </a:lnTo>
                    <a:lnTo>
                      <a:pt x="1314" y="228"/>
                    </a:lnTo>
                    <a:lnTo>
                      <a:pt x="1314" y="226"/>
                    </a:lnTo>
                    <a:lnTo>
                      <a:pt x="1315" y="226"/>
                    </a:lnTo>
                    <a:lnTo>
                      <a:pt x="1315" y="224"/>
                    </a:lnTo>
                    <a:lnTo>
                      <a:pt x="1317" y="224"/>
                    </a:lnTo>
                    <a:lnTo>
                      <a:pt x="1317" y="223"/>
                    </a:lnTo>
                    <a:lnTo>
                      <a:pt x="1317" y="221"/>
                    </a:lnTo>
                    <a:lnTo>
                      <a:pt x="1317" y="219"/>
                    </a:lnTo>
                    <a:lnTo>
                      <a:pt x="1317" y="218"/>
                    </a:lnTo>
                    <a:lnTo>
                      <a:pt x="1317" y="216"/>
                    </a:lnTo>
                    <a:lnTo>
                      <a:pt x="1315" y="216"/>
                    </a:lnTo>
                    <a:lnTo>
                      <a:pt x="1315" y="214"/>
                    </a:lnTo>
                    <a:lnTo>
                      <a:pt x="1314" y="214"/>
                    </a:lnTo>
                    <a:lnTo>
                      <a:pt x="1314" y="216"/>
                    </a:lnTo>
                    <a:lnTo>
                      <a:pt x="1312" y="218"/>
                    </a:lnTo>
                    <a:lnTo>
                      <a:pt x="1312" y="216"/>
                    </a:lnTo>
                    <a:lnTo>
                      <a:pt x="1310" y="216"/>
                    </a:lnTo>
                    <a:lnTo>
                      <a:pt x="1310" y="214"/>
                    </a:lnTo>
                    <a:lnTo>
                      <a:pt x="1312" y="212"/>
                    </a:lnTo>
                    <a:lnTo>
                      <a:pt x="1310" y="212"/>
                    </a:lnTo>
                    <a:lnTo>
                      <a:pt x="1310" y="211"/>
                    </a:lnTo>
                    <a:lnTo>
                      <a:pt x="1312" y="209"/>
                    </a:lnTo>
                    <a:lnTo>
                      <a:pt x="1310" y="209"/>
                    </a:lnTo>
                    <a:lnTo>
                      <a:pt x="1310" y="207"/>
                    </a:lnTo>
                    <a:lnTo>
                      <a:pt x="1310" y="206"/>
                    </a:lnTo>
                    <a:lnTo>
                      <a:pt x="1312" y="206"/>
                    </a:lnTo>
                    <a:lnTo>
                      <a:pt x="1312" y="204"/>
                    </a:lnTo>
                    <a:lnTo>
                      <a:pt x="1312" y="202"/>
                    </a:lnTo>
                    <a:lnTo>
                      <a:pt x="1312" y="201"/>
                    </a:lnTo>
                    <a:lnTo>
                      <a:pt x="1312" y="199"/>
                    </a:lnTo>
                    <a:lnTo>
                      <a:pt x="1314" y="199"/>
                    </a:lnTo>
                    <a:lnTo>
                      <a:pt x="1314" y="201"/>
                    </a:lnTo>
                    <a:lnTo>
                      <a:pt x="1315" y="201"/>
                    </a:lnTo>
                    <a:lnTo>
                      <a:pt x="1317" y="201"/>
                    </a:lnTo>
                    <a:lnTo>
                      <a:pt x="1319" y="201"/>
                    </a:lnTo>
                    <a:lnTo>
                      <a:pt x="1319" y="199"/>
                    </a:lnTo>
                    <a:lnTo>
                      <a:pt x="1321" y="197"/>
                    </a:lnTo>
                    <a:lnTo>
                      <a:pt x="1321" y="195"/>
                    </a:lnTo>
                    <a:lnTo>
                      <a:pt x="1321" y="194"/>
                    </a:lnTo>
                    <a:lnTo>
                      <a:pt x="1322" y="194"/>
                    </a:lnTo>
                    <a:lnTo>
                      <a:pt x="1321" y="192"/>
                    </a:lnTo>
                    <a:lnTo>
                      <a:pt x="1321" y="190"/>
                    </a:lnTo>
                    <a:lnTo>
                      <a:pt x="1321" y="189"/>
                    </a:lnTo>
                    <a:lnTo>
                      <a:pt x="1322" y="187"/>
                    </a:lnTo>
                    <a:lnTo>
                      <a:pt x="1322" y="185"/>
                    </a:lnTo>
                    <a:lnTo>
                      <a:pt x="1322" y="184"/>
                    </a:lnTo>
                    <a:lnTo>
                      <a:pt x="1322" y="182"/>
                    </a:lnTo>
                    <a:lnTo>
                      <a:pt x="1322" y="180"/>
                    </a:lnTo>
                    <a:lnTo>
                      <a:pt x="1324" y="178"/>
                    </a:lnTo>
                    <a:lnTo>
                      <a:pt x="1322" y="178"/>
                    </a:lnTo>
                    <a:lnTo>
                      <a:pt x="1322" y="177"/>
                    </a:lnTo>
                    <a:lnTo>
                      <a:pt x="1322" y="175"/>
                    </a:lnTo>
                    <a:lnTo>
                      <a:pt x="1322" y="173"/>
                    </a:lnTo>
                    <a:lnTo>
                      <a:pt x="1324" y="172"/>
                    </a:lnTo>
                    <a:lnTo>
                      <a:pt x="1322" y="172"/>
                    </a:lnTo>
                    <a:lnTo>
                      <a:pt x="1324" y="170"/>
                    </a:lnTo>
                    <a:lnTo>
                      <a:pt x="1324" y="168"/>
                    </a:lnTo>
                    <a:lnTo>
                      <a:pt x="1324" y="166"/>
                    </a:lnTo>
                    <a:lnTo>
                      <a:pt x="1324" y="165"/>
                    </a:lnTo>
                    <a:lnTo>
                      <a:pt x="1324" y="163"/>
                    </a:lnTo>
                    <a:lnTo>
                      <a:pt x="1326" y="163"/>
                    </a:lnTo>
                    <a:lnTo>
                      <a:pt x="1324" y="163"/>
                    </a:lnTo>
                    <a:lnTo>
                      <a:pt x="1324" y="161"/>
                    </a:lnTo>
                    <a:lnTo>
                      <a:pt x="1326" y="161"/>
                    </a:lnTo>
                    <a:lnTo>
                      <a:pt x="1326" y="160"/>
                    </a:lnTo>
                    <a:lnTo>
                      <a:pt x="1326" y="158"/>
                    </a:lnTo>
                    <a:lnTo>
                      <a:pt x="1326" y="156"/>
                    </a:lnTo>
                    <a:lnTo>
                      <a:pt x="1326" y="155"/>
                    </a:lnTo>
                    <a:lnTo>
                      <a:pt x="1326" y="153"/>
                    </a:lnTo>
                    <a:lnTo>
                      <a:pt x="1326" y="151"/>
                    </a:lnTo>
                    <a:lnTo>
                      <a:pt x="1326" y="149"/>
                    </a:lnTo>
                    <a:lnTo>
                      <a:pt x="1326" y="148"/>
                    </a:lnTo>
                    <a:lnTo>
                      <a:pt x="1327" y="148"/>
                    </a:lnTo>
                    <a:lnTo>
                      <a:pt x="1327" y="146"/>
                    </a:lnTo>
                    <a:lnTo>
                      <a:pt x="1327" y="144"/>
                    </a:lnTo>
                    <a:lnTo>
                      <a:pt x="1329" y="144"/>
                    </a:lnTo>
                    <a:lnTo>
                      <a:pt x="1329" y="143"/>
                    </a:lnTo>
                    <a:lnTo>
                      <a:pt x="1329" y="141"/>
                    </a:lnTo>
                    <a:lnTo>
                      <a:pt x="1329" y="139"/>
                    </a:lnTo>
                    <a:lnTo>
                      <a:pt x="1329" y="138"/>
                    </a:lnTo>
                    <a:lnTo>
                      <a:pt x="1327" y="138"/>
                    </a:lnTo>
                    <a:lnTo>
                      <a:pt x="1329" y="136"/>
                    </a:lnTo>
                    <a:lnTo>
                      <a:pt x="1329" y="134"/>
                    </a:lnTo>
                    <a:lnTo>
                      <a:pt x="1329" y="132"/>
                    </a:lnTo>
                    <a:lnTo>
                      <a:pt x="1327" y="132"/>
                    </a:lnTo>
                    <a:lnTo>
                      <a:pt x="1327" y="131"/>
                    </a:lnTo>
                    <a:lnTo>
                      <a:pt x="1327" y="129"/>
                    </a:lnTo>
                    <a:lnTo>
                      <a:pt x="1327" y="127"/>
                    </a:lnTo>
                    <a:lnTo>
                      <a:pt x="1326" y="127"/>
                    </a:lnTo>
                    <a:lnTo>
                      <a:pt x="1326" y="126"/>
                    </a:lnTo>
                    <a:lnTo>
                      <a:pt x="1326" y="124"/>
                    </a:lnTo>
                    <a:lnTo>
                      <a:pt x="1327" y="122"/>
                    </a:lnTo>
                    <a:lnTo>
                      <a:pt x="1326" y="121"/>
                    </a:lnTo>
                    <a:lnTo>
                      <a:pt x="1327" y="121"/>
                    </a:lnTo>
                    <a:lnTo>
                      <a:pt x="1326" y="121"/>
                    </a:lnTo>
                    <a:lnTo>
                      <a:pt x="1326" y="119"/>
                    </a:lnTo>
                    <a:lnTo>
                      <a:pt x="1324" y="117"/>
                    </a:lnTo>
                    <a:lnTo>
                      <a:pt x="1326" y="117"/>
                    </a:lnTo>
                    <a:lnTo>
                      <a:pt x="1324" y="117"/>
                    </a:lnTo>
                    <a:lnTo>
                      <a:pt x="1324" y="115"/>
                    </a:lnTo>
                    <a:lnTo>
                      <a:pt x="1326" y="115"/>
                    </a:lnTo>
                    <a:lnTo>
                      <a:pt x="1324" y="115"/>
                    </a:lnTo>
                    <a:lnTo>
                      <a:pt x="1324" y="114"/>
                    </a:lnTo>
                    <a:lnTo>
                      <a:pt x="1326" y="114"/>
                    </a:lnTo>
                    <a:lnTo>
                      <a:pt x="1324" y="114"/>
                    </a:lnTo>
                    <a:lnTo>
                      <a:pt x="1326" y="112"/>
                    </a:lnTo>
                    <a:lnTo>
                      <a:pt x="1324" y="110"/>
                    </a:lnTo>
                    <a:lnTo>
                      <a:pt x="1324" y="109"/>
                    </a:lnTo>
                    <a:lnTo>
                      <a:pt x="1324" y="107"/>
                    </a:lnTo>
                    <a:lnTo>
                      <a:pt x="1326" y="107"/>
                    </a:lnTo>
                    <a:lnTo>
                      <a:pt x="1326" y="105"/>
                    </a:lnTo>
                    <a:lnTo>
                      <a:pt x="1326" y="104"/>
                    </a:lnTo>
                    <a:lnTo>
                      <a:pt x="1326" y="102"/>
                    </a:lnTo>
                    <a:lnTo>
                      <a:pt x="1326" y="100"/>
                    </a:lnTo>
                    <a:lnTo>
                      <a:pt x="1327" y="100"/>
                    </a:lnTo>
                    <a:lnTo>
                      <a:pt x="1327" y="98"/>
                    </a:lnTo>
                    <a:lnTo>
                      <a:pt x="1326" y="97"/>
                    </a:lnTo>
                    <a:lnTo>
                      <a:pt x="1327" y="95"/>
                    </a:lnTo>
                    <a:lnTo>
                      <a:pt x="1326" y="95"/>
                    </a:lnTo>
                    <a:lnTo>
                      <a:pt x="1326" y="93"/>
                    </a:lnTo>
                    <a:lnTo>
                      <a:pt x="1327" y="93"/>
                    </a:lnTo>
                    <a:lnTo>
                      <a:pt x="1327" y="92"/>
                    </a:lnTo>
                    <a:lnTo>
                      <a:pt x="1327" y="90"/>
                    </a:lnTo>
                    <a:lnTo>
                      <a:pt x="1327" y="88"/>
                    </a:lnTo>
                    <a:lnTo>
                      <a:pt x="1327" y="87"/>
                    </a:lnTo>
                    <a:lnTo>
                      <a:pt x="1326" y="87"/>
                    </a:lnTo>
                    <a:lnTo>
                      <a:pt x="1327" y="87"/>
                    </a:lnTo>
                    <a:lnTo>
                      <a:pt x="1326" y="85"/>
                    </a:lnTo>
                    <a:lnTo>
                      <a:pt x="1327" y="85"/>
                    </a:lnTo>
                    <a:lnTo>
                      <a:pt x="1327" y="83"/>
                    </a:lnTo>
                    <a:lnTo>
                      <a:pt x="1326" y="83"/>
                    </a:lnTo>
                    <a:lnTo>
                      <a:pt x="1326" y="81"/>
                    </a:lnTo>
                    <a:lnTo>
                      <a:pt x="1326" y="80"/>
                    </a:lnTo>
                    <a:lnTo>
                      <a:pt x="1326" y="78"/>
                    </a:lnTo>
                    <a:lnTo>
                      <a:pt x="1326" y="76"/>
                    </a:lnTo>
                    <a:lnTo>
                      <a:pt x="1324" y="75"/>
                    </a:lnTo>
                    <a:lnTo>
                      <a:pt x="1324" y="73"/>
                    </a:lnTo>
                    <a:lnTo>
                      <a:pt x="1324" y="71"/>
                    </a:lnTo>
                    <a:lnTo>
                      <a:pt x="1324" y="70"/>
                    </a:lnTo>
                    <a:lnTo>
                      <a:pt x="1324" y="68"/>
                    </a:lnTo>
                    <a:lnTo>
                      <a:pt x="1324" y="66"/>
                    </a:lnTo>
                    <a:lnTo>
                      <a:pt x="1322" y="66"/>
                    </a:lnTo>
                    <a:lnTo>
                      <a:pt x="1322" y="64"/>
                    </a:lnTo>
                    <a:lnTo>
                      <a:pt x="1322" y="63"/>
                    </a:lnTo>
                    <a:lnTo>
                      <a:pt x="1322" y="61"/>
                    </a:lnTo>
                    <a:lnTo>
                      <a:pt x="1322" y="59"/>
                    </a:lnTo>
                    <a:lnTo>
                      <a:pt x="1322" y="58"/>
                    </a:lnTo>
                    <a:lnTo>
                      <a:pt x="1322" y="56"/>
                    </a:lnTo>
                    <a:lnTo>
                      <a:pt x="1321" y="56"/>
                    </a:lnTo>
                    <a:lnTo>
                      <a:pt x="1321" y="54"/>
                    </a:lnTo>
                    <a:lnTo>
                      <a:pt x="1321" y="53"/>
                    </a:lnTo>
                    <a:lnTo>
                      <a:pt x="1321" y="51"/>
                    </a:lnTo>
                    <a:lnTo>
                      <a:pt x="1321" y="49"/>
                    </a:lnTo>
                    <a:lnTo>
                      <a:pt x="1321" y="47"/>
                    </a:lnTo>
                    <a:lnTo>
                      <a:pt x="1319" y="47"/>
                    </a:lnTo>
                    <a:lnTo>
                      <a:pt x="1319" y="46"/>
                    </a:lnTo>
                    <a:lnTo>
                      <a:pt x="1319" y="44"/>
                    </a:lnTo>
                    <a:lnTo>
                      <a:pt x="1321" y="44"/>
                    </a:lnTo>
                    <a:lnTo>
                      <a:pt x="1319" y="42"/>
                    </a:lnTo>
                    <a:lnTo>
                      <a:pt x="1321" y="42"/>
                    </a:lnTo>
                    <a:lnTo>
                      <a:pt x="1321" y="41"/>
                    </a:lnTo>
                    <a:lnTo>
                      <a:pt x="1319" y="41"/>
                    </a:lnTo>
                    <a:lnTo>
                      <a:pt x="1321" y="39"/>
                    </a:lnTo>
                    <a:lnTo>
                      <a:pt x="1321" y="37"/>
                    </a:lnTo>
                    <a:lnTo>
                      <a:pt x="1321" y="36"/>
                    </a:lnTo>
                    <a:lnTo>
                      <a:pt x="1321" y="34"/>
                    </a:lnTo>
                    <a:lnTo>
                      <a:pt x="1321" y="32"/>
                    </a:lnTo>
                    <a:lnTo>
                      <a:pt x="1321" y="30"/>
                    </a:lnTo>
                    <a:lnTo>
                      <a:pt x="1319" y="30"/>
                    </a:lnTo>
                    <a:lnTo>
                      <a:pt x="1319" y="29"/>
                    </a:lnTo>
                    <a:lnTo>
                      <a:pt x="1321" y="29"/>
                    </a:lnTo>
                    <a:lnTo>
                      <a:pt x="1322" y="29"/>
                    </a:lnTo>
                    <a:lnTo>
                      <a:pt x="1324" y="29"/>
                    </a:lnTo>
                    <a:lnTo>
                      <a:pt x="1326" y="29"/>
                    </a:lnTo>
                    <a:lnTo>
                      <a:pt x="1327" y="29"/>
                    </a:lnTo>
                    <a:lnTo>
                      <a:pt x="1329" y="27"/>
                    </a:lnTo>
                    <a:lnTo>
                      <a:pt x="1331" y="27"/>
                    </a:lnTo>
                    <a:lnTo>
                      <a:pt x="1331" y="25"/>
                    </a:lnTo>
                    <a:lnTo>
                      <a:pt x="1332" y="25"/>
                    </a:lnTo>
                    <a:lnTo>
                      <a:pt x="1334" y="25"/>
                    </a:lnTo>
                    <a:lnTo>
                      <a:pt x="1334" y="24"/>
                    </a:lnTo>
                    <a:lnTo>
                      <a:pt x="1336" y="24"/>
                    </a:lnTo>
                    <a:lnTo>
                      <a:pt x="1338" y="22"/>
                    </a:lnTo>
                    <a:lnTo>
                      <a:pt x="1339" y="22"/>
                    </a:lnTo>
                    <a:lnTo>
                      <a:pt x="1339" y="20"/>
                    </a:lnTo>
                    <a:lnTo>
                      <a:pt x="1339" y="18"/>
                    </a:lnTo>
                    <a:lnTo>
                      <a:pt x="1339" y="17"/>
                    </a:lnTo>
                    <a:lnTo>
                      <a:pt x="1339" y="15"/>
                    </a:lnTo>
                    <a:lnTo>
                      <a:pt x="1339" y="13"/>
                    </a:lnTo>
                    <a:lnTo>
                      <a:pt x="1338" y="13"/>
                    </a:lnTo>
                    <a:lnTo>
                      <a:pt x="1339" y="12"/>
                    </a:lnTo>
                    <a:lnTo>
                      <a:pt x="1338" y="12"/>
                    </a:lnTo>
                    <a:lnTo>
                      <a:pt x="1338" y="10"/>
                    </a:lnTo>
                    <a:lnTo>
                      <a:pt x="1338" y="8"/>
                    </a:lnTo>
                    <a:lnTo>
                      <a:pt x="1336" y="8"/>
                    </a:lnTo>
                    <a:lnTo>
                      <a:pt x="1338" y="7"/>
                    </a:lnTo>
                    <a:lnTo>
                      <a:pt x="1338" y="5"/>
                    </a:lnTo>
                    <a:lnTo>
                      <a:pt x="1339" y="5"/>
                    </a:lnTo>
                    <a:lnTo>
                      <a:pt x="1341" y="5"/>
                    </a:lnTo>
                    <a:lnTo>
                      <a:pt x="1343" y="5"/>
                    </a:lnTo>
                    <a:lnTo>
                      <a:pt x="1344" y="3"/>
                    </a:lnTo>
                    <a:lnTo>
                      <a:pt x="1346" y="1"/>
                    </a:lnTo>
                    <a:lnTo>
                      <a:pt x="1349" y="0"/>
                    </a:lnTo>
                    <a:lnTo>
                      <a:pt x="1349" y="3"/>
                    </a:lnTo>
                    <a:lnTo>
                      <a:pt x="1351" y="5"/>
                    </a:lnTo>
                    <a:lnTo>
                      <a:pt x="1353" y="7"/>
                    </a:lnTo>
                    <a:lnTo>
                      <a:pt x="1353" y="8"/>
                    </a:lnTo>
                    <a:lnTo>
                      <a:pt x="1355" y="8"/>
                    </a:lnTo>
                    <a:lnTo>
                      <a:pt x="1355" y="10"/>
                    </a:lnTo>
                    <a:lnTo>
                      <a:pt x="1355" y="12"/>
                    </a:lnTo>
                    <a:lnTo>
                      <a:pt x="1355" y="13"/>
                    </a:lnTo>
                    <a:lnTo>
                      <a:pt x="1355" y="15"/>
                    </a:lnTo>
                    <a:lnTo>
                      <a:pt x="1356" y="15"/>
                    </a:lnTo>
                    <a:lnTo>
                      <a:pt x="1356" y="17"/>
                    </a:lnTo>
                    <a:lnTo>
                      <a:pt x="1358" y="17"/>
                    </a:lnTo>
                    <a:lnTo>
                      <a:pt x="1360" y="17"/>
                    </a:lnTo>
                    <a:lnTo>
                      <a:pt x="1361" y="17"/>
                    </a:lnTo>
                    <a:lnTo>
                      <a:pt x="1361" y="18"/>
                    </a:lnTo>
                    <a:lnTo>
                      <a:pt x="1363" y="18"/>
                    </a:lnTo>
                    <a:lnTo>
                      <a:pt x="1363" y="20"/>
                    </a:lnTo>
                    <a:lnTo>
                      <a:pt x="1361" y="20"/>
                    </a:lnTo>
                    <a:lnTo>
                      <a:pt x="1363" y="20"/>
                    </a:lnTo>
                    <a:lnTo>
                      <a:pt x="1361" y="20"/>
                    </a:lnTo>
                    <a:lnTo>
                      <a:pt x="1361" y="22"/>
                    </a:lnTo>
                    <a:lnTo>
                      <a:pt x="1360" y="22"/>
                    </a:lnTo>
                    <a:lnTo>
                      <a:pt x="1360" y="24"/>
                    </a:lnTo>
                    <a:lnTo>
                      <a:pt x="1361" y="24"/>
                    </a:lnTo>
                    <a:lnTo>
                      <a:pt x="1361" y="25"/>
                    </a:lnTo>
                    <a:lnTo>
                      <a:pt x="1363" y="25"/>
                    </a:lnTo>
                    <a:lnTo>
                      <a:pt x="1363" y="27"/>
                    </a:lnTo>
                    <a:lnTo>
                      <a:pt x="1363" y="29"/>
                    </a:lnTo>
                    <a:lnTo>
                      <a:pt x="1363" y="30"/>
                    </a:lnTo>
                    <a:lnTo>
                      <a:pt x="1363" y="32"/>
                    </a:lnTo>
                    <a:lnTo>
                      <a:pt x="1365" y="32"/>
                    </a:lnTo>
                    <a:lnTo>
                      <a:pt x="1365" y="34"/>
                    </a:lnTo>
                    <a:lnTo>
                      <a:pt x="1365" y="36"/>
                    </a:lnTo>
                    <a:lnTo>
                      <a:pt x="1365" y="37"/>
                    </a:lnTo>
                    <a:lnTo>
                      <a:pt x="1365" y="39"/>
                    </a:lnTo>
                    <a:lnTo>
                      <a:pt x="1363" y="39"/>
                    </a:lnTo>
                    <a:lnTo>
                      <a:pt x="1365" y="39"/>
                    </a:lnTo>
                    <a:lnTo>
                      <a:pt x="1365" y="41"/>
                    </a:lnTo>
                    <a:lnTo>
                      <a:pt x="1365" y="42"/>
                    </a:lnTo>
                    <a:lnTo>
                      <a:pt x="1366" y="42"/>
                    </a:lnTo>
                    <a:lnTo>
                      <a:pt x="1366" y="44"/>
                    </a:lnTo>
                    <a:lnTo>
                      <a:pt x="1366" y="46"/>
                    </a:lnTo>
                    <a:lnTo>
                      <a:pt x="1368" y="47"/>
                    </a:lnTo>
                    <a:lnTo>
                      <a:pt x="1368" y="49"/>
                    </a:lnTo>
                    <a:lnTo>
                      <a:pt x="1366" y="49"/>
                    </a:lnTo>
                    <a:lnTo>
                      <a:pt x="1366" y="51"/>
                    </a:lnTo>
                    <a:lnTo>
                      <a:pt x="1368" y="51"/>
                    </a:lnTo>
                    <a:lnTo>
                      <a:pt x="1368" y="53"/>
                    </a:lnTo>
                    <a:lnTo>
                      <a:pt x="1368" y="54"/>
                    </a:lnTo>
                    <a:lnTo>
                      <a:pt x="1370" y="54"/>
                    </a:lnTo>
                    <a:lnTo>
                      <a:pt x="1372" y="56"/>
                    </a:lnTo>
                    <a:lnTo>
                      <a:pt x="1373" y="56"/>
                    </a:lnTo>
                    <a:lnTo>
                      <a:pt x="1373" y="58"/>
                    </a:lnTo>
                    <a:lnTo>
                      <a:pt x="1375" y="58"/>
                    </a:lnTo>
                    <a:lnTo>
                      <a:pt x="1375" y="59"/>
                    </a:lnTo>
                    <a:lnTo>
                      <a:pt x="1377" y="59"/>
                    </a:lnTo>
                    <a:lnTo>
                      <a:pt x="1377" y="61"/>
                    </a:lnTo>
                    <a:lnTo>
                      <a:pt x="1378" y="61"/>
                    </a:lnTo>
                    <a:lnTo>
                      <a:pt x="1378" y="63"/>
                    </a:lnTo>
                    <a:lnTo>
                      <a:pt x="1380" y="63"/>
                    </a:lnTo>
                    <a:lnTo>
                      <a:pt x="1382" y="64"/>
                    </a:lnTo>
                    <a:lnTo>
                      <a:pt x="1382" y="66"/>
                    </a:lnTo>
                    <a:lnTo>
                      <a:pt x="1383" y="66"/>
                    </a:lnTo>
                    <a:lnTo>
                      <a:pt x="1383" y="68"/>
                    </a:lnTo>
                    <a:lnTo>
                      <a:pt x="1383" y="70"/>
                    </a:lnTo>
                    <a:lnTo>
                      <a:pt x="1382" y="71"/>
                    </a:lnTo>
                    <a:lnTo>
                      <a:pt x="1382" y="73"/>
                    </a:lnTo>
                    <a:lnTo>
                      <a:pt x="1380" y="73"/>
                    </a:lnTo>
                    <a:lnTo>
                      <a:pt x="1380" y="75"/>
                    </a:lnTo>
                    <a:lnTo>
                      <a:pt x="1378" y="75"/>
                    </a:lnTo>
                    <a:lnTo>
                      <a:pt x="1378" y="76"/>
                    </a:lnTo>
                    <a:lnTo>
                      <a:pt x="1378" y="78"/>
                    </a:lnTo>
                    <a:lnTo>
                      <a:pt x="1377" y="78"/>
                    </a:lnTo>
                    <a:lnTo>
                      <a:pt x="1375" y="78"/>
                    </a:lnTo>
                    <a:lnTo>
                      <a:pt x="1375" y="80"/>
                    </a:lnTo>
                    <a:lnTo>
                      <a:pt x="1377" y="80"/>
                    </a:lnTo>
                    <a:lnTo>
                      <a:pt x="1378" y="81"/>
                    </a:lnTo>
                    <a:lnTo>
                      <a:pt x="1378" y="83"/>
                    </a:lnTo>
                    <a:lnTo>
                      <a:pt x="1380" y="83"/>
                    </a:lnTo>
                    <a:lnTo>
                      <a:pt x="1382" y="83"/>
                    </a:lnTo>
                    <a:lnTo>
                      <a:pt x="1380" y="83"/>
                    </a:lnTo>
                    <a:lnTo>
                      <a:pt x="1380" y="85"/>
                    </a:lnTo>
                    <a:lnTo>
                      <a:pt x="1382" y="85"/>
                    </a:lnTo>
                    <a:lnTo>
                      <a:pt x="1382" y="87"/>
                    </a:lnTo>
                    <a:lnTo>
                      <a:pt x="1380" y="87"/>
                    </a:lnTo>
                    <a:lnTo>
                      <a:pt x="1380" y="88"/>
                    </a:lnTo>
                    <a:lnTo>
                      <a:pt x="1380" y="90"/>
                    </a:lnTo>
                    <a:lnTo>
                      <a:pt x="1378" y="90"/>
                    </a:lnTo>
                    <a:lnTo>
                      <a:pt x="1377" y="90"/>
                    </a:lnTo>
                    <a:lnTo>
                      <a:pt x="1375" y="92"/>
                    </a:lnTo>
                    <a:lnTo>
                      <a:pt x="1373" y="92"/>
                    </a:lnTo>
                    <a:lnTo>
                      <a:pt x="1373" y="93"/>
                    </a:lnTo>
                    <a:lnTo>
                      <a:pt x="1375" y="93"/>
                    </a:lnTo>
                    <a:lnTo>
                      <a:pt x="1375" y="95"/>
                    </a:lnTo>
                    <a:lnTo>
                      <a:pt x="1375" y="97"/>
                    </a:lnTo>
                    <a:lnTo>
                      <a:pt x="1375" y="98"/>
                    </a:lnTo>
                    <a:lnTo>
                      <a:pt x="1377" y="98"/>
                    </a:lnTo>
                    <a:lnTo>
                      <a:pt x="1377" y="100"/>
                    </a:lnTo>
                    <a:lnTo>
                      <a:pt x="1377" y="102"/>
                    </a:lnTo>
                    <a:lnTo>
                      <a:pt x="1375" y="102"/>
                    </a:lnTo>
                    <a:lnTo>
                      <a:pt x="1373" y="102"/>
                    </a:lnTo>
                    <a:lnTo>
                      <a:pt x="1373" y="104"/>
                    </a:lnTo>
                    <a:lnTo>
                      <a:pt x="1373" y="105"/>
                    </a:lnTo>
                    <a:lnTo>
                      <a:pt x="1375" y="105"/>
                    </a:lnTo>
                    <a:lnTo>
                      <a:pt x="1375" y="107"/>
                    </a:lnTo>
                    <a:lnTo>
                      <a:pt x="1377" y="107"/>
                    </a:lnTo>
                    <a:lnTo>
                      <a:pt x="1378" y="107"/>
                    </a:lnTo>
                    <a:lnTo>
                      <a:pt x="1378" y="109"/>
                    </a:lnTo>
                    <a:lnTo>
                      <a:pt x="1380" y="109"/>
                    </a:lnTo>
                    <a:lnTo>
                      <a:pt x="1382" y="109"/>
                    </a:lnTo>
                    <a:lnTo>
                      <a:pt x="1382" y="110"/>
                    </a:lnTo>
                    <a:lnTo>
                      <a:pt x="1383" y="110"/>
                    </a:lnTo>
                    <a:lnTo>
                      <a:pt x="1383" y="112"/>
                    </a:lnTo>
                    <a:lnTo>
                      <a:pt x="1382" y="112"/>
                    </a:lnTo>
                    <a:lnTo>
                      <a:pt x="1382" y="114"/>
                    </a:lnTo>
                    <a:lnTo>
                      <a:pt x="1380" y="114"/>
                    </a:lnTo>
                    <a:lnTo>
                      <a:pt x="1380" y="115"/>
                    </a:lnTo>
                    <a:lnTo>
                      <a:pt x="1380" y="117"/>
                    </a:lnTo>
                    <a:lnTo>
                      <a:pt x="1380" y="119"/>
                    </a:lnTo>
                    <a:lnTo>
                      <a:pt x="1380" y="121"/>
                    </a:lnTo>
                    <a:lnTo>
                      <a:pt x="1382" y="122"/>
                    </a:lnTo>
                    <a:lnTo>
                      <a:pt x="1383" y="122"/>
                    </a:lnTo>
                    <a:lnTo>
                      <a:pt x="1385" y="122"/>
                    </a:lnTo>
                    <a:lnTo>
                      <a:pt x="1385" y="124"/>
                    </a:lnTo>
                    <a:lnTo>
                      <a:pt x="1387" y="124"/>
                    </a:lnTo>
                    <a:lnTo>
                      <a:pt x="1387" y="126"/>
                    </a:lnTo>
                    <a:lnTo>
                      <a:pt x="1389" y="126"/>
                    </a:lnTo>
                    <a:lnTo>
                      <a:pt x="1389" y="127"/>
                    </a:lnTo>
                    <a:lnTo>
                      <a:pt x="1389" y="129"/>
                    </a:lnTo>
                    <a:lnTo>
                      <a:pt x="1392" y="134"/>
                    </a:lnTo>
                    <a:lnTo>
                      <a:pt x="1392" y="136"/>
                    </a:lnTo>
                    <a:lnTo>
                      <a:pt x="1392" y="138"/>
                    </a:lnTo>
                    <a:lnTo>
                      <a:pt x="1392" y="141"/>
                    </a:lnTo>
                    <a:lnTo>
                      <a:pt x="1392" y="143"/>
                    </a:lnTo>
                    <a:lnTo>
                      <a:pt x="1392" y="144"/>
                    </a:lnTo>
                    <a:lnTo>
                      <a:pt x="1392" y="146"/>
                    </a:lnTo>
                    <a:lnTo>
                      <a:pt x="1394" y="148"/>
                    </a:lnTo>
                    <a:lnTo>
                      <a:pt x="1395" y="149"/>
                    </a:lnTo>
                    <a:lnTo>
                      <a:pt x="1395" y="151"/>
                    </a:lnTo>
                    <a:lnTo>
                      <a:pt x="1397" y="153"/>
                    </a:lnTo>
                    <a:lnTo>
                      <a:pt x="1397" y="155"/>
                    </a:lnTo>
                    <a:lnTo>
                      <a:pt x="1397" y="160"/>
                    </a:lnTo>
                    <a:lnTo>
                      <a:pt x="1397" y="161"/>
                    </a:lnTo>
                    <a:lnTo>
                      <a:pt x="1399" y="161"/>
                    </a:lnTo>
                    <a:lnTo>
                      <a:pt x="1399" y="163"/>
                    </a:lnTo>
                    <a:lnTo>
                      <a:pt x="1400" y="163"/>
                    </a:lnTo>
                    <a:lnTo>
                      <a:pt x="1400" y="165"/>
                    </a:lnTo>
                    <a:lnTo>
                      <a:pt x="1400" y="166"/>
                    </a:lnTo>
                    <a:lnTo>
                      <a:pt x="1400" y="168"/>
                    </a:lnTo>
                    <a:lnTo>
                      <a:pt x="1402" y="168"/>
                    </a:lnTo>
                    <a:lnTo>
                      <a:pt x="1400" y="170"/>
                    </a:lnTo>
                    <a:lnTo>
                      <a:pt x="1402" y="170"/>
                    </a:lnTo>
                    <a:lnTo>
                      <a:pt x="1400" y="172"/>
                    </a:lnTo>
                    <a:lnTo>
                      <a:pt x="1400" y="173"/>
                    </a:lnTo>
                    <a:lnTo>
                      <a:pt x="1400" y="175"/>
                    </a:lnTo>
                    <a:lnTo>
                      <a:pt x="1402" y="175"/>
                    </a:lnTo>
                    <a:lnTo>
                      <a:pt x="1402" y="177"/>
                    </a:lnTo>
                    <a:lnTo>
                      <a:pt x="1402" y="178"/>
                    </a:lnTo>
                    <a:lnTo>
                      <a:pt x="1402" y="180"/>
                    </a:lnTo>
                    <a:lnTo>
                      <a:pt x="1404" y="180"/>
                    </a:lnTo>
                    <a:lnTo>
                      <a:pt x="1404" y="182"/>
                    </a:lnTo>
                    <a:lnTo>
                      <a:pt x="1404" y="184"/>
                    </a:lnTo>
                    <a:lnTo>
                      <a:pt x="1402" y="184"/>
                    </a:lnTo>
                    <a:lnTo>
                      <a:pt x="1402" y="185"/>
                    </a:lnTo>
                    <a:lnTo>
                      <a:pt x="1404" y="185"/>
                    </a:lnTo>
                    <a:lnTo>
                      <a:pt x="1402" y="187"/>
                    </a:lnTo>
                    <a:lnTo>
                      <a:pt x="1404" y="189"/>
                    </a:lnTo>
                    <a:lnTo>
                      <a:pt x="1402" y="189"/>
                    </a:lnTo>
                    <a:lnTo>
                      <a:pt x="1404" y="189"/>
                    </a:lnTo>
                    <a:lnTo>
                      <a:pt x="1402" y="190"/>
                    </a:lnTo>
                    <a:lnTo>
                      <a:pt x="1402" y="192"/>
                    </a:lnTo>
                    <a:lnTo>
                      <a:pt x="1404" y="192"/>
                    </a:lnTo>
                    <a:lnTo>
                      <a:pt x="1406" y="192"/>
                    </a:lnTo>
                    <a:lnTo>
                      <a:pt x="1414" y="194"/>
                    </a:lnTo>
                    <a:lnTo>
                      <a:pt x="1416" y="194"/>
                    </a:lnTo>
                    <a:lnTo>
                      <a:pt x="1426" y="190"/>
                    </a:lnTo>
                    <a:close/>
                    <a:moveTo>
                      <a:pt x="1378" y="1498"/>
                    </a:moveTo>
                    <a:lnTo>
                      <a:pt x="1378" y="1500"/>
                    </a:lnTo>
                    <a:lnTo>
                      <a:pt x="1378" y="1517"/>
                    </a:lnTo>
                    <a:lnTo>
                      <a:pt x="1378" y="1531"/>
                    </a:lnTo>
                    <a:lnTo>
                      <a:pt x="1378" y="1536"/>
                    </a:lnTo>
                    <a:lnTo>
                      <a:pt x="1378" y="1539"/>
                    </a:lnTo>
                    <a:lnTo>
                      <a:pt x="1378" y="1551"/>
                    </a:lnTo>
                    <a:lnTo>
                      <a:pt x="1377" y="1563"/>
                    </a:lnTo>
                    <a:lnTo>
                      <a:pt x="1377" y="1570"/>
                    </a:lnTo>
                    <a:lnTo>
                      <a:pt x="1377" y="1582"/>
                    </a:lnTo>
                    <a:lnTo>
                      <a:pt x="1377" y="1595"/>
                    </a:lnTo>
                    <a:lnTo>
                      <a:pt x="1377" y="1597"/>
                    </a:lnTo>
                    <a:lnTo>
                      <a:pt x="1377" y="1604"/>
                    </a:lnTo>
                    <a:lnTo>
                      <a:pt x="1377" y="1606"/>
                    </a:lnTo>
                    <a:lnTo>
                      <a:pt x="1377" y="1607"/>
                    </a:lnTo>
                    <a:lnTo>
                      <a:pt x="1377" y="1609"/>
                    </a:lnTo>
                    <a:lnTo>
                      <a:pt x="1377" y="1621"/>
                    </a:lnTo>
                    <a:lnTo>
                      <a:pt x="1377" y="1626"/>
                    </a:lnTo>
                    <a:lnTo>
                      <a:pt x="1375" y="1624"/>
                    </a:lnTo>
                    <a:lnTo>
                      <a:pt x="1373" y="1623"/>
                    </a:lnTo>
                    <a:lnTo>
                      <a:pt x="1372" y="1623"/>
                    </a:lnTo>
                    <a:lnTo>
                      <a:pt x="1372" y="1624"/>
                    </a:lnTo>
                    <a:lnTo>
                      <a:pt x="1373" y="1624"/>
                    </a:lnTo>
                    <a:lnTo>
                      <a:pt x="1373" y="1626"/>
                    </a:lnTo>
                    <a:lnTo>
                      <a:pt x="1375" y="1626"/>
                    </a:lnTo>
                    <a:lnTo>
                      <a:pt x="1375" y="1628"/>
                    </a:lnTo>
                    <a:lnTo>
                      <a:pt x="1373" y="1628"/>
                    </a:lnTo>
                    <a:lnTo>
                      <a:pt x="1372" y="1629"/>
                    </a:lnTo>
                    <a:lnTo>
                      <a:pt x="1370" y="1629"/>
                    </a:lnTo>
                    <a:lnTo>
                      <a:pt x="1368" y="1629"/>
                    </a:lnTo>
                    <a:lnTo>
                      <a:pt x="1366" y="1629"/>
                    </a:lnTo>
                    <a:lnTo>
                      <a:pt x="1365" y="1629"/>
                    </a:lnTo>
                    <a:lnTo>
                      <a:pt x="1365" y="1631"/>
                    </a:lnTo>
                    <a:lnTo>
                      <a:pt x="1363" y="1629"/>
                    </a:lnTo>
                    <a:lnTo>
                      <a:pt x="1361" y="1629"/>
                    </a:lnTo>
                    <a:lnTo>
                      <a:pt x="1360" y="1629"/>
                    </a:lnTo>
                    <a:lnTo>
                      <a:pt x="1358" y="1628"/>
                    </a:lnTo>
                    <a:lnTo>
                      <a:pt x="1356" y="1628"/>
                    </a:lnTo>
                    <a:lnTo>
                      <a:pt x="1355" y="1628"/>
                    </a:lnTo>
                    <a:lnTo>
                      <a:pt x="1353" y="1628"/>
                    </a:lnTo>
                    <a:lnTo>
                      <a:pt x="1351" y="1626"/>
                    </a:lnTo>
                    <a:lnTo>
                      <a:pt x="1349" y="1626"/>
                    </a:lnTo>
                    <a:lnTo>
                      <a:pt x="1348" y="1626"/>
                    </a:lnTo>
                    <a:lnTo>
                      <a:pt x="1348" y="1624"/>
                    </a:lnTo>
                    <a:lnTo>
                      <a:pt x="1346" y="1624"/>
                    </a:lnTo>
                    <a:lnTo>
                      <a:pt x="1344" y="1624"/>
                    </a:lnTo>
                    <a:lnTo>
                      <a:pt x="1343" y="1623"/>
                    </a:lnTo>
                    <a:lnTo>
                      <a:pt x="1343" y="1621"/>
                    </a:lnTo>
                    <a:lnTo>
                      <a:pt x="1344" y="1619"/>
                    </a:lnTo>
                    <a:lnTo>
                      <a:pt x="1344" y="1621"/>
                    </a:lnTo>
                    <a:lnTo>
                      <a:pt x="1344" y="1619"/>
                    </a:lnTo>
                    <a:lnTo>
                      <a:pt x="1344" y="1618"/>
                    </a:lnTo>
                    <a:lnTo>
                      <a:pt x="1344" y="1616"/>
                    </a:lnTo>
                    <a:lnTo>
                      <a:pt x="1344" y="1618"/>
                    </a:lnTo>
                    <a:lnTo>
                      <a:pt x="1344" y="1619"/>
                    </a:lnTo>
                    <a:lnTo>
                      <a:pt x="1343" y="1621"/>
                    </a:lnTo>
                    <a:lnTo>
                      <a:pt x="1343" y="1619"/>
                    </a:lnTo>
                    <a:lnTo>
                      <a:pt x="1343" y="1618"/>
                    </a:lnTo>
                    <a:lnTo>
                      <a:pt x="1341" y="1616"/>
                    </a:lnTo>
                    <a:lnTo>
                      <a:pt x="1341" y="1614"/>
                    </a:lnTo>
                    <a:lnTo>
                      <a:pt x="1341" y="1616"/>
                    </a:lnTo>
                    <a:lnTo>
                      <a:pt x="1341" y="1618"/>
                    </a:lnTo>
                    <a:lnTo>
                      <a:pt x="1343" y="1619"/>
                    </a:lnTo>
                    <a:lnTo>
                      <a:pt x="1341" y="1619"/>
                    </a:lnTo>
                    <a:lnTo>
                      <a:pt x="1341" y="1621"/>
                    </a:lnTo>
                    <a:lnTo>
                      <a:pt x="1343" y="1621"/>
                    </a:lnTo>
                    <a:lnTo>
                      <a:pt x="1343" y="1619"/>
                    </a:lnTo>
                    <a:lnTo>
                      <a:pt x="1343" y="1621"/>
                    </a:lnTo>
                    <a:lnTo>
                      <a:pt x="1343" y="1623"/>
                    </a:lnTo>
                    <a:lnTo>
                      <a:pt x="1341" y="1623"/>
                    </a:lnTo>
                    <a:lnTo>
                      <a:pt x="1339" y="1623"/>
                    </a:lnTo>
                    <a:lnTo>
                      <a:pt x="1339" y="1621"/>
                    </a:lnTo>
                    <a:lnTo>
                      <a:pt x="1339" y="1619"/>
                    </a:lnTo>
                    <a:lnTo>
                      <a:pt x="1341" y="1619"/>
                    </a:lnTo>
                    <a:lnTo>
                      <a:pt x="1341" y="1618"/>
                    </a:lnTo>
                    <a:lnTo>
                      <a:pt x="1339" y="1618"/>
                    </a:lnTo>
                    <a:lnTo>
                      <a:pt x="1339" y="1616"/>
                    </a:lnTo>
                    <a:lnTo>
                      <a:pt x="1339" y="1618"/>
                    </a:lnTo>
                    <a:lnTo>
                      <a:pt x="1341" y="1619"/>
                    </a:lnTo>
                    <a:lnTo>
                      <a:pt x="1339" y="1619"/>
                    </a:lnTo>
                    <a:lnTo>
                      <a:pt x="1339" y="1621"/>
                    </a:lnTo>
                    <a:lnTo>
                      <a:pt x="1339" y="1623"/>
                    </a:lnTo>
                    <a:lnTo>
                      <a:pt x="1338" y="1623"/>
                    </a:lnTo>
                    <a:lnTo>
                      <a:pt x="1336" y="1623"/>
                    </a:lnTo>
                    <a:lnTo>
                      <a:pt x="1334" y="1623"/>
                    </a:lnTo>
                    <a:lnTo>
                      <a:pt x="1332" y="1623"/>
                    </a:lnTo>
                    <a:lnTo>
                      <a:pt x="1332" y="1621"/>
                    </a:lnTo>
                    <a:lnTo>
                      <a:pt x="1332" y="1619"/>
                    </a:lnTo>
                    <a:lnTo>
                      <a:pt x="1332" y="1618"/>
                    </a:lnTo>
                    <a:lnTo>
                      <a:pt x="1332" y="1616"/>
                    </a:lnTo>
                    <a:lnTo>
                      <a:pt x="1332" y="1618"/>
                    </a:lnTo>
                    <a:lnTo>
                      <a:pt x="1332" y="1619"/>
                    </a:lnTo>
                    <a:lnTo>
                      <a:pt x="1332" y="1621"/>
                    </a:lnTo>
                    <a:lnTo>
                      <a:pt x="1332" y="1623"/>
                    </a:lnTo>
                    <a:lnTo>
                      <a:pt x="1332" y="1624"/>
                    </a:lnTo>
                    <a:lnTo>
                      <a:pt x="1331" y="1624"/>
                    </a:lnTo>
                    <a:lnTo>
                      <a:pt x="1329" y="1624"/>
                    </a:lnTo>
                    <a:lnTo>
                      <a:pt x="1327" y="1624"/>
                    </a:lnTo>
                    <a:lnTo>
                      <a:pt x="1329" y="1623"/>
                    </a:lnTo>
                    <a:lnTo>
                      <a:pt x="1329" y="1621"/>
                    </a:lnTo>
                    <a:lnTo>
                      <a:pt x="1327" y="1623"/>
                    </a:lnTo>
                    <a:lnTo>
                      <a:pt x="1327" y="1621"/>
                    </a:lnTo>
                    <a:lnTo>
                      <a:pt x="1327" y="1623"/>
                    </a:lnTo>
                    <a:lnTo>
                      <a:pt x="1326" y="1624"/>
                    </a:lnTo>
                    <a:lnTo>
                      <a:pt x="1324" y="1624"/>
                    </a:lnTo>
                    <a:lnTo>
                      <a:pt x="1324" y="1623"/>
                    </a:lnTo>
                    <a:lnTo>
                      <a:pt x="1324" y="1624"/>
                    </a:lnTo>
                    <a:lnTo>
                      <a:pt x="1326" y="1624"/>
                    </a:lnTo>
                    <a:lnTo>
                      <a:pt x="1324" y="1624"/>
                    </a:lnTo>
                    <a:lnTo>
                      <a:pt x="1322" y="1624"/>
                    </a:lnTo>
                    <a:lnTo>
                      <a:pt x="1321" y="1624"/>
                    </a:lnTo>
                    <a:lnTo>
                      <a:pt x="1321" y="1623"/>
                    </a:lnTo>
                    <a:lnTo>
                      <a:pt x="1321" y="1621"/>
                    </a:lnTo>
                    <a:lnTo>
                      <a:pt x="1321" y="1619"/>
                    </a:lnTo>
                    <a:lnTo>
                      <a:pt x="1322" y="1618"/>
                    </a:lnTo>
                    <a:lnTo>
                      <a:pt x="1324" y="1616"/>
                    </a:lnTo>
                    <a:lnTo>
                      <a:pt x="1326" y="1614"/>
                    </a:lnTo>
                    <a:lnTo>
                      <a:pt x="1324" y="1614"/>
                    </a:lnTo>
                    <a:lnTo>
                      <a:pt x="1322" y="1614"/>
                    </a:lnTo>
                    <a:lnTo>
                      <a:pt x="1322" y="1616"/>
                    </a:lnTo>
                    <a:lnTo>
                      <a:pt x="1322" y="1618"/>
                    </a:lnTo>
                    <a:lnTo>
                      <a:pt x="1321" y="1618"/>
                    </a:lnTo>
                    <a:lnTo>
                      <a:pt x="1321" y="1619"/>
                    </a:lnTo>
                    <a:lnTo>
                      <a:pt x="1321" y="1621"/>
                    </a:lnTo>
                    <a:lnTo>
                      <a:pt x="1319" y="1623"/>
                    </a:lnTo>
                    <a:lnTo>
                      <a:pt x="1319" y="1624"/>
                    </a:lnTo>
                    <a:lnTo>
                      <a:pt x="1319" y="1623"/>
                    </a:lnTo>
                    <a:lnTo>
                      <a:pt x="1317" y="1623"/>
                    </a:lnTo>
                    <a:lnTo>
                      <a:pt x="1315" y="1621"/>
                    </a:lnTo>
                    <a:lnTo>
                      <a:pt x="1314" y="1621"/>
                    </a:lnTo>
                    <a:lnTo>
                      <a:pt x="1312" y="1621"/>
                    </a:lnTo>
                    <a:lnTo>
                      <a:pt x="1312" y="1619"/>
                    </a:lnTo>
                    <a:lnTo>
                      <a:pt x="1310" y="1619"/>
                    </a:lnTo>
                    <a:lnTo>
                      <a:pt x="1312" y="1619"/>
                    </a:lnTo>
                    <a:lnTo>
                      <a:pt x="1310" y="1619"/>
                    </a:lnTo>
                    <a:lnTo>
                      <a:pt x="1310" y="1621"/>
                    </a:lnTo>
                    <a:lnTo>
                      <a:pt x="1309" y="1621"/>
                    </a:lnTo>
                    <a:lnTo>
                      <a:pt x="1309" y="1623"/>
                    </a:lnTo>
                    <a:lnTo>
                      <a:pt x="1307" y="1621"/>
                    </a:lnTo>
                    <a:lnTo>
                      <a:pt x="1307" y="1623"/>
                    </a:lnTo>
                    <a:lnTo>
                      <a:pt x="1307" y="1624"/>
                    </a:lnTo>
                    <a:lnTo>
                      <a:pt x="1307" y="1623"/>
                    </a:lnTo>
                    <a:lnTo>
                      <a:pt x="1305" y="1623"/>
                    </a:lnTo>
                    <a:lnTo>
                      <a:pt x="1304" y="1623"/>
                    </a:lnTo>
                    <a:lnTo>
                      <a:pt x="1302" y="1623"/>
                    </a:lnTo>
                    <a:lnTo>
                      <a:pt x="1304" y="1621"/>
                    </a:lnTo>
                    <a:lnTo>
                      <a:pt x="1304" y="1619"/>
                    </a:lnTo>
                    <a:lnTo>
                      <a:pt x="1304" y="1621"/>
                    </a:lnTo>
                    <a:lnTo>
                      <a:pt x="1304" y="1619"/>
                    </a:lnTo>
                    <a:lnTo>
                      <a:pt x="1305" y="1619"/>
                    </a:lnTo>
                    <a:lnTo>
                      <a:pt x="1307" y="1619"/>
                    </a:lnTo>
                    <a:lnTo>
                      <a:pt x="1309" y="1618"/>
                    </a:lnTo>
                    <a:lnTo>
                      <a:pt x="1310" y="1618"/>
                    </a:lnTo>
                    <a:lnTo>
                      <a:pt x="1310" y="1616"/>
                    </a:lnTo>
                    <a:lnTo>
                      <a:pt x="1312" y="1616"/>
                    </a:lnTo>
                    <a:lnTo>
                      <a:pt x="1314" y="1616"/>
                    </a:lnTo>
                    <a:lnTo>
                      <a:pt x="1314" y="1614"/>
                    </a:lnTo>
                    <a:lnTo>
                      <a:pt x="1315" y="1614"/>
                    </a:lnTo>
                    <a:lnTo>
                      <a:pt x="1315" y="1612"/>
                    </a:lnTo>
                    <a:lnTo>
                      <a:pt x="1317" y="1612"/>
                    </a:lnTo>
                    <a:lnTo>
                      <a:pt x="1317" y="1611"/>
                    </a:lnTo>
                    <a:lnTo>
                      <a:pt x="1315" y="1611"/>
                    </a:lnTo>
                    <a:lnTo>
                      <a:pt x="1314" y="1611"/>
                    </a:lnTo>
                    <a:lnTo>
                      <a:pt x="1312" y="1611"/>
                    </a:lnTo>
                    <a:lnTo>
                      <a:pt x="1312" y="1612"/>
                    </a:lnTo>
                    <a:lnTo>
                      <a:pt x="1310" y="1614"/>
                    </a:lnTo>
                    <a:lnTo>
                      <a:pt x="1312" y="1614"/>
                    </a:lnTo>
                    <a:lnTo>
                      <a:pt x="1312" y="1616"/>
                    </a:lnTo>
                    <a:lnTo>
                      <a:pt x="1310" y="1616"/>
                    </a:lnTo>
                    <a:lnTo>
                      <a:pt x="1309" y="1616"/>
                    </a:lnTo>
                    <a:lnTo>
                      <a:pt x="1309" y="1618"/>
                    </a:lnTo>
                    <a:lnTo>
                      <a:pt x="1307" y="1618"/>
                    </a:lnTo>
                    <a:lnTo>
                      <a:pt x="1307" y="1616"/>
                    </a:lnTo>
                    <a:lnTo>
                      <a:pt x="1305" y="1616"/>
                    </a:lnTo>
                    <a:lnTo>
                      <a:pt x="1305" y="1618"/>
                    </a:lnTo>
                    <a:lnTo>
                      <a:pt x="1304" y="1618"/>
                    </a:lnTo>
                    <a:lnTo>
                      <a:pt x="1305" y="1618"/>
                    </a:lnTo>
                    <a:lnTo>
                      <a:pt x="1304" y="1619"/>
                    </a:lnTo>
                    <a:lnTo>
                      <a:pt x="1304" y="1618"/>
                    </a:lnTo>
                    <a:lnTo>
                      <a:pt x="1302" y="1619"/>
                    </a:lnTo>
                    <a:lnTo>
                      <a:pt x="1302" y="1618"/>
                    </a:lnTo>
                    <a:lnTo>
                      <a:pt x="1300" y="1618"/>
                    </a:lnTo>
                    <a:lnTo>
                      <a:pt x="1298" y="1618"/>
                    </a:lnTo>
                    <a:lnTo>
                      <a:pt x="1300" y="1618"/>
                    </a:lnTo>
                    <a:lnTo>
                      <a:pt x="1300" y="1616"/>
                    </a:lnTo>
                    <a:lnTo>
                      <a:pt x="1302" y="1616"/>
                    </a:lnTo>
                    <a:lnTo>
                      <a:pt x="1304" y="1614"/>
                    </a:lnTo>
                    <a:lnTo>
                      <a:pt x="1305" y="1614"/>
                    </a:lnTo>
                    <a:lnTo>
                      <a:pt x="1304" y="1614"/>
                    </a:lnTo>
                    <a:lnTo>
                      <a:pt x="1302" y="1614"/>
                    </a:lnTo>
                    <a:lnTo>
                      <a:pt x="1302" y="1612"/>
                    </a:lnTo>
                    <a:lnTo>
                      <a:pt x="1300" y="1612"/>
                    </a:lnTo>
                    <a:lnTo>
                      <a:pt x="1300" y="1614"/>
                    </a:lnTo>
                    <a:lnTo>
                      <a:pt x="1298" y="1614"/>
                    </a:lnTo>
                    <a:lnTo>
                      <a:pt x="1300" y="1614"/>
                    </a:lnTo>
                    <a:lnTo>
                      <a:pt x="1300" y="1616"/>
                    </a:lnTo>
                    <a:lnTo>
                      <a:pt x="1298" y="1618"/>
                    </a:lnTo>
                    <a:lnTo>
                      <a:pt x="1298" y="1619"/>
                    </a:lnTo>
                    <a:lnTo>
                      <a:pt x="1297" y="1619"/>
                    </a:lnTo>
                    <a:lnTo>
                      <a:pt x="1295" y="1618"/>
                    </a:lnTo>
                    <a:lnTo>
                      <a:pt x="1297" y="1618"/>
                    </a:lnTo>
                    <a:lnTo>
                      <a:pt x="1297" y="1616"/>
                    </a:lnTo>
                    <a:lnTo>
                      <a:pt x="1298" y="1616"/>
                    </a:lnTo>
                    <a:lnTo>
                      <a:pt x="1298" y="1614"/>
                    </a:lnTo>
                    <a:lnTo>
                      <a:pt x="1300" y="1614"/>
                    </a:lnTo>
                    <a:lnTo>
                      <a:pt x="1298" y="1614"/>
                    </a:lnTo>
                    <a:lnTo>
                      <a:pt x="1297" y="1614"/>
                    </a:lnTo>
                    <a:lnTo>
                      <a:pt x="1297" y="1616"/>
                    </a:lnTo>
                    <a:lnTo>
                      <a:pt x="1297" y="1614"/>
                    </a:lnTo>
                    <a:lnTo>
                      <a:pt x="1298" y="1614"/>
                    </a:lnTo>
                    <a:lnTo>
                      <a:pt x="1298" y="1612"/>
                    </a:lnTo>
                    <a:lnTo>
                      <a:pt x="1297" y="1612"/>
                    </a:lnTo>
                    <a:lnTo>
                      <a:pt x="1298" y="1612"/>
                    </a:lnTo>
                    <a:lnTo>
                      <a:pt x="1298" y="1611"/>
                    </a:lnTo>
                    <a:lnTo>
                      <a:pt x="1300" y="1611"/>
                    </a:lnTo>
                    <a:lnTo>
                      <a:pt x="1298" y="1611"/>
                    </a:lnTo>
                    <a:lnTo>
                      <a:pt x="1297" y="1611"/>
                    </a:lnTo>
                    <a:lnTo>
                      <a:pt x="1297" y="1609"/>
                    </a:lnTo>
                    <a:lnTo>
                      <a:pt x="1295" y="1609"/>
                    </a:lnTo>
                    <a:lnTo>
                      <a:pt x="1297" y="1611"/>
                    </a:lnTo>
                    <a:lnTo>
                      <a:pt x="1295" y="1612"/>
                    </a:lnTo>
                    <a:lnTo>
                      <a:pt x="1295" y="1611"/>
                    </a:lnTo>
                    <a:lnTo>
                      <a:pt x="1293" y="1612"/>
                    </a:lnTo>
                    <a:lnTo>
                      <a:pt x="1293" y="1614"/>
                    </a:lnTo>
                    <a:lnTo>
                      <a:pt x="1292" y="1614"/>
                    </a:lnTo>
                    <a:lnTo>
                      <a:pt x="1290" y="1614"/>
                    </a:lnTo>
                    <a:lnTo>
                      <a:pt x="1292" y="1614"/>
                    </a:lnTo>
                    <a:lnTo>
                      <a:pt x="1290" y="1612"/>
                    </a:lnTo>
                    <a:lnTo>
                      <a:pt x="1288" y="1614"/>
                    </a:lnTo>
                    <a:lnTo>
                      <a:pt x="1288" y="1612"/>
                    </a:lnTo>
                    <a:lnTo>
                      <a:pt x="1287" y="1612"/>
                    </a:lnTo>
                    <a:lnTo>
                      <a:pt x="1287" y="1611"/>
                    </a:lnTo>
                    <a:lnTo>
                      <a:pt x="1288" y="1611"/>
                    </a:lnTo>
                    <a:lnTo>
                      <a:pt x="1290" y="1612"/>
                    </a:lnTo>
                    <a:lnTo>
                      <a:pt x="1290" y="1611"/>
                    </a:lnTo>
                    <a:lnTo>
                      <a:pt x="1292" y="1611"/>
                    </a:lnTo>
                    <a:lnTo>
                      <a:pt x="1293" y="1611"/>
                    </a:lnTo>
                    <a:lnTo>
                      <a:pt x="1292" y="1611"/>
                    </a:lnTo>
                    <a:lnTo>
                      <a:pt x="1290" y="1611"/>
                    </a:lnTo>
                    <a:lnTo>
                      <a:pt x="1288" y="1609"/>
                    </a:lnTo>
                    <a:lnTo>
                      <a:pt x="1288" y="1607"/>
                    </a:lnTo>
                    <a:lnTo>
                      <a:pt x="1290" y="1607"/>
                    </a:lnTo>
                    <a:lnTo>
                      <a:pt x="1292" y="1607"/>
                    </a:lnTo>
                    <a:lnTo>
                      <a:pt x="1290" y="1607"/>
                    </a:lnTo>
                    <a:lnTo>
                      <a:pt x="1288" y="1607"/>
                    </a:lnTo>
                    <a:lnTo>
                      <a:pt x="1290" y="1606"/>
                    </a:lnTo>
                    <a:lnTo>
                      <a:pt x="1288" y="1606"/>
                    </a:lnTo>
                    <a:lnTo>
                      <a:pt x="1290" y="1604"/>
                    </a:lnTo>
                    <a:lnTo>
                      <a:pt x="1288" y="1606"/>
                    </a:lnTo>
                    <a:lnTo>
                      <a:pt x="1288" y="1607"/>
                    </a:lnTo>
                    <a:lnTo>
                      <a:pt x="1287" y="1607"/>
                    </a:lnTo>
                    <a:lnTo>
                      <a:pt x="1287" y="1606"/>
                    </a:lnTo>
                    <a:lnTo>
                      <a:pt x="1287" y="1604"/>
                    </a:lnTo>
                    <a:lnTo>
                      <a:pt x="1287" y="1606"/>
                    </a:lnTo>
                    <a:lnTo>
                      <a:pt x="1287" y="1607"/>
                    </a:lnTo>
                    <a:lnTo>
                      <a:pt x="1285" y="1606"/>
                    </a:lnTo>
                    <a:lnTo>
                      <a:pt x="1283" y="1604"/>
                    </a:lnTo>
                    <a:lnTo>
                      <a:pt x="1285" y="1606"/>
                    </a:lnTo>
                    <a:lnTo>
                      <a:pt x="1285" y="1607"/>
                    </a:lnTo>
                    <a:lnTo>
                      <a:pt x="1283" y="1606"/>
                    </a:lnTo>
                    <a:lnTo>
                      <a:pt x="1283" y="1607"/>
                    </a:lnTo>
                    <a:lnTo>
                      <a:pt x="1285" y="1607"/>
                    </a:lnTo>
                    <a:lnTo>
                      <a:pt x="1287" y="1607"/>
                    </a:lnTo>
                    <a:lnTo>
                      <a:pt x="1287" y="1609"/>
                    </a:lnTo>
                    <a:lnTo>
                      <a:pt x="1287" y="1611"/>
                    </a:lnTo>
                    <a:lnTo>
                      <a:pt x="1285" y="1609"/>
                    </a:lnTo>
                    <a:lnTo>
                      <a:pt x="1287" y="1609"/>
                    </a:lnTo>
                    <a:lnTo>
                      <a:pt x="1285" y="1609"/>
                    </a:lnTo>
                    <a:lnTo>
                      <a:pt x="1283" y="1609"/>
                    </a:lnTo>
                    <a:lnTo>
                      <a:pt x="1285" y="1609"/>
                    </a:lnTo>
                    <a:lnTo>
                      <a:pt x="1285" y="1611"/>
                    </a:lnTo>
                    <a:lnTo>
                      <a:pt x="1285" y="1612"/>
                    </a:lnTo>
                    <a:lnTo>
                      <a:pt x="1283" y="1612"/>
                    </a:lnTo>
                    <a:lnTo>
                      <a:pt x="1283" y="1611"/>
                    </a:lnTo>
                    <a:lnTo>
                      <a:pt x="1281" y="1611"/>
                    </a:lnTo>
                    <a:lnTo>
                      <a:pt x="1283" y="1612"/>
                    </a:lnTo>
                    <a:lnTo>
                      <a:pt x="1281" y="1612"/>
                    </a:lnTo>
                    <a:lnTo>
                      <a:pt x="1281" y="1614"/>
                    </a:lnTo>
                    <a:lnTo>
                      <a:pt x="1280" y="1614"/>
                    </a:lnTo>
                    <a:lnTo>
                      <a:pt x="1280" y="1612"/>
                    </a:lnTo>
                    <a:lnTo>
                      <a:pt x="1280" y="1611"/>
                    </a:lnTo>
                    <a:lnTo>
                      <a:pt x="1280" y="1609"/>
                    </a:lnTo>
                    <a:lnTo>
                      <a:pt x="1281" y="1609"/>
                    </a:lnTo>
                    <a:lnTo>
                      <a:pt x="1281" y="1607"/>
                    </a:lnTo>
                    <a:lnTo>
                      <a:pt x="1280" y="1609"/>
                    </a:lnTo>
                    <a:lnTo>
                      <a:pt x="1280" y="1611"/>
                    </a:lnTo>
                    <a:lnTo>
                      <a:pt x="1280" y="1612"/>
                    </a:lnTo>
                    <a:lnTo>
                      <a:pt x="1280" y="1611"/>
                    </a:lnTo>
                    <a:lnTo>
                      <a:pt x="1278" y="1612"/>
                    </a:lnTo>
                    <a:lnTo>
                      <a:pt x="1278" y="1611"/>
                    </a:lnTo>
                    <a:lnTo>
                      <a:pt x="1278" y="1609"/>
                    </a:lnTo>
                    <a:lnTo>
                      <a:pt x="1278" y="1611"/>
                    </a:lnTo>
                    <a:lnTo>
                      <a:pt x="1276" y="1611"/>
                    </a:lnTo>
                    <a:lnTo>
                      <a:pt x="1276" y="1609"/>
                    </a:lnTo>
                    <a:lnTo>
                      <a:pt x="1278" y="1609"/>
                    </a:lnTo>
                    <a:lnTo>
                      <a:pt x="1278" y="1607"/>
                    </a:lnTo>
                    <a:lnTo>
                      <a:pt x="1278" y="1609"/>
                    </a:lnTo>
                    <a:lnTo>
                      <a:pt x="1276" y="1607"/>
                    </a:lnTo>
                    <a:lnTo>
                      <a:pt x="1276" y="1609"/>
                    </a:lnTo>
                    <a:lnTo>
                      <a:pt x="1275" y="1611"/>
                    </a:lnTo>
                    <a:lnTo>
                      <a:pt x="1276" y="1611"/>
                    </a:lnTo>
                    <a:lnTo>
                      <a:pt x="1275" y="1612"/>
                    </a:lnTo>
                    <a:lnTo>
                      <a:pt x="1275" y="1611"/>
                    </a:lnTo>
                    <a:lnTo>
                      <a:pt x="1275" y="1609"/>
                    </a:lnTo>
                    <a:lnTo>
                      <a:pt x="1276" y="1609"/>
                    </a:lnTo>
                    <a:lnTo>
                      <a:pt x="1276" y="1607"/>
                    </a:lnTo>
                    <a:lnTo>
                      <a:pt x="1275" y="1609"/>
                    </a:lnTo>
                    <a:lnTo>
                      <a:pt x="1273" y="1609"/>
                    </a:lnTo>
                    <a:lnTo>
                      <a:pt x="1271" y="1607"/>
                    </a:lnTo>
                    <a:lnTo>
                      <a:pt x="1273" y="1609"/>
                    </a:lnTo>
                    <a:lnTo>
                      <a:pt x="1271" y="1611"/>
                    </a:lnTo>
                    <a:lnTo>
                      <a:pt x="1271" y="1609"/>
                    </a:lnTo>
                    <a:lnTo>
                      <a:pt x="1270" y="1607"/>
                    </a:lnTo>
                    <a:lnTo>
                      <a:pt x="1270" y="1609"/>
                    </a:lnTo>
                    <a:lnTo>
                      <a:pt x="1271" y="1611"/>
                    </a:lnTo>
                    <a:lnTo>
                      <a:pt x="1270" y="1611"/>
                    </a:lnTo>
                    <a:lnTo>
                      <a:pt x="1268" y="1611"/>
                    </a:lnTo>
                    <a:lnTo>
                      <a:pt x="1266" y="1611"/>
                    </a:lnTo>
                    <a:lnTo>
                      <a:pt x="1264" y="1609"/>
                    </a:lnTo>
                    <a:lnTo>
                      <a:pt x="1266" y="1609"/>
                    </a:lnTo>
                    <a:lnTo>
                      <a:pt x="1268" y="1609"/>
                    </a:lnTo>
                    <a:lnTo>
                      <a:pt x="1268" y="1607"/>
                    </a:lnTo>
                    <a:lnTo>
                      <a:pt x="1266" y="1607"/>
                    </a:lnTo>
                    <a:lnTo>
                      <a:pt x="1266" y="1606"/>
                    </a:lnTo>
                    <a:lnTo>
                      <a:pt x="1264" y="1607"/>
                    </a:lnTo>
                    <a:lnTo>
                      <a:pt x="1264" y="1606"/>
                    </a:lnTo>
                    <a:lnTo>
                      <a:pt x="1264" y="1604"/>
                    </a:lnTo>
                    <a:lnTo>
                      <a:pt x="1263" y="1604"/>
                    </a:lnTo>
                    <a:lnTo>
                      <a:pt x="1264" y="1602"/>
                    </a:lnTo>
                    <a:lnTo>
                      <a:pt x="1264" y="1604"/>
                    </a:lnTo>
                    <a:lnTo>
                      <a:pt x="1266" y="1606"/>
                    </a:lnTo>
                    <a:lnTo>
                      <a:pt x="1264" y="1604"/>
                    </a:lnTo>
                    <a:lnTo>
                      <a:pt x="1264" y="1602"/>
                    </a:lnTo>
                    <a:lnTo>
                      <a:pt x="1266" y="1604"/>
                    </a:lnTo>
                    <a:lnTo>
                      <a:pt x="1264" y="1602"/>
                    </a:lnTo>
                    <a:lnTo>
                      <a:pt x="1264" y="1600"/>
                    </a:lnTo>
                    <a:lnTo>
                      <a:pt x="1266" y="1600"/>
                    </a:lnTo>
                    <a:lnTo>
                      <a:pt x="1268" y="1600"/>
                    </a:lnTo>
                    <a:lnTo>
                      <a:pt x="1268" y="1602"/>
                    </a:lnTo>
                    <a:lnTo>
                      <a:pt x="1268" y="1604"/>
                    </a:lnTo>
                    <a:lnTo>
                      <a:pt x="1268" y="1602"/>
                    </a:lnTo>
                    <a:lnTo>
                      <a:pt x="1268" y="1600"/>
                    </a:lnTo>
                    <a:lnTo>
                      <a:pt x="1270" y="1602"/>
                    </a:lnTo>
                    <a:lnTo>
                      <a:pt x="1270" y="1604"/>
                    </a:lnTo>
                    <a:lnTo>
                      <a:pt x="1270" y="1606"/>
                    </a:lnTo>
                    <a:lnTo>
                      <a:pt x="1271" y="1606"/>
                    </a:lnTo>
                    <a:lnTo>
                      <a:pt x="1273" y="1606"/>
                    </a:lnTo>
                    <a:lnTo>
                      <a:pt x="1275" y="1607"/>
                    </a:lnTo>
                    <a:lnTo>
                      <a:pt x="1275" y="1606"/>
                    </a:lnTo>
                    <a:lnTo>
                      <a:pt x="1273" y="1606"/>
                    </a:lnTo>
                    <a:lnTo>
                      <a:pt x="1275" y="1606"/>
                    </a:lnTo>
                    <a:lnTo>
                      <a:pt x="1273" y="1604"/>
                    </a:lnTo>
                    <a:lnTo>
                      <a:pt x="1271" y="1602"/>
                    </a:lnTo>
                    <a:lnTo>
                      <a:pt x="1273" y="1602"/>
                    </a:lnTo>
                    <a:lnTo>
                      <a:pt x="1275" y="1604"/>
                    </a:lnTo>
                    <a:lnTo>
                      <a:pt x="1276" y="1604"/>
                    </a:lnTo>
                    <a:lnTo>
                      <a:pt x="1276" y="1606"/>
                    </a:lnTo>
                    <a:lnTo>
                      <a:pt x="1276" y="1604"/>
                    </a:lnTo>
                    <a:lnTo>
                      <a:pt x="1278" y="1606"/>
                    </a:lnTo>
                    <a:lnTo>
                      <a:pt x="1280" y="1606"/>
                    </a:lnTo>
                    <a:lnTo>
                      <a:pt x="1278" y="1604"/>
                    </a:lnTo>
                    <a:lnTo>
                      <a:pt x="1276" y="1604"/>
                    </a:lnTo>
                    <a:lnTo>
                      <a:pt x="1275" y="1604"/>
                    </a:lnTo>
                    <a:lnTo>
                      <a:pt x="1276" y="1602"/>
                    </a:lnTo>
                    <a:lnTo>
                      <a:pt x="1275" y="1602"/>
                    </a:lnTo>
                    <a:lnTo>
                      <a:pt x="1273" y="1602"/>
                    </a:lnTo>
                    <a:lnTo>
                      <a:pt x="1275" y="1600"/>
                    </a:lnTo>
                    <a:lnTo>
                      <a:pt x="1273" y="1600"/>
                    </a:lnTo>
                    <a:lnTo>
                      <a:pt x="1271" y="1600"/>
                    </a:lnTo>
                    <a:lnTo>
                      <a:pt x="1270" y="1600"/>
                    </a:lnTo>
                    <a:lnTo>
                      <a:pt x="1268" y="1600"/>
                    </a:lnTo>
                    <a:lnTo>
                      <a:pt x="1268" y="1599"/>
                    </a:lnTo>
                    <a:lnTo>
                      <a:pt x="1270" y="1599"/>
                    </a:lnTo>
                    <a:lnTo>
                      <a:pt x="1271" y="1600"/>
                    </a:lnTo>
                    <a:lnTo>
                      <a:pt x="1270" y="1599"/>
                    </a:lnTo>
                    <a:lnTo>
                      <a:pt x="1271" y="1599"/>
                    </a:lnTo>
                    <a:lnTo>
                      <a:pt x="1270" y="1599"/>
                    </a:lnTo>
                    <a:lnTo>
                      <a:pt x="1270" y="1597"/>
                    </a:lnTo>
                    <a:lnTo>
                      <a:pt x="1271" y="1599"/>
                    </a:lnTo>
                    <a:lnTo>
                      <a:pt x="1270" y="1597"/>
                    </a:lnTo>
                    <a:lnTo>
                      <a:pt x="1271" y="1597"/>
                    </a:lnTo>
                    <a:lnTo>
                      <a:pt x="1273" y="1597"/>
                    </a:lnTo>
                    <a:lnTo>
                      <a:pt x="1273" y="1599"/>
                    </a:lnTo>
                    <a:lnTo>
                      <a:pt x="1275" y="1599"/>
                    </a:lnTo>
                    <a:lnTo>
                      <a:pt x="1275" y="1600"/>
                    </a:lnTo>
                    <a:lnTo>
                      <a:pt x="1276" y="1600"/>
                    </a:lnTo>
                    <a:lnTo>
                      <a:pt x="1276" y="1602"/>
                    </a:lnTo>
                    <a:lnTo>
                      <a:pt x="1278" y="1602"/>
                    </a:lnTo>
                    <a:lnTo>
                      <a:pt x="1278" y="1604"/>
                    </a:lnTo>
                    <a:lnTo>
                      <a:pt x="1280" y="1604"/>
                    </a:lnTo>
                    <a:lnTo>
                      <a:pt x="1280" y="1602"/>
                    </a:lnTo>
                    <a:lnTo>
                      <a:pt x="1278" y="1602"/>
                    </a:lnTo>
                    <a:lnTo>
                      <a:pt x="1280" y="1602"/>
                    </a:lnTo>
                    <a:lnTo>
                      <a:pt x="1281" y="1602"/>
                    </a:lnTo>
                    <a:lnTo>
                      <a:pt x="1280" y="1602"/>
                    </a:lnTo>
                    <a:lnTo>
                      <a:pt x="1278" y="1600"/>
                    </a:lnTo>
                    <a:lnTo>
                      <a:pt x="1276" y="1600"/>
                    </a:lnTo>
                    <a:lnTo>
                      <a:pt x="1278" y="1600"/>
                    </a:lnTo>
                    <a:lnTo>
                      <a:pt x="1278" y="1599"/>
                    </a:lnTo>
                    <a:lnTo>
                      <a:pt x="1276" y="1597"/>
                    </a:lnTo>
                    <a:lnTo>
                      <a:pt x="1278" y="1597"/>
                    </a:lnTo>
                    <a:lnTo>
                      <a:pt x="1278" y="1599"/>
                    </a:lnTo>
                    <a:lnTo>
                      <a:pt x="1280" y="1599"/>
                    </a:lnTo>
                    <a:lnTo>
                      <a:pt x="1280" y="1597"/>
                    </a:lnTo>
                    <a:lnTo>
                      <a:pt x="1280" y="1599"/>
                    </a:lnTo>
                    <a:lnTo>
                      <a:pt x="1278" y="1597"/>
                    </a:lnTo>
                    <a:lnTo>
                      <a:pt x="1280" y="1597"/>
                    </a:lnTo>
                    <a:lnTo>
                      <a:pt x="1280" y="1599"/>
                    </a:lnTo>
                    <a:lnTo>
                      <a:pt x="1281" y="1599"/>
                    </a:lnTo>
                    <a:lnTo>
                      <a:pt x="1283" y="1599"/>
                    </a:lnTo>
                    <a:lnTo>
                      <a:pt x="1281" y="1599"/>
                    </a:lnTo>
                    <a:lnTo>
                      <a:pt x="1283" y="1599"/>
                    </a:lnTo>
                    <a:lnTo>
                      <a:pt x="1285" y="1599"/>
                    </a:lnTo>
                    <a:lnTo>
                      <a:pt x="1285" y="1600"/>
                    </a:lnTo>
                    <a:lnTo>
                      <a:pt x="1285" y="1599"/>
                    </a:lnTo>
                    <a:lnTo>
                      <a:pt x="1287" y="1599"/>
                    </a:lnTo>
                    <a:lnTo>
                      <a:pt x="1285" y="1599"/>
                    </a:lnTo>
                    <a:lnTo>
                      <a:pt x="1283" y="1599"/>
                    </a:lnTo>
                    <a:lnTo>
                      <a:pt x="1283" y="1597"/>
                    </a:lnTo>
                    <a:lnTo>
                      <a:pt x="1285" y="1597"/>
                    </a:lnTo>
                    <a:lnTo>
                      <a:pt x="1283" y="1595"/>
                    </a:lnTo>
                    <a:lnTo>
                      <a:pt x="1285" y="1597"/>
                    </a:lnTo>
                    <a:lnTo>
                      <a:pt x="1285" y="1595"/>
                    </a:lnTo>
                    <a:lnTo>
                      <a:pt x="1287" y="1595"/>
                    </a:lnTo>
                    <a:lnTo>
                      <a:pt x="1287" y="1597"/>
                    </a:lnTo>
                    <a:lnTo>
                      <a:pt x="1288" y="1597"/>
                    </a:lnTo>
                    <a:lnTo>
                      <a:pt x="1290" y="1599"/>
                    </a:lnTo>
                    <a:lnTo>
                      <a:pt x="1292" y="1599"/>
                    </a:lnTo>
                    <a:lnTo>
                      <a:pt x="1290" y="1599"/>
                    </a:lnTo>
                    <a:lnTo>
                      <a:pt x="1290" y="1600"/>
                    </a:lnTo>
                    <a:lnTo>
                      <a:pt x="1292" y="1600"/>
                    </a:lnTo>
                    <a:lnTo>
                      <a:pt x="1292" y="1599"/>
                    </a:lnTo>
                    <a:lnTo>
                      <a:pt x="1293" y="1599"/>
                    </a:lnTo>
                    <a:lnTo>
                      <a:pt x="1292" y="1600"/>
                    </a:lnTo>
                    <a:lnTo>
                      <a:pt x="1293" y="1600"/>
                    </a:lnTo>
                    <a:lnTo>
                      <a:pt x="1293" y="1602"/>
                    </a:lnTo>
                    <a:lnTo>
                      <a:pt x="1293" y="1600"/>
                    </a:lnTo>
                    <a:lnTo>
                      <a:pt x="1293" y="1599"/>
                    </a:lnTo>
                    <a:lnTo>
                      <a:pt x="1295" y="1600"/>
                    </a:lnTo>
                    <a:lnTo>
                      <a:pt x="1297" y="1600"/>
                    </a:lnTo>
                    <a:lnTo>
                      <a:pt x="1298" y="1600"/>
                    </a:lnTo>
                    <a:lnTo>
                      <a:pt x="1298" y="1602"/>
                    </a:lnTo>
                    <a:lnTo>
                      <a:pt x="1298" y="1604"/>
                    </a:lnTo>
                    <a:lnTo>
                      <a:pt x="1300" y="1604"/>
                    </a:lnTo>
                    <a:lnTo>
                      <a:pt x="1300" y="1602"/>
                    </a:lnTo>
                    <a:lnTo>
                      <a:pt x="1300" y="1600"/>
                    </a:lnTo>
                    <a:lnTo>
                      <a:pt x="1298" y="1600"/>
                    </a:lnTo>
                    <a:lnTo>
                      <a:pt x="1300" y="1599"/>
                    </a:lnTo>
                    <a:lnTo>
                      <a:pt x="1300" y="1597"/>
                    </a:lnTo>
                    <a:lnTo>
                      <a:pt x="1300" y="1595"/>
                    </a:lnTo>
                    <a:lnTo>
                      <a:pt x="1300" y="1594"/>
                    </a:lnTo>
                    <a:lnTo>
                      <a:pt x="1302" y="1595"/>
                    </a:lnTo>
                    <a:lnTo>
                      <a:pt x="1302" y="1594"/>
                    </a:lnTo>
                    <a:lnTo>
                      <a:pt x="1304" y="1594"/>
                    </a:lnTo>
                    <a:lnTo>
                      <a:pt x="1305" y="1594"/>
                    </a:lnTo>
                    <a:lnTo>
                      <a:pt x="1307" y="1594"/>
                    </a:lnTo>
                    <a:lnTo>
                      <a:pt x="1307" y="1595"/>
                    </a:lnTo>
                    <a:lnTo>
                      <a:pt x="1307" y="1594"/>
                    </a:lnTo>
                    <a:lnTo>
                      <a:pt x="1309" y="1595"/>
                    </a:lnTo>
                    <a:lnTo>
                      <a:pt x="1309" y="1594"/>
                    </a:lnTo>
                    <a:lnTo>
                      <a:pt x="1310" y="1594"/>
                    </a:lnTo>
                    <a:lnTo>
                      <a:pt x="1312" y="1594"/>
                    </a:lnTo>
                    <a:lnTo>
                      <a:pt x="1312" y="1595"/>
                    </a:lnTo>
                    <a:lnTo>
                      <a:pt x="1310" y="1595"/>
                    </a:lnTo>
                    <a:lnTo>
                      <a:pt x="1310" y="1597"/>
                    </a:lnTo>
                    <a:lnTo>
                      <a:pt x="1309" y="1597"/>
                    </a:lnTo>
                    <a:lnTo>
                      <a:pt x="1309" y="1599"/>
                    </a:lnTo>
                    <a:lnTo>
                      <a:pt x="1307" y="1599"/>
                    </a:lnTo>
                    <a:lnTo>
                      <a:pt x="1307" y="1600"/>
                    </a:lnTo>
                    <a:lnTo>
                      <a:pt x="1309" y="1600"/>
                    </a:lnTo>
                    <a:lnTo>
                      <a:pt x="1307" y="1602"/>
                    </a:lnTo>
                    <a:lnTo>
                      <a:pt x="1307" y="1604"/>
                    </a:lnTo>
                    <a:lnTo>
                      <a:pt x="1305" y="1606"/>
                    </a:lnTo>
                    <a:lnTo>
                      <a:pt x="1305" y="1607"/>
                    </a:lnTo>
                    <a:lnTo>
                      <a:pt x="1305" y="1609"/>
                    </a:lnTo>
                    <a:lnTo>
                      <a:pt x="1305" y="1611"/>
                    </a:lnTo>
                    <a:lnTo>
                      <a:pt x="1305" y="1609"/>
                    </a:lnTo>
                    <a:lnTo>
                      <a:pt x="1307" y="1609"/>
                    </a:lnTo>
                    <a:lnTo>
                      <a:pt x="1307" y="1607"/>
                    </a:lnTo>
                    <a:lnTo>
                      <a:pt x="1307" y="1606"/>
                    </a:lnTo>
                    <a:lnTo>
                      <a:pt x="1309" y="1607"/>
                    </a:lnTo>
                    <a:lnTo>
                      <a:pt x="1309" y="1609"/>
                    </a:lnTo>
                    <a:lnTo>
                      <a:pt x="1310" y="1609"/>
                    </a:lnTo>
                    <a:lnTo>
                      <a:pt x="1309" y="1607"/>
                    </a:lnTo>
                    <a:lnTo>
                      <a:pt x="1307" y="1606"/>
                    </a:lnTo>
                    <a:lnTo>
                      <a:pt x="1309" y="1604"/>
                    </a:lnTo>
                    <a:lnTo>
                      <a:pt x="1309" y="1602"/>
                    </a:lnTo>
                    <a:lnTo>
                      <a:pt x="1309" y="1600"/>
                    </a:lnTo>
                    <a:lnTo>
                      <a:pt x="1310" y="1600"/>
                    </a:lnTo>
                    <a:lnTo>
                      <a:pt x="1310" y="1599"/>
                    </a:lnTo>
                    <a:lnTo>
                      <a:pt x="1312" y="1599"/>
                    </a:lnTo>
                    <a:lnTo>
                      <a:pt x="1312" y="1597"/>
                    </a:lnTo>
                    <a:lnTo>
                      <a:pt x="1314" y="1599"/>
                    </a:lnTo>
                    <a:lnTo>
                      <a:pt x="1315" y="1600"/>
                    </a:lnTo>
                    <a:lnTo>
                      <a:pt x="1317" y="1602"/>
                    </a:lnTo>
                    <a:lnTo>
                      <a:pt x="1315" y="1602"/>
                    </a:lnTo>
                    <a:lnTo>
                      <a:pt x="1317" y="1602"/>
                    </a:lnTo>
                    <a:lnTo>
                      <a:pt x="1319" y="1602"/>
                    </a:lnTo>
                    <a:lnTo>
                      <a:pt x="1319" y="1604"/>
                    </a:lnTo>
                    <a:lnTo>
                      <a:pt x="1321" y="1604"/>
                    </a:lnTo>
                    <a:lnTo>
                      <a:pt x="1319" y="1604"/>
                    </a:lnTo>
                    <a:lnTo>
                      <a:pt x="1321" y="1604"/>
                    </a:lnTo>
                    <a:lnTo>
                      <a:pt x="1321" y="1606"/>
                    </a:lnTo>
                    <a:lnTo>
                      <a:pt x="1322" y="1607"/>
                    </a:lnTo>
                    <a:lnTo>
                      <a:pt x="1324" y="1607"/>
                    </a:lnTo>
                    <a:lnTo>
                      <a:pt x="1324" y="1609"/>
                    </a:lnTo>
                    <a:lnTo>
                      <a:pt x="1324" y="1607"/>
                    </a:lnTo>
                    <a:lnTo>
                      <a:pt x="1326" y="1609"/>
                    </a:lnTo>
                    <a:lnTo>
                      <a:pt x="1324" y="1607"/>
                    </a:lnTo>
                    <a:lnTo>
                      <a:pt x="1322" y="1607"/>
                    </a:lnTo>
                    <a:lnTo>
                      <a:pt x="1322" y="1606"/>
                    </a:lnTo>
                    <a:lnTo>
                      <a:pt x="1321" y="1606"/>
                    </a:lnTo>
                    <a:lnTo>
                      <a:pt x="1321" y="1604"/>
                    </a:lnTo>
                    <a:lnTo>
                      <a:pt x="1322" y="1604"/>
                    </a:lnTo>
                    <a:lnTo>
                      <a:pt x="1324" y="1604"/>
                    </a:lnTo>
                    <a:lnTo>
                      <a:pt x="1326" y="1606"/>
                    </a:lnTo>
                    <a:lnTo>
                      <a:pt x="1327" y="1607"/>
                    </a:lnTo>
                    <a:lnTo>
                      <a:pt x="1327" y="1606"/>
                    </a:lnTo>
                    <a:lnTo>
                      <a:pt x="1326" y="1606"/>
                    </a:lnTo>
                    <a:lnTo>
                      <a:pt x="1324" y="1604"/>
                    </a:lnTo>
                    <a:lnTo>
                      <a:pt x="1326" y="1604"/>
                    </a:lnTo>
                    <a:lnTo>
                      <a:pt x="1324" y="1604"/>
                    </a:lnTo>
                    <a:lnTo>
                      <a:pt x="1322" y="1602"/>
                    </a:lnTo>
                    <a:lnTo>
                      <a:pt x="1321" y="1602"/>
                    </a:lnTo>
                    <a:lnTo>
                      <a:pt x="1319" y="1600"/>
                    </a:lnTo>
                    <a:lnTo>
                      <a:pt x="1317" y="1600"/>
                    </a:lnTo>
                    <a:lnTo>
                      <a:pt x="1317" y="1599"/>
                    </a:lnTo>
                    <a:lnTo>
                      <a:pt x="1315" y="1599"/>
                    </a:lnTo>
                    <a:lnTo>
                      <a:pt x="1317" y="1597"/>
                    </a:lnTo>
                    <a:lnTo>
                      <a:pt x="1315" y="1597"/>
                    </a:lnTo>
                    <a:lnTo>
                      <a:pt x="1314" y="1597"/>
                    </a:lnTo>
                    <a:lnTo>
                      <a:pt x="1314" y="1595"/>
                    </a:lnTo>
                    <a:lnTo>
                      <a:pt x="1315" y="1594"/>
                    </a:lnTo>
                    <a:lnTo>
                      <a:pt x="1314" y="1594"/>
                    </a:lnTo>
                    <a:lnTo>
                      <a:pt x="1314" y="1592"/>
                    </a:lnTo>
                    <a:lnTo>
                      <a:pt x="1312" y="1590"/>
                    </a:lnTo>
                    <a:lnTo>
                      <a:pt x="1310" y="1590"/>
                    </a:lnTo>
                    <a:lnTo>
                      <a:pt x="1309" y="1590"/>
                    </a:lnTo>
                    <a:lnTo>
                      <a:pt x="1307" y="1590"/>
                    </a:lnTo>
                    <a:lnTo>
                      <a:pt x="1305" y="1590"/>
                    </a:lnTo>
                    <a:lnTo>
                      <a:pt x="1304" y="1590"/>
                    </a:lnTo>
                    <a:lnTo>
                      <a:pt x="1304" y="1589"/>
                    </a:lnTo>
                    <a:lnTo>
                      <a:pt x="1302" y="1589"/>
                    </a:lnTo>
                    <a:lnTo>
                      <a:pt x="1302" y="1587"/>
                    </a:lnTo>
                    <a:lnTo>
                      <a:pt x="1300" y="1585"/>
                    </a:lnTo>
                    <a:lnTo>
                      <a:pt x="1302" y="1585"/>
                    </a:lnTo>
                    <a:lnTo>
                      <a:pt x="1300" y="1583"/>
                    </a:lnTo>
                    <a:lnTo>
                      <a:pt x="1302" y="1583"/>
                    </a:lnTo>
                    <a:lnTo>
                      <a:pt x="1302" y="1585"/>
                    </a:lnTo>
                    <a:lnTo>
                      <a:pt x="1304" y="1585"/>
                    </a:lnTo>
                    <a:lnTo>
                      <a:pt x="1302" y="1585"/>
                    </a:lnTo>
                    <a:lnTo>
                      <a:pt x="1302" y="1583"/>
                    </a:lnTo>
                    <a:lnTo>
                      <a:pt x="1300" y="1582"/>
                    </a:lnTo>
                    <a:lnTo>
                      <a:pt x="1300" y="1580"/>
                    </a:lnTo>
                    <a:lnTo>
                      <a:pt x="1300" y="1582"/>
                    </a:lnTo>
                    <a:lnTo>
                      <a:pt x="1302" y="1582"/>
                    </a:lnTo>
                    <a:lnTo>
                      <a:pt x="1304" y="1582"/>
                    </a:lnTo>
                    <a:lnTo>
                      <a:pt x="1304" y="1583"/>
                    </a:lnTo>
                    <a:lnTo>
                      <a:pt x="1305" y="1583"/>
                    </a:lnTo>
                    <a:lnTo>
                      <a:pt x="1305" y="1585"/>
                    </a:lnTo>
                    <a:lnTo>
                      <a:pt x="1307" y="1585"/>
                    </a:lnTo>
                    <a:lnTo>
                      <a:pt x="1309" y="1585"/>
                    </a:lnTo>
                    <a:lnTo>
                      <a:pt x="1309" y="1587"/>
                    </a:lnTo>
                    <a:lnTo>
                      <a:pt x="1310" y="1589"/>
                    </a:lnTo>
                    <a:lnTo>
                      <a:pt x="1312" y="1589"/>
                    </a:lnTo>
                    <a:lnTo>
                      <a:pt x="1314" y="1589"/>
                    </a:lnTo>
                    <a:lnTo>
                      <a:pt x="1314" y="1590"/>
                    </a:lnTo>
                    <a:lnTo>
                      <a:pt x="1315" y="1590"/>
                    </a:lnTo>
                    <a:lnTo>
                      <a:pt x="1317" y="1590"/>
                    </a:lnTo>
                    <a:lnTo>
                      <a:pt x="1317" y="1592"/>
                    </a:lnTo>
                    <a:lnTo>
                      <a:pt x="1319" y="1592"/>
                    </a:lnTo>
                    <a:lnTo>
                      <a:pt x="1321" y="1592"/>
                    </a:lnTo>
                    <a:lnTo>
                      <a:pt x="1321" y="1594"/>
                    </a:lnTo>
                    <a:lnTo>
                      <a:pt x="1322" y="1594"/>
                    </a:lnTo>
                    <a:lnTo>
                      <a:pt x="1322" y="1595"/>
                    </a:lnTo>
                    <a:lnTo>
                      <a:pt x="1321" y="1595"/>
                    </a:lnTo>
                    <a:lnTo>
                      <a:pt x="1322" y="1595"/>
                    </a:lnTo>
                    <a:lnTo>
                      <a:pt x="1324" y="1595"/>
                    </a:lnTo>
                    <a:lnTo>
                      <a:pt x="1324" y="1597"/>
                    </a:lnTo>
                    <a:lnTo>
                      <a:pt x="1326" y="1599"/>
                    </a:lnTo>
                    <a:lnTo>
                      <a:pt x="1327" y="1599"/>
                    </a:lnTo>
                    <a:lnTo>
                      <a:pt x="1327" y="1597"/>
                    </a:lnTo>
                    <a:lnTo>
                      <a:pt x="1326" y="1597"/>
                    </a:lnTo>
                    <a:lnTo>
                      <a:pt x="1327" y="1597"/>
                    </a:lnTo>
                    <a:lnTo>
                      <a:pt x="1326" y="1597"/>
                    </a:lnTo>
                    <a:lnTo>
                      <a:pt x="1327" y="1595"/>
                    </a:lnTo>
                    <a:lnTo>
                      <a:pt x="1329" y="1595"/>
                    </a:lnTo>
                    <a:lnTo>
                      <a:pt x="1329" y="1597"/>
                    </a:lnTo>
                    <a:lnTo>
                      <a:pt x="1331" y="1597"/>
                    </a:lnTo>
                    <a:lnTo>
                      <a:pt x="1329" y="1595"/>
                    </a:lnTo>
                    <a:lnTo>
                      <a:pt x="1327" y="1595"/>
                    </a:lnTo>
                    <a:lnTo>
                      <a:pt x="1326" y="1595"/>
                    </a:lnTo>
                    <a:lnTo>
                      <a:pt x="1326" y="1594"/>
                    </a:lnTo>
                    <a:lnTo>
                      <a:pt x="1324" y="1594"/>
                    </a:lnTo>
                    <a:lnTo>
                      <a:pt x="1324" y="1592"/>
                    </a:lnTo>
                    <a:lnTo>
                      <a:pt x="1326" y="1592"/>
                    </a:lnTo>
                    <a:lnTo>
                      <a:pt x="1327" y="1592"/>
                    </a:lnTo>
                    <a:lnTo>
                      <a:pt x="1327" y="1590"/>
                    </a:lnTo>
                    <a:lnTo>
                      <a:pt x="1327" y="1589"/>
                    </a:lnTo>
                    <a:lnTo>
                      <a:pt x="1329" y="1589"/>
                    </a:lnTo>
                    <a:lnTo>
                      <a:pt x="1331" y="1589"/>
                    </a:lnTo>
                    <a:lnTo>
                      <a:pt x="1332" y="1590"/>
                    </a:lnTo>
                    <a:lnTo>
                      <a:pt x="1332" y="1592"/>
                    </a:lnTo>
                    <a:lnTo>
                      <a:pt x="1334" y="1592"/>
                    </a:lnTo>
                    <a:lnTo>
                      <a:pt x="1332" y="1592"/>
                    </a:lnTo>
                    <a:lnTo>
                      <a:pt x="1332" y="1594"/>
                    </a:lnTo>
                    <a:lnTo>
                      <a:pt x="1334" y="1595"/>
                    </a:lnTo>
                    <a:lnTo>
                      <a:pt x="1332" y="1595"/>
                    </a:lnTo>
                    <a:lnTo>
                      <a:pt x="1332" y="1597"/>
                    </a:lnTo>
                    <a:lnTo>
                      <a:pt x="1334" y="1595"/>
                    </a:lnTo>
                    <a:lnTo>
                      <a:pt x="1334" y="1597"/>
                    </a:lnTo>
                    <a:lnTo>
                      <a:pt x="1336" y="1597"/>
                    </a:lnTo>
                    <a:lnTo>
                      <a:pt x="1336" y="1599"/>
                    </a:lnTo>
                    <a:lnTo>
                      <a:pt x="1334" y="1599"/>
                    </a:lnTo>
                    <a:lnTo>
                      <a:pt x="1336" y="1599"/>
                    </a:lnTo>
                    <a:lnTo>
                      <a:pt x="1338" y="1600"/>
                    </a:lnTo>
                    <a:lnTo>
                      <a:pt x="1336" y="1600"/>
                    </a:lnTo>
                    <a:lnTo>
                      <a:pt x="1336" y="1602"/>
                    </a:lnTo>
                    <a:lnTo>
                      <a:pt x="1334" y="1604"/>
                    </a:lnTo>
                    <a:lnTo>
                      <a:pt x="1336" y="1604"/>
                    </a:lnTo>
                    <a:lnTo>
                      <a:pt x="1336" y="1602"/>
                    </a:lnTo>
                    <a:lnTo>
                      <a:pt x="1338" y="1602"/>
                    </a:lnTo>
                    <a:lnTo>
                      <a:pt x="1338" y="1600"/>
                    </a:lnTo>
                    <a:lnTo>
                      <a:pt x="1338" y="1602"/>
                    </a:lnTo>
                    <a:lnTo>
                      <a:pt x="1339" y="1602"/>
                    </a:lnTo>
                    <a:lnTo>
                      <a:pt x="1339" y="1604"/>
                    </a:lnTo>
                    <a:lnTo>
                      <a:pt x="1339" y="1606"/>
                    </a:lnTo>
                    <a:lnTo>
                      <a:pt x="1338" y="1606"/>
                    </a:lnTo>
                    <a:lnTo>
                      <a:pt x="1338" y="1607"/>
                    </a:lnTo>
                    <a:lnTo>
                      <a:pt x="1338" y="1606"/>
                    </a:lnTo>
                    <a:lnTo>
                      <a:pt x="1339" y="1606"/>
                    </a:lnTo>
                    <a:lnTo>
                      <a:pt x="1339" y="1607"/>
                    </a:lnTo>
                    <a:lnTo>
                      <a:pt x="1341" y="1607"/>
                    </a:lnTo>
                    <a:lnTo>
                      <a:pt x="1339" y="1607"/>
                    </a:lnTo>
                    <a:lnTo>
                      <a:pt x="1339" y="1609"/>
                    </a:lnTo>
                    <a:lnTo>
                      <a:pt x="1341" y="1607"/>
                    </a:lnTo>
                    <a:lnTo>
                      <a:pt x="1339" y="1606"/>
                    </a:lnTo>
                    <a:lnTo>
                      <a:pt x="1341" y="1604"/>
                    </a:lnTo>
                    <a:lnTo>
                      <a:pt x="1341" y="1602"/>
                    </a:lnTo>
                    <a:lnTo>
                      <a:pt x="1339" y="1600"/>
                    </a:lnTo>
                    <a:lnTo>
                      <a:pt x="1339" y="1599"/>
                    </a:lnTo>
                    <a:lnTo>
                      <a:pt x="1338" y="1599"/>
                    </a:lnTo>
                    <a:lnTo>
                      <a:pt x="1338" y="1597"/>
                    </a:lnTo>
                    <a:lnTo>
                      <a:pt x="1338" y="1595"/>
                    </a:lnTo>
                    <a:lnTo>
                      <a:pt x="1338" y="1594"/>
                    </a:lnTo>
                    <a:lnTo>
                      <a:pt x="1336" y="1594"/>
                    </a:lnTo>
                    <a:lnTo>
                      <a:pt x="1336" y="1592"/>
                    </a:lnTo>
                    <a:lnTo>
                      <a:pt x="1336" y="1590"/>
                    </a:lnTo>
                    <a:lnTo>
                      <a:pt x="1338" y="1590"/>
                    </a:lnTo>
                    <a:lnTo>
                      <a:pt x="1339" y="1592"/>
                    </a:lnTo>
                    <a:lnTo>
                      <a:pt x="1341" y="1592"/>
                    </a:lnTo>
                    <a:lnTo>
                      <a:pt x="1341" y="1594"/>
                    </a:lnTo>
                    <a:lnTo>
                      <a:pt x="1343" y="1594"/>
                    </a:lnTo>
                    <a:lnTo>
                      <a:pt x="1344" y="1594"/>
                    </a:lnTo>
                    <a:lnTo>
                      <a:pt x="1344" y="1595"/>
                    </a:lnTo>
                    <a:lnTo>
                      <a:pt x="1343" y="1597"/>
                    </a:lnTo>
                    <a:lnTo>
                      <a:pt x="1344" y="1597"/>
                    </a:lnTo>
                    <a:lnTo>
                      <a:pt x="1344" y="1599"/>
                    </a:lnTo>
                    <a:lnTo>
                      <a:pt x="1343" y="1600"/>
                    </a:lnTo>
                    <a:lnTo>
                      <a:pt x="1344" y="1602"/>
                    </a:lnTo>
                    <a:lnTo>
                      <a:pt x="1346" y="1602"/>
                    </a:lnTo>
                    <a:lnTo>
                      <a:pt x="1344" y="1600"/>
                    </a:lnTo>
                    <a:lnTo>
                      <a:pt x="1344" y="1599"/>
                    </a:lnTo>
                    <a:lnTo>
                      <a:pt x="1346" y="1599"/>
                    </a:lnTo>
                    <a:lnTo>
                      <a:pt x="1344" y="1597"/>
                    </a:lnTo>
                    <a:lnTo>
                      <a:pt x="1346" y="1599"/>
                    </a:lnTo>
                    <a:lnTo>
                      <a:pt x="1348" y="1600"/>
                    </a:lnTo>
                    <a:lnTo>
                      <a:pt x="1348" y="1599"/>
                    </a:lnTo>
                    <a:lnTo>
                      <a:pt x="1346" y="1599"/>
                    </a:lnTo>
                    <a:lnTo>
                      <a:pt x="1348" y="1599"/>
                    </a:lnTo>
                    <a:lnTo>
                      <a:pt x="1346" y="1597"/>
                    </a:lnTo>
                    <a:lnTo>
                      <a:pt x="1346" y="1595"/>
                    </a:lnTo>
                    <a:lnTo>
                      <a:pt x="1346" y="1594"/>
                    </a:lnTo>
                    <a:lnTo>
                      <a:pt x="1348" y="1594"/>
                    </a:lnTo>
                    <a:lnTo>
                      <a:pt x="1349" y="1594"/>
                    </a:lnTo>
                    <a:lnTo>
                      <a:pt x="1349" y="1595"/>
                    </a:lnTo>
                    <a:lnTo>
                      <a:pt x="1351" y="1595"/>
                    </a:lnTo>
                    <a:lnTo>
                      <a:pt x="1351" y="1597"/>
                    </a:lnTo>
                    <a:lnTo>
                      <a:pt x="1353" y="1597"/>
                    </a:lnTo>
                    <a:lnTo>
                      <a:pt x="1355" y="1599"/>
                    </a:lnTo>
                    <a:lnTo>
                      <a:pt x="1356" y="1599"/>
                    </a:lnTo>
                    <a:lnTo>
                      <a:pt x="1356" y="1600"/>
                    </a:lnTo>
                    <a:lnTo>
                      <a:pt x="1358" y="1600"/>
                    </a:lnTo>
                    <a:lnTo>
                      <a:pt x="1358" y="1602"/>
                    </a:lnTo>
                    <a:lnTo>
                      <a:pt x="1356" y="1602"/>
                    </a:lnTo>
                    <a:lnTo>
                      <a:pt x="1356" y="1604"/>
                    </a:lnTo>
                    <a:lnTo>
                      <a:pt x="1355" y="1606"/>
                    </a:lnTo>
                    <a:lnTo>
                      <a:pt x="1355" y="1607"/>
                    </a:lnTo>
                    <a:lnTo>
                      <a:pt x="1353" y="1607"/>
                    </a:lnTo>
                    <a:lnTo>
                      <a:pt x="1353" y="1609"/>
                    </a:lnTo>
                    <a:lnTo>
                      <a:pt x="1351" y="1609"/>
                    </a:lnTo>
                    <a:lnTo>
                      <a:pt x="1353" y="1611"/>
                    </a:lnTo>
                    <a:lnTo>
                      <a:pt x="1351" y="1611"/>
                    </a:lnTo>
                    <a:lnTo>
                      <a:pt x="1351" y="1612"/>
                    </a:lnTo>
                    <a:lnTo>
                      <a:pt x="1349" y="1612"/>
                    </a:lnTo>
                    <a:lnTo>
                      <a:pt x="1348" y="1612"/>
                    </a:lnTo>
                    <a:lnTo>
                      <a:pt x="1349" y="1614"/>
                    </a:lnTo>
                    <a:lnTo>
                      <a:pt x="1351" y="1612"/>
                    </a:lnTo>
                    <a:lnTo>
                      <a:pt x="1353" y="1612"/>
                    </a:lnTo>
                    <a:lnTo>
                      <a:pt x="1353" y="1614"/>
                    </a:lnTo>
                    <a:lnTo>
                      <a:pt x="1353" y="1616"/>
                    </a:lnTo>
                    <a:lnTo>
                      <a:pt x="1353" y="1614"/>
                    </a:lnTo>
                    <a:lnTo>
                      <a:pt x="1353" y="1612"/>
                    </a:lnTo>
                    <a:lnTo>
                      <a:pt x="1353" y="1611"/>
                    </a:lnTo>
                    <a:lnTo>
                      <a:pt x="1355" y="1611"/>
                    </a:lnTo>
                    <a:lnTo>
                      <a:pt x="1355" y="1609"/>
                    </a:lnTo>
                    <a:lnTo>
                      <a:pt x="1355" y="1607"/>
                    </a:lnTo>
                    <a:lnTo>
                      <a:pt x="1356" y="1606"/>
                    </a:lnTo>
                    <a:lnTo>
                      <a:pt x="1358" y="1606"/>
                    </a:lnTo>
                    <a:lnTo>
                      <a:pt x="1358" y="1604"/>
                    </a:lnTo>
                    <a:lnTo>
                      <a:pt x="1358" y="1606"/>
                    </a:lnTo>
                    <a:lnTo>
                      <a:pt x="1360" y="1607"/>
                    </a:lnTo>
                    <a:lnTo>
                      <a:pt x="1361" y="1607"/>
                    </a:lnTo>
                    <a:lnTo>
                      <a:pt x="1360" y="1606"/>
                    </a:lnTo>
                    <a:lnTo>
                      <a:pt x="1360" y="1604"/>
                    </a:lnTo>
                    <a:lnTo>
                      <a:pt x="1360" y="1602"/>
                    </a:lnTo>
                    <a:lnTo>
                      <a:pt x="1361" y="1600"/>
                    </a:lnTo>
                    <a:lnTo>
                      <a:pt x="1363" y="1600"/>
                    </a:lnTo>
                    <a:lnTo>
                      <a:pt x="1365" y="1600"/>
                    </a:lnTo>
                    <a:lnTo>
                      <a:pt x="1365" y="1602"/>
                    </a:lnTo>
                    <a:lnTo>
                      <a:pt x="1366" y="1602"/>
                    </a:lnTo>
                    <a:lnTo>
                      <a:pt x="1365" y="1600"/>
                    </a:lnTo>
                    <a:lnTo>
                      <a:pt x="1366" y="1600"/>
                    </a:lnTo>
                    <a:lnTo>
                      <a:pt x="1365" y="1599"/>
                    </a:lnTo>
                    <a:lnTo>
                      <a:pt x="1363" y="1599"/>
                    </a:lnTo>
                    <a:lnTo>
                      <a:pt x="1363" y="1597"/>
                    </a:lnTo>
                    <a:lnTo>
                      <a:pt x="1361" y="1597"/>
                    </a:lnTo>
                    <a:lnTo>
                      <a:pt x="1360" y="1597"/>
                    </a:lnTo>
                    <a:lnTo>
                      <a:pt x="1360" y="1595"/>
                    </a:lnTo>
                    <a:lnTo>
                      <a:pt x="1358" y="1595"/>
                    </a:lnTo>
                    <a:lnTo>
                      <a:pt x="1358" y="1594"/>
                    </a:lnTo>
                    <a:lnTo>
                      <a:pt x="1356" y="1594"/>
                    </a:lnTo>
                    <a:lnTo>
                      <a:pt x="1355" y="1592"/>
                    </a:lnTo>
                    <a:lnTo>
                      <a:pt x="1353" y="1592"/>
                    </a:lnTo>
                    <a:lnTo>
                      <a:pt x="1351" y="1592"/>
                    </a:lnTo>
                    <a:lnTo>
                      <a:pt x="1351" y="1590"/>
                    </a:lnTo>
                    <a:lnTo>
                      <a:pt x="1349" y="1590"/>
                    </a:lnTo>
                    <a:lnTo>
                      <a:pt x="1348" y="1590"/>
                    </a:lnTo>
                    <a:lnTo>
                      <a:pt x="1348" y="1589"/>
                    </a:lnTo>
                    <a:lnTo>
                      <a:pt x="1346" y="1589"/>
                    </a:lnTo>
                    <a:lnTo>
                      <a:pt x="1344" y="1587"/>
                    </a:lnTo>
                    <a:lnTo>
                      <a:pt x="1343" y="1587"/>
                    </a:lnTo>
                    <a:lnTo>
                      <a:pt x="1341" y="1587"/>
                    </a:lnTo>
                    <a:lnTo>
                      <a:pt x="1341" y="1585"/>
                    </a:lnTo>
                    <a:lnTo>
                      <a:pt x="1339" y="1585"/>
                    </a:lnTo>
                    <a:lnTo>
                      <a:pt x="1338" y="1585"/>
                    </a:lnTo>
                    <a:lnTo>
                      <a:pt x="1336" y="1583"/>
                    </a:lnTo>
                    <a:lnTo>
                      <a:pt x="1334" y="1583"/>
                    </a:lnTo>
                    <a:lnTo>
                      <a:pt x="1334" y="1582"/>
                    </a:lnTo>
                    <a:lnTo>
                      <a:pt x="1332" y="1582"/>
                    </a:lnTo>
                    <a:lnTo>
                      <a:pt x="1331" y="1580"/>
                    </a:lnTo>
                    <a:lnTo>
                      <a:pt x="1329" y="1580"/>
                    </a:lnTo>
                    <a:lnTo>
                      <a:pt x="1331" y="1580"/>
                    </a:lnTo>
                    <a:lnTo>
                      <a:pt x="1331" y="1578"/>
                    </a:lnTo>
                    <a:lnTo>
                      <a:pt x="1329" y="1578"/>
                    </a:lnTo>
                    <a:lnTo>
                      <a:pt x="1329" y="1577"/>
                    </a:lnTo>
                    <a:lnTo>
                      <a:pt x="1329" y="1575"/>
                    </a:lnTo>
                    <a:lnTo>
                      <a:pt x="1329" y="1573"/>
                    </a:lnTo>
                    <a:lnTo>
                      <a:pt x="1327" y="1573"/>
                    </a:lnTo>
                    <a:lnTo>
                      <a:pt x="1327" y="1572"/>
                    </a:lnTo>
                    <a:lnTo>
                      <a:pt x="1327" y="1570"/>
                    </a:lnTo>
                    <a:lnTo>
                      <a:pt x="1327" y="1568"/>
                    </a:lnTo>
                    <a:lnTo>
                      <a:pt x="1326" y="1568"/>
                    </a:lnTo>
                    <a:lnTo>
                      <a:pt x="1326" y="1566"/>
                    </a:lnTo>
                    <a:lnTo>
                      <a:pt x="1326" y="1565"/>
                    </a:lnTo>
                    <a:lnTo>
                      <a:pt x="1326" y="1563"/>
                    </a:lnTo>
                    <a:lnTo>
                      <a:pt x="1326" y="1561"/>
                    </a:lnTo>
                    <a:lnTo>
                      <a:pt x="1326" y="1560"/>
                    </a:lnTo>
                    <a:lnTo>
                      <a:pt x="1327" y="1560"/>
                    </a:lnTo>
                    <a:lnTo>
                      <a:pt x="1329" y="1558"/>
                    </a:lnTo>
                    <a:lnTo>
                      <a:pt x="1331" y="1558"/>
                    </a:lnTo>
                    <a:lnTo>
                      <a:pt x="1332" y="1558"/>
                    </a:lnTo>
                    <a:lnTo>
                      <a:pt x="1334" y="1556"/>
                    </a:lnTo>
                    <a:lnTo>
                      <a:pt x="1334" y="1555"/>
                    </a:lnTo>
                    <a:lnTo>
                      <a:pt x="1336" y="1555"/>
                    </a:lnTo>
                    <a:lnTo>
                      <a:pt x="1338" y="1555"/>
                    </a:lnTo>
                    <a:lnTo>
                      <a:pt x="1339" y="1555"/>
                    </a:lnTo>
                    <a:lnTo>
                      <a:pt x="1341" y="1555"/>
                    </a:lnTo>
                    <a:lnTo>
                      <a:pt x="1343" y="1555"/>
                    </a:lnTo>
                    <a:lnTo>
                      <a:pt x="1343" y="1553"/>
                    </a:lnTo>
                    <a:lnTo>
                      <a:pt x="1344" y="1553"/>
                    </a:lnTo>
                    <a:lnTo>
                      <a:pt x="1344" y="1551"/>
                    </a:lnTo>
                    <a:lnTo>
                      <a:pt x="1346" y="1551"/>
                    </a:lnTo>
                    <a:lnTo>
                      <a:pt x="1348" y="1549"/>
                    </a:lnTo>
                    <a:lnTo>
                      <a:pt x="1349" y="1549"/>
                    </a:lnTo>
                    <a:lnTo>
                      <a:pt x="1349" y="1548"/>
                    </a:lnTo>
                    <a:lnTo>
                      <a:pt x="1351" y="1548"/>
                    </a:lnTo>
                    <a:lnTo>
                      <a:pt x="1353" y="1548"/>
                    </a:lnTo>
                    <a:lnTo>
                      <a:pt x="1353" y="1546"/>
                    </a:lnTo>
                    <a:lnTo>
                      <a:pt x="1355" y="1546"/>
                    </a:lnTo>
                    <a:lnTo>
                      <a:pt x="1355" y="1544"/>
                    </a:lnTo>
                    <a:lnTo>
                      <a:pt x="1355" y="1543"/>
                    </a:lnTo>
                    <a:lnTo>
                      <a:pt x="1355" y="1541"/>
                    </a:lnTo>
                    <a:lnTo>
                      <a:pt x="1355" y="1539"/>
                    </a:lnTo>
                    <a:lnTo>
                      <a:pt x="1353" y="1539"/>
                    </a:lnTo>
                    <a:lnTo>
                      <a:pt x="1353" y="1538"/>
                    </a:lnTo>
                    <a:lnTo>
                      <a:pt x="1351" y="1538"/>
                    </a:lnTo>
                    <a:lnTo>
                      <a:pt x="1349" y="1538"/>
                    </a:lnTo>
                    <a:lnTo>
                      <a:pt x="1348" y="1538"/>
                    </a:lnTo>
                    <a:lnTo>
                      <a:pt x="1346" y="1538"/>
                    </a:lnTo>
                    <a:lnTo>
                      <a:pt x="1344" y="1538"/>
                    </a:lnTo>
                    <a:lnTo>
                      <a:pt x="1343" y="1538"/>
                    </a:lnTo>
                    <a:lnTo>
                      <a:pt x="1341" y="1538"/>
                    </a:lnTo>
                    <a:lnTo>
                      <a:pt x="1339" y="1538"/>
                    </a:lnTo>
                    <a:lnTo>
                      <a:pt x="1338" y="1539"/>
                    </a:lnTo>
                    <a:lnTo>
                      <a:pt x="1336" y="1539"/>
                    </a:lnTo>
                    <a:lnTo>
                      <a:pt x="1334" y="1539"/>
                    </a:lnTo>
                    <a:lnTo>
                      <a:pt x="1332" y="1539"/>
                    </a:lnTo>
                    <a:lnTo>
                      <a:pt x="1331" y="1541"/>
                    </a:lnTo>
                    <a:lnTo>
                      <a:pt x="1329" y="1541"/>
                    </a:lnTo>
                    <a:lnTo>
                      <a:pt x="1329" y="1543"/>
                    </a:lnTo>
                    <a:lnTo>
                      <a:pt x="1327" y="1543"/>
                    </a:lnTo>
                    <a:lnTo>
                      <a:pt x="1326" y="1543"/>
                    </a:lnTo>
                    <a:lnTo>
                      <a:pt x="1326" y="1544"/>
                    </a:lnTo>
                    <a:lnTo>
                      <a:pt x="1324" y="1544"/>
                    </a:lnTo>
                    <a:lnTo>
                      <a:pt x="1322" y="1544"/>
                    </a:lnTo>
                    <a:lnTo>
                      <a:pt x="1322" y="1543"/>
                    </a:lnTo>
                    <a:lnTo>
                      <a:pt x="1321" y="1543"/>
                    </a:lnTo>
                    <a:lnTo>
                      <a:pt x="1321" y="1541"/>
                    </a:lnTo>
                    <a:lnTo>
                      <a:pt x="1321" y="1539"/>
                    </a:lnTo>
                    <a:lnTo>
                      <a:pt x="1319" y="1539"/>
                    </a:lnTo>
                    <a:lnTo>
                      <a:pt x="1317" y="1539"/>
                    </a:lnTo>
                    <a:lnTo>
                      <a:pt x="1315" y="1539"/>
                    </a:lnTo>
                    <a:lnTo>
                      <a:pt x="1315" y="1538"/>
                    </a:lnTo>
                    <a:lnTo>
                      <a:pt x="1315" y="1536"/>
                    </a:lnTo>
                    <a:lnTo>
                      <a:pt x="1317" y="1534"/>
                    </a:lnTo>
                    <a:lnTo>
                      <a:pt x="1319" y="1534"/>
                    </a:lnTo>
                    <a:lnTo>
                      <a:pt x="1317" y="1534"/>
                    </a:lnTo>
                    <a:lnTo>
                      <a:pt x="1315" y="1536"/>
                    </a:lnTo>
                    <a:lnTo>
                      <a:pt x="1315" y="1534"/>
                    </a:lnTo>
                    <a:lnTo>
                      <a:pt x="1315" y="1532"/>
                    </a:lnTo>
                    <a:lnTo>
                      <a:pt x="1315" y="1531"/>
                    </a:lnTo>
                    <a:lnTo>
                      <a:pt x="1315" y="1529"/>
                    </a:lnTo>
                    <a:lnTo>
                      <a:pt x="1317" y="1527"/>
                    </a:lnTo>
                    <a:lnTo>
                      <a:pt x="1317" y="1526"/>
                    </a:lnTo>
                    <a:lnTo>
                      <a:pt x="1317" y="1524"/>
                    </a:lnTo>
                    <a:lnTo>
                      <a:pt x="1315" y="1524"/>
                    </a:lnTo>
                    <a:lnTo>
                      <a:pt x="1317" y="1522"/>
                    </a:lnTo>
                    <a:lnTo>
                      <a:pt x="1317" y="1521"/>
                    </a:lnTo>
                    <a:lnTo>
                      <a:pt x="1317" y="1519"/>
                    </a:lnTo>
                    <a:lnTo>
                      <a:pt x="1317" y="1517"/>
                    </a:lnTo>
                    <a:lnTo>
                      <a:pt x="1319" y="1517"/>
                    </a:lnTo>
                    <a:lnTo>
                      <a:pt x="1319" y="1515"/>
                    </a:lnTo>
                    <a:lnTo>
                      <a:pt x="1321" y="1515"/>
                    </a:lnTo>
                    <a:lnTo>
                      <a:pt x="1321" y="1517"/>
                    </a:lnTo>
                    <a:lnTo>
                      <a:pt x="1319" y="1517"/>
                    </a:lnTo>
                    <a:lnTo>
                      <a:pt x="1321" y="1519"/>
                    </a:lnTo>
                    <a:lnTo>
                      <a:pt x="1321" y="1521"/>
                    </a:lnTo>
                    <a:lnTo>
                      <a:pt x="1319" y="1521"/>
                    </a:lnTo>
                    <a:lnTo>
                      <a:pt x="1321" y="1521"/>
                    </a:lnTo>
                    <a:lnTo>
                      <a:pt x="1322" y="1521"/>
                    </a:lnTo>
                    <a:lnTo>
                      <a:pt x="1324" y="1521"/>
                    </a:lnTo>
                    <a:lnTo>
                      <a:pt x="1324" y="1519"/>
                    </a:lnTo>
                    <a:lnTo>
                      <a:pt x="1326" y="1519"/>
                    </a:lnTo>
                    <a:lnTo>
                      <a:pt x="1327" y="1519"/>
                    </a:lnTo>
                    <a:lnTo>
                      <a:pt x="1327" y="1517"/>
                    </a:lnTo>
                    <a:lnTo>
                      <a:pt x="1327" y="1515"/>
                    </a:lnTo>
                    <a:lnTo>
                      <a:pt x="1329" y="1514"/>
                    </a:lnTo>
                    <a:lnTo>
                      <a:pt x="1327" y="1512"/>
                    </a:lnTo>
                    <a:lnTo>
                      <a:pt x="1327" y="1510"/>
                    </a:lnTo>
                    <a:lnTo>
                      <a:pt x="1326" y="1512"/>
                    </a:lnTo>
                    <a:lnTo>
                      <a:pt x="1326" y="1510"/>
                    </a:lnTo>
                    <a:lnTo>
                      <a:pt x="1324" y="1510"/>
                    </a:lnTo>
                    <a:lnTo>
                      <a:pt x="1322" y="1510"/>
                    </a:lnTo>
                    <a:lnTo>
                      <a:pt x="1322" y="1512"/>
                    </a:lnTo>
                    <a:lnTo>
                      <a:pt x="1321" y="1512"/>
                    </a:lnTo>
                    <a:lnTo>
                      <a:pt x="1322" y="1510"/>
                    </a:lnTo>
                    <a:lnTo>
                      <a:pt x="1322" y="1509"/>
                    </a:lnTo>
                    <a:lnTo>
                      <a:pt x="1322" y="1507"/>
                    </a:lnTo>
                    <a:lnTo>
                      <a:pt x="1321" y="1505"/>
                    </a:lnTo>
                    <a:lnTo>
                      <a:pt x="1319" y="1505"/>
                    </a:lnTo>
                    <a:lnTo>
                      <a:pt x="1317" y="1505"/>
                    </a:lnTo>
                    <a:lnTo>
                      <a:pt x="1317" y="1504"/>
                    </a:lnTo>
                    <a:lnTo>
                      <a:pt x="1319" y="1504"/>
                    </a:lnTo>
                    <a:lnTo>
                      <a:pt x="1321" y="1504"/>
                    </a:lnTo>
                    <a:lnTo>
                      <a:pt x="1322" y="1504"/>
                    </a:lnTo>
                    <a:lnTo>
                      <a:pt x="1324" y="1504"/>
                    </a:lnTo>
                    <a:lnTo>
                      <a:pt x="1326" y="1502"/>
                    </a:lnTo>
                    <a:lnTo>
                      <a:pt x="1327" y="1502"/>
                    </a:lnTo>
                    <a:lnTo>
                      <a:pt x="1327" y="1504"/>
                    </a:lnTo>
                    <a:lnTo>
                      <a:pt x="1329" y="1505"/>
                    </a:lnTo>
                    <a:lnTo>
                      <a:pt x="1329" y="1507"/>
                    </a:lnTo>
                    <a:lnTo>
                      <a:pt x="1331" y="1509"/>
                    </a:lnTo>
                    <a:lnTo>
                      <a:pt x="1332" y="1509"/>
                    </a:lnTo>
                    <a:lnTo>
                      <a:pt x="1334" y="1509"/>
                    </a:lnTo>
                    <a:lnTo>
                      <a:pt x="1336" y="1507"/>
                    </a:lnTo>
                    <a:lnTo>
                      <a:pt x="1336" y="1505"/>
                    </a:lnTo>
                    <a:lnTo>
                      <a:pt x="1338" y="1505"/>
                    </a:lnTo>
                    <a:lnTo>
                      <a:pt x="1339" y="1505"/>
                    </a:lnTo>
                    <a:lnTo>
                      <a:pt x="1341" y="1504"/>
                    </a:lnTo>
                    <a:lnTo>
                      <a:pt x="1343" y="1502"/>
                    </a:lnTo>
                    <a:lnTo>
                      <a:pt x="1343" y="1500"/>
                    </a:lnTo>
                    <a:lnTo>
                      <a:pt x="1344" y="1498"/>
                    </a:lnTo>
                    <a:lnTo>
                      <a:pt x="1344" y="1497"/>
                    </a:lnTo>
                    <a:lnTo>
                      <a:pt x="1344" y="1495"/>
                    </a:lnTo>
                    <a:lnTo>
                      <a:pt x="1344" y="1493"/>
                    </a:lnTo>
                    <a:lnTo>
                      <a:pt x="1344" y="1492"/>
                    </a:lnTo>
                    <a:lnTo>
                      <a:pt x="1346" y="1492"/>
                    </a:lnTo>
                    <a:lnTo>
                      <a:pt x="1346" y="1490"/>
                    </a:lnTo>
                    <a:lnTo>
                      <a:pt x="1348" y="1490"/>
                    </a:lnTo>
                    <a:lnTo>
                      <a:pt x="1349" y="1488"/>
                    </a:lnTo>
                    <a:lnTo>
                      <a:pt x="1348" y="1488"/>
                    </a:lnTo>
                    <a:lnTo>
                      <a:pt x="1349" y="1488"/>
                    </a:lnTo>
                    <a:lnTo>
                      <a:pt x="1348" y="1488"/>
                    </a:lnTo>
                    <a:lnTo>
                      <a:pt x="1349" y="1488"/>
                    </a:lnTo>
                    <a:lnTo>
                      <a:pt x="1351" y="1487"/>
                    </a:lnTo>
                    <a:lnTo>
                      <a:pt x="1353" y="1488"/>
                    </a:lnTo>
                    <a:lnTo>
                      <a:pt x="1353" y="1490"/>
                    </a:lnTo>
                    <a:lnTo>
                      <a:pt x="1355" y="1492"/>
                    </a:lnTo>
                    <a:lnTo>
                      <a:pt x="1355" y="1493"/>
                    </a:lnTo>
                    <a:lnTo>
                      <a:pt x="1355" y="1495"/>
                    </a:lnTo>
                    <a:lnTo>
                      <a:pt x="1356" y="1497"/>
                    </a:lnTo>
                    <a:lnTo>
                      <a:pt x="1356" y="1498"/>
                    </a:lnTo>
                    <a:lnTo>
                      <a:pt x="1358" y="1498"/>
                    </a:lnTo>
                    <a:lnTo>
                      <a:pt x="1360" y="1500"/>
                    </a:lnTo>
                    <a:lnTo>
                      <a:pt x="1361" y="1500"/>
                    </a:lnTo>
                    <a:lnTo>
                      <a:pt x="1363" y="1500"/>
                    </a:lnTo>
                    <a:lnTo>
                      <a:pt x="1363" y="1498"/>
                    </a:lnTo>
                    <a:lnTo>
                      <a:pt x="1365" y="1498"/>
                    </a:lnTo>
                    <a:lnTo>
                      <a:pt x="1366" y="1498"/>
                    </a:lnTo>
                    <a:lnTo>
                      <a:pt x="1368" y="1497"/>
                    </a:lnTo>
                    <a:lnTo>
                      <a:pt x="1370" y="1497"/>
                    </a:lnTo>
                    <a:lnTo>
                      <a:pt x="1372" y="1497"/>
                    </a:lnTo>
                    <a:lnTo>
                      <a:pt x="1372" y="1495"/>
                    </a:lnTo>
                    <a:lnTo>
                      <a:pt x="1373" y="1495"/>
                    </a:lnTo>
                    <a:lnTo>
                      <a:pt x="1373" y="1493"/>
                    </a:lnTo>
                    <a:lnTo>
                      <a:pt x="1373" y="1492"/>
                    </a:lnTo>
                    <a:lnTo>
                      <a:pt x="1373" y="1493"/>
                    </a:lnTo>
                    <a:lnTo>
                      <a:pt x="1375" y="1493"/>
                    </a:lnTo>
                    <a:lnTo>
                      <a:pt x="1375" y="1495"/>
                    </a:lnTo>
                    <a:lnTo>
                      <a:pt x="1377" y="1497"/>
                    </a:lnTo>
                    <a:lnTo>
                      <a:pt x="1378" y="1497"/>
                    </a:lnTo>
                    <a:lnTo>
                      <a:pt x="1378" y="1498"/>
                    </a:lnTo>
                    <a:close/>
                    <a:moveTo>
                      <a:pt x="1200" y="954"/>
                    </a:moveTo>
                    <a:lnTo>
                      <a:pt x="1200" y="956"/>
                    </a:lnTo>
                    <a:lnTo>
                      <a:pt x="1202" y="957"/>
                    </a:lnTo>
                    <a:lnTo>
                      <a:pt x="1200" y="957"/>
                    </a:lnTo>
                    <a:lnTo>
                      <a:pt x="1198" y="957"/>
                    </a:lnTo>
                    <a:lnTo>
                      <a:pt x="1198" y="956"/>
                    </a:lnTo>
                    <a:lnTo>
                      <a:pt x="1196" y="957"/>
                    </a:lnTo>
                    <a:lnTo>
                      <a:pt x="1196" y="956"/>
                    </a:lnTo>
                    <a:lnTo>
                      <a:pt x="1196" y="957"/>
                    </a:lnTo>
                    <a:lnTo>
                      <a:pt x="1198" y="957"/>
                    </a:lnTo>
                    <a:lnTo>
                      <a:pt x="1198" y="959"/>
                    </a:lnTo>
                    <a:lnTo>
                      <a:pt x="1200" y="959"/>
                    </a:lnTo>
                    <a:lnTo>
                      <a:pt x="1202" y="959"/>
                    </a:lnTo>
                    <a:lnTo>
                      <a:pt x="1202" y="957"/>
                    </a:lnTo>
                    <a:lnTo>
                      <a:pt x="1203" y="957"/>
                    </a:lnTo>
                    <a:lnTo>
                      <a:pt x="1203" y="959"/>
                    </a:lnTo>
                    <a:lnTo>
                      <a:pt x="1205" y="961"/>
                    </a:lnTo>
                    <a:lnTo>
                      <a:pt x="1203" y="963"/>
                    </a:lnTo>
                    <a:lnTo>
                      <a:pt x="1205" y="963"/>
                    </a:lnTo>
                    <a:lnTo>
                      <a:pt x="1205" y="961"/>
                    </a:lnTo>
                    <a:lnTo>
                      <a:pt x="1205" y="963"/>
                    </a:lnTo>
                    <a:lnTo>
                      <a:pt x="1205" y="961"/>
                    </a:lnTo>
                    <a:lnTo>
                      <a:pt x="1207" y="961"/>
                    </a:lnTo>
                    <a:lnTo>
                      <a:pt x="1205" y="961"/>
                    </a:lnTo>
                    <a:lnTo>
                      <a:pt x="1205" y="959"/>
                    </a:lnTo>
                    <a:lnTo>
                      <a:pt x="1203" y="959"/>
                    </a:lnTo>
                    <a:lnTo>
                      <a:pt x="1205" y="959"/>
                    </a:lnTo>
                    <a:lnTo>
                      <a:pt x="1205" y="957"/>
                    </a:lnTo>
                    <a:lnTo>
                      <a:pt x="1207" y="957"/>
                    </a:lnTo>
                    <a:lnTo>
                      <a:pt x="1207" y="956"/>
                    </a:lnTo>
                    <a:lnTo>
                      <a:pt x="1208" y="956"/>
                    </a:lnTo>
                    <a:lnTo>
                      <a:pt x="1208" y="957"/>
                    </a:lnTo>
                    <a:lnTo>
                      <a:pt x="1210" y="956"/>
                    </a:lnTo>
                    <a:lnTo>
                      <a:pt x="1212" y="956"/>
                    </a:lnTo>
                    <a:lnTo>
                      <a:pt x="1212" y="957"/>
                    </a:lnTo>
                    <a:lnTo>
                      <a:pt x="1213" y="957"/>
                    </a:lnTo>
                    <a:lnTo>
                      <a:pt x="1213" y="959"/>
                    </a:lnTo>
                    <a:lnTo>
                      <a:pt x="1212" y="959"/>
                    </a:lnTo>
                    <a:lnTo>
                      <a:pt x="1213" y="959"/>
                    </a:lnTo>
                    <a:lnTo>
                      <a:pt x="1213" y="961"/>
                    </a:lnTo>
                    <a:lnTo>
                      <a:pt x="1213" y="959"/>
                    </a:lnTo>
                    <a:lnTo>
                      <a:pt x="1212" y="959"/>
                    </a:lnTo>
                    <a:lnTo>
                      <a:pt x="1212" y="961"/>
                    </a:lnTo>
                    <a:lnTo>
                      <a:pt x="1213" y="961"/>
                    </a:lnTo>
                    <a:lnTo>
                      <a:pt x="1212" y="961"/>
                    </a:lnTo>
                    <a:lnTo>
                      <a:pt x="1212" y="963"/>
                    </a:lnTo>
                    <a:lnTo>
                      <a:pt x="1213" y="963"/>
                    </a:lnTo>
                    <a:lnTo>
                      <a:pt x="1213" y="964"/>
                    </a:lnTo>
                    <a:lnTo>
                      <a:pt x="1213" y="966"/>
                    </a:lnTo>
                    <a:lnTo>
                      <a:pt x="1215" y="966"/>
                    </a:lnTo>
                    <a:lnTo>
                      <a:pt x="1215" y="968"/>
                    </a:lnTo>
                    <a:lnTo>
                      <a:pt x="1215" y="969"/>
                    </a:lnTo>
                    <a:lnTo>
                      <a:pt x="1215" y="971"/>
                    </a:lnTo>
                    <a:lnTo>
                      <a:pt x="1213" y="969"/>
                    </a:lnTo>
                    <a:lnTo>
                      <a:pt x="1213" y="971"/>
                    </a:lnTo>
                    <a:lnTo>
                      <a:pt x="1215" y="973"/>
                    </a:lnTo>
                    <a:lnTo>
                      <a:pt x="1217" y="975"/>
                    </a:lnTo>
                    <a:lnTo>
                      <a:pt x="1219" y="975"/>
                    </a:lnTo>
                    <a:lnTo>
                      <a:pt x="1219" y="976"/>
                    </a:lnTo>
                    <a:lnTo>
                      <a:pt x="1217" y="976"/>
                    </a:lnTo>
                    <a:lnTo>
                      <a:pt x="1219" y="976"/>
                    </a:lnTo>
                    <a:lnTo>
                      <a:pt x="1219" y="978"/>
                    </a:lnTo>
                    <a:lnTo>
                      <a:pt x="1219" y="980"/>
                    </a:lnTo>
                    <a:lnTo>
                      <a:pt x="1217" y="980"/>
                    </a:lnTo>
                    <a:lnTo>
                      <a:pt x="1215" y="980"/>
                    </a:lnTo>
                    <a:lnTo>
                      <a:pt x="1215" y="978"/>
                    </a:lnTo>
                    <a:lnTo>
                      <a:pt x="1215" y="980"/>
                    </a:lnTo>
                    <a:lnTo>
                      <a:pt x="1213" y="980"/>
                    </a:lnTo>
                    <a:lnTo>
                      <a:pt x="1212" y="980"/>
                    </a:lnTo>
                    <a:lnTo>
                      <a:pt x="1210" y="981"/>
                    </a:lnTo>
                    <a:lnTo>
                      <a:pt x="1208" y="981"/>
                    </a:lnTo>
                    <a:lnTo>
                      <a:pt x="1207" y="983"/>
                    </a:lnTo>
                    <a:lnTo>
                      <a:pt x="1208" y="983"/>
                    </a:lnTo>
                    <a:lnTo>
                      <a:pt x="1208" y="985"/>
                    </a:lnTo>
                    <a:lnTo>
                      <a:pt x="1208" y="986"/>
                    </a:lnTo>
                    <a:lnTo>
                      <a:pt x="1207" y="986"/>
                    </a:lnTo>
                    <a:lnTo>
                      <a:pt x="1208" y="988"/>
                    </a:lnTo>
                    <a:lnTo>
                      <a:pt x="1210" y="988"/>
                    </a:lnTo>
                    <a:lnTo>
                      <a:pt x="1210" y="990"/>
                    </a:lnTo>
                    <a:lnTo>
                      <a:pt x="1208" y="988"/>
                    </a:lnTo>
                    <a:lnTo>
                      <a:pt x="1208" y="990"/>
                    </a:lnTo>
                    <a:lnTo>
                      <a:pt x="1207" y="990"/>
                    </a:lnTo>
                    <a:lnTo>
                      <a:pt x="1205" y="990"/>
                    </a:lnTo>
                    <a:lnTo>
                      <a:pt x="1205" y="988"/>
                    </a:lnTo>
                    <a:lnTo>
                      <a:pt x="1203" y="988"/>
                    </a:lnTo>
                    <a:lnTo>
                      <a:pt x="1205" y="988"/>
                    </a:lnTo>
                    <a:lnTo>
                      <a:pt x="1205" y="986"/>
                    </a:lnTo>
                    <a:lnTo>
                      <a:pt x="1205" y="985"/>
                    </a:lnTo>
                    <a:lnTo>
                      <a:pt x="1205" y="986"/>
                    </a:lnTo>
                    <a:lnTo>
                      <a:pt x="1203" y="986"/>
                    </a:lnTo>
                    <a:lnTo>
                      <a:pt x="1203" y="988"/>
                    </a:lnTo>
                    <a:lnTo>
                      <a:pt x="1203" y="990"/>
                    </a:lnTo>
                    <a:lnTo>
                      <a:pt x="1205" y="990"/>
                    </a:lnTo>
                    <a:lnTo>
                      <a:pt x="1205" y="992"/>
                    </a:lnTo>
                    <a:lnTo>
                      <a:pt x="1203" y="992"/>
                    </a:lnTo>
                    <a:lnTo>
                      <a:pt x="1203" y="993"/>
                    </a:lnTo>
                    <a:lnTo>
                      <a:pt x="1205" y="993"/>
                    </a:lnTo>
                    <a:lnTo>
                      <a:pt x="1205" y="995"/>
                    </a:lnTo>
                    <a:lnTo>
                      <a:pt x="1207" y="995"/>
                    </a:lnTo>
                    <a:lnTo>
                      <a:pt x="1208" y="995"/>
                    </a:lnTo>
                    <a:lnTo>
                      <a:pt x="1207" y="995"/>
                    </a:lnTo>
                    <a:lnTo>
                      <a:pt x="1207" y="997"/>
                    </a:lnTo>
                    <a:lnTo>
                      <a:pt x="1208" y="997"/>
                    </a:lnTo>
                    <a:lnTo>
                      <a:pt x="1208" y="998"/>
                    </a:lnTo>
                    <a:lnTo>
                      <a:pt x="1210" y="998"/>
                    </a:lnTo>
                    <a:lnTo>
                      <a:pt x="1210" y="1000"/>
                    </a:lnTo>
                    <a:lnTo>
                      <a:pt x="1212" y="998"/>
                    </a:lnTo>
                    <a:lnTo>
                      <a:pt x="1212" y="1000"/>
                    </a:lnTo>
                    <a:lnTo>
                      <a:pt x="1213" y="1000"/>
                    </a:lnTo>
                    <a:lnTo>
                      <a:pt x="1213" y="1002"/>
                    </a:lnTo>
                    <a:lnTo>
                      <a:pt x="1213" y="1003"/>
                    </a:lnTo>
                    <a:lnTo>
                      <a:pt x="1215" y="1005"/>
                    </a:lnTo>
                    <a:lnTo>
                      <a:pt x="1213" y="1005"/>
                    </a:lnTo>
                    <a:lnTo>
                      <a:pt x="1213" y="1007"/>
                    </a:lnTo>
                    <a:lnTo>
                      <a:pt x="1213" y="1005"/>
                    </a:lnTo>
                    <a:lnTo>
                      <a:pt x="1213" y="1003"/>
                    </a:lnTo>
                    <a:lnTo>
                      <a:pt x="1213" y="1005"/>
                    </a:lnTo>
                    <a:lnTo>
                      <a:pt x="1212" y="1005"/>
                    </a:lnTo>
                    <a:lnTo>
                      <a:pt x="1210" y="1005"/>
                    </a:lnTo>
                    <a:lnTo>
                      <a:pt x="1210" y="1003"/>
                    </a:lnTo>
                    <a:lnTo>
                      <a:pt x="1210" y="1002"/>
                    </a:lnTo>
                    <a:lnTo>
                      <a:pt x="1208" y="1002"/>
                    </a:lnTo>
                    <a:lnTo>
                      <a:pt x="1210" y="1003"/>
                    </a:lnTo>
                    <a:lnTo>
                      <a:pt x="1208" y="1003"/>
                    </a:lnTo>
                    <a:lnTo>
                      <a:pt x="1210" y="1003"/>
                    </a:lnTo>
                    <a:lnTo>
                      <a:pt x="1210" y="1005"/>
                    </a:lnTo>
                    <a:lnTo>
                      <a:pt x="1208" y="1005"/>
                    </a:lnTo>
                    <a:lnTo>
                      <a:pt x="1208" y="1003"/>
                    </a:lnTo>
                    <a:lnTo>
                      <a:pt x="1207" y="1003"/>
                    </a:lnTo>
                    <a:lnTo>
                      <a:pt x="1205" y="1003"/>
                    </a:lnTo>
                    <a:lnTo>
                      <a:pt x="1205" y="1005"/>
                    </a:lnTo>
                    <a:lnTo>
                      <a:pt x="1207" y="1005"/>
                    </a:lnTo>
                    <a:lnTo>
                      <a:pt x="1208" y="1005"/>
                    </a:lnTo>
                    <a:lnTo>
                      <a:pt x="1208" y="1007"/>
                    </a:lnTo>
                    <a:lnTo>
                      <a:pt x="1208" y="1009"/>
                    </a:lnTo>
                    <a:lnTo>
                      <a:pt x="1210" y="1009"/>
                    </a:lnTo>
                    <a:lnTo>
                      <a:pt x="1212" y="1009"/>
                    </a:lnTo>
                    <a:lnTo>
                      <a:pt x="1212" y="1010"/>
                    </a:lnTo>
                    <a:lnTo>
                      <a:pt x="1212" y="1012"/>
                    </a:lnTo>
                    <a:lnTo>
                      <a:pt x="1213" y="1014"/>
                    </a:lnTo>
                    <a:lnTo>
                      <a:pt x="1212" y="1014"/>
                    </a:lnTo>
                    <a:lnTo>
                      <a:pt x="1212" y="1012"/>
                    </a:lnTo>
                    <a:lnTo>
                      <a:pt x="1210" y="1012"/>
                    </a:lnTo>
                    <a:lnTo>
                      <a:pt x="1208" y="1012"/>
                    </a:lnTo>
                    <a:lnTo>
                      <a:pt x="1208" y="1014"/>
                    </a:lnTo>
                    <a:lnTo>
                      <a:pt x="1210" y="1014"/>
                    </a:lnTo>
                    <a:lnTo>
                      <a:pt x="1212" y="1014"/>
                    </a:lnTo>
                    <a:lnTo>
                      <a:pt x="1213" y="1014"/>
                    </a:lnTo>
                    <a:lnTo>
                      <a:pt x="1213" y="1015"/>
                    </a:lnTo>
                    <a:lnTo>
                      <a:pt x="1213" y="1017"/>
                    </a:lnTo>
                    <a:lnTo>
                      <a:pt x="1212" y="1015"/>
                    </a:lnTo>
                    <a:lnTo>
                      <a:pt x="1210" y="1015"/>
                    </a:lnTo>
                    <a:lnTo>
                      <a:pt x="1208" y="1015"/>
                    </a:lnTo>
                    <a:lnTo>
                      <a:pt x="1208" y="1017"/>
                    </a:lnTo>
                    <a:lnTo>
                      <a:pt x="1207" y="1017"/>
                    </a:lnTo>
                    <a:lnTo>
                      <a:pt x="1207" y="1015"/>
                    </a:lnTo>
                    <a:lnTo>
                      <a:pt x="1205" y="1015"/>
                    </a:lnTo>
                    <a:lnTo>
                      <a:pt x="1205" y="1017"/>
                    </a:lnTo>
                    <a:lnTo>
                      <a:pt x="1205" y="1019"/>
                    </a:lnTo>
                    <a:lnTo>
                      <a:pt x="1205" y="1020"/>
                    </a:lnTo>
                    <a:lnTo>
                      <a:pt x="1205" y="1022"/>
                    </a:lnTo>
                    <a:lnTo>
                      <a:pt x="1207" y="1022"/>
                    </a:lnTo>
                    <a:lnTo>
                      <a:pt x="1207" y="1024"/>
                    </a:lnTo>
                    <a:lnTo>
                      <a:pt x="1208" y="1024"/>
                    </a:lnTo>
                    <a:lnTo>
                      <a:pt x="1208" y="1026"/>
                    </a:lnTo>
                    <a:lnTo>
                      <a:pt x="1207" y="1026"/>
                    </a:lnTo>
                    <a:lnTo>
                      <a:pt x="1205" y="1026"/>
                    </a:lnTo>
                    <a:lnTo>
                      <a:pt x="1203" y="1026"/>
                    </a:lnTo>
                    <a:lnTo>
                      <a:pt x="1203" y="1024"/>
                    </a:lnTo>
                    <a:lnTo>
                      <a:pt x="1202" y="1024"/>
                    </a:lnTo>
                    <a:lnTo>
                      <a:pt x="1200" y="1024"/>
                    </a:lnTo>
                    <a:lnTo>
                      <a:pt x="1202" y="1024"/>
                    </a:lnTo>
                    <a:lnTo>
                      <a:pt x="1203" y="1026"/>
                    </a:lnTo>
                    <a:lnTo>
                      <a:pt x="1203" y="1027"/>
                    </a:lnTo>
                    <a:lnTo>
                      <a:pt x="1203" y="1029"/>
                    </a:lnTo>
                    <a:lnTo>
                      <a:pt x="1202" y="1029"/>
                    </a:lnTo>
                    <a:lnTo>
                      <a:pt x="1202" y="1027"/>
                    </a:lnTo>
                    <a:lnTo>
                      <a:pt x="1203" y="1029"/>
                    </a:lnTo>
                    <a:lnTo>
                      <a:pt x="1202" y="1031"/>
                    </a:lnTo>
                    <a:lnTo>
                      <a:pt x="1200" y="1031"/>
                    </a:lnTo>
                    <a:lnTo>
                      <a:pt x="1200" y="1029"/>
                    </a:lnTo>
                    <a:lnTo>
                      <a:pt x="1198" y="1027"/>
                    </a:lnTo>
                    <a:lnTo>
                      <a:pt x="1196" y="1027"/>
                    </a:lnTo>
                    <a:lnTo>
                      <a:pt x="1196" y="1029"/>
                    </a:lnTo>
                    <a:lnTo>
                      <a:pt x="1196" y="1027"/>
                    </a:lnTo>
                    <a:lnTo>
                      <a:pt x="1195" y="1027"/>
                    </a:lnTo>
                    <a:lnTo>
                      <a:pt x="1195" y="1026"/>
                    </a:lnTo>
                    <a:lnTo>
                      <a:pt x="1193" y="1026"/>
                    </a:lnTo>
                    <a:lnTo>
                      <a:pt x="1193" y="1027"/>
                    </a:lnTo>
                    <a:lnTo>
                      <a:pt x="1195" y="1027"/>
                    </a:lnTo>
                    <a:lnTo>
                      <a:pt x="1193" y="1027"/>
                    </a:lnTo>
                    <a:lnTo>
                      <a:pt x="1193" y="1029"/>
                    </a:lnTo>
                    <a:lnTo>
                      <a:pt x="1191" y="1027"/>
                    </a:lnTo>
                    <a:lnTo>
                      <a:pt x="1193" y="1027"/>
                    </a:lnTo>
                    <a:lnTo>
                      <a:pt x="1191" y="1026"/>
                    </a:lnTo>
                    <a:lnTo>
                      <a:pt x="1191" y="1024"/>
                    </a:lnTo>
                    <a:lnTo>
                      <a:pt x="1191" y="1026"/>
                    </a:lnTo>
                    <a:lnTo>
                      <a:pt x="1191" y="1027"/>
                    </a:lnTo>
                    <a:lnTo>
                      <a:pt x="1190" y="1026"/>
                    </a:lnTo>
                    <a:lnTo>
                      <a:pt x="1190" y="1027"/>
                    </a:lnTo>
                    <a:lnTo>
                      <a:pt x="1188" y="1026"/>
                    </a:lnTo>
                    <a:lnTo>
                      <a:pt x="1186" y="1026"/>
                    </a:lnTo>
                    <a:lnTo>
                      <a:pt x="1186" y="1024"/>
                    </a:lnTo>
                    <a:lnTo>
                      <a:pt x="1185" y="1024"/>
                    </a:lnTo>
                    <a:lnTo>
                      <a:pt x="1183" y="1024"/>
                    </a:lnTo>
                    <a:lnTo>
                      <a:pt x="1183" y="1022"/>
                    </a:lnTo>
                    <a:lnTo>
                      <a:pt x="1183" y="1020"/>
                    </a:lnTo>
                    <a:lnTo>
                      <a:pt x="1185" y="1019"/>
                    </a:lnTo>
                    <a:lnTo>
                      <a:pt x="1185" y="1017"/>
                    </a:lnTo>
                    <a:lnTo>
                      <a:pt x="1186" y="1017"/>
                    </a:lnTo>
                    <a:lnTo>
                      <a:pt x="1186" y="1015"/>
                    </a:lnTo>
                    <a:lnTo>
                      <a:pt x="1185" y="1015"/>
                    </a:lnTo>
                    <a:lnTo>
                      <a:pt x="1186" y="1015"/>
                    </a:lnTo>
                    <a:lnTo>
                      <a:pt x="1185" y="1015"/>
                    </a:lnTo>
                    <a:lnTo>
                      <a:pt x="1185" y="1014"/>
                    </a:lnTo>
                    <a:lnTo>
                      <a:pt x="1186" y="1014"/>
                    </a:lnTo>
                    <a:lnTo>
                      <a:pt x="1188" y="1012"/>
                    </a:lnTo>
                    <a:lnTo>
                      <a:pt x="1188" y="1010"/>
                    </a:lnTo>
                    <a:lnTo>
                      <a:pt x="1190" y="1009"/>
                    </a:lnTo>
                    <a:lnTo>
                      <a:pt x="1190" y="1007"/>
                    </a:lnTo>
                    <a:lnTo>
                      <a:pt x="1188" y="1007"/>
                    </a:lnTo>
                    <a:lnTo>
                      <a:pt x="1190" y="1007"/>
                    </a:lnTo>
                    <a:lnTo>
                      <a:pt x="1190" y="1005"/>
                    </a:lnTo>
                    <a:lnTo>
                      <a:pt x="1191" y="1005"/>
                    </a:lnTo>
                    <a:lnTo>
                      <a:pt x="1191" y="1003"/>
                    </a:lnTo>
                    <a:lnTo>
                      <a:pt x="1191" y="1002"/>
                    </a:lnTo>
                    <a:lnTo>
                      <a:pt x="1191" y="1000"/>
                    </a:lnTo>
                    <a:lnTo>
                      <a:pt x="1191" y="998"/>
                    </a:lnTo>
                    <a:lnTo>
                      <a:pt x="1191" y="997"/>
                    </a:lnTo>
                    <a:lnTo>
                      <a:pt x="1191" y="995"/>
                    </a:lnTo>
                    <a:lnTo>
                      <a:pt x="1191" y="993"/>
                    </a:lnTo>
                    <a:lnTo>
                      <a:pt x="1193" y="993"/>
                    </a:lnTo>
                    <a:lnTo>
                      <a:pt x="1191" y="993"/>
                    </a:lnTo>
                    <a:lnTo>
                      <a:pt x="1191" y="992"/>
                    </a:lnTo>
                    <a:lnTo>
                      <a:pt x="1191" y="990"/>
                    </a:lnTo>
                    <a:lnTo>
                      <a:pt x="1190" y="988"/>
                    </a:lnTo>
                    <a:lnTo>
                      <a:pt x="1190" y="986"/>
                    </a:lnTo>
                    <a:lnTo>
                      <a:pt x="1190" y="985"/>
                    </a:lnTo>
                    <a:lnTo>
                      <a:pt x="1190" y="983"/>
                    </a:lnTo>
                    <a:lnTo>
                      <a:pt x="1191" y="983"/>
                    </a:lnTo>
                    <a:lnTo>
                      <a:pt x="1191" y="981"/>
                    </a:lnTo>
                    <a:lnTo>
                      <a:pt x="1191" y="980"/>
                    </a:lnTo>
                    <a:lnTo>
                      <a:pt x="1191" y="978"/>
                    </a:lnTo>
                    <a:lnTo>
                      <a:pt x="1190" y="976"/>
                    </a:lnTo>
                    <a:lnTo>
                      <a:pt x="1191" y="976"/>
                    </a:lnTo>
                    <a:lnTo>
                      <a:pt x="1191" y="975"/>
                    </a:lnTo>
                    <a:lnTo>
                      <a:pt x="1191" y="973"/>
                    </a:lnTo>
                    <a:lnTo>
                      <a:pt x="1193" y="973"/>
                    </a:lnTo>
                    <a:lnTo>
                      <a:pt x="1193" y="971"/>
                    </a:lnTo>
                    <a:lnTo>
                      <a:pt x="1195" y="971"/>
                    </a:lnTo>
                    <a:lnTo>
                      <a:pt x="1195" y="969"/>
                    </a:lnTo>
                    <a:lnTo>
                      <a:pt x="1195" y="968"/>
                    </a:lnTo>
                    <a:lnTo>
                      <a:pt x="1195" y="966"/>
                    </a:lnTo>
                    <a:lnTo>
                      <a:pt x="1195" y="964"/>
                    </a:lnTo>
                    <a:lnTo>
                      <a:pt x="1195" y="963"/>
                    </a:lnTo>
                    <a:lnTo>
                      <a:pt x="1195" y="961"/>
                    </a:lnTo>
                    <a:lnTo>
                      <a:pt x="1196" y="961"/>
                    </a:lnTo>
                    <a:lnTo>
                      <a:pt x="1196" y="959"/>
                    </a:lnTo>
                    <a:lnTo>
                      <a:pt x="1195" y="959"/>
                    </a:lnTo>
                    <a:lnTo>
                      <a:pt x="1195" y="957"/>
                    </a:lnTo>
                    <a:lnTo>
                      <a:pt x="1195" y="956"/>
                    </a:lnTo>
                    <a:lnTo>
                      <a:pt x="1195" y="954"/>
                    </a:lnTo>
                    <a:lnTo>
                      <a:pt x="1196" y="954"/>
                    </a:lnTo>
                    <a:lnTo>
                      <a:pt x="1196" y="956"/>
                    </a:lnTo>
                    <a:lnTo>
                      <a:pt x="1198" y="956"/>
                    </a:lnTo>
                    <a:lnTo>
                      <a:pt x="1200" y="954"/>
                    </a:lnTo>
                    <a:close/>
                    <a:moveTo>
                      <a:pt x="1174" y="1286"/>
                    </a:moveTo>
                    <a:lnTo>
                      <a:pt x="1176" y="1286"/>
                    </a:lnTo>
                    <a:lnTo>
                      <a:pt x="1176" y="1288"/>
                    </a:lnTo>
                    <a:lnTo>
                      <a:pt x="1174" y="1289"/>
                    </a:lnTo>
                    <a:lnTo>
                      <a:pt x="1176" y="1289"/>
                    </a:lnTo>
                    <a:lnTo>
                      <a:pt x="1176" y="1288"/>
                    </a:lnTo>
                    <a:lnTo>
                      <a:pt x="1178" y="1289"/>
                    </a:lnTo>
                    <a:lnTo>
                      <a:pt x="1176" y="1289"/>
                    </a:lnTo>
                    <a:lnTo>
                      <a:pt x="1176" y="1291"/>
                    </a:lnTo>
                    <a:lnTo>
                      <a:pt x="1176" y="1293"/>
                    </a:lnTo>
                    <a:lnTo>
                      <a:pt x="1178" y="1293"/>
                    </a:lnTo>
                    <a:lnTo>
                      <a:pt x="1176" y="1294"/>
                    </a:lnTo>
                    <a:lnTo>
                      <a:pt x="1174" y="1296"/>
                    </a:lnTo>
                    <a:lnTo>
                      <a:pt x="1176" y="1296"/>
                    </a:lnTo>
                    <a:lnTo>
                      <a:pt x="1176" y="1294"/>
                    </a:lnTo>
                    <a:lnTo>
                      <a:pt x="1178" y="1294"/>
                    </a:lnTo>
                    <a:lnTo>
                      <a:pt x="1178" y="1293"/>
                    </a:lnTo>
                    <a:lnTo>
                      <a:pt x="1178" y="1291"/>
                    </a:lnTo>
                    <a:lnTo>
                      <a:pt x="1178" y="1289"/>
                    </a:lnTo>
                    <a:lnTo>
                      <a:pt x="1178" y="1288"/>
                    </a:lnTo>
                    <a:lnTo>
                      <a:pt x="1179" y="1288"/>
                    </a:lnTo>
                    <a:lnTo>
                      <a:pt x="1181" y="1288"/>
                    </a:lnTo>
                    <a:lnTo>
                      <a:pt x="1181" y="1289"/>
                    </a:lnTo>
                    <a:lnTo>
                      <a:pt x="1181" y="1291"/>
                    </a:lnTo>
                    <a:lnTo>
                      <a:pt x="1181" y="1293"/>
                    </a:lnTo>
                    <a:lnTo>
                      <a:pt x="1181" y="1294"/>
                    </a:lnTo>
                    <a:lnTo>
                      <a:pt x="1181" y="1296"/>
                    </a:lnTo>
                    <a:lnTo>
                      <a:pt x="1179" y="1296"/>
                    </a:lnTo>
                    <a:lnTo>
                      <a:pt x="1179" y="1298"/>
                    </a:lnTo>
                    <a:lnTo>
                      <a:pt x="1178" y="1298"/>
                    </a:lnTo>
                    <a:lnTo>
                      <a:pt x="1178" y="1299"/>
                    </a:lnTo>
                    <a:lnTo>
                      <a:pt x="1176" y="1299"/>
                    </a:lnTo>
                    <a:lnTo>
                      <a:pt x="1178" y="1299"/>
                    </a:lnTo>
                    <a:lnTo>
                      <a:pt x="1178" y="1298"/>
                    </a:lnTo>
                    <a:lnTo>
                      <a:pt x="1179" y="1298"/>
                    </a:lnTo>
                    <a:lnTo>
                      <a:pt x="1179" y="1296"/>
                    </a:lnTo>
                    <a:lnTo>
                      <a:pt x="1181" y="1296"/>
                    </a:lnTo>
                    <a:lnTo>
                      <a:pt x="1181" y="1298"/>
                    </a:lnTo>
                    <a:lnTo>
                      <a:pt x="1181" y="1299"/>
                    </a:lnTo>
                    <a:lnTo>
                      <a:pt x="1183" y="1299"/>
                    </a:lnTo>
                    <a:lnTo>
                      <a:pt x="1183" y="1301"/>
                    </a:lnTo>
                    <a:lnTo>
                      <a:pt x="1181" y="1301"/>
                    </a:lnTo>
                    <a:lnTo>
                      <a:pt x="1181" y="1303"/>
                    </a:lnTo>
                    <a:lnTo>
                      <a:pt x="1179" y="1303"/>
                    </a:lnTo>
                    <a:lnTo>
                      <a:pt x="1181" y="1303"/>
                    </a:lnTo>
                    <a:lnTo>
                      <a:pt x="1181" y="1305"/>
                    </a:lnTo>
                    <a:lnTo>
                      <a:pt x="1181" y="1306"/>
                    </a:lnTo>
                    <a:lnTo>
                      <a:pt x="1183" y="1308"/>
                    </a:lnTo>
                    <a:lnTo>
                      <a:pt x="1183" y="1310"/>
                    </a:lnTo>
                    <a:lnTo>
                      <a:pt x="1183" y="1308"/>
                    </a:lnTo>
                    <a:lnTo>
                      <a:pt x="1181" y="1310"/>
                    </a:lnTo>
                    <a:lnTo>
                      <a:pt x="1183" y="1311"/>
                    </a:lnTo>
                    <a:lnTo>
                      <a:pt x="1183" y="1313"/>
                    </a:lnTo>
                    <a:lnTo>
                      <a:pt x="1183" y="1315"/>
                    </a:lnTo>
                    <a:lnTo>
                      <a:pt x="1183" y="1316"/>
                    </a:lnTo>
                    <a:lnTo>
                      <a:pt x="1183" y="1318"/>
                    </a:lnTo>
                    <a:lnTo>
                      <a:pt x="1183" y="1320"/>
                    </a:lnTo>
                    <a:lnTo>
                      <a:pt x="1181" y="1320"/>
                    </a:lnTo>
                    <a:lnTo>
                      <a:pt x="1181" y="1322"/>
                    </a:lnTo>
                    <a:lnTo>
                      <a:pt x="1183" y="1322"/>
                    </a:lnTo>
                    <a:lnTo>
                      <a:pt x="1183" y="1323"/>
                    </a:lnTo>
                    <a:lnTo>
                      <a:pt x="1181" y="1323"/>
                    </a:lnTo>
                    <a:lnTo>
                      <a:pt x="1181" y="1325"/>
                    </a:lnTo>
                    <a:lnTo>
                      <a:pt x="1181" y="1327"/>
                    </a:lnTo>
                    <a:lnTo>
                      <a:pt x="1181" y="1328"/>
                    </a:lnTo>
                    <a:lnTo>
                      <a:pt x="1179" y="1328"/>
                    </a:lnTo>
                    <a:lnTo>
                      <a:pt x="1178" y="1328"/>
                    </a:lnTo>
                    <a:lnTo>
                      <a:pt x="1179" y="1328"/>
                    </a:lnTo>
                    <a:lnTo>
                      <a:pt x="1179" y="1330"/>
                    </a:lnTo>
                    <a:lnTo>
                      <a:pt x="1179" y="1328"/>
                    </a:lnTo>
                    <a:lnTo>
                      <a:pt x="1179" y="1330"/>
                    </a:lnTo>
                    <a:lnTo>
                      <a:pt x="1181" y="1332"/>
                    </a:lnTo>
                    <a:lnTo>
                      <a:pt x="1181" y="1333"/>
                    </a:lnTo>
                    <a:lnTo>
                      <a:pt x="1179" y="1335"/>
                    </a:lnTo>
                    <a:lnTo>
                      <a:pt x="1179" y="1333"/>
                    </a:lnTo>
                    <a:lnTo>
                      <a:pt x="1178" y="1335"/>
                    </a:lnTo>
                    <a:lnTo>
                      <a:pt x="1178" y="1337"/>
                    </a:lnTo>
                    <a:lnTo>
                      <a:pt x="1179" y="1337"/>
                    </a:lnTo>
                    <a:lnTo>
                      <a:pt x="1178" y="1339"/>
                    </a:lnTo>
                    <a:lnTo>
                      <a:pt x="1176" y="1337"/>
                    </a:lnTo>
                    <a:lnTo>
                      <a:pt x="1178" y="1339"/>
                    </a:lnTo>
                    <a:lnTo>
                      <a:pt x="1179" y="1339"/>
                    </a:lnTo>
                    <a:lnTo>
                      <a:pt x="1179" y="1337"/>
                    </a:lnTo>
                    <a:lnTo>
                      <a:pt x="1179" y="1335"/>
                    </a:lnTo>
                    <a:lnTo>
                      <a:pt x="1181" y="1335"/>
                    </a:lnTo>
                    <a:lnTo>
                      <a:pt x="1183" y="1337"/>
                    </a:lnTo>
                    <a:lnTo>
                      <a:pt x="1183" y="1339"/>
                    </a:lnTo>
                    <a:lnTo>
                      <a:pt x="1183" y="1340"/>
                    </a:lnTo>
                    <a:lnTo>
                      <a:pt x="1183" y="1342"/>
                    </a:lnTo>
                    <a:lnTo>
                      <a:pt x="1181" y="1342"/>
                    </a:lnTo>
                    <a:lnTo>
                      <a:pt x="1181" y="1340"/>
                    </a:lnTo>
                    <a:lnTo>
                      <a:pt x="1179" y="1340"/>
                    </a:lnTo>
                    <a:lnTo>
                      <a:pt x="1179" y="1342"/>
                    </a:lnTo>
                    <a:lnTo>
                      <a:pt x="1181" y="1342"/>
                    </a:lnTo>
                    <a:lnTo>
                      <a:pt x="1181" y="1344"/>
                    </a:lnTo>
                    <a:lnTo>
                      <a:pt x="1183" y="1344"/>
                    </a:lnTo>
                    <a:lnTo>
                      <a:pt x="1183" y="1345"/>
                    </a:lnTo>
                    <a:lnTo>
                      <a:pt x="1183" y="1347"/>
                    </a:lnTo>
                    <a:lnTo>
                      <a:pt x="1183" y="1349"/>
                    </a:lnTo>
                    <a:lnTo>
                      <a:pt x="1181" y="1350"/>
                    </a:lnTo>
                    <a:lnTo>
                      <a:pt x="1181" y="1349"/>
                    </a:lnTo>
                    <a:lnTo>
                      <a:pt x="1181" y="1347"/>
                    </a:lnTo>
                    <a:lnTo>
                      <a:pt x="1179" y="1347"/>
                    </a:lnTo>
                    <a:lnTo>
                      <a:pt x="1181" y="1347"/>
                    </a:lnTo>
                    <a:lnTo>
                      <a:pt x="1181" y="1349"/>
                    </a:lnTo>
                    <a:lnTo>
                      <a:pt x="1181" y="1350"/>
                    </a:lnTo>
                    <a:lnTo>
                      <a:pt x="1181" y="1352"/>
                    </a:lnTo>
                    <a:lnTo>
                      <a:pt x="1179" y="1352"/>
                    </a:lnTo>
                    <a:lnTo>
                      <a:pt x="1181" y="1352"/>
                    </a:lnTo>
                    <a:lnTo>
                      <a:pt x="1179" y="1354"/>
                    </a:lnTo>
                    <a:lnTo>
                      <a:pt x="1178" y="1352"/>
                    </a:lnTo>
                    <a:lnTo>
                      <a:pt x="1178" y="1350"/>
                    </a:lnTo>
                    <a:lnTo>
                      <a:pt x="1176" y="1350"/>
                    </a:lnTo>
                    <a:lnTo>
                      <a:pt x="1176" y="1349"/>
                    </a:lnTo>
                    <a:lnTo>
                      <a:pt x="1176" y="1347"/>
                    </a:lnTo>
                    <a:lnTo>
                      <a:pt x="1174" y="1349"/>
                    </a:lnTo>
                    <a:lnTo>
                      <a:pt x="1176" y="1349"/>
                    </a:lnTo>
                    <a:lnTo>
                      <a:pt x="1176" y="1350"/>
                    </a:lnTo>
                    <a:lnTo>
                      <a:pt x="1178" y="1352"/>
                    </a:lnTo>
                    <a:lnTo>
                      <a:pt x="1179" y="1354"/>
                    </a:lnTo>
                    <a:lnTo>
                      <a:pt x="1178" y="1354"/>
                    </a:lnTo>
                    <a:lnTo>
                      <a:pt x="1178" y="1356"/>
                    </a:lnTo>
                    <a:lnTo>
                      <a:pt x="1176" y="1356"/>
                    </a:lnTo>
                    <a:lnTo>
                      <a:pt x="1176" y="1357"/>
                    </a:lnTo>
                    <a:lnTo>
                      <a:pt x="1174" y="1357"/>
                    </a:lnTo>
                    <a:lnTo>
                      <a:pt x="1174" y="1356"/>
                    </a:lnTo>
                    <a:lnTo>
                      <a:pt x="1174" y="1357"/>
                    </a:lnTo>
                    <a:lnTo>
                      <a:pt x="1173" y="1357"/>
                    </a:lnTo>
                    <a:lnTo>
                      <a:pt x="1173" y="1356"/>
                    </a:lnTo>
                    <a:lnTo>
                      <a:pt x="1174" y="1356"/>
                    </a:lnTo>
                    <a:lnTo>
                      <a:pt x="1174" y="1354"/>
                    </a:lnTo>
                    <a:lnTo>
                      <a:pt x="1174" y="1356"/>
                    </a:lnTo>
                    <a:lnTo>
                      <a:pt x="1173" y="1356"/>
                    </a:lnTo>
                    <a:lnTo>
                      <a:pt x="1173" y="1357"/>
                    </a:lnTo>
                    <a:lnTo>
                      <a:pt x="1173" y="1356"/>
                    </a:lnTo>
                    <a:lnTo>
                      <a:pt x="1173" y="1357"/>
                    </a:lnTo>
                    <a:lnTo>
                      <a:pt x="1171" y="1357"/>
                    </a:lnTo>
                    <a:lnTo>
                      <a:pt x="1169" y="1357"/>
                    </a:lnTo>
                    <a:lnTo>
                      <a:pt x="1168" y="1357"/>
                    </a:lnTo>
                    <a:lnTo>
                      <a:pt x="1169" y="1356"/>
                    </a:lnTo>
                    <a:lnTo>
                      <a:pt x="1168" y="1357"/>
                    </a:lnTo>
                    <a:lnTo>
                      <a:pt x="1168" y="1356"/>
                    </a:lnTo>
                    <a:lnTo>
                      <a:pt x="1166" y="1354"/>
                    </a:lnTo>
                    <a:lnTo>
                      <a:pt x="1168" y="1354"/>
                    </a:lnTo>
                    <a:lnTo>
                      <a:pt x="1168" y="1352"/>
                    </a:lnTo>
                    <a:lnTo>
                      <a:pt x="1169" y="1352"/>
                    </a:lnTo>
                    <a:lnTo>
                      <a:pt x="1171" y="1350"/>
                    </a:lnTo>
                    <a:lnTo>
                      <a:pt x="1173" y="1350"/>
                    </a:lnTo>
                    <a:lnTo>
                      <a:pt x="1174" y="1350"/>
                    </a:lnTo>
                    <a:lnTo>
                      <a:pt x="1174" y="1352"/>
                    </a:lnTo>
                    <a:lnTo>
                      <a:pt x="1176" y="1352"/>
                    </a:lnTo>
                    <a:lnTo>
                      <a:pt x="1174" y="1350"/>
                    </a:lnTo>
                    <a:lnTo>
                      <a:pt x="1173" y="1350"/>
                    </a:lnTo>
                    <a:lnTo>
                      <a:pt x="1173" y="1349"/>
                    </a:lnTo>
                    <a:lnTo>
                      <a:pt x="1171" y="1350"/>
                    </a:lnTo>
                    <a:lnTo>
                      <a:pt x="1169" y="1350"/>
                    </a:lnTo>
                    <a:lnTo>
                      <a:pt x="1168" y="1352"/>
                    </a:lnTo>
                    <a:lnTo>
                      <a:pt x="1166" y="1354"/>
                    </a:lnTo>
                    <a:lnTo>
                      <a:pt x="1168" y="1352"/>
                    </a:lnTo>
                    <a:lnTo>
                      <a:pt x="1166" y="1352"/>
                    </a:lnTo>
                    <a:lnTo>
                      <a:pt x="1166" y="1350"/>
                    </a:lnTo>
                    <a:lnTo>
                      <a:pt x="1166" y="1349"/>
                    </a:lnTo>
                    <a:lnTo>
                      <a:pt x="1168" y="1349"/>
                    </a:lnTo>
                    <a:lnTo>
                      <a:pt x="1166" y="1347"/>
                    </a:lnTo>
                    <a:lnTo>
                      <a:pt x="1168" y="1347"/>
                    </a:lnTo>
                    <a:lnTo>
                      <a:pt x="1166" y="1345"/>
                    </a:lnTo>
                    <a:lnTo>
                      <a:pt x="1168" y="1345"/>
                    </a:lnTo>
                    <a:lnTo>
                      <a:pt x="1168" y="1347"/>
                    </a:lnTo>
                    <a:lnTo>
                      <a:pt x="1169" y="1347"/>
                    </a:lnTo>
                    <a:lnTo>
                      <a:pt x="1169" y="1349"/>
                    </a:lnTo>
                    <a:lnTo>
                      <a:pt x="1171" y="1347"/>
                    </a:lnTo>
                    <a:lnTo>
                      <a:pt x="1173" y="1347"/>
                    </a:lnTo>
                    <a:lnTo>
                      <a:pt x="1173" y="1345"/>
                    </a:lnTo>
                    <a:lnTo>
                      <a:pt x="1174" y="1345"/>
                    </a:lnTo>
                    <a:lnTo>
                      <a:pt x="1176" y="1344"/>
                    </a:lnTo>
                    <a:lnTo>
                      <a:pt x="1174" y="1345"/>
                    </a:lnTo>
                    <a:lnTo>
                      <a:pt x="1173" y="1345"/>
                    </a:lnTo>
                    <a:lnTo>
                      <a:pt x="1171" y="1347"/>
                    </a:lnTo>
                    <a:lnTo>
                      <a:pt x="1169" y="1347"/>
                    </a:lnTo>
                    <a:lnTo>
                      <a:pt x="1168" y="1345"/>
                    </a:lnTo>
                    <a:lnTo>
                      <a:pt x="1169" y="1345"/>
                    </a:lnTo>
                    <a:lnTo>
                      <a:pt x="1169" y="1344"/>
                    </a:lnTo>
                    <a:lnTo>
                      <a:pt x="1169" y="1342"/>
                    </a:lnTo>
                    <a:lnTo>
                      <a:pt x="1171" y="1342"/>
                    </a:lnTo>
                    <a:lnTo>
                      <a:pt x="1173" y="1342"/>
                    </a:lnTo>
                    <a:lnTo>
                      <a:pt x="1171" y="1342"/>
                    </a:lnTo>
                    <a:lnTo>
                      <a:pt x="1171" y="1340"/>
                    </a:lnTo>
                    <a:lnTo>
                      <a:pt x="1173" y="1340"/>
                    </a:lnTo>
                    <a:lnTo>
                      <a:pt x="1171" y="1340"/>
                    </a:lnTo>
                    <a:lnTo>
                      <a:pt x="1171" y="1342"/>
                    </a:lnTo>
                    <a:lnTo>
                      <a:pt x="1169" y="1342"/>
                    </a:lnTo>
                    <a:lnTo>
                      <a:pt x="1169" y="1344"/>
                    </a:lnTo>
                    <a:lnTo>
                      <a:pt x="1168" y="1345"/>
                    </a:lnTo>
                    <a:lnTo>
                      <a:pt x="1168" y="1344"/>
                    </a:lnTo>
                    <a:lnTo>
                      <a:pt x="1166" y="1344"/>
                    </a:lnTo>
                    <a:lnTo>
                      <a:pt x="1166" y="1342"/>
                    </a:lnTo>
                    <a:lnTo>
                      <a:pt x="1166" y="1340"/>
                    </a:lnTo>
                    <a:lnTo>
                      <a:pt x="1168" y="1340"/>
                    </a:lnTo>
                    <a:lnTo>
                      <a:pt x="1166" y="1339"/>
                    </a:lnTo>
                    <a:lnTo>
                      <a:pt x="1166" y="1337"/>
                    </a:lnTo>
                    <a:lnTo>
                      <a:pt x="1168" y="1337"/>
                    </a:lnTo>
                    <a:lnTo>
                      <a:pt x="1166" y="1335"/>
                    </a:lnTo>
                    <a:lnTo>
                      <a:pt x="1166" y="1333"/>
                    </a:lnTo>
                    <a:lnTo>
                      <a:pt x="1168" y="1333"/>
                    </a:lnTo>
                    <a:lnTo>
                      <a:pt x="1169" y="1333"/>
                    </a:lnTo>
                    <a:lnTo>
                      <a:pt x="1169" y="1335"/>
                    </a:lnTo>
                    <a:lnTo>
                      <a:pt x="1171" y="1335"/>
                    </a:lnTo>
                    <a:lnTo>
                      <a:pt x="1173" y="1335"/>
                    </a:lnTo>
                    <a:lnTo>
                      <a:pt x="1171" y="1335"/>
                    </a:lnTo>
                    <a:lnTo>
                      <a:pt x="1171" y="1333"/>
                    </a:lnTo>
                    <a:lnTo>
                      <a:pt x="1171" y="1332"/>
                    </a:lnTo>
                    <a:lnTo>
                      <a:pt x="1173" y="1332"/>
                    </a:lnTo>
                    <a:lnTo>
                      <a:pt x="1171" y="1330"/>
                    </a:lnTo>
                    <a:lnTo>
                      <a:pt x="1171" y="1332"/>
                    </a:lnTo>
                    <a:lnTo>
                      <a:pt x="1171" y="1333"/>
                    </a:lnTo>
                    <a:lnTo>
                      <a:pt x="1169" y="1333"/>
                    </a:lnTo>
                    <a:lnTo>
                      <a:pt x="1168" y="1333"/>
                    </a:lnTo>
                    <a:lnTo>
                      <a:pt x="1168" y="1332"/>
                    </a:lnTo>
                    <a:lnTo>
                      <a:pt x="1166" y="1332"/>
                    </a:lnTo>
                    <a:lnTo>
                      <a:pt x="1168" y="1332"/>
                    </a:lnTo>
                    <a:lnTo>
                      <a:pt x="1168" y="1330"/>
                    </a:lnTo>
                    <a:lnTo>
                      <a:pt x="1168" y="1328"/>
                    </a:lnTo>
                    <a:lnTo>
                      <a:pt x="1169" y="1328"/>
                    </a:lnTo>
                    <a:lnTo>
                      <a:pt x="1171" y="1327"/>
                    </a:lnTo>
                    <a:lnTo>
                      <a:pt x="1173" y="1325"/>
                    </a:lnTo>
                    <a:lnTo>
                      <a:pt x="1174" y="1325"/>
                    </a:lnTo>
                    <a:lnTo>
                      <a:pt x="1176" y="1325"/>
                    </a:lnTo>
                    <a:lnTo>
                      <a:pt x="1174" y="1323"/>
                    </a:lnTo>
                    <a:lnTo>
                      <a:pt x="1173" y="1325"/>
                    </a:lnTo>
                    <a:lnTo>
                      <a:pt x="1173" y="1323"/>
                    </a:lnTo>
                    <a:lnTo>
                      <a:pt x="1173" y="1322"/>
                    </a:lnTo>
                    <a:lnTo>
                      <a:pt x="1174" y="1322"/>
                    </a:lnTo>
                    <a:lnTo>
                      <a:pt x="1176" y="1320"/>
                    </a:lnTo>
                    <a:lnTo>
                      <a:pt x="1176" y="1318"/>
                    </a:lnTo>
                    <a:lnTo>
                      <a:pt x="1176" y="1320"/>
                    </a:lnTo>
                    <a:lnTo>
                      <a:pt x="1174" y="1320"/>
                    </a:lnTo>
                    <a:lnTo>
                      <a:pt x="1174" y="1322"/>
                    </a:lnTo>
                    <a:lnTo>
                      <a:pt x="1173" y="1322"/>
                    </a:lnTo>
                    <a:lnTo>
                      <a:pt x="1173" y="1323"/>
                    </a:lnTo>
                    <a:lnTo>
                      <a:pt x="1173" y="1322"/>
                    </a:lnTo>
                    <a:lnTo>
                      <a:pt x="1171" y="1322"/>
                    </a:lnTo>
                    <a:lnTo>
                      <a:pt x="1169" y="1320"/>
                    </a:lnTo>
                    <a:lnTo>
                      <a:pt x="1171" y="1322"/>
                    </a:lnTo>
                    <a:lnTo>
                      <a:pt x="1171" y="1323"/>
                    </a:lnTo>
                    <a:lnTo>
                      <a:pt x="1173" y="1323"/>
                    </a:lnTo>
                    <a:lnTo>
                      <a:pt x="1171" y="1325"/>
                    </a:lnTo>
                    <a:lnTo>
                      <a:pt x="1169" y="1327"/>
                    </a:lnTo>
                    <a:lnTo>
                      <a:pt x="1168" y="1327"/>
                    </a:lnTo>
                    <a:lnTo>
                      <a:pt x="1168" y="1328"/>
                    </a:lnTo>
                    <a:lnTo>
                      <a:pt x="1168" y="1327"/>
                    </a:lnTo>
                    <a:lnTo>
                      <a:pt x="1168" y="1325"/>
                    </a:lnTo>
                    <a:lnTo>
                      <a:pt x="1168" y="1323"/>
                    </a:lnTo>
                    <a:lnTo>
                      <a:pt x="1168" y="1325"/>
                    </a:lnTo>
                    <a:lnTo>
                      <a:pt x="1168" y="1327"/>
                    </a:lnTo>
                    <a:lnTo>
                      <a:pt x="1168" y="1328"/>
                    </a:lnTo>
                    <a:lnTo>
                      <a:pt x="1166" y="1330"/>
                    </a:lnTo>
                    <a:lnTo>
                      <a:pt x="1164" y="1330"/>
                    </a:lnTo>
                    <a:lnTo>
                      <a:pt x="1164" y="1328"/>
                    </a:lnTo>
                    <a:lnTo>
                      <a:pt x="1166" y="1327"/>
                    </a:lnTo>
                    <a:lnTo>
                      <a:pt x="1164" y="1327"/>
                    </a:lnTo>
                    <a:lnTo>
                      <a:pt x="1164" y="1325"/>
                    </a:lnTo>
                    <a:lnTo>
                      <a:pt x="1164" y="1327"/>
                    </a:lnTo>
                    <a:lnTo>
                      <a:pt x="1164" y="1328"/>
                    </a:lnTo>
                    <a:lnTo>
                      <a:pt x="1162" y="1327"/>
                    </a:lnTo>
                    <a:lnTo>
                      <a:pt x="1162" y="1328"/>
                    </a:lnTo>
                    <a:lnTo>
                      <a:pt x="1164" y="1328"/>
                    </a:lnTo>
                    <a:lnTo>
                      <a:pt x="1164" y="1330"/>
                    </a:lnTo>
                    <a:lnTo>
                      <a:pt x="1162" y="1330"/>
                    </a:lnTo>
                    <a:lnTo>
                      <a:pt x="1162" y="1328"/>
                    </a:lnTo>
                    <a:lnTo>
                      <a:pt x="1162" y="1330"/>
                    </a:lnTo>
                    <a:lnTo>
                      <a:pt x="1164" y="1332"/>
                    </a:lnTo>
                    <a:lnTo>
                      <a:pt x="1162" y="1332"/>
                    </a:lnTo>
                    <a:lnTo>
                      <a:pt x="1164" y="1332"/>
                    </a:lnTo>
                    <a:lnTo>
                      <a:pt x="1164" y="1333"/>
                    </a:lnTo>
                    <a:lnTo>
                      <a:pt x="1162" y="1333"/>
                    </a:lnTo>
                    <a:lnTo>
                      <a:pt x="1162" y="1332"/>
                    </a:lnTo>
                    <a:lnTo>
                      <a:pt x="1161" y="1332"/>
                    </a:lnTo>
                    <a:lnTo>
                      <a:pt x="1161" y="1330"/>
                    </a:lnTo>
                    <a:lnTo>
                      <a:pt x="1159" y="1330"/>
                    </a:lnTo>
                    <a:lnTo>
                      <a:pt x="1161" y="1332"/>
                    </a:lnTo>
                    <a:lnTo>
                      <a:pt x="1162" y="1333"/>
                    </a:lnTo>
                    <a:lnTo>
                      <a:pt x="1164" y="1333"/>
                    </a:lnTo>
                    <a:lnTo>
                      <a:pt x="1162" y="1335"/>
                    </a:lnTo>
                    <a:lnTo>
                      <a:pt x="1162" y="1337"/>
                    </a:lnTo>
                    <a:lnTo>
                      <a:pt x="1162" y="1339"/>
                    </a:lnTo>
                    <a:lnTo>
                      <a:pt x="1162" y="1337"/>
                    </a:lnTo>
                    <a:lnTo>
                      <a:pt x="1164" y="1337"/>
                    </a:lnTo>
                    <a:lnTo>
                      <a:pt x="1164" y="1335"/>
                    </a:lnTo>
                    <a:lnTo>
                      <a:pt x="1164" y="1333"/>
                    </a:lnTo>
                    <a:lnTo>
                      <a:pt x="1164" y="1335"/>
                    </a:lnTo>
                    <a:lnTo>
                      <a:pt x="1166" y="1335"/>
                    </a:lnTo>
                    <a:lnTo>
                      <a:pt x="1164" y="1335"/>
                    </a:lnTo>
                    <a:lnTo>
                      <a:pt x="1164" y="1337"/>
                    </a:lnTo>
                    <a:lnTo>
                      <a:pt x="1164" y="1339"/>
                    </a:lnTo>
                    <a:lnTo>
                      <a:pt x="1162" y="1340"/>
                    </a:lnTo>
                    <a:lnTo>
                      <a:pt x="1162" y="1339"/>
                    </a:lnTo>
                    <a:lnTo>
                      <a:pt x="1162" y="1340"/>
                    </a:lnTo>
                    <a:lnTo>
                      <a:pt x="1162" y="1342"/>
                    </a:lnTo>
                    <a:lnTo>
                      <a:pt x="1162" y="1344"/>
                    </a:lnTo>
                    <a:lnTo>
                      <a:pt x="1162" y="1342"/>
                    </a:lnTo>
                    <a:lnTo>
                      <a:pt x="1162" y="1340"/>
                    </a:lnTo>
                    <a:lnTo>
                      <a:pt x="1164" y="1340"/>
                    </a:lnTo>
                    <a:lnTo>
                      <a:pt x="1164" y="1339"/>
                    </a:lnTo>
                    <a:lnTo>
                      <a:pt x="1164" y="1340"/>
                    </a:lnTo>
                    <a:lnTo>
                      <a:pt x="1164" y="1342"/>
                    </a:lnTo>
                    <a:lnTo>
                      <a:pt x="1164" y="1340"/>
                    </a:lnTo>
                    <a:lnTo>
                      <a:pt x="1166" y="1342"/>
                    </a:lnTo>
                    <a:lnTo>
                      <a:pt x="1166" y="1344"/>
                    </a:lnTo>
                    <a:lnTo>
                      <a:pt x="1164" y="1344"/>
                    </a:lnTo>
                    <a:lnTo>
                      <a:pt x="1166" y="1344"/>
                    </a:lnTo>
                    <a:lnTo>
                      <a:pt x="1164" y="1344"/>
                    </a:lnTo>
                    <a:lnTo>
                      <a:pt x="1164" y="1345"/>
                    </a:lnTo>
                    <a:lnTo>
                      <a:pt x="1164" y="1344"/>
                    </a:lnTo>
                    <a:lnTo>
                      <a:pt x="1164" y="1345"/>
                    </a:lnTo>
                    <a:lnTo>
                      <a:pt x="1164" y="1347"/>
                    </a:lnTo>
                    <a:lnTo>
                      <a:pt x="1162" y="1347"/>
                    </a:lnTo>
                    <a:lnTo>
                      <a:pt x="1164" y="1347"/>
                    </a:lnTo>
                    <a:lnTo>
                      <a:pt x="1162" y="1349"/>
                    </a:lnTo>
                    <a:lnTo>
                      <a:pt x="1161" y="1349"/>
                    </a:lnTo>
                    <a:lnTo>
                      <a:pt x="1161" y="1347"/>
                    </a:lnTo>
                    <a:lnTo>
                      <a:pt x="1161" y="1345"/>
                    </a:lnTo>
                    <a:lnTo>
                      <a:pt x="1161" y="1347"/>
                    </a:lnTo>
                    <a:lnTo>
                      <a:pt x="1159" y="1347"/>
                    </a:lnTo>
                    <a:lnTo>
                      <a:pt x="1157" y="1345"/>
                    </a:lnTo>
                    <a:lnTo>
                      <a:pt x="1157" y="1344"/>
                    </a:lnTo>
                    <a:lnTo>
                      <a:pt x="1157" y="1342"/>
                    </a:lnTo>
                    <a:lnTo>
                      <a:pt x="1159" y="1342"/>
                    </a:lnTo>
                    <a:lnTo>
                      <a:pt x="1157" y="1342"/>
                    </a:lnTo>
                    <a:lnTo>
                      <a:pt x="1156" y="1342"/>
                    </a:lnTo>
                    <a:lnTo>
                      <a:pt x="1156" y="1340"/>
                    </a:lnTo>
                    <a:lnTo>
                      <a:pt x="1156" y="1339"/>
                    </a:lnTo>
                    <a:lnTo>
                      <a:pt x="1154" y="1339"/>
                    </a:lnTo>
                    <a:lnTo>
                      <a:pt x="1156" y="1339"/>
                    </a:lnTo>
                    <a:lnTo>
                      <a:pt x="1157" y="1337"/>
                    </a:lnTo>
                    <a:lnTo>
                      <a:pt x="1156" y="1337"/>
                    </a:lnTo>
                    <a:lnTo>
                      <a:pt x="1154" y="1337"/>
                    </a:lnTo>
                    <a:lnTo>
                      <a:pt x="1156" y="1337"/>
                    </a:lnTo>
                    <a:lnTo>
                      <a:pt x="1154" y="1337"/>
                    </a:lnTo>
                    <a:lnTo>
                      <a:pt x="1154" y="1335"/>
                    </a:lnTo>
                    <a:lnTo>
                      <a:pt x="1156" y="1337"/>
                    </a:lnTo>
                    <a:lnTo>
                      <a:pt x="1157" y="1337"/>
                    </a:lnTo>
                    <a:lnTo>
                      <a:pt x="1157" y="1335"/>
                    </a:lnTo>
                    <a:lnTo>
                      <a:pt x="1157" y="1337"/>
                    </a:lnTo>
                    <a:lnTo>
                      <a:pt x="1156" y="1337"/>
                    </a:lnTo>
                    <a:lnTo>
                      <a:pt x="1156" y="1335"/>
                    </a:lnTo>
                    <a:lnTo>
                      <a:pt x="1154" y="1335"/>
                    </a:lnTo>
                    <a:lnTo>
                      <a:pt x="1156" y="1335"/>
                    </a:lnTo>
                    <a:lnTo>
                      <a:pt x="1156" y="1333"/>
                    </a:lnTo>
                    <a:lnTo>
                      <a:pt x="1157" y="1333"/>
                    </a:lnTo>
                    <a:lnTo>
                      <a:pt x="1157" y="1332"/>
                    </a:lnTo>
                    <a:lnTo>
                      <a:pt x="1157" y="1333"/>
                    </a:lnTo>
                    <a:lnTo>
                      <a:pt x="1156" y="1333"/>
                    </a:lnTo>
                    <a:lnTo>
                      <a:pt x="1156" y="1335"/>
                    </a:lnTo>
                    <a:lnTo>
                      <a:pt x="1154" y="1335"/>
                    </a:lnTo>
                    <a:lnTo>
                      <a:pt x="1152" y="1335"/>
                    </a:lnTo>
                    <a:lnTo>
                      <a:pt x="1152" y="1333"/>
                    </a:lnTo>
                    <a:lnTo>
                      <a:pt x="1154" y="1333"/>
                    </a:lnTo>
                    <a:lnTo>
                      <a:pt x="1154" y="1332"/>
                    </a:lnTo>
                    <a:lnTo>
                      <a:pt x="1156" y="1332"/>
                    </a:lnTo>
                    <a:lnTo>
                      <a:pt x="1157" y="1332"/>
                    </a:lnTo>
                    <a:lnTo>
                      <a:pt x="1156" y="1332"/>
                    </a:lnTo>
                    <a:lnTo>
                      <a:pt x="1156" y="1330"/>
                    </a:lnTo>
                    <a:lnTo>
                      <a:pt x="1157" y="1330"/>
                    </a:lnTo>
                    <a:lnTo>
                      <a:pt x="1157" y="1328"/>
                    </a:lnTo>
                    <a:lnTo>
                      <a:pt x="1157" y="1330"/>
                    </a:lnTo>
                    <a:lnTo>
                      <a:pt x="1157" y="1328"/>
                    </a:lnTo>
                    <a:lnTo>
                      <a:pt x="1156" y="1330"/>
                    </a:lnTo>
                    <a:lnTo>
                      <a:pt x="1154" y="1330"/>
                    </a:lnTo>
                    <a:lnTo>
                      <a:pt x="1154" y="1332"/>
                    </a:lnTo>
                    <a:lnTo>
                      <a:pt x="1154" y="1330"/>
                    </a:lnTo>
                    <a:lnTo>
                      <a:pt x="1152" y="1330"/>
                    </a:lnTo>
                    <a:lnTo>
                      <a:pt x="1152" y="1328"/>
                    </a:lnTo>
                    <a:lnTo>
                      <a:pt x="1154" y="1328"/>
                    </a:lnTo>
                    <a:lnTo>
                      <a:pt x="1156" y="1327"/>
                    </a:lnTo>
                    <a:lnTo>
                      <a:pt x="1154" y="1327"/>
                    </a:lnTo>
                    <a:lnTo>
                      <a:pt x="1156" y="1327"/>
                    </a:lnTo>
                    <a:lnTo>
                      <a:pt x="1156" y="1325"/>
                    </a:lnTo>
                    <a:lnTo>
                      <a:pt x="1156" y="1327"/>
                    </a:lnTo>
                    <a:lnTo>
                      <a:pt x="1154" y="1327"/>
                    </a:lnTo>
                    <a:lnTo>
                      <a:pt x="1154" y="1328"/>
                    </a:lnTo>
                    <a:lnTo>
                      <a:pt x="1152" y="1328"/>
                    </a:lnTo>
                    <a:lnTo>
                      <a:pt x="1152" y="1330"/>
                    </a:lnTo>
                    <a:lnTo>
                      <a:pt x="1152" y="1328"/>
                    </a:lnTo>
                    <a:lnTo>
                      <a:pt x="1151" y="1327"/>
                    </a:lnTo>
                    <a:lnTo>
                      <a:pt x="1152" y="1325"/>
                    </a:lnTo>
                    <a:lnTo>
                      <a:pt x="1151" y="1325"/>
                    </a:lnTo>
                    <a:lnTo>
                      <a:pt x="1151" y="1327"/>
                    </a:lnTo>
                    <a:lnTo>
                      <a:pt x="1152" y="1325"/>
                    </a:lnTo>
                    <a:lnTo>
                      <a:pt x="1151" y="1327"/>
                    </a:lnTo>
                    <a:lnTo>
                      <a:pt x="1149" y="1328"/>
                    </a:lnTo>
                    <a:lnTo>
                      <a:pt x="1149" y="1327"/>
                    </a:lnTo>
                    <a:lnTo>
                      <a:pt x="1151" y="1325"/>
                    </a:lnTo>
                    <a:lnTo>
                      <a:pt x="1152" y="1323"/>
                    </a:lnTo>
                    <a:lnTo>
                      <a:pt x="1151" y="1323"/>
                    </a:lnTo>
                    <a:lnTo>
                      <a:pt x="1151" y="1325"/>
                    </a:lnTo>
                    <a:lnTo>
                      <a:pt x="1149" y="1325"/>
                    </a:lnTo>
                    <a:lnTo>
                      <a:pt x="1149" y="1323"/>
                    </a:lnTo>
                    <a:lnTo>
                      <a:pt x="1147" y="1323"/>
                    </a:lnTo>
                    <a:lnTo>
                      <a:pt x="1147" y="1322"/>
                    </a:lnTo>
                    <a:lnTo>
                      <a:pt x="1149" y="1320"/>
                    </a:lnTo>
                    <a:lnTo>
                      <a:pt x="1147" y="1320"/>
                    </a:lnTo>
                    <a:lnTo>
                      <a:pt x="1147" y="1318"/>
                    </a:lnTo>
                    <a:lnTo>
                      <a:pt x="1147" y="1316"/>
                    </a:lnTo>
                    <a:lnTo>
                      <a:pt x="1149" y="1316"/>
                    </a:lnTo>
                    <a:lnTo>
                      <a:pt x="1151" y="1315"/>
                    </a:lnTo>
                    <a:lnTo>
                      <a:pt x="1151" y="1316"/>
                    </a:lnTo>
                    <a:lnTo>
                      <a:pt x="1152" y="1315"/>
                    </a:lnTo>
                    <a:lnTo>
                      <a:pt x="1152" y="1316"/>
                    </a:lnTo>
                    <a:lnTo>
                      <a:pt x="1151" y="1316"/>
                    </a:lnTo>
                    <a:lnTo>
                      <a:pt x="1151" y="1318"/>
                    </a:lnTo>
                    <a:lnTo>
                      <a:pt x="1149" y="1318"/>
                    </a:lnTo>
                    <a:lnTo>
                      <a:pt x="1149" y="1320"/>
                    </a:lnTo>
                    <a:lnTo>
                      <a:pt x="1149" y="1318"/>
                    </a:lnTo>
                    <a:lnTo>
                      <a:pt x="1151" y="1318"/>
                    </a:lnTo>
                    <a:lnTo>
                      <a:pt x="1152" y="1316"/>
                    </a:lnTo>
                    <a:lnTo>
                      <a:pt x="1152" y="1318"/>
                    </a:lnTo>
                    <a:lnTo>
                      <a:pt x="1151" y="1318"/>
                    </a:lnTo>
                    <a:lnTo>
                      <a:pt x="1152" y="1318"/>
                    </a:lnTo>
                    <a:lnTo>
                      <a:pt x="1152" y="1320"/>
                    </a:lnTo>
                    <a:lnTo>
                      <a:pt x="1152" y="1322"/>
                    </a:lnTo>
                    <a:lnTo>
                      <a:pt x="1154" y="1322"/>
                    </a:lnTo>
                    <a:lnTo>
                      <a:pt x="1154" y="1323"/>
                    </a:lnTo>
                    <a:lnTo>
                      <a:pt x="1156" y="1325"/>
                    </a:lnTo>
                    <a:lnTo>
                      <a:pt x="1157" y="1325"/>
                    </a:lnTo>
                    <a:lnTo>
                      <a:pt x="1157" y="1327"/>
                    </a:lnTo>
                    <a:lnTo>
                      <a:pt x="1159" y="1327"/>
                    </a:lnTo>
                    <a:lnTo>
                      <a:pt x="1157" y="1327"/>
                    </a:lnTo>
                    <a:lnTo>
                      <a:pt x="1157" y="1325"/>
                    </a:lnTo>
                    <a:lnTo>
                      <a:pt x="1156" y="1325"/>
                    </a:lnTo>
                    <a:lnTo>
                      <a:pt x="1156" y="1323"/>
                    </a:lnTo>
                    <a:lnTo>
                      <a:pt x="1156" y="1325"/>
                    </a:lnTo>
                    <a:lnTo>
                      <a:pt x="1157" y="1323"/>
                    </a:lnTo>
                    <a:lnTo>
                      <a:pt x="1159" y="1323"/>
                    </a:lnTo>
                    <a:lnTo>
                      <a:pt x="1159" y="1325"/>
                    </a:lnTo>
                    <a:lnTo>
                      <a:pt x="1161" y="1323"/>
                    </a:lnTo>
                    <a:lnTo>
                      <a:pt x="1162" y="1323"/>
                    </a:lnTo>
                    <a:lnTo>
                      <a:pt x="1164" y="1323"/>
                    </a:lnTo>
                    <a:lnTo>
                      <a:pt x="1162" y="1323"/>
                    </a:lnTo>
                    <a:lnTo>
                      <a:pt x="1161" y="1323"/>
                    </a:lnTo>
                    <a:lnTo>
                      <a:pt x="1159" y="1323"/>
                    </a:lnTo>
                    <a:lnTo>
                      <a:pt x="1157" y="1323"/>
                    </a:lnTo>
                    <a:lnTo>
                      <a:pt x="1156" y="1323"/>
                    </a:lnTo>
                    <a:lnTo>
                      <a:pt x="1157" y="1323"/>
                    </a:lnTo>
                    <a:lnTo>
                      <a:pt x="1156" y="1323"/>
                    </a:lnTo>
                    <a:lnTo>
                      <a:pt x="1156" y="1322"/>
                    </a:lnTo>
                    <a:lnTo>
                      <a:pt x="1154" y="1322"/>
                    </a:lnTo>
                    <a:lnTo>
                      <a:pt x="1156" y="1322"/>
                    </a:lnTo>
                    <a:lnTo>
                      <a:pt x="1154" y="1322"/>
                    </a:lnTo>
                    <a:lnTo>
                      <a:pt x="1154" y="1320"/>
                    </a:lnTo>
                    <a:lnTo>
                      <a:pt x="1154" y="1318"/>
                    </a:lnTo>
                    <a:lnTo>
                      <a:pt x="1156" y="1320"/>
                    </a:lnTo>
                    <a:lnTo>
                      <a:pt x="1154" y="1318"/>
                    </a:lnTo>
                    <a:lnTo>
                      <a:pt x="1152" y="1318"/>
                    </a:lnTo>
                    <a:lnTo>
                      <a:pt x="1152" y="1316"/>
                    </a:lnTo>
                    <a:lnTo>
                      <a:pt x="1154" y="1316"/>
                    </a:lnTo>
                    <a:lnTo>
                      <a:pt x="1154" y="1315"/>
                    </a:lnTo>
                    <a:lnTo>
                      <a:pt x="1152" y="1315"/>
                    </a:lnTo>
                    <a:lnTo>
                      <a:pt x="1154" y="1315"/>
                    </a:lnTo>
                    <a:lnTo>
                      <a:pt x="1156" y="1315"/>
                    </a:lnTo>
                    <a:lnTo>
                      <a:pt x="1156" y="1316"/>
                    </a:lnTo>
                    <a:lnTo>
                      <a:pt x="1156" y="1315"/>
                    </a:lnTo>
                    <a:lnTo>
                      <a:pt x="1156" y="1316"/>
                    </a:lnTo>
                    <a:lnTo>
                      <a:pt x="1157" y="1316"/>
                    </a:lnTo>
                    <a:lnTo>
                      <a:pt x="1156" y="1316"/>
                    </a:lnTo>
                    <a:lnTo>
                      <a:pt x="1157" y="1316"/>
                    </a:lnTo>
                    <a:lnTo>
                      <a:pt x="1157" y="1318"/>
                    </a:lnTo>
                    <a:lnTo>
                      <a:pt x="1157" y="1320"/>
                    </a:lnTo>
                    <a:lnTo>
                      <a:pt x="1159" y="1320"/>
                    </a:lnTo>
                    <a:lnTo>
                      <a:pt x="1157" y="1320"/>
                    </a:lnTo>
                    <a:lnTo>
                      <a:pt x="1159" y="1320"/>
                    </a:lnTo>
                    <a:lnTo>
                      <a:pt x="1159" y="1322"/>
                    </a:lnTo>
                    <a:lnTo>
                      <a:pt x="1159" y="1320"/>
                    </a:lnTo>
                    <a:lnTo>
                      <a:pt x="1161" y="1320"/>
                    </a:lnTo>
                    <a:lnTo>
                      <a:pt x="1162" y="1320"/>
                    </a:lnTo>
                    <a:lnTo>
                      <a:pt x="1161" y="1320"/>
                    </a:lnTo>
                    <a:lnTo>
                      <a:pt x="1159" y="1320"/>
                    </a:lnTo>
                    <a:lnTo>
                      <a:pt x="1157" y="1318"/>
                    </a:lnTo>
                    <a:lnTo>
                      <a:pt x="1159" y="1318"/>
                    </a:lnTo>
                    <a:lnTo>
                      <a:pt x="1159" y="1316"/>
                    </a:lnTo>
                    <a:lnTo>
                      <a:pt x="1157" y="1318"/>
                    </a:lnTo>
                    <a:lnTo>
                      <a:pt x="1157" y="1316"/>
                    </a:lnTo>
                    <a:lnTo>
                      <a:pt x="1157" y="1315"/>
                    </a:lnTo>
                    <a:lnTo>
                      <a:pt x="1157" y="1316"/>
                    </a:lnTo>
                    <a:lnTo>
                      <a:pt x="1159" y="1316"/>
                    </a:lnTo>
                    <a:lnTo>
                      <a:pt x="1161" y="1318"/>
                    </a:lnTo>
                    <a:lnTo>
                      <a:pt x="1161" y="1320"/>
                    </a:lnTo>
                    <a:lnTo>
                      <a:pt x="1162" y="1320"/>
                    </a:lnTo>
                    <a:lnTo>
                      <a:pt x="1161" y="1318"/>
                    </a:lnTo>
                    <a:lnTo>
                      <a:pt x="1159" y="1316"/>
                    </a:lnTo>
                    <a:lnTo>
                      <a:pt x="1161" y="1316"/>
                    </a:lnTo>
                    <a:lnTo>
                      <a:pt x="1159" y="1316"/>
                    </a:lnTo>
                    <a:lnTo>
                      <a:pt x="1159" y="1315"/>
                    </a:lnTo>
                    <a:lnTo>
                      <a:pt x="1161" y="1315"/>
                    </a:lnTo>
                    <a:lnTo>
                      <a:pt x="1161" y="1316"/>
                    </a:lnTo>
                    <a:lnTo>
                      <a:pt x="1161" y="1315"/>
                    </a:lnTo>
                    <a:lnTo>
                      <a:pt x="1162" y="1316"/>
                    </a:lnTo>
                    <a:lnTo>
                      <a:pt x="1164" y="1316"/>
                    </a:lnTo>
                    <a:lnTo>
                      <a:pt x="1164" y="1318"/>
                    </a:lnTo>
                    <a:lnTo>
                      <a:pt x="1164" y="1316"/>
                    </a:lnTo>
                    <a:lnTo>
                      <a:pt x="1162" y="1316"/>
                    </a:lnTo>
                    <a:lnTo>
                      <a:pt x="1162" y="1315"/>
                    </a:lnTo>
                    <a:lnTo>
                      <a:pt x="1164" y="1315"/>
                    </a:lnTo>
                    <a:lnTo>
                      <a:pt x="1162" y="1315"/>
                    </a:lnTo>
                    <a:lnTo>
                      <a:pt x="1161" y="1315"/>
                    </a:lnTo>
                    <a:lnTo>
                      <a:pt x="1161" y="1313"/>
                    </a:lnTo>
                    <a:lnTo>
                      <a:pt x="1162" y="1313"/>
                    </a:lnTo>
                    <a:lnTo>
                      <a:pt x="1162" y="1315"/>
                    </a:lnTo>
                    <a:lnTo>
                      <a:pt x="1162" y="1313"/>
                    </a:lnTo>
                    <a:lnTo>
                      <a:pt x="1161" y="1313"/>
                    </a:lnTo>
                    <a:lnTo>
                      <a:pt x="1161" y="1311"/>
                    </a:lnTo>
                    <a:lnTo>
                      <a:pt x="1162" y="1313"/>
                    </a:lnTo>
                    <a:lnTo>
                      <a:pt x="1162" y="1315"/>
                    </a:lnTo>
                    <a:lnTo>
                      <a:pt x="1164" y="1315"/>
                    </a:lnTo>
                    <a:lnTo>
                      <a:pt x="1164" y="1316"/>
                    </a:lnTo>
                    <a:lnTo>
                      <a:pt x="1166" y="1318"/>
                    </a:lnTo>
                    <a:lnTo>
                      <a:pt x="1168" y="1318"/>
                    </a:lnTo>
                    <a:lnTo>
                      <a:pt x="1168" y="1320"/>
                    </a:lnTo>
                    <a:lnTo>
                      <a:pt x="1166" y="1322"/>
                    </a:lnTo>
                    <a:lnTo>
                      <a:pt x="1168" y="1322"/>
                    </a:lnTo>
                    <a:lnTo>
                      <a:pt x="1168" y="1320"/>
                    </a:lnTo>
                    <a:lnTo>
                      <a:pt x="1168" y="1318"/>
                    </a:lnTo>
                    <a:lnTo>
                      <a:pt x="1168" y="1316"/>
                    </a:lnTo>
                    <a:lnTo>
                      <a:pt x="1168" y="1315"/>
                    </a:lnTo>
                    <a:lnTo>
                      <a:pt x="1168" y="1313"/>
                    </a:lnTo>
                    <a:lnTo>
                      <a:pt x="1169" y="1313"/>
                    </a:lnTo>
                    <a:lnTo>
                      <a:pt x="1169" y="1315"/>
                    </a:lnTo>
                    <a:lnTo>
                      <a:pt x="1169" y="1313"/>
                    </a:lnTo>
                    <a:lnTo>
                      <a:pt x="1168" y="1313"/>
                    </a:lnTo>
                    <a:lnTo>
                      <a:pt x="1168" y="1311"/>
                    </a:lnTo>
                    <a:lnTo>
                      <a:pt x="1169" y="1311"/>
                    </a:lnTo>
                    <a:lnTo>
                      <a:pt x="1171" y="1311"/>
                    </a:lnTo>
                    <a:lnTo>
                      <a:pt x="1171" y="1313"/>
                    </a:lnTo>
                    <a:lnTo>
                      <a:pt x="1171" y="1311"/>
                    </a:lnTo>
                    <a:lnTo>
                      <a:pt x="1169" y="1311"/>
                    </a:lnTo>
                    <a:lnTo>
                      <a:pt x="1169" y="1310"/>
                    </a:lnTo>
                    <a:lnTo>
                      <a:pt x="1169" y="1308"/>
                    </a:lnTo>
                    <a:lnTo>
                      <a:pt x="1169" y="1306"/>
                    </a:lnTo>
                    <a:lnTo>
                      <a:pt x="1171" y="1306"/>
                    </a:lnTo>
                    <a:lnTo>
                      <a:pt x="1169" y="1306"/>
                    </a:lnTo>
                    <a:lnTo>
                      <a:pt x="1169" y="1305"/>
                    </a:lnTo>
                    <a:lnTo>
                      <a:pt x="1168" y="1305"/>
                    </a:lnTo>
                    <a:lnTo>
                      <a:pt x="1168" y="1303"/>
                    </a:lnTo>
                    <a:lnTo>
                      <a:pt x="1166" y="1303"/>
                    </a:lnTo>
                    <a:lnTo>
                      <a:pt x="1166" y="1301"/>
                    </a:lnTo>
                    <a:lnTo>
                      <a:pt x="1168" y="1301"/>
                    </a:lnTo>
                    <a:lnTo>
                      <a:pt x="1169" y="1301"/>
                    </a:lnTo>
                    <a:lnTo>
                      <a:pt x="1169" y="1299"/>
                    </a:lnTo>
                    <a:lnTo>
                      <a:pt x="1169" y="1301"/>
                    </a:lnTo>
                    <a:lnTo>
                      <a:pt x="1171" y="1301"/>
                    </a:lnTo>
                    <a:lnTo>
                      <a:pt x="1171" y="1303"/>
                    </a:lnTo>
                    <a:lnTo>
                      <a:pt x="1173" y="1303"/>
                    </a:lnTo>
                    <a:lnTo>
                      <a:pt x="1173" y="1305"/>
                    </a:lnTo>
                    <a:lnTo>
                      <a:pt x="1171" y="1303"/>
                    </a:lnTo>
                    <a:lnTo>
                      <a:pt x="1171" y="1301"/>
                    </a:lnTo>
                    <a:lnTo>
                      <a:pt x="1169" y="1299"/>
                    </a:lnTo>
                    <a:lnTo>
                      <a:pt x="1171" y="1299"/>
                    </a:lnTo>
                    <a:lnTo>
                      <a:pt x="1171" y="1298"/>
                    </a:lnTo>
                    <a:lnTo>
                      <a:pt x="1171" y="1299"/>
                    </a:lnTo>
                    <a:lnTo>
                      <a:pt x="1169" y="1299"/>
                    </a:lnTo>
                    <a:lnTo>
                      <a:pt x="1168" y="1299"/>
                    </a:lnTo>
                    <a:lnTo>
                      <a:pt x="1168" y="1301"/>
                    </a:lnTo>
                    <a:lnTo>
                      <a:pt x="1166" y="1301"/>
                    </a:lnTo>
                    <a:lnTo>
                      <a:pt x="1164" y="1301"/>
                    </a:lnTo>
                    <a:lnTo>
                      <a:pt x="1164" y="1299"/>
                    </a:lnTo>
                    <a:lnTo>
                      <a:pt x="1166" y="1299"/>
                    </a:lnTo>
                    <a:lnTo>
                      <a:pt x="1168" y="1299"/>
                    </a:lnTo>
                    <a:lnTo>
                      <a:pt x="1166" y="1299"/>
                    </a:lnTo>
                    <a:lnTo>
                      <a:pt x="1164" y="1299"/>
                    </a:lnTo>
                    <a:lnTo>
                      <a:pt x="1164" y="1298"/>
                    </a:lnTo>
                    <a:lnTo>
                      <a:pt x="1166" y="1298"/>
                    </a:lnTo>
                    <a:lnTo>
                      <a:pt x="1168" y="1298"/>
                    </a:lnTo>
                    <a:lnTo>
                      <a:pt x="1169" y="1296"/>
                    </a:lnTo>
                    <a:lnTo>
                      <a:pt x="1168" y="1296"/>
                    </a:lnTo>
                    <a:lnTo>
                      <a:pt x="1168" y="1298"/>
                    </a:lnTo>
                    <a:lnTo>
                      <a:pt x="1168" y="1296"/>
                    </a:lnTo>
                    <a:lnTo>
                      <a:pt x="1168" y="1298"/>
                    </a:lnTo>
                    <a:lnTo>
                      <a:pt x="1166" y="1298"/>
                    </a:lnTo>
                    <a:lnTo>
                      <a:pt x="1164" y="1298"/>
                    </a:lnTo>
                    <a:lnTo>
                      <a:pt x="1162" y="1296"/>
                    </a:lnTo>
                    <a:lnTo>
                      <a:pt x="1164" y="1296"/>
                    </a:lnTo>
                    <a:lnTo>
                      <a:pt x="1166" y="1294"/>
                    </a:lnTo>
                    <a:lnTo>
                      <a:pt x="1168" y="1294"/>
                    </a:lnTo>
                    <a:lnTo>
                      <a:pt x="1169" y="1294"/>
                    </a:lnTo>
                    <a:lnTo>
                      <a:pt x="1168" y="1294"/>
                    </a:lnTo>
                    <a:lnTo>
                      <a:pt x="1169" y="1293"/>
                    </a:lnTo>
                    <a:lnTo>
                      <a:pt x="1168" y="1293"/>
                    </a:lnTo>
                    <a:lnTo>
                      <a:pt x="1168" y="1294"/>
                    </a:lnTo>
                    <a:lnTo>
                      <a:pt x="1166" y="1294"/>
                    </a:lnTo>
                    <a:lnTo>
                      <a:pt x="1164" y="1296"/>
                    </a:lnTo>
                    <a:lnTo>
                      <a:pt x="1162" y="1296"/>
                    </a:lnTo>
                    <a:lnTo>
                      <a:pt x="1162" y="1294"/>
                    </a:lnTo>
                    <a:lnTo>
                      <a:pt x="1162" y="1293"/>
                    </a:lnTo>
                    <a:lnTo>
                      <a:pt x="1162" y="1291"/>
                    </a:lnTo>
                    <a:lnTo>
                      <a:pt x="1164" y="1291"/>
                    </a:lnTo>
                    <a:lnTo>
                      <a:pt x="1164" y="1293"/>
                    </a:lnTo>
                    <a:lnTo>
                      <a:pt x="1166" y="1293"/>
                    </a:lnTo>
                    <a:lnTo>
                      <a:pt x="1168" y="1294"/>
                    </a:lnTo>
                    <a:lnTo>
                      <a:pt x="1168" y="1293"/>
                    </a:lnTo>
                    <a:lnTo>
                      <a:pt x="1166" y="1293"/>
                    </a:lnTo>
                    <a:lnTo>
                      <a:pt x="1164" y="1291"/>
                    </a:lnTo>
                    <a:lnTo>
                      <a:pt x="1166" y="1291"/>
                    </a:lnTo>
                    <a:lnTo>
                      <a:pt x="1166" y="1289"/>
                    </a:lnTo>
                    <a:lnTo>
                      <a:pt x="1164" y="1291"/>
                    </a:lnTo>
                    <a:lnTo>
                      <a:pt x="1162" y="1289"/>
                    </a:lnTo>
                    <a:lnTo>
                      <a:pt x="1164" y="1289"/>
                    </a:lnTo>
                    <a:lnTo>
                      <a:pt x="1166" y="1289"/>
                    </a:lnTo>
                    <a:lnTo>
                      <a:pt x="1168" y="1288"/>
                    </a:lnTo>
                    <a:lnTo>
                      <a:pt x="1168" y="1289"/>
                    </a:lnTo>
                    <a:lnTo>
                      <a:pt x="1168" y="1288"/>
                    </a:lnTo>
                    <a:lnTo>
                      <a:pt x="1169" y="1288"/>
                    </a:lnTo>
                    <a:lnTo>
                      <a:pt x="1168" y="1288"/>
                    </a:lnTo>
                    <a:lnTo>
                      <a:pt x="1169" y="1286"/>
                    </a:lnTo>
                    <a:lnTo>
                      <a:pt x="1169" y="1288"/>
                    </a:lnTo>
                    <a:lnTo>
                      <a:pt x="1169" y="1286"/>
                    </a:lnTo>
                    <a:lnTo>
                      <a:pt x="1171" y="1286"/>
                    </a:lnTo>
                    <a:lnTo>
                      <a:pt x="1171" y="1288"/>
                    </a:lnTo>
                    <a:lnTo>
                      <a:pt x="1171" y="1289"/>
                    </a:lnTo>
                    <a:lnTo>
                      <a:pt x="1169" y="1288"/>
                    </a:lnTo>
                    <a:lnTo>
                      <a:pt x="1169" y="1289"/>
                    </a:lnTo>
                    <a:lnTo>
                      <a:pt x="1171" y="1291"/>
                    </a:lnTo>
                    <a:lnTo>
                      <a:pt x="1171" y="1289"/>
                    </a:lnTo>
                    <a:lnTo>
                      <a:pt x="1171" y="1288"/>
                    </a:lnTo>
                    <a:lnTo>
                      <a:pt x="1171" y="1286"/>
                    </a:lnTo>
                    <a:lnTo>
                      <a:pt x="1173" y="1286"/>
                    </a:lnTo>
                    <a:lnTo>
                      <a:pt x="1173" y="1284"/>
                    </a:lnTo>
                    <a:lnTo>
                      <a:pt x="1174" y="1286"/>
                    </a:lnTo>
                    <a:close/>
                    <a:moveTo>
                      <a:pt x="1264" y="1498"/>
                    </a:moveTo>
                    <a:lnTo>
                      <a:pt x="1266" y="1498"/>
                    </a:lnTo>
                    <a:lnTo>
                      <a:pt x="1266" y="1500"/>
                    </a:lnTo>
                    <a:lnTo>
                      <a:pt x="1268" y="1500"/>
                    </a:lnTo>
                    <a:lnTo>
                      <a:pt x="1270" y="1500"/>
                    </a:lnTo>
                    <a:lnTo>
                      <a:pt x="1271" y="1500"/>
                    </a:lnTo>
                    <a:lnTo>
                      <a:pt x="1273" y="1500"/>
                    </a:lnTo>
                    <a:lnTo>
                      <a:pt x="1275" y="1500"/>
                    </a:lnTo>
                    <a:lnTo>
                      <a:pt x="1276" y="1500"/>
                    </a:lnTo>
                    <a:lnTo>
                      <a:pt x="1278" y="1498"/>
                    </a:lnTo>
                    <a:lnTo>
                      <a:pt x="1280" y="1498"/>
                    </a:lnTo>
                    <a:lnTo>
                      <a:pt x="1281" y="1497"/>
                    </a:lnTo>
                    <a:lnTo>
                      <a:pt x="1281" y="1498"/>
                    </a:lnTo>
                    <a:lnTo>
                      <a:pt x="1281" y="1500"/>
                    </a:lnTo>
                    <a:lnTo>
                      <a:pt x="1283" y="1500"/>
                    </a:lnTo>
                    <a:lnTo>
                      <a:pt x="1283" y="1502"/>
                    </a:lnTo>
                    <a:lnTo>
                      <a:pt x="1285" y="1502"/>
                    </a:lnTo>
                    <a:lnTo>
                      <a:pt x="1283" y="1504"/>
                    </a:lnTo>
                    <a:lnTo>
                      <a:pt x="1285" y="1505"/>
                    </a:lnTo>
                    <a:lnTo>
                      <a:pt x="1283" y="1507"/>
                    </a:lnTo>
                    <a:lnTo>
                      <a:pt x="1285" y="1505"/>
                    </a:lnTo>
                    <a:lnTo>
                      <a:pt x="1285" y="1507"/>
                    </a:lnTo>
                    <a:lnTo>
                      <a:pt x="1283" y="1507"/>
                    </a:lnTo>
                    <a:lnTo>
                      <a:pt x="1283" y="1509"/>
                    </a:lnTo>
                    <a:lnTo>
                      <a:pt x="1281" y="1509"/>
                    </a:lnTo>
                    <a:lnTo>
                      <a:pt x="1280" y="1509"/>
                    </a:lnTo>
                    <a:lnTo>
                      <a:pt x="1278" y="1510"/>
                    </a:lnTo>
                    <a:lnTo>
                      <a:pt x="1276" y="1510"/>
                    </a:lnTo>
                    <a:lnTo>
                      <a:pt x="1276" y="1512"/>
                    </a:lnTo>
                    <a:lnTo>
                      <a:pt x="1275" y="1512"/>
                    </a:lnTo>
                    <a:lnTo>
                      <a:pt x="1275" y="1514"/>
                    </a:lnTo>
                    <a:lnTo>
                      <a:pt x="1273" y="1514"/>
                    </a:lnTo>
                    <a:lnTo>
                      <a:pt x="1271" y="1515"/>
                    </a:lnTo>
                    <a:lnTo>
                      <a:pt x="1270" y="1515"/>
                    </a:lnTo>
                    <a:lnTo>
                      <a:pt x="1270" y="1517"/>
                    </a:lnTo>
                    <a:lnTo>
                      <a:pt x="1268" y="1517"/>
                    </a:lnTo>
                    <a:lnTo>
                      <a:pt x="1266" y="1517"/>
                    </a:lnTo>
                    <a:lnTo>
                      <a:pt x="1266" y="1519"/>
                    </a:lnTo>
                    <a:lnTo>
                      <a:pt x="1266" y="1521"/>
                    </a:lnTo>
                    <a:lnTo>
                      <a:pt x="1264" y="1521"/>
                    </a:lnTo>
                    <a:lnTo>
                      <a:pt x="1264" y="1522"/>
                    </a:lnTo>
                    <a:lnTo>
                      <a:pt x="1263" y="1524"/>
                    </a:lnTo>
                    <a:lnTo>
                      <a:pt x="1263" y="1526"/>
                    </a:lnTo>
                    <a:lnTo>
                      <a:pt x="1261" y="1524"/>
                    </a:lnTo>
                    <a:lnTo>
                      <a:pt x="1261" y="1526"/>
                    </a:lnTo>
                    <a:lnTo>
                      <a:pt x="1259" y="1526"/>
                    </a:lnTo>
                    <a:lnTo>
                      <a:pt x="1259" y="1524"/>
                    </a:lnTo>
                    <a:lnTo>
                      <a:pt x="1258" y="1524"/>
                    </a:lnTo>
                    <a:lnTo>
                      <a:pt x="1258" y="1522"/>
                    </a:lnTo>
                    <a:lnTo>
                      <a:pt x="1256" y="1521"/>
                    </a:lnTo>
                    <a:lnTo>
                      <a:pt x="1254" y="1521"/>
                    </a:lnTo>
                    <a:lnTo>
                      <a:pt x="1253" y="1519"/>
                    </a:lnTo>
                    <a:lnTo>
                      <a:pt x="1251" y="1519"/>
                    </a:lnTo>
                    <a:lnTo>
                      <a:pt x="1253" y="1521"/>
                    </a:lnTo>
                    <a:lnTo>
                      <a:pt x="1254" y="1521"/>
                    </a:lnTo>
                    <a:lnTo>
                      <a:pt x="1254" y="1522"/>
                    </a:lnTo>
                    <a:lnTo>
                      <a:pt x="1256" y="1522"/>
                    </a:lnTo>
                    <a:lnTo>
                      <a:pt x="1254" y="1522"/>
                    </a:lnTo>
                    <a:lnTo>
                      <a:pt x="1256" y="1524"/>
                    </a:lnTo>
                    <a:lnTo>
                      <a:pt x="1254" y="1524"/>
                    </a:lnTo>
                    <a:lnTo>
                      <a:pt x="1254" y="1522"/>
                    </a:lnTo>
                    <a:lnTo>
                      <a:pt x="1253" y="1522"/>
                    </a:lnTo>
                    <a:lnTo>
                      <a:pt x="1253" y="1521"/>
                    </a:lnTo>
                    <a:lnTo>
                      <a:pt x="1251" y="1521"/>
                    </a:lnTo>
                    <a:lnTo>
                      <a:pt x="1251" y="1522"/>
                    </a:lnTo>
                    <a:lnTo>
                      <a:pt x="1251" y="1521"/>
                    </a:lnTo>
                    <a:lnTo>
                      <a:pt x="1249" y="1521"/>
                    </a:lnTo>
                    <a:lnTo>
                      <a:pt x="1247" y="1521"/>
                    </a:lnTo>
                    <a:lnTo>
                      <a:pt x="1247" y="1522"/>
                    </a:lnTo>
                    <a:lnTo>
                      <a:pt x="1247" y="1521"/>
                    </a:lnTo>
                    <a:lnTo>
                      <a:pt x="1246" y="1522"/>
                    </a:lnTo>
                    <a:lnTo>
                      <a:pt x="1244" y="1522"/>
                    </a:lnTo>
                    <a:lnTo>
                      <a:pt x="1246" y="1522"/>
                    </a:lnTo>
                    <a:lnTo>
                      <a:pt x="1247" y="1522"/>
                    </a:lnTo>
                    <a:lnTo>
                      <a:pt x="1249" y="1522"/>
                    </a:lnTo>
                    <a:lnTo>
                      <a:pt x="1251" y="1522"/>
                    </a:lnTo>
                    <a:lnTo>
                      <a:pt x="1253" y="1524"/>
                    </a:lnTo>
                    <a:lnTo>
                      <a:pt x="1253" y="1526"/>
                    </a:lnTo>
                    <a:lnTo>
                      <a:pt x="1254" y="1526"/>
                    </a:lnTo>
                    <a:lnTo>
                      <a:pt x="1256" y="1526"/>
                    </a:lnTo>
                    <a:lnTo>
                      <a:pt x="1256" y="1527"/>
                    </a:lnTo>
                    <a:lnTo>
                      <a:pt x="1258" y="1529"/>
                    </a:lnTo>
                    <a:lnTo>
                      <a:pt x="1256" y="1529"/>
                    </a:lnTo>
                    <a:lnTo>
                      <a:pt x="1254" y="1529"/>
                    </a:lnTo>
                    <a:lnTo>
                      <a:pt x="1253" y="1529"/>
                    </a:lnTo>
                    <a:lnTo>
                      <a:pt x="1251" y="1529"/>
                    </a:lnTo>
                    <a:lnTo>
                      <a:pt x="1251" y="1527"/>
                    </a:lnTo>
                    <a:lnTo>
                      <a:pt x="1251" y="1529"/>
                    </a:lnTo>
                    <a:lnTo>
                      <a:pt x="1253" y="1529"/>
                    </a:lnTo>
                    <a:lnTo>
                      <a:pt x="1253" y="1531"/>
                    </a:lnTo>
                    <a:lnTo>
                      <a:pt x="1251" y="1531"/>
                    </a:lnTo>
                    <a:lnTo>
                      <a:pt x="1249" y="1531"/>
                    </a:lnTo>
                    <a:lnTo>
                      <a:pt x="1249" y="1529"/>
                    </a:lnTo>
                    <a:lnTo>
                      <a:pt x="1249" y="1527"/>
                    </a:lnTo>
                    <a:lnTo>
                      <a:pt x="1249" y="1529"/>
                    </a:lnTo>
                    <a:lnTo>
                      <a:pt x="1247" y="1529"/>
                    </a:lnTo>
                    <a:lnTo>
                      <a:pt x="1246" y="1527"/>
                    </a:lnTo>
                    <a:lnTo>
                      <a:pt x="1246" y="1529"/>
                    </a:lnTo>
                    <a:lnTo>
                      <a:pt x="1247" y="1529"/>
                    </a:lnTo>
                    <a:lnTo>
                      <a:pt x="1249" y="1531"/>
                    </a:lnTo>
                    <a:lnTo>
                      <a:pt x="1247" y="1531"/>
                    </a:lnTo>
                    <a:lnTo>
                      <a:pt x="1246" y="1529"/>
                    </a:lnTo>
                    <a:lnTo>
                      <a:pt x="1244" y="1529"/>
                    </a:lnTo>
                    <a:lnTo>
                      <a:pt x="1242" y="1529"/>
                    </a:lnTo>
                    <a:lnTo>
                      <a:pt x="1244" y="1529"/>
                    </a:lnTo>
                    <a:lnTo>
                      <a:pt x="1246" y="1531"/>
                    </a:lnTo>
                    <a:lnTo>
                      <a:pt x="1247" y="1531"/>
                    </a:lnTo>
                    <a:lnTo>
                      <a:pt x="1247" y="1532"/>
                    </a:lnTo>
                    <a:lnTo>
                      <a:pt x="1249" y="1531"/>
                    </a:lnTo>
                    <a:lnTo>
                      <a:pt x="1249" y="1532"/>
                    </a:lnTo>
                    <a:lnTo>
                      <a:pt x="1247" y="1532"/>
                    </a:lnTo>
                    <a:lnTo>
                      <a:pt x="1249" y="1534"/>
                    </a:lnTo>
                    <a:lnTo>
                      <a:pt x="1247" y="1534"/>
                    </a:lnTo>
                    <a:lnTo>
                      <a:pt x="1246" y="1534"/>
                    </a:lnTo>
                    <a:lnTo>
                      <a:pt x="1246" y="1532"/>
                    </a:lnTo>
                    <a:lnTo>
                      <a:pt x="1246" y="1534"/>
                    </a:lnTo>
                    <a:lnTo>
                      <a:pt x="1246" y="1536"/>
                    </a:lnTo>
                    <a:lnTo>
                      <a:pt x="1246" y="1538"/>
                    </a:lnTo>
                    <a:lnTo>
                      <a:pt x="1246" y="1539"/>
                    </a:lnTo>
                    <a:lnTo>
                      <a:pt x="1244" y="1539"/>
                    </a:lnTo>
                    <a:lnTo>
                      <a:pt x="1242" y="1539"/>
                    </a:lnTo>
                    <a:lnTo>
                      <a:pt x="1242" y="1538"/>
                    </a:lnTo>
                    <a:lnTo>
                      <a:pt x="1241" y="1538"/>
                    </a:lnTo>
                    <a:lnTo>
                      <a:pt x="1242" y="1538"/>
                    </a:lnTo>
                    <a:lnTo>
                      <a:pt x="1242" y="1539"/>
                    </a:lnTo>
                    <a:lnTo>
                      <a:pt x="1244" y="1539"/>
                    </a:lnTo>
                    <a:lnTo>
                      <a:pt x="1244" y="1541"/>
                    </a:lnTo>
                    <a:lnTo>
                      <a:pt x="1242" y="1543"/>
                    </a:lnTo>
                    <a:lnTo>
                      <a:pt x="1244" y="1541"/>
                    </a:lnTo>
                    <a:lnTo>
                      <a:pt x="1246" y="1539"/>
                    </a:lnTo>
                    <a:lnTo>
                      <a:pt x="1246" y="1541"/>
                    </a:lnTo>
                    <a:lnTo>
                      <a:pt x="1247" y="1541"/>
                    </a:lnTo>
                    <a:lnTo>
                      <a:pt x="1247" y="1543"/>
                    </a:lnTo>
                    <a:lnTo>
                      <a:pt x="1249" y="1544"/>
                    </a:lnTo>
                    <a:lnTo>
                      <a:pt x="1249" y="1546"/>
                    </a:lnTo>
                    <a:lnTo>
                      <a:pt x="1251" y="1546"/>
                    </a:lnTo>
                    <a:lnTo>
                      <a:pt x="1251" y="1548"/>
                    </a:lnTo>
                    <a:lnTo>
                      <a:pt x="1249" y="1548"/>
                    </a:lnTo>
                    <a:lnTo>
                      <a:pt x="1247" y="1548"/>
                    </a:lnTo>
                    <a:lnTo>
                      <a:pt x="1246" y="1548"/>
                    </a:lnTo>
                    <a:lnTo>
                      <a:pt x="1244" y="1548"/>
                    </a:lnTo>
                    <a:lnTo>
                      <a:pt x="1246" y="1548"/>
                    </a:lnTo>
                    <a:lnTo>
                      <a:pt x="1246" y="1546"/>
                    </a:lnTo>
                    <a:lnTo>
                      <a:pt x="1244" y="1546"/>
                    </a:lnTo>
                    <a:lnTo>
                      <a:pt x="1242" y="1546"/>
                    </a:lnTo>
                    <a:lnTo>
                      <a:pt x="1242" y="1544"/>
                    </a:lnTo>
                    <a:lnTo>
                      <a:pt x="1244" y="1544"/>
                    </a:lnTo>
                    <a:lnTo>
                      <a:pt x="1242" y="1543"/>
                    </a:lnTo>
                    <a:lnTo>
                      <a:pt x="1242" y="1544"/>
                    </a:lnTo>
                    <a:lnTo>
                      <a:pt x="1241" y="1544"/>
                    </a:lnTo>
                    <a:lnTo>
                      <a:pt x="1239" y="1543"/>
                    </a:lnTo>
                    <a:lnTo>
                      <a:pt x="1237" y="1541"/>
                    </a:lnTo>
                    <a:lnTo>
                      <a:pt x="1237" y="1539"/>
                    </a:lnTo>
                    <a:lnTo>
                      <a:pt x="1237" y="1541"/>
                    </a:lnTo>
                    <a:lnTo>
                      <a:pt x="1237" y="1543"/>
                    </a:lnTo>
                    <a:lnTo>
                      <a:pt x="1236" y="1541"/>
                    </a:lnTo>
                    <a:lnTo>
                      <a:pt x="1237" y="1539"/>
                    </a:lnTo>
                    <a:lnTo>
                      <a:pt x="1236" y="1539"/>
                    </a:lnTo>
                    <a:lnTo>
                      <a:pt x="1234" y="1539"/>
                    </a:lnTo>
                    <a:lnTo>
                      <a:pt x="1232" y="1539"/>
                    </a:lnTo>
                    <a:lnTo>
                      <a:pt x="1234" y="1538"/>
                    </a:lnTo>
                    <a:lnTo>
                      <a:pt x="1232" y="1538"/>
                    </a:lnTo>
                    <a:lnTo>
                      <a:pt x="1230" y="1538"/>
                    </a:lnTo>
                    <a:lnTo>
                      <a:pt x="1230" y="1536"/>
                    </a:lnTo>
                    <a:lnTo>
                      <a:pt x="1230" y="1534"/>
                    </a:lnTo>
                    <a:lnTo>
                      <a:pt x="1229" y="1534"/>
                    </a:lnTo>
                    <a:lnTo>
                      <a:pt x="1229" y="1532"/>
                    </a:lnTo>
                    <a:lnTo>
                      <a:pt x="1229" y="1534"/>
                    </a:lnTo>
                    <a:lnTo>
                      <a:pt x="1227" y="1534"/>
                    </a:lnTo>
                    <a:lnTo>
                      <a:pt x="1227" y="1532"/>
                    </a:lnTo>
                    <a:lnTo>
                      <a:pt x="1225" y="1534"/>
                    </a:lnTo>
                    <a:lnTo>
                      <a:pt x="1225" y="1532"/>
                    </a:lnTo>
                    <a:lnTo>
                      <a:pt x="1224" y="1532"/>
                    </a:lnTo>
                    <a:lnTo>
                      <a:pt x="1225" y="1531"/>
                    </a:lnTo>
                    <a:lnTo>
                      <a:pt x="1224" y="1532"/>
                    </a:lnTo>
                    <a:lnTo>
                      <a:pt x="1222" y="1531"/>
                    </a:lnTo>
                    <a:lnTo>
                      <a:pt x="1222" y="1529"/>
                    </a:lnTo>
                    <a:lnTo>
                      <a:pt x="1222" y="1531"/>
                    </a:lnTo>
                    <a:lnTo>
                      <a:pt x="1224" y="1529"/>
                    </a:lnTo>
                    <a:lnTo>
                      <a:pt x="1222" y="1529"/>
                    </a:lnTo>
                    <a:lnTo>
                      <a:pt x="1222" y="1527"/>
                    </a:lnTo>
                    <a:lnTo>
                      <a:pt x="1220" y="1527"/>
                    </a:lnTo>
                    <a:lnTo>
                      <a:pt x="1220" y="1526"/>
                    </a:lnTo>
                    <a:lnTo>
                      <a:pt x="1222" y="1527"/>
                    </a:lnTo>
                    <a:lnTo>
                      <a:pt x="1224" y="1527"/>
                    </a:lnTo>
                    <a:lnTo>
                      <a:pt x="1225" y="1527"/>
                    </a:lnTo>
                    <a:lnTo>
                      <a:pt x="1225" y="1529"/>
                    </a:lnTo>
                    <a:lnTo>
                      <a:pt x="1225" y="1527"/>
                    </a:lnTo>
                    <a:lnTo>
                      <a:pt x="1227" y="1527"/>
                    </a:lnTo>
                    <a:lnTo>
                      <a:pt x="1229" y="1527"/>
                    </a:lnTo>
                    <a:lnTo>
                      <a:pt x="1229" y="1529"/>
                    </a:lnTo>
                    <a:lnTo>
                      <a:pt x="1229" y="1527"/>
                    </a:lnTo>
                    <a:lnTo>
                      <a:pt x="1230" y="1527"/>
                    </a:lnTo>
                    <a:lnTo>
                      <a:pt x="1230" y="1529"/>
                    </a:lnTo>
                    <a:lnTo>
                      <a:pt x="1232" y="1527"/>
                    </a:lnTo>
                    <a:lnTo>
                      <a:pt x="1230" y="1527"/>
                    </a:lnTo>
                    <a:lnTo>
                      <a:pt x="1232" y="1527"/>
                    </a:lnTo>
                    <a:lnTo>
                      <a:pt x="1230" y="1527"/>
                    </a:lnTo>
                    <a:lnTo>
                      <a:pt x="1232" y="1527"/>
                    </a:lnTo>
                    <a:lnTo>
                      <a:pt x="1234" y="1527"/>
                    </a:lnTo>
                    <a:lnTo>
                      <a:pt x="1232" y="1529"/>
                    </a:lnTo>
                    <a:lnTo>
                      <a:pt x="1234" y="1529"/>
                    </a:lnTo>
                    <a:lnTo>
                      <a:pt x="1236" y="1529"/>
                    </a:lnTo>
                    <a:lnTo>
                      <a:pt x="1236" y="1531"/>
                    </a:lnTo>
                    <a:lnTo>
                      <a:pt x="1236" y="1529"/>
                    </a:lnTo>
                    <a:lnTo>
                      <a:pt x="1237" y="1531"/>
                    </a:lnTo>
                    <a:lnTo>
                      <a:pt x="1239" y="1531"/>
                    </a:lnTo>
                    <a:lnTo>
                      <a:pt x="1239" y="1532"/>
                    </a:lnTo>
                    <a:lnTo>
                      <a:pt x="1237" y="1532"/>
                    </a:lnTo>
                    <a:lnTo>
                      <a:pt x="1239" y="1532"/>
                    </a:lnTo>
                    <a:lnTo>
                      <a:pt x="1237" y="1534"/>
                    </a:lnTo>
                    <a:lnTo>
                      <a:pt x="1239" y="1534"/>
                    </a:lnTo>
                    <a:lnTo>
                      <a:pt x="1237" y="1534"/>
                    </a:lnTo>
                    <a:lnTo>
                      <a:pt x="1239" y="1534"/>
                    </a:lnTo>
                    <a:lnTo>
                      <a:pt x="1239" y="1532"/>
                    </a:lnTo>
                    <a:lnTo>
                      <a:pt x="1241" y="1532"/>
                    </a:lnTo>
                    <a:lnTo>
                      <a:pt x="1239" y="1531"/>
                    </a:lnTo>
                    <a:lnTo>
                      <a:pt x="1237" y="1531"/>
                    </a:lnTo>
                    <a:lnTo>
                      <a:pt x="1237" y="1529"/>
                    </a:lnTo>
                    <a:lnTo>
                      <a:pt x="1236" y="1529"/>
                    </a:lnTo>
                    <a:lnTo>
                      <a:pt x="1236" y="1527"/>
                    </a:lnTo>
                    <a:lnTo>
                      <a:pt x="1236" y="1529"/>
                    </a:lnTo>
                    <a:lnTo>
                      <a:pt x="1236" y="1527"/>
                    </a:lnTo>
                    <a:lnTo>
                      <a:pt x="1237" y="1527"/>
                    </a:lnTo>
                    <a:lnTo>
                      <a:pt x="1239" y="1529"/>
                    </a:lnTo>
                    <a:lnTo>
                      <a:pt x="1239" y="1527"/>
                    </a:lnTo>
                    <a:lnTo>
                      <a:pt x="1237" y="1527"/>
                    </a:lnTo>
                    <a:lnTo>
                      <a:pt x="1237" y="1526"/>
                    </a:lnTo>
                    <a:lnTo>
                      <a:pt x="1239" y="1526"/>
                    </a:lnTo>
                    <a:lnTo>
                      <a:pt x="1241" y="1527"/>
                    </a:lnTo>
                    <a:lnTo>
                      <a:pt x="1239" y="1526"/>
                    </a:lnTo>
                    <a:lnTo>
                      <a:pt x="1241" y="1526"/>
                    </a:lnTo>
                    <a:lnTo>
                      <a:pt x="1241" y="1527"/>
                    </a:lnTo>
                    <a:lnTo>
                      <a:pt x="1241" y="1526"/>
                    </a:lnTo>
                    <a:lnTo>
                      <a:pt x="1239" y="1526"/>
                    </a:lnTo>
                    <a:lnTo>
                      <a:pt x="1241" y="1526"/>
                    </a:lnTo>
                    <a:lnTo>
                      <a:pt x="1239" y="1526"/>
                    </a:lnTo>
                    <a:lnTo>
                      <a:pt x="1239" y="1524"/>
                    </a:lnTo>
                    <a:lnTo>
                      <a:pt x="1239" y="1526"/>
                    </a:lnTo>
                    <a:lnTo>
                      <a:pt x="1237" y="1526"/>
                    </a:lnTo>
                    <a:lnTo>
                      <a:pt x="1237" y="1524"/>
                    </a:lnTo>
                    <a:lnTo>
                      <a:pt x="1236" y="1526"/>
                    </a:lnTo>
                    <a:lnTo>
                      <a:pt x="1234" y="1526"/>
                    </a:lnTo>
                    <a:lnTo>
                      <a:pt x="1232" y="1524"/>
                    </a:lnTo>
                    <a:lnTo>
                      <a:pt x="1230" y="1524"/>
                    </a:lnTo>
                    <a:lnTo>
                      <a:pt x="1232" y="1522"/>
                    </a:lnTo>
                    <a:lnTo>
                      <a:pt x="1232" y="1524"/>
                    </a:lnTo>
                    <a:lnTo>
                      <a:pt x="1232" y="1522"/>
                    </a:lnTo>
                    <a:lnTo>
                      <a:pt x="1234" y="1522"/>
                    </a:lnTo>
                    <a:lnTo>
                      <a:pt x="1234" y="1521"/>
                    </a:lnTo>
                    <a:lnTo>
                      <a:pt x="1236" y="1521"/>
                    </a:lnTo>
                    <a:lnTo>
                      <a:pt x="1236" y="1519"/>
                    </a:lnTo>
                    <a:lnTo>
                      <a:pt x="1234" y="1519"/>
                    </a:lnTo>
                    <a:lnTo>
                      <a:pt x="1234" y="1521"/>
                    </a:lnTo>
                    <a:lnTo>
                      <a:pt x="1232" y="1521"/>
                    </a:lnTo>
                    <a:lnTo>
                      <a:pt x="1232" y="1519"/>
                    </a:lnTo>
                    <a:lnTo>
                      <a:pt x="1232" y="1517"/>
                    </a:lnTo>
                    <a:lnTo>
                      <a:pt x="1232" y="1515"/>
                    </a:lnTo>
                    <a:lnTo>
                      <a:pt x="1230" y="1514"/>
                    </a:lnTo>
                    <a:lnTo>
                      <a:pt x="1232" y="1514"/>
                    </a:lnTo>
                    <a:lnTo>
                      <a:pt x="1232" y="1512"/>
                    </a:lnTo>
                    <a:lnTo>
                      <a:pt x="1234" y="1512"/>
                    </a:lnTo>
                    <a:lnTo>
                      <a:pt x="1232" y="1512"/>
                    </a:lnTo>
                    <a:lnTo>
                      <a:pt x="1232" y="1510"/>
                    </a:lnTo>
                    <a:lnTo>
                      <a:pt x="1230" y="1510"/>
                    </a:lnTo>
                    <a:lnTo>
                      <a:pt x="1230" y="1509"/>
                    </a:lnTo>
                    <a:lnTo>
                      <a:pt x="1232" y="1509"/>
                    </a:lnTo>
                    <a:lnTo>
                      <a:pt x="1234" y="1509"/>
                    </a:lnTo>
                    <a:lnTo>
                      <a:pt x="1236" y="1507"/>
                    </a:lnTo>
                    <a:lnTo>
                      <a:pt x="1236" y="1505"/>
                    </a:lnTo>
                    <a:lnTo>
                      <a:pt x="1237" y="1505"/>
                    </a:lnTo>
                    <a:lnTo>
                      <a:pt x="1237" y="1507"/>
                    </a:lnTo>
                    <a:lnTo>
                      <a:pt x="1236" y="1507"/>
                    </a:lnTo>
                    <a:lnTo>
                      <a:pt x="1237" y="1507"/>
                    </a:lnTo>
                    <a:lnTo>
                      <a:pt x="1239" y="1505"/>
                    </a:lnTo>
                    <a:lnTo>
                      <a:pt x="1239" y="1504"/>
                    </a:lnTo>
                    <a:lnTo>
                      <a:pt x="1241" y="1502"/>
                    </a:lnTo>
                    <a:lnTo>
                      <a:pt x="1242" y="1502"/>
                    </a:lnTo>
                    <a:lnTo>
                      <a:pt x="1242" y="1504"/>
                    </a:lnTo>
                    <a:lnTo>
                      <a:pt x="1244" y="1505"/>
                    </a:lnTo>
                    <a:lnTo>
                      <a:pt x="1242" y="1505"/>
                    </a:lnTo>
                    <a:lnTo>
                      <a:pt x="1242" y="1507"/>
                    </a:lnTo>
                    <a:lnTo>
                      <a:pt x="1241" y="1509"/>
                    </a:lnTo>
                    <a:lnTo>
                      <a:pt x="1239" y="1510"/>
                    </a:lnTo>
                    <a:lnTo>
                      <a:pt x="1239" y="1512"/>
                    </a:lnTo>
                    <a:lnTo>
                      <a:pt x="1241" y="1512"/>
                    </a:lnTo>
                    <a:lnTo>
                      <a:pt x="1241" y="1510"/>
                    </a:lnTo>
                    <a:lnTo>
                      <a:pt x="1241" y="1509"/>
                    </a:lnTo>
                    <a:lnTo>
                      <a:pt x="1242" y="1509"/>
                    </a:lnTo>
                    <a:lnTo>
                      <a:pt x="1242" y="1507"/>
                    </a:lnTo>
                    <a:lnTo>
                      <a:pt x="1244" y="1507"/>
                    </a:lnTo>
                    <a:lnTo>
                      <a:pt x="1246" y="1507"/>
                    </a:lnTo>
                    <a:lnTo>
                      <a:pt x="1244" y="1509"/>
                    </a:lnTo>
                    <a:lnTo>
                      <a:pt x="1242" y="1509"/>
                    </a:lnTo>
                    <a:lnTo>
                      <a:pt x="1242" y="1510"/>
                    </a:lnTo>
                    <a:lnTo>
                      <a:pt x="1244" y="1509"/>
                    </a:lnTo>
                    <a:lnTo>
                      <a:pt x="1246" y="1507"/>
                    </a:lnTo>
                    <a:lnTo>
                      <a:pt x="1246" y="1509"/>
                    </a:lnTo>
                    <a:lnTo>
                      <a:pt x="1244" y="1509"/>
                    </a:lnTo>
                    <a:lnTo>
                      <a:pt x="1244" y="1510"/>
                    </a:lnTo>
                    <a:lnTo>
                      <a:pt x="1244" y="1509"/>
                    </a:lnTo>
                    <a:lnTo>
                      <a:pt x="1246" y="1509"/>
                    </a:lnTo>
                    <a:lnTo>
                      <a:pt x="1247" y="1507"/>
                    </a:lnTo>
                    <a:lnTo>
                      <a:pt x="1247" y="1509"/>
                    </a:lnTo>
                    <a:lnTo>
                      <a:pt x="1247" y="1507"/>
                    </a:lnTo>
                    <a:lnTo>
                      <a:pt x="1247" y="1509"/>
                    </a:lnTo>
                    <a:lnTo>
                      <a:pt x="1249" y="1510"/>
                    </a:lnTo>
                    <a:lnTo>
                      <a:pt x="1249" y="1509"/>
                    </a:lnTo>
                    <a:lnTo>
                      <a:pt x="1249" y="1507"/>
                    </a:lnTo>
                    <a:lnTo>
                      <a:pt x="1251" y="1507"/>
                    </a:lnTo>
                    <a:lnTo>
                      <a:pt x="1251" y="1505"/>
                    </a:lnTo>
                    <a:lnTo>
                      <a:pt x="1253" y="1505"/>
                    </a:lnTo>
                    <a:lnTo>
                      <a:pt x="1254" y="1504"/>
                    </a:lnTo>
                    <a:lnTo>
                      <a:pt x="1254" y="1502"/>
                    </a:lnTo>
                    <a:lnTo>
                      <a:pt x="1256" y="1502"/>
                    </a:lnTo>
                    <a:lnTo>
                      <a:pt x="1258" y="1500"/>
                    </a:lnTo>
                    <a:lnTo>
                      <a:pt x="1258" y="1498"/>
                    </a:lnTo>
                    <a:lnTo>
                      <a:pt x="1259" y="1498"/>
                    </a:lnTo>
                    <a:lnTo>
                      <a:pt x="1261" y="1498"/>
                    </a:lnTo>
                    <a:lnTo>
                      <a:pt x="1263" y="1500"/>
                    </a:lnTo>
                    <a:lnTo>
                      <a:pt x="1263" y="1498"/>
                    </a:lnTo>
                    <a:lnTo>
                      <a:pt x="1264" y="1497"/>
                    </a:lnTo>
                    <a:lnTo>
                      <a:pt x="1264" y="1498"/>
                    </a:lnTo>
                    <a:close/>
                    <a:moveTo>
                      <a:pt x="1382" y="1628"/>
                    </a:moveTo>
                    <a:lnTo>
                      <a:pt x="1383" y="1629"/>
                    </a:lnTo>
                    <a:lnTo>
                      <a:pt x="1385" y="1629"/>
                    </a:lnTo>
                    <a:lnTo>
                      <a:pt x="1385" y="1631"/>
                    </a:lnTo>
                    <a:lnTo>
                      <a:pt x="1387" y="1631"/>
                    </a:lnTo>
                    <a:lnTo>
                      <a:pt x="1387" y="1633"/>
                    </a:lnTo>
                    <a:lnTo>
                      <a:pt x="1389" y="1635"/>
                    </a:lnTo>
                    <a:lnTo>
                      <a:pt x="1389" y="1636"/>
                    </a:lnTo>
                    <a:lnTo>
                      <a:pt x="1387" y="1636"/>
                    </a:lnTo>
                    <a:lnTo>
                      <a:pt x="1385" y="1636"/>
                    </a:lnTo>
                    <a:lnTo>
                      <a:pt x="1385" y="1635"/>
                    </a:lnTo>
                    <a:lnTo>
                      <a:pt x="1383" y="1635"/>
                    </a:lnTo>
                    <a:lnTo>
                      <a:pt x="1385" y="1636"/>
                    </a:lnTo>
                    <a:lnTo>
                      <a:pt x="1385" y="1638"/>
                    </a:lnTo>
                    <a:lnTo>
                      <a:pt x="1383" y="1640"/>
                    </a:lnTo>
                    <a:lnTo>
                      <a:pt x="1382" y="1640"/>
                    </a:lnTo>
                    <a:lnTo>
                      <a:pt x="1380" y="1638"/>
                    </a:lnTo>
                    <a:lnTo>
                      <a:pt x="1378" y="1638"/>
                    </a:lnTo>
                    <a:lnTo>
                      <a:pt x="1380" y="1638"/>
                    </a:lnTo>
                    <a:lnTo>
                      <a:pt x="1380" y="1640"/>
                    </a:lnTo>
                    <a:lnTo>
                      <a:pt x="1380" y="1641"/>
                    </a:lnTo>
                    <a:lnTo>
                      <a:pt x="1378" y="1641"/>
                    </a:lnTo>
                    <a:lnTo>
                      <a:pt x="1377" y="1641"/>
                    </a:lnTo>
                    <a:lnTo>
                      <a:pt x="1375" y="1641"/>
                    </a:lnTo>
                    <a:lnTo>
                      <a:pt x="1373" y="1641"/>
                    </a:lnTo>
                    <a:lnTo>
                      <a:pt x="1373" y="1640"/>
                    </a:lnTo>
                    <a:lnTo>
                      <a:pt x="1372" y="1640"/>
                    </a:lnTo>
                    <a:lnTo>
                      <a:pt x="1370" y="1640"/>
                    </a:lnTo>
                    <a:lnTo>
                      <a:pt x="1370" y="1638"/>
                    </a:lnTo>
                    <a:lnTo>
                      <a:pt x="1368" y="1638"/>
                    </a:lnTo>
                    <a:lnTo>
                      <a:pt x="1368" y="1636"/>
                    </a:lnTo>
                    <a:lnTo>
                      <a:pt x="1366" y="1636"/>
                    </a:lnTo>
                    <a:lnTo>
                      <a:pt x="1365" y="1635"/>
                    </a:lnTo>
                    <a:lnTo>
                      <a:pt x="1363" y="1636"/>
                    </a:lnTo>
                    <a:lnTo>
                      <a:pt x="1365" y="1636"/>
                    </a:lnTo>
                    <a:lnTo>
                      <a:pt x="1366" y="1636"/>
                    </a:lnTo>
                    <a:lnTo>
                      <a:pt x="1366" y="1638"/>
                    </a:lnTo>
                    <a:lnTo>
                      <a:pt x="1366" y="1640"/>
                    </a:lnTo>
                    <a:lnTo>
                      <a:pt x="1368" y="1640"/>
                    </a:lnTo>
                    <a:lnTo>
                      <a:pt x="1370" y="1640"/>
                    </a:lnTo>
                    <a:lnTo>
                      <a:pt x="1370" y="1641"/>
                    </a:lnTo>
                    <a:lnTo>
                      <a:pt x="1372" y="1641"/>
                    </a:lnTo>
                    <a:lnTo>
                      <a:pt x="1372" y="1643"/>
                    </a:lnTo>
                    <a:lnTo>
                      <a:pt x="1372" y="1641"/>
                    </a:lnTo>
                    <a:lnTo>
                      <a:pt x="1372" y="1643"/>
                    </a:lnTo>
                    <a:lnTo>
                      <a:pt x="1373" y="1643"/>
                    </a:lnTo>
                    <a:lnTo>
                      <a:pt x="1375" y="1643"/>
                    </a:lnTo>
                    <a:lnTo>
                      <a:pt x="1375" y="1641"/>
                    </a:lnTo>
                    <a:lnTo>
                      <a:pt x="1377" y="1643"/>
                    </a:lnTo>
                    <a:lnTo>
                      <a:pt x="1378" y="1643"/>
                    </a:lnTo>
                    <a:lnTo>
                      <a:pt x="1380" y="1643"/>
                    </a:lnTo>
                    <a:lnTo>
                      <a:pt x="1382" y="1643"/>
                    </a:lnTo>
                    <a:lnTo>
                      <a:pt x="1383" y="1643"/>
                    </a:lnTo>
                    <a:lnTo>
                      <a:pt x="1385" y="1643"/>
                    </a:lnTo>
                    <a:lnTo>
                      <a:pt x="1387" y="1643"/>
                    </a:lnTo>
                    <a:lnTo>
                      <a:pt x="1387" y="1645"/>
                    </a:lnTo>
                    <a:lnTo>
                      <a:pt x="1389" y="1645"/>
                    </a:lnTo>
                    <a:lnTo>
                      <a:pt x="1390" y="1645"/>
                    </a:lnTo>
                    <a:lnTo>
                      <a:pt x="1390" y="1646"/>
                    </a:lnTo>
                    <a:lnTo>
                      <a:pt x="1389" y="1646"/>
                    </a:lnTo>
                    <a:lnTo>
                      <a:pt x="1387" y="1646"/>
                    </a:lnTo>
                    <a:lnTo>
                      <a:pt x="1389" y="1646"/>
                    </a:lnTo>
                    <a:lnTo>
                      <a:pt x="1390" y="1646"/>
                    </a:lnTo>
                    <a:lnTo>
                      <a:pt x="1392" y="1648"/>
                    </a:lnTo>
                    <a:lnTo>
                      <a:pt x="1394" y="1648"/>
                    </a:lnTo>
                    <a:lnTo>
                      <a:pt x="1394" y="1650"/>
                    </a:lnTo>
                    <a:lnTo>
                      <a:pt x="1392" y="1650"/>
                    </a:lnTo>
                    <a:lnTo>
                      <a:pt x="1390" y="1650"/>
                    </a:lnTo>
                    <a:lnTo>
                      <a:pt x="1389" y="1650"/>
                    </a:lnTo>
                    <a:lnTo>
                      <a:pt x="1387" y="1650"/>
                    </a:lnTo>
                    <a:lnTo>
                      <a:pt x="1385" y="1650"/>
                    </a:lnTo>
                    <a:lnTo>
                      <a:pt x="1383" y="1650"/>
                    </a:lnTo>
                    <a:lnTo>
                      <a:pt x="1382" y="1650"/>
                    </a:lnTo>
                    <a:lnTo>
                      <a:pt x="1383" y="1650"/>
                    </a:lnTo>
                    <a:lnTo>
                      <a:pt x="1383" y="1652"/>
                    </a:lnTo>
                    <a:lnTo>
                      <a:pt x="1382" y="1652"/>
                    </a:lnTo>
                    <a:lnTo>
                      <a:pt x="1380" y="1652"/>
                    </a:lnTo>
                    <a:lnTo>
                      <a:pt x="1378" y="1650"/>
                    </a:lnTo>
                    <a:lnTo>
                      <a:pt x="1378" y="1648"/>
                    </a:lnTo>
                    <a:lnTo>
                      <a:pt x="1377" y="1648"/>
                    </a:lnTo>
                    <a:lnTo>
                      <a:pt x="1375" y="1648"/>
                    </a:lnTo>
                    <a:lnTo>
                      <a:pt x="1377" y="1648"/>
                    </a:lnTo>
                    <a:lnTo>
                      <a:pt x="1378" y="1650"/>
                    </a:lnTo>
                    <a:lnTo>
                      <a:pt x="1377" y="1650"/>
                    </a:lnTo>
                    <a:lnTo>
                      <a:pt x="1378" y="1650"/>
                    </a:lnTo>
                    <a:lnTo>
                      <a:pt x="1378" y="1652"/>
                    </a:lnTo>
                    <a:lnTo>
                      <a:pt x="1378" y="1653"/>
                    </a:lnTo>
                    <a:lnTo>
                      <a:pt x="1380" y="1652"/>
                    </a:lnTo>
                    <a:lnTo>
                      <a:pt x="1382" y="1652"/>
                    </a:lnTo>
                    <a:lnTo>
                      <a:pt x="1380" y="1653"/>
                    </a:lnTo>
                    <a:lnTo>
                      <a:pt x="1380" y="1655"/>
                    </a:lnTo>
                    <a:lnTo>
                      <a:pt x="1382" y="1653"/>
                    </a:lnTo>
                    <a:lnTo>
                      <a:pt x="1383" y="1653"/>
                    </a:lnTo>
                    <a:lnTo>
                      <a:pt x="1385" y="1653"/>
                    </a:lnTo>
                    <a:lnTo>
                      <a:pt x="1387" y="1653"/>
                    </a:lnTo>
                    <a:lnTo>
                      <a:pt x="1389" y="1653"/>
                    </a:lnTo>
                    <a:lnTo>
                      <a:pt x="1389" y="1655"/>
                    </a:lnTo>
                    <a:lnTo>
                      <a:pt x="1390" y="1655"/>
                    </a:lnTo>
                    <a:lnTo>
                      <a:pt x="1389" y="1655"/>
                    </a:lnTo>
                    <a:lnTo>
                      <a:pt x="1389" y="1657"/>
                    </a:lnTo>
                    <a:lnTo>
                      <a:pt x="1390" y="1655"/>
                    </a:lnTo>
                    <a:lnTo>
                      <a:pt x="1392" y="1657"/>
                    </a:lnTo>
                    <a:lnTo>
                      <a:pt x="1392" y="1655"/>
                    </a:lnTo>
                    <a:lnTo>
                      <a:pt x="1394" y="1655"/>
                    </a:lnTo>
                    <a:lnTo>
                      <a:pt x="1395" y="1657"/>
                    </a:lnTo>
                    <a:lnTo>
                      <a:pt x="1394" y="1658"/>
                    </a:lnTo>
                    <a:lnTo>
                      <a:pt x="1394" y="1660"/>
                    </a:lnTo>
                    <a:lnTo>
                      <a:pt x="1395" y="1660"/>
                    </a:lnTo>
                    <a:lnTo>
                      <a:pt x="1397" y="1660"/>
                    </a:lnTo>
                    <a:lnTo>
                      <a:pt x="1399" y="1660"/>
                    </a:lnTo>
                    <a:lnTo>
                      <a:pt x="1397" y="1662"/>
                    </a:lnTo>
                    <a:lnTo>
                      <a:pt x="1395" y="1663"/>
                    </a:lnTo>
                    <a:lnTo>
                      <a:pt x="1397" y="1663"/>
                    </a:lnTo>
                    <a:lnTo>
                      <a:pt x="1397" y="1665"/>
                    </a:lnTo>
                    <a:lnTo>
                      <a:pt x="1397" y="1667"/>
                    </a:lnTo>
                    <a:lnTo>
                      <a:pt x="1399" y="1667"/>
                    </a:lnTo>
                    <a:lnTo>
                      <a:pt x="1399" y="1669"/>
                    </a:lnTo>
                    <a:lnTo>
                      <a:pt x="1399" y="1670"/>
                    </a:lnTo>
                    <a:lnTo>
                      <a:pt x="1397" y="1670"/>
                    </a:lnTo>
                    <a:lnTo>
                      <a:pt x="1399" y="1672"/>
                    </a:lnTo>
                    <a:lnTo>
                      <a:pt x="1397" y="1674"/>
                    </a:lnTo>
                    <a:lnTo>
                      <a:pt x="1397" y="1675"/>
                    </a:lnTo>
                    <a:lnTo>
                      <a:pt x="1395" y="1674"/>
                    </a:lnTo>
                    <a:lnTo>
                      <a:pt x="1395" y="1672"/>
                    </a:lnTo>
                    <a:lnTo>
                      <a:pt x="1394" y="1672"/>
                    </a:lnTo>
                    <a:lnTo>
                      <a:pt x="1395" y="1670"/>
                    </a:lnTo>
                    <a:lnTo>
                      <a:pt x="1394" y="1670"/>
                    </a:lnTo>
                    <a:lnTo>
                      <a:pt x="1394" y="1669"/>
                    </a:lnTo>
                    <a:lnTo>
                      <a:pt x="1394" y="1667"/>
                    </a:lnTo>
                    <a:lnTo>
                      <a:pt x="1394" y="1669"/>
                    </a:lnTo>
                    <a:lnTo>
                      <a:pt x="1392" y="1669"/>
                    </a:lnTo>
                    <a:lnTo>
                      <a:pt x="1392" y="1670"/>
                    </a:lnTo>
                    <a:lnTo>
                      <a:pt x="1392" y="1669"/>
                    </a:lnTo>
                    <a:lnTo>
                      <a:pt x="1390" y="1670"/>
                    </a:lnTo>
                    <a:lnTo>
                      <a:pt x="1389" y="1669"/>
                    </a:lnTo>
                    <a:lnTo>
                      <a:pt x="1390" y="1667"/>
                    </a:lnTo>
                    <a:lnTo>
                      <a:pt x="1390" y="1665"/>
                    </a:lnTo>
                    <a:lnTo>
                      <a:pt x="1392" y="1665"/>
                    </a:lnTo>
                    <a:lnTo>
                      <a:pt x="1392" y="1663"/>
                    </a:lnTo>
                    <a:lnTo>
                      <a:pt x="1390" y="1663"/>
                    </a:lnTo>
                    <a:lnTo>
                      <a:pt x="1389" y="1663"/>
                    </a:lnTo>
                    <a:lnTo>
                      <a:pt x="1389" y="1662"/>
                    </a:lnTo>
                    <a:lnTo>
                      <a:pt x="1389" y="1660"/>
                    </a:lnTo>
                    <a:lnTo>
                      <a:pt x="1387" y="1662"/>
                    </a:lnTo>
                    <a:lnTo>
                      <a:pt x="1389" y="1660"/>
                    </a:lnTo>
                    <a:lnTo>
                      <a:pt x="1387" y="1660"/>
                    </a:lnTo>
                    <a:lnTo>
                      <a:pt x="1387" y="1662"/>
                    </a:lnTo>
                    <a:lnTo>
                      <a:pt x="1385" y="1662"/>
                    </a:lnTo>
                    <a:lnTo>
                      <a:pt x="1383" y="1660"/>
                    </a:lnTo>
                    <a:lnTo>
                      <a:pt x="1383" y="1662"/>
                    </a:lnTo>
                    <a:lnTo>
                      <a:pt x="1382" y="1660"/>
                    </a:lnTo>
                    <a:lnTo>
                      <a:pt x="1380" y="1660"/>
                    </a:lnTo>
                    <a:lnTo>
                      <a:pt x="1382" y="1658"/>
                    </a:lnTo>
                    <a:lnTo>
                      <a:pt x="1382" y="1657"/>
                    </a:lnTo>
                    <a:lnTo>
                      <a:pt x="1380" y="1657"/>
                    </a:lnTo>
                    <a:lnTo>
                      <a:pt x="1380" y="1658"/>
                    </a:lnTo>
                    <a:lnTo>
                      <a:pt x="1380" y="1657"/>
                    </a:lnTo>
                    <a:lnTo>
                      <a:pt x="1378" y="1657"/>
                    </a:lnTo>
                    <a:lnTo>
                      <a:pt x="1380" y="1658"/>
                    </a:lnTo>
                    <a:lnTo>
                      <a:pt x="1378" y="1658"/>
                    </a:lnTo>
                    <a:lnTo>
                      <a:pt x="1380" y="1660"/>
                    </a:lnTo>
                    <a:lnTo>
                      <a:pt x="1378" y="1658"/>
                    </a:lnTo>
                    <a:lnTo>
                      <a:pt x="1378" y="1660"/>
                    </a:lnTo>
                    <a:lnTo>
                      <a:pt x="1377" y="1660"/>
                    </a:lnTo>
                    <a:lnTo>
                      <a:pt x="1375" y="1660"/>
                    </a:lnTo>
                    <a:lnTo>
                      <a:pt x="1375" y="1658"/>
                    </a:lnTo>
                    <a:lnTo>
                      <a:pt x="1373" y="1658"/>
                    </a:lnTo>
                    <a:lnTo>
                      <a:pt x="1373" y="1660"/>
                    </a:lnTo>
                    <a:lnTo>
                      <a:pt x="1372" y="1660"/>
                    </a:lnTo>
                    <a:lnTo>
                      <a:pt x="1373" y="1660"/>
                    </a:lnTo>
                    <a:lnTo>
                      <a:pt x="1375" y="1662"/>
                    </a:lnTo>
                    <a:lnTo>
                      <a:pt x="1373" y="1662"/>
                    </a:lnTo>
                    <a:lnTo>
                      <a:pt x="1373" y="1663"/>
                    </a:lnTo>
                    <a:lnTo>
                      <a:pt x="1372" y="1662"/>
                    </a:lnTo>
                    <a:lnTo>
                      <a:pt x="1370" y="1662"/>
                    </a:lnTo>
                    <a:lnTo>
                      <a:pt x="1370" y="1660"/>
                    </a:lnTo>
                    <a:lnTo>
                      <a:pt x="1368" y="1660"/>
                    </a:lnTo>
                    <a:lnTo>
                      <a:pt x="1368" y="1658"/>
                    </a:lnTo>
                    <a:lnTo>
                      <a:pt x="1366" y="1658"/>
                    </a:lnTo>
                    <a:lnTo>
                      <a:pt x="1368" y="1658"/>
                    </a:lnTo>
                    <a:lnTo>
                      <a:pt x="1368" y="1657"/>
                    </a:lnTo>
                    <a:lnTo>
                      <a:pt x="1370" y="1655"/>
                    </a:lnTo>
                    <a:lnTo>
                      <a:pt x="1372" y="1655"/>
                    </a:lnTo>
                    <a:lnTo>
                      <a:pt x="1373" y="1655"/>
                    </a:lnTo>
                    <a:lnTo>
                      <a:pt x="1373" y="1657"/>
                    </a:lnTo>
                    <a:lnTo>
                      <a:pt x="1373" y="1655"/>
                    </a:lnTo>
                    <a:lnTo>
                      <a:pt x="1372" y="1655"/>
                    </a:lnTo>
                    <a:lnTo>
                      <a:pt x="1370" y="1655"/>
                    </a:lnTo>
                    <a:lnTo>
                      <a:pt x="1368" y="1657"/>
                    </a:lnTo>
                    <a:lnTo>
                      <a:pt x="1366" y="1657"/>
                    </a:lnTo>
                    <a:lnTo>
                      <a:pt x="1368" y="1655"/>
                    </a:lnTo>
                    <a:lnTo>
                      <a:pt x="1368" y="1653"/>
                    </a:lnTo>
                    <a:lnTo>
                      <a:pt x="1370" y="1653"/>
                    </a:lnTo>
                    <a:lnTo>
                      <a:pt x="1368" y="1653"/>
                    </a:lnTo>
                    <a:lnTo>
                      <a:pt x="1370" y="1653"/>
                    </a:lnTo>
                    <a:lnTo>
                      <a:pt x="1370" y="1652"/>
                    </a:lnTo>
                    <a:lnTo>
                      <a:pt x="1370" y="1650"/>
                    </a:lnTo>
                    <a:lnTo>
                      <a:pt x="1370" y="1648"/>
                    </a:lnTo>
                    <a:lnTo>
                      <a:pt x="1372" y="1648"/>
                    </a:lnTo>
                    <a:lnTo>
                      <a:pt x="1372" y="1646"/>
                    </a:lnTo>
                    <a:lnTo>
                      <a:pt x="1370" y="1646"/>
                    </a:lnTo>
                    <a:lnTo>
                      <a:pt x="1372" y="1645"/>
                    </a:lnTo>
                    <a:lnTo>
                      <a:pt x="1373" y="1643"/>
                    </a:lnTo>
                    <a:lnTo>
                      <a:pt x="1372" y="1643"/>
                    </a:lnTo>
                    <a:lnTo>
                      <a:pt x="1372" y="1645"/>
                    </a:lnTo>
                    <a:lnTo>
                      <a:pt x="1370" y="1645"/>
                    </a:lnTo>
                    <a:lnTo>
                      <a:pt x="1370" y="1646"/>
                    </a:lnTo>
                    <a:lnTo>
                      <a:pt x="1370" y="1645"/>
                    </a:lnTo>
                    <a:lnTo>
                      <a:pt x="1368" y="1646"/>
                    </a:lnTo>
                    <a:lnTo>
                      <a:pt x="1368" y="1645"/>
                    </a:lnTo>
                    <a:lnTo>
                      <a:pt x="1368" y="1646"/>
                    </a:lnTo>
                    <a:lnTo>
                      <a:pt x="1366" y="1646"/>
                    </a:lnTo>
                    <a:lnTo>
                      <a:pt x="1368" y="1646"/>
                    </a:lnTo>
                    <a:lnTo>
                      <a:pt x="1366" y="1648"/>
                    </a:lnTo>
                    <a:lnTo>
                      <a:pt x="1366" y="1650"/>
                    </a:lnTo>
                    <a:lnTo>
                      <a:pt x="1366" y="1648"/>
                    </a:lnTo>
                    <a:lnTo>
                      <a:pt x="1365" y="1650"/>
                    </a:lnTo>
                    <a:lnTo>
                      <a:pt x="1365" y="1648"/>
                    </a:lnTo>
                    <a:lnTo>
                      <a:pt x="1363" y="1648"/>
                    </a:lnTo>
                    <a:lnTo>
                      <a:pt x="1363" y="1646"/>
                    </a:lnTo>
                    <a:lnTo>
                      <a:pt x="1361" y="1645"/>
                    </a:lnTo>
                    <a:lnTo>
                      <a:pt x="1361" y="1643"/>
                    </a:lnTo>
                    <a:lnTo>
                      <a:pt x="1361" y="1645"/>
                    </a:lnTo>
                    <a:lnTo>
                      <a:pt x="1361" y="1646"/>
                    </a:lnTo>
                    <a:lnTo>
                      <a:pt x="1363" y="1648"/>
                    </a:lnTo>
                    <a:lnTo>
                      <a:pt x="1361" y="1648"/>
                    </a:lnTo>
                    <a:lnTo>
                      <a:pt x="1360" y="1646"/>
                    </a:lnTo>
                    <a:lnTo>
                      <a:pt x="1360" y="1648"/>
                    </a:lnTo>
                    <a:lnTo>
                      <a:pt x="1360" y="1646"/>
                    </a:lnTo>
                    <a:lnTo>
                      <a:pt x="1358" y="1646"/>
                    </a:lnTo>
                    <a:lnTo>
                      <a:pt x="1360" y="1646"/>
                    </a:lnTo>
                    <a:lnTo>
                      <a:pt x="1358" y="1646"/>
                    </a:lnTo>
                    <a:lnTo>
                      <a:pt x="1358" y="1645"/>
                    </a:lnTo>
                    <a:lnTo>
                      <a:pt x="1358" y="1643"/>
                    </a:lnTo>
                    <a:lnTo>
                      <a:pt x="1356" y="1645"/>
                    </a:lnTo>
                    <a:lnTo>
                      <a:pt x="1356" y="1646"/>
                    </a:lnTo>
                    <a:lnTo>
                      <a:pt x="1358" y="1646"/>
                    </a:lnTo>
                    <a:lnTo>
                      <a:pt x="1358" y="1648"/>
                    </a:lnTo>
                    <a:lnTo>
                      <a:pt x="1356" y="1648"/>
                    </a:lnTo>
                    <a:lnTo>
                      <a:pt x="1356" y="1646"/>
                    </a:lnTo>
                    <a:lnTo>
                      <a:pt x="1356" y="1648"/>
                    </a:lnTo>
                    <a:lnTo>
                      <a:pt x="1355" y="1646"/>
                    </a:lnTo>
                    <a:lnTo>
                      <a:pt x="1355" y="1648"/>
                    </a:lnTo>
                    <a:lnTo>
                      <a:pt x="1356" y="1648"/>
                    </a:lnTo>
                    <a:lnTo>
                      <a:pt x="1358" y="1648"/>
                    </a:lnTo>
                    <a:lnTo>
                      <a:pt x="1358" y="1650"/>
                    </a:lnTo>
                    <a:lnTo>
                      <a:pt x="1356" y="1650"/>
                    </a:lnTo>
                    <a:lnTo>
                      <a:pt x="1356" y="1652"/>
                    </a:lnTo>
                    <a:lnTo>
                      <a:pt x="1355" y="1650"/>
                    </a:lnTo>
                    <a:lnTo>
                      <a:pt x="1353" y="1650"/>
                    </a:lnTo>
                    <a:lnTo>
                      <a:pt x="1355" y="1650"/>
                    </a:lnTo>
                    <a:lnTo>
                      <a:pt x="1353" y="1650"/>
                    </a:lnTo>
                    <a:lnTo>
                      <a:pt x="1351" y="1650"/>
                    </a:lnTo>
                    <a:lnTo>
                      <a:pt x="1353" y="1650"/>
                    </a:lnTo>
                    <a:lnTo>
                      <a:pt x="1351" y="1648"/>
                    </a:lnTo>
                    <a:lnTo>
                      <a:pt x="1351" y="1650"/>
                    </a:lnTo>
                    <a:lnTo>
                      <a:pt x="1351" y="1652"/>
                    </a:lnTo>
                    <a:lnTo>
                      <a:pt x="1351" y="1650"/>
                    </a:lnTo>
                    <a:lnTo>
                      <a:pt x="1353" y="1650"/>
                    </a:lnTo>
                    <a:lnTo>
                      <a:pt x="1355" y="1652"/>
                    </a:lnTo>
                    <a:lnTo>
                      <a:pt x="1356" y="1652"/>
                    </a:lnTo>
                    <a:lnTo>
                      <a:pt x="1355" y="1652"/>
                    </a:lnTo>
                    <a:lnTo>
                      <a:pt x="1355" y="1653"/>
                    </a:lnTo>
                    <a:lnTo>
                      <a:pt x="1356" y="1653"/>
                    </a:lnTo>
                    <a:lnTo>
                      <a:pt x="1356" y="1655"/>
                    </a:lnTo>
                    <a:lnTo>
                      <a:pt x="1356" y="1657"/>
                    </a:lnTo>
                    <a:lnTo>
                      <a:pt x="1358" y="1655"/>
                    </a:lnTo>
                    <a:lnTo>
                      <a:pt x="1358" y="1657"/>
                    </a:lnTo>
                    <a:lnTo>
                      <a:pt x="1360" y="1658"/>
                    </a:lnTo>
                    <a:lnTo>
                      <a:pt x="1358" y="1658"/>
                    </a:lnTo>
                    <a:lnTo>
                      <a:pt x="1356" y="1658"/>
                    </a:lnTo>
                    <a:lnTo>
                      <a:pt x="1356" y="1660"/>
                    </a:lnTo>
                    <a:lnTo>
                      <a:pt x="1358" y="1658"/>
                    </a:lnTo>
                    <a:lnTo>
                      <a:pt x="1358" y="1660"/>
                    </a:lnTo>
                    <a:lnTo>
                      <a:pt x="1356" y="1660"/>
                    </a:lnTo>
                    <a:lnTo>
                      <a:pt x="1358" y="1660"/>
                    </a:lnTo>
                    <a:lnTo>
                      <a:pt x="1360" y="1660"/>
                    </a:lnTo>
                    <a:lnTo>
                      <a:pt x="1358" y="1662"/>
                    </a:lnTo>
                    <a:lnTo>
                      <a:pt x="1360" y="1660"/>
                    </a:lnTo>
                    <a:lnTo>
                      <a:pt x="1360" y="1662"/>
                    </a:lnTo>
                    <a:lnTo>
                      <a:pt x="1360" y="1660"/>
                    </a:lnTo>
                    <a:lnTo>
                      <a:pt x="1361" y="1660"/>
                    </a:lnTo>
                    <a:lnTo>
                      <a:pt x="1363" y="1660"/>
                    </a:lnTo>
                    <a:lnTo>
                      <a:pt x="1363" y="1662"/>
                    </a:lnTo>
                    <a:lnTo>
                      <a:pt x="1361" y="1660"/>
                    </a:lnTo>
                    <a:lnTo>
                      <a:pt x="1360" y="1660"/>
                    </a:lnTo>
                    <a:lnTo>
                      <a:pt x="1361" y="1662"/>
                    </a:lnTo>
                    <a:lnTo>
                      <a:pt x="1360" y="1662"/>
                    </a:lnTo>
                    <a:lnTo>
                      <a:pt x="1361" y="1662"/>
                    </a:lnTo>
                    <a:lnTo>
                      <a:pt x="1363" y="1662"/>
                    </a:lnTo>
                    <a:lnTo>
                      <a:pt x="1361" y="1663"/>
                    </a:lnTo>
                    <a:lnTo>
                      <a:pt x="1360" y="1663"/>
                    </a:lnTo>
                    <a:lnTo>
                      <a:pt x="1360" y="1662"/>
                    </a:lnTo>
                    <a:lnTo>
                      <a:pt x="1360" y="1663"/>
                    </a:lnTo>
                    <a:lnTo>
                      <a:pt x="1360" y="1662"/>
                    </a:lnTo>
                    <a:lnTo>
                      <a:pt x="1358" y="1662"/>
                    </a:lnTo>
                    <a:lnTo>
                      <a:pt x="1358" y="1663"/>
                    </a:lnTo>
                    <a:lnTo>
                      <a:pt x="1356" y="1663"/>
                    </a:lnTo>
                    <a:lnTo>
                      <a:pt x="1355" y="1663"/>
                    </a:lnTo>
                    <a:lnTo>
                      <a:pt x="1355" y="1662"/>
                    </a:lnTo>
                    <a:lnTo>
                      <a:pt x="1355" y="1660"/>
                    </a:lnTo>
                    <a:lnTo>
                      <a:pt x="1355" y="1658"/>
                    </a:lnTo>
                    <a:lnTo>
                      <a:pt x="1355" y="1660"/>
                    </a:lnTo>
                    <a:lnTo>
                      <a:pt x="1353" y="1660"/>
                    </a:lnTo>
                    <a:lnTo>
                      <a:pt x="1355" y="1660"/>
                    </a:lnTo>
                    <a:lnTo>
                      <a:pt x="1355" y="1662"/>
                    </a:lnTo>
                    <a:lnTo>
                      <a:pt x="1353" y="1662"/>
                    </a:lnTo>
                    <a:lnTo>
                      <a:pt x="1355" y="1662"/>
                    </a:lnTo>
                    <a:lnTo>
                      <a:pt x="1353" y="1662"/>
                    </a:lnTo>
                    <a:lnTo>
                      <a:pt x="1353" y="1663"/>
                    </a:lnTo>
                    <a:lnTo>
                      <a:pt x="1353" y="1665"/>
                    </a:lnTo>
                    <a:lnTo>
                      <a:pt x="1351" y="1663"/>
                    </a:lnTo>
                    <a:lnTo>
                      <a:pt x="1353" y="1662"/>
                    </a:lnTo>
                    <a:lnTo>
                      <a:pt x="1351" y="1660"/>
                    </a:lnTo>
                    <a:lnTo>
                      <a:pt x="1351" y="1658"/>
                    </a:lnTo>
                    <a:lnTo>
                      <a:pt x="1349" y="1658"/>
                    </a:lnTo>
                    <a:lnTo>
                      <a:pt x="1349" y="1657"/>
                    </a:lnTo>
                    <a:lnTo>
                      <a:pt x="1351" y="1657"/>
                    </a:lnTo>
                    <a:lnTo>
                      <a:pt x="1353" y="1657"/>
                    </a:lnTo>
                    <a:lnTo>
                      <a:pt x="1351" y="1657"/>
                    </a:lnTo>
                    <a:lnTo>
                      <a:pt x="1349" y="1657"/>
                    </a:lnTo>
                    <a:lnTo>
                      <a:pt x="1349" y="1655"/>
                    </a:lnTo>
                    <a:lnTo>
                      <a:pt x="1351" y="1655"/>
                    </a:lnTo>
                    <a:lnTo>
                      <a:pt x="1349" y="1655"/>
                    </a:lnTo>
                    <a:lnTo>
                      <a:pt x="1348" y="1657"/>
                    </a:lnTo>
                    <a:lnTo>
                      <a:pt x="1346" y="1657"/>
                    </a:lnTo>
                    <a:lnTo>
                      <a:pt x="1344" y="1657"/>
                    </a:lnTo>
                    <a:lnTo>
                      <a:pt x="1344" y="1655"/>
                    </a:lnTo>
                    <a:lnTo>
                      <a:pt x="1346" y="1655"/>
                    </a:lnTo>
                    <a:lnTo>
                      <a:pt x="1348" y="1653"/>
                    </a:lnTo>
                    <a:lnTo>
                      <a:pt x="1346" y="1655"/>
                    </a:lnTo>
                    <a:lnTo>
                      <a:pt x="1346" y="1653"/>
                    </a:lnTo>
                    <a:lnTo>
                      <a:pt x="1344" y="1653"/>
                    </a:lnTo>
                    <a:lnTo>
                      <a:pt x="1344" y="1655"/>
                    </a:lnTo>
                    <a:lnTo>
                      <a:pt x="1343" y="1655"/>
                    </a:lnTo>
                    <a:lnTo>
                      <a:pt x="1343" y="1653"/>
                    </a:lnTo>
                    <a:lnTo>
                      <a:pt x="1344" y="1653"/>
                    </a:lnTo>
                    <a:lnTo>
                      <a:pt x="1344" y="1652"/>
                    </a:lnTo>
                    <a:lnTo>
                      <a:pt x="1343" y="1653"/>
                    </a:lnTo>
                    <a:lnTo>
                      <a:pt x="1341" y="1653"/>
                    </a:lnTo>
                    <a:lnTo>
                      <a:pt x="1339" y="1653"/>
                    </a:lnTo>
                    <a:lnTo>
                      <a:pt x="1338" y="1653"/>
                    </a:lnTo>
                    <a:lnTo>
                      <a:pt x="1339" y="1653"/>
                    </a:lnTo>
                    <a:lnTo>
                      <a:pt x="1339" y="1652"/>
                    </a:lnTo>
                    <a:lnTo>
                      <a:pt x="1341" y="1652"/>
                    </a:lnTo>
                    <a:lnTo>
                      <a:pt x="1339" y="1650"/>
                    </a:lnTo>
                    <a:lnTo>
                      <a:pt x="1341" y="1650"/>
                    </a:lnTo>
                    <a:lnTo>
                      <a:pt x="1343" y="1650"/>
                    </a:lnTo>
                    <a:lnTo>
                      <a:pt x="1344" y="1650"/>
                    </a:lnTo>
                    <a:lnTo>
                      <a:pt x="1346" y="1650"/>
                    </a:lnTo>
                    <a:lnTo>
                      <a:pt x="1348" y="1650"/>
                    </a:lnTo>
                    <a:lnTo>
                      <a:pt x="1346" y="1650"/>
                    </a:lnTo>
                    <a:lnTo>
                      <a:pt x="1344" y="1650"/>
                    </a:lnTo>
                    <a:lnTo>
                      <a:pt x="1343" y="1650"/>
                    </a:lnTo>
                    <a:lnTo>
                      <a:pt x="1344" y="1650"/>
                    </a:lnTo>
                    <a:lnTo>
                      <a:pt x="1344" y="1648"/>
                    </a:lnTo>
                    <a:lnTo>
                      <a:pt x="1343" y="1650"/>
                    </a:lnTo>
                    <a:lnTo>
                      <a:pt x="1343" y="1648"/>
                    </a:lnTo>
                    <a:lnTo>
                      <a:pt x="1344" y="1646"/>
                    </a:lnTo>
                    <a:lnTo>
                      <a:pt x="1346" y="1646"/>
                    </a:lnTo>
                    <a:lnTo>
                      <a:pt x="1348" y="1646"/>
                    </a:lnTo>
                    <a:lnTo>
                      <a:pt x="1348" y="1645"/>
                    </a:lnTo>
                    <a:lnTo>
                      <a:pt x="1349" y="1645"/>
                    </a:lnTo>
                    <a:lnTo>
                      <a:pt x="1349" y="1643"/>
                    </a:lnTo>
                    <a:lnTo>
                      <a:pt x="1348" y="1645"/>
                    </a:lnTo>
                    <a:lnTo>
                      <a:pt x="1346" y="1645"/>
                    </a:lnTo>
                    <a:lnTo>
                      <a:pt x="1344" y="1646"/>
                    </a:lnTo>
                    <a:lnTo>
                      <a:pt x="1343" y="1646"/>
                    </a:lnTo>
                    <a:lnTo>
                      <a:pt x="1343" y="1648"/>
                    </a:lnTo>
                    <a:lnTo>
                      <a:pt x="1341" y="1648"/>
                    </a:lnTo>
                    <a:lnTo>
                      <a:pt x="1339" y="1648"/>
                    </a:lnTo>
                    <a:lnTo>
                      <a:pt x="1339" y="1650"/>
                    </a:lnTo>
                    <a:lnTo>
                      <a:pt x="1338" y="1650"/>
                    </a:lnTo>
                    <a:lnTo>
                      <a:pt x="1336" y="1650"/>
                    </a:lnTo>
                    <a:lnTo>
                      <a:pt x="1334" y="1650"/>
                    </a:lnTo>
                    <a:lnTo>
                      <a:pt x="1336" y="1648"/>
                    </a:lnTo>
                    <a:lnTo>
                      <a:pt x="1334" y="1648"/>
                    </a:lnTo>
                    <a:lnTo>
                      <a:pt x="1332" y="1648"/>
                    </a:lnTo>
                    <a:lnTo>
                      <a:pt x="1332" y="1646"/>
                    </a:lnTo>
                    <a:lnTo>
                      <a:pt x="1334" y="1648"/>
                    </a:lnTo>
                    <a:lnTo>
                      <a:pt x="1336" y="1646"/>
                    </a:lnTo>
                    <a:lnTo>
                      <a:pt x="1334" y="1645"/>
                    </a:lnTo>
                    <a:lnTo>
                      <a:pt x="1332" y="1645"/>
                    </a:lnTo>
                    <a:lnTo>
                      <a:pt x="1331" y="1645"/>
                    </a:lnTo>
                    <a:lnTo>
                      <a:pt x="1332" y="1645"/>
                    </a:lnTo>
                    <a:lnTo>
                      <a:pt x="1334" y="1645"/>
                    </a:lnTo>
                    <a:lnTo>
                      <a:pt x="1336" y="1645"/>
                    </a:lnTo>
                    <a:lnTo>
                      <a:pt x="1338" y="1645"/>
                    </a:lnTo>
                    <a:lnTo>
                      <a:pt x="1336" y="1643"/>
                    </a:lnTo>
                    <a:lnTo>
                      <a:pt x="1336" y="1645"/>
                    </a:lnTo>
                    <a:lnTo>
                      <a:pt x="1334" y="1645"/>
                    </a:lnTo>
                    <a:lnTo>
                      <a:pt x="1332" y="1643"/>
                    </a:lnTo>
                    <a:lnTo>
                      <a:pt x="1334" y="1643"/>
                    </a:lnTo>
                    <a:lnTo>
                      <a:pt x="1332" y="1643"/>
                    </a:lnTo>
                    <a:lnTo>
                      <a:pt x="1331" y="1643"/>
                    </a:lnTo>
                    <a:lnTo>
                      <a:pt x="1331" y="1641"/>
                    </a:lnTo>
                    <a:lnTo>
                      <a:pt x="1331" y="1640"/>
                    </a:lnTo>
                    <a:lnTo>
                      <a:pt x="1332" y="1640"/>
                    </a:lnTo>
                    <a:lnTo>
                      <a:pt x="1332" y="1641"/>
                    </a:lnTo>
                    <a:lnTo>
                      <a:pt x="1334" y="1641"/>
                    </a:lnTo>
                    <a:lnTo>
                      <a:pt x="1332" y="1641"/>
                    </a:lnTo>
                    <a:lnTo>
                      <a:pt x="1332" y="1640"/>
                    </a:lnTo>
                    <a:lnTo>
                      <a:pt x="1334" y="1640"/>
                    </a:lnTo>
                    <a:lnTo>
                      <a:pt x="1334" y="1638"/>
                    </a:lnTo>
                    <a:lnTo>
                      <a:pt x="1336" y="1638"/>
                    </a:lnTo>
                    <a:lnTo>
                      <a:pt x="1338" y="1638"/>
                    </a:lnTo>
                    <a:lnTo>
                      <a:pt x="1339" y="1638"/>
                    </a:lnTo>
                    <a:lnTo>
                      <a:pt x="1339" y="1636"/>
                    </a:lnTo>
                    <a:lnTo>
                      <a:pt x="1341" y="1636"/>
                    </a:lnTo>
                    <a:lnTo>
                      <a:pt x="1343" y="1636"/>
                    </a:lnTo>
                    <a:lnTo>
                      <a:pt x="1343" y="1638"/>
                    </a:lnTo>
                    <a:lnTo>
                      <a:pt x="1343" y="1636"/>
                    </a:lnTo>
                    <a:lnTo>
                      <a:pt x="1344" y="1636"/>
                    </a:lnTo>
                    <a:lnTo>
                      <a:pt x="1346" y="1636"/>
                    </a:lnTo>
                    <a:lnTo>
                      <a:pt x="1346" y="1638"/>
                    </a:lnTo>
                    <a:lnTo>
                      <a:pt x="1346" y="1640"/>
                    </a:lnTo>
                    <a:lnTo>
                      <a:pt x="1348" y="1640"/>
                    </a:lnTo>
                    <a:lnTo>
                      <a:pt x="1346" y="1640"/>
                    </a:lnTo>
                    <a:lnTo>
                      <a:pt x="1348" y="1641"/>
                    </a:lnTo>
                    <a:lnTo>
                      <a:pt x="1348" y="1643"/>
                    </a:lnTo>
                    <a:lnTo>
                      <a:pt x="1346" y="1643"/>
                    </a:lnTo>
                    <a:lnTo>
                      <a:pt x="1348" y="1641"/>
                    </a:lnTo>
                    <a:lnTo>
                      <a:pt x="1348" y="1640"/>
                    </a:lnTo>
                    <a:lnTo>
                      <a:pt x="1348" y="1638"/>
                    </a:lnTo>
                    <a:lnTo>
                      <a:pt x="1346" y="1638"/>
                    </a:lnTo>
                    <a:lnTo>
                      <a:pt x="1348" y="1638"/>
                    </a:lnTo>
                    <a:lnTo>
                      <a:pt x="1346" y="1636"/>
                    </a:lnTo>
                    <a:lnTo>
                      <a:pt x="1346" y="1635"/>
                    </a:lnTo>
                    <a:lnTo>
                      <a:pt x="1348" y="1635"/>
                    </a:lnTo>
                    <a:lnTo>
                      <a:pt x="1349" y="1635"/>
                    </a:lnTo>
                    <a:lnTo>
                      <a:pt x="1351" y="1635"/>
                    </a:lnTo>
                    <a:lnTo>
                      <a:pt x="1351" y="1636"/>
                    </a:lnTo>
                    <a:lnTo>
                      <a:pt x="1349" y="1636"/>
                    </a:lnTo>
                    <a:lnTo>
                      <a:pt x="1351" y="1636"/>
                    </a:lnTo>
                    <a:lnTo>
                      <a:pt x="1353" y="1636"/>
                    </a:lnTo>
                    <a:lnTo>
                      <a:pt x="1355" y="1636"/>
                    </a:lnTo>
                    <a:lnTo>
                      <a:pt x="1353" y="1636"/>
                    </a:lnTo>
                    <a:lnTo>
                      <a:pt x="1353" y="1635"/>
                    </a:lnTo>
                    <a:lnTo>
                      <a:pt x="1353" y="1633"/>
                    </a:lnTo>
                    <a:lnTo>
                      <a:pt x="1355" y="1633"/>
                    </a:lnTo>
                    <a:lnTo>
                      <a:pt x="1356" y="1633"/>
                    </a:lnTo>
                    <a:lnTo>
                      <a:pt x="1358" y="1633"/>
                    </a:lnTo>
                    <a:lnTo>
                      <a:pt x="1358" y="1635"/>
                    </a:lnTo>
                    <a:lnTo>
                      <a:pt x="1360" y="1635"/>
                    </a:lnTo>
                    <a:lnTo>
                      <a:pt x="1358" y="1635"/>
                    </a:lnTo>
                    <a:lnTo>
                      <a:pt x="1358" y="1633"/>
                    </a:lnTo>
                    <a:lnTo>
                      <a:pt x="1360" y="1633"/>
                    </a:lnTo>
                    <a:lnTo>
                      <a:pt x="1361" y="1631"/>
                    </a:lnTo>
                    <a:lnTo>
                      <a:pt x="1361" y="1633"/>
                    </a:lnTo>
                    <a:lnTo>
                      <a:pt x="1363" y="1631"/>
                    </a:lnTo>
                    <a:lnTo>
                      <a:pt x="1363" y="1633"/>
                    </a:lnTo>
                    <a:lnTo>
                      <a:pt x="1365" y="1633"/>
                    </a:lnTo>
                    <a:lnTo>
                      <a:pt x="1365" y="1631"/>
                    </a:lnTo>
                    <a:lnTo>
                      <a:pt x="1366" y="1631"/>
                    </a:lnTo>
                    <a:lnTo>
                      <a:pt x="1368" y="1631"/>
                    </a:lnTo>
                    <a:lnTo>
                      <a:pt x="1370" y="1631"/>
                    </a:lnTo>
                    <a:lnTo>
                      <a:pt x="1372" y="1631"/>
                    </a:lnTo>
                    <a:lnTo>
                      <a:pt x="1373" y="1631"/>
                    </a:lnTo>
                    <a:lnTo>
                      <a:pt x="1373" y="1629"/>
                    </a:lnTo>
                    <a:lnTo>
                      <a:pt x="1375" y="1629"/>
                    </a:lnTo>
                    <a:lnTo>
                      <a:pt x="1377" y="1629"/>
                    </a:lnTo>
                    <a:lnTo>
                      <a:pt x="1378" y="1629"/>
                    </a:lnTo>
                    <a:lnTo>
                      <a:pt x="1380" y="1628"/>
                    </a:lnTo>
                    <a:lnTo>
                      <a:pt x="1382" y="1628"/>
                    </a:lnTo>
                    <a:close/>
                    <a:moveTo>
                      <a:pt x="1229" y="1539"/>
                    </a:moveTo>
                    <a:lnTo>
                      <a:pt x="1230" y="1539"/>
                    </a:lnTo>
                    <a:lnTo>
                      <a:pt x="1229" y="1541"/>
                    </a:lnTo>
                    <a:lnTo>
                      <a:pt x="1229" y="1543"/>
                    </a:lnTo>
                    <a:lnTo>
                      <a:pt x="1229" y="1541"/>
                    </a:lnTo>
                    <a:lnTo>
                      <a:pt x="1230" y="1541"/>
                    </a:lnTo>
                    <a:lnTo>
                      <a:pt x="1230" y="1543"/>
                    </a:lnTo>
                    <a:lnTo>
                      <a:pt x="1229" y="1544"/>
                    </a:lnTo>
                    <a:lnTo>
                      <a:pt x="1230" y="1544"/>
                    </a:lnTo>
                    <a:lnTo>
                      <a:pt x="1230" y="1546"/>
                    </a:lnTo>
                    <a:lnTo>
                      <a:pt x="1230" y="1544"/>
                    </a:lnTo>
                    <a:lnTo>
                      <a:pt x="1230" y="1543"/>
                    </a:lnTo>
                    <a:lnTo>
                      <a:pt x="1230" y="1541"/>
                    </a:lnTo>
                    <a:lnTo>
                      <a:pt x="1230" y="1539"/>
                    </a:lnTo>
                    <a:lnTo>
                      <a:pt x="1230" y="1541"/>
                    </a:lnTo>
                    <a:lnTo>
                      <a:pt x="1232" y="1541"/>
                    </a:lnTo>
                    <a:lnTo>
                      <a:pt x="1232" y="1543"/>
                    </a:lnTo>
                    <a:lnTo>
                      <a:pt x="1232" y="1541"/>
                    </a:lnTo>
                    <a:lnTo>
                      <a:pt x="1234" y="1543"/>
                    </a:lnTo>
                    <a:lnTo>
                      <a:pt x="1232" y="1543"/>
                    </a:lnTo>
                    <a:lnTo>
                      <a:pt x="1234" y="1543"/>
                    </a:lnTo>
                    <a:lnTo>
                      <a:pt x="1234" y="1544"/>
                    </a:lnTo>
                    <a:lnTo>
                      <a:pt x="1232" y="1544"/>
                    </a:lnTo>
                    <a:lnTo>
                      <a:pt x="1232" y="1546"/>
                    </a:lnTo>
                    <a:lnTo>
                      <a:pt x="1232" y="1548"/>
                    </a:lnTo>
                    <a:lnTo>
                      <a:pt x="1234" y="1546"/>
                    </a:lnTo>
                    <a:lnTo>
                      <a:pt x="1232" y="1546"/>
                    </a:lnTo>
                    <a:lnTo>
                      <a:pt x="1234" y="1544"/>
                    </a:lnTo>
                    <a:lnTo>
                      <a:pt x="1234" y="1546"/>
                    </a:lnTo>
                    <a:lnTo>
                      <a:pt x="1236" y="1546"/>
                    </a:lnTo>
                    <a:lnTo>
                      <a:pt x="1234" y="1548"/>
                    </a:lnTo>
                    <a:lnTo>
                      <a:pt x="1232" y="1548"/>
                    </a:lnTo>
                    <a:lnTo>
                      <a:pt x="1234" y="1548"/>
                    </a:lnTo>
                    <a:lnTo>
                      <a:pt x="1236" y="1548"/>
                    </a:lnTo>
                    <a:lnTo>
                      <a:pt x="1234" y="1548"/>
                    </a:lnTo>
                    <a:lnTo>
                      <a:pt x="1234" y="1549"/>
                    </a:lnTo>
                    <a:lnTo>
                      <a:pt x="1236" y="1549"/>
                    </a:lnTo>
                    <a:lnTo>
                      <a:pt x="1234" y="1551"/>
                    </a:lnTo>
                    <a:lnTo>
                      <a:pt x="1234" y="1553"/>
                    </a:lnTo>
                    <a:lnTo>
                      <a:pt x="1234" y="1555"/>
                    </a:lnTo>
                    <a:lnTo>
                      <a:pt x="1236" y="1555"/>
                    </a:lnTo>
                    <a:lnTo>
                      <a:pt x="1236" y="1553"/>
                    </a:lnTo>
                    <a:lnTo>
                      <a:pt x="1234" y="1553"/>
                    </a:lnTo>
                    <a:lnTo>
                      <a:pt x="1236" y="1551"/>
                    </a:lnTo>
                    <a:lnTo>
                      <a:pt x="1236" y="1549"/>
                    </a:lnTo>
                    <a:lnTo>
                      <a:pt x="1237" y="1549"/>
                    </a:lnTo>
                    <a:lnTo>
                      <a:pt x="1236" y="1548"/>
                    </a:lnTo>
                    <a:lnTo>
                      <a:pt x="1236" y="1546"/>
                    </a:lnTo>
                    <a:lnTo>
                      <a:pt x="1236" y="1544"/>
                    </a:lnTo>
                    <a:lnTo>
                      <a:pt x="1234" y="1543"/>
                    </a:lnTo>
                    <a:lnTo>
                      <a:pt x="1236" y="1543"/>
                    </a:lnTo>
                    <a:lnTo>
                      <a:pt x="1237" y="1544"/>
                    </a:lnTo>
                    <a:lnTo>
                      <a:pt x="1237" y="1546"/>
                    </a:lnTo>
                    <a:lnTo>
                      <a:pt x="1239" y="1546"/>
                    </a:lnTo>
                    <a:lnTo>
                      <a:pt x="1239" y="1548"/>
                    </a:lnTo>
                    <a:lnTo>
                      <a:pt x="1239" y="1549"/>
                    </a:lnTo>
                    <a:lnTo>
                      <a:pt x="1241" y="1551"/>
                    </a:lnTo>
                    <a:lnTo>
                      <a:pt x="1239" y="1551"/>
                    </a:lnTo>
                    <a:lnTo>
                      <a:pt x="1239" y="1553"/>
                    </a:lnTo>
                    <a:lnTo>
                      <a:pt x="1241" y="1551"/>
                    </a:lnTo>
                    <a:lnTo>
                      <a:pt x="1241" y="1553"/>
                    </a:lnTo>
                    <a:lnTo>
                      <a:pt x="1241" y="1555"/>
                    </a:lnTo>
                    <a:lnTo>
                      <a:pt x="1242" y="1553"/>
                    </a:lnTo>
                    <a:lnTo>
                      <a:pt x="1242" y="1551"/>
                    </a:lnTo>
                    <a:lnTo>
                      <a:pt x="1242" y="1549"/>
                    </a:lnTo>
                    <a:lnTo>
                      <a:pt x="1241" y="1549"/>
                    </a:lnTo>
                    <a:lnTo>
                      <a:pt x="1241" y="1548"/>
                    </a:lnTo>
                    <a:lnTo>
                      <a:pt x="1242" y="1548"/>
                    </a:lnTo>
                    <a:lnTo>
                      <a:pt x="1242" y="1549"/>
                    </a:lnTo>
                    <a:lnTo>
                      <a:pt x="1242" y="1548"/>
                    </a:lnTo>
                    <a:lnTo>
                      <a:pt x="1244" y="1549"/>
                    </a:lnTo>
                    <a:lnTo>
                      <a:pt x="1246" y="1549"/>
                    </a:lnTo>
                    <a:lnTo>
                      <a:pt x="1247" y="1549"/>
                    </a:lnTo>
                    <a:lnTo>
                      <a:pt x="1247" y="1551"/>
                    </a:lnTo>
                    <a:lnTo>
                      <a:pt x="1249" y="1551"/>
                    </a:lnTo>
                    <a:lnTo>
                      <a:pt x="1247" y="1553"/>
                    </a:lnTo>
                    <a:lnTo>
                      <a:pt x="1249" y="1553"/>
                    </a:lnTo>
                    <a:lnTo>
                      <a:pt x="1249" y="1551"/>
                    </a:lnTo>
                    <a:lnTo>
                      <a:pt x="1249" y="1553"/>
                    </a:lnTo>
                    <a:lnTo>
                      <a:pt x="1251" y="1553"/>
                    </a:lnTo>
                    <a:lnTo>
                      <a:pt x="1249" y="1555"/>
                    </a:lnTo>
                    <a:lnTo>
                      <a:pt x="1247" y="1555"/>
                    </a:lnTo>
                    <a:lnTo>
                      <a:pt x="1246" y="1555"/>
                    </a:lnTo>
                    <a:lnTo>
                      <a:pt x="1244" y="1555"/>
                    </a:lnTo>
                    <a:lnTo>
                      <a:pt x="1242" y="1555"/>
                    </a:lnTo>
                    <a:lnTo>
                      <a:pt x="1242" y="1556"/>
                    </a:lnTo>
                    <a:lnTo>
                      <a:pt x="1242" y="1558"/>
                    </a:lnTo>
                    <a:lnTo>
                      <a:pt x="1244" y="1558"/>
                    </a:lnTo>
                    <a:lnTo>
                      <a:pt x="1242" y="1558"/>
                    </a:lnTo>
                    <a:lnTo>
                      <a:pt x="1244" y="1558"/>
                    </a:lnTo>
                    <a:lnTo>
                      <a:pt x="1246" y="1558"/>
                    </a:lnTo>
                    <a:lnTo>
                      <a:pt x="1244" y="1558"/>
                    </a:lnTo>
                    <a:lnTo>
                      <a:pt x="1242" y="1558"/>
                    </a:lnTo>
                    <a:lnTo>
                      <a:pt x="1244" y="1556"/>
                    </a:lnTo>
                    <a:lnTo>
                      <a:pt x="1246" y="1556"/>
                    </a:lnTo>
                    <a:lnTo>
                      <a:pt x="1247" y="1555"/>
                    </a:lnTo>
                    <a:lnTo>
                      <a:pt x="1247" y="1556"/>
                    </a:lnTo>
                    <a:lnTo>
                      <a:pt x="1249" y="1556"/>
                    </a:lnTo>
                    <a:lnTo>
                      <a:pt x="1247" y="1556"/>
                    </a:lnTo>
                    <a:lnTo>
                      <a:pt x="1249" y="1556"/>
                    </a:lnTo>
                    <a:lnTo>
                      <a:pt x="1249" y="1558"/>
                    </a:lnTo>
                    <a:lnTo>
                      <a:pt x="1247" y="1558"/>
                    </a:lnTo>
                    <a:lnTo>
                      <a:pt x="1249" y="1558"/>
                    </a:lnTo>
                    <a:lnTo>
                      <a:pt x="1247" y="1558"/>
                    </a:lnTo>
                    <a:lnTo>
                      <a:pt x="1247" y="1560"/>
                    </a:lnTo>
                    <a:lnTo>
                      <a:pt x="1249" y="1560"/>
                    </a:lnTo>
                    <a:lnTo>
                      <a:pt x="1249" y="1558"/>
                    </a:lnTo>
                    <a:lnTo>
                      <a:pt x="1249" y="1556"/>
                    </a:lnTo>
                    <a:lnTo>
                      <a:pt x="1251" y="1556"/>
                    </a:lnTo>
                    <a:lnTo>
                      <a:pt x="1253" y="1556"/>
                    </a:lnTo>
                    <a:lnTo>
                      <a:pt x="1251" y="1558"/>
                    </a:lnTo>
                    <a:lnTo>
                      <a:pt x="1253" y="1558"/>
                    </a:lnTo>
                    <a:lnTo>
                      <a:pt x="1253" y="1556"/>
                    </a:lnTo>
                    <a:lnTo>
                      <a:pt x="1254" y="1558"/>
                    </a:lnTo>
                    <a:lnTo>
                      <a:pt x="1256" y="1558"/>
                    </a:lnTo>
                    <a:lnTo>
                      <a:pt x="1254" y="1560"/>
                    </a:lnTo>
                    <a:lnTo>
                      <a:pt x="1253" y="1560"/>
                    </a:lnTo>
                    <a:lnTo>
                      <a:pt x="1254" y="1560"/>
                    </a:lnTo>
                    <a:lnTo>
                      <a:pt x="1256" y="1560"/>
                    </a:lnTo>
                    <a:lnTo>
                      <a:pt x="1258" y="1560"/>
                    </a:lnTo>
                    <a:lnTo>
                      <a:pt x="1258" y="1561"/>
                    </a:lnTo>
                    <a:lnTo>
                      <a:pt x="1259" y="1563"/>
                    </a:lnTo>
                    <a:lnTo>
                      <a:pt x="1258" y="1563"/>
                    </a:lnTo>
                    <a:lnTo>
                      <a:pt x="1256" y="1563"/>
                    </a:lnTo>
                    <a:lnTo>
                      <a:pt x="1254" y="1563"/>
                    </a:lnTo>
                    <a:lnTo>
                      <a:pt x="1256" y="1563"/>
                    </a:lnTo>
                    <a:lnTo>
                      <a:pt x="1258" y="1565"/>
                    </a:lnTo>
                    <a:lnTo>
                      <a:pt x="1256" y="1565"/>
                    </a:lnTo>
                    <a:lnTo>
                      <a:pt x="1256" y="1566"/>
                    </a:lnTo>
                    <a:lnTo>
                      <a:pt x="1254" y="1566"/>
                    </a:lnTo>
                    <a:lnTo>
                      <a:pt x="1253" y="1565"/>
                    </a:lnTo>
                    <a:lnTo>
                      <a:pt x="1251" y="1563"/>
                    </a:lnTo>
                    <a:lnTo>
                      <a:pt x="1251" y="1565"/>
                    </a:lnTo>
                    <a:lnTo>
                      <a:pt x="1249" y="1565"/>
                    </a:lnTo>
                    <a:lnTo>
                      <a:pt x="1247" y="1565"/>
                    </a:lnTo>
                    <a:lnTo>
                      <a:pt x="1249" y="1565"/>
                    </a:lnTo>
                    <a:lnTo>
                      <a:pt x="1251" y="1565"/>
                    </a:lnTo>
                    <a:lnTo>
                      <a:pt x="1253" y="1565"/>
                    </a:lnTo>
                    <a:lnTo>
                      <a:pt x="1251" y="1566"/>
                    </a:lnTo>
                    <a:lnTo>
                      <a:pt x="1253" y="1566"/>
                    </a:lnTo>
                    <a:lnTo>
                      <a:pt x="1253" y="1568"/>
                    </a:lnTo>
                    <a:lnTo>
                      <a:pt x="1253" y="1570"/>
                    </a:lnTo>
                    <a:lnTo>
                      <a:pt x="1251" y="1570"/>
                    </a:lnTo>
                    <a:lnTo>
                      <a:pt x="1251" y="1568"/>
                    </a:lnTo>
                    <a:lnTo>
                      <a:pt x="1251" y="1570"/>
                    </a:lnTo>
                    <a:lnTo>
                      <a:pt x="1251" y="1568"/>
                    </a:lnTo>
                    <a:lnTo>
                      <a:pt x="1249" y="1568"/>
                    </a:lnTo>
                    <a:lnTo>
                      <a:pt x="1247" y="1568"/>
                    </a:lnTo>
                    <a:lnTo>
                      <a:pt x="1249" y="1568"/>
                    </a:lnTo>
                    <a:lnTo>
                      <a:pt x="1249" y="1570"/>
                    </a:lnTo>
                    <a:lnTo>
                      <a:pt x="1251" y="1570"/>
                    </a:lnTo>
                    <a:lnTo>
                      <a:pt x="1251" y="1572"/>
                    </a:lnTo>
                    <a:lnTo>
                      <a:pt x="1249" y="1572"/>
                    </a:lnTo>
                    <a:lnTo>
                      <a:pt x="1247" y="1572"/>
                    </a:lnTo>
                    <a:lnTo>
                      <a:pt x="1249" y="1572"/>
                    </a:lnTo>
                    <a:lnTo>
                      <a:pt x="1251" y="1573"/>
                    </a:lnTo>
                    <a:lnTo>
                      <a:pt x="1251" y="1575"/>
                    </a:lnTo>
                    <a:lnTo>
                      <a:pt x="1251" y="1573"/>
                    </a:lnTo>
                    <a:lnTo>
                      <a:pt x="1253" y="1575"/>
                    </a:lnTo>
                    <a:lnTo>
                      <a:pt x="1253" y="1577"/>
                    </a:lnTo>
                    <a:lnTo>
                      <a:pt x="1251" y="1577"/>
                    </a:lnTo>
                    <a:lnTo>
                      <a:pt x="1249" y="1577"/>
                    </a:lnTo>
                    <a:lnTo>
                      <a:pt x="1249" y="1578"/>
                    </a:lnTo>
                    <a:lnTo>
                      <a:pt x="1247" y="1578"/>
                    </a:lnTo>
                    <a:lnTo>
                      <a:pt x="1247" y="1577"/>
                    </a:lnTo>
                    <a:lnTo>
                      <a:pt x="1247" y="1575"/>
                    </a:lnTo>
                    <a:lnTo>
                      <a:pt x="1246" y="1575"/>
                    </a:lnTo>
                    <a:lnTo>
                      <a:pt x="1247" y="1575"/>
                    </a:lnTo>
                    <a:lnTo>
                      <a:pt x="1247" y="1573"/>
                    </a:lnTo>
                    <a:lnTo>
                      <a:pt x="1247" y="1572"/>
                    </a:lnTo>
                    <a:lnTo>
                      <a:pt x="1247" y="1573"/>
                    </a:lnTo>
                    <a:lnTo>
                      <a:pt x="1247" y="1575"/>
                    </a:lnTo>
                    <a:lnTo>
                      <a:pt x="1246" y="1575"/>
                    </a:lnTo>
                    <a:lnTo>
                      <a:pt x="1246" y="1573"/>
                    </a:lnTo>
                    <a:lnTo>
                      <a:pt x="1244" y="1575"/>
                    </a:lnTo>
                    <a:lnTo>
                      <a:pt x="1246" y="1575"/>
                    </a:lnTo>
                    <a:lnTo>
                      <a:pt x="1244" y="1575"/>
                    </a:lnTo>
                    <a:lnTo>
                      <a:pt x="1244" y="1577"/>
                    </a:lnTo>
                    <a:lnTo>
                      <a:pt x="1246" y="1577"/>
                    </a:lnTo>
                    <a:lnTo>
                      <a:pt x="1246" y="1578"/>
                    </a:lnTo>
                    <a:lnTo>
                      <a:pt x="1246" y="1580"/>
                    </a:lnTo>
                    <a:lnTo>
                      <a:pt x="1246" y="1578"/>
                    </a:lnTo>
                    <a:lnTo>
                      <a:pt x="1246" y="1580"/>
                    </a:lnTo>
                    <a:lnTo>
                      <a:pt x="1244" y="1580"/>
                    </a:lnTo>
                    <a:lnTo>
                      <a:pt x="1244" y="1578"/>
                    </a:lnTo>
                    <a:lnTo>
                      <a:pt x="1242" y="1580"/>
                    </a:lnTo>
                    <a:lnTo>
                      <a:pt x="1242" y="1578"/>
                    </a:lnTo>
                    <a:lnTo>
                      <a:pt x="1242" y="1580"/>
                    </a:lnTo>
                    <a:lnTo>
                      <a:pt x="1242" y="1578"/>
                    </a:lnTo>
                    <a:lnTo>
                      <a:pt x="1244" y="1577"/>
                    </a:lnTo>
                    <a:lnTo>
                      <a:pt x="1242" y="1577"/>
                    </a:lnTo>
                    <a:lnTo>
                      <a:pt x="1242" y="1578"/>
                    </a:lnTo>
                    <a:lnTo>
                      <a:pt x="1241" y="1580"/>
                    </a:lnTo>
                    <a:lnTo>
                      <a:pt x="1241" y="1578"/>
                    </a:lnTo>
                    <a:lnTo>
                      <a:pt x="1242" y="1577"/>
                    </a:lnTo>
                    <a:lnTo>
                      <a:pt x="1242" y="1575"/>
                    </a:lnTo>
                    <a:lnTo>
                      <a:pt x="1242" y="1577"/>
                    </a:lnTo>
                    <a:lnTo>
                      <a:pt x="1241" y="1578"/>
                    </a:lnTo>
                    <a:lnTo>
                      <a:pt x="1241" y="1580"/>
                    </a:lnTo>
                    <a:lnTo>
                      <a:pt x="1239" y="1578"/>
                    </a:lnTo>
                    <a:lnTo>
                      <a:pt x="1239" y="1580"/>
                    </a:lnTo>
                    <a:lnTo>
                      <a:pt x="1241" y="1580"/>
                    </a:lnTo>
                    <a:lnTo>
                      <a:pt x="1239" y="1582"/>
                    </a:lnTo>
                    <a:lnTo>
                      <a:pt x="1237" y="1580"/>
                    </a:lnTo>
                    <a:lnTo>
                      <a:pt x="1237" y="1582"/>
                    </a:lnTo>
                    <a:lnTo>
                      <a:pt x="1237" y="1580"/>
                    </a:lnTo>
                    <a:lnTo>
                      <a:pt x="1236" y="1580"/>
                    </a:lnTo>
                    <a:lnTo>
                      <a:pt x="1237" y="1580"/>
                    </a:lnTo>
                    <a:lnTo>
                      <a:pt x="1236" y="1580"/>
                    </a:lnTo>
                    <a:lnTo>
                      <a:pt x="1236" y="1582"/>
                    </a:lnTo>
                    <a:lnTo>
                      <a:pt x="1234" y="1582"/>
                    </a:lnTo>
                    <a:lnTo>
                      <a:pt x="1232" y="1582"/>
                    </a:lnTo>
                    <a:lnTo>
                      <a:pt x="1230" y="1582"/>
                    </a:lnTo>
                    <a:lnTo>
                      <a:pt x="1232" y="1580"/>
                    </a:lnTo>
                    <a:lnTo>
                      <a:pt x="1232" y="1582"/>
                    </a:lnTo>
                    <a:lnTo>
                      <a:pt x="1232" y="1580"/>
                    </a:lnTo>
                    <a:lnTo>
                      <a:pt x="1234" y="1580"/>
                    </a:lnTo>
                    <a:lnTo>
                      <a:pt x="1232" y="1580"/>
                    </a:lnTo>
                    <a:lnTo>
                      <a:pt x="1234" y="1580"/>
                    </a:lnTo>
                    <a:lnTo>
                      <a:pt x="1234" y="1578"/>
                    </a:lnTo>
                    <a:lnTo>
                      <a:pt x="1232" y="1580"/>
                    </a:lnTo>
                    <a:lnTo>
                      <a:pt x="1232" y="1578"/>
                    </a:lnTo>
                    <a:lnTo>
                      <a:pt x="1232" y="1580"/>
                    </a:lnTo>
                    <a:lnTo>
                      <a:pt x="1230" y="1580"/>
                    </a:lnTo>
                    <a:lnTo>
                      <a:pt x="1229" y="1580"/>
                    </a:lnTo>
                    <a:lnTo>
                      <a:pt x="1227" y="1578"/>
                    </a:lnTo>
                    <a:lnTo>
                      <a:pt x="1229" y="1578"/>
                    </a:lnTo>
                    <a:lnTo>
                      <a:pt x="1230" y="1578"/>
                    </a:lnTo>
                    <a:lnTo>
                      <a:pt x="1232" y="1578"/>
                    </a:lnTo>
                    <a:lnTo>
                      <a:pt x="1234" y="1578"/>
                    </a:lnTo>
                    <a:lnTo>
                      <a:pt x="1236" y="1578"/>
                    </a:lnTo>
                    <a:lnTo>
                      <a:pt x="1237" y="1580"/>
                    </a:lnTo>
                    <a:lnTo>
                      <a:pt x="1237" y="1578"/>
                    </a:lnTo>
                    <a:lnTo>
                      <a:pt x="1236" y="1578"/>
                    </a:lnTo>
                    <a:lnTo>
                      <a:pt x="1234" y="1578"/>
                    </a:lnTo>
                    <a:lnTo>
                      <a:pt x="1234" y="1577"/>
                    </a:lnTo>
                    <a:lnTo>
                      <a:pt x="1232" y="1578"/>
                    </a:lnTo>
                    <a:lnTo>
                      <a:pt x="1232" y="1577"/>
                    </a:lnTo>
                    <a:lnTo>
                      <a:pt x="1230" y="1578"/>
                    </a:lnTo>
                    <a:lnTo>
                      <a:pt x="1232" y="1577"/>
                    </a:lnTo>
                    <a:lnTo>
                      <a:pt x="1230" y="1575"/>
                    </a:lnTo>
                    <a:lnTo>
                      <a:pt x="1232" y="1577"/>
                    </a:lnTo>
                    <a:lnTo>
                      <a:pt x="1234" y="1577"/>
                    </a:lnTo>
                    <a:lnTo>
                      <a:pt x="1236" y="1577"/>
                    </a:lnTo>
                    <a:lnTo>
                      <a:pt x="1234" y="1577"/>
                    </a:lnTo>
                    <a:lnTo>
                      <a:pt x="1236" y="1577"/>
                    </a:lnTo>
                    <a:lnTo>
                      <a:pt x="1237" y="1577"/>
                    </a:lnTo>
                    <a:lnTo>
                      <a:pt x="1237" y="1578"/>
                    </a:lnTo>
                    <a:lnTo>
                      <a:pt x="1239" y="1578"/>
                    </a:lnTo>
                    <a:lnTo>
                      <a:pt x="1237" y="1577"/>
                    </a:lnTo>
                    <a:lnTo>
                      <a:pt x="1239" y="1577"/>
                    </a:lnTo>
                    <a:lnTo>
                      <a:pt x="1237" y="1577"/>
                    </a:lnTo>
                    <a:lnTo>
                      <a:pt x="1236" y="1577"/>
                    </a:lnTo>
                    <a:lnTo>
                      <a:pt x="1237" y="1575"/>
                    </a:lnTo>
                    <a:lnTo>
                      <a:pt x="1236" y="1575"/>
                    </a:lnTo>
                    <a:lnTo>
                      <a:pt x="1234" y="1575"/>
                    </a:lnTo>
                    <a:lnTo>
                      <a:pt x="1236" y="1575"/>
                    </a:lnTo>
                    <a:lnTo>
                      <a:pt x="1237" y="1575"/>
                    </a:lnTo>
                    <a:lnTo>
                      <a:pt x="1237" y="1573"/>
                    </a:lnTo>
                    <a:lnTo>
                      <a:pt x="1236" y="1575"/>
                    </a:lnTo>
                    <a:lnTo>
                      <a:pt x="1237" y="1573"/>
                    </a:lnTo>
                    <a:lnTo>
                      <a:pt x="1236" y="1573"/>
                    </a:lnTo>
                    <a:lnTo>
                      <a:pt x="1234" y="1573"/>
                    </a:lnTo>
                    <a:lnTo>
                      <a:pt x="1236" y="1572"/>
                    </a:lnTo>
                    <a:lnTo>
                      <a:pt x="1237" y="1572"/>
                    </a:lnTo>
                    <a:lnTo>
                      <a:pt x="1239" y="1572"/>
                    </a:lnTo>
                    <a:lnTo>
                      <a:pt x="1239" y="1573"/>
                    </a:lnTo>
                    <a:lnTo>
                      <a:pt x="1241" y="1573"/>
                    </a:lnTo>
                    <a:lnTo>
                      <a:pt x="1239" y="1573"/>
                    </a:lnTo>
                    <a:lnTo>
                      <a:pt x="1239" y="1572"/>
                    </a:lnTo>
                    <a:lnTo>
                      <a:pt x="1237" y="1572"/>
                    </a:lnTo>
                    <a:lnTo>
                      <a:pt x="1237" y="1570"/>
                    </a:lnTo>
                    <a:lnTo>
                      <a:pt x="1237" y="1572"/>
                    </a:lnTo>
                    <a:lnTo>
                      <a:pt x="1237" y="1570"/>
                    </a:lnTo>
                    <a:lnTo>
                      <a:pt x="1239" y="1568"/>
                    </a:lnTo>
                    <a:lnTo>
                      <a:pt x="1241" y="1568"/>
                    </a:lnTo>
                    <a:lnTo>
                      <a:pt x="1242" y="1568"/>
                    </a:lnTo>
                    <a:lnTo>
                      <a:pt x="1242" y="1566"/>
                    </a:lnTo>
                    <a:lnTo>
                      <a:pt x="1241" y="1566"/>
                    </a:lnTo>
                    <a:lnTo>
                      <a:pt x="1241" y="1568"/>
                    </a:lnTo>
                    <a:lnTo>
                      <a:pt x="1241" y="1566"/>
                    </a:lnTo>
                    <a:lnTo>
                      <a:pt x="1239" y="1566"/>
                    </a:lnTo>
                    <a:lnTo>
                      <a:pt x="1241" y="1566"/>
                    </a:lnTo>
                    <a:lnTo>
                      <a:pt x="1239" y="1566"/>
                    </a:lnTo>
                    <a:lnTo>
                      <a:pt x="1239" y="1568"/>
                    </a:lnTo>
                    <a:lnTo>
                      <a:pt x="1237" y="1568"/>
                    </a:lnTo>
                    <a:lnTo>
                      <a:pt x="1237" y="1570"/>
                    </a:lnTo>
                    <a:lnTo>
                      <a:pt x="1237" y="1568"/>
                    </a:lnTo>
                    <a:lnTo>
                      <a:pt x="1237" y="1566"/>
                    </a:lnTo>
                    <a:lnTo>
                      <a:pt x="1239" y="1566"/>
                    </a:lnTo>
                    <a:lnTo>
                      <a:pt x="1239" y="1565"/>
                    </a:lnTo>
                    <a:lnTo>
                      <a:pt x="1237" y="1566"/>
                    </a:lnTo>
                    <a:lnTo>
                      <a:pt x="1236" y="1568"/>
                    </a:lnTo>
                    <a:lnTo>
                      <a:pt x="1237" y="1568"/>
                    </a:lnTo>
                    <a:lnTo>
                      <a:pt x="1236" y="1568"/>
                    </a:lnTo>
                    <a:lnTo>
                      <a:pt x="1237" y="1570"/>
                    </a:lnTo>
                    <a:lnTo>
                      <a:pt x="1236" y="1570"/>
                    </a:lnTo>
                    <a:lnTo>
                      <a:pt x="1236" y="1572"/>
                    </a:lnTo>
                    <a:lnTo>
                      <a:pt x="1234" y="1572"/>
                    </a:lnTo>
                    <a:lnTo>
                      <a:pt x="1232" y="1572"/>
                    </a:lnTo>
                    <a:lnTo>
                      <a:pt x="1234" y="1572"/>
                    </a:lnTo>
                    <a:lnTo>
                      <a:pt x="1232" y="1572"/>
                    </a:lnTo>
                    <a:lnTo>
                      <a:pt x="1232" y="1570"/>
                    </a:lnTo>
                    <a:lnTo>
                      <a:pt x="1234" y="1570"/>
                    </a:lnTo>
                    <a:lnTo>
                      <a:pt x="1236" y="1570"/>
                    </a:lnTo>
                    <a:lnTo>
                      <a:pt x="1234" y="1570"/>
                    </a:lnTo>
                    <a:lnTo>
                      <a:pt x="1234" y="1568"/>
                    </a:lnTo>
                    <a:lnTo>
                      <a:pt x="1236" y="1568"/>
                    </a:lnTo>
                    <a:lnTo>
                      <a:pt x="1236" y="1566"/>
                    </a:lnTo>
                    <a:lnTo>
                      <a:pt x="1236" y="1565"/>
                    </a:lnTo>
                    <a:lnTo>
                      <a:pt x="1236" y="1563"/>
                    </a:lnTo>
                    <a:lnTo>
                      <a:pt x="1237" y="1563"/>
                    </a:lnTo>
                    <a:lnTo>
                      <a:pt x="1237" y="1561"/>
                    </a:lnTo>
                    <a:lnTo>
                      <a:pt x="1239" y="1561"/>
                    </a:lnTo>
                    <a:lnTo>
                      <a:pt x="1239" y="1560"/>
                    </a:lnTo>
                    <a:lnTo>
                      <a:pt x="1237" y="1561"/>
                    </a:lnTo>
                    <a:lnTo>
                      <a:pt x="1237" y="1563"/>
                    </a:lnTo>
                    <a:lnTo>
                      <a:pt x="1236" y="1561"/>
                    </a:lnTo>
                    <a:lnTo>
                      <a:pt x="1236" y="1563"/>
                    </a:lnTo>
                    <a:lnTo>
                      <a:pt x="1234" y="1563"/>
                    </a:lnTo>
                    <a:lnTo>
                      <a:pt x="1236" y="1563"/>
                    </a:lnTo>
                    <a:lnTo>
                      <a:pt x="1236" y="1565"/>
                    </a:lnTo>
                    <a:lnTo>
                      <a:pt x="1236" y="1566"/>
                    </a:lnTo>
                    <a:lnTo>
                      <a:pt x="1234" y="1566"/>
                    </a:lnTo>
                    <a:lnTo>
                      <a:pt x="1234" y="1568"/>
                    </a:lnTo>
                    <a:lnTo>
                      <a:pt x="1232" y="1568"/>
                    </a:lnTo>
                    <a:lnTo>
                      <a:pt x="1230" y="1568"/>
                    </a:lnTo>
                    <a:lnTo>
                      <a:pt x="1232" y="1568"/>
                    </a:lnTo>
                    <a:lnTo>
                      <a:pt x="1232" y="1566"/>
                    </a:lnTo>
                    <a:lnTo>
                      <a:pt x="1230" y="1568"/>
                    </a:lnTo>
                    <a:lnTo>
                      <a:pt x="1229" y="1568"/>
                    </a:lnTo>
                    <a:lnTo>
                      <a:pt x="1229" y="1566"/>
                    </a:lnTo>
                    <a:lnTo>
                      <a:pt x="1230" y="1566"/>
                    </a:lnTo>
                    <a:lnTo>
                      <a:pt x="1229" y="1565"/>
                    </a:lnTo>
                    <a:lnTo>
                      <a:pt x="1230" y="1565"/>
                    </a:lnTo>
                    <a:lnTo>
                      <a:pt x="1232" y="1565"/>
                    </a:lnTo>
                    <a:lnTo>
                      <a:pt x="1234" y="1565"/>
                    </a:lnTo>
                    <a:lnTo>
                      <a:pt x="1232" y="1565"/>
                    </a:lnTo>
                    <a:lnTo>
                      <a:pt x="1230" y="1565"/>
                    </a:lnTo>
                    <a:lnTo>
                      <a:pt x="1229" y="1565"/>
                    </a:lnTo>
                    <a:lnTo>
                      <a:pt x="1230" y="1563"/>
                    </a:lnTo>
                    <a:lnTo>
                      <a:pt x="1229" y="1563"/>
                    </a:lnTo>
                    <a:lnTo>
                      <a:pt x="1229" y="1565"/>
                    </a:lnTo>
                    <a:lnTo>
                      <a:pt x="1229" y="1563"/>
                    </a:lnTo>
                    <a:lnTo>
                      <a:pt x="1230" y="1563"/>
                    </a:lnTo>
                    <a:lnTo>
                      <a:pt x="1232" y="1563"/>
                    </a:lnTo>
                    <a:lnTo>
                      <a:pt x="1230" y="1563"/>
                    </a:lnTo>
                    <a:lnTo>
                      <a:pt x="1230" y="1561"/>
                    </a:lnTo>
                    <a:lnTo>
                      <a:pt x="1232" y="1561"/>
                    </a:lnTo>
                    <a:lnTo>
                      <a:pt x="1234" y="1561"/>
                    </a:lnTo>
                    <a:lnTo>
                      <a:pt x="1234" y="1560"/>
                    </a:lnTo>
                    <a:lnTo>
                      <a:pt x="1236" y="1560"/>
                    </a:lnTo>
                    <a:lnTo>
                      <a:pt x="1237" y="1560"/>
                    </a:lnTo>
                    <a:lnTo>
                      <a:pt x="1236" y="1560"/>
                    </a:lnTo>
                    <a:lnTo>
                      <a:pt x="1236" y="1558"/>
                    </a:lnTo>
                    <a:lnTo>
                      <a:pt x="1236" y="1556"/>
                    </a:lnTo>
                    <a:lnTo>
                      <a:pt x="1236" y="1558"/>
                    </a:lnTo>
                    <a:lnTo>
                      <a:pt x="1234" y="1558"/>
                    </a:lnTo>
                    <a:lnTo>
                      <a:pt x="1236" y="1558"/>
                    </a:lnTo>
                    <a:lnTo>
                      <a:pt x="1234" y="1560"/>
                    </a:lnTo>
                    <a:lnTo>
                      <a:pt x="1234" y="1558"/>
                    </a:lnTo>
                    <a:lnTo>
                      <a:pt x="1232" y="1558"/>
                    </a:lnTo>
                    <a:lnTo>
                      <a:pt x="1230" y="1558"/>
                    </a:lnTo>
                    <a:lnTo>
                      <a:pt x="1230" y="1556"/>
                    </a:lnTo>
                    <a:lnTo>
                      <a:pt x="1229" y="1558"/>
                    </a:lnTo>
                    <a:lnTo>
                      <a:pt x="1229" y="1556"/>
                    </a:lnTo>
                    <a:lnTo>
                      <a:pt x="1227" y="1556"/>
                    </a:lnTo>
                    <a:lnTo>
                      <a:pt x="1225" y="1556"/>
                    </a:lnTo>
                    <a:lnTo>
                      <a:pt x="1224" y="1556"/>
                    </a:lnTo>
                    <a:lnTo>
                      <a:pt x="1225" y="1556"/>
                    </a:lnTo>
                    <a:lnTo>
                      <a:pt x="1225" y="1555"/>
                    </a:lnTo>
                    <a:lnTo>
                      <a:pt x="1227" y="1555"/>
                    </a:lnTo>
                    <a:lnTo>
                      <a:pt x="1229" y="1556"/>
                    </a:lnTo>
                    <a:lnTo>
                      <a:pt x="1229" y="1555"/>
                    </a:lnTo>
                    <a:lnTo>
                      <a:pt x="1230" y="1555"/>
                    </a:lnTo>
                    <a:lnTo>
                      <a:pt x="1232" y="1555"/>
                    </a:lnTo>
                    <a:lnTo>
                      <a:pt x="1232" y="1553"/>
                    </a:lnTo>
                    <a:lnTo>
                      <a:pt x="1230" y="1551"/>
                    </a:lnTo>
                    <a:lnTo>
                      <a:pt x="1230" y="1553"/>
                    </a:lnTo>
                    <a:lnTo>
                      <a:pt x="1230" y="1555"/>
                    </a:lnTo>
                    <a:lnTo>
                      <a:pt x="1230" y="1553"/>
                    </a:lnTo>
                    <a:lnTo>
                      <a:pt x="1229" y="1555"/>
                    </a:lnTo>
                    <a:lnTo>
                      <a:pt x="1227" y="1553"/>
                    </a:lnTo>
                    <a:lnTo>
                      <a:pt x="1227" y="1555"/>
                    </a:lnTo>
                    <a:lnTo>
                      <a:pt x="1227" y="1553"/>
                    </a:lnTo>
                    <a:lnTo>
                      <a:pt x="1229" y="1553"/>
                    </a:lnTo>
                    <a:lnTo>
                      <a:pt x="1229" y="1551"/>
                    </a:lnTo>
                    <a:lnTo>
                      <a:pt x="1230" y="1551"/>
                    </a:lnTo>
                    <a:lnTo>
                      <a:pt x="1230" y="1549"/>
                    </a:lnTo>
                    <a:lnTo>
                      <a:pt x="1229" y="1549"/>
                    </a:lnTo>
                    <a:lnTo>
                      <a:pt x="1229" y="1551"/>
                    </a:lnTo>
                    <a:lnTo>
                      <a:pt x="1227" y="1549"/>
                    </a:lnTo>
                    <a:lnTo>
                      <a:pt x="1227" y="1551"/>
                    </a:lnTo>
                    <a:lnTo>
                      <a:pt x="1229" y="1551"/>
                    </a:lnTo>
                    <a:lnTo>
                      <a:pt x="1227" y="1551"/>
                    </a:lnTo>
                    <a:lnTo>
                      <a:pt x="1227" y="1553"/>
                    </a:lnTo>
                    <a:lnTo>
                      <a:pt x="1227" y="1555"/>
                    </a:lnTo>
                    <a:lnTo>
                      <a:pt x="1225" y="1553"/>
                    </a:lnTo>
                    <a:lnTo>
                      <a:pt x="1224" y="1555"/>
                    </a:lnTo>
                    <a:lnTo>
                      <a:pt x="1224" y="1553"/>
                    </a:lnTo>
                    <a:lnTo>
                      <a:pt x="1225" y="1551"/>
                    </a:lnTo>
                    <a:lnTo>
                      <a:pt x="1225" y="1553"/>
                    </a:lnTo>
                    <a:lnTo>
                      <a:pt x="1224" y="1553"/>
                    </a:lnTo>
                    <a:lnTo>
                      <a:pt x="1222" y="1553"/>
                    </a:lnTo>
                    <a:lnTo>
                      <a:pt x="1220" y="1553"/>
                    </a:lnTo>
                    <a:lnTo>
                      <a:pt x="1222" y="1551"/>
                    </a:lnTo>
                    <a:lnTo>
                      <a:pt x="1220" y="1551"/>
                    </a:lnTo>
                    <a:lnTo>
                      <a:pt x="1222" y="1551"/>
                    </a:lnTo>
                    <a:lnTo>
                      <a:pt x="1220" y="1551"/>
                    </a:lnTo>
                    <a:lnTo>
                      <a:pt x="1222" y="1551"/>
                    </a:lnTo>
                    <a:lnTo>
                      <a:pt x="1222" y="1549"/>
                    </a:lnTo>
                    <a:lnTo>
                      <a:pt x="1224" y="1549"/>
                    </a:lnTo>
                    <a:lnTo>
                      <a:pt x="1222" y="1549"/>
                    </a:lnTo>
                    <a:lnTo>
                      <a:pt x="1220" y="1549"/>
                    </a:lnTo>
                    <a:lnTo>
                      <a:pt x="1222" y="1549"/>
                    </a:lnTo>
                    <a:lnTo>
                      <a:pt x="1220" y="1549"/>
                    </a:lnTo>
                    <a:lnTo>
                      <a:pt x="1219" y="1549"/>
                    </a:lnTo>
                    <a:lnTo>
                      <a:pt x="1219" y="1548"/>
                    </a:lnTo>
                    <a:lnTo>
                      <a:pt x="1217" y="1548"/>
                    </a:lnTo>
                    <a:lnTo>
                      <a:pt x="1217" y="1546"/>
                    </a:lnTo>
                    <a:lnTo>
                      <a:pt x="1217" y="1544"/>
                    </a:lnTo>
                    <a:lnTo>
                      <a:pt x="1215" y="1544"/>
                    </a:lnTo>
                    <a:lnTo>
                      <a:pt x="1215" y="1543"/>
                    </a:lnTo>
                    <a:lnTo>
                      <a:pt x="1217" y="1544"/>
                    </a:lnTo>
                    <a:lnTo>
                      <a:pt x="1219" y="1544"/>
                    </a:lnTo>
                    <a:lnTo>
                      <a:pt x="1220" y="1544"/>
                    </a:lnTo>
                    <a:lnTo>
                      <a:pt x="1220" y="1546"/>
                    </a:lnTo>
                    <a:lnTo>
                      <a:pt x="1222" y="1544"/>
                    </a:lnTo>
                    <a:lnTo>
                      <a:pt x="1222" y="1546"/>
                    </a:lnTo>
                    <a:lnTo>
                      <a:pt x="1222" y="1548"/>
                    </a:lnTo>
                    <a:lnTo>
                      <a:pt x="1222" y="1546"/>
                    </a:lnTo>
                    <a:lnTo>
                      <a:pt x="1224" y="1546"/>
                    </a:lnTo>
                    <a:lnTo>
                      <a:pt x="1222" y="1546"/>
                    </a:lnTo>
                    <a:lnTo>
                      <a:pt x="1224" y="1544"/>
                    </a:lnTo>
                    <a:lnTo>
                      <a:pt x="1224" y="1546"/>
                    </a:lnTo>
                    <a:lnTo>
                      <a:pt x="1225" y="1544"/>
                    </a:lnTo>
                    <a:lnTo>
                      <a:pt x="1225" y="1546"/>
                    </a:lnTo>
                    <a:lnTo>
                      <a:pt x="1227" y="1546"/>
                    </a:lnTo>
                    <a:lnTo>
                      <a:pt x="1227" y="1548"/>
                    </a:lnTo>
                    <a:lnTo>
                      <a:pt x="1227" y="1546"/>
                    </a:lnTo>
                    <a:lnTo>
                      <a:pt x="1229" y="1548"/>
                    </a:lnTo>
                    <a:lnTo>
                      <a:pt x="1229" y="1546"/>
                    </a:lnTo>
                    <a:lnTo>
                      <a:pt x="1227" y="1546"/>
                    </a:lnTo>
                    <a:lnTo>
                      <a:pt x="1225" y="1546"/>
                    </a:lnTo>
                    <a:lnTo>
                      <a:pt x="1225" y="1544"/>
                    </a:lnTo>
                    <a:lnTo>
                      <a:pt x="1225" y="1543"/>
                    </a:lnTo>
                    <a:lnTo>
                      <a:pt x="1227" y="1543"/>
                    </a:lnTo>
                    <a:lnTo>
                      <a:pt x="1225" y="1543"/>
                    </a:lnTo>
                    <a:lnTo>
                      <a:pt x="1227" y="1543"/>
                    </a:lnTo>
                    <a:lnTo>
                      <a:pt x="1225" y="1543"/>
                    </a:lnTo>
                    <a:lnTo>
                      <a:pt x="1225" y="1541"/>
                    </a:lnTo>
                    <a:lnTo>
                      <a:pt x="1224" y="1541"/>
                    </a:lnTo>
                    <a:lnTo>
                      <a:pt x="1225" y="1541"/>
                    </a:lnTo>
                    <a:lnTo>
                      <a:pt x="1224" y="1539"/>
                    </a:lnTo>
                    <a:lnTo>
                      <a:pt x="1225" y="1539"/>
                    </a:lnTo>
                    <a:lnTo>
                      <a:pt x="1227" y="1539"/>
                    </a:lnTo>
                    <a:lnTo>
                      <a:pt x="1229" y="1539"/>
                    </a:lnTo>
                    <a:close/>
                    <a:moveTo>
                      <a:pt x="1400" y="1626"/>
                    </a:moveTo>
                    <a:lnTo>
                      <a:pt x="1402" y="1626"/>
                    </a:lnTo>
                    <a:lnTo>
                      <a:pt x="1402" y="1628"/>
                    </a:lnTo>
                    <a:lnTo>
                      <a:pt x="1404" y="1626"/>
                    </a:lnTo>
                    <a:lnTo>
                      <a:pt x="1404" y="1628"/>
                    </a:lnTo>
                    <a:lnTo>
                      <a:pt x="1406" y="1628"/>
                    </a:lnTo>
                    <a:lnTo>
                      <a:pt x="1407" y="1628"/>
                    </a:lnTo>
                    <a:lnTo>
                      <a:pt x="1409" y="1628"/>
                    </a:lnTo>
                    <a:lnTo>
                      <a:pt x="1407" y="1628"/>
                    </a:lnTo>
                    <a:lnTo>
                      <a:pt x="1409" y="1629"/>
                    </a:lnTo>
                    <a:lnTo>
                      <a:pt x="1409" y="1628"/>
                    </a:lnTo>
                    <a:lnTo>
                      <a:pt x="1411" y="1629"/>
                    </a:lnTo>
                    <a:lnTo>
                      <a:pt x="1411" y="1628"/>
                    </a:lnTo>
                    <a:lnTo>
                      <a:pt x="1412" y="1628"/>
                    </a:lnTo>
                    <a:lnTo>
                      <a:pt x="1414" y="1628"/>
                    </a:lnTo>
                    <a:lnTo>
                      <a:pt x="1416" y="1628"/>
                    </a:lnTo>
                    <a:lnTo>
                      <a:pt x="1416" y="1629"/>
                    </a:lnTo>
                    <a:lnTo>
                      <a:pt x="1417" y="1628"/>
                    </a:lnTo>
                    <a:lnTo>
                      <a:pt x="1419" y="1628"/>
                    </a:lnTo>
                    <a:lnTo>
                      <a:pt x="1421" y="1628"/>
                    </a:lnTo>
                    <a:lnTo>
                      <a:pt x="1423" y="1628"/>
                    </a:lnTo>
                    <a:lnTo>
                      <a:pt x="1423" y="1629"/>
                    </a:lnTo>
                    <a:lnTo>
                      <a:pt x="1424" y="1629"/>
                    </a:lnTo>
                    <a:lnTo>
                      <a:pt x="1426" y="1629"/>
                    </a:lnTo>
                    <a:lnTo>
                      <a:pt x="1428" y="1631"/>
                    </a:lnTo>
                    <a:lnTo>
                      <a:pt x="1428" y="1633"/>
                    </a:lnTo>
                    <a:lnTo>
                      <a:pt x="1429" y="1635"/>
                    </a:lnTo>
                    <a:lnTo>
                      <a:pt x="1429" y="1636"/>
                    </a:lnTo>
                    <a:lnTo>
                      <a:pt x="1429" y="1638"/>
                    </a:lnTo>
                    <a:lnTo>
                      <a:pt x="1431" y="1638"/>
                    </a:lnTo>
                    <a:lnTo>
                      <a:pt x="1431" y="1640"/>
                    </a:lnTo>
                    <a:lnTo>
                      <a:pt x="1431" y="1641"/>
                    </a:lnTo>
                    <a:lnTo>
                      <a:pt x="1429" y="1643"/>
                    </a:lnTo>
                    <a:lnTo>
                      <a:pt x="1429" y="1645"/>
                    </a:lnTo>
                    <a:lnTo>
                      <a:pt x="1428" y="1646"/>
                    </a:lnTo>
                    <a:lnTo>
                      <a:pt x="1426" y="1648"/>
                    </a:lnTo>
                    <a:lnTo>
                      <a:pt x="1426" y="1650"/>
                    </a:lnTo>
                    <a:lnTo>
                      <a:pt x="1424" y="1650"/>
                    </a:lnTo>
                    <a:lnTo>
                      <a:pt x="1424" y="1652"/>
                    </a:lnTo>
                    <a:lnTo>
                      <a:pt x="1423" y="1652"/>
                    </a:lnTo>
                    <a:lnTo>
                      <a:pt x="1421" y="1652"/>
                    </a:lnTo>
                    <a:lnTo>
                      <a:pt x="1419" y="1652"/>
                    </a:lnTo>
                    <a:lnTo>
                      <a:pt x="1417" y="1652"/>
                    </a:lnTo>
                    <a:lnTo>
                      <a:pt x="1417" y="1650"/>
                    </a:lnTo>
                    <a:lnTo>
                      <a:pt x="1417" y="1648"/>
                    </a:lnTo>
                    <a:lnTo>
                      <a:pt x="1417" y="1646"/>
                    </a:lnTo>
                    <a:lnTo>
                      <a:pt x="1419" y="1645"/>
                    </a:lnTo>
                    <a:lnTo>
                      <a:pt x="1417" y="1643"/>
                    </a:lnTo>
                    <a:lnTo>
                      <a:pt x="1416" y="1643"/>
                    </a:lnTo>
                    <a:lnTo>
                      <a:pt x="1414" y="1643"/>
                    </a:lnTo>
                    <a:lnTo>
                      <a:pt x="1412" y="1645"/>
                    </a:lnTo>
                    <a:lnTo>
                      <a:pt x="1411" y="1646"/>
                    </a:lnTo>
                    <a:lnTo>
                      <a:pt x="1412" y="1648"/>
                    </a:lnTo>
                    <a:lnTo>
                      <a:pt x="1411" y="1648"/>
                    </a:lnTo>
                    <a:lnTo>
                      <a:pt x="1409" y="1648"/>
                    </a:lnTo>
                    <a:lnTo>
                      <a:pt x="1407" y="1646"/>
                    </a:lnTo>
                    <a:lnTo>
                      <a:pt x="1407" y="1648"/>
                    </a:lnTo>
                    <a:lnTo>
                      <a:pt x="1406" y="1648"/>
                    </a:lnTo>
                    <a:lnTo>
                      <a:pt x="1404" y="1648"/>
                    </a:lnTo>
                    <a:lnTo>
                      <a:pt x="1402" y="1646"/>
                    </a:lnTo>
                    <a:lnTo>
                      <a:pt x="1404" y="1646"/>
                    </a:lnTo>
                    <a:lnTo>
                      <a:pt x="1402" y="1645"/>
                    </a:lnTo>
                    <a:lnTo>
                      <a:pt x="1404" y="1645"/>
                    </a:lnTo>
                    <a:lnTo>
                      <a:pt x="1404" y="1646"/>
                    </a:lnTo>
                    <a:lnTo>
                      <a:pt x="1406" y="1646"/>
                    </a:lnTo>
                    <a:lnTo>
                      <a:pt x="1407" y="1646"/>
                    </a:lnTo>
                    <a:lnTo>
                      <a:pt x="1406" y="1645"/>
                    </a:lnTo>
                    <a:lnTo>
                      <a:pt x="1404" y="1645"/>
                    </a:lnTo>
                    <a:lnTo>
                      <a:pt x="1404" y="1643"/>
                    </a:lnTo>
                    <a:lnTo>
                      <a:pt x="1402" y="1645"/>
                    </a:lnTo>
                    <a:lnTo>
                      <a:pt x="1402" y="1643"/>
                    </a:lnTo>
                    <a:lnTo>
                      <a:pt x="1400" y="1643"/>
                    </a:lnTo>
                    <a:lnTo>
                      <a:pt x="1400" y="1645"/>
                    </a:lnTo>
                    <a:lnTo>
                      <a:pt x="1399" y="1646"/>
                    </a:lnTo>
                    <a:lnTo>
                      <a:pt x="1399" y="1645"/>
                    </a:lnTo>
                    <a:lnTo>
                      <a:pt x="1399" y="1646"/>
                    </a:lnTo>
                    <a:lnTo>
                      <a:pt x="1397" y="1646"/>
                    </a:lnTo>
                    <a:lnTo>
                      <a:pt x="1395" y="1645"/>
                    </a:lnTo>
                    <a:lnTo>
                      <a:pt x="1394" y="1645"/>
                    </a:lnTo>
                    <a:lnTo>
                      <a:pt x="1394" y="1643"/>
                    </a:lnTo>
                    <a:lnTo>
                      <a:pt x="1395" y="1643"/>
                    </a:lnTo>
                    <a:lnTo>
                      <a:pt x="1397" y="1643"/>
                    </a:lnTo>
                    <a:lnTo>
                      <a:pt x="1395" y="1643"/>
                    </a:lnTo>
                    <a:lnTo>
                      <a:pt x="1394" y="1641"/>
                    </a:lnTo>
                    <a:lnTo>
                      <a:pt x="1394" y="1640"/>
                    </a:lnTo>
                    <a:lnTo>
                      <a:pt x="1394" y="1638"/>
                    </a:lnTo>
                    <a:lnTo>
                      <a:pt x="1394" y="1636"/>
                    </a:lnTo>
                    <a:lnTo>
                      <a:pt x="1394" y="1635"/>
                    </a:lnTo>
                    <a:lnTo>
                      <a:pt x="1394" y="1633"/>
                    </a:lnTo>
                    <a:lnTo>
                      <a:pt x="1392" y="1633"/>
                    </a:lnTo>
                    <a:lnTo>
                      <a:pt x="1394" y="1631"/>
                    </a:lnTo>
                    <a:lnTo>
                      <a:pt x="1392" y="1633"/>
                    </a:lnTo>
                    <a:lnTo>
                      <a:pt x="1392" y="1631"/>
                    </a:lnTo>
                    <a:lnTo>
                      <a:pt x="1392" y="1633"/>
                    </a:lnTo>
                    <a:lnTo>
                      <a:pt x="1390" y="1633"/>
                    </a:lnTo>
                    <a:lnTo>
                      <a:pt x="1389" y="1633"/>
                    </a:lnTo>
                    <a:lnTo>
                      <a:pt x="1387" y="1631"/>
                    </a:lnTo>
                    <a:lnTo>
                      <a:pt x="1387" y="1629"/>
                    </a:lnTo>
                    <a:lnTo>
                      <a:pt x="1385" y="1629"/>
                    </a:lnTo>
                    <a:lnTo>
                      <a:pt x="1387" y="1628"/>
                    </a:lnTo>
                    <a:lnTo>
                      <a:pt x="1389" y="1628"/>
                    </a:lnTo>
                    <a:lnTo>
                      <a:pt x="1390" y="1628"/>
                    </a:lnTo>
                    <a:lnTo>
                      <a:pt x="1392" y="1628"/>
                    </a:lnTo>
                    <a:lnTo>
                      <a:pt x="1390" y="1626"/>
                    </a:lnTo>
                    <a:lnTo>
                      <a:pt x="1392" y="1626"/>
                    </a:lnTo>
                    <a:lnTo>
                      <a:pt x="1394" y="1626"/>
                    </a:lnTo>
                    <a:lnTo>
                      <a:pt x="1395" y="1626"/>
                    </a:lnTo>
                    <a:lnTo>
                      <a:pt x="1397" y="1626"/>
                    </a:lnTo>
                    <a:lnTo>
                      <a:pt x="1399" y="1626"/>
                    </a:lnTo>
                    <a:lnTo>
                      <a:pt x="1400" y="1626"/>
                    </a:lnTo>
                    <a:close/>
                    <a:moveTo>
                      <a:pt x="1232" y="1075"/>
                    </a:moveTo>
                    <a:lnTo>
                      <a:pt x="1232" y="1077"/>
                    </a:lnTo>
                    <a:lnTo>
                      <a:pt x="1234" y="1077"/>
                    </a:lnTo>
                    <a:lnTo>
                      <a:pt x="1234" y="1078"/>
                    </a:lnTo>
                    <a:lnTo>
                      <a:pt x="1232" y="1080"/>
                    </a:lnTo>
                    <a:lnTo>
                      <a:pt x="1230" y="1082"/>
                    </a:lnTo>
                    <a:lnTo>
                      <a:pt x="1232" y="1082"/>
                    </a:lnTo>
                    <a:lnTo>
                      <a:pt x="1230" y="1082"/>
                    </a:lnTo>
                    <a:lnTo>
                      <a:pt x="1230" y="1083"/>
                    </a:lnTo>
                    <a:lnTo>
                      <a:pt x="1232" y="1082"/>
                    </a:lnTo>
                    <a:lnTo>
                      <a:pt x="1232" y="1080"/>
                    </a:lnTo>
                    <a:lnTo>
                      <a:pt x="1234" y="1080"/>
                    </a:lnTo>
                    <a:lnTo>
                      <a:pt x="1234" y="1078"/>
                    </a:lnTo>
                    <a:lnTo>
                      <a:pt x="1234" y="1077"/>
                    </a:lnTo>
                    <a:lnTo>
                      <a:pt x="1236" y="1078"/>
                    </a:lnTo>
                    <a:lnTo>
                      <a:pt x="1237" y="1078"/>
                    </a:lnTo>
                    <a:lnTo>
                      <a:pt x="1237" y="1080"/>
                    </a:lnTo>
                    <a:lnTo>
                      <a:pt x="1239" y="1080"/>
                    </a:lnTo>
                    <a:lnTo>
                      <a:pt x="1239" y="1082"/>
                    </a:lnTo>
                    <a:lnTo>
                      <a:pt x="1241" y="1082"/>
                    </a:lnTo>
                    <a:lnTo>
                      <a:pt x="1241" y="1083"/>
                    </a:lnTo>
                    <a:lnTo>
                      <a:pt x="1239" y="1083"/>
                    </a:lnTo>
                    <a:lnTo>
                      <a:pt x="1239" y="1085"/>
                    </a:lnTo>
                    <a:lnTo>
                      <a:pt x="1237" y="1087"/>
                    </a:lnTo>
                    <a:lnTo>
                      <a:pt x="1236" y="1087"/>
                    </a:lnTo>
                    <a:lnTo>
                      <a:pt x="1234" y="1087"/>
                    </a:lnTo>
                    <a:lnTo>
                      <a:pt x="1232" y="1085"/>
                    </a:lnTo>
                    <a:lnTo>
                      <a:pt x="1230" y="1085"/>
                    </a:lnTo>
                    <a:lnTo>
                      <a:pt x="1232" y="1085"/>
                    </a:lnTo>
                    <a:lnTo>
                      <a:pt x="1230" y="1085"/>
                    </a:lnTo>
                    <a:lnTo>
                      <a:pt x="1232" y="1085"/>
                    </a:lnTo>
                    <a:lnTo>
                      <a:pt x="1230" y="1087"/>
                    </a:lnTo>
                    <a:lnTo>
                      <a:pt x="1232" y="1087"/>
                    </a:lnTo>
                    <a:lnTo>
                      <a:pt x="1234" y="1087"/>
                    </a:lnTo>
                    <a:lnTo>
                      <a:pt x="1234" y="1088"/>
                    </a:lnTo>
                    <a:lnTo>
                      <a:pt x="1236" y="1088"/>
                    </a:lnTo>
                    <a:lnTo>
                      <a:pt x="1237" y="1088"/>
                    </a:lnTo>
                    <a:lnTo>
                      <a:pt x="1237" y="1090"/>
                    </a:lnTo>
                    <a:lnTo>
                      <a:pt x="1236" y="1090"/>
                    </a:lnTo>
                    <a:lnTo>
                      <a:pt x="1236" y="1092"/>
                    </a:lnTo>
                    <a:lnTo>
                      <a:pt x="1234" y="1094"/>
                    </a:lnTo>
                    <a:lnTo>
                      <a:pt x="1234" y="1092"/>
                    </a:lnTo>
                    <a:lnTo>
                      <a:pt x="1234" y="1094"/>
                    </a:lnTo>
                    <a:lnTo>
                      <a:pt x="1232" y="1094"/>
                    </a:lnTo>
                    <a:lnTo>
                      <a:pt x="1230" y="1095"/>
                    </a:lnTo>
                    <a:lnTo>
                      <a:pt x="1230" y="1097"/>
                    </a:lnTo>
                    <a:lnTo>
                      <a:pt x="1229" y="1097"/>
                    </a:lnTo>
                    <a:lnTo>
                      <a:pt x="1229" y="1099"/>
                    </a:lnTo>
                    <a:lnTo>
                      <a:pt x="1227" y="1099"/>
                    </a:lnTo>
                    <a:lnTo>
                      <a:pt x="1227" y="1100"/>
                    </a:lnTo>
                    <a:lnTo>
                      <a:pt x="1225" y="1100"/>
                    </a:lnTo>
                    <a:lnTo>
                      <a:pt x="1224" y="1100"/>
                    </a:lnTo>
                    <a:lnTo>
                      <a:pt x="1224" y="1102"/>
                    </a:lnTo>
                    <a:lnTo>
                      <a:pt x="1222" y="1100"/>
                    </a:lnTo>
                    <a:lnTo>
                      <a:pt x="1220" y="1100"/>
                    </a:lnTo>
                    <a:lnTo>
                      <a:pt x="1220" y="1099"/>
                    </a:lnTo>
                    <a:lnTo>
                      <a:pt x="1220" y="1100"/>
                    </a:lnTo>
                    <a:lnTo>
                      <a:pt x="1220" y="1099"/>
                    </a:lnTo>
                    <a:lnTo>
                      <a:pt x="1219" y="1099"/>
                    </a:lnTo>
                    <a:lnTo>
                      <a:pt x="1219" y="1097"/>
                    </a:lnTo>
                    <a:lnTo>
                      <a:pt x="1217" y="1097"/>
                    </a:lnTo>
                    <a:lnTo>
                      <a:pt x="1217" y="1095"/>
                    </a:lnTo>
                    <a:lnTo>
                      <a:pt x="1219" y="1095"/>
                    </a:lnTo>
                    <a:lnTo>
                      <a:pt x="1220" y="1095"/>
                    </a:lnTo>
                    <a:lnTo>
                      <a:pt x="1220" y="1094"/>
                    </a:lnTo>
                    <a:lnTo>
                      <a:pt x="1222" y="1095"/>
                    </a:lnTo>
                    <a:lnTo>
                      <a:pt x="1224" y="1095"/>
                    </a:lnTo>
                    <a:lnTo>
                      <a:pt x="1222" y="1094"/>
                    </a:lnTo>
                    <a:lnTo>
                      <a:pt x="1220" y="1092"/>
                    </a:lnTo>
                    <a:lnTo>
                      <a:pt x="1222" y="1092"/>
                    </a:lnTo>
                    <a:lnTo>
                      <a:pt x="1220" y="1092"/>
                    </a:lnTo>
                    <a:lnTo>
                      <a:pt x="1220" y="1094"/>
                    </a:lnTo>
                    <a:lnTo>
                      <a:pt x="1219" y="1094"/>
                    </a:lnTo>
                    <a:lnTo>
                      <a:pt x="1219" y="1095"/>
                    </a:lnTo>
                    <a:lnTo>
                      <a:pt x="1217" y="1094"/>
                    </a:lnTo>
                    <a:lnTo>
                      <a:pt x="1217" y="1092"/>
                    </a:lnTo>
                    <a:lnTo>
                      <a:pt x="1219" y="1092"/>
                    </a:lnTo>
                    <a:lnTo>
                      <a:pt x="1217" y="1092"/>
                    </a:lnTo>
                    <a:lnTo>
                      <a:pt x="1215" y="1092"/>
                    </a:lnTo>
                    <a:lnTo>
                      <a:pt x="1215" y="1090"/>
                    </a:lnTo>
                    <a:lnTo>
                      <a:pt x="1215" y="1088"/>
                    </a:lnTo>
                    <a:lnTo>
                      <a:pt x="1215" y="1087"/>
                    </a:lnTo>
                    <a:lnTo>
                      <a:pt x="1215" y="1088"/>
                    </a:lnTo>
                    <a:lnTo>
                      <a:pt x="1215" y="1087"/>
                    </a:lnTo>
                    <a:lnTo>
                      <a:pt x="1215" y="1085"/>
                    </a:lnTo>
                    <a:lnTo>
                      <a:pt x="1217" y="1085"/>
                    </a:lnTo>
                    <a:lnTo>
                      <a:pt x="1217" y="1083"/>
                    </a:lnTo>
                    <a:lnTo>
                      <a:pt x="1217" y="1085"/>
                    </a:lnTo>
                    <a:lnTo>
                      <a:pt x="1219" y="1085"/>
                    </a:lnTo>
                    <a:lnTo>
                      <a:pt x="1217" y="1085"/>
                    </a:lnTo>
                    <a:lnTo>
                      <a:pt x="1219" y="1085"/>
                    </a:lnTo>
                    <a:lnTo>
                      <a:pt x="1219" y="1087"/>
                    </a:lnTo>
                    <a:lnTo>
                      <a:pt x="1219" y="1085"/>
                    </a:lnTo>
                    <a:lnTo>
                      <a:pt x="1220" y="1085"/>
                    </a:lnTo>
                    <a:lnTo>
                      <a:pt x="1220" y="1087"/>
                    </a:lnTo>
                    <a:lnTo>
                      <a:pt x="1222" y="1087"/>
                    </a:lnTo>
                    <a:lnTo>
                      <a:pt x="1224" y="1087"/>
                    </a:lnTo>
                    <a:lnTo>
                      <a:pt x="1222" y="1085"/>
                    </a:lnTo>
                    <a:lnTo>
                      <a:pt x="1220" y="1085"/>
                    </a:lnTo>
                    <a:lnTo>
                      <a:pt x="1222" y="1085"/>
                    </a:lnTo>
                    <a:lnTo>
                      <a:pt x="1220" y="1083"/>
                    </a:lnTo>
                    <a:lnTo>
                      <a:pt x="1222" y="1083"/>
                    </a:lnTo>
                    <a:lnTo>
                      <a:pt x="1222" y="1082"/>
                    </a:lnTo>
                    <a:lnTo>
                      <a:pt x="1222" y="1083"/>
                    </a:lnTo>
                    <a:lnTo>
                      <a:pt x="1224" y="1083"/>
                    </a:lnTo>
                    <a:lnTo>
                      <a:pt x="1225" y="1083"/>
                    </a:lnTo>
                    <a:lnTo>
                      <a:pt x="1225" y="1085"/>
                    </a:lnTo>
                    <a:lnTo>
                      <a:pt x="1225" y="1083"/>
                    </a:lnTo>
                    <a:lnTo>
                      <a:pt x="1225" y="1082"/>
                    </a:lnTo>
                    <a:lnTo>
                      <a:pt x="1224" y="1082"/>
                    </a:lnTo>
                    <a:lnTo>
                      <a:pt x="1222" y="1082"/>
                    </a:lnTo>
                    <a:lnTo>
                      <a:pt x="1222" y="1080"/>
                    </a:lnTo>
                    <a:lnTo>
                      <a:pt x="1222" y="1078"/>
                    </a:lnTo>
                    <a:lnTo>
                      <a:pt x="1222" y="1077"/>
                    </a:lnTo>
                    <a:lnTo>
                      <a:pt x="1224" y="1077"/>
                    </a:lnTo>
                    <a:lnTo>
                      <a:pt x="1225" y="1077"/>
                    </a:lnTo>
                    <a:lnTo>
                      <a:pt x="1225" y="1078"/>
                    </a:lnTo>
                    <a:lnTo>
                      <a:pt x="1225" y="1077"/>
                    </a:lnTo>
                    <a:lnTo>
                      <a:pt x="1227" y="1077"/>
                    </a:lnTo>
                    <a:lnTo>
                      <a:pt x="1227" y="1075"/>
                    </a:lnTo>
                    <a:lnTo>
                      <a:pt x="1229" y="1075"/>
                    </a:lnTo>
                    <a:lnTo>
                      <a:pt x="1230" y="1075"/>
                    </a:lnTo>
                    <a:lnTo>
                      <a:pt x="1232" y="1075"/>
                    </a:lnTo>
                    <a:close/>
                    <a:moveTo>
                      <a:pt x="1315" y="1549"/>
                    </a:moveTo>
                    <a:lnTo>
                      <a:pt x="1315" y="1551"/>
                    </a:lnTo>
                    <a:lnTo>
                      <a:pt x="1315" y="1553"/>
                    </a:lnTo>
                    <a:lnTo>
                      <a:pt x="1315" y="1555"/>
                    </a:lnTo>
                    <a:lnTo>
                      <a:pt x="1315" y="1556"/>
                    </a:lnTo>
                    <a:lnTo>
                      <a:pt x="1315" y="1558"/>
                    </a:lnTo>
                    <a:lnTo>
                      <a:pt x="1315" y="1560"/>
                    </a:lnTo>
                    <a:lnTo>
                      <a:pt x="1315" y="1561"/>
                    </a:lnTo>
                    <a:lnTo>
                      <a:pt x="1317" y="1563"/>
                    </a:lnTo>
                    <a:lnTo>
                      <a:pt x="1315" y="1563"/>
                    </a:lnTo>
                    <a:lnTo>
                      <a:pt x="1317" y="1565"/>
                    </a:lnTo>
                    <a:lnTo>
                      <a:pt x="1315" y="1565"/>
                    </a:lnTo>
                    <a:lnTo>
                      <a:pt x="1317" y="1566"/>
                    </a:lnTo>
                    <a:lnTo>
                      <a:pt x="1315" y="1566"/>
                    </a:lnTo>
                    <a:lnTo>
                      <a:pt x="1315" y="1568"/>
                    </a:lnTo>
                    <a:lnTo>
                      <a:pt x="1317" y="1570"/>
                    </a:lnTo>
                    <a:lnTo>
                      <a:pt x="1319" y="1572"/>
                    </a:lnTo>
                    <a:lnTo>
                      <a:pt x="1319" y="1573"/>
                    </a:lnTo>
                    <a:lnTo>
                      <a:pt x="1321" y="1575"/>
                    </a:lnTo>
                    <a:lnTo>
                      <a:pt x="1319" y="1577"/>
                    </a:lnTo>
                    <a:lnTo>
                      <a:pt x="1317" y="1577"/>
                    </a:lnTo>
                    <a:lnTo>
                      <a:pt x="1317" y="1578"/>
                    </a:lnTo>
                    <a:lnTo>
                      <a:pt x="1315" y="1577"/>
                    </a:lnTo>
                    <a:lnTo>
                      <a:pt x="1314" y="1575"/>
                    </a:lnTo>
                    <a:lnTo>
                      <a:pt x="1312" y="1573"/>
                    </a:lnTo>
                    <a:lnTo>
                      <a:pt x="1310" y="1572"/>
                    </a:lnTo>
                    <a:lnTo>
                      <a:pt x="1309" y="1570"/>
                    </a:lnTo>
                    <a:lnTo>
                      <a:pt x="1309" y="1572"/>
                    </a:lnTo>
                    <a:lnTo>
                      <a:pt x="1309" y="1573"/>
                    </a:lnTo>
                    <a:lnTo>
                      <a:pt x="1310" y="1573"/>
                    </a:lnTo>
                    <a:lnTo>
                      <a:pt x="1310" y="1575"/>
                    </a:lnTo>
                    <a:lnTo>
                      <a:pt x="1312" y="1575"/>
                    </a:lnTo>
                    <a:lnTo>
                      <a:pt x="1312" y="1577"/>
                    </a:lnTo>
                    <a:lnTo>
                      <a:pt x="1312" y="1578"/>
                    </a:lnTo>
                    <a:lnTo>
                      <a:pt x="1312" y="1580"/>
                    </a:lnTo>
                    <a:lnTo>
                      <a:pt x="1312" y="1582"/>
                    </a:lnTo>
                    <a:lnTo>
                      <a:pt x="1314" y="1582"/>
                    </a:lnTo>
                    <a:lnTo>
                      <a:pt x="1314" y="1583"/>
                    </a:lnTo>
                    <a:lnTo>
                      <a:pt x="1314" y="1582"/>
                    </a:lnTo>
                    <a:lnTo>
                      <a:pt x="1315" y="1582"/>
                    </a:lnTo>
                    <a:lnTo>
                      <a:pt x="1315" y="1583"/>
                    </a:lnTo>
                    <a:lnTo>
                      <a:pt x="1317" y="1583"/>
                    </a:lnTo>
                    <a:lnTo>
                      <a:pt x="1317" y="1585"/>
                    </a:lnTo>
                    <a:lnTo>
                      <a:pt x="1319" y="1585"/>
                    </a:lnTo>
                    <a:lnTo>
                      <a:pt x="1321" y="1585"/>
                    </a:lnTo>
                    <a:lnTo>
                      <a:pt x="1322" y="1585"/>
                    </a:lnTo>
                    <a:lnTo>
                      <a:pt x="1321" y="1585"/>
                    </a:lnTo>
                    <a:lnTo>
                      <a:pt x="1322" y="1587"/>
                    </a:lnTo>
                    <a:lnTo>
                      <a:pt x="1321" y="1589"/>
                    </a:lnTo>
                    <a:lnTo>
                      <a:pt x="1322" y="1587"/>
                    </a:lnTo>
                    <a:lnTo>
                      <a:pt x="1324" y="1587"/>
                    </a:lnTo>
                    <a:lnTo>
                      <a:pt x="1324" y="1589"/>
                    </a:lnTo>
                    <a:lnTo>
                      <a:pt x="1322" y="1590"/>
                    </a:lnTo>
                    <a:lnTo>
                      <a:pt x="1321" y="1590"/>
                    </a:lnTo>
                    <a:lnTo>
                      <a:pt x="1319" y="1590"/>
                    </a:lnTo>
                    <a:lnTo>
                      <a:pt x="1317" y="1589"/>
                    </a:lnTo>
                    <a:lnTo>
                      <a:pt x="1315" y="1589"/>
                    </a:lnTo>
                    <a:lnTo>
                      <a:pt x="1314" y="1587"/>
                    </a:lnTo>
                    <a:lnTo>
                      <a:pt x="1315" y="1589"/>
                    </a:lnTo>
                    <a:lnTo>
                      <a:pt x="1314" y="1589"/>
                    </a:lnTo>
                    <a:lnTo>
                      <a:pt x="1312" y="1587"/>
                    </a:lnTo>
                    <a:lnTo>
                      <a:pt x="1310" y="1587"/>
                    </a:lnTo>
                    <a:lnTo>
                      <a:pt x="1309" y="1585"/>
                    </a:lnTo>
                    <a:lnTo>
                      <a:pt x="1307" y="1585"/>
                    </a:lnTo>
                    <a:lnTo>
                      <a:pt x="1305" y="1583"/>
                    </a:lnTo>
                    <a:lnTo>
                      <a:pt x="1305" y="1582"/>
                    </a:lnTo>
                    <a:lnTo>
                      <a:pt x="1304" y="1582"/>
                    </a:lnTo>
                    <a:lnTo>
                      <a:pt x="1304" y="1580"/>
                    </a:lnTo>
                    <a:lnTo>
                      <a:pt x="1305" y="1580"/>
                    </a:lnTo>
                    <a:lnTo>
                      <a:pt x="1304" y="1580"/>
                    </a:lnTo>
                    <a:lnTo>
                      <a:pt x="1302" y="1578"/>
                    </a:lnTo>
                    <a:lnTo>
                      <a:pt x="1302" y="1577"/>
                    </a:lnTo>
                    <a:lnTo>
                      <a:pt x="1302" y="1575"/>
                    </a:lnTo>
                    <a:lnTo>
                      <a:pt x="1302" y="1573"/>
                    </a:lnTo>
                    <a:lnTo>
                      <a:pt x="1302" y="1572"/>
                    </a:lnTo>
                    <a:lnTo>
                      <a:pt x="1300" y="1570"/>
                    </a:lnTo>
                    <a:lnTo>
                      <a:pt x="1302" y="1570"/>
                    </a:lnTo>
                    <a:lnTo>
                      <a:pt x="1304" y="1570"/>
                    </a:lnTo>
                    <a:lnTo>
                      <a:pt x="1302" y="1570"/>
                    </a:lnTo>
                    <a:lnTo>
                      <a:pt x="1302" y="1568"/>
                    </a:lnTo>
                    <a:lnTo>
                      <a:pt x="1300" y="1568"/>
                    </a:lnTo>
                    <a:lnTo>
                      <a:pt x="1300" y="1566"/>
                    </a:lnTo>
                    <a:lnTo>
                      <a:pt x="1302" y="1566"/>
                    </a:lnTo>
                    <a:lnTo>
                      <a:pt x="1302" y="1565"/>
                    </a:lnTo>
                    <a:lnTo>
                      <a:pt x="1304" y="1565"/>
                    </a:lnTo>
                    <a:lnTo>
                      <a:pt x="1305" y="1565"/>
                    </a:lnTo>
                    <a:lnTo>
                      <a:pt x="1307" y="1565"/>
                    </a:lnTo>
                    <a:lnTo>
                      <a:pt x="1309" y="1565"/>
                    </a:lnTo>
                    <a:lnTo>
                      <a:pt x="1309" y="1566"/>
                    </a:lnTo>
                    <a:lnTo>
                      <a:pt x="1310" y="1566"/>
                    </a:lnTo>
                    <a:lnTo>
                      <a:pt x="1310" y="1565"/>
                    </a:lnTo>
                    <a:lnTo>
                      <a:pt x="1310" y="1563"/>
                    </a:lnTo>
                    <a:lnTo>
                      <a:pt x="1309" y="1563"/>
                    </a:lnTo>
                    <a:lnTo>
                      <a:pt x="1307" y="1561"/>
                    </a:lnTo>
                    <a:lnTo>
                      <a:pt x="1307" y="1560"/>
                    </a:lnTo>
                    <a:lnTo>
                      <a:pt x="1307" y="1558"/>
                    </a:lnTo>
                    <a:lnTo>
                      <a:pt x="1307" y="1556"/>
                    </a:lnTo>
                    <a:lnTo>
                      <a:pt x="1309" y="1556"/>
                    </a:lnTo>
                    <a:lnTo>
                      <a:pt x="1310" y="1555"/>
                    </a:lnTo>
                    <a:lnTo>
                      <a:pt x="1312" y="1553"/>
                    </a:lnTo>
                    <a:lnTo>
                      <a:pt x="1312" y="1551"/>
                    </a:lnTo>
                    <a:lnTo>
                      <a:pt x="1312" y="1549"/>
                    </a:lnTo>
                    <a:lnTo>
                      <a:pt x="1314" y="1549"/>
                    </a:lnTo>
                    <a:lnTo>
                      <a:pt x="1315" y="1549"/>
                    </a:lnTo>
                    <a:close/>
                    <a:moveTo>
                      <a:pt x="1174" y="1502"/>
                    </a:moveTo>
                    <a:lnTo>
                      <a:pt x="1174" y="1504"/>
                    </a:lnTo>
                    <a:lnTo>
                      <a:pt x="1176" y="1504"/>
                    </a:lnTo>
                    <a:lnTo>
                      <a:pt x="1174" y="1504"/>
                    </a:lnTo>
                    <a:lnTo>
                      <a:pt x="1176" y="1505"/>
                    </a:lnTo>
                    <a:lnTo>
                      <a:pt x="1178" y="1505"/>
                    </a:lnTo>
                    <a:lnTo>
                      <a:pt x="1178" y="1507"/>
                    </a:lnTo>
                    <a:lnTo>
                      <a:pt x="1179" y="1507"/>
                    </a:lnTo>
                    <a:lnTo>
                      <a:pt x="1179" y="1505"/>
                    </a:lnTo>
                    <a:lnTo>
                      <a:pt x="1179" y="1507"/>
                    </a:lnTo>
                    <a:lnTo>
                      <a:pt x="1181" y="1507"/>
                    </a:lnTo>
                    <a:lnTo>
                      <a:pt x="1181" y="1509"/>
                    </a:lnTo>
                    <a:lnTo>
                      <a:pt x="1179" y="1509"/>
                    </a:lnTo>
                    <a:lnTo>
                      <a:pt x="1181" y="1509"/>
                    </a:lnTo>
                    <a:lnTo>
                      <a:pt x="1181" y="1510"/>
                    </a:lnTo>
                    <a:lnTo>
                      <a:pt x="1179" y="1510"/>
                    </a:lnTo>
                    <a:lnTo>
                      <a:pt x="1181" y="1510"/>
                    </a:lnTo>
                    <a:lnTo>
                      <a:pt x="1183" y="1510"/>
                    </a:lnTo>
                    <a:lnTo>
                      <a:pt x="1183" y="1512"/>
                    </a:lnTo>
                    <a:lnTo>
                      <a:pt x="1183" y="1510"/>
                    </a:lnTo>
                    <a:lnTo>
                      <a:pt x="1185" y="1510"/>
                    </a:lnTo>
                    <a:lnTo>
                      <a:pt x="1183" y="1512"/>
                    </a:lnTo>
                    <a:lnTo>
                      <a:pt x="1183" y="1514"/>
                    </a:lnTo>
                    <a:lnTo>
                      <a:pt x="1185" y="1514"/>
                    </a:lnTo>
                    <a:lnTo>
                      <a:pt x="1185" y="1515"/>
                    </a:lnTo>
                    <a:lnTo>
                      <a:pt x="1186" y="1515"/>
                    </a:lnTo>
                    <a:lnTo>
                      <a:pt x="1185" y="1515"/>
                    </a:lnTo>
                    <a:lnTo>
                      <a:pt x="1185" y="1514"/>
                    </a:lnTo>
                    <a:lnTo>
                      <a:pt x="1186" y="1514"/>
                    </a:lnTo>
                    <a:lnTo>
                      <a:pt x="1186" y="1512"/>
                    </a:lnTo>
                    <a:lnTo>
                      <a:pt x="1186" y="1514"/>
                    </a:lnTo>
                    <a:lnTo>
                      <a:pt x="1186" y="1515"/>
                    </a:lnTo>
                    <a:lnTo>
                      <a:pt x="1188" y="1515"/>
                    </a:lnTo>
                    <a:lnTo>
                      <a:pt x="1186" y="1517"/>
                    </a:lnTo>
                    <a:lnTo>
                      <a:pt x="1188" y="1515"/>
                    </a:lnTo>
                    <a:lnTo>
                      <a:pt x="1188" y="1514"/>
                    </a:lnTo>
                    <a:lnTo>
                      <a:pt x="1188" y="1515"/>
                    </a:lnTo>
                    <a:lnTo>
                      <a:pt x="1190" y="1515"/>
                    </a:lnTo>
                    <a:lnTo>
                      <a:pt x="1190" y="1517"/>
                    </a:lnTo>
                    <a:lnTo>
                      <a:pt x="1190" y="1515"/>
                    </a:lnTo>
                    <a:lnTo>
                      <a:pt x="1191" y="1517"/>
                    </a:lnTo>
                    <a:lnTo>
                      <a:pt x="1190" y="1517"/>
                    </a:lnTo>
                    <a:lnTo>
                      <a:pt x="1191" y="1517"/>
                    </a:lnTo>
                    <a:lnTo>
                      <a:pt x="1193" y="1519"/>
                    </a:lnTo>
                    <a:lnTo>
                      <a:pt x="1193" y="1517"/>
                    </a:lnTo>
                    <a:lnTo>
                      <a:pt x="1193" y="1515"/>
                    </a:lnTo>
                    <a:lnTo>
                      <a:pt x="1191" y="1515"/>
                    </a:lnTo>
                    <a:lnTo>
                      <a:pt x="1191" y="1514"/>
                    </a:lnTo>
                    <a:lnTo>
                      <a:pt x="1193" y="1514"/>
                    </a:lnTo>
                    <a:lnTo>
                      <a:pt x="1193" y="1515"/>
                    </a:lnTo>
                    <a:lnTo>
                      <a:pt x="1195" y="1515"/>
                    </a:lnTo>
                    <a:lnTo>
                      <a:pt x="1193" y="1515"/>
                    </a:lnTo>
                    <a:lnTo>
                      <a:pt x="1195" y="1517"/>
                    </a:lnTo>
                    <a:lnTo>
                      <a:pt x="1196" y="1517"/>
                    </a:lnTo>
                    <a:lnTo>
                      <a:pt x="1195" y="1517"/>
                    </a:lnTo>
                    <a:lnTo>
                      <a:pt x="1196" y="1517"/>
                    </a:lnTo>
                    <a:lnTo>
                      <a:pt x="1198" y="1517"/>
                    </a:lnTo>
                    <a:lnTo>
                      <a:pt x="1198" y="1519"/>
                    </a:lnTo>
                    <a:lnTo>
                      <a:pt x="1196" y="1517"/>
                    </a:lnTo>
                    <a:lnTo>
                      <a:pt x="1198" y="1519"/>
                    </a:lnTo>
                    <a:lnTo>
                      <a:pt x="1196" y="1519"/>
                    </a:lnTo>
                    <a:lnTo>
                      <a:pt x="1198" y="1519"/>
                    </a:lnTo>
                    <a:lnTo>
                      <a:pt x="1198" y="1521"/>
                    </a:lnTo>
                    <a:lnTo>
                      <a:pt x="1200" y="1521"/>
                    </a:lnTo>
                    <a:lnTo>
                      <a:pt x="1198" y="1521"/>
                    </a:lnTo>
                    <a:lnTo>
                      <a:pt x="1200" y="1521"/>
                    </a:lnTo>
                    <a:lnTo>
                      <a:pt x="1198" y="1519"/>
                    </a:lnTo>
                    <a:lnTo>
                      <a:pt x="1200" y="1519"/>
                    </a:lnTo>
                    <a:lnTo>
                      <a:pt x="1202" y="1519"/>
                    </a:lnTo>
                    <a:lnTo>
                      <a:pt x="1202" y="1521"/>
                    </a:lnTo>
                    <a:lnTo>
                      <a:pt x="1203" y="1522"/>
                    </a:lnTo>
                    <a:lnTo>
                      <a:pt x="1202" y="1521"/>
                    </a:lnTo>
                    <a:lnTo>
                      <a:pt x="1202" y="1519"/>
                    </a:lnTo>
                    <a:lnTo>
                      <a:pt x="1203" y="1521"/>
                    </a:lnTo>
                    <a:lnTo>
                      <a:pt x="1205" y="1522"/>
                    </a:lnTo>
                    <a:lnTo>
                      <a:pt x="1205" y="1521"/>
                    </a:lnTo>
                    <a:lnTo>
                      <a:pt x="1205" y="1522"/>
                    </a:lnTo>
                    <a:lnTo>
                      <a:pt x="1207" y="1522"/>
                    </a:lnTo>
                    <a:lnTo>
                      <a:pt x="1205" y="1522"/>
                    </a:lnTo>
                    <a:lnTo>
                      <a:pt x="1207" y="1522"/>
                    </a:lnTo>
                    <a:lnTo>
                      <a:pt x="1207" y="1524"/>
                    </a:lnTo>
                    <a:lnTo>
                      <a:pt x="1208" y="1524"/>
                    </a:lnTo>
                    <a:lnTo>
                      <a:pt x="1207" y="1524"/>
                    </a:lnTo>
                    <a:lnTo>
                      <a:pt x="1208" y="1524"/>
                    </a:lnTo>
                    <a:lnTo>
                      <a:pt x="1208" y="1526"/>
                    </a:lnTo>
                    <a:lnTo>
                      <a:pt x="1208" y="1527"/>
                    </a:lnTo>
                    <a:lnTo>
                      <a:pt x="1208" y="1526"/>
                    </a:lnTo>
                    <a:lnTo>
                      <a:pt x="1210" y="1526"/>
                    </a:lnTo>
                    <a:lnTo>
                      <a:pt x="1208" y="1526"/>
                    </a:lnTo>
                    <a:lnTo>
                      <a:pt x="1208" y="1524"/>
                    </a:lnTo>
                    <a:lnTo>
                      <a:pt x="1208" y="1522"/>
                    </a:lnTo>
                    <a:lnTo>
                      <a:pt x="1210" y="1522"/>
                    </a:lnTo>
                    <a:lnTo>
                      <a:pt x="1208" y="1522"/>
                    </a:lnTo>
                    <a:lnTo>
                      <a:pt x="1210" y="1524"/>
                    </a:lnTo>
                    <a:lnTo>
                      <a:pt x="1212" y="1524"/>
                    </a:lnTo>
                    <a:lnTo>
                      <a:pt x="1212" y="1526"/>
                    </a:lnTo>
                    <a:lnTo>
                      <a:pt x="1212" y="1527"/>
                    </a:lnTo>
                    <a:lnTo>
                      <a:pt x="1210" y="1527"/>
                    </a:lnTo>
                    <a:lnTo>
                      <a:pt x="1212" y="1529"/>
                    </a:lnTo>
                    <a:lnTo>
                      <a:pt x="1212" y="1531"/>
                    </a:lnTo>
                    <a:lnTo>
                      <a:pt x="1212" y="1532"/>
                    </a:lnTo>
                    <a:lnTo>
                      <a:pt x="1213" y="1532"/>
                    </a:lnTo>
                    <a:lnTo>
                      <a:pt x="1213" y="1534"/>
                    </a:lnTo>
                    <a:lnTo>
                      <a:pt x="1213" y="1532"/>
                    </a:lnTo>
                    <a:lnTo>
                      <a:pt x="1213" y="1531"/>
                    </a:lnTo>
                    <a:lnTo>
                      <a:pt x="1215" y="1531"/>
                    </a:lnTo>
                    <a:lnTo>
                      <a:pt x="1213" y="1531"/>
                    </a:lnTo>
                    <a:lnTo>
                      <a:pt x="1215" y="1529"/>
                    </a:lnTo>
                    <a:lnTo>
                      <a:pt x="1213" y="1531"/>
                    </a:lnTo>
                    <a:lnTo>
                      <a:pt x="1213" y="1529"/>
                    </a:lnTo>
                    <a:lnTo>
                      <a:pt x="1213" y="1527"/>
                    </a:lnTo>
                    <a:lnTo>
                      <a:pt x="1212" y="1527"/>
                    </a:lnTo>
                    <a:lnTo>
                      <a:pt x="1213" y="1527"/>
                    </a:lnTo>
                    <a:lnTo>
                      <a:pt x="1213" y="1526"/>
                    </a:lnTo>
                    <a:lnTo>
                      <a:pt x="1215" y="1526"/>
                    </a:lnTo>
                    <a:lnTo>
                      <a:pt x="1215" y="1527"/>
                    </a:lnTo>
                    <a:lnTo>
                      <a:pt x="1217" y="1527"/>
                    </a:lnTo>
                    <a:lnTo>
                      <a:pt x="1215" y="1527"/>
                    </a:lnTo>
                    <a:lnTo>
                      <a:pt x="1217" y="1527"/>
                    </a:lnTo>
                    <a:lnTo>
                      <a:pt x="1217" y="1529"/>
                    </a:lnTo>
                    <a:lnTo>
                      <a:pt x="1217" y="1527"/>
                    </a:lnTo>
                    <a:lnTo>
                      <a:pt x="1217" y="1529"/>
                    </a:lnTo>
                    <a:lnTo>
                      <a:pt x="1215" y="1529"/>
                    </a:lnTo>
                    <a:lnTo>
                      <a:pt x="1217" y="1529"/>
                    </a:lnTo>
                    <a:lnTo>
                      <a:pt x="1215" y="1529"/>
                    </a:lnTo>
                    <a:lnTo>
                      <a:pt x="1217" y="1529"/>
                    </a:lnTo>
                    <a:lnTo>
                      <a:pt x="1219" y="1529"/>
                    </a:lnTo>
                    <a:lnTo>
                      <a:pt x="1217" y="1529"/>
                    </a:lnTo>
                    <a:lnTo>
                      <a:pt x="1219" y="1529"/>
                    </a:lnTo>
                    <a:lnTo>
                      <a:pt x="1219" y="1531"/>
                    </a:lnTo>
                    <a:lnTo>
                      <a:pt x="1220" y="1531"/>
                    </a:lnTo>
                    <a:lnTo>
                      <a:pt x="1219" y="1531"/>
                    </a:lnTo>
                    <a:lnTo>
                      <a:pt x="1219" y="1532"/>
                    </a:lnTo>
                    <a:lnTo>
                      <a:pt x="1217" y="1532"/>
                    </a:lnTo>
                    <a:lnTo>
                      <a:pt x="1219" y="1532"/>
                    </a:lnTo>
                    <a:lnTo>
                      <a:pt x="1217" y="1532"/>
                    </a:lnTo>
                    <a:lnTo>
                      <a:pt x="1219" y="1532"/>
                    </a:lnTo>
                    <a:lnTo>
                      <a:pt x="1220" y="1532"/>
                    </a:lnTo>
                    <a:lnTo>
                      <a:pt x="1220" y="1534"/>
                    </a:lnTo>
                    <a:lnTo>
                      <a:pt x="1222" y="1534"/>
                    </a:lnTo>
                    <a:lnTo>
                      <a:pt x="1224" y="1534"/>
                    </a:lnTo>
                    <a:lnTo>
                      <a:pt x="1224" y="1536"/>
                    </a:lnTo>
                    <a:lnTo>
                      <a:pt x="1222" y="1536"/>
                    </a:lnTo>
                    <a:lnTo>
                      <a:pt x="1224" y="1536"/>
                    </a:lnTo>
                    <a:lnTo>
                      <a:pt x="1225" y="1536"/>
                    </a:lnTo>
                    <a:lnTo>
                      <a:pt x="1225" y="1538"/>
                    </a:lnTo>
                    <a:lnTo>
                      <a:pt x="1227" y="1538"/>
                    </a:lnTo>
                    <a:lnTo>
                      <a:pt x="1225" y="1539"/>
                    </a:lnTo>
                    <a:lnTo>
                      <a:pt x="1225" y="1538"/>
                    </a:lnTo>
                    <a:lnTo>
                      <a:pt x="1224" y="1539"/>
                    </a:lnTo>
                    <a:lnTo>
                      <a:pt x="1222" y="1539"/>
                    </a:lnTo>
                    <a:lnTo>
                      <a:pt x="1222" y="1538"/>
                    </a:lnTo>
                    <a:lnTo>
                      <a:pt x="1222" y="1539"/>
                    </a:lnTo>
                    <a:lnTo>
                      <a:pt x="1220" y="1539"/>
                    </a:lnTo>
                    <a:lnTo>
                      <a:pt x="1220" y="1538"/>
                    </a:lnTo>
                    <a:lnTo>
                      <a:pt x="1219" y="1538"/>
                    </a:lnTo>
                    <a:lnTo>
                      <a:pt x="1217" y="1536"/>
                    </a:lnTo>
                    <a:lnTo>
                      <a:pt x="1219" y="1536"/>
                    </a:lnTo>
                    <a:lnTo>
                      <a:pt x="1217" y="1536"/>
                    </a:lnTo>
                    <a:lnTo>
                      <a:pt x="1215" y="1536"/>
                    </a:lnTo>
                    <a:lnTo>
                      <a:pt x="1215" y="1538"/>
                    </a:lnTo>
                    <a:lnTo>
                      <a:pt x="1215" y="1536"/>
                    </a:lnTo>
                    <a:lnTo>
                      <a:pt x="1213" y="1538"/>
                    </a:lnTo>
                    <a:lnTo>
                      <a:pt x="1212" y="1538"/>
                    </a:lnTo>
                    <a:lnTo>
                      <a:pt x="1210" y="1538"/>
                    </a:lnTo>
                    <a:lnTo>
                      <a:pt x="1210" y="1536"/>
                    </a:lnTo>
                    <a:lnTo>
                      <a:pt x="1208" y="1534"/>
                    </a:lnTo>
                    <a:lnTo>
                      <a:pt x="1210" y="1534"/>
                    </a:lnTo>
                    <a:lnTo>
                      <a:pt x="1212" y="1534"/>
                    </a:lnTo>
                    <a:lnTo>
                      <a:pt x="1212" y="1536"/>
                    </a:lnTo>
                    <a:lnTo>
                      <a:pt x="1212" y="1534"/>
                    </a:lnTo>
                    <a:lnTo>
                      <a:pt x="1213" y="1536"/>
                    </a:lnTo>
                    <a:lnTo>
                      <a:pt x="1213" y="1534"/>
                    </a:lnTo>
                    <a:lnTo>
                      <a:pt x="1212" y="1534"/>
                    </a:lnTo>
                    <a:lnTo>
                      <a:pt x="1210" y="1534"/>
                    </a:lnTo>
                    <a:lnTo>
                      <a:pt x="1210" y="1532"/>
                    </a:lnTo>
                    <a:lnTo>
                      <a:pt x="1210" y="1531"/>
                    </a:lnTo>
                    <a:lnTo>
                      <a:pt x="1212" y="1531"/>
                    </a:lnTo>
                    <a:lnTo>
                      <a:pt x="1210" y="1531"/>
                    </a:lnTo>
                    <a:lnTo>
                      <a:pt x="1210" y="1529"/>
                    </a:lnTo>
                    <a:lnTo>
                      <a:pt x="1210" y="1531"/>
                    </a:lnTo>
                    <a:lnTo>
                      <a:pt x="1210" y="1529"/>
                    </a:lnTo>
                    <a:lnTo>
                      <a:pt x="1208" y="1527"/>
                    </a:lnTo>
                    <a:lnTo>
                      <a:pt x="1208" y="1529"/>
                    </a:lnTo>
                    <a:lnTo>
                      <a:pt x="1208" y="1531"/>
                    </a:lnTo>
                    <a:lnTo>
                      <a:pt x="1208" y="1529"/>
                    </a:lnTo>
                    <a:lnTo>
                      <a:pt x="1207" y="1529"/>
                    </a:lnTo>
                    <a:lnTo>
                      <a:pt x="1207" y="1527"/>
                    </a:lnTo>
                    <a:lnTo>
                      <a:pt x="1207" y="1526"/>
                    </a:lnTo>
                    <a:lnTo>
                      <a:pt x="1205" y="1526"/>
                    </a:lnTo>
                    <a:lnTo>
                      <a:pt x="1207" y="1527"/>
                    </a:lnTo>
                    <a:lnTo>
                      <a:pt x="1205" y="1527"/>
                    </a:lnTo>
                    <a:lnTo>
                      <a:pt x="1205" y="1529"/>
                    </a:lnTo>
                    <a:lnTo>
                      <a:pt x="1205" y="1527"/>
                    </a:lnTo>
                    <a:lnTo>
                      <a:pt x="1207" y="1527"/>
                    </a:lnTo>
                    <a:lnTo>
                      <a:pt x="1205" y="1527"/>
                    </a:lnTo>
                    <a:lnTo>
                      <a:pt x="1203" y="1527"/>
                    </a:lnTo>
                    <a:lnTo>
                      <a:pt x="1203" y="1526"/>
                    </a:lnTo>
                    <a:lnTo>
                      <a:pt x="1203" y="1524"/>
                    </a:lnTo>
                    <a:lnTo>
                      <a:pt x="1202" y="1524"/>
                    </a:lnTo>
                    <a:lnTo>
                      <a:pt x="1203" y="1526"/>
                    </a:lnTo>
                    <a:lnTo>
                      <a:pt x="1203" y="1527"/>
                    </a:lnTo>
                    <a:lnTo>
                      <a:pt x="1203" y="1526"/>
                    </a:lnTo>
                    <a:lnTo>
                      <a:pt x="1202" y="1526"/>
                    </a:lnTo>
                    <a:lnTo>
                      <a:pt x="1202" y="1524"/>
                    </a:lnTo>
                    <a:lnTo>
                      <a:pt x="1202" y="1522"/>
                    </a:lnTo>
                    <a:lnTo>
                      <a:pt x="1200" y="1522"/>
                    </a:lnTo>
                    <a:lnTo>
                      <a:pt x="1200" y="1521"/>
                    </a:lnTo>
                    <a:lnTo>
                      <a:pt x="1200" y="1522"/>
                    </a:lnTo>
                    <a:lnTo>
                      <a:pt x="1200" y="1524"/>
                    </a:lnTo>
                    <a:lnTo>
                      <a:pt x="1198" y="1522"/>
                    </a:lnTo>
                    <a:lnTo>
                      <a:pt x="1196" y="1524"/>
                    </a:lnTo>
                    <a:lnTo>
                      <a:pt x="1196" y="1522"/>
                    </a:lnTo>
                    <a:lnTo>
                      <a:pt x="1195" y="1522"/>
                    </a:lnTo>
                    <a:lnTo>
                      <a:pt x="1195" y="1521"/>
                    </a:lnTo>
                    <a:lnTo>
                      <a:pt x="1195" y="1522"/>
                    </a:lnTo>
                    <a:lnTo>
                      <a:pt x="1193" y="1521"/>
                    </a:lnTo>
                    <a:lnTo>
                      <a:pt x="1195" y="1522"/>
                    </a:lnTo>
                    <a:lnTo>
                      <a:pt x="1196" y="1524"/>
                    </a:lnTo>
                    <a:lnTo>
                      <a:pt x="1195" y="1524"/>
                    </a:lnTo>
                    <a:lnTo>
                      <a:pt x="1193" y="1526"/>
                    </a:lnTo>
                    <a:lnTo>
                      <a:pt x="1195" y="1524"/>
                    </a:lnTo>
                    <a:lnTo>
                      <a:pt x="1193" y="1524"/>
                    </a:lnTo>
                    <a:lnTo>
                      <a:pt x="1193" y="1522"/>
                    </a:lnTo>
                    <a:lnTo>
                      <a:pt x="1193" y="1524"/>
                    </a:lnTo>
                    <a:lnTo>
                      <a:pt x="1191" y="1522"/>
                    </a:lnTo>
                    <a:lnTo>
                      <a:pt x="1191" y="1524"/>
                    </a:lnTo>
                    <a:lnTo>
                      <a:pt x="1191" y="1522"/>
                    </a:lnTo>
                    <a:lnTo>
                      <a:pt x="1190" y="1522"/>
                    </a:lnTo>
                    <a:lnTo>
                      <a:pt x="1191" y="1524"/>
                    </a:lnTo>
                    <a:lnTo>
                      <a:pt x="1190" y="1524"/>
                    </a:lnTo>
                    <a:lnTo>
                      <a:pt x="1190" y="1522"/>
                    </a:lnTo>
                    <a:lnTo>
                      <a:pt x="1188" y="1521"/>
                    </a:lnTo>
                    <a:lnTo>
                      <a:pt x="1190" y="1521"/>
                    </a:lnTo>
                    <a:lnTo>
                      <a:pt x="1188" y="1519"/>
                    </a:lnTo>
                    <a:lnTo>
                      <a:pt x="1188" y="1521"/>
                    </a:lnTo>
                    <a:lnTo>
                      <a:pt x="1190" y="1522"/>
                    </a:lnTo>
                    <a:lnTo>
                      <a:pt x="1188" y="1524"/>
                    </a:lnTo>
                    <a:lnTo>
                      <a:pt x="1188" y="1526"/>
                    </a:lnTo>
                    <a:lnTo>
                      <a:pt x="1188" y="1524"/>
                    </a:lnTo>
                    <a:lnTo>
                      <a:pt x="1188" y="1522"/>
                    </a:lnTo>
                    <a:lnTo>
                      <a:pt x="1188" y="1524"/>
                    </a:lnTo>
                    <a:lnTo>
                      <a:pt x="1186" y="1524"/>
                    </a:lnTo>
                    <a:lnTo>
                      <a:pt x="1185" y="1524"/>
                    </a:lnTo>
                    <a:lnTo>
                      <a:pt x="1185" y="1522"/>
                    </a:lnTo>
                    <a:lnTo>
                      <a:pt x="1186" y="1522"/>
                    </a:lnTo>
                    <a:lnTo>
                      <a:pt x="1186" y="1521"/>
                    </a:lnTo>
                    <a:lnTo>
                      <a:pt x="1185" y="1521"/>
                    </a:lnTo>
                    <a:lnTo>
                      <a:pt x="1185" y="1519"/>
                    </a:lnTo>
                    <a:lnTo>
                      <a:pt x="1185" y="1521"/>
                    </a:lnTo>
                    <a:lnTo>
                      <a:pt x="1185" y="1522"/>
                    </a:lnTo>
                    <a:lnTo>
                      <a:pt x="1185" y="1521"/>
                    </a:lnTo>
                    <a:lnTo>
                      <a:pt x="1183" y="1521"/>
                    </a:lnTo>
                    <a:lnTo>
                      <a:pt x="1183" y="1519"/>
                    </a:lnTo>
                    <a:lnTo>
                      <a:pt x="1183" y="1517"/>
                    </a:lnTo>
                    <a:lnTo>
                      <a:pt x="1181" y="1517"/>
                    </a:lnTo>
                    <a:lnTo>
                      <a:pt x="1181" y="1515"/>
                    </a:lnTo>
                    <a:lnTo>
                      <a:pt x="1181" y="1517"/>
                    </a:lnTo>
                    <a:lnTo>
                      <a:pt x="1179" y="1517"/>
                    </a:lnTo>
                    <a:lnTo>
                      <a:pt x="1181" y="1515"/>
                    </a:lnTo>
                    <a:lnTo>
                      <a:pt x="1179" y="1517"/>
                    </a:lnTo>
                    <a:lnTo>
                      <a:pt x="1179" y="1515"/>
                    </a:lnTo>
                    <a:lnTo>
                      <a:pt x="1179" y="1514"/>
                    </a:lnTo>
                    <a:lnTo>
                      <a:pt x="1179" y="1512"/>
                    </a:lnTo>
                    <a:lnTo>
                      <a:pt x="1179" y="1514"/>
                    </a:lnTo>
                    <a:lnTo>
                      <a:pt x="1179" y="1515"/>
                    </a:lnTo>
                    <a:lnTo>
                      <a:pt x="1179" y="1514"/>
                    </a:lnTo>
                    <a:lnTo>
                      <a:pt x="1178" y="1515"/>
                    </a:lnTo>
                    <a:lnTo>
                      <a:pt x="1176" y="1515"/>
                    </a:lnTo>
                    <a:lnTo>
                      <a:pt x="1176" y="1514"/>
                    </a:lnTo>
                    <a:lnTo>
                      <a:pt x="1176" y="1512"/>
                    </a:lnTo>
                    <a:lnTo>
                      <a:pt x="1176" y="1510"/>
                    </a:lnTo>
                    <a:lnTo>
                      <a:pt x="1174" y="1510"/>
                    </a:lnTo>
                    <a:lnTo>
                      <a:pt x="1174" y="1509"/>
                    </a:lnTo>
                    <a:lnTo>
                      <a:pt x="1176" y="1509"/>
                    </a:lnTo>
                    <a:lnTo>
                      <a:pt x="1176" y="1510"/>
                    </a:lnTo>
                    <a:lnTo>
                      <a:pt x="1178" y="1510"/>
                    </a:lnTo>
                    <a:lnTo>
                      <a:pt x="1176" y="1510"/>
                    </a:lnTo>
                    <a:lnTo>
                      <a:pt x="1176" y="1509"/>
                    </a:lnTo>
                    <a:lnTo>
                      <a:pt x="1174" y="1509"/>
                    </a:lnTo>
                    <a:lnTo>
                      <a:pt x="1173" y="1507"/>
                    </a:lnTo>
                    <a:lnTo>
                      <a:pt x="1174" y="1507"/>
                    </a:lnTo>
                    <a:lnTo>
                      <a:pt x="1176" y="1507"/>
                    </a:lnTo>
                    <a:lnTo>
                      <a:pt x="1174" y="1507"/>
                    </a:lnTo>
                    <a:lnTo>
                      <a:pt x="1173" y="1505"/>
                    </a:lnTo>
                    <a:lnTo>
                      <a:pt x="1173" y="1504"/>
                    </a:lnTo>
                    <a:lnTo>
                      <a:pt x="1171" y="1502"/>
                    </a:lnTo>
                    <a:lnTo>
                      <a:pt x="1173" y="1504"/>
                    </a:lnTo>
                    <a:lnTo>
                      <a:pt x="1173" y="1502"/>
                    </a:lnTo>
                    <a:lnTo>
                      <a:pt x="1174" y="1502"/>
                    </a:lnTo>
                    <a:close/>
                    <a:moveTo>
                      <a:pt x="1278" y="1572"/>
                    </a:moveTo>
                    <a:lnTo>
                      <a:pt x="1276" y="1572"/>
                    </a:lnTo>
                    <a:lnTo>
                      <a:pt x="1278" y="1572"/>
                    </a:lnTo>
                    <a:lnTo>
                      <a:pt x="1280" y="1572"/>
                    </a:lnTo>
                    <a:lnTo>
                      <a:pt x="1280" y="1573"/>
                    </a:lnTo>
                    <a:lnTo>
                      <a:pt x="1280" y="1572"/>
                    </a:lnTo>
                    <a:lnTo>
                      <a:pt x="1281" y="1573"/>
                    </a:lnTo>
                    <a:lnTo>
                      <a:pt x="1280" y="1575"/>
                    </a:lnTo>
                    <a:lnTo>
                      <a:pt x="1281" y="1573"/>
                    </a:lnTo>
                    <a:lnTo>
                      <a:pt x="1280" y="1572"/>
                    </a:lnTo>
                    <a:lnTo>
                      <a:pt x="1281" y="1572"/>
                    </a:lnTo>
                    <a:lnTo>
                      <a:pt x="1283" y="1572"/>
                    </a:lnTo>
                    <a:lnTo>
                      <a:pt x="1283" y="1573"/>
                    </a:lnTo>
                    <a:lnTo>
                      <a:pt x="1281" y="1573"/>
                    </a:lnTo>
                    <a:lnTo>
                      <a:pt x="1283" y="1575"/>
                    </a:lnTo>
                    <a:lnTo>
                      <a:pt x="1283" y="1573"/>
                    </a:lnTo>
                    <a:lnTo>
                      <a:pt x="1283" y="1575"/>
                    </a:lnTo>
                    <a:lnTo>
                      <a:pt x="1285" y="1577"/>
                    </a:lnTo>
                    <a:lnTo>
                      <a:pt x="1283" y="1577"/>
                    </a:lnTo>
                    <a:lnTo>
                      <a:pt x="1285" y="1577"/>
                    </a:lnTo>
                    <a:lnTo>
                      <a:pt x="1285" y="1578"/>
                    </a:lnTo>
                    <a:lnTo>
                      <a:pt x="1283" y="1578"/>
                    </a:lnTo>
                    <a:lnTo>
                      <a:pt x="1283" y="1580"/>
                    </a:lnTo>
                    <a:lnTo>
                      <a:pt x="1285" y="1578"/>
                    </a:lnTo>
                    <a:lnTo>
                      <a:pt x="1285" y="1577"/>
                    </a:lnTo>
                    <a:lnTo>
                      <a:pt x="1285" y="1575"/>
                    </a:lnTo>
                    <a:lnTo>
                      <a:pt x="1285" y="1573"/>
                    </a:lnTo>
                    <a:lnTo>
                      <a:pt x="1285" y="1572"/>
                    </a:lnTo>
                    <a:lnTo>
                      <a:pt x="1287" y="1573"/>
                    </a:lnTo>
                    <a:lnTo>
                      <a:pt x="1288" y="1573"/>
                    </a:lnTo>
                    <a:lnTo>
                      <a:pt x="1288" y="1575"/>
                    </a:lnTo>
                    <a:lnTo>
                      <a:pt x="1288" y="1577"/>
                    </a:lnTo>
                    <a:lnTo>
                      <a:pt x="1288" y="1578"/>
                    </a:lnTo>
                    <a:lnTo>
                      <a:pt x="1290" y="1580"/>
                    </a:lnTo>
                    <a:lnTo>
                      <a:pt x="1288" y="1580"/>
                    </a:lnTo>
                    <a:lnTo>
                      <a:pt x="1287" y="1580"/>
                    </a:lnTo>
                    <a:lnTo>
                      <a:pt x="1288" y="1580"/>
                    </a:lnTo>
                    <a:lnTo>
                      <a:pt x="1290" y="1580"/>
                    </a:lnTo>
                    <a:lnTo>
                      <a:pt x="1290" y="1582"/>
                    </a:lnTo>
                    <a:lnTo>
                      <a:pt x="1290" y="1580"/>
                    </a:lnTo>
                    <a:lnTo>
                      <a:pt x="1290" y="1582"/>
                    </a:lnTo>
                    <a:lnTo>
                      <a:pt x="1290" y="1583"/>
                    </a:lnTo>
                    <a:lnTo>
                      <a:pt x="1290" y="1585"/>
                    </a:lnTo>
                    <a:lnTo>
                      <a:pt x="1292" y="1585"/>
                    </a:lnTo>
                    <a:lnTo>
                      <a:pt x="1292" y="1583"/>
                    </a:lnTo>
                    <a:lnTo>
                      <a:pt x="1292" y="1582"/>
                    </a:lnTo>
                    <a:lnTo>
                      <a:pt x="1292" y="1580"/>
                    </a:lnTo>
                    <a:lnTo>
                      <a:pt x="1293" y="1578"/>
                    </a:lnTo>
                    <a:lnTo>
                      <a:pt x="1293" y="1580"/>
                    </a:lnTo>
                    <a:lnTo>
                      <a:pt x="1293" y="1582"/>
                    </a:lnTo>
                    <a:lnTo>
                      <a:pt x="1292" y="1582"/>
                    </a:lnTo>
                    <a:lnTo>
                      <a:pt x="1293" y="1583"/>
                    </a:lnTo>
                    <a:lnTo>
                      <a:pt x="1293" y="1582"/>
                    </a:lnTo>
                    <a:lnTo>
                      <a:pt x="1293" y="1580"/>
                    </a:lnTo>
                    <a:lnTo>
                      <a:pt x="1293" y="1578"/>
                    </a:lnTo>
                    <a:lnTo>
                      <a:pt x="1295" y="1578"/>
                    </a:lnTo>
                    <a:lnTo>
                      <a:pt x="1295" y="1577"/>
                    </a:lnTo>
                    <a:lnTo>
                      <a:pt x="1295" y="1578"/>
                    </a:lnTo>
                    <a:lnTo>
                      <a:pt x="1297" y="1578"/>
                    </a:lnTo>
                    <a:lnTo>
                      <a:pt x="1297" y="1580"/>
                    </a:lnTo>
                    <a:lnTo>
                      <a:pt x="1298" y="1580"/>
                    </a:lnTo>
                    <a:lnTo>
                      <a:pt x="1298" y="1582"/>
                    </a:lnTo>
                    <a:lnTo>
                      <a:pt x="1297" y="1582"/>
                    </a:lnTo>
                    <a:lnTo>
                      <a:pt x="1298" y="1582"/>
                    </a:lnTo>
                    <a:lnTo>
                      <a:pt x="1297" y="1583"/>
                    </a:lnTo>
                    <a:lnTo>
                      <a:pt x="1297" y="1585"/>
                    </a:lnTo>
                    <a:lnTo>
                      <a:pt x="1295" y="1585"/>
                    </a:lnTo>
                    <a:lnTo>
                      <a:pt x="1295" y="1587"/>
                    </a:lnTo>
                    <a:lnTo>
                      <a:pt x="1297" y="1587"/>
                    </a:lnTo>
                    <a:lnTo>
                      <a:pt x="1297" y="1585"/>
                    </a:lnTo>
                    <a:lnTo>
                      <a:pt x="1297" y="1583"/>
                    </a:lnTo>
                    <a:lnTo>
                      <a:pt x="1298" y="1583"/>
                    </a:lnTo>
                    <a:lnTo>
                      <a:pt x="1298" y="1585"/>
                    </a:lnTo>
                    <a:lnTo>
                      <a:pt x="1298" y="1587"/>
                    </a:lnTo>
                    <a:lnTo>
                      <a:pt x="1298" y="1589"/>
                    </a:lnTo>
                    <a:lnTo>
                      <a:pt x="1297" y="1589"/>
                    </a:lnTo>
                    <a:lnTo>
                      <a:pt x="1298" y="1590"/>
                    </a:lnTo>
                    <a:lnTo>
                      <a:pt x="1298" y="1592"/>
                    </a:lnTo>
                    <a:lnTo>
                      <a:pt x="1297" y="1592"/>
                    </a:lnTo>
                    <a:lnTo>
                      <a:pt x="1295" y="1592"/>
                    </a:lnTo>
                    <a:lnTo>
                      <a:pt x="1297" y="1592"/>
                    </a:lnTo>
                    <a:lnTo>
                      <a:pt x="1297" y="1594"/>
                    </a:lnTo>
                    <a:lnTo>
                      <a:pt x="1295" y="1594"/>
                    </a:lnTo>
                    <a:lnTo>
                      <a:pt x="1293" y="1594"/>
                    </a:lnTo>
                    <a:lnTo>
                      <a:pt x="1293" y="1592"/>
                    </a:lnTo>
                    <a:lnTo>
                      <a:pt x="1292" y="1592"/>
                    </a:lnTo>
                    <a:lnTo>
                      <a:pt x="1293" y="1594"/>
                    </a:lnTo>
                    <a:lnTo>
                      <a:pt x="1295" y="1594"/>
                    </a:lnTo>
                    <a:lnTo>
                      <a:pt x="1295" y="1595"/>
                    </a:lnTo>
                    <a:lnTo>
                      <a:pt x="1293" y="1595"/>
                    </a:lnTo>
                    <a:lnTo>
                      <a:pt x="1295" y="1597"/>
                    </a:lnTo>
                    <a:lnTo>
                      <a:pt x="1293" y="1597"/>
                    </a:lnTo>
                    <a:lnTo>
                      <a:pt x="1292" y="1597"/>
                    </a:lnTo>
                    <a:lnTo>
                      <a:pt x="1292" y="1595"/>
                    </a:lnTo>
                    <a:lnTo>
                      <a:pt x="1292" y="1594"/>
                    </a:lnTo>
                    <a:lnTo>
                      <a:pt x="1292" y="1595"/>
                    </a:lnTo>
                    <a:lnTo>
                      <a:pt x="1290" y="1595"/>
                    </a:lnTo>
                    <a:lnTo>
                      <a:pt x="1290" y="1594"/>
                    </a:lnTo>
                    <a:lnTo>
                      <a:pt x="1288" y="1594"/>
                    </a:lnTo>
                    <a:lnTo>
                      <a:pt x="1287" y="1594"/>
                    </a:lnTo>
                    <a:lnTo>
                      <a:pt x="1287" y="1592"/>
                    </a:lnTo>
                    <a:lnTo>
                      <a:pt x="1285" y="1592"/>
                    </a:lnTo>
                    <a:lnTo>
                      <a:pt x="1285" y="1590"/>
                    </a:lnTo>
                    <a:lnTo>
                      <a:pt x="1287" y="1590"/>
                    </a:lnTo>
                    <a:lnTo>
                      <a:pt x="1288" y="1590"/>
                    </a:lnTo>
                    <a:lnTo>
                      <a:pt x="1290" y="1590"/>
                    </a:lnTo>
                    <a:lnTo>
                      <a:pt x="1290" y="1589"/>
                    </a:lnTo>
                    <a:lnTo>
                      <a:pt x="1292" y="1589"/>
                    </a:lnTo>
                    <a:lnTo>
                      <a:pt x="1290" y="1589"/>
                    </a:lnTo>
                    <a:lnTo>
                      <a:pt x="1290" y="1587"/>
                    </a:lnTo>
                    <a:lnTo>
                      <a:pt x="1290" y="1589"/>
                    </a:lnTo>
                    <a:lnTo>
                      <a:pt x="1288" y="1589"/>
                    </a:lnTo>
                    <a:lnTo>
                      <a:pt x="1287" y="1589"/>
                    </a:lnTo>
                    <a:lnTo>
                      <a:pt x="1287" y="1590"/>
                    </a:lnTo>
                    <a:lnTo>
                      <a:pt x="1287" y="1589"/>
                    </a:lnTo>
                    <a:lnTo>
                      <a:pt x="1287" y="1587"/>
                    </a:lnTo>
                    <a:lnTo>
                      <a:pt x="1287" y="1589"/>
                    </a:lnTo>
                    <a:lnTo>
                      <a:pt x="1285" y="1589"/>
                    </a:lnTo>
                    <a:lnTo>
                      <a:pt x="1283" y="1589"/>
                    </a:lnTo>
                    <a:lnTo>
                      <a:pt x="1283" y="1587"/>
                    </a:lnTo>
                    <a:lnTo>
                      <a:pt x="1281" y="1585"/>
                    </a:lnTo>
                    <a:lnTo>
                      <a:pt x="1283" y="1585"/>
                    </a:lnTo>
                    <a:lnTo>
                      <a:pt x="1283" y="1583"/>
                    </a:lnTo>
                    <a:lnTo>
                      <a:pt x="1283" y="1585"/>
                    </a:lnTo>
                    <a:lnTo>
                      <a:pt x="1283" y="1583"/>
                    </a:lnTo>
                    <a:lnTo>
                      <a:pt x="1285" y="1583"/>
                    </a:lnTo>
                    <a:lnTo>
                      <a:pt x="1285" y="1582"/>
                    </a:lnTo>
                    <a:lnTo>
                      <a:pt x="1285" y="1583"/>
                    </a:lnTo>
                    <a:lnTo>
                      <a:pt x="1283" y="1583"/>
                    </a:lnTo>
                    <a:lnTo>
                      <a:pt x="1283" y="1582"/>
                    </a:lnTo>
                    <a:lnTo>
                      <a:pt x="1285" y="1582"/>
                    </a:lnTo>
                    <a:lnTo>
                      <a:pt x="1285" y="1580"/>
                    </a:lnTo>
                    <a:lnTo>
                      <a:pt x="1283" y="1580"/>
                    </a:lnTo>
                    <a:lnTo>
                      <a:pt x="1283" y="1582"/>
                    </a:lnTo>
                    <a:lnTo>
                      <a:pt x="1283" y="1583"/>
                    </a:lnTo>
                    <a:lnTo>
                      <a:pt x="1281" y="1582"/>
                    </a:lnTo>
                    <a:lnTo>
                      <a:pt x="1280" y="1582"/>
                    </a:lnTo>
                    <a:lnTo>
                      <a:pt x="1281" y="1582"/>
                    </a:lnTo>
                    <a:lnTo>
                      <a:pt x="1281" y="1583"/>
                    </a:lnTo>
                    <a:lnTo>
                      <a:pt x="1281" y="1585"/>
                    </a:lnTo>
                    <a:lnTo>
                      <a:pt x="1280" y="1585"/>
                    </a:lnTo>
                    <a:lnTo>
                      <a:pt x="1281" y="1585"/>
                    </a:lnTo>
                    <a:lnTo>
                      <a:pt x="1280" y="1585"/>
                    </a:lnTo>
                    <a:lnTo>
                      <a:pt x="1281" y="1587"/>
                    </a:lnTo>
                    <a:lnTo>
                      <a:pt x="1281" y="1589"/>
                    </a:lnTo>
                    <a:lnTo>
                      <a:pt x="1281" y="1587"/>
                    </a:lnTo>
                    <a:lnTo>
                      <a:pt x="1283" y="1589"/>
                    </a:lnTo>
                    <a:lnTo>
                      <a:pt x="1285" y="1589"/>
                    </a:lnTo>
                    <a:lnTo>
                      <a:pt x="1285" y="1590"/>
                    </a:lnTo>
                    <a:lnTo>
                      <a:pt x="1283" y="1590"/>
                    </a:lnTo>
                    <a:lnTo>
                      <a:pt x="1283" y="1592"/>
                    </a:lnTo>
                    <a:lnTo>
                      <a:pt x="1285" y="1594"/>
                    </a:lnTo>
                    <a:lnTo>
                      <a:pt x="1283" y="1594"/>
                    </a:lnTo>
                    <a:lnTo>
                      <a:pt x="1281" y="1594"/>
                    </a:lnTo>
                    <a:lnTo>
                      <a:pt x="1280" y="1592"/>
                    </a:lnTo>
                    <a:lnTo>
                      <a:pt x="1281" y="1592"/>
                    </a:lnTo>
                    <a:lnTo>
                      <a:pt x="1280" y="1590"/>
                    </a:lnTo>
                    <a:lnTo>
                      <a:pt x="1280" y="1589"/>
                    </a:lnTo>
                    <a:lnTo>
                      <a:pt x="1281" y="1589"/>
                    </a:lnTo>
                    <a:lnTo>
                      <a:pt x="1280" y="1587"/>
                    </a:lnTo>
                    <a:lnTo>
                      <a:pt x="1281" y="1587"/>
                    </a:lnTo>
                    <a:lnTo>
                      <a:pt x="1280" y="1587"/>
                    </a:lnTo>
                    <a:lnTo>
                      <a:pt x="1280" y="1589"/>
                    </a:lnTo>
                    <a:lnTo>
                      <a:pt x="1280" y="1590"/>
                    </a:lnTo>
                    <a:lnTo>
                      <a:pt x="1278" y="1590"/>
                    </a:lnTo>
                    <a:lnTo>
                      <a:pt x="1278" y="1589"/>
                    </a:lnTo>
                    <a:lnTo>
                      <a:pt x="1278" y="1587"/>
                    </a:lnTo>
                    <a:lnTo>
                      <a:pt x="1278" y="1585"/>
                    </a:lnTo>
                    <a:lnTo>
                      <a:pt x="1280" y="1585"/>
                    </a:lnTo>
                    <a:lnTo>
                      <a:pt x="1278" y="1585"/>
                    </a:lnTo>
                    <a:lnTo>
                      <a:pt x="1278" y="1587"/>
                    </a:lnTo>
                    <a:lnTo>
                      <a:pt x="1276" y="1587"/>
                    </a:lnTo>
                    <a:lnTo>
                      <a:pt x="1278" y="1589"/>
                    </a:lnTo>
                    <a:lnTo>
                      <a:pt x="1276" y="1589"/>
                    </a:lnTo>
                    <a:lnTo>
                      <a:pt x="1275" y="1587"/>
                    </a:lnTo>
                    <a:lnTo>
                      <a:pt x="1275" y="1585"/>
                    </a:lnTo>
                    <a:lnTo>
                      <a:pt x="1275" y="1583"/>
                    </a:lnTo>
                    <a:lnTo>
                      <a:pt x="1273" y="1583"/>
                    </a:lnTo>
                    <a:lnTo>
                      <a:pt x="1275" y="1582"/>
                    </a:lnTo>
                    <a:lnTo>
                      <a:pt x="1276" y="1582"/>
                    </a:lnTo>
                    <a:lnTo>
                      <a:pt x="1276" y="1580"/>
                    </a:lnTo>
                    <a:lnTo>
                      <a:pt x="1278" y="1580"/>
                    </a:lnTo>
                    <a:lnTo>
                      <a:pt x="1278" y="1578"/>
                    </a:lnTo>
                    <a:lnTo>
                      <a:pt x="1278" y="1580"/>
                    </a:lnTo>
                    <a:lnTo>
                      <a:pt x="1276" y="1578"/>
                    </a:lnTo>
                    <a:lnTo>
                      <a:pt x="1276" y="1577"/>
                    </a:lnTo>
                    <a:lnTo>
                      <a:pt x="1275" y="1575"/>
                    </a:lnTo>
                    <a:lnTo>
                      <a:pt x="1276" y="1575"/>
                    </a:lnTo>
                    <a:lnTo>
                      <a:pt x="1275" y="1573"/>
                    </a:lnTo>
                    <a:lnTo>
                      <a:pt x="1276" y="1573"/>
                    </a:lnTo>
                    <a:lnTo>
                      <a:pt x="1276" y="1572"/>
                    </a:lnTo>
                    <a:lnTo>
                      <a:pt x="1278" y="1570"/>
                    </a:lnTo>
                    <a:lnTo>
                      <a:pt x="1278" y="1572"/>
                    </a:lnTo>
                    <a:close/>
                    <a:moveTo>
                      <a:pt x="1152" y="1354"/>
                    </a:moveTo>
                    <a:lnTo>
                      <a:pt x="1154" y="1354"/>
                    </a:lnTo>
                    <a:lnTo>
                      <a:pt x="1152" y="1356"/>
                    </a:lnTo>
                    <a:lnTo>
                      <a:pt x="1152" y="1357"/>
                    </a:lnTo>
                    <a:lnTo>
                      <a:pt x="1152" y="1356"/>
                    </a:lnTo>
                    <a:lnTo>
                      <a:pt x="1154" y="1356"/>
                    </a:lnTo>
                    <a:lnTo>
                      <a:pt x="1154" y="1357"/>
                    </a:lnTo>
                    <a:lnTo>
                      <a:pt x="1152" y="1357"/>
                    </a:lnTo>
                    <a:lnTo>
                      <a:pt x="1154" y="1359"/>
                    </a:lnTo>
                    <a:lnTo>
                      <a:pt x="1154" y="1357"/>
                    </a:lnTo>
                    <a:lnTo>
                      <a:pt x="1154" y="1356"/>
                    </a:lnTo>
                    <a:lnTo>
                      <a:pt x="1156" y="1356"/>
                    </a:lnTo>
                    <a:lnTo>
                      <a:pt x="1157" y="1356"/>
                    </a:lnTo>
                    <a:lnTo>
                      <a:pt x="1159" y="1356"/>
                    </a:lnTo>
                    <a:lnTo>
                      <a:pt x="1159" y="1357"/>
                    </a:lnTo>
                    <a:lnTo>
                      <a:pt x="1159" y="1359"/>
                    </a:lnTo>
                    <a:lnTo>
                      <a:pt x="1157" y="1359"/>
                    </a:lnTo>
                    <a:lnTo>
                      <a:pt x="1157" y="1361"/>
                    </a:lnTo>
                    <a:lnTo>
                      <a:pt x="1159" y="1359"/>
                    </a:lnTo>
                    <a:lnTo>
                      <a:pt x="1161" y="1359"/>
                    </a:lnTo>
                    <a:lnTo>
                      <a:pt x="1159" y="1359"/>
                    </a:lnTo>
                    <a:lnTo>
                      <a:pt x="1161" y="1359"/>
                    </a:lnTo>
                    <a:lnTo>
                      <a:pt x="1161" y="1361"/>
                    </a:lnTo>
                    <a:lnTo>
                      <a:pt x="1161" y="1362"/>
                    </a:lnTo>
                    <a:lnTo>
                      <a:pt x="1162" y="1362"/>
                    </a:lnTo>
                    <a:lnTo>
                      <a:pt x="1161" y="1361"/>
                    </a:lnTo>
                    <a:lnTo>
                      <a:pt x="1162" y="1359"/>
                    </a:lnTo>
                    <a:lnTo>
                      <a:pt x="1162" y="1357"/>
                    </a:lnTo>
                    <a:lnTo>
                      <a:pt x="1164" y="1357"/>
                    </a:lnTo>
                    <a:lnTo>
                      <a:pt x="1164" y="1359"/>
                    </a:lnTo>
                    <a:lnTo>
                      <a:pt x="1164" y="1361"/>
                    </a:lnTo>
                    <a:lnTo>
                      <a:pt x="1162" y="1362"/>
                    </a:lnTo>
                    <a:lnTo>
                      <a:pt x="1164" y="1361"/>
                    </a:lnTo>
                    <a:lnTo>
                      <a:pt x="1164" y="1362"/>
                    </a:lnTo>
                    <a:lnTo>
                      <a:pt x="1164" y="1361"/>
                    </a:lnTo>
                    <a:lnTo>
                      <a:pt x="1166" y="1361"/>
                    </a:lnTo>
                    <a:lnTo>
                      <a:pt x="1166" y="1362"/>
                    </a:lnTo>
                    <a:lnTo>
                      <a:pt x="1168" y="1362"/>
                    </a:lnTo>
                    <a:lnTo>
                      <a:pt x="1168" y="1364"/>
                    </a:lnTo>
                    <a:lnTo>
                      <a:pt x="1168" y="1362"/>
                    </a:lnTo>
                    <a:lnTo>
                      <a:pt x="1166" y="1361"/>
                    </a:lnTo>
                    <a:lnTo>
                      <a:pt x="1168" y="1362"/>
                    </a:lnTo>
                    <a:lnTo>
                      <a:pt x="1169" y="1362"/>
                    </a:lnTo>
                    <a:lnTo>
                      <a:pt x="1168" y="1362"/>
                    </a:lnTo>
                    <a:lnTo>
                      <a:pt x="1166" y="1361"/>
                    </a:lnTo>
                    <a:lnTo>
                      <a:pt x="1168" y="1361"/>
                    </a:lnTo>
                    <a:lnTo>
                      <a:pt x="1166" y="1359"/>
                    </a:lnTo>
                    <a:lnTo>
                      <a:pt x="1168" y="1361"/>
                    </a:lnTo>
                    <a:lnTo>
                      <a:pt x="1169" y="1361"/>
                    </a:lnTo>
                    <a:lnTo>
                      <a:pt x="1171" y="1362"/>
                    </a:lnTo>
                    <a:lnTo>
                      <a:pt x="1169" y="1362"/>
                    </a:lnTo>
                    <a:lnTo>
                      <a:pt x="1171" y="1364"/>
                    </a:lnTo>
                    <a:lnTo>
                      <a:pt x="1169" y="1364"/>
                    </a:lnTo>
                    <a:lnTo>
                      <a:pt x="1168" y="1364"/>
                    </a:lnTo>
                    <a:lnTo>
                      <a:pt x="1169" y="1364"/>
                    </a:lnTo>
                    <a:lnTo>
                      <a:pt x="1168" y="1364"/>
                    </a:lnTo>
                    <a:lnTo>
                      <a:pt x="1169" y="1364"/>
                    </a:lnTo>
                    <a:lnTo>
                      <a:pt x="1168" y="1364"/>
                    </a:lnTo>
                    <a:lnTo>
                      <a:pt x="1166" y="1364"/>
                    </a:lnTo>
                    <a:lnTo>
                      <a:pt x="1168" y="1364"/>
                    </a:lnTo>
                    <a:lnTo>
                      <a:pt x="1169" y="1366"/>
                    </a:lnTo>
                    <a:lnTo>
                      <a:pt x="1168" y="1367"/>
                    </a:lnTo>
                    <a:lnTo>
                      <a:pt x="1168" y="1366"/>
                    </a:lnTo>
                    <a:lnTo>
                      <a:pt x="1166" y="1366"/>
                    </a:lnTo>
                    <a:lnTo>
                      <a:pt x="1166" y="1367"/>
                    </a:lnTo>
                    <a:lnTo>
                      <a:pt x="1168" y="1367"/>
                    </a:lnTo>
                    <a:lnTo>
                      <a:pt x="1166" y="1367"/>
                    </a:lnTo>
                    <a:lnTo>
                      <a:pt x="1166" y="1366"/>
                    </a:lnTo>
                    <a:lnTo>
                      <a:pt x="1164" y="1366"/>
                    </a:lnTo>
                    <a:lnTo>
                      <a:pt x="1162" y="1367"/>
                    </a:lnTo>
                    <a:lnTo>
                      <a:pt x="1164" y="1366"/>
                    </a:lnTo>
                    <a:lnTo>
                      <a:pt x="1164" y="1367"/>
                    </a:lnTo>
                    <a:lnTo>
                      <a:pt x="1164" y="1369"/>
                    </a:lnTo>
                    <a:lnTo>
                      <a:pt x="1162" y="1369"/>
                    </a:lnTo>
                    <a:lnTo>
                      <a:pt x="1162" y="1371"/>
                    </a:lnTo>
                    <a:lnTo>
                      <a:pt x="1161" y="1371"/>
                    </a:lnTo>
                    <a:lnTo>
                      <a:pt x="1161" y="1373"/>
                    </a:lnTo>
                    <a:lnTo>
                      <a:pt x="1159" y="1371"/>
                    </a:lnTo>
                    <a:lnTo>
                      <a:pt x="1161" y="1373"/>
                    </a:lnTo>
                    <a:lnTo>
                      <a:pt x="1159" y="1373"/>
                    </a:lnTo>
                    <a:lnTo>
                      <a:pt x="1159" y="1374"/>
                    </a:lnTo>
                    <a:lnTo>
                      <a:pt x="1157" y="1373"/>
                    </a:lnTo>
                    <a:lnTo>
                      <a:pt x="1157" y="1374"/>
                    </a:lnTo>
                    <a:lnTo>
                      <a:pt x="1157" y="1376"/>
                    </a:lnTo>
                    <a:lnTo>
                      <a:pt x="1156" y="1378"/>
                    </a:lnTo>
                    <a:lnTo>
                      <a:pt x="1157" y="1376"/>
                    </a:lnTo>
                    <a:lnTo>
                      <a:pt x="1159" y="1376"/>
                    </a:lnTo>
                    <a:lnTo>
                      <a:pt x="1161" y="1376"/>
                    </a:lnTo>
                    <a:lnTo>
                      <a:pt x="1159" y="1376"/>
                    </a:lnTo>
                    <a:lnTo>
                      <a:pt x="1159" y="1374"/>
                    </a:lnTo>
                    <a:lnTo>
                      <a:pt x="1157" y="1374"/>
                    </a:lnTo>
                    <a:lnTo>
                      <a:pt x="1159" y="1374"/>
                    </a:lnTo>
                    <a:lnTo>
                      <a:pt x="1159" y="1373"/>
                    </a:lnTo>
                    <a:lnTo>
                      <a:pt x="1161" y="1373"/>
                    </a:lnTo>
                    <a:lnTo>
                      <a:pt x="1161" y="1371"/>
                    </a:lnTo>
                    <a:lnTo>
                      <a:pt x="1162" y="1371"/>
                    </a:lnTo>
                    <a:lnTo>
                      <a:pt x="1162" y="1369"/>
                    </a:lnTo>
                    <a:lnTo>
                      <a:pt x="1164" y="1369"/>
                    </a:lnTo>
                    <a:lnTo>
                      <a:pt x="1166" y="1369"/>
                    </a:lnTo>
                    <a:lnTo>
                      <a:pt x="1166" y="1371"/>
                    </a:lnTo>
                    <a:lnTo>
                      <a:pt x="1166" y="1373"/>
                    </a:lnTo>
                    <a:lnTo>
                      <a:pt x="1166" y="1374"/>
                    </a:lnTo>
                    <a:lnTo>
                      <a:pt x="1164" y="1373"/>
                    </a:lnTo>
                    <a:lnTo>
                      <a:pt x="1164" y="1374"/>
                    </a:lnTo>
                    <a:lnTo>
                      <a:pt x="1162" y="1373"/>
                    </a:lnTo>
                    <a:lnTo>
                      <a:pt x="1162" y="1374"/>
                    </a:lnTo>
                    <a:lnTo>
                      <a:pt x="1161" y="1374"/>
                    </a:lnTo>
                    <a:lnTo>
                      <a:pt x="1162" y="1374"/>
                    </a:lnTo>
                    <a:lnTo>
                      <a:pt x="1164" y="1374"/>
                    </a:lnTo>
                    <a:lnTo>
                      <a:pt x="1164" y="1376"/>
                    </a:lnTo>
                    <a:lnTo>
                      <a:pt x="1162" y="1374"/>
                    </a:lnTo>
                    <a:lnTo>
                      <a:pt x="1164" y="1376"/>
                    </a:lnTo>
                    <a:lnTo>
                      <a:pt x="1162" y="1376"/>
                    </a:lnTo>
                    <a:lnTo>
                      <a:pt x="1161" y="1376"/>
                    </a:lnTo>
                    <a:lnTo>
                      <a:pt x="1159" y="1376"/>
                    </a:lnTo>
                    <a:lnTo>
                      <a:pt x="1159" y="1378"/>
                    </a:lnTo>
                    <a:lnTo>
                      <a:pt x="1157" y="1378"/>
                    </a:lnTo>
                    <a:lnTo>
                      <a:pt x="1157" y="1379"/>
                    </a:lnTo>
                    <a:lnTo>
                      <a:pt x="1156" y="1379"/>
                    </a:lnTo>
                    <a:lnTo>
                      <a:pt x="1156" y="1378"/>
                    </a:lnTo>
                    <a:lnTo>
                      <a:pt x="1154" y="1379"/>
                    </a:lnTo>
                    <a:lnTo>
                      <a:pt x="1154" y="1378"/>
                    </a:lnTo>
                    <a:lnTo>
                      <a:pt x="1154" y="1379"/>
                    </a:lnTo>
                    <a:lnTo>
                      <a:pt x="1154" y="1378"/>
                    </a:lnTo>
                    <a:lnTo>
                      <a:pt x="1152" y="1378"/>
                    </a:lnTo>
                    <a:lnTo>
                      <a:pt x="1151" y="1378"/>
                    </a:lnTo>
                    <a:lnTo>
                      <a:pt x="1152" y="1378"/>
                    </a:lnTo>
                    <a:lnTo>
                      <a:pt x="1152" y="1376"/>
                    </a:lnTo>
                    <a:lnTo>
                      <a:pt x="1152" y="1374"/>
                    </a:lnTo>
                    <a:lnTo>
                      <a:pt x="1154" y="1374"/>
                    </a:lnTo>
                    <a:lnTo>
                      <a:pt x="1152" y="1374"/>
                    </a:lnTo>
                    <a:lnTo>
                      <a:pt x="1154" y="1374"/>
                    </a:lnTo>
                    <a:lnTo>
                      <a:pt x="1154" y="1373"/>
                    </a:lnTo>
                    <a:lnTo>
                      <a:pt x="1156" y="1373"/>
                    </a:lnTo>
                    <a:lnTo>
                      <a:pt x="1156" y="1371"/>
                    </a:lnTo>
                    <a:lnTo>
                      <a:pt x="1156" y="1369"/>
                    </a:lnTo>
                    <a:lnTo>
                      <a:pt x="1156" y="1371"/>
                    </a:lnTo>
                    <a:lnTo>
                      <a:pt x="1156" y="1373"/>
                    </a:lnTo>
                    <a:lnTo>
                      <a:pt x="1154" y="1373"/>
                    </a:lnTo>
                    <a:lnTo>
                      <a:pt x="1152" y="1373"/>
                    </a:lnTo>
                    <a:lnTo>
                      <a:pt x="1152" y="1374"/>
                    </a:lnTo>
                    <a:lnTo>
                      <a:pt x="1152" y="1373"/>
                    </a:lnTo>
                    <a:lnTo>
                      <a:pt x="1154" y="1373"/>
                    </a:lnTo>
                    <a:lnTo>
                      <a:pt x="1154" y="1371"/>
                    </a:lnTo>
                    <a:lnTo>
                      <a:pt x="1152" y="1371"/>
                    </a:lnTo>
                    <a:lnTo>
                      <a:pt x="1151" y="1373"/>
                    </a:lnTo>
                    <a:lnTo>
                      <a:pt x="1151" y="1374"/>
                    </a:lnTo>
                    <a:lnTo>
                      <a:pt x="1149" y="1374"/>
                    </a:lnTo>
                    <a:lnTo>
                      <a:pt x="1149" y="1376"/>
                    </a:lnTo>
                    <a:lnTo>
                      <a:pt x="1149" y="1378"/>
                    </a:lnTo>
                    <a:lnTo>
                      <a:pt x="1147" y="1378"/>
                    </a:lnTo>
                    <a:lnTo>
                      <a:pt x="1145" y="1376"/>
                    </a:lnTo>
                    <a:lnTo>
                      <a:pt x="1147" y="1376"/>
                    </a:lnTo>
                    <a:lnTo>
                      <a:pt x="1149" y="1374"/>
                    </a:lnTo>
                    <a:lnTo>
                      <a:pt x="1149" y="1373"/>
                    </a:lnTo>
                    <a:lnTo>
                      <a:pt x="1149" y="1374"/>
                    </a:lnTo>
                    <a:lnTo>
                      <a:pt x="1147" y="1374"/>
                    </a:lnTo>
                    <a:lnTo>
                      <a:pt x="1147" y="1373"/>
                    </a:lnTo>
                    <a:lnTo>
                      <a:pt x="1147" y="1371"/>
                    </a:lnTo>
                    <a:lnTo>
                      <a:pt x="1147" y="1369"/>
                    </a:lnTo>
                    <a:lnTo>
                      <a:pt x="1149" y="1369"/>
                    </a:lnTo>
                    <a:lnTo>
                      <a:pt x="1149" y="1367"/>
                    </a:lnTo>
                    <a:lnTo>
                      <a:pt x="1147" y="1367"/>
                    </a:lnTo>
                    <a:lnTo>
                      <a:pt x="1149" y="1366"/>
                    </a:lnTo>
                    <a:lnTo>
                      <a:pt x="1147" y="1366"/>
                    </a:lnTo>
                    <a:lnTo>
                      <a:pt x="1149" y="1366"/>
                    </a:lnTo>
                    <a:lnTo>
                      <a:pt x="1149" y="1364"/>
                    </a:lnTo>
                    <a:lnTo>
                      <a:pt x="1149" y="1362"/>
                    </a:lnTo>
                    <a:lnTo>
                      <a:pt x="1151" y="1362"/>
                    </a:lnTo>
                    <a:lnTo>
                      <a:pt x="1152" y="1362"/>
                    </a:lnTo>
                    <a:lnTo>
                      <a:pt x="1152" y="1364"/>
                    </a:lnTo>
                    <a:lnTo>
                      <a:pt x="1154" y="1364"/>
                    </a:lnTo>
                    <a:lnTo>
                      <a:pt x="1154" y="1366"/>
                    </a:lnTo>
                    <a:lnTo>
                      <a:pt x="1152" y="1366"/>
                    </a:lnTo>
                    <a:lnTo>
                      <a:pt x="1151" y="1364"/>
                    </a:lnTo>
                    <a:lnTo>
                      <a:pt x="1151" y="1366"/>
                    </a:lnTo>
                    <a:lnTo>
                      <a:pt x="1152" y="1366"/>
                    </a:lnTo>
                    <a:lnTo>
                      <a:pt x="1154" y="1366"/>
                    </a:lnTo>
                    <a:lnTo>
                      <a:pt x="1154" y="1367"/>
                    </a:lnTo>
                    <a:lnTo>
                      <a:pt x="1156" y="1367"/>
                    </a:lnTo>
                    <a:lnTo>
                      <a:pt x="1156" y="1369"/>
                    </a:lnTo>
                    <a:lnTo>
                      <a:pt x="1157" y="1367"/>
                    </a:lnTo>
                    <a:lnTo>
                      <a:pt x="1157" y="1366"/>
                    </a:lnTo>
                    <a:lnTo>
                      <a:pt x="1157" y="1364"/>
                    </a:lnTo>
                    <a:lnTo>
                      <a:pt x="1159" y="1362"/>
                    </a:lnTo>
                    <a:lnTo>
                      <a:pt x="1159" y="1361"/>
                    </a:lnTo>
                    <a:lnTo>
                      <a:pt x="1159" y="1362"/>
                    </a:lnTo>
                    <a:lnTo>
                      <a:pt x="1157" y="1362"/>
                    </a:lnTo>
                    <a:lnTo>
                      <a:pt x="1159" y="1362"/>
                    </a:lnTo>
                    <a:lnTo>
                      <a:pt x="1157" y="1364"/>
                    </a:lnTo>
                    <a:lnTo>
                      <a:pt x="1156" y="1362"/>
                    </a:lnTo>
                    <a:lnTo>
                      <a:pt x="1154" y="1362"/>
                    </a:lnTo>
                    <a:lnTo>
                      <a:pt x="1154" y="1361"/>
                    </a:lnTo>
                    <a:lnTo>
                      <a:pt x="1152" y="1362"/>
                    </a:lnTo>
                    <a:lnTo>
                      <a:pt x="1152" y="1361"/>
                    </a:lnTo>
                    <a:lnTo>
                      <a:pt x="1152" y="1362"/>
                    </a:lnTo>
                    <a:lnTo>
                      <a:pt x="1151" y="1361"/>
                    </a:lnTo>
                    <a:lnTo>
                      <a:pt x="1151" y="1359"/>
                    </a:lnTo>
                    <a:lnTo>
                      <a:pt x="1149" y="1359"/>
                    </a:lnTo>
                    <a:lnTo>
                      <a:pt x="1149" y="1357"/>
                    </a:lnTo>
                    <a:lnTo>
                      <a:pt x="1149" y="1356"/>
                    </a:lnTo>
                    <a:lnTo>
                      <a:pt x="1151" y="1356"/>
                    </a:lnTo>
                    <a:lnTo>
                      <a:pt x="1151" y="1354"/>
                    </a:lnTo>
                    <a:lnTo>
                      <a:pt x="1151" y="1356"/>
                    </a:lnTo>
                    <a:lnTo>
                      <a:pt x="1151" y="1357"/>
                    </a:lnTo>
                    <a:lnTo>
                      <a:pt x="1151" y="1356"/>
                    </a:lnTo>
                    <a:lnTo>
                      <a:pt x="1151" y="1354"/>
                    </a:lnTo>
                    <a:lnTo>
                      <a:pt x="1152" y="1354"/>
                    </a:lnTo>
                    <a:close/>
                    <a:moveTo>
                      <a:pt x="1266" y="1565"/>
                    </a:moveTo>
                    <a:lnTo>
                      <a:pt x="1268" y="1566"/>
                    </a:lnTo>
                    <a:lnTo>
                      <a:pt x="1270" y="1568"/>
                    </a:lnTo>
                    <a:lnTo>
                      <a:pt x="1270" y="1570"/>
                    </a:lnTo>
                    <a:lnTo>
                      <a:pt x="1270" y="1572"/>
                    </a:lnTo>
                    <a:lnTo>
                      <a:pt x="1270" y="1573"/>
                    </a:lnTo>
                    <a:lnTo>
                      <a:pt x="1270" y="1572"/>
                    </a:lnTo>
                    <a:lnTo>
                      <a:pt x="1270" y="1570"/>
                    </a:lnTo>
                    <a:lnTo>
                      <a:pt x="1271" y="1570"/>
                    </a:lnTo>
                    <a:lnTo>
                      <a:pt x="1271" y="1568"/>
                    </a:lnTo>
                    <a:lnTo>
                      <a:pt x="1273" y="1568"/>
                    </a:lnTo>
                    <a:lnTo>
                      <a:pt x="1271" y="1570"/>
                    </a:lnTo>
                    <a:lnTo>
                      <a:pt x="1273" y="1568"/>
                    </a:lnTo>
                    <a:lnTo>
                      <a:pt x="1275" y="1570"/>
                    </a:lnTo>
                    <a:lnTo>
                      <a:pt x="1276" y="1570"/>
                    </a:lnTo>
                    <a:lnTo>
                      <a:pt x="1275" y="1572"/>
                    </a:lnTo>
                    <a:lnTo>
                      <a:pt x="1275" y="1573"/>
                    </a:lnTo>
                    <a:lnTo>
                      <a:pt x="1273" y="1573"/>
                    </a:lnTo>
                    <a:lnTo>
                      <a:pt x="1275" y="1575"/>
                    </a:lnTo>
                    <a:lnTo>
                      <a:pt x="1275" y="1577"/>
                    </a:lnTo>
                    <a:lnTo>
                      <a:pt x="1273" y="1577"/>
                    </a:lnTo>
                    <a:lnTo>
                      <a:pt x="1271" y="1577"/>
                    </a:lnTo>
                    <a:lnTo>
                      <a:pt x="1273" y="1577"/>
                    </a:lnTo>
                    <a:lnTo>
                      <a:pt x="1273" y="1578"/>
                    </a:lnTo>
                    <a:lnTo>
                      <a:pt x="1273" y="1580"/>
                    </a:lnTo>
                    <a:lnTo>
                      <a:pt x="1273" y="1578"/>
                    </a:lnTo>
                    <a:lnTo>
                      <a:pt x="1275" y="1578"/>
                    </a:lnTo>
                    <a:lnTo>
                      <a:pt x="1275" y="1577"/>
                    </a:lnTo>
                    <a:lnTo>
                      <a:pt x="1276" y="1578"/>
                    </a:lnTo>
                    <a:lnTo>
                      <a:pt x="1276" y="1580"/>
                    </a:lnTo>
                    <a:lnTo>
                      <a:pt x="1275" y="1582"/>
                    </a:lnTo>
                    <a:lnTo>
                      <a:pt x="1275" y="1580"/>
                    </a:lnTo>
                    <a:lnTo>
                      <a:pt x="1275" y="1582"/>
                    </a:lnTo>
                    <a:lnTo>
                      <a:pt x="1273" y="1582"/>
                    </a:lnTo>
                    <a:lnTo>
                      <a:pt x="1273" y="1583"/>
                    </a:lnTo>
                    <a:lnTo>
                      <a:pt x="1273" y="1582"/>
                    </a:lnTo>
                    <a:lnTo>
                      <a:pt x="1273" y="1583"/>
                    </a:lnTo>
                    <a:lnTo>
                      <a:pt x="1271" y="1583"/>
                    </a:lnTo>
                    <a:lnTo>
                      <a:pt x="1271" y="1582"/>
                    </a:lnTo>
                    <a:lnTo>
                      <a:pt x="1271" y="1583"/>
                    </a:lnTo>
                    <a:lnTo>
                      <a:pt x="1270" y="1582"/>
                    </a:lnTo>
                    <a:lnTo>
                      <a:pt x="1270" y="1580"/>
                    </a:lnTo>
                    <a:lnTo>
                      <a:pt x="1268" y="1580"/>
                    </a:lnTo>
                    <a:lnTo>
                      <a:pt x="1270" y="1578"/>
                    </a:lnTo>
                    <a:lnTo>
                      <a:pt x="1268" y="1580"/>
                    </a:lnTo>
                    <a:lnTo>
                      <a:pt x="1268" y="1578"/>
                    </a:lnTo>
                    <a:lnTo>
                      <a:pt x="1266" y="1577"/>
                    </a:lnTo>
                    <a:lnTo>
                      <a:pt x="1266" y="1575"/>
                    </a:lnTo>
                    <a:lnTo>
                      <a:pt x="1266" y="1577"/>
                    </a:lnTo>
                    <a:lnTo>
                      <a:pt x="1266" y="1578"/>
                    </a:lnTo>
                    <a:lnTo>
                      <a:pt x="1266" y="1580"/>
                    </a:lnTo>
                    <a:lnTo>
                      <a:pt x="1268" y="1580"/>
                    </a:lnTo>
                    <a:lnTo>
                      <a:pt x="1266" y="1582"/>
                    </a:lnTo>
                    <a:lnTo>
                      <a:pt x="1268" y="1582"/>
                    </a:lnTo>
                    <a:lnTo>
                      <a:pt x="1268" y="1583"/>
                    </a:lnTo>
                    <a:lnTo>
                      <a:pt x="1270" y="1582"/>
                    </a:lnTo>
                    <a:lnTo>
                      <a:pt x="1270" y="1583"/>
                    </a:lnTo>
                    <a:lnTo>
                      <a:pt x="1271" y="1583"/>
                    </a:lnTo>
                    <a:lnTo>
                      <a:pt x="1271" y="1585"/>
                    </a:lnTo>
                    <a:lnTo>
                      <a:pt x="1271" y="1587"/>
                    </a:lnTo>
                    <a:lnTo>
                      <a:pt x="1271" y="1585"/>
                    </a:lnTo>
                    <a:lnTo>
                      <a:pt x="1271" y="1587"/>
                    </a:lnTo>
                    <a:lnTo>
                      <a:pt x="1273" y="1587"/>
                    </a:lnTo>
                    <a:lnTo>
                      <a:pt x="1273" y="1589"/>
                    </a:lnTo>
                    <a:lnTo>
                      <a:pt x="1273" y="1590"/>
                    </a:lnTo>
                    <a:lnTo>
                      <a:pt x="1271" y="1590"/>
                    </a:lnTo>
                    <a:lnTo>
                      <a:pt x="1271" y="1589"/>
                    </a:lnTo>
                    <a:lnTo>
                      <a:pt x="1270" y="1589"/>
                    </a:lnTo>
                    <a:lnTo>
                      <a:pt x="1268" y="1589"/>
                    </a:lnTo>
                    <a:lnTo>
                      <a:pt x="1270" y="1589"/>
                    </a:lnTo>
                    <a:lnTo>
                      <a:pt x="1270" y="1590"/>
                    </a:lnTo>
                    <a:lnTo>
                      <a:pt x="1268" y="1590"/>
                    </a:lnTo>
                    <a:lnTo>
                      <a:pt x="1270" y="1590"/>
                    </a:lnTo>
                    <a:lnTo>
                      <a:pt x="1270" y="1592"/>
                    </a:lnTo>
                    <a:lnTo>
                      <a:pt x="1268" y="1592"/>
                    </a:lnTo>
                    <a:lnTo>
                      <a:pt x="1270" y="1592"/>
                    </a:lnTo>
                    <a:lnTo>
                      <a:pt x="1270" y="1594"/>
                    </a:lnTo>
                    <a:lnTo>
                      <a:pt x="1271" y="1594"/>
                    </a:lnTo>
                    <a:lnTo>
                      <a:pt x="1270" y="1594"/>
                    </a:lnTo>
                    <a:lnTo>
                      <a:pt x="1268" y="1594"/>
                    </a:lnTo>
                    <a:lnTo>
                      <a:pt x="1266" y="1594"/>
                    </a:lnTo>
                    <a:lnTo>
                      <a:pt x="1266" y="1592"/>
                    </a:lnTo>
                    <a:lnTo>
                      <a:pt x="1266" y="1594"/>
                    </a:lnTo>
                    <a:lnTo>
                      <a:pt x="1264" y="1594"/>
                    </a:lnTo>
                    <a:lnTo>
                      <a:pt x="1264" y="1592"/>
                    </a:lnTo>
                    <a:lnTo>
                      <a:pt x="1266" y="1592"/>
                    </a:lnTo>
                    <a:lnTo>
                      <a:pt x="1266" y="1590"/>
                    </a:lnTo>
                    <a:lnTo>
                      <a:pt x="1266" y="1589"/>
                    </a:lnTo>
                    <a:lnTo>
                      <a:pt x="1268" y="1589"/>
                    </a:lnTo>
                    <a:lnTo>
                      <a:pt x="1268" y="1587"/>
                    </a:lnTo>
                    <a:lnTo>
                      <a:pt x="1268" y="1589"/>
                    </a:lnTo>
                    <a:lnTo>
                      <a:pt x="1266" y="1587"/>
                    </a:lnTo>
                    <a:lnTo>
                      <a:pt x="1266" y="1589"/>
                    </a:lnTo>
                    <a:lnTo>
                      <a:pt x="1264" y="1587"/>
                    </a:lnTo>
                    <a:lnTo>
                      <a:pt x="1263" y="1587"/>
                    </a:lnTo>
                    <a:lnTo>
                      <a:pt x="1264" y="1587"/>
                    </a:lnTo>
                    <a:lnTo>
                      <a:pt x="1263" y="1587"/>
                    </a:lnTo>
                    <a:lnTo>
                      <a:pt x="1264" y="1587"/>
                    </a:lnTo>
                    <a:lnTo>
                      <a:pt x="1263" y="1585"/>
                    </a:lnTo>
                    <a:lnTo>
                      <a:pt x="1263" y="1587"/>
                    </a:lnTo>
                    <a:lnTo>
                      <a:pt x="1263" y="1585"/>
                    </a:lnTo>
                    <a:lnTo>
                      <a:pt x="1261" y="1585"/>
                    </a:lnTo>
                    <a:lnTo>
                      <a:pt x="1261" y="1583"/>
                    </a:lnTo>
                    <a:lnTo>
                      <a:pt x="1259" y="1583"/>
                    </a:lnTo>
                    <a:lnTo>
                      <a:pt x="1259" y="1582"/>
                    </a:lnTo>
                    <a:lnTo>
                      <a:pt x="1261" y="1583"/>
                    </a:lnTo>
                    <a:lnTo>
                      <a:pt x="1261" y="1582"/>
                    </a:lnTo>
                    <a:lnTo>
                      <a:pt x="1263" y="1583"/>
                    </a:lnTo>
                    <a:lnTo>
                      <a:pt x="1263" y="1582"/>
                    </a:lnTo>
                    <a:lnTo>
                      <a:pt x="1261" y="1582"/>
                    </a:lnTo>
                    <a:lnTo>
                      <a:pt x="1259" y="1582"/>
                    </a:lnTo>
                    <a:lnTo>
                      <a:pt x="1258" y="1580"/>
                    </a:lnTo>
                    <a:lnTo>
                      <a:pt x="1259" y="1580"/>
                    </a:lnTo>
                    <a:lnTo>
                      <a:pt x="1261" y="1580"/>
                    </a:lnTo>
                    <a:lnTo>
                      <a:pt x="1263" y="1580"/>
                    </a:lnTo>
                    <a:lnTo>
                      <a:pt x="1261" y="1580"/>
                    </a:lnTo>
                    <a:lnTo>
                      <a:pt x="1259" y="1578"/>
                    </a:lnTo>
                    <a:lnTo>
                      <a:pt x="1259" y="1577"/>
                    </a:lnTo>
                    <a:lnTo>
                      <a:pt x="1259" y="1578"/>
                    </a:lnTo>
                    <a:lnTo>
                      <a:pt x="1258" y="1578"/>
                    </a:lnTo>
                    <a:lnTo>
                      <a:pt x="1258" y="1580"/>
                    </a:lnTo>
                    <a:lnTo>
                      <a:pt x="1256" y="1580"/>
                    </a:lnTo>
                    <a:lnTo>
                      <a:pt x="1256" y="1578"/>
                    </a:lnTo>
                    <a:lnTo>
                      <a:pt x="1254" y="1577"/>
                    </a:lnTo>
                    <a:lnTo>
                      <a:pt x="1256" y="1577"/>
                    </a:lnTo>
                    <a:lnTo>
                      <a:pt x="1256" y="1575"/>
                    </a:lnTo>
                    <a:lnTo>
                      <a:pt x="1258" y="1573"/>
                    </a:lnTo>
                    <a:lnTo>
                      <a:pt x="1258" y="1572"/>
                    </a:lnTo>
                    <a:lnTo>
                      <a:pt x="1258" y="1573"/>
                    </a:lnTo>
                    <a:lnTo>
                      <a:pt x="1256" y="1573"/>
                    </a:lnTo>
                    <a:lnTo>
                      <a:pt x="1254" y="1575"/>
                    </a:lnTo>
                    <a:lnTo>
                      <a:pt x="1254" y="1573"/>
                    </a:lnTo>
                    <a:lnTo>
                      <a:pt x="1254" y="1572"/>
                    </a:lnTo>
                    <a:lnTo>
                      <a:pt x="1254" y="1570"/>
                    </a:lnTo>
                    <a:lnTo>
                      <a:pt x="1256" y="1568"/>
                    </a:lnTo>
                    <a:lnTo>
                      <a:pt x="1256" y="1570"/>
                    </a:lnTo>
                    <a:lnTo>
                      <a:pt x="1258" y="1570"/>
                    </a:lnTo>
                    <a:lnTo>
                      <a:pt x="1259" y="1570"/>
                    </a:lnTo>
                    <a:lnTo>
                      <a:pt x="1259" y="1572"/>
                    </a:lnTo>
                    <a:lnTo>
                      <a:pt x="1259" y="1573"/>
                    </a:lnTo>
                    <a:lnTo>
                      <a:pt x="1261" y="1573"/>
                    </a:lnTo>
                    <a:lnTo>
                      <a:pt x="1263" y="1573"/>
                    </a:lnTo>
                    <a:lnTo>
                      <a:pt x="1261" y="1573"/>
                    </a:lnTo>
                    <a:lnTo>
                      <a:pt x="1261" y="1572"/>
                    </a:lnTo>
                    <a:lnTo>
                      <a:pt x="1259" y="1570"/>
                    </a:lnTo>
                    <a:lnTo>
                      <a:pt x="1261" y="1570"/>
                    </a:lnTo>
                    <a:lnTo>
                      <a:pt x="1261" y="1572"/>
                    </a:lnTo>
                    <a:lnTo>
                      <a:pt x="1263" y="1572"/>
                    </a:lnTo>
                    <a:lnTo>
                      <a:pt x="1261" y="1572"/>
                    </a:lnTo>
                    <a:lnTo>
                      <a:pt x="1261" y="1570"/>
                    </a:lnTo>
                    <a:lnTo>
                      <a:pt x="1263" y="1570"/>
                    </a:lnTo>
                    <a:lnTo>
                      <a:pt x="1263" y="1568"/>
                    </a:lnTo>
                    <a:lnTo>
                      <a:pt x="1263" y="1570"/>
                    </a:lnTo>
                    <a:lnTo>
                      <a:pt x="1264" y="1568"/>
                    </a:lnTo>
                    <a:lnTo>
                      <a:pt x="1266" y="1568"/>
                    </a:lnTo>
                    <a:lnTo>
                      <a:pt x="1264" y="1566"/>
                    </a:lnTo>
                    <a:lnTo>
                      <a:pt x="1266" y="1565"/>
                    </a:lnTo>
                    <a:close/>
                    <a:moveTo>
                      <a:pt x="1152" y="1252"/>
                    </a:moveTo>
                    <a:lnTo>
                      <a:pt x="1154" y="1253"/>
                    </a:lnTo>
                    <a:lnTo>
                      <a:pt x="1152" y="1255"/>
                    </a:lnTo>
                    <a:lnTo>
                      <a:pt x="1154" y="1255"/>
                    </a:lnTo>
                    <a:lnTo>
                      <a:pt x="1152" y="1255"/>
                    </a:lnTo>
                    <a:lnTo>
                      <a:pt x="1151" y="1255"/>
                    </a:lnTo>
                    <a:lnTo>
                      <a:pt x="1152" y="1255"/>
                    </a:lnTo>
                    <a:lnTo>
                      <a:pt x="1152" y="1257"/>
                    </a:lnTo>
                    <a:lnTo>
                      <a:pt x="1152" y="1259"/>
                    </a:lnTo>
                    <a:lnTo>
                      <a:pt x="1152" y="1257"/>
                    </a:lnTo>
                    <a:lnTo>
                      <a:pt x="1152" y="1255"/>
                    </a:lnTo>
                    <a:lnTo>
                      <a:pt x="1154" y="1255"/>
                    </a:lnTo>
                    <a:lnTo>
                      <a:pt x="1154" y="1257"/>
                    </a:lnTo>
                    <a:lnTo>
                      <a:pt x="1152" y="1259"/>
                    </a:lnTo>
                    <a:lnTo>
                      <a:pt x="1152" y="1260"/>
                    </a:lnTo>
                    <a:lnTo>
                      <a:pt x="1152" y="1259"/>
                    </a:lnTo>
                    <a:lnTo>
                      <a:pt x="1154" y="1259"/>
                    </a:lnTo>
                    <a:lnTo>
                      <a:pt x="1156" y="1259"/>
                    </a:lnTo>
                    <a:lnTo>
                      <a:pt x="1154" y="1259"/>
                    </a:lnTo>
                    <a:lnTo>
                      <a:pt x="1154" y="1260"/>
                    </a:lnTo>
                    <a:lnTo>
                      <a:pt x="1156" y="1260"/>
                    </a:lnTo>
                    <a:lnTo>
                      <a:pt x="1156" y="1262"/>
                    </a:lnTo>
                    <a:lnTo>
                      <a:pt x="1154" y="1262"/>
                    </a:lnTo>
                    <a:lnTo>
                      <a:pt x="1154" y="1264"/>
                    </a:lnTo>
                    <a:lnTo>
                      <a:pt x="1156" y="1262"/>
                    </a:lnTo>
                    <a:lnTo>
                      <a:pt x="1156" y="1264"/>
                    </a:lnTo>
                    <a:lnTo>
                      <a:pt x="1157" y="1264"/>
                    </a:lnTo>
                    <a:lnTo>
                      <a:pt x="1157" y="1265"/>
                    </a:lnTo>
                    <a:lnTo>
                      <a:pt x="1156" y="1265"/>
                    </a:lnTo>
                    <a:lnTo>
                      <a:pt x="1156" y="1267"/>
                    </a:lnTo>
                    <a:lnTo>
                      <a:pt x="1157" y="1265"/>
                    </a:lnTo>
                    <a:lnTo>
                      <a:pt x="1157" y="1267"/>
                    </a:lnTo>
                    <a:lnTo>
                      <a:pt x="1157" y="1269"/>
                    </a:lnTo>
                    <a:lnTo>
                      <a:pt x="1159" y="1269"/>
                    </a:lnTo>
                    <a:lnTo>
                      <a:pt x="1159" y="1270"/>
                    </a:lnTo>
                    <a:lnTo>
                      <a:pt x="1159" y="1272"/>
                    </a:lnTo>
                    <a:lnTo>
                      <a:pt x="1157" y="1272"/>
                    </a:lnTo>
                    <a:lnTo>
                      <a:pt x="1159" y="1272"/>
                    </a:lnTo>
                    <a:lnTo>
                      <a:pt x="1157" y="1272"/>
                    </a:lnTo>
                    <a:lnTo>
                      <a:pt x="1157" y="1274"/>
                    </a:lnTo>
                    <a:lnTo>
                      <a:pt x="1159" y="1272"/>
                    </a:lnTo>
                    <a:lnTo>
                      <a:pt x="1159" y="1270"/>
                    </a:lnTo>
                    <a:lnTo>
                      <a:pt x="1161" y="1272"/>
                    </a:lnTo>
                    <a:lnTo>
                      <a:pt x="1161" y="1274"/>
                    </a:lnTo>
                    <a:lnTo>
                      <a:pt x="1162" y="1274"/>
                    </a:lnTo>
                    <a:lnTo>
                      <a:pt x="1161" y="1276"/>
                    </a:lnTo>
                    <a:lnTo>
                      <a:pt x="1161" y="1274"/>
                    </a:lnTo>
                    <a:lnTo>
                      <a:pt x="1161" y="1276"/>
                    </a:lnTo>
                    <a:lnTo>
                      <a:pt x="1159" y="1276"/>
                    </a:lnTo>
                    <a:lnTo>
                      <a:pt x="1161" y="1276"/>
                    </a:lnTo>
                    <a:lnTo>
                      <a:pt x="1159" y="1277"/>
                    </a:lnTo>
                    <a:lnTo>
                      <a:pt x="1161" y="1276"/>
                    </a:lnTo>
                    <a:lnTo>
                      <a:pt x="1162" y="1276"/>
                    </a:lnTo>
                    <a:lnTo>
                      <a:pt x="1162" y="1277"/>
                    </a:lnTo>
                    <a:lnTo>
                      <a:pt x="1161" y="1277"/>
                    </a:lnTo>
                    <a:lnTo>
                      <a:pt x="1162" y="1279"/>
                    </a:lnTo>
                    <a:lnTo>
                      <a:pt x="1162" y="1281"/>
                    </a:lnTo>
                    <a:lnTo>
                      <a:pt x="1162" y="1282"/>
                    </a:lnTo>
                    <a:lnTo>
                      <a:pt x="1161" y="1282"/>
                    </a:lnTo>
                    <a:lnTo>
                      <a:pt x="1159" y="1284"/>
                    </a:lnTo>
                    <a:lnTo>
                      <a:pt x="1161" y="1284"/>
                    </a:lnTo>
                    <a:lnTo>
                      <a:pt x="1159" y="1284"/>
                    </a:lnTo>
                    <a:lnTo>
                      <a:pt x="1159" y="1286"/>
                    </a:lnTo>
                    <a:lnTo>
                      <a:pt x="1157" y="1286"/>
                    </a:lnTo>
                    <a:lnTo>
                      <a:pt x="1156" y="1286"/>
                    </a:lnTo>
                    <a:lnTo>
                      <a:pt x="1156" y="1284"/>
                    </a:lnTo>
                    <a:lnTo>
                      <a:pt x="1157" y="1284"/>
                    </a:lnTo>
                    <a:lnTo>
                      <a:pt x="1156" y="1284"/>
                    </a:lnTo>
                    <a:lnTo>
                      <a:pt x="1157" y="1282"/>
                    </a:lnTo>
                    <a:lnTo>
                      <a:pt x="1159" y="1282"/>
                    </a:lnTo>
                    <a:lnTo>
                      <a:pt x="1157" y="1282"/>
                    </a:lnTo>
                    <a:lnTo>
                      <a:pt x="1156" y="1284"/>
                    </a:lnTo>
                    <a:lnTo>
                      <a:pt x="1156" y="1282"/>
                    </a:lnTo>
                    <a:lnTo>
                      <a:pt x="1156" y="1281"/>
                    </a:lnTo>
                    <a:lnTo>
                      <a:pt x="1157" y="1281"/>
                    </a:lnTo>
                    <a:lnTo>
                      <a:pt x="1156" y="1281"/>
                    </a:lnTo>
                    <a:lnTo>
                      <a:pt x="1154" y="1281"/>
                    </a:lnTo>
                    <a:lnTo>
                      <a:pt x="1156" y="1279"/>
                    </a:lnTo>
                    <a:lnTo>
                      <a:pt x="1154" y="1279"/>
                    </a:lnTo>
                    <a:lnTo>
                      <a:pt x="1154" y="1277"/>
                    </a:lnTo>
                    <a:lnTo>
                      <a:pt x="1156" y="1277"/>
                    </a:lnTo>
                    <a:lnTo>
                      <a:pt x="1154" y="1277"/>
                    </a:lnTo>
                    <a:lnTo>
                      <a:pt x="1154" y="1276"/>
                    </a:lnTo>
                    <a:lnTo>
                      <a:pt x="1154" y="1274"/>
                    </a:lnTo>
                    <a:lnTo>
                      <a:pt x="1156" y="1274"/>
                    </a:lnTo>
                    <a:lnTo>
                      <a:pt x="1156" y="1272"/>
                    </a:lnTo>
                    <a:lnTo>
                      <a:pt x="1157" y="1272"/>
                    </a:lnTo>
                    <a:lnTo>
                      <a:pt x="1156" y="1270"/>
                    </a:lnTo>
                    <a:lnTo>
                      <a:pt x="1156" y="1272"/>
                    </a:lnTo>
                    <a:lnTo>
                      <a:pt x="1154" y="1272"/>
                    </a:lnTo>
                    <a:lnTo>
                      <a:pt x="1154" y="1270"/>
                    </a:lnTo>
                    <a:lnTo>
                      <a:pt x="1154" y="1272"/>
                    </a:lnTo>
                    <a:lnTo>
                      <a:pt x="1154" y="1270"/>
                    </a:lnTo>
                    <a:lnTo>
                      <a:pt x="1154" y="1269"/>
                    </a:lnTo>
                    <a:lnTo>
                      <a:pt x="1156" y="1269"/>
                    </a:lnTo>
                    <a:lnTo>
                      <a:pt x="1156" y="1267"/>
                    </a:lnTo>
                    <a:lnTo>
                      <a:pt x="1156" y="1269"/>
                    </a:lnTo>
                    <a:lnTo>
                      <a:pt x="1154" y="1269"/>
                    </a:lnTo>
                    <a:lnTo>
                      <a:pt x="1152" y="1270"/>
                    </a:lnTo>
                    <a:lnTo>
                      <a:pt x="1151" y="1272"/>
                    </a:lnTo>
                    <a:lnTo>
                      <a:pt x="1151" y="1270"/>
                    </a:lnTo>
                    <a:lnTo>
                      <a:pt x="1151" y="1272"/>
                    </a:lnTo>
                    <a:lnTo>
                      <a:pt x="1149" y="1272"/>
                    </a:lnTo>
                    <a:lnTo>
                      <a:pt x="1147" y="1272"/>
                    </a:lnTo>
                    <a:lnTo>
                      <a:pt x="1149" y="1272"/>
                    </a:lnTo>
                    <a:lnTo>
                      <a:pt x="1147" y="1272"/>
                    </a:lnTo>
                    <a:lnTo>
                      <a:pt x="1145" y="1270"/>
                    </a:lnTo>
                    <a:lnTo>
                      <a:pt x="1145" y="1269"/>
                    </a:lnTo>
                    <a:lnTo>
                      <a:pt x="1147" y="1269"/>
                    </a:lnTo>
                    <a:lnTo>
                      <a:pt x="1149" y="1269"/>
                    </a:lnTo>
                    <a:lnTo>
                      <a:pt x="1151" y="1269"/>
                    </a:lnTo>
                    <a:lnTo>
                      <a:pt x="1152" y="1269"/>
                    </a:lnTo>
                    <a:lnTo>
                      <a:pt x="1152" y="1267"/>
                    </a:lnTo>
                    <a:lnTo>
                      <a:pt x="1151" y="1269"/>
                    </a:lnTo>
                    <a:lnTo>
                      <a:pt x="1151" y="1267"/>
                    </a:lnTo>
                    <a:lnTo>
                      <a:pt x="1152" y="1267"/>
                    </a:lnTo>
                    <a:lnTo>
                      <a:pt x="1152" y="1265"/>
                    </a:lnTo>
                    <a:lnTo>
                      <a:pt x="1151" y="1267"/>
                    </a:lnTo>
                    <a:lnTo>
                      <a:pt x="1151" y="1265"/>
                    </a:lnTo>
                    <a:lnTo>
                      <a:pt x="1152" y="1264"/>
                    </a:lnTo>
                    <a:lnTo>
                      <a:pt x="1152" y="1262"/>
                    </a:lnTo>
                    <a:lnTo>
                      <a:pt x="1151" y="1264"/>
                    </a:lnTo>
                    <a:lnTo>
                      <a:pt x="1151" y="1265"/>
                    </a:lnTo>
                    <a:lnTo>
                      <a:pt x="1151" y="1267"/>
                    </a:lnTo>
                    <a:lnTo>
                      <a:pt x="1149" y="1267"/>
                    </a:lnTo>
                    <a:lnTo>
                      <a:pt x="1151" y="1269"/>
                    </a:lnTo>
                    <a:lnTo>
                      <a:pt x="1149" y="1269"/>
                    </a:lnTo>
                    <a:lnTo>
                      <a:pt x="1149" y="1267"/>
                    </a:lnTo>
                    <a:lnTo>
                      <a:pt x="1149" y="1269"/>
                    </a:lnTo>
                    <a:lnTo>
                      <a:pt x="1147" y="1269"/>
                    </a:lnTo>
                    <a:lnTo>
                      <a:pt x="1147" y="1267"/>
                    </a:lnTo>
                    <a:lnTo>
                      <a:pt x="1149" y="1267"/>
                    </a:lnTo>
                    <a:lnTo>
                      <a:pt x="1149" y="1265"/>
                    </a:lnTo>
                    <a:lnTo>
                      <a:pt x="1149" y="1264"/>
                    </a:lnTo>
                    <a:lnTo>
                      <a:pt x="1151" y="1262"/>
                    </a:lnTo>
                    <a:lnTo>
                      <a:pt x="1149" y="1264"/>
                    </a:lnTo>
                    <a:lnTo>
                      <a:pt x="1149" y="1262"/>
                    </a:lnTo>
                    <a:lnTo>
                      <a:pt x="1151" y="1262"/>
                    </a:lnTo>
                    <a:lnTo>
                      <a:pt x="1151" y="1260"/>
                    </a:lnTo>
                    <a:lnTo>
                      <a:pt x="1149" y="1262"/>
                    </a:lnTo>
                    <a:lnTo>
                      <a:pt x="1149" y="1264"/>
                    </a:lnTo>
                    <a:lnTo>
                      <a:pt x="1147" y="1264"/>
                    </a:lnTo>
                    <a:lnTo>
                      <a:pt x="1145" y="1262"/>
                    </a:lnTo>
                    <a:lnTo>
                      <a:pt x="1147" y="1262"/>
                    </a:lnTo>
                    <a:lnTo>
                      <a:pt x="1147" y="1260"/>
                    </a:lnTo>
                    <a:lnTo>
                      <a:pt x="1145" y="1260"/>
                    </a:lnTo>
                    <a:lnTo>
                      <a:pt x="1145" y="1259"/>
                    </a:lnTo>
                    <a:lnTo>
                      <a:pt x="1144" y="1257"/>
                    </a:lnTo>
                    <a:lnTo>
                      <a:pt x="1145" y="1255"/>
                    </a:lnTo>
                    <a:lnTo>
                      <a:pt x="1147" y="1255"/>
                    </a:lnTo>
                    <a:lnTo>
                      <a:pt x="1147" y="1253"/>
                    </a:lnTo>
                    <a:lnTo>
                      <a:pt x="1147" y="1255"/>
                    </a:lnTo>
                    <a:lnTo>
                      <a:pt x="1147" y="1253"/>
                    </a:lnTo>
                    <a:lnTo>
                      <a:pt x="1149" y="1255"/>
                    </a:lnTo>
                    <a:lnTo>
                      <a:pt x="1149" y="1253"/>
                    </a:lnTo>
                    <a:lnTo>
                      <a:pt x="1149" y="1255"/>
                    </a:lnTo>
                    <a:lnTo>
                      <a:pt x="1149" y="1253"/>
                    </a:lnTo>
                    <a:lnTo>
                      <a:pt x="1149" y="1255"/>
                    </a:lnTo>
                    <a:lnTo>
                      <a:pt x="1149" y="1253"/>
                    </a:lnTo>
                    <a:lnTo>
                      <a:pt x="1151" y="1253"/>
                    </a:lnTo>
                    <a:lnTo>
                      <a:pt x="1149" y="1255"/>
                    </a:lnTo>
                    <a:lnTo>
                      <a:pt x="1149" y="1257"/>
                    </a:lnTo>
                    <a:lnTo>
                      <a:pt x="1149" y="1255"/>
                    </a:lnTo>
                    <a:lnTo>
                      <a:pt x="1151" y="1255"/>
                    </a:lnTo>
                    <a:lnTo>
                      <a:pt x="1151" y="1253"/>
                    </a:lnTo>
                    <a:lnTo>
                      <a:pt x="1151" y="1252"/>
                    </a:lnTo>
                    <a:lnTo>
                      <a:pt x="1152" y="1252"/>
                    </a:lnTo>
                    <a:close/>
                    <a:moveTo>
                      <a:pt x="1176" y="1393"/>
                    </a:moveTo>
                    <a:lnTo>
                      <a:pt x="1176" y="1395"/>
                    </a:lnTo>
                    <a:lnTo>
                      <a:pt x="1176" y="1393"/>
                    </a:lnTo>
                    <a:lnTo>
                      <a:pt x="1178" y="1393"/>
                    </a:lnTo>
                    <a:lnTo>
                      <a:pt x="1178" y="1395"/>
                    </a:lnTo>
                    <a:lnTo>
                      <a:pt x="1179" y="1393"/>
                    </a:lnTo>
                    <a:lnTo>
                      <a:pt x="1179" y="1395"/>
                    </a:lnTo>
                    <a:lnTo>
                      <a:pt x="1181" y="1395"/>
                    </a:lnTo>
                    <a:lnTo>
                      <a:pt x="1181" y="1396"/>
                    </a:lnTo>
                    <a:lnTo>
                      <a:pt x="1181" y="1395"/>
                    </a:lnTo>
                    <a:lnTo>
                      <a:pt x="1183" y="1396"/>
                    </a:lnTo>
                    <a:lnTo>
                      <a:pt x="1181" y="1398"/>
                    </a:lnTo>
                    <a:lnTo>
                      <a:pt x="1181" y="1396"/>
                    </a:lnTo>
                    <a:lnTo>
                      <a:pt x="1181" y="1398"/>
                    </a:lnTo>
                    <a:lnTo>
                      <a:pt x="1181" y="1400"/>
                    </a:lnTo>
                    <a:lnTo>
                      <a:pt x="1179" y="1400"/>
                    </a:lnTo>
                    <a:lnTo>
                      <a:pt x="1181" y="1400"/>
                    </a:lnTo>
                    <a:lnTo>
                      <a:pt x="1181" y="1398"/>
                    </a:lnTo>
                    <a:lnTo>
                      <a:pt x="1183" y="1398"/>
                    </a:lnTo>
                    <a:lnTo>
                      <a:pt x="1183" y="1400"/>
                    </a:lnTo>
                    <a:lnTo>
                      <a:pt x="1183" y="1401"/>
                    </a:lnTo>
                    <a:lnTo>
                      <a:pt x="1183" y="1403"/>
                    </a:lnTo>
                    <a:lnTo>
                      <a:pt x="1181" y="1403"/>
                    </a:lnTo>
                    <a:lnTo>
                      <a:pt x="1183" y="1403"/>
                    </a:lnTo>
                    <a:lnTo>
                      <a:pt x="1183" y="1405"/>
                    </a:lnTo>
                    <a:lnTo>
                      <a:pt x="1183" y="1403"/>
                    </a:lnTo>
                    <a:lnTo>
                      <a:pt x="1183" y="1405"/>
                    </a:lnTo>
                    <a:lnTo>
                      <a:pt x="1183" y="1403"/>
                    </a:lnTo>
                    <a:lnTo>
                      <a:pt x="1183" y="1405"/>
                    </a:lnTo>
                    <a:lnTo>
                      <a:pt x="1183" y="1407"/>
                    </a:lnTo>
                    <a:lnTo>
                      <a:pt x="1183" y="1405"/>
                    </a:lnTo>
                    <a:lnTo>
                      <a:pt x="1185" y="1407"/>
                    </a:lnTo>
                    <a:lnTo>
                      <a:pt x="1185" y="1408"/>
                    </a:lnTo>
                    <a:lnTo>
                      <a:pt x="1185" y="1410"/>
                    </a:lnTo>
                    <a:lnTo>
                      <a:pt x="1185" y="1412"/>
                    </a:lnTo>
                    <a:lnTo>
                      <a:pt x="1183" y="1410"/>
                    </a:lnTo>
                    <a:lnTo>
                      <a:pt x="1185" y="1412"/>
                    </a:lnTo>
                    <a:lnTo>
                      <a:pt x="1183" y="1412"/>
                    </a:lnTo>
                    <a:lnTo>
                      <a:pt x="1183" y="1410"/>
                    </a:lnTo>
                    <a:lnTo>
                      <a:pt x="1181" y="1408"/>
                    </a:lnTo>
                    <a:lnTo>
                      <a:pt x="1181" y="1407"/>
                    </a:lnTo>
                    <a:lnTo>
                      <a:pt x="1179" y="1407"/>
                    </a:lnTo>
                    <a:lnTo>
                      <a:pt x="1179" y="1408"/>
                    </a:lnTo>
                    <a:lnTo>
                      <a:pt x="1181" y="1408"/>
                    </a:lnTo>
                    <a:lnTo>
                      <a:pt x="1181" y="1410"/>
                    </a:lnTo>
                    <a:lnTo>
                      <a:pt x="1181" y="1412"/>
                    </a:lnTo>
                    <a:lnTo>
                      <a:pt x="1179" y="1412"/>
                    </a:lnTo>
                    <a:lnTo>
                      <a:pt x="1179" y="1410"/>
                    </a:lnTo>
                    <a:lnTo>
                      <a:pt x="1179" y="1412"/>
                    </a:lnTo>
                    <a:lnTo>
                      <a:pt x="1181" y="1412"/>
                    </a:lnTo>
                    <a:lnTo>
                      <a:pt x="1181" y="1413"/>
                    </a:lnTo>
                    <a:lnTo>
                      <a:pt x="1183" y="1413"/>
                    </a:lnTo>
                    <a:lnTo>
                      <a:pt x="1185" y="1415"/>
                    </a:lnTo>
                    <a:lnTo>
                      <a:pt x="1185" y="1417"/>
                    </a:lnTo>
                    <a:lnTo>
                      <a:pt x="1185" y="1418"/>
                    </a:lnTo>
                    <a:lnTo>
                      <a:pt x="1183" y="1418"/>
                    </a:lnTo>
                    <a:lnTo>
                      <a:pt x="1183" y="1417"/>
                    </a:lnTo>
                    <a:lnTo>
                      <a:pt x="1181" y="1417"/>
                    </a:lnTo>
                    <a:lnTo>
                      <a:pt x="1183" y="1418"/>
                    </a:lnTo>
                    <a:lnTo>
                      <a:pt x="1183" y="1420"/>
                    </a:lnTo>
                    <a:lnTo>
                      <a:pt x="1183" y="1418"/>
                    </a:lnTo>
                    <a:lnTo>
                      <a:pt x="1181" y="1418"/>
                    </a:lnTo>
                    <a:lnTo>
                      <a:pt x="1181" y="1417"/>
                    </a:lnTo>
                    <a:lnTo>
                      <a:pt x="1179" y="1418"/>
                    </a:lnTo>
                    <a:lnTo>
                      <a:pt x="1181" y="1418"/>
                    </a:lnTo>
                    <a:lnTo>
                      <a:pt x="1183" y="1420"/>
                    </a:lnTo>
                    <a:lnTo>
                      <a:pt x="1183" y="1422"/>
                    </a:lnTo>
                    <a:lnTo>
                      <a:pt x="1181" y="1422"/>
                    </a:lnTo>
                    <a:lnTo>
                      <a:pt x="1181" y="1420"/>
                    </a:lnTo>
                    <a:lnTo>
                      <a:pt x="1181" y="1418"/>
                    </a:lnTo>
                    <a:lnTo>
                      <a:pt x="1179" y="1420"/>
                    </a:lnTo>
                    <a:lnTo>
                      <a:pt x="1179" y="1418"/>
                    </a:lnTo>
                    <a:lnTo>
                      <a:pt x="1178" y="1420"/>
                    </a:lnTo>
                    <a:lnTo>
                      <a:pt x="1178" y="1418"/>
                    </a:lnTo>
                    <a:lnTo>
                      <a:pt x="1179" y="1418"/>
                    </a:lnTo>
                    <a:lnTo>
                      <a:pt x="1179" y="1417"/>
                    </a:lnTo>
                    <a:lnTo>
                      <a:pt x="1178" y="1417"/>
                    </a:lnTo>
                    <a:lnTo>
                      <a:pt x="1178" y="1415"/>
                    </a:lnTo>
                    <a:lnTo>
                      <a:pt x="1176" y="1413"/>
                    </a:lnTo>
                    <a:lnTo>
                      <a:pt x="1178" y="1412"/>
                    </a:lnTo>
                    <a:lnTo>
                      <a:pt x="1176" y="1412"/>
                    </a:lnTo>
                    <a:lnTo>
                      <a:pt x="1176" y="1410"/>
                    </a:lnTo>
                    <a:lnTo>
                      <a:pt x="1178" y="1410"/>
                    </a:lnTo>
                    <a:lnTo>
                      <a:pt x="1179" y="1410"/>
                    </a:lnTo>
                    <a:lnTo>
                      <a:pt x="1179" y="1408"/>
                    </a:lnTo>
                    <a:lnTo>
                      <a:pt x="1179" y="1410"/>
                    </a:lnTo>
                    <a:lnTo>
                      <a:pt x="1178" y="1410"/>
                    </a:lnTo>
                    <a:lnTo>
                      <a:pt x="1176" y="1410"/>
                    </a:lnTo>
                    <a:lnTo>
                      <a:pt x="1176" y="1408"/>
                    </a:lnTo>
                    <a:lnTo>
                      <a:pt x="1176" y="1410"/>
                    </a:lnTo>
                    <a:lnTo>
                      <a:pt x="1176" y="1412"/>
                    </a:lnTo>
                    <a:lnTo>
                      <a:pt x="1174" y="1413"/>
                    </a:lnTo>
                    <a:lnTo>
                      <a:pt x="1174" y="1412"/>
                    </a:lnTo>
                    <a:lnTo>
                      <a:pt x="1174" y="1413"/>
                    </a:lnTo>
                    <a:lnTo>
                      <a:pt x="1173" y="1413"/>
                    </a:lnTo>
                    <a:lnTo>
                      <a:pt x="1171" y="1413"/>
                    </a:lnTo>
                    <a:lnTo>
                      <a:pt x="1173" y="1412"/>
                    </a:lnTo>
                    <a:lnTo>
                      <a:pt x="1171" y="1412"/>
                    </a:lnTo>
                    <a:lnTo>
                      <a:pt x="1173" y="1412"/>
                    </a:lnTo>
                    <a:lnTo>
                      <a:pt x="1173" y="1410"/>
                    </a:lnTo>
                    <a:lnTo>
                      <a:pt x="1171" y="1410"/>
                    </a:lnTo>
                    <a:lnTo>
                      <a:pt x="1173" y="1410"/>
                    </a:lnTo>
                    <a:lnTo>
                      <a:pt x="1174" y="1410"/>
                    </a:lnTo>
                    <a:lnTo>
                      <a:pt x="1174" y="1408"/>
                    </a:lnTo>
                    <a:lnTo>
                      <a:pt x="1176" y="1408"/>
                    </a:lnTo>
                    <a:lnTo>
                      <a:pt x="1176" y="1407"/>
                    </a:lnTo>
                    <a:lnTo>
                      <a:pt x="1176" y="1405"/>
                    </a:lnTo>
                    <a:lnTo>
                      <a:pt x="1176" y="1407"/>
                    </a:lnTo>
                    <a:lnTo>
                      <a:pt x="1174" y="1407"/>
                    </a:lnTo>
                    <a:lnTo>
                      <a:pt x="1174" y="1408"/>
                    </a:lnTo>
                    <a:lnTo>
                      <a:pt x="1173" y="1408"/>
                    </a:lnTo>
                    <a:lnTo>
                      <a:pt x="1171" y="1408"/>
                    </a:lnTo>
                    <a:lnTo>
                      <a:pt x="1171" y="1407"/>
                    </a:lnTo>
                    <a:lnTo>
                      <a:pt x="1171" y="1408"/>
                    </a:lnTo>
                    <a:lnTo>
                      <a:pt x="1169" y="1408"/>
                    </a:lnTo>
                    <a:lnTo>
                      <a:pt x="1171" y="1408"/>
                    </a:lnTo>
                    <a:lnTo>
                      <a:pt x="1171" y="1410"/>
                    </a:lnTo>
                    <a:lnTo>
                      <a:pt x="1169" y="1412"/>
                    </a:lnTo>
                    <a:lnTo>
                      <a:pt x="1168" y="1412"/>
                    </a:lnTo>
                    <a:lnTo>
                      <a:pt x="1169" y="1410"/>
                    </a:lnTo>
                    <a:lnTo>
                      <a:pt x="1168" y="1410"/>
                    </a:lnTo>
                    <a:lnTo>
                      <a:pt x="1168" y="1412"/>
                    </a:lnTo>
                    <a:lnTo>
                      <a:pt x="1166" y="1410"/>
                    </a:lnTo>
                    <a:lnTo>
                      <a:pt x="1168" y="1410"/>
                    </a:lnTo>
                    <a:lnTo>
                      <a:pt x="1168" y="1408"/>
                    </a:lnTo>
                    <a:lnTo>
                      <a:pt x="1169" y="1407"/>
                    </a:lnTo>
                    <a:lnTo>
                      <a:pt x="1168" y="1407"/>
                    </a:lnTo>
                    <a:lnTo>
                      <a:pt x="1169" y="1407"/>
                    </a:lnTo>
                    <a:lnTo>
                      <a:pt x="1171" y="1407"/>
                    </a:lnTo>
                    <a:lnTo>
                      <a:pt x="1169" y="1407"/>
                    </a:lnTo>
                    <a:lnTo>
                      <a:pt x="1168" y="1407"/>
                    </a:lnTo>
                    <a:lnTo>
                      <a:pt x="1166" y="1407"/>
                    </a:lnTo>
                    <a:lnTo>
                      <a:pt x="1168" y="1405"/>
                    </a:lnTo>
                    <a:lnTo>
                      <a:pt x="1169" y="1405"/>
                    </a:lnTo>
                    <a:lnTo>
                      <a:pt x="1168" y="1405"/>
                    </a:lnTo>
                    <a:lnTo>
                      <a:pt x="1166" y="1405"/>
                    </a:lnTo>
                    <a:lnTo>
                      <a:pt x="1166" y="1407"/>
                    </a:lnTo>
                    <a:lnTo>
                      <a:pt x="1164" y="1407"/>
                    </a:lnTo>
                    <a:lnTo>
                      <a:pt x="1164" y="1405"/>
                    </a:lnTo>
                    <a:lnTo>
                      <a:pt x="1164" y="1403"/>
                    </a:lnTo>
                    <a:lnTo>
                      <a:pt x="1166" y="1403"/>
                    </a:lnTo>
                    <a:lnTo>
                      <a:pt x="1168" y="1403"/>
                    </a:lnTo>
                    <a:lnTo>
                      <a:pt x="1166" y="1403"/>
                    </a:lnTo>
                    <a:lnTo>
                      <a:pt x="1164" y="1401"/>
                    </a:lnTo>
                    <a:lnTo>
                      <a:pt x="1166" y="1401"/>
                    </a:lnTo>
                    <a:lnTo>
                      <a:pt x="1168" y="1401"/>
                    </a:lnTo>
                    <a:lnTo>
                      <a:pt x="1166" y="1401"/>
                    </a:lnTo>
                    <a:lnTo>
                      <a:pt x="1168" y="1401"/>
                    </a:lnTo>
                    <a:lnTo>
                      <a:pt x="1169" y="1401"/>
                    </a:lnTo>
                    <a:lnTo>
                      <a:pt x="1169" y="1403"/>
                    </a:lnTo>
                    <a:lnTo>
                      <a:pt x="1171" y="1403"/>
                    </a:lnTo>
                    <a:lnTo>
                      <a:pt x="1173" y="1403"/>
                    </a:lnTo>
                    <a:lnTo>
                      <a:pt x="1174" y="1403"/>
                    </a:lnTo>
                    <a:lnTo>
                      <a:pt x="1173" y="1405"/>
                    </a:lnTo>
                    <a:lnTo>
                      <a:pt x="1174" y="1405"/>
                    </a:lnTo>
                    <a:lnTo>
                      <a:pt x="1174" y="1403"/>
                    </a:lnTo>
                    <a:lnTo>
                      <a:pt x="1176" y="1403"/>
                    </a:lnTo>
                    <a:lnTo>
                      <a:pt x="1176" y="1405"/>
                    </a:lnTo>
                    <a:lnTo>
                      <a:pt x="1176" y="1403"/>
                    </a:lnTo>
                    <a:lnTo>
                      <a:pt x="1178" y="1403"/>
                    </a:lnTo>
                    <a:lnTo>
                      <a:pt x="1176" y="1401"/>
                    </a:lnTo>
                    <a:lnTo>
                      <a:pt x="1178" y="1401"/>
                    </a:lnTo>
                    <a:lnTo>
                      <a:pt x="1176" y="1401"/>
                    </a:lnTo>
                    <a:lnTo>
                      <a:pt x="1176" y="1403"/>
                    </a:lnTo>
                    <a:lnTo>
                      <a:pt x="1174" y="1401"/>
                    </a:lnTo>
                    <a:lnTo>
                      <a:pt x="1174" y="1400"/>
                    </a:lnTo>
                    <a:lnTo>
                      <a:pt x="1176" y="1400"/>
                    </a:lnTo>
                    <a:lnTo>
                      <a:pt x="1176" y="1398"/>
                    </a:lnTo>
                    <a:lnTo>
                      <a:pt x="1178" y="1400"/>
                    </a:lnTo>
                    <a:lnTo>
                      <a:pt x="1176" y="1400"/>
                    </a:lnTo>
                    <a:lnTo>
                      <a:pt x="1178" y="1400"/>
                    </a:lnTo>
                    <a:lnTo>
                      <a:pt x="1178" y="1398"/>
                    </a:lnTo>
                    <a:lnTo>
                      <a:pt x="1179" y="1398"/>
                    </a:lnTo>
                    <a:lnTo>
                      <a:pt x="1178" y="1398"/>
                    </a:lnTo>
                    <a:lnTo>
                      <a:pt x="1176" y="1398"/>
                    </a:lnTo>
                    <a:lnTo>
                      <a:pt x="1176" y="1396"/>
                    </a:lnTo>
                    <a:lnTo>
                      <a:pt x="1174" y="1396"/>
                    </a:lnTo>
                    <a:lnTo>
                      <a:pt x="1174" y="1395"/>
                    </a:lnTo>
                    <a:lnTo>
                      <a:pt x="1173" y="1395"/>
                    </a:lnTo>
                    <a:lnTo>
                      <a:pt x="1174" y="1393"/>
                    </a:lnTo>
                    <a:lnTo>
                      <a:pt x="1174" y="1391"/>
                    </a:lnTo>
                    <a:lnTo>
                      <a:pt x="1176" y="1393"/>
                    </a:lnTo>
                    <a:close/>
                    <a:moveTo>
                      <a:pt x="1173" y="1259"/>
                    </a:moveTo>
                    <a:lnTo>
                      <a:pt x="1174" y="1259"/>
                    </a:lnTo>
                    <a:lnTo>
                      <a:pt x="1174" y="1260"/>
                    </a:lnTo>
                    <a:lnTo>
                      <a:pt x="1174" y="1262"/>
                    </a:lnTo>
                    <a:lnTo>
                      <a:pt x="1173" y="1262"/>
                    </a:lnTo>
                    <a:lnTo>
                      <a:pt x="1174" y="1262"/>
                    </a:lnTo>
                    <a:lnTo>
                      <a:pt x="1174" y="1264"/>
                    </a:lnTo>
                    <a:lnTo>
                      <a:pt x="1174" y="1262"/>
                    </a:lnTo>
                    <a:lnTo>
                      <a:pt x="1176" y="1264"/>
                    </a:lnTo>
                    <a:lnTo>
                      <a:pt x="1174" y="1265"/>
                    </a:lnTo>
                    <a:lnTo>
                      <a:pt x="1176" y="1265"/>
                    </a:lnTo>
                    <a:lnTo>
                      <a:pt x="1174" y="1265"/>
                    </a:lnTo>
                    <a:lnTo>
                      <a:pt x="1176" y="1267"/>
                    </a:lnTo>
                    <a:lnTo>
                      <a:pt x="1178" y="1267"/>
                    </a:lnTo>
                    <a:lnTo>
                      <a:pt x="1178" y="1269"/>
                    </a:lnTo>
                    <a:lnTo>
                      <a:pt x="1178" y="1270"/>
                    </a:lnTo>
                    <a:lnTo>
                      <a:pt x="1178" y="1272"/>
                    </a:lnTo>
                    <a:lnTo>
                      <a:pt x="1176" y="1272"/>
                    </a:lnTo>
                    <a:lnTo>
                      <a:pt x="1174" y="1272"/>
                    </a:lnTo>
                    <a:lnTo>
                      <a:pt x="1176" y="1272"/>
                    </a:lnTo>
                    <a:lnTo>
                      <a:pt x="1176" y="1274"/>
                    </a:lnTo>
                    <a:lnTo>
                      <a:pt x="1178" y="1276"/>
                    </a:lnTo>
                    <a:lnTo>
                      <a:pt x="1178" y="1277"/>
                    </a:lnTo>
                    <a:lnTo>
                      <a:pt x="1178" y="1279"/>
                    </a:lnTo>
                    <a:lnTo>
                      <a:pt x="1178" y="1281"/>
                    </a:lnTo>
                    <a:lnTo>
                      <a:pt x="1179" y="1282"/>
                    </a:lnTo>
                    <a:lnTo>
                      <a:pt x="1179" y="1284"/>
                    </a:lnTo>
                    <a:lnTo>
                      <a:pt x="1181" y="1282"/>
                    </a:lnTo>
                    <a:lnTo>
                      <a:pt x="1179" y="1282"/>
                    </a:lnTo>
                    <a:lnTo>
                      <a:pt x="1179" y="1281"/>
                    </a:lnTo>
                    <a:lnTo>
                      <a:pt x="1181" y="1281"/>
                    </a:lnTo>
                    <a:lnTo>
                      <a:pt x="1181" y="1282"/>
                    </a:lnTo>
                    <a:lnTo>
                      <a:pt x="1181" y="1284"/>
                    </a:lnTo>
                    <a:lnTo>
                      <a:pt x="1181" y="1286"/>
                    </a:lnTo>
                    <a:lnTo>
                      <a:pt x="1179" y="1286"/>
                    </a:lnTo>
                    <a:lnTo>
                      <a:pt x="1178" y="1288"/>
                    </a:lnTo>
                    <a:lnTo>
                      <a:pt x="1178" y="1286"/>
                    </a:lnTo>
                    <a:lnTo>
                      <a:pt x="1176" y="1286"/>
                    </a:lnTo>
                    <a:lnTo>
                      <a:pt x="1176" y="1284"/>
                    </a:lnTo>
                    <a:lnTo>
                      <a:pt x="1174" y="1284"/>
                    </a:lnTo>
                    <a:lnTo>
                      <a:pt x="1173" y="1284"/>
                    </a:lnTo>
                    <a:lnTo>
                      <a:pt x="1174" y="1282"/>
                    </a:lnTo>
                    <a:lnTo>
                      <a:pt x="1173" y="1284"/>
                    </a:lnTo>
                    <a:lnTo>
                      <a:pt x="1171" y="1284"/>
                    </a:lnTo>
                    <a:lnTo>
                      <a:pt x="1169" y="1282"/>
                    </a:lnTo>
                    <a:lnTo>
                      <a:pt x="1168" y="1282"/>
                    </a:lnTo>
                    <a:lnTo>
                      <a:pt x="1166" y="1282"/>
                    </a:lnTo>
                    <a:lnTo>
                      <a:pt x="1166" y="1281"/>
                    </a:lnTo>
                    <a:lnTo>
                      <a:pt x="1166" y="1279"/>
                    </a:lnTo>
                    <a:lnTo>
                      <a:pt x="1166" y="1281"/>
                    </a:lnTo>
                    <a:lnTo>
                      <a:pt x="1166" y="1282"/>
                    </a:lnTo>
                    <a:lnTo>
                      <a:pt x="1164" y="1282"/>
                    </a:lnTo>
                    <a:lnTo>
                      <a:pt x="1164" y="1281"/>
                    </a:lnTo>
                    <a:lnTo>
                      <a:pt x="1164" y="1279"/>
                    </a:lnTo>
                    <a:lnTo>
                      <a:pt x="1164" y="1277"/>
                    </a:lnTo>
                    <a:lnTo>
                      <a:pt x="1164" y="1276"/>
                    </a:lnTo>
                    <a:lnTo>
                      <a:pt x="1164" y="1274"/>
                    </a:lnTo>
                    <a:lnTo>
                      <a:pt x="1166" y="1274"/>
                    </a:lnTo>
                    <a:lnTo>
                      <a:pt x="1166" y="1272"/>
                    </a:lnTo>
                    <a:lnTo>
                      <a:pt x="1168" y="1272"/>
                    </a:lnTo>
                    <a:lnTo>
                      <a:pt x="1168" y="1270"/>
                    </a:lnTo>
                    <a:lnTo>
                      <a:pt x="1169" y="1272"/>
                    </a:lnTo>
                    <a:lnTo>
                      <a:pt x="1169" y="1270"/>
                    </a:lnTo>
                    <a:lnTo>
                      <a:pt x="1171" y="1270"/>
                    </a:lnTo>
                    <a:lnTo>
                      <a:pt x="1171" y="1272"/>
                    </a:lnTo>
                    <a:lnTo>
                      <a:pt x="1171" y="1274"/>
                    </a:lnTo>
                    <a:lnTo>
                      <a:pt x="1171" y="1276"/>
                    </a:lnTo>
                    <a:lnTo>
                      <a:pt x="1171" y="1277"/>
                    </a:lnTo>
                    <a:lnTo>
                      <a:pt x="1171" y="1279"/>
                    </a:lnTo>
                    <a:lnTo>
                      <a:pt x="1171" y="1277"/>
                    </a:lnTo>
                    <a:lnTo>
                      <a:pt x="1171" y="1276"/>
                    </a:lnTo>
                    <a:lnTo>
                      <a:pt x="1173" y="1276"/>
                    </a:lnTo>
                    <a:lnTo>
                      <a:pt x="1173" y="1277"/>
                    </a:lnTo>
                    <a:lnTo>
                      <a:pt x="1173" y="1279"/>
                    </a:lnTo>
                    <a:lnTo>
                      <a:pt x="1173" y="1277"/>
                    </a:lnTo>
                    <a:lnTo>
                      <a:pt x="1173" y="1276"/>
                    </a:lnTo>
                    <a:lnTo>
                      <a:pt x="1174" y="1276"/>
                    </a:lnTo>
                    <a:lnTo>
                      <a:pt x="1174" y="1274"/>
                    </a:lnTo>
                    <a:lnTo>
                      <a:pt x="1174" y="1272"/>
                    </a:lnTo>
                    <a:lnTo>
                      <a:pt x="1173" y="1274"/>
                    </a:lnTo>
                    <a:lnTo>
                      <a:pt x="1173" y="1272"/>
                    </a:lnTo>
                    <a:lnTo>
                      <a:pt x="1171" y="1272"/>
                    </a:lnTo>
                    <a:lnTo>
                      <a:pt x="1171" y="1270"/>
                    </a:lnTo>
                    <a:lnTo>
                      <a:pt x="1171" y="1272"/>
                    </a:lnTo>
                    <a:lnTo>
                      <a:pt x="1173" y="1272"/>
                    </a:lnTo>
                    <a:lnTo>
                      <a:pt x="1171" y="1270"/>
                    </a:lnTo>
                    <a:lnTo>
                      <a:pt x="1171" y="1269"/>
                    </a:lnTo>
                    <a:lnTo>
                      <a:pt x="1171" y="1267"/>
                    </a:lnTo>
                    <a:lnTo>
                      <a:pt x="1171" y="1265"/>
                    </a:lnTo>
                    <a:lnTo>
                      <a:pt x="1171" y="1264"/>
                    </a:lnTo>
                    <a:lnTo>
                      <a:pt x="1173" y="1264"/>
                    </a:lnTo>
                    <a:lnTo>
                      <a:pt x="1171" y="1264"/>
                    </a:lnTo>
                    <a:lnTo>
                      <a:pt x="1173" y="1262"/>
                    </a:lnTo>
                    <a:lnTo>
                      <a:pt x="1173" y="1260"/>
                    </a:lnTo>
                    <a:lnTo>
                      <a:pt x="1173" y="1259"/>
                    </a:lnTo>
                    <a:lnTo>
                      <a:pt x="1173" y="1257"/>
                    </a:lnTo>
                    <a:lnTo>
                      <a:pt x="1173" y="1259"/>
                    </a:lnTo>
                    <a:close/>
                    <a:moveTo>
                      <a:pt x="1188" y="1466"/>
                    </a:moveTo>
                    <a:lnTo>
                      <a:pt x="1190" y="1466"/>
                    </a:lnTo>
                    <a:lnTo>
                      <a:pt x="1190" y="1468"/>
                    </a:lnTo>
                    <a:lnTo>
                      <a:pt x="1191" y="1466"/>
                    </a:lnTo>
                    <a:lnTo>
                      <a:pt x="1193" y="1466"/>
                    </a:lnTo>
                    <a:lnTo>
                      <a:pt x="1193" y="1468"/>
                    </a:lnTo>
                    <a:lnTo>
                      <a:pt x="1195" y="1468"/>
                    </a:lnTo>
                    <a:lnTo>
                      <a:pt x="1195" y="1470"/>
                    </a:lnTo>
                    <a:lnTo>
                      <a:pt x="1193" y="1471"/>
                    </a:lnTo>
                    <a:lnTo>
                      <a:pt x="1195" y="1471"/>
                    </a:lnTo>
                    <a:lnTo>
                      <a:pt x="1195" y="1470"/>
                    </a:lnTo>
                    <a:lnTo>
                      <a:pt x="1196" y="1470"/>
                    </a:lnTo>
                    <a:lnTo>
                      <a:pt x="1196" y="1471"/>
                    </a:lnTo>
                    <a:lnTo>
                      <a:pt x="1198" y="1471"/>
                    </a:lnTo>
                    <a:lnTo>
                      <a:pt x="1198" y="1473"/>
                    </a:lnTo>
                    <a:lnTo>
                      <a:pt x="1200" y="1473"/>
                    </a:lnTo>
                    <a:lnTo>
                      <a:pt x="1202" y="1475"/>
                    </a:lnTo>
                    <a:lnTo>
                      <a:pt x="1203" y="1475"/>
                    </a:lnTo>
                    <a:lnTo>
                      <a:pt x="1203" y="1476"/>
                    </a:lnTo>
                    <a:lnTo>
                      <a:pt x="1205" y="1478"/>
                    </a:lnTo>
                    <a:lnTo>
                      <a:pt x="1205" y="1480"/>
                    </a:lnTo>
                    <a:lnTo>
                      <a:pt x="1203" y="1481"/>
                    </a:lnTo>
                    <a:lnTo>
                      <a:pt x="1205" y="1481"/>
                    </a:lnTo>
                    <a:lnTo>
                      <a:pt x="1205" y="1480"/>
                    </a:lnTo>
                    <a:lnTo>
                      <a:pt x="1205" y="1481"/>
                    </a:lnTo>
                    <a:lnTo>
                      <a:pt x="1205" y="1483"/>
                    </a:lnTo>
                    <a:lnTo>
                      <a:pt x="1205" y="1485"/>
                    </a:lnTo>
                    <a:lnTo>
                      <a:pt x="1207" y="1487"/>
                    </a:lnTo>
                    <a:lnTo>
                      <a:pt x="1207" y="1488"/>
                    </a:lnTo>
                    <a:lnTo>
                      <a:pt x="1208" y="1488"/>
                    </a:lnTo>
                    <a:lnTo>
                      <a:pt x="1208" y="1490"/>
                    </a:lnTo>
                    <a:lnTo>
                      <a:pt x="1207" y="1488"/>
                    </a:lnTo>
                    <a:lnTo>
                      <a:pt x="1208" y="1490"/>
                    </a:lnTo>
                    <a:lnTo>
                      <a:pt x="1207" y="1490"/>
                    </a:lnTo>
                    <a:lnTo>
                      <a:pt x="1205" y="1490"/>
                    </a:lnTo>
                    <a:lnTo>
                      <a:pt x="1207" y="1490"/>
                    </a:lnTo>
                    <a:lnTo>
                      <a:pt x="1207" y="1492"/>
                    </a:lnTo>
                    <a:lnTo>
                      <a:pt x="1205" y="1492"/>
                    </a:lnTo>
                    <a:lnTo>
                      <a:pt x="1205" y="1493"/>
                    </a:lnTo>
                    <a:lnTo>
                      <a:pt x="1207" y="1493"/>
                    </a:lnTo>
                    <a:lnTo>
                      <a:pt x="1205" y="1493"/>
                    </a:lnTo>
                    <a:lnTo>
                      <a:pt x="1203" y="1493"/>
                    </a:lnTo>
                    <a:lnTo>
                      <a:pt x="1203" y="1492"/>
                    </a:lnTo>
                    <a:lnTo>
                      <a:pt x="1203" y="1493"/>
                    </a:lnTo>
                    <a:lnTo>
                      <a:pt x="1205" y="1493"/>
                    </a:lnTo>
                    <a:lnTo>
                      <a:pt x="1203" y="1495"/>
                    </a:lnTo>
                    <a:lnTo>
                      <a:pt x="1205" y="1495"/>
                    </a:lnTo>
                    <a:lnTo>
                      <a:pt x="1205" y="1493"/>
                    </a:lnTo>
                    <a:lnTo>
                      <a:pt x="1207" y="1495"/>
                    </a:lnTo>
                    <a:lnTo>
                      <a:pt x="1207" y="1497"/>
                    </a:lnTo>
                    <a:lnTo>
                      <a:pt x="1205" y="1497"/>
                    </a:lnTo>
                    <a:lnTo>
                      <a:pt x="1205" y="1498"/>
                    </a:lnTo>
                    <a:lnTo>
                      <a:pt x="1205" y="1500"/>
                    </a:lnTo>
                    <a:lnTo>
                      <a:pt x="1205" y="1498"/>
                    </a:lnTo>
                    <a:lnTo>
                      <a:pt x="1203" y="1500"/>
                    </a:lnTo>
                    <a:lnTo>
                      <a:pt x="1205" y="1500"/>
                    </a:lnTo>
                    <a:lnTo>
                      <a:pt x="1203" y="1500"/>
                    </a:lnTo>
                    <a:lnTo>
                      <a:pt x="1203" y="1502"/>
                    </a:lnTo>
                    <a:lnTo>
                      <a:pt x="1202" y="1502"/>
                    </a:lnTo>
                    <a:lnTo>
                      <a:pt x="1202" y="1500"/>
                    </a:lnTo>
                    <a:lnTo>
                      <a:pt x="1202" y="1502"/>
                    </a:lnTo>
                    <a:lnTo>
                      <a:pt x="1200" y="1502"/>
                    </a:lnTo>
                    <a:lnTo>
                      <a:pt x="1200" y="1504"/>
                    </a:lnTo>
                    <a:lnTo>
                      <a:pt x="1198" y="1504"/>
                    </a:lnTo>
                    <a:lnTo>
                      <a:pt x="1198" y="1502"/>
                    </a:lnTo>
                    <a:lnTo>
                      <a:pt x="1198" y="1500"/>
                    </a:lnTo>
                    <a:lnTo>
                      <a:pt x="1200" y="1500"/>
                    </a:lnTo>
                    <a:lnTo>
                      <a:pt x="1200" y="1498"/>
                    </a:lnTo>
                    <a:lnTo>
                      <a:pt x="1202" y="1497"/>
                    </a:lnTo>
                    <a:lnTo>
                      <a:pt x="1202" y="1495"/>
                    </a:lnTo>
                    <a:lnTo>
                      <a:pt x="1200" y="1497"/>
                    </a:lnTo>
                    <a:lnTo>
                      <a:pt x="1200" y="1498"/>
                    </a:lnTo>
                    <a:lnTo>
                      <a:pt x="1198" y="1498"/>
                    </a:lnTo>
                    <a:lnTo>
                      <a:pt x="1198" y="1500"/>
                    </a:lnTo>
                    <a:lnTo>
                      <a:pt x="1198" y="1498"/>
                    </a:lnTo>
                    <a:lnTo>
                      <a:pt x="1198" y="1497"/>
                    </a:lnTo>
                    <a:lnTo>
                      <a:pt x="1200" y="1495"/>
                    </a:lnTo>
                    <a:lnTo>
                      <a:pt x="1202" y="1495"/>
                    </a:lnTo>
                    <a:lnTo>
                      <a:pt x="1202" y="1493"/>
                    </a:lnTo>
                    <a:lnTo>
                      <a:pt x="1200" y="1495"/>
                    </a:lnTo>
                    <a:lnTo>
                      <a:pt x="1200" y="1493"/>
                    </a:lnTo>
                    <a:lnTo>
                      <a:pt x="1200" y="1495"/>
                    </a:lnTo>
                    <a:lnTo>
                      <a:pt x="1198" y="1495"/>
                    </a:lnTo>
                    <a:lnTo>
                      <a:pt x="1196" y="1497"/>
                    </a:lnTo>
                    <a:lnTo>
                      <a:pt x="1196" y="1495"/>
                    </a:lnTo>
                    <a:lnTo>
                      <a:pt x="1196" y="1497"/>
                    </a:lnTo>
                    <a:lnTo>
                      <a:pt x="1196" y="1498"/>
                    </a:lnTo>
                    <a:lnTo>
                      <a:pt x="1195" y="1497"/>
                    </a:lnTo>
                    <a:lnTo>
                      <a:pt x="1193" y="1497"/>
                    </a:lnTo>
                    <a:lnTo>
                      <a:pt x="1195" y="1497"/>
                    </a:lnTo>
                    <a:lnTo>
                      <a:pt x="1195" y="1495"/>
                    </a:lnTo>
                    <a:lnTo>
                      <a:pt x="1195" y="1493"/>
                    </a:lnTo>
                    <a:lnTo>
                      <a:pt x="1196" y="1493"/>
                    </a:lnTo>
                    <a:lnTo>
                      <a:pt x="1198" y="1493"/>
                    </a:lnTo>
                    <a:lnTo>
                      <a:pt x="1198" y="1492"/>
                    </a:lnTo>
                    <a:lnTo>
                      <a:pt x="1196" y="1493"/>
                    </a:lnTo>
                    <a:lnTo>
                      <a:pt x="1196" y="1492"/>
                    </a:lnTo>
                    <a:lnTo>
                      <a:pt x="1198" y="1492"/>
                    </a:lnTo>
                    <a:lnTo>
                      <a:pt x="1198" y="1490"/>
                    </a:lnTo>
                    <a:lnTo>
                      <a:pt x="1200" y="1490"/>
                    </a:lnTo>
                    <a:lnTo>
                      <a:pt x="1200" y="1488"/>
                    </a:lnTo>
                    <a:lnTo>
                      <a:pt x="1200" y="1490"/>
                    </a:lnTo>
                    <a:lnTo>
                      <a:pt x="1200" y="1492"/>
                    </a:lnTo>
                    <a:lnTo>
                      <a:pt x="1198" y="1492"/>
                    </a:lnTo>
                    <a:lnTo>
                      <a:pt x="1200" y="1490"/>
                    </a:lnTo>
                    <a:lnTo>
                      <a:pt x="1202" y="1490"/>
                    </a:lnTo>
                    <a:lnTo>
                      <a:pt x="1200" y="1490"/>
                    </a:lnTo>
                    <a:lnTo>
                      <a:pt x="1202" y="1488"/>
                    </a:lnTo>
                    <a:lnTo>
                      <a:pt x="1203" y="1487"/>
                    </a:lnTo>
                    <a:lnTo>
                      <a:pt x="1202" y="1487"/>
                    </a:lnTo>
                    <a:lnTo>
                      <a:pt x="1202" y="1488"/>
                    </a:lnTo>
                    <a:lnTo>
                      <a:pt x="1200" y="1488"/>
                    </a:lnTo>
                    <a:lnTo>
                      <a:pt x="1202" y="1487"/>
                    </a:lnTo>
                    <a:lnTo>
                      <a:pt x="1203" y="1487"/>
                    </a:lnTo>
                    <a:lnTo>
                      <a:pt x="1205" y="1487"/>
                    </a:lnTo>
                    <a:lnTo>
                      <a:pt x="1203" y="1487"/>
                    </a:lnTo>
                    <a:lnTo>
                      <a:pt x="1205" y="1487"/>
                    </a:lnTo>
                    <a:lnTo>
                      <a:pt x="1203" y="1487"/>
                    </a:lnTo>
                    <a:lnTo>
                      <a:pt x="1205" y="1485"/>
                    </a:lnTo>
                    <a:lnTo>
                      <a:pt x="1203" y="1485"/>
                    </a:lnTo>
                    <a:lnTo>
                      <a:pt x="1202" y="1485"/>
                    </a:lnTo>
                    <a:lnTo>
                      <a:pt x="1200" y="1483"/>
                    </a:lnTo>
                    <a:lnTo>
                      <a:pt x="1202" y="1483"/>
                    </a:lnTo>
                    <a:lnTo>
                      <a:pt x="1200" y="1483"/>
                    </a:lnTo>
                    <a:lnTo>
                      <a:pt x="1202" y="1483"/>
                    </a:lnTo>
                    <a:lnTo>
                      <a:pt x="1202" y="1481"/>
                    </a:lnTo>
                    <a:lnTo>
                      <a:pt x="1203" y="1481"/>
                    </a:lnTo>
                    <a:lnTo>
                      <a:pt x="1205" y="1481"/>
                    </a:lnTo>
                    <a:lnTo>
                      <a:pt x="1203" y="1481"/>
                    </a:lnTo>
                    <a:lnTo>
                      <a:pt x="1202" y="1481"/>
                    </a:lnTo>
                    <a:lnTo>
                      <a:pt x="1203" y="1480"/>
                    </a:lnTo>
                    <a:lnTo>
                      <a:pt x="1202" y="1480"/>
                    </a:lnTo>
                    <a:lnTo>
                      <a:pt x="1200" y="1480"/>
                    </a:lnTo>
                    <a:lnTo>
                      <a:pt x="1198" y="1478"/>
                    </a:lnTo>
                    <a:lnTo>
                      <a:pt x="1196" y="1476"/>
                    </a:lnTo>
                    <a:lnTo>
                      <a:pt x="1196" y="1475"/>
                    </a:lnTo>
                    <a:lnTo>
                      <a:pt x="1195" y="1475"/>
                    </a:lnTo>
                    <a:lnTo>
                      <a:pt x="1195" y="1473"/>
                    </a:lnTo>
                    <a:lnTo>
                      <a:pt x="1193" y="1473"/>
                    </a:lnTo>
                    <a:lnTo>
                      <a:pt x="1195" y="1471"/>
                    </a:lnTo>
                    <a:lnTo>
                      <a:pt x="1193" y="1471"/>
                    </a:lnTo>
                    <a:lnTo>
                      <a:pt x="1191" y="1470"/>
                    </a:lnTo>
                    <a:lnTo>
                      <a:pt x="1190" y="1468"/>
                    </a:lnTo>
                    <a:lnTo>
                      <a:pt x="1188" y="1468"/>
                    </a:lnTo>
                    <a:lnTo>
                      <a:pt x="1188" y="1466"/>
                    </a:lnTo>
                    <a:close/>
                    <a:moveTo>
                      <a:pt x="1319" y="1626"/>
                    </a:moveTo>
                    <a:lnTo>
                      <a:pt x="1321" y="1626"/>
                    </a:lnTo>
                    <a:lnTo>
                      <a:pt x="1321" y="1628"/>
                    </a:lnTo>
                    <a:lnTo>
                      <a:pt x="1319" y="1628"/>
                    </a:lnTo>
                    <a:lnTo>
                      <a:pt x="1317" y="1629"/>
                    </a:lnTo>
                    <a:lnTo>
                      <a:pt x="1319" y="1629"/>
                    </a:lnTo>
                    <a:lnTo>
                      <a:pt x="1321" y="1629"/>
                    </a:lnTo>
                    <a:lnTo>
                      <a:pt x="1321" y="1628"/>
                    </a:lnTo>
                    <a:lnTo>
                      <a:pt x="1322" y="1629"/>
                    </a:lnTo>
                    <a:lnTo>
                      <a:pt x="1322" y="1631"/>
                    </a:lnTo>
                    <a:lnTo>
                      <a:pt x="1322" y="1629"/>
                    </a:lnTo>
                    <a:lnTo>
                      <a:pt x="1324" y="1629"/>
                    </a:lnTo>
                    <a:lnTo>
                      <a:pt x="1322" y="1629"/>
                    </a:lnTo>
                    <a:lnTo>
                      <a:pt x="1324" y="1629"/>
                    </a:lnTo>
                    <a:lnTo>
                      <a:pt x="1322" y="1631"/>
                    </a:lnTo>
                    <a:lnTo>
                      <a:pt x="1321" y="1631"/>
                    </a:lnTo>
                    <a:lnTo>
                      <a:pt x="1321" y="1629"/>
                    </a:lnTo>
                    <a:lnTo>
                      <a:pt x="1319" y="1629"/>
                    </a:lnTo>
                    <a:lnTo>
                      <a:pt x="1321" y="1631"/>
                    </a:lnTo>
                    <a:lnTo>
                      <a:pt x="1321" y="1633"/>
                    </a:lnTo>
                    <a:lnTo>
                      <a:pt x="1319" y="1633"/>
                    </a:lnTo>
                    <a:lnTo>
                      <a:pt x="1317" y="1633"/>
                    </a:lnTo>
                    <a:lnTo>
                      <a:pt x="1319" y="1633"/>
                    </a:lnTo>
                    <a:lnTo>
                      <a:pt x="1317" y="1633"/>
                    </a:lnTo>
                    <a:lnTo>
                      <a:pt x="1315" y="1633"/>
                    </a:lnTo>
                    <a:lnTo>
                      <a:pt x="1315" y="1631"/>
                    </a:lnTo>
                    <a:lnTo>
                      <a:pt x="1315" y="1629"/>
                    </a:lnTo>
                    <a:lnTo>
                      <a:pt x="1314" y="1629"/>
                    </a:lnTo>
                    <a:lnTo>
                      <a:pt x="1315" y="1631"/>
                    </a:lnTo>
                    <a:lnTo>
                      <a:pt x="1314" y="1631"/>
                    </a:lnTo>
                    <a:lnTo>
                      <a:pt x="1314" y="1633"/>
                    </a:lnTo>
                    <a:lnTo>
                      <a:pt x="1312" y="1633"/>
                    </a:lnTo>
                    <a:lnTo>
                      <a:pt x="1310" y="1633"/>
                    </a:lnTo>
                    <a:lnTo>
                      <a:pt x="1312" y="1633"/>
                    </a:lnTo>
                    <a:lnTo>
                      <a:pt x="1310" y="1635"/>
                    </a:lnTo>
                    <a:lnTo>
                      <a:pt x="1309" y="1635"/>
                    </a:lnTo>
                    <a:lnTo>
                      <a:pt x="1310" y="1635"/>
                    </a:lnTo>
                    <a:lnTo>
                      <a:pt x="1309" y="1635"/>
                    </a:lnTo>
                    <a:lnTo>
                      <a:pt x="1309" y="1633"/>
                    </a:lnTo>
                    <a:lnTo>
                      <a:pt x="1307" y="1633"/>
                    </a:lnTo>
                    <a:lnTo>
                      <a:pt x="1307" y="1631"/>
                    </a:lnTo>
                    <a:lnTo>
                      <a:pt x="1307" y="1633"/>
                    </a:lnTo>
                    <a:lnTo>
                      <a:pt x="1305" y="1633"/>
                    </a:lnTo>
                    <a:lnTo>
                      <a:pt x="1307" y="1635"/>
                    </a:lnTo>
                    <a:lnTo>
                      <a:pt x="1307" y="1633"/>
                    </a:lnTo>
                    <a:lnTo>
                      <a:pt x="1309" y="1635"/>
                    </a:lnTo>
                    <a:lnTo>
                      <a:pt x="1310" y="1635"/>
                    </a:lnTo>
                    <a:lnTo>
                      <a:pt x="1310" y="1636"/>
                    </a:lnTo>
                    <a:lnTo>
                      <a:pt x="1312" y="1635"/>
                    </a:lnTo>
                    <a:lnTo>
                      <a:pt x="1314" y="1635"/>
                    </a:lnTo>
                    <a:lnTo>
                      <a:pt x="1315" y="1636"/>
                    </a:lnTo>
                    <a:lnTo>
                      <a:pt x="1314" y="1636"/>
                    </a:lnTo>
                    <a:lnTo>
                      <a:pt x="1315" y="1636"/>
                    </a:lnTo>
                    <a:lnTo>
                      <a:pt x="1314" y="1638"/>
                    </a:lnTo>
                    <a:lnTo>
                      <a:pt x="1315" y="1636"/>
                    </a:lnTo>
                    <a:lnTo>
                      <a:pt x="1317" y="1636"/>
                    </a:lnTo>
                    <a:lnTo>
                      <a:pt x="1319" y="1636"/>
                    </a:lnTo>
                    <a:lnTo>
                      <a:pt x="1321" y="1635"/>
                    </a:lnTo>
                    <a:lnTo>
                      <a:pt x="1319" y="1636"/>
                    </a:lnTo>
                    <a:lnTo>
                      <a:pt x="1321" y="1636"/>
                    </a:lnTo>
                    <a:lnTo>
                      <a:pt x="1322" y="1638"/>
                    </a:lnTo>
                    <a:lnTo>
                      <a:pt x="1321" y="1638"/>
                    </a:lnTo>
                    <a:lnTo>
                      <a:pt x="1319" y="1638"/>
                    </a:lnTo>
                    <a:lnTo>
                      <a:pt x="1321" y="1638"/>
                    </a:lnTo>
                    <a:lnTo>
                      <a:pt x="1321" y="1640"/>
                    </a:lnTo>
                    <a:lnTo>
                      <a:pt x="1322" y="1640"/>
                    </a:lnTo>
                    <a:lnTo>
                      <a:pt x="1321" y="1640"/>
                    </a:lnTo>
                    <a:lnTo>
                      <a:pt x="1322" y="1641"/>
                    </a:lnTo>
                    <a:lnTo>
                      <a:pt x="1321" y="1641"/>
                    </a:lnTo>
                    <a:lnTo>
                      <a:pt x="1321" y="1640"/>
                    </a:lnTo>
                    <a:lnTo>
                      <a:pt x="1321" y="1641"/>
                    </a:lnTo>
                    <a:lnTo>
                      <a:pt x="1319" y="1641"/>
                    </a:lnTo>
                    <a:lnTo>
                      <a:pt x="1319" y="1640"/>
                    </a:lnTo>
                    <a:lnTo>
                      <a:pt x="1317" y="1640"/>
                    </a:lnTo>
                    <a:lnTo>
                      <a:pt x="1317" y="1638"/>
                    </a:lnTo>
                    <a:lnTo>
                      <a:pt x="1317" y="1640"/>
                    </a:lnTo>
                    <a:lnTo>
                      <a:pt x="1315" y="1640"/>
                    </a:lnTo>
                    <a:lnTo>
                      <a:pt x="1317" y="1640"/>
                    </a:lnTo>
                    <a:lnTo>
                      <a:pt x="1315" y="1640"/>
                    </a:lnTo>
                    <a:lnTo>
                      <a:pt x="1315" y="1641"/>
                    </a:lnTo>
                    <a:lnTo>
                      <a:pt x="1317" y="1641"/>
                    </a:lnTo>
                    <a:lnTo>
                      <a:pt x="1319" y="1641"/>
                    </a:lnTo>
                    <a:lnTo>
                      <a:pt x="1319" y="1643"/>
                    </a:lnTo>
                    <a:lnTo>
                      <a:pt x="1317" y="1643"/>
                    </a:lnTo>
                    <a:lnTo>
                      <a:pt x="1319" y="1643"/>
                    </a:lnTo>
                    <a:lnTo>
                      <a:pt x="1317" y="1645"/>
                    </a:lnTo>
                    <a:lnTo>
                      <a:pt x="1317" y="1643"/>
                    </a:lnTo>
                    <a:lnTo>
                      <a:pt x="1315" y="1643"/>
                    </a:lnTo>
                    <a:lnTo>
                      <a:pt x="1314" y="1645"/>
                    </a:lnTo>
                    <a:lnTo>
                      <a:pt x="1315" y="1646"/>
                    </a:lnTo>
                    <a:lnTo>
                      <a:pt x="1314" y="1645"/>
                    </a:lnTo>
                    <a:lnTo>
                      <a:pt x="1314" y="1643"/>
                    </a:lnTo>
                    <a:lnTo>
                      <a:pt x="1312" y="1641"/>
                    </a:lnTo>
                    <a:lnTo>
                      <a:pt x="1312" y="1643"/>
                    </a:lnTo>
                    <a:lnTo>
                      <a:pt x="1312" y="1645"/>
                    </a:lnTo>
                    <a:lnTo>
                      <a:pt x="1314" y="1645"/>
                    </a:lnTo>
                    <a:lnTo>
                      <a:pt x="1312" y="1645"/>
                    </a:lnTo>
                    <a:lnTo>
                      <a:pt x="1310" y="1643"/>
                    </a:lnTo>
                    <a:lnTo>
                      <a:pt x="1312" y="1643"/>
                    </a:lnTo>
                    <a:lnTo>
                      <a:pt x="1312" y="1641"/>
                    </a:lnTo>
                    <a:lnTo>
                      <a:pt x="1312" y="1640"/>
                    </a:lnTo>
                    <a:lnTo>
                      <a:pt x="1314" y="1641"/>
                    </a:lnTo>
                    <a:lnTo>
                      <a:pt x="1312" y="1640"/>
                    </a:lnTo>
                    <a:lnTo>
                      <a:pt x="1314" y="1640"/>
                    </a:lnTo>
                    <a:lnTo>
                      <a:pt x="1312" y="1638"/>
                    </a:lnTo>
                    <a:lnTo>
                      <a:pt x="1312" y="1640"/>
                    </a:lnTo>
                    <a:lnTo>
                      <a:pt x="1310" y="1640"/>
                    </a:lnTo>
                    <a:lnTo>
                      <a:pt x="1310" y="1638"/>
                    </a:lnTo>
                    <a:lnTo>
                      <a:pt x="1310" y="1636"/>
                    </a:lnTo>
                    <a:lnTo>
                      <a:pt x="1312" y="1636"/>
                    </a:lnTo>
                    <a:lnTo>
                      <a:pt x="1310" y="1636"/>
                    </a:lnTo>
                    <a:lnTo>
                      <a:pt x="1309" y="1636"/>
                    </a:lnTo>
                    <a:lnTo>
                      <a:pt x="1310" y="1636"/>
                    </a:lnTo>
                    <a:lnTo>
                      <a:pt x="1310" y="1638"/>
                    </a:lnTo>
                    <a:lnTo>
                      <a:pt x="1310" y="1640"/>
                    </a:lnTo>
                    <a:lnTo>
                      <a:pt x="1310" y="1638"/>
                    </a:lnTo>
                    <a:lnTo>
                      <a:pt x="1309" y="1638"/>
                    </a:lnTo>
                    <a:lnTo>
                      <a:pt x="1309" y="1640"/>
                    </a:lnTo>
                    <a:lnTo>
                      <a:pt x="1307" y="1640"/>
                    </a:lnTo>
                    <a:lnTo>
                      <a:pt x="1307" y="1638"/>
                    </a:lnTo>
                    <a:lnTo>
                      <a:pt x="1307" y="1640"/>
                    </a:lnTo>
                    <a:lnTo>
                      <a:pt x="1307" y="1641"/>
                    </a:lnTo>
                    <a:lnTo>
                      <a:pt x="1307" y="1640"/>
                    </a:lnTo>
                    <a:lnTo>
                      <a:pt x="1305" y="1640"/>
                    </a:lnTo>
                    <a:lnTo>
                      <a:pt x="1305" y="1638"/>
                    </a:lnTo>
                    <a:lnTo>
                      <a:pt x="1305" y="1636"/>
                    </a:lnTo>
                    <a:lnTo>
                      <a:pt x="1307" y="1636"/>
                    </a:lnTo>
                    <a:lnTo>
                      <a:pt x="1305" y="1636"/>
                    </a:lnTo>
                    <a:lnTo>
                      <a:pt x="1304" y="1636"/>
                    </a:lnTo>
                    <a:lnTo>
                      <a:pt x="1304" y="1638"/>
                    </a:lnTo>
                    <a:lnTo>
                      <a:pt x="1302" y="1638"/>
                    </a:lnTo>
                    <a:lnTo>
                      <a:pt x="1302" y="1636"/>
                    </a:lnTo>
                    <a:lnTo>
                      <a:pt x="1300" y="1636"/>
                    </a:lnTo>
                    <a:lnTo>
                      <a:pt x="1300" y="1638"/>
                    </a:lnTo>
                    <a:lnTo>
                      <a:pt x="1300" y="1636"/>
                    </a:lnTo>
                    <a:lnTo>
                      <a:pt x="1298" y="1638"/>
                    </a:lnTo>
                    <a:lnTo>
                      <a:pt x="1298" y="1636"/>
                    </a:lnTo>
                    <a:lnTo>
                      <a:pt x="1297" y="1636"/>
                    </a:lnTo>
                    <a:lnTo>
                      <a:pt x="1297" y="1635"/>
                    </a:lnTo>
                    <a:lnTo>
                      <a:pt x="1298" y="1635"/>
                    </a:lnTo>
                    <a:lnTo>
                      <a:pt x="1297" y="1635"/>
                    </a:lnTo>
                    <a:lnTo>
                      <a:pt x="1297" y="1633"/>
                    </a:lnTo>
                    <a:lnTo>
                      <a:pt x="1298" y="1633"/>
                    </a:lnTo>
                    <a:lnTo>
                      <a:pt x="1298" y="1631"/>
                    </a:lnTo>
                    <a:lnTo>
                      <a:pt x="1297" y="1631"/>
                    </a:lnTo>
                    <a:lnTo>
                      <a:pt x="1297" y="1629"/>
                    </a:lnTo>
                    <a:lnTo>
                      <a:pt x="1298" y="1629"/>
                    </a:lnTo>
                    <a:lnTo>
                      <a:pt x="1300" y="1629"/>
                    </a:lnTo>
                    <a:lnTo>
                      <a:pt x="1300" y="1631"/>
                    </a:lnTo>
                    <a:lnTo>
                      <a:pt x="1300" y="1629"/>
                    </a:lnTo>
                    <a:lnTo>
                      <a:pt x="1302" y="1629"/>
                    </a:lnTo>
                    <a:lnTo>
                      <a:pt x="1302" y="1628"/>
                    </a:lnTo>
                    <a:lnTo>
                      <a:pt x="1302" y="1629"/>
                    </a:lnTo>
                    <a:lnTo>
                      <a:pt x="1302" y="1631"/>
                    </a:lnTo>
                    <a:lnTo>
                      <a:pt x="1304" y="1631"/>
                    </a:lnTo>
                    <a:lnTo>
                      <a:pt x="1304" y="1629"/>
                    </a:lnTo>
                    <a:lnTo>
                      <a:pt x="1305" y="1628"/>
                    </a:lnTo>
                    <a:lnTo>
                      <a:pt x="1305" y="1629"/>
                    </a:lnTo>
                    <a:lnTo>
                      <a:pt x="1307" y="1629"/>
                    </a:lnTo>
                    <a:lnTo>
                      <a:pt x="1307" y="1631"/>
                    </a:lnTo>
                    <a:lnTo>
                      <a:pt x="1305" y="1631"/>
                    </a:lnTo>
                    <a:lnTo>
                      <a:pt x="1307" y="1631"/>
                    </a:lnTo>
                    <a:lnTo>
                      <a:pt x="1309" y="1631"/>
                    </a:lnTo>
                    <a:lnTo>
                      <a:pt x="1309" y="1629"/>
                    </a:lnTo>
                    <a:lnTo>
                      <a:pt x="1309" y="1631"/>
                    </a:lnTo>
                    <a:lnTo>
                      <a:pt x="1310" y="1631"/>
                    </a:lnTo>
                    <a:lnTo>
                      <a:pt x="1312" y="1631"/>
                    </a:lnTo>
                    <a:lnTo>
                      <a:pt x="1310" y="1631"/>
                    </a:lnTo>
                    <a:lnTo>
                      <a:pt x="1310" y="1629"/>
                    </a:lnTo>
                    <a:lnTo>
                      <a:pt x="1312" y="1629"/>
                    </a:lnTo>
                    <a:lnTo>
                      <a:pt x="1312" y="1628"/>
                    </a:lnTo>
                    <a:lnTo>
                      <a:pt x="1314" y="1628"/>
                    </a:lnTo>
                    <a:lnTo>
                      <a:pt x="1315" y="1628"/>
                    </a:lnTo>
                    <a:lnTo>
                      <a:pt x="1315" y="1626"/>
                    </a:lnTo>
                    <a:lnTo>
                      <a:pt x="1317" y="1628"/>
                    </a:lnTo>
                    <a:lnTo>
                      <a:pt x="1317" y="1626"/>
                    </a:lnTo>
                    <a:lnTo>
                      <a:pt x="1319" y="1626"/>
                    </a:lnTo>
                    <a:close/>
                    <a:moveTo>
                      <a:pt x="1203" y="1104"/>
                    </a:moveTo>
                    <a:lnTo>
                      <a:pt x="1203" y="1105"/>
                    </a:lnTo>
                    <a:lnTo>
                      <a:pt x="1203" y="1104"/>
                    </a:lnTo>
                    <a:lnTo>
                      <a:pt x="1203" y="1105"/>
                    </a:lnTo>
                    <a:lnTo>
                      <a:pt x="1205" y="1105"/>
                    </a:lnTo>
                    <a:lnTo>
                      <a:pt x="1203" y="1105"/>
                    </a:lnTo>
                    <a:lnTo>
                      <a:pt x="1205" y="1107"/>
                    </a:lnTo>
                    <a:lnTo>
                      <a:pt x="1207" y="1107"/>
                    </a:lnTo>
                    <a:lnTo>
                      <a:pt x="1207" y="1109"/>
                    </a:lnTo>
                    <a:lnTo>
                      <a:pt x="1207" y="1111"/>
                    </a:lnTo>
                    <a:lnTo>
                      <a:pt x="1207" y="1112"/>
                    </a:lnTo>
                    <a:lnTo>
                      <a:pt x="1207" y="1114"/>
                    </a:lnTo>
                    <a:lnTo>
                      <a:pt x="1205" y="1114"/>
                    </a:lnTo>
                    <a:lnTo>
                      <a:pt x="1207" y="1114"/>
                    </a:lnTo>
                    <a:lnTo>
                      <a:pt x="1207" y="1116"/>
                    </a:lnTo>
                    <a:lnTo>
                      <a:pt x="1205" y="1116"/>
                    </a:lnTo>
                    <a:lnTo>
                      <a:pt x="1207" y="1116"/>
                    </a:lnTo>
                    <a:lnTo>
                      <a:pt x="1207" y="1117"/>
                    </a:lnTo>
                    <a:lnTo>
                      <a:pt x="1205" y="1117"/>
                    </a:lnTo>
                    <a:lnTo>
                      <a:pt x="1205" y="1119"/>
                    </a:lnTo>
                    <a:lnTo>
                      <a:pt x="1205" y="1117"/>
                    </a:lnTo>
                    <a:lnTo>
                      <a:pt x="1203" y="1117"/>
                    </a:lnTo>
                    <a:lnTo>
                      <a:pt x="1203" y="1116"/>
                    </a:lnTo>
                    <a:lnTo>
                      <a:pt x="1202" y="1116"/>
                    </a:lnTo>
                    <a:lnTo>
                      <a:pt x="1200" y="1116"/>
                    </a:lnTo>
                    <a:lnTo>
                      <a:pt x="1198" y="1116"/>
                    </a:lnTo>
                    <a:lnTo>
                      <a:pt x="1198" y="1117"/>
                    </a:lnTo>
                    <a:lnTo>
                      <a:pt x="1196" y="1116"/>
                    </a:lnTo>
                    <a:lnTo>
                      <a:pt x="1196" y="1114"/>
                    </a:lnTo>
                    <a:lnTo>
                      <a:pt x="1198" y="1114"/>
                    </a:lnTo>
                    <a:lnTo>
                      <a:pt x="1200" y="1114"/>
                    </a:lnTo>
                    <a:lnTo>
                      <a:pt x="1202" y="1114"/>
                    </a:lnTo>
                    <a:lnTo>
                      <a:pt x="1200" y="1114"/>
                    </a:lnTo>
                    <a:lnTo>
                      <a:pt x="1198" y="1114"/>
                    </a:lnTo>
                    <a:lnTo>
                      <a:pt x="1196" y="1114"/>
                    </a:lnTo>
                    <a:lnTo>
                      <a:pt x="1195" y="1114"/>
                    </a:lnTo>
                    <a:lnTo>
                      <a:pt x="1195" y="1112"/>
                    </a:lnTo>
                    <a:lnTo>
                      <a:pt x="1195" y="1114"/>
                    </a:lnTo>
                    <a:lnTo>
                      <a:pt x="1195" y="1112"/>
                    </a:lnTo>
                    <a:lnTo>
                      <a:pt x="1193" y="1112"/>
                    </a:lnTo>
                    <a:lnTo>
                      <a:pt x="1195" y="1112"/>
                    </a:lnTo>
                    <a:lnTo>
                      <a:pt x="1195" y="1111"/>
                    </a:lnTo>
                    <a:lnTo>
                      <a:pt x="1193" y="1112"/>
                    </a:lnTo>
                    <a:lnTo>
                      <a:pt x="1191" y="1112"/>
                    </a:lnTo>
                    <a:lnTo>
                      <a:pt x="1191" y="1111"/>
                    </a:lnTo>
                    <a:lnTo>
                      <a:pt x="1191" y="1109"/>
                    </a:lnTo>
                    <a:lnTo>
                      <a:pt x="1191" y="1107"/>
                    </a:lnTo>
                    <a:lnTo>
                      <a:pt x="1191" y="1109"/>
                    </a:lnTo>
                    <a:lnTo>
                      <a:pt x="1191" y="1111"/>
                    </a:lnTo>
                    <a:lnTo>
                      <a:pt x="1191" y="1112"/>
                    </a:lnTo>
                    <a:lnTo>
                      <a:pt x="1190" y="1112"/>
                    </a:lnTo>
                    <a:lnTo>
                      <a:pt x="1188" y="1111"/>
                    </a:lnTo>
                    <a:lnTo>
                      <a:pt x="1188" y="1109"/>
                    </a:lnTo>
                    <a:lnTo>
                      <a:pt x="1188" y="1107"/>
                    </a:lnTo>
                    <a:lnTo>
                      <a:pt x="1190" y="1107"/>
                    </a:lnTo>
                    <a:lnTo>
                      <a:pt x="1191" y="1105"/>
                    </a:lnTo>
                    <a:lnTo>
                      <a:pt x="1193" y="1105"/>
                    </a:lnTo>
                    <a:lnTo>
                      <a:pt x="1193" y="1107"/>
                    </a:lnTo>
                    <a:lnTo>
                      <a:pt x="1193" y="1105"/>
                    </a:lnTo>
                    <a:lnTo>
                      <a:pt x="1195" y="1105"/>
                    </a:lnTo>
                    <a:lnTo>
                      <a:pt x="1195" y="1107"/>
                    </a:lnTo>
                    <a:lnTo>
                      <a:pt x="1195" y="1105"/>
                    </a:lnTo>
                    <a:lnTo>
                      <a:pt x="1196" y="1105"/>
                    </a:lnTo>
                    <a:lnTo>
                      <a:pt x="1198" y="1105"/>
                    </a:lnTo>
                    <a:lnTo>
                      <a:pt x="1200" y="1104"/>
                    </a:lnTo>
                    <a:lnTo>
                      <a:pt x="1202" y="1104"/>
                    </a:lnTo>
                    <a:lnTo>
                      <a:pt x="1203" y="1104"/>
                    </a:lnTo>
                    <a:close/>
                    <a:moveTo>
                      <a:pt x="1179" y="1376"/>
                    </a:moveTo>
                    <a:lnTo>
                      <a:pt x="1179" y="1378"/>
                    </a:lnTo>
                    <a:lnTo>
                      <a:pt x="1179" y="1379"/>
                    </a:lnTo>
                    <a:lnTo>
                      <a:pt x="1181" y="1379"/>
                    </a:lnTo>
                    <a:lnTo>
                      <a:pt x="1183" y="1379"/>
                    </a:lnTo>
                    <a:lnTo>
                      <a:pt x="1183" y="1378"/>
                    </a:lnTo>
                    <a:lnTo>
                      <a:pt x="1185" y="1379"/>
                    </a:lnTo>
                    <a:lnTo>
                      <a:pt x="1185" y="1381"/>
                    </a:lnTo>
                    <a:lnTo>
                      <a:pt x="1185" y="1383"/>
                    </a:lnTo>
                    <a:lnTo>
                      <a:pt x="1186" y="1384"/>
                    </a:lnTo>
                    <a:lnTo>
                      <a:pt x="1185" y="1384"/>
                    </a:lnTo>
                    <a:lnTo>
                      <a:pt x="1186" y="1384"/>
                    </a:lnTo>
                    <a:lnTo>
                      <a:pt x="1186" y="1386"/>
                    </a:lnTo>
                    <a:lnTo>
                      <a:pt x="1186" y="1388"/>
                    </a:lnTo>
                    <a:lnTo>
                      <a:pt x="1186" y="1386"/>
                    </a:lnTo>
                    <a:lnTo>
                      <a:pt x="1188" y="1388"/>
                    </a:lnTo>
                    <a:lnTo>
                      <a:pt x="1186" y="1388"/>
                    </a:lnTo>
                    <a:lnTo>
                      <a:pt x="1188" y="1388"/>
                    </a:lnTo>
                    <a:lnTo>
                      <a:pt x="1188" y="1390"/>
                    </a:lnTo>
                    <a:lnTo>
                      <a:pt x="1190" y="1390"/>
                    </a:lnTo>
                    <a:lnTo>
                      <a:pt x="1190" y="1391"/>
                    </a:lnTo>
                    <a:lnTo>
                      <a:pt x="1188" y="1391"/>
                    </a:lnTo>
                    <a:lnTo>
                      <a:pt x="1186" y="1390"/>
                    </a:lnTo>
                    <a:lnTo>
                      <a:pt x="1186" y="1391"/>
                    </a:lnTo>
                    <a:lnTo>
                      <a:pt x="1186" y="1390"/>
                    </a:lnTo>
                    <a:lnTo>
                      <a:pt x="1185" y="1390"/>
                    </a:lnTo>
                    <a:lnTo>
                      <a:pt x="1186" y="1391"/>
                    </a:lnTo>
                    <a:lnTo>
                      <a:pt x="1188" y="1391"/>
                    </a:lnTo>
                    <a:lnTo>
                      <a:pt x="1188" y="1393"/>
                    </a:lnTo>
                    <a:lnTo>
                      <a:pt x="1186" y="1391"/>
                    </a:lnTo>
                    <a:lnTo>
                      <a:pt x="1188" y="1393"/>
                    </a:lnTo>
                    <a:lnTo>
                      <a:pt x="1188" y="1391"/>
                    </a:lnTo>
                    <a:lnTo>
                      <a:pt x="1190" y="1391"/>
                    </a:lnTo>
                    <a:lnTo>
                      <a:pt x="1190" y="1393"/>
                    </a:lnTo>
                    <a:lnTo>
                      <a:pt x="1190" y="1395"/>
                    </a:lnTo>
                    <a:lnTo>
                      <a:pt x="1191" y="1395"/>
                    </a:lnTo>
                    <a:lnTo>
                      <a:pt x="1191" y="1396"/>
                    </a:lnTo>
                    <a:lnTo>
                      <a:pt x="1191" y="1398"/>
                    </a:lnTo>
                    <a:lnTo>
                      <a:pt x="1191" y="1400"/>
                    </a:lnTo>
                    <a:lnTo>
                      <a:pt x="1190" y="1400"/>
                    </a:lnTo>
                    <a:lnTo>
                      <a:pt x="1190" y="1398"/>
                    </a:lnTo>
                    <a:lnTo>
                      <a:pt x="1190" y="1400"/>
                    </a:lnTo>
                    <a:lnTo>
                      <a:pt x="1188" y="1400"/>
                    </a:lnTo>
                    <a:lnTo>
                      <a:pt x="1188" y="1398"/>
                    </a:lnTo>
                    <a:lnTo>
                      <a:pt x="1188" y="1400"/>
                    </a:lnTo>
                    <a:lnTo>
                      <a:pt x="1188" y="1398"/>
                    </a:lnTo>
                    <a:lnTo>
                      <a:pt x="1190" y="1398"/>
                    </a:lnTo>
                    <a:lnTo>
                      <a:pt x="1188" y="1396"/>
                    </a:lnTo>
                    <a:lnTo>
                      <a:pt x="1188" y="1398"/>
                    </a:lnTo>
                    <a:lnTo>
                      <a:pt x="1188" y="1396"/>
                    </a:lnTo>
                    <a:lnTo>
                      <a:pt x="1188" y="1395"/>
                    </a:lnTo>
                    <a:lnTo>
                      <a:pt x="1188" y="1396"/>
                    </a:lnTo>
                    <a:lnTo>
                      <a:pt x="1186" y="1396"/>
                    </a:lnTo>
                    <a:lnTo>
                      <a:pt x="1186" y="1398"/>
                    </a:lnTo>
                    <a:lnTo>
                      <a:pt x="1186" y="1396"/>
                    </a:lnTo>
                    <a:lnTo>
                      <a:pt x="1185" y="1395"/>
                    </a:lnTo>
                    <a:lnTo>
                      <a:pt x="1185" y="1396"/>
                    </a:lnTo>
                    <a:lnTo>
                      <a:pt x="1186" y="1396"/>
                    </a:lnTo>
                    <a:lnTo>
                      <a:pt x="1186" y="1398"/>
                    </a:lnTo>
                    <a:lnTo>
                      <a:pt x="1186" y="1400"/>
                    </a:lnTo>
                    <a:lnTo>
                      <a:pt x="1186" y="1401"/>
                    </a:lnTo>
                    <a:lnTo>
                      <a:pt x="1186" y="1400"/>
                    </a:lnTo>
                    <a:lnTo>
                      <a:pt x="1185" y="1400"/>
                    </a:lnTo>
                    <a:lnTo>
                      <a:pt x="1186" y="1400"/>
                    </a:lnTo>
                    <a:lnTo>
                      <a:pt x="1185" y="1400"/>
                    </a:lnTo>
                    <a:lnTo>
                      <a:pt x="1185" y="1398"/>
                    </a:lnTo>
                    <a:lnTo>
                      <a:pt x="1183" y="1396"/>
                    </a:lnTo>
                    <a:lnTo>
                      <a:pt x="1183" y="1395"/>
                    </a:lnTo>
                    <a:lnTo>
                      <a:pt x="1181" y="1395"/>
                    </a:lnTo>
                    <a:lnTo>
                      <a:pt x="1183" y="1395"/>
                    </a:lnTo>
                    <a:lnTo>
                      <a:pt x="1181" y="1395"/>
                    </a:lnTo>
                    <a:lnTo>
                      <a:pt x="1181" y="1393"/>
                    </a:lnTo>
                    <a:lnTo>
                      <a:pt x="1179" y="1395"/>
                    </a:lnTo>
                    <a:lnTo>
                      <a:pt x="1179" y="1393"/>
                    </a:lnTo>
                    <a:lnTo>
                      <a:pt x="1179" y="1391"/>
                    </a:lnTo>
                    <a:lnTo>
                      <a:pt x="1181" y="1393"/>
                    </a:lnTo>
                    <a:lnTo>
                      <a:pt x="1181" y="1391"/>
                    </a:lnTo>
                    <a:lnTo>
                      <a:pt x="1179" y="1391"/>
                    </a:lnTo>
                    <a:lnTo>
                      <a:pt x="1179" y="1393"/>
                    </a:lnTo>
                    <a:lnTo>
                      <a:pt x="1178" y="1391"/>
                    </a:lnTo>
                    <a:lnTo>
                      <a:pt x="1179" y="1391"/>
                    </a:lnTo>
                    <a:lnTo>
                      <a:pt x="1179" y="1390"/>
                    </a:lnTo>
                    <a:lnTo>
                      <a:pt x="1181" y="1390"/>
                    </a:lnTo>
                    <a:lnTo>
                      <a:pt x="1179" y="1390"/>
                    </a:lnTo>
                    <a:lnTo>
                      <a:pt x="1178" y="1390"/>
                    </a:lnTo>
                    <a:lnTo>
                      <a:pt x="1178" y="1391"/>
                    </a:lnTo>
                    <a:lnTo>
                      <a:pt x="1178" y="1390"/>
                    </a:lnTo>
                    <a:lnTo>
                      <a:pt x="1176" y="1390"/>
                    </a:lnTo>
                    <a:lnTo>
                      <a:pt x="1176" y="1388"/>
                    </a:lnTo>
                    <a:lnTo>
                      <a:pt x="1176" y="1390"/>
                    </a:lnTo>
                    <a:lnTo>
                      <a:pt x="1174" y="1390"/>
                    </a:lnTo>
                    <a:lnTo>
                      <a:pt x="1176" y="1390"/>
                    </a:lnTo>
                    <a:lnTo>
                      <a:pt x="1176" y="1388"/>
                    </a:lnTo>
                    <a:lnTo>
                      <a:pt x="1178" y="1388"/>
                    </a:lnTo>
                    <a:lnTo>
                      <a:pt x="1176" y="1388"/>
                    </a:lnTo>
                    <a:lnTo>
                      <a:pt x="1178" y="1388"/>
                    </a:lnTo>
                    <a:lnTo>
                      <a:pt x="1178" y="1386"/>
                    </a:lnTo>
                    <a:lnTo>
                      <a:pt x="1179" y="1386"/>
                    </a:lnTo>
                    <a:lnTo>
                      <a:pt x="1179" y="1384"/>
                    </a:lnTo>
                    <a:lnTo>
                      <a:pt x="1181" y="1384"/>
                    </a:lnTo>
                    <a:lnTo>
                      <a:pt x="1181" y="1383"/>
                    </a:lnTo>
                    <a:lnTo>
                      <a:pt x="1183" y="1383"/>
                    </a:lnTo>
                    <a:lnTo>
                      <a:pt x="1183" y="1384"/>
                    </a:lnTo>
                    <a:lnTo>
                      <a:pt x="1183" y="1383"/>
                    </a:lnTo>
                    <a:lnTo>
                      <a:pt x="1185" y="1383"/>
                    </a:lnTo>
                    <a:lnTo>
                      <a:pt x="1183" y="1381"/>
                    </a:lnTo>
                    <a:lnTo>
                      <a:pt x="1183" y="1383"/>
                    </a:lnTo>
                    <a:lnTo>
                      <a:pt x="1181" y="1381"/>
                    </a:lnTo>
                    <a:lnTo>
                      <a:pt x="1179" y="1381"/>
                    </a:lnTo>
                    <a:lnTo>
                      <a:pt x="1181" y="1379"/>
                    </a:lnTo>
                    <a:lnTo>
                      <a:pt x="1179" y="1381"/>
                    </a:lnTo>
                    <a:lnTo>
                      <a:pt x="1179" y="1383"/>
                    </a:lnTo>
                    <a:lnTo>
                      <a:pt x="1179" y="1381"/>
                    </a:lnTo>
                    <a:lnTo>
                      <a:pt x="1178" y="1381"/>
                    </a:lnTo>
                    <a:lnTo>
                      <a:pt x="1176" y="1381"/>
                    </a:lnTo>
                    <a:lnTo>
                      <a:pt x="1176" y="1379"/>
                    </a:lnTo>
                    <a:lnTo>
                      <a:pt x="1176" y="1381"/>
                    </a:lnTo>
                    <a:lnTo>
                      <a:pt x="1174" y="1381"/>
                    </a:lnTo>
                    <a:lnTo>
                      <a:pt x="1174" y="1379"/>
                    </a:lnTo>
                    <a:lnTo>
                      <a:pt x="1173" y="1381"/>
                    </a:lnTo>
                    <a:lnTo>
                      <a:pt x="1174" y="1379"/>
                    </a:lnTo>
                    <a:lnTo>
                      <a:pt x="1176" y="1378"/>
                    </a:lnTo>
                    <a:lnTo>
                      <a:pt x="1178" y="1376"/>
                    </a:lnTo>
                    <a:lnTo>
                      <a:pt x="1179" y="1376"/>
                    </a:lnTo>
                    <a:close/>
                    <a:moveTo>
                      <a:pt x="1157" y="1255"/>
                    </a:moveTo>
                    <a:lnTo>
                      <a:pt x="1159" y="1255"/>
                    </a:lnTo>
                    <a:lnTo>
                      <a:pt x="1161" y="1255"/>
                    </a:lnTo>
                    <a:lnTo>
                      <a:pt x="1159" y="1257"/>
                    </a:lnTo>
                    <a:lnTo>
                      <a:pt x="1161" y="1257"/>
                    </a:lnTo>
                    <a:lnTo>
                      <a:pt x="1162" y="1257"/>
                    </a:lnTo>
                    <a:lnTo>
                      <a:pt x="1161" y="1255"/>
                    </a:lnTo>
                    <a:lnTo>
                      <a:pt x="1162" y="1255"/>
                    </a:lnTo>
                    <a:lnTo>
                      <a:pt x="1164" y="1257"/>
                    </a:lnTo>
                    <a:lnTo>
                      <a:pt x="1166" y="1259"/>
                    </a:lnTo>
                    <a:lnTo>
                      <a:pt x="1164" y="1260"/>
                    </a:lnTo>
                    <a:lnTo>
                      <a:pt x="1166" y="1259"/>
                    </a:lnTo>
                    <a:lnTo>
                      <a:pt x="1166" y="1260"/>
                    </a:lnTo>
                    <a:lnTo>
                      <a:pt x="1168" y="1259"/>
                    </a:lnTo>
                    <a:lnTo>
                      <a:pt x="1168" y="1260"/>
                    </a:lnTo>
                    <a:lnTo>
                      <a:pt x="1168" y="1262"/>
                    </a:lnTo>
                    <a:lnTo>
                      <a:pt x="1166" y="1262"/>
                    </a:lnTo>
                    <a:lnTo>
                      <a:pt x="1166" y="1264"/>
                    </a:lnTo>
                    <a:lnTo>
                      <a:pt x="1168" y="1262"/>
                    </a:lnTo>
                    <a:lnTo>
                      <a:pt x="1168" y="1264"/>
                    </a:lnTo>
                    <a:lnTo>
                      <a:pt x="1166" y="1264"/>
                    </a:lnTo>
                    <a:lnTo>
                      <a:pt x="1166" y="1265"/>
                    </a:lnTo>
                    <a:lnTo>
                      <a:pt x="1166" y="1264"/>
                    </a:lnTo>
                    <a:lnTo>
                      <a:pt x="1168" y="1264"/>
                    </a:lnTo>
                    <a:lnTo>
                      <a:pt x="1169" y="1262"/>
                    </a:lnTo>
                    <a:lnTo>
                      <a:pt x="1169" y="1260"/>
                    </a:lnTo>
                    <a:lnTo>
                      <a:pt x="1171" y="1260"/>
                    </a:lnTo>
                    <a:lnTo>
                      <a:pt x="1171" y="1262"/>
                    </a:lnTo>
                    <a:lnTo>
                      <a:pt x="1169" y="1262"/>
                    </a:lnTo>
                    <a:lnTo>
                      <a:pt x="1171" y="1262"/>
                    </a:lnTo>
                    <a:lnTo>
                      <a:pt x="1171" y="1264"/>
                    </a:lnTo>
                    <a:lnTo>
                      <a:pt x="1169" y="1264"/>
                    </a:lnTo>
                    <a:lnTo>
                      <a:pt x="1169" y="1265"/>
                    </a:lnTo>
                    <a:lnTo>
                      <a:pt x="1168" y="1265"/>
                    </a:lnTo>
                    <a:lnTo>
                      <a:pt x="1168" y="1267"/>
                    </a:lnTo>
                    <a:lnTo>
                      <a:pt x="1168" y="1265"/>
                    </a:lnTo>
                    <a:lnTo>
                      <a:pt x="1169" y="1265"/>
                    </a:lnTo>
                    <a:lnTo>
                      <a:pt x="1169" y="1264"/>
                    </a:lnTo>
                    <a:lnTo>
                      <a:pt x="1171" y="1264"/>
                    </a:lnTo>
                    <a:lnTo>
                      <a:pt x="1169" y="1264"/>
                    </a:lnTo>
                    <a:lnTo>
                      <a:pt x="1169" y="1265"/>
                    </a:lnTo>
                    <a:lnTo>
                      <a:pt x="1169" y="1267"/>
                    </a:lnTo>
                    <a:lnTo>
                      <a:pt x="1169" y="1265"/>
                    </a:lnTo>
                    <a:lnTo>
                      <a:pt x="1169" y="1267"/>
                    </a:lnTo>
                    <a:lnTo>
                      <a:pt x="1171" y="1267"/>
                    </a:lnTo>
                    <a:lnTo>
                      <a:pt x="1169" y="1269"/>
                    </a:lnTo>
                    <a:lnTo>
                      <a:pt x="1171" y="1269"/>
                    </a:lnTo>
                    <a:lnTo>
                      <a:pt x="1169" y="1270"/>
                    </a:lnTo>
                    <a:lnTo>
                      <a:pt x="1168" y="1270"/>
                    </a:lnTo>
                    <a:lnTo>
                      <a:pt x="1169" y="1269"/>
                    </a:lnTo>
                    <a:lnTo>
                      <a:pt x="1168" y="1270"/>
                    </a:lnTo>
                    <a:lnTo>
                      <a:pt x="1166" y="1272"/>
                    </a:lnTo>
                    <a:lnTo>
                      <a:pt x="1164" y="1274"/>
                    </a:lnTo>
                    <a:lnTo>
                      <a:pt x="1162" y="1274"/>
                    </a:lnTo>
                    <a:lnTo>
                      <a:pt x="1162" y="1272"/>
                    </a:lnTo>
                    <a:lnTo>
                      <a:pt x="1162" y="1270"/>
                    </a:lnTo>
                    <a:lnTo>
                      <a:pt x="1161" y="1270"/>
                    </a:lnTo>
                    <a:lnTo>
                      <a:pt x="1161" y="1269"/>
                    </a:lnTo>
                    <a:lnTo>
                      <a:pt x="1161" y="1267"/>
                    </a:lnTo>
                    <a:lnTo>
                      <a:pt x="1162" y="1267"/>
                    </a:lnTo>
                    <a:lnTo>
                      <a:pt x="1161" y="1267"/>
                    </a:lnTo>
                    <a:lnTo>
                      <a:pt x="1161" y="1269"/>
                    </a:lnTo>
                    <a:lnTo>
                      <a:pt x="1159" y="1267"/>
                    </a:lnTo>
                    <a:lnTo>
                      <a:pt x="1159" y="1265"/>
                    </a:lnTo>
                    <a:lnTo>
                      <a:pt x="1159" y="1264"/>
                    </a:lnTo>
                    <a:lnTo>
                      <a:pt x="1161" y="1264"/>
                    </a:lnTo>
                    <a:lnTo>
                      <a:pt x="1162" y="1264"/>
                    </a:lnTo>
                    <a:lnTo>
                      <a:pt x="1161" y="1264"/>
                    </a:lnTo>
                    <a:lnTo>
                      <a:pt x="1159" y="1264"/>
                    </a:lnTo>
                    <a:lnTo>
                      <a:pt x="1161" y="1264"/>
                    </a:lnTo>
                    <a:lnTo>
                      <a:pt x="1161" y="1262"/>
                    </a:lnTo>
                    <a:lnTo>
                      <a:pt x="1161" y="1264"/>
                    </a:lnTo>
                    <a:lnTo>
                      <a:pt x="1159" y="1264"/>
                    </a:lnTo>
                    <a:lnTo>
                      <a:pt x="1157" y="1264"/>
                    </a:lnTo>
                    <a:lnTo>
                      <a:pt x="1159" y="1262"/>
                    </a:lnTo>
                    <a:lnTo>
                      <a:pt x="1157" y="1264"/>
                    </a:lnTo>
                    <a:lnTo>
                      <a:pt x="1157" y="1262"/>
                    </a:lnTo>
                    <a:lnTo>
                      <a:pt x="1159" y="1260"/>
                    </a:lnTo>
                    <a:lnTo>
                      <a:pt x="1157" y="1260"/>
                    </a:lnTo>
                    <a:lnTo>
                      <a:pt x="1157" y="1262"/>
                    </a:lnTo>
                    <a:lnTo>
                      <a:pt x="1157" y="1260"/>
                    </a:lnTo>
                    <a:lnTo>
                      <a:pt x="1159" y="1260"/>
                    </a:lnTo>
                    <a:lnTo>
                      <a:pt x="1161" y="1259"/>
                    </a:lnTo>
                    <a:lnTo>
                      <a:pt x="1159" y="1259"/>
                    </a:lnTo>
                    <a:lnTo>
                      <a:pt x="1159" y="1260"/>
                    </a:lnTo>
                    <a:lnTo>
                      <a:pt x="1157" y="1260"/>
                    </a:lnTo>
                    <a:lnTo>
                      <a:pt x="1157" y="1259"/>
                    </a:lnTo>
                    <a:lnTo>
                      <a:pt x="1159" y="1259"/>
                    </a:lnTo>
                    <a:lnTo>
                      <a:pt x="1157" y="1259"/>
                    </a:lnTo>
                    <a:lnTo>
                      <a:pt x="1157" y="1257"/>
                    </a:lnTo>
                    <a:lnTo>
                      <a:pt x="1157" y="1259"/>
                    </a:lnTo>
                    <a:lnTo>
                      <a:pt x="1156" y="1257"/>
                    </a:lnTo>
                    <a:lnTo>
                      <a:pt x="1156" y="1255"/>
                    </a:lnTo>
                    <a:lnTo>
                      <a:pt x="1157" y="1255"/>
                    </a:lnTo>
                    <a:close/>
                    <a:moveTo>
                      <a:pt x="1183" y="1447"/>
                    </a:moveTo>
                    <a:lnTo>
                      <a:pt x="1185" y="1447"/>
                    </a:lnTo>
                    <a:lnTo>
                      <a:pt x="1185" y="1449"/>
                    </a:lnTo>
                    <a:lnTo>
                      <a:pt x="1183" y="1449"/>
                    </a:lnTo>
                    <a:lnTo>
                      <a:pt x="1185" y="1451"/>
                    </a:lnTo>
                    <a:lnTo>
                      <a:pt x="1185" y="1449"/>
                    </a:lnTo>
                    <a:lnTo>
                      <a:pt x="1186" y="1449"/>
                    </a:lnTo>
                    <a:lnTo>
                      <a:pt x="1186" y="1451"/>
                    </a:lnTo>
                    <a:lnTo>
                      <a:pt x="1185" y="1451"/>
                    </a:lnTo>
                    <a:lnTo>
                      <a:pt x="1186" y="1451"/>
                    </a:lnTo>
                    <a:lnTo>
                      <a:pt x="1186" y="1449"/>
                    </a:lnTo>
                    <a:lnTo>
                      <a:pt x="1186" y="1451"/>
                    </a:lnTo>
                    <a:lnTo>
                      <a:pt x="1186" y="1453"/>
                    </a:lnTo>
                    <a:lnTo>
                      <a:pt x="1186" y="1451"/>
                    </a:lnTo>
                    <a:lnTo>
                      <a:pt x="1186" y="1453"/>
                    </a:lnTo>
                    <a:lnTo>
                      <a:pt x="1188" y="1453"/>
                    </a:lnTo>
                    <a:lnTo>
                      <a:pt x="1190" y="1453"/>
                    </a:lnTo>
                    <a:lnTo>
                      <a:pt x="1190" y="1454"/>
                    </a:lnTo>
                    <a:lnTo>
                      <a:pt x="1190" y="1453"/>
                    </a:lnTo>
                    <a:lnTo>
                      <a:pt x="1191" y="1454"/>
                    </a:lnTo>
                    <a:lnTo>
                      <a:pt x="1191" y="1456"/>
                    </a:lnTo>
                    <a:lnTo>
                      <a:pt x="1190" y="1456"/>
                    </a:lnTo>
                    <a:lnTo>
                      <a:pt x="1191" y="1456"/>
                    </a:lnTo>
                    <a:lnTo>
                      <a:pt x="1193" y="1456"/>
                    </a:lnTo>
                    <a:lnTo>
                      <a:pt x="1193" y="1454"/>
                    </a:lnTo>
                    <a:lnTo>
                      <a:pt x="1193" y="1456"/>
                    </a:lnTo>
                    <a:lnTo>
                      <a:pt x="1193" y="1454"/>
                    </a:lnTo>
                    <a:lnTo>
                      <a:pt x="1195" y="1456"/>
                    </a:lnTo>
                    <a:lnTo>
                      <a:pt x="1193" y="1456"/>
                    </a:lnTo>
                    <a:lnTo>
                      <a:pt x="1195" y="1458"/>
                    </a:lnTo>
                    <a:lnTo>
                      <a:pt x="1195" y="1456"/>
                    </a:lnTo>
                    <a:lnTo>
                      <a:pt x="1195" y="1458"/>
                    </a:lnTo>
                    <a:lnTo>
                      <a:pt x="1196" y="1458"/>
                    </a:lnTo>
                    <a:lnTo>
                      <a:pt x="1196" y="1459"/>
                    </a:lnTo>
                    <a:lnTo>
                      <a:pt x="1196" y="1461"/>
                    </a:lnTo>
                    <a:lnTo>
                      <a:pt x="1198" y="1459"/>
                    </a:lnTo>
                    <a:lnTo>
                      <a:pt x="1198" y="1461"/>
                    </a:lnTo>
                    <a:lnTo>
                      <a:pt x="1198" y="1459"/>
                    </a:lnTo>
                    <a:lnTo>
                      <a:pt x="1198" y="1461"/>
                    </a:lnTo>
                    <a:lnTo>
                      <a:pt x="1200" y="1461"/>
                    </a:lnTo>
                    <a:lnTo>
                      <a:pt x="1202" y="1461"/>
                    </a:lnTo>
                    <a:lnTo>
                      <a:pt x="1202" y="1463"/>
                    </a:lnTo>
                    <a:lnTo>
                      <a:pt x="1203" y="1463"/>
                    </a:lnTo>
                    <a:lnTo>
                      <a:pt x="1203" y="1464"/>
                    </a:lnTo>
                    <a:lnTo>
                      <a:pt x="1205" y="1466"/>
                    </a:lnTo>
                    <a:lnTo>
                      <a:pt x="1205" y="1468"/>
                    </a:lnTo>
                    <a:lnTo>
                      <a:pt x="1207" y="1468"/>
                    </a:lnTo>
                    <a:lnTo>
                      <a:pt x="1207" y="1470"/>
                    </a:lnTo>
                    <a:lnTo>
                      <a:pt x="1207" y="1471"/>
                    </a:lnTo>
                    <a:lnTo>
                      <a:pt x="1208" y="1473"/>
                    </a:lnTo>
                    <a:lnTo>
                      <a:pt x="1208" y="1475"/>
                    </a:lnTo>
                    <a:lnTo>
                      <a:pt x="1207" y="1475"/>
                    </a:lnTo>
                    <a:lnTo>
                      <a:pt x="1207" y="1473"/>
                    </a:lnTo>
                    <a:lnTo>
                      <a:pt x="1205" y="1473"/>
                    </a:lnTo>
                    <a:lnTo>
                      <a:pt x="1205" y="1471"/>
                    </a:lnTo>
                    <a:lnTo>
                      <a:pt x="1203" y="1471"/>
                    </a:lnTo>
                    <a:lnTo>
                      <a:pt x="1203" y="1470"/>
                    </a:lnTo>
                    <a:lnTo>
                      <a:pt x="1202" y="1470"/>
                    </a:lnTo>
                    <a:lnTo>
                      <a:pt x="1202" y="1468"/>
                    </a:lnTo>
                    <a:lnTo>
                      <a:pt x="1200" y="1468"/>
                    </a:lnTo>
                    <a:lnTo>
                      <a:pt x="1198" y="1468"/>
                    </a:lnTo>
                    <a:lnTo>
                      <a:pt x="1198" y="1466"/>
                    </a:lnTo>
                    <a:lnTo>
                      <a:pt x="1196" y="1466"/>
                    </a:lnTo>
                    <a:lnTo>
                      <a:pt x="1196" y="1464"/>
                    </a:lnTo>
                    <a:lnTo>
                      <a:pt x="1195" y="1464"/>
                    </a:lnTo>
                    <a:lnTo>
                      <a:pt x="1193" y="1463"/>
                    </a:lnTo>
                    <a:lnTo>
                      <a:pt x="1193" y="1464"/>
                    </a:lnTo>
                    <a:lnTo>
                      <a:pt x="1193" y="1463"/>
                    </a:lnTo>
                    <a:lnTo>
                      <a:pt x="1195" y="1463"/>
                    </a:lnTo>
                    <a:lnTo>
                      <a:pt x="1196" y="1463"/>
                    </a:lnTo>
                    <a:lnTo>
                      <a:pt x="1196" y="1464"/>
                    </a:lnTo>
                    <a:lnTo>
                      <a:pt x="1198" y="1464"/>
                    </a:lnTo>
                    <a:lnTo>
                      <a:pt x="1196" y="1464"/>
                    </a:lnTo>
                    <a:lnTo>
                      <a:pt x="1195" y="1463"/>
                    </a:lnTo>
                    <a:lnTo>
                      <a:pt x="1193" y="1461"/>
                    </a:lnTo>
                    <a:lnTo>
                      <a:pt x="1193" y="1459"/>
                    </a:lnTo>
                    <a:lnTo>
                      <a:pt x="1193" y="1461"/>
                    </a:lnTo>
                    <a:lnTo>
                      <a:pt x="1191" y="1461"/>
                    </a:lnTo>
                    <a:lnTo>
                      <a:pt x="1191" y="1459"/>
                    </a:lnTo>
                    <a:lnTo>
                      <a:pt x="1190" y="1459"/>
                    </a:lnTo>
                    <a:lnTo>
                      <a:pt x="1188" y="1459"/>
                    </a:lnTo>
                    <a:lnTo>
                      <a:pt x="1188" y="1458"/>
                    </a:lnTo>
                    <a:lnTo>
                      <a:pt x="1186" y="1458"/>
                    </a:lnTo>
                    <a:lnTo>
                      <a:pt x="1188" y="1456"/>
                    </a:lnTo>
                    <a:lnTo>
                      <a:pt x="1186" y="1456"/>
                    </a:lnTo>
                    <a:lnTo>
                      <a:pt x="1186" y="1458"/>
                    </a:lnTo>
                    <a:lnTo>
                      <a:pt x="1185" y="1456"/>
                    </a:lnTo>
                    <a:lnTo>
                      <a:pt x="1183" y="1454"/>
                    </a:lnTo>
                    <a:lnTo>
                      <a:pt x="1185" y="1454"/>
                    </a:lnTo>
                    <a:lnTo>
                      <a:pt x="1183" y="1454"/>
                    </a:lnTo>
                    <a:lnTo>
                      <a:pt x="1183" y="1453"/>
                    </a:lnTo>
                    <a:lnTo>
                      <a:pt x="1183" y="1451"/>
                    </a:lnTo>
                    <a:lnTo>
                      <a:pt x="1183" y="1453"/>
                    </a:lnTo>
                    <a:lnTo>
                      <a:pt x="1181" y="1451"/>
                    </a:lnTo>
                    <a:lnTo>
                      <a:pt x="1181" y="1449"/>
                    </a:lnTo>
                    <a:lnTo>
                      <a:pt x="1183" y="1449"/>
                    </a:lnTo>
                    <a:lnTo>
                      <a:pt x="1181" y="1449"/>
                    </a:lnTo>
                    <a:lnTo>
                      <a:pt x="1179" y="1447"/>
                    </a:lnTo>
                    <a:lnTo>
                      <a:pt x="1179" y="1446"/>
                    </a:lnTo>
                    <a:lnTo>
                      <a:pt x="1181" y="1447"/>
                    </a:lnTo>
                    <a:lnTo>
                      <a:pt x="1183" y="1447"/>
                    </a:lnTo>
                    <a:close/>
                    <a:moveTo>
                      <a:pt x="1343" y="1626"/>
                    </a:moveTo>
                    <a:lnTo>
                      <a:pt x="1344" y="1626"/>
                    </a:lnTo>
                    <a:lnTo>
                      <a:pt x="1346" y="1626"/>
                    </a:lnTo>
                    <a:lnTo>
                      <a:pt x="1348" y="1626"/>
                    </a:lnTo>
                    <a:lnTo>
                      <a:pt x="1349" y="1628"/>
                    </a:lnTo>
                    <a:lnTo>
                      <a:pt x="1348" y="1628"/>
                    </a:lnTo>
                    <a:lnTo>
                      <a:pt x="1349" y="1628"/>
                    </a:lnTo>
                    <a:lnTo>
                      <a:pt x="1348" y="1629"/>
                    </a:lnTo>
                    <a:lnTo>
                      <a:pt x="1348" y="1631"/>
                    </a:lnTo>
                    <a:lnTo>
                      <a:pt x="1349" y="1629"/>
                    </a:lnTo>
                    <a:lnTo>
                      <a:pt x="1349" y="1628"/>
                    </a:lnTo>
                    <a:lnTo>
                      <a:pt x="1351" y="1628"/>
                    </a:lnTo>
                    <a:lnTo>
                      <a:pt x="1353" y="1628"/>
                    </a:lnTo>
                    <a:lnTo>
                      <a:pt x="1355" y="1628"/>
                    </a:lnTo>
                    <a:lnTo>
                      <a:pt x="1355" y="1629"/>
                    </a:lnTo>
                    <a:lnTo>
                      <a:pt x="1356" y="1629"/>
                    </a:lnTo>
                    <a:lnTo>
                      <a:pt x="1358" y="1629"/>
                    </a:lnTo>
                    <a:lnTo>
                      <a:pt x="1360" y="1629"/>
                    </a:lnTo>
                    <a:lnTo>
                      <a:pt x="1360" y="1631"/>
                    </a:lnTo>
                    <a:lnTo>
                      <a:pt x="1361" y="1631"/>
                    </a:lnTo>
                    <a:lnTo>
                      <a:pt x="1360" y="1631"/>
                    </a:lnTo>
                    <a:lnTo>
                      <a:pt x="1358" y="1631"/>
                    </a:lnTo>
                    <a:lnTo>
                      <a:pt x="1356" y="1631"/>
                    </a:lnTo>
                    <a:lnTo>
                      <a:pt x="1355" y="1631"/>
                    </a:lnTo>
                    <a:lnTo>
                      <a:pt x="1353" y="1631"/>
                    </a:lnTo>
                    <a:lnTo>
                      <a:pt x="1355" y="1631"/>
                    </a:lnTo>
                    <a:lnTo>
                      <a:pt x="1355" y="1633"/>
                    </a:lnTo>
                    <a:lnTo>
                      <a:pt x="1353" y="1633"/>
                    </a:lnTo>
                    <a:lnTo>
                      <a:pt x="1351" y="1633"/>
                    </a:lnTo>
                    <a:lnTo>
                      <a:pt x="1351" y="1635"/>
                    </a:lnTo>
                    <a:lnTo>
                      <a:pt x="1349" y="1635"/>
                    </a:lnTo>
                    <a:lnTo>
                      <a:pt x="1349" y="1633"/>
                    </a:lnTo>
                    <a:lnTo>
                      <a:pt x="1349" y="1631"/>
                    </a:lnTo>
                    <a:lnTo>
                      <a:pt x="1349" y="1633"/>
                    </a:lnTo>
                    <a:lnTo>
                      <a:pt x="1348" y="1633"/>
                    </a:lnTo>
                    <a:lnTo>
                      <a:pt x="1348" y="1635"/>
                    </a:lnTo>
                    <a:lnTo>
                      <a:pt x="1346" y="1635"/>
                    </a:lnTo>
                    <a:lnTo>
                      <a:pt x="1344" y="1635"/>
                    </a:lnTo>
                    <a:lnTo>
                      <a:pt x="1343" y="1635"/>
                    </a:lnTo>
                    <a:lnTo>
                      <a:pt x="1343" y="1636"/>
                    </a:lnTo>
                    <a:lnTo>
                      <a:pt x="1341" y="1635"/>
                    </a:lnTo>
                    <a:lnTo>
                      <a:pt x="1341" y="1636"/>
                    </a:lnTo>
                    <a:lnTo>
                      <a:pt x="1339" y="1636"/>
                    </a:lnTo>
                    <a:lnTo>
                      <a:pt x="1338" y="1636"/>
                    </a:lnTo>
                    <a:lnTo>
                      <a:pt x="1338" y="1635"/>
                    </a:lnTo>
                    <a:lnTo>
                      <a:pt x="1338" y="1636"/>
                    </a:lnTo>
                    <a:lnTo>
                      <a:pt x="1338" y="1635"/>
                    </a:lnTo>
                    <a:lnTo>
                      <a:pt x="1338" y="1636"/>
                    </a:lnTo>
                    <a:lnTo>
                      <a:pt x="1336" y="1636"/>
                    </a:lnTo>
                    <a:lnTo>
                      <a:pt x="1334" y="1636"/>
                    </a:lnTo>
                    <a:lnTo>
                      <a:pt x="1334" y="1635"/>
                    </a:lnTo>
                    <a:lnTo>
                      <a:pt x="1332" y="1633"/>
                    </a:lnTo>
                    <a:lnTo>
                      <a:pt x="1334" y="1633"/>
                    </a:lnTo>
                    <a:lnTo>
                      <a:pt x="1334" y="1631"/>
                    </a:lnTo>
                    <a:lnTo>
                      <a:pt x="1334" y="1633"/>
                    </a:lnTo>
                    <a:lnTo>
                      <a:pt x="1332" y="1631"/>
                    </a:lnTo>
                    <a:lnTo>
                      <a:pt x="1334" y="1629"/>
                    </a:lnTo>
                    <a:lnTo>
                      <a:pt x="1336" y="1629"/>
                    </a:lnTo>
                    <a:lnTo>
                      <a:pt x="1338" y="1631"/>
                    </a:lnTo>
                    <a:lnTo>
                      <a:pt x="1338" y="1629"/>
                    </a:lnTo>
                    <a:lnTo>
                      <a:pt x="1336" y="1629"/>
                    </a:lnTo>
                    <a:lnTo>
                      <a:pt x="1334" y="1628"/>
                    </a:lnTo>
                    <a:lnTo>
                      <a:pt x="1334" y="1629"/>
                    </a:lnTo>
                    <a:lnTo>
                      <a:pt x="1332" y="1628"/>
                    </a:lnTo>
                    <a:lnTo>
                      <a:pt x="1334" y="1628"/>
                    </a:lnTo>
                    <a:lnTo>
                      <a:pt x="1334" y="1626"/>
                    </a:lnTo>
                    <a:lnTo>
                      <a:pt x="1336" y="1628"/>
                    </a:lnTo>
                    <a:lnTo>
                      <a:pt x="1336" y="1626"/>
                    </a:lnTo>
                    <a:lnTo>
                      <a:pt x="1338" y="1626"/>
                    </a:lnTo>
                    <a:lnTo>
                      <a:pt x="1339" y="1628"/>
                    </a:lnTo>
                    <a:lnTo>
                      <a:pt x="1339" y="1629"/>
                    </a:lnTo>
                    <a:lnTo>
                      <a:pt x="1339" y="1631"/>
                    </a:lnTo>
                    <a:lnTo>
                      <a:pt x="1341" y="1629"/>
                    </a:lnTo>
                    <a:lnTo>
                      <a:pt x="1343" y="1629"/>
                    </a:lnTo>
                    <a:lnTo>
                      <a:pt x="1341" y="1631"/>
                    </a:lnTo>
                    <a:lnTo>
                      <a:pt x="1343" y="1631"/>
                    </a:lnTo>
                    <a:lnTo>
                      <a:pt x="1343" y="1629"/>
                    </a:lnTo>
                    <a:lnTo>
                      <a:pt x="1341" y="1629"/>
                    </a:lnTo>
                    <a:lnTo>
                      <a:pt x="1341" y="1628"/>
                    </a:lnTo>
                    <a:lnTo>
                      <a:pt x="1343" y="1629"/>
                    </a:lnTo>
                    <a:lnTo>
                      <a:pt x="1341" y="1629"/>
                    </a:lnTo>
                    <a:lnTo>
                      <a:pt x="1341" y="1628"/>
                    </a:lnTo>
                    <a:lnTo>
                      <a:pt x="1339" y="1628"/>
                    </a:lnTo>
                    <a:lnTo>
                      <a:pt x="1339" y="1626"/>
                    </a:lnTo>
                    <a:lnTo>
                      <a:pt x="1341" y="1626"/>
                    </a:lnTo>
                    <a:lnTo>
                      <a:pt x="1343" y="1626"/>
                    </a:lnTo>
                    <a:close/>
                    <a:moveTo>
                      <a:pt x="1152" y="1272"/>
                    </a:moveTo>
                    <a:lnTo>
                      <a:pt x="1152" y="1274"/>
                    </a:lnTo>
                    <a:lnTo>
                      <a:pt x="1152" y="1276"/>
                    </a:lnTo>
                    <a:lnTo>
                      <a:pt x="1151" y="1276"/>
                    </a:lnTo>
                    <a:lnTo>
                      <a:pt x="1152" y="1276"/>
                    </a:lnTo>
                    <a:lnTo>
                      <a:pt x="1152" y="1277"/>
                    </a:lnTo>
                    <a:lnTo>
                      <a:pt x="1152" y="1276"/>
                    </a:lnTo>
                    <a:lnTo>
                      <a:pt x="1152" y="1274"/>
                    </a:lnTo>
                    <a:lnTo>
                      <a:pt x="1152" y="1272"/>
                    </a:lnTo>
                    <a:lnTo>
                      <a:pt x="1154" y="1272"/>
                    </a:lnTo>
                    <a:lnTo>
                      <a:pt x="1154" y="1274"/>
                    </a:lnTo>
                    <a:lnTo>
                      <a:pt x="1154" y="1276"/>
                    </a:lnTo>
                    <a:lnTo>
                      <a:pt x="1154" y="1277"/>
                    </a:lnTo>
                    <a:lnTo>
                      <a:pt x="1152" y="1277"/>
                    </a:lnTo>
                    <a:lnTo>
                      <a:pt x="1154" y="1277"/>
                    </a:lnTo>
                    <a:lnTo>
                      <a:pt x="1154" y="1279"/>
                    </a:lnTo>
                    <a:lnTo>
                      <a:pt x="1156" y="1279"/>
                    </a:lnTo>
                    <a:lnTo>
                      <a:pt x="1154" y="1281"/>
                    </a:lnTo>
                    <a:lnTo>
                      <a:pt x="1154" y="1282"/>
                    </a:lnTo>
                    <a:lnTo>
                      <a:pt x="1154" y="1284"/>
                    </a:lnTo>
                    <a:lnTo>
                      <a:pt x="1152" y="1284"/>
                    </a:lnTo>
                    <a:lnTo>
                      <a:pt x="1152" y="1286"/>
                    </a:lnTo>
                    <a:lnTo>
                      <a:pt x="1151" y="1286"/>
                    </a:lnTo>
                    <a:lnTo>
                      <a:pt x="1151" y="1288"/>
                    </a:lnTo>
                    <a:lnTo>
                      <a:pt x="1149" y="1289"/>
                    </a:lnTo>
                    <a:lnTo>
                      <a:pt x="1149" y="1288"/>
                    </a:lnTo>
                    <a:lnTo>
                      <a:pt x="1149" y="1289"/>
                    </a:lnTo>
                    <a:lnTo>
                      <a:pt x="1147" y="1289"/>
                    </a:lnTo>
                    <a:lnTo>
                      <a:pt x="1145" y="1291"/>
                    </a:lnTo>
                    <a:lnTo>
                      <a:pt x="1144" y="1291"/>
                    </a:lnTo>
                    <a:lnTo>
                      <a:pt x="1144" y="1289"/>
                    </a:lnTo>
                    <a:lnTo>
                      <a:pt x="1142" y="1289"/>
                    </a:lnTo>
                    <a:lnTo>
                      <a:pt x="1142" y="1288"/>
                    </a:lnTo>
                    <a:lnTo>
                      <a:pt x="1142" y="1286"/>
                    </a:lnTo>
                    <a:lnTo>
                      <a:pt x="1142" y="1284"/>
                    </a:lnTo>
                    <a:lnTo>
                      <a:pt x="1144" y="1284"/>
                    </a:lnTo>
                    <a:lnTo>
                      <a:pt x="1144" y="1286"/>
                    </a:lnTo>
                    <a:lnTo>
                      <a:pt x="1145" y="1286"/>
                    </a:lnTo>
                    <a:lnTo>
                      <a:pt x="1147" y="1286"/>
                    </a:lnTo>
                    <a:lnTo>
                      <a:pt x="1147" y="1288"/>
                    </a:lnTo>
                    <a:lnTo>
                      <a:pt x="1147" y="1286"/>
                    </a:lnTo>
                    <a:lnTo>
                      <a:pt x="1149" y="1286"/>
                    </a:lnTo>
                    <a:lnTo>
                      <a:pt x="1151" y="1286"/>
                    </a:lnTo>
                    <a:lnTo>
                      <a:pt x="1151" y="1284"/>
                    </a:lnTo>
                    <a:lnTo>
                      <a:pt x="1152" y="1282"/>
                    </a:lnTo>
                    <a:lnTo>
                      <a:pt x="1154" y="1282"/>
                    </a:lnTo>
                    <a:lnTo>
                      <a:pt x="1154" y="1281"/>
                    </a:lnTo>
                    <a:lnTo>
                      <a:pt x="1152" y="1282"/>
                    </a:lnTo>
                    <a:lnTo>
                      <a:pt x="1152" y="1284"/>
                    </a:lnTo>
                    <a:lnTo>
                      <a:pt x="1151" y="1284"/>
                    </a:lnTo>
                    <a:lnTo>
                      <a:pt x="1149" y="1286"/>
                    </a:lnTo>
                    <a:lnTo>
                      <a:pt x="1147" y="1286"/>
                    </a:lnTo>
                    <a:lnTo>
                      <a:pt x="1145" y="1286"/>
                    </a:lnTo>
                    <a:lnTo>
                      <a:pt x="1144" y="1286"/>
                    </a:lnTo>
                    <a:lnTo>
                      <a:pt x="1144" y="1284"/>
                    </a:lnTo>
                    <a:lnTo>
                      <a:pt x="1144" y="1282"/>
                    </a:lnTo>
                    <a:lnTo>
                      <a:pt x="1145" y="1282"/>
                    </a:lnTo>
                    <a:lnTo>
                      <a:pt x="1145" y="1284"/>
                    </a:lnTo>
                    <a:lnTo>
                      <a:pt x="1147" y="1284"/>
                    </a:lnTo>
                    <a:lnTo>
                      <a:pt x="1149" y="1284"/>
                    </a:lnTo>
                    <a:lnTo>
                      <a:pt x="1147" y="1282"/>
                    </a:lnTo>
                    <a:lnTo>
                      <a:pt x="1149" y="1282"/>
                    </a:lnTo>
                    <a:lnTo>
                      <a:pt x="1151" y="1282"/>
                    </a:lnTo>
                    <a:lnTo>
                      <a:pt x="1151" y="1281"/>
                    </a:lnTo>
                    <a:lnTo>
                      <a:pt x="1152" y="1281"/>
                    </a:lnTo>
                    <a:lnTo>
                      <a:pt x="1151" y="1281"/>
                    </a:lnTo>
                    <a:lnTo>
                      <a:pt x="1149" y="1282"/>
                    </a:lnTo>
                    <a:lnTo>
                      <a:pt x="1147" y="1282"/>
                    </a:lnTo>
                    <a:lnTo>
                      <a:pt x="1145" y="1282"/>
                    </a:lnTo>
                    <a:lnTo>
                      <a:pt x="1147" y="1282"/>
                    </a:lnTo>
                    <a:lnTo>
                      <a:pt x="1147" y="1281"/>
                    </a:lnTo>
                    <a:lnTo>
                      <a:pt x="1149" y="1281"/>
                    </a:lnTo>
                    <a:lnTo>
                      <a:pt x="1151" y="1279"/>
                    </a:lnTo>
                    <a:lnTo>
                      <a:pt x="1152" y="1277"/>
                    </a:lnTo>
                    <a:lnTo>
                      <a:pt x="1151" y="1279"/>
                    </a:lnTo>
                    <a:lnTo>
                      <a:pt x="1149" y="1279"/>
                    </a:lnTo>
                    <a:lnTo>
                      <a:pt x="1149" y="1281"/>
                    </a:lnTo>
                    <a:lnTo>
                      <a:pt x="1147" y="1281"/>
                    </a:lnTo>
                    <a:lnTo>
                      <a:pt x="1147" y="1282"/>
                    </a:lnTo>
                    <a:lnTo>
                      <a:pt x="1145" y="1282"/>
                    </a:lnTo>
                    <a:lnTo>
                      <a:pt x="1144" y="1282"/>
                    </a:lnTo>
                    <a:lnTo>
                      <a:pt x="1145" y="1281"/>
                    </a:lnTo>
                    <a:lnTo>
                      <a:pt x="1144" y="1281"/>
                    </a:lnTo>
                    <a:lnTo>
                      <a:pt x="1144" y="1282"/>
                    </a:lnTo>
                    <a:lnTo>
                      <a:pt x="1142" y="1282"/>
                    </a:lnTo>
                    <a:lnTo>
                      <a:pt x="1144" y="1281"/>
                    </a:lnTo>
                    <a:lnTo>
                      <a:pt x="1142" y="1281"/>
                    </a:lnTo>
                    <a:lnTo>
                      <a:pt x="1142" y="1279"/>
                    </a:lnTo>
                    <a:lnTo>
                      <a:pt x="1144" y="1279"/>
                    </a:lnTo>
                    <a:lnTo>
                      <a:pt x="1142" y="1277"/>
                    </a:lnTo>
                    <a:lnTo>
                      <a:pt x="1144" y="1276"/>
                    </a:lnTo>
                    <a:lnTo>
                      <a:pt x="1142" y="1276"/>
                    </a:lnTo>
                    <a:lnTo>
                      <a:pt x="1142" y="1274"/>
                    </a:lnTo>
                    <a:lnTo>
                      <a:pt x="1144" y="1274"/>
                    </a:lnTo>
                    <a:lnTo>
                      <a:pt x="1144" y="1272"/>
                    </a:lnTo>
                    <a:lnTo>
                      <a:pt x="1145" y="1272"/>
                    </a:lnTo>
                    <a:lnTo>
                      <a:pt x="1145" y="1274"/>
                    </a:lnTo>
                    <a:lnTo>
                      <a:pt x="1147" y="1274"/>
                    </a:lnTo>
                    <a:lnTo>
                      <a:pt x="1147" y="1276"/>
                    </a:lnTo>
                    <a:lnTo>
                      <a:pt x="1147" y="1274"/>
                    </a:lnTo>
                    <a:lnTo>
                      <a:pt x="1149" y="1274"/>
                    </a:lnTo>
                    <a:lnTo>
                      <a:pt x="1147" y="1274"/>
                    </a:lnTo>
                    <a:lnTo>
                      <a:pt x="1149" y="1274"/>
                    </a:lnTo>
                    <a:lnTo>
                      <a:pt x="1151" y="1272"/>
                    </a:lnTo>
                    <a:lnTo>
                      <a:pt x="1151" y="1274"/>
                    </a:lnTo>
                    <a:lnTo>
                      <a:pt x="1151" y="1276"/>
                    </a:lnTo>
                    <a:lnTo>
                      <a:pt x="1151" y="1274"/>
                    </a:lnTo>
                    <a:lnTo>
                      <a:pt x="1151" y="1272"/>
                    </a:lnTo>
                    <a:lnTo>
                      <a:pt x="1152" y="1272"/>
                    </a:lnTo>
                    <a:close/>
                    <a:moveTo>
                      <a:pt x="1195" y="1240"/>
                    </a:moveTo>
                    <a:lnTo>
                      <a:pt x="1195" y="1242"/>
                    </a:lnTo>
                    <a:lnTo>
                      <a:pt x="1196" y="1242"/>
                    </a:lnTo>
                    <a:lnTo>
                      <a:pt x="1196" y="1243"/>
                    </a:lnTo>
                    <a:lnTo>
                      <a:pt x="1198" y="1243"/>
                    </a:lnTo>
                    <a:lnTo>
                      <a:pt x="1200" y="1243"/>
                    </a:lnTo>
                    <a:lnTo>
                      <a:pt x="1202" y="1245"/>
                    </a:lnTo>
                    <a:lnTo>
                      <a:pt x="1202" y="1243"/>
                    </a:lnTo>
                    <a:lnTo>
                      <a:pt x="1203" y="1243"/>
                    </a:lnTo>
                    <a:lnTo>
                      <a:pt x="1205" y="1245"/>
                    </a:lnTo>
                    <a:lnTo>
                      <a:pt x="1203" y="1247"/>
                    </a:lnTo>
                    <a:lnTo>
                      <a:pt x="1203" y="1248"/>
                    </a:lnTo>
                    <a:lnTo>
                      <a:pt x="1202" y="1248"/>
                    </a:lnTo>
                    <a:lnTo>
                      <a:pt x="1200" y="1248"/>
                    </a:lnTo>
                    <a:lnTo>
                      <a:pt x="1202" y="1247"/>
                    </a:lnTo>
                    <a:lnTo>
                      <a:pt x="1200" y="1247"/>
                    </a:lnTo>
                    <a:lnTo>
                      <a:pt x="1198" y="1248"/>
                    </a:lnTo>
                    <a:lnTo>
                      <a:pt x="1196" y="1248"/>
                    </a:lnTo>
                    <a:lnTo>
                      <a:pt x="1195" y="1248"/>
                    </a:lnTo>
                    <a:lnTo>
                      <a:pt x="1193" y="1248"/>
                    </a:lnTo>
                    <a:lnTo>
                      <a:pt x="1191" y="1248"/>
                    </a:lnTo>
                    <a:lnTo>
                      <a:pt x="1190" y="1250"/>
                    </a:lnTo>
                    <a:lnTo>
                      <a:pt x="1190" y="1248"/>
                    </a:lnTo>
                    <a:lnTo>
                      <a:pt x="1188" y="1250"/>
                    </a:lnTo>
                    <a:lnTo>
                      <a:pt x="1186" y="1250"/>
                    </a:lnTo>
                    <a:lnTo>
                      <a:pt x="1186" y="1248"/>
                    </a:lnTo>
                    <a:lnTo>
                      <a:pt x="1186" y="1247"/>
                    </a:lnTo>
                    <a:lnTo>
                      <a:pt x="1185" y="1247"/>
                    </a:lnTo>
                    <a:lnTo>
                      <a:pt x="1185" y="1248"/>
                    </a:lnTo>
                    <a:lnTo>
                      <a:pt x="1185" y="1247"/>
                    </a:lnTo>
                    <a:lnTo>
                      <a:pt x="1183" y="1247"/>
                    </a:lnTo>
                    <a:lnTo>
                      <a:pt x="1181" y="1247"/>
                    </a:lnTo>
                    <a:lnTo>
                      <a:pt x="1181" y="1245"/>
                    </a:lnTo>
                    <a:lnTo>
                      <a:pt x="1183" y="1245"/>
                    </a:lnTo>
                    <a:lnTo>
                      <a:pt x="1185" y="1247"/>
                    </a:lnTo>
                    <a:lnTo>
                      <a:pt x="1185" y="1245"/>
                    </a:lnTo>
                    <a:lnTo>
                      <a:pt x="1183" y="1245"/>
                    </a:lnTo>
                    <a:lnTo>
                      <a:pt x="1183" y="1243"/>
                    </a:lnTo>
                    <a:lnTo>
                      <a:pt x="1185" y="1243"/>
                    </a:lnTo>
                    <a:lnTo>
                      <a:pt x="1185" y="1242"/>
                    </a:lnTo>
                    <a:lnTo>
                      <a:pt x="1186" y="1242"/>
                    </a:lnTo>
                    <a:lnTo>
                      <a:pt x="1186" y="1243"/>
                    </a:lnTo>
                    <a:lnTo>
                      <a:pt x="1188" y="1243"/>
                    </a:lnTo>
                    <a:lnTo>
                      <a:pt x="1188" y="1245"/>
                    </a:lnTo>
                    <a:lnTo>
                      <a:pt x="1190" y="1245"/>
                    </a:lnTo>
                    <a:lnTo>
                      <a:pt x="1191" y="1245"/>
                    </a:lnTo>
                    <a:lnTo>
                      <a:pt x="1190" y="1245"/>
                    </a:lnTo>
                    <a:lnTo>
                      <a:pt x="1190" y="1243"/>
                    </a:lnTo>
                    <a:lnTo>
                      <a:pt x="1188" y="1243"/>
                    </a:lnTo>
                    <a:lnTo>
                      <a:pt x="1188" y="1242"/>
                    </a:lnTo>
                    <a:lnTo>
                      <a:pt x="1186" y="1242"/>
                    </a:lnTo>
                    <a:lnTo>
                      <a:pt x="1188" y="1240"/>
                    </a:lnTo>
                    <a:lnTo>
                      <a:pt x="1190" y="1242"/>
                    </a:lnTo>
                    <a:lnTo>
                      <a:pt x="1190" y="1240"/>
                    </a:lnTo>
                    <a:lnTo>
                      <a:pt x="1191" y="1242"/>
                    </a:lnTo>
                    <a:lnTo>
                      <a:pt x="1193" y="1242"/>
                    </a:lnTo>
                    <a:lnTo>
                      <a:pt x="1195" y="1242"/>
                    </a:lnTo>
                    <a:lnTo>
                      <a:pt x="1195" y="1243"/>
                    </a:lnTo>
                    <a:lnTo>
                      <a:pt x="1196" y="1243"/>
                    </a:lnTo>
                    <a:lnTo>
                      <a:pt x="1195" y="1242"/>
                    </a:lnTo>
                    <a:lnTo>
                      <a:pt x="1193" y="1242"/>
                    </a:lnTo>
                    <a:lnTo>
                      <a:pt x="1191" y="1242"/>
                    </a:lnTo>
                    <a:lnTo>
                      <a:pt x="1191" y="1240"/>
                    </a:lnTo>
                    <a:lnTo>
                      <a:pt x="1193" y="1240"/>
                    </a:lnTo>
                    <a:lnTo>
                      <a:pt x="1195" y="1240"/>
                    </a:lnTo>
                    <a:close/>
                    <a:moveTo>
                      <a:pt x="1147" y="1333"/>
                    </a:moveTo>
                    <a:lnTo>
                      <a:pt x="1149" y="1333"/>
                    </a:lnTo>
                    <a:lnTo>
                      <a:pt x="1151" y="1333"/>
                    </a:lnTo>
                    <a:lnTo>
                      <a:pt x="1151" y="1335"/>
                    </a:lnTo>
                    <a:lnTo>
                      <a:pt x="1151" y="1333"/>
                    </a:lnTo>
                    <a:lnTo>
                      <a:pt x="1151" y="1332"/>
                    </a:lnTo>
                    <a:lnTo>
                      <a:pt x="1152" y="1333"/>
                    </a:lnTo>
                    <a:lnTo>
                      <a:pt x="1152" y="1335"/>
                    </a:lnTo>
                    <a:lnTo>
                      <a:pt x="1154" y="1337"/>
                    </a:lnTo>
                    <a:lnTo>
                      <a:pt x="1152" y="1337"/>
                    </a:lnTo>
                    <a:lnTo>
                      <a:pt x="1152" y="1339"/>
                    </a:lnTo>
                    <a:lnTo>
                      <a:pt x="1152" y="1337"/>
                    </a:lnTo>
                    <a:lnTo>
                      <a:pt x="1154" y="1339"/>
                    </a:lnTo>
                    <a:lnTo>
                      <a:pt x="1154" y="1340"/>
                    </a:lnTo>
                    <a:lnTo>
                      <a:pt x="1156" y="1342"/>
                    </a:lnTo>
                    <a:lnTo>
                      <a:pt x="1156" y="1344"/>
                    </a:lnTo>
                    <a:lnTo>
                      <a:pt x="1156" y="1345"/>
                    </a:lnTo>
                    <a:lnTo>
                      <a:pt x="1157" y="1345"/>
                    </a:lnTo>
                    <a:lnTo>
                      <a:pt x="1157" y="1347"/>
                    </a:lnTo>
                    <a:lnTo>
                      <a:pt x="1157" y="1349"/>
                    </a:lnTo>
                    <a:lnTo>
                      <a:pt x="1156" y="1349"/>
                    </a:lnTo>
                    <a:lnTo>
                      <a:pt x="1157" y="1349"/>
                    </a:lnTo>
                    <a:lnTo>
                      <a:pt x="1156" y="1349"/>
                    </a:lnTo>
                    <a:lnTo>
                      <a:pt x="1156" y="1347"/>
                    </a:lnTo>
                    <a:lnTo>
                      <a:pt x="1154" y="1347"/>
                    </a:lnTo>
                    <a:lnTo>
                      <a:pt x="1154" y="1345"/>
                    </a:lnTo>
                    <a:lnTo>
                      <a:pt x="1152" y="1345"/>
                    </a:lnTo>
                    <a:lnTo>
                      <a:pt x="1154" y="1345"/>
                    </a:lnTo>
                    <a:lnTo>
                      <a:pt x="1154" y="1347"/>
                    </a:lnTo>
                    <a:lnTo>
                      <a:pt x="1154" y="1349"/>
                    </a:lnTo>
                    <a:lnTo>
                      <a:pt x="1152" y="1349"/>
                    </a:lnTo>
                    <a:lnTo>
                      <a:pt x="1151" y="1347"/>
                    </a:lnTo>
                    <a:lnTo>
                      <a:pt x="1151" y="1345"/>
                    </a:lnTo>
                    <a:lnTo>
                      <a:pt x="1149" y="1345"/>
                    </a:lnTo>
                    <a:lnTo>
                      <a:pt x="1149" y="1344"/>
                    </a:lnTo>
                    <a:lnTo>
                      <a:pt x="1151" y="1344"/>
                    </a:lnTo>
                    <a:lnTo>
                      <a:pt x="1151" y="1342"/>
                    </a:lnTo>
                    <a:lnTo>
                      <a:pt x="1152" y="1342"/>
                    </a:lnTo>
                    <a:lnTo>
                      <a:pt x="1151" y="1342"/>
                    </a:lnTo>
                    <a:lnTo>
                      <a:pt x="1151" y="1340"/>
                    </a:lnTo>
                    <a:lnTo>
                      <a:pt x="1151" y="1339"/>
                    </a:lnTo>
                    <a:lnTo>
                      <a:pt x="1151" y="1340"/>
                    </a:lnTo>
                    <a:lnTo>
                      <a:pt x="1149" y="1342"/>
                    </a:lnTo>
                    <a:lnTo>
                      <a:pt x="1147" y="1342"/>
                    </a:lnTo>
                    <a:lnTo>
                      <a:pt x="1147" y="1344"/>
                    </a:lnTo>
                    <a:lnTo>
                      <a:pt x="1145" y="1344"/>
                    </a:lnTo>
                    <a:lnTo>
                      <a:pt x="1144" y="1344"/>
                    </a:lnTo>
                    <a:lnTo>
                      <a:pt x="1144" y="1345"/>
                    </a:lnTo>
                    <a:lnTo>
                      <a:pt x="1144" y="1347"/>
                    </a:lnTo>
                    <a:lnTo>
                      <a:pt x="1142" y="1347"/>
                    </a:lnTo>
                    <a:lnTo>
                      <a:pt x="1142" y="1345"/>
                    </a:lnTo>
                    <a:lnTo>
                      <a:pt x="1142" y="1344"/>
                    </a:lnTo>
                    <a:lnTo>
                      <a:pt x="1140" y="1344"/>
                    </a:lnTo>
                    <a:lnTo>
                      <a:pt x="1140" y="1342"/>
                    </a:lnTo>
                    <a:lnTo>
                      <a:pt x="1142" y="1342"/>
                    </a:lnTo>
                    <a:lnTo>
                      <a:pt x="1144" y="1340"/>
                    </a:lnTo>
                    <a:lnTo>
                      <a:pt x="1145" y="1340"/>
                    </a:lnTo>
                    <a:lnTo>
                      <a:pt x="1145" y="1339"/>
                    </a:lnTo>
                    <a:lnTo>
                      <a:pt x="1145" y="1340"/>
                    </a:lnTo>
                    <a:lnTo>
                      <a:pt x="1145" y="1339"/>
                    </a:lnTo>
                    <a:lnTo>
                      <a:pt x="1144" y="1339"/>
                    </a:lnTo>
                    <a:lnTo>
                      <a:pt x="1144" y="1337"/>
                    </a:lnTo>
                    <a:lnTo>
                      <a:pt x="1142" y="1337"/>
                    </a:lnTo>
                    <a:lnTo>
                      <a:pt x="1144" y="1337"/>
                    </a:lnTo>
                    <a:lnTo>
                      <a:pt x="1142" y="1335"/>
                    </a:lnTo>
                    <a:lnTo>
                      <a:pt x="1144" y="1335"/>
                    </a:lnTo>
                    <a:lnTo>
                      <a:pt x="1144" y="1333"/>
                    </a:lnTo>
                    <a:lnTo>
                      <a:pt x="1145" y="1333"/>
                    </a:lnTo>
                    <a:lnTo>
                      <a:pt x="1147" y="1333"/>
                    </a:lnTo>
                    <a:lnTo>
                      <a:pt x="1147" y="1335"/>
                    </a:lnTo>
                    <a:lnTo>
                      <a:pt x="1147" y="1333"/>
                    </a:lnTo>
                    <a:lnTo>
                      <a:pt x="1147" y="1332"/>
                    </a:lnTo>
                    <a:lnTo>
                      <a:pt x="1147" y="1333"/>
                    </a:lnTo>
                    <a:close/>
                    <a:moveTo>
                      <a:pt x="1193" y="1085"/>
                    </a:moveTo>
                    <a:lnTo>
                      <a:pt x="1195" y="1085"/>
                    </a:lnTo>
                    <a:lnTo>
                      <a:pt x="1196" y="1085"/>
                    </a:lnTo>
                    <a:lnTo>
                      <a:pt x="1195" y="1085"/>
                    </a:lnTo>
                    <a:lnTo>
                      <a:pt x="1196" y="1085"/>
                    </a:lnTo>
                    <a:lnTo>
                      <a:pt x="1198" y="1085"/>
                    </a:lnTo>
                    <a:lnTo>
                      <a:pt x="1200" y="1087"/>
                    </a:lnTo>
                    <a:lnTo>
                      <a:pt x="1202" y="1088"/>
                    </a:lnTo>
                    <a:lnTo>
                      <a:pt x="1200" y="1088"/>
                    </a:lnTo>
                    <a:lnTo>
                      <a:pt x="1202" y="1088"/>
                    </a:lnTo>
                    <a:lnTo>
                      <a:pt x="1202" y="1090"/>
                    </a:lnTo>
                    <a:lnTo>
                      <a:pt x="1200" y="1090"/>
                    </a:lnTo>
                    <a:lnTo>
                      <a:pt x="1198" y="1090"/>
                    </a:lnTo>
                    <a:lnTo>
                      <a:pt x="1196" y="1090"/>
                    </a:lnTo>
                    <a:lnTo>
                      <a:pt x="1196" y="1088"/>
                    </a:lnTo>
                    <a:lnTo>
                      <a:pt x="1198" y="1088"/>
                    </a:lnTo>
                    <a:lnTo>
                      <a:pt x="1196" y="1088"/>
                    </a:lnTo>
                    <a:lnTo>
                      <a:pt x="1196" y="1090"/>
                    </a:lnTo>
                    <a:lnTo>
                      <a:pt x="1196" y="1092"/>
                    </a:lnTo>
                    <a:lnTo>
                      <a:pt x="1195" y="1092"/>
                    </a:lnTo>
                    <a:lnTo>
                      <a:pt x="1195" y="1094"/>
                    </a:lnTo>
                    <a:lnTo>
                      <a:pt x="1193" y="1094"/>
                    </a:lnTo>
                    <a:lnTo>
                      <a:pt x="1191" y="1094"/>
                    </a:lnTo>
                    <a:lnTo>
                      <a:pt x="1190" y="1094"/>
                    </a:lnTo>
                    <a:lnTo>
                      <a:pt x="1190" y="1095"/>
                    </a:lnTo>
                    <a:lnTo>
                      <a:pt x="1188" y="1095"/>
                    </a:lnTo>
                    <a:lnTo>
                      <a:pt x="1186" y="1095"/>
                    </a:lnTo>
                    <a:lnTo>
                      <a:pt x="1185" y="1094"/>
                    </a:lnTo>
                    <a:lnTo>
                      <a:pt x="1185" y="1092"/>
                    </a:lnTo>
                    <a:lnTo>
                      <a:pt x="1185" y="1090"/>
                    </a:lnTo>
                    <a:lnTo>
                      <a:pt x="1186" y="1090"/>
                    </a:lnTo>
                    <a:lnTo>
                      <a:pt x="1188" y="1090"/>
                    </a:lnTo>
                    <a:lnTo>
                      <a:pt x="1188" y="1092"/>
                    </a:lnTo>
                    <a:lnTo>
                      <a:pt x="1190" y="1090"/>
                    </a:lnTo>
                    <a:lnTo>
                      <a:pt x="1188" y="1092"/>
                    </a:lnTo>
                    <a:lnTo>
                      <a:pt x="1190" y="1092"/>
                    </a:lnTo>
                    <a:lnTo>
                      <a:pt x="1191" y="1092"/>
                    </a:lnTo>
                    <a:lnTo>
                      <a:pt x="1193" y="1092"/>
                    </a:lnTo>
                    <a:lnTo>
                      <a:pt x="1191" y="1092"/>
                    </a:lnTo>
                    <a:lnTo>
                      <a:pt x="1190" y="1092"/>
                    </a:lnTo>
                    <a:lnTo>
                      <a:pt x="1190" y="1090"/>
                    </a:lnTo>
                    <a:lnTo>
                      <a:pt x="1188" y="1090"/>
                    </a:lnTo>
                    <a:lnTo>
                      <a:pt x="1186" y="1090"/>
                    </a:lnTo>
                    <a:lnTo>
                      <a:pt x="1185" y="1090"/>
                    </a:lnTo>
                    <a:lnTo>
                      <a:pt x="1183" y="1090"/>
                    </a:lnTo>
                    <a:lnTo>
                      <a:pt x="1183" y="1088"/>
                    </a:lnTo>
                    <a:lnTo>
                      <a:pt x="1183" y="1087"/>
                    </a:lnTo>
                    <a:lnTo>
                      <a:pt x="1185" y="1087"/>
                    </a:lnTo>
                    <a:lnTo>
                      <a:pt x="1186" y="1087"/>
                    </a:lnTo>
                    <a:lnTo>
                      <a:pt x="1186" y="1085"/>
                    </a:lnTo>
                    <a:lnTo>
                      <a:pt x="1188" y="1085"/>
                    </a:lnTo>
                    <a:lnTo>
                      <a:pt x="1190" y="1085"/>
                    </a:lnTo>
                    <a:lnTo>
                      <a:pt x="1191" y="1085"/>
                    </a:lnTo>
                    <a:lnTo>
                      <a:pt x="1193" y="1085"/>
                    </a:lnTo>
                    <a:close/>
                    <a:moveTo>
                      <a:pt x="1176" y="1418"/>
                    </a:moveTo>
                    <a:lnTo>
                      <a:pt x="1178" y="1418"/>
                    </a:lnTo>
                    <a:lnTo>
                      <a:pt x="1178" y="1420"/>
                    </a:lnTo>
                    <a:lnTo>
                      <a:pt x="1179" y="1422"/>
                    </a:lnTo>
                    <a:lnTo>
                      <a:pt x="1179" y="1424"/>
                    </a:lnTo>
                    <a:lnTo>
                      <a:pt x="1178" y="1424"/>
                    </a:lnTo>
                    <a:lnTo>
                      <a:pt x="1178" y="1422"/>
                    </a:lnTo>
                    <a:lnTo>
                      <a:pt x="1179" y="1422"/>
                    </a:lnTo>
                    <a:lnTo>
                      <a:pt x="1178" y="1420"/>
                    </a:lnTo>
                    <a:lnTo>
                      <a:pt x="1178" y="1422"/>
                    </a:lnTo>
                    <a:lnTo>
                      <a:pt x="1178" y="1424"/>
                    </a:lnTo>
                    <a:lnTo>
                      <a:pt x="1178" y="1425"/>
                    </a:lnTo>
                    <a:lnTo>
                      <a:pt x="1178" y="1424"/>
                    </a:lnTo>
                    <a:lnTo>
                      <a:pt x="1176" y="1422"/>
                    </a:lnTo>
                    <a:lnTo>
                      <a:pt x="1174" y="1422"/>
                    </a:lnTo>
                    <a:lnTo>
                      <a:pt x="1174" y="1420"/>
                    </a:lnTo>
                    <a:lnTo>
                      <a:pt x="1174" y="1422"/>
                    </a:lnTo>
                    <a:lnTo>
                      <a:pt x="1176" y="1422"/>
                    </a:lnTo>
                    <a:lnTo>
                      <a:pt x="1176" y="1424"/>
                    </a:lnTo>
                    <a:lnTo>
                      <a:pt x="1178" y="1424"/>
                    </a:lnTo>
                    <a:lnTo>
                      <a:pt x="1176" y="1425"/>
                    </a:lnTo>
                    <a:lnTo>
                      <a:pt x="1178" y="1425"/>
                    </a:lnTo>
                    <a:lnTo>
                      <a:pt x="1178" y="1427"/>
                    </a:lnTo>
                    <a:lnTo>
                      <a:pt x="1178" y="1425"/>
                    </a:lnTo>
                    <a:lnTo>
                      <a:pt x="1178" y="1427"/>
                    </a:lnTo>
                    <a:lnTo>
                      <a:pt x="1178" y="1429"/>
                    </a:lnTo>
                    <a:lnTo>
                      <a:pt x="1176" y="1429"/>
                    </a:lnTo>
                    <a:lnTo>
                      <a:pt x="1176" y="1430"/>
                    </a:lnTo>
                    <a:lnTo>
                      <a:pt x="1176" y="1429"/>
                    </a:lnTo>
                    <a:lnTo>
                      <a:pt x="1174" y="1429"/>
                    </a:lnTo>
                    <a:lnTo>
                      <a:pt x="1176" y="1427"/>
                    </a:lnTo>
                    <a:lnTo>
                      <a:pt x="1174" y="1427"/>
                    </a:lnTo>
                    <a:lnTo>
                      <a:pt x="1174" y="1425"/>
                    </a:lnTo>
                    <a:lnTo>
                      <a:pt x="1174" y="1424"/>
                    </a:lnTo>
                    <a:lnTo>
                      <a:pt x="1173" y="1425"/>
                    </a:lnTo>
                    <a:lnTo>
                      <a:pt x="1173" y="1424"/>
                    </a:lnTo>
                    <a:lnTo>
                      <a:pt x="1171" y="1424"/>
                    </a:lnTo>
                    <a:lnTo>
                      <a:pt x="1173" y="1425"/>
                    </a:lnTo>
                    <a:lnTo>
                      <a:pt x="1173" y="1427"/>
                    </a:lnTo>
                    <a:lnTo>
                      <a:pt x="1171" y="1429"/>
                    </a:lnTo>
                    <a:lnTo>
                      <a:pt x="1171" y="1427"/>
                    </a:lnTo>
                    <a:lnTo>
                      <a:pt x="1171" y="1429"/>
                    </a:lnTo>
                    <a:lnTo>
                      <a:pt x="1171" y="1430"/>
                    </a:lnTo>
                    <a:lnTo>
                      <a:pt x="1171" y="1429"/>
                    </a:lnTo>
                    <a:lnTo>
                      <a:pt x="1169" y="1429"/>
                    </a:lnTo>
                    <a:lnTo>
                      <a:pt x="1169" y="1430"/>
                    </a:lnTo>
                    <a:lnTo>
                      <a:pt x="1171" y="1430"/>
                    </a:lnTo>
                    <a:lnTo>
                      <a:pt x="1169" y="1432"/>
                    </a:lnTo>
                    <a:lnTo>
                      <a:pt x="1168" y="1432"/>
                    </a:lnTo>
                    <a:lnTo>
                      <a:pt x="1168" y="1430"/>
                    </a:lnTo>
                    <a:lnTo>
                      <a:pt x="1168" y="1432"/>
                    </a:lnTo>
                    <a:lnTo>
                      <a:pt x="1166" y="1432"/>
                    </a:lnTo>
                    <a:lnTo>
                      <a:pt x="1168" y="1432"/>
                    </a:lnTo>
                    <a:lnTo>
                      <a:pt x="1166" y="1432"/>
                    </a:lnTo>
                    <a:lnTo>
                      <a:pt x="1166" y="1430"/>
                    </a:lnTo>
                    <a:lnTo>
                      <a:pt x="1166" y="1432"/>
                    </a:lnTo>
                    <a:lnTo>
                      <a:pt x="1164" y="1432"/>
                    </a:lnTo>
                    <a:lnTo>
                      <a:pt x="1164" y="1430"/>
                    </a:lnTo>
                    <a:lnTo>
                      <a:pt x="1164" y="1432"/>
                    </a:lnTo>
                    <a:lnTo>
                      <a:pt x="1164" y="1434"/>
                    </a:lnTo>
                    <a:lnTo>
                      <a:pt x="1162" y="1434"/>
                    </a:lnTo>
                    <a:lnTo>
                      <a:pt x="1161" y="1434"/>
                    </a:lnTo>
                    <a:lnTo>
                      <a:pt x="1162" y="1432"/>
                    </a:lnTo>
                    <a:lnTo>
                      <a:pt x="1161" y="1432"/>
                    </a:lnTo>
                    <a:lnTo>
                      <a:pt x="1162" y="1432"/>
                    </a:lnTo>
                    <a:lnTo>
                      <a:pt x="1161" y="1430"/>
                    </a:lnTo>
                    <a:lnTo>
                      <a:pt x="1162" y="1430"/>
                    </a:lnTo>
                    <a:lnTo>
                      <a:pt x="1164" y="1430"/>
                    </a:lnTo>
                    <a:lnTo>
                      <a:pt x="1164" y="1429"/>
                    </a:lnTo>
                    <a:lnTo>
                      <a:pt x="1166" y="1429"/>
                    </a:lnTo>
                    <a:lnTo>
                      <a:pt x="1168" y="1427"/>
                    </a:lnTo>
                    <a:lnTo>
                      <a:pt x="1169" y="1425"/>
                    </a:lnTo>
                    <a:lnTo>
                      <a:pt x="1168" y="1425"/>
                    </a:lnTo>
                    <a:lnTo>
                      <a:pt x="1168" y="1427"/>
                    </a:lnTo>
                    <a:lnTo>
                      <a:pt x="1168" y="1425"/>
                    </a:lnTo>
                    <a:lnTo>
                      <a:pt x="1168" y="1427"/>
                    </a:lnTo>
                    <a:lnTo>
                      <a:pt x="1166" y="1427"/>
                    </a:lnTo>
                    <a:lnTo>
                      <a:pt x="1164" y="1429"/>
                    </a:lnTo>
                    <a:lnTo>
                      <a:pt x="1164" y="1427"/>
                    </a:lnTo>
                    <a:lnTo>
                      <a:pt x="1162" y="1425"/>
                    </a:lnTo>
                    <a:lnTo>
                      <a:pt x="1164" y="1425"/>
                    </a:lnTo>
                    <a:lnTo>
                      <a:pt x="1164" y="1424"/>
                    </a:lnTo>
                    <a:lnTo>
                      <a:pt x="1166" y="1424"/>
                    </a:lnTo>
                    <a:lnTo>
                      <a:pt x="1166" y="1422"/>
                    </a:lnTo>
                    <a:lnTo>
                      <a:pt x="1168" y="1422"/>
                    </a:lnTo>
                    <a:lnTo>
                      <a:pt x="1168" y="1424"/>
                    </a:lnTo>
                    <a:lnTo>
                      <a:pt x="1168" y="1422"/>
                    </a:lnTo>
                    <a:lnTo>
                      <a:pt x="1168" y="1424"/>
                    </a:lnTo>
                    <a:lnTo>
                      <a:pt x="1168" y="1422"/>
                    </a:lnTo>
                    <a:lnTo>
                      <a:pt x="1169" y="1424"/>
                    </a:lnTo>
                    <a:lnTo>
                      <a:pt x="1169" y="1422"/>
                    </a:lnTo>
                    <a:lnTo>
                      <a:pt x="1168" y="1422"/>
                    </a:lnTo>
                    <a:lnTo>
                      <a:pt x="1168" y="1420"/>
                    </a:lnTo>
                    <a:lnTo>
                      <a:pt x="1169" y="1420"/>
                    </a:lnTo>
                    <a:lnTo>
                      <a:pt x="1171" y="1420"/>
                    </a:lnTo>
                    <a:lnTo>
                      <a:pt x="1169" y="1420"/>
                    </a:lnTo>
                    <a:lnTo>
                      <a:pt x="1169" y="1418"/>
                    </a:lnTo>
                    <a:lnTo>
                      <a:pt x="1171" y="1418"/>
                    </a:lnTo>
                    <a:lnTo>
                      <a:pt x="1171" y="1420"/>
                    </a:lnTo>
                    <a:lnTo>
                      <a:pt x="1171" y="1418"/>
                    </a:lnTo>
                    <a:lnTo>
                      <a:pt x="1173" y="1418"/>
                    </a:lnTo>
                    <a:lnTo>
                      <a:pt x="1174" y="1418"/>
                    </a:lnTo>
                    <a:lnTo>
                      <a:pt x="1176" y="1418"/>
                    </a:lnTo>
                    <a:close/>
                    <a:moveTo>
                      <a:pt x="1151" y="1379"/>
                    </a:moveTo>
                    <a:lnTo>
                      <a:pt x="1151" y="1381"/>
                    </a:lnTo>
                    <a:lnTo>
                      <a:pt x="1151" y="1379"/>
                    </a:lnTo>
                    <a:lnTo>
                      <a:pt x="1152" y="1379"/>
                    </a:lnTo>
                    <a:lnTo>
                      <a:pt x="1154" y="1379"/>
                    </a:lnTo>
                    <a:lnTo>
                      <a:pt x="1152" y="1381"/>
                    </a:lnTo>
                    <a:lnTo>
                      <a:pt x="1152" y="1383"/>
                    </a:lnTo>
                    <a:lnTo>
                      <a:pt x="1152" y="1381"/>
                    </a:lnTo>
                    <a:lnTo>
                      <a:pt x="1154" y="1381"/>
                    </a:lnTo>
                    <a:lnTo>
                      <a:pt x="1156" y="1381"/>
                    </a:lnTo>
                    <a:lnTo>
                      <a:pt x="1157" y="1381"/>
                    </a:lnTo>
                    <a:lnTo>
                      <a:pt x="1159" y="1381"/>
                    </a:lnTo>
                    <a:lnTo>
                      <a:pt x="1161" y="1381"/>
                    </a:lnTo>
                    <a:lnTo>
                      <a:pt x="1161" y="1383"/>
                    </a:lnTo>
                    <a:lnTo>
                      <a:pt x="1159" y="1383"/>
                    </a:lnTo>
                    <a:lnTo>
                      <a:pt x="1157" y="1384"/>
                    </a:lnTo>
                    <a:lnTo>
                      <a:pt x="1157" y="1383"/>
                    </a:lnTo>
                    <a:lnTo>
                      <a:pt x="1157" y="1384"/>
                    </a:lnTo>
                    <a:lnTo>
                      <a:pt x="1156" y="1384"/>
                    </a:lnTo>
                    <a:lnTo>
                      <a:pt x="1157" y="1386"/>
                    </a:lnTo>
                    <a:lnTo>
                      <a:pt x="1156" y="1386"/>
                    </a:lnTo>
                    <a:lnTo>
                      <a:pt x="1156" y="1388"/>
                    </a:lnTo>
                    <a:lnTo>
                      <a:pt x="1156" y="1386"/>
                    </a:lnTo>
                    <a:lnTo>
                      <a:pt x="1154" y="1386"/>
                    </a:lnTo>
                    <a:lnTo>
                      <a:pt x="1152" y="1384"/>
                    </a:lnTo>
                    <a:lnTo>
                      <a:pt x="1154" y="1383"/>
                    </a:lnTo>
                    <a:lnTo>
                      <a:pt x="1152" y="1384"/>
                    </a:lnTo>
                    <a:lnTo>
                      <a:pt x="1152" y="1386"/>
                    </a:lnTo>
                    <a:lnTo>
                      <a:pt x="1154" y="1388"/>
                    </a:lnTo>
                    <a:lnTo>
                      <a:pt x="1156" y="1388"/>
                    </a:lnTo>
                    <a:lnTo>
                      <a:pt x="1154" y="1390"/>
                    </a:lnTo>
                    <a:lnTo>
                      <a:pt x="1152" y="1390"/>
                    </a:lnTo>
                    <a:lnTo>
                      <a:pt x="1152" y="1388"/>
                    </a:lnTo>
                    <a:lnTo>
                      <a:pt x="1152" y="1390"/>
                    </a:lnTo>
                    <a:lnTo>
                      <a:pt x="1154" y="1390"/>
                    </a:lnTo>
                    <a:lnTo>
                      <a:pt x="1156" y="1390"/>
                    </a:lnTo>
                    <a:lnTo>
                      <a:pt x="1154" y="1391"/>
                    </a:lnTo>
                    <a:lnTo>
                      <a:pt x="1152" y="1391"/>
                    </a:lnTo>
                    <a:lnTo>
                      <a:pt x="1154" y="1391"/>
                    </a:lnTo>
                    <a:lnTo>
                      <a:pt x="1154" y="1393"/>
                    </a:lnTo>
                    <a:lnTo>
                      <a:pt x="1152" y="1393"/>
                    </a:lnTo>
                    <a:lnTo>
                      <a:pt x="1154" y="1393"/>
                    </a:lnTo>
                    <a:lnTo>
                      <a:pt x="1154" y="1395"/>
                    </a:lnTo>
                    <a:lnTo>
                      <a:pt x="1154" y="1396"/>
                    </a:lnTo>
                    <a:lnTo>
                      <a:pt x="1152" y="1398"/>
                    </a:lnTo>
                    <a:lnTo>
                      <a:pt x="1152" y="1396"/>
                    </a:lnTo>
                    <a:lnTo>
                      <a:pt x="1152" y="1398"/>
                    </a:lnTo>
                    <a:lnTo>
                      <a:pt x="1152" y="1396"/>
                    </a:lnTo>
                    <a:lnTo>
                      <a:pt x="1152" y="1395"/>
                    </a:lnTo>
                    <a:lnTo>
                      <a:pt x="1152" y="1396"/>
                    </a:lnTo>
                    <a:lnTo>
                      <a:pt x="1151" y="1396"/>
                    </a:lnTo>
                    <a:lnTo>
                      <a:pt x="1149" y="1396"/>
                    </a:lnTo>
                    <a:lnTo>
                      <a:pt x="1149" y="1395"/>
                    </a:lnTo>
                    <a:lnTo>
                      <a:pt x="1147" y="1395"/>
                    </a:lnTo>
                    <a:lnTo>
                      <a:pt x="1149" y="1395"/>
                    </a:lnTo>
                    <a:lnTo>
                      <a:pt x="1147" y="1395"/>
                    </a:lnTo>
                    <a:lnTo>
                      <a:pt x="1149" y="1393"/>
                    </a:lnTo>
                    <a:lnTo>
                      <a:pt x="1147" y="1393"/>
                    </a:lnTo>
                    <a:lnTo>
                      <a:pt x="1147" y="1391"/>
                    </a:lnTo>
                    <a:lnTo>
                      <a:pt x="1149" y="1391"/>
                    </a:lnTo>
                    <a:lnTo>
                      <a:pt x="1151" y="1391"/>
                    </a:lnTo>
                    <a:lnTo>
                      <a:pt x="1149" y="1391"/>
                    </a:lnTo>
                    <a:lnTo>
                      <a:pt x="1149" y="1390"/>
                    </a:lnTo>
                    <a:lnTo>
                      <a:pt x="1147" y="1391"/>
                    </a:lnTo>
                    <a:lnTo>
                      <a:pt x="1147" y="1390"/>
                    </a:lnTo>
                    <a:lnTo>
                      <a:pt x="1145" y="1390"/>
                    </a:lnTo>
                    <a:lnTo>
                      <a:pt x="1147" y="1388"/>
                    </a:lnTo>
                    <a:lnTo>
                      <a:pt x="1147" y="1390"/>
                    </a:lnTo>
                    <a:lnTo>
                      <a:pt x="1149" y="1390"/>
                    </a:lnTo>
                    <a:lnTo>
                      <a:pt x="1147" y="1388"/>
                    </a:lnTo>
                    <a:lnTo>
                      <a:pt x="1147" y="1386"/>
                    </a:lnTo>
                    <a:lnTo>
                      <a:pt x="1149" y="1386"/>
                    </a:lnTo>
                    <a:lnTo>
                      <a:pt x="1147" y="1386"/>
                    </a:lnTo>
                    <a:lnTo>
                      <a:pt x="1149" y="1386"/>
                    </a:lnTo>
                    <a:lnTo>
                      <a:pt x="1151" y="1388"/>
                    </a:lnTo>
                    <a:lnTo>
                      <a:pt x="1151" y="1386"/>
                    </a:lnTo>
                    <a:lnTo>
                      <a:pt x="1149" y="1386"/>
                    </a:lnTo>
                    <a:lnTo>
                      <a:pt x="1151" y="1386"/>
                    </a:lnTo>
                    <a:lnTo>
                      <a:pt x="1151" y="1384"/>
                    </a:lnTo>
                    <a:lnTo>
                      <a:pt x="1149" y="1386"/>
                    </a:lnTo>
                    <a:lnTo>
                      <a:pt x="1149" y="1384"/>
                    </a:lnTo>
                    <a:lnTo>
                      <a:pt x="1147" y="1383"/>
                    </a:lnTo>
                    <a:lnTo>
                      <a:pt x="1147" y="1381"/>
                    </a:lnTo>
                    <a:lnTo>
                      <a:pt x="1147" y="1379"/>
                    </a:lnTo>
                    <a:lnTo>
                      <a:pt x="1149" y="1381"/>
                    </a:lnTo>
                    <a:lnTo>
                      <a:pt x="1149" y="1379"/>
                    </a:lnTo>
                    <a:lnTo>
                      <a:pt x="1147" y="1379"/>
                    </a:lnTo>
                    <a:lnTo>
                      <a:pt x="1149" y="1379"/>
                    </a:lnTo>
                    <a:lnTo>
                      <a:pt x="1151" y="1379"/>
                    </a:lnTo>
                    <a:close/>
                    <a:moveTo>
                      <a:pt x="1147" y="1293"/>
                    </a:moveTo>
                    <a:lnTo>
                      <a:pt x="1149" y="1293"/>
                    </a:lnTo>
                    <a:lnTo>
                      <a:pt x="1147" y="1294"/>
                    </a:lnTo>
                    <a:lnTo>
                      <a:pt x="1147" y="1296"/>
                    </a:lnTo>
                    <a:lnTo>
                      <a:pt x="1145" y="1296"/>
                    </a:lnTo>
                    <a:lnTo>
                      <a:pt x="1147" y="1296"/>
                    </a:lnTo>
                    <a:lnTo>
                      <a:pt x="1147" y="1294"/>
                    </a:lnTo>
                    <a:lnTo>
                      <a:pt x="1149" y="1294"/>
                    </a:lnTo>
                    <a:lnTo>
                      <a:pt x="1149" y="1293"/>
                    </a:lnTo>
                    <a:lnTo>
                      <a:pt x="1151" y="1293"/>
                    </a:lnTo>
                    <a:lnTo>
                      <a:pt x="1151" y="1294"/>
                    </a:lnTo>
                    <a:lnTo>
                      <a:pt x="1149" y="1294"/>
                    </a:lnTo>
                    <a:lnTo>
                      <a:pt x="1149" y="1296"/>
                    </a:lnTo>
                    <a:lnTo>
                      <a:pt x="1151" y="1294"/>
                    </a:lnTo>
                    <a:lnTo>
                      <a:pt x="1151" y="1296"/>
                    </a:lnTo>
                    <a:lnTo>
                      <a:pt x="1152" y="1296"/>
                    </a:lnTo>
                    <a:lnTo>
                      <a:pt x="1152" y="1298"/>
                    </a:lnTo>
                    <a:lnTo>
                      <a:pt x="1152" y="1296"/>
                    </a:lnTo>
                    <a:lnTo>
                      <a:pt x="1152" y="1294"/>
                    </a:lnTo>
                    <a:lnTo>
                      <a:pt x="1151" y="1294"/>
                    </a:lnTo>
                    <a:lnTo>
                      <a:pt x="1152" y="1293"/>
                    </a:lnTo>
                    <a:lnTo>
                      <a:pt x="1151" y="1294"/>
                    </a:lnTo>
                    <a:lnTo>
                      <a:pt x="1152" y="1293"/>
                    </a:lnTo>
                    <a:lnTo>
                      <a:pt x="1154" y="1294"/>
                    </a:lnTo>
                    <a:lnTo>
                      <a:pt x="1156" y="1294"/>
                    </a:lnTo>
                    <a:lnTo>
                      <a:pt x="1156" y="1296"/>
                    </a:lnTo>
                    <a:lnTo>
                      <a:pt x="1156" y="1298"/>
                    </a:lnTo>
                    <a:lnTo>
                      <a:pt x="1156" y="1299"/>
                    </a:lnTo>
                    <a:lnTo>
                      <a:pt x="1156" y="1301"/>
                    </a:lnTo>
                    <a:lnTo>
                      <a:pt x="1157" y="1301"/>
                    </a:lnTo>
                    <a:lnTo>
                      <a:pt x="1157" y="1303"/>
                    </a:lnTo>
                    <a:lnTo>
                      <a:pt x="1157" y="1305"/>
                    </a:lnTo>
                    <a:lnTo>
                      <a:pt x="1156" y="1305"/>
                    </a:lnTo>
                    <a:lnTo>
                      <a:pt x="1156" y="1306"/>
                    </a:lnTo>
                    <a:lnTo>
                      <a:pt x="1156" y="1305"/>
                    </a:lnTo>
                    <a:lnTo>
                      <a:pt x="1154" y="1306"/>
                    </a:lnTo>
                    <a:lnTo>
                      <a:pt x="1154" y="1305"/>
                    </a:lnTo>
                    <a:lnTo>
                      <a:pt x="1154" y="1303"/>
                    </a:lnTo>
                    <a:lnTo>
                      <a:pt x="1154" y="1301"/>
                    </a:lnTo>
                    <a:lnTo>
                      <a:pt x="1154" y="1299"/>
                    </a:lnTo>
                    <a:lnTo>
                      <a:pt x="1154" y="1298"/>
                    </a:lnTo>
                    <a:lnTo>
                      <a:pt x="1152" y="1299"/>
                    </a:lnTo>
                    <a:lnTo>
                      <a:pt x="1151" y="1299"/>
                    </a:lnTo>
                    <a:lnTo>
                      <a:pt x="1152" y="1298"/>
                    </a:lnTo>
                    <a:lnTo>
                      <a:pt x="1151" y="1299"/>
                    </a:lnTo>
                    <a:lnTo>
                      <a:pt x="1151" y="1301"/>
                    </a:lnTo>
                    <a:lnTo>
                      <a:pt x="1149" y="1301"/>
                    </a:lnTo>
                    <a:lnTo>
                      <a:pt x="1149" y="1303"/>
                    </a:lnTo>
                    <a:lnTo>
                      <a:pt x="1147" y="1305"/>
                    </a:lnTo>
                    <a:lnTo>
                      <a:pt x="1145" y="1303"/>
                    </a:lnTo>
                    <a:lnTo>
                      <a:pt x="1144" y="1301"/>
                    </a:lnTo>
                    <a:lnTo>
                      <a:pt x="1145" y="1301"/>
                    </a:lnTo>
                    <a:lnTo>
                      <a:pt x="1147" y="1299"/>
                    </a:lnTo>
                    <a:lnTo>
                      <a:pt x="1147" y="1301"/>
                    </a:lnTo>
                    <a:lnTo>
                      <a:pt x="1147" y="1299"/>
                    </a:lnTo>
                    <a:lnTo>
                      <a:pt x="1149" y="1299"/>
                    </a:lnTo>
                    <a:lnTo>
                      <a:pt x="1147" y="1299"/>
                    </a:lnTo>
                    <a:lnTo>
                      <a:pt x="1147" y="1298"/>
                    </a:lnTo>
                    <a:lnTo>
                      <a:pt x="1147" y="1299"/>
                    </a:lnTo>
                    <a:lnTo>
                      <a:pt x="1145" y="1299"/>
                    </a:lnTo>
                    <a:lnTo>
                      <a:pt x="1145" y="1301"/>
                    </a:lnTo>
                    <a:lnTo>
                      <a:pt x="1144" y="1299"/>
                    </a:lnTo>
                    <a:lnTo>
                      <a:pt x="1142" y="1299"/>
                    </a:lnTo>
                    <a:lnTo>
                      <a:pt x="1142" y="1298"/>
                    </a:lnTo>
                    <a:lnTo>
                      <a:pt x="1142" y="1299"/>
                    </a:lnTo>
                    <a:lnTo>
                      <a:pt x="1142" y="1298"/>
                    </a:lnTo>
                    <a:lnTo>
                      <a:pt x="1142" y="1296"/>
                    </a:lnTo>
                    <a:lnTo>
                      <a:pt x="1142" y="1294"/>
                    </a:lnTo>
                    <a:lnTo>
                      <a:pt x="1144" y="1293"/>
                    </a:lnTo>
                    <a:lnTo>
                      <a:pt x="1145" y="1294"/>
                    </a:lnTo>
                    <a:lnTo>
                      <a:pt x="1144" y="1293"/>
                    </a:lnTo>
                    <a:lnTo>
                      <a:pt x="1145" y="1293"/>
                    </a:lnTo>
                    <a:lnTo>
                      <a:pt x="1144" y="1293"/>
                    </a:lnTo>
                    <a:lnTo>
                      <a:pt x="1145" y="1293"/>
                    </a:lnTo>
                    <a:lnTo>
                      <a:pt x="1145" y="1291"/>
                    </a:lnTo>
                    <a:lnTo>
                      <a:pt x="1147" y="1293"/>
                    </a:lnTo>
                    <a:close/>
                    <a:moveTo>
                      <a:pt x="1168" y="1442"/>
                    </a:moveTo>
                    <a:lnTo>
                      <a:pt x="1169" y="1442"/>
                    </a:lnTo>
                    <a:lnTo>
                      <a:pt x="1171" y="1442"/>
                    </a:lnTo>
                    <a:lnTo>
                      <a:pt x="1171" y="1444"/>
                    </a:lnTo>
                    <a:lnTo>
                      <a:pt x="1169" y="1444"/>
                    </a:lnTo>
                    <a:lnTo>
                      <a:pt x="1171" y="1444"/>
                    </a:lnTo>
                    <a:lnTo>
                      <a:pt x="1169" y="1446"/>
                    </a:lnTo>
                    <a:lnTo>
                      <a:pt x="1171" y="1446"/>
                    </a:lnTo>
                    <a:lnTo>
                      <a:pt x="1171" y="1447"/>
                    </a:lnTo>
                    <a:lnTo>
                      <a:pt x="1169" y="1447"/>
                    </a:lnTo>
                    <a:lnTo>
                      <a:pt x="1169" y="1449"/>
                    </a:lnTo>
                    <a:lnTo>
                      <a:pt x="1169" y="1447"/>
                    </a:lnTo>
                    <a:lnTo>
                      <a:pt x="1171" y="1447"/>
                    </a:lnTo>
                    <a:lnTo>
                      <a:pt x="1171" y="1449"/>
                    </a:lnTo>
                    <a:lnTo>
                      <a:pt x="1171" y="1451"/>
                    </a:lnTo>
                    <a:lnTo>
                      <a:pt x="1169" y="1451"/>
                    </a:lnTo>
                    <a:lnTo>
                      <a:pt x="1171" y="1451"/>
                    </a:lnTo>
                    <a:lnTo>
                      <a:pt x="1171" y="1453"/>
                    </a:lnTo>
                    <a:lnTo>
                      <a:pt x="1171" y="1454"/>
                    </a:lnTo>
                    <a:lnTo>
                      <a:pt x="1169" y="1454"/>
                    </a:lnTo>
                    <a:lnTo>
                      <a:pt x="1169" y="1456"/>
                    </a:lnTo>
                    <a:lnTo>
                      <a:pt x="1169" y="1458"/>
                    </a:lnTo>
                    <a:lnTo>
                      <a:pt x="1169" y="1459"/>
                    </a:lnTo>
                    <a:lnTo>
                      <a:pt x="1168" y="1459"/>
                    </a:lnTo>
                    <a:lnTo>
                      <a:pt x="1169" y="1459"/>
                    </a:lnTo>
                    <a:lnTo>
                      <a:pt x="1169" y="1461"/>
                    </a:lnTo>
                    <a:lnTo>
                      <a:pt x="1168" y="1461"/>
                    </a:lnTo>
                    <a:lnTo>
                      <a:pt x="1169" y="1461"/>
                    </a:lnTo>
                    <a:lnTo>
                      <a:pt x="1168" y="1461"/>
                    </a:lnTo>
                    <a:lnTo>
                      <a:pt x="1168" y="1463"/>
                    </a:lnTo>
                    <a:lnTo>
                      <a:pt x="1166" y="1463"/>
                    </a:lnTo>
                    <a:lnTo>
                      <a:pt x="1168" y="1463"/>
                    </a:lnTo>
                    <a:lnTo>
                      <a:pt x="1168" y="1464"/>
                    </a:lnTo>
                    <a:lnTo>
                      <a:pt x="1166" y="1464"/>
                    </a:lnTo>
                    <a:lnTo>
                      <a:pt x="1168" y="1466"/>
                    </a:lnTo>
                    <a:lnTo>
                      <a:pt x="1166" y="1468"/>
                    </a:lnTo>
                    <a:lnTo>
                      <a:pt x="1164" y="1468"/>
                    </a:lnTo>
                    <a:lnTo>
                      <a:pt x="1166" y="1470"/>
                    </a:lnTo>
                    <a:lnTo>
                      <a:pt x="1166" y="1468"/>
                    </a:lnTo>
                    <a:lnTo>
                      <a:pt x="1166" y="1470"/>
                    </a:lnTo>
                    <a:lnTo>
                      <a:pt x="1164" y="1470"/>
                    </a:lnTo>
                    <a:lnTo>
                      <a:pt x="1164" y="1468"/>
                    </a:lnTo>
                    <a:lnTo>
                      <a:pt x="1166" y="1466"/>
                    </a:lnTo>
                    <a:lnTo>
                      <a:pt x="1164" y="1468"/>
                    </a:lnTo>
                    <a:lnTo>
                      <a:pt x="1164" y="1470"/>
                    </a:lnTo>
                    <a:lnTo>
                      <a:pt x="1162" y="1470"/>
                    </a:lnTo>
                    <a:lnTo>
                      <a:pt x="1162" y="1468"/>
                    </a:lnTo>
                    <a:lnTo>
                      <a:pt x="1164" y="1468"/>
                    </a:lnTo>
                    <a:lnTo>
                      <a:pt x="1164" y="1466"/>
                    </a:lnTo>
                    <a:lnTo>
                      <a:pt x="1164" y="1464"/>
                    </a:lnTo>
                    <a:lnTo>
                      <a:pt x="1164" y="1466"/>
                    </a:lnTo>
                    <a:lnTo>
                      <a:pt x="1162" y="1466"/>
                    </a:lnTo>
                    <a:lnTo>
                      <a:pt x="1164" y="1464"/>
                    </a:lnTo>
                    <a:lnTo>
                      <a:pt x="1162" y="1464"/>
                    </a:lnTo>
                    <a:lnTo>
                      <a:pt x="1162" y="1466"/>
                    </a:lnTo>
                    <a:lnTo>
                      <a:pt x="1162" y="1464"/>
                    </a:lnTo>
                    <a:lnTo>
                      <a:pt x="1161" y="1464"/>
                    </a:lnTo>
                    <a:lnTo>
                      <a:pt x="1161" y="1463"/>
                    </a:lnTo>
                    <a:lnTo>
                      <a:pt x="1161" y="1461"/>
                    </a:lnTo>
                    <a:lnTo>
                      <a:pt x="1162" y="1461"/>
                    </a:lnTo>
                    <a:lnTo>
                      <a:pt x="1164" y="1459"/>
                    </a:lnTo>
                    <a:lnTo>
                      <a:pt x="1162" y="1459"/>
                    </a:lnTo>
                    <a:lnTo>
                      <a:pt x="1162" y="1458"/>
                    </a:lnTo>
                    <a:lnTo>
                      <a:pt x="1162" y="1456"/>
                    </a:lnTo>
                    <a:lnTo>
                      <a:pt x="1164" y="1456"/>
                    </a:lnTo>
                    <a:lnTo>
                      <a:pt x="1164" y="1454"/>
                    </a:lnTo>
                    <a:lnTo>
                      <a:pt x="1164" y="1453"/>
                    </a:lnTo>
                    <a:lnTo>
                      <a:pt x="1164" y="1451"/>
                    </a:lnTo>
                    <a:lnTo>
                      <a:pt x="1166" y="1453"/>
                    </a:lnTo>
                    <a:lnTo>
                      <a:pt x="1164" y="1453"/>
                    </a:lnTo>
                    <a:lnTo>
                      <a:pt x="1166" y="1454"/>
                    </a:lnTo>
                    <a:lnTo>
                      <a:pt x="1166" y="1456"/>
                    </a:lnTo>
                    <a:lnTo>
                      <a:pt x="1166" y="1454"/>
                    </a:lnTo>
                    <a:lnTo>
                      <a:pt x="1166" y="1456"/>
                    </a:lnTo>
                    <a:lnTo>
                      <a:pt x="1164" y="1458"/>
                    </a:lnTo>
                    <a:lnTo>
                      <a:pt x="1166" y="1458"/>
                    </a:lnTo>
                    <a:lnTo>
                      <a:pt x="1166" y="1456"/>
                    </a:lnTo>
                    <a:lnTo>
                      <a:pt x="1166" y="1458"/>
                    </a:lnTo>
                    <a:lnTo>
                      <a:pt x="1166" y="1456"/>
                    </a:lnTo>
                    <a:lnTo>
                      <a:pt x="1168" y="1454"/>
                    </a:lnTo>
                    <a:lnTo>
                      <a:pt x="1168" y="1456"/>
                    </a:lnTo>
                    <a:lnTo>
                      <a:pt x="1168" y="1458"/>
                    </a:lnTo>
                    <a:lnTo>
                      <a:pt x="1168" y="1459"/>
                    </a:lnTo>
                    <a:lnTo>
                      <a:pt x="1168" y="1458"/>
                    </a:lnTo>
                    <a:lnTo>
                      <a:pt x="1168" y="1456"/>
                    </a:lnTo>
                    <a:lnTo>
                      <a:pt x="1168" y="1454"/>
                    </a:lnTo>
                    <a:lnTo>
                      <a:pt x="1169" y="1454"/>
                    </a:lnTo>
                    <a:lnTo>
                      <a:pt x="1169" y="1453"/>
                    </a:lnTo>
                    <a:lnTo>
                      <a:pt x="1168" y="1454"/>
                    </a:lnTo>
                    <a:lnTo>
                      <a:pt x="1168" y="1453"/>
                    </a:lnTo>
                    <a:lnTo>
                      <a:pt x="1168" y="1451"/>
                    </a:lnTo>
                    <a:lnTo>
                      <a:pt x="1168" y="1453"/>
                    </a:lnTo>
                    <a:lnTo>
                      <a:pt x="1168" y="1451"/>
                    </a:lnTo>
                    <a:lnTo>
                      <a:pt x="1166" y="1451"/>
                    </a:lnTo>
                    <a:lnTo>
                      <a:pt x="1168" y="1449"/>
                    </a:lnTo>
                    <a:lnTo>
                      <a:pt x="1169" y="1449"/>
                    </a:lnTo>
                    <a:lnTo>
                      <a:pt x="1168" y="1447"/>
                    </a:lnTo>
                    <a:lnTo>
                      <a:pt x="1166" y="1446"/>
                    </a:lnTo>
                    <a:lnTo>
                      <a:pt x="1166" y="1444"/>
                    </a:lnTo>
                    <a:lnTo>
                      <a:pt x="1168" y="1444"/>
                    </a:lnTo>
                    <a:lnTo>
                      <a:pt x="1166" y="1444"/>
                    </a:lnTo>
                    <a:lnTo>
                      <a:pt x="1164" y="1444"/>
                    </a:lnTo>
                    <a:lnTo>
                      <a:pt x="1166" y="1442"/>
                    </a:lnTo>
                    <a:lnTo>
                      <a:pt x="1168" y="1441"/>
                    </a:lnTo>
                    <a:lnTo>
                      <a:pt x="1168" y="1442"/>
                    </a:lnTo>
                    <a:close/>
                    <a:moveTo>
                      <a:pt x="1188" y="1468"/>
                    </a:moveTo>
                    <a:lnTo>
                      <a:pt x="1190" y="1468"/>
                    </a:lnTo>
                    <a:lnTo>
                      <a:pt x="1190" y="1470"/>
                    </a:lnTo>
                    <a:lnTo>
                      <a:pt x="1191" y="1470"/>
                    </a:lnTo>
                    <a:lnTo>
                      <a:pt x="1191" y="1471"/>
                    </a:lnTo>
                    <a:lnTo>
                      <a:pt x="1193" y="1471"/>
                    </a:lnTo>
                    <a:lnTo>
                      <a:pt x="1193" y="1473"/>
                    </a:lnTo>
                    <a:lnTo>
                      <a:pt x="1195" y="1473"/>
                    </a:lnTo>
                    <a:lnTo>
                      <a:pt x="1195" y="1475"/>
                    </a:lnTo>
                    <a:lnTo>
                      <a:pt x="1196" y="1476"/>
                    </a:lnTo>
                    <a:lnTo>
                      <a:pt x="1196" y="1478"/>
                    </a:lnTo>
                    <a:lnTo>
                      <a:pt x="1198" y="1480"/>
                    </a:lnTo>
                    <a:lnTo>
                      <a:pt x="1196" y="1478"/>
                    </a:lnTo>
                    <a:lnTo>
                      <a:pt x="1198" y="1478"/>
                    </a:lnTo>
                    <a:lnTo>
                      <a:pt x="1198" y="1480"/>
                    </a:lnTo>
                    <a:lnTo>
                      <a:pt x="1200" y="1480"/>
                    </a:lnTo>
                    <a:lnTo>
                      <a:pt x="1200" y="1481"/>
                    </a:lnTo>
                    <a:lnTo>
                      <a:pt x="1198" y="1481"/>
                    </a:lnTo>
                    <a:lnTo>
                      <a:pt x="1198" y="1480"/>
                    </a:lnTo>
                    <a:lnTo>
                      <a:pt x="1196" y="1480"/>
                    </a:lnTo>
                    <a:lnTo>
                      <a:pt x="1198" y="1481"/>
                    </a:lnTo>
                    <a:lnTo>
                      <a:pt x="1198" y="1483"/>
                    </a:lnTo>
                    <a:lnTo>
                      <a:pt x="1196" y="1483"/>
                    </a:lnTo>
                    <a:lnTo>
                      <a:pt x="1196" y="1481"/>
                    </a:lnTo>
                    <a:lnTo>
                      <a:pt x="1195" y="1481"/>
                    </a:lnTo>
                    <a:lnTo>
                      <a:pt x="1195" y="1480"/>
                    </a:lnTo>
                    <a:lnTo>
                      <a:pt x="1196" y="1481"/>
                    </a:lnTo>
                    <a:lnTo>
                      <a:pt x="1196" y="1483"/>
                    </a:lnTo>
                    <a:lnTo>
                      <a:pt x="1195" y="1481"/>
                    </a:lnTo>
                    <a:lnTo>
                      <a:pt x="1196" y="1483"/>
                    </a:lnTo>
                    <a:lnTo>
                      <a:pt x="1195" y="1485"/>
                    </a:lnTo>
                    <a:lnTo>
                      <a:pt x="1195" y="1483"/>
                    </a:lnTo>
                    <a:lnTo>
                      <a:pt x="1193" y="1485"/>
                    </a:lnTo>
                    <a:lnTo>
                      <a:pt x="1191" y="1485"/>
                    </a:lnTo>
                    <a:lnTo>
                      <a:pt x="1191" y="1483"/>
                    </a:lnTo>
                    <a:lnTo>
                      <a:pt x="1191" y="1485"/>
                    </a:lnTo>
                    <a:lnTo>
                      <a:pt x="1190" y="1485"/>
                    </a:lnTo>
                    <a:lnTo>
                      <a:pt x="1191" y="1483"/>
                    </a:lnTo>
                    <a:lnTo>
                      <a:pt x="1190" y="1481"/>
                    </a:lnTo>
                    <a:lnTo>
                      <a:pt x="1191" y="1481"/>
                    </a:lnTo>
                    <a:lnTo>
                      <a:pt x="1191" y="1480"/>
                    </a:lnTo>
                    <a:lnTo>
                      <a:pt x="1193" y="1480"/>
                    </a:lnTo>
                    <a:lnTo>
                      <a:pt x="1191" y="1480"/>
                    </a:lnTo>
                    <a:lnTo>
                      <a:pt x="1191" y="1481"/>
                    </a:lnTo>
                    <a:lnTo>
                      <a:pt x="1190" y="1481"/>
                    </a:lnTo>
                    <a:lnTo>
                      <a:pt x="1188" y="1481"/>
                    </a:lnTo>
                    <a:lnTo>
                      <a:pt x="1188" y="1483"/>
                    </a:lnTo>
                    <a:lnTo>
                      <a:pt x="1188" y="1481"/>
                    </a:lnTo>
                    <a:lnTo>
                      <a:pt x="1188" y="1480"/>
                    </a:lnTo>
                    <a:lnTo>
                      <a:pt x="1190" y="1480"/>
                    </a:lnTo>
                    <a:lnTo>
                      <a:pt x="1191" y="1480"/>
                    </a:lnTo>
                    <a:lnTo>
                      <a:pt x="1191" y="1478"/>
                    </a:lnTo>
                    <a:lnTo>
                      <a:pt x="1191" y="1480"/>
                    </a:lnTo>
                    <a:lnTo>
                      <a:pt x="1190" y="1478"/>
                    </a:lnTo>
                    <a:lnTo>
                      <a:pt x="1190" y="1476"/>
                    </a:lnTo>
                    <a:lnTo>
                      <a:pt x="1190" y="1475"/>
                    </a:lnTo>
                    <a:lnTo>
                      <a:pt x="1191" y="1475"/>
                    </a:lnTo>
                    <a:lnTo>
                      <a:pt x="1191" y="1476"/>
                    </a:lnTo>
                    <a:lnTo>
                      <a:pt x="1191" y="1475"/>
                    </a:lnTo>
                    <a:lnTo>
                      <a:pt x="1191" y="1473"/>
                    </a:lnTo>
                    <a:lnTo>
                      <a:pt x="1190" y="1475"/>
                    </a:lnTo>
                    <a:lnTo>
                      <a:pt x="1190" y="1473"/>
                    </a:lnTo>
                    <a:lnTo>
                      <a:pt x="1188" y="1473"/>
                    </a:lnTo>
                    <a:lnTo>
                      <a:pt x="1190" y="1473"/>
                    </a:lnTo>
                    <a:lnTo>
                      <a:pt x="1188" y="1473"/>
                    </a:lnTo>
                    <a:lnTo>
                      <a:pt x="1186" y="1473"/>
                    </a:lnTo>
                    <a:lnTo>
                      <a:pt x="1186" y="1475"/>
                    </a:lnTo>
                    <a:lnTo>
                      <a:pt x="1185" y="1473"/>
                    </a:lnTo>
                    <a:lnTo>
                      <a:pt x="1185" y="1471"/>
                    </a:lnTo>
                    <a:lnTo>
                      <a:pt x="1183" y="1473"/>
                    </a:lnTo>
                    <a:lnTo>
                      <a:pt x="1181" y="1473"/>
                    </a:lnTo>
                    <a:lnTo>
                      <a:pt x="1181" y="1471"/>
                    </a:lnTo>
                    <a:lnTo>
                      <a:pt x="1183" y="1470"/>
                    </a:lnTo>
                    <a:lnTo>
                      <a:pt x="1183" y="1471"/>
                    </a:lnTo>
                    <a:lnTo>
                      <a:pt x="1185" y="1471"/>
                    </a:lnTo>
                    <a:lnTo>
                      <a:pt x="1185" y="1473"/>
                    </a:lnTo>
                    <a:lnTo>
                      <a:pt x="1186" y="1473"/>
                    </a:lnTo>
                    <a:lnTo>
                      <a:pt x="1185" y="1473"/>
                    </a:lnTo>
                    <a:lnTo>
                      <a:pt x="1186" y="1473"/>
                    </a:lnTo>
                    <a:lnTo>
                      <a:pt x="1186" y="1471"/>
                    </a:lnTo>
                    <a:lnTo>
                      <a:pt x="1185" y="1471"/>
                    </a:lnTo>
                    <a:lnTo>
                      <a:pt x="1183" y="1471"/>
                    </a:lnTo>
                    <a:lnTo>
                      <a:pt x="1183" y="1470"/>
                    </a:lnTo>
                    <a:lnTo>
                      <a:pt x="1185" y="1470"/>
                    </a:lnTo>
                    <a:lnTo>
                      <a:pt x="1185" y="1468"/>
                    </a:lnTo>
                    <a:lnTo>
                      <a:pt x="1186" y="1468"/>
                    </a:lnTo>
                    <a:lnTo>
                      <a:pt x="1188" y="1468"/>
                    </a:lnTo>
                    <a:close/>
                    <a:moveTo>
                      <a:pt x="1195" y="1437"/>
                    </a:moveTo>
                    <a:lnTo>
                      <a:pt x="1195" y="1439"/>
                    </a:lnTo>
                    <a:lnTo>
                      <a:pt x="1193" y="1437"/>
                    </a:lnTo>
                    <a:lnTo>
                      <a:pt x="1195" y="1439"/>
                    </a:lnTo>
                    <a:lnTo>
                      <a:pt x="1195" y="1441"/>
                    </a:lnTo>
                    <a:lnTo>
                      <a:pt x="1196" y="1441"/>
                    </a:lnTo>
                    <a:lnTo>
                      <a:pt x="1195" y="1442"/>
                    </a:lnTo>
                    <a:lnTo>
                      <a:pt x="1196" y="1442"/>
                    </a:lnTo>
                    <a:lnTo>
                      <a:pt x="1196" y="1444"/>
                    </a:lnTo>
                    <a:lnTo>
                      <a:pt x="1196" y="1446"/>
                    </a:lnTo>
                    <a:lnTo>
                      <a:pt x="1195" y="1446"/>
                    </a:lnTo>
                    <a:lnTo>
                      <a:pt x="1196" y="1447"/>
                    </a:lnTo>
                    <a:lnTo>
                      <a:pt x="1198" y="1447"/>
                    </a:lnTo>
                    <a:lnTo>
                      <a:pt x="1198" y="1446"/>
                    </a:lnTo>
                    <a:lnTo>
                      <a:pt x="1198" y="1447"/>
                    </a:lnTo>
                    <a:lnTo>
                      <a:pt x="1198" y="1449"/>
                    </a:lnTo>
                    <a:lnTo>
                      <a:pt x="1200" y="1449"/>
                    </a:lnTo>
                    <a:lnTo>
                      <a:pt x="1198" y="1451"/>
                    </a:lnTo>
                    <a:lnTo>
                      <a:pt x="1200" y="1451"/>
                    </a:lnTo>
                    <a:lnTo>
                      <a:pt x="1202" y="1453"/>
                    </a:lnTo>
                    <a:lnTo>
                      <a:pt x="1203" y="1454"/>
                    </a:lnTo>
                    <a:lnTo>
                      <a:pt x="1203" y="1456"/>
                    </a:lnTo>
                    <a:lnTo>
                      <a:pt x="1203" y="1458"/>
                    </a:lnTo>
                    <a:lnTo>
                      <a:pt x="1205" y="1458"/>
                    </a:lnTo>
                    <a:lnTo>
                      <a:pt x="1205" y="1459"/>
                    </a:lnTo>
                    <a:lnTo>
                      <a:pt x="1207" y="1461"/>
                    </a:lnTo>
                    <a:lnTo>
                      <a:pt x="1207" y="1463"/>
                    </a:lnTo>
                    <a:lnTo>
                      <a:pt x="1205" y="1463"/>
                    </a:lnTo>
                    <a:lnTo>
                      <a:pt x="1203" y="1463"/>
                    </a:lnTo>
                    <a:lnTo>
                      <a:pt x="1203" y="1461"/>
                    </a:lnTo>
                    <a:lnTo>
                      <a:pt x="1202" y="1459"/>
                    </a:lnTo>
                    <a:lnTo>
                      <a:pt x="1202" y="1458"/>
                    </a:lnTo>
                    <a:lnTo>
                      <a:pt x="1203" y="1458"/>
                    </a:lnTo>
                    <a:lnTo>
                      <a:pt x="1202" y="1458"/>
                    </a:lnTo>
                    <a:lnTo>
                      <a:pt x="1200" y="1458"/>
                    </a:lnTo>
                    <a:lnTo>
                      <a:pt x="1202" y="1458"/>
                    </a:lnTo>
                    <a:lnTo>
                      <a:pt x="1200" y="1456"/>
                    </a:lnTo>
                    <a:lnTo>
                      <a:pt x="1202" y="1456"/>
                    </a:lnTo>
                    <a:lnTo>
                      <a:pt x="1200" y="1456"/>
                    </a:lnTo>
                    <a:lnTo>
                      <a:pt x="1198" y="1456"/>
                    </a:lnTo>
                    <a:lnTo>
                      <a:pt x="1198" y="1454"/>
                    </a:lnTo>
                    <a:lnTo>
                      <a:pt x="1198" y="1453"/>
                    </a:lnTo>
                    <a:lnTo>
                      <a:pt x="1196" y="1453"/>
                    </a:lnTo>
                    <a:lnTo>
                      <a:pt x="1198" y="1453"/>
                    </a:lnTo>
                    <a:lnTo>
                      <a:pt x="1198" y="1451"/>
                    </a:lnTo>
                    <a:lnTo>
                      <a:pt x="1198" y="1453"/>
                    </a:lnTo>
                    <a:lnTo>
                      <a:pt x="1196" y="1451"/>
                    </a:lnTo>
                    <a:lnTo>
                      <a:pt x="1195" y="1451"/>
                    </a:lnTo>
                    <a:lnTo>
                      <a:pt x="1195" y="1453"/>
                    </a:lnTo>
                    <a:lnTo>
                      <a:pt x="1195" y="1451"/>
                    </a:lnTo>
                    <a:lnTo>
                      <a:pt x="1196" y="1451"/>
                    </a:lnTo>
                    <a:lnTo>
                      <a:pt x="1195" y="1451"/>
                    </a:lnTo>
                    <a:lnTo>
                      <a:pt x="1193" y="1451"/>
                    </a:lnTo>
                    <a:lnTo>
                      <a:pt x="1193" y="1449"/>
                    </a:lnTo>
                    <a:lnTo>
                      <a:pt x="1191" y="1449"/>
                    </a:lnTo>
                    <a:lnTo>
                      <a:pt x="1191" y="1447"/>
                    </a:lnTo>
                    <a:lnTo>
                      <a:pt x="1190" y="1447"/>
                    </a:lnTo>
                    <a:lnTo>
                      <a:pt x="1188" y="1447"/>
                    </a:lnTo>
                    <a:lnTo>
                      <a:pt x="1190" y="1447"/>
                    </a:lnTo>
                    <a:lnTo>
                      <a:pt x="1190" y="1446"/>
                    </a:lnTo>
                    <a:lnTo>
                      <a:pt x="1188" y="1446"/>
                    </a:lnTo>
                    <a:lnTo>
                      <a:pt x="1188" y="1444"/>
                    </a:lnTo>
                    <a:lnTo>
                      <a:pt x="1190" y="1444"/>
                    </a:lnTo>
                    <a:lnTo>
                      <a:pt x="1191" y="1446"/>
                    </a:lnTo>
                    <a:lnTo>
                      <a:pt x="1191" y="1444"/>
                    </a:lnTo>
                    <a:lnTo>
                      <a:pt x="1190" y="1444"/>
                    </a:lnTo>
                    <a:lnTo>
                      <a:pt x="1191" y="1444"/>
                    </a:lnTo>
                    <a:lnTo>
                      <a:pt x="1190" y="1442"/>
                    </a:lnTo>
                    <a:lnTo>
                      <a:pt x="1191" y="1444"/>
                    </a:lnTo>
                    <a:lnTo>
                      <a:pt x="1193" y="1444"/>
                    </a:lnTo>
                    <a:lnTo>
                      <a:pt x="1191" y="1444"/>
                    </a:lnTo>
                    <a:lnTo>
                      <a:pt x="1191" y="1442"/>
                    </a:lnTo>
                    <a:lnTo>
                      <a:pt x="1193" y="1442"/>
                    </a:lnTo>
                    <a:lnTo>
                      <a:pt x="1191" y="1442"/>
                    </a:lnTo>
                    <a:lnTo>
                      <a:pt x="1191" y="1441"/>
                    </a:lnTo>
                    <a:lnTo>
                      <a:pt x="1191" y="1439"/>
                    </a:lnTo>
                    <a:lnTo>
                      <a:pt x="1193" y="1441"/>
                    </a:lnTo>
                    <a:lnTo>
                      <a:pt x="1191" y="1439"/>
                    </a:lnTo>
                    <a:lnTo>
                      <a:pt x="1193" y="1439"/>
                    </a:lnTo>
                    <a:lnTo>
                      <a:pt x="1193" y="1441"/>
                    </a:lnTo>
                    <a:lnTo>
                      <a:pt x="1195" y="1441"/>
                    </a:lnTo>
                    <a:lnTo>
                      <a:pt x="1193" y="1441"/>
                    </a:lnTo>
                    <a:lnTo>
                      <a:pt x="1195" y="1441"/>
                    </a:lnTo>
                    <a:lnTo>
                      <a:pt x="1193" y="1439"/>
                    </a:lnTo>
                    <a:lnTo>
                      <a:pt x="1193" y="1437"/>
                    </a:lnTo>
                    <a:lnTo>
                      <a:pt x="1195" y="1437"/>
                    </a:lnTo>
                    <a:lnTo>
                      <a:pt x="1195" y="1435"/>
                    </a:lnTo>
                    <a:lnTo>
                      <a:pt x="1195" y="1437"/>
                    </a:lnTo>
                    <a:close/>
                    <a:moveTo>
                      <a:pt x="1183" y="1126"/>
                    </a:moveTo>
                    <a:lnTo>
                      <a:pt x="1185" y="1126"/>
                    </a:lnTo>
                    <a:lnTo>
                      <a:pt x="1183" y="1126"/>
                    </a:lnTo>
                    <a:lnTo>
                      <a:pt x="1185" y="1126"/>
                    </a:lnTo>
                    <a:lnTo>
                      <a:pt x="1186" y="1126"/>
                    </a:lnTo>
                    <a:lnTo>
                      <a:pt x="1186" y="1128"/>
                    </a:lnTo>
                    <a:lnTo>
                      <a:pt x="1188" y="1128"/>
                    </a:lnTo>
                    <a:lnTo>
                      <a:pt x="1186" y="1129"/>
                    </a:lnTo>
                    <a:lnTo>
                      <a:pt x="1185" y="1129"/>
                    </a:lnTo>
                    <a:lnTo>
                      <a:pt x="1186" y="1129"/>
                    </a:lnTo>
                    <a:lnTo>
                      <a:pt x="1188" y="1128"/>
                    </a:lnTo>
                    <a:lnTo>
                      <a:pt x="1188" y="1129"/>
                    </a:lnTo>
                    <a:lnTo>
                      <a:pt x="1190" y="1131"/>
                    </a:lnTo>
                    <a:lnTo>
                      <a:pt x="1188" y="1131"/>
                    </a:lnTo>
                    <a:lnTo>
                      <a:pt x="1186" y="1131"/>
                    </a:lnTo>
                    <a:lnTo>
                      <a:pt x="1188" y="1131"/>
                    </a:lnTo>
                    <a:lnTo>
                      <a:pt x="1186" y="1131"/>
                    </a:lnTo>
                    <a:lnTo>
                      <a:pt x="1185" y="1131"/>
                    </a:lnTo>
                    <a:lnTo>
                      <a:pt x="1186" y="1131"/>
                    </a:lnTo>
                    <a:lnTo>
                      <a:pt x="1186" y="1133"/>
                    </a:lnTo>
                    <a:lnTo>
                      <a:pt x="1188" y="1131"/>
                    </a:lnTo>
                    <a:lnTo>
                      <a:pt x="1190" y="1131"/>
                    </a:lnTo>
                    <a:lnTo>
                      <a:pt x="1190" y="1133"/>
                    </a:lnTo>
                    <a:lnTo>
                      <a:pt x="1190" y="1134"/>
                    </a:lnTo>
                    <a:lnTo>
                      <a:pt x="1190" y="1136"/>
                    </a:lnTo>
                    <a:lnTo>
                      <a:pt x="1190" y="1138"/>
                    </a:lnTo>
                    <a:lnTo>
                      <a:pt x="1188" y="1138"/>
                    </a:lnTo>
                    <a:lnTo>
                      <a:pt x="1186" y="1138"/>
                    </a:lnTo>
                    <a:lnTo>
                      <a:pt x="1185" y="1138"/>
                    </a:lnTo>
                    <a:lnTo>
                      <a:pt x="1185" y="1136"/>
                    </a:lnTo>
                    <a:lnTo>
                      <a:pt x="1185" y="1138"/>
                    </a:lnTo>
                    <a:lnTo>
                      <a:pt x="1186" y="1138"/>
                    </a:lnTo>
                    <a:lnTo>
                      <a:pt x="1185" y="1138"/>
                    </a:lnTo>
                    <a:lnTo>
                      <a:pt x="1183" y="1138"/>
                    </a:lnTo>
                    <a:lnTo>
                      <a:pt x="1181" y="1138"/>
                    </a:lnTo>
                    <a:lnTo>
                      <a:pt x="1183" y="1138"/>
                    </a:lnTo>
                    <a:lnTo>
                      <a:pt x="1185" y="1138"/>
                    </a:lnTo>
                    <a:lnTo>
                      <a:pt x="1186" y="1138"/>
                    </a:lnTo>
                    <a:lnTo>
                      <a:pt x="1186" y="1140"/>
                    </a:lnTo>
                    <a:lnTo>
                      <a:pt x="1185" y="1140"/>
                    </a:lnTo>
                    <a:lnTo>
                      <a:pt x="1183" y="1140"/>
                    </a:lnTo>
                    <a:lnTo>
                      <a:pt x="1185" y="1140"/>
                    </a:lnTo>
                    <a:lnTo>
                      <a:pt x="1185" y="1141"/>
                    </a:lnTo>
                    <a:lnTo>
                      <a:pt x="1183" y="1141"/>
                    </a:lnTo>
                    <a:lnTo>
                      <a:pt x="1181" y="1141"/>
                    </a:lnTo>
                    <a:lnTo>
                      <a:pt x="1179" y="1140"/>
                    </a:lnTo>
                    <a:lnTo>
                      <a:pt x="1181" y="1140"/>
                    </a:lnTo>
                    <a:lnTo>
                      <a:pt x="1181" y="1138"/>
                    </a:lnTo>
                    <a:lnTo>
                      <a:pt x="1181" y="1136"/>
                    </a:lnTo>
                    <a:lnTo>
                      <a:pt x="1181" y="1134"/>
                    </a:lnTo>
                    <a:lnTo>
                      <a:pt x="1179" y="1134"/>
                    </a:lnTo>
                    <a:lnTo>
                      <a:pt x="1179" y="1133"/>
                    </a:lnTo>
                    <a:lnTo>
                      <a:pt x="1181" y="1133"/>
                    </a:lnTo>
                    <a:lnTo>
                      <a:pt x="1179" y="1134"/>
                    </a:lnTo>
                    <a:lnTo>
                      <a:pt x="1181" y="1133"/>
                    </a:lnTo>
                    <a:lnTo>
                      <a:pt x="1181" y="1134"/>
                    </a:lnTo>
                    <a:lnTo>
                      <a:pt x="1183" y="1133"/>
                    </a:lnTo>
                    <a:lnTo>
                      <a:pt x="1181" y="1133"/>
                    </a:lnTo>
                    <a:lnTo>
                      <a:pt x="1181" y="1131"/>
                    </a:lnTo>
                    <a:lnTo>
                      <a:pt x="1181" y="1129"/>
                    </a:lnTo>
                    <a:lnTo>
                      <a:pt x="1181" y="1128"/>
                    </a:lnTo>
                    <a:lnTo>
                      <a:pt x="1183" y="1128"/>
                    </a:lnTo>
                    <a:lnTo>
                      <a:pt x="1183" y="1126"/>
                    </a:lnTo>
                    <a:close/>
                    <a:moveTo>
                      <a:pt x="1162" y="1305"/>
                    </a:moveTo>
                    <a:lnTo>
                      <a:pt x="1162" y="1303"/>
                    </a:lnTo>
                    <a:lnTo>
                      <a:pt x="1162" y="1305"/>
                    </a:lnTo>
                    <a:lnTo>
                      <a:pt x="1164" y="1305"/>
                    </a:lnTo>
                    <a:lnTo>
                      <a:pt x="1164" y="1306"/>
                    </a:lnTo>
                    <a:lnTo>
                      <a:pt x="1164" y="1305"/>
                    </a:lnTo>
                    <a:lnTo>
                      <a:pt x="1164" y="1303"/>
                    </a:lnTo>
                    <a:lnTo>
                      <a:pt x="1166" y="1303"/>
                    </a:lnTo>
                    <a:lnTo>
                      <a:pt x="1168" y="1305"/>
                    </a:lnTo>
                    <a:lnTo>
                      <a:pt x="1168" y="1306"/>
                    </a:lnTo>
                    <a:lnTo>
                      <a:pt x="1169" y="1308"/>
                    </a:lnTo>
                    <a:lnTo>
                      <a:pt x="1168" y="1308"/>
                    </a:lnTo>
                    <a:lnTo>
                      <a:pt x="1168" y="1310"/>
                    </a:lnTo>
                    <a:lnTo>
                      <a:pt x="1168" y="1308"/>
                    </a:lnTo>
                    <a:lnTo>
                      <a:pt x="1168" y="1310"/>
                    </a:lnTo>
                    <a:lnTo>
                      <a:pt x="1168" y="1311"/>
                    </a:lnTo>
                    <a:lnTo>
                      <a:pt x="1168" y="1313"/>
                    </a:lnTo>
                    <a:lnTo>
                      <a:pt x="1168" y="1315"/>
                    </a:lnTo>
                    <a:lnTo>
                      <a:pt x="1168" y="1316"/>
                    </a:lnTo>
                    <a:lnTo>
                      <a:pt x="1166" y="1316"/>
                    </a:lnTo>
                    <a:lnTo>
                      <a:pt x="1164" y="1315"/>
                    </a:lnTo>
                    <a:lnTo>
                      <a:pt x="1166" y="1315"/>
                    </a:lnTo>
                    <a:lnTo>
                      <a:pt x="1164" y="1315"/>
                    </a:lnTo>
                    <a:lnTo>
                      <a:pt x="1164" y="1313"/>
                    </a:lnTo>
                    <a:lnTo>
                      <a:pt x="1162" y="1313"/>
                    </a:lnTo>
                    <a:lnTo>
                      <a:pt x="1162" y="1311"/>
                    </a:lnTo>
                    <a:lnTo>
                      <a:pt x="1161" y="1311"/>
                    </a:lnTo>
                    <a:lnTo>
                      <a:pt x="1161" y="1310"/>
                    </a:lnTo>
                    <a:lnTo>
                      <a:pt x="1159" y="1310"/>
                    </a:lnTo>
                    <a:lnTo>
                      <a:pt x="1157" y="1310"/>
                    </a:lnTo>
                    <a:lnTo>
                      <a:pt x="1156" y="1310"/>
                    </a:lnTo>
                    <a:lnTo>
                      <a:pt x="1157" y="1310"/>
                    </a:lnTo>
                    <a:lnTo>
                      <a:pt x="1157" y="1308"/>
                    </a:lnTo>
                    <a:lnTo>
                      <a:pt x="1159" y="1308"/>
                    </a:lnTo>
                    <a:lnTo>
                      <a:pt x="1161" y="1308"/>
                    </a:lnTo>
                    <a:lnTo>
                      <a:pt x="1159" y="1308"/>
                    </a:lnTo>
                    <a:lnTo>
                      <a:pt x="1159" y="1306"/>
                    </a:lnTo>
                    <a:lnTo>
                      <a:pt x="1157" y="1308"/>
                    </a:lnTo>
                    <a:lnTo>
                      <a:pt x="1156" y="1310"/>
                    </a:lnTo>
                    <a:lnTo>
                      <a:pt x="1156" y="1308"/>
                    </a:lnTo>
                    <a:lnTo>
                      <a:pt x="1156" y="1306"/>
                    </a:lnTo>
                    <a:lnTo>
                      <a:pt x="1157" y="1306"/>
                    </a:lnTo>
                    <a:lnTo>
                      <a:pt x="1157" y="1305"/>
                    </a:lnTo>
                    <a:lnTo>
                      <a:pt x="1159" y="1305"/>
                    </a:lnTo>
                    <a:lnTo>
                      <a:pt x="1159" y="1303"/>
                    </a:lnTo>
                    <a:lnTo>
                      <a:pt x="1159" y="1305"/>
                    </a:lnTo>
                    <a:lnTo>
                      <a:pt x="1159" y="1303"/>
                    </a:lnTo>
                    <a:lnTo>
                      <a:pt x="1161" y="1303"/>
                    </a:lnTo>
                    <a:lnTo>
                      <a:pt x="1161" y="1305"/>
                    </a:lnTo>
                    <a:lnTo>
                      <a:pt x="1161" y="1303"/>
                    </a:lnTo>
                    <a:lnTo>
                      <a:pt x="1159" y="1303"/>
                    </a:lnTo>
                    <a:lnTo>
                      <a:pt x="1159" y="1301"/>
                    </a:lnTo>
                    <a:lnTo>
                      <a:pt x="1161" y="1301"/>
                    </a:lnTo>
                    <a:lnTo>
                      <a:pt x="1161" y="1303"/>
                    </a:lnTo>
                    <a:lnTo>
                      <a:pt x="1162" y="1303"/>
                    </a:lnTo>
                    <a:lnTo>
                      <a:pt x="1162" y="1305"/>
                    </a:lnTo>
                    <a:close/>
                    <a:moveTo>
                      <a:pt x="1208" y="1126"/>
                    </a:moveTo>
                    <a:lnTo>
                      <a:pt x="1210" y="1126"/>
                    </a:lnTo>
                    <a:lnTo>
                      <a:pt x="1212" y="1126"/>
                    </a:lnTo>
                    <a:lnTo>
                      <a:pt x="1212" y="1128"/>
                    </a:lnTo>
                    <a:lnTo>
                      <a:pt x="1212" y="1129"/>
                    </a:lnTo>
                    <a:lnTo>
                      <a:pt x="1210" y="1129"/>
                    </a:lnTo>
                    <a:lnTo>
                      <a:pt x="1210" y="1128"/>
                    </a:lnTo>
                    <a:lnTo>
                      <a:pt x="1208" y="1128"/>
                    </a:lnTo>
                    <a:lnTo>
                      <a:pt x="1210" y="1129"/>
                    </a:lnTo>
                    <a:lnTo>
                      <a:pt x="1208" y="1129"/>
                    </a:lnTo>
                    <a:lnTo>
                      <a:pt x="1210" y="1129"/>
                    </a:lnTo>
                    <a:lnTo>
                      <a:pt x="1212" y="1129"/>
                    </a:lnTo>
                    <a:lnTo>
                      <a:pt x="1210" y="1131"/>
                    </a:lnTo>
                    <a:lnTo>
                      <a:pt x="1210" y="1133"/>
                    </a:lnTo>
                    <a:lnTo>
                      <a:pt x="1210" y="1134"/>
                    </a:lnTo>
                    <a:lnTo>
                      <a:pt x="1212" y="1134"/>
                    </a:lnTo>
                    <a:lnTo>
                      <a:pt x="1212" y="1136"/>
                    </a:lnTo>
                    <a:lnTo>
                      <a:pt x="1210" y="1134"/>
                    </a:lnTo>
                    <a:lnTo>
                      <a:pt x="1208" y="1134"/>
                    </a:lnTo>
                    <a:lnTo>
                      <a:pt x="1207" y="1133"/>
                    </a:lnTo>
                    <a:lnTo>
                      <a:pt x="1208" y="1134"/>
                    </a:lnTo>
                    <a:lnTo>
                      <a:pt x="1208" y="1136"/>
                    </a:lnTo>
                    <a:lnTo>
                      <a:pt x="1210" y="1136"/>
                    </a:lnTo>
                    <a:lnTo>
                      <a:pt x="1210" y="1138"/>
                    </a:lnTo>
                    <a:lnTo>
                      <a:pt x="1210" y="1140"/>
                    </a:lnTo>
                    <a:lnTo>
                      <a:pt x="1208" y="1141"/>
                    </a:lnTo>
                    <a:lnTo>
                      <a:pt x="1208" y="1140"/>
                    </a:lnTo>
                    <a:lnTo>
                      <a:pt x="1207" y="1140"/>
                    </a:lnTo>
                    <a:lnTo>
                      <a:pt x="1207" y="1138"/>
                    </a:lnTo>
                    <a:lnTo>
                      <a:pt x="1205" y="1138"/>
                    </a:lnTo>
                    <a:lnTo>
                      <a:pt x="1205" y="1136"/>
                    </a:lnTo>
                    <a:lnTo>
                      <a:pt x="1203" y="1138"/>
                    </a:lnTo>
                    <a:lnTo>
                      <a:pt x="1203" y="1136"/>
                    </a:lnTo>
                    <a:lnTo>
                      <a:pt x="1203" y="1134"/>
                    </a:lnTo>
                    <a:lnTo>
                      <a:pt x="1203" y="1133"/>
                    </a:lnTo>
                    <a:lnTo>
                      <a:pt x="1205" y="1131"/>
                    </a:lnTo>
                    <a:lnTo>
                      <a:pt x="1205" y="1129"/>
                    </a:lnTo>
                    <a:lnTo>
                      <a:pt x="1205" y="1128"/>
                    </a:lnTo>
                    <a:lnTo>
                      <a:pt x="1207" y="1126"/>
                    </a:lnTo>
                    <a:lnTo>
                      <a:pt x="1207" y="1124"/>
                    </a:lnTo>
                    <a:lnTo>
                      <a:pt x="1207" y="1126"/>
                    </a:lnTo>
                    <a:lnTo>
                      <a:pt x="1208" y="1126"/>
                    </a:lnTo>
                    <a:close/>
                    <a:moveTo>
                      <a:pt x="1162" y="1245"/>
                    </a:moveTo>
                    <a:lnTo>
                      <a:pt x="1164" y="1245"/>
                    </a:lnTo>
                    <a:lnTo>
                      <a:pt x="1164" y="1247"/>
                    </a:lnTo>
                    <a:lnTo>
                      <a:pt x="1164" y="1248"/>
                    </a:lnTo>
                    <a:lnTo>
                      <a:pt x="1162" y="1248"/>
                    </a:lnTo>
                    <a:lnTo>
                      <a:pt x="1164" y="1248"/>
                    </a:lnTo>
                    <a:lnTo>
                      <a:pt x="1164" y="1250"/>
                    </a:lnTo>
                    <a:lnTo>
                      <a:pt x="1166" y="1250"/>
                    </a:lnTo>
                    <a:lnTo>
                      <a:pt x="1164" y="1250"/>
                    </a:lnTo>
                    <a:lnTo>
                      <a:pt x="1166" y="1250"/>
                    </a:lnTo>
                    <a:lnTo>
                      <a:pt x="1168" y="1252"/>
                    </a:lnTo>
                    <a:lnTo>
                      <a:pt x="1169" y="1252"/>
                    </a:lnTo>
                    <a:lnTo>
                      <a:pt x="1171" y="1253"/>
                    </a:lnTo>
                    <a:lnTo>
                      <a:pt x="1169" y="1255"/>
                    </a:lnTo>
                    <a:lnTo>
                      <a:pt x="1171" y="1253"/>
                    </a:lnTo>
                    <a:lnTo>
                      <a:pt x="1171" y="1255"/>
                    </a:lnTo>
                    <a:lnTo>
                      <a:pt x="1171" y="1257"/>
                    </a:lnTo>
                    <a:lnTo>
                      <a:pt x="1171" y="1255"/>
                    </a:lnTo>
                    <a:lnTo>
                      <a:pt x="1169" y="1255"/>
                    </a:lnTo>
                    <a:lnTo>
                      <a:pt x="1168" y="1255"/>
                    </a:lnTo>
                    <a:lnTo>
                      <a:pt x="1166" y="1255"/>
                    </a:lnTo>
                    <a:lnTo>
                      <a:pt x="1164" y="1253"/>
                    </a:lnTo>
                    <a:lnTo>
                      <a:pt x="1162" y="1253"/>
                    </a:lnTo>
                    <a:lnTo>
                      <a:pt x="1161" y="1253"/>
                    </a:lnTo>
                    <a:lnTo>
                      <a:pt x="1162" y="1253"/>
                    </a:lnTo>
                    <a:lnTo>
                      <a:pt x="1164" y="1253"/>
                    </a:lnTo>
                    <a:lnTo>
                      <a:pt x="1164" y="1255"/>
                    </a:lnTo>
                    <a:lnTo>
                      <a:pt x="1166" y="1255"/>
                    </a:lnTo>
                    <a:lnTo>
                      <a:pt x="1166" y="1257"/>
                    </a:lnTo>
                    <a:lnTo>
                      <a:pt x="1166" y="1255"/>
                    </a:lnTo>
                    <a:lnTo>
                      <a:pt x="1168" y="1257"/>
                    </a:lnTo>
                    <a:lnTo>
                      <a:pt x="1169" y="1257"/>
                    </a:lnTo>
                    <a:lnTo>
                      <a:pt x="1169" y="1259"/>
                    </a:lnTo>
                    <a:lnTo>
                      <a:pt x="1168" y="1260"/>
                    </a:lnTo>
                    <a:lnTo>
                      <a:pt x="1168" y="1259"/>
                    </a:lnTo>
                    <a:lnTo>
                      <a:pt x="1168" y="1257"/>
                    </a:lnTo>
                    <a:lnTo>
                      <a:pt x="1166" y="1257"/>
                    </a:lnTo>
                    <a:lnTo>
                      <a:pt x="1164" y="1257"/>
                    </a:lnTo>
                    <a:lnTo>
                      <a:pt x="1164" y="1255"/>
                    </a:lnTo>
                    <a:lnTo>
                      <a:pt x="1162" y="1255"/>
                    </a:lnTo>
                    <a:lnTo>
                      <a:pt x="1161" y="1255"/>
                    </a:lnTo>
                    <a:lnTo>
                      <a:pt x="1159" y="1255"/>
                    </a:lnTo>
                    <a:lnTo>
                      <a:pt x="1159" y="1253"/>
                    </a:lnTo>
                    <a:lnTo>
                      <a:pt x="1159" y="1255"/>
                    </a:lnTo>
                    <a:lnTo>
                      <a:pt x="1159" y="1253"/>
                    </a:lnTo>
                    <a:lnTo>
                      <a:pt x="1161" y="1253"/>
                    </a:lnTo>
                    <a:lnTo>
                      <a:pt x="1159" y="1253"/>
                    </a:lnTo>
                    <a:lnTo>
                      <a:pt x="1161" y="1253"/>
                    </a:lnTo>
                    <a:lnTo>
                      <a:pt x="1161" y="1252"/>
                    </a:lnTo>
                    <a:lnTo>
                      <a:pt x="1159" y="1252"/>
                    </a:lnTo>
                    <a:lnTo>
                      <a:pt x="1161" y="1252"/>
                    </a:lnTo>
                    <a:lnTo>
                      <a:pt x="1162" y="1252"/>
                    </a:lnTo>
                    <a:lnTo>
                      <a:pt x="1161" y="1252"/>
                    </a:lnTo>
                    <a:lnTo>
                      <a:pt x="1162" y="1250"/>
                    </a:lnTo>
                    <a:lnTo>
                      <a:pt x="1162" y="1252"/>
                    </a:lnTo>
                    <a:lnTo>
                      <a:pt x="1164" y="1252"/>
                    </a:lnTo>
                    <a:lnTo>
                      <a:pt x="1164" y="1250"/>
                    </a:lnTo>
                    <a:lnTo>
                      <a:pt x="1162" y="1250"/>
                    </a:lnTo>
                    <a:lnTo>
                      <a:pt x="1161" y="1250"/>
                    </a:lnTo>
                    <a:lnTo>
                      <a:pt x="1159" y="1250"/>
                    </a:lnTo>
                    <a:lnTo>
                      <a:pt x="1161" y="1252"/>
                    </a:lnTo>
                    <a:lnTo>
                      <a:pt x="1159" y="1252"/>
                    </a:lnTo>
                    <a:lnTo>
                      <a:pt x="1157" y="1252"/>
                    </a:lnTo>
                    <a:lnTo>
                      <a:pt x="1156" y="1252"/>
                    </a:lnTo>
                    <a:lnTo>
                      <a:pt x="1156" y="1253"/>
                    </a:lnTo>
                    <a:lnTo>
                      <a:pt x="1156" y="1252"/>
                    </a:lnTo>
                    <a:lnTo>
                      <a:pt x="1157" y="1250"/>
                    </a:lnTo>
                    <a:lnTo>
                      <a:pt x="1159" y="1250"/>
                    </a:lnTo>
                    <a:lnTo>
                      <a:pt x="1159" y="1248"/>
                    </a:lnTo>
                    <a:lnTo>
                      <a:pt x="1157" y="1250"/>
                    </a:lnTo>
                    <a:lnTo>
                      <a:pt x="1159" y="1250"/>
                    </a:lnTo>
                    <a:lnTo>
                      <a:pt x="1157" y="1250"/>
                    </a:lnTo>
                    <a:lnTo>
                      <a:pt x="1156" y="1250"/>
                    </a:lnTo>
                    <a:lnTo>
                      <a:pt x="1157" y="1250"/>
                    </a:lnTo>
                    <a:lnTo>
                      <a:pt x="1157" y="1248"/>
                    </a:lnTo>
                    <a:lnTo>
                      <a:pt x="1159" y="1248"/>
                    </a:lnTo>
                    <a:lnTo>
                      <a:pt x="1157" y="1248"/>
                    </a:lnTo>
                    <a:lnTo>
                      <a:pt x="1159" y="1248"/>
                    </a:lnTo>
                    <a:lnTo>
                      <a:pt x="1161" y="1248"/>
                    </a:lnTo>
                    <a:lnTo>
                      <a:pt x="1161" y="1247"/>
                    </a:lnTo>
                    <a:lnTo>
                      <a:pt x="1162" y="1247"/>
                    </a:lnTo>
                    <a:lnTo>
                      <a:pt x="1162" y="1245"/>
                    </a:lnTo>
                    <a:close/>
                    <a:moveTo>
                      <a:pt x="1159" y="1420"/>
                    </a:moveTo>
                    <a:lnTo>
                      <a:pt x="1159" y="1422"/>
                    </a:lnTo>
                    <a:lnTo>
                      <a:pt x="1159" y="1424"/>
                    </a:lnTo>
                    <a:lnTo>
                      <a:pt x="1159" y="1425"/>
                    </a:lnTo>
                    <a:lnTo>
                      <a:pt x="1157" y="1425"/>
                    </a:lnTo>
                    <a:lnTo>
                      <a:pt x="1159" y="1427"/>
                    </a:lnTo>
                    <a:lnTo>
                      <a:pt x="1157" y="1427"/>
                    </a:lnTo>
                    <a:lnTo>
                      <a:pt x="1157" y="1429"/>
                    </a:lnTo>
                    <a:lnTo>
                      <a:pt x="1159" y="1429"/>
                    </a:lnTo>
                    <a:lnTo>
                      <a:pt x="1157" y="1427"/>
                    </a:lnTo>
                    <a:lnTo>
                      <a:pt x="1159" y="1425"/>
                    </a:lnTo>
                    <a:lnTo>
                      <a:pt x="1159" y="1424"/>
                    </a:lnTo>
                    <a:lnTo>
                      <a:pt x="1161" y="1424"/>
                    </a:lnTo>
                    <a:lnTo>
                      <a:pt x="1161" y="1425"/>
                    </a:lnTo>
                    <a:lnTo>
                      <a:pt x="1162" y="1425"/>
                    </a:lnTo>
                    <a:lnTo>
                      <a:pt x="1162" y="1427"/>
                    </a:lnTo>
                    <a:lnTo>
                      <a:pt x="1162" y="1429"/>
                    </a:lnTo>
                    <a:lnTo>
                      <a:pt x="1162" y="1427"/>
                    </a:lnTo>
                    <a:lnTo>
                      <a:pt x="1161" y="1427"/>
                    </a:lnTo>
                    <a:lnTo>
                      <a:pt x="1162" y="1429"/>
                    </a:lnTo>
                    <a:lnTo>
                      <a:pt x="1162" y="1430"/>
                    </a:lnTo>
                    <a:lnTo>
                      <a:pt x="1161" y="1429"/>
                    </a:lnTo>
                    <a:lnTo>
                      <a:pt x="1161" y="1427"/>
                    </a:lnTo>
                    <a:lnTo>
                      <a:pt x="1161" y="1429"/>
                    </a:lnTo>
                    <a:lnTo>
                      <a:pt x="1161" y="1430"/>
                    </a:lnTo>
                    <a:lnTo>
                      <a:pt x="1161" y="1429"/>
                    </a:lnTo>
                    <a:lnTo>
                      <a:pt x="1161" y="1430"/>
                    </a:lnTo>
                    <a:lnTo>
                      <a:pt x="1159" y="1432"/>
                    </a:lnTo>
                    <a:lnTo>
                      <a:pt x="1159" y="1430"/>
                    </a:lnTo>
                    <a:lnTo>
                      <a:pt x="1159" y="1432"/>
                    </a:lnTo>
                    <a:lnTo>
                      <a:pt x="1159" y="1434"/>
                    </a:lnTo>
                    <a:lnTo>
                      <a:pt x="1159" y="1432"/>
                    </a:lnTo>
                    <a:lnTo>
                      <a:pt x="1157" y="1432"/>
                    </a:lnTo>
                    <a:lnTo>
                      <a:pt x="1159" y="1430"/>
                    </a:lnTo>
                    <a:lnTo>
                      <a:pt x="1157" y="1430"/>
                    </a:lnTo>
                    <a:lnTo>
                      <a:pt x="1157" y="1432"/>
                    </a:lnTo>
                    <a:lnTo>
                      <a:pt x="1157" y="1434"/>
                    </a:lnTo>
                    <a:lnTo>
                      <a:pt x="1157" y="1435"/>
                    </a:lnTo>
                    <a:lnTo>
                      <a:pt x="1157" y="1437"/>
                    </a:lnTo>
                    <a:lnTo>
                      <a:pt x="1157" y="1439"/>
                    </a:lnTo>
                    <a:lnTo>
                      <a:pt x="1157" y="1441"/>
                    </a:lnTo>
                    <a:lnTo>
                      <a:pt x="1156" y="1439"/>
                    </a:lnTo>
                    <a:lnTo>
                      <a:pt x="1156" y="1437"/>
                    </a:lnTo>
                    <a:lnTo>
                      <a:pt x="1156" y="1439"/>
                    </a:lnTo>
                    <a:lnTo>
                      <a:pt x="1156" y="1441"/>
                    </a:lnTo>
                    <a:lnTo>
                      <a:pt x="1156" y="1442"/>
                    </a:lnTo>
                    <a:lnTo>
                      <a:pt x="1154" y="1441"/>
                    </a:lnTo>
                    <a:lnTo>
                      <a:pt x="1152" y="1442"/>
                    </a:lnTo>
                    <a:lnTo>
                      <a:pt x="1152" y="1441"/>
                    </a:lnTo>
                    <a:lnTo>
                      <a:pt x="1151" y="1441"/>
                    </a:lnTo>
                    <a:lnTo>
                      <a:pt x="1151" y="1439"/>
                    </a:lnTo>
                    <a:lnTo>
                      <a:pt x="1152" y="1439"/>
                    </a:lnTo>
                    <a:lnTo>
                      <a:pt x="1152" y="1437"/>
                    </a:lnTo>
                    <a:lnTo>
                      <a:pt x="1151" y="1437"/>
                    </a:lnTo>
                    <a:lnTo>
                      <a:pt x="1152" y="1435"/>
                    </a:lnTo>
                    <a:lnTo>
                      <a:pt x="1152" y="1437"/>
                    </a:lnTo>
                    <a:lnTo>
                      <a:pt x="1152" y="1435"/>
                    </a:lnTo>
                    <a:lnTo>
                      <a:pt x="1154" y="1435"/>
                    </a:lnTo>
                    <a:lnTo>
                      <a:pt x="1154" y="1434"/>
                    </a:lnTo>
                    <a:lnTo>
                      <a:pt x="1154" y="1435"/>
                    </a:lnTo>
                    <a:lnTo>
                      <a:pt x="1156" y="1434"/>
                    </a:lnTo>
                    <a:lnTo>
                      <a:pt x="1156" y="1432"/>
                    </a:lnTo>
                    <a:lnTo>
                      <a:pt x="1154" y="1432"/>
                    </a:lnTo>
                    <a:lnTo>
                      <a:pt x="1156" y="1430"/>
                    </a:lnTo>
                    <a:lnTo>
                      <a:pt x="1156" y="1429"/>
                    </a:lnTo>
                    <a:lnTo>
                      <a:pt x="1157" y="1429"/>
                    </a:lnTo>
                    <a:lnTo>
                      <a:pt x="1157" y="1427"/>
                    </a:lnTo>
                    <a:lnTo>
                      <a:pt x="1156" y="1427"/>
                    </a:lnTo>
                    <a:lnTo>
                      <a:pt x="1156" y="1425"/>
                    </a:lnTo>
                    <a:lnTo>
                      <a:pt x="1156" y="1424"/>
                    </a:lnTo>
                    <a:lnTo>
                      <a:pt x="1157" y="1424"/>
                    </a:lnTo>
                    <a:lnTo>
                      <a:pt x="1157" y="1422"/>
                    </a:lnTo>
                    <a:lnTo>
                      <a:pt x="1159" y="1420"/>
                    </a:lnTo>
                    <a:close/>
                    <a:moveTo>
                      <a:pt x="1154" y="1303"/>
                    </a:moveTo>
                    <a:lnTo>
                      <a:pt x="1152" y="1303"/>
                    </a:lnTo>
                    <a:lnTo>
                      <a:pt x="1151" y="1303"/>
                    </a:lnTo>
                    <a:lnTo>
                      <a:pt x="1152" y="1305"/>
                    </a:lnTo>
                    <a:lnTo>
                      <a:pt x="1152" y="1303"/>
                    </a:lnTo>
                    <a:lnTo>
                      <a:pt x="1154" y="1303"/>
                    </a:lnTo>
                    <a:lnTo>
                      <a:pt x="1154" y="1305"/>
                    </a:lnTo>
                    <a:lnTo>
                      <a:pt x="1154" y="1306"/>
                    </a:lnTo>
                    <a:lnTo>
                      <a:pt x="1154" y="1308"/>
                    </a:lnTo>
                    <a:lnTo>
                      <a:pt x="1152" y="1308"/>
                    </a:lnTo>
                    <a:lnTo>
                      <a:pt x="1152" y="1310"/>
                    </a:lnTo>
                    <a:lnTo>
                      <a:pt x="1152" y="1308"/>
                    </a:lnTo>
                    <a:lnTo>
                      <a:pt x="1151" y="1308"/>
                    </a:lnTo>
                    <a:lnTo>
                      <a:pt x="1151" y="1310"/>
                    </a:lnTo>
                    <a:lnTo>
                      <a:pt x="1151" y="1311"/>
                    </a:lnTo>
                    <a:lnTo>
                      <a:pt x="1149" y="1311"/>
                    </a:lnTo>
                    <a:lnTo>
                      <a:pt x="1151" y="1310"/>
                    </a:lnTo>
                    <a:lnTo>
                      <a:pt x="1149" y="1310"/>
                    </a:lnTo>
                    <a:lnTo>
                      <a:pt x="1151" y="1308"/>
                    </a:lnTo>
                    <a:lnTo>
                      <a:pt x="1149" y="1310"/>
                    </a:lnTo>
                    <a:lnTo>
                      <a:pt x="1149" y="1311"/>
                    </a:lnTo>
                    <a:lnTo>
                      <a:pt x="1149" y="1310"/>
                    </a:lnTo>
                    <a:lnTo>
                      <a:pt x="1149" y="1311"/>
                    </a:lnTo>
                    <a:lnTo>
                      <a:pt x="1147" y="1310"/>
                    </a:lnTo>
                    <a:lnTo>
                      <a:pt x="1149" y="1311"/>
                    </a:lnTo>
                    <a:lnTo>
                      <a:pt x="1147" y="1311"/>
                    </a:lnTo>
                    <a:lnTo>
                      <a:pt x="1147" y="1313"/>
                    </a:lnTo>
                    <a:lnTo>
                      <a:pt x="1149" y="1313"/>
                    </a:lnTo>
                    <a:lnTo>
                      <a:pt x="1147" y="1315"/>
                    </a:lnTo>
                    <a:lnTo>
                      <a:pt x="1145" y="1315"/>
                    </a:lnTo>
                    <a:lnTo>
                      <a:pt x="1144" y="1315"/>
                    </a:lnTo>
                    <a:lnTo>
                      <a:pt x="1144" y="1313"/>
                    </a:lnTo>
                    <a:lnTo>
                      <a:pt x="1142" y="1315"/>
                    </a:lnTo>
                    <a:lnTo>
                      <a:pt x="1142" y="1313"/>
                    </a:lnTo>
                    <a:lnTo>
                      <a:pt x="1142" y="1311"/>
                    </a:lnTo>
                    <a:lnTo>
                      <a:pt x="1142" y="1313"/>
                    </a:lnTo>
                    <a:lnTo>
                      <a:pt x="1144" y="1313"/>
                    </a:lnTo>
                    <a:lnTo>
                      <a:pt x="1142" y="1311"/>
                    </a:lnTo>
                    <a:lnTo>
                      <a:pt x="1144" y="1311"/>
                    </a:lnTo>
                    <a:lnTo>
                      <a:pt x="1142" y="1311"/>
                    </a:lnTo>
                    <a:lnTo>
                      <a:pt x="1142" y="1310"/>
                    </a:lnTo>
                    <a:lnTo>
                      <a:pt x="1144" y="1308"/>
                    </a:lnTo>
                    <a:lnTo>
                      <a:pt x="1145" y="1306"/>
                    </a:lnTo>
                    <a:lnTo>
                      <a:pt x="1145" y="1308"/>
                    </a:lnTo>
                    <a:lnTo>
                      <a:pt x="1144" y="1310"/>
                    </a:lnTo>
                    <a:lnTo>
                      <a:pt x="1144" y="1311"/>
                    </a:lnTo>
                    <a:lnTo>
                      <a:pt x="1144" y="1310"/>
                    </a:lnTo>
                    <a:lnTo>
                      <a:pt x="1145" y="1310"/>
                    </a:lnTo>
                    <a:lnTo>
                      <a:pt x="1145" y="1308"/>
                    </a:lnTo>
                    <a:lnTo>
                      <a:pt x="1147" y="1308"/>
                    </a:lnTo>
                    <a:lnTo>
                      <a:pt x="1145" y="1308"/>
                    </a:lnTo>
                    <a:lnTo>
                      <a:pt x="1145" y="1306"/>
                    </a:lnTo>
                    <a:lnTo>
                      <a:pt x="1147" y="1306"/>
                    </a:lnTo>
                    <a:lnTo>
                      <a:pt x="1149" y="1305"/>
                    </a:lnTo>
                    <a:lnTo>
                      <a:pt x="1149" y="1306"/>
                    </a:lnTo>
                    <a:lnTo>
                      <a:pt x="1149" y="1305"/>
                    </a:lnTo>
                    <a:lnTo>
                      <a:pt x="1151" y="1305"/>
                    </a:lnTo>
                    <a:lnTo>
                      <a:pt x="1149" y="1305"/>
                    </a:lnTo>
                    <a:lnTo>
                      <a:pt x="1149" y="1303"/>
                    </a:lnTo>
                    <a:lnTo>
                      <a:pt x="1151" y="1301"/>
                    </a:lnTo>
                    <a:lnTo>
                      <a:pt x="1151" y="1299"/>
                    </a:lnTo>
                    <a:lnTo>
                      <a:pt x="1152" y="1299"/>
                    </a:lnTo>
                    <a:lnTo>
                      <a:pt x="1152" y="1301"/>
                    </a:lnTo>
                    <a:lnTo>
                      <a:pt x="1154" y="1301"/>
                    </a:lnTo>
                    <a:lnTo>
                      <a:pt x="1154" y="1303"/>
                    </a:lnTo>
                    <a:close/>
                    <a:moveTo>
                      <a:pt x="1212" y="1539"/>
                    </a:moveTo>
                    <a:lnTo>
                      <a:pt x="1212" y="1541"/>
                    </a:lnTo>
                    <a:lnTo>
                      <a:pt x="1213" y="1541"/>
                    </a:lnTo>
                    <a:lnTo>
                      <a:pt x="1213" y="1539"/>
                    </a:lnTo>
                    <a:lnTo>
                      <a:pt x="1215" y="1539"/>
                    </a:lnTo>
                    <a:lnTo>
                      <a:pt x="1217" y="1539"/>
                    </a:lnTo>
                    <a:lnTo>
                      <a:pt x="1217" y="1541"/>
                    </a:lnTo>
                    <a:lnTo>
                      <a:pt x="1219" y="1543"/>
                    </a:lnTo>
                    <a:lnTo>
                      <a:pt x="1217" y="1543"/>
                    </a:lnTo>
                    <a:lnTo>
                      <a:pt x="1217" y="1541"/>
                    </a:lnTo>
                    <a:lnTo>
                      <a:pt x="1217" y="1543"/>
                    </a:lnTo>
                    <a:lnTo>
                      <a:pt x="1215" y="1543"/>
                    </a:lnTo>
                    <a:lnTo>
                      <a:pt x="1215" y="1544"/>
                    </a:lnTo>
                    <a:lnTo>
                      <a:pt x="1213" y="1544"/>
                    </a:lnTo>
                    <a:lnTo>
                      <a:pt x="1213" y="1546"/>
                    </a:lnTo>
                    <a:lnTo>
                      <a:pt x="1215" y="1546"/>
                    </a:lnTo>
                    <a:lnTo>
                      <a:pt x="1213" y="1544"/>
                    </a:lnTo>
                    <a:lnTo>
                      <a:pt x="1215" y="1544"/>
                    </a:lnTo>
                    <a:lnTo>
                      <a:pt x="1217" y="1546"/>
                    </a:lnTo>
                    <a:lnTo>
                      <a:pt x="1217" y="1548"/>
                    </a:lnTo>
                    <a:lnTo>
                      <a:pt x="1219" y="1548"/>
                    </a:lnTo>
                    <a:lnTo>
                      <a:pt x="1217" y="1548"/>
                    </a:lnTo>
                    <a:lnTo>
                      <a:pt x="1219" y="1549"/>
                    </a:lnTo>
                    <a:lnTo>
                      <a:pt x="1217" y="1548"/>
                    </a:lnTo>
                    <a:lnTo>
                      <a:pt x="1217" y="1549"/>
                    </a:lnTo>
                    <a:lnTo>
                      <a:pt x="1219" y="1549"/>
                    </a:lnTo>
                    <a:lnTo>
                      <a:pt x="1219" y="1551"/>
                    </a:lnTo>
                    <a:lnTo>
                      <a:pt x="1217" y="1551"/>
                    </a:lnTo>
                    <a:lnTo>
                      <a:pt x="1215" y="1549"/>
                    </a:lnTo>
                    <a:lnTo>
                      <a:pt x="1215" y="1551"/>
                    </a:lnTo>
                    <a:lnTo>
                      <a:pt x="1213" y="1551"/>
                    </a:lnTo>
                    <a:lnTo>
                      <a:pt x="1213" y="1549"/>
                    </a:lnTo>
                    <a:lnTo>
                      <a:pt x="1212" y="1548"/>
                    </a:lnTo>
                    <a:lnTo>
                      <a:pt x="1213" y="1549"/>
                    </a:lnTo>
                    <a:lnTo>
                      <a:pt x="1212" y="1549"/>
                    </a:lnTo>
                    <a:lnTo>
                      <a:pt x="1213" y="1551"/>
                    </a:lnTo>
                    <a:lnTo>
                      <a:pt x="1212" y="1551"/>
                    </a:lnTo>
                    <a:lnTo>
                      <a:pt x="1210" y="1551"/>
                    </a:lnTo>
                    <a:lnTo>
                      <a:pt x="1212" y="1549"/>
                    </a:lnTo>
                    <a:lnTo>
                      <a:pt x="1210" y="1549"/>
                    </a:lnTo>
                    <a:lnTo>
                      <a:pt x="1212" y="1549"/>
                    </a:lnTo>
                    <a:lnTo>
                      <a:pt x="1210" y="1549"/>
                    </a:lnTo>
                    <a:lnTo>
                      <a:pt x="1208" y="1548"/>
                    </a:lnTo>
                    <a:lnTo>
                      <a:pt x="1208" y="1549"/>
                    </a:lnTo>
                    <a:lnTo>
                      <a:pt x="1210" y="1549"/>
                    </a:lnTo>
                    <a:lnTo>
                      <a:pt x="1208" y="1549"/>
                    </a:lnTo>
                    <a:lnTo>
                      <a:pt x="1207" y="1548"/>
                    </a:lnTo>
                    <a:lnTo>
                      <a:pt x="1208" y="1546"/>
                    </a:lnTo>
                    <a:lnTo>
                      <a:pt x="1207" y="1546"/>
                    </a:lnTo>
                    <a:lnTo>
                      <a:pt x="1205" y="1548"/>
                    </a:lnTo>
                    <a:lnTo>
                      <a:pt x="1205" y="1546"/>
                    </a:lnTo>
                    <a:lnTo>
                      <a:pt x="1205" y="1544"/>
                    </a:lnTo>
                    <a:lnTo>
                      <a:pt x="1203" y="1544"/>
                    </a:lnTo>
                    <a:lnTo>
                      <a:pt x="1205" y="1544"/>
                    </a:lnTo>
                    <a:lnTo>
                      <a:pt x="1203" y="1544"/>
                    </a:lnTo>
                    <a:lnTo>
                      <a:pt x="1203" y="1543"/>
                    </a:lnTo>
                    <a:lnTo>
                      <a:pt x="1203" y="1541"/>
                    </a:lnTo>
                    <a:lnTo>
                      <a:pt x="1205" y="1543"/>
                    </a:lnTo>
                    <a:lnTo>
                      <a:pt x="1207" y="1544"/>
                    </a:lnTo>
                    <a:lnTo>
                      <a:pt x="1207" y="1546"/>
                    </a:lnTo>
                    <a:lnTo>
                      <a:pt x="1207" y="1544"/>
                    </a:lnTo>
                    <a:lnTo>
                      <a:pt x="1207" y="1546"/>
                    </a:lnTo>
                    <a:lnTo>
                      <a:pt x="1208" y="1546"/>
                    </a:lnTo>
                    <a:lnTo>
                      <a:pt x="1208" y="1544"/>
                    </a:lnTo>
                    <a:lnTo>
                      <a:pt x="1208" y="1546"/>
                    </a:lnTo>
                    <a:lnTo>
                      <a:pt x="1210" y="1546"/>
                    </a:lnTo>
                    <a:lnTo>
                      <a:pt x="1212" y="1546"/>
                    </a:lnTo>
                    <a:lnTo>
                      <a:pt x="1210" y="1548"/>
                    </a:lnTo>
                    <a:lnTo>
                      <a:pt x="1212" y="1548"/>
                    </a:lnTo>
                    <a:lnTo>
                      <a:pt x="1213" y="1548"/>
                    </a:lnTo>
                    <a:lnTo>
                      <a:pt x="1213" y="1549"/>
                    </a:lnTo>
                    <a:lnTo>
                      <a:pt x="1215" y="1549"/>
                    </a:lnTo>
                    <a:lnTo>
                      <a:pt x="1213" y="1548"/>
                    </a:lnTo>
                    <a:lnTo>
                      <a:pt x="1212" y="1548"/>
                    </a:lnTo>
                    <a:lnTo>
                      <a:pt x="1212" y="1546"/>
                    </a:lnTo>
                    <a:lnTo>
                      <a:pt x="1210" y="1546"/>
                    </a:lnTo>
                    <a:lnTo>
                      <a:pt x="1210" y="1544"/>
                    </a:lnTo>
                    <a:lnTo>
                      <a:pt x="1208" y="1544"/>
                    </a:lnTo>
                    <a:lnTo>
                      <a:pt x="1208" y="1543"/>
                    </a:lnTo>
                    <a:lnTo>
                      <a:pt x="1210" y="1544"/>
                    </a:lnTo>
                    <a:lnTo>
                      <a:pt x="1210" y="1543"/>
                    </a:lnTo>
                    <a:lnTo>
                      <a:pt x="1212" y="1544"/>
                    </a:lnTo>
                    <a:lnTo>
                      <a:pt x="1213" y="1544"/>
                    </a:lnTo>
                    <a:lnTo>
                      <a:pt x="1212" y="1543"/>
                    </a:lnTo>
                    <a:lnTo>
                      <a:pt x="1213" y="1543"/>
                    </a:lnTo>
                    <a:lnTo>
                      <a:pt x="1212" y="1543"/>
                    </a:lnTo>
                    <a:lnTo>
                      <a:pt x="1210" y="1543"/>
                    </a:lnTo>
                    <a:lnTo>
                      <a:pt x="1210" y="1541"/>
                    </a:lnTo>
                    <a:lnTo>
                      <a:pt x="1210" y="1539"/>
                    </a:lnTo>
                    <a:lnTo>
                      <a:pt x="1212" y="1539"/>
                    </a:lnTo>
                    <a:close/>
                    <a:moveTo>
                      <a:pt x="1191" y="1097"/>
                    </a:moveTo>
                    <a:lnTo>
                      <a:pt x="1193" y="1099"/>
                    </a:lnTo>
                    <a:lnTo>
                      <a:pt x="1195" y="1099"/>
                    </a:lnTo>
                    <a:lnTo>
                      <a:pt x="1196" y="1099"/>
                    </a:lnTo>
                    <a:lnTo>
                      <a:pt x="1198" y="1099"/>
                    </a:lnTo>
                    <a:lnTo>
                      <a:pt x="1198" y="1100"/>
                    </a:lnTo>
                    <a:lnTo>
                      <a:pt x="1200" y="1102"/>
                    </a:lnTo>
                    <a:lnTo>
                      <a:pt x="1200" y="1104"/>
                    </a:lnTo>
                    <a:lnTo>
                      <a:pt x="1198" y="1104"/>
                    </a:lnTo>
                    <a:lnTo>
                      <a:pt x="1196" y="1104"/>
                    </a:lnTo>
                    <a:lnTo>
                      <a:pt x="1195" y="1104"/>
                    </a:lnTo>
                    <a:lnTo>
                      <a:pt x="1195" y="1102"/>
                    </a:lnTo>
                    <a:lnTo>
                      <a:pt x="1195" y="1104"/>
                    </a:lnTo>
                    <a:lnTo>
                      <a:pt x="1193" y="1102"/>
                    </a:lnTo>
                    <a:lnTo>
                      <a:pt x="1195" y="1102"/>
                    </a:lnTo>
                    <a:lnTo>
                      <a:pt x="1195" y="1104"/>
                    </a:lnTo>
                    <a:lnTo>
                      <a:pt x="1195" y="1105"/>
                    </a:lnTo>
                    <a:lnTo>
                      <a:pt x="1193" y="1104"/>
                    </a:lnTo>
                    <a:lnTo>
                      <a:pt x="1193" y="1105"/>
                    </a:lnTo>
                    <a:lnTo>
                      <a:pt x="1191" y="1105"/>
                    </a:lnTo>
                    <a:lnTo>
                      <a:pt x="1191" y="1104"/>
                    </a:lnTo>
                    <a:lnTo>
                      <a:pt x="1190" y="1104"/>
                    </a:lnTo>
                    <a:lnTo>
                      <a:pt x="1190" y="1105"/>
                    </a:lnTo>
                    <a:lnTo>
                      <a:pt x="1188" y="1105"/>
                    </a:lnTo>
                    <a:lnTo>
                      <a:pt x="1186" y="1105"/>
                    </a:lnTo>
                    <a:lnTo>
                      <a:pt x="1185" y="1105"/>
                    </a:lnTo>
                    <a:lnTo>
                      <a:pt x="1185" y="1104"/>
                    </a:lnTo>
                    <a:lnTo>
                      <a:pt x="1183" y="1104"/>
                    </a:lnTo>
                    <a:lnTo>
                      <a:pt x="1185" y="1104"/>
                    </a:lnTo>
                    <a:lnTo>
                      <a:pt x="1186" y="1102"/>
                    </a:lnTo>
                    <a:lnTo>
                      <a:pt x="1188" y="1100"/>
                    </a:lnTo>
                    <a:lnTo>
                      <a:pt x="1188" y="1099"/>
                    </a:lnTo>
                    <a:lnTo>
                      <a:pt x="1190" y="1099"/>
                    </a:lnTo>
                    <a:lnTo>
                      <a:pt x="1191" y="1097"/>
                    </a:lnTo>
                    <a:close/>
                    <a:moveTo>
                      <a:pt x="1174" y="1449"/>
                    </a:moveTo>
                    <a:lnTo>
                      <a:pt x="1174" y="1451"/>
                    </a:lnTo>
                    <a:lnTo>
                      <a:pt x="1174" y="1453"/>
                    </a:lnTo>
                    <a:lnTo>
                      <a:pt x="1176" y="1453"/>
                    </a:lnTo>
                    <a:lnTo>
                      <a:pt x="1174" y="1453"/>
                    </a:lnTo>
                    <a:lnTo>
                      <a:pt x="1174" y="1454"/>
                    </a:lnTo>
                    <a:lnTo>
                      <a:pt x="1173" y="1454"/>
                    </a:lnTo>
                    <a:lnTo>
                      <a:pt x="1173" y="1456"/>
                    </a:lnTo>
                    <a:lnTo>
                      <a:pt x="1174" y="1456"/>
                    </a:lnTo>
                    <a:lnTo>
                      <a:pt x="1174" y="1454"/>
                    </a:lnTo>
                    <a:lnTo>
                      <a:pt x="1176" y="1454"/>
                    </a:lnTo>
                    <a:lnTo>
                      <a:pt x="1176" y="1453"/>
                    </a:lnTo>
                    <a:lnTo>
                      <a:pt x="1176" y="1454"/>
                    </a:lnTo>
                    <a:lnTo>
                      <a:pt x="1176" y="1456"/>
                    </a:lnTo>
                    <a:lnTo>
                      <a:pt x="1176" y="1454"/>
                    </a:lnTo>
                    <a:lnTo>
                      <a:pt x="1176" y="1453"/>
                    </a:lnTo>
                    <a:lnTo>
                      <a:pt x="1176" y="1454"/>
                    </a:lnTo>
                    <a:lnTo>
                      <a:pt x="1176" y="1456"/>
                    </a:lnTo>
                    <a:lnTo>
                      <a:pt x="1176" y="1458"/>
                    </a:lnTo>
                    <a:lnTo>
                      <a:pt x="1174" y="1458"/>
                    </a:lnTo>
                    <a:lnTo>
                      <a:pt x="1173" y="1458"/>
                    </a:lnTo>
                    <a:lnTo>
                      <a:pt x="1174" y="1459"/>
                    </a:lnTo>
                    <a:lnTo>
                      <a:pt x="1173" y="1461"/>
                    </a:lnTo>
                    <a:lnTo>
                      <a:pt x="1173" y="1463"/>
                    </a:lnTo>
                    <a:lnTo>
                      <a:pt x="1173" y="1461"/>
                    </a:lnTo>
                    <a:lnTo>
                      <a:pt x="1173" y="1463"/>
                    </a:lnTo>
                    <a:lnTo>
                      <a:pt x="1173" y="1461"/>
                    </a:lnTo>
                    <a:lnTo>
                      <a:pt x="1174" y="1461"/>
                    </a:lnTo>
                    <a:lnTo>
                      <a:pt x="1174" y="1463"/>
                    </a:lnTo>
                    <a:lnTo>
                      <a:pt x="1173" y="1463"/>
                    </a:lnTo>
                    <a:lnTo>
                      <a:pt x="1173" y="1464"/>
                    </a:lnTo>
                    <a:lnTo>
                      <a:pt x="1173" y="1466"/>
                    </a:lnTo>
                    <a:lnTo>
                      <a:pt x="1173" y="1464"/>
                    </a:lnTo>
                    <a:lnTo>
                      <a:pt x="1171" y="1466"/>
                    </a:lnTo>
                    <a:lnTo>
                      <a:pt x="1173" y="1466"/>
                    </a:lnTo>
                    <a:lnTo>
                      <a:pt x="1171" y="1466"/>
                    </a:lnTo>
                    <a:lnTo>
                      <a:pt x="1171" y="1468"/>
                    </a:lnTo>
                    <a:lnTo>
                      <a:pt x="1169" y="1468"/>
                    </a:lnTo>
                    <a:lnTo>
                      <a:pt x="1169" y="1470"/>
                    </a:lnTo>
                    <a:lnTo>
                      <a:pt x="1169" y="1471"/>
                    </a:lnTo>
                    <a:lnTo>
                      <a:pt x="1168" y="1471"/>
                    </a:lnTo>
                    <a:lnTo>
                      <a:pt x="1168" y="1470"/>
                    </a:lnTo>
                    <a:lnTo>
                      <a:pt x="1166" y="1470"/>
                    </a:lnTo>
                    <a:lnTo>
                      <a:pt x="1168" y="1468"/>
                    </a:lnTo>
                    <a:lnTo>
                      <a:pt x="1168" y="1466"/>
                    </a:lnTo>
                    <a:lnTo>
                      <a:pt x="1169" y="1466"/>
                    </a:lnTo>
                    <a:lnTo>
                      <a:pt x="1169" y="1464"/>
                    </a:lnTo>
                    <a:lnTo>
                      <a:pt x="1171" y="1464"/>
                    </a:lnTo>
                    <a:lnTo>
                      <a:pt x="1169" y="1464"/>
                    </a:lnTo>
                    <a:lnTo>
                      <a:pt x="1169" y="1463"/>
                    </a:lnTo>
                    <a:lnTo>
                      <a:pt x="1169" y="1464"/>
                    </a:lnTo>
                    <a:lnTo>
                      <a:pt x="1168" y="1464"/>
                    </a:lnTo>
                    <a:lnTo>
                      <a:pt x="1169" y="1464"/>
                    </a:lnTo>
                    <a:lnTo>
                      <a:pt x="1168" y="1464"/>
                    </a:lnTo>
                    <a:lnTo>
                      <a:pt x="1169" y="1463"/>
                    </a:lnTo>
                    <a:lnTo>
                      <a:pt x="1169" y="1461"/>
                    </a:lnTo>
                    <a:lnTo>
                      <a:pt x="1171" y="1459"/>
                    </a:lnTo>
                    <a:lnTo>
                      <a:pt x="1169" y="1461"/>
                    </a:lnTo>
                    <a:lnTo>
                      <a:pt x="1169" y="1459"/>
                    </a:lnTo>
                    <a:lnTo>
                      <a:pt x="1169" y="1458"/>
                    </a:lnTo>
                    <a:lnTo>
                      <a:pt x="1171" y="1458"/>
                    </a:lnTo>
                    <a:lnTo>
                      <a:pt x="1171" y="1456"/>
                    </a:lnTo>
                    <a:lnTo>
                      <a:pt x="1171" y="1454"/>
                    </a:lnTo>
                    <a:lnTo>
                      <a:pt x="1171" y="1453"/>
                    </a:lnTo>
                    <a:lnTo>
                      <a:pt x="1173" y="1454"/>
                    </a:lnTo>
                    <a:lnTo>
                      <a:pt x="1173" y="1453"/>
                    </a:lnTo>
                    <a:lnTo>
                      <a:pt x="1173" y="1454"/>
                    </a:lnTo>
                    <a:lnTo>
                      <a:pt x="1173" y="1453"/>
                    </a:lnTo>
                    <a:lnTo>
                      <a:pt x="1173" y="1454"/>
                    </a:lnTo>
                    <a:lnTo>
                      <a:pt x="1173" y="1453"/>
                    </a:lnTo>
                    <a:lnTo>
                      <a:pt x="1171" y="1453"/>
                    </a:lnTo>
                    <a:lnTo>
                      <a:pt x="1173" y="1451"/>
                    </a:lnTo>
                    <a:lnTo>
                      <a:pt x="1174" y="1449"/>
                    </a:lnTo>
                    <a:close/>
                    <a:moveTo>
                      <a:pt x="1186" y="1075"/>
                    </a:moveTo>
                    <a:lnTo>
                      <a:pt x="1188" y="1075"/>
                    </a:lnTo>
                    <a:lnTo>
                      <a:pt x="1188" y="1077"/>
                    </a:lnTo>
                    <a:lnTo>
                      <a:pt x="1190" y="1078"/>
                    </a:lnTo>
                    <a:lnTo>
                      <a:pt x="1190" y="1080"/>
                    </a:lnTo>
                    <a:lnTo>
                      <a:pt x="1188" y="1080"/>
                    </a:lnTo>
                    <a:lnTo>
                      <a:pt x="1186" y="1080"/>
                    </a:lnTo>
                    <a:lnTo>
                      <a:pt x="1185" y="1080"/>
                    </a:lnTo>
                    <a:lnTo>
                      <a:pt x="1186" y="1080"/>
                    </a:lnTo>
                    <a:lnTo>
                      <a:pt x="1188" y="1080"/>
                    </a:lnTo>
                    <a:lnTo>
                      <a:pt x="1190" y="1080"/>
                    </a:lnTo>
                    <a:lnTo>
                      <a:pt x="1190" y="1078"/>
                    </a:lnTo>
                    <a:lnTo>
                      <a:pt x="1191" y="1080"/>
                    </a:lnTo>
                    <a:lnTo>
                      <a:pt x="1191" y="1082"/>
                    </a:lnTo>
                    <a:lnTo>
                      <a:pt x="1191" y="1080"/>
                    </a:lnTo>
                    <a:lnTo>
                      <a:pt x="1191" y="1082"/>
                    </a:lnTo>
                    <a:lnTo>
                      <a:pt x="1193" y="1083"/>
                    </a:lnTo>
                    <a:lnTo>
                      <a:pt x="1191" y="1083"/>
                    </a:lnTo>
                    <a:lnTo>
                      <a:pt x="1190" y="1083"/>
                    </a:lnTo>
                    <a:lnTo>
                      <a:pt x="1188" y="1083"/>
                    </a:lnTo>
                    <a:lnTo>
                      <a:pt x="1186" y="1083"/>
                    </a:lnTo>
                    <a:lnTo>
                      <a:pt x="1185" y="1083"/>
                    </a:lnTo>
                    <a:lnTo>
                      <a:pt x="1185" y="1082"/>
                    </a:lnTo>
                    <a:lnTo>
                      <a:pt x="1185" y="1080"/>
                    </a:lnTo>
                    <a:lnTo>
                      <a:pt x="1183" y="1080"/>
                    </a:lnTo>
                    <a:lnTo>
                      <a:pt x="1181" y="1080"/>
                    </a:lnTo>
                    <a:lnTo>
                      <a:pt x="1183" y="1080"/>
                    </a:lnTo>
                    <a:lnTo>
                      <a:pt x="1183" y="1082"/>
                    </a:lnTo>
                    <a:lnTo>
                      <a:pt x="1185" y="1083"/>
                    </a:lnTo>
                    <a:lnTo>
                      <a:pt x="1183" y="1083"/>
                    </a:lnTo>
                    <a:lnTo>
                      <a:pt x="1183" y="1082"/>
                    </a:lnTo>
                    <a:lnTo>
                      <a:pt x="1183" y="1083"/>
                    </a:lnTo>
                    <a:lnTo>
                      <a:pt x="1183" y="1082"/>
                    </a:lnTo>
                    <a:lnTo>
                      <a:pt x="1183" y="1083"/>
                    </a:lnTo>
                    <a:lnTo>
                      <a:pt x="1183" y="1082"/>
                    </a:lnTo>
                    <a:lnTo>
                      <a:pt x="1181" y="1082"/>
                    </a:lnTo>
                    <a:lnTo>
                      <a:pt x="1179" y="1082"/>
                    </a:lnTo>
                    <a:lnTo>
                      <a:pt x="1178" y="1080"/>
                    </a:lnTo>
                    <a:lnTo>
                      <a:pt x="1178" y="1078"/>
                    </a:lnTo>
                    <a:lnTo>
                      <a:pt x="1179" y="1077"/>
                    </a:lnTo>
                    <a:lnTo>
                      <a:pt x="1181" y="1077"/>
                    </a:lnTo>
                    <a:lnTo>
                      <a:pt x="1183" y="1077"/>
                    </a:lnTo>
                    <a:lnTo>
                      <a:pt x="1183" y="1078"/>
                    </a:lnTo>
                    <a:lnTo>
                      <a:pt x="1185" y="1077"/>
                    </a:lnTo>
                    <a:lnTo>
                      <a:pt x="1186" y="1075"/>
                    </a:lnTo>
                    <a:close/>
                    <a:moveTo>
                      <a:pt x="1169" y="1390"/>
                    </a:moveTo>
                    <a:lnTo>
                      <a:pt x="1169" y="1391"/>
                    </a:lnTo>
                    <a:lnTo>
                      <a:pt x="1171" y="1390"/>
                    </a:lnTo>
                    <a:lnTo>
                      <a:pt x="1171" y="1391"/>
                    </a:lnTo>
                    <a:lnTo>
                      <a:pt x="1173" y="1391"/>
                    </a:lnTo>
                    <a:lnTo>
                      <a:pt x="1171" y="1393"/>
                    </a:lnTo>
                    <a:lnTo>
                      <a:pt x="1171" y="1391"/>
                    </a:lnTo>
                    <a:lnTo>
                      <a:pt x="1171" y="1393"/>
                    </a:lnTo>
                    <a:lnTo>
                      <a:pt x="1171" y="1395"/>
                    </a:lnTo>
                    <a:lnTo>
                      <a:pt x="1169" y="1393"/>
                    </a:lnTo>
                    <a:lnTo>
                      <a:pt x="1169" y="1395"/>
                    </a:lnTo>
                    <a:lnTo>
                      <a:pt x="1171" y="1395"/>
                    </a:lnTo>
                    <a:lnTo>
                      <a:pt x="1169" y="1395"/>
                    </a:lnTo>
                    <a:lnTo>
                      <a:pt x="1171" y="1396"/>
                    </a:lnTo>
                    <a:lnTo>
                      <a:pt x="1171" y="1395"/>
                    </a:lnTo>
                    <a:lnTo>
                      <a:pt x="1173" y="1396"/>
                    </a:lnTo>
                    <a:lnTo>
                      <a:pt x="1173" y="1398"/>
                    </a:lnTo>
                    <a:lnTo>
                      <a:pt x="1171" y="1398"/>
                    </a:lnTo>
                    <a:lnTo>
                      <a:pt x="1169" y="1398"/>
                    </a:lnTo>
                    <a:lnTo>
                      <a:pt x="1171" y="1398"/>
                    </a:lnTo>
                    <a:lnTo>
                      <a:pt x="1173" y="1398"/>
                    </a:lnTo>
                    <a:lnTo>
                      <a:pt x="1171" y="1400"/>
                    </a:lnTo>
                    <a:lnTo>
                      <a:pt x="1173" y="1400"/>
                    </a:lnTo>
                    <a:lnTo>
                      <a:pt x="1173" y="1401"/>
                    </a:lnTo>
                    <a:lnTo>
                      <a:pt x="1173" y="1400"/>
                    </a:lnTo>
                    <a:lnTo>
                      <a:pt x="1173" y="1398"/>
                    </a:lnTo>
                    <a:lnTo>
                      <a:pt x="1173" y="1396"/>
                    </a:lnTo>
                    <a:lnTo>
                      <a:pt x="1174" y="1398"/>
                    </a:lnTo>
                    <a:lnTo>
                      <a:pt x="1174" y="1400"/>
                    </a:lnTo>
                    <a:lnTo>
                      <a:pt x="1174" y="1401"/>
                    </a:lnTo>
                    <a:lnTo>
                      <a:pt x="1173" y="1401"/>
                    </a:lnTo>
                    <a:lnTo>
                      <a:pt x="1173" y="1403"/>
                    </a:lnTo>
                    <a:lnTo>
                      <a:pt x="1171" y="1403"/>
                    </a:lnTo>
                    <a:lnTo>
                      <a:pt x="1171" y="1401"/>
                    </a:lnTo>
                    <a:lnTo>
                      <a:pt x="1169" y="1401"/>
                    </a:lnTo>
                    <a:lnTo>
                      <a:pt x="1168" y="1401"/>
                    </a:lnTo>
                    <a:lnTo>
                      <a:pt x="1166" y="1400"/>
                    </a:lnTo>
                    <a:lnTo>
                      <a:pt x="1168" y="1400"/>
                    </a:lnTo>
                    <a:lnTo>
                      <a:pt x="1166" y="1400"/>
                    </a:lnTo>
                    <a:lnTo>
                      <a:pt x="1164" y="1400"/>
                    </a:lnTo>
                    <a:lnTo>
                      <a:pt x="1164" y="1398"/>
                    </a:lnTo>
                    <a:lnTo>
                      <a:pt x="1166" y="1398"/>
                    </a:lnTo>
                    <a:lnTo>
                      <a:pt x="1168" y="1400"/>
                    </a:lnTo>
                    <a:lnTo>
                      <a:pt x="1166" y="1398"/>
                    </a:lnTo>
                    <a:lnTo>
                      <a:pt x="1168" y="1398"/>
                    </a:lnTo>
                    <a:lnTo>
                      <a:pt x="1166" y="1398"/>
                    </a:lnTo>
                    <a:lnTo>
                      <a:pt x="1168" y="1398"/>
                    </a:lnTo>
                    <a:lnTo>
                      <a:pt x="1166" y="1398"/>
                    </a:lnTo>
                    <a:lnTo>
                      <a:pt x="1164" y="1396"/>
                    </a:lnTo>
                    <a:lnTo>
                      <a:pt x="1166" y="1396"/>
                    </a:lnTo>
                    <a:lnTo>
                      <a:pt x="1166" y="1398"/>
                    </a:lnTo>
                    <a:lnTo>
                      <a:pt x="1168" y="1398"/>
                    </a:lnTo>
                    <a:lnTo>
                      <a:pt x="1168" y="1396"/>
                    </a:lnTo>
                    <a:lnTo>
                      <a:pt x="1166" y="1396"/>
                    </a:lnTo>
                    <a:lnTo>
                      <a:pt x="1164" y="1396"/>
                    </a:lnTo>
                    <a:lnTo>
                      <a:pt x="1164" y="1395"/>
                    </a:lnTo>
                    <a:lnTo>
                      <a:pt x="1166" y="1396"/>
                    </a:lnTo>
                    <a:lnTo>
                      <a:pt x="1168" y="1396"/>
                    </a:lnTo>
                    <a:lnTo>
                      <a:pt x="1166" y="1396"/>
                    </a:lnTo>
                    <a:lnTo>
                      <a:pt x="1166" y="1395"/>
                    </a:lnTo>
                    <a:lnTo>
                      <a:pt x="1164" y="1395"/>
                    </a:lnTo>
                    <a:lnTo>
                      <a:pt x="1166" y="1395"/>
                    </a:lnTo>
                    <a:lnTo>
                      <a:pt x="1164" y="1395"/>
                    </a:lnTo>
                    <a:lnTo>
                      <a:pt x="1164" y="1393"/>
                    </a:lnTo>
                    <a:lnTo>
                      <a:pt x="1166" y="1393"/>
                    </a:lnTo>
                    <a:lnTo>
                      <a:pt x="1168" y="1393"/>
                    </a:lnTo>
                    <a:lnTo>
                      <a:pt x="1168" y="1395"/>
                    </a:lnTo>
                    <a:lnTo>
                      <a:pt x="1166" y="1393"/>
                    </a:lnTo>
                    <a:lnTo>
                      <a:pt x="1168" y="1395"/>
                    </a:lnTo>
                    <a:lnTo>
                      <a:pt x="1169" y="1393"/>
                    </a:lnTo>
                    <a:lnTo>
                      <a:pt x="1168" y="1393"/>
                    </a:lnTo>
                    <a:lnTo>
                      <a:pt x="1168" y="1391"/>
                    </a:lnTo>
                    <a:lnTo>
                      <a:pt x="1166" y="1391"/>
                    </a:lnTo>
                    <a:lnTo>
                      <a:pt x="1164" y="1391"/>
                    </a:lnTo>
                    <a:lnTo>
                      <a:pt x="1164" y="1390"/>
                    </a:lnTo>
                    <a:lnTo>
                      <a:pt x="1166" y="1391"/>
                    </a:lnTo>
                    <a:lnTo>
                      <a:pt x="1166" y="1390"/>
                    </a:lnTo>
                    <a:lnTo>
                      <a:pt x="1168" y="1390"/>
                    </a:lnTo>
                    <a:lnTo>
                      <a:pt x="1168" y="1391"/>
                    </a:lnTo>
                    <a:lnTo>
                      <a:pt x="1169" y="1391"/>
                    </a:lnTo>
                    <a:lnTo>
                      <a:pt x="1169" y="1393"/>
                    </a:lnTo>
                    <a:lnTo>
                      <a:pt x="1169" y="1391"/>
                    </a:lnTo>
                    <a:lnTo>
                      <a:pt x="1168" y="1390"/>
                    </a:lnTo>
                    <a:lnTo>
                      <a:pt x="1169" y="1390"/>
                    </a:lnTo>
                    <a:close/>
                    <a:moveTo>
                      <a:pt x="1195" y="1114"/>
                    </a:moveTo>
                    <a:lnTo>
                      <a:pt x="1196" y="1114"/>
                    </a:lnTo>
                    <a:lnTo>
                      <a:pt x="1195" y="1114"/>
                    </a:lnTo>
                    <a:lnTo>
                      <a:pt x="1196" y="1116"/>
                    </a:lnTo>
                    <a:lnTo>
                      <a:pt x="1196" y="1117"/>
                    </a:lnTo>
                    <a:lnTo>
                      <a:pt x="1198" y="1117"/>
                    </a:lnTo>
                    <a:lnTo>
                      <a:pt x="1200" y="1117"/>
                    </a:lnTo>
                    <a:lnTo>
                      <a:pt x="1202" y="1116"/>
                    </a:lnTo>
                    <a:lnTo>
                      <a:pt x="1203" y="1116"/>
                    </a:lnTo>
                    <a:lnTo>
                      <a:pt x="1203" y="1117"/>
                    </a:lnTo>
                    <a:lnTo>
                      <a:pt x="1203" y="1119"/>
                    </a:lnTo>
                    <a:lnTo>
                      <a:pt x="1205" y="1119"/>
                    </a:lnTo>
                    <a:lnTo>
                      <a:pt x="1205" y="1121"/>
                    </a:lnTo>
                    <a:lnTo>
                      <a:pt x="1205" y="1122"/>
                    </a:lnTo>
                    <a:lnTo>
                      <a:pt x="1203" y="1121"/>
                    </a:lnTo>
                    <a:lnTo>
                      <a:pt x="1203" y="1122"/>
                    </a:lnTo>
                    <a:lnTo>
                      <a:pt x="1203" y="1121"/>
                    </a:lnTo>
                    <a:lnTo>
                      <a:pt x="1202" y="1122"/>
                    </a:lnTo>
                    <a:lnTo>
                      <a:pt x="1202" y="1121"/>
                    </a:lnTo>
                    <a:lnTo>
                      <a:pt x="1200" y="1121"/>
                    </a:lnTo>
                    <a:lnTo>
                      <a:pt x="1200" y="1122"/>
                    </a:lnTo>
                    <a:lnTo>
                      <a:pt x="1198" y="1122"/>
                    </a:lnTo>
                    <a:lnTo>
                      <a:pt x="1200" y="1121"/>
                    </a:lnTo>
                    <a:lnTo>
                      <a:pt x="1198" y="1122"/>
                    </a:lnTo>
                    <a:lnTo>
                      <a:pt x="1196" y="1122"/>
                    </a:lnTo>
                    <a:lnTo>
                      <a:pt x="1196" y="1121"/>
                    </a:lnTo>
                    <a:lnTo>
                      <a:pt x="1195" y="1121"/>
                    </a:lnTo>
                    <a:lnTo>
                      <a:pt x="1193" y="1121"/>
                    </a:lnTo>
                    <a:lnTo>
                      <a:pt x="1193" y="1119"/>
                    </a:lnTo>
                    <a:lnTo>
                      <a:pt x="1193" y="1121"/>
                    </a:lnTo>
                    <a:lnTo>
                      <a:pt x="1193" y="1122"/>
                    </a:lnTo>
                    <a:lnTo>
                      <a:pt x="1193" y="1121"/>
                    </a:lnTo>
                    <a:lnTo>
                      <a:pt x="1193" y="1119"/>
                    </a:lnTo>
                    <a:lnTo>
                      <a:pt x="1191" y="1121"/>
                    </a:lnTo>
                    <a:lnTo>
                      <a:pt x="1193" y="1119"/>
                    </a:lnTo>
                    <a:lnTo>
                      <a:pt x="1191" y="1119"/>
                    </a:lnTo>
                    <a:lnTo>
                      <a:pt x="1191" y="1117"/>
                    </a:lnTo>
                    <a:lnTo>
                      <a:pt x="1191" y="1116"/>
                    </a:lnTo>
                    <a:lnTo>
                      <a:pt x="1191" y="1114"/>
                    </a:lnTo>
                    <a:lnTo>
                      <a:pt x="1193" y="1116"/>
                    </a:lnTo>
                    <a:lnTo>
                      <a:pt x="1195" y="1114"/>
                    </a:lnTo>
                    <a:close/>
                    <a:moveTo>
                      <a:pt x="1288" y="1623"/>
                    </a:moveTo>
                    <a:lnTo>
                      <a:pt x="1290" y="1623"/>
                    </a:lnTo>
                    <a:lnTo>
                      <a:pt x="1292" y="1623"/>
                    </a:lnTo>
                    <a:lnTo>
                      <a:pt x="1290" y="1623"/>
                    </a:lnTo>
                    <a:lnTo>
                      <a:pt x="1292" y="1621"/>
                    </a:lnTo>
                    <a:lnTo>
                      <a:pt x="1292" y="1623"/>
                    </a:lnTo>
                    <a:lnTo>
                      <a:pt x="1293" y="1623"/>
                    </a:lnTo>
                    <a:lnTo>
                      <a:pt x="1293" y="1624"/>
                    </a:lnTo>
                    <a:lnTo>
                      <a:pt x="1293" y="1623"/>
                    </a:lnTo>
                    <a:lnTo>
                      <a:pt x="1293" y="1624"/>
                    </a:lnTo>
                    <a:lnTo>
                      <a:pt x="1295" y="1624"/>
                    </a:lnTo>
                    <a:lnTo>
                      <a:pt x="1295" y="1626"/>
                    </a:lnTo>
                    <a:lnTo>
                      <a:pt x="1297" y="1624"/>
                    </a:lnTo>
                    <a:lnTo>
                      <a:pt x="1298" y="1624"/>
                    </a:lnTo>
                    <a:lnTo>
                      <a:pt x="1297" y="1624"/>
                    </a:lnTo>
                    <a:lnTo>
                      <a:pt x="1297" y="1626"/>
                    </a:lnTo>
                    <a:lnTo>
                      <a:pt x="1298" y="1626"/>
                    </a:lnTo>
                    <a:lnTo>
                      <a:pt x="1300" y="1626"/>
                    </a:lnTo>
                    <a:lnTo>
                      <a:pt x="1298" y="1628"/>
                    </a:lnTo>
                    <a:lnTo>
                      <a:pt x="1297" y="1628"/>
                    </a:lnTo>
                    <a:lnTo>
                      <a:pt x="1298" y="1628"/>
                    </a:lnTo>
                    <a:lnTo>
                      <a:pt x="1300" y="1628"/>
                    </a:lnTo>
                    <a:lnTo>
                      <a:pt x="1298" y="1629"/>
                    </a:lnTo>
                    <a:lnTo>
                      <a:pt x="1298" y="1628"/>
                    </a:lnTo>
                    <a:lnTo>
                      <a:pt x="1297" y="1628"/>
                    </a:lnTo>
                    <a:lnTo>
                      <a:pt x="1297" y="1629"/>
                    </a:lnTo>
                    <a:lnTo>
                      <a:pt x="1295" y="1629"/>
                    </a:lnTo>
                    <a:lnTo>
                      <a:pt x="1293" y="1629"/>
                    </a:lnTo>
                    <a:lnTo>
                      <a:pt x="1293" y="1628"/>
                    </a:lnTo>
                    <a:lnTo>
                      <a:pt x="1292" y="1629"/>
                    </a:lnTo>
                    <a:lnTo>
                      <a:pt x="1292" y="1628"/>
                    </a:lnTo>
                    <a:lnTo>
                      <a:pt x="1293" y="1628"/>
                    </a:lnTo>
                    <a:lnTo>
                      <a:pt x="1295" y="1626"/>
                    </a:lnTo>
                    <a:lnTo>
                      <a:pt x="1293" y="1626"/>
                    </a:lnTo>
                    <a:lnTo>
                      <a:pt x="1292" y="1626"/>
                    </a:lnTo>
                    <a:lnTo>
                      <a:pt x="1292" y="1628"/>
                    </a:lnTo>
                    <a:lnTo>
                      <a:pt x="1292" y="1626"/>
                    </a:lnTo>
                    <a:lnTo>
                      <a:pt x="1292" y="1628"/>
                    </a:lnTo>
                    <a:lnTo>
                      <a:pt x="1290" y="1628"/>
                    </a:lnTo>
                    <a:lnTo>
                      <a:pt x="1290" y="1626"/>
                    </a:lnTo>
                    <a:lnTo>
                      <a:pt x="1290" y="1624"/>
                    </a:lnTo>
                    <a:lnTo>
                      <a:pt x="1292" y="1624"/>
                    </a:lnTo>
                    <a:lnTo>
                      <a:pt x="1290" y="1624"/>
                    </a:lnTo>
                    <a:lnTo>
                      <a:pt x="1288" y="1626"/>
                    </a:lnTo>
                    <a:lnTo>
                      <a:pt x="1288" y="1624"/>
                    </a:lnTo>
                    <a:lnTo>
                      <a:pt x="1287" y="1624"/>
                    </a:lnTo>
                    <a:lnTo>
                      <a:pt x="1288" y="1624"/>
                    </a:lnTo>
                    <a:lnTo>
                      <a:pt x="1288" y="1626"/>
                    </a:lnTo>
                    <a:lnTo>
                      <a:pt x="1287" y="1626"/>
                    </a:lnTo>
                    <a:lnTo>
                      <a:pt x="1287" y="1628"/>
                    </a:lnTo>
                    <a:lnTo>
                      <a:pt x="1285" y="1628"/>
                    </a:lnTo>
                    <a:lnTo>
                      <a:pt x="1287" y="1629"/>
                    </a:lnTo>
                    <a:lnTo>
                      <a:pt x="1285" y="1629"/>
                    </a:lnTo>
                    <a:lnTo>
                      <a:pt x="1285" y="1628"/>
                    </a:lnTo>
                    <a:lnTo>
                      <a:pt x="1285" y="1626"/>
                    </a:lnTo>
                    <a:lnTo>
                      <a:pt x="1285" y="1628"/>
                    </a:lnTo>
                    <a:lnTo>
                      <a:pt x="1283" y="1628"/>
                    </a:lnTo>
                    <a:lnTo>
                      <a:pt x="1283" y="1629"/>
                    </a:lnTo>
                    <a:lnTo>
                      <a:pt x="1281" y="1629"/>
                    </a:lnTo>
                    <a:lnTo>
                      <a:pt x="1281" y="1628"/>
                    </a:lnTo>
                    <a:lnTo>
                      <a:pt x="1283" y="1626"/>
                    </a:lnTo>
                    <a:lnTo>
                      <a:pt x="1281" y="1626"/>
                    </a:lnTo>
                    <a:lnTo>
                      <a:pt x="1281" y="1624"/>
                    </a:lnTo>
                    <a:lnTo>
                      <a:pt x="1283" y="1624"/>
                    </a:lnTo>
                    <a:lnTo>
                      <a:pt x="1283" y="1623"/>
                    </a:lnTo>
                    <a:lnTo>
                      <a:pt x="1283" y="1621"/>
                    </a:lnTo>
                    <a:lnTo>
                      <a:pt x="1285" y="1623"/>
                    </a:lnTo>
                    <a:lnTo>
                      <a:pt x="1285" y="1621"/>
                    </a:lnTo>
                    <a:lnTo>
                      <a:pt x="1287" y="1623"/>
                    </a:lnTo>
                    <a:lnTo>
                      <a:pt x="1288" y="1623"/>
                    </a:lnTo>
                    <a:lnTo>
                      <a:pt x="1287" y="1621"/>
                    </a:lnTo>
                    <a:lnTo>
                      <a:pt x="1288" y="1623"/>
                    </a:lnTo>
                    <a:close/>
                    <a:moveTo>
                      <a:pt x="1207" y="1082"/>
                    </a:moveTo>
                    <a:lnTo>
                      <a:pt x="1208" y="1083"/>
                    </a:lnTo>
                    <a:lnTo>
                      <a:pt x="1210" y="1083"/>
                    </a:lnTo>
                    <a:lnTo>
                      <a:pt x="1208" y="1085"/>
                    </a:lnTo>
                    <a:lnTo>
                      <a:pt x="1208" y="1083"/>
                    </a:lnTo>
                    <a:lnTo>
                      <a:pt x="1207" y="1083"/>
                    </a:lnTo>
                    <a:lnTo>
                      <a:pt x="1208" y="1083"/>
                    </a:lnTo>
                    <a:lnTo>
                      <a:pt x="1208" y="1085"/>
                    </a:lnTo>
                    <a:lnTo>
                      <a:pt x="1210" y="1085"/>
                    </a:lnTo>
                    <a:lnTo>
                      <a:pt x="1210" y="1087"/>
                    </a:lnTo>
                    <a:lnTo>
                      <a:pt x="1208" y="1087"/>
                    </a:lnTo>
                    <a:lnTo>
                      <a:pt x="1210" y="1088"/>
                    </a:lnTo>
                    <a:lnTo>
                      <a:pt x="1208" y="1088"/>
                    </a:lnTo>
                    <a:lnTo>
                      <a:pt x="1208" y="1090"/>
                    </a:lnTo>
                    <a:lnTo>
                      <a:pt x="1207" y="1090"/>
                    </a:lnTo>
                    <a:lnTo>
                      <a:pt x="1207" y="1092"/>
                    </a:lnTo>
                    <a:lnTo>
                      <a:pt x="1207" y="1090"/>
                    </a:lnTo>
                    <a:lnTo>
                      <a:pt x="1208" y="1090"/>
                    </a:lnTo>
                    <a:lnTo>
                      <a:pt x="1208" y="1088"/>
                    </a:lnTo>
                    <a:lnTo>
                      <a:pt x="1210" y="1088"/>
                    </a:lnTo>
                    <a:lnTo>
                      <a:pt x="1210" y="1090"/>
                    </a:lnTo>
                    <a:lnTo>
                      <a:pt x="1212" y="1090"/>
                    </a:lnTo>
                    <a:lnTo>
                      <a:pt x="1210" y="1090"/>
                    </a:lnTo>
                    <a:lnTo>
                      <a:pt x="1210" y="1092"/>
                    </a:lnTo>
                    <a:lnTo>
                      <a:pt x="1210" y="1090"/>
                    </a:lnTo>
                    <a:lnTo>
                      <a:pt x="1210" y="1092"/>
                    </a:lnTo>
                    <a:lnTo>
                      <a:pt x="1210" y="1090"/>
                    </a:lnTo>
                    <a:lnTo>
                      <a:pt x="1208" y="1092"/>
                    </a:lnTo>
                    <a:lnTo>
                      <a:pt x="1207" y="1092"/>
                    </a:lnTo>
                    <a:lnTo>
                      <a:pt x="1205" y="1092"/>
                    </a:lnTo>
                    <a:lnTo>
                      <a:pt x="1205" y="1090"/>
                    </a:lnTo>
                    <a:lnTo>
                      <a:pt x="1203" y="1090"/>
                    </a:lnTo>
                    <a:lnTo>
                      <a:pt x="1203" y="1088"/>
                    </a:lnTo>
                    <a:lnTo>
                      <a:pt x="1202" y="1088"/>
                    </a:lnTo>
                    <a:lnTo>
                      <a:pt x="1202" y="1087"/>
                    </a:lnTo>
                    <a:lnTo>
                      <a:pt x="1200" y="1085"/>
                    </a:lnTo>
                    <a:lnTo>
                      <a:pt x="1202" y="1085"/>
                    </a:lnTo>
                    <a:lnTo>
                      <a:pt x="1203" y="1087"/>
                    </a:lnTo>
                    <a:lnTo>
                      <a:pt x="1203" y="1088"/>
                    </a:lnTo>
                    <a:lnTo>
                      <a:pt x="1203" y="1087"/>
                    </a:lnTo>
                    <a:lnTo>
                      <a:pt x="1203" y="1085"/>
                    </a:lnTo>
                    <a:lnTo>
                      <a:pt x="1203" y="1083"/>
                    </a:lnTo>
                    <a:lnTo>
                      <a:pt x="1205" y="1083"/>
                    </a:lnTo>
                    <a:lnTo>
                      <a:pt x="1205" y="1082"/>
                    </a:lnTo>
                    <a:lnTo>
                      <a:pt x="1205" y="1083"/>
                    </a:lnTo>
                    <a:lnTo>
                      <a:pt x="1207" y="1082"/>
                    </a:lnTo>
                    <a:close/>
                    <a:moveTo>
                      <a:pt x="1207" y="1145"/>
                    </a:moveTo>
                    <a:lnTo>
                      <a:pt x="1207" y="1146"/>
                    </a:lnTo>
                    <a:lnTo>
                      <a:pt x="1208" y="1146"/>
                    </a:lnTo>
                    <a:lnTo>
                      <a:pt x="1208" y="1148"/>
                    </a:lnTo>
                    <a:lnTo>
                      <a:pt x="1207" y="1148"/>
                    </a:lnTo>
                    <a:lnTo>
                      <a:pt x="1208" y="1148"/>
                    </a:lnTo>
                    <a:lnTo>
                      <a:pt x="1208" y="1150"/>
                    </a:lnTo>
                    <a:lnTo>
                      <a:pt x="1207" y="1150"/>
                    </a:lnTo>
                    <a:lnTo>
                      <a:pt x="1208" y="1150"/>
                    </a:lnTo>
                    <a:lnTo>
                      <a:pt x="1208" y="1151"/>
                    </a:lnTo>
                    <a:lnTo>
                      <a:pt x="1207" y="1151"/>
                    </a:lnTo>
                    <a:lnTo>
                      <a:pt x="1208" y="1153"/>
                    </a:lnTo>
                    <a:lnTo>
                      <a:pt x="1207" y="1155"/>
                    </a:lnTo>
                    <a:lnTo>
                      <a:pt x="1205" y="1153"/>
                    </a:lnTo>
                    <a:lnTo>
                      <a:pt x="1203" y="1153"/>
                    </a:lnTo>
                    <a:lnTo>
                      <a:pt x="1203" y="1151"/>
                    </a:lnTo>
                    <a:lnTo>
                      <a:pt x="1203" y="1150"/>
                    </a:lnTo>
                    <a:lnTo>
                      <a:pt x="1205" y="1148"/>
                    </a:lnTo>
                    <a:lnTo>
                      <a:pt x="1207" y="1148"/>
                    </a:lnTo>
                    <a:lnTo>
                      <a:pt x="1205" y="1150"/>
                    </a:lnTo>
                    <a:lnTo>
                      <a:pt x="1207" y="1150"/>
                    </a:lnTo>
                    <a:lnTo>
                      <a:pt x="1205" y="1148"/>
                    </a:lnTo>
                    <a:lnTo>
                      <a:pt x="1207" y="1148"/>
                    </a:lnTo>
                    <a:lnTo>
                      <a:pt x="1207" y="1146"/>
                    </a:lnTo>
                    <a:lnTo>
                      <a:pt x="1205" y="1146"/>
                    </a:lnTo>
                    <a:lnTo>
                      <a:pt x="1203" y="1146"/>
                    </a:lnTo>
                    <a:lnTo>
                      <a:pt x="1203" y="1148"/>
                    </a:lnTo>
                    <a:lnTo>
                      <a:pt x="1205" y="1148"/>
                    </a:lnTo>
                    <a:lnTo>
                      <a:pt x="1203" y="1148"/>
                    </a:lnTo>
                    <a:lnTo>
                      <a:pt x="1203" y="1150"/>
                    </a:lnTo>
                    <a:lnTo>
                      <a:pt x="1202" y="1148"/>
                    </a:lnTo>
                    <a:lnTo>
                      <a:pt x="1202" y="1150"/>
                    </a:lnTo>
                    <a:lnTo>
                      <a:pt x="1203" y="1150"/>
                    </a:lnTo>
                    <a:lnTo>
                      <a:pt x="1203" y="1151"/>
                    </a:lnTo>
                    <a:lnTo>
                      <a:pt x="1202" y="1151"/>
                    </a:lnTo>
                    <a:lnTo>
                      <a:pt x="1200" y="1151"/>
                    </a:lnTo>
                    <a:lnTo>
                      <a:pt x="1200" y="1150"/>
                    </a:lnTo>
                    <a:lnTo>
                      <a:pt x="1198" y="1150"/>
                    </a:lnTo>
                    <a:lnTo>
                      <a:pt x="1200" y="1150"/>
                    </a:lnTo>
                    <a:lnTo>
                      <a:pt x="1200" y="1148"/>
                    </a:lnTo>
                    <a:lnTo>
                      <a:pt x="1200" y="1146"/>
                    </a:lnTo>
                    <a:lnTo>
                      <a:pt x="1202" y="1146"/>
                    </a:lnTo>
                    <a:lnTo>
                      <a:pt x="1203" y="1146"/>
                    </a:lnTo>
                    <a:lnTo>
                      <a:pt x="1205" y="1145"/>
                    </a:lnTo>
                    <a:lnTo>
                      <a:pt x="1203" y="1145"/>
                    </a:lnTo>
                    <a:lnTo>
                      <a:pt x="1205" y="1145"/>
                    </a:lnTo>
                    <a:lnTo>
                      <a:pt x="1205" y="1143"/>
                    </a:lnTo>
                    <a:lnTo>
                      <a:pt x="1207" y="1143"/>
                    </a:lnTo>
                    <a:lnTo>
                      <a:pt x="1207" y="1145"/>
                    </a:lnTo>
                    <a:close/>
                    <a:moveTo>
                      <a:pt x="1196" y="1065"/>
                    </a:moveTo>
                    <a:lnTo>
                      <a:pt x="1196" y="1066"/>
                    </a:lnTo>
                    <a:lnTo>
                      <a:pt x="1198" y="1066"/>
                    </a:lnTo>
                    <a:lnTo>
                      <a:pt x="1200" y="1066"/>
                    </a:lnTo>
                    <a:lnTo>
                      <a:pt x="1200" y="1068"/>
                    </a:lnTo>
                    <a:lnTo>
                      <a:pt x="1202" y="1068"/>
                    </a:lnTo>
                    <a:lnTo>
                      <a:pt x="1200" y="1068"/>
                    </a:lnTo>
                    <a:lnTo>
                      <a:pt x="1198" y="1068"/>
                    </a:lnTo>
                    <a:lnTo>
                      <a:pt x="1198" y="1070"/>
                    </a:lnTo>
                    <a:lnTo>
                      <a:pt x="1196" y="1068"/>
                    </a:lnTo>
                    <a:lnTo>
                      <a:pt x="1195" y="1068"/>
                    </a:lnTo>
                    <a:lnTo>
                      <a:pt x="1196" y="1070"/>
                    </a:lnTo>
                    <a:lnTo>
                      <a:pt x="1198" y="1071"/>
                    </a:lnTo>
                    <a:lnTo>
                      <a:pt x="1196" y="1070"/>
                    </a:lnTo>
                    <a:lnTo>
                      <a:pt x="1198" y="1070"/>
                    </a:lnTo>
                    <a:lnTo>
                      <a:pt x="1200" y="1071"/>
                    </a:lnTo>
                    <a:lnTo>
                      <a:pt x="1202" y="1071"/>
                    </a:lnTo>
                    <a:lnTo>
                      <a:pt x="1202" y="1070"/>
                    </a:lnTo>
                    <a:lnTo>
                      <a:pt x="1203" y="1070"/>
                    </a:lnTo>
                    <a:lnTo>
                      <a:pt x="1203" y="1071"/>
                    </a:lnTo>
                    <a:lnTo>
                      <a:pt x="1205" y="1071"/>
                    </a:lnTo>
                    <a:lnTo>
                      <a:pt x="1205" y="1073"/>
                    </a:lnTo>
                    <a:lnTo>
                      <a:pt x="1203" y="1073"/>
                    </a:lnTo>
                    <a:lnTo>
                      <a:pt x="1202" y="1073"/>
                    </a:lnTo>
                    <a:lnTo>
                      <a:pt x="1200" y="1073"/>
                    </a:lnTo>
                    <a:lnTo>
                      <a:pt x="1200" y="1071"/>
                    </a:lnTo>
                    <a:lnTo>
                      <a:pt x="1200" y="1073"/>
                    </a:lnTo>
                    <a:lnTo>
                      <a:pt x="1198" y="1073"/>
                    </a:lnTo>
                    <a:lnTo>
                      <a:pt x="1198" y="1071"/>
                    </a:lnTo>
                    <a:lnTo>
                      <a:pt x="1198" y="1073"/>
                    </a:lnTo>
                    <a:lnTo>
                      <a:pt x="1196" y="1073"/>
                    </a:lnTo>
                    <a:lnTo>
                      <a:pt x="1196" y="1071"/>
                    </a:lnTo>
                    <a:lnTo>
                      <a:pt x="1196" y="1073"/>
                    </a:lnTo>
                    <a:lnTo>
                      <a:pt x="1196" y="1071"/>
                    </a:lnTo>
                    <a:lnTo>
                      <a:pt x="1195" y="1071"/>
                    </a:lnTo>
                    <a:lnTo>
                      <a:pt x="1193" y="1070"/>
                    </a:lnTo>
                    <a:lnTo>
                      <a:pt x="1195" y="1068"/>
                    </a:lnTo>
                    <a:lnTo>
                      <a:pt x="1193" y="1068"/>
                    </a:lnTo>
                    <a:lnTo>
                      <a:pt x="1193" y="1066"/>
                    </a:lnTo>
                    <a:lnTo>
                      <a:pt x="1193" y="1065"/>
                    </a:lnTo>
                    <a:lnTo>
                      <a:pt x="1195" y="1065"/>
                    </a:lnTo>
                    <a:lnTo>
                      <a:pt x="1195" y="1063"/>
                    </a:lnTo>
                    <a:lnTo>
                      <a:pt x="1196" y="1063"/>
                    </a:lnTo>
                    <a:lnTo>
                      <a:pt x="1196" y="1065"/>
                    </a:lnTo>
                    <a:close/>
                    <a:moveTo>
                      <a:pt x="1254" y="1578"/>
                    </a:moveTo>
                    <a:lnTo>
                      <a:pt x="1254" y="1580"/>
                    </a:lnTo>
                    <a:lnTo>
                      <a:pt x="1254" y="1578"/>
                    </a:lnTo>
                    <a:lnTo>
                      <a:pt x="1256" y="1580"/>
                    </a:lnTo>
                    <a:lnTo>
                      <a:pt x="1254" y="1582"/>
                    </a:lnTo>
                    <a:lnTo>
                      <a:pt x="1256" y="1580"/>
                    </a:lnTo>
                    <a:lnTo>
                      <a:pt x="1256" y="1582"/>
                    </a:lnTo>
                    <a:lnTo>
                      <a:pt x="1258" y="1582"/>
                    </a:lnTo>
                    <a:lnTo>
                      <a:pt x="1256" y="1582"/>
                    </a:lnTo>
                    <a:lnTo>
                      <a:pt x="1256" y="1583"/>
                    </a:lnTo>
                    <a:lnTo>
                      <a:pt x="1254" y="1582"/>
                    </a:lnTo>
                    <a:lnTo>
                      <a:pt x="1254" y="1583"/>
                    </a:lnTo>
                    <a:lnTo>
                      <a:pt x="1254" y="1585"/>
                    </a:lnTo>
                    <a:lnTo>
                      <a:pt x="1254" y="1587"/>
                    </a:lnTo>
                    <a:lnTo>
                      <a:pt x="1253" y="1585"/>
                    </a:lnTo>
                    <a:lnTo>
                      <a:pt x="1253" y="1587"/>
                    </a:lnTo>
                    <a:lnTo>
                      <a:pt x="1254" y="1587"/>
                    </a:lnTo>
                    <a:lnTo>
                      <a:pt x="1253" y="1589"/>
                    </a:lnTo>
                    <a:lnTo>
                      <a:pt x="1251" y="1589"/>
                    </a:lnTo>
                    <a:lnTo>
                      <a:pt x="1251" y="1587"/>
                    </a:lnTo>
                    <a:lnTo>
                      <a:pt x="1249" y="1587"/>
                    </a:lnTo>
                    <a:lnTo>
                      <a:pt x="1251" y="1587"/>
                    </a:lnTo>
                    <a:lnTo>
                      <a:pt x="1249" y="1589"/>
                    </a:lnTo>
                    <a:lnTo>
                      <a:pt x="1251" y="1589"/>
                    </a:lnTo>
                    <a:lnTo>
                      <a:pt x="1253" y="1590"/>
                    </a:lnTo>
                    <a:lnTo>
                      <a:pt x="1251" y="1590"/>
                    </a:lnTo>
                    <a:lnTo>
                      <a:pt x="1249" y="1589"/>
                    </a:lnTo>
                    <a:lnTo>
                      <a:pt x="1249" y="1590"/>
                    </a:lnTo>
                    <a:lnTo>
                      <a:pt x="1247" y="1590"/>
                    </a:lnTo>
                    <a:lnTo>
                      <a:pt x="1247" y="1589"/>
                    </a:lnTo>
                    <a:lnTo>
                      <a:pt x="1246" y="1589"/>
                    </a:lnTo>
                    <a:lnTo>
                      <a:pt x="1247" y="1587"/>
                    </a:lnTo>
                    <a:lnTo>
                      <a:pt x="1247" y="1589"/>
                    </a:lnTo>
                    <a:lnTo>
                      <a:pt x="1247" y="1587"/>
                    </a:lnTo>
                    <a:lnTo>
                      <a:pt x="1246" y="1587"/>
                    </a:lnTo>
                    <a:lnTo>
                      <a:pt x="1247" y="1585"/>
                    </a:lnTo>
                    <a:lnTo>
                      <a:pt x="1249" y="1585"/>
                    </a:lnTo>
                    <a:lnTo>
                      <a:pt x="1251" y="1585"/>
                    </a:lnTo>
                    <a:lnTo>
                      <a:pt x="1249" y="1585"/>
                    </a:lnTo>
                    <a:lnTo>
                      <a:pt x="1249" y="1583"/>
                    </a:lnTo>
                    <a:lnTo>
                      <a:pt x="1251" y="1585"/>
                    </a:lnTo>
                    <a:lnTo>
                      <a:pt x="1251" y="1583"/>
                    </a:lnTo>
                    <a:lnTo>
                      <a:pt x="1253" y="1583"/>
                    </a:lnTo>
                    <a:lnTo>
                      <a:pt x="1253" y="1582"/>
                    </a:lnTo>
                    <a:lnTo>
                      <a:pt x="1251" y="1583"/>
                    </a:lnTo>
                    <a:lnTo>
                      <a:pt x="1249" y="1583"/>
                    </a:lnTo>
                    <a:lnTo>
                      <a:pt x="1249" y="1582"/>
                    </a:lnTo>
                    <a:lnTo>
                      <a:pt x="1251" y="1582"/>
                    </a:lnTo>
                    <a:lnTo>
                      <a:pt x="1251" y="1580"/>
                    </a:lnTo>
                    <a:lnTo>
                      <a:pt x="1249" y="1580"/>
                    </a:lnTo>
                    <a:lnTo>
                      <a:pt x="1249" y="1578"/>
                    </a:lnTo>
                    <a:lnTo>
                      <a:pt x="1251" y="1578"/>
                    </a:lnTo>
                    <a:lnTo>
                      <a:pt x="1253" y="1578"/>
                    </a:lnTo>
                    <a:lnTo>
                      <a:pt x="1253" y="1577"/>
                    </a:lnTo>
                    <a:lnTo>
                      <a:pt x="1254" y="1578"/>
                    </a:lnTo>
                    <a:close/>
                    <a:moveTo>
                      <a:pt x="1421" y="1667"/>
                    </a:moveTo>
                    <a:lnTo>
                      <a:pt x="1419" y="1669"/>
                    </a:lnTo>
                    <a:lnTo>
                      <a:pt x="1421" y="1669"/>
                    </a:lnTo>
                    <a:lnTo>
                      <a:pt x="1419" y="1670"/>
                    </a:lnTo>
                    <a:lnTo>
                      <a:pt x="1421" y="1670"/>
                    </a:lnTo>
                    <a:lnTo>
                      <a:pt x="1419" y="1672"/>
                    </a:lnTo>
                    <a:lnTo>
                      <a:pt x="1421" y="1672"/>
                    </a:lnTo>
                    <a:lnTo>
                      <a:pt x="1419" y="1674"/>
                    </a:lnTo>
                    <a:lnTo>
                      <a:pt x="1421" y="1675"/>
                    </a:lnTo>
                    <a:lnTo>
                      <a:pt x="1421" y="1674"/>
                    </a:lnTo>
                    <a:lnTo>
                      <a:pt x="1423" y="1674"/>
                    </a:lnTo>
                    <a:lnTo>
                      <a:pt x="1424" y="1675"/>
                    </a:lnTo>
                    <a:lnTo>
                      <a:pt x="1423" y="1675"/>
                    </a:lnTo>
                    <a:lnTo>
                      <a:pt x="1423" y="1677"/>
                    </a:lnTo>
                    <a:lnTo>
                      <a:pt x="1424" y="1677"/>
                    </a:lnTo>
                    <a:lnTo>
                      <a:pt x="1424" y="1679"/>
                    </a:lnTo>
                    <a:lnTo>
                      <a:pt x="1423" y="1679"/>
                    </a:lnTo>
                    <a:lnTo>
                      <a:pt x="1421" y="1680"/>
                    </a:lnTo>
                    <a:lnTo>
                      <a:pt x="1421" y="1679"/>
                    </a:lnTo>
                    <a:lnTo>
                      <a:pt x="1421" y="1677"/>
                    </a:lnTo>
                    <a:lnTo>
                      <a:pt x="1419" y="1679"/>
                    </a:lnTo>
                    <a:lnTo>
                      <a:pt x="1419" y="1677"/>
                    </a:lnTo>
                    <a:lnTo>
                      <a:pt x="1417" y="1679"/>
                    </a:lnTo>
                    <a:lnTo>
                      <a:pt x="1417" y="1677"/>
                    </a:lnTo>
                    <a:lnTo>
                      <a:pt x="1416" y="1677"/>
                    </a:lnTo>
                    <a:lnTo>
                      <a:pt x="1414" y="1677"/>
                    </a:lnTo>
                    <a:lnTo>
                      <a:pt x="1414" y="1675"/>
                    </a:lnTo>
                    <a:lnTo>
                      <a:pt x="1412" y="1675"/>
                    </a:lnTo>
                    <a:lnTo>
                      <a:pt x="1414" y="1675"/>
                    </a:lnTo>
                    <a:lnTo>
                      <a:pt x="1416" y="1675"/>
                    </a:lnTo>
                    <a:lnTo>
                      <a:pt x="1414" y="1675"/>
                    </a:lnTo>
                    <a:lnTo>
                      <a:pt x="1414" y="1674"/>
                    </a:lnTo>
                    <a:lnTo>
                      <a:pt x="1412" y="1672"/>
                    </a:lnTo>
                    <a:lnTo>
                      <a:pt x="1414" y="1672"/>
                    </a:lnTo>
                    <a:lnTo>
                      <a:pt x="1414" y="1670"/>
                    </a:lnTo>
                    <a:lnTo>
                      <a:pt x="1416" y="1670"/>
                    </a:lnTo>
                    <a:lnTo>
                      <a:pt x="1416" y="1672"/>
                    </a:lnTo>
                    <a:lnTo>
                      <a:pt x="1417" y="1672"/>
                    </a:lnTo>
                    <a:lnTo>
                      <a:pt x="1417" y="1674"/>
                    </a:lnTo>
                    <a:lnTo>
                      <a:pt x="1417" y="1675"/>
                    </a:lnTo>
                    <a:lnTo>
                      <a:pt x="1419" y="1675"/>
                    </a:lnTo>
                    <a:lnTo>
                      <a:pt x="1419" y="1674"/>
                    </a:lnTo>
                    <a:lnTo>
                      <a:pt x="1419" y="1672"/>
                    </a:lnTo>
                    <a:lnTo>
                      <a:pt x="1417" y="1672"/>
                    </a:lnTo>
                    <a:lnTo>
                      <a:pt x="1417" y="1670"/>
                    </a:lnTo>
                    <a:lnTo>
                      <a:pt x="1417" y="1669"/>
                    </a:lnTo>
                    <a:lnTo>
                      <a:pt x="1416" y="1669"/>
                    </a:lnTo>
                    <a:lnTo>
                      <a:pt x="1417" y="1667"/>
                    </a:lnTo>
                    <a:lnTo>
                      <a:pt x="1419" y="1667"/>
                    </a:lnTo>
                    <a:lnTo>
                      <a:pt x="1419" y="1665"/>
                    </a:lnTo>
                    <a:lnTo>
                      <a:pt x="1421" y="1665"/>
                    </a:lnTo>
                    <a:lnTo>
                      <a:pt x="1421" y="1667"/>
                    </a:lnTo>
                    <a:close/>
                    <a:moveTo>
                      <a:pt x="1198" y="1131"/>
                    </a:moveTo>
                    <a:lnTo>
                      <a:pt x="1196" y="1131"/>
                    </a:lnTo>
                    <a:lnTo>
                      <a:pt x="1198" y="1131"/>
                    </a:lnTo>
                    <a:lnTo>
                      <a:pt x="1200" y="1131"/>
                    </a:lnTo>
                    <a:lnTo>
                      <a:pt x="1200" y="1133"/>
                    </a:lnTo>
                    <a:lnTo>
                      <a:pt x="1202" y="1133"/>
                    </a:lnTo>
                    <a:lnTo>
                      <a:pt x="1202" y="1134"/>
                    </a:lnTo>
                    <a:lnTo>
                      <a:pt x="1200" y="1134"/>
                    </a:lnTo>
                    <a:lnTo>
                      <a:pt x="1202" y="1136"/>
                    </a:lnTo>
                    <a:lnTo>
                      <a:pt x="1200" y="1136"/>
                    </a:lnTo>
                    <a:lnTo>
                      <a:pt x="1200" y="1138"/>
                    </a:lnTo>
                    <a:lnTo>
                      <a:pt x="1198" y="1140"/>
                    </a:lnTo>
                    <a:lnTo>
                      <a:pt x="1196" y="1140"/>
                    </a:lnTo>
                    <a:lnTo>
                      <a:pt x="1195" y="1140"/>
                    </a:lnTo>
                    <a:lnTo>
                      <a:pt x="1195" y="1138"/>
                    </a:lnTo>
                    <a:lnTo>
                      <a:pt x="1195" y="1136"/>
                    </a:lnTo>
                    <a:lnTo>
                      <a:pt x="1195" y="1134"/>
                    </a:lnTo>
                    <a:lnTo>
                      <a:pt x="1193" y="1134"/>
                    </a:lnTo>
                    <a:lnTo>
                      <a:pt x="1193" y="1133"/>
                    </a:lnTo>
                    <a:lnTo>
                      <a:pt x="1195" y="1133"/>
                    </a:lnTo>
                    <a:lnTo>
                      <a:pt x="1195" y="1131"/>
                    </a:lnTo>
                    <a:lnTo>
                      <a:pt x="1196" y="1131"/>
                    </a:lnTo>
                    <a:lnTo>
                      <a:pt x="1196" y="1129"/>
                    </a:lnTo>
                    <a:lnTo>
                      <a:pt x="1198" y="1131"/>
                    </a:lnTo>
                    <a:close/>
                    <a:moveTo>
                      <a:pt x="1202" y="1153"/>
                    </a:moveTo>
                    <a:lnTo>
                      <a:pt x="1203" y="1153"/>
                    </a:lnTo>
                    <a:lnTo>
                      <a:pt x="1205" y="1155"/>
                    </a:lnTo>
                    <a:lnTo>
                      <a:pt x="1203" y="1155"/>
                    </a:lnTo>
                    <a:lnTo>
                      <a:pt x="1203" y="1157"/>
                    </a:lnTo>
                    <a:lnTo>
                      <a:pt x="1205" y="1155"/>
                    </a:lnTo>
                    <a:lnTo>
                      <a:pt x="1207" y="1155"/>
                    </a:lnTo>
                    <a:lnTo>
                      <a:pt x="1208" y="1157"/>
                    </a:lnTo>
                    <a:lnTo>
                      <a:pt x="1208" y="1158"/>
                    </a:lnTo>
                    <a:lnTo>
                      <a:pt x="1207" y="1158"/>
                    </a:lnTo>
                    <a:lnTo>
                      <a:pt x="1207" y="1160"/>
                    </a:lnTo>
                    <a:lnTo>
                      <a:pt x="1207" y="1162"/>
                    </a:lnTo>
                    <a:lnTo>
                      <a:pt x="1205" y="1163"/>
                    </a:lnTo>
                    <a:lnTo>
                      <a:pt x="1205" y="1162"/>
                    </a:lnTo>
                    <a:lnTo>
                      <a:pt x="1203" y="1162"/>
                    </a:lnTo>
                    <a:lnTo>
                      <a:pt x="1202" y="1160"/>
                    </a:lnTo>
                    <a:lnTo>
                      <a:pt x="1203" y="1160"/>
                    </a:lnTo>
                    <a:lnTo>
                      <a:pt x="1205" y="1160"/>
                    </a:lnTo>
                    <a:lnTo>
                      <a:pt x="1203" y="1160"/>
                    </a:lnTo>
                    <a:lnTo>
                      <a:pt x="1202" y="1160"/>
                    </a:lnTo>
                    <a:lnTo>
                      <a:pt x="1202" y="1158"/>
                    </a:lnTo>
                    <a:lnTo>
                      <a:pt x="1202" y="1157"/>
                    </a:lnTo>
                    <a:lnTo>
                      <a:pt x="1200" y="1157"/>
                    </a:lnTo>
                    <a:lnTo>
                      <a:pt x="1198" y="1157"/>
                    </a:lnTo>
                    <a:lnTo>
                      <a:pt x="1200" y="1157"/>
                    </a:lnTo>
                    <a:lnTo>
                      <a:pt x="1200" y="1155"/>
                    </a:lnTo>
                    <a:lnTo>
                      <a:pt x="1200" y="1153"/>
                    </a:lnTo>
                    <a:lnTo>
                      <a:pt x="1202" y="1153"/>
                    </a:lnTo>
                    <a:close/>
                    <a:moveTo>
                      <a:pt x="1179" y="1257"/>
                    </a:moveTo>
                    <a:lnTo>
                      <a:pt x="1179" y="1259"/>
                    </a:lnTo>
                    <a:lnTo>
                      <a:pt x="1181" y="1259"/>
                    </a:lnTo>
                    <a:lnTo>
                      <a:pt x="1183" y="1260"/>
                    </a:lnTo>
                    <a:lnTo>
                      <a:pt x="1183" y="1262"/>
                    </a:lnTo>
                    <a:lnTo>
                      <a:pt x="1185" y="1262"/>
                    </a:lnTo>
                    <a:lnTo>
                      <a:pt x="1185" y="1264"/>
                    </a:lnTo>
                    <a:lnTo>
                      <a:pt x="1186" y="1265"/>
                    </a:lnTo>
                    <a:lnTo>
                      <a:pt x="1185" y="1265"/>
                    </a:lnTo>
                    <a:lnTo>
                      <a:pt x="1185" y="1267"/>
                    </a:lnTo>
                    <a:lnTo>
                      <a:pt x="1183" y="1267"/>
                    </a:lnTo>
                    <a:lnTo>
                      <a:pt x="1183" y="1269"/>
                    </a:lnTo>
                    <a:lnTo>
                      <a:pt x="1181" y="1269"/>
                    </a:lnTo>
                    <a:lnTo>
                      <a:pt x="1179" y="1269"/>
                    </a:lnTo>
                    <a:lnTo>
                      <a:pt x="1179" y="1267"/>
                    </a:lnTo>
                    <a:lnTo>
                      <a:pt x="1179" y="1265"/>
                    </a:lnTo>
                    <a:lnTo>
                      <a:pt x="1181" y="1265"/>
                    </a:lnTo>
                    <a:lnTo>
                      <a:pt x="1179" y="1265"/>
                    </a:lnTo>
                    <a:lnTo>
                      <a:pt x="1179" y="1264"/>
                    </a:lnTo>
                    <a:lnTo>
                      <a:pt x="1181" y="1262"/>
                    </a:lnTo>
                    <a:lnTo>
                      <a:pt x="1183" y="1260"/>
                    </a:lnTo>
                    <a:lnTo>
                      <a:pt x="1181" y="1260"/>
                    </a:lnTo>
                    <a:lnTo>
                      <a:pt x="1181" y="1262"/>
                    </a:lnTo>
                    <a:lnTo>
                      <a:pt x="1179" y="1262"/>
                    </a:lnTo>
                    <a:lnTo>
                      <a:pt x="1179" y="1264"/>
                    </a:lnTo>
                    <a:lnTo>
                      <a:pt x="1179" y="1265"/>
                    </a:lnTo>
                    <a:lnTo>
                      <a:pt x="1178" y="1265"/>
                    </a:lnTo>
                    <a:lnTo>
                      <a:pt x="1178" y="1264"/>
                    </a:lnTo>
                    <a:lnTo>
                      <a:pt x="1178" y="1262"/>
                    </a:lnTo>
                    <a:lnTo>
                      <a:pt x="1178" y="1260"/>
                    </a:lnTo>
                    <a:lnTo>
                      <a:pt x="1179" y="1260"/>
                    </a:lnTo>
                    <a:lnTo>
                      <a:pt x="1178" y="1260"/>
                    </a:lnTo>
                    <a:lnTo>
                      <a:pt x="1178" y="1259"/>
                    </a:lnTo>
                    <a:lnTo>
                      <a:pt x="1178" y="1260"/>
                    </a:lnTo>
                    <a:lnTo>
                      <a:pt x="1178" y="1259"/>
                    </a:lnTo>
                    <a:lnTo>
                      <a:pt x="1179" y="1259"/>
                    </a:lnTo>
                    <a:lnTo>
                      <a:pt x="1181" y="1259"/>
                    </a:lnTo>
                    <a:lnTo>
                      <a:pt x="1179" y="1259"/>
                    </a:lnTo>
                    <a:lnTo>
                      <a:pt x="1179" y="1257"/>
                    </a:lnTo>
                    <a:lnTo>
                      <a:pt x="1178" y="1257"/>
                    </a:lnTo>
                    <a:lnTo>
                      <a:pt x="1179" y="1257"/>
                    </a:lnTo>
                    <a:close/>
                    <a:moveTo>
                      <a:pt x="1196" y="1126"/>
                    </a:moveTo>
                    <a:lnTo>
                      <a:pt x="1198" y="1126"/>
                    </a:lnTo>
                    <a:lnTo>
                      <a:pt x="1200" y="1126"/>
                    </a:lnTo>
                    <a:lnTo>
                      <a:pt x="1200" y="1128"/>
                    </a:lnTo>
                    <a:lnTo>
                      <a:pt x="1202" y="1126"/>
                    </a:lnTo>
                    <a:lnTo>
                      <a:pt x="1202" y="1128"/>
                    </a:lnTo>
                    <a:lnTo>
                      <a:pt x="1202" y="1126"/>
                    </a:lnTo>
                    <a:lnTo>
                      <a:pt x="1203" y="1126"/>
                    </a:lnTo>
                    <a:lnTo>
                      <a:pt x="1203" y="1128"/>
                    </a:lnTo>
                    <a:lnTo>
                      <a:pt x="1203" y="1129"/>
                    </a:lnTo>
                    <a:lnTo>
                      <a:pt x="1202" y="1131"/>
                    </a:lnTo>
                    <a:lnTo>
                      <a:pt x="1202" y="1133"/>
                    </a:lnTo>
                    <a:lnTo>
                      <a:pt x="1200" y="1131"/>
                    </a:lnTo>
                    <a:lnTo>
                      <a:pt x="1200" y="1129"/>
                    </a:lnTo>
                    <a:lnTo>
                      <a:pt x="1200" y="1131"/>
                    </a:lnTo>
                    <a:lnTo>
                      <a:pt x="1198" y="1131"/>
                    </a:lnTo>
                    <a:lnTo>
                      <a:pt x="1198" y="1129"/>
                    </a:lnTo>
                    <a:lnTo>
                      <a:pt x="1196" y="1129"/>
                    </a:lnTo>
                    <a:lnTo>
                      <a:pt x="1195" y="1129"/>
                    </a:lnTo>
                    <a:lnTo>
                      <a:pt x="1195" y="1131"/>
                    </a:lnTo>
                    <a:lnTo>
                      <a:pt x="1193" y="1131"/>
                    </a:lnTo>
                    <a:lnTo>
                      <a:pt x="1193" y="1133"/>
                    </a:lnTo>
                    <a:lnTo>
                      <a:pt x="1191" y="1131"/>
                    </a:lnTo>
                    <a:lnTo>
                      <a:pt x="1193" y="1131"/>
                    </a:lnTo>
                    <a:lnTo>
                      <a:pt x="1193" y="1129"/>
                    </a:lnTo>
                    <a:lnTo>
                      <a:pt x="1195" y="1129"/>
                    </a:lnTo>
                    <a:lnTo>
                      <a:pt x="1193" y="1129"/>
                    </a:lnTo>
                    <a:lnTo>
                      <a:pt x="1193" y="1128"/>
                    </a:lnTo>
                    <a:lnTo>
                      <a:pt x="1195" y="1126"/>
                    </a:lnTo>
                    <a:lnTo>
                      <a:pt x="1196" y="1126"/>
                    </a:lnTo>
                    <a:lnTo>
                      <a:pt x="1198" y="1126"/>
                    </a:lnTo>
                    <a:lnTo>
                      <a:pt x="1196" y="1126"/>
                    </a:lnTo>
                    <a:lnTo>
                      <a:pt x="1195" y="1126"/>
                    </a:lnTo>
                    <a:lnTo>
                      <a:pt x="1195" y="1124"/>
                    </a:lnTo>
                    <a:lnTo>
                      <a:pt x="1196" y="1126"/>
                    </a:lnTo>
                    <a:close/>
                    <a:moveTo>
                      <a:pt x="1156" y="1291"/>
                    </a:moveTo>
                    <a:lnTo>
                      <a:pt x="1157" y="1291"/>
                    </a:lnTo>
                    <a:lnTo>
                      <a:pt x="1157" y="1293"/>
                    </a:lnTo>
                    <a:lnTo>
                      <a:pt x="1159" y="1293"/>
                    </a:lnTo>
                    <a:lnTo>
                      <a:pt x="1161" y="1293"/>
                    </a:lnTo>
                    <a:lnTo>
                      <a:pt x="1161" y="1294"/>
                    </a:lnTo>
                    <a:lnTo>
                      <a:pt x="1161" y="1296"/>
                    </a:lnTo>
                    <a:lnTo>
                      <a:pt x="1162" y="1296"/>
                    </a:lnTo>
                    <a:lnTo>
                      <a:pt x="1162" y="1298"/>
                    </a:lnTo>
                    <a:lnTo>
                      <a:pt x="1161" y="1296"/>
                    </a:lnTo>
                    <a:lnTo>
                      <a:pt x="1161" y="1298"/>
                    </a:lnTo>
                    <a:lnTo>
                      <a:pt x="1159" y="1296"/>
                    </a:lnTo>
                    <a:lnTo>
                      <a:pt x="1159" y="1298"/>
                    </a:lnTo>
                    <a:lnTo>
                      <a:pt x="1161" y="1298"/>
                    </a:lnTo>
                    <a:lnTo>
                      <a:pt x="1162" y="1299"/>
                    </a:lnTo>
                    <a:lnTo>
                      <a:pt x="1161" y="1299"/>
                    </a:lnTo>
                    <a:lnTo>
                      <a:pt x="1159" y="1301"/>
                    </a:lnTo>
                    <a:lnTo>
                      <a:pt x="1157" y="1301"/>
                    </a:lnTo>
                    <a:lnTo>
                      <a:pt x="1157" y="1303"/>
                    </a:lnTo>
                    <a:lnTo>
                      <a:pt x="1157" y="1301"/>
                    </a:lnTo>
                    <a:lnTo>
                      <a:pt x="1157" y="1299"/>
                    </a:lnTo>
                    <a:lnTo>
                      <a:pt x="1156" y="1299"/>
                    </a:lnTo>
                    <a:lnTo>
                      <a:pt x="1156" y="1298"/>
                    </a:lnTo>
                    <a:lnTo>
                      <a:pt x="1156" y="1296"/>
                    </a:lnTo>
                    <a:lnTo>
                      <a:pt x="1156" y="1294"/>
                    </a:lnTo>
                    <a:lnTo>
                      <a:pt x="1157" y="1296"/>
                    </a:lnTo>
                    <a:lnTo>
                      <a:pt x="1156" y="1294"/>
                    </a:lnTo>
                    <a:lnTo>
                      <a:pt x="1154" y="1294"/>
                    </a:lnTo>
                    <a:lnTo>
                      <a:pt x="1154" y="1293"/>
                    </a:lnTo>
                    <a:lnTo>
                      <a:pt x="1154" y="1291"/>
                    </a:lnTo>
                    <a:lnTo>
                      <a:pt x="1156" y="1291"/>
                    </a:lnTo>
                    <a:close/>
                    <a:moveTo>
                      <a:pt x="1202" y="1046"/>
                    </a:moveTo>
                    <a:lnTo>
                      <a:pt x="1202" y="1048"/>
                    </a:lnTo>
                    <a:lnTo>
                      <a:pt x="1203" y="1048"/>
                    </a:lnTo>
                    <a:lnTo>
                      <a:pt x="1203" y="1049"/>
                    </a:lnTo>
                    <a:lnTo>
                      <a:pt x="1202" y="1049"/>
                    </a:lnTo>
                    <a:lnTo>
                      <a:pt x="1200" y="1049"/>
                    </a:lnTo>
                    <a:lnTo>
                      <a:pt x="1200" y="1051"/>
                    </a:lnTo>
                    <a:lnTo>
                      <a:pt x="1198" y="1049"/>
                    </a:lnTo>
                    <a:lnTo>
                      <a:pt x="1198" y="1051"/>
                    </a:lnTo>
                    <a:lnTo>
                      <a:pt x="1200" y="1051"/>
                    </a:lnTo>
                    <a:lnTo>
                      <a:pt x="1200" y="1053"/>
                    </a:lnTo>
                    <a:lnTo>
                      <a:pt x="1202" y="1053"/>
                    </a:lnTo>
                    <a:lnTo>
                      <a:pt x="1200" y="1053"/>
                    </a:lnTo>
                    <a:lnTo>
                      <a:pt x="1200" y="1054"/>
                    </a:lnTo>
                    <a:lnTo>
                      <a:pt x="1198" y="1054"/>
                    </a:lnTo>
                    <a:lnTo>
                      <a:pt x="1196" y="1054"/>
                    </a:lnTo>
                    <a:lnTo>
                      <a:pt x="1196" y="1053"/>
                    </a:lnTo>
                    <a:lnTo>
                      <a:pt x="1196" y="1051"/>
                    </a:lnTo>
                    <a:lnTo>
                      <a:pt x="1196" y="1053"/>
                    </a:lnTo>
                    <a:lnTo>
                      <a:pt x="1195" y="1053"/>
                    </a:lnTo>
                    <a:lnTo>
                      <a:pt x="1193" y="1053"/>
                    </a:lnTo>
                    <a:lnTo>
                      <a:pt x="1193" y="1051"/>
                    </a:lnTo>
                    <a:lnTo>
                      <a:pt x="1191" y="1051"/>
                    </a:lnTo>
                    <a:lnTo>
                      <a:pt x="1191" y="1049"/>
                    </a:lnTo>
                    <a:lnTo>
                      <a:pt x="1191" y="1048"/>
                    </a:lnTo>
                    <a:lnTo>
                      <a:pt x="1193" y="1048"/>
                    </a:lnTo>
                    <a:lnTo>
                      <a:pt x="1195" y="1048"/>
                    </a:lnTo>
                    <a:lnTo>
                      <a:pt x="1196" y="1049"/>
                    </a:lnTo>
                    <a:lnTo>
                      <a:pt x="1198" y="1049"/>
                    </a:lnTo>
                    <a:lnTo>
                      <a:pt x="1200" y="1049"/>
                    </a:lnTo>
                    <a:lnTo>
                      <a:pt x="1200" y="1048"/>
                    </a:lnTo>
                    <a:lnTo>
                      <a:pt x="1202" y="1048"/>
                    </a:lnTo>
                    <a:lnTo>
                      <a:pt x="1202" y="1046"/>
                    </a:lnTo>
                    <a:close/>
                    <a:moveTo>
                      <a:pt x="1185" y="1325"/>
                    </a:moveTo>
                    <a:lnTo>
                      <a:pt x="1186" y="1327"/>
                    </a:lnTo>
                    <a:lnTo>
                      <a:pt x="1186" y="1328"/>
                    </a:lnTo>
                    <a:lnTo>
                      <a:pt x="1188" y="1328"/>
                    </a:lnTo>
                    <a:lnTo>
                      <a:pt x="1188" y="1330"/>
                    </a:lnTo>
                    <a:lnTo>
                      <a:pt x="1188" y="1332"/>
                    </a:lnTo>
                    <a:lnTo>
                      <a:pt x="1188" y="1333"/>
                    </a:lnTo>
                    <a:lnTo>
                      <a:pt x="1186" y="1333"/>
                    </a:lnTo>
                    <a:lnTo>
                      <a:pt x="1185" y="1333"/>
                    </a:lnTo>
                    <a:lnTo>
                      <a:pt x="1185" y="1335"/>
                    </a:lnTo>
                    <a:lnTo>
                      <a:pt x="1183" y="1335"/>
                    </a:lnTo>
                    <a:lnTo>
                      <a:pt x="1183" y="1333"/>
                    </a:lnTo>
                    <a:lnTo>
                      <a:pt x="1181" y="1333"/>
                    </a:lnTo>
                    <a:lnTo>
                      <a:pt x="1183" y="1333"/>
                    </a:lnTo>
                    <a:lnTo>
                      <a:pt x="1183" y="1332"/>
                    </a:lnTo>
                    <a:lnTo>
                      <a:pt x="1183" y="1330"/>
                    </a:lnTo>
                    <a:lnTo>
                      <a:pt x="1181" y="1328"/>
                    </a:lnTo>
                    <a:lnTo>
                      <a:pt x="1181" y="1327"/>
                    </a:lnTo>
                    <a:lnTo>
                      <a:pt x="1183" y="1327"/>
                    </a:lnTo>
                    <a:lnTo>
                      <a:pt x="1183" y="1325"/>
                    </a:lnTo>
                    <a:lnTo>
                      <a:pt x="1183" y="1323"/>
                    </a:lnTo>
                    <a:lnTo>
                      <a:pt x="1185" y="1325"/>
                    </a:lnTo>
                    <a:close/>
                    <a:moveTo>
                      <a:pt x="1169" y="1242"/>
                    </a:moveTo>
                    <a:lnTo>
                      <a:pt x="1171" y="1242"/>
                    </a:lnTo>
                    <a:lnTo>
                      <a:pt x="1171" y="1243"/>
                    </a:lnTo>
                    <a:lnTo>
                      <a:pt x="1171" y="1245"/>
                    </a:lnTo>
                    <a:lnTo>
                      <a:pt x="1171" y="1247"/>
                    </a:lnTo>
                    <a:lnTo>
                      <a:pt x="1169" y="1247"/>
                    </a:lnTo>
                    <a:lnTo>
                      <a:pt x="1169" y="1245"/>
                    </a:lnTo>
                    <a:lnTo>
                      <a:pt x="1169" y="1247"/>
                    </a:lnTo>
                    <a:lnTo>
                      <a:pt x="1169" y="1248"/>
                    </a:lnTo>
                    <a:lnTo>
                      <a:pt x="1168" y="1248"/>
                    </a:lnTo>
                    <a:lnTo>
                      <a:pt x="1169" y="1248"/>
                    </a:lnTo>
                    <a:lnTo>
                      <a:pt x="1171" y="1248"/>
                    </a:lnTo>
                    <a:lnTo>
                      <a:pt x="1171" y="1250"/>
                    </a:lnTo>
                    <a:lnTo>
                      <a:pt x="1171" y="1252"/>
                    </a:lnTo>
                    <a:lnTo>
                      <a:pt x="1169" y="1252"/>
                    </a:lnTo>
                    <a:lnTo>
                      <a:pt x="1168" y="1252"/>
                    </a:lnTo>
                    <a:lnTo>
                      <a:pt x="1168" y="1250"/>
                    </a:lnTo>
                    <a:lnTo>
                      <a:pt x="1166" y="1250"/>
                    </a:lnTo>
                    <a:lnTo>
                      <a:pt x="1164" y="1250"/>
                    </a:lnTo>
                    <a:lnTo>
                      <a:pt x="1164" y="1248"/>
                    </a:lnTo>
                    <a:lnTo>
                      <a:pt x="1164" y="1247"/>
                    </a:lnTo>
                    <a:lnTo>
                      <a:pt x="1166" y="1248"/>
                    </a:lnTo>
                    <a:lnTo>
                      <a:pt x="1168" y="1248"/>
                    </a:lnTo>
                    <a:lnTo>
                      <a:pt x="1166" y="1248"/>
                    </a:lnTo>
                    <a:lnTo>
                      <a:pt x="1164" y="1247"/>
                    </a:lnTo>
                    <a:lnTo>
                      <a:pt x="1166" y="1247"/>
                    </a:lnTo>
                    <a:lnTo>
                      <a:pt x="1164" y="1245"/>
                    </a:lnTo>
                    <a:lnTo>
                      <a:pt x="1166" y="1245"/>
                    </a:lnTo>
                    <a:lnTo>
                      <a:pt x="1166" y="1243"/>
                    </a:lnTo>
                    <a:lnTo>
                      <a:pt x="1168" y="1245"/>
                    </a:lnTo>
                    <a:lnTo>
                      <a:pt x="1168" y="1243"/>
                    </a:lnTo>
                    <a:lnTo>
                      <a:pt x="1168" y="1245"/>
                    </a:lnTo>
                    <a:lnTo>
                      <a:pt x="1168" y="1243"/>
                    </a:lnTo>
                    <a:lnTo>
                      <a:pt x="1169" y="1243"/>
                    </a:lnTo>
                    <a:lnTo>
                      <a:pt x="1168" y="1243"/>
                    </a:lnTo>
                    <a:lnTo>
                      <a:pt x="1166" y="1242"/>
                    </a:lnTo>
                    <a:lnTo>
                      <a:pt x="1168" y="1242"/>
                    </a:lnTo>
                    <a:lnTo>
                      <a:pt x="1169" y="1242"/>
                    </a:lnTo>
                    <a:close/>
                    <a:moveTo>
                      <a:pt x="1162" y="1286"/>
                    </a:moveTo>
                    <a:lnTo>
                      <a:pt x="1162" y="1288"/>
                    </a:lnTo>
                    <a:lnTo>
                      <a:pt x="1162" y="1289"/>
                    </a:lnTo>
                    <a:lnTo>
                      <a:pt x="1162" y="1291"/>
                    </a:lnTo>
                    <a:lnTo>
                      <a:pt x="1161" y="1291"/>
                    </a:lnTo>
                    <a:lnTo>
                      <a:pt x="1161" y="1293"/>
                    </a:lnTo>
                    <a:lnTo>
                      <a:pt x="1161" y="1294"/>
                    </a:lnTo>
                    <a:lnTo>
                      <a:pt x="1159" y="1293"/>
                    </a:lnTo>
                    <a:lnTo>
                      <a:pt x="1157" y="1291"/>
                    </a:lnTo>
                    <a:lnTo>
                      <a:pt x="1156" y="1291"/>
                    </a:lnTo>
                    <a:lnTo>
                      <a:pt x="1156" y="1289"/>
                    </a:lnTo>
                    <a:lnTo>
                      <a:pt x="1156" y="1291"/>
                    </a:lnTo>
                    <a:lnTo>
                      <a:pt x="1156" y="1289"/>
                    </a:lnTo>
                    <a:lnTo>
                      <a:pt x="1157" y="1288"/>
                    </a:lnTo>
                    <a:lnTo>
                      <a:pt x="1159" y="1288"/>
                    </a:lnTo>
                    <a:lnTo>
                      <a:pt x="1159" y="1289"/>
                    </a:lnTo>
                    <a:lnTo>
                      <a:pt x="1159" y="1288"/>
                    </a:lnTo>
                    <a:lnTo>
                      <a:pt x="1157" y="1288"/>
                    </a:lnTo>
                    <a:lnTo>
                      <a:pt x="1159" y="1286"/>
                    </a:lnTo>
                    <a:lnTo>
                      <a:pt x="1161" y="1284"/>
                    </a:lnTo>
                    <a:lnTo>
                      <a:pt x="1161" y="1282"/>
                    </a:lnTo>
                    <a:lnTo>
                      <a:pt x="1162" y="1282"/>
                    </a:lnTo>
                    <a:lnTo>
                      <a:pt x="1162" y="1284"/>
                    </a:lnTo>
                    <a:lnTo>
                      <a:pt x="1162" y="1286"/>
                    </a:lnTo>
                    <a:close/>
                    <a:moveTo>
                      <a:pt x="1188" y="1265"/>
                    </a:moveTo>
                    <a:lnTo>
                      <a:pt x="1188" y="1267"/>
                    </a:lnTo>
                    <a:lnTo>
                      <a:pt x="1188" y="1269"/>
                    </a:lnTo>
                    <a:lnTo>
                      <a:pt x="1190" y="1270"/>
                    </a:lnTo>
                    <a:lnTo>
                      <a:pt x="1188" y="1270"/>
                    </a:lnTo>
                    <a:lnTo>
                      <a:pt x="1190" y="1270"/>
                    </a:lnTo>
                    <a:lnTo>
                      <a:pt x="1190" y="1272"/>
                    </a:lnTo>
                    <a:lnTo>
                      <a:pt x="1191" y="1274"/>
                    </a:lnTo>
                    <a:lnTo>
                      <a:pt x="1190" y="1276"/>
                    </a:lnTo>
                    <a:lnTo>
                      <a:pt x="1188" y="1276"/>
                    </a:lnTo>
                    <a:lnTo>
                      <a:pt x="1188" y="1274"/>
                    </a:lnTo>
                    <a:lnTo>
                      <a:pt x="1186" y="1274"/>
                    </a:lnTo>
                    <a:lnTo>
                      <a:pt x="1188" y="1274"/>
                    </a:lnTo>
                    <a:lnTo>
                      <a:pt x="1188" y="1272"/>
                    </a:lnTo>
                    <a:lnTo>
                      <a:pt x="1186" y="1272"/>
                    </a:lnTo>
                    <a:lnTo>
                      <a:pt x="1185" y="1272"/>
                    </a:lnTo>
                    <a:lnTo>
                      <a:pt x="1183" y="1270"/>
                    </a:lnTo>
                    <a:lnTo>
                      <a:pt x="1181" y="1270"/>
                    </a:lnTo>
                    <a:lnTo>
                      <a:pt x="1181" y="1269"/>
                    </a:lnTo>
                    <a:lnTo>
                      <a:pt x="1183" y="1269"/>
                    </a:lnTo>
                    <a:lnTo>
                      <a:pt x="1185" y="1269"/>
                    </a:lnTo>
                    <a:lnTo>
                      <a:pt x="1185" y="1270"/>
                    </a:lnTo>
                    <a:lnTo>
                      <a:pt x="1186" y="1270"/>
                    </a:lnTo>
                    <a:lnTo>
                      <a:pt x="1188" y="1272"/>
                    </a:lnTo>
                    <a:lnTo>
                      <a:pt x="1186" y="1270"/>
                    </a:lnTo>
                    <a:lnTo>
                      <a:pt x="1185" y="1269"/>
                    </a:lnTo>
                    <a:lnTo>
                      <a:pt x="1185" y="1267"/>
                    </a:lnTo>
                    <a:lnTo>
                      <a:pt x="1186" y="1265"/>
                    </a:lnTo>
                    <a:lnTo>
                      <a:pt x="1188" y="1265"/>
                    </a:lnTo>
                    <a:close/>
                    <a:moveTo>
                      <a:pt x="1186" y="1403"/>
                    </a:moveTo>
                    <a:lnTo>
                      <a:pt x="1186" y="1405"/>
                    </a:lnTo>
                    <a:lnTo>
                      <a:pt x="1188" y="1407"/>
                    </a:lnTo>
                    <a:lnTo>
                      <a:pt x="1188" y="1408"/>
                    </a:lnTo>
                    <a:lnTo>
                      <a:pt x="1188" y="1410"/>
                    </a:lnTo>
                    <a:lnTo>
                      <a:pt x="1188" y="1412"/>
                    </a:lnTo>
                    <a:lnTo>
                      <a:pt x="1190" y="1412"/>
                    </a:lnTo>
                    <a:lnTo>
                      <a:pt x="1190" y="1413"/>
                    </a:lnTo>
                    <a:lnTo>
                      <a:pt x="1190" y="1415"/>
                    </a:lnTo>
                    <a:lnTo>
                      <a:pt x="1190" y="1417"/>
                    </a:lnTo>
                    <a:lnTo>
                      <a:pt x="1191" y="1418"/>
                    </a:lnTo>
                    <a:lnTo>
                      <a:pt x="1190" y="1418"/>
                    </a:lnTo>
                    <a:lnTo>
                      <a:pt x="1190" y="1420"/>
                    </a:lnTo>
                    <a:lnTo>
                      <a:pt x="1188" y="1420"/>
                    </a:lnTo>
                    <a:lnTo>
                      <a:pt x="1188" y="1422"/>
                    </a:lnTo>
                    <a:lnTo>
                      <a:pt x="1188" y="1420"/>
                    </a:lnTo>
                    <a:lnTo>
                      <a:pt x="1188" y="1418"/>
                    </a:lnTo>
                    <a:lnTo>
                      <a:pt x="1188" y="1417"/>
                    </a:lnTo>
                    <a:lnTo>
                      <a:pt x="1186" y="1415"/>
                    </a:lnTo>
                    <a:lnTo>
                      <a:pt x="1188" y="1415"/>
                    </a:lnTo>
                    <a:lnTo>
                      <a:pt x="1186" y="1413"/>
                    </a:lnTo>
                    <a:lnTo>
                      <a:pt x="1186" y="1412"/>
                    </a:lnTo>
                    <a:lnTo>
                      <a:pt x="1186" y="1410"/>
                    </a:lnTo>
                    <a:lnTo>
                      <a:pt x="1186" y="1408"/>
                    </a:lnTo>
                    <a:lnTo>
                      <a:pt x="1185" y="1407"/>
                    </a:lnTo>
                    <a:lnTo>
                      <a:pt x="1186" y="1407"/>
                    </a:lnTo>
                    <a:lnTo>
                      <a:pt x="1185" y="1407"/>
                    </a:lnTo>
                    <a:lnTo>
                      <a:pt x="1186" y="1407"/>
                    </a:lnTo>
                    <a:lnTo>
                      <a:pt x="1186" y="1405"/>
                    </a:lnTo>
                    <a:lnTo>
                      <a:pt x="1185" y="1405"/>
                    </a:lnTo>
                    <a:lnTo>
                      <a:pt x="1185" y="1403"/>
                    </a:lnTo>
                    <a:lnTo>
                      <a:pt x="1186" y="1403"/>
                    </a:lnTo>
                    <a:close/>
                    <a:moveTo>
                      <a:pt x="1185" y="1112"/>
                    </a:moveTo>
                    <a:lnTo>
                      <a:pt x="1186" y="1114"/>
                    </a:lnTo>
                    <a:lnTo>
                      <a:pt x="1188" y="1114"/>
                    </a:lnTo>
                    <a:lnTo>
                      <a:pt x="1188" y="1116"/>
                    </a:lnTo>
                    <a:lnTo>
                      <a:pt x="1188" y="1114"/>
                    </a:lnTo>
                    <a:lnTo>
                      <a:pt x="1190" y="1114"/>
                    </a:lnTo>
                    <a:lnTo>
                      <a:pt x="1190" y="1116"/>
                    </a:lnTo>
                    <a:lnTo>
                      <a:pt x="1190" y="1117"/>
                    </a:lnTo>
                    <a:lnTo>
                      <a:pt x="1188" y="1117"/>
                    </a:lnTo>
                    <a:lnTo>
                      <a:pt x="1190" y="1117"/>
                    </a:lnTo>
                    <a:lnTo>
                      <a:pt x="1190" y="1119"/>
                    </a:lnTo>
                    <a:lnTo>
                      <a:pt x="1190" y="1121"/>
                    </a:lnTo>
                    <a:lnTo>
                      <a:pt x="1188" y="1121"/>
                    </a:lnTo>
                    <a:lnTo>
                      <a:pt x="1188" y="1119"/>
                    </a:lnTo>
                    <a:lnTo>
                      <a:pt x="1188" y="1117"/>
                    </a:lnTo>
                    <a:lnTo>
                      <a:pt x="1188" y="1116"/>
                    </a:lnTo>
                    <a:lnTo>
                      <a:pt x="1188" y="1114"/>
                    </a:lnTo>
                    <a:lnTo>
                      <a:pt x="1186" y="1116"/>
                    </a:lnTo>
                    <a:lnTo>
                      <a:pt x="1188" y="1117"/>
                    </a:lnTo>
                    <a:lnTo>
                      <a:pt x="1186" y="1117"/>
                    </a:lnTo>
                    <a:lnTo>
                      <a:pt x="1186" y="1116"/>
                    </a:lnTo>
                    <a:lnTo>
                      <a:pt x="1186" y="1117"/>
                    </a:lnTo>
                    <a:lnTo>
                      <a:pt x="1186" y="1119"/>
                    </a:lnTo>
                    <a:lnTo>
                      <a:pt x="1186" y="1121"/>
                    </a:lnTo>
                    <a:lnTo>
                      <a:pt x="1186" y="1119"/>
                    </a:lnTo>
                    <a:lnTo>
                      <a:pt x="1185" y="1119"/>
                    </a:lnTo>
                    <a:lnTo>
                      <a:pt x="1185" y="1117"/>
                    </a:lnTo>
                    <a:lnTo>
                      <a:pt x="1183" y="1117"/>
                    </a:lnTo>
                    <a:lnTo>
                      <a:pt x="1183" y="1116"/>
                    </a:lnTo>
                    <a:lnTo>
                      <a:pt x="1183" y="1114"/>
                    </a:lnTo>
                    <a:lnTo>
                      <a:pt x="1183" y="1112"/>
                    </a:lnTo>
                    <a:lnTo>
                      <a:pt x="1185" y="1112"/>
                    </a:lnTo>
                    <a:close/>
                    <a:moveTo>
                      <a:pt x="1161" y="1235"/>
                    </a:moveTo>
                    <a:lnTo>
                      <a:pt x="1159" y="1236"/>
                    </a:lnTo>
                    <a:lnTo>
                      <a:pt x="1161" y="1236"/>
                    </a:lnTo>
                    <a:lnTo>
                      <a:pt x="1161" y="1238"/>
                    </a:lnTo>
                    <a:lnTo>
                      <a:pt x="1159" y="1240"/>
                    </a:lnTo>
                    <a:lnTo>
                      <a:pt x="1157" y="1240"/>
                    </a:lnTo>
                    <a:lnTo>
                      <a:pt x="1159" y="1240"/>
                    </a:lnTo>
                    <a:lnTo>
                      <a:pt x="1161" y="1240"/>
                    </a:lnTo>
                    <a:lnTo>
                      <a:pt x="1162" y="1240"/>
                    </a:lnTo>
                    <a:lnTo>
                      <a:pt x="1162" y="1242"/>
                    </a:lnTo>
                    <a:lnTo>
                      <a:pt x="1161" y="1242"/>
                    </a:lnTo>
                    <a:lnTo>
                      <a:pt x="1161" y="1243"/>
                    </a:lnTo>
                    <a:lnTo>
                      <a:pt x="1159" y="1243"/>
                    </a:lnTo>
                    <a:lnTo>
                      <a:pt x="1157" y="1243"/>
                    </a:lnTo>
                    <a:lnTo>
                      <a:pt x="1157" y="1242"/>
                    </a:lnTo>
                    <a:lnTo>
                      <a:pt x="1156" y="1240"/>
                    </a:lnTo>
                    <a:lnTo>
                      <a:pt x="1156" y="1242"/>
                    </a:lnTo>
                    <a:lnTo>
                      <a:pt x="1157" y="1243"/>
                    </a:lnTo>
                    <a:lnTo>
                      <a:pt x="1156" y="1243"/>
                    </a:lnTo>
                    <a:lnTo>
                      <a:pt x="1156" y="1242"/>
                    </a:lnTo>
                    <a:lnTo>
                      <a:pt x="1156" y="1240"/>
                    </a:lnTo>
                    <a:lnTo>
                      <a:pt x="1154" y="1240"/>
                    </a:lnTo>
                    <a:lnTo>
                      <a:pt x="1152" y="1240"/>
                    </a:lnTo>
                    <a:lnTo>
                      <a:pt x="1151" y="1240"/>
                    </a:lnTo>
                    <a:lnTo>
                      <a:pt x="1151" y="1242"/>
                    </a:lnTo>
                    <a:lnTo>
                      <a:pt x="1151" y="1240"/>
                    </a:lnTo>
                    <a:lnTo>
                      <a:pt x="1151" y="1238"/>
                    </a:lnTo>
                    <a:lnTo>
                      <a:pt x="1152" y="1238"/>
                    </a:lnTo>
                    <a:lnTo>
                      <a:pt x="1152" y="1236"/>
                    </a:lnTo>
                    <a:lnTo>
                      <a:pt x="1152" y="1238"/>
                    </a:lnTo>
                    <a:lnTo>
                      <a:pt x="1154" y="1236"/>
                    </a:lnTo>
                    <a:lnTo>
                      <a:pt x="1154" y="1238"/>
                    </a:lnTo>
                    <a:lnTo>
                      <a:pt x="1154" y="1240"/>
                    </a:lnTo>
                    <a:lnTo>
                      <a:pt x="1154" y="1238"/>
                    </a:lnTo>
                    <a:lnTo>
                      <a:pt x="1156" y="1238"/>
                    </a:lnTo>
                    <a:lnTo>
                      <a:pt x="1157" y="1238"/>
                    </a:lnTo>
                    <a:lnTo>
                      <a:pt x="1157" y="1236"/>
                    </a:lnTo>
                    <a:lnTo>
                      <a:pt x="1159" y="1236"/>
                    </a:lnTo>
                    <a:lnTo>
                      <a:pt x="1157" y="1236"/>
                    </a:lnTo>
                    <a:lnTo>
                      <a:pt x="1159" y="1235"/>
                    </a:lnTo>
                    <a:lnTo>
                      <a:pt x="1161" y="1235"/>
                    </a:lnTo>
                    <a:close/>
                    <a:moveTo>
                      <a:pt x="1234" y="1456"/>
                    </a:moveTo>
                    <a:lnTo>
                      <a:pt x="1234" y="1458"/>
                    </a:lnTo>
                    <a:lnTo>
                      <a:pt x="1232" y="1458"/>
                    </a:lnTo>
                    <a:lnTo>
                      <a:pt x="1232" y="1459"/>
                    </a:lnTo>
                    <a:lnTo>
                      <a:pt x="1232" y="1461"/>
                    </a:lnTo>
                    <a:lnTo>
                      <a:pt x="1230" y="1461"/>
                    </a:lnTo>
                    <a:lnTo>
                      <a:pt x="1230" y="1463"/>
                    </a:lnTo>
                    <a:lnTo>
                      <a:pt x="1230" y="1464"/>
                    </a:lnTo>
                    <a:lnTo>
                      <a:pt x="1229" y="1464"/>
                    </a:lnTo>
                    <a:lnTo>
                      <a:pt x="1229" y="1466"/>
                    </a:lnTo>
                    <a:lnTo>
                      <a:pt x="1227" y="1466"/>
                    </a:lnTo>
                    <a:lnTo>
                      <a:pt x="1225" y="1466"/>
                    </a:lnTo>
                    <a:lnTo>
                      <a:pt x="1225" y="1464"/>
                    </a:lnTo>
                    <a:lnTo>
                      <a:pt x="1225" y="1463"/>
                    </a:lnTo>
                    <a:lnTo>
                      <a:pt x="1225" y="1461"/>
                    </a:lnTo>
                    <a:lnTo>
                      <a:pt x="1227" y="1461"/>
                    </a:lnTo>
                    <a:lnTo>
                      <a:pt x="1227" y="1459"/>
                    </a:lnTo>
                    <a:lnTo>
                      <a:pt x="1229" y="1458"/>
                    </a:lnTo>
                    <a:lnTo>
                      <a:pt x="1230" y="1458"/>
                    </a:lnTo>
                    <a:lnTo>
                      <a:pt x="1230" y="1456"/>
                    </a:lnTo>
                    <a:lnTo>
                      <a:pt x="1232" y="1456"/>
                    </a:lnTo>
                    <a:lnTo>
                      <a:pt x="1234" y="1456"/>
                    </a:lnTo>
                    <a:lnTo>
                      <a:pt x="1234" y="1454"/>
                    </a:lnTo>
                    <a:lnTo>
                      <a:pt x="1234" y="1456"/>
                    </a:lnTo>
                    <a:close/>
                    <a:moveTo>
                      <a:pt x="1183" y="1117"/>
                    </a:moveTo>
                    <a:lnTo>
                      <a:pt x="1185" y="1117"/>
                    </a:lnTo>
                    <a:lnTo>
                      <a:pt x="1185" y="1119"/>
                    </a:lnTo>
                    <a:lnTo>
                      <a:pt x="1186" y="1119"/>
                    </a:lnTo>
                    <a:lnTo>
                      <a:pt x="1186" y="1121"/>
                    </a:lnTo>
                    <a:lnTo>
                      <a:pt x="1186" y="1122"/>
                    </a:lnTo>
                    <a:lnTo>
                      <a:pt x="1188" y="1124"/>
                    </a:lnTo>
                    <a:lnTo>
                      <a:pt x="1186" y="1124"/>
                    </a:lnTo>
                    <a:lnTo>
                      <a:pt x="1185" y="1124"/>
                    </a:lnTo>
                    <a:lnTo>
                      <a:pt x="1183" y="1124"/>
                    </a:lnTo>
                    <a:lnTo>
                      <a:pt x="1183" y="1122"/>
                    </a:lnTo>
                    <a:lnTo>
                      <a:pt x="1181" y="1122"/>
                    </a:lnTo>
                    <a:lnTo>
                      <a:pt x="1179" y="1122"/>
                    </a:lnTo>
                    <a:lnTo>
                      <a:pt x="1179" y="1121"/>
                    </a:lnTo>
                    <a:lnTo>
                      <a:pt x="1179" y="1119"/>
                    </a:lnTo>
                    <a:lnTo>
                      <a:pt x="1181" y="1117"/>
                    </a:lnTo>
                    <a:lnTo>
                      <a:pt x="1183" y="1117"/>
                    </a:lnTo>
                    <a:close/>
                    <a:moveTo>
                      <a:pt x="1173" y="1373"/>
                    </a:moveTo>
                    <a:lnTo>
                      <a:pt x="1174" y="1373"/>
                    </a:lnTo>
                    <a:lnTo>
                      <a:pt x="1174" y="1374"/>
                    </a:lnTo>
                    <a:lnTo>
                      <a:pt x="1176" y="1374"/>
                    </a:lnTo>
                    <a:lnTo>
                      <a:pt x="1178" y="1374"/>
                    </a:lnTo>
                    <a:lnTo>
                      <a:pt x="1176" y="1374"/>
                    </a:lnTo>
                    <a:lnTo>
                      <a:pt x="1178" y="1374"/>
                    </a:lnTo>
                    <a:lnTo>
                      <a:pt x="1178" y="1376"/>
                    </a:lnTo>
                    <a:lnTo>
                      <a:pt x="1176" y="1376"/>
                    </a:lnTo>
                    <a:lnTo>
                      <a:pt x="1176" y="1378"/>
                    </a:lnTo>
                    <a:lnTo>
                      <a:pt x="1176" y="1376"/>
                    </a:lnTo>
                    <a:lnTo>
                      <a:pt x="1176" y="1378"/>
                    </a:lnTo>
                    <a:lnTo>
                      <a:pt x="1174" y="1378"/>
                    </a:lnTo>
                    <a:lnTo>
                      <a:pt x="1174" y="1379"/>
                    </a:lnTo>
                    <a:lnTo>
                      <a:pt x="1173" y="1379"/>
                    </a:lnTo>
                    <a:lnTo>
                      <a:pt x="1173" y="1381"/>
                    </a:lnTo>
                    <a:lnTo>
                      <a:pt x="1171" y="1381"/>
                    </a:lnTo>
                    <a:lnTo>
                      <a:pt x="1169" y="1379"/>
                    </a:lnTo>
                    <a:lnTo>
                      <a:pt x="1171" y="1379"/>
                    </a:lnTo>
                    <a:lnTo>
                      <a:pt x="1171" y="1378"/>
                    </a:lnTo>
                    <a:lnTo>
                      <a:pt x="1171" y="1379"/>
                    </a:lnTo>
                    <a:lnTo>
                      <a:pt x="1171" y="1378"/>
                    </a:lnTo>
                    <a:lnTo>
                      <a:pt x="1171" y="1376"/>
                    </a:lnTo>
                    <a:lnTo>
                      <a:pt x="1171" y="1378"/>
                    </a:lnTo>
                    <a:lnTo>
                      <a:pt x="1169" y="1378"/>
                    </a:lnTo>
                    <a:lnTo>
                      <a:pt x="1169" y="1376"/>
                    </a:lnTo>
                    <a:lnTo>
                      <a:pt x="1171" y="1376"/>
                    </a:lnTo>
                    <a:lnTo>
                      <a:pt x="1171" y="1374"/>
                    </a:lnTo>
                    <a:lnTo>
                      <a:pt x="1173" y="1374"/>
                    </a:lnTo>
                    <a:lnTo>
                      <a:pt x="1173" y="1373"/>
                    </a:lnTo>
                    <a:close/>
                    <a:moveTo>
                      <a:pt x="1436" y="1645"/>
                    </a:moveTo>
                    <a:lnTo>
                      <a:pt x="1438" y="1645"/>
                    </a:lnTo>
                    <a:lnTo>
                      <a:pt x="1438" y="1646"/>
                    </a:lnTo>
                    <a:lnTo>
                      <a:pt x="1438" y="1648"/>
                    </a:lnTo>
                    <a:lnTo>
                      <a:pt x="1438" y="1650"/>
                    </a:lnTo>
                    <a:lnTo>
                      <a:pt x="1438" y="1652"/>
                    </a:lnTo>
                    <a:lnTo>
                      <a:pt x="1436" y="1652"/>
                    </a:lnTo>
                    <a:lnTo>
                      <a:pt x="1438" y="1653"/>
                    </a:lnTo>
                    <a:lnTo>
                      <a:pt x="1436" y="1652"/>
                    </a:lnTo>
                    <a:lnTo>
                      <a:pt x="1436" y="1653"/>
                    </a:lnTo>
                    <a:lnTo>
                      <a:pt x="1434" y="1653"/>
                    </a:lnTo>
                    <a:lnTo>
                      <a:pt x="1433" y="1653"/>
                    </a:lnTo>
                    <a:lnTo>
                      <a:pt x="1431" y="1653"/>
                    </a:lnTo>
                    <a:lnTo>
                      <a:pt x="1431" y="1652"/>
                    </a:lnTo>
                    <a:lnTo>
                      <a:pt x="1431" y="1650"/>
                    </a:lnTo>
                    <a:lnTo>
                      <a:pt x="1431" y="1648"/>
                    </a:lnTo>
                    <a:lnTo>
                      <a:pt x="1433" y="1646"/>
                    </a:lnTo>
                    <a:lnTo>
                      <a:pt x="1434" y="1645"/>
                    </a:lnTo>
                    <a:lnTo>
                      <a:pt x="1436" y="1645"/>
                    </a:lnTo>
                    <a:close/>
                    <a:moveTo>
                      <a:pt x="1171" y="1036"/>
                    </a:moveTo>
                    <a:lnTo>
                      <a:pt x="1173" y="1036"/>
                    </a:lnTo>
                    <a:lnTo>
                      <a:pt x="1174" y="1036"/>
                    </a:lnTo>
                    <a:lnTo>
                      <a:pt x="1176" y="1037"/>
                    </a:lnTo>
                    <a:lnTo>
                      <a:pt x="1176" y="1039"/>
                    </a:lnTo>
                    <a:lnTo>
                      <a:pt x="1178" y="1039"/>
                    </a:lnTo>
                    <a:lnTo>
                      <a:pt x="1176" y="1039"/>
                    </a:lnTo>
                    <a:lnTo>
                      <a:pt x="1176" y="1041"/>
                    </a:lnTo>
                    <a:lnTo>
                      <a:pt x="1174" y="1041"/>
                    </a:lnTo>
                    <a:lnTo>
                      <a:pt x="1173" y="1041"/>
                    </a:lnTo>
                    <a:lnTo>
                      <a:pt x="1171" y="1041"/>
                    </a:lnTo>
                    <a:lnTo>
                      <a:pt x="1171" y="1043"/>
                    </a:lnTo>
                    <a:lnTo>
                      <a:pt x="1169" y="1041"/>
                    </a:lnTo>
                    <a:lnTo>
                      <a:pt x="1169" y="1039"/>
                    </a:lnTo>
                    <a:lnTo>
                      <a:pt x="1169" y="1037"/>
                    </a:lnTo>
                    <a:lnTo>
                      <a:pt x="1168" y="1037"/>
                    </a:lnTo>
                    <a:lnTo>
                      <a:pt x="1169" y="1037"/>
                    </a:lnTo>
                    <a:lnTo>
                      <a:pt x="1168" y="1036"/>
                    </a:lnTo>
                    <a:lnTo>
                      <a:pt x="1169" y="1037"/>
                    </a:lnTo>
                    <a:lnTo>
                      <a:pt x="1171" y="1037"/>
                    </a:lnTo>
                    <a:lnTo>
                      <a:pt x="1171" y="1036"/>
                    </a:lnTo>
                    <a:lnTo>
                      <a:pt x="1171" y="1034"/>
                    </a:lnTo>
                    <a:lnTo>
                      <a:pt x="1171" y="1036"/>
                    </a:lnTo>
                    <a:close/>
                    <a:moveTo>
                      <a:pt x="1195" y="1420"/>
                    </a:moveTo>
                    <a:lnTo>
                      <a:pt x="1196" y="1420"/>
                    </a:lnTo>
                    <a:lnTo>
                      <a:pt x="1198" y="1420"/>
                    </a:lnTo>
                    <a:lnTo>
                      <a:pt x="1198" y="1422"/>
                    </a:lnTo>
                    <a:lnTo>
                      <a:pt x="1198" y="1424"/>
                    </a:lnTo>
                    <a:lnTo>
                      <a:pt x="1198" y="1425"/>
                    </a:lnTo>
                    <a:lnTo>
                      <a:pt x="1196" y="1424"/>
                    </a:lnTo>
                    <a:lnTo>
                      <a:pt x="1196" y="1425"/>
                    </a:lnTo>
                    <a:lnTo>
                      <a:pt x="1198" y="1427"/>
                    </a:lnTo>
                    <a:lnTo>
                      <a:pt x="1196" y="1427"/>
                    </a:lnTo>
                    <a:lnTo>
                      <a:pt x="1195" y="1429"/>
                    </a:lnTo>
                    <a:lnTo>
                      <a:pt x="1195" y="1427"/>
                    </a:lnTo>
                    <a:lnTo>
                      <a:pt x="1193" y="1425"/>
                    </a:lnTo>
                    <a:lnTo>
                      <a:pt x="1193" y="1424"/>
                    </a:lnTo>
                    <a:lnTo>
                      <a:pt x="1193" y="1425"/>
                    </a:lnTo>
                    <a:lnTo>
                      <a:pt x="1193" y="1424"/>
                    </a:lnTo>
                    <a:lnTo>
                      <a:pt x="1193" y="1422"/>
                    </a:lnTo>
                    <a:lnTo>
                      <a:pt x="1193" y="1420"/>
                    </a:lnTo>
                    <a:lnTo>
                      <a:pt x="1195" y="1420"/>
                    </a:lnTo>
                    <a:close/>
                    <a:moveTo>
                      <a:pt x="1412" y="1680"/>
                    </a:moveTo>
                    <a:lnTo>
                      <a:pt x="1414" y="1680"/>
                    </a:lnTo>
                    <a:lnTo>
                      <a:pt x="1416" y="1682"/>
                    </a:lnTo>
                    <a:lnTo>
                      <a:pt x="1414" y="1682"/>
                    </a:lnTo>
                    <a:lnTo>
                      <a:pt x="1414" y="1684"/>
                    </a:lnTo>
                    <a:lnTo>
                      <a:pt x="1412" y="1684"/>
                    </a:lnTo>
                    <a:lnTo>
                      <a:pt x="1414" y="1684"/>
                    </a:lnTo>
                    <a:lnTo>
                      <a:pt x="1414" y="1686"/>
                    </a:lnTo>
                    <a:lnTo>
                      <a:pt x="1412" y="1686"/>
                    </a:lnTo>
                    <a:lnTo>
                      <a:pt x="1412" y="1684"/>
                    </a:lnTo>
                    <a:lnTo>
                      <a:pt x="1412" y="1686"/>
                    </a:lnTo>
                    <a:lnTo>
                      <a:pt x="1411" y="1687"/>
                    </a:lnTo>
                    <a:lnTo>
                      <a:pt x="1411" y="1686"/>
                    </a:lnTo>
                    <a:lnTo>
                      <a:pt x="1411" y="1684"/>
                    </a:lnTo>
                    <a:lnTo>
                      <a:pt x="1412" y="1684"/>
                    </a:lnTo>
                    <a:lnTo>
                      <a:pt x="1411" y="1682"/>
                    </a:lnTo>
                    <a:lnTo>
                      <a:pt x="1411" y="1684"/>
                    </a:lnTo>
                    <a:lnTo>
                      <a:pt x="1409" y="1684"/>
                    </a:lnTo>
                    <a:lnTo>
                      <a:pt x="1409" y="1686"/>
                    </a:lnTo>
                    <a:lnTo>
                      <a:pt x="1407" y="1686"/>
                    </a:lnTo>
                    <a:lnTo>
                      <a:pt x="1407" y="1684"/>
                    </a:lnTo>
                    <a:lnTo>
                      <a:pt x="1407" y="1682"/>
                    </a:lnTo>
                    <a:lnTo>
                      <a:pt x="1407" y="1684"/>
                    </a:lnTo>
                    <a:lnTo>
                      <a:pt x="1406" y="1684"/>
                    </a:lnTo>
                    <a:lnTo>
                      <a:pt x="1406" y="1686"/>
                    </a:lnTo>
                    <a:lnTo>
                      <a:pt x="1404" y="1686"/>
                    </a:lnTo>
                    <a:lnTo>
                      <a:pt x="1404" y="1684"/>
                    </a:lnTo>
                    <a:lnTo>
                      <a:pt x="1404" y="1686"/>
                    </a:lnTo>
                    <a:lnTo>
                      <a:pt x="1402" y="1686"/>
                    </a:lnTo>
                    <a:lnTo>
                      <a:pt x="1402" y="1684"/>
                    </a:lnTo>
                    <a:lnTo>
                      <a:pt x="1402" y="1682"/>
                    </a:lnTo>
                    <a:lnTo>
                      <a:pt x="1402" y="1680"/>
                    </a:lnTo>
                    <a:lnTo>
                      <a:pt x="1404" y="1682"/>
                    </a:lnTo>
                    <a:lnTo>
                      <a:pt x="1404" y="1680"/>
                    </a:lnTo>
                    <a:lnTo>
                      <a:pt x="1406" y="1680"/>
                    </a:lnTo>
                    <a:lnTo>
                      <a:pt x="1406" y="1682"/>
                    </a:lnTo>
                    <a:lnTo>
                      <a:pt x="1406" y="1680"/>
                    </a:lnTo>
                    <a:lnTo>
                      <a:pt x="1407" y="1682"/>
                    </a:lnTo>
                    <a:lnTo>
                      <a:pt x="1409" y="1680"/>
                    </a:lnTo>
                    <a:lnTo>
                      <a:pt x="1409" y="1682"/>
                    </a:lnTo>
                    <a:lnTo>
                      <a:pt x="1411" y="1680"/>
                    </a:lnTo>
                    <a:lnTo>
                      <a:pt x="1411" y="1682"/>
                    </a:lnTo>
                    <a:lnTo>
                      <a:pt x="1411" y="1680"/>
                    </a:lnTo>
                    <a:lnTo>
                      <a:pt x="1412" y="1682"/>
                    </a:lnTo>
                    <a:lnTo>
                      <a:pt x="1414" y="1680"/>
                    </a:lnTo>
                    <a:lnTo>
                      <a:pt x="1412" y="1680"/>
                    </a:lnTo>
                    <a:lnTo>
                      <a:pt x="1412" y="1679"/>
                    </a:lnTo>
                    <a:lnTo>
                      <a:pt x="1412" y="1680"/>
                    </a:lnTo>
                    <a:close/>
                    <a:moveTo>
                      <a:pt x="1162" y="1446"/>
                    </a:moveTo>
                    <a:lnTo>
                      <a:pt x="1164" y="1447"/>
                    </a:lnTo>
                    <a:lnTo>
                      <a:pt x="1162" y="1449"/>
                    </a:lnTo>
                    <a:lnTo>
                      <a:pt x="1164" y="1449"/>
                    </a:lnTo>
                    <a:lnTo>
                      <a:pt x="1162" y="1451"/>
                    </a:lnTo>
                    <a:lnTo>
                      <a:pt x="1164" y="1451"/>
                    </a:lnTo>
                    <a:lnTo>
                      <a:pt x="1164" y="1453"/>
                    </a:lnTo>
                    <a:lnTo>
                      <a:pt x="1162" y="1453"/>
                    </a:lnTo>
                    <a:lnTo>
                      <a:pt x="1162" y="1454"/>
                    </a:lnTo>
                    <a:lnTo>
                      <a:pt x="1162" y="1456"/>
                    </a:lnTo>
                    <a:lnTo>
                      <a:pt x="1161" y="1456"/>
                    </a:lnTo>
                    <a:lnTo>
                      <a:pt x="1161" y="1458"/>
                    </a:lnTo>
                    <a:lnTo>
                      <a:pt x="1159" y="1458"/>
                    </a:lnTo>
                    <a:lnTo>
                      <a:pt x="1159" y="1456"/>
                    </a:lnTo>
                    <a:lnTo>
                      <a:pt x="1161" y="1454"/>
                    </a:lnTo>
                    <a:lnTo>
                      <a:pt x="1161" y="1453"/>
                    </a:lnTo>
                    <a:lnTo>
                      <a:pt x="1159" y="1453"/>
                    </a:lnTo>
                    <a:lnTo>
                      <a:pt x="1159" y="1451"/>
                    </a:lnTo>
                    <a:lnTo>
                      <a:pt x="1161" y="1451"/>
                    </a:lnTo>
                    <a:lnTo>
                      <a:pt x="1159" y="1449"/>
                    </a:lnTo>
                    <a:lnTo>
                      <a:pt x="1161" y="1447"/>
                    </a:lnTo>
                    <a:lnTo>
                      <a:pt x="1161" y="1449"/>
                    </a:lnTo>
                    <a:lnTo>
                      <a:pt x="1161" y="1447"/>
                    </a:lnTo>
                    <a:lnTo>
                      <a:pt x="1162" y="1447"/>
                    </a:lnTo>
                    <a:lnTo>
                      <a:pt x="1162" y="1446"/>
                    </a:lnTo>
                    <a:close/>
                    <a:moveTo>
                      <a:pt x="1312" y="1623"/>
                    </a:moveTo>
                    <a:lnTo>
                      <a:pt x="1314" y="1623"/>
                    </a:lnTo>
                    <a:lnTo>
                      <a:pt x="1315" y="1623"/>
                    </a:lnTo>
                    <a:lnTo>
                      <a:pt x="1317" y="1623"/>
                    </a:lnTo>
                    <a:lnTo>
                      <a:pt x="1315" y="1624"/>
                    </a:lnTo>
                    <a:lnTo>
                      <a:pt x="1317" y="1624"/>
                    </a:lnTo>
                    <a:lnTo>
                      <a:pt x="1319" y="1624"/>
                    </a:lnTo>
                    <a:lnTo>
                      <a:pt x="1317" y="1626"/>
                    </a:lnTo>
                    <a:lnTo>
                      <a:pt x="1315" y="1626"/>
                    </a:lnTo>
                    <a:lnTo>
                      <a:pt x="1314" y="1626"/>
                    </a:lnTo>
                    <a:lnTo>
                      <a:pt x="1314" y="1628"/>
                    </a:lnTo>
                    <a:lnTo>
                      <a:pt x="1312" y="1626"/>
                    </a:lnTo>
                    <a:lnTo>
                      <a:pt x="1312" y="1628"/>
                    </a:lnTo>
                    <a:lnTo>
                      <a:pt x="1310" y="1628"/>
                    </a:lnTo>
                    <a:lnTo>
                      <a:pt x="1310" y="1626"/>
                    </a:lnTo>
                    <a:lnTo>
                      <a:pt x="1309" y="1628"/>
                    </a:lnTo>
                    <a:lnTo>
                      <a:pt x="1309" y="1626"/>
                    </a:lnTo>
                    <a:lnTo>
                      <a:pt x="1307" y="1624"/>
                    </a:lnTo>
                    <a:lnTo>
                      <a:pt x="1307" y="1626"/>
                    </a:lnTo>
                    <a:lnTo>
                      <a:pt x="1305" y="1626"/>
                    </a:lnTo>
                    <a:lnTo>
                      <a:pt x="1305" y="1624"/>
                    </a:lnTo>
                    <a:lnTo>
                      <a:pt x="1307" y="1624"/>
                    </a:lnTo>
                    <a:lnTo>
                      <a:pt x="1307" y="1623"/>
                    </a:lnTo>
                    <a:lnTo>
                      <a:pt x="1309" y="1623"/>
                    </a:lnTo>
                    <a:lnTo>
                      <a:pt x="1309" y="1624"/>
                    </a:lnTo>
                    <a:lnTo>
                      <a:pt x="1310" y="1623"/>
                    </a:lnTo>
                    <a:lnTo>
                      <a:pt x="1312" y="1623"/>
                    </a:lnTo>
                    <a:close/>
                    <a:moveTo>
                      <a:pt x="1179" y="1133"/>
                    </a:moveTo>
                    <a:lnTo>
                      <a:pt x="1179" y="1134"/>
                    </a:lnTo>
                    <a:lnTo>
                      <a:pt x="1178" y="1134"/>
                    </a:lnTo>
                    <a:lnTo>
                      <a:pt x="1178" y="1136"/>
                    </a:lnTo>
                    <a:lnTo>
                      <a:pt x="1178" y="1138"/>
                    </a:lnTo>
                    <a:lnTo>
                      <a:pt x="1178" y="1140"/>
                    </a:lnTo>
                    <a:lnTo>
                      <a:pt x="1176" y="1141"/>
                    </a:lnTo>
                    <a:lnTo>
                      <a:pt x="1176" y="1140"/>
                    </a:lnTo>
                    <a:lnTo>
                      <a:pt x="1174" y="1141"/>
                    </a:lnTo>
                    <a:lnTo>
                      <a:pt x="1173" y="1140"/>
                    </a:lnTo>
                    <a:lnTo>
                      <a:pt x="1174" y="1140"/>
                    </a:lnTo>
                    <a:lnTo>
                      <a:pt x="1173" y="1140"/>
                    </a:lnTo>
                    <a:lnTo>
                      <a:pt x="1173" y="1138"/>
                    </a:lnTo>
                    <a:lnTo>
                      <a:pt x="1174" y="1136"/>
                    </a:lnTo>
                    <a:lnTo>
                      <a:pt x="1174" y="1134"/>
                    </a:lnTo>
                    <a:lnTo>
                      <a:pt x="1176" y="1133"/>
                    </a:lnTo>
                    <a:lnTo>
                      <a:pt x="1178" y="1133"/>
                    </a:lnTo>
                    <a:lnTo>
                      <a:pt x="1179" y="1133"/>
                    </a:lnTo>
                    <a:close/>
                    <a:moveTo>
                      <a:pt x="1166" y="1473"/>
                    </a:moveTo>
                    <a:lnTo>
                      <a:pt x="1168" y="1473"/>
                    </a:lnTo>
                    <a:lnTo>
                      <a:pt x="1169" y="1473"/>
                    </a:lnTo>
                    <a:lnTo>
                      <a:pt x="1169" y="1475"/>
                    </a:lnTo>
                    <a:lnTo>
                      <a:pt x="1171" y="1475"/>
                    </a:lnTo>
                    <a:lnTo>
                      <a:pt x="1171" y="1476"/>
                    </a:lnTo>
                    <a:lnTo>
                      <a:pt x="1173" y="1476"/>
                    </a:lnTo>
                    <a:lnTo>
                      <a:pt x="1174" y="1475"/>
                    </a:lnTo>
                    <a:lnTo>
                      <a:pt x="1176" y="1473"/>
                    </a:lnTo>
                    <a:lnTo>
                      <a:pt x="1176" y="1475"/>
                    </a:lnTo>
                    <a:lnTo>
                      <a:pt x="1176" y="1476"/>
                    </a:lnTo>
                    <a:lnTo>
                      <a:pt x="1174" y="1476"/>
                    </a:lnTo>
                    <a:lnTo>
                      <a:pt x="1176" y="1478"/>
                    </a:lnTo>
                    <a:lnTo>
                      <a:pt x="1174" y="1478"/>
                    </a:lnTo>
                    <a:lnTo>
                      <a:pt x="1176" y="1480"/>
                    </a:lnTo>
                    <a:lnTo>
                      <a:pt x="1174" y="1480"/>
                    </a:lnTo>
                    <a:lnTo>
                      <a:pt x="1173" y="1478"/>
                    </a:lnTo>
                    <a:lnTo>
                      <a:pt x="1173" y="1480"/>
                    </a:lnTo>
                    <a:lnTo>
                      <a:pt x="1174" y="1480"/>
                    </a:lnTo>
                    <a:lnTo>
                      <a:pt x="1173" y="1480"/>
                    </a:lnTo>
                    <a:lnTo>
                      <a:pt x="1171" y="1480"/>
                    </a:lnTo>
                    <a:lnTo>
                      <a:pt x="1169" y="1480"/>
                    </a:lnTo>
                    <a:lnTo>
                      <a:pt x="1171" y="1478"/>
                    </a:lnTo>
                    <a:lnTo>
                      <a:pt x="1169" y="1478"/>
                    </a:lnTo>
                    <a:lnTo>
                      <a:pt x="1171" y="1476"/>
                    </a:lnTo>
                    <a:lnTo>
                      <a:pt x="1169" y="1476"/>
                    </a:lnTo>
                    <a:lnTo>
                      <a:pt x="1168" y="1476"/>
                    </a:lnTo>
                    <a:lnTo>
                      <a:pt x="1166" y="1475"/>
                    </a:lnTo>
                    <a:lnTo>
                      <a:pt x="1166" y="1473"/>
                    </a:lnTo>
                    <a:close/>
                    <a:moveTo>
                      <a:pt x="1178" y="1459"/>
                    </a:moveTo>
                    <a:lnTo>
                      <a:pt x="1179" y="1459"/>
                    </a:lnTo>
                    <a:lnTo>
                      <a:pt x="1181" y="1459"/>
                    </a:lnTo>
                    <a:lnTo>
                      <a:pt x="1181" y="1461"/>
                    </a:lnTo>
                    <a:lnTo>
                      <a:pt x="1179" y="1461"/>
                    </a:lnTo>
                    <a:lnTo>
                      <a:pt x="1181" y="1461"/>
                    </a:lnTo>
                    <a:lnTo>
                      <a:pt x="1179" y="1463"/>
                    </a:lnTo>
                    <a:lnTo>
                      <a:pt x="1179" y="1464"/>
                    </a:lnTo>
                    <a:lnTo>
                      <a:pt x="1178" y="1464"/>
                    </a:lnTo>
                    <a:lnTo>
                      <a:pt x="1178" y="1466"/>
                    </a:lnTo>
                    <a:lnTo>
                      <a:pt x="1176" y="1464"/>
                    </a:lnTo>
                    <a:lnTo>
                      <a:pt x="1176" y="1466"/>
                    </a:lnTo>
                    <a:lnTo>
                      <a:pt x="1176" y="1464"/>
                    </a:lnTo>
                    <a:lnTo>
                      <a:pt x="1176" y="1463"/>
                    </a:lnTo>
                    <a:lnTo>
                      <a:pt x="1176" y="1464"/>
                    </a:lnTo>
                    <a:lnTo>
                      <a:pt x="1174" y="1464"/>
                    </a:lnTo>
                    <a:lnTo>
                      <a:pt x="1176" y="1464"/>
                    </a:lnTo>
                    <a:lnTo>
                      <a:pt x="1176" y="1466"/>
                    </a:lnTo>
                    <a:lnTo>
                      <a:pt x="1174" y="1466"/>
                    </a:lnTo>
                    <a:lnTo>
                      <a:pt x="1174" y="1468"/>
                    </a:lnTo>
                    <a:lnTo>
                      <a:pt x="1174" y="1466"/>
                    </a:lnTo>
                    <a:lnTo>
                      <a:pt x="1173" y="1468"/>
                    </a:lnTo>
                    <a:lnTo>
                      <a:pt x="1173" y="1466"/>
                    </a:lnTo>
                    <a:lnTo>
                      <a:pt x="1173" y="1464"/>
                    </a:lnTo>
                    <a:lnTo>
                      <a:pt x="1174" y="1463"/>
                    </a:lnTo>
                    <a:lnTo>
                      <a:pt x="1176" y="1461"/>
                    </a:lnTo>
                    <a:lnTo>
                      <a:pt x="1176" y="1463"/>
                    </a:lnTo>
                    <a:lnTo>
                      <a:pt x="1178" y="1463"/>
                    </a:lnTo>
                    <a:lnTo>
                      <a:pt x="1176" y="1461"/>
                    </a:lnTo>
                    <a:lnTo>
                      <a:pt x="1178" y="1459"/>
                    </a:lnTo>
                    <a:lnTo>
                      <a:pt x="1178" y="1458"/>
                    </a:lnTo>
                    <a:lnTo>
                      <a:pt x="1178" y="1459"/>
                    </a:lnTo>
                    <a:close/>
                    <a:moveTo>
                      <a:pt x="1202" y="1094"/>
                    </a:moveTo>
                    <a:lnTo>
                      <a:pt x="1203" y="1094"/>
                    </a:lnTo>
                    <a:lnTo>
                      <a:pt x="1203" y="1095"/>
                    </a:lnTo>
                    <a:lnTo>
                      <a:pt x="1203" y="1097"/>
                    </a:lnTo>
                    <a:lnTo>
                      <a:pt x="1205" y="1099"/>
                    </a:lnTo>
                    <a:lnTo>
                      <a:pt x="1205" y="1100"/>
                    </a:lnTo>
                    <a:lnTo>
                      <a:pt x="1203" y="1100"/>
                    </a:lnTo>
                    <a:lnTo>
                      <a:pt x="1205" y="1100"/>
                    </a:lnTo>
                    <a:lnTo>
                      <a:pt x="1205" y="1102"/>
                    </a:lnTo>
                    <a:lnTo>
                      <a:pt x="1203" y="1102"/>
                    </a:lnTo>
                    <a:lnTo>
                      <a:pt x="1202" y="1102"/>
                    </a:lnTo>
                    <a:lnTo>
                      <a:pt x="1202" y="1100"/>
                    </a:lnTo>
                    <a:lnTo>
                      <a:pt x="1200" y="1100"/>
                    </a:lnTo>
                    <a:lnTo>
                      <a:pt x="1200" y="1099"/>
                    </a:lnTo>
                    <a:lnTo>
                      <a:pt x="1200" y="1097"/>
                    </a:lnTo>
                    <a:lnTo>
                      <a:pt x="1200" y="1099"/>
                    </a:lnTo>
                    <a:lnTo>
                      <a:pt x="1202" y="1099"/>
                    </a:lnTo>
                    <a:lnTo>
                      <a:pt x="1203" y="1099"/>
                    </a:lnTo>
                    <a:lnTo>
                      <a:pt x="1202" y="1099"/>
                    </a:lnTo>
                    <a:lnTo>
                      <a:pt x="1202" y="1097"/>
                    </a:lnTo>
                    <a:lnTo>
                      <a:pt x="1200" y="1097"/>
                    </a:lnTo>
                    <a:lnTo>
                      <a:pt x="1200" y="1095"/>
                    </a:lnTo>
                    <a:lnTo>
                      <a:pt x="1200" y="1094"/>
                    </a:lnTo>
                    <a:lnTo>
                      <a:pt x="1202" y="1094"/>
                    </a:lnTo>
                    <a:close/>
                    <a:moveTo>
                      <a:pt x="1195" y="1140"/>
                    </a:moveTo>
                    <a:lnTo>
                      <a:pt x="1196" y="1140"/>
                    </a:lnTo>
                    <a:lnTo>
                      <a:pt x="1198" y="1141"/>
                    </a:lnTo>
                    <a:lnTo>
                      <a:pt x="1200" y="1140"/>
                    </a:lnTo>
                    <a:lnTo>
                      <a:pt x="1200" y="1141"/>
                    </a:lnTo>
                    <a:lnTo>
                      <a:pt x="1198" y="1141"/>
                    </a:lnTo>
                    <a:lnTo>
                      <a:pt x="1198" y="1143"/>
                    </a:lnTo>
                    <a:lnTo>
                      <a:pt x="1198" y="1145"/>
                    </a:lnTo>
                    <a:lnTo>
                      <a:pt x="1198" y="1146"/>
                    </a:lnTo>
                    <a:lnTo>
                      <a:pt x="1198" y="1148"/>
                    </a:lnTo>
                    <a:lnTo>
                      <a:pt x="1196" y="1150"/>
                    </a:lnTo>
                    <a:lnTo>
                      <a:pt x="1196" y="1148"/>
                    </a:lnTo>
                    <a:lnTo>
                      <a:pt x="1196" y="1146"/>
                    </a:lnTo>
                    <a:lnTo>
                      <a:pt x="1196" y="1145"/>
                    </a:lnTo>
                    <a:lnTo>
                      <a:pt x="1195" y="1146"/>
                    </a:lnTo>
                    <a:lnTo>
                      <a:pt x="1195" y="1145"/>
                    </a:lnTo>
                    <a:lnTo>
                      <a:pt x="1195" y="1143"/>
                    </a:lnTo>
                    <a:lnTo>
                      <a:pt x="1195" y="1145"/>
                    </a:lnTo>
                    <a:lnTo>
                      <a:pt x="1193" y="1143"/>
                    </a:lnTo>
                    <a:lnTo>
                      <a:pt x="1193" y="1141"/>
                    </a:lnTo>
                    <a:lnTo>
                      <a:pt x="1195" y="1141"/>
                    </a:lnTo>
                    <a:lnTo>
                      <a:pt x="1195" y="1140"/>
                    </a:lnTo>
                    <a:close/>
                    <a:moveTo>
                      <a:pt x="1219" y="1575"/>
                    </a:moveTo>
                    <a:lnTo>
                      <a:pt x="1217" y="1575"/>
                    </a:lnTo>
                    <a:lnTo>
                      <a:pt x="1217" y="1577"/>
                    </a:lnTo>
                    <a:lnTo>
                      <a:pt x="1219" y="1575"/>
                    </a:lnTo>
                    <a:lnTo>
                      <a:pt x="1220" y="1575"/>
                    </a:lnTo>
                    <a:lnTo>
                      <a:pt x="1219" y="1577"/>
                    </a:lnTo>
                    <a:lnTo>
                      <a:pt x="1220" y="1577"/>
                    </a:lnTo>
                    <a:lnTo>
                      <a:pt x="1220" y="1578"/>
                    </a:lnTo>
                    <a:lnTo>
                      <a:pt x="1219" y="1578"/>
                    </a:lnTo>
                    <a:lnTo>
                      <a:pt x="1220" y="1578"/>
                    </a:lnTo>
                    <a:lnTo>
                      <a:pt x="1220" y="1577"/>
                    </a:lnTo>
                    <a:lnTo>
                      <a:pt x="1222" y="1577"/>
                    </a:lnTo>
                    <a:lnTo>
                      <a:pt x="1222" y="1578"/>
                    </a:lnTo>
                    <a:lnTo>
                      <a:pt x="1222" y="1580"/>
                    </a:lnTo>
                    <a:lnTo>
                      <a:pt x="1222" y="1578"/>
                    </a:lnTo>
                    <a:lnTo>
                      <a:pt x="1224" y="1578"/>
                    </a:lnTo>
                    <a:lnTo>
                      <a:pt x="1224" y="1580"/>
                    </a:lnTo>
                    <a:lnTo>
                      <a:pt x="1222" y="1580"/>
                    </a:lnTo>
                    <a:lnTo>
                      <a:pt x="1224" y="1580"/>
                    </a:lnTo>
                    <a:lnTo>
                      <a:pt x="1222" y="1582"/>
                    </a:lnTo>
                    <a:lnTo>
                      <a:pt x="1222" y="1580"/>
                    </a:lnTo>
                    <a:lnTo>
                      <a:pt x="1222" y="1582"/>
                    </a:lnTo>
                    <a:lnTo>
                      <a:pt x="1220" y="1580"/>
                    </a:lnTo>
                    <a:lnTo>
                      <a:pt x="1220" y="1578"/>
                    </a:lnTo>
                    <a:lnTo>
                      <a:pt x="1220" y="1580"/>
                    </a:lnTo>
                    <a:lnTo>
                      <a:pt x="1220" y="1582"/>
                    </a:lnTo>
                    <a:lnTo>
                      <a:pt x="1220" y="1583"/>
                    </a:lnTo>
                    <a:lnTo>
                      <a:pt x="1220" y="1582"/>
                    </a:lnTo>
                    <a:lnTo>
                      <a:pt x="1219" y="1582"/>
                    </a:lnTo>
                    <a:lnTo>
                      <a:pt x="1217" y="1582"/>
                    </a:lnTo>
                    <a:lnTo>
                      <a:pt x="1219" y="1582"/>
                    </a:lnTo>
                    <a:lnTo>
                      <a:pt x="1219" y="1580"/>
                    </a:lnTo>
                    <a:lnTo>
                      <a:pt x="1219" y="1578"/>
                    </a:lnTo>
                    <a:lnTo>
                      <a:pt x="1217" y="1578"/>
                    </a:lnTo>
                    <a:lnTo>
                      <a:pt x="1217" y="1580"/>
                    </a:lnTo>
                    <a:lnTo>
                      <a:pt x="1215" y="1578"/>
                    </a:lnTo>
                    <a:lnTo>
                      <a:pt x="1213" y="1578"/>
                    </a:lnTo>
                    <a:lnTo>
                      <a:pt x="1215" y="1578"/>
                    </a:lnTo>
                    <a:lnTo>
                      <a:pt x="1215" y="1577"/>
                    </a:lnTo>
                    <a:lnTo>
                      <a:pt x="1215" y="1575"/>
                    </a:lnTo>
                    <a:lnTo>
                      <a:pt x="1217" y="1577"/>
                    </a:lnTo>
                    <a:lnTo>
                      <a:pt x="1217" y="1575"/>
                    </a:lnTo>
                    <a:lnTo>
                      <a:pt x="1217" y="1573"/>
                    </a:lnTo>
                    <a:lnTo>
                      <a:pt x="1219" y="1575"/>
                    </a:lnTo>
                    <a:close/>
                    <a:moveTo>
                      <a:pt x="1191" y="1422"/>
                    </a:moveTo>
                    <a:lnTo>
                      <a:pt x="1191" y="1424"/>
                    </a:lnTo>
                    <a:lnTo>
                      <a:pt x="1191" y="1425"/>
                    </a:lnTo>
                    <a:lnTo>
                      <a:pt x="1191" y="1427"/>
                    </a:lnTo>
                    <a:lnTo>
                      <a:pt x="1193" y="1427"/>
                    </a:lnTo>
                    <a:lnTo>
                      <a:pt x="1191" y="1427"/>
                    </a:lnTo>
                    <a:lnTo>
                      <a:pt x="1191" y="1429"/>
                    </a:lnTo>
                    <a:lnTo>
                      <a:pt x="1191" y="1427"/>
                    </a:lnTo>
                    <a:lnTo>
                      <a:pt x="1193" y="1429"/>
                    </a:lnTo>
                    <a:lnTo>
                      <a:pt x="1193" y="1430"/>
                    </a:lnTo>
                    <a:lnTo>
                      <a:pt x="1193" y="1432"/>
                    </a:lnTo>
                    <a:lnTo>
                      <a:pt x="1191" y="1430"/>
                    </a:lnTo>
                    <a:lnTo>
                      <a:pt x="1191" y="1432"/>
                    </a:lnTo>
                    <a:lnTo>
                      <a:pt x="1191" y="1430"/>
                    </a:lnTo>
                    <a:lnTo>
                      <a:pt x="1190" y="1432"/>
                    </a:lnTo>
                    <a:lnTo>
                      <a:pt x="1190" y="1430"/>
                    </a:lnTo>
                    <a:lnTo>
                      <a:pt x="1188" y="1430"/>
                    </a:lnTo>
                    <a:lnTo>
                      <a:pt x="1188" y="1429"/>
                    </a:lnTo>
                    <a:lnTo>
                      <a:pt x="1190" y="1429"/>
                    </a:lnTo>
                    <a:lnTo>
                      <a:pt x="1188" y="1427"/>
                    </a:lnTo>
                    <a:lnTo>
                      <a:pt x="1188" y="1425"/>
                    </a:lnTo>
                    <a:lnTo>
                      <a:pt x="1188" y="1424"/>
                    </a:lnTo>
                    <a:lnTo>
                      <a:pt x="1190" y="1424"/>
                    </a:lnTo>
                    <a:lnTo>
                      <a:pt x="1191" y="1422"/>
                    </a:lnTo>
                    <a:close/>
                    <a:moveTo>
                      <a:pt x="1159" y="1094"/>
                    </a:moveTo>
                    <a:lnTo>
                      <a:pt x="1159" y="1095"/>
                    </a:lnTo>
                    <a:lnTo>
                      <a:pt x="1161" y="1095"/>
                    </a:lnTo>
                    <a:lnTo>
                      <a:pt x="1161" y="1097"/>
                    </a:lnTo>
                    <a:lnTo>
                      <a:pt x="1162" y="1097"/>
                    </a:lnTo>
                    <a:lnTo>
                      <a:pt x="1161" y="1099"/>
                    </a:lnTo>
                    <a:lnTo>
                      <a:pt x="1161" y="1100"/>
                    </a:lnTo>
                    <a:lnTo>
                      <a:pt x="1159" y="1100"/>
                    </a:lnTo>
                    <a:lnTo>
                      <a:pt x="1157" y="1100"/>
                    </a:lnTo>
                    <a:lnTo>
                      <a:pt x="1157" y="1099"/>
                    </a:lnTo>
                    <a:lnTo>
                      <a:pt x="1157" y="1097"/>
                    </a:lnTo>
                    <a:lnTo>
                      <a:pt x="1156" y="1097"/>
                    </a:lnTo>
                    <a:lnTo>
                      <a:pt x="1156" y="1095"/>
                    </a:lnTo>
                    <a:lnTo>
                      <a:pt x="1157" y="1095"/>
                    </a:lnTo>
                    <a:lnTo>
                      <a:pt x="1157" y="1094"/>
                    </a:lnTo>
                    <a:lnTo>
                      <a:pt x="1159" y="1094"/>
                    </a:lnTo>
                    <a:close/>
                    <a:moveTo>
                      <a:pt x="1448" y="1643"/>
                    </a:moveTo>
                    <a:lnTo>
                      <a:pt x="1450" y="1643"/>
                    </a:lnTo>
                    <a:lnTo>
                      <a:pt x="1451" y="1643"/>
                    </a:lnTo>
                    <a:lnTo>
                      <a:pt x="1451" y="1645"/>
                    </a:lnTo>
                    <a:lnTo>
                      <a:pt x="1450" y="1645"/>
                    </a:lnTo>
                    <a:lnTo>
                      <a:pt x="1450" y="1646"/>
                    </a:lnTo>
                    <a:lnTo>
                      <a:pt x="1448" y="1648"/>
                    </a:lnTo>
                    <a:lnTo>
                      <a:pt x="1450" y="1648"/>
                    </a:lnTo>
                    <a:lnTo>
                      <a:pt x="1448" y="1648"/>
                    </a:lnTo>
                    <a:lnTo>
                      <a:pt x="1446" y="1648"/>
                    </a:lnTo>
                    <a:lnTo>
                      <a:pt x="1446" y="1650"/>
                    </a:lnTo>
                    <a:lnTo>
                      <a:pt x="1445" y="1648"/>
                    </a:lnTo>
                    <a:lnTo>
                      <a:pt x="1445" y="1650"/>
                    </a:lnTo>
                    <a:lnTo>
                      <a:pt x="1445" y="1648"/>
                    </a:lnTo>
                    <a:lnTo>
                      <a:pt x="1445" y="1646"/>
                    </a:lnTo>
                    <a:lnTo>
                      <a:pt x="1445" y="1645"/>
                    </a:lnTo>
                    <a:lnTo>
                      <a:pt x="1446" y="1643"/>
                    </a:lnTo>
                    <a:lnTo>
                      <a:pt x="1448" y="1643"/>
                    </a:lnTo>
                    <a:close/>
                    <a:moveTo>
                      <a:pt x="1181" y="1272"/>
                    </a:moveTo>
                    <a:lnTo>
                      <a:pt x="1183" y="1272"/>
                    </a:lnTo>
                    <a:lnTo>
                      <a:pt x="1185" y="1272"/>
                    </a:lnTo>
                    <a:lnTo>
                      <a:pt x="1185" y="1274"/>
                    </a:lnTo>
                    <a:lnTo>
                      <a:pt x="1186" y="1274"/>
                    </a:lnTo>
                    <a:lnTo>
                      <a:pt x="1188" y="1274"/>
                    </a:lnTo>
                    <a:lnTo>
                      <a:pt x="1188" y="1276"/>
                    </a:lnTo>
                    <a:lnTo>
                      <a:pt x="1188" y="1277"/>
                    </a:lnTo>
                    <a:lnTo>
                      <a:pt x="1186" y="1277"/>
                    </a:lnTo>
                    <a:lnTo>
                      <a:pt x="1185" y="1277"/>
                    </a:lnTo>
                    <a:lnTo>
                      <a:pt x="1185" y="1279"/>
                    </a:lnTo>
                    <a:lnTo>
                      <a:pt x="1183" y="1277"/>
                    </a:lnTo>
                    <a:lnTo>
                      <a:pt x="1183" y="1276"/>
                    </a:lnTo>
                    <a:lnTo>
                      <a:pt x="1181" y="1274"/>
                    </a:lnTo>
                    <a:lnTo>
                      <a:pt x="1181" y="1272"/>
                    </a:lnTo>
                    <a:lnTo>
                      <a:pt x="1181" y="1270"/>
                    </a:lnTo>
                    <a:lnTo>
                      <a:pt x="1181" y="1272"/>
                    </a:lnTo>
                    <a:close/>
                    <a:moveTo>
                      <a:pt x="1181" y="1090"/>
                    </a:moveTo>
                    <a:lnTo>
                      <a:pt x="1183" y="1092"/>
                    </a:lnTo>
                    <a:lnTo>
                      <a:pt x="1183" y="1094"/>
                    </a:lnTo>
                    <a:lnTo>
                      <a:pt x="1185" y="1094"/>
                    </a:lnTo>
                    <a:lnTo>
                      <a:pt x="1185" y="1095"/>
                    </a:lnTo>
                    <a:lnTo>
                      <a:pt x="1186" y="1095"/>
                    </a:lnTo>
                    <a:lnTo>
                      <a:pt x="1186" y="1097"/>
                    </a:lnTo>
                    <a:lnTo>
                      <a:pt x="1185" y="1097"/>
                    </a:lnTo>
                    <a:lnTo>
                      <a:pt x="1183" y="1097"/>
                    </a:lnTo>
                    <a:lnTo>
                      <a:pt x="1181" y="1097"/>
                    </a:lnTo>
                    <a:lnTo>
                      <a:pt x="1181" y="1095"/>
                    </a:lnTo>
                    <a:lnTo>
                      <a:pt x="1179" y="1095"/>
                    </a:lnTo>
                    <a:lnTo>
                      <a:pt x="1179" y="1094"/>
                    </a:lnTo>
                    <a:lnTo>
                      <a:pt x="1178" y="1092"/>
                    </a:lnTo>
                    <a:lnTo>
                      <a:pt x="1179" y="1092"/>
                    </a:lnTo>
                    <a:lnTo>
                      <a:pt x="1179" y="1090"/>
                    </a:lnTo>
                    <a:lnTo>
                      <a:pt x="1179" y="1092"/>
                    </a:lnTo>
                    <a:lnTo>
                      <a:pt x="1181" y="1092"/>
                    </a:lnTo>
                    <a:lnTo>
                      <a:pt x="1181" y="1090"/>
                    </a:lnTo>
                    <a:close/>
                    <a:moveTo>
                      <a:pt x="1191" y="1077"/>
                    </a:moveTo>
                    <a:lnTo>
                      <a:pt x="1193" y="1078"/>
                    </a:lnTo>
                    <a:lnTo>
                      <a:pt x="1195" y="1078"/>
                    </a:lnTo>
                    <a:lnTo>
                      <a:pt x="1196" y="1078"/>
                    </a:lnTo>
                    <a:lnTo>
                      <a:pt x="1198" y="1078"/>
                    </a:lnTo>
                    <a:lnTo>
                      <a:pt x="1198" y="1080"/>
                    </a:lnTo>
                    <a:lnTo>
                      <a:pt x="1200" y="1082"/>
                    </a:lnTo>
                    <a:lnTo>
                      <a:pt x="1198" y="1082"/>
                    </a:lnTo>
                    <a:lnTo>
                      <a:pt x="1198" y="1083"/>
                    </a:lnTo>
                    <a:lnTo>
                      <a:pt x="1196" y="1083"/>
                    </a:lnTo>
                    <a:lnTo>
                      <a:pt x="1195" y="1083"/>
                    </a:lnTo>
                    <a:lnTo>
                      <a:pt x="1193" y="1083"/>
                    </a:lnTo>
                    <a:lnTo>
                      <a:pt x="1193" y="1082"/>
                    </a:lnTo>
                    <a:lnTo>
                      <a:pt x="1191" y="1082"/>
                    </a:lnTo>
                    <a:lnTo>
                      <a:pt x="1191" y="1080"/>
                    </a:lnTo>
                    <a:lnTo>
                      <a:pt x="1193" y="1080"/>
                    </a:lnTo>
                    <a:lnTo>
                      <a:pt x="1195" y="1080"/>
                    </a:lnTo>
                    <a:lnTo>
                      <a:pt x="1196" y="1080"/>
                    </a:lnTo>
                    <a:lnTo>
                      <a:pt x="1196" y="1082"/>
                    </a:lnTo>
                    <a:lnTo>
                      <a:pt x="1195" y="1082"/>
                    </a:lnTo>
                    <a:lnTo>
                      <a:pt x="1193" y="1082"/>
                    </a:lnTo>
                    <a:lnTo>
                      <a:pt x="1195" y="1082"/>
                    </a:lnTo>
                    <a:lnTo>
                      <a:pt x="1196" y="1082"/>
                    </a:lnTo>
                    <a:lnTo>
                      <a:pt x="1198" y="1082"/>
                    </a:lnTo>
                    <a:lnTo>
                      <a:pt x="1196" y="1082"/>
                    </a:lnTo>
                    <a:lnTo>
                      <a:pt x="1198" y="1080"/>
                    </a:lnTo>
                    <a:lnTo>
                      <a:pt x="1196" y="1080"/>
                    </a:lnTo>
                    <a:lnTo>
                      <a:pt x="1195" y="1080"/>
                    </a:lnTo>
                    <a:lnTo>
                      <a:pt x="1193" y="1080"/>
                    </a:lnTo>
                    <a:lnTo>
                      <a:pt x="1191" y="1080"/>
                    </a:lnTo>
                    <a:lnTo>
                      <a:pt x="1191" y="1078"/>
                    </a:lnTo>
                    <a:lnTo>
                      <a:pt x="1193" y="1078"/>
                    </a:lnTo>
                    <a:lnTo>
                      <a:pt x="1191" y="1078"/>
                    </a:lnTo>
                    <a:lnTo>
                      <a:pt x="1190" y="1077"/>
                    </a:lnTo>
                    <a:lnTo>
                      <a:pt x="1191" y="1077"/>
                    </a:lnTo>
                    <a:close/>
                    <a:moveTo>
                      <a:pt x="1327" y="1628"/>
                    </a:moveTo>
                    <a:lnTo>
                      <a:pt x="1329" y="1628"/>
                    </a:lnTo>
                    <a:lnTo>
                      <a:pt x="1329" y="1629"/>
                    </a:lnTo>
                    <a:lnTo>
                      <a:pt x="1327" y="1629"/>
                    </a:lnTo>
                    <a:lnTo>
                      <a:pt x="1329" y="1629"/>
                    </a:lnTo>
                    <a:lnTo>
                      <a:pt x="1331" y="1628"/>
                    </a:lnTo>
                    <a:lnTo>
                      <a:pt x="1332" y="1629"/>
                    </a:lnTo>
                    <a:lnTo>
                      <a:pt x="1332" y="1631"/>
                    </a:lnTo>
                    <a:lnTo>
                      <a:pt x="1331" y="1633"/>
                    </a:lnTo>
                    <a:lnTo>
                      <a:pt x="1329" y="1633"/>
                    </a:lnTo>
                    <a:lnTo>
                      <a:pt x="1331" y="1631"/>
                    </a:lnTo>
                    <a:lnTo>
                      <a:pt x="1331" y="1629"/>
                    </a:lnTo>
                    <a:lnTo>
                      <a:pt x="1329" y="1631"/>
                    </a:lnTo>
                    <a:lnTo>
                      <a:pt x="1329" y="1633"/>
                    </a:lnTo>
                    <a:lnTo>
                      <a:pt x="1327" y="1635"/>
                    </a:lnTo>
                    <a:lnTo>
                      <a:pt x="1327" y="1633"/>
                    </a:lnTo>
                    <a:lnTo>
                      <a:pt x="1326" y="1635"/>
                    </a:lnTo>
                    <a:lnTo>
                      <a:pt x="1326" y="1633"/>
                    </a:lnTo>
                    <a:lnTo>
                      <a:pt x="1326" y="1635"/>
                    </a:lnTo>
                    <a:lnTo>
                      <a:pt x="1324" y="1635"/>
                    </a:lnTo>
                    <a:lnTo>
                      <a:pt x="1324" y="1633"/>
                    </a:lnTo>
                    <a:lnTo>
                      <a:pt x="1326" y="1631"/>
                    </a:lnTo>
                    <a:lnTo>
                      <a:pt x="1324" y="1631"/>
                    </a:lnTo>
                    <a:lnTo>
                      <a:pt x="1326" y="1631"/>
                    </a:lnTo>
                    <a:lnTo>
                      <a:pt x="1327" y="1631"/>
                    </a:lnTo>
                    <a:lnTo>
                      <a:pt x="1327" y="1629"/>
                    </a:lnTo>
                    <a:lnTo>
                      <a:pt x="1326" y="1629"/>
                    </a:lnTo>
                    <a:lnTo>
                      <a:pt x="1327" y="1629"/>
                    </a:lnTo>
                    <a:lnTo>
                      <a:pt x="1326" y="1629"/>
                    </a:lnTo>
                    <a:lnTo>
                      <a:pt x="1324" y="1629"/>
                    </a:lnTo>
                    <a:lnTo>
                      <a:pt x="1326" y="1628"/>
                    </a:lnTo>
                    <a:lnTo>
                      <a:pt x="1327" y="1628"/>
                    </a:lnTo>
                    <a:close/>
                    <a:moveTo>
                      <a:pt x="1191" y="1269"/>
                    </a:moveTo>
                    <a:lnTo>
                      <a:pt x="1193" y="1270"/>
                    </a:lnTo>
                    <a:lnTo>
                      <a:pt x="1195" y="1272"/>
                    </a:lnTo>
                    <a:lnTo>
                      <a:pt x="1196" y="1272"/>
                    </a:lnTo>
                    <a:lnTo>
                      <a:pt x="1196" y="1274"/>
                    </a:lnTo>
                    <a:lnTo>
                      <a:pt x="1196" y="1276"/>
                    </a:lnTo>
                    <a:lnTo>
                      <a:pt x="1196" y="1277"/>
                    </a:lnTo>
                    <a:lnTo>
                      <a:pt x="1195" y="1276"/>
                    </a:lnTo>
                    <a:lnTo>
                      <a:pt x="1193" y="1276"/>
                    </a:lnTo>
                    <a:lnTo>
                      <a:pt x="1193" y="1274"/>
                    </a:lnTo>
                    <a:lnTo>
                      <a:pt x="1191" y="1274"/>
                    </a:lnTo>
                    <a:lnTo>
                      <a:pt x="1191" y="1272"/>
                    </a:lnTo>
                    <a:lnTo>
                      <a:pt x="1190" y="1272"/>
                    </a:lnTo>
                    <a:lnTo>
                      <a:pt x="1190" y="1270"/>
                    </a:lnTo>
                    <a:lnTo>
                      <a:pt x="1190" y="1269"/>
                    </a:lnTo>
                    <a:lnTo>
                      <a:pt x="1191" y="1269"/>
                    </a:lnTo>
                    <a:close/>
                    <a:moveTo>
                      <a:pt x="1195" y="1121"/>
                    </a:moveTo>
                    <a:lnTo>
                      <a:pt x="1196" y="1121"/>
                    </a:lnTo>
                    <a:lnTo>
                      <a:pt x="1196" y="1122"/>
                    </a:lnTo>
                    <a:lnTo>
                      <a:pt x="1196" y="1124"/>
                    </a:lnTo>
                    <a:lnTo>
                      <a:pt x="1195" y="1124"/>
                    </a:lnTo>
                    <a:lnTo>
                      <a:pt x="1196" y="1124"/>
                    </a:lnTo>
                    <a:lnTo>
                      <a:pt x="1196" y="1122"/>
                    </a:lnTo>
                    <a:lnTo>
                      <a:pt x="1198" y="1122"/>
                    </a:lnTo>
                    <a:lnTo>
                      <a:pt x="1200" y="1122"/>
                    </a:lnTo>
                    <a:lnTo>
                      <a:pt x="1202" y="1122"/>
                    </a:lnTo>
                    <a:lnTo>
                      <a:pt x="1203" y="1122"/>
                    </a:lnTo>
                    <a:lnTo>
                      <a:pt x="1203" y="1124"/>
                    </a:lnTo>
                    <a:lnTo>
                      <a:pt x="1202" y="1124"/>
                    </a:lnTo>
                    <a:lnTo>
                      <a:pt x="1202" y="1126"/>
                    </a:lnTo>
                    <a:lnTo>
                      <a:pt x="1200" y="1126"/>
                    </a:lnTo>
                    <a:lnTo>
                      <a:pt x="1198" y="1126"/>
                    </a:lnTo>
                    <a:lnTo>
                      <a:pt x="1198" y="1124"/>
                    </a:lnTo>
                    <a:lnTo>
                      <a:pt x="1198" y="1126"/>
                    </a:lnTo>
                    <a:lnTo>
                      <a:pt x="1198" y="1124"/>
                    </a:lnTo>
                    <a:lnTo>
                      <a:pt x="1196" y="1124"/>
                    </a:lnTo>
                    <a:lnTo>
                      <a:pt x="1195" y="1124"/>
                    </a:lnTo>
                    <a:lnTo>
                      <a:pt x="1195" y="1122"/>
                    </a:lnTo>
                    <a:lnTo>
                      <a:pt x="1193" y="1122"/>
                    </a:lnTo>
                    <a:lnTo>
                      <a:pt x="1193" y="1121"/>
                    </a:lnTo>
                    <a:lnTo>
                      <a:pt x="1195" y="1121"/>
                    </a:lnTo>
                    <a:close/>
                    <a:moveTo>
                      <a:pt x="1225" y="1051"/>
                    </a:moveTo>
                    <a:lnTo>
                      <a:pt x="1225" y="1053"/>
                    </a:lnTo>
                    <a:lnTo>
                      <a:pt x="1225" y="1054"/>
                    </a:lnTo>
                    <a:lnTo>
                      <a:pt x="1225" y="1056"/>
                    </a:lnTo>
                    <a:lnTo>
                      <a:pt x="1225" y="1058"/>
                    </a:lnTo>
                    <a:lnTo>
                      <a:pt x="1224" y="1058"/>
                    </a:lnTo>
                    <a:lnTo>
                      <a:pt x="1222" y="1058"/>
                    </a:lnTo>
                    <a:lnTo>
                      <a:pt x="1222" y="1056"/>
                    </a:lnTo>
                    <a:lnTo>
                      <a:pt x="1220" y="1056"/>
                    </a:lnTo>
                    <a:lnTo>
                      <a:pt x="1222" y="1054"/>
                    </a:lnTo>
                    <a:lnTo>
                      <a:pt x="1222" y="1053"/>
                    </a:lnTo>
                    <a:lnTo>
                      <a:pt x="1224" y="1053"/>
                    </a:lnTo>
                    <a:lnTo>
                      <a:pt x="1225" y="1051"/>
                    </a:lnTo>
                    <a:close/>
                    <a:moveTo>
                      <a:pt x="1203" y="1422"/>
                    </a:moveTo>
                    <a:lnTo>
                      <a:pt x="1205" y="1422"/>
                    </a:lnTo>
                    <a:lnTo>
                      <a:pt x="1205" y="1424"/>
                    </a:lnTo>
                    <a:lnTo>
                      <a:pt x="1205" y="1425"/>
                    </a:lnTo>
                    <a:lnTo>
                      <a:pt x="1205" y="1427"/>
                    </a:lnTo>
                    <a:lnTo>
                      <a:pt x="1205" y="1429"/>
                    </a:lnTo>
                    <a:lnTo>
                      <a:pt x="1205" y="1427"/>
                    </a:lnTo>
                    <a:lnTo>
                      <a:pt x="1203" y="1427"/>
                    </a:lnTo>
                    <a:lnTo>
                      <a:pt x="1202" y="1427"/>
                    </a:lnTo>
                    <a:lnTo>
                      <a:pt x="1200" y="1427"/>
                    </a:lnTo>
                    <a:lnTo>
                      <a:pt x="1200" y="1425"/>
                    </a:lnTo>
                    <a:lnTo>
                      <a:pt x="1202" y="1425"/>
                    </a:lnTo>
                    <a:lnTo>
                      <a:pt x="1203" y="1425"/>
                    </a:lnTo>
                    <a:lnTo>
                      <a:pt x="1203" y="1424"/>
                    </a:lnTo>
                    <a:lnTo>
                      <a:pt x="1202" y="1425"/>
                    </a:lnTo>
                    <a:lnTo>
                      <a:pt x="1200" y="1425"/>
                    </a:lnTo>
                    <a:lnTo>
                      <a:pt x="1200" y="1424"/>
                    </a:lnTo>
                    <a:lnTo>
                      <a:pt x="1200" y="1422"/>
                    </a:lnTo>
                    <a:lnTo>
                      <a:pt x="1202" y="1422"/>
                    </a:lnTo>
                    <a:lnTo>
                      <a:pt x="1202" y="1420"/>
                    </a:lnTo>
                    <a:lnTo>
                      <a:pt x="1203" y="1420"/>
                    </a:lnTo>
                    <a:lnTo>
                      <a:pt x="1203" y="1422"/>
                    </a:lnTo>
                    <a:close/>
                    <a:moveTo>
                      <a:pt x="3" y="349"/>
                    </a:moveTo>
                    <a:lnTo>
                      <a:pt x="5" y="349"/>
                    </a:lnTo>
                    <a:lnTo>
                      <a:pt x="5" y="350"/>
                    </a:lnTo>
                    <a:lnTo>
                      <a:pt x="7" y="350"/>
                    </a:lnTo>
                    <a:lnTo>
                      <a:pt x="7" y="352"/>
                    </a:lnTo>
                    <a:lnTo>
                      <a:pt x="5" y="352"/>
                    </a:lnTo>
                    <a:lnTo>
                      <a:pt x="3" y="352"/>
                    </a:lnTo>
                    <a:lnTo>
                      <a:pt x="3" y="354"/>
                    </a:lnTo>
                    <a:lnTo>
                      <a:pt x="1" y="354"/>
                    </a:lnTo>
                    <a:lnTo>
                      <a:pt x="0" y="354"/>
                    </a:lnTo>
                    <a:lnTo>
                      <a:pt x="0" y="352"/>
                    </a:lnTo>
                    <a:lnTo>
                      <a:pt x="1" y="352"/>
                    </a:lnTo>
                    <a:lnTo>
                      <a:pt x="1" y="350"/>
                    </a:lnTo>
                    <a:lnTo>
                      <a:pt x="1" y="349"/>
                    </a:lnTo>
                    <a:lnTo>
                      <a:pt x="3" y="349"/>
                    </a:lnTo>
                    <a:close/>
                    <a:moveTo>
                      <a:pt x="1208" y="1054"/>
                    </a:moveTo>
                    <a:lnTo>
                      <a:pt x="1208" y="1056"/>
                    </a:lnTo>
                    <a:lnTo>
                      <a:pt x="1210" y="1056"/>
                    </a:lnTo>
                    <a:lnTo>
                      <a:pt x="1210" y="1058"/>
                    </a:lnTo>
                    <a:lnTo>
                      <a:pt x="1208" y="1058"/>
                    </a:lnTo>
                    <a:lnTo>
                      <a:pt x="1208" y="1060"/>
                    </a:lnTo>
                    <a:lnTo>
                      <a:pt x="1210" y="1060"/>
                    </a:lnTo>
                    <a:lnTo>
                      <a:pt x="1210" y="1061"/>
                    </a:lnTo>
                    <a:lnTo>
                      <a:pt x="1210" y="1063"/>
                    </a:lnTo>
                    <a:lnTo>
                      <a:pt x="1208" y="1063"/>
                    </a:lnTo>
                    <a:lnTo>
                      <a:pt x="1208" y="1061"/>
                    </a:lnTo>
                    <a:lnTo>
                      <a:pt x="1208" y="1060"/>
                    </a:lnTo>
                    <a:lnTo>
                      <a:pt x="1208" y="1061"/>
                    </a:lnTo>
                    <a:lnTo>
                      <a:pt x="1208" y="1060"/>
                    </a:lnTo>
                    <a:lnTo>
                      <a:pt x="1207" y="1060"/>
                    </a:lnTo>
                    <a:lnTo>
                      <a:pt x="1207" y="1058"/>
                    </a:lnTo>
                    <a:lnTo>
                      <a:pt x="1205" y="1058"/>
                    </a:lnTo>
                    <a:lnTo>
                      <a:pt x="1205" y="1056"/>
                    </a:lnTo>
                    <a:lnTo>
                      <a:pt x="1207" y="1054"/>
                    </a:lnTo>
                    <a:lnTo>
                      <a:pt x="1208" y="1054"/>
                    </a:lnTo>
                    <a:close/>
                    <a:moveTo>
                      <a:pt x="1321" y="1577"/>
                    </a:moveTo>
                    <a:lnTo>
                      <a:pt x="1322" y="1578"/>
                    </a:lnTo>
                    <a:lnTo>
                      <a:pt x="1321" y="1580"/>
                    </a:lnTo>
                    <a:lnTo>
                      <a:pt x="1321" y="1582"/>
                    </a:lnTo>
                    <a:lnTo>
                      <a:pt x="1321" y="1583"/>
                    </a:lnTo>
                    <a:lnTo>
                      <a:pt x="1319" y="1583"/>
                    </a:lnTo>
                    <a:lnTo>
                      <a:pt x="1317" y="1582"/>
                    </a:lnTo>
                    <a:lnTo>
                      <a:pt x="1315" y="1582"/>
                    </a:lnTo>
                    <a:lnTo>
                      <a:pt x="1315" y="1580"/>
                    </a:lnTo>
                    <a:lnTo>
                      <a:pt x="1314" y="1578"/>
                    </a:lnTo>
                    <a:lnTo>
                      <a:pt x="1315" y="1578"/>
                    </a:lnTo>
                    <a:lnTo>
                      <a:pt x="1317" y="1578"/>
                    </a:lnTo>
                    <a:lnTo>
                      <a:pt x="1319" y="1578"/>
                    </a:lnTo>
                    <a:lnTo>
                      <a:pt x="1321" y="1577"/>
                    </a:lnTo>
                    <a:close/>
                    <a:moveTo>
                      <a:pt x="1164" y="1282"/>
                    </a:moveTo>
                    <a:lnTo>
                      <a:pt x="1164" y="1284"/>
                    </a:lnTo>
                    <a:lnTo>
                      <a:pt x="1166" y="1284"/>
                    </a:lnTo>
                    <a:lnTo>
                      <a:pt x="1168" y="1284"/>
                    </a:lnTo>
                    <a:lnTo>
                      <a:pt x="1169" y="1284"/>
                    </a:lnTo>
                    <a:lnTo>
                      <a:pt x="1171" y="1284"/>
                    </a:lnTo>
                    <a:lnTo>
                      <a:pt x="1171" y="1286"/>
                    </a:lnTo>
                    <a:lnTo>
                      <a:pt x="1169" y="1286"/>
                    </a:lnTo>
                    <a:lnTo>
                      <a:pt x="1168" y="1286"/>
                    </a:lnTo>
                    <a:lnTo>
                      <a:pt x="1168" y="1288"/>
                    </a:lnTo>
                    <a:lnTo>
                      <a:pt x="1166" y="1288"/>
                    </a:lnTo>
                    <a:lnTo>
                      <a:pt x="1166" y="1289"/>
                    </a:lnTo>
                    <a:lnTo>
                      <a:pt x="1164" y="1289"/>
                    </a:lnTo>
                    <a:lnTo>
                      <a:pt x="1162" y="1289"/>
                    </a:lnTo>
                    <a:lnTo>
                      <a:pt x="1162" y="1288"/>
                    </a:lnTo>
                    <a:lnTo>
                      <a:pt x="1164" y="1288"/>
                    </a:lnTo>
                    <a:lnTo>
                      <a:pt x="1164" y="1286"/>
                    </a:lnTo>
                    <a:lnTo>
                      <a:pt x="1166" y="1286"/>
                    </a:lnTo>
                    <a:lnTo>
                      <a:pt x="1166" y="1288"/>
                    </a:lnTo>
                    <a:lnTo>
                      <a:pt x="1166" y="1286"/>
                    </a:lnTo>
                    <a:lnTo>
                      <a:pt x="1168" y="1288"/>
                    </a:lnTo>
                    <a:lnTo>
                      <a:pt x="1168" y="1286"/>
                    </a:lnTo>
                    <a:lnTo>
                      <a:pt x="1166" y="1286"/>
                    </a:lnTo>
                    <a:lnTo>
                      <a:pt x="1164" y="1286"/>
                    </a:lnTo>
                    <a:lnTo>
                      <a:pt x="1164" y="1284"/>
                    </a:lnTo>
                    <a:lnTo>
                      <a:pt x="1164" y="1282"/>
                    </a:lnTo>
                    <a:close/>
                    <a:moveTo>
                      <a:pt x="1222" y="1563"/>
                    </a:moveTo>
                    <a:lnTo>
                      <a:pt x="1224" y="1563"/>
                    </a:lnTo>
                    <a:lnTo>
                      <a:pt x="1225" y="1563"/>
                    </a:lnTo>
                    <a:lnTo>
                      <a:pt x="1227" y="1563"/>
                    </a:lnTo>
                    <a:lnTo>
                      <a:pt x="1227" y="1565"/>
                    </a:lnTo>
                    <a:lnTo>
                      <a:pt x="1227" y="1566"/>
                    </a:lnTo>
                    <a:lnTo>
                      <a:pt x="1227" y="1568"/>
                    </a:lnTo>
                    <a:lnTo>
                      <a:pt x="1227" y="1566"/>
                    </a:lnTo>
                    <a:lnTo>
                      <a:pt x="1225" y="1568"/>
                    </a:lnTo>
                    <a:lnTo>
                      <a:pt x="1224" y="1568"/>
                    </a:lnTo>
                    <a:lnTo>
                      <a:pt x="1224" y="1570"/>
                    </a:lnTo>
                    <a:lnTo>
                      <a:pt x="1225" y="1568"/>
                    </a:lnTo>
                    <a:lnTo>
                      <a:pt x="1225" y="1570"/>
                    </a:lnTo>
                    <a:lnTo>
                      <a:pt x="1224" y="1570"/>
                    </a:lnTo>
                    <a:lnTo>
                      <a:pt x="1222" y="1568"/>
                    </a:lnTo>
                    <a:lnTo>
                      <a:pt x="1224" y="1568"/>
                    </a:lnTo>
                    <a:lnTo>
                      <a:pt x="1222" y="1568"/>
                    </a:lnTo>
                    <a:lnTo>
                      <a:pt x="1222" y="1566"/>
                    </a:lnTo>
                    <a:lnTo>
                      <a:pt x="1224" y="1568"/>
                    </a:lnTo>
                    <a:lnTo>
                      <a:pt x="1224" y="1566"/>
                    </a:lnTo>
                    <a:lnTo>
                      <a:pt x="1224" y="1565"/>
                    </a:lnTo>
                    <a:lnTo>
                      <a:pt x="1224" y="1566"/>
                    </a:lnTo>
                    <a:lnTo>
                      <a:pt x="1222" y="1566"/>
                    </a:lnTo>
                    <a:lnTo>
                      <a:pt x="1224" y="1565"/>
                    </a:lnTo>
                    <a:lnTo>
                      <a:pt x="1222" y="1566"/>
                    </a:lnTo>
                    <a:lnTo>
                      <a:pt x="1220" y="1566"/>
                    </a:lnTo>
                    <a:lnTo>
                      <a:pt x="1220" y="1565"/>
                    </a:lnTo>
                    <a:lnTo>
                      <a:pt x="1220" y="1566"/>
                    </a:lnTo>
                    <a:lnTo>
                      <a:pt x="1220" y="1565"/>
                    </a:lnTo>
                    <a:lnTo>
                      <a:pt x="1222" y="1565"/>
                    </a:lnTo>
                    <a:lnTo>
                      <a:pt x="1224" y="1565"/>
                    </a:lnTo>
                    <a:lnTo>
                      <a:pt x="1222" y="1565"/>
                    </a:lnTo>
                    <a:lnTo>
                      <a:pt x="1220" y="1565"/>
                    </a:lnTo>
                    <a:lnTo>
                      <a:pt x="1222" y="1563"/>
                    </a:lnTo>
                    <a:lnTo>
                      <a:pt x="1220" y="1565"/>
                    </a:lnTo>
                    <a:lnTo>
                      <a:pt x="1220" y="1563"/>
                    </a:lnTo>
                    <a:lnTo>
                      <a:pt x="1222" y="1563"/>
                    </a:lnTo>
                    <a:close/>
                    <a:moveTo>
                      <a:pt x="1186" y="1202"/>
                    </a:moveTo>
                    <a:lnTo>
                      <a:pt x="1188" y="1204"/>
                    </a:lnTo>
                    <a:lnTo>
                      <a:pt x="1186" y="1206"/>
                    </a:lnTo>
                    <a:lnTo>
                      <a:pt x="1185" y="1208"/>
                    </a:lnTo>
                    <a:lnTo>
                      <a:pt x="1183" y="1208"/>
                    </a:lnTo>
                    <a:lnTo>
                      <a:pt x="1183" y="1209"/>
                    </a:lnTo>
                    <a:lnTo>
                      <a:pt x="1181" y="1209"/>
                    </a:lnTo>
                    <a:lnTo>
                      <a:pt x="1181" y="1208"/>
                    </a:lnTo>
                    <a:lnTo>
                      <a:pt x="1181" y="1206"/>
                    </a:lnTo>
                    <a:lnTo>
                      <a:pt x="1181" y="1204"/>
                    </a:lnTo>
                    <a:lnTo>
                      <a:pt x="1183" y="1204"/>
                    </a:lnTo>
                    <a:lnTo>
                      <a:pt x="1185" y="1204"/>
                    </a:lnTo>
                    <a:lnTo>
                      <a:pt x="1185" y="1202"/>
                    </a:lnTo>
                    <a:lnTo>
                      <a:pt x="1186" y="1202"/>
                    </a:lnTo>
                    <a:close/>
                    <a:moveTo>
                      <a:pt x="1210" y="983"/>
                    </a:moveTo>
                    <a:lnTo>
                      <a:pt x="1212" y="983"/>
                    </a:lnTo>
                    <a:lnTo>
                      <a:pt x="1213" y="983"/>
                    </a:lnTo>
                    <a:lnTo>
                      <a:pt x="1212" y="983"/>
                    </a:lnTo>
                    <a:lnTo>
                      <a:pt x="1212" y="985"/>
                    </a:lnTo>
                    <a:lnTo>
                      <a:pt x="1213" y="985"/>
                    </a:lnTo>
                    <a:lnTo>
                      <a:pt x="1213" y="986"/>
                    </a:lnTo>
                    <a:lnTo>
                      <a:pt x="1215" y="986"/>
                    </a:lnTo>
                    <a:lnTo>
                      <a:pt x="1215" y="988"/>
                    </a:lnTo>
                    <a:lnTo>
                      <a:pt x="1217" y="988"/>
                    </a:lnTo>
                    <a:lnTo>
                      <a:pt x="1217" y="990"/>
                    </a:lnTo>
                    <a:lnTo>
                      <a:pt x="1217" y="992"/>
                    </a:lnTo>
                    <a:lnTo>
                      <a:pt x="1215" y="992"/>
                    </a:lnTo>
                    <a:lnTo>
                      <a:pt x="1215" y="990"/>
                    </a:lnTo>
                    <a:lnTo>
                      <a:pt x="1217" y="990"/>
                    </a:lnTo>
                    <a:lnTo>
                      <a:pt x="1215" y="990"/>
                    </a:lnTo>
                    <a:lnTo>
                      <a:pt x="1215" y="988"/>
                    </a:lnTo>
                    <a:lnTo>
                      <a:pt x="1213" y="988"/>
                    </a:lnTo>
                    <a:lnTo>
                      <a:pt x="1212" y="986"/>
                    </a:lnTo>
                    <a:lnTo>
                      <a:pt x="1210" y="986"/>
                    </a:lnTo>
                    <a:lnTo>
                      <a:pt x="1208" y="986"/>
                    </a:lnTo>
                    <a:lnTo>
                      <a:pt x="1208" y="985"/>
                    </a:lnTo>
                    <a:lnTo>
                      <a:pt x="1210" y="985"/>
                    </a:lnTo>
                    <a:lnTo>
                      <a:pt x="1208" y="985"/>
                    </a:lnTo>
                    <a:lnTo>
                      <a:pt x="1208" y="983"/>
                    </a:lnTo>
                    <a:lnTo>
                      <a:pt x="1210" y="981"/>
                    </a:lnTo>
                    <a:lnTo>
                      <a:pt x="1210" y="983"/>
                    </a:lnTo>
                    <a:close/>
                    <a:moveTo>
                      <a:pt x="1176" y="1087"/>
                    </a:moveTo>
                    <a:lnTo>
                      <a:pt x="1178" y="1087"/>
                    </a:lnTo>
                    <a:lnTo>
                      <a:pt x="1178" y="1085"/>
                    </a:lnTo>
                    <a:lnTo>
                      <a:pt x="1178" y="1087"/>
                    </a:lnTo>
                    <a:lnTo>
                      <a:pt x="1179" y="1087"/>
                    </a:lnTo>
                    <a:lnTo>
                      <a:pt x="1181" y="1087"/>
                    </a:lnTo>
                    <a:lnTo>
                      <a:pt x="1181" y="1088"/>
                    </a:lnTo>
                    <a:lnTo>
                      <a:pt x="1181" y="1090"/>
                    </a:lnTo>
                    <a:lnTo>
                      <a:pt x="1179" y="1090"/>
                    </a:lnTo>
                    <a:lnTo>
                      <a:pt x="1178" y="1090"/>
                    </a:lnTo>
                    <a:lnTo>
                      <a:pt x="1176" y="1088"/>
                    </a:lnTo>
                    <a:lnTo>
                      <a:pt x="1176" y="1090"/>
                    </a:lnTo>
                    <a:lnTo>
                      <a:pt x="1174" y="1088"/>
                    </a:lnTo>
                    <a:lnTo>
                      <a:pt x="1173" y="1088"/>
                    </a:lnTo>
                    <a:lnTo>
                      <a:pt x="1174" y="1088"/>
                    </a:lnTo>
                    <a:lnTo>
                      <a:pt x="1174" y="1087"/>
                    </a:lnTo>
                    <a:lnTo>
                      <a:pt x="1176" y="1087"/>
                    </a:lnTo>
                    <a:lnTo>
                      <a:pt x="1176" y="1085"/>
                    </a:lnTo>
                    <a:lnTo>
                      <a:pt x="1176" y="1087"/>
                    </a:lnTo>
                    <a:close/>
                    <a:moveTo>
                      <a:pt x="1195" y="1071"/>
                    </a:moveTo>
                    <a:lnTo>
                      <a:pt x="1196" y="1073"/>
                    </a:lnTo>
                    <a:lnTo>
                      <a:pt x="1198" y="1073"/>
                    </a:lnTo>
                    <a:lnTo>
                      <a:pt x="1200" y="1073"/>
                    </a:lnTo>
                    <a:lnTo>
                      <a:pt x="1200" y="1075"/>
                    </a:lnTo>
                    <a:lnTo>
                      <a:pt x="1200" y="1077"/>
                    </a:lnTo>
                    <a:lnTo>
                      <a:pt x="1200" y="1078"/>
                    </a:lnTo>
                    <a:lnTo>
                      <a:pt x="1198" y="1078"/>
                    </a:lnTo>
                    <a:lnTo>
                      <a:pt x="1198" y="1077"/>
                    </a:lnTo>
                    <a:lnTo>
                      <a:pt x="1196" y="1077"/>
                    </a:lnTo>
                    <a:lnTo>
                      <a:pt x="1195" y="1077"/>
                    </a:lnTo>
                    <a:lnTo>
                      <a:pt x="1195" y="1075"/>
                    </a:lnTo>
                    <a:lnTo>
                      <a:pt x="1193" y="1073"/>
                    </a:lnTo>
                    <a:lnTo>
                      <a:pt x="1193" y="1071"/>
                    </a:lnTo>
                    <a:lnTo>
                      <a:pt x="1195" y="1071"/>
                    </a:lnTo>
                    <a:close/>
                    <a:moveTo>
                      <a:pt x="1185" y="1107"/>
                    </a:moveTo>
                    <a:lnTo>
                      <a:pt x="1186" y="1107"/>
                    </a:lnTo>
                    <a:lnTo>
                      <a:pt x="1186" y="1109"/>
                    </a:lnTo>
                    <a:lnTo>
                      <a:pt x="1188" y="1109"/>
                    </a:lnTo>
                    <a:lnTo>
                      <a:pt x="1188" y="1111"/>
                    </a:lnTo>
                    <a:lnTo>
                      <a:pt x="1188" y="1112"/>
                    </a:lnTo>
                    <a:lnTo>
                      <a:pt x="1186" y="1112"/>
                    </a:lnTo>
                    <a:lnTo>
                      <a:pt x="1186" y="1111"/>
                    </a:lnTo>
                    <a:lnTo>
                      <a:pt x="1186" y="1112"/>
                    </a:lnTo>
                    <a:lnTo>
                      <a:pt x="1185" y="1111"/>
                    </a:lnTo>
                    <a:lnTo>
                      <a:pt x="1185" y="1112"/>
                    </a:lnTo>
                    <a:lnTo>
                      <a:pt x="1185" y="1111"/>
                    </a:lnTo>
                    <a:lnTo>
                      <a:pt x="1183" y="1111"/>
                    </a:lnTo>
                    <a:lnTo>
                      <a:pt x="1183" y="1109"/>
                    </a:lnTo>
                    <a:lnTo>
                      <a:pt x="1183" y="1107"/>
                    </a:lnTo>
                    <a:lnTo>
                      <a:pt x="1183" y="1105"/>
                    </a:lnTo>
                    <a:lnTo>
                      <a:pt x="1185" y="1107"/>
                    </a:lnTo>
                    <a:close/>
                    <a:moveTo>
                      <a:pt x="1188" y="1138"/>
                    </a:moveTo>
                    <a:lnTo>
                      <a:pt x="1190" y="1140"/>
                    </a:lnTo>
                    <a:lnTo>
                      <a:pt x="1188" y="1140"/>
                    </a:lnTo>
                    <a:lnTo>
                      <a:pt x="1188" y="1141"/>
                    </a:lnTo>
                    <a:lnTo>
                      <a:pt x="1186" y="1141"/>
                    </a:lnTo>
                    <a:lnTo>
                      <a:pt x="1188" y="1141"/>
                    </a:lnTo>
                    <a:lnTo>
                      <a:pt x="1190" y="1141"/>
                    </a:lnTo>
                    <a:lnTo>
                      <a:pt x="1190" y="1140"/>
                    </a:lnTo>
                    <a:lnTo>
                      <a:pt x="1191" y="1140"/>
                    </a:lnTo>
                    <a:lnTo>
                      <a:pt x="1191" y="1141"/>
                    </a:lnTo>
                    <a:lnTo>
                      <a:pt x="1191" y="1140"/>
                    </a:lnTo>
                    <a:lnTo>
                      <a:pt x="1191" y="1141"/>
                    </a:lnTo>
                    <a:lnTo>
                      <a:pt x="1193" y="1141"/>
                    </a:lnTo>
                    <a:lnTo>
                      <a:pt x="1191" y="1141"/>
                    </a:lnTo>
                    <a:lnTo>
                      <a:pt x="1193" y="1143"/>
                    </a:lnTo>
                    <a:lnTo>
                      <a:pt x="1191" y="1143"/>
                    </a:lnTo>
                    <a:lnTo>
                      <a:pt x="1190" y="1143"/>
                    </a:lnTo>
                    <a:lnTo>
                      <a:pt x="1188" y="1143"/>
                    </a:lnTo>
                    <a:lnTo>
                      <a:pt x="1188" y="1145"/>
                    </a:lnTo>
                    <a:lnTo>
                      <a:pt x="1186" y="1143"/>
                    </a:lnTo>
                    <a:lnTo>
                      <a:pt x="1186" y="1141"/>
                    </a:lnTo>
                    <a:lnTo>
                      <a:pt x="1185" y="1141"/>
                    </a:lnTo>
                    <a:lnTo>
                      <a:pt x="1186" y="1140"/>
                    </a:lnTo>
                    <a:lnTo>
                      <a:pt x="1186" y="1138"/>
                    </a:lnTo>
                    <a:lnTo>
                      <a:pt x="1188" y="1138"/>
                    </a:lnTo>
                    <a:close/>
                    <a:moveTo>
                      <a:pt x="1162" y="1390"/>
                    </a:moveTo>
                    <a:lnTo>
                      <a:pt x="1164" y="1391"/>
                    </a:lnTo>
                    <a:lnTo>
                      <a:pt x="1162" y="1391"/>
                    </a:lnTo>
                    <a:lnTo>
                      <a:pt x="1164" y="1393"/>
                    </a:lnTo>
                    <a:lnTo>
                      <a:pt x="1162" y="1393"/>
                    </a:lnTo>
                    <a:lnTo>
                      <a:pt x="1164" y="1395"/>
                    </a:lnTo>
                    <a:lnTo>
                      <a:pt x="1162" y="1395"/>
                    </a:lnTo>
                    <a:lnTo>
                      <a:pt x="1164" y="1395"/>
                    </a:lnTo>
                    <a:lnTo>
                      <a:pt x="1162" y="1395"/>
                    </a:lnTo>
                    <a:lnTo>
                      <a:pt x="1164" y="1396"/>
                    </a:lnTo>
                    <a:lnTo>
                      <a:pt x="1162" y="1396"/>
                    </a:lnTo>
                    <a:lnTo>
                      <a:pt x="1164" y="1396"/>
                    </a:lnTo>
                    <a:lnTo>
                      <a:pt x="1162" y="1398"/>
                    </a:lnTo>
                    <a:lnTo>
                      <a:pt x="1162" y="1396"/>
                    </a:lnTo>
                    <a:lnTo>
                      <a:pt x="1161" y="1396"/>
                    </a:lnTo>
                    <a:lnTo>
                      <a:pt x="1161" y="1395"/>
                    </a:lnTo>
                    <a:lnTo>
                      <a:pt x="1159" y="1393"/>
                    </a:lnTo>
                    <a:lnTo>
                      <a:pt x="1161" y="1391"/>
                    </a:lnTo>
                    <a:lnTo>
                      <a:pt x="1161" y="1393"/>
                    </a:lnTo>
                    <a:lnTo>
                      <a:pt x="1161" y="1391"/>
                    </a:lnTo>
                    <a:lnTo>
                      <a:pt x="1161" y="1390"/>
                    </a:lnTo>
                    <a:lnTo>
                      <a:pt x="1162" y="1390"/>
                    </a:lnTo>
                    <a:lnTo>
                      <a:pt x="1162" y="1388"/>
                    </a:lnTo>
                    <a:lnTo>
                      <a:pt x="1162" y="1390"/>
                    </a:lnTo>
                    <a:lnTo>
                      <a:pt x="1162" y="1391"/>
                    </a:lnTo>
                    <a:lnTo>
                      <a:pt x="1162" y="1390"/>
                    </a:lnTo>
                    <a:lnTo>
                      <a:pt x="1164" y="1388"/>
                    </a:lnTo>
                    <a:lnTo>
                      <a:pt x="1164" y="1390"/>
                    </a:lnTo>
                    <a:lnTo>
                      <a:pt x="1162" y="1390"/>
                    </a:lnTo>
                    <a:close/>
                    <a:moveTo>
                      <a:pt x="1431" y="1631"/>
                    </a:moveTo>
                    <a:lnTo>
                      <a:pt x="1433" y="1633"/>
                    </a:lnTo>
                    <a:lnTo>
                      <a:pt x="1434" y="1633"/>
                    </a:lnTo>
                    <a:lnTo>
                      <a:pt x="1436" y="1633"/>
                    </a:lnTo>
                    <a:lnTo>
                      <a:pt x="1436" y="1635"/>
                    </a:lnTo>
                    <a:lnTo>
                      <a:pt x="1438" y="1635"/>
                    </a:lnTo>
                    <a:lnTo>
                      <a:pt x="1438" y="1636"/>
                    </a:lnTo>
                    <a:lnTo>
                      <a:pt x="1438" y="1638"/>
                    </a:lnTo>
                    <a:lnTo>
                      <a:pt x="1440" y="1640"/>
                    </a:lnTo>
                    <a:lnTo>
                      <a:pt x="1438" y="1640"/>
                    </a:lnTo>
                    <a:lnTo>
                      <a:pt x="1436" y="1638"/>
                    </a:lnTo>
                    <a:lnTo>
                      <a:pt x="1434" y="1636"/>
                    </a:lnTo>
                    <a:lnTo>
                      <a:pt x="1433" y="1635"/>
                    </a:lnTo>
                    <a:lnTo>
                      <a:pt x="1431" y="1635"/>
                    </a:lnTo>
                    <a:lnTo>
                      <a:pt x="1431" y="1633"/>
                    </a:lnTo>
                    <a:lnTo>
                      <a:pt x="1431" y="1631"/>
                    </a:lnTo>
                    <a:close/>
                    <a:moveTo>
                      <a:pt x="1196" y="1094"/>
                    </a:moveTo>
                    <a:lnTo>
                      <a:pt x="1198" y="1094"/>
                    </a:lnTo>
                    <a:lnTo>
                      <a:pt x="1198" y="1095"/>
                    </a:lnTo>
                    <a:lnTo>
                      <a:pt x="1198" y="1097"/>
                    </a:lnTo>
                    <a:lnTo>
                      <a:pt x="1196" y="1097"/>
                    </a:lnTo>
                    <a:lnTo>
                      <a:pt x="1198" y="1097"/>
                    </a:lnTo>
                    <a:lnTo>
                      <a:pt x="1196" y="1097"/>
                    </a:lnTo>
                    <a:lnTo>
                      <a:pt x="1195" y="1097"/>
                    </a:lnTo>
                    <a:lnTo>
                      <a:pt x="1193" y="1097"/>
                    </a:lnTo>
                    <a:lnTo>
                      <a:pt x="1191" y="1097"/>
                    </a:lnTo>
                    <a:lnTo>
                      <a:pt x="1191" y="1095"/>
                    </a:lnTo>
                    <a:lnTo>
                      <a:pt x="1190" y="1095"/>
                    </a:lnTo>
                    <a:lnTo>
                      <a:pt x="1191" y="1095"/>
                    </a:lnTo>
                    <a:lnTo>
                      <a:pt x="1193" y="1095"/>
                    </a:lnTo>
                    <a:lnTo>
                      <a:pt x="1195" y="1094"/>
                    </a:lnTo>
                    <a:lnTo>
                      <a:pt x="1196" y="1094"/>
                    </a:lnTo>
                    <a:close/>
                    <a:moveTo>
                      <a:pt x="1178" y="1468"/>
                    </a:moveTo>
                    <a:lnTo>
                      <a:pt x="1176" y="1468"/>
                    </a:lnTo>
                    <a:lnTo>
                      <a:pt x="1176" y="1470"/>
                    </a:lnTo>
                    <a:lnTo>
                      <a:pt x="1174" y="1470"/>
                    </a:lnTo>
                    <a:lnTo>
                      <a:pt x="1176" y="1470"/>
                    </a:lnTo>
                    <a:lnTo>
                      <a:pt x="1174" y="1471"/>
                    </a:lnTo>
                    <a:lnTo>
                      <a:pt x="1176" y="1471"/>
                    </a:lnTo>
                    <a:lnTo>
                      <a:pt x="1174" y="1473"/>
                    </a:lnTo>
                    <a:lnTo>
                      <a:pt x="1174" y="1471"/>
                    </a:lnTo>
                    <a:lnTo>
                      <a:pt x="1173" y="1473"/>
                    </a:lnTo>
                    <a:lnTo>
                      <a:pt x="1173" y="1471"/>
                    </a:lnTo>
                    <a:lnTo>
                      <a:pt x="1173" y="1473"/>
                    </a:lnTo>
                    <a:lnTo>
                      <a:pt x="1174" y="1473"/>
                    </a:lnTo>
                    <a:lnTo>
                      <a:pt x="1173" y="1473"/>
                    </a:lnTo>
                    <a:lnTo>
                      <a:pt x="1171" y="1475"/>
                    </a:lnTo>
                    <a:lnTo>
                      <a:pt x="1171" y="1473"/>
                    </a:lnTo>
                    <a:lnTo>
                      <a:pt x="1171" y="1471"/>
                    </a:lnTo>
                    <a:lnTo>
                      <a:pt x="1169" y="1471"/>
                    </a:lnTo>
                    <a:lnTo>
                      <a:pt x="1171" y="1471"/>
                    </a:lnTo>
                    <a:lnTo>
                      <a:pt x="1171" y="1470"/>
                    </a:lnTo>
                    <a:lnTo>
                      <a:pt x="1173" y="1470"/>
                    </a:lnTo>
                    <a:lnTo>
                      <a:pt x="1174" y="1468"/>
                    </a:lnTo>
                    <a:lnTo>
                      <a:pt x="1176" y="1468"/>
                    </a:lnTo>
                    <a:lnTo>
                      <a:pt x="1176" y="1466"/>
                    </a:lnTo>
                    <a:lnTo>
                      <a:pt x="1178" y="1468"/>
                    </a:lnTo>
                    <a:close/>
                    <a:moveTo>
                      <a:pt x="1210" y="1092"/>
                    </a:moveTo>
                    <a:lnTo>
                      <a:pt x="1210" y="1094"/>
                    </a:lnTo>
                    <a:lnTo>
                      <a:pt x="1210" y="1095"/>
                    </a:lnTo>
                    <a:lnTo>
                      <a:pt x="1210" y="1097"/>
                    </a:lnTo>
                    <a:lnTo>
                      <a:pt x="1208" y="1097"/>
                    </a:lnTo>
                    <a:lnTo>
                      <a:pt x="1207" y="1097"/>
                    </a:lnTo>
                    <a:lnTo>
                      <a:pt x="1207" y="1095"/>
                    </a:lnTo>
                    <a:lnTo>
                      <a:pt x="1205" y="1095"/>
                    </a:lnTo>
                    <a:lnTo>
                      <a:pt x="1205" y="1094"/>
                    </a:lnTo>
                    <a:lnTo>
                      <a:pt x="1205" y="1092"/>
                    </a:lnTo>
                    <a:lnTo>
                      <a:pt x="1207" y="1094"/>
                    </a:lnTo>
                    <a:lnTo>
                      <a:pt x="1207" y="1092"/>
                    </a:lnTo>
                    <a:lnTo>
                      <a:pt x="1208" y="1092"/>
                    </a:lnTo>
                    <a:lnTo>
                      <a:pt x="1210" y="1092"/>
                    </a:lnTo>
                    <a:close/>
                    <a:moveTo>
                      <a:pt x="1161" y="1235"/>
                    </a:moveTo>
                    <a:lnTo>
                      <a:pt x="1162" y="1235"/>
                    </a:lnTo>
                    <a:lnTo>
                      <a:pt x="1164" y="1235"/>
                    </a:lnTo>
                    <a:lnTo>
                      <a:pt x="1164" y="1236"/>
                    </a:lnTo>
                    <a:lnTo>
                      <a:pt x="1164" y="1238"/>
                    </a:lnTo>
                    <a:lnTo>
                      <a:pt x="1164" y="1236"/>
                    </a:lnTo>
                    <a:lnTo>
                      <a:pt x="1164" y="1235"/>
                    </a:lnTo>
                    <a:lnTo>
                      <a:pt x="1164" y="1236"/>
                    </a:lnTo>
                    <a:lnTo>
                      <a:pt x="1166" y="1236"/>
                    </a:lnTo>
                    <a:lnTo>
                      <a:pt x="1166" y="1238"/>
                    </a:lnTo>
                    <a:lnTo>
                      <a:pt x="1168" y="1238"/>
                    </a:lnTo>
                    <a:lnTo>
                      <a:pt x="1168" y="1240"/>
                    </a:lnTo>
                    <a:lnTo>
                      <a:pt x="1166" y="1240"/>
                    </a:lnTo>
                    <a:lnTo>
                      <a:pt x="1166" y="1238"/>
                    </a:lnTo>
                    <a:lnTo>
                      <a:pt x="1166" y="1240"/>
                    </a:lnTo>
                    <a:lnTo>
                      <a:pt x="1164" y="1240"/>
                    </a:lnTo>
                    <a:lnTo>
                      <a:pt x="1162" y="1240"/>
                    </a:lnTo>
                    <a:lnTo>
                      <a:pt x="1162" y="1238"/>
                    </a:lnTo>
                    <a:lnTo>
                      <a:pt x="1161" y="1238"/>
                    </a:lnTo>
                    <a:lnTo>
                      <a:pt x="1161" y="1236"/>
                    </a:lnTo>
                    <a:lnTo>
                      <a:pt x="1161" y="1235"/>
                    </a:lnTo>
                    <a:close/>
                    <a:moveTo>
                      <a:pt x="1249" y="1592"/>
                    </a:moveTo>
                    <a:lnTo>
                      <a:pt x="1251" y="1592"/>
                    </a:lnTo>
                    <a:lnTo>
                      <a:pt x="1251" y="1594"/>
                    </a:lnTo>
                    <a:lnTo>
                      <a:pt x="1253" y="1594"/>
                    </a:lnTo>
                    <a:lnTo>
                      <a:pt x="1254" y="1594"/>
                    </a:lnTo>
                    <a:lnTo>
                      <a:pt x="1253" y="1594"/>
                    </a:lnTo>
                    <a:lnTo>
                      <a:pt x="1253" y="1595"/>
                    </a:lnTo>
                    <a:lnTo>
                      <a:pt x="1251" y="1594"/>
                    </a:lnTo>
                    <a:lnTo>
                      <a:pt x="1251" y="1595"/>
                    </a:lnTo>
                    <a:lnTo>
                      <a:pt x="1253" y="1595"/>
                    </a:lnTo>
                    <a:lnTo>
                      <a:pt x="1253" y="1597"/>
                    </a:lnTo>
                    <a:lnTo>
                      <a:pt x="1251" y="1597"/>
                    </a:lnTo>
                    <a:lnTo>
                      <a:pt x="1251" y="1595"/>
                    </a:lnTo>
                    <a:lnTo>
                      <a:pt x="1249" y="1595"/>
                    </a:lnTo>
                    <a:lnTo>
                      <a:pt x="1249" y="1597"/>
                    </a:lnTo>
                    <a:lnTo>
                      <a:pt x="1249" y="1599"/>
                    </a:lnTo>
                    <a:lnTo>
                      <a:pt x="1247" y="1600"/>
                    </a:lnTo>
                    <a:lnTo>
                      <a:pt x="1247" y="1599"/>
                    </a:lnTo>
                    <a:lnTo>
                      <a:pt x="1247" y="1597"/>
                    </a:lnTo>
                    <a:lnTo>
                      <a:pt x="1246" y="1597"/>
                    </a:lnTo>
                    <a:lnTo>
                      <a:pt x="1246" y="1595"/>
                    </a:lnTo>
                    <a:lnTo>
                      <a:pt x="1246" y="1594"/>
                    </a:lnTo>
                    <a:lnTo>
                      <a:pt x="1247" y="1595"/>
                    </a:lnTo>
                    <a:lnTo>
                      <a:pt x="1246" y="1594"/>
                    </a:lnTo>
                    <a:lnTo>
                      <a:pt x="1247" y="1594"/>
                    </a:lnTo>
                    <a:lnTo>
                      <a:pt x="1249" y="1594"/>
                    </a:lnTo>
                    <a:lnTo>
                      <a:pt x="1249" y="1592"/>
                    </a:lnTo>
                    <a:close/>
                    <a:moveTo>
                      <a:pt x="1198" y="1061"/>
                    </a:moveTo>
                    <a:lnTo>
                      <a:pt x="1200" y="1061"/>
                    </a:lnTo>
                    <a:lnTo>
                      <a:pt x="1200" y="1063"/>
                    </a:lnTo>
                    <a:lnTo>
                      <a:pt x="1202" y="1063"/>
                    </a:lnTo>
                    <a:lnTo>
                      <a:pt x="1200" y="1065"/>
                    </a:lnTo>
                    <a:lnTo>
                      <a:pt x="1202" y="1065"/>
                    </a:lnTo>
                    <a:lnTo>
                      <a:pt x="1203" y="1066"/>
                    </a:lnTo>
                    <a:lnTo>
                      <a:pt x="1202" y="1065"/>
                    </a:lnTo>
                    <a:lnTo>
                      <a:pt x="1203" y="1065"/>
                    </a:lnTo>
                    <a:lnTo>
                      <a:pt x="1203" y="1066"/>
                    </a:lnTo>
                    <a:lnTo>
                      <a:pt x="1202" y="1066"/>
                    </a:lnTo>
                    <a:lnTo>
                      <a:pt x="1200" y="1066"/>
                    </a:lnTo>
                    <a:lnTo>
                      <a:pt x="1198" y="1066"/>
                    </a:lnTo>
                    <a:lnTo>
                      <a:pt x="1196" y="1065"/>
                    </a:lnTo>
                    <a:lnTo>
                      <a:pt x="1196" y="1063"/>
                    </a:lnTo>
                    <a:lnTo>
                      <a:pt x="1198" y="1063"/>
                    </a:lnTo>
                    <a:lnTo>
                      <a:pt x="1198" y="1061"/>
                    </a:lnTo>
                    <a:close/>
                    <a:moveTo>
                      <a:pt x="1198" y="1442"/>
                    </a:moveTo>
                    <a:lnTo>
                      <a:pt x="1200" y="1442"/>
                    </a:lnTo>
                    <a:lnTo>
                      <a:pt x="1200" y="1444"/>
                    </a:lnTo>
                    <a:lnTo>
                      <a:pt x="1200" y="1446"/>
                    </a:lnTo>
                    <a:lnTo>
                      <a:pt x="1202" y="1444"/>
                    </a:lnTo>
                    <a:lnTo>
                      <a:pt x="1202" y="1446"/>
                    </a:lnTo>
                    <a:lnTo>
                      <a:pt x="1202" y="1447"/>
                    </a:lnTo>
                    <a:lnTo>
                      <a:pt x="1202" y="1449"/>
                    </a:lnTo>
                    <a:lnTo>
                      <a:pt x="1202" y="1447"/>
                    </a:lnTo>
                    <a:lnTo>
                      <a:pt x="1203" y="1447"/>
                    </a:lnTo>
                    <a:lnTo>
                      <a:pt x="1202" y="1447"/>
                    </a:lnTo>
                    <a:lnTo>
                      <a:pt x="1203" y="1446"/>
                    </a:lnTo>
                    <a:lnTo>
                      <a:pt x="1203" y="1447"/>
                    </a:lnTo>
                    <a:lnTo>
                      <a:pt x="1205" y="1449"/>
                    </a:lnTo>
                    <a:lnTo>
                      <a:pt x="1205" y="1451"/>
                    </a:lnTo>
                    <a:lnTo>
                      <a:pt x="1203" y="1449"/>
                    </a:lnTo>
                    <a:lnTo>
                      <a:pt x="1203" y="1451"/>
                    </a:lnTo>
                    <a:lnTo>
                      <a:pt x="1203" y="1453"/>
                    </a:lnTo>
                    <a:lnTo>
                      <a:pt x="1202" y="1451"/>
                    </a:lnTo>
                    <a:lnTo>
                      <a:pt x="1202" y="1449"/>
                    </a:lnTo>
                    <a:lnTo>
                      <a:pt x="1200" y="1449"/>
                    </a:lnTo>
                    <a:lnTo>
                      <a:pt x="1202" y="1447"/>
                    </a:lnTo>
                    <a:lnTo>
                      <a:pt x="1200" y="1449"/>
                    </a:lnTo>
                    <a:lnTo>
                      <a:pt x="1200" y="1447"/>
                    </a:lnTo>
                    <a:lnTo>
                      <a:pt x="1200" y="1446"/>
                    </a:lnTo>
                    <a:lnTo>
                      <a:pt x="1200" y="1447"/>
                    </a:lnTo>
                    <a:lnTo>
                      <a:pt x="1200" y="1446"/>
                    </a:lnTo>
                    <a:lnTo>
                      <a:pt x="1198" y="1446"/>
                    </a:lnTo>
                    <a:lnTo>
                      <a:pt x="1198" y="1444"/>
                    </a:lnTo>
                    <a:lnTo>
                      <a:pt x="1198" y="1442"/>
                    </a:lnTo>
                    <a:close/>
                    <a:moveTo>
                      <a:pt x="1263" y="1565"/>
                    </a:moveTo>
                    <a:lnTo>
                      <a:pt x="1261" y="1566"/>
                    </a:lnTo>
                    <a:lnTo>
                      <a:pt x="1261" y="1568"/>
                    </a:lnTo>
                    <a:lnTo>
                      <a:pt x="1261" y="1566"/>
                    </a:lnTo>
                    <a:lnTo>
                      <a:pt x="1261" y="1568"/>
                    </a:lnTo>
                    <a:lnTo>
                      <a:pt x="1261" y="1570"/>
                    </a:lnTo>
                    <a:lnTo>
                      <a:pt x="1259" y="1570"/>
                    </a:lnTo>
                    <a:lnTo>
                      <a:pt x="1261" y="1570"/>
                    </a:lnTo>
                    <a:lnTo>
                      <a:pt x="1261" y="1568"/>
                    </a:lnTo>
                    <a:lnTo>
                      <a:pt x="1263" y="1570"/>
                    </a:lnTo>
                    <a:lnTo>
                      <a:pt x="1261" y="1570"/>
                    </a:lnTo>
                    <a:lnTo>
                      <a:pt x="1261" y="1572"/>
                    </a:lnTo>
                    <a:lnTo>
                      <a:pt x="1261" y="1570"/>
                    </a:lnTo>
                    <a:lnTo>
                      <a:pt x="1259" y="1570"/>
                    </a:lnTo>
                    <a:lnTo>
                      <a:pt x="1259" y="1568"/>
                    </a:lnTo>
                    <a:lnTo>
                      <a:pt x="1258" y="1568"/>
                    </a:lnTo>
                    <a:lnTo>
                      <a:pt x="1256" y="1568"/>
                    </a:lnTo>
                    <a:lnTo>
                      <a:pt x="1256" y="1566"/>
                    </a:lnTo>
                    <a:lnTo>
                      <a:pt x="1258" y="1566"/>
                    </a:lnTo>
                    <a:lnTo>
                      <a:pt x="1258" y="1565"/>
                    </a:lnTo>
                    <a:lnTo>
                      <a:pt x="1259" y="1565"/>
                    </a:lnTo>
                    <a:lnTo>
                      <a:pt x="1261" y="1563"/>
                    </a:lnTo>
                    <a:lnTo>
                      <a:pt x="1263" y="1565"/>
                    </a:lnTo>
                    <a:close/>
                    <a:moveTo>
                      <a:pt x="1166" y="1413"/>
                    </a:moveTo>
                    <a:lnTo>
                      <a:pt x="1168" y="1413"/>
                    </a:lnTo>
                    <a:lnTo>
                      <a:pt x="1168" y="1415"/>
                    </a:lnTo>
                    <a:lnTo>
                      <a:pt x="1169" y="1413"/>
                    </a:lnTo>
                    <a:lnTo>
                      <a:pt x="1169" y="1415"/>
                    </a:lnTo>
                    <a:lnTo>
                      <a:pt x="1168" y="1417"/>
                    </a:lnTo>
                    <a:lnTo>
                      <a:pt x="1166" y="1417"/>
                    </a:lnTo>
                    <a:lnTo>
                      <a:pt x="1164" y="1415"/>
                    </a:lnTo>
                    <a:lnTo>
                      <a:pt x="1164" y="1417"/>
                    </a:lnTo>
                    <a:lnTo>
                      <a:pt x="1162" y="1417"/>
                    </a:lnTo>
                    <a:lnTo>
                      <a:pt x="1162" y="1415"/>
                    </a:lnTo>
                    <a:lnTo>
                      <a:pt x="1162" y="1413"/>
                    </a:lnTo>
                    <a:lnTo>
                      <a:pt x="1164" y="1413"/>
                    </a:lnTo>
                    <a:lnTo>
                      <a:pt x="1166" y="1413"/>
                    </a:lnTo>
                    <a:lnTo>
                      <a:pt x="1166" y="1415"/>
                    </a:lnTo>
                    <a:lnTo>
                      <a:pt x="1166" y="1413"/>
                    </a:lnTo>
                    <a:lnTo>
                      <a:pt x="1164" y="1413"/>
                    </a:lnTo>
                    <a:lnTo>
                      <a:pt x="1164" y="1412"/>
                    </a:lnTo>
                    <a:lnTo>
                      <a:pt x="1166" y="1413"/>
                    </a:lnTo>
                    <a:close/>
                    <a:moveTo>
                      <a:pt x="1183" y="1126"/>
                    </a:moveTo>
                    <a:lnTo>
                      <a:pt x="1181" y="1126"/>
                    </a:lnTo>
                    <a:lnTo>
                      <a:pt x="1181" y="1128"/>
                    </a:lnTo>
                    <a:lnTo>
                      <a:pt x="1181" y="1129"/>
                    </a:lnTo>
                    <a:lnTo>
                      <a:pt x="1181" y="1131"/>
                    </a:lnTo>
                    <a:lnTo>
                      <a:pt x="1181" y="1133"/>
                    </a:lnTo>
                    <a:lnTo>
                      <a:pt x="1179" y="1133"/>
                    </a:lnTo>
                    <a:lnTo>
                      <a:pt x="1179" y="1131"/>
                    </a:lnTo>
                    <a:lnTo>
                      <a:pt x="1178" y="1131"/>
                    </a:lnTo>
                    <a:lnTo>
                      <a:pt x="1178" y="1129"/>
                    </a:lnTo>
                    <a:lnTo>
                      <a:pt x="1178" y="1128"/>
                    </a:lnTo>
                    <a:lnTo>
                      <a:pt x="1179" y="1128"/>
                    </a:lnTo>
                    <a:lnTo>
                      <a:pt x="1179" y="1126"/>
                    </a:lnTo>
                    <a:lnTo>
                      <a:pt x="1181" y="1126"/>
                    </a:lnTo>
                    <a:lnTo>
                      <a:pt x="1183" y="1126"/>
                    </a:lnTo>
                    <a:close/>
                    <a:moveTo>
                      <a:pt x="1142" y="1301"/>
                    </a:moveTo>
                    <a:lnTo>
                      <a:pt x="1144" y="1303"/>
                    </a:lnTo>
                    <a:lnTo>
                      <a:pt x="1145" y="1303"/>
                    </a:lnTo>
                    <a:lnTo>
                      <a:pt x="1145" y="1305"/>
                    </a:lnTo>
                    <a:lnTo>
                      <a:pt x="1147" y="1305"/>
                    </a:lnTo>
                    <a:lnTo>
                      <a:pt x="1147" y="1306"/>
                    </a:lnTo>
                    <a:lnTo>
                      <a:pt x="1145" y="1306"/>
                    </a:lnTo>
                    <a:lnTo>
                      <a:pt x="1145" y="1305"/>
                    </a:lnTo>
                    <a:lnTo>
                      <a:pt x="1145" y="1306"/>
                    </a:lnTo>
                    <a:lnTo>
                      <a:pt x="1144" y="1305"/>
                    </a:lnTo>
                    <a:lnTo>
                      <a:pt x="1144" y="1306"/>
                    </a:lnTo>
                    <a:lnTo>
                      <a:pt x="1142" y="1305"/>
                    </a:lnTo>
                    <a:lnTo>
                      <a:pt x="1142" y="1303"/>
                    </a:lnTo>
                    <a:lnTo>
                      <a:pt x="1140" y="1303"/>
                    </a:lnTo>
                    <a:lnTo>
                      <a:pt x="1139" y="1303"/>
                    </a:lnTo>
                    <a:lnTo>
                      <a:pt x="1140" y="1301"/>
                    </a:lnTo>
                    <a:lnTo>
                      <a:pt x="1142" y="1301"/>
                    </a:lnTo>
                    <a:close/>
                    <a:moveTo>
                      <a:pt x="1210" y="990"/>
                    </a:moveTo>
                    <a:lnTo>
                      <a:pt x="1210" y="992"/>
                    </a:lnTo>
                    <a:lnTo>
                      <a:pt x="1210" y="993"/>
                    </a:lnTo>
                    <a:lnTo>
                      <a:pt x="1210" y="995"/>
                    </a:lnTo>
                    <a:lnTo>
                      <a:pt x="1212" y="997"/>
                    </a:lnTo>
                    <a:lnTo>
                      <a:pt x="1212" y="995"/>
                    </a:lnTo>
                    <a:lnTo>
                      <a:pt x="1212" y="997"/>
                    </a:lnTo>
                    <a:lnTo>
                      <a:pt x="1210" y="997"/>
                    </a:lnTo>
                    <a:lnTo>
                      <a:pt x="1210" y="995"/>
                    </a:lnTo>
                    <a:lnTo>
                      <a:pt x="1208" y="995"/>
                    </a:lnTo>
                    <a:lnTo>
                      <a:pt x="1208" y="993"/>
                    </a:lnTo>
                    <a:lnTo>
                      <a:pt x="1207" y="993"/>
                    </a:lnTo>
                    <a:lnTo>
                      <a:pt x="1207" y="995"/>
                    </a:lnTo>
                    <a:lnTo>
                      <a:pt x="1205" y="993"/>
                    </a:lnTo>
                    <a:lnTo>
                      <a:pt x="1205" y="992"/>
                    </a:lnTo>
                    <a:lnTo>
                      <a:pt x="1207" y="992"/>
                    </a:lnTo>
                    <a:lnTo>
                      <a:pt x="1208" y="992"/>
                    </a:lnTo>
                    <a:lnTo>
                      <a:pt x="1210" y="992"/>
                    </a:lnTo>
                    <a:lnTo>
                      <a:pt x="1210" y="990"/>
                    </a:lnTo>
                    <a:close/>
                    <a:moveTo>
                      <a:pt x="1202" y="1524"/>
                    </a:moveTo>
                    <a:lnTo>
                      <a:pt x="1202" y="1526"/>
                    </a:lnTo>
                    <a:lnTo>
                      <a:pt x="1202" y="1527"/>
                    </a:lnTo>
                    <a:lnTo>
                      <a:pt x="1203" y="1527"/>
                    </a:lnTo>
                    <a:lnTo>
                      <a:pt x="1203" y="1529"/>
                    </a:lnTo>
                    <a:lnTo>
                      <a:pt x="1205" y="1529"/>
                    </a:lnTo>
                    <a:lnTo>
                      <a:pt x="1203" y="1529"/>
                    </a:lnTo>
                    <a:lnTo>
                      <a:pt x="1203" y="1531"/>
                    </a:lnTo>
                    <a:lnTo>
                      <a:pt x="1202" y="1529"/>
                    </a:lnTo>
                    <a:lnTo>
                      <a:pt x="1202" y="1527"/>
                    </a:lnTo>
                    <a:lnTo>
                      <a:pt x="1200" y="1527"/>
                    </a:lnTo>
                    <a:lnTo>
                      <a:pt x="1200" y="1526"/>
                    </a:lnTo>
                    <a:lnTo>
                      <a:pt x="1200" y="1527"/>
                    </a:lnTo>
                    <a:lnTo>
                      <a:pt x="1198" y="1527"/>
                    </a:lnTo>
                    <a:lnTo>
                      <a:pt x="1198" y="1526"/>
                    </a:lnTo>
                    <a:lnTo>
                      <a:pt x="1198" y="1524"/>
                    </a:lnTo>
                    <a:lnTo>
                      <a:pt x="1200" y="1524"/>
                    </a:lnTo>
                    <a:lnTo>
                      <a:pt x="1202" y="1524"/>
                    </a:lnTo>
                    <a:close/>
                    <a:moveTo>
                      <a:pt x="1176" y="1413"/>
                    </a:moveTo>
                    <a:lnTo>
                      <a:pt x="1176" y="1415"/>
                    </a:lnTo>
                    <a:lnTo>
                      <a:pt x="1178" y="1417"/>
                    </a:lnTo>
                    <a:lnTo>
                      <a:pt x="1176" y="1417"/>
                    </a:lnTo>
                    <a:lnTo>
                      <a:pt x="1174" y="1417"/>
                    </a:lnTo>
                    <a:lnTo>
                      <a:pt x="1174" y="1418"/>
                    </a:lnTo>
                    <a:lnTo>
                      <a:pt x="1173" y="1418"/>
                    </a:lnTo>
                    <a:lnTo>
                      <a:pt x="1173" y="1417"/>
                    </a:lnTo>
                    <a:lnTo>
                      <a:pt x="1171" y="1417"/>
                    </a:lnTo>
                    <a:lnTo>
                      <a:pt x="1171" y="1415"/>
                    </a:lnTo>
                    <a:lnTo>
                      <a:pt x="1173" y="1415"/>
                    </a:lnTo>
                    <a:lnTo>
                      <a:pt x="1171" y="1415"/>
                    </a:lnTo>
                    <a:lnTo>
                      <a:pt x="1173" y="1415"/>
                    </a:lnTo>
                    <a:lnTo>
                      <a:pt x="1174" y="1415"/>
                    </a:lnTo>
                    <a:lnTo>
                      <a:pt x="1174" y="1413"/>
                    </a:lnTo>
                    <a:lnTo>
                      <a:pt x="1176" y="1413"/>
                    </a:lnTo>
                    <a:lnTo>
                      <a:pt x="1176" y="1412"/>
                    </a:lnTo>
                    <a:lnTo>
                      <a:pt x="1176" y="1413"/>
                    </a:lnTo>
                    <a:close/>
                    <a:moveTo>
                      <a:pt x="1186" y="1068"/>
                    </a:moveTo>
                    <a:lnTo>
                      <a:pt x="1188" y="1070"/>
                    </a:lnTo>
                    <a:lnTo>
                      <a:pt x="1188" y="1071"/>
                    </a:lnTo>
                    <a:lnTo>
                      <a:pt x="1186" y="1071"/>
                    </a:lnTo>
                    <a:lnTo>
                      <a:pt x="1185" y="1071"/>
                    </a:lnTo>
                    <a:lnTo>
                      <a:pt x="1183" y="1070"/>
                    </a:lnTo>
                    <a:lnTo>
                      <a:pt x="1183" y="1068"/>
                    </a:lnTo>
                    <a:lnTo>
                      <a:pt x="1185" y="1068"/>
                    </a:lnTo>
                    <a:lnTo>
                      <a:pt x="1186" y="1068"/>
                    </a:lnTo>
                    <a:close/>
                    <a:moveTo>
                      <a:pt x="1205" y="1548"/>
                    </a:moveTo>
                    <a:lnTo>
                      <a:pt x="1207" y="1548"/>
                    </a:lnTo>
                    <a:lnTo>
                      <a:pt x="1207" y="1549"/>
                    </a:lnTo>
                    <a:lnTo>
                      <a:pt x="1208" y="1549"/>
                    </a:lnTo>
                    <a:lnTo>
                      <a:pt x="1207" y="1549"/>
                    </a:lnTo>
                    <a:lnTo>
                      <a:pt x="1208" y="1549"/>
                    </a:lnTo>
                    <a:lnTo>
                      <a:pt x="1208" y="1551"/>
                    </a:lnTo>
                    <a:lnTo>
                      <a:pt x="1207" y="1551"/>
                    </a:lnTo>
                    <a:lnTo>
                      <a:pt x="1205" y="1551"/>
                    </a:lnTo>
                    <a:lnTo>
                      <a:pt x="1205" y="1549"/>
                    </a:lnTo>
                    <a:lnTo>
                      <a:pt x="1203" y="1548"/>
                    </a:lnTo>
                    <a:lnTo>
                      <a:pt x="1203" y="1549"/>
                    </a:lnTo>
                    <a:lnTo>
                      <a:pt x="1203" y="1551"/>
                    </a:lnTo>
                    <a:lnTo>
                      <a:pt x="1202" y="1551"/>
                    </a:lnTo>
                    <a:lnTo>
                      <a:pt x="1203" y="1549"/>
                    </a:lnTo>
                    <a:lnTo>
                      <a:pt x="1202" y="1549"/>
                    </a:lnTo>
                    <a:lnTo>
                      <a:pt x="1200" y="1549"/>
                    </a:lnTo>
                    <a:lnTo>
                      <a:pt x="1200" y="1548"/>
                    </a:lnTo>
                    <a:lnTo>
                      <a:pt x="1202" y="1548"/>
                    </a:lnTo>
                    <a:lnTo>
                      <a:pt x="1203" y="1549"/>
                    </a:lnTo>
                    <a:lnTo>
                      <a:pt x="1202" y="1548"/>
                    </a:lnTo>
                    <a:lnTo>
                      <a:pt x="1203" y="1548"/>
                    </a:lnTo>
                    <a:lnTo>
                      <a:pt x="1203" y="1546"/>
                    </a:lnTo>
                    <a:lnTo>
                      <a:pt x="1205" y="1546"/>
                    </a:lnTo>
                    <a:lnTo>
                      <a:pt x="1205" y="1548"/>
                    </a:lnTo>
                    <a:close/>
                    <a:moveTo>
                      <a:pt x="1229" y="1558"/>
                    </a:moveTo>
                    <a:lnTo>
                      <a:pt x="1230" y="1558"/>
                    </a:lnTo>
                    <a:lnTo>
                      <a:pt x="1232" y="1560"/>
                    </a:lnTo>
                    <a:lnTo>
                      <a:pt x="1234" y="1560"/>
                    </a:lnTo>
                    <a:lnTo>
                      <a:pt x="1234" y="1561"/>
                    </a:lnTo>
                    <a:lnTo>
                      <a:pt x="1232" y="1560"/>
                    </a:lnTo>
                    <a:lnTo>
                      <a:pt x="1232" y="1561"/>
                    </a:lnTo>
                    <a:lnTo>
                      <a:pt x="1232" y="1560"/>
                    </a:lnTo>
                    <a:lnTo>
                      <a:pt x="1230" y="1561"/>
                    </a:lnTo>
                    <a:lnTo>
                      <a:pt x="1229" y="1561"/>
                    </a:lnTo>
                    <a:lnTo>
                      <a:pt x="1227" y="1561"/>
                    </a:lnTo>
                    <a:lnTo>
                      <a:pt x="1225" y="1561"/>
                    </a:lnTo>
                    <a:lnTo>
                      <a:pt x="1227" y="1560"/>
                    </a:lnTo>
                    <a:lnTo>
                      <a:pt x="1229" y="1560"/>
                    </a:lnTo>
                    <a:lnTo>
                      <a:pt x="1229" y="1561"/>
                    </a:lnTo>
                    <a:lnTo>
                      <a:pt x="1229" y="1560"/>
                    </a:lnTo>
                    <a:lnTo>
                      <a:pt x="1227" y="1560"/>
                    </a:lnTo>
                    <a:lnTo>
                      <a:pt x="1229" y="1558"/>
                    </a:lnTo>
                    <a:lnTo>
                      <a:pt x="1227" y="1558"/>
                    </a:lnTo>
                    <a:lnTo>
                      <a:pt x="1229" y="1558"/>
                    </a:lnTo>
                    <a:close/>
                    <a:moveTo>
                      <a:pt x="1411" y="1662"/>
                    </a:moveTo>
                    <a:lnTo>
                      <a:pt x="1412" y="1663"/>
                    </a:lnTo>
                    <a:lnTo>
                      <a:pt x="1412" y="1665"/>
                    </a:lnTo>
                    <a:lnTo>
                      <a:pt x="1412" y="1667"/>
                    </a:lnTo>
                    <a:lnTo>
                      <a:pt x="1414" y="1667"/>
                    </a:lnTo>
                    <a:lnTo>
                      <a:pt x="1414" y="1669"/>
                    </a:lnTo>
                    <a:lnTo>
                      <a:pt x="1412" y="1669"/>
                    </a:lnTo>
                    <a:lnTo>
                      <a:pt x="1412" y="1667"/>
                    </a:lnTo>
                    <a:lnTo>
                      <a:pt x="1411" y="1667"/>
                    </a:lnTo>
                    <a:lnTo>
                      <a:pt x="1411" y="1669"/>
                    </a:lnTo>
                    <a:lnTo>
                      <a:pt x="1409" y="1669"/>
                    </a:lnTo>
                    <a:lnTo>
                      <a:pt x="1407" y="1669"/>
                    </a:lnTo>
                    <a:lnTo>
                      <a:pt x="1409" y="1667"/>
                    </a:lnTo>
                    <a:lnTo>
                      <a:pt x="1409" y="1665"/>
                    </a:lnTo>
                    <a:lnTo>
                      <a:pt x="1411" y="1667"/>
                    </a:lnTo>
                    <a:lnTo>
                      <a:pt x="1409" y="1665"/>
                    </a:lnTo>
                    <a:lnTo>
                      <a:pt x="1409" y="1663"/>
                    </a:lnTo>
                    <a:lnTo>
                      <a:pt x="1409" y="1662"/>
                    </a:lnTo>
                    <a:lnTo>
                      <a:pt x="1411" y="1662"/>
                    </a:lnTo>
                    <a:close/>
                    <a:moveTo>
                      <a:pt x="1207" y="1245"/>
                    </a:moveTo>
                    <a:lnTo>
                      <a:pt x="1208" y="1245"/>
                    </a:lnTo>
                    <a:lnTo>
                      <a:pt x="1208" y="1247"/>
                    </a:lnTo>
                    <a:lnTo>
                      <a:pt x="1208" y="1248"/>
                    </a:lnTo>
                    <a:lnTo>
                      <a:pt x="1208" y="1250"/>
                    </a:lnTo>
                    <a:lnTo>
                      <a:pt x="1208" y="1252"/>
                    </a:lnTo>
                    <a:lnTo>
                      <a:pt x="1207" y="1252"/>
                    </a:lnTo>
                    <a:lnTo>
                      <a:pt x="1208" y="1250"/>
                    </a:lnTo>
                    <a:lnTo>
                      <a:pt x="1207" y="1250"/>
                    </a:lnTo>
                    <a:lnTo>
                      <a:pt x="1205" y="1250"/>
                    </a:lnTo>
                    <a:lnTo>
                      <a:pt x="1205" y="1248"/>
                    </a:lnTo>
                    <a:lnTo>
                      <a:pt x="1207" y="1248"/>
                    </a:lnTo>
                    <a:lnTo>
                      <a:pt x="1205" y="1248"/>
                    </a:lnTo>
                    <a:lnTo>
                      <a:pt x="1205" y="1247"/>
                    </a:lnTo>
                    <a:lnTo>
                      <a:pt x="1205" y="1245"/>
                    </a:lnTo>
                    <a:lnTo>
                      <a:pt x="1207" y="1245"/>
                    </a:lnTo>
                    <a:close/>
                    <a:moveTo>
                      <a:pt x="1156" y="1311"/>
                    </a:moveTo>
                    <a:lnTo>
                      <a:pt x="1157" y="1311"/>
                    </a:lnTo>
                    <a:lnTo>
                      <a:pt x="1157" y="1313"/>
                    </a:lnTo>
                    <a:lnTo>
                      <a:pt x="1159" y="1313"/>
                    </a:lnTo>
                    <a:lnTo>
                      <a:pt x="1159" y="1311"/>
                    </a:lnTo>
                    <a:lnTo>
                      <a:pt x="1161" y="1313"/>
                    </a:lnTo>
                    <a:lnTo>
                      <a:pt x="1159" y="1313"/>
                    </a:lnTo>
                    <a:lnTo>
                      <a:pt x="1161" y="1315"/>
                    </a:lnTo>
                    <a:lnTo>
                      <a:pt x="1159" y="1315"/>
                    </a:lnTo>
                    <a:lnTo>
                      <a:pt x="1157" y="1315"/>
                    </a:lnTo>
                    <a:lnTo>
                      <a:pt x="1156" y="1315"/>
                    </a:lnTo>
                    <a:lnTo>
                      <a:pt x="1156" y="1313"/>
                    </a:lnTo>
                    <a:lnTo>
                      <a:pt x="1156" y="1311"/>
                    </a:lnTo>
                    <a:close/>
                    <a:moveTo>
                      <a:pt x="1193" y="1531"/>
                    </a:moveTo>
                    <a:lnTo>
                      <a:pt x="1193" y="1532"/>
                    </a:lnTo>
                    <a:lnTo>
                      <a:pt x="1195" y="1532"/>
                    </a:lnTo>
                    <a:lnTo>
                      <a:pt x="1193" y="1534"/>
                    </a:lnTo>
                    <a:lnTo>
                      <a:pt x="1193" y="1536"/>
                    </a:lnTo>
                    <a:lnTo>
                      <a:pt x="1191" y="1536"/>
                    </a:lnTo>
                    <a:lnTo>
                      <a:pt x="1190" y="1536"/>
                    </a:lnTo>
                    <a:lnTo>
                      <a:pt x="1190" y="1538"/>
                    </a:lnTo>
                    <a:lnTo>
                      <a:pt x="1188" y="1538"/>
                    </a:lnTo>
                    <a:lnTo>
                      <a:pt x="1188" y="1536"/>
                    </a:lnTo>
                    <a:lnTo>
                      <a:pt x="1186" y="1536"/>
                    </a:lnTo>
                    <a:lnTo>
                      <a:pt x="1188" y="1534"/>
                    </a:lnTo>
                    <a:lnTo>
                      <a:pt x="1190" y="1534"/>
                    </a:lnTo>
                    <a:lnTo>
                      <a:pt x="1190" y="1532"/>
                    </a:lnTo>
                    <a:lnTo>
                      <a:pt x="1191" y="1532"/>
                    </a:lnTo>
                    <a:lnTo>
                      <a:pt x="1193" y="1531"/>
                    </a:lnTo>
                    <a:close/>
                    <a:moveTo>
                      <a:pt x="1169" y="1083"/>
                    </a:moveTo>
                    <a:lnTo>
                      <a:pt x="1171" y="1083"/>
                    </a:lnTo>
                    <a:lnTo>
                      <a:pt x="1173" y="1085"/>
                    </a:lnTo>
                    <a:lnTo>
                      <a:pt x="1171" y="1085"/>
                    </a:lnTo>
                    <a:lnTo>
                      <a:pt x="1173" y="1087"/>
                    </a:lnTo>
                    <a:lnTo>
                      <a:pt x="1171" y="1087"/>
                    </a:lnTo>
                    <a:lnTo>
                      <a:pt x="1173" y="1088"/>
                    </a:lnTo>
                    <a:lnTo>
                      <a:pt x="1171" y="1088"/>
                    </a:lnTo>
                    <a:lnTo>
                      <a:pt x="1169" y="1088"/>
                    </a:lnTo>
                    <a:lnTo>
                      <a:pt x="1169" y="1087"/>
                    </a:lnTo>
                    <a:lnTo>
                      <a:pt x="1169" y="1085"/>
                    </a:lnTo>
                    <a:lnTo>
                      <a:pt x="1169" y="1083"/>
                    </a:lnTo>
                    <a:close/>
                    <a:moveTo>
                      <a:pt x="1423" y="1680"/>
                    </a:moveTo>
                    <a:lnTo>
                      <a:pt x="1424" y="1682"/>
                    </a:lnTo>
                    <a:lnTo>
                      <a:pt x="1426" y="1684"/>
                    </a:lnTo>
                    <a:lnTo>
                      <a:pt x="1426" y="1686"/>
                    </a:lnTo>
                    <a:lnTo>
                      <a:pt x="1424" y="1686"/>
                    </a:lnTo>
                    <a:lnTo>
                      <a:pt x="1423" y="1684"/>
                    </a:lnTo>
                    <a:lnTo>
                      <a:pt x="1421" y="1684"/>
                    </a:lnTo>
                    <a:lnTo>
                      <a:pt x="1421" y="1682"/>
                    </a:lnTo>
                    <a:lnTo>
                      <a:pt x="1421" y="1680"/>
                    </a:lnTo>
                    <a:lnTo>
                      <a:pt x="1419" y="1682"/>
                    </a:lnTo>
                    <a:lnTo>
                      <a:pt x="1417" y="1680"/>
                    </a:lnTo>
                    <a:lnTo>
                      <a:pt x="1419" y="1680"/>
                    </a:lnTo>
                    <a:lnTo>
                      <a:pt x="1421" y="1680"/>
                    </a:lnTo>
                    <a:lnTo>
                      <a:pt x="1423" y="1680"/>
                    </a:lnTo>
                    <a:close/>
                    <a:moveTo>
                      <a:pt x="1251" y="1549"/>
                    </a:moveTo>
                    <a:lnTo>
                      <a:pt x="1249" y="1549"/>
                    </a:lnTo>
                    <a:lnTo>
                      <a:pt x="1251" y="1549"/>
                    </a:lnTo>
                    <a:lnTo>
                      <a:pt x="1251" y="1551"/>
                    </a:lnTo>
                    <a:lnTo>
                      <a:pt x="1253" y="1551"/>
                    </a:lnTo>
                    <a:lnTo>
                      <a:pt x="1254" y="1551"/>
                    </a:lnTo>
                    <a:lnTo>
                      <a:pt x="1253" y="1553"/>
                    </a:lnTo>
                    <a:lnTo>
                      <a:pt x="1254" y="1553"/>
                    </a:lnTo>
                    <a:lnTo>
                      <a:pt x="1256" y="1555"/>
                    </a:lnTo>
                    <a:lnTo>
                      <a:pt x="1254" y="1555"/>
                    </a:lnTo>
                    <a:lnTo>
                      <a:pt x="1254" y="1556"/>
                    </a:lnTo>
                    <a:lnTo>
                      <a:pt x="1253" y="1555"/>
                    </a:lnTo>
                    <a:lnTo>
                      <a:pt x="1251" y="1555"/>
                    </a:lnTo>
                    <a:lnTo>
                      <a:pt x="1251" y="1553"/>
                    </a:lnTo>
                    <a:lnTo>
                      <a:pt x="1249" y="1553"/>
                    </a:lnTo>
                    <a:lnTo>
                      <a:pt x="1249" y="1551"/>
                    </a:lnTo>
                    <a:lnTo>
                      <a:pt x="1249" y="1549"/>
                    </a:lnTo>
                    <a:lnTo>
                      <a:pt x="1251" y="1549"/>
                    </a:lnTo>
                    <a:close/>
                    <a:moveTo>
                      <a:pt x="1332" y="1652"/>
                    </a:moveTo>
                    <a:lnTo>
                      <a:pt x="1334" y="1652"/>
                    </a:lnTo>
                    <a:lnTo>
                      <a:pt x="1332" y="1653"/>
                    </a:lnTo>
                    <a:lnTo>
                      <a:pt x="1331" y="1653"/>
                    </a:lnTo>
                    <a:lnTo>
                      <a:pt x="1332" y="1653"/>
                    </a:lnTo>
                    <a:lnTo>
                      <a:pt x="1332" y="1655"/>
                    </a:lnTo>
                    <a:lnTo>
                      <a:pt x="1331" y="1655"/>
                    </a:lnTo>
                    <a:lnTo>
                      <a:pt x="1331" y="1657"/>
                    </a:lnTo>
                    <a:lnTo>
                      <a:pt x="1329" y="1657"/>
                    </a:lnTo>
                    <a:lnTo>
                      <a:pt x="1331" y="1655"/>
                    </a:lnTo>
                    <a:lnTo>
                      <a:pt x="1329" y="1655"/>
                    </a:lnTo>
                    <a:lnTo>
                      <a:pt x="1329" y="1653"/>
                    </a:lnTo>
                    <a:lnTo>
                      <a:pt x="1327" y="1653"/>
                    </a:lnTo>
                    <a:lnTo>
                      <a:pt x="1326" y="1653"/>
                    </a:lnTo>
                    <a:lnTo>
                      <a:pt x="1327" y="1652"/>
                    </a:lnTo>
                    <a:lnTo>
                      <a:pt x="1326" y="1652"/>
                    </a:lnTo>
                    <a:lnTo>
                      <a:pt x="1327" y="1652"/>
                    </a:lnTo>
                    <a:lnTo>
                      <a:pt x="1329" y="1652"/>
                    </a:lnTo>
                    <a:lnTo>
                      <a:pt x="1329" y="1653"/>
                    </a:lnTo>
                    <a:lnTo>
                      <a:pt x="1331" y="1653"/>
                    </a:lnTo>
                    <a:lnTo>
                      <a:pt x="1331" y="1652"/>
                    </a:lnTo>
                    <a:lnTo>
                      <a:pt x="1332" y="1652"/>
                    </a:lnTo>
                    <a:close/>
                    <a:moveTo>
                      <a:pt x="1339" y="1655"/>
                    </a:moveTo>
                    <a:lnTo>
                      <a:pt x="1341" y="1655"/>
                    </a:lnTo>
                    <a:lnTo>
                      <a:pt x="1343" y="1655"/>
                    </a:lnTo>
                    <a:lnTo>
                      <a:pt x="1343" y="1657"/>
                    </a:lnTo>
                    <a:lnTo>
                      <a:pt x="1344" y="1657"/>
                    </a:lnTo>
                    <a:lnTo>
                      <a:pt x="1343" y="1658"/>
                    </a:lnTo>
                    <a:lnTo>
                      <a:pt x="1343" y="1657"/>
                    </a:lnTo>
                    <a:lnTo>
                      <a:pt x="1341" y="1657"/>
                    </a:lnTo>
                    <a:lnTo>
                      <a:pt x="1343" y="1658"/>
                    </a:lnTo>
                    <a:lnTo>
                      <a:pt x="1341" y="1658"/>
                    </a:lnTo>
                    <a:lnTo>
                      <a:pt x="1343" y="1658"/>
                    </a:lnTo>
                    <a:lnTo>
                      <a:pt x="1343" y="1660"/>
                    </a:lnTo>
                    <a:lnTo>
                      <a:pt x="1341" y="1658"/>
                    </a:lnTo>
                    <a:lnTo>
                      <a:pt x="1341" y="1660"/>
                    </a:lnTo>
                    <a:lnTo>
                      <a:pt x="1341" y="1658"/>
                    </a:lnTo>
                    <a:lnTo>
                      <a:pt x="1341" y="1660"/>
                    </a:lnTo>
                    <a:lnTo>
                      <a:pt x="1339" y="1658"/>
                    </a:lnTo>
                    <a:lnTo>
                      <a:pt x="1339" y="1660"/>
                    </a:lnTo>
                    <a:lnTo>
                      <a:pt x="1338" y="1660"/>
                    </a:lnTo>
                    <a:lnTo>
                      <a:pt x="1338" y="1658"/>
                    </a:lnTo>
                    <a:lnTo>
                      <a:pt x="1339" y="1658"/>
                    </a:lnTo>
                    <a:lnTo>
                      <a:pt x="1339" y="1657"/>
                    </a:lnTo>
                    <a:lnTo>
                      <a:pt x="1339" y="1655"/>
                    </a:lnTo>
                    <a:close/>
                    <a:moveTo>
                      <a:pt x="1212" y="1007"/>
                    </a:moveTo>
                    <a:lnTo>
                      <a:pt x="1213" y="1007"/>
                    </a:lnTo>
                    <a:lnTo>
                      <a:pt x="1215" y="1009"/>
                    </a:lnTo>
                    <a:lnTo>
                      <a:pt x="1217" y="1009"/>
                    </a:lnTo>
                    <a:lnTo>
                      <a:pt x="1217" y="1010"/>
                    </a:lnTo>
                    <a:lnTo>
                      <a:pt x="1219" y="1010"/>
                    </a:lnTo>
                    <a:lnTo>
                      <a:pt x="1219" y="1012"/>
                    </a:lnTo>
                    <a:lnTo>
                      <a:pt x="1219" y="1010"/>
                    </a:lnTo>
                    <a:lnTo>
                      <a:pt x="1217" y="1010"/>
                    </a:lnTo>
                    <a:lnTo>
                      <a:pt x="1215" y="1010"/>
                    </a:lnTo>
                    <a:lnTo>
                      <a:pt x="1213" y="1010"/>
                    </a:lnTo>
                    <a:lnTo>
                      <a:pt x="1213" y="1009"/>
                    </a:lnTo>
                    <a:lnTo>
                      <a:pt x="1212" y="1009"/>
                    </a:lnTo>
                    <a:lnTo>
                      <a:pt x="1210" y="1009"/>
                    </a:lnTo>
                    <a:lnTo>
                      <a:pt x="1210" y="1007"/>
                    </a:lnTo>
                    <a:lnTo>
                      <a:pt x="1212" y="1007"/>
                    </a:lnTo>
                    <a:close/>
                    <a:moveTo>
                      <a:pt x="1263" y="1609"/>
                    </a:moveTo>
                    <a:lnTo>
                      <a:pt x="1264" y="1611"/>
                    </a:lnTo>
                    <a:lnTo>
                      <a:pt x="1264" y="1612"/>
                    </a:lnTo>
                    <a:lnTo>
                      <a:pt x="1266" y="1612"/>
                    </a:lnTo>
                    <a:lnTo>
                      <a:pt x="1266" y="1614"/>
                    </a:lnTo>
                    <a:lnTo>
                      <a:pt x="1266" y="1612"/>
                    </a:lnTo>
                    <a:lnTo>
                      <a:pt x="1266" y="1614"/>
                    </a:lnTo>
                    <a:lnTo>
                      <a:pt x="1268" y="1614"/>
                    </a:lnTo>
                    <a:lnTo>
                      <a:pt x="1266" y="1614"/>
                    </a:lnTo>
                    <a:lnTo>
                      <a:pt x="1266" y="1616"/>
                    </a:lnTo>
                    <a:lnTo>
                      <a:pt x="1266" y="1618"/>
                    </a:lnTo>
                    <a:lnTo>
                      <a:pt x="1266" y="1616"/>
                    </a:lnTo>
                    <a:lnTo>
                      <a:pt x="1264" y="1616"/>
                    </a:lnTo>
                    <a:lnTo>
                      <a:pt x="1264" y="1614"/>
                    </a:lnTo>
                    <a:lnTo>
                      <a:pt x="1264" y="1612"/>
                    </a:lnTo>
                    <a:lnTo>
                      <a:pt x="1263" y="1614"/>
                    </a:lnTo>
                    <a:lnTo>
                      <a:pt x="1263" y="1612"/>
                    </a:lnTo>
                    <a:lnTo>
                      <a:pt x="1263" y="1611"/>
                    </a:lnTo>
                    <a:lnTo>
                      <a:pt x="1263" y="1612"/>
                    </a:lnTo>
                    <a:lnTo>
                      <a:pt x="1261" y="1612"/>
                    </a:lnTo>
                    <a:lnTo>
                      <a:pt x="1261" y="1611"/>
                    </a:lnTo>
                    <a:lnTo>
                      <a:pt x="1263" y="1609"/>
                    </a:lnTo>
                    <a:close/>
                    <a:moveTo>
                      <a:pt x="1168" y="1417"/>
                    </a:moveTo>
                    <a:lnTo>
                      <a:pt x="1169" y="1417"/>
                    </a:lnTo>
                    <a:lnTo>
                      <a:pt x="1169" y="1418"/>
                    </a:lnTo>
                    <a:lnTo>
                      <a:pt x="1168" y="1420"/>
                    </a:lnTo>
                    <a:lnTo>
                      <a:pt x="1166" y="1420"/>
                    </a:lnTo>
                    <a:lnTo>
                      <a:pt x="1168" y="1418"/>
                    </a:lnTo>
                    <a:lnTo>
                      <a:pt x="1166" y="1418"/>
                    </a:lnTo>
                    <a:lnTo>
                      <a:pt x="1164" y="1418"/>
                    </a:lnTo>
                    <a:lnTo>
                      <a:pt x="1164" y="1420"/>
                    </a:lnTo>
                    <a:lnTo>
                      <a:pt x="1162" y="1420"/>
                    </a:lnTo>
                    <a:lnTo>
                      <a:pt x="1162" y="1418"/>
                    </a:lnTo>
                    <a:lnTo>
                      <a:pt x="1164" y="1417"/>
                    </a:lnTo>
                    <a:lnTo>
                      <a:pt x="1166" y="1417"/>
                    </a:lnTo>
                    <a:lnTo>
                      <a:pt x="1168" y="1417"/>
                    </a:lnTo>
                    <a:close/>
                    <a:moveTo>
                      <a:pt x="1203" y="1075"/>
                    </a:moveTo>
                    <a:lnTo>
                      <a:pt x="1203" y="1077"/>
                    </a:lnTo>
                    <a:lnTo>
                      <a:pt x="1202" y="1077"/>
                    </a:lnTo>
                    <a:lnTo>
                      <a:pt x="1200" y="1078"/>
                    </a:lnTo>
                    <a:lnTo>
                      <a:pt x="1202" y="1077"/>
                    </a:lnTo>
                    <a:lnTo>
                      <a:pt x="1203" y="1077"/>
                    </a:lnTo>
                    <a:lnTo>
                      <a:pt x="1202" y="1078"/>
                    </a:lnTo>
                    <a:lnTo>
                      <a:pt x="1203" y="1077"/>
                    </a:lnTo>
                    <a:lnTo>
                      <a:pt x="1205" y="1077"/>
                    </a:lnTo>
                    <a:lnTo>
                      <a:pt x="1205" y="1078"/>
                    </a:lnTo>
                    <a:lnTo>
                      <a:pt x="1203" y="1078"/>
                    </a:lnTo>
                    <a:lnTo>
                      <a:pt x="1202" y="1078"/>
                    </a:lnTo>
                    <a:lnTo>
                      <a:pt x="1200" y="1078"/>
                    </a:lnTo>
                    <a:lnTo>
                      <a:pt x="1200" y="1077"/>
                    </a:lnTo>
                    <a:lnTo>
                      <a:pt x="1202" y="1075"/>
                    </a:lnTo>
                    <a:lnTo>
                      <a:pt x="1203" y="1075"/>
                    </a:lnTo>
                    <a:close/>
                    <a:moveTo>
                      <a:pt x="1222" y="1071"/>
                    </a:moveTo>
                    <a:lnTo>
                      <a:pt x="1222" y="1073"/>
                    </a:lnTo>
                    <a:lnTo>
                      <a:pt x="1224" y="1071"/>
                    </a:lnTo>
                    <a:lnTo>
                      <a:pt x="1224" y="1073"/>
                    </a:lnTo>
                    <a:lnTo>
                      <a:pt x="1225" y="1075"/>
                    </a:lnTo>
                    <a:lnTo>
                      <a:pt x="1224" y="1075"/>
                    </a:lnTo>
                    <a:lnTo>
                      <a:pt x="1222" y="1075"/>
                    </a:lnTo>
                    <a:lnTo>
                      <a:pt x="1220" y="1075"/>
                    </a:lnTo>
                    <a:lnTo>
                      <a:pt x="1220" y="1073"/>
                    </a:lnTo>
                    <a:lnTo>
                      <a:pt x="1222" y="1071"/>
                    </a:lnTo>
                    <a:close/>
                    <a:moveTo>
                      <a:pt x="1229" y="954"/>
                    </a:moveTo>
                    <a:lnTo>
                      <a:pt x="1229" y="956"/>
                    </a:lnTo>
                    <a:lnTo>
                      <a:pt x="1230" y="956"/>
                    </a:lnTo>
                    <a:lnTo>
                      <a:pt x="1230" y="957"/>
                    </a:lnTo>
                    <a:lnTo>
                      <a:pt x="1230" y="959"/>
                    </a:lnTo>
                    <a:lnTo>
                      <a:pt x="1229" y="957"/>
                    </a:lnTo>
                    <a:lnTo>
                      <a:pt x="1227" y="957"/>
                    </a:lnTo>
                    <a:lnTo>
                      <a:pt x="1227" y="956"/>
                    </a:lnTo>
                    <a:lnTo>
                      <a:pt x="1225" y="956"/>
                    </a:lnTo>
                    <a:lnTo>
                      <a:pt x="1227" y="956"/>
                    </a:lnTo>
                    <a:lnTo>
                      <a:pt x="1229" y="956"/>
                    </a:lnTo>
                    <a:lnTo>
                      <a:pt x="1227" y="956"/>
                    </a:lnTo>
                    <a:lnTo>
                      <a:pt x="1227" y="954"/>
                    </a:lnTo>
                    <a:lnTo>
                      <a:pt x="1227" y="952"/>
                    </a:lnTo>
                    <a:lnTo>
                      <a:pt x="1227" y="954"/>
                    </a:lnTo>
                    <a:lnTo>
                      <a:pt x="1227" y="952"/>
                    </a:lnTo>
                    <a:lnTo>
                      <a:pt x="1229" y="952"/>
                    </a:lnTo>
                    <a:lnTo>
                      <a:pt x="1229" y="954"/>
                    </a:lnTo>
                    <a:close/>
                    <a:moveTo>
                      <a:pt x="1208" y="1073"/>
                    </a:moveTo>
                    <a:lnTo>
                      <a:pt x="1208" y="1075"/>
                    </a:lnTo>
                    <a:lnTo>
                      <a:pt x="1207" y="1075"/>
                    </a:lnTo>
                    <a:lnTo>
                      <a:pt x="1207" y="1077"/>
                    </a:lnTo>
                    <a:lnTo>
                      <a:pt x="1208" y="1077"/>
                    </a:lnTo>
                    <a:lnTo>
                      <a:pt x="1208" y="1078"/>
                    </a:lnTo>
                    <a:lnTo>
                      <a:pt x="1207" y="1078"/>
                    </a:lnTo>
                    <a:lnTo>
                      <a:pt x="1205" y="1077"/>
                    </a:lnTo>
                    <a:lnTo>
                      <a:pt x="1205" y="1075"/>
                    </a:lnTo>
                    <a:lnTo>
                      <a:pt x="1203" y="1075"/>
                    </a:lnTo>
                    <a:lnTo>
                      <a:pt x="1205" y="1075"/>
                    </a:lnTo>
                    <a:lnTo>
                      <a:pt x="1207" y="1073"/>
                    </a:lnTo>
                    <a:lnTo>
                      <a:pt x="1207" y="1075"/>
                    </a:lnTo>
                    <a:lnTo>
                      <a:pt x="1208" y="1075"/>
                    </a:lnTo>
                    <a:lnTo>
                      <a:pt x="1207" y="1073"/>
                    </a:lnTo>
                    <a:lnTo>
                      <a:pt x="1208" y="1073"/>
                    </a:lnTo>
                    <a:close/>
                    <a:moveTo>
                      <a:pt x="1166" y="1420"/>
                    </a:moveTo>
                    <a:lnTo>
                      <a:pt x="1168" y="1422"/>
                    </a:lnTo>
                    <a:lnTo>
                      <a:pt x="1166" y="1422"/>
                    </a:lnTo>
                    <a:lnTo>
                      <a:pt x="1166" y="1424"/>
                    </a:lnTo>
                    <a:lnTo>
                      <a:pt x="1164" y="1424"/>
                    </a:lnTo>
                    <a:lnTo>
                      <a:pt x="1162" y="1424"/>
                    </a:lnTo>
                    <a:lnTo>
                      <a:pt x="1162" y="1425"/>
                    </a:lnTo>
                    <a:lnTo>
                      <a:pt x="1162" y="1424"/>
                    </a:lnTo>
                    <a:lnTo>
                      <a:pt x="1161" y="1424"/>
                    </a:lnTo>
                    <a:lnTo>
                      <a:pt x="1161" y="1422"/>
                    </a:lnTo>
                    <a:lnTo>
                      <a:pt x="1162" y="1422"/>
                    </a:lnTo>
                    <a:lnTo>
                      <a:pt x="1164" y="1422"/>
                    </a:lnTo>
                    <a:lnTo>
                      <a:pt x="1162" y="1422"/>
                    </a:lnTo>
                    <a:lnTo>
                      <a:pt x="1164" y="1420"/>
                    </a:lnTo>
                    <a:lnTo>
                      <a:pt x="1164" y="1422"/>
                    </a:lnTo>
                    <a:lnTo>
                      <a:pt x="1164" y="1420"/>
                    </a:lnTo>
                    <a:lnTo>
                      <a:pt x="1166" y="1420"/>
                    </a:lnTo>
                    <a:close/>
                    <a:moveTo>
                      <a:pt x="1247" y="968"/>
                    </a:moveTo>
                    <a:lnTo>
                      <a:pt x="1247" y="969"/>
                    </a:lnTo>
                    <a:lnTo>
                      <a:pt x="1247" y="971"/>
                    </a:lnTo>
                    <a:lnTo>
                      <a:pt x="1247" y="973"/>
                    </a:lnTo>
                    <a:lnTo>
                      <a:pt x="1246" y="973"/>
                    </a:lnTo>
                    <a:lnTo>
                      <a:pt x="1246" y="971"/>
                    </a:lnTo>
                    <a:lnTo>
                      <a:pt x="1244" y="971"/>
                    </a:lnTo>
                    <a:lnTo>
                      <a:pt x="1242" y="971"/>
                    </a:lnTo>
                    <a:lnTo>
                      <a:pt x="1244" y="969"/>
                    </a:lnTo>
                    <a:lnTo>
                      <a:pt x="1244" y="968"/>
                    </a:lnTo>
                    <a:lnTo>
                      <a:pt x="1246" y="968"/>
                    </a:lnTo>
                    <a:lnTo>
                      <a:pt x="1244" y="969"/>
                    </a:lnTo>
                    <a:lnTo>
                      <a:pt x="1246" y="968"/>
                    </a:lnTo>
                    <a:lnTo>
                      <a:pt x="1247" y="968"/>
                    </a:lnTo>
                    <a:close/>
                    <a:moveTo>
                      <a:pt x="1188" y="1099"/>
                    </a:moveTo>
                    <a:lnTo>
                      <a:pt x="1186" y="1100"/>
                    </a:lnTo>
                    <a:lnTo>
                      <a:pt x="1186" y="1102"/>
                    </a:lnTo>
                    <a:lnTo>
                      <a:pt x="1185" y="1102"/>
                    </a:lnTo>
                    <a:lnTo>
                      <a:pt x="1183" y="1102"/>
                    </a:lnTo>
                    <a:lnTo>
                      <a:pt x="1181" y="1100"/>
                    </a:lnTo>
                    <a:lnTo>
                      <a:pt x="1181" y="1099"/>
                    </a:lnTo>
                    <a:lnTo>
                      <a:pt x="1183" y="1100"/>
                    </a:lnTo>
                    <a:lnTo>
                      <a:pt x="1185" y="1100"/>
                    </a:lnTo>
                    <a:lnTo>
                      <a:pt x="1186" y="1099"/>
                    </a:lnTo>
                    <a:lnTo>
                      <a:pt x="1186" y="1100"/>
                    </a:lnTo>
                    <a:lnTo>
                      <a:pt x="1186" y="1099"/>
                    </a:lnTo>
                    <a:lnTo>
                      <a:pt x="1188" y="1099"/>
                    </a:lnTo>
                    <a:close/>
                    <a:moveTo>
                      <a:pt x="1169" y="1133"/>
                    </a:moveTo>
                    <a:lnTo>
                      <a:pt x="1169" y="1134"/>
                    </a:lnTo>
                    <a:lnTo>
                      <a:pt x="1171" y="1134"/>
                    </a:lnTo>
                    <a:lnTo>
                      <a:pt x="1169" y="1134"/>
                    </a:lnTo>
                    <a:lnTo>
                      <a:pt x="1168" y="1134"/>
                    </a:lnTo>
                    <a:lnTo>
                      <a:pt x="1169" y="1134"/>
                    </a:lnTo>
                    <a:lnTo>
                      <a:pt x="1171" y="1134"/>
                    </a:lnTo>
                    <a:lnTo>
                      <a:pt x="1171" y="1136"/>
                    </a:lnTo>
                    <a:lnTo>
                      <a:pt x="1171" y="1138"/>
                    </a:lnTo>
                    <a:lnTo>
                      <a:pt x="1171" y="1140"/>
                    </a:lnTo>
                    <a:lnTo>
                      <a:pt x="1171" y="1138"/>
                    </a:lnTo>
                    <a:lnTo>
                      <a:pt x="1169" y="1138"/>
                    </a:lnTo>
                    <a:lnTo>
                      <a:pt x="1169" y="1136"/>
                    </a:lnTo>
                    <a:lnTo>
                      <a:pt x="1168" y="1136"/>
                    </a:lnTo>
                    <a:lnTo>
                      <a:pt x="1168" y="1134"/>
                    </a:lnTo>
                    <a:lnTo>
                      <a:pt x="1168" y="1133"/>
                    </a:lnTo>
                    <a:lnTo>
                      <a:pt x="1169" y="1133"/>
                    </a:lnTo>
                    <a:close/>
                    <a:moveTo>
                      <a:pt x="1185" y="1240"/>
                    </a:moveTo>
                    <a:lnTo>
                      <a:pt x="1185" y="1242"/>
                    </a:lnTo>
                    <a:lnTo>
                      <a:pt x="1183" y="1242"/>
                    </a:lnTo>
                    <a:lnTo>
                      <a:pt x="1183" y="1243"/>
                    </a:lnTo>
                    <a:lnTo>
                      <a:pt x="1181" y="1243"/>
                    </a:lnTo>
                    <a:lnTo>
                      <a:pt x="1181" y="1245"/>
                    </a:lnTo>
                    <a:lnTo>
                      <a:pt x="1179" y="1245"/>
                    </a:lnTo>
                    <a:lnTo>
                      <a:pt x="1179" y="1243"/>
                    </a:lnTo>
                    <a:lnTo>
                      <a:pt x="1181" y="1243"/>
                    </a:lnTo>
                    <a:lnTo>
                      <a:pt x="1181" y="1242"/>
                    </a:lnTo>
                    <a:lnTo>
                      <a:pt x="1181" y="1240"/>
                    </a:lnTo>
                    <a:lnTo>
                      <a:pt x="1183" y="1240"/>
                    </a:lnTo>
                    <a:lnTo>
                      <a:pt x="1185" y="1240"/>
                    </a:lnTo>
                    <a:close/>
                    <a:moveTo>
                      <a:pt x="1205" y="1026"/>
                    </a:moveTo>
                    <a:lnTo>
                      <a:pt x="1207" y="1026"/>
                    </a:lnTo>
                    <a:lnTo>
                      <a:pt x="1207" y="1027"/>
                    </a:lnTo>
                    <a:lnTo>
                      <a:pt x="1208" y="1027"/>
                    </a:lnTo>
                    <a:lnTo>
                      <a:pt x="1207" y="1027"/>
                    </a:lnTo>
                    <a:lnTo>
                      <a:pt x="1207" y="1029"/>
                    </a:lnTo>
                    <a:lnTo>
                      <a:pt x="1205" y="1029"/>
                    </a:lnTo>
                    <a:lnTo>
                      <a:pt x="1205" y="1027"/>
                    </a:lnTo>
                    <a:lnTo>
                      <a:pt x="1203" y="1029"/>
                    </a:lnTo>
                    <a:lnTo>
                      <a:pt x="1203" y="1027"/>
                    </a:lnTo>
                    <a:lnTo>
                      <a:pt x="1203" y="1026"/>
                    </a:lnTo>
                    <a:lnTo>
                      <a:pt x="1205" y="1026"/>
                    </a:lnTo>
                    <a:close/>
                    <a:moveTo>
                      <a:pt x="1154" y="1282"/>
                    </a:moveTo>
                    <a:lnTo>
                      <a:pt x="1156" y="1284"/>
                    </a:lnTo>
                    <a:lnTo>
                      <a:pt x="1156" y="1286"/>
                    </a:lnTo>
                    <a:lnTo>
                      <a:pt x="1156" y="1288"/>
                    </a:lnTo>
                    <a:lnTo>
                      <a:pt x="1154" y="1288"/>
                    </a:lnTo>
                    <a:lnTo>
                      <a:pt x="1154" y="1286"/>
                    </a:lnTo>
                    <a:lnTo>
                      <a:pt x="1154" y="1288"/>
                    </a:lnTo>
                    <a:lnTo>
                      <a:pt x="1152" y="1288"/>
                    </a:lnTo>
                    <a:lnTo>
                      <a:pt x="1154" y="1286"/>
                    </a:lnTo>
                    <a:lnTo>
                      <a:pt x="1152" y="1286"/>
                    </a:lnTo>
                    <a:lnTo>
                      <a:pt x="1152" y="1288"/>
                    </a:lnTo>
                    <a:lnTo>
                      <a:pt x="1151" y="1288"/>
                    </a:lnTo>
                    <a:lnTo>
                      <a:pt x="1152" y="1286"/>
                    </a:lnTo>
                    <a:lnTo>
                      <a:pt x="1152" y="1284"/>
                    </a:lnTo>
                    <a:lnTo>
                      <a:pt x="1154" y="1284"/>
                    </a:lnTo>
                    <a:lnTo>
                      <a:pt x="1154" y="1282"/>
                    </a:lnTo>
                    <a:close/>
                    <a:moveTo>
                      <a:pt x="1193" y="1071"/>
                    </a:moveTo>
                    <a:lnTo>
                      <a:pt x="1193" y="1073"/>
                    </a:lnTo>
                    <a:lnTo>
                      <a:pt x="1193" y="1075"/>
                    </a:lnTo>
                    <a:lnTo>
                      <a:pt x="1193" y="1077"/>
                    </a:lnTo>
                    <a:lnTo>
                      <a:pt x="1191" y="1077"/>
                    </a:lnTo>
                    <a:lnTo>
                      <a:pt x="1191" y="1075"/>
                    </a:lnTo>
                    <a:lnTo>
                      <a:pt x="1190" y="1075"/>
                    </a:lnTo>
                    <a:lnTo>
                      <a:pt x="1191" y="1073"/>
                    </a:lnTo>
                    <a:lnTo>
                      <a:pt x="1191" y="1071"/>
                    </a:lnTo>
                    <a:lnTo>
                      <a:pt x="1193" y="1071"/>
                    </a:lnTo>
                    <a:close/>
                    <a:moveTo>
                      <a:pt x="1176" y="1381"/>
                    </a:moveTo>
                    <a:lnTo>
                      <a:pt x="1176" y="1383"/>
                    </a:lnTo>
                    <a:lnTo>
                      <a:pt x="1176" y="1384"/>
                    </a:lnTo>
                    <a:lnTo>
                      <a:pt x="1176" y="1386"/>
                    </a:lnTo>
                    <a:lnTo>
                      <a:pt x="1174" y="1386"/>
                    </a:lnTo>
                    <a:lnTo>
                      <a:pt x="1173" y="1386"/>
                    </a:lnTo>
                    <a:lnTo>
                      <a:pt x="1174" y="1386"/>
                    </a:lnTo>
                    <a:lnTo>
                      <a:pt x="1174" y="1384"/>
                    </a:lnTo>
                    <a:lnTo>
                      <a:pt x="1174" y="1383"/>
                    </a:lnTo>
                    <a:lnTo>
                      <a:pt x="1173" y="1384"/>
                    </a:lnTo>
                    <a:lnTo>
                      <a:pt x="1174" y="1383"/>
                    </a:lnTo>
                    <a:lnTo>
                      <a:pt x="1173" y="1383"/>
                    </a:lnTo>
                    <a:lnTo>
                      <a:pt x="1174" y="1381"/>
                    </a:lnTo>
                    <a:lnTo>
                      <a:pt x="1176" y="1381"/>
                    </a:lnTo>
                    <a:close/>
                    <a:moveTo>
                      <a:pt x="1253" y="1597"/>
                    </a:moveTo>
                    <a:lnTo>
                      <a:pt x="1254" y="1597"/>
                    </a:lnTo>
                    <a:lnTo>
                      <a:pt x="1254" y="1599"/>
                    </a:lnTo>
                    <a:lnTo>
                      <a:pt x="1256" y="1597"/>
                    </a:lnTo>
                    <a:lnTo>
                      <a:pt x="1254" y="1599"/>
                    </a:lnTo>
                    <a:lnTo>
                      <a:pt x="1256" y="1599"/>
                    </a:lnTo>
                    <a:lnTo>
                      <a:pt x="1256" y="1600"/>
                    </a:lnTo>
                    <a:lnTo>
                      <a:pt x="1254" y="1602"/>
                    </a:lnTo>
                    <a:lnTo>
                      <a:pt x="1254" y="1600"/>
                    </a:lnTo>
                    <a:lnTo>
                      <a:pt x="1254" y="1599"/>
                    </a:lnTo>
                    <a:lnTo>
                      <a:pt x="1254" y="1600"/>
                    </a:lnTo>
                    <a:lnTo>
                      <a:pt x="1253" y="1602"/>
                    </a:lnTo>
                    <a:lnTo>
                      <a:pt x="1253" y="1600"/>
                    </a:lnTo>
                    <a:lnTo>
                      <a:pt x="1251" y="1599"/>
                    </a:lnTo>
                    <a:lnTo>
                      <a:pt x="1251" y="1597"/>
                    </a:lnTo>
                    <a:lnTo>
                      <a:pt x="1253" y="1597"/>
                    </a:lnTo>
                    <a:close/>
                    <a:moveTo>
                      <a:pt x="1414" y="1669"/>
                    </a:moveTo>
                    <a:lnTo>
                      <a:pt x="1414" y="1670"/>
                    </a:lnTo>
                    <a:lnTo>
                      <a:pt x="1412" y="1670"/>
                    </a:lnTo>
                    <a:lnTo>
                      <a:pt x="1412" y="1672"/>
                    </a:lnTo>
                    <a:lnTo>
                      <a:pt x="1412" y="1674"/>
                    </a:lnTo>
                    <a:lnTo>
                      <a:pt x="1412" y="1672"/>
                    </a:lnTo>
                    <a:lnTo>
                      <a:pt x="1411" y="1674"/>
                    </a:lnTo>
                    <a:lnTo>
                      <a:pt x="1409" y="1674"/>
                    </a:lnTo>
                    <a:lnTo>
                      <a:pt x="1411" y="1674"/>
                    </a:lnTo>
                    <a:lnTo>
                      <a:pt x="1409" y="1672"/>
                    </a:lnTo>
                    <a:lnTo>
                      <a:pt x="1411" y="1672"/>
                    </a:lnTo>
                    <a:lnTo>
                      <a:pt x="1411" y="1670"/>
                    </a:lnTo>
                    <a:lnTo>
                      <a:pt x="1412" y="1670"/>
                    </a:lnTo>
                    <a:lnTo>
                      <a:pt x="1411" y="1670"/>
                    </a:lnTo>
                    <a:lnTo>
                      <a:pt x="1411" y="1669"/>
                    </a:lnTo>
                    <a:lnTo>
                      <a:pt x="1412" y="1667"/>
                    </a:lnTo>
                    <a:lnTo>
                      <a:pt x="1412" y="1669"/>
                    </a:lnTo>
                    <a:lnTo>
                      <a:pt x="1414" y="1669"/>
                    </a:lnTo>
                    <a:close/>
                    <a:moveTo>
                      <a:pt x="1205" y="1049"/>
                    </a:moveTo>
                    <a:lnTo>
                      <a:pt x="1205" y="1051"/>
                    </a:lnTo>
                    <a:lnTo>
                      <a:pt x="1205" y="1053"/>
                    </a:lnTo>
                    <a:lnTo>
                      <a:pt x="1205" y="1051"/>
                    </a:lnTo>
                    <a:lnTo>
                      <a:pt x="1205" y="1053"/>
                    </a:lnTo>
                    <a:lnTo>
                      <a:pt x="1203" y="1053"/>
                    </a:lnTo>
                    <a:lnTo>
                      <a:pt x="1202" y="1053"/>
                    </a:lnTo>
                    <a:lnTo>
                      <a:pt x="1202" y="1051"/>
                    </a:lnTo>
                    <a:lnTo>
                      <a:pt x="1200" y="1051"/>
                    </a:lnTo>
                    <a:lnTo>
                      <a:pt x="1202" y="1049"/>
                    </a:lnTo>
                    <a:lnTo>
                      <a:pt x="1202" y="1051"/>
                    </a:lnTo>
                    <a:lnTo>
                      <a:pt x="1203" y="1049"/>
                    </a:lnTo>
                    <a:lnTo>
                      <a:pt x="1203" y="1051"/>
                    </a:lnTo>
                    <a:lnTo>
                      <a:pt x="1203" y="1049"/>
                    </a:lnTo>
                    <a:lnTo>
                      <a:pt x="1205" y="1049"/>
                    </a:lnTo>
                    <a:close/>
                    <a:moveTo>
                      <a:pt x="1217" y="1551"/>
                    </a:moveTo>
                    <a:lnTo>
                      <a:pt x="1219" y="1551"/>
                    </a:lnTo>
                    <a:lnTo>
                      <a:pt x="1220" y="1553"/>
                    </a:lnTo>
                    <a:lnTo>
                      <a:pt x="1222" y="1555"/>
                    </a:lnTo>
                    <a:lnTo>
                      <a:pt x="1220" y="1555"/>
                    </a:lnTo>
                    <a:lnTo>
                      <a:pt x="1222" y="1555"/>
                    </a:lnTo>
                    <a:lnTo>
                      <a:pt x="1220" y="1555"/>
                    </a:lnTo>
                    <a:lnTo>
                      <a:pt x="1219" y="1553"/>
                    </a:lnTo>
                    <a:lnTo>
                      <a:pt x="1217" y="1551"/>
                    </a:lnTo>
                    <a:lnTo>
                      <a:pt x="1219" y="1553"/>
                    </a:lnTo>
                    <a:lnTo>
                      <a:pt x="1217" y="1553"/>
                    </a:lnTo>
                    <a:lnTo>
                      <a:pt x="1215" y="1553"/>
                    </a:lnTo>
                    <a:lnTo>
                      <a:pt x="1215" y="1555"/>
                    </a:lnTo>
                    <a:lnTo>
                      <a:pt x="1213" y="1553"/>
                    </a:lnTo>
                    <a:lnTo>
                      <a:pt x="1215" y="1553"/>
                    </a:lnTo>
                    <a:lnTo>
                      <a:pt x="1215" y="1551"/>
                    </a:lnTo>
                    <a:lnTo>
                      <a:pt x="1217" y="1551"/>
                    </a:lnTo>
                    <a:close/>
                    <a:moveTo>
                      <a:pt x="1361" y="1653"/>
                    </a:moveTo>
                    <a:lnTo>
                      <a:pt x="1361" y="1655"/>
                    </a:lnTo>
                    <a:lnTo>
                      <a:pt x="1363" y="1655"/>
                    </a:lnTo>
                    <a:lnTo>
                      <a:pt x="1363" y="1657"/>
                    </a:lnTo>
                    <a:lnTo>
                      <a:pt x="1361" y="1657"/>
                    </a:lnTo>
                    <a:lnTo>
                      <a:pt x="1363" y="1657"/>
                    </a:lnTo>
                    <a:lnTo>
                      <a:pt x="1365" y="1657"/>
                    </a:lnTo>
                    <a:lnTo>
                      <a:pt x="1365" y="1658"/>
                    </a:lnTo>
                    <a:lnTo>
                      <a:pt x="1366" y="1658"/>
                    </a:lnTo>
                    <a:lnTo>
                      <a:pt x="1366" y="1660"/>
                    </a:lnTo>
                    <a:lnTo>
                      <a:pt x="1365" y="1660"/>
                    </a:lnTo>
                    <a:lnTo>
                      <a:pt x="1365" y="1658"/>
                    </a:lnTo>
                    <a:lnTo>
                      <a:pt x="1363" y="1658"/>
                    </a:lnTo>
                    <a:lnTo>
                      <a:pt x="1363" y="1657"/>
                    </a:lnTo>
                    <a:lnTo>
                      <a:pt x="1361" y="1657"/>
                    </a:lnTo>
                    <a:lnTo>
                      <a:pt x="1361" y="1655"/>
                    </a:lnTo>
                    <a:lnTo>
                      <a:pt x="1360" y="1653"/>
                    </a:lnTo>
                    <a:lnTo>
                      <a:pt x="1358" y="1653"/>
                    </a:lnTo>
                    <a:lnTo>
                      <a:pt x="1360" y="1652"/>
                    </a:lnTo>
                    <a:lnTo>
                      <a:pt x="1361" y="1653"/>
                    </a:lnTo>
                    <a:close/>
                    <a:moveTo>
                      <a:pt x="1171" y="1247"/>
                    </a:moveTo>
                    <a:lnTo>
                      <a:pt x="1173" y="1248"/>
                    </a:lnTo>
                    <a:lnTo>
                      <a:pt x="1173" y="1250"/>
                    </a:lnTo>
                    <a:lnTo>
                      <a:pt x="1173" y="1252"/>
                    </a:lnTo>
                    <a:lnTo>
                      <a:pt x="1173" y="1253"/>
                    </a:lnTo>
                    <a:lnTo>
                      <a:pt x="1171" y="1252"/>
                    </a:lnTo>
                    <a:lnTo>
                      <a:pt x="1173" y="1253"/>
                    </a:lnTo>
                    <a:lnTo>
                      <a:pt x="1173" y="1252"/>
                    </a:lnTo>
                    <a:lnTo>
                      <a:pt x="1171" y="1252"/>
                    </a:lnTo>
                    <a:lnTo>
                      <a:pt x="1171" y="1250"/>
                    </a:lnTo>
                    <a:lnTo>
                      <a:pt x="1171" y="1248"/>
                    </a:lnTo>
                    <a:lnTo>
                      <a:pt x="1171" y="1247"/>
                    </a:lnTo>
                    <a:close/>
                    <a:moveTo>
                      <a:pt x="1370" y="1646"/>
                    </a:moveTo>
                    <a:lnTo>
                      <a:pt x="1370" y="1648"/>
                    </a:lnTo>
                    <a:lnTo>
                      <a:pt x="1368" y="1650"/>
                    </a:lnTo>
                    <a:lnTo>
                      <a:pt x="1370" y="1650"/>
                    </a:lnTo>
                    <a:lnTo>
                      <a:pt x="1368" y="1652"/>
                    </a:lnTo>
                    <a:lnTo>
                      <a:pt x="1368" y="1653"/>
                    </a:lnTo>
                    <a:lnTo>
                      <a:pt x="1366" y="1653"/>
                    </a:lnTo>
                    <a:lnTo>
                      <a:pt x="1368" y="1653"/>
                    </a:lnTo>
                    <a:lnTo>
                      <a:pt x="1366" y="1653"/>
                    </a:lnTo>
                    <a:lnTo>
                      <a:pt x="1366" y="1652"/>
                    </a:lnTo>
                    <a:lnTo>
                      <a:pt x="1366" y="1650"/>
                    </a:lnTo>
                    <a:lnTo>
                      <a:pt x="1368" y="1648"/>
                    </a:lnTo>
                    <a:lnTo>
                      <a:pt x="1368" y="1646"/>
                    </a:lnTo>
                    <a:lnTo>
                      <a:pt x="1370" y="1646"/>
                    </a:lnTo>
                    <a:close/>
                    <a:moveTo>
                      <a:pt x="1346" y="1658"/>
                    </a:moveTo>
                    <a:lnTo>
                      <a:pt x="1348" y="1658"/>
                    </a:lnTo>
                    <a:lnTo>
                      <a:pt x="1348" y="1660"/>
                    </a:lnTo>
                    <a:lnTo>
                      <a:pt x="1349" y="1660"/>
                    </a:lnTo>
                    <a:lnTo>
                      <a:pt x="1349" y="1662"/>
                    </a:lnTo>
                    <a:lnTo>
                      <a:pt x="1348" y="1663"/>
                    </a:lnTo>
                    <a:lnTo>
                      <a:pt x="1348" y="1662"/>
                    </a:lnTo>
                    <a:lnTo>
                      <a:pt x="1348" y="1660"/>
                    </a:lnTo>
                    <a:lnTo>
                      <a:pt x="1346" y="1660"/>
                    </a:lnTo>
                    <a:lnTo>
                      <a:pt x="1344" y="1660"/>
                    </a:lnTo>
                    <a:lnTo>
                      <a:pt x="1346" y="1658"/>
                    </a:lnTo>
                    <a:lnTo>
                      <a:pt x="1344" y="1658"/>
                    </a:lnTo>
                    <a:lnTo>
                      <a:pt x="1344" y="1657"/>
                    </a:lnTo>
                    <a:lnTo>
                      <a:pt x="1346" y="1658"/>
                    </a:lnTo>
                    <a:close/>
                    <a:moveTo>
                      <a:pt x="1179" y="1140"/>
                    </a:moveTo>
                    <a:lnTo>
                      <a:pt x="1179" y="1141"/>
                    </a:lnTo>
                    <a:lnTo>
                      <a:pt x="1181" y="1141"/>
                    </a:lnTo>
                    <a:lnTo>
                      <a:pt x="1181" y="1143"/>
                    </a:lnTo>
                    <a:lnTo>
                      <a:pt x="1179" y="1145"/>
                    </a:lnTo>
                    <a:lnTo>
                      <a:pt x="1179" y="1143"/>
                    </a:lnTo>
                    <a:lnTo>
                      <a:pt x="1178" y="1143"/>
                    </a:lnTo>
                    <a:lnTo>
                      <a:pt x="1176" y="1143"/>
                    </a:lnTo>
                    <a:lnTo>
                      <a:pt x="1178" y="1143"/>
                    </a:lnTo>
                    <a:lnTo>
                      <a:pt x="1178" y="1141"/>
                    </a:lnTo>
                    <a:lnTo>
                      <a:pt x="1178" y="1140"/>
                    </a:lnTo>
                    <a:lnTo>
                      <a:pt x="1179" y="1140"/>
                    </a:lnTo>
                    <a:close/>
                    <a:moveTo>
                      <a:pt x="1205" y="1453"/>
                    </a:moveTo>
                    <a:lnTo>
                      <a:pt x="1205" y="1454"/>
                    </a:lnTo>
                    <a:lnTo>
                      <a:pt x="1207" y="1454"/>
                    </a:lnTo>
                    <a:lnTo>
                      <a:pt x="1207" y="1456"/>
                    </a:lnTo>
                    <a:lnTo>
                      <a:pt x="1207" y="1458"/>
                    </a:lnTo>
                    <a:lnTo>
                      <a:pt x="1207" y="1459"/>
                    </a:lnTo>
                    <a:lnTo>
                      <a:pt x="1205" y="1458"/>
                    </a:lnTo>
                    <a:lnTo>
                      <a:pt x="1205" y="1456"/>
                    </a:lnTo>
                    <a:lnTo>
                      <a:pt x="1203" y="1456"/>
                    </a:lnTo>
                    <a:lnTo>
                      <a:pt x="1203" y="1454"/>
                    </a:lnTo>
                    <a:lnTo>
                      <a:pt x="1203" y="1453"/>
                    </a:lnTo>
                    <a:lnTo>
                      <a:pt x="1205" y="1453"/>
                    </a:lnTo>
                    <a:close/>
                    <a:moveTo>
                      <a:pt x="1429" y="1680"/>
                    </a:moveTo>
                    <a:lnTo>
                      <a:pt x="1429" y="1682"/>
                    </a:lnTo>
                    <a:lnTo>
                      <a:pt x="1428" y="1682"/>
                    </a:lnTo>
                    <a:lnTo>
                      <a:pt x="1429" y="1684"/>
                    </a:lnTo>
                    <a:lnTo>
                      <a:pt x="1429" y="1686"/>
                    </a:lnTo>
                    <a:lnTo>
                      <a:pt x="1431" y="1686"/>
                    </a:lnTo>
                    <a:lnTo>
                      <a:pt x="1429" y="1687"/>
                    </a:lnTo>
                    <a:lnTo>
                      <a:pt x="1429" y="1686"/>
                    </a:lnTo>
                    <a:lnTo>
                      <a:pt x="1428" y="1686"/>
                    </a:lnTo>
                    <a:lnTo>
                      <a:pt x="1426" y="1686"/>
                    </a:lnTo>
                    <a:lnTo>
                      <a:pt x="1426" y="1684"/>
                    </a:lnTo>
                    <a:lnTo>
                      <a:pt x="1428" y="1682"/>
                    </a:lnTo>
                    <a:lnTo>
                      <a:pt x="1429" y="1680"/>
                    </a:lnTo>
                    <a:close/>
                    <a:moveTo>
                      <a:pt x="1186" y="1073"/>
                    </a:moveTo>
                    <a:lnTo>
                      <a:pt x="1188" y="1073"/>
                    </a:lnTo>
                    <a:lnTo>
                      <a:pt x="1188" y="1075"/>
                    </a:lnTo>
                    <a:lnTo>
                      <a:pt x="1186" y="1075"/>
                    </a:lnTo>
                    <a:lnTo>
                      <a:pt x="1185" y="1075"/>
                    </a:lnTo>
                    <a:lnTo>
                      <a:pt x="1183" y="1075"/>
                    </a:lnTo>
                    <a:lnTo>
                      <a:pt x="1183" y="1077"/>
                    </a:lnTo>
                    <a:lnTo>
                      <a:pt x="1181" y="1075"/>
                    </a:lnTo>
                    <a:lnTo>
                      <a:pt x="1183" y="1075"/>
                    </a:lnTo>
                    <a:lnTo>
                      <a:pt x="1183" y="1073"/>
                    </a:lnTo>
                    <a:lnTo>
                      <a:pt x="1183" y="1075"/>
                    </a:lnTo>
                    <a:lnTo>
                      <a:pt x="1185" y="1075"/>
                    </a:lnTo>
                    <a:lnTo>
                      <a:pt x="1183" y="1073"/>
                    </a:lnTo>
                    <a:lnTo>
                      <a:pt x="1185" y="1073"/>
                    </a:lnTo>
                    <a:lnTo>
                      <a:pt x="1185" y="1071"/>
                    </a:lnTo>
                    <a:lnTo>
                      <a:pt x="1186" y="1073"/>
                    </a:lnTo>
                    <a:close/>
                    <a:moveTo>
                      <a:pt x="1202" y="1485"/>
                    </a:moveTo>
                    <a:lnTo>
                      <a:pt x="1202" y="1487"/>
                    </a:lnTo>
                    <a:lnTo>
                      <a:pt x="1200" y="1487"/>
                    </a:lnTo>
                    <a:lnTo>
                      <a:pt x="1200" y="1488"/>
                    </a:lnTo>
                    <a:lnTo>
                      <a:pt x="1198" y="1488"/>
                    </a:lnTo>
                    <a:lnTo>
                      <a:pt x="1196" y="1488"/>
                    </a:lnTo>
                    <a:lnTo>
                      <a:pt x="1198" y="1487"/>
                    </a:lnTo>
                    <a:lnTo>
                      <a:pt x="1198" y="1485"/>
                    </a:lnTo>
                    <a:lnTo>
                      <a:pt x="1200" y="1485"/>
                    </a:lnTo>
                    <a:lnTo>
                      <a:pt x="1202" y="1485"/>
                    </a:lnTo>
                    <a:close/>
                    <a:moveTo>
                      <a:pt x="1179" y="1242"/>
                    </a:moveTo>
                    <a:lnTo>
                      <a:pt x="1179" y="1243"/>
                    </a:lnTo>
                    <a:lnTo>
                      <a:pt x="1178" y="1243"/>
                    </a:lnTo>
                    <a:lnTo>
                      <a:pt x="1178" y="1245"/>
                    </a:lnTo>
                    <a:lnTo>
                      <a:pt x="1176" y="1245"/>
                    </a:lnTo>
                    <a:lnTo>
                      <a:pt x="1176" y="1243"/>
                    </a:lnTo>
                    <a:lnTo>
                      <a:pt x="1176" y="1242"/>
                    </a:lnTo>
                    <a:lnTo>
                      <a:pt x="1178" y="1242"/>
                    </a:lnTo>
                    <a:lnTo>
                      <a:pt x="1179" y="1242"/>
                    </a:lnTo>
                    <a:close/>
                    <a:moveTo>
                      <a:pt x="1196" y="1526"/>
                    </a:moveTo>
                    <a:lnTo>
                      <a:pt x="1198" y="1526"/>
                    </a:lnTo>
                    <a:lnTo>
                      <a:pt x="1196" y="1527"/>
                    </a:lnTo>
                    <a:lnTo>
                      <a:pt x="1198" y="1527"/>
                    </a:lnTo>
                    <a:lnTo>
                      <a:pt x="1200" y="1529"/>
                    </a:lnTo>
                    <a:lnTo>
                      <a:pt x="1200" y="1531"/>
                    </a:lnTo>
                    <a:lnTo>
                      <a:pt x="1200" y="1529"/>
                    </a:lnTo>
                    <a:lnTo>
                      <a:pt x="1198" y="1529"/>
                    </a:lnTo>
                    <a:lnTo>
                      <a:pt x="1198" y="1527"/>
                    </a:lnTo>
                    <a:lnTo>
                      <a:pt x="1198" y="1529"/>
                    </a:lnTo>
                    <a:lnTo>
                      <a:pt x="1196" y="1529"/>
                    </a:lnTo>
                    <a:lnTo>
                      <a:pt x="1196" y="1527"/>
                    </a:lnTo>
                    <a:lnTo>
                      <a:pt x="1195" y="1527"/>
                    </a:lnTo>
                    <a:lnTo>
                      <a:pt x="1195" y="1529"/>
                    </a:lnTo>
                    <a:lnTo>
                      <a:pt x="1195" y="1527"/>
                    </a:lnTo>
                    <a:lnTo>
                      <a:pt x="1193" y="1526"/>
                    </a:lnTo>
                    <a:lnTo>
                      <a:pt x="1195" y="1526"/>
                    </a:lnTo>
                    <a:lnTo>
                      <a:pt x="1196" y="1526"/>
                    </a:lnTo>
                    <a:close/>
                    <a:moveTo>
                      <a:pt x="1166" y="1435"/>
                    </a:moveTo>
                    <a:lnTo>
                      <a:pt x="1166" y="1437"/>
                    </a:lnTo>
                    <a:lnTo>
                      <a:pt x="1164" y="1437"/>
                    </a:lnTo>
                    <a:lnTo>
                      <a:pt x="1166" y="1437"/>
                    </a:lnTo>
                    <a:lnTo>
                      <a:pt x="1164" y="1437"/>
                    </a:lnTo>
                    <a:lnTo>
                      <a:pt x="1164" y="1435"/>
                    </a:lnTo>
                    <a:lnTo>
                      <a:pt x="1164" y="1437"/>
                    </a:lnTo>
                    <a:lnTo>
                      <a:pt x="1162" y="1437"/>
                    </a:lnTo>
                    <a:lnTo>
                      <a:pt x="1162" y="1435"/>
                    </a:lnTo>
                    <a:lnTo>
                      <a:pt x="1162" y="1434"/>
                    </a:lnTo>
                    <a:lnTo>
                      <a:pt x="1164" y="1434"/>
                    </a:lnTo>
                    <a:lnTo>
                      <a:pt x="1166" y="1432"/>
                    </a:lnTo>
                    <a:lnTo>
                      <a:pt x="1166" y="1434"/>
                    </a:lnTo>
                    <a:lnTo>
                      <a:pt x="1166" y="1435"/>
                    </a:lnTo>
                    <a:close/>
                    <a:moveTo>
                      <a:pt x="1217" y="1107"/>
                    </a:moveTo>
                    <a:lnTo>
                      <a:pt x="1217" y="1109"/>
                    </a:lnTo>
                    <a:lnTo>
                      <a:pt x="1219" y="1111"/>
                    </a:lnTo>
                    <a:lnTo>
                      <a:pt x="1219" y="1112"/>
                    </a:lnTo>
                    <a:lnTo>
                      <a:pt x="1217" y="1112"/>
                    </a:lnTo>
                    <a:lnTo>
                      <a:pt x="1215" y="1111"/>
                    </a:lnTo>
                    <a:lnTo>
                      <a:pt x="1215" y="1109"/>
                    </a:lnTo>
                    <a:lnTo>
                      <a:pt x="1215" y="1111"/>
                    </a:lnTo>
                    <a:lnTo>
                      <a:pt x="1215" y="1109"/>
                    </a:lnTo>
                    <a:lnTo>
                      <a:pt x="1215" y="1107"/>
                    </a:lnTo>
                    <a:lnTo>
                      <a:pt x="1217" y="1107"/>
                    </a:lnTo>
                    <a:close/>
                    <a:moveTo>
                      <a:pt x="1202" y="1141"/>
                    </a:moveTo>
                    <a:lnTo>
                      <a:pt x="1203" y="1141"/>
                    </a:lnTo>
                    <a:lnTo>
                      <a:pt x="1203" y="1143"/>
                    </a:lnTo>
                    <a:lnTo>
                      <a:pt x="1205" y="1143"/>
                    </a:lnTo>
                    <a:lnTo>
                      <a:pt x="1203" y="1143"/>
                    </a:lnTo>
                    <a:lnTo>
                      <a:pt x="1203" y="1145"/>
                    </a:lnTo>
                    <a:lnTo>
                      <a:pt x="1202" y="1145"/>
                    </a:lnTo>
                    <a:lnTo>
                      <a:pt x="1200" y="1145"/>
                    </a:lnTo>
                    <a:lnTo>
                      <a:pt x="1202" y="1143"/>
                    </a:lnTo>
                    <a:lnTo>
                      <a:pt x="1200" y="1145"/>
                    </a:lnTo>
                    <a:lnTo>
                      <a:pt x="1200" y="1143"/>
                    </a:lnTo>
                    <a:lnTo>
                      <a:pt x="1202" y="1141"/>
                    </a:lnTo>
                    <a:close/>
                    <a:moveTo>
                      <a:pt x="1168" y="1407"/>
                    </a:moveTo>
                    <a:lnTo>
                      <a:pt x="1169" y="1407"/>
                    </a:lnTo>
                    <a:lnTo>
                      <a:pt x="1168" y="1408"/>
                    </a:lnTo>
                    <a:lnTo>
                      <a:pt x="1166" y="1408"/>
                    </a:lnTo>
                    <a:lnTo>
                      <a:pt x="1166" y="1410"/>
                    </a:lnTo>
                    <a:lnTo>
                      <a:pt x="1164" y="1412"/>
                    </a:lnTo>
                    <a:lnTo>
                      <a:pt x="1164" y="1410"/>
                    </a:lnTo>
                    <a:lnTo>
                      <a:pt x="1166" y="1410"/>
                    </a:lnTo>
                    <a:lnTo>
                      <a:pt x="1166" y="1408"/>
                    </a:lnTo>
                    <a:lnTo>
                      <a:pt x="1164" y="1408"/>
                    </a:lnTo>
                    <a:lnTo>
                      <a:pt x="1166" y="1408"/>
                    </a:lnTo>
                    <a:lnTo>
                      <a:pt x="1166" y="1407"/>
                    </a:lnTo>
                    <a:lnTo>
                      <a:pt x="1168" y="1407"/>
                    </a:lnTo>
                    <a:close/>
                    <a:moveTo>
                      <a:pt x="965" y="610"/>
                    </a:moveTo>
                    <a:lnTo>
                      <a:pt x="969" y="610"/>
                    </a:lnTo>
                    <a:lnTo>
                      <a:pt x="969" y="614"/>
                    </a:lnTo>
                    <a:lnTo>
                      <a:pt x="965" y="614"/>
                    </a:lnTo>
                    <a:lnTo>
                      <a:pt x="965" y="610"/>
                    </a:lnTo>
                    <a:close/>
                    <a:moveTo>
                      <a:pt x="1229" y="1071"/>
                    </a:moveTo>
                    <a:lnTo>
                      <a:pt x="1230" y="1071"/>
                    </a:lnTo>
                    <a:lnTo>
                      <a:pt x="1230" y="1073"/>
                    </a:lnTo>
                    <a:lnTo>
                      <a:pt x="1229" y="1073"/>
                    </a:lnTo>
                    <a:lnTo>
                      <a:pt x="1229" y="1075"/>
                    </a:lnTo>
                    <a:lnTo>
                      <a:pt x="1227" y="1075"/>
                    </a:lnTo>
                    <a:lnTo>
                      <a:pt x="1227" y="1073"/>
                    </a:lnTo>
                    <a:lnTo>
                      <a:pt x="1227" y="1075"/>
                    </a:lnTo>
                    <a:lnTo>
                      <a:pt x="1225" y="1075"/>
                    </a:lnTo>
                    <a:lnTo>
                      <a:pt x="1225" y="1073"/>
                    </a:lnTo>
                    <a:lnTo>
                      <a:pt x="1227" y="1073"/>
                    </a:lnTo>
                    <a:lnTo>
                      <a:pt x="1227" y="1071"/>
                    </a:lnTo>
                    <a:lnTo>
                      <a:pt x="1229" y="1071"/>
                    </a:lnTo>
                    <a:close/>
                    <a:moveTo>
                      <a:pt x="1174" y="1242"/>
                    </a:moveTo>
                    <a:lnTo>
                      <a:pt x="1174" y="1243"/>
                    </a:lnTo>
                    <a:lnTo>
                      <a:pt x="1176" y="1245"/>
                    </a:lnTo>
                    <a:lnTo>
                      <a:pt x="1174" y="1245"/>
                    </a:lnTo>
                    <a:lnTo>
                      <a:pt x="1173" y="1245"/>
                    </a:lnTo>
                    <a:lnTo>
                      <a:pt x="1174" y="1245"/>
                    </a:lnTo>
                    <a:lnTo>
                      <a:pt x="1173" y="1245"/>
                    </a:lnTo>
                    <a:lnTo>
                      <a:pt x="1173" y="1243"/>
                    </a:lnTo>
                    <a:lnTo>
                      <a:pt x="1173" y="1242"/>
                    </a:lnTo>
                    <a:lnTo>
                      <a:pt x="1174" y="1242"/>
                    </a:lnTo>
                    <a:close/>
                    <a:moveTo>
                      <a:pt x="1198" y="803"/>
                    </a:moveTo>
                    <a:lnTo>
                      <a:pt x="1200" y="803"/>
                    </a:lnTo>
                    <a:lnTo>
                      <a:pt x="1200" y="804"/>
                    </a:lnTo>
                    <a:lnTo>
                      <a:pt x="1202" y="804"/>
                    </a:lnTo>
                    <a:lnTo>
                      <a:pt x="1200" y="804"/>
                    </a:lnTo>
                    <a:lnTo>
                      <a:pt x="1202" y="804"/>
                    </a:lnTo>
                    <a:lnTo>
                      <a:pt x="1200" y="804"/>
                    </a:lnTo>
                    <a:lnTo>
                      <a:pt x="1200" y="806"/>
                    </a:lnTo>
                    <a:lnTo>
                      <a:pt x="1198" y="806"/>
                    </a:lnTo>
                    <a:lnTo>
                      <a:pt x="1198" y="804"/>
                    </a:lnTo>
                    <a:lnTo>
                      <a:pt x="1198" y="803"/>
                    </a:lnTo>
                    <a:lnTo>
                      <a:pt x="1198" y="801"/>
                    </a:lnTo>
                    <a:lnTo>
                      <a:pt x="1198" y="803"/>
                    </a:lnTo>
                    <a:close/>
                    <a:moveTo>
                      <a:pt x="1178" y="1453"/>
                    </a:moveTo>
                    <a:lnTo>
                      <a:pt x="1178" y="1454"/>
                    </a:lnTo>
                    <a:lnTo>
                      <a:pt x="1178" y="1456"/>
                    </a:lnTo>
                    <a:lnTo>
                      <a:pt x="1178" y="1454"/>
                    </a:lnTo>
                    <a:lnTo>
                      <a:pt x="1178" y="1456"/>
                    </a:lnTo>
                    <a:lnTo>
                      <a:pt x="1176" y="1458"/>
                    </a:lnTo>
                    <a:lnTo>
                      <a:pt x="1178" y="1458"/>
                    </a:lnTo>
                    <a:lnTo>
                      <a:pt x="1178" y="1456"/>
                    </a:lnTo>
                    <a:lnTo>
                      <a:pt x="1178" y="1458"/>
                    </a:lnTo>
                    <a:lnTo>
                      <a:pt x="1176" y="1458"/>
                    </a:lnTo>
                    <a:lnTo>
                      <a:pt x="1176" y="1459"/>
                    </a:lnTo>
                    <a:lnTo>
                      <a:pt x="1174" y="1459"/>
                    </a:lnTo>
                    <a:lnTo>
                      <a:pt x="1174" y="1458"/>
                    </a:lnTo>
                    <a:lnTo>
                      <a:pt x="1176" y="1458"/>
                    </a:lnTo>
                    <a:lnTo>
                      <a:pt x="1176" y="1456"/>
                    </a:lnTo>
                    <a:lnTo>
                      <a:pt x="1176" y="1454"/>
                    </a:lnTo>
                    <a:lnTo>
                      <a:pt x="1178" y="1454"/>
                    </a:lnTo>
                    <a:lnTo>
                      <a:pt x="1178" y="1453"/>
                    </a:lnTo>
                    <a:close/>
                    <a:moveTo>
                      <a:pt x="1208" y="1068"/>
                    </a:moveTo>
                    <a:lnTo>
                      <a:pt x="1208" y="1070"/>
                    </a:lnTo>
                    <a:lnTo>
                      <a:pt x="1207" y="1071"/>
                    </a:lnTo>
                    <a:lnTo>
                      <a:pt x="1205" y="1071"/>
                    </a:lnTo>
                    <a:lnTo>
                      <a:pt x="1205" y="1070"/>
                    </a:lnTo>
                    <a:lnTo>
                      <a:pt x="1205" y="1068"/>
                    </a:lnTo>
                    <a:lnTo>
                      <a:pt x="1207" y="1070"/>
                    </a:lnTo>
                    <a:lnTo>
                      <a:pt x="1207" y="1068"/>
                    </a:lnTo>
                    <a:lnTo>
                      <a:pt x="1208" y="1068"/>
                    </a:lnTo>
                    <a:close/>
                    <a:moveTo>
                      <a:pt x="1278" y="1614"/>
                    </a:moveTo>
                    <a:lnTo>
                      <a:pt x="1278" y="1616"/>
                    </a:lnTo>
                    <a:lnTo>
                      <a:pt x="1280" y="1616"/>
                    </a:lnTo>
                    <a:lnTo>
                      <a:pt x="1278" y="1618"/>
                    </a:lnTo>
                    <a:lnTo>
                      <a:pt x="1276" y="1619"/>
                    </a:lnTo>
                    <a:lnTo>
                      <a:pt x="1276" y="1618"/>
                    </a:lnTo>
                    <a:lnTo>
                      <a:pt x="1276" y="1616"/>
                    </a:lnTo>
                    <a:lnTo>
                      <a:pt x="1275" y="1616"/>
                    </a:lnTo>
                    <a:lnTo>
                      <a:pt x="1276" y="1616"/>
                    </a:lnTo>
                    <a:lnTo>
                      <a:pt x="1276" y="1614"/>
                    </a:lnTo>
                    <a:lnTo>
                      <a:pt x="1278" y="1614"/>
                    </a:lnTo>
                    <a:close/>
                    <a:moveTo>
                      <a:pt x="1174" y="1369"/>
                    </a:moveTo>
                    <a:lnTo>
                      <a:pt x="1176" y="1369"/>
                    </a:lnTo>
                    <a:lnTo>
                      <a:pt x="1178" y="1369"/>
                    </a:lnTo>
                    <a:lnTo>
                      <a:pt x="1176" y="1371"/>
                    </a:lnTo>
                    <a:lnTo>
                      <a:pt x="1176" y="1369"/>
                    </a:lnTo>
                    <a:lnTo>
                      <a:pt x="1176" y="1371"/>
                    </a:lnTo>
                    <a:lnTo>
                      <a:pt x="1174" y="1371"/>
                    </a:lnTo>
                    <a:lnTo>
                      <a:pt x="1173" y="1371"/>
                    </a:lnTo>
                    <a:lnTo>
                      <a:pt x="1171" y="1371"/>
                    </a:lnTo>
                    <a:lnTo>
                      <a:pt x="1171" y="1369"/>
                    </a:lnTo>
                    <a:lnTo>
                      <a:pt x="1173" y="1369"/>
                    </a:lnTo>
                    <a:lnTo>
                      <a:pt x="1174" y="1369"/>
                    </a:lnTo>
                    <a:lnTo>
                      <a:pt x="1174" y="1371"/>
                    </a:lnTo>
                    <a:lnTo>
                      <a:pt x="1174" y="1369"/>
                    </a:lnTo>
                    <a:close/>
                    <a:moveTo>
                      <a:pt x="1200" y="1054"/>
                    </a:moveTo>
                    <a:lnTo>
                      <a:pt x="1202" y="1054"/>
                    </a:lnTo>
                    <a:lnTo>
                      <a:pt x="1203" y="1054"/>
                    </a:lnTo>
                    <a:lnTo>
                      <a:pt x="1203" y="1056"/>
                    </a:lnTo>
                    <a:lnTo>
                      <a:pt x="1202" y="1056"/>
                    </a:lnTo>
                    <a:lnTo>
                      <a:pt x="1200" y="1056"/>
                    </a:lnTo>
                    <a:lnTo>
                      <a:pt x="1198" y="1054"/>
                    </a:lnTo>
                    <a:lnTo>
                      <a:pt x="1200" y="1054"/>
                    </a:lnTo>
                    <a:close/>
                    <a:moveTo>
                      <a:pt x="1292" y="1629"/>
                    </a:moveTo>
                    <a:lnTo>
                      <a:pt x="1292" y="1631"/>
                    </a:lnTo>
                    <a:lnTo>
                      <a:pt x="1290" y="1631"/>
                    </a:lnTo>
                    <a:lnTo>
                      <a:pt x="1290" y="1633"/>
                    </a:lnTo>
                    <a:lnTo>
                      <a:pt x="1290" y="1635"/>
                    </a:lnTo>
                    <a:lnTo>
                      <a:pt x="1290" y="1633"/>
                    </a:lnTo>
                    <a:lnTo>
                      <a:pt x="1288" y="1633"/>
                    </a:lnTo>
                    <a:lnTo>
                      <a:pt x="1288" y="1631"/>
                    </a:lnTo>
                    <a:lnTo>
                      <a:pt x="1288" y="1629"/>
                    </a:lnTo>
                    <a:lnTo>
                      <a:pt x="1290" y="1629"/>
                    </a:lnTo>
                    <a:lnTo>
                      <a:pt x="1292" y="1629"/>
                    </a:lnTo>
                    <a:close/>
                    <a:moveTo>
                      <a:pt x="1251" y="1502"/>
                    </a:moveTo>
                    <a:lnTo>
                      <a:pt x="1251" y="1504"/>
                    </a:lnTo>
                    <a:lnTo>
                      <a:pt x="1249" y="1505"/>
                    </a:lnTo>
                    <a:lnTo>
                      <a:pt x="1247" y="1505"/>
                    </a:lnTo>
                    <a:lnTo>
                      <a:pt x="1247" y="1504"/>
                    </a:lnTo>
                    <a:lnTo>
                      <a:pt x="1247" y="1505"/>
                    </a:lnTo>
                    <a:lnTo>
                      <a:pt x="1247" y="1504"/>
                    </a:lnTo>
                    <a:lnTo>
                      <a:pt x="1247" y="1502"/>
                    </a:lnTo>
                    <a:lnTo>
                      <a:pt x="1249" y="1502"/>
                    </a:lnTo>
                    <a:lnTo>
                      <a:pt x="1251" y="1502"/>
                    </a:lnTo>
                    <a:close/>
                    <a:moveTo>
                      <a:pt x="1258" y="1595"/>
                    </a:moveTo>
                    <a:lnTo>
                      <a:pt x="1259" y="1595"/>
                    </a:lnTo>
                    <a:lnTo>
                      <a:pt x="1259" y="1597"/>
                    </a:lnTo>
                    <a:lnTo>
                      <a:pt x="1259" y="1595"/>
                    </a:lnTo>
                    <a:lnTo>
                      <a:pt x="1259" y="1597"/>
                    </a:lnTo>
                    <a:lnTo>
                      <a:pt x="1261" y="1597"/>
                    </a:lnTo>
                    <a:lnTo>
                      <a:pt x="1259" y="1599"/>
                    </a:lnTo>
                    <a:lnTo>
                      <a:pt x="1259" y="1597"/>
                    </a:lnTo>
                    <a:lnTo>
                      <a:pt x="1259" y="1599"/>
                    </a:lnTo>
                    <a:lnTo>
                      <a:pt x="1258" y="1599"/>
                    </a:lnTo>
                    <a:lnTo>
                      <a:pt x="1258" y="1597"/>
                    </a:lnTo>
                    <a:lnTo>
                      <a:pt x="1258" y="1599"/>
                    </a:lnTo>
                    <a:lnTo>
                      <a:pt x="1258" y="1597"/>
                    </a:lnTo>
                    <a:lnTo>
                      <a:pt x="1259" y="1597"/>
                    </a:lnTo>
                    <a:lnTo>
                      <a:pt x="1258" y="1597"/>
                    </a:lnTo>
                    <a:lnTo>
                      <a:pt x="1256" y="1597"/>
                    </a:lnTo>
                    <a:lnTo>
                      <a:pt x="1256" y="1595"/>
                    </a:lnTo>
                    <a:lnTo>
                      <a:pt x="1258" y="1595"/>
                    </a:lnTo>
                    <a:close/>
                    <a:moveTo>
                      <a:pt x="1145" y="1325"/>
                    </a:moveTo>
                    <a:lnTo>
                      <a:pt x="1147" y="1327"/>
                    </a:lnTo>
                    <a:lnTo>
                      <a:pt x="1147" y="1328"/>
                    </a:lnTo>
                    <a:lnTo>
                      <a:pt x="1147" y="1330"/>
                    </a:lnTo>
                    <a:lnTo>
                      <a:pt x="1147" y="1328"/>
                    </a:lnTo>
                    <a:lnTo>
                      <a:pt x="1145" y="1328"/>
                    </a:lnTo>
                    <a:lnTo>
                      <a:pt x="1145" y="1327"/>
                    </a:lnTo>
                    <a:lnTo>
                      <a:pt x="1144" y="1327"/>
                    </a:lnTo>
                    <a:lnTo>
                      <a:pt x="1144" y="1325"/>
                    </a:lnTo>
                    <a:lnTo>
                      <a:pt x="1145" y="1325"/>
                    </a:lnTo>
                    <a:lnTo>
                      <a:pt x="1145" y="1327"/>
                    </a:lnTo>
                    <a:lnTo>
                      <a:pt x="1145" y="1325"/>
                    </a:lnTo>
                    <a:close/>
                    <a:moveTo>
                      <a:pt x="1310" y="1509"/>
                    </a:moveTo>
                    <a:lnTo>
                      <a:pt x="1309" y="1509"/>
                    </a:lnTo>
                    <a:lnTo>
                      <a:pt x="1309" y="1510"/>
                    </a:lnTo>
                    <a:lnTo>
                      <a:pt x="1307" y="1512"/>
                    </a:lnTo>
                    <a:lnTo>
                      <a:pt x="1305" y="1512"/>
                    </a:lnTo>
                    <a:lnTo>
                      <a:pt x="1305" y="1510"/>
                    </a:lnTo>
                    <a:lnTo>
                      <a:pt x="1307" y="1510"/>
                    </a:lnTo>
                    <a:lnTo>
                      <a:pt x="1309" y="1509"/>
                    </a:lnTo>
                    <a:lnTo>
                      <a:pt x="1310" y="1509"/>
                    </a:lnTo>
                    <a:close/>
                    <a:moveTo>
                      <a:pt x="1275" y="1590"/>
                    </a:moveTo>
                    <a:lnTo>
                      <a:pt x="1276" y="1592"/>
                    </a:lnTo>
                    <a:lnTo>
                      <a:pt x="1276" y="1594"/>
                    </a:lnTo>
                    <a:lnTo>
                      <a:pt x="1276" y="1592"/>
                    </a:lnTo>
                    <a:lnTo>
                      <a:pt x="1275" y="1594"/>
                    </a:lnTo>
                    <a:lnTo>
                      <a:pt x="1273" y="1592"/>
                    </a:lnTo>
                    <a:lnTo>
                      <a:pt x="1271" y="1592"/>
                    </a:lnTo>
                    <a:lnTo>
                      <a:pt x="1271" y="1590"/>
                    </a:lnTo>
                    <a:lnTo>
                      <a:pt x="1273" y="1590"/>
                    </a:lnTo>
                    <a:lnTo>
                      <a:pt x="1275" y="1590"/>
                    </a:lnTo>
                    <a:close/>
                    <a:moveTo>
                      <a:pt x="1390" y="1641"/>
                    </a:moveTo>
                    <a:lnTo>
                      <a:pt x="1390" y="1643"/>
                    </a:lnTo>
                    <a:lnTo>
                      <a:pt x="1392" y="1643"/>
                    </a:lnTo>
                    <a:lnTo>
                      <a:pt x="1392" y="1645"/>
                    </a:lnTo>
                    <a:lnTo>
                      <a:pt x="1390" y="1645"/>
                    </a:lnTo>
                    <a:lnTo>
                      <a:pt x="1389" y="1645"/>
                    </a:lnTo>
                    <a:lnTo>
                      <a:pt x="1389" y="1643"/>
                    </a:lnTo>
                    <a:lnTo>
                      <a:pt x="1387" y="1643"/>
                    </a:lnTo>
                    <a:lnTo>
                      <a:pt x="1389" y="1641"/>
                    </a:lnTo>
                    <a:lnTo>
                      <a:pt x="1390" y="1641"/>
                    </a:lnTo>
                    <a:close/>
                    <a:moveTo>
                      <a:pt x="1230" y="998"/>
                    </a:moveTo>
                    <a:lnTo>
                      <a:pt x="1232" y="998"/>
                    </a:lnTo>
                    <a:lnTo>
                      <a:pt x="1232" y="997"/>
                    </a:lnTo>
                    <a:lnTo>
                      <a:pt x="1232" y="998"/>
                    </a:lnTo>
                    <a:lnTo>
                      <a:pt x="1232" y="1000"/>
                    </a:lnTo>
                    <a:lnTo>
                      <a:pt x="1232" y="998"/>
                    </a:lnTo>
                    <a:lnTo>
                      <a:pt x="1230" y="998"/>
                    </a:lnTo>
                    <a:lnTo>
                      <a:pt x="1230" y="1000"/>
                    </a:lnTo>
                    <a:lnTo>
                      <a:pt x="1232" y="1000"/>
                    </a:lnTo>
                    <a:lnTo>
                      <a:pt x="1232" y="1002"/>
                    </a:lnTo>
                    <a:lnTo>
                      <a:pt x="1232" y="1000"/>
                    </a:lnTo>
                    <a:lnTo>
                      <a:pt x="1232" y="1002"/>
                    </a:lnTo>
                    <a:lnTo>
                      <a:pt x="1230" y="1002"/>
                    </a:lnTo>
                    <a:lnTo>
                      <a:pt x="1230" y="1000"/>
                    </a:lnTo>
                    <a:lnTo>
                      <a:pt x="1230" y="998"/>
                    </a:lnTo>
                    <a:lnTo>
                      <a:pt x="1229" y="998"/>
                    </a:lnTo>
                    <a:lnTo>
                      <a:pt x="1229" y="997"/>
                    </a:lnTo>
                    <a:lnTo>
                      <a:pt x="1230" y="997"/>
                    </a:lnTo>
                    <a:lnTo>
                      <a:pt x="1230" y="998"/>
                    </a:lnTo>
                    <a:close/>
                    <a:moveTo>
                      <a:pt x="1229" y="976"/>
                    </a:moveTo>
                    <a:lnTo>
                      <a:pt x="1229" y="978"/>
                    </a:lnTo>
                    <a:lnTo>
                      <a:pt x="1227" y="978"/>
                    </a:lnTo>
                    <a:lnTo>
                      <a:pt x="1227" y="980"/>
                    </a:lnTo>
                    <a:lnTo>
                      <a:pt x="1225" y="980"/>
                    </a:lnTo>
                    <a:lnTo>
                      <a:pt x="1225" y="978"/>
                    </a:lnTo>
                    <a:lnTo>
                      <a:pt x="1224" y="978"/>
                    </a:lnTo>
                    <a:lnTo>
                      <a:pt x="1225" y="976"/>
                    </a:lnTo>
                    <a:lnTo>
                      <a:pt x="1225" y="978"/>
                    </a:lnTo>
                    <a:lnTo>
                      <a:pt x="1227" y="978"/>
                    </a:lnTo>
                    <a:lnTo>
                      <a:pt x="1225" y="976"/>
                    </a:lnTo>
                    <a:lnTo>
                      <a:pt x="1225" y="978"/>
                    </a:lnTo>
                    <a:lnTo>
                      <a:pt x="1225" y="976"/>
                    </a:lnTo>
                    <a:lnTo>
                      <a:pt x="1227" y="976"/>
                    </a:lnTo>
                    <a:lnTo>
                      <a:pt x="1229" y="976"/>
                    </a:lnTo>
                    <a:close/>
                    <a:moveTo>
                      <a:pt x="1203" y="1138"/>
                    </a:moveTo>
                    <a:lnTo>
                      <a:pt x="1205" y="1138"/>
                    </a:lnTo>
                    <a:lnTo>
                      <a:pt x="1205" y="1140"/>
                    </a:lnTo>
                    <a:lnTo>
                      <a:pt x="1207" y="1140"/>
                    </a:lnTo>
                    <a:lnTo>
                      <a:pt x="1207" y="1141"/>
                    </a:lnTo>
                    <a:lnTo>
                      <a:pt x="1205" y="1141"/>
                    </a:lnTo>
                    <a:lnTo>
                      <a:pt x="1203" y="1140"/>
                    </a:lnTo>
                    <a:lnTo>
                      <a:pt x="1203" y="1138"/>
                    </a:lnTo>
                    <a:lnTo>
                      <a:pt x="1203" y="1136"/>
                    </a:lnTo>
                    <a:lnTo>
                      <a:pt x="1203" y="1138"/>
                    </a:lnTo>
                    <a:close/>
                    <a:moveTo>
                      <a:pt x="1200" y="1470"/>
                    </a:moveTo>
                    <a:lnTo>
                      <a:pt x="1200" y="1471"/>
                    </a:lnTo>
                    <a:lnTo>
                      <a:pt x="1202" y="1471"/>
                    </a:lnTo>
                    <a:lnTo>
                      <a:pt x="1203" y="1471"/>
                    </a:lnTo>
                    <a:lnTo>
                      <a:pt x="1203" y="1473"/>
                    </a:lnTo>
                    <a:lnTo>
                      <a:pt x="1203" y="1475"/>
                    </a:lnTo>
                    <a:lnTo>
                      <a:pt x="1202" y="1475"/>
                    </a:lnTo>
                    <a:lnTo>
                      <a:pt x="1202" y="1473"/>
                    </a:lnTo>
                    <a:lnTo>
                      <a:pt x="1200" y="1473"/>
                    </a:lnTo>
                    <a:lnTo>
                      <a:pt x="1200" y="1471"/>
                    </a:lnTo>
                    <a:lnTo>
                      <a:pt x="1198" y="1471"/>
                    </a:lnTo>
                    <a:lnTo>
                      <a:pt x="1198" y="1470"/>
                    </a:lnTo>
                    <a:lnTo>
                      <a:pt x="1200" y="1470"/>
                    </a:lnTo>
                    <a:close/>
                    <a:moveTo>
                      <a:pt x="1033" y="605"/>
                    </a:moveTo>
                    <a:lnTo>
                      <a:pt x="1033" y="607"/>
                    </a:lnTo>
                    <a:lnTo>
                      <a:pt x="1035" y="607"/>
                    </a:lnTo>
                    <a:lnTo>
                      <a:pt x="1035" y="609"/>
                    </a:lnTo>
                    <a:lnTo>
                      <a:pt x="1035" y="607"/>
                    </a:lnTo>
                    <a:lnTo>
                      <a:pt x="1033" y="607"/>
                    </a:lnTo>
                    <a:lnTo>
                      <a:pt x="1032" y="607"/>
                    </a:lnTo>
                    <a:lnTo>
                      <a:pt x="1030" y="607"/>
                    </a:lnTo>
                    <a:lnTo>
                      <a:pt x="1030" y="609"/>
                    </a:lnTo>
                    <a:lnTo>
                      <a:pt x="1030" y="607"/>
                    </a:lnTo>
                    <a:lnTo>
                      <a:pt x="1032" y="607"/>
                    </a:lnTo>
                    <a:lnTo>
                      <a:pt x="1032" y="605"/>
                    </a:lnTo>
                    <a:lnTo>
                      <a:pt x="1033" y="605"/>
                    </a:lnTo>
                    <a:close/>
                    <a:moveTo>
                      <a:pt x="1174" y="1427"/>
                    </a:moveTo>
                    <a:lnTo>
                      <a:pt x="1173" y="1427"/>
                    </a:lnTo>
                    <a:lnTo>
                      <a:pt x="1174" y="1429"/>
                    </a:lnTo>
                    <a:lnTo>
                      <a:pt x="1173" y="1430"/>
                    </a:lnTo>
                    <a:lnTo>
                      <a:pt x="1173" y="1432"/>
                    </a:lnTo>
                    <a:lnTo>
                      <a:pt x="1171" y="1432"/>
                    </a:lnTo>
                    <a:lnTo>
                      <a:pt x="1171" y="1430"/>
                    </a:lnTo>
                    <a:lnTo>
                      <a:pt x="1173" y="1429"/>
                    </a:lnTo>
                    <a:lnTo>
                      <a:pt x="1173" y="1427"/>
                    </a:lnTo>
                    <a:lnTo>
                      <a:pt x="1173" y="1425"/>
                    </a:lnTo>
                    <a:lnTo>
                      <a:pt x="1174" y="1427"/>
                    </a:lnTo>
                    <a:close/>
                    <a:moveTo>
                      <a:pt x="1193" y="1068"/>
                    </a:moveTo>
                    <a:lnTo>
                      <a:pt x="1193" y="1070"/>
                    </a:lnTo>
                    <a:lnTo>
                      <a:pt x="1193" y="1071"/>
                    </a:lnTo>
                    <a:lnTo>
                      <a:pt x="1191" y="1071"/>
                    </a:lnTo>
                    <a:lnTo>
                      <a:pt x="1190" y="1070"/>
                    </a:lnTo>
                    <a:lnTo>
                      <a:pt x="1190" y="1068"/>
                    </a:lnTo>
                    <a:lnTo>
                      <a:pt x="1191" y="1070"/>
                    </a:lnTo>
                    <a:lnTo>
                      <a:pt x="1191" y="1068"/>
                    </a:lnTo>
                    <a:lnTo>
                      <a:pt x="1193" y="1068"/>
                    </a:lnTo>
                    <a:close/>
                    <a:moveTo>
                      <a:pt x="1273" y="1611"/>
                    </a:moveTo>
                    <a:lnTo>
                      <a:pt x="1273" y="1612"/>
                    </a:lnTo>
                    <a:lnTo>
                      <a:pt x="1275" y="1612"/>
                    </a:lnTo>
                    <a:lnTo>
                      <a:pt x="1275" y="1614"/>
                    </a:lnTo>
                    <a:lnTo>
                      <a:pt x="1273" y="1614"/>
                    </a:lnTo>
                    <a:lnTo>
                      <a:pt x="1273" y="1616"/>
                    </a:lnTo>
                    <a:lnTo>
                      <a:pt x="1271" y="1614"/>
                    </a:lnTo>
                    <a:lnTo>
                      <a:pt x="1271" y="1616"/>
                    </a:lnTo>
                    <a:lnTo>
                      <a:pt x="1271" y="1614"/>
                    </a:lnTo>
                    <a:lnTo>
                      <a:pt x="1270" y="1614"/>
                    </a:lnTo>
                    <a:lnTo>
                      <a:pt x="1271" y="1614"/>
                    </a:lnTo>
                    <a:lnTo>
                      <a:pt x="1273" y="1614"/>
                    </a:lnTo>
                    <a:lnTo>
                      <a:pt x="1271" y="1614"/>
                    </a:lnTo>
                    <a:lnTo>
                      <a:pt x="1271" y="1612"/>
                    </a:lnTo>
                    <a:lnTo>
                      <a:pt x="1271" y="1611"/>
                    </a:lnTo>
                    <a:lnTo>
                      <a:pt x="1273" y="1611"/>
                    </a:lnTo>
                    <a:close/>
                    <a:moveTo>
                      <a:pt x="1162" y="1376"/>
                    </a:moveTo>
                    <a:lnTo>
                      <a:pt x="1161" y="1376"/>
                    </a:lnTo>
                    <a:lnTo>
                      <a:pt x="1162" y="1376"/>
                    </a:lnTo>
                    <a:lnTo>
                      <a:pt x="1162" y="1378"/>
                    </a:lnTo>
                    <a:lnTo>
                      <a:pt x="1162" y="1379"/>
                    </a:lnTo>
                    <a:lnTo>
                      <a:pt x="1161" y="1379"/>
                    </a:lnTo>
                    <a:lnTo>
                      <a:pt x="1159" y="1379"/>
                    </a:lnTo>
                    <a:lnTo>
                      <a:pt x="1159" y="1378"/>
                    </a:lnTo>
                    <a:lnTo>
                      <a:pt x="1161" y="1376"/>
                    </a:lnTo>
                    <a:lnTo>
                      <a:pt x="1161" y="1378"/>
                    </a:lnTo>
                    <a:lnTo>
                      <a:pt x="1161" y="1376"/>
                    </a:lnTo>
                    <a:lnTo>
                      <a:pt x="1162" y="1376"/>
                    </a:lnTo>
                    <a:close/>
                    <a:moveTo>
                      <a:pt x="1213" y="1119"/>
                    </a:moveTo>
                    <a:lnTo>
                      <a:pt x="1215" y="1121"/>
                    </a:lnTo>
                    <a:lnTo>
                      <a:pt x="1213" y="1122"/>
                    </a:lnTo>
                    <a:lnTo>
                      <a:pt x="1212" y="1121"/>
                    </a:lnTo>
                    <a:lnTo>
                      <a:pt x="1210" y="1121"/>
                    </a:lnTo>
                    <a:lnTo>
                      <a:pt x="1210" y="1122"/>
                    </a:lnTo>
                    <a:lnTo>
                      <a:pt x="1210" y="1121"/>
                    </a:lnTo>
                    <a:lnTo>
                      <a:pt x="1212" y="1119"/>
                    </a:lnTo>
                    <a:lnTo>
                      <a:pt x="1213" y="1119"/>
                    </a:lnTo>
                    <a:close/>
                    <a:moveTo>
                      <a:pt x="1178" y="1112"/>
                    </a:moveTo>
                    <a:lnTo>
                      <a:pt x="1179" y="1112"/>
                    </a:lnTo>
                    <a:lnTo>
                      <a:pt x="1179" y="1116"/>
                    </a:lnTo>
                    <a:lnTo>
                      <a:pt x="1178" y="1116"/>
                    </a:lnTo>
                    <a:lnTo>
                      <a:pt x="1178" y="1112"/>
                    </a:lnTo>
                    <a:close/>
                    <a:moveTo>
                      <a:pt x="1232" y="949"/>
                    </a:moveTo>
                    <a:lnTo>
                      <a:pt x="1234" y="951"/>
                    </a:lnTo>
                    <a:lnTo>
                      <a:pt x="1232" y="951"/>
                    </a:lnTo>
                    <a:lnTo>
                      <a:pt x="1234" y="951"/>
                    </a:lnTo>
                    <a:lnTo>
                      <a:pt x="1232" y="951"/>
                    </a:lnTo>
                    <a:lnTo>
                      <a:pt x="1230" y="951"/>
                    </a:lnTo>
                    <a:lnTo>
                      <a:pt x="1232" y="952"/>
                    </a:lnTo>
                    <a:lnTo>
                      <a:pt x="1230" y="952"/>
                    </a:lnTo>
                    <a:lnTo>
                      <a:pt x="1230" y="951"/>
                    </a:lnTo>
                    <a:lnTo>
                      <a:pt x="1230" y="949"/>
                    </a:lnTo>
                    <a:lnTo>
                      <a:pt x="1232" y="949"/>
                    </a:lnTo>
                    <a:close/>
                    <a:moveTo>
                      <a:pt x="1176" y="1481"/>
                    </a:moveTo>
                    <a:lnTo>
                      <a:pt x="1176" y="1483"/>
                    </a:lnTo>
                    <a:lnTo>
                      <a:pt x="1174" y="1483"/>
                    </a:lnTo>
                    <a:lnTo>
                      <a:pt x="1173" y="1483"/>
                    </a:lnTo>
                    <a:lnTo>
                      <a:pt x="1173" y="1481"/>
                    </a:lnTo>
                    <a:lnTo>
                      <a:pt x="1173" y="1483"/>
                    </a:lnTo>
                    <a:lnTo>
                      <a:pt x="1174" y="1481"/>
                    </a:lnTo>
                    <a:lnTo>
                      <a:pt x="1176" y="1481"/>
                    </a:lnTo>
                    <a:close/>
                    <a:moveTo>
                      <a:pt x="1185" y="1063"/>
                    </a:moveTo>
                    <a:lnTo>
                      <a:pt x="1186" y="1063"/>
                    </a:lnTo>
                    <a:lnTo>
                      <a:pt x="1188" y="1063"/>
                    </a:lnTo>
                    <a:lnTo>
                      <a:pt x="1188" y="1065"/>
                    </a:lnTo>
                    <a:lnTo>
                      <a:pt x="1186" y="1065"/>
                    </a:lnTo>
                    <a:lnTo>
                      <a:pt x="1185" y="1066"/>
                    </a:lnTo>
                    <a:lnTo>
                      <a:pt x="1185" y="1065"/>
                    </a:lnTo>
                    <a:lnTo>
                      <a:pt x="1186" y="1065"/>
                    </a:lnTo>
                    <a:lnTo>
                      <a:pt x="1185" y="1065"/>
                    </a:lnTo>
                    <a:lnTo>
                      <a:pt x="1185" y="1063"/>
                    </a:lnTo>
                    <a:close/>
                    <a:moveTo>
                      <a:pt x="1244" y="1582"/>
                    </a:moveTo>
                    <a:lnTo>
                      <a:pt x="1246" y="1582"/>
                    </a:lnTo>
                    <a:lnTo>
                      <a:pt x="1244" y="1583"/>
                    </a:lnTo>
                    <a:lnTo>
                      <a:pt x="1242" y="1583"/>
                    </a:lnTo>
                    <a:lnTo>
                      <a:pt x="1242" y="1582"/>
                    </a:lnTo>
                    <a:lnTo>
                      <a:pt x="1241" y="1582"/>
                    </a:lnTo>
                    <a:lnTo>
                      <a:pt x="1241" y="1580"/>
                    </a:lnTo>
                    <a:lnTo>
                      <a:pt x="1242" y="1582"/>
                    </a:lnTo>
                    <a:lnTo>
                      <a:pt x="1242" y="1580"/>
                    </a:lnTo>
                    <a:lnTo>
                      <a:pt x="1244" y="1582"/>
                    </a:lnTo>
                    <a:close/>
                    <a:moveTo>
                      <a:pt x="1212" y="1116"/>
                    </a:moveTo>
                    <a:lnTo>
                      <a:pt x="1213" y="1116"/>
                    </a:lnTo>
                    <a:lnTo>
                      <a:pt x="1213" y="1117"/>
                    </a:lnTo>
                    <a:lnTo>
                      <a:pt x="1213" y="1119"/>
                    </a:lnTo>
                    <a:lnTo>
                      <a:pt x="1212" y="1119"/>
                    </a:lnTo>
                    <a:lnTo>
                      <a:pt x="1210" y="1119"/>
                    </a:lnTo>
                    <a:lnTo>
                      <a:pt x="1210" y="1117"/>
                    </a:lnTo>
                    <a:lnTo>
                      <a:pt x="1212" y="1117"/>
                    </a:lnTo>
                    <a:lnTo>
                      <a:pt x="1212" y="1116"/>
                    </a:lnTo>
                    <a:close/>
                    <a:moveTo>
                      <a:pt x="1145" y="1264"/>
                    </a:moveTo>
                    <a:lnTo>
                      <a:pt x="1149" y="1264"/>
                    </a:lnTo>
                    <a:lnTo>
                      <a:pt x="1149" y="1269"/>
                    </a:lnTo>
                    <a:lnTo>
                      <a:pt x="1145" y="1269"/>
                    </a:lnTo>
                    <a:lnTo>
                      <a:pt x="1145" y="1264"/>
                    </a:lnTo>
                    <a:close/>
                    <a:moveTo>
                      <a:pt x="1176" y="1475"/>
                    </a:moveTo>
                    <a:lnTo>
                      <a:pt x="1178" y="1475"/>
                    </a:lnTo>
                    <a:lnTo>
                      <a:pt x="1178" y="1480"/>
                    </a:lnTo>
                    <a:lnTo>
                      <a:pt x="1176" y="1480"/>
                    </a:lnTo>
                    <a:lnTo>
                      <a:pt x="1176" y="1475"/>
                    </a:lnTo>
                    <a:close/>
                    <a:moveTo>
                      <a:pt x="1151" y="1289"/>
                    </a:moveTo>
                    <a:lnTo>
                      <a:pt x="1152" y="1289"/>
                    </a:lnTo>
                    <a:lnTo>
                      <a:pt x="1151" y="1291"/>
                    </a:lnTo>
                    <a:lnTo>
                      <a:pt x="1149" y="1291"/>
                    </a:lnTo>
                    <a:lnTo>
                      <a:pt x="1147" y="1293"/>
                    </a:lnTo>
                    <a:lnTo>
                      <a:pt x="1147" y="1291"/>
                    </a:lnTo>
                    <a:lnTo>
                      <a:pt x="1149" y="1291"/>
                    </a:lnTo>
                    <a:lnTo>
                      <a:pt x="1149" y="1289"/>
                    </a:lnTo>
                    <a:lnTo>
                      <a:pt x="1151" y="1289"/>
                    </a:lnTo>
                    <a:close/>
                    <a:moveTo>
                      <a:pt x="1178" y="1247"/>
                    </a:moveTo>
                    <a:lnTo>
                      <a:pt x="1179" y="1247"/>
                    </a:lnTo>
                    <a:lnTo>
                      <a:pt x="1178" y="1248"/>
                    </a:lnTo>
                    <a:lnTo>
                      <a:pt x="1176" y="1250"/>
                    </a:lnTo>
                    <a:lnTo>
                      <a:pt x="1176" y="1248"/>
                    </a:lnTo>
                    <a:lnTo>
                      <a:pt x="1176" y="1247"/>
                    </a:lnTo>
                    <a:lnTo>
                      <a:pt x="1178" y="1247"/>
                    </a:lnTo>
                    <a:close/>
                    <a:moveTo>
                      <a:pt x="1162" y="1301"/>
                    </a:moveTo>
                    <a:lnTo>
                      <a:pt x="1164" y="1301"/>
                    </a:lnTo>
                    <a:lnTo>
                      <a:pt x="1164" y="1303"/>
                    </a:lnTo>
                    <a:lnTo>
                      <a:pt x="1162" y="1303"/>
                    </a:lnTo>
                    <a:lnTo>
                      <a:pt x="1164" y="1303"/>
                    </a:lnTo>
                    <a:lnTo>
                      <a:pt x="1164" y="1305"/>
                    </a:lnTo>
                    <a:lnTo>
                      <a:pt x="1162" y="1303"/>
                    </a:lnTo>
                    <a:lnTo>
                      <a:pt x="1161" y="1303"/>
                    </a:lnTo>
                    <a:lnTo>
                      <a:pt x="1161" y="1301"/>
                    </a:lnTo>
                    <a:lnTo>
                      <a:pt x="1162" y="1301"/>
                    </a:lnTo>
                    <a:close/>
                    <a:moveTo>
                      <a:pt x="1423" y="1687"/>
                    </a:moveTo>
                    <a:lnTo>
                      <a:pt x="1424" y="1687"/>
                    </a:lnTo>
                    <a:lnTo>
                      <a:pt x="1424" y="1689"/>
                    </a:lnTo>
                    <a:lnTo>
                      <a:pt x="1426" y="1691"/>
                    </a:lnTo>
                    <a:lnTo>
                      <a:pt x="1424" y="1689"/>
                    </a:lnTo>
                    <a:lnTo>
                      <a:pt x="1424" y="1691"/>
                    </a:lnTo>
                    <a:lnTo>
                      <a:pt x="1423" y="1691"/>
                    </a:lnTo>
                    <a:lnTo>
                      <a:pt x="1423" y="1689"/>
                    </a:lnTo>
                    <a:lnTo>
                      <a:pt x="1421" y="1687"/>
                    </a:lnTo>
                    <a:lnTo>
                      <a:pt x="1421" y="1689"/>
                    </a:lnTo>
                    <a:lnTo>
                      <a:pt x="1421" y="1687"/>
                    </a:lnTo>
                    <a:lnTo>
                      <a:pt x="1423" y="1687"/>
                    </a:lnTo>
                    <a:close/>
                    <a:moveTo>
                      <a:pt x="1212" y="1061"/>
                    </a:moveTo>
                    <a:lnTo>
                      <a:pt x="1215" y="1061"/>
                    </a:lnTo>
                    <a:lnTo>
                      <a:pt x="1215" y="1065"/>
                    </a:lnTo>
                    <a:lnTo>
                      <a:pt x="1212" y="1065"/>
                    </a:lnTo>
                    <a:lnTo>
                      <a:pt x="1212" y="1061"/>
                    </a:lnTo>
                    <a:close/>
                    <a:moveTo>
                      <a:pt x="1331" y="1635"/>
                    </a:moveTo>
                    <a:lnTo>
                      <a:pt x="1331" y="1636"/>
                    </a:lnTo>
                    <a:lnTo>
                      <a:pt x="1329" y="1636"/>
                    </a:lnTo>
                    <a:lnTo>
                      <a:pt x="1329" y="1638"/>
                    </a:lnTo>
                    <a:lnTo>
                      <a:pt x="1327" y="1636"/>
                    </a:lnTo>
                    <a:lnTo>
                      <a:pt x="1329" y="1635"/>
                    </a:lnTo>
                    <a:lnTo>
                      <a:pt x="1331" y="1635"/>
                    </a:lnTo>
                    <a:lnTo>
                      <a:pt x="1332" y="1633"/>
                    </a:lnTo>
                    <a:lnTo>
                      <a:pt x="1331" y="1635"/>
                    </a:lnTo>
                    <a:close/>
                    <a:moveTo>
                      <a:pt x="1256" y="1587"/>
                    </a:moveTo>
                    <a:lnTo>
                      <a:pt x="1259" y="1587"/>
                    </a:lnTo>
                    <a:lnTo>
                      <a:pt x="1259" y="1592"/>
                    </a:lnTo>
                    <a:lnTo>
                      <a:pt x="1256" y="1592"/>
                    </a:lnTo>
                    <a:lnTo>
                      <a:pt x="1256" y="1587"/>
                    </a:lnTo>
                    <a:close/>
                    <a:moveTo>
                      <a:pt x="1208" y="1077"/>
                    </a:moveTo>
                    <a:lnTo>
                      <a:pt x="1212" y="1077"/>
                    </a:lnTo>
                    <a:lnTo>
                      <a:pt x="1212" y="1080"/>
                    </a:lnTo>
                    <a:lnTo>
                      <a:pt x="1208" y="1080"/>
                    </a:lnTo>
                    <a:lnTo>
                      <a:pt x="1208" y="1077"/>
                    </a:lnTo>
                    <a:close/>
                    <a:moveTo>
                      <a:pt x="1375" y="1663"/>
                    </a:moveTo>
                    <a:lnTo>
                      <a:pt x="1377" y="1663"/>
                    </a:lnTo>
                    <a:lnTo>
                      <a:pt x="1377" y="1665"/>
                    </a:lnTo>
                    <a:lnTo>
                      <a:pt x="1378" y="1665"/>
                    </a:lnTo>
                    <a:lnTo>
                      <a:pt x="1378" y="1667"/>
                    </a:lnTo>
                    <a:lnTo>
                      <a:pt x="1377" y="1667"/>
                    </a:lnTo>
                    <a:lnTo>
                      <a:pt x="1377" y="1665"/>
                    </a:lnTo>
                    <a:lnTo>
                      <a:pt x="1375" y="1665"/>
                    </a:lnTo>
                    <a:lnTo>
                      <a:pt x="1375" y="1663"/>
                    </a:lnTo>
                    <a:lnTo>
                      <a:pt x="1373" y="1663"/>
                    </a:lnTo>
                    <a:lnTo>
                      <a:pt x="1375" y="1663"/>
                    </a:lnTo>
                    <a:close/>
                    <a:moveTo>
                      <a:pt x="1185" y="1061"/>
                    </a:moveTo>
                    <a:lnTo>
                      <a:pt x="1186" y="1061"/>
                    </a:lnTo>
                    <a:lnTo>
                      <a:pt x="1188" y="1061"/>
                    </a:lnTo>
                    <a:lnTo>
                      <a:pt x="1190" y="1063"/>
                    </a:lnTo>
                    <a:lnTo>
                      <a:pt x="1188" y="1063"/>
                    </a:lnTo>
                    <a:lnTo>
                      <a:pt x="1186" y="1063"/>
                    </a:lnTo>
                    <a:lnTo>
                      <a:pt x="1185" y="1063"/>
                    </a:lnTo>
                    <a:lnTo>
                      <a:pt x="1185" y="1061"/>
                    </a:lnTo>
                    <a:close/>
                    <a:moveTo>
                      <a:pt x="1208" y="1080"/>
                    </a:moveTo>
                    <a:lnTo>
                      <a:pt x="1210" y="1082"/>
                    </a:lnTo>
                    <a:lnTo>
                      <a:pt x="1208" y="1082"/>
                    </a:lnTo>
                    <a:lnTo>
                      <a:pt x="1207" y="1082"/>
                    </a:lnTo>
                    <a:lnTo>
                      <a:pt x="1207" y="1080"/>
                    </a:lnTo>
                    <a:lnTo>
                      <a:pt x="1208" y="1082"/>
                    </a:lnTo>
                    <a:lnTo>
                      <a:pt x="1208" y="1080"/>
                    </a:lnTo>
                    <a:lnTo>
                      <a:pt x="1207" y="1080"/>
                    </a:lnTo>
                    <a:lnTo>
                      <a:pt x="1208" y="1080"/>
                    </a:lnTo>
                    <a:close/>
                    <a:moveTo>
                      <a:pt x="1193" y="1493"/>
                    </a:moveTo>
                    <a:lnTo>
                      <a:pt x="1193" y="1495"/>
                    </a:lnTo>
                    <a:lnTo>
                      <a:pt x="1195" y="1493"/>
                    </a:lnTo>
                    <a:lnTo>
                      <a:pt x="1195" y="1495"/>
                    </a:lnTo>
                    <a:lnTo>
                      <a:pt x="1193" y="1495"/>
                    </a:lnTo>
                    <a:lnTo>
                      <a:pt x="1193" y="1497"/>
                    </a:lnTo>
                    <a:lnTo>
                      <a:pt x="1191" y="1495"/>
                    </a:lnTo>
                    <a:lnTo>
                      <a:pt x="1191" y="1497"/>
                    </a:lnTo>
                    <a:lnTo>
                      <a:pt x="1191" y="1495"/>
                    </a:lnTo>
                    <a:lnTo>
                      <a:pt x="1190" y="1495"/>
                    </a:lnTo>
                    <a:lnTo>
                      <a:pt x="1191" y="1495"/>
                    </a:lnTo>
                    <a:lnTo>
                      <a:pt x="1191" y="1493"/>
                    </a:lnTo>
                    <a:lnTo>
                      <a:pt x="1191" y="1495"/>
                    </a:lnTo>
                    <a:lnTo>
                      <a:pt x="1191" y="1493"/>
                    </a:lnTo>
                    <a:lnTo>
                      <a:pt x="1191" y="1495"/>
                    </a:lnTo>
                    <a:lnTo>
                      <a:pt x="1193" y="1493"/>
                    </a:lnTo>
                    <a:close/>
                    <a:moveTo>
                      <a:pt x="1161" y="1247"/>
                    </a:moveTo>
                    <a:lnTo>
                      <a:pt x="1159" y="1247"/>
                    </a:lnTo>
                    <a:lnTo>
                      <a:pt x="1159" y="1248"/>
                    </a:lnTo>
                    <a:lnTo>
                      <a:pt x="1157" y="1248"/>
                    </a:lnTo>
                    <a:lnTo>
                      <a:pt x="1156" y="1250"/>
                    </a:lnTo>
                    <a:lnTo>
                      <a:pt x="1156" y="1248"/>
                    </a:lnTo>
                    <a:lnTo>
                      <a:pt x="1156" y="1250"/>
                    </a:lnTo>
                    <a:lnTo>
                      <a:pt x="1154" y="1250"/>
                    </a:lnTo>
                    <a:lnTo>
                      <a:pt x="1156" y="1250"/>
                    </a:lnTo>
                    <a:lnTo>
                      <a:pt x="1154" y="1250"/>
                    </a:lnTo>
                    <a:lnTo>
                      <a:pt x="1156" y="1250"/>
                    </a:lnTo>
                    <a:lnTo>
                      <a:pt x="1156" y="1248"/>
                    </a:lnTo>
                    <a:lnTo>
                      <a:pt x="1157" y="1247"/>
                    </a:lnTo>
                    <a:lnTo>
                      <a:pt x="1157" y="1248"/>
                    </a:lnTo>
                    <a:lnTo>
                      <a:pt x="1157" y="1247"/>
                    </a:lnTo>
                    <a:lnTo>
                      <a:pt x="1159" y="1247"/>
                    </a:lnTo>
                    <a:lnTo>
                      <a:pt x="1161" y="1245"/>
                    </a:lnTo>
                    <a:lnTo>
                      <a:pt x="1161" y="1247"/>
                    </a:lnTo>
                    <a:close/>
                    <a:moveTo>
                      <a:pt x="1195" y="1063"/>
                    </a:moveTo>
                    <a:lnTo>
                      <a:pt x="1193" y="1065"/>
                    </a:lnTo>
                    <a:lnTo>
                      <a:pt x="1191" y="1065"/>
                    </a:lnTo>
                    <a:lnTo>
                      <a:pt x="1191" y="1063"/>
                    </a:lnTo>
                    <a:lnTo>
                      <a:pt x="1193" y="1063"/>
                    </a:lnTo>
                    <a:lnTo>
                      <a:pt x="1195" y="1063"/>
                    </a:lnTo>
                    <a:close/>
                    <a:moveTo>
                      <a:pt x="1196" y="1466"/>
                    </a:moveTo>
                    <a:lnTo>
                      <a:pt x="1198" y="1466"/>
                    </a:lnTo>
                    <a:lnTo>
                      <a:pt x="1198" y="1468"/>
                    </a:lnTo>
                    <a:lnTo>
                      <a:pt x="1200" y="1468"/>
                    </a:lnTo>
                    <a:lnTo>
                      <a:pt x="1198" y="1468"/>
                    </a:lnTo>
                    <a:lnTo>
                      <a:pt x="1198" y="1470"/>
                    </a:lnTo>
                    <a:lnTo>
                      <a:pt x="1198" y="1468"/>
                    </a:lnTo>
                    <a:lnTo>
                      <a:pt x="1196" y="1470"/>
                    </a:lnTo>
                    <a:lnTo>
                      <a:pt x="1196" y="1468"/>
                    </a:lnTo>
                    <a:lnTo>
                      <a:pt x="1195" y="1466"/>
                    </a:lnTo>
                    <a:lnTo>
                      <a:pt x="1196" y="1466"/>
                    </a:lnTo>
                    <a:close/>
                    <a:moveTo>
                      <a:pt x="1213" y="1515"/>
                    </a:moveTo>
                    <a:lnTo>
                      <a:pt x="1212" y="1515"/>
                    </a:lnTo>
                    <a:lnTo>
                      <a:pt x="1212" y="1517"/>
                    </a:lnTo>
                    <a:lnTo>
                      <a:pt x="1210" y="1517"/>
                    </a:lnTo>
                    <a:lnTo>
                      <a:pt x="1212" y="1515"/>
                    </a:lnTo>
                    <a:lnTo>
                      <a:pt x="1210" y="1515"/>
                    </a:lnTo>
                    <a:lnTo>
                      <a:pt x="1210" y="1514"/>
                    </a:lnTo>
                    <a:lnTo>
                      <a:pt x="1212" y="1514"/>
                    </a:lnTo>
                    <a:lnTo>
                      <a:pt x="1210" y="1514"/>
                    </a:lnTo>
                    <a:lnTo>
                      <a:pt x="1212" y="1514"/>
                    </a:lnTo>
                    <a:lnTo>
                      <a:pt x="1213" y="1514"/>
                    </a:lnTo>
                    <a:lnTo>
                      <a:pt x="1213" y="1515"/>
                    </a:lnTo>
                    <a:close/>
                    <a:moveTo>
                      <a:pt x="1378" y="1660"/>
                    </a:moveTo>
                    <a:lnTo>
                      <a:pt x="1378" y="1662"/>
                    </a:lnTo>
                    <a:lnTo>
                      <a:pt x="1378" y="1660"/>
                    </a:lnTo>
                    <a:lnTo>
                      <a:pt x="1380" y="1662"/>
                    </a:lnTo>
                    <a:lnTo>
                      <a:pt x="1378" y="1662"/>
                    </a:lnTo>
                    <a:lnTo>
                      <a:pt x="1378" y="1663"/>
                    </a:lnTo>
                    <a:lnTo>
                      <a:pt x="1377" y="1663"/>
                    </a:lnTo>
                    <a:lnTo>
                      <a:pt x="1377" y="1662"/>
                    </a:lnTo>
                    <a:lnTo>
                      <a:pt x="1378" y="1662"/>
                    </a:lnTo>
                    <a:lnTo>
                      <a:pt x="1377" y="1662"/>
                    </a:lnTo>
                    <a:lnTo>
                      <a:pt x="1375" y="1662"/>
                    </a:lnTo>
                    <a:lnTo>
                      <a:pt x="1375" y="1660"/>
                    </a:lnTo>
                    <a:lnTo>
                      <a:pt x="1377" y="1660"/>
                    </a:lnTo>
                    <a:lnTo>
                      <a:pt x="1378" y="1660"/>
                    </a:lnTo>
                    <a:close/>
                    <a:moveTo>
                      <a:pt x="1263" y="1604"/>
                    </a:moveTo>
                    <a:lnTo>
                      <a:pt x="1263" y="1606"/>
                    </a:lnTo>
                    <a:lnTo>
                      <a:pt x="1264" y="1606"/>
                    </a:lnTo>
                    <a:lnTo>
                      <a:pt x="1264" y="1607"/>
                    </a:lnTo>
                    <a:lnTo>
                      <a:pt x="1266" y="1607"/>
                    </a:lnTo>
                    <a:lnTo>
                      <a:pt x="1264" y="1607"/>
                    </a:lnTo>
                    <a:lnTo>
                      <a:pt x="1263" y="1607"/>
                    </a:lnTo>
                    <a:lnTo>
                      <a:pt x="1261" y="1606"/>
                    </a:lnTo>
                    <a:lnTo>
                      <a:pt x="1263" y="1604"/>
                    </a:lnTo>
                    <a:close/>
                    <a:moveTo>
                      <a:pt x="1173" y="1359"/>
                    </a:moveTo>
                    <a:lnTo>
                      <a:pt x="1174" y="1359"/>
                    </a:lnTo>
                    <a:lnTo>
                      <a:pt x="1173" y="1361"/>
                    </a:lnTo>
                    <a:lnTo>
                      <a:pt x="1171" y="1361"/>
                    </a:lnTo>
                    <a:lnTo>
                      <a:pt x="1171" y="1359"/>
                    </a:lnTo>
                    <a:lnTo>
                      <a:pt x="1173" y="1359"/>
                    </a:lnTo>
                    <a:close/>
                    <a:moveTo>
                      <a:pt x="1363" y="1665"/>
                    </a:moveTo>
                    <a:lnTo>
                      <a:pt x="1366" y="1665"/>
                    </a:lnTo>
                    <a:lnTo>
                      <a:pt x="1366" y="1672"/>
                    </a:lnTo>
                    <a:lnTo>
                      <a:pt x="1363" y="1672"/>
                    </a:lnTo>
                    <a:lnTo>
                      <a:pt x="1363" y="1665"/>
                    </a:lnTo>
                    <a:close/>
                    <a:moveTo>
                      <a:pt x="1253" y="1590"/>
                    </a:moveTo>
                    <a:lnTo>
                      <a:pt x="1256" y="1590"/>
                    </a:lnTo>
                    <a:lnTo>
                      <a:pt x="1256" y="1594"/>
                    </a:lnTo>
                    <a:lnTo>
                      <a:pt x="1253" y="1594"/>
                    </a:lnTo>
                    <a:lnTo>
                      <a:pt x="1253" y="1590"/>
                    </a:lnTo>
                    <a:close/>
                    <a:moveTo>
                      <a:pt x="1217" y="971"/>
                    </a:moveTo>
                    <a:lnTo>
                      <a:pt x="1219" y="971"/>
                    </a:lnTo>
                    <a:lnTo>
                      <a:pt x="1219" y="973"/>
                    </a:lnTo>
                    <a:lnTo>
                      <a:pt x="1217" y="973"/>
                    </a:lnTo>
                    <a:lnTo>
                      <a:pt x="1217" y="971"/>
                    </a:lnTo>
                    <a:lnTo>
                      <a:pt x="1215" y="971"/>
                    </a:lnTo>
                    <a:lnTo>
                      <a:pt x="1217" y="969"/>
                    </a:lnTo>
                    <a:lnTo>
                      <a:pt x="1217" y="971"/>
                    </a:lnTo>
                    <a:close/>
                    <a:moveTo>
                      <a:pt x="1203" y="1473"/>
                    </a:moveTo>
                    <a:lnTo>
                      <a:pt x="1207" y="1473"/>
                    </a:lnTo>
                    <a:lnTo>
                      <a:pt x="1207" y="1478"/>
                    </a:lnTo>
                    <a:lnTo>
                      <a:pt x="1203" y="1478"/>
                    </a:lnTo>
                    <a:lnTo>
                      <a:pt x="1203" y="1473"/>
                    </a:lnTo>
                    <a:close/>
                    <a:moveTo>
                      <a:pt x="1232" y="1600"/>
                    </a:moveTo>
                    <a:lnTo>
                      <a:pt x="1230" y="1602"/>
                    </a:lnTo>
                    <a:lnTo>
                      <a:pt x="1229" y="1602"/>
                    </a:lnTo>
                    <a:lnTo>
                      <a:pt x="1227" y="1602"/>
                    </a:lnTo>
                    <a:lnTo>
                      <a:pt x="1227" y="1600"/>
                    </a:lnTo>
                    <a:lnTo>
                      <a:pt x="1229" y="1600"/>
                    </a:lnTo>
                    <a:lnTo>
                      <a:pt x="1230" y="1600"/>
                    </a:lnTo>
                    <a:lnTo>
                      <a:pt x="1232" y="1600"/>
                    </a:lnTo>
                    <a:close/>
                    <a:moveTo>
                      <a:pt x="1331" y="1633"/>
                    </a:moveTo>
                    <a:lnTo>
                      <a:pt x="1334" y="1633"/>
                    </a:lnTo>
                    <a:lnTo>
                      <a:pt x="1334" y="1636"/>
                    </a:lnTo>
                    <a:lnTo>
                      <a:pt x="1331" y="1636"/>
                    </a:lnTo>
                    <a:lnTo>
                      <a:pt x="1331" y="1633"/>
                    </a:lnTo>
                    <a:close/>
                    <a:moveTo>
                      <a:pt x="1263" y="1589"/>
                    </a:moveTo>
                    <a:lnTo>
                      <a:pt x="1264" y="1589"/>
                    </a:lnTo>
                    <a:lnTo>
                      <a:pt x="1264" y="1590"/>
                    </a:lnTo>
                    <a:lnTo>
                      <a:pt x="1263" y="1590"/>
                    </a:lnTo>
                    <a:lnTo>
                      <a:pt x="1264" y="1590"/>
                    </a:lnTo>
                    <a:lnTo>
                      <a:pt x="1263" y="1590"/>
                    </a:lnTo>
                    <a:lnTo>
                      <a:pt x="1261" y="1590"/>
                    </a:lnTo>
                    <a:lnTo>
                      <a:pt x="1261" y="1589"/>
                    </a:lnTo>
                    <a:lnTo>
                      <a:pt x="1263" y="1589"/>
                    </a:lnTo>
                    <a:close/>
                    <a:moveTo>
                      <a:pt x="1181" y="1464"/>
                    </a:moveTo>
                    <a:lnTo>
                      <a:pt x="1179" y="1466"/>
                    </a:lnTo>
                    <a:lnTo>
                      <a:pt x="1178" y="1466"/>
                    </a:lnTo>
                    <a:lnTo>
                      <a:pt x="1178" y="1468"/>
                    </a:lnTo>
                    <a:lnTo>
                      <a:pt x="1178" y="1466"/>
                    </a:lnTo>
                    <a:lnTo>
                      <a:pt x="1178" y="1464"/>
                    </a:lnTo>
                    <a:lnTo>
                      <a:pt x="1179" y="1464"/>
                    </a:lnTo>
                    <a:lnTo>
                      <a:pt x="1181" y="1463"/>
                    </a:lnTo>
                    <a:lnTo>
                      <a:pt x="1181" y="1464"/>
                    </a:lnTo>
                    <a:close/>
                    <a:moveTo>
                      <a:pt x="1327" y="1645"/>
                    </a:moveTo>
                    <a:lnTo>
                      <a:pt x="1329" y="1645"/>
                    </a:lnTo>
                    <a:lnTo>
                      <a:pt x="1329" y="1646"/>
                    </a:lnTo>
                    <a:lnTo>
                      <a:pt x="1331" y="1646"/>
                    </a:lnTo>
                    <a:lnTo>
                      <a:pt x="1329" y="1646"/>
                    </a:lnTo>
                    <a:lnTo>
                      <a:pt x="1329" y="1648"/>
                    </a:lnTo>
                    <a:lnTo>
                      <a:pt x="1331" y="1648"/>
                    </a:lnTo>
                    <a:lnTo>
                      <a:pt x="1332" y="1648"/>
                    </a:lnTo>
                    <a:lnTo>
                      <a:pt x="1331" y="1648"/>
                    </a:lnTo>
                    <a:lnTo>
                      <a:pt x="1329" y="1648"/>
                    </a:lnTo>
                    <a:lnTo>
                      <a:pt x="1327" y="1648"/>
                    </a:lnTo>
                    <a:lnTo>
                      <a:pt x="1329" y="1646"/>
                    </a:lnTo>
                    <a:lnTo>
                      <a:pt x="1327" y="1646"/>
                    </a:lnTo>
                    <a:lnTo>
                      <a:pt x="1327" y="1645"/>
                    </a:lnTo>
                    <a:close/>
                    <a:moveTo>
                      <a:pt x="1217" y="1500"/>
                    </a:moveTo>
                    <a:lnTo>
                      <a:pt x="1219" y="1500"/>
                    </a:lnTo>
                    <a:lnTo>
                      <a:pt x="1219" y="1502"/>
                    </a:lnTo>
                    <a:lnTo>
                      <a:pt x="1217" y="1502"/>
                    </a:lnTo>
                    <a:lnTo>
                      <a:pt x="1215" y="1502"/>
                    </a:lnTo>
                    <a:lnTo>
                      <a:pt x="1217" y="1502"/>
                    </a:lnTo>
                    <a:lnTo>
                      <a:pt x="1215" y="1502"/>
                    </a:lnTo>
                    <a:lnTo>
                      <a:pt x="1217" y="1500"/>
                    </a:lnTo>
                    <a:lnTo>
                      <a:pt x="1219" y="1498"/>
                    </a:lnTo>
                    <a:lnTo>
                      <a:pt x="1219" y="1500"/>
                    </a:lnTo>
                    <a:lnTo>
                      <a:pt x="1217" y="1500"/>
                    </a:lnTo>
                    <a:close/>
                    <a:moveTo>
                      <a:pt x="1171" y="1446"/>
                    </a:moveTo>
                    <a:lnTo>
                      <a:pt x="1174" y="1446"/>
                    </a:lnTo>
                    <a:lnTo>
                      <a:pt x="1174" y="1451"/>
                    </a:lnTo>
                    <a:lnTo>
                      <a:pt x="1171" y="1451"/>
                    </a:lnTo>
                    <a:lnTo>
                      <a:pt x="1171" y="1446"/>
                    </a:lnTo>
                    <a:close/>
                    <a:moveTo>
                      <a:pt x="1190" y="1119"/>
                    </a:moveTo>
                    <a:lnTo>
                      <a:pt x="1191" y="1119"/>
                    </a:lnTo>
                    <a:lnTo>
                      <a:pt x="1191" y="1122"/>
                    </a:lnTo>
                    <a:lnTo>
                      <a:pt x="1190" y="1122"/>
                    </a:lnTo>
                    <a:lnTo>
                      <a:pt x="1190" y="1119"/>
                    </a:lnTo>
                    <a:close/>
                    <a:moveTo>
                      <a:pt x="1222" y="1570"/>
                    </a:moveTo>
                    <a:lnTo>
                      <a:pt x="1224" y="1570"/>
                    </a:lnTo>
                    <a:lnTo>
                      <a:pt x="1224" y="1572"/>
                    </a:lnTo>
                    <a:lnTo>
                      <a:pt x="1222" y="1572"/>
                    </a:lnTo>
                    <a:lnTo>
                      <a:pt x="1222" y="1570"/>
                    </a:lnTo>
                    <a:lnTo>
                      <a:pt x="1220" y="1572"/>
                    </a:lnTo>
                    <a:lnTo>
                      <a:pt x="1220" y="1570"/>
                    </a:lnTo>
                    <a:lnTo>
                      <a:pt x="1222" y="1570"/>
                    </a:lnTo>
                    <a:close/>
                    <a:moveTo>
                      <a:pt x="1205" y="1019"/>
                    </a:moveTo>
                    <a:lnTo>
                      <a:pt x="1208" y="1019"/>
                    </a:lnTo>
                    <a:lnTo>
                      <a:pt x="1208" y="1022"/>
                    </a:lnTo>
                    <a:lnTo>
                      <a:pt x="1205" y="1022"/>
                    </a:lnTo>
                    <a:lnTo>
                      <a:pt x="1205" y="1019"/>
                    </a:lnTo>
                    <a:close/>
                    <a:moveTo>
                      <a:pt x="1164" y="1366"/>
                    </a:moveTo>
                    <a:lnTo>
                      <a:pt x="1168" y="1366"/>
                    </a:lnTo>
                    <a:lnTo>
                      <a:pt x="1168" y="1371"/>
                    </a:lnTo>
                    <a:lnTo>
                      <a:pt x="1164" y="1371"/>
                    </a:lnTo>
                    <a:lnTo>
                      <a:pt x="1164" y="1366"/>
                    </a:lnTo>
                    <a:close/>
                    <a:moveTo>
                      <a:pt x="1191" y="1498"/>
                    </a:moveTo>
                    <a:lnTo>
                      <a:pt x="1193" y="1498"/>
                    </a:lnTo>
                    <a:lnTo>
                      <a:pt x="1193" y="1500"/>
                    </a:lnTo>
                    <a:lnTo>
                      <a:pt x="1191" y="1502"/>
                    </a:lnTo>
                    <a:lnTo>
                      <a:pt x="1191" y="1500"/>
                    </a:lnTo>
                    <a:lnTo>
                      <a:pt x="1193" y="1500"/>
                    </a:lnTo>
                    <a:lnTo>
                      <a:pt x="1191" y="1500"/>
                    </a:lnTo>
                    <a:lnTo>
                      <a:pt x="1191" y="1498"/>
                    </a:lnTo>
                    <a:lnTo>
                      <a:pt x="1190" y="1498"/>
                    </a:lnTo>
                    <a:lnTo>
                      <a:pt x="1190" y="1497"/>
                    </a:lnTo>
                    <a:lnTo>
                      <a:pt x="1191" y="1497"/>
                    </a:lnTo>
                    <a:lnTo>
                      <a:pt x="1191" y="1498"/>
                    </a:lnTo>
                    <a:close/>
                    <a:moveTo>
                      <a:pt x="1186" y="1060"/>
                    </a:moveTo>
                    <a:lnTo>
                      <a:pt x="1188" y="1061"/>
                    </a:lnTo>
                    <a:lnTo>
                      <a:pt x="1188" y="1060"/>
                    </a:lnTo>
                    <a:lnTo>
                      <a:pt x="1190" y="1061"/>
                    </a:lnTo>
                    <a:lnTo>
                      <a:pt x="1191" y="1061"/>
                    </a:lnTo>
                    <a:lnTo>
                      <a:pt x="1190" y="1061"/>
                    </a:lnTo>
                    <a:lnTo>
                      <a:pt x="1188" y="1061"/>
                    </a:lnTo>
                    <a:lnTo>
                      <a:pt x="1186" y="1061"/>
                    </a:lnTo>
                    <a:lnTo>
                      <a:pt x="1185" y="1061"/>
                    </a:lnTo>
                    <a:lnTo>
                      <a:pt x="1185" y="1060"/>
                    </a:lnTo>
                    <a:lnTo>
                      <a:pt x="1186" y="1060"/>
                    </a:lnTo>
                    <a:close/>
                    <a:moveTo>
                      <a:pt x="1191" y="1449"/>
                    </a:moveTo>
                    <a:lnTo>
                      <a:pt x="1193" y="1451"/>
                    </a:lnTo>
                    <a:lnTo>
                      <a:pt x="1195" y="1451"/>
                    </a:lnTo>
                    <a:lnTo>
                      <a:pt x="1196" y="1453"/>
                    </a:lnTo>
                    <a:lnTo>
                      <a:pt x="1195" y="1453"/>
                    </a:lnTo>
                    <a:lnTo>
                      <a:pt x="1195" y="1454"/>
                    </a:lnTo>
                    <a:lnTo>
                      <a:pt x="1193" y="1453"/>
                    </a:lnTo>
                    <a:lnTo>
                      <a:pt x="1195" y="1453"/>
                    </a:lnTo>
                    <a:lnTo>
                      <a:pt x="1193" y="1453"/>
                    </a:lnTo>
                    <a:lnTo>
                      <a:pt x="1193" y="1451"/>
                    </a:lnTo>
                    <a:lnTo>
                      <a:pt x="1191" y="1451"/>
                    </a:lnTo>
                    <a:lnTo>
                      <a:pt x="1191" y="1449"/>
                    </a:lnTo>
                    <a:lnTo>
                      <a:pt x="1191" y="1451"/>
                    </a:lnTo>
                    <a:lnTo>
                      <a:pt x="1191" y="1449"/>
                    </a:lnTo>
                    <a:close/>
                    <a:moveTo>
                      <a:pt x="1215" y="993"/>
                    </a:moveTo>
                    <a:lnTo>
                      <a:pt x="1213" y="995"/>
                    </a:lnTo>
                    <a:lnTo>
                      <a:pt x="1213" y="993"/>
                    </a:lnTo>
                    <a:lnTo>
                      <a:pt x="1212" y="995"/>
                    </a:lnTo>
                    <a:lnTo>
                      <a:pt x="1212" y="993"/>
                    </a:lnTo>
                    <a:lnTo>
                      <a:pt x="1213" y="993"/>
                    </a:lnTo>
                    <a:lnTo>
                      <a:pt x="1213" y="992"/>
                    </a:lnTo>
                    <a:lnTo>
                      <a:pt x="1215" y="993"/>
                    </a:lnTo>
                    <a:close/>
                    <a:moveTo>
                      <a:pt x="1426" y="1677"/>
                    </a:moveTo>
                    <a:lnTo>
                      <a:pt x="1428" y="1677"/>
                    </a:lnTo>
                    <a:lnTo>
                      <a:pt x="1428" y="1679"/>
                    </a:lnTo>
                    <a:lnTo>
                      <a:pt x="1426" y="1679"/>
                    </a:lnTo>
                    <a:lnTo>
                      <a:pt x="1426" y="1680"/>
                    </a:lnTo>
                    <a:lnTo>
                      <a:pt x="1424" y="1680"/>
                    </a:lnTo>
                    <a:lnTo>
                      <a:pt x="1424" y="1679"/>
                    </a:lnTo>
                    <a:lnTo>
                      <a:pt x="1426" y="1677"/>
                    </a:lnTo>
                    <a:close/>
                    <a:moveTo>
                      <a:pt x="1213" y="747"/>
                    </a:moveTo>
                    <a:lnTo>
                      <a:pt x="1213" y="748"/>
                    </a:lnTo>
                    <a:lnTo>
                      <a:pt x="1213" y="747"/>
                    </a:lnTo>
                    <a:lnTo>
                      <a:pt x="1212" y="748"/>
                    </a:lnTo>
                    <a:lnTo>
                      <a:pt x="1212" y="747"/>
                    </a:lnTo>
                    <a:lnTo>
                      <a:pt x="1212" y="745"/>
                    </a:lnTo>
                    <a:lnTo>
                      <a:pt x="1212" y="747"/>
                    </a:lnTo>
                    <a:lnTo>
                      <a:pt x="1213" y="747"/>
                    </a:lnTo>
                    <a:close/>
                    <a:moveTo>
                      <a:pt x="1220" y="993"/>
                    </a:moveTo>
                    <a:lnTo>
                      <a:pt x="1222" y="993"/>
                    </a:lnTo>
                    <a:lnTo>
                      <a:pt x="1222" y="995"/>
                    </a:lnTo>
                    <a:lnTo>
                      <a:pt x="1220" y="995"/>
                    </a:lnTo>
                    <a:lnTo>
                      <a:pt x="1219" y="993"/>
                    </a:lnTo>
                    <a:lnTo>
                      <a:pt x="1220" y="993"/>
                    </a:lnTo>
                    <a:close/>
                    <a:moveTo>
                      <a:pt x="1168" y="1259"/>
                    </a:moveTo>
                    <a:lnTo>
                      <a:pt x="1171" y="1259"/>
                    </a:lnTo>
                    <a:lnTo>
                      <a:pt x="1171" y="1262"/>
                    </a:lnTo>
                    <a:lnTo>
                      <a:pt x="1168" y="1262"/>
                    </a:lnTo>
                    <a:lnTo>
                      <a:pt x="1168" y="1259"/>
                    </a:lnTo>
                    <a:close/>
                    <a:moveTo>
                      <a:pt x="1159" y="1252"/>
                    </a:moveTo>
                    <a:lnTo>
                      <a:pt x="1161" y="1253"/>
                    </a:lnTo>
                    <a:lnTo>
                      <a:pt x="1159" y="1253"/>
                    </a:lnTo>
                    <a:lnTo>
                      <a:pt x="1157" y="1255"/>
                    </a:lnTo>
                    <a:lnTo>
                      <a:pt x="1157" y="1253"/>
                    </a:lnTo>
                    <a:lnTo>
                      <a:pt x="1159" y="1253"/>
                    </a:lnTo>
                    <a:lnTo>
                      <a:pt x="1157" y="1253"/>
                    </a:lnTo>
                    <a:lnTo>
                      <a:pt x="1156" y="1253"/>
                    </a:lnTo>
                    <a:lnTo>
                      <a:pt x="1157" y="1253"/>
                    </a:lnTo>
                    <a:lnTo>
                      <a:pt x="1159" y="1252"/>
                    </a:lnTo>
                    <a:close/>
                    <a:moveTo>
                      <a:pt x="1290" y="1575"/>
                    </a:moveTo>
                    <a:lnTo>
                      <a:pt x="1292" y="1575"/>
                    </a:lnTo>
                    <a:lnTo>
                      <a:pt x="1292" y="1580"/>
                    </a:lnTo>
                    <a:lnTo>
                      <a:pt x="1290" y="1580"/>
                    </a:lnTo>
                    <a:lnTo>
                      <a:pt x="1290" y="1575"/>
                    </a:lnTo>
                    <a:close/>
                    <a:moveTo>
                      <a:pt x="1290" y="1629"/>
                    </a:moveTo>
                    <a:lnTo>
                      <a:pt x="1293" y="1629"/>
                    </a:lnTo>
                    <a:lnTo>
                      <a:pt x="1293" y="1635"/>
                    </a:lnTo>
                    <a:lnTo>
                      <a:pt x="1290" y="1635"/>
                    </a:lnTo>
                    <a:lnTo>
                      <a:pt x="1290" y="1629"/>
                    </a:lnTo>
                    <a:close/>
                    <a:moveTo>
                      <a:pt x="1161" y="1245"/>
                    </a:moveTo>
                    <a:lnTo>
                      <a:pt x="1159" y="1247"/>
                    </a:lnTo>
                    <a:lnTo>
                      <a:pt x="1157" y="1247"/>
                    </a:lnTo>
                    <a:lnTo>
                      <a:pt x="1157" y="1245"/>
                    </a:lnTo>
                    <a:lnTo>
                      <a:pt x="1159" y="1245"/>
                    </a:lnTo>
                    <a:lnTo>
                      <a:pt x="1157" y="1245"/>
                    </a:lnTo>
                    <a:lnTo>
                      <a:pt x="1159" y="1245"/>
                    </a:lnTo>
                    <a:lnTo>
                      <a:pt x="1161" y="1245"/>
                    </a:lnTo>
                    <a:lnTo>
                      <a:pt x="1161" y="1243"/>
                    </a:lnTo>
                    <a:lnTo>
                      <a:pt x="1161" y="1245"/>
                    </a:lnTo>
                    <a:close/>
                    <a:moveTo>
                      <a:pt x="1210" y="1017"/>
                    </a:moveTo>
                    <a:lnTo>
                      <a:pt x="1213" y="1017"/>
                    </a:lnTo>
                    <a:lnTo>
                      <a:pt x="1213" y="1020"/>
                    </a:lnTo>
                    <a:lnTo>
                      <a:pt x="1210" y="1020"/>
                    </a:lnTo>
                    <a:lnTo>
                      <a:pt x="1210" y="1017"/>
                    </a:lnTo>
                    <a:close/>
                    <a:moveTo>
                      <a:pt x="1200" y="1085"/>
                    </a:moveTo>
                    <a:lnTo>
                      <a:pt x="1200" y="1087"/>
                    </a:lnTo>
                    <a:lnTo>
                      <a:pt x="1198" y="1085"/>
                    </a:lnTo>
                    <a:lnTo>
                      <a:pt x="1196" y="1085"/>
                    </a:lnTo>
                    <a:lnTo>
                      <a:pt x="1198" y="1085"/>
                    </a:lnTo>
                    <a:lnTo>
                      <a:pt x="1200" y="1083"/>
                    </a:lnTo>
                    <a:lnTo>
                      <a:pt x="1200" y="1085"/>
                    </a:lnTo>
                    <a:close/>
                    <a:moveTo>
                      <a:pt x="1210" y="1253"/>
                    </a:moveTo>
                    <a:lnTo>
                      <a:pt x="1210" y="1255"/>
                    </a:lnTo>
                    <a:lnTo>
                      <a:pt x="1212" y="1255"/>
                    </a:lnTo>
                    <a:lnTo>
                      <a:pt x="1212" y="1257"/>
                    </a:lnTo>
                    <a:lnTo>
                      <a:pt x="1210" y="1255"/>
                    </a:lnTo>
                    <a:lnTo>
                      <a:pt x="1208" y="1255"/>
                    </a:lnTo>
                    <a:lnTo>
                      <a:pt x="1208" y="1253"/>
                    </a:lnTo>
                    <a:lnTo>
                      <a:pt x="1210" y="1253"/>
                    </a:lnTo>
                    <a:close/>
                    <a:moveTo>
                      <a:pt x="1156" y="1187"/>
                    </a:moveTo>
                    <a:lnTo>
                      <a:pt x="1157" y="1189"/>
                    </a:lnTo>
                    <a:lnTo>
                      <a:pt x="1159" y="1191"/>
                    </a:lnTo>
                    <a:lnTo>
                      <a:pt x="1157" y="1191"/>
                    </a:lnTo>
                    <a:lnTo>
                      <a:pt x="1156" y="1189"/>
                    </a:lnTo>
                    <a:lnTo>
                      <a:pt x="1154" y="1189"/>
                    </a:lnTo>
                    <a:lnTo>
                      <a:pt x="1156" y="1187"/>
                    </a:lnTo>
                    <a:close/>
                    <a:moveTo>
                      <a:pt x="1219" y="1119"/>
                    </a:moveTo>
                    <a:lnTo>
                      <a:pt x="1217" y="1121"/>
                    </a:lnTo>
                    <a:lnTo>
                      <a:pt x="1215" y="1121"/>
                    </a:lnTo>
                    <a:lnTo>
                      <a:pt x="1217" y="1119"/>
                    </a:lnTo>
                    <a:lnTo>
                      <a:pt x="1215" y="1119"/>
                    </a:lnTo>
                    <a:lnTo>
                      <a:pt x="1217" y="1119"/>
                    </a:lnTo>
                    <a:lnTo>
                      <a:pt x="1219" y="1119"/>
                    </a:lnTo>
                    <a:close/>
                    <a:moveTo>
                      <a:pt x="1210" y="1242"/>
                    </a:moveTo>
                    <a:lnTo>
                      <a:pt x="1210" y="1243"/>
                    </a:lnTo>
                    <a:lnTo>
                      <a:pt x="1208" y="1243"/>
                    </a:lnTo>
                    <a:lnTo>
                      <a:pt x="1207" y="1243"/>
                    </a:lnTo>
                    <a:lnTo>
                      <a:pt x="1207" y="1242"/>
                    </a:lnTo>
                    <a:lnTo>
                      <a:pt x="1208" y="1242"/>
                    </a:lnTo>
                    <a:lnTo>
                      <a:pt x="1210" y="1242"/>
                    </a:lnTo>
                    <a:close/>
                    <a:moveTo>
                      <a:pt x="1151" y="1291"/>
                    </a:moveTo>
                    <a:lnTo>
                      <a:pt x="1154" y="1291"/>
                    </a:lnTo>
                    <a:lnTo>
                      <a:pt x="1154" y="1294"/>
                    </a:lnTo>
                    <a:lnTo>
                      <a:pt x="1151" y="1294"/>
                    </a:lnTo>
                    <a:lnTo>
                      <a:pt x="1151" y="1291"/>
                    </a:lnTo>
                    <a:close/>
                    <a:moveTo>
                      <a:pt x="1164" y="1476"/>
                    </a:moveTo>
                    <a:lnTo>
                      <a:pt x="1168" y="1476"/>
                    </a:lnTo>
                    <a:lnTo>
                      <a:pt x="1168" y="1480"/>
                    </a:lnTo>
                    <a:lnTo>
                      <a:pt x="1164" y="1480"/>
                    </a:lnTo>
                    <a:lnTo>
                      <a:pt x="1164" y="1476"/>
                    </a:lnTo>
                    <a:close/>
                    <a:moveTo>
                      <a:pt x="1188" y="1475"/>
                    </a:moveTo>
                    <a:lnTo>
                      <a:pt x="1188" y="1476"/>
                    </a:lnTo>
                    <a:lnTo>
                      <a:pt x="1186" y="1476"/>
                    </a:lnTo>
                    <a:lnTo>
                      <a:pt x="1186" y="1475"/>
                    </a:lnTo>
                    <a:lnTo>
                      <a:pt x="1188" y="1475"/>
                    </a:lnTo>
                    <a:lnTo>
                      <a:pt x="1186" y="1475"/>
                    </a:lnTo>
                    <a:lnTo>
                      <a:pt x="1185" y="1475"/>
                    </a:lnTo>
                    <a:lnTo>
                      <a:pt x="1186" y="1475"/>
                    </a:lnTo>
                    <a:lnTo>
                      <a:pt x="1188" y="1473"/>
                    </a:lnTo>
                    <a:lnTo>
                      <a:pt x="1190" y="1475"/>
                    </a:lnTo>
                    <a:lnTo>
                      <a:pt x="1188" y="1475"/>
                    </a:lnTo>
                    <a:close/>
                    <a:moveTo>
                      <a:pt x="1186" y="1119"/>
                    </a:moveTo>
                    <a:lnTo>
                      <a:pt x="1188" y="1119"/>
                    </a:lnTo>
                    <a:lnTo>
                      <a:pt x="1188" y="1124"/>
                    </a:lnTo>
                    <a:lnTo>
                      <a:pt x="1186" y="1124"/>
                    </a:lnTo>
                    <a:lnTo>
                      <a:pt x="1186" y="1119"/>
                    </a:lnTo>
                    <a:close/>
                    <a:moveTo>
                      <a:pt x="1326" y="1648"/>
                    </a:moveTo>
                    <a:lnTo>
                      <a:pt x="1327" y="1650"/>
                    </a:lnTo>
                    <a:lnTo>
                      <a:pt x="1329" y="1650"/>
                    </a:lnTo>
                    <a:lnTo>
                      <a:pt x="1327" y="1650"/>
                    </a:lnTo>
                    <a:lnTo>
                      <a:pt x="1326" y="1650"/>
                    </a:lnTo>
                    <a:lnTo>
                      <a:pt x="1324" y="1650"/>
                    </a:lnTo>
                    <a:lnTo>
                      <a:pt x="1324" y="1648"/>
                    </a:lnTo>
                    <a:lnTo>
                      <a:pt x="1326" y="1648"/>
                    </a:lnTo>
                    <a:close/>
                    <a:moveTo>
                      <a:pt x="1205" y="1065"/>
                    </a:moveTo>
                    <a:lnTo>
                      <a:pt x="1208" y="1065"/>
                    </a:lnTo>
                    <a:lnTo>
                      <a:pt x="1208" y="1066"/>
                    </a:lnTo>
                    <a:lnTo>
                      <a:pt x="1205" y="1066"/>
                    </a:lnTo>
                    <a:lnTo>
                      <a:pt x="1205" y="1065"/>
                    </a:lnTo>
                    <a:close/>
                    <a:moveTo>
                      <a:pt x="1198" y="1068"/>
                    </a:moveTo>
                    <a:lnTo>
                      <a:pt x="1202" y="1068"/>
                    </a:lnTo>
                    <a:lnTo>
                      <a:pt x="1202" y="1071"/>
                    </a:lnTo>
                    <a:lnTo>
                      <a:pt x="1198" y="1071"/>
                    </a:lnTo>
                    <a:lnTo>
                      <a:pt x="1198" y="1068"/>
                    </a:lnTo>
                    <a:close/>
                    <a:moveTo>
                      <a:pt x="1210" y="1022"/>
                    </a:moveTo>
                    <a:lnTo>
                      <a:pt x="1210" y="1024"/>
                    </a:lnTo>
                    <a:lnTo>
                      <a:pt x="1210" y="1022"/>
                    </a:lnTo>
                    <a:lnTo>
                      <a:pt x="1208" y="1022"/>
                    </a:lnTo>
                    <a:lnTo>
                      <a:pt x="1208" y="1020"/>
                    </a:lnTo>
                    <a:lnTo>
                      <a:pt x="1208" y="1019"/>
                    </a:lnTo>
                    <a:lnTo>
                      <a:pt x="1210" y="1019"/>
                    </a:lnTo>
                    <a:lnTo>
                      <a:pt x="1210" y="1020"/>
                    </a:lnTo>
                    <a:lnTo>
                      <a:pt x="1210" y="1022"/>
                    </a:lnTo>
                    <a:close/>
                    <a:moveTo>
                      <a:pt x="1178" y="1383"/>
                    </a:moveTo>
                    <a:lnTo>
                      <a:pt x="1181" y="1383"/>
                    </a:lnTo>
                    <a:lnTo>
                      <a:pt x="1181" y="1386"/>
                    </a:lnTo>
                    <a:lnTo>
                      <a:pt x="1178" y="1386"/>
                    </a:lnTo>
                    <a:lnTo>
                      <a:pt x="1178" y="1383"/>
                    </a:lnTo>
                    <a:close/>
                    <a:moveTo>
                      <a:pt x="1205" y="1104"/>
                    </a:moveTo>
                    <a:lnTo>
                      <a:pt x="1208" y="1104"/>
                    </a:lnTo>
                    <a:lnTo>
                      <a:pt x="1208" y="1107"/>
                    </a:lnTo>
                    <a:lnTo>
                      <a:pt x="1205" y="1107"/>
                    </a:lnTo>
                    <a:lnTo>
                      <a:pt x="1205" y="1104"/>
                    </a:lnTo>
                    <a:close/>
                    <a:moveTo>
                      <a:pt x="1205" y="1053"/>
                    </a:moveTo>
                    <a:lnTo>
                      <a:pt x="1203" y="1054"/>
                    </a:lnTo>
                    <a:lnTo>
                      <a:pt x="1202" y="1054"/>
                    </a:lnTo>
                    <a:lnTo>
                      <a:pt x="1202" y="1053"/>
                    </a:lnTo>
                    <a:lnTo>
                      <a:pt x="1203" y="1053"/>
                    </a:lnTo>
                    <a:lnTo>
                      <a:pt x="1205" y="1053"/>
                    </a:lnTo>
                    <a:close/>
                    <a:moveTo>
                      <a:pt x="1191" y="1396"/>
                    </a:moveTo>
                    <a:lnTo>
                      <a:pt x="1193" y="1396"/>
                    </a:lnTo>
                    <a:lnTo>
                      <a:pt x="1193" y="1400"/>
                    </a:lnTo>
                    <a:lnTo>
                      <a:pt x="1191" y="1400"/>
                    </a:lnTo>
                    <a:lnTo>
                      <a:pt x="1191" y="1396"/>
                    </a:lnTo>
                    <a:close/>
                    <a:moveTo>
                      <a:pt x="1224" y="1556"/>
                    </a:moveTo>
                    <a:lnTo>
                      <a:pt x="1224" y="1558"/>
                    </a:lnTo>
                    <a:lnTo>
                      <a:pt x="1224" y="1556"/>
                    </a:lnTo>
                    <a:lnTo>
                      <a:pt x="1224" y="1558"/>
                    </a:lnTo>
                    <a:lnTo>
                      <a:pt x="1222" y="1558"/>
                    </a:lnTo>
                    <a:lnTo>
                      <a:pt x="1220" y="1558"/>
                    </a:lnTo>
                    <a:lnTo>
                      <a:pt x="1222" y="1558"/>
                    </a:lnTo>
                    <a:lnTo>
                      <a:pt x="1224" y="1556"/>
                    </a:lnTo>
                    <a:lnTo>
                      <a:pt x="1222" y="1558"/>
                    </a:lnTo>
                    <a:lnTo>
                      <a:pt x="1220" y="1558"/>
                    </a:lnTo>
                    <a:lnTo>
                      <a:pt x="1222" y="1556"/>
                    </a:lnTo>
                    <a:lnTo>
                      <a:pt x="1224" y="1556"/>
                    </a:lnTo>
                    <a:close/>
                    <a:moveTo>
                      <a:pt x="1356" y="1663"/>
                    </a:moveTo>
                    <a:lnTo>
                      <a:pt x="1358" y="1663"/>
                    </a:lnTo>
                    <a:lnTo>
                      <a:pt x="1356" y="1665"/>
                    </a:lnTo>
                    <a:lnTo>
                      <a:pt x="1355" y="1665"/>
                    </a:lnTo>
                    <a:lnTo>
                      <a:pt x="1356" y="1667"/>
                    </a:lnTo>
                    <a:lnTo>
                      <a:pt x="1355" y="1665"/>
                    </a:lnTo>
                    <a:lnTo>
                      <a:pt x="1355" y="1663"/>
                    </a:lnTo>
                    <a:lnTo>
                      <a:pt x="1356" y="1663"/>
                    </a:lnTo>
                    <a:close/>
                    <a:moveTo>
                      <a:pt x="1183" y="1464"/>
                    </a:moveTo>
                    <a:lnTo>
                      <a:pt x="1186" y="1464"/>
                    </a:lnTo>
                    <a:lnTo>
                      <a:pt x="1186" y="1468"/>
                    </a:lnTo>
                    <a:lnTo>
                      <a:pt x="1183" y="1468"/>
                    </a:lnTo>
                    <a:lnTo>
                      <a:pt x="1183" y="1464"/>
                    </a:lnTo>
                    <a:close/>
                    <a:moveTo>
                      <a:pt x="1268" y="1614"/>
                    </a:moveTo>
                    <a:lnTo>
                      <a:pt x="1271" y="1614"/>
                    </a:lnTo>
                    <a:lnTo>
                      <a:pt x="1271" y="1619"/>
                    </a:lnTo>
                    <a:lnTo>
                      <a:pt x="1268" y="1619"/>
                    </a:lnTo>
                    <a:lnTo>
                      <a:pt x="1268" y="1614"/>
                    </a:lnTo>
                    <a:close/>
                    <a:moveTo>
                      <a:pt x="1202" y="1544"/>
                    </a:moveTo>
                    <a:lnTo>
                      <a:pt x="1203" y="1544"/>
                    </a:lnTo>
                    <a:lnTo>
                      <a:pt x="1203" y="1546"/>
                    </a:lnTo>
                    <a:lnTo>
                      <a:pt x="1202" y="1546"/>
                    </a:lnTo>
                    <a:lnTo>
                      <a:pt x="1202" y="1544"/>
                    </a:lnTo>
                    <a:close/>
                    <a:moveTo>
                      <a:pt x="1176" y="1487"/>
                    </a:moveTo>
                    <a:lnTo>
                      <a:pt x="1179" y="1487"/>
                    </a:lnTo>
                    <a:lnTo>
                      <a:pt x="1179" y="1488"/>
                    </a:lnTo>
                    <a:lnTo>
                      <a:pt x="1176" y="1488"/>
                    </a:lnTo>
                    <a:lnTo>
                      <a:pt x="1176" y="1487"/>
                    </a:lnTo>
                    <a:close/>
                    <a:moveTo>
                      <a:pt x="1181" y="1328"/>
                    </a:moveTo>
                    <a:lnTo>
                      <a:pt x="1183" y="1328"/>
                    </a:lnTo>
                    <a:lnTo>
                      <a:pt x="1183" y="1333"/>
                    </a:lnTo>
                    <a:lnTo>
                      <a:pt x="1181" y="1333"/>
                    </a:lnTo>
                    <a:lnTo>
                      <a:pt x="1181" y="1328"/>
                    </a:lnTo>
                    <a:close/>
                    <a:moveTo>
                      <a:pt x="1200" y="1080"/>
                    </a:moveTo>
                    <a:lnTo>
                      <a:pt x="1202" y="1080"/>
                    </a:lnTo>
                    <a:lnTo>
                      <a:pt x="1202" y="1082"/>
                    </a:lnTo>
                    <a:lnTo>
                      <a:pt x="1200" y="1082"/>
                    </a:lnTo>
                    <a:lnTo>
                      <a:pt x="1200" y="1080"/>
                    </a:lnTo>
                    <a:close/>
                    <a:moveTo>
                      <a:pt x="1171" y="1252"/>
                    </a:moveTo>
                    <a:lnTo>
                      <a:pt x="1173" y="1252"/>
                    </a:lnTo>
                    <a:lnTo>
                      <a:pt x="1173" y="1257"/>
                    </a:lnTo>
                    <a:lnTo>
                      <a:pt x="1171" y="1257"/>
                    </a:lnTo>
                    <a:lnTo>
                      <a:pt x="1171" y="1252"/>
                    </a:lnTo>
                    <a:close/>
                    <a:moveTo>
                      <a:pt x="1217" y="1082"/>
                    </a:moveTo>
                    <a:lnTo>
                      <a:pt x="1220" y="1082"/>
                    </a:lnTo>
                    <a:lnTo>
                      <a:pt x="1220" y="1085"/>
                    </a:lnTo>
                    <a:lnTo>
                      <a:pt x="1217" y="1085"/>
                    </a:lnTo>
                    <a:lnTo>
                      <a:pt x="1217" y="1082"/>
                    </a:lnTo>
                    <a:close/>
                    <a:moveTo>
                      <a:pt x="1162" y="1407"/>
                    </a:moveTo>
                    <a:lnTo>
                      <a:pt x="1164" y="1407"/>
                    </a:lnTo>
                    <a:lnTo>
                      <a:pt x="1162" y="1408"/>
                    </a:lnTo>
                    <a:lnTo>
                      <a:pt x="1161" y="1408"/>
                    </a:lnTo>
                    <a:lnTo>
                      <a:pt x="1161" y="1407"/>
                    </a:lnTo>
                    <a:lnTo>
                      <a:pt x="1162" y="1407"/>
                    </a:lnTo>
                    <a:close/>
                    <a:moveTo>
                      <a:pt x="1149" y="1373"/>
                    </a:moveTo>
                    <a:lnTo>
                      <a:pt x="1152" y="1373"/>
                    </a:lnTo>
                    <a:lnTo>
                      <a:pt x="1152" y="1376"/>
                    </a:lnTo>
                    <a:lnTo>
                      <a:pt x="1149" y="1376"/>
                    </a:lnTo>
                    <a:lnTo>
                      <a:pt x="1149" y="1373"/>
                    </a:lnTo>
                    <a:close/>
                    <a:moveTo>
                      <a:pt x="1217" y="985"/>
                    </a:moveTo>
                    <a:lnTo>
                      <a:pt x="1220" y="985"/>
                    </a:lnTo>
                    <a:lnTo>
                      <a:pt x="1220" y="986"/>
                    </a:lnTo>
                    <a:lnTo>
                      <a:pt x="1217" y="986"/>
                    </a:lnTo>
                    <a:lnTo>
                      <a:pt x="1217" y="985"/>
                    </a:lnTo>
                    <a:close/>
                    <a:moveTo>
                      <a:pt x="1161" y="1356"/>
                    </a:moveTo>
                    <a:lnTo>
                      <a:pt x="1162" y="1356"/>
                    </a:lnTo>
                    <a:lnTo>
                      <a:pt x="1162" y="1361"/>
                    </a:lnTo>
                    <a:lnTo>
                      <a:pt x="1161" y="1361"/>
                    </a:lnTo>
                    <a:lnTo>
                      <a:pt x="1161" y="1356"/>
                    </a:lnTo>
                    <a:close/>
                    <a:moveTo>
                      <a:pt x="1154" y="1364"/>
                    </a:moveTo>
                    <a:lnTo>
                      <a:pt x="1157" y="1364"/>
                    </a:lnTo>
                    <a:lnTo>
                      <a:pt x="1157" y="1367"/>
                    </a:lnTo>
                    <a:lnTo>
                      <a:pt x="1154" y="1367"/>
                    </a:lnTo>
                    <a:lnTo>
                      <a:pt x="1154" y="1364"/>
                    </a:lnTo>
                    <a:close/>
                    <a:moveTo>
                      <a:pt x="1365" y="1650"/>
                    </a:moveTo>
                    <a:lnTo>
                      <a:pt x="1366" y="1650"/>
                    </a:lnTo>
                    <a:lnTo>
                      <a:pt x="1366" y="1653"/>
                    </a:lnTo>
                    <a:lnTo>
                      <a:pt x="1365" y="1653"/>
                    </a:lnTo>
                    <a:lnTo>
                      <a:pt x="1365" y="1650"/>
                    </a:lnTo>
                    <a:close/>
                    <a:moveTo>
                      <a:pt x="1246" y="1590"/>
                    </a:moveTo>
                    <a:lnTo>
                      <a:pt x="1246" y="1589"/>
                    </a:lnTo>
                    <a:lnTo>
                      <a:pt x="1247" y="1590"/>
                    </a:lnTo>
                    <a:lnTo>
                      <a:pt x="1249" y="1592"/>
                    </a:lnTo>
                    <a:lnTo>
                      <a:pt x="1247" y="1592"/>
                    </a:lnTo>
                    <a:lnTo>
                      <a:pt x="1247" y="1590"/>
                    </a:lnTo>
                    <a:lnTo>
                      <a:pt x="1246" y="1590"/>
                    </a:lnTo>
                    <a:lnTo>
                      <a:pt x="1244" y="1590"/>
                    </a:lnTo>
                    <a:lnTo>
                      <a:pt x="1246" y="1590"/>
                    </a:lnTo>
                    <a:lnTo>
                      <a:pt x="1246" y="1589"/>
                    </a:lnTo>
                    <a:lnTo>
                      <a:pt x="1246" y="1590"/>
                    </a:lnTo>
                    <a:close/>
                    <a:moveTo>
                      <a:pt x="1202" y="1090"/>
                    </a:moveTo>
                    <a:lnTo>
                      <a:pt x="1203" y="1092"/>
                    </a:lnTo>
                    <a:lnTo>
                      <a:pt x="1202" y="1092"/>
                    </a:lnTo>
                    <a:lnTo>
                      <a:pt x="1200" y="1092"/>
                    </a:lnTo>
                    <a:lnTo>
                      <a:pt x="1198" y="1092"/>
                    </a:lnTo>
                    <a:lnTo>
                      <a:pt x="1200" y="1092"/>
                    </a:lnTo>
                    <a:lnTo>
                      <a:pt x="1200" y="1090"/>
                    </a:lnTo>
                    <a:lnTo>
                      <a:pt x="1202" y="1090"/>
                    </a:lnTo>
                    <a:close/>
                    <a:moveTo>
                      <a:pt x="1185" y="1524"/>
                    </a:moveTo>
                    <a:lnTo>
                      <a:pt x="1186" y="1524"/>
                    </a:lnTo>
                    <a:lnTo>
                      <a:pt x="1186" y="1527"/>
                    </a:lnTo>
                    <a:lnTo>
                      <a:pt x="1185" y="1527"/>
                    </a:lnTo>
                    <a:lnTo>
                      <a:pt x="1185" y="1524"/>
                    </a:lnTo>
                    <a:close/>
                    <a:moveTo>
                      <a:pt x="1210" y="1058"/>
                    </a:moveTo>
                    <a:lnTo>
                      <a:pt x="1212" y="1058"/>
                    </a:lnTo>
                    <a:lnTo>
                      <a:pt x="1212" y="1061"/>
                    </a:lnTo>
                    <a:lnTo>
                      <a:pt x="1210" y="1061"/>
                    </a:lnTo>
                    <a:lnTo>
                      <a:pt x="1210" y="1058"/>
                    </a:lnTo>
                    <a:close/>
                    <a:moveTo>
                      <a:pt x="1246" y="964"/>
                    </a:moveTo>
                    <a:lnTo>
                      <a:pt x="1247" y="964"/>
                    </a:lnTo>
                    <a:lnTo>
                      <a:pt x="1247" y="968"/>
                    </a:lnTo>
                    <a:lnTo>
                      <a:pt x="1246" y="968"/>
                    </a:lnTo>
                    <a:lnTo>
                      <a:pt x="1246" y="964"/>
                    </a:lnTo>
                    <a:close/>
                    <a:moveTo>
                      <a:pt x="1186" y="1027"/>
                    </a:moveTo>
                    <a:lnTo>
                      <a:pt x="1188" y="1027"/>
                    </a:lnTo>
                    <a:lnTo>
                      <a:pt x="1188" y="1031"/>
                    </a:lnTo>
                    <a:lnTo>
                      <a:pt x="1186" y="1031"/>
                    </a:lnTo>
                    <a:lnTo>
                      <a:pt x="1186" y="1027"/>
                    </a:lnTo>
                    <a:close/>
                    <a:moveTo>
                      <a:pt x="1144" y="1322"/>
                    </a:moveTo>
                    <a:lnTo>
                      <a:pt x="1147" y="1322"/>
                    </a:lnTo>
                    <a:lnTo>
                      <a:pt x="1147" y="1325"/>
                    </a:lnTo>
                    <a:lnTo>
                      <a:pt x="1144" y="1325"/>
                    </a:lnTo>
                    <a:lnTo>
                      <a:pt x="1144" y="1322"/>
                    </a:lnTo>
                    <a:close/>
                    <a:moveTo>
                      <a:pt x="1202" y="1536"/>
                    </a:moveTo>
                    <a:lnTo>
                      <a:pt x="1202" y="1538"/>
                    </a:lnTo>
                    <a:lnTo>
                      <a:pt x="1202" y="1536"/>
                    </a:lnTo>
                    <a:lnTo>
                      <a:pt x="1203" y="1538"/>
                    </a:lnTo>
                    <a:lnTo>
                      <a:pt x="1202" y="1538"/>
                    </a:lnTo>
                    <a:lnTo>
                      <a:pt x="1200" y="1536"/>
                    </a:lnTo>
                    <a:lnTo>
                      <a:pt x="1202" y="1536"/>
                    </a:lnTo>
                    <a:close/>
                    <a:moveTo>
                      <a:pt x="1368" y="1663"/>
                    </a:moveTo>
                    <a:lnTo>
                      <a:pt x="1372" y="1663"/>
                    </a:lnTo>
                    <a:lnTo>
                      <a:pt x="1372" y="1665"/>
                    </a:lnTo>
                    <a:lnTo>
                      <a:pt x="1368" y="1665"/>
                    </a:lnTo>
                    <a:lnTo>
                      <a:pt x="1368" y="1663"/>
                    </a:lnTo>
                    <a:close/>
                    <a:moveTo>
                      <a:pt x="1307" y="1640"/>
                    </a:moveTo>
                    <a:lnTo>
                      <a:pt x="1310" y="1640"/>
                    </a:lnTo>
                    <a:lnTo>
                      <a:pt x="1310" y="1643"/>
                    </a:lnTo>
                    <a:lnTo>
                      <a:pt x="1307" y="1643"/>
                    </a:lnTo>
                    <a:lnTo>
                      <a:pt x="1307" y="1640"/>
                    </a:lnTo>
                    <a:close/>
                    <a:moveTo>
                      <a:pt x="1188" y="1058"/>
                    </a:moveTo>
                    <a:lnTo>
                      <a:pt x="1190" y="1058"/>
                    </a:lnTo>
                    <a:lnTo>
                      <a:pt x="1191" y="1058"/>
                    </a:lnTo>
                    <a:lnTo>
                      <a:pt x="1190" y="1060"/>
                    </a:lnTo>
                    <a:lnTo>
                      <a:pt x="1188" y="1060"/>
                    </a:lnTo>
                    <a:lnTo>
                      <a:pt x="1186" y="1058"/>
                    </a:lnTo>
                    <a:lnTo>
                      <a:pt x="1188" y="1058"/>
                    </a:lnTo>
                    <a:close/>
                    <a:moveTo>
                      <a:pt x="1178" y="1485"/>
                    </a:moveTo>
                    <a:lnTo>
                      <a:pt x="1181" y="1485"/>
                    </a:lnTo>
                    <a:lnTo>
                      <a:pt x="1181" y="1487"/>
                    </a:lnTo>
                    <a:lnTo>
                      <a:pt x="1178" y="1487"/>
                    </a:lnTo>
                    <a:lnTo>
                      <a:pt x="1178" y="1485"/>
                    </a:lnTo>
                    <a:close/>
                    <a:moveTo>
                      <a:pt x="1210" y="1551"/>
                    </a:moveTo>
                    <a:lnTo>
                      <a:pt x="1213" y="1551"/>
                    </a:lnTo>
                    <a:lnTo>
                      <a:pt x="1213" y="1555"/>
                    </a:lnTo>
                    <a:lnTo>
                      <a:pt x="1210" y="1555"/>
                    </a:lnTo>
                    <a:lnTo>
                      <a:pt x="1210" y="1551"/>
                    </a:lnTo>
                    <a:close/>
                    <a:moveTo>
                      <a:pt x="1360" y="1667"/>
                    </a:moveTo>
                    <a:lnTo>
                      <a:pt x="1361" y="1667"/>
                    </a:lnTo>
                    <a:lnTo>
                      <a:pt x="1361" y="1670"/>
                    </a:lnTo>
                    <a:lnTo>
                      <a:pt x="1360" y="1670"/>
                    </a:lnTo>
                    <a:lnTo>
                      <a:pt x="1360" y="1667"/>
                    </a:lnTo>
                    <a:close/>
                    <a:moveTo>
                      <a:pt x="1210" y="1242"/>
                    </a:moveTo>
                    <a:lnTo>
                      <a:pt x="1213" y="1242"/>
                    </a:lnTo>
                    <a:lnTo>
                      <a:pt x="1213" y="1245"/>
                    </a:lnTo>
                    <a:lnTo>
                      <a:pt x="1210" y="1245"/>
                    </a:lnTo>
                    <a:lnTo>
                      <a:pt x="1210" y="1242"/>
                    </a:lnTo>
                    <a:close/>
                    <a:moveTo>
                      <a:pt x="1200" y="1541"/>
                    </a:moveTo>
                    <a:lnTo>
                      <a:pt x="1203" y="1541"/>
                    </a:lnTo>
                    <a:lnTo>
                      <a:pt x="1203" y="1543"/>
                    </a:lnTo>
                    <a:lnTo>
                      <a:pt x="1200" y="1543"/>
                    </a:lnTo>
                    <a:lnTo>
                      <a:pt x="1200" y="1541"/>
                    </a:lnTo>
                    <a:close/>
                    <a:moveTo>
                      <a:pt x="1151" y="1330"/>
                    </a:moveTo>
                    <a:lnTo>
                      <a:pt x="1154" y="1330"/>
                    </a:lnTo>
                    <a:lnTo>
                      <a:pt x="1154" y="1333"/>
                    </a:lnTo>
                    <a:lnTo>
                      <a:pt x="1151" y="1333"/>
                    </a:lnTo>
                    <a:lnTo>
                      <a:pt x="1151" y="1330"/>
                    </a:lnTo>
                    <a:close/>
                    <a:moveTo>
                      <a:pt x="1205" y="1080"/>
                    </a:moveTo>
                    <a:lnTo>
                      <a:pt x="1207" y="1080"/>
                    </a:lnTo>
                    <a:lnTo>
                      <a:pt x="1207" y="1082"/>
                    </a:lnTo>
                    <a:lnTo>
                      <a:pt x="1205" y="1082"/>
                    </a:lnTo>
                    <a:lnTo>
                      <a:pt x="1205" y="1080"/>
                    </a:lnTo>
                    <a:close/>
                    <a:moveTo>
                      <a:pt x="1225" y="1580"/>
                    </a:moveTo>
                    <a:lnTo>
                      <a:pt x="1227" y="1580"/>
                    </a:lnTo>
                    <a:lnTo>
                      <a:pt x="1227" y="1583"/>
                    </a:lnTo>
                    <a:lnTo>
                      <a:pt x="1225" y="1583"/>
                    </a:lnTo>
                    <a:lnTo>
                      <a:pt x="1225" y="1580"/>
                    </a:lnTo>
                    <a:close/>
                    <a:moveTo>
                      <a:pt x="1195" y="1146"/>
                    </a:moveTo>
                    <a:lnTo>
                      <a:pt x="1195" y="1148"/>
                    </a:lnTo>
                    <a:lnTo>
                      <a:pt x="1193" y="1148"/>
                    </a:lnTo>
                    <a:lnTo>
                      <a:pt x="1191" y="1146"/>
                    </a:lnTo>
                    <a:lnTo>
                      <a:pt x="1193" y="1146"/>
                    </a:lnTo>
                    <a:lnTo>
                      <a:pt x="1195" y="1146"/>
                    </a:lnTo>
                    <a:close/>
                    <a:moveTo>
                      <a:pt x="1290" y="1616"/>
                    </a:moveTo>
                    <a:lnTo>
                      <a:pt x="1288" y="1618"/>
                    </a:lnTo>
                    <a:lnTo>
                      <a:pt x="1287" y="1616"/>
                    </a:lnTo>
                    <a:lnTo>
                      <a:pt x="1288" y="1616"/>
                    </a:lnTo>
                    <a:lnTo>
                      <a:pt x="1290" y="1616"/>
                    </a:lnTo>
                    <a:lnTo>
                      <a:pt x="1288" y="1616"/>
                    </a:lnTo>
                    <a:lnTo>
                      <a:pt x="1290" y="1616"/>
                    </a:lnTo>
                    <a:close/>
                    <a:moveTo>
                      <a:pt x="1171" y="1366"/>
                    </a:moveTo>
                    <a:lnTo>
                      <a:pt x="1174" y="1366"/>
                    </a:lnTo>
                    <a:lnTo>
                      <a:pt x="1174" y="1369"/>
                    </a:lnTo>
                    <a:lnTo>
                      <a:pt x="1171" y="1369"/>
                    </a:lnTo>
                    <a:lnTo>
                      <a:pt x="1171" y="1366"/>
                    </a:lnTo>
                    <a:close/>
                    <a:moveTo>
                      <a:pt x="1176" y="1447"/>
                    </a:moveTo>
                    <a:lnTo>
                      <a:pt x="1178" y="1447"/>
                    </a:lnTo>
                    <a:lnTo>
                      <a:pt x="1178" y="1451"/>
                    </a:lnTo>
                    <a:lnTo>
                      <a:pt x="1176" y="1451"/>
                    </a:lnTo>
                    <a:lnTo>
                      <a:pt x="1176" y="1447"/>
                    </a:lnTo>
                    <a:close/>
                    <a:moveTo>
                      <a:pt x="1198" y="1157"/>
                    </a:moveTo>
                    <a:lnTo>
                      <a:pt x="1200" y="1157"/>
                    </a:lnTo>
                    <a:lnTo>
                      <a:pt x="1200" y="1158"/>
                    </a:lnTo>
                    <a:lnTo>
                      <a:pt x="1198" y="1158"/>
                    </a:lnTo>
                    <a:lnTo>
                      <a:pt x="1198" y="1157"/>
                    </a:lnTo>
                    <a:close/>
                    <a:moveTo>
                      <a:pt x="1312" y="1633"/>
                    </a:moveTo>
                    <a:lnTo>
                      <a:pt x="1314" y="1633"/>
                    </a:lnTo>
                    <a:lnTo>
                      <a:pt x="1314" y="1635"/>
                    </a:lnTo>
                    <a:lnTo>
                      <a:pt x="1314" y="1633"/>
                    </a:lnTo>
                    <a:lnTo>
                      <a:pt x="1312" y="1633"/>
                    </a:lnTo>
                    <a:lnTo>
                      <a:pt x="1314" y="1635"/>
                    </a:lnTo>
                    <a:lnTo>
                      <a:pt x="1312" y="1635"/>
                    </a:lnTo>
                    <a:lnTo>
                      <a:pt x="1310" y="1635"/>
                    </a:lnTo>
                    <a:lnTo>
                      <a:pt x="1310" y="1633"/>
                    </a:lnTo>
                    <a:lnTo>
                      <a:pt x="1312" y="1633"/>
                    </a:lnTo>
                    <a:close/>
                    <a:moveTo>
                      <a:pt x="1186" y="1279"/>
                    </a:moveTo>
                    <a:lnTo>
                      <a:pt x="1185" y="1279"/>
                    </a:lnTo>
                    <a:lnTo>
                      <a:pt x="1185" y="1281"/>
                    </a:lnTo>
                    <a:lnTo>
                      <a:pt x="1183" y="1281"/>
                    </a:lnTo>
                    <a:lnTo>
                      <a:pt x="1183" y="1279"/>
                    </a:lnTo>
                    <a:lnTo>
                      <a:pt x="1185" y="1279"/>
                    </a:lnTo>
                    <a:lnTo>
                      <a:pt x="1183" y="1279"/>
                    </a:lnTo>
                    <a:lnTo>
                      <a:pt x="1185" y="1279"/>
                    </a:lnTo>
                    <a:lnTo>
                      <a:pt x="1186" y="1277"/>
                    </a:lnTo>
                    <a:lnTo>
                      <a:pt x="1188" y="1277"/>
                    </a:lnTo>
                    <a:lnTo>
                      <a:pt x="1186" y="1279"/>
                    </a:lnTo>
                    <a:close/>
                    <a:moveTo>
                      <a:pt x="1156" y="1185"/>
                    </a:moveTo>
                    <a:lnTo>
                      <a:pt x="1157" y="1185"/>
                    </a:lnTo>
                    <a:lnTo>
                      <a:pt x="1157" y="1189"/>
                    </a:lnTo>
                    <a:lnTo>
                      <a:pt x="1156" y="1189"/>
                    </a:lnTo>
                    <a:lnTo>
                      <a:pt x="1156" y="1185"/>
                    </a:lnTo>
                    <a:close/>
                    <a:moveTo>
                      <a:pt x="1183" y="1476"/>
                    </a:moveTo>
                    <a:lnTo>
                      <a:pt x="1186" y="1476"/>
                    </a:lnTo>
                    <a:lnTo>
                      <a:pt x="1186" y="1478"/>
                    </a:lnTo>
                    <a:lnTo>
                      <a:pt x="1183" y="1478"/>
                    </a:lnTo>
                    <a:lnTo>
                      <a:pt x="1183" y="1476"/>
                    </a:lnTo>
                    <a:close/>
                    <a:moveTo>
                      <a:pt x="1217" y="1500"/>
                    </a:moveTo>
                    <a:lnTo>
                      <a:pt x="1219" y="1500"/>
                    </a:lnTo>
                    <a:lnTo>
                      <a:pt x="1219" y="1504"/>
                    </a:lnTo>
                    <a:lnTo>
                      <a:pt x="1217" y="1504"/>
                    </a:lnTo>
                    <a:lnTo>
                      <a:pt x="1217" y="1500"/>
                    </a:lnTo>
                    <a:close/>
                    <a:moveTo>
                      <a:pt x="1213" y="1556"/>
                    </a:moveTo>
                    <a:lnTo>
                      <a:pt x="1215" y="1556"/>
                    </a:lnTo>
                    <a:lnTo>
                      <a:pt x="1215" y="1558"/>
                    </a:lnTo>
                    <a:lnTo>
                      <a:pt x="1213" y="1558"/>
                    </a:lnTo>
                    <a:lnTo>
                      <a:pt x="1213" y="1556"/>
                    </a:lnTo>
                    <a:close/>
                    <a:moveTo>
                      <a:pt x="1315" y="1633"/>
                    </a:moveTo>
                    <a:lnTo>
                      <a:pt x="1319" y="1633"/>
                    </a:lnTo>
                    <a:lnTo>
                      <a:pt x="1319" y="1636"/>
                    </a:lnTo>
                    <a:lnTo>
                      <a:pt x="1315" y="1636"/>
                    </a:lnTo>
                    <a:lnTo>
                      <a:pt x="1315" y="1633"/>
                    </a:lnTo>
                    <a:close/>
                    <a:moveTo>
                      <a:pt x="1229" y="1585"/>
                    </a:moveTo>
                    <a:lnTo>
                      <a:pt x="1232" y="1585"/>
                    </a:lnTo>
                    <a:lnTo>
                      <a:pt x="1232" y="1587"/>
                    </a:lnTo>
                    <a:lnTo>
                      <a:pt x="1229" y="1587"/>
                    </a:lnTo>
                    <a:lnTo>
                      <a:pt x="1229" y="1585"/>
                    </a:lnTo>
                    <a:close/>
                    <a:moveTo>
                      <a:pt x="1378" y="1662"/>
                    </a:moveTo>
                    <a:lnTo>
                      <a:pt x="1382" y="1662"/>
                    </a:lnTo>
                    <a:lnTo>
                      <a:pt x="1382" y="1667"/>
                    </a:lnTo>
                    <a:lnTo>
                      <a:pt x="1378" y="1667"/>
                    </a:lnTo>
                    <a:lnTo>
                      <a:pt x="1378" y="1662"/>
                    </a:lnTo>
                    <a:close/>
                    <a:moveTo>
                      <a:pt x="1227" y="992"/>
                    </a:moveTo>
                    <a:lnTo>
                      <a:pt x="1230" y="992"/>
                    </a:lnTo>
                    <a:lnTo>
                      <a:pt x="1230" y="995"/>
                    </a:lnTo>
                    <a:lnTo>
                      <a:pt x="1227" y="995"/>
                    </a:lnTo>
                    <a:lnTo>
                      <a:pt x="1227" y="992"/>
                    </a:lnTo>
                    <a:close/>
                    <a:moveTo>
                      <a:pt x="1166" y="1432"/>
                    </a:moveTo>
                    <a:lnTo>
                      <a:pt x="1168" y="1432"/>
                    </a:lnTo>
                    <a:lnTo>
                      <a:pt x="1168" y="1435"/>
                    </a:lnTo>
                    <a:lnTo>
                      <a:pt x="1166" y="1435"/>
                    </a:lnTo>
                    <a:lnTo>
                      <a:pt x="1166" y="1432"/>
                    </a:lnTo>
                    <a:close/>
                    <a:moveTo>
                      <a:pt x="1241" y="1587"/>
                    </a:moveTo>
                    <a:lnTo>
                      <a:pt x="1242" y="1587"/>
                    </a:lnTo>
                    <a:lnTo>
                      <a:pt x="1242" y="1590"/>
                    </a:lnTo>
                    <a:lnTo>
                      <a:pt x="1241" y="1590"/>
                    </a:lnTo>
                    <a:lnTo>
                      <a:pt x="1241" y="1587"/>
                    </a:lnTo>
                    <a:close/>
                    <a:moveTo>
                      <a:pt x="1179" y="1136"/>
                    </a:moveTo>
                    <a:lnTo>
                      <a:pt x="1181" y="1136"/>
                    </a:lnTo>
                    <a:lnTo>
                      <a:pt x="1181" y="1140"/>
                    </a:lnTo>
                    <a:lnTo>
                      <a:pt x="1179" y="1140"/>
                    </a:lnTo>
                    <a:lnTo>
                      <a:pt x="1179" y="1136"/>
                    </a:lnTo>
                    <a:close/>
                    <a:moveTo>
                      <a:pt x="1220" y="978"/>
                    </a:moveTo>
                    <a:lnTo>
                      <a:pt x="1222" y="978"/>
                    </a:lnTo>
                    <a:lnTo>
                      <a:pt x="1222" y="980"/>
                    </a:lnTo>
                    <a:lnTo>
                      <a:pt x="1220" y="980"/>
                    </a:lnTo>
                    <a:lnTo>
                      <a:pt x="1220" y="978"/>
                    </a:lnTo>
                    <a:close/>
                    <a:moveTo>
                      <a:pt x="1215" y="1505"/>
                    </a:moveTo>
                    <a:lnTo>
                      <a:pt x="1217" y="1505"/>
                    </a:lnTo>
                    <a:lnTo>
                      <a:pt x="1215" y="1507"/>
                    </a:lnTo>
                    <a:lnTo>
                      <a:pt x="1215" y="1505"/>
                    </a:lnTo>
                    <a:lnTo>
                      <a:pt x="1215" y="1507"/>
                    </a:lnTo>
                    <a:lnTo>
                      <a:pt x="1213" y="1505"/>
                    </a:lnTo>
                    <a:lnTo>
                      <a:pt x="1212" y="1505"/>
                    </a:lnTo>
                    <a:lnTo>
                      <a:pt x="1213" y="1505"/>
                    </a:lnTo>
                    <a:lnTo>
                      <a:pt x="1215" y="1505"/>
                    </a:lnTo>
                    <a:lnTo>
                      <a:pt x="1215" y="1507"/>
                    </a:lnTo>
                    <a:lnTo>
                      <a:pt x="1215" y="1505"/>
                    </a:lnTo>
                    <a:close/>
                    <a:moveTo>
                      <a:pt x="1389" y="1633"/>
                    </a:moveTo>
                    <a:lnTo>
                      <a:pt x="1392" y="1633"/>
                    </a:lnTo>
                    <a:lnTo>
                      <a:pt x="1392" y="1635"/>
                    </a:lnTo>
                    <a:lnTo>
                      <a:pt x="1389" y="1635"/>
                    </a:lnTo>
                    <a:lnTo>
                      <a:pt x="1389" y="1633"/>
                    </a:lnTo>
                    <a:close/>
                    <a:moveTo>
                      <a:pt x="1275" y="1597"/>
                    </a:moveTo>
                    <a:lnTo>
                      <a:pt x="1276" y="1597"/>
                    </a:lnTo>
                    <a:lnTo>
                      <a:pt x="1276" y="1600"/>
                    </a:lnTo>
                    <a:lnTo>
                      <a:pt x="1275" y="1600"/>
                    </a:lnTo>
                    <a:lnTo>
                      <a:pt x="1275" y="1597"/>
                    </a:lnTo>
                    <a:close/>
                    <a:moveTo>
                      <a:pt x="1399" y="1645"/>
                    </a:moveTo>
                    <a:lnTo>
                      <a:pt x="1402" y="1645"/>
                    </a:lnTo>
                    <a:lnTo>
                      <a:pt x="1402" y="1648"/>
                    </a:lnTo>
                    <a:lnTo>
                      <a:pt x="1399" y="1648"/>
                    </a:lnTo>
                    <a:lnTo>
                      <a:pt x="1399" y="1645"/>
                    </a:lnTo>
                    <a:close/>
                    <a:moveTo>
                      <a:pt x="1178" y="1138"/>
                    </a:moveTo>
                    <a:lnTo>
                      <a:pt x="1179" y="1138"/>
                    </a:lnTo>
                    <a:lnTo>
                      <a:pt x="1179" y="1141"/>
                    </a:lnTo>
                    <a:lnTo>
                      <a:pt x="1178" y="1141"/>
                    </a:lnTo>
                    <a:lnTo>
                      <a:pt x="1178" y="1138"/>
                    </a:lnTo>
                    <a:close/>
                    <a:moveTo>
                      <a:pt x="1229" y="944"/>
                    </a:moveTo>
                    <a:lnTo>
                      <a:pt x="1232" y="944"/>
                    </a:lnTo>
                    <a:lnTo>
                      <a:pt x="1232" y="946"/>
                    </a:lnTo>
                    <a:lnTo>
                      <a:pt x="1229" y="946"/>
                    </a:lnTo>
                    <a:lnTo>
                      <a:pt x="1229" y="944"/>
                    </a:lnTo>
                    <a:close/>
                    <a:moveTo>
                      <a:pt x="1183" y="1427"/>
                    </a:moveTo>
                    <a:lnTo>
                      <a:pt x="1186" y="1427"/>
                    </a:lnTo>
                    <a:lnTo>
                      <a:pt x="1186" y="1429"/>
                    </a:lnTo>
                    <a:lnTo>
                      <a:pt x="1183" y="1429"/>
                    </a:lnTo>
                    <a:lnTo>
                      <a:pt x="1183" y="1427"/>
                    </a:lnTo>
                    <a:close/>
                    <a:moveTo>
                      <a:pt x="1196" y="1150"/>
                    </a:moveTo>
                    <a:lnTo>
                      <a:pt x="1198" y="1150"/>
                    </a:lnTo>
                    <a:lnTo>
                      <a:pt x="1198" y="1153"/>
                    </a:lnTo>
                    <a:lnTo>
                      <a:pt x="1196" y="1153"/>
                    </a:lnTo>
                    <a:lnTo>
                      <a:pt x="1196" y="1150"/>
                    </a:lnTo>
                    <a:close/>
                    <a:moveTo>
                      <a:pt x="1169" y="1417"/>
                    </a:moveTo>
                    <a:lnTo>
                      <a:pt x="1171" y="1417"/>
                    </a:lnTo>
                    <a:lnTo>
                      <a:pt x="1171" y="1418"/>
                    </a:lnTo>
                    <a:lnTo>
                      <a:pt x="1169" y="1418"/>
                    </a:lnTo>
                    <a:lnTo>
                      <a:pt x="1169" y="1417"/>
                    </a:lnTo>
                    <a:close/>
                    <a:moveTo>
                      <a:pt x="1188" y="1066"/>
                    </a:moveTo>
                    <a:lnTo>
                      <a:pt x="1188" y="1068"/>
                    </a:lnTo>
                    <a:lnTo>
                      <a:pt x="1190" y="1068"/>
                    </a:lnTo>
                    <a:lnTo>
                      <a:pt x="1188" y="1068"/>
                    </a:lnTo>
                    <a:lnTo>
                      <a:pt x="1186" y="1066"/>
                    </a:lnTo>
                    <a:lnTo>
                      <a:pt x="1188" y="1066"/>
                    </a:lnTo>
                    <a:close/>
                    <a:moveTo>
                      <a:pt x="1171" y="1475"/>
                    </a:moveTo>
                    <a:lnTo>
                      <a:pt x="1173" y="1475"/>
                    </a:lnTo>
                    <a:lnTo>
                      <a:pt x="1173" y="1476"/>
                    </a:lnTo>
                    <a:lnTo>
                      <a:pt x="1171" y="1476"/>
                    </a:lnTo>
                    <a:lnTo>
                      <a:pt x="1171" y="1475"/>
                    </a:lnTo>
                    <a:close/>
                    <a:moveTo>
                      <a:pt x="1224" y="1071"/>
                    </a:moveTo>
                    <a:lnTo>
                      <a:pt x="1227" y="1071"/>
                    </a:lnTo>
                    <a:lnTo>
                      <a:pt x="1227" y="1073"/>
                    </a:lnTo>
                    <a:lnTo>
                      <a:pt x="1224" y="1073"/>
                    </a:lnTo>
                    <a:lnTo>
                      <a:pt x="1224" y="1071"/>
                    </a:lnTo>
                    <a:close/>
                    <a:moveTo>
                      <a:pt x="1185" y="1262"/>
                    </a:moveTo>
                    <a:lnTo>
                      <a:pt x="1188" y="1262"/>
                    </a:lnTo>
                    <a:lnTo>
                      <a:pt x="1188" y="1265"/>
                    </a:lnTo>
                    <a:lnTo>
                      <a:pt x="1185" y="1265"/>
                    </a:lnTo>
                    <a:lnTo>
                      <a:pt x="1185" y="1262"/>
                    </a:lnTo>
                    <a:close/>
                    <a:moveTo>
                      <a:pt x="1188" y="1128"/>
                    </a:moveTo>
                    <a:lnTo>
                      <a:pt x="1191" y="1128"/>
                    </a:lnTo>
                    <a:lnTo>
                      <a:pt x="1191" y="1131"/>
                    </a:lnTo>
                    <a:lnTo>
                      <a:pt x="1188" y="1131"/>
                    </a:lnTo>
                    <a:lnTo>
                      <a:pt x="1188" y="1128"/>
                    </a:lnTo>
                    <a:close/>
                    <a:moveTo>
                      <a:pt x="1202" y="1080"/>
                    </a:moveTo>
                    <a:lnTo>
                      <a:pt x="1205" y="1080"/>
                    </a:lnTo>
                    <a:lnTo>
                      <a:pt x="1205" y="1082"/>
                    </a:lnTo>
                    <a:lnTo>
                      <a:pt x="1202" y="1082"/>
                    </a:lnTo>
                    <a:lnTo>
                      <a:pt x="1202" y="1080"/>
                    </a:lnTo>
                    <a:close/>
                    <a:moveTo>
                      <a:pt x="1185" y="1141"/>
                    </a:moveTo>
                    <a:lnTo>
                      <a:pt x="1185" y="1143"/>
                    </a:lnTo>
                    <a:lnTo>
                      <a:pt x="1183" y="1143"/>
                    </a:lnTo>
                    <a:lnTo>
                      <a:pt x="1181" y="1143"/>
                    </a:lnTo>
                    <a:lnTo>
                      <a:pt x="1183" y="1143"/>
                    </a:lnTo>
                    <a:lnTo>
                      <a:pt x="1185" y="1141"/>
                    </a:lnTo>
                    <a:close/>
                    <a:moveTo>
                      <a:pt x="1276" y="1612"/>
                    </a:moveTo>
                    <a:lnTo>
                      <a:pt x="1280" y="1612"/>
                    </a:lnTo>
                    <a:lnTo>
                      <a:pt x="1280" y="1614"/>
                    </a:lnTo>
                    <a:lnTo>
                      <a:pt x="1276" y="1614"/>
                    </a:lnTo>
                    <a:lnTo>
                      <a:pt x="1276" y="1612"/>
                    </a:lnTo>
                    <a:close/>
                    <a:moveTo>
                      <a:pt x="1208" y="1502"/>
                    </a:moveTo>
                    <a:lnTo>
                      <a:pt x="1210" y="1502"/>
                    </a:lnTo>
                    <a:lnTo>
                      <a:pt x="1210" y="1505"/>
                    </a:lnTo>
                    <a:lnTo>
                      <a:pt x="1208" y="1505"/>
                    </a:lnTo>
                    <a:lnTo>
                      <a:pt x="1208" y="1502"/>
                    </a:lnTo>
                    <a:close/>
                    <a:moveTo>
                      <a:pt x="1219" y="1538"/>
                    </a:moveTo>
                    <a:lnTo>
                      <a:pt x="1222" y="1538"/>
                    </a:lnTo>
                    <a:lnTo>
                      <a:pt x="1222" y="1541"/>
                    </a:lnTo>
                    <a:lnTo>
                      <a:pt x="1219" y="1541"/>
                    </a:lnTo>
                    <a:lnTo>
                      <a:pt x="1219" y="1538"/>
                    </a:lnTo>
                    <a:close/>
                    <a:moveTo>
                      <a:pt x="1373" y="1641"/>
                    </a:moveTo>
                    <a:lnTo>
                      <a:pt x="1375" y="1641"/>
                    </a:lnTo>
                    <a:lnTo>
                      <a:pt x="1375" y="1643"/>
                    </a:lnTo>
                    <a:lnTo>
                      <a:pt x="1373" y="1643"/>
                    </a:lnTo>
                    <a:lnTo>
                      <a:pt x="1373" y="1641"/>
                    </a:lnTo>
                    <a:lnTo>
                      <a:pt x="1372" y="1641"/>
                    </a:lnTo>
                    <a:lnTo>
                      <a:pt x="1373" y="1641"/>
                    </a:lnTo>
                    <a:close/>
                    <a:moveTo>
                      <a:pt x="1198" y="1485"/>
                    </a:moveTo>
                    <a:lnTo>
                      <a:pt x="1196" y="1485"/>
                    </a:lnTo>
                    <a:lnTo>
                      <a:pt x="1195" y="1487"/>
                    </a:lnTo>
                    <a:lnTo>
                      <a:pt x="1193" y="1487"/>
                    </a:lnTo>
                    <a:lnTo>
                      <a:pt x="1195" y="1485"/>
                    </a:lnTo>
                    <a:lnTo>
                      <a:pt x="1196" y="1485"/>
                    </a:lnTo>
                    <a:lnTo>
                      <a:pt x="1198" y="1485"/>
                    </a:lnTo>
                    <a:close/>
                    <a:moveTo>
                      <a:pt x="1161" y="1243"/>
                    </a:moveTo>
                    <a:lnTo>
                      <a:pt x="1162" y="1243"/>
                    </a:lnTo>
                    <a:lnTo>
                      <a:pt x="1162" y="1247"/>
                    </a:lnTo>
                    <a:lnTo>
                      <a:pt x="1161" y="1247"/>
                    </a:lnTo>
                    <a:lnTo>
                      <a:pt x="1161" y="1243"/>
                    </a:lnTo>
                    <a:close/>
                    <a:moveTo>
                      <a:pt x="1178" y="1478"/>
                    </a:moveTo>
                    <a:lnTo>
                      <a:pt x="1179" y="1478"/>
                    </a:lnTo>
                    <a:lnTo>
                      <a:pt x="1179" y="1481"/>
                    </a:lnTo>
                    <a:lnTo>
                      <a:pt x="1178" y="1481"/>
                    </a:lnTo>
                    <a:lnTo>
                      <a:pt x="1178" y="1478"/>
                    </a:lnTo>
                    <a:close/>
                    <a:moveTo>
                      <a:pt x="1181" y="1437"/>
                    </a:moveTo>
                    <a:lnTo>
                      <a:pt x="1185" y="1437"/>
                    </a:lnTo>
                    <a:lnTo>
                      <a:pt x="1185" y="1439"/>
                    </a:lnTo>
                    <a:lnTo>
                      <a:pt x="1181" y="1439"/>
                    </a:lnTo>
                    <a:lnTo>
                      <a:pt x="1181" y="1437"/>
                    </a:lnTo>
                    <a:close/>
                    <a:moveTo>
                      <a:pt x="1168" y="1432"/>
                    </a:moveTo>
                    <a:lnTo>
                      <a:pt x="1171" y="1432"/>
                    </a:lnTo>
                    <a:lnTo>
                      <a:pt x="1171" y="1434"/>
                    </a:lnTo>
                    <a:lnTo>
                      <a:pt x="1168" y="1434"/>
                    </a:lnTo>
                    <a:lnTo>
                      <a:pt x="1168" y="1432"/>
                    </a:lnTo>
                    <a:close/>
                    <a:moveTo>
                      <a:pt x="1219" y="983"/>
                    </a:moveTo>
                    <a:lnTo>
                      <a:pt x="1220" y="983"/>
                    </a:lnTo>
                    <a:lnTo>
                      <a:pt x="1220" y="985"/>
                    </a:lnTo>
                    <a:lnTo>
                      <a:pt x="1219" y="985"/>
                    </a:lnTo>
                    <a:lnTo>
                      <a:pt x="1219" y="983"/>
                    </a:lnTo>
                    <a:close/>
                    <a:moveTo>
                      <a:pt x="1249" y="1599"/>
                    </a:moveTo>
                    <a:lnTo>
                      <a:pt x="1251" y="1599"/>
                    </a:lnTo>
                    <a:lnTo>
                      <a:pt x="1251" y="1600"/>
                    </a:lnTo>
                    <a:lnTo>
                      <a:pt x="1249" y="1600"/>
                    </a:lnTo>
                    <a:lnTo>
                      <a:pt x="1249" y="1599"/>
                    </a:lnTo>
                    <a:close/>
                    <a:moveTo>
                      <a:pt x="1179" y="1134"/>
                    </a:moveTo>
                    <a:lnTo>
                      <a:pt x="1179" y="1138"/>
                    </a:lnTo>
                    <a:lnTo>
                      <a:pt x="1179" y="1134"/>
                    </a:lnTo>
                    <a:close/>
                    <a:moveTo>
                      <a:pt x="1174" y="1367"/>
                    </a:moveTo>
                    <a:lnTo>
                      <a:pt x="1178" y="1367"/>
                    </a:lnTo>
                    <a:lnTo>
                      <a:pt x="1178" y="1369"/>
                    </a:lnTo>
                    <a:lnTo>
                      <a:pt x="1174" y="1369"/>
                    </a:lnTo>
                    <a:lnTo>
                      <a:pt x="1174" y="1367"/>
                    </a:lnTo>
                    <a:close/>
                    <a:moveTo>
                      <a:pt x="1188" y="1056"/>
                    </a:moveTo>
                    <a:lnTo>
                      <a:pt x="1191" y="1056"/>
                    </a:lnTo>
                    <a:lnTo>
                      <a:pt x="1191" y="1058"/>
                    </a:lnTo>
                    <a:lnTo>
                      <a:pt x="1188" y="1058"/>
                    </a:lnTo>
                    <a:lnTo>
                      <a:pt x="1188" y="1056"/>
                    </a:lnTo>
                    <a:close/>
                    <a:moveTo>
                      <a:pt x="1241" y="1495"/>
                    </a:moveTo>
                    <a:lnTo>
                      <a:pt x="1244" y="1495"/>
                    </a:lnTo>
                    <a:lnTo>
                      <a:pt x="1244" y="1497"/>
                    </a:lnTo>
                    <a:lnTo>
                      <a:pt x="1241" y="1497"/>
                    </a:lnTo>
                    <a:lnTo>
                      <a:pt x="1241" y="1495"/>
                    </a:lnTo>
                    <a:close/>
                    <a:moveTo>
                      <a:pt x="1208" y="1539"/>
                    </a:moveTo>
                    <a:lnTo>
                      <a:pt x="1208" y="1538"/>
                    </a:lnTo>
                    <a:lnTo>
                      <a:pt x="1210" y="1539"/>
                    </a:lnTo>
                    <a:lnTo>
                      <a:pt x="1208" y="1539"/>
                    </a:lnTo>
                    <a:lnTo>
                      <a:pt x="1207" y="1539"/>
                    </a:lnTo>
                    <a:lnTo>
                      <a:pt x="1207" y="1538"/>
                    </a:lnTo>
                    <a:lnTo>
                      <a:pt x="1208" y="1539"/>
                    </a:lnTo>
                    <a:close/>
                    <a:moveTo>
                      <a:pt x="1222" y="1556"/>
                    </a:moveTo>
                    <a:lnTo>
                      <a:pt x="1225" y="1556"/>
                    </a:lnTo>
                    <a:lnTo>
                      <a:pt x="1225" y="1560"/>
                    </a:lnTo>
                    <a:lnTo>
                      <a:pt x="1222" y="1560"/>
                    </a:lnTo>
                    <a:lnTo>
                      <a:pt x="1222" y="1556"/>
                    </a:lnTo>
                    <a:close/>
                    <a:moveTo>
                      <a:pt x="1186" y="1526"/>
                    </a:moveTo>
                    <a:lnTo>
                      <a:pt x="1188" y="1526"/>
                    </a:lnTo>
                    <a:lnTo>
                      <a:pt x="1188" y="1529"/>
                    </a:lnTo>
                    <a:lnTo>
                      <a:pt x="1186" y="1529"/>
                    </a:lnTo>
                    <a:lnTo>
                      <a:pt x="1186" y="1526"/>
                    </a:lnTo>
                    <a:close/>
                    <a:moveTo>
                      <a:pt x="1259" y="1597"/>
                    </a:moveTo>
                    <a:lnTo>
                      <a:pt x="1261" y="1597"/>
                    </a:lnTo>
                    <a:lnTo>
                      <a:pt x="1261" y="1600"/>
                    </a:lnTo>
                    <a:lnTo>
                      <a:pt x="1259" y="1600"/>
                    </a:lnTo>
                    <a:lnTo>
                      <a:pt x="1259" y="1597"/>
                    </a:lnTo>
                    <a:close/>
                    <a:moveTo>
                      <a:pt x="1321" y="1631"/>
                    </a:moveTo>
                    <a:lnTo>
                      <a:pt x="1322" y="1631"/>
                    </a:lnTo>
                    <a:lnTo>
                      <a:pt x="1322" y="1633"/>
                    </a:lnTo>
                    <a:lnTo>
                      <a:pt x="1321" y="1633"/>
                    </a:lnTo>
                    <a:lnTo>
                      <a:pt x="1321" y="1631"/>
                    </a:lnTo>
                    <a:close/>
                    <a:moveTo>
                      <a:pt x="1207" y="1539"/>
                    </a:moveTo>
                    <a:lnTo>
                      <a:pt x="1208" y="1539"/>
                    </a:lnTo>
                    <a:lnTo>
                      <a:pt x="1208" y="1541"/>
                    </a:lnTo>
                    <a:lnTo>
                      <a:pt x="1207" y="1541"/>
                    </a:lnTo>
                    <a:lnTo>
                      <a:pt x="1207" y="1539"/>
                    </a:lnTo>
                    <a:close/>
                    <a:moveTo>
                      <a:pt x="1188" y="1208"/>
                    </a:moveTo>
                    <a:lnTo>
                      <a:pt x="1191" y="1208"/>
                    </a:lnTo>
                    <a:lnTo>
                      <a:pt x="1191" y="1211"/>
                    </a:lnTo>
                    <a:lnTo>
                      <a:pt x="1188" y="1211"/>
                    </a:lnTo>
                    <a:lnTo>
                      <a:pt x="1188" y="1208"/>
                    </a:lnTo>
                    <a:close/>
                    <a:moveTo>
                      <a:pt x="1151" y="1327"/>
                    </a:moveTo>
                    <a:lnTo>
                      <a:pt x="1152" y="1327"/>
                    </a:lnTo>
                    <a:lnTo>
                      <a:pt x="1152" y="1330"/>
                    </a:lnTo>
                    <a:lnTo>
                      <a:pt x="1151" y="1330"/>
                    </a:lnTo>
                    <a:lnTo>
                      <a:pt x="1151" y="1327"/>
                    </a:lnTo>
                    <a:close/>
                    <a:moveTo>
                      <a:pt x="1179" y="1444"/>
                    </a:moveTo>
                    <a:lnTo>
                      <a:pt x="1181" y="1444"/>
                    </a:lnTo>
                    <a:lnTo>
                      <a:pt x="1181" y="1446"/>
                    </a:lnTo>
                    <a:lnTo>
                      <a:pt x="1179" y="1446"/>
                    </a:lnTo>
                    <a:lnTo>
                      <a:pt x="1178" y="1444"/>
                    </a:lnTo>
                    <a:lnTo>
                      <a:pt x="1179" y="1444"/>
                    </a:lnTo>
                    <a:close/>
                    <a:moveTo>
                      <a:pt x="1178" y="1480"/>
                    </a:moveTo>
                    <a:lnTo>
                      <a:pt x="1181" y="1480"/>
                    </a:lnTo>
                    <a:lnTo>
                      <a:pt x="1181" y="1483"/>
                    </a:lnTo>
                    <a:lnTo>
                      <a:pt x="1178" y="1483"/>
                    </a:lnTo>
                    <a:lnTo>
                      <a:pt x="1178" y="1480"/>
                    </a:lnTo>
                    <a:close/>
                    <a:moveTo>
                      <a:pt x="1213" y="1104"/>
                    </a:moveTo>
                    <a:lnTo>
                      <a:pt x="1215" y="1104"/>
                    </a:lnTo>
                    <a:lnTo>
                      <a:pt x="1215" y="1107"/>
                    </a:lnTo>
                    <a:lnTo>
                      <a:pt x="1213" y="1107"/>
                    </a:lnTo>
                    <a:lnTo>
                      <a:pt x="1213" y="1104"/>
                    </a:lnTo>
                    <a:close/>
                    <a:moveTo>
                      <a:pt x="1202" y="1510"/>
                    </a:moveTo>
                    <a:lnTo>
                      <a:pt x="1203" y="1510"/>
                    </a:lnTo>
                    <a:lnTo>
                      <a:pt x="1203" y="1512"/>
                    </a:lnTo>
                    <a:lnTo>
                      <a:pt x="1202" y="1512"/>
                    </a:lnTo>
                    <a:lnTo>
                      <a:pt x="1202" y="1510"/>
                    </a:lnTo>
                    <a:close/>
                    <a:moveTo>
                      <a:pt x="1212" y="990"/>
                    </a:moveTo>
                    <a:lnTo>
                      <a:pt x="1213" y="990"/>
                    </a:lnTo>
                    <a:lnTo>
                      <a:pt x="1213" y="992"/>
                    </a:lnTo>
                    <a:lnTo>
                      <a:pt x="1212" y="992"/>
                    </a:lnTo>
                    <a:lnTo>
                      <a:pt x="1212" y="990"/>
                    </a:lnTo>
                    <a:close/>
                    <a:moveTo>
                      <a:pt x="1254" y="1493"/>
                    </a:moveTo>
                    <a:lnTo>
                      <a:pt x="1256" y="1493"/>
                    </a:lnTo>
                    <a:lnTo>
                      <a:pt x="1256" y="1497"/>
                    </a:lnTo>
                    <a:lnTo>
                      <a:pt x="1254" y="1497"/>
                    </a:lnTo>
                    <a:lnTo>
                      <a:pt x="1254" y="1493"/>
                    </a:lnTo>
                    <a:close/>
                    <a:moveTo>
                      <a:pt x="1222" y="990"/>
                    </a:moveTo>
                    <a:lnTo>
                      <a:pt x="1224" y="990"/>
                    </a:lnTo>
                    <a:lnTo>
                      <a:pt x="1224" y="993"/>
                    </a:lnTo>
                    <a:lnTo>
                      <a:pt x="1222" y="993"/>
                    </a:lnTo>
                    <a:lnTo>
                      <a:pt x="1222" y="990"/>
                    </a:lnTo>
                    <a:close/>
                    <a:moveTo>
                      <a:pt x="1382" y="1640"/>
                    </a:moveTo>
                    <a:lnTo>
                      <a:pt x="1385" y="1640"/>
                    </a:lnTo>
                    <a:lnTo>
                      <a:pt x="1385" y="1641"/>
                    </a:lnTo>
                    <a:lnTo>
                      <a:pt x="1382" y="1641"/>
                    </a:lnTo>
                    <a:lnTo>
                      <a:pt x="1382" y="1640"/>
                    </a:lnTo>
                    <a:close/>
                    <a:moveTo>
                      <a:pt x="1181" y="1492"/>
                    </a:moveTo>
                    <a:lnTo>
                      <a:pt x="1185" y="1492"/>
                    </a:lnTo>
                    <a:lnTo>
                      <a:pt x="1185" y="1493"/>
                    </a:lnTo>
                    <a:lnTo>
                      <a:pt x="1181" y="1493"/>
                    </a:lnTo>
                    <a:lnTo>
                      <a:pt x="1181" y="1492"/>
                    </a:lnTo>
                    <a:close/>
                    <a:moveTo>
                      <a:pt x="1217" y="1538"/>
                    </a:moveTo>
                    <a:lnTo>
                      <a:pt x="1220" y="1538"/>
                    </a:lnTo>
                    <a:lnTo>
                      <a:pt x="1220" y="1539"/>
                    </a:lnTo>
                    <a:lnTo>
                      <a:pt x="1217" y="1539"/>
                    </a:lnTo>
                    <a:lnTo>
                      <a:pt x="1217" y="1538"/>
                    </a:lnTo>
                    <a:close/>
                    <a:moveTo>
                      <a:pt x="1219" y="1566"/>
                    </a:moveTo>
                    <a:lnTo>
                      <a:pt x="1220" y="1566"/>
                    </a:lnTo>
                    <a:lnTo>
                      <a:pt x="1220" y="1568"/>
                    </a:lnTo>
                    <a:lnTo>
                      <a:pt x="1219" y="1568"/>
                    </a:lnTo>
                    <a:lnTo>
                      <a:pt x="1219" y="1566"/>
                    </a:lnTo>
                    <a:close/>
                    <a:moveTo>
                      <a:pt x="1200" y="1073"/>
                    </a:moveTo>
                    <a:lnTo>
                      <a:pt x="1202" y="1073"/>
                    </a:lnTo>
                    <a:lnTo>
                      <a:pt x="1202" y="1077"/>
                    </a:lnTo>
                    <a:lnTo>
                      <a:pt x="1200" y="1077"/>
                    </a:lnTo>
                    <a:lnTo>
                      <a:pt x="1200" y="1073"/>
                    </a:lnTo>
                    <a:close/>
                    <a:moveTo>
                      <a:pt x="1176" y="1439"/>
                    </a:moveTo>
                    <a:lnTo>
                      <a:pt x="1178" y="1439"/>
                    </a:lnTo>
                    <a:lnTo>
                      <a:pt x="1178" y="1441"/>
                    </a:lnTo>
                    <a:lnTo>
                      <a:pt x="1176" y="1441"/>
                    </a:lnTo>
                    <a:lnTo>
                      <a:pt x="1176" y="1439"/>
                    </a:lnTo>
                    <a:close/>
                    <a:moveTo>
                      <a:pt x="1336" y="1653"/>
                    </a:moveTo>
                    <a:lnTo>
                      <a:pt x="1339" y="1653"/>
                    </a:lnTo>
                    <a:lnTo>
                      <a:pt x="1339" y="1655"/>
                    </a:lnTo>
                    <a:lnTo>
                      <a:pt x="1336" y="1655"/>
                    </a:lnTo>
                    <a:lnTo>
                      <a:pt x="1336" y="1653"/>
                    </a:lnTo>
                    <a:close/>
                    <a:moveTo>
                      <a:pt x="1147" y="1330"/>
                    </a:moveTo>
                    <a:lnTo>
                      <a:pt x="1149" y="1330"/>
                    </a:lnTo>
                    <a:lnTo>
                      <a:pt x="1149" y="1332"/>
                    </a:lnTo>
                    <a:lnTo>
                      <a:pt x="1147" y="1332"/>
                    </a:lnTo>
                    <a:lnTo>
                      <a:pt x="1147" y="1330"/>
                    </a:lnTo>
                    <a:close/>
                    <a:moveTo>
                      <a:pt x="1205" y="1551"/>
                    </a:moveTo>
                    <a:lnTo>
                      <a:pt x="1207" y="1551"/>
                    </a:lnTo>
                    <a:lnTo>
                      <a:pt x="1207" y="1553"/>
                    </a:lnTo>
                    <a:lnTo>
                      <a:pt x="1205" y="1553"/>
                    </a:lnTo>
                    <a:lnTo>
                      <a:pt x="1205" y="1551"/>
                    </a:lnTo>
                    <a:close/>
                    <a:moveTo>
                      <a:pt x="1186" y="1534"/>
                    </a:moveTo>
                    <a:lnTo>
                      <a:pt x="1188" y="1534"/>
                    </a:lnTo>
                    <a:lnTo>
                      <a:pt x="1188" y="1536"/>
                    </a:lnTo>
                    <a:lnTo>
                      <a:pt x="1186" y="1536"/>
                    </a:lnTo>
                    <a:lnTo>
                      <a:pt x="1186" y="1534"/>
                    </a:lnTo>
                    <a:close/>
                    <a:moveTo>
                      <a:pt x="1169" y="1437"/>
                    </a:moveTo>
                    <a:lnTo>
                      <a:pt x="1173" y="1437"/>
                    </a:lnTo>
                    <a:lnTo>
                      <a:pt x="1173" y="1439"/>
                    </a:lnTo>
                    <a:lnTo>
                      <a:pt x="1169" y="1439"/>
                    </a:lnTo>
                    <a:lnTo>
                      <a:pt x="1169" y="1437"/>
                    </a:lnTo>
                    <a:close/>
                    <a:moveTo>
                      <a:pt x="1202" y="1066"/>
                    </a:moveTo>
                    <a:lnTo>
                      <a:pt x="1203" y="1066"/>
                    </a:lnTo>
                    <a:lnTo>
                      <a:pt x="1203" y="1068"/>
                    </a:lnTo>
                    <a:lnTo>
                      <a:pt x="1202" y="1068"/>
                    </a:lnTo>
                    <a:lnTo>
                      <a:pt x="1202" y="1066"/>
                    </a:lnTo>
                    <a:close/>
                    <a:moveTo>
                      <a:pt x="1264" y="1595"/>
                    </a:moveTo>
                    <a:lnTo>
                      <a:pt x="1268" y="1595"/>
                    </a:lnTo>
                    <a:lnTo>
                      <a:pt x="1268" y="1597"/>
                    </a:lnTo>
                    <a:lnTo>
                      <a:pt x="1264" y="1597"/>
                    </a:lnTo>
                    <a:lnTo>
                      <a:pt x="1264" y="1595"/>
                    </a:lnTo>
                    <a:close/>
                    <a:moveTo>
                      <a:pt x="1220" y="1543"/>
                    </a:moveTo>
                    <a:lnTo>
                      <a:pt x="1222" y="1543"/>
                    </a:lnTo>
                    <a:lnTo>
                      <a:pt x="1222" y="1544"/>
                    </a:lnTo>
                    <a:lnTo>
                      <a:pt x="1220" y="1544"/>
                    </a:lnTo>
                    <a:lnTo>
                      <a:pt x="1220" y="1543"/>
                    </a:lnTo>
                    <a:close/>
                    <a:moveTo>
                      <a:pt x="1191" y="1060"/>
                    </a:moveTo>
                    <a:lnTo>
                      <a:pt x="1195" y="1060"/>
                    </a:lnTo>
                    <a:lnTo>
                      <a:pt x="1195" y="1061"/>
                    </a:lnTo>
                    <a:lnTo>
                      <a:pt x="1191" y="1061"/>
                    </a:lnTo>
                    <a:lnTo>
                      <a:pt x="1191" y="1060"/>
                    </a:lnTo>
                    <a:close/>
                    <a:moveTo>
                      <a:pt x="1179" y="1422"/>
                    </a:moveTo>
                    <a:lnTo>
                      <a:pt x="1181" y="1422"/>
                    </a:lnTo>
                    <a:lnTo>
                      <a:pt x="1181" y="1424"/>
                    </a:lnTo>
                    <a:lnTo>
                      <a:pt x="1179" y="1424"/>
                    </a:lnTo>
                    <a:lnTo>
                      <a:pt x="1179" y="1422"/>
                    </a:lnTo>
                    <a:close/>
                    <a:moveTo>
                      <a:pt x="1183" y="1463"/>
                    </a:moveTo>
                    <a:lnTo>
                      <a:pt x="1185" y="1463"/>
                    </a:lnTo>
                    <a:lnTo>
                      <a:pt x="1185" y="1464"/>
                    </a:lnTo>
                    <a:lnTo>
                      <a:pt x="1183" y="1464"/>
                    </a:lnTo>
                    <a:lnTo>
                      <a:pt x="1183" y="1463"/>
                    </a:lnTo>
                    <a:close/>
                    <a:moveTo>
                      <a:pt x="1397" y="1663"/>
                    </a:moveTo>
                    <a:lnTo>
                      <a:pt x="1400" y="1663"/>
                    </a:lnTo>
                    <a:lnTo>
                      <a:pt x="1400" y="1665"/>
                    </a:lnTo>
                    <a:lnTo>
                      <a:pt x="1397" y="1665"/>
                    </a:lnTo>
                    <a:lnTo>
                      <a:pt x="1397" y="1663"/>
                    </a:lnTo>
                    <a:close/>
                    <a:moveTo>
                      <a:pt x="1190" y="1413"/>
                    </a:moveTo>
                    <a:lnTo>
                      <a:pt x="1191" y="1413"/>
                    </a:lnTo>
                    <a:lnTo>
                      <a:pt x="1191" y="1417"/>
                    </a:lnTo>
                    <a:lnTo>
                      <a:pt x="1190" y="1417"/>
                    </a:lnTo>
                    <a:lnTo>
                      <a:pt x="1190" y="1413"/>
                    </a:lnTo>
                    <a:close/>
                    <a:moveTo>
                      <a:pt x="1208" y="1449"/>
                    </a:moveTo>
                    <a:lnTo>
                      <a:pt x="1210" y="1449"/>
                    </a:lnTo>
                    <a:lnTo>
                      <a:pt x="1210" y="1451"/>
                    </a:lnTo>
                    <a:lnTo>
                      <a:pt x="1208" y="1451"/>
                    </a:lnTo>
                    <a:lnTo>
                      <a:pt x="1208" y="1449"/>
                    </a:lnTo>
                    <a:close/>
                    <a:moveTo>
                      <a:pt x="1222" y="976"/>
                    </a:moveTo>
                    <a:lnTo>
                      <a:pt x="1224" y="976"/>
                    </a:lnTo>
                    <a:lnTo>
                      <a:pt x="1224" y="980"/>
                    </a:lnTo>
                    <a:lnTo>
                      <a:pt x="1222" y="980"/>
                    </a:lnTo>
                    <a:lnTo>
                      <a:pt x="1222" y="976"/>
                    </a:lnTo>
                    <a:close/>
                    <a:moveTo>
                      <a:pt x="1346" y="1662"/>
                    </a:moveTo>
                    <a:lnTo>
                      <a:pt x="1348" y="1662"/>
                    </a:lnTo>
                    <a:lnTo>
                      <a:pt x="1348" y="1663"/>
                    </a:lnTo>
                    <a:lnTo>
                      <a:pt x="1346" y="1663"/>
                    </a:lnTo>
                    <a:lnTo>
                      <a:pt x="1346" y="1662"/>
                    </a:lnTo>
                    <a:close/>
                    <a:moveTo>
                      <a:pt x="1210" y="1063"/>
                    </a:moveTo>
                    <a:lnTo>
                      <a:pt x="1212" y="1063"/>
                    </a:lnTo>
                    <a:lnTo>
                      <a:pt x="1212" y="1065"/>
                    </a:lnTo>
                    <a:lnTo>
                      <a:pt x="1210" y="1065"/>
                    </a:lnTo>
                    <a:lnTo>
                      <a:pt x="1210" y="1063"/>
                    </a:lnTo>
                    <a:close/>
                    <a:moveTo>
                      <a:pt x="1161" y="1349"/>
                    </a:moveTo>
                    <a:lnTo>
                      <a:pt x="1162" y="1349"/>
                    </a:lnTo>
                    <a:lnTo>
                      <a:pt x="1162" y="1350"/>
                    </a:lnTo>
                    <a:lnTo>
                      <a:pt x="1161" y="1350"/>
                    </a:lnTo>
                    <a:lnTo>
                      <a:pt x="1161" y="1349"/>
                    </a:lnTo>
                    <a:close/>
                    <a:moveTo>
                      <a:pt x="1207" y="1529"/>
                    </a:moveTo>
                    <a:lnTo>
                      <a:pt x="1210" y="1529"/>
                    </a:lnTo>
                    <a:lnTo>
                      <a:pt x="1210" y="1532"/>
                    </a:lnTo>
                    <a:lnTo>
                      <a:pt x="1207" y="1532"/>
                    </a:lnTo>
                    <a:lnTo>
                      <a:pt x="1207" y="1529"/>
                    </a:lnTo>
                    <a:close/>
                    <a:moveTo>
                      <a:pt x="1205" y="1541"/>
                    </a:moveTo>
                    <a:lnTo>
                      <a:pt x="1207" y="1541"/>
                    </a:lnTo>
                    <a:lnTo>
                      <a:pt x="1207" y="1543"/>
                    </a:lnTo>
                    <a:lnTo>
                      <a:pt x="1205" y="1543"/>
                    </a:lnTo>
                    <a:lnTo>
                      <a:pt x="1205" y="1541"/>
                    </a:lnTo>
                    <a:close/>
                    <a:moveTo>
                      <a:pt x="1152" y="1257"/>
                    </a:moveTo>
                    <a:lnTo>
                      <a:pt x="1156" y="1257"/>
                    </a:lnTo>
                    <a:lnTo>
                      <a:pt x="1156" y="1259"/>
                    </a:lnTo>
                    <a:lnTo>
                      <a:pt x="1152" y="1259"/>
                    </a:lnTo>
                    <a:lnTo>
                      <a:pt x="1152" y="1257"/>
                    </a:lnTo>
                    <a:close/>
                    <a:moveTo>
                      <a:pt x="1152" y="1310"/>
                    </a:moveTo>
                    <a:lnTo>
                      <a:pt x="1154" y="1310"/>
                    </a:lnTo>
                    <a:lnTo>
                      <a:pt x="1154" y="1311"/>
                    </a:lnTo>
                    <a:lnTo>
                      <a:pt x="1152" y="1311"/>
                    </a:lnTo>
                    <a:lnTo>
                      <a:pt x="1152" y="1310"/>
                    </a:lnTo>
                    <a:close/>
                    <a:moveTo>
                      <a:pt x="1174" y="1478"/>
                    </a:moveTo>
                    <a:lnTo>
                      <a:pt x="1178" y="1478"/>
                    </a:lnTo>
                    <a:lnTo>
                      <a:pt x="1178" y="1481"/>
                    </a:lnTo>
                    <a:lnTo>
                      <a:pt x="1174" y="1481"/>
                    </a:lnTo>
                    <a:lnTo>
                      <a:pt x="1174" y="1478"/>
                    </a:lnTo>
                    <a:close/>
                    <a:moveTo>
                      <a:pt x="1164" y="1332"/>
                    </a:moveTo>
                    <a:lnTo>
                      <a:pt x="1166" y="1332"/>
                    </a:lnTo>
                    <a:lnTo>
                      <a:pt x="1166" y="1335"/>
                    </a:lnTo>
                    <a:lnTo>
                      <a:pt x="1164" y="1335"/>
                    </a:lnTo>
                    <a:lnTo>
                      <a:pt x="1164" y="1332"/>
                    </a:lnTo>
                    <a:close/>
                    <a:moveTo>
                      <a:pt x="1220" y="986"/>
                    </a:moveTo>
                    <a:lnTo>
                      <a:pt x="1222" y="986"/>
                    </a:lnTo>
                    <a:lnTo>
                      <a:pt x="1222" y="988"/>
                    </a:lnTo>
                    <a:lnTo>
                      <a:pt x="1220" y="988"/>
                    </a:lnTo>
                    <a:lnTo>
                      <a:pt x="1220" y="986"/>
                    </a:lnTo>
                    <a:close/>
                    <a:moveTo>
                      <a:pt x="1166" y="1383"/>
                    </a:moveTo>
                    <a:lnTo>
                      <a:pt x="1168" y="1383"/>
                    </a:lnTo>
                    <a:lnTo>
                      <a:pt x="1168" y="1384"/>
                    </a:lnTo>
                    <a:lnTo>
                      <a:pt x="1166" y="1384"/>
                    </a:lnTo>
                    <a:lnTo>
                      <a:pt x="1166" y="1383"/>
                    </a:lnTo>
                    <a:close/>
                    <a:moveTo>
                      <a:pt x="1173" y="1245"/>
                    </a:moveTo>
                    <a:lnTo>
                      <a:pt x="1174" y="1245"/>
                    </a:lnTo>
                    <a:lnTo>
                      <a:pt x="1174" y="1248"/>
                    </a:lnTo>
                    <a:lnTo>
                      <a:pt x="1173" y="1248"/>
                    </a:lnTo>
                    <a:lnTo>
                      <a:pt x="1173" y="1245"/>
                    </a:lnTo>
                    <a:close/>
                    <a:moveTo>
                      <a:pt x="1185" y="1099"/>
                    </a:moveTo>
                    <a:lnTo>
                      <a:pt x="1186" y="1099"/>
                    </a:lnTo>
                    <a:lnTo>
                      <a:pt x="1186" y="1100"/>
                    </a:lnTo>
                    <a:lnTo>
                      <a:pt x="1185" y="1100"/>
                    </a:lnTo>
                    <a:lnTo>
                      <a:pt x="1185" y="1099"/>
                    </a:lnTo>
                    <a:close/>
                    <a:moveTo>
                      <a:pt x="1215" y="981"/>
                    </a:moveTo>
                    <a:lnTo>
                      <a:pt x="1217" y="981"/>
                    </a:lnTo>
                    <a:lnTo>
                      <a:pt x="1217" y="983"/>
                    </a:lnTo>
                    <a:lnTo>
                      <a:pt x="1215" y="983"/>
                    </a:lnTo>
                    <a:lnTo>
                      <a:pt x="1215" y="981"/>
                    </a:lnTo>
                    <a:close/>
                    <a:moveTo>
                      <a:pt x="1154" y="1354"/>
                    </a:moveTo>
                    <a:lnTo>
                      <a:pt x="1154" y="1357"/>
                    </a:lnTo>
                    <a:lnTo>
                      <a:pt x="1154" y="1354"/>
                    </a:lnTo>
                    <a:close/>
                    <a:moveTo>
                      <a:pt x="1276" y="1595"/>
                    </a:moveTo>
                    <a:lnTo>
                      <a:pt x="1280" y="1595"/>
                    </a:lnTo>
                    <a:lnTo>
                      <a:pt x="1280" y="1597"/>
                    </a:lnTo>
                    <a:lnTo>
                      <a:pt x="1276" y="1597"/>
                    </a:lnTo>
                    <a:lnTo>
                      <a:pt x="1276" y="1595"/>
                    </a:lnTo>
                    <a:close/>
                    <a:moveTo>
                      <a:pt x="1190" y="1066"/>
                    </a:moveTo>
                    <a:lnTo>
                      <a:pt x="1191" y="1066"/>
                    </a:lnTo>
                    <a:lnTo>
                      <a:pt x="1190" y="1066"/>
                    </a:lnTo>
                    <a:close/>
                    <a:moveTo>
                      <a:pt x="1292" y="1616"/>
                    </a:moveTo>
                    <a:lnTo>
                      <a:pt x="1293" y="1616"/>
                    </a:lnTo>
                    <a:lnTo>
                      <a:pt x="1293" y="1618"/>
                    </a:lnTo>
                    <a:lnTo>
                      <a:pt x="1292" y="1618"/>
                    </a:lnTo>
                    <a:lnTo>
                      <a:pt x="1292" y="1616"/>
                    </a:lnTo>
                    <a:close/>
                    <a:moveTo>
                      <a:pt x="1149" y="1311"/>
                    </a:moveTo>
                    <a:lnTo>
                      <a:pt x="1151" y="1311"/>
                    </a:lnTo>
                    <a:lnTo>
                      <a:pt x="1151" y="1313"/>
                    </a:lnTo>
                    <a:lnTo>
                      <a:pt x="1149" y="1313"/>
                    </a:lnTo>
                    <a:lnTo>
                      <a:pt x="1149" y="1311"/>
                    </a:lnTo>
                    <a:close/>
                    <a:moveTo>
                      <a:pt x="1203" y="1429"/>
                    </a:moveTo>
                    <a:lnTo>
                      <a:pt x="1205" y="1429"/>
                    </a:lnTo>
                    <a:lnTo>
                      <a:pt x="1205" y="1430"/>
                    </a:lnTo>
                    <a:lnTo>
                      <a:pt x="1203" y="1430"/>
                    </a:lnTo>
                    <a:lnTo>
                      <a:pt x="1203" y="1429"/>
                    </a:lnTo>
                    <a:close/>
                    <a:moveTo>
                      <a:pt x="1246" y="1582"/>
                    </a:moveTo>
                    <a:lnTo>
                      <a:pt x="1247" y="1582"/>
                    </a:lnTo>
                    <a:lnTo>
                      <a:pt x="1247" y="1583"/>
                    </a:lnTo>
                    <a:lnTo>
                      <a:pt x="1246" y="1583"/>
                    </a:lnTo>
                    <a:lnTo>
                      <a:pt x="1246" y="1582"/>
                    </a:lnTo>
                    <a:close/>
                    <a:moveTo>
                      <a:pt x="1149" y="1342"/>
                    </a:moveTo>
                    <a:lnTo>
                      <a:pt x="1151" y="1342"/>
                    </a:lnTo>
                    <a:lnTo>
                      <a:pt x="1151" y="1345"/>
                    </a:lnTo>
                    <a:lnTo>
                      <a:pt x="1149" y="1345"/>
                    </a:lnTo>
                    <a:lnTo>
                      <a:pt x="1149" y="1342"/>
                    </a:lnTo>
                    <a:close/>
                    <a:moveTo>
                      <a:pt x="1203" y="1104"/>
                    </a:moveTo>
                    <a:lnTo>
                      <a:pt x="1205" y="1104"/>
                    </a:lnTo>
                    <a:lnTo>
                      <a:pt x="1205" y="1105"/>
                    </a:lnTo>
                    <a:lnTo>
                      <a:pt x="1203" y="1105"/>
                    </a:lnTo>
                    <a:lnTo>
                      <a:pt x="1203" y="1104"/>
                    </a:lnTo>
                    <a:close/>
                    <a:moveTo>
                      <a:pt x="1213" y="1107"/>
                    </a:moveTo>
                    <a:lnTo>
                      <a:pt x="1215" y="1107"/>
                    </a:lnTo>
                    <a:lnTo>
                      <a:pt x="1215" y="1109"/>
                    </a:lnTo>
                    <a:lnTo>
                      <a:pt x="1213" y="1109"/>
                    </a:lnTo>
                    <a:lnTo>
                      <a:pt x="1213" y="1107"/>
                    </a:lnTo>
                    <a:close/>
                    <a:moveTo>
                      <a:pt x="1183" y="1194"/>
                    </a:moveTo>
                    <a:lnTo>
                      <a:pt x="1185" y="1194"/>
                    </a:lnTo>
                    <a:lnTo>
                      <a:pt x="1185" y="1196"/>
                    </a:lnTo>
                    <a:lnTo>
                      <a:pt x="1183" y="1196"/>
                    </a:lnTo>
                    <a:lnTo>
                      <a:pt x="1183" y="1194"/>
                    </a:lnTo>
                    <a:close/>
                    <a:moveTo>
                      <a:pt x="1368" y="1662"/>
                    </a:moveTo>
                    <a:lnTo>
                      <a:pt x="1370" y="1662"/>
                    </a:lnTo>
                    <a:lnTo>
                      <a:pt x="1370" y="1663"/>
                    </a:lnTo>
                    <a:lnTo>
                      <a:pt x="1368" y="1663"/>
                    </a:lnTo>
                    <a:lnTo>
                      <a:pt x="1368" y="1662"/>
                    </a:lnTo>
                    <a:close/>
                    <a:moveTo>
                      <a:pt x="1329" y="1626"/>
                    </a:moveTo>
                    <a:lnTo>
                      <a:pt x="1331" y="1626"/>
                    </a:lnTo>
                    <a:lnTo>
                      <a:pt x="1329" y="1626"/>
                    </a:lnTo>
                    <a:lnTo>
                      <a:pt x="1331" y="1626"/>
                    </a:lnTo>
                    <a:lnTo>
                      <a:pt x="1329" y="1626"/>
                    </a:lnTo>
                    <a:lnTo>
                      <a:pt x="1327" y="1626"/>
                    </a:lnTo>
                    <a:lnTo>
                      <a:pt x="1329" y="1626"/>
                    </a:lnTo>
                    <a:close/>
                    <a:moveTo>
                      <a:pt x="1219" y="992"/>
                    </a:moveTo>
                    <a:lnTo>
                      <a:pt x="1222" y="992"/>
                    </a:lnTo>
                    <a:lnTo>
                      <a:pt x="1222" y="993"/>
                    </a:lnTo>
                    <a:lnTo>
                      <a:pt x="1219" y="993"/>
                    </a:lnTo>
                    <a:lnTo>
                      <a:pt x="1219" y="992"/>
                    </a:lnTo>
                    <a:close/>
                    <a:moveTo>
                      <a:pt x="1169" y="1388"/>
                    </a:moveTo>
                    <a:lnTo>
                      <a:pt x="1171" y="1388"/>
                    </a:lnTo>
                    <a:lnTo>
                      <a:pt x="1171" y="1390"/>
                    </a:lnTo>
                    <a:lnTo>
                      <a:pt x="1169" y="1390"/>
                    </a:lnTo>
                    <a:lnTo>
                      <a:pt x="1169" y="1388"/>
                    </a:lnTo>
                    <a:close/>
                    <a:moveTo>
                      <a:pt x="1185" y="1476"/>
                    </a:moveTo>
                    <a:lnTo>
                      <a:pt x="1186" y="1476"/>
                    </a:lnTo>
                    <a:lnTo>
                      <a:pt x="1186" y="1478"/>
                    </a:lnTo>
                    <a:lnTo>
                      <a:pt x="1185" y="1478"/>
                    </a:lnTo>
                    <a:lnTo>
                      <a:pt x="1185" y="1476"/>
                    </a:lnTo>
                    <a:close/>
                    <a:moveTo>
                      <a:pt x="1220" y="1058"/>
                    </a:moveTo>
                    <a:lnTo>
                      <a:pt x="1222" y="1058"/>
                    </a:lnTo>
                    <a:lnTo>
                      <a:pt x="1222" y="1060"/>
                    </a:lnTo>
                    <a:lnTo>
                      <a:pt x="1220" y="1060"/>
                    </a:lnTo>
                    <a:lnTo>
                      <a:pt x="1220" y="1058"/>
                    </a:lnTo>
                    <a:close/>
                    <a:moveTo>
                      <a:pt x="1186" y="1476"/>
                    </a:moveTo>
                    <a:lnTo>
                      <a:pt x="1190" y="1476"/>
                    </a:lnTo>
                    <a:lnTo>
                      <a:pt x="1190" y="1478"/>
                    </a:lnTo>
                    <a:lnTo>
                      <a:pt x="1186" y="1478"/>
                    </a:lnTo>
                    <a:lnTo>
                      <a:pt x="1186" y="1476"/>
                    </a:lnTo>
                    <a:close/>
                    <a:moveTo>
                      <a:pt x="1334" y="1653"/>
                    </a:moveTo>
                    <a:lnTo>
                      <a:pt x="1334" y="1657"/>
                    </a:lnTo>
                    <a:lnTo>
                      <a:pt x="1334" y="1653"/>
                    </a:lnTo>
                    <a:close/>
                    <a:moveTo>
                      <a:pt x="1200" y="1141"/>
                    </a:moveTo>
                    <a:lnTo>
                      <a:pt x="1202" y="1141"/>
                    </a:lnTo>
                    <a:lnTo>
                      <a:pt x="1202" y="1143"/>
                    </a:lnTo>
                    <a:lnTo>
                      <a:pt x="1200" y="1143"/>
                    </a:lnTo>
                    <a:lnTo>
                      <a:pt x="1200" y="1141"/>
                    </a:lnTo>
                    <a:close/>
                    <a:moveTo>
                      <a:pt x="1140" y="1306"/>
                    </a:moveTo>
                    <a:lnTo>
                      <a:pt x="1142" y="1306"/>
                    </a:lnTo>
                    <a:lnTo>
                      <a:pt x="1142" y="1310"/>
                    </a:lnTo>
                    <a:lnTo>
                      <a:pt x="1140" y="1310"/>
                    </a:lnTo>
                    <a:lnTo>
                      <a:pt x="1140" y="1306"/>
                    </a:lnTo>
                    <a:close/>
                    <a:moveTo>
                      <a:pt x="1190" y="1524"/>
                    </a:moveTo>
                    <a:lnTo>
                      <a:pt x="1191" y="1524"/>
                    </a:lnTo>
                    <a:lnTo>
                      <a:pt x="1191" y="1526"/>
                    </a:lnTo>
                    <a:lnTo>
                      <a:pt x="1190" y="1526"/>
                    </a:lnTo>
                    <a:lnTo>
                      <a:pt x="1190" y="1524"/>
                    </a:lnTo>
                    <a:close/>
                    <a:moveTo>
                      <a:pt x="1200" y="1060"/>
                    </a:moveTo>
                    <a:lnTo>
                      <a:pt x="1202" y="1060"/>
                    </a:lnTo>
                    <a:lnTo>
                      <a:pt x="1202" y="1061"/>
                    </a:lnTo>
                    <a:lnTo>
                      <a:pt x="1200" y="1061"/>
                    </a:lnTo>
                    <a:lnTo>
                      <a:pt x="1200" y="1060"/>
                    </a:lnTo>
                    <a:close/>
                    <a:moveTo>
                      <a:pt x="1161" y="1298"/>
                    </a:moveTo>
                    <a:lnTo>
                      <a:pt x="1162" y="1298"/>
                    </a:lnTo>
                    <a:lnTo>
                      <a:pt x="1162" y="1299"/>
                    </a:lnTo>
                    <a:lnTo>
                      <a:pt x="1161" y="1299"/>
                    </a:lnTo>
                    <a:lnTo>
                      <a:pt x="1161" y="1298"/>
                    </a:lnTo>
                    <a:close/>
                    <a:moveTo>
                      <a:pt x="1207" y="1492"/>
                    </a:moveTo>
                    <a:lnTo>
                      <a:pt x="1208" y="1492"/>
                    </a:lnTo>
                    <a:lnTo>
                      <a:pt x="1208" y="1493"/>
                    </a:lnTo>
                    <a:lnTo>
                      <a:pt x="1207" y="1493"/>
                    </a:lnTo>
                    <a:lnTo>
                      <a:pt x="1207" y="1492"/>
                    </a:lnTo>
                    <a:close/>
                    <a:moveTo>
                      <a:pt x="1416" y="1680"/>
                    </a:moveTo>
                    <a:lnTo>
                      <a:pt x="1417" y="1680"/>
                    </a:lnTo>
                    <a:lnTo>
                      <a:pt x="1417" y="1682"/>
                    </a:lnTo>
                    <a:lnTo>
                      <a:pt x="1416" y="1682"/>
                    </a:lnTo>
                    <a:lnTo>
                      <a:pt x="1416" y="1680"/>
                    </a:lnTo>
                    <a:close/>
                    <a:moveTo>
                      <a:pt x="1244" y="1502"/>
                    </a:moveTo>
                    <a:lnTo>
                      <a:pt x="1246" y="1502"/>
                    </a:lnTo>
                    <a:lnTo>
                      <a:pt x="1246" y="1504"/>
                    </a:lnTo>
                    <a:lnTo>
                      <a:pt x="1244" y="1504"/>
                    </a:lnTo>
                    <a:lnTo>
                      <a:pt x="1244" y="1502"/>
                    </a:lnTo>
                    <a:close/>
                    <a:moveTo>
                      <a:pt x="1193" y="1124"/>
                    </a:moveTo>
                    <a:lnTo>
                      <a:pt x="1193" y="1126"/>
                    </a:lnTo>
                    <a:lnTo>
                      <a:pt x="1193" y="1124"/>
                    </a:lnTo>
                    <a:close/>
                    <a:moveTo>
                      <a:pt x="1176" y="1117"/>
                    </a:moveTo>
                    <a:lnTo>
                      <a:pt x="1178" y="1117"/>
                    </a:lnTo>
                    <a:lnTo>
                      <a:pt x="1178" y="1119"/>
                    </a:lnTo>
                    <a:lnTo>
                      <a:pt x="1176" y="1119"/>
                    </a:lnTo>
                    <a:lnTo>
                      <a:pt x="1176" y="1117"/>
                    </a:lnTo>
                    <a:close/>
                    <a:moveTo>
                      <a:pt x="1161" y="1160"/>
                    </a:moveTo>
                    <a:lnTo>
                      <a:pt x="1162" y="1160"/>
                    </a:lnTo>
                    <a:lnTo>
                      <a:pt x="1162" y="1162"/>
                    </a:lnTo>
                    <a:lnTo>
                      <a:pt x="1161" y="1162"/>
                    </a:lnTo>
                    <a:lnTo>
                      <a:pt x="1161" y="1160"/>
                    </a:lnTo>
                    <a:close/>
                    <a:moveTo>
                      <a:pt x="1190" y="1060"/>
                    </a:moveTo>
                    <a:lnTo>
                      <a:pt x="1193" y="1060"/>
                    </a:lnTo>
                    <a:lnTo>
                      <a:pt x="1190" y="1060"/>
                    </a:lnTo>
                    <a:close/>
                    <a:moveTo>
                      <a:pt x="1162" y="1405"/>
                    </a:moveTo>
                    <a:lnTo>
                      <a:pt x="1164" y="1405"/>
                    </a:lnTo>
                    <a:lnTo>
                      <a:pt x="1164" y="1407"/>
                    </a:lnTo>
                    <a:lnTo>
                      <a:pt x="1162" y="1407"/>
                    </a:lnTo>
                    <a:lnTo>
                      <a:pt x="1162" y="1405"/>
                    </a:lnTo>
                    <a:close/>
                    <a:moveTo>
                      <a:pt x="1176" y="1470"/>
                    </a:moveTo>
                    <a:lnTo>
                      <a:pt x="1178" y="1470"/>
                    </a:lnTo>
                    <a:lnTo>
                      <a:pt x="1178" y="1471"/>
                    </a:lnTo>
                    <a:lnTo>
                      <a:pt x="1176" y="1471"/>
                    </a:lnTo>
                    <a:lnTo>
                      <a:pt x="1176" y="1470"/>
                    </a:lnTo>
                    <a:close/>
                    <a:moveTo>
                      <a:pt x="1212" y="1105"/>
                    </a:moveTo>
                    <a:lnTo>
                      <a:pt x="1213" y="1105"/>
                    </a:lnTo>
                    <a:lnTo>
                      <a:pt x="1212" y="1105"/>
                    </a:lnTo>
                    <a:close/>
                    <a:moveTo>
                      <a:pt x="1205" y="1097"/>
                    </a:moveTo>
                    <a:lnTo>
                      <a:pt x="1207" y="1097"/>
                    </a:lnTo>
                    <a:lnTo>
                      <a:pt x="1207" y="1099"/>
                    </a:lnTo>
                    <a:lnTo>
                      <a:pt x="1205" y="1099"/>
                    </a:lnTo>
                    <a:lnTo>
                      <a:pt x="1205" y="1097"/>
                    </a:lnTo>
                    <a:close/>
                    <a:moveTo>
                      <a:pt x="1241" y="1592"/>
                    </a:moveTo>
                    <a:lnTo>
                      <a:pt x="1242" y="1592"/>
                    </a:lnTo>
                    <a:lnTo>
                      <a:pt x="1242" y="1594"/>
                    </a:lnTo>
                    <a:lnTo>
                      <a:pt x="1241" y="1594"/>
                    </a:lnTo>
                    <a:lnTo>
                      <a:pt x="1241" y="1592"/>
                    </a:lnTo>
                    <a:close/>
                    <a:moveTo>
                      <a:pt x="1185" y="1461"/>
                    </a:moveTo>
                    <a:lnTo>
                      <a:pt x="1185" y="1463"/>
                    </a:lnTo>
                    <a:lnTo>
                      <a:pt x="1185" y="1461"/>
                    </a:lnTo>
                    <a:close/>
                    <a:moveTo>
                      <a:pt x="1191" y="1122"/>
                    </a:moveTo>
                    <a:lnTo>
                      <a:pt x="1193" y="1122"/>
                    </a:lnTo>
                    <a:lnTo>
                      <a:pt x="1193" y="1124"/>
                    </a:lnTo>
                    <a:lnTo>
                      <a:pt x="1191" y="1124"/>
                    </a:lnTo>
                    <a:lnTo>
                      <a:pt x="1191" y="1122"/>
                    </a:lnTo>
                    <a:close/>
                    <a:moveTo>
                      <a:pt x="1232" y="959"/>
                    </a:moveTo>
                    <a:lnTo>
                      <a:pt x="1234" y="959"/>
                    </a:lnTo>
                    <a:lnTo>
                      <a:pt x="1232" y="959"/>
                    </a:lnTo>
                    <a:close/>
                    <a:moveTo>
                      <a:pt x="1332" y="1590"/>
                    </a:moveTo>
                    <a:lnTo>
                      <a:pt x="1334" y="1590"/>
                    </a:lnTo>
                    <a:lnTo>
                      <a:pt x="1332" y="1590"/>
                    </a:lnTo>
                    <a:close/>
                    <a:moveTo>
                      <a:pt x="1179" y="1488"/>
                    </a:moveTo>
                    <a:lnTo>
                      <a:pt x="1179" y="1490"/>
                    </a:lnTo>
                    <a:lnTo>
                      <a:pt x="1179" y="1488"/>
                    </a:lnTo>
                    <a:close/>
                    <a:moveTo>
                      <a:pt x="1298" y="1621"/>
                    </a:moveTo>
                    <a:lnTo>
                      <a:pt x="1300" y="1621"/>
                    </a:lnTo>
                    <a:lnTo>
                      <a:pt x="1300" y="1624"/>
                    </a:lnTo>
                    <a:lnTo>
                      <a:pt x="1298" y="1624"/>
                    </a:lnTo>
                    <a:lnTo>
                      <a:pt x="1298" y="1621"/>
                    </a:lnTo>
                    <a:close/>
                    <a:moveTo>
                      <a:pt x="1258" y="1558"/>
                    </a:moveTo>
                    <a:lnTo>
                      <a:pt x="1259" y="1558"/>
                    </a:lnTo>
                    <a:lnTo>
                      <a:pt x="1259" y="1560"/>
                    </a:lnTo>
                    <a:lnTo>
                      <a:pt x="1258" y="1560"/>
                    </a:lnTo>
                    <a:lnTo>
                      <a:pt x="1258" y="1558"/>
                    </a:lnTo>
                    <a:close/>
                    <a:moveTo>
                      <a:pt x="1162" y="1376"/>
                    </a:moveTo>
                    <a:lnTo>
                      <a:pt x="1164" y="1376"/>
                    </a:lnTo>
                    <a:lnTo>
                      <a:pt x="1164" y="1378"/>
                    </a:lnTo>
                    <a:lnTo>
                      <a:pt x="1162" y="1378"/>
                    </a:lnTo>
                    <a:lnTo>
                      <a:pt x="1162" y="1376"/>
                    </a:lnTo>
                    <a:close/>
                    <a:moveTo>
                      <a:pt x="1210" y="1490"/>
                    </a:moveTo>
                    <a:lnTo>
                      <a:pt x="1210" y="1492"/>
                    </a:lnTo>
                    <a:lnTo>
                      <a:pt x="1210" y="1490"/>
                    </a:lnTo>
                    <a:close/>
                    <a:moveTo>
                      <a:pt x="1208" y="1553"/>
                    </a:moveTo>
                    <a:lnTo>
                      <a:pt x="1208" y="1556"/>
                    </a:lnTo>
                    <a:lnTo>
                      <a:pt x="1208" y="1553"/>
                    </a:lnTo>
                    <a:close/>
                    <a:moveTo>
                      <a:pt x="1264" y="1595"/>
                    </a:moveTo>
                    <a:lnTo>
                      <a:pt x="1266" y="1595"/>
                    </a:lnTo>
                    <a:lnTo>
                      <a:pt x="1266" y="1597"/>
                    </a:lnTo>
                    <a:lnTo>
                      <a:pt x="1264" y="1597"/>
                    </a:lnTo>
                    <a:lnTo>
                      <a:pt x="1264" y="1595"/>
                    </a:lnTo>
                    <a:close/>
                    <a:moveTo>
                      <a:pt x="1208" y="1478"/>
                    </a:moveTo>
                    <a:lnTo>
                      <a:pt x="1210" y="1478"/>
                    </a:lnTo>
                    <a:lnTo>
                      <a:pt x="1210" y="1480"/>
                    </a:lnTo>
                    <a:lnTo>
                      <a:pt x="1208" y="1480"/>
                    </a:lnTo>
                    <a:lnTo>
                      <a:pt x="1208" y="1478"/>
                    </a:lnTo>
                    <a:close/>
                    <a:moveTo>
                      <a:pt x="1173" y="1408"/>
                    </a:moveTo>
                    <a:lnTo>
                      <a:pt x="1174" y="1408"/>
                    </a:lnTo>
                    <a:lnTo>
                      <a:pt x="1174" y="1410"/>
                    </a:lnTo>
                    <a:lnTo>
                      <a:pt x="1173" y="1410"/>
                    </a:lnTo>
                    <a:lnTo>
                      <a:pt x="1173" y="1408"/>
                    </a:lnTo>
                    <a:close/>
                    <a:moveTo>
                      <a:pt x="1358" y="1650"/>
                    </a:moveTo>
                    <a:lnTo>
                      <a:pt x="1360" y="1650"/>
                    </a:lnTo>
                    <a:lnTo>
                      <a:pt x="1360" y="1652"/>
                    </a:lnTo>
                    <a:lnTo>
                      <a:pt x="1358" y="1652"/>
                    </a:lnTo>
                    <a:lnTo>
                      <a:pt x="1358" y="1650"/>
                    </a:lnTo>
                    <a:close/>
                    <a:moveTo>
                      <a:pt x="1179" y="1276"/>
                    </a:moveTo>
                    <a:lnTo>
                      <a:pt x="1181" y="1276"/>
                    </a:lnTo>
                    <a:lnTo>
                      <a:pt x="1181" y="1277"/>
                    </a:lnTo>
                    <a:lnTo>
                      <a:pt x="1179" y="1277"/>
                    </a:lnTo>
                    <a:lnTo>
                      <a:pt x="1179" y="1276"/>
                    </a:lnTo>
                    <a:close/>
                    <a:moveTo>
                      <a:pt x="1253" y="1572"/>
                    </a:moveTo>
                    <a:lnTo>
                      <a:pt x="1254" y="1572"/>
                    </a:lnTo>
                    <a:lnTo>
                      <a:pt x="1254" y="1575"/>
                    </a:lnTo>
                    <a:lnTo>
                      <a:pt x="1253" y="1575"/>
                    </a:lnTo>
                    <a:lnTo>
                      <a:pt x="1253" y="1572"/>
                    </a:lnTo>
                    <a:close/>
                    <a:moveTo>
                      <a:pt x="1156" y="1245"/>
                    </a:moveTo>
                    <a:lnTo>
                      <a:pt x="1157" y="1245"/>
                    </a:lnTo>
                    <a:lnTo>
                      <a:pt x="1157" y="1247"/>
                    </a:lnTo>
                    <a:lnTo>
                      <a:pt x="1156" y="1247"/>
                    </a:lnTo>
                    <a:lnTo>
                      <a:pt x="1156" y="1245"/>
                    </a:lnTo>
                    <a:close/>
                    <a:moveTo>
                      <a:pt x="1202" y="1243"/>
                    </a:moveTo>
                    <a:lnTo>
                      <a:pt x="1203" y="1243"/>
                    </a:lnTo>
                    <a:lnTo>
                      <a:pt x="1203" y="1245"/>
                    </a:lnTo>
                    <a:lnTo>
                      <a:pt x="1202" y="1245"/>
                    </a:lnTo>
                    <a:lnTo>
                      <a:pt x="1202" y="1243"/>
                    </a:lnTo>
                    <a:close/>
                    <a:moveTo>
                      <a:pt x="1254" y="1573"/>
                    </a:moveTo>
                    <a:lnTo>
                      <a:pt x="1254" y="1577"/>
                    </a:lnTo>
                    <a:lnTo>
                      <a:pt x="1254" y="1573"/>
                    </a:lnTo>
                    <a:close/>
                    <a:moveTo>
                      <a:pt x="1176" y="1119"/>
                    </a:moveTo>
                    <a:lnTo>
                      <a:pt x="1178" y="1119"/>
                    </a:lnTo>
                    <a:lnTo>
                      <a:pt x="1178" y="1121"/>
                    </a:lnTo>
                    <a:lnTo>
                      <a:pt x="1176" y="1121"/>
                    </a:lnTo>
                    <a:lnTo>
                      <a:pt x="1176" y="1119"/>
                    </a:lnTo>
                    <a:close/>
                    <a:moveTo>
                      <a:pt x="1227" y="1582"/>
                    </a:moveTo>
                    <a:lnTo>
                      <a:pt x="1227" y="1585"/>
                    </a:lnTo>
                    <a:lnTo>
                      <a:pt x="1227" y="1582"/>
                    </a:lnTo>
                    <a:close/>
                    <a:moveTo>
                      <a:pt x="1190" y="1483"/>
                    </a:moveTo>
                    <a:lnTo>
                      <a:pt x="1190" y="1485"/>
                    </a:lnTo>
                    <a:lnTo>
                      <a:pt x="1190" y="1483"/>
                    </a:lnTo>
                    <a:close/>
                    <a:moveTo>
                      <a:pt x="1176" y="1197"/>
                    </a:moveTo>
                    <a:lnTo>
                      <a:pt x="1178" y="1197"/>
                    </a:lnTo>
                    <a:lnTo>
                      <a:pt x="1178" y="1199"/>
                    </a:lnTo>
                    <a:lnTo>
                      <a:pt x="1176" y="1199"/>
                    </a:lnTo>
                    <a:lnTo>
                      <a:pt x="1176" y="1197"/>
                    </a:lnTo>
                    <a:close/>
                    <a:moveTo>
                      <a:pt x="1253" y="1498"/>
                    </a:moveTo>
                    <a:lnTo>
                      <a:pt x="1253" y="1500"/>
                    </a:lnTo>
                    <a:lnTo>
                      <a:pt x="1253" y="1498"/>
                    </a:lnTo>
                    <a:close/>
                    <a:moveTo>
                      <a:pt x="1186" y="1384"/>
                    </a:moveTo>
                    <a:lnTo>
                      <a:pt x="1188" y="1384"/>
                    </a:lnTo>
                    <a:lnTo>
                      <a:pt x="1188" y="1386"/>
                    </a:lnTo>
                    <a:lnTo>
                      <a:pt x="1186" y="1386"/>
                    </a:lnTo>
                    <a:lnTo>
                      <a:pt x="1186" y="1384"/>
                    </a:lnTo>
                    <a:close/>
                    <a:moveTo>
                      <a:pt x="1207" y="1071"/>
                    </a:moveTo>
                    <a:lnTo>
                      <a:pt x="1208" y="1071"/>
                    </a:lnTo>
                    <a:lnTo>
                      <a:pt x="1208" y="1073"/>
                    </a:lnTo>
                    <a:lnTo>
                      <a:pt x="1207" y="1073"/>
                    </a:lnTo>
                    <a:lnTo>
                      <a:pt x="1207" y="1071"/>
                    </a:lnTo>
                    <a:close/>
                    <a:moveTo>
                      <a:pt x="1225" y="1575"/>
                    </a:moveTo>
                    <a:lnTo>
                      <a:pt x="1229" y="1575"/>
                    </a:lnTo>
                    <a:lnTo>
                      <a:pt x="1229" y="1577"/>
                    </a:lnTo>
                    <a:lnTo>
                      <a:pt x="1225" y="1577"/>
                    </a:lnTo>
                    <a:lnTo>
                      <a:pt x="1225" y="1575"/>
                    </a:lnTo>
                    <a:close/>
                    <a:moveTo>
                      <a:pt x="1220" y="980"/>
                    </a:moveTo>
                    <a:lnTo>
                      <a:pt x="1222" y="980"/>
                    </a:lnTo>
                    <a:lnTo>
                      <a:pt x="1220" y="980"/>
                    </a:lnTo>
                    <a:close/>
                    <a:moveTo>
                      <a:pt x="1186" y="1191"/>
                    </a:moveTo>
                    <a:lnTo>
                      <a:pt x="1188" y="1191"/>
                    </a:lnTo>
                    <a:lnTo>
                      <a:pt x="1188" y="1192"/>
                    </a:lnTo>
                    <a:lnTo>
                      <a:pt x="1186" y="1192"/>
                    </a:lnTo>
                    <a:lnTo>
                      <a:pt x="1186" y="1191"/>
                    </a:lnTo>
                    <a:close/>
                    <a:moveTo>
                      <a:pt x="1224" y="1580"/>
                    </a:moveTo>
                    <a:lnTo>
                      <a:pt x="1224" y="1582"/>
                    </a:lnTo>
                    <a:lnTo>
                      <a:pt x="1224" y="1580"/>
                    </a:lnTo>
                    <a:close/>
                    <a:moveTo>
                      <a:pt x="1208" y="1553"/>
                    </a:moveTo>
                    <a:lnTo>
                      <a:pt x="1210" y="1553"/>
                    </a:lnTo>
                    <a:lnTo>
                      <a:pt x="1210" y="1555"/>
                    </a:lnTo>
                    <a:lnTo>
                      <a:pt x="1208" y="1555"/>
                    </a:lnTo>
                    <a:lnTo>
                      <a:pt x="1208" y="1553"/>
                    </a:lnTo>
                    <a:close/>
                    <a:moveTo>
                      <a:pt x="1219" y="1524"/>
                    </a:moveTo>
                    <a:lnTo>
                      <a:pt x="1222" y="1524"/>
                    </a:lnTo>
                    <a:lnTo>
                      <a:pt x="1222" y="1526"/>
                    </a:lnTo>
                    <a:lnTo>
                      <a:pt x="1219" y="1526"/>
                    </a:lnTo>
                    <a:lnTo>
                      <a:pt x="1219" y="1524"/>
                    </a:lnTo>
                    <a:close/>
                    <a:moveTo>
                      <a:pt x="1139" y="1310"/>
                    </a:moveTo>
                    <a:lnTo>
                      <a:pt x="1142" y="1310"/>
                    </a:lnTo>
                    <a:lnTo>
                      <a:pt x="1142" y="1311"/>
                    </a:lnTo>
                    <a:lnTo>
                      <a:pt x="1139" y="1311"/>
                    </a:lnTo>
                    <a:lnTo>
                      <a:pt x="1139" y="1310"/>
                    </a:lnTo>
                    <a:close/>
                    <a:moveTo>
                      <a:pt x="1225" y="981"/>
                    </a:moveTo>
                    <a:lnTo>
                      <a:pt x="1227" y="981"/>
                    </a:lnTo>
                    <a:lnTo>
                      <a:pt x="1227" y="983"/>
                    </a:lnTo>
                    <a:lnTo>
                      <a:pt x="1225" y="983"/>
                    </a:lnTo>
                    <a:lnTo>
                      <a:pt x="1225" y="981"/>
                    </a:lnTo>
                    <a:close/>
                    <a:moveTo>
                      <a:pt x="1140" y="1303"/>
                    </a:moveTo>
                    <a:lnTo>
                      <a:pt x="1142" y="1303"/>
                    </a:lnTo>
                    <a:lnTo>
                      <a:pt x="1142" y="1306"/>
                    </a:lnTo>
                    <a:lnTo>
                      <a:pt x="1140" y="1306"/>
                    </a:lnTo>
                    <a:lnTo>
                      <a:pt x="1140" y="1303"/>
                    </a:lnTo>
                    <a:close/>
                    <a:moveTo>
                      <a:pt x="1326" y="1653"/>
                    </a:moveTo>
                    <a:lnTo>
                      <a:pt x="1327" y="1653"/>
                    </a:lnTo>
                    <a:lnTo>
                      <a:pt x="1326" y="1653"/>
                    </a:lnTo>
                    <a:close/>
                    <a:moveTo>
                      <a:pt x="1246" y="1534"/>
                    </a:moveTo>
                    <a:lnTo>
                      <a:pt x="1247" y="1534"/>
                    </a:lnTo>
                    <a:lnTo>
                      <a:pt x="1247" y="1536"/>
                    </a:lnTo>
                    <a:lnTo>
                      <a:pt x="1246" y="1536"/>
                    </a:lnTo>
                    <a:lnTo>
                      <a:pt x="1246" y="1534"/>
                    </a:lnTo>
                    <a:close/>
                    <a:moveTo>
                      <a:pt x="1276" y="1590"/>
                    </a:moveTo>
                    <a:lnTo>
                      <a:pt x="1278" y="1590"/>
                    </a:lnTo>
                    <a:lnTo>
                      <a:pt x="1278" y="1592"/>
                    </a:lnTo>
                    <a:lnTo>
                      <a:pt x="1276" y="1592"/>
                    </a:lnTo>
                    <a:lnTo>
                      <a:pt x="1276" y="1590"/>
                    </a:lnTo>
                    <a:close/>
                    <a:moveTo>
                      <a:pt x="1270" y="1602"/>
                    </a:moveTo>
                    <a:lnTo>
                      <a:pt x="1271" y="1602"/>
                    </a:lnTo>
                    <a:lnTo>
                      <a:pt x="1271" y="1604"/>
                    </a:lnTo>
                    <a:lnTo>
                      <a:pt x="1270" y="1604"/>
                    </a:lnTo>
                    <a:lnTo>
                      <a:pt x="1270" y="1602"/>
                    </a:lnTo>
                    <a:close/>
                    <a:moveTo>
                      <a:pt x="1217" y="1555"/>
                    </a:moveTo>
                    <a:lnTo>
                      <a:pt x="1219" y="1555"/>
                    </a:lnTo>
                    <a:lnTo>
                      <a:pt x="1217" y="1555"/>
                    </a:lnTo>
                    <a:close/>
                    <a:moveTo>
                      <a:pt x="1183" y="1099"/>
                    </a:moveTo>
                    <a:lnTo>
                      <a:pt x="1185" y="1099"/>
                    </a:lnTo>
                    <a:lnTo>
                      <a:pt x="1185" y="1100"/>
                    </a:lnTo>
                    <a:lnTo>
                      <a:pt x="1183" y="1100"/>
                    </a:lnTo>
                    <a:lnTo>
                      <a:pt x="1183" y="1099"/>
                    </a:lnTo>
                    <a:close/>
                    <a:moveTo>
                      <a:pt x="1230" y="1449"/>
                    </a:moveTo>
                    <a:lnTo>
                      <a:pt x="1232" y="1449"/>
                    </a:lnTo>
                    <a:lnTo>
                      <a:pt x="1232" y="1451"/>
                    </a:lnTo>
                    <a:lnTo>
                      <a:pt x="1230" y="1451"/>
                    </a:lnTo>
                    <a:lnTo>
                      <a:pt x="1230" y="1449"/>
                    </a:lnTo>
                    <a:close/>
                    <a:moveTo>
                      <a:pt x="1181" y="1374"/>
                    </a:moveTo>
                    <a:lnTo>
                      <a:pt x="1181" y="1376"/>
                    </a:lnTo>
                    <a:lnTo>
                      <a:pt x="1181" y="1374"/>
                    </a:lnTo>
                    <a:close/>
                    <a:moveTo>
                      <a:pt x="1208" y="1116"/>
                    </a:moveTo>
                    <a:lnTo>
                      <a:pt x="1210" y="1116"/>
                    </a:lnTo>
                    <a:lnTo>
                      <a:pt x="1210" y="1117"/>
                    </a:lnTo>
                    <a:lnTo>
                      <a:pt x="1208" y="1117"/>
                    </a:lnTo>
                    <a:lnTo>
                      <a:pt x="1208" y="1116"/>
                    </a:lnTo>
                    <a:close/>
                    <a:moveTo>
                      <a:pt x="1268" y="1521"/>
                    </a:moveTo>
                    <a:lnTo>
                      <a:pt x="1270" y="1521"/>
                    </a:lnTo>
                    <a:lnTo>
                      <a:pt x="1270" y="1524"/>
                    </a:lnTo>
                    <a:lnTo>
                      <a:pt x="1268" y="1524"/>
                    </a:lnTo>
                    <a:lnTo>
                      <a:pt x="1268" y="1521"/>
                    </a:lnTo>
                    <a:close/>
                    <a:moveTo>
                      <a:pt x="1162" y="1243"/>
                    </a:moveTo>
                    <a:lnTo>
                      <a:pt x="1164" y="1243"/>
                    </a:lnTo>
                    <a:lnTo>
                      <a:pt x="1164" y="1245"/>
                    </a:lnTo>
                    <a:lnTo>
                      <a:pt x="1162" y="1245"/>
                    </a:lnTo>
                    <a:lnTo>
                      <a:pt x="1162" y="1243"/>
                    </a:lnTo>
                    <a:close/>
                    <a:moveTo>
                      <a:pt x="1225" y="959"/>
                    </a:moveTo>
                    <a:lnTo>
                      <a:pt x="1227" y="959"/>
                    </a:lnTo>
                    <a:lnTo>
                      <a:pt x="1227" y="961"/>
                    </a:lnTo>
                    <a:lnTo>
                      <a:pt x="1225" y="961"/>
                    </a:lnTo>
                    <a:lnTo>
                      <a:pt x="1225" y="959"/>
                    </a:lnTo>
                    <a:close/>
                    <a:moveTo>
                      <a:pt x="1179" y="1424"/>
                    </a:moveTo>
                    <a:lnTo>
                      <a:pt x="1181" y="1424"/>
                    </a:lnTo>
                    <a:lnTo>
                      <a:pt x="1181" y="1425"/>
                    </a:lnTo>
                    <a:lnTo>
                      <a:pt x="1179" y="1425"/>
                    </a:lnTo>
                    <a:lnTo>
                      <a:pt x="1179" y="1424"/>
                    </a:lnTo>
                    <a:close/>
                    <a:moveTo>
                      <a:pt x="1154" y="1187"/>
                    </a:moveTo>
                    <a:lnTo>
                      <a:pt x="1156" y="1187"/>
                    </a:lnTo>
                    <a:lnTo>
                      <a:pt x="1154" y="1187"/>
                    </a:lnTo>
                    <a:close/>
                    <a:moveTo>
                      <a:pt x="1217" y="1553"/>
                    </a:moveTo>
                    <a:lnTo>
                      <a:pt x="1220" y="1553"/>
                    </a:lnTo>
                    <a:lnTo>
                      <a:pt x="1220" y="1555"/>
                    </a:lnTo>
                    <a:lnTo>
                      <a:pt x="1217" y="1555"/>
                    </a:lnTo>
                    <a:lnTo>
                      <a:pt x="1217" y="1553"/>
                    </a:lnTo>
                    <a:close/>
                    <a:moveTo>
                      <a:pt x="1164" y="1134"/>
                    </a:moveTo>
                    <a:lnTo>
                      <a:pt x="1166" y="1134"/>
                    </a:lnTo>
                    <a:lnTo>
                      <a:pt x="1166" y="1136"/>
                    </a:lnTo>
                    <a:lnTo>
                      <a:pt x="1164" y="1136"/>
                    </a:lnTo>
                    <a:lnTo>
                      <a:pt x="1164" y="1134"/>
                    </a:lnTo>
                    <a:close/>
                    <a:moveTo>
                      <a:pt x="1224" y="954"/>
                    </a:moveTo>
                    <a:lnTo>
                      <a:pt x="1225" y="954"/>
                    </a:lnTo>
                    <a:lnTo>
                      <a:pt x="1225" y="956"/>
                    </a:lnTo>
                    <a:lnTo>
                      <a:pt x="1224" y="956"/>
                    </a:lnTo>
                    <a:lnTo>
                      <a:pt x="1224" y="954"/>
                    </a:lnTo>
                    <a:close/>
                    <a:moveTo>
                      <a:pt x="1145" y="1252"/>
                    </a:moveTo>
                    <a:lnTo>
                      <a:pt x="1149" y="1252"/>
                    </a:lnTo>
                    <a:lnTo>
                      <a:pt x="1149" y="1253"/>
                    </a:lnTo>
                    <a:lnTo>
                      <a:pt x="1145" y="1253"/>
                    </a:lnTo>
                    <a:lnTo>
                      <a:pt x="1145" y="1252"/>
                    </a:lnTo>
                    <a:close/>
                    <a:moveTo>
                      <a:pt x="1169" y="1415"/>
                    </a:moveTo>
                    <a:lnTo>
                      <a:pt x="1171" y="1415"/>
                    </a:lnTo>
                    <a:lnTo>
                      <a:pt x="1171" y="1417"/>
                    </a:lnTo>
                    <a:lnTo>
                      <a:pt x="1169" y="1417"/>
                    </a:lnTo>
                    <a:lnTo>
                      <a:pt x="1169" y="1415"/>
                    </a:lnTo>
                    <a:close/>
                    <a:moveTo>
                      <a:pt x="1198" y="1427"/>
                    </a:moveTo>
                    <a:lnTo>
                      <a:pt x="1200" y="1427"/>
                    </a:lnTo>
                    <a:lnTo>
                      <a:pt x="1200" y="1429"/>
                    </a:lnTo>
                    <a:lnTo>
                      <a:pt x="1198" y="1429"/>
                    </a:lnTo>
                    <a:lnTo>
                      <a:pt x="1198" y="1427"/>
                    </a:lnTo>
                    <a:close/>
                    <a:moveTo>
                      <a:pt x="1186" y="1485"/>
                    </a:moveTo>
                    <a:lnTo>
                      <a:pt x="1188" y="1485"/>
                    </a:lnTo>
                    <a:lnTo>
                      <a:pt x="1188" y="1487"/>
                    </a:lnTo>
                    <a:lnTo>
                      <a:pt x="1186" y="1487"/>
                    </a:lnTo>
                    <a:lnTo>
                      <a:pt x="1186" y="1485"/>
                    </a:lnTo>
                    <a:close/>
                    <a:moveTo>
                      <a:pt x="1186" y="1459"/>
                    </a:moveTo>
                    <a:lnTo>
                      <a:pt x="1186" y="1461"/>
                    </a:lnTo>
                    <a:lnTo>
                      <a:pt x="1186" y="1459"/>
                    </a:lnTo>
                    <a:close/>
                    <a:moveTo>
                      <a:pt x="1185" y="1461"/>
                    </a:moveTo>
                    <a:lnTo>
                      <a:pt x="1186" y="1461"/>
                    </a:lnTo>
                    <a:lnTo>
                      <a:pt x="1186" y="1463"/>
                    </a:lnTo>
                    <a:lnTo>
                      <a:pt x="1185" y="1463"/>
                    </a:lnTo>
                    <a:lnTo>
                      <a:pt x="1185" y="1461"/>
                    </a:lnTo>
                    <a:close/>
                    <a:moveTo>
                      <a:pt x="1164" y="1242"/>
                    </a:moveTo>
                    <a:lnTo>
                      <a:pt x="1166" y="1242"/>
                    </a:lnTo>
                    <a:lnTo>
                      <a:pt x="1166" y="1243"/>
                    </a:lnTo>
                    <a:lnTo>
                      <a:pt x="1164" y="1243"/>
                    </a:lnTo>
                    <a:lnTo>
                      <a:pt x="1164" y="1242"/>
                    </a:lnTo>
                    <a:close/>
                    <a:moveTo>
                      <a:pt x="1241" y="1493"/>
                    </a:moveTo>
                    <a:lnTo>
                      <a:pt x="1242" y="1493"/>
                    </a:lnTo>
                    <a:lnTo>
                      <a:pt x="1242" y="1495"/>
                    </a:lnTo>
                    <a:lnTo>
                      <a:pt x="1241" y="1495"/>
                    </a:lnTo>
                    <a:lnTo>
                      <a:pt x="1241" y="1493"/>
                    </a:lnTo>
                    <a:close/>
                    <a:moveTo>
                      <a:pt x="1200" y="1250"/>
                    </a:moveTo>
                    <a:lnTo>
                      <a:pt x="1203" y="1250"/>
                    </a:lnTo>
                    <a:lnTo>
                      <a:pt x="1200" y="1250"/>
                    </a:lnTo>
                    <a:close/>
                    <a:moveTo>
                      <a:pt x="1208" y="1065"/>
                    </a:moveTo>
                    <a:lnTo>
                      <a:pt x="1210" y="1065"/>
                    </a:lnTo>
                    <a:lnTo>
                      <a:pt x="1210" y="1066"/>
                    </a:lnTo>
                    <a:lnTo>
                      <a:pt x="1208" y="1066"/>
                    </a:lnTo>
                    <a:lnTo>
                      <a:pt x="1208" y="1065"/>
                    </a:lnTo>
                    <a:close/>
                    <a:moveTo>
                      <a:pt x="1220" y="1555"/>
                    </a:moveTo>
                    <a:lnTo>
                      <a:pt x="1222" y="1555"/>
                    </a:lnTo>
                    <a:lnTo>
                      <a:pt x="1222" y="1556"/>
                    </a:lnTo>
                    <a:lnTo>
                      <a:pt x="1220" y="1556"/>
                    </a:lnTo>
                    <a:lnTo>
                      <a:pt x="1220" y="1555"/>
                    </a:lnTo>
                    <a:close/>
                    <a:moveTo>
                      <a:pt x="1203" y="1532"/>
                    </a:moveTo>
                    <a:lnTo>
                      <a:pt x="1207" y="1532"/>
                    </a:lnTo>
                    <a:lnTo>
                      <a:pt x="1207" y="1534"/>
                    </a:lnTo>
                    <a:lnTo>
                      <a:pt x="1203" y="1534"/>
                    </a:lnTo>
                    <a:lnTo>
                      <a:pt x="1203" y="1532"/>
                    </a:lnTo>
                    <a:close/>
                    <a:moveTo>
                      <a:pt x="1173" y="1391"/>
                    </a:moveTo>
                    <a:lnTo>
                      <a:pt x="1174" y="1391"/>
                    </a:lnTo>
                    <a:lnTo>
                      <a:pt x="1174" y="1393"/>
                    </a:lnTo>
                    <a:lnTo>
                      <a:pt x="1173" y="1393"/>
                    </a:lnTo>
                    <a:lnTo>
                      <a:pt x="1173" y="1391"/>
                    </a:lnTo>
                    <a:close/>
                    <a:moveTo>
                      <a:pt x="1200" y="1442"/>
                    </a:moveTo>
                    <a:lnTo>
                      <a:pt x="1202" y="1442"/>
                    </a:lnTo>
                    <a:lnTo>
                      <a:pt x="1202" y="1444"/>
                    </a:lnTo>
                    <a:lnTo>
                      <a:pt x="1200" y="1444"/>
                    </a:lnTo>
                    <a:lnTo>
                      <a:pt x="1200" y="1442"/>
                    </a:lnTo>
                    <a:close/>
                    <a:moveTo>
                      <a:pt x="1383" y="1663"/>
                    </a:moveTo>
                    <a:lnTo>
                      <a:pt x="1385" y="1663"/>
                    </a:lnTo>
                    <a:lnTo>
                      <a:pt x="1385" y="1665"/>
                    </a:lnTo>
                    <a:lnTo>
                      <a:pt x="1383" y="1665"/>
                    </a:lnTo>
                    <a:lnTo>
                      <a:pt x="1383" y="1663"/>
                    </a:lnTo>
                    <a:close/>
                    <a:moveTo>
                      <a:pt x="1343" y="1657"/>
                    </a:moveTo>
                    <a:lnTo>
                      <a:pt x="1344" y="1657"/>
                    </a:lnTo>
                    <a:lnTo>
                      <a:pt x="1344" y="1660"/>
                    </a:lnTo>
                    <a:lnTo>
                      <a:pt x="1343" y="1660"/>
                    </a:lnTo>
                    <a:lnTo>
                      <a:pt x="1343" y="1657"/>
                    </a:lnTo>
                    <a:close/>
                    <a:moveTo>
                      <a:pt x="1215" y="1105"/>
                    </a:moveTo>
                    <a:lnTo>
                      <a:pt x="1217" y="1105"/>
                    </a:lnTo>
                    <a:lnTo>
                      <a:pt x="1217" y="1109"/>
                    </a:lnTo>
                    <a:lnTo>
                      <a:pt x="1215" y="1109"/>
                    </a:lnTo>
                    <a:lnTo>
                      <a:pt x="1215" y="1105"/>
                    </a:lnTo>
                    <a:close/>
                    <a:moveTo>
                      <a:pt x="1210" y="1071"/>
                    </a:moveTo>
                    <a:lnTo>
                      <a:pt x="1210" y="1073"/>
                    </a:lnTo>
                    <a:lnTo>
                      <a:pt x="1210" y="1071"/>
                    </a:lnTo>
                    <a:close/>
                    <a:moveTo>
                      <a:pt x="1169" y="1481"/>
                    </a:moveTo>
                    <a:lnTo>
                      <a:pt x="1171" y="1481"/>
                    </a:lnTo>
                    <a:lnTo>
                      <a:pt x="1169" y="1481"/>
                    </a:lnTo>
                    <a:close/>
                    <a:moveTo>
                      <a:pt x="1154" y="1306"/>
                    </a:moveTo>
                    <a:lnTo>
                      <a:pt x="1156" y="1306"/>
                    </a:lnTo>
                    <a:lnTo>
                      <a:pt x="1156" y="1310"/>
                    </a:lnTo>
                    <a:lnTo>
                      <a:pt x="1154" y="1310"/>
                    </a:lnTo>
                    <a:lnTo>
                      <a:pt x="1154" y="1306"/>
                    </a:lnTo>
                    <a:close/>
                    <a:moveTo>
                      <a:pt x="1292" y="1577"/>
                    </a:moveTo>
                    <a:lnTo>
                      <a:pt x="1293" y="1577"/>
                    </a:lnTo>
                    <a:lnTo>
                      <a:pt x="1293" y="1578"/>
                    </a:lnTo>
                    <a:lnTo>
                      <a:pt x="1292" y="1578"/>
                    </a:lnTo>
                    <a:lnTo>
                      <a:pt x="1292" y="1577"/>
                    </a:lnTo>
                    <a:close/>
                    <a:moveTo>
                      <a:pt x="1227" y="997"/>
                    </a:moveTo>
                    <a:lnTo>
                      <a:pt x="1229" y="997"/>
                    </a:lnTo>
                    <a:lnTo>
                      <a:pt x="1229" y="998"/>
                    </a:lnTo>
                    <a:lnTo>
                      <a:pt x="1227" y="998"/>
                    </a:lnTo>
                    <a:lnTo>
                      <a:pt x="1227" y="997"/>
                    </a:lnTo>
                    <a:close/>
                    <a:moveTo>
                      <a:pt x="1151" y="1185"/>
                    </a:moveTo>
                    <a:lnTo>
                      <a:pt x="1152" y="1185"/>
                    </a:lnTo>
                    <a:lnTo>
                      <a:pt x="1152" y="1187"/>
                    </a:lnTo>
                    <a:lnTo>
                      <a:pt x="1151" y="1187"/>
                    </a:lnTo>
                    <a:lnTo>
                      <a:pt x="1151" y="1185"/>
                    </a:lnTo>
                    <a:close/>
                    <a:moveTo>
                      <a:pt x="1205" y="1478"/>
                    </a:moveTo>
                    <a:lnTo>
                      <a:pt x="1207" y="1478"/>
                    </a:lnTo>
                    <a:lnTo>
                      <a:pt x="1207" y="1480"/>
                    </a:lnTo>
                    <a:lnTo>
                      <a:pt x="1205" y="1480"/>
                    </a:lnTo>
                    <a:lnTo>
                      <a:pt x="1205" y="1478"/>
                    </a:lnTo>
                    <a:close/>
                    <a:moveTo>
                      <a:pt x="1169" y="1357"/>
                    </a:moveTo>
                    <a:lnTo>
                      <a:pt x="1171" y="1357"/>
                    </a:lnTo>
                    <a:lnTo>
                      <a:pt x="1169" y="1357"/>
                    </a:lnTo>
                    <a:close/>
                    <a:moveTo>
                      <a:pt x="1186" y="1071"/>
                    </a:moveTo>
                    <a:lnTo>
                      <a:pt x="1188" y="1071"/>
                    </a:lnTo>
                    <a:lnTo>
                      <a:pt x="1188" y="1073"/>
                    </a:lnTo>
                    <a:lnTo>
                      <a:pt x="1186" y="1073"/>
                    </a:lnTo>
                    <a:lnTo>
                      <a:pt x="1186" y="1071"/>
                    </a:lnTo>
                    <a:close/>
                    <a:moveTo>
                      <a:pt x="1198" y="1439"/>
                    </a:moveTo>
                    <a:lnTo>
                      <a:pt x="1198" y="1441"/>
                    </a:lnTo>
                    <a:lnTo>
                      <a:pt x="1198" y="1439"/>
                    </a:lnTo>
                    <a:close/>
                    <a:moveTo>
                      <a:pt x="1196" y="1485"/>
                    </a:moveTo>
                    <a:lnTo>
                      <a:pt x="1198" y="1485"/>
                    </a:lnTo>
                    <a:lnTo>
                      <a:pt x="1198" y="1488"/>
                    </a:lnTo>
                    <a:lnTo>
                      <a:pt x="1196" y="1488"/>
                    </a:lnTo>
                    <a:lnTo>
                      <a:pt x="1196" y="1485"/>
                    </a:lnTo>
                    <a:close/>
                    <a:moveTo>
                      <a:pt x="1300" y="1638"/>
                    </a:moveTo>
                    <a:lnTo>
                      <a:pt x="1302" y="1638"/>
                    </a:lnTo>
                    <a:lnTo>
                      <a:pt x="1302" y="1640"/>
                    </a:lnTo>
                    <a:lnTo>
                      <a:pt x="1300" y="1640"/>
                    </a:lnTo>
                    <a:lnTo>
                      <a:pt x="1300" y="1638"/>
                    </a:lnTo>
                    <a:close/>
                    <a:moveTo>
                      <a:pt x="1259" y="1595"/>
                    </a:moveTo>
                    <a:lnTo>
                      <a:pt x="1261" y="1595"/>
                    </a:lnTo>
                    <a:lnTo>
                      <a:pt x="1259" y="1595"/>
                    </a:lnTo>
                    <a:close/>
                    <a:moveTo>
                      <a:pt x="1168" y="1480"/>
                    </a:moveTo>
                    <a:lnTo>
                      <a:pt x="1169" y="1480"/>
                    </a:lnTo>
                    <a:lnTo>
                      <a:pt x="1169" y="1481"/>
                    </a:lnTo>
                    <a:lnTo>
                      <a:pt x="1168" y="1481"/>
                    </a:lnTo>
                    <a:lnTo>
                      <a:pt x="1168" y="1480"/>
                    </a:lnTo>
                    <a:close/>
                    <a:moveTo>
                      <a:pt x="1179" y="1458"/>
                    </a:moveTo>
                    <a:lnTo>
                      <a:pt x="1179" y="1459"/>
                    </a:lnTo>
                    <a:lnTo>
                      <a:pt x="1179" y="1458"/>
                    </a:lnTo>
                    <a:close/>
                    <a:moveTo>
                      <a:pt x="1331" y="1655"/>
                    </a:moveTo>
                    <a:lnTo>
                      <a:pt x="1332" y="1655"/>
                    </a:lnTo>
                    <a:lnTo>
                      <a:pt x="1332" y="1657"/>
                    </a:lnTo>
                    <a:lnTo>
                      <a:pt x="1331" y="1657"/>
                    </a:lnTo>
                    <a:lnTo>
                      <a:pt x="1331" y="1655"/>
                    </a:lnTo>
                    <a:close/>
                    <a:moveTo>
                      <a:pt x="1259" y="1558"/>
                    </a:moveTo>
                    <a:lnTo>
                      <a:pt x="1261" y="1558"/>
                    </a:lnTo>
                    <a:lnTo>
                      <a:pt x="1261" y="1560"/>
                    </a:lnTo>
                    <a:lnTo>
                      <a:pt x="1259" y="1560"/>
                    </a:lnTo>
                    <a:lnTo>
                      <a:pt x="1259" y="1558"/>
                    </a:lnTo>
                    <a:close/>
                    <a:moveTo>
                      <a:pt x="1164" y="1388"/>
                    </a:moveTo>
                    <a:lnTo>
                      <a:pt x="1166" y="1388"/>
                    </a:lnTo>
                    <a:lnTo>
                      <a:pt x="1166" y="1390"/>
                    </a:lnTo>
                    <a:lnTo>
                      <a:pt x="1164" y="1390"/>
                    </a:lnTo>
                    <a:lnTo>
                      <a:pt x="1164" y="1388"/>
                    </a:lnTo>
                    <a:close/>
                    <a:moveTo>
                      <a:pt x="1261" y="1607"/>
                    </a:moveTo>
                    <a:lnTo>
                      <a:pt x="1263" y="1607"/>
                    </a:lnTo>
                    <a:lnTo>
                      <a:pt x="1263" y="1609"/>
                    </a:lnTo>
                    <a:lnTo>
                      <a:pt x="1261" y="1609"/>
                    </a:lnTo>
                    <a:lnTo>
                      <a:pt x="1261" y="1607"/>
                    </a:lnTo>
                    <a:close/>
                    <a:moveTo>
                      <a:pt x="1246" y="1505"/>
                    </a:moveTo>
                    <a:lnTo>
                      <a:pt x="1247" y="1505"/>
                    </a:lnTo>
                    <a:lnTo>
                      <a:pt x="1247" y="1507"/>
                    </a:lnTo>
                    <a:lnTo>
                      <a:pt x="1246" y="1507"/>
                    </a:lnTo>
                    <a:lnTo>
                      <a:pt x="1246" y="1505"/>
                    </a:lnTo>
                    <a:close/>
                    <a:moveTo>
                      <a:pt x="1185" y="1427"/>
                    </a:moveTo>
                    <a:lnTo>
                      <a:pt x="1186" y="1427"/>
                    </a:lnTo>
                    <a:lnTo>
                      <a:pt x="1185" y="1427"/>
                    </a:lnTo>
                    <a:close/>
                    <a:moveTo>
                      <a:pt x="1186" y="1461"/>
                    </a:moveTo>
                    <a:lnTo>
                      <a:pt x="1188" y="1461"/>
                    </a:lnTo>
                    <a:lnTo>
                      <a:pt x="1188" y="1463"/>
                    </a:lnTo>
                    <a:lnTo>
                      <a:pt x="1186" y="1463"/>
                    </a:lnTo>
                    <a:lnTo>
                      <a:pt x="1186" y="1461"/>
                    </a:lnTo>
                    <a:close/>
                    <a:moveTo>
                      <a:pt x="1236" y="995"/>
                    </a:moveTo>
                    <a:lnTo>
                      <a:pt x="1236" y="997"/>
                    </a:lnTo>
                    <a:lnTo>
                      <a:pt x="1236" y="995"/>
                    </a:lnTo>
                    <a:close/>
                    <a:moveTo>
                      <a:pt x="1196" y="1437"/>
                    </a:moveTo>
                    <a:lnTo>
                      <a:pt x="1198" y="1437"/>
                    </a:lnTo>
                    <a:lnTo>
                      <a:pt x="1198" y="1439"/>
                    </a:lnTo>
                    <a:lnTo>
                      <a:pt x="1196" y="1439"/>
                    </a:lnTo>
                    <a:lnTo>
                      <a:pt x="1196" y="1437"/>
                    </a:lnTo>
                    <a:close/>
                    <a:moveTo>
                      <a:pt x="1171" y="1390"/>
                    </a:moveTo>
                    <a:lnTo>
                      <a:pt x="1173" y="1390"/>
                    </a:lnTo>
                    <a:lnTo>
                      <a:pt x="1173" y="1391"/>
                    </a:lnTo>
                    <a:lnTo>
                      <a:pt x="1171" y="1391"/>
                    </a:lnTo>
                    <a:lnTo>
                      <a:pt x="1171" y="1390"/>
                    </a:lnTo>
                    <a:close/>
                    <a:moveTo>
                      <a:pt x="1191" y="1119"/>
                    </a:moveTo>
                    <a:lnTo>
                      <a:pt x="1191" y="1121"/>
                    </a:lnTo>
                    <a:lnTo>
                      <a:pt x="1191" y="1119"/>
                    </a:lnTo>
                    <a:close/>
                    <a:moveTo>
                      <a:pt x="1191" y="1061"/>
                    </a:moveTo>
                    <a:lnTo>
                      <a:pt x="1191" y="1063"/>
                    </a:lnTo>
                    <a:lnTo>
                      <a:pt x="1191" y="1061"/>
                    </a:lnTo>
                    <a:close/>
                    <a:moveTo>
                      <a:pt x="1212" y="1107"/>
                    </a:moveTo>
                    <a:lnTo>
                      <a:pt x="1213" y="1107"/>
                    </a:lnTo>
                    <a:lnTo>
                      <a:pt x="1213" y="1109"/>
                    </a:lnTo>
                    <a:lnTo>
                      <a:pt x="1212" y="1109"/>
                    </a:lnTo>
                    <a:lnTo>
                      <a:pt x="1212" y="1107"/>
                    </a:lnTo>
                    <a:close/>
                    <a:moveTo>
                      <a:pt x="1212" y="1524"/>
                    </a:moveTo>
                    <a:lnTo>
                      <a:pt x="1213" y="1524"/>
                    </a:lnTo>
                    <a:lnTo>
                      <a:pt x="1213" y="1526"/>
                    </a:lnTo>
                    <a:lnTo>
                      <a:pt x="1212" y="1526"/>
                    </a:lnTo>
                    <a:lnTo>
                      <a:pt x="1212" y="1524"/>
                    </a:lnTo>
                    <a:close/>
                    <a:moveTo>
                      <a:pt x="1212" y="1558"/>
                    </a:moveTo>
                    <a:lnTo>
                      <a:pt x="1213" y="1558"/>
                    </a:lnTo>
                    <a:lnTo>
                      <a:pt x="1213" y="1560"/>
                    </a:lnTo>
                    <a:lnTo>
                      <a:pt x="1212" y="1560"/>
                    </a:lnTo>
                    <a:lnTo>
                      <a:pt x="1212" y="1558"/>
                    </a:lnTo>
                    <a:close/>
                    <a:moveTo>
                      <a:pt x="1179" y="1420"/>
                    </a:moveTo>
                    <a:lnTo>
                      <a:pt x="1179" y="1422"/>
                    </a:lnTo>
                    <a:lnTo>
                      <a:pt x="1179" y="1420"/>
                    </a:lnTo>
                    <a:close/>
                    <a:moveTo>
                      <a:pt x="1440" y="1650"/>
                    </a:moveTo>
                    <a:lnTo>
                      <a:pt x="1440" y="1652"/>
                    </a:lnTo>
                    <a:lnTo>
                      <a:pt x="1440" y="1650"/>
                    </a:lnTo>
                    <a:close/>
                    <a:moveTo>
                      <a:pt x="1208" y="1243"/>
                    </a:moveTo>
                    <a:lnTo>
                      <a:pt x="1210" y="1243"/>
                    </a:lnTo>
                    <a:lnTo>
                      <a:pt x="1208" y="1243"/>
                    </a:lnTo>
                    <a:close/>
                    <a:moveTo>
                      <a:pt x="1293" y="1616"/>
                    </a:moveTo>
                    <a:lnTo>
                      <a:pt x="1295" y="1616"/>
                    </a:lnTo>
                    <a:lnTo>
                      <a:pt x="1293" y="1616"/>
                    </a:lnTo>
                    <a:close/>
                    <a:moveTo>
                      <a:pt x="1341" y="1648"/>
                    </a:moveTo>
                    <a:lnTo>
                      <a:pt x="1343" y="1648"/>
                    </a:lnTo>
                    <a:lnTo>
                      <a:pt x="1343" y="1650"/>
                    </a:lnTo>
                    <a:lnTo>
                      <a:pt x="1341" y="1650"/>
                    </a:lnTo>
                    <a:lnTo>
                      <a:pt x="1341" y="1648"/>
                    </a:lnTo>
                    <a:close/>
                    <a:moveTo>
                      <a:pt x="1185" y="1463"/>
                    </a:moveTo>
                    <a:lnTo>
                      <a:pt x="1186" y="1463"/>
                    </a:lnTo>
                    <a:lnTo>
                      <a:pt x="1186" y="1464"/>
                    </a:lnTo>
                    <a:lnTo>
                      <a:pt x="1185" y="1464"/>
                    </a:lnTo>
                    <a:lnTo>
                      <a:pt x="1185" y="1463"/>
                    </a:lnTo>
                    <a:close/>
                    <a:moveTo>
                      <a:pt x="1212" y="1100"/>
                    </a:moveTo>
                    <a:lnTo>
                      <a:pt x="1213" y="1100"/>
                    </a:lnTo>
                    <a:lnTo>
                      <a:pt x="1213" y="1102"/>
                    </a:lnTo>
                    <a:lnTo>
                      <a:pt x="1212" y="1102"/>
                    </a:lnTo>
                    <a:lnTo>
                      <a:pt x="1212" y="1100"/>
                    </a:lnTo>
                    <a:close/>
                    <a:moveTo>
                      <a:pt x="1166" y="1337"/>
                    </a:moveTo>
                    <a:lnTo>
                      <a:pt x="1166" y="1339"/>
                    </a:lnTo>
                    <a:lnTo>
                      <a:pt x="1166" y="1337"/>
                    </a:lnTo>
                    <a:close/>
                    <a:moveTo>
                      <a:pt x="1185" y="1441"/>
                    </a:moveTo>
                    <a:lnTo>
                      <a:pt x="1186" y="1441"/>
                    </a:lnTo>
                    <a:lnTo>
                      <a:pt x="1186" y="1442"/>
                    </a:lnTo>
                    <a:lnTo>
                      <a:pt x="1185" y="1442"/>
                    </a:lnTo>
                    <a:lnTo>
                      <a:pt x="1185" y="1441"/>
                    </a:lnTo>
                    <a:close/>
                    <a:moveTo>
                      <a:pt x="1212" y="1260"/>
                    </a:moveTo>
                    <a:lnTo>
                      <a:pt x="1213" y="1260"/>
                    </a:lnTo>
                    <a:lnTo>
                      <a:pt x="1212" y="1260"/>
                    </a:lnTo>
                    <a:close/>
                    <a:moveTo>
                      <a:pt x="1225" y="956"/>
                    </a:moveTo>
                    <a:lnTo>
                      <a:pt x="1227" y="956"/>
                    </a:lnTo>
                    <a:lnTo>
                      <a:pt x="1227" y="957"/>
                    </a:lnTo>
                    <a:lnTo>
                      <a:pt x="1225" y="957"/>
                    </a:lnTo>
                    <a:lnTo>
                      <a:pt x="1225" y="956"/>
                    </a:lnTo>
                    <a:close/>
                    <a:moveTo>
                      <a:pt x="1270" y="1614"/>
                    </a:moveTo>
                    <a:lnTo>
                      <a:pt x="1271" y="1614"/>
                    </a:lnTo>
                    <a:lnTo>
                      <a:pt x="1270" y="1614"/>
                    </a:lnTo>
                    <a:close/>
                    <a:moveTo>
                      <a:pt x="1326" y="1635"/>
                    </a:moveTo>
                    <a:lnTo>
                      <a:pt x="1327" y="1635"/>
                    </a:lnTo>
                    <a:lnTo>
                      <a:pt x="1326" y="1635"/>
                    </a:lnTo>
                    <a:close/>
                    <a:moveTo>
                      <a:pt x="1159" y="1415"/>
                    </a:moveTo>
                    <a:lnTo>
                      <a:pt x="1159" y="1417"/>
                    </a:lnTo>
                    <a:lnTo>
                      <a:pt x="1159" y="1415"/>
                    </a:lnTo>
                    <a:close/>
                    <a:moveTo>
                      <a:pt x="1196" y="1430"/>
                    </a:moveTo>
                    <a:lnTo>
                      <a:pt x="1198" y="1430"/>
                    </a:lnTo>
                    <a:lnTo>
                      <a:pt x="1198" y="1432"/>
                    </a:lnTo>
                    <a:lnTo>
                      <a:pt x="1196" y="1432"/>
                    </a:lnTo>
                    <a:lnTo>
                      <a:pt x="1196" y="1430"/>
                    </a:lnTo>
                    <a:close/>
                    <a:moveTo>
                      <a:pt x="1208" y="1141"/>
                    </a:moveTo>
                    <a:lnTo>
                      <a:pt x="1208" y="1143"/>
                    </a:lnTo>
                    <a:lnTo>
                      <a:pt x="1208" y="1141"/>
                    </a:lnTo>
                    <a:close/>
                    <a:moveTo>
                      <a:pt x="1263" y="1597"/>
                    </a:moveTo>
                    <a:lnTo>
                      <a:pt x="1264" y="1597"/>
                    </a:lnTo>
                    <a:lnTo>
                      <a:pt x="1264" y="1599"/>
                    </a:lnTo>
                    <a:lnTo>
                      <a:pt x="1263" y="1599"/>
                    </a:lnTo>
                    <a:lnTo>
                      <a:pt x="1263" y="1597"/>
                    </a:lnTo>
                    <a:close/>
                    <a:moveTo>
                      <a:pt x="1225" y="1563"/>
                    </a:moveTo>
                    <a:lnTo>
                      <a:pt x="1227" y="1563"/>
                    </a:lnTo>
                    <a:lnTo>
                      <a:pt x="1225" y="1563"/>
                    </a:lnTo>
                    <a:lnTo>
                      <a:pt x="1224" y="1563"/>
                    </a:lnTo>
                    <a:lnTo>
                      <a:pt x="1225" y="1563"/>
                    </a:lnTo>
                    <a:close/>
                    <a:moveTo>
                      <a:pt x="1256" y="1592"/>
                    </a:moveTo>
                    <a:lnTo>
                      <a:pt x="1258" y="1592"/>
                    </a:lnTo>
                    <a:lnTo>
                      <a:pt x="1258" y="1594"/>
                    </a:lnTo>
                    <a:lnTo>
                      <a:pt x="1256" y="1594"/>
                    </a:lnTo>
                    <a:lnTo>
                      <a:pt x="1256" y="1592"/>
                    </a:lnTo>
                    <a:close/>
                    <a:moveTo>
                      <a:pt x="1203" y="1134"/>
                    </a:moveTo>
                    <a:lnTo>
                      <a:pt x="1203" y="1136"/>
                    </a:lnTo>
                    <a:lnTo>
                      <a:pt x="1203" y="1134"/>
                    </a:lnTo>
                    <a:close/>
                    <a:moveTo>
                      <a:pt x="1205" y="1073"/>
                    </a:moveTo>
                    <a:lnTo>
                      <a:pt x="1207" y="1073"/>
                    </a:lnTo>
                    <a:lnTo>
                      <a:pt x="1205" y="1073"/>
                    </a:lnTo>
                    <a:close/>
                    <a:moveTo>
                      <a:pt x="1229" y="1583"/>
                    </a:moveTo>
                    <a:lnTo>
                      <a:pt x="1230" y="1583"/>
                    </a:lnTo>
                    <a:lnTo>
                      <a:pt x="1230" y="1585"/>
                    </a:lnTo>
                    <a:lnTo>
                      <a:pt x="1229" y="1585"/>
                    </a:lnTo>
                    <a:lnTo>
                      <a:pt x="1229" y="1583"/>
                    </a:lnTo>
                    <a:close/>
                    <a:moveTo>
                      <a:pt x="1287" y="1595"/>
                    </a:moveTo>
                    <a:lnTo>
                      <a:pt x="1288" y="1595"/>
                    </a:lnTo>
                    <a:lnTo>
                      <a:pt x="1288" y="1597"/>
                    </a:lnTo>
                    <a:lnTo>
                      <a:pt x="1287" y="1597"/>
                    </a:lnTo>
                    <a:lnTo>
                      <a:pt x="1287" y="1595"/>
                    </a:lnTo>
                    <a:close/>
                    <a:moveTo>
                      <a:pt x="1230" y="1572"/>
                    </a:moveTo>
                    <a:lnTo>
                      <a:pt x="1232" y="1572"/>
                    </a:lnTo>
                    <a:lnTo>
                      <a:pt x="1232" y="1573"/>
                    </a:lnTo>
                    <a:lnTo>
                      <a:pt x="1230" y="1573"/>
                    </a:lnTo>
                    <a:lnTo>
                      <a:pt x="1230" y="1572"/>
                    </a:lnTo>
                    <a:close/>
                    <a:moveTo>
                      <a:pt x="1297" y="1611"/>
                    </a:moveTo>
                    <a:lnTo>
                      <a:pt x="1297" y="1612"/>
                    </a:lnTo>
                    <a:lnTo>
                      <a:pt x="1297" y="1611"/>
                    </a:lnTo>
                    <a:close/>
                    <a:moveTo>
                      <a:pt x="1230" y="940"/>
                    </a:moveTo>
                    <a:lnTo>
                      <a:pt x="1232" y="940"/>
                    </a:lnTo>
                    <a:lnTo>
                      <a:pt x="1232" y="942"/>
                    </a:lnTo>
                    <a:lnTo>
                      <a:pt x="1230" y="942"/>
                    </a:lnTo>
                    <a:lnTo>
                      <a:pt x="1230" y="940"/>
                    </a:lnTo>
                    <a:close/>
                    <a:moveTo>
                      <a:pt x="1191" y="1461"/>
                    </a:moveTo>
                    <a:lnTo>
                      <a:pt x="1193" y="1461"/>
                    </a:lnTo>
                    <a:lnTo>
                      <a:pt x="1193" y="1463"/>
                    </a:lnTo>
                    <a:lnTo>
                      <a:pt x="1191" y="1463"/>
                    </a:lnTo>
                    <a:lnTo>
                      <a:pt x="1191" y="1461"/>
                    </a:lnTo>
                    <a:close/>
                    <a:moveTo>
                      <a:pt x="1186" y="1424"/>
                    </a:moveTo>
                    <a:lnTo>
                      <a:pt x="1186" y="1425"/>
                    </a:lnTo>
                    <a:lnTo>
                      <a:pt x="1186" y="1424"/>
                    </a:lnTo>
                    <a:close/>
                    <a:moveTo>
                      <a:pt x="1263" y="1614"/>
                    </a:moveTo>
                    <a:lnTo>
                      <a:pt x="1263" y="1616"/>
                    </a:lnTo>
                    <a:lnTo>
                      <a:pt x="1263" y="1614"/>
                    </a:lnTo>
                    <a:close/>
                    <a:moveTo>
                      <a:pt x="1176" y="1468"/>
                    </a:moveTo>
                    <a:lnTo>
                      <a:pt x="1178" y="1468"/>
                    </a:lnTo>
                    <a:lnTo>
                      <a:pt x="1178" y="1470"/>
                    </a:lnTo>
                    <a:lnTo>
                      <a:pt x="1176" y="1470"/>
                    </a:lnTo>
                    <a:lnTo>
                      <a:pt x="1176" y="1468"/>
                    </a:lnTo>
                    <a:close/>
                    <a:moveTo>
                      <a:pt x="1358" y="1646"/>
                    </a:moveTo>
                    <a:lnTo>
                      <a:pt x="1360" y="1646"/>
                    </a:lnTo>
                    <a:lnTo>
                      <a:pt x="1358" y="1646"/>
                    </a:lnTo>
                    <a:close/>
                    <a:moveTo>
                      <a:pt x="1162" y="1143"/>
                    </a:moveTo>
                    <a:lnTo>
                      <a:pt x="1164" y="1143"/>
                    </a:lnTo>
                    <a:lnTo>
                      <a:pt x="1162" y="1143"/>
                    </a:lnTo>
                    <a:close/>
                    <a:moveTo>
                      <a:pt x="1385" y="1662"/>
                    </a:moveTo>
                    <a:lnTo>
                      <a:pt x="1387" y="1662"/>
                    </a:lnTo>
                    <a:lnTo>
                      <a:pt x="1387" y="1663"/>
                    </a:lnTo>
                    <a:lnTo>
                      <a:pt x="1385" y="1663"/>
                    </a:lnTo>
                    <a:lnTo>
                      <a:pt x="1385" y="1662"/>
                    </a:lnTo>
                    <a:close/>
                    <a:moveTo>
                      <a:pt x="1173" y="1240"/>
                    </a:moveTo>
                    <a:lnTo>
                      <a:pt x="1174" y="1240"/>
                    </a:lnTo>
                    <a:lnTo>
                      <a:pt x="1174" y="1242"/>
                    </a:lnTo>
                    <a:lnTo>
                      <a:pt x="1173" y="1242"/>
                    </a:lnTo>
                    <a:lnTo>
                      <a:pt x="1173" y="1240"/>
                    </a:lnTo>
                    <a:close/>
                    <a:moveTo>
                      <a:pt x="1212" y="1111"/>
                    </a:moveTo>
                    <a:lnTo>
                      <a:pt x="1213" y="1111"/>
                    </a:lnTo>
                    <a:lnTo>
                      <a:pt x="1213" y="1112"/>
                    </a:lnTo>
                    <a:lnTo>
                      <a:pt x="1212" y="1112"/>
                    </a:lnTo>
                    <a:lnTo>
                      <a:pt x="1212" y="1111"/>
                    </a:lnTo>
                    <a:close/>
                    <a:moveTo>
                      <a:pt x="1375" y="1663"/>
                    </a:moveTo>
                    <a:lnTo>
                      <a:pt x="1377" y="1663"/>
                    </a:lnTo>
                    <a:lnTo>
                      <a:pt x="1377" y="1665"/>
                    </a:lnTo>
                    <a:lnTo>
                      <a:pt x="1375" y="1665"/>
                    </a:lnTo>
                    <a:lnTo>
                      <a:pt x="1375" y="1663"/>
                    </a:lnTo>
                    <a:close/>
                    <a:moveTo>
                      <a:pt x="1227" y="1572"/>
                    </a:moveTo>
                    <a:lnTo>
                      <a:pt x="1229" y="1572"/>
                    </a:lnTo>
                    <a:lnTo>
                      <a:pt x="1227" y="1572"/>
                    </a:lnTo>
                    <a:close/>
                    <a:moveTo>
                      <a:pt x="1225" y="1577"/>
                    </a:moveTo>
                    <a:lnTo>
                      <a:pt x="1227" y="1577"/>
                    </a:lnTo>
                    <a:lnTo>
                      <a:pt x="1225" y="1577"/>
                    </a:lnTo>
                    <a:close/>
                    <a:moveTo>
                      <a:pt x="1174" y="1100"/>
                    </a:moveTo>
                    <a:lnTo>
                      <a:pt x="1176" y="1100"/>
                    </a:lnTo>
                    <a:lnTo>
                      <a:pt x="1176" y="1102"/>
                    </a:lnTo>
                    <a:lnTo>
                      <a:pt x="1174" y="1102"/>
                    </a:lnTo>
                    <a:lnTo>
                      <a:pt x="1174" y="1100"/>
                    </a:lnTo>
                    <a:close/>
                    <a:moveTo>
                      <a:pt x="1278" y="423"/>
                    </a:moveTo>
                    <a:lnTo>
                      <a:pt x="1278" y="425"/>
                    </a:lnTo>
                    <a:lnTo>
                      <a:pt x="1278" y="423"/>
                    </a:lnTo>
                    <a:close/>
                    <a:moveTo>
                      <a:pt x="1208" y="1124"/>
                    </a:moveTo>
                    <a:lnTo>
                      <a:pt x="1210" y="1124"/>
                    </a:lnTo>
                    <a:lnTo>
                      <a:pt x="1210" y="1126"/>
                    </a:lnTo>
                    <a:lnTo>
                      <a:pt x="1208" y="1126"/>
                    </a:lnTo>
                    <a:lnTo>
                      <a:pt x="1208" y="1124"/>
                    </a:lnTo>
                    <a:close/>
                    <a:moveTo>
                      <a:pt x="1304" y="1638"/>
                    </a:moveTo>
                    <a:lnTo>
                      <a:pt x="1304" y="1640"/>
                    </a:lnTo>
                    <a:lnTo>
                      <a:pt x="1304" y="1638"/>
                    </a:lnTo>
                    <a:close/>
                    <a:moveTo>
                      <a:pt x="1222" y="1066"/>
                    </a:moveTo>
                    <a:lnTo>
                      <a:pt x="1224" y="1066"/>
                    </a:lnTo>
                    <a:lnTo>
                      <a:pt x="1224" y="1068"/>
                    </a:lnTo>
                    <a:lnTo>
                      <a:pt x="1222" y="1068"/>
                    </a:lnTo>
                    <a:lnTo>
                      <a:pt x="1222" y="1066"/>
                    </a:lnTo>
                    <a:close/>
                    <a:moveTo>
                      <a:pt x="1258" y="1568"/>
                    </a:moveTo>
                    <a:lnTo>
                      <a:pt x="1258" y="1570"/>
                    </a:lnTo>
                    <a:lnTo>
                      <a:pt x="1258" y="1568"/>
                    </a:lnTo>
                    <a:close/>
                    <a:moveTo>
                      <a:pt x="1174" y="1117"/>
                    </a:moveTo>
                    <a:lnTo>
                      <a:pt x="1176" y="1117"/>
                    </a:lnTo>
                    <a:lnTo>
                      <a:pt x="1176" y="1119"/>
                    </a:lnTo>
                    <a:lnTo>
                      <a:pt x="1174" y="1119"/>
                    </a:lnTo>
                    <a:lnTo>
                      <a:pt x="1174" y="1117"/>
                    </a:lnTo>
                    <a:close/>
                    <a:moveTo>
                      <a:pt x="1185" y="1400"/>
                    </a:moveTo>
                    <a:lnTo>
                      <a:pt x="1185" y="1401"/>
                    </a:lnTo>
                    <a:lnTo>
                      <a:pt x="1185" y="1400"/>
                    </a:lnTo>
                    <a:close/>
                    <a:moveTo>
                      <a:pt x="1213" y="1519"/>
                    </a:moveTo>
                    <a:lnTo>
                      <a:pt x="1215" y="1519"/>
                    </a:lnTo>
                    <a:lnTo>
                      <a:pt x="1215" y="1521"/>
                    </a:lnTo>
                    <a:lnTo>
                      <a:pt x="1213" y="1521"/>
                    </a:lnTo>
                    <a:lnTo>
                      <a:pt x="1213" y="1519"/>
                    </a:lnTo>
                    <a:close/>
                    <a:moveTo>
                      <a:pt x="1219" y="1543"/>
                    </a:moveTo>
                    <a:lnTo>
                      <a:pt x="1220" y="1543"/>
                    </a:lnTo>
                    <a:lnTo>
                      <a:pt x="1220" y="1544"/>
                    </a:lnTo>
                    <a:lnTo>
                      <a:pt x="1219" y="1544"/>
                    </a:lnTo>
                    <a:lnTo>
                      <a:pt x="1219" y="1543"/>
                    </a:lnTo>
                    <a:close/>
                    <a:moveTo>
                      <a:pt x="1205" y="1066"/>
                    </a:moveTo>
                    <a:lnTo>
                      <a:pt x="1205" y="1068"/>
                    </a:lnTo>
                    <a:lnTo>
                      <a:pt x="1205" y="1066"/>
                    </a:lnTo>
                    <a:close/>
                    <a:moveTo>
                      <a:pt x="1191" y="1126"/>
                    </a:moveTo>
                    <a:lnTo>
                      <a:pt x="1193" y="1126"/>
                    </a:lnTo>
                    <a:lnTo>
                      <a:pt x="1193" y="1128"/>
                    </a:lnTo>
                    <a:lnTo>
                      <a:pt x="1191" y="1128"/>
                    </a:lnTo>
                    <a:lnTo>
                      <a:pt x="1191" y="1126"/>
                    </a:lnTo>
                    <a:close/>
                    <a:moveTo>
                      <a:pt x="1176" y="1441"/>
                    </a:moveTo>
                    <a:lnTo>
                      <a:pt x="1179" y="1441"/>
                    </a:lnTo>
                    <a:lnTo>
                      <a:pt x="1179" y="1442"/>
                    </a:lnTo>
                    <a:lnTo>
                      <a:pt x="1176" y="1442"/>
                    </a:lnTo>
                    <a:lnTo>
                      <a:pt x="1176" y="1441"/>
                    </a:lnTo>
                    <a:close/>
                    <a:moveTo>
                      <a:pt x="1227" y="730"/>
                    </a:moveTo>
                    <a:lnTo>
                      <a:pt x="1229" y="730"/>
                    </a:lnTo>
                    <a:lnTo>
                      <a:pt x="1229" y="731"/>
                    </a:lnTo>
                    <a:lnTo>
                      <a:pt x="1227" y="731"/>
                    </a:lnTo>
                    <a:lnTo>
                      <a:pt x="1227" y="730"/>
                    </a:lnTo>
                    <a:close/>
                    <a:moveTo>
                      <a:pt x="1195" y="1048"/>
                    </a:moveTo>
                    <a:lnTo>
                      <a:pt x="1196" y="1048"/>
                    </a:lnTo>
                    <a:lnTo>
                      <a:pt x="1195" y="1048"/>
                    </a:lnTo>
                    <a:close/>
                    <a:moveTo>
                      <a:pt x="1207" y="1060"/>
                    </a:moveTo>
                    <a:lnTo>
                      <a:pt x="1208" y="1060"/>
                    </a:lnTo>
                    <a:lnTo>
                      <a:pt x="1208" y="1061"/>
                    </a:lnTo>
                    <a:lnTo>
                      <a:pt x="1207" y="1061"/>
                    </a:lnTo>
                    <a:lnTo>
                      <a:pt x="1207" y="1060"/>
                    </a:lnTo>
                    <a:close/>
                    <a:moveTo>
                      <a:pt x="1207" y="1102"/>
                    </a:moveTo>
                    <a:lnTo>
                      <a:pt x="1208" y="1102"/>
                    </a:lnTo>
                    <a:lnTo>
                      <a:pt x="1208" y="1104"/>
                    </a:lnTo>
                    <a:lnTo>
                      <a:pt x="1207" y="1104"/>
                    </a:lnTo>
                    <a:lnTo>
                      <a:pt x="1207" y="1102"/>
                    </a:lnTo>
                    <a:close/>
                    <a:moveTo>
                      <a:pt x="1166" y="1136"/>
                    </a:moveTo>
                    <a:lnTo>
                      <a:pt x="1168" y="1136"/>
                    </a:lnTo>
                    <a:lnTo>
                      <a:pt x="1168" y="1138"/>
                    </a:lnTo>
                    <a:lnTo>
                      <a:pt x="1166" y="1138"/>
                    </a:lnTo>
                    <a:lnTo>
                      <a:pt x="1166" y="1136"/>
                    </a:lnTo>
                    <a:close/>
                    <a:moveTo>
                      <a:pt x="1178" y="1277"/>
                    </a:moveTo>
                    <a:lnTo>
                      <a:pt x="1178" y="1281"/>
                    </a:lnTo>
                    <a:lnTo>
                      <a:pt x="1178" y="1277"/>
                    </a:lnTo>
                    <a:close/>
                    <a:moveTo>
                      <a:pt x="1188" y="1483"/>
                    </a:moveTo>
                    <a:lnTo>
                      <a:pt x="1190" y="1483"/>
                    </a:lnTo>
                    <a:lnTo>
                      <a:pt x="1188" y="1483"/>
                    </a:lnTo>
                    <a:close/>
                    <a:moveTo>
                      <a:pt x="1178" y="1373"/>
                    </a:moveTo>
                    <a:lnTo>
                      <a:pt x="1178" y="1374"/>
                    </a:lnTo>
                    <a:lnTo>
                      <a:pt x="1178" y="1373"/>
                    </a:lnTo>
                    <a:close/>
                    <a:moveTo>
                      <a:pt x="1389" y="1663"/>
                    </a:moveTo>
                    <a:lnTo>
                      <a:pt x="1389" y="1665"/>
                    </a:lnTo>
                    <a:lnTo>
                      <a:pt x="1389" y="1663"/>
                    </a:lnTo>
                    <a:close/>
                    <a:moveTo>
                      <a:pt x="1417" y="1684"/>
                    </a:moveTo>
                    <a:lnTo>
                      <a:pt x="1419" y="1684"/>
                    </a:lnTo>
                    <a:lnTo>
                      <a:pt x="1419" y="1686"/>
                    </a:lnTo>
                    <a:lnTo>
                      <a:pt x="1417" y="1686"/>
                    </a:lnTo>
                    <a:lnTo>
                      <a:pt x="1417" y="1684"/>
                    </a:lnTo>
                    <a:close/>
                    <a:moveTo>
                      <a:pt x="1181" y="1481"/>
                    </a:moveTo>
                    <a:lnTo>
                      <a:pt x="1183" y="1481"/>
                    </a:lnTo>
                    <a:lnTo>
                      <a:pt x="1181" y="1481"/>
                    </a:lnTo>
                    <a:close/>
                    <a:moveTo>
                      <a:pt x="1213" y="1070"/>
                    </a:moveTo>
                    <a:lnTo>
                      <a:pt x="1213" y="1071"/>
                    </a:lnTo>
                    <a:lnTo>
                      <a:pt x="1213" y="1070"/>
                    </a:lnTo>
                    <a:close/>
                    <a:moveTo>
                      <a:pt x="1225" y="1570"/>
                    </a:moveTo>
                    <a:lnTo>
                      <a:pt x="1227" y="1570"/>
                    </a:lnTo>
                    <a:lnTo>
                      <a:pt x="1225" y="1570"/>
                    </a:lnTo>
                    <a:close/>
                    <a:moveTo>
                      <a:pt x="1145" y="1332"/>
                    </a:moveTo>
                    <a:lnTo>
                      <a:pt x="1145" y="1333"/>
                    </a:lnTo>
                    <a:lnTo>
                      <a:pt x="1145" y="1332"/>
                    </a:lnTo>
                    <a:close/>
                    <a:moveTo>
                      <a:pt x="1236" y="1075"/>
                    </a:moveTo>
                    <a:lnTo>
                      <a:pt x="1237" y="1075"/>
                    </a:lnTo>
                    <a:lnTo>
                      <a:pt x="1237" y="1077"/>
                    </a:lnTo>
                    <a:lnTo>
                      <a:pt x="1236" y="1077"/>
                    </a:lnTo>
                    <a:lnTo>
                      <a:pt x="1236" y="1075"/>
                    </a:lnTo>
                    <a:close/>
                    <a:moveTo>
                      <a:pt x="1164" y="1332"/>
                    </a:moveTo>
                    <a:lnTo>
                      <a:pt x="1166" y="1332"/>
                    </a:lnTo>
                    <a:lnTo>
                      <a:pt x="1166" y="1333"/>
                    </a:lnTo>
                    <a:lnTo>
                      <a:pt x="1164" y="1333"/>
                    </a:lnTo>
                    <a:lnTo>
                      <a:pt x="1164" y="1332"/>
                    </a:lnTo>
                    <a:close/>
                    <a:moveTo>
                      <a:pt x="1162" y="1357"/>
                    </a:moveTo>
                    <a:lnTo>
                      <a:pt x="1162" y="1359"/>
                    </a:lnTo>
                    <a:lnTo>
                      <a:pt x="1162" y="1357"/>
                    </a:lnTo>
                    <a:close/>
                    <a:moveTo>
                      <a:pt x="1280" y="1614"/>
                    </a:moveTo>
                    <a:lnTo>
                      <a:pt x="1281" y="1614"/>
                    </a:lnTo>
                    <a:lnTo>
                      <a:pt x="1281" y="1616"/>
                    </a:lnTo>
                    <a:lnTo>
                      <a:pt x="1280" y="1616"/>
                    </a:lnTo>
                    <a:lnTo>
                      <a:pt x="1280" y="1614"/>
                    </a:lnTo>
                    <a:close/>
                    <a:moveTo>
                      <a:pt x="1185" y="1458"/>
                    </a:moveTo>
                    <a:lnTo>
                      <a:pt x="1186" y="1458"/>
                    </a:lnTo>
                    <a:lnTo>
                      <a:pt x="1186" y="1459"/>
                    </a:lnTo>
                    <a:lnTo>
                      <a:pt x="1185" y="1459"/>
                    </a:lnTo>
                    <a:lnTo>
                      <a:pt x="1185" y="1458"/>
                    </a:lnTo>
                    <a:close/>
                    <a:moveTo>
                      <a:pt x="1321" y="1583"/>
                    </a:moveTo>
                    <a:lnTo>
                      <a:pt x="1322" y="1583"/>
                    </a:lnTo>
                    <a:lnTo>
                      <a:pt x="1322" y="1585"/>
                    </a:lnTo>
                    <a:lnTo>
                      <a:pt x="1321" y="1585"/>
                    </a:lnTo>
                    <a:lnTo>
                      <a:pt x="1321" y="1583"/>
                    </a:lnTo>
                    <a:close/>
                    <a:moveTo>
                      <a:pt x="1219" y="1471"/>
                    </a:moveTo>
                    <a:lnTo>
                      <a:pt x="1220" y="1471"/>
                    </a:lnTo>
                    <a:lnTo>
                      <a:pt x="1220" y="1473"/>
                    </a:lnTo>
                    <a:lnTo>
                      <a:pt x="1219" y="1473"/>
                    </a:lnTo>
                    <a:lnTo>
                      <a:pt x="1219" y="1471"/>
                    </a:lnTo>
                    <a:close/>
                    <a:moveTo>
                      <a:pt x="1188" y="1463"/>
                    </a:moveTo>
                    <a:lnTo>
                      <a:pt x="1190" y="1463"/>
                    </a:lnTo>
                    <a:lnTo>
                      <a:pt x="1188" y="1463"/>
                    </a:lnTo>
                    <a:close/>
                    <a:moveTo>
                      <a:pt x="1249" y="1597"/>
                    </a:moveTo>
                    <a:lnTo>
                      <a:pt x="1251" y="1597"/>
                    </a:lnTo>
                    <a:lnTo>
                      <a:pt x="1251" y="1599"/>
                    </a:lnTo>
                    <a:lnTo>
                      <a:pt x="1249" y="1599"/>
                    </a:lnTo>
                    <a:lnTo>
                      <a:pt x="1249" y="1597"/>
                    </a:lnTo>
                    <a:close/>
                    <a:moveTo>
                      <a:pt x="1332" y="1645"/>
                    </a:moveTo>
                    <a:lnTo>
                      <a:pt x="1334" y="1645"/>
                    </a:lnTo>
                    <a:lnTo>
                      <a:pt x="1334" y="1646"/>
                    </a:lnTo>
                    <a:lnTo>
                      <a:pt x="1332" y="1646"/>
                    </a:lnTo>
                    <a:lnTo>
                      <a:pt x="1332" y="1645"/>
                    </a:lnTo>
                    <a:close/>
                    <a:moveTo>
                      <a:pt x="1142" y="1306"/>
                    </a:moveTo>
                    <a:lnTo>
                      <a:pt x="1142" y="1310"/>
                    </a:lnTo>
                    <a:lnTo>
                      <a:pt x="1142" y="1306"/>
                    </a:lnTo>
                    <a:close/>
                    <a:moveTo>
                      <a:pt x="1181" y="1492"/>
                    </a:moveTo>
                    <a:lnTo>
                      <a:pt x="1181" y="1493"/>
                    </a:lnTo>
                    <a:lnTo>
                      <a:pt x="1181" y="1492"/>
                    </a:lnTo>
                    <a:close/>
                    <a:moveTo>
                      <a:pt x="1159" y="1434"/>
                    </a:moveTo>
                    <a:lnTo>
                      <a:pt x="1159" y="1435"/>
                    </a:lnTo>
                    <a:lnTo>
                      <a:pt x="1159" y="1434"/>
                    </a:lnTo>
                    <a:close/>
                    <a:moveTo>
                      <a:pt x="1232" y="1582"/>
                    </a:moveTo>
                    <a:lnTo>
                      <a:pt x="1234" y="1582"/>
                    </a:lnTo>
                    <a:lnTo>
                      <a:pt x="1234" y="1583"/>
                    </a:lnTo>
                    <a:lnTo>
                      <a:pt x="1232" y="1583"/>
                    </a:lnTo>
                    <a:lnTo>
                      <a:pt x="1232" y="1582"/>
                    </a:lnTo>
                    <a:close/>
                    <a:moveTo>
                      <a:pt x="1212" y="1112"/>
                    </a:moveTo>
                    <a:lnTo>
                      <a:pt x="1213" y="1112"/>
                    </a:lnTo>
                    <a:lnTo>
                      <a:pt x="1213" y="1114"/>
                    </a:lnTo>
                    <a:lnTo>
                      <a:pt x="1212" y="1114"/>
                    </a:lnTo>
                    <a:lnTo>
                      <a:pt x="1212" y="1112"/>
                    </a:lnTo>
                    <a:close/>
                    <a:moveTo>
                      <a:pt x="1210" y="1504"/>
                    </a:moveTo>
                    <a:lnTo>
                      <a:pt x="1213" y="1504"/>
                    </a:lnTo>
                    <a:lnTo>
                      <a:pt x="1210" y="1504"/>
                    </a:lnTo>
                    <a:close/>
                    <a:moveTo>
                      <a:pt x="1181" y="1490"/>
                    </a:moveTo>
                    <a:lnTo>
                      <a:pt x="1183" y="1490"/>
                    </a:lnTo>
                    <a:lnTo>
                      <a:pt x="1183" y="1492"/>
                    </a:lnTo>
                    <a:lnTo>
                      <a:pt x="1181" y="1492"/>
                    </a:lnTo>
                    <a:lnTo>
                      <a:pt x="1181" y="1490"/>
                    </a:lnTo>
                    <a:close/>
                    <a:moveTo>
                      <a:pt x="1234" y="1124"/>
                    </a:moveTo>
                    <a:lnTo>
                      <a:pt x="1236" y="1124"/>
                    </a:lnTo>
                    <a:lnTo>
                      <a:pt x="1236" y="1126"/>
                    </a:lnTo>
                    <a:lnTo>
                      <a:pt x="1234" y="1126"/>
                    </a:lnTo>
                    <a:lnTo>
                      <a:pt x="1234" y="1124"/>
                    </a:lnTo>
                    <a:close/>
                    <a:moveTo>
                      <a:pt x="1261" y="1590"/>
                    </a:moveTo>
                    <a:lnTo>
                      <a:pt x="1261" y="1592"/>
                    </a:lnTo>
                    <a:lnTo>
                      <a:pt x="1261" y="1590"/>
                    </a:lnTo>
                    <a:close/>
                    <a:moveTo>
                      <a:pt x="1149" y="1376"/>
                    </a:moveTo>
                    <a:lnTo>
                      <a:pt x="1151" y="1376"/>
                    </a:lnTo>
                    <a:lnTo>
                      <a:pt x="1151" y="1378"/>
                    </a:lnTo>
                    <a:lnTo>
                      <a:pt x="1149" y="1378"/>
                    </a:lnTo>
                    <a:lnTo>
                      <a:pt x="1149" y="1376"/>
                    </a:lnTo>
                    <a:close/>
                    <a:moveTo>
                      <a:pt x="1183" y="1459"/>
                    </a:moveTo>
                    <a:lnTo>
                      <a:pt x="1185" y="1459"/>
                    </a:lnTo>
                    <a:lnTo>
                      <a:pt x="1185" y="1461"/>
                    </a:lnTo>
                    <a:lnTo>
                      <a:pt x="1183" y="1461"/>
                    </a:lnTo>
                    <a:lnTo>
                      <a:pt x="1183" y="1459"/>
                    </a:lnTo>
                    <a:close/>
                    <a:moveTo>
                      <a:pt x="1198" y="1424"/>
                    </a:moveTo>
                    <a:lnTo>
                      <a:pt x="1200" y="1424"/>
                    </a:lnTo>
                    <a:lnTo>
                      <a:pt x="1200" y="1425"/>
                    </a:lnTo>
                    <a:lnTo>
                      <a:pt x="1198" y="1425"/>
                    </a:lnTo>
                    <a:lnTo>
                      <a:pt x="1198" y="1424"/>
                    </a:lnTo>
                    <a:close/>
                    <a:moveTo>
                      <a:pt x="1208" y="1490"/>
                    </a:moveTo>
                    <a:lnTo>
                      <a:pt x="1208" y="1492"/>
                    </a:lnTo>
                    <a:lnTo>
                      <a:pt x="1208" y="1490"/>
                    </a:lnTo>
                    <a:close/>
                    <a:moveTo>
                      <a:pt x="1205" y="1058"/>
                    </a:moveTo>
                    <a:lnTo>
                      <a:pt x="1205" y="1060"/>
                    </a:lnTo>
                    <a:lnTo>
                      <a:pt x="1205" y="1058"/>
                    </a:lnTo>
                    <a:close/>
                    <a:moveTo>
                      <a:pt x="1281" y="1595"/>
                    </a:moveTo>
                    <a:lnTo>
                      <a:pt x="1283" y="1595"/>
                    </a:lnTo>
                    <a:lnTo>
                      <a:pt x="1281" y="1595"/>
                    </a:lnTo>
                    <a:close/>
                    <a:moveTo>
                      <a:pt x="1229" y="1570"/>
                    </a:moveTo>
                    <a:lnTo>
                      <a:pt x="1232" y="1570"/>
                    </a:lnTo>
                    <a:lnTo>
                      <a:pt x="1232" y="1572"/>
                    </a:lnTo>
                    <a:lnTo>
                      <a:pt x="1229" y="1572"/>
                    </a:lnTo>
                    <a:lnTo>
                      <a:pt x="1229" y="1570"/>
                    </a:lnTo>
                    <a:close/>
                    <a:moveTo>
                      <a:pt x="1181" y="1376"/>
                    </a:moveTo>
                    <a:lnTo>
                      <a:pt x="1183" y="1376"/>
                    </a:lnTo>
                    <a:lnTo>
                      <a:pt x="1181" y="1376"/>
                    </a:lnTo>
                    <a:close/>
                    <a:moveTo>
                      <a:pt x="1191" y="1233"/>
                    </a:moveTo>
                    <a:lnTo>
                      <a:pt x="1193" y="1233"/>
                    </a:lnTo>
                    <a:lnTo>
                      <a:pt x="1191" y="1233"/>
                    </a:lnTo>
                    <a:close/>
                    <a:moveTo>
                      <a:pt x="1215" y="983"/>
                    </a:moveTo>
                    <a:lnTo>
                      <a:pt x="1215" y="985"/>
                    </a:lnTo>
                    <a:lnTo>
                      <a:pt x="1215" y="983"/>
                    </a:lnTo>
                    <a:close/>
                    <a:moveTo>
                      <a:pt x="1208" y="1097"/>
                    </a:moveTo>
                    <a:lnTo>
                      <a:pt x="1208" y="1099"/>
                    </a:lnTo>
                    <a:lnTo>
                      <a:pt x="1208" y="1097"/>
                    </a:lnTo>
                    <a:close/>
                    <a:moveTo>
                      <a:pt x="1183" y="1495"/>
                    </a:moveTo>
                    <a:lnTo>
                      <a:pt x="1185" y="1495"/>
                    </a:lnTo>
                    <a:lnTo>
                      <a:pt x="1185" y="1497"/>
                    </a:lnTo>
                    <a:lnTo>
                      <a:pt x="1183" y="1497"/>
                    </a:lnTo>
                    <a:lnTo>
                      <a:pt x="1183" y="1495"/>
                    </a:lnTo>
                    <a:close/>
                    <a:moveTo>
                      <a:pt x="1183" y="1475"/>
                    </a:moveTo>
                    <a:lnTo>
                      <a:pt x="1185" y="1475"/>
                    </a:lnTo>
                    <a:lnTo>
                      <a:pt x="1183" y="1475"/>
                    </a:lnTo>
                    <a:close/>
                    <a:moveTo>
                      <a:pt x="1225" y="1570"/>
                    </a:moveTo>
                    <a:lnTo>
                      <a:pt x="1227" y="1570"/>
                    </a:lnTo>
                    <a:lnTo>
                      <a:pt x="1227" y="1572"/>
                    </a:lnTo>
                    <a:lnTo>
                      <a:pt x="1225" y="1572"/>
                    </a:lnTo>
                    <a:lnTo>
                      <a:pt x="1225" y="1570"/>
                    </a:lnTo>
                    <a:close/>
                    <a:moveTo>
                      <a:pt x="1259" y="1600"/>
                    </a:moveTo>
                    <a:lnTo>
                      <a:pt x="1259" y="1602"/>
                    </a:lnTo>
                    <a:lnTo>
                      <a:pt x="1259" y="1600"/>
                    </a:lnTo>
                    <a:close/>
                    <a:moveTo>
                      <a:pt x="1210" y="1124"/>
                    </a:moveTo>
                    <a:lnTo>
                      <a:pt x="1212" y="1124"/>
                    </a:lnTo>
                    <a:lnTo>
                      <a:pt x="1210" y="1124"/>
                    </a:lnTo>
                    <a:close/>
                    <a:moveTo>
                      <a:pt x="1183" y="1427"/>
                    </a:moveTo>
                    <a:lnTo>
                      <a:pt x="1185" y="1427"/>
                    </a:lnTo>
                    <a:lnTo>
                      <a:pt x="1183" y="1427"/>
                    </a:lnTo>
                    <a:close/>
                    <a:moveTo>
                      <a:pt x="1188" y="1097"/>
                    </a:moveTo>
                    <a:lnTo>
                      <a:pt x="1190" y="1097"/>
                    </a:lnTo>
                    <a:lnTo>
                      <a:pt x="1188" y="1097"/>
                    </a:lnTo>
                    <a:close/>
                    <a:moveTo>
                      <a:pt x="1188" y="1463"/>
                    </a:moveTo>
                    <a:lnTo>
                      <a:pt x="1190" y="1463"/>
                    </a:lnTo>
                    <a:lnTo>
                      <a:pt x="1190" y="1464"/>
                    </a:lnTo>
                    <a:lnTo>
                      <a:pt x="1188" y="1464"/>
                    </a:lnTo>
                    <a:lnTo>
                      <a:pt x="1188" y="1463"/>
                    </a:lnTo>
                    <a:close/>
                    <a:moveTo>
                      <a:pt x="1179" y="1257"/>
                    </a:moveTo>
                    <a:lnTo>
                      <a:pt x="1181" y="1257"/>
                    </a:lnTo>
                    <a:lnTo>
                      <a:pt x="1179" y="1257"/>
                    </a:lnTo>
                    <a:close/>
                    <a:moveTo>
                      <a:pt x="1181" y="1116"/>
                    </a:moveTo>
                    <a:lnTo>
                      <a:pt x="1181" y="1117"/>
                    </a:lnTo>
                    <a:lnTo>
                      <a:pt x="1181" y="1116"/>
                    </a:lnTo>
                    <a:close/>
                    <a:moveTo>
                      <a:pt x="1162" y="1160"/>
                    </a:moveTo>
                    <a:lnTo>
                      <a:pt x="1164" y="1160"/>
                    </a:lnTo>
                    <a:lnTo>
                      <a:pt x="1164" y="1162"/>
                    </a:lnTo>
                    <a:lnTo>
                      <a:pt x="1162" y="1162"/>
                    </a:lnTo>
                    <a:lnTo>
                      <a:pt x="1162" y="1160"/>
                    </a:lnTo>
                    <a:close/>
                    <a:moveTo>
                      <a:pt x="1181" y="1099"/>
                    </a:moveTo>
                    <a:lnTo>
                      <a:pt x="1183" y="1099"/>
                    </a:lnTo>
                    <a:lnTo>
                      <a:pt x="1181" y="1099"/>
                    </a:lnTo>
                    <a:close/>
                    <a:moveTo>
                      <a:pt x="1144" y="1306"/>
                    </a:moveTo>
                    <a:lnTo>
                      <a:pt x="1144" y="1308"/>
                    </a:lnTo>
                    <a:lnTo>
                      <a:pt x="1144" y="1306"/>
                    </a:lnTo>
                    <a:close/>
                    <a:moveTo>
                      <a:pt x="1185" y="1066"/>
                    </a:moveTo>
                    <a:lnTo>
                      <a:pt x="1186" y="1066"/>
                    </a:lnTo>
                    <a:lnTo>
                      <a:pt x="1185" y="1066"/>
                    </a:lnTo>
                    <a:close/>
                    <a:moveTo>
                      <a:pt x="1208" y="1075"/>
                    </a:moveTo>
                    <a:lnTo>
                      <a:pt x="1208" y="1077"/>
                    </a:lnTo>
                    <a:lnTo>
                      <a:pt x="1208" y="1075"/>
                    </a:lnTo>
                    <a:close/>
                    <a:moveTo>
                      <a:pt x="1239" y="1456"/>
                    </a:moveTo>
                    <a:lnTo>
                      <a:pt x="1241" y="1456"/>
                    </a:lnTo>
                    <a:lnTo>
                      <a:pt x="1241" y="1458"/>
                    </a:lnTo>
                    <a:lnTo>
                      <a:pt x="1239" y="1458"/>
                    </a:lnTo>
                    <a:lnTo>
                      <a:pt x="1239" y="1456"/>
                    </a:lnTo>
                    <a:close/>
                    <a:moveTo>
                      <a:pt x="1193" y="1464"/>
                    </a:moveTo>
                    <a:lnTo>
                      <a:pt x="1193" y="1466"/>
                    </a:lnTo>
                    <a:lnTo>
                      <a:pt x="1193" y="1464"/>
                    </a:lnTo>
                    <a:close/>
                    <a:moveTo>
                      <a:pt x="1166" y="1344"/>
                    </a:moveTo>
                    <a:lnTo>
                      <a:pt x="1168" y="1344"/>
                    </a:lnTo>
                    <a:lnTo>
                      <a:pt x="1168" y="1345"/>
                    </a:lnTo>
                    <a:lnTo>
                      <a:pt x="1166" y="1345"/>
                    </a:lnTo>
                    <a:lnTo>
                      <a:pt x="1166" y="1344"/>
                    </a:lnTo>
                    <a:close/>
                    <a:moveTo>
                      <a:pt x="1237" y="1582"/>
                    </a:moveTo>
                    <a:lnTo>
                      <a:pt x="1239" y="1582"/>
                    </a:lnTo>
                    <a:lnTo>
                      <a:pt x="1239" y="1583"/>
                    </a:lnTo>
                    <a:lnTo>
                      <a:pt x="1237" y="1583"/>
                    </a:lnTo>
                    <a:lnTo>
                      <a:pt x="1237" y="1582"/>
                    </a:lnTo>
                    <a:close/>
                    <a:moveTo>
                      <a:pt x="1200" y="1522"/>
                    </a:moveTo>
                    <a:lnTo>
                      <a:pt x="1202" y="1522"/>
                    </a:lnTo>
                    <a:lnTo>
                      <a:pt x="1202" y="1524"/>
                    </a:lnTo>
                    <a:lnTo>
                      <a:pt x="1200" y="1524"/>
                    </a:lnTo>
                    <a:lnTo>
                      <a:pt x="1200" y="1522"/>
                    </a:lnTo>
                    <a:close/>
                    <a:moveTo>
                      <a:pt x="1247" y="951"/>
                    </a:moveTo>
                    <a:lnTo>
                      <a:pt x="1249" y="951"/>
                    </a:lnTo>
                    <a:lnTo>
                      <a:pt x="1247" y="951"/>
                    </a:lnTo>
                    <a:close/>
                    <a:moveTo>
                      <a:pt x="1281" y="1597"/>
                    </a:moveTo>
                    <a:lnTo>
                      <a:pt x="1283" y="1597"/>
                    </a:lnTo>
                    <a:lnTo>
                      <a:pt x="1283" y="1599"/>
                    </a:lnTo>
                    <a:lnTo>
                      <a:pt x="1281" y="1599"/>
                    </a:lnTo>
                    <a:lnTo>
                      <a:pt x="1281" y="1597"/>
                    </a:lnTo>
                    <a:close/>
                    <a:moveTo>
                      <a:pt x="1288" y="1621"/>
                    </a:moveTo>
                    <a:lnTo>
                      <a:pt x="1290" y="1621"/>
                    </a:lnTo>
                    <a:lnTo>
                      <a:pt x="1288" y="1621"/>
                    </a:lnTo>
                    <a:close/>
                    <a:moveTo>
                      <a:pt x="1329" y="1648"/>
                    </a:moveTo>
                    <a:lnTo>
                      <a:pt x="1331" y="1648"/>
                    </a:lnTo>
                    <a:lnTo>
                      <a:pt x="1329" y="1648"/>
                    </a:lnTo>
                    <a:close/>
                    <a:moveTo>
                      <a:pt x="1261" y="1587"/>
                    </a:moveTo>
                    <a:lnTo>
                      <a:pt x="1263" y="1587"/>
                    </a:lnTo>
                    <a:lnTo>
                      <a:pt x="1261" y="1587"/>
                    </a:lnTo>
                    <a:close/>
                    <a:moveTo>
                      <a:pt x="1152" y="1185"/>
                    </a:moveTo>
                    <a:lnTo>
                      <a:pt x="1154" y="1185"/>
                    </a:lnTo>
                    <a:lnTo>
                      <a:pt x="1154" y="1187"/>
                    </a:lnTo>
                    <a:lnTo>
                      <a:pt x="1152" y="1187"/>
                    </a:lnTo>
                    <a:lnTo>
                      <a:pt x="1152" y="1185"/>
                    </a:lnTo>
                    <a:close/>
                    <a:moveTo>
                      <a:pt x="1193" y="1492"/>
                    </a:moveTo>
                    <a:lnTo>
                      <a:pt x="1195" y="1492"/>
                    </a:lnTo>
                    <a:lnTo>
                      <a:pt x="1193" y="1492"/>
                    </a:lnTo>
                    <a:close/>
                    <a:moveTo>
                      <a:pt x="1183" y="1425"/>
                    </a:moveTo>
                    <a:lnTo>
                      <a:pt x="1185" y="1425"/>
                    </a:lnTo>
                    <a:lnTo>
                      <a:pt x="1185" y="1427"/>
                    </a:lnTo>
                    <a:lnTo>
                      <a:pt x="1183" y="1427"/>
                    </a:lnTo>
                    <a:lnTo>
                      <a:pt x="1183" y="1425"/>
                    </a:lnTo>
                    <a:close/>
                    <a:moveTo>
                      <a:pt x="1164" y="1396"/>
                    </a:moveTo>
                    <a:lnTo>
                      <a:pt x="1164" y="1398"/>
                    </a:lnTo>
                    <a:lnTo>
                      <a:pt x="1164" y="1396"/>
                    </a:lnTo>
                    <a:close/>
                    <a:moveTo>
                      <a:pt x="1220" y="1526"/>
                    </a:moveTo>
                    <a:lnTo>
                      <a:pt x="1222" y="1526"/>
                    </a:lnTo>
                    <a:lnTo>
                      <a:pt x="1222" y="1527"/>
                    </a:lnTo>
                    <a:lnTo>
                      <a:pt x="1220" y="1527"/>
                    </a:lnTo>
                    <a:lnTo>
                      <a:pt x="1220" y="1526"/>
                    </a:lnTo>
                    <a:close/>
                    <a:moveTo>
                      <a:pt x="1178" y="1517"/>
                    </a:moveTo>
                    <a:lnTo>
                      <a:pt x="1179" y="1517"/>
                    </a:lnTo>
                    <a:lnTo>
                      <a:pt x="1178" y="1517"/>
                    </a:lnTo>
                    <a:close/>
                    <a:moveTo>
                      <a:pt x="1159" y="1356"/>
                    </a:moveTo>
                    <a:lnTo>
                      <a:pt x="1161" y="1356"/>
                    </a:lnTo>
                    <a:lnTo>
                      <a:pt x="1159" y="1356"/>
                    </a:lnTo>
                    <a:close/>
                    <a:moveTo>
                      <a:pt x="1159" y="1390"/>
                    </a:moveTo>
                    <a:lnTo>
                      <a:pt x="1161" y="1390"/>
                    </a:lnTo>
                    <a:lnTo>
                      <a:pt x="1159" y="1390"/>
                    </a:lnTo>
                    <a:close/>
                    <a:moveTo>
                      <a:pt x="1176" y="1386"/>
                    </a:moveTo>
                    <a:lnTo>
                      <a:pt x="1178" y="1386"/>
                    </a:lnTo>
                    <a:lnTo>
                      <a:pt x="1176" y="1386"/>
                    </a:lnTo>
                    <a:close/>
                    <a:moveTo>
                      <a:pt x="1438" y="1680"/>
                    </a:moveTo>
                    <a:lnTo>
                      <a:pt x="1440" y="1680"/>
                    </a:lnTo>
                    <a:lnTo>
                      <a:pt x="1440" y="1682"/>
                    </a:lnTo>
                    <a:lnTo>
                      <a:pt x="1438" y="1682"/>
                    </a:lnTo>
                    <a:lnTo>
                      <a:pt x="1438" y="1680"/>
                    </a:lnTo>
                    <a:close/>
                    <a:moveTo>
                      <a:pt x="1193" y="1140"/>
                    </a:moveTo>
                    <a:lnTo>
                      <a:pt x="1195" y="1140"/>
                    </a:lnTo>
                    <a:lnTo>
                      <a:pt x="1195" y="1141"/>
                    </a:lnTo>
                    <a:lnTo>
                      <a:pt x="1193" y="1141"/>
                    </a:lnTo>
                    <a:lnTo>
                      <a:pt x="1193" y="1140"/>
                    </a:lnTo>
                    <a:close/>
                    <a:moveTo>
                      <a:pt x="1159" y="1420"/>
                    </a:moveTo>
                    <a:lnTo>
                      <a:pt x="1159" y="1422"/>
                    </a:lnTo>
                    <a:lnTo>
                      <a:pt x="1159" y="1420"/>
                    </a:lnTo>
                    <a:close/>
                    <a:moveTo>
                      <a:pt x="1365" y="1660"/>
                    </a:moveTo>
                    <a:lnTo>
                      <a:pt x="1366" y="1660"/>
                    </a:lnTo>
                    <a:lnTo>
                      <a:pt x="1365" y="1660"/>
                    </a:lnTo>
                    <a:close/>
                    <a:moveTo>
                      <a:pt x="1205" y="1500"/>
                    </a:moveTo>
                    <a:lnTo>
                      <a:pt x="1207" y="1500"/>
                    </a:lnTo>
                    <a:lnTo>
                      <a:pt x="1207" y="1502"/>
                    </a:lnTo>
                    <a:lnTo>
                      <a:pt x="1205" y="1502"/>
                    </a:lnTo>
                    <a:lnTo>
                      <a:pt x="1205" y="1500"/>
                    </a:lnTo>
                    <a:close/>
                    <a:moveTo>
                      <a:pt x="1208" y="1053"/>
                    </a:moveTo>
                    <a:lnTo>
                      <a:pt x="1208" y="1054"/>
                    </a:lnTo>
                    <a:lnTo>
                      <a:pt x="1208" y="1053"/>
                    </a:lnTo>
                    <a:close/>
                    <a:moveTo>
                      <a:pt x="1179" y="1425"/>
                    </a:moveTo>
                    <a:lnTo>
                      <a:pt x="1179" y="1427"/>
                    </a:lnTo>
                    <a:lnTo>
                      <a:pt x="1179" y="1425"/>
                    </a:lnTo>
                    <a:close/>
                    <a:moveTo>
                      <a:pt x="1268" y="1597"/>
                    </a:moveTo>
                    <a:lnTo>
                      <a:pt x="1270" y="1597"/>
                    </a:lnTo>
                    <a:lnTo>
                      <a:pt x="1270" y="1599"/>
                    </a:lnTo>
                    <a:lnTo>
                      <a:pt x="1268" y="1599"/>
                    </a:lnTo>
                    <a:lnTo>
                      <a:pt x="1268" y="1597"/>
                    </a:lnTo>
                    <a:close/>
                    <a:moveTo>
                      <a:pt x="1220" y="1560"/>
                    </a:moveTo>
                    <a:lnTo>
                      <a:pt x="1222" y="1560"/>
                    </a:lnTo>
                    <a:lnTo>
                      <a:pt x="1220" y="1560"/>
                    </a:lnTo>
                    <a:close/>
                    <a:moveTo>
                      <a:pt x="1229" y="1570"/>
                    </a:moveTo>
                    <a:lnTo>
                      <a:pt x="1230" y="1570"/>
                    </a:lnTo>
                    <a:lnTo>
                      <a:pt x="1230" y="1572"/>
                    </a:lnTo>
                    <a:lnTo>
                      <a:pt x="1229" y="1572"/>
                    </a:lnTo>
                    <a:lnTo>
                      <a:pt x="1229" y="1570"/>
                    </a:lnTo>
                    <a:close/>
                    <a:moveTo>
                      <a:pt x="1176" y="1245"/>
                    </a:moveTo>
                    <a:lnTo>
                      <a:pt x="1178" y="1245"/>
                    </a:lnTo>
                    <a:lnTo>
                      <a:pt x="1178" y="1247"/>
                    </a:lnTo>
                    <a:lnTo>
                      <a:pt x="1176" y="1247"/>
                    </a:lnTo>
                    <a:lnTo>
                      <a:pt x="1176" y="1245"/>
                    </a:lnTo>
                    <a:close/>
                    <a:moveTo>
                      <a:pt x="1203" y="1549"/>
                    </a:moveTo>
                    <a:lnTo>
                      <a:pt x="1205" y="1549"/>
                    </a:lnTo>
                    <a:lnTo>
                      <a:pt x="1205" y="1551"/>
                    </a:lnTo>
                    <a:lnTo>
                      <a:pt x="1203" y="1551"/>
                    </a:lnTo>
                    <a:lnTo>
                      <a:pt x="1203" y="1549"/>
                    </a:lnTo>
                    <a:close/>
                    <a:moveTo>
                      <a:pt x="1205" y="1095"/>
                    </a:moveTo>
                    <a:lnTo>
                      <a:pt x="1205" y="1097"/>
                    </a:lnTo>
                    <a:lnTo>
                      <a:pt x="1205" y="1095"/>
                    </a:lnTo>
                    <a:close/>
                    <a:moveTo>
                      <a:pt x="1224" y="976"/>
                    </a:moveTo>
                    <a:lnTo>
                      <a:pt x="1225" y="976"/>
                    </a:lnTo>
                    <a:lnTo>
                      <a:pt x="1225" y="978"/>
                    </a:lnTo>
                    <a:lnTo>
                      <a:pt x="1224" y="978"/>
                    </a:lnTo>
                    <a:lnTo>
                      <a:pt x="1224" y="976"/>
                    </a:lnTo>
                    <a:close/>
                    <a:moveTo>
                      <a:pt x="1390" y="1645"/>
                    </a:moveTo>
                    <a:lnTo>
                      <a:pt x="1392" y="1645"/>
                    </a:lnTo>
                    <a:lnTo>
                      <a:pt x="1392" y="1646"/>
                    </a:lnTo>
                    <a:lnTo>
                      <a:pt x="1390" y="1646"/>
                    </a:lnTo>
                    <a:lnTo>
                      <a:pt x="1390" y="1645"/>
                    </a:lnTo>
                    <a:close/>
                    <a:moveTo>
                      <a:pt x="1205" y="1119"/>
                    </a:moveTo>
                    <a:lnTo>
                      <a:pt x="1207" y="1119"/>
                    </a:lnTo>
                    <a:lnTo>
                      <a:pt x="1205" y="1119"/>
                    </a:lnTo>
                    <a:close/>
                    <a:moveTo>
                      <a:pt x="1200" y="1248"/>
                    </a:moveTo>
                    <a:lnTo>
                      <a:pt x="1202" y="1248"/>
                    </a:lnTo>
                    <a:lnTo>
                      <a:pt x="1202" y="1250"/>
                    </a:lnTo>
                    <a:lnTo>
                      <a:pt x="1200" y="1250"/>
                    </a:lnTo>
                    <a:lnTo>
                      <a:pt x="1200" y="1248"/>
                    </a:lnTo>
                    <a:close/>
                    <a:moveTo>
                      <a:pt x="1395" y="1655"/>
                    </a:moveTo>
                    <a:lnTo>
                      <a:pt x="1397" y="1655"/>
                    </a:lnTo>
                    <a:lnTo>
                      <a:pt x="1397" y="1657"/>
                    </a:lnTo>
                    <a:lnTo>
                      <a:pt x="1395" y="1657"/>
                    </a:lnTo>
                    <a:lnTo>
                      <a:pt x="1395" y="1655"/>
                    </a:lnTo>
                    <a:close/>
                    <a:moveTo>
                      <a:pt x="1159" y="1349"/>
                    </a:moveTo>
                    <a:lnTo>
                      <a:pt x="1161" y="1349"/>
                    </a:lnTo>
                    <a:lnTo>
                      <a:pt x="1159" y="1349"/>
                    </a:lnTo>
                    <a:close/>
                    <a:moveTo>
                      <a:pt x="1198" y="1437"/>
                    </a:moveTo>
                    <a:lnTo>
                      <a:pt x="1198" y="1439"/>
                    </a:lnTo>
                    <a:lnTo>
                      <a:pt x="1198" y="1437"/>
                    </a:lnTo>
                    <a:close/>
                    <a:moveTo>
                      <a:pt x="1217" y="1561"/>
                    </a:moveTo>
                    <a:lnTo>
                      <a:pt x="1219" y="1561"/>
                    </a:lnTo>
                    <a:lnTo>
                      <a:pt x="1217" y="1561"/>
                    </a:lnTo>
                    <a:close/>
                    <a:moveTo>
                      <a:pt x="1174" y="1446"/>
                    </a:moveTo>
                    <a:lnTo>
                      <a:pt x="1174" y="1447"/>
                    </a:lnTo>
                    <a:lnTo>
                      <a:pt x="1174" y="1446"/>
                    </a:lnTo>
                    <a:close/>
                    <a:moveTo>
                      <a:pt x="1185" y="1063"/>
                    </a:moveTo>
                    <a:lnTo>
                      <a:pt x="1185" y="1065"/>
                    </a:lnTo>
                    <a:lnTo>
                      <a:pt x="1185" y="1063"/>
                    </a:lnTo>
                    <a:close/>
                    <a:moveTo>
                      <a:pt x="1368" y="1669"/>
                    </a:moveTo>
                    <a:lnTo>
                      <a:pt x="1368" y="1670"/>
                    </a:lnTo>
                    <a:lnTo>
                      <a:pt x="1368" y="1669"/>
                    </a:lnTo>
                    <a:close/>
                    <a:moveTo>
                      <a:pt x="1196" y="1488"/>
                    </a:moveTo>
                    <a:lnTo>
                      <a:pt x="1198" y="1488"/>
                    </a:lnTo>
                    <a:lnTo>
                      <a:pt x="1198" y="1490"/>
                    </a:lnTo>
                    <a:lnTo>
                      <a:pt x="1196" y="1490"/>
                    </a:lnTo>
                    <a:lnTo>
                      <a:pt x="1196" y="1488"/>
                    </a:lnTo>
                    <a:close/>
                    <a:moveTo>
                      <a:pt x="1156" y="1362"/>
                    </a:moveTo>
                    <a:lnTo>
                      <a:pt x="1156" y="1364"/>
                    </a:lnTo>
                    <a:lnTo>
                      <a:pt x="1156" y="1362"/>
                    </a:lnTo>
                    <a:close/>
                    <a:moveTo>
                      <a:pt x="1207" y="1155"/>
                    </a:moveTo>
                    <a:lnTo>
                      <a:pt x="1208" y="1155"/>
                    </a:lnTo>
                    <a:lnTo>
                      <a:pt x="1207" y="1155"/>
                    </a:lnTo>
                    <a:close/>
                    <a:moveTo>
                      <a:pt x="1224" y="956"/>
                    </a:moveTo>
                    <a:lnTo>
                      <a:pt x="1225" y="956"/>
                    </a:lnTo>
                    <a:lnTo>
                      <a:pt x="1225" y="957"/>
                    </a:lnTo>
                    <a:lnTo>
                      <a:pt x="1224" y="957"/>
                    </a:lnTo>
                    <a:lnTo>
                      <a:pt x="1224" y="956"/>
                    </a:lnTo>
                    <a:close/>
                    <a:moveTo>
                      <a:pt x="1196" y="1453"/>
                    </a:moveTo>
                    <a:lnTo>
                      <a:pt x="1198" y="1453"/>
                    </a:lnTo>
                    <a:lnTo>
                      <a:pt x="1198" y="1454"/>
                    </a:lnTo>
                    <a:lnTo>
                      <a:pt x="1196" y="1454"/>
                    </a:lnTo>
                    <a:lnTo>
                      <a:pt x="1196" y="1453"/>
                    </a:lnTo>
                    <a:close/>
                    <a:moveTo>
                      <a:pt x="1193" y="1487"/>
                    </a:moveTo>
                    <a:lnTo>
                      <a:pt x="1193" y="1488"/>
                    </a:lnTo>
                    <a:lnTo>
                      <a:pt x="1193" y="1487"/>
                    </a:lnTo>
                    <a:close/>
                    <a:moveTo>
                      <a:pt x="1191" y="1140"/>
                    </a:moveTo>
                    <a:lnTo>
                      <a:pt x="1193" y="1140"/>
                    </a:lnTo>
                    <a:lnTo>
                      <a:pt x="1191" y="1140"/>
                    </a:lnTo>
                    <a:close/>
                    <a:moveTo>
                      <a:pt x="1222" y="1568"/>
                    </a:moveTo>
                    <a:lnTo>
                      <a:pt x="1224" y="1568"/>
                    </a:lnTo>
                    <a:lnTo>
                      <a:pt x="1222" y="1568"/>
                    </a:lnTo>
                    <a:close/>
                    <a:moveTo>
                      <a:pt x="1220" y="1071"/>
                    </a:moveTo>
                    <a:lnTo>
                      <a:pt x="1220" y="1073"/>
                    </a:lnTo>
                    <a:lnTo>
                      <a:pt x="1220" y="1071"/>
                    </a:lnTo>
                    <a:close/>
                    <a:moveTo>
                      <a:pt x="1440" y="1665"/>
                    </a:moveTo>
                    <a:lnTo>
                      <a:pt x="1440" y="1667"/>
                    </a:lnTo>
                    <a:lnTo>
                      <a:pt x="1440" y="1665"/>
                    </a:lnTo>
                    <a:close/>
                    <a:moveTo>
                      <a:pt x="1149" y="1328"/>
                    </a:moveTo>
                    <a:lnTo>
                      <a:pt x="1149" y="1330"/>
                    </a:lnTo>
                    <a:lnTo>
                      <a:pt x="1149" y="1328"/>
                    </a:lnTo>
                    <a:close/>
                    <a:moveTo>
                      <a:pt x="1188" y="1485"/>
                    </a:moveTo>
                    <a:lnTo>
                      <a:pt x="1188" y="1487"/>
                    </a:lnTo>
                    <a:lnTo>
                      <a:pt x="1188" y="1485"/>
                    </a:lnTo>
                    <a:close/>
                    <a:moveTo>
                      <a:pt x="1174" y="1102"/>
                    </a:moveTo>
                    <a:lnTo>
                      <a:pt x="1176" y="1102"/>
                    </a:lnTo>
                    <a:lnTo>
                      <a:pt x="1176" y="1104"/>
                    </a:lnTo>
                    <a:lnTo>
                      <a:pt x="1174" y="1104"/>
                    </a:lnTo>
                    <a:lnTo>
                      <a:pt x="1174" y="1102"/>
                    </a:lnTo>
                    <a:close/>
                    <a:moveTo>
                      <a:pt x="1389" y="1628"/>
                    </a:moveTo>
                    <a:lnTo>
                      <a:pt x="1390" y="1628"/>
                    </a:lnTo>
                    <a:lnTo>
                      <a:pt x="1389" y="1628"/>
                    </a:lnTo>
                    <a:close/>
                    <a:moveTo>
                      <a:pt x="1220" y="1060"/>
                    </a:moveTo>
                    <a:lnTo>
                      <a:pt x="1222" y="1060"/>
                    </a:lnTo>
                    <a:lnTo>
                      <a:pt x="1222" y="1061"/>
                    </a:lnTo>
                    <a:lnTo>
                      <a:pt x="1220" y="1061"/>
                    </a:lnTo>
                    <a:lnTo>
                      <a:pt x="1220" y="1060"/>
                    </a:lnTo>
                    <a:close/>
                    <a:moveTo>
                      <a:pt x="1225" y="1556"/>
                    </a:moveTo>
                    <a:lnTo>
                      <a:pt x="1225" y="1558"/>
                    </a:lnTo>
                    <a:lnTo>
                      <a:pt x="1225" y="1556"/>
                    </a:lnTo>
                    <a:close/>
                    <a:moveTo>
                      <a:pt x="1190" y="1097"/>
                    </a:moveTo>
                    <a:lnTo>
                      <a:pt x="1190" y="1099"/>
                    </a:lnTo>
                    <a:lnTo>
                      <a:pt x="1190" y="1097"/>
                    </a:lnTo>
                    <a:close/>
                    <a:moveTo>
                      <a:pt x="1188" y="1487"/>
                    </a:moveTo>
                    <a:lnTo>
                      <a:pt x="1190" y="1487"/>
                    </a:lnTo>
                    <a:lnTo>
                      <a:pt x="1190" y="1488"/>
                    </a:lnTo>
                    <a:lnTo>
                      <a:pt x="1188" y="1488"/>
                    </a:lnTo>
                    <a:lnTo>
                      <a:pt x="1188" y="1487"/>
                    </a:lnTo>
                    <a:close/>
                    <a:moveTo>
                      <a:pt x="1196" y="1092"/>
                    </a:moveTo>
                    <a:lnTo>
                      <a:pt x="1198" y="1092"/>
                    </a:lnTo>
                    <a:lnTo>
                      <a:pt x="1196" y="1092"/>
                    </a:lnTo>
                    <a:close/>
                    <a:moveTo>
                      <a:pt x="1166" y="1236"/>
                    </a:moveTo>
                    <a:lnTo>
                      <a:pt x="1168" y="1236"/>
                    </a:lnTo>
                    <a:lnTo>
                      <a:pt x="1166" y="1236"/>
                    </a:lnTo>
                    <a:close/>
                    <a:moveTo>
                      <a:pt x="1181" y="1473"/>
                    </a:moveTo>
                    <a:lnTo>
                      <a:pt x="1183" y="1473"/>
                    </a:lnTo>
                    <a:lnTo>
                      <a:pt x="1183" y="1475"/>
                    </a:lnTo>
                    <a:lnTo>
                      <a:pt x="1181" y="1475"/>
                    </a:lnTo>
                    <a:lnTo>
                      <a:pt x="1181" y="1473"/>
                    </a:lnTo>
                    <a:close/>
                    <a:moveTo>
                      <a:pt x="1152" y="1187"/>
                    </a:moveTo>
                    <a:lnTo>
                      <a:pt x="1154" y="1187"/>
                    </a:lnTo>
                    <a:lnTo>
                      <a:pt x="1152" y="1187"/>
                    </a:lnTo>
                    <a:close/>
                    <a:moveTo>
                      <a:pt x="1219" y="1583"/>
                    </a:moveTo>
                    <a:lnTo>
                      <a:pt x="1220" y="1583"/>
                    </a:lnTo>
                    <a:lnTo>
                      <a:pt x="1220" y="1585"/>
                    </a:lnTo>
                    <a:lnTo>
                      <a:pt x="1219" y="1585"/>
                    </a:lnTo>
                    <a:lnTo>
                      <a:pt x="1219" y="1583"/>
                    </a:lnTo>
                    <a:close/>
                    <a:moveTo>
                      <a:pt x="1162" y="1240"/>
                    </a:moveTo>
                    <a:lnTo>
                      <a:pt x="1164" y="1240"/>
                    </a:lnTo>
                    <a:lnTo>
                      <a:pt x="1164" y="1242"/>
                    </a:lnTo>
                    <a:lnTo>
                      <a:pt x="1162" y="1242"/>
                    </a:lnTo>
                    <a:lnTo>
                      <a:pt x="1162" y="1240"/>
                    </a:lnTo>
                    <a:close/>
                    <a:moveTo>
                      <a:pt x="1237" y="1590"/>
                    </a:moveTo>
                    <a:lnTo>
                      <a:pt x="1237" y="1592"/>
                    </a:lnTo>
                    <a:lnTo>
                      <a:pt x="1237" y="1590"/>
                    </a:lnTo>
                    <a:close/>
                    <a:moveTo>
                      <a:pt x="1239" y="1582"/>
                    </a:moveTo>
                    <a:lnTo>
                      <a:pt x="1241" y="1582"/>
                    </a:lnTo>
                    <a:lnTo>
                      <a:pt x="1241" y="1583"/>
                    </a:lnTo>
                    <a:lnTo>
                      <a:pt x="1239" y="1583"/>
                    </a:lnTo>
                    <a:lnTo>
                      <a:pt x="1239" y="1582"/>
                    </a:lnTo>
                    <a:close/>
                    <a:moveTo>
                      <a:pt x="1190" y="1485"/>
                    </a:moveTo>
                    <a:lnTo>
                      <a:pt x="1191" y="1485"/>
                    </a:lnTo>
                    <a:lnTo>
                      <a:pt x="1191" y="1487"/>
                    </a:lnTo>
                    <a:lnTo>
                      <a:pt x="1190" y="1487"/>
                    </a:lnTo>
                    <a:lnTo>
                      <a:pt x="1190" y="1485"/>
                    </a:lnTo>
                    <a:close/>
                    <a:moveTo>
                      <a:pt x="1220" y="1541"/>
                    </a:moveTo>
                    <a:lnTo>
                      <a:pt x="1224" y="1541"/>
                    </a:lnTo>
                    <a:lnTo>
                      <a:pt x="1224" y="1543"/>
                    </a:lnTo>
                    <a:lnTo>
                      <a:pt x="1220" y="1543"/>
                    </a:lnTo>
                    <a:lnTo>
                      <a:pt x="1220" y="1541"/>
                    </a:lnTo>
                    <a:close/>
                    <a:moveTo>
                      <a:pt x="1183" y="1483"/>
                    </a:moveTo>
                    <a:lnTo>
                      <a:pt x="1185" y="1483"/>
                    </a:lnTo>
                    <a:lnTo>
                      <a:pt x="1183" y="1483"/>
                    </a:lnTo>
                    <a:close/>
                    <a:moveTo>
                      <a:pt x="1210" y="1560"/>
                    </a:moveTo>
                    <a:lnTo>
                      <a:pt x="1212" y="1560"/>
                    </a:lnTo>
                    <a:lnTo>
                      <a:pt x="1210" y="1560"/>
                    </a:lnTo>
                    <a:close/>
                    <a:moveTo>
                      <a:pt x="1205" y="1119"/>
                    </a:moveTo>
                    <a:lnTo>
                      <a:pt x="1205" y="1121"/>
                    </a:lnTo>
                    <a:lnTo>
                      <a:pt x="1205" y="1119"/>
                    </a:lnTo>
                    <a:close/>
                    <a:moveTo>
                      <a:pt x="1280" y="432"/>
                    </a:moveTo>
                    <a:lnTo>
                      <a:pt x="1280" y="434"/>
                    </a:lnTo>
                    <a:lnTo>
                      <a:pt x="1280" y="432"/>
                    </a:lnTo>
                    <a:close/>
                    <a:moveTo>
                      <a:pt x="1171" y="1381"/>
                    </a:moveTo>
                    <a:lnTo>
                      <a:pt x="1173" y="1381"/>
                    </a:lnTo>
                    <a:lnTo>
                      <a:pt x="1171" y="1381"/>
                    </a:lnTo>
                    <a:close/>
                    <a:moveTo>
                      <a:pt x="1219" y="956"/>
                    </a:moveTo>
                    <a:lnTo>
                      <a:pt x="1219" y="957"/>
                    </a:lnTo>
                    <a:lnTo>
                      <a:pt x="1219" y="956"/>
                    </a:lnTo>
                    <a:close/>
                    <a:moveTo>
                      <a:pt x="1229" y="1566"/>
                    </a:moveTo>
                    <a:lnTo>
                      <a:pt x="1230" y="1566"/>
                    </a:lnTo>
                    <a:lnTo>
                      <a:pt x="1229" y="1566"/>
                    </a:lnTo>
                    <a:close/>
                    <a:moveTo>
                      <a:pt x="1280" y="1595"/>
                    </a:moveTo>
                    <a:lnTo>
                      <a:pt x="1281" y="1595"/>
                    </a:lnTo>
                    <a:lnTo>
                      <a:pt x="1281" y="1597"/>
                    </a:lnTo>
                    <a:lnTo>
                      <a:pt x="1280" y="1597"/>
                    </a:lnTo>
                    <a:lnTo>
                      <a:pt x="1280" y="1595"/>
                    </a:lnTo>
                    <a:close/>
                    <a:moveTo>
                      <a:pt x="1219" y="1556"/>
                    </a:moveTo>
                    <a:lnTo>
                      <a:pt x="1222" y="1556"/>
                    </a:lnTo>
                    <a:lnTo>
                      <a:pt x="1219" y="1556"/>
                    </a:lnTo>
                    <a:close/>
                    <a:moveTo>
                      <a:pt x="1360" y="1648"/>
                    </a:moveTo>
                    <a:lnTo>
                      <a:pt x="1361" y="1648"/>
                    </a:lnTo>
                    <a:lnTo>
                      <a:pt x="1361" y="1650"/>
                    </a:lnTo>
                    <a:lnTo>
                      <a:pt x="1360" y="1650"/>
                    </a:lnTo>
                    <a:lnTo>
                      <a:pt x="1360" y="1648"/>
                    </a:lnTo>
                    <a:close/>
                    <a:moveTo>
                      <a:pt x="1254" y="1595"/>
                    </a:moveTo>
                    <a:lnTo>
                      <a:pt x="1254" y="1597"/>
                    </a:lnTo>
                    <a:lnTo>
                      <a:pt x="1254" y="1595"/>
                    </a:lnTo>
                    <a:close/>
                    <a:moveTo>
                      <a:pt x="1154" y="1243"/>
                    </a:moveTo>
                    <a:lnTo>
                      <a:pt x="1156" y="1243"/>
                    </a:lnTo>
                    <a:lnTo>
                      <a:pt x="1156" y="1245"/>
                    </a:lnTo>
                    <a:lnTo>
                      <a:pt x="1154" y="1245"/>
                    </a:lnTo>
                    <a:lnTo>
                      <a:pt x="1154" y="1243"/>
                    </a:lnTo>
                    <a:close/>
                    <a:moveTo>
                      <a:pt x="1205" y="1094"/>
                    </a:moveTo>
                    <a:lnTo>
                      <a:pt x="1205" y="1095"/>
                    </a:lnTo>
                    <a:lnTo>
                      <a:pt x="1205" y="1094"/>
                    </a:lnTo>
                    <a:close/>
                    <a:moveTo>
                      <a:pt x="1188" y="1276"/>
                    </a:moveTo>
                    <a:lnTo>
                      <a:pt x="1190" y="1276"/>
                    </a:lnTo>
                    <a:lnTo>
                      <a:pt x="1190" y="1277"/>
                    </a:lnTo>
                    <a:lnTo>
                      <a:pt x="1188" y="1277"/>
                    </a:lnTo>
                    <a:lnTo>
                      <a:pt x="1188" y="1276"/>
                    </a:lnTo>
                    <a:close/>
                    <a:moveTo>
                      <a:pt x="1159" y="1388"/>
                    </a:moveTo>
                    <a:lnTo>
                      <a:pt x="1161" y="1388"/>
                    </a:lnTo>
                    <a:lnTo>
                      <a:pt x="1161" y="1390"/>
                    </a:lnTo>
                    <a:lnTo>
                      <a:pt x="1159" y="1390"/>
                    </a:lnTo>
                    <a:lnTo>
                      <a:pt x="1159" y="1388"/>
                    </a:lnTo>
                    <a:close/>
                    <a:moveTo>
                      <a:pt x="1205" y="1250"/>
                    </a:moveTo>
                    <a:lnTo>
                      <a:pt x="1207" y="1250"/>
                    </a:lnTo>
                    <a:lnTo>
                      <a:pt x="1207" y="1252"/>
                    </a:lnTo>
                    <a:lnTo>
                      <a:pt x="1205" y="1252"/>
                    </a:lnTo>
                    <a:lnTo>
                      <a:pt x="1205" y="1250"/>
                    </a:lnTo>
                    <a:close/>
                    <a:moveTo>
                      <a:pt x="1166" y="1242"/>
                    </a:moveTo>
                    <a:lnTo>
                      <a:pt x="1166" y="1243"/>
                    </a:lnTo>
                    <a:lnTo>
                      <a:pt x="1166" y="1242"/>
                    </a:lnTo>
                    <a:close/>
                    <a:moveTo>
                      <a:pt x="1263" y="1590"/>
                    </a:moveTo>
                    <a:lnTo>
                      <a:pt x="1264" y="1590"/>
                    </a:lnTo>
                    <a:lnTo>
                      <a:pt x="1264" y="1592"/>
                    </a:lnTo>
                    <a:lnTo>
                      <a:pt x="1263" y="1592"/>
                    </a:lnTo>
                    <a:lnTo>
                      <a:pt x="1263" y="1590"/>
                    </a:lnTo>
                    <a:close/>
                    <a:moveTo>
                      <a:pt x="1321" y="1626"/>
                    </a:moveTo>
                    <a:lnTo>
                      <a:pt x="1322" y="1626"/>
                    </a:lnTo>
                    <a:lnTo>
                      <a:pt x="1321" y="1626"/>
                    </a:lnTo>
                    <a:close/>
                    <a:moveTo>
                      <a:pt x="1176" y="1432"/>
                    </a:moveTo>
                    <a:lnTo>
                      <a:pt x="1178" y="1432"/>
                    </a:lnTo>
                    <a:lnTo>
                      <a:pt x="1176" y="1432"/>
                    </a:lnTo>
                    <a:close/>
                    <a:moveTo>
                      <a:pt x="1220" y="1556"/>
                    </a:moveTo>
                    <a:lnTo>
                      <a:pt x="1220" y="1558"/>
                    </a:lnTo>
                    <a:lnTo>
                      <a:pt x="1220" y="1556"/>
                    </a:lnTo>
                    <a:close/>
                    <a:moveTo>
                      <a:pt x="1202" y="1058"/>
                    </a:moveTo>
                    <a:lnTo>
                      <a:pt x="1203" y="1058"/>
                    </a:lnTo>
                    <a:lnTo>
                      <a:pt x="1203" y="1060"/>
                    </a:lnTo>
                    <a:lnTo>
                      <a:pt x="1202" y="1060"/>
                    </a:lnTo>
                    <a:lnTo>
                      <a:pt x="1202" y="1058"/>
                    </a:lnTo>
                    <a:close/>
                    <a:moveTo>
                      <a:pt x="1339" y="1660"/>
                    </a:moveTo>
                    <a:lnTo>
                      <a:pt x="1339" y="1662"/>
                    </a:lnTo>
                    <a:lnTo>
                      <a:pt x="1339" y="1660"/>
                    </a:lnTo>
                    <a:close/>
                    <a:moveTo>
                      <a:pt x="1205" y="1122"/>
                    </a:moveTo>
                    <a:lnTo>
                      <a:pt x="1205" y="1124"/>
                    </a:lnTo>
                    <a:lnTo>
                      <a:pt x="1205" y="1122"/>
                    </a:lnTo>
                    <a:close/>
                    <a:moveTo>
                      <a:pt x="1295" y="1616"/>
                    </a:moveTo>
                    <a:lnTo>
                      <a:pt x="1297" y="1616"/>
                    </a:lnTo>
                    <a:lnTo>
                      <a:pt x="1297" y="1618"/>
                    </a:lnTo>
                    <a:lnTo>
                      <a:pt x="1295" y="1618"/>
                    </a:lnTo>
                    <a:lnTo>
                      <a:pt x="1295" y="1616"/>
                    </a:lnTo>
                    <a:close/>
                    <a:moveTo>
                      <a:pt x="1326" y="1650"/>
                    </a:moveTo>
                    <a:lnTo>
                      <a:pt x="1327" y="1650"/>
                    </a:lnTo>
                    <a:lnTo>
                      <a:pt x="1327" y="1652"/>
                    </a:lnTo>
                    <a:lnTo>
                      <a:pt x="1326" y="1652"/>
                    </a:lnTo>
                    <a:lnTo>
                      <a:pt x="1326" y="1650"/>
                    </a:lnTo>
                    <a:close/>
                    <a:moveTo>
                      <a:pt x="1169" y="1434"/>
                    </a:moveTo>
                    <a:lnTo>
                      <a:pt x="1171" y="1434"/>
                    </a:lnTo>
                    <a:lnTo>
                      <a:pt x="1169" y="1434"/>
                    </a:lnTo>
                    <a:close/>
                    <a:moveTo>
                      <a:pt x="1251" y="1597"/>
                    </a:moveTo>
                    <a:lnTo>
                      <a:pt x="1251" y="1599"/>
                    </a:lnTo>
                    <a:lnTo>
                      <a:pt x="1251" y="1597"/>
                    </a:lnTo>
                    <a:close/>
                    <a:moveTo>
                      <a:pt x="1159" y="1349"/>
                    </a:moveTo>
                    <a:lnTo>
                      <a:pt x="1161" y="1349"/>
                    </a:lnTo>
                    <a:lnTo>
                      <a:pt x="1159" y="1349"/>
                    </a:lnTo>
                    <a:close/>
                    <a:moveTo>
                      <a:pt x="1227" y="1583"/>
                    </a:moveTo>
                    <a:lnTo>
                      <a:pt x="1229" y="1583"/>
                    </a:lnTo>
                    <a:lnTo>
                      <a:pt x="1227" y="1583"/>
                    </a:lnTo>
                    <a:close/>
                    <a:moveTo>
                      <a:pt x="1219" y="1524"/>
                    </a:moveTo>
                    <a:lnTo>
                      <a:pt x="1220" y="1524"/>
                    </a:lnTo>
                    <a:lnTo>
                      <a:pt x="1220" y="1526"/>
                    </a:lnTo>
                    <a:lnTo>
                      <a:pt x="1219" y="1526"/>
                    </a:lnTo>
                    <a:lnTo>
                      <a:pt x="1219" y="1524"/>
                    </a:lnTo>
                    <a:close/>
                    <a:moveTo>
                      <a:pt x="1188" y="1447"/>
                    </a:moveTo>
                    <a:lnTo>
                      <a:pt x="1190" y="1447"/>
                    </a:lnTo>
                    <a:lnTo>
                      <a:pt x="1190" y="1449"/>
                    </a:lnTo>
                    <a:lnTo>
                      <a:pt x="1188" y="1449"/>
                    </a:lnTo>
                    <a:lnTo>
                      <a:pt x="1188" y="1447"/>
                    </a:lnTo>
                    <a:close/>
                    <a:moveTo>
                      <a:pt x="1154" y="1185"/>
                    </a:moveTo>
                    <a:lnTo>
                      <a:pt x="1156" y="1185"/>
                    </a:lnTo>
                    <a:lnTo>
                      <a:pt x="1156" y="1187"/>
                    </a:lnTo>
                    <a:lnTo>
                      <a:pt x="1154" y="1187"/>
                    </a:lnTo>
                    <a:lnTo>
                      <a:pt x="1154" y="1185"/>
                    </a:lnTo>
                    <a:close/>
                    <a:moveTo>
                      <a:pt x="1149" y="1332"/>
                    </a:moveTo>
                    <a:lnTo>
                      <a:pt x="1151" y="1332"/>
                    </a:lnTo>
                    <a:lnTo>
                      <a:pt x="1149" y="1332"/>
                    </a:lnTo>
                    <a:close/>
                    <a:moveTo>
                      <a:pt x="1385" y="1662"/>
                    </a:moveTo>
                    <a:lnTo>
                      <a:pt x="1385" y="1663"/>
                    </a:lnTo>
                    <a:lnTo>
                      <a:pt x="1385" y="1662"/>
                    </a:lnTo>
                    <a:close/>
                    <a:moveTo>
                      <a:pt x="1186" y="1485"/>
                    </a:moveTo>
                    <a:lnTo>
                      <a:pt x="1188" y="1485"/>
                    </a:lnTo>
                    <a:lnTo>
                      <a:pt x="1186" y="1485"/>
                    </a:lnTo>
                    <a:close/>
                    <a:moveTo>
                      <a:pt x="1181" y="1459"/>
                    </a:moveTo>
                    <a:lnTo>
                      <a:pt x="1181" y="1461"/>
                    </a:lnTo>
                    <a:lnTo>
                      <a:pt x="1181" y="1459"/>
                    </a:lnTo>
                    <a:close/>
                    <a:moveTo>
                      <a:pt x="1361" y="1670"/>
                    </a:moveTo>
                    <a:lnTo>
                      <a:pt x="1363" y="1670"/>
                    </a:lnTo>
                    <a:lnTo>
                      <a:pt x="1361" y="1670"/>
                    </a:lnTo>
                    <a:close/>
                    <a:moveTo>
                      <a:pt x="1210" y="1090"/>
                    </a:moveTo>
                    <a:lnTo>
                      <a:pt x="1212" y="1090"/>
                    </a:lnTo>
                    <a:lnTo>
                      <a:pt x="1212" y="1092"/>
                    </a:lnTo>
                    <a:lnTo>
                      <a:pt x="1210" y="1092"/>
                    </a:lnTo>
                    <a:lnTo>
                      <a:pt x="1210" y="1090"/>
                    </a:lnTo>
                    <a:close/>
                    <a:moveTo>
                      <a:pt x="1183" y="1071"/>
                    </a:moveTo>
                    <a:lnTo>
                      <a:pt x="1183" y="1073"/>
                    </a:lnTo>
                    <a:lnTo>
                      <a:pt x="1183" y="1071"/>
                    </a:lnTo>
                    <a:close/>
                    <a:moveTo>
                      <a:pt x="1205" y="1105"/>
                    </a:moveTo>
                    <a:lnTo>
                      <a:pt x="1207" y="1105"/>
                    </a:lnTo>
                    <a:lnTo>
                      <a:pt x="1205" y="1105"/>
                    </a:lnTo>
                    <a:close/>
                    <a:moveTo>
                      <a:pt x="1258" y="1602"/>
                    </a:moveTo>
                    <a:lnTo>
                      <a:pt x="1259" y="1602"/>
                    </a:lnTo>
                    <a:lnTo>
                      <a:pt x="1258" y="1602"/>
                    </a:lnTo>
                    <a:close/>
                    <a:moveTo>
                      <a:pt x="1220" y="1505"/>
                    </a:moveTo>
                    <a:lnTo>
                      <a:pt x="1222" y="1505"/>
                    </a:lnTo>
                    <a:lnTo>
                      <a:pt x="1222" y="1507"/>
                    </a:lnTo>
                    <a:lnTo>
                      <a:pt x="1220" y="1507"/>
                    </a:lnTo>
                    <a:lnTo>
                      <a:pt x="1220" y="1505"/>
                    </a:lnTo>
                    <a:close/>
                    <a:moveTo>
                      <a:pt x="1186" y="1444"/>
                    </a:moveTo>
                    <a:lnTo>
                      <a:pt x="1188" y="1444"/>
                    </a:lnTo>
                    <a:lnTo>
                      <a:pt x="1186" y="1444"/>
                    </a:lnTo>
                    <a:close/>
                    <a:moveTo>
                      <a:pt x="1404" y="1648"/>
                    </a:moveTo>
                    <a:lnTo>
                      <a:pt x="1406" y="1648"/>
                    </a:lnTo>
                    <a:lnTo>
                      <a:pt x="1404" y="1648"/>
                    </a:lnTo>
                    <a:close/>
                    <a:moveTo>
                      <a:pt x="1378" y="1665"/>
                    </a:moveTo>
                    <a:lnTo>
                      <a:pt x="1380" y="1665"/>
                    </a:lnTo>
                    <a:lnTo>
                      <a:pt x="1378" y="1665"/>
                    </a:lnTo>
                    <a:close/>
                    <a:moveTo>
                      <a:pt x="1343" y="1663"/>
                    </a:moveTo>
                    <a:lnTo>
                      <a:pt x="1344" y="1663"/>
                    </a:lnTo>
                    <a:lnTo>
                      <a:pt x="1344" y="1665"/>
                    </a:lnTo>
                    <a:lnTo>
                      <a:pt x="1343" y="1665"/>
                    </a:lnTo>
                    <a:lnTo>
                      <a:pt x="1343" y="1663"/>
                    </a:lnTo>
                    <a:close/>
                    <a:moveTo>
                      <a:pt x="1414" y="1679"/>
                    </a:moveTo>
                    <a:lnTo>
                      <a:pt x="1416" y="1679"/>
                    </a:lnTo>
                    <a:lnTo>
                      <a:pt x="1416" y="1680"/>
                    </a:lnTo>
                    <a:lnTo>
                      <a:pt x="1414" y="1680"/>
                    </a:lnTo>
                    <a:lnTo>
                      <a:pt x="1414" y="1679"/>
                    </a:lnTo>
                    <a:close/>
                    <a:moveTo>
                      <a:pt x="1220" y="1075"/>
                    </a:moveTo>
                    <a:lnTo>
                      <a:pt x="1220" y="1077"/>
                    </a:lnTo>
                    <a:lnTo>
                      <a:pt x="1220" y="1075"/>
                    </a:lnTo>
                    <a:close/>
                    <a:moveTo>
                      <a:pt x="1222" y="1561"/>
                    </a:moveTo>
                    <a:lnTo>
                      <a:pt x="1224" y="1561"/>
                    </a:lnTo>
                    <a:lnTo>
                      <a:pt x="1222" y="1561"/>
                    </a:lnTo>
                    <a:close/>
                    <a:moveTo>
                      <a:pt x="1176" y="1141"/>
                    </a:moveTo>
                    <a:lnTo>
                      <a:pt x="1178" y="1141"/>
                    </a:lnTo>
                    <a:lnTo>
                      <a:pt x="1178" y="1143"/>
                    </a:lnTo>
                    <a:lnTo>
                      <a:pt x="1176" y="1143"/>
                    </a:lnTo>
                    <a:lnTo>
                      <a:pt x="1176" y="1141"/>
                    </a:lnTo>
                    <a:close/>
                    <a:moveTo>
                      <a:pt x="1356" y="1653"/>
                    </a:moveTo>
                    <a:lnTo>
                      <a:pt x="1358" y="1653"/>
                    </a:lnTo>
                    <a:lnTo>
                      <a:pt x="1358" y="1655"/>
                    </a:lnTo>
                    <a:lnTo>
                      <a:pt x="1356" y="1655"/>
                    </a:lnTo>
                    <a:lnTo>
                      <a:pt x="1356" y="1653"/>
                    </a:lnTo>
                    <a:close/>
                    <a:moveTo>
                      <a:pt x="1213" y="1012"/>
                    </a:moveTo>
                    <a:lnTo>
                      <a:pt x="1215" y="1012"/>
                    </a:lnTo>
                    <a:lnTo>
                      <a:pt x="1215" y="1014"/>
                    </a:lnTo>
                    <a:lnTo>
                      <a:pt x="1213" y="1014"/>
                    </a:lnTo>
                    <a:lnTo>
                      <a:pt x="1213" y="1012"/>
                    </a:lnTo>
                    <a:close/>
                    <a:moveTo>
                      <a:pt x="1139" y="1311"/>
                    </a:moveTo>
                    <a:lnTo>
                      <a:pt x="1140" y="1311"/>
                    </a:lnTo>
                    <a:lnTo>
                      <a:pt x="1140" y="1313"/>
                    </a:lnTo>
                    <a:lnTo>
                      <a:pt x="1139" y="1313"/>
                    </a:lnTo>
                    <a:lnTo>
                      <a:pt x="1139" y="1311"/>
                    </a:lnTo>
                    <a:close/>
                    <a:moveTo>
                      <a:pt x="1215" y="1517"/>
                    </a:moveTo>
                    <a:lnTo>
                      <a:pt x="1217" y="1517"/>
                    </a:lnTo>
                    <a:lnTo>
                      <a:pt x="1215" y="1517"/>
                    </a:lnTo>
                    <a:close/>
                    <a:moveTo>
                      <a:pt x="1178" y="1444"/>
                    </a:moveTo>
                    <a:lnTo>
                      <a:pt x="1179" y="1444"/>
                    </a:lnTo>
                    <a:lnTo>
                      <a:pt x="1178" y="1444"/>
                    </a:lnTo>
                    <a:close/>
                    <a:moveTo>
                      <a:pt x="1188" y="1430"/>
                    </a:moveTo>
                    <a:lnTo>
                      <a:pt x="1190" y="1430"/>
                    </a:lnTo>
                    <a:lnTo>
                      <a:pt x="1188" y="1430"/>
                    </a:lnTo>
                    <a:close/>
                    <a:moveTo>
                      <a:pt x="1203" y="1082"/>
                    </a:moveTo>
                    <a:lnTo>
                      <a:pt x="1205" y="1082"/>
                    </a:lnTo>
                    <a:lnTo>
                      <a:pt x="1203" y="1082"/>
                    </a:lnTo>
                    <a:close/>
                    <a:moveTo>
                      <a:pt x="1225" y="1575"/>
                    </a:moveTo>
                    <a:lnTo>
                      <a:pt x="1227" y="1575"/>
                    </a:lnTo>
                    <a:lnTo>
                      <a:pt x="1225" y="1575"/>
                    </a:lnTo>
                    <a:close/>
                    <a:moveTo>
                      <a:pt x="1258" y="1587"/>
                    </a:moveTo>
                    <a:lnTo>
                      <a:pt x="1258" y="1589"/>
                    </a:lnTo>
                    <a:lnTo>
                      <a:pt x="1258" y="1587"/>
                    </a:lnTo>
                    <a:close/>
                    <a:moveTo>
                      <a:pt x="1183" y="1446"/>
                    </a:moveTo>
                    <a:lnTo>
                      <a:pt x="1185" y="1446"/>
                    </a:lnTo>
                    <a:lnTo>
                      <a:pt x="1185" y="1447"/>
                    </a:lnTo>
                    <a:lnTo>
                      <a:pt x="1183" y="1447"/>
                    </a:lnTo>
                    <a:lnTo>
                      <a:pt x="1183" y="1446"/>
                    </a:lnTo>
                    <a:close/>
                    <a:moveTo>
                      <a:pt x="1142" y="1301"/>
                    </a:moveTo>
                    <a:lnTo>
                      <a:pt x="1144" y="1301"/>
                    </a:lnTo>
                    <a:lnTo>
                      <a:pt x="1142" y="1301"/>
                    </a:lnTo>
                    <a:close/>
                    <a:moveTo>
                      <a:pt x="1185" y="1425"/>
                    </a:moveTo>
                    <a:lnTo>
                      <a:pt x="1186" y="1425"/>
                    </a:lnTo>
                    <a:lnTo>
                      <a:pt x="1185" y="1425"/>
                    </a:lnTo>
                    <a:close/>
                    <a:moveTo>
                      <a:pt x="1283" y="1612"/>
                    </a:moveTo>
                    <a:lnTo>
                      <a:pt x="1283" y="1614"/>
                    </a:lnTo>
                    <a:lnTo>
                      <a:pt x="1283" y="1612"/>
                    </a:lnTo>
                    <a:close/>
                    <a:moveTo>
                      <a:pt x="1191" y="1126"/>
                    </a:moveTo>
                    <a:lnTo>
                      <a:pt x="1191" y="1128"/>
                    </a:lnTo>
                    <a:lnTo>
                      <a:pt x="1191" y="1126"/>
                    </a:lnTo>
                    <a:close/>
                    <a:moveTo>
                      <a:pt x="1261" y="1590"/>
                    </a:moveTo>
                    <a:lnTo>
                      <a:pt x="1261" y="1592"/>
                    </a:lnTo>
                    <a:lnTo>
                      <a:pt x="1261" y="1590"/>
                    </a:lnTo>
                    <a:close/>
                    <a:moveTo>
                      <a:pt x="1190" y="1071"/>
                    </a:moveTo>
                    <a:lnTo>
                      <a:pt x="1190" y="1073"/>
                    </a:lnTo>
                    <a:lnTo>
                      <a:pt x="1190" y="1071"/>
                    </a:lnTo>
                    <a:close/>
                    <a:moveTo>
                      <a:pt x="1193" y="1140"/>
                    </a:moveTo>
                    <a:lnTo>
                      <a:pt x="1195" y="1140"/>
                    </a:lnTo>
                    <a:lnTo>
                      <a:pt x="1195" y="1141"/>
                    </a:lnTo>
                    <a:lnTo>
                      <a:pt x="1193" y="1141"/>
                    </a:lnTo>
                    <a:lnTo>
                      <a:pt x="1193" y="1140"/>
                    </a:lnTo>
                    <a:close/>
                    <a:moveTo>
                      <a:pt x="1360" y="1665"/>
                    </a:moveTo>
                    <a:lnTo>
                      <a:pt x="1361" y="1665"/>
                    </a:lnTo>
                    <a:lnTo>
                      <a:pt x="1360" y="1665"/>
                    </a:lnTo>
                    <a:close/>
                    <a:moveTo>
                      <a:pt x="1213" y="1517"/>
                    </a:moveTo>
                    <a:lnTo>
                      <a:pt x="1213" y="1519"/>
                    </a:lnTo>
                    <a:lnTo>
                      <a:pt x="1213" y="1517"/>
                    </a:lnTo>
                    <a:close/>
                    <a:moveTo>
                      <a:pt x="1229" y="1577"/>
                    </a:moveTo>
                    <a:lnTo>
                      <a:pt x="1230" y="1577"/>
                    </a:lnTo>
                    <a:lnTo>
                      <a:pt x="1229" y="1577"/>
                    </a:lnTo>
                    <a:close/>
                    <a:moveTo>
                      <a:pt x="1169" y="1415"/>
                    </a:moveTo>
                    <a:lnTo>
                      <a:pt x="1171" y="1415"/>
                    </a:lnTo>
                    <a:lnTo>
                      <a:pt x="1169" y="1415"/>
                    </a:lnTo>
                    <a:close/>
                    <a:moveTo>
                      <a:pt x="1219" y="1565"/>
                    </a:moveTo>
                    <a:lnTo>
                      <a:pt x="1220" y="1565"/>
                    </a:lnTo>
                    <a:lnTo>
                      <a:pt x="1219" y="1565"/>
                    </a:lnTo>
                    <a:close/>
                    <a:moveTo>
                      <a:pt x="1142" y="1299"/>
                    </a:moveTo>
                    <a:lnTo>
                      <a:pt x="1144" y="1299"/>
                    </a:lnTo>
                    <a:lnTo>
                      <a:pt x="1142" y="1299"/>
                    </a:lnTo>
                    <a:close/>
                    <a:moveTo>
                      <a:pt x="1273" y="1609"/>
                    </a:moveTo>
                    <a:lnTo>
                      <a:pt x="1275" y="1609"/>
                    </a:lnTo>
                    <a:lnTo>
                      <a:pt x="1275" y="1611"/>
                    </a:lnTo>
                    <a:lnTo>
                      <a:pt x="1273" y="1611"/>
                    </a:lnTo>
                    <a:lnTo>
                      <a:pt x="1273" y="1609"/>
                    </a:lnTo>
                    <a:close/>
                    <a:moveTo>
                      <a:pt x="1217" y="1565"/>
                    </a:moveTo>
                    <a:lnTo>
                      <a:pt x="1219" y="1565"/>
                    </a:lnTo>
                    <a:lnTo>
                      <a:pt x="1217" y="1565"/>
                    </a:lnTo>
                    <a:close/>
                    <a:moveTo>
                      <a:pt x="1183" y="1439"/>
                    </a:moveTo>
                    <a:lnTo>
                      <a:pt x="1185" y="1439"/>
                    </a:lnTo>
                    <a:lnTo>
                      <a:pt x="1185" y="1441"/>
                    </a:lnTo>
                    <a:lnTo>
                      <a:pt x="1183" y="1441"/>
                    </a:lnTo>
                    <a:lnTo>
                      <a:pt x="1183" y="1439"/>
                    </a:lnTo>
                    <a:close/>
                    <a:moveTo>
                      <a:pt x="1361" y="1599"/>
                    </a:moveTo>
                    <a:lnTo>
                      <a:pt x="1363" y="1599"/>
                    </a:lnTo>
                    <a:lnTo>
                      <a:pt x="1363" y="1600"/>
                    </a:lnTo>
                    <a:lnTo>
                      <a:pt x="1361" y="1600"/>
                    </a:lnTo>
                    <a:lnTo>
                      <a:pt x="1361" y="1599"/>
                    </a:lnTo>
                    <a:close/>
                    <a:moveTo>
                      <a:pt x="1219" y="1136"/>
                    </a:moveTo>
                    <a:lnTo>
                      <a:pt x="1220" y="1136"/>
                    </a:lnTo>
                    <a:lnTo>
                      <a:pt x="1219" y="1136"/>
                    </a:lnTo>
                    <a:close/>
                    <a:moveTo>
                      <a:pt x="1232" y="1507"/>
                    </a:moveTo>
                    <a:lnTo>
                      <a:pt x="1234" y="1507"/>
                    </a:lnTo>
                    <a:lnTo>
                      <a:pt x="1232" y="1507"/>
                    </a:lnTo>
                    <a:close/>
                    <a:moveTo>
                      <a:pt x="1358" y="1655"/>
                    </a:moveTo>
                    <a:lnTo>
                      <a:pt x="1360" y="1655"/>
                    </a:lnTo>
                    <a:lnTo>
                      <a:pt x="1360" y="1657"/>
                    </a:lnTo>
                    <a:lnTo>
                      <a:pt x="1358" y="1657"/>
                    </a:lnTo>
                    <a:lnTo>
                      <a:pt x="1358" y="1655"/>
                    </a:lnTo>
                    <a:close/>
                    <a:moveTo>
                      <a:pt x="1151" y="1330"/>
                    </a:moveTo>
                    <a:lnTo>
                      <a:pt x="1152" y="1330"/>
                    </a:lnTo>
                    <a:lnTo>
                      <a:pt x="1152" y="1332"/>
                    </a:lnTo>
                    <a:lnTo>
                      <a:pt x="1151" y="1332"/>
                    </a:lnTo>
                    <a:lnTo>
                      <a:pt x="1151" y="1330"/>
                    </a:lnTo>
                    <a:close/>
                    <a:moveTo>
                      <a:pt x="1200" y="1527"/>
                    </a:moveTo>
                    <a:lnTo>
                      <a:pt x="1202" y="1527"/>
                    </a:lnTo>
                    <a:lnTo>
                      <a:pt x="1202" y="1529"/>
                    </a:lnTo>
                    <a:lnTo>
                      <a:pt x="1200" y="1529"/>
                    </a:lnTo>
                    <a:lnTo>
                      <a:pt x="1200" y="1527"/>
                    </a:lnTo>
                    <a:close/>
                    <a:moveTo>
                      <a:pt x="1215" y="1555"/>
                    </a:moveTo>
                    <a:lnTo>
                      <a:pt x="1217" y="1555"/>
                    </a:lnTo>
                    <a:lnTo>
                      <a:pt x="1215" y="1555"/>
                    </a:lnTo>
                    <a:close/>
                    <a:moveTo>
                      <a:pt x="1295" y="1612"/>
                    </a:moveTo>
                    <a:lnTo>
                      <a:pt x="1295" y="1614"/>
                    </a:lnTo>
                    <a:lnTo>
                      <a:pt x="1295" y="1612"/>
                    </a:lnTo>
                    <a:close/>
                    <a:moveTo>
                      <a:pt x="1222" y="1068"/>
                    </a:moveTo>
                    <a:lnTo>
                      <a:pt x="1224" y="1068"/>
                    </a:lnTo>
                    <a:lnTo>
                      <a:pt x="1224" y="1070"/>
                    </a:lnTo>
                    <a:lnTo>
                      <a:pt x="1222" y="1070"/>
                    </a:lnTo>
                    <a:lnTo>
                      <a:pt x="1222" y="1068"/>
                    </a:lnTo>
                    <a:close/>
                    <a:moveTo>
                      <a:pt x="1344" y="1660"/>
                    </a:moveTo>
                    <a:lnTo>
                      <a:pt x="1346" y="1660"/>
                    </a:lnTo>
                    <a:lnTo>
                      <a:pt x="1346" y="1662"/>
                    </a:lnTo>
                    <a:lnTo>
                      <a:pt x="1344" y="1662"/>
                    </a:lnTo>
                    <a:lnTo>
                      <a:pt x="1344" y="1660"/>
                    </a:lnTo>
                    <a:close/>
                    <a:moveTo>
                      <a:pt x="1207" y="1498"/>
                    </a:moveTo>
                    <a:lnTo>
                      <a:pt x="1208" y="1498"/>
                    </a:lnTo>
                    <a:lnTo>
                      <a:pt x="1208" y="1500"/>
                    </a:lnTo>
                    <a:lnTo>
                      <a:pt x="1207" y="1500"/>
                    </a:lnTo>
                    <a:lnTo>
                      <a:pt x="1207" y="1498"/>
                    </a:lnTo>
                    <a:close/>
                    <a:moveTo>
                      <a:pt x="1171" y="1230"/>
                    </a:moveTo>
                    <a:lnTo>
                      <a:pt x="1173" y="1230"/>
                    </a:lnTo>
                    <a:lnTo>
                      <a:pt x="1173" y="1231"/>
                    </a:lnTo>
                    <a:lnTo>
                      <a:pt x="1171" y="1231"/>
                    </a:lnTo>
                    <a:lnTo>
                      <a:pt x="1171" y="1230"/>
                    </a:lnTo>
                    <a:close/>
                    <a:moveTo>
                      <a:pt x="1151" y="1310"/>
                    </a:moveTo>
                    <a:lnTo>
                      <a:pt x="1152" y="1310"/>
                    </a:lnTo>
                    <a:lnTo>
                      <a:pt x="1151" y="1310"/>
                    </a:lnTo>
                    <a:close/>
                    <a:moveTo>
                      <a:pt x="1246" y="1504"/>
                    </a:moveTo>
                    <a:lnTo>
                      <a:pt x="1246" y="1505"/>
                    </a:lnTo>
                    <a:lnTo>
                      <a:pt x="1246" y="1504"/>
                    </a:lnTo>
                    <a:close/>
                    <a:moveTo>
                      <a:pt x="1254" y="1575"/>
                    </a:moveTo>
                    <a:lnTo>
                      <a:pt x="1256" y="1575"/>
                    </a:lnTo>
                    <a:lnTo>
                      <a:pt x="1254" y="1575"/>
                    </a:lnTo>
                    <a:close/>
                    <a:moveTo>
                      <a:pt x="1198" y="1092"/>
                    </a:moveTo>
                    <a:lnTo>
                      <a:pt x="1200" y="1092"/>
                    </a:lnTo>
                    <a:lnTo>
                      <a:pt x="1198" y="1092"/>
                    </a:lnTo>
                    <a:close/>
                    <a:moveTo>
                      <a:pt x="1191" y="1379"/>
                    </a:moveTo>
                    <a:lnTo>
                      <a:pt x="1193" y="1379"/>
                    </a:lnTo>
                    <a:lnTo>
                      <a:pt x="1191" y="1379"/>
                    </a:lnTo>
                    <a:close/>
                    <a:moveTo>
                      <a:pt x="1154" y="1288"/>
                    </a:moveTo>
                    <a:lnTo>
                      <a:pt x="1154" y="1289"/>
                    </a:lnTo>
                    <a:lnTo>
                      <a:pt x="1154" y="1288"/>
                    </a:lnTo>
                    <a:close/>
                    <a:moveTo>
                      <a:pt x="1173" y="1395"/>
                    </a:moveTo>
                    <a:lnTo>
                      <a:pt x="1174" y="1395"/>
                    </a:lnTo>
                    <a:lnTo>
                      <a:pt x="1173" y="1395"/>
                    </a:lnTo>
                    <a:close/>
                    <a:moveTo>
                      <a:pt x="1219" y="1568"/>
                    </a:moveTo>
                    <a:lnTo>
                      <a:pt x="1219" y="1570"/>
                    </a:lnTo>
                    <a:lnTo>
                      <a:pt x="1219" y="1568"/>
                    </a:lnTo>
                    <a:close/>
                    <a:moveTo>
                      <a:pt x="1200" y="1094"/>
                    </a:moveTo>
                    <a:lnTo>
                      <a:pt x="1202" y="1094"/>
                    </a:lnTo>
                    <a:lnTo>
                      <a:pt x="1200" y="1094"/>
                    </a:lnTo>
                    <a:close/>
                    <a:moveTo>
                      <a:pt x="1205" y="1060"/>
                    </a:moveTo>
                    <a:lnTo>
                      <a:pt x="1207" y="1060"/>
                    </a:lnTo>
                    <a:lnTo>
                      <a:pt x="1207" y="1061"/>
                    </a:lnTo>
                    <a:lnTo>
                      <a:pt x="1205" y="1061"/>
                    </a:lnTo>
                    <a:lnTo>
                      <a:pt x="1205" y="1060"/>
                    </a:lnTo>
                    <a:close/>
                    <a:moveTo>
                      <a:pt x="1215" y="1502"/>
                    </a:moveTo>
                    <a:lnTo>
                      <a:pt x="1217" y="1502"/>
                    </a:lnTo>
                    <a:lnTo>
                      <a:pt x="1217" y="1504"/>
                    </a:lnTo>
                    <a:lnTo>
                      <a:pt x="1215" y="1504"/>
                    </a:lnTo>
                    <a:lnTo>
                      <a:pt x="1215" y="1502"/>
                    </a:lnTo>
                    <a:close/>
                    <a:moveTo>
                      <a:pt x="1254" y="1492"/>
                    </a:moveTo>
                    <a:lnTo>
                      <a:pt x="1254" y="1493"/>
                    </a:lnTo>
                    <a:lnTo>
                      <a:pt x="1254" y="1492"/>
                    </a:lnTo>
                    <a:close/>
                    <a:moveTo>
                      <a:pt x="1174" y="1473"/>
                    </a:moveTo>
                    <a:lnTo>
                      <a:pt x="1174" y="1475"/>
                    </a:lnTo>
                    <a:lnTo>
                      <a:pt x="1174" y="1473"/>
                    </a:lnTo>
                    <a:close/>
                    <a:moveTo>
                      <a:pt x="1298" y="1641"/>
                    </a:moveTo>
                    <a:lnTo>
                      <a:pt x="1300" y="1641"/>
                    </a:lnTo>
                    <a:lnTo>
                      <a:pt x="1298" y="1641"/>
                    </a:lnTo>
                    <a:close/>
                    <a:moveTo>
                      <a:pt x="1207" y="1527"/>
                    </a:moveTo>
                    <a:lnTo>
                      <a:pt x="1207" y="1529"/>
                    </a:lnTo>
                    <a:lnTo>
                      <a:pt x="1207" y="1527"/>
                    </a:lnTo>
                    <a:close/>
                    <a:moveTo>
                      <a:pt x="1421" y="1669"/>
                    </a:moveTo>
                    <a:lnTo>
                      <a:pt x="1423" y="1669"/>
                    </a:lnTo>
                    <a:lnTo>
                      <a:pt x="1421" y="1669"/>
                    </a:lnTo>
                    <a:close/>
                    <a:moveTo>
                      <a:pt x="1263" y="1600"/>
                    </a:moveTo>
                    <a:lnTo>
                      <a:pt x="1264" y="1600"/>
                    </a:lnTo>
                    <a:lnTo>
                      <a:pt x="1264" y="1602"/>
                    </a:lnTo>
                    <a:lnTo>
                      <a:pt x="1263" y="1602"/>
                    </a:lnTo>
                    <a:lnTo>
                      <a:pt x="1263" y="1600"/>
                    </a:lnTo>
                    <a:close/>
                    <a:moveTo>
                      <a:pt x="1222" y="1068"/>
                    </a:moveTo>
                    <a:lnTo>
                      <a:pt x="1224" y="1068"/>
                    </a:lnTo>
                    <a:lnTo>
                      <a:pt x="1224" y="1070"/>
                    </a:lnTo>
                    <a:lnTo>
                      <a:pt x="1222" y="1070"/>
                    </a:lnTo>
                    <a:lnTo>
                      <a:pt x="1222" y="1068"/>
                    </a:lnTo>
                    <a:close/>
                    <a:moveTo>
                      <a:pt x="1181" y="1298"/>
                    </a:moveTo>
                    <a:lnTo>
                      <a:pt x="1183" y="1298"/>
                    </a:lnTo>
                    <a:lnTo>
                      <a:pt x="1181" y="1298"/>
                    </a:lnTo>
                    <a:close/>
                    <a:moveTo>
                      <a:pt x="1195" y="1454"/>
                    </a:moveTo>
                    <a:lnTo>
                      <a:pt x="1196" y="1454"/>
                    </a:lnTo>
                    <a:lnTo>
                      <a:pt x="1195" y="1454"/>
                    </a:lnTo>
                    <a:close/>
                    <a:moveTo>
                      <a:pt x="1181" y="1211"/>
                    </a:moveTo>
                    <a:lnTo>
                      <a:pt x="1183" y="1211"/>
                    </a:lnTo>
                    <a:lnTo>
                      <a:pt x="1181" y="1211"/>
                    </a:lnTo>
                    <a:close/>
                    <a:moveTo>
                      <a:pt x="1147" y="1289"/>
                    </a:moveTo>
                    <a:lnTo>
                      <a:pt x="1149" y="1289"/>
                    </a:lnTo>
                    <a:lnTo>
                      <a:pt x="1147" y="1289"/>
                    </a:lnTo>
                    <a:close/>
                    <a:moveTo>
                      <a:pt x="1183" y="1316"/>
                    </a:moveTo>
                    <a:lnTo>
                      <a:pt x="1183" y="1318"/>
                    </a:lnTo>
                    <a:lnTo>
                      <a:pt x="1183" y="1316"/>
                    </a:lnTo>
                    <a:close/>
                    <a:moveTo>
                      <a:pt x="1232" y="1544"/>
                    </a:moveTo>
                    <a:lnTo>
                      <a:pt x="1234" y="1544"/>
                    </a:lnTo>
                    <a:lnTo>
                      <a:pt x="1234" y="1546"/>
                    </a:lnTo>
                    <a:lnTo>
                      <a:pt x="1232" y="1546"/>
                    </a:lnTo>
                    <a:lnTo>
                      <a:pt x="1232" y="1544"/>
                    </a:lnTo>
                    <a:close/>
                    <a:moveTo>
                      <a:pt x="1185" y="1463"/>
                    </a:moveTo>
                    <a:lnTo>
                      <a:pt x="1186" y="1463"/>
                    </a:lnTo>
                    <a:lnTo>
                      <a:pt x="1186" y="1464"/>
                    </a:lnTo>
                    <a:lnTo>
                      <a:pt x="1185" y="1464"/>
                    </a:lnTo>
                    <a:lnTo>
                      <a:pt x="1185" y="1463"/>
                    </a:lnTo>
                    <a:close/>
                    <a:moveTo>
                      <a:pt x="1178" y="1434"/>
                    </a:moveTo>
                    <a:lnTo>
                      <a:pt x="1179" y="1434"/>
                    </a:lnTo>
                    <a:lnTo>
                      <a:pt x="1178" y="1434"/>
                    </a:lnTo>
                    <a:close/>
                    <a:moveTo>
                      <a:pt x="1162" y="1245"/>
                    </a:moveTo>
                    <a:lnTo>
                      <a:pt x="1162" y="1247"/>
                    </a:lnTo>
                    <a:lnTo>
                      <a:pt x="1162" y="1245"/>
                    </a:lnTo>
                    <a:close/>
                    <a:moveTo>
                      <a:pt x="1229" y="1039"/>
                    </a:moveTo>
                    <a:lnTo>
                      <a:pt x="1229" y="1041"/>
                    </a:lnTo>
                    <a:lnTo>
                      <a:pt x="1229" y="1039"/>
                    </a:lnTo>
                    <a:close/>
                    <a:moveTo>
                      <a:pt x="1183" y="1289"/>
                    </a:moveTo>
                    <a:lnTo>
                      <a:pt x="1185" y="1289"/>
                    </a:lnTo>
                    <a:lnTo>
                      <a:pt x="1183" y="1289"/>
                    </a:lnTo>
                    <a:close/>
                    <a:moveTo>
                      <a:pt x="1402" y="1645"/>
                    </a:moveTo>
                    <a:lnTo>
                      <a:pt x="1402" y="1646"/>
                    </a:lnTo>
                    <a:lnTo>
                      <a:pt x="1402" y="1645"/>
                    </a:lnTo>
                    <a:close/>
                    <a:moveTo>
                      <a:pt x="1213" y="1556"/>
                    </a:moveTo>
                    <a:lnTo>
                      <a:pt x="1215" y="1556"/>
                    </a:lnTo>
                    <a:lnTo>
                      <a:pt x="1213" y="1556"/>
                    </a:lnTo>
                    <a:close/>
                    <a:moveTo>
                      <a:pt x="1191" y="1412"/>
                    </a:moveTo>
                    <a:lnTo>
                      <a:pt x="1191" y="1413"/>
                    </a:lnTo>
                    <a:lnTo>
                      <a:pt x="1191" y="1412"/>
                    </a:lnTo>
                    <a:close/>
                    <a:moveTo>
                      <a:pt x="1179" y="1430"/>
                    </a:moveTo>
                    <a:lnTo>
                      <a:pt x="1181" y="1430"/>
                    </a:lnTo>
                    <a:lnTo>
                      <a:pt x="1179" y="1430"/>
                    </a:lnTo>
                    <a:close/>
                    <a:moveTo>
                      <a:pt x="1183" y="1463"/>
                    </a:moveTo>
                    <a:lnTo>
                      <a:pt x="1185" y="1463"/>
                    </a:lnTo>
                    <a:lnTo>
                      <a:pt x="1183" y="1463"/>
                    </a:lnTo>
                    <a:close/>
                    <a:moveTo>
                      <a:pt x="1152" y="1187"/>
                    </a:moveTo>
                    <a:lnTo>
                      <a:pt x="1154" y="1187"/>
                    </a:lnTo>
                    <a:lnTo>
                      <a:pt x="1152" y="1187"/>
                    </a:lnTo>
                    <a:close/>
                    <a:moveTo>
                      <a:pt x="1358" y="1657"/>
                    </a:moveTo>
                    <a:lnTo>
                      <a:pt x="1360" y="1657"/>
                    </a:lnTo>
                    <a:lnTo>
                      <a:pt x="1358" y="1657"/>
                    </a:lnTo>
                    <a:close/>
                    <a:moveTo>
                      <a:pt x="1178" y="1425"/>
                    </a:moveTo>
                    <a:lnTo>
                      <a:pt x="1179" y="1425"/>
                    </a:lnTo>
                    <a:lnTo>
                      <a:pt x="1179" y="1427"/>
                    </a:lnTo>
                    <a:lnTo>
                      <a:pt x="1178" y="1427"/>
                    </a:lnTo>
                    <a:lnTo>
                      <a:pt x="1178" y="1425"/>
                    </a:lnTo>
                    <a:close/>
                    <a:moveTo>
                      <a:pt x="1154" y="1313"/>
                    </a:moveTo>
                    <a:lnTo>
                      <a:pt x="1156" y="1313"/>
                    </a:lnTo>
                    <a:lnTo>
                      <a:pt x="1154" y="1313"/>
                    </a:lnTo>
                    <a:close/>
                    <a:moveTo>
                      <a:pt x="1185" y="1527"/>
                    </a:moveTo>
                    <a:lnTo>
                      <a:pt x="1185" y="1529"/>
                    </a:lnTo>
                    <a:lnTo>
                      <a:pt x="1185" y="1527"/>
                    </a:lnTo>
                    <a:close/>
                    <a:moveTo>
                      <a:pt x="1380" y="1667"/>
                    </a:moveTo>
                    <a:lnTo>
                      <a:pt x="1382" y="1667"/>
                    </a:lnTo>
                    <a:lnTo>
                      <a:pt x="1380" y="1667"/>
                    </a:lnTo>
                    <a:close/>
                    <a:moveTo>
                      <a:pt x="1205" y="1527"/>
                    </a:moveTo>
                    <a:lnTo>
                      <a:pt x="1207" y="1527"/>
                    </a:lnTo>
                    <a:lnTo>
                      <a:pt x="1207" y="1529"/>
                    </a:lnTo>
                    <a:lnTo>
                      <a:pt x="1205" y="1529"/>
                    </a:lnTo>
                    <a:lnTo>
                      <a:pt x="1205" y="1527"/>
                    </a:lnTo>
                    <a:close/>
                    <a:moveTo>
                      <a:pt x="1397" y="1663"/>
                    </a:moveTo>
                    <a:lnTo>
                      <a:pt x="1397" y="1665"/>
                    </a:lnTo>
                    <a:lnTo>
                      <a:pt x="1397" y="1663"/>
                    </a:lnTo>
                    <a:close/>
                    <a:moveTo>
                      <a:pt x="1358" y="1667"/>
                    </a:moveTo>
                    <a:lnTo>
                      <a:pt x="1360" y="1667"/>
                    </a:lnTo>
                    <a:lnTo>
                      <a:pt x="1358" y="1667"/>
                    </a:lnTo>
                    <a:close/>
                    <a:moveTo>
                      <a:pt x="1190" y="1231"/>
                    </a:moveTo>
                    <a:lnTo>
                      <a:pt x="1191" y="1231"/>
                    </a:lnTo>
                    <a:lnTo>
                      <a:pt x="1190" y="1231"/>
                    </a:lnTo>
                    <a:close/>
                    <a:moveTo>
                      <a:pt x="1168" y="1136"/>
                    </a:moveTo>
                    <a:lnTo>
                      <a:pt x="1169" y="1136"/>
                    </a:lnTo>
                    <a:lnTo>
                      <a:pt x="1169" y="1138"/>
                    </a:lnTo>
                    <a:lnTo>
                      <a:pt x="1168" y="1138"/>
                    </a:lnTo>
                    <a:lnTo>
                      <a:pt x="1168" y="1136"/>
                    </a:lnTo>
                    <a:close/>
                    <a:moveTo>
                      <a:pt x="1183" y="1430"/>
                    </a:moveTo>
                    <a:lnTo>
                      <a:pt x="1185" y="1430"/>
                    </a:lnTo>
                    <a:lnTo>
                      <a:pt x="1183" y="1430"/>
                    </a:lnTo>
                    <a:close/>
                    <a:moveTo>
                      <a:pt x="1220" y="1083"/>
                    </a:moveTo>
                    <a:lnTo>
                      <a:pt x="1220" y="1085"/>
                    </a:lnTo>
                    <a:lnTo>
                      <a:pt x="1220" y="1083"/>
                    </a:lnTo>
                    <a:close/>
                    <a:moveTo>
                      <a:pt x="1183" y="1299"/>
                    </a:moveTo>
                    <a:lnTo>
                      <a:pt x="1183" y="1301"/>
                    </a:lnTo>
                    <a:lnTo>
                      <a:pt x="1183" y="1299"/>
                    </a:lnTo>
                    <a:close/>
                    <a:moveTo>
                      <a:pt x="1254" y="1590"/>
                    </a:moveTo>
                    <a:lnTo>
                      <a:pt x="1256" y="1590"/>
                    </a:lnTo>
                    <a:lnTo>
                      <a:pt x="1254" y="1590"/>
                    </a:lnTo>
                    <a:close/>
                    <a:moveTo>
                      <a:pt x="1222" y="1070"/>
                    </a:moveTo>
                    <a:lnTo>
                      <a:pt x="1224" y="1070"/>
                    </a:lnTo>
                    <a:lnTo>
                      <a:pt x="1222" y="1070"/>
                    </a:lnTo>
                    <a:close/>
                    <a:moveTo>
                      <a:pt x="1161" y="1470"/>
                    </a:moveTo>
                    <a:lnTo>
                      <a:pt x="1162" y="1470"/>
                    </a:lnTo>
                    <a:lnTo>
                      <a:pt x="1161" y="1470"/>
                    </a:lnTo>
                    <a:close/>
                    <a:moveTo>
                      <a:pt x="1343" y="1655"/>
                    </a:moveTo>
                    <a:lnTo>
                      <a:pt x="1344" y="1655"/>
                    </a:lnTo>
                    <a:lnTo>
                      <a:pt x="1343" y="1655"/>
                    </a:lnTo>
                    <a:close/>
                    <a:moveTo>
                      <a:pt x="1171" y="1413"/>
                    </a:moveTo>
                    <a:lnTo>
                      <a:pt x="1173" y="1413"/>
                    </a:lnTo>
                    <a:lnTo>
                      <a:pt x="1173" y="1415"/>
                    </a:lnTo>
                    <a:lnTo>
                      <a:pt x="1171" y="1415"/>
                    </a:lnTo>
                    <a:lnTo>
                      <a:pt x="1171" y="1413"/>
                    </a:lnTo>
                    <a:close/>
                    <a:moveTo>
                      <a:pt x="1169" y="1473"/>
                    </a:moveTo>
                    <a:lnTo>
                      <a:pt x="1169" y="1475"/>
                    </a:lnTo>
                    <a:lnTo>
                      <a:pt x="1169" y="1473"/>
                    </a:lnTo>
                    <a:close/>
                    <a:moveTo>
                      <a:pt x="1159" y="1247"/>
                    </a:moveTo>
                    <a:lnTo>
                      <a:pt x="1161" y="1247"/>
                    </a:lnTo>
                    <a:lnTo>
                      <a:pt x="1161" y="1248"/>
                    </a:lnTo>
                    <a:lnTo>
                      <a:pt x="1159" y="1248"/>
                    </a:lnTo>
                    <a:lnTo>
                      <a:pt x="1159" y="1247"/>
                    </a:lnTo>
                    <a:close/>
                    <a:moveTo>
                      <a:pt x="1154" y="1191"/>
                    </a:moveTo>
                    <a:lnTo>
                      <a:pt x="1156" y="1191"/>
                    </a:lnTo>
                    <a:lnTo>
                      <a:pt x="1154" y="1191"/>
                    </a:lnTo>
                    <a:close/>
                    <a:moveTo>
                      <a:pt x="1186" y="1441"/>
                    </a:moveTo>
                    <a:lnTo>
                      <a:pt x="1186" y="1442"/>
                    </a:lnTo>
                    <a:lnTo>
                      <a:pt x="1186" y="1441"/>
                    </a:lnTo>
                    <a:close/>
                    <a:moveTo>
                      <a:pt x="1152" y="1330"/>
                    </a:moveTo>
                    <a:lnTo>
                      <a:pt x="1154" y="1330"/>
                    </a:lnTo>
                    <a:lnTo>
                      <a:pt x="1152" y="1330"/>
                    </a:lnTo>
                    <a:close/>
                    <a:moveTo>
                      <a:pt x="1173" y="1430"/>
                    </a:moveTo>
                    <a:lnTo>
                      <a:pt x="1174" y="1430"/>
                    </a:lnTo>
                    <a:lnTo>
                      <a:pt x="1174" y="1432"/>
                    </a:lnTo>
                    <a:lnTo>
                      <a:pt x="1173" y="1432"/>
                    </a:lnTo>
                    <a:lnTo>
                      <a:pt x="1173" y="1430"/>
                    </a:lnTo>
                    <a:close/>
                    <a:moveTo>
                      <a:pt x="1242" y="1589"/>
                    </a:moveTo>
                    <a:lnTo>
                      <a:pt x="1242" y="1590"/>
                    </a:lnTo>
                    <a:lnTo>
                      <a:pt x="1242" y="1589"/>
                    </a:lnTo>
                    <a:close/>
                    <a:moveTo>
                      <a:pt x="1144" y="1269"/>
                    </a:moveTo>
                    <a:lnTo>
                      <a:pt x="1144" y="1270"/>
                    </a:lnTo>
                    <a:lnTo>
                      <a:pt x="1144" y="1269"/>
                    </a:lnTo>
                    <a:close/>
                    <a:moveTo>
                      <a:pt x="1193" y="1126"/>
                    </a:moveTo>
                    <a:lnTo>
                      <a:pt x="1193" y="1128"/>
                    </a:lnTo>
                    <a:lnTo>
                      <a:pt x="1193" y="1126"/>
                    </a:lnTo>
                    <a:close/>
                    <a:moveTo>
                      <a:pt x="1270" y="1592"/>
                    </a:moveTo>
                    <a:lnTo>
                      <a:pt x="1271" y="1592"/>
                    </a:lnTo>
                    <a:lnTo>
                      <a:pt x="1270" y="1592"/>
                    </a:lnTo>
                    <a:close/>
                    <a:moveTo>
                      <a:pt x="1210" y="1242"/>
                    </a:moveTo>
                    <a:lnTo>
                      <a:pt x="1212" y="1242"/>
                    </a:lnTo>
                    <a:lnTo>
                      <a:pt x="1210" y="1242"/>
                    </a:lnTo>
                    <a:close/>
                    <a:moveTo>
                      <a:pt x="1203" y="1061"/>
                    </a:moveTo>
                    <a:lnTo>
                      <a:pt x="1205" y="1061"/>
                    </a:lnTo>
                    <a:lnTo>
                      <a:pt x="1203" y="1061"/>
                    </a:lnTo>
                    <a:close/>
                    <a:moveTo>
                      <a:pt x="1185" y="1493"/>
                    </a:moveTo>
                    <a:lnTo>
                      <a:pt x="1185" y="1495"/>
                    </a:lnTo>
                    <a:lnTo>
                      <a:pt x="1185" y="1493"/>
                    </a:lnTo>
                    <a:close/>
                    <a:moveTo>
                      <a:pt x="1208" y="1070"/>
                    </a:moveTo>
                    <a:lnTo>
                      <a:pt x="1210" y="1070"/>
                    </a:lnTo>
                    <a:lnTo>
                      <a:pt x="1210" y="1071"/>
                    </a:lnTo>
                    <a:lnTo>
                      <a:pt x="1208" y="1071"/>
                    </a:lnTo>
                    <a:lnTo>
                      <a:pt x="1208" y="1070"/>
                    </a:lnTo>
                    <a:close/>
                    <a:moveTo>
                      <a:pt x="1157" y="1236"/>
                    </a:moveTo>
                    <a:lnTo>
                      <a:pt x="1157" y="1238"/>
                    </a:lnTo>
                    <a:lnTo>
                      <a:pt x="1157" y="1236"/>
                    </a:lnTo>
                    <a:close/>
                    <a:moveTo>
                      <a:pt x="1207" y="1063"/>
                    </a:moveTo>
                    <a:lnTo>
                      <a:pt x="1207" y="1065"/>
                    </a:lnTo>
                    <a:lnTo>
                      <a:pt x="1207" y="1063"/>
                    </a:lnTo>
                    <a:close/>
                    <a:moveTo>
                      <a:pt x="1205" y="1556"/>
                    </a:moveTo>
                    <a:lnTo>
                      <a:pt x="1207" y="1556"/>
                    </a:lnTo>
                    <a:lnTo>
                      <a:pt x="1205" y="1556"/>
                    </a:lnTo>
                    <a:close/>
                    <a:moveTo>
                      <a:pt x="1419" y="1674"/>
                    </a:moveTo>
                    <a:lnTo>
                      <a:pt x="1421" y="1674"/>
                    </a:lnTo>
                    <a:lnTo>
                      <a:pt x="1419" y="1674"/>
                    </a:lnTo>
                    <a:close/>
                    <a:moveTo>
                      <a:pt x="1300" y="1568"/>
                    </a:moveTo>
                    <a:lnTo>
                      <a:pt x="1302" y="1568"/>
                    </a:lnTo>
                    <a:lnTo>
                      <a:pt x="1300" y="1568"/>
                    </a:lnTo>
                    <a:close/>
                    <a:moveTo>
                      <a:pt x="1207" y="1053"/>
                    </a:moveTo>
                    <a:lnTo>
                      <a:pt x="1207" y="1054"/>
                    </a:lnTo>
                    <a:lnTo>
                      <a:pt x="1207" y="1053"/>
                    </a:lnTo>
                    <a:close/>
                    <a:moveTo>
                      <a:pt x="1297" y="1594"/>
                    </a:moveTo>
                    <a:lnTo>
                      <a:pt x="1298" y="1594"/>
                    </a:lnTo>
                    <a:lnTo>
                      <a:pt x="1297" y="1594"/>
                    </a:lnTo>
                    <a:close/>
                    <a:moveTo>
                      <a:pt x="1319" y="1514"/>
                    </a:moveTo>
                    <a:lnTo>
                      <a:pt x="1321" y="1514"/>
                    </a:lnTo>
                    <a:lnTo>
                      <a:pt x="1321" y="1515"/>
                    </a:lnTo>
                    <a:lnTo>
                      <a:pt x="1319" y="1515"/>
                    </a:lnTo>
                    <a:lnTo>
                      <a:pt x="1319" y="1514"/>
                    </a:lnTo>
                    <a:close/>
                    <a:moveTo>
                      <a:pt x="1191" y="1464"/>
                    </a:moveTo>
                    <a:lnTo>
                      <a:pt x="1193" y="1464"/>
                    </a:lnTo>
                    <a:lnTo>
                      <a:pt x="1191" y="1464"/>
                    </a:lnTo>
                    <a:close/>
                    <a:moveTo>
                      <a:pt x="1219" y="1568"/>
                    </a:moveTo>
                    <a:lnTo>
                      <a:pt x="1220" y="1568"/>
                    </a:lnTo>
                    <a:lnTo>
                      <a:pt x="1220" y="1570"/>
                    </a:lnTo>
                    <a:lnTo>
                      <a:pt x="1219" y="1570"/>
                    </a:lnTo>
                    <a:lnTo>
                      <a:pt x="1219" y="1568"/>
                    </a:lnTo>
                    <a:close/>
                    <a:moveTo>
                      <a:pt x="1203" y="1054"/>
                    </a:moveTo>
                    <a:lnTo>
                      <a:pt x="1205" y="1054"/>
                    </a:lnTo>
                    <a:lnTo>
                      <a:pt x="1203" y="1054"/>
                    </a:lnTo>
                    <a:close/>
                    <a:moveTo>
                      <a:pt x="1360" y="1657"/>
                    </a:moveTo>
                    <a:lnTo>
                      <a:pt x="1360" y="1658"/>
                    </a:lnTo>
                    <a:lnTo>
                      <a:pt x="1360" y="1657"/>
                    </a:lnTo>
                    <a:close/>
                    <a:moveTo>
                      <a:pt x="1234" y="1124"/>
                    </a:moveTo>
                    <a:lnTo>
                      <a:pt x="1236" y="1124"/>
                    </a:lnTo>
                    <a:lnTo>
                      <a:pt x="1236" y="1126"/>
                    </a:lnTo>
                    <a:lnTo>
                      <a:pt x="1234" y="1126"/>
                    </a:lnTo>
                    <a:lnTo>
                      <a:pt x="1234" y="1124"/>
                    </a:lnTo>
                    <a:close/>
                    <a:moveTo>
                      <a:pt x="1322" y="1628"/>
                    </a:moveTo>
                    <a:lnTo>
                      <a:pt x="1322" y="1629"/>
                    </a:lnTo>
                    <a:lnTo>
                      <a:pt x="1322" y="1628"/>
                    </a:lnTo>
                    <a:close/>
                    <a:moveTo>
                      <a:pt x="1215" y="1538"/>
                    </a:moveTo>
                    <a:lnTo>
                      <a:pt x="1217" y="1538"/>
                    </a:lnTo>
                    <a:lnTo>
                      <a:pt x="1215" y="1538"/>
                    </a:lnTo>
                    <a:close/>
                    <a:moveTo>
                      <a:pt x="1200" y="1082"/>
                    </a:moveTo>
                    <a:lnTo>
                      <a:pt x="1200" y="1083"/>
                    </a:lnTo>
                    <a:lnTo>
                      <a:pt x="1200" y="1082"/>
                    </a:lnTo>
                    <a:close/>
                    <a:moveTo>
                      <a:pt x="1188" y="1497"/>
                    </a:moveTo>
                    <a:lnTo>
                      <a:pt x="1190" y="1497"/>
                    </a:lnTo>
                    <a:lnTo>
                      <a:pt x="1188" y="1497"/>
                    </a:lnTo>
                    <a:close/>
                    <a:moveTo>
                      <a:pt x="1213" y="1500"/>
                    </a:moveTo>
                    <a:lnTo>
                      <a:pt x="1215" y="1500"/>
                    </a:lnTo>
                    <a:lnTo>
                      <a:pt x="1213" y="1500"/>
                    </a:lnTo>
                    <a:close/>
                    <a:moveTo>
                      <a:pt x="1310" y="1641"/>
                    </a:moveTo>
                    <a:lnTo>
                      <a:pt x="1310" y="1643"/>
                    </a:lnTo>
                    <a:lnTo>
                      <a:pt x="1310" y="1641"/>
                    </a:lnTo>
                    <a:close/>
                    <a:moveTo>
                      <a:pt x="1171" y="1432"/>
                    </a:moveTo>
                    <a:lnTo>
                      <a:pt x="1173" y="1432"/>
                    </a:lnTo>
                    <a:lnTo>
                      <a:pt x="1171" y="1432"/>
                    </a:lnTo>
                    <a:close/>
                    <a:moveTo>
                      <a:pt x="1208" y="1461"/>
                    </a:moveTo>
                    <a:lnTo>
                      <a:pt x="1208" y="1463"/>
                    </a:lnTo>
                    <a:lnTo>
                      <a:pt x="1208" y="1461"/>
                    </a:lnTo>
                    <a:close/>
                    <a:moveTo>
                      <a:pt x="1232" y="1475"/>
                    </a:moveTo>
                    <a:lnTo>
                      <a:pt x="1232" y="1476"/>
                    </a:lnTo>
                    <a:lnTo>
                      <a:pt x="1232" y="1475"/>
                    </a:lnTo>
                    <a:close/>
                    <a:moveTo>
                      <a:pt x="1229" y="1575"/>
                    </a:moveTo>
                    <a:lnTo>
                      <a:pt x="1229" y="1577"/>
                    </a:lnTo>
                    <a:lnTo>
                      <a:pt x="1229" y="1575"/>
                    </a:lnTo>
                    <a:close/>
                    <a:moveTo>
                      <a:pt x="1183" y="1422"/>
                    </a:moveTo>
                    <a:lnTo>
                      <a:pt x="1185" y="1422"/>
                    </a:lnTo>
                    <a:lnTo>
                      <a:pt x="1185" y="1424"/>
                    </a:lnTo>
                    <a:lnTo>
                      <a:pt x="1183" y="1424"/>
                    </a:lnTo>
                    <a:lnTo>
                      <a:pt x="1183" y="1422"/>
                    </a:lnTo>
                    <a:close/>
                    <a:moveTo>
                      <a:pt x="1169" y="1242"/>
                    </a:moveTo>
                    <a:lnTo>
                      <a:pt x="1171" y="1242"/>
                    </a:lnTo>
                    <a:lnTo>
                      <a:pt x="1169" y="1242"/>
                    </a:lnTo>
                    <a:close/>
                    <a:moveTo>
                      <a:pt x="1162" y="1459"/>
                    </a:moveTo>
                    <a:lnTo>
                      <a:pt x="1162" y="1461"/>
                    </a:lnTo>
                    <a:lnTo>
                      <a:pt x="1162" y="1459"/>
                    </a:lnTo>
                    <a:close/>
                    <a:moveTo>
                      <a:pt x="1329" y="1645"/>
                    </a:moveTo>
                    <a:lnTo>
                      <a:pt x="1331" y="1645"/>
                    </a:lnTo>
                    <a:lnTo>
                      <a:pt x="1329" y="1645"/>
                    </a:lnTo>
                    <a:close/>
                    <a:moveTo>
                      <a:pt x="1178" y="1384"/>
                    </a:moveTo>
                    <a:lnTo>
                      <a:pt x="1178" y="1386"/>
                    </a:lnTo>
                    <a:lnTo>
                      <a:pt x="1178" y="1384"/>
                    </a:lnTo>
                    <a:close/>
                    <a:moveTo>
                      <a:pt x="1298" y="1621"/>
                    </a:moveTo>
                    <a:lnTo>
                      <a:pt x="1300" y="1621"/>
                    </a:lnTo>
                    <a:lnTo>
                      <a:pt x="1298" y="1621"/>
                    </a:lnTo>
                    <a:close/>
                    <a:moveTo>
                      <a:pt x="1188" y="1492"/>
                    </a:moveTo>
                    <a:lnTo>
                      <a:pt x="1190" y="1492"/>
                    </a:lnTo>
                    <a:lnTo>
                      <a:pt x="1188" y="1492"/>
                    </a:lnTo>
                    <a:close/>
                    <a:moveTo>
                      <a:pt x="1140" y="1298"/>
                    </a:moveTo>
                    <a:lnTo>
                      <a:pt x="1140" y="1299"/>
                    </a:lnTo>
                    <a:lnTo>
                      <a:pt x="1140" y="1298"/>
                    </a:lnTo>
                    <a:close/>
                    <a:moveTo>
                      <a:pt x="1208" y="1534"/>
                    </a:moveTo>
                    <a:lnTo>
                      <a:pt x="1210" y="1534"/>
                    </a:lnTo>
                    <a:lnTo>
                      <a:pt x="1210" y="1536"/>
                    </a:lnTo>
                    <a:lnTo>
                      <a:pt x="1208" y="1536"/>
                    </a:lnTo>
                    <a:lnTo>
                      <a:pt x="1208" y="1534"/>
                    </a:lnTo>
                    <a:close/>
                    <a:moveTo>
                      <a:pt x="1196" y="1454"/>
                    </a:moveTo>
                    <a:lnTo>
                      <a:pt x="1198" y="1454"/>
                    </a:lnTo>
                    <a:lnTo>
                      <a:pt x="1196" y="1454"/>
                    </a:lnTo>
                    <a:close/>
                    <a:moveTo>
                      <a:pt x="1154" y="1250"/>
                    </a:moveTo>
                    <a:lnTo>
                      <a:pt x="1154" y="1252"/>
                    </a:lnTo>
                    <a:lnTo>
                      <a:pt x="1154" y="1250"/>
                    </a:lnTo>
                    <a:close/>
                    <a:moveTo>
                      <a:pt x="1193" y="1054"/>
                    </a:moveTo>
                    <a:lnTo>
                      <a:pt x="1195" y="1054"/>
                    </a:lnTo>
                    <a:lnTo>
                      <a:pt x="1193" y="1054"/>
                    </a:lnTo>
                    <a:close/>
                    <a:moveTo>
                      <a:pt x="1414" y="1669"/>
                    </a:moveTo>
                    <a:lnTo>
                      <a:pt x="1416" y="1669"/>
                    </a:lnTo>
                    <a:lnTo>
                      <a:pt x="1414" y="1669"/>
                    </a:lnTo>
                    <a:close/>
                    <a:moveTo>
                      <a:pt x="1287" y="1626"/>
                    </a:moveTo>
                    <a:lnTo>
                      <a:pt x="1287" y="1628"/>
                    </a:lnTo>
                    <a:lnTo>
                      <a:pt x="1287" y="1626"/>
                    </a:lnTo>
                    <a:close/>
                    <a:moveTo>
                      <a:pt x="1196" y="1417"/>
                    </a:moveTo>
                    <a:lnTo>
                      <a:pt x="1198" y="1417"/>
                    </a:lnTo>
                    <a:lnTo>
                      <a:pt x="1198" y="1418"/>
                    </a:lnTo>
                    <a:lnTo>
                      <a:pt x="1196" y="1418"/>
                    </a:lnTo>
                    <a:lnTo>
                      <a:pt x="1196" y="1417"/>
                    </a:lnTo>
                    <a:close/>
                    <a:moveTo>
                      <a:pt x="1191" y="1141"/>
                    </a:moveTo>
                    <a:lnTo>
                      <a:pt x="1193" y="1141"/>
                    </a:lnTo>
                    <a:lnTo>
                      <a:pt x="1191" y="1141"/>
                    </a:lnTo>
                    <a:close/>
                    <a:moveTo>
                      <a:pt x="1207" y="1051"/>
                    </a:moveTo>
                    <a:lnTo>
                      <a:pt x="1208" y="1051"/>
                    </a:lnTo>
                    <a:lnTo>
                      <a:pt x="1207" y="1051"/>
                    </a:lnTo>
                    <a:close/>
                    <a:moveTo>
                      <a:pt x="1202" y="952"/>
                    </a:moveTo>
                    <a:lnTo>
                      <a:pt x="1203" y="952"/>
                    </a:lnTo>
                    <a:lnTo>
                      <a:pt x="1202" y="952"/>
                    </a:lnTo>
                    <a:close/>
                    <a:moveTo>
                      <a:pt x="1212" y="1560"/>
                    </a:moveTo>
                    <a:lnTo>
                      <a:pt x="1213" y="1560"/>
                    </a:lnTo>
                    <a:lnTo>
                      <a:pt x="1212" y="1560"/>
                    </a:lnTo>
                    <a:close/>
                    <a:moveTo>
                      <a:pt x="1168" y="1390"/>
                    </a:moveTo>
                    <a:lnTo>
                      <a:pt x="1168" y="1391"/>
                    </a:lnTo>
                    <a:lnTo>
                      <a:pt x="1168" y="1390"/>
                    </a:lnTo>
                    <a:close/>
                    <a:moveTo>
                      <a:pt x="1186" y="1060"/>
                    </a:moveTo>
                    <a:lnTo>
                      <a:pt x="1188" y="1060"/>
                    </a:lnTo>
                    <a:lnTo>
                      <a:pt x="1186" y="1060"/>
                    </a:lnTo>
                    <a:close/>
                    <a:moveTo>
                      <a:pt x="1169" y="1478"/>
                    </a:moveTo>
                    <a:lnTo>
                      <a:pt x="1169" y="1480"/>
                    </a:lnTo>
                    <a:lnTo>
                      <a:pt x="1169" y="1478"/>
                    </a:lnTo>
                    <a:close/>
                    <a:moveTo>
                      <a:pt x="1297" y="1592"/>
                    </a:moveTo>
                    <a:lnTo>
                      <a:pt x="1298" y="1592"/>
                    </a:lnTo>
                    <a:lnTo>
                      <a:pt x="1297" y="1592"/>
                    </a:lnTo>
                    <a:close/>
                    <a:moveTo>
                      <a:pt x="1324" y="1635"/>
                    </a:moveTo>
                    <a:lnTo>
                      <a:pt x="1326" y="1635"/>
                    </a:lnTo>
                    <a:lnTo>
                      <a:pt x="1324" y="1635"/>
                    </a:lnTo>
                    <a:close/>
                    <a:moveTo>
                      <a:pt x="1176" y="1449"/>
                    </a:moveTo>
                    <a:lnTo>
                      <a:pt x="1176" y="1451"/>
                    </a:lnTo>
                    <a:lnTo>
                      <a:pt x="1176" y="1449"/>
                    </a:lnTo>
                    <a:close/>
                    <a:moveTo>
                      <a:pt x="1181" y="1420"/>
                    </a:moveTo>
                    <a:lnTo>
                      <a:pt x="1181" y="1422"/>
                    </a:lnTo>
                    <a:lnTo>
                      <a:pt x="1181" y="1420"/>
                    </a:lnTo>
                    <a:close/>
                    <a:moveTo>
                      <a:pt x="1176" y="1459"/>
                    </a:moveTo>
                    <a:lnTo>
                      <a:pt x="1176" y="1461"/>
                    </a:lnTo>
                    <a:lnTo>
                      <a:pt x="1176" y="1459"/>
                    </a:lnTo>
                    <a:close/>
                    <a:moveTo>
                      <a:pt x="1225" y="1556"/>
                    </a:moveTo>
                    <a:lnTo>
                      <a:pt x="1225" y="1558"/>
                    </a:lnTo>
                    <a:lnTo>
                      <a:pt x="1225" y="1556"/>
                    </a:lnTo>
                    <a:close/>
                    <a:moveTo>
                      <a:pt x="1281" y="1614"/>
                    </a:moveTo>
                    <a:lnTo>
                      <a:pt x="1281" y="1616"/>
                    </a:lnTo>
                    <a:lnTo>
                      <a:pt x="1281" y="1614"/>
                    </a:lnTo>
                    <a:close/>
                    <a:moveTo>
                      <a:pt x="1370" y="1646"/>
                    </a:moveTo>
                    <a:lnTo>
                      <a:pt x="1372" y="1646"/>
                    </a:lnTo>
                    <a:lnTo>
                      <a:pt x="1372" y="1648"/>
                    </a:lnTo>
                    <a:lnTo>
                      <a:pt x="1370" y="1648"/>
                    </a:lnTo>
                    <a:lnTo>
                      <a:pt x="1370" y="1646"/>
                    </a:lnTo>
                    <a:close/>
                    <a:moveTo>
                      <a:pt x="1416" y="1679"/>
                    </a:moveTo>
                    <a:lnTo>
                      <a:pt x="1416" y="1680"/>
                    </a:lnTo>
                    <a:lnTo>
                      <a:pt x="1416" y="1679"/>
                    </a:lnTo>
                    <a:close/>
                    <a:moveTo>
                      <a:pt x="1169" y="1444"/>
                    </a:moveTo>
                    <a:lnTo>
                      <a:pt x="1171" y="1444"/>
                    </a:lnTo>
                    <a:lnTo>
                      <a:pt x="1169" y="1444"/>
                    </a:lnTo>
                    <a:close/>
                    <a:moveTo>
                      <a:pt x="1370" y="1640"/>
                    </a:moveTo>
                    <a:lnTo>
                      <a:pt x="1372" y="1640"/>
                    </a:lnTo>
                    <a:lnTo>
                      <a:pt x="1372" y="1641"/>
                    </a:lnTo>
                    <a:lnTo>
                      <a:pt x="1370" y="1641"/>
                    </a:lnTo>
                    <a:lnTo>
                      <a:pt x="1370" y="1640"/>
                    </a:lnTo>
                    <a:close/>
                    <a:moveTo>
                      <a:pt x="1181" y="1432"/>
                    </a:moveTo>
                    <a:lnTo>
                      <a:pt x="1183" y="1432"/>
                    </a:lnTo>
                    <a:lnTo>
                      <a:pt x="1181" y="1432"/>
                    </a:lnTo>
                    <a:close/>
                    <a:moveTo>
                      <a:pt x="1222" y="1566"/>
                    </a:moveTo>
                    <a:lnTo>
                      <a:pt x="1222" y="1568"/>
                    </a:lnTo>
                    <a:lnTo>
                      <a:pt x="1222" y="1566"/>
                    </a:lnTo>
                    <a:close/>
                    <a:moveTo>
                      <a:pt x="1154" y="1379"/>
                    </a:moveTo>
                    <a:lnTo>
                      <a:pt x="1156" y="1379"/>
                    </a:lnTo>
                    <a:lnTo>
                      <a:pt x="1154" y="1379"/>
                    </a:lnTo>
                    <a:close/>
                    <a:moveTo>
                      <a:pt x="1237" y="1544"/>
                    </a:moveTo>
                    <a:lnTo>
                      <a:pt x="1239" y="1544"/>
                    </a:lnTo>
                    <a:lnTo>
                      <a:pt x="1239" y="1546"/>
                    </a:lnTo>
                    <a:lnTo>
                      <a:pt x="1237" y="1546"/>
                    </a:lnTo>
                    <a:lnTo>
                      <a:pt x="1237" y="1544"/>
                    </a:lnTo>
                    <a:close/>
                    <a:moveTo>
                      <a:pt x="1321" y="1633"/>
                    </a:moveTo>
                    <a:lnTo>
                      <a:pt x="1322" y="1633"/>
                    </a:lnTo>
                    <a:lnTo>
                      <a:pt x="1322" y="1635"/>
                    </a:lnTo>
                    <a:lnTo>
                      <a:pt x="1321" y="1635"/>
                    </a:lnTo>
                    <a:lnTo>
                      <a:pt x="1321" y="1633"/>
                    </a:lnTo>
                    <a:close/>
                    <a:moveTo>
                      <a:pt x="1157" y="1233"/>
                    </a:moveTo>
                    <a:lnTo>
                      <a:pt x="1157" y="1235"/>
                    </a:lnTo>
                    <a:lnTo>
                      <a:pt x="1157" y="1233"/>
                    </a:lnTo>
                    <a:close/>
                    <a:moveTo>
                      <a:pt x="1193" y="1435"/>
                    </a:moveTo>
                    <a:lnTo>
                      <a:pt x="1195" y="1435"/>
                    </a:lnTo>
                    <a:lnTo>
                      <a:pt x="1193" y="1435"/>
                    </a:lnTo>
                    <a:close/>
                    <a:moveTo>
                      <a:pt x="1247" y="1505"/>
                    </a:moveTo>
                    <a:lnTo>
                      <a:pt x="1247" y="1507"/>
                    </a:lnTo>
                    <a:lnTo>
                      <a:pt x="1247" y="1505"/>
                    </a:lnTo>
                    <a:close/>
                    <a:moveTo>
                      <a:pt x="1210" y="1240"/>
                    </a:moveTo>
                    <a:lnTo>
                      <a:pt x="1212" y="1240"/>
                    </a:lnTo>
                    <a:lnTo>
                      <a:pt x="1212" y="1242"/>
                    </a:lnTo>
                    <a:lnTo>
                      <a:pt x="1210" y="1242"/>
                    </a:lnTo>
                    <a:lnTo>
                      <a:pt x="1210" y="1240"/>
                    </a:lnTo>
                    <a:close/>
                    <a:moveTo>
                      <a:pt x="1285" y="1619"/>
                    </a:moveTo>
                    <a:lnTo>
                      <a:pt x="1285" y="1621"/>
                    </a:lnTo>
                    <a:lnTo>
                      <a:pt x="1285" y="1619"/>
                    </a:lnTo>
                    <a:close/>
                    <a:moveTo>
                      <a:pt x="1207" y="1451"/>
                    </a:moveTo>
                    <a:lnTo>
                      <a:pt x="1207" y="1453"/>
                    </a:lnTo>
                    <a:lnTo>
                      <a:pt x="1207" y="1451"/>
                    </a:lnTo>
                    <a:close/>
                    <a:moveTo>
                      <a:pt x="1178" y="1481"/>
                    </a:moveTo>
                    <a:lnTo>
                      <a:pt x="1178" y="1483"/>
                    </a:lnTo>
                    <a:lnTo>
                      <a:pt x="1178" y="1481"/>
                    </a:lnTo>
                    <a:close/>
                    <a:moveTo>
                      <a:pt x="1213" y="1104"/>
                    </a:moveTo>
                    <a:lnTo>
                      <a:pt x="1213" y="1105"/>
                    </a:lnTo>
                    <a:lnTo>
                      <a:pt x="1213" y="1104"/>
                    </a:lnTo>
                    <a:close/>
                    <a:moveTo>
                      <a:pt x="1190" y="1420"/>
                    </a:moveTo>
                    <a:lnTo>
                      <a:pt x="1190" y="1422"/>
                    </a:lnTo>
                    <a:lnTo>
                      <a:pt x="1190" y="1420"/>
                    </a:lnTo>
                    <a:close/>
                    <a:moveTo>
                      <a:pt x="1195" y="1145"/>
                    </a:moveTo>
                    <a:lnTo>
                      <a:pt x="1195" y="1146"/>
                    </a:lnTo>
                    <a:lnTo>
                      <a:pt x="1195" y="1145"/>
                    </a:lnTo>
                    <a:close/>
                    <a:moveTo>
                      <a:pt x="1195" y="1077"/>
                    </a:moveTo>
                    <a:lnTo>
                      <a:pt x="1196" y="1077"/>
                    </a:lnTo>
                    <a:lnTo>
                      <a:pt x="1195" y="1077"/>
                    </a:lnTo>
                    <a:close/>
                    <a:moveTo>
                      <a:pt x="1200" y="1527"/>
                    </a:moveTo>
                    <a:lnTo>
                      <a:pt x="1200" y="1529"/>
                    </a:lnTo>
                    <a:lnTo>
                      <a:pt x="1200" y="1527"/>
                    </a:lnTo>
                    <a:close/>
                    <a:moveTo>
                      <a:pt x="1219" y="1100"/>
                    </a:moveTo>
                    <a:lnTo>
                      <a:pt x="1219" y="1102"/>
                    </a:lnTo>
                    <a:lnTo>
                      <a:pt x="1219" y="1100"/>
                    </a:lnTo>
                    <a:close/>
                    <a:moveTo>
                      <a:pt x="1198" y="1092"/>
                    </a:moveTo>
                    <a:lnTo>
                      <a:pt x="1198" y="1094"/>
                    </a:lnTo>
                    <a:lnTo>
                      <a:pt x="1198" y="1092"/>
                    </a:lnTo>
                    <a:close/>
                    <a:moveTo>
                      <a:pt x="1229" y="1570"/>
                    </a:moveTo>
                    <a:lnTo>
                      <a:pt x="1230" y="1570"/>
                    </a:lnTo>
                    <a:lnTo>
                      <a:pt x="1229" y="1570"/>
                    </a:lnTo>
                    <a:close/>
                    <a:moveTo>
                      <a:pt x="1229" y="1580"/>
                    </a:moveTo>
                    <a:lnTo>
                      <a:pt x="1230" y="1580"/>
                    </a:lnTo>
                    <a:lnTo>
                      <a:pt x="1230" y="1582"/>
                    </a:lnTo>
                    <a:lnTo>
                      <a:pt x="1229" y="1582"/>
                    </a:lnTo>
                    <a:lnTo>
                      <a:pt x="1229" y="1580"/>
                    </a:lnTo>
                    <a:close/>
                    <a:moveTo>
                      <a:pt x="1169" y="1413"/>
                    </a:moveTo>
                    <a:lnTo>
                      <a:pt x="1171" y="1413"/>
                    </a:lnTo>
                    <a:lnTo>
                      <a:pt x="1169" y="1413"/>
                    </a:lnTo>
                    <a:close/>
                    <a:moveTo>
                      <a:pt x="1178" y="1441"/>
                    </a:moveTo>
                    <a:lnTo>
                      <a:pt x="1179" y="1441"/>
                    </a:lnTo>
                    <a:lnTo>
                      <a:pt x="1178" y="1441"/>
                    </a:lnTo>
                    <a:close/>
                    <a:moveTo>
                      <a:pt x="1161" y="1398"/>
                    </a:moveTo>
                    <a:lnTo>
                      <a:pt x="1162" y="1398"/>
                    </a:lnTo>
                    <a:lnTo>
                      <a:pt x="1161" y="1398"/>
                    </a:lnTo>
                    <a:close/>
                    <a:moveTo>
                      <a:pt x="1217" y="1504"/>
                    </a:moveTo>
                    <a:lnTo>
                      <a:pt x="1219" y="1504"/>
                    </a:lnTo>
                    <a:lnTo>
                      <a:pt x="1219" y="1505"/>
                    </a:lnTo>
                    <a:lnTo>
                      <a:pt x="1217" y="1505"/>
                    </a:lnTo>
                    <a:lnTo>
                      <a:pt x="1217" y="1504"/>
                    </a:lnTo>
                    <a:close/>
                    <a:moveTo>
                      <a:pt x="1183" y="1308"/>
                    </a:moveTo>
                    <a:lnTo>
                      <a:pt x="1183" y="1310"/>
                    </a:lnTo>
                    <a:lnTo>
                      <a:pt x="1183" y="1308"/>
                    </a:lnTo>
                    <a:close/>
                    <a:moveTo>
                      <a:pt x="1161" y="1357"/>
                    </a:moveTo>
                    <a:lnTo>
                      <a:pt x="1162" y="1357"/>
                    </a:lnTo>
                    <a:lnTo>
                      <a:pt x="1161" y="1357"/>
                    </a:lnTo>
                    <a:close/>
                    <a:moveTo>
                      <a:pt x="1176" y="1367"/>
                    </a:moveTo>
                    <a:lnTo>
                      <a:pt x="1178" y="1367"/>
                    </a:lnTo>
                    <a:lnTo>
                      <a:pt x="1176" y="1367"/>
                    </a:lnTo>
                    <a:close/>
                    <a:moveTo>
                      <a:pt x="1305" y="1623"/>
                    </a:moveTo>
                    <a:lnTo>
                      <a:pt x="1307" y="1623"/>
                    </a:lnTo>
                    <a:lnTo>
                      <a:pt x="1307" y="1624"/>
                    </a:lnTo>
                    <a:lnTo>
                      <a:pt x="1305" y="1624"/>
                    </a:lnTo>
                    <a:lnTo>
                      <a:pt x="1305" y="1623"/>
                    </a:lnTo>
                    <a:close/>
                    <a:moveTo>
                      <a:pt x="1149" y="1333"/>
                    </a:moveTo>
                    <a:lnTo>
                      <a:pt x="1151" y="1333"/>
                    </a:lnTo>
                    <a:lnTo>
                      <a:pt x="1149" y="1333"/>
                    </a:lnTo>
                    <a:close/>
                    <a:moveTo>
                      <a:pt x="1213" y="1102"/>
                    </a:moveTo>
                    <a:lnTo>
                      <a:pt x="1213" y="1104"/>
                    </a:lnTo>
                    <a:lnTo>
                      <a:pt x="1213" y="1102"/>
                    </a:lnTo>
                    <a:close/>
                    <a:moveTo>
                      <a:pt x="1154" y="1248"/>
                    </a:moveTo>
                    <a:lnTo>
                      <a:pt x="1156" y="1248"/>
                    </a:lnTo>
                    <a:lnTo>
                      <a:pt x="1154" y="1248"/>
                    </a:lnTo>
                    <a:close/>
                    <a:moveTo>
                      <a:pt x="1358" y="1652"/>
                    </a:moveTo>
                    <a:lnTo>
                      <a:pt x="1358" y="1653"/>
                    </a:lnTo>
                    <a:lnTo>
                      <a:pt x="1358" y="1652"/>
                    </a:lnTo>
                    <a:close/>
                    <a:moveTo>
                      <a:pt x="1259" y="1590"/>
                    </a:moveTo>
                    <a:lnTo>
                      <a:pt x="1259" y="1592"/>
                    </a:lnTo>
                    <a:lnTo>
                      <a:pt x="1259" y="1590"/>
                    </a:lnTo>
                    <a:close/>
                    <a:moveTo>
                      <a:pt x="1266" y="1599"/>
                    </a:moveTo>
                    <a:lnTo>
                      <a:pt x="1266" y="1600"/>
                    </a:lnTo>
                    <a:lnTo>
                      <a:pt x="1266" y="1599"/>
                    </a:lnTo>
                    <a:close/>
                    <a:moveTo>
                      <a:pt x="1188" y="1066"/>
                    </a:moveTo>
                    <a:lnTo>
                      <a:pt x="1188" y="1068"/>
                    </a:lnTo>
                    <a:lnTo>
                      <a:pt x="1188" y="1066"/>
                    </a:lnTo>
                    <a:close/>
                    <a:moveTo>
                      <a:pt x="1154" y="1272"/>
                    </a:moveTo>
                    <a:lnTo>
                      <a:pt x="1156" y="1272"/>
                    </a:lnTo>
                    <a:lnTo>
                      <a:pt x="1156" y="1274"/>
                    </a:lnTo>
                    <a:lnTo>
                      <a:pt x="1154" y="1274"/>
                    </a:lnTo>
                    <a:lnTo>
                      <a:pt x="1154" y="1272"/>
                    </a:lnTo>
                    <a:close/>
                    <a:moveTo>
                      <a:pt x="1309" y="1635"/>
                    </a:moveTo>
                    <a:lnTo>
                      <a:pt x="1310" y="1635"/>
                    </a:lnTo>
                    <a:lnTo>
                      <a:pt x="1309" y="1635"/>
                    </a:lnTo>
                    <a:close/>
                    <a:moveTo>
                      <a:pt x="1220" y="1077"/>
                    </a:moveTo>
                    <a:lnTo>
                      <a:pt x="1222" y="1077"/>
                    </a:lnTo>
                    <a:lnTo>
                      <a:pt x="1220" y="1077"/>
                    </a:lnTo>
                    <a:close/>
                    <a:moveTo>
                      <a:pt x="1205" y="1507"/>
                    </a:moveTo>
                    <a:lnTo>
                      <a:pt x="1207" y="1507"/>
                    </a:lnTo>
                    <a:lnTo>
                      <a:pt x="1205" y="1507"/>
                    </a:lnTo>
                    <a:close/>
                    <a:moveTo>
                      <a:pt x="1229" y="1558"/>
                    </a:moveTo>
                    <a:lnTo>
                      <a:pt x="1230" y="1558"/>
                    </a:lnTo>
                    <a:lnTo>
                      <a:pt x="1229" y="1558"/>
                    </a:lnTo>
                    <a:close/>
                    <a:moveTo>
                      <a:pt x="1198" y="1435"/>
                    </a:moveTo>
                    <a:lnTo>
                      <a:pt x="1198" y="1437"/>
                    </a:lnTo>
                    <a:lnTo>
                      <a:pt x="1198" y="1435"/>
                    </a:lnTo>
                    <a:close/>
                    <a:moveTo>
                      <a:pt x="1271" y="1595"/>
                    </a:moveTo>
                    <a:lnTo>
                      <a:pt x="1273" y="1595"/>
                    </a:lnTo>
                    <a:lnTo>
                      <a:pt x="1271" y="1595"/>
                    </a:lnTo>
                    <a:close/>
                    <a:moveTo>
                      <a:pt x="1186" y="1490"/>
                    </a:moveTo>
                    <a:lnTo>
                      <a:pt x="1188" y="1490"/>
                    </a:lnTo>
                    <a:lnTo>
                      <a:pt x="1186" y="1490"/>
                    </a:lnTo>
                    <a:close/>
                    <a:moveTo>
                      <a:pt x="1246" y="1507"/>
                    </a:moveTo>
                    <a:lnTo>
                      <a:pt x="1247" y="1507"/>
                    </a:lnTo>
                    <a:lnTo>
                      <a:pt x="1247" y="1509"/>
                    </a:lnTo>
                    <a:lnTo>
                      <a:pt x="1246" y="1509"/>
                    </a:lnTo>
                    <a:lnTo>
                      <a:pt x="1246" y="1507"/>
                    </a:lnTo>
                    <a:close/>
                    <a:moveTo>
                      <a:pt x="1368" y="1662"/>
                    </a:moveTo>
                    <a:lnTo>
                      <a:pt x="1370" y="1662"/>
                    </a:lnTo>
                    <a:lnTo>
                      <a:pt x="1368" y="1662"/>
                    </a:lnTo>
                    <a:close/>
                    <a:moveTo>
                      <a:pt x="1220" y="1544"/>
                    </a:moveTo>
                    <a:lnTo>
                      <a:pt x="1222" y="1544"/>
                    </a:lnTo>
                    <a:lnTo>
                      <a:pt x="1220" y="1544"/>
                    </a:lnTo>
                    <a:close/>
                    <a:moveTo>
                      <a:pt x="1162" y="1388"/>
                    </a:moveTo>
                    <a:lnTo>
                      <a:pt x="1164" y="1388"/>
                    </a:lnTo>
                    <a:lnTo>
                      <a:pt x="1162" y="1388"/>
                    </a:lnTo>
                    <a:close/>
                    <a:moveTo>
                      <a:pt x="1210" y="1242"/>
                    </a:moveTo>
                    <a:lnTo>
                      <a:pt x="1210" y="1243"/>
                    </a:lnTo>
                    <a:lnTo>
                      <a:pt x="1210" y="1242"/>
                    </a:lnTo>
                    <a:close/>
                    <a:moveTo>
                      <a:pt x="1196" y="1439"/>
                    </a:moveTo>
                    <a:lnTo>
                      <a:pt x="1198" y="1439"/>
                    </a:lnTo>
                    <a:lnTo>
                      <a:pt x="1198" y="1441"/>
                    </a:lnTo>
                    <a:lnTo>
                      <a:pt x="1196" y="1441"/>
                    </a:lnTo>
                    <a:lnTo>
                      <a:pt x="1196" y="1439"/>
                    </a:lnTo>
                    <a:close/>
                    <a:moveTo>
                      <a:pt x="1205" y="1481"/>
                    </a:moveTo>
                    <a:lnTo>
                      <a:pt x="1207" y="1481"/>
                    </a:lnTo>
                    <a:lnTo>
                      <a:pt x="1205" y="1481"/>
                    </a:lnTo>
                    <a:close/>
                    <a:moveTo>
                      <a:pt x="1190" y="1112"/>
                    </a:moveTo>
                    <a:lnTo>
                      <a:pt x="1191" y="1112"/>
                    </a:lnTo>
                    <a:lnTo>
                      <a:pt x="1191" y="1114"/>
                    </a:lnTo>
                    <a:lnTo>
                      <a:pt x="1190" y="1114"/>
                    </a:lnTo>
                    <a:lnTo>
                      <a:pt x="1190" y="1112"/>
                    </a:lnTo>
                    <a:close/>
                    <a:moveTo>
                      <a:pt x="1210" y="1481"/>
                    </a:moveTo>
                    <a:lnTo>
                      <a:pt x="1210" y="1483"/>
                    </a:lnTo>
                    <a:lnTo>
                      <a:pt x="1210" y="1481"/>
                    </a:lnTo>
                    <a:close/>
                    <a:moveTo>
                      <a:pt x="1312" y="1512"/>
                    </a:moveTo>
                    <a:lnTo>
                      <a:pt x="1312" y="1514"/>
                    </a:lnTo>
                    <a:lnTo>
                      <a:pt x="1312" y="1512"/>
                    </a:lnTo>
                    <a:close/>
                    <a:moveTo>
                      <a:pt x="1380" y="1662"/>
                    </a:moveTo>
                    <a:lnTo>
                      <a:pt x="1382" y="1662"/>
                    </a:lnTo>
                    <a:lnTo>
                      <a:pt x="1380" y="1662"/>
                    </a:lnTo>
                    <a:close/>
                    <a:moveTo>
                      <a:pt x="1210" y="1493"/>
                    </a:moveTo>
                    <a:lnTo>
                      <a:pt x="1212" y="1493"/>
                    </a:lnTo>
                    <a:lnTo>
                      <a:pt x="1210" y="1493"/>
                    </a:lnTo>
                    <a:close/>
                    <a:moveTo>
                      <a:pt x="1207" y="1099"/>
                    </a:moveTo>
                    <a:lnTo>
                      <a:pt x="1207" y="1100"/>
                    </a:lnTo>
                    <a:lnTo>
                      <a:pt x="1207" y="1099"/>
                    </a:lnTo>
                    <a:close/>
                    <a:moveTo>
                      <a:pt x="1154" y="1250"/>
                    </a:moveTo>
                    <a:lnTo>
                      <a:pt x="1156" y="1250"/>
                    </a:lnTo>
                    <a:lnTo>
                      <a:pt x="1154" y="1250"/>
                    </a:lnTo>
                    <a:close/>
                    <a:moveTo>
                      <a:pt x="1219" y="1549"/>
                    </a:moveTo>
                    <a:lnTo>
                      <a:pt x="1220" y="1549"/>
                    </a:lnTo>
                    <a:lnTo>
                      <a:pt x="1220" y="1551"/>
                    </a:lnTo>
                    <a:lnTo>
                      <a:pt x="1219" y="1551"/>
                    </a:lnTo>
                    <a:lnTo>
                      <a:pt x="1219" y="1549"/>
                    </a:lnTo>
                    <a:close/>
                    <a:moveTo>
                      <a:pt x="1210" y="1085"/>
                    </a:moveTo>
                    <a:lnTo>
                      <a:pt x="1210" y="1087"/>
                    </a:lnTo>
                    <a:lnTo>
                      <a:pt x="1210" y="1085"/>
                    </a:lnTo>
                    <a:close/>
                    <a:moveTo>
                      <a:pt x="1159" y="1347"/>
                    </a:moveTo>
                    <a:lnTo>
                      <a:pt x="1159" y="1349"/>
                    </a:lnTo>
                    <a:lnTo>
                      <a:pt x="1159" y="1347"/>
                    </a:lnTo>
                    <a:close/>
                    <a:moveTo>
                      <a:pt x="1219" y="1555"/>
                    </a:moveTo>
                    <a:lnTo>
                      <a:pt x="1220" y="1555"/>
                    </a:lnTo>
                    <a:lnTo>
                      <a:pt x="1219" y="1555"/>
                    </a:lnTo>
                    <a:close/>
                    <a:moveTo>
                      <a:pt x="1230" y="1570"/>
                    </a:moveTo>
                    <a:lnTo>
                      <a:pt x="1232" y="1570"/>
                    </a:lnTo>
                    <a:lnTo>
                      <a:pt x="1230" y="1570"/>
                    </a:lnTo>
                    <a:close/>
                    <a:moveTo>
                      <a:pt x="1144" y="1299"/>
                    </a:moveTo>
                    <a:lnTo>
                      <a:pt x="1144" y="1301"/>
                    </a:lnTo>
                    <a:lnTo>
                      <a:pt x="1144" y="1299"/>
                    </a:lnTo>
                    <a:close/>
                    <a:moveTo>
                      <a:pt x="1394" y="1635"/>
                    </a:moveTo>
                    <a:lnTo>
                      <a:pt x="1394" y="1636"/>
                    </a:lnTo>
                    <a:lnTo>
                      <a:pt x="1394" y="1635"/>
                    </a:lnTo>
                    <a:close/>
                    <a:moveTo>
                      <a:pt x="1236" y="1582"/>
                    </a:moveTo>
                    <a:lnTo>
                      <a:pt x="1236" y="1583"/>
                    </a:lnTo>
                    <a:lnTo>
                      <a:pt x="1236" y="1582"/>
                    </a:lnTo>
                    <a:close/>
                    <a:moveTo>
                      <a:pt x="1207" y="1514"/>
                    </a:moveTo>
                    <a:lnTo>
                      <a:pt x="1208" y="1514"/>
                    </a:lnTo>
                    <a:lnTo>
                      <a:pt x="1207" y="1514"/>
                    </a:lnTo>
                    <a:close/>
                    <a:moveTo>
                      <a:pt x="1220" y="1117"/>
                    </a:moveTo>
                    <a:lnTo>
                      <a:pt x="1222" y="1117"/>
                    </a:lnTo>
                    <a:lnTo>
                      <a:pt x="1220" y="1117"/>
                    </a:lnTo>
                    <a:close/>
                    <a:moveTo>
                      <a:pt x="1229" y="1039"/>
                    </a:moveTo>
                    <a:lnTo>
                      <a:pt x="1230" y="1039"/>
                    </a:lnTo>
                    <a:lnTo>
                      <a:pt x="1230" y="1041"/>
                    </a:lnTo>
                    <a:lnTo>
                      <a:pt x="1229" y="1041"/>
                    </a:lnTo>
                    <a:lnTo>
                      <a:pt x="1229" y="1039"/>
                    </a:lnTo>
                    <a:close/>
                    <a:moveTo>
                      <a:pt x="1178" y="1488"/>
                    </a:moveTo>
                    <a:lnTo>
                      <a:pt x="1179" y="1488"/>
                    </a:lnTo>
                    <a:lnTo>
                      <a:pt x="1179" y="1490"/>
                    </a:lnTo>
                    <a:lnTo>
                      <a:pt x="1178" y="1490"/>
                    </a:lnTo>
                    <a:lnTo>
                      <a:pt x="1178" y="1488"/>
                    </a:lnTo>
                    <a:close/>
                    <a:moveTo>
                      <a:pt x="1173" y="1435"/>
                    </a:moveTo>
                    <a:lnTo>
                      <a:pt x="1174" y="1435"/>
                    </a:lnTo>
                    <a:lnTo>
                      <a:pt x="1174" y="1437"/>
                    </a:lnTo>
                    <a:lnTo>
                      <a:pt x="1173" y="1437"/>
                    </a:lnTo>
                    <a:lnTo>
                      <a:pt x="1173" y="1435"/>
                    </a:lnTo>
                    <a:close/>
                    <a:moveTo>
                      <a:pt x="1202" y="1063"/>
                    </a:moveTo>
                    <a:lnTo>
                      <a:pt x="1203" y="1063"/>
                    </a:lnTo>
                    <a:lnTo>
                      <a:pt x="1202" y="1063"/>
                    </a:lnTo>
                    <a:close/>
                    <a:moveTo>
                      <a:pt x="1154" y="1250"/>
                    </a:moveTo>
                    <a:lnTo>
                      <a:pt x="1154" y="1252"/>
                    </a:lnTo>
                    <a:lnTo>
                      <a:pt x="1154" y="1250"/>
                    </a:lnTo>
                    <a:close/>
                    <a:moveTo>
                      <a:pt x="1178" y="1432"/>
                    </a:moveTo>
                    <a:lnTo>
                      <a:pt x="1179" y="1432"/>
                    </a:lnTo>
                    <a:lnTo>
                      <a:pt x="1178" y="1432"/>
                    </a:lnTo>
                    <a:close/>
                    <a:moveTo>
                      <a:pt x="1188" y="1480"/>
                    </a:moveTo>
                    <a:lnTo>
                      <a:pt x="1190" y="1480"/>
                    </a:lnTo>
                    <a:lnTo>
                      <a:pt x="1188" y="1480"/>
                    </a:lnTo>
                    <a:close/>
                    <a:moveTo>
                      <a:pt x="1360" y="1629"/>
                    </a:moveTo>
                    <a:lnTo>
                      <a:pt x="1361" y="1629"/>
                    </a:lnTo>
                    <a:lnTo>
                      <a:pt x="1361" y="1631"/>
                    </a:lnTo>
                    <a:lnTo>
                      <a:pt x="1360" y="1631"/>
                    </a:lnTo>
                    <a:lnTo>
                      <a:pt x="1360" y="1629"/>
                    </a:lnTo>
                    <a:close/>
                    <a:moveTo>
                      <a:pt x="1181" y="1117"/>
                    </a:moveTo>
                    <a:lnTo>
                      <a:pt x="1183" y="1117"/>
                    </a:lnTo>
                    <a:lnTo>
                      <a:pt x="1181" y="1117"/>
                    </a:lnTo>
                    <a:close/>
                    <a:moveTo>
                      <a:pt x="1346" y="1657"/>
                    </a:moveTo>
                    <a:lnTo>
                      <a:pt x="1348" y="1657"/>
                    </a:lnTo>
                    <a:lnTo>
                      <a:pt x="1348" y="1658"/>
                    </a:lnTo>
                    <a:lnTo>
                      <a:pt x="1346" y="1658"/>
                    </a:lnTo>
                    <a:lnTo>
                      <a:pt x="1346" y="1657"/>
                    </a:lnTo>
                    <a:close/>
                    <a:moveTo>
                      <a:pt x="1145" y="1332"/>
                    </a:moveTo>
                    <a:lnTo>
                      <a:pt x="1147" y="1332"/>
                    </a:lnTo>
                    <a:lnTo>
                      <a:pt x="1147" y="1333"/>
                    </a:lnTo>
                    <a:lnTo>
                      <a:pt x="1145" y="1333"/>
                    </a:lnTo>
                    <a:lnTo>
                      <a:pt x="1145" y="1332"/>
                    </a:lnTo>
                    <a:close/>
                    <a:moveTo>
                      <a:pt x="1215" y="1504"/>
                    </a:moveTo>
                    <a:lnTo>
                      <a:pt x="1217" y="1504"/>
                    </a:lnTo>
                    <a:lnTo>
                      <a:pt x="1215" y="1504"/>
                    </a:lnTo>
                    <a:close/>
                    <a:moveTo>
                      <a:pt x="1149" y="1253"/>
                    </a:moveTo>
                    <a:lnTo>
                      <a:pt x="1151" y="1253"/>
                    </a:lnTo>
                    <a:lnTo>
                      <a:pt x="1149" y="1253"/>
                    </a:lnTo>
                    <a:close/>
                    <a:moveTo>
                      <a:pt x="1329" y="1643"/>
                    </a:moveTo>
                    <a:lnTo>
                      <a:pt x="1331" y="1643"/>
                    </a:lnTo>
                    <a:lnTo>
                      <a:pt x="1329" y="1643"/>
                    </a:lnTo>
                    <a:close/>
                    <a:moveTo>
                      <a:pt x="1193" y="1453"/>
                    </a:moveTo>
                    <a:lnTo>
                      <a:pt x="1193" y="1454"/>
                    </a:lnTo>
                    <a:lnTo>
                      <a:pt x="1193" y="1453"/>
                    </a:lnTo>
                    <a:close/>
                    <a:moveTo>
                      <a:pt x="1203" y="1063"/>
                    </a:moveTo>
                    <a:lnTo>
                      <a:pt x="1203" y="1065"/>
                    </a:lnTo>
                    <a:lnTo>
                      <a:pt x="1203" y="1063"/>
                    </a:lnTo>
                    <a:close/>
                    <a:moveTo>
                      <a:pt x="1310" y="212"/>
                    </a:moveTo>
                    <a:lnTo>
                      <a:pt x="1310" y="214"/>
                    </a:lnTo>
                    <a:lnTo>
                      <a:pt x="1310" y="212"/>
                    </a:lnTo>
                    <a:close/>
                    <a:moveTo>
                      <a:pt x="1361" y="1667"/>
                    </a:moveTo>
                    <a:lnTo>
                      <a:pt x="1363" y="1667"/>
                    </a:lnTo>
                    <a:lnTo>
                      <a:pt x="1361" y="1667"/>
                    </a:lnTo>
                    <a:close/>
                    <a:moveTo>
                      <a:pt x="1166" y="1405"/>
                    </a:moveTo>
                    <a:lnTo>
                      <a:pt x="1168" y="1405"/>
                    </a:lnTo>
                    <a:lnTo>
                      <a:pt x="1168" y="1407"/>
                    </a:lnTo>
                    <a:lnTo>
                      <a:pt x="1166" y="1407"/>
                    </a:lnTo>
                    <a:lnTo>
                      <a:pt x="1166" y="1405"/>
                    </a:lnTo>
                    <a:close/>
                    <a:moveTo>
                      <a:pt x="1215" y="1555"/>
                    </a:moveTo>
                    <a:lnTo>
                      <a:pt x="1217" y="1555"/>
                    </a:lnTo>
                    <a:lnTo>
                      <a:pt x="1215" y="1555"/>
                    </a:lnTo>
                    <a:close/>
                    <a:moveTo>
                      <a:pt x="1191" y="1437"/>
                    </a:moveTo>
                    <a:lnTo>
                      <a:pt x="1193" y="1437"/>
                    </a:lnTo>
                    <a:lnTo>
                      <a:pt x="1191" y="1437"/>
                    </a:lnTo>
                    <a:close/>
                    <a:moveTo>
                      <a:pt x="1251" y="1522"/>
                    </a:moveTo>
                    <a:lnTo>
                      <a:pt x="1253" y="1522"/>
                    </a:lnTo>
                    <a:lnTo>
                      <a:pt x="1251" y="1522"/>
                    </a:lnTo>
                    <a:close/>
                    <a:moveTo>
                      <a:pt x="1207" y="1498"/>
                    </a:moveTo>
                    <a:lnTo>
                      <a:pt x="1208" y="1498"/>
                    </a:lnTo>
                    <a:lnTo>
                      <a:pt x="1208" y="1500"/>
                    </a:lnTo>
                    <a:lnTo>
                      <a:pt x="1207" y="1500"/>
                    </a:lnTo>
                    <a:lnTo>
                      <a:pt x="1207" y="1498"/>
                    </a:lnTo>
                    <a:close/>
                    <a:moveTo>
                      <a:pt x="1186" y="1439"/>
                    </a:moveTo>
                    <a:lnTo>
                      <a:pt x="1186" y="1441"/>
                    </a:lnTo>
                    <a:lnTo>
                      <a:pt x="1186" y="1439"/>
                    </a:lnTo>
                    <a:close/>
                    <a:moveTo>
                      <a:pt x="1176" y="1116"/>
                    </a:moveTo>
                    <a:lnTo>
                      <a:pt x="1178" y="1116"/>
                    </a:lnTo>
                    <a:lnTo>
                      <a:pt x="1176" y="1116"/>
                    </a:lnTo>
                    <a:close/>
                    <a:moveTo>
                      <a:pt x="1188" y="1209"/>
                    </a:moveTo>
                    <a:lnTo>
                      <a:pt x="1190" y="1209"/>
                    </a:lnTo>
                    <a:lnTo>
                      <a:pt x="1188" y="1209"/>
                    </a:lnTo>
                    <a:close/>
                    <a:moveTo>
                      <a:pt x="1159" y="1347"/>
                    </a:moveTo>
                    <a:lnTo>
                      <a:pt x="1161" y="1347"/>
                    </a:lnTo>
                    <a:lnTo>
                      <a:pt x="1159" y="1347"/>
                    </a:lnTo>
                    <a:close/>
                    <a:moveTo>
                      <a:pt x="1215" y="1105"/>
                    </a:moveTo>
                    <a:lnTo>
                      <a:pt x="1215" y="1107"/>
                    </a:lnTo>
                    <a:lnTo>
                      <a:pt x="1215" y="1105"/>
                    </a:lnTo>
                    <a:close/>
                    <a:moveTo>
                      <a:pt x="1162" y="1347"/>
                    </a:moveTo>
                    <a:lnTo>
                      <a:pt x="1164" y="1347"/>
                    </a:lnTo>
                    <a:lnTo>
                      <a:pt x="1162" y="1347"/>
                    </a:lnTo>
                    <a:close/>
                    <a:moveTo>
                      <a:pt x="1210" y="1116"/>
                    </a:moveTo>
                    <a:lnTo>
                      <a:pt x="1212" y="1116"/>
                    </a:lnTo>
                    <a:lnTo>
                      <a:pt x="1210" y="1116"/>
                    </a:lnTo>
                    <a:close/>
                    <a:moveTo>
                      <a:pt x="1259" y="1493"/>
                    </a:moveTo>
                    <a:lnTo>
                      <a:pt x="1261" y="1493"/>
                    </a:lnTo>
                    <a:lnTo>
                      <a:pt x="1259" y="1493"/>
                    </a:lnTo>
                    <a:close/>
                    <a:moveTo>
                      <a:pt x="1207" y="1521"/>
                    </a:moveTo>
                    <a:lnTo>
                      <a:pt x="1208" y="1521"/>
                    </a:lnTo>
                    <a:lnTo>
                      <a:pt x="1208" y="1522"/>
                    </a:lnTo>
                    <a:lnTo>
                      <a:pt x="1207" y="1522"/>
                    </a:lnTo>
                    <a:lnTo>
                      <a:pt x="1207" y="1521"/>
                    </a:lnTo>
                    <a:close/>
                    <a:moveTo>
                      <a:pt x="1212" y="1070"/>
                    </a:moveTo>
                    <a:lnTo>
                      <a:pt x="1212" y="1071"/>
                    </a:lnTo>
                    <a:lnTo>
                      <a:pt x="1212" y="1070"/>
                    </a:lnTo>
                    <a:close/>
                    <a:moveTo>
                      <a:pt x="1190" y="1068"/>
                    </a:moveTo>
                    <a:lnTo>
                      <a:pt x="1191" y="1068"/>
                    </a:lnTo>
                    <a:lnTo>
                      <a:pt x="1190" y="1068"/>
                    </a:lnTo>
                    <a:close/>
                    <a:moveTo>
                      <a:pt x="1213" y="1555"/>
                    </a:moveTo>
                    <a:lnTo>
                      <a:pt x="1215" y="1555"/>
                    </a:lnTo>
                    <a:lnTo>
                      <a:pt x="1215" y="1556"/>
                    </a:lnTo>
                    <a:lnTo>
                      <a:pt x="1213" y="1556"/>
                    </a:lnTo>
                    <a:lnTo>
                      <a:pt x="1213" y="1555"/>
                    </a:lnTo>
                    <a:close/>
                    <a:moveTo>
                      <a:pt x="1212" y="1555"/>
                    </a:moveTo>
                    <a:lnTo>
                      <a:pt x="1213" y="1555"/>
                    </a:lnTo>
                    <a:lnTo>
                      <a:pt x="1212" y="1555"/>
                    </a:lnTo>
                    <a:close/>
                    <a:moveTo>
                      <a:pt x="1212" y="1500"/>
                    </a:moveTo>
                    <a:lnTo>
                      <a:pt x="1212" y="1502"/>
                    </a:lnTo>
                    <a:lnTo>
                      <a:pt x="1212" y="1500"/>
                    </a:lnTo>
                    <a:close/>
                    <a:moveTo>
                      <a:pt x="1156" y="1250"/>
                    </a:moveTo>
                    <a:lnTo>
                      <a:pt x="1156" y="1252"/>
                    </a:lnTo>
                    <a:lnTo>
                      <a:pt x="1156" y="1250"/>
                    </a:lnTo>
                    <a:close/>
                    <a:moveTo>
                      <a:pt x="1205" y="1073"/>
                    </a:moveTo>
                    <a:lnTo>
                      <a:pt x="1207" y="1073"/>
                    </a:lnTo>
                    <a:lnTo>
                      <a:pt x="1207" y="1075"/>
                    </a:lnTo>
                    <a:lnTo>
                      <a:pt x="1205" y="1075"/>
                    </a:lnTo>
                    <a:lnTo>
                      <a:pt x="1205" y="1073"/>
                    </a:lnTo>
                    <a:close/>
                    <a:moveTo>
                      <a:pt x="1208" y="1082"/>
                    </a:moveTo>
                    <a:lnTo>
                      <a:pt x="1210" y="1082"/>
                    </a:lnTo>
                    <a:lnTo>
                      <a:pt x="1208" y="1082"/>
                    </a:lnTo>
                    <a:close/>
                    <a:moveTo>
                      <a:pt x="1169" y="1434"/>
                    </a:moveTo>
                    <a:lnTo>
                      <a:pt x="1171" y="1434"/>
                    </a:lnTo>
                    <a:lnTo>
                      <a:pt x="1171" y="1435"/>
                    </a:lnTo>
                    <a:lnTo>
                      <a:pt x="1169" y="1435"/>
                    </a:lnTo>
                    <a:lnTo>
                      <a:pt x="1169" y="1434"/>
                    </a:lnTo>
                    <a:close/>
                    <a:moveTo>
                      <a:pt x="1191" y="1114"/>
                    </a:moveTo>
                    <a:lnTo>
                      <a:pt x="1191" y="1116"/>
                    </a:lnTo>
                    <a:lnTo>
                      <a:pt x="1191" y="1114"/>
                    </a:lnTo>
                    <a:close/>
                    <a:moveTo>
                      <a:pt x="1178" y="1374"/>
                    </a:moveTo>
                    <a:lnTo>
                      <a:pt x="1178" y="1376"/>
                    </a:lnTo>
                    <a:lnTo>
                      <a:pt x="1178" y="1374"/>
                    </a:lnTo>
                    <a:close/>
                    <a:moveTo>
                      <a:pt x="1208" y="1075"/>
                    </a:moveTo>
                    <a:lnTo>
                      <a:pt x="1210" y="1075"/>
                    </a:lnTo>
                    <a:lnTo>
                      <a:pt x="1208" y="1075"/>
                    </a:lnTo>
                    <a:close/>
                    <a:moveTo>
                      <a:pt x="1205" y="1053"/>
                    </a:moveTo>
                    <a:lnTo>
                      <a:pt x="1205" y="1054"/>
                    </a:lnTo>
                    <a:lnTo>
                      <a:pt x="1205" y="1053"/>
                    </a:lnTo>
                    <a:close/>
                    <a:moveTo>
                      <a:pt x="1186" y="1383"/>
                    </a:moveTo>
                    <a:lnTo>
                      <a:pt x="1186" y="1384"/>
                    </a:lnTo>
                    <a:lnTo>
                      <a:pt x="1186" y="1383"/>
                    </a:lnTo>
                    <a:close/>
                    <a:moveTo>
                      <a:pt x="1169" y="1133"/>
                    </a:moveTo>
                    <a:lnTo>
                      <a:pt x="1171" y="1133"/>
                    </a:lnTo>
                    <a:lnTo>
                      <a:pt x="1171" y="1134"/>
                    </a:lnTo>
                    <a:lnTo>
                      <a:pt x="1169" y="1134"/>
                    </a:lnTo>
                    <a:lnTo>
                      <a:pt x="1169" y="1133"/>
                    </a:lnTo>
                    <a:close/>
                    <a:moveTo>
                      <a:pt x="1383" y="1628"/>
                    </a:moveTo>
                    <a:lnTo>
                      <a:pt x="1383" y="1629"/>
                    </a:lnTo>
                    <a:lnTo>
                      <a:pt x="1383" y="1628"/>
                    </a:lnTo>
                    <a:close/>
                    <a:moveTo>
                      <a:pt x="1232" y="1583"/>
                    </a:moveTo>
                    <a:lnTo>
                      <a:pt x="1234" y="1583"/>
                    </a:lnTo>
                    <a:lnTo>
                      <a:pt x="1232" y="1583"/>
                    </a:lnTo>
                    <a:close/>
                    <a:moveTo>
                      <a:pt x="1353" y="1682"/>
                    </a:moveTo>
                    <a:lnTo>
                      <a:pt x="1355" y="1682"/>
                    </a:lnTo>
                    <a:lnTo>
                      <a:pt x="1353" y="1682"/>
                    </a:lnTo>
                    <a:close/>
                    <a:moveTo>
                      <a:pt x="1185" y="1429"/>
                    </a:moveTo>
                    <a:lnTo>
                      <a:pt x="1185" y="1430"/>
                    </a:lnTo>
                    <a:lnTo>
                      <a:pt x="1185" y="1429"/>
                    </a:lnTo>
                    <a:close/>
                    <a:moveTo>
                      <a:pt x="1205" y="1054"/>
                    </a:moveTo>
                    <a:lnTo>
                      <a:pt x="1207" y="1054"/>
                    </a:lnTo>
                    <a:lnTo>
                      <a:pt x="1205" y="1054"/>
                    </a:lnTo>
                    <a:close/>
                    <a:moveTo>
                      <a:pt x="1283" y="1595"/>
                    </a:moveTo>
                    <a:lnTo>
                      <a:pt x="1283" y="1597"/>
                    </a:lnTo>
                    <a:lnTo>
                      <a:pt x="1283" y="1595"/>
                    </a:lnTo>
                    <a:close/>
                    <a:moveTo>
                      <a:pt x="1185" y="1429"/>
                    </a:moveTo>
                    <a:lnTo>
                      <a:pt x="1186" y="1429"/>
                    </a:lnTo>
                    <a:lnTo>
                      <a:pt x="1186" y="1430"/>
                    </a:lnTo>
                    <a:lnTo>
                      <a:pt x="1185" y="1430"/>
                    </a:lnTo>
                    <a:lnTo>
                      <a:pt x="1185" y="1429"/>
                    </a:lnTo>
                    <a:close/>
                    <a:moveTo>
                      <a:pt x="1220" y="1549"/>
                    </a:moveTo>
                    <a:lnTo>
                      <a:pt x="1220" y="1551"/>
                    </a:lnTo>
                    <a:lnTo>
                      <a:pt x="1220" y="1549"/>
                    </a:lnTo>
                    <a:close/>
                    <a:moveTo>
                      <a:pt x="1174" y="1116"/>
                    </a:moveTo>
                    <a:lnTo>
                      <a:pt x="1174" y="1117"/>
                    </a:lnTo>
                    <a:lnTo>
                      <a:pt x="1174" y="1116"/>
                    </a:lnTo>
                    <a:close/>
                    <a:moveTo>
                      <a:pt x="1314" y="1577"/>
                    </a:moveTo>
                    <a:lnTo>
                      <a:pt x="1315" y="1577"/>
                    </a:lnTo>
                    <a:lnTo>
                      <a:pt x="1314" y="1577"/>
                    </a:lnTo>
                    <a:close/>
                    <a:moveTo>
                      <a:pt x="1207" y="1507"/>
                    </a:moveTo>
                    <a:lnTo>
                      <a:pt x="1208" y="1507"/>
                    </a:lnTo>
                    <a:lnTo>
                      <a:pt x="1207" y="1507"/>
                    </a:lnTo>
                    <a:close/>
                    <a:moveTo>
                      <a:pt x="1380" y="1660"/>
                    </a:moveTo>
                    <a:lnTo>
                      <a:pt x="1380" y="1662"/>
                    </a:lnTo>
                    <a:lnTo>
                      <a:pt x="1380" y="1660"/>
                    </a:lnTo>
                    <a:close/>
                    <a:moveTo>
                      <a:pt x="1224" y="1572"/>
                    </a:moveTo>
                    <a:lnTo>
                      <a:pt x="1225" y="1572"/>
                    </a:lnTo>
                    <a:lnTo>
                      <a:pt x="1224" y="1572"/>
                    </a:lnTo>
                    <a:close/>
                    <a:moveTo>
                      <a:pt x="1331" y="1648"/>
                    </a:moveTo>
                    <a:lnTo>
                      <a:pt x="1332" y="1648"/>
                    </a:lnTo>
                    <a:lnTo>
                      <a:pt x="1331" y="1648"/>
                    </a:lnTo>
                    <a:close/>
                    <a:moveTo>
                      <a:pt x="1198" y="1549"/>
                    </a:moveTo>
                    <a:lnTo>
                      <a:pt x="1200" y="1549"/>
                    </a:lnTo>
                    <a:lnTo>
                      <a:pt x="1198" y="1549"/>
                    </a:lnTo>
                    <a:close/>
                    <a:moveTo>
                      <a:pt x="1174" y="1435"/>
                    </a:moveTo>
                    <a:lnTo>
                      <a:pt x="1174" y="1437"/>
                    </a:lnTo>
                    <a:lnTo>
                      <a:pt x="1174" y="1435"/>
                    </a:lnTo>
                    <a:close/>
                    <a:moveTo>
                      <a:pt x="1176" y="1255"/>
                    </a:moveTo>
                    <a:lnTo>
                      <a:pt x="1178" y="1255"/>
                    </a:lnTo>
                    <a:lnTo>
                      <a:pt x="1176" y="1255"/>
                    </a:lnTo>
                    <a:close/>
                    <a:moveTo>
                      <a:pt x="1156" y="1191"/>
                    </a:moveTo>
                    <a:lnTo>
                      <a:pt x="1157" y="1191"/>
                    </a:lnTo>
                    <a:lnTo>
                      <a:pt x="1156" y="1191"/>
                    </a:lnTo>
                    <a:close/>
                    <a:moveTo>
                      <a:pt x="1208" y="956"/>
                    </a:moveTo>
                    <a:lnTo>
                      <a:pt x="1210" y="956"/>
                    </a:lnTo>
                    <a:lnTo>
                      <a:pt x="1208" y="956"/>
                    </a:lnTo>
                    <a:close/>
                    <a:moveTo>
                      <a:pt x="1220" y="1563"/>
                    </a:moveTo>
                    <a:lnTo>
                      <a:pt x="1222" y="1563"/>
                    </a:lnTo>
                    <a:lnTo>
                      <a:pt x="1220" y="1563"/>
                    </a:lnTo>
                    <a:close/>
                    <a:moveTo>
                      <a:pt x="1207" y="949"/>
                    </a:moveTo>
                    <a:lnTo>
                      <a:pt x="1207" y="951"/>
                    </a:lnTo>
                    <a:lnTo>
                      <a:pt x="1207" y="949"/>
                    </a:lnTo>
                    <a:close/>
                    <a:moveTo>
                      <a:pt x="1220" y="1056"/>
                    </a:moveTo>
                    <a:lnTo>
                      <a:pt x="1222" y="1056"/>
                    </a:lnTo>
                    <a:lnTo>
                      <a:pt x="1222" y="1058"/>
                    </a:lnTo>
                    <a:lnTo>
                      <a:pt x="1220" y="1058"/>
                    </a:lnTo>
                    <a:lnTo>
                      <a:pt x="1220" y="1056"/>
                    </a:lnTo>
                    <a:close/>
                    <a:moveTo>
                      <a:pt x="1232" y="1575"/>
                    </a:moveTo>
                    <a:lnTo>
                      <a:pt x="1234" y="1575"/>
                    </a:lnTo>
                    <a:lnTo>
                      <a:pt x="1232" y="1575"/>
                    </a:lnTo>
                    <a:close/>
                    <a:moveTo>
                      <a:pt x="1378" y="1665"/>
                    </a:moveTo>
                    <a:lnTo>
                      <a:pt x="1378" y="1667"/>
                    </a:lnTo>
                    <a:lnTo>
                      <a:pt x="1378" y="1665"/>
                    </a:lnTo>
                    <a:close/>
                    <a:moveTo>
                      <a:pt x="1227" y="1556"/>
                    </a:moveTo>
                    <a:lnTo>
                      <a:pt x="1229" y="1556"/>
                    </a:lnTo>
                    <a:lnTo>
                      <a:pt x="1229" y="1558"/>
                    </a:lnTo>
                    <a:lnTo>
                      <a:pt x="1227" y="1558"/>
                    </a:lnTo>
                    <a:lnTo>
                      <a:pt x="1227" y="1556"/>
                    </a:lnTo>
                    <a:close/>
                    <a:moveTo>
                      <a:pt x="1229" y="1534"/>
                    </a:moveTo>
                    <a:lnTo>
                      <a:pt x="1229" y="1536"/>
                    </a:lnTo>
                    <a:lnTo>
                      <a:pt x="1229" y="1534"/>
                    </a:lnTo>
                    <a:close/>
                    <a:moveTo>
                      <a:pt x="1183" y="1461"/>
                    </a:moveTo>
                    <a:lnTo>
                      <a:pt x="1185" y="1461"/>
                    </a:lnTo>
                    <a:lnTo>
                      <a:pt x="1185" y="1463"/>
                    </a:lnTo>
                    <a:lnTo>
                      <a:pt x="1183" y="1463"/>
                    </a:lnTo>
                    <a:lnTo>
                      <a:pt x="1183" y="1461"/>
                    </a:lnTo>
                    <a:close/>
                    <a:moveTo>
                      <a:pt x="1183" y="1298"/>
                    </a:moveTo>
                    <a:lnTo>
                      <a:pt x="1183" y="1299"/>
                    </a:lnTo>
                    <a:lnTo>
                      <a:pt x="1183" y="1298"/>
                    </a:lnTo>
                    <a:close/>
                    <a:moveTo>
                      <a:pt x="1227" y="1522"/>
                    </a:moveTo>
                    <a:lnTo>
                      <a:pt x="1229" y="1522"/>
                    </a:lnTo>
                    <a:lnTo>
                      <a:pt x="1229" y="1524"/>
                    </a:lnTo>
                    <a:lnTo>
                      <a:pt x="1227" y="1524"/>
                    </a:lnTo>
                    <a:lnTo>
                      <a:pt x="1227" y="1522"/>
                    </a:lnTo>
                    <a:close/>
                    <a:moveTo>
                      <a:pt x="1203" y="1541"/>
                    </a:moveTo>
                    <a:lnTo>
                      <a:pt x="1205" y="1541"/>
                    </a:lnTo>
                    <a:lnTo>
                      <a:pt x="1203" y="1541"/>
                    </a:lnTo>
                    <a:close/>
                    <a:moveTo>
                      <a:pt x="1256" y="1524"/>
                    </a:moveTo>
                    <a:lnTo>
                      <a:pt x="1256" y="1526"/>
                    </a:lnTo>
                    <a:lnTo>
                      <a:pt x="1256" y="1524"/>
                    </a:lnTo>
                    <a:close/>
                    <a:moveTo>
                      <a:pt x="1307" y="1643"/>
                    </a:moveTo>
                    <a:lnTo>
                      <a:pt x="1307" y="1645"/>
                    </a:lnTo>
                    <a:lnTo>
                      <a:pt x="1307" y="1643"/>
                    </a:lnTo>
                    <a:close/>
                    <a:moveTo>
                      <a:pt x="1210" y="1502"/>
                    </a:moveTo>
                    <a:lnTo>
                      <a:pt x="1212" y="1502"/>
                    </a:lnTo>
                    <a:lnTo>
                      <a:pt x="1210" y="1502"/>
                    </a:lnTo>
                    <a:close/>
                    <a:moveTo>
                      <a:pt x="1179" y="1432"/>
                    </a:moveTo>
                    <a:lnTo>
                      <a:pt x="1179" y="1434"/>
                    </a:lnTo>
                    <a:lnTo>
                      <a:pt x="1179" y="1432"/>
                    </a:lnTo>
                    <a:close/>
                    <a:moveTo>
                      <a:pt x="1365" y="1665"/>
                    </a:moveTo>
                    <a:lnTo>
                      <a:pt x="1365" y="1667"/>
                    </a:lnTo>
                    <a:lnTo>
                      <a:pt x="1365" y="1665"/>
                    </a:lnTo>
                    <a:close/>
                    <a:moveTo>
                      <a:pt x="1234" y="1077"/>
                    </a:moveTo>
                    <a:lnTo>
                      <a:pt x="1234" y="1078"/>
                    </a:lnTo>
                    <a:lnTo>
                      <a:pt x="1234" y="1077"/>
                    </a:lnTo>
                    <a:close/>
                    <a:moveTo>
                      <a:pt x="1173" y="1466"/>
                    </a:moveTo>
                    <a:lnTo>
                      <a:pt x="1173" y="1468"/>
                    </a:lnTo>
                    <a:lnTo>
                      <a:pt x="1173" y="1466"/>
                    </a:lnTo>
                    <a:close/>
                    <a:moveTo>
                      <a:pt x="1220" y="1558"/>
                    </a:moveTo>
                    <a:lnTo>
                      <a:pt x="1220" y="1560"/>
                    </a:lnTo>
                    <a:lnTo>
                      <a:pt x="1220" y="1558"/>
                    </a:lnTo>
                    <a:close/>
                    <a:moveTo>
                      <a:pt x="1300" y="1618"/>
                    </a:moveTo>
                    <a:lnTo>
                      <a:pt x="1300" y="1619"/>
                    </a:lnTo>
                    <a:lnTo>
                      <a:pt x="1300" y="1618"/>
                    </a:lnTo>
                    <a:close/>
                    <a:moveTo>
                      <a:pt x="1230" y="1558"/>
                    </a:moveTo>
                    <a:lnTo>
                      <a:pt x="1232" y="1558"/>
                    </a:lnTo>
                    <a:lnTo>
                      <a:pt x="1230" y="1558"/>
                    </a:lnTo>
                    <a:close/>
                    <a:moveTo>
                      <a:pt x="1212" y="1257"/>
                    </a:moveTo>
                    <a:lnTo>
                      <a:pt x="1212" y="1259"/>
                    </a:lnTo>
                    <a:lnTo>
                      <a:pt x="1212" y="1257"/>
                    </a:lnTo>
                    <a:close/>
                    <a:moveTo>
                      <a:pt x="1210" y="1509"/>
                    </a:moveTo>
                    <a:lnTo>
                      <a:pt x="1212" y="1509"/>
                    </a:lnTo>
                    <a:lnTo>
                      <a:pt x="1210" y="1509"/>
                    </a:lnTo>
                    <a:close/>
                    <a:moveTo>
                      <a:pt x="1219" y="1568"/>
                    </a:moveTo>
                    <a:lnTo>
                      <a:pt x="1220" y="1568"/>
                    </a:lnTo>
                    <a:lnTo>
                      <a:pt x="1219" y="1568"/>
                    </a:lnTo>
                    <a:close/>
                    <a:moveTo>
                      <a:pt x="1186" y="1383"/>
                    </a:moveTo>
                    <a:lnTo>
                      <a:pt x="1188" y="1383"/>
                    </a:lnTo>
                    <a:lnTo>
                      <a:pt x="1186" y="1383"/>
                    </a:lnTo>
                    <a:close/>
                    <a:moveTo>
                      <a:pt x="1183" y="1420"/>
                    </a:moveTo>
                    <a:lnTo>
                      <a:pt x="1185" y="1420"/>
                    </a:lnTo>
                    <a:lnTo>
                      <a:pt x="1183" y="1420"/>
                    </a:lnTo>
                    <a:close/>
                    <a:moveTo>
                      <a:pt x="1200" y="1145"/>
                    </a:moveTo>
                    <a:lnTo>
                      <a:pt x="1200" y="1146"/>
                    </a:lnTo>
                    <a:lnTo>
                      <a:pt x="1200" y="1145"/>
                    </a:lnTo>
                    <a:close/>
                    <a:moveTo>
                      <a:pt x="1205" y="1505"/>
                    </a:moveTo>
                    <a:lnTo>
                      <a:pt x="1205" y="1507"/>
                    </a:lnTo>
                    <a:lnTo>
                      <a:pt x="1205" y="1505"/>
                    </a:lnTo>
                    <a:close/>
                    <a:moveTo>
                      <a:pt x="1232" y="1575"/>
                    </a:moveTo>
                    <a:lnTo>
                      <a:pt x="1234" y="1575"/>
                    </a:lnTo>
                    <a:lnTo>
                      <a:pt x="1232" y="1575"/>
                    </a:lnTo>
                    <a:close/>
                    <a:moveTo>
                      <a:pt x="1234" y="1453"/>
                    </a:moveTo>
                    <a:lnTo>
                      <a:pt x="1234" y="1454"/>
                    </a:lnTo>
                    <a:lnTo>
                      <a:pt x="1234" y="1453"/>
                    </a:lnTo>
                    <a:close/>
                    <a:moveTo>
                      <a:pt x="1242" y="1497"/>
                    </a:moveTo>
                    <a:lnTo>
                      <a:pt x="1244" y="1497"/>
                    </a:lnTo>
                    <a:lnTo>
                      <a:pt x="1244" y="1498"/>
                    </a:lnTo>
                    <a:lnTo>
                      <a:pt x="1242" y="1498"/>
                    </a:lnTo>
                    <a:lnTo>
                      <a:pt x="1242" y="1497"/>
                    </a:lnTo>
                    <a:close/>
                    <a:moveTo>
                      <a:pt x="1219" y="1505"/>
                    </a:moveTo>
                    <a:lnTo>
                      <a:pt x="1220" y="1505"/>
                    </a:lnTo>
                    <a:lnTo>
                      <a:pt x="1219" y="1505"/>
                    </a:lnTo>
                    <a:close/>
                    <a:moveTo>
                      <a:pt x="1191" y="1117"/>
                    </a:moveTo>
                    <a:lnTo>
                      <a:pt x="1191" y="1119"/>
                    </a:lnTo>
                    <a:lnTo>
                      <a:pt x="1191" y="1117"/>
                    </a:lnTo>
                    <a:close/>
                    <a:moveTo>
                      <a:pt x="1166" y="1361"/>
                    </a:moveTo>
                    <a:lnTo>
                      <a:pt x="1166" y="1362"/>
                    </a:lnTo>
                    <a:lnTo>
                      <a:pt x="1166" y="1361"/>
                    </a:lnTo>
                    <a:close/>
                    <a:moveTo>
                      <a:pt x="1147" y="1286"/>
                    </a:moveTo>
                    <a:lnTo>
                      <a:pt x="1149" y="1286"/>
                    </a:lnTo>
                    <a:lnTo>
                      <a:pt x="1147" y="1286"/>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9" name="Freeform 22">
                <a:extLst>
                  <a:ext uri="{FF2B5EF4-FFF2-40B4-BE49-F238E27FC236}">
                    <a16:creationId xmlns:a16="http://schemas.microsoft.com/office/drawing/2014/main" id="{ABB17541-DEE1-3AAC-CA02-947BFF781BB9}"/>
                  </a:ext>
                </a:extLst>
              </p:cNvPr>
              <p:cNvSpPr>
                <a:spLocks noEditPoints="1"/>
              </p:cNvSpPr>
              <p:nvPr/>
            </p:nvSpPr>
            <p:spPr bwMode="auto">
              <a:xfrm>
                <a:off x="5567851" y="2812604"/>
                <a:ext cx="147740" cy="176230"/>
              </a:xfrm>
              <a:custGeom>
                <a:avLst/>
                <a:gdLst>
                  <a:gd name="T0" fmla="*/ 304 w 503"/>
                  <a:gd name="T1" fmla="*/ 93 h 600"/>
                  <a:gd name="T2" fmla="*/ 290 w 503"/>
                  <a:gd name="T3" fmla="*/ 132 h 600"/>
                  <a:gd name="T4" fmla="*/ 301 w 503"/>
                  <a:gd name="T5" fmla="*/ 146 h 600"/>
                  <a:gd name="T6" fmla="*/ 312 w 503"/>
                  <a:gd name="T7" fmla="*/ 187 h 600"/>
                  <a:gd name="T8" fmla="*/ 326 w 503"/>
                  <a:gd name="T9" fmla="*/ 217 h 600"/>
                  <a:gd name="T10" fmla="*/ 365 w 503"/>
                  <a:gd name="T11" fmla="*/ 219 h 600"/>
                  <a:gd name="T12" fmla="*/ 420 w 503"/>
                  <a:gd name="T13" fmla="*/ 251 h 600"/>
                  <a:gd name="T14" fmla="*/ 464 w 503"/>
                  <a:gd name="T15" fmla="*/ 246 h 600"/>
                  <a:gd name="T16" fmla="*/ 476 w 503"/>
                  <a:gd name="T17" fmla="*/ 267 h 600"/>
                  <a:gd name="T18" fmla="*/ 469 w 503"/>
                  <a:gd name="T19" fmla="*/ 301 h 600"/>
                  <a:gd name="T20" fmla="*/ 482 w 503"/>
                  <a:gd name="T21" fmla="*/ 335 h 600"/>
                  <a:gd name="T22" fmla="*/ 482 w 503"/>
                  <a:gd name="T23" fmla="*/ 369 h 600"/>
                  <a:gd name="T24" fmla="*/ 499 w 503"/>
                  <a:gd name="T25" fmla="*/ 401 h 600"/>
                  <a:gd name="T26" fmla="*/ 493 w 503"/>
                  <a:gd name="T27" fmla="*/ 398 h 600"/>
                  <a:gd name="T28" fmla="*/ 469 w 503"/>
                  <a:gd name="T29" fmla="*/ 393 h 600"/>
                  <a:gd name="T30" fmla="*/ 457 w 503"/>
                  <a:gd name="T31" fmla="*/ 398 h 600"/>
                  <a:gd name="T32" fmla="*/ 401 w 503"/>
                  <a:gd name="T33" fmla="*/ 415 h 600"/>
                  <a:gd name="T34" fmla="*/ 426 w 503"/>
                  <a:gd name="T35" fmla="*/ 435 h 600"/>
                  <a:gd name="T36" fmla="*/ 397 w 503"/>
                  <a:gd name="T37" fmla="*/ 437 h 600"/>
                  <a:gd name="T38" fmla="*/ 411 w 503"/>
                  <a:gd name="T39" fmla="*/ 478 h 600"/>
                  <a:gd name="T40" fmla="*/ 411 w 503"/>
                  <a:gd name="T41" fmla="*/ 529 h 600"/>
                  <a:gd name="T42" fmla="*/ 375 w 503"/>
                  <a:gd name="T43" fmla="*/ 587 h 600"/>
                  <a:gd name="T44" fmla="*/ 386 w 503"/>
                  <a:gd name="T45" fmla="*/ 542 h 600"/>
                  <a:gd name="T46" fmla="*/ 358 w 503"/>
                  <a:gd name="T47" fmla="*/ 534 h 600"/>
                  <a:gd name="T48" fmla="*/ 336 w 503"/>
                  <a:gd name="T49" fmla="*/ 530 h 600"/>
                  <a:gd name="T50" fmla="*/ 309 w 503"/>
                  <a:gd name="T51" fmla="*/ 537 h 600"/>
                  <a:gd name="T52" fmla="*/ 292 w 503"/>
                  <a:gd name="T53" fmla="*/ 520 h 600"/>
                  <a:gd name="T54" fmla="*/ 275 w 503"/>
                  <a:gd name="T55" fmla="*/ 502 h 600"/>
                  <a:gd name="T56" fmla="*/ 253 w 503"/>
                  <a:gd name="T57" fmla="*/ 488 h 600"/>
                  <a:gd name="T58" fmla="*/ 238 w 503"/>
                  <a:gd name="T59" fmla="*/ 469 h 600"/>
                  <a:gd name="T60" fmla="*/ 207 w 503"/>
                  <a:gd name="T61" fmla="*/ 457 h 600"/>
                  <a:gd name="T62" fmla="*/ 175 w 503"/>
                  <a:gd name="T63" fmla="*/ 449 h 600"/>
                  <a:gd name="T64" fmla="*/ 144 w 503"/>
                  <a:gd name="T65" fmla="*/ 442 h 600"/>
                  <a:gd name="T66" fmla="*/ 120 w 503"/>
                  <a:gd name="T67" fmla="*/ 425 h 600"/>
                  <a:gd name="T68" fmla="*/ 91 w 503"/>
                  <a:gd name="T69" fmla="*/ 401 h 600"/>
                  <a:gd name="T70" fmla="*/ 107 w 503"/>
                  <a:gd name="T71" fmla="*/ 391 h 600"/>
                  <a:gd name="T72" fmla="*/ 110 w 503"/>
                  <a:gd name="T73" fmla="*/ 369 h 600"/>
                  <a:gd name="T74" fmla="*/ 120 w 503"/>
                  <a:gd name="T75" fmla="*/ 367 h 600"/>
                  <a:gd name="T76" fmla="*/ 136 w 503"/>
                  <a:gd name="T77" fmla="*/ 364 h 600"/>
                  <a:gd name="T78" fmla="*/ 141 w 503"/>
                  <a:gd name="T79" fmla="*/ 347 h 600"/>
                  <a:gd name="T80" fmla="*/ 154 w 503"/>
                  <a:gd name="T81" fmla="*/ 328 h 600"/>
                  <a:gd name="T82" fmla="*/ 149 w 503"/>
                  <a:gd name="T83" fmla="*/ 323 h 600"/>
                  <a:gd name="T84" fmla="*/ 149 w 503"/>
                  <a:gd name="T85" fmla="*/ 303 h 600"/>
                  <a:gd name="T86" fmla="*/ 142 w 503"/>
                  <a:gd name="T87" fmla="*/ 270 h 600"/>
                  <a:gd name="T88" fmla="*/ 146 w 503"/>
                  <a:gd name="T89" fmla="*/ 245 h 600"/>
                  <a:gd name="T90" fmla="*/ 136 w 503"/>
                  <a:gd name="T91" fmla="*/ 223 h 600"/>
                  <a:gd name="T92" fmla="*/ 141 w 503"/>
                  <a:gd name="T93" fmla="*/ 202 h 600"/>
                  <a:gd name="T94" fmla="*/ 148 w 503"/>
                  <a:gd name="T95" fmla="*/ 173 h 600"/>
                  <a:gd name="T96" fmla="*/ 161 w 503"/>
                  <a:gd name="T97" fmla="*/ 178 h 600"/>
                  <a:gd name="T98" fmla="*/ 168 w 503"/>
                  <a:gd name="T99" fmla="*/ 187 h 600"/>
                  <a:gd name="T100" fmla="*/ 180 w 503"/>
                  <a:gd name="T101" fmla="*/ 156 h 600"/>
                  <a:gd name="T102" fmla="*/ 207 w 503"/>
                  <a:gd name="T103" fmla="*/ 136 h 600"/>
                  <a:gd name="T104" fmla="*/ 209 w 503"/>
                  <a:gd name="T105" fmla="*/ 110 h 600"/>
                  <a:gd name="T106" fmla="*/ 212 w 503"/>
                  <a:gd name="T107" fmla="*/ 97 h 600"/>
                  <a:gd name="T108" fmla="*/ 243 w 503"/>
                  <a:gd name="T109" fmla="*/ 83 h 600"/>
                  <a:gd name="T110" fmla="*/ 267 w 503"/>
                  <a:gd name="T111" fmla="*/ 73 h 600"/>
                  <a:gd name="T112" fmla="*/ 304 w 503"/>
                  <a:gd name="T113" fmla="*/ 59 h 600"/>
                  <a:gd name="T114" fmla="*/ 333 w 503"/>
                  <a:gd name="T115" fmla="*/ 41 h 600"/>
                  <a:gd name="T116" fmla="*/ 340 w 503"/>
                  <a:gd name="T117" fmla="*/ 34 h 600"/>
                  <a:gd name="T118" fmla="*/ 350 w 503"/>
                  <a:gd name="T119" fmla="*/ 54 h 600"/>
                  <a:gd name="T120" fmla="*/ 158 w 503"/>
                  <a:gd name="T121" fmla="*/ 325 h 600"/>
                  <a:gd name="T122" fmla="*/ 100 w 503"/>
                  <a:gd name="T123" fmla="*/ 396 h 600"/>
                  <a:gd name="T124" fmla="*/ 142 w 503"/>
                  <a:gd name="T125" fmla="*/ 318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3" h="600">
                    <a:moveTo>
                      <a:pt x="350" y="54"/>
                    </a:moveTo>
                    <a:lnTo>
                      <a:pt x="346" y="56"/>
                    </a:lnTo>
                    <a:lnTo>
                      <a:pt x="341" y="58"/>
                    </a:lnTo>
                    <a:lnTo>
                      <a:pt x="336" y="59"/>
                    </a:lnTo>
                    <a:lnTo>
                      <a:pt x="329" y="61"/>
                    </a:lnTo>
                    <a:lnTo>
                      <a:pt x="329" y="63"/>
                    </a:lnTo>
                    <a:lnTo>
                      <a:pt x="328" y="64"/>
                    </a:lnTo>
                    <a:lnTo>
                      <a:pt x="328" y="66"/>
                    </a:lnTo>
                    <a:lnTo>
                      <a:pt x="326" y="68"/>
                    </a:lnTo>
                    <a:lnTo>
                      <a:pt x="326" y="69"/>
                    </a:lnTo>
                    <a:lnTo>
                      <a:pt x="324" y="69"/>
                    </a:lnTo>
                    <a:lnTo>
                      <a:pt x="324" y="71"/>
                    </a:lnTo>
                    <a:lnTo>
                      <a:pt x="323" y="75"/>
                    </a:lnTo>
                    <a:lnTo>
                      <a:pt x="321" y="78"/>
                    </a:lnTo>
                    <a:lnTo>
                      <a:pt x="319" y="78"/>
                    </a:lnTo>
                    <a:lnTo>
                      <a:pt x="318" y="78"/>
                    </a:lnTo>
                    <a:lnTo>
                      <a:pt x="316" y="78"/>
                    </a:lnTo>
                    <a:lnTo>
                      <a:pt x="314" y="78"/>
                    </a:lnTo>
                    <a:lnTo>
                      <a:pt x="314" y="80"/>
                    </a:lnTo>
                    <a:lnTo>
                      <a:pt x="314" y="78"/>
                    </a:lnTo>
                    <a:lnTo>
                      <a:pt x="312" y="80"/>
                    </a:lnTo>
                    <a:lnTo>
                      <a:pt x="312" y="81"/>
                    </a:lnTo>
                    <a:lnTo>
                      <a:pt x="311" y="83"/>
                    </a:lnTo>
                    <a:lnTo>
                      <a:pt x="311" y="85"/>
                    </a:lnTo>
                    <a:lnTo>
                      <a:pt x="309" y="86"/>
                    </a:lnTo>
                    <a:lnTo>
                      <a:pt x="307" y="86"/>
                    </a:lnTo>
                    <a:lnTo>
                      <a:pt x="306" y="88"/>
                    </a:lnTo>
                    <a:lnTo>
                      <a:pt x="306" y="90"/>
                    </a:lnTo>
                    <a:lnTo>
                      <a:pt x="306" y="92"/>
                    </a:lnTo>
                    <a:lnTo>
                      <a:pt x="304" y="92"/>
                    </a:lnTo>
                    <a:lnTo>
                      <a:pt x="304" y="93"/>
                    </a:lnTo>
                    <a:lnTo>
                      <a:pt x="304" y="95"/>
                    </a:lnTo>
                    <a:lnTo>
                      <a:pt x="304" y="97"/>
                    </a:lnTo>
                    <a:lnTo>
                      <a:pt x="302" y="97"/>
                    </a:lnTo>
                    <a:lnTo>
                      <a:pt x="301" y="98"/>
                    </a:lnTo>
                    <a:lnTo>
                      <a:pt x="301" y="100"/>
                    </a:lnTo>
                    <a:lnTo>
                      <a:pt x="301" y="102"/>
                    </a:lnTo>
                    <a:lnTo>
                      <a:pt x="299" y="102"/>
                    </a:lnTo>
                    <a:lnTo>
                      <a:pt x="299" y="103"/>
                    </a:lnTo>
                    <a:lnTo>
                      <a:pt x="299" y="105"/>
                    </a:lnTo>
                    <a:lnTo>
                      <a:pt x="299" y="107"/>
                    </a:lnTo>
                    <a:lnTo>
                      <a:pt x="299" y="109"/>
                    </a:lnTo>
                    <a:lnTo>
                      <a:pt x="299" y="110"/>
                    </a:lnTo>
                    <a:lnTo>
                      <a:pt x="299" y="112"/>
                    </a:lnTo>
                    <a:lnTo>
                      <a:pt x="297" y="112"/>
                    </a:lnTo>
                    <a:lnTo>
                      <a:pt x="299" y="114"/>
                    </a:lnTo>
                    <a:lnTo>
                      <a:pt x="297" y="114"/>
                    </a:lnTo>
                    <a:lnTo>
                      <a:pt x="297" y="115"/>
                    </a:lnTo>
                    <a:lnTo>
                      <a:pt x="297" y="117"/>
                    </a:lnTo>
                    <a:lnTo>
                      <a:pt x="295" y="117"/>
                    </a:lnTo>
                    <a:lnTo>
                      <a:pt x="295" y="119"/>
                    </a:lnTo>
                    <a:lnTo>
                      <a:pt x="295" y="120"/>
                    </a:lnTo>
                    <a:lnTo>
                      <a:pt x="295" y="122"/>
                    </a:lnTo>
                    <a:lnTo>
                      <a:pt x="297" y="122"/>
                    </a:lnTo>
                    <a:lnTo>
                      <a:pt x="297" y="124"/>
                    </a:lnTo>
                    <a:lnTo>
                      <a:pt x="295" y="124"/>
                    </a:lnTo>
                    <a:lnTo>
                      <a:pt x="295" y="126"/>
                    </a:lnTo>
                    <a:lnTo>
                      <a:pt x="294" y="127"/>
                    </a:lnTo>
                    <a:lnTo>
                      <a:pt x="294" y="129"/>
                    </a:lnTo>
                    <a:lnTo>
                      <a:pt x="292" y="129"/>
                    </a:lnTo>
                    <a:lnTo>
                      <a:pt x="292" y="131"/>
                    </a:lnTo>
                    <a:lnTo>
                      <a:pt x="290" y="132"/>
                    </a:lnTo>
                    <a:lnTo>
                      <a:pt x="290" y="134"/>
                    </a:lnTo>
                    <a:lnTo>
                      <a:pt x="289" y="134"/>
                    </a:lnTo>
                    <a:lnTo>
                      <a:pt x="289" y="136"/>
                    </a:lnTo>
                    <a:lnTo>
                      <a:pt x="289" y="138"/>
                    </a:lnTo>
                    <a:lnTo>
                      <a:pt x="287" y="138"/>
                    </a:lnTo>
                    <a:lnTo>
                      <a:pt x="287" y="139"/>
                    </a:lnTo>
                    <a:lnTo>
                      <a:pt x="285" y="141"/>
                    </a:lnTo>
                    <a:lnTo>
                      <a:pt x="285" y="143"/>
                    </a:lnTo>
                    <a:lnTo>
                      <a:pt x="284" y="143"/>
                    </a:lnTo>
                    <a:lnTo>
                      <a:pt x="284" y="144"/>
                    </a:lnTo>
                    <a:lnTo>
                      <a:pt x="284" y="146"/>
                    </a:lnTo>
                    <a:lnTo>
                      <a:pt x="285" y="146"/>
                    </a:lnTo>
                    <a:lnTo>
                      <a:pt x="287" y="146"/>
                    </a:lnTo>
                    <a:lnTo>
                      <a:pt x="289" y="146"/>
                    </a:lnTo>
                    <a:lnTo>
                      <a:pt x="290" y="144"/>
                    </a:lnTo>
                    <a:lnTo>
                      <a:pt x="292" y="144"/>
                    </a:lnTo>
                    <a:lnTo>
                      <a:pt x="292" y="143"/>
                    </a:lnTo>
                    <a:lnTo>
                      <a:pt x="294" y="143"/>
                    </a:lnTo>
                    <a:lnTo>
                      <a:pt x="295" y="141"/>
                    </a:lnTo>
                    <a:lnTo>
                      <a:pt x="295" y="143"/>
                    </a:lnTo>
                    <a:lnTo>
                      <a:pt x="295" y="144"/>
                    </a:lnTo>
                    <a:lnTo>
                      <a:pt x="295" y="146"/>
                    </a:lnTo>
                    <a:lnTo>
                      <a:pt x="297" y="146"/>
                    </a:lnTo>
                    <a:lnTo>
                      <a:pt x="295" y="146"/>
                    </a:lnTo>
                    <a:lnTo>
                      <a:pt x="295" y="148"/>
                    </a:lnTo>
                    <a:lnTo>
                      <a:pt x="297" y="148"/>
                    </a:lnTo>
                    <a:lnTo>
                      <a:pt x="297" y="149"/>
                    </a:lnTo>
                    <a:lnTo>
                      <a:pt x="297" y="148"/>
                    </a:lnTo>
                    <a:lnTo>
                      <a:pt x="299" y="148"/>
                    </a:lnTo>
                    <a:lnTo>
                      <a:pt x="301" y="148"/>
                    </a:lnTo>
                    <a:lnTo>
                      <a:pt x="301" y="146"/>
                    </a:lnTo>
                    <a:lnTo>
                      <a:pt x="301" y="148"/>
                    </a:lnTo>
                    <a:lnTo>
                      <a:pt x="302" y="148"/>
                    </a:lnTo>
                    <a:lnTo>
                      <a:pt x="302" y="149"/>
                    </a:lnTo>
                    <a:lnTo>
                      <a:pt x="304" y="151"/>
                    </a:lnTo>
                    <a:lnTo>
                      <a:pt x="304" y="153"/>
                    </a:lnTo>
                    <a:lnTo>
                      <a:pt x="304" y="155"/>
                    </a:lnTo>
                    <a:lnTo>
                      <a:pt x="306" y="160"/>
                    </a:lnTo>
                    <a:lnTo>
                      <a:pt x="306" y="163"/>
                    </a:lnTo>
                    <a:lnTo>
                      <a:pt x="307" y="165"/>
                    </a:lnTo>
                    <a:lnTo>
                      <a:pt x="307" y="166"/>
                    </a:lnTo>
                    <a:lnTo>
                      <a:pt x="309" y="166"/>
                    </a:lnTo>
                    <a:lnTo>
                      <a:pt x="309" y="168"/>
                    </a:lnTo>
                    <a:lnTo>
                      <a:pt x="311" y="168"/>
                    </a:lnTo>
                    <a:lnTo>
                      <a:pt x="312" y="170"/>
                    </a:lnTo>
                    <a:lnTo>
                      <a:pt x="312" y="172"/>
                    </a:lnTo>
                    <a:lnTo>
                      <a:pt x="314" y="173"/>
                    </a:lnTo>
                    <a:lnTo>
                      <a:pt x="316" y="173"/>
                    </a:lnTo>
                    <a:lnTo>
                      <a:pt x="316" y="175"/>
                    </a:lnTo>
                    <a:lnTo>
                      <a:pt x="316" y="177"/>
                    </a:lnTo>
                    <a:lnTo>
                      <a:pt x="316" y="178"/>
                    </a:lnTo>
                    <a:lnTo>
                      <a:pt x="316" y="180"/>
                    </a:lnTo>
                    <a:lnTo>
                      <a:pt x="318" y="180"/>
                    </a:lnTo>
                    <a:lnTo>
                      <a:pt x="316" y="180"/>
                    </a:lnTo>
                    <a:lnTo>
                      <a:pt x="316" y="182"/>
                    </a:lnTo>
                    <a:lnTo>
                      <a:pt x="316" y="183"/>
                    </a:lnTo>
                    <a:lnTo>
                      <a:pt x="318" y="183"/>
                    </a:lnTo>
                    <a:lnTo>
                      <a:pt x="318" y="185"/>
                    </a:lnTo>
                    <a:lnTo>
                      <a:pt x="316" y="185"/>
                    </a:lnTo>
                    <a:lnTo>
                      <a:pt x="314" y="185"/>
                    </a:lnTo>
                    <a:lnTo>
                      <a:pt x="314" y="187"/>
                    </a:lnTo>
                    <a:lnTo>
                      <a:pt x="312" y="187"/>
                    </a:lnTo>
                    <a:lnTo>
                      <a:pt x="312" y="189"/>
                    </a:lnTo>
                    <a:lnTo>
                      <a:pt x="312" y="190"/>
                    </a:lnTo>
                    <a:lnTo>
                      <a:pt x="314" y="190"/>
                    </a:lnTo>
                    <a:lnTo>
                      <a:pt x="314" y="192"/>
                    </a:lnTo>
                    <a:lnTo>
                      <a:pt x="312" y="194"/>
                    </a:lnTo>
                    <a:lnTo>
                      <a:pt x="312" y="195"/>
                    </a:lnTo>
                    <a:lnTo>
                      <a:pt x="312" y="197"/>
                    </a:lnTo>
                    <a:lnTo>
                      <a:pt x="312" y="199"/>
                    </a:lnTo>
                    <a:lnTo>
                      <a:pt x="312" y="200"/>
                    </a:lnTo>
                    <a:lnTo>
                      <a:pt x="314" y="200"/>
                    </a:lnTo>
                    <a:lnTo>
                      <a:pt x="314" y="202"/>
                    </a:lnTo>
                    <a:lnTo>
                      <a:pt x="312" y="202"/>
                    </a:lnTo>
                    <a:lnTo>
                      <a:pt x="312" y="204"/>
                    </a:lnTo>
                    <a:lnTo>
                      <a:pt x="314" y="204"/>
                    </a:lnTo>
                    <a:lnTo>
                      <a:pt x="314" y="206"/>
                    </a:lnTo>
                    <a:lnTo>
                      <a:pt x="316" y="206"/>
                    </a:lnTo>
                    <a:lnTo>
                      <a:pt x="316" y="207"/>
                    </a:lnTo>
                    <a:lnTo>
                      <a:pt x="318" y="206"/>
                    </a:lnTo>
                    <a:lnTo>
                      <a:pt x="318" y="207"/>
                    </a:lnTo>
                    <a:lnTo>
                      <a:pt x="319" y="207"/>
                    </a:lnTo>
                    <a:lnTo>
                      <a:pt x="321" y="207"/>
                    </a:lnTo>
                    <a:lnTo>
                      <a:pt x="321" y="206"/>
                    </a:lnTo>
                    <a:lnTo>
                      <a:pt x="323" y="207"/>
                    </a:lnTo>
                    <a:lnTo>
                      <a:pt x="323" y="209"/>
                    </a:lnTo>
                    <a:lnTo>
                      <a:pt x="324" y="209"/>
                    </a:lnTo>
                    <a:lnTo>
                      <a:pt x="323" y="209"/>
                    </a:lnTo>
                    <a:lnTo>
                      <a:pt x="323" y="211"/>
                    </a:lnTo>
                    <a:lnTo>
                      <a:pt x="323" y="212"/>
                    </a:lnTo>
                    <a:lnTo>
                      <a:pt x="324" y="212"/>
                    </a:lnTo>
                    <a:lnTo>
                      <a:pt x="324" y="214"/>
                    </a:lnTo>
                    <a:lnTo>
                      <a:pt x="326" y="217"/>
                    </a:lnTo>
                    <a:lnTo>
                      <a:pt x="328" y="219"/>
                    </a:lnTo>
                    <a:lnTo>
                      <a:pt x="329" y="219"/>
                    </a:lnTo>
                    <a:lnTo>
                      <a:pt x="331" y="219"/>
                    </a:lnTo>
                    <a:lnTo>
                      <a:pt x="333" y="219"/>
                    </a:lnTo>
                    <a:lnTo>
                      <a:pt x="335" y="219"/>
                    </a:lnTo>
                    <a:lnTo>
                      <a:pt x="335" y="217"/>
                    </a:lnTo>
                    <a:lnTo>
                      <a:pt x="336" y="217"/>
                    </a:lnTo>
                    <a:lnTo>
                      <a:pt x="338" y="217"/>
                    </a:lnTo>
                    <a:lnTo>
                      <a:pt x="338" y="219"/>
                    </a:lnTo>
                    <a:lnTo>
                      <a:pt x="340" y="219"/>
                    </a:lnTo>
                    <a:lnTo>
                      <a:pt x="341" y="217"/>
                    </a:lnTo>
                    <a:lnTo>
                      <a:pt x="341" y="219"/>
                    </a:lnTo>
                    <a:lnTo>
                      <a:pt x="343" y="217"/>
                    </a:lnTo>
                    <a:lnTo>
                      <a:pt x="343" y="219"/>
                    </a:lnTo>
                    <a:lnTo>
                      <a:pt x="345" y="219"/>
                    </a:lnTo>
                    <a:lnTo>
                      <a:pt x="346" y="219"/>
                    </a:lnTo>
                    <a:lnTo>
                      <a:pt x="348" y="219"/>
                    </a:lnTo>
                    <a:lnTo>
                      <a:pt x="350" y="219"/>
                    </a:lnTo>
                    <a:lnTo>
                      <a:pt x="352" y="219"/>
                    </a:lnTo>
                    <a:lnTo>
                      <a:pt x="353" y="219"/>
                    </a:lnTo>
                    <a:lnTo>
                      <a:pt x="355" y="219"/>
                    </a:lnTo>
                    <a:lnTo>
                      <a:pt x="357" y="219"/>
                    </a:lnTo>
                    <a:lnTo>
                      <a:pt x="358" y="219"/>
                    </a:lnTo>
                    <a:lnTo>
                      <a:pt x="358" y="221"/>
                    </a:lnTo>
                    <a:lnTo>
                      <a:pt x="360" y="221"/>
                    </a:lnTo>
                    <a:lnTo>
                      <a:pt x="362" y="221"/>
                    </a:lnTo>
                    <a:lnTo>
                      <a:pt x="363" y="221"/>
                    </a:lnTo>
                    <a:lnTo>
                      <a:pt x="363" y="219"/>
                    </a:lnTo>
                    <a:lnTo>
                      <a:pt x="365" y="219"/>
                    </a:lnTo>
                    <a:lnTo>
                      <a:pt x="365" y="217"/>
                    </a:lnTo>
                    <a:lnTo>
                      <a:pt x="365" y="219"/>
                    </a:lnTo>
                    <a:lnTo>
                      <a:pt x="367" y="217"/>
                    </a:lnTo>
                    <a:lnTo>
                      <a:pt x="369" y="217"/>
                    </a:lnTo>
                    <a:lnTo>
                      <a:pt x="370" y="217"/>
                    </a:lnTo>
                    <a:lnTo>
                      <a:pt x="370" y="216"/>
                    </a:lnTo>
                    <a:lnTo>
                      <a:pt x="372" y="217"/>
                    </a:lnTo>
                    <a:lnTo>
                      <a:pt x="374" y="216"/>
                    </a:lnTo>
                    <a:lnTo>
                      <a:pt x="374" y="217"/>
                    </a:lnTo>
                    <a:lnTo>
                      <a:pt x="375" y="217"/>
                    </a:lnTo>
                    <a:lnTo>
                      <a:pt x="377" y="217"/>
                    </a:lnTo>
                    <a:lnTo>
                      <a:pt x="379" y="217"/>
                    </a:lnTo>
                    <a:lnTo>
                      <a:pt x="379" y="219"/>
                    </a:lnTo>
                    <a:lnTo>
                      <a:pt x="380" y="219"/>
                    </a:lnTo>
                    <a:lnTo>
                      <a:pt x="382" y="219"/>
                    </a:lnTo>
                    <a:lnTo>
                      <a:pt x="382" y="221"/>
                    </a:lnTo>
                    <a:lnTo>
                      <a:pt x="384" y="221"/>
                    </a:lnTo>
                    <a:lnTo>
                      <a:pt x="384" y="223"/>
                    </a:lnTo>
                    <a:lnTo>
                      <a:pt x="386" y="223"/>
                    </a:lnTo>
                    <a:lnTo>
                      <a:pt x="387" y="223"/>
                    </a:lnTo>
                    <a:lnTo>
                      <a:pt x="387" y="221"/>
                    </a:lnTo>
                    <a:lnTo>
                      <a:pt x="389" y="221"/>
                    </a:lnTo>
                    <a:lnTo>
                      <a:pt x="391" y="221"/>
                    </a:lnTo>
                    <a:lnTo>
                      <a:pt x="392" y="221"/>
                    </a:lnTo>
                    <a:lnTo>
                      <a:pt x="394" y="223"/>
                    </a:lnTo>
                    <a:lnTo>
                      <a:pt x="397" y="228"/>
                    </a:lnTo>
                    <a:lnTo>
                      <a:pt x="404" y="236"/>
                    </a:lnTo>
                    <a:lnTo>
                      <a:pt x="411" y="243"/>
                    </a:lnTo>
                    <a:lnTo>
                      <a:pt x="411" y="245"/>
                    </a:lnTo>
                    <a:lnTo>
                      <a:pt x="416" y="250"/>
                    </a:lnTo>
                    <a:lnTo>
                      <a:pt x="418" y="250"/>
                    </a:lnTo>
                    <a:lnTo>
                      <a:pt x="420" y="250"/>
                    </a:lnTo>
                    <a:lnTo>
                      <a:pt x="420" y="251"/>
                    </a:lnTo>
                    <a:lnTo>
                      <a:pt x="421" y="251"/>
                    </a:lnTo>
                    <a:lnTo>
                      <a:pt x="423" y="250"/>
                    </a:lnTo>
                    <a:lnTo>
                      <a:pt x="425" y="248"/>
                    </a:lnTo>
                    <a:lnTo>
                      <a:pt x="426" y="248"/>
                    </a:lnTo>
                    <a:lnTo>
                      <a:pt x="426" y="246"/>
                    </a:lnTo>
                    <a:lnTo>
                      <a:pt x="428" y="246"/>
                    </a:lnTo>
                    <a:lnTo>
                      <a:pt x="430" y="246"/>
                    </a:lnTo>
                    <a:lnTo>
                      <a:pt x="430" y="248"/>
                    </a:lnTo>
                    <a:lnTo>
                      <a:pt x="431" y="246"/>
                    </a:lnTo>
                    <a:lnTo>
                      <a:pt x="431" y="248"/>
                    </a:lnTo>
                    <a:lnTo>
                      <a:pt x="433" y="248"/>
                    </a:lnTo>
                    <a:lnTo>
                      <a:pt x="435" y="248"/>
                    </a:lnTo>
                    <a:lnTo>
                      <a:pt x="437" y="248"/>
                    </a:lnTo>
                    <a:lnTo>
                      <a:pt x="438" y="248"/>
                    </a:lnTo>
                    <a:lnTo>
                      <a:pt x="440" y="248"/>
                    </a:lnTo>
                    <a:lnTo>
                      <a:pt x="440" y="250"/>
                    </a:lnTo>
                    <a:lnTo>
                      <a:pt x="442" y="250"/>
                    </a:lnTo>
                    <a:lnTo>
                      <a:pt x="443" y="248"/>
                    </a:lnTo>
                    <a:lnTo>
                      <a:pt x="445" y="248"/>
                    </a:lnTo>
                    <a:lnTo>
                      <a:pt x="447" y="248"/>
                    </a:lnTo>
                    <a:lnTo>
                      <a:pt x="448" y="248"/>
                    </a:lnTo>
                    <a:lnTo>
                      <a:pt x="450" y="248"/>
                    </a:lnTo>
                    <a:lnTo>
                      <a:pt x="452" y="248"/>
                    </a:lnTo>
                    <a:lnTo>
                      <a:pt x="454" y="248"/>
                    </a:lnTo>
                    <a:lnTo>
                      <a:pt x="455" y="248"/>
                    </a:lnTo>
                    <a:lnTo>
                      <a:pt x="455" y="246"/>
                    </a:lnTo>
                    <a:lnTo>
                      <a:pt x="457" y="246"/>
                    </a:lnTo>
                    <a:lnTo>
                      <a:pt x="459" y="246"/>
                    </a:lnTo>
                    <a:lnTo>
                      <a:pt x="460" y="246"/>
                    </a:lnTo>
                    <a:lnTo>
                      <a:pt x="462" y="246"/>
                    </a:lnTo>
                    <a:lnTo>
                      <a:pt x="464" y="246"/>
                    </a:lnTo>
                    <a:lnTo>
                      <a:pt x="465" y="246"/>
                    </a:lnTo>
                    <a:lnTo>
                      <a:pt x="467" y="245"/>
                    </a:lnTo>
                    <a:lnTo>
                      <a:pt x="469" y="243"/>
                    </a:lnTo>
                    <a:lnTo>
                      <a:pt x="471" y="243"/>
                    </a:lnTo>
                    <a:lnTo>
                      <a:pt x="472" y="243"/>
                    </a:lnTo>
                    <a:lnTo>
                      <a:pt x="472" y="245"/>
                    </a:lnTo>
                    <a:lnTo>
                      <a:pt x="472" y="243"/>
                    </a:lnTo>
                    <a:lnTo>
                      <a:pt x="474" y="243"/>
                    </a:lnTo>
                    <a:lnTo>
                      <a:pt x="474" y="245"/>
                    </a:lnTo>
                    <a:lnTo>
                      <a:pt x="476" y="245"/>
                    </a:lnTo>
                    <a:lnTo>
                      <a:pt x="477" y="245"/>
                    </a:lnTo>
                    <a:lnTo>
                      <a:pt x="479" y="245"/>
                    </a:lnTo>
                    <a:lnTo>
                      <a:pt x="481" y="246"/>
                    </a:lnTo>
                    <a:lnTo>
                      <a:pt x="482" y="246"/>
                    </a:lnTo>
                    <a:lnTo>
                      <a:pt x="482" y="248"/>
                    </a:lnTo>
                    <a:lnTo>
                      <a:pt x="481" y="248"/>
                    </a:lnTo>
                    <a:lnTo>
                      <a:pt x="481" y="250"/>
                    </a:lnTo>
                    <a:lnTo>
                      <a:pt x="482" y="251"/>
                    </a:lnTo>
                    <a:lnTo>
                      <a:pt x="482" y="253"/>
                    </a:lnTo>
                    <a:lnTo>
                      <a:pt x="484" y="253"/>
                    </a:lnTo>
                    <a:lnTo>
                      <a:pt x="484" y="255"/>
                    </a:lnTo>
                    <a:lnTo>
                      <a:pt x="482" y="255"/>
                    </a:lnTo>
                    <a:lnTo>
                      <a:pt x="481" y="257"/>
                    </a:lnTo>
                    <a:lnTo>
                      <a:pt x="479" y="257"/>
                    </a:lnTo>
                    <a:lnTo>
                      <a:pt x="479" y="258"/>
                    </a:lnTo>
                    <a:lnTo>
                      <a:pt x="477" y="258"/>
                    </a:lnTo>
                    <a:lnTo>
                      <a:pt x="477" y="260"/>
                    </a:lnTo>
                    <a:lnTo>
                      <a:pt x="477" y="262"/>
                    </a:lnTo>
                    <a:lnTo>
                      <a:pt x="476" y="263"/>
                    </a:lnTo>
                    <a:lnTo>
                      <a:pt x="476" y="265"/>
                    </a:lnTo>
                    <a:lnTo>
                      <a:pt x="476" y="267"/>
                    </a:lnTo>
                    <a:lnTo>
                      <a:pt x="477" y="267"/>
                    </a:lnTo>
                    <a:lnTo>
                      <a:pt x="477" y="268"/>
                    </a:lnTo>
                    <a:lnTo>
                      <a:pt x="477" y="270"/>
                    </a:lnTo>
                    <a:lnTo>
                      <a:pt x="476" y="270"/>
                    </a:lnTo>
                    <a:lnTo>
                      <a:pt x="476" y="272"/>
                    </a:lnTo>
                    <a:lnTo>
                      <a:pt x="474" y="274"/>
                    </a:lnTo>
                    <a:lnTo>
                      <a:pt x="472" y="274"/>
                    </a:lnTo>
                    <a:lnTo>
                      <a:pt x="472" y="275"/>
                    </a:lnTo>
                    <a:lnTo>
                      <a:pt x="471" y="275"/>
                    </a:lnTo>
                    <a:lnTo>
                      <a:pt x="471" y="277"/>
                    </a:lnTo>
                    <a:lnTo>
                      <a:pt x="469" y="277"/>
                    </a:lnTo>
                    <a:lnTo>
                      <a:pt x="469" y="279"/>
                    </a:lnTo>
                    <a:lnTo>
                      <a:pt x="471" y="279"/>
                    </a:lnTo>
                    <a:lnTo>
                      <a:pt x="469" y="280"/>
                    </a:lnTo>
                    <a:lnTo>
                      <a:pt x="469" y="282"/>
                    </a:lnTo>
                    <a:lnTo>
                      <a:pt x="469" y="284"/>
                    </a:lnTo>
                    <a:lnTo>
                      <a:pt x="471" y="285"/>
                    </a:lnTo>
                    <a:lnTo>
                      <a:pt x="469" y="285"/>
                    </a:lnTo>
                    <a:lnTo>
                      <a:pt x="471" y="285"/>
                    </a:lnTo>
                    <a:lnTo>
                      <a:pt x="471" y="287"/>
                    </a:lnTo>
                    <a:lnTo>
                      <a:pt x="471" y="289"/>
                    </a:lnTo>
                    <a:lnTo>
                      <a:pt x="469" y="289"/>
                    </a:lnTo>
                    <a:lnTo>
                      <a:pt x="469" y="291"/>
                    </a:lnTo>
                    <a:lnTo>
                      <a:pt x="469" y="292"/>
                    </a:lnTo>
                    <a:lnTo>
                      <a:pt x="469" y="294"/>
                    </a:lnTo>
                    <a:lnTo>
                      <a:pt x="469" y="296"/>
                    </a:lnTo>
                    <a:lnTo>
                      <a:pt x="471" y="296"/>
                    </a:lnTo>
                    <a:lnTo>
                      <a:pt x="471" y="297"/>
                    </a:lnTo>
                    <a:lnTo>
                      <a:pt x="469" y="297"/>
                    </a:lnTo>
                    <a:lnTo>
                      <a:pt x="469" y="299"/>
                    </a:lnTo>
                    <a:lnTo>
                      <a:pt x="469" y="301"/>
                    </a:lnTo>
                    <a:lnTo>
                      <a:pt x="469" y="303"/>
                    </a:lnTo>
                    <a:lnTo>
                      <a:pt x="469" y="304"/>
                    </a:lnTo>
                    <a:lnTo>
                      <a:pt x="471" y="304"/>
                    </a:lnTo>
                    <a:lnTo>
                      <a:pt x="471" y="306"/>
                    </a:lnTo>
                    <a:lnTo>
                      <a:pt x="471" y="308"/>
                    </a:lnTo>
                    <a:lnTo>
                      <a:pt x="472" y="308"/>
                    </a:lnTo>
                    <a:lnTo>
                      <a:pt x="471" y="308"/>
                    </a:lnTo>
                    <a:lnTo>
                      <a:pt x="471" y="309"/>
                    </a:lnTo>
                    <a:lnTo>
                      <a:pt x="472" y="309"/>
                    </a:lnTo>
                    <a:lnTo>
                      <a:pt x="472" y="311"/>
                    </a:lnTo>
                    <a:lnTo>
                      <a:pt x="471" y="309"/>
                    </a:lnTo>
                    <a:lnTo>
                      <a:pt x="471" y="311"/>
                    </a:lnTo>
                    <a:lnTo>
                      <a:pt x="471" y="313"/>
                    </a:lnTo>
                    <a:lnTo>
                      <a:pt x="471" y="314"/>
                    </a:lnTo>
                    <a:lnTo>
                      <a:pt x="471" y="316"/>
                    </a:lnTo>
                    <a:lnTo>
                      <a:pt x="472" y="316"/>
                    </a:lnTo>
                    <a:lnTo>
                      <a:pt x="472" y="318"/>
                    </a:lnTo>
                    <a:lnTo>
                      <a:pt x="474" y="320"/>
                    </a:lnTo>
                    <a:lnTo>
                      <a:pt x="474" y="321"/>
                    </a:lnTo>
                    <a:lnTo>
                      <a:pt x="474" y="323"/>
                    </a:lnTo>
                    <a:lnTo>
                      <a:pt x="474" y="325"/>
                    </a:lnTo>
                    <a:lnTo>
                      <a:pt x="476" y="325"/>
                    </a:lnTo>
                    <a:lnTo>
                      <a:pt x="476" y="326"/>
                    </a:lnTo>
                    <a:lnTo>
                      <a:pt x="476" y="328"/>
                    </a:lnTo>
                    <a:lnTo>
                      <a:pt x="476" y="330"/>
                    </a:lnTo>
                    <a:lnTo>
                      <a:pt x="477" y="330"/>
                    </a:lnTo>
                    <a:lnTo>
                      <a:pt x="479" y="330"/>
                    </a:lnTo>
                    <a:lnTo>
                      <a:pt x="481" y="330"/>
                    </a:lnTo>
                    <a:lnTo>
                      <a:pt x="481" y="331"/>
                    </a:lnTo>
                    <a:lnTo>
                      <a:pt x="482" y="333"/>
                    </a:lnTo>
                    <a:lnTo>
                      <a:pt x="482" y="335"/>
                    </a:lnTo>
                    <a:lnTo>
                      <a:pt x="482" y="337"/>
                    </a:lnTo>
                    <a:lnTo>
                      <a:pt x="484" y="337"/>
                    </a:lnTo>
                    <a:lnTo>
                      <a:pt x="484" y="338"/>
                    </a:lnTo>
                    <a:lnTo>
                      <a:pt x="484" y="340"/>
                    </a:lnTo>
                    <a:lnTo>
                      <a:pt x="486" y="340"/>
                    </a:lnTo>
                    <a:lnTo>
                      <a:pt x="486" y="342"/>
                    </a:lnTo>
                    <a:lnTo>
                      <a:pt x="488" y="342"/>
                    </a:lnTo>
                    <a:lnTo>
                      <a:pt x="488" y="343"/>
                    </a:lnTo>
                    <a:lnTo>
                      <a:pt x="486" y="343"/>
                    </a:lnTo>
                    <a:lnTo>
                      <a:pt x="486" y="345"/>
                    </a:lnTo>
                    <a:lnTo>
                      <a:pt x="484" y="345"/>
                    </a:lnTo>
                    <a:lnTo>
                      <a:pt x="484" y="347"/>
                    </a:lnTo>
                    <a:lnTo>
                      <a:pt x="482" y="347"/>
                    </a:lnTo>
                    <a:lnTo>
                      <a:pt x="481" y="350"/>
                    </a:lnTo>
                    <a:lnTo>
                      <a:pt x="477" y="352"/>
                    </a:lnTo>
                    <a:lnTo>
                      <a:pt x="474" y="355"/>
                    </a:lnTo>
                    <a:lnTo>
                      <a:pt x="471" y="359"/>
                    </a:lnTo>
                    <a:lnTo>
                      <a:pt x="469" y="360"/>
                    </a:lnTo>
                    <a:lnTo>
                      <a:pt x="469" y="362"/>
                    </a:lnTo>
                    <a:lnTo>
                      <a:pt x="471" y="360"/>
                    </a:lnTo>
                    <a:lnTo>
                      <a:pt x="471" y="362"/>
                    </a:lnTo>
                    <a:lnTo>
                      <a:pt x="472" y="360"/>
                    </a:lnTo>
                    <a:lnTo>
                      <a:pt x="472" y="362"/>
                    </a:lnTo>
                    <a:lnTo>
                      <a:pt x="474" y="362"/>
                    </a:lnTo>
                    <a:lnTo>
                      <a:pt x="476" y="362"/>
                    </a:lnTo>
                    <a:lnTo>
                      <a:pt x="477" y="362"/>
                    </a:lnTo>
                    <a:lnTo>
                      <a:pt x="477" y="364"/>
                    </a:lnTo>
                    <a:lnTo>
                      <a:pt x="479" y="365"/>
                    </a:lnTo>
                    <a:lnTo>
                      <a:pt x="479" y="367"/>
                    </a:lnTo>
                    <a:lnTo>
                      <a:pt x="481" y="367"/>
                    </a:lnTo>
                    <a:lnTo>
                      <a:pt x="482" y="369"/>
                    </a:lnTo>
                    <a:lnTo>
                      <a:pt x="484" y="369"/>
                    </a:lnTo>
                    <a:lnTo>
                      <a:pt x="484" y="371"/>
                    </a:lnTo>
                    <a:lnTo>
                      <a:pt x="486" y="371"/>
                    </a:lnTo>
                    <a:lnTo>
                      <a:pt x="486" y="372"/>
                    </a:lnTo>
                    <a:lnTo>
                      <a:pt x="488" y="374"/>
                    </a:lnTo>
                    <a:lnTo>
                      <a:pt x="489" y="374"/>
                    </a:lnTo>
                    <a:lnTo>
                      <a:pt x="489" y="376"/>
                    </a:lnTo>
                    <a:lnTo>
                      <a:pt x="491" y="376"/>
                    </a:lnTo>
                    <a:lnTo>
                      <a:pt x="491" y="377"/>
                    </a:lnTo>
                    <a:lnTo>
                      <a:pt x="491" y="379"/>
                    </a:lnTo>
                    <a:lnTo>
                      <a:pt x="491" y="381"/>
                    </a:lnTo>
                    <a:lnTo>
                      <a:pt x="489" y="381"/>
                    </a:lnTo>
                    <a:lnTo>
                      <a:pt x="491" y="381"/>
                    </a:lnTo>
                    <a:lnTo>
                      <a:pt x="491" y="382"/>
                    </a:lnTo>
                    <a:lnTo>
                      <a:pt x="491" y="384"/>
                    </a:lnTo>
                    <a:lnTo>
                      <a:pt x="493" y="384"/>
                    </a:lnTo>
                    <a:lnTo>
                      <a:pt x="493" y="386"/>
                    </a:lnTo>
                    <a:lnTo>
                      <a:pt x="493" y="384"/>
                    </a:lnTo>
                    <a:lnTo>
                      <a:pt x="494" y="386"/>
                    </a:lnTo>
                    <a:lnTo>
                      <a:pt x="494" y="388"/>
                    </a:lnTo>
                    <a:lnTo>
                      <a:pt x="494" y="389"/>
                    </a:lnTo>
                    <a:lnTo>
                      <a:pt x="493" y="389"/>
                    </a:lnTo>
                    <a:lnTo>
                      <a:pt x="494" y="391"/>
                    </a:lnTo>
                    <a:lnTo>
                      <a:pt x="496" y="393"/>
                    </a:lnTo>
                    <a:lnTo>
                      <a:pt x="496" y="394"/>
                    </a:lnTo>
                    <a:lnTo>
                      <a:pt x="496" y="396"/>
                    </a:lnTo>
                    <a:lnTo>
                      <a:pt x="496" y="398"/>
                    </a:lnTo>
                    <a:lnTo>
                      <a:pt x="498" y="398"/>
                    </a:lnTo>
                    <a:lnTo>
                      <a:pt x="498" y="399"/>
                    </a:lnTo>
                    <a:lnTo>
                      <a:pt x="498" y="401"/>
                    </a:lnTo>
                    <a:lnTo>
                      <a:pt x="499" y="401"/>
                    </a:lnTo>
                    <a:lnTo>
                      <a:pt x="499" y="403"/>
                    </a:lnTo>
                    <a:lnTo>
                      <a:pt x="499" y="405"/>
                    </a:lnTo>
                    <a:lnTo>
                      <a:pt x="499" y="406"/>
                    </a:lnTo>
                    <a:lnTo>
                      <a:pt x="501" y="406"/>
                    </a:lnTo>
                    <a:lnTo>
                      <a:pt x="501" y="408"/>
                    </a:lnTo>
                    <a:lnTo>
                      <a:pt x="501" y="410"/>
                    </a:lnTo>
                    <a:lnTo>
                      <a:pt x="503" y="410"/>
                    </a:lnTo>
                    <a:lnTo>
                      <a:pt x="503" y="411"/>
                    </a:lnTo>
                    <a:lnTo>
                      <a:pt x="503" y="413"/>
                    </a:lnTo>
                    <a:lnTo>
                      <a:pt x="501" y="413"/>
                    </a:lnTo>
                    <a:lnTo>
                      <a:pt x="501" y="415"/>
                    </a:lnTo>
                    <a:lnTo>
                      <a:pt x="503" y="415"/>
                    </a:lnTo>
                    <a:lnTo>
                      <a:pt x="501" y="416"/>
                    </a:lnTo>
                    <a:lnTo>
                      <a:pt x="496" y="416"/>
                    </a:lnTo>
                    <a:lnTo>
                      <a:pt x="494" y="418"/>
                    </a:lnTo>
                    <a:lnTo>
                      <a:pt x="494" y="416"/>
                    </a:lnTo>
                    <a:lnTo>
                      <a:pt x="494" y="415"/>
                    </a:lnTo>
                    <a:lnTo>
                      <a:pt x="494" y="413"/>
                    </a:lnTo>
                    <a:lnTo>
                      <a:pt x="493" y="413"/>
                    </a:lnTo>
                    <a:lnTo>
                      <a:pt x="493" y="411"/>
                    </a:lnTo>
                    <a:lnTo>
                      <a:pt x="494" y="411"/>
                    </a:lnTo>
                    <a:lnTo>
                      <a:pt x="494" y="410"/>
                    </a:lnTo>
                    <a:lnTo>
                      <a:pt x="494" y="408"/>
                    </a:lnTo>
                    <a:lnTo>
                      <a:pt x="494" y="406"/>
                    </a:lnTo>
                    <a:lnTo>
                      <a:pt x="493" y="406"/>
                    </a:lnTo>
                    <a:lnTo>
                      <a:pt x="493" y="405"/>
                    </a:lnTo>
                    <a:lnTo>
                      <a:pt x="494" y="403"/>
                    </a:lnTo>
                    <a:lnTo>
                      <a:pt x="493" y="403"/>
                    </a:lnTo>
                    <a:lnTo>
                      <a:pt x="493" y="401"/>
                    </a:lnTo>
                    <a:lnTo>
                      <a:pt x="493" y="399"/>
                    </a:lnTo>
                    <a:lnTo>
                      <a:pt x="493" y="398"/>
                    </a:lnTo>
                    <a:lnTo>
                      <a:pt x="493" y="396"/>
                    </a:lnTo>
                    <a:lnTo>
                      <a:pt x="493" y="394"/>
                    </a:lnTo>
                    <a:lnTo>
                      <a:pt x="491" y="394"/>
                    </a:lnTo>
                    <a:lnTo>
                      <a:pt x="489" y="394"/>
                    </a:lnTo>
                    <a:lnTo>
                      <a:pt x="488" y="393"/>
                    </a:lnTo>
                    <a:lnTo>
                      <a:pt x="488" y="391"/>
                    </a:lnTo>
                    <a:lnTo>
                      <a:pt x="486" y="391"/>
                    </a:lnTo>
                    <a:lnTo>
                      <a:pt x="486" y="389"/>
                    </a:lnTo>
                    <a:lnTo>
                      <a:pt x="486" y="388"/>
                    </a:lnTo>
                    <a:lnTo>
                      <a:pt x="486" y="386"/>
                    </a:lnTo>
                    <a:lnTo>
                      <a:pt x="486" y="384"/>
                    </a:lnTo>
                    <a:lnTo>
                      <a:pt x="484" y="384"/>
                    </a:lnTo>
                    <a:lnTo>
                      <a:pt x="484" y="382"/>
                    </a:lnTo>
                    <a:lnTo>
                      <a:pt x="486" y="382"/>
                    </a:lnTo>
                    <a:lnTo>
                      <a:pt x="484" y="382"/>
                    </a:lnTo>
                    <a:lnTo>
                      <a:pt x="484" y="381"/>
                    </a:lnTo>
                    <a:lnTo>
                      <a:pt x="482" y="382"/>
                    </a:lnTo>
                    <a:lnTo>
                      <a:pt x="482" y="384"/>
                    </a:lnTo>
                    <a:lnTo>
                      <a:pt x="481" y="384"/>
                    </a:lnTo>
                    <a:lnTo>
                      <a:pt x="481" y="386"/>
                    </a:lnTo>
                    <a:lnTo>
                      <a:pt x="479" y="386"/>
                    </a:lnTo>
                    <a:lnTo>
                      <a:pt x="479" y="388"/>
                    </a:lnTo>
                    <a:lnTo>
                      <a:pt x="477" y="388"/>
                    </a:lnTo>
                    <a:lnTo>
                      <a:pt x="476" y="388"/>
                    </a:lnTo>
                    <a:lnTo>
                      <a:pt x="474" y="388"/>
                    </a:lnTo>
                    <a:lnTo>
                      <a:pt x="472" y="388"/>
                    </a:lnTo>
                    <a:lnTo>
                      <a:pt x="472" y="389"/>
                    </a:lnTo>
                    <a:lnTo>
                      <a:pt x="471" y="389"/>
                    </a:lnTo>
                    <a:lnTo>
                      <a:pt x="471" y="391"/>
                    </a:lnTo>
                    <a:lnTo>
                      <a:pt x="469" y="391"/>
                    </a:lnTo>
                    <a:lnTo>
                      <a:pt x="469" y="393"/>
                    </a:lnTo>
                    <a:lnTo>
                      <a:pt x="467" y="394"/>
                    </a:lnTo>
                    <a:lnTo>
                      <a:pt x="467" y="396"/>
                    </a:lnTo>
                    <a:lnTo>
                      <a:pt x="465" y="396"/>
                    </a:lnTo>
                    <a:lnTo>
                      <a:pt x="465" y="394"/>
                    </a:lnTo>
                    <a:lnTo>
                      <a:pt x="464" y="394"/>
                    </a:lnTo>
                    <a:lnTo>
                      <a:pt x="464" y="393"/>
                    </a:lnTo>
                    <a:lnTo>
                      <a:pt x="462" y="393"/>
                    </a:lnTo>
                    <a:lnTo>
                      <a:pt x="460" y="393"/>
                    </a:lnTo>
                    <a:lnTo>
                      <a:pt x="460" y="391"/>
                    </a:lnTo>
                    <a:lnTo>
                      <a:pt x="459" y="391"/>
                    </a:lnTo>
                    <a:lnTo>
                      <a:pt x="459" y="389"/>
                    </a:lnTo>
                    <a:lnTo>
                      <a:pt x="459" y="391"/>
                    </a:lnTo>
                    <a:lnTo>
                      <a:pt x="457" y="391"/>
                    </a:lnTo>
                    <a:lnTo>
                      <a:pt x="457" y="389"/>
                    </a:lnTo>
                    <a:lnTo>
                      <a:pt x="457" y="388"/>
                    </a:lnTo>
                    <a:lnTo>
                      <a:pt x="457" y="389"/>
                    </a:lnTo>
                    <a:lnTo>
                      <a:pt x="457" y="391"/>
                    </a:lnTo>
                    <a:lnTo>
                      <a:pt x="455" y="391"/>
                    </a:lnTo>
                    <a:lnTo>
                      <a:pt x="455" y="393"/>
                    </a:lnTo>
                    <a:lnTo>
                      <a:pt x="455" y="394"/>
                    </a:lnTo>
                    <a:lnTo>
                      <a:pt x="454" y="394"/>
                    </a:lnTo>
                    <a:lnTo>
                      <a:pt x="455" y="394"/>
                    </a:lnTo>
                    <a:lnTo>
                      <a:pt x="454" y="394"/>
                    </a:lnTo>
                    <a:lnTo>
                      <a:pt x="455" y="396"/>
                    </a:lnTo>
                    <a:lnTo>
                      <a:pt x="455" y="394"/>
                    </a:lnTo>
                    <a:lnTo>
                      <a:pt x="455" y="396"/>
                    </a:lnTo>
                    <a:lnTo>
                      <a:pt x="455" y="394"/>
                    </a:lnTo>
                    <a:lnTo>
                      <a:pt x="455" y="396"/>
                    </a:lnTo>
                    <a:lnTo>
                      <a:pt x="455" y="398"/>
                    </a:lnTo>
                    <a:lnTo>
                      <a:pt x="455" y="396"/>
                    </a:lnTo>
                    <a:lnTo>
                      <a:pt x="457" y="398"/>
                    </a:lnTo>
                    <a:lnTo>
                      <a:pt x="457" y="396"/>
                    </a:lnTo>
                    <a:lnTo>
                      <a:pt x="457" y="398"/>
                    </a:lnTo>
                    <a:lnTo>
                      <a:pt x="459" y="398"/>
                    </a:lnTo>
                    <a:lnTo>
                      <a:pt x="445" y="398"/>
                    </a:lnTo>
                    <a:lnTo>
                      <a:pt x="435" y="398"/>
                    </a:lnTo>
                    <a:lnTo>
                      <a:pt x="430" y="398"/>
                    </a:lnTo>
                    <a:lnTo>
                      <a:pt x="425" y="398"/>
                    </a:lnTo>
                    <a:lnTo>
                      <a:pt x="420" y="398"/>
                    </a:lnTo>
                    <a:lnTo>
                      <a:pt x="416" y="398"/>
                    </a:lnTo>
                    <a:lnTo>
                      <a:pt x="414" y="398"/>
                    </a:lnTo>
                    <a:lnTo>
                      <a:pt x="413" y="398"/>
                    </a:lnTo>
                    <a:lnTo>
                      <a:pt x="413" y="396"/>
                    </a:lnTo>
                    <a:lnTo>
                      <a:pt x="411" y="398"/>
                    </a:lnTo>
                    <a:lnTo>
                      <a:pt x="409" y="398"/>
                    </a:lnTo>
                    <a:lnTo>
                      <a:pt x="409" y="399"/>
                    </a:lnTo>
                    <a:lnTo>
                      <a:pt x="408" y="398"/>
                    </a:lnTo>
                    <a:lnTo>
                      <a:pt x="408" y="399"/>
                    </a:lnTo>
                    <a:lnTo>
                      <a:pt x="408" y="398"/>
                    </a:lnTo>
                    <a:lnTo>
                      <a:pt x="408" y="399"/>
                    </a:lnTo>
                    <a:lnTo>
                      <a:pt x="408" y="398"/>
                    </a:lnTo>
                    <a:lnTo>
                      <a:pt x="406" y="398"/>
                    </a:lnTo>
                    <a:lnTo>
                      <a:pt x="404" y="398"/>
                    </a:lnTo>
                    <a:lnTo>
                      <a:pt x="404" y="399"/>
                    </a:lnTo>
                    <a:lnTo>
                      <a:pt x="403" y="399"/>
                    </a:lnTo>
                    <a:lnTo>
                      <a:pt x="401" y="399"/>
                    </a:lnTo>
                    <a:lnTo>
                      <a:pt x="401" y="401"/>
                    </a:lnTo>
                    <a:lnTo>
                      <a:pt x="401" y="405"/>
                    </a:lnTo>
                    <a:lnTo>
                      <a:pt x="401" y="408"/>
                    </a:lnTo>
                    <a:lnTo>
                      <a:pt x="401" y="411"/>
                    </a:lnTo>
                    <a:lnTo>
                      <a:pt x="401" y="413"/>
                    </a:lnTo>
                    <a:lnTo>
                      <a:pt x="401" y="415"/>
                    </a:lnTo>
                    <a:lnTo>
                      <a:pt x="401" y="418"/>
                    </a:lnTo>
                    <a:lnTo>
                      <a:pt x="401" y="420"/>
                    </a:lnTo>
                    <a:lnTo>
                      <a:pt x="403" y="420"/>
                    </a:lnTo>
                    <a:lnTo>
                      <a:pt x="403" y="422"/>
                    </a:lnTo>
                    <a:lnTo>
                      <a:pt x="403" y="420"/>
                    </a:lnTo>
                    <a:lnTo>
                      <a:pt x="404" y="420"/>
                    </a:lnTo>
                    <a:lnTo>
                      <a:pt x="406" y="420"/>
                    </a:lnTo>
                    <a:lnTo>
                      <a:pt x="408" y="420"/>
                    </a:lnTo>
                    <a:lnTo>
                      <a:pt x="409" y="420"/>
                    </a:lnTo>
                    <a:lnTo>
                      <a:pt x="411" y="420"/>
                    </a:lnTo>
                    <a:lnTo>
                      <a:pt x="413" y="420"/>
                    </a:lnTo>
                    <a:lnTo>
                      <a:pt x="414" y="420"/>
                    </a:lnTo>
                    <a:lnTo>
                      <a:pt x="416" y="422"/>
                    </a:lnTo>
                    <a:lnTo>
                      <a:pt x="418" y="420"/>
                    </a:lnTo>
                    <a:lnTo>
                      <a:pt x="420" y="420"/>
                    </a:lnTo>
                    <a:lnTo>
                      <a:pt x="420" y="422"/>
                    </a:lnTo>
                    <a:lnTo>
                      <a:pt x="421" y="422"/>
                    </a:lnTo>
                    <a:lnTo>
                      <a:pt x="423" y="422"/>
                    </a:lnTo>
                    <a:lnTo>
                      <a:pt x="423" y="423"/>
                    </a:lnTo>
                    <a:lnTo>
                      <a:pt x="423" y="425"/>
                    </a:lnTo>
                    <a:lnTo>
                      <a:pt x="425" y="425"/>
                    </a:lnTo>
                    <a:lnTo>
                      <a:pt x="423" y="425"/>
                    </a:lnTo>
                    <a:lnTo>
                      <a:pt x="423" y="427"/>
                    </a:lnTo>
                    <a:lnTo>
                      <a:pt x="425" y="427"/>
                    </a:lnTo>
                    <a:lnTo>
                      <a:pt x="425" y="428"/>
                    </a:lnTo>
                    <a:lnTo>
                      <a:pt x="425" y="430"/>
                    </a:lnTo>
                    <a:lnTo>
                      <a:pt x="425" y="432"/>
                    </a:lnTo>
                    <a:lnTo>
                      <a:pt x="423" y="432"/>
                    </a:lnTo>
                    <a:lnTo>
                      <a:pt x="425" y="433"/>
                    </a:lnTo>
                    <a:lnTo>
                      <a:pt x="426" y="433"/>
                    </a:lnTo>
                    <a:lnTo>
                      <a:pt x="426" y="435"/>
                    </a:lnTo>
                    <a:lnTo>
                      <a:pt x="425" y="435"/>
                    </a:lnTo>
                    <a:lnTo>
                      <a:pt x="423" y="435"/>
                    </a:lnTo>
                    <a:lnTo>
                      <a:pt x="423" y="437"/>
                    </a:lnTo>
                    <a:lnTo>
                      <a:pt x="421" y="437"/>
                    </a:lnTo>
                    <a:lnTo>
                      <a:pt x="420" y="437"/>
                    </a:lnTo>
                    <a:lnTo>
                      <a:pt x="420" y="435"/>
                    </a:lnTo>
                    <a:lnTo>
                      <a:pt x="418" y="435"/>
                    </a:lnTo>
                    <a:lnTo>
                      <a:pt x="418" y="437"/>
                    </a:lnTo>
                    <a:lnTo>
                      <a:pt x="418" y="435"/>
                    </a:lnTo>
                    <a:lnTo>
                      <a:pt x="416" y="435"/>
                    </a:lnTo>
                    <a:lnTo>
                      <a:pt x="416" y="433"/>
                    </a:lnTo>
                    <a:lnTo>
                      <a:pt x="414" y="432"/>
                    </a:lnTo>
                    <a:lnTo>
                      <a:pt x="413" y="432"/>
                    </a:lnTo>
                    <a:lnTo>
                      <a:pt x="413" y="433"/>
                    </a:lnTo>
                    <a:lnTo>
                      <a:pt x="411" y="433"/>
                    </a:lnTo>
                    <a:lnTo>
                      <a:pt x="411" y="435"/>
                    </a:lnTo>
                    <a:lnTo>
                      <a:pt x="409" y="435"/>
                    </a:lnTo>
                    <a:lnTo>
                      <a:pt x="409" y="437"/>
                    </a:lnTo>
                    <a:lnTo>
                      <a:pt x="409" y="435"/>
                    </a:lnTo>
                    <a:lnTo>
                      <a:pt x="408" y="435"/>
                    </a:lnTo>
                    <a:lnTo>
                      <a:pt x="408" y="433"/>
                    </a:lnTo>
                    <a:lnTo>
                      <a:pt x="406" y="435"/>
                    </a:lnTo>
                    <a:lnTo>
                      <a:pt x="406" y="437"/>
                    </a:lnTo>
                    <a:lnTo>
                      <a:pt x="404" y="435"/>
                    </a:lnTo>
                    <a:lnTo>
                      <a:pt x="404" y="437"/>
                    </a:lnTo>
                    <a:lnTo>
                      <a:pt x="403" y="437"/>
                    </a:lnTo>
                    <a:lnTo>
                      <a:pt x="401" y="437"/>
                    </a:lnTo>
                    <a:lnTo>
                      <a:pt x="399" y="437"/>
                    </a:lnTo>
                    <a:lnTo>
                      <a:pt x="399" y="439"/>
                    </a:lnTo>
                    <a:lnTo>
                      <a:pt x="397" y="439"/>
                    </a:lnTo>
                    <a:lnTo>
                      <a:pt x="397" y="437"/>
                    </a:lnTo>
                    <a:lnTo>
                      <a:pt x="396" y="437"/>
                    </a:lnTo>
                    <a:lnTo>
                      <a:pt x="396" y="439"/>
                    </a:lnTo>
                    <a:lnTo>
                      <a:pt x="394" y="439"/>
                    </a:lnTo>
                    <a:lnTo>
                      <a:pt x="394" y="440"/>
                    </a:lnTo>
                    <a:lnTo>
                      <a:pt x="394" y="444"/>
                    </a:lnTo>
                    <a:lnTo>
                      <a:pt x="394" y="445"/>
                    </a:lnTo>
                    <a:lnTo>
                      <a:pt x="394" y="447"/>
                    </a:lnTo>
                    <a:lnTo>
                      <a:pt x="394" y="449"/>
                    </a:lnTo>
                    <a:lnTo>
                      <a:pt x="394" y="451"/>
                    </a:lnTo>
                    <a:lnTo>
                      <a:pt x="394" y="454"/>
                    </a:lnTo>
                    <a:lnTo>
                      <a:pt x="394" y="457"/>
                    </a:lnTo>
                    <a:lnTo>
                      <a:pt x="394" y="461"/>
                    </a:lnTo>
                    <a:lnTo>
                      <a:pt x="396" y="461"/>
                    </a:lnTo>
                    <a:lnTo>
                      <a:pt x="396" y="462"/>
                    </a:lnTo>
                    <a:lnTo>
                      <a:pt x="396" y="464"/>
                    </a:lnTo>
                    <a:lnTo>
                      <a:pt x="397" y="466"/>
                    </a:lnTo>
                    <a:lnTo>
                      <a:pt x="397" y="468"/>
                    </a:lnTo>
                    <a:lnTo>
                      <a:pt x="399" y="468"/>
                    </a:lnTo>
                    <a:lnTo>
                      <a:pt x="399" y="469"/>
                    </a:lnTo>
                    <a:lnTo>
                      <a:pt x="401" y="468"/>
                    </a:lnTo>
                    <a:lnTo>
                      <a:pt x="403" y="469"/>
                    </a:lnTo>
                    <a:lnTo>
                      <a:pt x="403" y="471"/>
                    </a:lnTo>
                    <a:lnTo>
                      <a:pt x="404" y="471"/>
                    </a:lnTo>
                    <a:lnTo>
                      <a:pt x="406" y="473"/>
                    </a:lnTo>
                    <a:lnTo>
                      <a:pt x="408" y="473"/>
                    </a:lnTo>
                    <a:lnTo>
                      <a:pt x="408" y="474"/>
                    </a:lnTo>
                    <a:lnTo>
                      <a:pt x="409" y="473"/>
                    </a:lnTo>
                    <a:lnTo>
                      <a:pt x="409" y="474"/>
                    </a:lnTo>
                    <a:lnTo>
                      <a:pt x="409" y="476"/>
                    </a:lnTo>
                    <a:lnTo>
                      <a:pt x="409" y="478"/>
                    </a:lnTo>
                    <a:lnTo>
                      <a:pt x="411" y="478"/>
                    </a:lnTo>
                    <a:lnTo>
                      <a:pt x="411" y="479"/>
                    </a:lnTo>
                    <a:lnTo>
                      <a:pt x="409" y="479"/>
                    </a:lnTo>
                    <a:lnTo>
                      <a:pt x="409" y="481"/>
                    </a:lnTo>
                    <a:lnTo>
                      <a:pt x="409" y="483"/>
                    </a:lnTo>
                    <a:lnTo>
                      <a:pt x="411" y="483"/>
                    </a:lnTo>
                    <a:lnTo>
                      <a:pt x="409" y="483"/>
                    </a:lnTo>
                    <a:lnTo>
                      <a:pt x="411" y="485"/>
                    </a:lnTo>
                    <a:lnTo>
                      <a:pt x="411" y="486"/>
                    </a:lnTo>
                    <a:lnTo>
                      <a:pt x="413" y="486"/>
                    </a:lnTo>
                    <a:lnTo>
                      <a:pt x="413" y="488"/>
                    </a:lnTo>
                    <a:lnTo>
                      <a:pt x="413" y="490"/>
                    </a:lnTo>
                    <a:lnTo>
                      <a:pt x="413" y="488"/>
                    </a:lnTo>
                    <a:lnTo>
                      <a:pt x="414" y="490"/>
                    </a:lnTo>
                    <a:lnTo>
                      <a:pt x="416" y="491"/>
                    </a:lnTo>
                    <a:lnTo>
                      <a:pt x="414" y="491"/>
                    </a:lnTo>
                    <a:lnTo>
                      <a:pt x="416" y="491"/>
                    </a:lnTo>
                    <a:lnTo>
                      <a:pt x="416" y="493"/>
                    </a:lnTo>
                    <a:lnTo>
                      <a:pt x="416" y="495"/>
                    </a:lnTo>
                    <a:lnTo>
                      <a:pt x="416" y="496"/>
                    </a:lnTo>
                    <a:lnTo>
                      <a:pt x="416" y="498"/>
                    </a:lnTo>
                    <a:lnTo>
                      <a:pt x="416" y="500"/>
                    </a:lnTo>
                    <a:lnTo>
                      <a:pt x="416" y="502"/>
                    </a:lnTo>
                    <a:lnTo>
                      <a:pt x="416" y="503"/>
                    </a:lnTo>
                    <a:lnTo>
                      <a:pt x="414" y="505"/>
                    </a:lnTo>
                    <a:lnTo>
                      <a:pt x="416" y="505"/>
                    </a:lnTo>
                    <a:lnTo>
                      <a:pt x="416" y="507"/>
                    </a:lnTo>
                    <a:lnTo>
                      <a:pt x="414" y="507"/>
                    </a:lnTo>
                    <a:lnTo>
                      <a:pt x="414" y="508"/>
                    </a:lnTo>
                    <a:lnTo>
                      <a:pt x="413" y="517"/>
                    </a:lnTo>
                    <a:lnTo>
                      <a:pt x="413" y="524"/>
                    </a:lnTo>
                    <a:lnTo>
                      <a:pt x="411" y="529"/>
                    </a:lnTo>
                    <a:lnTo>
                      <a:pt x="409" y="534"/>
                    </a:lnTo>
                    <a:lnTo>
                      <a:pt x="409" y="539"/>
                    </a:lnTo>
                    <a:lnTo>
                      <a:pt x="406" y="554"/>
                    </a:lnTo>
                    <a:lnTo>
                      <a:pt x="406" y="558"/>
                    </a:lnTo>
                    <a:lnTo>
                      <a:pt x="403" y="581"/>
                    </a:lnTo>
                    <a:lnTo>
                      <a:pt x="401" y="590"/>
                    </a:lnTo>
                    <a:lnTo>
                      <a:pt x="399" y="600"/>
                    </a:lnTo>
                    <a:lnTo>
                      <a:pt x="397" y="600"/>
                    </a:lnTo>
                    <a:lnTo>
                      <a:pt x="397" y="598"/>
                    </a:lnTo>
                    <a:lnTo>
                      <a:pt x="396" y="598"/>
                    </a:lnTo>
                    <a:lnTo>
                      <a:pt x="396" y="597"/>
                    </a:lnTo>
                    <a:lnTo>
                      <a:pt x="394" y="597"/>
                    </a:lnTo>
                    <a:lnTo>
                      <a:pt x="394" y="595"/>
                    </a:lnTo>
                    <a:lnTo>
                      <a:pt x="392" y="593"/>
                    </a:lnTo>
                    <a:lnTo>
                      <a:pt x="391" y="593"/>
                    </a:lnTo>
                    <a:lnTo>
                      <a:pt x="391" y="592"/>
                    </a:lnTo>
                    <a:lnTo>
                      <a:pt x="391" y="590"/>
                    </a:lnTo>
                    <a:lnTo>
                      <a:pt x="389" y="590"/>
                    </a:lnTo>
                    <a:lnTo>
                      <a:pt x="389" y="588"/>
                    </a:lnTo>
                    <a:lnTo>
                      <a:pt x="387" y="588"/>
                    </a:lnTo>
                    <a:lnTo>
                      <a:pt x="387" y="587"/>
                    </a:lnTo>
                    <a:lnTo>
                      <a:pt x="386" y="587"/>
                    </a:lnTo>
                    <a:lnTo>
                      <a:pt x="386" y="585"/>
                    </a:lnTo>
                    <a:lnTo>
                      <a:pt x="384" y="585"/>
                    </a:lnTo>
                    <a:lnTo>
                      <a:pt x="384" y="587"/>
                    </a:lnTo>
                    <a:lnTo>
                      <a:pt x="382" y="587"/>
                    </a:lnTo>
                    <a:lnTo>
                      <a:pt x="380" y="587"/>
                    </a:lnTo>
                    <a:lnTo>
                      <a:pt x="380" y="588"/>
                    </a:lnTo>
                    <a:lnTo>
                      <a:pt x="379" y="588"/>
                    </a:lnTo>
                    <a:lnTo>
                      <a:pt x="377" y="587"/>
                    </a:lnTo>
                    <a:lnTo>
                      <a:pt x="375" y="587"/>
                    </a:lnTo>
                    <a:lnTo>
                      <a:pt x="374" y="587"/>
                    </a:lnTo>
                    <a:lnTo>
                      <a:pt x="374" y="585"/>
                    </a:lnTo>
                    <a:lnTo>
                      <a:pt x="372" y="585"/>
                    </a:lnTo>
                    <a:lnTo>
                      <a:pt x="374" y="581"/>
                    </a:lnTo>
                    <a:lnTo>
                      <a:pt x="375" y="581"/>
                    </a:lnTo>
                    <a:lnTo>
                      <a:pt x="377" y="576"/>
                    </a:lnTo>
                    <a:lnTo>
                      <a:pt x="379" y="573"/>
                    </a:lnTo>
                    <a:lnTo>
                      <a:pt x="380" y="573"/>
                    </a:lnTo>
                    <a:lnTo>
                      <a:pt x="382" y="570"/>
                    </a:lnTo>
                    <a:lnTo>
                      <a:pt x="384" y="566"/>
                    </a:lnTo>
                    <a:lnTo>
                      <a:pt x="386" y="564"/>
                    </a:lnTo>
                    <a:lnTo>
                      <a:pt x="386" y="563"/>
                    </a:lnTo>
                    <a:lnTo>
                      <a:pt x="387" y="561"/>
                    </a:lnTo>
                    <a:lnTo>
                      <a:pt x="391" y="556"/>
                    </a:lnTo>
                    <a:lnTo>
                      <a:pt x="392" y="554"/>
                    </a:lnTo>
                    <a:lnTo>
                      <a:pt x="394" y="551"/>
                    </a:lnTo>
                    <a:lnTo>
                      <a:pt x="394" y="549"/>
                    </a:lnTo>
                    <a:lnTo>
                      <a:pt x="394" y="547"/>
                    </a:lnTo>
                    <a:lnTo>
                      <a:pt x="394" y="546"/>
                    </a:lnTo>
                    <a:lnTo>
                      <a:pt x="392" y="547"/>
                    </a:lnTo>
                    <a:lnTo>
                      <a:pt x="391" y="547"/>
                    </a:lnTo>
                    <a:lnTo>
                      <a:pt x="391" y="546"/>
                    </a:lnTo>
                    <a:lnTo>
                      <a:pt x="389" y="546"/>
                    </a:lnTo>
                    <a:lnTo>
                      <a:pt x="389" y="547"/>
                    </a:lnTo>
                    <a:lnTo>
                      <a:pt x="389" y="546"/>
                    </a:lnTo>
                    <a:lnTo>
                      <a:pt x="389" y="544"/>
                    </a:lnTo>
                    <a:lnTo>
                      <a:pt x="387" y="542"/>
                    </a:lnTo>
                    <a:lnTo>
                      <a:pt x="386" y="544"/>
                    </a:lnTo>
                    <a:lnTo>
                      <a:pt x="384" y="544"/>
                    </a:lnTo>
                    <a:lnTo>
                      <a:pt x="384" y="542"/>
                    </a:lnTo>
                    <a:lnTo>
                      <a:pt x="386" y="542"/>
                    </a:lnTo>
                    <a:lnTo>
                      <a:pt x="386" y="541"/>
                    </a:lnTo>
                    <a:lnTo>
                      <a:pt x="384" y="541"/>
                    </a:lnTo>
                    <a:lnTo>
                      <a:pt x="382" y="542"/>
                    </a:lnTo>
                    <a:lnTo>
                      <a:pt x="380" y="542"/>
                    </a:lnTo>
                    <a:lnTo>
                      <a:pt x="380" y="541"/>
                    </a:lnTo>
                    <a:lnTo>
                      <a:pt x="380" y="539"/>
                    </a:lnTo>
                    <a:lnTo>
                      <a:pt x="380" y="541"/>
                    </a:lnTo>
                    <a:lnTo>
                      <a:pt x="379" y="541"/>
                    </a:lnTo>
                    <a:lnTo>
                      <a:pt x="379" y="539"/>
                    </a:lnTo>
                    <a:lnTo>
                      <a:pt x="377" y="539"/>
                    </a:lnTo>
                    <a:lnTo>
                      <a:pt x="377" y="541"/>
                    </a:lnTo>
                    <a:lnTo>
                      <a:pt x="375" y="541"/>
                    </a:lnTo>
                    <a:lnTo>
                      <a:pt x="375" y="539"/>
                    </a:lnTo>
                    <a:lnTo>
                      <a:pt x="375" y="537"/>
                    </a:lnTo>
                    <a:lnTo>
                      <a:pt x="374" y="539"/>
                    </a:lnTo>
                    <a:lnTo>
                      <a:pt x="374" y="537"/>
                    </a:lnTo>
                    <a:lnTo>
                      <a:pt x="374" y="536"/>
                    </a:lnTo>
                    <a:lnTo>
                      <a:pt x="372" y="536"/>
                    </a:lnTo>
                    <a:lnTo>
                      <a:pt x="370" y="536"/>
                    </a:lnTo>
                    <a:lnTo>
                      <a:pt x="370" y="534"/>
                    </a:lnTo>
                    <a:lnTo>
                      <a:pt x="369" y="534"/>
                    </a:lnTo>
                    <a:lnTo>
                      <a:pt x="367" y="534"/>
                    </a:lnTo>
                    <a:lnTo>
                      <a:pt x="367" y="532"/>
                    </a:lnTo>
                    <a:lnTo>
                      <a:pt x="365" y="532"/>
                    </a:lnTo>
                    <a:lnTo>
                      <a:pt x="363" y="532"/>
                    </a:lnTo>
                    <a:lnTo>
                      <a:pt x="362" y="532"/>
                    </a:lnTo>
                    <a:lnTo>
                      <a:pt x="362" y="534"/>
                    </a:lnTo>
                    <a:lnTo>
                      <a:pt x="363" y="534"/>
                    </a:lnTo>
                    <a:lnTo>
                      <a:pt x="362" y="534"/>
                    </a:lnTo>
                    <a:lnTo>
                      <a:pt x="360" y="534"/>
                    </a:lnTo>
                    <a:lnTo>
                      <a:pt x="358" y="534"/>
                    </a:lnTo>
                    <a:lnTo>
                      <a:pt x="358" y="536"/>
                    </a:lnTo>
                    <a:lnTo>
                      <a:pt x="357" y="536"/>
                    </a:lnTo>
                    <a:lnTo>
                      <a:pt x="357" y="537"/>
                    </a:lnTo>
                    <a:lnTo>
                      <a:pt x="355" y="537"/>
                    </a:lnTo>
                    <a:lnTo>
                      <a:pt x="355" y="536"/>
                    </a:lnTo>
                    <a:lnTo>
                      <a:pt x="353" y="536"/>
                    </a:lnTo>
                    <a:lnTo>
                      <a:pt x="353" y="537"/>
                    </a:lnTo>
                    <a:lnTo>
                      <a:pt x="353" y="536"/>
                    </a:lnTo>
                    <a:lnTo>
                      <a:pt x="352" y="536"/>
                    </a:lnTo>
                    <a:lnTo>
                      <a:pt x="352" y="537"/>
                    </a:lnTo>
                    <a:lnTo>
                      <a:pt x="350" y="537"/>
                    </a:lnTo>
                    <a:lnTo>
                      <a:pt x="350" y="539"/>
                    </a:lnTo>
                    <a:lnTo>
                      <a:pt x="348" y="537"/>
                    </a:lnTo>
                    <a:lnTo>
                      <a:pt x="350" y="537"/>
                    </a:lnTo>
                    <a:lnTo>
                      <a:pt x="350" y="536"/>
                    </a:lnTo>
                    <a:lnTo>
                      <a:pt x="348" y="536"/>
                    </a:lnTo>
                    <a:lnTo>
                      <a:pt x="348" y="534"/>
                    </a:lnTo>
                    <a:lnTo>
                      <a:pt x="346" y="534"/>
                    </a:lnTo>
                    <a:lnTo>
                      <a:pt x="346" y="536"/>
                    </a:lnTo>
                    <a:lnTo>
                      <a:pt x="345" y="536"/>
                    </a:lnTo>
                    <a:lnTo>
                      <a:pt x="345" y="534"/>
                    </a:lnTo>
                    <a:lnTo>
                      <a:pt x="345" y="532"/>
                    </a:lnTo>
                    <a:lnTo>
                      <a:pt x="343" y="532"/>
                    </a:lnTo>
                    <a:lnTo>
                      <a:pt x="341" y="532"/>
                    </a:lnTo>
                    <a:lnTo>
                      <a:pt x="341" y="530"/>
                    </a:lnTo>
                    <a:lnTo>
                      <a:pt x="340" y="530"/>
                    </a:lnTo>
                    <a:lnTo>
                      <a:pt x="340" y="532"/>
                    </a:lnTo>
                    <a:lnTo>
                      <a:pt x="338" y="532"/>
                    </a:lnTo>
                    <a:lnTo>
                      <a:pt x="338" y="530"/>
                    </a:lnTo>
                    <a:lnTo>
                      <a:pt x="338" y="529"/>
                    </a:lnTo>
                    <a:lnTo>
                      <a:pt x="336" y="530"/>
                    </a:lnTo>
                    <a:lnTo>
                      <a:pt x="335" y="532"/>
                    </a:lnTo>
                    <a:lnTo>
                      <a:pt x="335" y="530"/>
                    </a:lnTo>
                    <a:lnTo>
                      <a:pt x="335" y="532"/>
                    </a:lnTo>
                    <a:lnTo>
                      <a:pt x="333" y="532"/>
                    </a:lnTo>
                    <a:lnTo>
                      <a:pt x="333" y="534"/>
                    </a:lnTo>
                    <a:lnTo>
                      <a:pt x="333" y="536"/>
                    </a:lnTo>
                    <a:lnTo>
                      <a:pt x="331" y="536"/>
                    </a:lnTo>
                    <a:lnTo>
                      <a:pt x="331" y="537"/>
                    </a:lnTo>
                    <a:lnTo>
                      <a:pt x="329" y="537"/>
                    </a:lnTo>
                    <a:lnTo>
                      <a:pt x="328" y="537"/>
                    </a:lnTo>
                    <a:lnTo>
                      <a:pt x="328" y="536"/>
                    </a:lnTo>
                    <a:lnTo>
                      <a:pt x="326" y="536"/>
                    </a:lnTo>
                    <a:lnTo>
                      <a:pt x="326" y="537"/>
                    </a:lnTo>
                    <a:lnTo>
                      <a:pt x="324" y="537"/>
                    </a:lnTo>
                    <a:lnTo>
                      <a:pt x="324" y="539"/>
                    </a:lnTo>
                    <a:lnTo>
                      <a:pt x="324" y="541"/>
                    </a:lnTo>
                    <a:lnTo>
                      <a:pt x="323" y="541"/>
                    </a:lnTo>
                    <a:lnTo>
                      <a:pt x="323" y="539"/>
                    </a:lnTo>
                    <a:lnTo>
                      <a:pt x="321" y="539"/>
                    </a:lnTo>
                    <a:lnTo>
                      <a:pt x="319" y="539"/>
                    </a:lnTo>
                    <a:lnTo>
                      <a:pt x="319" y="541"/>
                    </a:lnTo>
                    <a:lnTo>
                      <a:pt x="319" y="539"/>
                    </a:lnTo>
                    <a:lnTo>
                      <a:pt x="319" y="541"/>
                    </a:lnTo>
                    <a:lnTo>
                      <a:pt x="318" y="541"/>
                    </a:lnTo>
                    <a:lnTo>
                      <a:pt x="316" y="541"/>
                    </a:lnTo>
                    <a:lnTo>
                      <a:pt x="316" y="539"/>
                    </a:lnTo>
                    <a:lnTo>
                      <a:pt x="314" y="539"/>
                    </a:lnTo>
                    <a:lnTo>
                      <a:pt x="312" y="539"/>
                    </a:lnTo>
                    <a:lnTo>
                      <a:pt x="311" y="539"/>
                    </a:lnTo>
                    <a:lnTo>
                      <a:pt x="311" y="537"/>
                    </a:lnTo>
                    <a:lnTo>
                      <a:pt x="309" y="537"/>
                    </a:lnTo>
                    <a:lnTo>
                      <a:pt x="307" y="537"/>
                    </a:lnTo>
                    <a:lnTo>
                      <a:pt x="307" y="539"/>
                    </a:lnTo>
                    <a:lnTo>
                      <a:pt x="306" y="539"/>
                    </a:lnTo>
                    <a:lnTo>
                      <a:pt x="304" y="537"/>
                    </a:lnTo>
                    <a:lnTo>
                      <a:pt x="304" y="539"/>
                    </a:lnTo>
                    <a:lnTo>
                      <a:pt x="304" y="537"/>
                    </a:lnTo>
                    <a:lnTo>
                      <a:pt x="302" y="537"/>
                    </a:lnTo>
                    <a:lnTo>
                      <a:pt x="302" y="539"/>
                    </a:lnTo>
                    <a:lnTo>
                      <a:pt x="301" y="539"/>
                    </a:lnTo>
                    <a:lnTo>
                      <a:pt x="299" y="539"/>
                    </a:lnTo>
                    <a:lnTo>
                      <a:pt x="297" y="539"/>
                    </a:lnTo>
                    <a:lnTo>
                      <a:pt x="297" y="537"/>
                    </a:lnTo>
                    <a:lnTo>
                      <a:pt x="295" y="537"/>
                    </a:lnTo>
                    <a:lnTo>
                      <a:pt x="295" y="536"/>
                    </a:lnTo>
                    <a:lnTo>
                      <a:pt x="295" y="537"/>
                    </a:lnTo>
                    <a:lnTo>
                      <a:pt x="294" y="536"/>
                    </a:lnTo>
                    <a:lnTo>
                      <a:pt x="292" y="537"/>
                    </a:lnTo>
                    <a:lnTo>
                      <a:pt x="292" y="536"/>
                    </a:lnTo>
                    <a:lnTo>
                      <a:pt x="290" y="536"/>
                    </a:lnTo>
                    <a:lnTo>
                      <a:pt x="290" y="534"/>
                    </a:lnTo>
                    <a:lnTo>
                      <a:pt x="289" y="532"/>
                    </a:lnTo>
                    <a:lnTo>
                      <a:pt x="289" y="530"/>
                    </a:lnTo>
                    <a:lnTo>
                      <a:pt x="290" y="530"/>
                    </a:lnTo>
                    <a:lnTo>
                      <a:pt x="290" y="529"/>
                    </a:lnTo>
                    <a:lnTo>
                      <a:pt x="292" y="529"/>
                    </a:lnTo>
                    <a:lnTo>
                      <a:pt x="292" y="527"/>
                    </a:lnTo>
                    <a:lnTo>
                      <a:pt x="292" y="525"/>
                    </a:lnTo>
                    <a:lnTo>
                      <a:pt x="290" y="525"/>
                    </a:lnTo>
                    <a:lnTo>
                      <a:pt x="290" y="524"/>
                    </a:lnTo>
                    <a:lnTo>
                      <a:pt x="290" y="522"/>
                    </a:lnTo>
                    <a:lnTo>
                      <a:pt x="292" y="520"/>
                    </a:lnTo>
                    <a:lnTo>
                      <a:pt x="290" y="520"/>
                    </a:lnTo>
                    <a:lnTo>
                      <a:pt x="290" y="519"/>
                    </a:lnTo>
                    <a:lnTo>
                      <a:pt x="289" y="517"/>
                    </a:lnTo>
                    <a:lnTo>
                      <a:pt x="287" y="515"/>
                    </a:lnTo>
                    <a:lnTo>
                      <a:pt x="287" y="517"/>
                    </a:lnTo>
                    <a:lnTo>
                      <a:pt x="287" y="519"/>
                    </a:lnTo>
                    <a:lnTo>
                      <a:pt x="287" y="517"/>
                    </a:lnTo>
                    <a:lnTo>
                      <a:pt x="285" y="517"/>
                    </a:lnTo>
                    <a:lnTo>
                      <a:pt x="285" y="519"/>
                    </a:lnTo>
                    <a:lnTo>
                      <a:pt x="284" y="519"/>
                    </a:lnTo>
                    <a:lnTo>
                      <a:pt x="284" y="517"/>
                    </a:lnTo>
                    <a:lnTo>
                      <a:pt x="282" y="517"/>
                    </a:lnTo>
                    <a:lnTo>
                      <a:pt x="280" y="517"/>
                    </a:lnTo>
                    <a:lnTo>
                      <a:pt x="280" y="515"/>
                    </a:lnTo>
                    <a:lnTo>
                      <a:pt x="278" y="515"/>
                    </a:lnTo>
                    <a:lnTo>
                      <a:pt x="277" y="515"/>
                    </a:lnTo>
                    <a:lnTo>
                      <a:pt x="277" y="513"/>
                    </a:lnTo>
                    <a:lnTo>
                      <a:pt x="278" y="513"/>
                    </a:lnTo>
                    <a:lnTo>
                      <a:pt x="278" y="512"/>
                    </a:lnTo>
                    <a:lnTo>
                      <a:pt x="278" y="510"/>
                    </a:lnTo>
                    <a:lnTo>
                      <a:pt x="280" y="510"/>
                    </a:lnTo>
                    <a:lnTo>
                      <a:pt x="278" y="510"/>
                    </a:lnTo>
                    <a:lnTo>
                      <a:pt x="278" y="508"/>
                    </a:lnTo>
                    <a:lnTo>
                      <a:pt x="278" y="507"/>
                    </a:lnTo>
                    <a:lnTo>
                      <a:pt x="277" y="507"/>
                    </a:lnTo>
                    <a:lnTo>
                      <a:pt x="277" y="505"/>
                    </a:lnTo>
                    <a:lnTo>
                      <a:pt x="275" y="505"/>
                    </a:lnTo>
                    <a:lnTo>
                      <a:pt x="277" y="505"/>
                    </a:lnTo>
                    <a:lnTo>
                      <a:pt x="277" y="503"/>
                    </a:lnTo>
                    <a:lnTo>
                      <a:pt x="275" y="503"/>
                    </a:lnTo>
                    <a:lnTo>
                      <a:pt x="275" y="502"/>
                    </a:lnTo>
                    <a:lnTo>
                      <a:pt x="273" y="500"/>
                    </a:lnTo>
                    <a:lnTo>
                      <a:pt x="272" y="498"/>
                    </a:lnTo>
                    <a:lnTo>
                      <a:pt x="272" y="500"/>
                    </a:lnTo>
                    <a:lnTo>
                      <a:pt x="270" y="498"/>
                    </a:lnTo>
                    <a:lnTo>
                      <a:pt x="270" y="500"/>
                    </a:lnTo>
                    <a:lnTo>
                      <a:pt x="268" y="500"/>
                    </a:lnTo>
                    <a:lnTo>
                      <a:pt x="268" y="498"/>
                    </a:lnTo>
                    <a:lnTo>
                      <a:pt x="268" y="500"/>
                    </a:lnTo>
                    <a:lnTo>
                      <a:pt x="267" y="498"/>
                    </a:lnTo>
                    <a:lnTo>
                      <a:pt x="265" y="498"/>
                    </a:lnTo>
                    <a:lnTo>
                      <a:pt x="265" y="496"/>
                    </a:lnTo>
                    <a:lnTo>
                      <a:pt x="265" y="495"/>
                    </a:lnTo>
                    <a:lnTo>
                      <a:pt x="263" y="495"/>
                    </a:lnTo>
                    <a:lnTo>
                      <a:pt x="263" y="493"/>
                    </a:lnTo>
                    <a:lnTo>
                      <a:pt x="261" y="493"/>
                    </a:lnTo>
                    <a:lnTo>
                      <a:pt x="261" y="495"/>
                    </a:lnTo>
                    <a:lnTo>
                      <a:pt x="261" y="493"/>
                    </a:lnTo>
                    <a:lnTo>
                      <a:pt x="260" y="493"/>
                    </a:lnTo>
                    <a:lnTo>
                      <a:pt x="260" y="491"/>
                    </a:lnTo>
                    <a:lnTo>
                      <a:pt x="261" y="491"/>
                    </a:lnTo>
                    <a:lnTo>
                      <a:pt x="260" y="491"/>
                    </a:lnTo>
                    <a:lnTo>
                      <a:pt x="260" y="493"/>
                    </a:lnTo>
                    <a:lnTo>
                      <a:pt x="258" y="493"/>
                    </a:lnTo>
                    <a:lnTo>
                      <a:pt x="258" y="491"/>
                    </a:lnTo>
                    <a:lnTo>
                      <a:pt x="256" y="491"/>
                    </a:lnTo>
                    <a:lnTo>
                      <a:pt x="255" y="491"/>
                    </a:lnTo>
                    <a:lnTo>
                      <a:pt x="253" y="491"/>
                    </a:lnTo>
                    <a:lnTo>
                      <a:pt x="253" y="490"/>
                    </a:lnTo>
                    <a:lnTo>
                      <a:pt x="251" y="490"/>
                    </a:lnTo>
                    <a:lnTo>
                      <a:pt x="253" y="490"/>
                    </a:lnTo>
                    <a:lnTo>
                      <a:pt x="253" y="488"/>
                    </a:lnTo>
                    <a:lnTo>
                      <a:pt x="251" y="488"/>
                    </a:lnTo>
                    <a:lnTo>
                      <a:pt x="251" y="486"/>
                    </a:lnTo>
                    <a:lnTo>
                      <a:pt x="251" y="488"/>
                    </a:lnTo>
                    <a:lnTo>
                      <a:pt x="251" y="486"/>
                    </a:lnTo>
                    <a:lnTo>
                      <a:pt x="253" y="486"/>
                    </a:lnTo>
                    <a:lnTo>
                      <a:pt x="251" y="486"/>
                    </a:lnTo>
                    <a:lnTo>
                      <a:pt x="253" y="485"/>
                    </a:lnTo>
                    <a:lnTo>
                      <a:pt x="251" y="485"/>
                    </a:lnTo>
                    <a:lnTo>
                      <a:pt x="251" y="483"/>
                    </a:lnTo>
                    <a:lnTo>
                      <a:pt x="250" y="483"/>
                    </a:lnTo>
                    <a:lnTo>
                      <a:pt x="250" y="481"/>
                    </a:lnTo>
                    <a:lnTo>
                      <a:pt x="248" y="481"/>
                    </a:lnTo>
                    <a:lnTo>
                      <a:pt x="250" y="481"/>
                    </a:lnTo>
                    <a:lnTo>
                      <a:pt x="250" y="479"/>
                    </a:lnTo>
                    <a:lnTo>
                      <a:pt x="248" y="479"/>
                    </a:lnTo>
                    <a:lnTo>
                      <a:pt x="250" y="478"/>
                    </a:lnTo>
                    <a:lnTo>
                      <a:pt x="248" y="478"/>
                    </a:lnTo>
                    <a:lnTo>
                      <a:pt x="248" y="476"/>
                    </a:lnTo>
                    <a:lnTo>
                      <a:pt x="248" y="474"/>
                    </a:lnTo>
                    <a:lnTo>
                      <a:pt x="248" y="476"/>
                    </a:lnTo>
                    <a:lnTo>
                      <a:pt x="246" y="476"/>
                    </a:lnTo>
                    <a:lnTo>
                      <a:pt x="246" y="474"/>
                    </a:lnTo>
                    <a:lnTo>
                      <a:pt x="248" y="474"/>
                    </a:lnTo>
                    <a:lnTo>
                      <a:pt x="246" y="474"/>
                    </a:lnTo>
                    <a:lnTo>
                      <a:pt x="246" y="473"/>
                    </a:lnTo>
                    <a:lnTo>
                      <a:pt x="244" y="473"/>
                    </a:lnTo>
                    <a:lnTo>
                      <a:pt x="243" y="473"/>
                    </a:lnTo>
                    <a:lnTo>
                      <a:pt x="243" y="471"/>
                    </a:lnTo>
                    <a:lnTo>
                      <a:pt x="241" y="469"/>
                    </a:lnTo>
                    <a:lnTo>
                      <a:pt x="239" y="469"/>
                    </a:lnTo>
                    <a:lnTo>
                      <a:pt x="238" y="469"/>
                    </a:lnTo>
                    <a:lnTo>
                      <a:pt x="238" y="468"/>
                    </a:lnTo>
                    <a:lnTo>
                      <a:pt x="238" y="469"/>
                    </a:lnTo>
                    <a:lnTo>
                      <a:pt x="236" y="469"/>
                    </a:lnTo>
                    <a:lnTo>
                      <a:pt x="236" y="468"/>
                    </a:lnTo>
                    <a:lnTo>
                      <a:pt x="236" y="466"/>
                    </a:lnTo>
                    <a:lnTo>
                      <a:pt x="236" y="464"/>
                    </a:lnTo>
                    <a:lnTo>
                      <a:pt x="234" y="464"/>
                    </a:lnTo>
                    <a:lnTo>
                      <a:pt x="234" y="462"/>
                    </a:lnTo>
                    <a:lnTo>
                      <a:pt x="234" y="464"/>
                    </a:lnTo>
                    <a:lnTo>
                      <a:pt x="233" y="464"/>
                    </a:lnTo>
                    <a:lnTo>
                      <a:pt x="231" y="466"/>
                    </a:lnTo>
                    <a:lnTo>
                      <a:pt x="231" y="464"/>
                    </a:lnTo>
                    <a:lnTo>
                      <a:pt x="229" y="464"/>
                    </a:lnTo>
                    <a:lnTo>
                      <a:pt x="229" y="462"/>
                    </a:lnTo>
                    <a:lnTo>
                      <a:pt x="227" y="462"/>
                    </a:lnTo>
                    <a:lnTo>
                      <a:pt x="226" y="461"/>
                    </a:lnTo>
                    <a:lnTo>
                      <a:pt x="224" y="459"/>
                    </a:lnTo>
                    <a:lnTo>
                      <a:pt x="222" y="459"/>
                    </a:lnTo>
                    <a:lnTo>
                      <a:pt x="221" y="459"/>
                    </a:lnTo>
                    <a:lnTo>
                      <a:pt x="221" y="457"/>
                    </a:lnTo>
                    <a:lnTo>
                      <a:pt x="221" y="459"/>
                    </a:lnTo>
                    <a:lnTo>
                      <a:pt x="219" y="461"/>
                    </a:lnTo>
                    <a:lnTo>
                      <a:pt x="217" y="461"/>
                    </a:lnTo>
                    <a:lnTo>
                      <a:pt x="216" y="461"/>
                    </a:lnTo>
                    <a:lnTo>
                      <a:pt x="214" y="461"/>
                    </a:lnTo>
                    <a:lnTo>
                      <a:pt x="214" y="459"/>
                    </a:lnTo>
                    <a:lnTo>
                      <a:pt x="212" y="459"/>
                    </a:lnTo>
                    <a:lnTo>
                      <a:pt x="210" y="459"/>
                    </a:lnTo>
                    <a:lnTo>
                      <a:pt x="210" y="457"/>
                    </a:lnTo>
                    <a:lnTo>
                      <a:pt x="209" y="457"/>
                    </a:lnTo>
                    <a:lnTo>
                      <a:pt x="207" y="457"/>
                    </a:lnTo>
                    <a:lnTo>
                      <a:pt x="207" y="456"/>
                    </a:lnTo>
                    <a:lnTo>
                      <a:pt x="205" y="456"/>
                    </a:lnTo>
                    <a:lnTo>
                      <a:pt x="204" y="456"/>
                    </a:lnTo>
                    <a:lnTo>
                      <a:pt x="202" y="456"/>
                    </a:lnTo>
                    <a:lnTo>
                      <a:pt x="200" y="456"/>
                    </a:lnTo>
                    <a:lnTo>
                      <a:pt x="200" y="454"/>
                    </a:lnTo>
                    <a:lnTo>
                      <a:pt x="199" y="454"/>
                    </a:lnTo>
                    <a:lnTo>
                      <a:pt x="199" y="452"/>
                    </a:lnTo>
                    <a:lnTo>
                      <a:pt x="197" y="452"/>
                    </a:lnTo>
                    <a:lnTo>
                      <a:pt x="197" y="451"/>
                    </a:lnTo>
                    <a:lnTo>
                      <a:pt x="195" y="451"/>
                    </a:lnTo>
                    <a:lnTo>
                      <a:pt x="195" y="449"/>
                    </a:lnTo>
                    <a:lnTo>
                      <a:pt x="193" y="449"/>
                    </a:lnTo>
                    <a:lnTo>
                      <a:pt x="193" y="447"/>
                    </a:lnTo>
                    <a:lnTo>
                      <a:pt x="192" y="447"/>
                    </a:lnTo>
                    <a:lnTo>
                      <a:pt x="192" y="445"/>
                    </a:lnTo>
                    <a:lnTo>
                      <a:pt x="190" y="445"/>
                    </a:lnTo>
                    <a:lnTo>
                      <a:pt x="190" y="444"/>
                    </a:lnTo>
                    <a:lnTo>
                      <a:pt x="188" y="444"/>
                    </a:lnTo>
                    <a:lnTo>
                      <a:pt x="187" y="444"/>
                    </a:lnTo>
                    <a:lnTo>
                      <a:pt x="185" y="444"/>
                    </a:lnTo>
                    <a:lnTo>
                      <a:pt x="185" y="442"/>
                    </a:lnTo>
                    <a:lnTo>
                      <a:pt x="183" y="442"/>
                    </a:lnTo>
                    <a:lnTo>
                      <a:pt x="183" y="444"/>
                    </a:lnTo>
                    <a:lnTo>
                      <a:pt x="182" y="444"/>
                    </a:lnTo>
                    <a:lnTo>
                      <a:pt x="180" y="444"/>
                    </a:lnTo>
                    <a:lnTo>
                      <a:pt x="180" y="445"/>
                    </a:lnTo>
                    <a:lnTo>
                      <a:pt x="180" y="449"/>
                    </a:lnTo>
                    <a:lnTo>
                      <a:pt x="178" y="449"/>
                    </a:lnTo>
                    <a:lnTo>
                      <a:pt x="176" y="449"/>
                    </a:lnTo>
                    <a:lnTo>
                      <a:pt x="175" y="449"/>
                    </a:lnTo>
                    <a:lnTo>
                      <a:pt x="173" y="449"/>
                    </a:lnTo>
                    <a:lnTo>
                      <a:pt x="171" y="449"/>
                    </a:lnTo>
                    <a:lnTo>
                      <a:pt x="171" y="447"/>
                    </a:lnTo>
                    <a:lnTo>
                      <a:pt x="170" y="447"/>
                    </a:lnTo>
                    <a:lnTo>
                      <a:pt x="168" y="447"/>
                    </a:lnTo>
                    <a:lnTo>
                      <a:pt x="168" y="449"/>
                    </a:lnTo>
                    <a:lnTo>
                      <a:pt x="166" y="447"/>
                    </a:lnTo>
                    <a:lnTo>
                      <a:pt x="166" y="449"/>
                    </a:lnTo>
                    <a:lnTo>
                      <a:pt x="166" y="447"/>
                    </a:lnTo>
                    <a:lnTo>
                      <a:pt x="166" y="449"/>
                    </a:lnTo>
                    <a:lnTo>
                      <a:pt x="165" y="449"/>
                    </a:lnTo>
                    <a:lnTo>
                      <a:pt x="163" y="449"/>
                    </a:lnTo>
                    <a:lnTo>
                      <a:pt x="163" y="447"/>
                    </a:lnTo>
                    <a:lnTo>
                      <a:pt x="161" y="447"/>
                    </a:lnTo>
                    <a:lnTo>
                      <a:pt x="159" y="447"/>
                    </a:lnTo>
                    <a:lnTo>
                      <a:pt x="158" y="447"/>
                    </a:lnTo>
                    <a:lnTo>
                      <a:pt x="158" y="445"/>
                    </a:lnTo>
                    <a:lnTo>
                      <a:pt x="156" y="445"/>
                    </a:lnTo>
                    <a:lnTo>
                      <a:pt x="156" y="444"/>
                    </a:lnTo>
                    <a:lnTo>
                      <a:pt x="154" y="444"/>
                    </a:lnTo>
                    <a:lnTo>
                      <a:pt x="153" y="444"/>
                    </a:lnTo>
                    <a:lnTo>
                      <a:pt x="153" y="445"/>
                    </a:lnTo>
                    <a:lnTo>
                      <a:pt x="153" y="444"/>
                    </a:lnTo>
                    <a:lnTo>
                      <a:pt x="151" y="445"/>
                    </a:lnTo>
                    <a:lnTo>
                      <a:pt x="151" y="444"/>
                    </a:lnTo>
                    <a:lnTo>
                      <a:pt x="151" y="445"/>
                    </a:lnTo>
                    <a:lnTo>
                      <a:pt x="149" y="444"/>
                    </a:lnTo>
                    <a:lnTo>
                      <a:pt x="148" y="444"/>
                    </a:lnTo>
                    <a:lnTo>
                      <a:pt x="146" y="444"/>
                    </a:lnTo>
                    <a:lnTo>
                      <a:pt x="146" y="442"/>
                    </a:lnTo>
                    <a:lnTo>
                      <a:pt x="144" y="442"/>
                    </a:lnTo>
                    <a:lnTo>
                      <a:pt x="142" y="444"/>
                    </a:lnTo>
                    <a:lnTo>
                      <a:pt x="142" y="442"/>
                    </a:lnTo>
                    <a:lnTo>
                      <a:pt x="142" y="440"/>
                    </a:lnTo>
                    <a:lnTo>
                      <a:pt x="142" y="439"/>
                    </a:lnTo>
                    <a:lnTo>
                      <a:pt x="142" y="437"/>
                    </a:lnTo>
                    <a:lnTo>
                      <a:pt x="144" y="437"/>
                    </a:lnTo>
                    <a:lnTo>
                      <a:pt x="144" y="435"/>
                    </a:lnTo>
                    <a:lnTo>
                      <a:pt x="142" y="435"/>
                    </a:lnTo>
                    <a:lnTo>
                      <a:pt x="141" y="435"/>
                    </a:lnTo>
                    <a:lnTo>
                      <a:pt x="141" y="433"/>
                    </a:lnTo>
                    <a:lnTo>
                      <a:pt x="139" y="433"/>
                    </a:lnTo>
                    <a:lnTo>
                      <a:pt x="137" y="433"/>
                    </a:lnTo>
                    <a:lnTo>
                      <a:pt x="137" y="432"/>
                    </a:lnTo>
                    <a:lnTo>
                      <a:pt x="136" y="432"/>
                    </a:lnTo>
                    <a:lnTo>
                      <a:pt x="137" y="432"/>
                    </a:lnTo>
                    <a:lnTo>
                      <a:pt x="137" y="430"/>
                    </a:lnTo>
                    <a:lnTo>
                      <a:pt x="137" y="428"/>
                    </a:lnTo>
                    <a:lnTo>
                      <a:pt x="136" y="428"/>
                    </a:lnTo>
                    <a:lnTo>
                      <a:pt x="134" y="428"/>
                    </a:lnTo>
                    <a:lnTo>
                      <a:pt x="132" y="428"/>
                    </a:lnTo>
                    <a:lnTo>
                      <a:pt x="132" y="430"/>
                    </a:lnTo>
                    <a:lnTo>
                      <a:pt x="131" y="430"/>
                    </a:lnTo>
                    <a:lnTo>
                      <a:pt x="129" y="430"/>
                    </a:lnTo>
                    <a:lnTo>
                      <a:pt x="129" y="428"/>
                    </a:lnTo>
                    <a:lnTo>
                      <a:pt x="127" y="428"/>
                    </a:lnTo>
                    <a:lnTo>
                      <a:pt x="125" y="428"/>
                    </a:lnTo>
                    <a:lnTo>
                      <a:pt x="125" y="427"/>
                    </a:lnTo>
                    <a:lnTo>
                      <a:pt x="124" y="427"/>
                    </a:lnTo>
                    <a:lnTo>
                      <a:pt x="122" y="427"/>
                    </a:lnTo>
                    <a:lnTo>
                      <a:pt x="122" y="425"/>
                    </a:lnTo>
                    <a:lnTo>
                      <a:pt x="120" y="425"/>
                    </a:lnTo>
                    <a:lnTo>
                      <a:pt x="119" y="425"/>
                    </a:lnTo>
                    <a:lnTo>
                      <a:pt x="120" y="423"/>
                    </a:lnTo>
                    <a:lnTo>
                      <a:pt x="119" y="423"/>
                    </a:lnTo>
                    <a:lnTo>
                      <a:pt x="119" y="422"/>
                    </a:lnTo>
                    <a:lnTo>
                      <a:pt x="117" y="422"/>
                    </a:lnTo>
                    <a:lnTo>
                      <a:pt x="117" y="420"/>
                    </a:lnTo>
                    <a:lnTo>
                      <a:pt x="117" y="418"/>
                    </a:lnTo>
                    <a:lnTo>
                      <a:pt x="115" y="416"/>
                    </a:lnTo>
                    <a:lnTo>
                      <a:pt x="114" y="416"/>
                    </a:lnTo>
                    <a:lnTo>
                      <a:pt x="114" y="418"/>
                    </a:lnTo>
                    <a:lnTo>
                      <a:pt x="112" y="418"/>
                    </a:lnTo>
                    <a:lnTo>
                      <a:pt x="112" y="416"/>
                    </a:lnTo>
                    <a:lnTo>
                      <a:pt x="110" y="416"/>
                    </a:lnTo>
                    <a:lnTo>
                      <a:pt x="108" y="416"/>
                    </a:lnTo>
                    <a:lnTo>
                      <a:pt x="108" y="415"/>
                    </a:lnTo>
                    <a:lnTo>
                      <a:pt x="107" y="415"/>
                    </a:lnTo>
                    <a:lnTo>
                      <a:pt x="105" y="415"/>
                    </a:lnTo>
                    <a:lnTo>
                      <a:pt x="105" y="413"/>
                    </a:lnTo>
                    <a:lnTo>
                      <a:pt x="103" y="413"/>
                    </a:lnTo>
                    <a:lnTo>
                      <a:pt x="103" y="411"/>
                    </a:lnTo>
                    <a:lnTo>
                      <a:pt x="102" y="411"/>
                    </a:lnTo>
                    <a:lnTo>
                      <a:pt x="102" y="410"/>
                    </a:lnTo>
                    <a:lnTo>
                      <a:pt x="100" y="410"/>
                    </a:lnTo>
                    <a:lnTo>
                      <a:pt x="98" y="408"/>
                    </a:lnTo>
                    <a:lnTo>
                      <a:pt x="98" y="406"/>
                    </a:lnTo>
                    <a:lnTo>
                      <a:pt x="97" y="406"/>
                    </a:lnTo>
                    <a:lnTo>
                      <a:pt x="97" y="405"/>
                    </a:lnTo>
                    <a:lnTo>
                      <a:pt x="95" y="405"/>
                    </a:lnTo>
                    <a:lnTo>
                      <a:pt x="95" y="403"/>
                    </a:lnTo>
                    <a:lnTo>
                      <a:pt x="93" y="403"/>
                    </a:lnTo>
                    <a:lnTo>
                      <a:pt x="91" y="401"/>
                    </a:lnTo>
                    <a:lnTo>
                      <a:pt x="93" y="401"/>
                    </a:lnTo>
                    <a:lnTo>
                      <a:pt x="91" y="401"/>
                    </a:lnTo>
                    <a:lnTo>
                      <a:pt x="93" y="401"/>
                    </a:lnTo>
                    <a:lnTo>
                      <a:pt x="93" y="399"/>
                    </a:lnTo>
                    <a:lnTo>
                      <a:pt x="95" y="399"/>
                    </a:lnTo>
                    <a:lnTo>
                      <a:pt x="95" y="398"/>
                    </a:lnTo>
                    <a:lnTo>
                      <a:pt x="97" y="398"/>
                    </a:lnTo>
                    <a:lnTo>
                      <a:pt x="97" y="396"/>
                    </a:lnTo>
                    <a:lnTo>
                      <a:pt x="98" y="396"/>
                    </a:lnTo>
                    <a:lnTo>
                      <a:pt x="98" y="394"/>
                    </a:lnTo>
                    <a:lnTo>
                      <a:pt x="98" y="396"/>
                    </a:lnTo>
                    <a:lnTo>
                      <a:pt x="100" y="396"/>
                    </a:lnTo>
                    <a:lnTo>
                      <a:pt x="102" y="396"/>
                    </a:lnTo>
                    <a:lnTo>
                      <a:pt x="102" y="398"/>
                    </a:lnTo>
                    <a:lnTo>
                      <a:pt x="102" y="396"/>
                    </a:lnTo>
                    <a:lnTo>
                      <a:pt x="103" y="398"/>
                    </a:lnTo>
                    <a:lnTo>
                      <a:pt x="103" y="396"/>
                    </a:lnTo>
                    <a:lnTo>
                      <a:pt x="103" y="398"/>
                    </a:lnTo>
                    <a:lnTo>
                      <a:pt x="103" y="396"/>
                    </a:lnTo>
                    <a:lnTo>
                      <a:pt x="105" y="396"/>
                    </a:lnTo>
                    <a:lnTo>
                      <a:pt x="107" y="396"/>
                    </a:lnTo>
                    <a:lnTo>
                      <a:pt x="105" y="396"/>
                    </a:lnTo>
                    <a:lnTo>
                      <a:pt x="107" y="398"/>
                    </a:lnTo>
                    <a:lnTo>
                      <a:pt x="107" y="396"/>
                    </a:lnTo>
                    <a:lnTo>
                      <a:pt x="108" y="396"/>
                    </a:lnTo>
                    <a:lnTo>
                      <a:pt x="108" y="394"/>
                    </a:lnTo>
                    <a:lnTo>
                      <a:pt x="108" y="393"/>
                    </a:lnTo>
                    <a:lnTo>
                      <a:pt x="107" y="393"/>
                    </a:lnTo>
                    <a:lnTo>
                      <a:pt x="107" y="391"/>
                    </a:lnTo>
                    <a:lnTo>
                      <a:pt x="105" y="391"/>
                    </a:lnTo>
                    <a:lnTo>
                      <a:pt x="107" y="391"/>
                    </a:lnTo>
                    <a:lnTo>
                      <a:pt x="105" y="389"/>
                    </a:lnTo>
                    <a:lnTo>
                      <a:pt x="103" y="391"/>
                    </a:lnTo>
                    <a:lnTo>
                      <a:pt x="103" y="389"/>
                    </a:lnTo>
                    <a:lnTo>
                      <a:pt x="103" y="388"/>
                    </a:lnTo>
                    <a:lnTo>
                      <a:pt x="103" y="386"/>
                    </a:lnTo>
                    <a:lnTo>
                      <a:pt x="102" y="386"/>
                    </a:lnTo>
                    <a:lnTo>
                      <a:pt x="102" y="384"/>
                    </a:lnTo>
                    <a:lnTo>
                      <a:pt x="102" y="382"/>
                    </a:lnTo>
                    <a:lnTo>
                      <a:pt x="103" y="382"/>
                    </a:lnTo>
                    <a:lnTo>
                      <a:pt x="103" y="381"/>
                    </a:lnTo>
                    <a:lnTo>
                      <a:pt x="105" y="381"/>
                    </a:lnTo>
                    <a:lnTo>
                      <a:pt x="103" y="381"/>
                    </a:lnTo>
                    <a:lnTo>
                      <a:pt x="103" y="379"/>
                    </a:lnTo>
                    <a:lnTo>
                      <a:pt x="105" y="379"/>
                    </a:lnTo>
                    <a:lnTo>
                      <a:pt x="105" y="377"/>
                    </a:lnTo>
                    <a:lnTo>
                      <a:pt x="105" y="376"/>
                    </a:lnTo>
                    <a:lnTo>
                      <a:pt x="107" y="376"/>
                    </a:lnTo>
                    <a:lnTo>
                      <a:pt x="107" y="374"/>
                    </a:lnTo>
                    <a:lnTo>
                      <a:pt x="108" y="374"/>
                    </a:lnTo>
                    <a:lnTo>
                      <a:pt x="107" y="374"/>
                    </a:lnTo>
                    <a:lnTo>
                      <a:pt x="108" y="374"/>
                    </a:lnTo>
                    <a:lnTo>
                      <a:pt x="107" y="374"/>
                    </a:lnTo>
                    <a:lnTo>
                      <a:pt x="108" y="372"/>
                    </a:lnTo>
                    <a:lnTo>
                      <a:pt x="110" y="374"/>
                    </a:lnTo>
                    <a:lnTo>
                      <a:pt x="110" y="372"/>
                    </a:lnTo>
                    <a:lnTo>
                      <a:pt x="108" y="372"/>
                    </a:lnTo>
                    <a:lnTo>
                      <a:pt x="110" y="371"/>
                    </a:lnTo>
                    <a:lnTo>
                      <a:pt x="112" y="372"/>
                    </a:lnTo>
                    <a:lnTo>
                      <a:pt x="112" y="371"/>
                    </a:lnTo>
                    <a:lnTo>
                      <a:pt x="110" y="371"/>
                    </a:lnTo>
                    <a:lnTo>
                      <a:pt x="110" y="369"/>
                    </a:lnTo>
                    <a:lnTo>
                      <a:pt x="112" y="369"/>
                    </a:lnTo>
                    <a:lnTo>
                      <a:pt x="112" y="371"/>
                    </a:lnTo>
                    <a:lnTo>
                      <a:pt x="114" y="371"/>
                    </a:lnTo>
                    <a:lnTo>
                      <a:pt x="114" y="372"/>
                    </a:lnTo>
                    <a:lnTo>
                      <a:pt x="114" y="371"/>
                    </a:lnTo>
                    <a:lnTo>
                      <a:pt x="115" y="371"/>
                    </a:lnTo>
                    <a:lnTo>
                      <a:pt x="114" y="371"/>
                    </a:lnTo>
                    <a:lnTo>
                      <a:pt x="114" y="369"/>
                    </a:lnTo>
                    <a:lnTo>
                      <a:pt x="114" y="367"/>
                    </a:lnTo>
                    <a:lnTo>
                      <a:pt x="115" y="367"/>
                    </a:lnTo>
                    <a:lnTo>
                      <a:pt x="115" y="369"/>
                    </a:lnTo>
                    <a:lnTo>
                      <a:pt x="115" y="371"/>
                    </a:lnTo>
                    <a:lnTo>
                      <a:pt x="117" y="371"/>
                    </a:lnTo>
                    <a:lnTo>
                      <a:pt x="115" y="369"/>
                    </a:lnTo>
                    <a:lnTo>
                      <a:pt x="117" y="371"/>
                    </a:lnTo>
                    <a:lnTo>
                      <a:pt x="119" y="372"/>
                    </a:lnTo>
                    <a:lnTo>
                      <a:pt x="119" y="371"/>
                    </a:lnTo>
                    <a:lnTo>
                      <a:pt x="117" y="371"/>
                    </a:lnTo>
                    <a:lnTo>
                      <a:pt x="117" y="369"/>
                    </a:lnTo>
                    <a:lnTo>
                      <a:pt x="115" y="367"/>
                    </a:lnTo>
                    <a:lnTo>
                      <a:pt x="117" y="367"/>
                    </a:lnTo>
                    <a:lnTo>
                      <a:pt x="119" y="367"/>
                    </a:lnTo>
                    <a:lnTo>
                      <a:pt x="119" y="369"/>
                    </a:lnTo>
                    <a:lnTo>
                      <a:pt x="120" y="369"/>
                    </a:lnTo>
                    <a:lnTo>
                      <a:pt x="120" y="367"/>
                    </a:lnTo>
                    <a:lnTo>
                      <a:pt x="119" y="367"/>
                    </a:lnTo>
                    <a:lnTo>
                      <a:pt x="120" y="367"/>
                    </a:lnTo>
                    <a:lnTo>
                      <a:pt x="120" y="365"/>
                    </a:lnTo>
                    <a:lnTo>
                      <a:pt x="122" y="365"/>
                    </a:lnTo>
                    <a:lnTo>
                      <a:pt x="122" y="367"/>
                    </a:lnTo>
                    <a:lnTo>
                      <a:pt x="120" y="367"/>
                    </a:lnTo>
                    <a:lnTo>
                      <a:pt x="120" y="369"/>
                    </a:lnTo>
                    <a:lnTo>
                      <a:pt x="120" y="371"/>
                    </a:lnTo>
                    <a:lnTo>
                      <a:pt x="122" y="371"/>
                    </a:lnTo>
                    <a:lnTo>
                      <a:pt x="122" y="369"/>
                    </a:lnTo>
                    <a:lnTo>
                      <a:pt x="122" y="367"/>
                    </a:lnTo>
                    <a:lnTo>
                      <a:pt x="122" y="369"/>
                    </a:lnTo>
                    <a:lnTo>
                      <a:pt x="124" y="369"/>
                    </a:lnTo>
                    <a:lnTo>
                      <a:pt x="122" y="369"/>
                    </a:lnTo>
                    <a:lnTo>
                      <a:pt x="122" y="367"/>
                    </a:lnTo>
                    <a:lnTo>
                      <a:pt x="124" y="367"/>
                    </a:lnTo>
                    <a:lnTo>
                      <a:pt x="124" y="369"/>
                    </a:lnTo>
                    <a:lnTo>
                      <a:pt x="125" y="367"/>
                    </a:lnTo>
                    <a:lnTo>
                      <a:pt x="127" y="367"/>
                    </a:lnTo>
                    <a:lnTo>
                      <a:pt x="129" y="369"/>
                    </a:lnTo>
                    <a:lnTo>
                      <a:pt x="129" y="367"/>
                    </a:lnTo>
                    <a:lnTo>
                      <a:pt x="129" y="369"/>
                    </a:lnTo>
                    <a:lnTo>
                      <a:pt x="129" y="367"/>
                    </a:lnTo>
                    <a:lnTo>
                      <a:pt x="129" y="365"/>
                    </a:lnTo>
                    <a:lnTo>
                      <a:pt x="131" y="365"/>
                    </a:lnTo>
                    <a:lnTo>
                      <a:pt x="131" y="367"/>
                    </a:lnTo>
                    <a:lnTo>
                      <a:pt x="131" y="365"/>
                    </a:lnTo>
                    <a:lnTo>
                      <a:pt x="132" y="365"/>
                    </a:lnTo>
                    <a:lnTo>
                      <a:pt x="132" y="367"/>
                    </a:lnTo>
                    <a:lnTo>
                      <a:pt x="134" y="367"/>
                    </a:lnTo>
                    <a:lnTo>
                      <a:pt x="134" y="365"/>
                    </a:lnTo>
                    <a:lnTo>
                      <a:pt x="132" y="365"/>
                    </a:lnTo>
                    <a:lnTo>
                      <a:pt x="132" y="364"/>
                    </a:lnTo>
                    <a:lnTo>
                      <a:pt x="134" y="364"/>
                    </a:lnTo>
                    <a:lnTo>
                      <a:pt x="136" y="364"/>
                    </a:lnTo>
                    <a:lnTo>
                      <a:pt x="136" y="362"/>
                    </a:lnTo>
                    <a:lnTo>
                      <a:pt x="136" y="364"/>
                    </a:lnTo>
                    <a:lnTo>
                      <a:pt x="136" y="362"/>
                    </a:lnTo>
                    <a:lnTo>
                      <a:pt x="134" y="362"/>
                    </a:lnTo>
                    <a:lnTo>
                      <a:pt x="136" y="362"/>
                    </a:lnTo>
                    <a:lnTo>
                      <a:pt x="136" y="360"/>
                    </a:lnTo>
                    <a:lnTo>
                      <a:pt x="137" y="360"/>
                    </a:lnTo>
                    <a:lnTo>
                      <a:pt x="137" y="359"/>
                    </a:lnTo>
                    <a:lnTo>
                      <a:pt x="136" y="359"/>
                    </a:lnTo>
                    <a:lnTo>
                      <a:pt x="137" y="359"/>
                    </a:lnTo>
                    <a:lnTo>
                      <a:pt x="137" y="357"/>
                    </a:lnTo>
                    <a:lnTo>
                      <a:pt x="137" y="359"/>
                    </a:lnTo>
                    <a:lnTo>
                      <a:pt x="137" y="357"/>
                    </a:lnTo>
                    <a:lnTo>
                      <a:pt x="137" y="355"/>
                    </a:lnTo>
                    <a:lnTo>
                      <a:pt x="136" y="357"/>
                    </a:lnTo>
                    <a:lnTo>
                      <a:pt x="137" y="355"/>
                    </a:lnTo>
                    <a:lnTo>
                      <a:pt x="137" y="354"/>
                    </a:lnTo>
                    <a:lnTo>
                      <a:pt x="137" y="355"/>
                    </a:lnTo>
                    <a:lnTo>
                      <a:pt x="137" y="354"/>
                    </a:lnTo>
                    <a:lnTo>
                      <a:pt x="139" y="354"/>
                    </a:lnTo>
                    <a:lnTo>
                      <a:pt x="139" y="352"/>
                    </a:lnTo>
                    <a:lnTo>
                      <a:pt x="141" y="350"/>
                    </a:lnTo>
                    <a:lnTo>
                      <a:pt x="141" y="352"/>
                    </a:lnTo>
                    <a:lnTo>
                      <a:pt x="141" y="350"/>
                    </a:lnTo>
                    <a:lnTo>
                      <a:pt x="141" y="348"/>
                    </a:lnTo>
                    <a:lnTo>
                      <a:pt x="142" y="348"/>
                    </a:lnTo>
                    <a:lnTo>
                      <a:pt x="144" y="348"/>
                    </a:lnTo>
                    <a:lnTo>
                      <a:pt x="142" y="348"/>
                    </a:lnTo>
                    <a:lnTo>
                      <a:pt x="144" y="348"/>
                    </a:lnTo>
                    <a:lnTo>
                      <a:pt x="142" y="348"/>
                    </a:lnTo>
                    <a:lnTo>
                      <a:pt x="142" y="347"/>
                    </a:lnTo>
                    <a:lnTo>
                      <a:pt x="142" y="348"/>
                    </a:lnTo>
                    <a:lnTo>
                      <a:pt x="141" y="347"/>
                    </a:lnTo>
                    <a:lnTo>
                      <a:pt x="142" y="347"/>
                    </a:lnTo>
                    <a:lnTo>
                      <a:pt x="142" y="345"/>
                    </a:lnTo>
                    <a:lnTo>
                      <a:pt x="144" y="345"/>
                    </a:lnTo>
                    <a:lnTo>
                      <a:pt x="144" y="343"/>
                    </a:lnTo>
                    <a:lnTo>
                      <a:pt x="146" y="343"/>
                    </a:lnTo>
                    <a:lnTo>
                      <a:pt x="146" y="342"/>
                    </a:lnTo>
                    <a:lnTo>
                      <a:pt x="148" y="342"/>
                    </a:lnTo>
                    <a:lnTo>
                      <a:pt x="148" y="340"/>
                    </a:lnTo>
                    <a:lnTo>
                      <a:pt x="148" y="342"/>
                    </a:lnTo>
                    <a:lnTo>
                      <a:pt x="149" y="342"/>
                    </a:lnTo>
                    <a:lnTo>
                      <a:pt x="149" y="340"/>
                    </a:lnTo>
                    <a:lnTo>
                      <a:pt x="148" y="340"/>
                    </a:lnTo>
                    <a:lnTo>
                      <a:pt x="148" y="338"/>
                    </a:lnTo>
                    <a:lnTo>
                      <a:pt x="149" y="338"/>
                    </a:lnTo>
                    <a:lnTo>
                      <a:pt x="151" y="338"/>
                    </a:lnTo>
                    <a:lnTo>
                      <a:pt x="149" y="338"/>
                    </a:lnTo>
                    <a:lnTo>
                      <a:pt x="151" y="338"/>
                    </a:lnTo>
                    <a:lnTo>
                      <a:pt x="149" y="338"/>
                    </a:lnTo>
                    <a:lnTo>
                      <a:pt x="149" y="337"/>
                    </a:lnTo>
                    <a:lnTo>
                      <a:pt x="151" y="337"/>
                    </a:lnTo>
                    <a:lnTo>
                      <a:pt x="153" y="337"/>
                    </a:lnTo>
                    <a:lnTo>
                      <a:pt x="153" y="335"/>
                    </a:lnTo>
                    <a:lnTo>
                      <a:pt x="154" y="333"/>
                    </a:lnTo>
                    <a:lnTo>
                      <a:pt x="154" y="331"/>
                    </a:lnTo>
                    <a:lnTo>
                      <a:pt x="153" y="331"/>
                    </a:lnTo>
                    <a:lnTo>
                      <a:pt x="153" y="330"/>
                    </a:lnTo>
                    <a:lnTo>
                      <a:pt x="154" y="330"/>
                    </a:lnTo>
                    <a:lnTo>
                      <a:pt x="156" y="330"/>
                    </a:lnTo>
                    <a:lnTo>
                      <a:pt x="154" y="330"/>
                    </a:lnTo>
                    <a:lnTo>
                      <a:pt x="156" y="328"/>
                    </a:lnTo>
                    <a:lnTo>
                      <a:pt x="154" y="328"/>
                    </a:lnTo>
                    <a:lnTo>
                      <a:pt x="156" y="328"/>
                    </a:lnTo>
                    <a:lnTo>
                      <a:pt x="156" y="326"/>
                    </a:lnTo>
                    <a:lnTo>
                      <a:pt x="158" y="326"/>
                    </a:lnTo>
                    <a:lnTo>
                      <a:pt x="158" y="325"/>
                    </a:lnTo>
                    <a:lnTo>
                      <a:pt x="159" y="326"/>
                    </a:lnTo>
                    <a:lnTo>
                      <a:pt x="158" y="325"/>
                    </a:lnTo>
                    <a:lnTo>
                      <a:pt x="156" y="325"/>
                    </a:lnTo>
                    <a:lnTo>
                      <a:pt x="156" y="326"/>
                    </a:lnTo>
                    <a:lnTo>
                      <a:pt x="154" y="326"/>
                    </a:lnTo>
                    <a:lnTo>
                      <a:pt x="154" y="328"/>
                    </a:lnTo>
                    <a:lnTo>
                      <a:pt x="153" y="326"/>
                    </a:lnTo>
                    <a:lnTo>
                      <a:pt x="153" y="328"/>
                    </a:lnTo>
                    <a:lnTo>
                      <a:pt x="151" y="328"/>
                    </a:lnTo>
                    <a:lnTo>
                      <a:pt x="151" y="326"/>
                    </a:lnTo>
                    <a:lnTo>
                      <a:pt x="149" y="326"/>
                    </a:lnTo>
                    <a:lnTo>
                      <a:pt x="151" y="326"/>
                    </a:lnTo>
                    <a:lnTo>
                      <a:pt x="151" y="325"/>
                    </a:lnTo>
                    <a:lnTo>
                      <a:pt x="149" y="325"/>
                    </a:lnTo>
                    <a:lnTo>
                      <a:pt x="149" y="323"/>
                    </a:lnTo>
                    <a:lnTo>
                      <a:pt x="151" y="323"/>
                    </a:lnTo>
                    <a:lnTo>
                      <a:pt x="153" y="323"/>
                    </a:lnTo>
                    <a:lnTo>
                      <a:pt x="151" y="321"/>
                    </a:lnTo>
                    <a:lnTo>
                      <a:pt x="153" y="323"/>
                    </a:lnTo>
                    <a:lnTo>
                      <a:pt x="153" y="321"/>
                    </a:lnTo>
                    <a:lnTo>
                      <a:pt x="153" y="320"/>
                    </a:lnTo>
                    <a:lnTo>
                      <a:pt x="154" y="320"/>
                    </a:lnTo>
                    <a:lnTo>
                      <a:pt x="153" y="320"/>
                    </a:lnTo>
                    <a:lnTo>
                      <a:pt x="151" y="320"/>
                    </a:lnTo>
                    <a:lnTo>
                      <a:pt x="149" y="320"/>
                    </a:lnTo>
                    <a:lnTo>
                      <a:pt x="149" y="321"/>
                    </a:lnTo>
                    <a:lnTo>
                      <a:pt x="149" y="323"/>
                    </a:lnTo>
                    <a:lnTo>
                      <a:pt x="148" y="325"/>
                    </a:lnTo>
                    <a:lnTo>
                      <a:pt x="148" y="323"/>
                    </a:lnTo>
                    <a:lnTo>
                      <a:pt x="148" y="321"/>
                    </a:lnTo>
                    <a:lnTo>
                      <a:pt x="146" y="323"/>
                    </a:lnTo>
                    <a:lnTo>
                      <a:pt x="146" y="321"/>
                    </a:lnTo>
                    <a:lnTo>
                      <a:pt x="146" y="320"/>
                    </a:lnTo>
                    <a:lnTo>
                      <a:pt x="144" y="320"/>
                    </a:lnTo>
                    <a:lnTo>
                      <a:pt x="142" y="318"/>
                    </a:lnTo>
                    <a:lnTo>
                      <a:pt x="144" y="318"/>
                    </a:lnTo>
                    <a:lnTo>
                      <a:pt x="144" y="316"/>
                    </a:lnTo>
                    <a:lnTo>
                      <a:pt x="146" y="316"/>
                    </a:lnTo>
                    <a:lnTo>
                      <a:pt x="144" y="316"/>
                    </a:lnTo>
                    <a:lnTo>
                      <a:pt x="142" y="316"/>
                    </a:lnTo>
                    <a:lnTo>
                      <a:pt x="142" y="318"/>
                    </a:lnTo>
                    <a:lnTo>
                      <a:pt x="142" y="316"/>
                    </a:lnTo>
                    <a:lnTo>
                      <a:pt x="142" y="314"/>
                    </a:lnTo>
                    <a:lnTo>
                      <a:pt x="142" y="313"/>
                    </a:lnTo>
                    <a:lnTo>
                      <a:pt x="142" y="311"/>
                    </a:lnTo>
                    <a:lnTo>
                      <a:pt x="144" y="311"/>
                    </a:lnTo>
                    <a:lnTo>
                      <a:pt x="142" y="311"/>
                    </a:lnTo>
                    <a:lnTo>
                      <a:pt x="144" y="313"/>
                    </a:lnTo>
                    <a:lnTo>
                      <a:pt x="142" y="313"/>
                    </a:lnTo>
                    <a:lnTo>
                      <a:pt x="144" y="313"/>
                    </a:lnTo>
                    <a:lnTo>
                      <a:pt x="146" y="313"/>
                    </a:lnTo>
                    <a:lnTo>
                      <a:pt x="146" y="311"/>
                    </a:lnTo>
                    <a:lnTo>
                      <a:pt x="146" y="309"/>
                    </a:lnTo>
                    <a:lnTo>
                      <a:pt x="148" y="309"/>
                    </a:lnTo>
                    <a:lnTo>
                      <a:pt x="148" y="308"/>
                    </a:lnTo>
                    <a:lnTo>
                      <a:pt x="148" y="306"/>
                    </a:lnTo>
                    <a:lnTo>
                      <a:pt x="149" y="304"/>
                    </a:lnTo>
                    <a:lnTo>
                      <a:pt x="149" y="303"/>
                    </a:lnTo>
                    <a:lnTo>
                      <a:pt x="149" y="301"/>
                    </a:lnTo>
                    <a:lnTo>
                      <a:pt x="149" y="299"/>
                    </a:lnTo>
                    <a:lnTo>
                      <a:pt x="149" y="297"/>
                    </a:lnTo>
                    <a:lnTo>
                      <a:pt x="149" y="296"/>
                    </a:lnTo>
                    <a:lnTo>
                      <a:pt x="149" y="297"/>
                    </a:lnTo>
                    <a:lnTo>
                      <a:pt x="151" y="297"/>
                    </a:lnTo>
                    <a:lnTo>
                      <a:pt x="149" y="296"/>
                    </a:lnTo>
                    <a:lnTo>
                      <a:pt x="148" y="296"/>
                    </a:lnTo>
                    <a:lnTo>
                      <a:pt x="149" y="294"/>
                    </a:lnTo>
                    <a:lnTo>
                      <a:pt x="148" y="294"/>
                    </a:lnTo>
                    <a:lnTo>
                      <a:pt x="148" y="292"/>
                    </a:lnTo>
                    <a:lnTo>
                      <a:pt x="148" y="291"/>
                    </a:lnTo>
                    <a:lnTo>
                      <a:pt x="148" y="289"/>
                    </a:lnTo>
                    <a:lnTo>
                      <a:pt x="148" y="287"/>
                    </a:lnTo>
                    <a:lnTo>
                      <a:pt x="148" y="285"/>
                    </a:lnTo>
                    <a:lnTo>
                      <a:pt x="148" y="284"/>
                    </a:lnTo>
                    <a:lnTo>
                      <a:pt x="148" y="282"/>
                    </a:lnTo>
                    <a:lnTo>
                      <a:pt x="148" y="284"/>
                    </a:lnTo>
                    <a:lnTo>
                      <a:pt x="148" y="282"/>
                    </a:lnTo>
                    <a:lnTo>
                      <a:pt x="146" y="282"/>
                    </a:lnTo>
                    <a:lnTo>
                      <a:pt x="148" y="280"/>
                    </a:lnTo>
                    <a:lnTo>
                      <a:pt x="148" y="279"/>
                    </a:lnTo>
                    <a:lnTo>
                      <a:pt x="148" y="277"/>
                    </a:lnTo>
                    <a:lnTo>
                      <a:pt x="146" y="277"/>
                    </a:lnTo>
                    <a:lnTo>
                      <a:pt x="148" y="275"/>
                    </a:lnTo>
                    <a:lnTo>
                      <a:pt x="146" y="275"/>
                    </a:lnTo>
                    <a:lnTo>
                      <a:pt x="146" y="274"/>
                    </a:lnTo>
                    <a:lnTo>
                      <a:pt x="146" y="272"/>
                    </a:lnTo>
                    <a:lnTo>
                      <a:pt x="144" y="272"/>
                    </a:lnTo>
                    <a:lnTo>
                      <a:pt x="142" y="272"/>
                    </a:lnTo>
                    <a:lnTo>
                      <a:pt x="142" y="270"/>
                    </a:lnTo>
                    <a:lnTo>
                      <a:pt x="142" y="268"/>
                    </a:lnTo>
                    <a:lnTo>
                      <a:pt x="144" y="267"/>
                    </a:lnTo>
                    <a:lnTo>
                      <a:pt x="146" y="267"/>
                    </a:lnTo>
                    <a:lnTo>
                      <a:pt x="148" y="267"/>
                    </a:lnTo>
                    <a:lnTo>
                      <a:pt x="149" y="267"/>
                    </a:lnTo>
                    <a:lnTo>
                      <a:pt x="149" y="265"/>
                    </a:lnTo>
                    <a:lnTo>
                      <a:pt x="151" y="265"/>
                    </a:lnTo>
                    <a:lnTo>
                      <a:pt x="151" y="263"/>
                    </a:lnTo>
                    <a:lnTo>
                      <a:pt x="151" y="262"/>
                    </a:lnTo>
                    <a:lnTo>
                      <a:pt x="153" y="262"/>
                    </a:lnTo>
                    <a:lnTo>
                      <a:pt x="151" y="262"/>
                    </a:lnTo>
                    <a:lnTo>
                      <a:pt x="151" y="260"/>
                    </a:lnTo>
                    <a:lnTo>
                      <a:pt x="151" y="258"/>
                    </a:lnTo>
                    <a:lnTo>
                      <a:pt x="151" y="260"/>
                    </a:lnTo>
                    <a:lnTo>
                      <a:pt x="149" y="258"/>
                    </a:lnTo>
                    <a:lnTo>
                      <a:pt x="149" y="257"/>
                    </a:lnTo>
                    <a:lnTo>
                      <a:pt x="149" y="255"/>
                    </a:lnTo>
                    <a:lnTo>
                      <a:pt x="149" y="253"/>
                    </a:lnTo>
                    <a:lnTo>
                      <a:pt x="148" y="253"/>
                    </a:lnTo>
                    <a:lnTo>
                      <a:pt x="148" y="251"/>
                    </a:lnTo>
                    <a:lnTo>
                      <a:pt x="148" y="253"/>
                    </a:lnTo>
                    <a:lnTo>
                      <a:pt x="148" y="251"/>
                    </a:lnTo>
                    <a:lnTo>
                      <a:pt x="146" y="251"/>
                    </a:lnTo>
                    <a:lnTo>
                      <a:pt x="146" y="250"/>
                    </a:lnTo>
                    <a:lnTo>
                      <a:pt x="144" y="250"/>
                    </a:lnTo>
                    <a:lnTo>
                      <a:pt x="144" y="248"/>
                    </a:lnTo>
                    <a:lnTo>
                      <a:pt x="144" y="246"/>
                    </a:lnTo>
                    <a:lnTo>
                      <a:pt x="144" y="245"/>
                    </a:lnTo>
                    <a:lnTo>
                      <a:pt x="144" y="243"/>
                    </a:lnTo>
                    <a:lnTo>
                      <a:pt x="144" y="245"/>
                    </a:lnTo>
                    <a:lnTo>
                      <a:pt x="146" y="245"/>
                    </a:lnTo>
                    <a:lnTo>
                      <a:pt x="146" y="246"/>
                    </a:lnTo>
                    <a:lnTo>
                      <a:pt x="146" y="245"/>
                    </a:lnTo>
                    <a:lnTo>
                      <a:pt x="148" y="245"/>
                    </a:lnTo>
                    <a:lnTo>
                      <a:pt x="148" y="243"/>
                    </a:lnTo>
                    <a:lnTo>
                      <a:pt x="148" y="241"/>
                    </a:lnTo>
                    <a:lnTo>
                      <a:pt x="146" y="241"/>
                    </a:lnTo>
                    <a:lnTo>
                      <a:pt x="148" y="240"/>
                    </a:lnTo>
                    <a:lnTo>
                      <a:pt x="148" y="241"/>
                    </a:lnTo>
                    <a:lnTo>
                      <a:pt x="148" y="240"/>
                    </a:lnTo>
                    <a:lnTo>
                      <a:pt x="148" y="238"/>
                    </a:lnTo>
                    <a:lnTo>
                      <a:pt x="148" y="236"/>
                    </a:lnTo>
                    <a:lnTo>
                      <a:pt x="149" y="236"/>
                    </a:lnTo>
                    <a:lnTo>
                      <a:pt x="149" y="234"/>
                    </a:lnTo>
                    <a:lnTo>
                      <a:pt x="148" y="234"/>
                    </a:lnTo>
                    <a:lnTo>
                      <a:pt x="148" y="233"/>
                    </a:lnTo>
                    <a:lnTo>
                      <a:pt x="146" y="233"/>
                    </a:lnTo>
                    <a:lnTo>
                      <a:pt x="146" y="231"/>
                    </a:lnTo>
                    <a:lnTo>
                      <a:pt x="146" y="229"/>
                    </a:lnTo>
                    <a:lnTo>
                      <a:pt x="144" y="229"/>
                    </a:lnTo>
                    <a:lnTo>
                      <a:pt x="142" y="231"/>
                    </a:lnTo>
                    <a:lnTo>
                      <a:pt x="142" y="229"/>
                    </a:lnTo>
                    <a:lnTo>
                      <a:pt x="141" y="229"/>
                    </a:lnTo>
                    <a:lnTo>
                      <a:pt x="141" y="228"/>
                    </a:lnTo>
                    <a:lnTo>
                      <a:pt x="141" y="226"/>
                    </a:lnTo>
                    <a:lnTo>
                      <a:pt x="139" y="226"/>
                    </a:lnTo>
                    <a:lnTo>
                      <a:pt x="139" y="224"/>
                    </a:lnTo>
                    <a:lnTo>
                      <a:pt x="137" y="224"/>
                    </a:lnTo>
                    <a:lnTo>
                      <a:pt x="137" y="226"/>
                    </a:lnTo>
                    <a:lnTo>
                      <a:pt x="136" y="226"/>
                    </a:lnTo>
                    <a:lnTo>
                      <a:pt x="136" y="224"/>
                    </a:lnTo>
                    <a:lnTo>
                      <a:pt x="136" y="223"/>
                    </a:lnTo>
                    <a:lnTo>
                      <a:pt x="137" y="223"/>
                    </a:lnTo>
                    <a:lnTo>
                      <a:pt x="136" y="223"/>
                    </a:lnTo>
                    <a:lnTo>
                      <a:pt x="137" y="221"/>
                    </a:lnTo>
                    <a:lnTo>
                      <a:pt x="137" y="219"/>
                    </a:lnTo>
                    <a:lnTo>
                      <a:pt x="136" y="217"/>
                    </a:lnTo>
                    <a:lnTo>
                      <a:pt x="134" y="217"/>
                    </a:lnTo>
                    <a:lnTo>
                      <a:pt x="134" y="216"/>
                    </a:lnTo>
                    <a:lnTo>
                      <a:pt x="134" y="214"/>
                    </a:lnTo>
                    <a:lnTo>
                      <a:pt x="132" y="216"/>
                    </a:lnTo>
                    <a:lnTo>
                      <a:pt x="132" y="214"/>
                    </a:lnTo>
                    <a:lnTo>
                      <a:pt x="131" y="214"/>
                    </a:lnTo>
                    <a:lnTo>
                      <a:pt x="131" y="212"/>
                    </a:lnTo>
                    <a:lnTo>
                      <a:pt x="131" y="209"/>
                    </a:lnTo>
                    <a:lnTo>
                      <a:pt x="131" y="207"/>
                    </a:lnTo>
                    <a:lnTo>
                      <a:pt x="132" y="204"/>
                    </a:lnTo>
                    <a:lnTo>
                      <a:pt x="134" y="204"/>
                    </a:lnTo>
                    <a:lnTo>
                      <a:pt x="136" y="204"/>
                    </a:lnTo>
                    <a:lnTo>
                      <a:pt x="136" y="202"/>
                    </a:lnTo>
                    <a:lnTo>
                      <a:pt x="136" y="200"/>
                    </a:lnTo>
                    <a:lnTo>
                      <a:pt x="136" y="199"/>
                    </a:lnTo>
                    <a:lnTo>
                      <a:pt x="134" y="199"/>
                    </a:lnTo>
                    <a:lnTo>
                      <a:pt x="136" y="199"/>
                    </a:lnTo>
                    <a:lnTo>
                      <a:pt x="134" y="197"/>
                    </a:lnTo>
                    <a:lnTo>
                      <a:pt x="136" y="197"/>
                    </a:lnTo>
                    <a:lnTo>
                      <a:pt x="136" y="195"/>
                    </a:lnTo>
                    <a:lnTo>
                      <a:pt x="136" y="197"/>
                    </a:lnTo>
                    <a:lnTo>
                      <a:pt x="137" y="197"/>
                    </a:lnTo>
                    <a:lnTo>
                      <a:pt x="139" y="199"/>
                    </a:lnTo>
                    <a:lnTo>
                      <a:pt x="139" y="200"/>
                    </a:lnTo>
                    <a:lnTo>
                      <a:pt x="139" y="202"/>
                    </a:lnTo>
                    <a:lnTo>
                      <a:pt x="141" y="202"/>
                    </a:lnTo>
                    <a:lnTo>
                      <a:pt x="142" y="202"/>
                    </a:lnTo>
                    <a:lnTo>
                      <a:pt x="142" y="200"/>
                    </a:lnTo>
                    <a:lnTo>
                      <a:pt x="144" y="200"/>
                    </a:lnTo>
                    <a:lnTo>
                      <a:pt x="144" y="199"/>
                    </a:lnTo>
                    <a:lnTo>
                      <a:pt x="144" y="197"/>
                    </a:lnTo>
                    <a:lnTo>
                      <a:pt x="146" y="197"/>
                    </a:lnTo>
                    <a:lnTo>
                      <a:pt x="146" y="195"/>
                    </a:lnTo>
                    <a:lnTo>
                      <a:pt x="146" y="194"/>
                    </a:lnTo>
                    <a:lnTo>
                      <a:pt x="148" y="194"/>
                    </a:lnTo>
                    <a:lnTo>
                      <a:pt x="146" y="194"/>
                    </a:lnTo>
                    <a:lnTo>
                      <a:pt x="148" y="194"/>
                    </a:lnTo>
                    <a:lnTo>
                      <a:pt x="149" y="194"/>
                    </a:lnTo>
                    <a:lnTo>
                      <a:pt x="148" y="192"/>
                    </a:lnTo>
                    <a:lnTo>
                      <a:pt x="148" y="190"/>
                    </a:lnTo>
                    <a:lnTo>
                      <a:pt x="149" y="190"/>
                    </a:lnTo>
                    <a:lnTo>
                      <a:pt x="149" y="189"/>
                    </a:lnTo>
                    <a:lnTo>
                      <a:pt x="151" y="189"/>
                    </a:lnTo>
                    <a:lnTo>
                      <a:pt x="153" y="189"/>
                    </a:lnTo>
                    <a:lnTo>
                      <a:pt x="154" y="189"/>
                    </a:lnTo>
                    <a:lnTo>
                      <a:pt x="154" y="187"/>
                    </a:lnTo>
                    <a:lnTo>
                      <a:pt x="156" y="187"/>
                    </a:lnTo>
                    <a:lnTo>
                      <a:pt x="154" y="187"/>
                    </a:lnTo>
                    <a:lnTo>
                      <a:pt x="153" y="185"/>
                    </a:lnTo>
                    <a:lnTo>
                      <a:pt x="153" y="183"/>
                    </a:lnTo>
                    <a:lnTo>
                      <a:pt x="153" y="182"/>
                    </a:lnTo>
                    <a:lnTo>
                      <a:pt x="151" y="180"/>
                    </a:lnTo>
                    <a:lnTo>
                      <a:pt x="151" y="178"/>
                    </a:lnTo>
                    <a:lnTo>
                      <a:pt x="151" y="177"/>
                    </a:lnTo>
                    <a:lnTo>
                      <a:pt x="149" y="177"/>
                    </a:lnTo>
                    <a:lnTo>
                      <a:pt x="148" y="175"/>
                    </a:lnTo>
                    <a:lnTo>
                      <a:pt x="148" y="173"/>
                    </a:lnTo>
                    <a:lnTo>
                      <a:pt x="148" y="172"/>
                    </a:lnTo>
                    <a:lnTo>
                      <a:pt x="146" y="170"/>
                    </a:lnTo>
                    <a:lnTo>
                      <a:pt x="144" y="170"/>
                    </a:lnTo>
                    <a:lnTo>
                      <a:pt x="144" y="168"/>
                    </a:lnTo>
                    <a:lnTo>
                      <a:pt x="146" y="168"/>
                    </a:lnTo>
                    <a:lnTo>
                      <a:pt x="146" y="166"/>
                    </a:lnTo>
                    <a:lnTo>
                      <a:pt x="144" y="166"/>
                    </a:lnTo>
                    <a:lnTo>
                      <a:pt x="146" y="166"/>
                    </a:lnTo>
                    <a:lnTo>
                      <a:pt x="146" y="165"/>
                    </a:lnTo>
                    <a:lnTo>
                      <a:pt x="146" y="163"/>
                    </a:lnTo>
                    <a:lnTo>
                      <a:pt x="148" y="163"/>
                    </a:lnTo>
                    <a:lnTo>
                      <a:pt x="148" y="165"/>
                    </a:lnTo>
                    <a:lnTo>
                      <a:pt x="148" y="163"/>
                    </a:lnTo>
                    <a:lnTo>
                      <a:pt x="149" y="165"/>
                    </a:lnTo>
                    <a:lnTo>
                      <a:pt x="149" y="166"/>
                    </a:lnTo>
                    <a:lnTo>
                      <a:pt x="151" y="166"/>
                    </a:lnTo>
                    <a:lnTo>
                      <a:pt x="151" y="168"/>
                    </a:lnTo>
                    <a:lnTo>
                      <a:pt x="151" y="170"/>
                    </a:lnTo>
                    <a:lnTo>
                      <a:pt x="153" y="170"/>
                    </a:lnTo>
                    <a:lnTo>
                      <a:pt x="154" y="172"/>
                    </a:lnTo>
                    <a:lnTo>
                      <a:pt x="156" y="172"/>
                    </a:lnTo>
                    <a:lnTo>
                      <a:pt x="156" y="173"/>
                    </a:lnTo>
                    <a:lnTo>
                      <a:pt x="158" y="175"/>
                    </a:lnTo>
                    <a:lnTo>
                      <a:pt x="158" y="177"/>
                    </a:lnTo>
                    <a:lnTo>
                      <a:pt x="159" y="177"/>
                    </a:lnTo>
                    <a:lnTo>
                      <a:pt x="161" y="177"/>
                    </a:lnTo>
                    <a:lnTo>
                      <a:pt x="161" y="178"/>
                    </a:lnTo>
                    <a:lnTo>
                      <a:pt x="161" y="180"/>
                    </a:lnTo>
                    <a:lnTo>
                      <a:pt x="163" y="180"/>
                    </a:lnTo>
                    <a:lnTo>
                      <a:pt x="163" y="178"/>
                    </a:lnTo>
                    <a:lnTo>
                      <a:pt x="161" y="178"/>
                    </a:lnTo>
                    <a:lnTo>
                      <a:pt x="163" y="178"/>
                    </a:lnTo>
                    <a:lnTo>
                      <a:pt x="163" y="180"/>
                    </a:lnTo>
                    <a:lnTo>
                      <a:pt x="163" y="178"/>
                    </a:lnTo>
                    <a:lnTo>
                      <a:pt x="163" y="180"/>
                    </a:lnTo>
                    <a:lnTo>
                      <a:pt x="161" y="180"/>
                    </a:lnTo>
                    <a:lnTo>
                      <a:pt x="161" y="182"/>
                    </a:lnTo>
                    <a:lnTo>
                      <a:pt x="163" y="182"/>
                    </a:lnTo>
                    <a:lnTo>
                      <a:pt x="163" y="183"/>
                    </a:lnTo>
                    <a:lnTo>
                      <a:pt x="163" y="182"/>
                    </a:lnTo>
                    <a:lnTo>
                      <a:pt x="165" y="182"/>
                    </a:lnTo>
                    <a:lnTo>
                      <a:pt x="163" y="182"/>
                    </a:lnTo>
                    <a:lnTo>
                      <a:pt x="165" y="182"/>
                    </a:lnTo>
                    <a:lnTo>
                      <a:pt x="166" y="182"/>
                    </a:lnTo>
                    <a:lnTo>
                      <a:pt x="165" y="182"/>
                    </a:lnTo>
                    <a:lnTo>
                      <a:pt x="165" y="183"/>
                    </a:lnTo>
                    <a:lnTo>
                      <a:pt x="166" y="183"/>
                    </a:lnTo>
                    <a:lnTo>
                      <a:pt x="165" y="183"/>
                    </a:lnTo>
                    <a:lnTo>
                      <a:pt x="166" y="183"/>
                    </a:lnTo>
                    <a:lnTo>
                      <a:pt x="166" y="185"/>
                    </a:lnTo>
                    <a:lnTo>
                      <a:pt x="165" y="183"/>
                    </a:lnTo>
                    <a:lnTo>
                      <a:pt x="165" y="185"/>
                    </a:lnTo>
                    <a:lnTo>
                      <a:pt x="166" y="185"/>
                    </a:lnTo>
                    <a:lnTo>
                      <a:pt x="165" y="185"/>
                    </a:lnTo>
                    <a:lnTo>
                      <a:pt x="165" y="183"/>
                    </a:lnTo>
                    <a:lnTo>
                      <a:pt x="163" y="185"/>
                    </a:lnTo>
                    <a:lnTo>
                      <a:pt x="163" y="187"/>
                    </a:lnTo>
                    <a:lnTo>
                      <a:pt x="163" y="189"/>
                    </a:lnTo>
                    <a:lnTo>
                      <a:pt x="165" y="189"/>
                    </a:lnTo>
                    <a:lnTo>
                      <a:pt x="166" y="189"/>
                    </a:lnTo>
                    <a:lnTo>
                      <a:pt x="168" y="189"/>
                    </a:lnTo>
                    <a:lnTo>
                      <a:pt x="168" y="187"/>
                    </a:lnTo>
                    <a:lnTo>
                      <a:pt x="170" y="187"/>
                    </a:lnTo>
                    <a:lnTo>
                      <a:pt x="168" y="185"/>
                    </a:lnTo>
                    <a:lnTo>
                      <a:pt x="170" y="185"/>
                    </a:lnTo>
                    <a:lnTo>
                      <a:pt x="170" y="183"/>
                    </a:lnTo>
                    <a:lnTo>
                      <a:pt x="168" y="183"/>
                    </a:lnTo>
                    <a:lnTo>
                      <a:pt x="168" y="182"/>
                    </a:lnTo>
                    <a:lnTo>
                      <a:pt x="168" y="180"/>
                    </a:lnTo>
                    <a:lnTo>
                      <a:pt x="168" y="178"/>
                    </a:lnTo>
                    <a:lnTo>
                      <a:pt x="168" y="177"/>
                    </a:lnTo>
                    <a:lnTo>
                      <a:pt x="168" y="175"/>
                    </a:lnTo>
                    <a:lnTo>
                      <a:pt x="168" y="173"/>
                    </a:lnTo>
                    <a:lnTo>
                      <a:pt x="168" y="172"/>
                    </a:lnTo>
                    <a:lnTo>
                      <a:pt x="166" y="172"/>
                    </a:lnTo>
                    <a:lnTo>
                      <a:pt x="166" y="170"/>
                    </a:lnTo>
                    <a:lnTo>
                      <a:pt x="166" y="168"/>
                    </a:lnTo>
                    <a:lnTo>
                      <a:pt x="165" y="168"/>
                    </a:lnTo>
                    <a:lnTo>
                      <a:pt x="163" y="168"/>
                    </a:lnTo>
                    <a:lnTo>
                      <a:pt x="163" y="166"/>
                    </a:lnTo>
                    <a:lnTo>
                      <a:pt x="165" y="165"/>
                    </a:lnTo>
                    <a:lnTo>
                      <a:pt x="166" y="165"/>
                    </a:lnTo>
                    <a:lnTo>
                      <a:pt x="168" y="165"/>
                    </a:lnTo>
                    <a:lnTo>
                      <a:pt x="170" y="163"/>
                    </a:lnTo>
                    <a:lnTo>
                      <a:pt x="171" y="163"/>
                    </a:lnTo>
                    <a:lnTo>
                      <a:pt x="173" y="163"/>
                    </a:lnTo>
                    <a:lnTo>
                      <a:pt x="171" y="161"/>
                    </a:lnTo>
                    <a:lnTo>
                      <a:pt x="173" y="161"/>
                    </a:lnTo>
                    <a:lnTo>
                      <a:pt x="175" y="160"/>
                    </a:lnTo>
                    <a:lnTo>
                      <a:pt x="176" y="160"/>
                    </a:lnTo>
                    <a:lnTo>
                      <a:pt x="176" y="158"/>
                    </a:lnTo>
                    <a:lnTo>
                      <a:pt x="178" y="158"/>
                    </a:lnTo>
                    <a:lnTo>
                      <a:pt x="180" y="156"/>
                    </a:lnTo>
                    <a:lnTo>
                      <a:pt x="180" y="155"/>
                    </a:lnTo>
                    <a:lnTo>
                      <a:pt x="182" y="155"/>
                    </a:lnTo>
                    <a:lnTo>
                      <a:pt x="183" y="155"/>
                    </a:lnTo>
                    <a:lnTo>
                      <a:pt x="183" y="153"/>
                    </a:lnTo>
                    <a:lnTo>
                      <a:pt x="185" y="153"/>
                    </a:lnTo>
                    <a:lnTo>
                      <a:pt x="185" y="151"/>
                    </a:lnTo>
                    <a:lnTo>
                      <a:pt x="185" y="149"/>
                    </a:lnTo>
                    <a:lnTo>
                      <a:pt x="187" y="149"/>
                    </a:lnTo>
                    <a:lnTo>
                      <a:pt x="187" y="148"/>
                    </a:lnTo>
                    <a:lnTo>
                      <a:pt x="188" y="146"/>
                    </a:lnTo>
                    <a:lnTo>
                      <a:pt x="188" y="144"/>
                    </a:lnTo>
                    <a:lnTo>
                      <a:pt x="188" y="143"/>
                    </a:lnTo>
                    <a:lnTo>
                      <a:pt x="190" y="143"/>
                    </a:lnTo>
                    <a:lnTo>
                      <a:pt x="190" y="141"/>
                    </a:lnTo>
                    <a:lnTo>
                      <a:pt x="192" y="139"/>
                    </a:lnTo>
                    <a:lnTo>
                      <a:pt x="193" y="139"/>
                    </a:lnTo>
                    <a:lnTo>
                      <a:pt x="195" y="139"/>
                    </a:lnTo>
                    <a:lnTo>
                      <a:pt x="195" y="138"/>
                    </a:lnTo>
                    <a:lnTo>
                      <a:pt x="195" y="136"/>
                    </a:lnTo>
                    <a:lnTo>
                      <a:pt x="195" y="138"/>
                    </a:lnTo>
                    <a:lnTo>
                      <a:pt x="195" y="136"/>
                    </a:lnTo>
                    <a:lnTo>
                      <a:pt x="197" y="136"/>
                    </a:lnTo>
                    <a:lnTo>
                      <a:pt x="197" y="138"/>
                    </a:lnTo>
                    <a:lnTo>
                      <a:pt x="199" y="138"/>
                    </a:lnTo>
                    <a:lnTo>
                      <a:pt x="200" y="138"/>
                    </a:lnTo>
                    <a:lnTo>
                      <a:pt x="199" y="138"/>
                    </a:lnTo>
                    <a:lnTo>
                      <a:pt x="200" y="138"/>
                    </a:lnTo>
                    <a:lnTo>
                      <a:pt x="202" y="138"/>
                    </a:lnTo>
                    <a:lnTo>
                      <a:pt x="204" y="138"/>
                    </a:lnTo>
                    <a:lnTo>
                      <a:pt x="205" y="138"/>
                    </a:lnTo>
                    <a:lnTo>
                      <a:pt x="207" y="136"/>
                    </a:lnTo>
                    <a:lnTo>
                      <a:pt x="207" y="134"/>
                    </a:lnTo>
                    <a:lnTo>
                      <a:pt x="209" y="132"/>
                    </a:lnTo>
                    <a:lnTo>
                      <a:pt x="209" y="131"/>
                    </a:lnTo>
                    <a:lnTo>
                      <a:pt x="207" y="129"/>
                    </a:lnTo>
                    <a:lnTo>
                      <a:pt x="207" y="127"/>
                    </a:lnTo>
                    <a:lnTo>
                      <a:pt x="205" y="127"/>
                    </a:lnTo>
                    <a:lnTo>
                      <a:pt x="204" y="127"/>
                    </a:lnTo>
                    <a:lnTo>
                      <a:pt x="205" y="127"/>
                    </a:lnTo>
                    <a:lnTo>
                      <a:pt x="205" y="126"/>
                    </a:lnTo>
                    <a:lnTo>
                      <a:pt x="207" y="124"/>
                    </a:lnTo>
                    <a:lnTo>
                      <a:pt x="207" y="122"/>
                    </a:lnTo>
                    <a:lnTo>
                      <a:pt x="207" y="120"/>
                    </a:lnTo>
                    <a:lnTo>
                      <a:pt x="207" y="119"/>
                    </a:lnTo>
                    <a:lnTo>
                      <a:pt x="209" y="119"/>
                    </a:lnTo>
                    <a:lnTo>
                      <a:pt x="207" y="117"/>
                    </a:lnTo>
                    <a:lnTo>
                      <a:pt x="209" y="117"/>
                    </a:lnTo>
                    <a:lnTo>
                      <a:pt x="209" y="115"/>
                    </a:lnTo>
                    <a:lnTo>
                      <a:pt x="209" y="114"/>
                    </a:lnTo>
                    <a:lnTo>
                      <a:pt x="207" y="114"/>
                    </a:lnTo>
                    <a:lnTo>
                      <a:pt x="209" y="114"/>
                    </a:lnTo>
                    <a:lnTo>
                      <a:pt x="209" y="112"/>
                    </a:lnTo>
                    <a:lnTo>
                      <a:pt x="210" y="112"/>
                    </a:lnTo>
                    <a:lnTo>
                      <a:pt x="209" y="112"/>
                    </a:lnTo>
                    <a:lnTo>
                      <a:pt x="209" y="110"/>
                    </a:lnTo>
                    <a:lnTo>
                      <a:pt x="209" y="112"/>
                    </a:lnTo>
                    <a:lnTo>
                      <a:pt x="210" y="112"/>
                    </a:lnTo>
                    <a:lnTo>
                      <a:pt x="210" y="110"/>
                    </a:lnTo>
                    <a:lnTo>
                      <a:pt x="209" y="110"/>
                    </a:lnTo>
                    <a:lnTo>
                      <a:pt x="210" y="109"/>
                    </a:lnTo>
                    <a:lnTo>
                      <a:pt x="209" y="109"/>
                    </a:lnTo>
                    <a:lnTo>
                      <a:pt x="209" y="110"/>
                    </a:lnTo>
                    <a:lnTo>
                      <a:pt x="207" y="110"/>
                    </a:lnTo>
                    <a:lnTo>
                      <a:pt x="205" y="112"/>
                    </a:lnTo>
                    <a:lnTo>
                      <a:pt x="205" y="110"/>
                    </a:lnTo>
                    <a:lnTo>
                      <a:pt x="205" y="112"/>
                    </a:lnTo>
                    <a:lnTo>
                      <a:pt x="204" y="114"/>
                    </a:lnTo>
                    <a:lnTo>
                      <a:pt x="204" y="112"/>
                    </a:lnTo>
                    <a:lnTo>
                      <a:pt x="205" y="112"/>
                    </a:lnTo>
                    <a:lnTo>
                      <a:pt x="205" y="110"/>
                    </a:lnTo>
                    <a:lnTo>
                      <a:pt x="207" y="110"/>
                    </a:lnTo>
                    <a:lnTo>
                      <a:pt x="207" y="109"/>
                    </a:lnTo>
                    <a:lnTo>
                      <a:pt x="207" y="110"/>
                    </a:lnTo>
                    <a:lnTo>
                      <a:pt x="207" y="109"/>
                    </a:lnTo>
                    <a:lnTo>
                      <a:pt x="207" y="107"/>
                    </a:lnTo>
                    <a:lnTo>
                      <a:pt x="209" y="107"/>
                    </a:lnTo>
                    <a:lnTo>
                      <a:pt x="207" y="109"/>
                    </a:lnTo>
                    <a:lnTo>
                      <a:pt x="209" y="109"/>
                    </a:lnTo>
                    <a:lnTo>
                      <a:pt x="210" y="107"/>
                    </a:lnTo>
                    <a:lnTo>
                      <a:pt x="210" y="105"/>
                    </a:lnTo>
                    <a:lnTo>
                      <a:pt x="210" y="103"/>
                    </a:lnTo>
                    <a:lnTo>
                      <a:pt x="209" y="103"/>
                    </a:lnTo>
                    <a:lnTo>
                      <a:pt x="210" y="103"/>
                    </a:lnTo>
                    <a:lnTo>
                      <a:pt x="209" y="103"/>
                    </a:lnTo>
                    <a:lnTo>
                      <a:pt x="209" y="102"/>
                    </a:lnTo>
                    <a:lnTo>
                      <a:pt x="210" y="102"/>
                    </a:lnTo>
                    <a:lnTo>
                      <a:pt x="210" y="103"/>
                    </a:lnTo>
                    <a:lnTo>
                      <a:pt x="212" y="103"/>
                    </a:lnTo>
                    <a:lnTo>
                      <a:pt x="210" y="102"/>
                    </a:lnTo>
                    <a:lnTo>
                      <a:pt x="212" y="100"/>
                    </a:lnTo>
                    <a:lnTo>
                      <a:pt x="210" y="100"/>
                    </a:lnTo>
                    <a:lnTo>
                      <a:pt x="210" y="98"/>
                    </a:lnTo>
                    <a:lnTo>
                      <a:pt x="212" y="97"/>
                    </a:lnTo>
                    <a:lnTo>
                      <a:pt x="212" y="95"/>
                    </a:lnTo>
                    <a:lnTo>
                      <a:pt x="214" y="95"/>
                    </a:lnTo>
                    <a:lnTo>
                      <a:pt x="214" y="93"/>
                    </a:lnTo>
                    <a:lnTo>
                      <a:pt x="216" y="93"/>
                    </a:lnTo>
                    <a:lnTo>
                      <a:pt x="217" y="93"/>
                    </a:lnTo>
                    <a:lnTo>
                      <a:pt x="219" y="93"/>
                    </a:lnTo>
                    <a:lnTo>
                      <a:pt x="219" y="92"/>
                    </a:lnTo>
                    <a:lnTo>
                      <a:pt x="219" y="90"/>
                    </a:lnTo>
                    <a:lnTo>
                      <a:pt x="221" y="90"/>
                    </a:lnTo>
                    <a:lnTo>
                      <a:pt x="221" y="88"/>
                    </a:lnTo>
                    <a:lnTo>
                      <a:pt x="222" y="88"/>
                    </a:lnTo>
                    <a:lnTo>
                      <a:pt x="224" y="88"/>
                    </a:lnTo>
                    <a:lnTo>
                      <a:pt x="224" y="86"/>
                    </a:lnTo>
                    <a:lnTo>
                      <a:pt x="226" y="86"/>
                    </a:lnTo>
                    <a:lnTo>
                      <a:pt x="226" y="85"/>
                    </a:lnTo>
                    <a:lnTo>
                      <a:pt x="227" y="85"/>
                    </a:lnTo>
                    <a:lnTo>
                      <a:pt x="227" y="83"/>
                    </a:lnTo>
                    <a:lnTo>
                      <a:pt x="229" y="83"/>
                    </a:lnTo>
                    <a:lnTo>
                      <a:pt x="227" y="83"/>
                    </a:lnTo>
                    <a:lnTo>
                      <a:pt x="229" y="83"/>
                    </a:lnTo>
                    <a:lnTo>
                      <a:pt x="231" y="81"/>
                    </a:lnTo>
                    <a:lnTo>
                      <a:pt x="233" y="81"/>
                    </a:lnTo>
                    <a:lnTo>
                      <a:pt x="233" y="80"/>
                    </a:lnTo>
                    <a:lnTo>
                      <a:pt x="234" y="80"/>
                    </a:lnTo>
                    <a:lnTo>
                      <a:pt x="236" y="80"/>
                    </a:lnTo>
                    <a:lnTo>
                      <a:pt x="236" y="81"/>
                    </a:lnTo>
                    <a:lnTo>
                      <a:pt x="238" y="81"/>
                    </a:lnTo>
                    <a:lnTo>
                      <a:pt x="239" y="81"/>
                    </a:lnTo>
                    <a:lnTo>
                      <a:pt x="239" y="83"/>
                    </a:lnTo>
                    <a:lnTo>
                      <a:pt x="241" y="83"/>
                    </a:lnTo>
                    <a:lnTo>
                      <a:pt x="243" y="83"/>
                    </a:lnTo>
                    <a:lnTo>
                      <a:pt x="244" y="83"/>
                    </a:lnTo>
                    <a:lnTo>
                      <a:pt x="246" y="83"/>
                    </a:lnTo>
                    <a:lnTo>
                      <a:pt x="248" y="83"/>
                    </a:lnTo>
                    <a:lnTo>
                      <a:pt x="250" y="83"/>
                    </a:lnTo>
                    <a:lnTo>
                      <a:pt x="251" y="83"/>
                    </a:lnTo>
                    <a:lnTo>
                      <a:pt x="253" y="83"/>
                    </a:lnTo>
                    <a:lnTo>
                      <a:pt x="253" y="81"/>
                    </a:lnTo>
                    <a:lnTo>
                      <a:pt x="255" y="81"/>
                    </a:lnTo>
                    <a:lnTo>
                      <a:pt x="255" y="80"/>
                    </a:lnTo>
                    <a:lnTo>
                      <a:pt x="253" y="80"/>
                    </a:lnTo>
                    <a:lnTo>
                      <a:pt x="253" y="78"/>
                    </a:lnTo>
                    <a:lnTo>
                      <a:pt x="253" y="76"/>
                    </a:lnTo>
                    <a:lnTo>
                      <a:pt x="253" y="75"/>
                    </a:lnTo>
                    <a:lnTo>
                      <a:pt x="255" y="75"/>
                    </a:lnTo>
                    <a:lnTo>
                      <a:pt x="253" y="75"/>
                    </a:lnTo>
                    <a:lnTo>
                      <a:pt x="255" y="75"/>
                    </a:lnTo>
                    <a:lnTo>
                      <a:pt x="255" y="73"/>
                    </a:lnTo>
                    <a:lnTo>
                      <a:pt x="256" y="73"/>
                    </a:lnTo>
                    <a:lnTo>
                      <a:pt x="256" y="71"/>
                    </a:lnTo>
                    <a:lnTo>
                      <a:pt x="256" y="73"/>
                    </a:lnTo>
                    <a:lnTo>
                      <a:pt x="256" y="71"/>
                    </a:lnTo>
                    <a:lnTo>
                      <a:pt x="258" y="73"/>
                    </a:lnTo>
                    <a:lnTo>
                      <a:pt x="258" y="71"/>
                    </a:lnTo>
                    <a:lnTo>
                      <a:pt x="258" y="73"/>
                    </a:lnTo>
                    <a:lnTo>
                      <a:pt x="258" y="71"/>
                    </a:lnTo>
                    <a:lnTo>
                      <a:pt x="260" y="71"/>
                    </a:lnTo>
                    <a:lnTo>
                      <a:pt x="261" y="71"/>
                    </a:lnTo>
                    <a:lnTo>
                      <a:pt x="263" y="71"/>
                    </a:lnTo>
                    <a:lnTo>
                      <a:pt x="263" y="73"/>
                    </a:lnTo>
                    <a:lnTo>
                      <a:pt x="265" y="73"/>
                    </a:lnTo>
                    <a:lnTo>
                      <a:pt x="267" y="73"/>
                    </a:lnTo>
                    <a:lnTo>
                      <a:pt x="267" y="75"/>
                    </a:lnTo>
                    <a:lnTo>
                      <a:pt x="268" y="75"/>
                    </a:lnTo>
                    <a:lnTo>
                      <a:pt x="270" y="75"/>
                    </a:lnTo>
                    <a:lnTo>
                      <a:pt x="272" y="75"/>
                    </a:lnTo>
                    <a:lnTo>
                      <a:pt x="273" y="75"/>
                    </a:lnTo>
                    <a:lnTo>
                      <a:pt x="275" y="75"/>
                    </a:lnTo>
                    <a:lnTo>
                      <a:pt x="277" y="75"/>
                    </a:lnTo>
                    <a:lnTo>
                      <a:pt x="278" y="75"/>
                    </a:lnTo>
                    <a:lnTo>
                      <a:pt x="280" y="75"/>
                    </a:lnTo>
                    <a:lnTo>
                      <a:pt x="282" y="75"/>
                    </a:lnTo>
                    <a:lnTo>
                      <a:pt x="284" y="75"/>
                    </a:lnTo>
                    <a:lnTo>
                      <a:pt x="284" y="73"/>
                    </a:lnTo>
                    <a:lnTo>
                      <a:pt x="285" y="73"/>
                    </a:lnTo>
                    <a:lnTo>
                      <a:pt x="287" y="73"/>
                    </a:lnTo>
                    <a:lnTo>
                      <a:pt x="287" y="71"/>
                    </a:lnTo>
                    <a:lnTo>
                      <a:pt x="289" y="71"/>
                    </a:lnTo>
                    <a:lnTo>
                      <a:pt x="289" y="69"/>
                    </a:lnTo>
                    <a:lnTo>
                      <a:pt x="290" y="69"/>
                    </a:lnTo>
                    <a:lnTo>
                      <a:pt x="292" y="69"/>
                    </a:lnTo>
                    <a:lnTo>
                      <a:pt x="292" y="68"/>
                    </a:lnTo>
                    <a:lnTo>
                      <a:pt x="294" y="66"/>
                    </a:lnTo>
                    <a:lnTo>
                      <a:pt x="295" y="66"/>
                    </a:lnTo>
                    <a:lnTo>
                      <a:pt x="295" y="64"/>
                    </a:lnTo>
                    <a:lnTo>
                      <a:pt x="297" y="64"/>
                    </a:lnTo>
                    <a:lnTo>
                      <a:pt x="299" y="64"/>
                    </a:lnTo>
                    <a:lnTo>
                      <a:pt x="299" y="63"/>
                    </a:lnTo>
                    <a:lnTo>
                      <a:pt x="301" y="63"/>
                    </a:lnTo>
                    <a:lnTo>
                      <a:pt x="301" y="61"/>
                    </a:lnTo>
                    <a:lnTo>
                      <a:pt x="302" y="61"/>
                    </a:lnTo>
                    <a:lnTo>
                      <a:pt x="302" y="59"/>
                    </a:lnTo>
                    <a:lnTo>
                      <a:pt x="304" y="59"/>
                    </a:lnTo>
                    <a:lnTo>
                      <a:pt x="306" y="59"/>
                    </a:lnTo>
                    <a:lnTo>
                      <a:pt x="307" y="58"/>
                    </a:lnTo>
                    <a:lnTo>
                      <a:pt x="309" y="58"/>
                    </a:lnTo>
                    <a:lnTo>
                      <a:pt x="311" y="58"/>
                    </a:lnTo>
                    <a:lnTo>
                      <a:pt x="311" y="56"/>
                    </a:lnTo>
                    <a:lnTo>
                      <a:pt x="312" y="56"/>
                    </a:lnTo>
                    <a:lnTo>
                      <a:pt x="314" y="56"/>
                    </a:lnTo>
                    <a:lnTo>
                      <a:pt x="316" y="56"/>
                    </a:lnTo>
                    <a:lnTo>
                      <a:pt x="316" y="54"/>
                    </a:lnTo>
                    <a:lnTo>
                      <a:pt x="318" y="54"/>
                    </a:lnTo>
                    <a:lnTo>
                      <a:pt x="319" y="54"/>
                    </a:lnTo>
                    <a:lnTo>
                      <a:pt x="319" y="52"/>
                    </a:lnTo>
                    <a:lnTo>
                      <a:pt x="321" y="52"/>
                    </a:lnTo>
                    <a:lnTo>
                      <a:pt x="321" y="51"/>
                    </a:lnTo>
                    <a:lnTo>
                      <a:pt x="323" y="49"/>
                    </a:lnTo>
                    <a:lnTo>
                      <a:pt x="323" y="47"/>
                    </a:lnTo>
                    <a:lnTo>
                      <a:pt x="324" y="46"/>
                    </a:lnTo>
                    <a:lnTo>
                      <a:pt x="324" y="44"/>
                    </a:lnTo>
                    <a:lnTo>
                      <a:pt x="324" y="42"/>
                    </a:lnTo>
                    <a:lnTo>
                      <a:pt x="323" y="42"/>
                    </a:lnTo>
                    <a:lnTo>
                      <a:pt x="323" y="41"/>
                    </a:lnTo>
                    <a:lnTo>
                      <a:pt x="324" y="41"/>
                    </a:lnTo>
                    <a:lnTo>
                      <a:pt x="326" y="41"/>
                    </a:lnTo>
                    <a:lnTo>
                      <a:pt x="328" y="41"/>
                    </a:lnTo>
                    <a:lnTo>
                      <a:pt x="329" y="41"/>
                    </a:lnTo>
                    <a:lnTo>
                      <a:pt x="329" y="42"/>
                    </a:lnTo>
                    <a:lnTo>
                      <a:pt x="329" y="44"/>
                    </a:lnTo>
                    <a:lnTo>
                      <a:pt x="331" y="44"/>
                    </a:lnTo>
                    <a:lnTo>
                      <a:pt x="331" y="42"/>
                    </a:lnTo>
                    <a:lnTo>
                      <a:pt x="333" y="42"/>
                    </a:lnTo>
                    <a:lnTo>
                      <a:pt x="333" y="41"/>
                    </a:lnTo>
                    <a:lnTo>
                      <a:pt x="333" y="39"/>
                    </a:lnTo>
                    <a:lnTo>
                      <a:pt x="333" y="41"/>
                    </a:lnTo>
                    <a:lnTo>
                      <a:pt x="333" y="39"/>
                    </a:lnTo>
                    <a:lnTo>
                      <a:pt x="331" y="39"/>
                    </a:lnTo>
                    <a:lnTo>
                      <a:pt x="333" y="39"/>
                    </a:lnTo>
                    <a:lnTo>
                      <a:pt x="331" y="39"/>
                    </a:lnTo>
                    <a:lnTo>
                      <a:pt x="329" y="39"/>
                    </a:lnTo>
                    <a:lnTo>
                      <a:pt x="331" y="39"/>
                    </a:lnTo>
                    <a:lnTo>
                      <a:pt x="333" y="37"/>
                    </a:lnTo>
                    <a:lnTo>
                      <a:pt x="333" y="35"/>
                    </a:lnTo>
                    <a:lnTo>
                      <a:pt x="335" y="37"/>
                    </a:lnTo>
                    <a:lnTo>
                      <a:pt x="335" y="35"/>
                    </a:lnTo>
                    <a:lnTo>
                      <a:pt x="335" y="37"/>
                    </a:lnTo>
                    <a:lnTo>
                      <a:pt x="336" y="39"/>
                    </a:lnTo>
                    <a:lnTo>
                      <a:pt x="336" y="37"/>
                    </a:lnTo>
                    <a:lnTo>
                      <a:pt x="338" y="37"/>
                    </a:lnTo>
                    <a:lnTo>
                      <a:pt x="338" y="35"/>
                    </a:lnTo>
                    <a:lnTo>
                      <a:pt x="336" y="35"/>
                    </a:lnTo>
                    <a:lnTo>
                      <a:pt x="338" y="35"/>
                    </a:lnTo>
                    <a:lnTo>
                      <a:pt x="338" y="34"/>
                    </a:lnTo>
                    <a:lnTo>
                      <a:pt x="338" y="35"/>
                    </a:lnTo>
                    <a:lnTo>
                      <a:pt x="340" y="35"/>
                    </a:lnTo>
                    <a:lnTo>
                      <a:pt x="338" y="35"/>
                    </a:lnTo>
                    <a:lnTo>
                      <a:pt x="340" y="35"/>
                    </a:lnTo>
                    <a:lnTo>
                      <a:pt x="341" y="35"/>
                    </a:lnTo>
                    <a:lnTo>
                      <a:pt x="341" y="34"/>
                    </a:lnTo>
                    <a:lnTo>
                      <a:pt x="340" y="34"/>
                    </a:lnTo>
                    <a:lnTo>
                      <a:pt x="341" y="34"/>
                    </a:lnTo>
                    <a:lnTo>
                      <a:pt x="340" y="34"/>
                    </a:lnTo>
                    <a:lnTo>
                      <a:pt x="338" y="34"/>
                    </a:lnTo>
                    <a:lnTo>
                      <a:pt x="340" y="34"/>
                    </a:lnTo>
                    <a:lnTo>
                      <a:pt x="340" y="32"/>
                    </a:lnTo>
                    <a:lnTo>
                      <a:pt x="341" y="34"/>
                    </a:lnTo>
                    <a:lnTo>
                      <a:pt x="343" y="34"/>
                    </a:lnTo>
                    <a:lnTo>
                      <a:pt x="345" y="34"/>
                    </a:lnTo>
                    <a:lnTo>
                      <a:pt x="346" y="34"/>
                    </a:lnTo>
                    <a:lnTo>
                      <a:pt x="346" y="35"/>
                    </a:lnTo>
                    <a:lnTo>
                      <a:pt x="348" y="35"/>
                    </a:lnTo>
                    <a:lnTo>
                      <a:pt x="350" y="35"/>
                    </a:lnTo>
                    <a:lnTo>
                      <a:pt x="352" y="35"/>
                    </a:lnTo>
                    <a:lnTo>
                      <a:pt x="352" y="37"/>
                    </a:lnTo>
                    <a:lnTo>
                      <a:pt x="352" y="35"/>
                    </a:lnTo>
                    <a:lnTo>
                      <a:pt x="352" y="37"/>
                    </a:lnTo>
                    <a:lnTo>
                      <a:pt x="353" y="37"/>
                    </a:lnTo>
                    <a:lnTo>
                      <a:pt x="355" y="37"/>
                    </a:lnTo>
                    <a:lnTo>
                      <a:pt x="355" y="39"/>
                    </a:lnTo>
                    <a:lnTo>
                      <a:pt x="355" y="41"/>
                    </a:lnTo>
                    <a:lnTo>
                      <a:pt x="357" y="41"/>
                    </a:lnTo>
                    <a:lnTo>
                      <a:pt x="357" y="42"/>
                    </a:lnTo>
                    <a:lnTo>
                      <a:pt x="357" y="44"/>
                    </a:lnTo>
                    <a:lnTo>
                      <a:pt x="358" y="44"/>
                    </a:lnTo>
                    <a:lnTo>
                      <a:pt x="358" y="46"/>
                    </a:lnTo>
                    <a:lnTo>
                      <a:pt x="358" y="47"/>
                    </a:lnTo>
                    <a:lnTo>
                      <a:pt x="358" y="49"/>
                    </a:lnTo>
                    <a:lnTo>
                      <a:pt x="357" y="49"/>
                    </a:lnTo>
                    <a:lnTo>
                      <a:pt x="355" y="49"/>
                    </a:lnTo>
                    <a:lnTo>
                      <a:pt x="355" y="51"/>
                    </a:lnTo>
                    <a:lnTo>
                      <a:pt x="353" y="51"/>
                    </a:lnTo>
                    <a:lnTo>
                      <a:pt x="353" y="52"/>
                    </a:lnTo>
                    <a:lnTo>
                      <a:pt x="352" y="52"/>
                    </a:lnTo>
                    <a:lnTo>
                      <a:pt x="352" y="54"/>
                    </a:lnTo>
                    <a:lnTo>
                      <a:pt x="350" y="54"/>
                    </a:lnTo>
                    <a:close/>
                    <a:moveTo>
                      <a:pt x="1" y="29"/>
                    </a:moveTo>
                    <a:lnTo>
                      <a:pt x="1" y="30"/>
                    </a:lnTo>
                    <a:lnTo>
                      <a:pt x="1" y="32"/>
                    </a:lnTo>
                    <a:lnTo>
                      <a:pt x="0" y="32"/>
                    </a:lnTo>
                    <a:lnTo>
                      <a:pt x="0" y="30"/>
                    </a:lnTo>
                    <a:lnTo>
                      <a:pt x="0" y="29"/>
                    </a:lnTo>
                    <a:lnTo>
                      <a:pt x="1" y="29"/>
                    </a:lnTo>
                    <a:close/>
                    <a:moveTo>
                      <a:pt x="12" y="1"/>
                    </a:moveTo>
                    <a:lnTo>
                      <a:pt x="13" y="1"/>
                    </a:lnTo>
                    <a:lnTo>
                      <a:pt x="13" y="3"/>
                    </a:lnTo>
                    <a:lnTo>
                      <a:pt x="12" y="3"/>
                    </a:lnTo>
                    <a:lnTo>
                      <a:pt x="12" y="1"/>
                    </a:lnTo>
                    <a:close/>
                    <a:moveTo>
                      <a:pt x="207" y="105"/>
                    </a:moveTo>
                    <a:lnTo>
                      <a:pt x="209" y="105"/>
                    </a:lnTo>
                    <a:lnTo>
                      <a:pt x="209" y="107"/>
                    </a:lnTo>
                    <a:lnTo>
                      <a:pt x="207" y="107"/>
                    </a:lnTo>
                    <a:lnTo>
                      <a:pt x="207" y="105"/>
                    </a:lnTo>
                    <a:close/>
                    <a:moveTo>
                      <a:pt x="119" y="355"/>
                    </a:moveTo>
                    <a:lnTo>
                      <a:pt x="120" y="355"/>
                    </a:lnTo>
                    <a:lnTo>
                      <a:pt x="120" y="357"/>
                    </a:lnTo>
                    <a:lnTo>
                      <a:pt x="119" y="357"/>
                    </a:lnTo>
                    <a:lnTo>
                      <a:pt x="119" y="355"/>
                    </a:lnTo>
                    <a:close/>
                    <a:moveTo>
                      <a:pt x="154" y="328"/>
                    </a:moveTo>
                    <a:lnTo>
                      <a:pt x="154" y="330"/>
                    </a:lnTo>
                    <a:lnTo>
                      <a:pt x="154" y="328"/>
                    </a:lnTo>
                    <a:close/>
                    <a:moveTo>
                      <a:pt x="100" y="394"/>
                    </a:moveTo>
                    <a:lnTo>
                      <a:pt x="102" y="394"/>
                    </a:lnTo>
                    <a:lnTo>
                      <a:pt x="102" y="396"/>
                    </a:lnTo>
                    <a:lnTo>
                      <a:pt x="100" y="396"/>
                    </a:lnTo>
                    <a:lnTo>
                      <a:pt x="100" y="394"/>
                    </a:lnTo>
                    <a:close/>
                    <a:moveTo>
                      <a:pt x="158" y="325"/>
                    </a:moveTo>
                    <a:lnTo>
                      <a:pt x="158" y="326"/>
                    </a:lnTo>
                    <a:lnTo>
                      <a:pt x="158" y="325"/>
                    </a:lnTo>
                    <a:close/>
                    <a:moveTo>
                      <a:pt x="93" y="403"/>
                    </a:moveTo>
                    <a:lnTo>
                      <a:pt x="95" y="403"/>
                    </a:lnTo>
                    <a:lnTo>
                      <a:pt x="95" y="405"/>
                    </a:lnTo>
                    <a:lnTo>
                      <a:pt x="93" y="405"/>
                    </a:lnTo>
                    <a:lnTo>
                      <a:pt x="93" y="403"/>
                    </a:lnTo>
                    <a:close/>
                    <a:moveTo>
                      <a:pt x="199" y="124"/>
                    </a:moveTo>
                    <a:lnTo>
                      <a:pt x="200" y="124"/>
                    </a:lnTo>
                    <a:lnTo>
                      <a:pt x="199" y="124"/>
                    </a:lnTo>
                    <a:close/>
                    <a:moveTo>
                      <a:pt x="187" y="138"/>
                    </a:moveTo>
                    <a:lnTo>
                      <a:pt x="188" y="138"/>
                    </a:lnTo>
                    <a:lnTo>
                      <a:pt x="188" y="139"/>
                    </a:lnTo>
                    <a:lnTo>
                      <a:pt x="187" y="139"/>
                    </a:lnTo>
                    <a:lnTo>
                      <a:pt x="187" y="138"/>
                    </a:lnTo>
                    <a:close/>
                    <a:moveTo>
                      <a:pt x="156" y="325"/>
                    </a:moveTo>
                    <a:lnTo>
                      <a:pt x="156" y="326"/>
                    </a:lnTo>
                    <a:lnTo>
                      <a:pt x="156" y="325"/>
                    </a:lnTo>
                    <a:close/>
                    <a:moveTo>
                      <a:pt x="202" y="110"/>
                    </a:moveTo>
                    <a:lnTo>
                      <a:pt x="204" y="110"/>
                    </a:lnTo>
                    <a:lnTo>
                      <a:pt x="204" y="112"/>
                    </a:lnTo>
                    <a:lnTo>
                      <a:pt x="202" y="112"/>
                    </a:lnTo>
                    <a:lnTo>
                      <a:pt x="202" y="110"/>
                    </a:lnTo>
                    <a:close/>
                    <a:moveTo>
                      <a:pt x="144" y="311"/>
                    </a:moveTo>
                    <a:lnTo>
                      <a:pt x="146" y="311"/>
                    </a:lnTo>
                    <a:lnTo>
                      <a:pt x="144" y="311"/>
                    </a:lnTo>
                    <a:close/>
                    <a:moveTo>
                      <a:pt x="210" y="100"/>
                    </a:moveTo>
                    <a:lnTo>
                      <a:pt x="210" y="102"/>
                    </a:lnTo>
                    <a:lnTo>
                      <a:pt x="210" y="100"/>
                    </a:lnTo>
                    <a:close/>
                    <a:moveTo>
                      <a:pt x="98" y="396"/>
                    </a:moveTo>
                    <a:lnTo>
                      <a:pt x="100" y="396"/>
                    </a:lnTo>
                    <a:lnTo>
                      <a:pt x="98" y="396"/>
                    </a:lnTo>
                    <a:close/>
                    <a:moveTo>
                      <a:pt x="209" y="103"/>
                    </a:moveTo>
                    <a:lnTo>
                      <a:pt x="210" y="103"/>
                    </a:lnTo>
                    <a:lnTo>
                      <a:pt x="209" y="103"/>
                    </a:lnTo>
                    <a:close/>
                    <a:moveTo>
                      <a:pt x="108" y="372"/>
                    </a:moveTo>
                    <a:lnTo>
                      <a:pt x="110" y="372"/>
                    </a:lnTo>
                    <a:lnTo>
                      <a:pt x="108" y="372"/>
                    </a:lnTo>
                    <a:close/>
                    <a:moveTo>
                      <a:pt x="105" y="377"/>
                    </a:moveTo>
                    <a:lnTo>
                      <a:pt x="105" y="379"/>
                    </a:lnTo>
                    <a:lnTo>
                      <a:pt x="105" y="377"/>
                    </a:lnTo>
                    <a:close/>
                    <a:moveTo>
                      <a:pt x="12" y="0"/>
                    </a:moveTo>
                    <a:lnTo>
                      <a:pt x="13" y="0"/>
                    </a:lnTo>
                    <a:lnTo>
                      <a:pt x="13" y="1"/>
                    </a:lnTo>
                    <a:lnTo>
                      <a:pt x="12" y="1"/>
                    </a:lnTo>
                    <a:lnTo>
                      <a:pt x="12" y="0"/>
                    </a:lnTo>
                    <a:close/>
                    <a:moveTo>
                      <a:pt x="146" y="311"/>
                    </a:moveTo>
                    <a:lnTo>
                      <a:pt x="146" y="313"/>
                    </a:lnTo>
                    <a:lnTo>
                      <a:pt x="146" y="311"/>
                    </a:lnTo>
                    <a:close/>
                    <a:moveTo>
                      <a:pt x="255" y="71"/>
                    </a:moveTo>
                    <a:lnTo>
                      <a:pt x="255" y="73"/>
                    </a:lnTo>
                    <a:lnTo>
                      <a:pt x="255" y="71"/>
                    </a:lnTo>
                    <a:close/>
                    <a:moveTo>
                      <a:pt x="148" y="308"/>
                    </a:moveTo>
                    <a:lnTo>
                      <a:pt x="148" y="309"/>
                    </a:lnTo>
                    <a:lnTo>
                      <a:pt x="148" y="308"/>
                    </a:lnTo>
                    <a:close/>
                    <a:moveTo>
                      <a:pt x="142" y="316"/>
                    </a:moveTo>
                    <a:lnTo>
                      <a:pt x="144" y="316"/>
                    </a:lnTo>
                    <a:lnTo>
                      <a:pt x="142" y="316"/>
                    </a:lnTo>
                    <a:close/>
                    <a:moveTo>
                      <a:pt x="142" y="316"/>
                    </a:moveTo>
                    <a:lnTo>
                      <a:pt x="144" y="316"/>
                    </a:lnTo>
                    <a:lnTo>
                      <a:pt x="144" y="318"/>
                    </a:lnTo>
                    <a:lnTo>
                      <a:pt x="142" y="318"/>
                    </a:lnTo>
                    <a:lnTo>
                      <a:pt x="142" y="316"/>
                    </a:lnTo>
                    <a:close/>
                    <a:moveTo>
                      <a:pt x="122" y="369"/>
                    </a:moveTo>
                    <a:lnTo>
                      <a:pt x="122" y="371"/>
                    </a:lnTo>
                    <a:lnTo>
                      <a:pt x="122" y="36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9" name="Freeform 25">
                <a:extLst>
                  <a:ext uri="{FF2B5EF4-FFF2-40B4-BE49-F238E27FC236}">
                    <a16:creationId xmlns:a16="http://schemas.microsoft.com/office/drawing/2014/main" id="{DB597224-442D-052D-EE50-E81C4E47BA4F}"/>
                  </a:ext>
                </a:extLst>
              </p:cNvPr>
              <p:cNvSpPr>
                <a:spLocks/>
              </p:cNvSpPr>
              <p:nvPr/>
            </p:nvSpPr>
            <p:spPr bwMode="auto">
              <a:xfrm>
                <a:off x="5692680" y="2822884"/>
                <a:ext cx="3819" cy="3526"/>
              </a:xfrm>
              <a:custGeom>
                <a:avLst/>
                <a:gdLst>
                  <a:gd name="T0" fmla="*/ 1 w 13"/>
                  <a:gd name="T1" fmla="*/ 0 h 12"/>
                  <a:gd name="T2" fmla="*/ 3 w 13"/>
                  <a:gd name="T3" fmla="*/ 2 h 12"/>
                  <a:gd name="T4" fmla="*/ 3 w 13"/>
                  <a:gd name="T5" fmla="*/ 4 h 12"/>
                  <a:gd name="T6" fmla="*/ 5 w 13"/>
                  <a:gd name="T7" fmla="*/ 6 h 12"/>
                  <a:gd name="T8" fmla="*/ 5 w 13"/>
                  <a:gd name="T9" fmla="*/ 7 h 12"/>
                  <a:gd name="T10" fmla="*/ 6 w 13"/>
                  <a:gd name="T11" fmla="*/ 7 h 12"/>
                  <a:gd name="T12" fmla="*/ 8 w 13"/>
                  <a:gd name="T13" fmla="*/ 7 h 12"/>
                  <a:gd name="T14" fmla="*/ 10 w 13"/>
                  <a:gd name="T15" fmla="*/ 7 h 12"/>
                  <a:gd name="T16" fmla="*/ 12 w 13"/>
                  <a:gd name="T17" fmla="*/ 9 h 12"/>
                  <a:gd name="T18" fmla="*/ 12 w 13"/>
                  <a:gd name="T19" fmla="*/ 11 h 12"/>
                  <a:gd name="T20" fmla="*/ 13 w 13"/>
                  <a:gd name="T21" fmla="*/ 11 h 12"/>
                  <a:gd name="T22" fmla="*/ 13 w 13"/>
                  <a:gd name="T23" fmla="*/ 12 h 12"/>
                  <a:gd name="T24" fmla="*/ 12 w 13"/>
                  <a:gd name="T25" fmla="*/ 12 h 12"/>
                  <a:gd name="T26" fmla="*/ 10 w 13"/>
                  <a:gd name="T27" fmla="*/ 12 h 12"/>
                  <a:gd name="T28" fmla="*/ 10 w 13"/>
                  <a:gd name="T29" fmla="*/ 11 h 12"/>
                  <a:gd name="T30" fmla="*/ 8 w 13"/>
                  <a:gd name="T31" fmla="*/ 11 h 12"/>
                  <a:gd name="T32" fmla="*/ 6 w 13"/>
                  <a:gd name="T33" fmla="*/ 11 h 12"/>
                  <a:gd name="T34" fmla="*/ 6 w 13"/>
                  <a:gd name="T35" fmla="*/ 9 h 12"/>
                  <a:gd name="T36" fmla="*/ 5 w 13"/>
                  <a:gd name="T37" fmla="*/ 9 h 12"/>
                  <a:gd name="T38" fmla="*/ 5 w 13"/>
                  <a:gd name="T39" fmla="*/ 7 h 12"/>
                  <a:gd name="T40" fmla="*/ 3 w 13"/>
                  <a:gd name="T41" fmla="*/ 7 h 12"/>
                  <a:gd name="T42" fmla="*/ 1 w 13"/>
                  <a:gd name="T43" fmla="*/ 7 h 12"/>
                  <a:gd name="T44" fmla="*/ 1 w 13"/>
                  <a:gd name="T45" fmla="*/ 6 h 12"/>
                  <a:gd name="T46" fmla="*/ 1 w 13"/>
                  <a:gd name="T47" fmla="*/ 4 h 12"/>
                  <a:gd name="T48" fmla="*/ 0 w 13"/>
                  <a:gd name="T49" fmla="*/ 4 h 12"/>
                  <a:gd name="T50" fmla="*/ 0 w 13"/>
                  <a:gd name="T51" fmla="*/ 2 h 12"/>
                  <a:gd name="T52" fmla="*/ 0 w 13"/>
                  <a:gd name="T53" fmla="*/ 0 h 12"/>
                  <a:gd name="T54" fmla="*/ 1 w 13"/>
                  <a:gd name="T5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 h="12">
                    <a:moveTo>
                      <a:pt x="1" y="0"/>
                    </a:moveTo>
                    <a:lnTo>
                      <a:pt x="3" y="2"/>
                    </a:lnTo>
                    <a:lnTo>
                      <a:pt x="3" y="4"/>
                    </a:lnTo>
                    <a:lnTo>
                      <a:pt x="5" y="6"/>
                    </a:lnTo>
                    <a:lnTo>
                      <a:pt x="5" y="7"/>
                    </a:lnTo>
                    <a:lnTo>
                      <a:pt x="6" y="7"/>
                    </a:lnTo>
                    <a:lnTo>
                      <a:pt x="8" y="7"/>
                    </a:lnTo>
                    <a:lnTo>
                      <a:pt x="10" y="7"/>
                    </a:lnTo>
                    <a:lnTo>
                      <a:pt x="12" y="9"/>
                    </a:lnTo>
                    <a:lnTo>
                      <a:pt x="12" y="11"/>
                    </a:lnTo>
                    <a:lnTo>
                      <a:pt x="13" y="11"/>
                    </a:lnTo>
                    <a:lnTo>
                      <a:pt x="13" y="12"/>
                    </a:lnTo>
                    <a:lnTo>
                      <a:pt x="12" y="12"/>
                    </a:lnTo>
                    <a:lnTo>
                      <a:pt x="10" y="12"/>
                    </a:lnTo>
                    <a:lnTo>
                      <a:pt x="10" y="11"/>
                    </a:lnTo>
                    <a:lnTo>
                      <a:pt x="8" y="11"/>
                    </a:lnTo>
                    <a:lnTo>
                      <a:pt x="6" y="11"/>
                    </a:lnTo>
                    <a:lnTo>
                      <a:pt x="6" y="9"/>
                    </a:lnTo>
                    <a:lnTo>
                      <a:pt x="5" y="9"/>
                    </a:lnTo>
                    <a:lnTo>
                      <a:pt x="5" y="7"/>
                    </a:lnTo>
                    <a:lnTo>
                      <a:pt x="3" y="7"/>
                    </a:lnTo>
                    <a:lnTo>
                      <a:pt x="1" y="7"/>
                    </a:lnTo>
                    <a:lnTo>
                      <a:pt x="1" y="6"/>
                    </a:lnTo>
                    <a:lnTo>
                      <a:pt x="1" y="4"/>
                    </a:lnTo>
                    <a:lnTo>
                      <a:pt x="0" y="4"/>
                    </a:lnTo>
                    <a:lnTo>
                      <a:pt x="0" y="2"/>
                    </a:lnTo>
                    <a:lnTo>
                      <a:pt x="0" y="0"/>
                    </a:lnTo>
                    <a:lnTo>
                      <a:pt x="1"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0" name="Freeform 28">
                <a:extLst>
                  <a:ext uri="{FF2B5EF4-FFF2-40B4-BE49-F238E27FC236}">
                    <a16:creationId xmlns:a16="http://schemas.microsoft.com/office/drawing/2014/main" id="{F5A9AA68-C170-F391-7866-4F1BE1AA6604}"/>
                  </a:ext>
                </a:extLst>
              </p:cNvPr>
              <p:cNvSpPr>
                <a:spLocks noEditPoints="1"/>
              </p:cNvSpPr>
              <p:nvPr/>
            </p:nvSpPr>
            <p:spPr bwMode="auto">
              <a:xfrm>
                <a:off x="5469451" y="2932442"/>
                <a:ext cx="163308" cy="64030"/>
              </a:xfrm>
              <a:custGeom>
                <a:avLst/>
                <a:gdLst>
                  <a:gd name="T0" fmla="*/ 549 w 556"/>
                  <a:gd name="T1" fmla="*/ 61 h 218"/>
                  <a:gd name="T2" fmla="*/ 554 w 556"/>
                  <a:gd name="T3" fmla="*/ 78 h 218"/>
                  <a:gd name="T4" fmla="*/ 540 w 556"/>
                  <a:gd name="T5" fmla="*/ 104 h 218"/>
                  <a:gd name="T6" fmla="*/ 489 w 556"/>
                  <a:gd name="T7" fmla="*/ 143 h 218"/>
                  <a:gd name="T8" fmla="*/ 454 w 556"/>
                  <a:gd name="T9" fmla="*/ 167 h 218"/>
                  <a:gd name="T10" fmla="*/ 447 w 556"/>
                  <a:gd name="T11" fmla="*/ 177 h 218"/>
                  <a:gd name="T12" fmla="*/ 440 w 556"/>
                  <a:gd name="T13" fmla="*/ 197 h 218"/>
                  <a:gd name="T14" fmla="*/ 428 w 556"/>
                  <a:gd name="T15" fmla="*/ 216 h 218"/>
                  <a:gd name="T16" fmla="*/ 409 w 556"/>
                  <a:gd name="T17" fmla="*/ 202 h 218"/>
                  <a:gd name="T18" fmla="*/ 387 w 556"/>
                  <a:gd name="T19" fmla="*/ 196 h 218"/>
                  <a:gd name="T20" fmla="*/ 382 w 556"/>
                  <a:gd name="T21" fmla="*/ 192 h 218"/>
                  <a:gd name="T22" fmla="*/ 389 w 556"/>
                  <a:gd name="T23" fmla="*/ 179 h 218"/>
                  <a:gd name="T24" fmla="*/ 392 w 556"/>
                  <a:gd name="T25" fmla="*/ 160 h 218"/>
                  <a:gd name="T26" fmla="*/ 401 w 556"/>
                  <a:gd name="T27" fmla="*/ 138 h 218"/>
                  <a:gd name="T28" fmla="*/ 399 w 556"/>
                  <a:gd name="T29" fmla="*/ 126 h 218"/>
                  <a:gd name="T30" fmla="*/ 398 w 556"/>
                  <a:gd name="T31" fmla="*/ 128 h 218"/>
                  <a:gd name="T32" fmla="*/ 389 w 556"/>
                  <a:gd name="T33" fmla="*/ 136 h 218"/>
                  <a:gd name="T34" fmla="*/ 370 w 556"/>
                  <a:gd name="T35" fmla="*/ 129 h 218"/>
                  <a:gd name="T36" fmla="*/ 369 w 556"/>
                  <a:gd name="T37" fmla="*/ 119 h 218"/>
                  <a:gd name="T38" fmla="*/ 369 w 556"/>
                  <a:gd name="T39" fmla="*/ 94 h 218"/>
                  <a:gd name="T40" fmla="*/ 374 w 556"/>
                  <a:gd name="T41" fmla="*/ 80 h 218"/>
                  <a:gd name="T42" fmla="*/ 379 w 556"/>
                  <a:gd name="T43" fmla="*/ 66 h 218"/>
                  <a:gd name="T44" fmla="*/ 391 w 556"/>
                  <a:gd name="T45" fmla="*/ 49 h 218"/>
                  <a:gd name="T46" fmla="*/ 394 w 556"/>
                  <a:gd name="T47" fmla="*/ 36 h 218"/>
                  <a:gd name="T48" fmla="*/ 398 w 556"/>
                  <a:gd name="T49" fmla="*/ 20 h 218"/>
                  <a:gd name="T50" fmla="*/ 425 w 556"/>
                  <a:gd name="T51" fmla="*/ 10 h 218"/>
                  <a:gd name="T52" fmla="*/ 435 w 556"/>
                  <a:gd name="T53" fmla="*/ 5 h 218"/>
                  <a:gd name="T54" fmla="*/ 447 w 556"/>
                  <a:gd name="T55" fmla="*/ 8 h 218"/>
                  <a:gd name="T56" fmla="*/ 464 w 556"/>
                  <a:gd name="T57" fmla="*/ 20 h 218"/>
                  <a:gd name="T58" fmla="*/ 477 w 556"/>
                  <a:gd name="T59" fmla="*/ 29 h 218"/>
                  <a:gd name="T60" fmla="*/ 493 w 556"/>
                  <a:gd name="T61" fmla="*/ 37 h 218"/>
                  <a:gd name="T62" fmla="*/ 513 w 556"/>
                  <a:gd name="T63" fmla="*/ 41 h 218"/>
                  <a:gd name="T64" fmla="*/ 532 w 556"/>
                  <a:gd name="T65" fmla="*/ 43 h 218"/>
                  <a:gd name="T66" fmla="*/ 554 w 556"/>
                  <a:gd name="T67" fmla="*/ 53 h 218"/>
                  <a:gd name="T68" fmla="*/ 24 w 556"/>
                  <a:gd name="T69" fmla="*/ 65 h 218"/>
                  <a:gd name="T70" fmla="*/ 25 w 556"/>
                  <a:gd name="T71" fmla="*/ 82 h 218"/>
                  <a:gd name="T72" fmla="*/ 5 w 556"/>
                  <a:gd name="T73" fmla="*/ 78 h 218"/>
                  <a:gd name="T74" fmla="*/ 15 w 556"/>
                  <a:gd name="T75" fmla="*/ 63 h 218"/>
                  <a:gd name="T76" fmla="*/ 5 w 556"/>
                  <a:gd name="T77" fmla="*/ 48 h 218"/>
                  <a:gd name="T78" fmla="*/ 44 w 556"/>
                  <a:gd name="T79" fmla="*/ 75 h 218"/>
                  <a:gd name="T80" fmla="*/ 46 w 556"/>
                  <a:gd name="T81" fmla="*/ 65 h 218"/>
                  <a:gd name="T82" fmla="*/ 389 w 556"/>
                  <a:gd name="T83" fmla="*/ 148 h 218"/>
                  <a:gd name="T84" fmla="*/ 8 w 556"/>
                  <a:gd name="T85" fmla="*/ 58 h 218"/>
                  <a:gd name="T86" fmla="*/ 7 w 556"/>
                  <a:gd name="T87" fmla="*/ 58 h 218"/>
                  <a:gd name="T88" fmla="*/ 30 w 556"/>
                  <a:gd name="T89" fmla="*/ 54 h 218"/>
                  <a:gd name="T90" fmla="*/ 71 w 556"/>
                  <a:gd name="T91" fmla="*/ 78 h 218"/>
                  <a:gd name="T92" fmla="*/ 41 w 556"/>
                  <a:gd name="T93" fmla="*/ 90 h 218"/>
                  <a:gd name="T94" fmla="*/ 399 w 556"/>
                  <a:gd name="T95" fmla="*/ 136 h 218"/>
                  <a:gd name="T96" fmla="*/ 391 w 556"/>
                  <a:gd name="T97" fmla="*/ 136 h 218"/>
                  <a:gd name="T98" fmla="*/ 403 w 556"/>
                  <a:gd name="T99" fmla="*/ 138 h 218"/>
                  <a:gd name="T100" fmla="*/ 428 w 556"/>
                  <a:gd name="T101" fmla="*/ 5 h 218"/>
                  <a:gd name="T102" fmla="*/ 66 w 556"/>
                  <a:gd name="T103" fmla="*/ 95 h 218"/>
                  <a:gd name="T104" fmla="*/ 391 w 556"/>
                  <a:gd name="T105" fmla="*/ 145 h 218"/>
                  <a:gd name="T106" fmla="*/ 394 w 556"/>
                  <a:gd name="T107" fmla="*/ 124 h 218"/>
                  <a:gd name="T108" fmla="*/ 394 w 556"/>
                  <a:gd name="T109" fmla="*/ 138 h 218"/>
                  <a:gd name="T110" fmla="*/ 392 w 556"/>
                  <a:gd name="T111" fmla="*/ 129 h 218"/>
                  <a:gd name="T112" fmla="*/ 387 w 556"/>
                  <a:gd name="T113" fmla="*/ 162 h 218"/>
                  <a:gd name="T114" fmla="*/ 392 w 556"/>
                  <a:gd name="T115" fmla="*/ 36 h 218"/>
                  <a:gd name="T116" fmla="*/ 394 w 556"/>
                  <a:gd name="T117" fmla="*/ 129 h 218"/>
                  <a:gd name="T118" fmla="*/ 396 w 556"/>
                  <a:gd name="T119" fmla="*/ 131 h 218"/>
                  <a:gd name="T120" fmla="*/ 399 w 556"/>
                  <a:gd name="T121" fmla="*/ 134 h 218"/>
                  <a:gd name="T122" fmla="*/ 387 w 556"/>
                  <a:gd name="T123" fmla="*/ 139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56" h="218">
                    <a:moveTo>
                      <a:pt x="554" y="53"/>
                    </a:moveTo>
                    <a:lnTo>
                      <a:pt x="552" y="54"/>
                    </a:lnTo>
                    <a:lnTo>
                      <a:pt x="551" y="54"/>
                    </a:lnTo>
                    <a:lnTo>
                      <a:pt x="549" y="54"/>
                    </a:lnTo>
                    <a:lnTo>
                      <a:pt x="547" y="54"/>
                    </a:lnTo>
                    <a:lnTo>
                      <a:pt x="547" y="53"/>
                    </a:lnTo>
                    <a:lnTo>
                      <a:pt x="545" y="53"/>
                    </a:lnTo>
                    <a:lnTo>
                      <a:pt x="544" y="53"/>
                    </a:lnTo>
                    <a:lnTo>
                      <a:pt x="542" y="53"/>
                    </a:lnTo>
                    <a:lnTo>
                      <a:pt x="542" y="54"/>
                    </a:lnTo>
                    <a:lnTo>
                      <a:pt x="544" y="54"/>
                    </a:lnTo>
                    <a:lnTo>
                      <a:pt x="544" y="56"/>
                    </a:lnTo>
                    <a:lnTo>
                      <a:pt x="545" y="56"/>
                    </a:lnTo>
                    <a:lnTo>
                      <a:pt x="547" y="58"/>
                    </a:lnTo>
                    <a:lnTo>
                      <a:pt x="545" y="58"/>
                    </a:lnTo>
                    <a:lnTo>
                      <a:pt x="547" y="58"/>
                    </a:lnTo>
                    <a:lnTo>
                      <a:pt x="547" y="60"/>
                    </a:lnTo>
                    <a:lnTo>
                      <a:pt x="547" y="61"/>
                    </a:lnTo>
                    <a:lnTo>
                      <a:pt x="549" y="61"/>
                    </a:lnTo>
                    <a:lnTo>
                      <a:pt x="549" y="63"/>
                    </a:lnTo>
                    <a:lnTo>
                      <a:pt x="551" y="65"/>
                    </a:lnTo>
                    <a:lnTo>
                      <a:pt x="552" y="65"/>
                    </a:lnTo>
                    <a:lnTo>
                      <a:pt x="552" y="66"/>
                    </a:lnTo>
                    <a:lnTo>
                      <a:pt x="554" y="66"/>
                    </a:lnTo>
                    <a:lnTo>
                      <a:pt x="554" y="68"/>
                    </a:lnTo>
                    <a:lnTo>
                      <a:pt x="556" y="68"/>
                    </a:lnTo>
                    <a:lnTo>
                      <a:pt x="554" y="68"/>
                    </a:lnTo>
                    <a:lnTo>
                      <a:pt x="554" y="70"/>
                    </a:lnTo>
                    <a:lnTo>
                      <a:pt x="556" y="70"/>
                    </a:lnTo>
                    <a:lnTo>
                      <a:pt x="554" y="71"/>
                    </a:lnTo>
                    <a:lnTo>
                      <a:pt x="554" y="70"/>
                    </a:lnTo>
                    <a:lnTo>
                      <a:pt x="554" y="71"/>
                    </a:lnTo>
                    <a:lnTo>
                      <a:pt x="554" y="70"/>
                    </a:lnTo>
                    <a:lnTo>
                      <a:pt x="554" y="71"/>
                    </a:lnTo>
                    <a:lnTo>
                      <a:pt x="554" y="73"/>
                    </a:lnTo>
                    <a:lnTo>
                      <a:pt x="554" y="75"/>
                    </a:lnTo>
                    <a:lnTo>
                      <a:pt x="554" y="77"/>
                    </a:lnTo>
                    <a:lnTo>
                      <a:pt x="554" y="78"/>
                    </a:lnTo>
                    <a:lnTo>
                      <a:pt x="556" y="78"/>
                    </a:lnTo>
                    <a:lnTo>
                      <a:pt x="556" y="80"/>
                    </a:lnTo>
                    <a:lnTo>
                      <a:pt x="554" y="80"/>
                    </a:lnTo>
                    <a:lnTo>
                      <a:pt x="556" y="82"/>
                    </a:lnTo>
                    <a:lnTo>
                      <a:pt x="554" y="82"/>
                    </a:lnTo>
                    <a:lnTo>
                      <a:pt x="552" y="82"/>
                    </a:lnTo>
                    <a:lnTo>
                      <a:pt x="551" y="82"/>
                    </a:lnTo>
                    <a:lnTo>
                      <a:pt x="551" y="80"/>
                    </a:lnTo>
                    <a:lnTo>
                      <a:pt x="549" y="80"/>
                    </a:lnTo>
                    <a:lnTo>
                      <a:pt x="549" y="82"/>
                    </a:lnTo>
                    <a:lnTo>
                      <a:pt x="547" y="88"/>
                    </a:lnTo>
                    <a:lnTo>
                      <a:pt x="547" y="90"/>
                    </a:lnTo>
                    <a:lnTo>
                      <a:pt x="545" y="97"/>
                    </a:lnTo>
                    <a:lnTo>
                      <a:pt x="544" y="99"/>
                    </a:lnTo>
                    <a:lnTo>
                      <a:pt x="544" y="100"/>
                    </a:lnTo>
                    <a:lnTo>
                      <a:pt x="544" y="102"/>
                    </a:lnTo>
                    <a:lnTo>
                      <a:pt x="542" y="100"/>
                    </a:lnTo>
                    <a:lnTo>
                      <a:pt x="542" y="102"/>
                    </a:lnTo>
                    <a:lnTo>
                      <a:pt x="540" y="104"/>
                    </a:lnTo>
                    <a:lnTo>
                      <a:pt x="539" y="107"/>
                    </a:lnTo>
                    <a:lnTo>
                      <a:pt x="535" y="109"/>
                    </a:lnTo>
                    <a:lnTo>
                      <a:pt x="535" y="111"/>
                    </a:lnTo>
                    <a:lnTo>
                      <a:pt x="532" y="114"/>
                    </a:lnTo>
                    <a:lnTo>
                      <a:pt x="528" y="119"/>
                    </a:lnTo>
                    <a:lnTo>
                      <a:pt x="527" y="121"/>
                    </a:lnTo>
                    <a:lnTo>
                      <a:pt x="527" y="122"/>
                    </a:lnTo>
                    <a:lnTo>
                      <a:pt x="523" y="124"/>
                    </a:lnTo>
                    <a:lnTo>
                      <a:pt x="518" y="128"/>
                    </a:lnTo>
                    <a:lnTo>
                      <a:pt x="515" y="129"/>
                    </a:lnTo>
                    <a:lnTo>
                      <a:pt x="513" y="131"/>
                    </a:lnTo>
                    <a:lnTo>
                      <a:pt x="511" y="134"/>
                    </a:lnTo>
                    <a:lnTo>
                      <a:pt x="510" y="134"/>
                    </a:lnTo>
                    <a:lnTo>
                      <a:pt x="508" y="136"/>
                    </a:lnTo>
                    <a:lnTo>
                      <a:pt x="506" y="136"/>
                    </a:lnTo>
                    <a:lnTo>
                      <a:pt x="505" y="138"/>
                    </a:lnTo>
                    <a:lnTo>
                      <a:pt x="503" y="138"/>
                    </a:lnTo>
                    <a:lnTo>
                      <a:pt x="501" y="138"/>
                    </a:lnTo>
                    <a:lnTo>
                      <a:pt x="489" y="143"/>
                    </a:lnTo>
                    <a:lnTo>
                      <a:pt x="476" y="148"/>
                    </a:lnTo>
                    <a:lnTo>
                      <a:pt x="471" y="148"/>
                    </a:lnTo>
                    <a:lnTo>
                      <a:pt x="467" y="150"/>
                    </a:lnTo>
                    <a:lnTo>
                      <a:pt x="464" y="153"/>
                    </a:lnTo>
                    <a:lnTo>
                      <a:pt x="462" y="153"/>
                    </a:lnTo>
                    <a:lnTo>
                      <a:pt x="462" y="155"/>
                    </a:lnTo>
                    <a:lnTo>
                      <a:pt x="460" y="155"/>
                    </a:lnTo>
                    <a:lnTo>
                      <a:pt x="460" y="156"/>
                    </a:lnTo>
                    <a:lnTo>
                      <a:pt x="459" y="156"/>
                    </a:lnTo>
                    <a:lnTo>
                      <a:pt x="459" y="158"/>
                    </a:lnTo>
                    <a:lnTo>
                      <a:pt x="457" y="160"/>
                    </a:lnTo>
                    <a:lnTo>
                      <a:pt x="457" y="162"/>
                    </a:lnTo>
                    <a:lnTo>
                      <a:pt x="455" y="162"/>
                    </a:lnTo>
                    <a:lnTo>
                      <a:pt x="455" y="163"/>
                    </a:lnTo>
                    <a:lnTo>
                      <a:pt x="455" y="165"/>
                    </a:lnTo>
                    <a:lnTo>
                      <a:pt x="457" y="165"/>
                    </a:lnTo>
                    <a:lnTo>
                      <a:pt x="457" y="167"/>
                    </a:lnTo>
                    <a:lnTo>
                      <a:pt x="455" y="167"/>
                    </a:lnTo>
                    <a:lnTo>
                      <a:pt x="454" y="167"/>
                    </a:lnTo>
                    <a:lnTo>
                      <a:pt x="454" y="165"/>
                    </a:lnTo>
                    <a:lnTo>
                      <a:pt x="454" y="163"/>
                    </a:lnTo>
                    <a:lnTo>
                      <a:pt x="452" y="163"/>
                    </a:lnTo>
                    <a:lnTo>
                      <a:pt x="450" y="163"/>
                    </a:lnTo>
                    <a:lnTo>
                      <a:pt x="449" y="163"/>
                    </a:lnTo>
                    <a:lnTo>
                      <a:pt x="450" y="163"/>
                    </a:lnTo>
                    <a:lnTo>
                      <a:pt x="449" y="163"/>
                    </a:lnTo>
                    <a:lnTo>
                      <a:pt x="450" y="165"/>
                    </a:lnTo>
                    <a:lnTo>
                      <a:pt x="449" y="165"/>
                    </a:lnTo>
                    <a:lnTo>
                      <a:pt x="449" y="167"/>
                    </a:lnTo>
                    <a:lnTo>
                      <a:pt x="449" y="168"/>
                    </a:lnTo>
                    <a:lnTo>
                      <a:pt x="449" y="170"/>
                    </a:lnTo>
                    <a:lnTo>
                      <a:pt x="449" y="172"/>
                    </a:lnTo>
                    <a:lnTo>
                      <a:pt x="447" y="172"/>
                    </a:lnTo>
                    <a:lnTo>
                      <a:pt x="449" y="172"/>
                    </a:lnTo>
                    <a:lnTo>
                      <a:pt x="449" y="173"/>
                    </a:lnTo>
                    <a:lnTo>
                      <a:pt x="447" y="173"/>
                    </a:lnTo>
                    <a:lnTo>
                      <a:pt x="447" y="175"/>
                    </a:lnTo>
                    <a:lnTo>
                      <a:pt x="447" y="177"/>
                    </a:lnTo>
                    <a:lnTo>
                      <a:pt x="447" y="179"/>
                    </a:lnTo>
                    <a:lnTo>
                      <a:pt x="445" y="179"/>
                    </a:lnTo>
                    <a:lnTo>
                      <a:pt x="445" y="180"/>
                    </a:lnTo>
                    <a:lnTo>
                      <a:pt x="445" y="182"/>
                    </a:lnTo>
                    <a:lnTo>
                      <a:pt x="443" y="182"/>
                    </a:lnTo>
                    <a:lnTo>
                      <a:pt x="443" y="184"/>
                    </a:lnTo>
                    <a:lnTo>
                      <a:pt x="442" y="184"/>
                    </a:lnTo>
                    <a:lnTo>
                      <a:pt x="442" y="185"/>
                    </a:lnTo>
                    <a:lnTo>
                      <a:pt x="443" y="185"/>
                    </a:lnTo>
                    <a:lnTo>
                      <a:pt x="443" y="187"/>
                    </a:lnTo>
                    <a:lnTo>
                      <a:pt x="442" y="187"/>
                    </a:lnTo>
                    <a:lnTo>
                      <a:pt x="442" y="189"/>
                    </a:lnTo>
                    <a:lnTo>
                      <a:pt x="442" y="190"/>
                    </a:lnTo>
                    <a:lnTo>
                      <a:pt x="440" y="190"/>
                    </a:lnTo>
                    <a:lnTo>
                      <a:pt x="440" y="192"/>
                    </a:lnTo>
                    <a:lnTo>
                      <a:pt x="442" y="192"/>
                    </a:lnTo>
                    <a:lnTo>
                      <a:pt x="440" y="194"/>
                    </a:lnTo>
                    <a:lnTo>
                      <a:pt x="440" y="196"/>
                    </a:lnTo>
                    <a:lnTo>
                      <a:pt x="440" y="197"/>
                    </a:lnTo>
                    <a:lnTo>
                      <a:pt x="442" y="199"/>
                    </a:lnTo>
                    <a:lnTo>
                      <a:pt x="440" y="199"/>
                    </a:lnTo>
                    <a:lnTo>
                      <a:pt x="440" y="201"/>
                    </a:lnTo>
                    <a:lnTo>
                      <a:pt x="438" y="202"/>
                    </a:lnTo>
                    <a:lnTo>
                      <a:pt x="438" y="204"/>
                    </a:lnTo>
                    <a:lnTo>
                      <a:pt x="437" y="206"/>
                    </a:lnTo>
                    <a:lnTo>
                      <a:pt x="435" y="206"/>
                    </a:lnTo>
                    <a:lnTo>
                      <a:pt x="433" y="206"/>
                    </a:lnTo>
                    <a:lnTo>
                      <a:pt x="432" y="208"/>
                    </a:lnTo>
                    <a:lnTo>
                      <a:pt x="432" y="209"/>
                    </a:lnTo>
                    <a:lnTo>
                      <a:pt x="432" y="211"/>
                    </a:lnTo>
                    <a:lnTo>
                      <a:pt x="430" y="211"/>
                    </a:lnTo>
                    <a:lnTo>
                      <a:pt x="432" y="211"/>
                    </a:lnTo>
                    <a:lnTo>
                      <a:pt x="432" y="213"/>
                    </a:lnTo>
                    <a:lnTo>
                      <a:pt x="430" y="213"/>
                    </a:lnTo>
                    <a:lnTo>
                      <a:pt x="432" y="214"/>
                    </a:lnTo>
                    <a:lnTo>
                      <a:pt x="430" y="214"/>
                    </a:lnTo>
                    <a:lnTo>
                      <a:pt x="428" y="214"/>
                    </a:lnTo>
                    <a:lnTo>
                      <a:pt x="428" y="216"/>
                    </a:lnTo>
                    <a:lnTo>
                      <a:pt x="428" y="218"/>
                    </a:lnTo>
                    <a:lnTo>
                      <a:pt x="426" y="218"/>
                    </a:lnTo>
                    <a:lnTo>
                      <a:pt x="425" y="218"/>
                    </a:lnTo>
                    <a:lnTo>
                      <a:pt x="423" y="218"/>
                    </a:lnTo>
                    <a:lnTo>
                      <a:pt x="423" y="216"/>
                    </a:lnTo>
                    <a:lnTo>
                      <a:pt x="421" y="216"/>
                    </a:lnTo>
                    <a:lnTo>
                      <a:pt x="420" y="216"/>
                    </a:lnTo>
                    <a:lnTo>
                      <a:pt x="418" y="216"/>
                    </a:lnTo>
                    <a:lnTo>
                      <a:pt x="418" y="214"/>
                    </a:lnTo>
                    <a:lnTo>
                      <a:pt x="416" y="214"/>
                    </a:lnTo>
                    <a:lnTo>
                      <a:pt x="415" y="213"/>
                    </a:lnTo>
                    <a:lnTo>
                      <a:pt x="413" y="211"/>
                    </a:lnTo>
                    <a:lnTo>
                      <a:pt x="413" y="209"/>
                    </a:lnTo>
                    <a:lnTo>
                      <a:pt x="413" y="208"/>
                    </a:lnTo>
                    <a:lnTo>
                      <a:pt x="411" y="206"/>
                    </a:lnTo>
                    <a:lnTo>
                      <a:pt x="411" y="204"/>
                    </a:lnTo>
                    <a:lnTo>
                      <a:pt x="411" y="202"/>
                    </a:lnTo>
                    <a:lnTo>
                      <a:pt x="409" y="201"/>
                    </a:lnTo>
                    <a:lnTo>
                      <a:pt x="409" y="202"/>
                    </a:lnTo>
                    <a:lnTo>
                      <a:pt x="409" y="201"/>
                    </a:lnTo>
                    <a:lnTo>
                      <a:pt x="408" y="201"/>
                    </a:lnTo>
                    <a:lnTo>
                      <a:pt x="408" y="199"/>
                    </a:lnTo>
                    <a:lnTo>
                      <a:pt x="406" y="199"/>
                    </a:lnTo>
                    <a:lnTo>
                      <a:pt x="404" y="199"/>
                    </a:lnTo>
                    <a:lnTo>
                      <a:pt x="404" y="201"/>
                    </a:lnTo>
                    <a:lnTo>
                      <a:pt x="403" y="201"/>
                    </a:lnTo>
                    <a:lnTo>
                      <a:pt x="401" y="201"/>
                    </a:lnTo>
                    <a:lnTo>
                      <a:pt x="399" y="201"/>
                    </a:lnTo>
                    <a:lnTo>
                      <a:pt x="399" y="199"/>
                    </a:lnTo>
                    <a:lnTo>
                      <a:pt x="398" y="197"/>
                    </a:lnTo>
                    <a:lnTo>
                      <a:pt x="396" y="197"/>
                    </a:lnTo>
                    <a:lnTo>
                      <a:pt x="394" y="197"/>
                    </a:lnTo>
                    <a:lnTo>
                      <a:pt x="392" y="196"/>
                    </a:lnTo>
                    <a:lnTo>
                      <a:pt x="392" y="194"/>
                    </a:lnTo>
                    <a:lnTo>
                      <a:pt x="391" y="194"/>
                    </a:lnTo>
                    <a:lnTo>
                      <a:pt x="389" y="194"/>
                    </a:lnTo>
                    <a:lnTo>
                      <a:pt x="387" y="194"/>
                    </a:lnTo>
                    <a:lnTo>
                      <a:pt x="387" y="196"/>
                    </a:lnTo>
                    <a:lnTo>
                      <a:pt x="386" y="196"/>
                    </a:lnTo>
                    <a:lnTo>
                      <a:pt x="386" y="197"/>
                    </a:lnTo>
                    <a:lnTo>
                      <a:pt x="384" y="197"/>
                    </a:lnTo>
                    <a:lnTo>
                      <a:pt x="384" y="199"/>
                    </a:lnTo>
                    <a:lnTo>
                      <a:pt x="382" y="199"/>
                    </a:lnTo>
                    <a:lnTo>
                      <a:pt x="382" y="201"/>
                    </a:lnTo>
                    <a:lnTo>
                      <a:pt x="381" y="201"/>
                    </a:lnTo>
                    <a:lnTo>
                      <a:pt x="379" y="199"/>
                    </a:lnTo>
                    <a:lnTo>
                      <a:pt x="379" y="201"/>
                    </a:lnTo>
                    <a:lnTo>
                      <a:pt x="379" y="199"/>
                    </a:lnTo>
                    <a:lnTo>
                      <a:pt x="379" y="197"/>
                    </a:lnTo>
                    <a:lnTo>
                      <a:pt x="379" y="196"/>
                    </a:lnTo>
                    <a:lnTo>
                      <a:pt x="381" y="196"/>
                    </a:lnTo>
                    <a:lnTo>
                      <a:pt x="381" y="194"/>
                    </a:lnTo>
                    <a:lnTo>
                      <a:pt x="382" y="192"/>
                    </a:lnTo>
                    <a:lnTo>
                      <a:pt x="382" y="190"/>
                    </a:lnTo>
                    <a:lnTo>
                      <a:pt x="384" y="190"/>
                    </a:lnTo>
                    <a:lnTo>
                      <a:pt x="382" y="190"/>
                    </a:lnTo>
                    <a:lnTo>
                      <a:pt x="382" y="192"/>
                    </a:lnTo>
                    <a:lnTo>
                      <a:pt x="381" y="190"/>
                    </a:lnTo>
                    <a:lnTo>
                      <a:pt x="381" y="192"/>
                    </a:lnTo>
                    <a:lnTo>
                      <a:pt x="379" y="190"/>
                    </a:lnTo>
                    <a:lnTo>
                      <a:pt x="379" y="189"/>
                    </a:lnTo>
                    <a:lnTo>
                      <a:pt x="377" y="189"/>
                    </a:lnTo>
                    <a:lnTo>
                      <a:pt x="379" y="187"/>
                    </a:lnTo>
                    <a:lnTo>
                      <a:pt x="377" y="187"/>
                    </a:lnTo>
                    <a:lnTo>
                      <a:pt x="377" y="185"/>
                    </a:lnTo>
                    <a:lnTo>
                      <a:pt x="379" y="185"/>
                    </a:lnTo>
                    <a:lnTo>
                      <a:pt x="379" y="184"/>
                    </a:lnTo>
                    <a:lnTo>
                      <a:pt x="381" y="184"/>
                    </a:lnTo>
                    <a:lnTo>
                      <a:pt x="382" y="184"/>
                    </a:lnTo>
                    <a:lnTo>
                      <a:pt x="384" y="185"/>
                    </a:lnTo>
                    <a:lnTo>
                      <a:pt x="384" y="184"/>
                    </a:lnTo>
                    <a:lnTo>
                      <a:pt x="386" y="184"/>
                    </a:lnTo>
                    <a:lnTo>
                      <a:pt x="386" y="182"/>
                    </a:lnTo>
                    <a:lnTo>
                      <a:pt x="387" y="182"/>
                    </a:lnTo>
                    <a:lnTo>
                      <a:pt x="389" y="180"/>
                    </a:lnTo>
                    <a:lnTo>
                      <a:pt x="389" y="179"/>
                    </a:lnTo>
                    <a:lnTo>
                      <a:pt x="389" y="177"/>
                    </a:lnTo>
                    <a:lnTo>
                      <a:pt x="387" y="177"/>
                    </a:lnTo>
                    <a:lnTo>
                      <a:pt x="387" y="175"/>
                    </a:lnTo>
                    <a:lnTo>
                      <a:pt x="387" y="173"/>
                    </a:lnTo>
                    <a:lnTo>
                      <a:pt x="387" y="172"/>
                    </a:lnTo>
                    <a:lnTo>
                      <a:pt x="387" y="170"/>
                    </a:lnTo>
                    <a:lnTo>
                      <a:pt x="386" y="170"/>
                    </a:lnTo>
                    <a:lnTo>
                      <a:pt x="387" y="168"/>
                    </a:lnTo>
                    <a:lnTo>
                      <a:pt x="386" y="168"/>
                    </a:lnTo>
                    <a:lnTo>
                      <a:pt x="386" y="167"/>
                    </a:lnTo>
                    <a:lnTo>
                      <a:pt x="386" y="165"/>
                    </a:lnTo>
                    <a:lnTo>
                      <a:pt x="387" y="165"/>
                    </a:lnTo>
                    <a:lnTo>
                      <a:pt x="389" y="165"/>
                    </a:lnTo>
                    <a:lnTo>
                      <a:pt x="391" y="165"/>
                    </a:lnTo>
                    <a:lnTo>
                      <a:pt x="392" y="163"/>
                    </a:lnTo>
                    <a:lnTo>
                      <a:pt x="392" y="162"/>
                    </a:lnTo>
                    <a:lnTo>
                      <a:pt x="392" y="163"/>
                    </a:lnTo>
                    <a:lnTo>
                      <a:pt x="392" y="162"/>
                    </a:lnTo>
                    <a:lnTo>
                      <a:pt x="392" y="160"/>
                    </a:lnTo>
                    <a:lnTo>
                      <a:pt x="394" y="160"/>
                    </a:lnTo>
                    <a:lnTo>
                      <a:pt x="394" y="158"/>
                    </a:lnTo>
                    <a:lnTo>
                      <a:pt x="394" y="156"/>
                    </a:lnTo>
                    <a:lnTo>
                      <a:pt x="396" y="156"/>
                    </a:lnTo>
                    <a:lnTo>
                      <a:pt x="398" y="155"/>
                    </a:lnTo>
                    <a:lnTo>
                      <a:pt x="398" y="153"/>
                    </a:lnTo>
                    <a:lnTo>
                      <a:pt x="398" y="151"/>
                    </a:lnTo>
                    <a:lnTo>
                      <a:pt x="398" y="153"/>
                    </a:lnTo>
                    <a:lnTo>
                      <a:pt x="398" y="151"/>
                    </a:lnTo>
                    <a:lnTo>
                      <a:pt x="399" y="151"/>
                    </a:lnTo>
                    <a:lnTo>
                      <a:pt x="399" y="150"/>
                    </a:lnTo>
                    <a:lnTo>
                      <a:pt x="399" y="148"/>
                    </a:lnTo>
                    <a:lnTo>
                      <a:pt x="399" y="146"/>
                    </a:lnTo>
                    <a:lnTo>
                      <a:pt x="399" y="145"/>
                    </a:lnTo>
                    <a:lnTo>
                      <a:pt x="399" y="143"/>
                    </a:lnTo>
                    <a:lnTo>
                      <a:pt x="401" y="143"/>
                    </a:lnTo>
                    <a:lnTo>
                      <a:pt x="401" y="141"/>
                    </a:lnTo>
                    <a:lnTo>
                      <a:pt x="401" y="139"/>
                    </a:lnTo>
                    <a:lnTo>
                      <a:pt x="401" y="138"/>
                    </a:lnTo>
                    <a:lnTo>
                      <a:pt x="403" y="138"/>
                    </a:lnTo>
                    <a:lnTo>
                      <a:pt x="403" y="136"/>
                    </a:lnTo>
                    <a:lnTo>
                      <a:pt x="403" y="134"/>
                    </a:lnTo>
                    <a:lnTo>
                      <a:pt x="403" y="133"/>
                    </a:lnTo>
                    <a:lnTo>
                      <a:pt x="403" y="134"/>
                    </a:lnTo>
                    <a:lnTo>
                      <a:pt x="403" y="133"/>
                    </a:lnTo>
                    <a:lnTo>
                      <a:pt x="401" y="134"/>
                    </a:lnTo>
                    <a:lnTo>
                      <a:pt x="401" y="133"/>
                    </a:lnTo>
                    <a:lnTo>
                      <a:pt x="401" y="131"/>
                    </a:lnTo>
                    <a:lnTo>
                      <a:pt x="399" y="131"/>
                    </a:lnTo>
                    <a:lnTo>
                      <a:pt x="399" y="129"/>
                    </a:lnTo>
                    <a:lnTo>
                      <a:pt x="399" y="128"/>
                    </a:lnTo>
                    <a:lnTo>
                      <a:pt x="399" y="126"/>
                    </a:lnTo>
                    <a:lnTo>
                      <a:pt x="399" y="124"/>
                    </a:lnTo>
                    <a:lnTo>
                      <a:pt x="399" y="122"/>
                    </a:lnTo>
                    <a:lnTo>
                      <a:pt x="398" y="122"/>
                    </a:lnTo>
                    <a:lnTo>
                      <a:pt x="398" y="124"/>
                    </a:lnTo>
                    <a:lnTo>
                      <a:pt x="398" y="126"/>
                    </a:lnTo>
                    <a:lnTo>
                      <a:pt x="399" y="126"/>
                    </a:lnTo>
                    <a:lnTo>
                      <a:pt x="399" y="128"/>
                    </a:lnTo>
                    <a:lnTo>
                      <a:pt x="399" y="129"/>
                    </a:lnTo>
                    <a:lnTo>
                      <a:pt x="399" y="131"/>
                    </a:lnTo>
                    <a:lnTo>
                      <a:pt x="398" y="131"/>
                    </a:lnTo>
                    <a:lnTo>
                      <a:pt x="398" y="133"/>
                    </a:lnTo>
                    <a:lnTo>
                      <a:pt x="398" y="134"/>
                    </a:lnTo>
                    <a:lnTo>
                      <a:pt x="398" y="136"/>
                    </a:lnTo>
                    <a:lnTo>
                      <a:pt x="396" y="136"/>
                    </a:lnTo>
                    <a:lnTo>
                      <a:pt x="396" y="134"/>
                    </a:lnTo>
                    <a:lnTo>
                      <a:pt x="394" y="134"/>
                    </a:lnTo>
                    <a:lnTo>
                      <a:pt x="396" y="134"/>
                    </a:lnTo>
                    <a:lnTo>
                      <a:pt x="396" y="133"/>
                    </a:lnTo>
                    <a:lnTo>
                      <a:pt x="398" y="133"/>
                    </a:lnTo>
                    <a:lnTo>
                      <a:pt x="398" y="131"/>
                    </a:lnTo>
                    <a:lnTo>
                      <a:pt x="398" y="129"/>
                    </a:lnTo>
                    <a:lnTo>
                      <a:pt x="396" y="129"/>
                    </a:lnTo>
                    <a:lnTo>
                      <a:pt x="398" y="128"/>
                    </a:lnTo>
                    <a:lnTo>
                      <a:pt x="396" y="128"/>
                    </a:lnTo>
                    <a:lnTo>
                      <a:pt x="398" y="128"/>
                    </a:lnTo>
                    <a:lnTo>
                      <a:pt x="396" y="126"/>
                    </a:lnTo>
                    <a:lnTo>
                      <a:pt x="398" y="126"/>
                    </a:lnTo>
                    <a:lnTo>
                      <a:pt x="396" y="126"/>
                    </a:lnTo>
                    <a:lnTo>
                      <a:pt x="396" y="124"/>
                    </a:lnTo>
                    <a:lnTo>
                      <a:pt x="394" y="124"/>
                    </a:lnTo>
                    <a:lnTo>
                      <a:pt x="394" y="126"/>
                    </a:lnTo>
                    <a:lnTo>
                      <a:pt x="394" y="128"/>
                    </a:lnTo>
                    <a:lnTo>
                      <a:pt x="396" y="128"/>
                    </a:lnTo>
                    <a:lnTo>
                      <a:pt x="394" y="128"/>
                    </a:lnTo>
                    <a:lnTo>
                      <a:pt x="392" y="128"/>
                    </a:lnTo>
                    <a:lnTo>
                      <a:pt x="392" y="129"/>
                    </a:lnTo>
                    <a:lnTo>
                      <a:pt x="391" y="129"/>
                    </a:lnTo>
                    <a:lnTo>
                      <a:pt x="391" y="131"/>
                    </a:lnTo>
                    <a:lnTo>
                      <a:pt x="391" y="133"/>
                    </a:lnTo>
                    <a:lnTo>
                      <a:pt x="391" y="134"/>
                    </a:lnTo>
                    <a:lnTo>
                      <a:pt x="389" y="134"/>
                    </a:lnTo>
                    <a:lnTo>
                      <a:pt x="389" y="136"/>
                    </a:lnTo>
                    <a:lnTo>
                      <a:pt x="387" y="134"/>
                    </a:lnTo>
                    <a:lnTo>
                      <a:pt x="389" y="136"/>
                    </a:lnTo>
                    <a:lnTo>
                      <a:pt x="387" y="136"/>
                    </a:lnTo>
                    <a:lnTo>
                      <a:pt x="386" y="138"/>
                    </a:lnTo>
                    <a:lnTo>
                      <a:pt x="384" y="138"/>
                    </a:lnTo>
                    <a:lnTo>
                      <a:pt x="386" y="138"/>
                    </a:lnTo>
                    <a:lnTo>
                      <a:pt x="386" y="139"/>
                    </a:lnTo>
                    <a:lnTo>
                      <a:pt x="386" y="141"/>
                    </a:lnTo>
                    <a:lnTo>
                      <a:pt x="384" y="141"/>
                    </a:lnTo>
                    <a:lnTo>
                      <a:pt x="382" y="139"/>
                    </a:lnTo>
                    <a:lnTo>
                      <a:pt x="381" y="139"/>
                    </a:lnTo>
                    <a:lnTo>
                      <a:pt x="381" y="138"/>
                    </a:lnTo>
                    <a:lnTo>
                      <a:pt x="379" y="138"/>
                    </a:lnTo>
                    <a:lnTo>
                      <a:pt x="377" y="138"/>
                    </a:lnTo>
                    <a:lnTo>
                      <a:pt x="377" y="136"/>
                    </a:lnTo>
                    <a:lnTo>
                      <a:pt x="376" y="134"/>
                    </a:lnTo>
                    <a:lnTo>
                      <a:pt x="376" y="133"/>
                    </a:lnTo>
                    <a:lnTo>
                      <a:pt x="374" y="133"/>
                    </a:lnTo>
                    <a:lnTo>
                      <a:pt x="372" y="131"/>
                    </a:lnTo>
                    <a:lnTo>
                      <a:pt x="370" y="131"/>
                    </a:lnTo>
                    <a:lnTo>
                      <a:pt x="370" y="129"/>
                    </a:lnTo>
                    <a:lnTo>
                      <a:pt x="369" y="129"/>
                    </a:lnTo>
                    <a:lnTo>
                      <a:pt x="367" y="129"/>
                    </a:lnTo>
                    <a:lnTo>
                      <a:pt x="365" y="128"/>
                    </a:lnTo>
                    <a:lnTo>
                      <a:pt x="364" y="128"/>
                    </a:lnTo>
                    <a:lnTo>
                      <a:pt x="364" y="126"/>
                    </a:lnTo>
                    <a:lnTo>
                      <a:pt x="362" y="126"/>
                    </a:lnTo>
                    <a:lnTo>
                      <a:pt x="362" y="124"/>
                    </a:lnTo>
                    <a:lnTo>
                      <a:pt x="360" y="124"/>
                    </a:lnTo>
                    <a:lnTo>
                      <a:pt x="360" y="122"/>
                    </a:lnTo>
                    <a:lnTo>
                      <a:pt x="360" y="124"/>
                    </a:lnTo>
                    <a:lnTo>
                      <a:pt x="362" y="122"/>
                    </a:lnTo>
                    <a:lnTo>
                      <a:pt x="362" y="124"/>
                    </a:lnTo>
                    <a:lnTo>
                      <a:pt x="364" y="124"/>
                    </a:lnTo>
                    <a:lnTo>
                      <a:pt x="364" y="122"/>
                    </a:lnTo>
                    <a:lnTo>
                      <a:pt x="365" y="122"/>
                    </a:lnTo>
                    <a:lnTo>
                      <a:pt x="367" y="122"/>
                    </a:lnTo>
                    <a:lnTo>
                      <a:pt x="367" y="121"/>
                    </a:lnTo>
                    <a:lnTo>
                      <a:pt x="369" y="121"/>
                    </a:lnTo>
                    <a:lnTo>
                      <a:pt x="369" y="119"/>
                    </a:lnTo>
                    <a:lnTo>
                      <a:pt x="369" y="117"/>
                    </a:lnTo>
                    <a:lnTo>
                      <a:pt x="369" y="116"/>
                    </a:lnTo>
                    <a:lnTo>
                      <a:pt x="369" y="114"/>
                    </a:lnTo>
                    <a:lnTo>
                      <a:pt x="369" y="112"/>
                    </a:lnTo>
                    <a:lnTo>
                      <a:pt x="369" y="111"/>
                    </a:lnTo>
                    <a:lnTo>
                      <a:pt x="369" y="109"/>
                    </a:lnTo>
                    <a:lnTo>
                      <a:pt x="367" y="109"/>
                    </a:lnTo>
                    <a:lnTo>
                      <a:pt x="367" y="107"/>
                    </a:lnTo>
                    <a:lnTo>
                      <a:pt x="367" y="105"/>
                    </a:lnTo>
                    <a:lnTo>
                      <a:pt x="365" y="105"/>
                    </a:lnTo>
                    <a:lnTo>
                      <a:pt x="365" y="104"/>
                    </a:lnTo>
                    <a:lnTo>
                      <a:pt x="365" y="102"/>
                    </a:lnTo>
                    <a:lnTo>
                      <a:pt x="367" y="102"/>
                    </a:lnTo>
                    <a:lnTo>
                      <a:pt x="367" y="100"/>
                    </a:lnTo>
                    <a:lnTo>
                      <a:pt x="367" y="99"/>
                    </a:lnTo>
                    <a:lnTo>
                      <a:pt x="369" y="99"/>
                    </a:lnTo>
                    <a:lnTo>
                      <a:pt x="369" y="97"/>
                    </a:lnTo>
                    <a:lnTo>
                      <a:pt x="369" y="95"/>
                    </a:lnTo>
                    <a:lnTo>
                      <a:pt x="369" y="94"/>
                    </a:lnTo>
                    <a:lnTo>
                      <a:pt x="367" y="92"/>
                    </a:lnTo>
                    <a:lnTo>
                      <a:pt x="367" y="90"/>
                    </a:lnTo>
                    <a:lnTo>
                      <a:pt x="365" y="90"/>
                    </a:lnTo>
                    <a:lnTo>
                      <a:pt x="365" y="88"/>
                    </a:lnTo>
                    <a:lnTo>
                      <a:pt x="364" y="88"/>
                    </a:lnTo>
                    <a:lnTo>
                      <a:pt x="364" y="87"/>
                    </a:lnTo>
                    <a:lnTo>
                      <a:pt x="364" y="85"/>
                    </a:lnTo>
                    <a:lnTo>
                      <a:pt x="364" y="83"/>
                    </a:lnTo>
                    <a:lnTo>
                      <a:pt x="365" y="83"/>
                    </a:lnTo>
                    <a:lnTo>
                      <a:pt x="365" y="82"/>
                    </a:lnTo>
                    <a:lnTo>
                      <a:pt x="367" y="82"/>
                    </a:lnTo>
                    <a:lnTo>
                      <a:pt x="369" y="80"/>
                    </a:lnTo>
                    <a:lnTo>
                      <a:pt x="369" y="82"/>
                    </a:lnTo>
                    <a:lnTo>
                      <a:pt x="370" y="82"/>
                    </a:lnTo>
                    <a:lnTo>
                      <a:pt x="370" y="80"/>
                    </a:lnTo>
                    <a:lnTo>
                      <a:pt x="372" y="80"/>
                    </a:lnTo>
                    <a:lnTo>
                      <a:pt x="372" y="82"/>
                    </a:lnTo>
                    <a:lnTo>
                      <a:pt x="372" y="80"/>
                    </a:lnTo>
                    <a:lnTo>
                      <a:pt x="374" y="80"/>
                    </a:lnTo>
                    <a:lnTo>
                      <a:pt x="376" y="80"/>
                    </a:lnTo>
                    <a:lnTo>
                      <a:pt x="376" y="78"/>
                    </a:lnTo>
                    <a:lnTo>
                      <a:pt x="376" y="77"/>
                    </a:lnTo>
                    <a:lnTo>
                      <a:pt x="376" y="75"/>
                    </a:lnTo>
                    <a:lnTo>
                      <a:pt x="377" y="75"/>
                    </a:lnTo>
                    <a:lnTo>
                      <a:pt x="377" y="73"/>
                    </a:lnTo>
                    <a:lnTo>
                      <a:pt x="377" y="71"/>
                    </a:lnTo>
                    <a:lnTo>
                      <a:pt x="377" y="70"/>
                    </a:lnTo>
                    <a:lnTo>
                      <a:pt x="379" y="70"/>
                    </a:lnTo>
                    <a:lnTo>
                      <a:pt x="381" y="71"/>
                    </a:lnTo>
                    <a:lnTo>
                      <a:pt x="382" y="71"/>
                    </a:lnTo>
                    <a:lnTo>
                      <a:pt x="384" y="71"/>
                    </a:lnTo>
                    <a:lnTo>
                      <a:pt x="382" y="71"/>
                    </a:lnTo>
                    <a:lnTo>
                      <a:pt x="382" y="70"/>
                    </a:lnTo>
                    <a:lnTo>
                      <a:pt x="381" y="71"/>
                    </a:lnTo>
                    <a:lnTo>
                      <a:pt x="381" y="70"/>
                    </a:lnTo>
                    <a:lnTo>
                      <a:pt x="381" y="68"/>
                    </a:lnTo>
                    <a:lnTo>
                      <a:pt x="379" y="68"/>
                    </a:lnTo>
                    <a:lnTo>
                      <a:pt x="379" y="66"/>
                    </a:lnTo>
                    <a:lnTo>
                      <a:pt x="379" y="65"/>
                    </a:lnTo>
                    <a:lnTo>
                      <a:pt x="377" y="65"/>
                    </a:lnTo>
                    <a:lnTo>
                      <a:pt x="377" y="63"/>
                    </a:lnTo>
                    <a:lnTo>
                      <a:pt x="377" y="61"/>
                    </a:lnTo>
                    <a:lnTo>
                      <a:pt x="379" y="61"/>
                    </a:lnTo>
                    <a:lnTo>
                      <a:pt x="379" y="60"/>
                    </a:lnTo>
                    <a:lnTo>
                      <a:pt x="381" y="60"/>
                    </a:lnTo>
                    <a:lnTo>
                      <a:pt x="381" y="58"/>
                    </a:lnTo>
                    <a:lnTo>
                      <a:pt x="381" y="56"/>
                    </a:lnTo>
                    <a:lnTo>
                      <a:pt x="382" y="56"/>
                    </a:lnTo>
                    <a:lnTo>
                      <a:pt x="382" y="54"/>
                    </a:lnTo>
                    <a:lnTo>
                      <a:pt x="384" y="54"/>
                    </a:lnTo>
                    <a:lnTo>
                      <a:pt x="386" y="54"/>
                    </a:lnTo>
                    <a:lnTo>
                      <a:pt x="386" y="53"/>
                    </a:lnTo>
                    <a:lnTo>
                      <a:pt x="387" y="53"/>
                    </a:lnTo>
                    <a:lnTo>
                      <a:pt x="387" y="51"/>
                    </a:lnTo>
                    <a:lnTo>
                      <a:pt x="389" y="51"/>
                    </a:lnTo>
                    <a:lnTo>
                      <a:pt x="389" y="49"/>
                    </a:lnTo>
                    <a:lnTo>
                      <a:pt x="391" y="49"/>
                    </a:lnTo>
                    <a:lnTo>
                      <a:pt x="391" y="48"/>
                    </a:lnTo>
                    <a:lnTo>
                      <a:pt x="392" y="46"/>
                    </a:lnTo>
                    <a:lnTo>
                      <a:pt x="392" y="44"/>
                    </a:lnTo>
                    <a:lnTo>
                      <a:pt x="392" y="43"/>
                    </a:lnTo>
                    <a:lnTo>
                      <a:pt x="392" y="41"/>
                    </a:lnTo>
                    <a:lnTo>
                      <a:pt x="392" y="39"/>
                    </a:lnTo>
                    <a:lnTo>
                      <a:pt x="392" y="37"/>
                    </a:lnTo>
                    <a:lnTo>
                      <a:pt x="392" y="36"/>
                    </a:lnTo>
                    <a:lnTo>
                      <a:pt x="392" y="37"/>
                    </a:lnTo>
                    <a:lnTo>
                      <a:pt x="394" y="37"/>
                    </a:lnTo>
                    <a:lnTo>
                      <a:pt x="394" y="39"/>
                    </a:lnTo>
                    <a:lnTo>
                      <a:pt x="394" y="41"/>
                    </a:lnTo>
                    <a:lnTo>
                      <a:pt x="394" y="43"/>
                    </a:lnTo>
                    <a:lnTo>
                      <a:pt x="396" y="43"/>
                    </a:lnTo>
                    <a:lnTo>
                      <a:pt x="396" y="41"/>
                    </a:lnTo>
                    <a:lnTo>
                      <a:pt x="396" y="39"/>
                    </a:lnTo>
                    <a:lnTo>
                      <a:pt x="394" y="39"/>
                    </a:lnTo>
                    <a:lnTo>
                      <a:pt x="394" y="37"/>
                    </a:lnTo>
                    <a:lnTo>
                      <a:pt x="394" y="36"/>
                    </a:lnTo>
                    <a:lnTo>
                      <a:pt x="392" y="36"/>
                    </a:lnTo>
                    <a:lnTo>
                      <a:pt x="392" y="34"/>
                    </a:lnTo>
                    <a:lnTo>
                      <a:pt x="392" y="32"/>
                    </a:lnTo>
                    <a:lnTo>
                      <a:pt x="394" y="31"/>
                    </a:lnTo>
                    <a:lnTo>
                      <a:pt x="394" y="29"/>
                    </a:lnTo>
                    <a:lnTo>
                      <a:pt x="392" y="29"/>
                    </a:lnTo>
                    <a:lnTo>
                      <a:pt x="392" y="27"/>
                    </a:lnTo>
                    <a:lnTo>
                      <a:pt x="391" y="27"/>
                    </a:lnTo>
                    <a:lnTo>
                      <a:pt x="391" y="25"/>
                    </a:lnTo>
                    <a:lnTo>
                      <a:pt x="391" y="24"/>
                    </a:lnTo>
                    <a:lnTo>
                      <a:pt x="391" y="22"/>
                    </a:lnTo>
                    <a:lnTo>
                      <a:pt x="392" y="22"/>
                    </a:lnTo>
                    <a:lnTo>
                      <a:pt x="392" y="20"/>
                    </a:lnTo>
                    <a:lnTo>
                      <a:pt x="394" y="22"/>
                    </a:lnTo>
                    <a:lnTo>
                      <a:pt x="394" y="20"/>
                    </a:lnTo>
                    <a:lnTo>
                      <a:pt x="396" y="20"/>
                    </a:lnTo>
                    <a:lnTo>
                      <a:pt x="398" y="20"/>
                    </a:lnTo>
                    <a:lnTo>
                      <a:pt x="398" y="19"/>
                    </a:lnTo>
                    <a:lnTo>
                      <a:pt x="398" y="20"/>
                    </a:lnTo>
                    <a:lnTo>
                      <a:pt x="399" y="19"/>
                    </a:lnTo>
                    <a:lnTo>
                      <a:pt x="401" y="19"/>
                    </a:lnTo>
                    <a:lnTo>
                      <a:pt x="401" y="17"/>
                    </a:lnTo>
                    <a:lnTo>
                      <a:pt x="403" y="17"/>
                    </a:lnTo>
                    <a:lnTo>
                      <a:pt x="404" y="15"/>
                    </a:lnTo>
                    <a:lnTo>
                      <a:pt x="406" y="15"/>
                    </a:lnTo>
                    <a:lnTo>
                      <a:pt x="408" y="15"/>
                    </a:lnTo>
                    <a:lnTo>
                      <a:pt x="409" y="15"/>
                    </a:lnTo>
                    <a:lnTo>
                      <a:pt x="411" y="14"/>
                    </a:lnTo>
                    <a:lnTo>
                      <a:pt x="413" y="14"/>
                    </a:lnTo>
                    <a:lnTo>
                      <a:pt x="413" y="12"/>
                    </a:lnTo>
                    <a:lnTo>
                      <a:pt x="415" y="12"/>
                    </a:lnTo>
                    <a:lnTo>
                      <a:pt x="416" y="12"/>
                    </a:lnTo>
                    <a:lnTo>
                      <a:pt x="418" y="12"/>
                    </a:lnTo>
                    <a:lnTo>
                      <a:pt x="420" y="12"/>
                    </a:lnTo>
                    <a:lnTo>
                      <a:pt x="421" y="12"/>
                    </a:lnTo>
                    <a:lnTo>
                      <a:pt x="423" y="12"/>
                    </a:lnTo>
                    <a:lnTo>
                      <a:pt x="423" y="10"/>
                    </a:lnTo>
                    <a:lnTo>
                      <a:pt x="425" y="10"/>
                    </a:lnTo>
                    <a:lnTo>
                      <a:pt x="425" y="8"/>
                    </a:lnTo>
                    <a:lnTo>
                      <a:pt x="426" y="7"/>
                    </a:lnTo>
                    <a:lnTo>
                      <a:pt x="426" y="8"/>
                    </a:lnTo>
                    <a:lnTo>
                      <a:pt x="428" y="10"/>
                    </a:lnTo>
                    <a:lnTo>
                      <a:pt x="428" y="12"/>
                    </a:lnTo>
                    <a:lnTo>
                      <a:pt x="428" y="10"/>
                    </a:lnTo>
                    <a:lnTo>
                      <a:pt x="430" y="10"/>
                    </a:lnTo>
                    <a:lnTo>
                      <a:pt x="428" y="10"/>
                    </a:lnTo>
                    <a:lnTo>
                      <a:pt x="430" y="10"/>
                    </a:lnTo>
                    <a:lnTo>
                      <a:pt x="430" y="8"/>
                    </a:lnTo>
                    <a:lnTo>
                      <a:pt x="428" y="8"/>
                    </a:lnTo>
                    <a:lnTo>
                      <a:pt x="430" y="8"/>
                    </a:lnTo>
                    <a:lnTo>
                      <a:pt x="428" y="8"/>
                    </a:lnTo>
                    <a:lnTo>
                      <a:pt x="428" y="7"/>
                    </a:lnTo>
                    <a:lnTo>
                      <a:pt x="430" y="7"/>
                    </a:lnTo>
                    <a:lnTo>
                      <a:pt x="432" y="7"/>
                    </a:lnTo>
                    <a:lnTo>
                      <a:pt x="432" y="5"/>
                    </a:lnTo>
                    <a:lnTo>
                      <a:pt x="433" y="5"/>
                    </a:lnTo>
                    <a:lnTo>
                      <a:pt x="435" y="5"/>
                    </a:lnTo>
                    <a:lnTo>
                      <a:pt x="433" y="5"/>
                    </a:lnTo>
                    <a:lnTo>
                      <a:pt x="432" y="5"/>
                    </a:lnTo>
                    <a:lnTo>
                      <a:pt x="432" y="3"/>
                    </a:lnTo>
                    <a:lnTo>
                      <a:pt x="433" y="2"/>
                    </a:lnTo>
                    <a:lnTo>
                      <a:pt x="433" y="3"/>
                    </a:lnTo>
                    <a:lnTo>
                      <a:pt x="433" y="2"/>
                    </a:lnTo>
                    <a:lnTo>
                      <a:pt x="433" y="0"/>
                    </a:lnTo>
                    <a:lnTo>
                      <a:pt x="435" y="2"/>
                    </a:lnTo>
                    <a:lnTo>
                      <a:pt x="437" y="2"/>
                    </a:lnTo>
                    <a:lnTo>
                      <a:pt x="437" y="3"/>
                    </a:lnTo>
                    <a:lnTo>
                      <a:pt x="438" y="3"/>
                    </a:lnTo>
                    <a:lnTo>
                      <a:pt x="438" y="5"/>
                    </a:lnTo>
                    <a:lnTo>
                      <a:pt x="440" y="5"/>
                    </a:lnTo>
                    <a:lnTo>
                      <a:pt x="440" y="7"/>
                    </a:lnTo>
                    <a:lnTo>
                      <a:pt x="442" y="7"/>
                    </a:lnTo>
                    <a:lnTo>
                      <a:pt x="443" y="7"/>
                    </a:lnTo>
                    <a:lnTo>
                      <a:pt x="443" y="8"/>
                    </a:lnTo>
                    <a:lnTo>
                      <a:pt x="445" y="8"/>
                    </a:lnTo>
                    <a:lnTo>
                      <a:pt x="447" y="8"/>
                    </a:lnTo>
                    <a:lnTo>
                      <a:pt x="447" y="10"/>
                    </a:lnTo>
                    <a:lnTo>
                      <a:pt x="449" y="10"/>
                    </a:lnTo>
                    <a:lnTo>
                      <a:pt x="449" y="8"/>
                    </a:lnTo>
                    <a:lnTo>
                      <a:pt x="450" y="8"/>
                    </a:lnTo>
                    <a:lnTo>
                      <a:pt x="452" y="10"/>
                    </a:lnTo>
                    <a:lnTo>
                      <a:pt x="452" y="12"/>
                    </a:lnTo>
                    <a:lnTo>
                      <a:pt x="452" y="14"/>
                    </a:lnTo>
                    <a:lnTo>
                      <a:pt x="454" y="14"/>
                    </a:lnTo>
                    <a:lnTo>
                      <a:pt x="454" y="15"/>
                    </a:lnTo>
                    <a:lnTo>
                      <a:pt x="455" y="15"/>
                    </a:lnTo>
                    <a:lnTo>
                      <a:pt x="454" y="17"/>
                    </a:lnTo>
                    <a:lnTo>
                      <a:pt x="455" y="17"/>
                    </a:lnTo>
                    <a:lnTo>
                      <a:pt x="457" y="17"/>
                    </a:lnTo>
                    <a:lnTo>
                      <a:pt x="457" y="19"/>
                    </a:lnTo>
                    <a:lnTo>
                      <a:pt x="459" y="19"/>
                    </a:lnTo>
                    <a:lnTo>
                      <a:pt x="460" y="19"/>
                    </a:lnTo>
                    <a:lnTo>
                      <a:pt x="460" y="20"/>
                    </a:lnTo>
                    <a:lnTo>
                      <a:pt x="462" y="20"/>
                    </a:lnTo>
                    <a:lnTo>
                      <a:pt x="464" y="20"/>
                    </a:lnTo>
                    <a:lnTo>
                      <a:pt x="464" y="22"/>
                    </a:lnTo>
                    <a:lnTo>
                      <a:pt x="466" y="22"/>
                    </a:lnTo>
                    <a:lnTo>
                      <a:pt x="467" y="22"/>
                    </a:lnTo>
                    <a:lnTo>
                      <a:pt x="467" y="20"/>
                    </a:lnTo>
                    <a:lnTo>
                      <a:pt x="469" y="20"/>
                    </a:lnTo>
                    <a:lnTo>
                      <a:pt x="471" y="20"/>
                    </a:lnTo>
                    <a:lnTo>
                      <a:pt x="472" y="20"/>
                    </a:lnTo>
                    <a:lnTo>
                      <a:pt x="472" y="22"/>
                    </a:lnTo>
                    <a:lnTo>
                      <a:pt x="472" y="24"/>
                    </a:lnTo>
                    <a:lnTo>
                      <a:pt x="471" y="24"/>
                    </a:lnTo>
                    <a:lnTo>
                      <a:pt x="472" y="24"/>
                    </a:lnTo>
                    <a:lnTo>
                      <a:pt x="472" y="25"/>
                    </a:lnTo>
                    <a:lnTo>
                      <a:pt x="474" y="25"/>
                    </a:lnTo>
                    <a:lnTo>
                      <a:pt x="476" y="25"/>
                    </a:lnTo>
                    <a:lnTo>
                      <a:pt x="476" y="27"/>
                    </a:lnTo>
                    <a:lnTo>
                      <a:pt x="477" y="27"/>
                    </a:lnTo>
                    <a:lnTo>
                      <a:pt x="479" y="27"/>
                    </a:lnTo>
                    <a:lnTo>
                      <a:pt x="479" y="29"/>
                    </a:lnTo>
                    <a:lnTo>
                      <a:pt x="477" y="29"/>
                    </a:lnTo>
                    <a:lnTo>
                      <a:pt x="477" y="31"/>
                    </a:lnTo>
                    <a:lnTo>
                      <a:pt x="477" y="32"/>
                    </a:lnTo>
                    <a:lnTo>
                      <a:pt x="477" y="34"/>
                    </a:lnTo>
                    <a:lnTo>
                      <a:pt x="477" y="36"/>
                    </a:lnTo>
                    <a:lnTo>
                      <a:pt x="479" y="34"/>
                    </a:lnTo>
                    <a:lnTo>
                      <a:pt x="481" y="34"/>
                    </a:lnTo>
                    <a:lnTo>
                      <a:pt x="481" y="36"/>
                    </a:lnTo>
                    <a:lnTo>
                      <a:pt x="483" y="36"/>
                    </a:lnTo>
                    <a:lnTo>
                      <a:pt x="484" y="36"/>
                    </a:lnTo>
                    <a:lnTo>
                      <a:pt x="486" y="37"/>
                    </a:lnTo>
                    <a:lnTo>
                      <a:pt x="486" y="36"/>
                    </a:lnTo>
                    <a:lnTo>
                      <a:pt x="486" y="37"/>
                    </a:lnTo>
                    <a:lnTo>
                      <a:pt x="488" y="36"/>
                    </a:lnTo>
                    <a:lnTo>
                      <a:pt x="488" y="37"/>
                    </a:lnTo>
                    <a:lnTo>
                      <a:pt x="488" y="36"/>
                    </a:lnTo>
                    <a:lnTo>
                      <a:pt x="489" y="36"/>
                    </a:lnTo>
                    <a:lnTo>
                      <a:pt x="491" y="36"/>
                    </a:lnTo>
                    <a:lnTo>
                      <a:pt x="491" y="37"/>
                    </a:lnTo>
                    <a:lnTo>
                      <a:pt x="493" y="37"/>
                    </a:lnTo>
                    <a:lnTo>
                      <a:pt x="493" y="39"/>
                    </a:lnTo>
                    <a:lnTo>
                      <a:pt x="494" y="39"/>
                    </a:lnTo>
                    <a:lnTo>
                      <a:pt x="496" y="39"/>
                    </a:lnTo>
                    <a:lnTo>
                      <a:pt x="498" y="39"/>
                    </a:lnTo>
                    <a:lnTo>
                      <a:pt x="498" y="41"/>
                    </a:lnTo>
                    <a:lnTo>
                      <a:pt x="500" y="41"/>
                    </a:lnTo>
                    <a:lnTo>
                      <a:pt x="501" y="41"/>
                    </a:lnTo>
                    <a:lnTo>
                      <a:pt x="501" y="39"/>
                    </a:lnTo>
                    <a:lnTo>
                      <a:pt x="501" y="41"/>
                    </a:lnTo>
                    <a:lnTo>
                      <a:pt x="501" y="39"/>
                    </a:lnTo>
                    <a:lnTo>
                      <a:pt x="503" y="41"/>
                    </a:lnTo>
                    <a:lnTo>
                      <a:pt x="503" y="39"/>
                    </a:lnTo>
                    <a:lnTo>
                      <a:pt x="505" y="39"/>
                    </a:lnTo>
                    <a:lnTo>
                      <a:pt x="506" y="39"/>
                    </a:lnTo>
                    <a:lnTo>
                      <a:pt x="506" y="41"/>
                    </a:lnTo>
                    <a:lnTo>
                      <a:pt x="508" y="41"/>
                    </a:lnTo>
                    <a:lnTo>
                      <a:pt x="510" y="41"/>
                    </a:lnTo>
                    <a:lnTo>
                      <a:pt x="511" y="41"/>
                    </a:lnTo>
                    <a:lnTo>
                      <a:pt x="513" y="41"/>
                    </a:lnTo>
                    <a:lnTo>
                      <a:pt x="515" y="41"/>
                    </a:lnTo>
                    <a:lnTo>
                      <a:pt x="515" y="37"/>
                    </a:lnTo>
                    <a:lnTo>
                      <a:pt x="515" y="36"/>
                    </a:lnTo>
                    <a:lnTo>
                      <a:pt x="517" y="36"/>
                    </a:lnTo>
                    <a:lnTo>
                      <a:pt x="518" y="36"/>
                    </a:lnTo>
                    <a:lnTo>
                      <a:pt x="518" y="34"/>
                    </a:lnTo>
                    <a:lnTo>
                      <a:pt x="520" y="34"/>
                    </a:lnTo>
                    <a:lnTo>
                      <a:pt x="520" y="36"/>
                    </a:lnTo>
                    <a:lnTo>
                      <a:pt x="522" y="36"/>
                    </a:lnTo>
                    <a:lnTo>
                      <a:pt x="523" y="36"/>
                    </a:lnTo>
                    <a:lnTo>
                      <a:pt x="525" y="36"/>
                    </a:lnTo>
                    <a:lnTo>
                      <a:pt x="525" y="37"/>
                    </a:lnTo>
                    <a:lnTo>
                      <a:pt x="527" y="37"/>
                    </a:lnTo>
                    <a:lnTo>
                      <a:pt x="527" y="39"/>
                    </a:lnTo>
                    <a:lnTo>
                      <a:pt x="528" y="39"/>
                    </a:lnTo>
                    <a:lnTo>
                      <a:pt x="528" y="41"/>
                    </a:lnTo>
                    <a:lnTo>
                      <a:pt x="530" y="41"/>
                    </a:lnTo>
                    <a:lnTo>
                      <a:pt x="530" y="43"/>
                    </a:lnTo>
                    <a:lnTo>
                      <a:pt x="532" y="43"/>
                    </a:lnTo>
                    <a:lnTo>
                      <a:pt x="532" y="44"/>
                    </a:lnTo>
                    <a:lnTo>
                      <a:pt x="534" y="44"/>
                    </a:lnTo>
                    <a:lnTo>
                      <a:pt x="534" y="46"/>
                    </a:lnTo>
                    <a:lnTo>
                      <a:pt x="535" y="46"/>
                    </a:lnTo>
                    <a:lnTo>
                      <a:pt x="535" y="48"/>
                    </a:lnTo>
                    <a:lnTo>
                      <a:pt x="537" y="48"/>
                    </a:lnTo>
                    <a:lnTo>
                      <a:pt x="539" y="48"/>
                    </a:lnTo>
                    <a:lnTo>
                      <a:pt x="540" y="48"/>
                    </a:lnTo>
                    <a:lnTo>
                      <a:pt x="542" y="48"/>
                    </a:lnTo>
                    <a:lnTo>
                      <a:pt x="542" y="49"/>
                    </a:lnTo>
                    <a:lnTo>
                      <a:pt x="544" y="49"/>
                    </a:lnTo>
                    <a:lnTo>
                      <a:pt x="545" y="49"/>
                    </a:lnTo>
                    <a:lnTo>
                      <a:pt x="545" y="51"/>
                    </a:lnTo>
                    <a:lnTo>
                      <a:pt x="547" y="51"/>
                    </a:lnTo>
                    <a:lnTo>
                      <a:pt x="549" y="51"/>
                    </a:lnTo>
                    <a:lnTo>
                      <a:pt x="549" y="53"/>
                    </a:lnTo>
                    <a:lnTo>
                      <a:pt x="551" y="53"/>
                    </a:lnTo>
                    <a:lnTo>
                      <a:pt x="552" y="53"/>
                    </a:lnTo>
                    <a:lnTo>
                      <a:pt x="554" y="53"/>
                    </a:lnTo>
                    <a:close/>
                    <a:moveTo>
                      <a:pt x="12" y="44"/>
                    </a:moveTo>
                    <a:lnTo>
                      <a:pt x="12" y="46"/>
                    </a:lnTo>
                    <a:lnTo>
                      <a:pt x="13" y="46"/>
                    </a:lnTo>
                    <a:lnTo>
                      <a:pt x="13" y="48"/>
                    </a:lnTo>
                    <a:lnTo>
                      <a:pt x="15" y="49"/>
                    </a:lnTo>
                    <a:lnTo>
                      <a:pt x="17" y="51"/>
                    </a:lnTo>
                    <a:lnTo>
                      <a:pt x="15" y="51"/>
                    </a:lnTo>
                    <a:lnTo>
                      <a:pt x="17" y="51"/>
                    </a:lnTo>
                    <a:lnTo>
                      <a:pt x="17" y="53"/>
                    </a:lnTo>
                    <a:lnTo>
                      <a:pt x="17" y="54"/>
                    </a:lnTo>
                    <a:lnTo>
                      <a:pt x="17" y="56"/>
                    </a:lnTo>
                    <a:lnTo>
                      <a:pt x="17" y="58"/>
                    </a:lnTo>
                    <a:lnTo>
                      <a:pt x="19" y="58"/>
                    </a:lnTo>
                    <a:lnTo>
                      <a:pt x="19" y="60"/>
                    </a:lnTo>
                    <a:lnTo>
                      <a:pt x="20" y="60"/>
                    </a:lnTo>
                    <a:lnTo>
                      <a:pt x="20" y="61"/>
                    </a:lnTo>
                    <a:lnTo>
                      <a:pt x="22" y="61"/>
                    </a:lnTo>
                    <a:lnTo>
                      <a:pt x="24" y="63"/>
                    </a:lnTo>
                    <a:lnTo>
                      <a:pt x="24" y="65"/>
                    </a:lnTo>
                    <a:lnTo>
                      <a:pt x="25" y="65"/>
                    </a:lnTo>
                    <a:lnTo>
                      <a:pt x="24" y="66"/>
                    </a:lnTo>
                    <a:lnTo>
                      <a:pt x="24" y="68"/>
                    </a:lnTo>
                    <a:lnTo>
                      <a:pt x="24" y="70"/>
                    </a:lnTo>
                    <a:lnTo>
                      <a:pt x="25" y="70"/>
                    </a:lnTo>
                    <a:lnTo>
                      <a:pt x="27" y="70"/>
                    </a:lnTo>
                    <a:lnTo>
                      <a:pt x="27" y="71"/>
                    </a:lnTo>
                    <a:lnTo>
                      <a:pt x="29" y="71"/>
                    </a:lnTo>
                    <a:lnTo>
                      <a:pt x="27" y="73"/>
                    </a:lnTo>
                    <a:lnTo>
                      <a:pt x="29" y="73"/>
                    </a:lnTo>
                    <a:lnTo>
                      <a:pt x="30" y="73"/>
                    </a:lnTo>
                    <a:lnTo>
                      <a:pt x="30" y="75"/>
                    </a:lnTo>
                    <a:lnTo>
                      <a:pt x="29" y="75"/>
                    </a:lnTo>
                    <a:lnTo>
                      <a:pt x="29" y="77"/>
                    </a:lnTo>
                    <a:lnTo>
                      <a:pt x="29" y="78"/>
                    </a:lnTo>
                    <a:lnTo>
                      <a:pt x="27" y="78"/>
                    </a:lnTo>
                    <a:lnTo>
                      <a:pt x="27" y="80"/>
                    </a:lnTo>
                    <a:lnTo>
                      <a:pt x="25" y="80"/>
                    </a:lnTo>
                    <a:lnTo>
                      <a:pt x="25" y="82"/>
                    </a:lnTo>
                    <a:lnTo>
                      <a:pt x="24" y="82"/>
                    </a:lnTo>
                    <a:lnTo>
                      <a:pt x="22" y="82"/>
                    </a:lnTo>
                    <a:lnTo>
                      <a:pt x="20" y="83"/>
                    </a:lnTo>
                    <a:lnTo>
                      <a:pt x="19" y="83"/>
                    </a:lnTo>
                    <a:lnTo>
                      <a:pt x="17" y="83"/>
                    </a:lnTo>
                    <a:lnTo>
                      <a:pt x="17" y="85"/>
                    </a:lnTo>
                    <a:lnTo>
                      <a:pt x="17" y="83"/>
                    </a:lnTo>
                    <a:lnTo>
                      <a:pt x="17" y="85"/>
                    </a:lnTo>
                    <a:lnTo>
                      <a:pt x="15" y="85"/>
                    </a:lnTo>
                    <a:lnTo>
                      <a:pt x="15" y="83"/>
                    </a:lnTo>
                    <a:lnTo>
                      <a:pt x="13" y="83"/>
                    </a:lnTo>
                    <a:lnTo>
                      <a:pt x="12" y="83"/>
                    </a:lnTo>
                    <a:lnTo>
                      <a:pt x="10" y="83"/>
                    </a:lnTo>
                    <a:lnTo>
                      <a:pt x="8" y="83"/>
                    </a:lnTo>
                    <a:lnTo>
                      <a:pt x="8" y="82"/>
                    </a:lnTo>
                    <a:lnTo>
                      <a:pt x="7" y="82"/>
                    </a:lnTo>
                    <a:lnTo>
                      <a:pt x="7" y="80"/>
                    </a:lnTo>
                    <a:lnTo>
                      <a:pt x="5" y="80"/>
                    </a:lnTo>
                    <a:lnTo>
                      <a:pt x="5" y="78"/>
                    </a:lnTo>
                    <a:lnTo>
                      <a:pt x="7" y="77"/>
                    </a:lnTo>
                    <a:lnTo>
                      <a:pt x="8" y="77"/>
                    </a:lnTo>
                    <a:lnTo>
                      <a:pt x="8" y="75"/>
                    </a:lnTo>
                    <a:lnTo>
                      <a:pt x="10" y="75"/>
                    </a:lnTo>
                    <a:lnTo>
                      <a:pt x="10" y="73"/>
                    </a:lnTo>
                    <a:lnTo>
                      <a:pt x="12" y="73"/>
                    </a:lnTo>
                    <a:lnTo>
                      <a:pt x="12" y="71"/>
                    </a:lnTo>
                    <a:lnTo>
                      <a:pt x="12" y="73"/>
                    </a:lnTo>
                    <a:lnTo>
                      <a:pt x="13" y="71"/>
                    </a:lnTo>
                    <a:lnTo>
                      <a:pt x="15" y="71"/>
                    </a:lnTo>
                    <a:lnTo>
                      <a:pt x="17" y="71"/>
                    </a:lnTo>
                    <a:lnTo>
                      <a:pt x="19" y="71"/>
                    </a:lnTo>
                    <a:lnTo>
                      <a:pt x="19" y="70"/>
                    </a:lnTo>
                    <a:lnTo>
                      <a:pt x="20" y="70"/>
                    </a:lnTo>
                    <a:lnTo>
                      <a:pt x="19" y="68"/>
                    </a:lnTo>
                    <a:lnTo>
                      <a:pt x="17" y="66"/>
                    </a:lnTo>
                    <a:lnTo>
                      <a:pt x="15" y="66"/>
                    </a:lnTo>
                    <a:lnTo>
                      <a:pt x="15" y="65"/>
                    </a:lnTo>
                    <a:lnTo>
                      <a:pt x="15" y="63"/>
                    </a:lnTo>
                    <a:lnTo>
                      <a:pt x="13" y="61"/>
                    </a:lnTo>
                    <a:lnTo>
                      <a:pt x="12" y="61"/>
                    </a:lnTo>
                    <a:lnTo>
                      <a:pt x="12" y="60"/>
                    </a:lnTo>
                    <a:lnTo>
                      <a:pt x="10" y="60"/>
                    </a:lnTo>
                    <a:lnTo>
                      <a:pt x="10" y="58"/>
                    </a:lnTo>
                    <a:lnTo>
                      <a:pt x="8" y="56"/>
                    </a:lnTo>
                    <a:lnTo>
                      <a:pt x="10" y="56"/>
                    </a:lnTo>
                    <a:lnTo>
                      <a:pt x="10" y="54"/>
                    </a:lnTo>
                    <a:lnTo>
                      <a:pt x="8" y="54"/>
                    </a:lnTo>
                    <a:lnTo>
                      <a:pt x="8" y="53"/>
                    </a:lnTo>
                    <a:lnTo>
                      <a:pt x="8" y="51"/>
                    </a:lnTo>
                    <a:lnTo>
                      <a:pt x="8" y="49"/>
                    </a:lnTo>
                    <a:lnTo>
                      <a:pt x="7" y="49"/>
                    </a:lnTo>
                    <a:lnTo>
                      <a:pt x="5" y="49"/>
                    </a:lnTo>
                    <a:lnTo>
                      <a:pt x="5" y="51"/>
                    </a:lnTo>
                    <a:lnTo>
                      <a:pt x="3" y="51"/>
                    </a:lnTo>
                    <a:lnTo>
                      <a:pt x="3" y="49"/>
                    </a:lnTo>
                    <a:lnTo>
                      <a:pt x="3" y="48"/>
                    </a:lnTo>
                    <a:lnTo>
                      <a:pt x="5" y="48"/>
                    </a:lnTo>
                    <a:lnTo>
                      <a:pt x="5" y="46"/>
                    </a:lnTo>
                    <a:lnTo>
                      <a:pt x="7" y="46"/>
                    </a:lnTo>
                    <a:lnTo>
                      <a:pt x="8" y="46"/>
                    </a:lnTo>
                    <a:lnTo>
                      <a:pt x="8" y="44"/>
                    </a:lnTo>
                    <a:lnTo>
                      <a:pt x="10" y="44"/>
                    </a:lnTo>
                    <a:lnTo>
                      <a:pt x="12" y="44"/>
                    </a:lnTo>
                    <a:close/>
                    <a:moveTo>
                      <a:pt x="47" y="66"/>
                    </a:moveTo>
                    <a:lnTo>
                      <a:pt x="49" y="66"/>
                    </a:lnTo>
                    <a:lnTo>
                      <a:pt x="49" y="68"/>
                    </a:lnTo>
                    <a:lnTo>
                      <a:pt x="51" y="68"/>
                    </a:lnTo>
                    <a:lnTo>
                      <a:pt x="51" y="70"/>
                    </a:lnTo>
                    <a:lnTo>
                      <a:pt x="49" y="71"/>
                    </a:lnTo>
                    <a:lnTo>
                      <a:pt x="51" y="71"/>
                    </a:lnTo>
                    <a:lnTo>
                      <a:pt x="49" y="71"/>
                    </a:lnTo>
                    <a:lnTo>
                      <a:pt x="49" y="73"/>
                    </a:lnTo>
                    <a:lnTo>
                      <a:pt x="47" y="75"/>
                    </a:lnTo>
                    <a:lnTo>
                      <a:pt x="46" y="73"/>
                    </a:lnTo>
                    <a:lnTo>
                      <a:pt x="46" y="75"/>
                    </a:lnTo>
                    <a:lnTo>
                      <a:pt x="44" y="75"/>
                    </a:lnTo>
                    <a:lnTo>
                      <a:pt x="42" y="75"/>
                    </a:lnTo>
                    <a:lnTo>
                      <a:pt x="41" y="75"/>
                    </a:lnTo>
                    <a:lnTo>
                      <a:pt x="41" y="73"/>
                    </a:lnTo>
                    <a:lnTo>
                      <a:pt x="39" y="73"/>
                    </a:lnTo>
                    <a:lnTo>
                      <a:pt x="39" y="71"/>
                    </a:lnTo>
                    <a:lnTo>
                      <a:pt x="37" y="71"/>
                    </a:lnTo>
                    <a:lnTo>
                      <a:pt x="39" y="71"/>
                    </a:lnTo>
                    <a:lnTo>
                      <a:pt x="37" y="71"/>
                    </a:lnTo>
                    <a:lnTo>
                      <a:pt x="37" y="70"/>
                    </a:lnTo>
                    <a:lnTo>
                      <a:pt x="39" y="70"/>
                    </a:lnTo>
                    <a:lnTo>
                      <a:pt x="37" y="70"/>
                    </a:lnTo>
                    <a:lnTo>
                      <a:pt x="39" y="68"/>
                    </a:lnTo>
                    <a:lnTo>
                      <a:pt x="39" y="66"/>
                    </a:lnTo>
                    <a:lnTo>
                      <a:pt x="41" y="66"/>
                    </a:lnTo>
                    <a:lnTo>
                      <a:pt x="42" y="66"/>
                    </a:lnTo>
                    <a:lnTo>
                      <a:pt x="44" y="66"/>
                    </a:lnTo>
                    <a:lnTo>
                      <a:pt x="46" y="65"/>
                    </a:lnTo>
                    <a:lnTo>
                      <a:pt x="46" y="66"/>
                    </a:lnTo>
                    <a:lnTo>
                      <a:pt x="46" y="65"/>
                    </a:lnTo>
                    <a:lnTo>
                      <a:pt x="46" y="66"/>
                    </a:lnTo>
                    <a:lnTo>
                      <a:pt x="47" y="65"/>
                    </a:lnTo>
                    <a:lnTo>
                      <a:pt x="47" y="66"/>
                    </a:lnTo>
                    <a:close/>
                    <a:moveTo>
                      <a:pt x="392" y="139"/>
                    </a:moveTo>
                    <a:lnTo>
                      <a:pt x="394" y="139"/>
                    </a:lnTo>
                    <a:lnTo>
                      <a:pt x="394" y="141"/>
                    </a:lnTo>
                    <a:lnTo>
                      <a:pt x="396" y="141"/>
                    </a:lnTo>
                    <a:lnTo>
                      <a:pt x="398" y="141"/>
                    </a:lnTo>
                    <a:lnTo>
                      <a:pt x="398" y="143"/>
                    </a:lnTo>
                    <a:lnTo>
                      <a:pt x="396" y="143"/>
                    </a:lnTo>
                    <a:lnTo>
                      <a:pt x="394" y="143"/>
                    </a:lnTo>
                    <a:lnTo>
                      <a:pt x="394" y="145"/>
                    </a:lnTo>
                    <a:lnTo>
                      <a:pt x="392" y="145"/>
                    </a:lnTo>
                    <a:lnTo>
                      <a:pt x="392" y="146"/>
                    </a:lnTo>
                    <a:lnTo>
                      <a:pt x="392" y="145"/>
                    </a:lnTo>
                    <a:lnTo>
                      <a:pt x="391" y="145"/>
                    </a:lnTo>
                    <a:lnTo>
                      <a:pt x="389" y="145"/>
                    </a:lnTo>
                    <a:lnTo>
                      <a:pt x="389" y="146"/>
                    </a:lnTo>
                    <a:lnTo>
                      <a:pt x="389" y="148"/>
                    </a:lnTo>
                    <a:lnTo>
                      <a:pt x="391" y="148"/>
                    </a:lnTo>
                    <a:lnTo>
                      <a:pt x="391" y="150"/>
                    </a:lnTo>
                    <a:lnTo>
                      <a:pt x="389" y="150"/>
                    </a:lnTo>
                    <a:lnTo>
                      <a:pt x="389" y="151"/>
                    </a:lnTo>
                    <a:lnTo>
                      <a:pt x="387" y="151"/>
                    </a:lnTo>
                    <a:lnTo>
                      <a:pt x="386" y="151"/>
                    </a:lnTo>
                    <a:lnTo>
                      <a:pt x="384" y="150"/>
                    </a:lnTo>
                    <a:lnTo>
                      <a:pt x="386" y="148"/>
                    </a:lnTo>
                    <a:lnTo>
                      <a:pt x="386" y="146"/>
                    </a:lnTo>
                    <a:lnTo>
                      <a:pt x="386" y="145"/>
                    </a:lnTo>
                    <a:lnTo>
                      <a:pt x="386" y="143"/>
                    </a:lnTo>
                    <a:lnTo>
                      <a:pt x="386" y="141"/>
                    </a:lnTo>
                    <a:lnTo>
                      <a:pt x="387" y="141"/>
                    </a:lnTo>
                    <a:lnTo>
                      <a:pt x="389" y="141"/>
                    </a:lnTo>
                    <a:lnTo>
                      <a:pt x="389" y="139"/>
                    </a:lnTo>
                    <a:lnTo>
                      <a:pt x="391" y="139"/>
                    </a:lnTo>
                    <a:lnTo>
                      <a:pt x="392" y="139"/>
                    </a:lnTo>
                    <a:close/>
                    <a:moveTo>
                      <a:pt x="7" y="58"/>
                    </a:moveTo>
                    <a:lnTo>
                      <a:pt x="8" y="58"/>
                    </a:lnTo>
                    <a:lnTo>
                      <a:pt x="8" y="60"/>
                    </a:lnTo>
                    <a:lnTo>
                      <a:pt x="10" y="60"/>
                    </a:lnTo>
                    <a:lnTo>
                      <a:pt x="10" y="61"/>
                    </a:lnTo>
                    <a:lnTo>
                      <a:pt x="10" y="63"/>
                    </a:lnTo>
                    <a:lnTo>
                      <a:pt x="10" y="65"/>
                    </a:lnTo>
                    <a:lnTo>
                      <a:pt x="8" y="65"/>
                    </a:lnTo>
                    <a:lnTo>
                      <a:pt x="8" y="66"/>
                    </a:lnTo>
                    <a:lnTo>
                      <a:pt x="7" y="66"/>
                    </a:lnTo>
                    <a:lnTo>
                      <a:pt x="5" y="66"/>
                    </a:lnTo>
                    <a:lnTo>
                      <a:pt x="3" y="65"/>
                    </a:lnTo>
                    <a:lnTo>
                      <a:pt x="2" y="65"/>
                    </a:lnTo>
                    <a:lnTo>
                      <a:pt x="2" y="63"/>
                    </a:lnTo>
                    <a:lnTo>
                      <a:pt x="0" y="63"/>
                    </a:lnTo>
                    <a:lnTo>
                      <a:pt x="0" y="61"/>
                    </a:lnTo>
                    <a:lnTo>
                      <a:pt x="0" y="60"/>
                    </a:lnTo>
                    <a:lnTo>
                      <a:pt x="2" y="60"/>
                    </a:lnTo>
                    <a:lnTo>
                      <a:pt x="3" y="60"/>
                    </a:lnTo>
                    <a:lnTo>
                      <a:pt x="5" y="58"/>
                    </a:lnTo>
                    <a:lnTo>
                      <a:pt x="7" y="58"/>
                    </a:lnTo>
                    <a:close/>
                    <a:moveTo>
                      <a:pt x="30" y="54"/>
                    </a:moveTo>
                    <a:lnTo>
                      <a:pt x="32" y="54"/>
                    </a:lnTo>
                    <a:lnTo>
                      <a:pt x="34" y="56"/>
                    </a:lnTo>
                    <a:lnTo>
                      <a:pt x="36" y="56"/>
                    </a:lnTo>
                    <a:lnTo>
                      <a:pt x="37" y="56"/>
                    </a:lnTo>
                    <a:lnTo>
                      <a:pt x="37" y="58"/>
                    </a:lnTo>
                    <a:lnTo>
                      <a:pt x="37" y="60"/>
                    </a:lnTo>
                    <a:lnTo>
                      <a:pt x="37" y="61"/>
                    </a:lnTo>
                    <a:lnTo>
                      <a:pt x="36" y="61"/>
                    </a:lnTo>
                    <a:lnTo>
                      <a:pt x="34" y="61"/>
                    </a:lnTo>
                    <a:lnTo>
                      <a:pt x="32" y="61"/>
                    </a:lnTo>
                    <a:lnTo>
                      <a:pt x="30" y="61"/>
                    </a:lnTo>
                    <a:lnTo>
                      <a:pt x="30" y="60"/>
                    </a:lnTo>
                    <a:lnTo>
                      <a:pt x="29" y="60"/>
                    </a:lnTo>
                    <a:lnTo>
                      <a:pt x="27" y="58"/>
                    </a:lnTo>
                    <a:lnTo>
                      <a:pt x="27" y="56"/>
                    </a:lnTo>
                    <a:lnTo>
                      <a:pt x="29" y="56"/>
                    </a:lnTo>
                    <a:lnTo>
                      <a:pt x="29" y="54"/>
                    </a:lnTo>
                    <a:lnTo>
                      <a:pt x="30" y="54"/>
                    </a:lnTo>
                    <a:close/>
                    <a:moveTo>
                      <a:pt x="78" y="71"/>
                    </a:moveTo>
                    <a:lnTo>
                      <a:pt x="80" y="71"/>
                    </a:lnTo>
                    <a:lnTo>
                      <a:pt x="80" y="73"/>
                    </a:lnTo>
                    <a:lnTo>
                      <a:pt x="81" y="73"/>
                    </a:lnTo>
                    <a:lnTo>
                      <a:pt x="81" y="71"/>
                    </a:lnTo>
                    <a:lnTo>
                      <a:pt x="81" y="73"/>
                    </a:lnTo>
                    <a:lnTo>
                      <a:pt x="81" y="75"/>
                    </a:lnTo>
                    <a:lnTo>
                      <a:pt x="80" y="75"/>
                    </a:lnTo>
                    <a:lnTo>
                      <a:pt x="80" y="77"/>
                    </a:lnTo>
                    <a:lnTo>
                      <a:pt x="78" y="77"/>
                    </a:lnTo>
                    <a:lnTo>
                      <a:pt x="78" y="78"/>
                    </a:lnTo>
                    <a:lnTo>
                      <a:pt x="76" y="80"/>
                    </a:lnTo>
                    <a:lnTo>
                      <a:pt x="75" y="80"/>
                    </a:lnTo>
                    <a:lnTo>
                      <a:pt x="73" y="80"/>
                    </a:lnTo>
                    <a:lnTo>
                      <a:pt x="73" y="82"/>
                    </a:lnTo>
                    <a:lnTo>
                      <a:pt x="71" y="82"/>
                    </a:lnTo>
                    <a:lnTo>
                      <a:pt x="70" y="80"/>
                    </a:lnTo>
                    <a:lnTo>
                      <a:pt x="70" y="78"/>
                    </a:lnTo>
                    <a:lnTo>
                      <a:pt x="71" y="78"/>
                    </a:lnTo>
                    <a:lnTo>
                      <a:pt x="71" y="77"/>
                    </a:lnTo>
                    <a:lnTo>
                      <a:pt x="73" y="77"/>
                    </a:lnTo>
                    <a:lnTo>
                      <a:pt x="75" y="77"/>
                    </a:lnTo>
                    <a:lnTo>
                      <a:pt x="75" y="75"/>
                    </a:lnTo>
                    <a:lnTo>
                      <a:pt x="75" y="73"/>
                    </a:lnTo>
                    <a:lnTo>
                      <a:pt x="76" y="73"/>
                    </a:lnTo>
                    <a:lnTo>
                      <a:pt x="78" y="73"/>
                    </a:lnTo>
                    <a:lnTo>
                      <a:pt x="78" y="71"/>
                    </a:lnTo>
                    <a:close/>
                    <a:moveTo>
                      <a:pt x="42" y="90"/>
                    </a:moveTo>
                    <a:lnTo>
                      <a:pt x="44" y="92"/>
                    </a:lnTo>
                    <a:lnTo>
                      <a:pt x="44" y="94"/>
                    </a:lnTo>
                    <a:lnTo>
                      <a:pt x="42" y="94"/>
                    </a:lnTo>
                    <a:lnTo>
                      <a:pt x="42" y="95"/>
                    </a:lnTo>
                    <a:lnTo>
                      <a:pt x="41" y="95"/>
                    </a:lnTo>
                    <a:lnTo>
                      <a:pt x="41" y="94"/>
                    </a:lnTo>
                    <a:lnTo>
                      <a:pt x="39" y="94"/>
                    </a:lnTo>
                    <a:lnTo>
                      <a:pt x="39" y="92"/>
                    </a:lnTo>
                    <a:lnTo>
                      <a:pt x="41" y="92"/>
                    </a:lnTo>
                    <a:lnTo>
                      <a:pt x="41" y="90"/>
                    </a:lnTo>
                    <a:lnTo>
                      <a:pt x="42" y="90"/>
                    </a:lnTo>
                    <a:close/>
                    <a:moveTo>
                      <a:pt x="41" y="36"/>
                    </a:moveTo>
                    <a:lnTo>
                      <a:pt x="42" y="37"/>
                    </a:lnTo>
                    <a:lnTo>
                      <a:pt x="42" y="39"/>
                    </a:lnTo>
                    <a:lnTo>
                      <a:pt x="41" y="39"/>
                    </a:lnTo>
                    <a:lnTo>
                      <a:pt x="39" y="39"/>
                    </a:lnTo>
                    <a:lnTo>
                      <a:pt x="39" y="37"/>
                    </a:lnTo>
                    <a:lnTo>
                      <a:pt x="37" y="37"/>
                    </a:lnTo>
                    <a:lnTo>
                      <a:pt x="39" y="36"/>
                    </a:lnTo>
                    <a:lnTo>
                      <a:pt x="41" y="36"/>
                    </a:lnTo>
                    <a:close/>
                    <a:moveTo>
                      <a:pt x="399" y="138"/>
                    </a:moveTo>
                    <a:lnTo>
                      <a:pt x="399" y="139"/>
                    </a:lnTo>
                    <a:lnTo>
                      <a:pt x="398" y="139"/>
                    </a:lnTo>
                    <a:lnTo>
                      <a:pt x="398" y="138"/>
                    </a:lnTo>
                    <a:lnTo>
                      <a:pt x="398" y="136"/>
                    </a:lnTo>
                    <a:lnTo>
                      <a:pt x="398" y="134"/>
                    </a:lnTo>
                    <a:lnTo>
                      <a:pt x="399" y="133"/>
                    </a:lnTo>
                    <a:lnTo>
                      <a:pt x="399" y="134"/>
                    </a:lnTo>
                    <a:lnTo>
                      <a:pt x="399" y="136"/>
                    </a:lnTo>
                    <a:lnTo>
                      <a:pt x="399" y="138"/>
                    </a:lnTo>
                    <a:close/>
                    <a:moveTo>
                      <a:pt x="432" y="3"/>
                    </a:moveTo>
                    <a:lnTo>
                      <a:pt x="432" y="5"/>
                    </a:lnTo>
                    <a:lnTo>
                      <a:pt x="432" y="7"/>
                    </a:lnTo>
                    <a:lnTo>
                      <a:pt x="430" y="7"/>
                    </a:lnTo>
                    <a:lnTo>
                      <a:pt x="428" y="7"/>
                    </a:lnTo>
                    <a:lnTo>
                      <a:pt x="430" y="5"/>
                    </a:lnTo>
                    <a:lnTo>
                      <a:pt x="428" y="5"/>
                    </a:lnTo>
                    <a:lnTo>
                      <a:pt x="428" y="3"/>
                    </a:lnTo>
                    <a:lnTo>
                      <a:pt x="430" y="3"/>
                    </a:lnTo>
                    <a:lnTo>
                      <a:pt x="430" y="2"/>
                    </a:lnTo>
                    <a:lnTo>
                      <a:pt x="432" y="2"/>
                    </a:lnTo>
                    <a:lnTo>
                      <a:pt x="432" y="3"/>
                    </a:lnTo>
                    <a:close/>
                    <a:moveTo>
                      <a:pt x="394" y="134"/>
                    </a:moveTo>
                    <a:lnTo>
                      <a:pt x="396" y="134"/>
                    </a:lnTo>
                    <a:lnTo>
                      <a:pt x="396" y="136"/>
                    </a:lnTo>
                    <a:lnTo>
                      <a:pt x="394" y="136"/>
                    </a:lnTo>
                    <a:lnTo>
                      <a:pt x="392" y="136"/>
                    </a:lnTo>
                    <a:lnTo>
                      <a:pt x="391" y="136"/>
                    </a:lnTo>
                    <a:lnTo>
                      <a:pt x="392" y="136"/>
                    </a:lnTo>
                    <a:lnTo>
                      <a:pt x="392" y="134"/>
                    </a:lnTo>
                    <a:lnTo>
                      <a:pt x="392" y="133"/>
                    </a:lnTo>
                    <a:lnTo>
                      <a:pt x="394" y="133"/>
                    </a:lnTo>
                    <a:lnTo>
                      <a:pt x="394" y="134"/>
                    </a:lnTo>
                    <a:close/>
                    <a:moveTo>
                      <a:pt x="391" y="162"/>
                    </a:moveTo>
                    <a:lnTo>
                      <a:pt x="391" y="163"/>
                    </a:lnTo>
                    <a:lnTo>
                      <a:pt x="391" y="165"/>
                    </a:lnTo>
                    <a:lnTo>
                      <a:pt x="391" y="163"/>
                    </a:lnTo>
                    <a:lnTo>
                      <a:pt x="389" y="163"/>
                    </a:lnTo>
                    <a:lnTo>
                      <a:pt x="389" y="165"/>
                    </a:lnTo>
                    <a:lnTo>
                      <a:pt x="387" y="163"/>
                    </a:lnTo>
                    <a:lnTo>
                      <a:pt x="386" y="162"/>
                    </a:lnTo>
                    <a:lnTo>
                      <a:pt x="387" y="162"/>
                    </a:lnTo>
                    <a:lnTo>
                      <a:pt x="387" y="163"/>
                    </a:lnTo>
                    <a:lnTo>
                      <a:pt x="389" y="163"/>
                    </a:lnTo>
                    <a:lnTo>
                      <a:pt x="389" y="162"/>
                    </a:lnTo>
                    <a:lnTo>
                      <a:pt x="391" y="162"/>
                    </a:lnTo>
                    <a:close/>
                    <a:moveTo>
                      <a:pt x="403" y="138"/>
                    </a:moveTo>
                    <a:lnTo>
                      <a:pt x="401" y="138"/>
                    </a:lnTo>
                    <a:lnTo>
                      <a:pt x="401" y="136"/>
                    </a:lnTo>
                    <a:lnTo>
                      <a:pt x="401" y="134"/>
                    </a:lnTo>
                    <a:lnTo>
                      <a:pt x="403" y="134"/>
                    </a:lnTo>
                    <a:lnTo>
                      <a:pt x="403" y="136"/>
                    </a:lnTo>
                    <a:lnTo>
                      <a:pt x="403" y="138"/>
                    </a:lnTo>
                    <a:close/>
                    <a:moveTo>
                      <a:pt x="428" y="7"/>
                    </a:moveTo>
                    <a:lnTo>
                      <a:pt x="428" y="8"/>
                    </a:lnTo>
                    <a:lnTo>
                      <a:pt x="430" y="8"/>
                    </a:lnTo>
                    <a:lnTo>
                      <a:pt x="428" y="8"/>
                    </a:lnTo>
                    <a:lnTo>
                      <a:pt x="430" y="8"/>
                    </a:lnTo>
                    <a:lnTo>
                      <a:pt x="430" y="10"/>
                    </a:lnTo>
                    <a:lnTo>
                      <a:pt x="428" y="10"/>
                    </a:lnTo>
                    <a:lnTo>
                      <a:pt x="430" y="10"/>
                    </a:lnTo>
                    <a:lnTo>
                      <a:pt x="428" y="10"/>
                    </a:lnTo>
                    <a:lnTo>
                      <a:pt x="428" y="8"/>
                    </a:lnTo>
                    <a:lnTo>
                      <a:pt x="426" y="8"/>
                    </a:lnTo>
                    <a:lnTo>
                      <a:pt x="426" y="7"/>
                    </a:lnTo>
                    <a:lnTo>
                      <a:pt x="428" y="5"/>
                    </a:lnTo>
                    <a:lnTo>
                      <a:pt x="428" y="7"/>
                    </a:lnTo>
                    <a:close/>
                    <a:moveTo>
                      <a:pt x="392" y="160"/>
                    </a:moveTo>
                    <a:lnTo>
                      <a:pt x="392" y="162"/>
                    </a:lnTo>
                    <a:lnTo>
                      <a:pt x="392" y="163"/>
                    </a:lnTo>
                    <a:lnTo>
                      <a:pt x="391" y="163"/>
                    </a:lnTo>
                    <a:lnTo>
                      <a:pt x="391" y="162"/>
                    </a:lnTo>
                    <a:lnTo>
                      <a:pt x="391" y="160"/>
                    </a:lnTo>
                    <a:lnTo>
                      <a:pt x="392" y="160"/>
                    </a:lnTo>
                    <a:close/>
                    <a:moveTo>
                      <a:pt x="66" y="95"/>
                    </a:moveTo>
                    <a:lnTo>
                      <a:pt x="68" y="94"/>
                    </a:lnTo>
                    <a:lnTo>
                      <a:pt x="68" y="95"/>
                    </a:lnTo>
                    <a:lnTo>
                      <a:pt x="70" y="95"/>
                    </a:lnTo>
                    <a:lnTo>
                      <a:pt x="70" y="97"/>
                    </a:lnTo>
                    <a:lnTo>
                      <a:pt x="68" y="97"/>
                    </a:lnTo>
                    <a:lnTo>
                      <a:pt x="66" y="95"/>
                    </a:lnTo>
                    <a:lnTo>
                      <a:pt x="64" y="95"/>
                    </a:lnTo>
                    <a:lnTo>
                      <a:pt x="66" y="95"/>
                    </a:lnTo>
                    <a:lnTo>
                      <a:pt x="66" y="94"/>
                    </a:lnTo>
                    <a:lnTo>
                      <a:pt x="66" y="95"/>
                    </a:lnTo>
                    <a:close/>
                    <a:moveTo>
                      <a:pt x="30" y="27"/>
                    </a:moveTo>
                    <a:lnTo>
                      <a:pt x="32" y="29"/>
                    </a:lnTo>
                    <a:lnTo>
                      <a:pt x="32" y="31"/>
                    </a:lnTo>
                    <a:lnTo>
                      <a:pt x="30" y="31"/>
                    </a:lnTo>
                    <a:lnTo>
                      <a:pt x="30" y="29"/>
                    </a:lnTo>
                    <a:lnTo>
                      <a:pt x="30" y="27"/>
                    </a:lnTo>
                    <a:close/>
                    <a:moveTo>
                      <a:pt x="394" y="131"/>
                    </a:moveTo>
                    <a:lnTo>
                      <a:pt x="396" y="131"/>
                    </a:lnTo>
                    <a:lnTo>
                      <a:pt x="396" y="133"/>
                    </a:lnTo>
                    <a:lnTo>
                      <a:pt x="396" y="134"/>
                    </a:lnTo>
                    <a:lnTo>
                      <a:pt x="394" y="133"/>
                    </a:lnTo>
                    <a:lnTo>
                      <a:pt x="392" y="133"/>
                    </a:lnTo>
                    <a:lnTo>
                      <a:pt x="392" y="131"/>
                    </a:lnTo>
                    <a:lnTo>
                      <a:pt x="394" y="131"/>
                    </a:lnTo>
                    <a:close/>
                    <a:moveTo>
                      <a:pt x="391" y="145"/>
                    </a:moveTo>
                    <a:lnTo>
                      <a:pt x="392" y="145"/>
                    </a:lnTo>
                    <a:lnTo>
                      <a:pt x="392" y="148"/>
                    </a:lnTo>
                    <a:lnTo>
                      <a:pt x="391" y="148"/>
                    </a:lnTo>
                    <a:lnTo>
                      <a:pt x="391" y="145"/>
                    </a:lnTo>
                    <a:close/>
                    <a:moveTo>
                      <a:pt x="401" y="134"/>
                    </a:moveTo>
                    <a:lnTo>
                      <a:pt x="399" y="134"/>
                    </a:lnTo>
                    <a:lnTo>
                      <a:pt x="399" y="133"/>
                    </a:lnTo>
                    <a:lnTo>
                      <a:pt x="399" y="131"/>
                    </a:lnTo>
                    <a:lnTo>
                      <a:pt x="401" y="131"/>
                    </a:lnTo>
                    <a:lnTo>
                      <a:pt x="401" y="133"/>
                    </a:lnTo>
                    <a:lnTo>
                      <a:pt x="401" y="134"/>
                    </a:lnTo>
                    <a:close/>
                    <a:moveTo>
                      <a:pt x="386" y="162"/>
                    </a:moveTo>
                    <a:lnTo>
                      <a:pt x="386" y="163"/>
                    </a:lnTo>
                    <a:lnTo>
                      <a:pt x="387" y="163"/>
                    </a:lnTo>
                    <a:lnTo>
                      <a:pt x="387" y="165"/>
                    </a:lnTo>
                    <a:lnTo>
                      <a:pt x="386" y="165"/>
                    </a:lnTo>
                    <a:lnTo>
                      <a:pt x="386" y="163"/>
                    </a:lnTo>
                    <a:lnTo>
                      <a:pt x="386" y="162"/>
                    </a:lnTo>
                    <a:close/>
                    <a:moveTo>
                      <a:pt x="394" y="124"/>
                    </a:moveTo>
                    <a:lnTo>
                      <a:pt x="396" y="124"/>
                    </a:lnTo>
                    <a:lnTo>
                      <a:pt x="396" y="128"/>
                    </a:lnTo>
                    <a:lnTo>
                      <a:pt x="394" y="128"/>
                    </a:lnTo>
                    <a:lnTo>
                      <a:pt x="394" y="124"/>
                    </a:lnTo>
                    <a:close/>
                    <a:moveTo>
                      <a:pt x="432" y="0"/>
                    </a:moveTo>
                    <a:lnTo>
                      <a:pt x="433" y="0"/>
                    </a:lnTo>
                    <a:lnTo>
                      <a:pt x="433" y="2"/>
                    </a:lnTo>
                    <a:lnTo>
                      <a:pt x="432" y="2"/>
                    </a:lnTo>
                    <a:lnTo>
                      <a:pt x="432" y="0"/>
                    </a:lnTo>
                    <a:close/>
                    <a:moveTo>
                      <a:pt x="391" y="156"/>
                    </a:moveTo>
                    <a:lnTo>
                      <a:pt x="394" y="156"/>
                    </a:lnTo>
                    <a:lnTo>
                      <a:pt x="394" y="160"/>
                    </a:lnTo>
                    <a:lnTo>
                      <a:pt x="391" y="160"/>
                    </a:lnTo>
                    <a:lnTo>
                      <a:pt x="391" y="156"/>
                    </a:lnTo>
                    <a:close/>
                    <a:moveTo>
                      <a:pt x="46" y="63"/>
                    </a:moveTo>
                    <a:lnTo>
                      <a:pt x="47" y="63"/>
                    </a:lnTo>
                    <a:lnTo>
                      <a:pt x="47" y="65"/>
                    </a:lnTo>
                    <a:lnTo>
                      <a:pt x="46" y="65"/>
                    </a:lnTo>
                    <a:lnTo>
                      <a:pt x="46" y="63"/>
                    </a:lnTo>
                    <a:close/>
                    <a:moveTo>
                      <a:pt x="53" y="77"/>
                    </a:moveTo>
                    <a:lnTo>
                      <a:pt x="56" y="77"/>
                    </a:lnTo>
                    <a:lnTo>
                      <a:pt x="53" y="77"/>
                    </a:lnTo>
                    <a:close/>
                    <a:moveTo>
                      <a:pt x="394" y="138"/>
                    </a:moveTo>
                    <a:lnTo>
                      <a:pt x="396" y="138"/>
                    </a:lnTo>
                    <a:lnTo>
                      <a:pt x="396" y="139"/>
                    </a:lnTo>
                    <a:lnTo>
                      <a:pt x="394" y="139"/>
                    </a:lnTo>
                    <a:lnTo>
                      <a:pt x="394" y="138"/>
                    </a:lnTo>
                    <a:close/>
                    <a:moveTo>
                      <a:pt x="398" y="122"/>
                    </a:moveTo>
                    <a:lnTo>
                      <a:pt x="399" y="122"/>
                    </a:lnTo>
                    <a:lnTo>
                      <a:pt x="399" y="124"/>
                    </a:lnTo>
                    <a:lnTo>
                      <a:pt x="398" y="124"/>
                    </a:lnTo>
                    <a:lnTo>
                      <a:pt x="398" y="122"/>
                    </a:lnTo>
                    <a:close/>
                    <a:moveTo>
                      <a:pt x="384" y="162"/>
                    </a:moveTo>
                    <a:lnTo>
                      <a:pt x="386" y="162"/>
                    </a:lnTo>
                    <a:lnTo>
                      <a:pt x="386" y="165"/>
                    </a:lnTo>
                    <a:lnTo>
                      <a:pt x="384" y="165"/>
                    </a:lnTo>
                    <a:lnTo>
                      <a:pt x="384" y="162"/>
                    </a:lnTo>
                    <a:close/>
                    <a:moveTo>
                      <a:pt x="394" y="131"/>
                    </a:moveTo>
                    <a:lnTo>
                      <a:pt x="396" y="131"/>
                    </a:lnTo>
                    <a:lnTo>
                      <a:pt x="394" y="131"/>
                    </a:lnTo>
                    <a:close/>
                    <a:moveTo>
                      <a:pt x="391" y="129"/>
                    </a:moveTo>
                    <a:lnTo>
                      <a:pt x="392" y="129"/>
                    </a:lnTo>
                    <a:lnTo>
                      <a:pt x="392" y="133"/>
                    </a:lnTo>
                    <a:lnTo>
                      <a:pt x="391" y="133"/>
                    </a:lnTo>
                    <a:lnTo>
                      <a:pt x="391" y="129"/>
                    </a:lnTo>
                    <a:close/>
                    <a:moveTo>
                      <a:pt x="34" y="68"/>
                    </a:moveTo>
                    <a:lnTo>
                      <a:pt x="34" y="70"/>
                    </a:lnTo>
                    <a:lnTo>
                      <a:pt x="34" y="68"/>
                    </a:lnTo>
                    <a:close/>
                    <a:moveTo>
                      <a:pt x="392" y="129"/>
                    </a:moveTo>
                    <a:lnTo>
                      <a:pt x="394" y="129"/>
                    </a:lnTo>
                    <a:lnTo>
                      <a:pt x="394" y="131"/>
                    </a:lnTo>
                    <a:lnTo>
                      <a:pt x="392" y="131"/>
                    </a:lnTo>
                    <a:lnTo>
                      <a:pt x="392" y="129"/>
                    </a:lnTo>
                    <a:close/>
                    <a:moveTo>
                      <a:pt x="396" y="128"/>
                    </a:moveTo>
                    <a:lnTo>
                      <a:pt x="396" y="129"/>
                    </a:lnTo>
                    <a:lnTo>
                      <a:pt x="396" y="128"/>
                    </a:lnTo>
                    <a:close/>
                    <a:moveTo>
                      <a:pt x="387" y="162"/>
                    </a:moveTo>
                    <a:lnTo>
                      <a:pt x="389" y="162"/>
                    </a:lnTo>
                    <a:lnTo>
                      <a:pt x="389" y="163"/>
                    </a:lnTo>
                    <a:lnTo>
                      <a:pt x="387" y="163"/>
                    </a:lnTo>
                    <a:lnTo>
                      <a:pt x="387" y="162"/>
                    </a:lnTo>
                    <a:close/>
                    <a:moveTo>
                      <a:pt x="396" y="131"/>
                    </a:moveTo>
                    <a:lnTo>
                      <a:pt x="398" y="131"/>
                    </a:lnTo>
                    <a:lnTo>
                      <a:pt x="398" y="133"/>
                    </a:lnTo>
                    <a:lnTo>
                      <a:pt x="396" y="133"/>
                    </a:lnTo>
                    <a:lnTo>
                      <a:pt x="396" y="131"/>
                    </a:lnTo>
                    <a:close/>
                    <a:moveTo>
                      <a:pt x="392" y="136"/>
                    </a:moveTo>
                    <a:lnTo>
                      <a:pt x="396" y="136"/>
                    </a:lnTo>
                    <a:lnTo>
                      <a:pt x="396" y="138"/>
                    </a:lnTo>
                    <a:lnTo>
                      <a:pt x="392" y="138"/>
                    </a:lnTo>
                    <a:lnTo>
                      <a:pt x="392" y="136"/>
                    </a:lnTo>
                    <a:close/>
                    <a:moveTo>
                      <a:pt x="58" y="37"/>
                    </a:moveTo>
                    <a:lnTo>
                      <a:pt x="58" y="39"/>
                    </a:lnTo>
                    <a:lnTo>
                      <a:pt x="58" y="37"/>
                    </a:lnTo>
                    <a:close/>
                    <a:moveTo>
                      <a:pt x="394" y="128"/>
                    </a:moveTo>
                    <a:lnTo>
                      <a:pt x="396" y="128"/>
                    </a:lnTo>
                    <a:lnTo>
                      <a:pt x="396" y="129"/>
                    </a:lnTo>
                    <a:lnTo>
                      <a:pt x="394" y="129"/>
                    </a:lnTo>
                    <a:lnTo>
                      <a:pt x="394" y="128"/>
                    </a:lnTo>
                    <a:close/>
                    <a:moveTo>
                      <a:pt x="392" y="36"/>
                    </a:moveTo>
                    <a:lnTo>
                      <a:pt x="394" y="36"/>
                    </a:lnTo>
                    <a:lnTo>
                      <a:pt x="392" y="36"/>
                    </a:lnTo>
                    <a:close/>
                    <a:moveTo>
                      <a:pt x="394" y="41"/>
                    </a:moveTo>
                    <a:lnTo>
                      <a:pt x="396" y="41"/>
                    </a:lnTo>
                    <a:lnTo>
                      <a:pt x="396" y="43"/>
                    </a:lnTo>
                    <a:lnTo>
                      <a:pt x="394" y="43"/>
                    </a:lnTo>
                    <a:lnTo>
                      <a:pt x="394" y="41"/>
                    </a:lnTo>
                    <a:close/>
                    <a:moveTo>
                      <a:pt x="392" y="136"/>
                    </a:moveTo>
                    <a:lnTo>
                      <a:pt x="392" y="138"/>
                    </a:lnTo>
                    <a:lnTo>
                      <a:pt x="392" y="136"/>
                    </a:lnTo>
                    <a:close/>
                    <a:moveTo>
                      <a:pt x="391" y="146"/>
                    </a:moveTo>
                    <a:lnTo>
                      <a:pt x="391" y="148"/>
                    </a:lnTo>
                    <a:lnTo>
                      <a:pt x="391" y="146"/>
                    </a:lnTo>
                    <a:close/>
                    <a:moveTo>
                      <a:pt x="396" y="129"/>
                    </a:moveTo>
                    <a:lnTo>
                      <a:pt x="398" y="129"/>
                    </a:lnTo>
                    <a:lnTo>
                      <a:pt x="398" y="131"/>
                    </a:lnTo>
                    <a:lnTo>
                      <a:pt x="396" y="131"/>
                    </a:lnTo>
                    <a:lnTo>
                      <a:pt x="396" y="129"/>
                    </a:lnTo>
                    <a:close/>
                    <a:moveTo>
                      <a:pt x="394" y="129"/>
                    </a:moveTo>
                    <a:lnTo>
                      <a:pt x="396" y="129"/>
                    </a:lnTo>
                    <a:lnTo>
                      <a:pt x="396" y="131"/>
                    </a:lnTo>
                    <a:lnTo>
                      <a:pt x="394" y="131"/>
                    </a:lnTo>
                    <a:lnTo>
                      <a:pt x="394" y="129"/>
                    </a:lnTo>
                    <a:close/>
                    <a:moveTo>
                      <a:pt x="391" y="146"/>
                    </a:moveTo>
                    <a:lnTo>
                      <a:pt x="391" y="148"/>
                    </a:lnTo>
                    <a:lnTo>
                      <a:pt x="391" y="146"/>
                    </a:lnTo>
                    <a:close/>
                    <a:moveTo>
                      <a:pt x="389" y="145"/>
                    </a:moveTo>
                    <a:lnTo>
                      <a:pt x="391" y="145"/>
                    </a:lnTo>
                    <a:lnTo>
                      <a:pt x="391" y="146"/>
                    </a:lnTo>
                    <a:lnTo>
                      <a:pt x="389" y="146"/>
                    </a:lnTo>
                    <a:lnTo>
                      <a:pt x="389" y="145"/>
                    </a:lnTo>
                    <a:close/>
                    <a:moveTo>
                      <a:pt x="357" y="92"/>
                    </a:moveTo>
                    <a:lnTo>
                      <a:pt x="359" y="92"/>
                    </a:lnTo>
                    <a:lnTo>
                      <a:pt x="357" y="92"/>
                    </a:lnTo>
                    <a:close/>
                    <a:moveTo>
                      <a:pt x="389" y="145"/>
                    </a:moveTo>
                    <a:lnTo>
                      <a:pt x="389" y="146"/>
                    </a:lnTo>
                    <a:lnTo>
                      <a:pt x="389" y="145"/>
                    </a:lnTo>
                    <a:close/>
                    <a:moveTo>
                      <a:pt x="396" y="131"/>
                    </a:moveTo>
                    <a:lnTo>
                      <a:pt x="398" y="131"/>
                    </a:lnTo>
                    <a:lnTo>
                      <a:pt x="396" y="131"/>
                    </a:lnTo>
                    <a:close/>
                    <a:moveTo>
                      <a:pt x="433" y="0"/>
                    </a:moveTo>
                    <a:lnTo>
                      <a:pt x="433" y="2"/>
                    </a:lnTo>
                    <a:lnTo>
                      <a:pt x="433" y="0"/>
                    </a:lnTo>
                    <a:close/>
                    <a:moveTo>
                      <a:pt x="391" y="34"/>
                    </a:moveTo>
                    <a:lnTo>
                      <a:pt x="392" y="34"/>
                    </a:lnTo>
                    <a:lnTo>
                      <a:pt x="391" y="34"/>
                    </a:lnTo>
                    <a:close/>
                    <a:moveTo>
                      <a:pt x="396" y="129"/>
                    </a:moveTo>
                    <a:lnTo>
                      <a:pt x="398" y="129"/>
                    </a:lnTo>
                    <a:lnTo>
                      <a:pt x="396" y="129"/>
                    </a:lnTo>
                    <a:close/>
                    <a:moveTo>
                      <a:pt x="391" y="134"/>
                    </a:moveTo>
                    <a:lnTo>
                      <a:pt x="392" y="134"/>
                    </a:lnTo>
                    <a:lnTo>
                      <a:pt x="392" y="136"/>
                    </a:lnTo>
                    <a:lnTo>
                      <a:pt x="391" y="136"/>
                    </a:lnTo>
                    <a:lnTo>
                      <a:pt x="391" y="134"/>
                    </a:lnTo>
                    <a:close/>
                    <a:moveTo>
                      <a:pt x="399" y="134"/>
                    </a:moveTo>
                    <a:lnTo>
                      <a:pt x="401" y="134"/>
                    </a:lnTo>
                    <a:lnTo>
                      <a:pt x="399" y="134"/>
                    </a:lnTo>
                    <a:close/>
                    <a:moveTo>
                      <a:pt x="428" y="8"/>
                    </a:moveTo>
                    <a:lnTo>
                      <a:pt x="428" y="10"/>
                    </a:lnTo>
                    <a:lnTo>
                      <a:pt x="428" y="8"/>
                    </a:lnTo>
                    <a:close/>
                    <a:moveTo>
                      <a:pt x="386" y="163"/>
                    </a:moveTo>
                    <a:lnTo>
                      <a:pt x="386" y="165"/>
                    </a:lnTo>
                    <a:lnTo>
                      <a:pt x="386" y="163"/>
                    </a:lnTo>
                    <a:close/>
                    <a:moveTo>
                      <a:pt x="46" y="61"/>
                    </a:moveTo>
                    <a:lnTo>
                      <a:pt x="47" y="61"/>
                    </a:lnTo>
                    <a:lnTo>
                      <a:pt x="47" y="63"/>
                    </a:lnTo>
                    <a:lnTo>
                      <a:pt x="46" y="63"/>
                    </a:lnTo>
                    <a:lnTo>
                      <a:pt x="46" y="61"/>
                    </a:lnTo>
                    <a:close/>
                    <a:moveTo>
                      <a:pt x="396" y="129"/>
                    </a:moveTo>
                    <a:lnTo>
                      <a:pt x="396" y="131"/>
                    </a:lnTo>
                    <a:lnTo>
                      <a:pt x="396" y="129"/>
                    </a:lnTo>
                    <a:close/>
                    <a:moveTo>
                      <a:pt x="433" y="0"/>
                    </a:moveTo>
                    <a:lnTo>
                      <a:pt x="433" y="2"/>
                    </a:lnTo>
                    <a:lnTo>
                      <a:pt x="433" y="0"/>
                    </a:lnTo>
                    <a:close/>
                    <a:moveTo>
                      <a:pt x="387" y="138"/>
                    </a:moveTo>
                    <a:lnTo>
                      <a:pt x="387" y="139"/>
                    </a:lnTo>
                    <a:lnTo>
                      <a:pt x="387" y="138"/>
                    </a:lnTo>
                    <a:close/>
                    <a:moveTo>
                      <a:pt x="396" y="128"/>
                    </a:moveTo>
                    <a:lnTo>
                      <a:pt x="396" y="129"/>
                    </a:lnTo>
                    <a:lnTo>
                      <a:pt x="396" y="128"/>
                    </a:lnTo>
                    <a:close/>
                    <a:moveTo>
                      <a:pt x="386" y="165"/>
                    </a:moveTo>
                    <a:lnTo>
                      <a:pt x="387" y="165"/>
                    </a:lnTo>
                    <a:lnTo>
                      <a:pt x="386" y="165"/>
                    </a:lnTo>
                    <a:close/>
                    <a:moveTo>
                      <a:pt x="384" y="163"/>
                    </a:moveTo>
                    <a:lnTo>
                      <a:pt x="386" y="163"/>
                    </a:lnTo>
                    <a:lnTo>
                      <a:pt x="384" y="16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5" name="Freeform 30">
                <a:extLst>
                  <a:ext uri="{FF2B5EF4-FFF2-40B4-BE49-F238E27FC236}">
                    <a16:creationId xmlns:a16="http://schemas.microsoft.com/office/drawing/2014/main" id="{41ACF91B-6F42-C8E4-FBF3-A3FE18193B8B}"/>
                  </a:ext>
                </a:extLst>
              </p:cNvPr>
              <p:cNvSpPr>
                <a:spLocks noEditPoints="1"/>
              </p:cNvSpPr>
              <p:nvPr/>
            </p:nvSpPr>
            <p:spPr bwMode="auto">
              <a:xfrm>
                <a:off x="5769926" y="3536912"/>
                <a:ext cx="36127" cy="23204"/>
              </a:xfrm>
              <a:custGeom>
                <a:avLst/>
                <a:gdLst>
                  <a:gd name="T0" fmla="*/ 102 w 123"/>
                  <a:gd name="T1" fmla="*/ 21 h 79"/>
                  <a:gd name="T2" fmla="*/ 92 w 123"/>
                  <a:gd name="T3" fmla="*/ 24 h 79"/>
                  <a:gd name="T4" fmla="*/ 102 w 123"/>
                  <a:gd name="T5" fmla="*/ 33 h 79"/>
                  <a:gd name="T6" fmla="*/ 107 w 123"/>
                  <a:gd name="T7" fmla="*/ 27 h 79"/>
                  <a:gd name="T8" fmla="*/ 117 w 123"/>
                  <a:gd name="T9" fmla="*/ 21 h 79"/>
                  <a:gd name="T10" fmla="*/ 112 w 123"/>
                  <a:gd name="T11" fmla="*/ 29 h 79"/>
                  <a:gd name="T12" fmla="*/ 116 w 123"/>
                  <a:gd name="T13" fmla="*/ 36 h 79"/>
                  <a:gd name="T14" fmla="*/ 114 w 123"/>
                  <a:gd name="T15" fmla="*/ 39 h 79"/>
                  <a:gd name="T16" fmla="*/ 106 w 123"/>
                  <a:gd name="T17" fmla="*/ 43 h 79"/>
                  <a:gd name="T18" fmla="*/ 97 w 123"/>
                  <a:gd name="T19" fmla="*/ 50 h 79"/>
                  <a:gd name="T20" fmla="*/ 80 w 123"/>
                  <a:gd name="T21" fmla="*/ 43 h 79"/>
                  <a:gd name="T22" fmla="*/ 87 w 123"/>
                  <a:gd name="T23" fmla="*/ 51 h 79"/>
                  <a:gd name="T24" fmla="*/ 87 w 123"/>
                  <a:gd name="T25" fmla="*/ 56 h 79"/>
                  <a:gd name="T26" fmla="*/ 68 w 123"/>
                  <a:gd name="T27" fmla="*/ 55 h 79"/>
                  <a:gd name="T28" fmla="*/ 77 w 123"/>
                  <a:gd name="T29" fmla="*/ 62 h 79"/>
                  <a:gd name="T30" fmla="*/ 66 w 123"/>
                  <a:gd name="T31" fmla="*/ 60 h 79"/>
                  <a:gd name="T32" fmla="*/ 66 w 123"/>
                  <a:gd name="T33" fmla="*/ 70 h 79"/>
                  <a:gd name="T34" fmla="*/ 58 w 123"/>
                  <a:gd name="T35" fmla="*/ 65 h 79"/>
                  <a:gd name="T36" fmla="*/ 61 w 123"/>
                  <a:gd name="T37" fmla="*/ 53 h 79"/>
                  <a:gd name="T38" fmla="*/ 65 w 123"/>
                  <a:gd name="T39" fmla="*/ 46 h 79"/>
                  <a:gd name="T40" fmla="*/ 78 w 123"/>
                  <a:gd name="T41" fmla="*/ 43 h 79"/>
                  <a:gd name="T42" fmla="*/ 75 w 123"/>
                  <a:gd name="T43" fmla="*/ 27 h 79"/>
                  <a:gd name="T44" fmla="*/ 77 w 123"/>
                  <a:gd name="T45" fmla="*/ 22 h 79"/>
                  <a:gd name="T46" fmla="*/ 70 w 123"/>
                  <a:gd name="T47" fmla="*/ 24 h 79"/>
                  <a:gd name="T48" fmla="*/ 66 w 123"/>
                  <a:gd name="T49" fmla="*/ 33 h 79"/>
                  <a:gd name="T50" fmla="*/ 55 w 123"/>
                  <a:gd name="T51" fmla="*/ 43 h 79"/>
                  <a:gd name="T52" fmla="*/ 41 w 123"/>
                  <a:gd name="T53" fmla="*/ 55 h 79"/>
                  <a:gd name="T54" fmla="*/ 38 w 123"/>
                  <a:gd name="T55" fmla="*/ 58 h 79"/>
                  <a:gd name="T56" fmla="*/ 31 w 123"/>
                  <a:gd name="T57" fmla="*/ 62 h 79"/>
                  <a:gd name="T58" fmla="*/ 22 w 123"/>
                  <a:gd name="T59" fmla="*/ 65 h 79"/>
                  <a:gd name="T60" fmla="*/ 21 w 123"/>
                  <a:gd name="T61" fmla="*/ 63 h 79"/>
                  <a:gd name="T62" fmla="*/ 19 w 123"/>
                  <a:gd name="T63" fmla="*/ 56 h 79"/>
                  <a:gd name="T64" fmla="*/ 22 w 123"/>
                  <a:gd name="T65" fmla="*/ 56 h 79"/>
                  <a:gd name="T66" fmla="*/ 29 w 123"/>
                  <a:gd name="T67" fmla="*/ 51 h 79"/>
                  <a:gd name="T68" fmla="*/ 32 w 123"/>
                  <a:gd name="T69" fmla="*/ 45 h 79"/>
                  <a:gd name="T70" fmla="*/ 36 w 123"/>
                  <a:gd name="T71" fmla="*/ 39 h 79"/>
                  <a:gd name="T72" fmla="*/ 34 w 123"/>
                  <a:gd name="T73" fmla="*/ 36 h 79"/>
                  <a:gd name="T74" fmla="*/ 34 w 123"/>
                  <a:gd name="T75" fmla="*/ 29 h 79"/>
                  <a:gd name="T76" fmla="*/ 24 w 123"/>
                  <a:gd name="T77" fmla="*/ 19 h 79"/>
                  <a:gd name="T78" fmla="*/ 43 w 123"/>
                  <a:gd name="T79" fmla="*/ 22 h 79"/>
                  <a:gd name="T80" fmla="*/ 51 w 123"/>
                  <a:gd name="T81" fmla="*/ 22 h 79"/>
                  <a:gd name="T82" fmla="*/ 63 w 123"/>
                  <a:gd name="T83" fmla="*/ 24 h 79"/>
                  <a:gd name="T84" fmla="*/ 15 w 123"/>
                  <a:gd name="T85" fmla="*/ 50 h 79"/>
                  <a:gd name="T86" fmla="*/ 14 w 123"/>
                  <a:gd name="T87" fmla="*/ 43 h 79"/>
                  <a:gd name="T88" fmla="*/ 43 w 123"/>
                  <a:gd name="T89" fmla="*/ 17 h 79"/>
                  <a:gd name="T90" fmla="*/ 34 w 123"/>
                  <a:gd name="T91" fmla="*/ 14 h 79"/>
                  <a:gd name="T92" fmla="*/ 55 w 123"/>
                  <a:gd name="T93" fmla="*/ 16 h 79"/>
                  <a:gd name="T94" fmla="*/ 99 w 123"/>
                  <a:gd name="T95" fmla="*/ 53 h 79"/>
                  <a:gd name="T96" fmla="*/ 48 w 123"/>
                  <a:gd name="T97" fmla="*/ 19 h 79"/>
                  <a:gd name="T98" fmla="*/ 55 w 123"/>
                  <a:gd name="T99" fmla="*/ 73 h 79"/>
                  <a:gd name="T100" fmla="*/ 4 w 123"/>
                  <a:gd name="T101" fmla="*/ 38 h 79"/>
                  <a:gd name="T102" fmla="*/ 53 w 123"/>
                  <a:gd name="T103" fmla="*/ 17 h 79"/>
                  <a:gd name="T104" fmla="*/ 58 w 123"/>
                  <a:gd name="T105" fmla="*/ 41 h 79"/>
                  <a:gd name="T106" fmla="*/ 56 w 123"/>
                  <a:gd name="T107" fmla="*/ 22 h 79"/>
                  <a:gd name="T108" fmla="*/ 60 w 123"/>
                  <a:gd name="T109" fmla="*/ 19 h 79"/>
                  <a:gd name="T110" fmla="*/ 17 w 123"/>
                  <a:gd name="T111" fmla="*/ 10 h 79"/>
                  <a:gd name="T112" fmla="*/ 17 w 123"/>
                  <a:gd name="T113" fmla="*/ 5 h 79"/>
                  <a:gd name="T114" fmla="*/ 17 w 123"/>
                  <a:gd name="T115" fmla="*/ 7 h 79"/>
                  <a:gd name="T116" fmla="*/ 21 w 123"/>
                  <a:gd name="T117" fmla="*/ 26 h 79"/>
                  <a:gd name="T118" fmla="*/ 17 w 123"/>
                  <a:gd name="T119" fmla="*/ 31 h 79"/>
                  <a:gd name="T120" fmla="*/ 41 w 123"/>
                  <a:gd name="T121" fmla="*/ 22 h 79"/>
                  <a:gd name="T122" fmla="*/ 29 w 123"/>
                  <a:gd name="T123" fmla="*/ 17 h 79"/>
                  <a:gd name="T124" fmla="*/ 55 w 123"/>
                  <a:gd name="T125" fmla="*/ 4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3" h="79">
                    <a:moveTo>
                      <a:pt x="80" y="12"/>
                    </a:moveTo>
                    <a:lnTo>
                      <a:pt x="82" y="12"/>
                    </a:lnTo>
                    <a:lnTo>
                      <a:pt x="82" y="14"/>
                    </a:lnTo>
                    <a:lnTo>
                      <a:pt x="83" y="14"/>
                    </a:lnTo>
                    <a:lnTo>
                      <a:pt x="83" y="16"/>
                    </a:lnTo>
                    <a:lnTo>
                      <a:pt x="85" y="16"/>
                    </a:lnTo>
                    <a:lnTo>
                      <a:pt x="87" y="16"/>
                    </a:lnTo>
                    <a:lnTo>
                      <a:pt x="87" y="17"/>
                    </a:lnTo>
                    <a:lnTo>
                      <a:pt x="89" y="17"/>
                    </a:lnTo>
                    <a:lnTo>
                      <a:pt x="90" y="17"/>
                    </a:lnTo>
                    <a:lnTo>
                      <a:pt x="92" y="17"/>
                    </a:lnTo>
                    <a:lnTo>
                      <a:pt x="92" y="19"/>
                    </a:lnTo>
                    <a:lnTo>
                      <a:pt x="94" y="19"/>
                    </a:lnTo>
                    <a:lnTo>
                      <a:pt x="94" y="17"/>
                    </a:lnTo>
                    <a:lnTo>
                      <a:pt x="92" y="19"/>
                    </a:lnTo>
                    <a:lnTo>
                      <a:pt x="92" y="17"/>
                    </a:lnTo>
                    <a:lnTo>
                      <a:pt x="94" y="16"/>
                    </a:lnTo>
                    <a:lnTo>
                      <a:pt x="95" y="16"/>
                    </a:lnTo>
                    <a:lnTo>
                      <a:pt x="97" y="16"/>
                    </a:lnTo>
                    <a:lnTo>
                      <a:pt x="97" y="17"/>
                    </a:lnTo>
                    <a:lnTo>
                      <a:pt x="99" y="17"/>
                    </a:lnTo>
                    <a:lnTo>
                      <a:pt x="100" y="17"/>
                    </a:lnTo>
                    <a:lnTo>
                      <a:pt x="100" y="19"/>
                    </a:lnTo>
                    <a:lnTo>
                      <a:pt x="102" y="19"/>
                    </a:lnTo>
                    <a:lnTo>
                      <a:pt x="102" y="21"/>
                    </a:lnTo>
                    <a:lnTo>
                      <a:pt x="100" y="21"/>
                    </a:lnTo>
                    <a:lnTo>
                      <a:pt x="102" y="21"/>
                    </a:lnTo>
                    <a:lnTo>
                      <a:pt x="102" y="22"/>
                    </a:lnTo>
                    <a:lnTo>
                      <a:pt x="100" y="22"/>
                    </a:lnTo>
                    <a:lnTo>
                      <a:pt x="102" y="22"/>
                    </a:lnTo>
                    <a:lnTo>
                      <a:pt x="102" y="24"/>
                    </a:lnTo>
                    <a:lnTo>
                      <a:pt x="100" y="24"/>
                    </a:lnTo>
                    <a:lnTo>
                      <a:pt x="100" y="22"/>
                    </a:lnTo>
                    <a:lnTo>
                      <a:pt x="100" y="24"/>
                    </a:lnTo>
                    <a:lnTo>
                      <a:pt x="99" y="24"/>
                    </a:lnTo>
                    <a:lnTo>
                      <a:pt x="97" y="24"/>
                    </a:lnTo>
                    <a:lnTo>
                      <a:pt x="97" y="22"/>
                    </a:lnTo>
                    <a:lnTo>
                      <a:pt x="97" y="21"/>
                    </a:lnTo>
                    <a:lnTo>
                      <a:pt x="97" y="22"/>
                    </a:lnTo>
                    <a:lnTo>
                      <a:pt x="95" y="22"/>
                    </a:lnTo>
                    <a:lnTo>
                      <a:pt x="95" y="21"/>
                    </a:lnTo>
                    <a:lnTo>
                      <a:pt x="97" y="21"/>
                    </a:lnTo>
                    <a:lnTo>
                      <a:pt x="95" y="21"/>
                    </a:lnTo>
                    <a:lnTo>
                      <a:pt x="95" y="22"/>
                    </a:lnTo>
                    <a:lnTo>
                      <a:pt x="94" y="22"/>
                    </a:lnTo>
                    <a:lnTo>
                      <a:pt x="94" y="24"/>
                    </a:lnTo>
                    <a:lnTo>
                      <a:pt x="94" y="22"/>
                    </a:lnTo>
                    <a:lnTo>
                      <a:pt x="95" y="22"/>
                    </a:lnTo>
                    <a:lnTo>
                      <a:pt x="94" y="24"/>
                    </a:lnTo>
                    <a:lnTo>
                      <a:pt x="92" y="24"/>
                    </a:lnTo>
                    <a:lnTo>
                      <a:pt x="94" y="24"/>
                    </a:lnTo>
                    <a:lnTo>
                      <a:pt x="95" y="22"/>
                    </a:lnTo>
                    <a:lnTo>
                      <a:pt x="95" y="24"/>
                    </a:lnTo>
                    <a:lnTo>
                      <a:pt x="95" y="22"/>
                    </a:lnTo>
                    <a:lnTo>
                      <a:pt x="97" y="24"/>
                    </a:lnTo>
                    <a:lnTo>
                      <a:pt x="95" y="24"/>
                    </a:lnTo>
                    <a:lnTo>
                      <a:pt x="95" y="26"/>
                    </a:lnTo>
                    <a:lnTo>
                      <a:pt x="95" y="27"/>
                    </a:lnTo>
                    <a:lnTo>
                      <a:pt x="95" y="26"/>
                    </a:lnTo>
                    <a:lnTo>
                      <a:pt x="97" y="24"/>
                    </a:lnTo>
                    <a:lnTo>
                      <a:pt x="97" y="26"/>
                    </a:lnTo>
                    <a:lnTo>
                      <a:pt x="99" y="26"/>
                    </a:lnTo>
                    <a:lnTo>
                      <a:pt x="99" y="24"/>
                    </a:lnTo>
                    <a:lnTo>
                      <a:pt x="99" y="26"/>
                    </a:lnTo>
                    <a:lnTo>
                      <a:pt x="99" y="27"/>
                    </a:lnTo>
                    <a:lnTo>
                      <a:pt x="99" y="29"/>
                    </a:lnTo>
                    <a:lnTo>
                      <a:pt x="100" y="27"/>
                    </a:lnTo>
                    <a:lnTo>
                      <a:pt x="100" y="29"/>
                    </a:lnTo>
                    <a:lnTo>
                      <a:pt x="100" y="31"/>
                    </a:lnTo>
                    <a:lnTo>
                      <a:pt x="100" y="29"/>
                    </a:lnTo>
                    <a:lnTo>
                      <a:pt x="102" y="31"/>
                    </a:lnTo>
                    <a:lnTo>
                      <a:pt x="102" y="29"/>
                    </a:lnTo>
                    <a:lnTo>
                      <a:pt x="104" y="29"/>
                    </a:lnTo>
                    <a:lnTo>
                      <a:pt x="104" y="31"/>
                    </a:lnTo>
                    <a:lnTo>
                      <a:pt x="102" y="33"/>
                    </a:lnTo>
                    <a:lnTo>
                      <a:pt x="104" y="33"/>
                    </a:lnTo>
                    <a:lnTo>
                      <a:pt x="106" y="33"/>
                    </a:lnTo>
                    <a:lnTo>
                      <a:pt x="104" y="33"/>
                    </a:lnTo>
                    <a:lnTo>
                      <a:pt x="104" y="34"/>
                    </a:lnTo>
                    <a:lnTo>
                      <a:pt x="106" y="34"/>
                    </a:lnTo>
                    <a:lnTo>
                      <a:pt x="104" y="34"/>
                    </a:lnTo>
                    <a:lnTo>
                      <a:pt x="106" y="34"/>
                    </a:lnTo>
                    <a:lnTo>
                      <a:pt x="106" y="33"/>
                    </a:lnTo>
                    <a:lnTo>
                      <a:pt x="106" y="34"/>
                    </a:lnTo>
                    <a:lnTo>
                      <a:pt x="106" y="36"/>
                    </a:lnTo>
                    <a:lnTo>
                      <a:pt x="106" y="34"/>
                    </a:lnTo>
                    <a:lnTo>
                      <a:pt x="107" y="34"/>
                    </a:lnTo>
                    <a:lnTo>
                      <a:pt x="106" y="34"/>
                    </a:lnTo>
                    <a:lnTo>
                      <a:pt x="106" y="33"/>
                    </a:lnTo>
                    <a:lnTo>
                      <a:pt x="104" y="33"/>
                    </a:lnTo>
                    <a:lnTo>
                      <a:pt x="106" y="31"/>
                    </a:lnTo>
                    <a:lnTo>
                      <a:pt x="107" y="33"/>
                    </a:lnTo>
                    <a:lnTo>
                      <a:pt x="109" y="33"/>
                    </a:lnTo>
                    <a:lnTo>
                      <a:pt x="107" y="33"/>
                    </a:lnTo>
                    <a:lnTo>
                      <a:pt x="106" y="31"/>
                    </a:lnTo>
                    <a:lnTo>
                      <a:pt x="107" y="31"/>
                    </a:lnTo>
                    <a:lnTo>
                      <a:pt x="106" y="31"/>
                    </a:lnTo>
                    <a:lnTo>
                      <a:pt x="104" y="29"/>
                    </a:lnTo>
                    <a:lnTo>
                      <a:pt x="106" y="29"/>
                    </a:lnTo>
                    <a:lnTo>
                      <a:pt x="107" y="27"/>
                    </a:lnTo>
                    <a:lnTo>
                      <a:pt x="106" y="27"/>
                    </a:lnTo>
                    <a:lnTo>
                      <a:pt x="106" y="29"/>
                    </a:lnTo>
                    <a:lnTo>
                      <a:pt x="104" y="29"/>
                    </a:lnTo>
                    <a:lnTo>
                      <a:pt x="104" y="27"/>
                    </a:lnTo>
                    <a:lnTo>
                      <a:pt x="104" y="26"/>
                    </a:lnTo>
                    <a:lnTo>
                      <a:pt x="102" y="27"/>
                    </a:lnTo>
                    <a:lnTo>
                      <a:pt x="100" y="27"/>
                    </a:lnTo>
                    <a:lnTo>
                      <a:pt x="100" y="26"/>
                    </a:lnTo>
                    <a:lnTo>
                      <a:pt x="102" y="26"/>
                    </a:lnTo>
                    <a:lnTo>
                      <a:pt x="100" y="26"/>
                    </a:lnTo>
                    <a:lnTo>
                      <a:pt x="102" y="26"/>
                    </a:lnTo>
                    <a:lnTo>
                      <a:pt x="102" y="24"/>
                    </a:lnTo>
                    <a:lnTo>
                      <a:pt x="104" y="22"/>
                    </a:lnTo>
                    <a:lnTo>
                      <a:pt x="104" y="21"/>
                    </a:lnTo>
                    <a:lnTo>
                      <a:pt x="106" y="21"/>
                    </a:lnTo>
                    <a:lnTo>
                      <a:pt x="107" y="21"/>
                    </a:lnTo>
                    <a:lnTo>
                      <a:pt x="109" y="21"/>
                    </a:lnTo>
                    <a:lnTo>
                      <a:pt x="111" y="21"/>
                    </a:lnTo>
                    <a:lnTo>
                      <a:pt x="111" y="19"/>
                    </a:lnTo>
                    <a:lnTo>
                      <a:pt x="111" y="21"/>
                    </a:lnTo>
                    <a:lnTo>
                      <a:pt x="112" y="21"/>
                    </a:lnTo>
                    <a:lnTo>
                      <a:pt x="114" y="19"/>
                    </a:lnTo>
                    <a:lnTo>
                      <a:pt x="116" y="19"/>
                    </a:lnTo>
                    <a:lnTo>
                      <a:pt x="116" y="21"/>
                    </a:lnTo>
                    <a:lnTo>
                      <a:pt x="117" y="21"/>
                    </a:lnTo>
                    <a:lnTo>
                      <a:pt x="117" y="22"/>
                    </a:lnTo>
                    <a:lnTo>
                      <a:pt x="119" y="24"/>
                    </a:lnTo>
                    <a:lnTo>
                      <a:pt x="119" y="26"/>
                    </a:lnTo>
                    <a:lnTo>
                      <a:pt x="121" y="26"/>
                    </a:lnTo>
                    <a:lnTo>
                      <a:pt x="121" y="27"/>
                    </a:lnTo>
                    <a:lnTo>
                      <a:pt x="123" y="27"/>
                    </a:lnTo>
                    <a:lnTo>
                      <a:pt x="121" y="27"/>
                    </a:lnTo>
                    <a:lnTo>
                      <a:pt x="119" y="27"/>
                    </a:lnTo>
                    <a:lnTo>
                      <a:pt x="117" y="26"/>
                    </a:lnTo>
                    <a:lnTo>
                      <a:pt x="119" y="26"/>
                    </a:lnTo>
                    <a:lnTo>
                      <a:pt x="117" y="26"/>
                    </a:lnTo>
                    <a:lnTo>
                      <a:pt x="117" y="27"/>
                    </a:lnTo>
                    <a:lnTo>
                      <a:pt x="119" y="27"/>
                    </a:lnTo>
                    <a:lnTo>
                      <a:pt x="121" y="27"/>
                    </a:lnTo>
                    <a:lnTo>
                      <a:pt x="121" y="29"/>
                    </a:lnTo>
                    <a:lnTo>
                      <a:pt x="119" y="29"/>
                    </a:lnTo>
                    <a:lnTo>
                      <a:pt x="117" y="29"/>
                    </a:lnTo>
                    <a:lnTo>
                      <a:pt x="116" y="29"/>
                    </a:lnTo>
                    <a:lnTo>
                      <a:pt x="114" y="29"/>
                    </a:lnTo>
                    <a:lnTo>
                      <a:pt x="114" y="27"/>
                    </a:lnTo>
                    <a:lnTo>
                      <a:pt x="112" y="27"/>
                    </a:lnTo>
                    <a:lnTo>
                      <a:pt x="112" y="26"/>
                    </a:lnTo>
                    <a:lnTo>
                      <a:pt x="111" y="26"/>
                    </a:lnTo>
                    <a:lnTo>
                      <a:pt x="112" y="27"/>
                    </a:lnTo>
                    <a:lnTo>
                      <a:pt x="112" y="29"/>
                    </a:lnTo>
                    <a:lnTo>
                      <a:pt x="111" y="27"/>
                    </a:lnTo>
                    <a:lnTo>
                      <a:pt x="109" y="27"/>
                    </a:lnTo>
                    <a:lnTo>
                      <a:pt x="111" y="29"/>
                    </a:lnTo>
                    <a:lnTo>
                      <a:pt x="109" y="27"/>
                    </a:lnTo>
                    <a:lnTo>
                      <a:pt x="109" y="29"/>
                    </a:lnTo>
                    <a:lnTo>
                      <a:pt x="107" y="29"/>
                    </a:lnTo>
                    <a:lnTo>
                      <a:pt x="109" y="29"/>
                    </a:lnTo>
                    <a:lnTo>
                      <a:pt x="109" y="31"/>
                    </a:lnTo>
                    <a:lnTo>
                      <a:pt x="111" y="31"/>
                    </a:lnTo>
                    <a:lnTo>
                      <a:pt x="109" y="31"/>
                    </a:lnTo>
                    <a:lnTo>
                      <a:pt x="111" y="31"/>
                    </a:lnTo>
                    <a:lnTo>
                      <a:pt x="112" y="31"/>
                    </a:lnTo>
                    <a:lnTo>
                      <a:pt x="114" y="31"/>
                    </a:lnTo>
                    <a:lnTo>
                      <a:pt x="116" y="33"/>
                    </a:lnTo>
                    <a:lnTo>
                      <a:pt x="117" y="33"/>
                    </a:lnTo>
                    <a:lnTo>
                      <a:pt x="119" y="33"/>
                    </a:lnTo>
                    <a:lnTo>
                      <a:pt x="121" y="33"/>
                    </a:lnTo>
                    <a:lnTo>
                      <a:pt x="121" y="34"/>
                    </a:lnTo>
                    <a:lnTo>
                      <a:pt x="123" y="34"/>
                    </a:lnTo>
                    <a:lnTo>
                      <a:pt x="121" y="34"/>
                    </a:lnTo>
                    <a:lnTo>
                      <a:pt x="121" y="36"/>
                    </a:lnTo>
                    <a:lnTo>
                      <a:pt x="119" y="34"/>
                    </a:lnTo>
                    <a:lnTo>
                      <a:pt x="119" y="36"/>
                    </a:lnTo>
                    <a:lnTo>
                      <a:pt x="117" y="36"/>
                    </a:lnTo>
                    <a:lnTo>
                      <a:pt x="116" y="36"/>
                    </a:lnTo>
                    <a:lnTo>
                      <a:pt x="116" y="34"/>
                    </a:lnTo>
                    <a:lnTo>
                      <a:pt x="114" y="34"/>
                    </a:lnTo>
                    <a:lnTo>
                      <a:pt x="116" y="34"/>
                    </a:lnTo>
                    <a:lnTo>
                      <a:pt x="116" y="36"/>
                    </a:lnTo>
                    <a:lnTo>
                      <a:pt x="117" y="36"/>
                    </a:lnTo>
                    <a:lnTo>
                      <a:pt x="116" y="36"/>
                    </a:lnTo>
                    <a:lnTo>
                      <a:pt x="117" y="36"/>
                    </a:lnTo>
                    <a:lnTo>
                      <a:pt x="119" y="36"/>
                    </a:lnTo>
                    <a:lnTo>
                      <a:pt x="117" y="36"/>
                    </a:lnTo>
                    <a:lnTo>
                      <a:pt x="116" y="36"/>
                    </a:lnTo>
                    <a:lnTo>
                      <a:pt x="117" y="38"/>
                    </a:lnTo>
                    <a:lnTo>
                      <a:pt x="119" y="38"/>
                    </a:lnTo>
                    <a:lnTo>
                      <a:pt x="119" y="36"/>
                    </a:lnTo>
                    <a:lnTo>
                      <a:pt x="121" y="36"/>
                    </a:lnTo>
                    <a:lnTo>
                      <a:pt x="123" y="36"/>
                    </a:lnTo>
                    <a:lnTo>
                      <a:pt x="123" y="38"/>
                    </a:lnTo>
                    <a:lnTo>
                      <a:pt x="121" y="38"/>
                    </a:lnTo>
                    <a:lnTo>
                      <a:pt x="119" y="38"/>
                    </a:lnTo>
                    <a:lnTo>
                      <a:pt x="119" y="39"/>
                    </a:lnTo>
                    <a:lnTo>
                      <a:pt x="119" y="38"/>
                    </a:lnTo>
                    <a:lnTo>
                      <a:pt x="117" y="39"/>
                    </a:lnTo>
                    <a:lnTo>
                      <a:pt x="116" y="39"/>
                    </a:lnTo>
                    <a:lnTo>
                      <a:pt x="114" y="39"/>
                    </a:lnTo>
                    <a:lnTo>
                      <a:pt x="112" y="39"/>
                    </a:lnTo>
                    <a:lnTo>
                      <a:pt x="114" y="39"/>
                    </a:lnTo>
                    <a:lnTo>
                      <a:pt x="116" y="39"/>
                    </a:lnTo>
                    <a:lnTo>
                      <a:pt x="117" y="39"/>
                    </a:lnTo>
                    <a:lnTo>
                      <a:pt x="119" y="39"/>
                    </a:lnTo>
                    <a:lnTo>
                      <a:pt x="117" y="39"/>
                    </a:lnTo>
                    <a:lnTo>
                      <a:pt x="116" y="39"/>
                    </a:lnTo>
                    <a:lnTo>
                      <a:pt x="114" y="41"/>
                    </a:lnTo>
                    <a:lnTo>
                      <a:pt x="112" y="41"/>
                    </a:lnTo>
                    <a:lnTo>
                      <a:pt x="111" y="41"/>
                    </a:lnTo>
                    <a:lnTo>
                      <a:pt x="109" y="41"/>
                    </a:lnTo>
                    <a:lnTo>
                      <a:pt x="107" y="41"/>
                    </a:lnTo>
                    <a:lnTo>
                      <a:pt x="109" y="39"/>
                    </a:lnTo>
                    <a:lnTo>
                      <a:pt x="107" y="39"/>
                    </a:lnTo>
                    <a:lnTo>
                      <a:pt x="107" y="41"/>
                    </a:lnTo>
                    <a:lnTo>
                      <a:pt x="106" y="41"/>
                    </a:lnTo>
                    <a:lnTo>
                      <a:pt x="104" y="39"/>
                    </a:lnTo>
                    <a:lnTo>
                      <a:pt x="104" y="41"/>
                    </a:lnTo>
                    <a:lnTo>
                      <a:pt x="104" y="39"/>
                    </a:lnTo>
                    <a:lnTo>
                      <a:pt x="104" y="41"/>
                    </a:lnTo>
                    <a:lnTo>
                      <a:pt x="106" y="41"/>
                    </a:lnTo>
                    <a:lnTo>
                      <a:pt x="107" y="41"/>
                    </a:lnTo>
                    <a:lnTo>
                      <a:pt x="106" y="43"/>
                    </a:lnTo>
                    <a:lnTo>
                      <a:pt x="107" y="41"/>
                    </a:lnTo>
                    <a:lnTo>
                      <a:pt x="109" y="43"/>
                    </a:lnTo>
                    <a:lnTo>
                      <a:pt x="107" y="43"/>
                    </a:lnTo>
                    <a:lnTo>
                      <a:pt x="106" y="43"/>
                    </a:lnTo>
                    <a:lnTo>
                      <a:pt x="104" y="43"/>
                    </a:lnTo>
                    <a:lnTo>
                      <a:pt x="104" y="45"/>
                    </a:lnTo>
                    <a:lnTo>
                      <a:pt x="102" y="45"/>
                    </a:lnTo>
                    <a:lnTo>
                      <a:pt x="100" y="45"/>
                    </a:lnTo>
                    <a:lnTo>
                      <a:pt x="102" y="45"/>
                    </a:lnTo>
                    <a:lnTo>
                      <a:pt x="104" y="45"/>
                    </a:lnTo>
                    <a:lnTo>
                      <a:pt x="104" y="43"/>
                    </a:lnTo>
                    <a:lnTo>
                      <a:pt x="106" y="43"/>
                    </a:lnTo>
                    <a:lnTo>
                      <a:pt x="106" y="45"/>
                    </a:lnTo>
                    <a:lnTo>
                      <a:pt x="107" y="45"/>
                    </a:lnTo>
                    <a:lnTo>
                      <a:pt x="106" y="45"/>
                    </a:lnTo>
                    <a:lnTo>
                      <a:pt x="106" y="46"/>
                    </a:lnTo>
                    <a:lnTo>
                      <a:pt x="104" y="46"/>
                    </a:lnTo>
                    <a:lnTo>
                      <a:pt x="106" y="46"/>
                    </a:lnTo>
                    <a:lnTo>
                      <a:pt x="104" y="46"/>
                    </a:lnTo>
                    <a:lnTo>
                      <a:pt x="102" y="46"/>
                    </a:lnTo>
                    <a:lnTo>
                      <a:pt x="102" y="48"/>
                    </a:lnTo>
                    <a:lnTo>
                      <a:pt x="104" y="48"/>
                    </a:lnTo>
                    <a:lnTo>
                      <a:pt x="102" y="48"/>
                    </a:lnTo>
                    <a:lnTo>
                      <a:pt x="100" y="48"/>
                    </a:lnTo>
                    <a:lnTo>
                      <a:pt x="100" y="50"/>
                    </a:lnTo>
                    <a:lnTo>
                      <a:pt x="99" y="50"/>
                    </a:lnTo>
                    <a:lnTo>
                      <a:pt x="100" y="50"/>
                    </a:lnTo>
                    <a:lnTo>
                      <a:pt x="99" y="50"/>
                    </a:lnTo>
                    <a:lnTo>
                      <a:pt x="97" y="50"/>
                    </a:lnTo>
                    <a:lnTo>
                      <a:pt x="97" y="48"/>
                    </a:lnTo>
                    <a:lnTo>
                      <a:pt x="99" y="50"/>
                    </a:lnTo>
                    <a:lnTo>
                      <a:pt x="100" y="50"/>
                    </a:lnTo>
                    <a:lnTo>
                      <a:pt x="99" y="48"/>
                    </a:lnTo>
                    <a:lnTo>
                      <a:pt x="100" y="48"/>
                    </a:lnTo>
                    <a:lnTo>
                      <a:pt x="99" y="48"/>
                    </a:lnTo>
                    <a:lnTo>
                      <a:pt x="97" y="48"/>
                    </a:lnTo>
                    <a:lnTo>
                      <a:pt x="95" y="48"/>
                    </a:lnTo>
                    <a:lnTo>
                      <a:pt x="94" y="48"/>
                    </a:lnTo>
                    <a:lnTo>
                      <a:pt x="94" y="50"/>
                    </a:lnTo>
                    <a:lnTo>
                      <a:pt x="94" y="48"/>
                    </a:lnTo>
                    <a:lnTo>
                      <a:pt x="92" y="48"/>
                    </a:lnTo>
                    <a:lnTo>
                      <a:pt x="90" y="48"/>
                    </a:lnTo>
                    <a:lnTo>
                      <a:pt x="92" y="48"/>
                    </a:lnTo>
                    <a:lnTo>
                      <a:pt x="90" y="48"/>
                    </a:lnTo>
                    <a:lnTo>
                      <a:pt x="89" y="48"/>
                    </a:lnTo>
                    <a:lnTo>
                      <a:pt x="87" y="48"/>
                    </a:lnTo>
                    <a:lnTo>
                      <a:pt x="85" y="46"/>
                    </a:lnTo>
                    <a:lnTo>
                      <a:pt x="83" y="45"/>
                    </a:lnTo>
                    <a:lnTo>
                      <a:pt x="83" y="46"/>
                    </a:lnTo>
                    <a:lnTo>
                      <a:pt x="85" y="46"/>
                    </a:lnTo>
                    <a:lnTo>
                      <a:pt x="83" y="46"/>
                    </a:lnTo>
                    <a:lnTo>
                      <a:pt x="82" y="45"/>
                    </a:lnTo>
                    <a:lnTo>
                      <a:pt x="82" y="43"/>
                    </a:lnTo>
                    <a:lnTo>
                      <a:pt x="80" y="43"/>
                    </a:lnTo>
                    <a:lnTo>
                      <a:pt x="82" y="43"/>
                    </a:lnTo>
                    <a:lnTo>
                      <a:pt x="80" y="45"/>
                    </a:lnTo>
                    <a:lnTo>
                      <a:pt x="80" y="46"/>
                    </a:lnTo>
                    <a:lnTo>
                      <a:pt x="78" y="46"/>
                    </a:lnTo>
                    <a:lnTo>
                      <a:pt x="77" y="46"/>
                    </a:lnTo>
                    <a:lnTo>
                      <a:pt x="77" y="45"/>
                    </a:lnTo>
                    <a:lnTo>
                      <a:pt x="75" y="45"/>
                    </a:lnTo>
                    <a:lnTo>
                      <a:pt x="77" y="46"/>
                    </a:lnTo>
                    <a:lnTo>
                      <a:pt x="75" y="48"/>
                    </a:lnTo>
                    <a:lnTo>
                      <a:pt x="77" y="46"/>
                    </a:lnTo>
                    <a:lnTo>
                      <a:pt x="78" y="46"/>
                    </a:lnTo>
                    <a:lnTo>
                      <a:pt x="78" y="48"/>
                    </a:lnTo>
                    <a:lnTo>
                      <a:pt x="80" y="46"/>
                    </a:lnTo>
                    <a:lnTo>
                      <a:pt x="82" y="46"/>
                    </a:lnTo>
                    <a:lnTo>
                      <a:pt x="82" y="48"/>
                    </a:lnTo>
                    <a:lnTo>
                      <a:pt x="83" y="48"/>
                    </a:lnTo>
                    <a:lnTo>
                      <a:pt x="85" y="50"/>
                    </a:lnTo>
                    <a:lnTo>
                      <a:pt x="87" y="50"/>
                    </a:lnTo>
                    <a:lnTo>
                      <a:pt x="87" y="51"/>
                    </a:lnTo>
                    <a:lnTo>
                      <a:pt x="85" y="50"/>
                    </a:lnTo>
                    <a:lnTo>
                      <a:pt x="83" y="50"/>
                    </a:lnTo>
                    <a:lnTo>
                      <a:pt x="85" y="50"/>
                    </a:lnTo>
                    <a:lnTo>
                      <a:pt x="85" y="51"/>
                    </a:lnTo>
                    <a:lnTo>
                      <a:pt x="85" y="50"/>
                    </a:lnTo>
                    <a:lnTo>
                      <a:pt x="87" y="51"/>
                    </a:lnTo>
                    <a:lnTo>
                      <a:pt x="87" y="53"/>
                    </a:lnTo>
                    <a:lnTo>
                      <a:pt x="87" y="51"/>
                    </a:lnTo>
                    <a:lnTo>
                      <a:pt x="89" y="51"/>
                    </a:lnTo>
                    <a:lnTo>
                      <a:pt x="90" y="51"/>
                    </a:lnTo>
                    <a:lnTo>
                      <a:pt x="90" y="53"/>
                    </a:lnTo>
                    <a:lnTo>
                      <a:pt x="90" y="51"/>
                    </a:lnTo>
                    <a:lnTo>
                      <a:pt x="92" y="53"/>
                    </a:lnTo>
                    <a:lnTo>
                      <a:pt x="92" y="51"/>
                    </a:lnTo>
                    <a:lnTo>
                      <a:pt x="92" y="53"/>
                    </a:lnTo>
                    <a:lnTo>
                      <a:pt x="94" y="53"/>
                    </a:lnTo>
                    <a:lnTo>
                      <a:pt x="92" y="55"/>
                    </a:lnTo>
                    <a:lnTo>
                      <a:pt x="94" y="55"/>
                    </a:lnTo>
                    <a:lnTo>
                      <a:pt x="92" y="55"/>
                    </a:lnTo>
                    <a:lnTo>
                      <a:pt x="90" y="55"/>
                    </a:lnTo>
                    <a:lnTo>
                      <a:pt x="92" y="56"/>
                    </a:lnTo>
                    <a:lnTo>
                      <a:pt x="90" y="56"/>
                    </a:lnTo>
                    <a:lnTo>
                      <a:pt x="90" y="58"/>
                    </a:lnTo>
                    <a:lnTo>
                      <a:pt x="92" y="58"/>
                    </a:lnTo>
                    <a:lnTo>
                      <a:pt x="92" y="60"/>
                    </a:lnTo>
                    <a:lnTo>
                      <a:pt x="90" y="62"/>
                    </a:lnTo>
                    <a:lnTo>
                      <a:pt x="90" y="60"/>
                    </a:lnTo>
                    <a:lnTo>
                      <a:pt x="90" y="58"/>
                    </a:lnTo>
                    <a:lnTo>
                      <a:pt x="89" y="58"/>
                    </a:lnTo>
                    <a:lnTo>
                      <a:pt x="89" y="56"/>
                    </a:lnTo>
                    <a:lnTo>
                      <a:pt x="87" y="56"/>
                    </a:lnTo>
                    <a:lnTo>
                      <a:pt x="85" y="56"/>
                    </a:lnTo>
                    <a:lnTo>
                      <a:pt x="83" y="56"/>
                    </a:lnTo>
                    <a:lnTo>
                      <a:pt x="83" y="58"/>
                    </a:lnTo>
                    <a:lnTo>
                      <a:pt x="82" y="58"/>
                    </a:lnTo>
                    <a:lnTo>
                      <a:pt x="82" y="60"/>
                    </a:lnTo>
                    <a:lnTo>
                      <a:pt x="82" y="58"/>
                    </a:lnTo>
                    <a:lnTo>
                      <a:pt x="82" y="56"/>
                    </a:lnTo>
                    <a:lnTo>
                      <a:pt x="80" y="58"/>
                    </a:lnTo>
                    <a:lnTo>
                      <a:pt x="80" y="60"/>
                    </a:lnTo>
                    <a:lnTo>
                      <a:pt x="80" y="58"/>
                    </a:lnTo>
                    <a:lnTo>
                      <a:pt x="80" y="56"/>
                    </a:lnTo>
                    <a:lnTo>
                      <a:pt x="78" y="56"/>
                    </a:lnTo>
                    <a:lnTo>
                      <a:pt x="78" y="55"/>
                    </a:lnTo>
                    <a:lnTo>
                      <a:pt x="78" y="56"/>
                    </a:lnTo>
                    <a:lnTo>
                      <a:pt x="77" y="56"/>
                    </a:lnTo>
                    <a:lnTo>
                      <a:pt x="77" y="55"/>
                    </a:lnTo>
                    <a:lnTo>
                      <a:pt x="75" y="55"/>
                    </a:lnTo>
                    <a:lnTo>
                      <a:pt x="75" y="53"/>
                    </a:lnTo>
                    <a:lnTo>
                      <a:pt x="73" y="53"/>
                    </a:lnTo>
                    <a:lnTo>
                      <a:pt x="75" y="53"/>
                    </a:lnTo>
                    <a:lnTo>
                      <a:pt x="73" y="55"/>
                    </a:lnTo>
                    <a:lnTo>
                      <a:pt x="72" y="55"/>
                    </a:lnTo>
                    <a:lnTo>
                      <a:pt x="72" y="53"/>
                    </a:lnTo>
                    <a:lnTo>
                      <a:pt x="70" y="55"/>
                    </a:lnTo>
                    <a:lnTo>
                      <a:pt x="68" y="55"/>
                    </a:lnTo>
                    <a:lnTo>
                      <a:pt x="70" y="55"/>
                    </a:lnTo>
                    <a:lnTo>
                      <a:pt x="72" y="55"/>
                    </a:lnTo>
                    <a:lnTo>
                      <a:pt x="73" y="55"/>
                    </a:lnTo>
                    <a:lnTo>
                      <a:pt x="73" y="56"/>
                    </a:lnTo>
                    <a:lnTo>
                      <a:pt x="72" y="56"/>
                    </a:lnTo>
                    <a:lnTo>
                      <a:pt x="73" y="56"/>
                    </a:lnTo>
                    <a:lnTo>
                      <a:pt x="73" y="58"/>
                    </a:lnTo>
                    <a:lnTo>
                      <a:pt x="75" y="56"/>
                    </a:lnTo>
                    <a:lnTo>
                      <a:pt x="75" y="58"/>
                    </a:lnTo>
                    <a:lnTo>
                      <a:pt x="77" y="58"/>
                    </a:lnTo>
                    <a:lnTo>
                      <a:pt x="75" y="58"/>
                    </a:lnTo>
                    <a:lnTo>
                      <a:pt x="73" y="60"/>
                    </a:lnTo>
                    <a:lnTo>
                      <a:pt x="75" y="60"/>
                    </a:lnTo>
                    <a:lnTo>
                      <a:pt x="77" y="60"/>
                    </a:lnTo>
                    <a:lnTo>
                      <a:pt x="77" y="62"/>
                    </a:lnTo>
                    <a:lnTo>
                      <a:pt x="75" y="60"/>
                    </a:lnTo>
                    <a:lnTo>
                      <a:pt x="75" y="62"/>
                    </a:lnTo>
                    <a:lnTo>
                      <a:pt x="73" y="62"/>
                    </a:lnTo>
                    <a:lnTo>
                      <a:pt x="75" y="62"/>
                    </a:lnTo>
                    <a:lnTo>
                      <a:pt x="75" y="63"/>
                    </a:lnTo>
                    <a:lnTo>
                      <a:pt x="75" y="62"/>
                    </a:lnTo>
                    <a:lnTo>
                      <a:pt x="77" y="62"/>
                    </a:lnTo>
                    <a:lnTo>
                      <a:pt x="75" y="63"/>
                    </a:lnTo>
                    <a:lnTo>
                      <a:pt x="77" y="63"/>
                    </a:lnTo>
                    <a:lnTo>
                      <a:pt x="77" y="62"/>
                    </a:lnTo>
                    <a:lnTo>
                      <a:pt x="78" y="62"/>
                    </a:lnTo>
                    <a:lnTo>
                      <a:pt x="78" y="63"/>
                    </a:lnTo>
                    <a:lnTo>
                      <a:pt x="77" y="63"/>
                    </a:lnTo>
                    <a:lnTo>
                      <a:pt x="78" y="63"/>
                    </a:lnTo>
                    <a:lnTo>
                      <a:pt x="77" y="63"/>
                    </a:lnTo>
                    <a:lnTo>
                      <a:pt x="77" y="65"/>
                    </a:lnTo>
                    <a:lnTo>
                      <a:pt x="78" y="65"/>
                    </a:lnTo>
                    <a:lnTo>
                      <a:pt x="78" y="67"/>
                    </a:lnTo>
                    <a:lnTo>
                      <a:pt x="78" y="68"/>
                    </a:lnTo>
                    <a:lnTo>
                      <a:pt x="77" y="67"/>
                    </a:lnTo>
                    <a:lnTo>
                      <a:pt x="75" y="67"/>
                    </a:lnTo>
                    <a:lnTo>
                      <a:pt x="75" y="65"/>
                    </a:lnTo>
                    <a:lnTo>
                      <a:pt x="73" y="65"/>
                    </a:lnTo>
                    <a:lnTo>
                      <a:pt x="72" y="67"/>
                    </a:lnTo>
                    <a:lnTo>
                      <a:pt x="72" y="65"/>
                    </a:lnTo>
                    <a:lnTo>
                      <a:pt x="72" y="63"/>
                    </a:lnTo>
                    <a:lnTo>
                      <a:pt x="70" y="63"/>
                    </a:lnTo>
                    <a:lnTo>
                      <a:pt x="68" y="63"/>
                    </a:lnTo>
                    <a:lnTo>
                      <a:pt x="70" y="63"/>
                    </a:lnTo>
                    <a:lnTo>
                      <a:pt x="70" y="62"/>
                    </a:lnTo>
                    <a:lnTo>
                      <a:pt x="68" y="63"/>
                    </a:lnTo>
                    <a:lnTo>
                      <a:pt x="68" y="62"/>
                    </a:lnTo>
                    <a:lnTo>
                      <a:pt x="68" y="63"/>
                    </a:lnTo>
                    <a:lnTo>
                      <a:pt x="68" y="62"/>
                    </a:lnTo>
                    <a:lnTo>
                      <a:pt x="66" y="60"/>
                    </a:lnTo>
                    <a:lnTo>
                      <a:pt x="66" y="62"/>
                    </a:lnTo>
                    <a:lnTo>
                      <a:pt x="66" y="60"/>
                    </a:lnTo>
                    <a:lnTo>
                      <a:pt x="66" y="62"/>
                    </a:lnTo>
                    <a:lnTo>
                      <a:pt x="66" y="63"/>
                    </a:lnTo>
                    <a:lnTo>
                      <a:pt x="65" y="63"/>
                    </a:lnTo>
                    <a:lnTo>
                      <a:pt x="65" y="62"/>
                    </a:lnTo>
                    <a:lnTo>
                      <a:pt x="63" y="63"/>
                    </a:lnTo>
                    <a:lnTo>
                      <a:pt x="65" y="63"/>
                    </a:lnTo>
                    <a:lnTo>
                      <a:pt x="66" y="63"/>
                    </a:lnTo>
                    <a:lnTo>
                      <a:pt x="66" y="65"/>
                    </a:lnTo>
                    <a:lnTo>
                      <a:pt x="65" y="63"/>
                    </a:lnTo>
                    <a:lnTo>
                      <a:pt x="65" y="65"/>
                    </a:lnTo>
                    <a:lnTo>
                      <a:pt x="65" y="67"/>
                    </a:lnTo>
                    <a:lnTo>
                      <a:pt x="65" y="65"/>
                    </a:lnTo>
                    <a:lnTo>
                      <a:pt x="66" y="65"/>
                    </a:lnTo>
                    <a:lnTo>
                      <a:pt x="65" y="67"/>
                    </a:lnTo>
                    <a:lnTo>
                      <a:pt x="66" y="65"/>
                    </a:lnTo>
                    <a:lnTo>
                      <a:pt x="68" y="65"/>
                    </a:lnTo>
                    <a:lnTo>
                      <a:pt x="68" y="67"/>
                    </a:lnTo>
                    <a:lnTo>
                      <a:pt x="66" y="67"/>
                    </a:lnTo>
                    <a:lnTo>
                      <a:pt x="68" y="67"/>
                    </a:lnTo>
                    <a:lnTo>
                      <a:pt x="68" y="68"/>
                    </a:lnTo>
                    <a:lnTo>
                      <a:pt x="66" y="68"/>
                    </a:lnTo>
                    <a:lnTo>
                      <a:pt x="65" y="70"/>
                    </a:lnTo>
                    <a:lnTo>
                      <a:pt x="66" y="70"/>
                    </a:lnTo>
                    <a:lnTo>
                      <a:pt x="66" y="68"/>
                    </a:lnTo>
                    <a:lnTo>
                      <a:pt x="68" y="68"/>
                    </a:lnTo>
                    <a:lnTo>
                      <a:pt x="68" y="70"/>
                    </a:lnTo>
                    <a:lnTo>
                      <a:pt x="66" y="70"/>
                    </a:lnTo>
                    <a:lnTo>
                      <a:pt x="66" y="72"/>
                    </a:lnTo>
                    <a:lnTo>
                      <a:pt x="68" y="72"/>
                    </a:lnTo>
                    <a:lnTo>
                      <a:pt x="68" y="73"/>
                    </a:lnTo>
                    <a:lnTo>
                      <a:pt x="70" y="72"/>
                    </a:lnTo>
                    <a:lnTo>
                      <a:pt x="70" y="73"/>
                    </a:lnTo>
                    <a:lnTo>
                      <a:pt x="68" y="73"/>
                    </a:lnTo>
                    <a:lnTo>
                      <a:pt x="66" y="73"/>
                    </a:lnTo>
                    <a:lnTo>
                      <a:pt x="66" y="72"/>
                    </a:lnTo>
                    <a:lnTo>
                      <a:pt x="65" y="72"/>
                    </a:lnTo>
                    <a:lnTo>
                      <a:pt x="65" y="70"/>
                    </a:lnTo>
                    <a:lnTo>
                      <a:pt x="63" y="70"/>
                    </a:lnTo>
                    <a:lnTo>
                      <a:pt x="63" y="72"/>
                    </a:lnTo>
                    <a:lnTo>
                      <a:pt x="63" y="70"/>
                    </a:lnTo>
                    <a:lnTo>
                      <a:pt x="63" y="68"/>
                    </a:lnTo>
                    <a:lnTo>
                      <a:pt x="63" y="67"/>
                    </a:lnTo>
                    <a:lnTo>
                      <a:pt x="61" y="68"/>
                    </a:lnTo>
                    <a:lnTo>
                      <a:pt x="60" y="68"/>
                    </a:lnTo>
                    <a:lnTo>
                      <a:pt x="60" y="67"/>
                    </a:lnTo>
                    <a:lnTo>
                      <a:pt x="61" y="65"/>
                    </a:lnTo>
                    <a:lnTo>
                      <a:pt x="60" y="65"/>
                    </a:lnTo>
                    <a:lnTo>
                      <a:pt x="58" y="65"/>
                    </a:lnTo>
                    <a:lnTo>
                      <a:pt x="58" y="63"/>
                    </a:lnTo>
                    <a:lnTo>
                      <a:pt x="56" y="62"/>
                    </a:lnTo>
                    <a:lnTo>
                      <a:pt x="55" y="62"/>
                    </a:lnTo>
                    <a:lnTo>
                      <a:pt x="56" y="60"/>
                    </a:lnTo>
                    <a:lnTo>
                      <a:pt x="55" y="60"/>
                    </a:lnTo>
                    <a:lnTo>
                      <a:pt x="56" y="60"/>
                    </a:lnTo>
                    <a:lnTo>
                      <a:pt x="58" y="60"/>
                    </a:lnTo>
                    <a:lnTo>
                      <a:pt x="58" y="62"/>
                    </a:lnTo>
                    <a:lnTo>
                      <a:pt x="60" y="60"/>
                    </a:lnTo>
                    <a:lnTo>
                      <a:pt x="58" y="60"/>
                    </a:lnTo>
                    <a:lnTo>
                      <a:pt x="58" y="58"/>
                    </a:lnTo>
                    <a:lnTo>
                      <a:pt x="60" y="60"/>
                    </a:lnTo>
                    <a:lnTo>
                      <a:pt x="60" y="58"/>
                    </a:lnTo>
                    <a:lnTo>
                      <a:pt x="61" y="58"/>
                    </a:lnTo>
                    <a:lnTo>
                      <a:pt x="60" y="56"/>
                    </a:lnTo>
                    <a:lnTo>
                      <a:pt x="58" y="56"/>
                    </a:lnTo>
                    <a:lnTo>
                      <a:pt x="60" y="55"/>
                    </a:lnTo>
                    <a:lnTo>
                      <a:pt x="58" y="55"/>
                    </a:lnTo>
                    <a:lnTo>
                      <a:pt x="60" y="53"/>
                    </a:lnTo>
                    <a:lnTo>
                      <a:pt x="60" y="55"/>
                    </a:lnTo>
                    <a:lnTo>
                      <a:pt x="61" y="55"/>
                    </a:lnTo>
                    <a:lnTo>
                      <a:pt x="60" y="53"/>
                    </a:lnTo>
                    <a:lnTo>
                      <a:pt x="58" y="53"/>
                    </a:lnTo>
                    <a:lnTo>
                      <a:pt x="60" y="53"/>
                    </a:lnTo>
                    <a:lnTo>
                      <a:pt x="61" y="53"/>
                    </a:lnTo>
                    <a:lnTo>
                      <a:pt x="61" y="51"/>
                    </a:lnTo>
                    <a:lnTo>
                      <a:pt x="61" y="53"/>
                    </a:lnTo>
                    <a:lnTo>
                      <a:pt x="61" y="51"/>
                    </a:lnTo>
                    <a:lnTo>
                      <a:pt x="60" y="51"/>
                    </a:lnTo>
                    <a:lnTo>
                      <a:pt x="58" y="51"/>
                    </a:lnTo>
                    <a:lnTo>
                      <a:pt x="60" y="51"/>
                    </a:lnTo>
                    <a:lnTo>
                      <a:pt x="60" y="50"/>
                    </a:lnTo>
                    <a:lnTo>
                      <a:pt x="60" y="48"/>
                    </a:lnTo>
                    <a:lnTo>
                      <a:pt x="60" y="50"/>
                    </a:lnTo>
                    <a:lnTo>
                      <a:pt x="61" y="50"/>
                    </a:lnTo>
                    <a:lnTo>
                      <a:pt x="61" y="51"/>
                    </a:lnTo>
                    <a:lnTo>
                      <a:pt x="63" y="50"/>
                    </a:lnTo>
                    <a:lnTo>
                      <a:pt x="61" y="50"/>
                    </a:lnTo>
                    <a:lnTo>
                      <a:pt x="61" y="48"/>
                    </a:lnTo>
                    <a:lnTo>
                      <a:pt x="61" y="46"/>
                    </a:lnTo>
                    <a:lnTo>
                      <a:pt x="61" y="48"/>
                    </a:lnTo>
                    <a:lnTo>
                      <a:pt x="63" y="48"/>
                    </a:lnTo>
                    <a:lnTo>
                      <a:pt x="65" y="48"/>
                    </a:lnTo>
                    <a:lnTo>
                      <a:pt x="63" y="48"/>
                    </a:lnTo>
                    <a:lnTo>
                      <a:pt x="65" y="46"/>
                    </a:lnTo>
                    <a:lnTo>
                      <a:pt x="63" y="46"/>
                    </a:lnTo>
                    <a:lnTo>
                      <a:pt x="61" y="46"/>
                    </a:lnTo>
                    <a:lnTo>
                      <a:pt x="63" y="45"/>
                    </a:lnTo>
                    <a:lnTo>
                      <a:pt x="65" y="45"/>
                    </a:lnTo>
                    <a:lnTo>
                      <a:pt x="65" y="46"/>
                    </a:lnTo>
                    <a:lnTo>
                      <a:pt x="65" y="45"/>
                    </a:lnTo>
                    <a:lnTo>
                      <a:pt x="66" y="43"/>
                    </a:lnTo>
                    <a:lnTo>
                      <a:pt x="65" y="45"/>
                    </a:lnTo>
                    <a:lnTo>
                      <a:pt x="66" y="45"/>
                    </a:lnTo>
                    <a:lnTo>
                      <a:pt x="66" y="46"/>
                    </a:lnTo>
                    <a:lnTo>
                      <a:pt x="66" y="45"/>
                    </a:lnTo>
                    <a:lnTo>
                      <a:pt x="68" y="45"/>
                    </a:lnTo>
                    <a:lnTo>
                      <a:pt x="68" y="43"/>
                    </a:lnTo>
                    <a:lnTo>
                      <a:pt x="70" y="43"/>
                    </a:lnTo>
                    <a:lnTo>
                      <a:pt x="70" y="41"/>
                    </a:lnTo>
                    <a:lnTo>
                      <a:pt x="70" y="39"/>
                    </a:lnTo>
                    <a:lnTo>
                      <a:pt x="72" y="41"/>
                    </a:lnTo>
                    <a:lnTo>
                      <a:pt x="72" y="39"/>
                    </a:lnTo>
                    <a:lnTo>
                      <a:pt x="72" y="38"/>
                    </a:lnTo>
                    <a:lnTo>
                      <a:pt x="72" y="39"/>
                    </a:lnTo>
                    <a:lnTo>
                      <a:pt x="72" y="41"/>
                    </a:lnTo>
                    <a:lnTo>
                      <a:pt x="72" y="39"/>
                    </a:lnTo>
                    <a:lnTo>
                      <a:pt x="73" y="39"/>
                    </a:lnTo>
                    <a:lnTo>
                      <a:pt x="75" y="38"/>
                    </a:lnTo>
                    <a:lnTo>
                      <a:pt x="77" y="38"/>
                    </a:lnTo>
                    <a:lnTo>
                      <a:pt x="78" y="38"/>
                    </a:lnTo>
                    <a:lnTo>
                      <a:pt x="78" y="39"/>
                    </a:lnTo>
                    <a:lnTo>
                      <a:pt x="78" y="41"/>
                    </a:lnTo>
                    <a:lnTo>
                      <a:pt x="77" y="43"/>
                    </a:lnTo>
                    <a:lnTo>
                      <a:pt x="78" y="43"/>
                    </a:lnTo>
                    <a:lnTo>
                      <a:pt x="78" y="45"/>
                    </a:lnTo>
                    <a:lnTo>
                      <a:pt x="80" y="43"/>
                    </a:lnTo>
                    <a:lnTo>
                      <a:pt x="82" y="41"/>
                    </a:lnTo>
                    <a:lnTo>
                      <a:pt x="80" y="41"/>
                    </a:lnTo>
                    <a:lnTo>
                      <a:pt x="80" y="43"/>
                    </a:lnTo>
                    <a:lnTo>
                      <a:pt x="80" y="41"/>
                    </a:lnTo>
                    <a:lnTo>
                      <a:pt x="80" y="39"/>
                    </a:lnTo>
                    <a:lnTo>
                      <a:pt x="80" y="38"/>
                    </a:lnTo>
                    <a:lnTo>
                      <a:pt x="78" y="38"/>
                    </a:lnTo>
                    <a:lnTo>
                      <a:pt x="78" y="36"/>
                    </a:lnTo>
                    <a:lnTo>
                      <a:pt x="80" y="36"/>
                    </a:lnTo>
                    <a:lnTo>
                      <a:pt x="78" y="36"/>
                    </a:lnTo>
                    <a:lnTo>
                      <a:pt x="78" y="34"/>
                    </a:lnTo>
                    <a:lnTo>
                      <a:pt x="80" y="36"/>
                    </a:lnTo>
                    <a:lnTo>
                      <a:pt x="78" y="34"/>
                    </a:lnTo>
                    <a:lnTo>
                      <a:pt x="77" y="34"/>
                    </a:lnTo>
                    <a:lnTo>
                      <a:pt x="77" y="33"/>
                    </a:lnTo>
                    <a:lnTo>
                      <a:pt x="75" y="33"/>
                    </a:lnTo>
                    <a:lnTo>
                      <a:pt x="73" y="33"/>
                    </a:lnTo>
                    <a:lnTo>
                      <a:pt x="73" y="31"/>
                    </a:lnTo>
                    <a:lnTo>
                      <a:pt x="75" y="31"/>
                    </a:lnTo>
                    <a:lnTo>
                      <a:pt x="75" y="29"/>
                    </a:lnTo>
                    <a:lnTo>
                      <a:pt x="75" y="27"/>
                    </a:lnTo>
                    <a:lnTo>
                      <a:pt x="75" y="26"/>
                    </a:lnTo>
                    <a:lnTo>
                      <a:pt x="75" y="27"/>
                    </a:lnTo>
                    <a:lnTo>
                      <a:pt x="77" y="27"/>
                    </a:lnTo>
                    <a:lnTo>
                      <a:pt x="77" y="29"/>
                    </a:lnTo>
                    <a:lnTo>
                      <a:pt x="77" y="31"/>
                    </a:lnTo>
                    <a:lnTo>
                      <a:pt x="78" y="31"/>
                    </a:lnTo>
                    <a:lnTo>
                      <a:pt x="78" y="33"/>
                    </a:lnTo>
                    <a:lnTo>
                      <a:pt x="78" y="31"/>
                    </a:lnTo>
                    <a:lnTo>
                      <a:pt x="78" y="29"/>
                    </a:lnTo>
                    <a:lnTo>
                      <a:pt x="77" y="27"/>
                    </a:lnTo>
                    <a:lnTo>
                      <a:pt x="78" y="27"/>
                    </a:lnTo>
                    <a:lnTo>
                      <a:pt x="80" y="27"/>
                    </a:lnTo>
                    <a:lnTo>
                      <a:pt x="82" y="27"/>
                    </a:lnTo>
                    <a:lnTo>
                      <a:pt x="82" y="29"/>
                    </a:lnTo>
                    <a:lnTo>
                      <a:pt x="82" y="27"/>
                    </a:lnTo>
                    <a:lnTo>
                      <a:pt x="83" y="27"/>
                    </a:lnTo>
                    <a:lnTo>
                      <a:pt x="85" y="27"/>
                    </a:lnTo>
                    <a:lnTo>
                      <a:pt x="83" y="27"/>
                    </a:lnTo>
                    <a:lnTo>
                      <a:pt x="82" y="27"/>
                    </a:lnTo>
                    <a:lnTo>
                      <a:pt x="80" y="27"/>
                    </a:lnTo>
                    <a:lnTo>
                      <a:pt x="78" y="26"/>
                    </a:lnTo>
                    <a:lnTo>
                      <a:pt x="77" y="26"/>
                    </a:lnTo>
                    <a:lnTo>
                      <a:pt x="77" y="24"/>
                    </a:lnTo>
                    <a:lnTo>
                      <a:pt x="75" y="26"/>
                    </a:lnTo>
                    <a:lnTo>
                      <a:pt x="75" y="24"/>
                    </a:lnTo>
                    <a:lnTo>
                      <a:pt x="75" y="22"/>
                    </a:lnTo>
                    <a:lnTo>
                      <a:pt x="77" y="22"/>
                    </a:lnTo>
                    <a:lnTo>
                      <a:pt x="78" y="22"/>
                    </a:lnTo>
                    <a:lnTo>
                      <a:pt x="80" y="22"/>
                    </a:lnTo>
                    <a:lnTo>
                      <a:pt x="80" y="24"/>
                    </a:lnTo>
                    <a:lnTo>
                      <a:pt x="80" y="22"/>
                    </a:lnTo>
                    <a:lnTo>
                      <a:pt x="78" y="22"/>
                    </a:lnTo>
                    <a:lnTo>
                      <a:pt x="80" y="22"/>
                    </a:lnTo>
                    <a:lnTo>
                      <a:pt x="80" y="21"/>
                    </a:lnTo>
                    <a:lnTo>
                      <a:pt x="82" y="21"/>
                    </a:lnTo>
                    <a:lnTo>
                      <a:pt x="83" y="21"/>
                    </a:lnTo>
                    <a:lnTo>
                      <a:pt x="83" y="19"/>
                    </a:lnTo>
                    <a:lnTo>
                      <a:pt x="83" y="17"/>
                    </a:lnTo>
                    <a:lnTo>
                      <a:pt x="82" y="17"/>
                    </a:lnTo>
                    <a:lnTo>
                      <a:pt x="82" y="16"/>
                    </a:lnTo>
                    <a:lnTo>
                      <a:pt x="82" y="14"/>
                    </a:lnTo>
                    <a:lnTo>
                      <a:pt x="80" y="14"/>
                    </a:lnTo>
                    <a:lnTo>
                      <a:pt x="82" y="14"/>
                    </a:lnTo>
                    <a:lnTo>
                      <a:pt x="80" y="12"/>
                    </a:lnTo>
                    <a:close/>
                    <a:moveTo>
                      <a:pt x="66" y="19"/>
                    </a:moveTo>
                    <a:lnTo>
                      <a:pt x="68" y="19"/>
                    </a:lnTo>
                    <a:lnTo>
                      <a:pt x="70" y="21"/>
                    </a:lnTo>
                    <a:lnTo>
                      <a:pt x="72" y="21"/>
                    </a:lnTo>
                    <a:lnTo>
                      <a:pt x="73" y="21"/>
                    </a:lnTo>
                    <a:lnTo>
                      <a:pt x="72" y="22"/>
                    </a:lnTo>
                    <a:lnTo>
                      <a:pt x="70" y="22"/>
                    </a:lnTo>
                    <a:lnTo>
                      <a:pt x="70" y="24"/>
                    </a:lnTo>
                    <a:lnTo>
                      <a:pt x="72" y="24"/>
                    </a:lnTo>
                    <a:lnTo>
                      <a:pt x="73" y="22"/>
                    </a:lnTo>
                    <a:lnTo>
                      <a:pt x="72" y="24"/>
                    </a:lnTo>
                    <a:lnTo>
                      <a:pt x="70" y="26"/>
                    </a:lnTo>
                    <a:lnTo>
                      <a:pt x="70" y="27"/>
                    </a:lnTo>
                    <a:lnTo>
                      <a:pt x="68" y="27"/>
                    </a:lnTo>
                    <a:lnTo>
                      <a:pt x="68" y="26"/>
                    </a:lnTo>
                    <a:lnTo>
                      <a:pt x="66" y="26"/>
                    </a:lnTo>
                    <a:lnTo>
                      <a:pt x="68" y="27"/>
                    </a:lnTo>
                    <a:lnTo>
                      <a:pt x="66" y="26"/>
                    </a:lnTo>
                    <a:lnTo>
                      <a:pt x="66" y="27"/>
                    </a:lnTo>
                    <a:lnTo>
                      <a:pt x="65" y="27"/>
                    </a:lnTo>
                    <a:lnTo>
                      <a:pt x="63" y="27"/>
                    </a:lnTo>
                    <a:lnTo>
                      <a:pt x="65" y="27"/>
                    </a:lnTo>
                    <a:lnTo>
                      <a:pt x="66" y="27"/>
                    </a:lnTo>
                    <a:lnTo>
                      <a:pt x="68" y="27"/>
                    </a:lnTo>
                    <a:lnTo>
                      <a:pt x="66" y="27"/>
                    </a:lnTo>
                    <a:lnTo>
                      <a:pt x="66" y="29"/>
                    </a:lnTo>
                    <a:lnTo>
                      <a:pt x="66" y="27"/>
                    </a:lnTo>
                    <a:lnTo>
                      <a:pt x="66" y="29"/>
                    </a:lnTo>
                    <a:lnTo>
                      <a:pt x="68" y="27"/>
                    </a:lnTo>
                    <a:lnTo>
                      <a:pt x="68" y="29"/>
                    </a:lnTo>
                    <a:lnTo>
                      <a:pt x="66" y="29"/>
                    </a:lnTo>
                    <a:lnTo>
                      <a:pt x="66" y="31"/>
                    </a:lnTo>
                    <a:lnTo>
                      <a:pt x="66" y="33"/>
                    </a:lnTo>
                    <a:lnTo>
                      <a:pt x="65" y="33"/>
                    </a:lnTo>
                    <a:lnTo>
                      <a:pt x="65" y="34"/>
                    </a:lnTo>
                    <a:lnTo>
                      <a:pt x="63" y="34"/>
                    </a:lnTo>
                    <a:lnTo>
                      <a:pt x="63" y="33"/>
                    </a:lnTo>
                    <a:lnTo>
                      <a:pt x="65" y="31"/>
                    </a:lnTo>
                    <a:lnTo>
                      <a:pt x="63" y="33"/>
                    </a:lnTo>
                    <a:lnTo>
                      <a:pt x="63" y="34"/>
                    </a:lnTo>
                    <a:lnTo>
                      <a:pt x="61" y="34"/>
                    </a:lnTo>
                    <a:lnTo>
                      <a:pt x="63" y="33"/>
                    </a:lnTo>
                    <a:lnTo>
                      <a:pt x="61" y="33"/>
                    </a:lnTo>
                    <a:lnTo>
                      <a:pt x="61" y="34"/>
                    </a:lnTo>
                    <a:lnTo>
                      <a:pt x="60" y="34"/>
                    </a:lnTo>
                    <a:lnTo>
                      <a:pt x="60" y="36"/>
                    </a:lnTo>
                    <a:lnTo>
                      <a:pt x="61" y="34"/>
                    </a:lnTo>
                    <a:lnTo>
                      <a:pt x="61" y="36"/>
                    </a:lnTo>
                    <a:lnTo>
                      <a:pt x="60" y="36"/>
                    </a:lnTo>
                    <a:lnTo>
                      <a:pt x="60" y="38"/>
                    </a:lnTo>
                    <a:lnTo>
                      <a:pt x="60" y="39"/>
                    </a:lnTo>
                    <a:lnTo>
                      <a:pt x="58" y="39"/>
                    </a:lnTo>
                    <a:lnTo>
                      <a:pt x="56" y="39"/>
                    </a:lnTo>
                    <a:lnTo>
                      <a:pt x="58" y="39"/>
                    </a:lnTo>
                    <a:lnTo>
                      <a:pt x="58" y="41"/>
                    </a:lnTo>
                    <a:lnTo>
                      <a:pt x="56" y="41"/>
                    </a:lnTo>
                    <a:lnTo>
                      <a:pt x="56" y="43"/>
                    </a:lnTo>
                    <a:lnTo>
                      <a:pt x="55" y="43"/>
                    </a:lnTo>
                    <a:lnTo>
                      <a:pt x="53" y="45"/>
                    </a:lnTo>
                    <a:lnTo>
                      <a:pt x="55" y="45"/>
                    </a:lnTo>
                    <a:lnTo>
                      <a:pt x="53" y="45"/>
                    </a:lnTo>
                    <a:lnTo>
                      <a:pt x="53" y="46"/>
                    </a:lnTo>
                    <a:lnTo>
                      <a:pt x="51" y="48"/>
                    </a:lnTo>
                    <a:lnTo>
                      <a:pt x="51" y="50"/>
                    </a:lnTo>
                    <a:lnTo>
                      <a:pt x="51" y="51"/>
                    </a:lnTo>
                    <a:lnTo>
                      <a:pt x="49" y="51"/>
                    </a:lnTo>
                    <a:lnTo>
                      <a:pt x="49" y="53"/>
                    </a:lnTo>
                    <a:lnTo>
                      <a:pt x="48" y="51"/>
                    </a:lnTo>
                    <a:lnTo>
                      <a:pt x="48" y="53"/>
                    </a:lnTo>
                    <a:lnTo>
                      <a:pt x="46" y="53"/>
                    </a:lnTo>
                    <a:lnTo>
                      <a:pt x="46" y="55"/>
                    </a:lnTo>
                    <a:lnTo>
                      <a:pt x="44" y="53"/>
                    </a:lnTo>
                    <a:lnTo>
                      <a:pt x="46" y="53"/>
                    </a:lnTo>
                    <a:lnTo>
                      <a:pt x="44" y="51"/>
                    </a:lnTo>
                    <a:lnTo>
                      <a:pt x="46" y="51"/>
                    </a:lnTo>
                    <a:lnTo>
                      <a:pt x="44" y="53"/>
                    </a:lnTo>
                    <a:lnTo>
                      <a:pt x="43" y="51"/>
                    </a:lnTo>
                    <a:lnTo>
                      <a:pt x="44" y="51"/>
                    </a:lnTo>
                    <a:lnTo>
                      <a:pt x="43" y="50"/>
                    </a:lnTo>
                    <a:lnTo>
                      <a:pt x="43" y="51"/>
                    </a:lnTo>
                    <a:lnTo>
                      <a:pt x="43" y="53"/>
                    </a:lnTo>
                    <a:lnTo>
                      <a:pt x="43" y="55"/>
                    </a:lnTo>
                    <a:lnTo>
                      <a:pt x="41" y="55"/>
                    </a:lnTo>
                    <a:lnTo>
                      <a:pt x="39" y="55"/>
                    </a:lnTo>
                    <a:lnTo>
                      <a:pt x="38" y="55"/>
                    </a:lnTo>
                    <a:lnTo>
                      <a:pt x="39" y="53"/>
                    </a:lnTo>
                    <a:lnTo>
                      <a:pt x="38" y="53"/>
                    </a:lnTo>
                    <a:lnTo>
                      <a:pt x="39" y="53"/>
                    </a:lnTo>
                    <a:lnTo>
                      <a:pt x="38" y="53"/>
                    </a:lnTo>
                    <a:lnTo>
                      <a:pt x="39" y="51"/>
                    </a:lnTo>
                    <a:lnTo>
                      <a:pt x="38" y="53"/>
                    </a:lnTo>
                    <a:lnTo>
                      <a:pt x="36" y="53"/>
                    </a:lnTo>
                    <a:lnTo>
                      <a:pt x="36" y="55"/>
                    </a:lnTo>
                    <a:lnTo>
                      <a:pt x="34" y="53"/>
                    </a:lnTo>
                    <a:lnTo>
                      <a:pt x="34" y="51"/>
                    </a:lnTo>
                    <a:lnTo>
                      <a:pt x="36" y="51"/>
                    </a:lnTo>
                    <a:lnTo>
                      <a:pt x="36" y="50"/>
                    </a:lnTo>
                    <a:lnTo>
                      <a:pt x="34" y="50"/>
                    </a:lnTo>
                    <a:lnTo>
                      <a:pt x="34" y="51"/>
                    </a:lnTo>
                    <a:lnTo>
                      <a:pt x="32" y="50"/>
                    </a:lnTo>
                    <a:lnTo>
                      <a:pt x="34" y="51"/>
                    </a:lnTo>
                    <a:lnTo>
                      <a:pt x="34" y="53"/>
                    </a:lnTo>
                    <a:lnTo>
                      <a:pt x="34" y="55"/>
                    </a:lnTo>
                    <a:lnTo>
                      <a:pt x="34" y="53"/>
                    </a:lnTo>
                    <a:lnTo>
                      <a:pt x="36" y="55"/>
                    </a:lnTo>
                    <a:lnTo>
                      <a:pt x="36" y="56"/>
                    </a:lnTo>
                    <a:lnTo>
                      <a:pt x="36" y="58"/>
                    </a:lnTo>
                    <a:lnTo>
                      <a:pt x="38" y="58"/>
                    </a:lnTo>
                    <a:lnTo>
                      <a:pt x="38" y="56"/>
                    </a:lnTo>
                    <a:lnTo>
                      <a:pt x="38" y="55"/>
                    </a:lnTo>
                    <a:lnTo>
                      <a:pt x="38" y="56"/>
                    </a:lnTo>
                    <a:lnTo>
                      <a:pt x="38" y="58"/>
                    </a:lnTo>
                    <a:lnTo>
                      <a:pt x="36" y="60"/>
                    </a:lnTo>
                    <a:lnTo>
                      <a:pt x="36" y="62"/>
                    </a:lnTo>
                    <a:lnTo>
                      <a:pt x="34" y="62"/>
                    </a:lnTo>
                    <a:lnTo>
                      <a:pt x="34" y="63"/>
                    </a:lnTo>
                    <a:lnTo>
                      <a:pt x="32" y="62"/>
                    </a:lnTo>
                    <a:lnTo>
                      <a:pt x="32" y="60"/>
                    </a:lnTo>
                    <a:lnTo>
                      <a:pt x="34" y="60"/>
                    </a:lnTo>
                    <a:lnTo>
                      <a:pt x="32" y="60"/>
                    </a:lnTo>
                    <a:lnTo>
                      <a:pt x="32" y="58"/>
                    </a:lnTo>
                    <a:lnTo>
                      <a:pt x="32" y="60"/>
                    </a:lnTo>
                    <a:lnTo>
                      <a:pt x="32" y="62"/>
                    </a:lnTo>
                    <a:lnTo>
                      <a:pt x="32" y="60"/>
                    </a:lnTo>
                    <a:lnTo>
                      <a:pt x="31" y="60"/>
                    </a:lnTo>
                    <a:lnTo>
                      <a:pt x="29" y="60"/>
                    </a:lnTo>
                    <a:lnTo>
                      <a:pt x="31" y="60"/>
                    </a:lnTo>
                    <a:lnTo>
                      <a:pt x="32" y="62"/>
                    </a:lnTo>
                    <a:lnTo>
                      <a:pt x="32" y="63"/>
                    </a:lnTo>
                    <a:lnTo>
                      <a:pt x="34" y="63"/>
                    </a:lnTo>
                    <a:lnTo>
                      <a:pt x="32" y="63"/>
                    </a:lnTo>
                    <a:lnTo>
                      <a:pt x="32" y="62"/>
                    </a:lnTo>
                    <a:lnTo>
                      <a:pt x="31" y="62"/>
                    </a:lnTo>
                    <a:lnTo>
                      <a:pt x="31" y="63"/>
                    </a:lnTo>
                    <a:lnTo>
                      <a:pt x="29" y="63"/>
                    </a:lnTo>
                    <a:lnTo>
                      <a:pt x="29" y="62"/>
                    </a:lnTo>
                    <a:lnTo>
                      <a:pt x="29" y="63"/>
                    </a:lnTo>
                    <a:lnTo>
                      <a:pt x="27" y="62"/>
                    </a:lnTo>
                    <a:lnTo>
                      <a:pt x="27" y="60"/>
                    </a:lnTo>
                    <a:lnTo>
                      <a:pt x="26" y="62"/>
                    </a:lnTo>
                    <a:lnTo>
                      <a:pt x="27" y="62"/>
                    </a:lnTo>
                    <a:lnTo>
                      <a:pt x="26" y="62"/>
                    </a:lnTo>
                    <a:lnTo>
                      <a:pt x="26" y="63"/>
                    </a:lnTo>
                    <a:lnTo>
                      <a:pt x="27" y="62"/>
                    </a:lnTo>
                    <a:lnTo>
                      <a:pt x="27" y="63"/>
                    </a:lnTo>
                    <a:lnTo>
                      <a:pt x="29" y="63"/>
                    </a:lnTo>
                    <a:lnTo>
                      <a:pt x="29" y="65"/>
                    </a:lnTo>
                    <a:lnTo>
                      <a:pt x="27" y="65"/>
                    </a:lnTo>
                    <a:lnTo>
                      <a:pt x="29" y="65"/>
                    </a:lnTo>
                    <a:lnTo>
                      <a:pt x="27" y="67"/>
                    </a:lnTo>
                    <a:lnTo>
                      <a:pt x="26" y="67"/>
                    </a:lnTo>
                    <a:lnTo>
                      <a:pt x="26" y="68"/>
                    </a:lnTo>
                    <a:lnTo>
                      <a:pt x="24" y="67"/>
                    </a:lnTo>
                    <a:lnTo>
                      <a:pt x="26" y="68"/>
                    </a:lnTo>
                    <a:lnTo>
                      <a:pt x="24" y="68"/>
                    </a:lnTo>
                    <a:lnTo>
                      <a:pt x="22" y="67"/>
                    </a:lnTo>
                    <a:lnTo>
                      <a:pt x="24" y="67"/>
                    </a:lnTo>
                    <a:lnTo>
                      <a:pt x="22" y="65"/>
                    </a:lnTo>
                    <a:lnTo>
                      <a:pt x="24" y="65"/>
                    </a:lnTo>
                    <a:lnTo>
                      <a:pt x="24" y="63"/>
                    </a:lnTo>
                    <a:lnTo>
                      <a:pt x="22" y="65"/>
                    </a:lnTo>
                    <a:lnTo>
                      <a:pt x="22" y="63"/>
                    </a:lnTo>
                    <a:lnTo>
                      <a:pt x="24" y="63"/>
                    </a:lnTo>
                    <a:lnTo>
                      <a:pt x="22" y="63"/>
                    </a:lnTo>
                    <a:lnTo>
                      <a:pt x="22" y="62"/>
                    </a:lnTo>
                    <a:lnTo>
                      <a:pt x="21" y="63"/>
                    </a:lnTo>
                    <a:lnTo>
                      <a:pt x="21" y="62"/>
                    </a:lnTo>
                    <a:lnTo>
                      <a:pt x="22" y="62"/>
                    </a:lnTo>
                    <a:lnTo>
                      <a:pt x="24" y="62"/>
                    </a:lnTo>
                    <a:lnTo>
                      <a:pt x="22" y="62"/>
                    </a:lnTo>
                    <a:lnTo>
                      <a:pt x="22" y="60"/>
                    </a:lnTo>
                    <a:lnTo>
                      <a:pt x="21" y="60"/>
                    </a:lnTo>
                    <a:lnTo>
                      <a:pt x="21" y="62"/>
                    </a:lnTo>
                    <a:lnTo>
                      <a:pt x="21" y="60"/>
                    </a:lnTo>
                    <a:lnTo>
                      <a:pt x="19" y="60"/>
                    </a:lnTo>
                    <a:lnTo>
                      <a:pt x="17" y="60"/>
                    </a:lnTo>
                    <a:lnTo>
                      <a:pt x="17" y="62"/>
                    </a:lnTo>
                    <a:lnTo>
                      <a:pt x="19" y="62"/>
                    </a:lnTo>
                    <a:lnTo>
                      <a:pt x="19" y="63"/>
                    </a:lnTo>
                    <a:lnTo>
                      <a:pt x="21" y="63"/>
                    </a:lnTo>
                    <a:lnTo>
                      <a:pt x="22" y="63"/>
                    </a:lnTo>
                    <a:lnTo>
                      <a:pt x="22" y="65"/>
                    </a:lnTo>
                    <a:lnTo>
                      <a:pt x="21" y="63"/>
                    </a:lnTo>
                    <a:lnTo>
                      <a:pt x="21" y="65"/>
                    </a:lnTo>
                    <a:lnTo>
                      <a:pt x="21" y="63"/>
                    </a:lnTo>
                    <a:lnTo>
                      <a:pt x="19" y="65"/>
                    </a:lnTo>
                    <a:lnTo>
                      <a:pt x="17" y="63"/>
                    </a:lnTo>
                    <a:lnTo>
                      <a:pt x="19" y="62"/>
                    </a:lnTo>
                    <a:lnTo>
                      <a:pt x="17" y="62"/>
                    </a:lnTo>
                    <a:lnTo>
                      <a:pt x="15" y="60"/>
                    </a:lnTo>
                    <a:lnTo>
                      <a:pt x="14" y="60"/>
                    </a:lnTo>
                    <a:lnTo>
                      <a:pt x="14" y="58"/>
                    </a:lnTo>
                    <a:lnTo>
                      <a:pt x="12" y="58"/>
                    </a:lnTo>
                    <a:lnTo>
                      <a:pt x="12" y="56"/>
                    </a:lnTo>
                    <a:lnTo>
                      <a:pt x="10" y="56"/>
                    </a:lnTo>
                    <a:lnTo>
                      <a:pt x="12" y="58"/>
                    </a:lnTo>
                    <a:lnTo>
                      <a:pt x="10" y="58"/>
                    </a:lnTo>
                    <a:lnTo>
                      <a:pt x="10" y="56"/>
                    </a:lnTo>
                    <a:lnTo>
                      <a:pt x="10" y="55"/>
                    </a:lnTo>
                    <a:lnTo>
                      <a:pt x="9" y="55"/>
                    </a:lnTo>
                    <a:lnTo>
                      <a:pt x="10" y="55"/>
                    </a:lnTo>
                    <a:lnTo>
                      <a:pt x="12" y="55"/>
                    </a:lnTo>
                    <a:lnTo>
                      <a:pt x="12" y="56"/>
                    </a:lnTo>
                    <a:lnTo>
                      <a:pt x="14" y="56"/>
                    </a:lnTo>
                    <a:lnTo>
                      <a:pt x="15" y="56"/>
                    </a:lnTo>
                    <a:lnTo>
                      <a:pt x="15" y="58"/>
                    </a:lnTo>
                    <a:lnTo>
                      <a:pt x="17" y="58"/>
                    </a:lnTo>
                    <a:lnTo>
                      <a:pt x="19" y="56"/>
                    </a:lnTo>
                    <a:lnTo>
                      <a:pt x="17" y="58"/>
                    </a:lnTo>
                    <a:lnTo>
                      <a:pt x="15" y="58"/>
                    </a:lnTo>
                    <a:lnTo>
                      <a:pt x="15" y="56"/>
                    </a:lnTo>
                    <a:lnTo>
                      <a:pt x="15" y="55"/>
                    </a:lnTo>
                    <a:lnTo>
                      <a:pt x="17" y="56"/>
                    </a:lnTo>
                    <a:lnTo>
                      <a:pt x="19" y="56"/>
                    </a:lnTo>
                    <a:lnTo>
                      <a:pt x="19" y="55"/>
                    </a:lnTo>
                    <a:lnTo>
                      <a:pt x="21" y="55"/>
                    </a:lnTo>
                    <a:lnTo>
                      <a:pt x="21" y="53"/>
                    </a:lnTo>
                    <a:lnTo>
                      <a:pt x="19" y="53"/>
                    </a:lnTo>
                    <a:lnTo>
                      <a:pt x="17" y="55"/>
                    </a:lnTo>
                    <a:lnTo>
                      <a:pt x="17" y="53"/>
                    </a:lnTo>
                    <a:lnTo>
                      <a:pt x="17" y="51"/>
                    </a:lnTo>
                    <a:lnTo>
                      <a:pt x="19" y="51"/>
                    </a:lnTo>
                    <a:lnTo>
                      <a:pt x="21" y="51"/>
                    </a:lnTo>
                    <a:lnTo>
                      <a:pt x="21" y="53"/>
                    </a:lnTo>
                    <a:lnTo>
                      <a:pt x="21" y="51"/>
                    </a:lnTo>
                    <a:lnTo>
                      <a:pt x="22" y="51"/>
                    </a:lnTo>
                    <a:lnTo>
                      <a:pt x="21" y="53"/>
                    </a:lnTo>
                    <a:lnTo>
                      <a:pt x="22" y="53"/>
                    </a:lnTo>
                    <a:lnTo>
                      <a:pt x="21" y="55"/>
                    </a:lnTo>
                    <a:lnTo>
                      <a:pt x="22" y="55"/>
                    </a:lnTo>
                    <a:lnTo>
                      <a:pt x="22" y="53"/>
                    </a:lnTo>
                    <a:lnTo>
                      <a:pt x="22" y="55"/>
                    </a:lnTo>
                    <a:lnTo>
                      <a:pt x="22" y="56"/>
                    </a:lnTo>
                    <a:lnTo>
                      <a:pt x="24" y="56"/>
                    </a:lnTo>
                    <a:lnTo>
                      <a:pt x="22" y="56"/>
                    </a:lnTo>
                    <a:lnTo>
                      <a:pt x="24" y="55"/>
                    </a:lnTo>
                    <a:lnTo>
                      <a:pt x="22" y="55"/>
                    </a:lnTo>
                    <a:lnTo>
                      <a:pt x="24" y="55"/>
                    </a:lnTo>
                    <a:lnTo>
                      <a:pt x="24" y="53"/>
                    </a:lnTo>
                    <a:lnTo>
                      <a:pt x="22" y="53"/>
                    </a:lnTo>
                    <a:lnTo>
                      <a:pt x="24" y="53"/>
                    </a:lnTo>
                    <a:lnTo>
                      <a:pt x="26" y="53"/>
                    </a:lnTo>
                    <a:lnTo>
                      <a:pt x="26" y="55"/>
                    </a:lnTo>
                    <a:lnTo>
                      <a:pt x="27" y="55"/>
                    </a:lnTo>
                    <a:lnTo>
                      <a:pt x="26" y="55"/>
                    </a:lnTo>
                    <a:lnTo>
                      <a:pt x="26" y="53"/>
                    </a:lnTo>
                    <a:lnTo>
                      <a:pt x="27" y="55"/>
                    </a:lnTo>
                    <a:lnTo>
                      <a:pt x="29" y="55"/>
                    </a:lnTo>
                    <a:lnTo>
                      <a:pt x="27" y="55"/>
                    </a:lnTo>
                    <a:lnTo>
                      <a:pt x="27" y="53"/>
                    </a:lnTo>
                    <a:lnTo>
                      <a:pt x="29" y="53"/>
                    </a:lnTo>
                    <a:lnTo>
                      <a:pt x="31" y="53"/>
                    </a:lnTo>
                    <a:lnTo>
                      <a:pt x="31" y="51"/>
                    </a:lnTo>
                    <a:lnTo>
                      <a:pt x="32" y="51"/>
                    </a:lnTo>
                    <a:lnTo>
                      <a:pt x="32" y="50"/>
                    </a:lnTo>
                    <a:lnTo>
                      <a:pt x="31" y="50"/>
                    </a:lnTo>
                    <a:lnTo>
                      <a:pt x="31" y="51"/>
                    </a:lnTo>
                    <a:lnTo>
                      <a:pt x="29" y="51"/>
                    </a:lnTo>
                    <a:lnTo>
                      <a:pt x="27" y="51"/>
                    </a:lnTo>
                    <a:lnTo>
                      <a:pt x="27" y="50"/>
                    </a:lnTo>
                    <a:lnTo>
                      <a:pt x="26" y="50"/>
                    </a:lnTo>
                    <a:lnTo>
                      <a:pt x="24" y="50"/>
                    </a:lnTo>
                    <a:lnTo>
                      <a:pt x="26" y="50"/>
                    </a:lnTo>
                    <a:lnTo>
                      <a:pt x="27" y="50"/>
                    </a:lnTo>
                    <a:lnTo>
                      <a:pt x="27" y="51"/>
                    </a:lnTo>
                    <a:lnTo>
                      <a:pt x="27" y="50"/>
                    </a:lnTo>
                    <a:lnTo>
                      <a:pt x="29" y="50"/>
                    </a:lnTo>
                    <a:lnTo>
                      <a:pt x="29" y="48"/>
                    </a:lnTo>
                    <a:lnTo>
                      <a:pt x="31" y="48"/>
                    </a:lnTo>
                    <a:lnTo>
                      <a:pt x="31" y="46"/>
                    </a:lnTo>
                    <a:lnTo>
                      <a:pt x="29" y="46"/>
                    </a:lnTo>
                    <a:lnTo>
                      <a:pt x="31" y="46"/>
                    </a:lnTo>
                    <a:lnTo>
                      <a:pt x="31" y="45"/>
                    </a:lnTo>
                    <a:lnTo>
                      <a:pt x="29" y="45"/>
                    </a:lnTo>
                    <a:lnTo>
                      <a:pt x="31" y="45"/>
                    </a:lnTo>
                    <a:lnTo>
                      <a:pt x="29" y="43"/>
                    </a:lnTo>
                    <a:lnTo>
                      <a:pt x="31" y="43"/>
                    </a:lnTo>
                    <a:lnTo>
                      <a:pt x="31" y="41"/>
                    </a:lnTo>
                    <a:lnTo>
                      <a:pt x="32" y="41"/>
                    </a:lnTo>
                    <a:lnTo>
                      <a:pt x="31" y="43"/>
                    </a:lnTo>
                    <a:lnTo>
                      <a:pt x="32" y="41"/>
                    </a:lnTo>
                    <a:lnTo>
                      <a:pt x="32" y="43"/>
                    </a:lnTo>
                    <a:lnTo>
                      <a:pt x="32" y="45"/>
                    </a:lnTo>
                    <a:lnTo>
                      <a:pt x="32" y="43"/>
                    </a:lnTo>
                    <a:lnTo>
                      <a:pt x="34" y="45"/>
                    </a:lnTo>
                    <a:lnTo>
                      <a:pt x="32" y="45"/>
                    </a:lnTo>
                    <a:lnTo>
                      <a:pt x="32" y="46"/>
                    </a:lnTo>
                    <a:lnTo>
                      <a:pt x="34" y="46"/>
                    </a:lnTo>
                    <a:lnTo>
                      <a:pt x="34" y="48"/>
                    </a:lnTo>
                    <a:lnTo>
                      <a:pt x="34" y="46"/>
                    </a:lnTo>
                    <a:lnTo>
                      <a:pt x="34" y="45"/>
                    </a:lnTo>
                    <a:lnTo>
                      <a:pt x="36" y="45"/>
                    </a:lnTo>
                    <a:lnTo>
                      <a:pt x="34" y="43"/>
                    </a:lnTo>
                    <a:lnTo>
                      <a:pt x="36" y="43"/>
                    </a:lnTo>
                    <a:lnTo>
                      <a:pt x="36" y="41"/>
                    </a:lnTo>
                    <a:lnTo>
                      <a:pt x="34" y="41"/>
                    </a:lnTo>
                    <a:lnTo>
                      <a:pt x="36" y="41"/>
                    </a:lnTo>
                    <a:lnTo>
                      <a:pt x="38" y="39"/>
                    </a:lnTo>
                    <a:lnTo>
                      <a:pt x="36" y="41"/>
                    </a:lnTo>
                    <a:lnTo>
                      <a:pt x="38" y="41"/>
                    </a:lnTo>
                    <a:lnTo>
                      <a:pt x="38" y="43"/>
                    </a:lnTo>
                    <a:lnTo>
                      <a:pt x="38" y="41"/>
                    </a:lnTo>
                    <a:lnTo>
                      <a:pt x="39" y="43"/>
                    </a:lnTo>
                    <a:lnTo>
                      <a:pt x="39" y="41"/>
                    </a:lnTo>
                    <a:lnTo>
                      <a:pt x="39" y="39"/>
                    </a:lnTo>
                    <a:lnTo>
                      <a:pt x="39" y="38"/>
                    </a:lnTo>
                    <a:lnTo>
                      <a:pt x="38" y="38"/>
                    </a:lnTo>
                    <a:lnTo>
                      <a:pt x="36" y="39"/>
                    </a:lnTo>
                    <a:lnTo>
                      <a:pt x="36" y="38"/>
                    </a:lnTo>
                    <a:lnTo>
                      <a:pt x="34" y="38"/>
                    </a:lnTo>
                    <a:lnTo>
                      <a:pt x="32" y="38"/>
                    </a:lnTo>
                    <a:lnTo>
                      <a:pt x="32" y="39"/>
                    </a:lnTo>
                    <a:lnTo>
                      <a:pt x="34" y="41"/>
                    </a:lnTo>
                    <a:lnTo>
                      <a:pt x="32" y="39"/>
                    </a:lnTo>
                    <a:lnTo>
                      <a:pt x="31" y="41"/>
                    </a:lnTo>
                    <a:lnTo>
                      <a:pt x="29" y="41"/>
                    </a:lnTo>
                    <a:lnTo>
                      <a:pt x="27" y="41"/>
                    </a:lnTo>
                    <a:lnTo>
                      <a:pt x="27" y="43"/>
                    </a:lnTo>
                    <a:lnTo>
                      <a:pt x="26" y="41"/>
                    </a:lnTo>
                    <a:lnTo>
                      <a:pt x="27" y="41"/>
                    </a:lnTo>
                    <a:lnTo>
                      <a:pt x="26" y="41"/>
                    </a:lnTo>
                    <a:lnTo>
                      <a:pt x="24" y="39"/>
                    </a:lnTo>
                    <a:lnTo>
                      <a:pt x="24" y="38"/>
                    </a:lnTo>
                    <a:lnTo>
                      <a:pt x="24" y="36"/>
                    </a:lnTo>
                    <a:lnTo>
                      <a:pt x="26" y="36"/>
                    </a:lnTo>
                    <a:lnTo>
                      <a:pt x="26" y="38"/>
                    </a:lnTo>
                    <a:lnTo>
                      <a:pt x="26" y="36"/>
                    </a:lnTo>
                    <a:lnTo>
                      <a:pt x="26" y="38"/>
                    </a:lnTo>
                    <a:lnTo>
                      <a:pt x="27" y="38"/>
                    </a:lnTo>
                    <a:lnTo>
                      <a:pt x="29" y="38"/>
                    </a:lnTo>
                    <a:lnTo>
                      <a:pt x="31" y="38"/>
                    </a:lnTo>
                    <a:lnTo>
                      <a:pt x="32" y="36"/>
                    </a:lnTo>
                    <a:lnTo>
                      <a:pt x="34" y="36"/>
                    </a:lnTo>
                    <a:lnTo>
                      <a:pt x="36" y="36"/>
                    </a:lnTo>
                    <a:lnTo>
                      <a:pt x="38" y="36"/>
                    </a:lnTo>
                    <a:lnTo>
                      <a:pt x="38" y="34"/>
                    </a:lnTo>
                    <a:lnTo>
                      <a:pt x="39" y="36"/>
                    </a:lnTo>
                    <a:lnTo>
                      <a:pt x="39" y="38"/>
                    </a:lnTo>
                    <a:lnTo>
                      <a:pt x="41" y="38"/>
                    </a:lnTo>
                    <a:lnTo>
                      <a:pt x="43" y="38"/>
                    </a:lnTo>
                    <a:lnTo>
                      <a:pt x="43" y="39"/>
                    </a:lnTo>
                    <a:lnTo>
                      <a:pt x="43" y="38"/>
                    </a:lnTo>
                    <a:lnTo>
                      <a:pt x="44" y="39"/>
                    </a:lnTo>
                    <a:lnTo>
                      <a:pt x="46" y="39"/>
                    </a:lnTo>
                    <a:lnTo>
                      <a:pt x="44" y="39"/>
                    </a:lnTo>
                    <a:lnTo>
                      <a:pt x="43" y="38"/>
                    </a:lnTo>
                    <a:lnTo>
                      <a:pt x="43" y="36"/>
                    </a:lnTo>
                    <a:lnTo>
                      <a:pt x="41" y="36"/>
                    </a:lnTo>
                    <a:lnTo>
                      <a:pt x="39" y="36"/>
                    </a:lnTo>
                    <a:lnTo>
                      <a:pt x="39" y="34"/>
                    </a:lnTo>
                    <a:lnTo>
                      <a:pt x="38" y="34"/>
                    </a:lnTo>
                    <a:lnTo>
                      <a:pt x="38" y="33"/>
                    </a:lnTo>
                    <a:lnTo>
                      <a:pt x="36" y="33"/>
                    </a:lnTo>
                    <a:lnTo>
                      <a:pt x="36" y="31"/>
                    </a:lnTo>
                    <a:lnTo>
                      <a:pt x="38" y="31"/>
                    </a:lnTo>
                    <a:lnTo>
                      <a:pt x="36" y="31"/>
                    </a:lnTo>
                    <a:lnTo>
                      <a:pt x="36" y="29"/>
                    </a:lnTo>
                    <a:lnTo>
                      <a:pt x="34" y="29"/>
                    </a:lnTo>
                    <a:lnTo>
                      <a:pt x="36" y="29"/>
                    </a:lnTo>
                    <a:lnTo>
                      <a:pt x="36" y="31"/>
                    </a:lnTo>
                    <a:lnTo>
                      <a:pt x="34" y="31"/>
                    </a:lnTo>
                    <a:lnTo>
                      <a:pt x="32" y="31"/>
                    </a:lnTo>
                    <a:lnTo>
                      <a:pt x="32" y="29"/>
                    </a:lnTo>
                    <a:lnTo>
                      <a:pt x="31" y="29"/>
                    </a:lnTo>
                    <a:lnTo>
                      <a:pt x="29" y="29"/>
                    </a:lnTo>
                    <a:lnTo>
                      <a:pt x="29" y="27"/>
                    </a:lnTo>
                    <a:lnTo>
                      <a:pt x="29" y="29"/>
                    </a:lnTo>
                    <a:lnTo>
                      <a:pt x="29" y="27"/>
                    </a:lnTo>
                    <a:lnTo>
                      <a:pt x="29" y="26"/>
                    </a:lnTo>
                    <a:lnTo>
                      <a:pt x="31" y="26"/>
                    </a:lnTo>
                    <a:lnTo>
                      <a:pt x="32" y="27"/>
                    </a:lnTo>
                    <a:lnTo>
                      <a:pt x="32" y="26"/>
                    </a:lnTo>
                    <a:lnTo>
                      <a:pt x="31" y="24"/>
                    </a:lnTo>
                    <a:lnTo>
                      <a:pt x="31" y="22"/>
                    </a:lnTo>
                    <a:lnTo>
                      <a:pt x="29" y="24"/>
                    </a:lnTo>
                    <a:lnTo>
                      <a:pt x="27" y="24"/>
                    </a:lnTo>
                    <a:lnTo>
                      <a:pt x="26" y="24"/>
                    </a:lnTo>
                    <a:lnTo>
                      <a:pt x="26" y="22"/>
                    </a:lnTo>
                    <a:lnTo>
                      <a:pt x="24" y="22"/>
                    </a:lnTo>
                    <a:lnTo>
                      <a:pt x="24" y="21"/>
                    </a:lnTo>
                    <a:lnTo>
                      <a:pt x="24" y="19"/>
                    </a:lnTo>
                    <a:lnTo>
                      <a:pt x="26" y="19"/>
                    </a:lnTo>
                    <a:lnTo>
                      <a:pt x="24" y="19"/>
                    </a:lnTo>
                    <a:lnTo>
                      <a:pt x="24" y="17"/>
                    </a:lnTo>
                    <a:lnTo>
                      <a:pt x="26" y="19"/>
                    </a:lnTo>
                    <a:lnTo>
                      <a:pt x="27" y="19"/>
                    </a:lnTo>
                    <a:lnTo>
                      <a:pt x="29" y="21"/>
                    </a:lnTo>
                    <a:lnTo>
                      <a:pt x="31" y="21"/>
                    </a:lnTo>
                    <a:lnTo>
                      <a:pt x="31" y="22"/>
                    </a:lnTo>
                    <a:lnTo>
                      <a:pt x="31" y="21"/>
                    </a:lnTo>
                    <a:lnTo>
                      <a:pt x="31" y="22"/>
                    </a:lnTo>
                    <a:lnTo>
                      <a:pt x="32" y="22"/>
                    </a:lnTo>
                    <a:lnTo>
                      <a:pt x="32" y="24"/>
                    </a:lnTo>
                    <a:lnTo>
                      <a:pt x="34" y="24"/>
                    </a:lnTo>
                    <a:lnTo>
                      <a:pt x="36" y="26"/>
                    </a:lnTo>
                    <a:lnTo>
                      <a:pt x="38" y="26"/>
                    </a:lnTo>
                    <a:lnTo>
                      <a:pt x="39" y="26"/>
                    </a:lnTo>
                    <a:lnTo>
                      <a:pt x="41" y="26"/>
                    </a:lnTo>
                    <a:lnTo>
                      <a:pt x="41" y="27"/>
                    </a:lnTo>
                    <a:lnTo>
                      <a:pt x="41" y="26"/>
                    </a:lnTo>
                    <a:lnTo>
                      <a:pt x="43" y="27"/>
                    </a:lnTo>
                    <a:lnTo>
                      <a:pt x="43" y="26"/>
                    </a:lnTo>
                    <a:lnTo>
                      <a:pt x="44" y="26"/>
                    </a:lnTo>
                    <a:lnTo>
                      <a:pt x="46" y="26"/>
                    </a:lnTo>
                    <a:lnTo>
                      <a:pt x="46" y="24"/>
                    </a:lnTo>
                    <a:lnTo>
                      <a:pt x="44" y="24"/>
                    </a:lnTo>
                    <a:lnTo>
                      <a:pt x="43" y="24"/>
                    </a:lnTo>
                    <a:lnTo>
                      <a:pt x="43" y="22"/>
                    </a:lnTo>
                    <a:lnTo>
                      <a:pt x="44" y="22"/>
                    </a:lnTo>
                    <a:lnTo>
                      <a:pt x="44" y="21"/>
                    </a:lnTo>
                    <a:lnTo>
                      <a:pt x="46" y="21"/>
                    </a:lnTo>
                    <a:lnTo>
                      <a:pt x="44" y="21"/>
                    </a:lnTo>
                    <a:lnTo>
                      <a:pt x="44" y="22"/>
                    </a:lnTo>
                    <a:lnTo>
                      <a:pt x="46" y="22"/>
                    </a:lnTo>
                    <a:lnTo>
                      <a:pt x="48" y="21"/>
                    </a:lnTo>
                    <a:lnTo>
                      <a:pt x="49" y="21"/>
                    </a:lnTo>
                    <a:lnTo>
                      <a:pt x="51" y="21"/>
                    </a:lnTo>
                    <a:lnTo>
                      <a:pt x="49" y="21"/>
                    </a:lnTo>
                    <a:lnTo>
                      <a:pt x="49" y="22"/>
                    </a:lnTo>
                    <a:lnTo>
                      <a:pt x="49" y="21"/>
                    </a:lnTo>
                    <a:lnTo>
                      <a:pt x="51" y="21"/>
                    </a:lnTo>
                    <a:lnTo>
                      <a:pt x="53" y="21"/>
                    </a:lnTo>
                    <a:lnTo>
                      <a:pt x="51" y="21"/>
                    </a:lnTo>
                    <a:lnTo>
                      <a:pt x="51" y="22"/>
                    </a:lnTo>
                    <a:lnTo>
                      <a:pt x="49" y="22"/>
                    </a:lnTo>
                    <a:lnTo>
                      <a:pt x="51" y="22"/>
                    </a:lnTo>
                    <a:lnTo>
                      <a:pt x="53" y="22"/>
                    </a:lnTo>
                    <a:lnTo>
                      <a:pt x="55" y="21"/>
                    </a:lnTo>
                    <a:lnTo>
                      <a:pt x="55" y="22"/>
                    </a:lnTo>
                    <a:lnTo>
                      <a:pt x="53" y="22"/>
                    </a:lnTo>
                    <a:lnTo>
                      <a:pt x="53" y="24"/>
                    </a:lnTo>
                    <a:lnTo>
                      <a:pt x="53" y="22"/>
                    </a:lnTo>
                    <a:lnTo>
                      <a:pt x="51" y="22"/>
                    </a:lnTo>
                    <a:lnTo>
                      <a:pt x="53" y="24"/>
                    </a:lnTo>
                    <a:lnTo>
                      <a:pt x="51" y="24"/>
                    </a:lnTo>
                    <a:lnTo>
                      <a:pt x="53" y="24"/>
                    </a:lnTo>
                    <a:lnTo>
                      <a:pt x="55" y="24"/>
                    </a:lnTo>
                    <a:lnTo>
                      <a:pt x="56" y="24"/>
                    </a:lnTo>
                    <a:lnTo>
                      <a:pt x="58" y="22"/>
                    </a:lnTo>
                    <a:lnTo>
                      <a:pt x="58" y="24"/>
                    </a:lnTo>
                    <a:lnTo>
                      <a:pt x="58" y="26"/>
                    </a:lnTo>
                    <a:lnTo>
                      <a:pt x="58" y="24"/>
                    </a:lnTo>
                    <a:lnTo>
                      <a:pt x="58" y="22"/>
                    </a:lnTo>
                    <a:lnTo>
                      <a:pt x="60" y="24"/>
                    </a:lnTo>
                    <a:lnTo>
                      <a:pt x="60" y="22"/>
                    </a:lnTo>
                    <a:lnTo>
                      <a:pt x="61" y="22"/>
                    </a:lnTo>
                    <a:lnTo>
                      <a:pt x="61" y="21"/>
                    </a:lnTo>
                    <a:lnTo>
                      <a:pt x="63" y="21"/>
                    </a:lnTo>
                    <a:lnTo>
                      <a:pt x="63" y="22"/>
                    </a:lnTo>
                    <a:lnTo>
                      <a:pt x="61" y="22"/>
                    </a:lnTo>
                    <a:lnTo>
                      <a:pt x="61" y="24"/>
                    </a:lnTo>
                    <a:lnTo>
                      <a:pt x="61" y="22"/>
                    </a:lnTo>
                    <a:lnTo>
                      <a:pt x="61" y="24"/>
                    </a:lnTo>
                    <a:lnTo>
                      <a:pt x="60" y="24"/>
                    </a:lnTo>
                    <a:lnTo>
                      <a:pt x="61" y="24"/>
                    </a:lnTo>
                    <a:lnTo>
                      <a:pt x="61" y="26"/>
                    </a:lnTo>
                    <a:lnTo>
                      <a:pt x="61" y="24"/>
                    </a:lnTo>
                    <a:lnTo>
                      <a:pt x="63" y="24"/>
                    </a:lnTo>
                    <a:lnTo>
                      <a:pt x="65" y="24"/>
                    </a:lnTo>
                    <a:lnTo>
                      <a:pt x="66" y="22"/>
                    </a:lnTo>
                    <a:lnTo>
                      <a:pt x="66" y="24"/>
                    </a:lnTo>
                    <a:lnTo>
                      <a:pt x="66" y="22"/>
                    </a:lnTo>
                    <a:lnTo>
                      <a:pt x="65" y="22"/>
                    </a:lnTo>
                    <a:lnTo>
                      <a:pt x="65" y="21"/>
                    </a:lnTo>
                    <a:lnTo>
                      <a:pt x="63" y="21"/>
                    </a:lnTo>
                    <a:lnTo>
                      <a:pt x="65" y="21"/>
                    </a:lnTo>
                    <a:lnTo>
                      <a:pt x="65" y="19"/>
                    </a:lnTo>
                    <a:lnTo>
                      <a:pt x="66" y="19"/>
                    </a:lnTo>
                    <a:lnTo>
                      <a:pt x="65" y="17"/>
                    </a:lnTo>
                    <a:lnTo>
                      <a:pt x="66" y="17"/>
                    </a:lnTo>
                    <a:lnTo>
                      <a:pt x="66" y="19"/>
                    </a:lnTo>
                    <a:close/>
                    <a:moveTo>
                      <a:pt x="17" y="41"/>
                    </a:moveTo>
                    <a:lnTo>
                      <a:pt x="17" y="43"/>
                    </a:lnTo>
                    <a:lnTo>
                      <a:pt x="17" y="45"/>
                    </a:lnTo>
                    <a:lnTo>
                      <a:pt x="15" y="45"/>
                    </a:lnTo>
                    <a:lnTo>
                      <a:pt x="15" y="46"/>
                    </a:lnTo>
                    <a:lnTo>
                      <a:pt x="15" y="48"/>
                    </a:lnTo>
                    <a:lnTo>
                      <a:pt x="17" y="48"/>
                    </a:lnTo>
                    <a:lnTo>
                      <a:pt x="15" y="48"/>
                    </a:lnTo>
                    <a:lnTo>
                      <a:pt x="15" y="50"/>
                    </a:lnTo>
                    <a:lnTo>
                      <a:pt x="17" y="48"/>
                    </a:lnTo>
                    <a:lnTo>
                      <a:pt x="17" y="50"/>
                    </a:lnTo>
                    <a:lnTo>
                      <a:pt x="15" y="50"/>
                    </a:lnTo>
                    <a:lnTo>
                      <a:pt x="14" y="50"/>
                    </a:lnTo>
                    <a:lnTo>
                      <a:pt x="15" y="51"/>
                    </a:lnTo>
                    <a:lnTo>
                      <a:pt x="14" y="51"/>
                    </a:lnTo>
                    <a:lnTo>
                      <a:pt x="12" y="53"/>
                    </a:lnTo>
                    <a:lnTo>
                      <a:pt x="10" y="51"/>
                    </a:lnTo>
                    <a:lnTo>
                      <a:pt x="10" y="50"/>
                    </a:lnTo>
                    <a:lnTo>
                      <a:pt x="9" y="50"/>
                    </a:lnTo>
                    <a:lnTo>
                      <a:pt x="9" y="48"/>
                    </a:lnTo>
                    <a:lnTo>
                      <a:pt x="7" y="48"/>
                    </a:lnTo>
                    <a:lnTo>
                      <a:pt x="9" y="48"/>
                    </a:lnTo>
                    <a:lnTo>
                      <a:pt x="7" y="48"/>
                    </a:lnTo>
                    <a:lnTo>
                      <a:pt x="7" y="46"/>
                    </a:lnTo>
                    <a:lnTo>
                      <a:pt x="9" y="46"/>
                    </a:lnTo>
                    <a:lnTo>
                      <a:pt x="7" y="46"/>
                    </a:lnTo>
                    <a:lnTo>
                      <a:pt x="7" y="45"/>
                    </a:lnTo>
                    <a:lnTo>
                      <a:pt x="7" y="46"/>
                    </a:lnTo>
                    <a:lnTo>
                      <a:pt x="7" y="45"/>
                    </a:lnTo>
                    <a:lnTo>
                      <a:pt x="9" y="43"/>
                    </a:lnTo>
                    <a:lnTo>
                      <a:pt x="9" y="45"/>
                    </a:lnTo>
                    <a:lnTo>
                      <a:pt x="10" y="45"/>
                    </a:lnTo>
                    <a:lnTo>
                      <a:pt x="10" y="43"/>
                    </a:lnTo>
                    <a:lnTo>
                      <a:pt x="12" y="43"/>
                    </a:lnTo>
                    <a:lnTo>
                      <a:pt x="12" y="41"/>
                    </a:lnTo>
                    <a:lnTo>
                      <a:pt x="12" y="43"/>
                    </a:lnTo>
                    <a:lnTo>
                      <a:pt x="14" y="43"/>
                    </a:lnTo>
                    <a:lnTo>
                      <a:pt x="14" y="45"/>
                    </a:lnTo>
                    <a:lnTo>
                      <a:pt x="12" y="45"/>
                    </a:lnTo>
                    <a:lnTo>
                      <a:pt x="12" y="46"/>
                    </a:lnTo>
                    <a:lnTo>
                      <a:pt x="10" y="46"/>
                    </a:lnTo>
                    <a:lnTo>
                      <a:pt x="10" y="48"/>
                    </a:lnTo>
                    <a:lnTo>
                      <a:pt x="12" y="46"/>
                    </a:lnTo>
                    <a:lnTo>
                      <a:pt x="14" y="46"/>
                    </a:lnTo>
                    <a:lnTo>
                      <a:pt x="14" y="45"/>
                    </a:lnTo>
                    <a:lnTo>
                      <a:pt x="14" y="46"/>
                    </a:lnTo>
                    <a:lnTo>
                      <a:pt x="15" y="45"/>
                    </a:lnTo>
                    <a:lnTo>
                      <a:pt x="15" y="46"/>
                    </a:lnTo>
                    <a:lnTo>
                      <a:pt x="15" y="45"/>
                    </a:lnTo>
                    <a:lnTo>
                      <a:pt x="15" y="43"/>
                    </a:lnTo>
                    <a:lnTo>
                      <a:pt x="15" y="41"/>
                    </a:lnTo>
                    <a:lnTo>
                      <a:pt x="17" y="41"/>
                    </a:lnTo>
                    <a:close/>
                    <a:moveTo>
                      <a:pt x="36" y="14"/>
                    </a:moveTo>
                    <a:lnTo>
                      <a:pt x="38" y="14"/>
                    </a:lnTo>
                    <a:lnTo>
                      <a:pt x="38" y="16"/>
                    </a:lnTo>
                    <a:lnTo>
                      <a:pt x="39" y="16"/>
                    </a:lnTo>
                    <a:lnTo>
                      <a:pt x="39" y="17"/>
                    </a:lnTo>
                    <a:lnTo>
                      <a:pt x="41" y="17"/>
                    </a:lnTo>
                    <a:lnTo>
                      <a:pt x="41" y="16"/>
                    </a:lnTo>
                    <a:lnTo>
                      <a:pt x="43" y="16"/>
                    </a:lnTo>
                    <a:lnTo>
                      <a:pt x="44" y="17"/>
                    </a:lnTo>
                    <a:lnTo>
                      <a:pt x="43" y="17"/>
                    </a:lnTo>
                    <a:lnTo>
                      <a:pt x="44" y="17"/>
                    </a:lnTo>
                    <a:lnTo>
                      <a:pt x="44" y="19"/>
                    </a:lnTo>
                    <a:lnTo>
                      <a:pt x="43" y="19"/>
                    </a:lnTo>
                    <a:lnTo>
                      <a:pt x="43" y="21"/>
                    </a:lnTo>
                    <a:lnTo>
                      <a:pt x="41" y="21"/>
                    </a:lnTo>
                    <a:lnTo>
                      <a:pt x="43" y="21"/>
                    </a:lnTo>
                    <a:lnTo>
                      <a:pt x="41" y="21"/>
                    </a:lnTo>
                    <a:lnTo>
                      <a:pt x="39" y="21"/>
                    </a:lnTo>
                    <a:lnTo>
                      <a:pt x="38" y="21"/>
                    </a:lnTo>
                    <a:lnTo>
                      <a:pt x="38" y="22"/>
                    </a:lnTo>
                    <a:lnTo>
                      <a:pt x="36" y="22"/>
                    </a:lnTo>
                    <a:lnTo>
                      <a:pt x="36" y="21"/>
                    </a:lnTo>
                    <a:lnTo>
                      <a:pt x="36" y="19"/>
                    </a:lnTo>
                    <a:lnTo>
                      <a:pt x="38" y="19"/>
                    </a:lnTo>
                    <a:lnTo>
                      <a:pt x="38" y="17"/>
                    </a:lnTo>
                    <a:lnTo>
                      <a:pt x="39" y="19"/>
                    </a:lnTo>
                    <a:lnTo>
                      <a:pt x="39" y="21"/>
                    </a:lnTo>
                    <a:lnTo>
                      <a:pt x="41" y="21"/>
                    </a:lnTo>
                    <a:lnTo>
                      <a:pt x="41" y="19"/>
                    </a:lnTo>
                    <a:lnTo>
                      <a:pt x="39" y="19"/>
                    </a:lnTo>
                    <a:lnTo>
                      <a:pt x="39" y="17"/>
                    </a:lnTo>
                    <a:lnTo>
                      <a:pt x="38" y="17"/>
                    </a:lnTo>
                    <a:lnTo>
                      <a:pt x="38" y="16"/>
                    </a:lnTo>
                    <a:lnTo>
                      <a:pt x="36" y="16"/>
                    </a:lnTo>
                    <a:lnTo>
                      <a:pt x="34" y="14"/>
                    </a:lnTo>
                    <a:lnTo>
                      <a:pt x="36" y="14"/>
                    </a:lnTo>
                    <a:close/>
                    <a:moveTo>
                      <a:pt x="55" y="14"/>
                    </a:moveTo>
                    <a:lnTo>
                      <a:pt x="56" y="14"/>
                    </a:lnTo>
                    <a:lnTo>
                      <a:pt x="58" y="14"/>
                    </a:lnTo>
                    <a:lnTo>
                      <a:pt x="60" y="14"/>
                    </a:lnTo>
                    <a:lnTo>
                      <a:pt x="60" y="16"/>
                    </a:lnTo>
                    <a:lnTo>
                      <a:pt x="61" y="16"/>
                    </a:lnTo>
                    <a:lnTo>
                      <a:pt x="61" y="14"/>
                    </a:lnTo>
                    <a:lnTo>
                      <a:pt x="61" y="16"/>
                    </a:lnTo>
                    <a:lnTo>
                      <a:pt x="63" y="14"/>
                    </a:lnTo>
                    <a:lnTo>
                      <a:pt x="63" y="16"/>
                    </a:lnTo>
                    <a:lnTo>
                      <a:pt x="65" y="16"/>
                    </a:lnTo>
                    <a:lnTo>
                      <a:pt x="65" y="17"/>
                    </a:lnTo>
                    <a:lnTo>
                      <a:pt x="63" y="17"/>
                    </a:lnTo>
                    <a:lnTo>
                      <a:pt x="63" y="16"/>
                    </a:lnTo>
                    <a:lnTo>
                      <a:pt x="63" y="17"/>
                    </a:lnTo>
                    <a:lnTo>
                      <a:pt x="65" y="19"/>
                    </a:lnTo>
                    <a:lnTo>
                      <a:pt x="63" y="17"/>
                    </a:lnTo>
                    <a:lnTo>
                      <a:pt x="61" y="19"/>
                    </a:lnTo>
                    <a:lnTo>
                      <a:pt x="61" y="17"/>
                    </a:lnTo>
                    <a:lnTo>
                      <a:pt x="61" y="19"/>
                    </a:lnTo>
                    <a:lnTo>
                      <a:pt x="60" y="17"/>
                    </a:lnTo>
                    <a:lnTo>
                      <a:pt x="58" y="16"/>
                    </a:lnTo>
                    <a:lnTo>
                      <a:pt x="56" y="16"/>
                    </a:lnTo>
                    <a:lnTo>
                      <a:pt x="55" y="16"/>
                    </a:lnTo>
                    <a:lnTo>
                      <a:pt x="53" y="16"/>
                    </a:lnTo>
                    <a:lnTo>
                      <a:pt x="53" y="14"/>
                    </a:lnTo>
                    <a:lnTo>
                      <a:pt x="51" y="14"/>
                    </a:lnTo>
                    <a:lnTo>
                      <a:pt x="53" y="14"/>
                    </a:lnTo>
                    <a:lnTo>
                      <a:pt x="55" y="12"/>
                    </a:lnTo>
                    <a:lnTo>
                      <a:pt x="55" y="14"/>
                    </a:lnTo>
                    <a:close/>
                    <a:moveTo>
                      <a:pt x="100" y="53"/>
                    </a:moveTo>
                    <a:lnTo>
                      <a:pt x="99" y="53"/>
                    </a:lnTo>
                    <a:lnTo>
                      <a:pt x="99" y="55"/>
                    </a:lnTo>
                    <a:lnTo>
                      <a:pt x="97" y="55"/>
                    </a:lnTo>
                    <a:lnTo>
                      <a:pt x="99" y="56"/>
                    </a:lnTo>
                    <a:lnTo>
                      <a:pt x="99" y="55"/>
                    </a:lnTo>
                    <a:lnTo>
                      <a:pt x="99" y="56"/>
                    </a:lnTo>
                    <a:lnTo>
                      <a:pt x="99" y="58"/>
                    </a:lnTo>
                    <a:lnTo>
                      <a:pt x="99" y="60"/>
                    </a:lnTo>
                    <a:lnTo>
                      <a:pt x="97" y="60"/>
                    </a:lnTo>
                    <a:lnTo>
                      <a:pt x="99" y="58"/>
                    </a:lnTo>
                    <a:lnTo>
                      <a:pt x="97" y="58"/>
                    </a:lnTo>
                    <a:lnTo>
                      <a:pt x="95" y="56"/>
                    </a:lnTo>
                    <a:lnTo>
                      <a:pt x="95" y="55"/>
                    </a:lnTo>
                    <a:lnTo>
                      <a:pt x="97" y="55"/>
                    </a:lnTo>
                    <a:lnTo>
                      <a:pt x="97" y="53"/>
                    </a:lnTo>
                    <a:lnTo>
                      <a:pt x="97" y="55"/>
                    </a:lnTo>
                    <a:lnTo>
                      <a:pt x="97" y="53"/>
                    </a:lnTo>
                    <a:lnTo>
                      <a:pt x="99" y="53"/>
                    </a:lnTo>
                    <a:lnTo>
                      <a:pt x="99" y="55"/>
                    </a:lnTo>
                    <a:lnTo>
                      <a:pt x="99" y="53"/>
                    </a:lnTo>
                    <a:lnTo>
                      <a:pt x="100" y="53"/>
                    </a:lnTo>
                    <a:close/>
                    <a:moveTo>
                      <a:pt x="53" y="63"/>
                    </a:moveTo>
                    <a:lnTo>
                      <a:pt x="55" y="63"/>
                    </a:lnTo>
                    <a:lnTo>
                      <a:pt x="56" y="63"/>
                    </a:lnTo>
                    <a:lnTo>
                      <a:pt x="56" y="65"/>
                    </a:lnTo>
                    <a:lnTo>
                      <a:pt x="56" y="67"/>
                    </a:lnTo>
                    <a:lnTo>
                      <a:pt x="56" y="68"/>
                    </a:lnTo>
                    <a:lnTo>
                      <a:pt x="55" y="68"/>
                    </a:lnTo>
                    <a:lnTo>
                      <a:pt x="55" y="70"/>
                    </a:lnTo>
                    <a:lnTo>
                      <a:pt x="55" y="68"/>
                    </a:lnTo>
                    <a:lnTo>
                      <a:pt x="55" y="67"/>
                    </a:lnTo>
                    <a:lnTo>
                      <a:pt x="55" y="65"/>
                    </a:lnTo>
                    <a:lnTo>
                      <a:pt x="55" y="67"/>
                    </a:lnTo>
                    <a:lnTo>
                      <a:pt x="55" y="65"/>
                    </a:lnTo>
                    <a:lnTo>
                      <a:pt x="55" y="63"/>
                    </a:lnTo>
                    <a:lnTo>
                      <a:pt x="53" y="63"/>
                    </a:lnTo>
                    <a:lnTo>
                      <a:pt x="53" y="62"/>
                    </a:lnTo>
                    <a:lnTo>
                      <a:pt x="53" y="63"/>
                    </a:lnTo>
                    <a:close/>
                    <a:moveTo>
                      <a:pt x="48" y="16"/>
                    </a:moveTo>
                    <a:lnTo>
                      <a:pt x="48" y="17"/>
                    </a:lnTo>
                    <a:lnTo>
                      <a:pt x="49" y="17"/>
                    </a:lnTo>
                    <a:lnTo>
                      <a:pt x="48" y="17"/>
                    </a:lnTo>
                    <a:lnTo>
                      <a:pt x="48" y="19"/>
                    </a:lnTo>
                    <a:lnTo>
                      <a:pt x="46" y="19"/>
                    </a:lnTo>
                    <a:lnTo>
                      <a:pt x="46" y="17"/>
                    </a:lnTo>
                    <a:lnTo>
                      <a:pt x="44" y="17"/>
                    </a:lnTo>
                    <a:lnTo>
                      <a:pt x="44" y="16"/>
                    </a:lnTo>
                    <a:lnTo>
                      <a:pt x="46" y="16"/>
                    </a:lnTo>
                    <a:lnTo>
                      <a:pt x="48" y="16"/>
                    </a:lnTo>
                    <a:close/>
                    <a:moveTo>
                      <a:pt x="5" y="45"/>
                    </a:moveTo>
                    <a:lnTo>
                      <a:pt x="4" y="45"/>
                    </a:lnTo>
                    <a:lnTo>
                      <a:pt x="4" y="46"/>
                    </a:lnTo>
                    <a:lnTo>
                      <a:pt x="5" y="46"/>
                    </a:lnTo>
                    <a:lnTo>
                      <a:pt x="4" y="48"/>
                    </a:lnTo>
                    <a:lnTo>
                      <a:pt x="4" y="46"/>
                    </a:lnTo>
                    <a:lnTo>
                      <a:pt x="2" y="46"/>
                    </a:lnTo>
                    <a:lnTo>
                      <a:pt x="2" y="45"/>
                    </a:lnTo>
                    <a:lnTo>
                      <a:pt x="0" y="45"/>
                    </a:lnTo>
                    <a:lnTo>
                      <a:pt x="2" y="45"/>
                    </a:lnTo>
                    <a:lnTo>
                      <a:pt x="2" y="43"/>
                    </a:lnTo>
                    <a:lnTo>
                      <a:pt x="2" y="45"/>
                    </a:lnTo>
                    <a:lnTo>
                      <a:pt x="4" y="45"/>
                    </a:lnTo>
                    <a:lnTo>
                      <a:pt x="4" y="43"/>
                    </a:lnTo>
                    <a:lnTo>
                      <a:pt x="5" y="43"/>
                    </a:lnTo>
                    <a:lnTo>
                      <a:pt x="5" y="45"/>
                    </a:lnTo>
                    <a:close/>
                    <a:moveTo>
                      <a:pt x="56" y="72"/>
                    </a:moveTo>
                    <a:lnTo>
                      <a:pt x="55" y="72"/>
                    </a:lnTo>
                    <a:lnTo>
                      <a:pt x="55" y="73"/>
                    </a:lnTo>
                    <a:lnTo>
                      <a:pt x="55" y="75"/>
                    </a:lnTo>
                    <a:lnTo>
                      <a:pt x="53" y="75"/>
                    </a:lnTo>
                    <a:lnTo>
                      <a:pt x="53" y="73"/>
                    </a:lnTo>
                    <a:lnTo>
                      <a:pt x="51" y="73"/>
                    </a:lnTo>
                    <a:lnTo>
                      <a:pt x="53" y="73"/>
                    </a:lnTo>
                    <a:lnTo>
                      <a:pt x="55" y="72"/>
                    </a:lnTo>
                    <a:lnTo>
                      <a:pt x="56" y="70"/>
                    </a:lnTo>
                    <a:lnTo>
                      <a:pt x="56" y="72"/>
                    </a:lnTo>
                    <a:close/>
                    <a:moveTo>
                      <a:pt x="85" y="63"/>
                    </a:moveTo>
                    <a:lnTo>
                      <a:pt x="85" y="65"/>
                    </a:lnTo>
                    <a:lnTo>
                      <a:pt x="83" y="67"/>
                    </a:lnTo>
                    <a:lnTo>
                      <a:pt x="82" y="67"/>
                    </a:lnTo>
                    <a:lnTo>
                      <a:pt x="80" y="67"/>
                    </a:lnTo>
                    <a:lnTo>
                      <a:pt x="82" y="67"/>
                    </a:lnTo>
                    <a:lnTo>
                      <a:pt x="82" y="65"/>
                    </a:lnTo>
                    <a:lnTo>
                      <a:pt x="83" y="67"/>
                    </a:lnTo>
                    <a:lnTo>
                      <a:pt x="85" y="65"/>
                    </a:lnTo>
                    <a:lnTo>
                      <a:pt x="83" y="65"/>
                    </a:lnTo>
                    <a:lnTo>
                      <a:pt x="85" y="65"/>
                    </a:lnTo>
                    <a:lnTo>
                      <a:pt x="83" y="63"/>
                    </a:lnTo>
                    <a:lnTo>
                      <a:pt x="85" y="63"/>
                    </a:lnTo>
                    <a:lnTo>
                      <a:pt x="85" y="62"/>
                    </a:lnTo>
                    <a:lnTo>
                      <a:pt x="85" y="63"/>
                    </a:lnTo>
                    <a:close/>
                    <a:moveTo>
                      <a:pt x="5" y="38"/>
                    </a:moveTo>
                    <a:lnTo>
                      <a:pt x="4" y="38"/>
                    </a:lnTo>
                    <a:lnTo>
                      <a:pt x="2" y="38"/>
                    </a:lnTo>
                    <a:lnTo>
                      <a:pt x="2" y="39"/>
                    </a:lnTo>
                    <a:lnTo>
                      <a:pt x="4" y="39"/>
                    </a:lnTo>
                    <a:lnTo>
                      <a:pt x="2" y="41"/>
                    </a:lnTo>
                    <a:lnTo>
                      <a:pt x="2" y="39"/>
                    </a:lnTo>
                    <a:lnTo>
                      <a:pt x="2" y="38"/>
                    </a:lnTo>
                    <a:lnTo>
                      <a:pt x="0" y="38"/>
                    </a:lnTo>
                    <a:lnTo>
                      <a:pt x="2" y="38"/>
                    </a:lnTo>
                    <a:lnTo>
                      <a:pt x="4" y="38"/>
                    </a:lnTo>
                    <a:lnTo>
                      <a:pt x="4" y="36"/>
                    </a:lnTo>
                    <a:lnTo>
                      <a:pt x="4" y="38"/>
                    </a:lnTo>
                    <a:lnTo>
                      <a:pt x="5" y="38"/>
                    </a:lnTo>
                    <a:close/>
                    <a:moveTo>
                      <a:pt x="55" y="17"/>
                    </a:moveTo>
                    <a:lnTo>
                      <a:pt x="55" y="19"/>
                    </a:lnTo>
                    <a:lnTo>
                      <a:pt x="56" y="19"/>
                    </a:lnTo>
                    <a:lnTo>
                      <a:pt x="58" y="19"/>
                    </a:lnTo>
                    <a:lnTo>
                      <a:pt x="56" y="19"/>
                    </a:lnTo>
                    <a:lnTo>
                      <a:pt x="55" y="19"/>
                    </a:lnTo>
                    <a:lnTo>
                      <a:pt x="55" y="21"/>
                    </a:lnTo>
                    <a:lnTo>
                      <a:pt x="53" y="19"/>
                    </a:lnTo>
                    <a:lnTo>
                      <a:pt x="55" y="19"/>
                    </a:lnTo>
                    <a:lnTo>
                      <a:pt x="53" y="19"/>
                    </a:lnTo>
                    <a:lnTo>
                      <a:pt x="51" y="19"/>
                    </a:lnTo>
                    <a:lnTo>
                      <a:pt x="53" y="19"/>
                    </a:lnTo>
                    <a:lnTo>
                      <a:pt x="53" y="17"/>
                    </a:lnTo>
                    <a:lnTo>
                      <a:pt x="55" y="19"/>
                    </a:lnTo>
                    <a:lnTo>
                      <a:pt x="53" y="17"/>
                    </a:lnTo>
                    <a:lnTo>
                      <a:pt x="55" y="17"/>
                    </a:lnTo>
                    <a:close/>
                    <a:moveTo>
                      <a:pt x="26" y="12"/>
                    </a:moveTo>
                    <a:lnTo>
                      <a:pt x="29" y="12"/>
                    </a:lnTo>
                    <a:lnTo>
                      <a:pt x="29" y="17"/>
                    </a:lnTo>
                    <a:lnTo>
                      <a:pt x="26" y="17"/>
                    </a:lnTo>
                    <a:lnTo>
                      <a:pt x="26" y="12"/>
                    </a:lnTo>
                    <a:close/>
                    <a:moveTo>
                      <a:pt x="17" y="53"/>
                    </a:moveTo>
                    <a:lnTo>
                      <a:pt x="17" y="55"/>
                    </a:lnTo>
                    <a:lnTo>
                      <a:pt x="15" y="55"/>
                    </a:lnTo>
                    <a:lnTo>
                      <a:pt x="14" y="53"/>
                    </a:lnTo>
                    <a:lnTo>
                      <a:pt x="15" y="53"/>
                    </a:lnTo>
                    <a:lnTo>
                      <a:pt x="15" y="51"/>
                    </a:lnTo>
                    <a:lnTo>
                      <a:pt x="17" y="53"/>
                    </a:lnTo>
                    <a:close/>
                    <a:moveTo>
                      <a:pt x="7" y="0"/>
                    </a:moveTo>
                    <a:lnTo>
                      <a:pt x="10" y="0"/>
                    </a:lnTo>
                    <a:lnTo>
                      <a:pt x="10" y="4"/>
                    </a:lnTo>
                    <a:lnTo>
                      <a:pt x="7" y="4"/>
                    </a:lnTo>
                    <a:lnTo>
                      <a:pt x="7" y="0"/>
                    </a:lnTo>
                    <a:close/>
                    <a:moveTo>
                      <a:pt x="58" y="41"/>
                    </a:moveTo>
                    <a:lnTo>
                      <a:pt x="61" y="41"/>
                    </a:lnTo>
                    <a:lnTo>
                      <a:pt x="61" y="43"/>
                    </a:lnTo>
                    <a:lnTo>
                      <a:pt x="58" y="43"/>
                    </a:lnTo>
                    <a:lnTo>
                      <a:pt x="58" y="41"/>
                    </a:lnTo>
                    <a:close/>
                    <a:moveTo>
                      <a:pt x="55" y="50"/>
                    </a:moveTo>
                    <a:lnTo>
                      <a:pt x="56" y="50"/>
                    </a:lnTo>
                    <a:lnTo>
                      <a:pt x="56" y="53"/>
                    </a:lnTo>
                    <a:lnTo>
                      <a:pt x="55" y="53"/>
                    </a:lnTo>
                    <a:lnTo>
                      <a:pt x="55" y="50"/>
                    </a:lnTo>
                    <a:close/>
                    <a:moveTo>
                      <a:pt x="21" y="17"/>
                    </a:moveTo>
                    <a:lnTo>
                      <a:pt x="24" y="17"/>
                    </a:lnTo>
                    <a:lnTo>
                      <a:pt x="24" y="21"/>
                    </a:lnTo>
                    <a:lnTo>
                      <a:pt x="21" y="21"/>
                    </a:lnTo>
                    <a:lnTo>
                      <a:pt x="21" y="17"/>
                    </a:lnTo>
                    <a:close/>
                    <a:moveTo>
                      <a:pt x="55" y="73"/>
                    </a:moveTo>
                    <a:lnTo>
                      <a:pt x="58" y="73"/>
                    </a:lnTo>
                    <a:lnTo>
                      <a:pt x="58" y="75"/>
                    </a:lnTo>
                    <a:lnTo>
                      <a:pt x="55" y="75"/>
                    </a:lnTo>
                    <a:lnTo>
                      <a:pt x="55" y="73"/>
                    </a:lnTo>
                    <a:close/>
                    <a:moveTo>
                      <a:pt x="78" y="79"/>
                    </a:moveTo>
                    <a:lnTo>
                      <a:pt x="77" y="77"/>
                    </a:lnTo>
                    <a:lnTo>
                      <a:pt x="77" y="79"/>
                    </a:lnTo>
                    <a:lnTo>
                      <a:pt x="75" y="79"/>
                    </a:lnTo>
                    <a:lnTo>
                      <a:pt x="75" y="77"/>
                    </a:lnTo>
                    <a:lnTo>
                      <a:pt x="77" y="77"/>
                    </a:lnTo>
                    <a:lnTo>
                      <a:pt x="78" y="79"/>
                    </a:lnTo>
                    <a:close/>
                    <a:moveTo>
                      <a:pt x="55" y="21"/>
                    </a:moveTo>
                    <a:lnTo>
                      <a:pt x="56" y="21"/>
                    </a:lnTo>
                    <a:lnTo>
                      <a:pt x="56" y="22"/>
                    </a:lnTo>
                    <a:lnTo>
                      <a:pt x="55" y="22"/>
                    </a:lnTo>
                    <a:lnTo>
                      <a:pt x="55" y="21"/>
                    </a:lnTo>
                    <a:close/>
                    <a:moveTo>
                      <a:pt x="4" y="0"/>
                    </a:moveTo>
                    <a:lnTo>
                      <a:pt x="7" y="0"/>
                    </a:lnTo>
                    <a:lnTo>
                      <a:pt x="7" y="2"/>
                    </a:lnTo>
                    <a:lnTo>
                      <a:pt x="4" y="2"/>
                    </a:lnTo>
                    <a:lnTo>
                      <a:pt x="4" y="0"/>
                    </a:lnTo>
                    <a:close/>
                    <a:moveTo>
                      <a:pt x="22" y="33"/>
                    </a:moveTo>
                    <a:lnTo>
                      <a:pt x="24" y="33"/>
                    </a:lnTo>
                    <a:lnTo>
                      <a:pt x="24" y="36"/>
                    </a:lnTo>
                    <a:lnTo>
                      <a:pt x="22" y="36"/>
                    </a:lnTo>
                    <a:lnTo>
                      <a:pt x="22" y="33"/>
                    </a:lnTo>
                    <a:close/>
                    <a:moveTo>
                      <a:pt x="19" y="31"/>
                    </a:moveTo>
                    <a:lnTo>
                      <a:pt x="21" y="31"/>
                    </a:lnTo>
                    <a:lnTo>
                      <a:pt x="19" y="31"/>
                    </a:lnTo>
                    <a:close/>
                    <a:moveTo>
                      <a:pt x="55" y="56"/>
                    </a:moveTo>
                    <a:lnTo>
                      <a:pt x="55" y="60"/>
                    </a:lnTo>
                    <a:lnTo>
                      <a:pt x="55" y="56"/>
                    </a:lnTo>
                    <a:close/>
                    <a:moveTo>
                      <a:pt x="55" y="17"/>
                    </a:moveTo>
                    <a:lnTo>
                      <a:pt x="58" y="17"/>
                    </a:lnTo>
                    <a:lnTo>
                      <a:pt x="58" y="19"/>
                    </a:lnTo>
                    <a:lnTo>
                      <a:pt x="55" y="19"/>
                    </a:lnTo>
                    <a:lnTo>
                      <a:pt x="55" y="17"/>
                    </a:lnTo>
                    <a:close/>
                    <a:moveTo>
                      <a:pt x="56" y="19"/>
                    </a:moveTo>
                    <a:lnTo>
                      <a:pt x="60" y="19"/>
                    </a:lnTo>
                    <a:lnTo>
                      <a:pt x="60" y="21"/>
                    </a:lnTo>
                    <a:lnTo>
                      <a:pt x="56" y="21"/>
                    </a:lnTo>
                    <a:lnTo>
                      <a:pt x="56" y="19"/>
                    </a:lnTo>
                    <a:close/>
                    <a:moveTo>
                      <a:pt x="49" y="12"/>
                    </a:moveTo>
                    <a:lnTo>
                      <a:pt x="51" y="12"/>
                    </a:lnTo>
                    <a:lnTo>
                      <a:pt x="51" y="14"/>
                    </a:lnTo>
                    <a:lnTo>
                      <a:pt x="49" y="14"/>
                    </a:lnTo>
                    <a:lnTo>
                      <a:pt x="49" y="12"/>
                    </a:lnTo>
                    <a:close/>
                    <a:moveTo>
                      <a:pt x="29" y="45"/>
                    </a:moveTo>
                    <a:lnTo>
                      <a:pt x="31" y="45"/>
                    </a:lnTo>
                    <a:lnTo>
                      <a:pt x="31" y="46"/>
                    </a:lnTo>
                    <a:lnTo>
                      <a:pt x="29" y="46"/>
                    </a:lnTo>
                    <a:lnTo>
                      <a:pt x="29" y="45"/>
                    </a:lnTo>
                    <a:close/>
                    <a:moveTo>
                      <a:pt x="58" y="21"/>
                    </a:moveTo>
                    <a:lnTo>
                      <a:pt x="60" y="21"/>
                    </a:lnTo>
                    <a:lnTo>
                      <a:pt x="60" y="22"/>
                    </a:lnTo>
                    <a:lnTo>
                      <a:pt x="58" y="22"/>
                    </a:lnTo>
                    <a:lnTo>
                      <a:pt x="58" y="21"/>
                    </a:lnTo>
                    <a:close/>
                    <a:moveTo>
                      <a:pt x="5" y="46"/>
                    </a:moveTo>
                    <a:lnTo>
                      <a:pt x="7" y="46"/>
                    </a:lnTo>
                    <a:lnTo>
                      <a:pt x="7" y="50"/>
                    </a:lnTo>
                    <a:lnTo>
                      <a:pt x="5" y="50"/>
                    </a:lnTo>
                    <a:lnTo>
                      <a:pt x="5" y="46"/>
                    </a:lnTo>
                    <a:close/>
                    <a:moveTo>
                      <a:pt x="14" y="10"/>
                    </a:moveTo>
                    <a:lnTo>
                      <a:pt x="17" y="10"/>
                    </a:lnTo>
                    <a:lnTo>
                      <a:pt x="14" y="10"/>
                    </a:lnTo>
                    <a:close/>
                    <a:moveTo>
                      <a:pt x="92" y="60"/>
                    </a:moveTo>
                    <a:lnTo>
                      <a:pt x="94" y="60"/>
                    </a:lnTo>
                    <a:lnTo>
                      <a:pt x="94" y="62"/>
                    </a:lnTo>
                    <a:lnTo>
                      <a:pt x="92" y="62"/>
                    </a:lnTo>
                    <a:lnTo>
                      <a:pt x="92" y="60"/>
                    </a:lnTo>
                    <a:close/>
                    <a:moveTo>
                      <a:pt x="95" y="53"/>
                    </a:moveTo>
                    <a:lnTo>
                      <a:pt x="99" y="53"/>
                    </a:lnTo>
                    <a:lnTo>
                      <a:pt x="95" y="53"/>
                    </a:lnTo>
                    <a:close/>
                    <a:moveTo>
                      <a:pt x="100" y="53"/>
                    </a:moveTo>
                    <a:lnTo>
                      <a:pt x="102" y="53"/>
                    </a:lnTo>
                    <a:lnTo>
                      <a:pt x="102" y="55"/>
                    </a:lnTo>
                    <a:lnTo>
                      <a:pt x="100" y="55"/>
                    </a:lnTo>
                    <a:lnTo>
                      <a:pt x="100" y="53"/>
                    </a:lnTo>
                    <a:close/>
                    <a:moveTo>
                      <a:pt x="111" y="29"/>
                    </a:moveTo>
                    <a:lnTo>
                      <a:pt x="112" y="29"/>
                    </a:lnTo>
                    <a:lnTo>
                      <a:pt x="112" y="31"/>
                    </a:lnTo>
                    <a:lnTo>
                      <a:pt x="111" y="31"/>
                    </a:lnTo>
                    <a:lnTo>
                      <a:pt x="111" y="29"/>
                    </a:lnTo>
                    <a:close/>
                    <a:moveTo>
                      <a:pt x="31" y="7"/>
                    </a:moveTo>
                    <a:lnTo>
                      <a:pt x="32" y="7"/>
                    </a:lnTo>
                    <a:lnTo>
                      <a:pt x="31" y="7"/>
                    </a:lnTo>
                    <a:close/>
                    <a:moveTo>
                      <a:pt x="15" y="4"/>
                    </a:moveTo>
                    <a:lnTo>
                      <a:pt x="17" y="4"/>
                    </a:lnTo>
                    <a:lnTo>
                      <a:pt x="17" y="5"/>
                    </a:lnTo>
                    <a:lnTo>
                      <a:pt x="15" y="5"/>
                    </a:lnTo>
                    <a:lnTo>
                      <a:pt x="15" y="4"/>
                    </a:lnTo>
                    <a:close/>
                    <a:moveTo>
                      <a:pt x="5" y="48"/>
                    </a:moveTo>
                    <a:lnTo>
                      <a:pt x="7" y="48"/>
                    </a:lnTo>
                    <a:lnTo>
                      <a:pt x="7" y="50"/>
                    </a:lnTo>
                    <a:lnTo>
                      <a:pt x="5" y="50"/>
                    </a:lnTo>
                    <a:lnTo>
                      <a:pt x="5" y="48"/>
                    </a:lnTo>
                    <a:close/>
                    <a:moveTo>
                      <a:pt x="31" y="33"/>
                    </a:moveTo>
                    <a:lnTo>
                      <a:pt x="32" y="33"/>
                    </a:lnTo>
                    <a:lnTo>
                      <a:pt x="32" y="34"/>
                    </a:lnTo>
                    <a:lnTo>
                      <a:pt x="31" y="34"/>
                    </a:lnTo>
                    <a:lnTo>
                      <a:pt x="31" y="33"/>
                    </a:lnTo>
                    <a:close/>
                    <a:moveTo>
                      <a:pt x="56" y="41"/>
                    </a:moveTo>
                    <a:lnTo>
                      <a:pt x="58" y="41"/>
                    </a:lnTo>
                    <a:lnTo>
                      <a:pt x="58" y="43"/>
                    </a:lnTo>
                    <a:lnTo>
                      <a:pt x="56" y="43"/>
                    </a:lnTo>
                    <a:lnTo>
                      <a:pt x="56" y="41"/>
                    </a:lnTo>
                    <a:close/>
                    <a:moveTo>
                      <a:pt x="49" y="19"/>
                    </a:moveTo>
                    <a:lnTo>
                      <a:pt x="51" y="19"/>
                    </a:lnTo>
                    <a:lnTo>
                      <a:pt x="51" y="21"/>
                    </a:lnTo>
                    <a:lnTo>
                      <a:pt x="49" y="21"/>
                    </a:lnTo>
                    <a:lnTo>
                      <a:pt x="49" y="19"/>
                    </a:lnTo>
                    <a:close/>
                    <a:moveTo>
                      <a:pt x="17" y="7"/>
                    </a:moveTo>
                    <a:lnTo>
                      <a:pt x="17" y="9"/>
                    </a:lnTo>
                    <a:lnTo>
                      <a:pt x="17" y="7"/>
                    </a:lnTo>
                    <a:close/>
                    <a:moveTo>
                      <a:pt x="58" y="46"/>
                    </a:moveTo>
                    <a:lnTo>
                      <a:pt x="60" y="46"/>
                    </a:lnTo>
                    <a:lnTo>
                      <a:pt x="60" y="48"/>
                    </a:lnTo>
                    <a:lnTo>
                      <a:pt x="58" y="48"/>
                    </a:lnTo>
                    <a:lnTo>
                      <a:pt x="58" y="46"/>
                    </a:lnTo>
                    <a:close/>
                    <a:moveTo>
                      <a:pt x="5" y="45"/>
                    </a:moveTo>
                    <a:lnTo>
                      <a:pt x="7" y="45"/>
                    </a:lnTo>
                    <a:lnTo>
                      <a:pt x="7" y="46"/>
                    </a:lnTo>
                    <a:lnTo>
                      <a:pt x="5" y="46"/>
                    </a:lnTo>
                    <a:lnTo>
                      <a:pt x="5" y="45"/>
                    </a:lnTo>
                    <a:close/>
                    <a:moveTo>
                      <a:pt x="95" y="48"/>
                    </a:moveTo>
                    <a:lnTo>
                      <a:pt x="95" y="50"/>
                    </a:lnTo>
                    <a:lnTo>
                      <a:pt x="95" y="48"/>
                    </a:lnTo>
                    <a:close/>
                    <a:moveTo>
                      <a:pt x="55" y="21"/>
                    </a:moveTo>
                    <a:lnTo>
                      <a:pt x="56" y="21"/>
                    </a:lnTo>
                    <a:lnTo>
                      <a:pt x="55" y="21"/>
                    </a:lnTo>
                    <a:close/>
                    <a:moveTo>
                      <a:pt x="31" y="65"/>
                    </a:moveTo>
                    <a:lnTo>
                      <a:pt x="32" y="65"/>
                    </a:lnTo>
                    <a:lnTo>
                      <a:pt x="32" y="67"/>
                    </a:lnTo>
                    <a:lnTo>
                      <a:pt x="31" y="67"/>
                    </a:lnTo>
                    <a:lnTo>
                      <a:pt x="31" y="65"/>
                    </a:lnTo>
                    <a:close/>
                    <a:moveTo>
                      <a:pt x="21" y="24"/>
                    </a:moveTo>
                    <a:lnTo>
                      <a:pt x="22" y="24"/>
                    </a:lnTo>
                    <a:lnTo>
                      <a:pt x="22" y="26"/>
                    </a:lnTo>
                    <a:lnTo>
                      <a:pt x="21" y="26"/>
                    </a:lnTo>
                    <a:lnTo>
                      <a:pt x="21" y="24"/>
                    </a:lnTo>
                    <a:close/>
                    <a:moveTo>
                      <a:pt x="10" y="41"/>
                    </a:moveTo>
                    <a:lnTo>
                      <a:pt x="10" y="43"/>
                    </a:lnTo>
                    <a:lnTo>
                      <a:pt x="10" y="41"/>
                    </a:lnTo>
                    <a:close/>
                    <a:moveTo>
                      <a:pt x="89" y="62"/>
                    </a:moveTo>
                    <a:lnTo>
                      <a:pt x="90" y="62"/>
                    </a:lnTo>
                    <a:lnTo>
                      <a:pt x="89" y="62"/>
                    </a:lnTo>
                    <a:close/>
                    <a:moveTo>
                      <a:pt x="106" y="43"/>
                    </a:moveTo>
                    <a:lnTo>
                      <a:pt x="107" y="43"/>
                    </a:lnTo>
                    <a:lnTo>
                      <a:pt x="106" y="43"/>
                    </a:lnTo>
                    <a:close/>
                    <a:moveTo>
                      <a:pt x="29" y="29"/>
                    </a:moveTo>
                    <a:lnTo>
                      <a:pt x="29" y="31"/>
                    </a:lnTo>
                    <a:lnTo>
                      <a:pt x="29" y="29"/>
                    </a:lnTo>
                    <a:close/>
                    <a:moveTo>
                      <a:pt x="78" y="62"/>
                    </a:moveTo>
                    <a:lnTo>
                      <a:pt x="80" y="62"/>
                    </a:lnTo>
                    <a:lnTo>
                      <a:pt x="78" y="62"/>
                    </a:lnTo>
                    <a:close/>
                    <a:moveTo>
                      <a:pt x="61" y="68"/>
                    </a:moveTo>
                    <a:lnTo>
                      <a:pt x="61" y="70"/>
                    </a:lnTo>
                    <a:lnTo>
                      <a:pt x="61" y="68"/>
                    </a:lnTo>
                    <a:close/>
                    <a:moveTo>
                      <a:pt x="97" y="51"/>
                    </a:moveTo>
                    <a:lnTo>
                      <a:pt x="99" y="51"/>
                    </a:lnTo>
                    <a:lnTo>
                      <a:pt x="97" y="51"/>
                    </a:lnTo>
                    <a:close/>
                    <a:moveTo>
                      <a:pt x="15" y="29"/>
                    </a:moveTo>
                    <a:lnTo>
                      <a:pt x="17" y="29"/>
                    </a:lnTo>
                    <a:lnTo>
                      <a:pt x="17" y="31"/>
                    </a:lnTo>
                    <a:lnTo>
                      <a:pt x="15" y="31"/>
                    </a:lnTo>
                    <a:lnTo>
                      <a:pt x="15" y="29"/>
                    </a:lnTo>
                    <a:close/>
                    <a:moveTo>
                      <a:pt x="111" y="43"/>
                    </a:moveTo>
                    <a:lnTo>
                      <a:pt x="112" y="43"/>
                    </a:lnTo>
                    <a:lnTo>
                      <a:pt x="111" y="43"/>
                    </a:lnTo>
                    <a:close/>
                    <a:moveTo>
                      <a:pt x="61" y="39"/>
                    </a:moveTo>
                    <a:lnTo>
                      <a:pt x="63" y="39"/>
                    </a:lnTo>
                    <a:lnTo>
                      <a:pt x="61" y="39"/>
                    </a:lnTo>
                    <a:close/>
                    <a:moveTo>
                      <a:pt x="48" y="10"/>
                    </a:moveTo>
                    <a:lnTo>
                      <a:pt x="49" y="10"/>
                    </a:lnTo>
                    <a:lnTo>
                      <a:pt x="49" y="12"/>
                    </a:lnTo>
                    <a:lnTo>
                      <a:pt x="48" y="12"/>
                    </a:lnTo>
                    <a:lnTo>
                      <a:pt x="48" y="10"/>
                    </a:lnTo>
                    <a:close/>
                    <a:moveTo>
                      <a:pt x="38" y="41"/>
                    </a:moveTo>
                    <a:lnTo>
                      <a:pt x="39" y="41"/>
                    </a:lnTo>
                    <a:lnTo>
                      <a:pt x="38" y="41"/>
                    </a:lnTo>
                    <a:close/>
                    <a:moveTo>
                      <a:pt x="56" y="48"/>
                    </a:moveTo>
                    <a:lnTo>
                      <a:pt x="58" y="48"/>
                    </a:lnTo>
                    <a:lnTo>
                      <a:pt x="56" y="48"/>
                    </a:lnTo>
                    <a:close/>
                    <a:moveTo>
                      <a:pt x="51" y="17"/>
                    </a:moveTo>
                    <a:lnTo>
                      <a:pt x="51" y="19"/>
                    </a:lnTo>
                    <a:lnTo>
                      <a:pt x="51" y="17"/>
                    </a:lnTo>
                    <a:close/>
                    <a:moveTo>
                      <a:pt x="41" y="22"/>
                    </a:moveTo>
                    <a:lnTo>
                      <a:pt x="43" y="22"/>
                    </a:lnTo>
                    <a:lnTo>
                      <a:pt x="41" y="22"/>
                    </a:lnTo>
                    <a:close/>
                    <a:moveTo>
                      <a:pt x="56" y="21"/>
                    </a:moveTo>
                    <a:lnTo>
                      <a:pt x="58" y="21"/>
                    </a:lnTo>
                    <a:lnTo>
                      <a:pt x="56" y="21"/>
                    </a:lnTo>
                    <a:close/>
                    <a:moveTo>
                      <a:pt x="49" y="19"/>
                    </a:moveTo>
                    <a:lnTo>
                      <a:pt x="49" y="21"/>
                    </a:lnTo>
                    <a:lnTo>
                      <a:pt x="49" y="19"/>
                    </a:lnTo>
                    <a:close/>
                    <a:moveTo>
                      <a:pt x="9" y="41"/>
                    </a:moveTo>
                    <a:lnTo>
                      <a:pt x="9" y="43"/>
                    </a:lnTo>
                    <a:lnTo>
                      <a:pt x="9" y="41"/>
                    </a:lnTo>
                    <a:close/>
                    <a:moveTo>
                      <a:pt x="14" y="63"/>
                    </a:moveTo>
                    <a:lnTo>
                      <a:pt x="15" y="63"/>
                    </a:lnTo>
                    <a:lnTo>
                      <a:pt x="14" y="63"/>
                    </a:lnTo>
                    <a:close/>
                    <a:moveTo>
                      <a:pt x="12" y="55"/>
                    </a:moveTo>
                    <a:lnTo>
                      <a:pt x="14" y="55"/>
                    </a:lnTo>
                    <a:lnTo>
                      <a:pt x="12" y="55"/>
                    </a:lnTo>
                    <a:close/>
                    <a:moveTo>
                      <a:pt x="58" y="51"/>
                    </a:moveTo>
                    <a:lnTo>
                      <a:pt x="58" y="53"/>
                    </a:lnTo>
                    <a:lnTo>
                      <a:pt x="58" y="51"/>
                    </a:lnTo>
                    <a:close/>
                    <a:moveTo>
                      <a:pt x="82" y="79"/>
                    </a:moveTo>
                    <a:lnTo>
                      <a:pt x="83" y="79"/>
                    </a:lnTo>
                    <a:lnTo>
                      <a:pt x="82" y="79"/>
                    </a:lnTo>
                    <a:close/>
                    <a:moveTo>
                      <a:pt x="29" y="67"/>
                    </a:moveTo>
                    <a:lnTo>
                      <a:pt x="31" y="67"/>
                    </a:lnTo>
                    <a:lnTo>
                      <a:pt x="29" y="67"/>
                    </a:lnTo>
                    <a:close/>
                    <a:moveTo>
                      <a:pt x="29" y="17"/>
                    </a:moveTo>
                    <a:lnTo>
                      <a:pt x="31" y="17"/>
                    </a:lnTo>
                    <a:lnTo>
                      <a:pt x="29" y="17"/>
                    </a:lnTo>
                    <a:close/>
                    <a:moveTo>
                      <a:pt x="4" y="34"/>
                    </a:moveTo>
                    <a:lnTo>
                      <a:pt x="4" y="36"/>
                    </a:lnTo>
                    <a:lnTo>
                      <a:pt x="4" y="34"/>
                    </a:lnTo>
                    <a:close/>
                    <a:moveTo>
                      <a:pt x="7" y="43"/>
                    </a:moveTo>
                    <a:lnTo>
                      <a:pt x="9" y="43"/>
                    </a:lnTo>
                    <a:lnTo>
                      <a:pt x="7" y="43"/>
                    </a:lnTo>
                    <a:close/>
                    <a:moveTo>
                      <a:pt x="90" y="51"/>
                    </a:moveTo>
                    <a:lnTo>
                      <a:pt x="92" y="51"/>
                    </a:lnTo>
                    <a:lnTo>
                      <a:pt x="90" y="51"/>
                    </a:lnTo>
                    <a:close/>
                    <a:moveTo>
                      <a:pt x="51" y="55"/>
                    </a:moveTo>
                    <a:lnTo>
                      <a:pt x="51" y="56"/>
                    </a:lnTo>
                    <a:lnTo>
                      <a:pt x="51" y="55"/>
                    </a:lnTo>
                    <a:close/>
                    <a:moveTo>
                      <a:pt x="22" y="63"/>
                    </a:moveTo>
                    <a:lnTo>
                      <a:pt x="22" y="65"/>
                    </a:lnTo>
                    <a:lnTo>
                      <a:pt x="22" y="63"/>
                    </a:lnTo>
                    <a:close/>
                    <a:moveTo>
                      <a:pt x="53" y="21"/>
                    </a:moveTo>
                    <a:lnTo>
                      <a:pt x="55" y="21"/>
                    </a:lnTo>
                    <a:lnTo>
                      <a:pt x="53" y="21"/>
                    </a:lnTo>
                    <a:close/>
                    <a:moveTo>
                      <a:pt x="87" y="51"/>
                    </a:moveTo>
                    <a:lnTo>
                      <a:pt x="89" y="51"/>
                    </a:lnTo>
                    <a:lnTo>
                      <a:pt x="87" y="51"/>
                    </a:lnTo>
                    <a:close/>
                    <a:moveTo>
                      <a:pt x="53" y="45"/>
                    </a:moveTo>
                    <a:lnTo>
                      <a:pt x="55" y="45"/>
                    </a:lnTo>
                    <a:lnTo>
                      <a:pt x="55" y="46"/>
                    </a:lnTo>
                    <a:lnTo>
                      <a:pt x="53" y="46"/>
                    </a:lnTo>
                    <a:lnTo>
                      <a:pt x="53" y="45"/>
                    </a:lnTo>
                    <a:close/>
                    <a:moveTo>
                      <a:pt x="87" y="48"/>
                    </a:moveTo>
                    <a:lnTo>
                      <a:pt x="87" y="50"/>
                    </a:lnTo>
                    <a:lnTo>
                      <a:pt x="87" y="4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6" name="Freeform 31">
                <a:extLst>
                  <a:ext uri="{FF2B5EF4-FFF2-40B4-BE49-F238E27FC236}">
                    <a16:creationId xmlns:a16="http://schemas.microsoft.com/office/drawing/2014/main" id="{24F8747F-DACF-ADF6-8DC0-67FCE93DA038}"/>
                  </a:ext>
                </a:extLst>
              </p:cNvPr>
              <p:cNvSpPr>
                <a:spLocks noEditPoints="1"/>
              </p:cNvSpPr>
              <p:nvPr/>
            </p:nvSpPr>
            <p:spPr bwMode="auto">
              <a:xfrm>
                <a:off x="5837483" y="2889558"/>
                <a:ext cx="28784" cy="36422"/>
              </a:xfrm>
              <a:custGeom>
                <a:avLst/>
                <a:gdLst>
                  <a:gd name="T0" fmla="*/ 95 w 98"/>
                  <a:gd name="T1" fmla="*/ 59 h 124"/>
                  <a:gd name="T2" fmla="*/ 90 w 98"/>
                  <a:gd name="T3" fmla="*/ 66 h 124"/>
                  <a:gd name="T4" fmla="*/ 86 w 98"/>
                  <a:gd name="T5" fmla="*/ 73 h 124"/>
                  <a:gd name="T6" fmla="*/ 83 w 98"/>
                  <a:gd name="T7" fmla="*/ 78 h 124"/>
                  <a:gd name="T8" fmla="*/ 80 w 98"/>
                  <a:gd name="T9" fmla="*/ 83 h 124"/>
                  <a:gd name="T10" fmla="*/ 76 w 98"/>
                  <a:gd name="T11" fmla="*/ 88 h 124"/>
                  <a:gd name="T12" fmla="*/ 73 w 98"/>
                  <a:gd name="T13" fmla="*/ 93 h 124"/>
                  <a:gd name="T14" fmla="*/ 71 w 98"/>
                  <a:gd name="T15" fmla="*/ 100 h 124"/>
                  <a:gd name="T16" fmla="*/ 68 w 98"/>
                  <a:gd name="T17" fmla="*/ 105 h 124"/>
                  <a:gd name="T18" fmla="*/ 66 w 98"/>
                  <a:gd name="T19" fmla="*/ 112 h 124"/>
                  <a:gd name="T20" fmla="*/ 64 w 98"/>
                  <a:gd name="T21" fmla="*/ 115 h 124"/>
                  <a:gd name="T22" fmla="*/ 57 w 98"/>
                  <a:gd name="T23" fmla="*/ 119 h 124"/>
                  <a:gd name="T24" fmla="*/ 52 w 98"/>
                  <a:gd name="T25" fmla="*/ 122 h 124"/>
                  <a:gd name="T26" fmla="*/ 47 w 98"/>
                  <a:gd name="T27" fmla="*/ 120 h 124"/>
                  <a:gd name="T28" fmla="*/ 42 w 98"/>
                  <a:gd name="T29" fmla="*/ 117 h 124"/>
                  <a:gd name="T30" fmla="*/ 34 w 98"/>
                  <a:gd name="T31" fmla="*/ 119 h 124"/>
                  <a:gd name="T32" fmla="*/ 27 w 98"/>
                  <a:gd name="T33" fmla="*/ 117 h 124"/>
                  <a:gd name="T34" fmla="*/ 25 w 98"/>
                  <a:gd name="T35" fmla="*/ 117 h 124"/>
                  <a:gd name="T36" fmla="*/ 20 w 98"/>
                  <a:gd name="T37" fmla="*/ 117 h 124"/>
                  <a:gd name="T38" fmla="*/ 15 w 98"/>
                  <a:gd name="T39" fmla="*/ 120 h 124"/>
                  <a:gd name="T40" fmla="*/ 12 w 98"/>
                  <a:gd name="T41" fmla="*/ 122 h 124"/>
                  <a:gd name="T42" fmla="*/ 5 w 98"/>
                  <a:gd name="T43" fmla="*/ 120 h 124"/>
                  <a:gd name="T44" fmla="*/ 0 w 98"/>
                  <a:gd name="T45" fmla="*/ 117 h 124"/>
                  <a:gd name="T46" fmla="*/ 3 w 98"/>
                  <a:gd name="T47" fmla="*/ 114 h 124"/>
                  <a:gd name="T48" fmla="*/ 6 w 98"/>
                  <a:gd name="T49" fmla="*/ 109 h 124"/>
                  <a:gd name="T50" fmla="*/ 10 w 98"/>
                  <a:gd name="T51" fmla="*/ 103 h 124"/>
                  <a:gd name="T52" fmla="*/ 12 w 98"/>
                  <a:gd name="T53" fmla="*/ 97 h 124"/>
                  <a:gd name="T54" fmla="*/ 12 w 98"/>
                  <a:gd name="T55" fmla="*/ 93 h 124"/>
                  <a:gd name="T56" fmla="*/ 12 w 98"/>
                  <a:gd name="T57" fmla="*/ 88 h 124"/>
                  <a:gd name="T58" fmla="*/ 15 w 98"/>
                  <a:gd name="T59" fmla="*/ 83 h 124"/>
                  <a:gd name="T60" fmla="*/ 18 w 98"/>
                  <a:gd name="T61" fmla="*/ 78 h 124"/>
                  <a:gd name="T62" fmla="*/ 17 w 98"/>
                  <a:gd name="T63" fmla="*/ 71 h 124"/>
                  <a:gd name="T64" fmla="*/ 15 w 98"/>
                  <a:gd name="T65" fmla="*/ 68 h 124"/>
                  <a:gd name="T66" fmla="*/ 10 w 98"/>
                  <a:gd name="T67" fmla="*/ 64 h 124"/>
                  <a:gd name="T68" fmla="*/ 6 w 98"/>
                  <a:gd name="T69" fmla="*/ 59 h 124"/>
                  <a:gd name="T70" fmla="*/ 6 w 98"/>
                  <a:gd name="T71" fmla="*/ 54 h 124"/>
                  <a:gd name="T72" fmla="*/ 5 w 98"/>
                  <a:gd name="T73" fmla="*/ 47 h 124"/>
                  <a:gd name="T74" fmla="*/ 3 w 98"/>
                  <a:gd name="T75" fmla="*/ 41 h 124"/>
                  <a:gd name="T76" fmla="*/ 3 w 98"/>
                  <a:gd name="T77" fmla="*/ 35 h 124"/>
                  <a:gd name="T78" fmla="*/ 3 w 98"/>
                  <a:gd name="T79" fmla="*/ 29 h 124"/>
                  <a:gd name="T80" fmla="*/ 6 w 98"/>
                  <a:gd name="T81" fmla="*/ 22 h 124"/>
                  <a:gd name="T82" fmla="*/ 10 w 98"/>
                  <a:gd name="T83" fmla="*/ 15 h 124"/>
                  <a:gd name="T84" fmla="*/ 15 w 98"/>
                  <a:gd name="T85" fmla="*/ 10 h 124"/>
                  <a:gd name="T86" fmla="*/ 18 w 98"/>
                  <a:gd name="T87" fmla="*/ 5 h 124"/>
                  <a:gd name="T88" fmla="*/ 22 w 98"/>
                  <a:gd name="T89" fmla="*/ 1 h 124"/>
                  <a:gd name="T90" fmla="*/ 29 w 98"/>
                  <a:gd name="T91" fmla="*/ 3 h 124"/>
                  <a:gd name="T92" fmla="*/ 34 w 98"/>
                  <a:gd name="T93" fmla="*/ 6 h 124"/>
                  <a:gd name="T94" fmla="*/ 40 w 98"/>
                  <a:gd name="T95" fmla="*/ 8 h 124"/>
                  <a:gd name="T96" fmla="*/ 44 w 98"/>
                  <a:gd name="T97" fmla="*/ 6 h 124"/>
                  <a:gd name="T98" fmla="*/ 51 w 98"/>
                  <a:gd name="T99" fmla="*/ 10 h 124"/>
                  <a:gd name="T100" fmla="*/ 56 w 98"/>
                  <a:gd name="T101" fmla="*/ 12 h 124"/>
                  <a:gd name="T102" fmla="*/ 59 w 98"/>
                  <a:gd name="T103" fmla="*/ 17 h 124"/>
                  <a:gd name="T104" fmla="*/ 66 w 98"/>
                  <a:gd name="T105" fmla="*/ 22 h 124"/>
                  <a:gd name="T106" fmla="*/ 71 w 98"/>
                  <a:gd name="T107" fmla="*/ 27 h 124"/>
                  <a:gd name="T108" fmla="*/ 74 w 98"/>
                  <a:gd name="T109" fmla="*/ 29 h 124"/>
                  <a:gd name="T110" fmla="*/ 76 w 98"/>
                  <a:gd name="T111" fmla="*/ 29 h 124"/>
                  <a:gd name="T112" fmla="*/ 80 w 98"/>
                  <a:gd name="T113" fmla="*/ 30 h 124"/>
                  <a:gd name="T114" fmla="*/ 85 w 98"/>
                  <a:gd name="T115" fmla="*/ 35 h 124"/>
                  <a:gd name="T116" fmla="*/ 88 w 98"/>
                  <a:gd name="T117" fmla="*/ 37 h 124"/>
                  <a:gd name="T118" fmla="*/ 93 w 98"/>
                  <a:gd name="T119" fmla="*/ 41 h 124"/>
                  <a:gd name="T120" fmla="*/ 95 w 98"/>
                  <a:gd name="T121" fmla="*/ 47 h 124"/>
                  <a:gd name="T122" fmla="*/ 97 w 98"/>
                  <a:gd name="T123" fmla="*/ 51 h 124"/>
                  <a:gd name="T124" fmla="*/ 22 w 98"/>
                  <a:gd name="T125"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8" h="124">
                    <a:moveTo>
                      <a:pt x="98" y="56"/>
                    </a:moveTo>
                    <a:lnTo>
                      <a:pt x="98" y="58"/>
                    </a:lnTo>
                    <a:lnTo>
                      <a:pt x="97" y="58"/>
                    </a:lnTo>
                    <a:lnTo>
                      <a:pt x="97" y="59"/>
                    </a:lnTo>
                    <a:lnTo>
                      <a:pt x="95" y="59"/>
                    </a:lnTo>
                    <a:lnTo>
                      <a:pt x="93" y="61"/>
                    </a:lnTo>
                    <a:lnTo>
                      <a:pt x="93" y="63"/>
                    </a:lnTo>
                    <a:lnTo>
                      <a:pt x="93" y="64"/>
                    </a:lnTo>
                    <a:lnTo>
                      <a:pt x="91" y="64"/>
                    </a:lnTo>
                    <a:lnTo>
                      <a:pt x="90" y="66"/>
                    </a:lnTo>
                    <a:lnTo>
                      <a:pt x="88" y="68"/>
                    </a:lnTo>
                    <a:lnTo>
                      <a:pt x="88" y="69"/>
                    </a:lnTo>
                    <a:lnTo>
                      <a:pt x="86" y="69"/>
                    </a:lnTo>
                    <a:lnTo>
                      <a:pt x="86" y="71"/>
                    </a:lnTo>
                    <a:lnTo>
                      <a:pt x="86" y="73"/>
                    </a:lnTo>
                    <a:lnTo>
                      <a:pt x="85" y="73"/>
                    </a:lnTo>
                    <a:lnTo>
                      <a:pt x="85" y="75"/>
                    </a:lnTo>
                    <a:lnTo>
                      <a:pt x="85" y="76"/>
                    </a:lnTo>
                    <a:lnTo>
                      <a:pt x="83" y="76"/>
                    </a:lnTo>
                    <a:lnTo>
                      <a:pt x="83" y="78"/>
                    </a:lnTo>
                    <a:lnTo>
                      <a:pt x="81" y="78"/>
                    </a:lnTo>
                    <a:lnTo>
                      <a:pt x="81" y="80"/>
                    </a:lnTo>
                    <a:lnTo>
                      <a:pt x="81" y="81"/>
                    </a:lnTo>
                    <a:lnTo>
                      <a:pt x="80" y="81"/>
                    </a:lnTo>
                    <a:lnTo>
                      <a:pt x="80" y="83"/>
                    </a:lnTo>
                    <a:lnTo>
                      <a:pt x="80" y="85"/>
                    </a:lnTo>
                    <a:lnTo>
                      <a:pt x="78" y="85"/>
                    </a:lnTo>
                    <a:lnTo>
                      <a:pt x="76" y="85"/>
                    </a:lnTo>
                    <a:lnTo>
                      <a:pt x="76" y="86"/>
                    </a:lnTo>
                    <a:lnTo>
                      <a:pt x="76" y="88"/>
                    </a:lnTo>
                    <a:lnTo>
                      <a:pt x="74" y="88"/>
                    </a:lnTo>
                    <a:lnTo>
                      <a:pt x="74" y="90"/>
                    </a:lnTo>
                    <a:lnTo>
                      <a:pt x="74" y="92"/>
                    </a:lnTo>
                    <a:lnTo>
                      <a:pt x="74" y="93"/>
                    </a:lnTo>
                    <a:lnTo>
                      <a:pt x="73" y="93"/>
                    </a:lnTo>
                    <a:lnTo>
                      <a:pt x="73" y="95"/>
                    </a:lnTo>
                    <a:lnTo>
                      <a:pt x="73" y="97"/>
                    </a:lnTo>
                    <a:lnTo>
                      <a:pt x="71" y="97"/>
                    </a:lnTo>
                    <a:lnTo>
                      <a:pt x="71" y="98"/>
                    </a:lnTo>
                    <a:lnTo>
                      <a:pt x="71" y="100"/>
                    </a:lnTo>
                    <a:lnTo>
                      <a:pt x="69" y="100"/>
                    </a:lnTo>
                    <a:lnTo>
                      <a:pt x="69" y="102"/>
                    </a:lnTo>
                    <a:lnTo>
                      <a:pt x="69" y="103"/>
                    </a:lnTo>
                    <a:lnTo>
                      <a:pt x="68" y="103"/>
                    </a:lnTo>
                    <a:lnTo>
                      <a:pt x="68" y="105"/>
                    </a:lnTo>
                    <a:lnTo>
                      <a:pt x="68" y="107"/>
                    </a:lnTo>
                    <a:lnTo>
                      <a:pt x="68" y="109"/>
                    </a:lnTo>
                    <a:lnTo>
                      <a:pt x="68" y="110"/>
                    </a:lnTo>
                    <a:lnTo>
                      <a:pt x="66" y="110"/>
                    </a:lnTo>
                    <a:lnTo>
                      <a:pt x="66" y="112"/>
                    </a:lnTo>
                    <a:lnTo>
                      <a:pt x="64" y="112"/>
                    </a:lnTo>
                    <a:lnTo>
                      <a:pt x="66" y="112"/>
                    </a:lnTo>
                    <a:lnTo>
                      <a:pt x="64" y="112"/>
                    </a:lnTo>
                    <a:lnTo>
                      <a:pt x="64" y="114"/>
                    </a:lnTo>
                    <a:lnTo>
                      <a:pt x="64" y="115"/>
                    </a:lnTo>
                    <a:lnTo>
                      <a:pt x="63" y="115"/>
                    </a:lnTo>
                    <a:lnTo>
                      <a:pt x="61" y="115"/>
                    </a:lnTo>
                    <a:lnTo>
                      <a:pt x="59" y="117"/>
                    </a:lnTo>
                    <a:lnTo>
                      <a:pt x="57" y="117"/>
                    </a:lnTo>
                    <a:lnTo>
                      <a:pt x="57" y="119"/>
                    </a:lnTo>
                    <a:lnTo>
                      <a:pt x="56" y="119"/>
                    </a:lnTo>
                    <a:lnTo>
                      <a:pt x="56" y="120"/>
                    </a:lnTo>
                    <a:lnTo>
                      <a:pt x="54" y="120"/>
                    </a:lnTo>
                    <a:lnTo>
                      <a:pt x="54" y="122"/>
                    </a:lnTo>
                    <a:lnTo>
                      <a:pt x="52" y="122"/>
                    </a:lnTo>
                    <a:lnTo>
                      <a:pt x="52" y="120"/>
                    </a:lnTo>
                    <a:lnTo>
                      <a:pt x="51" y="120"/>
                    </a:lnTo>
                    <a:lnTo>
                      <a:pt x="49" y="120"/>
                    </a:lnTo>
                    <a:lnTo>
                      <a:pt x="49" y="119"/>
                    </a:lnTo>
                    <a:lnTo>
                      <a:pt x="47" y="120"/>
                    </a:lnTo>
                    <a:lnTo>
                      <a:pt x="46" y="120"/>
                    </a:lnTo>
                    <a:lnTo>
                      <a:pt x="44" y="120"/>
                    </a:lnTo>
                    <a:lnTo>
                      <a:pt x="44" y="119"/>
                    </a:lnTo>
                    <a:lnTo>
                      <a:pt x="44" y="117"/>
                    </a:lnTo>
                    <a:lnTo>
                      <a:pt x="42" y="117"/>
                    </a:lnTo>
                    <a:lnTo>
                      <a:pt x="40" y="117"/>
                    </a:lnTo>
                    <a:lnTo>
                      <a:pt x="39" y="117"/>
                    </a:lnTo>
                    <a:lnTo>
                      <a:pt x="37" y="117"/>
                    </a:lnTo>
                    <a:lnTo>
                      <a:pt x="35" y="119"/>
                    </a:lnTo>
                    <a:lnTo>
                      <a:pt x="34" y="119"/>
                    </a:lnTo>
                    <a:lnTo>
                      <a:pt x="32" y="119"/>
                    </a:lnTo>
                    <a:lnTo>
                      <a:pt x="32" y="117"/>
                    </a:lnTo>
                    <a:lnTo>
                      <a:pt x="30" y="117"/>
                    </a:lnTo>
                    <a:lnTo>
                      <a:pt x="29" y="117"/>
                    </a:lnTo>
                    <a:lnTo>
                      <a:pt x="27" y="117"/>
                    </a:lnTo>
                    <a:lnTo>
                      <a:pt x="27" y="115"/>
                    </a:lnTo>
                    <a:lnTo>
                      <a:pt x="25" y="115"/>
                    </a:lnTo>
                    <a:lnTo>
                      <a:pt x="23" y="115"/>
                    </a:lnTo>
                    <a:lnTo>
                      <a:pt x="23" y="117"/>
                    </a:lnTo>
                    <a:lnTo>
                      <a:pt x="25" y="117"/>
                    </a:lnTo>
                    <a:lnTo>
                      <a:pt x="23" y="117"/>
                    </a:lnTo>
                    <a:lnTo>
                      <a:pt x="22" y="117"/>
                    </a:lnTo>
                    <a:lnTo>
                      <a:pt x="22" y="119"/>
                    </a:lnTo>
                    <a:lnTo>
                      <a:pt x="20" y="119"/>
                    </a:lnTo>
                    <a:lnTo>
                      <a:pt x="20" y="117"/>
                    </a:lnTo>
                    <a:lnTo>
                      <a:pt x="20" y="119"/>
                    </a:lnTo>
                    <a:lnTo>
                      <a:pt x="20" y="120"/>
                    </a:lnTo>
                    <a:lnTo>
                      <a:pt x="18" y="120"/>
                    </a:lnTo>
                    <a:lnTo>
                      <a:pt x="17" y="120"/>
                    </a:lnTo>
                    <a:lnTo>
                      <a:pt x="15" y="120"/>
                    </a:lnTo>
                    <a:lnTo>
                      <a:pt x="15" y="122"/>
                    </a:lnTo>
                    <a:lnTo>
                      <a:pt x="15" y="124"/>
                    </a:lnTo>
                    <a:lnTo>
                      <a:pt x="13" y="124"/>
                    </a:lnTo>
                    <a:lnTo>
                      <a:pt x="13" y="122"/>
                    </a:lnTo>
                    <a:lnTo>
                      <a:pt x="12" y="122"/>
                    </a:lnTo>
                    <a:lnTo>
                      <a:pt x="10" y="122"/>
                    </a:lnTo>
                    <a:lnTo>
                      <a:pt x="8" y="122"/>
                    </a:lnTo>
                    <a:lnTo>
                      <a:pt x="6" y="122"/>
                    </a:lnTo>
                    <a:lnTo>
                      <a:pt x="6" y="120"/>
                    </a:lnTo>
                    <a:lnTo>
                      <a:pt x="5" y="120"/>
                    </a:lnTo>
                    <a:lnTo>
                      <a:pt x="3" y="120"/>
                    </a:lnTo>
                    <a:lnTo>
                      <a:pt x="1" y="119"/>
                    </a:lnTo>
                    <a:lnTo>
                      <a:pt x="0" y="119"/>
                    </a:lnTo>
                    <a:lnTo>
                      <a:pt x="1" y="117"/>
                    </a:lnTo>
                    <a:lnTo>
                      <a:pt x="0" y="117"/>
                    </a:lnTo>
                    <a:lnTo>
                      <a:pt x="1" y="115"/>
                    </a:lnTo>
                    <a:lnTo>
                      <a:pt x="1" y="117"/>
                    </a:lnTo>
                    <a:lnTo>
                      <a:pt x="1" y="115"/>
                    </a:lnTo>
                    <a:lnTo>
                      <a:pt x="1" y="114"/>
                    </a:lnTo>
                    <a:lnTo>
                      <a:pt x="3" y="114"/>
                    </a:lnTo>
                    <a:lnTo>
                      <a:pt x="3" y="112"/>
                    </a:lnTo>
                    <a:lnTo>
                      <a:pt x="5" y="112"/>
                    </a:lnTo>
                    <a:lnTo>
                      <a:pt x="5" y="110"/>
                    </a:lnTo>
                    <a:lnTo>
                      <a:pt x="6" y="110"/>
                    </a:lnTo>
                    <a:lnTo>
                      <a:pt x="6" y="109"/>
                    </a:lnTo>
                    <a:lnTo>
                      <a:pt x="6" y="107"/>
                    </a:lnTo>
                    <a:lnTo>
                      <a:pt x="8" y="107"/>
                    </a:lnTo>
                    <a:lnTo>
                      <a:pt x="8" y="105"/>
                    </a:lnTo>
                    <a:lnTo>
                      <a:pt x="8" y="103"/>
                    </a:lnTo>
                    <a:lnTo>
                      <a:pt x="10" y="103"/>
                    </a:lnTo>
                    <a:lnTo>
                      <a:pt x="10" y="102"/>
                    </a:lnTo>
                    <a:lnTo>
                      <a:pt x="12" y="102"/>
                    </a:lnTo>
                    <a:lnTo>
                      <a:pt x="12" y="100"/>
                    </a:lnTo>
                    <a:lnTo>
                      <a:pt x="12" y="98"/>
                    </a:lnTo>
                    <a:lnTo>
                      <a:pt x="12" y="97"/>
                    </a:lnTo>
                    <a:lnTo>
                      <a:pt x="12" y="95"/>
                    </a:lnTo>
                    <a:lnTo>
                      <a:pt x="13" y="95"/>
                    </a:lnTo>
                    <a:lnTo>
                      <a:pt x="12" y="93"/>
                    </a:lnTo>
                    <a:lnTo>
                      <a:pt x="13" y="93"/>
                    </a:lnTo>
                    <a:lnTo>
                      <a:pt x="12" y="93"/>
                    </a:lnTo>
                    <a:lnTo>
                      <a:pt x="12" y="92"/>
                    </a:lnTo>
                    <a:lnTo>
                      <a:pt x="12" y="90"/>
                    </a:lnTo>
                    <a:lnTo>
                      <a:pt x="12" y="88"/>
                    </a:lnTo>
                    <a:lnTo>
                      <a:pt x="12" y="90"/>
                    </a:lnTo>
                    <a:lnTo>
                      <a:pt x="12" y="88"/>
                    </a:lnTo>
                    <a:lnTo>
                      <a:pt x="12" y="86"/>
                    </a:lnTo>
                    <a:lnTo>
                      <a:pt x="13" y="86"/>
                    </a:lnTo>
                    <a:lnTo>
                      <a:pt x="13" y="85"/>
                    </a:lnTo>
                    <a:lnTo>
                      <a:pt x="13" y="83"/>
                    </a:lnTo>
                    <a:lnTo>
                      <a:pt x="15" y="83"/>
                    </a:lnTo>
                    <a:lnTo>
                      <a:pt x="17" y="83"/>
                    </a:lnTo>
                    <a:lnTo>
                      <a:pt x="17" y="81"/>
                    </a:lnTo>
                    <a:lnTo>
                      <a:pt x="17" y="80"/>
                    </a:lnTo>
                    <a:lnTo>
                      <a:pt x="18" y="80"/>
                    </a:lnTo>
                    <a:lnTo>
                      <a:pt x="18" y="78"/>
                    </a:lnTo>
                    <a:lnTo>
                      <a:pt x="18" y="76"/>
                    </a:lnTo>
                    <a:lnTo>
                      <a:pt x="18" y="75"/>
                    </a:lnTo>
                    <a:lnTo>
                      <a:pt x="18" y="73"/>
                    </a:lnTo>
                    <a:lnTo>
                      <a:pt x="18" y="71"/>
                    </a:lnTo>
                    <a:lnTo>
                      <a:pt x="17" y="71"/>
                    </a:lnTo>
                    <a:lnTo>
                      <a:pt x="17" y="73"/>
                    </a:lnTo>
                    <a:lnTo>
                      <a:pt x="17" y="71"/>
                    </a:lnTo>
                    <a:lnTo>
                      <a:pt x="15" y="71"/>
                    </a:lnTo>
                    <a:lnTo>
                      <a:pt x="15" y="69"/>
                    </a:lnTo>
                    <a:lnTo>
                      <a:pt x="15" y="68"/>
                    </a:lnTo>
                    <a:lnTo>
                      <a:pt x="15" y="66"/>
                    </a:lnTo>
                    <a:lnTo>
                      <a:pt x="13" y="66"/>
                    </a:lnTo>
                    <a:lnTo>
                      <a:pt x="12" y="66"/>
                    </a:lnTo>
                    <a:lnTo>
                      <a:pt x="12" y="64"/>
                    </a:lnTo>
                    <a:lnTo>
                      <a:pt x="10" y="64"/>
                    </a:lnTo>
                    <a:lnTo>
                      <a:pt x="10" y="63"/>
                    </a:lnTo>
                    <a:lnTo>
                      <a:pt x="8" y="63"/>
                    </a:lnTo>
                    <a:lnTo>
                      <a:pt x="8" y="61"/>
                    </a:lnTo>
                    <a:lnTo>
                      <a:pt x="8" y="59"/>
                    </a:lnTo>
                    <a:lnTo>
                      <a:pt x="6" y="59"/>
                    </a:lnTo>
                    <a:lnTo>
                      <a:pt x="6" y="58"/>
                    </a:lnTo>
                    <a:lnTo>
                      <a:pt x="6" y="56"/>
                    </a:lnTo>
                    <a:lnTo>
                      <a:pt x="8" y="56"/>
                    </a:lnTo>
                    <a:lnTo>
                      <a:pt x="8" y="54"/>
                    </a:lnTo>
                    <a:lnTo>
                      <a:pt x="6" y="54"/>
                    </a:lnTo>
                    <a:lnTo>
                      <a:pt x="5" y="54"/>
                    </a:lnTo>
                    <a:lnTo>
                      <a:pt x="5" y="52"/>
                    </a:lnTo>
                    <a:lnTo>
                      <a:pt x="5" y="51"/>
                    </a:lnTo>
                    <a:lnTo>
                      <a:pt x="5" y="49"/>
                    </a:lnTo>
                    <a:lnTo>
                      <a:pt x="5" y="47"/>
                    </a:lnTo>
                    <a:lnTo>
                      <a:pt x="3" y="47"/>
                    </a:lnTo>
                    <a:lnTo>
                      <a:pt x="3" y="46"/>
                    </a:lnTo>
                    <a:lnTo>
                      <a:pt x="3" y="44"/>
                    </a:lnTo>
                    <a:lnTo>
                      <a:pt x="3" y="42"/>
                    </a:lnTo>
                    <a:lnTo>
                      <a:pt x="3" y="41"/>
                    </a:lnTo>
                    <a:lnTo>
                      <a:pt x="5" y="41"/>
                    </a:lnTo>
                    <a:lnTo>
                      <a:pt x="5" y="39"/>
                    </a:lnTo>
                    <a:lnTo>
                      <a:pt x="3" y="39"/>
                    </a:lnTo>
                    <a:lnTo>
                      <a:pt x="3" y="37"/>
                    </a:lnTo>
                    <a:lnTo>
                      <a:pt x="3" y="35"/>
                    </a:lnTo>
                    <a:lnTo>
                      <a:pt x="3" y="34"/>
                    </a:lnTo>
                    <a:lnTo>
                      <a:pt x="3" y="32"/>
                    </a:lnTo>
                    <a:lnTo>
                      <a:pt x="3" y="30"/>
                    </a:lnTo>
                    <a:lnTo>
                      <a:pt x="1" y="29"/>
                    </a:lnTo>
                    <a:lnTo>
                      <a:pt x="3" y="29"/>
                    </a:lnTo>
                    <a:lnTo>
                      <a:pt x="3" y="27"/>
                    </a:lnTo>
                    <a:lnTo>
                      <a:pt x="3" y="25"/>
                    </a:lnTo>
                    <a:lnTo>
                      <a:pt x="5" y="23"/>
                    </a:lnTo>
                    <a:lnTo>
                      <a:pt x="5" y="22"/>
                    </a:lnTo>
                    <a:lnTo>
                      <a:pt x="6" y="22"/>
                    </a:lnTo>
                    <a:lnTo>
                      <a:pt x="6" y="20"/>
                    </a:lnTo>
                    <a:lnTo>
                      <a:pt x="8" y="18"/>
                    </a:lnTo>
                    <a:lnTo>
                      <a:pt x="8" y="17"/>
                    </a:lnTo>
                    <a:lnTo>
                      <a:pt x="10" y="17"/>
                    </a:lnTo>
                    <a:lnTo>
                      <a:pt x="10" y="15"/>
                    </a:lnTo>
                    <a:lnTo>
                      <a:pt x="12" y="15"/>
                    </a:lnTo>
                    <a:lnTo>
                      <a:pt x="13" y="13"/>
                    </a:lnTo>
                    <a:lnTo>
                      <a:pt x="13" y="12"/>
                    </a:lnTo>
                    <a:lnTo>
                      <a:pt x="15" y="12"/>
                    </a:lnTo>
                    <a:lnTo>
                      <a:pt x="15" y="10"/>
                    </a:lnTo>
                    <a:lnTo>
                      <a:pt x="17" y="10"/>
                    </a:lnTo>
                    <a:lnTo>
                      <a:pt x="17" y="8"/>
                    </a:lnTo>
                    <a:lnTo>
                      <a:pt x="18" y="8"/>
                    </a:lnTo>
                    <a:lnTo>
                      <a:pt x="18" y="6"/>
                    </a:lnTo>
                    <a:lnTo>
                      <a:pt x="18" y="5"/>
                    </a:lnTo>
                    <a:lnTo>
                      <a:pt x="18" y="3"/>
                    </a:lnTo>
                    <a:lnTo>
                      <a:pt x="18" y="1"/>
                    </a:lnTo>
                    <a:lnTo>
                      <a:pt x="20" y="1"/>
                    </a:lnTo>
                    <a:lnTo>
                      <a:pt x="20" y="0"/>
                    </a:lnTo>
                    <a:lnTo>
                      <a:pt x="22" y="1"/>
                    </a:lnTo>
                    <a:lnTo>
                      <a:pt x="23" y="1"/>
                    </a:lnTo>
                    <a:lnTo>
                      <a:pt x="25" y="1"/>
                    </a:lnTo>
                    <a:lnTo>
                      <a:pt x="27" y="1"/>
                    </a:lnTo>
                    <a:lnTo>
                      <a:pt x="27" y="3"/>
                    </a:lnTo>
                    <a:lnTo>
                      <a:pt x="29" y="3"/>
                    </a:lnTo>
                    <a:lnTo>
                      <a:pt x="30" y="3"/>
                    </a:lnTo>
                    <a:lnTo>
                      <a:pt x="30" y="5"/>
                    </a:lnTo>
                    <a:lnTo>
                      <a:pt x="32" y="5"/>
                    </a:lnTo>
                    <a:lnTo>
                      <a:pt x="34" y="5"/>
                    </a:lnTo>
                    <a:lnTo>
                      <a:pt x="34" y="6"/>
                    </a:lnTo>
                    <a:lnTo>
                      <a:pt x="35" y="6"/>
                    </a:lnTo>
                    <a:lnTo>
                      <a:pt x="37" y="6"/>
                    </a:lnTo>
                    <a:lnTo>
                      <a:pt x="39" y="6"/>
                    </a:lnTo>
                    <a:lnTo>
                      <a:pt x="40" y="6"/>
                    </a:lnTo>
                    <a:lnTo>
                      <a:pt x="40" y="8"/>
                    </a:lnTo>
                    <a:lnTo>
                      <a:pt x="42" y="8"/>
                    </a:lnTo>
                    <a:lnTo>
                      <a:pt x="44" y="8"/>
                    </a:lnTo>
                    <a:lnTo>
                      <a:pt x="42" y="8"/>
                    </a:lnTo>
                    <a:lnTo>
                      <a:pt x="42" y="6"/>
                    </a:lnTo>
                    <a:lnTo>
                      <a:pt x="44" y="6"/>
                    </a:lnTo>
                    <a:lnTo>
                      <a:pt x="44" y="8"/>
                    </a:lnTo>
                    <a:lnTo>
                      <a:pt x="46" y="8"/>
                    </a:lnTo>
                    <a:lnTo>
                      <a:pt x="47" y="8"/>
                    </a:lnTo>
                    <a:lnTo>
                      <a:pt x="49" y="10"/>
                    </a:lnTo>
                    <a:lnTo>
                      <a:pt x="51" y="10"/>
                    </a:lnTo>
                    <a:lnTo>
                      <a:pt x="52" y="12"/>
                    </a:lnTo>
                    <a:lnTo>
                      <a:pt x="52" y="10"/>
                    </a:lnTo>
                    <a:lnTo>
                      <a:pt x="54" y="10"/>
                    </a:lnTo>
                    <a:lnTo>
                      <a:pt x="54" y="12"/>
                    </a:lnTo>
                    <a:lnTo>
                      <a:pt x="56" y="12"/>
                    </a:lnTo>
                    <a:lnTo>
                      <a:pt x="56" y="13"/>
                    </a:lnTo>
                    <a:lnTo>
                      <a:pt x="57" y="13"/>
                    </a:lnTo>
                    <a:lnTo>
                      <a:pt x="57" y="15"/>
                    </a:lnTo>
                    <a:lnTo>
                      <a:pt x="59" y="15"/>
                    </a:lnTo>
                    <a:lnTo>
                      <a:pt x="59" y="17"/>
                    </a:lnTo>
                    <a:lnTo>
                      <a:pt x="61" y="17"/>
                    </a:lnTo>
                    <a:lnTo>
                      <a:pt x="61" y="18"/>
                    </a:lnTo>
                    <a:lnTo>
                      <a:pt x="63" y="18"/>
                    </a:lnTo>
                    <a:lnTo>
                      <a:pt x="64" y="20"/>
                    </a:lnTo>
                    <a:lnTo>
                      <a:pt x="66" y="22"/>
                    </a:lnTo>
                    <a:lnTo>
                      <a:pt x="68" y="23"/>
                    </a:lnTo>
                    <a:lnTo>
                      <a:pt x="69" y="23"/>
                    </a:lnTo>
                    <a:lnTo>
                      <a:pt x="69" y="25"/>
                    </a:lnTo>
                    <a:lnTo>
                      <a:pt x="71" y="25"/>
                    </a:lnTo>
                    <a:lnTo>
                      <a:pt x="71" y="27"/>
                    </a:lnTo>
                    <a:lnTo>
                      <a:pt x="73" y="27"/>
                    </a:lnTo>
                    <a:lnTo>
                      <a:pt x="73" y="29"/>
                    </a:lnTo>
                    <a:lnTo>
                      <a:pt x="74" y="29"/>
                    </a:lnTo>
                    <a:lnTo>
                      <a:pt x="73" y="29"/>
                    </a:lnTo>
                    <a:lnTo>
                      <a:pt x="74" y="29"/>
                    </a:lnTo>
                    <a:lnTo>
                      <a:pt x="74" y="27"/>
                    </a:lnTo>
                    <a:lnTo>
                      <a:pt x="76" y="27"/>
                    </a:lnTo>
                    <a:lnTo>
                      <a:pt x="76" y="29"/>
                    </a:lnTo>
                    <a:lnTo>
                      <a:pt x="78" y="29"/>
                    </a:lnTo>
                    <a:lnTo>
                      <a:pt x="76" y="29"/>
                    </a:lnTo>
                    <a:lnTo>
                      <a:pt x="78" y="30"/>
                    </a:lnTo>
                    <a:lnTo>
                      <a:pt x="76" y="30"/>
                    </a:lnTo>
                    <a:lnTo>
                      <a:pt x="78" y="32"/>
                    </a:lnTo>
                    <a:lnTo>
                      <a:pt x="78" y="30"/>
                    </a:lnTo>
                    <a:lnTo>
                      <a:pt x="80" y="30"/>
                    </a:lnTo>
                    <a:lnTo>
                      <a:pt x="80" y="32"/>
                    </a:lnTo>
                    <a:lnTo>
                      <a:pt x="81" y="32"/>
                    </a:lnTo>
                    <a:lnTo>
                      <a:pt x="81" y="34"/>
                    </a:lnTo>
                    <a:lnTo>
                      <a:pt x="83" y="34"/>
                    </a:lnTo>
                    <a:lnTo>
                      <a:pt x="85" y="35"/>
                    </a:lnTo>
                    <a:lnTo>
                      <a:pt x="86" y="35"/>
                    </a:lnTo>
                    <a:lnTo>
                      <a:pt x="86" y="37"/>
                    </a:lnTo>
                    <a:lnTo>
                      <a:pt x="86" y="39"/>
                    </a:lnTo>
                    <a:lnTo>
                      <a:pt x="88" y="39"/>
                    </a:lnTo>
                    <a:lnTo>
                      <a:pt x="88" y="37"/>
                    </a:lnTo>
                    <a:lnTo>
                      <a:pt x="90" y="37"/>
                    </a:lnTo>
                    <a:lnTo>
                      <a:pt x="91" y="37"/>
                    </a:lnTo>
                    <a:lnTo>
                      <a:pt x="91" y="39"/>
                    </a:lnTo>
                    <a:lnTo>
                      <a:pt x="93" y="39"/>
                    </a:lnTo>
                    <a:lnTo>
                      <a:pt x="93" y="41"/>
                    </a:lnTo>
                    <a:lnTo>
                      <a:pt x="93" y="42"/>
                    </a:lnTo>
                    <a:lnTo>
                      <a:pt x="93" y="44"/>
                    </a:lnTo>
                    <a:lnTo>
                      <a:pt x="95" y="44"/>
                    </a:lnTo>
                    <a:lnTo>
                      <a:pt x="95" y="46"/>
                    </a:lnTo>
                    <a:lnTo>
                      <a:pt x="95" y="47"/>
                    </a:lnTo>
                    <a:lnTo>
                      <a:pt x="97" y="46"/>
                    </a:lnTo>
                    <a:lnTo>
                      <a:pt x="95" y="47"/>
                    </a:lnTo>
                    <a:lnTo>
                      <a:pt x="95" y="49"/>
                    </a:lnTo>
                    <a:lnTo>
                      <a:pt x="97" y="49"/>
                    </a:lnTo>
                    <a:lnTo>
                      <a:pt x="97" y="51"/>
                    </a:lnTo>
                    <a:lnTo>
                      <a:pt x="97" y="52"/>
                    </a:lnTo>
                    <a:lnTo>
                      <a:pt x="98" y="52"/>
                    </a:lnTo>
                    <a:lnTo>
                      <a:pt x="98" y="54"/>
                    </a:lnTo>
                    <a:lnTo>
                      <a:pt x="98" y="56"/>
                    </a:lnTo>
                    <a:close/>
                    <a:moveTo>
                      <a:pt x="22" y="0"/>
                    </a:moveTo>
                    <a:lnTo>
                      <a:pt x="23" y="0"/>
                    </a:lnTo>
                    <a:lnTo>
                      <a:pt x="23" y="1"/>
                    </a:lnTo>
                    <a:lnTo>
                      <a:pt x="22" y="1"/>
                    </a:lnTo>
                    <a:lnTo>
                      <a:pt x="22"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2" name="Freeform 32">
                <a:extLst>
                  <a:ext uri="{FF2B5EF4-FFF2-40B4-BE49-F238E27FC236}">
                    <a16:creationId xmlns:a16="http://schemas.microsoft.com/office/drawing/2014/main" id="{06672731-41A3-3FF1-75F2-190314A020FB}"/>
                  </a:ext>
                </a:extLst>
              </p:cNvPr>
              <p:cNvSpPr>
                <a:spLocks noEditPoints="1"/>
              </p:cNvSpPr>
              <p:nvPr/>
            </p:nvSpPr>
            <p:spPr bwMode="auto">
              <a:xfrm>
                <a:off x="5765520" y="2821415"/>
                <a:ext cx="3819" cy="5581"/>
              </a:xfrm>
              <a:custGeom>
                <a:avLst/>
                <a:gdLst>
                  <a:gd name="T0" fmla="*/ 5 w 13"/>
                  <a:gd name="T1" fmla="*/ 11 h 19"/>
                  <a:gd name="T2" fmla="*/ 7 w 13"/>
                  <a:gd name="T3" fmla="*/ 11 h 19"/>
                  <a:gd name="T4" fmla="*/ 7 w 13"/>
                  <a:gd name="T5" fmla="*/ 12 h 19"/>
                  <a:gd name="T6" fmla="*/ 7 w 13"/>
                  <a:gd name="T7" fmla="*/ 14 h 19"/>
                  <a:gd name="T8" fmla="*/ 7 w 13"/>
                  <a:gd name="T9" fmla="*/ 16 h 19"/>
                  <a:gd name="T10" fmla="*/ 5 w 13"/>
                  <a:gd name="T11" fmla="*/ 17 h 19"/>
                  <a:gd name="T12" fmla="*/ 3 w 13"/>
                  <a:gd name="T13" fmla="*/ 17 h 19"/>
                  <a:gd name="T14" fmla="*/ 3 w 13"/>
                  <a:gd name="T15" fmla="*/ 19 h 19"/>
                  <a:gd name="T16" fmla="*/ 3 w 13"/>
                  <a:gd name="T17" fmla="*/ 17 h 19"/>
                  <a:gd name="T18" fmla="*/ 3 w 13"/>
                  <a:gd name="T19" fmla="*/ 19 h 19"/>
                  <a:gd name="T20" fmla="*/ 3 w 13"/>
                  <a:gd name="T21" fmla="*/ 17 h 19"/>
                  <a:gd name="T22" fmla="*/ 3 w 13"/>
                  <a:gd name="T23" fmla="*/ 19 h 19"/>
                  <a:gd name="T24" fmla="*/ 2 w 13"/>
                  <a:gd name="T25" fmla="*/ 17 h 19"/>
                  <a:gd name="T26" fmla="*/ 2 w 13"/>
                  <a:gd name="T27" fmla="*/ 19 h 19"/>
                  <a:gd name="T28" fmla="*/ 0 w 13"/>
                  <a:gd name="T29" fmla="*/ 19 h 19"/>
                  <a:gd name="T30" fmla="*/ 2 w 13"/>
                  <a:gd name="T31" fmla="*/ 17 h 19"/>
                  <a:gd name="T32" fmla="*/ 2 w 13"/>
                  <a:gd name="T33" fmla="*/ 16 h 19"/>
                  <a:gd name="T34" fmla="*/ 2 w 13"/>
                  <a:gd name="T35" fmla="*/ 14 h 19"/>
                  <a:gd name="T36" fmla="*/ 3 w 13"/>
                  <a:gd name="T37" fmla="*/ 12 h 19"/>
                  <a:gd name="T38" fmla="*/ 3 w 13"/>
                  <a:gd name="T39" fmla="*/ 11 h 19"/>
                  <a:gd name="T40" fmla="*/ 5 w 13"/>
                  <a:gd name="T41" fmla="*/ 11 h 19"/>
                  <a:gd name="T42" fmla="*/ 10 w 13"/>
                  <a:gd name="T43" fmla="*/ 0 h 19"/>
                  <a:gd name="T44" fmla="*/ 13 w 13"/>
                  <a:gd name="T45" fmla="*/ 0 h 19"/>
                  <a:gd name="T46" fmla="*/ 13 w 13"/>
                  <a:gd name="T47" fmla="*/ 4 h 19"/>
                  <a:gd name="T48" fmla="*/ 10 w 13"/>
                  <a:gd name="T49" fmla="*/ 4 h 19"/>
                  <a:gd name="T50" fmla="*/ 10 w 13"/>
                  <a:gd name="T51" fmla="*/ 0 h 19"/>
                  <a:gd name="T52" fmla="*/ 7 w 13"/>
                  <a:gd name="T53" fmla="*/ 7 h 19"/>
                  <a:gd name="T54" fmla="*/ 7 w 13"/>
                  <a:gd name="T55" fmla="*/ 9 h 19"/>
                  <a:gd name="T56" fmla="*/ 7 w 13"/>
                  <a:gd name="T57" fmla="*/ 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 h="19">
                    <a:moveTo>
                      <a:pt x="5" y="11"/>
                    </a:moveTo>
                    <a:lnTo>
                      <a:pt x="7" y="11"/>
                    </a:lnTo>
                    <a:lnTo>
                      <a:pt x="7" y="12"/>
                    </a:lnTo>
                    <a:lnTo>
                      <a:pt x="7" y="14"/>
                    </a:lnTo>
                    <a:lnTo>
                      <a:pt x="7" y="16"/>
                    </a:lnTo>
                    <a:lnTo>
                      <a:pt x="5" y="17"/>
                    </a:lnTo>
                    <a:lnTo>
                      <a:pt x="3" y="17"/>
                    </a:lnTo>
                    <a:lnTo>
                      <a:pt x="3" y="19"/>
                    </a:lnTo>
                    <a:lnTo>
                      <a:pt x="3" y="17"/>
                    </a:lnTo>
                    <a:lnTo>
                      <a:pt x="3" y="19"/>
                    </a:lnTo>
                    <a:lnTo>
                      <a:pt x="3" y="17"/>
                    </a:lnTo>
                    <a:lnTo>
                      <a:pt x="3" y="19"/>
                    </a:lnTo>
                    <a:lnTo>
                      <a:pt x="2" y="17"/>
                    </a:lnTo>
                    <a:lnTo>
                      <a:pt x="2" y="19"/>
                    </a:lnTo>
                    <a:lnTo>
                      <a:pt x="0" y="19"/>
                    </a:lnTo>
                    <a:lnTo>
                      <a:pt x="2" y="17"/>
                    </a:lnTo>
                    <a:lnTo>
                      <a:pt x="2" y="16"/>
                    </a:lnTo>
                    <a:lnTo>
                      <a:pt x="2" y="14"/>
                    </a:lnTo>
                    <a:lnTo>
                      <a:pt x="3" y="12"/>
                    </a:lnTo>
                    <a:lnTo>
                      <a:pt x="3" y="11"/>
                    </a:lnTo>
                    <a:lnTo>
                      <a:pt x="5" y="11"/>
                    </a:lnTo>
                    <a:close/>
                    <a:moveTo>
                      <a:pt x="10" y="0"/>
                    </a:moveTo>
                    <a:lnTo>
                      <a:pt x="13" y="0"/>
                    </a:lnTo>
                    <a:lnTo>
                      <a:pt x="13" y="4"/>
                    </a:lnTo>
                    <a:lnTo>
                      <a:pt x="10" y="4"/>
                    </a:lnTo>
                    <a:lnTo>
                      <a:pt x="10" y="0"/>
                    </a:lnTo>
                    <a:close/>
                    <a:moveTo>
                      <a:pt x="7" y="7"/>
                    </a:moveTo>
                    <a:lnTo>
                      <a:pt x="7" y="9"/>
                    </a:lnTo>
                    <a:lnTo>
                      <a:pt x="7" y="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8" name="Freeform 35">
                <a:extLst>
                  <a:ext uri="{FF2B5EF4-FFF2-40B4-BE49-F238E27FC236}">
                    <a16:creationId xmlns:a16="http://schemas.microsoft.com/office/drawing/2014/main" id="{2C2C04CE-0F63-47A7-AC2F-3E7C6D314921}"/>
                  </a:ext>
                </a:extLst>
              </p:cNvPr>
              <p:cNvSpPr>
                <a:spLocks noEditPoints="1"/>
              </p:cNvSpPr>
              <p:nvPr/>
            </p:nvSpPr>
            <p:spPr bwMode="auto">
              <a:xfrm>
                <a:off x="5769340" y="2861949"/>
                <a:ext cx="42589" cy="72842"/>
              </a:xfrm>
              <a:custGeom>
                <a:avLst/>
                <a:gdLst>
                  <a:gd name="T0" fmla="*/ 140 w 145"/>
                  <a:gd name="T1" fmla="*/ 112 h 248"/>
                  <a:gd name="T2" fmla="*/ 138 w 145"/>
                  <a:gd name="T3" fmla="*/ 117 h 248"/>
                  <a:gd name="T4" fmla="*/ 128 w 145"/>
                  <a:gd name="T5" fmla="*/ 119 h 248"/>
                  <a:gd name="T6" fmla="*/ 118 w 145"/>
                  <a:gd name="T7" fmla="*/ 128 h 248"/>
                  <a:gd name="T8" fmla="*/ 116 w 145"/>
                  <a:gd name="T9" fmla="*/ 140 h 248"/>
                  <a:gd name="T10" fmla="*/ 114 w 145"/>
                  <a:gd name="T11" fmla="*/ 153 h 248"/>
                  <a:gd name="T12" fmla="*/ 123 w 145"/>
                  <a:gd name="T13" fmla="*/ 165 h 248"/>
                  <a:gd name="T14" fmla="*/ 128 w 145"/>
                  <a:gd name="T15" fmla="*/ 177 h 248"/>
                  <a:gd name="T16" fmla="*/ 133 w 145"/>
                  <a:gd name="T17" fmla="*/ 192 h 248"/>
                  <a:gd name="T18" fmla="*/ 128 w 145"/>
                  <a:gd name="T19" fmla="*/ 199 h 248"/>
                  <a:gd name="T20" fmla="*/ 119 w 145"/>
                  <a:gd name="T21" fmla="*/ 206 h 248"/>
                  <a:gd name="T22" fmla="*/ 118 w 145"/>
                  <a:gd name="T23" fmla="*/ 214 h 248"/>
                  <a:gd name="T24" fmla="*/ 118 w 145"/>
                  <a:gd name="T25" fmla="*/ 226 h 248"/>
                  <a:gd name="T26" fmla="*/ 106 w 145"/>
                  <a:gd name="T27" fmla="*/ 231 h 248"/>
                  <a:gd name="T28" fmla="*/ 99 w 145"/>
                  <a:gd name="T29" fmla="*/ 240 h 248"/>
                  <a:gd name="T30" fmla="*/ 94 w 145"/>
                  <a:gd name="T31" fmla="*/ 245 h 248"/>
                  <a:gd name="T32" fmla="*/ 84 w 145"/>
                  <a:gd name="T33" fmla="*/ 245 h 248"/>
                  <a:gd name="T34" fmla="*/ 70 w 145"/>
                  <a:gd name="T35" fmla="*/ 238 h 248"/>
                  <a:gd name="T36" fmla="*/ 62 w 145"/>
                  <a:gd name="T37" fmla="*/ 231 h 248"/>
                  <a:gd name="T38" fmla="*/ 57 w 145"/>
                  <a:gd name="T39" fmla="*/ 220 h 248"/>
                  <a:gd name="T40" fmla="*/ 51 w 145"/>
                  <a:gd name="T41" fmla="*/ 208 h 248"/>
                  <a:gd name="T42" fmla="*/ 48 w 145"/>
                  <a:gd name="T43" fmla="*/ 192 h 248"/>
                  <a:gd name="T44" fmla="*/ 51 w 145"/>
                  <a:gd name="T45" fmla="*/ 180 h 248"/>
                  <a:gd name="T46" fmla="*/ 53 w 145"/>
                  <a:gd name="T47" fmla="*/ 172 h 248"/>
                  <a:gd name="T48" fmla="*/ 58 w 145"/>
                  <a:gd name="T49" fmla="*/ 162 h 248"/>
                  <a:gd name="T50" fmla="*/ 60 w 145"/>
                  <a:gd name="T51" fmla="*/ 152 h 248"/>
                  <a:gd name="T52" fmla="*/ 57 w 145"/>
                  <a:gd name="T53" fmla="*/ 141 h 248"/>
                  <a:gd name="T54" fmla="*/ 46 w 145"/>
                  <a:gd name="T55" fmla="*/ 138 h 248"/>
                  <a:gd name="T56" fmla="*/ 46 w 145"/>
                  <a:gd name="T57" fmla="*/ 128 h 248"/>
                  <a:gd name="T58" fmla="*/ 43 w 145"/>
                  <a:gd name="T59" fmla="*/ 112 h 248"/>
                  <a:gd name="T60" fmla="*/ 31 w 145"/>
                  <a:gd name="T61" fmla="*/ 112 h 248"/>
                  <a:gd name="T62" fmla="*/ 0 w 145"/>
                  <a:gd name="T63" fmla="*/ 89 h 248"/>
                  <a:gd name="T64" fmla="*/ 9 w 145"/>
                  <a:gd name="T65" fmla="*/ 77 h 248"/>
                  <a:gd name="T66" fmla="*/ 7 w 145"/>
                  <a:gd name="T67" fmla="*/ 66 h 248"/>
                  <a:gd name="T68" fmla="*/ 16 w 145"/>
                  <a:gd name="T69" fmla="*/ 61 h 248"/>
                  <a:gd name="T70" fmla="*/ 24 w 145"/>
                  <a:gd name="T71" fmla="*/ 58 h 248"/>
                  <a:gd name="T72" fmla="*/ 36 w 145"/>
                  <a:gd name="T73" fmla="*/ 51 h 248"/>
                  <a:gd name="T74" fmla="*/ 29 w 145"/>
                  <a:gd name="T75" fmla="*/ 46 h 248"/>
                  <a:gd name="T76" fmla="*/ 26 w 145"/>
                  <a:gd name="T77" fmla="*/ 32 h 248"/>
                  <a:gd name="T78" fmla="*/ 38 w 145"/>
                  <a:gd name="T79" fmla="*/ 22 h 248"/>
                  <a:gd name="T80" fmla="*/ 50 w 145"/>
                  <a:gd name="T81" fmla="*/ 10 h 248"/>
                  <a:gd name="T82" fmla="*/ 53 w 145"/>
                  <a:gd name="T83" fmla="*/ 5 h 248"/>
                  <a:gd name="T84" fmla="*/ 63 w 145"/>
                  <a:gd name="T85" fmla="*/ 9 h 248"/>
                  <a:gd name="T86" fmla="*/ 79 w 145"/>
                  <a:gd name="T87" fmla="*/ 17 h 248"/>
                  <a:gd name="T88" fmla="*/ 91 w 145"/>
                  <a:gd name="T89" fmla="*/ 32 h 248"/>
                  <a:gd name="T90" fmla="*/ 99 w 145"/>
                  <a:gd name="T91" fmla="*/ 44 h 248"/>
                  <a:gd name="T92" fmla="*/ 96 w 145"/>
                  <a:gd name="T93" fmla="*/ 61 h 248"/>
                  <a:gd name="T94" fmla="*/ 94 w 145"/>
                  <a:gd name="T95" fmla="*/ 73 h 248"/>
                  <a:gd name="T96" fmla="*/ 97 w 145"/>
                  <a:gd name="T97" fmla="*/ 61 h 248"/>
                  <a:gd name="T98" fmla="*/ 111 w 145"/>
                  <a:gd name="T99" fmla="*/ 58 h 248"/>
                  <a:gd name="T100" fmla="*/ 125 w 145"/>
                  <a:gd name="T101" fmla="*/ 66 h 248"/>
                  <a:gd name="T102" fmla="*/ 135 w 145"/>
                  <a:gd name="T103" fmla="*/ 75 h 248"/>
                  <a:gd name="T104" fmla="*/ 145 w 145"/>
                  <a:gd name="T105" fmla="*/ 87 h 248"/>
                  <a:gd name="T106" fmla="*/ 99 w 145"/>
                  <a:gd name="T107" fmla="*/ 56 h 248"/>
                  <a:gd name="T108" fmla="*/ 102 w 145"/>
                  <a:gd name="T109" fmla="*/ 53 h 248"/>
                  <a:gd name="T110" fmla="*/ 101 w 145"/>
                  <a:gd name="T111" fmla="*/ 53 h 248"/>
                  <a:gd name="T112" fmla="*/ 99 w 145"/>
                  <a:gd name="T113" fmla="*/ 49 h 248"/>
                  <a:gd name="T114" fmla="*/ 97 w 145"/>
                  <a:gd name="T115" fmla="*/ 53 h 248"/>
                  <a:gd name="T116" fmla="*/ 97 w 145"/>
                  <a:gd name="T117" fmla="*/ 60 h 248"/>
                  <a:gd name="T118" fmla="*/ 94 w 145"/>
                  <a:gd name="T119" fmla="*/ 6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5" h="248">
                    <a:moveTo>
                      <a:pt x="143" y="97"/>
                    </a:moveTo>
                    <a:lnTo>
                      <a:pt x="143" y="99"/>
                    </a:lnTo>
                    <a:lnTo>
                      <a:pt x="142" y="100"/>
                    </a:lnTo>
                    <a:lnTo>
                      <a:pt x="142" y="102"/>
                    </a:lnTo>
                    <a:lnTo>
                      <a:pt x="140" y="104"/>
                    </a:lnTo>
                    <a:lnTo>
                      <a:pt x="140" y="106"/>
                    </a:lnTo>
                    <a:lnTo>
                      <a:pt x="140" y="107"/>
                    </a:lnTo>
                    <a:lnTo>
                      <a:pt x="138" y="107"/>
                    </a:lnTo>
                    <a:lnTo>
                      <a:pt x="138" y="109"/>
                    </a:lnTo>
                    <a:lnTo>
                      <a:pt x="140" y="109"/>
                    </a:lnTo>
                    <a:lnTo>
                      <a:pt x="140" y="111"/>
                    </a:lnTo>
                    <a:lnTo>
                      <a:pt x="140" y="112"/>
                    </a:lnTo>
                    <a:lnTo>
                      <a:pt x="140" y="111"/>
                    </a:lnTo>
                    <a:lnTo>
                      <a:pt x="142" y="111"/>
                    </a:lnTo>
                    <a:lnTo>
                      <a:pt x="142" y="112"/>
                    </a:lnTo>
                    <a:lnTo>
                      <a:pt x="143" y="112"/>
                    </a:lnTo>
                    <a:lnTo>
                      <a:pt x="143" y="114"/>
                    </a:lnTo>
                    <a:lnTo>
                      <a:pt x="142" y="114"/>
                    </a:lnTo>
                    <a:lnTo>
                      <a:pt x="142" y="116"/>
                    </a:lnTo>
                    <a:lnTo>
                      <a:pt x="142" y="114"/>
                    </a:lnTo>
                    <a:lnTo>
                      <a:pt x="140" y="114"/>
                    </a:lnTo>
                    <a:lnTo>
                      <a:pt x="138" y="114"/>
                    </a:lnTo>
                    <a:lnTo>
                      <a:pt x="138" y="116"/>
                    </a:lnTo>
                    <a:lnTo>
                      <a:pt x="138" y="117"/>
                    </a:lnTo>
                    <a:lnTo>
                      <a:pt x="140" y="117"/>
                    </a:lnTo>
                    <a:lnTo>
                      <a:pt x="140" y="119"/>
                    </a:lnTo>
                    <a:lnTo>
                      <a:pt x="138" y="119"/>
                    </a:lnTo>
                    <a:lnTo>
                      <a:pt x="136" y="119"/>
                    </a:lnTo>
                    <a:lnTo>
                      <a:pt x="135" y="119"/>
                    </a:lnTo>
                    <a:lnTo>
                      <a:pt x="135" y="121"/>
                    </a:lnTo>
                    <a:lnTo>
                      <a:pt x="135" y="119"/>
                    </a:lnTo>
                    <a:lnTo>
                      <a:pt x="133" y="119"/>
                    </a:lnTo>
                    <a:lnTo>
                      <a:pt x="133" y="121"/>
                    </a:lnTo>
                    <a:lnTo>
                      <a:pt x="131" y="119"/>
                    </a:lnTo>
                    <a:lnTo>
                      <a:pt x="130" y="119"/>
                    </a:lnTo>
                    <a:lnTo>
                      <a:pt x="128" y="119"/>
                    </a:lnTo>
                    <a:lnTo>
                      <a:pt x="128" y="121"/>
                    </a:lnTo>
                    <a:lnTo>
                      <a:pt x="126" y="119"/>
                    </a:lnTo>
                    <a:lnTo>
                      <a:pt x="125" y="119"/>
                    </a:lnTo>
                    <a:lnTo>
                      <a:pt x="125" y="121"/>
                    </a:lnTo>
                    <a:lnTo>
                      <a:pt x="123" y="121"/>
                    </a:lnTo>
                    <a:lnTo>
                      <a:pt x="123" y="123"/>
                    </a:lnTo>
                    <a:lnTo>
                      <a:pt x="121" y="123"/>
                    </a:lnTo>
                    <a:lnTo>
                      <a:pt x="119" y="123"/>
                    </a:lnTo>
                    <a:lnTo>
                      <a:pt x="119" y="124"/>
                    </a:lnTo>
                    <a:lnTo>
                      <a:pt x="118" y="124"/>
                    </a:lnTo>
                    <a:lnTo>
                      <a:pt x="118" y="126"/>
                    </a:lnTo>
                    <a:lnTo>
                      <a:pt x="118" y="128"/>
                    </a:lnTo>
                    <a:lnTo>
                      <a:pt x="119" y="128"/>
                    </a:lnTo>
                    <a:lnTo>
                      <a:pt x="119" y="129"/>
                    </a:lnTo>
                    <a:lnTo>
                      <a:pt x="121" y="129"/>
                    </a:lnTo>
                    <a:lnTo>
                      <a:pt x="121" y="131"/>
                    </a:lnTo>
                    <a:lnTo>
                      <a:pt x="121" y="133"/>
                    </a:lnTo>
                    <a:lnTo>
                      <a:pt x="119" y="133"/>
                    </a:lnTo>
                    <a:lnTo>
                      <a:pt x="119" y="135"/>
                    </a:lnTo>
                    <a:lnTo>
                      <a:pt x="119" y="136"/>
                    </a:lnTo>
                    <a:lnTo>
                      <a:pt x="118" y="136"/>
                    </a:lnTo>
                    <a:lnTo>
                      <a:pt x="118" y="138"/>
                    </a:lnTo>
                    <a:lnTo>
                      <a:pt x="118" y="140"/>
                    </a:lnTo>
                    <a:lnTo>
                      <a:pt x="116" y="140"/>
                    </a:lnTo>
                    <a:lnTo>
                      <a:pt x="116" y="141"/>
                    </a:lnTo>
                    <a:lnTo>
                      <a:pt x="118" y="141"/>
                    </a:lnTo>
                    <a:lnTo>
                      <a:pt x="118" y="143"/>
                    </a:lnTo>
                    <a:lnTo>
                      <a:pt x="116" y="143"/>
                    </a:lnTo>
                    <a:lnTo>
                      <a:pt x="116" y="145"/>
                    </a:lnTo>
                    <a:lnTo>
                      <a:pt x="114" y="145"/>
                    </a:lnTo>
                    <a:lnTo>
                      <a:pt x="114" y="146"/>
                    </a:lnTo>
                    <a:lnTo>
                      <a:pt x="114" y="148"/>
                    </a:lnTo>
                    <a:lnTo>
                      <a:pt x="113" y="148"/>
                    </a:lnTo>
                    <a:lnTo>
                      <a:pt x="114" y="150"/>
                    </a:lnTo>
                    <a:lnTo>
                      <a:pt x="114" y="152"/>
                    </a:lnTo>
                    <a:lnTo>
                      <a:pt x="114" y="153"/>
                    </a:lnTo>
                    <a:lnTo>
                      <a:pt x="114" y="155"/>
                    </a:lnTo>
                    <a:lnTo>
                      <a:pt x="116" y="155"/>
                    </a:lnTo>
                    <a:lnTo>
                      <a:pt x="116" y="157"/>
                    </a:lnTo>
                    <a:lnTo>
                      <a:pt x="118" y="157"/>
                    </a:lnTo>
                    <a:lnTo>
                      <a:pt x="118" y="158"/>
                    </a:lnTo>
                    <a:lnTo>
                      <a:pt x="119" y="158"/>
                    </a:lnTo>
                    <a:lnTo>
                      <a:pt x="119" y="160"/>
                    </a:lnTo>
                    <a:lnTo>
                      <a:pt x="119" y="162"/>
                    </a:lnTo>
                    <a:lnTo>
                      <a:pt x="121" y="162"/>
                    </a:lnTo>
                    <a:lnTo>
                      <a:pt x="121" y="163"/>
                    </a:lnTo>
                    <a:lnTo>
                      <a:pt x="121" y="165"/>
                    </a:lnTo>
                    <a:lnTo>
                      <a:pt x="123" y="165"/>
                    </a:lnTo>
                    <a:lnTo>
                      <a:pt x="123" y="167"/>
                    </a:lnTo>
                    <a:lnTo>
                      <a:pt x="125" y="167"/>
                    </a:lnTo>
                    <a:lnTo>
                      <a:pt x="125" y="169"/>
                    </a:lnTo>
                    <a:lnTo>
                      <a:pt x="126" y="169"/>
                    </a:lnTo>
                    <a:lnTo>
                      <a:pt x="128" y="169"/>
                    </a:lnTo>
                    <a:lnTo>
                      <a:pt x="128" y="170"/>
                    </a:lnTo>
                    <a:lnTo>
                      <a:pt x="126" y="170"/>
                    </a:lnTo>
                    <a:lnTo>
                      <a:pt x="126" y="172"/>
                    </a:lnTo>
                    <a:lnTo>
                      <a:pt x="126" y="174"/>
                    </a:lnTo>
                    <a:lnTo>
                      <a:pt x="126" y="175"/>
                    </a:lnTo>
                    <a:lnTo>
                      <a:pt x="128" y="175"/>
                    </a:lnTo>
                    <a:lnTo>
                      <a:pt x="128" y="177"/>
                    </a:lnTo>
                    <a:lnTo>
                      <a:pt x="130" y="177"/>
                    </a:lnTo>
                    <a:lnTo>
                      <a:pt x="128" y="179"/>
                    </a:lnTo>
                    <a:lnTo>
                      <a:pt x="128" y="180"/>
                    </a:lnTo>
                    <a:lnTo>
                      <a:pt x="128" y="182"/>
                    </a:lnTo>
                    <a:lnTo>
                      <a:pt x="128" y="184"/>
                    </a:lnTo>
                    <a:lnTo>
                      <a:pt x="130" y="184"/>
                    </a:lnTo>
                    <a:lnTo>
                      <a:pt x="130" y="186"/>
                    </a:lnTo>
                    <a:lnTo>
                      <a:pt x="131" y="187"/>
                    </a:lnTo>
                    <a:lnTo>
                      <a:pt x="133" y="187"/>
                    </a:lnTo>
                    <a:lnTo>
                      <a:pt x="133" y="189"/>
                    </a:lnTo>
                    <a:lnTo>
                      <a:pt x="133" y="191"/>
                    </a:lnTo>
                    <a:lnTo>
                      <a:pt x="133" y="192"/>
                    </a:lnTo>
                    <a:lnTo>
                      <a:pt x="133" y="191"/>
                    </a:lnTo>
                    <a:lnTo>
                      <a:pt x="133" y="192"/>
                    </a:lnTo>
                    <a:lnTo>
                      <a:pt x="135" y="191"/>
                    </a:lnTo>
                    <a:lnTo>
                      <a:pt x="135" y="192"/>
                    </a:lnTo>
                    <a:lnTo>
                      <a:pt x="135" y="194"/>
                    </a:lnTo>
                    <a:lnTo>
                      <a:pt x="135" y="196"/>
                    </a:lnTo>
                    <a:lnTo>
                      <a:pt x="133" y="196"/>
                    </a:lnTo>
                    <a:lnTo>
                      <a:pt x="133" y="197"/>
                    </a:lnTo>
                    <a:lnTo>
                      <a:pt x="131" y="197"/>
                    </a:lnTo>
                    <a:lnTo>
                      <a:pt x="130" y="197"/>
                    </a:lnTo>
                    <a:lnTo>
                      <a:pt x="130" y="199"/>
                    </a:lnTo>
                    <a:lnTo>
                      <a:pt x="128" y="199"/>
                    </a:lnTo>
                    <a:lnTo>
                      <a:pt x="128" y="197"/>
                    </a:lnTo>
                    <a:lnTo>
                      <a:pt x="128" y="199"/>
                    </a:lnTo>
                    <a:lnTo>
                      <a:pt x="128" y="201"/>
                    </a:lnTo>
                    <a:lnTo>
                      <a:pt x="126" y="199"/>
                    </a:lnTo>
                    <a:lnTo>
                      <a:pt x="126" y="201"/>
                    </a:lnTo>
                    <a:lnTo>
                      <a:pt x="125" y="201"/>
                    </a:lnTo>
                    <a:lnTo>
                      <a:pt x="123" y="201"/>
                    </a:lnTo>
                    <a:lnTo>
                      <a:pt x="123" y="203"/>
                    </a:lnTo>
                    <a:lnTo>
                      <a:pt x="123" y="204"/>
                    </a:lnTo>
                    <a:lnTo>
                      <a:pt x="123" y="206"/>
                    </a:lnTo>
                    <a:lnTo>
                      <a:pt x="121" y="206"/>
                    </a:lnTo>
                    <a:lnTo>
                      <a:pt x="119" y="206"/>
                    </a:lnTo>
                    <a:lnTo>
                      <a:pt x="119" y="208"/>
                    </a:lnTo>
                    <a:lnTo>
                      <a:pt x="118" y="208"/>
                    </a:lnTo>
                    <a:lnTo>
                      <a:pt x="118" y="209"/>
                    </a:lnTo>
                    <a:lnTo>
                      <a:pt x="119" y="209"/>
                    </a:lnTo>
                    <a:lnTo>
                      <a:pt x="119" y="208"/>
                    </a:lnTo>
                    <a:lnTo>
                      <a:pt x="121" y="209"/>
                    </a:lnTo>
                    <a:lnTo>
                      <a:pt x="119" y="209"/>
                    </a:lnTo>
                    <a:lnTo>
                      <a:pt x="119" y="211"/>
                    </a:lnTo>
                    <a:lnTo>
                      <a:pt x="118" y="211"/>
                    </a:lnTo>
                    <a:lnTo>
                      <a:pt x="119" y="213"/>
                    </a:lnTo>
                    <a:lnTo>
                      <a:pt x="118" y="213"/>
                    </a:lnTo>
                    <a:lnTo>
                      <a:pt x="118" y="214"/>
                    </a:lnTo>
                    <a:lnTo>
                      <a:pt x="118" y="216"/>
                    </a:lnTo>
                    <a:lnTo>
                      <a:pt x="119" y="216"/>
                    </a:lnTo>
                    <a:lnTo>
                      <a:pt x="118" y="218"/>
                    </a:lnTo>
                    <a:lnTo>
                      <a:pt x="119" y="218"/>
                    </a:lnTo>
                    <a:lnTo>
                      <a:pt x="118" y="218"/>
                    </a:lnTo>
                    <a:lnTo>
                      <a:pt x="118" y="220"/>
                    </a:lnTo>
                    <a:lnTo>
                      <a:pt x="119" y="220"/>
                    </a:lnTo>
                    <a:lnTo>
                      <a:pt x="118" y="220"/>
                    </a:lnTo>
                    <a:lnTo>
                      <a:pt x="118" y="221"/>
                    </a:lnTo>
                    <a:lnTo>
                      <a:pt x="118" y="223"/>
                    </a:lnTo>
                    <a:lnTo>
                      <a:pt x="118" y="225"/>
                    </a:lnTo>
                    <a:lnTo>
                      <a:pt x="118" y="226"/>
                    </a:lnTo>
                    <a:lnTo>
                      <a:pt x="118" y="228"/>
                    </a:lnTo>
                    <a:lnTo>
                      <a:pt x="116" y="228"/>
                    </a:lnTo>
                    <a:lnTo>
                      <a:pt x="114" y="228"/>
                    </a:lnTo>
                    <a:lnTo>
                      <a:pt x="113" y="228"/>
                    </a:lnTo>
                    <a:lnTo>
                      <a:pt x="111" y="228"/>
                    </a:lnTo>
                    <a:lnTo>
                      <a:pt x="109" y="228"/>
                    </a:lnTo>
                    <a:lnTo>
                      <a:pt x="108" y="228"/>
                    </a:lnTo>
                    <a:lnTo>
                      <a:pt x="108" y="230"/>
                    </a:lnTo>
                    <a:lnTo>
                      <a:pt x="108" y="228"/>
                    </a:lnTo>
                    <a:lnTo>
                      <a:pt x="108" y="230"/>
                    </a:lnTo>
                    <a:lnTo>
                      <a:pt x="108" y="231"/>
                    </a:lnTo>
                    <a:lnTo>
                      <a:pt x="106" y="231"/>
                    </a:lnTo>
                    <a:lnTo>
                      <a:pt x="106" y="233"/>
                    </a:lnTo>
                    <a:lnTo>
                      <a:pt x="104" y="233"/>
                    </a:lnTo>
                    <a:lnTo>
                      <a:pt x="104" y="235"/>
                    </a:lnTo>
                    <a:lnTo>
                      <a:pt x="104" y="237"/>
                    </a:lnTo>
                    <a:lnTo>
                      <a:pt x="102" y="237"/>
                    </a:lnTo>
                    <a:lnTo>
                      <a:pt x="102" y="238"/>
                    </a:lnTo>
                    <a:lnTo>
                      <a:pt x="102" y="240"/>
                    </a:lnTo>
                    <a:lnTo>
                      <a:pt x="101" y="238"/>
                    </a:lnTo>
                    <a:lnTo>
                      <a:pt x="101" y="240"/>
                    </a:lnTo>
                    <a:lnTo>
                      <a:pt x="99" y="240"/>
                    </a:lnTo>
                    <a:lnTo>
                      <a:pt x="97" y="240"/>
                    </a:lnTo>
                    <a:lnTo>
                      <a:pt x="99" y="240"/>
                    </a:lnTo>
                    <a:lnTo>
                      <a:pt x="97" y="242"/>
                    </a:lnTo>
                    <a:lnTo>
                      <a:pt x="99" y="242"/>
                    </a:lnTo>
                    <a:lnTo>
                      <a:pt x="99" y="243"/>
                    </a:lnTo>
                    <a:lnTo>
                      <a:pt x="99" y="245"/>
                    </a:lnTo>
                    <a:lnTo>
                      <a:pt x="99" y="247"/>
                    </a:lnTo>
                    <a:lnTo>
                      <a:pt x="97" y="245"/>
                    </a:lnTo>
                    <a:lnTo>
                      <a:pt x="97" y="247"/>
                    </a:lnTo>
                    <a:lnTo>
                      <a:pt x="97" y="245"/>
                    </a:lnTo>
                    <a:lnTo>
                      <a:pt x="96" y="245"/>
                    </a:lnTo>
                    <a:lnTo>
                      <a:pt x="96" y="247"/>
                    </a:lnTo>
                    <a:lnTo>
                      <a:pt x="96" y="245"/>
                    </a:lnTo>
                    <a:lnTo>
                      <a:pt x="94" y="245"/>
                    </a:lnTo>
                    <a:lnTo>
                      <a:pt x="92" y="245"/>
                    </a:lnTo>
                    <a:lnTo>
                      <a:pt x="91" y="245"/>
                    </a:lnTo>
                    <a:lnTo>
                      <a:pt x="91" y="247"/>
                    </a:lnTo>
                    <a:lnTo>
                      <a:pt x="91" y="248"/>
                    </a:lnTo>
                    <a:lnTo>
                      <a:pt x="89" y="248"/>
                    </a:lnTo>
                    <a:lnTo>
                      <a:pt x="87" y="248"/>
                    </a:lnTo>
                    <a:lnTo>
                      <a:pt x="85" y="248"/>
                    </a:lnTo>
                    <a:lnTo>
                      <a:pt x="85" y="247"/>
                    </a:lnTo>
                    <a:lnTo>
                      <a:pt x="84" y="247"/>
                    </a:lnTo>
                    <a:lnTo>
                      <a:pt x="85" y="247"/>
                    </a:lnTo>
                    <a:lnTo>
                      <a:pt x="85" y="245"/>
                    </a:lnTo>
                    <a:lnTo>
                      <a:pt x="84" y="245"/>
                    </a:lnTo>
                    <a:lnTo>
                      <a:pt x="82" y="245"/>
                    </a:lnTo>
                    <a:lnTo>
                      <a:pt x="82" y="243"/>
                    </a:lnTo>
                    <a:lnTo>
                      <a:pt x="80" y="243"/>
                    </a:lnTo>
                    <a:lnTo>
                      <a:pt x="79" y="243"/>
                    </a:lnTo>
                    <a:lnTo>
                      <a:pt x="77" y="243"/>
                    </a:lnTo>
                    <a:lnTo>
                      <a:pt x="75" y="243"/>
                    </a:lnTo>
                    <a:lnTo>
                      <a:pt x="75" y="242"/>
                    </a:lnTo>
                    <a:lnTo>
                      <a:pt x="74" y="242"/>
                    </a:lnTo>
                    <a:lnTo>
                      <a:pt x="72" y="242"/>
                    </a:lnTo>
                    <a:lnTo>
                      <a:pt x="72" y="240"/>
                    </a:lnTo>
                    <a:lnTo>
                      <a:pt x="70" y="240"/>
                    </a:lnTo>
                    <a:lnTo>
                      <a:pt x="70" y="238"/>
                    </a:lnTo>
                    <a:lnTo>
                      <a:pt x="68" y="238"/>
                    </a:lnTo>
                    <a:lnTo>
                      <a:pt x="68" y="237"/>
                    </a:lnTo>
                    <a:lnTo>
                      <a:pt x="67" y="237"/>
                    </a:lnTo>
                    <a:lnTo>
                      <a:pt x="67" y="235"/>
                    </a:lnTo>
                    <a:lnTo>
                      <a:pt x="65" y="235"/>
                    </a:lnTo>
                    <a:lnTo>
                      <a:pt x="65" y="233"/>
                    </a:lnTo>
                    <a:lnTo>
                      <a:pt x="65" y="231"/>
                    </a:lnTo>
                    <a:lnTo>
                      <a:pt x="65" y="233"/>
                    </a:lnTo>
                    <a:lnTo>
                      <a:pt x="63" y="231"/>
                    </a:lnTo>
                    <a:lnTo>
                      <a:pt x="63" y="230"/>
                    </a:lnTo>
                    <a:lnTo>
                      <a:pt x="62" y="230"/>
                    </a:lnTo>
                    <a:lnTo>
                      <a:pt x="62" y="231"/>
                    </a:lnTo>
                    <a:lnTo>
                      <a:pt x="60" y="231"/>
                    </a:lnTo>
                    <a:lnTo>
                      <a:pt x="60" y="230"/>
                    </a:lnTo>
                    <a:lnTo>
                      <a:pt x="58" y="230"/>
                    </a:lnTo>
                    <a:lnTo>
                      <a:pt x="58" y="228"/>
                    </a:lnTo>
                    <a:lnTo>
                      <a:pt x="60" y="228"/>
                    </a:lnTo>
                    <a:lnTo>
                      <a:pt x="60" y="226"/>
                    </a:lnTo>
                    <a:lnTo>
                      <a:pt x="58" y="226"/>
                    </a:lnTo>
                    <a:lnTo>
                      <a:pt x="57" y="226"/>
                    </a:lnTo>
                    <a:lnTo>
                      <a:pt x="57" y="225"/>
                    </a:lnTo>
                    <a:lnTo>
                      <a:pt x="57" y="223"/>
                    </a:lnTo>
                    <a:lnTo>
                      <a:pt x="57" y="221"/>
                    </a:lnTo>
                    <a:lnTo>
                      <a:pt x="57" y="220"/>
                    </a:lnTo>
                    <a:lnTo>
                      <a:pt x="57" y="218"/>
                    </a:lnTo>
                    <a:lnTo>
                      <a:pt x="57" y="216"/>
                    </a:lnTo>
                    <a:lnTo>
                      <a:pt x="57" y="214"/>
                    </a:lnTo>
                    <a:lnTo>
                      <a:pt x="57" y="213"/>
                    </a:lnTo>
                    <a:lnTo>
                      <a:pt x="57" y="211"/>
                    </a:lnTo>
                    <a:lnTo>
                      <a:pt x="55" y="211"/>
                    </a:lnTo>
                    <a:lnTo>
                      <a:pt x="53" y="211"/>
                    </a:lnTo>
                    <a:lnTo>
                      <a:pt x="53" y="209"/>
                    </a:lnTo>
                    <a:lnTo>
                      <a:pt x="53" y="211"/>
                    </a:lnTo>
                    <a:lnTo>
                      <a:pt x="53" y="209"/>
                    </a:lnTo>
                    <a:lnTo>
                      <a:pt x="51" y="209"/>
                    </a:lnTo>
                    <a:lnTo>
                      <a:pt x="51" y="208"/>
                    </a:lnTo>
                    <a:lnTo>
                      <a:pt x="51" y="206"/>
                    </a:lnTo>
                    <a:lnTo>
                      <a:pt x="51" y="204"/>
                    </a:lnTo>
                    <a:lnTo>
                      <a:pt x="50" y="204"/>
                    </a:lnTo>
                    <a:lnTo>
                      <a:pt x="50" y="203"/>
                    </a:lnTo>
                    <a:lnTo>
                      <a:pt x="50" y="201"/>
                    </a:lnTo>
                    <a:lnTo>
                      <a:pt x="48" y="201"/>
                    </a:lnTo>
                    <a:lnTo>
                      <a:pt x="50" y="201"/>
                    </a:lnTo>
                    <a:lnTo>
                      <a:pt x="48" y="199"/>
                    </a:lnTo>
                    <a:lnTo>
                      <a:pt x="48" y="197"/>
                    </a:lnTo>
                    <a:lnTo>
                      <a:pt x="48" y="196"/>
                    </a:lnTo>
                    <a:lnTo>
                      <a:pt x="48" y="194"/>
                    </a:lnTo>
                    <a:lnTo>
                      <a:pt x="48" y="192"/>
                    </a:lnTo>
                    <a:lnTo>
                      <a:pt x="48" y="191"/>
                    </a:lnTo>
                    <a:lnTo>
                      <a:pt x="48" y="189"/>
                    </a:lnTo>
                    <a:lnTo>
                      <a:pt x="50" y="189"/>
                    </a:lnTo>
                    <a:lnTo>
                      <a:pt x="50" y="187"/>
                    </a:lnTo>
                    <a:lnTo>
                      <a:pt x="50" y="186"/>
                    </a:lnTo>
                    <a:lnTo>
                      <a:pt x="50" y="184"/>
                    </a:lnTo>
                    <a:lnTo>
                      <a:pt x="51" y="184"/>
                    </a:lnTo>
                    <a:lnTo>
                      <a:pt x="50" y="184"/>
                    </a:lnTo>
                    <a:lnTo>
                      <a:pt x="51" y="182"/>
                    </a:lnTo>
                    <a:lnTo>
                      <a:pt x="50" y="182"/>
                    </a:lnTo>
                    <a:lnTo>
                      <a:pt x="51" y="182"/>
                    </a:lnTo>
                    <a:lnTo>
                      <a:pt x="51" y="180"/>
                    </a:lnTo>
                    <a:lnTo>
                      <a:pt x="51" y="179"/>
                    </a:lnTo>
                    <a:lnTo>
                      <a:pt x="53" y="179"/>
                    </a:lnTo>
                    <a:lnTo>
                      <a:pt x="53" y="177"/>
                    </a:lnTo>
                    <a:lnTo>
                      <a:pt x="53" y="175"/>
                    </a:lnTo>
                    <a:lnTo>
                      <a:pt x="55" y="175"/>
                    </a:lnTo>
                    <a:lnTo>
                      <a:pt x="55" y="174"/>
                    </a:lnTo>
                    <a:lnTo>
                      <a:pt x="53" y="174"/>
                    </a:lnTo>
                    <a:lnTo>
                      <a:pt x="55" y="174"/>
                    </a:lnTo>
                    <a:lnTo>
                      <a:pt x="53" y="174"/>
                    </a:lnTo>
                    <a:lnTo>
                      <a:pt x="53" y="172"/>
                    </a:lnTo>
                    <a:lnTo>
                      <a:pt x="55" y="172"/>
                    </a:lnTo>
                    <a:lnTo>
                      <a:pt x="53" y="172"/>
                    </a:lnTo>
                    <a:lnTo>
                      <a:pt x="55" y="170"/>
                    </a:lnTo>
                    <a:lnTo>
                      <a:pt x="53" y="170"/>
                    </a:lnTo>
                    <a:lnTo>
                      <a:pt x="53" y="169"/>
                    </a:lnTo>
                    <a:lnTo>
                      <a:pt x="51" y="169"/>
                    </a:lnTo>
                    <a:lnTo>
                      <a:pt x="53" y="169"/>
                    </a:lnTo>
                    <a:lnTo>
                      <a:pt x="51" y="169"/>
                    </a:lnTo>
                    <a:lnTo>
                      <a:pt x="53" y="169"/>
                    </a:lnTo>
                    <a:lnTo>
                      <a:pt x="53" y="167"/>
                    </a:lnTo>
                    <a:lnTo>
                      <a:pt x="55" y="167"/>
                    </a:lnTo>
                    <a:lnTo>
                      <a:pt x="57" y="165"/>
                    </a:lnTo>
                    <a:lnTo>
                      <a:pt x="58" y="163"/>
                    </a:lnTo>
                    <a:lnTo>
                      <a:pt x="58" y="162"/>
                    </a:lnTo>
                    <a:lnTo>
                      <a:pt x="60" y="162"/>
                    </a:lnTo>
                    <a:lnTo>
                      <a:pt x="60" y="160"/>
                    </a:lnTo>
                    <a:lnTo>
                      <a:pt x="60" y="162"/>
                    </a:lnTo>
                    <a:lnTo>
                      <a:pt x="60" y="160"/>
                    </a:lnTo>
                    <a:lnTo>
                      <a:pt x="62" y="160"/>
                    </a:lnTo>
                    <a:lnTo>
                      <a:pt x="62" y="158"/>
                    </a:lnTo>
                    <a:lnTo>
                      <a:pt x="62" y="157"/>
                    </a:lnTo>
                    <a:lnTo>
                      <a:pt x="63" y="157"/>
                    </a:lnTo>
                    <a:lnTo>
                      <a:pt x="63" y="155"/>
                    </a:lnTo>
                    <a:lnTo>
                      <a:pt x="62" y="155"/>
                    </a:lnTo>
                    <a:lnTo>
                      <a:pt x="62" y="153"/>
                    </a:lnTo>
                    <a:lnTo>
                      <a:pt x="60" y="152"/>
                    </a:lnTo>
                    <a:lnTo>
                      <a:pt x="60" y="150"/>
                    </a:lnTo>
                    <a:lnTo>
                      <a:pt x="60" y="148"/>
                    </a:lnTo>
                    <a:lnTo>
                      <a:pt x="58" y="148"/>
                    </a:lnTo>
                    <a:lnTo>
                      <a:pt x="57" y="148"/>
                    </a:lnTo>
                    <a:lnTo>
                      <a:pt x="57" y="146"/>
                    </a:lnTo>
                    <a:lnTo>
                      <a:pt x="57" y="145"/>
                    </a:lnTo>
                    <a:lnTo>
                      <a:pt x="58" y="145"/>
                    </a:lnTo>
                    <a:lnTo>
                      <a:pt x="57" y="145"/>
                    </a:lnTo>
                    <a:lnTo>
                      <a:pt x="57" y="143"/>
                    </a:lnTo>
                    <a:lnTo>
                      <a:pt x="58" y="143"/>
                    </a:lnTo>
                    <a:lnTo>
                      <a:pt x="58" y="141"/>
                    </a:lnTo>
                    <a:lnTo>
                      <a:pt x="57" y="141"/>
                    </a:lnTo>
                    <a:lnTo>
                      <a:pt x="57" y="140"/>
                    </a:lnTo>
                    <a:lnTo>
                      <a:pt x="55" y="138"/>
                    </a:lnTo>
                    <a:lnTo>
                      <a:pt x="53" y="138"/>
                    </a:lnTo>
                    <a:lnTo>
                      <a:pt x="51" y="138"/>
                    </a:lnTo>
                    <a:lnTo>
                      <a:pt x="53" y="138"/>
                    </a:lnTo>
                    <a:lnTo>
                      <a:pt x="51" y="138"/>
                    </a:lnTo>
                    <a:lnTo>
                      <a:pt x="50" y="138"/>
                    </a:lnTo>
                    <a:lnTo>
                      <a:pt x="50" y="136"/>
                    </a:lnTo>
                    <a:lnTo>
                      <a:pt x="48" y="136"/>
                    </a:lnTo>
                    <a:lnTo>
                      <a:pt x="48" y="138"/>
                    </a:lnTo>
                    <a:lnTo>
                      <a:pt x="48" y="136"/>
                    </a:lnTo>
                    <a:lnTo>
                      <a:pt x="46" y="138"/>
                    </a:lnTo>
                    <a:lnTo>
                      <a:pt x="46" y="136"/>
                    </a:lnTo>
                    <a:lnTo>
                      <a:pt x="45" y="136"/>
                    </a:lnTo>
                    <a:lnTo>
                      <a:pt x="46" y="136"/>
                    </a:lnTo>
                    <a:lnTo>
                      <a:pt x="45" y="136"/>
                    </a:lnTo>
                    <a:lnTo>
                      <a:pt x="43" y="136"/>
                    </a:lnTo>
                    <a:lnTo>
                      <a:pt x="43" y="135"/>
                    </a:lnTo>
                    <a:lnTo>
                      <a:pt x="43" y="133"/>
                    </a:lnTo>
                    <a:lnTo>
                      <a:pt x="45" y="133"/>
                    </a:lnTo>
                    <a:lnTo>
                      <a:pt x="45" y="131"/>
                    </a:lnTo>
                    <a:lnTo>
                      <a:pt x="46" y="131"/>
                    </a:lnTo>
                    <a:lnTo>
                      <a:pt x="46" y="129"/>
                    </a:lnTo>
                    <a:lnTo>
                      <a:pt x="46" y="128"/>
                    </a:lnTo>
                    <a:lnTo>
                      <a:pt x="46" y="126"/>
                    </a:lnTo>
                    <a:lnTo>
                      <a:pt x="48" y="124"/>
                    </a:lnTo>
                    <a:lnTo>
                      <a:pt x="48" y="123"/>
                    </a:lnTo>
                    <a:lnTo>
                      <a:pt x="48" y="121"/>
                    </a:lnTo>
                    <a:lnTo>
                      <a:pt x="48" y="119"/>
                    </a:lnTo>
                    <a:lnTo>
                      <a:pt x="48" y="117"/>
                    </a:lnTo>
                    <a:lnTo>
                      <a:pt x="46" y="117"/>
                    </a:lnTo>
                    <a:lnTo>
                      <a:pt x="46" y="116"/>
                    </a:lnTo>
                    <a:lnTo>
                      <a:pt x="45" y="116"/>
                    </a:lnTo>
                    <a:lnTo>
                      <a:pt x="45" y="114"/>
                    </a:lnTo>
                    <a:lnTo>
                      <a:pt x="45" y="112"/>
                    </a:lnTo>
                    <a:lnTo>
                      <a:pt x="43" y="112"/>
                    </a:lnTo>
                    <a:lnTo>
                      <a:pt x="43" y="111"/>
                    </a:lnTo>
                    <a:lnTo>
                      <a:pt x="43" y="112"/>
                    </a:lnTo>
                    <a:lnTo>
                      <a:pt x="41" y="112"/>
                    </a:lnTo>
                    <a:lnTo>
                      <a:pt x="41" y="111"/>
                    </a:lnTo>
                    <a:lnTo>
                      <a:pt x="40" y="111"/>
                    </a:lnTo>
                    <a:lnTo>
                      <a:pt x="38" y="112"/>
                    </a:lnTo>
                    <a:lnTo>
                      <a:pt x="36" y="112"/>
                    </a:lnTo>
                    <a:lnTo>
                      <a:pt x="34" y="112"/>
                    </a:lnTo>
                    <a:lnTo>
                      <a:pt x="33" y="112"/>
                    </a:lnTo>
                    <a:lnTo>
                      <a:pt x="33" y="114"/>
                    </a:lnTo>
                    <a:lnTo>
                      <a:pt x="33" y="112"/>
                    </a:lnTo>
                    <a:lnTo>
                      <a:pt x="31" y="112"/>
                    </a:lnTo>
                    <a:lnTo>
                      <a:pt x="29" y="112"/>
                    </a:lnTo>
                    <a:lnTo>
                      <a:pt x="28" y="112"/>
                    </a:lnTo>
                    <a:lnTo>
                      <a:pt x="26" y="112"/>
                    </a:lnTo>
                    <a:lnTo>
                      <a:pt x="24" y="112"/>
                    </a:lnTo>
                    <a:lnTo>
                      <a:pt x="23" y="112"/>
                    </a:lnTo>
                    <a:lnTo>
                      <a:pt x="21" y="111"/>
                    </a:lnTo>
                    <a:lnTo>
                      <a:pt x="19" y="109"/>
                    </a:lnTo>
                    <a:lnTo>
                      <a:pt x="12" y="102"/>
                    </a:lnTo>
                    <a:lnTo>
                      <a:pt x="11" y="97"/>
                    </a:lnTo>
                    <a:lnTo>
                      <a:pt x="7" y="95"/>
                    </a:lnTo>
                    <a:lnTo>
                      <a:pt x="2" y="90"/>
                    </a:lnTo>
                    <a:lnTo>
                      <a:pt x="0" y="89"/>
                    </a:lnTo>
                    <a:lnTo>
                      <a:pt x="0" y="87"/>
                    </a:lnTo>
                    <a:lnTo>
                      <a:pt x="2" y="87"/>
                    </a:lnTo>
                    <a:lnTo>
                      <a:pt x="2" y="85"/>
                    </a:lnTo>
                    <a:lnTo>
                      <a:pt x="4" y="85"/>
                    </a:lnTo>
                    <a:lnTo>
                      <a:pt x="4" y="83"/>
                    </a:lnTo>
                    <a:lnTo>
                      <a:pt x="6" y="82"/>
                    </a:lnTo>
                    <a:lnTo>
                      <a:pt x="7" y="82"/>
                    </a:lnTo>
                    <a:lnTo>
                      <a:pt x="7" y="80"/>
                    </a:lnTo>
                    <a:lnTo>
                      <a:pt x="9" y="80"/>
                    </a:lnTo>
                    <a:lnTo>
                      <a:pt x="11" y="78"/>
                    </a:lnTo>
                    <a:lnTo>
                      <a:pt x="9" y="78"/>
                    </a:lnTo>
                    <a:lnTo>
                      <a:pt x="9" y="77"/>
                    </a:lnTo>
                    <a:lnTo>
                      <a:pt x="11" y="77"/>
                    </a:lnTo>
                    <a:lnTo>
                      <a:pt x="9" y="77"/>
                    </a:lnTo>
                    <a:lnTo>
                      <a:pt x="9" y="75"/>
                    </a:lnTo>
                    <a:lnTo>
                      <a:pt x="7" y="75"/>
                    </a:lnTo>
                    <a:lnTo>
                      <a:pt x="9" y="75"/>
                    </a:lnTo>
                    <a:lnTo>
                      <a:pt x="9" y="73"/>
                    </a:lnTo>
                    <a:lnTo>
                      <a:pt x="9" y="72"/>
                    </a:lnTo>
                    <a:lnTo>
                      <a:pt x="9" y="70"/>
                    </a:lnTo>
                    <a:lnTo>
                      <a:pt x="7" y="70"/>
                    </a:lnTo>
                    <a:lnTo>
                      <a:pt x="9" y="68"/>
                    </a:lnTo>
                    <a:lnTo>
                      <a:pt x="7" y="68"/>
                    </a:lnTo>
                    <a:lnTo>
                      <a:pt x="7" y="66"/>
                    </a:lnTo>
                    <a:lnTo>
                      <a:pt x="6" y="66"/>
                    </a:lnTo>
                    <a:lnTo>
                      <a:pt x="7" y="66"/>
                    </a:lnTo>
                    <a:lnTo>
                      <a:pt x="6" y="66"/>
                    </a:lnTo>
                    <a:lnTo>
                      <a:pt x="7" y="66"/>
                    </a:lnTo>
                    <a:lnTo>
                      <a:pt x="7" y="65"/>
                    </a:lnTo>
                    <a:lnTo>
                      <a:pt x="7" y="63"/>
                    </a:lnTo>
                    <a:lnTo>
                      <a:pt x="9" y="63"/>
                    </a:lnTo>
                    <a:lnTo>
                      <a:pt x="9" y="61"/>
                    </a:lnTo>
                    <a:lnTo>
                      <a:pt x="11" y="61"/>
                    </a:lnTo>
                    <a:lnTo>
                      <a:pt x="12" y="61"/>
                    </a:lnTo>
                    <a:lnTo>
                      <a:pt x="14" y="61"/>
                    </a:lnTo>
                    <a:lnTo>
                      <a:pt x="16" y="61"/>
                    </a:lnTo>
                    <a:lnTo>
                      <a:pt x="17" y="60"/>
                    </a:lnTo>
                    <a:lnTo>
                      <a:pt x="16" y="60"/>
                    </a:lnTo>
                    <a:lnTo>
                      <a:pt x="16" y="58"/>
                    </a:lnTo>
                    <a:lnTo>
                      <a:pt x="17" y="58"/>
                    </a:lnTo>
                    <a:lnTo>
                      <a:pt x="17" y="60"/>
                    </a:lnTo>
                    <a:lnTo>
                      <a:pt x="19" y="60"/>
                    </a:lnTo>
                    <a:lnTo>
                      <a:pt x="21" y="60"/>
                    </a:lnTo>
                    <a:lnTo>
                      <a:pt x="21" y="58"/>
                    </a:lnTo>
                    <a:lnTo>
                      <a:pt x="21" y="60"/>
                    </a:lnTo>
                    <a:lnTo>
                      <a:pt x="23" y="60"/>
                    </a:lnTo>
                    <a:lnTo>
                      <a:pt x="24" y="60"/>
                    </a:lnTo>
                    <a:lnTo>
                      <a:pt x="24" y="58"/>
                    </a:lnTo>
                    <a:lnTo>
                      <a:pt x="26" y="58"/>
                    </a:lnTo>
                    <a:lnTo>
                      <a:pt x="28" y="58"/>
                    </a:lnTo>
                    <a:lnTo>
                      <a:pt x="28" y="56"/>
                    </a:lnTo>
                    <a:lnTo>
                      <a:pt x="29" y="56"/>
                    </a:lnTo>
                    <a:lnTo>
                      <a:pt x="31" y="56"/>
                    </a:lnTo>
                    <a:lnTo>
                      <a:pt x="31" y="55"/>
                    </a:lnTo>
                    <a:lnTo>
                      <a:pt x="33" y="55"/>
                    </a:lnTo>
                    <a:lnTo>
                      <a:pt x="34" y="53"/>
                    </a:lnTo>
                    <a:lnTo>
                      <a:pt x="34" y="55"/>
                    </a:lnTo>
                    <a:lnTo>
                      <a:pt x="34" y="53"/>
                    </a:lnTo>
                    <a:lnTo>
                      <a:pt x="36" y="53"/>
                    </a:lnTo>
                    <a:lnTo>
                      <a:pt x="36" y="51"/>
                    </a:lnTo>
                    <a:lnTo>
                      <a:pt x="36" y="49"/>
                    </a:lnTo>
                    <a:lnTo>
                      <a:pt x="36" y="48"/>
                    </a:lnTo>
                    <a:lnTo>
                      <a:pt x="36" y="46"/>
                    </a:lnTo>
                    <a:lnTo>
                      <a:pt x="34" y="46"/>
                    </a:lnTo>
                    <a:lnTo>
                      <a:pt x="33" y="46"/>
                    </a:lnTo>
                    <a:lnTo>
                      <a:pt x="33" y="44"/>
                    </a:lnTo>
                    <a:lnTo>
                      <a:pt x="33" y="46"/>
                    </a:lnTo>
                    <a:lnTo>
                      <a:pt x="31" y="44"/>
                    </a:lnTo>
                    <a:lnTo>
                      <a:pt x="31" y="46"/>
                    </a:lnTo>
                    <a:lnTo>
                      <a:pt x="29" y="46"/>
                    </a:lnTo>
                    <a:lnTo>
                      <a:pt x="29" y="48"/>
                    </a:lnTo>
                    <a:lnTo>
                      <a:pt x="29" y="46"/>
                    </a:lnTo>
                    <a:lnTo>
                      <a:pt x="28" y="46"/>
                    </a:lnTo>
                    <a:lnTo>
                      <a:pt x="28" y="44"/>
                    </a:lnTo>
                    <a:lnTo>
                      <a:pt x="26" y="44"/>
                    </a:lnTo>
                    <a:lnTo>
                      <a:pt x="26" y="43"/>
                    </a:lnTo>
                    <a:lnTo>
                      <a:pt x="28" y="43"/>
                    </a:lnTo>
                    <a:lnTo>
                      <a:pt x="28" y="41"/>
                    </a:lnTo>
                    <a:lnTo>
                      <a:pt x="28" y="39"/>
                    </a:lnTo>
                    <a:lnTo>
                      <a:pt x="26" y="39"/>
                    </a:lnTo>
                    <a:lnTo>
                      <a:pt x="26" y="38"/>
                    </a:lnTo>
                    <a:lnTo>
                      <a:pt x="26" y="36"/>
                    </a:lnTo>
                    <a:lnTo>
                      <a:pt x="26" y="34"/>
                    </a:lnTo>
                    <a:lnTo>
                      <a:pt x="26" y="32"/>
                    </a:lnTo>
                    <a:lnTo>
                      <a:pt x="26" y="31"/>
                    </a:lnTo>
                    <a:lnTo>
                      <a:pt x="28" y="31"/>
                    </a:lnTo>
                    <a:lnTo>
                      <a:pt x="28" y="29"/>
                    </a:lnTo>
                    <a:lnTo>
                      <a:pt x="28" y="27"/>
                    </a:lnTo>
                    <a:lnTo>
                      <a:pt x="29" y="26"/>
                    </a:lnTo>
                    <a:lnTo>
                      <a:pt x="29" y="24"/>
                    </a:lnTo>
                    <a:lnTo>
                      <a:pt x="31" y="24"/>
                    </a:lnTo>
                    <a:lnTo>
                      <a:pt x="33" y="24"/>
                    </a:lnTo>
                    <a:lnTo>
                      <a:pt x="34" y="24"/>
                    </a:lnTo>
                    <a:lnTo>
                      <a:pt x="36" y="24"/>
                    </a:lnTo>
                    <a:lnTo>
                      <a:pt x="36" y="22"/>
                    </a:lnTo>
                    <a:lnTo>
                      <a:pt x="38" y="22"/>
                    </a:lnTo>
                    <a:lnTo>
                      <a:pt x="40" y="21"/>
                    </a:lnTo>
                    <a:lnTo>
                      <a:pt x="40" y="19"/>
                    </a:lnTo>
                    <a:lnTo>
                      <a:pt x="41" y="19"/>
                    </a:lnTo>
                    <a:lnTo>
                      <a:pt x="43" y="19"/>
                    </a:lnTo>
                    <a:lnTo>
                      <a:pt x="43" y="17"/>
                    </a:lnTo>
                    <a:lnTo>
                      <a:pt x="45" y="17"/>
                    </a:lnTo>
                    <a:lnTo>
                      <a:pt x="46" y="17"/>
                    </a:lnTo>
                    <a:lnTo>
                      <a:pt x="46" y="15"/>
                    </a:lnTo>
                    <a:lnTo>
                      <a:pt x="48" y="15"/>
                    </a:lnTo>
                    <a:lnTo>
                      <a:pt x="48" y="14"/>
                    </a:lnTo>
                    <a:lnTo>
                      <a:pt x="48" y="12"/>
                    </a:lnTo>
                    <a:lnTo>
                      <a:pt x="50" y="10"/>
                    </a:lnTo>
                    <a:lnTo>
                      <a:pt x="53" y="10"/>
                    </a:lnTo>
                    <a:lnTo>
                      <a:pt x="53" y="9"/>
                    </a:lnTo>
                    <a:lnTo>
                      <a:pt x="55" y="9"/>
                    </a:lnTo>
                    <a:lnTo>
                      <a:pt x="53" y="7"/>
                    </a:lnTo>
                    <a:lnTo>
                      <a:pt x="51" y="4"/>
                    </a:lnTo>
                    <a:lnTo>
                      <a:pt x="50" y="2"/>
                    </a:lnTo>
                    <a:lnTo>
                      <a:pt x="48" y="0"/>
                    </a:lnTo>
                    <a:lnTo>
                      <a:pt x="50" y="0"/>
                    </a:lnTo>
                    <a:lnTo>
                      <a:pt x="50" y="2"/>
                    </a:lnTo>
                    <a:lnTo>
                      <a:pt x="51" y="2"/>
                    </a:lnTo>
                    <a:lnTo>
                      <a:pt x="51" y="4"/>
                    </a:lnTo>
                    <a:lnTo>
                      <a:pt x="53" y="5"/>
                    </a:lnTo>
                    <a:lnTo>
                      <a:pt x="55" y="5"/>
                    </a:lnTo>
                    <a:lnTo>
                      <a:pt x="57" y="5"/>
                    </a:lnTo>
                    <a:lnTo>
                      <a:pt x="55" y="5"/>
                    </a:lnTo>
                    <a:lnTo>
                      <a:pt x="55" y="4"/>
                    </a:lnTo>
                    <a:lnTo>
                      <a:pt x="57" y="4"/>
                    </a:lnTo>
                    <a:lnTo>
                      <a:pt x="57" y="5"/>
                    </a:lnTo>
                    <a:lnTo>
                      <a:pt x="58" y="5"/>
                    </a:lnTo>
                    <a:lnTo>
                      <a:pt x="60" y="5"/>
                    </a:lnTo>
                    <a:lnTo>
                      <a:pt x="60" y="7"/>
                    </a:lnTo>
                    <a:lnTo>
                      <a:pt x="62" y="7"/>
                    </a:lnTo>
                    <a:lnTo>
                      <a:pt x="62" y="9"/>
                    </a:lnTo>
                    <a:lnTo>
                      <a:pt x="63" y="9"/>
                    </a:lnTo>
                    <a:lnTo>
                      <a:pt x="65" y="9"/>
                    </a:lnTo>
                    <a:lnTo>
                      <a:pt x="65" y="10"/>
                    </a:lnTo>
                    <a:lnTo>
                      <a:pt x="67" y="10"/>
                    </a:lnTo>
                    <a:lnTo>
                      <a:pt x="68" y="10"/>
                    </a:lnTo>
                    <a:lnTo>
                      <a:pt x="68" y="12"/>
                    </a:lnTo>
                    <a:lnTo>
                      <a:pt x="70" y="12"/>
                    </a:lnTo>
                    <a:lnTo>
                      <a:pt x="72" y="14"/>
                    </a:lnTo>
                    <a:lnTo>
                      <a:pt x="74" y="14"/>
                    </a:lnTo>
                    <a:lnTo>
                      <a:pt x="75" y="15"/>
                    </a:lnTo>
                    <a:lnTo>
                      <a:pt x="77" y="15"/>
                    </a:lnTo>
                    <a:lnTo>
                      <a:pt x="77" y="17"/>
                    </a:lnTo>
                    <a:lnTo>
                      <a:pt x="79" y="17"/>
                    </a:lnTo>
                    <a:lnTo>
                      <a:pt x="79" y="19"/>
                    </a:lnTo>
                    <a:lnTo>
                      <a:pt x="80" y="21"/>
                    </a:lnTo>
                    <a:lnTo>
                      <a:pt x="82" y="21"/>
                    </a:lnTo>
                    <a:lnTo>
                      <a:pt x="82" y="22"/>
                    </a:lnTo>
                    <a:lnTo>
                      <a:pt x="84" y="24"/>
                    </a:lnTo>
                    <a:lnTo>
                      <a:pt x="85" y="26"/>
                    </a:lnTo>
                    <a:lnTo>
                      <a:pt x="87" y="27"/>
                    </a:lnTo>
                    <a:lnTo>
                      <a:pt x="89" y="27"/>
                    </a:lnTo>
                    <a:lnTo>
                      <a:pt x="89" y="29"/>
                    </a:lnTo>
                    <a:lnTo>
                      <a:pt x="89" y="31"/>
                    </a:lnTo>
                    <a:lnTo>
                      <a:pt x="91" y="31"/>
                    </a:lnTo>
                    <a:lnTo>
                      <a:pt x="91" y="32"/>
                    </a:lnTo>
                    <a:lnTo>
                      <a:pt x="91" y="31"/>
                    </a:lnTo>
                    <a:lnTo>
                      <a:pt x="92" y="31"/>
                    </a:lnTo>
                    <a:lnTo>
                      <a:pt x="92" y="32"/>
                    </a:lnTo>
                    <a:lnTo>
                      <a:pt x="94" y="32"/>
                    </a:lnTo>
                    <a:lnTo>
                      <a:pt x="94" y="34"/>
                    </a:lnTo>
                    <a:lnTo>
                      <a:pt x="96" y="36"/>
                    </a:lnTo>
                    <a:lnTo>
                      <a:pt x="97" y="38"/>
                    </a:lnTo>
                    <a:lnTo>
                      <a:pt x="97" y="39"/>
                    </a:lnTo>
                    <a:lnTo>
                      <a:pt x="99" y="39"/>
                    </a:lnTo>
                    <a:lnTo>
                      <a:pt x="99" y="41"/>
                    </a:lnTo>
                    <a:lnTo>
                      <a:pt x="99" y="43"/>
                    </a:lnTo>
                    <a:lnTo>
                      <a:pt x="99" y="44"/>
                    </a:lnTo>
                    <a:lnTo>
                      <a:pt x="99" y="46"/>
                    </a:lnTo>
                    <a:lnTo>
                      <a:pt x="99" y="48"/>
                    </a:lnTo>
                    <a:lnTo>
                      <a:pt x="99" y="49"/>
                    </a:lnTo>
                    <a:lnTo>
                      <a:pt x="99" y="51"/>
                    </a:lnTo>
                    <a:lnTo>
                      <a:pt x="99" y="53"/>
                    </a:lnTo>
                    <a:lnTo>
                      <a:pt x="97" y="53"/>
                    </a:lnTo>
                    <a:lnTo>
                      <a:pt x="97" y="55"/>
                    </a:lnTo>
                    <a:lnTo>
                      <a:pt x="96" y="55"/>
                    </a:lnTo>
                    <a:lnTo>
                      <a:pt x="96" y="56"/>
                    </a:lnTo>
                    <a:lnTo>
                      <a:pt x="96" y="58"/>
                    </a:lnTo>
                    <a:lnTo>
                      <a:pt x="96" y="60"/>
                    </a:lnTo>
                    <a:lnTo>
                      <a:pt x="96" y="61"/>
                    </a:lnTo>
                    <a:lnTo>
                      <a:pt x="94" y="61"/>
                    </a:lnTo>
                    <a:lnTo>
                      <a:pt x="94" y="63"/>
                    </a:lnTo>
                    <a:lnTo>
                      <a:pt x="94" y="65"/>
                    </a:lnTo>
                    <a:lnTo>
                      <a:pt x="94" y="66"/>
                    </a:lnTo>
                    <a:lnTo>
                      <a:pt x="94" y="68"/>
                    </a:lnTo>
                    <a:lnTo>
                      <a:pt x="94" y="70"/>
                    </a:lnTo>
                    <a:lnTo>
                      <a:pt x="94" y="72"/>
                    </a:lnTo>
                    <a:lnTo>
                      <a:pt x="92" y="72"/>
                    </a:lnTo>
                    <a:lnTo>
                      <a:pt x="92" y="73"/>
                    </a:lnTo>
                    <a:lnTo>
                      <a:pt x="91" y="73"/>
                    </a:lnTo>
                    <a:lnTo>
                      <a:pt x="92" y="73"/>
                    </a:lnTo>
                    <a:lnTo>
                      <a:pt x="94" y="73"/>
                    </a:lnTo>
                    <a:lnTo>
                      <a:pt x="94" y="72"/>
                    </a:lnTo>
                    <a:lnTo>
                      <a:pt x="94" y="73"/>
                    </a:lnTo>
                    <a:lnTo>
                      <a:pt x="96" y="75"/>
                    </a:lnTo>
                    <a:lnTo>
                      <a:pt x="96" y="73"/>
                    </a:lnTo>
                    <a:lnTo>
                      <a:pt x="96" y="72"/>
                    </a:lnTo>
                    <a:lnTo>
                      <a:pt x="96" y="70"/>
                    </a:lnTo>
                    <a:lnTo>
                      <a:pt x="96" y="68"/>
                    </a:lnTo>
                    <a:lnTo>
                      <a:pt x="96" y="66"/>
                    </a:lnTo>
                    <a:lnTo>
                      <a:pt x="96" y="65"/>
                    </a:lnTo>
                    <a:lnTo>
                      <a:pt x="96" y="63"/>
                    </a:lnTo>
                    <a:lnTo>
                      <a:pt x="97" y="63"/>
                    </a:lnTo>
                    <a:lnTo>
                      <a:pt x="97" y="61"/>
                    </a:lnTo>
                    <a:lnTo>
                      <a:pt x="97" y="60"/>
                    </a:lnTo>
                    <a:lnTo>
                      <a:pt x="99" y="60"/>
                    </a:lnTo>
                    <a:lnTo>
                      <a:pt x="99" y="58"/>
                    </a:lnTo>
                    <a:lnTo>
                      <a:pt x="101" y="58"/>
                    </a:lnTo>
                    <a:lnTo>
                      <a:pt x="101" y="56"/>
                    </a:lnTo>
                    <a:lnTo>
                      <a:pt x="102" y="56"/>
                    </a:lnTo>
                    <a:lnTo>
                      <a:pt x="104" y="56"/>
                    </a:lnTo>
                    <a:lnTo>
                      <a:pt x="106" y="56"/>
                    </a:lnTo>
                    <a:lnTo>
                      <a:pt x="108" y="56"/>
                    </a:lnTo>
                    <a:lnTo>
                      <a:pt x="108" y="58"/>
                    </a:lnTo>
                    <a:lnTo>
                      <a:pt x="109" y="58"/>
                    </a:lnTo>
                    <a:lnTo>
                      <a:pt x="111" y="58"/>
                    </a:lnTo>
                    <a:lnTo>
                      <a:pt x="113" y="58"/>
                    </a:lnTo>
                    <a:lnTo>
                      <a:pt x="114" y="58"/>
                    </a:lnTo>
                    <a:lnTo>
                      <a:pt x="114" y="60"/>
                    </a:lnTo>
                    <a:lnTo>
                      <a:pt x="116" y="60"/>
                    </a:lnTo>
                    <a:lnTo>
                      <a:pt x="116" y="61"/>
                    </a:lnTo>
                    <a:lnTo>
                      <a:pt x="118" y="61"/>
                    </a:lnTo>
                    <a:lnTo>
                      <a:pt x="119" y="61"/>
                    </a:lnTo>
                    <a:lnTo>
                      <a:pt x="119" y="63"/>
                    </a:lnTo>
                    <a:lnTo>
                      <a:pt x="121" y="63"/>
                    </a:lnTo>
                    <a:lnTo>
                      <a:pt x="121" y="65"/>
                    </a:lnTo>
                    <a:lnTo>
                      <a:pt x="123" y="66"/>
                    </a:lnTo>
                    <a:lnTo>
                      <a:pt x="125" y="66"/>
                    </a:lnTo>
                    <a:lnTo>
                      <a:pt x="125" y="68"/>
                    </a:lnTo>
                    <a:lnTo>
                      <a:pt x="126" y="68"/>
                    </a:lnTo>
                    <a:lnTo>
                      <a:pt x="126" y="70"/>
                    </a:lnTo>
                    <a:lnTo>
                      <a:pt x="128" y="70"/>
                    </a:lnTo>
                    <a:lnTo>
                      <a:pt x="128" y="72"/>
                    </a:lnTo>
                    <a:lnTo>
                      <a:pt x="130" y="72"/>
                    </a:lnTo>
                    <a:lnTo>
                      <a:pt x="130" y="73"/>
                    </a:lnTo>
                    <a:lnTo>
                      <a:pt x="130" y="75"/>
                    </a:lnTo>
                    <a:lnTo>
                      <a:pt x="131" y="77"/>
                    </a:lnTo>
                    <a:lnTo>
                      <a:pt x="131" y="75"/>
                    </a:lnTo>
                    <a:lnTo>
                      <a:pt x="133" y="75"/>
                    </a:lnTo>
                    <a:lnTo>
                      <a:pt x="135" y="75"/>
                    </a:lnTo>
                    <a:lnTo>
                      <a:pt x="136" y="75"/>
                    </a:lnTo>
                    <a:lnTo>
                      <a:pt x="136" y="77"/>
                    </a:lnTo>
                    <a:lnTo>
                      <a:pt x="138" y="77"/>
                    </a:lnTo>
                    <a:lnTo>
                      <a:pt x="140" y="78"/>
                    </a:lnTo>
                    <a:lnTo>
                      <a:pt x="142" y="80"/>
                    </a:lnTo>
                    <a:lnTo>
                      <a:pt x="142" y="82"/>
                    </a:lnTo>
                    <a:lnTo>
                      <a:pt x="143" y="82"/>
                    </a:lnTo>
                    <a:lnTo>
                      <a:pt x="143" y="83"/>
                    </a:lnTo>
                    <a:lnTo>
                      <a:pt x="143" y="85"/>
                    </a:lnTo>
                    <a:lnTo>
                      <a:pt x="145" y="87"/>
                    </a:lnTo>
                    <a:lnTo>
                      <a:pt x="143" y="87"/>
                    </a:lnTo>
                    <a:lnTo>
                      <a:pt x="145" y="87"/>
                    </a:lnTo>
                    <a:lnTo>
                      <a:pt x="145" y="89"/>
                    </a:lnTo>
                    <a:lnTo>
                      <a:pt x="145" y="90"/>
                    </a:lnTo>
                    <a:lnTo>
                      <a:pt x="143" y="90"/>
                    </a:lnTo>
                    <a:lnTo>
                      <a:pt x="143" y="92"/>
                    </a:lnTo>
                    <a:lnTo>
                      <a:pt x="143" y="94"/>
                    </a:lnTo>
                    <a:lnTo>
                      <a:pt x="143" y="95"/>
                    </a:lnTo>
                    <a:lnTo>
                      <a:pt x="143" y="97"/>
                    </a:lnTo>
                    <a:close/>
                    <a:moveTo>
                      <a:pt x="96" y="61"/>
                    </a:moveTo>
                    <a:lnTo>
                      <a:pt x="96" y="60"/>
                    </a:lnTo>
                    <a:lnTo>
                      <a:pt x="97" y="58"/>
                    </a:lnTo>
                    <a:lnTo>
                      <a:pt x="97" y="56"/>
                    </a:lnTo>
                    <a:lnTo>
                      <a:pt x="99" y="56"/>
                    </a:lnTo>
                    <a:lnTo>
                      <a:pt x="97" y="58"/>
                    </a:lnTo>
                    <a:lnTo>
                      <a:pt x="97" y="60"/>
                    </a:lnTo>
                    <a:lnTo>
                      <a:pt x="96" y="60"/>
                    </a:lnTo>
                    <a:lnTo>
                      <a:pt x="96" y="61"/>
                    </a:lnTo>
                    <a:close/>
                    <a:moveTo>
                      <a:pt x="97" y="56"/>
                    </a:moveTo>
                    <a:lnTo>
                      <a:pt x="97" y="55"/>
                    </a:lnTo>
                    <a:lnTo>
                      <a:pt x="99" y="55"/>
                    </a:lnTo>
                    <a:lnTo>
                      <a:pt x="99" y="53"/>
                    </a:lnTo>
                    <a:lnTo>
                      <a:pt x="101" y="53"/>
                    </a:lnTo>
                    <a:lnTo>
                      <a:pt x="101" y="51"/>
                    </a:lnTo>
                    <a:lnTo>
                      <a:pt x="101" y="53"/>
                    </a:lnTo>
                    <a:lnTo>
                      <a:pt x="102" y="53"/>
                    </a:lnTo>
                    <a:lnTo>
                      <a:pt x="101" y="53"/>
                    </a:lnTo>
                    <a:lnTo>
                      <a:pt x="99" y="55"/>
                    </a:lnTo>
                    <a:lnTo>
                      <a:pt x="97" y="56"/>
                    </a:lnTo>
                    <a:close/>
                    <a:moveTo>
                      <a:pt x="102" y="53"/>
                    </a:moveTo>
                    <a:lnTo>
                      <a:pt x="104" y="53"/>
                    </a:lnTo>
                    <a:lnTo>
                      <a:pt x="102" y="55"/>
                    </a:lnTo>
                    <a:lnTo>
                      <a:pt x="101" y="55"/>
                    </a:lnTo>
                    <a:lnTo>
                      <a:pt x="101" y="56"/>
                    </a:lnTo>
                    <a:lnTo>
                      <a:pt x="99" y="56"/>
                    </a:lnTo>
                    <a:lnTo>
                      <a:pt x="99" y="55"/>
                    </a:lnTo>
                    <a:lnTo>
                      <a:pt x="101" y="55"/>
                    </a:lnTo>
                    <a:lnTo>
                      <a:pt x="101" y="53"/>
                    </a:lnTo>
                    <a:lnTo>
                      <a:pt x="102" y="53"/>
                    </a:lnTo>
                    <a:close/>
                    <a:moveTo>
                      <a:pt x="96" y="58"/>
                    </a:moveTo>
                    <a:lnTo>
                      <a:pt x="96" y="56"/>
                    </a:lnTo>
                    <a:lnTo>
                      <a:pt x="97" y="55"/>
                    </a:lnTo>
                    <a:lnTo>
                      <a:pt x="99" y="55"/>
                    </a:lnTo>
                    <a:lnTo>
                      <a:pt x="97" y="55"/>
                    </a:lnTo>
                    <a:lnTo>
                      <a:pt x="97" y="56"/>
                    </a:lnTo>
                    <a:lnTo>
                      <a:pt x="96" y="56"/>
                    </a:lnTo>
                    <a:lnTo>
                      <a:pt x="96" y="58"/>
                    </a:lnTo>
                    <a:close/>
                    <a:moveTo>
                      <a:pt x="99" y="49"/>
                    </a:moveTo>
                    <a:lnTo>
                      <a:pt x="99" y="51"/>
                    </a:lnTo>
                    <a:lnTo>
                      <a:pt x="99" y="49"/>
                    </a:lnTo>
                    <a:close/>
                    <a:moveTo>
                      <a:pt x="97" y="60"/>
                    </a:moveTo>
                    <a:lnTo>
                      <a:pt x="97" y="61"/>
                    </a:lnTo>
                    <a:lnTo>
                      <a:pt x="97" y="60"/>
                    </a:lnTo>
                    <a:close/>
                    <a:moveTo>
                      <a:pt x="96" y="56"/>
                    </a:moveTo>
                    <a:lnTo>
                      <a:pt x="97" y="56"/>
                    </a:lnTo>
                    <a:lnTo>
                      <a:pt x="97" y="58"/>
                    </a:lnTo>
                    <a:lnTo>
                      <a:pt x="96" y="58"/>
                    </a:lnTo>
                    <a:lnTo>
                      <a:pt x="96" y="56"/>
                    </a:lnTo>
                    <a:close/>
                    <a:moveTo>
                      <a:pt x="96" y="58"/>
                    </a:moveTo>
                    <a:lnTo>
                      <a:pt x="96" y="60"/>
                    </a:lnTo>
                    <a:lnTo>
                      <a:pt x="96" y="58"/>
                    </a:lnTo>
                    <a:close/>
                    <a:moveTo>
                      <a:pt x="97" y="53"/>
                    </a:moveTo>
                    <a:lnTo>
                      <a:pt x="97" y="55"/>
                    </a:lnTo>
                    <a:lnTo>
                      <a:pt x="97" y="53"/>
                    </a:lnTo>
                    <a:close/>
                    <a:moveTo>
                      <a:pt x="96" y="61"/>
                    </a:moveTo>
                    <a:lnTo>
                      <a:pt x="97" y="61"/>
                    </a:lnTo>
                    <a:lnTo>
                      <a:pt x="96" y="61"/>
                    </a:lnTo>
                    <a:close/>
                    <a:moveTo>
                      <a:pt x="96" y="56"/>
                    </a:moveTo>
                    <a:lnTo>
                      <a:pt x="96" y="58"/>
                    </a:lnTo>
                    <a:lnTo>
                      <a:pt x="96" y="56"/>
                    </a:lnTo>
                    <a:close/>
                    <a:moveTo>
                      <a:pt x="96" y="63"/>
                    </a:moveTo>
                    <a:lnTo>
                      <a:pt x="96" y="65"/>
                    </a:lnTo>
                    <a:lnTo>
                      <a:pt x="96" y="63"/>
                    </a:lnTo>
                    <a:close/>
                    <a:moveTo>
                      <a:pt x="97" y="60"/>
                    </a:moveTo>
                    <a:lnTo>
                      <a:pt x="97" y="61"/>
                    </a:lnTo>
                    <a:lnTo>
                      <a:pt x="97" y="60"/>
                    </a:lnTo>
                    <a:close/>
                    <a:moveTo>
                      <a:pt x="96" y="73"/>
                    </a:moveTo>
                    <a:lnTo>
                      <a:pt x="96" y="75"/>
                    </a:lnTo>
                    <a:lnTo>
                      <a:pt x="96" y="73"/>
                    </a:lnTo>
                    <a:close/>
                    <a:moveTo>
                      <a:pt x="96" y="63"/>
                    </a:moveTo>
                    <a:lnTo>
                      <a:pt x="96" y="65"/>
                    </a:lnTo>
                    <a:lnTo>
                      <a:pt x="96" y="63"/>
                    </a:lnTo>
                    <a:close/>
                    <a:moveTo>
                      <a:pt x="94" y="61"/>
                    </a:moveTo>
                    <a:lnTo>
                      <a:pt x="96" y="61"/>
                    </a:lnTo>
                    <a:lnTo>
                      <a:pt x="96" y="63"/>
                    </a:lnTo>
                    <a:lnTo>
                      <a:pt x="94" y="63"/>
                    </a:lnTo>
                    <a:lnTo>
                      <a:pt x="94" y="61"/>
                    </a:lnTo>
                    <a:close/>
                    <a:moveTo>
                      <a:pt x="96" y="60"/>
                    </a:moveTo>
                    <a:lnTo>
                      <a:pt x="96" y="61"/>
                    </a:lnTo>
                    <a:lnTo>
                      <a:pt x="96" y="60"/>
                    </a:lnTo>
                    <a:close/>
                    <a:moveTo>
                      <a:pt x="96" y="58"/>
                    </a:moveTo>
                    <a:lnTo>
                      <a:pt x="96" y="60"/>
                    </a:lnTo>
                    <a:lnTo>
                      <a:pt x="96" y="58"/>
                    </a:lnTo>
                    <a:close/>
                    <a:moveTo>
                      <a:pt x="94" y="66"/>
                    </a:moveTo>
                    <a:lnTo>
                      <a:pt x="94" y="68"/>
                    </a:lnTo>
                    <a:lnTo>
                      <a:pt x="94" y="66"/>
                    </a:lnTo>
                    <a:close/>
                  </a:path>
                </a:pathLst>
              </a:custGeom>
              <a:solidFill>
                <a:schemeClr val="accent1"/>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9" name="Freeform 36">
                <a:extLst>
                  <a:ext uri="{FF2B5EF4-FFF2-40B4-BE49-F238E27FC236}">
                    <a16:creationId xmlns:a16="http://schemas.microsoft.com/office/drawing/2014/main" id="{EFEAD6DC-6A40-04FA-D7ED-5689BFD4B298}"/>
                  </a:ext>
                </a:extLst>
              </p:cNvPr>
              <p:cNvSpPr>
                <a:spLocks/>
              </p:cNvSpPr>
              <p:nvPr/>
            </p:nvSpPr>
            <p:spPr bwMode="auto">
              <a:xfrm>
                <a:off x="5799886" y="2913056"/>
                <a:ext cx="17917" cy="18798"/>
              </a:xfrm>
              <a:custGeom>
                <a:avLst/>
                <a:gdLst>
                  <a:gd name="T0" fmla="*/ 56 w 61"/>
                  <a:gd name="T1" fmla="*/ 49 h 64"/>
                  <a:gd name="T2" fmla="*/ 53 w 61"/>
                  <a:gd name="T3" fmla="*/ 51 h 64"/>
                  <a:gd name="T4" fmla="*/ 49 w 61"/>
                  <a:gd name="T5" fmla="*/ 51 h 64"/>
                  <a:gd name="T6" fmla="*/ 44 w 61"/>
                  <a:gd name="T7" fmla="*/ 51 h 64"/>
                  <a:gd name="T8" fmla="*/ 41 w 61"/>
                  <a:gd name="T9" fmla="*/ 47 h 64"/>
                  <a:gd name="T10" fmla="*/ 38 w 61"/>
                  <a:gd name="T11" fmla="*/ 47 h 64"/>
                  <a:gd name="T12" fmla="*/ 34 w 61"/>
                  <a:gd name="T13" fmla="*/ 47 h 64"/>
                  <a:gd name="T14" fmla="*/ 32 w 61"/>
                  <a:gd name="T15" fmla="*/ 49 h 64"/>
                  <a:gd name="T16" fmla="*/ 31 w 61"/>
                  <a:gd name="T17" fmla="*/ 52 h 64"/>
                  <a:gd name="T18" fmla="*/ 27 w 61"/>
                  <a:gd name="T19" fmla="*/ 57 h 64"/>
                  <a:gd name="T20" fmla="*/ 21 w 61"/>
                  <a:gd name="T21" fmla="*/ 57 h 64"/>
                  <a:gd name="T22" fmla="*/ 19 w 61"/>
                  <a:gd name="T23" fmla="*/ 57 h 64"/>
                  <a:gd name="T24" fmla="*/ 15 w 61"/>
                  <a:gd name="T25" fmla="*/ 59 h 64"/>
                  <a:gd name="T26" fmla="*/ 12 w 61"/>
                  <a:gd name="T27" fmla="*/ 59 h 64"/>
                  <a:gd name="T28" fmla="*/ 12 w 61"/>
                  <a:gd name="T29" fmla="*/ 63 h 64"/>
                  <a:gd name="T30" fmla="*/ 9 w 61"/>
                  <a:gd name="T31" fmla="*/ 64 h 64"/>
                  <a:gd name="T32" fmla="*/ 5 w 61"/>
                  <a:gd name="T33" fmla="*/ 63 h 64"/>
                  <a:gd name="T34" fmla="*/ 2 w 61"/>
                  <a:gd name="T35" fmla="*/ 63 h 64"/>
                  <a:gd name="T36" fmla="*/ 2 w 61"/>
                  <a:gd name="T37" fmla="*/ 59 h 64"/>
                  <a:gd name="T38" fmla="*/ 4 w 61"/>
                  <a:gd name="T39" fmla="*/ 54 h 64"/>
                  <a:gd name="T40" fmla="*/ 7 w 61"/>
                  <a:gd name="T41" fmla="*/ 54 h 64"/>
                  <a:gd name="T42" fmla="*/ 14 w 61"/>
                  <a:gd name="T43" fmla="*/ 54 h 64"/>
                  <a:gd name="T44" fmla="*/ 14 w 61"/>
                  <a:gd name="T45" fmla="*/ 47 h 64"/>
                  <a:gd name="T46" fmla="*/ 14 w 61"/>
                  <a:gd name="T47" fmla="*/ 44 h 64"/>
                  <a:gd name="T48" fmla="*/ 14 w 61"/>
                  <a:gd name="T49" fmla="*/ 42 h 64"/>
                  <a:gd name="T50" fmla="*/ 14 w 61"/>
                  <a:gd name="T51" fmla="*/ 37 h 64"/>
                  <a:gd name="T52" fmla="*/ 15 w 61"/>
                  <a:gd name="T53" fmla="*/ 34 h 64"/>
                  <a:gd name="T54" fmla="*/ 15 w 61"/>
                  <a:gd name="T55" fmla="*/ 34 h 64"/>
                  <a:gd name="T56" fmla="*/ 19 w 61"/>
                  <a:gd name="T57" fmla="*/ 30 h 64"/>
                  <a:gd name="T58" fmla="*/ 22 w 61"/>
                  <a:gd name="T59" fmla="*/ 27 h 64"/>
                  <a:gd name="T60" fmla="*/ 24 w 61"/>
                  <a:gd name="T61" fmla="*/ 23 h 64"/>
                  <a:gd name="T62" fmla="*/ 27 w 61"/>
                  <a:gd name="T63" fmla="*/ 23 h 64"/>
                  <a:gd name="T64" fmla="*/ 31 w 61"/>
                  <a:gd name="T65" fmla="*/ 20 h 64"/>
                  <a:gd name="T66" fmla="*/ 29 w 61"/>
                  <a:gd name="T67" fmla="*/ 17 h 64"/>
                  <a:gd name="T68" fmla="*/ 29 w 61"/>
                  <a:gd name="T69" fmla="*/ 13 h 64"/>
                  <a:gd name="T70" fmla="*/ 24 w 61"/>
                  <a:gd name="T71" fmla="*/ 10 h 64"/>
                  <a:gd name="T72" fmla="*/ 26 w 61"/>
                  <a:gd name="T73" fmla="*/ 3 h 64"/>
                  <a:gd name="T74" fmla="*/ 27 w 61"/>
                  <a:gd name="T75" fmla="*/ 1 h 64"/>
                  <a:gd name="T76" fmla="*/ 31 w 61"/>
                  <a:gd name="T77" fmla="*/ 1 h 64"/>
                  <a:gd name="T78" fmla="*/ 36 w 61"/>
                  <a:gd name="T79" fmla="*/ 1 h 64"/>
                  <a:gd name="T80" fmla="*/ 34 w 61"/>
                  <a:gd name="T81" fmla="*/ 3 h 64"/>
                  <a:gd name="T82" fmla="*/ 34 w 61"/>
                  <a:gd name="T83" fmla="*/ 8 h 64"/>
                  <a:gd name="T84" fmla="*/ 38 w 61"/>
                  <a:gd name="T85" fmla="*/ 8 h 64"/>
                  <a:gd name="T86" fmla="*/ 38 w 61"/>
                  <a:gd name="T87" fmla="*/ 12 h 64"/>
                  <a:gd name="T88" fmla="*/ 38 w 61"/>
                  <a:gd name="T89" fmla="*/ 15 h 64"/>
                  <a:gd name="T90" fmla="*/ 38 w 61"/>
                  <a:gd name="T91" fmla="*/ 18 h 64"/>
                  <a:gd name="T92" fmla="*/ 39 w 61"/>
                  <a:gd name="T93" fmla="*/ 20 h 64"/>
                  <a:gd name="T94" fmla="*/ 41 w 61"/>
                  <a:gd name="T95" fmla="*/ 22 h 64"/>
                  <a:gd name="T96" fmla="*/ 44 w 61"/>
                  <a:gd name="T97" fmla="*/ 27 h 64"/>
                  <a:gd name="T98" fmla="*/ 48 w 61"/>
                  <a:gd name="T99" fmla="*/ 30 h 64"/>
                  <a:gd name="T100" fmla="*/ 48 w 61"/>
                  <a:gd name="T101" fmla="*/ 34 h 64"/>
                  <a:gd name="T102" fmla="*/ 51 w 61"/>
                  <a:gd name="T103" fmla="*/ 39 h 64"/>
                  <a:gd name="T104" fmla="*/ 53 w 61"/>
                  <a:gd name="T105" fmla="*/ 44 h 64"/>
                  <a:gd name="T106" fmla="*/ 56 w 61"/>
                  <a:gd name="T107" fmla="*/ 47 h 64"/>
                  <a:gd name="T108" fmla="*/ 61 w 61"/>
                  <a:gd name="T109" fmla="*/ 4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 h="64">
                    <a:moveTo>
                      <a:pt x="61" y="49"/>
                    </a:moveTo>
                    <a:lnTo>
                      <a:pt x="60" y="51"/>
                    </a:lnTo>
                    <a:lnTo>
                      <a:pt x="58" y="49"/>
                    </a:lnTo>
                    <a:lnTo>
                      <a:pt x="56" y="49"/>
                    </a:lnTo>
                    <a:lnTo>
                      <a:pt x="56" y="51"/>
                    </a:lnTo>
                    <a:lnTo>
                      <a:pt x="55" y="51"/>
                    </a:lnTo>
                    <a:lnTo>
                      <a:pt x="55" y="49"/>
                    </a:lnTo>
                    <a:lnTo>
                      <a:pt x="53" y="51"/>
                    </a:lnTo>
                    <a:lnTo>
                      <a:pt x="53" y="52"/>
                    </a:lnTo>
                    <a:lnTo>
                      <a:pt x="51" y="52"/>
                    </a:lnTo>
                    <a:lnTo>
                      <a:pt x="51" y="51"/>
                    </a:lnTo>
                    <a:lnTo>
                      <a:pt x="49" y="51"/>
                    </a:lnTo>
                    <a:lnTo>
                      <a:pt x="48" y="51"/>
                    </a:lnTo>
                    <a:lnTo>
                      <a:pt x="48" y="49"/>
                    </a:lnTo>
                    <a:lnTo>
                      <a:pt x="46" y="51"/>
                    </a:lnTo>
                    <a:lnTo>
                      <a:pt x="44" y="51"/>
                    </a:lnTo>
                    <a:lnTo>
                      <a:pt x="44" y="49"/>
                    </a:lnTo>
                    <a:lnTo>
                      <a:pt x="43" y="49"/>
                    </a:lnTo>
                    <a:lnTo>
                      <a:pt x="43" y="47"/>
                    </a:lnTo>
                    <a:lnTo>
                      <a:pt x="41" y="47"/>
                    </a:lnTo>
                    <a:lnTo>
                      <a:pt x="41" y="46"/>
                    </a:lnTo>
                    <a:lnTo>
                      <a:pt x="41" y="47"/>
                    </a:lnTo>
                    <a:lnTo>
                      <a:pt x="39" y="47"/>
                    </a:lnTo>
                    <a:lnTo>
                      <a:pt x="38" y="47"/>
                    </a:lnTo>
                    <a:lnTo>
                      <a:pt x="38" y="49"/>
                    </a:lnTo>
                    <a:lnTo>
                      <a:pt x="36" y="49"/>
                    </a:lnTo>
                    <a:lnTo>
                      <a:pt x="36" y="47"/>
                    </a:lnTo>
                    <a:lnTo>
                      <a:pt x="34" y="47"/>
                    </a:lnTo>
                    <a:lnTo>
                      <a:pt x="32" y="47"/>
                    </a:lnTo>
                    <a:lnTo>
                      <a:pt x="32" y="49"/>
                    </a:lnTo>
                    <a:lnTo>
                      <a:pt x="32" y="51"/>
                    </a:lnTo>
                    <a:lnTo>
                      <a:pt x="32" y="49"/>
                    </a:lnTo>
                    <a:lnTo>
                      <a:pt x="31" y="51"/>
                    </a:lnTo>
                    <a:lnTo>
                      <a:pt x="31" y="52"/>
                    </a:lnTo>
                    <a:lnTo>
                      <a:pt x="29" y="52"/>
                    </a:lnTo>
                    <a:lnTo>
                      <a:pt x="31" y="52"/>
                    </a:lnTo>
                    <a:lnTo>
                      <a:pt x="29" y="54"/>
                    </a:lnTo>
                    <a:lnTo>
                      <a:pt x="27" y="54"/>
                    </a:lnTo>
                    <a:lnTo>
                      <a:pt x="27" y="56"/>
                    </a:lnTo>
                    <a:lnTo>
                      <a:pt x="27" y="57"/>
                    </a:lnTo>
                    <a:lnTo>
                      <a:pt x="26" y="57"/>
                    </a:lnTo>
                    <a:lnTo>
                      <a:pt x="24" y="57"/>
                    </a:lnTo>
                    <a:lnTo>
                      <a:pt x="22" y="57"/>
                    </a:lnTo>
                    <a:lnTo>
                      <a:pt x="21" y="57"/>
                    </a:lnTo>
                    <a:lnTo>
                      <a:pt x="21" y="56"/>
                    </a:lnTo>
                    <a:lnTo>
                      <a:pt x="21" y="57"/>
                    </a:lnTo>
                    <a:lnTo>
                      <a:pt x="21" y="56"/>
                    </a:lnTo>
                    <a:lnTo>
                      <a:pt x="19" y="57"/>
                    </a:lnTo>
                    <a:lnTo>
                      <a:pt x="19" y="56"/>
                    </a:lnTo>
                    <a:lnTo>
                      <a:pt x="19" y="57"/>
                    </a:lnTo>
                    <a:lnTo>
                      <a:pt x="17" y="57"/>
                    </a:lnTo>
                    <a:lnTo>
                      <a:pt x="15" y="59"/>
                    </a:lnTo>
                    <a:lnTo>
                      <a:pt x="15" y="57"/>
                    </a:lnTo>
                    <a:lnTo>
                      <a:pt x="15" y="59"/>
                    </a:lnTo>
                    <a:lnTo>
                      <a:pt x="14" y="59"/>
                    </a:lnTo>
                    <a:lnTo>
                      <a:pt x="12" y="59"/>
                    </a:lnTo>
                    <a:lnTo>
                      <a:pt x="10" y="59"/>
                    </a:lnTo>
                    <a:lnTo>
                      <a:pt x="12" y="59"/>
                    </a:lnTo>
                    <a:lnTo>
                      <a:pt x="12" y="61"/>
                    </a:lnTo>
                    <a:lnTo>
                      <a:pt x="12" y="63"/>
                    </a:lnTo>
                    <a:lnTo>
                      <a:pt x="10" y="63"/>
                    </a:lnTo>
                    <a:lnTo>
                      <a:pt x="10" y="64"/>
                    </a:lnTo>
                    <a:lnTo>
                      <a:pt x="9" y="63"/>
                    </a:lnTo>
                    <a:lnTo>
                      <a:pt x="9" y="64"/>
                    </a:lnTo>
                    <a:lnTo>
                      <a:pt x="7" y="64"/>
                    </a:lnTo>
                    <a:lnTo>
                      <a:pt x="5" y="64"/>
                    </a:lnTo>
                    <a:lnTo>
                      <a:pt x="7" y="64"/>
                    </a:lnTo>
                    <a:lnTo>
                      <a:pt x="5" y="63"/>
                    </a:lnTo>
                    <a:lnTo>
                      <a:pt x="4" y="63"/>
                    </a:lnTo>
                    <a:lnTo>
                      <a:pt x="2" y="63"/>
                    </a:lnTo>
                    <a:lnTo>
                      <a:pt x="2" y="61"/>
                    </a:lnTo>
                    <a:lnTo>
                      <a:pt x="2" y="63"/>
                    </a:lnTo>
                    <a:lnTo>
                      <a:pt x="0" y="63"/>
                    </a:lnTo>
                    <a:lnTo>
                      <a:pt x="0" y="61"/>
                    </a:lnTo>
                    <a:lnTo>
                      <a:pt x="0" y="59"/>
                    </a:lnTo>
                    <a:lnTo>
                      <a:pt x="2" y="59"/>
                    </a:lnTo>
                    <a:lnTo>
                      <a:pt x="2" y="57"/>
                    </a:lnTo>
                    <a:lnTo>
                      <a:pt x="4" y="57"/>
                    </a:lnTo>
                    <a:lnTo>
                      <a:pt x="4" y="56"/>
                    </a:lnTo>
                    <a:lnTo>
                      <a:pt x="4" y="54"/>
                    </a:lnTo>
                    <a:lnTo>
                      <a:pt x="4" y="56"/>
                    </a:lnTo>
                    <a:lnTo>
                      <a:pt x="4" y="54"/>
                    </a:lnTo>
                    <a:lnTo>
                      <a:pt x="5" y="54"/>
                    </a:lnTo>
                    <a:lnTo>
                      <a:pt x="7" y="54"/>
                    </a:lnTo>
                    <a:lnTo>
                      <a:pt x="9" y="54"/>
                    </a:lnTo>
                    <a:lnTo>
                      <a:pt x="10" y="54"/>
                    </a:lnTo>
                    <a:lnTo>
                      <a:pt x="12" y="54"/>
                    </a:lnTo>
                    <a:lnTo>
                      <a:pt x="14" y="54"/>
                    </a:lnTo>
                    <a:lnTo>
                      <a:pt x="14" y="52"/>
                    </a:lnTo>
                    <a:lnTo>
                      <a:pt x="14" y="51"/>
                    </a:lnTo>
                    <a:lnTo>
                      <a:pt x="14" y="49"/>
                    </a:lnTo>
                    <a:lnTo>
                      <a:pt x="14" y="47"/>
                    </a:lnTo>
                    <a:lnTo>
                      <a:pt x="14" y="46"/>
                    </a:lnTo>
                    <a:lnTo>
                      <a:pt x="15" y="46"/>
                    </a:lnTo>
                    <a:lnTo>
                      <a:pt x="14" y="46"/>
                    </a:lnTo>
                    <a:lnTo>
                      <a:pt x="14" y="44"/>
                    </a:lnTo>
                    <a:lnTo>
                      <a:pt x="15" y="44"/>
                    </a:lnTo>
                    <a:lnTo>
                      <a:pt x="14" y="44"/>
                    </a:lnTo>
                    <a:lnTo>
                      <a:pt x="15" y="42"/>
                    </a:lnTo>
                    <a:lnTo>
                      <a:pt x="14" y="42"/>
                    </a:lnTo>
                    <a:lnTo>
                      <a:pt x="14" y="40"/>
                    </a:lnTo>
                    <a:lnTo>
                      <a:pt x="14" y="39"/>
                    </a:lnTo>
                    <a:lnTo>
                      <a:pt x="15" y="39"/>
                    </a:lnTo>
                    <a:lnTo>
                      <a:pt x="14" y="37"/>
                    </a:lnTo>
                    <a:lnTo>
                      <a:pt x="15" y="37"/>
                    </a:lnTo>
                    <a:lnTo>
                      <a:pt x="15" y="35"/>
                    </a:lnTo>
                    <a:lnTo>
                      <a:pt x="17" y="35"/>
                    </a:lnTo>
                    <a:lnTo>
                      <a:pt x="15" y="34"/>
                    </a:lnTo>
                    <a:lnTo>
                      <a:pt x="15" y="35"/>
                    </a:lnTo>
                    <a:lnTo>
                      <a:pt x="14" y="35"/>
                    </a:lnTo>
                    <a:lnTo>
                      <a:pt x="14" y="34"/>
                    </a:lnTo>
                    <a:lnTo>
                      <a:pt x="15" y="34"/>
                    </a:lnTo>
                    <a:lnTo>
                      <a:pt x="15" y="32"/>
                    </a:lnTo>
                    <a:lnTo>
                      <a:pt x="17" y="32"/>
                    </a:lnTo>
                    <a:lnTo>
                      <a:pt x="19" y="32"/>
                    </a:lnTo>
                    <a:lnTo>
                      <a:pt x="19" y="30"/>
                    </a:lnTo>
                    <a:lnTo>
                      <a:pt x="19" y="29"/>
                    </a:lnTo>
                    <a:lnTo>
                      <a:pt x="19" y="27"/>
                    </a:lnTo>
                    <a:lnTo>
                      <a:pt x="21" y="27"/>
                    </a:lnTo>
                    <a:lnTo>
                      <a:pt x="22" y="27"/>
                    </a:lnTo>
                    <a:lnTo>
                      <a:pt x="22" y="25"/>
                    </a:lnTo>
                    <a:lnTo>
                      <a:pt x="24" y="27"/>
                    </a:lnTo>
                    <a:lnTo>
                      <a:pt x="24" y="25"/>
                    </a:lnTo>
                    <a:lnTo>
                      <a:pt x="24" y="23"/>
                    </a:lnTo>
                    <a:lnTo>
                      <a:pt x="24" y="25"/>
                    </a:lnTo>
                    <a:lnTo>
                      <a:pt x="26" y="25"/>
                    </a:lnTo>
                    <a:lnTo>
                      <a:pt x="26" y="23"/>
                    </a:lnTo>
                    <a:lnTo>
                      <a:pt x="27" y="23"/>
                    </a:lnTo>
                    <a:lnTo>
                      <a:pt x="29" y="23"/>
                    </a:lnTo>
                    <a:lnTo>
                      <a:pt x="29" y="22"/>
                    </a:lnTo>
                    <a:lnTo>
                      <a:pt x="31" y="22"/>
                    </a:lnTo>
                    <a:lnTo>
                      <a:pt x="31" y="20"/>
                    </a:lnTo>
                    <a:lnTo>
                      <a:pt x="31" y="18"/>
                    </a:lnTo>
                    <a:lnTo>
                      <a:pt x="31" y="17"/>
                    </a:lnTo>
                    <a:lnTo>
                      <a:pt x="29" y="18"/>
                    </a:lnTo>
                    <a:lnTo>
                      <a:pt x="29" y="17"/>
                    </a:lnTo>
                    <a:lnTo>
                      <a:pt x="29" y="18"/>
                    </a:lnTo>
                    <a:lnTo>
                      <a:pt x="29" y="17"/>
                    </a:lnTo>
                    <a:lnTo>
                      <a:pt x="29" y="15"/>
                    </a:lnTo>
                    <a:lnTo>
                      <a:pt x="29" y="13"/>
                    </a:lnTo>
                    <a:lnTo>
                      <a:pt x="27" y="13"/>
                    </a:lnTo>
                    <a:lnTo>
                      <a:pt x="26" y="12"/>
                    </a:lnTo>
                    <a:lnTo>
                      <a:pt x="26" y="10"/>
                    </a:lnTo>
                    <a:lnTo>
                      <a:pt x="24" y="10"/>
                    </a:lnTo>
                    <a:lnTo>
                      <a:pt x="24" y="8"/>
                    </a:lnTo>
                    <a:lnTo>
                      <a:pt x="24" y="6"/>
                    </a:lnTo>
                    <a:lnTo>
                      <a:pt x="24" y="5"/>
                    </a:lnTo>
                    <a:lnTo>
                      <a:pt x="26" y="3"/>
                    </a:lnTo>
                    <a:lnTo>
                      <a:pt x="24" y="3"/>
                    </a:lnTo>
                    <a:lnTo>
                      <a:pt x="24" y="1"/>
                    </a:lnTo>
                    <a:lnTo>
                      <a:pt x="26" y="1"/>
                    </a:lnTo>
                    <a:lnTo>
                      <a:pt x="27" y="1"/>
                    </a:lnTo>
                    <a:lnTo>
                      <a:pt x="29" y="1"/>
                    </a:lnTo>
                    <a:lnTo>
                      <a:pt x="31" y="1"/>
                    </a:lnTo>
                    <a:lnTo>
                      <a:pt x="31" y="0"/>
                    </a:lnTo>
                    <a:lnTo>
                      <a:pt x="31" y="1"/>
                    </a:lnTo>
                    <a:lnTo>
                      <a:pt x="32" y="1"/>
                    </a:lnTo>
                    <a:lnTo>
                      <a:pt x="34" y="1"/>
                    </a:lnTo>
                    <a:lnTo>
                      <a:pt x="34" y="0"/>
                    </a:lnTo>
                    <a:lnTo>
                      <a:pt x="36" y="1"/>
                    </a:lnTo>
                    <a:lnTo>
                      <a:pt x="34" y="1"/>
                    </a:lnTo>
                    <a:lnTo>
                      <a:pt x="36" y="1"/>
                    </a:lnTo>
                    <a:lnTo>
                      <a:pt x="36" y="3"/>
                    </a:lnTo>
                    <a:lnTo>
                      <a:pt x="34" y="3"/>
                    </a:lnTo>
                    <a:lnTo>
                      <a:pt x="36" y="5"/>
                    </a:lnTo>
                    <a:lnTo>
                      <a:pt x="36" y="6"/>
                    </a:lnTo>
                    <a:lnTo>
                      <a:pt x="34" y="6"/>
                    </a:lnTo>
                    <a:lnTo>
                      <a:pt x="34" y="8"/>
                    </a:lnTo>
                    <a:lnTo>
                      <a:pt x="36" y="8"/>
                    </a:lnTo>
                    <a:lnTo>
                      <a:pt x="36" y="10"/>
                    </a:lnTo>
                    <a:lnTo>
                      <a:pt x="36" y="8"/>
                    </a:lnTo>
                    <a:lnTo>
                      <a:pt x="38" y="8"/>
                    </a:lnTo>
                    <a:lnTo>
                      <a:pt x="38" y="10"/>
                    </a:lnTo>
                    <a:lnTo>
                      <a:pt x="36" y="10"/>
                    </a:lnTo>
                    <a:lnTo>
                      <a:pt x="38" y="10"/>
                    </a:lnTo>
                    <a:lnTo>
                      <a:pt x="38" y="12"/>
                    </a:lnTo>
                    <a:lnTo>
                      <a:pt x="39" y="12"/>
                    </a:lnTo>
                    <a:lnTo>
                      <a:pt x="39" y="13"/>
                    </a:lnTo>
                    <a:lnTo>
                      <a:pt x="38" y="13"/>
                    </a:lnTo>
                    <a:lnTo>
                      <a:pt x="38" y="15"/>
                    </a:lnTo>
                    <a:lnTo>
                      <a:pt x="39" y="15"/>
                    </a:lnTo>
                    <a:lnTo>
                      <a:pt x="39" y="17"/>
                    </a:lnTo>
                    <a:lnTo>
                      <a:pt x="38" y="17"/>
                    </a:lnTo>
                    <a:lnTo>
                      <a:pt x="38" y="18"/>
                    </a:lnTo>
                    <a:lnTo>
                      <a:pt x="39" y="18"/>
                    </a:lnTo>
                    <a:lnTo>
                      <a:pt x="38" y="18"/>
                    </a:lnTo>
                    <a:lnTo>
                      <a:pt x="38" y="20"/>
                    </a:lnTo>
                    <a:lnTo>
                      <a:pt x="39" y="20"/>
                    </a:lnTo>
                    <a:lnTo>
                      <a:pt x="41" y="20"/>
                    </a:lnTo>
                    <a:lnTo>
                      <a:pt x="41" y="22"/>
                    </a:lnTo>
                    <a:lnTo>
                      <a:pt x="43" y="22"/>
                    </a:lnTo>
                    <a:lnTo>
                      <a:pt x="41" y="22"/>
                    </a:lnTo>
                    <a:lnTo>
                      <a:pt x="43" y="23"/>
                    </a:lnTo>
                    <a:lnTo>
                      <a:pt x="43" y="25"/>
                    </a:lnTo>
                    <a:lnTo>
                      <a:pt x="44" y="25"/>
                    </a:lnTo>
                    <a:lnTo>
                      <a:pt x="44" y="27"/>
                    </a:lnTo>
                    <a:lnTo>
                      <a:pt x="44" y="29"/>
                    </a:lnTo>
                    <a:lnTo>
                      <a:pt x="46" y="29"/>
                    </a:lnTo>
                    <a:lnTo>
                      <a:pt x="46" y="30"/>
                    </a:lnTo>
                    <a:lnTo>
                      <a:pt x="48" y="30"/>
                    </a:lnTo>
                    <a:lnTo>
                      <a:pt x="48" y="32"/>
                    </a:lnTo>
                    <a:lnTo>
                      <a:pt x="46" y="32"/>
                    </a:lnTo>
                    <a:lnTo>
                      <a:pt x="48" y="32"/>
                    </a:lnTo>
                    <a:lnTo>
                      <a:pt x="48" y="34"/>
                    </a:lnTo>
                    <a:lnTo>
                      <a:pt x="48" y="35"/>
                    </a:lnTo>
                    <a:lnTo>
                      <a:pt x="49" y="35"/>
                    </a:lnTo>
                    <a:lnTo>
                      <a:pt x="49" y="37"/>
                    </a:lnTo>
                    <a:lnTo>
                      <a:pt x="51" y="39"/>
                    </a:lnTo>
                    <a:lnTo>
                      <a:pt x="51" y="40"/>
                    </a:lnTo>
                    <a:lnTo>
                      <a:pt x="53" y="40"/>
                    </a:lnTo>
                    <a:lnTo>
                      <a:pt x="53" y="42"/>
                    </a:lnTo>
                    <a:lnTo>
                      <a:pt x="53" y="44"/>
                    </a:lnTo>
                    <a:lnTo>
                      <a:pt x="55" y="44"/>
                    </a:lnTo>
                    <a:lnTo>
                      <a:pt x="55" y="46"/>
                    </a:lnTo>
                    <a:lnTo>
                      <a:pt x="56" y="46"/>
                    </a:lnTo>
                    <a:lnTo>
                      <a:pt x="56" y="47"/>
                    </a:lnTo>
                    <a:lnTo>
                      <a:pt x="58" y="47"/>
                    </a:lnTo>
                    <a:lnTo>
                      <a:pt x="60" y="47"/>
                    </a:lnTo>
                    <a:lnTo>
                      <a:pt x="61" y="47"/>
                    </a:lnTo>
                    <a:lnTo>
                      <a:pt x="61" y="4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38" name="Freeform 45">
                <a:extLst>
                  <a:ext uri="{FF2B5EF4-FFF2-40B4-BE49-F238E27FC236}">
                    <a16:creationId xmlns:a16="http://schemas.microsoft.com/office/drawing/2014/main" id="{FEA9E46C-7852-9660-BEAC-C0AF94303B46}"/>
                  </a:ext>
                </a:extLst>
              </p:cNvPr>
              <p:cNvSpPr>
                <a:spLocks/>
              </p:cNvSpPr>
              <p:nvPr/>
            </p:nvSpPr>
            <p:spPr bwMode="auto">
              <a:xfrm>
                <a:off x="5757004" y="3141861"/>
                <a:ext cx="83416" cy="89878"/>
              </a:xfrm>
              <a:custGeom>
                <a:avLst/>
                <a:gdLst>
                  <a:gd name="T0" fmla="*/ 155 w 284"/>
                  <a:gd name="T1" fmla="*/ 39 h 306"/>
                  <a:gd name="T2" fmla="*/ 158 w 284"/>
                  <a:gd name="T3" fmla="*/ 51 h 306"/>
                  <a:gd name="T4" fmla="*/ 161 w 284"/>
                  <a:gd name="T5" fmla="*/ 58 h 306"/>
                  <a:gd name="T6" fmla="*/ 161 w 284"/>
                  <a:gd name="T7" fmla="*/ 68 h 306"/>
                  <a:gd name="T8" fmla="*/ 160 w 284"/>
                  <a:gd name="T9" fmla="*/ 80 h 306"/>
                  <a:gd name="T10" fmla="*/ 158 w 284"/>
                  <a:gd name="T11" fmla="*/ 92 h 306"/>
                  <a:gd name="T12" fmla="*/ 158 w 284"/>
                  <a:gd name="T13" fmla="*/ 100 h 306"/>
                  <a:gd name="T14" fmla="*/ 167 w 284"/>
                  <a:gd name="T15" fmla="*/ 102 h 306"/>
                  <a:gd name="T16" fmla="*/ 178 w 284"/>
                  <a:gd name="T17" fmla="*/ 107 h 306"/>
                  <a:gd name="T18" fmla="*/ 189 w 284"/>
                  <a:gd name="T19" fmla="*/ 107 h 306"/>
                  <a:gd name="T20" fmla="*/ 201 w 284"/>
                  <a:gd name="T21" fmla="*/ 105 h 306"/>
                  <a:gd name="T22" fmla="*/ 207 w 284"/>
                  <a:gd name="T23" fmla="*/ 103 h 306"/>
                  <a:gd name="T24" fmla="*/ 216 w 284"/>
                  <a:gd name="T25" fmla="*/ 105 h 306"/>
                  <a:gd name="T26" fmla="*/ 226 w 284"/>
                  <a:gd name="T27" fmla="*/ 109 h 306"/>
                  <a:gd name="T28" fmla="*/ 235 w 284"/>
                  <a:gd name="T29" fmla="*/ 117 h 306"/>
                  <a:gd name="T30" fmla="*/ 236 w 284"/>
                  <a:gd name="T31" fmla="*/ 131 h 306"/>
                  <a:gd name="T32" fmla="*/ 240 w 284"/>
                  <a:gd name="T33" fmla="*/ 143 h 306"/>
                  <a:gd name="T34" fmla="*/ 241 w 284"/>
                  <a:gd name="T35" fmla="*/ 156 h 306"/>
                  <a:gd name="T36" fmla="*/ 243 w 284"/>
                  <a:gd name="T37" fmla="*/ 166 h 306"/>
                  <a:gd name="T38" fmla="*/ 253 w 284"/>
                  <a:gd name="T39" fmla="*/ 170 h 306"/>
                  <a:gd name="T40" fmla="*/ 263 w 284"/>
                  <a:gd name="T41" fmla="*/ 166 h 306"/>
                  <a:gd name="T42" fmla="*/ 277 w 284"/>
                  <a:gd name="T43" fmla="*/ 166 h 306"/>
                  <a:gd name="T44" fmla="*/ 282 w 284"/>
                  <a:gd name="T45" fmla="*/ 180 h 306"/>
                  <a:gd name="T46" fmla="*/ 282 w 284"/>
                  <a:gd name="T47" fmla="*/ 195 h 306"/>
                  <a:gd name="T48" fmla="*/ 277 w 284"/>
                  <a:gd name="T49" fmla="*/ 212 h 306"/>
                  <a:gd name="T50" fmla="*/ 272 w 284"/>
                  <a:gd name="T51" fmla="*/ 229 h 306"/>
                  <a:gd name="T52" fmla="*/ 272 w 284"/>
                  <a:gd name="T53" fmla="*/ 245 h 306"/>
                  <a:gd name="T54" fmla="*/ 270 w 284"/>
                  <a:gd name="T55" fmla="*/ 257 h 306"/>
                  <a:gd name="T56" fmla="*/ 265 w 284"/>
                  <a:gd name="T57" fmla="*/ 270 h 306"/>
                  <a:gd name="T58" fmla="*/ 253 w 284"/>
                  <a:gd name="T59" fmla="*/ 280 h 306"/>
                  <a:gd name="T60" fmla="*/ 240 w 284"/>
                  <a:gd name="T61" fmla="*/ 287 h 306"/>
                  <a:gd name="T62" fmla="*/ 236 w 284"/>
                  <a:gd name="T63" fmla="*/ 297 h 306"/>
                  <a:gd name="T64" fmla="*/ 223 w 284"/>
                  <a:gd name="T65" fmla="*/ 296 h 306"/>
                  <a:gd name="T66" fmla="*/ 212 w 284"/>
                  <a:gd name="T67" fmla="*/ 304 h 306"/>
                  <a:gd name="T68" fmla="*/ 199 w 284"/>
                  <a:gd name="T69" fmla="*/ 303 h 306"/>
                  <a:gd name="T70" fmla="*/ 185 w 284"/>
                  <a:gd name="T71" fmla="*/ 301 h 306"/>
                  <a:gd name="T72" fmla="*/ 170 w 284"/>
                  <a:gd name="T73" fmla="*/ 297 h 306"/>
                  <a:gd name="T74" fmla="*/ 153 w 284"/>
                  <a:gd name="T75" fmla="*/ 294 h 306"/>
                  <a:gd name="T76" fmla="*/ 136 w 284"/>
                  <a:gd name="T77" fmla="*/ 296 h 306"/>
                  <a:gd name="T78" fmla="*/ 139 w 284"/>
                  <a:gd name="T79" fmla="*/ 287 h 306"/>
                  <a:gd name="T80" fmla="*/ 144 w 284"/>
                  <a:gd name="T81" fmla="*/ 280 h 306"/>
                  <a:gd name="T82" fmla="*/ 151 w 284"/>
                  <a:gd name="T83" fmla="*/ 270 h 306"/>
                  <a:gd name="T84" fmla="*/ 151 w 284"/>
                  <a:gd name="T85" fmla="*/ 260 h 306"/>
                  <a:gd name="T86" fmla="*/ 156 w 284"/>
                  <a:gd name="T87" fmla="*/ 250 h 306"/>
                  <a:gd name="T88" fmla="*/ 163 w 284"/>
                  <a:gd name="T89" fmla="*/ 240 h 306"/>
                  <a:gd name="T90" fmla="*/ 168 w 284"/>
                  <a:gd name="T91" fmla="*/ 231 h 306"/>
                  <a:gd name="T92" fmla="*/ 167 w 284"/>
                  <a:gd name="T93" fmla="*/ 221 h 306"/>
                  <a:gd name="T94" fmla="*/ 161 w 284"/>
                  <a:gd name="T95" fmla="*/ 211 h 306"/>
                  <a:gd name="T96" fmla="*/ 153 w 284"/>
                  <a:gd name="T97" fmla="*/ 207 h 306"/>
                  <a:gd name="T98" fmla="*/ 143 w 284"/>
                  <a:gd name="T99" fmla="*/ 204 h 306"/>
                  <a:gd name="T100" fmla="*/ 129 w 284"/>
                  <a:gd name="T101" fmla="*/ 199 h 306"/>
                  <a:gd name="T102" fmla="*/ 114 w 284"/>
                  <a:gd name="T103" fmla="*/ 190 h 306"/>
                  <a:gd name="T104" fmla="*/ 83 w 284"/>
                  <a:gd name="T105" fmla="*/ 173 h 306"/>
                  <a:gd name="T106" fmla="*/ 68 w 284"/>
                  <a:gd name="T107" fmla="*/ 168 h 306"/>
                  <a:gd name="T108" fmla="*/ 54 w 284"/>
                  <a:gd name="T109" fmla="*/ 161 h 306"/>
                  <a:gd name="T110" fmla="*/ 46 w 284"/>
                  <a:gd name="T111" fmla="*/ 151 h 306"/>
                  <a:gd name="T112" fmla="*/ 34 w 284"/>
                  <a:gd name="T113" fmla="*/ 144 h 306"/>
                  <a:gd name="T114" fmla="*/ 22 w 284"/>
                  <a:gd name="T115" fmla="*/ 136 h 306"/>
                  <a:gd name="T116" fmla="*/ 14 w 284"/>
                  <a:gd name="T117" fmla="*/ 122 h 306"/>
                  <a:gd name="T118" fmla="*/ 10 w 284"/>
                  <a:gd name="T119" fmla="*/ 115 h 306"/>
                  <a:gd name="T120" fmla="*/ 0 w 284"/>
                  <a:gd name="T121" fmla="*/ 109 h 306"/>
                  <a:gd name="T122" fmla="*/ 25 w 284"/>
                  <a:gd name="T123" fmla="*/ 27 h 306"/>
                  <a:gd name="T124" fmla="*/ 151 w 284"/>
                  <a:gd name="T125" fmla="*/ 2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4" h="306">
                    <a:moveTo>
                      <a:pt x="151" y="32"/>
                    </a:moveTo>
                    <a:lnTo>
                      <a:pt x="153" y="32"/>
                    </a:lnTo>
                    <a:lnTo>
                      <a:pt x="153" y="34"/>
                    </a:lnTo>
                    <a:lnTo>
                      <a:pt x="151" y="34"/>
                    </a:lnTo>
                    <a:lnTo>
                      <a:pt x="151" y="35"/>
                    </a:lnTo>
                    <a:lnTo>
                      <a:pt x="153" y="35"/>
                    </a:lnTo>
                    <a:lnTo>
                      <a:pt x="153" y="34"/>
                    </a:lnTo>
                    <a:lnTo>
                      <a:pt x="155" y="35"/>
                    </a:lnTo>
                    <a:lnTo>
                      <a:pt x="153" y="37"/>
                    </a:lnTo>
                    <a:lnTo>
                      <a:pt x="155" y="37"/>
                    </a:lnTo>
                    <a:lnTo>
                      <a:pt x="155" y="39"/>
                    </a:lnTo>
                    <a:lnTo>
                      <a:pt x="156" y="41"/>
                    </a:lnTo>
                    <a:lnTo>
                      <a:pt x="158" y="41"/>
                    </a:lnTo>
                    <a:lnTo>
                      <a:pt x="158" y="42"/>
                    </a:lnTo>
                    <a:lnTo>
                      <a:pt x="156" y="42"/>
                    </a:lnTo>
                    <a:lnTo>
                      <a:pt x="156" y="44"/>
                    </a:lnTo>
                    <a:lnTo>
                      <a:pt x="156" y="46"/>
                    </a:lnTo>
                    <a:lnTo>
                      <a:pt x="158" y="46"/>
                    </a:lnTo>
                    <a:lnTo>
                      <a:pt x="156" y="47"/>
                    </a:lnTo>
                    <a:lnTo>
                      <a:pt x="158" y="47"/>
                    </a:lnTo>
                    <a:lnTo>
                      <a:pt x="158" y="49"/>
                    </a:lnTo>
                    <a:lnTo>
                      <a:pt x="158" y="51"/>
                    </a:lnTo>
                    <a:lnTo>
                      <a:pt x="160" y="51"/>
                    </a:lnTo>
                    <a:lnTo>
                      <a:pt x="160" y="49"/>
                    </a:lnTo>
                    <a:lnTo>
                      <a:pt x="160" y="51"/>
                    </a:lnTo>
                    <a:lnTo>
                      <a:pt x="161" y="51"/>
                    </a:lnTo>
                    <a:lnTo>
                      <a:pt x="161" y="52"/>
                    </a:lnTo>
                    <a:lnTo>
                      <a:pt x="160" y="52"/>
                    </a:lnTo>
                    <a:lnTo>
                      <a:pt x="158" y="54"/>
                    </a:lnTo>
                    <a:lnTo>
                      <a:pt x="160" y="54"/>
                    </a:lnTo>
                    <a:lnTo>
                      <a:pt x="161" y="54"/>
                    </a:lnTo>
                    <a:lnTo>
                      <a:pt x="161" y="56"/>
                    </a:lnTo>
                    <a:lnTo>
                      <a:pt x="161" y="58"/>
                    </a:lnTo>
                    <a:lnTo>
                      <a:pt x="160" y="58"/>
                    </a:lnTo>
                    <a:lnTo>
                      <a:pt x="161" y="58"/>
                    </a:lnTo>
                    <a:lnTo>
                      <a:pt x="161" y="59"/>
                    </a:lnTo>
                    <a:lnTo>
                      <a:pt x="163" y="59"/>
                    </a:lnTo>
                    <a:lnTo>
                      <a:pt x="163" y="61"/>
                    </a:lnTo>
                    <a:lnTo>
                      <a:pt x="163" y="63"/>
                    </a:lnTo>
                    <a:lnTo>
                      <a:pt x="161" y="63"/>
                    </a:lnTo>
                    <a:lnTo>
                      <a:pt x="161" y="64"/>
                    </a:lnTo>
                    <a:lnTo>
                      <a:pt x="163" y="64"/>
                    </a:lnTo>
                    <a:lnTo>
                      <a:pt x="161" y="66"/>
                    </a:lnTo>
                    <a:lnTo>
                      <a:pt x="161" y="68"/>
                    </a:lnTo>
                    <a:lnTo>
                      <a:pt x="163" y="68"/>
                    </a:lnTo>
                    <a:lnTo>
                      <a:pt x="163" y="69"/>
                    </a:lnTo>
                    <a:lnTo>
                      <a:pt x="161" y="69"/>
                    </a:lnTo>
                    <a:lnTo>
                      <a:pt x="161" y="71"/>
                    </a:lnTo>
                    <a:lnTo>
                      <a:pt x="160" y="71"/>
                    </a:lnTo>
                    <a:lnTo>
                      <a:pt x="161" y="73"/>
                    </a:lnTo>
                    <a:lnTo>
                      <a:pt x="161" y="75"/>
                    </a:lnTo>
                    <a:lnTo>
                      <a:pt x="161" y="76"/>
                    </a:lnTo>
                    <a:lnTo>
                      <a:pt x="160" y="76"/>
                    </a:lnTo>
                    <a:lnTo>
                      <a:pt x="160" y="78"/>
                    </a:lnTo>
                    <a:lnTo>
                      <a:pt x="160" y="80"/>
                    </a:lnTo>
                    <a:lnTo>
                      <a:pt x="158" y="80"/>
                    </a:lnTo>
                    <a:lnTo>
                      <a:pt x="158" y="81"/>
                    </a:lnTo>
                    <a:lnTo>
                      <a:pt x="160" y="81"/>
                    </a:lnTo>
                    <a:lnTo>
                      <a:pt x="160" y="83"/>
                    </a:lnTo>
                    <a:lnTo>
                      <a:pt x="160" y="85"/>
                    </a:lnTo>
                    <a:lnTo>
                      <a:pt x="160" y="86"/>
                    </a:lnTo>
                    <a:lnTo>
                      <a:pt x="161" y="86"/>
                    </a:lnTo>
                    <a:lnTo>
                      <a:pt x="160" y="88"/>
                    </a:lnTo>
                    <a:lnTo>
                      <a:pt x="160" y="90"/>
                    </a:lnTo>
                    <a:lnTo>
                      <a:pt x="160" y="92"/>
                    </a:lnTo>
                    <a:lnTo>
                      <a:pt x="158" y="92"/>
                    </a:lnTo>
                    <a:lnTo>
                      <a:pt x="158" y="93"/>
                    </a:lnTo>
                    <a:lnTo>
                      <a:pt x="160" y="93"/>
                    </a:lnTo>
                    <a:lnTo>
                      <a:pt x="160" y="95"/>
                    </a:lnTo>
                    <a:lnTo>
                      <a:pt x="160" y="97"/>
                    </a:lnTo>
                    <a:lnTo>
                      <a:pt x="158" y="97"/>
                    </a:lnTo>
                    <a:lnTo>
                      <a:pt x="158" y="98"/>
                    </a:lnTo>
                    <a:lnTo>
                      <a:pt x="156" y="98"/>
                    </a:lnTo>
                    <a:lnTo>
                      <a:pt x="156" y="100"/>
                    </a:lnTo>
                    <a:lnTo>
                      <a:pt x="158" y="100"/>
                    </a:lnTo>
                    <a:lnTo>
                      <a:pt x="158" y="102"/>
                    </a:lnTo>
                    <a:lnTo>
                      <a:pt x="158" y="100"/>
                    </a:lnTo>
                    <a:lnTo>
                      <a:pt x="160" y="100"/>
                    </a:lnTo>
                    <a:lnTo>
                      <a:pt x="160" y="102"/>
                    </a:lnTo>
                    <a:lnTo>
                      <a:pt x="161" y="102"/>
                    </a:lnTo>
                    <a:lnTo>
                      <a:pt x="161" y="103"/>
                    </a:lnTo>
                    <a:lnTo>
                      <a:pt x="161" y="102"/>
                    </a:lnTo>
                    <a:lnTo>
                      <a:pt x="163" y="102"/>
                    </a:lnTo>
                    <a:lnTo>
                      <a:pt x="163" y="103"/>
                    </a:lnTo>
                    <a:lnTo>
                      <a:pt x="165" y="102"/>
                    </a:lnTo>
                    <a:lnTo>
                      <a:pt x="165" y="103"/>
                    </a:lnTo>
                    <a:lnTo>
                      <a:pt x="167" y="103"/>
                    </a:lnTo>
                    <a:lnTo>
                      <a:pt x="167" y="102"/>
                    </a:lnTo>
                    <a:lnTo>
                      <a:pt x="168" y="102"/>
                    </a:lnTo>
                    <a:lnTo>
                      <a:pt x="170" y="102"/>
                    </a:lnTo>
                    <a:lnTo>
                      <a:pt x="170" y="103"/>
                    </a:lnTo>
                    <a:lnTo>
                      <a:pt x="172" y="103"/>
                    </a:lnTo>
                    <a:lnTo>
                      <a:pt x="173" y="105"/>
                    </a:lnTo>
                    <a:lnTo>
                      <a:pt x="173" y="103"/>
                    </a:lnTo>
                    <a:lnTo>
                      <a:pt x="173" y="105"/>
                    </a:lnTo>
                    <a:lnTo>
                      <a:pt x="175" y="105"/>
                    </a:lnTo>
                    <a:lnTo>
                      <a:pt x="177" y="105"/>
                    </a:lnTo>
                    <a:lnTo>
                      <a:pt x="178" y="105"/>
                    </a:lnTo>
                    <a:lnTo>
                      <a:pt x="178" y="107"/>
                    </a:lnTo>
                    <a:lnTo>
                      <a:pt x="178" y="105"/>
                    </a:lnTo>
                    <a:lnTo>
                      <a:pt x="180" y="107"/>
                    </a:lnTo>
                    <a:lnTo>
                      <a:pt x="182" y="105"/>
                    </a:lnTo>
                    <a:lnTo>
                      <a:pt x="182" y="107"/>
                    </a:lnTo>
                    <a:lnTo>
                      <a:pt x="184" y="107"/>
                    </a:lnTo>
                    <a:lnTo>
                      <a:pt x="184" y="105"/>
                    </a:lnTo>
                    <a:lnTo>
                      <a:pt x="185" y="105"/>
                    </a:lnTo>
                    <a:lnTo>
                      <a:pt x="185" y="107"/>
                    </a:lnTo>
                    <a:lnTo>
                      <a:pt x="187" y="105"/>
                    </a:lnTo>
                    <a:lnTo>
                      <a:pt x="187" y="107"/>
                    </a:lnTo>
                    <a:lnTo>
                      <a:pt x="189" y="107"/>
                    </a:lnTo>
                    <a:lnTo>
                      <a:pt x="190" y="107"/>
                    </a:lnTo>
                    <a:lnTo>
                      <a:pt x="190" y="105"/>
                    </a:lnTo>
                    <a:lnTo>
                      <a:pt x="192" y="107"/>
                    </a:lnTo>
                    <a:lnTo>
                      <a:pt x="194" y="107"/>
                    </a:lnTo>
                    <a:lnTo>
                      <a:pt x="195" y="107"/>
                    </a:lnTo>
                    <a:lnTo>
                      <a:pt x="195" y="109"/>
                    </a:lnTo>
                    <a:lnTo>
                      <a:pt x="197" y="109"/>
                    </a:lnTo>
                    <a:lnTo>
                      <a:pt x="197" y="107"/>
                    </a:lnTo>
                    <a:lnTo>
                      <a:pt x="199" y="107"/>
                    </a:lnTo>
                    <a:lnTo>
                      <a:pt x="201" y="107"/>
                    </a:lnTo>
                    <a:lnTo>
                      <a:pt x="201" y="105"/>
                    </a:lnTo>
                    <a:lnTo>
                      <a:pt x="202" y="105"/>
                    </a:lnTo>
                    <a:lnTo>
                      <a:pt x="202" y="107"/>
                    </a:lnTo>
                    <a:lnTo>
                      <a:pt x="204" y="107"/>
                    </a:lnTo>
                    <a:lnTo>
                      <a:pt x="202" y="107"/>
                    </a:lnTo>
                    <a:lnTo>
                      <a:pt x="204" y="107"/>
                    </a:lnTo>
                    <a:lnTo>
                      <a:pt x="204" y="105"/>
                    </a:lnTo>
                    <a:lnTo>
                      <a:pt x="206" y="105"/>
                    </a:lnTo>
                    <a:lnTo>
                      <a:pt x="206" y="103"/>
                    </a:lnTo>
                    <a:lnTo>
                      <a:pt x="207" y="103"/>
                    </a:lnTo>
                    <a:lnTo>
                      <a:pt x="206" y="103"/>
                    </a:lnTo>
                    <a:lnTo>
                      <a:pt x="207" y="103"/>
                    </a:lnTo>
                    <a:lnTo>
                      <a:pt x="207" y="102"/>
                    </a:lnTo>
                    <a:lnTo>
                      <a:pt x="209" y="102"/>
                    </a:lnTo>
                    <a:lnTo>
                      <a:pt x="209" y="100"/>
                    </a:lnTo>
                    <a:lnTo>
                      <a:pt x="211" y="102"/>
                    </a:lnTo>
                    <a:lnTo>
                      <a:pt x="211" y="100"/>
                    </a:lnTo>
                    <a:lnTo>
                      <a:pt x="211" y="102"/>
                    </a:lnTo>
                    <a:lnTo>
                      <a:pt x="212" y="102"/>
                    </a:lnTo>
                    <a:lnTo>
                      <a:pt x="212" y="103"/>
                    </a:lnTo>
                    <a:lnTo>
                      <a:pt x="212" y="105"/>
                    </a:lnTo>
                    <a:lnTo>
                      <a:pt x="214" y="105"/>
                    </a:lnTo>
                    <a:lnTo>
                      <a:pt x="216" y="105"/>
                    </a:lnTo>
                    <a:lnTo>
                      <a:pt x="216" y="107"/>
                    </a:lnTo>
                    <a:lnTo>
                      <a:pt x="218" y="107"/>
                    </a:lnTo>
                    <a:lnTo>
                      <a:pt x="218" y="109"/>
                    </a:lnTo>
                    <a:lnTo>
                      <a:pt x="218" y="107"/>
                    </a:lnTo>
                    <a:lnTo>
                      <a:pt x="219" y="109"/>
                    </a:lnTo>
                    <a:lnTo>
                      <a:pt x="221" y="109"/>
                    </a:lnTo>
                    <a:lnTo>
                      <a:pt x="221" y="107"/>
                    </a:lnTo>
                    <a:lnTo>
                      <a:pt x="221" y="109"/>
                    </a:lnTo>
                    <a:lnTo>
                      <a:pt x="223" y="109"/>
                    </a:lnTo>
                    <a:lnTo>
                      <a:pt x="224" y="109"/>
                    </a:lnTo>
                    <a:lnTo>
                      <a:pt x="226" y="109"/>
                    </a:lnTo>
                    <a:lnTo>
                      <a:pt x="228" y="109"/>
                    </a:lnTo>
                    <a:lnTo>
                      <a:pt x="229" y="109"/>
                    </a:lnTo>
                    <a:lnTo>
                      <a:pt x="231" y="110"/>
                    </a:lnTo>
                    <a:lnTo>
                      <a:pt x="231" y="112"/>
                    </a:lnTo>
                    <a:lnTo>
                      <a:pt x="233" y="112"/>
                    </a:lnTo>
                    <a:lnTo>
                      <a:pt x="233" y="114"/>
                    </a:lnTo>
                    <a:lnTo>
                      <a:pt x="235" y="114"/>
                    </a:lnTo>
                    <a:lnTo>
                      <a:pt x="233" y="114"/>
                    </a:lnTo>
                    <a:lnTo>
                      <a:pt x="233" y="115"/>
                    </a:lnTo>
                    <a:lnTo>
                      <a:pt x="233" y="117"/>
                    </a:lnTo>
                    <a:lnTo>
                      <a:pt x="235" y="117"/>
                    </a:lnTo>
                    <a:lnTo>
                      <a:pt x="235" y="119"/>
                    </a:lnTo>
                    <a:lnTo>
                      <a:pt x="236" y="119"/>
                    </a:lnTo>
                    <a:lnTo>
                      <a:pt x="236" y="121"/>
                    </a:lnTo>
                    <a:lnTo>
                      <a:pt x="238" y="121"/>
                    </a:lnTo>
                    <a:lnTo>
                      <a:pt x="238" y="122"/>
                    </a:lnTo>
                    <a:lnTo>
                      <a:pt x="238" y="124"/>
                    </a:lnTo>
                    <a:lnTo>
                      <a:pt x="238" y="126"/>
                    </a:lnTo>
                    <a:lnTo>
                      <a:pt x="236" y="126"/>
                    </a:lnTo>
                    <a:lnTo>
                      <a:pt x="236" y="127"/>
                    </a:lnTo>
                    <a:lnTo>
                      <a:pt x="236" y="129"/>
                    </a:lnTo>
                    <a:lnTo>
                      <a:pt x="236" y="131"/>
                    </a:lnTo>
                    <a:lnTo>
                      <a:pt x="236" y="132"/>
                    </a:lnTo>
                    <a:lnTo>
                      <a:pt x="238" y="134"/>
                    </a:lnTo>
                    <a:lnTo>
                      <a:pt x="236" y="136"/>
                    </a:lnTo>
                    <a:lnTo>
                      <a:pt x="238" y="136"/>
                    </a:lnTo>
                    <a:lnTo>
                      <a:pt x="238" y="138"/>
                    </a:lnTo>
                    <a:lnTo>
                      <a:pt x="238" y="139"/>
                    </a:lnTo>
                    <a:lnTo>
                      <a:pt x="240" y="139"/>
                    </a:lnTo>
                    <a:lnTo>
                      <a:pt x="240" y="141"/>
                    </a:lnTo>
                    <a:lnTo>
                      <a:pt x="241" y="141"/>
                    </a:lnTo>
                    <a:lnTo>
                      <a:pt x="241" y="143"/>
                    </a:lnTo>
                    <a:lnTo>
                      <a:pt x="240" y="143"/>
                    </a:lnTo>
                    <a:lnTo>
                      <a:pt x="240" y="144"/>
                    </a:lnTo>
                    <a:lnTo>
                      <a:pt x="241" y="144"/>
                    </a:lnTo>
                    <a:lnTo>
                      <a:pt x="240" y="144"/>
                    </a:lnTo>
                    <a:lnTo>
                      <a:pt x="240" y="146"/>
                    </a:lnTo>
                    <a:lnTo>
                      <a:pt x="241" y="148"/>
                    </a:lnTo>
                    <a:lnTo>
                      <a:pt x="241" y="149"/>
                    </a:lnTo>
                    <a:lnTo>
                      <a:pt x="240" y="151"/>
                    </a:lnTo>
                    <a:lnTo>
                      <a:pt x="240" y="153"/>
                    </a:lnTo>
                    <a:lnTo>
                      <a:pt x="240" y="155"/>
                    </a:lnTo>
                    <a:lnTo>
                      <a:pt x="241" y="155"/>
                    </a:lnTo>
                    <a:lnTo>
                      <a:pt x="241" y="156"/>
                    </a:lnTo>
                    <a:lnTo>
                      <a:pt x="240" y="156"/>
                    </a:lnTo>
                    <a:lnTo>
                      <a:pt x="240" y="158"/>
                    </a:lnTo>
                    <a:lnTo>
                      <a:pt x="241" y="158"/>
                    </a:lnTo>
                    <a:lnTo>
                      <a:pt x="243" y="158"/>
                    </a:lnTo>
                    <a:lnTo>
                      <a:pt x="243" y="160"/>
                    </a:lnTo>
                    <a:lnTo>
                      <a:pt x="243" y="161"/>
                    </a:lnTo>
                    <a:lnTo>
                      <a:pt x="243" y="163"/>
                    </a:lnTo>
                    <a:lnTo>
                      <a:pt x="245" y="163"/>
                    </a:lnTo>
                    <a:lnTo>
                      <a:pt x="243" y="163"/>
                    </a:lnTo>
                    <a:lnTo>
                      <a:pt x="243" y="165"/>
                    </a:lnTo>
                    <a:lnTo>
                      <a:pt x="243" y="166"/>
                    </a:lnTo>
                    <a:lnTo>
                      <a:pt x="243" y="168"/>
                    </a:lnTo>
                    <a:lnTo>
                      <a:pt x="245" y="168"/>
                    </a:lnTo>
                    <a:lnTo>
                      <a:pt x="245" y="170"/>
                    </a:lnTo>
                    <a:lnTo>
                      <a:pt x="246" y="170"/>
                    </a:lnTo>
                    <a:lnTo>
                      <a:pt x="246" y="172"/>
                    </a:lnTo>
                    <a:lnTo>
                      <a:pt x="248" y="170"/>
                    </a:lnTo>
                    <a:lnTo>
                      <a:pt x="250" y="170"/>
                    </a:lnTo>
                    <a:lnTo>
                      <a:pt x="250" y="172"/>
                    </a:lnTo>
                    <a:lnTo>
                      <a:pt x="252" y="172"/>
                    </a:lnTo>
                    <a:lnTo>
                      <a:pt x="253" y="172"/>
                    </a:lnTo>
                    <a:lnTo>
                      <a:pt x="253" y="170"/>
                    </a:lnTo>
                    <a:lnTo>
                      <a:pt x="253" y="172"/>
                    </a:lnTo>
                    <a:lnTo>
                      <a:pt x="255" y="170"/>
                    </a:lnTo>
                    <a:lnTo>
                      <a:pt x="257" y="170"/>
                    </a:lnTo>
                    <a:lnTo>
                      <a:pt x="257" y="172"/>
                    </a:lnTo>
                    <a:lnTo>
                      <a:pt x="257" y="170"/>
                    </a:lnTo>
                    <a:lnTo>
                      <a:pt x="258" y="170"/>
                    </a:lnTo>
                    <a:lnTo>
                      <a:pt x="260" y="170"/>
                    </a:lnTo>
                    <a:lnTo>
                      <a:pt x="262" y="170"/>
                    </a:lnTo>
                    <a:lnTo>
                      <a:pt x="262" y="168"/>
                    </a:lnTo>
                    <a:lnTo>
                      <a:pt x="263" y="168"/>
                    </a:lnTo>
                    <a:lnTo>
                      <a:pt x="263" y="166"/>
                    </a:lnTo>
                    <a:lnTo>
                      <a:pt x="265" y="166"/>
                    </a:lnTo>
                    <a:lnTo>
                      <a:pt x="267" y="166"/>
                    </a:lnTo>
                    <a:lnTo>
                      <a:pt x="269" y="166"/>
                    </a:lnTo>
                    <a:lnTo>
                      <a:pt x="269" y="165"/>
                    </a:lnTo>
                    <a:lnTo>
                      <a:pt x="270" y="165"/>
                    </a:lnTo>
                    <a:lnTo>
                      <a:pt x="272" y="165"/>
                    </a:lnTo>
                    <a:lnTo>
                      <a:pt x="272" y="166"/>
                    </a:lnTo>
                    <a:lnTo>
                      <a:pt x="272" y="165"/>
                    </a:lnTo>
                    <a:lnTo>
                      <a:pt x="274" y="166"/>
                    </a:lnTo>
                    <a:lnTo>
                      <a:pt x="275" y="166"/>
                    </a:lnTo>
                    <a:lnTo>
                      <a:pt x="277" y="166"/>
                    </a:lnTo>
                    <a:lnTo>
                      <a:pt x="277" y="168"/>
                    </a:lnTo>
                    <a:lnTo>
                      <a:pt x="279" y="170"/>
                    </a:lnTo>
                    <a:lnTo>
                      <a:pt x="280" y="172"/>
                    </a:lnTo>
                    <a:lnTo>
                      <a:pt x="282" y="172"/>
                    </a:lnTo>
                    <a:lnTo>
                      <a:pt x="282" y="173"/>
                    </a:lnTo>
                    <a:lnTo>
                      <a:pt x="282" y="175"/>
                    </a:lnTo>
                    <a:lnTo>
                      <a:pt x="280" y="175"/>
                    </a:lnTo>
                    <a:lnTo>
                      <a:pt x="280" y="177"/>
                    </a:lnTo>
                    <a:lnTo>
                      <a:pt x="280" y="178"/>
                    </a:lnTo>
                    <a:lnTo>
                      <a:pt x="280" y="180"/>
                    </a:lnTo>
                    <a:lnTo>
                      <a:pt x="282" y="180"/>
                    </a:lnTo>
                    <a:lnTo>
                      <a:pt x="282" y="182"/>
                    </a:lnTo>
                    <a:lnTo>
                      <a:pt x="284" y="183"/>
                    </a:lnTo>
                    <a:lnTo>
                      <a:pt x="284" y="185"/>
                    </a:lnTo>
                    <a:lnTo>
                      <a:pt x="282" y="187"/>
                    </a:lnTo>
                    <a:lnTo>
                      <a:pt x="282" y="189"/>
                    </a:lnTo>
                    <a:lnTo>
                      <a:pt x="280" y="189"/>
                    </a:lnTo>
                    <a:lnTo>
                      <a:pt x="280" y="190"/>
                    </a:lnTo>
                    <a:lnTo>
                      <a:pt x="280" y="192"/>
                    </a:lnTo>
                    <a:lnTo>
                      <a:pt x="282" y="192"/>
                    </a:lnTo>
                    <a:lnTo>
                      <a:pt x="282" y="194"/>
                    </a:lnTo>
                    <a:lnTo>
                      <a:pt x="282" y="195"/>
                    </a:lnTo>
                    <a:lnTo>
                      <a:pt x="280" y="195"/>
                    </a:lnTo>
                    <a:lnTo>
                      <a:pt x="280" y="197"/>
                    </a:lnTo>
                    <a:lnTo>
                      <a:pt x="280" y="199"/>
                    </a:lnTo>
                    <a:lnTo>
                      <a:pt x="279" y="200"/>
                    </a:lnTo>
                    <a:lnTo>
                      <a:pt x="279" y="202"/>
                    </a:lnTo>
                    <a:lnTo>
                      <a:pt x="279" y="204"/>
                    </a:lnTo>
                    <a:lnTo>
                      <a:pt x="277" y="206"/>
                    </a:lnTo>
                    <a:lnTo>
                      <a:pt x="277" y="207"/>
                    </a:lnTo>
                    <a:lnTo>
                      <a:pt x="277" y="209"/>
                    </a:lnTo>
                    <a:lnTo>
                      <a:pt x="277" y="211"/>
                    </a:lnTo>
                    <a:lnTo>
                      <a:pt x="277" y="212"/>
                    </a:lnTo>
                    <a:lnTo>
                      <a:pt x="277" y="214"/>
                    </a:lnTo>
                    <a:lnTo>
                      <a:pt x="277" y="216"/>
                    </a:lnTo>
                    <a:lnTo>
                      <a:pt x="275" y="217"/>
                    </a:lnTo>
                    <a:lnTo>
                      <a:pt x="275" y="219"/>
                    </a:lnTo>
                    <a:lnTo>
                      <a:pt x="274" y="221"/>
                    </a:lnTo>
                    <a:lnTo>
                      <a:pt x="274" y="223"/>
                    </a:lnTo>
                    <a:lnTo>
                      <a:pt x="272" y="223"/>
                    </a:lnTo>
                    <a:lnTo>
                      <a:pt x="272" y="224"/>
                    </a:lnTo>
                    <a:lnTo>
                      <a:pt x="272" y="226"/>
                    </a:lnTo>
                    <a:lnTo>
                      <a:pt x="272" y="228"/>
                    </a:lnTo>
                    <a:lnTo>
                      <a:pt x="272" y="229"/>
                    </a:lnTo>
                    <a:lnTo>
                      <a:pt x="272" y="231"/>
                    </a:lnTo>
                    <a:lnTo>
                      <a:pt x="272" y="233"/>
                    </a:lnTo>
                    <a:lnTo>
                      <a:pt x="270" y="233"/>
                    </a:lnTo>
                    <a:lnTo>
                      <a:pt x="270" y="234"/>
                    </a:lnTo>
                    <a:lnTo>
                      <a:pt x="270" y="236"/>
                    </a:lnTo>
                    <a:lnTo>
                      <a:pt x="270" y="238"/>
                    </a:lnTo>
                    <a:lnTo>
                      <a:pt x="272" y="238"/>
                    </a:lnTo>
                    <a:lnTo>
                      <a:pt x="272" y="240"/>
                    </a:lnTo>
                    <a:lnTo>
                      <a:pt x="272" y="241"/>
                    </a:lnTo>
                    <a:lnTo>
                      <a:pt x="272" y="243"/>
                    </a:lnTo>
                    <a:lnTo>
                      <a:pt x="272" y="245"/>
                    </a:lnTo>
                    <a:lnTo>
                      <a:pt x="270" y="245"/>
                    </a:lnTo>
                    <a:lnTo>
                      <a:pt x="269" y="246"/>
                    </a:lnTo>
                    <a:lnTo>
                      <a:pt x="270" y="248"/>
                    </a:lnTo>
                    <a:lnTo>
                      <a:pt x="270" y="250"/>
                    </a:lnTo>
                    <a:lnTo>
                      <a:pt x="270" y="251"/>
                    </a:lnTo>
                    <a:lnTo>
                      <a:pt x="270" y="253"/>
                    </a:lnTo>
                    <a:lnTo>
                      <a:pt x="272" y="253"/>
                    </a:lnTo>
                    <a:lnTo>
                      <a:pt x="272" y="255"/>
                    </a:lnTo>
                    <a:lnTo>
                      <a:pt x="270" y="255"/>
                    </a:lnTo>
                    <a:lnTo>
                      <a:pt x="269" y="255"/>
                    </a:lnTo>
                    <a:lnTo>
                      <a:pt x="270" y="257"/>
                    </a:lnTo>
                    <a:lnTo>
                      <a:pt x="270" y="258"/>
                    </a:lnTo>
                    <a:lnTo>
                      <a:pt x="269" y="258"/>
                    </a:lnTo>
                    <a:lnTo>
                      <a:pt x="269" y="260"/>
                    </a:lnTo>
                    <a:lnTo>
                      <a:pt x="269" y="262"/>
                    </a:lnTo>
                    <a:lnTo>
                      <a:pt x="269" y="263"/>
                    </a:lnTo>
                    <a:lnTo>
                      <a:pt x="267" y="263"/>
                    </a:lnTo>
                    <a:lnTo>
                      <a:pt x="267" y="265"/>
                    </a:lnTo>
                    <a:lnTo>
                      <a:pt x="265" y="265"/>
                    </a:lnTo>
                    <a:lnTo>
                      <a:pt x="265" y="267"/>
                    </a:lnTo>
                    <a:lnTo>
                      <a:pt x="265" y="268"/>
                    </a:lnTo>
                    <a:lnTo>
                      <a:pt x="265" y="270"/>
                    </a:lnTo>
                    <a:lnTo>
                      <a:pt x="263" y="272"/>
                    </a:lnTo>
                    <a:lnTo>
                      <a:pt x="263" y="270"/>
                    </a:lnTo>
                    <a:lnTo>
                      <a:pt x="262" y="270"/>
                    </a:lnTo>
                    <a:lnTo>
                      <a:pt x="260" y="272"/>
                    </a:lnTo>
                    <a:lnTo>
                      <a:pt x="260" y="274"/>
                    </a:lnTo>
                    <a:lnTo>
                      <a:pt x="260" y="275"/>
                    </a:lnTo>
                    <a:lnTo>
                      <a:pt x="258" y="275"/>
                    </a:lnTo>
                    <a:lnTo>
                      <a:pt x="257" y="275"/>
                    </a:lnTo>
                    <a:lnTo>
                      <a:pt x="255" y="277"/>
                    </a:lnTo>
                    <a:lnTo>
                      <a:pt x="253" y="279"/>
                    </a:lnTo>
                    <a:lnTo>
                      <a:pt x="253" y="280"/>
                    </a:lnTo>
                    <a:lnTo>
                      <a:pt x="253" y="282"/>
                    </a:lnTo>
                    <a:lnTo>
                      <a:pt x="252" y="282"/>
                    </a:lnTo>
                    <a:lnTo>
                      <a:pt x="250" y="280"/>
                    </a:lnTo>
                    <a:lnTo>
                      <a:pt x="248" y="282"/>
                    </a:lnTo>
                    <a:lnTo>
                      <a:pt x="246" y="282"/>
                    </a:lnTo>
                    <a:lnTo>
                      <a:pt x="245" y="284"/>
                    </a:lnTo>
                    <a:lnTo>
                      <a:pt x="243" y="284"/>
                    </a:lnTo>
                    <a:lnTo>
                      <a:pt x="243" y="286"/>
                    </a:lnTo>
                    <a:lnTo>
                      <a:pt x="243" y="287"/>
                    </a:lnTo>
                    <a:lnTo>
                      <a:pt x="241" y="287"/>
                    </a:lnTo>
                    <a:lnTo>
                      <a:pt x="240" y="287"/>
                    </a:lnTo>
                    <a:lnTo>
                      <a:pt x="240" y="289"/>
                    </a:lnTo>
                    <a:lnTo>
                      <a:pt x="240" y="291"/>
                    </a:lnTo>
                    <a:lnTo>
                      <a:pt x="238" y="289"/>
                    </a:lnTo>
                    <a:lnTo>
                      <a:pt x="238" y="291"/>
                    </a:lnTo>
                    <a:lnTo>
                      <a:pt x="238" y="292"/>
                    </a:lnTo>
                    <a:lnTo>
                      <a:pt x="240" y="292"/>
                    </a:lnTo>
                    <a:lnTo>
                      <a:pt x="240" y="294"/>
                    </a:lnTo>
                    <a:lnTo>
                      <a:pt x="238" y="294"/>
                    </a:lnTo>
                    <a:lnTo>
                      <a:pt x="238" y="296"/>
                    </a:lnTo>
                    <a:lnTo>
                      <a:pt x="238" y="297"/>
                    </a:lnTo>
                    <a:lnTo>
                      <a:pt x="236" y="297"/>
                    </a:lnTo>
                    <a:lnTo>
                      <a:pt x="235" y="297"/>
                    </a:lnTo>
                    <a:lnTo>
                      <a:pt x="235" y="299"/>
                    </a:lnTo>
                    <a:lnTo>
                      <a:pt x="233" y="301"/>
                    </a:lnTo>
                    <a:lnTo>
                      <a:pt x="231" y="301"/>
                    </a:lnTo>
                    <a:lnTo>
                      <a:pt x="231" y="299"/>
                    </a:lnTo>
                    <a:lnTo>
                      <a:pt x="229" y="299"/>
                    </a:lnTo>
                    <a:lnTo>
                      <a:pt x="229" y="297"/>
                    </a:lnTo>
                    <a:lnTo>
                      <a:pt x="228" y="296"/>
                    </a:lnTo>
                    <a:lnTo>
                      <a:pt x="226" y="297"/>
                    </a:lnTo>
                    <a:lnTo>
                      <a:pt x="224" y="296"/>
                    </a:lnTo>
                    <a:lnTo>
                      <a:pt x="223" y="296"/>
                    </a:lnTo>
                    <a:lnTo>
                      <a:pt x="221" y="296"/>
                    </a:lnTo>
                    <a:lnTo>
                      <a:pt x="219" y="296"/>
                    </a:lnTo>
                    <a:lnTo>
                      <a:pt x="218" y="297"/>
                    </a:lnTo>
                    <a:lnTo>
                      <a:pt x="218" y="299"/>
                    </a:lnTo>
                    <a:lnTo>
                      <a:pt x="216" y="299"/>
                    </a:lnTo>
                    <a:lnTo>
                      <a:pt x="214" y="299"/>
                    </a:lnTo>
                    <a:lnTo>
                      <a:pt x="214" y="301"/>
                    </a:lnTo>
                    <a:lnTo>
                      <a:pt x="216" y="301"/>
                    </a:lnTo>
                    <a:lnTo>
                      <a:pt x="214" y="303"/>
                    </a:lnTo>
                    <a:lnTo>
                      <a:pt x="214" y="304"/>
                    </a:lnTo>
                    <a:lnTo>
                      <a:pt x="212" y="304"/>
                    </a:lnTo>
                    <a:lnTo>
                      <a:pt x="212" y="306"/>
                    </a:lnTo>
                    <a:lnTo>
                      <a:pt x="209" y="304"/>
                    </a:lnTo>
                    <a:lnTo>
                      <a:pt x="209" y="303"/>
                    </a:lnTo>
                    <a:lnTo>
                      <a:pt x="207" y="303"/>
                    </a:lnTo>
                    <a:lnTo>
                      <a:pt x="207" y="301"/>
                    </a:lnTo>
                    <a:lnTo>
                      <a:pt x="206" y="301"/>
                    </a:lnTo>
                    <a:lnTo>
                      <a:pt x="204" y="301"/>
                    </a:lnTo>
                    <a:lnTo>
                      <a:pt x="202" y="301"/>
                    </a:lnTo>
                    <a:lnTo>
                      <a:pt x="201" y="301"/>
                    </a:lnTo>
                    <a:lnTo>
                      <a:pt x="201" y="303"/>
                    </a:lnTo>
                    <a:lnTo>
                      <a:pt x="199" y="303"/>
                    </a:lnTo>
                    <a:lnTo>
                      <a:pt x="197" y="301"/>
                    </a:lnTo>
                    <a:lnTo>
                      <a:pt x="195" y="301"/>
                    </a:lnTo>
                    <a:lnTo>
                      <a:pt x="195" y="299"/>
                    </a:lnTo>
                    <a:lnTo>
                      <a:pt x="194" y="299"/>
                    </a:lnTo>
                    <a:lnTo>
                      <a:pt x="192" y="299"/>
                    </a:lnTo>
                    <a:lnTo>
                      <a:pt x="192" y="301"/>
                    </a:lnTo>
                    <a:lnTo>
                      <a:pt x="190" y="301"/>
                    </a:lnTo>
                    <a:lnTo>
                      <a:pt x="190" y="303"/>
                    </a:lnTo>
                    <a:lnTo>
                      <a:pt x="189" y="303"/>
                    </a:lnTo>
                    <a:lnTo>
                      <a:pt x="187" y="303"/>
                    </a:lnTo>
                    <a:lnTo>
                      <a:pt x="185" y="301"/>
                    </a:lnTo>
                    <a:lnTo>
                      <a:pt x="184" y="301"/>
                    </a:lnTo>
                    <a:lnTo>
                      <a:pt x="182" y="301"/>
                    </a:lnTo>
                    <a:lnTo>
                      <a:pt x="180" y="299"/>
                    </a:lnTo>
                    <a:lnTo>
                      <a:pt x="178" y="299"/>
                    </a:lnTo>
                    <a:lnTo>
                      <a:pt x="177" y="299"/>
                    </a:lnTo>
                    <a:lnTo>
                      <a:pt x="177" y="301"/>
                    </a:lnTo>
                    <a:lnTo>
                      <a:pt x="175" y="301"/>
                    </a:lnTo>
                    <a:lnTo>
                      <a:pt x="173" y="301"/>
                    </a:lnTo>
                    <a:lnTo>
                      <a:pt x="173" y="299"/>
                    </a:lnTo>
                    <a:lnTo>
                      <a:pt x="172" y="299"/>
                    </a:lnTo>
                    <a:lnTo>
                      <a:pt x="170" y="297"/>
                    </a:lnTo>
                    <a:lnTo>
                      <a:pt x="168" y="297"/>
                    </a:lnTo>
                    <a:lnTo>
                      <a:pt x="168" y="296"/>
                    </a:lnTo>
                    <a:lnTo>
                      <a:pt x="167" y="296"/>
                    </a:lnTo>
                    <a:lnTo>
                      <a:pt x="165" y="296"/>
                    </a:lnTo>
                    <a:lnTo>
                      <a:pt x="163" y="296"/>
                    </a:lnTo>
                    <a:lnTo>
                      <a:pt x="161" y="294"/>
                    </a:lnTo>
                    <a:lnTo>
                      <a:pt x="160" y="294"/>
                    </a:lnTo>
                    <a:lnTo>
                      <a:pt x="158" y="294"/>
                    </a:lnTo>
                    <a:lnTo>
                      <a:pt x="156" y="294"/>
                    </a:lnTo>
                    <a:lnTo>
                      <a:pt x="155" y="294"/>
                    </a:lnTo>
                    <a:lnTo>
                      <a:pt x="153" y="294"/>
                    </a:lnTo>
                    <a:lnTo>
                      <a:pt x="151" y="294"/>
                    </a:lnTo>
                    <a:lnTo>
                      <a:pt x="150" y="294"/>
                    </a:lnTo>
                    <a:lnTo>
                      <a:pt x="148" y="294"/>
                    </a:lnTo>
                    <a:lnTo>
                      <a:pt x="146" y="294"/>
                    </a:lnTo>
                    <a:lnTo>
                      <a:pt x="144" y="294"/>
                    </a:lnTo>
                    <a:lnTo>
                      <a:pt x="143" y="294"/>
                    </a:lnTo>
                    <a:lnTo>
                      <a:pt x="141" y="294"/>
                    </a:lnTo>
                    <a:lnTo>
                      <a:pt x="139" y="294"/>
                    </a:lnTo>
                    <a:lnTo>
                      <a:pt x="138" y="294"/>
                    </a:lnTo>
                    <a:lnTo>
                      <a:pt x="138" y="296"/>
                    </a:lnTo>
                    <a:lnTo>
                      <a:pt x="136" y="296"/>
                    </a:lnTo>
                    <a:lnTo>
                      <a:pt x="136" y="294"/>
                    </a:lnTo>
                    <a:lnTo>
                      <a:pt x="138" y="294"/>
                    </a:lnTo>
                    <a:lnTo>
                      <a:pt x="138" y="292"/>
                    </a:lnTo>
                    <a:lnTo>
                      <a:pt x="136" y="292"/>
                    </a:lnTo>
                    <a:lnTo>
                      <a:pt x="136" y="291"/>
                    </a:lnTo>
                    <a:lnTo>
                      <a:pt x="134" y="291"/>
                    </a:lnTo>
                    <a:lnTo>
                      <a:pt x="134" y="289"/>
                    </a:lnTo>
                    <a:lnTo>
                      <a:pt x="136" y="289"/>
                    </a:lnTo>
                    <a:lnTo>
                      <a:pt x="136" y="287"/>
                    </a:lnTo>
                    <a:lnTo>
                      <a:pt x="138" y="287"/>
                    </a:lnTo>
                    <a:lnTo>
                      <a:pt x="139" y="287"/>
                    </a:lnTo>
                    <a:lnTo>
                      <a:pt x="138" y="287"/>
                    </a:lnTo>
                    <a:lnTo>
                      <a:pt x="139" y="286"/>
                    </a:lnTo>
                    <a:lnTo>
                      <a:pt x="138" y="286"/>
                    </a:lnTo>
                    <a:lnTo>
                      <a:pt x="139" y="286"/>
                    </a:lnTo>
                    <a:lnTo>
                      <a:pt x="141" y="286"/>
                    </a:lnTo>
                    <a:lnTo>
                      <a:pt x="139" y="284"/>
                    </a:lnTo>
                    <a:lnTo>
                      <a:pt x="141" y="284"/>
                    </a:lnTo>
                    <a:lnTo>
                      <a:pt x="141" y="282"/>
                    </a:lnTo>
                    <a:lnTo>
                      <a:pt x="141" y="280"/>
                    </a:lnTo>
                    <a:lnTo>
                      <a:pt x="143" y="280"/>
                    </a:lnTo>
                    <a:lnTo>
                      <a:pt x="144" y="280"/>
                    </a:lnTo>
                    <a:lnTo>
                      <a:pt x="144" y="279"/>
                    </a:lnTo>
                    <a:lnTo>
                      <a:pt x="146" y="279"/>
                    </a:lnTo>
                    <a:lnTo>
                      <a:pt x="146" y="277"/>
                    </a:lnTo>
                    <a:lnTo>
                      <a:pt x="146" y="275"/>
                    </a:lnTo>
                    <a:lnTo>
                      <a:pt x="148" y="275"/>
                    </a:lnTo>
                    <a:lnTo>
                      <a:pt x="148" y="274"/>
                    </a:lnTo>
                    <a:lnTo>
                      <a:pt x="150" y="274"/>
                    </a:lnTo>
                    <a:lnTo>
                      <a:pt x="148" y="272"/>
                    </a:lnTo>
                    <a:lnTo>
                      <a:pt x="148" y="270"/>
                    </a:lnTo>
                    <a:lnTo>
                      <a:pt x="150" y="270"/>
                    </a:lnTo>
                    <a:lnTo>
                      <a:pt x="151" y="270"/>
                    </a:lnTo>
                    <a:lnTo>
                      <a:pt x="150" y="268"/>
                    </a:lnTo>
                    <a:lnTo>
                      <a:pt x="151" y="268"/>
                    </a:lnTo>
                    <a:lnTo>
                      <a:pt x="151" y="267"/>
                    </a:lnTo>
                    <a:lnTo>
                      <a:pt x="150" y="267"/>
                    </a:lnTo>
                    <a:lnTo>
                      <a:pt x="150" y="265"/>
                    </a:lnTo>
                    <a:lnTo>
                      <a:pt x="150" y="263"/>
                    </a:lnTo>
                    <a:lnTo>
                      <a:pt x="151" y="263"/>
                    </a:lnTo>
                    <a:lnTo>
                      <a:pt x="151" y="262"/>
                    </a:lnTo>
                    <a:lnTo>
                      <a:pt x="150" y="262"/>
                    </a:lnTo>
                    <a:lnTo>
                      <a:pt x="150" y="260"/>
                    </a:lnTo>
                    <a:lnTo>
                      <a:pt x="151" y="260"/>
                    </a:lnTo>
                    <a:lnTo>
                      <a:pt x="151" y="258"/>
                    </a:lnTo>
                    <a:lnTo>
                      <a:pt x="151" y="257"/>
                    </a:lnTo>
                    <a:lnTo>
                      <a:pt x="151" y="255"/>
                    </a:lnTo>
                    <a:lnTo>
                      <a:pt x="153" y="255"/>
                    </a:lnTo>
                    <a:lnTo>
                      <a:pt x="153" y="253"/>
                    </a:lnTo>
                    <a:lnTo>
                      <a:pt x="151" y="253"/>
                    </a:lnTo>
                    <a:lnTo>
                      <a:pt x="153" y="253"/>
                    </a:lnTo>
                    <a:lnTo>
                      <a:pt x="153" y="251"/>
                    </a:lnTo>
                    <a:lnTo>
                      <a:pt x="155" y="251"/>
                    </a:lnTo>
                    <a:lnTo>
                      <a:pt x="155" y="250"/>
                    </a:lnTo>
                    <a:lnTo>
                      <a:pt x="156" y="250"/>
                    </a:lnTo>
                    <a:lnTo>
                      <a:pt x="158" y="250"/>
                    </a:lnTo>
                    <a:lnTo>
                      <a:pt x="158" y="248"/>
                    </a:lnTo>
                    <a:lnTo>
                      <a:pt x="160" y="248"/>
                    </a:lnTo>
                    <a:lnTo>
                      <a:pt x="160" y="246"/>
                    </a:lnTo>
                    <a:lnTo>
                      <a:pt x="161" y="246"/>
                    </a:lnTo>
                    <a:lnTo>
                      <a:pt x="161" y="245"/>
                    </a:lnTo>
                    <a:lnTo>
                      <a:pt x="161" y="243"/>
                    </a:lnTo>
                    <a:lnTo>
                      <a:pt x="163" y="243"/>
                    </a:lnTo>
                    <a:lnTo>
                      <a:pt x="161" y="241"/>
                    </a:lnTo>
                    <a:lnTo>
                      <a:pt x="161" y="240"/>
                    </a:lnTo>
                    <a:lnTo>
                      <a:pt x="163" y="240"/>
                    </a:lnTo>
                    <a:lnTo>
                      <a:pt x="165" y="240"/>
                    </a:lnTo>
                    <a:lnTo>
                      <a:pt x="165" y="238"/>
                    </a:lnTo>
                    <a:lnTo>
                      <a:pt x="163" y="238"/>
                    </a:lnTo>
                    <a:lnTo>
                      <a:pt x="163" y="236"/>
                    </a:lnTo>
                    <a:lnTo>
                      <a:pt x="165" y="236"/>
                    </a:lnTo>
                    <a:lnTo>
                      <a:pt x="167" y="236"/>
                    </a:lnTo>
                    <a:lnTo>
                      <a:pt x="167" y="234"/>
                    </a:lnTo>
                    <a:lnTo>
                      <a:pt x="165" y="234"/>
                    </a:lnTo>
                    <a:lnTo>
                      <a:pt x="167" y="233"/>
                    </a:lnTo>
                    <a:lnTo>
                      <a:pt x="168" y="233"/>
                    </a:lnTo>
                    <a:lnTo>
                      <a:pt x="168" y="231"/>
                    </a:lnTo>
                    <a:lnTo>
                      <a:pt x="170" y="231"/>
                    </a:lnTo>
                    <a:lnTo>
                      <a:pt x="170" y="229"/>
                    </a:lnTo>
                    <a:lnTo>
                      <a:pt x="172" y="229"/>
                    </a:lnTo>
                    <a:lnTo>
                      <a:pt x="172" y="228"/>
                    </a:lnTo>
                    <a:lnTo>
                      <a:pt x="172" y="226"/>
                    </a:lnTo>
                    <a:lnTo>
                      <a:pt x="172" y="224"/>
                    </a:lnTo>
                    <a:lnTo>
                      <a:pt x="172" y="223"/>
                    </a:lnTo>
                    <a:lnTo>
                      <a:pt x="170" y="223"/>
                    </a:lnTo>
                    <a:lnTo>
                      <a:pt x="168" y="223"/>
                    </a:lnTo>
                    <a:lnTo>
                      <a:pt x="168" y="221"/>
                    </a:lnTo>
                    <a:lnTo>
                      <a:pt x="167" y="221"/>
                    </a:lnTo>
                    <a:lnTo>
                      <a:pt x="167" y="219"/>
                    </a:lnTo>
                    <a:lnTo>
                      <a:pt x="168" y="219"/>
                    </a:lnTo>
                    <a:lnTo>
                      <a:pt x="167" y="219"/>
                    </a:lnTo>
                    <a:lnTo>
                      <a:pt x="167" y="217"/>
                    </a:lnTo>
                    <a:lnTo>
                      <a:pt x="165" y="216"/>
                    </a:lnTo>
                    <a:lnTo>
                      <a:pt x="167" y="216"/>
                    </a:lnTo>
                    <a:lnTo>
                      <a:pt x="165" y="216"/>
                    </a:lnTo>
                    <a:lnTo>
                      <a:pt x="165" y="214"/>
                    </a:lnTo>
                    <a:lnTo>
                      <a:pt x="163" y="214"/>
                    </a:lnTo>
                    <a:lnTo>
                      <a:pt x="163" y="212"/>
                    </a:lnTo>
                    <a:lnTo>
                      <a:pt x="161" y="211"/>
                    </a:lnTo>
                    <a:lnTo>
                      <a:pt x="160" y="211"/>
                    </a:lnTo>
                    <a:lnTo>
                      <a:pt x="158" y="211"/>
                    </a:lnTo>
                    <a:lnTo>
                      <a:pt x="156" y="209"/>
                    </a:lnTo>
                    <a:lnTo>
                      <a:pt x="156" y="211"/>
                    </a:lnTo>
                    <a:lnTo>
                      <a:pt x="156" y="209"/>
                    </a:lnTo>
                    <a:lnTo>
                      <a:pt x="156" y="211"/>
                    </a:lnTo>
                    <a:lnTo>
                      <a:pt x="156" y="209"/>
                    </a:lnTo>
                    <a:lnTo>
                      <a:pt x="155" y="211"/>
                    </a:lnTo>
                    <a:lnTo>
                      <a:pt x="155" y="209"/>
                    </a:lnTo>
                    <a:lnTo>
                      <a:pt x="153" y="209"/>
                    </a:lnTo>
                    <a:lnTo>
                      <a:pt x="153" y="207"/>
                    </a:lnTo>
                    <a:lnTo>
                      <a:pt x="151" y="207"/>
                    </a:lnTo>
                    <a:lnTo>
                      <a:pt x="150" y="206"/>
                    </a:lnTo>
                    <a:lnTo>
                      <a:pt x="148" y="206"/>
                    </a:lnTo>
                    <a:lnTo>
                      <a:pt x="148" y="207"/>
                    </a:lnTo>
                    <a:lnTo>
                      <a:pt x="146" y="207"/>
                    </a:lnTo>
                    <a:lnTo>
                      <a:pt x="146" y="209"/>
                    </a:lnTo>
                    <a:lnTo>
                      <a:pt x="146" y="207"/>
                    </a:lnTo>
                    <a:lnTo>
                      <a:pt x="144" y="207"/>
                    </a:lnTo>
                    <a:lnTo>
                      <a:pt x="144" y="206"/>
                    </a:lnTo>
                    <a:lnTo>
                      <a:pt x="143" y="206"/>
                    </a:lnTo>
                    <a:lnTo>
                      <a:pt x="143" y="204"/>
                    </a:lnTo>
                    <a:lnTo>
                      <a:pt x="141" y="204"/>
                    </a:lnTo>
                    <a:lnTo>
                      <a:pt x="141" y="202"/>
                    </a:lnTo>
                    <a:lnTo>
                      <a:pt x="139" y="202"/>
                    </a:lnTo>
                    <a:lnTo>
                      <a:pt x="138" y="202"/>
                    </a:lnTo>
                    <a:lnTo>
                      <a:pt x="136" y="202"/>
                    </a:lnTo>
                    <a:lnTo>
                      <a:pt x="134" y="202"/>
                    </a:lnTo>
                    <a:lnTo>
                      <a:pt x="134" y="200"/>
                    </a:lnTo>
                    <a:lnTo>
                      <a:pt x="133" y="200"/>
                    </a:lnTo>
                    <a:lnTo>
                      <a:pt x="131" y="200"/>
                    </a:lnTo>
                    <a:lnTo>
                      <a:pt x="129" y="200"/>
                    </a:lnTo>
                    <a:lnTo>
                      <a:pt x="129" y="199"/>
                    </a:lnTo>
                    <a:lnTo>
                      <a:pt x="127" y="199"/>
                    </a:lnTo>
                    <a:lnTo>
                      <a:pt x="127" y="197"/>
                    </a:lnTo>
                    <a:lnTo>
                      <a:pt x="126" y="197"/>
                    </a:lnTo>
                    <a:lnTo>
                      <a:pt x="124" y="195"/>
                    </a:lnTo>
                    <a:lnTo>
                      <a:pt x="122" y="195"/>
                    </a:lnTo>
                    <a:lnTo>
                      <a:pt x="121" y="194"/>
                    </a:lnTo>
                    <a:lnTo>
                      <a:pt x="119" y="194"/>
                    </a:lnTo>
                    <a:lnTo>
                      <a:pt x="117" y="192"/>
                    </a:lnTo>
                    <a:lnTo>
                      <a:pt x="116" y="192"/>
                    </a:lnTo>
                    <a:lnTo>
                      <a:pt x="116" y="190"/>
                    </a:lnTo>
                    <a:lnTo>
                      <a:pt x="114" y="190"/>
                    </a:lnTo>
                    <a:lnTo>
                      <a:pt x="112" y="189"/>
                    </a:lnTo>
                    <a:lnTo>
                      <a:pt x="110" y="187"/>
                    </a:lnTo>
                    <a:lnTo>
                      <a:pt x="109" y="187"/>
                    </a:lnTo>
                    <a:lnTo>
                      <a:pt x="109" y="185"/>
                    </a:lnTo>
                    <a:lnTo>
                      <a:pt x="107" y="183"/>
                    </a:lnTo>
                    <a:lnTo>
                      <a:pt x="104" y="182"/>
                    </a:lnTo>
                    <a:lnTo>
                      <a:pt x="97" y="177"/>
                    </a:lnTo>
                    <a:lnTo>
                      <a:pt x="88" y="172"/>
                    </a:lnTo>
                    <a:lnTo>
                      <a:pt x="87" y="172"/>
                    </a:lnTo>
                    <a:lnTo>
                      <a:pt x="85" y="173"/>
                    </a:lnTo>
                    <a:lnTo>
                      <a:pt x="83" y="173"/>
                    </a:lnTo>
                    <a:lnTo>
                      <a:pt x="82" y="173"/>
                    </a:lnTo>
                    <a:lnTo>
                      <a:pt x="80" y="173"/>
                    </a:lnTo>
                    <a:lnTo>
                      <a:pt x="78" y="172"/>
                    </a:lnTo>
                    <a:lnTo>
                      <a:pt x="76" y="172"/>
                    </a:lnTo>
                    <a:lnTo>
                      <a:pt x="76" y="170"/>
                    </a:lnTo>
                    <a:lnTo>
                      <a:pt x="75" y="170"/>
                    </a:lnTo>
                    <a:lnTo>
                      <a:pt x="73" y="170"/>
                    </a:lnTo>
                    <a:lnTo>
                      <a:pt x="71" y="170"/>
                    </a:lnTo>
                    <a:lnTo>
                      <a:pt x="70" y="170"/>
                    </a:lnTo>
                    <a:lnTo>
                      <a:pt x="70" y="168"/>
                    </a:lnTo>
                    <a:lnTo>
                      <a:pt x="68" y="168"/>
                    </a:lnTo>
                    <a:lnTo>
                      <a:pt x="66" y="168"/>
                    </a:lnTo>
                    <a:lnTo>
                      <a:pt x="66" y="166"/>
                    </a:lnTo>
                    <a:lnTo>
                      <a:pt x="65" y="166"/>
                    </a:lnTo>
                    <a:lnTo>
                      <a:pt x="63" y="166"/>
                    </a:lnTo>
                    <a:lnTo>
                      <a:pt x="61" y="166"/>
                    </a:lnTo>
                    <a:lnTo>
                      <a:pt x="59" y="165"/>
                    </a:lnTo>
                    <a:lnTo>
                      <a:pt x="58" y="163"/>
                    </a:lnTo>
                    <a:lnTo>
                      <a:pt x="58" y="165"/>
                    </a:lnTo>
                    <a:lnTo>
                      <a:pt x="56" y="165"/>
                    </a:lnTo>
                    <a:lnTo>
                      <a:pt x="56" y="163"/>
                    </a:lnTo>
                    <a:lnTo>
                      <a:pt x="54" y="161"/>
                    </a:lnTo>
                    <a:lnTo>
                      <a:pt x="54" y="160"/>
                    </a:lnTo>
                    <a:lnTo>
                      <a:pt x="53" y="160"/>
                    </a:lnTo>
                    <a:lnTo>
                      <a:pt x="53" y="158"/>
                    </a:lnTo>
                    <a:lnTo>
                      <a:pt x="53" y="156"/>
                    </a:lnTo>
                    <a:lnTo>
                      <a:pt x="51" y="156"/>
                    </a:lnTo>
                    <a:lnTo>
                      <a:pt x="51" y="155"/>
                    </a:lnTo>
                    <a:lnTo>
                      <a:pt x="49" y="155"/>
                    </a:lnTo>
                    <a:lnTo>
                      <a:pt x="48" y="155"/>
                    </a:lnTo>
                    <a:lnTo>
                      <a:pt x="48" y="153"/>
                    </a:lnTo>
                    <a:lnTo>
                      <a:pt x="46" y="153"/>
                    </a:lnTo>
                    <a:lnTo>
                      <a:pt x="46" y="151"/>
                    </a:lnTo>
                    <a:lnTo>
                      <a:pt x="44" y="151"/>
                    </a:lnTo>
                    <a:lnTo>
                      <a:pt x="42" y="151"/>
                    </a:lnTo>
                    <a:lnTo>
                      <a:pt x="41" y="151"/>
                    </a:lnTo>
                    <a:lnTo>
                      <a:pt x="41" y="149"/>
                    </a:lnTo>
                    <a:lnTo>
                      <a:pt x="39" y="149"/>
                    </a:lnTo>
                    <a:lnTo>
                      <a:pt x="39" y="148"/>
                    </a:lnTo>
                    <a:lnTo>
                      <a:pt x="37" y="148"/>
                    </a:lnTo>
                    <a:lnTo>
                      <a:pt x="37" y="146"/>
                    </a:lnTo>
                    <a:lnTo>
                      <a:pt x="36" y="146"/>
                    </a:lnTo>
                    <a:lnTo>
                      <a:pt x="36" y="144"/>
                    </a:lnTo>
                    <a:lnTo>
                      <a:pt x="34" y="144"/>
                    </a:lnTo>
                    <a:lnTo>
                      <a:pt x="32" y="144"/>
                    </a:lnTo>
                    <a:lnTo>
                      <a:pt x="32" y="143"/>
                    </a:lnTo>
                    <a:lnTo>
                      <a:pt x="31" y="143"/>
                    </a:lnTo>
                    <a:lnTo>
                      <a:pt x="31" y="141"/>
                    </a:lnTo>
                    <a:lnTo>
                      <a:pt x="29" y="141"/>
                    </a:lnTo>
                    <a:lnTo>
                      <a:pt x="29" y="139"/>
                    </a:lnTo>
                    <a:lnTo>
                      <a:pt x="27" y="139"/>
                    </a:lnTo>
                    <a:lnTo>
                      <a:pt x="27" y="138"/>
                    </a:lnTo>
                    <a:lnTo>
                      <a:pt x="25" y="138"/>
                    </a:lnTo>
                    <a:lnTo>
                      <a:pt x="24" y="136"/>
                    </a:lnTo>
                    <a:lnTo>
                      <a:pt x="22" y="136"/>
                    </a:lnTo>
                    <a:lnTo>
                      <a:pt x="22" y="134"/>
                    </a:lnTo>
                    <a:lnTo>
                      <a:pt x="20" y="134"/>
                    </a:lnTo>
                    <a:lnTo>
                      <a:pt x="20" y="132"/>
                    </a:lnTo>
                    <a:lnTo>
                      <a:pt x="19" y="131"/>
                    </a:lnTo>
                    <a:lnTo>
                      <a:pt x="19" y="129"/>
                    </a:lnTo>
                    <a:lnTo>
                      <a:pt x="17" y="127"/>
                    </a:lnTo>
                    <a:lnTo>
                      <a:pt x="15" y="126"/>
                    </a:lnTo>
                    <a:lnTo>
                      <a:pt x="15" y="124"/>
                    </a:lnTo>
                    <a:lnTo>
                      <a:pt x="15" y="122"/>
                    </a:lnTo>
                    <a:lnTo>
                      <a:pt x="15" y="121"/>
                    </a:lnTo>
                    <a:lnTo>
                      <a:pt x="14" y="122"/>
                    </a:lnTo>
                    <a:lnTo>
                      <a:pt x="14" y="121"/>
                    </a:lnTo>
                    <a:lnTo>
                      <a:pt x="14" y="119"/>
                    </a:lnTo>
                    <a:lnTo>
                      <a:pt x="15" y="119"/>
                    </a:lnTo>
                    <a:lnTo>
                      <a:pt x="14" y="119"/>
                    </a:lnTo>
                    <a:lnTo>
                      <a:pt x="15" y="117"/>
                    </a:lnTo>
                    <a:lnTo>
                      <a:pt x="14" y="117"/>
                    </a:lnTo>
                    <a:lnTo>
                      <a:pt x="12" y="117"/>
                    </a:lnTo>
                    <a:lnTo>
                      <a:pt x="12" y="115"/>
                    </a:lnTo>
                    <a:lnTo>
                      <a:pt x="10" y="115"/>
                    </a:lnTo>
                    <a:lnTo>
                      <a:pt x="12" y="115"/>
                    </a:lnTo>
                    <a:lnTo>
                      <a:pt x="10" y="115"/>
                    </a:lnTo>
                    <a:lnTo>
                      <a:pt x="10" y="114"/>
                    </a:lnTo>
                    <a:lnTo>
                      <a:pt x="10" y="115"/>
                    </a:lnTo>
                    <a:lnTo>
                      <a:pt x="10" y="114"/>
                    </a:lnTo>
                    <a:lnTo>
                      <a:pt x="8" y="114"/>
                    </a:lnTo>
                    <a:lnTo>
                      <a:pt x="7" y="114"/>
                    </a:lnTo>
                    <a:lnTo>
                      <a:pt x="7" y="112"/>
                    </a:lnTo>
                    <a:lnTo>
                      <a:pt x="5" y="112"/>
                    </a:lnTo>
                    <a:lnTo>
                      <a:pt x="3" y="112"/>
                    </a:lnTo>
                    <a:lnTo>
                      <a:pt x="3" y="110"/>
                    </a:lnTo>
                    <a:lnTo>
                      <a:pt x="2" y="109"/>
                    </a:lnTo>
                    <a:lnTo>
                      <a:pt x="0" y="109"/>
                    </a:lnTo>
                    <a:lnTo>
                      <a:pt x="2" y="109"/>
                    </a:lnTo>
                    <a:lnTo>
                      <a:pt x="2" y="107"/>
                    </a:lnTo>
                    <a:lnTo>
                      <a:pt x="0" y="107"/>
                    </a:lnTo>
                    <a:lnTo>
                      <a:pt x="3" y="95"/>
                    </a:lnTo>
                    <a:lnTo>
                      <a:pt x="7" y="86"/>
                    </a:lnTo>
                    <a:lnTo>
                      <a:pt x="14" y="64"/>
                    </a:lnTo>
                    <a:lnTo>
                      <a:pt x="14" y="61"/>
                    </a:lnTo>
                    <a:lnTo>
                      <a:pt x="14" y="46"/>
                    </a:lnTo>
                    <a:lnTo>
                      <a:pt x="15" y="42"/>
                    </a:lnTo>
                    <a:lnTo>
                      <a:pt x="25" y="29"/>
                    </a:lnTo>
                    <a:lnTo>
                      <a:pt x="25" y="27"/>
                    </a:lnTo>
                    <a:lnTo>
                      <a:pt x="31" y="13"/>
                    </a:lnTo>
                    <a:lnTo>
                      <a:pt x="32" y="13"/>
                    </a:lnTo>
                    <a:lnTo>
                      <a:pt x="70" y="7"/>
                    </a:lnTo>
                    <a:lnTo>
                      <a:pt x="90" y="0"/>
                    </a:lnTo>
                    <a:lnTo>
                      <a:pt x="122" y="0"/>
                    </a:lnTo>
                    <a:lnTo>
                      <a:pt x="139" y="12"/>
                    </a:lnTo>
                    <a:lnTo>
                      <a:pt x="143" y="13"/>
                    </a:lnTo>
                    <a:lnTo>
                      <a:pt x="151" y="20"/>
                    </a:lnTo>
                    <a:lnTo>
                      <a:pt x="150" y="22"/>
                    </a:lnTo>
                    <a:lnTo>
                      <a:pt x="151" y="22"/>
                    </a:lnTo>
                    <a:lnTo>
                      <a:pt x="151" y="24"/>
                    </a:lnTo>
                    <a:lnTo>
                      <a:pt x="150" y="24"/>
                    </a:lnTo>
                    <a:lnTo>
                      <a:pt x="151" y="24"/>
                    </a:lnTo>
                    <a:lnTo>
                      <a:pt x="151" y="25"/>
                    </a:lnTo>
                    <a:lnTo>
                      <a:pt x="151" y="27"/>
                    </a:lnTo>
                    <a:lnTo>
                      <a:pt x="151" y="29"/>
                    </a:lnTo>
                    <a:lnTo>
                      <a:pt x="153" y="29"/>
                    </a:lnTo>
                    <a:lnTo>
                      <a:pt x="153" y="30"/>
                    </a:lnTo>
                    <a:lnTo>
                      <a:pt x="151" y="30"/>
                    </a:lnTo>
                    <a:lnTo>
                      <a:pt x="151" y="3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41" name="Freeform 46">
                <a:extLst>
                  <a:ext uri="{FF2B5EF4-FFF2-40B4-BE49-F238E27FC236}">
                    <a16:creationId xmlns:a16="http://schemas.microsoft.com/office/drawing/2014/main" id="{12792B0A-5B7A-C755-177A-E86EA3952555}"/>
                  </a:ext>
                </a:extLst>
              </p:cNvPr>
              <p:cNvSpPr>
                <a:spLocks noEditPoints="1"/>
              </p:cNvSpPr>
              <p:nvPr/>
            </p:nvSpPr>
            <p:spPr bwMode="auto">
              <a:xfrm>
                <a:off x="5571662" y="2946832"/>
                <a:ext cx="126005" cy="185043"/>
              </a:xfrm>
              <a:custGeom>
                <a:avLst/>
                <a:gdLst>
                  <a:gd name="T0" fmla="*/ 367 w 429"/>
                  <a:gd name="T1" fmla="*/ 141 h 630"/>
                  <a:gd name="T2" fmla="*/ 347 w 429"/>
                  <a:gd name="T3" fmla="*/ 148 h 630"/>
                  <a:gd name="T4" fmla="*/ 323 w 429"/>
                  <a:gd name="T5" fmla="*/ 152 h 630"/>
                  <a:gd name="T6" fmla="*/ 299 w 429"/>
                  <a:gd name="T7" fmla="*/ 165 h 630"/>
                  <a:gd name="T8" fmla="*/ 284 w 429"/>
                  <a:gd name="T9" fmla="*/ 189 h 630"/>
                  <a:gd name="T10" fmla="*/ 276 w 429"/>
                  <a:gd name="T11" fmla="*/ 213 h 630"/>
                  <a:gd name="T12" fmla="*/ 259 w 429"/>
                  <a:gd name="T13" fmla="*/ 230 h 630"/>
                  <a:gd name="T14" fmla="*/ 259 w 429"/>
                  <a:gd name="T15" fmla="*/ 262 h 630"/>
                  <a:gd name="T16" fmla="*/ 272 w 429"/>
                  <a:gd name="T17" fmla="*/ 293 h 630"/>
                  <a:gd name="T18" fmla="*/ 294 w 429"/>
                  <a:gd name="T19" fmla="*/ 320 h 630"/>
                  <a:gd name="T20" fmla="*/ 310 w 429"/>
                  <a:gd name="T21" fmla="*/ 337 h 630"/>
                  <a:gd name="T22" fmla="*/ 357 w 429"/>
                  <a:gd name="T23" fmla="*/ 327 h 630"/>
                  <a:gd name="T24" fmla="*/ 364 w 429"/>
                  <a:gd name="T25" fmla="*/ 332 h 630"/>
                  <a:gd name="T26" fmla="*/ 376 w 429"/>
                  <a:gd name="T27" fmla="*/ 376 h 630"/>
                  <a:gd name="T28" fmla="*/ 408 w 429"/>
                  <a:gd name="T29" fmla="*/ 388 h 630"/>
                  <a:gd name="T30" fmla="*/ 427 w 429"/>
                  <a:gd name="T31" fmla="*/ 432 h 630"/>
                  <a:gd name="T32" fmla="*/ 420 w 429"/>
                  <a:gd name="T33" fmla="*/ 461 h 630"/>
                  <a:gd name="T34" fmla="*/ 417 w 429"/>
                  <a:gd name="T35" fmla="*/ 487 h 630"/>
                  <a:gd name="T36" fmla="*/ 408 w 429"/>
                  <a:gd name="T37" fmla="*/ 516 h 630"/>
                  <a:gd name="T38" fmla="*/ 413 w 429"/>
                  <a:gd name="T39" fmla="*/ 555 h 630"/>
                  <a:gd name="T40" fmla="*/ 403 w 429"/>
                  <a:gd name="T41" fmla="*/ 584 h 630"/>
                  <a:gd name="T42" fmla="*/ 388 w 429"/>
                  <a:gd name="T43" fmla="*/ 609 h 630"/>
                  <a:gd name="T44" fmla="*/ 366 w 429"/>
                  <a:gd name="T45" fmla="*/ 628 h 630"/>
                  <a:gd name="T46" fmla="*/ 339 w 429"/>
                  <a:gd name="T47" fmla="*/ 606 h 630"/>
                  <a:gd name="T48" fmla="*/ 313 w 429"/>
                  <a:gd name="T49" fmla="*/ 582 h 630"/>
                  <a:gd name="T50" fmla="*/ 281 w 429"/>
                  <a:gd name="T51" fmla="*/ 565 h 630"/>
                  <a:gd name="T52" fmla="*/ 248 w 429"/>
                  <a:gd name="T53" fmla="*/ 550 h 630"/>
                  <a:gd name="T54" fmla="*/ 216 w 429"/>
                  <a:gd name="T55" fmla="*/ 529 h 630"/>
                  <a:gd name="T56" fmla="*/ 194 w 429"/>
                  <a:gd name="T57" fmla="*/ 507 h 630"/>
                  <a:gd name="T58" fmla="*/ 172 w 429"/>
                  <a:gd name="T59" fmla="*/ 482 h 630"/>
                  <a:gd name="T60" fmla="*/ 172 w 429"/>
                  <a:gd name="T61" fmla="*/ 470 h 630"/>
                  <a:gd name="T62" fmla="*/ 160 w 429"/>
                  <a:gd name="T63" fmla="*/ 436 h 630"/>
                  <a:gd name="T64" fmla="*/ 141 w 429"/>
                  <a:gd name="T65" fmla="*/ 410 h 630"/>
                  <a:gd name="T66" fmla="*/ 126 w 429"/>
                  <a:gd name="T67" fmla="*/ 381 h 630"/>
                  <a:gd name="T68" fmla="*/ 112 w 429"/>
                  <a:gd name="T69" fmla="*/ 352 h 630"/>
                  <a:gd name="T70" fmla="*/ 99 w 429"/>
                  <a:gd name="T71" fmla="*/ 317 h 630"/>
                  <a:gd name="T72" fmla="*/ 87 w 429"/>
                  <a:gd name="T73" fmla="*/ 298 h 630"/>
                  <a:gd name="T74" fmla="*/ 67 w 429"/>
                  <a:gd name="T75" fmla="*/ 266 h 630"/>
                  <a:gd name="T76" fmla="*/ 46 w 429"/>
                  <a:gd name="T77" fmla="*/ 230 h 630"/>
                  <a:gd name="T78" fmla="*/ 9 w 429"/>
                  <a:gd name="T79" fmla="*/ 204 h 630"/>
                  <a:gd name="T80" fmla="*/ 5 w 429"/>
                  <a:gd name="T81" fmla="*/ 177 h 630"/>
                  <a:gd name="T82" fmla="*/ 4 w 429"/>
                  <a:gd name="T83" fmla="*/ 145 h 630"/>
                  <a:gd name="T84" fmla="*/ 31 w 429"/>
                  <a:gd name="T85" fmla="*/ 119 h 630"/>
                  <a:gd name="T86" fmla="*/ 29 w 429"/>
                  <a:gd name="T87" fmla="*/ 136 h 630"/>
                  <a:gd name="T88" fmla="*/ 39 w 429"/>
                  <a:gd name="T89" fmla="*/ 145 h 630"/>
                  <a:gd name="T90" fmla="*/ 70 w 429"/>
                  <a:gd name="T91" fmla="*/ 165 h 630"/>
                  <a:gd name="T92" fmla="*/ 92 w 429"/>
                  <a:gd name="T93" fmla="*/ 148 h 630"/>
                  <a:gd name="T94" fmla="*/ 101 w 429"/>
                  <a:gd name="T95" fmla="*/ 118 h 630"/>
                  <a:gd name="T96" fmla="*/ 128 w 429"/>
                  <a:gd name="T97" fmla="*/ 99 h 630"/>
                  <a:gd name="T98" fmla="*/ 199 w 429"/>
                  <a:gd name="T99" fmla="*/ 39 h 630"/>
                  <a:gd name="T100" fmla="*/ 203 w 429"/>
                  <a:gd name="T101" fmla="*/ 16 h 630"/>
                  <a:gd name="T102" fmla="*/ 216 w 429"/>
                  <a:gd name="T103" fmla="*/ 5 h 630"/>
                  <a:gd name="T104" fmla="*/ 235 w 429"/>
                  <a:gd name="T105" fmla="*/ 21 h 630"/>
                  <a:gd name="T106" fmla="*/ 248 w 429"/>
                  <a:gd name="T107" fmla="*/ 34 h 630"/>
                  <a:gd name="T108" fmla="*/ 265 w 429"/>
                  <a:gd name="T109" fmla="*/ 51 h 630"/>
                  <a:gd name="T110" fmla="*/ 279 w 429"/>
                  <a:gd name="T111" fmla="*/ 70 h 630"/>
                  <a:gd name="T112" fmla="*/ 298 w 429"/>
                  <a:gd name="T113" fmla="*/ 82 h 630"/>
                  <a:gd name="T114" fmla="*/ 322 w 429"/>
                  <a:gd name="T115" fmla="*/ 75 h 630"/>
                  <a:gd name="T116" fmla="*/ 342 w 429"/>
                  <a:gd name="T117" fmla="*/ 80 h 630"/>
                  <a:gd name="T118" fmla="*/ 367 w 429"/>
                  <a:gd name="T119" fmla="*/ 84 h 630"/>
                  <a:gd name="T120" fmla="*/ 371 w 429"/>
                  <a:gd name="T121" fmla="*/ 109 h 630"/>
                  <a:gd name="T122" fmla="*/ 381 w 429"/>
                  <a:gd name="T123" fmla="*/ 138 h 630"/>
                  <a:gd name="T124" fmla="*/ 36 w 429"/>
                  <a:gd name="T125" fmla="*/ 116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9" h="630">
                    <a:moveTo>
                      <a:pt x="384" y="143"/>
                    </a:moveTo>
                    <a:lnTo>
                      <a:pt x="384" y="145"/>
                    </a:lnTo>
                    <a:lnTo>
                      <a:pt x="384" y="147"/>
                    </a:lnTo>
                    <a:lnTo>
                      <a:pt x="384" y="148"/>
                    </a:lnTo>
                    <a:lnTo>
                      <a:pt x="383" y="148"/>
                    </a:lnTo>
                    <a:lnTo>
                      <a:pt x="381" y="147"/>
                    </a:lnTo>
                    <a:lnTo>
                      <a:pt x="381" y="145"/>
                    </a:lnTo>
                    <a:lnTo>
                      <a:pt x="379" y="145"/>
                    </a:lnTo>
                    <a:lnTo>
                      <a:pt x="379" y="143"/>
                    </a:lnTo>
                    <a:lnTo>
                      <a:pt x="379" y="145"/>
                    </a:lnTo>
                    <a:lnTo>
                      <a:pt x="378" y="145"/>
                    </a:lnTo>
                    <a:lnTo>
                      <a:pt x="378" y="147"/>
                    </a:lnTo>
                    <a:lnTo>
                      <a:pt x="376" y="147"/>
                    </a:lnTo>
                    <a:lnTo>
                      <a:pt x="376" y="145"/>
                    </a:lnTo>
                    <a:lnTo>
                      <a:pt x="376" y="147"/>
                    </a:lnTo>
                    <a:lnTo>
                      <a:pt x="374" y="145"/>
                    </a:lnTo>
                    <a:lnTo>
                      <a:pt x="373" y="143"/>
                    </a:lnTo>
                    <a:lnTo>
                      <a:pt x="374" y="143"/>
                    </a:lnTo>
                    <a:lnTo>
                      <a:pt x="374" y="141"/>
                    </a:lnTo>
                    <a:lnTo>
                      <a:pt x="373" y="140"/>
                    </a:lnTo>
                    <a:lnTo>
                      <a:pt x="373" y="141"/>
                    </a:lnTo>
                    <a:lnTo>
                      <a:pt x="371" y="141"/>
                    </a:lnTo>
                    <a:lnTo>
                      <a:pt x="371" y="140"/>
                    </a:lnTo>
                    <a:lnTo>
                      <a:pt x="369" y="140"/>
                    </a:lnTo>
                    <a:lnTo>
                      <a:pt x="367" y="140"/>
                    </a:lnTo>
                    <a:lnTo>
                      <a:pt x="369" y="140"/>
                    </a:lnTo>
                    <a:lnTo>
                      <a:pt x="367" y="140"/>
                    </a:lnTo>
                    <a:lnTo>
                      <a:pt x="367" y="141"/>
                    </a:lnTo>
                    <a:lnTo>
                      <a:pt x="367" y="140"/>
                    </a:lnTo>
                    <a:lnTo>
                      <a:pt x="367" y="141"/>
                    </a:lnTo>
                    <a:lnTo>
                      <a:pt x="366" y="141"/>
                    </a:lnTo>
                    <a:lnTo>
                      <a:pt x="366" y="140"/>
                    </a:lnTo>
                    <a:lnTo>
                      <a:pt x="364" y="140"/>
                    </a:lnTo>
                    <a:lnTo>
                      <a:pt x="366" y="140"/>
                    </a:lnTo>
                    <a:lnTo>
                      <a:pt x="364" y="141"/>
                    </a:lnTo>
                    <a:lnTo>
                      <a:pt x="362" y="141"/>
                    </a:lnTo>
                    <a:lnTo>
                      <a:pt x="362" y="140"/>
                    </a:lnTo>
                    <a:lnTo>
                      <a:pt x="361" y="140"/>
                    </a:lnTo>
                    <a:lnTo>
                      <a:pt x="361" y="141"/>
                    </a:lnTo>
                    <a:lnTo>
                      <a:pt x="359" y="141"/>
                    </a:lnTo>
                    <a:lnTo>
                      <a:pt x="357" y="140"/>
                    </a:lnTo>
                    <a:lnTo>
                      <a:pt x="357" y="141"/>
                    </a:lnTo>
                    <a:lnTo>
                      <a:pt x="356" y="141"/>
                    </a:lnTo>
                    <a:lnTo>
                      <a:pt x="356" y="143"/>
                    </a:lnTo>
                    <a:lnTo>
                      <a:pt x="354" y="143"/>
                    </a:lnTo>
                    <a:lnTo>
                      <a:pt x="354" y="145"/>
                    </a:lnTo>
                    <a:lnTo>
                      <a:pt x="354" y="147"/>
                    </a:lnTo>
                    <a:lnTo>
                      <a:pt x="352" y="147"/>
                    </a:lnTo>
                    <a:lnTo>
                      <a:pt x="352" y="148"/>
                    </a:lnTo>
                    <a:lnTo>
                      <a:pt x="350" y="148"/>
                    </a:lnTo>
                    <a:lnTo>
                      <a:pt x="350" y="147"/>
                    </a:lnTo>
                    <a:lnTo>
                      <a:pt x="349" y="147"/>
                    </a:lnTo>
                    <a:lnTo>
                      <a:pt x="350" y="147"/>
                    </a:lnTo>
                    <a:lnTo>
                      <a:pt x="350" y="148"/>
                    </a:lnTo>
                    <a:lnTo>
                      <a:pt x="349" y="148"/>
                    </a:lnTo>
                    <a:lnTo>
                      <a:pt x="347" y="148"/>
                    </a:lnTo>
                    <a:lnTo>
                      <a:pt x="345" y="148"/>
                    </a:lnTo>
                    <a:lnTo>
                      <a:pt x="344" y="148"/>
                    </a:lnTo>
                    <a:lnTo>
                      <a:pt x="344" y="150"/>
                    </a:lnTo>
                    <a:lnTo>
                      <a:pt x="342" y="148"/>
                    </a:lnTo>
                    <a:lnTo>
                      <a:pt x="340" y="148"/>
                    </a:lnTo>
                    <a:lnTo>
                      <a:pt x="340" y="150"/>
                    </a:lnTo>
                    <a:lnTo>
                      <a:pt x="339" y="150"/>
                    </a:lnTo>
                    <a:lnTo>
                      <a:pt x="339" y="148"/>
                    </a:lnTo>
                    <a:lnTo>
                      <a:pt x="339" y="150"/>
                    </a:lnTo>
                    <a:lnTo>
                      <a:pt x="337" y="150"/>
                    </a:lnTo>
                    <a:lnTo>
                      <a:pt x="335" y="150"/>
                    </a:lnTo>
                    <a:lnTo>
                      <a:pt x="335" y="152"/>
                    </a:lnTo>
                    <a:lnTo>
                      <a:pt x="335" y="150"/>
                    </a:lnTo>
                    <a:lnTo>
                      <a:pt x="333" y="150"/>
                    </a:lnTo>
                    <a:lnTo>
                      <a:pt x="332" y="150"/>
                    </a:lnTo>
                    <a:lnTo>
                      <a:pt x="333" y="152"/>
                    </a:lnTo>
                    <a:lnTo>
                      <a:pt x="332" y="152"/>
                    </a:lnTo>
                    <a:lnTo>
                      <a:pt x="332" y="150"/>
                    </a:lnTo>
                    <a:lnTo>
                      <a:pt x="332" y="152"/>
                    </a:lnTo>
                    <a:lnTo>
                      <a:pt x="330" y="152"/>
                    </a:lnTo>
                    <a:lnTo>
                      <a:pt x="330" y="153"/>
                    </a:lnTo>
                    <a:lnTo>
                      <a:pt x="328" y="153"/>
                    </a:lnTo>
                    <a:lnTo>
                      <a:pt x="328" y="152"/>
                    </a:lnTo>
                    <a:lnTo>
                      <a:pt x="327" y="152"/>
                    </a:lnTo>
                    <a:lnTo>
                      <a:pt x="325" y="152"/>
                    </a:lnTo>
                    <a:lnTo>
                      <a:pt x="323" y="152"/>
                    </a:lnTo>
                    <a:lnTo>
                      <a:pt x="325" y="152"/>
                    </a:lnTo>
                    <a:lnTo>
                      <a:pt x="323" y="152"/>
                    </a:lnTo>
                    <a:lnTo>
                      <a:pt x="322" y="152"/>
                    </a:lnTo>
                    <a:lnTo>
                      <a:pt x="320" y="152"/>
                    </a:lnTo>
                    <a:lnTo>
                      <a:pt x="320" y="153"/>
                    </a:lnTo>
                    <a:lnTo>
                      <a:pt x="320" y="152"/>
                    </a:lnTo>
                    <a:lnTo>
                      <a:pt x="318" y="152"/>
                    </a:lnTo>
                    <a:lnTo>
                      <a:pt x="320" y="153"/>
                    </a:lnTo>
                    <a:lnTo>
                      <a:pt x="318" y="153"/>
                    </a:lnTo>
                    <a:lnTo>
                      <a:pt x="318" y="155"/>
                    </a:lnTo>
                    <a:lnTo>
                      <a:pt x="316" y="155"/>
                    </a:lnTo>
                    <a:lnTo>
                      <a:pt x="316" y="157"/>
                    </a:lnTo>
                    <a:lnTo>
                      <a:pt x="315" y="157"/>
                    </a:lnTo>
                    <a:lnTo>
                      <a:pt x="313" y="157"/>
                    </a:lnTo>
                    <a:lnTo>
                      <a:pt x="313" y="159"/>
                    </a:lnTo>
                    <a:lnTo>
                      <a:pt x="311" y="159"/>
                    </a:lnTo>
                    <a:lnTo>
                      <a:pt x="311" y="160"/>
                    </a:lnTo>
                    <a:lnTo>
                      <a:pt x="311" y="159"/>
                    </a:lnTo>
                    <a:lnTo>
                      <a:pt x="310" y="160"/>
                    </a:lnTo>
                    <a:lnTo>
                      <a:pt x="308" y="160"/>
                    </a:lnTo>
                    <a:lnTo>
                      <a:pt x="308" y="162"/>
                    </a:lnTo>
                    <a:lnTo>
                      <a:pt x="306" y="160"/>
                    </a:lnTo>
                    <a:lnTo>
                      <a:pt x="308" y="162"/>
                    </a:lnTo>
                    <a:lnTo>
                      <a:pt x="306" y="162"/>
                    </a:lnTo>
                    <a:lnTo>
                      <a:pt x="305" y="162"/>
                    </a:lnTo>
                    <a:lnTo>
                      <a:pt x="303" y="162"/>
                    </a:lnTo>
                    <a:lnTo>
                      <a:pt x="303" y="164"/>
                    </a:lnTo>
                    <a:lnTo>
                      <a:pt x="303" y="165"/>
                    </a:lnTo>
                    <a:lnTo>
                      <a:pt x="301" y="165"/>
                    </a:lnTo>
                    <a:lnTo>
                      <a:pt x="299" y="165"/>
                    </a:lnTo>
                    <a:lnTo>
                      <a:pt x="301" y="165"/>
                    </a:lnTo>
                    <a:lnTo>
                      <a:pt x="299" y="167"/>
                    </a:lnTo>
                    <a:lnTo>
                      <a:pt x="298" y="167"/>
                    </a:lnTo>
                    <a:lnTo>
                      <a:pt x="296" y="169"/>
                    </a:lnTo>
                    <a:lnTo>
                      <a:pt x="294" y="169"/>
                    </a:lnTo>
                    <a:lnTo>
                      <a:pt x="296" y="169"/>
                    </a:lnTo>
                    <a:lnTo>
                      <a:pt x="294" y="169"/>
                    </a:lnTo>
                    <a:lnTo>
                      <a:pt x="296" y="170"/>
                    </a:lnTo>
                    <a:lnTo>
                      <a:pt x="294" y="170"/>
                    </a:lnTo>
                    <a:lnTo>
                      <a:pt x="293" y="170"/>
                    </a:lnTo>
                    <a:lnTo>
                      <a:pt x="291" y="170"/>
                    </a:lnTo>
                    <a:lnTo>
                      <a:pt x="291" y="172"/>
                    </a:lnTo>
                    <a:lnTo>
                      <a:pt x="289" y="172"/>
                    </a:lnTo>
                    <a:lnTo>
                      <a:pt x="288" y="172"/>
                    </a:lnTo>
                    <a:lnTo>
                      <a:pt x="288" y="174"/>
                    </a:lnTo>
                    <a:lnTo>
                      <a:pt x="286" y="174"/>
                    </a:lnTo>
                    <a:lnTo>
                      <a:pt x="286" y="176"/>
                    </a:lnTo>
                    <a:lnTo>
                      <a:pt x="286" y="177"/>
                    </a:lnTo>
                    <a:lnTo>
                      <a:pt x="286" y="179"/>
                    </a:lnTo>
                    <a:lnTo>
                      <a:pt x="286" y="181"/>
                    </a:lnTo>
                    <a:lnTo>
                      <a:pt x="286" y="182"/>
                    </a:lnTo>
                    <a:lnTo>
                      <a:pt x="284" y="182"/>
                    </a:lnTo>
                    <a:lnTo>
                      <a:pt x="284" y="184"/>
                    </a:lnTo>
                    <a:lnTo>
                      <a:pt x="284" y="186"/>
                    </a:lnTo>
                    <a:lnTo>
                      <a:pt x="282" y="186"/>
                    </a:lnTo>
                    <a:lnTo>
                      <a:pt x="284" y="186"/>
                    </a:lnTo>
                    <a:lnTo>
                      <a:pt x="284" y="187"/>
                    </a:lnTo>
                    <a:lnTo>
                      <a:pt x="284" y="189"/>
                    </a:lnTo>
                    <a:lnTo>
                      <a:pt x="282" y="189"/>
                    </a:lnTo>
                    <a:lnTo>
                      <a:pt x="282" y="191"/>
                    </a:lnTo>
                    <a:lnTo>
                      <a:pt x="284" y="191"/>
                    </a:lnTo>
                    <a:lnTo>
                      <a:pt x="282" y="191"/>
                    </a:lnTo>
                    <a:lnTo>
                      <a:pt x="282" y="193"/>
                    </a:lnTo>
                    <a:lnTo>
                      <a:pt x="282" y="194"/>
                    </a:lnTo>
                    <a:lnTo>
                      <a:pt x="281" y="194"/>
                    </a:lnTo>
                    <a:lnTo>
                      <a:pt x="281" y="196"/>
                    </a:lnTo>
                    <a:lnTo>
                      <a:pt x="279" y="196"/>
                    </a:lnTo>
                    <a:lnTo>
                      <a:pt x="279" y="198"/>
                    </a:lnTo>
                    <a:lnTo>
                      <a:pt x="277" y="198"/>
                    </a:lnTo>
                    <a:lnTo>
                      <a:pt x="277" y="199"/>
                    </a:lnTo>
                    <a:lnTo>
                      <a:pt x="276" y="199"/>
                    </a:lnTo>
                    <a:lnTo>
                      <a:pt x="276" y="201"/>
                    </a:lnTo>
                    <a:lnTo>
                      <a:pt x="276" y="203"/>
                    </a:lnTo>
                    <a:lnTo>
                      <a:pt x="274" y="203"/>
                    </a:lnTo>
                    <a:lnTo>
                      <a:pt x="276" y="204"/>
                    </a:lnTo>
                    <a:lnTo>
                      <a:pt x="274" y="203"/>
                    </a:lnTo>
                    <a:lnTo>
                      <a:pt x="274" y="204"/>
                    </a:lnTo>
                    <a:lnTo>
                      <a:pt x="274" y="206"/>
                    </a:lnTo>
                    <a:lnTo>
                      <a:pt x="274" y="208"/>
                    </a:lnTo>
                    <a:lnTo>
                      <a:pt x="274" y="210"/>
                    </a:lnTo>
                    <a:lnTo>
                      <a:pt x="276" y="210"/>
                    </a:lnTo>
                    <a:lnTo>
                      <a:pt x="274" y="210"/>
                    </a:lnTo>
                    <a:lnTo>
                      <a:pt x="276" y="210"/>
                    </a:lnTo>
                    <a:lnTo>
                      <a:pt x="276" y="211"/>
                    </a:lnTo>
                    <a:lnTo>
                      <a:pt x="277" y="213"/>
                    </a:lnTo>
                    <a:lnTo>
                      <a:pt x="276" y="213"/>
                    </a:lnTo>
                    <a:lnTo>
                      <a:pt x="277" y="213"/>
                    </a:lnTo>
                    <a:lnTo>
                      <a:pt x="277" y="215"/>
                    </a:lnTo>
                    <a:lnTo>
                      <a:pt x="277" y="216"/>
                    </a:lnTo>
                    <a:lnTo>
                      <a:pt x="279" y="216"/>
                    </a:lnTo>
                    <a:lnTo>
                      <a:pt x="277" y="218"/>
                    </a:lnTo>
                    <a:lnTo>
                      <a:pt x="279" y="218"/>
                    </a:lnTo>
                    <a:lnTo>
                      <a:pt x="277" y="218"/>
                    </a:lnTo>
                    <a:lnTo>
                      <a:pt x="277" y="220"/>
                    </a:lnTo>
                    <a:lnTo>
                      <a:pt x="277" y="221"/>
                    </a:lnTo>
                    <a:lnTo>
                      <a:pt x="276" y="220"/>
                    </a:lnTo>
                    <a:lnTo>
                      <a:pt x="276" y="221"/>
                    </a:lnTo>
                    <a:lnTo>
                      <a:pt x="276" y="223"/>
                    </a:lnTo>
                    <a:lnTo>
                      <a:pt x="274" y="221"/>
                    </a:lnTo>
                    <a:lnTo>
                      <a:pt x="274" y="223"/>
                    </a:lnTo>
                    <a:lnTo>
                      <a:pt x="272" y="223"/>
                    </a:lnTo>
                    <a:lnTo>
                      <a:pt x="271" y="223"/>
                    </a:lnTo>
                    <a:lnTo>
                      <a:pt x="269" y="223"/>
                    </a:lnTo>
                    <a:lnTo>
                      <a:pt x="269" y="225"/>
                    </a:lnTo>
                    <a:lnTo>
                      <a:pt x="267" y="225"/>
                    </a:lnTo>
                    <a:lnTo>
                      <a:pt x="265" y="225"/>
                    </a:lnTo>
                    <a:lnTo>
                      <a:pt x="265" y="227"/>
                    </a:lnTo>
                    <a:lnTo>
                      <a:pt x="265" y="225"/>
                    </a:lnTo>
                    <a:lnTo>
                      <a:pt x="264" y="227"/>
                    </a:lnTo>
                    <a:lnTo>
                      <a:pt x="264" y="228"/>
                    </a:lnTo>
                    <a:lnTo>
                      <a:pt x="262" y="228"/>
                    </a:lnTo>
                    <a:lnTo>
                      <a:pt x="260" y="228"/>
                    </a:lnTo>
                    <a:lnTo>
                      <a:pt x="260" y="230"/>
                    </a:lnTo>
                    <a:lnTo>
                      <a:pt x="259" y="230"/>
                    </a:lnTo>
                    <a:lnTo>
                      <a:pt x="259" y="232"/>
                    </a:lnTo>
                    <a:lnTo>
                      <a:pt x="257" y="232"/>
                    </a:lnTo>
                    <a:lnTo>
                      <a:pt x="257" y="233"/>
                    </a:lnTo>
                    <a:lnTo>
                      <a:pt x="257" y="235"/>
                    </a:lnTo>
                    <a:lnTo>
                      <a:pt x="257" y="237"/>
                    </a:lnTo>
                    <a:lnTo>
                      <a:pt x="257" y="238"/>
                    </a:lnTo>
                    <a:lnTo>
                      <a:pt x="255" y="240"/>
                    </a:lnTo>
                    <a:lnTo>
                      <a:pt x="257" y="244"/>
                    </a:lnTo>
                    <a:lnTo>
                      <a:pt x="259" y="245"/>
                    </a:lnTo>
                    <a:lnTo>
                      <a:pt x="259" y="247"/>
                    </a:lnTo>
                    <a:lnTo>
                      <a:pt x="257" y="247"/>
                    </a:lnTo>
                    <a:lnTo>
                      <a:pt x="257" y="249"/>
                    </a:lnTo>
                    <a:lnTo>
                      <a:pt x="255" y="249"/>
                    </a:lnTo>
                    <a:lnTo>
                      <a:pt x="254" y="249"/>
                    </a:lnTo>
                    <a:lnTo>
                      <a:pt x="252" y="250"/>
                    </a:lnTo>
                    <a:lnTo>
                      <a:pt x="250" y="249"/>
                    </a:lnTo>
                    <a:lnTo>
                      <a:pt x="250" y="252"/>
                    </a:lnTo>
                    <a:lnTo>
                      <a:pt x="250" y="254"/>
                    </a:lnTo>
                    <a:lnTo>
                      <a:pt x="250" y="255"/>
                    </a:lnTo>
                    <a:lnTo>
                      <a:pt x="248" y="255"/>
                    </a:lnTo>
                    <a:lnTo>
                      <a:pt x="250" y="257"/>
                    </a:lnTo>
                    <a:lnTo>
                      <a:pt x="252" y="259"/>
                    </a:lnTo>
                    <a:lnTo>
                      <a:pt x="254" y="259"/>
                    </a:lnTo>
                    <a:lnTo>
                      <a:pt x="254" y="261"/>
                    </a:lnTo>
                    <a:lnTo>
                      <a:pt x="255" y="261"/>
                    </a:lnTo>
                    <a:lnTo>
                      <a:pt x="255" y="262"/>
                    </a:lnTo>
                    <a:lnTo>
                      <a:pt x="257" y="262"/>
                    </a:lnTo>
                    <a:lnTo>
                      <a:pt x="259" y="262"/>
                    </a:lnTo>
                    <a:lnTo>
                      <a:pt x="259" y="264"/>
                    </a:lnTo>
                    <a:lnTo>
                      <a:pt x="259" y="266"/>
                    </a:lnTo>
                    <a:lnTo>
                      <a:pt x="257" y="267"/>
                    </a:lnTo>
                    <a:lnTo>
                      <a:pt x="257" y="266"/>
                    </a:lnTo>
                    <a:lnTo>
                      <a:pt x="257" y="267"/>
                    </a:lnTo>
                    <a:lnTo>
                      <a:pt x="255" y="267"/>
                    </a:lnTo>
                    <a:lnTo>
                      <a:pt x="257" y="267"/>
                    </a:lnTo>
                    <a:lnTo>
                      <a:pt x="257" y="269"/>
                    </a:lnTo>
                    <a:lnTo>
                      <a:pt x="259" y="269"/>
                    </a:lnTo>
                    <a:lnTo>
                      <a:pt x="259" y="271"/>
                    </a:lnTo>
                    <a:lnTo>
                      <a:pt x="260" y="271"/>
                    </a:lnTo>
                    <a:lnTo>
                      <a:pt x="260" y="272"/>
                    </a:lnTo>
                    <a:lnTo>
                      <a:pt x="262" y="274"/>
                    </a:lnTo>
                    <a:lnTo>
                      <a:pt x="262" y="276"/>
                    </a:lnTo>
                    <a:lnTo>
                      <a:pt x="262" y="278"/>
                    </a:lnTo>
                    <a:lnTo>
                      <a:pt x="264" y="279"/>
                    </a:lnTo>
                    <a:lnTo>
                      <a:pt x="264" y="281"/>
                    </a:lnTo>
                    <a:lnTo>
                      <a:pt x="264" y="283"/>
                    </a:lnTo>
                    <a:lnTo>
                      <a:pt x="265" y="284"/>
                    </a:lnTo>
                    <a:lnTo>
                      <a:pt x="267" y="284"/>
                    </a:lnTo>
                    <a:lnTo>
                      <a:pt x="269" y="284"/>
                    </a:lnTo>
                    <a:lnTo>
                      <a:pt x="269" y="286"/>
                    </a:lnTo>
                    <a:lnTo>
                      <a:pt x="269" y="288"/>
                    </a:lnTo>
                    <a:lnTo>
                      <a:pt x="271" y="288"/>
                    </a:lnTo>
                    <a:lnTo>
                      <a:pt x="271" y="289"/>
                    </a:lnTo>
                    <a:lnTo>
                      <a:pt x="271" y="291"/>
                    </a:lnTo>
                    <a:lnTo>
                      <a:pt x="271" y="293"/>
                    </a:lnTo>
                    <a:lnTo>
                      <a:pt x="272" y="293"/>
                    </a:lnTo>
                    <a:lnTo>
                      <a:pt x="272" y="295"/>
                    </a:lnTo>
                    <a:lnTo>
                      <a:pt x="274" y="295"/>
                    </a:lnTo>
                    <a:lnTo>
                      <a:pt x="276" y="295"/>
                    </a:lnTo>
                    <a:lnTo>
                      <a:pt x="277" y="295"/>
                    </a:lnTo>
                    <a:lnTo>
                      <a:pt x="277" y="296"/>
                    </a:lnTo>
                    <a:lnTo>
                      <a:pt x="277" y="298"/>
                    </a:lnTo>
                    <a:lnTo>
                      <a:pt x="279" y="300"/>
                    </a:lnTo>
                    <a:lnTo>
                      <a:pt x="281" y="301"/>
                    </a:lnTo>
                    <a:lnTo>
                      <a:pt x="282" y="303"/>
                    </a:lnTo>
                    <a:lnTo>
                      <a:pt x="282" y="305"/>
                    </a:lnTo>
                    <a:lnTo>
                      <a:pt x="284" y="305"/>
                    </a:lnTo>
                    <a:lnTo>
                      <a:pt x="284" y="307"/>
                    </a:lnTo>
                    <a:lnTo>
                      <a:pt x="284" y="308"/>
                    </a:lnTo>
                    <a:lnTo>
                      <a:pt x="284" y="310"/>
                    </a:lnTo>
                    <a:lnTo>
                      <a:pt x="282" y="310"/>
                    </a:lnTo>
                    <a:lnTo>
                      <a:pt x="281" y="312"/>
                    </a:lnTo>
                    <a:lnTo>
                      <a:pt x="282" y="312"/>
                    </a:lnTo>
                    <a:lnTo>
                      <a:pt x="281" y="313"/>
                    </a:lnTo>
                    <a:lnTo>
                      <a:pt x="279" y="313"/>
                    </a:lnTo>
                    <a:lnTo>
                      <a:pt x="279" y="315"/>
                    </a:lnTo>
                    <a:lnTo>
                      <a:pt x="277" y="317"/>
                    </a:lnTo>
                    <a:lnTo>
                      <a:pt x="276" y="317"/>
                    </a:lnTo>
                    <a:lnTo>
                      <a:pt x="276" y="318"/>
                    </a:lnTo>
                    <a:lnTo>
                      <a:pt x="284" y="318"/>
                    </a:lnTo>
                    <a:lnTo>
                      <a:pt x="291" y="318"/>
                    </a:lnTo>
                    <a:lnTo>
                      <a:pt x="291" y="320"/>
                    </a:lnTo>
                    <a:lnTo>
                      <a:pt x="293" y="320"/>
                    </a:lnTo>
                    <a:lnTo>
                      <a:pt x="294" y="320"/>
                    </a:lnTo>
                    <a:lnTo>
                      <a:pt x="296" y="320"/>
                    </a:lnTo>
                    <a:lnTo>
                      <a:pt x="296" y="322"/>
                    </a:lnTo>
                    <a:lnTo>
                      <a:pt x="298" y="322"/>
                    </a:lnTo>
                    <a:lnTo>
                      <a:pt x="299" y="322"/>
                    </a:lnTo>
                    <a:lnTo>
                      <a:pt x="301" y="322"/>
                    </a:lnTo>
                    <a:lnTo>
                      <a:pt x="303" y="322"/>
                    </a:lnTo>
                    <a:lnTo>
                      <a:pt x="305" y="322"/>
                    </a:lnTo>
                    <a:lnTo>
                      <a:pt x="305" y="324"/>
                    </a:lnTo>
                    <a:lnTo>
                      <a:pt x="306" y="324"/>
                    </a:lnTo>
                    <a:lnTo>
                      <a:pt x="306" y="325"/>
                    </a:lnTo>
                    <a:lnTo>
                      <a:pt x="306" y="327"/>
                    </a:lnTo>
                    <a:lnTo>
                      <a:pt x="308" y="327"/>
                    </a:lnTo>
                    <a:lnTo>
                      <a:pt x="306" y="327"/>
                    </a:lnTo>
                    <a:lnTo>
                      <a:pt x="308" y="327"/>
                    </a:lnTo>
                    <a:lnTo>
                      <a:pt x="308" y="329"/>
                    </a:lnTo>
                    <a:lnTo>
                      <a:pt x="306" y="329"/>
                    </a:lnTo>
                    <a:lnTo>
                      <a:pt x="308" y="330"/>
                    </a:lnTo>
                    <a:lnTo>
                      <a:pt x="306" y="330"/>
                    </a:lnTo>
                    <a:lnTo>
                      <a:pt x="308" y="330"/>
                    </a:lnTo>
                    <a:lnTo>
                      <a:pt x="308" y="332"/>
                    </a:lnTo>
                    <a:lnTo>
                      <a:pt x="310" y="332"/>
                    </a:lnTo>
                    <a:lnTo>
                      <a:pt x="311" y="332"/>
                    </a:lnTo>
                    <a:lnTo>
                      <a:pt x="310" y="334"/>
                    </a:lnTo>
                    <a:lnTo>
                      <a:pt x="311" y="334"/>
                    </a:lnTo>
                    <a:lnTo>
                      <a:pt x="310" y="334"/>
                    </a:lnTo>
                    <a:lnTo>
                      <a:pt x="311" y="335"/>
                    </a:lnTo>
                    <a:lnTo>
                      <a:pt x="310" y="335"/>
                    </a:lnTo>
                    <a:lnTo>
                      <a:pt x="310" y="337"/>
                    </a:lnTo>
                    <a:lnTo>
                      <a:pt x="311" y="339"/>
                    </a:lnTo>
                    <a:lnTo>
                      <a:pt x="310" y="339"/>
                    </a:lnTo>
                    <a:lnTo>
                      <a:pt x="315" y="339"/>
                    </a:lnTo>
                    <a:lnTo>
                      <a:pt x="318" y="339"/>
                    </a:lnTo>
                    <a:lnTo>
                      <a:pt x="322" y="339"/>
                    </a:lnTo>
                    <a:lnTo>
                      <a:pt x="325" y="339"/>
                    </a:lnTo>
                    <a:lnTo>
                      <a:pt x="328" y="339"/>
                    </a:lnTo>
                    <a:lnTo>
                      <a:pt x="332" y="339"/>
                    </a:lnTo>
                    <a:lnTo>
                      <a:pt x="333" y="339"/>
                    </a:lnTo>
                    <a:lnTo>
                      <a:pt x="337" y="339"/>
                    </a:lnTo>
                    <a:lnTo>
                      <a:pt x="339" y="339"/>
                    </a:lnTo>
                    <a:lnTo>
                      <a:pt x="340" y="339"/>
                    </a:lnTo>
                    <a:lnTo>
                      <a:pt x="342" y="339"/>
                    </a:lnTo>
                    <a:lnTo>
                      <a:pt x="342" y="337"/>
                    </a:lnTo>
                    <a:lnTo>
                      <a:pt x="344" y="337"/>
                    </a:lnTo>
                    <a:lnTo>
                      <a:pt x="344" y="335"/>
                    </a:lnTo>
                    <a:lnTo>
                      <a:pt x="345" y="335"/>
                    </a:lnTo>
                    <a:lnTo>
                      <a:pt x="345" y="334"/>
                    </a:lnTo>
                    <a:lnTo>
                      <a:pt x="347" y="334"/>
                    </a:lnTo>
                    <a:lnTo>
                      <a:pt x="349" y="334"/>
                    </a:lnTo>
                    <a:lnTo>
                      <a:pt x="350" y="334"/>
                    </a:lnTo>
                    <a:lnTo>
                      <a:pt x="350" y="332"/>
                    </a:lnTo>
                    <a:lnTo>
                      <a:pt x="350" y="330"/>
                    </a:lnTo>
                    <a:lnTo>
                      <a:pt x="352" y="330"/>
                    </a:lnTo>
                    <a:lnTo>
                      <a:pt x="354" y="329"/>
                    </a:lnTo>
                    <a:lnTo>
                      <a:pt x="354" y="327"/>
                    </a:lnTo>
                    <a:lnTo>
                      <a:pt x="356" y="327"/>
                    </a:lnTo>
                    <a:lnTo>
                      <a:pt x="357" y="327"/>
                    </a:lnTo>
                    <a:lnTo>
                      <a:pt x="357" y="325"/>
                    </a:lnTo>
                    <a:lnTo>
                      <a:pt x="357" y="324"/>
                    </a:lnTo>
                    <a:lnTo>
                      <a:pt x="359" y="325"/>
                    </a:lnTo>
                    <a:lnTo>
                      <a:pt x="359" y="324"/>
                    </a:lnTo>
                    <a:lnTo>
                      <a:pt x="361" y="324"/>
                    </a:lnTo>
                    <a:lnTo>
                      <a:pt x="361" y="322"/>
                    </a:lnTo>
                    <a:lnTo>
                      <a:pt x="362" y="322"/>
                    </a:lnTo>
                    <a:lnTo>
                      <a:pt x="362" y="320"/>
                    </a:lnTo>
                    <a:lnTo>
                      <a:pt x="364" y="320"/>
                    </a:lnTo>
                    <a:lnTo>
                      <a:pt x="366" y="320"/>
                    </a:lnTo>
                    <a:lnTo>
                      <a:pt x="366" y="322"/>
                    </a:lnTo>
                    <a:lnTo>
                      <a:pt x="366" y="324"/>
                    </a:lnTo>
                    <a:lnTo>
                      <a:pt x="364" y="324"/>
                    </a:lnTo>
                    <a:lnTo>
                      <a:pt x="366" y="324"/>
                    </a:lnTo>
                    <a:lnTo>
                      <a:pt x="364" y="324"/>
                    </a:lnTo>
                    <a:lnTo>
                      <a:pt x="364" y="325"/>
                    </a:lnTo>
                    <a:lnTo>
                      <a:pt x="364" y="324"/>
                    </a:lnTo>
                    <a:lnTo>
                      <a:pt x="364" y="325"/>
                    </a:lnTo>
                    <a:lnTo>
                      <a:pt x="364" y="324"/>
                    </a:lnTo>
                    <a:lnTo>
                      <a:pt x="362" y="324"/>
                    </a:lnTo>
                    <a:lnTo>
                      <a:pt x="364" y="325"/>
                    </a:lnTo>
                    <a:lnTo>
                      <a:pt x="362" y="325"/>
                    </a:lnTo>
                    <a:lnTo>
                      <a:pt x="364" y="327"/>
                    </a:lnTo>
                    <a:lnTo>
                      <a:pt x="364" y="329"/>
                    </a:lnTo>
                    <a:lnTo>
                      <a:pt x="366" y="329"/>
                    </a:lnTo>
                    <a:lnTo>
                      <a:pt x="366" y="330"/>
                    </a:lnTo>
                    <a:lnTo>
                      <a:pt x="366" y="332"/>
                    </a:lnTo>
                    <a:lnTo>
                      <a:pt x="364" y="332"/>
                    </a:lnTo>
                    <a:lnTo>
                      <a:pt x="362" y="332"/>
                    </a:lnTo>
                    <a:lnTo>
                      <a:pt x="362" y="334"/>
                    </a:lnTo>
                    <a:lnTo>
                      <a:pt x="362" y="335"/>
                    </a:lnTo>
                    <a:lnTo>
                      <a:pt x="362" y="339"/>
                    </a:lnTo>
                    <a:lnTo>
                      <a:pt x="362" y="341"/>
                    </a:lnTo>
                    <a:lnTo>
                      <a:pt x="362" y="342"/>
                    </a:lnTo>
                    <a:lnTo>
                      <a:pt x="362" y="344"/>
                    </a:lnTo>
                    <a:lnTo>
                      <a:pt x="362" y="346"/>
                    </a:lnTo>
                    <a:lnTo>
                      <a:pt x="362" y="347"/>
                    </a:lnTo>
                    <a:lnTo>
                      <a:pt x="362" y="351"/>
                    </a:lnTo>
                    <a:lnTo>
                      <a:pt x="362" y="352"/>
                    </a:lnTo>
                    <a:lnTo>
                      <a:pt x="362" y="354"/>
                    </a:lnTo>
                    <a:lnTo>
                      <a:pt x="362" y="356"/>
                    </a:lnTo>
                    <a:lnTo>
                      <a:pt x="362" y="359"/>
                    </a:lnTo>
                    <a:lnTo>
                      <a:pt x="362" y="361"/>
                    </a:lnTo>
                    <a:lnTo>
                      <a:pt x="362" y="364"/>
                    </a:lnTo>
                    <a:lnTo>
                      <a:pt x="362" y="373"/>
                    </a:lnTo>
                    <a:lnTo>
                      <a:pt x="366" y="371"/>
                    </a:lnTo>
                    <a:lnTo>
                      <a:pt x="367" y="373"/>
                    </a:lnTo>
                    <a:lnTo>
                      <a:pt x="369" y="375"/>
                    </a:lnTo>
                    <a:lnTo>
                      <a:pt x="371" y="375"/>
                    </a:lnTo>
                    <a:lnTo>
                      <a:pt x="371" y="376"/>
                    </a:lnTo>
                    <a:lnTo>
                      <a:pt x="373" y="376"/>
                    </a:lnTo>
                    <a:lnTo>
                      <a:pt x="374" y="376"/>
                    </a:lnTo>
                    <a:lnTo>
                      <a:pt x="374" y="375"/>
                    </a:lnTo>
                    <a:lnTo>
                      <a:pt x="376" y="376"/>
                    </a:lnTo>
                    <a:lnTo>
                      <a:pt x="376" y="375"/>
                    </a:lnTo>
                    <a:lnTo>
                      <a:pt x="376" y="376"/>
                    </a:lnTo>
                    <a:lnTo>
                      <a:pt x="378" y="375"/>
                    </a:lnTo>
                    <a:lnTo>
                      <a:pt x="379" y="375"/>
                    </a:lnTo>
                    <a:lnTo>
                      <a:pt x="379" y="373"/>
                    </a:lnTo>
                    <a:lnTo>
                      <a:pt x="381" y="373"/>
                    </a:lnTo>
                    <a:lnTo>
                      <a:pt x="383" y="373"/>
                    </a:lnTo>
                    <a:lnTo>
                      <a:pt x="383" y="371"/>
                    </a:lnTo>
                    <a:lnTo>
                      <a:pt x="384" y="373"/>
                    </a:lnTo>
                    <a:lnTo>
                      <a:pt x="384" y="371"/>
                    </a:lnTo>
                    <a:lnTo>
                      <a:pt x="386" y="371"/>
                    </a:lnTo>
                    <a:lnTo>
                      <a:pt x="388" y="371"/>
                    </a:lnTo>
                    <a:lnTo>
                      <a:pt x="390" y="371"/>
                    </a:lnTo>
                    <a:lnTo>
                      <a:pt x="391" y="371"/>
                    </a:lnTo>
                    <a:lnTo>
                      <a:pt x="391" y="373"/>
                    </a:lnTo>
                    <a:lnTo>
                      <a:pt x="393" y="373"/>
                    </a:lnTo>
                    <a:lnTo>
                      <a:pt x="395" y="373"/>
                    </a:lnTo>
                    <a:lnTo>
                      <a:pt x="396" y="373"/>
                    </a:lnTo>
                    <a:lnTo>
                      <a:pt x="396" y="371"/>
                    </a:lnTo>
                    <a:lnTo>
                      <a:pt x="396" y="373"/>
                    </a:lnTo>
                    <a:lnTo>
                      <a:pt x="396" y="371"/>
                    </a:lnTo>
                    <a:lnTo>
                      <a:pt x="398" y="371"/>
                    </a:lnTo>
                    <a:lnTo>
                      <a:pt x="398" y="373"/>
                    </a:lnTo>
                    <a:lnTo>
                      <a:pt x="400" y="375"/>
                    </a:lnTo>
                    <a:lnTo>
                      <a:pt x="401" y="378"/>
                    </a:lnTo>
                    <a:lnTo>
                      <a:pt x="401" y="380"/>
                    </a:lnTo>
                    <a:lnTo>
                      <a:pt x="403" y="381"/>
                    </a:lnTo>
                    <a:lnTo>
                      <a:pt x="405" y="383"/>
                    </a:lnTo>
                    <a:lnTo>
                      <a:pt x="407" y="385"/>
                    </a:lnTo>
                    <a:lnTo>
                      <a:pt x="408" y="388"/>
                    </a:lnTo>
                    <a:lnTo>
                      <a:pt x="408" y="390"/>
                    </a:lnTo>
                    <a:lnTo>
                      <a:pt x="410" y="390"/>
                    </a:lnTo>
                    <a:lnTo>
                      <a:pt x="410" y="393"/>
                    </a:lnTo>
                    <a:lnTo>
                      <a:pt x="413" y="395"/>
                    </a:lnTo>
                    <a:lnTo>
                      <a:pt x="413" y="397"/>
                    </a:lnTo>
                    <a:lnTo>
                      <a:pt x="415" y="398"/>
                    </a:lnTo>
                    <a:lnTo>
                      <a:pt x="415" y="402"/>
                    </a:lnTo>
                    <a:lnTo>
                      <a:pt x="417" y="403"/>
                    </a:lnTo>
                    <a:lnTo>
                      <a:pt x="418" y="405"/>
                    </a:lnTo>
                    <a:lnTo>
                      <a:pt x="418" y="407"/>
                    </a:lnTo>
                    <a:lnTo>
                      <a:pt x="420" y="409"/>
                    </a:lnTo>
                    <a:lnTo>
                      <a:pt x="420" y="410"/>
                    </a:lnTo>
                    <a:lnTo>
                      <a:pt x="422" y="414"/>
                    </a:lnTo>
                    <a:lnTo>
                      <a:pt x="424" y="415"/>
                    </a:lnTo>
                    <a:lnTo>
                      <a:pt x="427" y="422"/>
                    </a:lnTo>
                    <a:lnTo>
                      <a:pt x="429" y="426"/>
                    </a:lnTo>
                    <a:lnTo>
                      <a:pt x="429" y="427"/>
                    </a:lnTo>
                    <a:lnTo>
                      <a:pt x="429" y="426"/>
                    </a:lnTo>
                    <a:lnTo>
                      <a:pt x="427" y="426"/>
                    </a:lnTo>
                    <a:lnTo>
                      <a:pt x="429" y="426"/>
                    </a:lnTo>
                    <a:lnTo>
                      <a:pt x="429" y="427"/>
                    </a:lnTo>
                    <a:lnTo>
                      <a:pt x="427" y="427"/>
                    </a:lnTo>
                    <a:lnTo>
                      <a:pt x="427" y="429"/>
                    </a:lnTo>
                    <a:lnTo>
                      <a:pt x="425" y="429"/>
                    </a:lnTo>
                    <a:lnTo>
                      <a:pt x="425" y="431"/>
                    </a:lnTo>
                    <a:lnTo>
                      <a:pt x="427" y="432"/>
                    </a:lnTo>
                    <a:lnTo>
                      <a:pt x="425" y="432"/>
                    </a:lnTo>
                    <a:lnTo>
                      <a:pt x="427" y="432"/>
                    </a:lnTo>
                    <a:lnTo>
                      <a:pt x="425" y="432"/>
                    </a:lnTo>
                    <a:lnTo>
                      <a:pt x="427" y="432"/>
                    </a:lnTo>
                    <a:lnTo>
                      <a:pt x="425" y="432"/>
                    </a:lnTo>
                    <a:lnTo>
                      <a:pt x="425" y="434"/>
                    </a:lnTo>
                    <a:lnTo>
                      <a:pt x="424" y="434"/>
                    </a:lnTo>
                    <a:lnTo>
                      <a:pt x="424" y="436"/>
                    </a:lnTo>
                    <a:lnTo>
                      <a:pt x="422" y="436"/>
                    </a:lnTo>
                    <a:lnTo>
                      <a:pt x="424" y="437"/>
                    </a:lnTo>
                    <a:lnTo>
                      <a:pt x="422" y="437"/>
                    </a:lnTo>
                    <a:lnTo>
                      <a:pt x="422" y="439"/>
                    </a:lnTo>
                    <a:lnTo>
                      <a:pt x="422" y="441"/>
                    </a:lnTo>
                    <a:lnTo>
                      <a:pt x="420" y="441"/>
                    </a:lnTo>
                    <a:lnTo>
                      <a:pt x="422" y="443"/>
                    </a:lnTo>
                    <a:lnTo>
                      <a:pt x="422" y="441"/>
                    </a:lnTo>
                    <a:lnTo>
                      <a:pt x="422" y="443"/>
                    </a:lnTo>
                    <a:lnTo>
                      <a:pt x="422" y="444"/>
                    </a:lnTo>
                    <a:lnTo>
                      <a:pt x="422" y="446"/>
                    </a:lnTo>
                    <a:lnTo>
                      <a:pt x="422" y="448"/>
                    </a:lnTo>
                    <a:lnTo>
                      <a:pt x="422" y="449"/>
                    </a:lnTo>
                    <a:lnTo>
                      <a:pt x="422" y="451"/>
                    </a:lnTo>
                    <a:lnTo>
                      <a:pt x="422" y="453"/>
                    </a:lnTo>
                    <a:lnTo>
                      <a:pt x="422" y="454"/>
                    </a:lnTo>
                    <a:lnTo>
                      <a:pt x="420" y="454"/>
                    </a:lnTo>
                    <a:lnTo>
                      <a:pt x="422" y="454"/>
                    </a:lnTo>
                    <a:lnTo>
                      <a:pt x="420" y="456"/>
                    </a:lnTo>
                    <a:lnTo>
                      <a:pt x="420" y="458"/>
                    </a:lnTo>
                    <a:lnTo>
                      <a:pt x="420" y="460"/>
                    </a:lnTo>
                    <a:lnTo>
                      <a:pt x="420" y="461"/>
                    </a:lnTo>
                    <a:lnTo>
                      <a:pt x="418" y="461"/>
                    </a:lnTo>
                    <a:lnTo>
                      <a:pt x="418" y="463"/>
                    </a:lnTo>
                    <a:lnTo>
                      <a:pt x="418" y="465"/>
                    </a:lnTo>
                    <a:lnTo>
                      <a:pt x="417" y="465"/>
                    </a:lnTo>
                    <a:lnTo>
                      <a:pt x="415" y="465"/>
                    </a:lnTo>
                    <a:lnTo>
                      <a:pt x="415" y="466"/>
                    </a:lnTo>
                    <a:lnTo>
                      <a:pt x="415" y="468"/>
                    </a:lnTo>
                    <a:lnTo>
                      <a:pt x="417" y="468"/>
                    </a:lnTo>
                    <a:lnTo>
                      <a:pt x="417" y="470"/>
                    </a:lnTo>
                    <a:lnTo>
                      <a:pt x="417" y="472"/>
                    </a:lnTo>
                    <a:lnTo>
                      <a:pt x="417" y="473"/>
                    </a:lnTo>
                    <a:lnTo>
                      <a:pt x="418" y="473"/>
                    </a:lnTo>
                    <a:lnTo>
                      <a:pt x="417" y="475"/>
                    </a:lnTo>
                    <a:lnTo>
                      <a:pt x="418" y="475"/>
                    </a:lnTo>
                    <a:lnTo>
                      <a:pt x="418" y="477"/>
                    </a:lnTo>
                    <a:lnTo>
                      <a:pt x="418" y="478"/>
                    </a:lnTo>
                    <a:lnTo>
                      <a:pt x="420" y="478"/>
                    </a:lnTo>
                    <a:lnTo>
                      <a:pt x="420" y="480"/>
                    </a:lnTo>
                    <a:lnTo>
                      <a:pt x="422" y="480"/>
                    </a:lnTo>
                    <a:lnTo>
                      <a:pt x="422" y="482"/>
                    </a:lnTo>
                    <a:lnTo>
                      <a:pt x="422" y="483"/>
                    </a:lnTo>
                    <a:lnTo>
                      <a:pt x="422" y="485"/>
                    </a:lnTo>
                    <a:lnTo>
                      <a:pt x="424" y="485"/>
                    </a:lnTo>
                    <a:lnTo>
                      <a:pt x="422" y="485"/>
                    </a:lnTo>
                    <a:lnTo>
                      <a:pt x="420" y="485"/>
                    </a:lnTo>
                    <a:lnTo>
                      <a:pt x="418" y="485"/>
                    </a:lnTo>
                    <a:lnTo>
                      <a:pt x="417" y="485"/>
                    </a:lnTo>
                    <a:lnTo>
                      <a:pt x="417" y="487"/>
                    </a:lnTo>
                    <a:lnTo>
                      <a:pt x="417" y="489"/>
                    </a:lnTo>
                    <a:lnTo>
                      <a:pt x="417" y="490"/>
                    </a:lnTo>
                    <a:lnTo>
                      <a:pt x="417" y="492"/>
                    </a:lnTo>
                    <a:lnTo>
                      <a:pt x="415" y="492"/>
                    </a:lnTo>
                    <a:lnTo>
                      <a:pt x="415" y="494"/>
                    </a:lnTo>
                    <a:lnTo>
                      <a:pt x="413" y="494"/>
                    </a:lnTo>
                    <a:lnTo>
                      <a:pt x="413" y="495"/>
                    </a:lnTo>
                    <a:lnTo>
                      <a:pt x="412" y="495"/>
                    </a:lnTo>
                    <a:lnTo>
                      <a:pt x="412" y="497"/>
                    </a:lnTo>
                    <a:lnTo>
                      <a:pt x="412" y="499"/>
                    </a:lnTo>
                    <a:lnTo>
                      <a:pt x="410" y="497"/>
                    </a:lnTo>
                    <a:lnTo>
                      <a:pt x="410" y="499"/>
                    </a:lnTo>
                    <a:lnTo>
                      <a:pt x="410" y="500"/>
                    </a:lnTo>
                    <a:lnTo>
                      <a:pt x="408" y="500"/>
                    </a:lnTo>
                    <a:lnTo>
                      <a:pt x="408" y="502"/>
                    </a:lnTo>
                    <a:lnTo>
                      <a:pt x="410" y="504"/>
                    </a:lnTo>
                    <a:lnTo>
                      <a:pt x="408" y="504"/>
                    </a:lnTo>
                    <a:lnTo>
                      <a:pt x="407" y="504"/>
                    </a:lnTo>
                    <a:lnTo>
                      <a:pt x="407" y="506"/>
                    </a:lnTo>
                    <a:lnTo>
                      <a:pt x="405" y="506"/>
                    </a:lnTo>
                    <a:lnTo>
                      <a:pt x="405" y="507"/>
                    </a:lnTo>
                    <a:lnTo>
                      <a:pt x="405" y="509"/>
                    </a:lnTo>
                    <a:lnTo>
                      <a:pt x="405" y="511"/>
                    </a:lnTo>
                    <a:lnTo>
                      <a:pt x="405" y="512"/>
                    </a:lnTo>
                    <a:lnTo>
                      <a:pt x="407" y="512"/>
                    </a:lnTo>
                    <a:lnTo>
                      <a:pt x="407" y="514"/>
                    </a:lnTo>
                    <a:lnTo>
                      <a:pt x="407" y="516"/>
                    </a:lnTo>
                    <a:lnTo>
                      <a:pt x="408" y="516"/>
                    </a:lnTo>
                    <a:lnTo>
                      <a:pt x="408" y="517"/>
                    </a:lnTo>
                    <a:lnTo>
                      <a:pt x="408" y="516"/>
                    </a:lnTo>
                    <a:lnTo>
                      <a:pt x="410" y="517"/>
                    </a:lnTo>
                    <a:lnTo>
                      <a:pt x="412" y="519"/>
                    </a:lnTo>
                    <a:lnTo>
                      <a:pt x="412" y="521"/>
                    </a:lnTo>
                    <a:lnTo>
                      <a:pt x="413" y="521"/>
                    </a:lnTo>
                    <a:lnTo>
                      <a:pt x="412" y="521"/>
                    </a:lnTo>
                    <a:lnTo>
                      <a:pt x="412" y="523"/>
                    </a:lnTo>
                    <a:lnTo>
                      <a:pt x="412" y="521"/>
                    </a:lnTo>
                    <a:lnTo>
                      <a:pt x="412" y="523"/>
                    </a:lnTo>
                    <a:lnTo>
                      <a:pt x="410" y="523"/>
                    </a:lnTo>
                    <a:lnTo>
                      <a:pt x="410" y="524"/>
                    </a:lnTo>
                    <a:lnTo>
                      <a:pt x="408" y="526"/>
                    </a:lnTo>
                    <a:lnTo>
                      <a:pt x="408" y="528"/>
                    </a:lnTo>
                    <a:lnTo>
                      <a:pt x="410" y="528"/>
                    </a:lnTo>
                    <a:lnTo>
                      <a:pt x="408" y="528"/>
                    </a:lnTo>
                    <a:lnTo>
                      <a:pt x="408" y="529"/>
                    </a:lnTo>
                    <a:lnTo>
                      <a:pt x="407" y="528"/>
                    </a:lnTo>
                    <a:lnTo>
                      <a:pt x="407" y="529"/>
                    </a:lnTo>
                    <a:lnTo>
                      <a:pt x="407" y="531"/>
                    </a:lnTo>
                    <a:lnTo>
                      <a:pt x="403" y="534"/>
                    </a:lnTo>
                    <a:lnTo>
                      <a:pt x="405" y="538"/>
                    </a:lnTo>
                    <a:lnTo>
                      <a:pt x="405" y="540"/>
                    </a:lnTo>
                    <a:lnTo>
                      <a:pt x="407" y="543"/>
                    </a:lnTo>
                    <a:lnTo>
                      <a:pt x="407" y="548"/>
                    </a:lnTo>
                    <a:lnTo>
                      <a:pt x="408" y="553"/>
                    </a:lnTo>
                    <a:lnTo>
                      <a:pt x="410" y="553"/>
                    </a:lnTo>
                    <a:lnTo>
                      <a:pt x="413" y="555"/>
                    </a:lnTo>
                    <a:lnTo>
                      <a:pt x="415" y="555"/>
                    </a:lnTo>
                    <a:lnTo>
                      <a:pt x="417" y="555"/>
                    </a:lnTo>
                    <a:lnTo>
                      <a:pt x="418" y="555"/>
                    </a:lnTo>
                    <a:lnTo>
                      <a:pt x="420" y="557"/>
                    </a:lnTo>
                    <a:lnTo>
                      <a:pt x="422" y="557"/>
                    </a:lnTo>
                    <a:lnTo>
                      <a:pt x="424" y="558"/>
                    </a:lnTo>
                    <a:lnTo>
                      <a:pt x="424" y="560"/>
                    </a:lnTo>
                    <a:lnTo>
                      <a:pt x="418" y="563"/>
                    </a:lnTo>
                    <a:lnTo>
                      <a:pt x="417" y="563"/>
                    </a:lnTo>
                    <a:lnTo>
                      <a:pt x="417" y="565"/>
                    </a:lnTo>
                    <a:lnTo>
                      <a:pt x="415" y="567"/>
                    </a:lnTo>
                    <a:lnTo>
                      <a:pt x="415" y="568"/>
                    </a:lnTo>
                    <a:lnTo>
                      <a:pt x="417" y="568"/>
                    </a:lnTo>
                    <a:lnTo>
                      <a:pt x="417" y="570"/>
                    </a:lnTo>
                    <a:lnTo>
                      <a:pt x="417" y="572"/>
                    </a:lnTo>
                    <a:lnTo>
                      <a:pt x="415" y="572"/>
                    </a:lnTo>
                    <a:lnTo>
                      <a:pt x="413" y="572"/>
                    </a:lnTo>
                    <a:lnTo>
                      <a:pt x="412" y="574"/>
                    </a:lnTo>
                    <a:lnTo>
                      <a:pt x="412" y="575"/>
                    </a:lnTo>
                    <a:lnTo>
                      <a:pt x="410" y="575"/>
                    </a:lnTo>
                    <a:lnTo>
                      <a:pt x="410" y="577"/>
                    </a:lnTo>
                    <a:lnTo>
                      <a:pt x="408" y="577"/>
                    </a:lnTo>
                    <a:lnTo>
                      <a:pt x="408" y="579"/>
                    </a:lnTo>
                    <a:lnTo>
                      <a:pt x="407" y="579"/>
                    </a:lnTo>
                    <a:lnTo>
                      <a:pt x="407" y="580"/>
                    </a:lnTo>
                    <a:lnTo>
                      <a:pt x="407" y="582"/>
                    </a:lnTo>
                    <a:lnTo>
                      <a:pt x="405" y="582"/>
                    </a:lnTo>
                    <a:lnTo>
                      <a:pt x="403" y="584"/>
                    </a:lnTo>
                    <a:lnTo>
                      <a:pt x="405" y="584"/>
                    </a:lnTo>
                    <a:lnTo>
                      <a:pt x="405" y="585"/>
                    </a:lnTo>
                    <a:lnTo>
                      <a:pt x="403" y="585"/>
                    </a:lnTo>
                    <a:lnTo>
                      <a:pt x="403" y="587"/>
                    </a:lnTo>
                    <a:lnTo>
                      <a:pt x="401" y="587"/>
                    </a:lnTo>
                    <a:lnTo>
                      <a:pt x="401" y="585"/>
                    </a:lnTo>
                    <a:lnTo>
                      <a:pt x="400" y="587"/>
                    </a:lnTo>
                    <a:lnTo>
                      <a:pt x="400" y="589"/>
                    </a:lnTo>
                    <a:lnTo>
                      <a:pt x="398" y="589"/>
                    </a:lnTo>
                    <a:lnTo>
                      <a:pt x="398" y="591"/>
                    </a:lnTo>
                    <a:lnTo>
                      <a:pt x="396" y="591"/>
                    </a:lnTo>
                    <a:lnTo>
                      <a:pt x="396" y="592"/>
                    </a:lnTo>
                    <a:lnTo>
                      <a:pt x="395" y="592"/>
                    </a:lnTo>
                    <a:lnTo>
                      <a:pt x="396" y="592"/>
                    </a:lnTo>
                    <a:lnTo>
                      <a:pt x="398" y="592"/>
                    </a:lnTo>
                    <a:lnTo>
                      <a:pt x="400" y="596"/>
                    </a:lnTo>
                    <a:lnTo>
                      <a:pt x="401" y="596"/>
                    </a:lnTo>
                    <a:lnTo>
                      <a:pt x="401" y="597"/>
                    </a:lnTo>
                    <a:lnTo>
                      <a:pt x="401" y="599"/>
                    </a:lnTo>
                    <a:lnTo>
                      <a:pt x="401" y="601"/>
                    </a:lnTo>
                    <a:lnTo>
                      <a:pt x="398" y="602"/>
                    </a:lnTo>
                    <a:lnTo>
                      <a:pt x="396" y="604"/>
                    </a:lnTo>
                    <a:lnTo>
                      <a:pt x="395" y="606"/>
                    </a:lnTo>
                    <a:lnTo>
                      <a:pt x="393" y="606"/>
                    </a:lnTo>
                    <a:lnTo>
                      <a:pt x="391" y="606"/>
                    </a:lnTo>
                    <a:lnTo>
                      <a:pt x="390" y="606"/>
                    </a:lnTo>
                    <a:lnTo>
                      <a:pt x="390" y="608"/>
                    </a:lnTo>
                    <a:lnTo>
                      <a:pt x="388" y="609"/>
                    </a:lnTo>
                    <a:lnTo>
                      <a:pt x="390" y="609"/>
                    </a:lnTo>
                    <a:lnTo>
                      <a:pt x="390" y="611"/>
                    </a:lnTo>
                    <a:lnTo>
                      <a:pt x="390" y="613"/>
                    </a:lnTo>
                    <a:lnTo>
                      <a:pt x="391" y="613"/>
                    </a:lnTo>
                    <a:lnTo>
                      <a:pt x="390" y="614"/>
                    </a:lnTo>
                    <a:lnTo>
                      <a:pt x="391" y="614"/>
                    </a:lnTo>
                    <a:lnTo>
                      <a:pt x="391" y="616"/>
                    </a:lnTo>
                    <a:lnTo>
                      <a:pt x="391" y="618"/>
                    </a:lnTo>
                    <a:lnTo>
                      <a:pt x="391" y="619"/>
                    </a:lnTo>
                    <a:lnTo>
                      <a:pt x="391" y="621"/>
                    </a:lnTo>
                    <a:lnTo>
                      <a:pt x="391" y="623"/>
                    </a:lnTo>
                    <a:lnTo>
                      <a:pt x="390" y="623"/>
                    </a:lnTo>
                    <a:lnTo>
                      <a:pt x="388" y="625"/>
                    </a:lnTo>
                    <a:lnTo>
                      <a:pt x="386" y="625"/>
                    </a:lnTo>
                    <a:lnTo>
                      <a:pt x="386" y="626"/>
                    </a:lnTo>
                    <a:lnTo>
                      <a:pt x="384" y="626"/>
                    </a:lnTo>
                    <a:lnTo>
                      <a:pt x="383" y="626"/>
                    </a:lnTo>
                    <a:lnTo>
                      <a:pt x="383" y="628"/>
                    </a:lnTo>
                    <a:lnTo>
                      <a:pt x="381" y="628"/>
                    </a:lnTo>
                    <a:lnTo>
                      <a:pt x="379" y="630"/>
                    </a:lnTo>
                    <a:lnTo>
                      <a:pt x="378" y="630"/>
                    </a:lnTo>
                    <a:lnTo>
                      <a:pt x="376" y="630"/>
                    </a:lnTo>
                    <a:lnTo>
                      <a:pt x="374" y="630"/>
                    </a:lnTo>
                    <a:lnTo>
                      <a:pt x="373" y="630"/>
                    </a:lnTo>
                    <a:lnTo>
                      <a:pt x="371" y="630"/>
                    </a:lnTo>
                    <a:lnTo>
                      <a:pt x="369" y="630"/>
                    </a:lnTo>
                    <a:lnTo>
                      <a:pt x="367" y="628"/>
                    </a:lnTo>
                    <a:lnTo>
                      <a:pt x="366" y="628"/>
                    </a:lnTo>
                    <a:lnTo>
                      <a:pt x="366" y="626"/>
                    </a:lnTo>
                    <a:lnTo>
                      <a:pt x="364" y="626"/>
                    </a:lnTo>
                    <a:lnTo>
                      <a:pt x="362" y="625"/>
                    </a:lnTo>
                    <a:lnTo>
                      <a:pt x="361" y="625"/>
                    </a:lnTo>
                    <a:lnTo>
                      <a:pt x="361" y="623"/>
                    </a:lnTo>
                    <a:lnTo>
                      <a:pt x="359" y="623"/>
                    </a:lnTo>
                    <a:lnTo>
                      <a:pt x="359" y="621"/>
                    </a:lnTo>
                    <a:lnTo>
                      <a:pt x="357" y="621"/>
                    </a:lnTo>
                    <a:lnTo>
                      <a:pt x="357" y="619"/>
                    </a:lnTo>
                    <a:lnTo>
                      <a:pt x="356" y="619"/>
                    </a:lnTo>
                    <a:lnTo>
                      <a:pt x="354" y="619"/>
                    </a:lnTo>
                    <a:lnTo>
                      <a:pt x="354" y="618"/>
                    </a:lnTo>
                    <a:lnTo>
                      <a:pt x="354" y="616"/>
                    </a:lnTo>
                    <a:lnTo>
                      <a:pt x="352" y="616"/>
                    </a:lnTo>
                    <a:lnTo>
                      <a:pt x="350" y="614"/>
                    </a:lnTo>
                    <a:lnTo>
                      <a:pt x="349" y="614"/>
                    </a:lnTo>
                    <a:lnTo>
                      <a:pt x="347" y="614"/>
                    </a:lnTo>
                    <a:lnTo>
                      <a:pt x="347" y="613"/>
                    </a:lnTo>
                    <a:lnTo>
                      <a:pt x="347" y="614"/>
                    </a:lnTo>
                    <a:lnTo>
                      <a:pt x="347" y="613"/>
                    </a:lnTo>
                    <a:lnTo>
                      <a:pt x="345" y="613"/>
                    </a:lnTo>
                    <a:lnTo>
                      <a:pt x="345" y="611"/>
                    </a:lnTo>
                    <a:lnTo>
                      <a:pt x="344" y="611"/>
                    </a:lnTo>
                    <a:lnTo>
                      <a:pt x="342" y="609"/>
                    </a:lnTo>
                    <a:lnTo>
                      <a:pt x="339" y="608"/>
                    </a:lnTo>
                    <a:lnTo>
                      <a:pt x="337" y="608"/>
                    </a:lnTo>
                    <a:lnTo>
                      <a:pt x="337" y="606"/>
                    </a:lnTo>
                    <a:lnTo>
                      <a:pt x="339" y="606"/>
                    </a:lnTo>
                    <a:lnTo>
                      <a:pt x="339" y="604"/>
                    </a:lnTo>
                    <a:lnTo>
                      <a:pt x="337" y="604"/>
                    </a:lnTo>
                    <a:lnTo>
                      <a:pt x="337" y="602"/>
                    </a:lnTo>
                    <a:lnTo>
                      <a:pt x="337" y="601"/>
                    </a:lnTo>
                    <a:lnTo>
                      <a:pt x="337" y="599"/>
                    </a:lnTo>
                    <a:lnTo>
                      <a:pt x="337" y="597"/>
                    </a:lnTo>
                    <a:lnTo>
                      <a:pt x="337" y="596"/>
                    </a:lnTo>
                    <a:lnTo>
                      <a:pt x="335" y="596"/>
                    </a:lnTo>
                    <a:lnTo>
                      <a:pt x="335" y="594"/>
                    </a:lnTo>
                    <a:lnTo>
                      <a:pt x="333" y="594"/>
                    </a:lnTo>
                    <a:lnTo>
                      <a:pt x="333" y="592"/>
                    </a:lnTo>
                    <a:lnTo>
                      <a:pt x="332" y="592"/>
                    </a:lnTo>
                    <a:lnTo>
                      <a:pt x="330" y="592"/>
                    </a:lnTo>
                    <a:lnTo>
                      <a:pt x="330" y="591"/>
                    </a:lnTo>
                    <a:lnTo>
                      <a:pt x="328" y="591"/>
                    </a:lnTo>
                    <a:lnTo>
                      <a:pt x="327" y="591"/>
                    </a:lnTo>
                    <a:lnTo>
                      <a:pt x="325" y="591"/>
                    </a:lnTo>
                    <a:lnTo>
                      <a:pt x="325" y="589"/>
                    </a:lnTo>
                    <a:lnTo>
                      <a:pt x="323" y="589"/>
                    </a:lnTo>
                    <a:lnTo>
                      <a:pt x="322" y="589"/>
                    </a:lnTo>
                    <a:lnTo>
                      <a:pt x="320" y="587"/>
                    </a:lnTo>
                    <a:lnTo>
                      <a:pt x="318" y="587"/>
                    </a:lnTo>
                    <a:lnTo>
                      <a:pt x="318" y="585"/>
                    </a:lnTo>
                    <a:lnTo>
                      <a:pt x="316" y="584"/>
                    </a:lnTo>
                    <a:lnTo>
                      <a:pt x="315" y="584"/>
                    </a:lnTo>
                    <a:lnTo>
                      <a:pt x="313" y="584"/>
                    </a:lnTo>
                    <a:lnTo>
                      <a:pt x="311" y="584"/>
                    </a:lnTo>
                    <a:lnTo>
                      <a:pt x="313" y="582"/>
                    </a:lnTo>
                    <a:lnTo>
                      <a:pt x="311" y="582"/>
                    </a:lnTo>
                    <a:lnTo>
                      <a:pt x="311" y="580"/>
                    </a:lnTo>
                    <a:lnTo>
                      <a:pt x="310" y="580"/>
                    </a:lnTo>
                    <a:lnTo>
                      <a:pt x="310" y="579"/>
                    </a:lnTo>
                    <a:lnTo>
                      <a:pt x="308" y="579"/>
                    </a:lnTo>
                    <a:lnTo>
                      <a:pt x="306" y="579"/>
                    </a:lnTo>
                    <a:lnTo>
                      <a:pt x="306" y="577"/>
                    </a:lnTo>
                    <a:lnTo>
                      <a:pt x="305" y="575"/>
                    </a:lnTo>
                    <a:lnTo>
                      <a:pt x="305" y="574"/>
                    </a:lnTo>
                    <a:lnTo>
                      <a:pt x="303" y="574"/>
                    </a:lnTo>
                    <a:lnTo>
                      <a:pt x="301" y="574"/>
                    </a:lnTo>
                    <a:lnTo>
                      <a:pt x="301" y="572"/>
                    </a:lnTo>
                    <a:lnTo>
                      <a:pt x="299" y="572"/>
                    </a:lnTo>
                    <a:lnTo>
                      <a:pt x="298" y="572"/>
                    </a:lnTo>
                    <a:lnTo>
                      <a:pt x="296" y="572"/>
                    </a:lnTo>
                    <a:lnTo>
                      <a:pt x="296" y="570"/>
                    </a:lnTo>
                    <a:lnTo>
                      <a:pt x="294" y="570"/>
                    </a:lnTo>
                    <a:lnTo>
                      <a:pt x="293" y="570"/>
                    </a:lnTo>
                    <a:lnTo>
                      <a:pt x="291" y="570"/>
                    </a:lnTo>
                    <a:lnTo>
                      <a:pt x="289" y="570"/>
                    </a:lnTo>
                    <a:lnTo>
                      <a:pt x="289" y="568"/>
                    </a:lnTo>
                    <a:lnTo>
                      <a:pt x="288" y="568"/>
                    </a:lnTo>
                    <a:lnTo>
                      <a:pt x="288" y="567"/>
                    </a:lnTo>
                    <a:lnTo>
                      <a:pt x="286" y="567"/>
                    </a:lnTo>
                    <a:lnTo>
                      <a:pt x="286" y="565"/>
                    </a:lnTo>
                    <a:lnTo>
                      <a:pt x="284" y="565"/>
                    </a:lnTo>
                    <a:lnTo>
                      <a:pt x="282" y="565"/>
                    </a:lnTo>
                    <a:lnTo>
                      <a:pt x="281" y="565"/>
                    </a:lnTo>
                    <a:lnTo>
                      <a:pt x="279" y="565"/>
                    </a:lnTo>
                    <a:lnTo>
                      <a:pt x="279" y="563"/>
                    </a:lnTo>
                    <a:lnTo>
                      <a:pt x="277" y="563"/>
                    </a:lnTo>
                    <a:lnTo>
                      <a:pt x="277" y="562"/>
                    </a:lnTo>
                    <a:lnTo>
                      <a:pt x="276" y="562"/>
                    </a:lnTo>
                    <a:lnTo>
                      <a:pt x="274" y="562"/>
                    </a:lnTo>
                    <a:lnTo>
                      <a:pt x="272" y="562"/>
                    </a:lnTo>
                    <a:lnTo>
                      <a:pt x="272" y="560"/>
                    </a:lnTo>
                    <a:lnTo>
                      <a:pt x="271" y="560"/>
                    </a:lnTo>
                    <a:lnTo>
                      <a:pt x="271" y="558"/>
                    </a:lnTo>
                    <a:lnTo>
                      <a:pt x="269" y="558"/>
                    </a:lnTo>
                    <a:lnTo>
                      <a:pt x="267" y="558"/>
                    </a:lnTo>
                    <a:lnTo>
                      <a:pt x="267" y="557"/>
                    </a:lnTo>
                    <a:lnTo>
                      <a:pt x="265" y="557"/>
                    </a:lnTo>
                    <a:lnTo>
                      <a:pt x="264" y="557"/>
                    </a:lnTo>
                    <a:lnTo>
                      <a:pt x="262" y="557"/>
                    </a:lnTo>
                    <a:lnTo>
                      <a:pt x="260" y="555"/>
                    </a:lnTo>
                    <a:lnTo>
                      <a:pt x="259" y="555"/>
                    </a:lnTo>
                    <a:lnTo>
                      <a:pt x="259" y="557"/>
                    </a:lnTo>
                    <a:lnTo>
                      <a:pt x="259" y="555"/>
                    </a:lnTo>
                    <a:lnTo>
                      <a:pt x="257" y="555"/>
                    </a:lnTo>
                    <a:lnTo>
                      <a:pt x="257" y="553"/>
                    </a:lnTo>
                    <a:lnTo>
                      <a:pt x="255" y="553"/>
                    </a:lnTo>
                    <a:lnTo>
                      <a:pt x="254" y="553"/>
                    </a:lnTo>
                    <a:lnTo>
                      <a:pt x="254" y="551"/>
                    </a:lnTo>
                    <a:lnTo>
                      <a:pt x="252" y="551"/>
                    </a:lnTo>
                    <a:lnTo>
                      <a:pt x="250" y="550"/>
                    </a:lnTo>
                    <a:lnTo>
                      <a:pt x="248" y="550"/>
                    </a:lnTo>
                    <a:lnTo>
                      <a:pt x="248" y="548"/>
                    </a:lnTo>
                    <a:lnTo>
                      <a:pt x="247" y="548"/>
                    </a:lnTo>
                    <a:lnTo>
                      <a:pt x="247" y="546"/>
                    </a:lnTo>
                    <a:lnTo>
                      <a:pt x="245" y="545"/>
                    </a:lnTo>
                    <a:lnTo>
                      <a:pt x="243" y="545"/>
                    </a:lnTo>
                    <a:lnTo>
                      <a:pt x="242" y="543"/>
                    </a:lnTo>
                    <a:lnTo>
                      <a:pt x="240" y="543"/>
                    </a:lnTo>
                    <a:lnTo>
                      <a:pt x="240" y="541"/>
                    </a:lnTo>
                    <a:lnTo>
                      <a:pt x="238" y="541"/>
                    </a:lnTo>
                    <a:lnTo>
                      <a:pt x="237" y="541"/>
                    </a:lnTo>
                    <a:lnTo>
                      <a:pt x="235" y="541"/>
                    </a:lnTo>
                    <a:lnTo>
                      <a:pt x="233" y="541"/>
                    </a:lnTo>
                    <a:lnTo>
                      <a:pt x="233" y="540"/>
                    </a:lnTo>
                    <a:lnTo>
                      <a:pt x="233" y="538"/>
                    </a:lnTo>
                    <a:lnTo>
                      <a:pt x="231" y="538"/>
                    </a:lnTo>
                    <a:lnTo>
                      <a:pt x="230" y="536"/>
                    </a:lnTo>
                    <a:lnTo>
                      <a:pt x="228" y="536"/>
                    </a:lnTo>
                    <a:lnTo>
                      <a:pt x="226" y="536"/>
                    </a:lnTo>
                    <a:lnTo>
                      <a:pt x="226" y="534"/>
                    </a:lnTo>
                    <a:lnTo>
                      <a:pt x="225" y="534"/>
                    </a:lnTo>
                    <a:lnTo>
                      <a:pt x="223" y="534"/>
                    </a:lnTo>
                    <a:lnTo>
                      <a:pt x="223" y="533"/>
                    </a:lnTo>
                    <a:lnTo>
                      <a:pt x="221" y="533"/>
                    </a:lnTo>
                    <a:lnTo>
                      <a:pt x="220" y="533"/>
                    </a:lnTo>
                    <a:lnTo>
                      <a:pt x="220" y="531"/>
                    </a:lnTo>
                    <a:lnTo>
                      <a:pt x="218" y="531"/>
                    </a:lnTo>
                    <a:lnTo>
                      <a:pt x="218" y="529"/>
                    </a:lnTo>
                    <a:lnTo>
                      <a:pt x="216" y="529"/>
                    </a:lnTo>
                    <a:lnTo>
                      <a:pt x="214" y="529"/>
                    </a:lnTo>
                    <a:lnTo>
                      <a:pt x="213" y="528"/>
                    </a:lnTo>
                    <a:lnTo>
                      <a:pt x="211" y="528"/>
                    </a:lnTo>
                    <a:lnTo>
                      <a:pt x="211" y="526"/>
                    </a:lnTo>
                    <a:lnTo>
                      <a:pt x="209" y="526"/>
                    </a:lnTo>
                    <a:lnTo>
                      <a:pt x="208" y="526"/>
                    </a:lnTo>
                    <a:lnTo>
                      <a:pt x="208" y="524"/>
                    </a:lnTo>
                    <a:lnTo>
                      <a:pt x="209" y="524"/>
                    </a:lnTo>
                    <a:lnTo>
                      <a:pt x="209" y="523"/>
                    </a:lnTo>
                    <a:lnTo>
                      <a:pt x="208" y="523"/>
                    </a:lnTo>
                    <a:lnTo>
                      <a:pt x="206" y="523"/>
                    </a:lnTo>
                    <a:lnTo>
                      <a:pt x="206" y="521"/>
                    </a:lnTo>
                    <a:lnTo>
                      <a:pt x="208" y="521"/>
                    </a:lnTo>
                    <a:lnTo>
                      <a:pt x="208" y="519"/>
                    </a:lnTo>
                    <a:lnTo>
                      <a:pt x="206" y="519"/>
                    </a:lnTo>
                    <a:lnTo>
                      <a:pt x="206" y="517"/>
                    </a:lnTo>
                    <a:lnTo>
                      <a:pt x="204" y="517"/>
                    </a:lnTo>
                    <a:lnTo>
                      <a:pt x="203" y="517"/>
                    </a:lnTo>
                    <a:lnTo>
                      <a:pt x="201" y="516"/>
                    </a:lnTo>
                    <a:lnTo>
                      <a:pt x="201" y="514"/>
                    </a:lnTo>
                    <a:lnTo>
                      <a:pt x="199" y="514"/>
                    </a:lnTo>
                    <a:lnTo>
                      <a:pt x="199" y="512"/>
                    </a:lnTo>
                    <a:lnTo>
                      <a:pt x="197" y="512"/>
                    </a:lnTo>
                    <a:lnTo>
                      <a:pt x="197" y="511"/>
                    </a:lnTo>
                    <a:lnTo>
                      <a:pt x="197" y="509"/>
                    </a:lnTo>
                    <a:lnTo>
                      <a:pt x="196" y="509"/>
                    </a:lnTo>
                    <a:lnTo>
                      <a:pt x="196" y="507"/>
                    </a:lnTo>
                    <a:lnTo>
                      <a:pt x="194" y="507"/>
                    </a:lnTo>
                    <a:lnTo>
                      <a:pt x="192" y="506"/>
                    </a:lnTo>
                    <a:lnTo>
                      <a:pt x="191" y="506"/>
                    </a:lnTo>
                    <a:lnTo>
                      <a:pt x="189" y="506"/>
                    </a:lnTo>
                    <a:lnTo>
                      <a:pt x="189" y="504"/>
                    </a:lnTo>
                    <a:lnTo>
                      <a:pt x="187" y="504"/>
                    </a:lnTo>
                    <a:lnTo>
                      <a:pt x="187" y="502"/>
                    </a:lnTo>
                    <a:lnTo>
                      <a:pt x="186" y="502"/>
                    </a:lnTo>
                    <a:lnTo>
                      <a:pt x="186" y="500"/>
                    </a:lnTo>
                    <a:lnTo>
                      <a:pt x="184" y="500"/>
                    </a:lnTo>
                    <a:lnTo>
                      <a:pt x="184" y="499"/>
                    </a:lnTo>
                    <a:lnTo>
                      <a:pt x="184" y="497"/>
                    </a:lnTo>
                    <a:lnTo>
                      <a:pt x="182" y="497"/>
                    </a:lnTo>
                    <a:lnTo>
                      <a:pt x="182" y="495"/>
                    </a:lnTo>
                    <a:lnTo>
                      <a:pt x="182" y="494"/>
                    </a:lnTo>
                    <a:lnTo>
                      <a:pt x="180" y="494"/>
                    </a:lnTo>
                    <a:lnTo>
                      <a:pt x="180" y="492"/>
                    </a:lnTo>
                    <a:lnTo>
                      <a:pt x="179" y="492"/>
                    </a:lnTo>
                    <a:lnTo>
                      <a:pt x="179" y="490"/>
                    </a:lnTo>
                    <a:lnTo>
                      <a:pt x="177" y="490"/>
                    </a:lnTo>
                    <a:lnTo>
                      <a:pt x="175" y="490"/>
                    </a:lnTo>
                    <a:lnTo>
                      <a:pt x="175" y="489"/>
                    </a:lnTo>
                    <a:lnTo>
                      <a:pt x="177" y="489"/>
                    </a:lnTo>
                    <a:lnTo>
                      <a:pt x="177" y="487"/>
                    </a:lnTo>
                    <a:lnTo>
                      <a:pt x="175" y="485"/>
                    </a:lnTo>
                    <a:lnTo>
                      <a:pt x="174" y="485"/>
                    </a:lnTo>
                    <a:lnTo>
                      <a:pt x="174" y="483"/>
                    </a:lnTo>
                    <a:lnTo>
                      <a:pt x="172" y="483"/>
                    </a:lnTo>
                    <a:lnTo>
                      <a:pt x="172" y="482"/>
                    </a:lnTo>
                    <a:lnTo>
                      <a:pt x="172" y="483"/>
                    </a:lnTo>
                    <a:lnTo>
                      <a:pt x="172" y="485"/>
                    </a:lnTo>
                    <a:lnTo>
                      <a:pt x="172" y="483"/>
                    </a:lnTo>
                    <a:lnTo>
                      <a:pt x="170" y="483"/>
                    </a:lnTo>
                    <a:lnTo>
                      <a:pt x="172" y="483"/>
                    </a:lnTo>
                    <a:lnTo>
                      <a:pt x="170" y="482"/>
                    </a:lnTo>
                    <a:lnTo>
                      <a:pt x="172" y="482"/>
                    </a:lnTo>
                    <a:lnTo>
                      <a:pt x="170" y="480"/>
                    </a:lnTo>
                    <a:lnTo>
                      <a:pt x="172" y="480"/>
                    </a:lnTo>
                    <a:lnTo>
                      <a:pt x="172" y="478"/>
                    </a:lnTo>
                    <a:lnTo>
                      <a:pt x="170" y="477"/>
                    </a:lnTo>
                    <a:lnTo>
                      <a:pt x="172" y="477"/>
                    </a:lnTo>
                    <a:lnTo>
                      <a:pt x="172" y="475"/>
                    </a:lnTo>
                    <a:lnTo>
                      <a:pt x="170" y="475"/>
                    </a:lnTo>
                    <a:lnTo>
                      <a:pt x="172" y="475"/>
                    </a:lnTo>
                    <a:lnTo>
                      <a:pt x="170" y="473"/>
                    </a:lnTo>
                    <a:lnTo>
                      <a:pt x="170" y="475"/>
                    </a:lnTo>
                    <a:lnTo>
                      <a:pt x="169" y="475"/>
                    </a:lnTo>
                    <a:lnTo>
                      <a:pt x="167" y="475"/>
                    </a:lnTo>
                    <a:lnTo>
                      <a:pt x="167" y="473"/>
                    </a:lnTo>
                    <a:lnTo>
                      <a:pt x="169" y="472"/>
                    </a:lnTo>
                    <a:lnTo>
                      <a:pt x="169" y="470"/>
                    </a:lnTo>
                    <a:lnTo>
                      <a:pt x="170" y="470"/>
                    </a:lnTo>
                    <a:lnTo>
                      <a:pt x="170" y="472"/>
                    </a:lnTo>
                    <a:lnTo>
                      <a:pt x="172" y="472"/>
                    </a:lnTo>
                    <a:lnTo>
                      <a:pt x="172" y="473"/>
                    </a:lnTo>
                    <a:lnTo>
                      <a:pt x="172" y="472"/>
                    </a:lnTo>
                    <a:lnTo>
                      <a:pt x="172" y="470"/>
                    </a:lnTo>
                    <a:lnTo>
                      <a:pt x="174" y="468"/>
                    </a:lnTo>
                    <a:lnTo>
                      <a:pt x="174" y="466"/>
                    </a:lnTo>
                    <a:lnTo>
                      <a:pt x="174" y="465"/>
                    </a:lnTo>
                    <a:lnTo>
                      <a:pt x="174" y="463"/>
                    </a:lnTo>
                    <a:lnTo>
                      <a:pt x="174" y="461"/>
                    </a:lnTo>
                    <a:lnTo>
                      <a:pt x="174" y="460"/>
                    </a:lnTo>
                    <a:lnTo>
                      <a:pt x="174" y="458"/>
                    </a:lnTo>
                    <a:lnTo>
                      <a:pt x="174" y="456"/>
                    </a:lnTo>
                    <a:lnTo>
                      <a:pt x="174" y="454"/>
                    </a:lnTo>
                    <a:lnTo>
                      <a:pt x="172" y="454"/>
                    </a:lnTo>
                    <a:lnTo>
                      <a:pt x="172" y="453"/>
                    </a:lnTo>
                    <a:lnTo>
                      <a:pt x="170" y="453"/>
                    </a:lnTo>
                    <a:lnTo>
                      <a:pt x="170" y="451"/>
                    </a:lnTo>
                    <a:lnTo>
                      <a:pt x="169" y="449"/>
                    </a:lnTo>
                    <a:lnTo>
                      <a:pt x="169" y="448"/>
                    </a:lnTo>
                    <a:lnTo>
                      <a:pt x="167" y="448"/>
                    </a:lnTo>
                    <a:lnTo>
                      <a:pt x="167" y="446"/>
                    </a:lnTo>
                    <a:lnTo>
                      <a:pt x="165" y="446"/>
                    </a:lnTo>
                    <a:lnTo>
                      <a:pt x="165" y="444"/>
                    </a:lnTo>
                    <a:lnTo>
                      <a:pt x="163" y="444"/>
                    </a:lnTo>
                    <a:lnTo>
                      <a:pt x="165" y="443"/>
                    </a:lnTo>
                    <a:lnTo>
                      <a:pt x="163" y="443"/>
                    </a:lnTo>
                    <a:lnTo>
                      <a:pt x="163" y="441"/>
                    </a:lnTo>
                    <a:lnTo>
                      <a:pt x="163" y="439"/>
                    </a:lnTo>
                    <a:lnTo>
                      <a:pt x="163" y="437"/>
                    </a:lnTo>
                    <a:lnTo>
                      <a:pt x="162" y="437"/>
                    </a:lnTo>
                    <a:lnTo>
                      <a:pt x="162" y="436"/>
                    </a:lnTo>
                    <a:lnTo>
                      <a:pt x="160" y="436"/>
                    </a:lnTo>
                    <a:lnTo>
                      <a:pt x="160" y="434"/>
                    </a:lnTo>
                    <a:lnTo>
                      <a:pt x="160" y="432"/>
                    </a:lnTo>
                    <a:lnTo>
                      <a:pt x="158" y="432"/>
                    </a:lnTo>
                    <a:lnTo>
                      <a:pt x="158" y="431"/>
                    </a:lnTo>
                    <a:lnTo>
                      <a:pt x="158" y="429"/>
                    </a:lnTo>
                    <a:lnTo>
                      <a:pt x="157" y="429"/>
                    </a:lnTo>
                    <a:lnTo>
                      <a:pt x="157" y="427"/>
                    </a:lnTo>
                    <a:lnTo>
                      <a:pt x="155" y="427"/>
                    </a:lnTo>
                    <a:lnTo>
                      <a:pt x="155" y="426"/>
                    </a:lnTo>
                    <a:lnTo>
                      <a:pt x="153" y="426"/>
                    </a:lnTo>
                    <a:lnTo>
                      <a:pt x="153" y="424"/>
                    </a:lnTo>
                    <a:lnTo>
                      <a:pt x="155" y="424"/>
                    </a:lnTo>
                    <a:lnTo>
                      <a:pt x="155" y="422"/>
                    </a:lnTo>
                    <a:lnTo>
                      <a:pt x="153" y="422"/>
                    </a:lnTo>
                    <a:lnTo>
                      <a:pt x="153" y="420"/>
                    </a:lnTo>
                    <a:lnTo>
                      <a:pt x="153" y="419"/>
                    </a:lnTo>
                    <a:lnTo>
                      <a:pt x="152" y="419"/>
                    </a:lnTo>
                    <a:lnTo>
                      <a:pt x="150" y="417"/>
                    </a:lnTo>
                    <a:lnTo>
                      <a:pt x="148" y="417"/>
                    </a:lnTo>
                    <a:lnTo>
                      <a:pt x="148" y="415"/>
                    </a:lnTo>
                    <a:lnTo>
                      <a:pt x="146" y="415"/>
                    </a:lnTo>
                    <a:lnTo>
                      <a:pt x="146" y="414"/>
                    </a:lnTo>
                    <a:lnTo>
                      <a:pt x="146" y="412"/>
                    </a:lnTo>
                    <a:lnTo>
                      <a:pt x="145" y="412"/>
                    </a:lnTo>
                    <a:lnTo>
                      <a:pt x="143" y="410"/>
                    </a:lnTo>
                    <a:lnTo>
                      <a:pt x="141" y="410"/>
                    </a:lnTo>
                    <a:lnTo>
                      <a:pt x="141" y="409"/>
                    </a:lnTo>
                    <a:lnTo>
                      <a:pt x="141" y="410"/>
                    </a:lnTo>
                    <a:lnTo>
                      <a:pt x="141" y="409"/>
                    </a:lnTo>
                    <a:lnTo>
                      <a:pt x="143" y="409"/>
                    </a:lnTo>
                    <a:lnTo>
                      <a:pt x="143" y="407"/>
                    </a:lnTo>
                    <a:lnTo>
                      <a:pt x="143" y="405"/>
                    </a:lnTo>
                    <a:lnTo>
                      <a:pt x="141" y="405"/>
                    </a:lnTo>
                    <a:lnTo>
                      <a:pt x="141" y="403"/>
                    </a:lnTo>
                    <a:lnTo>
                      <a:pt x="141" y="402"/>
                    </a:lnTo>
                    <a:lnTo>
                      <a:pt x="141" y="400"/>
                    </a:lnTo>
                    <a:lnTo>
                      <a:pt x="140" y="400"/>
                    </a:lnTo>
                    <a:lnTo>
                      <a:pt x="141" y="400"/>
                    </a:lnTo>
                    <a:lnTo>
                      <a:pt x="141" y="398"/>
                    </a:lnTo>
                    <a:lnTo>
                      <a:pt x="140" y="398"/>
                    </a:lnTo>
                    <a:lnTo>
                      <a:pt x="140" y="397"/>
                    </a:lnTo>
                    <a:lnTo>
                      <a:pt x="140" y="395"/>
                    </a:lnTo>
                    <a:lnTo>
                      <a:pt x="138" y="395"/>
                    </a:lnTo>
                    <a:lnTo>
                      <a:pt x="138" y="393"/>
                    </a:lnTo>
                    <a:lnTo>
                      <a:pt x="136" y="392"/>
                    </a:lnTo>
                    <a:lnTo>
                      <a:pt x="136" y="390"/>
                    </a:lnTo>
                    <a:lnTo>
                      <a:pt x="135" y="390"/>
                    </a:lnTo>
                    <a:lnTo>
                      <a:pt x="133" y="388"/>
                    </a:lnTo>
                    <a:lnTo>
                      <a:pt x="129" y="386"/>
                    </a:lnTo>
                    <a:lnTo>
                      <a:pt x="128" y="385"/>
                    </a:lnTo>
                    <a:lnTo>
                      <a:pt x="126" y="385"/>
                    </a:lnTo>
                    <a:lnTo>
                      <a:pt x="124" y="385"/>
                    </a:lnTo>
                    <a:lnTo>
                      <a:pt x="124" y="383"/>
                    </a:lnTo>
                    <a:lnTo>
                      <a:pt x="126" y="383"/>
                    </a:lnTo>
                    <a:lnTo>
                      <a:pt x="124" y="383"/>
                    </a:lnTo>
                    <a:lnTo>
                      <a:pt x="126" y="381"/>
                    </a:lnTo>
                    <a:lnTo>
                      <a:pt x="124" y="381"/>
                    </a:lnTo>
                    <a:lnTo>
                      <a:pt x="126" y="381"/>
                    </a:lnTo>
                    <a:lnTo>
                      <a:pt x="128" y="380"/>
                    </a:lnTo>
                    <a:lnTo>
                      <a:pt x="126" y="380"/>
                    </a:lnTo>
                    <a:lnTo>
                      <a:pt x="126" y="378"/>
                    </a:lnTo>
                    <a:lnTo>
                      <a:pt x="126" y="376"/>
                    </a:lnTo>
                    <a:lnTo>
                      <a:pt x="126" y="375"/>
                    </a:lnTo>
                    <a:lnTo>
                      <a:pt x="124" y="375"/>
                    </a:lnTo>
                    <a:lnTo>
                      <a:pt x="124" y="373"/>
                    </a:lnTo>
                    <a:lnTo>
                      <a:pt x="124" y="371"/>
                    </a:lnTo>
                    <a:lnTo>
                      <a:pt x="124" y="369"/>
                    </a:lnTo>
                    <a:lnTo>
                      <a:pt x="123" y="369"/>
                    </a:lnTo>
                    <a:lnTo>
                      <a:pt x="123" y="368"/>
                    </a:lnTo>
                    <a:lnTo>
                      <a:pt x="121" y="368"/>
                    </a:lnTo>
                    <a:lnTo>
                      <a:pt x="123" y="366"/>
                    </a:lnTo>
                    <a:lnTo>
                      <a:pt x="121" y="366"/>
                    </a:lnTo>
                    <a:lnTo>
                      <a:pt x="121" y="364"/>
                    </a:lnTo>
                    <a:lnTo>
                      <a:pt x="119" y="364"/>
                    </a:lnTo>
                    <a:lnTo>
                      <a:pt x="119" y="363"/>
                    </a:lnTo>
                    <a:lnTo>
                      <a:pt x="118" y="363"/>
                    </a:lnTo>
                    <a:lnTo>
                      <a:pt x="118" y="361"/>
                    </a:lnTo>
                    <a:lnTo>
                      <a:pt x="118" y="359"/>
                    </a:lnTo>
                    <a:lnTo>
                      <a:pt x="116" y="359"/>
                    </a:lnTo>
                    <a:lnTo>
                      <a:pt x="116" y="358"/>
                    </a:lnTo>
                    <a:lnTo>
                      <a:pt x="114" y="356"/>
                    </a:lnTo>
                    <a:lnTo>
                      <a:pt x="114" y="354"/>
                    </a:lnTo>
                    <a:lnTo>
                      <a:pt x="112" y="354"/>
                    </a:lnTo>
                    <a:lnTo>
                      <a:pt x="112" y="352"/>
                    </a:lnTo>
                    <a:lnTo>
                      <a:pt x="112" y="351"/>
                    </a:lnTo>
                    <a:lnTo>
                      <a:pt x="111" y="351"/>
                    </a:lnTo>
                    <a:lnTo>
                      <a:pt x="111" y="349"/>
                    </a:lnTo>
                    <a:lnTo>
                      <a:pt x="111" y="347"/>
                    </a:lnTo>
                    <a:lnTo>
                      <a:pt x="109" y="346"/>
                    </a:lnTo>
                    <a:lnTo>
                      <a:pt x="107" y="344"/>
                    </a:lnTo>
                    <a:lnTo>
                      <a:pt x="107" y="342"/>
                    </a:lnTo>
                    <a:lnTo>
                      <a:pt x="107" y="341"/>
                    </a:lnTo>
                    <a:lnTo>
                      <a:pt x="107" y="339"/>
                    </a:lnTo>
                    <a:lnTo>
                      <a:pt x="106" y="339"/>
                    </a:lnTo>
                    <a:lnTo>
                      <a:pt x="106" y="337"/>
                    </a:lnTo>
                    <a:lnTo>
                      <a:pt x="106" y="335"/>
                    </a:lnTo>
                    <a:lnTo>
                      <a:pt x="106" y="334"/>
                    </a:lnTo>
                    <a:lnTo>
                      <a:pt x="106" y="332"/>
                    </a:lnTo>
                    <a:lnTo>
                      <a:pt x="104" y="330"/>
                    </a:lnTo>
                    <a:lnTo>
                      <a:pt x="104" y="329"/>
                    </a:lnTo>
                    <a:lnTo>
                      <a:pt x="102" y="329"/>
                    </a:lnTo>
                    <a:lnTo>
                      <a:pt x="102" y="327"/>
                    </a:lnTo>
                    <a:lnTo>
                      <a:pt x="101" y="327"/>
                    </a:lnTo>
                    <a:lnTo>
                      <a:pt x="101" y="325"/>
                    </a:lnTo>
                    <a:lnTo>
                      <a:pt x="101" y="324"/>
                    </a:lnTo>
                    <a:lnTo>
                      <a:pt x="101" y="322"/>
                    </a:lnTo>
                    <a:lnTo>
                      <a:pt x="99" y="322"/>
                    </a:lnTo>
                    <a:lnTo>
                      <a:pt x="101" y="322"/>
                    </a:lnTo>
                    <a:lnTo>
                      <a:pt x="101" y="320"/>
                    </a:lnTo>
                    <a:lnTo>
                      <a:pt x="99" y="320"/>
                    </a:lnTo>
                    <a:lnTo>
                      <a:pt x="99" y="318"/>
                    </a:lnTo>
                    <a:lnTo>
                      <a:pt x="99" y="317"/>
                    </a:lnTo>
                    <a:lnTo>
                      <a:pt x="97" y="317"/>
                    </a:lnTo>
                    <a:lnTo>
                      <a:pt x="97" y="315"/>
                    </a:lnTo>
                    <a:lnTo>
                      <a:pt x="95" y="315"/>
                    </a:lnTo>
                    <a:lnTo>
                      <a:pt x="95" y="313"/>
                    </a:lnTo>
                    <a:lnTo>
                      <a:pt x="97" y="313"/>
                    </a:lnTo>
                    <a:lnTo>
                      <a:pt x="97" y="312"/>
                    </a:lnTo>
                    <a:lnTo>
                      <a:pt x="95" y="312"/>
                    </a:lnTo>
                    <a:lnTo>
                      <a:pt x="94" y="312"/>
                    </a:lnTo>
                    <a:lnTo>
                      <a:pt x="94" y="313"/>
                    </a:lnTo>
                    <a:lnTo>
                      <a:pt x="94" y="312"/>
                    </a:lnTo>
                    <a:lnTo>
                      <a:pt x="92" y="312"/>
                    </a:lnTo>
                    <a:lnTo>
                      <a:pt x="92" y="310"/>
                    </a:lnTo>
                    <a:lnTo>
                      <a:pt x="94" y="312"/>
                    </a:lnTo>
                    <a:lnTo>
                      <a:pt x="94" y="310"/>
                    </a:lnTo>
                    <a:lnTo>
                      <a:pt x="94" y="312"/>
                    </a:lnTo>
                    <a:lnTo>
                      <a:pt x="94" y="310"/>
                    </a:lnTo>
                    <a:lnTo>
                      <a:pt x="94" y="308"/>
                    </a:lnTo>
                    <a:lnTo>
                      <a:pt x="92" y="308"/>
                    </a:lnTo>
                    <a:lnTo>
                      <a:pt x="92" y="307"/>
                    </a:lnTo>
                    <a:lnTo>
                      <a:pt x="92" y="305"/>
                    </a:lnTo>
                    <a:lnTo>
                      <a:pt x="90" y="305"/>
                    </a:lnTo>
                    <a:lnTo>
                      <a:pt x="92" y="305"/>
                    </a:lnTo>
                    <a:lnTo>
                      <a:pt x="92" y="303"/>
                    </a:lnTo>
                    <a:lnTo>
                      <a:pt x="90" y="301"/>
                    </a:lnTo>
                    <a:lnTo>
                      <a:pt x="90" y="300"/>
                    </a:lnTo>
                    <a:lnTo>
                      <a:pt x="89" y="300"/>
                    </a:lnTo>
                    <a:lnTo>
                      <a:pt x="89" y="298"/>
                    </a:lnTo>
                    <a:lnTo>
                      <a:pt x="87" y="298"/>
                    </a:lnTo>
                    <a:lnTo>
                      <a:pt x="87" y="296"/>
                    </a:lnTo>
                    <a:lnTo>
                      <a:pt x="89" y="296"/>
                    </a:lnTo>
                    <a:lnTo>
                      <a:pt x="89" y="295"/>
                    </a:lnTo>
                    <a:lnTo>
                      <a:pt x="89" y="293"/>
                    </a:lnTo>
                    <a:lnTo>
                      <a:pt x="87" y="291"/>
                    </a:lnTo>
                    <a:lnTo>
                      <a:pt x="87" y="289"/>
                    </a:lnTo>
                    <a:lnTo>
                      <a:pt x="85" y="289"/>
                    </a:lnTo>
                    <a:lnTo>
                      <a:pt x="85" y="288"/>
                    </a:lnTo>
                    <a:lnTo>
                      <a:pt x="84" y="288"/>
                    </a:lnTo>
                    <a:lnTo>
                      <a:pt x="82" y="286"/>
                    </a:lnTo>
                    <a:lnTo>
                      <a:pt x="84" y="284"/>
                    </a:lnTo>
                    <a:lnTo>
                      <a:pt x="84" y="283"/>
                    </a:lnTo>
                    <a:lnTo>
                      <a:pt x="82" y="283"/>
                    </a:lnTo>
                    <a:lnTo>
                      <a:pt x="82" y="281"/>
                    </a:lnTo>
                    <a:lnTo>
                      <a:pt x="80" y="281"/>
                    </a:lnTo>
                    <a:lnTo>
                      <a:pt x="80" y="279"/>
                    </a:lnTo>
                    <a:lnTo>
                      <a:pt x="80" y="278"/>
                    </a:lnTo>
                    <a:lnTo>
                      <a:pt x="78" y="278"/>
                    </a:lnTo>
                    <a:lnTo>
                      <a:pt x="78" y="276"/>
                    </a:lnTo>
                    <a:lnTo>
                      <a:pt x="77" y="276"/>
                    </a:lnTo>
                    <a:lnTo>
                      <a:pt x="77" y="274"/>
                    </a:lnTo>
                    <a:lnTo>
                      <a:pt x="75" y="274"/>
                    </a:lnTo>
                    <a:lnTo>
                      <a:pt x="75" y="272"/>
                    </a:lnTo>
                    <a:lnTo>
                      <a:pt x="73" y="271"/>
                    </a:lnTo>
                    <a:lnTo>
                      <a:pt x="72" y="271"/>
                    </a:lnTo>
                    <a:lnTo>
                      <a:pt x="70" y="269"/>
                    </a:lnTo>
                    <a:lnTo>
                      <a:pt x="68" y="267"/>
                    </a:lnTo>
                    <a:lnTo>
                      <a:pt x="67" y="266"/>
                    </a:lnTo>
                    <a:lnTo>
                      <a:pt x="67" y="264"/>
                    </a:lnTo>
                    <a:lnTo>
                      <a:pt x="65" y="262"/>
                    </a:lnTo>
                    <a:lnTo>
                      <a:pt x="63" y="261"/>
                    </a:lnTo>
                    <a:lnTo>
                      <a:pt x="65" y="261"/>
                    </a:lnTo>
                    <a:lnTo>
                      <a:pt x="65" y="259"/>
                    </a:lnTo>
                    <a:lnTo>
                      <a:pt x="63" y="257"/>
                    </a:lnTo>
                    <a:lnTo>
                      <a:pt x="63" y="255"/>
                    </a:lnTo>
                    <a:lnTo>
                      <a:pt x="61" y="255"/>
                    </a:lnTo>
                    <a:lnTo>
                      <a:pt x="61" y="254"/>
                    </a:lnTo>
                    <a:lnTo>
                      <a:pt x="60" y="254"/>
                    </a:lnTo>
                    <a:lnTo>
                      <a:pt x="60" y="252"/>
                    </a:lnTo>
                    <a:lnTo>
                      <a:pt x="60" y="250"/>
                    </a:lnTo>
                    <a:lnTo>
                      <a:pt x="60" y="249"/>
                    </a:lnTo>
                    <a:lnTo>
                      <a:pt x="60" y="247"/>
                    </a:lnTo>
                    <a:lnTo>
                      <a:pt x="58" y="245"/>
                    </a:lnTo>
                    <a:lnTo>
                      <a:pt x="56" y="244"/>
                    </a:lnTo>
                    <a:lnTo>
                      <a:pt x="56" y="242"/>
                    </a:lnTo>
                    <a:lnTo>
                      <a:pt x="56" y="240"/>
                    </a:lnTo>
                    <a:lnTo>
                      <a:pt x="55" y="240"/>
                    </a:lnTo>
                    <a:lnTo>
                      <a:pt x="55" y="238"/>
                    </a:lnTo>
                    <a:lnTo>
                      <a:pt x="53" y="237"/>
                    </a:lnTo>
                    <a:lnTo>
                      <a:pt x="51" y="235"/>
                    </a:lnTo>
                    <a:lnTo>
                      <a:pt x="50" y="235"/>
                    </a:lnTo>
                    <a:lnTo>
                      <a:pt x="50" y="233"/>
                    </a:lnTo>
                    <a:lnTo>
                      <a:pt x="48" y="233"/>
                    </a:lnTo>
                    <a:lnTo>
                      <a:pt x="48" y="232"/>
                    </a:lnTo>
                    <a:lnTo>
                      <a:pt x="48" y="230"/>
                    </a:lnTo>
                    <a:lnTo>
                      <a:pt x="46" y="230"/>
                    </a:lnTo>
                    <a:lnTo>
                      <a:pt x="46" y="228"/>
                    </a:lnTo>
                    <a:lnTo>
                      <a:pt x="44" y="227"/>
                    </a:lnTo>
                    <a:lnTo>
                      <a:pt x="43" y="227"/>
                    </a:lnTo>
                    <a:lnTo>
                      <a:pt x="41" y="225"/>
                    </a:lnTo>
                    <a:lnTo>
                      <a:pt x="41" y="223"/>
                    </a:lnTo>
                    <a:lnTo>
                      <a:pt x="39" y="223"/>
                    </a:lnTo>
                    <a:lnTo>
                      <a:pt x="38" y="223"/>
                    </a:lnTo>
                    <a:lnTo>
                      <a:pt x="38" y="221"/>
                    </a:lnTo>
                    <a:lnTo>
                      <a:pt x="36" y="221"/>
                    </a:lnTo>
                    <a:lnTo>
                      <a:pt x="34" y="220"/>
                    </a:lnTo>
                    <a:lnTo>
                      <a:pt x="33" y="220"/>
                    </a:lnTo>
                    <a:lnTo>
                      <a:pt x="31" y="218"/>
                    </a:lnTo>
                    <a:lnTo>
                      <a:pt x="29" y="218"/>
                    </a:lnTo>
                    <a:lnTo>
                      <a:pt x="28" y="216"/>
                    </a:lnTo>
                    <a:lnTo>
                      <a:pt x="26" y="216"/>
                    </a:lnTo>
                    <a:lnTo>
                      <a:pt x="24" y="216"/>
                    </a:lnTo>
                    <a:lnTo>
                      <a:pt x="24" y="215"/>
                    </a:lnTo>
                    <a:lnTo>
                      <a:pt x="22" y="215"/>
                    </a:lnTo>
                    <a:lnTo>
                      <a:pt x="21" y="213"/>
                    </a:lnTo>
                    <a:lnTo>
                      <a:pt x="19" y="213"/>
                    </a:lnTo>
                    <a:lnTo>
                      <a:pt x="17" y="211"/>
                    </a:lnTo>
                    <a:lnTo>
                      <a:pt x="16" y="210"/>
                    </a:lnTo>
                    <a:lnTo>
                      <a:pt x="14" y="210"/>
                    </a:lnTo>
                    <a:lnTo>
                      <a:pt x="14" y="208"/>
                    </a:lnTo>
                    <a:lnTo>
                      <a:pt x="12" y="208"/>
                    </a:lnTo>
                    <a:lnTo>
                      <a:pt x="11" y="206"/>
                    </a:lnTo>
                    <a:lnTo>
                      <a:pt x="9" y="206"/>
                    </a:lnTo>
                    <a:lnTo>
                      <a:pt x="9" y="204"/>
                    </a:lnTo>
                    <a:lnTo>
                      <a:pt x="7" y="204"/>
                    </a:lnTo>
                    <a:lnTo>
                      <a:pt x="7" y="203"/>
                    </a:lnTo>
                    <a:lnTo>
                      <a:pt x="7" y="201"/>
                    </a:lnTo>
                    <a:lnTo>
                      <a:pt x="7" y="199"/>
                    </a:lnTo>
                    <a:lnTo>
                      <a:pt x="7" y="198"/>
                    </a:lnTo>
                    <a:lnTo>
                      <a:pt x="9" y="198"/>
                    </a:lnTo>
                    <a:lnTo>
                      <a:pt x="9" y="196"/>
                    </a:lnTo>
                    <a:lnTo>
                      <a:pt x="11" y="196"/>
                    </a:lnTo>
                    <a:lnTo>
                      <a:pt x="11" y="198"/>
                    </a:lnTo>
                    <a:lnTo>
                      <a:pt x="12" y="198"/>
                    </a:lnTo>
                    <a:lnTo>
                      <a:pt x="14" y="198"/>
                    </a:lnTo>
                    <a:lnTo>
                      <a:pt x="16" y="198"/>
                    </a:lnTo>
                    <a:lnTo>
                      <a:pt x="16" y="196"/>
                    </a:lnTo>
                    <a:lnTo>
                      <a:pt x="17" y="194"/>
                    </a:lnTo>
                    <a:lnTo>
                      <a:pt x="17" y="193"/>
                    </a:lnTo>
                    <a:lnTo>
                      <a:pt x="17" y="191"/>
                    </a:lnTo>
                    <a:lnTo>
                      <a:pt x="17" y="189"/>
                    </a:lnTo>
                    <a:lnTo>
                      <a:pt x="16" y="189"/>
                    </a:lnTo>
                    <a:lnTo>
                      <a:pt x="16" y="187"/>
                    </a:lnTo>
                    <a:lnTo>
                      <a:pt x="16" y="186"/>
                    </a:lnTo>
                    <a:lnTo>
                      <a:pt x="14" y="184"/>
                    </a:lnTo>
                    <a:lnTo>
                      <a:pt x="12" y="182"/>
                    </a:lnTo>
                    <a:lnTo>
                      <a:pt x="11" y="181"/>
                    </a:lnTo>
                    <a:lnTo>
                      <a:pt x="11" y="179"/>
                    </a:lnTo>
                    <a:lnTo>
                      <a:pt x="9" y="179"/>
                    </a:lnTo>
                    <a:lnTo>
                      <a:pt x="7" y="179"/>
                    </a:lnTo>
                    <a:lnTo>
                      <a:pt x="7" y="177"/>
                    </a:lnTo>
                    <a:lnTo>
                      <a:pt x="5" y="177"/>
                    </a:lnTo>
                    <a:lnTo>
                      <a:pt x="5" y="176"/>
                    </a:lnTo>
                    <a:lnTo>
                      <a:pt x="7" y="176"/>
                    </a:lnTo>
                    <a:lnTo>
                      <a:pt x="7" y="174"/>
                    </a:lnTo>
                    <a:lnTo>
                      <a:pt x="5" y="174"/>
                    </a:lnTo>
                    <a:lnTo>
                      <a:pt x="7" y="174"/>
                    </a:lnTo>
                    <a:lnTo>
                      <a:pt x="7" y="172"/>
                    </a:lnTo>
                    <a:lnTo>
                      <a:pt x="5" y="172"/>
                    </a:lnTo>
                    <a:lnTo>
                      <a:pt x="7" y="172"/>
                    </a:lnTo>
                    <a:lnTo>
                      <a:pt x="9" y="172"/>
                    </a:lnTo>
                    <a:lnTo>
                      <a:pt x="11" y="170"/>
                    </a:lnTo>
                    <a:lnTo>
                      <a:pt x="11" y="169"/>
                    </a:lnTo>
                    <a:lnTo>
                      <a:pt x="9" y="169"/>
                    </a:lnTo>
                    <a:lnTo>
                      <a:pt x="9" y="167"/>
                    </a:lnTo>
                    <a:lnTo>
                      <a:pt x="7" y="165"/>
                    </a:lnTo>
                    <a:lnTo>
                      <a:pt x="5" y="164"/>
                    </a:lnTo>
                    <a:lnTo>
                      <a:pt x="5" y="162"/>
                    </a:lnTo>
                    <a:lnTo>
                      <a:pt x="4" y="162"/>
                    </a:lnTo>
                    <a:lnTo>
                      <a:pt x="2" y="159"/>
                    </a:lnTo>
                    <a:lnTo>
                      <a:pt x="0" y="159"/>
                    </a:lnTo>
                    <a:lnTo>
                      <a:pt x="2" y="157"/>
                    </a:lnTo>
                    <a:lnTo>
                      <a:pt x="2" y="155"/>
                    </a:lnTo>
                    <a:lnTo>
                      <a:pt x="2" y="153"/>
                    </a:lnTo>
                    <a:lnTo>
                      <a:pt x="2" y="152"/>
                    </a:lnTo>
                    <a:lnTo>
                      <a:pt x="2" y="150"/>
                    </a:lnTo>
                    <a:lnTo>
                      <a:pt x="4" y="150"/>
                    </a:lnTo>
                    <a:lnTo>
                      <a:pt x="4" y="148"/>
                    </a:lnTo>
                    <a:lnTo>
                      <a:pt x="4" y="147"/>
                    </a:lnTo>
                    <a:lnTo>
                      <a:pt x="4" y="145"/>
                    </a:lnTo>
                    <a:lnTo>
                      <a:pt x="4" y="143"/>
                    </a:lnTo>
                    <a:lnTo>
                      <a:pt x="5" y="143"/>
                    </a:lnTo>
                    <a:lnTo>
                      <a:pt x="7" y="141"/>
                    </a:lnTo>
                    <a:lnTo>
                      <a:pt x="9" y="140"/>
                    </a:lnTo>
                    <a:lnTo>
                      <a:pt x="9" y="138"/>
                    </a:lnTo>
                    <a:lnTo>
                      <a:pt x="11" y="138"/>
                    </a:lnTo>
                    <a:lnTo>
                      <a:pt x="11" y="136"/>
                    </a:lnTo>
                    <a:lnTo>
                      <a:pt x="12" y="136"/>
                    </a:lnTo>
                    <a:lnTo>
                      <a:pt x="12" y="135"/>
                    </a:lnTo>
                    <a:lnTo>
                      <a:pt x="14" y="133"/>
                    </a:lnTo>
                    <a:lnTo>
                      <a:pt x="16" y="131"/>
                    </a:lnTo>
                    <a:lnTo>
                      <a:pt x="17" y="131"/>
                    </a:lnTo>
                    <a:lnTo>
                      <a:pt x="17" y="130"/>
                    </a:lnTo>
                    <a:lnTo>
                      <a:pt x="19" y="128"/>
                    </a:lnTo>
                    <a:lnTo>
                      <a:pt x="19" y="126"/>
                    </a:lnTo>
                    <a:lnTo>
                      <a:pt x="21" y="126"/>
                    </a:lnTo>
                    <a:lnTo>
                      <a:pt x="21" y="124"/>
                    </a:lnTo>
                    <a:lnTo>
                      <a:pt x="22" y="124"/>
                    </a:lnTo>
                    <a:lnTo>
                      <a:pt x="24" y="124"/>
                    </a:lnTo>
                    <a:lnTo>
                      <a:pt x="24" y="123"/>
                    </a:lnTo>
                    <a:lnTo>
                      <a:pt x="26" y="123"/>
                    </a:lnTo>
                    <a:lnTo>
                      <a:pt x="28" y="121"/>
                    </a:lnTo>
                    <a:lnTo>
                      <a:pt x="28" y="119"/>
                    </a:lnTo>
                    <a:lnTo>
                      <a:pt x="29" y="119"/>
                    </a:lnTo>
                    <a:lnTo>
                      <a:pt x="29" y="118"/>
                    </a:lnTo>
                    <a:lnTo>
                      <a:pt x="31" y="118"/>
                    </a:lnTo>
                    <a:lnTo>
                      <a:pt x="33" y="118"/>
                    </a:lnTo>
                    <a:lnTo>
                      <a:pt x="31" y="119"/>
                    </a:lnTo>
                    <a:lnTo>
                      <a:pt x="33" y="118"/>
                    </a:lnTo>
                    <a:lnTo>
                      <a:pt x="34" y="118"/>
                    </a:lnTo>
                    <a:lnTo>
                      <a:pt x="34" y="116"/>
                    </a:lnTo>
                    <a:lnTo>
                      <a:pt x="36" y="114"/>
                    </a:lnTo>
                    <a:lnTo>
                      <a:pt x="36" y="116"/>
                    </a:lnTo>
                    <a:lnTo>
                      <a:pt x="38" y="116"/>
                    </a:lnTo>
                    <a:lnTo>
                      <a:pt x="38" y="118"/>
                    </a:lnTo>
                    <a:lnTo>
                      <a:pt x="38" y="119"/>
                    </a:lnTo>
                    <a:lnTo>
                      <a:pt x="39" y="119"/>
                    </a:lnTo>
                    <a:lnTo>
                      <a:pt x="38" y="121"/>
                    </a:lnTo>
                    <a:lnTo>
                      <a:pt x="39" y="121"/>
                    </a:lnTo>
                    <a:lnTo>
                      <a:pt x="39" y="123"/>
                    </a:lnTo>
                    <a:lnTo>
                      <a:pt x="39" y="124"/>
                    </a:lnTo>
                    <a:lnTo>
                      <a:pt x="39" y="126"/>
                    </a:lnTo>
                    <a:lnTo>
                      <a:pt x="39" y="128"/>
                    </a:lnTo>
                    <a:lnTo>
                      <a:pt x="41" y="128"/>
                    </a:lnTo>
                    <a:lnTo>
                      <a:pt x="41" y="130"/>
                    </a:lnTo>
                    <a:lnTo>
                      <a:pt x="41" y="131"/>
                    </a:lnTo>
                    <a:lnTo>
                      <a:pt x="39" y="133"/>
                    </a:lnTo>
                    <a:lnTo>
                      <a:pt x="38" y="133"/>
                    </a:lnTo>
                    <a:lnTo>
                      <a:pt x="38" y="135"/>
                    </a:lnTo>
                    <a:lnTo>
                      <a:pt x="36" y="135"/>
                    </a:lnTo>
                    <a:lnTo>
                      <a:pt x="36" y="136"/>
                    </a:lnTo>
                    <a:lnTo>
                      <a:pt x="34" y="135"/>
                    </a:lnTo>
                    <a:lnTo>
                      <a:pt x="33" y="135"/>
                    </a:lnTo>
                    <a:lnTo>
                      <a:pt x="31" y="135"/>
                    </a:lnTo>
                    <a:lnTo>
                      <a:pt x="31" y="136"/>
                    </a:lnTo>
                    <a:lnTo>
                      <a:pt x="29" y="136"/>
                    </a:lnTo>
                    <a:lnTo>
                      <a:pt x="29" y="138"/>
                    </a:lnTo>
                    <a:lnTo>
                      <a:pt x="31" y="138"/>
                    </a:lnTo>
                    <a:lnTo>
                      <a:pt x="29" y="140"/>
                    </a:lnTo>
                    <a:lnTo>
                      <a:pt x="31" y="140"/>
                    </a:lnTo>
                    <a:lnTo>
                      <a:pt x="31" y="141"/>
                    </a:lnTo>
                    <a:lnTo>
                      <a:pt x="33" y="143"/>
                    </a:lnTo>
                    <a:lnTo>
                      <a:pt x="33" y="141"/>
                    </a:lnTo>
                    <a:lnTo>
                      <a:pt x="34" y="143"/>
                    </a:lnTo>
                    <a:lnTo>
                      <a:pt x="34" y="141"/>
                    </a:lnTo>
                    <a:lnTo>
                      <a:pt x="36" y="141"/>
                    </a:lnTo>
                    <a:lnTo>
                      <a:pt x="34" y="141"/>
                    </a:lnTo>
                    <a:lnTo>
                      <a:pt x="34" y="143"/>
                    </a:lnTo>
                    <a:lnTo>
                      <a:pt x="33" y="145"/>
                    </a:lnTo>
                    <a:lnTo>
                      <a:pt x="33" y="147"/>
                    </a:lnTo>
                    <a:lnTo>
                      <a:pt x="31" y="147"/>
                    </a:lnTo>
                    <a:lnTo>
                      <a:pt x="31" y="148"/>
                    </a:lnTo>
                    <a:lnTo>
                      <a:pt x="31" y="150"/>
                    </a:lnTo>
                    <a:lnTo>
                      <a:pt x="31" y="152"/>
                    </a:lnTo>
                    <a:lnTo>
                      <a:pt x="31" y="150"/>
                    </a:lnTo>
                    <a:lnTo>
                      <a:pt x="33" y="152"/>
                    </a:lnTo>
                    <a:lnTo>
                      <a:pt x="34" y="152"/>
                    </a:lnTo>
                    <a:lnTo>
                      <a:pt x="34" y="150"/>
                    </a:lnTo>
                    <a:lnTo>
                      <a:pt x="36" y="150"/>
                    </a:lnTo>
                    <a:lnTo>
                      <a:pt x="36" y="148"/>
                    </a:lnTo>
                    <a:lnTo>
                      <a:pt x="38" y="148"/>
                    </a:lnTo>
                    <a:lnTo>
                      <a:pt x="38" y="147"/>
                    </a:lnTo>
                    <a:lnTo>
                      <a:pt x="39" y="147"/>
                    </a:lnTo>
                    <a:lnTo>
                      <a:pt x="39" y="145"/>
                    </a:lnTo>
                    <a:lnTo>
                      <a:pt x="41" y="145"/>
                    </a:lnTo>
                    <a:lnTo>
                      <a:pt x="43" y="145"/>
                    </a:lnTo>
                    <a:lnTo>
                      <a:pt x="44" y="145"/>
                    </a:lnTo>
                    <a:lnTo>
                      <a:pt x="44" y="147"/>
                    </a:lnTo>
                    <a:lnTo>
                      <a:pt x="46" y="148"/>
                    </a:lnTo>
                    <a:lnTo>
                      <a:pt x="48" y="148"/>
                    </a:lnTo>
                    <a:lnTo>
                      <a:pt x="50" y="148"/>
                    </a:lnTo>
                    <a:lnTo>
                      <a:pt x="51" y="150"/>
                    </a:lnTo>
                    <a:lnTo>
                      <a:pt x="51" y="152"/>
                    </a:lnTo>
                    <a:lnTo>
                      <a:pt x="53" y="152"/>
                    </a:lnTo>
                    <a:lnTo>
                      <a:pt x="55" y="152"/>
                    </a:lnTo>
                    <a:lnTo>
                      <a:pt x="56" y="152"/>
                    </a:lnTo>
                    <a:lnTo>
                      <a:pt x="56" y="150"/>
                    </a:lnTo>
                    <a:lnTo>
                      <a:pt x="58" y="150"/>
                    </a:lnTo>
                    <a:lnTo>
                      <a:pt x="60" y="150"/>
                    </a:lnTo>
                    <a:lnTo>
                      <a:pt x="60" y="152"/>
                    </a:lnTo>
                    <a:lnTo>
                      <a:pt x="61" y="152"/>
                    </a:lnTo>
                    <a:lnTo>
                      <a:pt x="61" y="153"/>
                    </a:lnTo>
                    <a:lnTo>
                      <a:pt x="61" y="152"/>
                    </a:lnTo>
                    <a:lnTo>
                      <a:pt x="63" y="153"/>
                    </a:lnTo>
                    <a:lnTo>
                      <a:pt x="63" y="155"/>
                    </a:lnTo>
                    <a:lnTo>
                      <a:pt x="63" y="157"/>
                    </a:lnTo>
                    <a:lnTo>
                      <a:pt x="65" y="159"/>
                    </a:lnTo>
                    <a:lnTo>
                      <a:pt x="65" y="160"/>
                    </a:lnTo>
                    <a:lnTo>
                      <a:pt x="65" y="162"/>
                    </a:lnTo>
                    <a:lnTo>
                      <a:pt x="67" y="164"/>
                    </a:lnTo>
                    <a:lnTo>
                      <a:pt x="68" y="165"/>
                    </a:lnTo>
                    <a:lnTo>
                      <a:pt x="70" y="165"/>
                    </a:lnTo>
                    <a:lnTo>
                      <a:pt x="70" y="167"/>
                    </a:lnTo>
                    <a:lnTo>
                      <a:pt x="72" y="167"/>
                    </a:lnTo>
                    <a:lnTo>
                      <a:pt x="73" y="167"/>
                    </a:lnTo>
                    <a:lnTo>
                      <a:pt x="75" y="167"/>
                    </a:lnTo>
                    <a:lnTo>
                      <a:pt x="75" y="169"/>
                    </a:lnTo>
                    <a:lnTo>
                      <a:pt x="77" y="169"/>
                    </a:lnTo>
                    <a:lnTo>
                      <a:pt x="78" y="169"/>
                    </a:lnTo>
                    <a:lnTo>
                      <a:pt x="80" y="169"/>
                    </a:lnTo>
                    <a:lnTo>
                      <a:pt x="80" y="167"/>
                    </a:lnTo>
                    <a:lnTo>
                      <a:pt x="80" y="165"/>
                    </a:lnTo>
                    <a:lnTo>
                      <a:pt x="82" y="165"/>
                    </a:lnTo>
                    <a:lnTo>
                      <a:pt x="84" y="165"/>
                    </a:lnTo>
                    <a:lnTo>
                      <a:pt x="82" y="164"/>
                    </a:lnTo>
                    <a:lnTo>
                      <a:pt x="84" y="164"/>
                    </a:lnTo>
                    <a:lnTo>
                      <a:pt x="84" y="162"/>
                    </a:lnTo>
                    <a:lnTo>
                      <a:pt x="82" y="162"/>
                    </a:lnTo>
                    <a:lnTo>
                      <a:pt x="84" y="162"/>
                    </a:lnTo>
                    <a:lnTo>
                      <a:pt x="84" y="160"/>
                    </a:lnTo>
                    <a:lnTo>
                      <a:pt x="84" y="159"/>
                    </a:lnTo>
                    <a:lnTo>
                      <a:pt x="85" y="157"/>
                    </a:lnTo>
                    <a:lnTo>
                      <a:pt x="87" y="157"/>
                    </a:lnTo>
                    <a:lnTo>
                      <a:pt x="89" y="157"/>
                    </a:lnTo>
                    <a:lnTo>
                      <a:pt x="90" y="155"/>
                    </a:lnTo>
                    <a:lnTo>
                      <a:pt x="90" y="153"/>
                    </a:lnTo>
                    <a:lnTo>
                      <a:pt x="92" y="152"/>
                    </a:lnTo>
                    <a:lnTo>
                      <a:pt x="92" y="150"/>
                    </a:lnTo>
                    <a:lnTo>
                      <a:pt x="94" y="150"/>
                    </a:lnTo>
                    <a:lnTo>
                      <a:pt x="92" y="148"/>
                    </a:lnTo>
                    <a:lnTo>
                      <a:pt x="92" y="147"/>
                    </a:lnTo>
                    <a:lnTo>
                      <a:pt x="92" y="145"/>
                    </a:lnTo>
                    <a:lnTo>
                      <a:pt x="94" y="143"/>
                    </a:lnTo>
                    <a:lnTo>
                      <a:pt x="92" y="143"/>
                    </a:lnTo>
                    <a:lnTo>
                      <a:pt x="92" y="141"/>
                    </a:lnTo>
                    <a:lnTo>
                      <a:pt x="94" y="141"/>
                    </a:lnTo>
                    <a:lnTo>
                      <a:pt x="94" y="140"/>
                    </a:lnTo>
                    <a:lnTo>
                      <a:pt x="94" y="138"/>
                    </a:lnTo>
                    <a:lnTo>
                      <a:pt x="95" y="138"/>
                    </a:lnTo>
                    <a:lnTo>
                      <a:pt x="95" y="136"/>
                    </a:lnTo>
                    <a:lnTo>
                      <a:pt x="94" y="136"/>
                    </a:lnTo>
                    <a:lnTo>
                      <a:pt x="94" y="135"/>
                    </a:lnTo>
                    <a:lnTo>
                      <a:pt x="95" y="135"/>
                    </a:lnTo>
                    <a:lnTo>
                      <a:pt x="95" y="133"/>
                    </a:lnTo>
                    <a:lnTo>
                      <a:pt x="97" y="133"/>
                    </a:lnTo>
                    <a:lnTo>
                      <a:pt x="97" y="131"/>
                    </a:lnTo>
                    <a:lnTo>
                      <a:pt x="97" y="130"/>
                    </a:lnTo>
                    <a:lnTo>
                      <a:pt x="99" y="130"/>
                    </a:lnTo>
                    <a:lnTo>
                      <a:pt x="99" y="128"/>
                    </a:lnTo>
                    <a:lnTo>
                      <a:pt x="99" y="126"/>
                    </a:lnTo>
                    <a:lnTo>
                      <a:pt x="99" y="124"/>
                    </a:lnTo>
                    <a:lnTo>
                      <a:pt x="101" y="124"/>
                    </a:lnTo>
                    <a:lnTo>
                      <a:pt x="101" y="123"/>
                    </a:lnTo>
                    <a:lnTo>
                      <a:pt x="99" y="123"/>
                    </a:lnTo>
                    <a:lnTo>
                      <a:pt x="101" y="123"/>
                    </a:lnTo>
                    <a:lnTo>
                      <a:pt x="101" y="121"/>
                    </a:lnTo>
                    <a:lnTo>
                      <a:pt x="101" y="119"/>
                    </a:lnTo>
                    <a:lnTo>
                      <a:pt x="101" y="118"/>
                    </a:lnTo>
                    <a:lnTo>
                      <a:pt x="101" y="116"/>
                    </a:lnTo>
                    <a:lnTo>
                      <a:pt x="102" y="116"/>
                    </a:lnTo>
                    <a:lnTo>
                      <a:pt x="101" y="114"/>
                    </a:lnTo>
                    <a:lnTo>
                      <a:pt x="102" y="114"/>
                    </a:lnTo>
                    <a:lnTo>
                      <a:pt x="101" y="114"/>
                    </a:lnTo>
                    <a:lnTo>
                      <a:pt x="102" y="114"/>
                    </a:lnTo>
                    <a:lnTo>
                      <a:pt x="104" y="114"/>
                    </a:lnTo>
                    <a:lnTo>
                      <a:pt x="106" y="114"/>
                    </a:lnTo>
                    <a:lnTo>
                      <a:pt x="106" y="116"/>
                    </a:lnTo>
                    <a:lnTo>
                      <a:pt x="106" y="118"/>
                    </a:lnTo>
                    <a:lnTo>
                      <a:pt x="107" y="118"/>
                    </a:lnTo>
                    <a:lnTo>
                      <a:pt x="109" y="118"/>
                    </a:lnTo>
                    <a:lnTo>
                      <a:pt x="109" y="116"/>
                    </a:lnTo>
                    <a:lnTo>
                      <a:pt x="107" y="116"/>
                    </a:lnTo>
                    <a:lnTo>
                      <a:pt x="107" y="114"/>
                    </a:lnTo>
                    <a:lnTo>
                      <a:pt x="107" y="113"/>
                    </a:lnTo>
                    <a:lnTo>
                      <a:pt x="109" y="113"/>
                    </a:lnTo>
                    <a:lnTo>
                      <a:pt x="109" y="111"/>
                    </a:lnTo>
                    <a:lnTo>
                      <a:pt x="111" y="109"/>
                    </a:lnTo>
                    <a:lnTo>
                      <a:pt x="111" y="107"/>
                    </a:lnTo>
                    <a:lnTo>
                      <a:pt x="112" y="107"/>
                    </a:lnTo>
                    <a:lnTo>
                      <a:pt x="112" y="106"/>
                    </a:lnTo>
                    <a:lnTo>
                      <a:pt x="114" y="106"/>
                    </a:lnTo>
                    <a:lnTo>
                      <a:pt x="114" y="104"/>
                    </a:lnTo>
                    <a:lnTo>
                      <a:pt x="116" y="104"/>
                    </a:lnTo>
                    <a:lnTo>
                      <a:pt x="119" y="101"/>
                    </a:lnTo>
                    <a:lnTo>
                      <a:pt x="123" y="99"/>
                    </a:lnTo>
                    <a:lnTo>
                      <a:pt x="128" y="99"/>
                    </a:lnTo>
                    <a:lnTo>
                      <a:pt x="141" y="94"/>
                    </a:lnTo>
                    <a:lnTo>
                      <a:pt x="153" y="89"/>
                    </a:lnTo>
                    <a:lnTo>
                      <a:pt x="155" y="89"/>
                    </a:lnTo>
                    <a:lnTo>
                      <a:pt x="157" y="89"/>
                    </a:lnTo>
                    <a:lnTo>
                      <a:pt x="158" y="87"/>
                    </a:lnTo>
                    <a:lnTo>
                      <a:pt x="160" y="87"/>
                    </a:lnTo>
                    <a:lnTo>
                      <a:pt x="162" y="85"/>
                    </a:lnTo>
                    <a:lnTo>
                      <a:pt x="163" y="85"/>
                    </a:lnTo>
                    <a:lnTo>
                      <a:pt x="165" y="82"/>
                    </a:lnTo>
                    <a:lnTo>
                      <a:pt x="167" y="80"/>
                    </a:lnTo>
                    <a:lnTo>
                      <a:pt x="170" y="79"/>
                    </a:lnTo>
                    <a:lnTo>
                      <a:pt x="175" y="75"/>
                    </a:lnTo>
                    <a:lnTo>
                      <a:pt x="179" y="73"/>
                    </a:lnTo>
                    <a:lnTo>
                      <a:pt x="179" y="72"/>
                    </a:lnTo>
                    <a:lnTo>
                      <a:pt x="180" y="70"/>
                    </a:lnTo>
                    <a:lnTo>
                      <a:pt x="184" y="65"/>
                    </a:lnTo>
                    <a:lnTo>
                      <a:pt x="187" y="62"/>
                    </a:lnTo>
                    <a:lnTo>
                      <a:pt x="187" y="60"/>
                    </a:lnTo>
                    <a:lnTo>
                      <a:pt x="191" y="58"/>
                    </a:lnTo>
                    <a:lnTo>
                      <a:pt x="192" y="55"/>
                    </a:lnTo>
                    <a:lnTo>
                      <a:pt x="194" y="53"/>
                    </a:lnTo>
                    <a:lnTo>
                      <a:pt x="194" y="51"/>
                    </a:lnTo>
                    <a:lnTo>
                      <a:pt x="196" y="53"/>
                    </a:lnTo>
                    <a:lnTo>
                      <a:pt x="196" y="51"/>
                    </a:lnTo>
                    <a:lnTo>
                      <a:pt x="196" y="50"/>
                    </a:lnTo>
                    <a:lnTo>
                      <a:pt x="197" y="48"/>
                    </a:lnTo>
                    <a:lnTo>
                      <a:pt x="199" y="41"/>
                    </a:lnTo>
                    <a:lnTo>
                      <a:pt x="199" y="39"/>
                    </a:lnTo>
                    <a:lnTo>
                      <a:pt x="201" y="33"/>
                    </a:lnTo>
                    <a:lnTo>
                      <a:pt x="201" y="31"/>
                    </a:lnTo>
                    <a:lnTo>
                      <a:pt x="203" y="31"/>
                    </a:lnTo>
                    <a:lnTo>
                      <a:pt x="203" y="33"/>
                    </a:lnTo>
                    <a:lnTo>
                      <a:pt x="204" y="33"/>
                    </a:lnTo>
                    <a:lnTo>
                      <a:pt x="206" y="33"/>
                    </a:lnTo>
                    <a:lnTo>
                      <a:pt x="208" y="33"/>
                    </a:lnTo>
                    <a:lnTo>
                      <a:pt x="206" y="31"/>
                    </a:lnTo>
                    <a:lnTo>
                      <a:pt x="208" y="31"/>
                    </a:lnTo>
                    <a:lnTo>
                      <a:pt x="208" y="29"/>
                    </a:lnTo>
                    <a:lnTo>
                      <a:pt x="206" y="29"/>
                    </a:lnTo>
                    <a:lnTo>
                      <a:pt x="206" y="28"/>
                    </a:lnTo>
                    <a:lnTo>
                      <a:pt x="206" y="26"/>
                    </a:lnTo>
                    <a:lnTo>
                      <a:pt x="206" y="24"/>
                    </a:lnTo>
                    <a:lnTo>
                      <a:pt x="206" y="22"/>
                    </a:lnTo>
                    <a:lnTo>
                      <a:pt x="206" y="21"/>
                    </a:lnTo>
                    <a:lnTo>
                      <a:pt x="206" y="22"/>
                    </a:lnTo>
                    <a:lnTo>
                      <a:pt x="206" y="21"/>
                    </a:lnTo>
                    <a:lnTo>
                      <a:pt x="206" y="22"/>
                    </a:lnTo>
                    <a:lnTo>
                      <a:pt x="208" y="21"/>
                    </a:lnTo>
                    <a:lnTo>
                      <a:pt x="206" y="21"/>
                    </a:lnTo>
                    <a:lnTo>
                      <a:pt x="206" y="19"/>
                    </a:lnTo>
                    <a:lnTo>
                      <a:pt x="208" y="19"/>
                    </a:lnTo>
                    <a:lnTo>
                      <a:pt x="206" y="19"/>
                    </a:lnTo>
                    <a:lnTo>
                      <a:pt x="206" y="17"/>
                    </a:lnTo>
                    <a:lnTo>
                      <a:pt x="204" y="17"/>
                    </a:lnTo>
                    <a:lnTo>
                      <a:pt x="204" y="16"/>
                    </a:lnTo>
                    <a:lnTo>
                      <a:pt x="203" y="16"/>
                    </a:lnTo>
                    <a:lnTo>
                      <a:pt x="201" y="14"/>
                    </a:lnTo>
                    <a:lnTo>
                      <a:pt x="201" y="12"/>
                    </a:lnTo>
                    <a:lnTo>
                      <a:pt x="199" y="12"/>
                    </a:lnTo>
                    <a:lnTo>
                      <a:pt x="199" y="11"/>
                    </a:lnTo>
                    <a:lnTo>
                      <a:pt x="199" y="9"/>
                    </a:lnTo>
                    <a:lnTo>
                      <a:pt x="197" y="9"/>
                    </a:lnTo>
                    <a:lnTo>
                      <a:pt x="199" y="9"/>
                    </a:lnTo>
                    <a:lnTo>
                      <a:pt x="197" y="7"/>
                    </a:lnTo>
                    <a:lnTo>
                      <a:pt x="196" y="7"/>
                    </a:lnTo>
                    <a:lnTo>
                      <a:pt x="196" y="5"/>
                    </a:lnTo>
                    <a:lnTo>
                      <a:pt x="194" y="5"/>
                    </a:lnTo>
                    <a:lnTo>
                      <a:pt x="194" y="4"/>
                    </a:lnTo>
                    <a:lnTo>
                      <a:pt x="196" y="4"/>
                    </a:lnTo>
                    <a:lnTo>
                      <a:pt x="197" y="4"/>
                    </a:lnTo>
                    <a:lnTo>
                      <a:pt x="199" y="4"/>
                    </a:lnTo>
                    <a:lnTo>
                      <a:pt x="199" y="5"/>
                    </a:lnTo>
                    <a:lnTo>
                      <a:pt x="201" y="5"/>
                    </a:lnTo>
                    <a:lnTo>
                      <a:pt x="203" y="5"/>
                    </a:lnTo>
                    <a:lnTo>
                      <a:pt x="204" y="5"/>
                    </a:lnTo>
                    <a:lnTo>
                      <a:pt x="206" y="4"/>
                    </a:lnTo>
                    <a:lnTo>
                      <a:pt x="208" y="2"/>
                    </a:lnTo>
                    <a:lnTo>
                      <a:pt x="208" y="0"/>
                    </a:lnTo>
                    <a:lnTo>
                      <a:pt x="208" y="2"/>
                    </a:lnTo>
                    <a:lnTo>
                      <a:pt x="209" y="2"/>
                    </a:lnTo>
                    <a:lnTo>
                      <a:pt x="211" y="2"/>
                    </a:lnTo>
                    <a:lnTo>
                      <a:pt x="213" y="4"/>
                    </a:lnTo>
                    <a:lnTo>
                      <a:pt x="214" y="5"/>
                    </a:lnTo>
                    <a:lnTo>
                      <a:pt x="216" y="5"/>
                    </a:lnTo>
                    <a:lnTo>
                      <a:pt x="216" y="7"/>
                    </a:lnTo>
                    <a:lnTo>
                      <a:pt x="218" y="7"/>
                    </a:lnTo>
                    <a:lnTo>
                      <a:pt x="218" y="9"/>
                    </a:lnTo>
                    <a:lnTo>
                      <a:pt x="220" y="7"/>
                    </a:lnTo>
                    <a:lnTo>
                      <a:pt x="221" y="7"/>
                    </a:lnTo>
                    <a:lnTo>
                      <a:pt x="221" y="5"/>
                    </a:lnTo>
                    <a:lnTo>
                      <a:pt x="221" y="7"/>
                    </a:lnTo>
                    <a:lnTo>
                      <a:pt x="223" y="7"/>
                    </a:lnTo>
                    <a:lnTo>
                      <a:pt x="223" y="9"/>
                    </a:lnTo>
                    <a:lnTo>
                      <a:pt x="223" y="11"/>
                    </a:lnTo>
                    <a:lnTo>
                      <a:pt x="223" y="12"/>
                    </a:lnTo>
                    <a:lnTo>
                      <a:pt x="225" y="12"/>
                    </a:lnTo>
                    <a:lnTo>
                      <a:pt x="225" y="11"/>
                    </a:lnTo>
                    <a:lnTo>
                      <a:pt x="225" y="12"/>
                    </a:lnTo>
                    <a:lnTo>
                      <a:pt x="226" y="12"/>
                    </a:lnTo>
                    <a:lnTo>
                      <a:pt x="228" y="12"/>
                    </a:lnTo>
                    <a:lnTo>
                      <a:pt x="230" y="14"/>
                    </a:lnTo>
                    <a:lnTo>
                      <a:pt x="230" y="16"/>
                    </a:lnTo>
                    <a:lnTo>
                      <a:pt x="231" y="16"/>
                    </a:lnTo>
                    <a:lnTo>
                      <a:pt x="233" y="16"/>
                    </a:lnTo>
                    <a:lnTo>
                      <a:pt x="233" y="17"/>
                    </a:lnTo>
                    <a:lnTo>
                      <a:pt x="235" y="17"/>
                    </a:lnTo>
                    <a:lnTo>
                      <a:pt x="233" y="17"/>
                    </a:lnTo>
                    <a:lnTo>
                      <a:pt x="233" y="19"/>
                    </a:lnTo>
                    <a:lnTo>
                      <a:pt x="235" y="19"/>
                    </a:lnTo>
                    <a:lnTo>
                      <a:pt x="235" y="17"/>
                    </a:lnTo>
                    <a:lnTo>
                      <a:pt x="235" y="19"/>
                    </a:lnTo>
                    <a:lnTo>
                      <a:pt x="235" y="21"/>
                    </a:lnTo>
                    <a:lnTo>
                      <a:pt x="237" y="21"/>
                    </a:lnTo>
                    <a:lnTo>
                      <a:pt x="235" y="22"/>
                    </a:lnTo>
                    <a:lnTo>
                      <a:pt x="237" y="22"/>
                    </a:lnTo>
                    <a:lnTo>
                      <a:pt x="237" y="24"/>
                    </a:lnTo>
                    <a:lnTo>
                      <a:pt x="235" y="24"/>
                    </a:lnTo>
                    <a:lnTo>
                      <a:pt x="237" y="24"/>
                    </a:lnTo>
                    <a:lnTo>
                      <a:pt x="237" y="26"/>
                    </a:lnTo>
                    <a:lnTo>
                      <a:pt x="238" y="26"/>
                    </a:lnTo>
                    <a:lnTo>
                      <a:pt x="238" y="28"/>
                    </a:lnTo>
                    <a:lnTo>
                      <a:pt x="240" y="28"/>
                    </a:lnTo>
                    <a:lnTo>
                      <a:pt x="238" y="29"/>
                    </a:lnTo>
                    <a:lnTo>
                      <a:pt x="240" y="29"/>
                    </a:lnTo>
                    <a:lnTo>
                      <a:pt x="238" y="29"/>
                    </a:lnTo>
                    <a:lnTo>
                      <a:pt x="238" y="31"/>
                    </a:lnTo>
                    <a:lnTo>
                      <a:pt x="238" y="29"/>
                    </a:lnTo>
                    <a:lnTo>
                      <a:pt x="238" y="31"/>
                    </a:lnTo>
                    <a:lnTo>
                      <a:pt x="240" y="31"/>
                    </a:lnTo>
                    <a:lnTo>
                      <a:pt x="240" y="33"/>
                    </a:lnTo>
                    <a:lnTo>
                      <a:pt x="238" y="33"/>
                    </a:lnTo>
                    <a:lnTo>
                      <a:pt x="240" y="33"/>
                    </a:lnTo>
                    <a:lnTo>
                      <a:pt x="240" y="34"/>
                    </a:lnTo>
                    <a:lnTo>
                      <a:pt x="242" y="34"/>
                    </a:lnTo>
                    <a:lnTo>
                      <a:pt x="243" y="34"/>
                    </a:lnTo>
                    <a:lnTo>
                      <a:pt x="245" y="34"/>
                    </a:lnTo>
                    <a:lnTo>
                      <a:pt x="245" y="36"/>
                    </a:lnTo>
                    <a:lnTo>
                      <a:pt x="247" y="36"/>
                    </a:lnTo>
                    <a:lnTo>
                      <a:pt x="247" y="34"/>
                    </a:lnTo>
                    <a:lnTo>
                      <a:pt x="248" y="34"/>
                    </a:lnTo>
                    <a:lnTo>
                      <a:pt x="247" y="34"/>
                    </a:lnTo>
                    <a:lnTo>
                      <a:pt x="247" y="36"/>
                    </a:lnTo>
                    <a:lnTo>
                      <a:pt x="248" y="36"/>
                    </a:lnTo>
                    <a:lnTo>
                      <a:pt x="248" y="38"/>
                    </a:lnTo>
                    <a:lnTo>
                      <a:pt x="248" y="36"/>
                    </a:lnTo>
                    <a:lnTo>
                      <a:pt x="250" y="36"/>
                    </a:lnTo>
                    <a:lnTo>
                      <a:pt x="250" y="38"/>
                    </a:lnTo>
                    <a:lnTo>
                      <a:pt x="252" y="38"/>
                    </a:lnTo>
                    <a:lnTo>
                      <a:pt x="252" y="39"/>
                    </a:lnTo>
                    <a:lnTo>
                      <a:pt x="252" y="41"/>
                    </a:lnTo>
                    <a:lnTo>
                      <a:pt x="254" y="41"/>
                    </a:lnTo>
                    <a:lnTo>
                      <a:pt x="255" y="43"/>
                    </a:lnTo>
                    <a:lnTo>
                      <a:pt x="255" y="41"/>
                    </a:lnTo>
                    <a:lnTo>
                      <a:pt x="255" y="43"/>
                    </a:lnTo>
                    <a:lnTo>
                      <a:pt x="257" y="43"/>
                    </a:lnTo>
                    <a:lnTo>
                      <a:pt x="257" y="41"/>
                    </a:lnTo>
                    <a:lnTo>
                      <a:pt x="259" y="43"/>
                    </a:lnTo>
                    <a:lnTo>
                      <a:pt x="259" y="41"/>
                    </a:lnTo>
                    <a:lnTo>
                      <a:pt x="260" y="43"/>
                    </a:lnTo>
                    <a:lnTo>
                      <a:pt x="262" y="45"/>
                    </a:lnTo>
                    <a:lnTo>
                      <a:pt x="262" y="46"/>
                    </a:lnTo>
                    <a:lnTo>
                      <a:pt x="264" y="46"/>
                    </a:lnTo>
                    <a:lnTo>
                      <a:pt x="264" y="48"/>
                    </a:lnTo>
                    <a:lnTo>
                      <a:pt x="262" y="48"/>
                    </a:lnTo>
                    <a:lnTo>
                      <a:pt x="264" y="48"/>
                    </a:lnTo>
                    <a:lnTo>
                      <a:pt x="264" y="50"/>
                    </a:lnTo>
                    <a:lnTo>
                      <a:pt x="265" y="50"/>
                    </a:lnTo>
                    <a:lnTo>
                      <a:pt x="265" y="51"/>
                    </a:lnTo>
                    <a:lnTo>
                      <a:pt x="265" y="53"/>
                    </a:lnTo>
                    <a:lnTo>
                      <a:pt x="267" y="53"/>
                    </a:lnTo>
                    <a:lnTo>
                      <a:pt x="265" y="53"/>
                    </a:lnTo>
                    <a:lnTo>
                      <a:pt x="265" y="55"/>
                    </a:lnTo>
                    <a:lnTo>
                      <a:pt x="265" y="56"/>
                    </a:lnTo>
                    <a:lnTo>
                      <a:pt x="264" y="56"/>
                    </a:lnTo>
                    <a:lnTo>
                      <a:pt x="264" y="58"/>
                    </a:lnTo>
                    <a:lnTo>
                      <a:pt x="265" y="58"/>
                    </a:lnTo>
                    <a:lnTo>
                      <a:pt x="267" y="58"/>
                    </a:lnTo>
                    <a:lnTo>
                      <a:pt x="267" y="60"/>
                    </a:lnTo>
                    <a:lnTo>
                      <a:pt x="269" y="60"/>
                    </a:lnTo>
                    <a:lnTo>
                      <a:pt x="271" y="60"/>
                    </a:lnTo>
                    <a:lnTo>
                      <a:pt x="271" y="62"/>
                    </a:lnTo>
                    <a:lnTo>
                      <a:pt x="272" y="62"/>
                    </a:lnTo>
                    <a:lnTo>
                      <a:pt x="272" y="60"/>
                    </a:lnTo>
                    <a:lnTo>
                      <a:pt x="274" y="60"/>
                    </a:lnTo>
                    <a:lnTo>
                      <a:pt x="274" y="62"/>
                    </a:lnTo>
                    <a:lnTo>
                      <a:pt x="274" y="60"/>
                    </a:lnTo>
                    <a:lnTo>
                      <a:pt x="274" y="58"/>
                    </a:lnTo>
                    <a:lnTo>
                      <a:pt x="276" y="60"/>
                    </a:lnTo>
                    <a:lnTo>
                      <a:pt x="277" y="62"/>
                    </a:lnTo>
                    <a:lnTo>
                      <a:pt x="277" y="63"/>
                    </a:lnTo>
                    <a:lnTo>
                      <a:pt x="279" y="63"/>
                    </a:lnTo>
                    <a:lnTo>
                      <a:pt x="277" y="65"/>
                    </a:lnTo>
                    <a:lnTo>
                      <a:pt x="277" y="67"/>
                    </a:lnTo>
                    <a:lnTo>
                      <a:pt x="277" y="68"/>
                    </a:lnTo>
                    <a:lnTo>
                      <a:pt x="279" y="68"/>
                    </a:lnTo>
                    <a:lnTo>
                      <a:pt x="279" y="70"/>
                    </a:lnTo>
                    <a:lnTo>
                      <a:pt x="279" y="72"/>
                    </a:lnTo>
                    <a:lnTo>
                      <a:pt x="277" y="72"/>
                    </a:lnTo>
                    <a:lnTo>
                      <a:pt x="277" y="73"/>
                    </a:lnTo>
                    <a:lnTo>
                      <a:pt x="276" y="73"/>
                    </a:lnTo>
                    <a:lnTo>
                      <a:pt x="276" y="75"/>
                    </a:lnTo>
                    <a:lnTo>
                      <a:pt x="277" y="77"/>
                    </a:lnTo>
                    <a:lnTo>
                      <a:pt x="277" y="79"/>
                    </a:lnTo>
                    <a:lnTo>
                      <a:pt x="279" y="79"/>
                    </a:lnTo>
                    <a:lnTo>
                      <a:pt x="279" y="80"/>
                    </a:lnTo>
                    <a:lnTo>
                      <a:pt x="281" y="79"/>
                    </a:lnTo>
                    <a:lnTo>
                      <a:pt x="282" y="80"/>
                    </a:lnTo>
                    <a:lnTo>
                      <a:pt x="282" y="79"/>
                    </a:lnTo>
                    <a:lnTo>
                      <a:pt x="282" y="80"/>
                    </a:lnTo>
                    <a:lnTo>
                      <a:pt x="284" y="80"/>
                    </a:lnTo>
                    <a:lnTo>
                      <a:pt x="284" y="82"/>
                    </a:lnTo>
                    <a:lnTo>
                      <a:pt x="286" y="82"/>
                    </a:lnTo>
                    <a:lnTo>
                      <a:pt x="288" y="82"/>
                    </a:lnTo>
                    <a:lnTo>
                      <a:pt x="289" y="82"/>
                    </a:lnTo>
                    <a:lnTo>
                      <a:pt x="289" y="80"/>
                    </a:lnTo>
                    <a:lnTo>
                      <a:pt x="291" y="80"/>
                    </a:lnTo>
                    <a:lnTo>
                      <a:pt x="291" y="82"/>
                    </a:lnTo>
                    <a:lnTo>
                      <a:pt x="291" y="80"/>
                    </a:lnTo>
                    <a:lnTo>
                      <a:pt x="293" y="82"/>
                    </a:lnTo>
                    <a:lnTo>
                      <a:pt x="294" y="82"/>
                    </a:lnTo>
                    <a:lnTo>
                      <a:pt x="294" y="80"/>
                    </a:lnTo>
                    <a:lnTo>
                      <a:pt x="296" y="80"/>
                    </a:lnTo>
                    <a:lnTo>
                      <a:pt x="298" y="80"/>
                    </a:lnTo>
                    <a:lnTo>
                      <a:pt x="298" y="82"/>
                    </a:lnTo>
                    <a:lnTo>
                      <a:pt x="299" y="82"/>
                    </a:lnTo>
                    <a:lnTo>
                      <a:pt x="301" y="82"/>
                    </a:lnTo>
                    <a:lnTo>
                      <a:pt x="303" y="82"/>
                    </a:lnTo>
                    <a:lnTo>
                      <a:pt x="303" y="84"/>
                    </a:lnTo>
                    <a:lnTo>
                      <a:pt x="305" y="84"/>
                    </a:lnTo>
                    <a:lnTo>
                      <a:pt x="306" y="84"/>
                    </a:lnTo>
                    <a:lnTo>
                      <a:pt x="306" y="82"/>
                    </a:lnTo>
                    <a:lnTo>
                      <a:pt x="306" y="84"/>
                    </a:lnTo>
                    <a:lnTo>
                      <a:pt x="306" y="82"/>
                    </a:lnTo>
                    <a:lnTo>
                      <a:pt x="308" y="82"/>
                    </a:lnTo>
                    <a:lnTo>
                      <a:pt x="310" y="82"/>
                    </a:lnTo>
                    <a:lnTo>
                      <a:pt x="310" y="84"/>
                    </a:lnTo>
                    <a:lnTo>
                      <a:pt x="311" y="84"/>
                    </a:lnTo>
                    <a:lnTo>
                      <a:pt x="311" y="82"/>
                    </a:lnTo>
                    <a:lnTo>
                      <a:pt x="311" y="80"/>
                    </a:lnTo>
                    <a:lnTo>
                      <a:pt x="313" y="80"/>
                    </a:lnTo>
                    <a:lnTo>
                      <a:pt x="313" y="79"/>
                    </a:lnTo>
                    <a:lnTo>
                      <a:pt x="315" y="79"/>
                    </a:lnTo>
                    <a:lnTo>
                      <a:pt x="315" y="80"/>
                    </a:lnTo>
                    <a:lnTo>
                      <a:pt x="316" y="80"/>
                    </a:lnTo>
                    <a:lnTo>
                      <a:pt x="318" y="80"/>
                    </a:lnTo>
                    <a:lnTo>
                      <a:pt x="318" y="79"/>
                    </a:lnTo>
                    <a:lnTo>
                      <a:pt x="320" y="79"/>
                    </a:lnTo>
                    <a:lnTo>
                      <a:pt x="320" y="77"/>
                    </a:lnTo>
                    <a:lnTo>
                      <a:pt x="320" y="75"/>
                    </a:lnTo>
                    <a:lnTo>
                      <a:pt x="322" y="75"/>
                    </a:lnTo>
                    <a:lnTo>
                      <a:pt x="322" y="73"/>
                    </a:lnTo>
                    <a:lnTo>
                      <a:pt x="322" y="75"/>
                    </a:lnTo>
                    <a:lnTo>
                      <a:pt x="323" y="73"/>
                    </a:lnTo>
                    <a:lnTo>
                      <a:pt x="325" y="72"/>
                    </a:lnTo>
                    <a:lnTo>
                      <a:pt x="325" y="73"/>
                    </a:lnTo>
                    <a:lnTo>
                      <a:pt x="325" y="75"/>
                    </a:lnTo>
                    <a:lnTo>
                      <a:pt x="327" y="75"/>
                    </a:lnTo>
                    <a:lnTo>
                      <a:pt x="327" y="73"/>
                    </a:lnTo>
                    <a:lnTo>
                      <a:pt x="328" y="73"/>
                    </a:lnTo>
                    <a:lnTo>
                      <a:pt x="328" y="75"/>
                    </a:lnTo>
                    <a:lnTo>
                      <a:pt x="330" y="75"/>
                    </a:lnTo>
                    <a:lnTo>
                      <a:pt x="332" y="75"/>
                    </a:lnTo>
                    <a:lnTo>
                      <a:pt x="332" y="77"/>
                    </a:lnTo>
                    <a:lnTo>
                      <a:pt x="332" y="79"/>
                    </a:lnTo>
                    <a:lnTo>
                      <a:pt x="333" y="79"/>
                    </a:lnTo>
                    <a:lnTo>
                      <a:pt x="333" y="77"/>
                    </a:lnTo>
                    <a:lnTo>
                      <a:pt x="335" y="77"/>
                    </a:lnTo>
                    <a:lnTo>
                      <a:pt x="335" y="79"/>
                    </a:lnTo>
                    <a:lnTo>
                      <a:pt x="337" y="79"/>
                    </a:lnTo>
                    <a:lnTo>
                      <a:pt x="337" y="80"/>
                    </a:lnTo>
                    <a:lnTo>
                      <a:pt x="335" y="80"/>
                    </a:lnTo>
                    <a:lnTo>
                      <a:pt x="337" y="82"/>
                    </a:lnTo>
                    <a:lnTo>
                      <a:pt x="337" y="80"/>
                    </a:lnTo>
                    <a:lnTo>
                      <a:pt x="339" y="80"/>
                    </a:lnTo>
                    <a:lnTo>
                      <a:pt x="339" y="79"/>
                    </a:lnTo>
                    <a:lnTo>
                      <a:pt x="340" y="79"/>
                    </a:lnTo>
                    <a:lnTo>
                      <a:pt x="340" y="80"/>
                    </a:lnTo>
                    <a:lnTo>
                      <a:pt x="340" y="79"/>
                    </a:lnTo>
                    <a:lnTo>
                      <a:pt x="342" y="79"/>
                    </a:lnTo>
                    <a:lnTo>
                      <a:pt x="342" y="80"/>
                    </a:lnTo>
                    <a:lnTo>
                      <a:pt x="344" y="80"/>
                    </a:lnTo>
                    <a:lnTo>
                      <a:pt x="344" y="79"/>
                    </a:lnTo>
                    <a:lnTo>
                      <a:pt x="345" y="79"/>
                    </a:lnTo>
                    <a:lnTo>
                      <a:pt x="345" y="77"/>
                    </a:lnTo>
                    <a:lnTo>
                      <a:pt x="347" y="77"/>
                    </a:lnTo>
                    <a:lnTo>
                      <a:pt x="349" y="77"/>
                    </a:lnTo>
                    <a:lnTo>
                      <a:pt x="350" y="77"/>
                    </a:lnTo>
                    <a:lnTo>
                      <a:pt x="349" y="77"/>
                    </a:lnTo>
                    <a:lnTo>
                      <a:pt x="349" y="75"/>
                    </a:lnTo>
                    <a:lnTo>
                      <a:pt x="350" y="75"/>
                    </a:lnTo>
                    <a:lnTo>
                      <a:pt x="352" y="75"/>
                    </a:lnTo>
                    <a:lnTo>
                      <a:pt x="354" y="75"/>
                    </a:lnTo>
                    <a:lnTo>
                      <a:pt x="354" y="77"/>
                    </a:lnTo>
                    <a:lnTo>
                      <a:pt x="356" y="77"/>
                    </a:lnTo>
                    <a:lnTo>
                      <a:pt x="357" y="77"/>
                    </a:lnTo>
                    <a:lnTo>
                      <a:pt x="357" y="79"/>
                    </a:lnTo>
                    <a:lnTo>
                      <a:pt x="359" y="79"/>
                    </a:lnTo>
                    <a:lnTo>
                      <a:pt x="361" y="79"/>
                    </a:lnTo>
                    <a:lnTo>
                      <a:pt x="361" y="80"/>
                    </a:lnTo>
                    <a:lnTo>
                      <a:pt x="361" y="82"/>
                    </a:lnTo>
                    <a:lnTo>
                      <a:pt x="362" y="80"/>
                    </a:lnTo>
                    <a:lnTo>
                      <a:pt x="362" y="82"/>
                    </a:lnTo>
                    <a:lnTo>
                      <a:pt x="362" y="84"/>
                    </a:lnTo>
                    <a:lnTo>
                      <a:pt x="364" y="84"/>
                    </a:lnTo>
                    <a:lnTo>
                      <a:pt x="364" y="82"/>
                    </a:lnTo>
                    <a:lnTo>
                      <a:pt x="366" y="82"/>
                    </a:lnTo>
                    <a:lnTo>
                      <a:pt x="366" y="84"/>
                    </a:lnTo>
                    <a:lnTo>
                      <a:pt x="367" y="84"/>
                    </a:lnTo>
                    <a:lnTo>
                      <a:pt x="367" y="82"/>
                    </a:lnTo>
                    <a:lnTo>
                      <a:pt x="367" y="84"/>
                    </a:lnTo>
                    <a:lnTo>
                      <a:pt x="367" y="85"/>
                    </a:lnTo>
                    <a:lnTo>
                      <a:pt x="369" y="85"/>
                    </a:lnTo>
                    <a:lnTo>
                      <a:pt x="371" y="84"/>
                    </a:lnTo>
                    <a:lnTo>
                      <a:pt x="373" y="84"/>
                    </a:lnTo>
                    <a:lnTo>
                      <a:pt x="373" y="85"/>
                    </a:lnTo>
                    <a:lnTo>
                      <a:pt x="371" y="85"/>
                    </a:lnTo>
                    <a:lnTo>
                      <a:pt x="371" y="87"/>
                    </a:lnTo>
                    <a:lnTo>
                      <a:pt x="373" y="87"/>
                    </a:lnTo>
                    <a:lnTo>
                      <a:pt x="374" y="85"/>
                    </a:lnTo>
                    <a:lnTo>
                      <a:pt x="376" y="87"/>
                    </a:lnTo>
                    <a:lnTo>
                      <a:pt x="376" y="89"/>
                    </a:lnTo>
                    <a:lnTo>
                      <a:pt x="376" y="90"/>
                    </a:lnTo>
                    <a:lnTo>
                      <a:pt x="376" y="89"/>
                    </a:lnTo>
                    <a:lnTo>
                      <a:pt x="378" y="89"/>
                    </a:lnTo>
                    <a:lnTo>
                      <a:pt x="378" y="90"/>
                    </a:lnTo>
                    <a:lnTo>
                      <a:pt x="379" y="90"/>
                    </a:lnTo>
                    <a:lnTo>
                      <a:pt x="381" y="89"/>
                    </a:lnTo>
                    <a:lnTo>
                      <a:pt x="381" y="90"/>
                    </a:lnTo>
                    <a:lnTo>
                      <a:pt x="381" y="92"/>
                    </a:lnTo>
                    <a:lnTo>
                      <a:pt x="381" y="94"/>
                    </a:lnTo>
                    <a:lnTo>
                      <a:pt x="379" y="97"/>
                    </a:lnTo>
                    <a:lnTo>
                      <a:pt x="378" y="99"/>
                    </a:lnTo>
                    <a:lnTo>
                      <a:pt x="374" y="104"/>
                    </a:lnTo>
                    <a:lnTo>
                      <a:pt x="373" y="106"/>
                    </a:lnTo>
                    <a:lnTo>
                      <a:pt x="373" y="107"/>
                    </a:lnTo>
                    <a:lnTo>
                      <a:pt x="371" y="109"/>
                    </a:lnTo>
                    <a:lnTo>
                      <a:pt x="369" y="113"/>
                    </a:lnTo>
                    <a:lnTo>
                      <a:pt x="367" y="116"/>
                    </a:lnTo>
                    <a:lnTo>
                      <a:pt x="366" y="116"/>
                    </a:lnTo>
                    <a:lnTo>
                      <a:pt x="364" y="119"/>
                    </a:lnTo>
                    <a:lnTo>
                      <a:pt x="362" y="124"/>
                    </a:lnTo>
                    <a:lnTo>
                      <a:pt x="361" y="124"/>
                    </a:lnTo>
                    <a:lnTo>
                      <a:pt x="359" y="128"/>
                    </a:lnTo>
                    <a:lnTo>
                      <a:pt x="361" y="128"/>
                    </a:lnTo>
                    <a:lnTo>
                      <a:pt x="361" y="130"/>
                    </a:lnTo>
                    <a:lnTo>
                      <a:pt x="362" y="130"/>
                    </a:lnTo>
                    <a:lnTo>
                      <a:pt x="364" y="130"/>
                    </a:lnTo>
                    <a:lnTo>
                      <a:pt x="366" y="131"/>
                    </a:lnTo>
                    <a:lnTo>
                      <a:pt x="367" y="131"/>
                    </a:lnTo>
                    <a:lnTo>
                      <a:pt x="367" y="130"/>
                    </a:lnTo>
                    <a:lnTo>
                      <a:pt x="369" y="130"/>
                    </a:lnTo>
                    <a:lnTo>
                      <a:pt x="371" y="130"/>
                    </a:lnTo>
                    <a:lnTo>
                      <a:pt x="371" y="128"/>
                    </a:lnTo>
                    <a:lnTo>
                      <a:pt x="373" y="128"/>
                    </a:lnTo>
                    <a:lnTo>
                      <a:pt x="373" y="130"/>
                    </a:lnTo>
                    <a:lnTo>
                      <a:pt x="374" y="130"/>
                    </a:lnTo>
                    <a:lnTo>
                      <a:pt x="374" y="131"/>
                    </a:lnTo>
                    <a:lnTo>
                      <a:pt x="376" y="131"/>
                    </a:lnTo>
                    <a:lnTo>
                      <a:pt x="376" y="133"/>
                    </a:lnTo>
                    <a:lnTo>
                      <a:pt x="378" y="133"/>
                    </a:lnTo>
                    <a:lnTo>
                      <a:pt x="378" y="135"/>
                    </a:lnTo>
                    <a:lnTo>
                      <a:pt x="378" y="136"/>
                    </a:lnTo>
                    <a:lnTo>
                      <a:pt x="379" y="136"/>
                    </a:lnTo>
                    <a:lnTo>
                      <a:pt x="381" y="138"/>
                    </a:lnTo>
                    <a:lnTo>
                      <a:pt x="381" y="140"/>
                    </a:lnTo>
                    <a:lnTo>
                      <a:pt x="383" y="140"/>
                    </a:lnTo>
                    <a:lnTo>
                      <a:pt x="383" y="141"/>
                    </a:lnTo>
                    <a:lnTo>
                      <a:pt x="384" y="141"/>
                    </a:lnTo>
                    <a:lnTo>
                      <a:pt x="384" y="143"/>
                    </a:lnTo>
                    <a:close/>
                    <a:moveTo>
                      <a:pt x="138" y="410"/>
                    </a:moveTo>
                    <a:lnTo>
                      <a:pt x="141" y="410"/>
                    </a:lnTo>
                    <a:lnTo>
                      <a:pt x="141" y="412"/>
                    </a:lnTo>
                    <a:lnTo>
                      <a:pt x="138" y="412"/>
                    </a:lnTo>
                    <a:lnTo>
                      <a:pt x="138" y="410"/>
                    </a:lnTo>
                    <a:close/>
                    <a:moveTo>
                      <a:pt x="16" y="216"/>
                    </a:moveTo>
                    <a:lnTo>
                      <a:pt x="17" y="216"/>
                    </a:lnTo>
                    <a:lnTo>
                      <a:pt x="17" y="220"/>
                    </a:lnTo>
                    <a:lnTo>
                      <a:pt x="16" y="220"/>
                    </a:lnTo>
                    <a:lnTo>
                      <a:pt x="16" y="216"/>
                    </a:lnTo>
                    <a:close/>
                    <a:moveTo>
                      <a:pt x="174" y="487"/>
                    </a:moveTo>
                    <a:lnTo>
                      <a:pt x="175" y="487"/>
                    </a:lnTo>
                    <a:lnTo>
                      <a:pt x="175" y="489"/>
                    </a:lnTo>
                    <a:lnTo>
                      <a:pt x="174" y="489"/>
                    </a:lnTo>
                    <a:lnTo>
                      <a:pt x="174" y="487"/>
                    </a:lnTo>
                    <a:close/>
                    <a:moveTo>
                      <a:pt x="165" y="472"/>
                    </a:moveTo>
                    <a:lnTo>
                      <a:pt x="167" y="472"/>
                    </a:lnTo>
                    <a:lnTo>
                      <a:pt x="167" y="473"/>
                    </a:lnTo>
                    <a:lnTo>
                      <a:pt x="165" y="473"/>
                    </a:lnTo>
                    <a:lnTo>
                      <a:pt x="165" y="472"/>
                    </a:lnTo>
                    <a:close/>
                    <a:moveTo>
                      <a:pt x="36" y="116"/>
                    </a:moveTo>
                    <a:lnTo>
                      <a:pt x="38" y="116"/>
                    </a:lnTo>
                    <a:lnTo>
                      <a:pt x="36" y="116"/>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4" name="Freeform 52">
                <a:extLst>
                  <a:ext uri="{FF2B5EF4-FFF2-40B4-BE49-F238E27FC236}">
                    <a16:creationId xmlns:a16="http://schemas.microsoft.com/office/drawing/2014/main" id="{1B66D035-6CE8-AE7C-64FF-C9A61FD464A2}"/>
                  </a:ext>
                </a:extLst>
              </p:cNvPr>
              <p:cNvSpPr>
                <a:spLocks noEditPoints="1"/>
              </p:cNvSpPr>
              <p:nvPr/>
            </p:nvSpPr>
            <p:spPr bwMode="auto">
              <a:xfrm>
                <a:off x="5769041" y="2812899"/>
                <a:ext cx="3526" cy="8224"/>
              </a:xfrm>
              <a:custGeom>
                <a:avLst/>
                <a:gdLst>
                  <a:gd name="T0" fmla="*/ 10 w 12"/>
                  <a:gd name="T1" fmla="*/ 0 h 28"/>
                  <a:gd name="T2" fmla="*/ 12 w 12"/>
                  <a:gd name="T3" fmla="*/ 2 h 28"/>
                  <a:gd name="T4" fmla="*/ 12 w 12"/>
                  <a:gd name="T5" fmla="*/ 4 h 28"/>
                  <a:gd name="T6" fmla="*/ 12 w 12"/>
                  <a:gd name="T7" fmla="*/ 6 h 28"/>
                  <a:gd name="T8" fmla="*/ 10 w 12"/>
                  <a:gd name="T9" fmla="*/ 6 h 28"/>
                  <a:gd name="T10" fmla="*/ 10 w 12"/>
                  <a:gd name="T11" fmla="*/ 7 h 28"/>
                  <a:gd name="T12" fmla="*/ 10 w 12"/>
                  <a:gd name="T13" fmla="*/ 9 h 28"/>
                  <a:gd name="T14" fmla="*/ 8 w 12"/>
                  <a:gd name="T15" fmla="*/ 9 h 28"/>
                  <a:gd name="T16" fmla="*/ 7 w 12"/>
                  <a:gd name="T17" fmla="*/ 9 h 28"/>
                  <a:gd name="T18" fmla="*/ 7 w 12"/>
                  <a:gd name="T19" fmla="*/ 7 h 28"/>
                  <a:gd name="T20" fmla="*/ 5 w 12"/>
                  <a:gd name="T21" fmla="*/ 6 h 28"/>
                  <a:gd name="T22" fmla="*/ 5 w 12"/>
                  <a:gd name="T23" fmla="*/ 4 h 28"/>
                  <a:gd name="T24" fmla="*/ 7 w 12"/>
                  <a:gd name="T25" fmla="*/ 4 h 28"/>
                  <a:gd name="T26" fmla="*/ 7 w 12"/>
                  <a:gd name="T27" fmla="*/ 2 h 28"/>
                  <a:gd name="T28" fmla="*/ 8 w 12"/>
                  <a:gd name="T29" fmla="*/ 0 h 28"/>
                  <a:gd name="T30" fmla="*/ 10 w 12"/>
                  <a:gd name="T31" fmla="*/ 0 h 28"/>
                  <a:gd name="T32" fmla="*/ 5 w 12"/>
                  <a:gd name="T33" fmla="*/ 11 h 28"/>
                  <a:gd name="T34" fmla="*/ 8 w 12"/>
                  <a:gd name="T35" fmla="*/ 11 h 28"/>
                  <a:gd name="T36" fmla="*/ 8 w 12"/>
                  <a:gd name="T37" fmla="*/ 14 h 28"/>
                  <a:gd name="T38" fmla="*/ 5 w 12"/>
                  <a:gd name="T39" fmla="*/ 14 h 28"/>
                  <a:gd name="T40" fmla="*/ 5 w 12"/>
                  <a:gd name="T41" fmla="*/ 11 h 28"/>
                  <a:gd name="T42" fmla="*/ 0 w 12"/>
                  <a:gd name="T43" fmla="*/ 26 h 28"/>
                  <a:gd name="T44" fmla="*/ 1 w 12"/>
                  <a:gd name="T45" fmla="*/ 26 h 28"/>
                  <a:gd name="T46" fmla="*/ 1 w 12"/>
                  <a:gd name="T47" fmla="*/ 28 h 28"/>
                  <a:gd name="T48" fmla="*/ 0 w 12"/>
                  <a:gd name="T49" fmla="*/ 28 h 28"/>
                  <a:gd name="T50" fmla="*/ 0 w 12"/>
                  <a:gd name="T51" fmla="*/ 26 h 28"/>
                  <a:gd name="T52" fmla="*/ 3 w 12"/>
                  <a:gd name="T53" fmla="*/ 23 h 28"/>
                  <a:gd name="T54" fmla="*/ 5 w 12"/>
                  <a:gd name="T55" fmla="*/ 23 h 28"/>
                  <a:gd name="T56" fmla="*/ 5 w 12"/>
                  <a:gd name="T57" fmla="*/ 24 h 28"/>
                  <a:gd name="T58" fmla="*/ 3 w 12"/>
                  <a:gd name="T59" fmla="*/ 24 h 28"/>
                  <a:gd name="T60" fmla="*/ 3 w 12"/>
                  <a:gd name="T61" fmla="*/ 23 h 28"/>
                  <a:gd name="T62" fmla="*/ 8 w 12"/>
                  <a:gd name="T63" fmla="*/ 17 h 28"/>
                  <a:gd name="T64" fmla="*/ 10 w 12"/>
                  <a:gd name="T65" fmla="*/ 17 h 28"/>
                  <a:gd name="T66" fmla="*/ 8 w 12"/>
                  <a:gd name="T67" fmla="*/ 17 h 28"/>
                  <a:gd name="T68" fmla="*/ 1 w 12"/>
                  <a:gd name="T69" fmla="*/ 24 h 28"/>
                  <a:gd name="T70" fmla="*/ 1 w 12"/>
                  <a:gd name="T71" fmla="*/ 26 h 28"/>
                  <a:gd name="T72" fmla="*/ 1 w 12"/>
                  <a:gd name="T73" fmla="*/ 24 h 28"/>
                  <a:gd name="T74" fmla="*/ 10 w 12"/>
                  <a:gd name="T75" fmla="*/ 14 h 28"/>
                  <a:gd name="T76" fmla="*/ 10 w 12"/>
                  <a:gd name="T77" fmla="*/ 16 h 28"/>
                  <a:gd name="T78" fmla="*/ 10 w 12"/>
                  <a:gd name="T79"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 h="28">
                    <a:moveTo>
                      <a:pt x="10" y="0"/>
                    </a:moveTo>
                    <a:lnTo>
                      <a:pt x="12" y="2"/>
                    </a:lnTo>
                    <a:lnTo>
                      <a:pt x="12" y="4"/>
                    </a:lnTo>
                    <a:lnTo>
                      <a:pt x="12" y="6"/>
                    </a:lnTo>
                    <a:lnTo>
                      <a:pt x="10" y="6"/>
                    </a:lnTo>
                    <a:lnTo>
                      <a:pt x="10" y="7"/>
                    </a:lnTo>
                    <a:lnTo>
                      <a:pt x="10" y="9"/>
                    </a:lnTo>
                    <a:lnTo>
                      <a:pt x="8" y="9"/>
                    </a:lnTo>
                    <a:lnTo>
                      <a:pt x="7" y="9"/>
                    </a:lnTo>
                    <a:lnTo>
                      <a:pt x="7" y="7"/>
                    </a:lnTo>
                    <a:lnTo>
                      <a:pt x="5" y="6"/>
                    </a:lnTo>
                    <a:lnTo>
                      <a:pt x="5" y="4"/>
                    </a:lnTo>
                    <a:lnTo>
                      <a:pt x="7" y="4"/>
                    </a:lnTo>
                    <a:lnTo>
                      <a:pt x="7" y="2"/>
                    </a:lnTo>
                    <a:lnTo>
                      <a:pt x="8" y="0"/>
                    </a:lnTo>
                    <a:lnTo>
                      <a:pt x="10" y="0"/>
                    </a:lnTo>
                    <a:close/>
                    <a:moveTo>
                      <a:pt x="5" y="11"/>
                    </a:moveTo>
                    <a:lnTo>
                      <a:pt x="8" y="11"/>
                    </a:lnTo>
                    <a:lnTo>
                      <a:pt x="8" y="14"/>
                    </a:lnTo>
                    <a:lnTo>
                      <a:pt x="5" y="14"/>
                    </a:lnTo>
                    <a:lnTo>
                      <a:pt x="5" y="11"/>
                    </a:lnTo>
                    <a:close/>
                    <a:moveTo>
                      <a:pt x="0" y="26"/>
                    </a:moveTo>
                    <a:lnTo>
                      <a:pt x="1" y="26"/>
                    </a:lnTo>
                    <a:lnTo>
                      <a:pt x="1" y="28"/>
                    </a:lnTo>
                    <a:lnTo>
                      <a:pt x="0" y="28"/>
                    </a:lnTo>
                    <a:lnTo>
                      <a:pt x="0" y="26"/>
                    </a:lnTo>
                    <a:close/>
                    <a:moveTo>
                      <a:pt x="3" y="23"/>
                    </a:moveTo>
                    <a:lnTo>
                      <a:pt x="5" y="23"/>
                    </a:lnTo>
                    <a:lnTo>
                      <a:pt x="5" y="24"/>
                    </a:lnTo>
                    <a:lnTo>
                      <a:pt x="3" y="24"/>
                    </a:lnTo>
                    <a:lnTo>
                      <a:pt x="3" y="23"/>
                    </a:lnTo>
                    <a:close/>
                    <a:moveTo>
                      <a:pt x="8" y="17"/>
                    </a:moveTo>
                    <a:lnTo>
                      <a:pt x="10" y="17"/>
                    </a:lnTo>
                    <a:lnTo>
                      <a:pt x="8" y="17"/>
                    </a:lnTo>
                    <a:close/>
                    <a:moveTo>
                      <a:pt x="1" y="24"/>
                    </a:moveTo>
                    <a:lnTo>
                      <a:pt x="1" y="26"/>
                    </a:lnTo>
                    <a:lnTo>
                      <a:pt x="1" y="24"/>
                    </a:lnTo>
                    <a:close/>
                    <a:moveTo>
                      <a:pt x="10" y="14"/>
                    </a:moveTo>
                    <a:lnTo>
                      <a:pt x="10" y="16"/>
                    </a:lnTo>
                    <a:lnTo>
                      <a:pt x="10" y="1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6" name="Freeform 54">
                <a:extLst>
                  <a:ext uri="{FF2B5EF4-FFF2-40B4-BE49-F238E27FC236}">
                    <a16:creationId xmlns:a16="http://schemas.microsoft.com/office/drawing/2014/main" id="{8890AFAC-519C-3C24-CD06-1EC964D53C98}"/>
                  </a:ext>
                </a:extLst>
              </p:cNvPr>
              <p:cNvSpPr>
                <a:spLocks noEditPoints="1"/>
              </p:cNvSpPr>
              <p:nvPr/>
            </p:nvSpPr>
            <p:spPr bwMode="auto">
              <a:xfrm>
                <a:off x="5802525" y="2886916"/>
                <a:ext cx="40239" cy="41415"/>
              </a:xfrm>
              <a:custGeom>
                <a:avLst/>
                <a:gdLst>
                  <a:gd name="T0" fmla="*/ 134 w 137"/>
                  <a:gd name="T1" fmla="*/ 19 h 141"/>
                  <a:gd name="T2" fmla="*/ 127 w 137"/>
                  <a:gd name="T3" fmla="*/ 27 h 141"/>
                  <a:gd name="T4" fmla="*/ 120 w 137"/>
                  <a:gd name="T5" fmla="*/ 38 h 141"/>
                  <a:gd name="T6" fmla="*/ 124 w 137"/>
                  <a:gd name="T7" fmla="*/ 50 h 141"/>
                  <a:gd name="T8" fmla="*/ 124 w 137"/>
                  <a:gd name="T9" fmla="*/ 60 h 141"/>
                  <a:gd name="T10" fmla="*/ 125 w 137"/>
                  <a:gd name="T11" fmla="*/ 68 h 141"/>
                  <a:gd name="T12" fmla="*/ 132 w 137"/>
                  <a:gd name="T13" fmla="*/ 75 h 141"/>
                  <a:gd name="T14" fmla="*/ 137 w 137"/>
                  <a:gd name="T15" fmla="*/ 80 h 141"/>
                  <a:gd name="T16" fmla="*/ 136 w 137"/>
                  <a:gd name="T17" fmla="*/ 92 h 141"/>
                  <a:gd name="T18" fmla="*/ 131 w 137"/>
                  <a:gd name="T19" fmla="*/ 97 h 141"/>
                  <a:gd name="T20" fmla="*/ 131 w 137"/>
                  <a:gd name="T21" fmla="*/ 106 h 141"/>
                  <a:gd name="T22" fmla="*/ 127 w 137"/>
                  <a:gd name="T23" fmla="*/ 116 h 141"/>
                  <a:gd name="T24" fmla="*/ 120 w 137"/>
                  <a:gd name="T25" fmla="*/ 123 h 141"/>
                  <a:gd name="T26" fmla="*/ 117 w 137"/>
                  <a:gd name="T27" fmla="*/ 126 h 141"/>
                  <a:gd name="T28" fmla="*/ 108 w 137"/>
                  <a:gd name="T29" fmla="*/ 121 h 141"/>
                  <a:gd name="T30" fmla="*/ 102 w 137"/>
                  <a:gd name="T31" fmla="*/ 118 h 141"/>
                  <a:gd name="T32" fmla="*/ 93 w 137"/>
                  <a:gd name="T33" fmla="*/ 119 h 141"/>
                  <a:gd name="T34" fmla="*/ 85 w 137"/>
                  <a:gd name="T35" fmla="*/ 121 h 141"/>
                  <a:gd name="T36" fmla="*/ 78 w 137"/>
                  <a:gd name="T37" fmla="*/ 121 h 141"/>
                  <a:gd name="T38" fmla="*/ 69 w 137"/>
                  <a:gd name="T39" fmla="*/ 119 h 141"/>
                  <a:gd name="T40" fmla="*/ 66 w 137"/>
                  <a:gd name="T41" fmla="*/ 124 h 141"/>
                  <a:gd name="T42" fmla="*/ 71 w 137"/>
                  <a:gd name="T43" fmla="*/ 131 h 141"/>
                  <a:gd name="T44" fmla="*/ 71 w 137"/>
                  <a:gd name="T45" fmla="*/ 141 h 141"/>
                  <a:gd name="T46" fmla="*/ 59 w 137"/>
                  <a:gd name="T47" fmla="*/ 138 h 141"/>
                  <a:gd name="T48" fmla="*/ 51 w 137"/>
                  <a:gd name="T49" fmla="*/ 136 h 141"/>
                  <a:gd name="T50" fmla="*/ 44 w 137"/>
                  <a:gd name="T51" fmla="*/ 129 h 141"/>
                  <a:gd name="T52" fmla="*/ 37 w 137"/>
                  <a:gd name="T53" fmla="*/ 121 h 141"/>
                  <a:gd name="T54" fmla="*/ 34 w 137"/>
                  <a:gd name="T55" fmla="*/ 114 h 141"/>
                  <a:gd name="T56" fmla="*/ 29 w 137"/>
                  <a:gd name="T57" fmla="*/ 107 h 141"/>
                  <a:gd name="T58" fmla="*/ 30 w 137"/>
                  <a:gd name="T59" fmla="*/ 102 h 141"/>
                  <a:gd name="T60" fmla="*/ 27 w 137"/>
                  <a:gd name="T61" fmla="*/ 99 h 141"/>
                  <a:gd name="T62" fmla="*/ 27 w 137"/>
                  <a:gd name="T63" fmla="*/ 90 h 141"/>
                  <a:gd name="T64" fmla="*/ 22 w 137"/>
                  <a:gd name="T65" fmla="*/ 90 h 141"/>
                  <a:gd name="T66" fmla="*/ 13 w 137"/>
                  <a:gd name="T67" fmla="*/ 85 h 141"/>
                  <a:gd name="T68" fmla="*/ 8 w 137"/>
                  <a:gd name="T69" fmla="*/ 80 h 141"/>
                  <a:gd name="T70" fmla="*/ 3 w 137"/>
                  <a:gd name="T71" fmla="*/ 72 h 141"/>
                  <a:gd name="T72" fmla="*/ 1 w 137"/>
                  <a:gd name="T73" fmla="*/ 61 h 141"/>
                  <a:gd name="T74" fmla="*/ 5 w 137"/>
                  <a:gd name="T75" fmla="*/ 55 h 141"/>
                  <a:gd name="T76" fmla="*/ 8 w 137"/>
                  <a:gd name="T77" fmla="*/ 44 h 141"/>
                  <a:gd name="T78" fmla="*/ 8 w 137"/>
                  <a:gd name="T79" fmla="*/ 38 h 141"/>
                  <a:gd name="T80" fmla="*/ 17 w 137"/>
                  <a:gd name="T81" fmla="*/ 34 h 141"/>
                  <a:gd name="T82" fmla="*/ 25 w 137"/>
                  <a:gd name="T83" fmla="*/ 34 h 141"/>
                  <a:gd name="T84" fmla="*/ 29 w 137"/>
                  <a:gd name="T85" fmla="*/ 31 h 141"/>
                  <a:gd name="T86" fmla="*/ 27 w 137"/>
                  <a:gd name="T87" fmla="*/ 26 h 141"/>
                  <a:gd name="T88" fmla="*/ 29 w 137"/>
                  <a:gd name="T89" fmla="*/ 15 h 141"/>
                  <a:gd name="T90" fmla="*/ 34 w 137"/>
                  <a:gd name="T91" fmla="*/ 4 h 141"/>
                  <a:gd name="T92" fmla="*/ 42 w 137"/>
                  <a:gd name="T93" fmla="*/ 2 h 141"/>
                  <a:gd name="T94" fmla="*/ 54 w 137"/>
                  <a:gd name="T95" fmla="*/ 4 h 141"/>
                  <a:gd name="T96" fmla="*/ 66 w 137"/>
                  <a:gd name="T97" fmla="*/ 7 h 141"/>
                  <a:gd name="T98" fmla="*/ 73 w 137"/>
                  <a:gd name="T99" fmla="*/ 2 h 141"/>
                  <a:gd name="T100" fmla="*/ 86 w 137"/>
                  <a:gd name="T101" fmla="*/ 2 h 141"/>
                  <a:gd name="T102" fmla="*/ 98 w 137"/>
                  <a:gd name="T103" fmla="*/ 4 h 141"/>
                  <a:gd name="T104" fmla="*/ 100 w 137"/>
                  <a:gd name="T105" fmla="*/ 2 h 141"/>
                  <a:gd name="T106" fmla="*/ 112 w 137"/>
                  <a:gd name="T107" fmla="*/ 2 h 141"/>
                  <a:gd name="T108" fmla="*/ 124 w 137"/>
                  <a:gd name="T109" fmla="*/ 4 h 141"/>
                  <a:gd name="T110" fmla="*/ 136 w 137"/>
                  <a:gd name="T111" fmla="*/ 5 h 141"/>
                  <a:gd name="T112" fmla="*/ 34 w 137"/>
                  <a:gd name="T113" fmla="*/ 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7" h="141">
                    <a:moveTo>
                      <a:pt x="137" y="10"/>
                    </a:moveTo>
                    <a:lnTo>
                      <a:pt x="137" y="12"/>
                    </a:lnTo>
                    <a:lnTo>
                      <a:pt x="137" y="14"/>
                    </a:lnTo>
                    <a:lnTo>
                      <a:pt x="137" y="15"/>
                    </a:lnTo>
                    <a:lnTo>
                      <a:pt x="137" y="17"/>
                    </a:lnTo>
                    <a:lnTo>
                      <a:pt x="136" y="17"/>
                    </a:lnTo>
                    <a:lnTo>
                      <a:pt x="136" y="19"/>
                    </a:lnTo>
                    <a:lnTo>
                      <a:pt x="134" y="19"/>
                    </a:lnTo>
                    <a:lnTo>
                      <a:pt x="134" y="21"/>
                    </a:lnTo>
                    <a:lnTo>
                      <a:pt x="132" y="21"/>
                    </a:lnTo>
                    <a:lnTo>
                      <a:pt x="132" y="22"/>
                    </a:lnTo>
                    <a:lnTo>
                      <a:pt x="131" y="24"/>
                    </a:lnTo>
                    <a:lnTo>
                      <a:pt x="129" y="24"/>
                    </a:lnTo>
                    <a:lnTo>
                      <a:pt x="129" y="26"/>
                    </a:lnTo>
                    <a:lnTo>
                      <a:pt x="127" y="26"/>
                    </a:lnTo>
                    <a:lnTo>
                      <a:pt x="127" y="27"/>
                    </a:lnTo>
                    <a:lnTo>
                      <a:pt x="125" y="29"/>
                    </a:lnTo>
                    <a:lnTo>
                      <a:pt x="125" y="31"/>
                    </a:lnTo>
                    <a:lnTo>
                      <a:pt x="124" y="31"/>
                    </a:lnTo>
                    <a:lnTo>
                      <a:pt x="124" y="32"/>
                    </a:lnTo>
                    <a:lnTo>
                      <a:pt x="122" y="34"/>
                    </a:lnTo>
                    <a:lnTo>
                      <a:pt x="122" y="36"/>
                    </a:lnTo>
                    <a:lnTo>
                      <a:pt x="122" y="38"/>
                    </a:lnTo>
                    <a:lnTo>
                      <a:pt x="120" y="38"/>
                    </a:lnTo>
                    <a:lnTo>
                      <a:pt x="122" y="39"/>
                    </a:lnTo>
                    <a:lnTo>
                      <a:pt x="122" y="41"/>
                    </a:lnTo>
                    <a:lnTo>
                      <a:pt x="122" y="43"/>
                    </a:lnTo>
                    <a:lnTo>
                      <a:pt x="122" y="44"/>
                    </a:lnTo>
                    <a:lnTo>
                      <a:pt x="122" y="46"/>
                    </a:lnTo>
                    <a:lnTo>
                      <a:pt x="122" y="48"/>
                    </a:lnTo>
                    <a:lnTo>
                      <a:pt x="124" y="48"/>
                    </a:lnTo>
                    <a:lnTo>
                      <a:pt x="124" y="50"/>
                    </a:lnTo>
                    <a:lnTo>
                      <a:pt x="122" y="50"/>
                    </a:lnTo>
                    <a:lnTo>
                      <a:pt x="122" y="51"/>
                    </a:lnTo>
                    <a:lnTo>
                      <a:pt x="122" y="53"/>
                    </a:lnTo>
                    <a:lnTo>
                      <a:pt x="122" y="55"/>
                    </a:lnTo>
                    <a:lnTo>
                      <a:pt x="122" y="56"/>
                    </a:lnTo>
                    <a:lnTo>
                      <a:pt x="124" y="56"/>
                    </a:lnTo>
                    <a:lnTo>
                      <a:pt x="124" y="58"/>
                    </a:lnTo>
                    <a:lnTo>
                      <a:pt x="124" y="60"/>
                    </a:lnTo>
                    <a:lnTo>
                      <a:pt x="124" y="61"/>
                    </a:lnTo>
                    <a:lnTo>
                      <a:pt x="124" y="63"/>
                    </a:lnTo>
                    <a:lnTo>
                      <a:pt x="125" y="63"/>
                    </a:lnTo>
                    <a:lnTo>
                      <a:pt x="127" y="63"/>
                    </a:lnTo>
                    <a:lnTo>
                      <a:pt x="127" y="65"/>
                    </a:lnTo>
                    <a:lnTo>
                      <a:pt x="125" y="65"/>
                    </a:lnTo>
                    <a:lnTo>
                      <a:pt x="125" y="67"/>
                    </a:lnTo>
                    <a:lnTo>
                      <a:pt x="125" y="68"/>
                    </a:lnTo>
                    <a:lnTo>
                      <a:pt x="127" y="68"/>
                    </a:lnTo>
                    <a:lnTo>
                      <a:pt x="127" y="70"/>
                    </a:lnTo>
                    <a:lnTo>
                      <a:pt x="127" y="72"/>
                    </a:lnTo>
                    <a:lnTo>
                      <a:pt x="129" y="72"/>
                    </a:lnTo>
                    <a:lnTo>
                      <a:pt x="129" y="73"/>
                    </a:lnTo>
                    <a:lnTo>
                      <a:pt x="131" y="73"/>
                    </a:lnTo>
                    <a:lnTo>
                      <a:pt x="131" y="75"/>
                    </a:lnTo>
                    <a:lnTo>
                      <a:pt x="132" y="75"/>
                    </a:lnTo>
                    <a:lnTo>
                      <a:pt x="134" y="75"/>
                    </a:lnTo>
                    <a:lnTo>
                      <a:pt x="134" y="77"/>
                    </a:lnTo>
                    <a:lnTo>
                      <a:pt x="134" y="78"/>
                    </a:lnTo>
                    <a:lnTo>
                      <a:pt x="134" y="80"/>
                    </a:lnTo>
                    <a:lnTo>
                      <a:pt x="136" y="80"/>
                    </a:lnTo>
                    <a:lnTo>
                      <a:pt x="136" y="82"/>
                    </a:lnTo>
                    <a:lnTo>
                      <a:pt x="136" y="80"/>
                    </a:lnTo>
                    <a:lnTo>
                      <a:pt x="137" y="80"/>
                    </a:lnTo>
                    <a:lnTo>
                      <a:pt x="137" y="82"/>
                    </a:lnTo>
                    <a:lnTo>
                      <a:pt x="137" y="84"/>
                    </a:lnTo>
                    <a:lnTo>
                      <a:pt x="137" y="85"/>
                    </a:lnTo>
                    <a:lnTo>
                      <a:pt x="137" y="87"/>
                    </a:lnTo>
                    <a:lnTo>
                      <a:pt x="137" y="89"/>
                    </a:lnTo>
                    <a:lnTo>
                      <a:pt x="136" y="89"/>
                    </a:lnTo>
                    <a:lnTo>
                      <a:pt x="136" y="90"/>
                    </a:lnTo>
                    <a:lnTo>
                      <a:pt x="136" y="92"/>
                    </a:lnTo>
                    <a:lnTo>
                      <a:pt x="134" y="92"/>
                    </a:lnTo>
                    <a:lnTo>
                      <a:pt x="132" y="92"/>
                    </a:lnTo>
                    <a:lnTo>
                      <a:pt x="132" y="94"/>
                    </a:lnTo>
                    <a:lnTo>
                      <a:pt x="132" y="95"/>
                    </a:lnTo>
                    <a:lnTo>
                      <a:pt x="131" y="95"/>
                    </a:lnTo>
                    <a:lnTo>
                      <a:pt x="131" y="97"/>
                    </a:lnTo>
                    <a:lnTo>
                      <a:pt x="131" y="99"/>
                    </a:lnTo>
                    <a:lnTo>
                      <a:pt x="131" y="97"/>
                    </a:lnTo>
                    <a:lnTo>
                      <a:pt x="131" y="99"/>
                    </a:lnTo>
                    <a:lnTo>
                      <a:pt x="131" y="101"/>
                    </a:lnTo>
                    <a:lnTo>
                      <a:pt x="131" y="102"/>
                    </a:lnTo>
                    <a:lnTo>
                      <a:pt x="132" y="102"/>
                    </a:lnTo>
                    <a:lnTo>
                      <a:pt x="131" y="102"/>
                    </a:lnTo>
                    <a:lnTo>
                      <a:pt x="132" y="104"/>
                    </a:lnTo>
                    <a:lnTo>
                      <a:pt x="131" y="104"/>
                    </a:lnTo>
                    <a:lnTo>
                      <a:pt x="131" y="106"/>
                    </a:lnTo>
                    <a:lnTo>
                      <a:pt x="131" y="107"/>
                    </a:lnTo>
                    <a:lnTo>
                      <a:pt x="131" y="109"/>
                    </a:lnTo>
                    <a:lnTo>
                      <a:pt x="131" y="111"/>
                    </a:lnTo>
                    <a:lnTo>
                      <a:pt x="129" y="111"/>
                    </a:lnTo>
                    <a:lnTo>
                      <a:pt x="129" y="112"/>
                    </a:lnTo>
                    <a:lnTo>
                      <a:pt x="127" y="112"/>
                    </a:lnTo>
                    <a:lnTo>
                      <a:pt x="127" y="114"/>
                    </a:lnTo>
                    <a:lnTo>
                      <a:pt x="127" y="116"/>
                    </a:lnTo>
                    <a:lnTo>
                      <a:pt x="125" y="116"/>
                    </a:lnTo>
                    <a:lnTo>
                      <a:pt x="125" y="118"/>
                    </a:lnTo>
                    <a:lnTo>
                      <a:pt x="125" y="119"/>
                    </a:lnTo>
                    <a:lnTo>
                      <a:pt x="124" y="119"/>
                    </a:lnTo>
                    <a:lnTo>
                      <a:pt x="124" y="121"/>
                    </a:lnTo>
                    <a:lnTo>
                      <a:pt x="122" y="121"/>
                    </a:lnTo>
                    <a:lnTo>
                      <a:pt x="122" y="123"/>
                    </a:lnTo>
                    <a:lnTo>
                      <a:pt x="120" y="123"/>
                    </a:lnTo>
                    <a:lnTo>
                      <a:pt x="120" y="124"/>
                    </a:lnTo>
                    <a:lnTo>
                      <a:pt x="120" y="126"/>
                    </a:lnTo>
                    <a:lnTo>
                      <a:pt x="120" y="124"/>
                    </a:lnTo>
                    <a:lnTo>
                      <a:pt x="119" y="126"/>
                    </a:lnTo>
                    <a:lnTo>
                      <a:pt x="120" y="126"/>
                    </a:lnTo>
                    <a:lnTo>
                      <a:pt x="119" y="128"/>
                    </a:lnTo>
                    <a:lnTo>
                      <a:pt x="119" y="126"/>
                    </a:lnTo>
                    <a:lnTo>
                      <a:pt x="117" y="126"/>
                    </a:lnTo>
                    <a:lnTo>
                      <a:pt x="117" y="124"/>
                    </a:lnTo>
                    <a:lnTo>
                      <a:pt x="115" y="124"/>
                    </a:lnTo>
                    <a:lnTo>
                      <a:pt x="114" y="124"/>
                    </a:lnTo>
                    <a:lnTo>
                      <a:pt x="114" y="123"/>
                    </a:lnTo>
                    <a:lnTo>
                      <a:pt x="114" y="121"/>
                    </a:lnTo>
                    <a:lnTo>
                      <a:pt x="112" y="121"/>
                    </a:lnTo>
                    <a:lnTo>
                      <a:pt x="110" y="121"/>
                    </a:lnTo>
                    <a:lnTo>
                      <a:pt x="108" y="121"/>
                    </a:lnTo>
                    <a:lnTo>
                      <a:pt x="107" y="121"/>
                    </a:lnTo>
                    <a:lnTo>
                      <a:pt x="107" y="119"/>
                    </a:lnTo>
                    <a:lnTo>
                      <a:pt x="105" y="119"/>
                    </a:lnTo>
                    <a:lnTo>
                      <a:pt x="105" y="118"/>
                    </a:lnTo>
                    <a:lnTo>
                      <a:pt x="105" y="116"/>
                    </a:lnTo>
                    <a:lnTo>
                      <a:pt x="103" y="116"/>
                    </a:lnTo>
                    <a:lnTo>
                      <a:pt x="103" y="118"/>
                    </a:lnTo>
                    <a:lnTo>
                      <a:pt x="102" y="118"/>
                    </a:lnTo>
                    <a:lnTo>
                      <a:pt x="100" y="118"/>
                    </a:lnTo>
                    <a:lnTo>
                      <a:pt x="100" y="119"/>
                    </a:lnTo>
                    <a:lnTo>
                      <a:pt x="100" y="118"/>
                    </a:lnTo>
                    <a:lnTo>
                      <a:pt x="98" y="118"/>
                    </a:lnTo>
                    <a:lnTo>
                      <a:pt x="97" y="118"/>
                    </a:lnTo>
                    <a:lnTo>
                      <a:pt x="97" y="119"/>
                    </a:lnTo>
                    <a:lnTo>
                      <a:pt x="95" y="119"/>
                    </a:lnTo>
                    <a:lnTo>
                      <a:pt x="93" y="119"/>
                    </a:lnTo>
                    <a:lnTo>
                      <a:pt x="91" y="119"/>
                    </a:lnTo>
                    <a:lnTo>
                      <a:pt x="91" y="121"/>
                    </a:lnTo>
                    <a:lnTo>
                      <a:pt x="91" y="123"/>
                    </a:lnTo>
                    <a:lnTo>
                      <a:pt x="90" y="123"/>
                    </a:lnTo>
                    <a:lnTo>
                      <a:pt x="90" y="121"/>
                    </a:lnTo>
                    <a:lnTo>
                      <a:pt x="88" y="121"/>
                    </a:lnTo>
                    <a:lnTo>
                      <a:pt x="86" y="121"/>
                    </a:lnTo>
                    <a:lnTo>
                      <a:pt x="85" y="121"/>
                    </a:lnTo>
                    <a:lnTo>
                      <a:pt x="85" y="123"/>
                    </a:lnTo>
                    <a:lnTo>
                      <a:pt x="85" y="121"/>
                    </a:lnTo>
                    <a:lnTo>
                      <a:pt x="83" y="121"/>
                    </a:lnTo>
                    <a:lnTo>
                      <a:pt x="83" y="123"/>
                    </a:lnTo>
                    <a:lnTo>
                      <a:pt x="81" y="123"/>
                    </a:lnTo>
                    <a:lnTo>
                      <a:pt x="80" y="123"/>
                    </a:lnTo>
                    <a:lnTo>
                      <a:pt x="78" y="123"/>
                    </a:lnTo>
                    <a:lnTo>
                      <a:pt x="78" y="121"/>
                    </a:lnTo>
                    <a:lnTo>
                      <a:pt x="76" y="121"/>
                    </a:lnTo>
                    <a:lnTo>
                      <a:pt x="74" y="121"/>
                    </a:lnTo>
                    <a:lnTo>
                      <a:pt x="74" y="119"/>
                    </a:lnTo>
                    <a:lnTo>
                      <a:pt x="73" y="119"/>
                    </a:lnTo>
                    <a:lnTo>
                      <a:pt x="73" y="118"/>
                    </a:lnTo>
                    <a:lnTo>
                      <a:pt x="71" y="118"/>
                    </a:lnTo>
                    <a:lnTo>
                      <a:pt x="71" y="119"/>
                    </a:lnTo>
                    <a:lnTo>
                      <a:pt x="69" y="119"/>
                    </a:lnTo>
                    <a:lnTo>
                      <a:pt x="71" y="119"/>
                    </a:lnTo>
                    <a:lnTo>
                      <a:pt x="69" y="119"/>
                    </a:lnTo>
                    <a:lnTo>
                      <a:pt x="69" y="121"/>
                    </a:lnTo>
                    <a:lnTo>
                      <a:pt x="69" y="123"/>
                    </a:lnTo>
                    <a:lnTo>
                      <a:pt x="68" y="124"/>
                    </a:lnTo>
                    <a:lnTo>
                      <a:pt x="69" y="124"/>
                    </a:lnTo>
                    <a:lnTo>
                      <a:pt x="68" y="124"/>
                    </a:lnTo>
                    <a:lnTo>
                      <a:pt x="66" y="124"/>
                    </a:lnTo>
                    <a:lnTo>
                      <a:pt x="66" y="126"/>
                    </a:lnTo>
                    <a:lnTo>
                      <a:pt x="64" y="128"/>
                    </a:lnTo>
                    <a:lnTo>
                      <a:pt x="66" y="128"/>
                    </a:lnTo>
                    <a:lnTo>
                      <a:pt x="68" y="128"/>
                    </a:lnTo>
                    <a:lnTo>
                      <a:pt x="68" y="129"/>
                    </a:lnTo>
                    <a:lnTo>
                      <a:pt x="68" y="131"/>
                    </a:lnTo>
                    <a:lnTo>
                      <a:pt x="69" y="131"/>
                    </a:lnTo>
                    <a:lnTo>
                      <a:pt x="71" y="131"/>
                    </a:lnTo>
                    <a:lnTo>
                      <a:pt x="71" y="133"/>
                    </a:lnTo>
                    <a:lnTo>
                      <a:pt x="73" y="133"/>
                    </a:lnTo>
                    <a:lnTo>
                      <a:pt x="73" y="135"/>
                    </a:lnTo>
                    <a:lnTo>
                      <a:pt x="73" y="136"/>
                    </a:lnTo>
                    <a:lnTo>
                      <a:pt x="71" y="136"/>
                    </a:lnTo>
                    <a:lnTo>
                      <a:pt x="73" y="138"/>
                    </a:lnTo>
                    <a:lnTo>
                      <a:pt x="73" y="140"/>
                    </a:lnTo>
                    <a:lnTo>
                      <a:pt x="71" y="141"/>
                    </a:lnTo>
                    <a:lnTo>
                      <a:pt x="69" y="141"/>
                    </a:lnTo>
                    <a:lnTo>
                      <a:pt x="68" y="141"/>
                    </a:lnTo>
                    <a:lnTo>
                      <a:pt x="66" y="141"/>
                    </a:lnTo>
                    <a:lnTo>
                      <a:pt x="64" y="140"/>
                    </a:lnTo>
                    <a:lnTo>
                      <a:pt x="63" y="140"/>
                    </a:lnTo>
                    <a:lnTo>
                      <a:pt x="61" y="140"/>
                    </a:lnTo>
                    <a:lnTo>
                      <a:pt x="59" y="140"/>
                    </a:lnTo>
                    <a:lnTo>
                      <a:pt x="59" y="138"/>
                    </a:lnTo>
                    <a:lnTo>
                      <a:pt x="57" y="138"/>
                    </a:lnTo>
                    <a:lnTo>
                      <a:pt x="56" y="138"/>
                    </a:lnTo>
                    <a:lnTo>
                      <a:pt x="56" y="140"/>
                    </a:lnTo>
                    <a:lnTo>
                      <a:pt x="56" y="138"/>
                    </a:lnTo>
                    <a:lnTo>
                      <a:pt x="54" y="138"/>
                    </a:lnTo>
                    <a:lnTo>
                      <a:pt x="52" y="138"/>
                    </a:lnTo>
                    <a:lnTo>
                      <a:pt x="52" y="136"/>
                    </a:lnTo>
                    <a:lnTo>
                      <a:pt x="51" y="136"/>
                    </a:lnTo>
                    <a:lnTo>
                      <a:pt x="49" y="136"/>
                    </a:lnTo>
                    <a:lnTo>
                      <a:pt x="47" y="136"/>
                    </a:lnTo>
                    <a:lnTo>
                      <a:pt x="47" y="135"/>
                    </a:lnTo>
                    <a:lnTo>
                      <a:pt x="46" y="135"/>
                    </a:lnTo>
                    <a:lnTo>
                      <a:pt x="46" y="133"/>
                    </a:lnTo>
                    <a:lnTo>
                      <a:pt x="44" y="133"/>
                    </a:lnTo>
                    <a:lnTo>
                      <a:pt x="44" y="131"/>
                    </a:lnTo>
                    <a:lnTo>
                      <a:pt x="44" y="129"/>
                    </a:lnTo>
                    <a:lnTo>
                      <a:pt x="42" y="129"/>
                    </a:lnTo>
                    <a:lnTo>
                      <a:pt x="42" y="128"/>
                    </a:lnTo>
                    <a:lnTo>
                      <a:pt x="40" y="126"/>
                    </a:lnTo>
                    <a:lnTo>
                      <a:pt x="40" y="124"/>
                    </a:lnTo>
                    <a:lnTo>
                      <a:pt x="39" y="124"/>
                    </a:lnTo>
                    <a:lnTo>
                      <a:pt x="39" y="123"/>
                    </a:lnTo>
                    <a:lnTo>
                      <a:pt x="39" y="121"/>
                    </a:lnTo>
                    <a:lnTo>
                      <a:pt x="37" y="121"/>
                    </a:lnTo>
                    <a:lnTo>
                      <a:pt x="39" y="121"/>
                    </a:lnTo>
                    <a:lnTo>
                      <a:pt x="39" y="119"/>
                    </a:lnTo>
                    <a:lnTo>
                      <a:pt x="37" y="119"/>
                    </a:lnTo>
                    <a:lnTo>
                      <a:pt x="37" y="118"/>
                    </a:lnTo>
                    <a:lnTo>
                      <a:pt x="35" y="118"/>
                    </a:lnTo>
                    <a:lnTo>
                      <a:pt x="35" y="116"/>
                    </a:lnTo>
                    <a:lnTo>
                      <a:pt x="35" y="114"/>
                    </a:lnTo>
                    <a:lnTo>
                      <a:pt x="34" y="114"/>
                    </a:lnTo>
                    <a:lnTo>
                      <a:pt x="34" y="112"/>
                    </a:lnTo>
                    <a:lnTo>
                      <a:pt x="32" y="111"/>
                    </a:lnTo>
                    <a:lnTo>
                      <a:pt x="34" y="111"/>
                    </a:lnTo>
                    <a:lnTo>
                      <a:pt x="32" y="111"/>
                    </a:lnTo>
                    <a:lnTo>
                      <a:pt x="32" y="109"/>
                    </a:lnTo>
                    <a:lnTo>
                      <a:pt x="30" y="109"/>
                    </a:lnTo>
                    <a:lnTo>
                      <a:pt x="29" y="109"/>
                    </a:lnTo>
                    <a:lnTo>
                      <a:pt x="29" y="107"/>
                    </a:lnTo>
                    <a:lnTo>
                      <a:pt x="30" y="107"/>
                    </a:lnTo>
                    <a:lnTo>
                      <a:pt x="29" y="107"/>
                    </a:lnTo>
                    <a:lnTo>
                      <a:pt x="29" y="106"/>
                    </a:lnTo>
                    <a:lnTo>
                      <a:pt x="30" y="106"/>
                    </a:lnTo>
                    <a:lnTo>
                      <a:pt x="30" y="104"/>
                    </a:lnTo>
                    <a:lnTo>
                      <a:pt x="29" y="104"/>
                    </a:lnTo>
                    <a:lnTo>
                      <a:pt x="29" y="102"/>
                    </a:lnTo>
                    <a:lnTo>
                      <a:pt x="30" y="102"/>
                    </a:lnTo>
                    <a:lnTo>
                      <a:pt x="30" y="101"/>
                    </a:lnTo>
                    <a:lnTo>
                      <a:pt x="29" y="101"/>
                    </a:lnTo>
                    <a:lnTo>
                      <a:pt x="29" y="99"/>
                    </a:lnTo>
                    <a:lnTo>
                      <a:pt x="27" y="99"/>
                    </a:lnTo>
                    <a:lnTo>
                      <a:pt x="29" y="99"/>
                    </a:lnTo>
                    <a:lnTo>
                      <a:pt x="29" y="97"/>
                    </a:lnTo>
                    <a:lnTo>
                      <a:pt x="27" y="97"/>
                    </a:lnTo>
                    <a:lnTo>
                      <a:pt x="27" y="99"/>
                    </a:lnTo>
                    <a:lnTo>
                      <a:pt x="27" y="97"/>
                    </a:lnTo>
                    <a:lnTo>
                      <a:pt x="25" y="97"/>
                    </a:lnTo>
                    <a:lnTo>
                      <a:pt x="25" y="95"/>
                    </a:lnTo>
                    <a:lnTo>
                      <a:pt x="27" y="95"/>
                    </a:lnTo>
                    <a:lnTo>
                      <a:pt x="27" y="94"/>
                    </a:lnTo>
                    <a:lnTo>
                      <a:pt x="25" y="92"/>
                    </a:lnTo>
                    <a:lnTo>
                      <a:pt x="27" y="92"/>
                    </a:lnTo>
                    <a:lnTo>
                      <a:pt x="27" y="90"/>
                    </a:lnTo>
                    <a:lnTo>
                      <a:pt x="25" y="90"/>
                    </a:lnTo>
                    <a:lnTo>
                      <a:pt x="27" y="90"/>
                    </a:lnTo>
                    <a:lnTo>
                      <a:pt x="25" y="89"/>
                    </a:lnTo>
                    <a:lnTo>
                      <a:pt x="25" y="90"/>
                    </a:lnTo>
                    <a:lnTo>
                      <a:pt x="23" y="90"/>
                    </a:lnTo>
                    <a:lnTo>
                      <a:pt x="22" y="90"/>
                    </a:lnTo>
                    <a:lnTo>
                      <a:pt x="22" y="89"/>
                    </a:lnTo>
                    <a:lnTo>
                      <a:pt x="22" y="90"/>
                    </a:lnTo>
                    <a:lnTo>
                      <a:pt x="20" y="90"/>
                    </a:lnTo>
                    <a:lnTo>
                      <a:pt x="18" y="90"/>
                    </a:lnTo>
                    <a:lnTo>
                      <a:pt x="17" y="90"/>
                    </a:lnTo>
                    <a:lnTo>
                      <a:pt x="15" y="90"/>
                    </a:lnTo>
                    <a:lnTo>
                      <a:pt x="13" y="90"/>
                    </a:lnTo>
                    <a:lnTo>
                      <a:pt x="13" y="89"/>
                    </a:lnTo>
                    <a:lnTo>
                      <a:pt x="13" y="87"/>
                    </a:lnTo>
                    <a:lnTo>
                      <a:pt x="13" y="85"/>
                    </a:lnTo>
                    <a:lnTo>
                      <a:pt x="15" y="85"/>
                    </a:lnTo>
                    <a:lnTo>
                      <a:pt x="15" y="84"/>
                    </a:lnTo>
                    <a:lnTo>
                      <a:pt x="13" y="84"/>
                    </a:lnTo>
                    <a:lnTo>
                      <a:pt x="12" y="84"/>
                    </a:lnTo>
                    <a:lnTo>
                      <a:pt x="12" y="82"/>
                    </a:lnTo>
                    <a:lnTo>
                      <a:pt x="10" y="82"/>
                    </a:lnTo>
                    <a:lnTo>
                      <a:pt x="10" y="80"/>
                    </a:lnTo>
                    <a:lnTo>
                      <a:pt x="8" y="80"/>
                    </a:lnTo>
                    <a:lnTo>
                      <a:pt x="8" y="78"/>
                    </a:lnTo>
                    <a:lnTo>
                      <a:pt x="8" y="77"/>
                    </a:lnTo>
                    <a:lnTo>
                      <a:pt x="6" y="77"/>
                    </a:lnTo>
                    <a:lnTo>
                      <a:pt x="6" y="75"/>
                    </a:lnTo>
                    <a:lnTo>
                      <a:pt x="6" y="73"/>
                    </a:lnTo>
                    <a:lnTo>
                      <a:pt x="5" y="73"/>
                    </a:lnTo>
                    <a:lnTo>
                      <a:pt x="5" y="72"/>
                    </a:lnTo>
                    <a:lnTo>
                      <a:pt x="3" y="72"/>
                    </a:lnTo>
                    <a:lnTo>
                      <a:pt x="3" y="70"/>
                    </a:lnTo>
                    <a:lnTo>
                      <a:pt x="1" y="70"/>
                    </a:lnTo>
                    <a:lnTo>
                      <a:pt x="1" y="68"/>
                    </a:lnTo>
                    <a:lnTo>
                      <a:pt x="1" y="67"/>
                    </a:lnTo>
                    <a:lnTo>
                      <a:pt x="1" y="65"/>
                    </a:lnTo>
                    <a:lnTo>
                      <a:pt x="0" y="63"/>
                    </a:lnTo>
                    <a:lnTo>
                      <a:pt x="1" y="63"/>
                    </a:lnTo>
                    <a:lnTo>
                      <a:pt x="1" y="61"/>
                    </a:lnTo>
                    <a:lnTo>
                      <a:pt x="1" y="60"/>
                    </a:lnTo>
                    <a:lnTo>
                      <a:pt x="3" y="60"/>
                    </a:lnTo>
                    <a:lnTo>
                      <a:pt x="3" y="58"/>
                    </a:lnTo>
                    <a:lnTo>
                      <a:pt x="5" y="58"/>
                    </a:lnTo>
                    <a:lnTo>
                      <a:pt x="5" y="56"/>
                    </a:lnTo>
                    <a:lnTo>
                      <a:pt x="3" y="56"/>
                    </a:lnTo>
                    <a:lnTo>
                      <a:pt x="3" y="55"/>
                    </a:lnTo>
                    <a:lnTo>
                      <a:pt x="5" y="55"/>
                    </a:lnTo>
                    <a:lnTo>
                      <a:pt x="5" y="53"/>
                    </a:lnTo>
                    <a:lnTo>
                      <a:pt x="5" y="51"/>
                    </a:lnTo>
                    <a:lnTo>
                      <a:pt x="6" y="51"/>
                    </a:lnTo>
                    <a:lnTo>
                      <a:pt x="6" y="50"/>
                    </a:lnTo>
                    <a:lnTo>
                      <a:pt x="6" y="48"/>
                    </a:lnTo>
                    <a:lnTo>
                      <a:pt x="8" y="48"/>
                    </a:lnTo>
                    <a:lnTo>
                      <a:pt x="8" y="46"/>
                    </a:lnTo>
                    <a:lnTo>
                      <a:pt x="8" y="44"/>
                    </a:lnTo>
                    <a:lnTo>
                      <a:pt x="6" y="44"/>
                    </a:lnTo>
                    <a:lnTo>
                      <a:pt x="6" y="43"/>
                    </a:lnTo>
                    <a:lnTo>
                      <a:pt x="5" y="43"/>
                    </a:lnTo>
                    <a:lnTo>
                      <a:pt x="5" y="41"/>
                    </a:lnTo>
                    <a:lnTo>
                      <a:pt x="5" y="39"/>
                    </a:lnTo>
                    <a:lnTo>
                      <a:pt x="6" y="39"/>
                    </a:lnTo>
                    <a:lnTo>
                      <a:pt x="6" y="38"/>
                    </a:lnTo>
                    <a:lnTo>
                      <a:pt x="8" y="38"/>
                    </a:lnTo>
                    <a:lnTo>
                      <a:pt x="10" y="38"/>
                    </a:lnTo>
                    <a:lnTo>
                      <a:pt x="10" y="36"/>
                    </a:lnTo>
                    <a:lnTo>
                      <a:pt x="12" y="36"/>
                    </a:lnTo>
                    <a:lnTo>
                      <a:pt x="12" y="34"/>
                    </a:lnTo>
                    <a:lnTo>
                      <a:pt x="13" y="34"/>
                    </a:lnTo>
                    <a:lnTo>
                      <a:pt x="15" y="36"/>
                    </a:lnTo>
                    <a:lnTo>
                      <a:pt x="15" y="34"/>
                    </a:lnTo>
                    <a:lnTo>
                      <a:pt x="17" y="34"/>
                    </a:lnTo>
                    <a:lnTo>
                      <a:pt x="18" y="34"/>
                    </a:lnTo>
                    <a:lnTo>
                      <a:pt x="20" y="36"/>
                    </a:lnTo>
                    <a:lnTo>
                      <a:pt x="20" y="34"/>
                    </a:lnTo>
                    <a:lnTo>
                      <a:pt x="22" y="34"/>
                    </a:lnTo>
                    <a:lnTo>
                      <a:pt x="22" y="36"/>
                    </a:lnTo>
                    <a:lnTo>
                      <a:pt x="22" y="34"/>
                    </a:lnTo>
                    <a:lnTo>
                      <a:pt x="23" y="34"/>
                    </a:lnTo>
                    <a:lnTo>
                      <a:pt x="25" y="34"/>
                    </a:lnTo>
                    <a:lnTo>
                      <a:pt x="27" y="34"/>
                    </a:lnTo>
                    <a:lnTo>
                      <a:pt x="27" y="32"/>
                    </a:lnTo>
                    <a:lnTo>
                      <a:pt x="25" y="32"/>
                    </a:lnTo>
                    <a:lnTo>
                      <a:pt x="25" y="31"/>
                    </a:lnTo>
                    <a:lnTo>
                      <a:pt x="25" y="29"/>
                    </a:lnTo>
                    <a:lnTo>
                      <a:pt x="27" y="29"/>
                    </a:lnTo>
                    <a:lnTo>
                      <a:pt x="29" y="29"/>
                    </a:lnTo>
                    <a:lnTo>
                      <a:pt x="29" y="31"/>
                    </a:lnTo>
                    <a:lnTo>
                      <a:pt x="29" y="29"/>
                    </a:lnTo>
                    <a:lnTo>
                      <a:pt x="30" y="29"/>
                    </a:lnTo>
                    <a:lnTo>
                      <a:pt x="30" y="27"/>
                    </a:lnTo>
                    <a:lnTo>
                      <a:pt x="29" y="27"/>
                    </a:lnTo>
                    <a:lnTo>
                      <a:pt x="29" y="26"/>
                    </a:lnTo>
                    <a:lnTo>
                      <a:pt x="27" y="26"/>
                    </a:lnTo>
                    <a:lnTo>
                      <a:pt x="27" y="27"/>
                    </a:lnTo>
                    <a:lnTo>
                      <a:pt x="27" y="26"/>
                    </a:lnTo>
                    <a:lnTo>
                      <a:pt x="27" y="24"/>
                    </a:lnTo>
                    <a:lnTo>
                      <a:pt x="25" y="24"/>
                    </a:lnTo>
                    <a:lnTo>
                      <a:pt x="25" y="22"/>
                    </a:lnTo>
                    <a:lnTo>
                      <a:pt x="27" y="22"/>
                    </a:lnTo>
                    <a:lnTo>
                      <a:pt x="27" y="21"/>
                    </a:lnTo>
                    <a:lnTo>
                      <a:pt x="27" y="19"/>
                    </a:lnTo>
                    <a:lnTo>
                      <a:pt x="29" y="17"/>
                    </a:lnTo>
                    <a:lnTo>
                      <a:pt x="29" y="15"/>
                    </a:lnTo>
                    <a:lnTo>
                      <a:pt x="30" y="14"/>
                    </a:lnTo>
                    <a:lnTo>
                      <a:pt x="30" y="12"/>
                    </a:lnTo>
                    <a:lnTo>
                      <a:pt x="32" y="12"/>
                    </a:lnTo>
                    <a:lnTo>
                      <a:pt x="32" y="10"/>
                    </a:lnTo>
                    <a:lnTo>
                      <a:pt x="32" y="9"/>
                    </a:lnTo>
                    <a:lnTo>
                      <a:pt x="32" y="7"/>
                    </a:lnTo>
                    <a:lnTo>
                      <a:pt x="34" y="5"/>
                    </a:lnTo>
                    <a:lnTo>
                      <a:pt x="34" y="4"/>
                    </a:lnTo>
                    <a:lnTo>
                      <a:pt x="34" y="2"/>
                    </a:lnTo>
                    <a:lnTo>
                      <a:pt x="35" y="2"/>
                    </a:lnTo>
                    <a:lnTo>
                      <a:pt x="37" y="2"/>
                    </a:lnTo>
                    <a:lnTo>
                      <a:pt x="37" y="0"/>
                    </a:lnTo>
                    <a:lnTo>
                      <a:pt x="39" y="0"/>
                    </a:lnTo>
                    <a:lnTo>
                      <a:pt x="39" y="2"/>
                    </a:lnTo>
                    <a:lnTo>
                      <a:pt x="40" y="2"/>
                    </a:lnTo>
                    <a:lnTo>
                      <a:pt x="42" y="2"/>
                    </a:lnTo>
                    <a:lnTo>
                      <a:pt x="44" y="2"/>
                    </a:lnTo>
                    <a:lnTo>
                      <a:pt x="46" y="2"/>
                    </a:lnTo>
                    <a:lnTo>
                      <a:pt x="47" y="2"/>
                    </a:lnTo>
                    <a:lnTo>
                      <a:pt x="49" y="2"/>
                    </a:lnTo>
                    <a:lnTo>
                      <a:pt x="49" y="4"/>
                    </a:lnTo>
                    <a:lnTo>
                      <a:pt x="51" y="4"/>
                    </a:lnTo>
                    <a:lnTo>
                      <a:pt x="52" y="4"/>
                    </a:lnTo>
                    <a:lnTo>
                      <a:pt x="54" y="4"/>
                    </a:lnTo>
                    <a:lnTo>
                      <a:pt x="56" y="4"/>
                    </a:lnTo>
                    <a:lnTo>
                      <a:pt x="57" y="4"/>
                    </a:lnTo>
                    <a:lnTo>
                      <a:pt x="59" y="5"/>
                    </a:lnTo>
                    <a:lnTo>
                      <a:pt x="61" y="5"/>
                    </a:lnTo>
                    <a:lnTo>
                      <a:pt x="63" y="5"/>
                    </a:lnTo>
                    <a:lnTo>
                      <a:pt x="64" y="5"/>
                    </a:lnTo>
                    <a:lnTo>
                      <a:pt x="66" y="5"/>
                    </a:lnTo>
                    <a:lnTo>
                      <a:pt x="66" y="7"/>
                    </a:lnTo>
                    <a:lnTo>
                      <a:pt x="68" y="7"/>
                    </a:lnTo>
                    <a:lnTo>
                      <a:pt x="69" y="7"/>
                    </a:lnTo>
                    <a:lnTo>
                      <a:pt x="71" y="7"/>
                    </a:lnTo>
                    <a:lnTo>
                      <a:pt x="73" y="7"/>
                    </a:lnTo>
                    <a:lnTo>
                      <a:pt x="71" y="5"/>
                    </a:lnTo>
                    <a:lnTo>
                      <a:pt x="71" y="4"/>
                    </a:lnTo>
                    <a:lnTo>
                      <a:pt x="73" y="4"/>
                    </a:lnTo>
                    <a:lnTo>
                      <a:pt x="73" y="2"/>
                    </a:lnTo>
                    <a:lnTo>
                      <a:pt x="74" y="2"/>
                    </a:lnTo>
                    <a:lnTo>
                      <a:pt x="76" y="2"/>
                    </a:lnTo>
                    <a:lnTo>
                      <a:pt x="78" y="2"/>
                    </a:lnTo>
                    <a:lnTo>
                      <a:pt x="80" y="2"/>
                    </a:lnTo>
                    <a:lnTo>
                      <a:pt x="81" y="2"/>
                    </a:lnTo>
                    <a:lnTo>
                      <a:pt x="83" y="0"/>
                    </a:lnTo>
                    <a:lnTo>
                      <a:pt x="85" y="2"/>
                    </a:lnTo>
                    <a:lnTo>
                      <a:pt x="86" y="2"/>
                    </a:lnTo>
                    <a:lnTo>
                      <a:pt x="88" y="2"/>
                    </a:lnTo>
                    <a:lnTo>
                      <a:pt x="90" y="2"/>
                    </a:lnTo>
                    <a:lnTo>
                      <a:pt x="91" y="2"/>
                    </a:lnTo>
                    <a:lnTo>
                      <a:pt x="93" y="2"/>
                    </a:lnTo>
                    <a:lnTo>
                      <a:pt x="93" y="4"/>
                    </a:lnTo>
                    <a:lnTo>
                      <a:pt x="95" y="4"/>
                    </a:lnTo>
                    <a:lnTo>
                      <a:pt x="97" y="4"/>
                    </a:lnTo>
                    <a:lnTo>
                      <a:pt x="98" y="4"/>
                    </a:lnTo>
                    <a:lnTo>
                      <a:pt x="100" y="5"/>
                    </a:lnTo>
                    <a:lnTo>
                      <a:pt x="102" y="5"/>
                    </a:lnTo>
                    <a:lnTo>
                      <a:pt x="103" y="5"/>
                    </a:lnTo>
                    <a:lnTo>
                      <a:pt x="102" y="4"/>
                    </a:lnTo>
                    <a:lnTo>
                      <a:pt x="100" y="4"/>
                    </a:lnTo>
                    <a:lnTo>
                      <a:pt x="98" y="4"/>
                    </a:lnTo>
                    <a:lnTo>
                      <a:pt x="98" y="2"/>
                    </a:lnTo>
                    <a:lnTo>
                      <a:pt x="100" y="2"/>
                    </a:lnTo>
                    <a:lnTo>
                      <a:pt x="102" y="2"/>
                    </a:lnTo>
                    <a:lnTo>
                      <a:pt x="103" y="0"/>
                    </a:lnTo>
                    <a:lnTo>
                      <a:pt x="103" y="2"/>
                    </a:lnTo>
                    <a:lnTo>
                      <a:pt x="105" y="2"/>
                    </a:lnTo>
                    <a:lnTo>
                      <a:pt x="107" y="2"/>
                    </a:lnTo>
                    <a:lnTo>
                      <a:pt x="108" y="2"/>
                    </a:lnTo>
                    <a:lnTo>
                      <a:pt x="110" y="2"/>
                    </a:lnTo>
                    <a:lnTo>
                      <a:pt x="112" y="2"/>
                    </a:lnTo>
                    <a:lnTo>
                      <a:pt x="114" y="2"/>
                    </a:lnTo>
                    <a:lnTo>
                      <a:pt x="115" y="2"/>
                    </a:lnTo>
                    <a:lnTo>
                      <a:pt x="117" y="2"/>
                    </a:lnTo>
                    <a:lnTo>
                      <a:pt x="119" y="2"/>
                    </a:lnTo>
                    <a:lnTo>
                      <a:pt x="120" y="2"/>
                    </a:lnTo>
                    <a:lnTo>
                      <a:pt x="120" y="4"/>
                    </a:lnTo>
                    <a:lnTo>
                      <a:pt x="122" y="4"/>
                    </a:lnTo>
                    <a:lnTo>
                      <a:pt x="124" y="4"/>
                    </a:lnTo>
                    <a:lnTo>
                      <a:pt x="125" y="4"/>
                    </a:lnTo>
                    <a:lnTo>
                      <a:pt x="127" y="4"/>
                    </a:lnTo>
                    <a:lnTo>
                      <a:pt x="129" y="4"/>
                    </a:lnTo>
                    <a:lnTo>
                      <a:pt x="129" y="5"/>
                    </a:lnTo>
                    <a:lnTo>
                      <a:pt x="131" y="5"/>
                    </a:lnTo>
                    <a:lnTo>
                      <a:pt x="132" y="5"/>
                    </a:lnTo>
                    <a:lnTo>
                      <a:pt x="134" y="5"/>
                    </a:lnTo>
                    <a:lnTo>
                      <a:pt x="136" y="5"/>
                    </a:lnTo>
                    <a:lnTo>
                      <a:pt x="136" y="7"/>
                    </a:lnTo>
                    <a:lnTo>
                      <a:pt x="137" y="7"/>
                    </a:lnTo>
                    <a:lnTo>
                      <a:pt x="137" y="9"/>
                    </a:lnTo>
                    <a:lnTo>
                      <a:pt x="137" y="10"/>
                    </a:lnTo>
                    <a:close/>
                    <a:moveTo>
                      <a:pt x="32" y="9"/>
                    </a:moveTo>
                    <a:lnTo>
                      <a:pt x="32" y="7"/>
                    </a:lnTo>
                    <a:lnTo>
                      <a:pt x="32" y="5"/>
                    </a:lnTo>
                    <a:lnTo>
                      <a:pt x="34" y="4"/>
                    </a:lnTo>
                    <a:lnTo>
                      <a:pt x="34" y="5"/>
                    </a:lnTo>
                    <a:lnTo>
                      <a:pt x="32" y="7"/>
                    </a:lnTo>
                    <a:lnTo>
                      <a:pt x="32" y="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7" name="Freeform 55">
                <a:extLst>
                  <a:ext uri="{FF2B5EF4-FFF2-40B4-BE49-F238E27FC236}">
                    <a16:creationId xmlns:a16="http://schemas.microsoft.com/office/drawing/2014/main" id="{058881AD-BEFA-0335-69BF-A8B5B4DEA6FC}"/>
                  </a:ext>
                </a:extLst>
              </p:cNvPr>
              <p:cNvSpPr>
                <a:spLocks noEditPoints="1"/>
              </p:cNvSpPr>
              <p:nvPr/>
            </p:nvSpPr>
            <p:spPr bwMode="auto">
              <a:xfrm>
                <a:off x="5764341" y="2833458"/>
                <a:ext cx="13512" cy="12925"/>
              </a:xfrm>
              <a:custGeom>
                <a:avLst/>
                <a:gdLst>
                  <a:gd name="T0" fmla="*/ 34 w 46"/>
                  <a:gd name="T1" fmla="*/ 17 h 44"/>
                  <a:gd name="T2" fmla="*/ 33 w 46"/>
                  <a:gd name="T3" fmla="*/ 21 h 44"/>
                  <a:gd name="T4" fmla="*/ 29 w 46"/>
                  <a:gd name="T5" fmla="*/ 22 h 44"/>
                  <a:gd name="T6" fmla="*/ 31 w 46"/>
                  <a:gd name="T7" fmla="*/ 26 h 44"/>
                  <a:gd name="T8" fmla="*/ 29 w 46"/>
                  <a:gd name="T9" fmla="*/ 29 h 44"/>
                  <a:gd name="T10" fmla="*/ 31 w 46"/>
                  <a:gd name="T11" fmla="*/ 32 h 44"/>
                  <a:gd name="T12" fmla="*/ 31 w 46"/>
                  <a:gd name="T13" fmla="*/ 36 h 44"/>
                  <a:gd name="T14" fmla="*/ 31 w 46"/>
                  <a:gd name="T15" fmla="*/ 41 h 44"/>
                  <a:gd name="T16" fmla="*/ 28 w 46"/>
                  <a:gd name="T17" fmla="*/ 43 h 44"/>
                  <a:gd name="T18" fmla="*/ 24 w 46"/>
                  <a:gd name="T19" fmla="*/ 44 h 44"/>
                  <a:gd name="T20" fmla="*/ 23 w 46"/>
                  <a:gd name="T21" fmla="*/ 44 h 44"/>
                  <a:gd name="T22" fmla="*/ 19 w 46"/>
                  <a:gd name="T23" fmla="*/ 44 h 44"/>
                  <a:gd name="T24" fmla="*/ 14 w 46"/>
                  <a:gd name="T25" fmla="*/ 44 h 44"/>
                  <a:gd name="T26" fmla="*/ 9 w 46"/>
                  <a:gd name="T27" fmla="*/ 44 h 44"/>
                  <a:gd name="T28" fmla="*/ 6 w 46"/>
                  <a:gd name="T29" fmla="*/ 43 h 44"/>
                  <a:gd name="T30" fmla="*/ 4 w 46"/>
                  <a:gd name="T31" fmla="*/ 43 h 44"/>
                  <a:gd name="T32" fmla="*/ 0 w 46"/>
                  <a:gd name="T33" fmla="*/ 44 h 44"/>
                  <a:gd name="T34" fmla="*/ 4 w 46"/>
                  <a:gd name="T35" fmla="*/ 43 h 44"/>
                  <a:gd name="T36" fmla="*/ 7 w 46"/>
                  <a:gd name="T37" fmla="*/ 41 h 44"/>
                  <a:gd name="T38" fmla="*/ 9 w 46"/>
                  <a:gd name="T39" fmla="*/ 38 h 44"/>
                  <a:gd name="T40" fmla="*/ 12 w 46"/>
                  <a:gd name="T41" fmla="*/ 38 h 44"/>
                  <a:gd name="T42" fmla="*/ 16 w 46"/>
                  <a:gd name="T43" fmla="*/ 36 h 44"/>
                  <a:gd name="T44" fmla="*/ 14 w 46"/>
                  <a:gd name="T45" fmla="*/ 32 h 44"/>
                  <a:gd name="T46" fmla="*/ 16 w 46"/>
                  <a:gd name="T47" fmla="*/ 27 h 44"/>
                  <a:gd name="T48" fmla="*/ 12 w 46"/>
                  <a:gd name="T49" fmla="*/ 24 h 44"/>
                  <a:gd name="T50" fmla="*/ 9 w 46"/>
                  <a:gd name="T51" fmla="*/ 24 h 44"/>
                  <a:gd name="T52" fmla="*/ 11 w 46"/>
                  <a:gd name="T53" fmla="*/ 21 h 44"/>
                  <a:gd name="T54" fmla="*/ 16 w 46"/>
                  <a:gd name="T55" fmla="*/ 19 h 44"/>
                  <a:gd name="T56" fmla="*/ 19 w 46"/>
                  <a:gd name="T57" fmla="*/ 19 h 44"/>
                  <a:gd name="T58" fmla="*/ 24 w 46"/>
                  <a:gd name="T59" fmla="*/ 19 h 44"/>
                  <a:gd name="T60" fmla="*/ 29 w 46"/>
                  <a:gd name="T61" fmla="*/ 17 h 44"/>
                  <a:gd name="T62" fmla="*/ 46 w 46"/>
                  <a:gd name="T63" fmla="*/ 2 h 44"/>
                  <a:gd name="T64" fmla="*/ 45 w 46"/>
                  <a:gd name="T65" fmla="*/ 5 h 44"/>
                  <a:gd name="T66" fmla="*/ 41 w 46"/>
                  <a:gd name="T67" fmla="*/ 7 h 44"/>
                  <a:gd name="T68" fmla="*/ 38 w 46"/>
                  <a:gd name="T69" fmla="*/ 7 h 44"/>
                  <a:gd name="T70" fmla="*/ 38 w 46"/>
                  <a:gd name="T71" fmla="*/ 7 h 44"/>
                  <a:gd name="T72" fmla="*/ 38 w 46"/>
                  <a:gd name="T73" fmla="*/ 4 h 44"/>
                  <a:gd name="T74" fmla="*/ 41 w 46"/>
                  <a:gd name="T75" fmla="*/ 2 h 44"/>
                  <a:gd name="T76" fmla="*/ 45 w 46"/>
                  <a:gd name="T77" fmla="*/ 0 h 44"/>
                  <a:gd name="T78" fmla="*/ 7 w 46"/>
                  <a:gd name="T79" fmla="*/ 22 h 44"/>
                  <a:gd name="T80" fmla="*/ 6 w 46"/>
                  <a:gd name="T81" fmla="*/ 22 h 44"/>
                  <a:gd name="T82" fmla="*/ 6 w 46"/>
                  <a:gd name="T83"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6" h="44">
                    <a:moveTo>
                      <a:pt x="31" y="17"/>
                    </a:moveTo>
                    <a:lnTo>
                      <a:pt x="33" y="17"/>
                    </a:lnTo>
                    <a:lnTo>
                      <a:pt x="34" y="17"/>
                    </a:lnTo>
                    <a:lnTo>
                      <a:pt x="34" y="19"/>
                    </a:lnTo>
                    <a:lnTo>
                      <a:pt x="33" y="19"/>
                    </a:lnTo>
                    <a:lnTo>
                      <a:pt x="33" y="21"/>
                    </a:lnTo>
                    <a:lnTo>
                      <a:pt x="31" y="21"/>
                    </a:lnTo>
                    <a:lnTo>
                      <a:pt x="31" y="22"/>
                    </a:lnTo>
                    <a:lnTo>
                      <a:pt x="29" y="22"/>
                    </a:lnTo>
                    <a:lnTo>
                      <a:pt x="29" y="24"/>
                    </a:lnTo>
                    <a:lnTo>
                      <a:pt x="29" y="26"/>
                    </a:lnTo>
                    <a:lnTo>
                      <a:pt x="31" y="26"/>
                    </a:lnTo>
                    <a:lnTo>
                      <a:pt x="31" y="27"/>
                    </a:lnTo>
                    <a:lnTo>
                      <a:pt x="31" y="29"/>
                    </a:lnTo>
                    <a:lnTo>
                      <a:pt x="29" y="29"/>
                    </a:lnTo>
                    <a:lnTo>
                      <a:pt x="29" y="31"/>
                    </a:lnTo>
                    <a:lnTo>
                      <a:pt x="29" y="32"/>
                    </a:lnTo>
                    <a:lnTo>
                      <a:pt x="31" y="32"/>
                    </a:lnTo>
                    <a:lnTo>
                      <a:pt x="31" y="34"/>
                    </a:lnTo>
                    <a:lnTo>
                      <a:pt x="33" y="34"/>
                    </a:lnTo>
                    <a:lnTo>
                      <a:pt x="31" y="36"/>
                    </a:lnTo>
                    <a:lnTo>
                      <a:pt x="31" y="38"/>
                    </a:lnTo>
                    <a:lnTo>
                      <a:pt x="31" y="39"/>
                    </a:lnTo>
                    <a:lnTo>
                      <a:pt x="31" y="41"/>
                    </a:lnTo>
                    <a:lnTo>
                      <a:pt x="29" y="41"/>
                    </a:lnTo>
                    <a:lnTo>
                      <a:pt x="29" y="43"/>
                    </a:lnTo>
                    <a:lnTo>
                      <a:pt x="28" y="43"/>
                    </a:lnTo>
                    <a:lnTo>
                      <a:pt x="26" y="43"/>
                    </a:lnTo>
                    <a:lnTo>
                      <a:pt x="26" y="44"/>
                    </a:lnTo>
                    <a:lnTo>
                      <a:pt x="24" y="44"/>
                    </a:lnTo>
                    <a:lnTo>
                      <a:pt x="23" y="44"/>
                    </a:lnTo>
                    <a:lnTo>
                      <a:pt x="23" y="43"/>
                    </a:lnTo>
                    <a:lnTo>
                      <a:pt x="23" y="44"/>
                    </a:lnTo>
                    <a:lnTo>
                      <a:pt x="21" y="43"/>
                    </a:lnTo>
                    <a:lnTo>
                      <a:pt x="21" y="44"/>
                    </a:lnTo>
                    <a:lnTo>
                      <a:pt x="19" y="44"/>
                    </a:lnTo>
                    <a:lnTo>
                      <a:pt x="17" y="44"/>
                    </a:lnTo>
                    <a:lnTo>
                      <a:pt x="16" y="44"/>
                    </a:lnTo>
                    <a:lnTo>
                      <a:pt x="14" y="44"/>
                    </a:lnTo>
                    <a:lnTo>
                      <a:pt x="12" y="44"/>
                    </a:lnTo>
                    <a:lnTo>
                      <a:pt x="11" y="44"/>
                    </a:lnTo>
                    <a:lnTo>
                      <a:pt x="9" y="44"/>
                    </a:lnTo>
                    <a:lnTo>
                      <a:pt x="7" y="44"/>
                    </a:lnTo>
                    <a:lnTo>
                      <a:pt x="7" y="43"/>
                    </a:lnTo>
                    <a:lnTo>
                      <a:pt x="6" y="43"/>
                    </a:lnTo>
                    <a:lnTo>
                      <a:pt x="6" y="44"/>
                    </a:lnTo>
                    <a:lnTo>
                      <a:pt x="4" y="44"/>
                    </a:lnTo>
                    <a:lnTo>
                      <a:pt x="4" y="43"/>
                    </a:lnTo>
                    <a:lnTo>
                      <a:pt x="4" y="44"/>
                    </a:lnTo>
                    <a:lnTo>
                      <a:pt x="2" y="44"/>
                    </a:lnTo>
                    <a:lnTo>
                      <a:pt x="0" y="44"/>
                    </a:lnTo>
                    <a:lnTo>
                      <a:pt x="0" y="43"/>
                    </a:lnTo>
                    <a:lnTo>
                      <a:pt x="2" y="43"/>
                    </a:lnTo>
                    <a:lnTo>
                      <a:pt x="4" y="43"/>
                    </a:lnTo>
                    <a:lnTo>
                      <a:pt x="4" y="41"/>
                    </a:lnTo>
                    <a:lnTo>
                      <a:pt x="6" y="41"/>
                    </a:lnTo>
                    <a:lnTo>
                      <a:pt x="7" y="41"/>
                    </a:lnTo>
                    <a:lnTo>
                      <a:pt x="7" y="39"/>
                    </a:lnTo>
                    <a:lnTo>
                      <a:pt x="9" y="39"/>
                    </a:lnTo>
                    <a:lnTo>
                      <a:pt x="9" y="38"/>
                    </a:lnTo>
                    <a:lnTo>
                      <a:pt x="11" y="38"/>
                    </a:lnTo>
                    <a:lnTo>
                      <a:pt x="12" y="39"/>
                    </a:lnTo>
                    <a:lnTo>
                      <a:pt x="12" y="38"/>
                    </a:lnTo>
                    <a:lnTo>
                      <a:pt x="14" y="38"/>
                    </a:lnTo>
                    <a:lnTo>
                      <a:pt x="16" y="38"/>
                    </a:lnTo>
                    <a:lnTo>
                      <a:pt x="16" y="36"/>
                    </a:lnTo>
                    <a:lnTo>
                      <a:pt x="16" y="34"/>
                    </a:lnTo>
                    <a:lnTo>
                      <a:pt x="14" y="34"/>
                    </a:lnTo>
                    <a:lnTo>
                      <a:pt x="14" y="32"/>
                    </a:lnTo>
                    <a:lnTo>
                      <a:pt x="14" y="31"/>
                    </a:lnTo>
                    <a:lnTo>
                      <a:pt x="16" y="29"/>
                    </a:lnTo>
                    <a:lnTo>
                      <a:pt x="16" y="27"/>
                    </a:lnTo>
                    <a:lnTo>
                      <a:pt x="14" y="26"/>
                    </a:lnTo>
                    <a:lnTo>
                      <a:pt x="14" y="24"/>
                    </a:lnTo>
                    <a:lnTo>
                      <a:pt x="12" y="24"/>
                    </a:lnTo>
                    <a:lnTo>
                      <a:pt x="11" y="22"/>
                    </a:lnTo>
                    <a:lnTo>
                      <a:pt x="11" y="24"/>
                    </a:lnTo>
                    <a:lnTo>
                      <a:pt x="9" y="24"/>
                    </a:lnTo>
                    <a:lnTo>
                      <a:pt x="9" y="22"/>
                    </a:lnTo>
                    <a:lnTo>
                      <a:pt x="9" y="21"/>
                    </a:lnTo>
                    <a:lnTo>
                      <a:pt x="11" y="21"/>
                    </a:lnTo>
                    <a:lnTo>
                      <a:pt x="12" y="21"/>
                    </a:lnTo>
                    <a:lnTo>
                      <a:pt x="14" y="21"/>
                    </a:lnTo>
                    <a:lnTo>
                      <a:pt x="16" y="19"/>
                    </a:lnTo>
                    <a:lnTo>
                      <a:pt x="16" y="21"/>
                    </a:lnTo>
                    <a:lnTo>
                      <a:pt x="17" y="19"/>
                    </a:lnTo>
                    <a:lnTo>
                      <a:pt x="19" y="19"/>
                    </a:lnTo>
                    <a:lnTo>
                      <a:pt x="21" y="19"/>
                    </a:lnTo>
                    <a:lnTo>
                      <a:pt x="23" y="19"/>
                    </a:lnTo>
                    <a:lnTo>
                      <a:pt x="24" y="19"/>
                    </a:lnTo>
                    <a:lnTo>
                      <a:pt x="26" y="19"/>
                    </a:lnTo>
                    <a:lnTo>
                      <a:pt x="28" y="19"/>
                    </a:lnTo>
                    <a:lnTo>
                      <a:pt x="29" y="17"/>
                    </a:lnTo>
                    <a:lnTo>
                      <a:pt x="31" y="17"/>
                    </a:lnTo>
                    <a:close/>
                    <a:moveTo>
                      <a:pt x="46" y="0"/>
                    </a:moveTo>
                    <a:lnTo>
                      <a:pt x="46" y="2"/>
                    </a:lnTo>
                    <a:lnTo>
                      <a:pt x="46" y="4"/>
                    </a:lnTo>
                    <a:lnTo>
                      <a:pt x="45" y="4"/>
                    </a:lnTo>
                    <a:lnTo>
                      <a:pt x="45" y="5"/>
                    </a:lnTo>
                    <a:lnTo>
                      <a:pt x="43" y="5"/>
                    </a:lnTo>
                    <a:lnTo>
                      <a:pt x="41" y="5"/>
                    </a:lnTo>
                    <a:lnTo>
                      <a:pt x="41" y="7"/>
                    </a:lnTo>
                    <a:lnTo>
                      <a:pt x="40" y="5"/>
                    </a:lnTo>
                    <a:lnTo>
                      <a:pt x="40" y="7"/>
                    </a:lnTo>
                    <a:lnTo>
                      <a:pt x="38" y="7"/>
                    </a:lnTo>
                    <a:lnTo>
                      <a:pt x="36" y="7"/>
                    </a:lnTo>
                    <a:lnTo>
                      <a:pt x="36" y="5"/>
                    </a:lnTo>
                    <a:lnTo>
                      <a:pt x="38" y="7"/>
                    </a:lnTo>
                    <a:lnTo>
                      <a:pt x="36" y="5"/>
                    </a:lnTo>
                    <a:lnTo>
                      <a:pt x="38" y="5"/>
                    </a:lnTo>
                    <a:lnTo>
                      <a:pt x="38" y="4"/>
                    </a:lnTo>
                    <a:lnTo>
                      <a:pt x="40" y="4"/>
                    </a:lnTo>
                    <a:lnTo>
                      <a:pt x="41" y="4"/>
                    </a:lnTo>
                    <a:lnTo>
                      <a:pt x="41" y="2"/>
                    </a:lnTo>
                    <a:lnTo>
                      <a:pt x="43" y="2"/>
                    </a:lnTo>
                    <a:lnTo>
                      <a:pt x="45" y="2"/>
                    </a:lnTo>
                    <a:lnTo>
                      <a:pt x="45" y="0"/>
                    </a:lnTo>
                    <a:lnTo>
                      <a:pt x="46" y="2"/>
                    </a:lnTo>
                    <a:lnTo>
                      <a:pt x="46" y="0"/>
                    </a:lnTo>
                    <a:close/>
                    <a:moveTo>
                      <a:pt x="7" y="22"/>
                    </a:moveTo>
                    <a:lnTo>
                      <a:pt x="9" y="22"/>
                    </a:lnTo>
                    <a:lnTo>
                      <a:pt x="7" y="22"/>
                    </a:lnTo>
                    <a:close/>
                    <a:moveTo>
                      <a:pt x="6" y="22"/>
                    </a:moveTo>
                    <a:lnTo>
                      <a:pt x="6" y="24"/>
                    </a:lnTo>
                    <a:lnTo>
                      <a:pt x="6" y="22"/>
                    </a:lnTo>
                    <a:close/>
                    <a:moveTo>
                      <a:pt x="6" y="22"/>
                    </a:moveTo>
                    <a:lnTo>
                      <a:pt x="7" y="22"/>
                    </a:lnTo>
                    <a:lnTo>
                      <a:pt x="6" y="2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9" name="Freeform 57">
                <a:extLst>
                  <a:ext uri="{FF2B5EF4-FFF2-40B4-BE49-F238E27FC236}">
                    <a16:creationId xmlns:a16="http://schemas.microsoft.com/office/drawing/2014/main" id="{77F6F645-CED9-0C71-FBF4-B8875F1EEAC5}"/>
                  </a:ext>
                </a:extLst>
              </p:cNvPr>
              <p:cNvSpPr>
                <a:spLocks noEditPoints="1"/>
              </p:cNvSpPr>
              <p:nvPr/>
            </p:nvSpPr>
            <p:spPr bwMode="auto">
              <a:xfrm>
                <a:off x="5798423" y="3260229"/>
                <a:ext cx="53457" cy="57570"/>
              </a:xfrm>
              <a:custGeom>
                <a:avLst/>
                <a:gdLst>
                  <a:gd name="T0" fmla="*/ 167 w 182"/>
                  <a:gd name="T1" fmla="*/ 153 h 196"/>
                  <a:gd name="T2" fmla="*/ 162 w 182"/>
                  <a:gd name="T3" fmla="*/ 163 h 196"/>
                  <a:gd name="T4" fmla="*/ 156 w 182"/>
                  <a:gd name="T5" fmla="*/ 172 h 196"/>
                  <a:gd name="T6" fmla="*/ 146 w 182"/>
                  <a:gd name="T7" fmla="*/ 182 h 196"/>
                  <a:gd name="T8" fmla="*/ 134 w 182"/>
                  <a:gd name="T9" fmla="*/ 187 h 196"/>
                  <a:gd name="T10" fmla="*/ 128 w 182"/>
                  <a:gd name="T11" fmla="*/ 190 h 196"/>
                  <a:gd name="T12" fmla="*/ 117 w 182"/>
                  <a:gd name="T13" fmla="*/ 192 h 196"/>
                  <a:gd name="T14" fmla="*/ 107 w 182"/>
                  <a:gd name="T15" fmla="*/ 192 h 196"/>
                  <a:gd name="T16" fmla="*/ 100 w 182"/>
                  <a:gd name="T17" fmla="*/ 187 h 196"/>
                  <a:gd name="T18" fmla="*/ 87 w 182"/>
                  <a:gd name="T19" fmla="*/ 189 h 196"/>
                  <a:gd name="T20" fmla="*/ 78 w 182"/>
                  <a:gd name="T21" fmla="*/ 192 h 196"/>
                  <a:gd name="T22" fmla="*/ 70 w 182"/>
                  <a:gd name="T23" fmla="*/ 189 h 196"/>
                  <a:gd name="T24" fmla="*/ 63 w 182"/>
                  <a:gd name="T25" fmla="*/ 185 h 196"/>
                  <a:gd name="T26" fmla="*/ 53 w 182"/>
                  <a:gd name="T27" fmla="*/ 180 h 196"/>
                  <a:gd name="T28" fmla="*/ 44 w 182"/>
                  <a:gd name="T29" fmla="*/ 173 h 196"/>
                  <a:gd name="T30" fmla="*/ 32 w 182"/>
                  <a:gd name="T31" fmla="*/ 173 h 196"/>
                  <a:gd name="T32" fmla="*/ 24 w 182"/>
                  <a:gd name="T33" fmla="*/ 173 h 196"/>
                  <a:gd name="T34" fmla="*/ 19 w 182"/>
                  <a:gd name="T35" fmla="*/ 168 h 196"/>
                  <a:gd name="T36" fmla="*/ 9 w 182"/>
                  <a:gd name="T37" fmla="*/ 161 h 196"/>
                  <a:gd name="T38" fmla="*/ 2 w 182"/>
                  <a:gd name="T39" fmla="*/ 151 h 196"/>
                  <a:gd name="T40" fmla="*/ 0 w 182"/>
                  <a:gd name="T41" fmla="*/ 134 h 196"/>
                  <a:gd name="T42" fmla="*/ 5 w 182"/>
                  <a:gd name="T43" fmla="*/ 119 h 196"/>
                  <a:gd name="T44" fmla="*/ 14 w 182"/>
                  <a:gd name="T45" fmla="*/ 112 h 196"/>
                  <a:gd name="T46" fmla="*/ 10 w 182"/>
                  <a:gd name="T47" fmla="*/ 100 h 196"/>
                  <a:gd name="T48" fmla="*/ 10 w 182"/>
                  <a:gd name="T49" fmla="*/ 90 h 196"/>
                  <a:gd name="T50" fmla="*/ 10 w 182"/>
                  <a:gd name="T51" fmla="*/ 82 h 196"/>
                  <a:gd name="T52" fmla="*/ 10 w 182"/>
                  <a:gd name="T53" fmla="*/ 70 h 196"/>
                  <a:gd name="T54" fmla="*/ 17 w 182"/>
                  <a:gd name="T55" fmla="*/ 56 h 196"/>
                  <a:gd name="T56" fmla="*/ 17 w 182"/>
                  <a:gd name="T57" fmla="*/ 48 h 196"/>
                  <a:gd name="T58" fmla="*/ 20 w 182"/>
                  <a:gd name="T59" fmla="*/ 36 h 196"/>
                  <a:gd name="T60" fmla="*/ 22 w 182"/>
                  <a:gd name="T61" fmla="*/ 25 h 196"/>
                  <a:gd name="T62" fmla="*/ 22 w 182"/>
                  <a:gd name="T63" fmla="*/ 13 h 196"/>
                  <a:gd name="T64" fmla="*/ 29 w 182"/>
                  <a:gd name="T65" fmla="*/ 5 h 196"/>
                  <a:gd name="T66" fmla="*/ 34 w 182"/>
                  <a:gd name="T67" fmla="*/ 7 h 196"/>
                  <a:gd name="T68" fmla="*/ 41 w 182"/>
                  <a:gd name="T69" fmla="*/ 7 h 196"/>
                  <a:gd name="T70" fmla="*/ 51 w 182"/>
                  <a:gd name="T71" fmla="*/ 0 h 196"/>
                  <a:gd name="T72" fmla="*/ 61 w 182"/>
                  <a:gd name="T73" fmla="*/ 5 h 196"/>
                  <a:gd name="T74" fmla="*/ 66 w 182"/>
                  <a:gd name="T75" fmla="*/ 10 h 196"/>
                  <a:gd name="T76" fmla="*/ 70 w 182"/>
                  <a:gd name="T77" fmla="*/ 15 h 196"/>
                  <a:gd name="T78" fmla="*/ 77 w 182"/>
                  <a:gd name="T79" fmla="*/ 19 h 196"/>
                  <a:gd name="T80" fmla="*/ 82 w 182"/>
                  <a:gd name="T81" fmla="*/ 25 h 196"/>
                  <a:gd name="T82" fmla="*/ 88 w 182"/>
                  <a:gd name="T83" fmla="*/ 36 h 196"/>
                  <a:gd name="T84" fmla="*/ 95 w 182"/>
                  <a:gd name="T85" fmla="*/ 34 h 196"/>
                  <a:gd name="T86" fmla="*/ 100 w 182"/>
                  <a:gd name="T87" fmla="*/ 32 h 196"/>
                  <a:gd name="T88" fmla="*/ 105 w 182"/>
                  <a:gd name="T89" fmla="*/ 39 h 196"/>
                  <a:gd name="T90" fmla="*/ 109 w 182"/>
                  <a:gd name="T91" fmla="*/ 46 h 196"/>
                  <a:gd name="T92" fmla="*/ 117 w 182"/>
                  <a:gd name="T93" fmla="*/ 48 h 196"/>
                  <a:gd name="T94" fmla="*/ 124 w 182"/>
                  <a:gd name="T95" fmla="*/ 53 h 196"/>
                  <a:gd name="T96" fmla="*/ 134 w 182"/>
                  <a:gd name="T97" fmla="*/ 56 h 196"/>
                  <a:gd name="T98" fmla="*/ 143 w 182"/>
                  <a:gd name="T99" fmla="*/ 68 h 196"/>
                  <a:gd name="T100" fmla="*/ 151 w 182"/>
                  <a:gd name="T101" fmla="*/ 71 h 196"/>
                  <a:gd name="T102" fmla="*/ 158 w 182"/>
                  <a:gd name="T103" fmla="*/ 78 h 196"/>
                  <a:gd name="T104" fmla="*/ 162 w 182"/>
                  <a:gd name="T105" fmla="*/ 85 h 196"/>
                  <a:gd name="T106" fmla="*/ 168 w 182"/>
                  <a:gd name="T107" fmla="*/ 93 h 196"/>
                  <a:gd name="T108" fmla="*/ 175 w 182"/>
                  <a:gd name="T109" fmla="*/ 99 h 196"/>
                  <a:gd name="T110" fmla="*/ 179 w 182"/>
                  <a:gd name="T111" fmla="*/ 105 h 196"/>
                  <a:gd name="T112" fmla="*/ 170 w 182"/>
                  <a:gd name="T113" fmla="*/ 119 h 196"/>
                  <a:gd name="T114" fmla="*/ 168 w 182"/>
                  <a:gd name="T115" fmla="*/ 129 h 196"/>
                  <a:gd name="T116" fmla="*/ 168 w 182"/>
                  <a:gd name="T117" fmla="*/ 143 h 196"/>
                  <a:gd name="T118" fmla="*/ 71 w 182"/>
                  <a:gd name="T119" fmla="*/ 187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2" h="196">
                    <a:moveTo>
                      <a:pt x="172" y="144"/>
                    </a:moveTo>
                    <a:lnTo>
                      <a:pt x="172" y="146"/>
                    </a:lnTo>
                    <a:lnTo>
                      <a:pt x="170" y="146"/>
                    </a:lnTo>
                    <a:lnTo>
                      <a:pt x="170" y="148"/>
                    </a:lnTo>
                    <a:lnTo>
                      <a:pt x="168" y="150"/>
                    </a:lnTo>
                    <a:lnTo>
                      <a:pt x="168" y="151"/>
                    </a:lnTo>
                    <a:lnTo>
                      <a:pt x="168" y="153"/>
                    </a:lnTo>
                    <a:lnTo>
                      <a:pt x="167" y="153"/>
                    </a:lnTo>
                    <a:lnTo>
                      <a:pt x="167" y="155"/>
                    </a:lnTo>
                    <a:lnTo>
                      <a:pt x="167" y="156"/>
                    </a:lnTo>
                    <a:lnTo>
                      <a:pt x="167" y="158"/>
                    </a:lnTo>
                    <a:lnTo>
                      <a:pt x="165" y="158"/>
                    </a:lnTo>
                    <a:lnTo>
                      <a:pt x="163" y="160"/>
                    </a:lnTo>
                    <a:lnTo>
                      <a:pt x="163" y="161"/>
                    </a:lnTo>
                    <a:lnTo>
                      <a:pt x="162" y="161"/>
                    </a:lnTo>
                    <a:lnTo>
                      <a:pt x="162" y="163"/>
                    </a:lnTo>
                    <a:lnTo>
                      <a:pt x="160" y="163"/>
                    </a:lnTo>
                    <a:lnTo>
                      <a:pt x="160" y="165"/>
                    </a:lnTo>
                    <a:lnTo>
                      <a:pt x="158" y="167"/>
                    </a:lnTo>
                    <a:lnTo>
                      <a:pt x="158" y="168"/>
                    </a:lnTo>
                    <a:lnTo>
                      <a:pt x="160" y="170"/>
                    </a:lnTo>
                    <a:lnTo>
                      <a:pt x="158" y="170"/>
                    </a:lnTo>
                    <a:lnTo>
                      <a:pt x="158" y="172"/>
                    </a:lnTo>
                    <a:lnTo>
                      <a:pt x="156" y="172"/>
                    </a:lnTo>
                    <a:lnTo>
                      <a:pt x="155" y="173"/>
                    </a:lnTo>
                    <a:lnTo>
                      <a:pt x="153" y="173"/>
                    </a:lnTo>
                    <a:lnTo>
                      <a:pt x="151" y="175"/>
                    </a:lnTo>
                    <a:lnTo>
                      <a:pt x="150" y="177"/>
                    </a:lnTo>
                    <a:lnTo>
                      <a:pt x="148" y="178"/>
                    </a:lnTo>
                    <a:lnTo>
                      <a:pt x="148" y="180"/>
                    </a:lnTo>
                    <a:lnTo>
                      <a:pt x="146" y="180"/>
                    </a:lnTo>
                    <a:lnTo>
                      <a:pt x="146" y="182"/>
                    </a:lnTo>
                    <a:lnTo>
                      <a:pt x="145" y="182"/>
                    </a:lnTo>
                    <a:lnTo>
                      <a:pt x="143" y="182"/>
                    </a:lnTo>
                    <a:lnTo>
                      <a:pt x="141" y="184"/>
                    </a:lnTo>
                    <a:lnTo>
                      <a:pt x="139" y="184"/>
                    </a:lnTo>
                    <a:lnTo>
                      <a:pt x="139" y="185"/>
                    </a:lnTo>
                    <a:lnTo>
                      <a:pt x="138" y="185"/>
                    </a:lnTo>
                    <a:lnTo>
                      <a:pt x="136" y="185"/>
                    </a:lnTo>
                    <a:lnTo>
                      <a:pt x="134" y="187"/>
                    </a:lnTo>
                    <a:lnTo>
                      <a:pt x="133" y="187"/>
                    </a:lnTo>
                    <a:lnTo>
                      <a:pt x="133" y="189"/>
                    </a:lnTo>
                    <a:lnTo>
                      <a:pt x="131" y="189"/>
                    </a:lnTo>
                    <a:lnTo>
                      <a:pt x="129" y="189"/>
                    </a:lnTo>
                    <a:lnTo>
                      <a:pt x="129" y="190"/>
                    </a:lnTo>
                    <a:lnTo>
                      <a:pt x="129" y="189"/>
                    </a:lnTo>
                    <a:lnTo>
                      <a:pt x="129" y="190"/>
                    </a:lnTo>
                    <a:lnTo>
                      <a:pt x="128" y="190"/>
                    </a:lnTo>
                    <a:lnTo>
                      <a:pt x="126" y="190"/>
                    </a:lnTo>
                    <a:lnTo>
                      <a:pt x="124" y="192"/>
                    </a:lnTo>
                    <a:lnTo>
                      <a:pt x="122" y="192"/>
                    </a:lnTo>
                    <a:lnTo>
                      <a:pt x="121" y="194"/>
                    </a:lnTo>
                    <a:lnTo>
                      <a:pt x="119" y="196"/>
                    </a:lnTo>
                    <a:lnTo>
                      <a:pt x="119" y="194"/>
                    </a:lnTo>
                    <a:lnTo>
                      <a:pt x="119" y="192"/>
                    </a:lnTo>
                    <a:lnTo>
                      <a:pt x="117" y="192"/>
                    </a:lnTo>
                    <a:lnTo>
                      <a:pt x="116" y="192"/>
                    </a:lnTo>
                    <a:lnTo>
                      <a:pt x="116" y="190"/>
                    </a:lnTo>
                    <a:lnTo>
                      <a:pt x="114" y="190"/>
                    </a:lnTo>
                    <a:lnTo>
                      <a:pt x="112" y="190"/>
                    </a:lnTo>
                    <a:lnTo>
                      <a:pt x="112" y="192"/>
                    </a:lnTo>
                    <a:lnTo>
                      <a:pt x="111" y="192"/>
                    </a:lnTo>
                    <a:lnTo>
                      <a:pt x="109" y="192"/>
                    </a:lnTo>
                    <a:lnTo>
                      <a:pt x="107" y="192"/>
                    </a:lnTo>
                    <a:lnTo>
                      <a:pt x="109" y="190"/>
                    </a:lnTo>
                    <a:lnTo>
                      <a:pt x="107" y="190"/>
                    </a:lnTo>
                    <a:lnTo>
                      <a:pt x="107" y="189"/>
                    </a:lnTo>
                    <a:lnTo>
                      <a:pt x="105" y="189"/>
                    </a:lnTo>
                    <a:lnTo>
                      <a:pt x="104" y="189"/>
                    </a:lnTo>
                    <a:lnTo>
                      <a:pt x="104" y="187"/>
                    </a:lnTo>
                    <a:lnTo>
                      <a:pt x="102" y="187"/>
                    </a:lnTo>
                    <a:lnTo>
                      <a:pt x="100" y="187"/>
                    </a:lnTo>
                    <a:lnTo>
                      <a:pt x="99" y="187"/>
                    </a:lnTo>
                    <a:lnTo>
                      <a:pt x="97" y="187"/>
                    </a:lnTo>
                    <a:lnTo>
                      <a:pt x="95" y="187"/>
                    </a:lnTo>
                    <a:lnTo>
                      <a:pt x="94" y="187"/>
                    </a:lnTo>
                    <a:lnTo>
                      <a:pt x="92" y="187"/>
                    </a:lnTo>
                    <a:lnTo>
                      <a:pt x="90" y="187"/>
                    </a:lnTo>
                    <a:lnTo>
                      <a:pt x="88" y="187"/>
                    </a:lnTo>
                    <a:lnTo>
                      <a:pt x="87" y="189"/>
                    </a:lnTo>
                    <a:lnTo>
                      <a:pt x="85" y="189"/>
                    </a:lnTo>
                    <a:lnTo>
                      <a:pt x="85" y="190"/>
                    </a:lnTo>
                    <a:lnTo>
                      <a:pt x="83" y="190"/>
                    </a:lnTo>
                    <a:lnTo>
                      <a:pt x="82" y="192"/>
                    </a:lnTo>
                    <a:lnTo>
                      <a:pt x="80" y="192"/>
                    </a:lnTo>
                    <a:lnTo>
                      <a:pt x="78" y="192"/>
                    </a:lnTo>
                    <a:lnTo>
                      <a:pt x="78" y="194"/>
                    </a:lnTo>
                    <a:lnTo>
                      <a:pt x="78" y="192"/>
                    </a:lnTo>
                    <a:lnTo>
                      <a:pt x="77" y="192"/>
                    </a:lnTo>
                    <a:lnTo>
                      <a:pt x="77" y="190"/>
                    </a:lnTo>
                    <a:lnTo>
                      <a:pt x="75" y="190"/>
                    </a:lnTo>
                    <a:lnTo>
                      <a:pt x="75" y="192"/>
                    </a:lnTo>
                    <a:lnTo>
                      <a:pt x="73" y="192"/>
                    </a:lnTo>
                    <a:lnTo>
                      <a:pt x="71" y="190"/>
                    </a:lnTo>
                    <a:lnTo>
                      <a:pt x="70" y="190"/>
                    </a:lnTo>
                    <a:lnTo>
                      <a:pt x="70" y="189"/>
                    </a:lnTo>
                    <a:lnTo>
                      <a:pt x="71" y="187"/>
                    </a:lnTo>
                    <a:lnTo>
                      <a:pt x="70" y="187"/>
                    </a:lnTo>
                    <a:lnTo>
                      <a:pt x="70" y="185"/>
                    </a:lnTo>
                    <a:lnTo>
                      <a:pt x="68" y="185"/>
                    </a:lnTo>
                    <a:lnTo>
                      <a:pt x="66" y="185"/>
                    </a:lnTo>
                    <a:lnTo>
                      <a:pt x="65" y="187"/>
                    </a:lnTo>
                    <a:lnTo>
                      <a:pt x="65" y="185"/>
                    </a:lnTo>
                    <a:lnTo>
                      <a:pt x="63" y="185"/>
                    </a:lnTo>
                    <a:lnTo>
                      <a:pt x="61" y="185"/>
                    </a:lnTo>
                    <a:lnTo>
                      <a:pt x="61" y="184"/>
                    </a:lnTo>
                    <a:lnTo>
                      <a:pt x="60" y="184"/>
                    </a:lnTo>
                    <a:lnTo>
                      <a:pt x="58" y="184"/>
                    </a:lnTo>
                    <a:lnTo>
                      <a:pt x="56" y="184"/>
                    </a:lnTo>
                    <a:lnTo>
                      <a:pt x="54" y="182"/>
                    </a:lnTo>
                    <a:lnTo>
                      <a:pt x="53" y="182"/>
                    </a:lnTo>
                    <a:lnTo>
                      <a:pt x="53" y="180"/>
                    </a:lnTo>
                    <a:lnTo>
                      <a:pt x="51" y="180"/>
                    </a:lnTo>
                    <a:lnTo>
                      <a:pt x="51" y="178"/>
                    </a:lnTo>
                    <a:lnTo>
                      <a:pt x="49" y="177"/>
                    </a:lnTo>
                    <a:lnTo>
                      <a:pt x="48" y="177"/>
                    </a:lnTo>
                    <a:lnTo>
                      <a:pt x="48" y="175"/>
                    </a:lnTo>
                    <a:lnTo>
                      <a:pt x="46" y="175"/>
                    </a:lnTo>
                    <a:lnTo>
                      <a:pt x="46" y="173"/>
                    </a:lnTo>
                    <a:lnTo>
                      <a:pt x="44" y="173"/>
                    </a:lnTo>
                    <a:lnTo>
                      <a:pt x="43" y="173"/>
                    </a:lnTo>
                    <a:lnTo>
                      <a:pt x="41" y="173"/>
                    </a:lnTo>
                    <a:lnTo>
                      <a:pt x="39" y="173"/>
                    </a:lnTo>
                    <a:lnTo>
                      <a:pt x="37" y="173"/>
                    </a:lnTo>
                    <a:lnTo>
                      <a:pt x="37" y="172"/>
                    </a:lnTo>
                    <a:lnTo>
                      <a:pt x="36" y="173"/>
                    </a:lnTo>
                    <a:lnTo>
                      <a:pt x="34" y="173"/>
                    </a:lnTo>
                    <a:lnTo>
                      <a:pt x="32" y="173"/>
                    </a:lnTo>
                    <a:lnTo>
                      <a:pt x="31" y="173"/>
                    </a:lnTo>
                    <a:lnTo>
                      <a:pt x="31" y="172"/>
                    </a:lnTo>
                    <a:lnTo>
                      <a:pt x="29" y="173"/>
                    </a:lnTo>
                    <a:lnTo>
                      <a:pt x="27" y="173"/>
                    </a:lnTo>
                    <a:lnTo>
                      <a:pt x="26" y="173"/>
                    </a:lnTo>
                    <a:lnTo>
                      <a:pt x="24" y="173"/>
                    </a:lnTo>
                    <a:lnTo>
                      <a:pt x="24" y="175"/>
                    </a:lnTo>
                    <a:lnTo>
                      <a:pt x="24" y="173"/>
                    </a:lnTo>
                    <a:lnTo>
                      <a:pt x="22" y="175"/>
                    </a:lnTo>
                    <a:lnTo>
                      <a:pt x="20" y="175"/>
                    </a:lnTo>
                    <a:lnTo>
                      <a:pt x="22" y="173"/>
                    </a:lnTo>
                    <a:lnTo>
                      <a:pt x="20" y="173"/>
                    </a:lnTo>
                    <a:lnTo>
                      <a:pt x="20" y="172"/>
                    </a:lnTo>
                    <a:lnTo>
                      <a:pt x="20" y="170"/>
                    </a:lnTo>
                    <a:lnTo>
                      <a:pt x="19" y="170"/>
                    </a:lnTo>
                    <a:lnTo>
                      <a:pt x="19" y="168"/>
                    </a:lnTo>
                    <a:lnTo>
                      <a:pt x="17" y="168"/>
                    </a:lnTo>
                    <a:lnTo>
                      <a:pt x="17" y="167"/>
                    </a:lnTo>
                    <a:lnTo>
                      <a:pt x="15" y="165"/>
                    </a:lnTo>
                    <a:lnTo>
                      <a:pt x="14" y="165"/>
                    </a:lnTo>
                    <a:lnTo>
                      <a:pt x="14" y="163"/>
                    </a:lnTo>
                    <a:lnTo>
                      <a:pt x="12" y="161"/>
                    </a:lnTo>
                    <a:lnTo>
                      <a:pt x="10" y="161"/>
                    </a:lnTo>
                    <a:lnTo>
                      <a:pt x="9" y="161"/>
                    </a:lnTo>
                    <a:lnTo>
                      <a:pt x="9" y="160"/>
                    </a:lnTo>
                    <a:lnTo>
                      <a:pt x="9" y="158"/>
                    </a:lnTo>
                    <a:lnTo>
                      <a:pt x="7" y="156"/>
                    </a:lnTo>
                    <a:lnTo>
                      <a:pt x="7" y="155"/>
                    </a:lnTo>
                    <a:lnTo>
                      <a:pt x="5" y="155"/>
                    </a:lnTo>
                    <a:lnTo>
                      <a:pt x="5" y="153"/>
                    </a:lnTo>
                    <a:lnTo>
                      <a:pt x="3" y="153"/>
                    </a:lnTo>
                    <a:lnTo>
                      <a:pt x="2" y="151"/>
                    </a:lnTo>
                    <a:lnTo>
                      <a:pt x="2" y="150"/>
                    </a:lnTo>
                    <a:lnTo>
                      <a:pt x="2" y="148"/>
                    </a:lnTo>
                    <a:lnTo>
                      <a:pt x="2" y="146"/>
                    </a:lnTo>
                    <a:lnTo>
                      <a:pt x="0" y="144"/>
                    </a:lnTo>
                    <a:lnTo>
                      <a:pt x="0" y="143"/>
                    </a:lnTo>
                    <a:lnTo>
                      <a:pt x="0" y="138"/>
                    </a:lnTo>
                    <a:lnTo>
                      <a:pt x="0" y="136"/>
                    </a:lnTo>
                    <a:lnTo>
                      <a:pt x="0" y="134"/>
                    </a:lnTo>
                    <a:lnTo>
                      <a:pt x="0" y="131"/>
                    </a:lnTo>
                    <a:lnTo>
                      <a:pt x="2" y="129"/>
                    </a:lnTo>
                    <a:lnTo>
                      <a:pt x="2" y="127"/>
                    </a:lnTo>
                    <a:lnTo>
                      <a:pt x="3" y="127"/>
                    </a:lnTo>
                    <a:lnTo>
                      <a:pt x="3" y="126"/>
                    </a:lnTo>
                    <a:lnTo>
                      <a:pt x="3" y="121"/>
                    </a:lnTo>
                    <a:lnTo>
                      <a:pt x="3" y="119"/>
                    </a:lnTo>
                    <a:lnTo>
                      <a:pt x="5" y="119"/>
                    </a:lnTo>
                    <a:lnTo>
                      <a:pt x="7" y="119"/>
                    </a:lnTo>
                    <a:lnTo>
                      <a:pt x="9" y="119"/>
                    </a:lnTo>
                    <a:lnTo>
                      <a:pt x="10" y="117"/>
                    </a:lnTo>
                    <a:lnTo>
                      <a:pt x="12" y="117"/>
                    </a:lnTo>
                    <a:lnTo>
                      <a:pt x="12" y="116"/>
                    </a:lnTo>
                    <a:lnTo>
                      <a:pt x="14" y="116"/>
                    </a:lnTo>
                    <a:lnTo>
                      <a:pt x="14" y="114"/>
                    </a:lnTo>
                    <a:lnTo>
                      <a:pt x="14" y="112"/>
                    </a:lnTo>
                    <a:lnTo>
                      <a:pt x="12" y="110"/>
                    </a:lnTo>
                    <a:lnTo>
                      <a:pt x="12" y="109"/>
                    </a:lnTo>
                    <a:lnTo>
                      <a:pt x="12" y="107"/>
                    </a:lnTo>
                    <a:lnTo>
                      <a:pt x="12" y="105"/>
                    </a:lnTo>
                    <a:lnTo>
                      <a:pt x="12" y="104"/>
                    </a:lnTo>
                    <a:lnTo>
                      <a:pt x="12" y="102"/>
                    </a:lnTo>
                    <a:lnTo>
                      <a:pt x="12" y="100"/>
                    </a:lnTo>
                    <a:lnTo>
                      <a:pt x="10" y="100"/>
                    </a:lnTo>
                    <a:lnTo>
                      <a:pt x="12" y="100"/>
                    </a:lnTo>
                    <a:lnTo>
                      <a:pt x="10" y="99"/>
                    </a:lnTo>
                    <a:lnTo>
                      <a:pt x="10" y="97"/>
                    </a:lnTo>
                    <a:lnTo>
                      <a:pt x="10" y="95"/>
                    </a:lnTo>
                    <a:lnTo>
                      <a:pt x="10" y="93"/>
                    </a:lnTo>
                    <a:lnTo>
                      <a:pt x="9" y="93"/>
                    </a:lnTo>
                    <a:lnTo>
                      <a:pt x="10" y="92"/>
                    </a:lnTo>
                    <a:lnTo>
                      <a:pt x="10" y="90"/>
                    </a:lnTo>
                    <a:lnTo>
                      <a:pt x="10" y="88"/>
                    </a:lnTo>
                    <a:lnTo>
                      <a:pt x="12" y="88"/>
                    </a:lnTo>
                    <a:lnTo>
                      <a:pt x="12" y="87"/>
                    </a:lnTo>
                    <a:lnTo>
                      <a:pt x="14" y="87"/>
                    </a:lnTo>
                    <a:lnTo>
                      <a:pt x="14" y="85"/>
                    </a:lnTo>
                    <a:lnTo>
                      <a:pt x="12" y="85"/>
                    </a:lnTo>
                    <a:lnTo>
                      <a:pt x="12" y="83"/>
                    </a:lnTo>
                    <a:lnTo>
                      <a:pt x="10" y="82"/>
                    </a:lnTo>
                    <a:lnTo>
                      <a:pt x="10" y="80"/>
                    </a:lnTo>
                    <a:lnTo>
                      <a:pt x="10" y="78"/>
                    </a:lnTo>
                    <a:lnTo>
                      <a:pt x="12" y="78"/>
                    </a:lnTo>
                    <a:lnTo>
                      <a:pt x="12" y="76"/>
                    </a:lnTo>
                    <a:lnTo>
                      <a:pt x="12" y="75"/>
                    </a:lnTo>
                    <a:lnTo>
                      <a:pt x="10" y="73"/>
                    </a:lnTo>
                    <a:lnTo>
                      <a:pt x="10" y="71"/>
                    </a:lnTo>
                    <a:lnTo>
                      <a:pt x="10" y="70"/>
                    </a:lnTo>
                    <a:lnTo>
                      <a:pt x="10" y="68"/>
                    </a:lnTo>
                    <a:lnTo>
                      <a:pt x="12" y="68"/>
                    </a:lnTo>
                    <a:lnTo>
                      <a:pt x="14" y="68"/>
                    </a:lnTo>
                    <a:lnTo>
                      <a:pt x="15" y="65"/>
                    </a:lnTo>
                    <a:lnTo>
                      <a:pt x="15" y="63"/>
                    </a:lnTo>
                    <a:lnTo>
                      <a:pt x="17" y="59"/>
                    </a:lnTo>
                    <a:lnTo>
                      <a:pt x="17" y="58"/>
                    </a:lnTo>
                    <a:lnTo>
                      <a:pt x="17" y="56"/>
                    </a:lnTo>
                    <a:lnTo>
                      <a:pt x="15" y="56"/>
                    </a:lnTo>
                    <a:lnTo>
                      <a:pt x="15" y="54"/>
                    </a:lnTo>
                    <a:lnTo>
                      <a:pt x="14" y="54"/>
                    </a:lnTo>
                    <a:lnTo>
                      <a:pt x="14" y="53"/>
                    </a:lnTo>
                    <a:lnTo>
                      <a:pt x="15" y="51"/>
                    </a:lnTo>
                    <a:lnTo>
                      <a:pt x="17" y="51"/>
                    </a:lnTo>
                    <a:lnTo>
                      <a:pt x="17" y="49"/>
                    </a:lnTo>
                    <a:lnTo>
                      <a:pt x="17" y="48"/>
                    </a:lnTo>
                    <a:lnTo>
                      <a:pt x="19" y="46"/>
                    </a:lnTo>
                    <a:lnTo>
                      <a:pt x="19" y="44"/>
                    </a:lnTo>
                    <a:lnTo>
                      <a:pt x="19" y="42"/>
                    </a:lnTo>
                    <a:lnTo>
                      <a:pt x="19" y="41"/>
                    </a:lnTo>
                    <a:lnTo>
                      <a:pt x="19" y="39"/>
                    </a:lnTo>
                    <a:lnTo>
                      <a:pt x="20" y="39"/>
                    </a:lnTo>
                    <a:lnTo>
                      <a:pt x="20" y="37"/>
                    </a:lnTo>
                    <a:lnTo>
                      <a:pt x="20" y="36"/>
                    </a:lnTo>
                    <a:lnTo>
                      <a:pt x="20" y="34"/>
                    </a:lnTo>
                    <a:lnTo>
                      <a:pt x="19" y="34"/>
                    </a:lnTo>
                    <a:lnTo>
                      <a:pt x="19" y="32"/>
                    </a:lnTo>
                    <a:lnTo>
                      <a:pt x="20" y="32"/>
                    </a:lnTo>
                    <a:lnTo>
                      <a:pt x="22" y="32"/>
                    </a:lnTo>
                    <a:lnTo>
                      <a:pt x="22" y="31"/>
                    </a:lnTo>
                    <a:lnTo>
                      <a:pt x="22" y="27"/>
                    </a:lnTo>
                    <a:lnTo>
                      <a:pt x="22" y="25"/>
                    </a:lnTo>
                    <a:lnTo>
                      <a:pt x="22" y="24"/>
                    </a:lnTo>
                    <a:lnTo>
                      <a:pt x="22" y="22"/>
                    </a:lnTo>
                    <a:lnTo>
                      <a:pt x="22" y="20"/>
                    </a:lnTo>
                    <a:lnTo>
                      <a:pt x="20" y="19"/>
                    </a:lnTo>
                    <a:lnTo>
                      <a:pt x="20" y="17"/>
                    </a:lnTo>
                    <a:lnTo>
                      <a:pt x="20" y="15"/>
                    </a:lnTo>
                    <a:lnTo>
                      <a:pt x="20" y="13"/>
                    </a:lnTo>
                    <a:lnTo>
                      <a:pt x="22" y="13"/>
                    </a:lnTo>
                    <a:lnTo>
                      <a:pt x="24" y="13"/>
                    </a:lnTo>
                    <a:lnTo>
                      <a:pt x="24" y="12"/>
                    </a:lnTo>
                    <a:lnTo>
                      <a:pt x="26" y="12"/>
                    </a:lnTo>
                    <a:lnTo>
                      <a:pt x="27" y="10"/>
                    </a:lnTo>
                    <a:lnTo>
                      <a:pt x="29" y="10"/>
                    </a:lnTo>
                    <a:lnTo>
                      <a:pt x="29" y="8"/>
                    </a:lnTo>
                    <a:lnTo>
                      <a:pt x="29" y="7"/>
                    </a:lnTo>
                    <a:lnTo>
                      <a:pt x="29" y="5"/>
                    </a:lnTo>
                    <a:lnTo>
                      <a:pt x="29" y="3"/>
                    </a:lnTo>
                    <a:lnTo>
                      <a:pt x="27" y="3"/>
                    </a:lnTo>
                    <a:lnTo>
                      <a:pt x="29" y="3"/>
                    </a:lnTo>
                    <a:lnTo>
                      <a:pt x="31" y="3"/>
                    </a:lnTo>
                    <a:lnTo>
                      <a:pt x="31" y="5"/>
                    </a:lnTo>
                    <a:lnTo>
                      <a:pt x="31" y="7"/>
                    </a:lnTo>
                    <a:lnTo>
                      <a:pt x="32" y="7"/>
                    </a:lnTo>
                    <a:lnTo>
                      <a:pt x="34" y="7"/>
                    </a:lnTo>
                    <a:lnTo>
                      <a:pt x="36" y="7"/>
                    </a:lnTo>
                    <a:lnTo>
                      <a:pt x="36" y="8"/>
                    </a:lnTo>
                    <a:lnTo>
                      <a:pt x="37" y="8"/>
                    </a:lnTo>
                    <a:lnTo>
                      <a:pt x="37" y="7"/>
                    </a:lnTo>
                    <a:lnTo>
                      <a:pt x="39" y="7"/>
                    </a:lnTo>
                    <a:lnTo>
                      <a:pt x="39" y="5"/>
                    </a:lnTo>
                    <a:lnTo>
                      <a:pt x="39" y="7"/>
                    </a:lnTo>
                    <a:lnTo>
                      <a:pt x="41" y="7"/>
                    </a:lnTo>
                    <a:lnTo>
                      <a:pt x="43" y="7"/>
                    </a:lnTo>
                    <a:lnTo>
                      <a:pt x="44" y="5"/>
                    </a:lnTo>
                    <a:lnTo>
                      <a:pt x="44" y="3"/>
                    </a:lnTo>
                    <a:lnTo>
                      <a:pt x="46" y="2"/>
                    </a:lnTo>
                    <a:lnTo>
                      <a:pt x="46" y="0"/>
                    </a:lnTo>
                    <a:lnTo>
                      <a:pt x="48" y="0"/>
                    </a:lnTo>
                    <a:lnTo>
                      <a:pt x="49" y="0"/>
                    </a:lnTo>
                    <a:lnTo>
                      <a:pt x="51" y="0"/>
                    </a:lnTo>
                    <a:lnTo>
                      <a:pt x="53" y="0"/>
                    </a:lnTo>
                    <a:lnTo>
                      <a:pt x="54" y="0"/>
                    </a:lnTo>
                    <a:lnTo>
                      <a:pt x="56" y="0"/>
                    </a:lnTo>
                    <a:lnTo>
                      <a:pt x="58" y="0"/>
                    </a:lnTo>
                    <a:lnTo>
                      <a:pt x="58" y="2"/>
                    </a:lnTo>
                    <a:lnTo>
                      <a:pt x="60" y="3"/>
                    </a:lnTo>
                    <a:lnTo>
                      <a:pt x="61" y="3"/>
                    </a:lnTo>
                    <a:lnTo>
                      <a:pt x="61" y="5"/>
                    </a:lnTo>
                    <a:lnTo>
                      <a:pt x="63" y="5"/>
                    </a:lnTo>
                    <a:lnTo>
                      <a:pt x="63" y="7"/>
                    </a:lnTo>
                    <a:lnTo>
                      <a:pt x="65" y="7"/>
                    </a:lnTo>
                    <a:lnTo>
                      <a:pt x="65" y="8"/>
                    </a:lnTo>
                    <a:lnTo>
                      <a:pt x="66" y="8"/>
                    </a:lnTo>
                    <a:lnTo>
                      <a:pt x="65" y="8"/>
                    </a:lnTo>
                    <a:lnTo>
                      <a:pt x="65" y="10"/>
                    </a:lnTo>
                    <a:lnTo>
                      <a:pt x="66" y="10"/>
                    </a:lnTo>
                    <a:lnTo>
                      <a:pt x="66" y="12"/>
                    </a:lnTo>
                    <a:lnTo>
                      <a:pt x="68" y="12"/>
                    </a:lnTo>
                    <a:lnTo>
                      <a:pt x="68" y="10"/>
                    </a:lnTo>
                    <a:lnTo>
                      <a:pt x="68" y="12"/>
                    </a:lnTo>
                    <a:lnTo>
                      <a:pt x="70" y="13"/>
                    </a:lnTo>
                    <a:lnTo>
                      <a:pt x="70" y="12"/>
                    </a:lnTo>
                    <a:lnTo>
                      <a:pt x="70" y="13"/>
                    </a:lnTo>
                    <a:lnTo>
                      <a:pt x="70" y="15"/>
                    </a:lnTo>
                    <a:lnTo>
                      <a:pt x="71" y="15"/>
                    </a:lnTo>
                    <a:lnTo>
                      <a:pt x="73" y="15"/>
                    </a:lnTo>
                    <a:lnTo>
                      <a:pt x="73" y="17"/>
                    </a:lnTo>
                    <a:lnTo>
                      <a:pt x="75" y="17"/>
                    </a:lnTo>
                    <a:lnTo>
                      <a:pt x="75" y="19"/>
                    </a:lnTo>
                    <a:lnTo>
                      <a:pt x="77" y="19"/>
                    </a:lnTo>
                    <a:lnTo>
                      <a:pt x="77" y="20"/>
                    </a:lnTo>
                    <a:lnTo>
                      <a:pt x="77" y="19"/>
                    </a:lnTo>
                    <a:lnTo>
                      <a:pt x="78" y="20"/>
                    </a:lnTo>
                    <a:lnTo>
                      <a:pt x="78" y="22"/>
                    </a:lnTo>
                    <a:lnTo>
                      <a:pt x="78" y="24"/>
                    </a:lnTo>
                    <a:lnTo>
                      <a:pt x="80" y="24"/>
                    </a:lnTo>
                    <a:lnTo>
                      <a:pt x="80" y="25"/>
                    </a:lnTo>
                    <a:lnTo>
                      <a:pt x="80" y="24"/>
                    </a:lnTo>
                    <a:lnTo>
                      <a:pt x="80" y="25"/>
                    </a:lnTo>
                    <a:lnTo>
                      <a:pt x="82" y="25"/>
                    </a:lnTo>
                    <a:lnTo>
                      <a:pt x="83" y="27"/>
                    </a:lnTo>
                    <a:lnTo>
                      <a:pt x="83" y="29"/>
                    </a:lnTo>
                    <a:lnTo>
                      <a:pt x="85" y="31"/>
                    </a:lnTo>
                    <a:lnTo>
                      <a:pt x="85" y="32"/>
                    </a:lnTo>
                    <a:lnTo>
                      <a:pt x="87" y="32"/>
                    </a:lnTo>
                    <a:lnTo>
                      <a:pt x="87" y="34"/>
                    </a:lnTo>
                    <a:lnTo>
                      <a:pt x="88" y="34"/>
                    </a:lnTo>
                    <a:lnTo>
                      <a:pt x="88" y="36"/>
                    </a:lnTo>
                    <a:lnTo>
                      <a:pt x="90" y="36"/>
                    </a:lnTo>
                    <a:lnTo>
                      <a:pt x="92" y="36"/>
                    </a:lnTo>
                    <a:lnTo>
                      <a:pt x="92" y="34"/>
                    </a:lnTo>
                    <a:lnTo>
                      <a:pt x="94" y="34"/>
                    </a:lnTo>
                    <a:lnTo>
                      <a:pt x="94" y="32"/>
                    </a:lnTo>
                    <a:lnTo>
                      <a:pt x="94" y="34"/>
                    </a:lnTo>
                    <a:lnTo>
                      <a:pt x="94" y="32"/>
                    </a:lnTo>
                    <a:lnTo>
                      <a:pt x="95" y="34"/>
                    </a:lnTo>
                    <a:lnTo>
                      <a:pt x="95" y="32"/>
                    </a:lnTo>
                    <a:lnTo>
                      <a:pt x="95" y="31"/>
                    </a:lnTo>
                    <a:lnTo>
                      <a:pt x="95" y="29"/>
                    </a:lnTo>
                    <a:lnTo>
                      <a:pt x="97" y="29"/>
                    </a:lnTo>
                    <a:lnTo>
                      <a:pt x="99" y="29"/>
                    </a:lnTo>
                    <a:lnTo>
                      <a:pt x="99" y="31"/>
                    </a:lnTo>
                    <a:lnTo>
                      <a:pt x="100" y="31"/>
                    </a:lnTo>
                    <a:lnTo>
                      <a:pt x="100" y="32"/>
                    </a:lnTo>
                    <a:lnTo>
                      <a:pt x="102" y="32"/>
                    </a:lnTo>
                    <a:lnTo>
                      <a:pt x="102" y="34"/>
                    </a:lnTo>
                    <a:lnTo>
                      <a:pt x="104" y="34"/>
                    </a:lnTo>
                    <a:lnTo>
                      <a:pt x="102" y="36"/>
                    </a:lnTo>
                    <a:lnTo>
                      <a:pt x="104" y="36"/>
                    </a:lnTo>
                    <a:lnTo>
                      <a:pt x="105" y="36"/>
                    </a:lnTo>
                    <a:lnTo>
                      <a:pt x="105" y="37"/>
                    </a:lnTo>
                    <a:lnTo>
                      <a:pt x="105" y="39"/>
                    </a:lnTo>
                    <a:lnTo>
                      <a:pt x="107" y="39"/>
                    </a:lnTo>
                    <a:lnTo>
                      <a:pt x="105" y="41"/>
                    </a:lnTo>
                    <a:lnTo>
                      <a:pt x="107" y="41"/>
                    </a:lnTo>
                    <a:lnTo>
                      <a:pt x="109" y="42"/>
                    </a:lnTo>
                    <a:lnTo>
                      <a:pt x="107" y="42"/>
                    </a:lnTo>
                    <a:lnTo>
                      <a:pt x="109" y="42"/>
                    </a:lnTo>
                    <a:lnTo>
                      <a:pt x="109" y="44"/>
                    </a:lnTo>
                    <a:lnTo>
                      <a:pt x="109" y="46"/>
                    </a:lnTo>
                    <a:lnTo>
                      <a:pt x="111" y="46"/>
                    </a:lnTo>
                    <a:lnTo>
                      <a:pt x="112" y="46"/>
                    </a:lnTo>
                    <a:lnTo>
                      <a:pt x="112" y="48"/>
                    </a:lnTo>
                    <a:lnTo>
                      <a:pt x="114" y="48"/>
                    </a:lnTo>
                    <a:lnTo>
                      <a:pt x="116" y="48"/>
                    </a:lnTo>
                    <a:lnTo>
                      <a:pt x="116" y="46"/>
                    </a:lnTo>
                    <a:lnTo>
                      <a:pt x="117" y="46"/>
                    </a:lnTo>
                    <a:lnTo>
                      <a:pt x="117" y="48"/>
                    </a:lnTo>
                    <a:lnTo>
                      <a:pt x="119" y="48"/>
                    </a:lnTo>
                    <a:lnTo>
                      <a:pt x="119" y="49"/>
                    </a:lnTo>
                    <a:lnTo>
                      <a:pt x="119" y="51"/>
                    </a:lnTo>
                    <a:lnTo>
                      <a:pt x="121" y="51"/>
                    </a:lnTo>
                    <a:lnTo>
                      <a:pt x="121" y="49"/>
                    </a:lnTo>
                    <a:lnTo>
                      <a:pt x="122" y="51"/>
                    </a:lnTo>
                    <a:lnTo>
                      <a:pt x="122" y="53"/>
                    </a:lnTo>
                    <a:lnTo>
                      <a:pt x="124" y="53"/>
                    </a:lnTo>
                    <a:lnTo>
                      <a:pt x="126" y="53"/>
                    </a:lnTo>
                    <a:lnTo>
                      <a:pt x="126" y="51"/>
                    </a:lnTo>
                    <a:lnTo>
                      <a:pt x="128" y="53"/>
                    </a:lnTo>
                    <a:lnTo>
                      <a:pt x="129" y="53"/>
                    </a:lnTo>
                    <a:lnTo>
                      <a:pt x="131" y="53"/>
                    </a:lnTo>
                    <a:lnTo>
                      <a:pt x="133" y="54"/>
                    </a:lnTo>
                    <a:lnTo>
                      <a:pt x="134" y="54"/>
                    </a:lnTo>
                    <a:lnTo>
                      <a:pt x="134" y="56"/>
                    </a:lnTo>
                    <a:lnTo>
                      <a:pt x="134" y="58"/>
                    </a:lnTo>
                    <a:lnTo>
                      <a:pt x="136" y="58"/>
                    </a:lnTo>
                    <a:lnTo>
                      <a:pt x="136" y="59"/>
                    </a:lnTo>
                    <a:lnTo>
                      <a:pt x="136" y="61"/>
                    </a:lnTo>
                    <a:lnTo>
                      <a:pt x="139" y="65"/>
                    </a:lnTo>
                    <a:lnTo>
                      <a:pt x="141" y="66"/>
                    </a:lnTo>
                    <a:lnTo>
                      <a:pt x="143" y="66"/>
                    </a:lnTo>
                    <a:lnTo>
                      <a:pt x="143" y="68"/>
                    </a:lnTo>
                    <a:lnTo>
                      <a:pt x="145" y="68"/>
                    </a:lnTo>
                    <a:lnTo>
                      <a:pt x="145" y="70"/>
                    </a:lnTo>
                    <a:lnTo>
                      <a:pt x="146" y="70"/>
                    </a:lnTo>
                    <a:lnTo>
                      <a:pt x="146" y="71"/>
                    </a:lnTo>
                    <a:lnTo>
                      <a:pt x="148" y="71"/>
                    </a:lnTo>
                    <a:lnTo>
                      <a:pt x="150" y="71"/>
                    </a:lnTo>
                    <a:lnTo>
                      <a:pt x="150" y="70"/>
                    </a:lnTo>
                    <a:lnTo>
                      <a:pt x="151" y="71"/>
                    </a:lnTo>
                    <a:lnTo>
                      <a:pt x="153" y="71"/>
                    </a:lnTo>
                    <a:lnTo>
                      <a:pt x="151" y="71"/>
                    </a:lnTo>
                    <a:lnTo>
                      <a:pt x="153" y="73"/>
                    </a:lnTo>
                    <a:lnTo>
                      <a:pt x="155" y="73"/>
                    </a:lnTo>
                    <a:lnTo>
                      <a:pt x="155" y="75"/>
                    </a:lnTo>
                    <a:lnTo>
                      <a:pt x="156" y="75"/>
                    </a:lnTo>
                    <a:lnTo>
                      <a:pt x="156" y="76"/>
                    </a:lnTo>
                    <a:lnTo>
                      <a:pt x="158" y="78"/>
                    </a:lnTo>
                    <a:lnTo>
                      <a:pt x="158" y="76"/>
                    </a:lnTo>
                    <a:lnTo>
                      <a:pt x="160" y="78"/>
                    </a:lnTo>
                    <a:lnTo>
                      <a:pt x="160" y="80"/>
                    </a:lnTo>
                    <a:lnTo>
                      <a:pt x="162" y="80"/>
                    </a:lnTo>
                    <a:lnTo>
                      <a:pt x="160" y="82"/>
                    </a:lnTo>
                    <a:lnTo>
                      <a:pt x="162" y="82"/>
                    </a:lnTo>
                    <a:lnTo>
                      <a:pt x="162" y="83"/>
                    </a:lnTo>
                    <a:lnTo>
                      <a:pt x="162" y="85"/>
                    </a:lnTo>
                    <a:lnTo>
                      <a:pt x="163" y="85"/>
                    </a:lnTo>
                    <a:lnTo>
                      <a:pt x="163" y="87"/>
                    </a:lnTo>
                    <a:lnTo>
                      <a:pt x="163" y="88"/>
                    </a:lnTo>
                    <a:lnTo>
                      <a:pt x="163" y="90"/>
                    </a:lnTo>
                    <a:lnTo>
                      <a:pt x="165" y="90"/>
                    </a:lnTo>
                    <a:lnTo>
                      <a:pt x="165" y="92"/>
                    </a:lnTo>
                    <a:lnTo>
                      <a:pt x="167" y="93"/>
                    </a:lnTo>
                    <a:lnTo>
                      <a:pt x="168" y="93"/>
                    </a:lnTo>
                    <a:lnTo>
                      <a:pt x="170" y="93"/>
                    </a:lnTo>
                    <a:lnTo>
                      <a:pt x="170" y="95"/>
                    </a:lnTo>
                    <a:lnTo>
                      <a:pt x="170" y="97"/>
                    </a:lnTo>
                    <a:lnTo>
                      <a:pt x="172" y="97"/>
                    </a:lnTo>
                    <a:lnTo>
                      <a:pt x="172" y="99"/>
                    </a:lnTo>
                    <a:lnTo>
                      <a:pt x="172" y="97"/>
                    </a:lnTo>
                    <a:lnTo>
                      <a:pt x="173" y="99"/>
                    </a:lnTo>
                    <a:lnTo>
                      <a:pt x="175" y="99"/>
                    </a:lnTo>
                    <a:lnTo>
                      <a:pt x="177" y="99"/>
                    </a:lnTo>
                    <a:lnTo>
                      <a:pt x="177" y="100"/>
                    </a:lnTo>
                    <a:lnTo>
                      <a:pt x="179" y="100"/>
                    </a:lnTo>
                    <a:lnTo>
                      <a:pt x="179" y="102"/>
                    </a:lnTo>
                    <a:lnTo>
                      <a:pt x="182" y="104"/>
                    </a:lnTo>
                    <a:lnTo>
                      <a:pt x="180" y="104"/>
                    </a:lnTo>
                    <a:lnTo>
                      <a:pt x="180" y="105"/>
                    </a:lnTo>
                    <a:lnTo>
                      <a:pt x="179" y="105"/>
                    </a:lnTo>
                    <a:lnTo>
                      <a:pt x="177" y="107"/>
                    </a:lnTo>
                    <a:lnTo>
                      <a:pt x="177" y="109"/>
                    </a:lnTo>
                    <a:lnTo>
                      <a:pt x="175" y="109"/>
                    </a:lnTo>
                    <a:lnTo>
                      <a:pt x="175" y="110"/>
                    </a:lnTo>
                    <a:lnTo>
                      <a:pt x="175" y="112"/>
                    </a:lnTo>
                    <a:lnTo>
                      <a:pt x="175" y="114"/>
                    </a:lnTo>
                    <a:lnTo>
                      <a:pt x="173" y="114"/>
                    </a:lnTo>
                    <a:lnTo>
                      <a:pt x="170" y="119"/>
                    </a:lnTo>
                    <a:lnTo>
                      <a:pt x="168" y="119"/>
                    </a:lnTo>
                    <a:lnTo>
                      <a:pt x="168" y="121"/>
                    </a:lnTo>
                    <a:lnTo>
                      <a:pt x="168" y="122"/>
                    </a:lnTo>
                    <a:lnTo>
                      <a:pt x="167" y="122"/>
                    </a:lnTo>
                    <a:lnTo>
                      <a:pt x="167" y="124"/>
                    </a:lnTo>
                    <a:lnTo>
                      <a:pt x="167" y="126"/>
                    </a:lnTo>
                    <a:lnTo>
                      <a:pt x="167" y="127"/>
                    </a:lnTo>
                    <a:lnTo>
                      <a:pt x="168" y="129"/>
                    </a:lnTo>
                    <a:lnTo>
                      <a:pt x="168" y="131"/>
                    </a:lnTo>
                    <a:lnTo>
                      <a:pt x="168" y="134"/>
                    </a:lnTo>
                    <a:lnTo>
                      <a:pt x="167" y="136"/>
                    </a:lnTo>
                    <a:lnTo>
                      <a:pt x="167" y="138"/>
                    </a:lnTo>
                    <a:lnTo>
                      <a:pt x="167" y="139"/>
                    </a:lnTo>
                    <a:lnTo>
                      <a:pt x="167" y="141"/>
                    </a:lnTo>
                    <a:lnTo>
                      <a:pt x="167" y="143"/>
                    </a:lnTo>
                    <a:lnTo>
                      <a:pt x="168" y="143"/>
                    </a:lnTo>
                    <a:lnTo>
                      <a:pt x="170" y="143"/>
                    </a:lnTo>
                    <a:lnTo>
                      <a:pt x="170" y="144"/>
                    </a:lnTo>
                    <a:lnTo>
                      <a:pt x="172" y="144"/>
                    </a:lnTo>
                    <a:close/>
                    <a:moveTo>
                      <a:pt x="3" y="153"/>
                    </a:moveTo>
                    <a:lnTo>
                      <a:pt x="3" y="155"/>
                    </a:lnTo>
                    <a:lnTo>
                      <a:pt x="3" y="153"/>
                    </a:lnTo>
                    <a:close/>
                    <a:moveTo>
                      <a:pt x="70" y="187"/>
                    </a:moveTo>
                    <a:lnTo>
                      <a:pt x="71" y="187"/>
                    </a:lnTo>
                    <a:lnTo>
                      <a:pt x="70" y="187"/>
                    </a:lnTo>
                    <a:close/>
                    <a:moveTo>
                      <a:pt x="5" y="156"/>
                    </a:moveTo>
                    <a:lnTo>
                      <a:pt x="5" y="158"/>
                    </a:lnTo>
                    <a:lnTo>
                      <a:pt x="5" y="156"/>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81" name="Freeform 59">
                <a:extLst>
                  <a:ext uri="{FF2B5EF4-FFF2-40B4-BE49-F238E27FC236}">
                    <a16:creationId xmlns:a16="http://schemas.microsoft.com/office/drawing/2014/main" id="{F09156C3-02AF-7424-2C52-BFDF736C2126}"/>
                  </a:ext>
                </a:extLst>
              </p:cNvPr>
              <p:cNvSpPr>
                <a:spLocks noEditPoints="1"/>
              </p:cNvSpPr>
              <p:nvPr/>
            </p:nvSpPr>
            <p:spPr bwMode="auto">
              <a:xfrm>
                <a:off x="5651260" y="2824952"/>
                <a:ext cx="134228" cy="115431"/>
              </a:xfrm>
              <a:custGeom>
                <a:avLst/>
                <a:gdLst>
                  <a:gd name="T0" fmla="*/ 428 w 457"/>
                  <a:gd name="T1" fmla="*/ 157 h 393"/>
                  <a:gd name="T2" fmla="*/ 433 w 457"/>
                  <a:gd name="T3" fmla="*/ 181 h 393"/>
                  <a:gd name="T4" fmla="*/ 409 w 457"/>
                  <a:gd name="T5" fmla="*/ 194 h 393"/>
                  <a:gd name="T6" fmla="*/ 426 w 457"/>
                  <a:gd name="T7" fmla="*/ 238 h 393"/>
                  <a:gd name="T8" fmla="*/ 408 w 457"/>
                  <a:gd name="T9" fmla="*/ 262 h 393"/>
                  <a:gd name="T10" fmla="*/ 380 w 457"/>
                  <a:gd name="T11" fmla="*/ 276 h 393"/>
                  <a:gd name="T12" fmla="*/ 357 w 457"/>
                  <a:gd name="T13" fmla="*/ 286 h 393"/>
                  <a:gd name="T14" fmla="*/ 333 w 457"/>
                  <a:gd name="T15" fmla="*/ 281 h 393"/>
                  <a:gd name="T16" fmla="*/ 311 w 457"/>
                  <a:gd name="T17" fmla="*/ 279 h 393"/>
                  <a:gd name="T18" fmla="*/ 292 w 457"/>
                  <a:gd name="T19" fmla="*/ 279 h 393"/>
                  <a:gd name="T20" fmla="*/ 312 w 457"/>
                  <a:gd name="T21" fmla="*/ 317 h 393"/>
                  <a:gd name="T22" fmla="*/ 336 w 457"/>
                  <a:gd name="T23" fmla="*/ 334 h 393"/>
                  <a:gd name="T24" fmla="*/ 312 w 457"/>
                  <a:gd name="T25" fmla="*/ 352 h 393"/>
                  <a:gd name="T26" fmla="*/ 292 w 457"/>
                  <a:gd name="T27" fmla="*/ 371 h 393"/>
                  <a:gd name="T28" fmla="*/ 270 w 457"/>
                  <a:gd name="T29" fmla="*/ 383 h 393"/>
                  <a:gd name="T30" fmla="*/ 249 w 457"/>
                  <a:gd name="T31" fmla="*/ 385 h 393"/>
                  <a:gd name="T32" fmla="*/ 212 w 457"/>
                  <a:gd name="T33" fmla="*/ 352 h 393"/>
                  <a:gd name="T34" fmla="*/ 192 w 457"/>
                  <a:gd name="T35" fmla="*/ 320 h 393"/>
                  <a:gd name="T36" fmla="*/ 192 w 457"/>
                  <a:gd name="T37" fmla="*/ 288 h 393"/>
                  <a:gd name="T38" fmla="*/ 185 w 457"/>
                  <a:gd name="T39" fmla="*/ 252 h 393"/>
                  <a:gd name="T40" fmla="*/ 195 w 457"/>
                  <a:gd name="T41" fmla="*/ 216 h 393"/>
                  <a:gd name="T42" fmla="*/ 171 w 457"/>
                  <a:gd name="T43" fmla="*/ 206 h 393"/>
                  <a:gd name="T44" fmla="*/ 120 w 457"/>
                  <a:gd name="T45" fmla="*/ 194 h 393"/>
                  <a:gd name="T46" fmla="*/ 76 w 457"/>
                  <a:gd name="T47" fmla="*/ 179 h 393"/>
                  <a:gd name="T48" fmla="*/ 40 w 457"/>
                  <a:gd name="T49" fmla="*/ 167 h 393"/>
                  <a:gd name="T50" fmla="*/ 32 w 457"/>
                  <a:gd name="T51" fmla="*/ 141 h 393"/>
                  <a:gd name="T52" fmla="*/ 11 w 457"/>
                  <a:gd name="T53" fmla="*/ 106 h 393"/>
                  <a:gd name="T54" fmla="*/ 11 w 457"/>
                  <a:gd name="T55" fmla="*/ 82 h 393"/>
                  <a:gd name="T56" fmla="*/ 25 w 457"/>
                  <a:gd name="T57" fmla="*/ 44 h 393"/>
                  <a:gd name="T58" fmla="*/ 64 w 457"/>
                  <a:gd name="T59" fmla="*/ 16 h 393"/>
                  <a:gd name="T60" fmla="*/ 57 w 457"/>
                  <a:gd name="T61" fmla="*/ 41 h 393"/>
                  <a:gd name="T62" fmla="*/ 49 w 457"/>
                  <a:gd name="T63" fmla="*/ 72 h 393"/>
                  <a:gd name="T64" fmla="*/ 47 w 457"/>
                  <a:gd name="T65" fmla="*/ 97 h 393"/>
                  <a:gd name="T66" fmla="*/ 62 w 457"/>
                  <a:gd name="T67" fmla="*/ 107 h 393"/>
                  <a:gd name="T68" fmla="*/ 71 w 457"/>
                  <a:gd name="T69" fmla="*/ 77 h 393"/>
                  <a:gd name="T70" fmla="*/ 62 w 457"/>
                  <a:gd name="T71" fmla="*/ 44 h 393"/>
                  <a:gd name="T72" fmla="*/ 96 w 457"/>
                  <a:gd name="T73" fmla="*/ 31 h 393"/>
                  <a:gd name="T74" fmla="*/ 113 w 457"/>
                  <a:gd name="T75" fmla="*/ 24 h 393"/>
                  <a:gd name="T76" fmla="*/ 105 w 457"/>
                  <a:gd name="T77" fmla="*/ 19 h 393"/>
                  <a:gd name="T78" fmla="*/ 119 w 457"/>
                  <a:gd name="T79" fmla="*/ 9 h 393"/>
                  <a:gd name="T80" fmla="*/ 153 w 457"/>
                  <a:gd name="T81" fmla="*/ 27 h 393"/>
                  <a:gd name="T82" fmla="*/ 170 w 457"/>
                  <a:gd name="T83" fmla="*/ 48 h 393"/>
                  <a:gd name="T84" fmla="*/ 200 w 457"/>
                  <a:gd name="T85" fmla="*/ 56 h 393"/>
                  <a:gd name="T86" fmla="*/ 244 w 457"/>
                  <a:gd name="T87" fmla="*/ 56 h 393"/>
                  <a:gd name="T88" fmla="*/ 282 w 457"/>
                  <a:gd name="T89" fmla="*/ 73 h 393"/>
                  <a:gd name="T90" fmla="*/ 307 w 457"/>
                  <a:gd name="T91" fmla="*/ 61 h 393"/>
                  <a:gd name="T92" fmla="*/ 311 w 457"/>
                  <a:gd name="T93" fmla="*/ 56 h 393"/>
                  <a:gd name="T94" fmla="*/ 329 w 457"/>
                  <a:gd name="T95" fmla="*/ 53 h 393"/>
                  <a:gd name="T96" fmla="*/ 370 w 457"/>
                  <a:gd name="T97" fmla="*/ 51 h 393"/>
                  <a:gd name="T98" fmla="*/ 363 w 457"/>
                  <a:gd name="T99" fmla="*/ 56 h 393"/>
                  <a:gd name="T100" fmla="*/ 370 w 457"/>
                  <a:gd name="T101" fmla="*/ 78 h 393"/>
                  <a:gd name="T102" fmla="*/ 399 w 457"/>
                  <a:gd name="T103" fmla="*/ 82 h 393"/>
                  <a:gd name="T104" fmla="*/ 419 w 457"/>
                  <a:gd name="T105" fmla="*/ 101 h 393"/>
                  <a:gd name="T106" fmla="*/ 423 w 457"/>
                  <a:gd name="T107" fmla="*/ 116 h 393"/>
                  <a:gd name="T108" fmla="*/ 436 w 457"/>
                  <a:gd name="T109" fmla="*/ 124 h 393"/>
                  <a:gd name="T110" fmla="*/ 311 w 457"/>
                  <a:gd name="T111" fmla="*/ 44 h 393"/>
                  <a:gd name="T112" fmla="*/ 309 w 457"/>
                  <a:gd name="T113" fmla="*/ 39 h 393"/>
                  <a:gd name="T114" fmla="*/ 295 w 457"/>
                  <a:gd name="T115" fmla="*/ 10 h 393"/>
                  <a:gd name="T116" fmla="*/ 226 w 457"/>
                  <a:gd name="T117" fmla="*/ 14 h 393"/>
                  <a:gd name="T118" fmla="*/ 221 w 457"/>
                  <a:gd name="T119" fmla="*/ 10 h 393"/>
                  <a:gd name="T120" fmla="*/ 302 w 457"/>
                  <a:gd name="T121" fmla="*/ 63 h 393"/>
                  <a:gd name="T122" fmla="*/ 190 w 457"/>
                  <a:gd name="T123" fmla="*/ 7 h 393"/>
                  <a:gd name="T124" fmla="*/ 219 w 457"/>
                  <a:gd name="T125" fmla="*/ 1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7" h="393">
                    <a:moveTo>
                      <a:pt x="450" y="126"/>
                    </a:moveTo>
                    <a:lnTo>
                      <a:pt x="452" y="128"/>
                    </a:lnTo>
                    <a:lnTo>
                      <a:pt x="453" y="130"/>
                    </a:lnTo>
                    <a:lnTo>
                      <a:pt x="455" y="133"/>
                    </a:lnTo>
                    <a:lnTo>
                      <a:pt x="457" y="135"/>
                    </a:lnTo>
                    <a:lnTo>
                      <a:pt x="455" y="135"/>
                    </a:lnTo>
                    <a:lnTo>
                      <a:pt x="455" y="136"/>
                    </a:lnTo>
                    <a:lnTo>
                      <a:pt x="452" y="136"/>
                    </a:lnTo>
                    <a:lnTo>
                      <a:pt x="450" y="138"/>
                    </a:lnTo>
                    <a:lnTo>
                      <a:pt x="450" y="140"/>
                    </a:lnTo>
                    <a:lnTo>
                      <a:pt x="450" y="141"/>
                    </a:lnTo>
                    <a:lnTo>
                      <a:pt x="448" y="141"/>
                    </a:lnTo>
                    <a:lnTo>
                      <a:pt x="448" y="143"/>
                    </a:lnTo>
                    <a:lnTo>
                      <a:pt x="447" y="143"/>
                    </a:lnTo>
                    <a:lnTo>
                      <a:pt x="445" y="143"/>
                    </a:lnTo>
                    <a:lnTo>
                      <a:pt x="445" y="145"/>
                    </a:lnTo>
                    <a:lnTo>
                      <a:pt x="443" y="145"/>
                    </a:lnTo>
                    <a:lnTo>
                      <a:pt x="442" y="145"/>
                    </a:lnTo>
                    <a:lnTo>
                      <a:pt x="442" y="147"/>
                    </a:lnTo>
                    <a:lnTo>
                      <a:pt x="440" y="148"/>
                    </a:lnTo>
                    <a:lnTo>
                      <a:pt x="438" y="148"/>
                    </a:lnTo>
                    <a:lnTo>
                      <a:pt x="438" y="150"/>
                    </a:lnTo>
                    <a:lnTo>
                      <a:pt x="436" y="150"/>
                    </a:lnTo>
                    <a:lnTo>
                      <a:pt x="435" y="150"/>
                    </a:lnTo>
                    <a:lnTo>
                      <a:pt x="433" y="150"/>
                    </a:lnTo>
                    <a:lnTo>
                      <a:pt x="431" y="150"/>
                    </a:lnTo>
                    <a:lnTo>
                      <a:pt x="431" y="152"/>
                    </a:lnTo>
                    <a:lnTo>
                      <a:pt x="430" y="153"/>
                    </a:lnTo>
                    <a:lnTo>
                      <a:pt x="430" y="155"/>
                    </a:lnTo>
                    <a:lnTo>
                      <a:pt x="430" y="157"/>
                    </a:lnTo>
                    <a:lnTo>
                      <a:pt x="428" y="157"/>
                    </a:lnTo>
                    <a:lnTo>
                      <a:pt x="428" y="158"/>
                    </a:lnTo>
                    <a:lnTo>
                      <a:pt x="428" y="160"/>
                    </a:lnTo>
                    <a:lnTo>
                      <a:pt x="428" y="162"/>
                    </a:lnTo>
                    <a:lnTo>
                      <a:pt x="428" y="164"/>
                    </a:lnTo>
                    <a:lnTo>
                      <a:pt x="428" y="165"/>
                    </a:lnTo>
                    <a:lnTo>
                      <a:pt x="430" y="165"/>
                    </a:lnTo>
                    <a:lnTo>
                      <a:pt x="430" y="167"/>
                    </a:lnTo>
                    <a:lnTo>
                      <a:pt x="430" y="169"/>
                    </a:lnTo>
                    <a:lnTo>
                      <a:pt x="428" y="169"/>
                    </a:lnTo>
                    <a:lnTo>
                      <a:pt x="428" y="170"/>
                    </a:lnTo>
                    <a:lnTo>
                      <a:pt x="430" y="170"/>
                    </a:lnTo>
                    <a:lnTo>
                      <a:pt x="430" y="172"/>
                    </a:lnTo>
                    <a:lnTo>
                      <a:pt x="431" y="172"/>
                    </a:lnTo>
                    <a:lnTo>
                      <a:pt x="431" y="174"/>
                    </a:lnTo>
                    <a:lnTo>
                      <a:pt x="431" y="172"/>
                    </a:lnTo>
                    <a:lnTo>
                      <a:pt x="433" y="172"/>
                    </a:lnTo>
                    <a:lnTo>
                      <a:pt x="433" y="170"/>
                    </a:lnTo>
                    <a:lnTo>
                      <a:pt x="435" y="172"/>
                    </a:lnTo>
                    <a:lnTo>
                      <a:pt x="435" y="170"/>
                    </a:lnTo>
                    <a:lnTo>
                      <a:pt x="435" y="172"/>
                    </a:lnTo>
                    <a:lnTo>
                      <a:pt x="436" y="172"/>
                    </a:lnTo>
                    <a:lnTo>
                      <a:pt x="438" y="172"/>
                    </a:lnTo>
                    <a:lnTo>
                      <a:pt x="438" y="174"/>
                    </a:lnTo>
                    <a:lnTo>
                      <a:pt x="438" y="175"/>
                    </a:lnTo>
                    <a:lnTo>
                      <a:pt x="438" y="177"/>
                    </a:lnTo>
                    <a:lnTo>
                      <a:pt x="438" y="179"/>
                    </a:lnTo>
                    <a:lnTo>
                      <a:pt x="436" y="179"/>
                    </a:lnTo>
                    <a:lnTo>
                      <a:pt x="436" y="181"/>
                    </a:lnTo>
                    <a:lnTo>
                      <a:pt x="436" y="179"/>
                    </a:lnTo>
                    <a:lnTo>
                      <a:pt x="435" y="181"/>
                    </a:lnTo>
                    <a:lnTo>
                      <a:pt x="433" y="181"/>
                    </a:lnTo>
                    <a:lnTo>
                      <a:pt x="433" y="182"/>
                    </a:lnTo>
                    <a:lnTo>
                      <a:pt x="431" y="182"/>
                    </a:lnTo>
                    <a:lnTo>
                      <a:pt x="430" y="182"/>
                    </a:lnTo>
                    <a:lnTo>
                      <a:pt x="430" y="184"/>
                    </a:lnTo>
                    <a:lnTo>
                      <a:pt x="428" y="184"/>
                    </a:lnTo>
                    <a:lnTo>
                      <a:pt x="426" y="184"/>
                    </a:lnTo>
                    <a:lnTo>
                      <a:pt x="426" y="186"/>
                    </a:lnTo>
                    <a:lnTo>
                      <a:pt x="425" y="186"/>
                    </a:lnTo>
                    <a:lnTo>
                      <a:pt x="423" y="186"/>
                    </a:lnTo>
                    <a:lnTo>
                      <a:pt x="423" y="184"/>
                    </a:lnTo>
                    <a:lnTo>
                      <a:pt x="423" y="186"/>
                    </a:lnTo>
                    <a:lnTo>
                      <a:pt x="421" y="186"/>
                    </a:lnTo>
                    <a:lnTo>
                      <a:pt x="419" y="186"/>
                    </a:lnTo>
                    <a:lnTo>
                      <a:pt x="419" y="184"/>
                    </a:lnTo>
                    <a:lnTo>
                      <a:pt x="418" y="184"/>
                    </a:lnTo>
                    <a:lnTo>
                      <a:pt x="418" y="186"/>
                    </a:lnTo>
                    <a:lnTo>
                      <a:pt x="419" y="186"/>
                    </a:lnTo>
                    <a:lnTo>
                      <a:pt x="418" y="187"/>
                    </a:lnTo>
                    <a:lnTo>
                      <a:pt x="416" y="187"/>
                    </a:lnTo>
                    <a:lnTo>
                      <a:pt x="414" y="187"/>
                    </a:lnTo>
                    <a:lnTo>
                      <a:pt x="413" y="187"/>
                    </a:lnTo>
                    <a:lnTo>
                      <a:pt x="411" y="187"/>
                    </a:lnTo>
                    <a:lnTo>
                      <a:pt x="411" y="189"/>
                    </a:lnTo>
                    <a:lnTo>
                      <a:pt x="409" y="189"/>
                    </a:lnTo>
                    <a:lnTo>
                      <a:pt x="409" y="191"/>
                    </a:lnTo>
                    <a:lnTo>
                      <a:pt x="409" y="192"/>
                    </a:lnTo>
                    <a:lnTo>
                      <a:pt x="408" y="192"/>
                    </a:lnTo>
                    <a:lnTo>
                      <a:pt x="409" y="192"/>
                    </a:lnTo>
                    <a:lnTo>
                      <a:pt x="408" y="192"/>
                    </a:lnTo>
                    <a:lnTo>
                      <a:pt x="409" y="192"/>
                    </a:lnTo>
                    <a:lnTo>
                      <a:pt x="409" y="194"/>
                    </a:lnTo>
                    <a:lnTo>
                      <a:pt x="411" y="194"/>
                    </a:lnTo>
                    <a:lnTo>
                      <a:pt x="409" y="196"/>
                    </a:lnTo>
                    <a:lnTo>
                      <a:pt x="411" y="196"/>
                    </a:lnTo>
                    <a:lnTo>
                      <a:pt x="411" y="198"/>
                    </a:lnTo>
                    <a:lnTo>
                      <a:pt x="411" y="199"/>
                    </a:lnTo>
                    <a:lnTo>
                      <a:pt x="411" y="201"/>
                    </a:lnTo>
                    <a:lnTo>
                      <a:pt x="409" y="201"/>
                    </a:lnTo>
                    <a:lnTo>
                      <a:pt x="411" y="201"/>
                    </a:lnTo>
                    <a:lnTo>
                      <a:pt x="411" y="203"/>
                    </a:lnTo>
                    <a:lnTo>
                      <a:pt x="413" y="203"/>
                    </a:lnTo>
                    <a:lnTo>
                      <a:pt x="411" y="203"/>
                    </a:lnTo>
                    <a:lnTo>
                      <a:pt x="411" y="204"/>
                    </a:lnTo>
                    <a:lnTo>
                      <a:pt x="413" y="204"/>
                    </a:lnTo>
                    <a:lnTo>
                      <a:pt x="411" y="206"/>
                    </a:lnTo>
                    <a:lnTo>
                      <a:pt x="409" y="206"/>
                    </a:lnTo>
                    <a:lnTo>
                      <a:pt x="409" y="208"/>
                    </a:lnTo>
                    <a:lnTo>
                      <a:pt x="408" y="208"/>
                    </a:lnTo>
                    <a:lnTo>
                      <a:pt x="406" y="209"/>
                    </a:lnTo>
                    <a:lnTo>
                      <a:pt x="406" y="211"/>
                    </a:lnTo>
                    <a:lnTo>
                      <a:pt x="404" y="211"/>
                    </a:lnTo>
                    <a:lnTo>
                      <a:pt x="404" y="213"/>
                    </a:lnTo>
                    <a:lnTo>
                      <a:pt x="402" y="213"/>
                    </a:lnTo>
                    <a:lnTo>
                      <a:pt x="402" y="215"/>
                    </a:lnTo>
                    <a:lnTo>
                      <a:pt x="404" y="216"/>
                    </a:lnTo>
                    <a:lnTo>
                      <a:pt x="409" y="221"/>
                    </a:lnTo>
                    <a:lnTo>
                      <a:pt x="413" y="223"/>
                    </a:lnTo>
                    <a:lnTo>
                      <a:pt x="414" y="228"/>
                    </a:lnTo>
                    <a:lnTo>
                      <a:pt x="421" y="235"/>
                    </a:lnTo>
                    <a:lnTo>
                      <a:pt x="423" y="237"/>
                    </a:lnTo>
                    <a:lnTo>
                      <a:pt x="425" y="238"/>
                    </a:lnTo>
                    <a:lnTo>
                      <a:pt x="426" y="238"/>
                    </a:lnTo>
                    <a:lnTo>
                      <a:pt x="426" y="240"/>
                    </a:lnTo>
                    <a:lnTo>
                      <a:pt x="428" y="240"/>
                    </a:lnTo>
                    <a:lnTo>
                      <a:pt x="428" y="242"/>
                    </a:lnTo>
                    <a:lnTo>
                      <a:pt x="428" y="243"/>
                    </a:lnTo>
                    <a:lnTo>
                      <a:pt x="428" y="245"/>
                    </a:lnTo>
                    <a:lnTo>
                      <a:pt x="430" y="245"/>
                    </a:lnTo>
                    <a:lnTo>
                      <a:pt x="430" y="247"/>
                    </a:lnTo>
                    <a:lnTo>
                      <a:pt x="430" y="249"/>
                    </a:lnTo>
                    <a:lnTo>
                      <a:pt x="428" y="249"/>
                    </a:lnTo>
                    <a:lnTo>
                      <a:pt x="428" y="250"/>
                    </a:lnTo>
                    <a:lnTo>
                      <a:pt x="426" y="250"/>
                    </a:lnTo>
                    <a:lnTo>
                      <a:pt x="426" y="252"/>
                    </a:lnTo>
                    <a:lnTo>
                      <a:pt x="425" y="252"/>
                    </a:lnTo>
                    <a:lnTo>
                      <a:pt x="425" y="254"/>
                    </a:lnTo>
                    <a:lnTo>
                      <a:pt x="423" y="254"/>
                    </a:lnTo>
                    <a:lnTo>
                      <a:pt x="423" y="255"/>
                    </a:lnTo>
                    <a:lnTo>
                      <a:pt x="421" y="255"/>
                    </a:lnTo>
                    <a:lnTo>
                      <a:pt x="419" y="255"/>
                    </a:lnTo>
                    <a:lnTo>
                      <a:pt x="419" y="257"/>
                    </a:lnTo>
                    <a:lnTo>
                      <a:pt x="418" y="257"/>
                    </a:lnTo>
                    <a:lnTo>
                      <a:pt x="418" y="259"/>
                    </a:lnTo>
                    <a:lnTo>
                      <a:pt x="418" y="261"/>
                    </a:lnTo>
                    <a:lnTo>
                      <a:pt x="416" y="261"/>
                    </a:lnTo>
                    <a:lnTo>
                      <a:pt x="416" y="262"/>
                    </a:lnTo>
                    <a:lnTo>
                      <a:pt x="414" y="262"/>
                    </a:lnTo>
                    <a:lnTo>
                      <a:pt x="413" y="262"/>
                    </a:lnTo>
                    <a:lnTo>
                      <a:pt x="411" y="262"/>
                    </a:lnTo>
                    <a:lnTo>
                      <a:pt x="411" y="264"/>
                    </a:lnTo>
                    <a:lnTo>
                      <a:pt x="411" y="262"/>
                    </a:lnTo>
                    <a:lnTo>
                      <a:pt x="409" y="262"/>
                    </a:lnTo>
                    <a:lnTo>
                      <a:pt x="408" y="262"/>
                    </a:lnTo>
                    <a:lnTo>
                      <a:pt x="406" y="262"/>
                    </a:lnTo>
                    <a:lnTo>
                      <a:pt x="404" y="262"/>
                    </a:lnTo>
                    <a:lnTo>
                      <a:pt x="406" y="262"/>
                    </a:lnTo>
                    <a:lnTo>
                      <a:pt x="406" y="264"/>
                    </a:lnTo>
                    <a:lnTo>
                      <a:pt x="406" y="266"/>
                    </a:lnTo>
                    <a:lnTo>
                      <a:pt x="404" y="266"/>
                    </a:lnTo>
                    <a:lnTo>
                      <a:pt x="402" y="266"/>
                    </a:lnTo>
                    <a:lnTo>
                      <a:pt x="401" y="266"/>
                    </a:lnTo>
                    <a:lnTo>
                      <a:pt x="399" y="266"/>
                    </a:lnTo>
                    <a:lnTo>
                      <a:pt x="399" y="267"/>
                    </a:lnTo>
                    <a:lnTo>
                      <a:pt x="399" y="269"/>
                    </a:lnTo>
                    <a:lnTo>
                      <a:pt x="399" y="271"/>
                    </a:lnTo>
                    <a:lnTo>
                      <a:pt x="397" y="271"/>
                    </a:lnTo>
                    <a:lnTo>
                      <a:pt x="396" y="271"/>
                    </a:lnTo>
                    <a:lnTo>
                      <a:pt x="394" y="271"/>
                    </a:lnTo>
                    <a:lnTo>
                      <a:pt x="394" y="272"/>
                    </a:lnTo>
                    <a:lnTo>
                      <a:pt x="394" y="271"/>
                    </a:lnTo>
                    <a:lnTo>
                      <a:pt x="392" y="271"/>
                    </a:lnTo>
                    <a:lnTo>
                      <a:pt x="391" y="271"/>
                    </a:lnTo>
                    <a:lnTo>
                      <a:pt x="391" y="272"/>
                    </a:lnTo>
                    <a:lnTo>
                      <a:pt x="389" y="272"/>
                    </a:lnTo>
                    <a:lnTo>
                      <a:pt x="389" y="274"/>
                    </a:lnTo>
                    <a:lnTo>
                      <a:pt x="387" y="274"/>
                    </a:lnTo>
                    <a:lnTo>
                      <a:pt x="385" y="274"/>
                    </a:lnTo>
                    <a:lnTo>
                      <a:pt x="385" y="276"/>
                    </a:lnTo>
                    <a:lnTo>
                      <a:pt x="384" y="276"/>
                    </a:lnTo>
                    <a:lnTo>
                      <a:pt x="384" y="274"/>
                    </a:lnTo>
                    <a:lnTo>
                      <a:pt x="382" y="274"/>
                    </a:lnTo>
                    <a:lnTo>
                      <a:pt x="380" y="274"/>
                    </a:lnTo>
                    <a:lnTo>
                      <a:pt x="379" y="274"/>
                    </a:lnTo>
                    <a:lnTo>
                      <a:pt x="380" y="276"/>
                    </a:lnTo>
                    <a:lnTo>
                      <a:pt x="379" y="276"/>
                    </a:lnTo>
                    <a:lnTo>
                      <a:pt x="377" y="278"/>
                    </a:lnTo>
                    <a:lnTo>
                      <a:pt x="377" y="276"/>
                    </a:lnTo>
                    <a:lnTo>
                      <a:pt x="375" y="276"/>
                    </a:lnTo>
                    <a:lnTo>
                      <a:pt x="374" y="276"/>
                    </a:lnTo>
                    <a:lnTo>
                      <a:pt x="372" y="274"/>
                    </a:lnTo>
                    <a:lnTo>
                      <a:pt x="372" y="276"/>
                    </a:lnTo>
                    <a:lnTo>
                      <a:pt x="372" y="274"/>
                    </a:lnTo>
                    <a:lnTo>
                      <a:pt x="372" y="276"/>
                    </a:lnTo>
                    <a:lnTo>
                      <a:pt x="370" y="274"/>
                    </a:lnTo>
                    <a:lnTo>
                      <a:pt x="368" y="274"/>
                    </a:lnTo>
                    <a:lnTo>
                      <a:pt x="367" y="274"/>
                    </a:lnTo>
                    <a:lnTo>
                      <a:pt x="367" y="276"/>
                    </a:lnTo>
                    <a:lnTo>
                      <a:pt x="365" y="274"/>
                    </a:lnTo>
                    <a:lnTo>
                      <a:pt x="365" y="276"/>
                    </a:lnTo>
                    <a:lnTo>
                      <a:pt x="363" y="276"/>
                    </a:lnTo>
                    <a:lnTo>
                      <a:pt x="363" y="278"/>
                    </a:lnTo>
                    <a:lnTo>
                      <a:pt x="363" y="279"/>
                    </a:lnTo>
                    <a:lnTo>
                      <a:pt x="362" y="279"/>
                    </a:lnTo>
                    <a:lnTo>
                      <a:pt x="362" y="278"/>
                    </a:lnTo>
                    <a:lnTo>
                      <a:pt x="360" y="278"/>
                    </a:lnTo>
                    <a:lnTo>
                      <a:pt x="360" y="279"/>
                    </a:lnTo>
                    <a:lnTo>
                      <a:pt x="360" y="278"/>
                    </a:lnTo>
                    <a:lnTo>
                      <a:pt x="358" y="279"/>
                    </a:lnTo>
                    <a:lnTo>
                      <a:pt x="357" y="278"/>
                    </a:lnTo>
                    <a:lnTo>
                      <a:pt x="357" y="279"/>
                    </a:lnTo>
                    <a:lnTo>
                      <a:pt x="357" y="281"/>
                    </a:lnTo>
                    <a:lnTo>
                      <a:pt x="357" y="283"/>
                    </a:lnTo>
                    <a:lnTo>
                      <a:pt x="355" y="283"/>
                    </a:lnTo>
                    <a:lnTo>
                      <a:pt x="357" y="284"/>
                    </a:lnTo>
                    <a:lnTo>
                      <a:pt x="357" y="286"/>
                    </a:lnTo>
                    <a:lnTo>
                      <a:pt x="358" y="286"/>
                    </a:lnTo>
                    <a:lnTo>
                      <a:pt x="357" y="286"/>
                    </a:lnTo>
                    <a:lnTo>
                      <a:pt x="358" y="288"/>
                    </a:lnTo>
                    <a:lnTo>
                      <a:pt x="357" y="288"/>
                    </a:lnTo>
                    <a:lnTo>
                      <a:pt x="358" y="289"/>
                    </a:lnTo>
                    <a:lnTo>
                      <a:pt x="357" y="289"/>
                    </a:lnTo>
                    <a:lnTo>
                      <a:pt x="357" y="291"/>
                    </a:lnTo>
                    <a:lnTo>
                      <a:pt x="357" y="289"/>
                    </a:lnTo>
                    <a:lnTo>
                      <a:pt x="355" y="289"/>
                    </a:lnTo>
                    <a:lnTo>
                      <a:pt x="355" y="288"/>
                    </a:lnTo>
                    <a:lnTo>
                      <a:pt x="353" y="289"/>
                    </a:lnTo>
                    <a:lnTo>
                      <a:pt x="351" y="291"/>
                    </a:lnTo>
                    <a:lnTo>
                      <a:pt x="351" y="293"/>
                    </a:lnTo>
                    <a:lnTo>
                      <a:pt x="350" y="293"/>
                    </a:lnTo>
                    <a:lnTo>
                      <a:pt x="348" y="293"/>
                    </a:lnTo>
                    <a:lnTo>
                      <a:pt x="348" y="291"/>
                    </a:lnTo>
                    <a:lnTo>
                      <a:pt x="346" y="291"/>
                    </a:lnTo>
                    <a:lnTo>
                      <a:pt x="346" y="289"/>
                    </a:lnTo>
                    <a:lnTo>
                      <a:pt x="346" y="288"/>
                    </a:lnTo>
                    <a:lnTo>
                      <a:pt x="345" y="288"/>
                    </a:lnTo>
                    <a:lnTo>
                      <a:pt x="345" y="286"/>
                    </a:lnTo>
                    <a:lnTo>
                      <a:pt x="343" y="286"/>
                    </a:lnTo>
                    <a:lnTo>
                      <a:pt x="341" y="286"/>
                    </a:lnTo>
                    <a:lnTo>
                      <a:pt x="341" y="284"/>
                    </a:lnTo>
                    <a:lnTo>
                      <a:pt x="341" y="283"/>
                    </a:lnTo>
                    <a:lnTo>
                      <a:pt x="341" y="281"/>
                    </a:lnTo>
                    <a:lnTo>
                      <a:pt x="340" y="281"/>
                    </a:lnTo>
                    <a:lnTo>
                      <a:pt x="338" y="281"/>
                    </a:lnTo>
                    <a:lnTo>
                      <a:pt x="336" y="281"/>
                    </a:lnTo>
                    <a:lnTo>
                      <a:pt x="334" y="281"/>
                    </a:lnTo>
                    <a:lnTo>
                      <a:pt x="333" y="281"/>
                    </a:lnTo>
                    <a:lnTo>
                      <a:pt x="334" y="281"/>
                    </a:lnTo>
                    <a:lnTo>
                      <a:pt x="334" y="283"/>
                    </a:lnTo>
                    <a:lnTo>
                      <a:pt x="334" y="284"/>
                    </a:lnTo>
                    <a:lnTo>
                      <a:pt x="333" y="284"/>
                    </a:lnTo>
                    <a:lnTo>
                      <a:pt x="331" y="284"/>
                    </a:lnTo>
                    <a:lnTo>
                      <a:pt x="329" y="284"/>
                    </a:lnTo>
                    <a:lnTo>
                      <a:pt x="329" y="283"/>
                    </a:lnTo>
                    <a:lnTo>
                      <a:pt x="329" y="284"/>
                    </a:lnTo>
                    <a:lnTo>
                      <a:pt x="328" y="283"/>
                    </a:lnTo>
                    <a:lnTo>
                      <a:pt x="329" y="283"/>
                    </a:lnTo>
                    <a:lnTo>
                      <a:pt x="328" y="283"/>
                    </a:lnTo>
                    <a:lnTo>
                      <a:pt x="328" y="281"/>
                    </a:lnTo>
                    <a:lnTo>
                      <a:pt x="326" y="281"/>
                    </a:lnTo>
                    <a:lnTo>
                      <a:pt x="326" y="279"/>
                    </a:lnTo>
                    <a:lnTo>
                      <a:pt x="324" y="281"/>
                    </a:lnTo>
                    <a:lnTo>
                      <a:pt x="326" y="283"/>
                    </a:lnTo>
                    <a:lnTo>
                      <a:pt x="324" y="283"/>
                    </a:lnTo>
                    <a:lnTo>
                      <a:pt x="323" y="281"/>
                    </a:lnTo>
                    <a:lnTo>
                      <a:pt x="323" y="283"/>
                    </a:lnTo>
                    <a:lnTo>
                      <a:pt x="321" y="283"/>
                    </a:lnTo>
                    <a:lnTo>
                      <a:pt x="321" y="281"/>
                    </a:lnTo>
                    <a:lnTo>
                      <a:pt x="319" y="281"/>
                    </a:lnTo>
                    <a:lnTo>
                      <a:pt x="319" y="283"/>
                    </a:lnTo>
                    <a:lnTo>
                      <a:pt x="317" y="283"/>
                    </a:lnTo>
                    <a:lnTo>
                      <a:pt x="316" y="283"/>
                    </a:lnTo>
                    <a:lnTo>
                      <a:pt x="316" y="284"/>
                    </a:lnTo>
                    <a:lnTo>
                      <a:pt x="316" y="283"/>
                    </a:lnTo>
                    <a:lnTo>
                      <a:pt x="314" y="283"/>
                    </a:lnTo>
                    <a:lnTo>
                      <a:pt x="312" y="281"/>
                    </a:lnTo>
                    <a:lnTo>
                      <a:pt x="312" y="279"/>
                    </a:lnTo>
                    <a:lnTo>
                      <a:pt x="311" y="279"/>
                    </a:lnTo>
                    <a:lnTo>
                      <a:pt x="312" y="278"/>
                    </a:lnTo>
                    <a:lnTo>
                      <a:pt x="311" y="278"/>
                    </a:lnTo>
                    <a:lnTo>
                      <a:pt x="311" y="276"/>
                    </a:lnTo>
                    <a:lnTo>
                      <a:pt x="309" y="276"/>
                    </a:lnTo>
                    <a:lnTo>
                      <a:pt x="307" y="276"/>
                    </a:lnTo>
                    <a:lnTo>
                      <a:pt x="306" y="276"/>
                    </a:lnTo>
                    <a:lnTo>
                      <a:pt x="306" y="274"/>
                    </a:lnTo>
                    <a:lnTo>
                      <a:pt x="304" y="276"/>
                    </a:lnTo>
                    <a:lnTo>
                      <a:pt x="302" y="276"/>
                    </a:lnTo>
                    <a:lnTo>
                      <a:pt x="302" y="274"/>
                    </a:lnTo>
                    <a:lnTo>
                      <a:pt x="300" y="276"/>
                    </a:lnTo>
                    <a:lnTo>
                      <a:pt x="300" y="274"/>
                    </a:lnTo>
                    <a:lnTo>
                      <a:pt x="300" y="276"/>
                    </a:lnTo>
                    <a:lnTo>
                      <a:pt x="299" y="276"/>
                    </a:lnTo>
                    <a:lnTo>
                      <a:pt x="297" y="276"/>
                    </a:lnTo>
                    <a:lnTo>
                      <a:pt x="295" y="276"/>
                    </a:lnTo>
                    <a:lnTo>
                      <a:pt x="294" y="276"/>
                    </a:lnTo>
                    <a:lnTo>
                      <a:pt x="294" y="274"/>
                    </a:lnTo>
                    <a:lnTo>
                      <a:pt x="292" y="272"/>
                    </a:lnTo>
                    <a:lnTo>
                      <a:pt x="292" y="271"/>
                    </a:lnTo>
                    <a:lnTo>
                      <a:pt x="290" y="271"/>
                    </a:lnTo>
                    <a:lnTo>
                      <a:pt x="289" y="271"/>
                    </a:lnTo>
                    <a:lnTo>
                      <a:pt x="287" y="271"/>
                    </a:lnTo>
                    <a:lnTo>
                      <a:pt x="287" y="272"/>
                    </a:lnTo>
                    <a:lnTo>
                      <a:pt x="287" y="274"/>
                    </a:lnTo>
                    <a:lnTo>
                      <a:pt x="289" y="274"/>
                    </a:lnTo>
                    <a:lnTo>
                      <a:pt x="289" y="276"/>
                    </a:lnTo>
                    <a:lnTo>
                      <a:pt x="290" y="276"/>
                    </a:lnTo>
                    <a:lnTo>
                      <a:pt x="290" y="278"/>
                    </a:lnTo>
                    <a:lnTo>
                      <a:pt x="292" y="278"/>
                    </a:lnTo>
                    <a:lnTo>
                      <a:pt x="292" y="279"/>
                    </a:lnTo>
                    <a:lnTo>
                      <a:pt x="294" y="281"/>
                    </a:lnTo>
                    <a:lnTo>
                      <a:pt x="295" y="283"/>
                    </a:lnTo>
                    <a:lnTo>
                      <a:pt x="295" y="284"/>
                    </a:lnTo>
                    <a:lnTo>
                      <a:pt x="297" y="284"/>
                    </a:lnTo>
                    <a:lnTo>
                      <a:pt x="297" y="286"/>
                    </a:lnTo>
                    <a:lnTo>
                      <a:pt x="299" y="286"/>
                    </a:lnTo>
                    <a:lnTo>
                      <a:pt x="299" y="288"/>
                    </a:lnTo>
                    <a:lnTo>
                      <a:pt x="300" y="288"/>
                    </a:lnTo>
                    <a:lnTo>
                      <a:pt x="302" y="288"/>
                    </a:lnTo>
                    <a:lnTo>
                      <a:pt x="304" y="288"/>
                    </a:lnTo>
                    <a:lnTo>
                      <a:pt x="304" y="289"/>
                    </a:lnTo>
                    <a:lnTo>
                      <a:pt x="306" y="289"/>
                    </a:lnTo>
                    <a:lnTo>
                      <a:pt x="306" y="291"/>
                    </a:lnTo>
                    <a:lnTo>
                      <a:pt x="307" y="293"/>
                    </a:lnTo>
                    <a:lnTo>
                      <a:pt x="309" y="295"/>
                    </a:lnTo>
                    <a:lnTo>
                      <a:pt x="309" y="296"/>
                    </a:lnTo>
                    <a:lnTo>
                      <a:pt x="307" y="298"/>
                    </a:lnTo>
                    <a:lnTo>
                      <a:pt x="306" y="300"/>
                    </a:lnTo>
                    <a:lnTo>
                      <a:pt x="307" y="300"/>
                    </a:lnTo>
                    <a:lnTo>
                      <a:pt x="307" y="301"/>
                    </a:lnTo>
                    <a:lnTo>
                      <a:pt x="307" y="303"/>
                    </a:lnTo>
                    <a:lnTo>
                      <a:pt x="307" y="305"/>
                    </a:lnTo>
                    <a:lnTo>
                      <a:pt x="307" y="306"/>
                    </a:lnTo>
                    <a:lnTo>
                      <a:pt x="307" y="308"/>
                    </a:lnTo>
                    <a:lnTo>
                      <a:pt x="307" y="310"/>
                    </a:lnTo>
                    <a:lnTo>
                      <a:pt x="309" y="312"/>
                    </a:lnTo>
                    <a:lnTo>
                      <a:pt x="309" y="313"/>
                    </a:lnTo>
                    <a:lnTo>
                      <a:pt x="311" y="313"/>
                    </a:lnTo>
                    <a:lnTo>
                      <a:pt x="311" y="315"/>
                    </a:lnTo>
                    <a:lnTo>
                      <a:pt x="312" y="315"/>
                    </a:lnTo>
                    <a:lnTo>
                      <a:pt x="312" y="317"/>
                    </a:lnTo>
                    <a:lnTo>
                      <a:pt x="312" y="318"/>
                    </a:lnTo>
                    <a:lnTo>
                      <a:pt x="314" y="320"/>
                    </a:lnTo>
                    <a:lnTo>
                      <a:pt x="314" y="322"/>
                    </a:lnTo>
                    <a:lnTo>
                      <a:pt x="316" y="322"/>
                    </a:lnTo>
                    <a:lnTo>
                      <a:pt x="314" y="322"/>
                    </a:lnTo>
                    <a:lnTo>
                      <a:pt x="316" y="323"/>
                    </a:lnTo>
                    <a:lnTo>
                      <a:pt x="314" y="323"/>
                    </a:lnTo>
                    <a:lnTo>
                      <a:pt x="316" y="323"/>
                    </a:lnTo>
                    <a:lnTo>
                      <a:pt x="316" y="325"/>
                    </a:lnTo>
                    <a:lnTo>
                      <a:pt x="314" y="325"/>
                    </a:lnTo>
                    <a:lnTo>
                      <a:pt x="314" y="327"/>
                    </a:lnTo>
                    <a:lnTo>
                      <a:pt x="314" y="329"/>
                    </a:lnTo>
                    <a:lnTo>
                      <a:pt x="312" y="329"/>
                    </a:lnTo>
                    <a:lnTo>
                      <a:pt x="312" y="330"/>
                    </a:lnTo>
                    <a:lnTo>
                      <a:pt x="314" y="330"/>
                    </a:lnTo>
                    <a:lnTo>
                      <a:pt x="314" y="332"/>
                    </a:lnTo>
                    <a:lnTo>
                      <a:pt x="314" y="330"/>
                    </a:lnTo>
                    <a:lnTo>
                      <a:pt x="316" y="332"/>
                    </a:lnTo>
                    <a:lnTo>
                      <a:pt x="317" y="332"/>
                    </a:lnTo>
                    <a:lnTo>
                      <a:pt x="319" y="332"/>
                    </a:lnTo>
                    <a:lnTo>
                      <a:pt x="321" y="334"/>
                    </a:lnTo>
                    <a:lnTo>
                      <a:pt x="323" y="334"/>
                    </a:lnTo>
                    <a:lnTo>
                      <a:pt x="324" y="334"/>
                    </a:lnTo>
                    <a:lnTo>
                      <a:pt x="326" y="334"/>
                    </a:lnTo>
                    <a:lnTo>
                      <a:pt x="328" y="334"/>
                    </a:lnTo>
                    <a:lnTo>
                      <a:pt x="329" y="334"/>
                    </a:lnTo>
                    <a:lnTo>
                      <a:pt x="331" y="334"/>
                    </a:lnTo>
                    <a:lnTo>
                      <a:pt x="333" y="332"/>
                    </a:lnTo>
                    <a:lnTo>
                      <a:pt x="334" y="332"/>
                    </a:lnTo>
                    <a:lnTo>
                      <a:pt x="336" y="332"/>
                    </a:lnTo>
                    <a:lnTo>
                      <a:pt x="336" y="334"/>
                    </a:lnTo>
                    <a:lnTo>
                      <a:pt x="336" y="335"/>
                    </a:lnTo>
                    <a:lnTo>
                      <a:pt x="336" y="337"/>
                    </a:lnTo>
                    <a:lnTo>
                      <a:pt x="336" y="339"/>
                    </a:lnTo>
                    <a:lnTo>
                      <a:pt x="336" y="340"/>
                    </a:lnTo>
                    <a:lnTo>
                      <a:pt x="334" y="340"/>
                    </a:lnTo>
                    <a:lnTo>
                      <a:pt x="336" y="340"/>
                    </a:lnTo>
                    <a:lnTo>
                      <a:pt x="334" y="342"/>
                    </a:lnTo>
                    <a:lnTo>
                      <a:pt x="333" y="344"/>
                    </a:lnTo>
                    <a:lnTo>
                      <a:pt x="333" y="342"/>
                    </a:lnTo>
                    <a:lnTo>
                      <a:pt x="333" y="344"/>
                    </a:lnTo>
                    <a:lnTo>
                      <a:pt x="331" y="344"/>
                    </a:lnTo>
                    <a:lnTo>
                      <a:pt x="331" y="342"/>
                    </a:lnTo>
                    <a:lnTo>
                      <a:pt x="329" y="342"/>
                    </a:lnTo>
                    <a:lnTo>
                      <a:pt x="329" y="344"/>
                    </a:lnTo>
                    <a:lnTo>
                      <a:pt x="328" y="344"/>
                    </a:lnTo>
                    <a:lnTo>
                      <a:pt x="328" y="346"/>
                    </a:lnTo>
                    <a:lnTo>
                      <a:pt x="326" y="346"/>
                    </a:lnTo>
                    <a:lnTo>
                      <a:pt x="326" y="347"/>
                    </a:lnTo>
                    <a:lnTo>
                      <a:pt x="324" y="346"/>
                    </a:lnTo>
                    <a:lnTo>
                      <a:pt x="324" y="347"/>
                    </a:lnTo>
                    <a:lnTo>
                      <a:pt x="323" y="347"/>
                    </a:lnTo>
                    <a:lnTo>
                      <a:pt x="321" y="347"/>
                    </a:lnTo>
                    <a:lnTo>
                      <a:pt x="321" y="349"/>
                    </a:lnTo>
                    <a:lnTo>
                      <a:pt x="319" y="347"/>
                    </a:lnTo>
                    <a:lnTo>
                      <a:pt x="317" y="347"/>
                    </a:lnTo>
                    <a:lnTo>
                      <a:pt x="316" y="347"/>
                    </a:lnTo>
                    <a:lnTo>
                      <a:pt x="314" y="347"/>
                    </a:lnTo>
                    <a:lnTo>
                      <a:pt x="314" y="349"/>
                    </a:lnTo>
                    <a:lnTo>
                      <a:pt x="312" y="349"/>
                    </a:lnTo>
                    <a:lnTo>
                      <a:pt x="312" y="351"/>
                    </a:lnTo>
                    <a:lnTo>
                      <a:pt x="312" y="352"/>
                    </a:lnTo>
                    <a:lnTo>
                      <a:pt x="312" y="354"/>
                    </a:lnTo>
                    <a:lnTo>
                      <a:pt x="312" y="356"/>
                    </a:lnTo>
                    <a:lnTo>
                      <a:pt x="312" y="357"/>
                    </a:lnTo>
                    <a:lnTo>
                      <a:pt x="312" y="359"/>
                    </a:lnTo>
                    <a:lnTo>
                      <a:pt x="312" y="361"/>
                    </a:lnTo>
                    <a:lnTo>
                      <a:pt x="311" y="361"/>
                    </a:lnTo>
                    <a:lnTo>
                      <a:pt x="309" y="361"/>
                    </a:lnTo>
                    <a:lnTo>
                      <a:pt x="309" y="363"/>
                    </a:lnTo>
                    <a:lnTo>
                      <a:pt x="309" y="364"/>
                    </a:lnTo>
                    <a:lnTo>
                      <a:pt x="307" y="364"/>
                    </a:lnTo>
                    <a:lnTo>
                      <a:pt x="306" y="364"/>
                    </a:lnTo>
                    <a:lnTo>
                      <a:pt x="304" y="366"/>
                    </a:lnTo>
                    <a:lnTo>
                      <a:pt x="304" y="368"/>
                    </a:lnTo>
                    <a:lnTo>
                      <a:pt x="304" y="369"/>
                    </a:lnTo>
                    <a:lnTo>
                      <a:pt x="302" y="368"/>
                    </a:lnTo>
                    <a:lnTo>
                      <a:pt x="300" y="368"/>
                    </a:lnTo>
                    <a:lnTo>
                      <a:pt x="302" y="368"/>
                    </a:lnTo>
                    <a:lnTo>
                      <a:pt x="302" y="366"/>
                    </a:lnTo>
                    <a:lnTo>
                      <a:pt x="302" y="364"/>
                    </a:lnTo>
                    <a:lnTo>
                      <a:pt x="302" y="363"/>
                    </a:lnTo>
                    <a:lnTo>
                      <a:pt x="302" y="364"/>
                    </a:lnTo>
                    <a:lnTo>
                      <a:pt x="302" y="363"/>
                    </a:lnTo>
                    <a:lnTo>
                      <a:pt x="300" y="364"/>
                    </a:lnTo>
                    <a:lnTo>
                      <a:pt x="299" y="364"/>
                    </a:lnTo>
                    <a:lnTo>
                      <a:pt x="299" y="366"/>
                    </a:lnTo>
                    <a:lnTo>
                      <a:pt x="297" y="366"/>
                    </a:lnTo>
                    <a:lnTo>
                      <a:pt x="295" y="368"/>
                    </a:lnTo>
                    <a:lnTo>
                      <a:pt x="295" y="369"/>
                    </a:lnTo>
                    <a:lnTo>
                      <a:pt x="294" y="369"/>
                    </a:lnTo>
                    <a:lnTo>
                      <a:pt x="294" y="371"/>
                    </a:lnTo>
                    <a:lnTo>
                      <a:pt x="292" y="371"/>
                    </a:lnTo>
                    <a:lnTo>
                      <a:pt x="290" y="371"/>
                    </a:lnTo>
                    <a:lnTo>
                      <a:pt x="290" y="373"/>
                    </a:lnTo>
                    <a:lnTo>
                      <a:pt x="289" y="373"/>
                    </a:lnTo>
                    <a:lnTo>
                      <a:pt x="289" y="371"/>
                    </a:lnTo>
                    <a:lnTo>
                      <a:pt x="287" y="371"/>
                    </a:lnTo>
                    <a:lnTo>
                      <a:pt x="285" y="371"/>
                    </a:lnTo>
                    <a:lnTo>
                      <a:pt x="287" y="373"/>
                    </a:lnTo>
                    <a:lnTo>
                      <a:pt x="285" y="373"/>
                    </a:lnTo>
                    <a:lnTo>
                      <a:pt x="283" y="373"/>
                    </a:lnTo>
                    <a:lnTo>
                      <a:pt x="283" y="374"/>
                    </a:lnTo>
                    <a:lnTo>
                      <a:pt x="283" y="373"/>
                    </a:lnTo>
                    <a:lnTo>
                      <a:pt x="282" y="373"/>
                    </a:lnTo>
                    <a:lnTo>
                      <a:pt x="282" y="374"/>
                    </a:lnTo>
                    <a:lnTo>
                      <a:pt x="282" y="376"/>
                    </a:lnTo>
                    <a:lnTo>
                      <a:pt x="280" y="376"/>
                    </a:lnTo>
                    <a:lnTo>
                      <a:pt x="280" y="378"/>
                    </a:lnTo>
                    <a:lnTo>
                      <a:pt x="278" y="378"/>
                    </a:lnTo>
                    <a:lnTo>
                      <a:pt x="278" y="376"/>
                    </a:lnTo>
                    <a:lnTo>
                      <a:pt x="277" y="376"/>
                    </a:lnTo>
                    <a:lnTo>
                      <a:pt x="275" y="376"/>
                    </a:lnTo>
                    <a:lnTo>
                      <a:pt x="277" y="378"/>
                    </a:lnTo>
                    <a:lnTo>
                      <a:pt x="275" y="378"/>
                    </a:lnTo>
                    <a:lnTo>
                      <a:pt x="275" y="380"/>
                    </a:lnTo>
                    <a:lnTo>
                      <a:pt x="277" y="381"/>
                    </a:lnTo>
                    <a:lnTo>
                      <a:pt x="275" y="381"/>
                    </a:lnTo>
                    <a:lnTo>
                      <a:pt x="275" y="383"/>
                    </a:lnTo>
                    <a:lnTo>
                      <a:pt x="275" y="385"/>
                    </a:lnTo>
                    <a:lnTo>
                      <a:pt x="273" y="385"/>
                    </a:lnTo>
                    <a:lnTo>
                      <a:pt x="273" y="383"/>
                    </a:lnTo>
                    <a:lnTo>
                      <a:pt x="272" y="383"/>
                    </a:lnTo>
                    <a:lnTo>
                      <a:pt x="270" y="383"/>
                    </a:lnTo>
                    <a:lnTo>
                      <a:pt x="270" y="385"/>
                    </a:lnTo>
                    <a:lnTo>
                      <a:pt x="268" y="385"/>
                    </a:lnTo>
                    <a:lnTo>
                      <a:pt x="270" y="385"/>
                    </a:lnTo>
                    <a:lnTo>
                      <a:pt x="268" y="386"/>
                    </a:lnTo>
                    <a:lnTo>
                      <a:pt x="266" y="388"/>
                    </a:lnTo>
                    <a:lnTo>
                      <a:pt x="268" y="388"/>
                    </a:lnTo>
                    <a:lnTo>
                      <a:pt x="268" y="390"/>
                    </a:lnTo>
                    <a:lnTo>
                      <a:pt x="266" y="390"/>
                    </a:lnTo>
                    <a:lnTo>
                      <a:pt x="266" y="391"/>
                    </a:lnTo>
                    <a:lnTo>
                      <a:pt x="265" y="391"/>
                    </a:lnTo>
                    <a:lnTo>
                      <a:pt x="263" y="391"/>
                    </a:lnTo>
                    <a:lnTo>
                      <a:pt x="263" y="393"/>
                    </a:lnTo>
                    <a:lnTo>
                      <a:pt x="261" y="391"/>
                    </a:lnTo>
                    <a:lnTo>
                      <a:pt x="261" y="390"/>
                    </a:lnTo>
                    <a:lnTo>
                      <a:pt x="263" y="388"/>
                    </a:lnTo>
                    <a:lnTo>
                      <a:pt x="263" y="386"/>
                    </a:lnTo>
                    <a:lnTo>
                      <a:pt x="265" y="386"/>
                    </a:lnTo>
                    <a:lnTo>
                      <a:pt x="265" y="385"/>
                    </a:lnTo>
                    <a:lnTo>
                      <a:pt x="263" y="385"/>
                    </a:lnTo>
                    <a:lnTo>
                      <a:pt x="263" y="383"/>
                    </a:lnTo>
                    <a:lnTo>
                      <a:pt x="263" y="381"/>
                    </a:lnTo>
                    <a:lnTo>
                      <a:pt x="261" y="381"/>
                    </a:lnTo>
                    <a:lnTo>
                      <a:pt x="260" y="381"/>
                    </a:lnTo>
                    <a:lnTo>
                      <a:pt x="258" y="381"/>
                    </a:lnTo>
                    <a:lnTo>
                      <a:pt x="256" y="381"/>
                    </a:lnTo>
                    <a:lnTo>
                      <a:pt x="255" y="381"/>
                    </a:lnTo>
                    <a:lnTo>
                      <a:pt x="255" y="383"/>
                    </a:lnTo>
                    <a:lnTo>
                      <a:pt x="253" y="383"/>
                    </a:lnTo>
                    <a:lnTo>
                      <a:pt x="251" y="383"/>
                    </a:lnTo>
                    <a:lnTo>
                      <a:pt x="251" y="385"/>
                    </a:lnTo>
                    <a:lnTo>
                      <a:pt x="249" y="385"/>
                    </a:lnTo>
                    <a:lnTo>
                      <a:pt x="249" y="386"/>
                    </a:lnTo>
                    <a:lnTo>
                      <a:pt x="248" y="386"/>
                    </a:lnTo>
                    <a:lnTo>
                      <a:pt x="248" y="388"/>
                    </a:lnTo>
                    <a:lnTo>
                      <a:pt x="246" y="388"/>
                    </a:lnTo>
                    <a:lnTo>
                      <a:pt x="244" y="388"/>
                    </a:lnTo>
                    <a:lnTo>
                      <a:pt x="244" y="390"/>
                    </a:lnTo>
                    <a:lnTo>
                      <a:pt x="243" y="390"/>
                    </a:lnTo>
                    <a:lnTo>
                      <a:pt x="241" y="390"/>
                    </a:lnTo>
                    <a:lnTo>
                      <a:pt x="241" y="388"/>
                    </a:lnTo>
                    <a:lnTo>
                      <a:pt x="239" y="388"/>
                    </a:lnTo>
                    <a:lnTo>
                      <a:pt x="238" y="390"/>
                    </a:lnTo>
                    <a:lnTo>
                      <a:pt x="236" y="390"/>
                    </a:lnTo>
                    <a:lnTo>
                      <a:pt x="219" y="373"/>
                    </a:lnTo>
                    <a:lnTo>
                      <a:pt x="217" y="373"/>
                    </a:lnTo>
                    <a:lnTo>
                      <a:pt x="217" y="371"/>
                    </a:lnTo>
                    <a:lnTo>
                      <a:pt x="219" y="371"/>
                    </a:lnTo>
                    <a:lnTo>
                      <a:pt x="219" y="369"/>
                    </a:lnTo>
                    <a:lnTo>
                      <a:pt x="219" y="368"/>
                    </a:lnTo>
                    <a:lnTo>
                      <a:pt x="217" y="368"/>
                    </a:lnTo>
                    <a:lnTo>
                      <a:pt x="217" y="366"/>
                    </a:lnTo>
                    <a:lnTo>
                      <a:pt x="217" y="364"/>
                    </a:lnTo>
                    <a:lnTo>
                      <a:pt x="215" y="364"/>
                    </a:lnTo>
                    <a:lnTo>
                      <a:pt x="215" y="363"/>
                    </a:lnTo>
                    <a:lnTo>
                      <a:pt x="215" y="361"/>
                    </a:lnTo>
                    <a:lnTo>
                      <a:pt x="215" y="359"/>
                    </a:lnTo>
                    <a:lnTo>
                      <a:pt x="214" y="359"/>
                    </a:lnTo>
                    <a:lnTo>
                      <a:pt x="214" y="357"/>
                    </a:lnTo>
                    <a:lnTo>
                      <a:pt x="214" y="356"/>
                    </a:lnTo>
                    <a:lnTo>
                      <a:pt x="212" y="356"/>
                    </a:lnTo>
                    <a:lnTo>
                      <a:pt x="212" y="354"/>
                    </a:lnTo>
                    <a:lnTo>
                      <a:pt x="212" y="352"/>
                    </a:lnTo>
                    <a:lnTo>
                      <a:pt x="212" y="351"/>
                    </a:lnTo>
                    <a:lnTo>
                      <a:pt x="210" y="349"/>
                    </a:lnTo>
                    <a:lnTo>
                      <a:pt x="209" y="347"/>
                    </a:lnTo>
                    <a:lnTo>
                      <a:pt x="210" y="347"/>
                    </a:lnTo>
                    <a:lnTo>
                      <a:pt x="210" y="346"/>
                    </a:lnTo>
                    <a:lnTo>
                      <a:pt x="210" y="344"/>
                    </a:lnTo>
                    <a:lnTo>
                      <a:pt x="209" y="342"/>
                    </a:lnTo>
                    <a:lnTo>
                      <a:pt x="209" y="344"/>
                    </a:lnTo>
                    <a:lnTo>
                      <a:pt x="209" y="342"/>
                    </a:lnTo>
                    <a:lnTo>
                      <a:pt x="207" y="342"/>
                    </a:lnTo>
                    <a:lnTo>
                      <a:pt x="207" y="340"/>
                    </a:lnTo>
                    <a:lnTo>
                      <a:pt x="207" y="339"/>
                    </a:lnTo>
                    <a:lnTo>
                      <a:pt x="205" y="339"/>
                    </a:lnTo>
                    <a:lnTo>
                      <a:pt x="207" y="339"/>
                    </a:lnTo>
                    <a:lnTo>
                      <a:pt x="207" y="337"/>
                    </a:lnTo>
                    <a:lnTo>
                      <a:pt x="207" y="335"/>
                    </a:lnTo>
                    <a:lnTo>
                      <a:pt x="207" y="334"/>
                    </a:lnTo>
                    <a:lnTo>
                      <a:pt x="205" y="334"/>
                    </a:lnTo>
                    <a:lnTo>
                      <a:pt x="205" y="332"/>
                    </a:lnTo>
                    <a:lnTo>
                      <a:pt x="204" y="332"/>
                    </a:lnTo>
                    <a:lnTo>
                      <a:pt x="202" y="330"/>
                    </a:lnTo>
                    <a:lnTo>
                      <a:pt x="202" y="329"/>
                    </a:lnTo>
                    <a:lnTo>
                      <a:pt x="200" y="329"/>
                    </a:lnTo>
                    <a:lnTo>
                      <a:pt x="200" y="327"/>
                    </a:lnTo>
                    <a:lnTo>
                      <a:pt x="198" y="327"/>
                    </a:lnTo>
                    <a:lnTo>
                      <a:pt x="197" y="325"/>
                    </a:lnTo>
                    <a:lnTo>
                      <a:pt x="195" y="325"/>
                    </a:lnTo>
                    <a:lnTo>
                      <a:pt x="195" y="323"/>
                    </a:lnTo>
                    <a:lnTo>
                      <a:pt x="193" y="322"/>
                    </a:lnTo>
                    <a:lnTo>
                      <a:pt x="193" y="320"/>
                    </a:lnTo>
                    <a:lnTo>
                      <a:pt x="192" y="320"/>
                    </a:lnTo>
                    <a:lnTo>
                      <a:pt x="190" y="320"/>
                    </a:lnTo>
                    <a:lnTo>
                      <a:pt x="188" y="320"/>
                    </a:lnTo>
                    <a:lnTo>
                      <a:pt x="188" y="318"/>
                    </a:lnTo>
                    <a:lnTo>
                      <a:pt x="187" y="320"/>
                    </a:lnTo>
                    <a:lnTo>
                      <a:pt x="187" y="318"/>
                    </a:lnTo>
                    <a:lnTo>
                      <a:pt x="185" y="320"/>
                    </a:lnTo>
                    <a:lnTo>
                      <a:pt x="185" y="318"/>
                    </a:lnTo>
                    <a:lnTo>
                      <a:pt x="187" y="317"/>
                    </a:lnTo>
                    <a:lnTo>
                      <a:pt x="190" y="313"/>
                    </a:lnTo>
                    <a:lnTo>
                      <a:pt x="193" y="310"/>
                    </a:lnTo>
                    <a:lnTo>
                      <a:pt x="197" y="308"/>
                    </a:lnTo>
                    <a:lnTo>
                      <a:pt x="198" y="305"/>
                    </a:lnTo>
                    <a:lnTo>
                      <a:pt x="200" y="305"/>
                    </a:lnTo>
                    <a:lnTo>
                      <a:pt x="200" y="303"/>
                    </a:lnTo>
                    <a:lnTo>
                      <a:pt x="202" y="303"/>
                    </a:lnTo>
                    <a:lnTo>
                      <a:pt x="202" y="301"/>
                    </a:lnTo>
                    <a:lnTo>
                      <a:pt x="204" y="301"/>
                    </a:lnTo>
                    <a:lnTo>
                      <a:pt x="204" y="300"/>
                    </a:lnTo>
                    <a:lnTo>
                      <a:pt x="202" y="300"/>
                    </a:lnTo>
                    <a:lnTo>
                      <a:pt x="202" y="298"/>
                    </a:lnTo>
                    <a:lnTo>
                      <a:pt x="200" y="298"/>
                    </a:lnTo>
                    <a:lnTo>
                      <a:pt x="200" y="296"/>
                    </a:lnTo>
                    <a:lnTo>
                      <a:pt x="200" y="295"/>
                    </a:lnTo>
                    <a:lnTo>
                      <a:pt x="198" y="295"/>
                    </a:lnTo>
                    <a:lnTo>
                      <a:pt x="198" y="293"/>
                    </a:lnTo>
                    <a:lnTo>
                      <a:pt x="198" y="291"/>
                    </a:lnTo>
                    <a:lnTo>
                      <a:pt x="197" y="289"/>
                    </a:lnTo>
                    <a:lnTo>
                      <a:pt x="197" y="288"/>
                    </a:lnTo>
                    <a:lnTo>
                      <a:pt x="195" y="288"/>
                    </a:lnTo>
                    <a:lnTo>
                      <a:pt x="193" y="288"/>
                    </a:lnTo>
                    <a:lnTo>
                      <a:pt x="192" y="288"/>
                    </a:lnTo>
                    <a:lnTo>
                      <a:pt x="192" y="286"/>
                    </a:lnTo>
                    <a:lnTo>
                      <a:pt x="192" y="284"/>
                    </a:lnTo>
                    <a:lnTo>
                      <a:pt x="192" y="283"/>
                    </a:lnTo>
                    <a:lnTo>
                      <a:pt x="190" y="283"/>
                    </a:lnTo>
                    <a:lnTo>
                      <a:pt x="190" y="281"/>
                    </a:lnTo>
                    <a:lnTo>
                      <a:pt x="190" y="279"/>
                    </a:lnTo>
                    <a:lnTo>
                      <a:pt x="190" y="278"/>
                    </a:lnTo>
                    <a:lnTo>
                      <a:pt x="188" y="276"/>
                    </a:lnTo>
                    <a:lnTo>
                      <a:pt x="188" y="274"/>
                    </a:lnTo>
                    <a:lnTo>
                      <a:pt x="187" y="274"/>
                    </a:lnTo>
                    <a:lnTo>
                      <a:pt x="187" y="272"/>
                    </a:lnTo>
                    <a:lnTo>
                      <a:pt x="187" y="271"/>
                    </a:lnTo>
                    <a:lnTo>
                      <a:pt x="187" y="269"/>
                    </a:lnTo>
                    <a:lnTo>
                      <a:pt x="187" y="267"/>
                    </a:lnTo>
                    <a:lnTo>
                      <a:pt x="188" y="269"/>
                    </a:lnTo>
                    <a:lnTo>
                      <a:pt x="188" y="267"/>
                    </a:lnTo>
                    <a:lnTo>
                      <a:pt x="187" y="267"/>
                    </a:lnTo>
                    <a:lnTo>
                      <a:pt x="187" y="266"/>
                    </a:lnTo>
                    <a:lnTo>
                      <a:pt x="188" y="266"/>
                    </a:lnTo>
                    <a:lnTo>
                      <a:pt x="187" y="266"/>
                    </a:lnTo>
                    <a:lnTo>
                      <a:pt x="187" y="264"/>
                    </a:lnTo>
                    <a:lnTo>
                      <a:pt x="187" y="262"/>
                    </a:lnTo>
                    <a:lnTo>
                      <a:pt x="185" y="262"/>
                    </a:lnTo>
                    <a:lnTo>
                      <a:pt x="185" y="261"/>
                    </a:lnTo>
                    <a:lnTo>
                      <a:pt x="185" y="259"/>
                    </a:lnTo>
                    <a:lnTo>
                      <a:pt x="185" y="257"/>
                    </a:lnTo>
                    <a:lnTo>
                      <a:pt x="185" y="255"/>
                    </a:lnTo>
                    <a:lnTo>
                      <a:pt x="187" y="255"/>
                    </a:lnTo>
                    <a:lnTo>
                      <a:pt x="187" y="254"/>
                    </a:lnTo>
                    <a:lnTo>
                      <a:pt x="185" y="254"/>
                    </a:lnTo>
                    <a:lnTo>
                      <a:pt x="185" y="252"/>
                    </a:lnTo>
                    <a:lnTo>
                      <a:pt x="185" y="250"/>
                    </a:lnTo>
                    <a:lnTo>
                      <a:pt x="185" y="249"/>
                    </a:lnTo>
                    <a:lnTo>
                      <a:pt x="185" y="247"/>
                    </a:lnTo>
                    <a:lnTo>
                      <a:pt x="187" y="247"/>
                    </a:lnTo>
                    <a:lnTo>
                      <a:pt x="187" y="245"/>
                    </a:lnTo>
                    <a:lnTo>
                      <a:pt x="187" y="243"/>
                    </a:lnTo>
                    <a:lnTo>
                      <a:pt x="185" y="243"/>
                    </a:lnTo>
                    <a:lnTo>
                      <a:pt x="187" y="243"/>
                    </a:lnTo>
                    <a:lnTo>
                      <a:pt x="185" y="242"/>
                    </a:lnTo>
                    <a:lnTo>
                      <a:pt x="185" y="240"/>
                    </a:lnTo>
                    <a:lnTo>
                      <a:pt x="185" y="238"/>
                    </a:lnTo>
                    <a:lnTo>
                      <a:pt x="187" y="237"/>
                    </a:lnTo>
                    <a:lnTo>
                      <a:pt x="185" y="237"/>
                    </a:lnTo>
                    <a:lnTo>
                      <a:pt x="185" y="235"/>
                    </a:lnTo>
                    <a:lnTo>
                      <a:pt x="187" y="235"/>
                    </a:lnTo>
                    <a:lnTo>
                      <a:pt x="187" y="233"/>
                    </a:lnTo>
                    <a:lnTo>
                      <a:pt x="188" y="233"/>
                    </a:lnTo>
                    <a:lnTo>
                      <a:pt x="188" y="232"/>
                    </a:lnTo>
                    <a:lnTo>
                      <a:pt x="190" y="232"/>
                    </a:lnTo>
                    <a:lnTo>
                      <a:pt x="192" y="230"/>
                    </a:lnTo>
                    <a:lnTo>
                      <a:pt x="192" y="228"/>
                    </a:lnTo>
                    <a:lnTo>
                      <a:pt x="193" y="228"/>
                    </a:lnTo>
                    <a:lnTo>
                      <a:pt x="193" y="226"/>
                    </a:lnTo>
                    <a:lnTo>
                      <a:pt x="193" y="225"/>
                    </a:lnTo>
                    <a:lnTo>
                      <a:pt x="192" y="225"/>
                    </a:lnTo>
                    <a:lnTo>
                      <a:pt x="192" y="223"/>
                    </a:lnTo>
                    <a:lnTo>
                      <a:pt x="192" y="221"/>
                    </a:lnTo>
                    <a:lnTo>
                      <a:pt x="193" y="220"/>
                    </a:lnTo>
                    <a:lnTo>
                      <a:pt x="193" y="218"/>
                    </a:lnTo>
                    <a:lnTo>
                      <a:pt x="193" y="216"/>
                    </a:lnTo>
                    <a:lnTo>
                      <a:pt x="195" y="216"/>
                    </a:lnTo>
                    <a:lnTo>
                      <a:pt x="195" y="215"/>
                    </a:lnTo>
                    <a:lnTo>
                      <a:pt x="197" y="215"/>
                    </a:lnTo>
                    <a:lnTo>
                      <a:pt x="198" y="213"/>
                    </a:lnTo>
                    <a:lnTo>
                      <a:pt x="200" y="213"/>
                    </a:lnTo>
                    <a:lnTo>
                      <a:pt x="200" y="211"/>
                    </a:lnTo>
                    <a:lnTo>
                      <a:pt x="198" y="211"/>
                    </a:lnTo>
                    <a:lnTo>
                      <a:pt x="198" y="209"/>
                    </a:lnTo>
                    <a:lnTo>
                      <a:pt x="197" y="208"/>
                    </a:lnTo>
                    <a:lnTo>
                      <a:pt x="197" y="206"/>
                    </a:lnTo>
                    <a:lnTo>
                      <a:pt x="198" y="206"/>
                    </a:lnTo>
                    <a:lnTo>
                      <a:pt x="198" y="204"/>
                    </a:lnTo>
                    <a:lnTo>
                      <a:pt x="197" y="204"/>
                    </a:lnTo>
                    <a:lnTo>
                      <a:pt x="195" y="203"/>
                    </a:lnTo>
                    <a:lnTo>
                      <a:pt x="193" y="203"/>
                    </a:lnTo>
                    <a:lnTo>
                      <a:pt x="192" y="203"/>
                    </a:lnTo>
                    <a:lnTo>
                      <a:pt x="190" y="203"/>
                    </a:lnTo>
                    <a:lnTo>
                      <a:pt x="190" y="201"/>
                    </a:lnTo>
                    <a:lnTo>
                      <a:pt x="188" y="201"/>
                    </a:lnTo>
                    <a:lnTo>
                      <a:pt x="188" y="203"/>
                    </a:lnTo>
                    <a:lnTo>
                      <a:pt x="188" y="201"/>
                    </a:lnTo>
                    <a:lnTo>
                      <a:pt x="187" y="201"/>
                    </a:lnTo>
                    <a:lnTo>
                      <a:pt x="185" y="201"/>
                    </a:lnTo>
                    <a:lnTo>
                      <a:pt x="183" y="203"/>
                    </a:lnTo>
                    <a:lnTo>
                      <a:pt x="181" y="204"/>
                    </a:lnTo>
                    <a:lnTo>
                      <a:pt x="180" y="204"/>
                    </a:lnTo>
                    <a:lnTo>
                      <a:pt x="178" y="204"/>
                    </a:lnTo>
                    <a:lnTo>
                      <a:pt x="176" y="204"/>
                    </a:lnTo>
                    <a:lnTo>
                      <a:pt x="175" y="204"/>
                    </a:lnTo>
                    <a:lnTo>
                      <a:pt x="173" y="204"/>
                    </a:lnTo>
                    <a:lnTo>
                      <a:pt x="171" y="204"/>
                    </a:lnTo>
                    <a:lnTo>
                      <a:pt x="171" y="206"/>
                    </a:lnTo>
                    <a:lnTo>
                      <a:pt x="170" y="206"/>
                    </a:lnTo>
                    <a:lnTo>
                      <a:pt x="168" y="206"/>
                    </a:lnTo>
                    <a:lnTo>
                      <a:pt x="166" y="206"/>
                    </a:lnTo>
                    <a:lnTo>
                      <a:pt x="164" y="206"/>
                    </a:lnTo>
                    <a:lnTo>
                      <a:pt x="163" y="206"/>
                    </a:lnTo>
                    <a:lnTo>
                      <a:pt x="161" y="206"/>
                    </a:lnTo>
                    <a:lnTo>
                      <a:pt x="159" y="206"/>
                    </a:lnTo>
                    <a:lnTo>
                      <a:pt x="158" y="208"/>
                    </a:lnTo>
                    <a:lnTo>
                      <a:pt x="156" y="208"/>
                    </a:lnTo>
                    <a:lnTo>
                      <a:pt x="156" y="206"/>
                    </a:lnTo>
                    <a:lnTo>
                      <a:pt x="154" y="206"/>
                    </a:lnTo>
                    <a:lnTo>
                      <a:pt x="153" y="206"/>
                    </a:lnTo>
                    <a:lnTo>
                      <a:pt x="151" y="206"/>
                    </a:lnTo>
                    <a:lnTo>
                      <a:pt x="149" y="206"/>
                    </a:lnTo>
                    <a:lnTo>
                      <a:pt x="147" y="206"/>
                    </a:lnTo>
                    <a:lnTo>
                      <a:pt x="147" y="204"/>
                    </a:lnTo>
                    <a:lnTo>
                      <a:pt x="146" y="206"/>
                    </a:lnTo>
                    <a:lnTo>
                      <a:pt x="146" y="204"/>
                    </a:lnTo>
                    <a:lnTo>
                      <a:pt x="144" y="204"/>
                    </a:lnTo>
                    <a:lnTo>
                      <a:pt x="142" y="204"/>
                    </a:lnTo>
                    <a:lnTo>
                      <a:pt x="142" y="206"/>
                    </a:lnTo>
                    <a:lnTo>
                      <a:pt x="141" y="206"/>
                    </a:lnTo>
                    <a:lnTo>
                      <a:pt x="139" y="208"/>
                    </a:lnTo>
                    <a:lnTo>
                      <a:pt x="137" y="209"/>
                    </a:lnTo>
                    <a:lnTo>
                      <a:pt x="136" y="209"/>
                    </a:lnTo>
                    <a:lnTo>
                      <a:pt x="136" y="208"/>
                    </a:lnTo>
                    <a:lnTo>
                      <a:pt x="134" y="208"/>
                    </a:lnTo>
                    <a:lnTo>
                      <a:pt x="132" y="208"/>
                    </a:lnTo>
                    <a:lnTo>
                      <a:pt x="127" y="203"/>
                    </a:lnTo>
                    <a:lnTo>
                      <a:pt x="127" y="201"/>
                    </a:lnTo>
                    <a:lnTo>
                      <a:pt x="120" y="194"/>
                    </a:lnTo>
                    <a:lnTo>
                      <a:pt x="113" y="186"/>
                    </a:lnTo>
                    <a:lnTo>
                      <a:pt x="110" y="181"/>
                    </a:lnTo>
                    <a:lnTo>
                      <a:pt x="108" y="179"/>
                    </a:lnTo>
                    <a:lnTo>
                      <a:pt x="107" y="179"/>
                    </a:lnTo>
                    <a:lnTo>
                      <a:pt x="105" y="179"/>
                    </a:lnTo>
                    <a:lnTo>
                      <a:pt x="103" y="179"/>
                    </a:lnTo>
                    <a:lnTo>
                      <a:pt x="103" y="181"/>
                    </a:lnTo>
                    <a:lnTo>
                      <a:pt x="102" y="181"/>
                    </a:lnTo>
                    <a:lnTo>
                      <a:pt x="100" y="181"/>
                    </a:lnTo>
                    <a:lnTo>
                      <a:pt x="100" y="179"/>
                    </a:lnTo>
                    <a:lnTo>
                      <a:pt x="98" y="179"/>
                    </a:lnTo>
                    <a:lnTo>
                      <a:pt x="98" y="177"/>
                    </a:lnTo>
                    <a:lnTo>
                      <a:pt x="96" y="177"/>
                    </a:lnTo>
                    <a:lnTo>
                      <a:pt x="95" y="177"/>
                    </a:lnTo>
                    <a:lnTo>
                      <a:pt x="95" y="175"/>
                    </a:lnTo>
                    <a:lnTo>
                      <a:pt x="93" y="175"/>
                    </a:lnTo>
                    <a:lnTo>
                      <a:pt x="91" y="175"/>
                    </a:lnTo>
                    <a:lnTo>
                      <a:pt x="90" y="175"/>
                    </a:lnTo>
                    <a:lnTo>
                      <a:pt x="90" y="174"/>
                    </a:lnTo>
                    <a:lnTo>
                      <a:pt x="88" y="175"/>
                    </a:lnTo>
                    <a:lnTo>
                      <a:pt x="86" y="174"/>
                    </a:lnTo>
                    <a:lnTo>
                      <a:pt x="86" y="175"/>
                    </a:lnTo>
                    <a:lnTo>
                      <a:pt x="85" y="175"/>
                    </a:lnTo>
                    <a:lnTo>
                      <a:pt x="83" y="175"/>
                    </a:lnTo>
                    <a:lnTo>
                      <a:pt x="81" y="177"/>
                    </a:lnTo>
                    <a:lnTo>
                      <a:pt x="81" y="175"/>
                    </a:lnTo>
                    <a:lnTo>
                      <a:pt x="81" y="177"/>
                    </a:lnTo>
                    <a:lnTo>
                      <a:pt x="79" y="177"/>
                    </a:lnTo>
                    <a:lnTo>
                      <a:pt x="79" y="179"/>
                    </a:lnTo>
                    <a:lnTo>
                      <a:pt x="78" y="179"/>
                    </a:lnTo>
                    <a:lnTo>
                      <a:pt x="76" y="179"/>
                    </a:lnTo>
                    <a:lnTo>
                      <a:pt x="74" y="179"/>
                    </a:lnTo>
                    <a:lnTo>
                      <a:pt x="74" y="177"/>
                    </a:lnTo>
                    <a:lnTo>
                      <a:pt x="73" y="177"/>
                    </a:lnTo>
                    <a:lnTo>
                      <a:pt x="71" y="177"/>
                    </a:lnTo>
                    <a:lnTo>
                      <a:pt x="69" y="177"/>
                    </a:lnTo>
                    <a:lnTo>
                      <a:pt x="68" y="177"/>
                    </a:lnTo>
                    <a:lnTo>
                      <a:pt x="66" y="177"/>
                    </a:lnTo>
                    <a:lnTo>
                      <a:pt x="64" y="177"/>
                    </a:lnTo>
                    <a:lnTo>
                      <a:pt x="62" y="177"/>
                    </a:lnTo>
                    <a:lnTo>
                      <a:pt x="61" y="177"/>
                    </a:lnTo>
                    <a:lnTo>
                      <a:pt x="59" y="177"/>
                    </a:lnTo>
                    <a:lnTo>
                      <a:pt x="59" y="175"/>
                    </a:lnTo>
                    <a:lnTo>
                      <a:pt x="57" y="177"/>
                    </a:lnTo>
                    <a:lnTo>
                      <a:pt x="57" y="175"/>
                    </a:lnTo>
                    <a:lnTo>
                      <a:pt x="56" y="177"/>
                    </a:lnTo>
                    <a:lnTo>
                      <a:pt x="54" y="177"/>
                    </a:lnTo>
                    <a:lnTo>
                      <a:pt x="54" y="175"/>
                    </a:lnTo>
                    <a:lnTo>
                      <a:pt x="52" y="175"/>
                    </a:lnTo>
                    <a:lnTo>
                      <a:pt x="51" y="175"/>
                    </a:lnTo>
                    <a:lnTo>
                      <a:pt x="51" y="177"/>
                    </a:lnTo>
                    <a:lnTo>
                      <a:pt x="49" y="177"/>
                    </a:lnTo>
                    <a:lnTo>
                      <a:pt x="47" y="177"/>
                    </a:lnTo>
                    <a:lnTo>
                      <a:pt x="45" y="177"/>
                    </a:lnTo>
                    <a:lnTo>
                      <a:pt x="44" y="177"/>
                    </a:lnTo>
                    <a:lnTo>
                      <a:pt x="42" y="175"/>
                    </a:lnTo>
                    <a:lnTo>
                      <a:pt x="40" y="172"/>
                    </a:lnTo>
                    <a:lnTo>
                      <a:pt x="40" y="170"/>
                    </a:lnTo>
                    <a:lnTo>
                      <a:pt x="39" y="170"/>
                    </a:lnTo>
                    <a:lnTo>
                      <a:pt x="39" y="169"/>
                    </a:lnTo>
                    <a:lnTo>
                      <a:pt x="39" y="167"/>
                    </a:lnTo>
                    <a:lnTo>
                      <a:pt x="40" y="167"/>
                    </a:lnTo>
                    <a:lnTo>
                      <a:pt x="39" y="167"/>
                    </a:lnTo>
                    <a:lnTo>
                      <a:pt x="39" y="165"/>
                    </a:lnTo>
                    <a:lnTo>
                      <a:pt x="37" y="164"/>
                    </a:lnTo>
                    <a:lnTo>
                      <a:pt x="37" y="165"/>
                    </a:lnTo>
                    <a:lnTo>
                      <a:pt x="35" y="165"/>
                    </a:lnTo>
                    <a:lnTo>
                      <a:pt x="34" y="165"/>
                    </a:lnTo>
                    <a:lnTo>
                      <a:pt x="34" y="164"/>
                    </a:lnTo>
                    <a:lnTo>
                      <a:pt x="32" y="165"/>
                    </a:lnTo>
                    <a:lnTo>
                      <a:pt x="32" y="164"/>
                    </a:lnTo>
                    <a:lnTo>
                      <a:pt x="30" y="164"/>
                    </a:lnTo>
                    <a:lnTo>
                      <a:pt x="30" y="162"/>
                    </a:lnTo>
                    <a:lnTo>
                      <a:pt x="28" y="162"/>
                    </a:lnTo>
                    <a:lnTo>
                      <a:pt x="28" y="160"/>
                    </a:lnTo>
                    <a:lnTo>
                      <a:pt x="30" y="160"/>
                    </a:lnTo>
                    <a:lnTo>
                      <a:pt x="30" y="158"/>
                    </a:lnTo>
                    <a:lnTo>
                      <a:pt x="28" y="158"/>
                    </a:lnTo>
                    <a:lnTo>
                      <a:pt x="28" y="157"/>
                    </a:lnTo>
                    <a:lnTo>
                      <a:pt x="28" y="155"/>
                    </a:lnTo>
                    <a:lnTo>
                      <a:pt x="28" y="153"/>
                    </a:lnTo>
                    <a:lnTo>
                      <a:pt x="28" y="152"/>
                    </a:lnTo>
                    <a:lnTo>
                      <a:pt x="30" y="150"/>
                    </a:lnTo>
                    <a:lnTo>
                      <a:pt x="30" y="148"/>
                    </a:lnTo>
                    <a:lnTo>
                      <a:pt x="28" y="148"/>
                    </a:lnTo>
                    <a:lnTo>
                      <a:pt x="28" y="147"/>
                    </a:lnTo>
                    <a:lnTo>
                      <a:pt x="28" y="145"/>
                    </a:lnTo>
                    <a:lnTo>
                      <a:pt x="30" y="145"/>
                    </a:lnTo>
                    <a:lnTo>
                      <a:pt x="30" y="143"/>
                    </a:lnTo>
                    <a:lnTo>
                      <a:pt x="32" y="143"/>
                    </a:lnTo>
                    <a:lnTo>
                      <a:pt x="34" y="143"/>
                    </a:lnTo>
                    <a:lnTo>
                      <a:pt x="34" y="141"/>
                    </a:lnTo>
                    <a:lnTo>
                      <a:pt x="32" y="141"/>
                    </a:lnTo>
                    <a:lnTo>
                      <a:pt x="32" y="140"/>
                    </a:lnTo>
                    <a:lnTo>
                      <a:pt x="32" y="138"/>
                    </a:lnTo>
                    <a:lnTo>
                      <a:pt x="34" y="138"/>
                    </a:lnTo>
                    <a:lnTo>
                      <a:pt x="32" y="138"/>
                    </a:lnTo>
                    <a:lnTo>
                      <a:pt x="32" y="136"/>
                    </a:lnTo>
                    <a:lnTo>
                      <a:pt x="32" y="135"/>
                    </a:lnTo>
                    <a:lnTo>
                      <a:pt x="32" y="133"/>
                    </a:lnTo>
                    <a:lnTo>
                      <a:pt x="32" y="131"/>
                    </a:lnTo>
                    <a:lnTo>
                      <a:pt x="30" y="131"/>
                    </a:lnTo>
                    <a:lnTo>
                      <a:pt x="28" y="130"/>
                    </a:lnTo>
                    <a:lnTo>
                      <a:pt x="28" y="128"/>
                    </a:lnTo>
                    <a:lnTo>
                      <a:pt x="27" y="126"/>
                    </a:lnTo>
                    <a:lnTo>
                      <a:pt x="25" y="126"/>
                    </a:lnTo>
                    <a:lnTo>
                      <a:pt x="25" y="124"/>
                    </a:lnTo>
                    <a:lnTo>
                      <a:pt x="23" y="124"/>
                    </a:lnTo>
                    <a:lnTo>
                      <a:pt x="23" y="123"/>
                    </a:lnTo>
                    <a:lnTo>
                      <a:pt x="22" y="121"/>
                    </a:lnTo>
                    <a:lnTo>
                      <a:pt x="22" y="118"/>
                    </a:lnTo>
                    <a:lnTo>
                      <a:pt x="20" y="113"/>
                    </a:lnTo>
                    <a:lnTo>
                      <a:pt x="20" y="111"/>
                    </a:lnTo>
                    <a:lnTo>
                      <a:pt x="20" y="109"/>
                    </a:lnTo>
                    <a:lnTo>
                      <a:pt x="18" y="107"/>
                    </a:lnTo>
                    <a:lnTo>
                      <a:pt x="18" y="106"/>
                    </a:lnTo>
                    <a:lnTo>
                      <a:pt x="17" y="106"/>
                    </a:lnTo>
                    <a:lnTo>
                      <a:pt x="17" y="104"/>
                    </a:lnTo>
                    <a:lnTo>
                      <a:pt x="17" y="106"/>
                    </a:lnTo>
                    <a:lnTo>
                      <a:pt x="15" y="106"/>
                    </a:lnTo>
                    <a:lnTo>
                      <a:pt x="13" y="106"/>
                    </a:lnTo>
                    <a:lnTo>
                      <a:pt x="13" y="107"/>
                    </a:lnTo>
                    <a:lnTo>
                      <a:pt x="13" y="106"/>
                    </a:lnTo>
                    <a:lnTo>
                      <a:pt x="11" y="106"/>
                    </a:lnTo>
                    <a:lnTo>
                      <a:pt x="11" y="104"/>
                    </a:lnTo>
                    <a:lnTo>
                      <a:pt x="13" y="104"/>
                    </a:lnTo>
                    <a:lnTo>
                      <a:pt x="11" y="104"/>
                    </a:lnTo>
                    <a:lnTo>
                      <a:pt x="11" y="102"/>
                    </a:lnTo>
                    <a:lnTo>
                      <a:pt x="11" y="101"/>
                    </a:lnTo>
                    <a:lnTo>
                      <a:pt x="11" y="99"/>
                    </a:lnTo>
                    <a:lnTo>
                      <a:pt x="10" y="101"/>
                    </a:lnTo>
                    <a:lnTo>
                      <a:pt x="8" y="101"/>
                    </a:lnTo>
                    <a:lnTo>
                      <a:pt x="8" y="102"/>
                    </a:lnTo>
                    <a:lnTo>
                      <a:pt x="6" y="102"/>
                    </a:lnTo>
                    <a:lnTo>
                      <a:pt x="5" y="104"/>
                    </a:lnTo>
                    <a:lnTo>
                      <a:pt x="3" y="104"/>
                    </a:lnTo>
                    <a:lnTo>
                      <a:pt x="1" y="104"/>
                    </a:lnTo>
                    <a:lnTo>
                      <a:pt x="0" y="104"/>
                    </a:lnTo>
                    <a:lnTo>
                      <a:pt x="0" y="102"/>
                    </a:lnTo>
                    <a:lnTo>
                      <a:pt x="0" y="101"/>
                    </a:lnTo>
                    <a:lnTo>
                      <a:pt x="1" y="101"/>
                    </a:lnTo>
                    <a:lnTo>
                      <a:pt x="1" y="99"/>
                    </a:lnTo>
                    <a:lnTo>
                      <a:pt x="3" y="97"/>
                    </a:lnTo>
                    <a:lnTo>
                      <a:pt x="3" y="96"/>
                    </a:lnTo>
                    <a:lnTo>
                      <a:pt x="5" y="96"/>
                    </a:lnTo>
                    <a:lnTo>
                      <a:pt x="5" y="94"/>
                    </a:lnTo>
                    <a:lnTo>
                      <a:pt x="5" y="92"/>
                    </a:lnTo>
                    <a:lnTo>
                      <a:pt x="6" y="92"/>
                    </a:lnTo>
                    <a:lnTo>
                      <a:pt x="6" y="90"/>
                    </a:lnTo>
                    <a:lnTo>
                      <a:pt x="8" y="89"/>
                    </a:lnTo>
                    <a:lnTo>
                      <a:pt x="8" y="87"/>
                    </a:lnTo>
                    <a:lnTo>
                      <a:pt x="10" y="87"/>
                    </a:lnTo>
                    <a:lnTo>
                      <a:pt x="10" y="85"/>
                    </a:lnTo>
                    <a:lnTo>
                      <a:pt x="11" y="84"/>
                    </a:lnTo>
                    <a:lnTo>
                      <a:pt x="11" y="82"/>
                    </a:lnTo>
                    <a:lnTo>
                      <a:pt x="13" y="82"/>
                    </a:lnTo>
                    <a:lnTo>
                      <a:pt x="13" y="80"/>
                    </a:lnTo>
                    <a:lnTo>
                      <a:pt x="11" y="80"/>
                    </a:lnTo>
                    <a:lnTo>
                      <a:pt x="11" y="78"/>
                    </a:lnTo>
                    <a:lnTo>
                      <a:pt x="11" y="77"/>
                    </a:lnTo>
                    <a:lnTo>
                      <a:pt x="11" y="75"/>
                    </a:lnTo>
                    <a:lnTo>
                      <a:pt x="13" y="75"/>
                    </a:lnTo>
                    <a:lnTo>
                      <a:pt x="13" y="73"/>
                    </a:lnTo>
                    <a:lnTo>
                      <a:pt x="13" y="72"/>
                    </a:lnTo>
                    <a:lnTo>
                      <a:pt x="15" y="72"/>
                    </a:lnTo>
                    <a:lnTo>
                      <a:pt x="13" y="70"/>
                    </a:lnTo>
                    <a:lnTo>
                      <a:pt x="15" y="70"/>
                    </a:lnTo>
                    <a:lnTo>
                      <a:pt x="15" y="68"/>
                    </a:lnTo>
                    <a:lnTo>
                      <a:pt x="15" y="67"/>
                    </a:lnTo>
                    <a:lnTo>
                      <a:pt x="15" y="65"/>
                    </a:lnTo>
                    <a:lnTo>
                      <a:pt x="15" y="63"/>
                    </a:lnTo>
                    <a:lnTo>
                      <a:pt x="15" y="61"/>
                    </a:lnTo>
                    <a:lnTo>
                      <a:pt x="15" y="60"/>
                    </a:lnTo>
                    <a:lnTo>
                      <a:pt x="17" y="60"/>
                    </a:lnTo>
                    <a:lnTo>
                      <a:pt x="17" y="58"/>
                    </a:lnTo>
                    <a:lnTo>
                      <a:pt x="17" y="56"/>
                    </a:lnTo>
                    <a:lnTo>
                      <a:pt x="18" y="55"/>
                    </a:lnTo>
                    <a:lnTo>
                      <a:pt x="20" y="55"/>
                    </a:lnTo>
                    <a:lnTo>
                      <a:pt x="20" y="53"/>
                    </a:lnTo>
                    <a:lnTo>
                      <a:pt x="20" y="51"/>
                    </a:lnTo>
                    <a:lnTo>
                      <a:pt x="20" y="50"/>
                    </a:lnTo>
                    <a:lnTo>
                      <a:pt x="22" y="50"/>
                    </a:lnTo>
                    <a:lnTo>
                      <a:pt x="22" y="48"/>
                    </a:lnTo>
                    <a:lnTo>
                      <a:pt x="22" y="46"/>
                    </a:lnTo>
                    <a:lnTo>
                      <a:pt x="23" y="44"/>
                    </a:lnTo>
                    <a:lnTo>
                      <a:pt x="25" y="44"/>
                    </a:lnTo>
                    <a:lnTo>
                      <a:pt x="27" y="43"/>
                    </a:lnTo>
                    <a:lnTo>
                      <a:pt x="27" y="41"/>
                    </a:lnTo>
                    <a:lnTo>
                      <a:pt x="28" y="39"/>
                    </a:lnTo>
                    <a:lnTo>
                      <a:pt x="28" y="38"/>
                    </a:lnTo>
                    <a:lnTo>
                      <a:pt x="30" y="36"/>
                    </a:lnTo>
                    <a:lnTo>
                      <a:pt x="30" y="38"/>
                    </a:lnTo>
                    <a:lnTo>
                      <a:pt x="30" y="36"/>
                    </a:lnTo>
                    <a:lnTo>
                      <a:pt x="32" y="36"/>
                    </a:lnTo>
                    <a:lnTo>
                      <a:pt x="34" y="36"/>
                    </a:lnTo>
                    <a:lnTo>
                      <a:pt x="35" y="36"/>
                    </a:lnTo>
                    <a:lnTo>
                      <a:pt x="37" y="36"/>
                    </a:lnTo>
                    <a:lnTo>
                      <a:pt x="39" y="33"/>
                    </a:lnTo>
                    <a:lnTo>
                      <a:pt x="40" y="29"/>
                    </a:lnTo>
                    <a:lnTo>
                      <a:pt x="40" y="27"/>
                    </a:lnTo>
                    <a:lnTo>
                      <a:pt x="42" y="27"/>
                    </a:lnTo>
                    <a:lnTo>
                      <a:pt x="42" y="26"/>
                    </a:lnTo>
                    <a:lnTo>
                      <a:pt x="44" y="24"/>
                    </a:lnTo>
                    <a:lnTo>
                      <a:pt x="44" y="22"/>
                    </a:lnTo>
                    <a:lnTo>
                      <a:pt x="45" y="21"/>
                    </a:lnTo>
                    <a:lnTo>
                      <a:pt x="45" y="19"/>
                    </a:lnTo>
                    <a:lnTo>
                      <a:pt x="52" y="17"/>
                    </a:lnTo>
                    <a:lnTo>
                      <a:pt x="57" y="16"/>
                    </a:lnTo>
                    <a:lnTo>
                      <a:pt x="62" y="14"/>
                    </a:lnTo>
                    <a:lnTo>
                      <a:pt x="66" y="12"/>
                    </a:lnTo>
                    <a:lnTo>
                      <a:pt x="66" y="14"/>
                    </a:lnTo>
                    <a:lnTo>
                      <a:pt x="66" y="12"/>
                    </a:lnTo>
                    <a:lnTo>
                      <a:pt x="68" y="12"/>
                    </a:lnTo>
                    <a:lnTo>
                      <a:pt x="68" y="14"/>
                    </a:lnTo>
                    <a:lnTo>
                      <a:pt x="66" y="14"/>
                    </a:lnTo>
                    <a:lnTo>
                      <a:pt x="66" y="16"/>
                    </a:lnTo>
                    <a:lnTo>
                      <a:pt x="64" y="16"/>
                    </a:lnTo>
                    <a:lnTo>
                      <a:pt x="62" y="17"/>
                    </a:lnTo>
                    <a:lnTo>
                      <a:pt x="61" y="17"/>
                    </a:lnTo>
                    <a:lnTo>
                      <a:pt x="59" y="17"/>
                    </a:lnTo>
                    <a:lnTo>
                      <a:pt x="57" y="17"/>
                    </a:lnTo>
                    <a:lnTo>
                      <a:pt x="56" y="17"/>
                    </a:lnTo>
                    <a:lnTo>
                      <a:pt x="54" y="19"/>
                    </a:lnTo>
                    <a:lnTo>
                      <a:pt x="52" y="19"/>
                    </a:lnTo>
                    <a:lnTo>
                      <a:pt x="51" y="19"/>
                    </a:lnTo>
                    <a:lnTo>
                      <a:pt x="49" y="19"/>
                    </a:lnTo>
                    <a:lnTo>
                      <a:pt x="49" y="21"/>
                    </a:lnTo>
                    <a:lnTo>
                      <a:pt x="47" y="21"/>
                    </a:lnTo>
                    <a:lnTo>
                      <a:pt x="45" y="21"/>
                    </a:lnTo>
                    <a:lnTo>
                      <a:pt x="45" y="22"/>
                    </a:lnTo>
                    <a:lnTo>
                      <a:pt x="45" y="24"/>
                    </a:lnTo>
                    <a:lnTo>
                      <a:pt x="45" y="26"/>
                    </a:lnTo>
                    <a:lnTo>
                      <a:pt x="45" y="27"/>
                    </a:lnTo>
                    <a:lnTo>
                      <a:pt x="47" y="27"/>
                    </a:lnTo>
                    <a:lnTo>
                      <a:pt x="47" y="29"/>
                    </a:lnTo>
                    <a:lnTo>
                      <a:pt x="47" y="31"/>
                    </a:lnTo>
                    <a:lnTo>
                      <a:pt x="49" y="33"/>
                    </a:lnTo>
                    <a:lnTo>
                      <a:pt x="49" y="34"/>
                    </a:lnTo>
                    <a:lnTo>
                      <a:pt x="51" y="34"/>
                    </a:lnTo>
                    <a:lnTo>
                      <a:pt x="51" y="36"/>
                    </a:lnTo>
                    <a:lnTo>
                      <a:pt x="52" y="38"/>
                    </a:lnTo>
                    <a:lnTo>
                      <a:pt x="54" y="38"/>
                    </a:lnTo>
                    <a:lnTo>
                      <a:pt x="54" y="39"/>
                    </a:lnTo>
                    <a:lnTo>
                      <a:pt x="56" y="39"/>
                    </a:lnTo>
                    <a:lnTo>
                      <a:pt x="56" y="41"/>
                    </a:lnTo>
                    <a:lnTo>
                      <a:pt x="57" y="41"/>
                    </a:lnTo>
                    <a:lnTo>
                      <a:pt x="57" y="43"/>
                    </a:lnTo>
                    <a:lnTo>
                      <a:pt x="57" y="41"/>
                    </a:lnTo>
                    <a:lnTo>
                      <a:pt x="56" y="41"/>
                    </a:lnTo>
                    <a:lnTo>
                      <a:pt x="54" y="41"/>
                    </a:lnTo>
                    <a:lnTo>
                      <a:pt x="52" y="41"/>
                    </a:lnTo>
                    <a:lnTo>
                      <a:pt x="54" y="43"/>
                    </a:lnTo>
                    <a:lnTo>
                      <a:pt x="54" y="44"/>
                    </a:lnTo>
                    <a:lnTo>
                      <a:pt x="54" y="46"/>
                    </a:lnTo>
                    <a:lnTo>
                      <a:pt x="56" y="46"/>
                    </a:lnTo>
                    <a:lnTo>
                      <a:pt x="56" y="48"/>
                    </a:lnTo>
                    <a:lnTo>
                      <a:pt x="56" y="50"/>
                    </a:lnTo>
                    <a:lnTo>
                      <a:pt x="57" y="50"/>
                    </a:lnTo>
                    <a:lnTo>
                      <a:pt x="56" y="50"/>
                    </a:lnTo>
                    <a:lnTo>
                      <a:pt x="57" y="50"/>
                    </a:lnTo>
                    <a:lnTo>
                      <a:pt x="59" y="51"/>
                    </a:lnTo>
                    <a:lnTo>
                      <a:pt x="59" y="53"/>
                    </a:lnTo>
                    <a:lnTo>
                      <a:pt x="57" y="53"/>
                    </a:lnTo>
                    <a:lnTo>
                      <a:pt x="57" y="55"/>
                    </a:lnTo>
                    <a:lnTo>
                      <a:pt x="57" y="56"/>
                    </a:lnTo>
                    <a:lnTo>
                      <a:pt x="57" y="58"/>
                    </a:lnTo>
                    <a:lnTo>
                      <a:pt x="57" y="60"/>
                    </a:lnTo>
                    <a:lnTo>
                      <a:pt x="56" y="60"/>
                    </a:lnTo>
                    <a:lnTo>
                      <a:pt x="56" y="61"/>
                    </a:lnTo>
                    <a:lnTo>
                      <a:pt x="54" y="61"/>
                    </a:lnTo>
                    <a:lnTo>
                      <a:pt x="54" y="63"/>
                    </a:lnTo>
                    <a:lnTo>
                      <a:pt x="52" y="63"/>
                    </a:lnTo>
                    <a:lnTo>
                      <a:pt x="52" y="65"/>
                    </a:lnTo>
                    <a:lnTo>
                      <a:pt x="51" y="65"/>
                    </a:lnTo>
                    <a:lnTo>
                      <a:pt x="51" y="67"/>
                    </a:lnTo>
                    <a:lnTo>
                      <a:pt x="51" y="68"/>
                    </a:lnTo>
                    <a:lnTo>
                      <a:pt x="49" y="68"/>
                    </a:lnTo>
                    <a:lnTo>
                      <a:pt x="49" y="70"/>
                    </a:lnTo>
                    <a:lnTo>
                      <a:pt x="49" y="72"/>
                    </a:lnTo>
                    <a:lnTo>
                      <a:pt x="47" y="72"/>
                    </a:lnTo>
                    <a:lnTo>
                      <a:pt x="45" y="72"/>
                    </a:lnTo>
                    <a:lnTo>
                      <a:pt x="45" y="73"/>
                    </a:lnTo>
                    <a:lnTo>
                      <a:pt x="45" y="75"/>
                    </a:lnTo>
                    <a:lnTo>
                      <a:pt x="44" y="75"/>
                    </a:lnTo>
                    <a:lnTo>
                      <a:pt x="44" y="77"/>
                    </a:lnTo>
                    <a:lnTo>
                      <a:pt x="44" y="78"/>
                    </a:lnTo>
                    <a:lnTo>
                      <a:pt x="42" y="78"/>
                    </a:lnTo>
                    <a:lnTo>
                      <a:pt x="42" y="80"/>
                    </a:lnTo>
                    <a:lnTo>
                      <a:pt x="40" y="80"/>
                    </a:lnTo>
                    <a:lnTo>
                      <a:pt x="40" y="82"/>
                    </a:lnTo>
                    <a:lnTo>
                      <a:pt x="40" y="84"/>
                    </a:lnTo>
                    <a:lnTo>
                      <a:pt x="42" y="84"/>
                    </a:lnTo>
                    <a:lnTo>
                      <a:pt x="42" y="85"/>
                    </a:lnTo>
                    <a:lnTo>
                      <a:pt x="44" y="85"/>
                    </a:lnTo>
                    <a:lnTo>
                      <a:pt x="44" y="87"/>
                    </a:lnTo>
                    <a:lnTo>
                      <a:pt x="45" y="87"/>
                    </a:lnTo>
                    <a:lnTo>
                      <a:pt x="45" y="89"/>
                    </a:lnTo>
                    <a:lnTo>
                      <a:pt x="45" y="90"/>
                    </a:lnTo>
                    <a:lnTo>
                      <a:pt x="45" y="89"/>
                    </a:lnTo>
                    <a:lnTo>
                      <a:pt x="45" y="90"/>
                    </a:lnTo>
                    <a:lnTo>
                      <a:pt x="44" y="90"/>
                    </a:lnTo>
                    <a:lnTo>
                      <a:pt x="45" y="90"/>
                    </a:lnTo>
                    <a:lnTo>
                      <a:pt x="45" y="92"/>
                    </a:lnTo>
                    <a:lnTo>
                      <a:pt x="47" y="92"/>
                    </a:lnTo>
                    <a:lnTo>
                      <a:pt x="47" y="94"/>
                    </a:lnTo>
                    <a:lnTo>
                      <a:pt x="49" y="94"/>
                    </a:lnTo>
                    <a:lnTo>
                      <a:pt x="51" y="96"/>
                    </a:lnTo>
                    <a:lnTo>
                      <a:pt x="49" y="96"/>
                    </a:lnTo>
                    <a:lnTo>
                      <a:pt x="47" y="96"/>
                    </a:lnTo>
                    <a:lnTo>
                      <a:pt x="47" y="97"/>
                    </a:lnTo>
                    <a:lnTo>
                      <a:pt x="49" y="97"/>
                    </a:lnTo>
                    <a:lnTo>
                      <a:pt x="49" y="96"/>
                    </a:lnTo>
                    <a:lnTo>
                      <a:pt x="51" y="96"/>
                    </a:lnTo>
                    <a:lnTo>
                      <a:pt x="51" y="97"/>
                    </a:lnTo>
                    <a:lnTo>
                      <a:pt x="52" y="97"/>
                    </a:lnTo>
                    <a:lnTo>
                      <a:pt x="52" y="96"/>
                    </a:lnTo>
                    <a:lnTo>
                      <a:pt x="52" y="97"/>
                    </a:lnTo>
                    <a:lnTo>
                      <a:pt x="54" y="97"/>
                    </a:lnTo>
                    <a:lnTo>
                      <a:pt x="54" y="96"/>
                    </a:lnTo>
                    <a:lnTo>
                      <a:pt x="54" y="97"/>
                    </a:lnTo>
                    <a:lnTo>
                      <a:pt x="54" y="99"/>
                    </a:lnTo>
                    <a:lnTo>
                      <a:pt x="54" y="101"/>
                    </a:lnTo>
                    <a:lnTo>
                      <a:pt x="52" y="101"/>
                    </a:lnTo>
                    <a:lnTo>
                      <a:pt x="51" y="102"/>
                    </a:lnTo>
                    <a:lnTo>
                      <a:pt x="52" y="102"/>
                    </a:lnTo>
                    <a:lnTo>
                      <a:pt x="54" y="102"/>
                    </a:lnTo>
                    <a:lnTo>
                      <a:pt x="52" y="102"/>
                    </a:lnTo>
                    <a:lnTo>
                      <a:pt x="54" y="102"/>
                    </a:lnTo>
                    <a:lnTo>
                      <a:pt x="54" y="104"/>
                    </a:lnTo>
                    <a:lnTo>
                      <a:pt x="54" y="106"/>
                    </a:lnTo>
                    <a:lnTo>
                      <a:pt x="52" y="106"/>
                    </a:lnTo>
                    <a:lnTo>
                      <a:pt x="54" y="106"/>
                    </a:lnTo>
                    <a:lnTo>
                      <a:pt x="54" y="107"/>
                    </a:lnTo>
                    <a:lnTo>
                      <a:pt x="56" y="107"/>
                    </a:lnTo>
                    <a:lnTo>
                      <a:pt x="57" y="107"/>
                    </a:lnTo>
                    <a:lnTo>
                      <a:pt x="57" y="109"/>
                    </a:lnTo>
                    <a:lnTo>
                      <a:pt x="59" y="109"/>
                    </a:lnTo>
                    <a:lnTo>
                      <a:pt x="59" y="107"/>
                    </a:lnTo>
                    <a:lnTo>
                      <a:pt x="61" y="109"/>
                    </a:lnTo>
                    <a:lnTo>
                      <a:pt x="61" y="107"/>
                    </a:lnTo>
                    <a:lnTo>
                      <a:pt x="62" y="107"/>
                    </a:lnTo>
                    <a:lnTo>
                      <a:pt x="64" y="107"/>
                    </a:lnTo>
                    <a:lnTo>
                      <a:pt x="66" y="107"/>
                    </a:lnTo>
                    <a:lnTo>
                      <a:pt x="68" y="107"/>
                    </a:lnTo>
                    <a:lnTo>
                      <a:pt x="68" y="106"/>
                    </a:lnTo>
                    <a:lnTo>
                      <a:pt x="69" y="106"/>
                    </a:lnTo>
                    <a:lnTo>
                      <a:pt x="69" y="104"/>
                    </a:lnTo>
                    <a:lnTo>
                      <a:pt x="71" y="104"/>
                    </a:lnTo>
                    <a:lnTo>
                      <a:pt x="71" y="102"/>
                    </a:lnTo>
                    <a:lnTo>
                      <a:pt x="73" y="102"/>
                    </a:lnTo>
                    <a:lnTo>
                      <a:pt x="73" y="101"/>
                    </a:lnTo>
                    <a:lnTo>
                      <a:pt x="74" y="101"/>
                    </a:lnTo>
                    <a:lnTo>
                      <a:pt x="74" y="99"/>
                    </a:lnTo>
                    <a:lnTo>
                      <a:pt x="76" y="99"/>
                    </a:lnTo>
                    <a:lnTo>
                      <a:pt x="76" y="97"/>
                    </a:lnTo>
                    <a:lnTo>
                      <a:pt x="76" y="96"/>
                    </a:lnTo>
                    <a:lnTo>
                      <a:pt x="76" y="94"/>
                    </a:lnTo>
                    <a:lnTo>
                      <a:pt x="76" y="92"/>
                    </a:lnTo>
                    <a:lnTo>
                      <a:pt x="76" y="90"/>
                    </a:lnTo>
                    <a:lnTo>
                      <a:pt x="76" y="89"/>
                    </a:lnTo>
                    <a:lnTo>
                      <a:pt x="76" y="87"/>
                    </a:lnTo>
                    <a:lnTo>
                      <a:pt x="78" y="87"/>
                    </a:lnTo>
                    <a:lnTo>
                      <a:pt x="76" y="85"/>
                    </a:lnTo>
                    <a:lnTo>
                      <a:pt x="78" y="85"/>
                    </a:lnTo>
                    <a:lnTo>
                      <a:pt x="78" y="84"/>
                    </a:lnTo>
                    <a:lnTo>
                      <a:pt x="76" y="84"/>
                    </a:lnTo>
                    <a:lnTo>
                      <a:pt x="76" y="82"/>
                    </a:lnTo>
                    <a:lnTo>
                      <a:pt x="76" y="80"/>
                    </a:lnTo>
                    <a:lnTo>
                      <a:pt x="74" y="78"/>
                    </a:lnTo>
                    <a:lnTo>
                      <a:pt x="74" y="77"/>
                    </a:lnTo>
                    <a:lnTo>
                      <a:pt x="73" y="77"/>
                    </a:lnTo>
                    <a:lnTo>
                      <a:pt x="71" y="77"/>
                    </a:lnTo>
                    <a:lnTo>
                      <a:pt x="71" y="75"/>
                    </a:lnTo>
                    <a:lnTo>
                      <a:pt x="71" y="73"/>
                    </a:lnTo>
                    <a:lnTo>
                      <a:pt x="71" y="72"/>
                    </a:lnTo>
                    <a:lnTo>
                      <a:pt x="69" y="72"/>
                    </a:lnTo>
                    <a:lnTo>
                      <a:pt x="69" y="70"/>
                    </a:lnTo>
                    <a:lnTo>
                      <a:pt x="68" y="68"/>
                    </a:lnTo>
                    <a:lnTo>
                      <a:pt x="66" y="68"/>
                    </a:lnTo>
                    <a:lnTo>
                      <a:pt x="66" y="67"/>
                    </a:lnTo>
                    <a:lnTo>
                      <a:pt x="66" y="65"/>
                    </a:lnTo>
                    <a:lnTo>
                      <a:pt x="64" y="65"/>
                    </a:lnTo>
                    <a:lnTo>
                      <a:pt x="64" y="63"/>
                    </a:lnTo>
                    <a:lnTo>
                      <a:pt x="62" y="63"/>
                    </a:lnTo>
                    <a:lnTo>
                      <a:pt x="62" y="61"/>
                    </a:lnTo>
                    <a:lnTo>
                      <a:pt x="62" y="60"/>
                    </a:lnTo>
                    <a:lnTo>
                      <a:pt x="62" y="58"/>
                    </a:lnTo>
                    <a:lnTo>
                      <a:pt x="61" y="58"/>
                    </a:lnTo>
                    <a:lnTo>
                      <a:pt x="61" y="56"/>
                    </a:lnTo>
                    <a:lnTo>
                      <a:pt x="61" y="55"/>
                    </a:lnTo>
                    <a:lnTo>
                      <a:pt x="62" y="55"/>
                    </a:lnTo>
                    <a:lnTo>
                      <a:pt x="61" y="55"/>
                    </a:lnTo>
                    <a:lnTo>
                      <a:pt x="61" y="53"/>
                    </a:lnTo>
                    <a:lnTo>
                      <a:pt x="61" y="51"/>
                    </a:lnTo>
                    <a:lnTo>
                      <a:pt x="61" y="50"/>
                    </a:lnTo>
                    <a:lnTo>
                      <a:pt x="59" y="50"/>
                    </a:lnTo>
                    <a:lnTo>
                      <a:pt x="59" y="48"/>
                    </a:lnTo>
                    <a:lnTo>
                      <a:pt x="61" y="48"/>
                    </a:lnTo>
                    <a:lnTo>
                      <a:pt x="62" y="48"/>
                    </a:lnTo>
                    <a:lnTo>
                      <a:pt x="64" y="48"/>
                    </a:lnTo>
                    <a:lnTo>
                      <a:pt x="64" y="46"/>
                    </a:lnTo>
                    <a:lnTo>
                      <a:pt x="64" y="44"/>
                    </a:lnTo>
                    <a:lnTo>
                      <a:pt x="62" y="44"/>
                    </a:lnTo>
                    <a:lnTo>
                      <a:pt x="62" y="43"/>
                    </a:lnTo>
                    <a:lnTo>
                      <a:pt x="64" y="43"/>
                    </a:lnTo>
                    <a:lnTo>
                      <a:pt x="64" y="44"/>
                    </a:lnTo>
                    <a:lnTo>
                      <a:pt x="64" y="43"/>
                    </a:lnTo>
                    <a:lnTo>
                      <a:pt x="62" y="43"/>
                    </a:lnTo>
                    <a:lnTo>
                      <a:pt x="64" y="43"/>
                    </a:lnTo>
                    <a:lnTo>
                      <a:pt x="66" y="43"/>
                    </a:lnTo>
                    <a:lnTo>
                      <a:pt x="68" y="43"/>
                    </a:lnTo>
                    <a:lnTo>
                      <a:pt x="69" y="43"/>
                    </a:lnTo>
                    <a:lnTo>
                      <a:pt x="69" y="41"/>
                    </a:lnTo>
                    <a:lnTo>
                      <a:pt x="71" y="41"/>
                    </a:lnTo>
                    <a:lnTo>
                      <a:pt x="73" y="41"/>
                    </a:lnTo>
                    <a:lnTo>
                      <a:pt x="73" y="39"/>
                    </a:lnTo>
                    <a:lnTo>
                      <a:pt x="74" y="39"/>
                    </a:lnTo>
                    <a:lnTo>
                      <a:pt x="76" y="39"/>
                    </a:lnTo>
                    <a:lnTo>
                      <a:pt x="76" y="38"/>
                    </a:lnTo>
                    <a:lnTo>
                      <a:pt x="78" y="38"/>
                    </a:lnTo>
                    <a:lnTo>
                      <a:pt x="79" y="38"/>
                    </a:lnTo>
                    <a:lnTo>
                      <a:pt x="79" y="36"/>
                    </a:lnTo>
                    <a:lnTo>
                      <a:pt x="81" y="36"/>
                    </a:lnTo>
                    <a:lnTo>
                      <a:pt x="83" y="36"/>
                    </a:lnTo>
                    <a:lnTo>
                      <a:pt x="83" y="34"/>
                    </a:lnTo>
                    <a:lnTo>
                      <a:pt x="85" y="34"/>
                    </a:lnTo>
                    <a:lnTo>
                      <a:pt x="86" y="34"/>
                    </a:lnTo>
                    <a:lnTo>
                      <a:pt x="88" y="34"/>
                    </a:lnTo>
                    <a:lnTo>
                      <a:pt x="88" y="33"/>
                    </a:lnTo>
                    <a:lnTo>
                      <a:pt x="90" y="33"/>
                    </a:lnTo>
                    <a:lnTo>
                      <a:pt x="91" y="33"/>
                    </a:lnTo>
                    <a:lnTo>
                      <a:pt x="93" y="33"/>
                    </a:lnTo>
                    <a:lnTo>
                      <a:pt x="95" y="33"/>
                    </a:lnTo>
                    <a:lnTo>
                      <a:pt x="96" y="31"/>
                    </a:lnTo>
                    <a:lnTo>
                      <a:pt x="95" y="33"/>
                    </a:lnTo>
                    <a:lnTo>
                      <a:pt x="95" y="31"/>
                    </a:lnTo>
                    <a:lnTo>
                      <a:pt x="96" y="31"/>
                    </a:lnTo>
                    <a:lnTo>
                      <a:pt x="98" y="31"/>
                    </a:lnTo>
                    <a:lnTo>
                      <a:pt x="100" y="31"/>
                    </a:lnTo>
                    <a:lnTo>
                      <a:pt x="102" y="31"/>
                    </a:lnTo>
                    <a:lnTo>
                      <a:pt x="102" y="29"/>
                    </a:lnTo>
                    <a:lnTo>
                      <a:pt x="103" y="29"/>
                    </a:lnTo>
                    <a:lnTo>
                      <a:pt x="105" y="29"/>
                    </a:lnTo>
                    <a:lnTo>
                      <a:pt x="107" y="29"/>
                    </a:lnTo>
                    <a:lnTo>
                      <a:pt x="107" y="27"/>
                    </a:lnTo>
                    <a:lnTo>
                      <a:pt x="107" y="26"/>
                    </a:lnTo>
                    <a:lnTo>
                      <a:pt x="108" y="26"/>
                    </a:lnTo>
                    <a:lnTo>
                      <a:pt x="107" y="26"/>
                    </a:lnTo>
                    <a:lnTo>
                      <a:pt x="108" y="26"/>
                    </a:lnTo>
                    <a:lnTo>
                      <a:pt x="110" y="26"/>
                    </a:lnTo>
                    <a:lnTo>
                      <a:pt x="110" y="24"/>
                    </a:lnTo>
                    <a:lnTo>
                      <a:pt x="112" y="24"/>
                    </a:lnTo>
                    <a:lnTo>
                      <a:pt x="110" y="24"/>
                    </a:lnTo>
                    <a:lnTo>
                      <a:pt x="110" y="22"/>
                    </a:lnTo>
                    <a:lnTo>
                      <a:pt x="108" y="22"/>
                    </a:lnTo>
                    <a:lnTo>
                      <a:pt x="110" y="22"/>
                    </a:lnTo>
                    <a:lnTo>
                      <a:pt x="108" y="22"/>
                    </a:lnTo>
                    <a:lnTo>
                      <a:pt x="110" y="22"/>
                    </a:lnTo>
                    <a:lnTo>
                      <a:pt x="110" y="24"/>
                    </a:lnTo>
                    <a:lnTo>
                      <a:pt x="112" y="24"/>
                    </a:lnTo>
                    <a:lnTo>
                      <a:pt x="112" y="22"/>
                    </a:lnTo>
                    <a:lnTo>
                      <a:pt x="112" y="24"/>
                    </a:lnTo>
                    <a:lnTo>
                      <a:pt x="113" y="24"/>
                    </a:lnTo>
                    <a:lnTo>
                      <a:pt x="113" y="22"/>
                    </a:lnTo>
                    <a:lnTo>
                      <a:pt x="113" y="24"/>
                    </a:lnTo>
                    <a:lnTo>
                      <a:pt x="115" y="22"/>
                    </a:lnTo>
                    <a:lnTo>
                      <a:pt x="115" y="24"/>
                    </a:lnTo>
                    <a:lnTo>
                      <a:pt x="117" y="24"/>
                    </a:lnTo>
                    <a:lnTo>
                      <a:pt x="117" y="26"/>
                    </a:lnTo>
                    <a:lnTo>
                      <a:pt x="119" y="26"/>
                    </a:lnTo>
                    <a:lnTo>
                      <a:pt x="120" y="26"/>
                    </a:lnTo>
                    <a:lnTo>
                      <a:pt x="120" y="24"/>
                    </a:lnTo>
                    <a:lnTo>
                      <a:pt x="122" y="24"/>
                    </a:lnTo>
                    <a:lnTo>
                      <a:pt x="120" y="22"/>
                    </a:lnTo>
                    <a:lnTo>
                      <a:pt x="120" y="21"/>
                    </a:lnTo>
                    <a:lnTo>
                      <a:pt x="120" y="19"/>
                    </a:lnTo>
                    <a:lnTo>
                      <a:pt x="119" y="19"/>
                    </a:lnTo>
                    <a:lnTo>
                      <a:pt x="119" y="17"/>
                    </a:lnTo>
                    <a:lnTo>
                      <a:pt x="117" y="17"/>
                    </a:lnTo>
                    <a:lnTo>
                      <a:pt x="117" y="19"/>
                    </a:lnTo>
                    <a:lnTo>
                      <a:pt x="117" y="17"/>
                    </a:lnTo>
                    <a:lnTo>
                      <a:pt x="115" y="17"/>
                    </a:lnTo>
                    <a:lnTo>
                      <a:pt x="115" y="19"/>
                    </a:lnTo>
                    <a:lnTo>
                      <a:pt x="113" y="19"/>
                    </a:lnTo>
                    <a:lnTo>
                      <a:pt x="115" y="19"/>
                    </a:lnTo>
                    <a:lnTo>
                      <a:pt x="113" y="17"/>
                    </a:lnTo>
                    <a:lnTo>
                      <a:pt x="113" y="19"/>
                    </a:lnTo>
                    <a:lnTo>
                      <a:pt x="113" y="17"/>
                    </a:lnTo>
                    <a:lnTo>
                      <a:pt x="113" y="19"/>
                    </a:lnTo>
                    <a:lnTo>
                      <a:pt x="112" y="19"/>
                    </a:lnTo>
                    <a:lnTo>
                      <a:pt x="110" y="19"/>
                    </a:lnTo>
                    <a:lnTo>
                      <a:pt x="108" y="19"/>
                    </a:lnTo>
                    <a:lnTo>
                      <a:pt x="107" y="19"/>
                    </a:lnTo>
                    <a:lnTo>
                      <a:pt x="107" y="21"/>
                    </a:lnTo>
                    <a:lnTo>
                      <a:pt x="105" y="21"/>
                    </a:lnTo>
                    <a:lnTo>
                      <a:pt x="105" y="19"/>
                    </a:lnTo>
                    <a:lnTo>
                      <a:pt x="105" y="17"/>
                    </a:lnTo>
                    <a:lnTo>
                      <a:pt x="105" y="16"/>
                    </a:lnTo>
                    <a:lnTo>
                      <a:pt x="105" y="17"/>
                    </a:lnTo>
                    <a:lnTo>
                      <a:pt x="105" y="16"/>
                    </a:lnTo>
                    <a:lnTo>
                      <a:pt x="105" y="14"/>
                    </a:lnTo>
                    <a:lnTo>
                      <a:pt x="105" y="16"/>
                    </a:lnTo>
                    <a:lnTo>
                      <a:pt x="103" y="14"/>
                    </a:lnTo>
                    <a:lnTo>
                      <a:pt x="103" y="12"/>
                    </a:lnTo>
                    <a:lnTo>
                      <a:pt x="102" y="12"/>
                    </a:lnTo>
                    <a:lnTo>
                      <a:pt x="103" y="10"/>
                    </a:lnTo>
                    <a:lnTo>
                      <a:pt x="102" y="10"/>
                    </a:lnTo>
                    <a:lnTo>
                      <a:pt x="103" y="9"/>
                    </a:lnTo>
                    <a:lnTo>
                      <a:pt x="103" y="7"/>
                    </a:lnTo>
                    <a:lnTo>
                      <a:pt x="105" y="5"/>
                    </a:lnTo>
                    <a:lnTo>
                      <a:pt x="105" y="4"/>
                    </a:lnTo>
                    <a:lnTo>
                      <a:pt x="107" y="4"/>
                    </a:lnTo>
                    <a:lnTo>
                      <a:pt x="107" y="2"/>
                    </a:lnTo>
                    <a:lnTo>
                      <a:pt x="108" y="2"/>
                    </a:lnTo>
                    <a:lnTo>
                      <a:pt x="110" y="0"/>
                    </a:lnTo>
                    <a:lnTo>
                      <a:pt x="112" y="0"/>
                    </a:lnTo>
                    <a:lnTo>
                      <a:pt x="113" y="0"/>
                    </a:lnTo>
                    <a:lnTo>
                      <a:pt x="115" y="0"/>
                    </a:lnTo>
                    <a:lnTo>
                      <a:pt x="115" y="2"/>
                    </a:lnTo>
                    <a:lnTo>
                      <a:pt x="117" y="2"/>
                    </a:lnTo>
                    <a:lnTo>
                      <a:pt x="117" y="4"/>
                    </a:lnTo>
                    <a:lnTo>
                      <a:pt x="117" y="5"/>
                    </a:lnTo>
                    <a:lnTo>
                      <a:pt x="117" y="7"/>
                    </a:lnTo>
                    <a:lnTo>
                      <a:pt x="117" y="5"/>
                    </a:lnTo>
                    <a:lnTo>
                      <a:pt x="119" y="5"/>
                    </a:lnTo>
                    <a:lnTo>
                      <a:pt x="119" y="7"/>
                    </a:lnTo>
                    <a:lnTo>
                      <a:pt x="119" y="9"/>
                    </a:lnTo>
                    <a:lnTo>
                      <a:pt x="119" y="10"/>
                    </a:lnTo>
                    <a:lnTo>
                      <a:pt x="119" y="12"/>
                    </a:lnTo>
                    <a:lnTo>
                      <a:pt x="119" y="14"/>
                    </a:lnTo>
                    <a:lnTo>
                      <a:pt x="120" y="16"/>
                    </a:lnTo>
                    <a:lnTo>
                      <a:pt x="120" y="17"/>
                    </a:lnTo>
                    <a:lnTo>
                      <a:pt x="122" y="19"/>
                    </a:lnTo>
                    <a:lnTo>
                      <a:pt x="122" y="21"/>
                    </a:lnTo>
                    <a:lnTo>
                      <a:pt x="122" y="22"/>
                    </a:lnTo>
                    <a:lnTo>
                      <a:pt x="124" y="22"/>
                    </a:lnTo>
                    <a:lnTo>
                      <a:pt x="124" y="24"/>
                    </a:lnTo>
                    <a:lnTo>
                      <a:pt x="125" y="24"/>
                    </a:lnTo>
                    <a:lnTo>
                      <a:pt x="125" y="26"/>
                    </a:lnTo>
                    <a:lnTo>
                      <a:pt x="127" y="26"/>
                    </a:lnTo>
                    <a:lnTo>
                      <a:pt x="127" y="24"/>
                    </a:lnTo>
                    <a:lnTo>
                      <a:pt x="129" y="24"/>
                    </a:lnTo>
                    <a:lnTo>
                      <a:pt x="130" y="24"/>
                    </a:lnTo>
                    <a:lnTo>
                      <a:pt x="132" y="24"/>
                    </a:lnTo>
                    <a:lnTo>
                      <a:pt x="134" y="24"/>
                    </a:lnTo>
                    <a:lnTo>
                      <a:pt x="136" y="24"/>
                    </a:lnTo>
                    <a:lnTo>
                      <a:pt x="136" y="22"/>
                    </a:lnTo>
                    <a:lnTo>
                      <a:pt x="137" y="22"/>
                    </a:lnTo>
                    <a:lnTo>
                      <a:pt x="139" y="24"/>
                    </a:lnTo>
                    <a:lnTo>
                      <a:pt x="141" y="24"/>
                    </a:lnTo>
                    <a:lnTo>
                      <a:pt x="142" y="24"/>
                    </a:lnTo>
                    <a:lnTo>
                      <a:pt x="144" y="26"/>
                    </a:lnTo>
                    <a:lnTo>
                      <a:pt x="146" y="26"/>
                    </a:lnTo>
                    <a:lnTo>
                      <a:pt x="147" y="26"/>
                    </a:lnTo>
                    <a:lnTo>
                      <a:pt x="149" y="26"/>
                    </a:lnTo>
                    <a:lnTo>
                      <a:pt x="151" y="26"/>
                    </a:lnTo>
                    <a:lnTo>
                      <a:pt x="153" y="26"/>
                    </a:lnTo>
                    <a:lnTo>
                      <a:pt x="153" y="27"/>
                    </a:lnTo>
                    <a:lnTo>
                      <a:pt x="154" y="27"/>
                    </a:lnTo>
                    <a:lnTo>
                      <a:pt x="154" y="29"/>
                    </a:lnTo>
                    <a:lnTo>
                      <a:pt x="156" y="29"/>
                    </a:lnTo>
                    <a:lnTo>
                      <a:pt x="158" y="29"/>
                    </a:lnTo>
                    <a:lnTo>
                      <a:pt x="158" y="31"/>
                    </a:lnTo>
                    <a:lnTo>
                      <a:pt x="159" y="31"/>
                    </a:lnTo>
                    <a:lnTo>
                      <a:pt x="161" y="31"/>
                    </a:lnTo>
                    <a:lnTo>
                      <a:pt x="161" y="33"/>
                    </a:lnTo>
                    <a:lnTo>
                      <a:pt x="163" y="33"/>
                    </a:lnTo>
                    <a:lnTo>
                      <a:pt x="163" y="34"/>
                    </a:lnTo>
                    <a:lnTo>
                      <a:pt x="164" y="34"/>
                    </a:lnTo>
                    <a:lnTo>
                      <a:pt x="166" y="34"/>
                    </a:lnTo>
                    <a:lnTo>
                      <a:pt x="166" y="36"/>
                    </a:lnTo>
                    <a:lnTo>
                      <a:pt x="168" y="38"/>
                    </a:lnTo>
                    <a:lnTo>
                      <a:pt x="168" y="39"/>
                    </a:lnTo>
                    <a:lnTo>
                      <a:pt x="170" y="39"/>
                    </a:lnTo>
                    <a:lnTo>
                      <a:pt x="170" y="41"/>
                    </a:lnTo>
                    <a:lnTo>
                      <a:pt x="170" y="43"/>
                    </a:lnTo>
                    <a:lnTo>
                      <a:pt x="171" y="43"/>
                    </a:lnTo>
                    <a:lnTo>
                      <a:pt x="171" y="44"/>
                    </a:lnTo>
                    <a:lnTo>
                      <a:pt x="170" y="44"/>
                    </a:lnTo>
                    <a:lnTo>
                      <a:pt x="170" y="43"/>
                    </a:lnTo>
                    <a:lnTo>
                      <a:pt x="168" y="43"/>
                    </a:lnTo>
                    <a:lnTo>
                      <a:pt x="168" y="44"/>
                    </a:lnTo>
                    <a:lnTo>
                      <a:pt x="170" y="44"/>
                    </a:lnTo>
                    <a:lnTo>
                      <a:pt x="171" y="44"/>
                    </a:lnTo>
                    <a:lnTo>
                      <a:pt x="173" y="44"/>
                    </a:lnTo>
                    <a:lnTo>
                      <a:pt x="173" y="46"/>
                    </a:lnTo>
                    <a:lnTo>
                      <a:pt x="171" y="46"/>
                    </a:lnTo>
                    <a:lnTo>
                      <a:pt x="170" y="46"/>
                    </a:lnTo>
                    <a:lnTo>
                      <a:pt x="170" y="48"/>
                    </a:lnTo>
                    <a:lnTo>
                      <a:pt x="170" y="50"/>
                    </a:lnTo>
                    <a:lnTo>
                      <a:pt x="170" y="51"/>
                    </a:lnTo>
                    <a:lnTo>
                      <a:pt x="170" y="53"/>
                    </a:lnTo>
                    <a:lnTo>
                      <a:pt x="171" y="53"/>
                    </a:lnTo>
                    <a:lnTo>
                      <a:pt x="171" y="55"/>
                    </a:lnTo>
                    <a:lnTo>
                      <a:pt x="171" y="56"/>
                    </a:lnTo>
                    <a:lnTo>
                      <a:pt x="173" y="56"/>
                    </a:lnTo>
                    <a:lnTo>
                      <a:pt x="173" y="58"/>
                    </a:lnTo>
                    <a:lnTo>
                      <a:pt x="175" y="58"/>
                    </a:lnTo>
                    <a:lnTo>
                      <a:pt x="176" y="58"/>
                    </a:lnTo>
                    <a:lnTo>
                      <a:pt x="178" y="58"/>
                    </a:lnTo>
                    <a:lnTo>
                      <a:pt x="178" y="60"/>
                    </a:lnTo>
                    <a:lnTo>
                      <a:pt x="180" y="60"/>
                    </a:lnTo>
                    <a:lnTo>
                      <a:pt x="180" y="58"/>
                    </a:lnTo>
                    <a:lnTo>
                      <a:pt x="180" y="60"/>
                    </a:lnTo>
                    <a:lnTo>
                      <a:pt x="180" y="58"/>
                    </a:lnTo>
                    <a:lnTo>
                      <a:pt x="181" y="60"/>
                    </a:lnTo>
                    <a:lnTo>
                      <a:pt x="183" y="60"/>
                    </a:lnTo>
                    <a:lnTo>
                      <a:pt x="185" y="60"/>
                    </a:lnTo>
                    <a:lnTo>
                      <a:pt x="187" y="58"/>
                    </a:lnTo>
                    <a:lnTo>
                      <a:pt x="187" y="60"/>
                    </a:lnTo>
                    <a:lnTo>
                      <a:pt x="187" y="58"/>
                    </a:lnTo>
                    <a:lnTo>
                      <a:pt x="188" y="58"/>
                    </a:lnTo>
                    <a:lnTo>
                      <a:pt x="190" y="58"/>
                    </a:lnTo>
                    <a:lnTo>
                      <a:pt x="192" y="58"/>
                    </a:lnTo>
                    <a:lnTo>
                      <a:pt x="193" y="58"/>
                    </a:lnTo>
                    <a:lnTo>
                      <a:pt x="195" y="58"/>
                    </a:lnTo>
                    <a:lnTo>
                      <a:pt x="197" y="58"/>
                    </a:lnTo>
                    <a:lnTo>
                      <a:pt x="197" y="56"/>
                    </a:lnTo>
                    <a:lnTo>
                      <a:pt x="198" y="56"/>
                    </a:lnTo>
                    <a:lnTo>
                      <a:pt x="200" y="56"/>
                    </a:lnTo>
                    <a:lnTo>
                      <a:pt x="202" y="56"/>
                    </a:lnTo>
                    <a:lnTo>
                      <a:pt x="204" y="56"/>
                    </a:lnTo>
                    <a:lnTo>
                      <a:pt x="205" y="56"/>
                    </a:lnTo>
                    <a:lnTo>
                      <a:pt x="207" y="56"/>
                    </a:lnTo>
                    <a:lnTo>
                      <a:pt x="209" y="56"/>
                    </a:lnTo>
                    <a:lnTo>
                      <a:pt x="210" y="55"/>
                    </a:lnTo>
                    <a:lnTo>
                      <a:pt x="212" y="55"/>
                    </a:lnTo>
                    <a:lnTo>
                      <a:pt x="214" y="55"/>
                    </a:lnTo>
                    <a:lnTo>
                      <a:pt x="215" y="55"/>
                    </a:lnTo>
                    <a:lnTo>
                      <a:pt x="217" y="55"/>
                    </a:lnTo>
                    <a:lnTo>
                      <a:pt x="219" y="55"/>
                    </a:lnTo>
                    <a:lnTo>
                      <a:pt x="221" y="55"/>
                    </a:lnTo>
                    <a:lnTo>
                      <a:pt x="222" y="55"/>
                    </a:lnTo>
                    <a:lnTo>
                      <a:pt x="224" y="55"/>
                    </a:lnTo>
                    <a:lnTo>
                      <a:pt x="226" y="55"/>
                    </a:lnTo>
                    <a:lnTo>
                      <a:pt x="227" y="55"/>
                    </a:lnTo>
                    <a:lnTo>
                      <a:pt x="227" y="53"/>
                    </a:lnTo>
                    <a:lnTo>
                      <a:pt x="229" y="55"/>
                    </a:lnTo>
                    <a:lnTo>
                      <a:pt x="229" y="53"/>
                    </a:lnTo>
                    <a:lnTo>
                      <a:pt x="231" y="53"/>
                    </a:lnTo>
                    <a:lnTo>
                      <a:pt x="232" y="53"/>
                    </a:lnTo>
                    <a:lnTo>
                      <a:pt x="232" y="55"/>
                    </a:lnTo>
                    <a:lnTo>
                      <a:pt x="234" y="53"/>
                    </a:lnTo>
                    <a:lnTo>
                      <a:pt x="234" y="55"/>
                    </a:lnTo>
                    <a:lnTo>
                      <a:pt x="236" y="55"/>
                    </a:lnTo>
                    <a:lnTo>
                      <a:pt x="238" y="53"/>
                    </a:lnTo>
                    <a:lnTo>
                      <a:pt x="239" y="53"/>
                    </a:lnTo>
                    <a:lnTo>
                      <a:pt x="241" y="55"/>
                    </a:lnTo>
                    <a:lnTo>
                      <a:pt x="243" y="55"/>
                    </a:lnTo>
                    <a:lnTo>
                      <a:pt x="244" y="55"/>
                    </a:lnTo>
                    <a:lnTo>
                      <a:pt x="244" y="56"/>
                    </a:lnTo>
                    <a:lnTo>
                      <a:pt x="244" y="55"/>
                    </a:lnTo>
                    <a:lnTo>
                      <a:pt x="246" y="56"/>
                    </a:lnTo>
                    <a:lnTo>
                      <a:pt x="244" y="56"/>
                    </a:lnTo>
                    <a:lnTo>
                      <a:pt x="243" y="56"/>
                    </a:lnTo>
                    <a:lnTo>
                      <a:pt x="244" y="56"/>
                    </a:lnTo>
                    <a:lnTo>
                      <a:pt x="243" y="58"/>
                    </a:lnTo>
                    <a:lnTo>
                      <a:pt x="244" y="58"/>
                    </a:lnTo>
                    <a:lnTo>
                      <a:pt x="244" y="60"/>
                    </a:lnTo>
                    <a:lnTo>
                      <a:pt x="246" y="60"/>
                    </a:lnTo>
                    <a:lnTo>
                      <a:pt x="246" y="61"/>
                    </a:lnTo>
                    <a:lnTo>
                      <a:pt x="248" y="61"/>
                    </a:lnTo>
                    <a:lnTo>
                      <a:pt x="248" y="63"/>
                    </a:lnTo>
                    <a:lnTo>
                      <a:pt x="249" y="63"/>
                    </a:lnTo>
                    <a:lnTo>
                      <a:pt x="251" y="65"/>
                    </a:lnTo>
                    <a:lnTo>
                      <a:pt x="253" y="65"/>
                    </a:lnTo>
                    <a:lnTo>
                      <a:pt x="255" y="67"/>
                    </a:lnTo>
                    <a:lnTo>
                      <a:pt x="256" y="67"/>
                    </a:lnTo>
                    <a:lnTo>
                      <a:pt x="258" y="68"/>
                    </a:lnTo>
                    <a:lnTo>
                      <a:pt x="260" y="68"/>
                    </a:lnTo>
                    <a:lnTo>
                      <a:pt x="263" y="70"/>
                    </a:lnTo>
                    <a:lnTo>
                      <a:pt x="265" y="70"/>
                    </a:lnTo>
                    <a:lnTo>
                      <a:pt x="266" y="70"/>
                    </a:lnTo>
                    <a:lnTo>
                      <a:pt x="268" y="72"/>
                    </a:lnTo>
                    <a:lnTo>
                      <a:pt x="270" y="72"/>
                    </a:lnTo>
                    <a:lnTo>
                      <a:pt x="272" y="72"/>
                    </a:lnTo>
                    <a:lnTo>
                      <a:pt x="273" y="72"/>
                    </a:lnTo>
                    <a:lnTo>
                      <a:pt x="275" y="72"/>
                    </a:lnTo>
                    <a:lnTo>
                      <a:pt x="277" y="73"/>
                    </a:lnTo>
                    <a:lnTo>
                      <a:pt x="278" y="73"/>
                    </a:lnTo>
                    <a:lnTo>
                      <a:pt x="280" y="73"/>
                    </a:lnTo>
                    <a:lnTo>
                      <a:pt x="282" y="73"/>
                    </a:lnTo>
                    <a:lnTo>
                      <a:pt x="282" y="72"/>
                    </a:lnTo>
                    <a:lnTo>
                      <a:pt x="283" y="72"/>
                    </a:lnTo>
                    <a:lnTo>
                      <a:pt x="285" y="72"/>
                    </a:lnTo>
                    <a:lnTo>
                      <a:pt x="287" y="72"/>
                    </a:lnTo>
                    <a:lnTo>
                      <a:pt x="289" y="72"/>
                    </a:lnTo>
                    <a:lnTo>
                      <a:pt x="290" y="72"/>
                    </a:lnTo>
                    <a:lnTo>
                      <a:pt x="290" y="70"/>
                    </a:lnTo>
                    <a:lnTo>
                      <a:pt x="292" y="68"/>
                    </a:lnTo>
                    <a:lnTo>
                      <a:pt x="290" y="68"/>
                    </a:lnTo>
                    <a:lnTo>
                      <a:pt x="292" y="68"/>
                    </a:lnTo>
                    <a:lnTo>
                      <a:pt x="294" y="68"/>
                    </a:lnTo>
                    <a:lnTo>
                      <a:pt x="294" y="67"/>
                    </a:lnTo>
                    <a:lnTo>
                      <a:pt x="295" y="67"/>
                    </a:lnTo>
                    <a:lnTo>
                      <a:pt x="297" y="67"/>
                    </a:lnTo>
                    <a:lnTo>
                      <a:pt x="299" y="67"/>
                    </a:lnTo>
                    <a:lnTo>
                      <a:pt x="300" y="67"/>
                    </a:lnTo>
                    <a:lnTo>
                      <a:pt x="300" y="65"/>
                    </a:lnTo>
                    <a:lnTo>
                      <a:pt x="302" y="65"/>
                    </a:lnTo>
                    <a:lnTo>
                      <a:pt x="300" y="65"/>
                    </a:lnTo>
                    <a:lnTo>
                      <a:pt x="299" y="65"/>
                    </a:lnTo>
                    <a:lnTo>
                      <a:pt x="300" y="65"/>
                    </a:lnTo>
                    <a:lnTo>
                      <a:pt x="300" y="63"/>
                    </a:lnTo>
                    <a:lnTo>
                      <a:pt x="302" y="63"/>
                    </a:lnTo>
                    <a:lnTo>
                      <a:pt x="302" y="61"/>
                    </a:lnTo>
                    <a:lnTo>
                      <a:pt x="304" y="61"/>
                    </a:lnTo>
                    <a:lnTo>
                      <a:pt x="304" y="63"/>
                    </a:lnTo>
                    <a:lnTo>
                      <a:pt x="302" y="63"/>
                    </a:lnTo>
                    <a:lnTo>
                      <a:pt x="304" y="63"/>
                    </a:lnTo>
                    <a:lnTo>
                      <a:pt x="304" y="61"/>
                    </a:lnTo>
                    <a:lnTo>
                      <a:pt x="306" y="61"/>
                    </a:lnTo>
                    <a:lnTo>
                      <a:pt x="307" y="61"/>
                    </a:lnTo>
                    <a:lnTo>
                      <a:pt x="309" y="60"/>
                    </a:lnTo>
                    <a:lnTo>
                      <a:pt x="309" y="58"/>
                    </a:lnTo>
                    <a:lnTo>
                      <a:pt x="309" y="60"/>
                    </a:lnTo>
                    <a:lnTo>
                      <a:pt x="311" y="60"/>
                    </a:lnTo>
                    <a:lnTo>
                      <a:pt x="312" y="60"/>
                    </a:lnTo>
                    <a:lnTo>
                      <a:pt x="314" y="60"/>
                    </a:lnTo>
                    <a:lnTo>
                      <a:pt x="316" y="60"/>
                    </a:lnTo>
                    <a:lnTo>
                      <a:pt x="317" y="60"/>
                    </a:lnTo>
                    <a:lnTo>
                      <a:pt x="319" y="60"/>
                    </a:lnTo>
                    <a:lnTo>
                      <a:pt x="321" y="60"/>
                    </a:lnTo>
                    <a:lnTo>
                      <a:pt x="323" y="60"/>
                    </a:lnTo>
                    <a:lnTo>
                      <a:pt x="324" y="60"/>
                    </a:lnTo>
                    <a:lnTo>
                      <a:pt x="326" y="60"/>
                    </a:lnTo>
                    <a:lnTo>
                      <a:pt x="326" y="58"/>
                    </a:lnTo>
                    <a:lnTo>
                      <a:pt x="324" y="58"/>
                    </a:lnTo>
                    <a:lnTo>
                      <a:pt x="323" y="58"/>
                    </a:lnTo>
                    <a:lnTo>
                      <a:pt x="321" y="56"/>
                    </a:lnTo>
                    <a:lnTo>
                      <a:pt x="319" y="56"/>
                    </a:lnTo>
                    <a:lnTo>
                      <a:pt x="317" y="56"/>
                    </a:lnTo>
                    <a:lnTo>
                      <a:pt x="316" y="56"/>
                    </a:lnTo>
                    <a:lnTo>
                      <a:pt x="316" y="55"/>
                    </a:lnTo>
                    <a:lnTo>
                      <a:pt x="316" y="56"/>
                    </a:lnTo>
                    <a:lnTo>
                      <a:pt x="314" y="55"/>
                    </a:lnTo>
                    <a:lnTo>
                      <a:pt x="314" y="56"/>
                    </a:lnTo>
                    <a:lnTo>
                      <a:pt x="314" y="55"/>
                    </a:lnTo>
                    <a:lnTo>
                      <a:pt x="314" y="56"/>
                    </a:lnTo>
                    <a:lnTo>
                      <a:pt x="312" y="55"/>
                    </a:lnTo>
                    <a:lnTo>
                      <a:pt x="314" y="55"/>
                    </a:lnTo>
                    <a:lnTo>
                      <a:pt x="312" y="55"/>
                    </a:lnTo>
                    <a:lnTo>
                      <a:pt x="312" y="56"/>
                    </a:lnTo>
                    <a:lnTo>
                      <a:pt x="311" y="56"/>
                    </a:lnTo>
                    <a:lnTo>
                      <a:pt x="311" y="55"/>
                    </a:lnTo>
                    <a:lnTo>
                      <a:pt x="309" y="56"/>
                    </a:lnTo>
                    <a:lnTo>
                      <a:pt x="307" y="56"/>
                    </a:lnTo>
                    <a:lnTo>
                      <a:pt x="307" y="58"/>
                    </a:lnTo>
                    <a:lnTo>
                      <a:pt x="306" y="56"/>
                    </a:lnTo>
                    <a:lnTo>
                      <a:pt x="306" y="55"/>
                    </a:lnTo>
                    <a:lnTo>
                      <a:pt x="306" y="53"/>
                    </a:lnTo>
                    <a:lnTo>
                      <a:pt x="307" y="53"/>
                    </a:lnTo>
                    <a:lnTo>
                      <a:pt x="309" y="53"/>
                    </a:lnTo>
                    <a:lnTo>
                      <a:pt x="309" y="55"/>
                    </a:lnTo>
                    <a:lnTo>
                      <a:pt x="309" y="53"/>
                    </a:lnTo>
                    <a:lnTo>
                      <a:pt x="309" y="55"/>
                    </a:lnTo>
                    <a:lnTo>
                      <a:pt x="311" y="55"/>
                    </a:lnTo>
                    <a:lnTo>
                      <a:pt x="311" y="53"/>
                    </a:lnTo>
                    <a:lnTo>
                      <a:pt x="312" y="53"/>
                    </a:lnTo>
                    <a:lnTo>
                      <a:pt x="314" y="53"/>
                    </a:lnTo>
                    <a:lnTo>
                      <a:pt x="316" y="53"/>
                    </a:lnTo>
                    <a:lnTo>
                      <a:pt x="317" y="55"/>
                    </a:lnTo>
                    <a:lnTo>
                      <a:pt x="317" y="53"/>
                    </a:lnTo>
                    <a:lnTo>
                      <a:pt x="319" y="53"/>
                    </a:lnTo>
                    <a:lnTo>
                      <a:pt x="321" y="53"/>
                    </a:lnTo>
                    <a:lnTo>
                      <a:pt x="323" y="53"/>
                    </a:lnTo>
                    <a:lnTo>
                      <a:pt x="321" y="51"/>
                    </a:lnTo>
                    <a:lnTo>
                      <a:pt x="321" y="53"/>
                    </a:lnTo>
                    <a:lnTo>
                      <a:pt x="321" y="51"/>
                    </a:lnTo>
                    <a:lnTo>
                      <a:pt x="323" y="51"/>
                    </a:lnTo>
                    <a:lnTo>
                      <a:pt x="323" y="53"/>
                    </a:lnTo>
                    <a:lnTo>
                      <a:pt x="324" y="53"/>
                    </a:lnTo>
                    <a:lnTo>
                      <a:pt x="326" y="53"/>
                    </a:lnTo>
                    <a:lnTo>
                      <a:pt x="328" y="53"/>
                    </a:lnTo>
                    <a:lnTo>
                      <a:pt x="329" y="53"/>
                    </a:lnTo>
                    <a:lnTo>
                      <a:pt x="331" y="55"/>
                    </a:lnTo>
                    <a:lnTo>
                      <a:pt x="331" y="53"/>
                    </a:lnTo>
                    <a:lnTo>
                      <a:pt x="333" y="53"/>
                    </a:lnTo>
                    <a:lnTo>
                      <a:pt x="334" y="53"/>
                    </a:lnTo>
                    <a:lnTo>
                      <a:pt x="334" y="51"/>
                    </a:lnTo>
                    <a:lnTo>
                      <a:pt x="336" y="51"/>
                    </a:lnTo>
                    <a:lnTo>
                      <a:pt x="336" y="53"/>
                    </a:lnTo>
                    <a:lnTo>
                      <a:pt x="338" y="53"/>
                    </a:lnTo>
                    <a:lnTo>
                      <a:pt x="338" y="51"/>
                    </a:lnTo>
                    <a:lnTo>
                      <a:pt x="338" y="53"/>
                    </a:lnTo>
                    <a:lnTo>
                      <a:pt x="340" y="53"/>
                    </a:lnTo>
                    <a:lnTo>
                      <a:pt x="341" y="53"/>
                    </a:lnTo>
                    <a:lnTo>
                      <a:pt x="341" y="51"/>
                    </a:lnTo>
                    <a:lnTo>
                      <a:pt x="343" y="51"/>
                    </a:lnTo>
                    <a:lnTo>
                      <a:pt x="345" y="51"/>
                    </a:lnTo>
                    <a:lnTo>
                      <a:pt x="346" y="51"/>
                    </a:lnTo>
                    <a:lnTo>
                      <a:pt x="348" y="51"/>
                    </a:lnTo>
                    <a:lnTo>
                      <a:pt x="350" y="51"/>
                    </a:lnTo>
                    <a:lnTo>
                      <a:pt x="351" y="51"/>
                    </a:lnTo>
                    <a:lnTo>
                      <a:pt x="353" y="51"/>
                    </a:lnTo>
                    <a:lnTo>
                      <a:pt x="355" y="51"/>
                    </a:lnTo>
                    <a:lnTo>
                      <a:pt x="355" y="50"/>
                    </a:lnTo>
                    <a:lnTo>
                      <a:pt x="357" y="50"/>
                    </a:lnTo>
                    <a:lnTo>
                      <a:pt x="358" y="50"/>
                    </a:lnTo>
                    <a:lnTo>
                      <a:pt x="360" y="50"/>
                    </a:lnTo>
                    <a:lnTo>
                      <a:pt x="362" y="50"/>
                    </a:lnTo>
                    <a:lnTo>
                      <a:pt x="363" y="50"/>
                    </a:lnTo>
                    <a:lnTo>
                      <a:pt x="365" y="50"/>
                    </a:lnTo>
                    <a:lnTo>
                      <a:pt x="367" y="51"/>
                    </a:lnTo>
                    <a:lnTo>
                      <a:pt x="368" y="51"/>
                    </a:lnTo>
                    <a:lnTo>
                      <a:pt x="370" y="51"/>
                    </a:lnTo>
                    <a:lnTo>
                      <a:pt x="372" y="51"/>
                    </a:lnTo>
                    <a:lnTo>
                      <a:pt x="374" y="51"/>
                    </a:lnTo>
                    <a:lnTo>
                      <a:pt x="375" y="51"/>
                    </a:lnTo>
                    <a:lnTo>
                      <a:pt x="377" y="51"/>
                    </a:lnTo>
                    <a:lnTo>
                      <a:pt x="379" y="51"/>
                    </a:lnTo>
                    <a:lnTo>
                      <a:pt x="380" y="51"/>
                    </a:lnTo>
                    <a:lnTo>
                      <a:pt x="382" y="51"/>
                    </a:lnTo>
                    <a:lnTo>
                      <a:pt x="384" y="51"/>
                    </a:lnTo>
                    <a:lnTo>
                      <a:pt x="385" y="51"/>
                    </a:lnTo>
                    <a:lnTo>
                      <a:pt x="385" y="50"/>
                    </a:lnTo>
                    <a:lnTo>
                      <a:pt x="387" y="50"/>
                    </a:lnTo>
                    <a:lnTo>
                      <a:pt x="387" y="51"/>
                    </a:lnTo>
                    <a:lnTo>
                      <a:pt x="385" y="51"/>
                    </a:lnTo>
                    <a:lnTo>
                      <a:pt x="385" y="53"/>
                    </a:lnTo>
                    <a:lnTo>
                      <a:pt x="385" y="51"/>
                    </a:lnTo>
                    <a:lnTo>
                      <a:pt x="385" y="53"/>
                    </a:lnTo>
                    <a:lnTo>
                      <a:pt x="384" y="53"/>
                    </a:lnTo>
                    <a:lnTo>
                      <a:pt x="382" y="53"/>
                    </a:lnTo>
                    <a:lnTo>
                      <a:pt x="380" y="53"/>
                    </a:lnTo>
                    <a:lnTo>
                      <a:pt x="379" y="53"/>
                    </a:lnTo>
                    <a:lnTo>
                      <a:pt x="377" y="53"/>
                    </a:lnTo>
                    <a:lnTo>
                      <a:pt x="375" y="53"/>
                    </a:lnTo>
                    <a:lnTo>
                      <a:pt x="374" y="53"/>
                    </a:lnTo>
                    <a:lnTo>
                      <a:pt x="374" y="55"/>
                    </a:lnTo>
                    <a:lnTo>
                      <a:pt x="372" y="55"/>
                    </a:lnTo>
                    <a:lnTo>
                      <a:pt x="372" y="56"/>
                    </a:lnTo>
                    <a:lnTo>
                      <a:pt x="370" y="56"/>
                    </a:lnTo>
                    <a:lnTo>
                      <a:pt x="368" y="56"/>
                    </a:lnTo>
                    <a:lnTo>
                      <a:pt x="367" y="56"/>
                    </a:lnTo>
                    <a:lnTo>
                      <a:pt x="365" y="56"/>
                    </a:lnTo>
                    <a:lnTo>
                      <a:pt x="363" y="56"/>
                    </a:lnTo>
                    <a:lnTo>
                      <a:pt x="362" y="56"/>
                    </a:lnTo>
                    <a:lnTo>
                      <a:pt x="360" y="56"/>
                    </a:lnTo>
                    <a:lnTo>
                      <a:pt x="358" y="56"/>
                    </a:lnTo>
                    <a:lnTo>
                      <a:pt x="357" y="56"/>
                    </a:lnTo>
                    <a:lnTo>
                      <a:pt x="355" y="56"/>
                    </a:lnTo>
                    <a:lnTo>
                      <a:pt x="353" y="58"/>
                    </a:lnTo>
                    <a:lnTo>
                      <a:pt x="355" y="58"/>
                    </a:lnTo>
                    <a:lnTo>
                      <a:pt x="357" y="58"/>
                    </a:lnTo>
                    <a:lnTo>
                      <a:pt x="357" y="60"/>
                    </a:lnTo>
                    <a:lnTo>
                      <a:pt x="358" y="60"/>
                    </a:lnTo>
                    <a:lnTo>
                      <a:pt x="358" y="61"/>
                    </a:lnTo>
                    <a:lnTo>
                      <a:pt x="360" y="63"/>
                    </a:lnTo>
                    <a:lnTo>
                      <a:pt x="360" y="65"/>
                    </a:lnTo>
                    <a:lnTo>
                      <a:pt x="360" y="67"/>
                    </a:lnTo>
                    <a:lnTo>
                      <a:pt x="360" y="68"/>
                    </a:lnTo>
                    <a:lnTo>
                      <a:pt x="360" y="70"/>
                    </a:lnTo>
                    <a:lnTo>
                      <a:pt x="362" y="70"/>
                    </a:lnTo>
                    <a:lnTo>
                      <a:pt x="362" y="68"/>
                    </a:lnTo>
                    <a:lnTo>
                      <a:pt x="362" y="67"/>
                    </a:lnTo>
                    <a:lnTo>
                      <a:pt x="363" y="68"/>
                    </a:lnTo>
                    <a:lnTo>
                      <a:pt x="365" y="68"/>
                    </a:lnTo>
                    <a:lnTo>
                      <a:pt x="365" y="70"/>
                    </a:lnTo>
                    <a:lnTo>
                      <a:pt x="367" y="70"/>
                    </a:lnTo>
                    <a:lnTo>
                      <a:pt x="367" y="72"/>
                    </a:lnTo>
                    <a:lnTo>
                      <a:pt x="367" y="73"/>
                    </a:lnTo>
                    <a:lnTo>
                      <a:pt x="367" y="75"/>
                    </a:lnTo>
                    <a:lnTo>
                      <a:pt x="368" y="75"/>
                    </a:lnTo>
                    <a:lnTo>
                      <a:pt x="368" y="77"/>
                    </a:lnTo>
                    <a:lnTo>
                      <a:pt x="367" y="77"/>
                    </a:lnTo>
                    <a:lnTo>
                      <a:pt x="368" y="78"/>
                    </a:lnTo>
                    <a:lnTo>
                      <a:pt x="370" y="78"/>
                    </a:lnTo>
                    <a:lnTo>
                      <a:pt x="370" y="80"/>
                    </a:lnTo>
                    <a:lnTo>
                      <a:pt x="370" y="78"/>
                    </a:lnTo>
                    <a:lnTo>
                      <a:pt x="372" y="78"/>
                    </a:lnTo>
                    <a:lnTo>
                      <a:pt x="370" y="77"/>
                    </a:lnTo>
                    <a:lnTo>
                      <a:pt x="372" y="77"/>
                    </a:lnTo>
                    <a:lnTo>
                      <a:pt x="374" y="77"/>
                    </a:lnTo>
                    <a:lnTo>
                      <a:pt x="375" y="75"/>
                    </a:lnTo>
                    <a:lnTo>
                      <a:pt x="377" y="75"/>
                    </a:lnTo>
                    <a:lnTo>
                      <a:pt x="379" y="75"/>
                    </a:lnTo>
                    <a:lnTo>
                      <a:pt x="380" y="77"/>
                    </a:lnTo>
                    <a:lnTo>
                      <a:pt x="382" y="77"/>
                    </a:lnTo>
                    <a:lnTo>
                      <a:pt x="382" y="78"/>
                    </a:lnTo>
                    <a:lnTo>
                      <a:pt x="384" y="78"/>
                    </a:lnTo>
                    <a:lnTo>
                      <a:pt x="385" y="80"/>
                    </a:lnTo>
                    <a:lnTo>
                      <a:pt x="385" y="82"/>
                    </a:lnTo>
                    <a:lnTo>
                      <a:pt x="387" y="82"/>
                    </a:lnTo>
                    <a:lnTo>
                      <a:pt x="389" y="82"/>
                    </a:lnTo>
                    <a:lnTo>
                      <a:pt x="391" y="82"/>
                    </a:lnTo>
                    <a:lnTo>
                      <a:pt x="392" y="82"/>
                    </a:lnTo>
                    <a:lnTo>
                      <a:pt x="394" y="82"/>
                    </a:lnTo>
                    <a:lnTo>
                      <a:pt x="396" y="82"/>
                    </a:lnTo>
                    <a:lnTo>
                      <a:pt x="394" y="82"/>
                    </a:lnTo>
                    <a:lnTo>
                      <a:pt x="396" y="82"/>
                    </a:lnTo>
                    <a:lnTo>
                      <a:pt x="396" y="80"/>
                    </a:lnTo>
                    <a:lnTo>
                      <a:pt x="394" y="80"/>
                    </a:lnTo>
                    <a:lnTo>
                      <a:pt x="396" y="80"/>
                    </a:lnTo>
                    <a:lnTo>
                      <a:pt x="394" y="80"/>
                    </a:lnTo>
                    <a:lnTo>
                      <a:pt x="394" y="78"/>
                    </a:lnTo>
                    <a:lnTo>
                      <a:pt x="396" y="80"/>
                    </a:lnTo>
                    <a:lnTo>
                      <a:pt x="397" y="80"/>
                    </a:lnTo>
                    <a:lnTo>
                      <a:pt x="399" y="82"/>
                    </a:lnTo>
                    <a:lnTo>
                      <a:pt x="401" y="82"/>
                    </a:lnTo>
                    <a:lnTo>
                      <a:pt x="401" y="84"/>
                    </a:lnTo>
                    <a:lnTo>
                      <a:pt x="401" y="82"/>
                    </a:lnTo>
                    <a:lnTo>
                      <a:pt x="399" y="82"/>
                    </a:lnTo>
                    <a:lnTo>
                      <a:pt x="399" y="80"/>
                    </a:lnTo>
                    <a:lnTo>
                      <a:pt x="399" y="82"/>
                    </a:lnTo>
                    <a:lnTo>
                      <a:pt x="401" y="82"/>
                    </a:lnTo>
                    <a:lnTo>
                      <a:pt x="402" y="82"/>
                    </a:lnTo>
                    <a:lnTo>
                      <a:pt x="402" y="84"/>
                    </a:lnTo>
                    <a:lnTo>
                      <a:pt x="404" y="84"/>
                    </a:lnTo>
                    <a:lnTo>
                      <a:pt x="404" y="85"/>
                    </a:lnTo>
                    <a:lnTo>
                      <a:pt x="406" y="85"/>
                    </a:lnTo>
                    <a:lnTo>
                      <a:pt x="406" y="87"/>
                    </a:lnTo>
                    <a:lnTo>
                      <a:pt x="408" y="87"/>
                    </a:lnTo>
                    <a:lnTo>
                      <a:pt x="408" y="89"/>
                    </a:lnTo>
                    <a:lnTo>
                      <a:pt x="409" y="89"/>
                    </a:lnTo>
                    <a:lnTo>
                      <a:pt x="411" y="90"/>
                    </a:lnTo>
                    <a:lnTo>
                      <a:pt x="413" y="90"/>
                    </a:lnTo>
                    <a:lnTo>
                      <a:pt x="414" y="90"/>
                    </a:lnTo>
                    <a:lnTo>
                      <a:pt x="416" y="90"/>
                    </a:lnTo>
                    <a:lnTo>
                      <a:pt x="416" y="92"/>
                    </a:lnTo>
                    <a:lnTo>
                      <a:pt x="418" y="92"/>
                    </a:lnTo>
                    <a:lnTo>
                      <a:pt x="419" y="94"/>
                    </a:lnTo>
                    <a:lnTo>
                      <a:pt x="421" y="94"/>
                    </a:lnTo>
                    <a:lnTo>
                      <a:pt x="421" y="96"/>
                    </a:lnTo>
                    <a:lnTo>
                      <a:pt x="423" y="96"/>
                    </a:lnTo>
                    <a:lnTo>
                      <a:pt x="423" y="97"/>
                    </a:lnTo>
                    <a:lnTo>
                      <a:pt x="423" y="99"/>
                    </a:lnTo>
                    <a:lnTo>
                      <a:pt x="423" y="101"/>
                    </a:lnTo>
                    <a:lnTo>
                      <a:pt x="421" y="101"/>
                    </a:lnTo>
                    <a:lnTo>
                      <a:pt x="419" y="101"/>
                    </a:lnTo>
                    <a:lnTo>
                      <a:pt x="419" y="102"/>
                    </a:lnTo>
                    <a:lnTo>
                      <a:pt x="418" y="102"/>
                    </a:lnTo>
                    <a:lnTo>
                      <a:pt x="418" y="104"/>
                    </a:lnTo>
                    <a:lnTo>
                      <a:pt x="419" y="104"/>
                    </a:lnTo>
                    <a:lnTo>
                      <a:pt x="419" y="102"/>
                    </a:lnTo>
                    <a:lnTo>
                      <a:pt x="421" y="102"/>
                    </a:lnTo>
                    <a:lnTo>
                      <a:pt x="423" y="102"/>
                    </a:lnTo>
                    <a:lnTo>
                      <a:pt x="425" y="102"/>
                    </a:lnTo>
                    <a:lnTo>
                      <a:pt x="425" y="104"/>
                    </a:lnTo>
                    <a:lnTo>
                      <a:pt x="423" y="104"/>
                    </a:lnTo>
                    <a:lnTo>
                      <a:pt x="425" y="104"/>
                    </a:lnTo>
                    <a:lnTo>
                      <a:pt x="425" y="106"/>
                    </a:lnTo>
                    <a:lnTo>
                      <a:pt x="423" y="106"/>
                    </a:lnTo>
                    <a:lnTo>
                      <a:pt x="423" y="107"/>
                    </a:lnTo>
                    <a:lnTo>
                      <a:pt x="425" y="107"/>
                    </a:lnTo>
                    <a:lnTo>
                      <a:pt x="423" y="107"/>
                    </a:lnTo>
                    <a:lnTo>
                      <a:pt x="423" y="109"/>
                    </a:lnTo>
                    <a:lnTo>
                      <a:pt x="423" y="111"/>
                    </a:lnTo>
                    <a:lnTo>
                      <a:pt x="421" y="111"/>
                    </a:lnTo>
                    <a:lnTo>
                      <a:pt x="421" y="109"/>
                    </a:lnTo>
                    <a:lnTo>
                      <a:pt x="421" y="111"/>
                    </a:lnTo>
                    <a:lnTo>
                      <a:pt x="423" y="111"/>
                    </a:lnTo>
                    <a:lnTo>
                      <a:pt x="425" y="111"/>
                    </a:lnTo>
                    <a:lnTo>
                      <a:pt x="423" y="111"/>
                    </a:lnTo>
                    <a:lnTo>
                      <a:pt x="423" y="113"/>
                    </a:lnTo>
                    <a:lnTo>
                      <a:pt x="421" y="113"/>
                    </a:lnTo>
                    <a:lnTo>
                      <a:pt x="421" y="114"/>
                    </a:lnTo>
                    <a:lnTo>
                      <a:pt x="423" y="114"/>
                    </a:lnTo>
                    <a:lnTo>
                      <a:pt x="425" y="114"/>
                    </a:lnTo>
                    <a:lnTo>
                      <a:pt x="423" y="114"/>
                    </a:lnTo>
                    <a:lnTo>
                      <a:pt x="423" y="116"/>
                    </a:lnTo>
                    <a:lnTo>
                      <a:pt x="425" y="116"/>
                    </a:lnTo>
                    <a:lnTo>
                      <a:pt x="426" y="116"/>
                    </a:lnTo>
                    <a:lnTo>
                      <a:pt x="426" y="118"/>
                    </a:lnTo>
                    <a:lnTo>
                      <a:pt x="425" y="118"/>
                    </a:lnTo>
                    <a:lnTo>
                      <a:pt x="425" y="119"/>
                    </a:lnTo>
                    <a:lnTo>
                      <a:pt x="423" y="119"/>
                    </a:lnTo>
                    <a:lnTo>
                      <a:pt x="423" y="121"/>
                    </a:lnTo>
                    <a:lnTo>
                      <a:pt x="421" y="121"/>
                    </a:lnTo>
                    <a:lnTo>
                      <a:pt x="419" y="121"/>
                    </a:lnTo>
                    <a:lnTo>
                      <a:pt x="419" y="123"/>
                    </a:lnTo>
                    <a:lnTo>
                      <a:pt x="418" y="123"/>
                    </a:lnTo>
                    <a:lnTo>
                      <a:pt x="416" y="123"/>
                    </a:lnTo>
                    <a:lnTo>
                      <a:pt x="416" y="124"/>
                    </a:lnTo>
                    <a:lnTo>
                      <a:pt x="414" y="126"/>
                    </a:lnTo>
                    <a:lnTo>
                      <a:pt x="416" y="126"/>
                    </a:lnTo>
                    <a:lnTo>
                      <a:pt x="416" y="124"/>
                    </a:lnTo>
                    <a:lnTo>
                      <a:pt x="418" y="124"/>
                    </a:lnTo>
                    <a:lnTo>
                      <a:pt x="419" y="123"/>
                    </a:lnTo>
                    <a:lnTo>
                      <a:pt x="421" y="124"/>
                    </a:lnTo>
                    <a:lnTo>
                      <a:pt x="423" y="124"/>
                    </a:lnTo>
                    <a:lnTo>
                      <a:pt x="425" y="123"/>
                    </a:lnTo>
                    <a:lnTo>
                      <a:pt x="426" y="123"/>
                    </a:lnTo>
                    <a:lnTo>
                      <a:pt x="426" y="124"/>
                    </a:lnTo>
                    <a:lnTo>
                      <a:pt x="428" y="124"/>
                    </a:lnTo>
                    <a:lnTo>
                      <a:pt x="430" y="124"/>
                    </a:lnTo>
                    <a:lnTo>
                      <a:pt x="430" y="126"/>
                    </a:lnTo>
                    <a:lnTo>
                      <a:pt x="431" y="126"/>
                    </a:lnTo>
                    <a:lnTo>
                      <a:pt x="433" y="126"/>
                    </a:lnTo>
                    <a:lnTo>
                      <a:pt x="435" y="126"/>
                    </a:lnTo>
                    <a:lnTo>
                      <a:pt x="435" y="124"/>
                    </a:lnTo>
                    <a:lnTo>
                      <a:pt x="436" y="124"/>
                    </a:lnTo>
                    <a:lnTo>
                      <a:pt x="435" y="123"/>
                    </a:lnTo>
                    <a:lnTo>
                      <a:pt x="436" y="123"/>
                    </a:lnTo>
                    <a:lnTo>
                      <a:pt x="438" y="123"/>
                    </a:lnTo>
                    <a:lnTo>
                      <a:pt x="440" y="123"/>
                    </a:lnTo>
                    <a:lnTo>
                      <a:pt x="442" y="123"/>
                    </a:lnTo>
                    <a:lnTo>
                      <a:pt x="443" y="123"/>
                    </a:lnTo>
                    <a:lnTo>
                      <a:pt x="445" y="123"/>
                    </a:lnTo>
                    <a:lnTo>
                      <a:pt x="447" y="123"/>
                    </a:lnTo>
                    <a:lnTo>
                      <a:pt x="447" y="124"/>
                    </a:lnTo>
                    <a:lnTo>
                      <a:pt x="448" y="124"/>
                    </a:lnTo>
                    <a:lnTo>
                      <a:pt x="450" y="124"/>
                    </a:lnTo>
                    <a:lnTo>
                      <a:pt x="450" y="126"/>
                    </a:lnTo>
                    <a:close/>
                    <a:moveTo>
                      <a:pt x="321" y="38"/>
                    </a:moveTo>
                    <a:lnTo>
                      <a:pt x="321" y="39"/>
                    </a:lnTo>
                    <a:lnTo>
                      <a:pt x="321" y="41"/>
                    </a:lnTo>
                    <a:lnTo>
                      <a:pt x="323" y="41"/>
                    </a:lnTo>
                    <a:lnTo>
                      <a:pt x="321" y="41"/>
                    </a:lnTo>
                    <a:lnTo>
                      <a:pt x="321" y="43"/>
                    </a:lnTo>
                    <a:lnTo>
                      <a:pt x="319" y="43"/>
                    </a:lnTo>
                    <a:lnTo>
                      <a:pt x="319" y="44"/>
                    </a:lnTo>
                    <a:lnTo>
                      <a:pt x="317" y="44"/>
                    </a:lnTo>
                    <a:lnTo>
                      <a:pt x="316" y="43"/>
                    </a:lnTo>
                    <a:lnTo>
                      <a:pt x="317" y="44"/>
                    </a:lnTo>
                    <a:lnTo>
                      <a:pt x="316" y="44"/>
                    </a:lnTo>
                    <a:lnTo>
                      <a:pt x="317" y="44"/>
                    </a:lnTo>
                    <a:lnTo>
                      <a:pt x="316" y="44"/>
                    </a:lnTo>
                    <a:lnTo>
                      <a:pt x="314" y="44"/>
                    </a:lnTo>
                    <a:lnTo>
                      <a:pt x="314" y="46"/>
                    </a:lnTo>
                    <a:lnTo>
                      <a:pt x="312" y="46"/>
                    </a:lnTo>
                    <a:lnTo>
                      <a:pt x="312" y="44"/>
                    </a:lnTo>
                    <a:lnTo>
                      <a:pt x="311" y="44"/>
                    </a:lnTo>
                    <a:lnTo>
                      <a:pt x="311" y="43"/>
                    </a:lnTo>
                    <a:lnTo>
                      <a:pt x="311" y="44"/>
                    </a:lnTo>
                    <a:lnTo>
                      <a:pt x="311" y="43"/>
                    </a:lnTo>
                    <a:lnTo>
                      <a:pt x="309" y="43"/>
                    </a:lnTo>
                    <a:lnTo>
                      <a:pt x="309" y="41"/>
                    </a:lnTo>
                    <a:lnTo>
                      <a:pt x="311" y="41"/>
                    </a:lnTo>
                    <a:lnTo>
                      <a:pt x="311" y="43"/>
                    </a:lnTo>
                    <a:lnTo>
                      <a:pt x="311" y="41"/>
                    </a:lnTo>
                    <a:lnTo>
                      <a:pt x="311" y="43"/>
                    </a:lnTo>
                    <a:lnTo>
                      <a:pt x="312" y="41"/>
                    </a:lnTo>
                    <a:lnTo>
                      <a:pt x="314" y="43"/>
                    </a:lnTo>
                    <a:lnTo>
                      <a:pt x="314" y="41"/>
                    </a:lnTo>
                    <a:lnTo>
                      <a:pt x="312" y="41"/>
                    </a:lnTo>
                    <a:lnTo>
                      <a:pt x="311" y="41"/>
                    </a:lnTo>
                    <a:lnTo>
                      <a:pt x="309" y="41"/>
                    </a:lnTo>
                    <a:lnTo>
                      <a:pt x="309" y="43"/>
                    </a:lnTo>
                    <a:lnTo>
                      <a:pt x="307" y="43"/>
                    </a:lnTo>
                    <a:lnTo>
                      <a:pt x="306" y="43"/>
                    </a:lnTo>
                    <a:lnTo>
                      <a:pt x="304" y="43"/>
                    </a:lnTo>
                    <a:lnTo>
                      <a:pt x="302" y="43"/>
                    </a:lnTo>
                    <a:lnTo>
                      <a:pt x="300" y="43"/>
                    </a:lnTo>
                    <a:lnTo>
                      <a:pt x="300" y="41"/>
                    </a:lnTo>
                    <a:lnTo>
                      <a:pt x="302" y="41"/>
                    </a:lnTo>
                    <a:lnTo>
                      <a:pt x="302" y="39"/>
                    </a:lnTo>
                    <a:lnTo>
                      <a:pt x="304" y="39"/>
                    </a:lnTo>
                    <a:lnTo>
                      <a:pt x="306" y="39"/>
                    </a:lnTo>
                    <a:lnTo>
                      <a:pt x="307" y="38"/>
                    </a:lnTo>
                    <a:lnTo>
                      <a:pt x="309" y="38"/>
                    </a:lnTo>
                    <a:lnTo>
                      <a:pt x="309" y="39"/>
                    </a:lnTo>
                    <a:lnTo>
                      <a:pt x="307" y="39"/>
                    </a:lnTo>
                    <a:lnTo>
                      <a:pt x="309" y="39"/>
                    </a:lnTo>
                    <a:lnTo>
                      <a:pt x="309" y="41"/>
                    </a:lnTo>
                    <a:lnTo>
                      <a:pt x="311" y="41"/>
                    </a:lnTo>
                    <a:lnTo>
                      <a:pt x="312" y="41"/>
                    </a:lnTo>
                    <a:lnTo>
                      <a:pt x="314" y="41"/>
                    </a:lnTo>
                    <a:lnTo>
                      <a:pt x="314" y="39"/>
                    </a:lnTo>
                    <a:lnTo>
                      <a:pt x="316" y="39"/>
                    </a:lnTo>
                    <a:lnTo>
                      <a:pt x="316" y="38"/>
                    </a:lnTo>
                    <a:lnTo>
                      <a:pt x="317" y="38"/>
                    </a:lnTo>
                    <a:lnTo>
                      <a:pt x="317" y="36"/>
                    </a:lnTo>
                    <a:lnTo>
                      <a:pt x="319" y="36"/>
                    </a:lnTo>
                    <a:lnTo>
                      <a:pt x="319" y="34"/>
                    </a:lnTo>
                    <a:lnTo>
                      <a:pt x="319" y="36"/>
                    </a:lnTo>
                    <a:lnTo>
                      <a:pt x="321" y="36"/>
                    </a:lnTo>
                    <a:lnTo>
                      <a:pt x="321" y="38"/>
                    </a:lnTo>
                    <a:close/>
                    <a:moveTo>
                      <a:pt x="272" y="43"/>
                    </a:moveTo>
                    <a:lnTo>
                      <a:pt x="273" y="43"/>
                    </a:lnTo>
                    <a:lnTo>
                      <a:pt x="275" y="43"/>
                    </a:lnTo>
                    <a:lnTo>
                      <a:pt x="275" y="44"/>
                    </a:lnTo>
                    <a:lnTo>
                      <a:pt x="273" y="44"/>
                    </a:lnTo>
                    <a:lnTo>
                      <a:pt x="272" y="44"/>
                    </a:lnTo>
                    <a:lnTo>
                      <a:pt x="270" y="44"/>
                    </a:lnTo>
                    <a:lnTo>
                      <a:pt x="268" y="44"/>
                    </a:lnTo>
                    <a:lnTo>
                      <a:pt x="266" y="44"/>
                    </a:lnTo>
                    <a:lnTo>
                      <a:pt x="266" y="43"/>
                    </a:lnTo>
                    <a:lnTo>
                      <a:pt x="268" y="43"/>
                    </a:lnTo>
                    <a:lnTo>
                      <a:pt x="268" y="41"/>
                    </a:lnTo>
                    <a:lnTo>
                      <a:pt x="270" y="41"/>
                    </a:lnTo>
                    <a:lnTo>
                      <a:pt x="272" y="41"/>
                    </a:lnTo>
                    <a:lnTo>
                      <a:pt x="272" y="43"/>
                    </a:lnTo>
                    <a:close/>
                    <a:moveTo>
                      <a:pt x="294" y="10"/>
                    </a:moveTo>
                    <a:lnTo>
                      <a:pt x="295" y="10"/>
                    </a:lnTo>
                    <a:lnTo>
                      <a:pt x="295" y="14"/>
                    </a:lnTo>
                    <a:lnTo>
                      <a:pt x="294" y="14"/>
                    </a:lnTo>
                    <a:lnTo>
                      <a:pt x="294" y="10"/>
                    </a:lnTo>
                    <a:close/>
                    <a:moveTo>
                      <a:pt x="316" y="48"/>
                    </a:moveTo>
                    <a:lnTo>
                      <a:pt x="317" y="48"/>
                    </a:lnTo>
                    <a:lnTo>
                      <a:pt x="319" y="50"/>
                    </a:lnTo>
                    <a:lnTo>
                      <a:pt x="317" y="50"/>
                    </a:lnTo>
                    <a:lnTo>
                      <a:pt x="316" y="50"/>
                    </a:lnTo>
                    <a:lnTo>
                      <a:pt x="317" y="50"/>
                    </a:lnTo>
                    <a:lnTo>
                      <a:pt x="316" y="50"/>
                    </a:lnTo>
                    <a:lnTo>
                      <a:pt x="314" y="48"/>
                    </a:lnTo>
                    <a:lnTo>
                      <a:pt x="316" y="48"/>
                    </a:lnTo>
                    <a:close/>
                    <a:moveTo>
                      <a:pt x="244" y="14"/>
                    </a:moveTo>
                    <a:lnTo>
                      <a:pt x="243" y="14"/>
                    </a:lnTo>
                    <a:lnTo>
                      <a:pt x="241" y="14"/>
                    </a:lnTo>
                    <a:lnTo>
                      <a:pt x="241" y="12"/>
                    </a:lnTo>
                    <a:lnTo>
                      <a:pt x="243" y="12"/>
                    </a:lnTo>
                    <a:lnTo>
                      <a:pt x="244" y="14"/>
                    </a:lnTo>
                    <a:close/>
                    <a:moveTo>
                      <a:pt x="307" y="46"/>
                    </a:moveTo>
                    <a:lnTo>
                      <a:pt x="311" y="46"/>
                    </a:lnTo>
                    <a:lnTo>
                      <a:pt x="311" y="48"/>
                    </a:lnTo>
                    <a:lnTo>
                      <a:pt x="307" y="48"/>
                    </a:lnTo>
                    <a:lnTo>
                      <a:pt x="307" y="46"/>
                    </a:lnTo>
                    <a:close/>
                    <a:moveTo>
                      <a:pt x="227" y="14"/>
                    </a:moveTo>
                    <a:lnTo>
                      <a:pt x="227" y="16"/>
                    </a:lnTo>
                    <a:lnTo>
                      <a:pt x="226" y="16"/>
                    </a:lnTo>
                    <a:lnTo>
                      <a:pt x="224" y="16"/>
                    </a:lnTo>
                    <a:lnTo>
                      <a:pt x="224" y="14"/>
                    </a:lnTo>
                    <a:lnTo>
                      <a:pt x="224" y="16"/>
                    </a:lnTo>
                    <a:lnTo>
                      <a:pt x="226" y="16"/>
                    </a:lnTo>
                    <a:lnTo>
                      <a:pt x="226" y="14"/>
                    </a:lnTo>
                    <a:lnTo>
                      <a:pt x="227" y="14"/>
                    </a:lnTo>
                    <a:lnTo>
                      <a:pt x="226" y="12"/>
                    </a:lnTo>
                    <a:lnTo>
                      <a:pt x="227" y="14"/>
                    </a:lnTo>
                    <a:close/>
                    <a:moveTo>
                      <a:pt x="59" y="41"/>
                    </a:moveTo>
                    <a:lnTo>
                      <a:pt x="61" y="41"/>
                    </a:lnTo>
                    <a:lnTo>
                      <a:pt x="61" y="43"/>
                    </a:lnTo>
                    <a:lnTo>
                      <a:pt x="59" y="43"/>
                    </a:lnTo>
                    <a:lnTo>
                      <a:pt x="59" y="41"/>
                    </a:lnTo>
                    <a:close/>
                    <a:moveTo>
                      <a:pt x="292" y="65"/>
                    </a:moveTo>
                    <a:lnTo>
                      <a:pt x="294" y="65"/>
                    </a:lnTo>
                    <a:lnTo>
                      <a:pt x="294" y="67"/>
                    </a:lnTo>
                    <a:lnTo>
                      <a:pt x="292" y="67"/>
                    </a:lnTo>
                    <a:lnTo>
                      <a:pt x="292" y="65"/>
                    </a:lnTo>
                    <a:close/>
                    <a:moveTo>
                      <a:pt x="289" y="65"/>
                    </a:moveTo>
                    <a:lnTo>
                      <a:pt x="290" y="65"/>
                    </a:lnTo>
                    <a:lnTo>
                      <a:pt x="290" y="67"/>
                    </a:lnTo>
                    <a:lnTo>
                      <a:pt x="289" y="67"/>
                    </a:lnTo>
                    <a:lnTo>
                      <a:pt x="289" y="65"/>
                    </a:lnTo>
                    <a:close/>
                    <a:moveTo>
                      <a:pt x="57" y="41"/>
                    </a:moveTo>
                    <a:lnTo>
                      <a:pt x="57" y="43"/>
                    </a:lnTo>
                    <a:lnTo>
                      <a:pt x="57" y="41"/>
                    </a:lnTo>
                    <a:close/>
                    <a:moveTo>
                      <a:pt x="56" y="43"/>
                    </a:moveTo>
                    <a:lnTo>
                      <a:pt x="57" y="43"/>
                    </a:lnTo>
                    <a:lnTo>
                      <a:pt x="56" y="43"/>
                    </a:lnTo>
                    <a:close/>
                    <a:moveTo>
                      <a:pt x="300" y="61"/>
                    </a:moveTo>
                    <a:lnTo>
                      <a:pt x="300" y="63"/>
                    </a:lnTo>
                    <a:lnTo>
                      <a:pt x="300" y="61"/>
                    </a:lnTo>
                    <a:close/>
                    <a:moveTo>
                      <a:pt x="345" y="27"/>
                    </a:moveTo>
                    <a:lnTo>
                      <a:pt x="345" y="29"/>
                    </a:lnTo>
                    <a:lnTo>
                      <a:pt x="345" y="27"/>
                    </a:lnTo>
                    <a:close/>
                    <a:moveTo>
                      <a:pt x="221" y="10"/>
                    </a:moveTo>
                    <a:lnTo>
                      <a:pt x="221" y="12"/>
                    </a:lnTo>
                    <a:lnTo>
                      <a:pt x="222" y="12"/>
                    </a:lnTo>
                    <a:lnTo>
                      <a:pt x="224" y="10"/>
                    </a:lnTo>
                    <a:lnTo>
                      <a:pt x="224" y="12"/>
                    </a:lnTo>
                    <a:lnTo>
                      <a:pt x="222" y="12"/>
                    </a:lnTo>
                    <a:lnTo>
                      <a:pt x="221" y="12"/>
                    </a:lnTo>
                    <a:lnTo>
                      <a:pt x="221" y="10"/>
                    </a:lnTo>
                    <a:lnTo>
                      <a:pt x="219" y="10"/>
                    </a:lnTo>
                    <a:lnTo>
                      <a:pt x="221" y="10"/>
                    </a:lnTo>
                    <a:close/>
                    <a:moveTo>
                      <a:pt x="299" y="63"/>
                    </a:moveTo>
                    <a:lnTo>
                      <a:pt x="300" y="63"/>
                    </a:lnTo>
                    <a:lnTo>
                      <a:pt x="299" y="63"/>
                    </a:lnTo>
                    <a:close/>
                    <a:moveTo>
                      <a:pt x="170" y="46"/>
                    </a:moveTo>
                    <a:lnTo>
                      <a:pt x="170" y="48"/>
                    </a:lnTo>
                    <a:lnTo>
                      <a:pt x="170" y="46"/>
                    </a:lnTo>
                    <a:close/>
                    <a:moveTo>
                      <a:pt x="243" y="10"/>
                    </a:moveTo>
                    <a:lnTo>
                      <a:pt x="244" y="10"/>
                    </a:lnTo>
                    <a:lnTo>
                      <a:pt x="244" y="12"/>
                    </a:lnTo>
                    <a:lnTo>
                      <a:pt x="243" y="12"/>
                    </a:lnTo>
                    <a:lnTo>
                      <a:pt x="243" y="10"/>
                    </a:lnTo>
                    <a:close/>
                    <a:moveTo>
                      <a:pt x="282" y="70"/>
                    </a:moveTo>
                    <a:lnTo>
                      <a:pt x="283" y="70"/>
                    </a:lnTo>
                    <a:lnTo>
                      <a:pt x="282" y="70"/>
                    </a:lnTo>
                    <a:close/>
                    <a:moveTo>
                      <a:pt x="227" y="12"/>
                    </a:moveTo>
                    <a:lnTo>
                      <a:pt x="227" y="14"/>
                    </a:lnTo>
                    <a:lnTo>
                      <a:pt x="227" y="12"/>
                    </a:lnTo>
                    <a:close/>
                    <a:moveTo>
                      <a:pt x="224" y="9"/>
                    </a:moveTo>
                    <a:lnTo>
                      <a:pt x="226" y="9"/>
                    </a:lnTo>
                    <a:lnTo>
                      <a:pt x="224" y="9"/>
                    </a:lnTo>
                    <a:close/>
                    <a:moveTo>
                      <a:pt x="300" y="63"/>
                    </a:moveTo>
                    <a:lnTo>
                      <a:pt x="302" y="63"/>
                    </a:lnTo>
                    <a:lnTo>
                      <a:pt x="300" y="63"/>
                    </a:lnTo>
                    <a:close/>
                    <a:moveTo>
                      <a:pt x="226" y="10"/>
                    </a:moveTo>
                    <a:lnTo>
                      <a:pt x="227" y="10"/>
                    </a:lnTo>
                    <a:lnTo>
                      <a:pt x="227" y="12"/>
                    </a:lnTo>
                    <a:lnTo>
                      <a:pt x="226" y="12"/>
                    </a:lnTo>
                    <a:lnTo>
                      <a:pt x="226" y="10"/>
                    </a:lnTo>
                    <a:close/>
                    <a:moveTo>
                      <a:pt x="59" y="43"/>
                    </a:moveTo>
                    <a:lnTo>
                      <a:pt x="59" y="44"/>
                    </a:lnTo>
                    <a:lnTo>
                      <a:pt x="59" y="43"/>
                    </a:lnTo>
                    <a:close/>
                    <a:moveTo>
                      <a:pt x="170" y="46"/>
                    </a:moveTo>
                    <a:lnTo>
                      <a:pt x="171" y="46"/>
                    </a:lnTo>
                    <a:lnTo>
                      <a:pt x="171" y="48"/>
                    </a:lnTo>
                    <a:lnTo>
                      <a:pt x="170" y="48"/>
                    </a:lnTo>
                    <a:lnTo>
                      <a:pt x="170" y="46"/>
                    </a:lnTo>
                    <a:close/>
                    <a:moveTo>
                      <a:pt x="222" y="14"/>
                    </a:moveTo>
                    <a:lnTo>
                      <a:pt x="222" y="16"/>
                    </a:lnTo>
                    <a:lnTo>
                      <a:pt x="221" y="16"/>
                    </a:lnTo>
                    <a:lnTo>
                      <a:pt x="219" y="16"/>
                    </a:lnTo>
                    <a:lnTo>
                      <a:pt x="221" y="16"/>
                    </a:lnTo>
                    <a:lnTo>
                      <a:pt x="222" y="16"/>
                    </a:lnTo>
                    <a:lnTo>
                      <a:pt x="222" y="14"/>
                    </a:lnTo>
                    <a:close/>
                    <a:moveTo>
                      <a:pt x="295" y="67"/>
                    </a:moveTo>
                    <a:lnTo>
                      <a:pt x="297" y="67"/>
                    </a:lnTo>
                    <a:lnTo>
                      <a:pt x="295" y="67"/>
                    </a:lnTo>
                    <a:close/>
                    <a:moveTo>
                      <a:pt x="171" y="46"/>
                    </a:moveTo>
                    <a:lnTo>
                      <a:pt x="171" y="48"/>
                    </a:lnTo>
                    <a:lnTo>
                      <a:pt x="171" y="46"/>
                    </a:lnTo>
                    <a:close/>
                    <a:moveTo>
                      <a:pt x="61" y="43"/>
                    </a:moveTo>
                    <a:lnTo>
                      <a:pt x="62" y="43"/>
                    </a:lnTo>
                    <a:lnTo>
                      <a:pt x="61" y="43"/>
                    </a:lnTo>
                    <a:close/>
                    <a:moveTo>
                      <a:pt x="190" y="7"/>
                    </a:moveTo>
                    <a:lnTo>
                      <a:pt x="192" y="7"/>
                    </a:lnTo>
                    <a:lnTo>
                      <a:pt x="190" y="7"/>
                    </a:lnTo>
                    <a:close/>
                    <a:moveTo>
                      <a:pt x="294" y="65"/>
                    </a:moveTo>
                    <a:lnTo>
                      <a:pt x="295" y="65"/>
                    </a:lnTo>
                    <a:lnTo>
                      <a:pt x="294" y="65"/>
                    </a:lnTo>
                    <a:close/>
                    <a:moveTo>
                      <a:pt x="297" y="63"/>
                    </a:moveTo>
                    <a:lnTo>
                      <a:pt x="299" y="63"/>
                    </a:lnTo>
                    <a:lnTo>
                      <a:pt x="297" y="63"/>
                    </a:lnTo>
                    <a:close/>
                    <a:moveTo>
                      <a:pt x="224" y="10"/>
                    </a:moveTo>
                    <a:lnTo>
                      <a:pt x="224" y="12"/>
                    </a:lnTo>
                    <a:lnTo>
                      <a:pt x="224" y="10"/>
                    </a:lnTo>
                    <a:close/>
                    <a:moveTo>
                      <a:pt x="345" y="27"/>
                    </a:moveTo>
                    <a:lnTo>
                      <a:pt x="346" y="27"/>
                    </a:lnTo>
                    <a:lnTo>
                      <a:pt x="345" y="27"/>
                    </a:lnTo>
                    <a:close/>
                    <a:moveTo>
                      <a:pt x="170" y="46"/>
                    </a:moveTo>
                    <a:lnTo>
                      <a:pt x="170" y="48"/>
                    </a:lnTo>
                    <a:lnTo>
                      <a:pt x="170" y="46"/>
                    </a:lnTo>
                    <a:close/>
                    <a:moveTo>
                      <a:pt x="198" y="9"/>
                    </a:moveTo>
                    <a:lnTo>
                      <a:pt x="200" y="9"/>
                    </a:lnTo>
                    <a:lnTo>
                      <a:pt x="198" y="9"/>
                    </a:lnTo>
                    <a:close/>
                    <a:moveTo>
                      <a:pt x="170" y="46"/>
                    </a:moveTo>
                    <a:lnTo>
                      <a:pt x="171" y="46"/>
                    </a:lnTo>
                    <a:lnTo>
                      <a:pt x="170" y="46"/>
                    </a:lnTo>
                    <a:close/>
                    <a:moveTo>
                      <a:pt x="171" y="46"/>
                    </a:moveTo>
                    <a:lnTo>
                      <a:pt x="173" y="46"/>
                    </a:lnTo>
                    <a:lnTo>
                      <a:pt x="171" y="46"/>
                    </a:lnTo>
                    <a:close/>
                    <a:moveTo>
                      <a:pt x="226" y="7"/>
                    </a:moveTo>
                    <a:lnTo>
                      <a:pt x="226" y="9"/>
                    </a:lnTo>
                    <a:lnTo>
                      <a:pt x="226" y="7"/>
                    </a:lnTo>
                    <a:close/>
                    <a:moveTo>
                      <a:pt x="217" y="10"/>
                    </a:moveTo>
                    <a:lnTo>
                      <a:pt x="219" y="10"/>
                    </a:lnTo>
                    <a:lnTo>
                      <a:pt x="217" y="10"/>
                    </a:lnTo>
                    <a:close/>
                    <a:moveTo>
                      <a:pt x="272" y="44"/>
                    </a:moveTo>
                    <a:lnTo>
                      <a:pt x="273" y="44"/>
                    </a:lnTo>
                    <a:lnTo>
                      <a:pt x="272" y="4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 name="Oval 7">
                <a:extLst>
                  <a:ext uri="{FF2B5EF4-FFF2-40B4-BE49-F238E27FC236}">
                    <a16:creationId xmlns:a16="http://schemas.microsoft.com/office/drawing/2014/main" id="{8F930C40-5995-C619-16DF-F8884C1A0BD1}"/>
                  </a:ext>
                </a:extLst>
              </p:cNvPr>
              <p:cNvSpPr/>
              <p:nvPr/>
            </p:nvSpPr>
            <p:spPr>
              <a:xfrm>
                <a:off x="3957324" y="2842086"/>
                <a:ext cx="1229355" cy="620442"/>
              </a:xfrm>
              <a:prstGeom prst="ellipse">
                <a:avLst/>
              </a:prstGeom>
              <a:solidFill>
                <a:srgbClr val="F7F7F7"/>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2" name="Freeform 35">
                <a:extLst>
                  <a:ext uri="{FF2B5EF4-FFF2-40B4-BE49-F238E27FC236}">
                    <a16:creationId xmlns:a16="http://schemas.microsoft.com/office/drawing/2014/main" id="{88ACE8AD-18DB-CDC2-B291-C05582300F28}"/>
                  </a:ext>
                </a:extLst>
              </p:cNvPr>
              <p:cNvSpPr>
                <a:spLocks noEditPoints="1"/>
              </p:cNvSpPr>
              <p:nvPr/>
            </p:nvSpPr>
            <p:spPr bwMode="auto">
              <a:xfrm>
                <a:off x="4396552" y="2867541"/>
                <a:ext cx="326868" cy="559058"/>
              </a:xfrm>
              <a:custGeom>
                <a:avLst/>
                <a:gdLst>
                  <a:gd name="T0" fmla="*/ 140 w 145"/>
                  <a:gd name="T1" fmla="*/ 112 h 248"/>
                  <a:gd name="T2" fmla="*/ 138 w 145"/>
                  <a:gd name="T3" fmla="*/ 117 h 248"/>
                  <a:gd name="T4" fmla="*/ 128 w 145"/>
                  <a:gd name="T5" fmla="*/ 119 h 248"/>
                  <a:gd name="T6" fmla="*/ 118 w 145"/>
                  <a:gd name="T7" fmla="*/ 128 h 248"/>
                  <a:gd name="T8" fmla="*/ 116 w 145"/>
                  <a:gd name="T9" fmla="*/ 140 h 248"/>
                  <a:gd name="T10" fmla="*/ 114 w 145"/>
                  <a:gd name="T11" fmla="*/ 153 h 248"/>
                  <a:gd name="T12" fmla="*/ 123 w 145"/>
                  <a:gd name="T13" fmla="*/ 165 h 248"/>
                  <a:gd name="T14" fmla="*/ 128 w 145"/>
                  <a:gd name="T15" fmla="*/ 177 h 248"/>
                  <a:gd name="T16" fmla="*/ 133 w 145"/>
                  <a:gd name="T17" fmla="*/ 192 h 248"/>
                  <a:gd name="T18" fmla="*/ 128 w 145"/>
                  <a:gd name="T19" fmla="*/ 199 h 248"/>
                  <a:gd name="T20" fmla="*/ 119 w 145"/>
                  <a:gd name="T21" fmla="*/ 206 h 248"/>
                  <a:gd name="T22" fmla="*/ 118 w 145"/>
                  <a:gd name="T23" fmla="*/ 214 h 248"/>
                  <a:gd name="T24" fmla="*/ 118 w 145"/>
                  <a:gd name="T25" fmla="*/ 226 h 248"/>
                  <a:gd name="T26" fmla="*/ 106 w 145"/>
                  <a:gd name="T27" fmla="*/ 231 h 248"/>
                  <a:gd name="T28" fmla="*/ 99 w 145"/>
                  <a:gd name="T29" fmla="*/ 240 h 248"/>
                  <a:gd name="T30" fmla="*/ 94 w 145"/>
                  <a:gd name="T31" fmla="*/ 245 h 248"/>
                  <a:gd name="T32" fmla="*/ 84 w 145"/>
                  <a:gd name="T33" fmla="*/ 245 h 248"/>
                  <a:gd name="T34" fmla="*/ 70 w 145"/>
                  <a:gd name="T35" fmla="*/ 238 h 248"/>
                  <a:gd name="T36" fmla="*/ 62 w 145"/>
                  <a:gd name="T37" fmla="*/ 231 h 248"/>
                  <a:gd name="T38" fmla="*/ 57 w 145"/>
                  <a:gd name="T39" fmla="*/ 220 h 248"/>
                  <a:gd name="T40" fmla="*/ 51 w 145"/>
                  <a:gd name="T41" fmla="*/ 208 h 248"/>
                  <a:gd name="T42" fmla="*/ 48 w 145"/>
                  <a:gd name="T43" fmla="*/ 192 h 248"/>
                  <a:gd name="T44" fmla="*/ 51 w 145"/>
                  <a:gd name="T45" fmla="*/ 180 h 248"/>
                  <a:gd name="T46" fmla="*/ 53 w 145"/>
                  <a:gd name="T47" fmla="*/ 172 h 248"/>
                  <a:gd name="T48" fmla="*/ 58 w 145"/>
                  <a:gd name="T49" fmla="*/ 162 h 248"/>
                  <a:gd name="T50" fmla="*/ 60 w 145"/>
                  <a:gd name="T51" fmla="*/ 152 h 248"/>
                  <a:gd name="T52" fmla="*/ 57 w 145"/>
                  <a:gd name="T53" fmla="*/ 141 h 248"/>
                  <a:gd name="T54" fmla="*/ 46 w 145"/>
                  <a:gd name="T55" fmla="*/ 138 h 248"/>
                  <a:gd name="T56" fmla="*/ 46 w 145"/>
                  <a:gd name="T57" fmla="*/ 128 h 248"/>
                  <a:gd name="T58" fmla="*/ 43 w 145"/>
                  <a:gd name="T59" fmla="*/ 112 h 248"/>
                  <a:gd name="T60" fmla="*/ 31 w 145"/>
                  <a:gd name="T61" fmla="*/ 112 h 248"/>
                  <a:gd name="T62" fmla="*/ 0 w 145"/>
                  <a:gd name="T63" fmla="*/ 89 h 248"/>
                  <a:gd name="T64" fmla="*/ 9 w 145"/>
                  <a:gd name="T65" fmla="*/ 77 h 248"/>
                  <a:gd name="T66" fmla="*/ 7 w 145"/>
                  <a:gd name="T67" fmla="*/ 66 h 248"/>
                  <a:gd name="T68" fmla="*/ 16 w 145"/>
                  <a:gd name="T69" fmla="*/ 61 h 248"/>
                  <a:gd name="T70" fmla="*/ 24 w 145"/>
                  <a:gd name="T71" fmla="*/ 58 h 248"/>
                  <a:gd name="T72" fmla="*/ 36 w 145"/>
                  <a:gd name="T73" fmla="*/ 51 h 248"/>
                  <a:gd name="T74" fmla="*/ 29 w 145"/>
                  <a:gd name="T75" fmla="*/ 46 h 248"/>
                  <a:gd name="T76" fmla="*/ 26 w 145"/>
                  <a:gd name="T77" fmla="*/ 32 h 248"/>
                  <a:gd name="T78" fmla="*/ 38 w 145"/>
                  <a:gd name="T79" fmla="*/ 22 h 248"/>
                  <a:gd name="T80" fmla="*/ 50 w 145"/>
                  <a:gd name="T81" fmla="*/ 10 h 248"/>
                  <a:gd name="T82" fmla="*/ 53 w 145"/>
                  <a:gd name="T83" fmla="*/ 5 h 248"/>
                  <a:gd name="T84" fmla="*/ 63 w 145"/>
                  <a:gd name="T85" fmla="*/ 9 h 248"/>
                  <a:gd name="T86" fmla="*/ 79 w 145"/>
                  <a:gd name="T87" fmla="*/ 17 h 248"/>
                  <a:gd name="T88" fmla="*/ 91 w 145"/>
                  <a:gd name="T89" fmla="*/ 32 h 248"/>
                  <a:gd name="T90" fmla="*/ 99 w 145"/>
                  <a:gd name="T91" fmla="*/ 44 h 248"/>
                  <a:gd name="T92" fmla="*/ 96 w 145"/>
                  <a:gd name="T93" fmla="*/ 61 h 248"/>
                  <a:gd name="T94" fmla="*/ 94 w 145"/>
                  <a:gd name="T95" fmla="*/ 73 h 248"/>
                  <a:gd name="T96" fmla="*/ 97 w 145"/>
                  <a:gd name="T97" fmla="*/ 61 h 248"/>
                  <a:gd name="T98" fmla="*/ 111 w 145"/>
                  <a:gd name="T99" fmla="*/ 58 h 248"/>
                  <a:gd name="T100" fmla="*/ 125 w 145"/>
                  <a:gd name="T101" fmla="*/ 66 h 248"/>
                  <a:gd name="T102" fmla="*/ 135 w 145"/>
                  <a:gd name="T103" fmla="*/ 75 h 248"/>
                  <a:gd name="T104" fmla="*/ 145 w 145"/>
                  <a:gd name="T105" fmla="*/ 87 h 248"/>
                  <a:gd name="T106" fmla="*/ 99 w 145"/>
                  <a:gd name="T107" fmla="*/ 56 h 248"/>
                  <a:gd name="T108" fmla="*/ 102 w 145"/>
                  <a:gd name="T109" fmla="*/ 53 h 248"/>
                  <a:gd name="T110" fmla="*/ 101 w 145"/>
                  <a:gd name="T111" fmla="*/ 53 h 248"/>
                  <a:gd name="T112" fmla="*/ 99 w 145"/>
                  <a:gd name="T113" fmla="*/ 49 h 248"/>
                  <a:gd name="T114" fmla="*/ 97 w 145"/>
                  <a:gd name="T115" fmla="*/ 53 h 248"/>
                  <a:gd name="T116" fmla="*/ 97 w 145"/>
                  <a:gd name="T117" fmla="*/ 60 h 248"/>
                  <a:gd name="T118" fmla="*/ 94 w 145"/>
                  <a:gd name="T119" fmla="*/ 6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5" h="248">
                    <a:moveTo>
                      <a:pt x="143" y="97"/>
                    </a:moveTo>
                    <a:lnTo>
                      <a:pt x="143" y="99"/>
                    </a:lnTo>
                    <a:lnTo>
                      <a:pt x="142" y="100"/>
                    </a:lnTo>
                    <a:lnTo>
                      <a:pt x="142" y="102"/>
                    </a:lnTo>
                    <a:lnTo>
                      <a:pt x="140" y="104"/>
                    </a:lnTo>
                    <a:lnTo>
                      <a:pt x="140" y="106"/>
                    </a:lnTo>
                    <a:lnTo>
                      <a:pt x="140" y="107"/>
                    </a:lnTo>
                    <a:lnTo>
                      <a:pt x="138" y="107"/>
                    </a:lnTo>
                    <a:lnTo>
                      <a:pt x="138" y="109"/>
                    </a:lnTo>
                    <a:lnTo>
                      <a:pt x="140" y="109"/>
                    </a:lnTo>
                    <a:lnTo>
                      <a:pt x="140" y="111"/>
                    </a:lnTo>
                    <a:lnTo>
                      <a:pt x="140" y="112"/>
                    </a:lnTo>
                    <a:lnTo>
                      <a:pt x="140" y="111"/>
                    </a:lnTo>
                    <a:lnTo>
                      <a:pt x="142" y="111"/>
                    </a:lnTo>
                    <a:lnTo>
                      <a:pt x="142" y="112"/>
                    </a:lnTo>
                    <a:lnTo>
                      <a:pt x="143" y="112"/>
                    </a:lnTo>
                    <a:lnTo>
                      <a:pt x="143" y="114"/>
                    </a:lnTo>
                    <a:lnTo>
                      <a:pt x="142" y="114"/>
                    </a:lnTo>
                    <a:lnTo>
                      <a:pt x="142" y="116"/>
                    </a:lnTo>
                    <a:lnTo>
                      <a:pt x="142" y="114"/>
                    </a:lnTo>
                    <a:lnTo>
                      <a:pt x="140" y="114"/>
                    </a:lnTo>
                    <a:lnTo>
                      <a:pt x="138" y="114"/>
                    </a:lnTo>
                    <a:lnTo>
                      <a:pt x="138" y="116"/>
                    </a:lnTo>
                    <a:lnTo>
                      <a:pt x="138" y="117"/>
                    </a:lnTo>
                    <a:lnTo>
                      <a:pt x="140" y="117"/>
                    </a:lnTo>
                    <a:lnTo>
                      <a:pt x="140" y="119"/>
                    </a:lnTo>
                    <a:lnTo>
                      <a:pt x="138" y="119"/>
                    </a:lnTo>
                    <a:lnTo>
                      <a:pt x="136" y="119"/>
                    </a:lnTo>
                    <a:lnTo>
                      <a:pt x="135" y="119"/>
                    </a:lnTo>
                    <a:lnTo>
                      <a:pt x="135" y="121"/>
                    </a:lnTo>
                    <a:lnTo>
                      <a:pt x="135" y="119"/>
                    </a:lnTo>
                    <a:lnTo>
                      <a:pt x="133" y="119"/>
                    </a:lnTo>
                    <a:lnTo>
                      <a:pt x="133" y="121"/>
                    </a:lnTo>
                    <a:lnTo>
                      <a:pt x="131" y="119"/>
                    </a:lnTo>
                    <a:lnTo>
                      <a:pt x="130" y="119"/>
                    </a:lnTo>
                    <a:lnTo>
                      <a:pt x="128" y="119"/>
                    </a:lnTo>
                    <a:lnTo>
                      <a:pt x="128" y="121"/>
                    </a:lnTo>
                    <a:lnTo>
                      <a:pt x="126" y="119"/>
                    </a:lnTo>
                    <a:lnTo>
                      <a:pt x="125" y="119"/>
                    </a:lnTo>
                    <a:lnTo>
                      <a:pt x="125" y="121"/>
                    </a:lnTo>
                    <a:lnTo>
                      <a:pt x="123" y="121"/>
                    </a:lnTo>
                    <a:lnTo>
                      <a:pt x="123" y="123"/>
                    </a:lnTo>
                    <a:lnTo>
                      <a:pt x="121" y="123"/>
                    </a:lnTo>
                    <a:lnTo>
                      <a:pt x="119" y="123"/>
                    </a:lnTo>
                    <a:lnTo>
                      <a:pt x="119" y="124"/>
                    </a:lnTo>
                    <a:lnTo>
                      <a:pt x="118" y="124"/>
                    </a:lnTo>
                    <a:lnTo>
                      <a:pt x="118" y="126"/>
                    </a:lnTo>
                    <a:lnTo>
                      <a:pt x="118" y="128"/>
                    </a:lnTo>
                    <a:lnTo>
                      <a:pt x="119" y="128"/>
                    </a:lnTo>
                    <a:lnTo>
                      <a:pt x="119" y="129"/>
                    </a:lnTo>
                    <a:lnTo>
                      <a:pt x="121" y="129"/>
                    </a:lnTo>
                    <a:lnTo>
                      <a:pt x="121" y="131"/>
                    </a:lnTo>
                    <a:lnTo>
                      <a:pt x="121" y="133"/>
                    </a:lnTo>
                    <a:lnTo>
                      <a:pt x="119" y="133"/>
                    </a:lnTo>
                    <a:lnTo>
                      <a:pt x="119" y="135"/>
                    </a:lnTo>
                    <a:lnTo>
                      <a:pt x="119" y="136"/>
                    </a:lnTo>
                    <a:lnTo>
                      <a:pt x="118" y="136"/>
                    </a:lnTo>
                    <a:lnTo>
                      <a:pt x="118" y="138"/>
                    </a:lnTo>
                    <a:lnTo>
                      <a:pt x="118" y="140"/>
                    </a:lnTo>
                    <a:lnTo>
                      <a:pt x="116" y="140"/>
                    </a:lnTo>
                    <a:lnTo>
                      <a:pt x="116" y="141"/>
                    </a:lnTo>
                    <a:lnTo>
                      <a:pt x="118" y="141"/>
                    </a:lnTo>
                    <a:lnTo>
                      <a:pt x="118" y="143"/>
                    </a:lnTo>
                    <a:lnTo>
                      <a:pt x="116" y="143"/>
                    </a:lnTo>
                    <a:lnTo>
                      <a:pt x="116" y="145"/>
                    </a:lnTo>
                    <a:lnTo>
                      <a:pt x="114" y="145"/>
                    </a:lnTo>
                    <a:lnTo>
                      <a:pt x="114" y="146"/>
                    </a:lnTo>
                    <a:lnTo>
                      <a:pt x="114" y="148"/>
                    </a:lnTo>
                    <a:lnTo>
                      <a:pt x="113" y="148"/>
                    </a:lnTo>
                    <a:lnTo>
                      <a:pt x="114" y="150"/>
                    </a:lnTo>
                    <a:lnTo>
                      <a:pt x="114" y="152"/>
                    </a:lnTo>
                    <a:lnTo>
                      <a:pt x="114" y="153"/>
                    </a:lnTo>
                    <a:lnTo>
                      <a:pt x="114" y="155"/>
                    </a:lnTo>
                    <a:lnTo>
                      <a:pt x="116" y="155"/>
                    </a:lnTo>
                    <a:lnTo>
                      <a:pt x="116" y="157"/>
                    </a:lnTo>
                    <a:lnTo>
                      <a:pt x="118" y="157"/>
                    </a:lnTo>
                    <a:lnTo>
                      <a:pt x="118" y="158"/>
                    </a:lnTo>
                    <a:lnTo>
                      <a:pt x="119" y="158"/>
                    </a:lnTo>
                    <a:lnTo>
                      <a:pt x="119" y="160"/>
                    </a:lnTo>
                    <a:lnTo>
                      <a:pt x="119" y="162"/>
                    </a:lnTo>
                    <a:lnTo>
                      <a:pt x="121" y="162"/>
                    </a:lnTo>
                    <a:lnTo>
                      <a:pt x="121" y="163"/>
                    </a:lnTo>
                    <a:lnTo>
                      <a:pt x="121" y="165"/>
                    </a:lnTo>
                    <a:lnTo>
                      <a:pt x="123" y="165"/>
                    </a:lnTo>
                    <a:lnTo>
                      <a:pt x="123" y="167"/>
                    </a:lnTo>
                    <a:lnTo>
                      <a:pt x="125" y="167"/>
                    </a:lnTo>
                    <a:lnTo>
                      <a:pt x="125" y="169"/>
                    </a:lnTo>
                    <a:lnTo>
                      <a:pt x="126" y="169"/>
                    </a:lnTo>
                    <a:lnTo>
                      <a:pt x="128" y="169"/>
                    </a:lnTo>
                    <a:lnTo>
                      <a:pt x="128" y="170"/>
                    </a:lnTo>
                    <a:lnTo>
                      <a:pt x="126" y="170"/>
                    </a:lnTo>
                    <a:lnTo>
                      <a:pt x="126" y="172"/>
                    </a:lnTo>
                    <a:lnTo>
                      <a:pt x="126" y="174"/>
                    </a:lnTo>
                    <a:lnTo>
                      <a:pt x="126" y="175"/>
                    </a:lnTo>
                    <a:lnTo>
                      <a:pt x="128" y="175"/>
                    </a:lnTo>
                    <a:lnTo>
                      <a:pt x="128" y="177"/>
                    </a:lnTo>
                    <a:lnTo>
                      <a:pt x="130" y="177"/>
                    </a:lnTo>
                    <a:lnTo>
                      <a:pt x="128" y="179"/>
                    </a:lnTo>
                    <a:lnTo>
                      <a:pt x="128" y="180"/>
                    </a:lnTo>
                    <a:lnTo>
                      <a:pt x="128" y="182"/>
                    </a:lnTo>
                    <a:lnTo>
                      <a:pt x="128" y="184"/>
                    </a:lnTo>
                    <a:lnTo>
                      <a:pt x="130" y="184"/>
                    </a:lnTo>
                    <a:lnTo>
                      <a:pt x="130" y="186"/>
                    </a:lnTo>
                    <a:lnTo>
                      <a:pt x="131" y="187"/>
                    </a:lnTo>
                    <a:lnTo>
                      <a:pt x="133" y="187"/>
                    </a:lnTo>
                    <a:lnTo>
                      <a:pt x="133" y="189"/>
                    </a:lnTo>
                    <a:lnTo>
                      <a:pt x="133" y="191"/>
                    </a:lnTo>
                    <a:lnTo>
                      <a:pt x="133" y="192"/>
                    </a:lnTo>
                    <a:lnTo>
                      <a:pt x="133" y="191"/>
                    </a:lnTo>
                    <a:lnTo>
                      <a:pt x="133" y="192"/>
                    </a:lnTo>
                    <a:lnTo>
                      <a:pt x="135" y="191"/>
                    </a:lnTo>
                    <a:lnTo>
                      <a:pt x="135" y="192"/>
                    </a:lnTo>
                    <a:lnTo>
                      <a:pt x="135" y="194"/>
                    </a:lnTo>
                    <a:lnTo>
                      <a:pt x="135" y="196"/>
                    </a:lnTo>
                    <a:lnTo>
                      <a:pt x="133" y="196"/>
                    </a:lnTo>
                    <a:lnTo>
                      <a:pt x="133" y="197"/>
                    </a:lnTo>
                    <a:lnTo>
                      <a:pt x="131" y="197"/>
                    </a:lnTo>
                    <a:lnTo>
                      <a:pt x="130" y="197"/>
                    </a:lnTo>
                    <a:lnTo>
                      <a:pt x="130" y="199"/>
                    </a:lnTo>
                    <a:lnTo>
                      <a:pt x="128" y="199"/>
                    </a:lnTo>
                    <a:lnTo>
                      <a:pt x="128" y="197"/>
                    </a:lnTo>
                    <a:lnTo>
                      <a:pt x="128" y="199"/>
                    </a:lnTo>
                    <a:lnTo>
                      <a:pt x="128" y="201"/>
                    </a:lnTo>
                    <a:lnTo>
                      <a:pt x="126" y="199"/>
                    </a:lnTo>
                    <a:lnTo>
                      <a:pt x="126" y="201"/>
                    </a:lnTo>
                    <a:lnTo>
                      <a:pt x="125" y="201"/>
                    </a:lnTo>
                    <a:lnTo>
                      <a:pt x="123" y="201"/>
                    </a:lnTo>
                    <a:lnTo>
                      <a:pt x="123" y="203"/>
                    </a:lnTo>
                    <a:lnTo>
                      <a:pt x="123" y="204"/>
                    </a:lnTo>
                    <a:lnTo>
                      <a:pt x="123" y="206"/>
                    </a:lnTo>
                    <a:lnTo>
                      <a:pt x="121" y="206"/>
                    </a:lnTo>
                    <a:lnTo>
                      <a:pt x="119" y="206"/>
                    </a:lnTo>
                    <a:lnTo>
                      <a:pt x="119" y="208"/>
                    </a:lnTo>
                    <a:lnTo>
                      <a:pt x="118" y="208"/>
                    </a:lnTo>
                    <a:lnTo>
                      <a:pt x="118" y="209"/>
                    </a:lnTo>
                    <a:lnTo>
                      <a:pt x="119" y="209"/>
                    </a:lnTo>
                    <a:lnTo>
                      <a:pt x="119" y="208"/>
                    </a:lnTo>
                    <a:lnTo>
                      <a:pt x="121" y="209"/>
                    </a:lnTo>
                    <a:lnTo>
                      <a:pt x="119" y="209"/>
                    </a:lnTo>
                    <a:lnTo>
                      <a:pt x="119" y="211"/>
                    </a:lnTo>
                    <a:lnTo>
                      <a:pt x="118" y="211"/>
                    </a:lnTo>
                    <a:lnTo>
                      <a:pt x="119" y="213"/>
                    </a:lnTo>
                    <a:lnTo>
                      <a:pt x="118" y="213"/>
                    </a:lnTo>
                    <a:lnTo>
                      <a:pt x="118" y="214"/>
                    </a:lnTo>
                    <a:lnTo>
                      <a:pt x="118" y="216"/>
                    </a:lnTo>
                    <a:lnTo>
                      <a:pt x="119" y="216"/>
                    </a:lnTo>
                    <a:lnTo>
                      <a:pt x="118" y="218"/>
                    </a:lnTo>
                    <a:lnTo>
                      <a:pt x="119" y="218"/>
                    </a:lnTo>
                    <a:lnTo>
                      <a:pt x="118" y="218"/>
                    </a:lnTo>
                    <a:lnTo>
                      <a:pt x="118" y="220"/>
                    </a:lnTo>
                    <a:lnTo>
                      <a:pt x="119" y="220"/>
                    </a:lnTo>
                    <a:lnTo>
                      <a:pt x="118" y="220"/>
                    </a:lnTo>
                    <a:lnTo>
                      <a:pt x="118" y="221"/>
                    </a:lnTo>
                    <a:lnTo>
                      <a:pt x="118" y="223"/>
                    </a:lnTo>
                    <a:lnTo>
                      <a:pt x="118" y="225"/>
                    </a:lnTo>
                    <a:lnTo>
                      <a:pt x="118" y="226"/>
                    </a:lnTo>
                    <a:lnTo>
                      <a:pt x="118" y="228"/>
                    </a:lnTo>
                    <a:lnTo>
                      <a:pt x="116" y="228"/>
                    </a:lnTo>
                    <a:lnTo>
                      <a:pt x="114" y="228"/>
                    </a:lnTo>
                    <a:lnTo>
                      <a:pt x="113" y="228"/>
                    </a:lnTo>
                    <a:lnTo>
                      <a:pt x="111" y="228"/>
                    </a:lnTo>
                    <a:lnTo>
                      <a:pt x="109" y="228"/>
                    </a:lnTo>
                    <a:lnTo>
                      <a:pt x="108" y="228"/>
                    </a:lnTo>
                    <a:lnTo>
                      <a:pt x="108" y="230"/>
                    </a:lnTo>
                    <a:lnTo>
                      <a:pt x="108" y="228"/>
                    </a:lnTo>
                    <a:lnTo>
                      <a:pt x="108" y="230"/>
                    </a:lnTo>
                    <a:lnTo>
                      <a:pt x="108" y="231"/>
                    </a:lnTo>
                    <a:lnTo>
                      <a:pt x="106" y="231"/>
                    </a:lnTo>
                    <a:lnTo>
                      <a:pt x="106" y="233"/>
                    </a:lnTo>
                    <a:lnTo>
                      <a:pt x="104" y="233"/>
                    </a:lnTo>
                    <a:lnTo>
                      <a:pt x="104" y="235"/>
                    </a:lnTo>
                    <a:lnTo>
                      <a:pt x="104" y="237"/>
                    </a:lnTo>
                    <a:lnTo>
                      <a:pt x="102" y="237"/>
                    </a:lnTo>
                    <a:lnTo>
                      <a:pt x="102" y="238"/>
                    </a:lnTo>
                    <a:lnTo>
                      <a:pt x="102" y="240"/>
                    </a:lnTo>
                    <a:lnTo>
                      <a:pt x="101" y="238"/>
                    </a:lnTo>
                    <a:lnTo>
                      <a:pt x="101" y="240"/>
                    </a:lnTo>
                    <a:lnTo>
                      <a:pt x="99" y="240"/>
                    </a:lnTo>
                    <a:lnTo>
                      <a:pt x="97" y="240"/>
                    </a:lnTo>
                    <a:lnTo>
                      <a:pt x="99" y="240"/>
                    </a:lnTo>
                    <a:lnTo>
                      <a:pt x="97" y="242"/>
                    </a:lnTo>
                    <a:lnTo>
                      <a:pt x="99" y="242"/>
                    </a:lnTo>
                    <a:lnTo>
                      <a:pt x="99" y="243"/>
                    </a:lnTo>
                    <a:lnTo>
                      <a:pt x="99" y="245"/>
                    </a:lnTo>
                    <a:lnTo>
                      <a:pt x="99" y="247"/>
                    </a:lnTo>
                    <a:lnTo>
                      <a:pt x="97" y="245"/>
                    </a:lnTo>
                    <a:lnTo>
                      <a:pt x="97" y="247"/>
                    </a:lnTo>
                    <a:lnTo>
                      <a:pt x="97" y="245"/>
                    </a:lnTo>
                    <a:lnTo>
                      <a:pt x="96" y="245"/>
                    </a:lnTo>
                    <a:lnTo>
                      <a:pt x="96" y="247"/>
                    </a:lnTo>
                    <a:lnTo>
                      <a:pt x="96" y="245"/>
                    </a:lnTo>
                    <a:lnTo>
                      <a:pt x="94" y="245"/>
                    </a:lnTo>
                    <a:lnTo>
                      <a:pt x="92" y="245"/>
                    </a:lnTo>
                    <a:lnTo>
                      <a:pt x="91" y="245"/>
                    </a:lnTo>
                    <a:lnTo>
                      <a:pt x="91" y="247"/>
                    </a:lnTo>
                    <a:lnTo>
                      <a:pt x="91" y="248"/>
                    </a:lnTo>
                    <a:lnTo>
                      <a:pt x="89" y="248"/>
                    </a:lnTo>
                    <a:lnTo>
                      <a:pt x="87" y="248"/>
                    </a:lnTo>
                    <a:lnTo>
                      <a:pt x="85" y="248"/>
                    </a:lnTo>
                    <a:lnTo>
                      <a:pt x="85" y="247"/>
                    </a:lnTo>
                    <a:lnTo>
                      <a:pt x="84" y="247"/>
                    </a:lnTo>
                    <a:lnTo>
                      <a:pt x="85" y="247"/>
                    </a:lnTo>
                    <a:lnTo>
                      <a:pt x="85" y="245"/>
                    </a:lnTo>
                    <a:lnTo>
                      <a:pt x="84" y="245"/>
                    </a:lnTo>
                    <a:lnTo>
                      <a:pt x="82" y="245"/>
                    </a:lnTo>
                    <a:lnTo>
                      <a:pt x="82" y="243"/>
                    </a:lnTo>
                    <a:lnTo>
                      <a:pt x="80" y="243"/>
                    </a:lnTo>
                    <a:lnTo>
                      <a:pt x="79" y="243"/>
                    </a:lnTo>
                    <a:lnTo>
                      <a:pt x="77" y="243"/>
                    </a:lnTo>
                    <a:lnTo>
                      <a:pt x="75" y="243"/>
                    </a:lnTo>
                    <a:lnTo>
                      <a:pt x="75" y="242"/>
                    </a:lnTo>
                    <a:lnTo>
                      <a:pt x="74" y="242"/>
                    </a:lnTo>
                    <a:lnTo>
                      <a:pt x="72" y="242"/>
                    </a:lnTo>
                    <a:lnTo>
                      <a:pt x="72" y="240"/>
                    </a:lnTo>
                    <a:lnTo>
                      <a:pt x="70" y="240"/>
                    </a:lnTo>
                    <a:lnTo>
                      <a:pt x="70" y="238"/>
                    </a:lnTo>
                    <a:lnTo>
                      <a:pt x="68" y="238"/>
                    </a:lnTo>
                    <a:lnTo>
                      <a:pt x="68" y="237"/>
                    </a:lnTo>
                    <a:lnTo>
                      <a:pt x="67" y="237"/>
                    </a:lnTo>
                    <a:lnTo>
                      <a:pt x="67" y="235"/>
                    </a:lnTo>
                    <a:lnTo>
                      <a:pt x="65" y="235"/>
                    </a:lnTo>
                    <a:lnTo>
                      <a:pt x="65" y="233"/>
                    </a:lnTo>
                    <a:lnTo>
                      <a:pt x="65" y="231"/>
                    </a:lnTo>
                    <a:lnTo>
                      <a:pt x="65" y="233"/>
                    </a:lnTo>
                    <a:lnTo>
                      <a:pt x="63" y="231"/>
                    </a:lnTo>
                    <a:lnTo>
                      <a:pt x="63" y="230"/>
                    </a:lnTo>
                    <a:lnTo>
                      <a:pt x="62" y="230"/>
                    </a:lnTo>
                    <a:lnTo>
                      <a:pt x="62" y="231"/>
                    </a:lnTo>
                    <a:lnTo>
                      <a:pt x="60" y="231"/>
                    </a:lnTo>
                    <a:lnTo>
                      <a:pt x="60" y="230"/>
                    </a:lnTo>
                    <a:lnTo>
                      <a:pt x="58" y="230"/>
                    </a:lnTo>
                    <a:lnTo>
                      <a:pt x="58" y="228"/>
                    </a:lnTo>
                    <a:lnTo>
                      <a:pt x="60" y="228"/>
                    </a:lnTo>
                    <a:lnTo>
                      <a:pt x="60" y="226"/>
                    </a:lnTo>
                    <a:lnTo>
                      <a:pt x="58" y="226"/>
                    </a:lnTo>
                    <a:lnTo>
                      <a:pt x="57" y="226"/>
                    </a:lnTo>
                    <a:lnTo>
                      <a:pt x="57" y="225"/>
                    </a:lnTo>
                    <a:lnTo>
                      <a:pt x="57" y="223"/>
                    </a:lnTo>
                    <a:lnTo>
                      <a:pt x="57" y="221"/>
                    </a:lnTo>
                    <a:lnTo>
                      <a:pt x="57" y="220"/>
                    </a:lnTo>
                    <a:lnTo>
                      <a:pt x="57" y="218"/>
                    </a:lnTo>
                    <a:lnTo>
                      <a:pt x="57" y="216"/>
                    </a:lnTo>
                    <a:lnTo>
                      <a:pt x="57" y="214"/>
                    </a:lnTo>
                    <a:lnTo>
                      <a:pt x="57" y="213"/>
                    </a:lnTo>
                    <a:lnTo>
                      <a:pt x="57" y="211"/>
                    </a:lnTo>
                    <a:lnTo>
                      <a:pt x="55" y="211"/>
                    </a:lnTo>
                    <a:lnTo>
                      <a:pt x="53" y="211"/>
                    </a:lnTo>
                    <a:lnTo>
                      <a:pt x="53" y="209"/>
                    </a:lnTo>
                    <a:lnTo>
                      <a:pt x="53" y="211"/>
                    </a:lnTo>
                    <a:lnTo>
                      <a:pt x="53" y="209"/>
                    </a:lnTo>
                    <a:lnTo>
                      <a:pt x="51" y="209"/>
                    </a:lnTo>
                    <a:lnTo>
                      <a:pt x="51" y="208"/>
                    </a:lnTo>
                    <a:lnTo>
                      <a:pt x="51" y="206"/>
                    </a:lnTo>
                    <a:lnTo>
                      <a:pt x="51" y="204"/>
                    </a:lnTo>
                    <a:lnTo>
                      <a:pt x="50" y="204"/>
                    </a:lnTo>
                    <a:lnTo>
                      <a:pt x="50" y="203"/>
                    </a:lnTo>
                    <a:lnTo>
                      <a:pt x="50" y="201"/>
                    </a:lnTo>
                    <a:lnTo>
                      <a:pt x="48" y="201"/>
                    </a:lnTo>
                    <a:lnTo>
                      <a:pt x="50" y="201"/>
                    </a:lnTo>
                    <a:lnTo>
                      <a:pt x="48" y="199"/>
                    </a:lnTo>
                    <a:lnTo>
                      <a:pt x="48" y="197"/>
                    </a:lnTo>
                    <a:lnTo>
                      <a:pt x="48" y="196"/>
                    </a:lnTo>
                    <a:lnTo>
                      <a:pt x="48" y="194"/>
                    </a:lnTo>
                    <a:lnTo>
                      <a:pt x="48" y="192"/>
                    </a:lnTo>
                    <a:lnTo>
                      <a:pt x="48" y="191"/>
                    </a:lnTo>
                    <a:lnTo>
                      <a:pt x="48" y="189"/>
                    </a:lnTo>
                    <a:lnTo>
                      <a:pt x="50" y="189"/>
                    </a:lnTo>
                    <a:lnTo>
                      <a:pt x="50" y="187"/>
                    </a:lnTo>
                    <a:lnTo>
                      <a:pt x="50" y="186"/>
                    </a:lnTo>
                    <a:lnTo>
                      <a:pt x="50" y="184"/>
                    </a:lnTo>
                    <a:lnTo>
                      <a:pt x="51" y="184"/>
                    </a:lnTo>
                    <a:lnTo>
                      <a:pt x="50" y="184"/>
                    </a:lnTo>
                    <a:lnTo>
                      <a:pt x="51" y="182"/>
                    </a:lnTo>
                    <a:lnTo>
                      <a:pt x="50" y="182"/>
                    </a:lnTo>
                    <a:lnTo>
                      <a:pt x="51" y="182"/>
                    </a:lnTo>
                    <a:lnTo>
                      <a:pt x="51" y="180"/>
                    </a:lnTo>
                    <a:lnTo>
                      <a:pt x="51" y="179"/>
                    </a:lnTo>
                    <a:lnTo>
                      <a:pt x="53" y="179"/>
                    </a:lnTo>
                    <a:lnTo>
                      <a:pt x="53" y="177"/>
                    </a:lnTo>
                    <a:lnTo>
                      <a:pt x="53" y="175"/>
                    </a:lnTo>
                    <a:lnTo>
                      <a:pt x="55" y="175"/>
                    </a:lnTo>
                    <a:lnTo>
                      <a:pt x="55" y="174"/>
                    </a:lnTo>
                    <a:lnTo>
                      <a:pt x="53" y="174"/>
                    </a:lnTo>
                    <a:lnTo>
                      <a:pt x="55" y="174"/>
                    </a:lnTo>
                    <a:lnTo>
                      <a:pt x="53" y="174"/>
                    </a:lnTo>
                    <a:lnTo>
                      <a:pt x="53" y="172"/>
                    </a:lnTo>
                    <a:lnTo>
                      <a:pt x="55" y="172"/>
                    </a:lnTo>
                    <a:lnTo>
                      <a:pt x="53" y="172"/>
                    </a:lnTo>
                    <a:lnTo>
                      <a:pt x="55" y="170"/>
                    </a:lnTo>
                    <a:lnTo>
                      <a:pt x="53" y="170"/>
                    </a:lnTo>
                    <a:lnTo>
                      <a:pt x="53" y="169"/>
                    </a:lnTo>
                    <a:lnTo>
                      <a:pt x="51" y="169"/>
                    </a:lnTo>
                    <a:lnTo>
                      <a:pt x="53" y="169"/>
                    </a:lnTo>
                    <a:lnTo>
                      <a:pt x="51" y="169"/>
                    </a:lnTo>
                    <a:lnTo>
                      <a:pt x="53" y="169"/>
                    </a:lnTo>
                    <a:lnTo>
                      <a:pt x="53" y="167"/>
                    </a:lnTo>
                    <a:lnTo>
                      <a:pt x="55" y="167"/>
                    </a:lnTo>
                    <a:lnTo>
                      <a:pt x="57" y="165"/>
                    </a:lnTo>
                    <a:lnTo>
                      <a:pt x="58" y="163"/>
                    </a:lnTo>
                    <a:lnTo>
                      <a:pt x="58" y="162"/>
                    </a:lnTo>
                    <a:lnTo>
                      <a:pt x="60" y="162"/>
                    </a:lnTo>
                    <a:lnTo>
                      <a:pt x="60" y="160"/>
                    </a:lnTo>
                    <a:lnTo>
                      <a:pt x="60" y="162"/>
                    </a:lnTo>
                    <a:lnTo>
                      <a:pt x="60" y="160"/>
                    </a:lnTo>
                    <a:lnTo>
                      <a:pt x="62" y="160"/>
                    </a:lnTo>
                    <a:lnTo>
                      <a:pt x="62" y="158"/>
                    </a:lnTo>
                    <a:lnTo>
                      <a:pt x="62" y="157"/>
                    </a:lnTo>
                    <a:lnTo>
                      <a:pt x="63" y="157"/>
                    </a:lnTo>
                    <a:lnTo>
                      <a:pt x="63" y="155"/>
                    </a:lnTo>
                    <a:lnTo>
                      <a:pt x="62" y="155"/>
                    </a:lnTo>
                    <a:lnTo>
                      <a:pt x="62" y="153"/>
                    </a:lnTo>
                    <a:lnTo>
                      <a:pt x="60" y="152"/>
                    </a:lnTo>
                    <a:lnTo>
                      <a:pt x="60" y="150"/>
                    </a:lnTo>
                    <a:lnTo>
                      <a:pt x="60" y="148"/>
                    </a:lnTo>
                    <a:lnTo>
                      <a:pt x="58" y="148"/>
                    </a:lnTo>
                    <a:lnTo>
                      <a:pt x="57" y="148"/>
                    </a:lnTo>
                    <a:lnTo>
                      <a:pt x="57" y="146"/>
                    </a:lnTo>
                    <a:lnTo>
                      <a:pt x="57" y="145"/>
                    </a:lnTo>
                    <a:lnTo>
                      <a:pt x="58" y="145"/>
                    </a:lnTo>
                    <a:lnTo>
                      <a:pt x="57" y="145"/>
                    </a:lnTo>
                    <a:lnTo>
                      <a:pt x="57" y="143"/>
                    </a:lnTo>
                    <a:lnTo>
                      <a:pt x="58" y="143"/>
                    </a:lnTo>
                    <a:lnTo>
                      <a:pt x="58" y="141"/>
                    </a:lnTo>
                    <a:lnTo>
                      <a:pt x="57" y="141"/>
                    </a:lnTo>
                    <a:lnTo>
                      <a:pt x="57" y="140"/>
                    </a:lnTo>
                    <a:lnTo>
                      <a:pt x="55" y="138"/>
                    </a:lnTo>
                    <a:lnTo>
                      <a:pt x="53" y="138"/>
                    </a:lnTo>
                    <a:lnTo>
                      <a:pt x="51" y="138"/>
                    </a:lnTo>
                    <a:lnTo>
                      <a:pt x="53" y="138"/>
                    </a:lnTo>
                    <a:lnTo>
                      <a:pt x="51" y="138"/>
                    </a:lnTo>
                    <a:lnTo>
                      <a:pt x="50" y="138"/>
                    </a:lnTo>
                    <a:lnTo>
                      <a:pt x="50" y="136"/>
                    </a:lnTo>
                    <a:lnTo>
                      <a:pt x="48" y="136"/>
                    </a:lnTo>
                    <a:lnTo>
                      <a:pt x="48" y="138"/>
                    </a:lnTo>
                    <a:lnTo>
                      <a:pt x="48" y="136"/>
                    </a:lnTo>
                    <a:lnTo>
                      <a:pt x="46" y="138"/>
                    </a:lnTo>
                    <a:lnTo>
                      <a:pt x="46" y="136"/>
                    </a:lnTo>
                    <a:lnTo>
                      <a:pt x="45" y="136"/>
                    </a:lnTo>
                    <a:lnTo>
                      <a:pt x="46" y="136"/>
                    </a:lnTo>
                    <a:lnTo>
                      <a:pt x="45" y="136"/>
                    </a:lnTo>
                    <a:lnTo>
                      <a:pt x="43" y="136"/>
                    </a:lnTo>
                    <a:lnTo>
                      <a:pt x="43" y="135"/>
                    </a:lnTo>
                    <a:lnTo>
                      <a:pt x="43" y="133"/>
                    </a:lnTo>
                    <a:lnTo>
                      <a:pt x="45" y="133"/>
                    </a:lnTo>
                    <a:lnTo>
                      <a:pt x="45" y="131"/>
                    </a:lnTo>
                    <a:lnTo>
                      <a:pt x="46" y="131"/>
                    </a:lnTo>
                    <a:lnTo>
                      <a:pt x="46" y="129"/>
                    </a:lnTo>
                    <a:lnTo>
                      <a:pt x="46" y="128"/>
                    </a:lnTo>
                    <a:lnTo>
                      <a:pt x="46" y="126"/>
                    </a:lnTo>
                    <a:lnTo>
                      <a:pt x="48" y="124"/>
                    </a:lnTo>
                    <a:lnTo>
                      <a:pt x="48" y="123"/>
                    </a:lnTo>
                    <a:lnTo>
                      <a:pt x="48" y="121"/>
                    </a:lnTo>
                    <a:lnTo>
                      <a:pt x="48" y="119"/>
                    </a:lnTo>
                    <a:lnTo>
                      <a:pt x="48" y="117"/>
                    </a:lnTo>
                    <a:lnTo>
                      <a:pt x="46" y="117"/>
                    </a:lnTo>
                    <a:lnTo>
                      <a:pt x="46" y="116"/>
                    </a:lnTo>
                    <a:lnTo>
                      <a:pt x="45" y="116"/>
                    </a:lnTo>
                    <a:lnTo>
                      <a:pt x="45" y="114"/>
                    </a:lnTo>
                    <a:lnTo>
                      <a:pt x="45" y="112"/>
                    </a:lnTo>
                    <a:lnTo>
                      <a:pt x="43" y="112"/>
                    </a:lnTo>
                    <a:lnTo>
                      <a:pt x="43" y="111"/>
                    </a:lnTo>
                    <a:lnTo>
                      <a:pt x="43" y="112"/>
                    </a:lnTo>
                    <a:lnTo>
                      <a:pt x="41" y="112"/>
                    </a:lnTo>
                    <a:lnTo>
                      <a:pt x="41" y="111"/>
                    </a:lnTo>
                    <a:lnTo>
                      <a:pt x="40" y="111"/>
                    </a:lnTo>
                    <a:lnTo>
                      <a:pt x="38" y="112"/>
                    </a:lnTo>
                    <a:lnTo>
                      <a:pt x="36" y="112"/>
                    </a:lnTo>
                    <a:lnTo>
                      <a:pt x="34" y="112"/>
                    </a:lnTo>
                    <a:lnTo>
                      <a:pt x="33" y="112"/>
                    </a:lnTo>
                    <a:lnTo>
                      <a:pt x="33" y="114"/>
                    </a:lnTo>
                    <a:lnTo>
                      <a:pt x="33" y="112"/>
                    </a:lnTo>
                    <a:lnTo>
                      <a:pt x="31" y="112"/>
                    </a:lnTo>
                    <a:lnTo>
                      <a:pt x="29" y="112"/>
                    </a:lnTo>
                    <a:lnTo>
                      <a:pt x="28" y="112"/>
                    </a:lnTo>
                    <a:lnTo>
                      <a:pt x="26" y="112"/>
                    </a:lnTo>
                    <a:lnTo>
                      <a:pt x="24" y="112"/>
                    </a:lnTo>
                    <a:lnTo>
                      <a:pt x="23" y="112"/>
                    </a:lnTo>
                    <a:lnTo>
                      <a:pt x="21" y="111"/>
                    </a:lnTo>
                    <a:lnTo>
                      <a:pt x="19" y="109"/>
                    </a:lnTo>
                    <a:lnTo>
                      <a:pt x="12" y="102"/>
                    </a:lnTo>
                    <a:lnTo>
                      <a:pt x="11" y="97"/>
                    </a:lnTo>
                    <a:lnTo>
                      <a:pt x="7" y="95"/>
                    </a:lnTo>
                    <a:lnTo>
                      <a:pt x="2" y="90"/>
                    </a:lnTo>
                    <a:lnTo>
                      <a:pt x="0" y="89"/>
                    </a:lnTo>
                    <a:lnTo>
                      <a:pt x="0" y="87"/>
                    </a:lnTo>
                    <a:lnTo>
                      <a:pt x="2" y="87"/>
                    </a:lnTo>
                    <a:lnTo>
                      <a:pt x="2" y="85"/>
                    </a:lnTo>
                    <a:lnTo>
                      <a:pt x="4" y="85"/>
                    </a:lnTo>
                    <a:lnTo>
                      <a:pt x="4" y="83"/>
                    </a:lnTo>
                    <a:lnTo>
                      <a:pt x="6" y="82"/>
                    </a:lnTo>
                    <a:lnTo>
                      <a:pt x="7" y="82"/>
                    </a:lnTo>
                    <a:lnTo>
                      <a:pt x="7" y="80"/>
                    </a:lnTo>
                    <a:lnTo>
                      <a:pt x="9" y="80"/>
                    </a:lnTo>
                    <a:lnTo>
                      <a:pt x="11" y="78"/>
                    </a:lnTo>
                    <a:lnTo>
                      <a:pt x="9" y="78"/>
                    </a:lnTo>
                    <a:lnTo>
                      <a:pt x="9" y="77"/>
                    </a:lnTo>
                    <a:lnTo>
                      <a:pt x="11" y="77"/>
                    </a:lnTo>
                    <a:lnTo>
                      <a:pt x="9" y="77"/>
                    </a:lnTo>
                    <a:lnTo>
                      <a:pt x="9" y="75"/>
                    </a:lnTo>
                    <a:lnTo>
                      <a:pt x="7" y="75"/>
                    </a:lnTo>
                    <a:lnTo>
                      <a:pt x="9" y="75"/>
                    </a:lnTo>
                    <a:lnTo>
                      <a:pt x="9" y="73"/>
                    </a:lnTo>
                    <a:lnTo>
                      <a:pt x="9" y="72"/>
                    </a:lnTo>
                    <a:lnTo>
                      <a:pt x="9" y="70"/>
                    </a:lnTo>
                    <a:lnTo>
                      <a:pt x="7" y="70"/>
                    </a:lnTo>
                    <a:lnTo>
                      <a:pt x="9" y="68"/>
                    </a:lnTo>
                    <a:lnTo>
                      <a:pt x="7" y="68"/>
                    </a:lnTo>
                    <a:lnTo>
                      <a:pt x="7" y="66"/>
                    </a:lnTo>
                    <a:lnTo>
                      <a:pt x="6" y="66"/>
                    </a:lnTo>
                    <a:lnTo>
                      <a:pt x="7" y="66"/>
                    </a:lnTo>
                    <a:lnTo>
                      <a:pt x="6" y="66"/>
                    </a:lnTo>
                    <a:lnTo>
                      <a:pt x="7" y="66"/>
                    </a:lnTo>
                    <a:lnTo>
                      <a:pt x="7" y="65"/>
                    </a:lnTo>
                    <a:lnTo>
                      <a:pt x="7" y="63"/>
                    </a:lnTo>
                    <a:lnTo>
                      <a:pt x="9" y="63"/>
                    </a:lnTo>
                    <a:lnTo>
                      <a:pt x="9" y="61"/>
                    </a:lnTo>
                    <a:lnTo>
                      <a:pt x="11" y="61"/>
                    </a:lnTo>
                    <a:lnTo>
                      <a:pt x="12" y="61"/>
                    </a:lnTo>
                    <a:lnTo>
                      <a:pt x="14" y="61"/>
                    </a:lnTo>
                    <a:lnTo>
                      <a:pt x="16" y="61"/>
                    </a:lnTo>
                    <a:lnTo>
                      <a:pt x="17" y="60"/>
                    </a:lnTo>
                    <a:lnTo>
                      <a:pt x="16" y="60"/>
                    </a:lnTo>
                    <a:lnTo>
                      <a:pt x="16" y="58"/>
                    </a:lnTo>
                    <a:lnTo>
                      <a:pt x="17" y="58"/>
                    </a:lnTo>
                    <a:lnTo>
                      <a:pt x="17" y="60"/>
                    </a:lnTo>
                    <a:lnTo>
                      <a:pt x="19" y="60"/>
                    </a:lnTo>
                    <a:lnTo>
                      <a:pt x="21" y="60"/>
                    </a:lnTo>
                    <a:lnTo>
                      <a:pt x="21" y="58"/>
                    </a:lnTo>
                    <a:lnTo>
                      <a:pt x="21" y="60"/>
                    </a:lnTo>
                    <a:lnTo>
                      <a:pt x="23" y="60"/>
                    </a:lnTo>
                    <a:lnTo>
                      <a:pt x="24" y="60"/>
                    </a:lnTo>
                    <a:lnTo>
                      <a:pt x="24" y="58"/>
                    </a:lnTo>
                    <a:lnTo>
                      <a:pt x="26" y="58"/>
                    </a:lnTo>
                    <a:lnTo>
                      <a:pt x="28" y="58"/>
                    </a:lnTo>
                    <a:lnTo>
                      <a:pt x="28" y="56"/>
                    </a:lnTo>
                    <a:lnTo>
                      <a:pt x="29" y="56"/>
                    </a:lnTo>
                    <a:lnTo>
                      <a:pt x="31" y="56"/>
                    </a:lnTo>
                    <a:lnTo>
                      <a:pt x="31" y="55"/>
                    </a:lnTo>
                    <a:lnTo>
                      <a:pt x="33" y="55"/>
                    </a:lnTo>
                    <a:lnTo>
                      <a:pt x="34" y="53"/>
                    </a:lnTo>
                    <a:lnTo>
                      <a:pt x="34" y="55"/>
                    </a:lnTo>
                    <a:lnTo>
                      <a:pt x="34" y="53"/>
                    </a:lnTo>
                    <a:lnTo>
                      <a:pt x="36" y="53"/>
                    </a:lnTo>
                    <a:lnTo>
                      <a:pt x="36" y="51"/>
                    </a:lnTo>
                    <a:lnTo>
                      <a:pt x="36" y="49"/>
                    </a:lnTo>
                    <a:lnTo>
                      <a:pt x="36" y="48"/>
                    </a:lnTo>
                    <a:lnTo>
                      <a:pt x="36" y="46"/>
                    </a:lnTo>
                    <a:lnTo>
                      <a:pt x="34" y="46"/>
                    </a:lnTo>
                    <a:lnTo>
                      <a:pt x="33" y="46"/>
                    </a:lnTo>
                    <a:lnTo>
                      <a:pt x="33" y="44"/>
                    </a:lnTo>
                    <a:lnTo>
                      <a:pt x="33" y="46"/>
                    </a:lnTo>
                    <a:lnTo>
                      <a:pt x="31" y="44"/>
                    </a:lnTo>
                    <a:lnTo>
                      <a:pt x="31" y="46"/>
                    </a:lnTo>
                    <a:lnTo>
                      <a:pt x="29" y="46"/>
                    </a:lnTo>
                    <a:lnTo>
                      <a:pt x="29" y="48"/>
                    </a:lnTo>
                    <a:lnTo>
                      <a:pt x="29" y="46"/>
                    </a:lnTo>
                    <a:lnTo>
                      <a:pt x="28" y="46"/>
                    </a:lnTo>
                    <a:lnTo>
                      <a:pt x="28" y="44"/>
                    </a:lnTo>
                    <a:lnTo>
                      <a:pt x="26" y="44"/>
                    </a:lnTo>
                    <a:lnTo>
                      <a:pt x="26" y="43"/>
                    </a:lnTo>
                    <a:lnTo>
                      <a:pt x="28" y="43"/>
                    </a:lnTo>
                    <a:lnTo>
                      <a:pt x="28" y="41"/>
                    </a:lnTo>
                    <a:lnTo>
                      <a:pt x="28" y="39"/>
                    </a:lnTo>
                    <a:lnTo>
                      <a:pt x="26" y="39"/>
                    </a:lnTo>
                    <a:lnTo>
                      <a:pt x="26" y="38"/>
                    </a:lnTo>
                    <a:lnTo>
                      <a:pt x="26" y="36"/>
                    </a:lnTo>
                    <a:lnTo>
                      <a:pt x="26" y="34"/>
                    </a:lnTo>
                    <a:lnTo>
                      <a:pt x="26" y="32"/>
                    </a:lnTo>
                    <a:lnTo>
                      <a:pt x="26" y="31"/>
                    </a:lnTo>
                    <a:lnTo>
                      <a:pt x="28" y="31"/>
                    </a:lnTo>
                    <a:lnTo>
                      <a:pt x="28" y="29"/>
                    </a:lnTo>
                    <a:lnTo>
                      <a:pt x="28" y="27"/>
                    </a:lnTo>
                    <a:lnTo>
                      <a:pt x="29" y="26"/>
                    </a:lnTo>
                    <a:lnTo>
                      <a:pt x="29" y="24"/>
                    </a:lnTo>
                    <a:lnTo>
                      <a:pt x="31" y="24"/>
                    </a:lnTo>
                    <a:lnTo>
                      <a:pt x="33" y="24"/>
                    </a:lnTo>
                    <a:lnTo>
                      <a:pt x="34" y="24"/>
                    </a:lnTo>
                    <a:lnTo>
                      <a:pt x="36" y="24"/>
                    </a:lnTo>
                    <a:lnTo>
                      <a:pt x="36" y="22"/>
                    </a:lnTo>
                    <a:lnTo>
                      <a:pt x="38" y="22"/>
                    </a:lnTo>
                    <a:lnTo>
                      <a:pt x="40" y="21"/>
                    </a:lnTo>
                    <a:lnTo>
                      <a:pt x="40" y="19"/>
                    </a:lnTo>
                    <a:lnTo>
                      <a:pt x="41" y="19"/>
                    </a:lnTo>
                    <a:lnTo>
                      <a:pt x="43" y="19"/>
                    </a:lnTo>
                    <a:lnTo>
                      <a:pt x="43" y="17"/>
                    </a:lnTo>
                    <a:lnTo>
                      <a:pt x="45" y="17"/>
                    </a:lnTo>
                    <a:lnTo>
                      <a:pt x="46" y="17"/>
                    </a:lnTo>
                    <a:lnTo>
                      <a:pt x="46" y="15"/>
                    </a:lnTo>
                    <a:lnTo>
                      <a:pt x="48" y="15"/>
                    </a:lnTo>
                    <a:lnTo>
                      <a:pt x="48" y="14"/>
                    </a:lnTo>
                    <a:lnTo>
                      <a:pt x="48" y="12"/>
                    </a:lnTo>
                    <a:lnTo>
                      <a:pt x="50" y="10"/>
                    </a:lnTo>
                    <a:lnTo>
                      <a:pt x="53" y="10"/>
                    </a:lnTo>
                    <a:lnTo>
                      <a:pt x="53" y="9"/>
                    </a:lnTo>
                    <a:lnTo>
                      <a:pt x="55" y="9"/>
                    </a:lnTo>
                    <a:lnTo>
                      <a:pt x="53" y="7"/>
                    </a:lnTo>
                    <a:lnTo>
                      <a:pt x="51" y="4"/>
                    </a:lnTo>
                    <a:lnTo>
                      <a:pt x="50" y="2"/>
                    </a:lnTo>
                    <a:lnTo>
                      <a:pt x="48" y="0"/>
                    </a:lnTo>
                    <a:lnTo>
                      <a:pt x="50" y="0"/>
                    </a:lnTo>
                    <a:lnTo>
                      <a:pt x="50" y="2"/>
                    </a:lnTo>
                    <a:lnTo>
                      <a:pt x="51" y="2"/>
                    </a:lnTo>
                    <a:lnTo>
                      <a:pt x="51" y="4"/>
                    </a:lnTo>
                    <a:lnTo>
                      <a:pt x="53" y="5"/>
                    </a:lnTo>
                    <a:lnTo>
                      <a:pt x="55" y="5"/>
                    </a:lnTo>
                    <a:lnTo>
                      <a:pt x="57" y="5"/>
                    </a:lnTo>
                    <a:lnTo>
                      <a:pt x="55" y="5"/>
                    </a:lnTo>
                    <a:lnTo>
                      <a:pt x="55" y="4"/>
                    </a:lnTo>
                    <a:lnTo>
                      <a:pt x="57" y="4"/>
                    </a:lnTo>
                    <a:lnTo>
                      <a:pt x="57" y="5"/>
                    </a:lnTo>
                    <a:lnTo>
                      <a:pt x="58" y="5"/>
                    </a:lnTo>
                    <a:lnTo>
                      <a:pt x="60" y="5"/>
                    </a:lnTo>
                    <a:lnTo>
                      <a:pt x="60" y="7"/>
                    </a:lnTo>
                    <a:lnTo>
                      <a:pt x="62" y="7"/>
                    </a:lnTo>
                    <a:lnTo>
                      <a:pt x="62" y="9"/>
                    </a:lnTo>
                    <a:lnTo>
                      <a:pt x="63" y="9"/>
                    </a:lnTo>
                    <a:lnTo>
                      <a:pt x="65" y="9"/>
                    </a:lnTo>
                    <a:lnTo>
                      <a:pt x="65" y="10"/>
                    </a:lnTo>
                    <a:lnTo>
                      <a:pt x="67" y="10"/>
                    </a:lnTo>
                    <a:lnTo>
                      <a:pt x="68" y="10"/>
                    </a:lnTo>
                    <a:lnTo>
                      <a:pt x="68" y="12"/>
                    </a:lnTo>
                    <a:lnTo>
                      <a:pt x="70" y="12"/>
                    </a:lnTo>
                    <a:lnTo>
                      <a:pt x="72" y="14"/>
                    </a:lnTo>
                    <a:lnTo>
                      <a:pt x="74" y="14"/>
                    </a:lnTo>
                    <a:lnTo>
                      <a:pt x="75" y="15"/>
                    </a:lnTo>
                    <a:lnTo>
                      <a:pt x="77" y="15"/>
                    </a:lnTo>
                    <a:lnTo>
                      <a:pt x="77" y="17"/>
                    </a:lnTo>
                    <a:lnTo>
                      <a:pt x="79" y="17"/>
                    </a:lnTo>
                    <a:lnTo>
                      <a:pt x="79" y="19"/>
                    </a:lnTo>
                    <a:lnTo>
                      <a:pt x="80" y="21"/>
                    </a:lnTo>
                    <a:lnTo>
                      <a:pt x="82" y="21"/>
                    </a:lnTo>
                    <a:lnTo>
                      <a:pt x="82" y="22"/>
                    </a:lnTo>
                    <a:lnTo>
                      <a:pt x="84" y="24"/>
                    </a:lnTo>
                    <a:lnTo>
                      <a:pt x="85" y="26"/>
                    </a:lnTo>
                    <a:lnTo>
                      <a:pt x="87" y="27"/>
                    </a:lnTo>
                    <a:lnTo>
                      <a:pt x="89" y="27"/>
                    </a:lnTo>
                    <a:lnTo>
                      <a:pt x="89" y="29"/>
                    </a:lnTo>
                    <a:lnTo>
                      <a:pt x="89" y="31"/>
                    </a:lnTo>
                    <a:lnTo>
                      <a:pt x="91" y="31"/>
                    </a:lnTo>
                    <a:lnTo>
                      <a:pt x="91" y="32"/>
                    </a:lnTo>
                    <a:lnTo>
                      <a:pt x="91" y="31"/>
                    </a:lnTo>
                    <a:lnTo>
                      <a:pt x="92" y="31"/>
                    </a:lnTo>
                    <a:lnTo>
                      <a:pt x="92" y="32"/>
                    </a:lnTo>
                    <a:lnTo>
                      <a:pt x="94" y="32"/>
                    </a:lnTo>
                    <a:lnTo>
                      <a:pt x="94" y="34"/>
                    </a:lnTo>
                    <a:lnTo>
                      <a:pt x="96" y="36"/>
                    </a:lnTo>
                    <a:lnTo>
                      <a:pt x="97" y="38"/>
                    </a:lnTo>
                    <a:lnTo>
                      <a:pt x="97" y="39"/>
                    </a:lnTo>
                    <a:lnTo>
                      <a:pt x="99" y="39"/>
                    </a:lnTo>
                    <a:lnTo>
                      <a:pt x="99" y="41"/>
                    </a:lnTo>
                    <a:lnTo>
                      <a:pt x="99" y="43"/>
                    </a:lnTo>
                    <a:lnTo>
                      <a:pt x="99" y="44"/>
                    </a:lnTo>
                    <a:lnTo>
                      <a:pt x="99" y="46"/>
                    </a:lnTo>
                    <a:lnTo>
                      <a:pt x="99" y="48"/>
                    </a:lnTo>
                    <a:lnTo>
                      <a:pt x="99" y="49"/>
                    </a:lnTo>
                    <a:lnTo>
                      <a:pt x="99" y="51"/>
                    </a:lnTo>
                    <a:lnTo>
                      <a:pt x="99" y="53"/>
                    </a:lnTo>
                    <a:lnTo>
                      <a:pt x="97" y="53"/>
                    </a:lnTo>
                    <a:lnTo>
                      <a:pt x="97" y="55"/>
                    </a:lnTo>
                    <a:lnTo>
                      <a:pt x="96" y="55"/>
                    </a:lnTo>
                    <a:lnTo>
                      <a:pt x="96" y="56"/>
                    </a:lnTo>
                    <a:lnTo>
                      <a:pt x="96" y="58"/>
                    </a:lnTo>
                    <a:lnTo>
                      <a:pt x="96" y="60"/>
                    </a:lnTo>
                    <a:lnTo>
                      <a:pt x="96" y="61"/>
                    </a:lnTo>
                    <a:lnTo>
                      <a:pt x="94" y="61"/>
                    </a:lnTo>
                    <a:lnTo>
                      <a:pt x="94" y="63"/>
                    </a:lnTo>
                    <a:lnTo>
                      <a:pt x="94" y="65"/>
                    </a:lnTo>
                    <a:lnTo>
                      <a:pt x="94" y="66"/>
                    </a:lnTo>
                    <a:lnTo>
                      <a:pt x="94" y="68"/>
                    </a:lnTo>
                    <a:lnTo>
                      <a:pt x="94" y="70"/>
                    </a:lnTo>
                    <a:lnTo>
                      <a:pt x="94" y="72"/>
                    </a:lnTo>
                    <a:lnTo>
                      <a:pt x="92" y="72"/>
                    </a:lnTo>
                    <a:lnTo>
                      <a:pt x="92" y="73"/>
                    </a:lnTo>
                    <a:lnTo>
                      <a:pt x="91" y="73"/>
                    </a:lnTo>
                    <a:lnTo>
                      <a:pt x="92" y="73"/>
                    </a:lnTo>
                    <a:lnTo>
                      <a:pt x="94" y="73"/>
                    </a:lnTo>
                    <a:lnTo>
                      <a:pt x="94" y="72"/>
                    </a:lnTo>
                    <a:lnTo>
                      <a:pt x="94" y="73"/>
                    </a:lnTo>
                    <a:lnTo>
                      <a:pt x="96" y="75"/>
                    </a:lnTo>
                    <a:lnTo>
                      <a:pt x="96" y="73"/>
                    </a:lnTo>
                    <a:lnTo>
                      <a:pt x="96" y="72"/>
                    </a:lnTo>
                    <a:lnTo>
                      <a:pt x="96" y="70"/>
                    </a:lnTo>
                    <a:lnTo>
                      <a:pt x="96" y="68"/>
                    </a:lnTo>
                    <a:lnTo>
                      <a:pt x="96" y="66"/>
                    </a:lnTo>
                    <a:lnTo>
                      <a:pt x="96" y="65"/>
                    </a:lnTo>
                    <a:lnTo>
                      <a:pt x="96" y="63"/>
                    </a:lnTo>
                    <a:lnTo>
                      <a:pt x="97" y="63"/>
                    </a:lnTo>
                    <a:lnTo>
                      <a:pt x="97" y="61"/>
                    </a:lnTo>
                    <a:lnTo>
                      <a:pt x="97" y="60"/>
                    </a:lnTo>
                    <a:lnTo>
                      <a:pt x="99" y="60"/>
                    </a:lnTo>
                    <a:lnTo>
                      <a:pt x="99" y="58"/>
                    </a:lnTo>
                    <a:lnTo>
                      <a:pt x="101" y="58"/>
                    </a:lnTo>
                    <a:lnTo>
                      <a:pt x="101" y="56"/>
                    </a:lnTo>
                    <a:lnTo>
                      <a:pt x="102" y="56"/>
                    </a:lnTo>
                    <a:lnTo>
                      <a:pt x="104" y="56"/>
                    </a:lnTo>
                    <a:lnTo>
                      <a:pt x="106" y="56"/>
                    </a:lnTo>
                    <a:lnTo>
                      <a:pt x="108" y="56"/>
                    </a:lnTo>
                    <a:lnTo>
                      <a:pt x="108" y="58"/>
                    </a:lnTo>
                    <a:lnTo>
                      <a:pt x="109" y="58"/>
                    </a:lnTo>
                    <a:lnTo>
                      <a:pt x="111" y="58"/>
                    </a:lnTo>
                    <a:lnTo>
                      <a:pt x="113" y="58"/>
                    </a:lnTo>
                    <a:lnTo>
                      <a:pt x="114" y="58"/>
                    </a:lnTo>
                    <a:lnTo>
                      <a:pt x="114" y="60"/>
                    </a:lnTo>
                    <a:lnTo>
                      <a:pt x="116" y="60"/>
                    </a:lnTo>
                    <a:lnTo>
                      <a:pt x="116" y="61"/>
                    </a:lnTo>
                    <a:lnTo>
                      <a:pt x="118" y="61"/>
                    </a:lnTo>
                    <a:lnTo>
                      <a:pt x="119" y="61"/>
                    </a:lnTo>
                    <a:lnTo>
                      <a:pt x="119" y="63"/>
                    </a:lnTo>
                    <a:lnTo>
                      <a:pt x="121" y="63"/>
                    </a:lnTo>
                    <a:lnTo>
                      <a:pt x="121" y="65"/>
                    </a:lnTo>
                    <a:lnTo>
                      <a:pt x="123" y="66"/>
                    </a:lnTo>
                    <a:lnTo>
                      <a:pt x="125" y="66"/>
                    </a:lnTo>
                    <a:lnTo>
                      <a:pt x="125" y="68"/>
                    </a:lnTo>
                    <a:lnTo>
                      <a:pt x="126" y="68"/>
                    </a:lnTo>
                    <a:lnTo>
                      <a:pt x="126" y="70"/>
                    </a:lnTo>
                    <a:lnTo>
                      <a:pt x="128" y="70"/>
                    </a:lnTo>
                    <a:lnTo>
                      <a:pt x="128" y="72"/>
                    </a:lnTo>
                    <a:lnTo>
                      <a:pt x="130" y="72"/>
                    </a:lnTo>
                    <a:lnTo>
                      <a:pt x="130" y="73"/>
                    </a:lnTo>
                    <a:lnTo>
                      <a:pt x="130" y="75"/>
                    </a:lnTo>
                    <a:lnTo>
                      <a:pt x="131" y="77"/>
                    </a:lnTo>
                    <a:lnTo>
                      <a:pt x="131" y="75"/>
                    </a:lnTo>
                    <a:lnTo>
                      <a:pt x="133" y="75"/>
                    </a:lnTo>
                    <a:lnTo>
                      <a:pt x="135" y="75"/>
                    </a:lnTo>
                    <a:lnTo>
                      <a:pt x="136" y="75"/>
                    </a:lnTo>
                    <a:lnTo>
                      <a:pt x="136" y="77"/>
                    </a:lnTo>
                    <a:lnTo>
                      <a:pt x="138" y="77"/>
                    </a:lnTo>
                    <a:lnTo>
                      <a:pt x="140" y="78"/>
                    </a:lnTo>
                    <a:lnTo>
                      <a:pt x="142" y="80"/>
                    </a:lnTo>
                    <a:lnTo>
                      <a:pt x="142" y="82"/>
                    </a:lnTo>
                    <a:lnTo>
                      <a:pt x="143" y="82"/>
                    </a:lnTo>
                    <a:lnTo>
                      <a:pt x="143" y="83"/>
                    </a:lnTo>
                    <a:lnTo>
                      <a:pt x="143" y="85"/>
                    </a:lnTo>
                    <a:lnTo>
                      <a:pt x="145" y="87"/>
                    </a:lnTo>
                    <a:lnTo>
                      <a:pt x="143" y="87"/>
                    </a:lnTo>
                    <a:lnTo>
                      <a:pt x="145" y="87"/>
                    </a:lnTo>
                    <a:lnTo>
                      <a:pt x="145" y="89"/>
                    </a:lnTo>
                    <a:lnTo>
                      <a:pt x="145" y="90"/>
                    </a:lnTo>
                    <a:lnTo>
                      <a:pt x="143" y="90"/>
                    </a:lnTo>
                    <a:lnTo>
                      <a:pt x="143" y="92"/>
                    </a:lnTo>
                    <a:lnTo>
                      <a:pt x="143" y="94"/>
                    </a:lnTo>
                    <a:lnTo>
                      <a:pt x="143" y="95"/>
                    </a:lnTo>
                    <a:lnTo>
                      <a:pt x="143" y="97"/>
                    </a:lnTo>
                    <a:close/>
                    <a:moveTo>
                      <a:pt x="96" y="61"/>
                    </a:moveTo>
                    <a:lnTo>
                      <a:pt x="96" y="60"/>
                    </a:lnTo>
                    <a:lnTo>
                      <a:pt x="97" y="58"/>
                    </a:lnTo>
                    <a:lnTo>
                      <a:pt x="97" y="56"/>
                    </a:lnTo>
                    <a:lnTo>
                      <a:pt x="99" y="56"/>
                    </a:lnTo>
                    <a:lnTo>
                      <a:pt x="97" y="58"/>
                    </a:lnTo>
                    <a:lnTo>
                      <a:pt x="97" y="60"/>
                    </a:lnTo>
                    <a:lnTo>
                      <a:pt x="96" y="60"/>
                    </a:lnTo>
                    <a:lnTo>
                      <a:pt x="96" y="61"/>
                    </a:lnTo>
                    <a:close/>
                    <a:moveTo>
                      <a:pt x="97" y="56"/>
                    </a:moveTo>
                    <a:lnTo>
                      <a:pt x="97" y="55"/>
                    </a:lnTo>
                    <a:lnTo>
                      <a:pt x="99" y="55"/>
                    </a:lnTo>
                    <a:lnTo>
                      <a:pt x="99" y="53"/>
                    </a:lnTo>
                    <a:lnTo>
                      <a:pt x="101" y="53"/>
                    </a:lnTo>
                    <a:lnTo>
                      <a:pt x="101" y="51"/>
                    </a:lnTo>
                    <a:lnTo>
                      <a:pt x="101" y="53"/>
                    </a:lnTo>
                    <a:lnTo>
                      <a:pt x="102" y="53"/>
                    </a:lnTo>
                    <a:lnTo>
                      <a:pt x="101" y="53"/>
                    </a:lnTo>
                    <a:lnTo>
                      <a:pt x="99" y="55"/>
                    </a:lnTo>
                    <a:lnTo>
                      <a:pt x="97" y="56"/>
                    </a:lnTo>
                    <a:close/>
                    <a:moveTo>
                      <a:pt x="102" y="53"/>
                    </a:moveTo>
                    <a:lnTo>
                      <a:pt x="104" y="53"/>
                    </a:lnTo>
                    <a:lnTo>
                      <a:pt x="102" y="55"/>
                    </a:lnTo>
                    <a:lnTo>
                      <a:pt x="101" y="55"/>
                    </a:lnTo>
                    <a:lnTo>
                      <a:pt x="101" y="56"/>
                    </a:lnTo>
                    <a:lnTo>
                      <a:pt x="99" y="56"/>
                    </a:lnTo>
                    <a:lnTo>
                      <a:pt x="99" y="55"/>
                    </a:lnTo>
                    <a:lnTo>
                      <a:pt x="101" y="55"/>
                    </a:lnTo>
                    <a:lnTo>
                      <a:pt x="101" y="53"/>
                    </a:lnTo>
                    <a:lnTo>
                      <a:pt x="102" y="53"/>
                    </a:lnTo>
                    <a:close/>
                    <a:moveTo>
                      <a:pt x="96" y="58"/>
                    </a:moveTo>
                    <a:lnTo>
                      <a:pt x="96" y="56"/>
                    </a:lnTo>
                    <a:lnTo>
                      <a:pt x="97" y="55"/>
                    </a:lnTo>
                    <a:lnTo>
                      <a:pt x="99" y="55"/>
                    </a:lnTo>
                    <a:lnTo>
                      <a:pt x="97" y="55"/>
                    </a:lnTo>
                    <a:lnTo>
                      <a:pt x="97" y="56"/>
                    </a:lnTo>
                    <a:lnTo>
                      <a:pt x="96" y="56"/>
                    </a:lnTo>
                    <a:lnTo>
                      <a:pt x="96" y="58"/>
                    </a:lnTo>
                    <a:close/>
                    <a:moveTo>
                      <a:pt x="99" y="49"/>
                    </a:moveTo>
                    <a:lnTo>
                      <a:pt x="99" y="51"/>
                    </a:lnTo>
                    <a:lnTo>
                      <a:pt x="99" y="49"/>
                    </a:lnTo>
                    <a:close/>
                    <a:moveTo>
                      <a:pt x="97" y="60"/>
                    </a:moveTo>
                    <a:lnTo>
                      <a:pt x="97" y="61"/>
                    </a:lnTo>
                    <a:lnTo>
                      <a:pt x="97" y="60"/>
                    </a:lnTo>
                    <a:close/>
                    <a:moveTo>
                      <a:pt x="96" y="56"/>
                    </a:moveTo>
                    <a:lnTo>
                      <a:pt x="97" y="56"/>
                    </a:lnTo>
                    <a:lnTo>
                      <a:pt x="97" y="58"/>
                    </a:lnTo>
                    <a:lnTo>
                      <a:pt x="96" y="58"/>
                    </a:lnTo>
                    <a:lnTo>
                      <a:pt x="96" y="56"/>
                    </a:lnTo>
                    <a:close/>
                    <a:moveTo>
                      <a:pt x="96" y="58"/>
                    </a:moveTo>
                    <a:lnTo>
                      <a:pt x="96" y="60"/>
                    </a:lnTo>
                    <a:lnTo>
                      <a:pt x="96" y="58"/>
                    </a:lnTo>
                    <a:close/>
                    <a:moveTo>
                      <a:pt x="97" y="53"/>
                    </a:moveTo>
                    <a:lnTo>
                      <a:pt x="97" y="55"/>
                    </a:lnTo>
                    <a:lnTo>
                      <a:pt x="97" y="53"/>
                    </a:lnTo>
                    <a:close/>
                    <a:moveTo>
                      <a:pt x="96" y="61"/>
                    </a:moveTo>
                    <a:lnTo>
                      <a:pt x="97" y="61"/>
                    </a:lnTo>
                    <a:lnTo>
                      <a:pt x="96" y="61"/>
                    </a:lnTo>
                    <a:close/>
                    <a:moveTo>
                      <a:pt x="96" y="56"/>
                    </a:moveTo>
                    <a:lnTo>
                      <a:pt x="96" y="58"/>
                    </a:lnTo>
                    <a:lnTo>
                      <a:pt x="96" y="56"/>
                    </a:lnTo>
                    <a:close/>
                    <a:moveTo>
                      <a:pt x="96" y="63"/>
                    </a:moveTo>
                    <a:lnTo>
                      <a:pt x="96" y="65"/>
                    </a:lnTo>
                    <a:lnTo>
                      <a:pt x="96" y="63"/>
                    </a:lnTo>
                    <a:close/>
                    <a:moveTo>
                      <a:pt x="97" y="60"/>
                    </a:moveTo>
                    <a:lnTo>
                      <a:pt x="97" y="61"/>
                    </a:lnTo>
                    <a:lnTo>
                      <a:pt x="97" y="60"/>
                    </a:lnTo>
                    <a:close/>
                    <a:moveTo>
                      <a:pt x="96" y="73"/>
                    </a:moveTo>
                    <a:lnTo>
                      <a:pt x="96" y="75"/>
                    </a:lnTo>
                    <a:lnTo>
                      <a:pt x="96" y="73"/>
                    </a:lnTo>
                    <a:close/>
                    <a:moveTo>
                      <a:pt x="96" y="63"/>
                    </a:moveTo>
                    <a:lnTo>
                      <a:pt x="96" y="65"/>
                    </a:lnTo>
                    <a:lnTo>
                      <a:pt x="96" y="63"/>
                    </a:lnTo>
                    <a:close/>
                    <a:moveTo>
                      <a:pt x="94" y="61"/>
                    </a:moveTo>
                    <a:lnTo>
                      <a:pt x="96" y="61"/>
                    </a:lnTo>
                    <a:lnTo>
                      <a:pt x="96" y="63"/>
                    </a:lnTo>
                    <a:lnTo>
                      <a:pt x="94" y="63"/>
                    </a:lnTo>
                    <a:lnTo>
                      <a:pt x="94" y="61"/>
                    </a:lnTo>
                    <a:close/>
                    <a:moveTo>
                      <a:pt x="96" y="60"/>
                    </a:moveTo>
                    <a:lnTo>
                      <a:pt x="96" y="61"/>
                    </a:lnTo>
                    <a:lnTo>
                      <a:pt x="96" y="60"/>
                    </a:lnTo>
                    <a:close/>
                    <a:moveTo>
                      <a:pt x="96" y="58"/>
                    </a:moveTo>
                    <a:lnTo>
                      <a:pt x="96" y="60"/>
                    </a:lnTo>
                    <a:lnTo>
                      <a:pt x="96" y="58"/>
                    </a:lnTo>
                    <a:close/>
                    <a:moveTo>
                      <a:pt x="94" y="66"/>
                    </a:moveTo>
                    <a:lnTo>
                      <a:pt x="94" y="68"/>
                    </a:lnTo>
                    <a:lnTo>
                      <a:pt x="94" y="66"/>
                    </a:lnTo>
                    <a:close/>
                  </a:path>
                </a:pathLst>
              </a:custGeom>
              <a:solidFill>
                <a:schemeClr val="accent1"/>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pic>
          <p:nvPicPr>
            <p:cNvPr id="21" name="Picture 20">
              <a:extLst>
                <a:ext uri="{FF2B5EF4-FFF2-40B4-BE49-F238E27FC236}">
                  <a16:creationId xmlns:a16="http://schemas.microsoft.com/office/drawing/2014/main" id="{2B69D97A-9B71-D05F-FAB1-1773123F8603}"/>
                </a:ext>
              </a:extLst>
            </p:cNvPr>
            <p:cNvPicPr>
              <a:picLocks/>
            </p:cNvPicPr>
            <p:nvPr/>
          </p:nvPicPr>
          <p:blipFill>
            <a:blip r:embed="rId89" cstate="screen">
              <a:extLst>
                <a:ext uri="{28A0092B-C50C-407E-A947-70E740481C1C}">
                  <a14:useLocalDpi xmlns:a14="http://schemas.microsoft.com/office/drawing/2010/main"/>
                </a:ext>
              </a:extLst>
            </a:blip>
            <a:stretch>
              <a:fillRect/>
            </a:stretch>
          </p:blipFill>
          <p:spPr>
            <a:xfrm>
              <a:off x="1615441" y="2734812"/>
              <a:ext cx="259080" cy="167383"/>
            </a:xfrm>
            <a:prstGeom prst="rect">
              <a:avLst/>
            </a:prstGeom>
            <a:ln>
              <a:solidFill>
                <a:srgbClr val="CCCCCC"/>
              </a:solidFill>
            </a:ln>
          </p:spPr>
        </p:pic>
      </p:grpSp>
      <p:pic>
        <p:nvPicPr>
          <p:cNvPr id="5" name="Picture 4">
            <a:extLst>
              <a:ext uri="{FF2B5EF4-FFF2-40B4-BE49-F238E27FC236}">
                <a16:creationId xmlns:a16="http://schemas.microsoft.com/office/drawing/2014/main" id="{9A0A3D98-E931-E591-082D-F53A259E42E3}"/>
              </a:ext>
            </a:extLst>
          </p:cNvPr>
          <p:cNvPicPr>
            <a:picLocks noChangeAspect="1" noChangeArrowheads="1"/>
          </p:cNvPicPr>
          <p:nvPr/>
        </p:nvPicPr>
        <p:blipFill rotWithShape="1">
          <a:blip r:embed="rId90" cstate="screen">
            <a:extLst>
              <a:ext uri="{28A0092B-C50C-407E-A947-70E740481C1C}">
                <a14:useLocalDpi xmlns:a14="http://schemas.microsoft.com/office/drawing/2010/main"/>
              </a:ext>
            </a:extLst>
          </a:blip>
          <a:srcRect l="11288" t="26488" r="7863" b="33979"/>
          <a:stretch/>
        </p:blipFill>
        <p:spPr bwMode="auto">
          <a:xfrm>
            <a:off x="7256422" y="2855018"/>
            <a:ext cx="655133" cy="166868"/>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5">
            <a:extLst>
              <a:ext uri="{FF2B5EF4-FFF2-40B4-BE49-F238E27FC236}">
                <a16:creationId xmlns:a16="http://schemas.microsoft.com/office/drawing/2014/main" id="{5D150028-72A9-3716-0964-69891243FA45}"/>
              </a:ext>
            </a:extLst>
          </p:cNvPr>
          <p:cNvSpPr txBox="1">
            <a:spLocks/>
          </p:cNvSpPr>
          <p:nvPr>
            <p:custDataLst>
              <p:tags r:id="rId13"/>
            </p:custDataLst>
          </p:nvPr>
        </p:nvSpPr>
        <p:spPr>
          <a:xfrm>
            <a:off x="346074" y="5064759"/>
            <a:ext cx="5524265" cy="1296355"/>
          </a:xfrm>
          <a:prstGeom prst="rect">
            <a:avLst/>
          </a:prstGeom>
          <a:noFill/>
          <a:ln w="6350">
            <a:solidFill>
              <a:schemeClr val="accent1"/>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C9A319"/>
              </a:buClr>
              <a:buSzTx/>
              <a:buFontTx/>
              <a:buNone/>
              <a:tabLst/>
              <a:defRPr/>
            </a:pPr>
            <a:endParaRPr kumimoji="0" lang="en-CA" sz="1200" b="0" i="0" u="none" strike="noStrike" kern="1200" cap="none" spc="0" normalizeH="0" baseline="0" noProof="0" dirty="0">
              <a:ln>
                <a:noFill/>
              </a:ln>
              <a:solidFill>
                <a:srgbClr val="FF0000"/>
              </a:solidFill>
              <a:effectLst/>
              <a:uLnTx/>
              <a:uFillTx/>
              <a:latin typeface="Calibri" panose="020F0502020204030204" pitchFamily="34" charset="0"/>
              <a:ea typeface="ＭＳ Ｐゴシック"/>
              <a:cs typeface="Calibri" panose="020F0502020204030204" pitchFamily="34" charset="0"/>
            </a:endParaRPr>
          </a:p>
        </p:txBody>
      </p:sp>
      <p:sp>
        <p:nvSpPr>
          <p:cNvPr id="27" name="Rectangle 5">
            <a:extLst>
              <a:ext uri="{FF2B5EF4-FFF2-40B4-BE49-F238E27FC236}">
                <a16:creationId xmlns:a16="http://schemas.microsoft.com/office/drawing/2014/main" id="{3ABDB84E-9917-9960-CE40-D6A82A13BF6D}"/>
              </a:ext>
            </a:extLst>
          </p:cNvPr>
          <p:cNvSpPr txBox="1">
            <a:spLocks/>
          </p:cNvSpPr>
          <p:nvPr>
            <p:custDataLst>
              <p:tags r:id="rId14"/>
            </p:custDataLst>
          </p:nvPr>
        </p:nvSpPr>
        <p:spPr>
          <a:xfrm>
            <a:off x="6197600" y="5064759"/>
            <a:ext cx="5689601" cy="1296355"/>
          </a:xfrm>
          <a:prstGeom prst="rect">
            <a:avLst/>
          </a:prstGeom>
          <a:noFill/>
          <a:ln w="6350">
            <a:solidFill>
              <a:schemeClr val="accent1"/>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C9A319"/>
              </a:buClr>
              <a:buSzTx/>
              <a:buFontTx/>
              <a:buNone/>
              <a:tabLst/>
              <a:defRPr/>
            </a:pPr>
            <a:endParaRPr kumimoji="0" lang="en-CA" sz="1200" b="0" i="0" u="none" strike="noStrike" kern="1200" cap="none" spc="0" normalizeH="0" baseline="0" noProof="0" dirty="0">
              <a:ln>
                <a:noFill/>
              </a:ln>
              <a:solidFill>
                <a:srgbClr val="FF0000"/>
              </a:solidFill>
              <a:effectLst/>
              <a:uLnTx/>
              <a:uFillTx/>
              <a:latin typeface="Calibri" panose="020F0502020204030204" pitchFamily="34" charset="0"/>
              <a:ea typeface="ＭＳ Ｐゴシック"/>
              <a:cs typeface="Calibri" panose="020F0502020204030204" pitchFamily="34" charset="0"/>
            </a:endParaRPr>
          </a:p>
        </p:txBody>
      </p:sp>
      <p:sp>
        <p:nvSpPr>
          <p:cNvPr id="32" name="AutoShape 250">
            <a:extLst>
              <a:ext uri="{FF2B5EF4-FFF2-40B4-BE49-F238E27FC236}">
                <a16:creationId xmlns:a16="http://schemas.microsoft.com/office/drawing/2014/main" id="{B53F45E8-AD75-E645-5870-F05D8D0C2573}"/>
              </a:ext>
            </a:extLst>
          </p:cNvPr>
          <p:cNvSpPr>
            <a:spLocks noChangeArrowheads="1"/>
          </p:cNvSpPr>
          <p:nvPr/>
        </p:nvSpPr>
        <p:spPr bwMode="auto">
          <a:xfrm>
            <a:off x="429449" y="5337175"/>
            <a:ext cx="5195032" cy="153888"/>
          </a:xfrm>
          <a:prstGeom prst="leftRightArrow">
            <a:avLst>
              <a:gd name="adj1" fmla="val 100000"/>
              <a:gd name="adj2" fmla="val 0"/>
            </a:avLst>
          </a:prstGeom>
          <a:noFill/>
          <a:ln w="9525">
            <a:noFill/>
            <a:miter lim="800000"/>
            <a:headEnd/>
            <a:tailEnd/>
          </a:ln>
          <a:effectLst/>
        </p:spPr>
        <p:txBody>
          <a:bodyPr vert="horz" wrap="square" lIns="0" tIns="0" rIns="0" bIns="0" numCol="1" anchor="ctr" anchorCtr="0" compatLnSpc="1">
            <a:prstTxWarp prst="textNoShape">
              <a:avLst/>
            </a:prstTxWarp>
            <a:spAutoFit/>
          </a:body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Country exports by value, </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BUSD</a:t>
            </a:r>
          </a:p>
        </p:txBody>
      </p:sp>
      <p:sp>
        <p:nvSpPr>
          <p:cNvPr id="47" name="Rectangle 8">
            <a:extLst>
              <a:ext uri="{FF2B5EF4-FFF2-40B4-BE49-F238E27FC236}">
                <a16:creationId xmlns:a16="http://schemas.microsoft.com/office/drawing/2014/main" id="{8DAA2240-7487-B17B-ED59-4B9F693E71EB}"/>
              </a:ext>
            </a:extLst>
          </p:cNvPr>
          <p:cNvSpPr txBox="1">
            <a:spLocks/>
          </p:cNvSpPr>
          <p:nvPr>
            <p:custDataLst>
              <p:tags r:id="rId15"/>
            </p:custDataLst>
          </p:nvPr>
        </p:nvSpPr>
        <p:spPr>
          <a:xfrm>
            <a:off x="428225" y="5110807"/>
            <a:ext cx="5524264" cy="184666"/>
          </a:xfrm>
          <a:prstGeom prst="rect">
            <a:avLst/>
          </a:prstGeom>
          <a:noFill/>
          <a:ln w="9525">
            <a:noFill/>
            <a:miter lim="800000"/>
            <a:headEnd/>
            <a:tailEnd/>
          </a:ln>
          <a:effectLst/>
        </p:spPr>
        <p:txBody>
          <a:bodyPr vert="horz" wrap="square" lIns="0" tIns="0" rIns="0" bIns="0" numCol="1" anchor="ctr"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CA" sz="12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Gold historically was the main source of exports, but in recent years is losing its share</a:t>
            </a:r>
          </a:p>
        </p:txBody>
      </p:sp>
      <p:sp>
        <p:nvSpPr>
          <p:cNvPr id="48" name="Rectangle 8">
            <a:extLst>
              <a:ext uri="{FF2B5EF4-FFF2-40B4-BE49-F238E27FC236}">
                <a16:creationId xmlns:a16="http://schemas.microsoft.com/office/drawing/2014/main" id="{8DDA8321-4CD8-9B78-8459-D73FA36FD43C}"/>
              </a:ext>
            </a:extLst>
          </p:cNvPr>
          <p:cNvSpPr txBox="1">
            <a:spLocks/>
          </p:cNvSpPr>
          <p:nvPr>
            <p:custDataLst>
              <p:tags r:id="rId16"/>
            </p:custDataLst>
          </p:nvPr>
        </p:nvSpPr>
        <p:spPr>
          <a:xfrm>
            <a:off x="6312992" y="5110807"/>
            <a:ext cx="5744216" cy="184666"/>
          </a:xfrm>
          <a:prstGeom prst="rect">
            <a:avLst/>
          </a:prstGeom>
          <a:noFill/>
          <a:ln w="9525">
            <a:noFill/>
            <a:miter lim="800000"/>
            <a:headEnd/>
            <a:tailEnd/>
          </a:ln>
          <a:effectLst/>
        </p:spPr>
        <p:txBody>
          <a:bodyPr vert="horz" wrap="square" lIns="0" tIns="0" rIns="0" bIns="0" numCol="1" anchor="ctr" anchorCtr="0" compatLnSpc="1">
            <a:prstTxWarp prst="textNoShape">
              <a:avLst/>
            </a:prstTxWarp>
            <a:noAutofit/>
          </a:bodyPr>
          <a:lstStyle>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sz="1400" baseline="0">
                <a:latin typeface="+mn-lt"/>
              </a:defRPr>
            </a:lvl2pPr>
            <a:lvl3pPr marL="466481" lvl="2" indent="-267255" defTabSz="913526" eaLnBrk="1" hangingPunct="1">
              <a:buClr>
                <a:schemeClr val="tx2"/>
              </a:buClr>
              <a:buSzPct val="120000"/>
              <a:buFont typeface="Arial" charset="0"/>
              <a:buChar char="–"/>
              <a:defRPr sz="1400" baseline="0">
                <a:latin typeface="+mn-lt"/>
              </a:defRPr>
            </a:lvl3pPr>
            <a:lvl4pPr marL="626835" lvl="3" indent="-158733" defTabSz="913526" eaLnBrk="1" hangingPunct="1">
              <a:buClr>
                <a:schemeClr val="tx2"/>
              </a:buClr>
              <a:buSzPct val="120000"/>
              <a:buFont typeface="Arial" charset="0"/>
              <a:buChar char="▫"/>
              <a:defRPr sz="1400" baseline="0">
                <a:latin typeface="+mn-lt"/>
              </a:defRPr>
            </a:lvl4pPr>
            <a:lvl5pPr marL="765029" lvl="4" indent="-132818" defTabSz="913526" eaLnBrk="1" hangingPunct="1">
              <a:buClr>
                <a:schemeClr val="tx2"/>
              </a:buClr>
              <a:buSzPct val="89000"/>
              <a:buFont typeface="Arial" charset="0"/>
              <a:buChar char="-"/>
              <a:defRPr sz="14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CA" sz="12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Aurora is the only industrial scale gold mine in operation in Guyana</a:t>
            </a:r>
          </a:p>
        </p:txBody>
      </p:sp>
      <p:sp>
        <p:nvSpPr>
          <p:cNvPr id="52" name="Rectangle 51">
            <a:extLst>
              <a:ext uri="{FF2B5EF4-FFF2-40B4-BE49-F238E27FC236}">
                <a16:creationId xmlns:a16="http://schemas.microsoft.com/office/drawing/2014/main" id="{061F567F-D194-202B-5FE3-8BE39FD4273F}"/>
              </a:ext>
            </a:extLst>
          </p:cNvPr>
          <p:cNvSpPr/>
          <p:nvPr>
            <p:custDataLst>
              <p:tags r:id="rId17"/>
            </p:custDataLst>
          </p:nvPr>
        </p:nvSpPr>
        <p:spPr bwMode="auto">
          <a:xfrm>
            <a:off x="3133726" y="5362575"/>
            <a:ext cx="123825" cy="123825"/>
          </a:xfrm>
          <a:prstGeom prst="rect">
            <a:avLst/>
          </a:prstGeom>
          <a:solidFill>
            <a:schemeClr val="accent3"/>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pt-BR" sz="1600" b="0" i="0" u="none" strike="noStrike" kern="1200" cap="none" spc="0" normalizeH="0" baseline="0" noProof="0" dirty="0" err="1">
              <a:ln>
                <a:noFill/>
              </a:ln>
              <a:solidFill>
                <a:srgbClr val="FFFFFF"/>
              </a:solidFill>
              <a:effectLst/>
              <a:uLnTx/>
              <a:uFillTx/>
              <a:latin typeface="Calibri" panose="020F0502020204030204" pitchFamily="34" charset="0"/>
              <a:ea typeface="+mn-ea"/>
              <a:cs typeface="+mn-cs"/>
            </a:endParaRPr>
          </a:p>
        </p:txBody>
      </p:sp>
      <p:sp>
        <p:nvSpPr>
          <p:cNvPr id="49" name="Rectangle 48">
            <a:extLst>
              <a:ext uri="{FF2B5EF4-FFF2-40B4-BE49-F238E27FC236}">
                <a16:creationId xmlns:a16="http://schemas.microsoft.com/office/drawing/2014/main" id="{4A2C504E-CB64-1F0F-27E0-708C6857102C}"/>
              </a:ext>
            </a:extLst>
          </p:cNvPr>
          <p:cNvSpPr/>
          <p:nvPr>
            <p:custDataLst>
              <p:tags r:id="rId18"/>
            </p:custDataLst>
          </p:nvPr>
        </p:nvSpPr>
        <p:spPr bwMode="auto">
          <a:xfrm>
            <a:off x="4027489" y="5362575"/>
            <a:ext cx="123825" cy="123825"/>
          </a:xfrm>
          <a:prstGeom prst="rect">
            <a:avLst/>
          </a:prstGeom>
          <a:solidFill>
            <a:schemeClr val="accent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pt-BR" sz="1600" b="0" i="0" u="none" strike="noStrike" kern="1200" cap="none" spc="0" normalizeH="0" baseline="0" noProof="0" dirty="0" err="1">
              <a:ln>
                <a:noFill/>
              </a:ln>
              <a:solidFill>
                <a:srgbClr val="FFFFFF"/>
              </a:solidFill>
              <a:effectLst/>
              <a:uLnTx/>
              <a:uFillTx/>
              <a:latin typeface="Calibri" panose="020F0502020204030204" pitchFamily="34" charset="0"/>
              <a:ea typeface="+mn-ea"/>
              <a:cs typeface="+mn-cs"/>
            </a:endParaRPr>
          </a:p>
        </p:txBody>
      </p:sp>
      <p:sp>
        <p:nvSpPr>
          <p:cNvPr id="54" name="Rectangle 53">
            <a:extLst>
              <a:ext uri="{FF2B5EF4-FFF2-40B4-BE49-F238E27FC236}">
                <a16:creationId xmlns:a16="http://schemas.microsoft.com/office/drawing/2014/main" id="{3ADC29E8-93AB-35F7-FBE2-292231DF7671}"/>
              </a:ext>
            </a:extLst>
          </p:cNvPr>
          <p:cNvSpPr/>
          <p:nvPr>
            <p:custDataLst>
              <p:tags r:id="rId19"/>
            </p:custDataLst>
          </p:nvPr>
        </p:nvSpPr>
        <p:spPr bwMode="auto">
          <a:xfrm>
            <a:off x="4522789" y="5362575"/>
            <a:ext cx="123825" cy="123825"/>
          </a:xfrm>
          <a:prstGeom prst="rect">
            <a:avLst/>
          </a:prstGeom>
          <a:solidFill>
            <a:schemeClr val="accent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5" name="Text Placeholder 2">
            <a:extLst>
              <a:ext uri="{FF2B5EF4-FFF2-40B4-BE49-F238E27FC236}">
                <a16:creationId xmlns:a16="http://schemas.microsoft.com/office/drawing/2014/main" id="{97DB51BC-C77B-673B-511B-2485276AA23A}"/>
              </a:ext>
            </a:extLst>
          </p:cNvPr>
          <p:cNvSpPr>
            <a:spLocks noGrp="1"/>
          </p:cNvSpPr>
          <p:nvPr>
            <p:custDataLst>
              <p:tags r:id="rId20"/>
            </p:custDataLst>
          </p:nvPr>
        </p:nvSpPr>
        <p:spPr bwMode="auto">
          <a:xfrm>
            <a:off x="3308350" y="5360988"/>
            <a:ext cx="6175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9F3E1BFE-9D90-420D-9BE6-1A0DEA1C6409}" type="datetime'''Othe''''''''r'''''''' ''''''mi''''''n''i''''''n''''''''g'">
              <a:rPr kumimoji="0" lang="pt-BR" altLang="en-US" sz="900" b="0" i="0" u="none" strike="noStrike" kern="1200" cap="none" spc="0" normalizeH="0" baseline="0" noProof="0" smtClean="0">
                <a:ln>
                  <a:noFill/>
                </a:ln>
                <a:solidFill>
                  <a:srgbClr val="000000"/>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Other mining</a:t>
            </a:fld>
            <a:endParaRPr kumimoji="0" lang="pt-BR" sz="9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endParaRPr>
          </a:p>
        </p:txBody>
      </p:sp>
      <p:sp>
        <p:nvSpPr>
          <p:cNvPr id="56" name="Text Placeholder 2">
            <a:extLst>
              <a:ext uri="{FF2B5EF4-FFF2-40B4-BE49-F238E27FC236}">
                <a16:creationId xmlns:a16="http://schemas.microsoft.com/office/drawing/2014/main" id="{D4D9C0E5-CEA0-C7A2-92D1-09EEF8E62696}"/>
              </a:ext>
            </a:extLst>
          </p:cNvPr>
          <p:cNvSpPr>
            <a:spLocks noGrp="1"/>
          </p:cNvSpPr>
          <p:nvPr>
            <p:custDataLst>
              <p:tags r:id="rId21"/>
            </p:custDataLst>
          </p:nvPr>
        </p:nvSpPr>
        <p:spPr bwMode="auto">
          <a:xfrm>
            <a:off x="4202113" y="5360988"/>
            <a:ext cx="2190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01F17175-F909-464A-ADE7-8C50A89A5FCD}" type="datetime'''G''''o''''''''''''''''''''''l''''''''''''''''d'''''''''''''">
              <a:rPr kumimoji="0" lang="pt-BR" altLang="en-US" sz="900" b="0" i="0" u="none" strike="noStrike" kern="1200" cap="none" spc="0" normalizeH="0" baseline="0" noProof="0" smtClean="0">
                <a:ln>
                  <a:noFill/>
                </a:ln>
                <a:solidFill>
                  <a:srgbClr val="000000"/>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Gold</a:t>
            </a:fld>
            <a:endParaRPr kumimoji="0" lang="pt-BR" sz="9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endParaRPr>
          </a:p>
        </p:txBody>
      </p:sp>
      <p:sp>
        <p:nvSpPr>
          <p:cNvPr id="57" name="Text Placeholder 2">
            <a:extLst>
              <a:ext uri="{FF2B5EF4-FFF2-40B4-BE49-F238E27FC236}">
                <a16:creationId xmlns:a16="http://schemas.microsoft.com/office/drawing/2014/main" id="{B7A12B1D-FB75-396A-CB0E-F76E3AF931F4}"/>
              </a:ext>
            </a:extLst>
          </p:cNvPr>
          <p:cNvSpPr>
            <a:spLocks noGrp="1"/>
          </p:cNvSpPr>
          <p:nvPr>
            <p:custDataLst>
              <p:tags r:id="rId22"/>
            </p:custDataLst>
          </p:nvPr>
        </p:nvSpPr>
        <p:spPr bwMode="auto">
          <a:xfrm>
            <a:off x="4697413" y="5360988"/>
            <a:ext cx="6286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FAF976AC-FB86-4AEC-B129-401DB50D7389}" type="datetime'O''''t''''''h''''''''er'''' ''s''ect''''''o''''rs'''''''''''''">
              <a:rPr kumimoji="0" lang="pt-BR" altLang="en-US" sz="900" b="0" i="0" u="none" strike="noStrike" kern="1200" cap="none" spc="0" normalizeH="0" baseline="0" noProof="0" smtClean="0">
                <a:ln>
                  <a:noFill/>
                </a:ln>
                <a:solidFill>
                  <a:srgbClr val="000000"/>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Other sectors</a:t>
            </a:fld>
            <a:endParaRPr kumimoji="0" lang="pt-BR" sz="9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endParaRPr>
          </a:p>
        </p:txBody>
      </p:sp>
      <p:graphicFrame>
        <p:nvGraphicFramePr>
          <p:cNvPr id="9" name="Chart 8">
            <a:extLst>
              <a:ext uri="{FF2B5EF4-FFF2-40B4-BE49-F238E27FC236}">
                <a16:creationId xmlns:a16="http://schemas.microsoft.com/office/drawing/2014/main" id="{18D1CCC2-8A69-FE16-7A28-AF44A9613E86}"/>
              </a:ext>
            </a:extLst>
          </p:cNvPr>
          <p:cNvGraphicFramePr/>
          <p:nvPr>
            <p:custDataLst>
              <p:tags r:id="rId23"/>
            </p:custDataLst>
            <p:extLst>
              <p:ext uri="{D42A27DB-BD31-4B8C-83A1-F6EECF244321}">
                <p14:modId xmlns:p14="http://schemas.microsoft.com/office/powerpoint/2010/main" val="2551299198"/>
              </p:ext>
            </p:extLst>
          </p:nvPr>
        </p:nvGraphicFramePr>
        <p:xfrm>
          <a:off x="344488" y="5651500"/>
          <a:ext cx="5359400" cy="523875"/>
        </p:xfrm>
        <a:graphic>
          <a:graphicData uri="http://schemas.openxmlformats.org/drawingml/2006/chart">
            <c:chart xmlns:c="http://schemas.openxmlformats.org/drawingml/2006/chart" xmlns:r="http://schemas.openxmlformats.org/officeDocument/2006/relationships" r:id="rId91"/>
          </a:graphicData>
        </a:graphic>
      </p:graphicFrame>
      <p:cxnSp>
        <p:nvCxnSpPr>
          <p:cNvPr id="67" name="Straight Connector 66">
            <a:extLst>
              <a:ext uri="{FF2B5EF4-FFF2-40B4-BE49-F238E27FC236}">
                <a16:creationId xmlns:a16="http://schemas.microsoft.com/office/drawing/2014/main" id="{1B079BAA-4987-0259-9C8A-C6EF876CEC9B}"/>
              </a:ext>
            </a:extLst>
          </p:cNvPr>
          <p:cNvCxnSpPr>
            <a:cxnSpLocks/>
          </p:cNvCxnSpPr>
          <p:nvPr>
            <p:custDataLst>
              <p:tags r:id="rId24"/>
            </p:custDataLst>
          </p:nvPr>
        </p:nvCxnSpPr>
        <p:spPr bwMode="gray">
          <a:xfrm flipH="1">
            <a:off x="1241425" y="5991225"/>
            <a:ext cx="92075" cy="41275"/>
          </a:xfrm>
          <a:prstGeom prst="line">
            <a:avLst/>
          </a:prstGeom>
          <a:ln w="6350" cap="flat" cmpd="sng" algn="ctr">
            <a:solidFill>
              <a:schemeClr val="tx1">
                <a:lumMod val="85000"/>
                <a:lumOff val="15000"/>
              </a:schemeClr>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 name="Straight Connector 67">
            <a:extLst>
              <a:ext uri="{FF2B5EF4-FFF2-40B4-BE49-F238E27FC236}">
                <a16:creationId xmlns:a16="http://schemas.microsoft.com/office/drawing/2014/main" id="{28E43568-E8A9-8343-CCBB-2E8CC78156FF}"/>
              </a:ext>
            </a:extLst>
          </p:cNvPr>
          <p:cNvCxnSpPr>
            <a:cxnSpLocks/>
          </p:cNvCxnSpPr>
          <p:nvPr>
            <p:custDataLst>
              <p:tags r:id="rId25"/>
            </p:custDataLst>
          </p:nvPr>
        </p:nvCxnSpPr>
        <p:spPr bwMode="gray">
          <a:xfrm flipH="1">
            <a:off x="2279650" y="5991225"/>
            <a:ext cx="92075" cy="33338"/>
          </a:xfrm>
          <a:prstGeom prst="line">
            <a:avLst/>
          </a:prstGeom>
          <a:ln w="6350" cap="flat" cmpd="sng" algn="ctr">
            <a:solidFill>
              <a:schemeClr val="tx1">
                <a:lumMod val="85000"/>
                <a:lumOff val="15000"/>
              </a:schemeClr>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Straight Connector 63">
            <a:extLst>
              <a:ext uri="{FF2B5EF4-FFF2-40B4-BE49-F238E27FC236}">
                <a16:creationId xmlns:a16="http://schemas.microsoft.com/office/drawing/2014/main" id="{85BE6EBD-10FF-DB35-A72C-BFC1D83A0F5A}"/>
              </a:ext>
            </a:extLst>
          </p:cNvPr>
          <p:cNvCxnSpPr>
            <a:cxnSpLocks/>
          </p:cNvCxnSpPr>
          <p:nvPr>
            <p:custDataLst>
              <p:tags r:id="rId26"/>
            </p:custDataLst>
          </p:nvPr>
        </p:nvCxnSpPr>
        <p:spPr bwMode="gray">
          <a:xfrm flipH="1">
            <a:off x="3319463" y="5965825"/>
            <a:ext cx="92075" cy="0"/>
          </a:xfrm>
          <a:prstGeom prst="line">
            <a:avLst/>
          </a:prstGeom>
          <a:ln w="6350" cap="flat" cmpd="sng" algn="ctr">
            <a:solidFill>
              <a:schemeClr val="tx1">
                <a:lumMod val="85000"/>
                <a:lumOff val="15000"/>
              </a:schemeClr>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Straight Connector 61">
            <a:extLst>
              <a:ext uri="{FF2B5EF4-FFF2-40B4-BE49-F238E27FC236}">
                <a16:creationId xmlns:a16="http://schemas.microsoft.com/office/drawing/2014/main" id="{2E62DC2F-57B8-F606-7E94-4BE9D94B4770}"/>
              </a:ext>
            </a:extLst>
          </p:cNvPr>
          <p:cNvCxnSpPr>
            <a:cxnSpLocks/>
          </p:cNvCxnSpPr>
          <p:nvPr>
            <p:custDataLst>
              <p:tags r:id="rId27"/>
            </p:custDataLst>
          </p:nvPr>
        </p:nvCxnSpPr>
        <p:spPr bwMode="gray">
          <a:xfrm flipH="1">
            <a:off x="4357688" y="5838825"/>
            <a:ext cx="92075" cy="61913"/>
          </a:xfrm>
          <a:prstGeom prst="line">
            <a:avLst/>
          </a:prstGeom>
          <a:ln w="6350" cap="flat" cmpd="sng" algn="ctr">
            <a:solidFill>
              <a:schemeClr val="tx1">
                <a:lumMod val="85000"/>
                <a:lumOff val="15000"/>
              </a:schemeClr>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 name="Straight Connector 3">
            <a:extLst>
              <a:ext uri="{FF2B5EF4-FFF2-40B4-BE49-F238E27FC236}">
                <a16:creationId xmlns:a16="http://schemas.microsoft.com/office/drawing/2014/main" id="{53807A70-6FAF-AA80-9D4A-FA44323B3EB7}"/>
              </a:ext>
            </a:extLst>
          </p:cNvPr>
          <p:cNvCxnSpPr/>
          <p:nvPr>
            <p:custDataLst>
              <p:tags r:id="rId28"/>
            </p:custDataLst>
          </p:nvPr>
        </p:nvCxnSpPr>
        <p:spPr bwMode="auto">
          <a:xfrm flipH="1" flipV="1">
            <a:off x="4357688" y="5927725"/>
            <a:ext cx="92075" cy="6350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47FA622D-59FC-71C8-09F4-5F2A2D8881E6}"/>
              </a:ext>
            </a:extLst>
          </p:cNvPr>
          <p:cNvCxnSpPr/>
          <p:nvPr>
            <p:custDataLst>
              <p:tags r:id="rId29"/>
            </p:custDataLst>
          </p:nvPr>
        </p:nvCxnSpPr>
        <p:spPr bwMode="auto">
          <a:xfrm flipH="1" flipV="1">
            <a:off x="5397500" y="5735638"/>
            <a:ext cx="92075" cy="74612"/>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2" name="Text Placeholder 2">
            <a:extLst>
              <a:ext uri="{FF2B5EF4-FFF2-40B4-BE49-F238E27FC236}">
                <a16:creationId xmlns:a16="http://schemas.microsoft.com/office/drawing/2014/main" id="{DA9E07A5-E07B-0FE1-8390-0B451B78B30C}"/>
              </a:ext>
            </a:extLst>
          </p:cNvPr>
          <p:cNvSpPr>
            <a:spLocks noGrp="1"/>
          </p:cNvSpPr>
          <p:nvPr>
            <p:custDataLst>
              <p:tags r:id="rId30"/>
            </p:custDataLst>
          </p:nvPr>
        </p:nvSpPr>
        <p:spPr bwMode="gray">
          <a:xfrm>
            <a:off x="1333500" y="5915025"/>
            <a:ext cx="196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CD097441-A0E5-4B68-92D5-4BD4533DCF88}" type="datetime'''''''''''''0.''1'''">
              <a:rPr kumimoji="0" lang="pt-BR" altLang="en-US" sz="1000" b="0" i="0" u="none" strike="noStrike" kern="1200" cap="none" spc="0" normalizeH="0" baseline="0" noProof="0" smtClean="0">
                <a:ln>
                  <a:noFill/>
                </a:ln>
                <a:solidFill>
                  <a:srgbClr val="000000"/>
                </a:solidFill>
                <a:effectLst/>
                <a:uLnTx/>
                <a:uFillTx/>
                <a:latin typeface="Calibri" panose="020F0502020204030204"/>
                <a:ea typeface="+mn-ea"/>
                <a:cs typeface="Calibri" panose="020F0502020204030204" pitchFamily="34" charset="0"/>
              </a:rPr>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t>0.1</a:t>
            </a:fld>
            <a:endParaRPr kumimoji="0" lang="pt-BR" sz="10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endParaRPr>
          </a:p>
        </p:txBody>
      </p:sp>
      <p:sp>
        <p:nvSpPr>
          <p:cNvPr id="130" name="Text Placeholder 2">
            <a:extLst>
              <a:ext uri="{FF2B5EF4-FFF2-40B4-BE49-F238E27FC236}">
                <a16:creationId xmlns:a16="http://schemas.microsoft.com/office/drawing/2014/main" id="{665AF388-B47D-D39D-2C98-7ADC0A4E4C16}"/>
              </a:ext>
            </a:extLst>
          </p:cNvPr>
          <p:cNvSpPr>
            <a:spLocks noGrp="1"/>
          </p:cNvSpPr>
          <p:nvPr>
            <p:custDataLst>
              <p:tags r:id="rId31"/>
            </p:custDataLst>
          </p:nvPr>
        </p:nvSpPr>
        <p:spPr bwMode="gray">
          <a:xfrm>
            <a:off x="1033463" y="5976938"/>
            <a:ext cx="196850" cy="152400"/>
          </a:xfrm>
          <a:prstGeom prst="rect">
            <a:avLst/>
          </a:prstGeom>
          <a:solidFill>
            <a:schemeClr val="accent2"/>
          </a:solidFill>
          <a:ln>
            <a:noFill/>
          </a:ln>
          <a:effec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DE5F7DA7-187E-4463-A85F-DFFB16459380}" type="datetime'''''''''''''''0''''''''''.''''''''''''''''8'''">
              <a:rPr kumimoji="0" lang="pt-BR" altLang="en-US" sz="1000" b="0" i="0" u="none" strike="noStrike" kern="1200" cap="none" spc="0" normalizeH="0" baseline="0" noProof="0" smtClean="0">
                <a:ln>
                  <a:noFill/>
                </a:ln>
                <a:solidFill>
                  <a:srgbClr val="FFFFFF"/>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0.8</a:t>
            </a:fld>
            <a:endParaRPr kumimoji="0" lang="pt-BR" sz="1000" b="0"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endParaRPr>
          </a:p>
        </p:txBody>
      </p:sp>
      <p:sp>
        <p:nvSpPr>
          <p:cNvPr id="127" name="Text Placeholder 2">
            <a:extLst>
              <a:ext uri="{FF2B5EF4-FFF2-40B4-BE49-F238E27FC236}">
                <a16:creationId xmlns:a16="http://schemas.microsoft.com/office/drawing/2014/main" id="{6DFB0CBA-C840-148F-E6EA-A7B8CD2208A6}"/>
              </a:ext>
            </a:extLst>
          </p:cNvPr>
          <p:cNvSpPr>
            <a:spLocks noGrp="1"/>
          </p:cNvSpPr>
          <p:nvPr>
            <p:custDataLst>
              <p:tags r:id="rId32"/>
            </p:custDataLst>
          </p:nvPr>
        </p:nvSpPr>
        <p:spPr bwMode="gray">
          <a:xfrm>
            <a:off x="661988" y="6005513"/>
            <a:ext cx="196850" cy="152400"/>
          </a:xfrm>
          <a:prstGeom prst="rect">
            <a:avLst/>
          </a:prstGeom>
          <a:solidFill>
            <a:schemeClr val="accent1"/>
          </a:solidFill>
          <a:ln>
            <a:noFill/>
          </a:ln>
          <a:effec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CDB7383F-155A-4DAB-A718-C245885F0913}" type="datetime'''''''''''''''''''''''''''''''0.''''''5'''''''''''''''''">
              <a:rPr kumimoji="0" lang="pt-BR" altLang="en-US" sz="1000" b="0" i="0" u="none" strike="noStrike" kern="1200" cap="none" spc="0" normalizeH="0" baseline="0" noProof="0" smtClean="0">
                <a:ln>
                  <a:noFill/>
                </a:ln>
                <a:solidFill>
                  <a:srgbClr val="FFFFFF"/>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0.5</a:t>
            </a:fld>
            <a:endParaRPr kumimoji="0" lang="pt-BR" sz="1000" b="0"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endParaRPr>
          </a:p>
        </p:txBody>
      </p:sp>
      <p:sp>
        <p:nvSpPr>
          <p:cNvPr id="89" name="Text Placeholder 2">
            <a:extLst>
              <a:ext uri="{FF2B5EF4-FFF2-40B4-BE49-F238E27FC236}">
                <a16:creationId xmlns:a16="http://schemas.microsoft.com/office/drawing/2014/main" id="{2EA8E84A-762F-42DA-0721-317094D7CB40}"/>
              </a:ext>
            </a:extLst>
          </p:cNvPr>
          <p:cNvSpPr>
            <a:spLocks noGrp="1"/>
          </p:cNvSpPr>
          <p:nvPr>
            <p:custDataLst>
              <p:tags r:id="rId33"/>
            </p:custDataLst>
          </p:nvPr>
        </p:nvSpPr>
        <p:spPr bwMode="auto">
          <a:xfrm>
            <a:off x="809625" y="6200775"/>
            <a:ext cx="2730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80A4F790-492C-4E77-A8BA-54D629F789BD}" type="datetime'2''''''''''''''''''''01''''''8'''''''''''''''''''">
              <a:rPr kumimoji="0" lang="pt-BR" altLang="en-US" sz="1000" b="0" i="0" u="none" strike="noStrike" kern="1200" cap="none" spc="0" normalizeH="0" baseline="0" noProof="0" smtClean="0">
                <a:ln>
                  <a:noFill/>
                </a:ln>
                <a:solidFill>
                  <a:srgbClr val="000000"/>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18</a:t>
            </a:fld>
            <a:endParaRPr kumimoji="0" lang="pt-BR" sz="10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endParaRPr>
          </a:p>
        </p:txBody>
      </p:sp>
      <p:sp>
        <p:nvSpPr>
          <p:cNvPr id="145" name="Text Placeholder 2">
            <a:extLst>
              <a:ext uri="{FF2B5EF4-FFF2-40B4-BE49-F238E27FC236}">
                <a16:creationId xmlns:a16="http://schemas.microsoft.com/office/drawing/2014/main" id="{C1AC4969-7090-7647-E787-7C0BDEFF157E}"/>
              </a:ext>
            </a:extLst>
          </p:cNvPr>
          <p:cNvSpPr>
            <a:spLocks noGrp="1"/>
          </p:cNvSpPr>
          <p:nvPr>
            <p:custDataLst>
              <p:tags r:id="rId34"/>
            </p:custDataLst>
          </p:nvPr>
        </p:nvSpPr>
        <p:spPr bwMode="gray">
          <a:xfrm>
            <a:off x="2371725" y="5915025"/>
            <a:ext cx="196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11A52E88-86B0-43D4-9DF4-3BE860B9D5E4}" type="datetime'''''''0.''''''''''1'''''''''''''''''''''''''''''''">
              <a:rPr kumimoji="0" lang="pt-BR" altLang="en-US" sz="1000" b="0" i="0" u="none" strike="noStrike" kern="1200" cap="none" spc="0" normalizeH="0" baseline="0" noProof="0" smtClean="0">
                <a:ln>
                  <a:noFill/>
                </a:ln>
                <a:solidFill>
                  <a:srgbClr val="000000"/>
                </a:solidFill>
                <a:effectLst/>
                <a:uLnTx/>
                <a:uFillTx/>
                <a:latin typeface="Calibri" panose="020F0502020204030204"/>
                <a:ea typeface="+mn-ea"/>
                <a:cs typeface="Calibri" panose="020F0502020204030204" pitchFamily="34" charset="0"/>
              </a:rPr>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t>0.1</a:t>
            </a:fld>
            <a:endParaRPr kumimoji="0" lang="pt-BR" sz="10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endParaRPr>
          </a:p>
        </p:txBody>
      </p:sp>
      <p:sp>
        <p:nvSpPr>
          <p:cNvPr id="134" name="Text Placeholder 2">
            <a:extLst>
              <a:ext uri="{FF2B5EF4-FFF2-40B4-BE49-F238E27FC236}">
                <a16:creationId xmlns:a16="http://schemas.microsoft.com/office/drawing/2014/main" id="{FD24AAA2-34F0-5CC1-4D2C-6DC9D913C63B}"/>
              </a:ext>
            </a:extLst>
          </p:cNvPr>
          <p:cNvSpPr>
            <a:spLocks noGrp="1"/>
          </p:cNvSpPr>
          <p:nvPr>
            <p:custDataLst>
              <p:tags r:id="rId35"/>
            </p:custDataLst>
          </p:nvPr>
        </p:nvSpPr>
        <p:spPr bwMode="gray">
          <a:xfrm>
            <a:off x="2071688" y="5972175"/>
            <a:ext cx="196850" cy="152400"/>
          </a:xfrm>
          <a:prstGeom prst="rect">
            <a:avLst/>
          </a:prstGeom>
          <a:solidFill>
            <a:schemeClr val="accent2"/>
          </a:solidFill>
          <a:ln>
            <a:noFill/>
          </a:ln>
          <a:effec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E9091B60-8ED6-489E-9EE6-4F1A37606749}" type="datetime'''''''''''''''''''''0''.''''''''''''9'''''">
              <a:rPr kumimoji="0" lang="pt-BR" altLang="en-US" sz="1000" b="0" i="0" u="none" strike="noStrike" kern="1200" cap="none" spc="0" normalizeH="0" baseline="0" noProof="0" smtClean="0">
                <a:ln>
                  <a:noFill/>
                </a:ln>
                <a:solidFill>
                  <a:srgbClr val="FFFFFF"/>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0.9</a:t>
            </a:fld>
            <a:endParaRPr kumimoji="0" lang="pt-BR" sz="1000" b="0"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endParaRPr>
          </a:p>
        </p:txBody>
      </p:sp>
      <p:sp>
        <p:nvSpPr>
          <p:cNvPr id="131" name="Text Placeholder 2">
            <a:extLst>
              <a:ext uri="{FF2B5EF4-FFF2-40B4-BE49-F238E27FC236}">
                <a16:creationId xmlns:a16="http://schemas.microsoft.com/office/drawing/2014/main" id="{1F7EBB0F-C27B-3891-F1D0-6EA9E62A6240}"/>
              </a:ext>
            </a:extLst>
          </p:cNvPr>
          <p:cNvSpPr>
            <a:spLocks noGrp="1"/>
          </p:cNvSpPr>
          <p:nvPr>
            <p:custDataLst>
              <p:tags r:id="rId36"/>
            </p:custDataLst>
          </p:nvPr>
        </p:nvSpPr>
        <p:spPr bwMode="gray">
          <a:xfrm>
            <a:off x="1700213" y="6003925"/>
            <a:ext cx="196850" cy="152400"/>
          </a:xfrm>
          <a:prstGeom prst="rect">
            <a:avLst/>
          </a:prstGeom>
          <a:solidFill>
            <a:schemeClr val="accent1"/>
          </a:solidFill>
          <a:ln>
            <a:noFill/>
          </a:ln>
          <a:effec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371D57CA-92FF-45F9-BB19-C534198A0D6F}" type="datetime'''''''''0''''''''.''''''''''''''''''''''''''''''''''''''''5'''">
              <a:rPr kumimoji="0" lang="pt-BR" altLang="en-US" sz="1000" b="0" i="0" u="none" strike="noStrike" kern="1200" cap="none" spc="0" normalizeH="0" baseline="0" noProof="0" smtClean="0">
                <a:ln>
                  <a:noFill/>
                </a:ln>
                <a:solidFill>
                  <a:srgbClr val="FFFFFF"/>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0.5</a:t>
            </a:fld>
            <a:endParaRPr kumimoji="0" lang="pt-BR" sz="1000" b="0"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endParaRPr>
          </a:p>
        </p:txBody>
      </p:sp>
      <p:sp>
        <p:nvSpPr>
          <p:cNvPr id="77" name="Text Placeholder 2">
            <a:extLst>
              <a:ext uri="{FF2B5EF4-FFF2-40B4-BE49-F238E27FC236}">
                <a16:creationId xmlns:a16="http://schemas.microsoft.com/office/drawing/2014/main" id="{E273FABA-FA2D-F3D0-4EA7-07631693ECE6}"/>
              </a:ext>
            </a:extLst>
          </p:cNvPr>
          <p:cNvSpPr>
            <a:spLocks noGrp="1"/>
          </p:cNvSpPr>
          <p:nvPr>
            <p:custDataLst>
              <p:tags r:id="rId37"/>
            </p:custDataLst>
          </p:nvPr>
        </p:nvSpPr>
        <p:spPr bwMode="auto">
          <a:xfrm>
            <a:off x="1912938" y="6200775"/>
            <a:ext cx="1428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5E02C7FD-DE24-45B1-9218-DEC02A0A24A0}" type="datetime'''''''''''''''''''1''9'''''''''''''''''''''''''''''''">
              <a:rPr kumimoji="0" lang="pt-BR" altLang="en-US" sz="1000" b="0" i="0" u="none" strike="noStrike" kern="1200" cap="none" spc="0" normalizeH="0" baseline="0" noProof="0" smtClean="0">
                <a:ln>
                  <a:noFill/>
                </a:ln>
                <a:solidFill>
                  <a:srgbClr val="000000"/>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19</a:t>
            </a:fld>
            <a:endParaRPr kumimoji="0" lang="pt-BR" sz="10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endParaRPr>
          </a:p>
        </p:txBody>
      </p:sp>
      <p:sp>
        <p:nvSpPr>
          <p:cNvPr id="123" name="Text Placeholder 2">
            <a:extLst>
              <a:ext uri="{FF2B5EF4-FFF2-40B4-BE49-F238E27FC236}">
                <a16:creationId xmlns:a16="http://schemas.microsoft.com/office/drawing/2014/main" id="{8E105368-CC42-B4AB-8060-FD9372A6DCC6}"/>
              </a:ext>
            </a:extLst>
          </p:cNvPr>
          <p:cNvSpPr>
            <a:spLocks noGrp="1"/>
          </p:cNvSpPr>
          <p:nvPr>
            <p:custDataLst>
              <p:tags r:id="rId38"/>
            </p:custDataLst>
          </p:nvPr>
        </p:nvSpPr>
        <p:spPr bwMode="gray">
          <a:xfrm>
            <a:off x="3411538" y="5889625"/>
            <a:ext cx="196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850C0BFC-2F63-4E2C-A321-B6DF700842F3}" type="datetime'''''0''''''''''''''''''''''''''''''.''''''''''''''''''1'''''">
              <a:rPr kumimoji="0" lang="pt-BR" altLang="en-US" sz="1000" b="0" i="0" u="none" strike="noStrike" kern="1200" cap="none" spc="0" normalizeH="0" baseline="0" noProof="0" smtClean="0">
                <a:ln>
                  <a:noFill/>
                </a:ln>
                <a:solidFill>
                  <a:srgbClr val="000000"/>
                </a:solidFill>
                <a:effectLst/>
                <a:uLnTx/>
                <a:uFillTx/>
                <a:latin typeface="Calibri" panose="020F0502020204030204"/>
                <a:ea typeface="+mn-ea"/>
                <a:cs typeface="Calibri" panose="020F0502020204030204" pitchFamily="34" charset="0"/>
              </a:rPr>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t>0.1</a:t>
            </a:fld>
            <a:endParaRPr kumimoji="0" lang="pt-BR" sz="10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endParaRPr>
          </a:p>
        </p:txBody>
      </p:sp>
      <p:sp>
        <p:nvSpPr>
          <p:cNvPr id="103" name="Text Placeholder 2">
            <a:extLst>
              <a:ext uri="{FF2B5EF4-FFF2-40B4-BE49-F238E27FC236}">
                <a16:creationId xmlns:a16="http://schemas.microsoft.com/office/drawing/2014/main" id="{3605D0DF-F9F9-8BC5-E93C-6DB233DD3C29}"/>
              </a:ext>
            </a:extLst>
          </p:cNvPr>
          <p:cNvSpPr>
            <a:spLocks noGrp="1"/>
          </p:cNvSpPr>
          <p:nvPr>
            <p:custDataLst>
              <p:tags r:id="rId39"/>
            </p:custDataLst>
          </p:nvPr>
        </p:nvSpPr>
        <p:spPr bwMode="gray">
          <a:xfrm>
            <a:off x="3111500" y="5918200"/>
            <a:ext cx="196850" cy="152400"/>
          </a:xfrm>
          <a:prstGeom prst="rect">
            <a:avLst/>
          </a:prstGeom>
          <a:solidFill>
            <a:schemeClr val="accent2"/>
          </a:solidFill>
          <a:ln>
            <a:noFill/>
          </a:ln>
          <a:effec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3C966E55-645A-4467-81AF-8199B2CC6499}" type="datetime'''''''''''1''.''''''''''1'''">
              <a:rPr kumimoji="0" lang="pt-BR" altLang="en-US" sz="1000" b="0" i="0" u="none" strike="noStrike" kern="1200" cap="none" spc="0" normalizeH="0" baseline="0" noProof="0" smtClean="0">
                <a:ln>
                  <a:noFill/>
                </a:ln>
                <a:solidFill>
                  <a:srgbClr val="FFFFFF"/>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1.1</a:t>
            </a:fld>
            <a:endParaRPr kumimoji="0" lang="pt-BR" sz="1000" b="0"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endParaRPr>
          </a:p>
        </p:txBody>
      </p:sp>
      <p:sp>
        <p:nvSpPr>
          <p:cNvPr id="104" name="Text Placeholder 2">
            <a:extLst>
              <a:ext uri="{FF2B5EF4-FFF2-40B4-BE49-F238E27FC236}">
                <a16:creationId xmlns:a16="http://schemas.microsoft.com/office/drawing/2014/main" id="{C4B5D903-1B35-E303-F9C5-85A9E09F3D86}"/>
              </a:ext>
            </a:extLst>
          </p:cNvPr>
          <p:cNvSpPr>
            <a:spLocks noGrp="1"/>
          </p:cNvSpPr>
          <p:nvPr>
            <p:custDataLst>
              <p:tags r:id="rId40"/>
            </p:custDataLst>
          </p:nvPr>
        </p:nvSpPr>
        <p:spPr bwMode="gray">
          <a:xfrm>
            <a:off x="2740025" y="5980113"/>
            <a:ext cx="196850" cy="152400"/>
          </a:xfrm>
          <a:prstGeom prst="rect">
            <a:avLst/>
          </a:prstGeom>
          <a:solidFill>
            <a:schemeClr val="accent1"/>
          </a:solidFill>
          <a:ln>
            <a:noFill/>
          </a:ln>
          <a:effec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AABF14C6-FBC1-493D-A48C-DD8E6E7829A0}" type="datetime'''''1''''''''''''''''''.''''6'''''''''''''''''">
              <a:rPr kumimoji="0" lang="pt-BR" altLang="en-US" sz="1000" b="0" i="0" u="none" strike="noStrike" kern="1200" cap="none" spc="0" normalizeH="0" baseline="0" noProof="0" smtClean="0">
                <a:ln>
                  <a:noFill/>
                </a:ln>
                <a:solidFill>
                  <a:srgbClr val="FFFFFF"/>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1.6</a:t>
            </a:fld>
            <a:endParaRPr kumimoji="0" lang="pt-BR" sz="1000" b="0"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endParaRPr>
          </a:p>
        </p:txBody>
      </p:sp>
      <p:sp>
        <p:nvSpPr>
          <p:cNvPr id="95" name="Text Placeholder 2">
            <a:extLst>
              <a:ext uri="{FF2B5EF4-FFF2-40B4-BE49-F238E27FC236}">
                <a16:creationId xmlns:a16="http://schemas.microsoft.com/office/drawing/2014/main" id="{9E07B05A-6695-2D17-C82D-B9F78795856D}"/>
              </a:ext>
            </a:extLst>
          </p:cNvPr>
          <p:cNvSpPr>
            <a:spLocks noGrp="1"/>
          </p:cNvSpPr>
          <p:nvPr>
            <p:custDataLst>
              <p:tags r:id="rId41"/>
            </p:custDataLst>
          </p:nvPr>
        </p:nvSpPr>
        <p:spPr bwMode="auto">
          <a:xfrm>
            <a:off x="2952750" y="6200775"/>
            <a:ext cx="1428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994B7C23-BD33-4292-B051-553768E0EC20}" type="datetime'''''''''''''''''''''''''''''''''2''''''''0'''''''''''''''''''">
              <a:rPr kumimoji="0" lang="pt-BR" altLang="en-US" sz="1000" b="0" i="0" u="none" strike="noStrike" kern="1200" cap="none" spc="0" normalizeH="0" baseline="0" noProof="0" smtClean="0">
                <a:ln>
                  <a:noFill/>
                </a:ln>
                <a:solidFill>
                  <a:srgbClr val="000000"/>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a:t>
            </a:fld>
            <a:endParaRPr kumimoji="0" lang="pt-BR" sz="10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endParaRPr>
          </a:p>
        </p:txBody>
      </p:sp>
      <p:sp>
        <p:nvSpPr>
          <p:cNvPr id="137" name="Text Placeholder 2">
            <a:extLst>
              <a:ext uri="{FF2B5EF4-FFF2-40B4-BE49-F238E27FC236}">
                <a16:creationId xmlns:a16="http://schemas.microsoft.com/office/drawing/2014/main" id="{0D6AB941-F4F3-CDC8-CF1F-1D2F5C5BAC1E}"/>
              </a:ext>
            </a:extLst>
          </p:cNvPr>
          <p:cNvSpPr>
            <a:spLocks noGrp="1"/>
          </p:cNvSpPr>
          <p:nvPr>
            <p:custDataLst>
              <p:tags r:id="rId42"/>
            </p:custDataLst>
          </p:nvPr>
        </p:nvSpPr>
        <p:spPr bwMode="gray">
          <a:xfrm>
            <a:off x="4449763" y="5762625"/>
            <a:ext cx="196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C742E675-0D14-4885-A449-D811D8262A2A}" type="datetime'''''''''''''''''''''''''''''''''''''''''''''0''.''1'''">
              <a:rPr kumimoji="0" lang="pt-BR" altLang="en-US" sz="1000" b="0" i="0" u="none" strike="noStrike" kern="1200" cap="none" spc="0" normalizeH="0" baseline="0" noProof="0" smtClean="0">
                <a:ln>
                  <a:noFill/>
                </a:ln>
                <a:solidFill>
                  <a:srgbClr val="000000"/>
                </a:solidFill>
                <a:effectLst/>
                <a:uLnTx/>
                <a:uFillTx/>
                <a:latin typeface="Calibri" panose="020F0502020204030204"/>
                <a:ea typeface="+mn-ea"/>
                <a:cs typeface="Calibri" panose="020F0502020204030204" pitchFamily="34" charset="0"/>
              </a:rPr>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t>0.1</a:t>
            </a:fld>
            <a:endParaRPr kumimoji="0" lang="pt-BR" sz="10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endParaRPr>
          </a:p>
        </p:txBody>
      </p:sp>
      <p:sp>
        <p:nvSpPr>
          <p:cNvPr id="148" name="Text Placeholder 2">
            <a:extLst>
              <a:ext uri="{FF2B5EF4-FFF2-40B4-BE49-F238E27FC236}">
                <a16:creationId xmlns:a16="http://schemas.microsoft.com/office/drawing/2014/main" id="{B0202C09-1BE1-B7BF-04E9-016FEAB7D84E}"/>
              </a:ext>
            </a:extLst>
          </p:cNvPr>
          <p:cNvSpPr>
            <a:spLocks noGrp="1"/>
          </p:cNvSpPr>
          <p:nvPr>
            <p:custDataLst>
              <p:tags r:id="rId43"/>
            </p:custDataLst>
          </p:nvPr>
        </p:nvSpPr>
        <p:spPr bwMode="gray">
          <a:xfrm>
            <a:off x="4449763" y="5915025"/>
            <a:ext cx="196850" cy="152400"/>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742C0785-092A-41DA-859E-D22135D7CCED}" type="datetime'''''''''''''''''1''.''''''''''''''''''''''''''''''''1'''''''">
              <a:rPr kumimoji="0" lang="pt-BR" altLang="en-US" sz="1000" b="0" i="0" u="none" strike="noStrike" kern="1200" cap="none" spc="0" normalizeH="0" baseline="0" noProof="0" smtClean="0">
                <a:ln>
                  <a:noFill/>
                </a:ln>
                <a:solidFill>
                  <a:srgbClr val="FFFFFF"/>
                </a:solidFill>
                <a:effectLst/>
                <a:uLnTx/>
                <a:uFillTx/>
                <a:latin typeface="Calibri" panose="020F0502020204030204"/>
                <a:ea typeface="+mn-ea"/>
                <a:cs typeface="Calibri" panose="020F0502020204030204" pitchFamily="34" charset="0"/>
              </a:rPr>
              <a:pPr marL="0" marR="0" lvl="0" indent="0" defTabSz="914400" rtl="0" eaLnBrk="1" fontAlgn="auto" latinLnBrk="0" hangingPunct="1">
                <a:lnSpc>
                  <a:spcPct val="100000"/>
                </a:lnSpc>
                <a:spcBef>
                  <a:spcPct val="0"/>
                </a:spcBef>
                <a:spcAft>
                  <a:spcPct val="0"/>
                </a:spcAft>
                <a:buClrTx/>
                <a:buSzTx/>
                <a:buFont typeface="Arial" panose="020B0604020202020204" pitchFamily="34" charset="0"/>
                <a:buNone/>
                <a:tabLst/>
                <a:defRPr/>
              </a:pPr>
              <a:t>1.1</a:t>
            </a:fld>
            <a:endParaRPr kumimoji="0" lang="pt-BR" sz="1000" b="0"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endParaRPr>
          </a:p>
        </p:txBody>
      </p:sp>
      <p:sp>
        <p:nvSpPr>
          <p:cNvPr id="105" name="Text Placeholder 2">
            <a:extLst>
              <a:ext uri="{FF2B5EF4-FFF2-40B4-BE49-F238E27FC236}">
                <a16:creationId xmlns:a16="http://schemas.microsoft.com/office/drawing/2014/main" id="{83ABB50F-DB38-5828-C76C-3114CF41E4BB}"/>
              </a:ext>
            </a:extLst>
          </p:cNvPr>
          <p:cNvSpPr>
            <a:spLocks noGrp="1"/>
          </p:cNvSpPr>
          <p:nvPr>
            <p:custDataLst>
              <p:tags r:id="rId44"/>
            </p:custDataLst>
          </p:nvPr>
        </p:nvSpPr>
        <p:spPr bwMode="gray">
          <a:xfrm>
            <a:off x="3963988" y="5946775"/>
            <a:ext cx="196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86C75531-2C1A-411F-9782-5E90FF838619}" type="datetime'''''''''''''''''3''''''.''''''''''''''''''''''''0'''''''''">
              <a:rPr kumimoji="0" lang="pt-BR" altLang="en-US" sz="1000" b="0" i="0" u="none" strike="noStrike" kern="1200" cap="none" spc="0" normalizeH="0" baseline="0" noProof="0" smtClean="0">
                <a:ln>
                  <a:noFill/>
                </a:ln>
                <a:solidFill>
                  <a:srgbClr val="FFFFFF"/>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3.0</a:t>
            </a:fld>
            <a:endParaRPr kumimoji="0" lang="pt-BR" sz="1000" b="0"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endParaRPr>
          </a:p>
        </p:txBody>
      </p:sp>
      <p:sp>
        <p:nvSpPr>
          <p:cNvPr id="94" name="Text Placeholder 2">
            <a:extLst>
              <a:ext uri="{FF2B5EF4-FFF2-40B4-BE49-F238E27FC236}">
                <a16:creationId xmlns:a16="http://schemas.microsoft.com/office/drawing/2014/main" id="{E4D4E410-031F-6D1B-3C7F-6F56C35E181F}"/>
              </a:ext>
            </a:extLst>
          </p:cNvPr>
          <p:cNvSpPr>
            <a:spLocks noGrp="1"/>
          </p:cNvSpPr>
          <p:nvPr>
            <p:custDataLst>
              <p:tags r:id="rId45"/>
            </p:custDataLst>
          </p:nvPr>
        </p:nvSpPr>
        <p:spPr bwMode="auto">
          <a:xfrm>
            <a:off x="3990975" y="6200775"/>
            <a:ext cx="1428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645865B0-64F7-427A-A6A1-9C9A7911EF5E}" type="datetime'''''''''''''''2''''''1'''''''''''">
              <a:rPr kumimoji="0" lang="pt-BR" altLang="en-US" sz="1000" b="0" i="0" u="none" strike="noStrike" kern="1200" cap="none" spc="0" normalizeH="0" baseline="0" noProof="0" smtClean="0">
                <a:ln>
                  <a:noFill/>
                </a:ln>
                <a:solidFill>
                  <a:srgbClr val="000000"/>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1</a:t>
            </a:fld>
            <a:endParaRPr kumimoji="0" lang="pt-BR" sz="10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endParaRPr>
          </a:p>
        </p:txBody>
      </p:sp>
      <p:sp>
        <p:nvSpPr>
          <p:cNvPr id="116" name="Text Placeholder 2">
            <a:extLst>
              <a:ext uri="{FF2B5EF4-FFF2-40B4-BE49-F238E27FC236}">
                <a16:creationId xmlns:a16="http://schemas.microsoft.com/office/drawing/2014/main" id="{FA099845-AC8F-A26E-B414-FD7A05BEC7E5}"/>
              </a:ext>
            </a:extLst>
          </p:cNvPr>
          <p:cNvSpPr>
            <a:spLocks noGrp="1"/>
          </p:cNvSpPr>
          <p:nvPr>
            <p:custDataLst>
              <p:tags r:id="rId46"/>
            </p:custDataLst>
          </p:nvPr>
        </p:nvSpPr>
        <p:spPr bwMode="gray">
          <a:xfrm>
            <a:off x="5489575" y="5734050"/>
            <a:ext cx="196850" cy="152400"/>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56C21D5B-7131-4BC4-8073-A67A8E800337}" type="datetime'''''''''''''''''''0''''''''''''''''''.''''1'''''''''">
              <a:rPr kumimoji="0" lang="pt-BR" altLang="en-US" sz="1000" b="0" i="0" u="none" strike="noStrike" kern="1200" cap="none" spc="0" normalizeH="0" baseline="0" noProof="0" smtClean="0">
                <a:ln>
                  <a:noFill/>
                </a:ln>
                <a:solidFill>
                  <a:srgbClr val="FFFFFF"/>
                </a:solidFill>
                <a:effectLst/>
                <a:uLnTx/>
                <a:uFillTx/>
                <a:latin typeface="Calibri" panose="020F0502020204030204"/>
                <a:ea typeface="+mn-ea"/>
                <a:cs typeface="Calibri" panose="020F0502020204030204" pitchFamily="34" charset="0"/>
              </a:rPr>
              <a:pPr marL="0" marR="0" lvl="0" indent="0" defTabSz="914400" rtl="0" eaLnBrk="1" fontAlgn="auto" latinLnBrk="0" hangingPunct="1">
                <a:lnSpc>
                  <a:spcPct val="100000"/>
                </a:lnSpc>
                <a:spcBef>
                  <a:spcPct val="0"/>
                </a:spcBef>
                <a:spcAft>
                  <a:spcPct val="0"/>
                </a:spcAft>
                <a:buClrTx/>
                <a:buSzTx/>
                <a:buFont typeface="Arial" panose="020B0604020202020204" pitchFamily="34" charset="0"/>
                <a:buNone/>
                <a:tabLst/>
                <a:defRPr/>
              </a:pPr>
              <a:t>0.1</a:t>
            </a:fld>
            <a:endParaRPr kumimoji="0" lang="pt-BR" sz="1000" b="0"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endParaRPr>
          </a:p>
        </p:txBody>
      </p:sp>
      <p:sp>
        <p:nvSpPr>
          <p:cNvPr id="114" name="Text Placeholder 2">
            <a:extLst>
              <a:ext uri="{FF2B5EF4-FFF2-40B4-BE49-F238E27FC236}">
                <a16:creationId xmlns:a16="http://schemas.microsoft.com/office/drawing/2014/main" id="{3E5742BB-54D4-8BC1-63F6-471948B6DC26}"/>
              </a:ext>
            </a:extLst>
          </p:cNvPr>
          <p:cNvSpPr>
            <a:spLocks noGrp="1"/>
          </p:cNvSpPr>
          <p:nvPr>
            <p:custDataLst>
              <p:tags r:id="rId47"/>
            </p:custDataLst>
          </p:nvPr>
        </p:nvSpPr>
        <p:spPr bwMode="gray">
          <a:xfrm>
            <a:off x="5003800" y="5683250"/>
            <a:ext cx="196850" cy="152400"/>
          </a:xfrm>
          <a:prstGeom prst="rect">
            <a:avLst/>
          </a:prstGeom>
          <a:solidFill>
            <a:schemeClr val="accent2"/>
          </a:solidFill>
          <a:ln>
            <a:noFill/>
          </a:ln>
          <a:effec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51F78482-AC4F-447B-93B8-D67F11B5495E}" type="datetime'''''''''0''.''''''''''''''''''''''''''''9'''''''">
              <a:rPr kumimoji="0" lang="pt-BR" altLang="en-US" sz="1000" b="0" i="0" u="none" strike="noStrike" kern="1200" cap="none" spc="0" normalizeH="0" baseline="0" noProof="0" smtClean="0">
                <a:ln>
                  <a:noFill/>
                </a:ln>
                <a:solidFill>
                  <a:srgbClr val="FFFFFF"/>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0.9</a:t>
            </a:fld>
            <a:endParaRPr kumimoji="0" lang="pt-BR" sz="1000" b="0"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endParaRPr>
          </a:p>
        </p:txBody>
      </p:sp>
      <p:sp>
        <p:nvSpPr>
          <p:cNvPr id="101" name="Text Placeholder 2">
            <a:extLst>
              <a:ext uri="{FF2B5EF4-FFF2-40B4-BE49-F238E27FC236}">
                <a16:creationId xmlns:a16="http://schemas.microsoft.com/office/drawing/2014/main" id="{AA5ED087-27A1-7933-2851-200528FBBF70}"/>
              </a:ext>
            </a:extLst>
          </p:cNvPr>
          <p:cNvSpPr>
            <a:spLocks noGrp="1"/>
          </p:cNvSpPr>
          <p:nvPr>
            <p:custDataLst>
              <p:tags r:id="rId48"/>
            </p:custDataLst>
          </p:nvPr>
        </p:nvSpPr>
        <p:spPr bwMode="gray">
          <a:xfrm>
            <a:off x="5003800" y="5859463"/>
            <a:ext cx="196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5B42B7A4-342F-45B8-A016-AFA661C8B970}" type="datetime'''''6''''''''''''.''''''''''''''''''''''''''''''''''9'''''''''">
              <a:rPr kumimoji="0" lang="pt-BR" altLang="en-US" sz="1000" b="0" i="0" u="none" strike="noStrike" kern="1200" cap="none" spc="0" normalizeH="0" baseline="0" noProof="0" smtClean="0">
                <a:ln>
                  <a:noFill/>
                </a:ln>
                <a:solidFill>
                  <a:srgbClr val="FFFFFF"/>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6.9</a:t>
            </a:fld>
            <a:endParaRPr kumimoji="0" lang="pt-BR" sz="1000" b="0"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endParaRPr>
          </a:p>
        </p:txBody>
      </p:sp>
      <p:sp>
        <p:nvSpPr>
          <p:cNvPr id="96" name="Text Placeholder 2">
            <a:extLst>
              <a:ext uri="{FF2B5EF4-FFF2-40B4-BE49-F238E27FC236}">
                <a16:creationId xmlns:a16="http://schemas.microsoft.com/office/drawing/2014/main" id="{F1B0D5F5-3032-DAAF-86E2-CB34434793B7}"/>
              </a:ext>
            </a:extLst>
          </p:cNvPr>
          <p:cNvSpPr>
            <a:spLocks noGrp="1"/>
          </p:cNvSpPr>
          <p:nvPr>
            <p:custDataLst>
              <p:tags r:id="rId49"/>
            </p:custDataLst>
          </p:nvPr>
        </p:nvSpPr>
        <p:spPr bwMode="auto">
          <a:xfrm>
            <a:off x="4965699" y="6200775"/>
            <a:ext cx="2730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D37699DC-3C5C-47CF-B1BE-16780F282D37}" type="datetime'''''''''''2''''''''''0''''''''''2''''''''''''2'''''''''''''''">
              <a:rPr kumimoji="0" lang="pt-BR" altLang="en-US" sz="1000" b="0" i="0" u="none" strike="noStrike" kern="1200" cap="none" spc="0" normalizeH="0" baseline="0" noProof="0" smtClean="0">
                <a:ln>
                  <a:noFill/>
                </a:ln>
                <a:solidFill>
                  <a:srgbClr val="000000"/>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22</a:t>
            </a:fld>
            <a:endParaRPr kumimoji="0" lang="pt-BR" sz="10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endParaRPr>
          </a:p>
        </p:txBody>
      </p:sp>
      <p:sp>
        <p:nvSpPr>
          <p:cNvPr id="115" name="Text Placeholder 2">
            <a:extLst>
              <a:ext uri="{FF2B5EF4-FFF2-40B4-BE49-F238E27FC236}">
                <a16:creationId xmlns:a16="http://schemas.microsoft.com/office/drawing/2014/main" id="{FE5C6D24-CF28-0728-E20A-A24A36E82285}"/>
              </a:ext>
            </a:extLst>
          </p:cNvPr>
          <p:cNvSpPr>
            <a:spLocks noGrp="1"/>
          </p:cNvSpPr>
          <p:nvPr>
            <p:custDataLst>
              <p:tags r:id="rId50"/>
            </p:custDataLst>
          </p:nvPr>
        </p:nvSpPr>
        <p:spPr bwMode="gray">
          <a:xfrm>
            <a:off x="847725" y="5840413"/>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287285D0-4CC7-4F92-8F9A-8874F2AC45EC}" type="datetime'''''''''''''''''''''''''''''1''''.''''4'''''''''''''''">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4</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102" name="Text Placeholder 2">
            <a:extLst>
              <a:ext uri="{FF2B5EF4-FFF2-40B4-BE49-F238E27FC236}">
                <a16:creationId xmlns:a16="http://schemas.microsoft.com/office/drawing/2014/main" id="{051BECD2-3271-CA6B-673F-9A3E0B470AC3}"/>
              </a:ext>
            </a:extLst>
          </p:cNvPr>
          <p:cNvSpPr>
            <a:spLocks noGrp="1"/>
          </p:cNvSpPr>
          <p:nvPr>
            <p:custDataLst>
              <p:tags r:id="rId51"/>
            </p:custDataLst>
          </p:nvPr>
        </p:nvSpPr>
        <p:spPr bwMode="gray">
          <a:xfrm>
            <a:off x="1885950" y="5835650"/>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A0AFFB99-AABF-45C6-931A-0F22DC41AD47}" type="datetime'''''1''.''''''''''''''''''''6'''''''''''''''''''''''''''''''">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6</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98" name="Text Placeholder 2">
            <a:extLst>
              <a:ext uri="{FF2B5EF4-FFF2-40B4-BE49-F238E27FC236}">
                <a16:creationId xmlns:a16="http://schemas.microsoft.com/office/drawing/2014/main" id="{8A75272C-6353-9E87-4186-3BD1686BC629}"/>
              </a:ext>
            </a:extLst>
          </p:cNvPr>
          <p:cNvSpPr>
            <a:spLocks noGrp="1"/>
          </p:cNvSpPr>
          <p:nvPr>
            <p:custDataLst>
              <p:tags r:id="rId52"/>
            </p:custDataLst>
          </p:nvPr>
        </p:nvSpPr>
        <p:spPr bwMode="gray">
          <a:xfrm>
            <a:off x="2925763" y="5781675"/>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EF7A11FF-3354-41F9-89D5-9C60A879FBD5}" type="datetime'''2''''.''''8'''''''''''''''">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8</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99" name="Text Placeholder 2">
            <a:extLst>
              <a:ext uri="{FF2B5EF4-FFF2-40B4-BE49-F238E27FC236}">
                <a16:creationId xmlns:a16="http://schemas.microsoft.com/office/drawing/2014/main" id="{F90DDEEE-CE72-C713-A988-408252304BBC}"/>
              </a:ext>
            </a:extLst>
          </p:cNvPr>
          <p:cNvSpPr>
            <a:spLocks noGrp="1"/>
          </p:cNvSpPr>
          <p:nvPr>
            <p:custDataLst>
              <p:tags r:id="rId53"/>
            </p:custDataLst>
          </p:nvPr>
        </p:nvSpPr>
        <p:spPr bwMode="gray">
          <a:xfrm>
            <a:off x="3963988" y="5737225"/>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4D50AE2C-A666-4B75-BC55-0DA4FDF8FF3A}" type="datetime'''''''''''''''''''''''''4''''''''''.''''''''''''''''3'''''''''">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4.3</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100" name="Text Placeholder 2">
            <a:extLst>
              <a:ext uri="{FF2B5EF4-FFF2-40B4-BE49-F238E27FC236}">
                <a16:creationId xmlns:a16="http://schemas.microsoft.com/office/drawing/2014/main" id="{0130D004-09B4-9F40-F5AA-A6C1E3EEB6D0}"/>
              </a:ext>
            </a:extLst>
          </p:cNvPr>
          <p:cNvSpPr>
            <a:spLocks noGrp="1"/>
          </p:cNvSpPr>
          <p:nvPr>
            <p:custDataLst>
              <p:tags r:id="rId54"/>
            </p:custDataLst>
          </p:nvPr>
        </p:nvSpPr>
        <p:spPr bwMode="gray">
          <a:xfrm>
            <a:off x="5003800" y="5546725"/>
            <a:ext cx="196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6B352F4D-5CB1-40C8-B319-D0674A6CB91A}" type="datetime'''''''''''''''''''''''''''''''7''''''''''''''.9'''''">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7.9</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151" name="AutoShape 250">
            <a:extLst>
              <a:ext uri="{FF2B5EF4-FFF2-40B4-BE49-F238E27FC236}">
                <a16:creationId xmlns:a16="http://schemas.microsoft.com/office/drawing/2014/main" id="{F6F04ADF-3740-0C99-6A31-81A7D2B08483}"/>
              </a:ext>
            </a:extLst>
          </p:cNvPr>
          <p:cNvSpPr>
            <a:spLocks noChangeArrowheads="1"/>
          </p:cNvSpPr>
          <p:nvPr/>
        </p:nvSpPr>
        <p:spPr bwMode="auto">
          <a:xfrm>
            <a:off x="6300402" y="5337175"/>
            <a:ext cx="5483996" cy="153888"/>
          </a:xfrm>
          <a:prstGeom prst="leftRightArrow">
            <a:avLst>
              <a:gd name="adj1" fmla="val 100000"/>
              <a:gd name="adj2" fmla="val 0"/>
            </a:avLst>
          </a:prstGeom>
          <a:noFill/>
          <a:ln w="9525">
            <a:noFill/>
            <a:miter lim="800000"/>
            <a:headEnd/>
            <a:tailEnd/>
          </a:ln>
          <a:effectLst/>
        </p:spPr>
        <p:txBody>
          <a:bodyPr vert="horz" wrap="square" lIns="0" tIns="0" rIns="0" bIns="0" numCol="1" anchor="ctr" anchorCtr="0" compatLnSpc="1">
            <a:prstTxWarp prst="textNoShape">
              <a:avLst/>
            </a:prstTxWarp>
            <a:spAutoFit/>
          </a:bodyPr>
          <a:lstStyle/>
          <a:p>
            <a:pPr marL="0" marR="0" lvl="0" indent="0" algn="l" defTabSz="913526"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Gold production by state (2022), </a:t>
            </a: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a:cs typeface="Calibri" panose="020F0502020204030204" pitchFamily="34" charset="0"/>
              </a:rPr>
              <a:t>koz</a:t>
            </a:r>
            <a:endPar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aphicFrame>
        <p:nvGraphicFramePr>
          <p:cNvPr id="45" name="Chart 44">
            <a:extLst>
              <a:ext uri="{FF2B5EF4-FFF2-40B4-BE49-F238E27FC236}">
                <a16:creationId xmlns:a16="http://schemas.microsoft.com/office/drawing/2014/main" id="{AC5FB88D-7A67-0E11-3E83-50066E1B44C9}"/>
              </a:ext>
            </a:extLst>
          </p:cNvPr>
          <p:cNvGraphicFramePr/>
          <p:nvPr>
            <p:custDataLst>
              <p:tags r:id="rId55"/>
            </p:custDataLst>
            <p:extLst>
              <p:ext uri="{D42A27DB-BD31-4B8C-83A1-F6EECF244321}">
                <p14:modId xmlns:p14="http://schemas.microsoft.com/office/powerpoint/2010/main" val="3264954254"/>
              </p:ext>
            </p:extLst>
          </p:nvPr>
        </p:nvGraphicFramePr>
        <p:xfrm>
          <a:off x="6218238" y="5483225"/>
          <a:ext cx="5648325" cy="866775"/>
        </p:xfrm>
        <a:graphic>
          <a:graphicData uri="http://schemas.openxmlformats.org/drawingml/2006/chart">
            <c:chart xmlns:c="http://schemas.openxmlformats.org/drawingml/2006/chart" xmlns:r="http://schemas.openxmlformats.org/officeDocument/2006/relationships" r:id="rId92"/>
          </a:graphicData>
        </a:graphic>
      </p:graphicFrame>
      <p:cxnSp>
        <p:nvCxnSpPr>
          <p:cNvPr id="10" name="Straight Connector 9">
            <a:extLst>
              <a:ext uri="{FF2B5EF4-FFF2-40B4-BE49-F238E27FC236}">
                <a16:creationId xmlns:a16="http://schemas.microsoft.com/office/drawing/2014/main" id="{33B73F3B-CF34-D3C6-3479-7F319EA7BEAF}"/>
              </a:ext>
            </a:extLst>
          </p:cNvPr>
          <p:cNvCxnSpPr/>
          <p:nvPr>
            <p:custDataLst>
              <p:tags r:id="rId56"/>
            </p:custDataLst>
          </p:nvPr>
        </p:nvCxnSpPr>
        <p:spPr bwMode="auto">
          <a:xfrm flipH="1" flipV="1">
            <a:off x="7077075" y="5818188"/>
            <a:ext cx="92075" cy="952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7BB3B027-C995-D6ED-17A5-4F372873D066}"/>
              </a:ext>
            </a:extLst>
          </p:cNvPr>
          <p:cNvCxnSpPr/>
          <p:nvPr>
            <p:custDataLst>
              <p:tags r:id="rId57"/>
            </p:custDataLst>
          </p:nvPr>
        </p:nvCxnSpPr>
        <p:spPr bwMode="auto">
          <a:xfrm flipH="1" flipV="1">
            <a:off x="7077075" y="5743575"/>
            <a:ext cx="92075" cy="333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0362B505-F00C-87E8-6357-3FC493622A24}"/>
              </a:ext>
            </a:extLst>
          </p:cNvPr>
          <p:cNvCxnSpPr/>
          <p:nvPr>
            <p:custDataLst>
              <p:tags r:id="rId58"/>
            </p:custDataLst>
          </p:nvPr>
        </p:nvCxnSpPr>
        <p:spPr bwMode="auto">
          <a:xfrm flipH="1" flipV="1">
            <a:off x="8174038" y="5772150"/>
            <a:ext cx="92075" cy="7302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FC90CEB8-EDF2-A58D-A4D2-F6D94B9259DA}"/>
              </a:ext>
            </a:extLst>
          </p:cNvPr>
          <p:cNvCxnSpPr/>
          <p:nvPr>
            <p:custDataLst>
              <p:tags r:id="rId59"/>
            </p:custDataLst>
          </p:nvPr>
        </p:nvCxnSpPr>
        <p:spPr bwMode="auto">
          <a:xfrm flipH="1" flipV="1">
            <a:off x="8174038" y="5719763"/>
            <a:ext cx="92075" cy="571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9A0B60FC-BAED-5A44-637D-26599D7322BB}"/>
              </a:ext>
            </a:extLst>
          </p:cNvPr>
          <p:cNvCxnSpPr/>
          <p:nvPr>
            <p:custDataLst>
              <p:tags r:id="rId60"/>
            </p:custDataLst>
          </p:nvPr>
        </p:nvCxnSpPr>
        <p:spPr bwMode="auto">
          <a:xfrm flipH="1" flipV="1">
            <a:off x="9271000" y="5794375"/>
            <a:ext cx="92075" cy="11906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465AAAAE-EF4F-20D5-3809-F9B101C9BAE0}"/>
              </a:ext>
            </a:extLst>
          </p:cNvPr>
          <p:cNvCxnSpPr/>
          <p:nvPr>
            <p:custDataLst>
              <p:tags r:id="rId61"/>
            </p:custDataLst>
          </p:nvPr>
        </p:nvCxnSpPr>
        <p:spPr bwMode="auto">
          <a:xfrm flipH="1" flipV="1">
            <a:off x="9271000" y="5748338"/>
            <a:ext cx="92075" cy="2857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203996CE-FB98-F649-DC25-C670607D16A2}"/>
              </a:ext>
            </a:extLst>
          </p:cNvPr>
          <p:cNvCxnSpPr/>
          <p:nvPr>
            <p:custDataLst>
              <p:tags r:id="rId62"/>
            </p:custDataLst>
          </p:nvPr>
        </p:nvCxnSpPr>
        <p:spPr bwMode="auto">
          <a:xfrm flipH="1" flipV="1">
            <a:off x="10366375" y="5807075"/>
            <a:ext cx="92075" cy="10636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112A7A57-8DA2-3E56-D213-990BF0542EC9}"/>
              </a:ext>
            </a:extLst>
          </p:cNvPr>
          <p:cNvCxnSpPr/>
          <p:nvPr>
            <p:custDataLst>
              <p:tags r:id="rId63"/>
            </p:custDataLst>
          </p:nvPr>
        </p:nvCxnSpPr>
        <p:spPr bwMode="auto">
          <a:xfrm flipH="1">
            <a:off x="10366375" y="5776913"/>
            <a:ext cx="92075" cy="11112"/>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CDB72CA6-A484-8819-9409-7B14E3612583}"/>
              </a:ext>
            </a:extLst>
          </p:cNvPr>
          <p:cNvCxnSpPr/>
          <p:nvPr>
            <p:custDataLst>
              <p:tags r:id="rId64"/>
            </p:custDataLst>
          </p:nvPr>
        </p:nvCxnSpPr>
        <p:spPr bwMode="auto">
          <a:xfrm flipH="1">
            <a:off x="11463338" y="5811838"/>
            <a:ext cx="920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8" name="Text Placeholder 2">
            <a:extLst>
              <a:ext uri="{FF2B5EF4-FFF2-40B4-BE49-F238E27FC236}">
                <a16:creationId xmlns:a16="http://schemas.microsoft.com/office/drawing/2014/main" id="{969A31C8-619E-859C-4804-8059AF78AAC9}"/>
              </a:ext>
            </a:extLst>
          </p:cNvPr>
          <p:cNvSpPr>
            <a:spLocks noGrp="1"/>
          </p:cNvSpPr>
          <p:nvPr>
            <p:custDataLst>
              <p:tags r:id="rId65"/>
            </p:custDataLst>
          </p:nvPr>
        </p:nvSpPr>
        <p:spPr bwMode="auto">
          <a:xfrm>
            <a:off x="6711950" y="6167438"/>
            <a:ext cx="2730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B2884CA3-9F45-4E4F-BFFF-9843D8DEEFDA}" type="datetime'''''''''''''''2''''''''''''''''''''''''01''''''8'''''">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018</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161" name="Text Placeholder 2">
            <a:extLst>
              <a:ext uri="{FF2B5EF4-FFF2-40B4-BE49-F238E27FC236}">
                <a16:creationId xmlns:a16="http://schemas.microsoft.com/office/drawing/2014/main" id="{A9276A0E-E7A8-33B3-3227-EF84254618DF}"/>
              </a:ext>
            </a:extLst>
          </p:cNvPr>
          <p:cNvSpPr>
            <a:spLocks noGrp="1"/>
          </p:cNvSpPr>
          <p:nvPr>
            <p:custDataLst>
              <p:tags r:id="rId66"/>
            </p:custDataLst>
          </p:nvPr>
        </p:nvSpPr>
        <p:spPr bwMode="auto">
          <a:xfrm>
            <a:off x="7808913" y="6167438"/>
            <a:ext cx="2730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07861D66-3E7F-4DD5-B7DC-434C6751D53B}" type="datetime'''''''2''''''''''''''''''''''''''01''''9'''''''''''''''''">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019</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164" name="Text Placeholder 2">
            <a:extLst>
              <a:ext uri="{FF2B5EF4-FFF2-40B4-BE49-F238E27FC236}">
                <a16:creationId xmlns:a16="http://schemas.microsoft.com/office/drawing/2014/main" id="{A4F255E1-71A6-9336-8510-A345E349F877}"/>
              </a:ext>
            </a:extLst>
          </p:cNvPr>
          <p:cNvSpPr>
            <a:spLocks noGrp="1"/>
          </p:cNvSpPr>
          <p:nvPr>
            <p:custDataLst>
              <p:tags r:id="rId67"/>
            </p:custDataLst>
          </p:nvPr>
        </p:nvSpPr>
        <p:spPr bwMode="auto">
          <a:xfrm>
            <a:off x="8905875" y="6167438"/>
            <a:ext cx="2730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297DB2B0-6DB4-4817-8AE3-BF61FB56E3E5}" type="datetime'''2''''''''''''''''''''''''''''0''''''2''''0'">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020</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168" name="Text Placeholder 2">
            <a:extLst>
              <a:ext uri="{FF2B5EF4-FFF2-40B4-BE49-F238E27FC236}">
                <a16:creationId xmlns:a16="http://schemas.microsoft.com/office/drawing/2014/main" id="{8BF1F8DA-23ED-FD87-C1C8-D6A0543E956C}"/>
              </a:ext>
            </a:extLst>
          </p:cNvPr>
          <p:cNvSpPr>
            <a:spLocks noGrp="1"/>
          </p:cNvSpPr>
          <p:nvPr>
            <p:custDataLst>
              <p:tags r:id="rId68"/>
            </p:custDataLst>
          </p:nvPr>
        </p:nvSpPr>
        <p:spPr bwMode="auto">
          <a:xfrm>
            <a:off x="10001250" y="6167438"/>
            <a:ext cx="2730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CDAD6C94-571B-44BE-A6E8-4B56EEB06EF0}" type="datetime'''''''''''''''''''''2''''''''''0''2''''''''''''''1'''''''">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021</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169" name="Text Placeholder 2">
            <a:extLst>
              <a:ext uri="{FF2B5EF4-FFF2-40B4-BE49-F238E27FC236}">
                <a16:creationId xmlns:a16="http://schemas.microsoft.com/office/drawing/2014/main" id="{BF7E466A-4076-3372-929A-D7249A7AEF0A}"/>
              </a:ext>
            </a:extLst>
          </p:cNvPr>
          <p:cNvSpPr>
            <a:spLocks noGrp="1"/>
          </p:cNvSpPr>
          <p:nvPr>
            <p:custDataLst>
              <p:tags r:id="rId69"/>
            </p:custDataLst>
          </p:nvPr>
        </p:nvSpPr>
        <p:spPr bwMode="auto">
          <a:xfrm>
            <a:off x="11098213" y="6167438"/>
            <a:ext cx="2730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864A7C06-F1AD-4A23-AE48-CF78AF8306C0}" type="datetime'''''''''''''''''''''''''2''''''''''0''2''''2'''''''">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022</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167" name="Text Placeholder 2">
            <a:extLst>
              <a:ext uri="{FF2B5EF4-FFF2-40B4-BE49-F238E27FC236}">
                <a16:creationId xmlns:a16="http://schemas.microsoft.com/office/drawing/2014/main" id="{5B0C3A30-179F-41C5-54CD-69C7C7AFB220}"/>
              </a:ext>
            </a:extLst>
          </p:cNvPr>
          <p:cNvSpPr>
            <a:spLocks noGrp="1"/>
          </p:cNvSpPr>
          <p:nvPr>
            <p:custDataLst>
              <p:tags r:id="rId70"/>
            </p:custDataLst>
          </p:nvPr>
        </p:nvSpPr>
        <p:spPr bwMode="gray">
          <a:xfrm>
            <a:off x="6734175" y="5557838"/>
            <a:ext cx="2301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C3A11177-B024-4DAB-BD06-492D114CD89E}" type="datetime'''''6''''''1''''''''''''6'''''''''''''''''''''''">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616</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157" name="Text Placeholder 2">
            <a:extLst>
              <a:ext uri="{FF2B5EF4-FFF2-40B4-BE49-F238E27FC236}">
                <a16:creationId xmlns:a16="http://schemas.microsoft.com/office/drawing/2014/main" id="{4688BB10-C751-622C-99CA-8AA38148EFBE}"/>
              </a:ext>
            </a:extLst>
          </p:cNvPr>
          <p:cNvSpPr>
            <a:spLocks noGrp="1"/>
          </p:cNvSpPr>
          <p:nvPr>
            <p:custDataLst>
              <p:tags r:id="rId71"/>
            </p:custDataLst>
          </p:nvPr>
        </p:nvSpPr>
        <p:spPr bwMode="gray">
          <a:xfrm>
            <a:off x="7831138" y="5546725"/>
            <a:ext cx="2301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73BC57E4-B2A0-445E-AF3D-87A417362EBE}" type="datetime'''''''''''''6''''''3''''''''''''''''''''''''''''5'''''''''''''">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635</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170" name="Text Placeholder 2">
            <a:extLst>
              <a:ext uri="{FF2B5EF4-FFF2-40B4-BE49-F238E27FC236}">
                <a16:creationId xmlns:a16="http://schemas.microsoft.com/office/drawing/2014/main" id="{B399A44B-A89B-1F95-ACD4-068BC4B38FAA}"/>
              </a:ext>
            </a:extLst>
          </p:cNvPr>
          <p:cNvSpPr>
            <a:spLocks noGrp="1"/>
          </p:cNvSpPr>
          <p:nvPr>
            <p:custDataLst>
              <p:tags r:id="rId72"/>
            </p:custDataLst>
          </p:nvPr>
        </p:nvSpPr>
        <p:spPr bwMode="gray">
          <a:xfrm>
            <a:off x="8928100" y="5580063"/>
            <a:ext cx="2301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11870ACB-DF3D-425F-9E59-8C53DCE6185C}" type="datetime'''''5''''''8''''''4'''''''''''''">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584</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171" name="Text Placeholder 2">
            <a:extLst>
              <a:ext uri="{FF2B5EF4-FFF2-40B4-BE49-F238E27FC236}">
                <a16:creationId xmlns:a16="http://schemas.microsoft.com/office/drawing/2014/main" id="{B720A69F-25CC-002E-AE7A-2CF1BD7C654D}"/>
              </a:ext>
            </a:extLst>
          </p:cNvPr>
          <p:cNvSpPr>
            <a:spLocks noGrp="1"/>
          </p:cNvSpPr>
          <p:nvPr>
            <p:custDataLst>
              <p:tags r:id="rId73"/>
            </p:custDataLst>
          </p:nvPr>
        </p:nvSpPr>
        <p:spPr bwMode="gray">
          <a:xfrm>
            <a:off x="10023475" y="5622925"/>
            <a:ext cx="2301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25647BA9-68FE-4180-A998-DAB15B8F926F}" type="datetime'''''''''''''''5''1''''''''''''''''''''''''''''''''9'''''">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519</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172" name="Text Placeholder 2">
            <a:extLst>
              <a:ext uri="{FF2B5EF4-FFF2-40B4-BE49-F238E27FC236}">
                <a16:creationId xmlns:a16="http://schemas.microsoft.com/office/drawing/2014/main" id="{01FB1856-10EC-08F7-9431-F9870DD9DD9B}"/>
              </a:ext>
            </a:extLst>
          </p:cNvPr>
          <p:cNvSpPr>
            <a:spLocks noGrp="1"/>
          </p:cNvSpPr>
          <p:nvPr>
            <p:custDataLst>
              <p:tags r:id="rId74"/>
            </p:custDataLst>
          </p:nvPr>
        </p:nvSpPr>
        <p:spPr bwMode="gray">
          <a:xfrm>
            <a:off x="11120438" y="5621338"/>
            <a:ext cx="2301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A40CB510-537D-49A3-A701-36F3E207770E}" type="datetime'''5''''''''''''''''''''''''2''''''''''''''''1'''''''''''''''">
              <a:rPr kumimoji="0" lang="pt-BR" altLang="en-US" sz="10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521</a:t>
            </a:fld>
            <a:endParaRPr kumimoji="0" lang="pt-BR" sz="10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189" name="Rectangle 188">
            <a:extLst>
              <a:ext uri="{FF2B5EF4-FFF2-40B4-BE49-F238E27FC236}">
                <a16:creationId xmlns:a16="http://schemas.microsoft.com/office/drawing/2014/main" id="{07380CBC-F5F8-8997-493A-588EA355F0F0}"/>
              </a:ext>
            </a:extLst>
          </p:cNvPr>
          <p:cNvSpPr/>
          <p:nvPr>
            <p:custDataLst>
              <p:tags r:id="rId75"/>
            </p:custDataLst>
          </p:nvPr>
        </p:nvSpPr>
        <p:spPr bwMode="auto">
          <a:xfrm>
            <a:off x="9434514" y="5376863"/>
            <a:ext cx="123825" cy="123825"/>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8" name="Rectangle 187">
            <a:extLst>
              <a:ext uri="{FF2B5EF4-FFF2-40B4-BE49-F238E27FC236}">
                <a16:creationId xmlns:a16="http://schemas.microsoft.com/office/drawing/2014/main" id="{278B00C7-7DA7-334C-1563-43AF5BDC64E2}"/>
              </a:ext>
            </a:extLst>
          </p:cNvPr>
          <p:cNvSpPr/>
          <p:nvPr>
            <p:custDataLst>
              <p:tags r:id="rId76"/>
            </p:custDataLst>
          </p:nvPr>
        </p:nvSpPr>
        <p:spPr bwMode="auto">
          <a:xfrm>
            <a:off x="10071101" y="5376863"/>
            <a:ext cx="123825" cy="123825"/>
          </a:xfrm>
          <a:prstGeom prst="rect">
            <a:avLst/>
          </a:prstGeom>
          <a:solidFill>
            <a:schemeClr val="accent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7" name="Rectangle 186">
            <a:extLst>
              <a:ext uri="{FF2B5EF4-FFF2-40B4-BE49-F238E27FC236}">
                <a16:creationId xmlns:a16="http://schemas.microsoft.com/office/drawing/2014/main" id="{C15F6D38-0184-E355-0CCE-88960F575F74}"/>
              </a:ext>
            </a:extLst>
          </p:cNvPr>
          <p:cNvSpPr/>
          <p:nvPr>
            <p:custDataLst>
              <p:tags r:id="rId77"/>
            </p:custDataLst>
          </p:nvPr>
        </p:nvSpPr>
        <p:spPr bwMode="auto">
          <a:xfrm>
            <a:off x="10668001" y="5376863"/>
            <a:ext cx="123825" cy="123825"/>
          </a:xfrm>
          <a:prstGeom prst="rect">
            <a:avLst/>
          </a:prstGeom>
          <a:solidFill>
            <a:schemeClr val="accent3"/>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27" name="Text Placeholder 2">
            <a:extLst>
              <a:ext uri="{FF2B5EF4-FFF2-40B4-BE49-F238E27FC236}">
                <a16:creationId xmlns:a16="http://schemas.microsoft.com/office/drawing/2014/main" id="{4A84F7F9-A114-A74B-83F0-94886C0BC368}"/>
              </a:ext>
            </a:extLst>
          </p:cNvPr>
          <p:cNvSpPr>
            <a:spLocks noGrp="1"/>
          </p:cNvSpPr>
          <p:nvPr>
            <p:custDataLst>
              <p:tags r:id="rId78"/>
            </p:custDataLst>
          </p:nvPr>
        </p:nvSpPr>
        <p:spPr bwMode="auto">
          <a:xfrm>
            <a:off x="9609138" y="5384800"/>
            <a:ext cx="360363"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413DE909-03D0-4410-8C2C-F009B0837544}" type="datetime'''''''''''''''K''aro''''''''''''u''''''''''''''''''n''i'''''''">
              <a:rPr kumimoji="0" lang="pt-BR" altLang="en-US" sz="9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Karouni</a:t>
            </a:fld>
            <a:endParaRPr kumimoji="0" lang="pt-BR" sz="9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190" name="Text Placeholder 2">
            <a:extLst>
              <a:ext uri="{FF2B5EF4-FFF2-40B4-BE49-F238E27FC236}">
                <a16:creationId xmlns:a16="http://schemas.microsoft.com/office/drawing/2014/main" id="{A63A8E2B-7596-7C4C-D352-C28C01FCD1E7}"/>
              </a:ext>
            </a:extLst>
          </p:cNvPr>
          <p:cNvSpPr>
            <a:spLocks noGrp="1"/>
          </p:cNvSpPr>
          <p:nvPr>
            <p:custDataLst>
              <p:tags r:id="rId79"/>
            </p:custDataLst>
          </p:nvPr>
        </p:nvSpPr>
        <p:spPr bwMode="auto">
          <a:xfrm>
            <a:off x="10245725" y="5384800"/>
            <a:ext cx="320675"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9890FD9F-3037-47C3-91F7-9726618706AD}" type="datetime'''''''''A''u''''''ro''''''''''r''''''''a'''">
              <a:rPr kumimoji="0" lang="pt-BR" altLang="en-US" sz="9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Aurora</a:t>
            </a:fld>
            <a:endParaRPr kumimoji="0" lang="pt-BR" sz="9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
        <p:nvSpPr>
          <p:cNvPr id="191" name="Text Placeholder 2">
            <a:extLst>
              <a:ext uri="{FF2B5EF4-FFF2-40B4-BE49-F238E27FC236}">
                <a16:creationId xmlns:a16="http://schemas.microsoft.com/office/drawing/2014/main" id="{5517C39B-8D99-3EE3-BB45-2B89E55AE496}"/>
              </a:ext>
            </a:extLst>
          </p:cNvPr>
          <p:cNvSpPr>
            <a:spLocks noGrp="1"/>
          </p:cNvSpPr>
          <p:nvPr>
            <p:custDataLst>
              <p:tags r:id="rId80"/>
            </p:custDataLst>
          </p:nvPr>
        </p:nvSpPr>
        <p:spPr bwMode="auto">
          <a:xfrm>
            <a:off x="10842625" y="5384800"/>
            <a:ext cx="5842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mn-lt"/>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mn-lt"/>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mn-lt"/>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mn-lt"/>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85000"/>
                    <a:lumOff val="15000"/>
                  </a:schemeClr>
                </a:solidFill>
                <a:latin typeface="+mn-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CDD9FF76-8910-4671-ACA6-CD5CFACFB2EF}" type="datetime'O''t''h''''e''''''''''''r'''' ''''''(''''A''''S''M'''')'">
              <a:rPr kumimoji="0" lang="pt-BR" altLang="en-US" sz="900" b="0" i="0" u="none" strike="noStrike" kern="1200" cap="none" spc="0" normalizeH="0" baseline="0" noProof="0" smtClean="0">
                <a:ln>
                  <a:noFill/>
                </a:ln>
                <a:solidFill>
                  <a:srgbClr val="000000">
                    <a:lumMod val="85000"/>
                    <a:lumOff val="15000"/>
                  </a:srgbClr>
                </a:solidFill>
                <a:effectLst/>
                <a:uLnTx/>
                <a:uFillTx/>
                <a:latin typeface="Calibri" panose="020F0502020204030204"/>
                <a:ea typeface="+mn-ea"/>
                <a:cs typeface="Calibri" panose="020F0502020204030204" pitchFamily="34" charset="0"/>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Other (ASM)</a:t>
            </a:fld>
            <a:endParaRPr kumimoji="0" lang="pt-BR" sz="9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spTree>
    <p:extLst>
      <p:ext uri="{BB962C8B-B14F-4D97-AF65-F5344CB8AC3E}">
        <p14:creationId xmlns:p14="http://schemas.microsoft.com/office/powerpoint/2010/main" val="39602222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C5C304BF-87AD-DD92-7F08-9BF49580AEE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395" imgH="396" progId="TCLayout.ActiveDocument.1">
                  <p:embed/>
                </p:oleObj>
              </mc:Choice>
              <mc:Fallback>
                <p:oleObj name="think-cell Slide" r:id="rId34" imgW="395" imgH="396" progId="TCLayout.ActiveDocument.1">
                  <p:embed/>
                  <p:pic>
                    <p:nvPicPr>
                      <p:cNvPr id="6" name="Object 2" hidden="1">
                        <a:extLst>
                          <a:ext uri="{FF2B5EF4-FFF2-40B4-BE49-F238E27FC236}">
                            <a16:creationId xmlns:a16="http://schemas.microsoft.com/office/drawing/2014/main" id="{C5C304BF-87AD-DD92-7F08-9BF49580AEE8}"/>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15" name="Rectangle: Diagonal Corners Rounded 14">
            <a:extLst>
              <a:ext uri="{FF2B5EF4-FFF2-40B4-BE49-F238E27FC236}">
                <a16:creationId xmlns:a16="http://schemas.microsoft.com/office/drawing/2014/main" id="{AE6DC6D4-8D0C-A7FA-1807-BE1BA1018783}"/>
              </a:ext>
            </a:extLst>
          </p:cNvPr>
          <p:cNvSpPr/>
          <p:nvPr/>
        </p:nvSpPr>
        <p:spPr>
          <a:xfrm>
            <a:off x="6503993" y="1066426"/>
            <a:ext cx="5308307" cy="5034216"/>
          </a:xfrm>
          <a:prstGeom prst="round2DiagRect">
            <a:avLst>
              <a:gd name="adj1" fmla="val 5524"/>
              <a:gd name="adj2" fmla="val 0"/>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16" name="Rectangle: Diagonal Corners Rounded 15">
            <a:extLst>
              <a:ext uri="{FF2B5EF4-FFF2-40B4-BE49-F238E27FC236}">
                <a16:creationId xmlns:a16="http://schemas.microsoft.com/office/drawing/2014/main" id="{4F5769EF-2CF1-D0BC-DF42-E5D788F6EAE8}"/>
              </a:ext>
            </a:extLst>
          </p:cNvPr>
          <p:cNvSpPr/>
          <p:nvPr/>
        </p:nvSpPr>
        <p:spPr>
          <a:xfrm>
            <a:off x="6795267" y="3533771"/>
            <a:ext cx="3311346" cy="459834"/>
          </a:xfrm>
          <a:prstGeom prst="round2DiagRect">
            <a:avLst/>
          </a:prstGeom>
          <a:solidFill>
            <a:schemeClr val="accent2"/>
          </a:solidFill>
          <a:ln w="12700" cap="sq">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cxnSp>
        <p:nvCxnSpPr>
          <p:cNvPr id="19" name="GreyLineContentSeparatorDefault 220">
            <a:extLst>
              <a:ext uri="{FF2B5EF4-FFF2-40B4-BE49-F238E27FC236}">
                <a16:creationId xmlns:a16="http://schemas.microsoft.com/office/drawing/2014/main" id="{9ADFA153-EB80-3386-B731-E160E01C7486}"/>
              </a:ext>
            </a:extLst>
          </p:cNvPr>
          <p:cNvCxnSpPr>
            <a:cxnSpLocks/>
            <a:stCxn id="22" idx="3"/>
          </p:cNvCxnSpPr>
          <p:nvPr>
            <p:custDataLst>
              <p:tags r:id="rId2"/>
            </p:custDataLst>
          </p:nvPr>
        </p:nvCxnSpPr>
        <p:spPr>
          <a:xfrm>
            <a:off x="6708268" y="1656558"/>
            <a:ext cx="5097450"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7" name="GreyLineContentSeparatorDefault 77">
            <a:extLst>
              <a:ext uri="{FF2B5EF4-FFF2-40B4-BE49-F238E27FC236}">
                <a16:creationId xmlns:a16="http://schemas.microsoft.com/office/drawing/2014/main" id="{3EF7038A-EB21-9126-83F6-C66F4A85C690}"/>
              </a:ext>
            </a:extLst>
          </p:cNvPr>
          <p:cNvCxnSpPr>
            <a:cxnSpLocks/>
          </p:cNvCxnSpPr>
          <p:nvPr>
            <p:custDataLst>
              <p:tags r:id="rId3"/>
            </p:custDataLst>
          </p:nvPr>
        </p:nvCxnSpPr>
        <p:spPr>
          <a:xfrm>
            <a:off x="262527" y="3087657"/>
            <a:ext cx="6010806" cy="0"/>
          </a:xfrm>
          <a:prstGeom prst="straightConnector1">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9" name="GreyLineContentSeparatorDefault 77">
            <a:extLst>
              <a:ext uri="{FF2B5EF4-FFF2-40B4-BE49-F238E27FC236}">
                <a16:creationId xmlns:a16="http://schemas.microsoft.com/office/drawing/2014/main" id="{045C2F9D-922F-62E1-33F5-3B8FA4571DB7}"/>
              </a:ext>
            </a:extLst>
          </p:cNvPr>
          <p:cNvCxnSpPr>
            <a:cxnSpLocks/>
          </p:cNvCxnSpPr>
          <p:nvPr>
            <p:custDataLst>
              <p:tags r:id="rId4"/>
            </p:custDataLst>
          </p:nvPr>
        </p:nvCxnSpPr>
        <p:spPr>
          <a:xfrm>
            <a:off x="262527" y="4528393"/>
            <a:ext cx="6010806" cy="0"/>
          </a:xfrm>
          <a:prstGeom prst="straightConnector1">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0" name="ChevronBlue 234">
            <a:extLst>
              <a:ext uri="{FF2B5EF4-FFF2-40B4-BE49-F238E27FC236}">
                <a16:creationId xmlns:a16="http://schemas.microsoft.com/office/drawing/2014/main" id="{343648F1-C5EA-BDB9-D7AB-52A5E651D844}"/>
              </a:ext>
            </a:extLst>
          </p:cNvPr>
          <p:cNvGrpSpPr>
            <a:grpSpLocks noChangeAspect="1"/>
          </p:cNvGrpSpPr>
          <p:nvPr>
            <p:custDataLst>
              <p:tags r:id="rId5"/>
            </p:custDataLst>
          </p:nvPr>
        </p:nvGrpSpPr>
        <p:grpSpPr>
          <a:xfrm>
            <a:off x="6319654" y="1458444"/>
            <a:ext cx="396228" cy="396228"/>
            <a:chOff x="1016000" y="1016000"/>
            <a:chExt cx="396228" cy="396228"/>
          </a:xfrm>
          <a:solidFill>
            <a:schemeClr val="accent1"/>
          </a:solidFill>
        </p:grpSpPr>
        <p:sp>
          <p:nvSpPr>
            <p:cNvPr id="21" name="Oval 20">
              <a:extLst>
                <a:ext uri="{FF2B5EF4-FFF2-40B4-BE49-F238E27FC236}">
                  <a16:creationId xmlns:a16="http://schemas.microsoft.com/office/drawing/2014/main" id="{8BCDBD1A-2131-6A0E-66B6-A5708F9575FE}"/>
                </a:ext>
              </a:extLst>
            </p:cNvPr>
            <p:cNvSpPr/>
            <p:nvPr/>
          </p:nvSpPr>
          <p:spPr>
            <a:xfrm>
              <a:off x="1016000" y="1016000"/>
              <a:ext cx="396228" cy="396228"/>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22" name="Graphic 21">
              <a:extLst>
                <a:ext uri="{FF2B5EF4-FFF2-40B4-BE49-F238E27FC236}">
                  <a16:creationId xmlns:a16="http://schemas.microsoft.com/office/drawing/2014/main" id="{FD15181F-2158-82C4-E629-2446160F8C56}"/>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a:off x="1023614" y="1023614"/>
              <a:ext cx="381000" cy="381000"/>
            </a:xfrm>
            <a:prstGeom prst="rect">
              <a:avLst/>
            </a:prstGeom>
          </p:spPr>
        </p:pic>
      </p:grpSp>
      <p:sp>
        <p:nvSpPr>
          <p:cNvPr id="62" name="5. Source">
            <a:extLst>
              <a:ext uri="{FF2B5EF4-FFF2-40B4-BE49-F238E27FC236}">
                <a16:creationId xmlns:a16="http://schemas.microsoft.com/office/drawing/2014/main" id="{1BABF866-71FD-B65C-3425-4042D7570F90}"/>
              </a:ext>
            </a:extLst>
          </p:cNvPr>
          <p:cNvSpPr txBox="1">
            <a:spLocks/>
          </p:cNvSpPr>
          <p:nvPr>
            <p:custDataLst>
              <p:tags r:id="rId6"/>
            </p:custDataLst>
          </p:nvPr>
        </p:nvSpPr>
        <p:spPr>
          <a:xfrm>
            <a:off x="262527" y="6501669"/>
            <a:ext cx="8921134"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s-E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None/>
              <a:tabLst/>
              <a:defRPr/>
            </a:pPr>
            <a:r>
              <a:rPr kumimoji="0" lang="en-US" sz="800" b="0" i="0" u="none" strike="noStrike" kern="1200" cap="none" spc="0" normalizeH="0" baseline="0" noProof="0" dirty="0">
                <a:ln>
                  <a:noFill/>
                </a:ln>
                <a:solidFill>
                  <a:srgbClr val="000000"/>
                </a:solidFill>
                <a:effectLst/>
                <a:uLnTx/>
                <a:uFillTx/>
                <a:ea typeface="+mn-ea"/>
                <a:cs typeface="Arial" panose="020B0604020202020204" pitchFamily="34" charset="0"/>
              </a:rPr>
              <a:t>Source</a:t>
            </a:r>
            <a:r>
              <a:rPr kumimoji="0" lang="en-US" sz="800" b="0" i="0" u="none" strike="noStrike" kern="1200" cap="none" spc="0" normalizeH="0" baseline="0" noProof="0" dirty="0">
                <a:ln>
                  <a:noFill/>
                </a:ln>
                <a:effectLst/>
                <a:uLnTx/>
                <a:uFillTx/>
                <a:ea typeface="+mn-ea"/>
                <a:cs typeface="Arial" panose="020B0604020202020204" pitchFamily="34" charset="0"/>
              </a:rPr>
              <a:t>: </a:t>
            </a:r>
            <a:r>
              <a:rPr lang="pt-BR" sz="800" dirty="0"/>
              <a:t>IBRAM, TradeMap, OECD, IDB, IEA, </a:t>
            </a:r>
            <a:r>
              <a:rPr lang="pl-PL" sz="800" dirty="0"/>
              <a:t>MineSpans</a:t>
            </a:r>
            <a:r>
              <a:rPr lang="es-PE" sz="800" dirty="0"/>
              <a:t> </a:t>
            </a:r>
            <a:r>
              <a:rPr lang="es-PE" sz="800" dirty="0" err="1"/>
              <a:t>by</a:t>
            </a:r>
            <a:r>
              <a:rPr lang="es-PE" sz="800" dirty="0"/>
              <a:t> McKinsey</a:t>
            </a:r>
            <a:endParaRPr kumimoji="0" lang="en-US" sz="800" b="0" i="0" u="none" strike="noStrike" kern="1200" cap="none" spc="0" normalizeH="0" baseline="0" noProof="0" dirty="0">
              <a:ln>
                <a:noFill/>
              </a:ln>
              <a:effectLst/>
              <a:uLnTx/>
              <a:uFillTx/>
              <a:ea typeface="+mn-ea"/>
              <a:cs typeface="Arial" panose="020B0604020202020204" pitchFamily="34" charset="0"/>
            </a:endParaRPr>
          </a:p>
        </p:txBody>
      </p:sp>
      <p:sp>
        <p:nvSpPr>
          <p:cNvPr id="70" name="2. Slide Title">
            <a:extLst>
              <a:ext uri="{FF2B5EF4-FFF2-40B4-BE49-F238E27FC236}">
                <a16:creationId xmlns:a16="http://schemas.microsoft.com/office/drawing/2014/main" id="{D7BA3D19-D312-B0FB-22D1-0C78A1E211F3}"/>
              </a:ext>
            </a:extLst>
          </p:cNvPr>
          <p:cNvSpPr txBox="1">
            <a:spLocks noChangeArrowheads="1"/>
          </p:cNvSpPr>
          <p:nvPr>
            <p:custDataLst>
              <p:tags r:id="rId7"/>
            </p:custDataLst>
          </p:nvPr>
        </p:nvSpPr>
        <p:spPr>
          <a:xfrm>
            <a:off x="262527" y="224249"/>
            <a:ext cx="8921134" cy="75713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ctr" anchorCtr="0">
            <a:spAutoFit/>
          </a:bodyPr>
          <a:lstStyle>
            <a:lvl1pPr algn="l" defTabSz="914400" rtl="0" eaLnBrk="1" latinLnBrk="0" hangingPunct="1">
              <a:lnSpc>
                <a:spcPct val="90000"/>
              </a:lnSpc>
              <a:spcBef>
                <a:spcPct val="0"/>
              </a:spcBef>
              <a:buNone/>
              <a:defRPr sz="3200" b="1" i="0" kern="1200">
                <a:solidFill>
                  <a:srgbClr val="002060"/>
                </a:solidFill>
                <a:latin typeface="Calibri" panose="020F0502020204030204" pitchFamily="34" charset="0"/>
                <a:ea typeface="+mj-ea"/>
                <a:cs typeface="Calibri" panose="020F0502020204030204" pitchFamily="34" charset="0"/>
              </a:defRPr>
            </a:lvl1pPr>
          </a:lstStyle>
          <a:p>
            <a:r>
              <a:rPr lang="pt-BR" sz="2400" dirty="0"/>
              <a:t>Mining, including gold mining, is an essential industry for the Latin American economy and an important driver of local growth</a:t>
            </a:r>
            <a:endParaRPr lang="en-US" sz="2400" dirty="0"/>
          </a:p>
        </p:txBody>
      </p:sp>
      <p:sp>
        <p:nvSpPr>
          <p:cNvPr id="72" name="TextBox 71">
            <a:extLst>
              <a:ext uri="{FF2B5EF4-FFF2-40B4-BE49-F238E27FC236}">
                <a16:creationId xmlns:a16="http://schemas.microsoft.com/office/drawing/2014/main" id="{5C27EB13-FFD4-3CDA-38F5-181782649B60}"/>
              </a:ext>
            </a:extLst>
          </p:cNvPr>
          <p:cNvSpPr txBox="1"/>
          <p:nvPr/>
        </p:nvSpPr>
        <p:spPr>
          <a:xfrm>
            <a:off x="6795267" y="1184878"/>
            <a:ext cx="3311346" cy="458587"/>
          </a:xfrm>
          <a:prstGeom prst="rect">
            <a:avLst/>
          </a:prstGeom>
        </p:spPr>
        <p:txBody>
          <a:bodyPr vert="horz" wrap="square" lIns="0" tIns="0" rIns="0" bIns="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600" b="1" dirty="0" err="1">
                <a:cs typeface="Arial" panose="020B0604020202020204" pitchFamily="34" charset="0"/>
              </a:rPr>
              <a:t>LatAm</a:t>
            </a:r>
            <a:r>
              <a:rPr lang="en-US" sz="1600" b="1" dirty="0">
                <a:cs typeface="Arial" panose="020B0604020202020204" pitchFamily="34" charset="0"/>
              </a:rPr>
              <a:t> production share of commodities in 2022</a:t>
            </a:r>
            <a:endParaRPr lang="pt-BR" sz="1600" b="1" dirty="0">
              <a:cs typeface="Arial" panose="020B0604020202020204" pitchFamily="34" charset="0"/>
            </a:endParaRPr>
          </a:p>
        </p:txBody>
      </p:sp>
      <p:pic>
        <p:nvPicPr>
          <p:cNvPr id="31" name="Picture 19" descr="http://t1.gstatic.com/images?q=tbn:ANd9GcSyeIzfHxMf3aUS2xgTLl3inHHRtSCrq4hR-pu2BcrrUJteeYO0">
            <a:extLst>
              <a:ext uri="{FF2B5EF4-FFF2-40B4-BE49-F238E27FC236}">
                <a16:creationId xmlns:a16="http://schemas.microsoft.com/office/drawing/2014/main" id="{AC83DAE2-8F9D-7448-1805-FDDCCC21BACE}"/>
              </a:ext>
            </a:extLst>
          </p:cNvPr>
          <p:cNvPicPr>
            <a:picLocks noChangeAspect="1" noChangeArrowheads="1"/>
          </p:cNvPicPr>
          <p:nvPr>
            <p:custDataLst>
              <p:tags r:id="rId8"/>
            </p:custDataLst>
          </p:nvPr>
        </p:nvPicPr>
        <p:blipFill rotWithShape="1">
          <a:blip r:embed="rId38" cstate="print">
            <a:clrChange>
              <a:clrFrom>
                <a:srgbClr val="FFFFFF"/>
              </a:clrFrom>
              <a:clrTo>
                <a:srgbClr val="FFFFFF">
                  <a:alpha val="0"/>
                </a:srgbClr>
              </a:clrTo>
            </a:clrChange>
            <a:extLst>
              <a:ext uri="{28A0092B-C50C-407E-A947-70E740481C1C}">
                <a14:useLocalDpi xmlns:a14="http://schemas.microsoft.com/office/drawing/2010/main" val="0"/>
              </a:ext>
            </a:extLst>
          </a:blip>
          <a:srcRect t="8617"/>
          <a:stretch/>
        </p:blipFill>
        <p:spPr bwMode="gray">
          <a:xfrm>
            <a:off x="6883016" y="2245769"/>
            <a:ext cx="577766" cy="351350"/>
          </a:xfrm>
          <a:prstGeom prst="rect">
            <a:avLst/>
          </a:prstGeom>
          <a:noFill/>
          <a:extLst>
            <a:ext uri="{909E8E84-426E-40DD-AFC4-6F175D3DCCD1}">
              <a14:hiddenFill xmlns:a14="http://schemas.microsoft.com/office/drawing/2010/main">
                <a:solidFill>
                  <a:srgbClr val="FFFFFF"/>
                </a:solidFill>
              </a14:hiddenFill>
            </a:ext>
          </a:extLst>
        </p:spPr>
      </p:pic>
      <p:sp>
        <p:nvSpPr>
          <p:cNvPr id="73" name="TrackerNumWhite 71">
            <a:extLst>
              <a:ext uri="{FF2B5EF4-FFF2-40B4-BE49-F238E27FC236}">
                <a16:creationId xmlns:a16="http://schemas.microsoft.com/office/drawing/2014/main" id="{34D92644-4F59-79CA-5B84-BAB8A0717BC1}"/>
              </a:ext>
            </a:extLst>
          </p:cNvPr>
          <p:cNvSpPr/>
          <p:nvPr>
            <p:custDataLst>
              <p:tags r:id="rId9"/>
            </p:custDataLst>
          </p:nvPr>
        </p:nvSpPr>
        <p:spPr>
          <a:xfrm>
            <a:off x="10812177" y="2281774"/>
            <a:ext cx="571484" cy="279340"/>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dirty="0">
                <a:solidFill>
                  <a:schemeClr val="accent1"/>
                </a:solidFill>
              </a:rPr>
              <a:t>1</a:t>
            </a:r>
          </a:p>
        </p:txBody>
      </p:sp>
      <p:sp>
        <p:nvSpPr>
          <p:cNvPr id="89" name="TextBox 88">
            <a:extLst>
              <a:ext uri="{FF2B5EF4-FFF2-40B4-BE49-F238E27FC236}">
                <a16:creationId xmlns:a16="http://schemas.microsoft.com/office/drawing/2014/main" id="{8583988B-D57A-80AB-FEEA-B6D4BDBD1C67}"/>
              </a:ext>
            </a:extLst>
          </p:cNvPr>
          <p:cNvSpPr txBox="1"/>
          <p:nvPr/>
        </p:nvSpPr>
        <p:spPr>
          <a:xfrm>
            <a:off x="9275467" y="2310644"/>
            <a:ext cx="841348" cy="221599"/>
          </a:xfrm>
          <a:prstGeom prst="rect">
            <a:avLst/>
          </a:prstGeom>
        </p:spPr>
        <p:txBody>
          <a:bodyPr vert="horz" wrap="square" lIns="0" tIns="0" rIns="0" bIns="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lgn="ctr">
              <a:buNone/>
            </a:pPr>
            <a:r>
              <a:rPr lang="pt-BR" sz="1600" b="1" dirty="0">
                <a:cs typeface="Arial" panose="020B0604020202020204" pitchFamily="34" charset="0"/>
              </a:rPr>
              <a:t>53%</a:t>
            </a:r>
          </a:p>
        </p:txBody>
      </p:sp>
      <p:sp>
        <p:nvSpPr>
          <p:cNvPr id="87" name="TextBox 86">
            <a:extLst>
              <a:ext uri="{FF2B5EF4-FFF2-40B4-BE49-F238E27FC236}">
                <a16:creationId xmlns:a16="http://schemas.microsoft.com/office/drawing/2014/main" id="{AF73692A-5AFF-EAE3-07CE-AB7BBFF6CD37}"/>
              </a:ext>
            </a:extLst>
          </p:cNvPr>
          <p:cNvSpPr txBox="1"/>
          <p:nvPr/>
        </p:nvSpPr>
        <p:spPr>
          <a:xfrm>
            <a:off x="7997688" y="2310644"/>
            <a:ext cx="578249" cy="221599"/>
          </a:xfrm>
          <a:prstGeom prst="rect">
            <a:avLst/>
          </a:prstGeom>
        </p:spPr>
        <p:txBody>
          <a:bodyPr vert="horz" wrap="square" lIns="0" tIns="0" rIns="0" bIns="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pt-BR" sz="1600" b="1" dirty="0">
                <a:cs typeface="Arial" panose="020B0604020202020204" pitchFamily="34" charset="0"/>
              </a:rPr>
              <a:t>Ag</a:t>
            </a:r>
          </a:p>
        </p:txBody>
      </p:sp>
      <p:grpSp>
        <p:nvGrpSpPr>
          <p:cNvPr id="32" name="Group 31">
            <a:extLst>
              <a:ext uri="{FF2B5EF4-FFF2-40B4-BE49-F238E27FC236}">
                <a16:creationId xmlns:a16="http://schemas.microsoft.com/office/drawing/2014/main" id="{09975DCF-D7DE-1582-B990-F0EF7F5860C3}"/>
              </a:ext>
            </a:extLst>
          </p:cNvPr>
          <p:cNvGrpSpPr/>
          <p:nvPr/>
        </p:nvGrpSpPr>
        <p:grpSpPr>
          <a:xfrm>
            <a:off x="6883016" y="2722347"/>
            <a:ext cx="506618" cy="243992"/>
            <a:chOff x="2574812" y="3865715"/>
            <a:chExt cx="720911" cy="341976"/>
          </a:xfrm>
        </p:grpSpPr>
        <p:pic>
          <p:nvPicPr>
            <p:cNvPr id="33" name="Picture 25" descr="http://web.tradekorea.com/upload_file/prod/marketing/mkt_files/new_company/byzinc/img_en/o_P300337.jpg">
              <a:extLst>
                <a:ext uri="{FF2B5EF4-FFF2-40B4-BE49-F238E27FC236}">
                  <a16:creationId xmlns:a16="http://schemas.microsoft.com/office/drawing/2014/main" id="{6474CFED-B720-B8CA-F794-13573C974A45}"/>
                </a:ext>
              </a:extLst>
            </p:cNvPr>
            <p:cNvPicPr>
              <a:picLocks noChangeAspect="1" noChangeArrowheads="1"/>
            </p:cNvPicPr>
            <p:nvPr>
              <p:custDataLst>
                <p:tags r:id="rId29"/>
              </p:custDataLst>
            </p:nvPr>
          </p:nvPicPr>
          <p:blipFill>
            <a:blip r:embed="rId3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gray">
            <a:xfrm>
              <a:off x="2845386" y="3865715"/>
              <a:ext cx="450337" cy="341976"/>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5" descr="http://web.tradekorea.com/upload_file/prod/marketing/mkt_files/new_company/byzinc/img_en/o_P300337.jpg">
              <a:extLst>
                <a:ext uri="{FF2B5EF4-FFF2-40B4-BE49-F238E27FC236}">
                  <a16:creationId xmlns:a16="http://schemas.microsoft.com/office/drawing/2014/main" id="{D71AB2D8-3EDB-12A2-B46C-DA390B345F94}"/>
                </a:ext>
              </a:extLst>
            </p:cNvPr>
            <p:cNvPicPr>
              <a:picLocks noChangeAspect="1" noChangeArrowheads="1"/>
            </p:cNvPicPr>
            <p:nvPr>
              <p:custDataLst>
                <p:tags r:id="rId30"/>
              </p:custDataLst>
            </p:nvPr>
          </p:nvPicPr>
          <p:blipFill>
            <a:blip r:embed="rId3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gray">
            <a:xfrm>
              <a:off x="2710098" y="3865715"/>
              <a:ext cx="450337" cy="341976"/>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25" descr="http://web.tradekorea.com/upload_file/prod/marketing/mkt_files/new_company/byzinc/img_en/o_P300337.jpg">
              <a:extLst>
                <a:ext uri="{FF2B5EF4-FFF2-40B4-BE49-F238E27FC236}">
                  <a16:creationId xmlns:a16="http://schemas.microsoft.com/office/drawing/2014/main" id="{B334E7A5-989B-6AE6-365F-2289BA5D218E}"/>
                </a:ext>
              </a:extLst>
            </p:cNvPr>
            <p:cNvPicPr>
              <a:picLocks noChangeAspect="1" noChangeArrowheads="1"/>
            </p:cNvPicPr>
            <p:nvPr>
              <p:custDataLst>
                <p:tags r:id="rId31"/>
              </p:custDataLst>
            </p:nvPr>
          </p:nvPicPr>
          <p:blipFill>
            <a:blip r:embed="rId3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gray">
            <a:xfrm>
              <a:off x="2574812" y="3865715"/>
              <a:ext cx="450337" cy="341976"/>
            </a:xfrm>
            <a:prstGeom prst="rect">
              <a:avLst/>
            </a:prstGeom>
            <a:noFill/>
            <a:extLst>
              <a:ext uri="{909E8E84-426E-40DD-AFC4-6F175D3DCCD1}">
                <a14:hiddenFill xmlns:a14="http://schemas.microsoft.com/office/drawing/2010/main">
                  <a:solidFill>
                    <a:srgbClr val="FFFFFF"/>
                  </a:solidFill>
                </a14:hiddenFill>
              </a:ext>
            </a:extLst>
          </p:spPr>
        </p:pic>
      </p:grpSp>
      <p:sp>
        <p:nvSpPr>
          <p:cNvPr id="78" name="TrackerNumWhite 71">
            <a:extLst>
              <a:ext uri="{FF2B5EF4-FFF2-40B4-BE49-F238E27FC236}">
                <a16:creationId xmlns:a16="http://schemas.microsoft.com/office/drawing/2014/main" id="{546E8FE9-3021-C663-9089-D8FFEAA09CF4}"/>
              </a:ext>
            </a:extLst>
          </p:cNvPr>
          <p:cNvSpPr/>
          <p:nvPr>
            <p:custDataLst>
              <p:tags r:id="rId10"/>
            </p:custDataLst>
          </p:nvPr>
        </p:nvSpPr>
        <p:spPr>
          <a:xfrm>
            <a:off x="10812177" y="2704673"/>
            <a:ext cx="571484" cy="279340"/>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dirty="0">
                <a:solidFill>
                  <a:schemeClr val="accent1"/>
                </a:solidFill>
              </a:rPr>
              <a:t>2</a:t>
            </a:r>
          </a:p>
        </p:txBody>
      </p:sp>
      <p:sp>
        <p:nvSpPr>
          <p:cNvPr id="93" name="TextBox 92">
            <a:extLst>
              <a:ext uri="{FF2B5EF4-FFF2-40B4-BE49-F238E27FC236}">
                <a16:creationId xmlns:a16="http://schemas.microsoft.com/office/drawing/2014/main" id="{17B77BE6-C29A-B858-300A-CEF1285EA2D0}"/>
              </a:ext>
            </a:extLst>
          </p:cNvPr>
          <p:cNvSpPr txBox="1"/>
          <p:nvPr/>
        </p:nvSpPr>
        <p:spPr>
          <a:xfrm>
            <a:off x="9275467" y="2733543"/>
            <a:ext cx="841348" cy="221599"/>
          </a:xfrm>
          <a:prstGeom prst="rect">
            <a:avLst/>
          </a:prstGeom>
        </p:spPr>
        <p:txBody>
          <a:bodyPr vert="horz" wrap="square" lIns="0" tIns="0" rIns="0" bIns="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lgn="ctr">
              <a:buNone/>
            </a:pPr>
            <a:r>
              <a:rPr lang="pt-BR" sz="1600" b="1" dirty="0">
                <a:cs typeface="Arial" panose="020B0604020202020204" pitchFamily="34" charset="0"/>
              </a:rPr>
              <a:t>22%</a:t>
            </a:r>
          </a:p>
        </p:txBody>
      </p:sp>
      <p:sp>
        <p:nvSpPr>
          <p:cNvPr id="91" name="TextBox 90">
            <a:extLst>
              <a:ext uri="{FF2B5EF4-FFF2-40B4-BE49-F238E27FC236}">
                <a16:creationId xmlns:a16="http://schemas.microsoft.com/office/drawing/2014/main" id="{0A2B5D6C-3D5C-9F30-D26F-D1EB26AFD651}"/>
              </a:ext>
            </a:extLst>
          </p:cNvPr>
          <p:cNvSpPr txBox="1"/>
          <p:nvPr/>
        </p:nvSpPr>
        <p:spPr>
          <a:xfrm>
            <a:off x="7997688" y="2733543"/>
            <a:ext cx="578249" cy="221599"/>
          </a:xfrm>
          <a:prstGeom prst="rect">
            <a:avLst/>
          </a:prstGeom>
        </p:spPr>
        <p:txBody>
          <a:bodyPr vert="horz" wrap="square" lIns="0" tIns="0" rIns="0" bIns="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pt-BR" sz="1600" b="1" dirty="0">
                <a:cs typeface="Arial" panose="020B0604020202020204" pitchFamily="34" charset="0"/>
              </a:rPr>
              <a:t>Zn</a:t>
            </a:r>
          </a:p>
        </p:txBody>
      </p:sp>
      <p:pic>
        <p:nvPicPr>
          <p:cNvPr id="37" name="Picture 2" descr="The Assay Guide to Iron Ore">
            <a:extLst>
              <a:ext uri="{FF2B5EF4-FFF2-40B4-BE49-F238E27FC236}">
                <a16:creationId xmlns:a16="http://schemas.microsoft.com/office/drawing/2014/main" id="{1546EB7C-08F7-AABB-5DAC-0B404C0D6AA2}"/>
              </a:ext>
            </a:extLst>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6883016" y="3091567"/>
            <a:ext cx="502890" cy="334650"/>
          </a:xfrm>
          <a:prstGeom prst="rect">
            <a:avLst/>
          </a:prstGeom>
          <a:noFill/>
          <a:extLst>
            <a:ext uri="{909E8E84-426E-40DD-AFC4-6F175D3DCCD1}">
              <a14:hiddenFill xmlns:a14="http://schemas.microsoft.com/office/drawing/2010/main">
                <a:solidFill>
                  <a:srgbClr val="FFFFFF"/>
                </a:solidFill>
              </a14:hiddenFill>
            </a:ext>
          </a:extLst>
        </p:spPr>
      </p:pic>
      <p:sp>
        <p:nvSpPr>
          <p:cNvPr id="80" name="TrackerNumWhite 71">
            <a:extLst>
              <a:ext uri="{FF2B5EF4-FFF2-40B4-BE49-F238E27FC236}">
                <a16:creationId xmlns:a16="http://schemas.microsoft.com/office/drawing/2014/main" id="{7DC3FB1C-E16D-1930-0EE2-B08D60CF2EB1}"/>
              </a:ext>
            </a:extLst>
          </p:cNvPr>
          <p:cNvSpPr/>
          <p:nvPr>
            <p:custDataLst>
              <p:tags r:id="rId11"/>
            </p:custDataLst>
          </p:nvPr>
        </p:nvSpPr>
        <p:spPr>
          <a:xfrm>
            <a:off x="10812177" y="3119222"/>
            <a:ext cx="571484" cy="279340"/>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dirty="0">
                <a:solidFill>
                  <a:schemeClr val="accent1"/>
                </a:solidFill>
              </a:rPr>
              <a:t>2</a:t>
            </a:r>
          </a:p>
        </p:txBody>
      </p:sp>
      <p:sp>
        <p:nvSpPr>
          <p:cNvPr id="97" name="TextBox 96">
            <a:extLst>
              <a:ext uri="{FF2B5EF4-FFF2-40B4-BE49-F238E27FC236}">
                <a16:creationId xmlns:a16="http://schemas.microsoft.com/office/drawing/2014/main" id="{D335948B-34C1-75A4-0D3B-8041B1FC2BD6}"/>
              </a:ext>
            </a:extLst>
          </p:cNvPr>
          <p:cNvSpPr txBox="1"/>
          <p:nvPr/>
        </p:nvSpPr>
        <p:spPr>
          <a:xfrm>
            <a:off x="9275467" y="3148093"/>
            <a:ext cx="841348" cy="221599"/>
          </a:xfrm>
          <a:prstGeom prst="rect">
            <a:avLst/>
          </a:prstGeom>
        </p:spPr>
        <p:txBody>
          <a:bodyPr vert="horz" wrap="square" lIns="0" tIns="0" rIns="0" bIns="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lgn="ctr">
              <a:buNone/>
            </a:pPr>
            <a:r>
              <a:rPr lang="pt-BR" sz="1600" b="1" dirty="0">
                <a:cs typeface="Arial" panose="020B0604020202020204" pitchFamily="34" charset="0"/>
              </a:rPr>
              <a:t>19%</a:t>
            </a:r>
          </a:p>
        </p:txBody>
      </p:sp>
      <p:sp>
        <p:nvSpPr>
          <p:cNvPr id="95" name="TextBox 94">
            <a:extLst>
              <a:ext uri="{FF2B5EF4-FFF2-40B4-BE49-F238E27FC236}">
                <a16:creationId xmlns:a16="http://schemas.microsoft.com/office/drawing/2014/main" id="{49E11E8F-0C1F-5F70-ADDE-6B75E2167D3E}"/>
              </a:ext>
            </a:extLst>
          </p:cNvPr>
          <p:cNvSpPr txBox="1"/>
          <p:nvPr/>
        </p:nvSpPr>
        <p:spPr>
          <a:xfrm>
            <a:off x="7997688" y="3148093"/>
            <a:ext cx="578249" cy="221599"/>
          </a:xfrm>
          <a:prstGeom prst="rect">
            <a:avLst/>
          </a:prstGeom>
        </p:spPr>
        <p:txBody>
          <a:bodyPr vert="horz" wrap="square" lIns="0" tIns="0" rIns="0" bIns="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pt-BR" sz="1600" b="1" dirty="0">
                <a:cs typeface="Arial" panose="020B0604020202020204" pitchFamily="34" charset="0"/>
              </a:rPr>
              <a:t>Fe</a:t>
            </a:r>
          </a:p>
        </p:txBody>
      </p:sp>
      <p:pic>
        <p:nvPicPr>
          <p:cNvPr id="36" name="Picture 16" descr="http://images03.olx.es/ui/3/43/96/f_62033796-34ef3591.jpeg">
            <a:extLst>
              <a:ext uri="{FF2B5EF4-FFF2-40B4-BE49-F238E27FC236}">
                <a16:creationId xmlns:a16="http://schemas.microsoft.com/office/drawing/2014/main" id="{5033E007-D14B-1304-ED6A-CF6C32CB5E88}"/>
              </a:ext>
            </a:extLst>
          </p:cNvPr>
          <p:cNvPicPr>
            <a:picLocks noChangeAspect="1" noChangeArrowheads="1"/>
          </p:cNvPicPr>
          <p:nvPr>
            <p:custDataLst>
              <p:tags r:id="rId12"/>
            </p:custDataLst>
          </p:nvPr>
        </p:nvPicPr>
        <p:blipFill rotWithShape="1">
          <a:blip r:embed="rId41" cstate="print">
            <a:clrChange>
              <a:clrFrom>
                <a:srgbClr val="FFFFFF"/>
              </a:clrFrom>
              <a:clrTo>
                <a:srgbClr val="FFFFFF">
                  <a:alpha val="0"/>
                </a:srgbClr>
              </a:clrTo>
            </a:clrChange>
            <a:extLst>
              <a:ext uri="{28A0092B-C50C-407E-A947-70E740481C1C}">
                <a14:useLocalDpi xmlns:a14="http://schemas.microsoft.com/office/drawing/2010/main" val="0"/>
              </a:ext>
            </a:extLst>
          </a:blip>
          <a:srcRect b="9284"/>
          <a:stretch/>
        </p:blipFill>
        <p:spPr bwMode="gray">
          <a:xfrm>
            <a:off x="6883016" y="3577075"/>
            <a:ext cx="618680" cy="373226"/>
          </a:xfrm>
          <a:prstGeom prst="rect">
            <a:avLst/>
          </a:prstGeom>
          <a:noFill/>
          <a:extLst>
            <a:ext uri="{909E8E84-426E-40DD-AFC4-6F175D3DCCD1}">
              <a14:hiddenFill xmlns:a14="http://schemas.microsoft.com/office/drawing/2010/main">
                <a:solidFill>
                  <a:srgbClr val="FFFFFF"/>
                </a:solidFill>
              </a14:hiddenFill>
            </a:ext>
          </a:extLst>
        </p:spPr>
      </p:pic>
      <p:sp>
        <p:nvSpPr>
          <p:cNvPr id="81" name="TrackerNumWhite 71">
            <a:extLst>
              <a:ext uri="{FF2B5EF4-FFF2-40B4-BE49-F238E27FC236}">
                <a16:creationId xmlns:a16="http://schemas.microsoft.com/office/drawing/2014/main" id="{6A55D186-33DD-880D-A915-87B4F3E1A42C}"/>
              </a:ext>
            </a:extLst>
          </p:cNvPr>
          <p:cNvSpPr/>
          <p:nvPr>
            <p:custDataLst>
              <p:tags r:id="rId13"/>
            </p:custDataLst>
          </p:nvPr>
        </p:nvSpPr>
        <p:spPr>
          <a:xfrm>
            <a:off x="10812177" y="3624018"/>
            <a:ext cx="571484" cy="27934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dirty="0">
                <a:solidFill>
                  <a:schemeClr val="bg1"/>
                </a:solidFill>
              </a:rPr>
              <a:t>2</a:t>
            </a:r>
          </a:p>
        </p:txBody>
      </p:sp>
      <p:sp>
        <p:nvSpPr>
          <p:cNvPr id="101" name="TextBox 100">
            <a:extLst>
              <a:ext uri="{FF2B5EF4-FFF2-40B4-BE49-F238E27FC236}">
                <a16:creationId xmlns:a16="http://schemas.microsoft.com/office/drawing/2014/main" id="{CDEAE53C-D1DB-FEE8-0D5A-09E63BA49C00}"/>
              </a:ext>
            </a:extLst>
          </p:cNvPr>
          <p:cNvSpPr txBox="1"/>
          <p:nvPr/>
        </p:nvSpPr>
        <p:spPr>
          <a:xfrm>
            <a:off x="9275467" y="3652888"/>
            <a:ext cx="841348" cy="221599"/>
          </a:xfrm>
          <a:prstGeom prst="rect">
            <a:avLst/>
          </a:prstGeom>
        </p:spPr>
        <p:txBody>
          <a:bodyPr vert="horz" wrap="square" lIns="0" tIns="0" rIns="0" bIns="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lgn="ctr">
              <a:buClr>
                <a:schemeClr val="tx2"/>
              </a:buClr>
              <a:buNone/>
            </a:pPr>
            <a:r>
              <a:rPr lang="pt-BR" sz="1600" b="1" dirty="0">
                <a:solidFill>
                  <a:schemeClr val="bg1"/>
                </a:solidFill>
                <a:cs typeface="Arial" panose="020B0604020202020204" pitchFamily="34" charset="0"/>
              </a:rPr>
              <a:t>18%</a:t>
            </a:r>
          </a:p>
        </p:txBody>
      </p:sp>
      <p:sp>
        <p:nvSpPr>
          <p:cNvPr id="99" name="TextBox 98">
            <a:extLst>
              <a:ext uri="{FF2B5EF4-FFF2-40B4-BE49-F238E27FC236}">
                <a16:creationId xmlns:a16="http://schemas.microsoft.com/office/drawing/2014/main" id="{9DD3A021-2936-B6D0-214F-75B44A06D910}"/>
              </a:ext>
            </a:extLst>
          </p:cNvPr>
          <p:cNvSpPr txBox="1"/>
          <p:nvPr/>
        </p:nvSpPr>
        <p:spPr>
          <a:xfrm>
            <a:off x="7997688" y="3652888"/>
            <a:ext cx="578249" cy="221599"/>
          </a:xfrm>
          <a:prstGeom prst="rect">
            <a:avLst/>
          </a:prstGeom>
        </p:spPr>
        <p:txBody>
          <a:bodyPr vert="horz" wrap="square" lIns="0" tIns="0" rIns="0" bIns="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Clr>
                <a:schemeClr val="tx2"/>
              </a:buClr>
              <a:buNone/>
            </a:pPr>
            <a:r>
              <a:rPr lang="pt-BR" sz="1600" b="1" dirty="0">
                <a:solidFill>
                  <a:schemeClr val="bg1"/>
                </a:solidFill>
                <a:cs typeface="Arial" panose="020B0604020202020204" pitchFamily="34" charset="0"/>
              </a:rPr>
              <a:t>Au</a:t>
            </a:r>
          </a:p>
        </p:txBody>
      </p:sp>
      <p:pic>
        <p:nvPicPr>
          <p:cNvPr id="38" name="Picture 6" descr="40 Shiny Lithium Facts About the Lightest Metal to Exist - Facts.net">
            <a:extLst>
              <a:ext uri="{FF2B5EF4-FFF2-40B4-BE49-F238E27FC236}">
                <a16:creationId xmlns:a16="http://schemas.microsoft.com/office/drawing/2014/main" id="{E5111791-D867-5280-3FAA-5B85D854D666}"/>
              </a:ext>
            </a:extLst>
          </p:cNvPr>
          <p:cNvPicPr>
            <a:picLocks noChangeAspect="1" noChangeArrowheads="1"/>
          </p:cNvPicPr>
          <p:nvPr/>
        </p:nvPicPr>
        <p:blipFill>
          <a:blip r:embed="rId42">
            <a:extLst>
              <a:ext uri="{BEBA8EAE-BF5A-486C-A8C5-ECC9F3942E4B}">
                <a14:imgProps xmlns:a14="http://schemas.microsoft.com/office/drawing/2010/main">
                  <a14:imgLayer r:embed="rId4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883016" y="4101158"/>
            <a:ext cx="506182" cy="336842"/>
          </a:xfrm>
          <a:prstGeom prst="rect">
            <a:avLst/>
          </a:prstGeom>
          <a:noFill/>
          <a:extLst>
            <a:ext uri="{909E8E84-426E-40DD-AFC4-6F175D3DCCD1}">
              <a14:hiddenFill xmlns:a14="http://schemas.microsoft.com/office/drawing/2010/main">
                <a:solidFill>
                  <a:srgbClr val="FFFFFF"/>
                </a:solidFill>
              </a14:hiddenFill>
            </a:ext>
          </a:extLst>
        </p:spPr>
      </p:pic>
      <p:sp>
        <p:nvSpPr>
          <p:cNvPr id="82" name="TrackerNumWhite 71">
            <a:extLst>
              <a:ext uri="{FF2B5EF4-FFF2-40B4-BE49-F238E27FC236}">
                <a16:creationId xmlns:a16="http://schemas.microsoft.com/office/drawing/2014/main" id="{045422CC-3B6A-319F-9B75-DAB6ED6EAD91}"/>
              </a:ext>
            </a:extLst>
          </p:cNvPr>
          <p:cNvSpPr/>
          <p:nvPr>
            <p:custDataLst>
              <p:tags r:id="rId14"/>
            </p:custDataLst>
          </p:nvPr>
        </p:nvSpPr>
        <p:spPr>
          <a:xfrm>
            <a:off x="10812177" y="4129909"/>
            <a:ext cx="571484" cy="279340"/>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dirty="0">
                <a:solidFill>
                  <a:schemeClr val="accent1"/>
                </a:solidFill>
              </a:rPr>
              <a:t>2</a:t>
            </a:r>
          </a:p>
        </p:txBody>
      </p:sp>
      <p:sp>
        <p:nvSpPr>
          <p:cNvPr id="105" name="TextBox 104">
            <a:extLst>
              <a:ext uri="{FF2B5EF4-FFF2-40B4-BE49-F238E27FC236}">
                <a16:creationId xmlns:a16="http://schemas.microsoft.com/office/drawing/2014/main" id="{5146D1F5-FB2A-CF1C-F496-A63722AC2D1C}"/>
              </a:ext>
            </a:extLst>
          </p:cNvPr>
          <p:cNvSpPr txBox="1"/>
          <p:nvPr/>
        </p:nvSpPr>
        <p:spPr>
          <a:xfrm>
            <a:off x="9275467" y="4158779"/>
            <a:ext cx="841348" cy="221599"/>
          </a:xfrm>
          <a:prstGeom prst="rect">
            <a:avLst/>
          </a:prstGeom>
        </p:spPr>
        <p:txBody>
          <a:bodyPr vert="horz" wrap="square" lIns="0" tIns="0" rIns="0" bIns="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lgn="ctr">
              <a:buNone/>
            </a:pPr>
            <a:r>
              <a:rPr lang="pt-BR" sz="1600" b="1" dirty="0">
                <a:cs typeface="Arial" panose="020B0604020202020204" pitchFamily="34" charset="0"/>
              </a:rPr>
              <a:t>32%</a:t>
            </a:r>
          </a:p>
        </p:txBody>
      </p:sp>
      <p:sp>
        <p:nvSpPr>
          <p:cNvPr id="103" name="TextBox 102">
            <a:extLst>
              <a:ext uri="{FF2B5EF4-FFF2-40B4-BE49-F238E27FC236}">
                <a16:creationId xmlns:a16="http://schemas.microsoft.com/office/drawing/2014/main" id="{532F184D-8040-78F7-4FC5-1B9DCEC64E9D}"/>
              </a:ext>
            </a:extLst>
          </p:cNvPr>
          <p:cNvSpPr txBox="1"/>
          <p:nvPr/>
        </p:nvSpPr>
        <p:spPr>
          <a:xfrm>
            <a:off x="7997688" y="4158779"/>
            <a:ext cx="578249" cy="221599"/>
          </a:xfrm>
          <a:prstGeom prst="rect">
            <a:avLst/>
          </a:prstGeom>
        </p:spPr>
        <p:txBody>
          <a:bodyPr vert="horz" wrap="square" lIns="0" tIns="0" rIns="0" bIns="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pt-BR" sz="1600" b="1" dirty="0">
                <a:cs typeface="Arial" panose="020B0604020202020204" pitchFamily="34" charset="0"/>
              </a:rPr>
              <a:t>Li</a:t>
            </a:r>
          </a:p>
        </p:txBody>
      </p:sp>
      <p:pic>
        <p:nvPicPr>
          <p:cNvPr id="30" name="Picture 22" descr="http://t0.gstatic.com/images?q=tbn:ANd9GcQ1QfwoJ94ToiLNL0BK83P4t11ZvnTCkCRSe6_c1EIfY-Uw3-9s">
            <a:extLst>
              <a:ext uri="{FF2B5EF4-FFF2-40B4-BE49-F238E27FC236}">
                <a16:creationId xmlns:a16="http://schemas.microsoft.com/office/drawing/2014/main" id="{70678C7F-7DF3-A031-F02B-6DC4AA17C01F}"/>
              </a:ext>
            </a:extLst>
          </p:cNvPr>
          <p:cNvPicPr>
            <a:picLocks noChangeAspect="1" noChangeArrowheads="1"/>
          </p:cNvPicPr>
          <p:nvPr>
            <p:custDataLst>
              <p:tags r:id="rId15"/>
            </p:custDataLst>
          </p:nvPr>
        </p:nvPicPr>
        <p:blipFill>
          <a:blip r:embed="rId4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gray">
          <a:xfrm>
            <a:off x="6883016" y="1751679"/>
            <a:ext cx="491424" cy="386536"/>
          </a:xfrm>
          <a:prstGeom prst="rect">
            <a:avLst/>
          </a:prstGeom>
          <a:noFill/>
          <a:extLst>
            <a:ext uri="{909E8E84-426E-40DD-AFC4-6F175D3DCCD1}">
              <a14:hiddenFill xmlns:a14="http://schemas.microsoft.com/office/drawing/2010/main">
                <a:solidFill>
                  <a:srgbClr val="FFFFFF"/>
                </a:solidFill>
              </a14:hiddenFill>
            </a:ext>
          </a:extLst>
        </p:spPr>
      </p:pic>
      <p:sp>
        <p:nvSpPr>
          <p:cNvPr id="71" name="TrackerNumWhite 71">
            <a:extLst>
              <a:ext uri="{FF2B5EF4-FFF2-40B4-BE49-F238E27FC236}">
                <a16:creationId xmlns:a16="http://schemas.microsoft.com/office/drawing/2014/main" id="{0A31FEC4-3478-7606-4A60-C2231010D25C}"/>
              </a:ext>
            </a:extLst>
          </p:cNvPr>
          <p:cNvSpPr/>
          <p:nvPr>
            <p:custDataLst>
              <p:tags r:id="rId16"/>
            </p:custDataLst>
          </p:nvPr>
        </p:nvSpPr>
        <p:spPr>
          <a:xfrm>
            <a:off x="10812177" y="1805277"/>
            <a:ext cx="571484" cy="279340"/>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600" dirty="0">
                <a:solidFill>
                  <a:schemeClr val="accent1"/>
                </a:solidFill>
              </a:rPr>
              <a:t>1</a:t>
            </a:r>
          </a:p>
        </p:txBody>
      </p:sp>
      <p:sp>
        <p:nvSpPr>
          <p:cNvPr id="85" name="TextBox 84">
            <a:extLst>
              <a:ext uri="{FF2B5EF4-FFF2-40B4-BE49-F238E27FC236}">
                <a16:creationId xmlns:a16="http://schemas.microsoft.com/office/drawing/2014/main" id="{FF2E54F6-4D29-D0BB-F929-866DE2394790}"/>
              </a:ext>
            </a:extLst>
          </p:cNvPr>
          <p:cNvSpPr txBox="1"/>
          <p:nvPr/>
        </p:nvSpPr>
        <p:spPr>
          <a:xfrm>
            <a:off x="9275467" y="1834147"/>
            <a:ext cx="841348" cy="221599"/>
          </a:xfrm>
          <a:prstGeom prst="rect">
            <a:avLst/>
          </a:prstGeom>
        </p:spPr>
        <p:txBody>
          <a:bodyPr vert="horz" wrap="square" lIns="0" tIns="0" rIns="0" bIns="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lgn="ctr">
              <a:buNone/>
            </a:pPr>
            <a:r>
              <a:rPr lang="pt-BR" sz="1600" b="1" dirty="0">
                <a:cs typeface="Arial" panose="020B0604020202020204" pitchFamily="34" charset="0"/>
              </a:rPr>
              <a:t>42%</a:t>
            </a:r>
          </a:p>
        </p:txBody>
      </p:sp>
      <p:sp>
        <p:nvSpPr>
          <p:cNvPr id="107" name="TextBox 106">
            <a:extLst>
              <a:ext uri="{FF2B5EF4-FFF2-40B4-BE49-F238E27FC236}">
                <a16:creationId xmlns:a16="http://schemas.microsoft.com/office/drawing/2014/main" id="{EED6B39B-9C65-1E12-3107-5C0EBCB1E4F9}"/>
              </a:ext>
            </a:extLst>
          </p:cNvPr>
          <p:cNvSpPr txBox="1"/>
          <p:nvPr/>
        </p:nvSpPr>
        <p:spPr>
          <a:xfrm>
            <a:off x="7997688" y="1834147"/>
            <a:ext cx="578249" cy="221599"/>
          </a:xfrm>
          <a:prstGeom prst="rect">
            <a:avLst/>
          </a:prstGeom>
        </p:spPr>
        <p:txBody>
          <a:bodyPr vert="horz" wrap="square" lIns="0" tIns="0" rIns="0" bIns="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pt-BR" sz="1600" b="1" dirty="0">
                <a:cs typeface="Arial" panose="020B0604020202020204" pitchFamily="34" charset="0"/>
              </a:rPr>
              <a:t>Cu</a:t>
            </a:r>
          </a:p>
        </p:txBody>
      </p:sp>
      <p:sp>
        <p:nvSpPr>
          <p:cNvPr id="109" name="TextBox 108">
            <a:extLst>
              <a:ext uri="{FF2B5EF4-FFF2-40B4-BE49-F238E27FC236}">
                <a16:creationId xmlns:a16="http://schemas.microsoft.com/office/drawing/2014/main" id="{10C6F41B-B678-433C-C11D-CB727AB6FB3E}"/>
              </a:ext>
            </a:extLst>
          </p:cNvPr>
          <p:cNvSpPr txBox="1"/>
          <p:nvPr/>
        </p:nvSpPr>
        <p:spPr>
          <a:xfrm>
            <a:off x="10390123" y="1184878"/>
            <a:ext cx="1415593" cy="458587"/>
          </a:xfrm>
          <a:prstGeom prst="rect">
            <a:avLst/>
          </a:prstGeom>
        </p:spPr>
        <p:txBody>
          <a:bodyPr vert="horz" wrap="square" lIns="0" tIns="0" rIns="0" bIns="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pt-BR" sz="1600" b="1" dirty="0">
                <a:cs typeface="Arial" panose="020B0604020202020204" pitchFamily="34" charset="0"/>
              </a:rPr>
              <a:t>Global rank position</a:t>
            </a:r>
          </a:p>
        </p:txBody>
      </p:sp>
      <p:grpSp>
        <p:nvGrpSpPr>
          <p:cNvPr id="2" name="Group 1">
            <a:extLst>
              <a:ext uri="{FF2B5EF4-FFF2-40B4-BE49-F238E27FC236}">
                <a16:creationId xmlns:a16="http://schemas.microsoft.com/office/drawing/2014/main" id="{D5C03420-6146-F47B-85EB-572EDE225B3D}"/>
              </a:ext>
            </a:extLst>
          </p:cNvPr>
          <p:cNvGrpSpPr/>
          <p:nvPr/>
        </p:nvGrpSpPr>
        <p:grpSpPr>
          <a:xfrm>
            <a:off x="262527" y="1751679"/>
            <a:ext cx="5629684" cy="4112694"/>
            <a:chOff x="581236" y="1751679"/>
            <a:chExt cx="5629684" cy="4112694"/>
          </a:xfrm>
        </p:grpSpPr>
        <p:pic>
          <p:nvPicPr>
            <p:cNvPr id="52" name="CustomIcon">
              <a:extLst>
                <a:ext uri="{FF2B5EF4-FFF2-40B4-BE49-F238E27FC236}">
                  <a16:creationId xmlns:a16="http://schemas.microsoft.com/office/drawing/2014/main" id="{1EDFE17A-A422-249D-D192-3148DCE2E3D9}"/>
                </a:ext>
              </a:extLst>
            </p:cNvPr>
            <p:cNvPicPr>
              <a:picLocks/>
            </p:cNvPicPr>
            <p:nvPr>
              <p:custDataLst>
                <p:tags r:id="rId24"/>
              </p:custDataLst>
            </p:nvPr>
          </p:nvPicPr>
          <p:blipFill>
            <a:blip r:embed="rId45">
              <a:extLst>
                <a:ext uri="{96DAC541-7B7A-43D3-8B79-37D633B846F1}">
                  <asvg:svgBlip xmlns:asvg="http://schemas.microsoft.com/office/drawing/2016/SVG/main" r:embed="rId46"/>
                </a:ext>
              </a:extLst>
            </a:blip>
            <a:stretch>
              <a:fillRect/>
            </a:stretch>
          </p:blipFill>
          <p:spPr>
            <a:xfrm>
              <a:off x="581236" y="4633151"/>
              <a:ext cx="518160" cy="518160"/>
            </a:xfrm>
            <a:prstGeom prst="rect">
              <a:avLst/>
            </a:prstGeom>
          </p:spPr>
        </p:pic>
        <p:pic>
          <p:nvPicPr>
            <p:cNvPr id="14" name="CustomIcon">
              <a:extLst>
                <a:ext uri="{FF2B5EF4-FFF2-40B4-BE49-F238E27FC236}">
                  <a16:creationId xmlns:a16="http://schemas.microsoft.com/office/drawing/2014/main" id="{175E0CE7-D254-C684-C79B-38991879CB98}"/>
                </a:ext>
              </a:extLst>
            </p:cNvPr>
            <p:cNvPicPr>
              <a:picLocks/>
            </p:cNvPicPr>
            <p:nvPr>
              <p:custDataLst>
                <p:tags r:id="rId25"/>
              </p:custDataLst>
            </p:nvPr>
          </p:nvPicPr>
          <p:blipFill>
            <a:blip r:embed="rId47">
              <a:extLst>
                <a:ext uri="{96DAC541-7B7A-43D3-8B79-37D633B846F1}">
                  <asvg:svgBlip xmlns:asvg="http://schemas.microsoft.com/office/drawing/2016/SVG/main" r:embed="rId48"/>
                </a:ext>
              </a:extLst>
            </a:blip>
            <a:stretch>
              <a:fillRect/>
            </a:stretch>
          </p:blipFill>
          <p:spPr>
            <a:xfrm>
              <a:off x="3326182" y="4633151"/>
              <a:ext cx="518160" cy="518160"/>
            </a:xfrm>
            <a:prstGeom prst="rect">
              <a:avLst/>
            </a:prstGeom>
          </p:spPr>
        </p:pic>
        <p:sp>
          <p:nvSpPr>
            <p:cNvPr id="114" name="TextBox 113">
              <a:extLst>
                <a:ext uri="{FF2B5EF4-FFF2-40B4-BE49-F238E27FC236}">
                  <a16:creationId xmlns:a16="http://schemas.microsoft.com/office/drawing/2014/main" id="{88345C75-30D2-203A-04BF-7B47BDBEB5B3}"/>
                </a:ext>
              </a:extLst>
            </p:cNvPr>
            <p:cNvSpPr txBox="1">
              <a:spLocks/>
            </p:cNvSpPr>
            <p:nvPr/>
          </p:nvSpPr>
          <p:spPr>
            <a:xfrm>
              <a:off x="3939704" y="4633151"/>
              <a:ext cx="2067014" cy="590931"/>
            </a:xfrm>
            <a:prstGeom prst="rect">
              <a:avLst/>
            </a:prstGeom>
          </p:spPr>
          <p:txBody>
            <a:bodyPr vert="horz" wrap="square" lIns="91440" tIns="45720" rIns="91440" bIns="4572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pt-BR" sz="3600" b="1" dirty="0">
                  <a:solidFill>
                    <a:schemeClr val="accent1"/>
                  </a:solidFill>
                  <a:cs typeface="Arial" panose="020B0604020202020204" pitchFamily="34" charset="0"/>
                </a:rPr>
                <a:t>~8M</a:t>
              </a:r>
            </a:p>
          </p:txBody>
        </p:sp>
        <p:sp>
          <p:nvSpPr>
            <p:cNvPr id="116" name="TextBox 115">
              <a:extLst>
                <a:ext uri="{FF2B5EF4-FFF2-40B4-BE49-F238E27FC236}">
                  <a16:creationId xmlns:a16="http://schemas.microsoft.com/office/drawing/2014/main" id="{BAA12843-5E60-1E3F-676C-A89901A4915C}"/>
                </a:ext>
              </a:extLst>
            </p:cNvPr>
            <p:cNvSpPr txBox="1">
              <a:spLocks/>
            </p:cNvSpPr>
            <p:nvPr/>
          </p:nvSpPr>
          <p:spPr>
            <a:xfrm>
              <a:off x="1194757" y="4633151"/>
              <a:ext cx="1769364" cy="590931"/>
            </a:xfrm>
            <a:prstGeom prst="rect">
              <a:avLst/>
            </a:prstGeom>
          </p:spPr>
          <p:txBody>
            <a:bodyPr vert="horz" wrap="square" lIns="91440" tIns="45720" rIns="91440" bIns="45720" rtlCol="0" anchor="t" anchorCtr="0">
              <a:no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pt-BR" sz="3600" b="1" dirty="0">
                  <a:solidFill>
                    <a:schemeClr val="accent1"/>
                  </a:solidFill>
                  <a:cs typeface="Arial" panose="020B0604020202020204" pitchFamily="34" charset="0"/>
                </a:rPr>
                <a:t>2-11%</a:t>
              </a:r>
            </a:p>
          </p:txBody>
        </p:sp>
        <p:grpSp>
          <p:nvGrpSpPr>
            <p:cNvPr id="149" name="Group 148">
              <a:extLst>
                <a:ext uri="{FF2B5EF4-FFF2-40B4-BE49-F238E27FC236}">
                  <a16:creationId xmlns:a16="http://schemas.microsoft.com/office/drawing/2014/main" id="{BF0E0974-253B-3AC7-B934-F23AA583B25C}"/>
                </a:ext>
              </a:extLst>
            </p:cNvPr>
            <p:cNvGrpSpPr/>
            <p:nvPr/>
          </p:nvGrpSpPr>
          <p:grpSpPr>
            <a:xfrm>
              <a:off x="1194757" y="5328842"/>
              <a:ext cx="4811961" cy="535531"/>
              <a:chOff x="876048" y="5623382"/>
              <a:chExt cx="4811961" cy="535531"/>
            </a:xfrm>
          </p:grpSpPr>
          <p:sp>
            <p:nvSpPr>
              <p:cNvPr id="111" name="TextBox 110">
                <a:extLst>
                  <a:ext uri="{FF2B5EF4-FFF2-40B4-BE49-F238E27FC236}">
                    <a16:creationId xmlns:a16="http://schemas.microsoft.com/office/drawing/2014/main" id="{6DBBC696-AD0D-0963-78F2-7D3043FBA67F}"/>
                  </a:ext>
                </a:extLst>
              </p:cNvPr>
              <p:cNvSpPr txBox="1">
                <a:spLocks/>
              </p:cNvSpPr>
              <p:nvPr/>
            </p:nvSpPr>
            <p:spPr>
              <a:xfrm>
                <a:off x="3620995" y="5623382"/>
                <a:ext cx="2067014" cy="535531"/>
              </a:xfrm>
              <a:prstGeom prst="rect">
                <a:avLst/>
              </a:prstGeom>
            </p:spPr>
            <p:txBody>
              <a:bodyPr vert="horz" wrap="square" lIns="91440" tIns="45720" rIns="91440" bIns="4572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600" dirty="0">
                    <a:cs typeface="Arial" panose="020B0604020202020204" pitchFamily="34" charset="0"/>
                  </a:rPr>
                  <a:t>Direct and indirect jobs created</a:t>
                </a:r>
                <a:endParaRPr lang="pt-BR" sz="1600" dirty="0">
                  <a:cs typeface="Arial" panose="020B0604020202020204" pitchFamily="34" charset="0"/>
                </a:endParaRPr>
              </a:p>
            </p:txBody>
          </p:sp>
          <p:sp>
            <p:nvSpPr>
              <p:cNvPr id="118" name="TextBox 117">
                <a:extLst>
                  <a:ext uri="{FF2B5EF4-FFF2-40B4-BE49-F238E27FC236}">
                    <a16:creationId xmlns:a16="http://schemas.microsoft.com/office/drawing/2014/main" id="{B6E5B95C-F4FE-E248-C1F0-876F3735809A}"/>
                  </a:ext>
                </a:extLst>
              </p:cNvPr>
              <p:cNvSpPr txBox="1">
                <a:spLocks/>
              </p:cNvSpPr>
              <p:nvPr/>
            </p:nvSpPr>
            <p:spPr>
              <a:xfrm>
                <a:off x="876048" y="5623382"/>
                <a:ext cx="1769364" cy="535531"/>
              </a:xfrm>
              <a:prstGeom prst="rect">
                <a:avLst/>
              </a:prstGeom>
            </p:spPr>
            <p:txBody>
              <a:bodyPr vert="horz" wrap="square" lIns="91440" tIns="45720" rIns="91440" bIns="45720" rtlCol="0" anchor="t" anchorCtr="0">
                <a:no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600" dirty="0">
                    <a:cs typeface="Arial" panose="020B0604020202020204" pitchFamily="34" charset="0"/>
                  </a:rPr>
                  <a:t>Of the GDP of top mining countries</a:t>
                </a:r>
                <a:endParaRPr lang="pt-BR" sz="1600" dirty="0">
                  <a:cs typeface="Arial" panose="020B0604020202020204" pitchFamily="34" charset="0"/>
                </a:endParaRPr>
              </a:p>
            </p:txBody>
          </p:sp>
        </p:grpSp>
        <p:grpSp>
          <p:nvGrpSpPr>
            <p:cNvPr id="148" name="Group 147">
              <a:extLst>
                <a:ext uri="{FF2B5EF4-FFF2-40B4-BE49-F238E27FC236}">
                  <a16:creationId xmlns:a16="http://schemas.microsoft.com/office/drawing/2014/main" id="{CEC7F76E-E813-7705-FFC8-8513ADC6FDB5}"/>
                </a:ext>
              </a:extLst>
            </p:cNvPr>
            <p:cNvGrpSpPr/>
            <p:nvPr/>
          </p:nvGrpSpPr>
          <p:grpSpPr>
            <a:xfrm>
              <a:off x="1194757" y="3888104"/>
              <a:ext cx="4811961" cy="535531"/>
              <a:chOff x="876048" y="4077630"/>
              <a:chExt cx="4811961" cy="535531"/>
            </a:xfrm>
          </p:grpSpPr>
          <p:sp>
            <p:nvSpPr>
              <p:cNvPr id="126" name="TextBox 125">
                <a:extLst>
                  <a:ext uri="{FF2B5EF4-FFF2-40B4-BE49-F238E27FC236}">
                    <a16:creationId xmlns:a16="http://schemas.microsoft.com/office/drawing/2014/main" id="{416D422E-A642-5081-3723-AB02E6867BE8}"/>
                  </a:ext>
                </a:extLst>
              </p:cNvPr>
              <p:cNvSpPr txBox="1">
                <a:spLocks/>
              </p:cNvSpPr>
              <p:nvPr/>
            </p:nvSpPr>
            <p:spPr>
              <a:xfrm>
                <a:off x="3620995" y="4077630"/>
                <a:ext cx="2067014" cy="535531"/>
              </a:xfrm>
              <a:prstGeom prst="rect">
                <a:avLst/>
              </a:prstGeom>
            </p:spPr>
            <p:txBody>
              <a:bodyPr vert="horz" wrap="square" lIns="91440" tIns="45720" rIns="91440" bIns="4572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pt-BR" sz="1600" dirty="0">
                    <a:cs typeface="Arial" panose="020B0604020202020204" pitchFamily="34" charset="0"/>
                  </a:rPr>
                  <a:t>In direct government revenue</a:t>
                </a:r>
              </a:p>
            </p:txBody>
          </p:sp>
          <p:sp>
            <p:nvSpPr>
              <p:cNvPr id="120" name="TextBox 119">
                <a:extLst>
                  <a:ext uri="{FF2B5EF4-FFF2-40B4-BE49-F238E27FC236}">
                    <a16:creationId xmlns:a16="http://schemas.microsoft.com/office/drawing/2014/main" id="{40719328-8098-2DE7-A4E5-FE77A32C5BDD}"/>
                  </a:ext>
                </a:extLst>
              </p:cNvPr>
              <p:cNvSpPr txBox="1">
                <a:spLocks/>
              </p:cNvSpPr>
              <p:nvPr/>
            </p:nvSpPr>
            <p:spPr>
              <a:xfrm>
                <a:off x="876048" y="4077630"/>
                <a:ext cx="1769364" cy="313932"/>
              </a:xfrm>
              <a:prstGeom prst="rect">
                <a:avLst/>
              </a:prstGeom>
            </p:spPr>
            <p:txBody>
              <a:bodyPr vert="horz" wrap="square" lIns="91440" tIns="45720" rIns="91440" bIns="45720" rtlCol="0" anchor="t" anchorCtr="0">
                <a:no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pt-BR" sz="1600" dirty="0">
                    <a:cs typeface="Arial" panose="020B0604020202020204" pitchFamily="34" charset="0"/>
                  </a:rPr>
                  <a:t>Of the exports</a:t>
                </a:r>
              </a:p>
            </p:txBody>
          </p:sp>
        </p:grpSp>
        <p:pic>
          <p:nvPicPr>
            <p:cNvPr id="49" name="CustomIcon">
              <a:extLst>
                <a:ext uri="{FF2B5EF4-FFF2-40B4-BE49-F238E27FC236}">
                  <a16:creationId xmlns:a16="http://schemas.microsoft.com/office/drawing/2014/main" id="{C2CD5422-9BDC-4ED4-C19F-1A9FD06E9CAD}"/>
                </a:ext>
              </a:extLst>
            </p:cNvPr>
            <p:cNvPicPr>
              <a:picLocks/>
            </p:cNvPicPr>
            <p:nvPr>
              <p:custDataLst>
                <p:tags r:id="rId26"/>
              </p:custDataLst>
            </p:nvPr>
          </p:nvPicPr>
          <p:blipFill>
            <a:blip r:embed="rId49">
              <a:extLst>
                <a:ext uri="{96DAC541-7B7A-43D3-8B79-37D633B846F1}">
                  <asvg:svgBlip xmlns:asvg="http://schemas.microsoft.com/office/drawing/2016/SVG/main" r:embed="rId50"/>
                </a:ext>
              </a:extLst>
            </a:blip>
            <a:stretch>
              <a:fillRect/>
            </a:stretch>
          </p:blipFill>
          <p:spPr>
            <a:xfrm>
              <a:off x="581236" y="3192415"/>
              <a:ext cx="518160" cy="518160"/>
            </a:xfrm>
            <a:prstGeom prst="rect">
              <a:avLst/>
            </a:prstGeom>
          </p:spPr>
        </p:pic>
        <p:pic>
          <p:nvPicPr>
            <p:cNvPr id="13" name="CustomIcon">
              <a:extLst>
                <a:ext uri="{FF2B5EF4-FFF2-40B4-BE49-F238E27FC236}">
                  <a16:creationId xmlns:a16="http://schemas.microsoft.com/office/drawing/2014/main" id="{90C84997-B600-6D99-75D6-0ABF7E21AAF8}"/>
                </a:ext>
              </a:extLst>
            </p:cNvPr>
            <p:cNvPicPr>
              <a:picLocks/>
            </p:cNvPicPr>
            <p:nvPr>
              <p:custDataLst>
                <p:tags r:id="rId27"/>
              </p:custDataLst>
            </p:nvPr>
          </p:nvPicPr>
          <p:blipFill>
            <a:blip r:embed="rId51">
              <a:extLst>
                <a:ext uri="{96DAC541-7B7A-43D3-8B79-37D633B846F1}">
                  <asvg:svgBlip xmlns:asvg="http://schemas.microsoft.com/office/drawing/2016/SVG/main" r:embed="rId52"/>
                </a:ext>
              </a:extLst>
            </a:blip>
            <a:stretch>
              <a:fillRect/>
            </a:stretch>
          </p:blipFill>
          <p:spPr>
            <a:xfrm>
              <a:off x="3326182" y="3192415"/>
              <a:ext cx="518160" cy="518160"/>
            </a:xfrm>
            <a:prstGeom prst="rect">
              <a:avLst/>
            </a:prstGeom>
          </p:spPr>
        </p:pic>
        <p:sp>
          <p:nvSpPr>
            <p:cNvPr id="124" name="TextBox 123">
              <a:extLst>
                <a:ext uri="{FF2B5EF4-FFF2-40B4-BE49-F238E27FC236}">
                  <a16:creationId xmlns:a16="http://schemas.microsoft.com/office/drawing/2014/main" id="{9C9C2EC5-EEAE-7877-CA70-36BB99359B68}"/>
                </a:ext>
              </a:extLst>
            </p:cNvPr>
            <p:cNvSpPr txBox="1">
              <a:spLocks/>
            </p:cNvSpPr>
            <p:nvPr/>
          </p:nvSpPr>
          <p:spPr>
            <a:xfrm>
              <a:off x="3939704" y="3192415"/>
              <a:ext cx="2271216" cy="590931"/>
            </a:xfrm>
            <a:prstGeom prst="rect">
              <a:avLst/>
            </a:prstGeom>
          </p:spPr>
          <p:txBody>
            <a:bodyPr vert="horz" wrap="square" lIns="91440" tIns="45720" rIns="91440" bIns="4572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pt-BR" sz="3600" b="1" dirty="0">
                  <a:solidFill>
                    <a:schemeClr val="accent1"/>
                  </a:solidFill>
                  <a:cs typeface="Arial" panose="020B0604020202020204" pitchFamily="34" charset="0"/>
                </a:rPr>
                <a:t>20-30 $bn</a:t>
              </a:r>
            </a:p>
          </p:txBody>
        </p:sp>
        <p:sp>
          <p:nvSpPr>
            <p:cNvPr id="122" name="TextBox 121">
              <a:extLst>
                <a:ext uri="{FF2B5EF4-FFF2-40B4-BE49-F238E27FC236}">
                  <a16:creationId xmlns:a16="http://schemas.microsoft.com/office/drawing/2014/main" id="{B59A8FB6-A38E-5DBA-9538-DDB73872444A}"/>
                </a:ext>
              </a:extLst>
            </p:cNvPr>
            <p:cNvSpPr txBox="1">
              <a:spLocks/>
            </p:cNvSpPr>
            <p:nvPr/>
          </p:nvSpPr>
          <p:spPr>
            <a:xfrm>
              <a:off x="1194757" y="3192415"/>
              <a:ext cx="1769364" cy="590931"/>
            </a:xfrm>
            <a:prstGeom prst="rect">
              <a:avLst/>
            </a:prstGeom>
          </p:spPr>
          <p:txBody>
            <a:bodyPr vert="horz" wrap="square" lIns="91440" tIns="45720" rIns="91440" bIns="45720" rtlCol="0" anchor="t" anchorCtr="0">
              <a:no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pt-BR" sz="3600" b="1" dirty="0">
                  <a:solidFill>
                    <a:schemeClr val="accent1"/>
                  </a:solidFill>
                  <a:cs typeface="Arial" panose="020B0604020202020204" pitchFamily="34" charset="0"/>
                </a:rPr>
                <a:t>12-16%</a:t>
              </a:r>
            </a:p>
          </p:txBody>
        </p:sp>
        <p:pic>
          <p:nvPicPr>
            <p:cNvPr id="47" name="CustomIcon">
              <a:extLst>
                <a:ext uri="{FF2B5EF4-FFF2-40B4-BE49-F238E27FC236}">
                  <a16:creationId xmlns:a16="http://schemas.microsoft.com/office/drawing/2014/main" id="{605AD122-20C6-1F2A-77E0-98917297639C}"/>
                </a:ext>
              </a:extLst>
            </p:cNvPr>
            <p:cNvPicPr>
              <a:picLocks/>
            </p:cNvPicPr>
            <p:nvPr>
              <p:custDataLst>
                <p:tags r:id="rId28"/>
              </p:custDataLst>
            </p:nvPr>
          </p:nvPicPr>
          <p:blipFill>
            <a:blip r:embed="rId53">
              <a:extLst>
                <a:ext uri="{96DAC541-7B7A-43D3-8B79-37D633B846F1}">
                  <asvg:svgBlip xmlns:asvg="http://schemas.microsoft.com/office/drawing/2016/SVG/main" r:embed="rId54"/>
                </a:ext>
              </a:extLst>
            </a:blip>
            <a:stretch>
              <a:fillRect/>
            </a:stretch>
          </p:blipFill>
          <p:spPr>
            <a:xfrm>
              <a:off x="581236" y="1751679"/>
              <a:ext cx="518160" cy="518160"/>
            </a:xfrm>
            <a:prstGeom prst="rect">
              <a:avLst/>
            </a:prstGeom>
          </p:spPr>
        </p:pic>
        <p:pic>
          <p:nvPicPr>
            <p:cNvPr id="12" name="Graphic 11">
              <a:extLst>
                <a:ext uri="{FF2B5EF4-FFF2-40B4-BE49-F238E27FC236}">
                  <a16:creationId xmlns:a16="http://schemas.microsoft.com/office/drawing/2014/main" id="{2E42CCDB-491C-EFF5-A1AE-4F4B5F8BA051}"/>
                </a:ext>
              </a:extLst>
            </p:cNvPr>
            <p:cNvPicPr>
              <a:picLocks/>
            </p:cNvPicPr>
            <p:nvPr/>
          </p:nvPicPr>
          <p:blipFill>
            <a:blip r:embed="rId55">
              <a:extLst>
                <a:ext uri="{96DAC541-7B7A-43D3-8B79-37D633B846F1}">
                  <asvg:svgBlip xmlns:asvg="http://schemas.microsoft.com/office/drawing/2016/SVG/main" r:embed="rId56"/>
                </a:ext>
              </a:extLst>
            </a:blip>
            <a:stretch>
              <a:fillRect/>
            </a:stretch>
          </p:blipFill>
          <p:spPr>
            <a:xfrm>
              <a:off x="3326182" y="1751679"/>
              <a:ext cx="518160" cy="518160"/>
            </a:xfrm>
            <a:prstGeom prst="rect">
              <a:avLst/>
            </a:prstGeom>
          </p:spPr>
        </p:pic>
        <p:sp>
          <p:nvSpPr>
            <p:cNvPr id="130" name="TextBox 129">
              <a:extLst>
                <a:ext uri="{FF2B5EF4-FFF2-40B4-BE49-F238E27FC236}">
                  <a16:creationId xmlns:a16="http://schemas.microsoft.com/office/drawing/2014/main" id="{35EAF94B-1A28-6B7B-581E-BDC010CB6120}"/>
                </a:ext>
              </a:extLst>
            </p:cNvPr>
            <p:cNvSpPr txBox="1">
              <a:spLocks/>
            </p:cNvSpPr>
            <p:nvPr/>
          </p:nvSpPr>
          <p:spPr>
            <a:xfrm>
              <a:off x="4049416" y="1751679"/>
              <a:ext cx="2067014" cy="590931"/>
            </a:xfrm>
            <a:prstGeom prst="rect">
              <a:avLst/>
            </a:prstGeom>
          </p:spPr>
          <p:txBody>
            <a:bodyPr vert="horz" wrap="square" lIns="91440" tIns="45720" rIns="91440" bIns="4572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pt-BR" sz="3600" b="1" dirty="0">
                  <a:solidFill>
                    <a:schemeClr val="accent1"/>
                  </a:solidFill>
                  <a:cs typeface="Arial" panose="020B0604020202020204" pitchFamily="34" charset="0"/>
                </a:rPr>
                <a:t>200+ $bn</a:t>
              </a:r>
            </a:p>
          </p:txBody>
        </p:sp>
        <p:sp>
          <p:nvSpPr>
            <p:cNvPr id="132" name="TextBox 131">
              <a:extLst>
                <a:ext uri="{FF2B5EF4-FFF2-40B4-BE49-F238E27FC236}">
                  <a16:creationId xmlns:a16="http://schemas.microsoft.com/office/drawing/2014/main" id="{BF518D13-DD67-0045-C53C-43B10BB3C570}"/>
                </a:ext>
              </a:extLst>
            </p:cNvPr>
            <p:cNvSpPr txBox="1">
              <a:spLocks/>
            </p:cNvSpPr>
            <p:nvPr/>
          </p:nvSpPr>
          <p:spPr>
            <a:xfrm>
              <a:off x="1194757" y="1751679"/>
              <a:ext cx="1769364" cy="590931"/>
            </a:xfrm>
            <a:prstGeom prst="rect">
              <a:avLst/>
            </a:prstGeom>
          </p:spPr>
          <p:txBody>
            <a:bodyPr vert="horz" wrap="square" lIns="91440" tIns="45720" rIns="91440" bIns="45720" rtlCol="0" anchor="t" anchorCtr="0">
              <a:no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pt-BR" sz="3600" b="1" dirty="0">
                  <a:solidFill>
                    <a:schemeClr val="accent1"/>
                  </a:solidFill>
                  <a:cs typeface="Arial" panose="020B0604020202020204" pitchFamily="34" charset="0"/>
                </a:rPr>
                <a:t>13-19%</a:t>
              </a:r>
            </a:p>
          </p:txBody>
        </p:sp>
        <p:grpSp>
          <p:nvGrpSpPr>
            <p:cNvPr id="147" name="Group 146">
              <a:extLst>
                <a:ext uri="{FF2B5EF4-FFF2-40B4-BE49-F238E27FC236}">
                  <a16:creationId xmlns:a16="http://schemas.microsoft.com/office/drawing/2014/main" id="{34E1B7B2-A9B3-E2A3-17DF-111D96E302FE}"/>
                </a:ext>
              </a:extLst>
            </p:cNvPr>
            <p:cNvGrpSpPr/>
            <p:nvPr/>
          </p:nvGrpSpPr>
          <p:grpSpPr>
            <a:xfrm>
              <a:off x="1194757" y="2447368"/>
              <a:ext cx="4921673" cy="535531"/>
              <a:chOff x="876048" y="2531877"/>
              <a:chExt cx="4921673" cy="535531"/>
            </a:xfrm>
          </p:grpSpPr>
          <p:sp>
            <p:nvSpPr>
              <p:cNvPr id="128" name="TextBox 127">
                <a:extLst>
                  <a:ext uri="{FF2B5EF4-FFF2-40B4-BE49-F238E27FC236}">
                    <a16:creationId xmlns:a16="http://schemas.microsoft.com/office/drawing/2014/main" id="{4E548C63-7072-4BBE-131B-3404A677FB52}"/>
                  </a:ext>
                </a:extLst>
              </p:cNvPr>
              <p:cNvSpPr txBox="1">
                <a:spLocks/>
              </p:cNvSpPr>
              <p:nvPr/>
            </p:nvSpPr>
            <p:spPr>
              <a:xfrm>
                <a:off x="3730707" y="2531877"/>
                <a:ext cx="2067014" cy="313932"/>
              </a:xfrm>
              <a:prstGeom prst="rect">
                <a:avLst/>
              </a:prstGeom>
            </p:spPr>
            <p:txBody>
              <a:bodyPr vert="horz" wrap="square" lIns="91440" tIns="45720" rIns="91440" bIns="4572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pt-BR" sz="1600" dirty="0">
                    <a:cs typeface="Arial" panose="020B0604020202020204" pitchFamily="34" charset="0"/>
                  </a:rPr>
                  <a:t>Total production value</a:t>
                </a:r>
              </a:p>
            </p:txBody>
          </p:sp>
          <p:sp>
            <p:nvSpPr>
              <p:cNvPr id="134" name="TextBox 133">
                <a:extLst>
                  <a:ext uri="{FF2B5EF4-FFF2-40B4-BE49-F238E27FC236}">
                    <a16:creationId xmlns:a16="http://schemas.microsoft.com/office/drawing/2014/main" id="{EE03AA01-B5ED-4E59-9EC7-532397216358}"/>
                  </a:ext>
                </a:extLst>
              </p:cNvPr>
              <p:cNvSpPr txBox="1">
                <a:spLocks/>
              </p:cNvSpPr>
              <p:nvPr/>
            </p:nvSpPr>
            <p:spPr>
              <a:xfrm>
                <a:off x="876048" y="2531877"/>
                <a:ext cx="1769364" cy="535531"/>
              </a:xfrm>
              <a:prstGeom prst="rect">
                <a:avLst/>
              </a:prstGeom>
            </p:spPr>
            <p:txBody>
              <a:bodyPr vert="horz" wrap="square" lIns="91440" tIns="45720" rIns="91440" bIns="45720" rtlCol="0" anchor="t" anchorCtr="0">
                <a:no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600" dirty="0">
                    <a:cs typeface="Arial" panose="020B0604020202020204" pitchFamily="34" charset="0"/>
                  </a:rPr>
                  <a:t>Of the foreign direct investment </a:t>
                </a:r>
                <a:endParaRPr lang="pt-BR" sz="1600" dirty="0">
                  <a:cs typeface="Arial" panose="020B0604020202020204" pitchFamily="34" charset="0"/>
                </a:endParaRPr>
              </a:p>
            </p:txBody>
          </p:sp>
        </p:grpSp>
      </p:grpSp>
      <p:sp>
        <p:nvSpPr>
          <p:cNvPr id="136" name="TextBox 135">
            <a:extLst>
              <a:ext uri="{FF2B5EF4-FFF2-40B4-BE49-F238E27FC236}">
                <a16:creationId xmlns:a16="http://schemas.microsoft.com/office/drawing/2014/main" id="{53A7C371-F3FE-4E67-391B-B2A4F560622C}"/>
              </a:ext>
            </a:extLst>
          </p:cNvPr>
          <p:cNvSpPr txBox="1">
            <a:spLocks/>
          </p:cNvSpPr>
          <p:nvPr/>
        </p:nvSpPr>
        <p:spPr>
          <a:xfrm>
            <a:off x="262527" y="1394166"/>
            <a:ext cx="6010806" cy="249299"/>
          </a:xfrm>
          <a:prstGeom prst="rect">
            <a:avLst/>
          </a:prstGeom>
        </p:spPr>
        <p:txBody>
          <a:bodyPr vert="horz" wrap="square" lIns="0" tIns="0" rIns="0" bIns="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pt-BR" sz="1800" b="1" dirty="0"/>
              <a:t>In Latin America, mining represents...</a:t>
            </a:r>
          </a:p>
        </p:txBody>
      </p:sp>
      <p:cxnSp>
        <p:nvCxnSpPr>
          <p:cNvPr id="139" name="GreyLineContentSeparatorDefault 220">
            <a:extLst>
              <a:ext uri="{FF2B5EF4-FFF2-40B4-BE49-F238E27FC236}">
                <a16:creationId xmlns:a16="http://schemas.microsoft.com/office/drawing/2014/main" id="{40F46DE9-EAD2-5B45-4725-126D34E10309}"/>
              </a:ext>
            </a:extLst>
          </p:cNvPr>
          <p:cNvCxnSpPr>
            <a:cxnSpLocks/>
          </p:cNvCxnSpPr>
          <p:nvPr>
            <p:custDataLst>
              <p:tags r:id="rId17"/>
            </p:custDataLst>
          </p:nvPr>
        </p:nvCxnSpPr>
        <p:spPr>
          <a:xfrm>
            <a:off x="262527" y="1656558"/>
            <a:ext cx="6064741" cy="0"/>
          </a:xfrm>
          <a:prstGeom prst="straightConnector1">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3" name="GreyLineSeparatorStrong 163">
            <a:extLst>
              <a:ext uri="{FF2B5EF4-FFF2-40B4-BE49-F238E27FC236}">
                <a16:creationId xmlns:a16="http://schemas.microsoft.com/office/drawing/2014/main" id="{93A45E80-7280-D50E-E383-58A51DC08113}"/>
              </a:ext>
            </a:extLst>
          </p:cNvPr>
          <p:cNvCxnSpPr>
            <a:cxnSpLocks/>
          </p:cNvCxnSpPr>
          <p:nvPr>
            <p:custDataLst>
              <p:tags r:id="rId18"/>
            </p:custDataLst>
          </p:nvPr>
        </p:nvCxnSpPr>
        <p:spPr>
          <a:xfrm>
            <a:off x="6883016" y="2191992"/>
            <a:ext cx="4922700" cy="0"/>
          </a:xfrm>
          <a:prstGeom prst="straightConnector1">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cxnSp>
        <p:nvCxnSpPr>
          <p:cNvPr id="165" name="GreyLineSeparatorStrong 163">
            <a:extLst>
              <a:ext uri="{FF2B5EF4-FFF2-40B4-BE49-F238E27FC236}">
                <a16:creationId xmlns:a16="http://schemas.microsoft.com/office/drawing/2014/main" id="{9EE8B04F-9005-C2FB-18EF-C79F7B55A8CB}"/>
              </a:ext>
            </a:extLst>
          </p:cNvPr>
          <p:cNvCxnSpPr>
            <a:cxnSpLocks/>
          </p:cNvCxnSpPr>
          <p:nvPr>
            <p:custDataLst>
              <p:tags r:id="rId19"/>
            </p:custDataLst>
          </p:nvPr>
        </p:nvCxnSpPr>
        <p:spPr>
          <a:xfrm>
            <a:off x="6883016" y="2650896"/>
            <a:ext cx="4922700" cy="0"/>
          </a:xfrm>
          <a:prstGeom prst="straightConnector1">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cxnSp>
        <p:nvCxnSpPr>
          <p:cNvPr id="166" name="GreyLineSeparatorStrong 163">
            <a:extLst>
              <a:ext uri="{FF2B5EF4-FFF2-40B4-BE49-F238E27FC236}">
                <a16:creationId xmlns:a16="http://schemas.microsoft.com/office/drawing/2014/main" id="{30696952-8F1B-F623-0FD9-B88CF2F7DB61}"/>
              </a:ext>
            </a:extLst>
          </p:cNvPr>
          <p:cNvCxnSpPr>
            <a:cxnSpLocks/>
          </p:cNvCxnSpPr>
          <p:nvPr>
            <p:custDataLst>
              <p:tags r:id="rId20"/>
            </p:custDataLst>
          </p:nvPr>
        </p:nvCxnSpPr>
        <p:spPr>
          <a:xfrm>
            <a:off x="6883016" y="3037790"/>
            <a:ext cx="4922700" cy="0"/>
          </a:xfrm>
          <a:prstGeom prst="straightConnector1">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cxnSp>
        <p:nvCxnSpPr>
          <p:cNvPr id="167" name="GreyLineSeparatorStrong 163">
            <a:extLst>
              <a:ext uri="{FF2B5EF4-FFF2-40B4-BE49-F238E27FC236}">
                <a16:creationId xmlns:a16="http://schemas.microsoft.com/office/drawing/2014/main" id="{CF7397AF-CF7F-5271-2EDC-0C291F3C2445}"/>
              </a:ext>
            </a:extLst>
          </p:cNvPr>
          <p:cNvCxnSpPr>
            <a:cxnSpLocks/>
          </p:cNvCxnSpPr>
          <p:nvPr>
            <p:custDataLst>
              <p:tags r:id="rId21"/>
            </p:custDataLst>
          </p:nvPr>
        </p:nvCxnSpPr>
        <p:spPr>
          <a:xfrm>
            <a:off x="6883016" y="3479994"/>
            <a:ext cx="4922700" cy="0"/>
          </a:xfrm>
          <a:prstGeom prst="straightConnector1">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cxnSp>
        <p:nvCxnSpPr>
          <p:cNvPr id="168" name="GreyLineSeparatorStrong 163">
            <a:extLst>
              <a:ext uri="{FF2B5EF4-FFF2-40B4-BE49-F238E27FC236}">
                <a16:creationId xmlns:a16="http://schemas.microsoft.com/office/drawing/2014/main" id="{CF7AA0D8-6D00-41BD-9EB2-C435E91DB6D9}"/>
              </a:ext>
            </a:extLst>
          </p:cNvPr>
          <p:cNvCxnSpPr>
            <a:cxnSpLocks/>
          </p:cNvCxnSpPr>
          <p:nvPr>
            <p:custDataLst>
              <p:tags r:id="rId22"/>
            </p:custDataLst>
          </p:nvPr>
        </p:nvCxnSpPr>
        <p:spPr>
          <a:xfrm>
            <a:off x="6883016" y="4047382"/>
            <a:ext cx="4922700" cy="0"/>
          </a:xfrm>
          <a:prstGeom prst="straightConnector1">
            <a:avLst/>
          </a:prstGeom>
          <a:ln w="6350">
            <a:solidFill>
              <a:srgbClr val="757575"/>
            </a:solidFill>
          </a:ln>
        </p:spPr>
        <p:style>
          <a:lnRef idx="1">
            <a:schemeClr val="accent1"/>
          </a:lnRef>
          <a:fillRef idx="0">
            <a:schemeClr val="accent1"/>
          </a:fillRef>
          <a:effectRef idx="0">
            <a:schemeClr val="accent1"/>
          </a:effectRef>
          <a:fontRef idx="minor">
            <a:schemeClr val="tx1"/>
          </a:fontRef>
        </p:style>
      </p:cxnSp>
      <p:pic>
        <p:nvPicPr>
          <p:cNvPr id="83" name="Picture 82">
            <a:extLst>
              <a:ext uri="{FF2B5EF4-FFF2-40B4-BE49-F238E27FC236}">
                <a16:creationId xmlns:a16="http://schemas.microsoft.com/office/drawing/2014/main" id="{CC1D1688-23DF-AAFA-CE2E-16F9D8005F3D}"/>
              </a:ext>
            </a:extLst>
          </p:cNvPr>
          <p:cNvPicPr>
            <a:picLocks noChangeAspect="1"/>
          </p:cNvPicPr>
          <p:nvPr>
            <p:custDataLst>
              <p:tags r:id="rId23"/>
            </p:custDataLst>
          </p:nvPr>
        </p:nvPicPr>
        <p:blipFill rotWithShape="1">
          <a:blip r:embed="rId57" cstate="screen">
            <a:extLst>
              <a:ext uri="{28A0092B-C50C-407E-A947-70E740481C1C}">
                <a14:useLocalDpi xmlns:a14="http://schemas.microsoft.com/office/drawing/2010/main"/>
              </a:ext>
            </a:extLst>
          </a:blip>
          <a:srcRect/>
          <a:stretch/>
        </p:blipFill>
        <p:spPr>
          <a:xfrm flipH="1">
            <a:off x="6181194" y="4314661"/>
            <a:ext cx="6010806" cy="2834474"/>
          </a:xfrm>
          <a:prstGeom prst="rect">
            <a:avLst/>
          </a:prstGeom>
        </p:spPr>
      </p:pic>
    </p:spTree>
    <p:extLst>
      <p:ext uri="{BB962C8B-B14F-4D97-AF65-F5344CB8AC3E}">
        <p14:creationId xmlns:p14="http://schemas.microsoft.com/office/powerpoint/2010/main" val="30795543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9A8A6741-DCC5-0D64-179C-409358E99D2A}"/>
              </a:ext>
            </a:extLst>
          </p:cNvPr>
          <p:cNvGraphicFramePr>
            <a:graphicFrameLocks noChangeAspect="1"/>
          </p:cNvGraphicFramePr>
          <p:nvPr>
            <p:custDataLst>
              <p:tags r:id="rId1"/>
            </p:custDataLst>
            <p:extLst>
              <p:ext uri="{D42A27DB-BD31-4B8C-83A1-F6EECF244321}">
                <p14:modId xmlns:p14="http://schemas.microsoft.com/office/powerpoint/2010/main" val="1287060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395" imgH="396" progId="TCLayout.ActiveDocument.1">
                  <p:embed/>
                </p:oleObj>
              </mc:Choice>
              <mc:Fallback>
                <p:oleObj name="think-cell Slide" r:id="rId22" imgW="395" imgH="396" progId="TCLayout.ActiveDocument.1">
                  <p:embed/>
                  <p:pic>
                    <p:nvPicPr>
                      <p:cNvPr id="6" name="Object 2" hidden="1">
                        <a:extLst>
                          <a:ext uri="{FF2B5EF4-FFF2-40B4-BE49-F238E27FC236}">
                            <a16:creationId xmlns:a16="http://schemas.microsoft.com/office/drawing/2014/main" id="{9A8A6741-DCC5-0D64-179C-409358E99D2A}"/>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cxnSp>
        <p:nvCxnSpPr>
          <p:cNvPr id="74" name="GreyLineContentSeparatorDefault 72">
            <a:extLst>
              <a:ext uri="{FF2B5EF4-FFF2-40B4-BE49-F238E27FC236}">
                <a16:creationId xmlns:a16="http://schemas.microsoft.com/office/drawing/2014/main" id="{DC7711F3-CD20-4914-A888-961D12496A8C}"/>
              </a:ext>
            </a:extLst>
          </p:cNvPr>
          <p:cNvCxnSpPr>
            <a:cxnSpLocks/>
          </p:cNvCxnSpPr>
          <p:nvPr>
            <p:custDataLst>
              <p:tags r:id="rId2"/>
            </p:custDataLst>
          </p:nvPr>
        </p:nvCxnSpPr>
        <p:spPr>
          <a:xfrm>
            <a:off x="262527" y="1959476"/>
            <a:ext cx="11543188" cy="0"/>
          </a:xfrm>
          <a:prstGeom prst="straightConnector1">
            <a:avLst/>
          </a:prstGeom>
          <a:ln w="1270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2" name="GreyLineContentSeparatorDefault 72">
            <a:extLst>
              <a:ext uri="{FF2B5EF4-FFF2-40B4-BE49-F238E27FC236}">
                <a16:creationId xmlns:a16="http://schemas.microsoft.com/office/drawing/2014/main" id="{BB90C5BE-D95B-7CE2-C2AD-1F071DD753E5}"/>
              </a:ext>
            </a:extLst>
          </p:cNvPr>
          <p:cNvCxnSpPr>
            <a:cxnSpLocks/>
          </p:cNvCxnSpPr>
          <p:nvPr>
            <p:custDataLst>
              <p:tags r:id="rId3"/>
            </p:custDataLst>
          </p:nvPr>
        </p:nvCxnSpPr>
        <p:spPr>
          <a:xfrm>
            <a:off x="262527" y="2787763"/>
            <a:ext cx="11543188" cy="0"/>
          </a:xfrm>
          <a:prstGeom prst="straightConnector1">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5" name="GreyLineContentSeparatorDefault 72">
            <a:extLst>
              <a:ext uri="{FF2B5EF4-FFF2-40B4-BE49-F238E27FC236}">
                <a16:creationId xmlns:a16="http://schemas.microsoft.com/office/drawing/2014/main" id="{B61D36F9-5448-AA2F-BEE8-5F8190028DFD}"/>
              </a:ext>
            </a:extLst>
          </p:cNvPr>
          <p:cNvCxnSpPr>
            <a:cxnSpLocks/>
          </p:cNvCxnSpPr>
          <p:nvPr>
            <p:custDataLst>
              <p:tags r:id="rId4"/>
            </p:custDataLst>
          </p:nvPr>
        </p:nvCxnSpPr>
        <p:spPr>
          <a:xfrm>
            <a:off x="262527" y="3680643"/>
            <a:ext cx="11543188" cy="0"/>
          </a:xfrm>
          <a:prstGeom prst="straightConnector1">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6" name="GreyLineContentSeparatorDefault 72">
            <a:extLst>
              <a:ext uri="{FF2B5EF4-FFF2-40B4-BE49-F238E27FC236}">
                <a16:creationId xmlns:a16="http://schemas.microsoft.com/office/drawing/2014/main" id="{97420B50-232D-9D01-6268-5299E0C07971}"/>
              </a:ext>
            </a:extLst>
          </p:cNvPr>
          <p:cNvCxnSpPr>
            <a:cxnSpLocks/>
          </p:cNvCxnSpPr>
          <p:nvPr>
            <p:custDataLst>
              <p:tags r:id="rId5"/>
            </p:custDataLst>
          </p:nvPr>
        </p:nvCxnSpPr>
        <p:spPr>
          <a:xfrm>
            <a:off x="262527" y="4573523"/>
            <a:ext cx="11543188" cy="0"/>
          </a:xfrm>
          <a:prstGeom prst="straightConnector1">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7" name="GreyLineContentSeparatorDefault 72">
            <a:extLst>
              <a:ext uri="{FF2B5EF4-FFF2-40B4-BE49-F238E27FC236}">
                <a16:creationId xmlns:a16="http://schemas.microsoft.com/office/drawing/2014/main" id="{D522DD39-6144-1706-440D-B19B1D3E51A5}"/>
              </a:ext>
            </a:extLst>
          </p:cNvPr>
          <p:cNvCxnSpPr>
            <a:cxnSpLocks/>
          </p:cNvCxnSpPr>
          <p:nvPr>
            <p:custDataLst>
              <p:tags r:id="rId6"/>
            </p:custDataLst>
          </p:nvPr>
        </p:nvCxnSpPr>
        <p:spPr>
          <a:xfrm>
            <a:off x="262527" y="5466404"/>
            <a:ext cx="11543188" cy="0"/>
          </a:xfrm>
          <a:prstGeom prst="straightConnector1">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4. Footnote">
            <a:extLst>
              <a:ext uri="{FF2B5EF4-FFF2-40B4-BE49-F238E27FC236}">
                <a16:creationId xmlns:a16="http://schemas.microsoft.com/office/drawing/2014/main" id="{28B42933-BE54-E132-BD89-71EF1FBCF0E2}"/>
              </a:ext>
            </a:extLst>
          </p:cNvPr>
          <p:cNvSpPr txBox="1">
            <a:spLocks/>
          </p:cNvSpPr>
          <p:nvPr>
            <p:custDataLst>
              <p:tags r:id="rId7"/>
            </p:custDataLst>
          </p:nvPr>
        </p:nvSpPr>
        <p:spPr>
          <a:xfrm>
            <a:off x="262527" y="6371361"/>
            <a:ext cx="8921134" cy="123111"/>
          </a:xfrm>
          <a:prstGeom prst="rect">
            <a:avLst/>
          </a:prstGeom>
          <a:noFill/>
        </p:spPr>
        <p:txBody>
          <a:bodyPr vert="horz" wrap="square" lIns="0" tIns="0" rIns="0" bIns="0" rtlCol="0" anchor="b" anchorCtr="0">
            <a:noAutofit/>
          </a:bodyPr>
          <a:lstStyle/>
          <a:p>
            <a:pPr marL="203200" indent="-212725"/>
            <a:r>
              <a:rPr lang="en-US" sz="800" dirty="0"/>
              <a:t>1.	2022 Average of responses to Fraser Institute Mining Survey of </a:t>
            </a:r>
            <a:r>
              <a:rPr lang="en-US" sz="800" dirty="0" err="1"/>
              <a:t>LatAm</a:t>
            </a:r>
            <a:r>
              <a:rPr lang="en-US" sz="800" dirty="0"/>
              <a:t> countries compared to 2021</a:t>
            </a:r>
          </a:p>
        </p:txBody>
      </p:sp>
      <p:sp>
        <p:nvSpPr>
          <p:cNvPr id="27" name="5. Source">
            <a:extLst>
              <a:ext uri="{FF2B5EF4-FFF2-40B4-BE49-F238E27FC236}">
                <a16:creationId xmlns:a16="http://schemas.microsoft.com/office/drawing/2014/main" id="{F9F47CC9-8E9B-42FA-2DC7-BA054D414EC5}"/>
              </a:ext>
            </a:extLst>
          </p:cNvPr>
          <p:cNvSpPr txBox="1">
            <a:spLocks/>
          </p:cNvSpPr>
          <p:nvPr>
            <p:custDataLst>
              <p:tags r:id="rId8"/>
            </p:custDataLst>
          </p:nvPr>
        </p:nvSpPr>
        <p:spPr>
          <a:xfrm>
            <a:off x="262527" y="6501669"/>
            <a:ext cx="8921134"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s-E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eaLnBrk="1" fontAlgn="auto" latinLnBrk="0" hangingPunct="1">
              <a:lnSpc>
                <a:spcPct val="100000"/>
              </a:lnSpc>
              <a:spcBef>
                <a:spcPts val="300"/>
              </a:spcBef>
              <a:spcAft>
                <a:spcPts val="300"/>
              </a:spcAft>
              <a:buClrTx/>
              <a:buSzTx/>
              <a:buNone/>
              <a:tabLst/>
              <a:defRPr/>
            </a:pPr>
            <a:r>
              <a:rPr kumimoji="0" lang="en-US" sz="800" b="0" i="0" u="none" strike="noStrike" kern="1200" cap="none" spc="0" normalizeH="0" baseline="0" noProof="0" dirty="0">
                <a:ln>
                  <a:noFill/>
                </a:ln>
                <a:solidFill>
                  <a:srgbClr val="000000"/>
                </a:solidFill>
                <a:effectLst/>
                <a:uLnTx/>
                <a:uFillTx/>
                <a:ea typeface="+mn-ea"/>
                <a:cs typeface="Arial" panose="020B0604020202020204" pitchFamily="34" charset="0"/>
              </a:rPr>
              <a:t>Source</a:t>
            </a:r>
            <a:r>
              <a:rPr kumimoji="0" lang="en-US" sz="800" b="0" i="0" u="none" strike="noStrike" kern="1200" cap="none" spc="0" normalizeH="0" baseline="0" noProof="0" dirty="0">
                <a:ln>
                  <a:noFill/>
                </a:ln>
                <a:effectLst/>
                <a:uLnTx/>
                <a:uFillTx/>
                <a:ea typeface="+mn-ea"/>
                <a:cs typeface="Arial" panose="020B0604020202020204" pitchFamily="34" charset="0"/>
              </a:rPr>
              <a:t>: </a:t>
            </a:r>
            <a:r>
              <a:rPr lang="en-US" sz="800" dirty="0"/>
              <a:t>Fraser Institute, Press releases, Panorama de las </a:t>
            </a:r>
            <a:r>
              <a:rPr lang="en-US" sz="800" dirty="0" err="1"/>
              <a:t>empresas</a:t>
            </a:r>
            <a:r>
              <a:rPr lang="en-US" sz="800" dirty="0"/>
              <a:t> </a:t>
            </a:r>
            <a:r>
              <a:rPr lang="en-US" sz="800" dirty="0" err="1"/>
              <a:t>en</a:t>
            </a:r>
            <a:r>
              <a:rPr lang="en-US" sz="800" dirty="0"/>
              <a:t> </a:t>
            </a:r>
            <a:r>
              <a:rPr lang="en-US" sz="800" dirty="0" err="1"/>
              <a:t>Latinoamérica</a:t>
            </a:r>
            <a:r>
              <a:rPr lang="en-US" sz="800" dirty="0"/>
              <a:t> </a:t>
            </a:r>
            <a:r>
              <a:rPr lang="en-US" sz="800" dirty="0" err="1"/>
              <a:t>sobre</a:t>
            </a:r>
            <a:r>
              <a:rPr lang="en-US" sz="800" dirty="0"/>
              <a:t> ESG – EY, IBGE</a:t>
            </a:r>
            <a:endParaRPr kumimoji="0" lang="en-US" sz="800" b="0" i="0" u="none" strike="noStrike" kern="1200" cap="none" spc="0" normalizeH="0" baseline="0" noProof="0" dirty="0">
              <a:ln>
                <a:noFill/>
              </a:ln>
              <a:effectLst/>
              <a:uLnTx/>
              <a:uFillTx/>
              <a:ea typeface="+mn-ea"/>
              <a:cs typeface="Arial" panose="020B0604020202020204" pitchFamily="34" charset="0"/>
            </a:endParaRPr>
          </a:p>
        </p:txBody>
      </p:sp>
      <p:sp>
        <p:nvSpPr>
          <p:cNvPr id="31" name="2. Slide Title">
            <a:extLst>
              <a:ext uri="{FF2B5EF4-FFF2-40B4-BE49-F238E27FC236}">
                <a16:creationId xmlns:a16="http://schemas.microsoft.com/office/drawing/2014/main" id="{5649185D-9E89-53D7-3B1D-14554EA4E307}"/>
              </a:ext>
            </a:extLst>
          </p:cNvPr>
          <p:cNvSpPr txBox="1">
            <a:spLocks noChangeArrowheads="1"/>
          </p:cNvSpPr>
          <p:nvPr>
            <p:custDataLst>
              <p:tags r:id="rId9"/>
            </p:custDataLst>
          </p:nvPr>
        </p:nvSpPr>
        <p:spPr>
          <a:xfrm>
            <a:off x="262527" y="309296"/>
            <a:ext cx="8921134" cy="75713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ctr" anchorCtr="0">
            <a:spAutoFit/>
          </a:bodyPr>
          <a:lstStyle>
            <a:lvl1pPr algn="l" defTabSz="914400" rtl="0" eaLnBrk="1" latinLnBrk="0" hangingPunct="1">
              <a:lnSpc>
                <a:spcPct val="90000"/>
              </a:lnSpc>
              <a:spcBef>
                <a:spcPct val="0"/>
              </a:spcBef>
              <a:buNone/>
              <a:defRPr sz="3200" b="1" i="0" kern="1200">
                <a:solidFill>
                  <a:srgbClr val="002060"/>
                </a:solidFill>
                <a:latin typeface="Calibri" panose="020F0502020204030204" pitchFamily="34" charset="0"/>
                <a:ea typeface="+mj-ea"/>
                <a:cs typeface="Calibri" panose="020F0502020204030204" pitchFamily="34" charset="0"/>
              </a:defRPr>
            </a:lvl1pPr>
          </a:lstStyle>
          <a:p>
            <a:r>
              <a:rPr lang="en-US" sz="2400" dirty="0"/>
              <a:t>The region has its challenges but is improving across critical areas to be more competitive for mining investments</a:t>
            </a:r>
          </a:p>
        </p:txBody>
      </p:sp>
      <p:sp>
        <p:nvSpPr>
          <p:cNvPr id="39" name="TextBox 38">
            <a:extLst>
              <a:ext uri="{FF2B5EF4-FFF2-40B4-BE49-F238E27FC236}">
                <a16:creationId xmlns:a16="http://schemas.microsoft.com/office/drawing/2014/main" id="{383993EC-8B3B-62D1-07D3-A818476205B9}"/>
              </a:ext>
            </a:extLst>
          </p:cNvPr>
          <p:cNvSpPr txBox="1"/>
          <p:nvPr/>
        </p:nvSpPr>
        <p:spPr>
          <a:xfrm>
            <a:off x="265441" y="1694859"/>
            <a:ext cx="2572330" cy="249299"/>
          </a:xfrm>
          <a:prstGeom prst="rect">
            <a:avLst/>
          </a:prstGeom>
        </p:spPr>
        <p:txBody>
          <a:bodyPr vert="horz" wrap="square" lIns="0" tIns="0" rIns="0" bIns="0" rtlCol="0" anchor="b"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b="1" dirty="0">
                <a:cs typeface="Arial" panose="020B0604020202020204" pitchFamily="34" charset="0"/>
              </a:rPr>
              <a:t>Factors</a:t>
            </a:r>
          </a:p>
        </p:txBody>
      </p:sp>
      <p:grpSp>
        <p:nvGrpSpPr>
          <p:cNvPr id="25" name="CustomIcon">
            <a:extLst>
              <a:ext uri="{FF2B5EF4-FFF2-40B4-BE49-F238E27FC236}">
                <a16:creationId xmlns:a16="http://schemas.microsoft.com/office/drawing/2014/main" id="{3F6FA14B-4BE8-473D-8C0D-0E23F8F25AEE}"/>
              </a:ext>
            </a:extLst>
          </p:cNvPr>
          <p:cNvGrpSpPr>
            <a:grpSpLocks noChangeAspect="1"/>
          </p:cNvGrpSpPr>
          <p:nvPr>
            <p:custDataLst>
              <p:tags r:id="rId10"/>
            </p:custDataLst>
          </p:nvPr>
        </p:nvGrpSpPr>
        <p:grpSpPr>
          <a:xfrm>
            <a:off x="262527" y="2900335"/>
            <a:ext cx="667736" cy="667736"/>
            <a:chOff x="-205105" y="-205105"/>
            <a:chExt cx="1019810" cy="1019810"/>
          </a:xfrm>
        </p:grpSpPr>
        <p:sp>
          <p:nvSpPr>
            <p:cNvPr id="22" name="Oval 21">
              <a:extLst>
                <a:ext uri="{FF2B5EF4-FFF2-40B4-BE49-F238E27FC236}">
                  <a16:creationId xmlns:a16="http://schemas.microsoft.com/office/drawing/2014/main" id="{6ECCFCA8-5DF8-1961-4062-FF7A0A81B8E7}"/>
                </a:ext>
              </a:extLst>
            </p:cNvPr>
            <p:cNvSpPr>
              <a:spLocks noChangeAspect="1"/>
            </p:cNvSpPr>
            <p:nvPr/>
          </p:nvSpPr>
          <p:spPr>
            <a:xfrm>
              <a:off x="-205105" y="-205105"/>
              <a:ext cx="1019810" cy="101981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24" name="Graphic 23">
              <a:extLst>
                <a:ext uri="{FF2B5EF4-FFF2-40B4-BE49-F238E27FC236}">
                  <a16:creationId xmlns:a16="http://schemas.microsoft.com/office/drawing/2014/main" id="{A19A3A9C-4C55-D544-30E1-7F6ADCF7A4DE}"/>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0" y="0"/>
              <a:ext cx="609600" cy="609600"/>
            </a:xfrm>
            <a:prstGeom prst="rect">
              <a:avLst/>
            </a:prstGeom>
          </p:spPr>
        </p:pic>
      </p:grpSp>
      <p:sp>
        <p:nvSpPr>
          <p:cNvPr id="45" name="TextBox 44">
            <a:extLst>
              <a:ext uri="{FF2B5EF4-FFF2-40B4-BE49-F238E27FC236}">
                <a16:creationId xmlns:a16="http://schemas.microsoft.com/office/drawing/2014/main" id="{56F436EB-E8E2-8E96-82D0-233BCD2ACD0A}"/>
              </a:ext>
            </a:extLst>
          </p:cNvPr>
          <p:cNvSpPr txBox="1"/>
          <p:nvPr/>
        </p:nvSpPr>
        <p:spPr>
          <a:xfrm>
            <a:off x="1028548" y="3109554"/>
            <a:ext cx="1806310" cy="249299"/>
          </a:xfrm>
          <a:prstGeom prst="rect">
            <a:avLst/>
          </a:prstGeom>
        </p:spPr>
        <p:txBody>
          <a:bodyPr vert="horz" wrap="square" lIns="0" tIns="0" rIns="0" bIns="0" rtlCol="0" anchor="ctr"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b="1" dirty="0">
                <a:cs typeface="Arial" panose="020B0604020202020204" pitchFamily="34" charset="0"/>
              </a:rPr>
              <a:t>ESG</a:t>
            </a:r>
          </a:p>
        </p:txBody>
      </p:sp>
      <p:sp>
        <p:nvSpPr>
          <p:cNvPr id="64" name="TextBox 63">
            <a:extLst>
              <a:ext uri="{FF2B5EF4-FFF2-40B4-BE49-F238E27FC236}">
                <a16:creationId xmlns:a16="http://schemas.microsoft.com/office/drawing/2014/main" id="{949E3A8A-5E15-9A88-753A-001604A04D7A}"/>
              </a:ext>
            </a:extLst>
          </p:cNvPr>
          <p:cNvSpPr txBox="1"/>
          <p:nvPr/>
        </p:nvSpPr>
        <p:spPr>
          <a:xfrm>
            <a:off x="6989132" y="2894110"/>
            <a:ext cx="4816586" cy="680186"/>
          </a:xfrm>
          <a:prstGeom prst="rect">
            <a:avLst/>
          </a:prstGeom>
        </p:spPr>
        <p:txBody>
          <a:bodyPr vert="horz" wrap="square" lIns="0" tIns="0" rIns="0" bIns="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600" b="1" dirty="0">
                <a:cs typeface="Arial" panose="020B0604020202020204" pitchFamily="34" charset="0"/>
              </a:rPr>
              <a:t>Chile</a:t>
            </a:r>
            <a:r>
              <a:rPr lang="en-US" sz="1600" dirty="0">
                <a:cs typeface="Arial" panose="020B0604020202020204" pitchFamily="34" charset="0"/>
              </a:rPr>
              <a:t> has implemented a </a:t>
            </a:r>
            <a:r>
              <a:rPr lang="en-US" sz="1600" b="1" dirty="0">
                <a:cs typeface="Arial" panose="020B0604020202020204" pitchFamily="34" charset="0"/>
              </a:rPr>
              <a:t>carbon tax </a:t>
            </a:r>
            <a:r>
              <a:rPr lang="en-US" sz="1600" dirty="0">
                <a:cs typeface="Arial" panose="020B0604020202020204" pitchFamily="34" charset="0"/>
              </a:rPr>
              <a:t>and set a target of </a:t>
            </a:r>
            <a:r>
              <a:rPr lang="en-US" sz="1600" b="1" dirty="0">
                <a:cs typeface="Arial" panose="020B0604020202020204" pitchFamily="34" charset="0"/>
              </a:rPr>
              <a:t>70% of clean energy by 2050</a:t>
            </a:r>
            <a:r>
              <a:rPr lang="en-US" sz="1600" dirty="0">
                <a:cs typeface="Arial" panose="020B0604020202020204" pitchFamily="34" charset="0"/>
              </a:rPr>
              <a:t>; Brazil has implemented </a:t>
            </a:r>
            <a:r>
              <a:rPr lang="en-US" sz="1600" b="1" dirty="0">
                <a:cs typeface="Arial" panose="020B0604020202020204" pitchFamily="34" charset="0"/>
              </a:rPr>
              <a:t>regulations to reduce deforestation</a:t>
            </a:r>
          </a:p>
        </p:txBody>
      </p:sp>
      <p:grpSp>
        <p:nvGrpSpPr>
          <p:cNvPr id="29" name="CustomIcon">
            <a:extLst>
              <a:ext uri="{FF2B5EF4-FFF2-40B4-BE49-F238E27FC236}">
                <a16:creationId xmlns:a16="http://schemas.microsoft.com/office/drawing/2014/main" id="{9C1D8D98-128F-94CE-4304-6C81D109F5F5}"/>
              </a:ext>
            </a:extLst>
          </p:cNvPr>
          <p:cNvGrpSpPr>
            <a:grpSpLocks noChangeAspect="1"/>
          </p:cNvGrpSpPr>
          <p:nvPr>
            <p:custDataLst>
              <p:tags r:id="rId11"/>
            </p:custDataLst>
          </p:nvPr>
        </p:nvGrpSpPr>
        <p:grpSpPr>
          <a:xfrm>
            <a:off x="262527" y="3793215"/>
            <a:ext cx="667736" cy="667736"/>
            <a:chOff x="-205105" y="-205105"/>
            <a:chExt cx="1019810" cy="1019810"/>
          </a:xfrm>
        </p:grpSpPr>
        <p:sp>
          <p:nvSpPr>
            <p:cNvPr id="26" name="Oval 25">
              <a:extLst>
                <a:ext uri="{FF2B5EF4-FFF2-40B4-BE49-F238E27FC236}">
                  <a16:creationId xmlns:a16="http://schemas.microsoft.com/office/drawing/2014/main" id="{3C62BE13-4088-0968-EC13-5A5173DE1AC5}"/>
                </a:ext>
              </a:extLst>
            </p:cNvPr>
            <p:cNvSpPr>
              <a:spLocks noChangeAspect="1"/>
            </p:cNvSpPr>
            <p:nvPr/>
          </p:nvSpPr>
          <p:spPr>
            <a:xfrm>
              <a:off x="-205105" y="-205105"/>
              <a:ext cx="1019810" cy="101981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28" name="Graphic 27">
              <a:extLst>
                <a:ext uri="{FF2B5EF4-FFF2-40B4-BE49-F238E27FC236}">
                  <a16:creationId xmlns:a16="http://schemas.microsoft.com/office/drawing/2014/main" id="{51731D75-C7DC-5F2D-4A05-C411DF197CC8}"/>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0" y="0"/>
              <a:ext cx="609600" cy="609600"/>
            </a:xfrm>
            <a:prstGeom prst="rect">
              <a:avLst/>
            </a:prstGeom>
          </p:spPr>
        </p:pic>
      </p:grpSp>
      <p:sp>
        <p:nvSpPr>
          <p:cNvPr id="66" name="TextBox 65">
            <a:extLst>
              <a:ext uri="{FF2B5EF4-FFF2-40B4-BE49-F238E27FC236}">
                <a16:creationId xmlns:a16="http://schemas.microsoft.com/office/drawing/2014/main" id="{052BEA40-2881-2651-4AFD-5050A25E2288}"/>
              </a:ext>
            </a:extLst>
          </p:cNvPr>
          <p:cNvSpPr txBox="1"/>
          <p:nvPr/>
        </p:nvSpPr>
        <p:spPr>
          <a:xfrm>
            <a:off x="1028548" y="3877785"/>
            <a:ext cx="1806310" cy="498598"/>
          </a:xfrm>
          <a:prstGeom prst="rect">
            <a:avLst/>
          </a:prstGeom>
        </p:spPr>
        <p:txBody>
          <a:bodyPr vert="horz" wrap="square" lIns="0" tIns="0" rIns="0" bIns="0" rtlCol="0" anchor="ctr"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b="1" dirty="0">
                <a:cs typeface="Arial" panose="020B0604020202020204" pitchFamily="34" charset="0"/>
              </a:rPr>
              <a:t>Skilled labor at competitive cost</a:t>
            </a:r>
          </a:p>
        </p:txBody>
      </p:sp>
      <p:sp>
        <p:nvSpPr>
          <p:cNvPr id="77" name="TextBox 76">
            <a:extLst>
              <a:ext uri="{FF2B5EF4-FFF2-40B4-BE49-F238E27FC236}">
                <a16:creationId xmlns:a16="http://schemas.microsoft.com/office/drawing/2014/main" id="{2BEB8C68-FB40-518F-32D3-A166B422650D}"/>
              </a:ext>
            </a:extLst>
          </p:cNvPr>
          <p:cNvSpPr txBox="1"/>
          <p:nvPr/>
        </p:nvSpPr>
        <p:spPr>
          <a:xfrm>
            <a:off x="6989132" y="3897790"/>
            <a:ext cx="4816586" cy="458587"/>
          </a:xfrm>
          <a:prstGeom prst="rect">
            <a:avLst/>
          </a:prstGeom>
        </p:spPr>
        <p:txBody>
          <a:bodyPr vert="horz" wrap="square" lIns="0" tIns="0" rIns="0" bIns="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600" dirty="0">
                <a:cs typeface="Arial" panose="020B0604020202020204" pitchFamily="34" charset="0"/>
              </a:rPr>
              <a:t>~</a:t>
            </a:r>
            <a:r>
              <a:rPr lang="en-US" sz="1600" b="1" dirty="0">
                <a:cs typeface="Arial" panose="020B0604020202020204" pitchFamily="34" charset="0"/>
              </a:rPr>
              <a:t>25% of the mining jurisdictions in </a:t>
            </a:r>
            <a:r>
              <a:rPr lang="en-US" sz="1600" b="1" dirty="0" err="1">
                <a:cs typeface="Arial" panose="020B0604020202020204" pitchFamily="34" charset="0"/>
              </a:rPr>
              <a:t>LatAm</a:t>
            </a:r>
            <a:r>
              <a:rPr lang="en-US" sz="1600" b="1" dirty="0">
                <a:cs typeface="Arial" panose="020B0604020202020204" pitchFamily="34" charset="0"/>
              </a:rPr>
              <a:t> </a:t>
            </a:r>
            <a:r>
              <a:rPr lang="en-US" sz="1600" dirty="0">
                <a:cs typeface="Arial" panose="020B0604020202020204" pitchFamily="34" charset="0"/>
              </a:rPr>
              <a:t>are in the Top Quartile of </a:t>
            </a:r>
            <a:r>
              <a:rPr lang="en-US" sz="1600" b="1" dirty="0">
                <a:cs typeface="Arial" panose="020B0604020202020204" pitchFamily="34" charset="0"/>
              </a:rPr>
              <a:t>skilled labor availability perception </a:t>
            </a:r>
          </a:p>
        </p:txBody>
      </p:sp>
      <p:grpSp>
        <p:nvGrpSpPr>
          <p:cNvPr id="33" name="CustomIcon">
            <a:extLst>
              <a:ext uri="{FF2B5EF4-FFF2-40B4-BE49-F238E27FC236}">
                <a16:creationId xmlns:a16="http://schemas.microsoft.com/office/drawing/2014/main" id="{EF2670E5-89E3-D461-A4F8-59BE8B2F7C93}"/>
              </a:ext>
            </a:extLst>
          </p:cNvPr>
          <p:cNvGrpSpPr>
            <a:grpSpLocks noChangeAspect="1"/>
          </p:cNvGrpSpPr>
          <p:nvPr>
            <p:custDataLst>
              <p:tags r:id="rId12"/>
            </p:custDataLst>
          </p:nvPr>
        </p:nvGrpSpPr>
        <p:grpSpPr>
          <a:xfrm>
            <a:off x="262527" y="4686095"/>
            <a:ext cx="667736" cy="667736"/>
            <a:chOff x="-205105" y="-205105"/>
            <a:chExt cx="1019810" cy="1019810"/>
          </a:xfrm>
        </p:grpSpPr>
        <p:sp>
          <p:nvSpPr>
            <p:cNvPr id="30" name="Oval 29">
              <a:extLst>
                <a:ext uri="{FF2B5EF4-FFF2-40B4-BE49-F238E27FC236}">
                  <a16:creationId xmlns:a16="http://schemas.microsoft.com/office/drawing/2014/main" id="{878BEA05-B225-6DCB-0BE9-3DC2E56F6885}"/>
                </a:ext>
              </a:extLst>
            </p:cNvPr>
            <p:cNvSpPr>
              <a:spLocks noChangeAspect="1"/>
            </p:cNvSpPr>
            <p:nvPr/>
          </p:nvSpPr>
          <p:spPr>
            <a:xfrm>
              <a:off x="-205105" y="-205105"/>
              <a:ext cx="1019810" cy="101981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32" name="Graphic 31">
              <a:extLst>
                <a:ext uri="{FF2B5EF4-FFF2-40B4-BE49-F238E27FC236}">
                  <a16:creationId xmlns:a16="http://schemas.microsoft.com/office/drawing/2014/main" id="{0E0A4BAB-8AC1-71D6-5811-DEFB834A445E}"/>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0" y="0"/>
              <a:ext cx="609600" cy="609600"/>
            </a:xfrm>
            <a:prstGeom prst="rect">
              <a:avLst/>
            </a:prstGeom>
          </p:spPr>
        </p:pic>
      </p:grpSp>
      <p:sp>
        <p:nvSpPr>
          <p:cNvPr id="79" name="TextBox 78">
            <a:extLst>
              <a:ext uri="{FF2B5EF4-FFF2-40B4-BE49-F238E27FC236}">
                <a16:creationId xmlns:a16="http://schemas.microsoft.com/office/drawing/2014/main" id="{8A2A64B9-9B67-C740-A363-72964FA020E1}"/>
              </a:ext>
            </a:extLst>
          </p:cNvPr>
          <p:cNvSpPr txBox="1"/>
          <p:nvPr/>
        </p:nvSpPr>
        <p:spPr>
          <a:xfrm>
            <a:off x="1028548" y="4646015"/>
            <a:ext cx="1806310" cy="747897"/>
          </a:xfrm>
          <a:prstGeom prst="rect">
            <a:avLst/>
          </a:prstGeom>
        </p:spPr>
        <p:txBody>
          <a:bodyPr vert="horz" wrap="square" lIns="0" tIns="0" rIns="0" bIns="0" rtlCol="0" anchor="ctr"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b="1" dirty="0">
                <a:cs typeface="Arial" panose="020B0604020202020204" pitchFamily="34" charset="0"/>
              </a:rPr>
              <a:t>Business friendly policies and tax incentives</a:t>
            </a:r>
          </a:p>
        </p:txBody>
      </p:sp>
      <p:sp>
        <p:nvSpPr>
          <p:cNvPr id="83" name="TextBox 82">
            <a:extLst>
              <a:ext uri="{FF2B5EF4-FFF2-40B4-BE49-F238E27FC236}">
                <a16:creationId xmlns:a16="http://schemas.microsoft.com/office/drawing/2014/main" id="{E9666E55-B915-B56A-AFC9-2B6C1DC26F03}"/>
              </a:ext>
            </a:extLst>
          </p:cNvPr>
          <p:cNvSpPr txBox="1"/>
          <p:nvPr/>
        </p:nvSpPr>
        <p:spPr>
          <a:xfrm>
            <a:off x="6989132" y="4679870"/>
            <a:ext cx="4816586" cy="680186"/>
          </a:xfrm>
          <a:prstGeom prst="rect">
            <a:avLst/>
          </a:prstGeom>
        </p:spPr>
        <p:txBody>
          <a:bodyPr vert="horz" wrap="square" lIns="0" tIns="0" rIns="0" bIns="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600" b="1" dirty="0">
                <a:cs typeface="Arial" panose="020B0604020202020204" pitchFamily="34" charset="0"/>
              </a:rPr>
              <a:t>Peru</a:t>
            </a:r>
            <a:r>
              <a:rPr lang="en-US" sz="1600" dirty="0">
                <a:cs typeface="Arial" panose="020B0604020202020204" pitchFamily="34" charset="0"/>
              </a:rPr>
              <a:t> </a:t>
            </a:r>
            <a:r>
              <a:rPr lang="en-US" sz="1600" b="1" dirty="0">
                <a:cs typeface="Arial" panose="020B0604020202020204" pitchFamily="34" charset="0"/>
              </a:rPr>
              <a:t>allows 100% foreign ownership of mining projects </a:t>
            </a:r>
            <a:r>
              <a:rPr lang="en-US" sz="1600" dirty="0">
                <a:cs typeface="Arial" panose="020B0604020202020204" pitchFamily="34" charset="0"/>
              </a:rPr>
              <a:t>and provides guarantees against expropriation to encourage foreign investment</a:t>
            </a:r>
          </a:p>
        </p:txBody>
      </p:sp>
      <p:grpSp>
        <p:nvGrpSpPr>
          <p:cNvPr id="37" name="CustomIcon">
            <a:extLst>
              <a:ext uri="{FF2B5EF4-FFF2-40B4-BE49-F238E27FC236}">
                <a16:creationId xmlns:a16="http://schemas.microsoft.com/office/drawing/2014/main" id="{D1395528-238C-5C85-42E5-F0B68D5AB6A4}"/>
              </a:ext>
            </a:extLst>
          </p:cNvPr>
          <p:cNvGrpSpPr>
            <a:grpSpLocks noChangeAspect="1"/>
          </p:cNvGrpSpPr>
          <p:nvPr>
            <p:custDataLst>
              <p:tags r:id="rId13"/>
            </p:custDataLst>
          </p:nvPr>
        </p:nvGrpSpPr>
        <p:grpSpPr>
          <a:xfrm>
            <a:off x="262527" y="5497347"/>
            <a:ext cx="667736" cy="667736"/>
            <a:chOff x="-205105" y="-205105"/>
            <a:chExt cx="1019810" cy="1019810"/>
          </a:xfrm>
        </p:grpSpPr>
        <p:sp>
          <p:nvSpPr>
            <p:cNvPr id="34" name="Oval 33">
              <a:extLst>
                <a:ext uri="{FF2B5EF4-FFF2-40B4-BE49-F238E27FC236}">
                  <a16:creationId xmlns:a16="http://schemas.microsoft.com/office/drawing/2014/main" id="{C27506D8-6929-E02C-15A9-FD875090CAC5}"/>
                </a:ext>
              </a:extLst>
            </p:cNvPr>
            <p:cNvSpPr>
              <a:spLocks noChangeAspect="1"/>
            </p:cNvSpPr>
            <p:nvPr/>
          </p:nvSpPr>
          <p:spPr>
            <a:xfrm>
              <a:off x="-205105" y="-205105"/>
              <a:ext cx="1019810" cy="101981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36" name="Graphic 35">
              <a:extLst>
                <a:ext uri="{FF2B5EF4-FFF2-40B4-BE49-F238E27FC236}">
                  <a16:creationId xmlns:a16="http://schemas.microsoft.com/office/drawing/2014/main" id="{891794BF-41D1-F428-0EDB-9FB68A397916}"/>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0" y="0"/>
              <a:ext cx="609600" cy="609600"/>
            </a:xfrm>
            <a:prstGeom prst="rect">
              <a:avLst/>
            </a:prstGeom>
          </p:spPr>
        </p:pic>
      </p:grpSp>
      <p:sp>
        <p:nvSpPr>
          <p:cNvPr id="85" name="TextBox 84">
            <a:extLst>
              <a:ext uri="{FF2B5EF4-FFF2-40B4-BE49-F238E27FC236}">
                <a16:creationId xmlns:a16="http://schemas.microsoft.com/office/drawing/2014/main" id="{23356335-78EE-BC46-8F13-815E568A48A5}"/>
              </a:ext>
            </a:extLst>
          </p:cNvPr>
          <p:cNvSpPr txBox="1"/>
          <p:nvPr/>
        </p:nvSpPr>
        <p:spPr>
          <a:xfrm>
            <a:off x="1028548" y="5581916"/>
            <a:ext cx="1806310" cy="498598"/>
          </a:xfrm>
          <a:prstGeom prst="rect">
            <a:avLst/>
          </a:prstGeom>
        </p:spPr>
        <p:txBody>
          <a:bodyPr vert="horz" wrap="square" lIns="0" tIns="0" rIns="0" bIns="0" rtlCol="0" anchor="ctr"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b="1" dirty="0">
                <a:cs typeface="Arial" panose="020B0604020202020204" pitchFamily="34" charset="0"/>
              </a:rPr>
              <a:t>Infrastructure &amp; Logistics</a:t>
            </a:r>
          </a:p>
        </p:txBody>
      </p:sp>
      <p:sp>
        <p:nvSpPr>
          <p:cNvPr id="92" name="TextBox 91">
            <a:extLst>
              <a:ext uri="{FF2B5EF4-FFF2-40B4-BE49-F238E27FC236}">
                <a16:creationId xmlns:a16="http://schemas.microsoft.com/office/drawing/2014/main" id="{94EDA4DD-2841-307A-2812-E286FC782E2F}"/>
              </a:ext>
            </a:extLst>
          </p:cNvPr>
          <p:cNvSpPr txBox="1"/>
          <p:nvPr/>
        </p:nvSpPr>
        <p:spPr>
          <a:xfrm>
            <a:off x="6989132" y="5491122"/>
            <a:ext cx="4816586" cy="680186"/>
          </a:xfrm>
          <a:prstGeom prst="rect">
            <a:avLst/>
          </a:prstGeom>
        </p:spPr>
        <p:txBody>
          <a:bodyPr vert="horz" wrap="square" lIns="0" tIns="0" rIns="0" bIns="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600" b="1" dirty="0">
                <a:cs typeface="Arial" panose="020B0604020202020204" pitchFamily="34" charset="0"/>
              </a:rPr>
              <a:t>Brazil has achieved the highest investment rates in 8 years</a:t>
            </a:r>
            <a:r>
              <a:rPr lang="en-US" sz="1600" dirty="0">
                <a:cs typeface="Arial" panose="020B0604020202020204" pitchFamily="34" charset="0"/>
              </a:rPr>
              <a:t> and launched a 300$bn infrastructure investment plan for 2023-26</a:t>
            </a:r>
          </a:p>
        </p:txBody>
      </p:sp>
      <p:sp>
        <p:nvSpPr>
          <p:cNvPr id="98" name="TextBox 97">
            <a:extLst>
              <a:ext uri="{FF2B5EF4-FFF2-40B4-BE49-F238E27FC236}">
                <a16:creationId xmlns:a16="http://schemas.microsoft.com/office/drawing/2014/main" id="{538204B9-2F08-1AB4-18BC-BEDDC3CDD502}"/>
              </a:ext>
            </a:extLst>
          </p:cNvPr>
          <p:cNvSpPr txBox="1"/>
          <p:nvPr/>
        </p:nvSpPr>
        <p:spPr>
          <a:xfrm>
            <a:off x="6989132" y="1694859"/>
            <a:ext cx="4819499" cy="249299"/>
          </a:xfrm>
          <a:prstGeom prst="rect">
            <a:avLst/>
          </a:prstGeom>
        </p:spPr>
        <p:txBody>
          <a:bodyPr vert="horz" wrap="square" lIns="0" tIns="0" rIns="0" bIns="0" rtlCol="0" anchor="b"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b="1" dirty="0">
                <a:cs typeface="Arial" panose="020B0604020202020204" pitchFamily="34" charset="0"/>
              </a:rPr>
              <a:t>Illustrative examples</a:t>
            </a:r>
          </a:p>
        </p:txBody>
      </p:sp>
      <p:grpSp>
        <p:nvGrpSpPr>
          <p:cNvPr id="21" name="CustomIcon">
            <a:extLst>
              <a:ext uri="{FF2B5EF4-FFF2-40B4-BE49-F238E27FC236}">
                <a16:creationId xmlns:a16="http://schemas.microsoft.com/office/drawing/2014/main" id="{E1C3791F-2A3A-B614-152E-D3BDF231BBB6}"/>
              </a:ext>
            </a:extLst>
          </p:cNvPr>
          <p:cNvGrpSpPr>
            <a:grpSpLocks noChangeAspect="1"/>
          </p:cNvGrpSpPr>
          <p:nvPr>
            <p:custDataLst>
              <p:tags r:id="rId14"/>
            </p:custDataLst>
          </p:nvPr>
        </p:nvGrpSpPr>
        <p:grpSpPr>
          <a:xfrm>
            <a:off x="262527" y="2007455"/>
            <a:ext cx="667736" cy="667736"/>
            <a:chOff x="-205105" y="-205105"/>
            <a:chExt cx="1019810" cy="1019810"/>
          </a:xfrm>
        </p:grpSpPr>
        <p:sp>
          <p:nvSpPr>
            <p:cNvPr id="18" name="Oval 17">
              <a:extLst>
                <a:ext uri="{FF2B5EF4-FFF2-40B4-BE49-F238E27FC236}">
                  <a16:creationId xmlns:a16="http://schemas.microsoft.com/office/drawing/2014/main" id="{7BB565C8-685A-2DB4-16B5-71461D9A1D11}"/>
                </a:ext>
              </a:extLst>
            </p:cNvPr>
            <p:cNvSpPr>
              <a:spLocks noChangeAspect="1"/>
            </p:cNvSpPr>
            <p:nvPr/>
          </p:nvSpPr>
          <p:spPr>
            <a:xfrm>
              <a:off x="-205105" y="-205105"/>
              <a:ext cx="1019810" cy="101981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20" name="Graphic 19">
              <a:extLst>
                <a:ext uri="{FF2B5EF4-FFF2-40B4-BE49-F238E27FC236}">
                  <a16:creationId xmlns:a16="http://schemas.microsoft.com/office/drawing/2014/main" id="{9AA74D8F-6EFA-E4F1-1F73-D646DB939C00}"/>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0" y="0"/>
              <a:ext cx="609600" cy="609600"/>
            </a:xfrm>
            <a:prstGeom prst="rect">
              <a:avLst/>
            </a:prstGeom>
          </p:spPr>
        </p:pic>
      </p:grpSp>
      <p:pic>
        <p:nvPicPr>
          <p:cNvPr id="48" name="LineArrow 45">
            <a:extLst>
              <a:ext uri="{FF2B5EF4-FFF2-40B4-BE49-F238E27FC236}">
                <a16:creationId xmlns:a16="http://schemas.microsoft.com/office/drawing/2014/main" id="{26494693-5F85-0C3B-A7CD-A73A3716CC94}"/>
              </a:ext>
            </a:extLst>
          </p:cNvPr>
          <p:cNvPicPr>
            <a:picLocks noChangeAspect="1"/>
          </p:cNvPicPr>
          <p:nvPr>
            <p:custDataLst>
              <p:tags r:id="rId15"/>
            </p:custDataLst>
          </p:nvPr>
        </p:nvPicPr>
        <p:blipFill>
          <a:blip r:embed="rId34">
            <a:extLst>
              <a:ext uri="{96DAC541-7B7A-43D3-8B79-37D633B846F1}">
                <asvg:svgBlip xmlns:asvg="http://schemas.microsoft.com/office/drawing/2016/SVG/main" r:embed="rId35"/>
              </a:ext>
            </a:extLst>
          </a:blip>
          <a:stretch>
            <a:fillRect/>
          </a:stretch>
        </p:blipFill>
        <p:spPr>
          <a:xfrm rot="16200000">
            <a:off x="5900065" y="2875616"/>
            <a:ext cx="717174" cy="717174"/>
          </a:xfrm>
          <a:prstGeom prst="rect">
            <a:avLst/>
          </a:prstGeom>
        </p:spPr>
      </p:pic>
      <p:pic>
        <p:nvPicPr>
          <p:cNvPr id="57" name="LineArrow 45">
            <a:extLst>
              <a:ext uri="{FF2B5EF4-FFF2-40B4-BE49-F238E27FC236}">
                <a16:creationId xmlns:a16="http://schemas.microsoft.com/office/drawing/2014/main" id="{D4A6F599-EA15-816C-1F3F-BB10875CB4C9}"/>
              </a:ext>
            </a:extLst>
          </p:cNvPr>
          <p:cNvPicPr>
            <a:picLocks noChangeAspect="1"/>
          </p:cNvPicPr>
          <p:nvPr>
            <p:custDataLst>
              <p:tags r:id="rId16"/>
            </p:custDataLst>
          </p:nvPr>
        </p:nvPicPr>
        <p:blipFill>
          <a:blip r:embed="rId36">
            <a:extLst>
              <a:ext uri="{96DAC541-7B7A-43D3-8B79-37D633B846F1}">
                <asvg:svgBlip xmlns:asvg="http://schemas.microsoft.com/office/drawing/2016/SVG/main" r:embed="rId37"/>
              </a:ext>
            </a:extLst>
          </a:blip>
          <a:stretch>
            <a:fillRect/>
          </a:stretch>
        </p:blipFill>
        <p:spPr>
          <a:xfrm rot="18900000">
            <a:off x="5900065" y="3768496"/>
            <a:ext cx="717174" cy="717174"/>
          </a:xfrm>
          <a:prstGeom prst="rect">
            <a:avLst/>
          </a:prstGeom>
        </p:spPr>
      </p:pic>
      <p:pic>
        <p:nvPicPr>
          <p:cNvPr id="58" name="LineArrow 45">
            <a:extLst>
              <a:ext uri="{FF2B5EF4-FFF2-40B4-BE49-F238E27FC236}">
                <a16:creationId xmlns:a16="http://schemas.microsoft.com/office/drawing/2014/main" id="{6AAC738C-0D5B-DBE0-46B6-7D737AC03FEF}"/>
              </a:ext>
            </a:extLst>
          </p:cNvPr>
          <p:cNvPicPr>
            <a:picLocks noChangeAspect="1"/>
          </p:cNvPicPr>
          <p:nvPr>
            <p:custDataLst>
              <p:tags r:id="rId17"/>
            </p:custDataLst>
          </p:nvPr>
        </p:nvPicPr>
        <p:blipFill>
          <a:blip r:embed="rId36">
            <a:extLst>
              <a:ext uri="{96DAC541-7B7A-43D3-8B79-37D633B846F1}">
                <asvg:svgBlip xmlns:asvg="http://schemas.microsoft.com/office/drawing/2016/SVG/main" r:embed="rId37"/>
              </a:ext>
            </a:extLst>
          </a:blip>
          <a:stretch>
            <a:fillRect/>
          </a:stretch>
        </p:blipFill>
        <p:spPr>
          <a:xfrm rot="18900000">
            <a:off x="5900065" y="4661376"/>
            <a:ext cx="717174" cy="717174"/>
          </a:xfrm>
          <a:prstGeom prst="rect">
            <a:avLst/>
          </a:prstGeom>
        </p:spPr>
      </p:pic>
      <p:pic>
        <p:nvPicPr>
          <p:cNvPr id="56" name="LineArrow 45">
            <a:extLst>
              <a:ext uri="{FF2B5EF4-FFF2-40B4-BE49-F238E27FC236}">
                <a16:creationId xmlns:a16="http://schemas.microsoft.com/office/drawing/2014/main" id="{CB013055-67E2-CF22-DF6E-398434B67E0C}"/>
              </a:ext>
            </a:extLst>
          </p:cNvPr>
          <p:cNvPicPr>
            <a:picLocks noChangeAspect="1"/>
          </p:cNvPicPr>
          <p:nvPr>
            <p:custDataLst>
              <p:tags r:id="rId18"/>
            </p:custDataLst>
          </p:nvPr>
        </p:nvPicPr>
        <p:blipFill>
          <a:blip r:embed="rId34">
            <a:extLst>
              <a:ext uri="{96DAC541-7B7A-43D3-8B79-37D633B846F1}">
                <asvg:svgBlip xmlns:asvg="http://schemas.microsoft.com/office/drawing/2016/SVG/main" r:embed="rId35"/>
              </a:ext>
            </a:extLst>
          </a:blip>
          <a:stretch>
            <a:fillRect/>
          </a:stretch>
        </p:blipFill>
        <p:spPr>
          <a:xfrm rot="16200000">
            <a:off x="5900065" y="5472628"/>
            <a:ext cx="717174" cy="717174"/>
          </a:xfrm>
          <a:prstGeom prst="rect">
            <a:avLst/>
          </a:prstGeom>
        </p:spPr>
      </p:pic>
      <p:sp>
        <p:nvSpPr>
          <p:cNvPr id="96" name="TextBox 95">
            <a:extLst>
              <a:ext uri="{FF2B5EF4-FFF2-40B4-BE49-F238E27FC236}">
                <a16:creationId xmlns:a16="http://schemas.microsoft.com/office/drawing/2014/main" id="{4179753B-311B-35F4-FE20-B950E9313129}"/>
              </a:ext>
            </a:extLst>
          </p:cNvPr>
          <p:cNvSpPr txBox="1"/>
          <p:nvPr/>
        </p:nvSpPr>
        <p:spPr>
          <a:xfrm>
            <a:off x="5915396" y="1694859"/>
            <a:ext cx="692337" cy="249299"/>
          </a:xfrm>
          <a:prstGeom prst="rect">
            <a:avLst/>
          </a:prstGeom>
        </p:spPr>
        <p:txBody>
          <a:bodyPr vert="horz" wrap="square" lIns="0" tIns="0" rIns="0" bIns="0" rtlCol="0" anchor="b"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lgn="ctr">
              <a:buNone/>
            </a:pPr>
            <a:r>
              <a:rPr lang="en-US" sz="1800" b="1" dirty="0">
                <a:cs typeface="Arial" panose="020B0604020202020204" pitchFamily="34" charset="0"/>
              </a:rPr>
              <a:t>Trend</a:t>
            </a:r>
          </a:p>
        </p:txBody>
      </p:sp>
      <p:pic>
        <p:nvPicPr>
          <p:cNvPr id="49" name="LineArrow 45">
            <a:extLst>
              <a:ext uri="{FF2B5EF4-FFF2-40B4-BE49-F238E27FC236}">
                <a16:creationId xmlns:a16="http://schemas.microsoft.com/office/drawing/2014/main" id="{E1B30935-BFC6-03B4-2FBD-C3583F390409}"/>
              </a:ext>
            </a:extLst>
          </p:cNvPr>
          <p:cNvPicPr>
            <a:picLocks noChangeAspect="1"/>
          </p:cNvPicPr>
          <p:nvPr>
            <p:custDataLst>
              <p:tags r:id="rId19"/>
            </p:custDataLst>
          </p:nvPr>
        </p:nvPicPr>
        <p:blipFill>
          <a:blip r:embed="rId36">
            <a:extLst>
              <a:ext uri="{96DAC541-7B7A-43D3-8B79-37D633B846F1}">
                <asvg:svgBlip xmlns:asvg="http://schemas.microsoft.com/office/drawing/2016/SVG/main" r:embed="rId37"/>
              </a:ext>
            </a:extLst>
          </a:blip>
          <a:stretch>
            <a:fillRect/>
          </a:stretch>
        </p:blipFill>
        <p:spPr>
          <a:xfrm rot="18900000">
            <a:off x="5900065" y="1982736"/>
            <a:ext cx="717174" cy="717174"/>
          </a:xfrm>
          <a:prstGeom prst="rect">
            <a:avLst/>
          </a:prstGeom>
        </p:spPr>
      </p:pic>
      <p:sp>
        <p:nvSpPr>
          <p:cNvPr id="47" name="TextBox 46">
            <a:extLst>
              <a:ext uri="{FF2B5EF4-FFF2-40B4-BE49-F238E27FC236}">
                <a16:creationId xmlns:a16="http://schemas.microsoft.com/office/drawing/2014/main" id="{5E918606-06A0-5993-BB66-1B872DAEAFE2}"/>
              </a:ext>
            </a:extLst>
          </p:cNvPr>
          <p:cNvSpPr txBox="1">
            <a:spLocks/>
          </p:cNvSpPr>
          <p:nvPr/>
        </p:nvSpPr>
        <p:spPr>
          <a:xfrm>
            <a:off x="3203839" y="3061079"/>
            <a:ext cx="2327245" cy="346249"/>
          </a:xfrm>
          <a:prstGeom prst="rect">
            <a:avLst/>
          </a:prstGeom>
        </p:spPr>
        <p:txBody>
          <a:bodyPr vert="horz" wrap="square" lIns="0" tIns="0" rIns="0" bIns="0" rtlCol="0" anchor="t" anchorCtr="0">
            <a:no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lgn="ctr">
              <a:buNone/>
            </a:pPr>
            <a:r>
              <a:rPr lang="en-US" sz="2500" b="1" dirty="0">
                <a:latin typeface="+mj-lt"/>
                <a:cs typeface="Arial" panose="020B0604020202020204" pitchFamily="34" charset="0"/>
              </a:rPr>
              <a:t>+16pp</a:t>
            </a:r>
          </a:p>
        </p:txBody>
      </p:sp>
      <p:sp>
        <p:nvSpPr>
          <p:cNvPr id="68" name="TextBox 67">
            <a:extLst>
              <a:ext uri="{FF2B5EF4-FFF2-40B4-BE49-F238E27FC236}">
                <a16:creationId xmlns:a16="http://schemas.microsoft.com/office/drawing/2014/main" id="{30BB7901-9FEF-1D18-EE44-7F613F3EA6C5}"/>
              </a:ext>
            </a:extLst>
          </p:cNvPr>
          <p:cNvSpPr txBox="1">
            <a:spLocks/>
          </p:cNvSpPr>
          <p:nvPr/>
        </p:nvSpPr>
        <p:spPr>
          <a:xfrm>
            <a:off x="3203839" y="3953959"/>
            <a:ext cx="2327245" cy="346249"/>
          </a:xfrm>
          <a:prstGeom prst="rect">
            <a:avLst/>
          </a:prstGeom>
        </p:spPr>
        <p:txBody>
          <a:bodyPr vert="horz" wrap="square" lIns="0" tIns="0" rIns="0" bIns="0" rtlCol="0" anchor="t" anchorCtr="0">
            <a:no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lgn="ctr">
              <a:buNone/>
            </a:pPr>
            <a:r>
              <a:rPr lang="en-US" sz="2500" b="1" dirty="0">
                <a:latin typeface="+mj-lt"/>
                <a:cs typeface="Arial" panose="020B0604020202020204" pitchFamily="34" charset="0"/>
              </a:rPr>
              <a:t>+5pp</a:t>
            </a:r>
          </a:p>
        </p:txBody>
      </p:sp>
      <p:sp>
        <p:nvSpPr>
          <p:cNvPr id="81" name="TextBox 80">
            <a:extLst>
              <a:ext uri="{FF2B5EF4-FFF2-40B4-BE49-F238E27FC236}">
                <a16:creationId xmlns:a16="http://schemas.microsoft.com/office/drawing/2014/main" id="{700994D3-D9CD-157F-171B-F97B0021E5ED}"/>
              </a:ext>
            </a:extLst>
          </p:cNvPr>
          <p:cNvSpPr txBox="1">
            <a:spLocks/>
          </p:cNvSpPr>
          <p:nvPr/>
        </p:nvSpPr>
        <p:spPr>
          <a:xfrm>
            <a:off x="3203839" y="4846839"/>
            <a:ext cx="2327245" cy="346249"/>
          </a:xfrm>
          <a:prstGeom prst="rect">
            <a:avLst/>
          </a:prstGeom>
        </p:spPr>
        <p:txBody>
          <a:bodyPr vert="horz" wrap="square" lIns="0" tIns="0" rIns="0" bIns="0" rtlCol="0" anchor="t" anchorCtr="0">
            <a:no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lgn="ctr">
              <a:buNone/>
            </a:pPr>
            <a:r>
              <a:rPr lang="en-US" sz="2500" b="1" dirty="0">
                <a:latin typeface="+mj-lt"/>
                <a:cs typeface="Arial" panose="020B0604020202020204" pitchFamily="34" charset="0"/>
              </a:rPr>
              <a:t>+5pp</a:t>
            </a:r>
          </a:p>
        </p:txBody>
      </p:sp>
      <p:sp>
        <p:nvSpPr>
          <p:cNvPr id="89" name="TextBox 88">
            <a:extLst>
              <a:ext uri="{FF2B5EF4-FFF2-40B4-BE49-F238E27FC236}">
                <a16:creationId xmlns:a16="http://schemas.microsoft.com/office/drawing/2014/main" id="{52A1D3F2-B1DC-32FA-91F2-2B4259FB1B44}"/>
              </a:ext>
            </a:extLst>
          </p:cNvPr>
          <p:cNvSpPr txBox="1">
            <a:spLocks/>
          </p:cNvSpPr>
          <p:nvPr/>
        </p:nvSpPr>
        <p:spPr>
          <a:xfrm>
            <a:off x="3203839" y="5658091"/>
            <a:ext cx="2327245" cy="346249"/>
          </a:xfrm>
          <a:prstGeom prst="rect">
            <a:avLst/>
          </a:prstGeom>
        </p:spPr>
        <p:txBody>
          <a:bodyPr vert="horz" wrap="square" lIns="0" tIns="0" rIns="0" bIns="0" rtlCol="0" anchor="t" anchorCtr="0">
            <a:no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lgn="ctr">
              <a:buNone/>
            </a:pPr>
            <a:r>
              <a:rPr lang="en-US" sz="2500" b="1" dirty="0">
                <a:latin typeface="+mj-lt"/>
                <a:cs typeface="Arial" panose="020B0604020202020204" pitchFamily="34" charset="0"/>
              </a:rPr>
              <a:t>+10pp</a:t>
            </a:r>
          </a:p>
        </p:txBody>
      </p:sp>
      <p:sp>
        <p:nvSpPr>
          <p:cNvPr id="94" name="TextBox 93">
            <a:extLst>
              <a:ext uri="{FF2B5EF4-FFF2-40B4-BE49-F238E27FC236}">
                <a16:creationId xmlns:a16="http://schemas.microsoft.com/office/drawing/2014/main" id="{972E0BA0-E2E7-44AA-32FA-BEC22BA59FFD}"/>
              </a:ext>
            </a:extLst>
          </p:cNvPr>
          <p:cNvSpPr txBox="1">
            <a:spLocks/>
          </p:cNvSpPr>
          <p:nvPr/>
        </p:nvSpPr>
        <p:spPr>
          <a:xfrm>
            <a:off x="3206752" y="1445560"/>
            <a:ext cx="2327245" cy="498598"/>
          </a:xfrm>
          <a:prstGeom prst="rect">
            <a:avLst/>
          </a:prstGeom>
        </p:spPr>
        <p:txBody>
          <a:bodyPr vert="horz" wrap="square" lIns="0" tIns="0" rIns="0" bIns="0" rtlCol="0" anchor="b"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lgn="ctr">
              <a:buNone/>
            </a:pPr>
            <a:r>
              <a:rPr lang="en-US" sz="1800" b="1" dirty="0">
                <a:cs typeface="Arial" panose="020B0604020202020204" pitchFamily="34" charset="0"/>
              </a:rPr>
              <a:t>Industry perception index change, 22 vs 21</a:t>
            </a:r>
            <a:r>
              <a:rPr lang="en-US" sz="1800" b="1" baseline="30000" dirty="0">
                <a:cs typeface="Arial" panose="020B0604020202020204" pitchFamily="34" charset="0"/>
              </a:rPr>
              <a:t>1 </a:t>
            </a:r>
            <a:endParaRPr lang="en-US" sz="1800" b="1" dirty="0">
              <a:cs typeface="Arial" panose="020B0604020202020204" pitchFamily="34" charset="0"/>
            </a:endParaRPr>
          </a:p>
        </p:txBody>
      </p:sp>
      <p:sp>
        <p:nvSpPr>
          <p:cNvPr id="41" name="TextBox 40">
            <a:extLst>
              <a:ext uri="{FF2B5EF4-FFF2-40B4-BE49-F238E27FC236}">
                <a16:creationId xmlns:a16="http://schemas.microsoft.com/office/drawing/2014/main" id="{40F3B9D4-09BB-B022-0939-688135EF0917}"/>
              </a:ext>
            </a:extLst>
          </p:cNvPr>
          <p:cNvSpPr txBox="1">
            <a:spLocks/>
          </p:cNvSpPr>
          <p:nvPr/>
        </p:nvSpPr>
        <p:spPr>
          <a:xfrm>
            <a:off x="3203839" y="2168199"/>
            <a:ext cx="2327245" cy="346249"/>
          </a:xfrm>
          <a:prstGeom prst="rect">
            <a:avLst/>
          </a:prstGeom>
        </p:spPr>
        <p:txBody>
          <a:bodyPr vert="horz" wrap="square" lIns="0" tIns="0" rIns="0" bIns="0" rtlCol="0" anchor="t" anchorCtr="0">
            <a:no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lgn="ctr">
              <a:buNone/>
            </a:pPr>
            <a:r>
              <a:rPr lang="en-US" sz="2500" b="1" dirty="0">
                <a:latin typeface="+mj-lt"/>
                <a:cs typeface="Arial" panose="020B0604020202020204" pitchFamily="34" charset="0"/>
              </a:rPr>
              <a:t>+6pp</a:t>
            </a:r>
          </a:p>
        </p:txBody>
      </p:sp>
      <p:sp>
        <p:nvSpPr>
          <p:cNvPr id="43" name="TextBox 42">
            <a:extLst>
              <a:ext uri="{FF2B5EF4-FFF2-40B4-BE49-F238E27FC236}">
                <a16:creationId xmlns:a16="http://schemas.microsoft.com/office/drawing/2014/main" id="{061CAA88-6A17-21DC-6F82-F2C01AB8AE80}"/>
              </a:ext>
            </a:extLst>
          </p:cNvPr>
          <p:cNvSpPr txBox="1"/>
          <p:nvPr/>
        </p:nvSpPr>
        <p:spPr>
          <a:xfrm>
            <a:off x="6989132" y="2001230"/>
            <a:ext cx="4816586" cy="680186"/>
          </a:xfrm>
          <a:prstGeom prst="rect">
            <a:avLst/>
          </a:prstGeom>
        </p:spPr>
        <p:txBody>
          <a:bodyPr vert="horz" wrap="square" lIns="0" tIns="0" rIns="0" bIns="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600" dirty="0">
                <a:cs typeface="Arial" panose="020B0604020202020204" pitchFamily="34" charset="0"/>
              </a:rPr>
              <a:t>Regional economic agreements (e.g., </a:t>
            </a:r>
            <a:r>
              <a:rPr lang="en-US" sz="1600" b="1" dirty="0">
                <a:cs typeface="Arial" panose="020B0604020202020204" pitchFamily="34" charset="0"/>
              </a:rPr>
              <a:t>MERCOSUR</a:t>
            </a:r>
            <a:r>
              <a:rPr lang="en-US" sz="1600" dirty="0">
                <a:cs typeface="Arial" panose="020B0604020202020204" pitchFamily="34" charset="0"/>
              </a:rPr>
              <a:t>), </a:t>
            </a:r>
            <a:r>
              <a:rPr lang="en-US" sz="1600" b="1" dirty="0">
                <a:cs typeface="Arial" panose="020B0604020202020204" pitchFamily="34" charset="0"/>
              </a:rPr>
              <a:t>ease of movement and communication between countries </a:t>
            </a:r>
            <a:r>
              <a:rPr lang="en-US" sz="1600" dirty="0">
                <a:cs typeface="Arial" panose="020B0604020202020204" pitchFamily="34" charset="0"/>
              </a:rPr>
              <a:t>(e.g., </a:t>
            </a:r>
            <a:r>
              <a:rPr lang="en-US" sz="1600" dirty="0" err="1">
                <a:cs typeface="Arial" panose="020B0604020202020204" pitchFamily="34" charset="0"/>
              </a:rPr>
              <a:t>Comunidad</a:t>
            </a:r>
            <a:r>
              <a:rPr lang="en-US" sz="1600" dirty="0">
                <a:cs typeface="Arial" panose="020B0604020202020204" pitchFamily="34" charset="0"/>
              </a:rPr>
              <a:t> Andina)</a:t>
            </a:r>
          </a:p>
        </p:txBody>
      </p:sp>
      <p:sp>
        <p:nvSpPr>
          <p:cNvPr id="100" name="TextBox 99">
            <a:extLst>
              <a:ext uri="{FF2B5EF4-FFF2-40B4-BE49-F238E27FC236}">
                <a16:creationId xmlns:a16="http://schemas.microsoft.com/office/drawing/2014/main" id="{A3825949-D020-277C-B858-912414903500}"/>
              </a:ext>
            </a:extLst>
          </p:cNvPr>
          <p:cNvSpPr txBox="1"/>
          <p:nvPr/>
        </p:nvSpPr>
        <p:spPr>
          <a:xfrm>
            <a:off x="1028548" y="2092025"/>
            <a:ext cx="1806310" cy="498598"/>
          </a:xfrm>
          <a:prstGeom prst="rect">
            <a:avLst/>
          </a:prstGeom>
        </p:spPr>
        <p:txBody>
          <a:bodyPr vert="horz" wrap="square" lIns="0" tIns="0" rIns="0" bIns="0" rtlCol="0" anchor="ctr"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b="1" dirty="0">
                <a:cs typeface="Arial" panose="020B0604020202020204" pitchFamily="34" charset="0"/>
              </a:rPr>
              <a:t>Regional integration</a:t>
            </a:r>
          </a:p>
        </p:txBody>
      </p:sp>
    </p:spTree>
    <p:extLst>
      <p:ext uri="{BB962C8B-B14F-4D97-AF65-F5344CB8AC3E}">
        <p14:creationId xmlns:p14="http://schemas.microsoft.com/office/powerpoint/2010/main" val="30612697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 name="Object 6" hidden="1">
            <a:extLst>
              <a:ext uri="{FF2B5EF4-FFF2-40B4-BE49-F238E27FC236}">
                <a16:creationId xmlns:a16="http://schemas.microsoft.com/office/drawing/2014/main" id="{38D166BD-823F-32D5-37D4-C8B5D2180D1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04" imgH="405" progId="TCLayout.ActiveDocument.1">
                  <p:embed/>
                </p:oleObj>
              </mc:Choice>
              <mc:Fallback>
                <p:oleObj name="think-cell Slide" r:id="rId8" imgW="404" imgH="405" progId="TCLayout.ActiveDocument.1">
                  <p:embed/>
                  <p:pic>
                    <p:nvPicPr>
                      <p:cNvPr id="53" name="Object 6" hidden="1">
                        <a:extLst>
                          <a:ext uri="{FF2B5EF4-FFF2-40B4-BE49-F238E27FC236}">
                            <a16:creationId xmlns:a16="http://schemas.microsoft.com/office/drawing/2014/main" id="{38D166BD-823F-32D5-37D4-C8B5D2180D19}"/>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6FCE530A-BF3E-9414-0B43-72067DD7E7AC}"/>
              </a:ext>
            </a:extLst>
          </p:cNvPr>
          <p:cNvSpPr>
            <a:spLocks noGrp="1"/>
          </p:cNvSpPr>
          <p:nvPr>
            <p:ph type="title"/>
            <p:custDataLst>
              <p:tags r:id="rId2"/>
            </p:custDataLst>
          </p:nvPr>
        </p:nvSpPr>
        <p:spPr>
          <a:xfrm>
            <a:off x="554736" y="172212"/>
            <a:ext cx="9640824" cy="769441"/>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US" dirty="0"/>
              <a:t>Latin America is an attractive region that hosts multiple gold mineralized zones with high-quality, low-cost producing assets </a:t>
            </a:r>
          </a:p>
        </p:txBody>
      </p:sp>
      <p:pic>
        <p:nvPicPr>
          <p:cNvPr id="5" name="Picture 4">
            <a:extLst>
              <a:ext uri="{FF2B5EF4-FFF2-40B4-BE49-F238E27FC236}">
                <a16:creationId xmlns:a16="http://schemas.microsoft.com/office/drawing/2014/main" id="{D8A653D4-8C81-5168-12EF-C40D991E3B25}"/>
              </a:ext>
            </a:extLst>
          </p:cNvPr>
          <p:cNvPicPr>
            <a:picLocks noChangeAspect="1"/>
          </p:cNvPicPr>
          <p:nvPr/>
        </p:nvPicPr>
        <p:blipFill>
          <a:blip r:embed="rId10"/>
          <a:stretch>
            <a:fillRect/>
          </a:stretch>
        </p:blipFill>
        <p:spPr>
          <a:xfrm>
            <a:off x="1020061" y="1674163"/>
            <a:ext cx="5120904" cy="4752440"/>
          </a:xfrm>
          <a:prstGeom prst="rect">
            <a:avLst/>
          </a:prstGeom>
        </p:spPr>
      </p:pic>
      <p:sp>
        <p:nvSpPr>
          <p:cNvPr id="6" name="Rectangle: Diagonal Corners Rounded 5">
            <a:extLst>
              <a:ext uri="{FF2B5EF4-FFF2-40B4-BE49-F238E27FC236}">
                <a16:creationId xmlns:a16="http://schemas.microsoft.com/office/drawing/2014/main" id="{CF6B9B41-2F1D-F9DC-AD84-8E779A945984}"/>
              </a:ext>
            </a:extLst>
          </p:cNvPr>
          <p:cNvSpPr/>
          <p:nvPr/>
        </p:nvSpPr>
        <p:spPr>
          <a:xfrm>
            <a:off x="7945515" y="1037003"/>
            <a:ext cx="4246485" cy="5338905"/>
          </a:xfrm>
          <a:prstGeom prst="round2DiagRect">
            <a:avLst>
              <a:gd name="adj1" fmla="val 5524"/>
              <a:gd name="adj2" fmla="val 0"/>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cxnSp>
        <p:nvCxnSpPr>
          <p:cNvPr id="11" name="GreyLineContentSeparatorDefault 35">
            <a:extLst>
              <a:ext uri="{FF2B5EF4-FFF2-40B4-BE49-F238E27FC236}">
                <a16:creationId xmlns:a16="http://schemas.microsoft.com/office/drawing/2014/main" id="{F47E5BEB-089E-6F20-1880-DD879AA8C279}"/>
              </a:ext>
            </a:extLst>
          </p:cNvPr>
          <p:cNvCxnSpPr>
            <a:cxnSpLocks/>
          </p:cNvCxnSpPr>
          <p:nvPr>
            <p:custDataLst>
              <p:tags r:id="rId3"/>
            </p:custDataLst>
          </p:nvPr>
        </p:nvCxnSpPr>
        <p:spPr>
          <a:xfrm>
            <a:off x="554736" y="1536701"/>
            <a:ext cx="11082528" cy="0"/>
          </a:xfrm>
          <a:prstGeom prst="straightConnector1">
            <a:avLst/>
          </a:prstGeom>
          <a:ln w="1270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97C897D4-6EA8-996E-33DD-297A4D01B37B}"/>
              </a:ext>
            </a:extLst>
          </p:cNvPr>
          <p:cNvSpPr/>
          <p:nvPr/>
        </p:nvSpPr>
        <p:spPr>
          <a:xfrm rot="1913705">
            <a:off x="3705477" y="5413227"/>
            <a:ext cx="424468" cy="257175"/>
          </a:xfrm>
          <a:prstGeom prst="ellipse">
            <a:avLst/>
          </a:prstGeom>
          <a:ln w="19050" cap="flat">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pt-BR" sz="1600" dirty="0" err="1">
              <a:solidFill>
                <a:schemeClr val="bg1"/>
              </a:solidFill>
            </a:endParaRPr>
          </a:p>
        </p:txBody>
      </p:sp>
      <p:sp>
        <p:nvSpPr>
          <p:cNvPr id="13" name="Oval 12">
            <a:extLst>
              <a:ext uri="{FF2B5EF4-FFF2-40B4-BE49-F238E27FC236}">
                <a16:creationId xmlns:a16="http://schemas.microsoft.com/office/drawing/2014/main" id="{566B9478-B62E-9431-F5A8-EF7ED2348500}"/>
              </a:ext>
            </a:extLst>
          </p:cNvPr>
          <p:cNvSpPr/>
          <p:nvPr/>
        </p:nvSpPr>
        <p:spPr>
          <a:xfrm rot="11951708">
            <a:off x="4088673" y="2809661"/>
            <a:ext cx="573510" cy="269017"/>
          </a:xfrm>
          <a:prstGeom prst="ellipse">
            <a:avLst/>
          </a:prstGeom>
          <a:ln w="19050" cap="flat">
            <a:solidFill>
              <a:srgbClr val="00FF00"/>
            </a:solidFill>
            <a:miter lim="800000"/>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pt-BR" sz="1600" dirty="0" err="1">
              <a:solidFill>
                <a:schemeClr val="bg1"/>
              </a:solidFill>
            </a:endParaRPr>
          </a:p>
        </p:txBody>
      </p:sp>
      <p:sp>
        <p:nvSpPr>
          <p:cNvPr id="14" name="Oval 13">
            <a:extLst>
              <a:ext uri="{FF2B5EF4-FFF2-40B4-BE49-F238E27FC236}">
                <a16:creationId xmlns:a16="http://schemas.microsoft.com/office/drawing/2014/main" id="{0FD7F982-5ADE-66C0-2390-544AC3294ED1}"/>
              </a:ext>
            </a:extLst>
          </p:cNvPr>
          <p:cNvSpPr/>
          <p:nvPr/>
        </p:nvSpPr>
        <p:spPr>
          <a:xfrm rot="2506051">
            <a:off x="1749224" y="1895670"/>
            <a:ext cx="1129994" cy="396234"/>
          </a:xfrm>
          <a:prstGeom prst="ellipse">
            <a:avLst/>
          </a:prstGeom>
          <a:ln w="19050" cap="flat">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pt-BR" sz="1600" dirty="0" err="1">
              <a:solidFill>
                <a:schemeClr val="bg1"/>
              </a:solidFill>
            </a:endParaRPr>
          </a:p>
        </p:txBody>
      </p:sp>
      <p:sp>
        <p:nvSpPr>
          <p:cNvPr id="15" name="Freeform: Shape 14">
            <a:extLst>
              <a:ext uri="{FF2B5EF4-FFF2-40B4-BE49-F238E27FC236}">
                <a16:creationId xmlns:a16="http://schemas.microsoft.com/office/drawing/2014/main" id="{A4DFA4D7-E2EC-2CDE-F5C4-302F046EC694}"/>
              </a:ext>
            </a:extLst>
          </p:cNvPr>
          <p:cNvSpPr/>
          <p:nvPr/>
        </p:nvSpPr>
        <p:spPr>
          <a:xfrm rot="152410">
            <a:off x="3552258" y="3650927"/>
            <a:ext cx="515537" cy="1335663"/>
          </a:xfrm>
          <a:custGeom>
            <a:avLst/>
            <a:gdLst>
              <a:gd name="connsiteX0" fmla="*/ 369093 w 637909"/>
              <a:gd name="connsiteY0" fmla="*/ 1327919 h 1376428"/>
              <a:gd name="connsiteX1" fmla="*/ 502443 w 637909"/>
              <a:gd name="connsiteY1" fmla="*/ 1013594 h 1376428"/>
              <a:gd name="connsiteX2" fmla="*/ 597693 w 637909"/>
              <a:gd name="connsiteY2" fmla="*/ 670694 h 1376428"/>
              <a:gd name="connsiteX3" fmla="*/ 635793 w 637909"/>
              <a:gd name="connsiteY3" fmla="*/ 432569 h 1376428"/>
              <a:gd name="connsiteX4" fmla="*/ 616743 w 637909"/>
              <a:gd name="connsiteY4" fmla="*/ 308744 h 1376428"/>
              <a:gd name="connsiteX5" fmla="*/ 483393 w 637909"/>
              <a:gd name="connsiteY5" fmla="*/ 203969 h 1376428"/>
              <a:gd name="connsiteX6" fmla="*/ 311943 w 637909"/>
              <a:gd name="connsiteY6" fmla="*/ 99194 h 1376428"/>
              <a:gd name="connsiteX7" fmla="*/ 197643 w 637909"/>
              <a:gd name="connsiteY7" fmla="*/ 22994 h 1376428"/>
              <a:gd name="connsiteX8" fmla="*/ 54768 w 637909"/>
              <a:gd name="connsiteY8" fmla="*/ 3944 h 1376428"/>
              <a:gd name="connsiteX9" fmla="*/ 7143 w 637909"/>
              <a:gd name="connsiteY9" fmla="*/ 89669 h 1376428"/>
              <a:gd name="connsiteX10" fmla="*/ 16668 w 637909"/>
              <a:gd name="connsiteY10" fmla="*/ 203969 h 1376428"/>
              <a:gd name="connsiteX11" fmla="*/ 159543 w 637909"/>
              <a:gd name="connsiteY11" fmla="*/ 289694 h 1376428"/>
              <a:gd name="connsiteX12" fmla="*/ 273843 w 637909"/>
              <a:gd name="connsiteY12" fmla="*/ 346844 h 1376428"/>
              <a:gd name="connsiteX13" fmla="*/ 350043 w 637909"/>
              <a:gd name="connsiteY13" fmla="*/ 442094 h 1376428"/>
              <a:gd name="connsiteX14" fmla="*/ 292893 w 637909"/>
              <a:gd name="connsiteY14" fmla="*/ 861194 h 1376428"/>
              <a:gd name="connsiteX15" fmla="*/ 235743 w 637909"/>
              <a:gd name="connsiteY15" fmla="*/ 1251719 h 1376428"/>
              <a:gd name="connsiteX16" fmla="*/ 273843 w 637909"/>
              <a:gd name="connsiteY16" fmla="*/ 1366019 h 1376428"/>
              <a:gd name="connsiteX17" fmla="*/ 369093 w 637909"/>
              <a:gd name="connsiteY17" fmla="*/ 1327919 h 1376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37909" h="1376428">
                <a:moveTo>
                  <a:pt x="369093" y="1327919"/>
                </a:moveTo>
                <a:cubicBezTo>
                  <a:pt x="407193" y="1269181"/>
                  <a:pt x="464343" y="1123132"/>
                  <a:pt x="502443" y="1013594"/>
                </a:cubicBezTo>
                <a:cubicBezTo>
                  <a:pt x="540543" y="904056"/>
                  <a:pt x="575468" y="767532"/>
                  <a:pt x="597693" y="670694"/>
                </a:cubicBezTo>
                <a:cubicBezTo>
                  <a:pt x="619918" y="573856"/>
                  <a:pt x="632618" y="492894"/>
                  <a:pt x="635793" y="432569"/>
                </a:cubicBezTo>
                <a:cubicBezTo>
                  <a:pt x="638968" y="372244"/>
                  <a:pt x="642143" y="346844"/>
                  <a:pt x="616743" y="308744"/>
                </a:cubicBezTo>
                <a:cubicBezTo>
                  <a:pt x="591343" y="270644"/>
                  <a:pt x="534193" y="238894"/>
                  <a:pt x="483393" y="203969"/>
                </a:cubicBezTo>
                <a:cubicBezTo>
                  <a:pt x="432593" y="169044"/>
                  <a:pt x="359568" y="129356"/>
                  <a:pt x="311943" y="99194"/>
                </a:cubicBezTo>
                <a:cubicBezTo>
                  <a:pt x="264318" y="69032"/>
                  <a:pt x="240505" y="38869"/>
                  <a:pt x="197643" y="22994"/>
                </a:cubicBezTo>
                <a:cubicBezTo>
                  <a:pt x="154781" y="7119"/>
                  <a:pt x="86518" y="-7168"/>
                  <a:pt x="54768" y="3944"/>
                </a:cubicBezTo>
                <a:cubicBezTo>
                  <a:pt x="23018" y="15056"/>
                  <a:pt x="13493" y="56331"/>
                  <a:pt x="7143" y="89669"/>
                </a:cubicBezTo>
                <a:cubicBezTo>
                  <a:pt x="793" y="123006"/>
                  <a:pt x="-8732" y="170632"/>
                  <a:pt x="16668" y="203969"/>
                </a:cubicBezTo>
                <a:cubicBezTo>
                  <a:pt x="42068" y="237306"/>
                  <a:pt x="116680" y="265881"/>
                  <a:pt x="159543" y="289694"/>
                </a:cubicBezTo>
                <a:cubicBezTo>
                  <a:pt x="202405" y="313506"/>
                  <a:pt x="242093" y="321444"/>
                  <a:pt x="273843" y="346844"/>
                </a:cubicBezTo>
                <a:cubicBezTo>
                  <a:pt x="305593" y="372244"/>
                  <a:pt x="346868" y="356369"/>
                  <a:pt x="350043" y="442094"/>
                </a:cubicBezTo>
                <a:cubicBezTo>
                  <a:pt x="353218" y="527819"/>
                  <a:pt x="311943" y="726256"/>
                  <a:pt x="292893" y="861194"/>
                </a:cubicBezTo>
                <a:cubicBezTo>
                  <a:pt x="273843" y="996131"/>
                  <a:pt x="238918" y="1167582"/>
                  <a:pt x="235743" y="1251719"/>
                </a:cubicBezTo>
                <a:cubicBezTo>
                  <a:pt x="232568" y="1335856"/>
                  <a:pt x="254793" y="1350144"/>
                  <a:pt x="273843" y="1366019"/>
                </a:cubicBezTo>
                <a:cubicBezTo>
                  <a:pt x="292893" y="1381894"/>
                  <a:pt x="330993" y="1386657"/>
                  <a:pt x="369093" y="1327919"/>
                </a:cubicBezTo>
                <a:close/>
              </a:path>
            </a:pathLst>
          </a:custGeom>
          <a:ln w="19050" cap="flat">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pt-BR" sz="1600" dirty="0" err="1">
              <a:solidFill>
                <a:schemeClr val="bg1"/>
              </a:solidFill>
            </a:endParaRPr>
          </a:p>
        </p:txBody>
      </p:sp>
      <p:sp>
        <p:nvSpPr>
          <p:cNvPr id="16" name="Freeform: Shape 15">
            <a:extLst>
              <a:ext uri="{FF2B5EF4-FFF2-40B4-BE49-F238E27FC236}">
                <a16:creationId xmlns:a16="http://schemas.microsoft.com/office/drawing/2014/main" id="{C8046C5D-9362-B62C-31D5-6AADF0A089A0}"/>
              </a:ext>
            </a:extLst>
          </p:cNvPr>
          <p:cNvSpPr/>
          <p:nvPr/>
        </p:nvSpPr>
        <p:spPr>
          <a:xfrm>
            <a:off x="4568703" y="3586069"/>
            <a:ext cx="686304" cy="628107"/>
          </a:xfrm>
          <a:custGeom>
            <a:avLst/>
            <a:gdLst>
              <a:gd name="connsiteX0" fmla="*/ 477518 w 818133"/>
              <a:gd name="connsiteY0" fmla="*/ 630659 h 641663"/>
              <a:gd name="connsiteX1" fmla="*/ 267968 w 818133"/>
              <a:gd name="connsiteY1" fmla="*/ 525884 h 641663"/>
              <a:gd name="connsiteX2" fmla="*/ 67943 w 818133"/>
              <a:gd name="connsiteY2" fmla="*/ 363959 h 641663"/>
              <a:gd name="connsiteX3" fmla="*/ 1268 w 818133"/>
              <a:gd name="connsiteY3" fmla="*/ 240134 h 641663"/>
              <a:gd name="connsiteX4" fmla="*/ 115568 w 818133"/>
              <a:gd name="connsiteY4" fmla="*/ 125834 h 641663"/>
              <a:gd name="connsiteX5" fmla="*/ 325118 w 818133"/>
              <a:gd name="connsiteY5" fmla="*/ 68684 h 641663"/>
              <a:gd name="connsiteX6" fmla="*/ 534668 w 818133"/>
              <a:gd name="connsiteY6" fmla="*/ 40109 h 641663"/>
              <a:gd name="connsiteX7" fmla="*/ 744218 w 818133"/>
              <a:gd name="connsiteY7" fmla="*/ 2009 h 641663"/>
              <a:gd name="connsiteX8" fmla="*/ 810893 w 818133"/>
              <a:gd name="connsiteY8" fmla="*/ 106784 h 641663"/>
              <a:gd name="connsiteX9" fmla="*/ 591818 w 818133"/>
              <a:gd name="connsiteY9" fmla="*/ 249659 h 641663"/>
              <a:gd name="connsiteX10" fmla="*/ 582293 w 818133"/>
              <a:gd name="connsiteY10" fmla="*/ 411584 h 641663"/>
              <a:gd name="connsiteX11" fmla="*/ 610868 w 818133"/>
              <a:gd name="connsiteY11" fmla="*/ 611609 h 641663"/>
              <a:gd name="connsiteX12" fmla="*/ 477518 w 818133"/>
              <a:gd name="connsiteY12" fmla="*/ 630659 h 641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18133" h="641663">
                <a:moveTo>
                  <a:pt x="477518" y="630659"/>
                </a:moveTo>
                <a:cubicBezTo>
                  <a:pt x="420368" y="616371"/>
                  <a:pt x="336231" y="570334"/>
                  <a:pt x="267968" y="525884"/>
                </a:cubicBezTo>
                <a:cubicBezTo>
                  <a:pt x="199705" y="481434"/>
                  <a:pt x="112393" y="411584"/>
                  <a:pt x="67943" y="363959"/>
                </a:cubicBezTo>
                <a:cubicBezTo>
                  <a:pt x="23493" y="316334"/>
                  <a:pt x="-6669" y="279821"/>
                  <a:pt x="1268" y="240134"/>
                </a:cubicBezTo>
                <a:cubicBezTo>
                  <a:pt x="9205" y="200447"/>
                  <a:pt x="61593" y="154409"/>
                  <a:pt x="115568" y="125834"/>
                </a:cubicBezTo>
                <a:cubicBezTo>
                  <a:pt x="169543" y="97259"/>
                  <a:pt x="255268" y="82971"/>
                  <a:pt x="325118" y="68684"/>
                </a:cubicBezTo>
                <a:cubicBezTo>
                  <a:pt x="394968" y="54397"/>
                  <a:pt x="464818" y="51221"/>
                  <a:pt x="534668" y="40109"/>
                </a:cubicBezTo>
                <a:cubicBezTo>
                  <a:pt x="604518" y="28997"/>
                  <a:pt x="698181" y="-9103"/>
                  <a:pt x="744218" y="2009"/>
                </a:cubicBezTo>
                <a:cubicBezTo>
                  <a:pt x="790255" y="13121"/>
                  <a:pt x="836293" y="65509"/>
                  <a:pt x="810893" y="106784"/>
                </a:cubicBezTo>
                <a:cubicBezTo>
                  <a:pt x="785493" y="148059"/>
                  <a:pt x="629918" y="198859"/>
                  <a:pt x="591818" y="249659"/>
                </a:cubicBezTo>
                <a:cubicBezTo>
                  <a:pt x="553718" y="300459"/>
                  <a:pt x="579118" y="351259"/>
                  <a:pt x="582293" y="411584"/>
                </a:cubicBezTo>
                <a:cubicBezTo>
                  <a:pt x="585468" y="471909"/>
                  <a:pt x="629918" y="571921"/>
                  <a:pt x="610868" y="611609"/>
                </a:cubicBezTo>
                <a:cubicBezTo>
                  <a:pt x="591818" y="651297"/>
                  <a:pt x="534668" y="644947"/>
                  <a:pt x="477518" y="630659"/>
                </a:cubicBezTo>
                <a:close/>
              </a:path>
            </a:pathLst>
          </a:custGeom>
          <a:ln w="19050" cap="flat">
            <a:solidFill>
              <a:srgbClr val="00FF00"/>
            </a:solidFill>
            <a:miter lim="800000"/>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pt-BR" sz="1600" dirty="0" err="1">
              <a:solidFill>
                <a:schemeClr val="bg1"/>
              </a:solidFill>
            </a:endParaRPr>
          </a:p>
        </p:txBody>
      </p:sp>
      <p:sp>
        <p:nvSpPr>
          <p:cNvPr id="17" name="Freeform: Shape 16">
            <a:extLst>
              <a:ext uri="{FF2B5EF4-FFF2-40B4-BE49-F238E27FC236}">
                <a16:creationId xmlns:a16="http://schemas.microsoft.com/office/drawing/2014/main" id="{E0DB819A-5EB2-998D-3852-0611C0DF3986}"/>
              </a:ext>
            </a:extLst>
          </p:cNvPr>
          <p:cNvSpPr/>
          <p:nvPr/>
        </p:nvSpPr>
        <p:spPr>
          <a:xfrm>
            <a:off x="4752713" y="3537462"/>
            <a:ext cx="590550" cy="238125"/>
          </a:xfrm>
          <a:custGeom>
            <a:avLst/>
            <a:gdLst>
              <a:gd name="connsiteX0" fmla="*/ 0 w 590550"/>
              <a:gd name="connsiteY0" fmla="*/ 238125 h 238125"/>
              <a:gd name="connsiteX1" fmla="*/ 219075 w 590550"/>
              <a:gd name="connsiteY1" fmla="*/ 190500 h 238125"/>
              <a:gd name="connsiteX2" fmla="*/ 352425 w 590550"/>
              <a:gd name="connsiteY2" fmla="*/ 85725 h 238125"/>
              <a:gd name="connsiteX3" fmla="*/ 590550 w 590550"/>
              <a:gd name="connsiteY3" fmla="*/ 0 h 238125"/>
            </a:gdLst>
            <a:ahLst/>
            <a:cxnLst>
              <a:cxn ang="0">
                <a:pos x="connsiteX0" y="connsiteY0"/>
              </a:cxn>
              <a:cxn ang="0">
                <a:pos x="connsiteX1" y="connsiteY1"/>
              </a:cxn>
              <a:cxn ang="0">
                <a:pos x="connsiteX2" y="connsiteY2"/>
              </a:cxn>
              <a:cxn ang="0">
                <a:pos x="connsiteX3" y="connsiteY3"/>
              </a:cxn>
            </a:cxnLst>
            <a:rect l="l" t="t" r="r" b="b"/>
            <a:pathLst>
              <a:path w="590550" h="238125">
                <a:moveTo>
                  <a:pt x="0" y="238125"/>
                </a:moveTo>
                <a:cubicBezTo>
                  <a:pt x="80169" y="227012"/>
                  <a:pt x="160338" y="215900"/>
                  <a:pt x="219075" y="190500"/>
                </a:cubicBezTo>
                <a:cubicBezTo>
                  <a:pt x="277812" y="165100"/>
                  <a:pt x="290512" y="117475"/>
                  <a:pt x="352425" y="85725"/>
                </a:cubicBezTo>
                <a:cubicBezTo>
                  <a:pt x="414338" y="53975"/>
                  <a:pt x="547688" y="42862"/>
                  <a:pt x="590550" y="0"/>
                </a:cubicBezTo>
              </a:path>
            </a:pathLst>
          </a:cu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8" name="Freeform: Shape 17">
            <a:extLst>
              <a:ext uri="{FF2B5EF4-FFF2-40B4-BE49-F238E27FC236}">
                <a16:creationId xmlns:a16="http://schemas.microsoft.com/office/drawing/2014/main" id="{FB93E522-5BA3-F2E7-4D2F-6ED2526CB04D}"/>
              </a:ext>
            </a:extLst>
          </p:cNvPr>
          <p:cNvSpPr/>
          <p:nvPr/>
        </p:nvSpPr>
        <p:spPr>
          <a:xfrm rot="21223841">
            <a:off x="4328118" y="3122862"/>
            <a:ext cx="739922" cy="497804"/>
          </a:xfrm>
          <a:custGeom>
            <a:avLst/>
            <a:gdLst>
              <a:gd name="connsiteX0" fmla="*/ 69748 w 739922"/>
              <a:gd name="connsiteY0" fmla="*/ 496087 h 497804"/>
              <a:gd name="connsiteX1" fmla="*/ 641248 w 739922"/>
              <a:gd name="connsiteY1" fmla="*/ 286537 h 497804"/>
              <a:gd name="connsiteX2" fmla="*/ 736498 w 739922"/>
              <a:gd name="connsiteY2" fmla="*/ 181762 h 497804"/>
              <a:gd name="connsiteX3" fmla="*/ 603148 w 739922"/>
              <a:gd name="connsiteY3" fmla="*/ 76987 h 497804"/>
              <a:gd name="connsiteX4" fmla="*/ 345973 w 739922"/>
              <a:gd name="connsiteY4" fmla="*/ 787 h 497804"/>
              <a:gd name="connsiteX5" fmla="*/ 203098 w 739922"/>
              <a:gd name="connsiteY5" fmla="*/ 124612 h 497804"/>
              <a:gd name="connsiteX6" fmla="*/ 22123 w 739922"/>
              <a:gd name="connsiteY6" fmla="*/ 372262 h 497804"/>
              <a:gd name="connsiteX7" fmla="*/ 69748 w 739922"/>
              <a:gd name="connsiteY7" fmla="*/ 496087 h 497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9922" h="497804">
                <a:moveTo>
                  <a:pt x="69748" y="496087"/>
                </a:moveTo>
                <a:cubicBezTo>
                  <a:pt x="172935" y="481800"/>
                  <a:pt x="530123" y="338924"/>
                  <a:pt x="641248" y="286537"/>
                </a:cubicBezTo>
                <a:cubicBezTo>
                  <a:pt x="752373" y="234150"/>
                  <a:pt x="742848" y="216687"/>
                  <a:pt x="736498" y="181762"/>
                </a:cubicBezTo>
                <a:cubicBezTo>
                  <a:pt x="730148" y="146837"/>
                  <a:pt x="668235" y="107149"/>
                  <a:pt x="603148" y="76987"/>
                </a:cubicBezTo>
                <a:cubicBezTo>
                  <a:pt x="538061" y="46825"/>
                  <a:pt x="412648" y="-7150"/>
                  <a:pt x="345973" y="787"/>
                </a:cubicBezTo>
                <a:cubicBezTo>
                  <a:pt x="279298" y="8724"/>
                  <a:pt x="257073" y="62700"/>
                  <a:pt x="203098" y="124612"/>
                </a:cubicBezTo>
                <a:cubicBezTo>
                  <a:pt x="149123" y="186524"/>
                  <a:pt x="41173" y="311937"/>
                  <a:pt x="22123" y="372262"/>
                </a:cubicBezTo>
                <a:cubicBezTo>
                  <a:pt x="3073" y="432587"/>
                  <a:pt x="-33439" y="510374"/>
                  <a:pt x="69748" y="496087"/>
                </a:cubicBezTo>
                <a:close/>
              </a:path>
            </a:pathLst>
          </a:custGeom>
          <a:ln w="19050" cap="flat">
            <a:solidFill>
              <a:srgbClr val="00FF00"/>
            </a:solidFill>
            <a:miter lim="800000"/>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pt-BR" sz="1600" dirty="0" err="1">
              <a:solidFill>
                <a:schemeClr val="bg1"/>
              </a:solidFill>
            </a:endParaRPr>
          </a:p>
        </p:txBody>
      </p:sp>
      <p:sp>
        <p:nvSpPr>
          <p:cNvPr id="19" name="Rectangle 18">
            <a:extLst>
              <a:ext uri="{FF2B5EF4-FFF2-40B4-BE49-F238E27FC236}">
                <a16:creationId xmlns:a16="http://schemas.microsoft.com/office/drawing/2014/main" id="{CC553BCE-0069-EAAF-D15D-C49C70F59872}"/>
              </a:ext>
            </a:extLst>
          </p:cNvPr>
          <p:cNvSpPr/>
          <p:nvPr/>
        </p:nvSpPr>
        <p:spPr>
          <a:xfrm>
            <a:off x="852269" y="2554926"/>
            <a:ext cx="1910837" cy="3599035"/>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pt-BR" sz="1600" dirty="0" err="1">
              <a:solidFill>
                <a:schemeClr val="bg1"/>
              </a:solidFill>
            </a:endParaRPr>
          </a:p>
        </p:txBody>
      </p:sp>
      <p:pic>
        <p:nvPicPr>
          <p:cNvPr id="20" name="Picture 19">
            <a:extLst>
              <a:ext uri="{FF2B5EF4-FFF2-40B4-BE49-F238E27FC236}">
                <a16:creationId xmlns:a16="http://schemas.microsoft.com/office/drawing/2014/main" id="{129086A5-83B9-0528-E173-638D4A55E71B}"/>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554736" y="2725031"/>
            <a:ext cx="1617441" cy="3405126"/>
          </a:xfrm>
          <a:prstGeom prst="rect">
            <a:avLst/>
          </a:prstGeom>
        </p:spPr>
      </p:pic>
      <p:sp>
        <p:nvSpPr>
          <p:cNvPr id="21" name="Oval 20">
            <a:extLst>
              <a:ext uri="{FF2B5EF4-FFF2-40B4-BE49-F238E27FC236}">
                <a16:creationId xmlns:a16="http://schemas.microsoft.com/office/drawing/2014/main" id="{879599EF-E79C-688C-881F-59E245530125}"/>
              </a:ext>
            </a:extLst>
          </p:cNvPr>
          <p:cNvSpPr/>
          <p:nvPr/>
        </p:nvSpPr>
        <p:spPr>
          <a:xfrm rot="2506051">
            <a:off x="2860117" y="2509396"/>
            <a:ext cx="683224" cy="286961"/>
          </a:xfrm>
          <a:prstGeom prst="ellipse">
            <a:avLst/>
          </a:prstGeom>
          <a:ln w="19050" cap="flat">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pt-BR" sz="1600" dirty="0" err="1">
              <a:solidFill>
                <a:schemeClr val="bg1"/>
              </a:solidFill>
            </a:endParaRPr>
          </a:p>
        </p:txBody>
      </p:sp>
      <p:sp>
        <p:nvSpPr>
          <p:cNvPr id="22" name="Freeform: Shape 21">
            <a:extLst>
              <a:ext uri="{FF2B5EF4-FFF2-40B4-BE49-F238E27FC236}">
                <a16:creationId xmlns:a16="http://schemas.microsoft.com/office/drawing/2014/main" id="{9D5C4D94-18B6-D35F-D96D-FCECC2BADAD2}"/>
              </a:ext>
            </a:extLst>
          </p:cNvPr>
          <p:cNvSpPr/>
          <p:nvPr/>
        </p:nvSpPr>
        <p:spPr>
          <a:xfrm rot="325805">
            <a:off x="3377854" y="2782864"/>
            <a:ext cx="418712" cy="875939"/>
          </a:xfrm>
          <a:custGeom>
            <a:avLst/>
            <a:gdLst>
              <a:gd name="connsiteX0" fmla="*/ 314048 w 575468"/>
              <a:gd name="connsiteY0" fmla="*/ 977800 h 1084691"/>
              <a:gd name="connsiteX1" fmla="*/ 247373 w 575468"/>
              <a:gd name="connsiteY1" fmla="*/ 806350 h 1084691"/>
              <a:gd name="connsiteX2" fmla="*/ 237848 w 575468"/>
              <a:gd name="connsiteY2" fmla="*/ 549175 h 1084691"/>
              <a:gd name="connsiteX3" fmla="*/ 314048 w 575468"/>
              <a:gd name="connsiteY3" fmla="*/ 320575 h 1084691"/>
              <a:gd name="connsiteX4" fmla="*/ 495023 w 575468"/>
              <a:gd name="connsiteY4" fmla="*/ 225325 h 1084691"/>
              <a:gd name="connsiteX5" fmla="*/ 571223 w 575468"/>
              <a:gd name="connsiteY5" fmla="*/ 149125 h 1084691"/>
              <a:gd name="connsiteX6" fmla="*/ 542648 w 575468"/>
              <a:gd name="connsiteY6" fmla="*/ 34825 h 1084691"/>
              <a:gd name="connsiteX7" fmla="*/ 352148 w 575468"/>
              <a:gd name="connsiteY7" fmla="*/ 6250 h 1084691"/>
              <a:gd name="connsiteX8" fmla="*/ 152123 w 575468"/>
              <a:gd name="connsiteY8" fmla="*/ 139600 h 1084691"/>
              <a:gd name="connsiteX9" fmla="*/ 104498 w 575468"/>
              <a:gd name="connsiteY9" fmla="*/ 406300 h 1084691"/>
              <a:gd name="connsiteX10" fmla="*/ 9248 w 575468"/>
              <a:gd name="connsiteY10" fmla="*/ 587275 h 1084691"/>
              <a:gd name="connsiteX11" fmla="*/ 18773 w 575468"/>
              <a:gd name="connsiteY11" fmla="*/ 911125 h 1084691"/>
              <a:gd name="connsiteX12" fmla="*/ 142598 w 575468"/>
              <a:gd name="connsiteY12" fmla="*/ 1073050 h 1084691"/>
              <a:gd name="connsiteX13" fmla="*/ 285473 w 575468"/>
              <a:gd name="connsiteY13" fmla="*/ 1063525 h 1084691"/>
              <a:gd name="connsiteX14" fmla="*/ 314048 w 575468"/>
              <a:gd name="connsiteY14" fmla="*/ 977800 h 1084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5468" h="1084691">
                <a:moveTo>
                  <a:pt x="314048" y="977800"/>
                </a:moveTo>
                <a:cubicBezTo>
                  <a:pt x="307698" y="934938"/>
                  <a:pt x="260073" y="877787"/>
                  <a:pt x="247373" y="806350"/>
                </a:cubicBezTo>
                <a:cubicBezTo>
                  <a:pt x="234673" y="734913"/>
                  <a:pt x="226735" y="630137"/>
                  <a:pt x="237848" y="549175"/>
                </a:cubicBezTo>
                <a:cubicBezTo>
                  <a:pt x="248960" y="468212"/>
                  <a:pt x="271186" y="374550"/>
                  <a:pt x="314048" y="320575"/>
                </a:cubicBezTo>
                <a:cubicBezTo>
                  <a:pt x="356910" y="266600"/>
                  <a:pt x="452161" y="253900"/>
                  <a:pt x="495023" y="225325"/>
                </a:cubicBezTo>
                <a:cubicBezTo>
                  <a:pt x="537885" y="196750"/>
                  <a:pt x="563286" y="180875"/>
                  <a:pt x="571223" y="149125"/>
                </a:cubicBezTo>
                <a:cubicBezTo>
                  <a:pt x="579160" y="117375"/>
                  <a:pt x="579160" y="58637"/>
                  <a:pt x="542648" y="34825"/>
                </a:cubicBezTo>
                <a:cubicBezTo>
                  <a:pt x="506136" y="11013"/>
                  <a:pt x="417235" y="-11212"/>
                  <a:pt x="352148" y="6250"/>
                </a:cubicBezTo>
                <a:cubicBezTo>
                  <a:pt x="287061" y="23712"/>
                  <a:pt x="193398" y="72925"/>
                  <a:pt x="152123" y="139600"/>
                </a:cubicBezTo>
                <a:cubicBezTo>
                  <a:pt x="110848" y="206275"/>
                  <a:pt x="128310" y="331688"/>
                  <a:pt x="104498" y="406300"/>
                </a:cubicBezTo>
                <a:cubicBezTo>
                  <a:pt x="80686" y="480912"/>
                  <a:pt x="23535" y="503138"/>
                  <a:pt x="9248" y="587275"/>
                </a:cubicBezTo>
                <a:cubicBezTo>
                  <a:pt x="-5039" y="671412"/>
                  <a:pt x="-3452" y="830162"/>
                  <a:pt x="18773" y="911125"/>
                </a:cubicBezTo>
                <a:cubicBezTo>
                  <a:pt x="40998" y="992088"/>
                  <a:pt x="98148" y="1047650"/>
                  <a:pt x="142598" y="1073050"/>
                </a:cubicBezTo>
                <a:cubicBezTo>
                  <a:pt x="187048" y="1098450"/>
                  <a:pt x="255310" y="1076225"/>
                  <a:pt x="285473" y="1063525"/>
                </a:cubicBezTo>
                <a:cubicBezTo>
                  <a:pt x="315636" y="1050825"/>
                  <a:pt x="320398" y="1020662"/>
                  <a:pt x="314048" y="977800"/>
                </a:cubicBezTo>
                <a:close/>
              </a:path>
            </a:pathLst>
          </a:custGeom>
          <a:ln w="19050" cap="flat">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pt-BR" sz="1600" dirty="0" err="1">
              <a:solidFill>
                <a:schemeClr val="bg1"/>
              </a:solidFill>
            </a:endParaRPr>
          </a:p>
        </p:txBody>
      </p:sp>
      <p:sp>
        <p:nvSpPr>
          <p:cNvPr id="23" name="5. Source">
            <a:extLst>
              <a:ext uri="{FF2B5EF4-FFF2-40B4-BE49-F238E27FC236}">
                <a16:creationId xmlns:a16="http://schemas.microsoft.com/office/drawing/2014/main" id="{913E206B-0ACD-B162-D37B-CFED4F26BC8B}"/>
              </a:ext>
            </a:extLst>
          </p:cNvPr>
          <p:cNvSpPr txBox="1">
            <a:spLocks/>
          </p:cNvSpPr>
          <p:nvPr>
            <p:custDataLst>
              <p:tags r:id="rId4"/>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indent="0">
              <a:lnSpc>
                <a:spcPct val="100000"/>
              </a:lnSpc>
              <a:spcBef>
                <a:spcPts val="300"/>
              </a:spcBef>
              <a:spcAft>
                <a:spcPts val="300"/>
              </a:spcAft>
              <a:buFont typeface="Segoe UI" panose="020B0502040204020203" pitchFamily="34" charset="0"/>
              <a:buChar char="​"/>
              <a:defRPr lang="es-E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defTabSz="914400" rtl="0" eaLnBrk="1" fontAlgn="auto" latinLnBrk="0" hangingPunct="1">
              <a:lnSpc>
                <a:spcPct val="100000"/>
              </a:lnSpc>
              <a:spcBef>
                <a:spcPts val="300"/>
              </a:spcBef>
              <a:spcAft>
                <a:spcPts val="300"/>
              </a:spcAft>
              <a:buClrTx/>
              <a:buSzTx/>
              <a:buNone/>
              <a:tabLst/>
              <a:defRPr/>
            </a:pPr>
            <a:r>
              <a:rPr kumimoji="0" lang="en-US" sz="800" strike="noStrike" kern="1200" spc="0" normalizeH="0" noProof="0" dirty="0">
                <a:ln>
                  <a:noFill/>
                </a:ln>
                <a:effectLst/>
                <a:uLnTx/>
                <a:uFillTx/>
              </a:rPr>
              <a:t>Source: </a:t>
            </a:r>
            <a:r>
              <a:rPr lang="pt-BR" sz="800" dirty="0"/>
              <a:t>S&amp;P Global, MineSpans</a:t>
            </a:r>
            <a:endParaRPr kumimoji="0" lang="en-US" sz="800" strike="noStrike" kern="1200" spc="0" normalizeH="0" noProof="0" dirty="0">
              <a:ln>
                <a:noFill/>
              </a:ln>
              <a:effectLst/>
              <a:uLnTx/>
              <a:uFillTx/>
            </a:endParaRPr>
          </a:p>
        </p:txBody>
      </p:sp>
      <p:sp>
        <p:nvSpPr>
          <p:cNvPr id="24" name="TextBox 23">
            <a:extLst>
              <a:ext uri="{FF2B5EF4-FFF2-40B4-BE49-F238E27FC236}">
                <a16:creationId xmlns:a16="http://schemas.microsoft.com/office/drawing/2014/main" id="{CBC61147-5E57-9E6C-C11E-5A2010AE93D2}"/>
              </a:ext>
            </a:extLst>
          </p:cNvPr>
          <p:cNvSpPr txBox="1">
            <a:spLocks/>
          </p:cNvSpPr>
          <p:nvPr/>
        </p:nvSpPr>
        <p:spPr>
          <a:xfrm>
            <a:off x="2896289" y="5280899"/>
            <a:ext cx="687844" cy="387798"/>
          </a:xfrm>
          <a:prstGeom prst="rect">
            <a:avLst/>
          </a:prstGeom>
        </p:spPr>
        <p:txBody>
          <a:bodyPr vert="horz" wrap="square" lIns="0" tIns="0" rIns="0" bIns="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pt-BR" sz="1400" b="1" dirty="0">
                <a:cs typeface="Arial" panose="020B0604020202020204" pitchFamily="34" charset="0"/>
              </a:rPr>
              <a:t>Deseado masif</a:t>
            </a:r>
          </a:p>
        </p:txBody>
      </p:sp>
      <p:sp>
        <p:nvSpPr>
          <p:cNvPr id="25" name="TextBox 24">
            <a:extLst>
              <a:ext uri="{FF2B5EF4-FFF2-40B4-BE49-F238E27FC236}">
                <a16:creationId xmlns:a16="http://schemas.microsoft.com/office/drawing/2014/main" id="{D471B904-1A43-DB8F-D23C-5E4AAE26A2F1}"/>
              </a:ext>
            </a:extLst>
          </p:cNvPr>
          <p:cNvSpPr txBox="1">
            <a:spLocks/>
          </p:cNvSpPr>
          <p:nvPr/>
        </p:nvSpPr>
        <p:spPr>
          <a:xfrm>
            <a:off x="5272706" y="3822306"/>
            <a:ext cx="1509834" cy="387798"/>
          </a:xfrm>
          <a:prstGeom prst="rect">
            <a:avLst/>
          </a:prstGeom>
        </p:spPr>
        <p:txBody>
          <a:bodyPr vert="horz" wrap="square" lIns="0" tIns="0" rIns="0" bIns="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400" b="1" dirty="0">
                <a:cs typeface="Arial" panose="020B0604020202020204" pitchFamily="34" charset="0"/>
              </a:rPr>
              <a:t>Sao Francisco shield greenstone belts</a:t>
            </a:r>
            <a:endParaRPr lang="pt-BR" sz="1400" b="1" dirty="0">
              <a:cs typeface="Arial" panose="020B0604020202020204" pitchFamily="34" charset="0"/>
            </a:endParaRPr>
          </a:p>
        </p:txBody>
      </p:sp>
      <p:sp>
        <p:nvSpPr>
          <p:cNvPr id="26" name="TextBox 25">
            <a:extLst>
              <a:ext uri="{FF2B5EF4-FFF2-40B4-BE49-F238E27FC236}">
                <a16:creationId xmlns:a16="http://schemas.microsoft.com/office/drawing/2014/main" id="{07B6AA09-4779-1183-F502-E365AFD58549}"/>
              </a:ext>
            </a:extLst>
          </p:cNvPr>
          <p:cNvSpPr txBox="1">
            <a:spLocks/>
          </p:cNvSpPr>
          <p:nvPr/>
        </p:nvSpPr>
        <p:spPr>
          <a:xfrm>
            <a:off x="4611698" y="2554926"/>
            <a:ext cx="1345547" cy="387798"/>
          </a:xfrm>
          <a:prstGeom prst="rect">
            <a:avLst/>
          </a:prstGeom>
        </p:spPr>
        <p:txBody>
          <a:bodyPr vert="horz" wrap="square" lIns="0" tIns="0" rIns="0" bIns="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pt-BR" sz="1400" b="1" dirty="0">
                <a:cs typeface="Arial" panose="020B0604020202020204" pitchFamily="34" charset="0"/>
              </a:rPr>
              <a:t>Guyana shield greenstone belts</a:t>
            </a:r>
          </a:p>
        </p:txBody>
      </p:sp>
      <p:sp>
        <p:nvSpPr>
          <p:cNvPr id="27" name="TextBox 26">
            <a:extLst>
              <a:ext uri="{FF2B5EF4-FFF2-40B4-BE49-F238E27FC236}">
                <a16:creationId xmlns:a16="http://schemas.microsoft.com/office/drawing/2014/main" id="{49FFCAAC-6728-50B2-3BC5-D19A064950FE}"/>
              </a:ext>
            </a:extLst>
          </p:cNvPr>
          <p:cNvSpPr txBox="1">
            <a:spLocks/>
          </p:cNvSpPr>
          <p:nvPr/>
        </p:nvSpPr>
        <p:spPr>
          <a:xfrm>
            <a:off x="979921" y="2009695"/>
            <a:ext cx="1137598" cy="387798"/>
          </a:xfrm>
          <a:prstGeom prst="rect">
            <a:avLst/>
          </a:prstGeom>
        </p:spPr>
        <p:txBody>
          <a:bodyPr vert="horz" wrap="square" lIns="0" tIns="0" rIns="0" bIns="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pt-BR" sz="1400" b="1" dirty="0">
                <a:cs typeface="Arial" panose="020B0604020202020204" pitchFamily="34" charset="0"/>
              </a:rPr>
              <a:t>Sierra Madre metallic belts</a:t>
            </a:r>
          </a:p>
        </p:txBody>
      </p:sp>
      <p:sp>
        <p:nvSpPr>
          <p:cNvPr id="28" name="TextBox 27">
            <a:extLst>
              <a:ext uri="{FF2B5EF4-FFF2-40B4-BE49-F238E27FC236}">
                <a16:creationId xmlns:a16="http://schemas.microsoft.com/office/drawing/2014/main" id="{B8B80AC8-9D6F-68D6-BCB4-0D9951D6FD2A}"/>
              </a:ext>
            </a:extLst>
          </p:cNvPr>
          <p:cNvSpPr txBox="1">
            <a:spLocks/>
          </p:cNvSpPr>
          <p:nvPr/>
        </p:nvSpPr>
        <p:spPr>
          <a:xfrm>
            <a:off x="5433084" y="3055475"/>
            <a:ext cx="1366743" cy="387798"/>
          </a:xfrm>
          <a:prstGeom prst="rect">
            <a:avLst/>
          </a:prstGeom>
        </p:spPr>
        <p:txBody>
          <a:bodyPr vert="horz" wrap="square" lIns="0" tIns="0" rIns="0" bIns="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pt-BR" sz="1400" b="1" dirty="0">
                <a:cs typeface="Arial" panose="020B0604020202020204" pitchFamily="34" charset="0"/>
              </a:rPr>
              <a:t>Amazon shield greenstone belts</a:t>
            </a:r>
          </a:p>
        </p:txBody>
      </p:sp>
      <p:sp>
        <p:nvSpPr>
          <p:cNvPr id="29" name="TextBox 28">
            <a:extLst>
              <a:ext uri="{FF2B5EF4-FFF2-40B4-BE49-F238E27FC236}">
                <a16:creationId xmlns:a16="http://schemas.microsoft.com/office/drawing/2014/main" id="{F1CB545B-1D85-C277-29B8-0F12D98F519D}"/>
              </a:ext>
            </a:extLst>
          </p:cNvPr>
          <p:cNvSpPr txBox="1">
            <a:spLocks/>
          </p:cNvSpPr>
          <p:nvPr/>
        </p:nvSpPr>
        <p:spPr>
          <a:xfrm>
            <a:off x="2117519" y="2648197"/>
            <a:ext cx="1192139" cy="387798"/>
          </a:xfrm>
          <a:prstGeom prst="rect">
            <a:avLst/>
          </a:prstGeom>
        </p:spPr>
        <p:txBody>
          <a:bodyPr vert="horz" wrap="square" lIns="0" tIns="0" rIns="0" bIns="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pt-BR" sz="1400" b="1" dirty="0">
                <a:cs typeface="Arial" panose="020B0604020202020204" pitchFamily="34" charset="0"/>
              </a:rPr>
              <a:t>Central American belts</a:t>
            </a:r>
          </a:p>
        </p:txBody>
      </p:sp>
      <p:sp>
        <p:nvSpPr>
          <p:cNvPr id="30" name="TextBox 29">
            <a:extLst>
              <a:ext uri="{FF2B5EF4-FFF2-40B4-BE49-F238E27FC236}">
                <a16:creationId xmlns:a16="http://schemas.microsoft.com/office/drawing/2014/main" id="{4BF5435B-20B2-FF8F-B864-392DE3624959}"/>
              </a:ext>
            </a:extLst>
          </p:cNvPr>
          <p:cNvSpPr txBox="1">
            <a:spLocks/>
          </p:cNvSpPr>
          <p:nvPr/>
        </p:nvSpPr>
        <p:spPr>
          <a:xfrm>
            <a:off x="2598435" y="3262050"/>
            <a:ext cx="697362" cy="387798"/>
          </a:xfrm>
          <a:prstGeom prst="rect">
            <a:avLst/>
          </a:prstGeom>
        </p:spPr>
        <p:txBody>
          <a:bodyPr vert="horz" wrap="square" lIns="0" tIns="0" rIns="0" bIns="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pt-BR" sz="1400" b="1" dirty="0">
                <a:cs typeface="Arial" panose="020B0604020202020204" pitchFamily="34" charset="0"/>
              </a:rPr>
              <a:t>Northern Andes</a:t>
            </a:r>
          </a:p>
        </p:txBody>
      </p:sp>
      <p:sp>
        <p:nvSpPr>
          <p:cNvPr id="31" name="TextBox 30">
            <a:extLst>
              <a:ext uri="{FF2B5EF4-FFF2-40B4-BE49-F238E27FC236}">
                <a16:creationId xmlns:a16="http://schemas.microsoft.com/office/drawing/2014/main" id="{88B5E2EF-705A-1B12-C288-92774DB6C7BF}"/>
              </a:ext>
            </a:extLst>
          </p:cNvPr>
          <p:cNvSpPr txBox="1">
            <a:spLocks/>
          </p:cNvSpPr>
          <p:nvPr/>
        </p:nvSpPr>
        <p:spPr>
          <a:xfrm>
            <a:off x="3816001" y="1845674"/>
            <a:ext cx="882078" cy="387798"/>
          </a:xfrm>
          <a:prstGeom prst="rect">
            <a:avLst/>
          </a:prstGeom>
        </p:spPr>
        <p:txBody>
          <a:bodyPr vert="horz" wrap="square" lIns="0" tIns="0" rIns="0" bIns="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pt-BR" sz="1400" b="1" dirty="0">
                <a:cs typeface="Arial" panose="020B0604020202020204" pitchFamily="34" charset="0"/>
              </a:rPr>
              <a:t>Pueblo Viejo mine</a:t>
            </a:r>
          </a:p>
        </p:txBody>
      </p:sp>
      <p:sp>
        <p:nvSpPr>
          <p:cNvPr id="32" name="TextBox 31">
            <a:extLst>
              <a:ext uri="{FF2B5EF4-FFF2-40B4-BE49-F238E27FC236}">
                <a16:creationId xmlns:a16="http://schemas.microsoft.com/office/drawing/2014/main" id="{EBCD2435-6D48-7603-0894-4A6A3DAE4C05}"/>
              </a:ext>
            </a:extLst>
          </p:cNvPr>
          <p:cNvSpPr txBox="1">
            <a:spLocks/>
          </p:cNvSpPr>
          <p:nvPr/>
        </p:nvSpPr>
        <p:spPr>
          <a:xfrm>
            <a:off x="3209793" y="4037265"/>
            <a:ext cx="696251" cy="387798"/>
          </a:xfrm>
          <a:prstGeom prst="rect">
            <a:avLst/>
          </a:prstGeom>
        </p:spPr>
        <p:txBody>
          <a:bodyPr vert="horz" wrap="square" lIns="0" tIns="0" rIns="0" bIns="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pt-BR" sz="1400" b="1" dirty="0">
                <a:cs typeface="Arial" panose="020B0604020202020204" pitchFamily="34" charset="0"/>
              </a:rPr>
              <a:t>Central Andes</a:t>
            </a:r>
          </a:p>
        </p:txBody>
      </p:sp>
      <p:sp>
        <p:nvSpPr>
          <p:cNvPr id="34" name="TextBox 33">
            <a:extLst>
              <a:ext uri="{FF2B5EF4-FFF2-40B4-BE49-F238E27FC236}">
                <a16:creationId xmlns:a16="http://schemas.microsoft.com/office/drawing/2014/main" id="{1F02F19C-2B23-1947-C5A7-3560ED516CF0}"/>
              </a:ext>
            </a:extLst>
          </p:cNvPr>
          <p:cNvSpPr txBox="1">
            <a:spLocks/>
          </p:cNvSpPr>
          <p:nvPr/>
        </p:nvSpPr>
        <p:spPr>
          <a:xfrm>
            <a:off x="554736" y="1265167"/>
            <a:ext cx="7148926" cy="221599"/>
          </a:xfrm>
          <a:prstGeom prst="rect">
            <a:avLst/>
          </a:prstGeom>
        </p:spPr>
        <p:txBody>
          <a:bodyPr vert="horz" wrap="square" lIns="0" tIns="0" rIns="0" bIns="0" rtlCol="0" anchor="b" anchorCtr="0">
            <a:no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600" b="1" dirty="0">
                <a:cs typeface="Arial" panose="020B0604020202020204" pitchFamily="34" charset="0"/>
              </a:rPr>
              <a:t>Gold reserves and projects by country</a:t>
            </a:r>
            <a:endParaRPr lang="pt-BR" sz="1600" b="1" dirty="0">
              <a:cs typeface="Arial" panose="020B0604020202020204" pitchFamily="34" charset="0"/>
            </a:endParaRPr>
          </a:p>
        </p:txBody>
      </p:sp>
      <p:grpSp>
        <p:nvGrpSpPr>
          <p:cNvPr id="44" name="Group 43">
            <a:extLst>
              <a:ext uri="{FF2B5EF4-FFF2-40B4-BE49-F238E27FC236}">
                <a16:creationId xmlns:a16="http://schemas.microsoft.com/office/drawing/2014/main" id="{752CEEF1-D7D0-723E-8364-9C1A350425EC}"/>
              </a:ext>
            </a:extLst>
          </p:cNvPr>
          <p:cNvGrpSpPr/>
          <p:nvPr/>
        </p:nvGrpSpPr>
        <p:grpSpPr>
          <a:xfrm>
            <a:off x="5332313" y="1660018"/>
            <a:ext cx="2087375" cy="332399"/>
            <a:chOff x="5536500" y="1660018"/>
            <a:chExt cx="2087375" cy="332399"/>
          </a:xfrm>
        </p:grpSpPr>
        <p:cxnSp>
          <p:nvCxnSpPr>
            <p:cNvPr id="45" name="Straight Connector 44">
              <a:extLst>
                <a:ext uri="{FF2B5EF4-FFF2-40B4-BE49-F238E27FC236}">
                  <a16:creationId xmlns:a16="http://schemas.microsoft.com/office/drawing/2014/main" id="{6CC591D6-4C4F-D0D6-0057-63DE5FE126A6}"/>
                </a:ext>
              </a:extLst>
            </p:cNvPr>
            <p:cNvCxnSpPr/>
            <p:nvPr/>
          </p:nvCxnSpPr>
          <p:spPr>
            <a:xfrm>
              <a:off x="5536500" y="1798518"/>
              <a:ext cx="282782" cy="0"/>
            </a:xfrm>
            <a:prstGeom prst="line">
              <a:avLst/>
            </a:prstGeom>
            <a:ln w="19050" cap="flat">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38BE9283-3DD9-C5F8-1C41-54142AD3AE02}"/>
                </a:ext>
              </a:extLst>
            </p:cNvPr>
            <p:cNvSpPr txBox="1"/>
            <p:nvPr/>
          </p:nvSpPr>
          <p:spPr>
            <a:xfrm>
              <a:off x="5937590" y="1660018"/>
              <a:ext cx="1686285" cy="332399"/>
            </a:xfrm>
            <a:prstGeom prst="rect">
              <a:avLst/>
            </a:prstGeom>
          </p:spPr>
          <p:txBody>
            <a:bodyPr vert="horz" wrap="square" lIns="0" tIns="0" rIns="0" bIns="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200" dirty="0">
                  <a:cs typeface="Arial" panose="020B0604020202020204" pitchFamily="34" charset="0"/>
                </a:rPr>
                <a:t>Porphyry/Epithermal gold mineralization areas</a:t>
              </a:r>
              <a:endParaRPr lang="pt-BR" sz="1200" dirty="0">
                <a:cs typeface="Arial" panose="020B0604020202020204" pitchFamily="34" charset="0"/>
              </a:endParaRPr>
            </a:p>
          </p:txBody>
        </p:sp>
      </p:grpSp>
      <p:grpSp>
        <p:nvGrpSpPr>
          <p:cNvPr id="47" name="Group 46">
            <a:extLst>
              <a:ext uri="{FF2B5EF4-FFF2-40B4-BE49-F238E27FC236}">
                <a16:creationId xmlns:a16="http://schemas.microsoft.com/office/drawing/2014/main" id="{A0EFD7CB-4F1F-CA0C-E5FD-6ED1BFF62C57}"/>
              </a:ext>
            </a:extLst>
          </p:cNvPr>
          <p:cNvGrpSpPr/>
          <p:nvPr/>
        </p:nvGrpSpPr>
        <p:grpSpPr>
          <a:xfrm>
            <a:off x="5332313" y="2075082"/>
            <a:ext cx="2079761" cy="332399"/>
            <a:chOff x="5536500" y="2075082"/>
            <a:chExt cx="2079761" cy="332399"/>
          </a:xfrm>
        </p:grpSpPr>
        <p:cxnSp>
          <p:nvCxnSpPr>
            <p:cNvPr id="48" name="Straight Connector 47">
              <a:extLst>
                <a:ext uri="{FF2B5EF4-FFF2-40B4-BE49-F238E27FC236}">
                  <a16:creationId xmlns:a16="http://schemas.microsoft.com/office/drawing/2014/main" id="{52FEB200-28E9-7992-6FCA-49635A96187D}"/>
                </a:ext>
              </a:extLst>
            </p:cNvPr>
            <p:cNvCxnSpPr/>
            <p:nvPr/>
          </p:nvCxnSpPr>
          <p:spPr>
            <a:xfrm>
              <a:off x="5536500" y="2213582"/>
              <a:ext cx="282782" cy="0"/>
            </a:xfrm>
            <a:prstGeom prst="line">
              <a:avLst/>
            </a:prstGeom>
            <a:ln w="19050" cap="flat">
              <a:solidFill>
                <a:srgbClr val="00FF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10FD18A9-876D-653E-CD08-BA460B997E17}"/>
                </a:ext>
              </a:extLst>
            </p:cNvPr>
            <p:cNvSpPr txBox="1"/>
            <p:nvPr/>
          </p:nvSpPr>
          <p:spPr>
            <a:xfrm>
              <a:off x="5937590" y="2075082"/>
              <a:ext cx="1678671" cy="332399"/>
            </a:xfrm>
            <a:prstGeom prst="rect">
              <a:avLst/>
            </a:prstGeom>
          </p:spPr>
          <p:txBody>
            <a:bodyPr vert="horz" wrap="square" lIns="0" tIns="0" rIns="0" bIns="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200" dirty="0">
                  <a:cs typeface="Arial" panose="020B0604020202020204" pitchFamily="34" charset="0"/>
                </a:rPr>
                <a:t>Granite/greenstone gold mineralization areas</a:t>
              </a:r>
              <a:endParaRPr lang="pt-BR" sz="1200" dirty="0">
                <a:cs typeface="Arial" panose="020B0604020202020204" pitchFamily="34" charset="0"/>
              </a:endParaRPr>
            </a:p>
          </p:txBody>
        </p:sp>
      </p:grpSp>
      <p:grpSp>
        <p:nvGrpSpPr>
          <p:cNvPr id="58" name="Group 57">
            <a:extLst>
              <a:ext uri="{FF2B5EF4-FFF2-40B4-BE49-F238E27FC236}">
                <a16:creationId xmlns:a16="http://schemas.microsoft.com/office/drawing/2014/main" id="{078F1C1D-9DDC-F98D-8124-D669463F8895}"/>
              </a:ext>
            </a:extLst>
          </p:cNvPr>
          <p:cNvGrpSpPr/>
          <p:nvPr/>
        </p:nvGrpSpPr>
        <p:grpSpPr>
          <a:xfrm>
            <a:off x="8309498" y="1265167"/>
            <a:ext cx="3327765" cy="5031466"/>
            <a:chOff x="8225750" y="1265167"/>
            <a:chExt cx="3414470" cy="5031466"/>
          </a:xfrm>
        </p:grpSpPr>
        <p:sp>
          <p:nvSpPr>
            <p:cNvPr id="33" name="TextBox 32">
              <a:extLst>
                <a:ext uri="{FF2B5EF4-FFF2-40B4-BE49-F238E27FC236}">
                  <a16:creationId xmlns:a16="http://schemas.microsoft.com/office/drawing/2014/main" id="{8B7954DF-B1A7-1457-98AB-02ED9DD9C3B1}"/>
                </a:ext>
              </a:extLst>
            </p:cNvPr>
            <p:cNvSpPr txBox="1">
              <a:spLocks/>
            </p:cNvSpPr>
            <p:nvPr/>
          </p:nvSpPr>
          <p:spPr>
            <a:xfrm>
              <a:off x="8225750" y="1265167"/>
              <a:ext cx="3414470" cy="221599"/>
            </a:xfrm>
            <a:prstGeom prst="rect">
              <a:avLst/>
            </a:prstGeom>
          </p:spPr>
          <p:txBody>
            <a:bodyPr vert="horz" wrap="square" lIns="0" tIns="0" rIns="0" bIns="0" rtlCol="0" anchor="b" anchorCtr="0">
              <a:no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pt-BR" sz="1600" b="1" dirty="0">
                  <a:cs typeface="Arial" panose="020B0604020202020204" pitchFamily="34" charset="0"/>
                </a:rPr>
                <a:t>Latin America presents</a:t>
              </a:r>
            </a:p>
          </p:txBody>
        </p:sp>
        <p:sp>
          <p:nvSpPr>
            <p:cNvPr id="35" name="TextBox 34">
              <a:extLst>
                <a:ext uri="{FF2B5EF4-FFF2-40B4-BE49-F238E27FC236}">
                  <a16:creationId xmlns:a16="http://schemas.microsoft.com/office/drawing/2014/main" id="{78B7DEDA-970C-FE2F-A78B-34C6C43A25A2}"/>
                </a:ext>
              </a:extLst>
            </p:cNvPr>
            <p:cNvSpPr txBox="1">
              <a:spLocks/>
            </p:cNvSpPr>
            <p:nvPr/>
          </p:nvSpPr>
          <p:spPr>
            <a:xfrm>
              <a:off x="8225750" y="2093808"/>
              <a:ext cx="3414470" cy="313932"/>
            </a:xfrm>
            <a:prstGeom prst="rect">
              <a:avLst/>
            </a:prstGeom>
          </p:spPr>
          <p:txBody>
            <a:bodyPr vert="horz" wrap="square" lIns="91440" tIns="45720" rIns="91440" bIns="45720" rtlCol="0" anchor="t" anchorCtr="0">
              <a:no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600" dirty="0">
                  <a:cs typeface="Arial" panose="020B0604020202020204" pitchFamily="34" charset="0"/>
                </a:rPr>
                <a:t>Of the global gold reserves</a:t>
              </a:r>
              <a:endParaRPr lang="pt-BR" sz="1600" dirty="0">
                <a:cs typeface="Arial" panose="020B0604020202020204" pitchFamily="34" charset="0"/>
              </a:endParaRPr>
            </a:p>
          </p:txBody>
        </p:sp>
        <p:sp>
          <p:nvSpPr>
            <p:cNvPr id="36" name="TextBox 35">
              <a:extLst>
                <a:ext uri="{FF2B5EF4-FFF2-40B4-BE49-F238E27FC236}">
                  <a16:creationId xmlns:a16="http://schemas.microsoft.com/office/drawing/2014/main" id="{712F4FB4-7DE0-0493-DFA1-ADAF36DA4033}"/>
                </a:ext>
              </a:extLst>
            </p:cNvPr>
            <p:cNvSpPr txBox="1">
              <a:spLocks/>
            </p:cNvSpPr>
            <p:nvPr/>
          </p:nvSpPr>
          <p:spPr>
            <a:xfrm>
              <a:off x="8225750" y="2492376"/>
              <a:ext cx="3414470" cy="535531"/>
            </a:xfrm>
            <a:prstGeom prst="rect">
              <a:avLst/>
            </a:prstGeom>
          </p:spPr>
          <p:txBody>
            <a:bodyPr vert="horz" wrap="square" lIns="91440" tIns="45720" rIns="91440" bIns="45720" rtlCol="0" anchor="t" anchorCtr="0">
              <a:no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pt-BR" sz="3200" b="1" dirty="0">
                  <a:solidFill>
                    <a:schemeClr val="accent1"/>
                  </a:solidFill>
                  <a:latin typeface="+mj-lt"/>
                  <a:cs typeface="Arial" panose="020B0604020202020204" pitchFamily="34" charset="0"/>
                </a:rPr>
                <a:t>18%</a:t>
              </a:r>
            </a:p>
          </p:txBody>
        </p:sp>
        <p:sp>
          <p:nvSpPr>
            <p:cNvPr id="37" name="TextBox 36">
              <a:extLst>
                <a:ext uri="{FF2B5EF4-FFF2-40B4-BE49-F238E27FC236}">
                  <a16:creationId xmlns:a16="http://schemas.microsoft.com/office/drawing/2014/main" id="{183FA91D-2441-EA66-EEA3-B1F091C22ED5}"/>
                </a:ext>
              </a:extLst>
            </p:cNvPr>
            <p:cNvSpPr txBox="1">
              <a:spLocks/>
            </p:cNvSpPr>
            <p:nvPr/>
          </p:nvSpPr>
          <p:spPr>
            <a:xfrm>
              <a:off x="8225750" y="2955231"/>
              <a:ext cx="3414470" cy="313932"/>
            </a:xfrm>
            <a:prstGeom prst="rect">
              <a:avLst/>
            </a:prstGeom>
          </p:spPr>
          <p:txBody>
            <a:bodyPr vert="horz" wrap="square" lIns="91440" tIns="45720" rIns="91440" bIns="45720" rtlCol="0" anchor="t" anchorCtr="0">
              <a:no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600" dirty="0">
                  <a:cs typeface="Arial" panose="020B0604020202020204" pitchFamily="34" charset="0"/>
                </a:rPr>
                <a:t>Of the global gold production</a:t>
              </a:r>
              <a:endParaRPr lang="pt-BR" sz="1600" dirty="0">
                <a:cs typeface="Arial" panose="020B0604020202020204" pitchFamily="34" charset="0"/>
              </a:endParaRPr>
            </a:p>
          </p:txBody>
        </p:sp>
        <p:sp>
          <p:nvSpPr>
            <p:cNvPr id="38" name="TextBox 37">
              <a:extLst>
                <a:ext uri="{FF2B5EF4-FFF2-40B4-BE49-F238E27FC236}">
                  <a16:creationId xmlns:a16="http://schemas.microsoft.com/office/drawing/2014/main" id="{F317D9E5-D0AC-5189-FFE7-E2ABABC4B241}"/>
                </a:ext>
              </a:extLst>
            </p:cNvPr>
            <p:cNvSpPr txBox="1">
              <a:spLocks/>
            </p:cNvSpPr>
            <p:nvPr/>
          </p:nvSpPr>
          <p:spPr>
            <a:xfrm>
              <a:off x="8225750" y="4215222"/>
              <a:ext cx="3414470" cy="535531"/>
            </a:xfrm>
            <a:prstGeom prst="rect">
              <a:avLst/>
            </a:prstGeom>
          </p:spPr>
          <p:txBody>
            <a:bodyPr vert="horz" wrap="square" lIns="91440" tIns="45720" rIns="91440" bIns="45720" rtlCol="0" anchor="t" anchorCtr="0">
              <a:no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pt-BR" sz="3200" b="1" dirty="0">
                  <a:solidFill>
                    <a:schemeClr val="accent1"/>
                  </a:solidFill>
                  <a:latin typeface="+mj-lt"/>
                  <a:cs typeface="Arial" panose="020B0604020202020204" pitchFamily="34" charset="0"/>
                </a:rPr>
                <a:t>780 </a:t>
              </a:r>
              <a:r>
                <a:rPr lang="pt-BR" sz="1800" b="1" dirty="0">
                  <a:solidFill>
                    <a:schemeClr val="accent1"/>
                  </a:solidFill>
                  <a:latin typeface="+mj-lt"/>
                  <a:cs typeface="Arial" panose="020B0604020202020204" pitchFamily="34" charset="0"/>
                </a:rPr>
                <a:t>USD/oz</a:t>
              </a:r>
            </a:p>
          </p:txBody>
        </p:sp>
        <p:sp>
          <p:nvSpPr>
            <p:cNvPr id="39" name="TextBox 38">
              <a:extLst>
                <a:ext uri="{FF2B5EF4-FFF2-40B4-BE49-F238E27FC236}">
                  <a16:creationId xmlns:a16="http://schemas.microsoft.com/office/drawing/2014/main" id="{23B3D3A2-F279-CB51-4866-2511820A24D5}"/>
                </a:ext>
              </a:extLst>
            </p:cNvPr>
            <p:cNvSpPr txBox="1">
              <a:spLocks/>
            </p:cNvSpPr>
            <p:nvPr/>
          </p:nvSpPr>
          <p:spPr>
            <a:xfrm>
              <a:off x="8225750" y="4678077"/>
              <a:ext cx="3414470" cy="535531"/>
            </a:xfrm>
            <a:prstGeom prst="rect">
              <a:avLst/>
            </a:prstGeom>
          </p:spPr>
          <p:txBody>
            <a:bodyPr vert="horz" wrap="square" lIns="91440" tIns="45720" rIns="91440" bIns="45720" rtlCol="0" anchor="t" anchorCtr="0">
              <a:no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600" dirty="0">
                  <a:cs typeface="Arial" panose="020B0604020202020204" pitchFamily="34" charset="0"/>
                </a:rPr>
                <a:t>Average operational cost, vs 840 USD/oz globally</a:t>
              </a:r>
              <a:endParaRPr lang="pt-BR" sz="1600" dirty="0">
                <a:cs typeface="Arial" panose="020B0604020202020204" pitchFamily="34" charset="0"/>
              </a:endParaRPr>
            </a:p>
          </p:txBody>
        </p:sp>
        <p:sp>
          <p:nvSpPr>
            <p:cNvPr id="40" name="TextBox 39">
              <a:extLst>
                <a:ext uri="{FF2B5EF4-FFF2-40B4-BE49-F238E27FC236}">
                  <a16:creationId xmlns:a16="http://schemas.microsoft.com/office/drawing/2014/main" id="{FA70CD29-D1C8-8170-B697-7DD40E4A69F4}"/>
                </a:ext>
              </a:extLst>
            </p:cNvPr>
            <p:cNvSpPr txBox="1">
              <a:spLocks/>
            </p:cNvSpPr>
            <p:nvPr/>
          </p:nvSpPr>
          <p:spPr>
            <a:xfrm>
              <a:off x="8225750" y="3816654"/>
              <a:ext cx="3414470" cy="313932"/>
            </a:xfrm>
            <a:prstGeom prst="rect">
              <a:avLst/>
            </a:prstGeom>
          </p:spPr>
          <p:txBody>
            <a:bodyPr vert="horz" wrap="square" lIns="91440" tIns="45720" rIns="91440" bIns="45720" rtlCol="0" anchor="t" anchorCtr="0">
              <a:no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pt-BR" sz="1600" dirty="0">
                  <a:cs typeface="Arial" panose="020B0604020202020204" pitchFamily="34" charset="0"/>
                </a:rPr>
                <a:t>Average gold grade, vs 1.5 g/t globally</a:t>
              </a:r>
            </a:p>
          </p:txBody>
        </p:sp>
        <p:sp>
          <p:nvSpPr>
            <p:cNvPr id="41" name="TextBox 40">
              <a:extLst>
                <a:ext uri="{FF2B5EF4-FFF2-40B4-BE49-F238E27FC236}">
                  <a16:creationId xmlns:a16="http://schemas.microsoft.com/office/drawing/2014/main" id="{2F2E6BAA-9C15-56BC-01A5-F03EDBCD4D10}"/>
                </a:ext>
              </a:extLst>
            </p:cNvPr>
            <p:cNvSpPr txBox="1">
              <a:spLocks/>
            </p:cNvSpPr>
            <p:nvPr/>
          </p:nvSpPr>
          <p:spPr>
            <a:xfrm>
              <a:off x="8225750" y="3353799"/>
              <a:ext cx="3414470" cy="535531"/>
            </a:xfrm>
            <a:prstGeom prst="rect">
              <a:avLst/>
            </a:prstGeom>
          </p:spPr>
          <p:txBody>
            <a:bodyPr vert="horz" wrap="square" lIns="91440" tIns="45720" rIns="91440" bIns="45720" rtlCol="0" anchor="t" anchorCtr="0">
              <a:no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pt-BR" sz="3200" b="1" dirty="0">
                  <a:solidFill>
                    <a:schemeClr val="accent1"/>
                  </a:solidFill>
                  <a:latin typeface="+mj-lt"/>
                  <a:cs typeface="Arial" panose="020B0604020202020204" pitchFamily="34" charset="0"/>
                </a:rPr>
                <a:t>2.5 </a:t>
              </a:r>
              <a:r>
                <a:rPr lang="pt-BR" sz="1800" b="1" dirty="0">
                  <a:solidFill>
                    <a:schemeClr val="accent1"/>
                  </a:solidFill>
                  <a:latin typeface="+mj-lt"/>
                  <a:cs typeface="Arial" panose="020B0604020202020204" pitchFamily="34" charset="0"/>
                </a:rPr>
                <a:t>g/t</a:t>
              </a:r>
            </a:p>
          </p:txBody>
        </p:sp>
        <p:sp>
          <p:nvSpPr>
            <p:cNvPr id="42" name="TextBox 41">
              <a:extLst>
                <a:ext uri="{FF2B5EF4-FFF2-40B4-BE49-F238E27FC236}">
                  <a16:creationId xmlns:a16="http://schemas.microsoft.com/office/drawing/2014/main" id="{2F54B620-A394-DDBF-6B4A-434426237DAF}"/>
                </a:ext>
              </a:extLst>
            </p:cNvPr>
            <p:cNvSpPr txBox="1">
              <a:spLocks/>
            </p:cNvSpPr>
            <p:nvPr/>
          </p:nvSpPr>
          <p:spPr>
            <a:xfrm>
              <a:off x="8225750" y="5308076"/>
              <a:ext cx="3414470" cy="535531"/>
            </a:xfrm>
            <a:prstGeom prst="rect">
              <a:avLst/>
            </a:prstGeom>
          </p:spPr>
          <p:txBody>
            <a:bodyPr vert="horz" wrap="square" lIns="91440" tIns="45720" rIns="91440" bIns="45720" rtlCol="0" anchor="t" anchorCtr="0">
              <a:no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pt-BR" sz="3200" b="1" dirty="0">
                  <a:solidFill>
                    <a:schemeClr val="accent1"/>
                  </a:solidFill>
                  <a:latin typeface="+mj-lt"/>
                  <a:cs typeface="Arial" panose="020B0604020202020204" pitchFamily="34" charset="0"/>
                </a:rPr>
                <a:t>0.38 </a:t>
              </a:r>
              <a:r>
                <a:rPr lang="pt-BR" sz="1800" b="1" dirty="0">
                  <a:solidFill>
                    <a:schemeClr val="accent1"/>
                  </a:solidFill>
                  <a:latin typeface="+mj-lt"/>
                  <a:cs typeface="Arial" panose="020B0604020202020204" pitchFamily="34" charset="0"/>
                </a:rPr>
                <a:t>t CO2/oz</a:t>
              </a:r>
            </a:p>
          </p:txBody>
        </p:sp>
        <p:sp>
          <p:nvSpPr>
            <p:cNvPr id="43" name="TextBox 42">
              <a:extLst>
                <a:ext uri="{FF2B5EF4-FFF2-40B4-BE49-F238E27FC236}">
                  <a16:creationId xmlns:a16="http://schemas.microsoft.com/office/drawing/2014/main" id="{4AB6B824-AE7F-7A72-DC85-7FE8F59E2AFB}"/>
                </a:ext>
              </a:extLst>
            </p:cNvPr>
            <p:cNvSpPr txBox="1">
              <a:spLocks/>
            </p:cNvSpPr>
            <p:nvPr/>
          </p:nvSpPr>
          <p:spPr>
            <a:xfrm>
              <a:off x="8225750" y="5761102"/>
              <a:ext cx="3414470" cy="535531"/>
            </a:xfrm>
            <a:prstGeom prst="rect">
              <a:avLst/>
            </a:prstGeom>
          </p:spPr>
          <p:txBody>
            <a:bodyPr vert="horz" wrap="square" lIns="91440" tIns="45720" rIns="91440" bIns="45720" rtlCol="0" anchor="t" anchorCtr="0">
              <a:no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600" dirty="0">
                  <a:cs typeface="Arial" panose="020B0604020202020204" pitchFamily="34" charset="0"/>
                </a:rPr>
                <a:t>Average carbon footprint</a:t>
              </a:r>
              <a:r>
                <a:rPr lang="en-US" sz="1600" baseline="30000" dirty="0">
                  <a:cs typeface="Arial" panose="020B0604020202020204" pitchFamily="34" charset="0"/>
                </a:rPr>
                <a:t>1</a:t>
              </a:r>
              <a:r>
                <a:rPr lang="en-US" sz="1600" dirty="0">
                  <a:cs typeface="Arial" panose="020B0604020202020204" pitchFamily="34" charset="0"/>
                </a:rPr>
                <a:t>, vs 0.7 tCO2/oz globally</a:t>
              </a:r>
              <a:endParaRPr lang="pt-BR" sz="1600" dirty="0">
                <a:cs typeface="Arial" panose="020B0604020202020204" pitchFamily="34" charset="0"/>
              </a:endParaRPr>
            </a:p>
          </p:txBody>
        </p:sp>
        <p:sp>
          <p:nvSpPr>
            <p:cNvPr id="50" name="TextBox 49">
              <a:extLst>
                <a:ext uri="{FF2B5EF4-FFF2-40B4-BE49-F238E27FC236}">
                  <a16:creationId xmlns:a16="http://schemas.microsoft.com/office/drawing/2014/main" id="{853DF3EC-BDAF-9FB9-03BB-94EF5E52621F}"/>
                </a:ext>
              </a:extLst>
            </p:cNvPr>
            <p:cNvSpPr txBox="1">
              <a:spLocks/>
            </p:cNvSpPr>
            <p:nvPr/>
          </p:nvSpPr>
          <p:spPr>
            <a:xfrm>
              <a:off x="8225750" y="1630953"/>
              <a:ext cx="3414470" cy="535531"/>
            </a:xfrm>
            <a:prstGeom prst="rect">
              <a:avLst/>
            </a:prstGeom>
          </p:spPr>
          <p:txBody>
            <a:bodyPr vert="horz" wrap="square" lIns="91440" tIns="45720" rIns="91440" bIns="45720" rtlCol="0" anchor="t" anchorCtr="0">
              <a:no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pt-BR" sz="3200" b="1" dirty="0">
                  <a:solidFill>
                    <a:schemeClr val="accent1"/>
                  </a:solidFill>
                  <a:latin typeface="+mj-lt"/>
                  <a:cs typeface="Arial" panose="020B0604020202020204" pitchFamily="34" charset="0"/>
                </a:rPr>
                <a:t>14%</a:t>
              </a:r>
            </a:p>
          </p:txBody>
        </p:sp>
      </p:grpSp>
      <p:sp>
        <p:nvSpPr>
          <p:cNvPr id="51" name="4. Footnote">
            <a:extLst>
              <a:ext uri="{FF2B5EF4-FFF2-40B4-BE49-F238E27FC236}">
                <a16:creationId xmlns:a16="http://schemas.microsoft.com/office/drawing/2014/main" id="{B482F06E-4362-A4EE-EA68-D538F6E1D798}"/>
              </a:ext>
            </a:extLst>
          </p:cNvPr>
          <p:cNvSpPr txBox="1"/>
          <p:nvPr>
            <p:custDataLst>
              <p:tags r:id="rId5"/>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p>
            <a:pPr marL="203200" indent="-212725"/>
            <a:r>
              <a:rPr lang="en-US" sz="800" dirty="0"/>
              <a:t>1.	Excluding Mexico and Dominican Republic, due to special circumstances</a:t>
            </a:r>
            <a:endParaRPr lang="pt-BR" sz="800" dirty="0"/>
          </a:p>
        </p:txBody>
      </p:sp>
      <p:grpSp>
        <p:nvGrpSpPr>
          <p:cNvPr id="56" name="ChevronBlue 56">
            <a:extLst>
              <a:ext uri="{FF2B5EF4-FFF2-40B4-BE49-F238E27FC236}">
                <a16:creationId xmlns:a16="http://schemas.microsoft.com/office/drawing/2014/main" id="{AD5DEF73-2AF1-5E83-EF77-8ED51A8EC9CF}"/>
              </a:ext>
            </a:extLst>
          </p:cNvPr>
          <p:cNvGrpSpPr>
            <a:grpSpLocks noChangeAspect="1"/>
          </p:cNvGrpSpPr>
          <p:nvPr>
            <p:custDataLst>
              <p:tags r:id="rId6"/>
            </p:custDataLst>
          </p:nvPr>
        </p:nvGrpSpPr>
        <p:grpSpPr>
          <a:xfrm>
            <a:off x="7768573" y="1338587"/>
            <a:ext cx="396228" cy="396228"/>
            <a:chOff x="1016000" y="1016000"/>
            <a:chExt cx="396228" cy="396228"/>
          </a:xfrm>
        </p:grpSpPr>
        <p:sp>
          <p:nvSpPr>
            <p:cNvPr id="52" name="Oval 51">
              <a:extLst>
                <a:ext uri="{FF2B5EF4-FFF2-40B4-BE49-F238E27FC236}">
                  <a16:creationId xmlns:a16="http://schemas.microsoft.com/office/drawing/2014/main" id="{9A3F3514-DD1A-E275-3CBF-AC73F07BC878}"/>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55" name="Graphic 54">
              <a:extLst>
                <a:ext uri="{FF2B5EF4-FFF2-40B4-BE49-F238E27FC236}">
                  <a16:creationId xmlns:a16="http://schemas.microsoft.com/office/drawing/2014/main" id="{EAB503DE-C6CD-20CC-A655-6FE1A6738F4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23614" y="1023614"/>
              <a:ext cx="381000" cy="381000"/>
            </a:xfrm>
            <a:prstGeom prst="rect">
              <a:avLst/>
            </a:prstGeom>
          </p:spPr>
        </p:pic>
      </p:grpSp>
    </p:spTree>
    <p:extLst>
      <p:ext uri="{BB962C8B-B14F-4D97-AF65-F5344CB8AC3E}">
        <p14:creationId xmlns:p14="http://schemas.microsoft.com/office/powerpoint/2010/main" val="28688088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86" name="Object 2" hidden="1">
            <a:extLst>
              <a:ext uri="{FF2B5EF4-FFF2-40B4-BE49-F238E27FC236}">
                <a16:creationId xmlns:a16="http://schemas.microsoft.com/office/drawing/2014/main" id="{9162C2E7-0478-32DB-6B9F-EFFDAB70766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395" imgH="396" progId="TCLayout.ActiveDocument.1">
                  <p:embed/>
                </p:oleObj>
              </mc:Choice>
              <mc:Fallback>
                <p:oleObj name="think-cell Slide" r:id="rId29" imgW="395" imgH="396" progId="TCLayout.ActiveDocument.1">
                  <p:embed/>
                  <p:pic>
                    <p:nvPicPr>
                      <p:cNvPr id="2086" name="Object 2" hidden="1">
                        <a:extLst>
                          <a:ext uri="{FF2B5EF4-FFF2-40B4-BE49-F238E27FC236}">
                            <a16:creationId xmlns:a16="http://schemas.microsoft.com/office/drawing/2014/main" id="{9162C2E7-0478-32DB-6B9F-EFFDAB707661}"/>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61" name="Rectangle 60">
            <a:extLst>
              <a:ext uri="{FF2B5EF4-FFF2-40B4-BE49-F238E27FC236}">
                <a16:creationId xmlns:a16="http://schemas.microsoft.com/office/drawing/2014/main" id="{F0E4F97B-64B4-D444-9E63-5101CE4F92CC}"/>
              </a:ext>
            </a:extLst>
          </p:cNvPr>
          <p:cNvSpPr/>
          <p:nvPr/>
        </p:nvSpPr>
        <p:spPr>
          <a:xfrm>
            <a:off x="262527" y="1066426"/>
            <a:ext cx="2462840" cy="534295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10" name="Rectangle: Diagonal Corners Rounded 9">
            <a:extLst>
              <a:ext uri="{FF2B5EF4-FFF2-40B4-BE49-F238E27FC236}">
                <a16:creationId xmlns:a16="http://schemas.microsoft.com/office/drawing/2014/main" id="{710CB0E9-6391-4B13-D5B5-CEB552CB7857}"/>
              </a:ext>
            </a:extLst>
          </p:cNvPr>
          <p:cNvSpPr/>
          <p:nvPr/>
        </p:nvSpPr>
        <p:spPr>
          <a:xfrm>
            <a:off x="8364551" y="1293211"/>
            <a:ext cx="3456669" cy="5116169"/>
          </a:xfrm>
          <a:prstGeom prst="round2DiagRect">
            <a:avLst>
              <a:gd name="adj1" fmla="val 5524"/>
              <a:gd name="adj2" fmla="val 0"/>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nvGrpSpPr>
          <p:cNvPr id="41" name="ChevronBlue 1036">
            <a:extLst>
              <a:ext uri="{FF2B5EF4-FFF2-40B4-BE49-F238E27FC236}">
                <a16:creationId xmlns:a16="http://schemas.microsoft.com/office/drawing/2014/main" id="{6643DC34-5852-5ECB-01AA-6B990EE31E2A}"/>
              </a:ext>
            </a:extLst>
          </p:cNvPr>
          <p:cNvGrpSpPr>
            <a:grpSpLocks noChangeAspect="1"/>
          </p:cNvGrpSpPr>
          <p:nvPr>
            <p:custDataLst>
              <p:tags r:id="rId2"/>
            </p:custDataLst>
          </p:nvPr>
        </p:nvGrpSpPr>
        <p:grpSpPr>
          <a:xfrm>
            <a:off x="2550719" y="1347965"/>
            <a:ext cx="282988" cy="282988"/>
            <a:chOff x="1016000" y="1016000"/>
            <a:chExt cx="396228" cy="396228"/>
          </a:xfrm>
          <a:solidFill>
            <a:schemeClr val="accent3"/>
          </a:solidFill>
        </p:grpSpPr>
        <p:sp>
          <p:nvSpPr>
            <p:cNvPr id="42" name="Oval 41">
              <a:extLst>
                <a:ext uri="{FF2B5EF4-FFF2-40B4-BE49-F238E27FC236}">
                  <a16:creationId xmlns:a16="http://schemas.microsoft.com/office/drawing/2014/main" id="{0D5739F6-9AB8-06B5-58AF-634B82186741}"/>
                </a:ext>
              </a:extLst>
            </p:cNvPr>
            <p:cNvSpPr/>
            <p:nvPr/>
          </p:nvSpPr>
          <p:spPr>
            <a:xfrm>
              <a:off x="1016000" y="1016000"/>
              <a:ext cx="396228" cy="396228"/>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pt-BR" sz="1600" dirty="0" err="1">
                <a:solidFill>
                  <a:schemeClr val="bg1"/>
                </a:solidFill>
              </a:endParaRPr>
            </a:p>
          </p:txBody>
        </p:sp>
        <p:pic>
          <p:nvPicPr>
            <p:cNvPr id="43" name="Graphic 42">
              <a:extLst>
                <a:ext uri="{FF2B5EF4-FFF2-40B4-BE49-F238E27FC236}">
                  <a16:creationId xmlns:a16="http://schemas.microsoft.com/office/drawing/2014/main" id="{BFF12AEC-EE29-CF47-F2F3-BF131835C80F}"/>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1023614" y="1023614"/>
              <a:ext cx="381000" cy="381000"/>
            </a:xfrm>
            <a:prstGeom prst="rect">
              <a:avLst/>
            </a:prstGeom>
          </p:spPr>
        </p:pic>
      </p:grpSp>
      <p:grpSp>
        <p:nvGrpSpPr>
          <p:cNvPr id="2069" name="Group 2068">
            <a:extLst>
              <a:ext uri="{FF2B5EF4-FFF2-40B4-BE49-F238E27FC236}">
                <a16:creationId xmlns:a16="http://schemas.microsoft.com/office/drawing/2014/main" id="{E4309B16-C5CF-6A43-9A12-8F906BDB9692}"/>
              </a:ext>
            </a:extLst>
          </p:cNvPr>
          <p:cNvGrpSpPr/>
          <p:nvPr/>
        </p:nvGrpSpPr>
        <p:grpSpPr>
          <a:xfrm>
            <a:off x="2947448" y="1777668"/>
            <a:ext cx="965993" cy="357285"/>
            <a:chOff x="2947448" y="1814265"/>
            <a:chExt cx="965993" cy="357285"/>
          </a:xfrm>
        </p:grpSpPr>
        <p:pic>
          <p:nvPicPr>
            <p:cNvPr id="25" name="Picture 8" descr="Anglo American Peru">
              <a:extLst>
                <a:ext uri="{FF2B5EF4-FFF2-40B4-BE49-F238E27FC236}">
                  <a16:creationId xmlns:a16="http://schemas.microsoft.com/office/drawing/2014/main" id="{384B5990-98E5-B65D-714D-28F6D88B5523}"/>
                </a:ext>
              </a:extLst>
            </p:cNvPr>
            <p:cNvPicPr>
              <a:picLocks noChangeAspect="1" noChangeArrowheads="1"/>
            </p:cNvPicPr>
            <p:nvPr/>
          </p:nvPicPr>
          <p:blipFill rotWithShape="1">
            <a:blip r:embed="rId33">
              <a:extLst>
                <a:ext uri="{28A0092B-C50C-407E-A947-70E740481C1C}">
                  <a14:useLocalDpi xmlns:a14="http://schemas.microsoft.com/office/drawing/2010/main" val="0"/>
                </a:ext>
              </a:extLst>
            </a:blip>
            <a:srcRect r="78501"/>
            <a:stretch/>
          </p:blipFill>
          <p:spPr bwMode="auto">
            <a:xfrm>
              <a:off x="2947448" y="1824863"/>
              <a:ext cx="287095" cy="298004"/>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8" descr="Anglo American Peru">
              <a:extLst>
                <a:ext uri="{FF2B5EF4-FFF2-40B4-BE49-F238E27FC236}">
                  <a16:creationId xmlns:a16="http://schemas.microsoft.com/office/drawing/2014/main" id="{CBC504DC-8E7F-20F6-1FE8-B6FFCE3EE67F}"/>
                </a:ext>
              </a:extLst>
            </p:cNvPr>
            <p:cNvPicPr>
              <a:picLocks noChangeAspect="1" noChangeArrowheads="1"/>
            </p:cNvPicPr>
            <p:nvPr/>
          </p:nvPicPr>
          <p:blipFill rotWithShape="1">
            <a:blip r:embed="rId33">
              <a:extLst>
                <a:ext uri="{28A0092B-C50C-407E-A947-70E740481C1C}">
                  <a14:useLocalDpi xmlns:a14="http://schemas.microsoft.com/office/drawing/2010/main" val="0"/>
                </a:ext>
              </a:extLst>
            </a:blip>
            <a:srcRect l="53046" t="26358"/>
            <a:stretch/>
          </p:blipFill>
          <p:spPr bwMode="auto">
            <a:xfrm>
              <a:off x="3286405" y="1952095"/>
              <a:ext cx="627036" cy="219455"/>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descr="Anglo American Peru">
              <a:extLst>
                <a:ext uri="{FF2B5EF4-FFF2-40B4-BE49-F238E27FC236}">
                  <a16:creationId xmlns:a16="http://schemas.microsoft.com/office/drawing/2014/main" id="{1D57A9C5-8B64-6CBB-D66C-32E0DBE7662C}"/>
                </a:ext>
              </a:extLst>
            </p:cNvPr>
            <p:cNvPicPr>
              <a:picLocks noChangeAspect="1" noChangeArrowheads="1"/>
            </p:cNvPicPr>
            <p:nvPr/>
          </p:nvPicPr>
          <p:blipFill rotWithShape="1">
            <a:blip r:embed="rId33">
              <a:extLst>
                <a:ext uri="{28A0092B-C50C-407E-A947-70E740481C1C}">
                  <a14:useLocalDpi xmlns:a14="http://schemas.microsoft.com/office/drawing/2010/main" val="0"/>
                </a:ext>
              </a:extLst>
            </a:blip>
            <a:srcRect l="23584" t="26358" r="46955" b="15234"/>
            <a:stretch/>
          </p:blipFill>
          <p:spPr bwMode="auto">
            <a:xfrm>
              <a:off x="3280482" y="1814265"/>
              <a:ext cx="393426" cy="174057"/>
            </a:xfrm>
            <a:prstGeom prst="rect">
              <a:avLst/>
            </a:prstGeom>
            <a:noFill/>
            <a:extLst>
              <a:ext uri="{909E8E84-426E-40DD-AFC4-6F175D3DCCD1}">
                <a14:hiddenFill xmlns:a14="http://schemas.microsoft.com/office/drawing/2010/main">
                  <a:solidFill>
                    <a:srgbClr val="FFFFFF"/>
                  </a:solidFill>
                </a14:hiddenFill>
              </a:ext>
            </a:extLst>
          </p:spPr>
        </p:pic>
      </p:grpSp>
      <p:pic>
        <p:nvPicPr>
          <p:cNvPr id="1028" name="Picture 4">
            <a:extLst>
              <a:ext uri="{FF2B5EF4-FFF2-40B4-BE49-F238E27FC236}">
                <a16:creationId xmlns:a16="http://schemas.microsoft.com/office/drawing/2014/main" id="{26CAA55A-B658-5F29-2127-7F2705596E7B}"/>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2947448" y="2924772"/>
            <a:ext cx="965993" cy="20904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Lundin Gold - Crunchbase Company Profile &amp; Funding">
            <a:extLst>
              <a:ext uri="{FF2B5EF4-FFF2-40B4-BE49-F238E27FC236}">
                <a16:creationId xmlns:a16="http://schemas.microsoft.com/office/drawing/2014/main" id="{84B2D999-0D75-EE3F-8935-4C359F619890}"/>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2927572" y="4424339"/>
            <a:ext cx="985869" cy="271499"/>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2">
            <a:extLst>
              <a:ext uri="{FF2B5EF4-FFF2-40B4-BE49-F238E27FC236}">
                <a16:creationId xmlns:a16="http://schemas.microsoft.com/office/drawing/2014/main" id="{7F21B93D-6C6D-B8CE-B94E-1D46073DFA23}"/>
              </a:ext>
            </a:extLst>
          </p:cNvPr>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2939552" y="4927443"/>
            <a:ext cx="973889" cy="264776"/>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GreyLineContentSeparatorDefault 1024">
            <a:extLst>
              <a:ext uri="{FF2B5EF4-FFF2-40B4-BE49-F238E27FC236}">
                <a16:creationId xmlns:a16="http://schemas.microsoft.com/office/drawing/2014/main" id="{28D260A1-EBBC-ABE2-55B7-11A4BF465996}"/>
              </a:ext>
            </a:extLst>
          </p:cNvPr>
          <p:cNvCxnSpPr>
            <a:cxnSpLocks/>
          </p:cNvCxnSpPr>
          <p:nvPr>
            <p:custDataLst>
              <p:tags r:id="rId3"/>
            </p:custDataLst>
          </p:nvPr>
        </p:nvCxnSpPr>
        <p:spPr>
          <a:xfrm>
            <a:off x="2874514" y="1501189"/>
            <a:ext cx="5319076" cy="0"/>
          </a:xfrm>
          <a:prstGeom prst="straightConnector1">
            <a:avLst/>
          </a:prstGeom>
          <a:ln w="1270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47" name="GreyLineContentSeparatorDefault 1024">
            <a:extLst>
              <a:ext uri="{FF2B5EF4-FFF2-40B4-BE49-F238E27FC236}">
                <a16:creationId xmlns:a16="http://schemas.microsoft.com/office/drawing/2014/main" id="{CA4F8C86-DDAE-BBC8-C409-ACDC7C7B77F6}"/>
              </a:ext>
            </a:extLst>
          </p:cNvPr>
          <p:cNvCxnSpPr>
            <a:cxnSpLocks/>
          </p:cNvCxnSpPr>
          <p:nvPr>
            <p:custDataLst>
              <p:tags r:id="rId4"/>
            </p:custDataLst>
          </p:nvPr>
        </p:nvCxnSpPr>
        <p:spPr>
          <a:xfrm>
            <a:off x="2939552" y="2747859"/>
            <a:ext cx="5254038" cy="0"/>
          </a:xfrm>
          <a:prstGeom prst="straightConnector1">
            <a:avLst/>
          </a:prstGeom>
          <a:ln w="6350" cap="flat">
            <a:solidFill>
              <a:srgbClr val="757575"/>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1048" name="GreyLineContentSeparatorDefault 1024">
            <a:extLst>
              <a:ext uri="{FF2B5EF4-FFF2-40B4-BE49-F238E27FC236}">
                <a16:creationId xmlns:a16="http://schemas.microsoft.com/office/drawing/2014/main" id="{F2FE2EF7-FC16-903E-402C-2CDA12004973}"/>
              </a:ext>
            </a:extLst>
          </p:cNvPr>
          <p:cNvCxnSpPr>
            <a:cxnSpLocks/>
          </p:cNvCxnSpPr>
          <p:nvPr>
            <p:custDataLst>
              <p:tags r:id="rId5"/>
            </p:custDataLst>
          </p:nvPr>
        </p:nvCxnSpPr>
        <p:spPr>
          <a:xfrm>
            <a:off x="2939552" y="4809960"/>
            <a:ext cx="5254038" cy="0"/>
          </a:xfrm>
          <a:prstGeom prst="straightConnector1">
            <a:avLst/>
          </a:prstGeom>
          <a:ln w="6350" cap="flat">
            <a:solidFill>
              <a:srgbClr val="757575"/>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1049" name="GreyLineContentSeparatorDefault 1024">
            <a:extLst>
              <a:ext uri="{FF2B5EF4-FFF2-40B4-BE49-F238E27FC236}">
                <a16:creationId xmlns:a16="http://schemas.microsoft.com/office/drawing/2014/main" id="{CA108F37-146C-B27B-B048-88047CCB5F3A}"/>
              </a:ext>
            </a:extLst>
          </p:cNvPr>
          <p:cNvCxnSpPr>
            <a:cxnSpLocks/>
          </p:cNvCxnSpPr>
          <p:nvPr>
            <p:custDataLst>
              <p:tags r:id="rId6"/>
            </p:custDataLst>
          </p:nvPr>
        </p:nvCxnSpPr>
        <p:spPr>
          <a:xfrm>
            <a:off x="2939552" y="3310731"/>
            <a:ext cx="5254038" cy="0"/>
          </a:xfrm>
          <a:prstGeom prst="straightConnector1">
            <a:avLst/>
          </a:prstGeom>
          <a:ln w="6350" cap="flat">
            <a:solidFill>
              <a:srgbClr val="757575"/>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35" name="GreyLineContentSeparatorDefault 1024">
            <a:extLst>
              <a:ext uri="{FF2B5EF4-FFF2-40B4-BE49-F238E27FC236}">
                <a16:creationId xmlns:a16="http://schemas.microsoft.com/office/drawing/2014/main" id="{AC8B7557-3D41-CA40-F33B-C50D8DA44692}"/>
              </a:ext>
            </a:extLst>
          </p:cNvPr>
          <p:cNvCxnSpPr>
            <a:cxnSpLocks/>
          </p:cNvCxnSpPr>
          <p:nvPr>
            <p:custDataLst>
              <p:tags r:id="rId7"/>
            </p:custDataLst>
          </p:nvPr>
        </p:nvCxnSpPr>
        <p:spPr>
          <a:xfrm>
            <a:off x="2939552" y="4310217"/>
            <a:ext cx="5254038" cy="0"/>
          </a:xfrm>
          <a:prstGeom prst="straightConnector1">
            <a:avLst/>
          </a:prstGeom>
          <a:ln w="6350" cap="flat">
            <a:solidFill>
              <a:srgbClr val="757575"/>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49" name="GreyLineContentSeparatorDefault 1024">
            <a:extLst>
              <a:ext uri="{FF2B5EF4-FFF2-40B4-BE49-F238E27FC236}">
                <a16:creationId xmlns:a16="http://schemas.microsoft.com/office/drawing/2014/main" id="{7E1A704B-226B-FF4C-5134-51DB99292218}"/>
              </a:ext>
            </a:extLst>
          </p:cNvPr>
          <p:cNvCxnSpPr>
            <a:cxnSpLocks/>
          </p:cNvCxnSpPr>
          <p:nvPr>
            <p:custDataLst>
              <p:tags r:id="rId8"/>
            </p:custDataLst>
          </p:nvPr>
        </p:nvCxnSpPr>
        <p:spPr>
          <a:xfrm>
            <a:off x="2939552" y="3810474"/>
            <a:ext cx="5254038" cy="0"/>
          </a:xfrm>
          <a:prstGeom prst="straightConnector1">
            <a:avLst/>
          </a:prstGeom>
          <a:ln w="6350" cap="flat">
            <a:solidFill>
              <a:srgbClr val="757575"/>
            </a:solidFill>
            <a:prstDash val="solid"/>
            <a:miter lim="800000"/>
            <a:tailEnd type="non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1B13B0BD-0D66-6AA0-40E7-671EC7A2438E}"/>
              </a:ext>
            </a:extLst>
          </p:cNvPr>
          <p:cNvGrpSpPr/>
          <p:nvPr/>
        </p:nvGrpSpPr>
        <p:grpSpPr>
          <a:xfrm>
            <a:off x="2939551" y="3380797"/>
            <a:ext cx="956532" cy="359611"/>
            <a:chOff x="2939551" y="3437515"/>
            <a:chExt cx="956532" cy="359611"/>
          </a:xfrm>
        </p:grpSpPr>
        <p:pic>
          <p:nvPicPr>
            <p:cNvPr id="1026" name="Picture 2" descr="Barrick Gold Corporation - Home">
              <a:extLst>
                <a:ext uri="{FF2B5EF4-FFF2-40B4-BE49-F238E27FC236}">
                  <a16:creationId xmlns:a16="http://schemas.microsoft.com/office/drawing/2014/main" id="{EA03CE27-8E03-3118-70BB-05968EC1FEDC}"/>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2939551" y="3437515"/>
              <a:ext cx="908728" cy="180662"/>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
              <a:extLst>
                <a:ext uri="{FF2B5EF4-FFF2-40B4-BE49-F238E27FC236}">
                  <a16:creationId xmlns:a16="http://schemas.microsoft.com/office/drawing/2014/main" id="{6C077EDB-AEFD-0A54-965B-5C5080271624}"/>
                </a:ext>
              </a:extLst>
            </p:cNvPr>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2952738" y="3644201"/>
              <a:ext cx="943345" cy="152925"/>
            </a:xfrm>
            <a:prstGeom prst="rect">
              <a:avLst/>
            </a:prstGeom>
            <a:noFill/>
            <a:extLst>
              <a:ext uri="{909E8E84-426E-40DD-AFC4-6F175D3DCCD1}">
                <a14:hiddenFill xmlns:a14="http://schemas.microsoft.com/office/drawing/2010/main">
                  <a:solidFill>
                    <a:srgbClr val="FFFFFF"/>
                  </a:solidFill>
                </a14:hiddenFill>
              </a:ext>
            </a:extLst>
          </p:spPr>
        </p:pic>
      </p:grpSp>
      <p:pic>
        <p:nvPicPr>
          <p:cNvPr id="54" name="Picture 4">
            <a:extLst>
              <a:ext uri="{FF2B5EF4-FFF2-40B4-BE49-F238E27FC236}">
                <a16:creationId xmlns:a16="http://schemas.microsoft.com/office/drawing/2014/main" id="{FA1811E0-9D01-293C-84AC-32F2A3388E2A}"/>
              </a:ext>
            </a:extLst>
          </p:cNvPr>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2948833" y="3983883"/>
            <a:ext cx="943345" cy="152925"/>
          </a:xfrm>
          <a:prstGeom prst="rect">
            <a:avLst/>
          </a:prstGeom>
          <a:noFill/>
          <a:extLst>
            <a:ext uri="{909E8E84-426E-40DD-AFC4-6F175D3DCCD1}">
              <a14:hiddenFill xmlns:a14="http://schemas.microsoft.com/office/drawing/2010/main">
                <a:solidFill>
                  <a:srgbClr val="FFFFFF"/>
                </a:solidFill>
              </a14:hiddenFill>
            </a:ext>
          </a:extLst>
        </p:spPr>
      </p:pic>
      <p:sp>
        <p:nvSpPr>
          <p:cNvPr id="19" name="5. Source">
            <a:extLst>
              <a:ext uri="{FF2B5EF4-FFF2-40B4-BE49-F238E27FC236}">
                <a16:creationId xmlns:a16="http://schemas.microsoft.com/office/drawing/2014/main" id="{1FCAE626-AA4E-39B6-2C3C-DE0A63A4E158}"/>
              </a:ext>
            </a:extLst>
          </p:cNvPr>
          <p:cNvSpPr txBox="1">
            <a:spLocks/>
          </p:cNvSpPr>
          <p:nvPr>
            <p:custDataLst>
              <p:tags r:id="rId9"/>
            </p:custDataLst>
          </p:nvPr>
        </p:nvSpPr>
        <p:spPr>
          <a:xfrm>
            <a:off x="262527" y="6587808"/>
            <a:ext cx="8921134"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s-E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None/>
              <a:tabLst/>
              <a:defRPr/>
            </a:pPr>
            <a:r>
              <a:rPr kumimoji="0" lang="en-US" sz="800" b="0" i="0" u="none" strike="noStrike" kern="1200" cap="none" spc="0" normalizeH="0" baseline="0" noProof="0" dirty="0">
                <a:ln>
                  <a:noFill/>
                </a:ln>
                <a:solidFill>
                  <a:srgbClr val="000000"/>
                </a:solidFill>
                <a:effectLst/>
                <a:uLnTx/>
                <a:uFillTx/>
              </a:rPr>
              <a:t>Source</a:t>
            </a:r>
            <a:r>
              <a:rPr kumimoji="0" lang="en-US" sz="800" b="0" i="0" u="none" strike="noStrike" kern="1200" cap="none" spc="0" normalizeH="0" baseline="0" noProof="0" dirty="0">
                <a:ln>
                  <a:noFill/>
                </a:ln>
                <a:effectLst/>
                <a:uLnTx/>
                <a:uFillTx/>
              </a:rPr>
              <a:t>: </a:t>
            </a:r>
            <a:r>
              <a:rPr lang="en-US" sz="800" dirty="0"/>
              <a:t>Bloomberg, Mining Technology, Reuters, Company websites, Financial Times</a:t>
            </a:r>
            <a:r>
              <a:rPr lang="pl-PL" sz="800" dirty="0"/>
              <a:t>, MineSpans</a:t>
            </a:r>
            <a:r>
              <a:rPr lang="es-PE" sz="800" dirty="0"/>
              <a:t> </a:t>
            </a:r>
            <a:r>
              <a:rPr lang="es-PE" sz="800" dirty="0" err="1"/>
              <a:t>by</a:t>
            </a:r>
            <a:r>
              <a:rPr lang="es-PE" sz="800" dirty="0"/>
              <a:t> McKinsey</a:t>
            </a:r>
            <a:endParaRPr kumimoji="0" lang="en-US" sz="800" b="0" i="0" u="none" strike="noStrike" kern="1200" cap="none" spc="0" normalizeH="0" baseline="0" noProof="0" dirty="0">
              <a:ln>
                <a:noFill/>
              </a:ln>
              <a:effectLst/>
              <a:uLnTx/>
              <a:uFillTx/>
            </a:endParaRPr>
          </a:p>
        </p:txBody>
      </p:sp>
      <p:sp>
        <p:nvSpPr>
          <p:cNvPr id="20" name="2. Slide Title">
            <a:extLst>
              <a:ext uri="{FF2B5EF4-FFF2-40B4-BE49-F238E27FC236}">
                <a16:creationId xmlns:a16="http://schemas.microsoft.com/office/drawing/2014/main" id="{2C4D4A7E-C83D-6F8B-F8AB-19390C5D7071}"/>
              </a:ext>
            </a:extLst>
          </p:cNvPr>
          <p:cNvSpPr txBox="1">
            <a:spLocks noChangeArrowheads="1"/>
          </p:cNvSpPr>
          <p:nvPr>
            <p:custDataLst>
              <p:tags r:id="rId10"/>
            </p:custDataLst>
          </p:nvPr>
        </p:nvSpPr>
        <p:spPr>
          <a:xfrm>
            <a:off x="262527" y="225013"/>
            <a:ext cx="8921134" cy="75713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ctr" anchorCtr="0">
            <a:spAutoFit/>
          </a:bodyPr>
          <a:lstStyle>
            <a:lvl1pPr algn="l" defTabSz="914400" rtl="0" eaLnBrk="1" latinLnBrk="0" hangingPunct="1">
              <a:lnSpc>
                <a:spcPct val="90000"/>
              </a:lnSpc>
              <a:spcBef>
                <a:spcPct val="0"/>
              </a:spcBef>
              <a:buNone/>
              <a:defRPr sz="3200" b="1" i="0" kern="1200">
                <a:solidFill>
                  <a:srgbClr val="002060"/>
                </a:solidFill>
                <a:latin typeface="Calibri" panose="020F0502020204030204" pitchFamily="34" charset="0"/>
                <a:ea typeface="+mj-ea"/>
                <a:cs typeface="Calibri" panose="020F0502020204030204" pitchFamily="34" charset="0"/>
              </a:defRPr>
            </a:lvl1pPr>
          </a:lstStyle>
          <a:p>
            <a:r>
              <a:rPr lang="en-US" sz="2400" dirty="0"/>
              <a:t>Due to its attractiveness, many top mining players have set up operations and continue their interest in the region</a:t>
            </a:r>
          </a:p>
        </p:txBody>
      </p:sp>
      <p:sp>
        <p:nvSpPr>
          <p:cNvPr id="60" name="TextBox 59">
            <a:extLst>
              <a:ext uri="{FF2B5EF4-FFF2-40B4-BE49-F238E27FC236}">
                <a16:creationId xmlns:a16="http://schemas.microsoft.com/office/drawing/2014/main" id="{1D1AFFF9-B3E1-0713-F0BD-2789D7A239F0}"/>
              </a:ext>
            </a:extLst>
          </p:cNvPr>
          <p:cNvSpPr txBox="1"/>
          <p:nvPr/>
        </p:nvSpPr>
        <p:spPr>
          <a:xfrm>
            <a:off x="2939551" y="1265167"/>
            <a:ext cx="5297113" cy="221599"/>
          </a:xfrm>
          <a:prstGeom prst="rect">
            <a:avLst/>
          </a:prstGeom>
        </p:spPr>
        <p:txBody>
          <a:bodyPr vert="horz" wrap="square" lIns="0" tIns="0" rIns="0" bIns="0" rtlCol="0" anchor="b"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s-CO" sz="1600" b="1" dirty="0">
                <a:cs typeface="Arial" panose="020B0604020202020204" pitchFamily="34" charset="0"/>
              </a:rPr>
              <a:t>Key </a:t>
            </a:r>
            <a:r>
              <a:rPr lang="es-CO" sz="1600" b="1" dirty="0" err="1">
                <a:cs typeface="Arial" panose="020B0604020202020204" pitchFamily="34" charset="0"/>
              </a:rPr>
              <a:t>mining</a:t>
            </a:r>
            <a:r>
              <a:rPr lang="es-CO" sz="1600" b="1" dirty="0">
                <a:cs typeface="Arial" panose="020B0604020202020204" pitchFamily="34" charset="0"/>
              </a:rPr>
              <a:t> </a:t>
            </a:r>
            <a:r>
              <a:rPr lang="es-CO" sz="1600" b="1" dirty="0" err="1">
                <a:cs typeface="Arial" panose="020B0604020202020204" pitchFamily="34" charset="0"/>
              </a:rPr>
              <a:t>investments</a:t>
            </a:r>
            <a:endParaRPr lang="es-CO" sz="1600" b="1" dirty="0">
              <a:cs typeface="Arial" panose="020B0604020202020204" pitchFamily="34" charset="0"/>
            </a:endParaRPr>
          </a:p>
        </p:txBody>
      </p:sp>
      <p:grpSp>
        <p:nvGrpSpPr>
          <p:cNvPr id="2091" name="Group 2090">
            <a:extLst>
              <a:ext uri="{FF2B5EF4-FFF2-40B4-BE49-F238E27FC236}">
                <a16:creationId xmlns:a16="http://schemas.microsoft.com/office/drawing/2014/main" id="{48A61378-4985-4BE9-1A10-8BAEDA5CBC5C}"/>
              </a:ext>
            </a:extLst>
          </p:cNvPr>
          <p:cNvGrpSpPr/>
          <p:nvPr/>
        </p:nvGrpSpPr>
        <p:grpSpPr>
          <a:xfrm>
            <a:off x="8505553" y="2829834"/>
            <a:ext cx="3185985" cy="1993366"/>
            <a:chOff x="8613806" y="2917591"/>
            <a:chExt cx="3185985" cy="1993366"/>
          </a:xfrm>
        </p:grpSpPr>
        <p:grpSp>
          <p:nvGrpSpPr>
            <p:cNvPr id="2066" name="QuotationMarksBlue 42">
              <a:extLst>
                <a:ext uri="{FF2B5EF4-FFF2-40B4-BE49-F238E27FC236}">
                  <a16:creationId xmlns:a16="http://schemas.microsoft.com/office/drawing/2014/main" id="{991E9AF2-EB9C-9C9D-678E-B3B74422E3F5}"/>
                </a:ext>
              </a:extLst>
            </p:cNvPr>
            <p:cNvGrpSpPr>
              <a:grpSpLocks noChangeAspect="1"/>
            </p:cNvGrpSpPr>
            <p:nvPr>
              <p:custDataLst>
                <p:tags r:id="rId26"/>
              </p:custDataLst>
            </p:nvPr>
          </p:nvGrpSpPr>
          <p:grpSpPr>
            <a:xfrm>
              <a:off x="8613806" y="2917591"/>
              <a:ext cx="308267" cy="308267"/>
              <a:chOff x="1016000" y="1016000"/>
              <a:chExt cx="396228" cy="396228"/>
            </a:xfrm>
          </p:grpSpPr>
          <p:sp>
            <p:nvSpPr>
              <p:cNvPr id="2067" name="Oval 2066">
                <a:extLst>
                  <a:ext uri="{FF2B5EF4-FFF2-40B4-BE49-F238E27FC236}">
                    <a16:creationId xmlns:a16="http://schemas.microsoft.com/office/drawing/2014/main" id="{872AB652-8C2C-6F10-1AA4-8F20168081DE}"/>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pt-BR" sz="1600" dirty="0" err="1">
                  <a:solidFill>
                    <a:schemeClr val="bg1"/>
                  </a:solidFill>
                </a:endParaRPr>
              </a:p>
            </p:txBody>
          </p:sp>
          <p:pic>
            <p:nvPicPr>
              <p:cNvPr id="2068" name="Graphic 2067">
                <a:extLst>
                  <a:ext uri="{FF2B5EF4-FFF2-40B4-BE49-F238E27FC236}">
                    <a16:creationId xmlns:a16="http://schemas.microsoft.com/office/drawing/2014/main" id="{7E9F1C48-40E3-DC02-4CC9-A7B7DC35E420}"/>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1023614" y="1023614"/>
                <a:ext cx="381000" cy="381000"/>
              </a:xfrm>
              <a:prstGeom prst="rect">
                <a:avLst/>
              </a:prstGeom>
            </p:spPr>
          </p:pic>
        </p:grpSp>
        <p:sp>
          <p:nvSpPr>
            <p:cNvPr id="1058" name="TextBox 1057">
              <a:extLst>
                <a:ext uri="{FF2B5EF4-FFF2-40B4-BE49-F238E27FC236}">
                  <a16:creationId xmlns:a16="http://schemas.microsoft.com/office/drawing/2014/main" id="{07A4440E-5E4E-F333-01A2-25A496990443}"/>
                </a:ext>
              </a:extLst>
            </p:cNvPr>
            <p:cNvSpPr txBox="1">
              <a:spLocks/>
            </p:cNvSpPr>
            <p:nvPr/>
          </p:nvSpPr>
          <p:spPr>
            <a:xfrm>
              <a:off x="9071220" y="2917591"/>
              <a:ext cx="2728571" cy="1993366"/>
            </a:xfrm>
            <a:prstGeom prst="rect">
              <a:avLst/>
            </a:prstGeom>
          </p:spPr>
          <p:txBody>
            <a:bodyPr vert="horz" wrap="square" lIns="91440" tIns="45720" rIns="91440" bIns="4572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600" dirty="0"/>
                <a:t>“[</a:t>
              </a:r>
              <a:r>
                <a:rPr lang="en-US" sz="1600" dirty="0" err="1"/>
                <a:t>LatAm</a:t>
              </a:r>
              <a:r>
                <a:rPr lang="en-US" sz="1600" dirty="0"/>
                <a:t>] countries and companies are </a:t>
              </a:r>
              <a:r>
                <a:rPr lang="en-US" sz="1600" b="1" dirty="0"/>
                <a:t>promoting resilience, security and safety </a:t>
              </a:r>
              <a:r>
                <a:rPr lang="en-US" sz="1600" dirty="0"/>
                <a:t>over price and efficiency for the first time in over 30 years, this is good for Latin America”</a:t>
              </a:r>
            </a:p>
            <a:p>
              <a:pPr marL="0" indent="0">
                <a:buNone/>
              </a:pPr>
              <a:r>
                <a:rPr lang="en-US" sz="1600" dirty="0"/>
                <a:t>- CIO, UBS Wealth </a:t>
              </a:r>
              <a:r>
                <a:rPr lang="en-US" sz="1600" dirty="0" err="1"/>
                <a:t>Mngmt</a:t>
              </a:r>
              <a:r>
                <a:rPr lang="en-US" sz="1600" dirty="0"/>
                <a:t>, 2023</a:t>
              </a:r>
              <a:endParaRPr lang="es-CO" sz="1600" dirty="0"/>
            </a:p>
          </p:txBody>
        </p:sp>
      </p:grpSp>
      <p:grpSp>
        <p:nvGrpSpPr>
          <p:cNvPr id="2090" name="Group 2089">
            <a:extLst>
              <a:ext uri="{FF2B5EF4-FFF2-40B4-BE49-F238E27FC236}">
                <a16:creationId xmlns:a16="http://schemas.microsoft.com/office/drawing/2014/main" id="{93B462F4-69AF-EE66-C173-F07E4E1BFB05}"/>
              </a:ext>
            </a:extLst>
          </p:cNvPr>
          <p:cNvGrpSpPr/>
          <p:nvPr/>
        </p:nvGrpSpPr>
        <p:grpSpPr>
          <a:xfrm>
            <a:off x="8505553" y="1447772"/>
            <a:ext cx="3185984" cy="1106970"/>
            <a:chOff x="8613806" y="1709490"/>
            <a:chExt cx="3185984" cy="1106970"/>
          </a:xfrm>
        </p:grpSpPr>
        <p:grpSp>
          <p:nvGrpSpPr>
            <p:cNvPr id="2072" name="QuotationMarksBlue 42">
              <a:extLst>
                <a:ext uri="{FF2B5EF4-FFF2-40B4-BE49-F238E27FC236}">
                  <a16:creationId xmlns:a16="http://schemas.microsoft.com/office/drawing/2014/main" id="{1479B210-4925-C4BD-26D9-196E824067AE}"/>
                </a:ext>
              </a:extLst>
            </p:cNvPr>
            <p:cNvGrpSpPr>
              <a:grpSpLocks noChangeAspect="1"/>
            </p:cNvGrpSpPr>
            <p:nvPr>
              <p:custDataLst>
                <p:tags r:id="rId25"/>
              </p:custDataLst>
            </p:nvPr>
          </p:nvGrpSpPr>
          <p:grpSpPr>
            <a:xfrm>
              <a:off x="8613806" y="1709490"/>
              <a:ext cx="308267" cy="308267"/>
              <a:chOff x="1016001" y="1016001"/>
              <a:chExt cx="396228" cy="396228"/>
            </a:xfrm>
          </p:grpSpPr>
          <p:sp>
            <p:nvSpPr>
              <p:cNvPr id="2073" name="Oval 2072">
                <a:extLst>
                  <a:ext uri="{FF2B5EF4-FFF2-40B4-BE49-F238E27FC236}">
                    <a16:creationId xmlns:a16="http://schemas.microsoft.com/office/drawing/2014/main" id="{4903CA01-C9B4-B740-5F88-59EF1175F36B}"/>
                  </a:ext>
                </a:extLst>
              </p:cNvPr>
              <p:cNvSpPr/>
              <p:nvPr/>
            </p:nvSpPr>
            <p:spPr>
              <a:xfrm>
                <a:off x="1016001" y="1016001"/>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pt-BR" sz="1600" dirty="0" err="1">
                  <a:solidFill>
                    <a:schemeClr val="bg1"/>
                  </a:solidFill>
                </a:endParaRPr>
              </a:p>
            </p:txBody>
          </p:sp>
          <p:pic>
            <p:nvPicPr>
              <p:cNvPr id="2074" name="Graphic 2073">
                <a:extLst>
                  <a:ext uri="{FF2B5EF4-FFF2-40B4-BE49-F238E27FC236}">
                    <a16:creationId xmlns:a16="http://schemas.microsoft.com/office/drawing/2014/main" id="{3995CB52-397C-5F02-762C-1744873B245D}"/>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1023614" y="1023614"/>
                <a:ext cx="381001" cy="381001"/>
              </a:xfrm>
              <a:prstGeom prst="rect">
                <a:avLst/>
              </a:prstGeom>
            </p:spPr>
          </p:pic>
        </p:grpSp>
        <p:sp>
          <p:nvSpPr>
            <p:cNvPr id="1060" name="TextBox 1059">
              <a:extLst>
                <a:ext uri="{FF2B5EF4-FFF2-40B4-BE49-F238E27FC236}">
                  <a16:creationId xmlns:a16="http://schemas.microsoft.com/office/drawing/2014/main" id="{48F2F43E-A413-D36D-A6DC-9DE0903A1A43}"/>
                </a:ext>
              </a:extLst>
            </p:cNvPr>
            <p:cNvSpPr txBox="1">
              <a:spLocks/>
            </p:cNvSpPr>
            <p:nvPr/>
          </p:nvSpPr>
          <p:spPr>
            <a:xfrm>
              <a:off x="9071219" y="1709490"/>
              <a:ext cx="2728571" cy="1106970"/>
            </a:xfrm>
            <a:prstGeom prst="rect">
              <a:avLst/>
            </a:prstGeom>
          </p:spPr>
          <p:txBody>
            <a:bodyPr vert="horz" wrap="square" lIns="91440" tIns="45720" rIns="91440" bIns="4572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600" dirty="0"/>
                <a:t>“Mining companies </a:t>
              </a:r>
              <a:r>
                <a:rPr lang="en-US" sz="1600" b="1" dirty="0"/>
                <a:t>are increasing their interest </a:t>
              </a:r>
              <a:r>
                <a:rPr lang="en-US" sz="1600" dirty="0"/>
                <a:t>in projects in Latin America”</a:t>
              </a:r>
            </a:p>
            <a:p>
              <a:pPr marL="0" indent="0">
                <a:buNone/>
              </a:pPr>
              <a:r>
                <a:rPr lang="en-US" sz="1600" dirty="0"/>
                <a:t>- Bloomberg, 2023</a:t>
              </a:r>
            </a:p>
          </p:txBody>
        </p:sp>
      </p:grpSp>
      <p:grpSp>
        <p:nvGrpSpPr>
          <p:cNvPr id="2092" name="Group 2091">
            <a:extLst>
              <a:ext uri="{FF2B5EF4-FFF2-40B4-BE49-F238E27FC236}">
                <a16:creationId xmlns:a16="http://schemas.microsoft.com/office/drawing/2014/main" id="{95281547-5E42-6DCF-524C-AD14F655E615}"/>
              </a:ext>
            </a:extLst>
          </p:cNvPr>
          <p:cNvGrpSpPr/>
          <p:nvPr/>
        </p:nvGrpSpPr>
        <p:grpSpPr>
          <a:xfrm>
            <a:off x="8505554" y="5098291"/>
            <a:ext cx="3185985" cy="1106970"/>
            <a:chOff x="8613807" y="4952027"/>
            <a:chExt cx="3185985" cy="1106970"/>
          </a:xfrm>
        </p:grpSpPr>
        <p:grpSp>
          <p:nvGrpSpPr>
            <p:cNvPr id="21" name="QuotationMarksBlue 42">
              <a:extLst>
                <a:ext uri="{FF2B5EF4-FFF2-40B4-BE49-F238E27FC236}">
                  <a16:creationId xmlns:a16="http://schemas.microsoft.com/office/drawing/2014/main" id="{72BC67E4-38C9-8E80-3385-E0085F909BB3}"/>
                </a:ext>
              </a:extLst>
            </p:cNvPr>
            <p:cNvGrpSpPr>
              <a:grpSpLocks noChangeAspect="1"/>
            </p:cNvGrpSpPr>
            <p:nvPr>
              <p:custDataLst>
                <p:tags r:id="rId24"/>
              </p:custDataLst>
            </p:nvPr>
          </p:nvGrpSpPr>
          <p:grpSpPr>
            <a:xfrm>
              <a:off x="8613807" y="4952027"/>
              <a:ext cx="308267" cy="308267"/>
              <a:chOff x="1016000" y="1016000"/>
              <a:chExt cx="396228" cy="396228"/>
            </a:xfrm>
          </p:grpSpPr>
          <p:sp>
            <p:nvSpPr>
              <p:cNvPr id="22" name="Oval 21">
                <a:extLst>
                  <a:ext uri="{FF2B5EF4-FFF2-40B4-BE49-F238E27FC236}">
                    <a16:creationId xmlns:a16="http://schemas.microsoft.com/office/drawing/2014/main" id="{94512CBB-1ECD-E7A9-0A2C-70CA2B752D67}"/>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pt-BR" sz="1600" dirty="0" err="1">
                  <a:solidFill>
                    <a:schemeClr val="bg1"/>
                  </a:solidFill>
                </a:endParaRPr>
              </a:p>
            </p:txBody>
          </p:sp>
          <p:pic>
            <p:nvPicPr>
              <p:cNvPr id="23" name="Graphic 22">
                <a:extLst>
                  <a:ext uri="{FF2B5EF4-FFF2-40B4-BE49-F238E27FC236}">
                    <a16:creationId xmlns:a16="http://schemas.microsoft.com/office/drawing/2014/main" id="{E409B08D-1280-43F1-9C48-482A265FE73E}"/>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1023614" y="1023614"/>
                <a:ext cx="381000" cy="381000"/>
              </a:xfrm>
              <a:prstGeom prst="rect">
                <a:avLst/>
              </a:prstGeom>
            </p:spPr>
          </p:pic>
        </p:grpSp>
        <p:sp>
          <p:nvSpPr>
            <p:cNvPr id="1061" name="TextBox 1060">
              <a:extLst>
                <a:ext uri="{FF2B5EF4-FFF2-40B4-BE49-F238E27FC236}">
                  <a16:creationId xmlns:a16="http://schemas.microsoft.com/office/drawing/2014/main" id="{EA185766-F5A9-1365-A0EF-B9E34D007F26}"/>
                </a:ext>
              </a:extLst>
            </p:cNvPr>
            <p:cNvSpPr txBox="1">
              <a:spLocks/>
            </p:cNvSpPr>
            <p:nvPr/>
          </p:nvSpPr>
          <p:spPr>
            <a:xfrm>
              <a:off x="9071221" y="4952027"/>
              <a:ext cx="2728571" cy="1106970"/>
            </a:xfrm>
            <a:prstGeom prst="rect">
              <a:avLst/>
            </a:prstGeom>
          </p:spPr>
          <p:txBody>
            <a:bodyPr vert="horz" wrap="square" lIns="91440" tIns="45720" rIns="91440" bIns="4572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600" dirty="0"/>
                <a:t>“Latin America </a:t>
              </a:r>
              <a:r>
                <a:rPr lang="en-US" sz="1600" b="1" dirty="0"/>
                <a:t>is a great candidate</a:t>
              </a:r>
              <a:r>
                <a:rPr lang="en-US" sz="1600" dirty="0"/>
                <a:t> to receive [mining] investments”</a:t>
              </a:r>
            </a:p>
            <a:p>
              <a:pPr marL="0" indent="0">
                <a:buNone/>
              </a:pPr>
              <a:r>
                <a:rPr lang="en-US" sz="1600" dirty="0"/>
                <a:t>- CEO, Sigma Lithium, 2023</a:t>
              </a:r>
            </a:p>
          </p:txBody>
        </p:sp>
      </p:grpSp>
      <p:pic>
        <p:nvPicPr>
          <p:cNvPr id="26" name="Picture 25">
            <a:extLst>
              <a:ext uri="{FF2B5EF4-FFF2-40B4-BE49-F238E27FC236}">
                <a16:creationId xmlns:a16="http://schemas.microsoft.com/office/drawing/2014/main" id="{94124BF6-79FE-8455-8D75-4DE9ED2D49A2}"/>
              </a:ext>
            </a:extLst>
          </p:cNvPr>
          <p:cNvPicPr>
            <a:picLocks/>
          </p:cNvPicPr>
          <p:nvPr/>
        </p:nvPicPr>
        <p:blipFill>
          <a:blip r:embed="rId41"/>
          <a:stretch>
            <a:fillRect/>
          </a:stretch>
        </p:blipFill>
        <p:spPr>
          <a:xfrm>
            <a:off x="4171392" y="1789697"/>
            <a:ext cx="499841" cy="333227"/>
          </a:xfrm>
          <a:prstGeom prst="rect">
            <a:avLst/>
          </a:prstGeom>
          <a:ln w="6350">
            <a:solidFill>
              <a:srgbClr val="CCCCCC"/>
            </a:solidFill>
          </a:ln>
        </p:spPr>
      </p:pic>
      <p:pic>
        <p:nvPicPr>
          <p:cNvPr id="29" name="Picture 28">
            <a:extLst>
              <a:ext uri="{FF2B5EF4-FFF2-40B4-BE49-F238E27FC236}">
                <a16:creationId xmlns:a16="http://schemas.microsoft.com/office/drawing/2014/main" id="{945976E7-D312-975A-4B59-EDDC1E56D16B}"/>
              </a:ext>
            </a:extLst>
          </p:cNvPr>
          <p:cNvPicPr>
            <a:picLocks/>
          </p:cNvPicPr>
          <p:nvPr/>
        </p:nvPicPr>
        <p:blipFill>
          <a:blip r:embed="rId42"/>
          <a:stretch>
            <a:fillRect/>
          </a:stretch>
        </p:blipFill>
        <p:spPr>
          <a:xfrm>
            <a:off x="4171392" y="2317396"/>
            <a:ext cx="499841" cy="333227"/>
          </a:xfrm>
          <a:prstGeom prst="rect">
            <a:avLst/>
          </a:prstGeom>
          <a:ln w="6350">
            <a:solidFill>
              <a:srgbClr val="CCCCCC"/>
            </a:solidFill>
          </a:ln>
        </p:spPr>
      </p:pic>
      <p:pic>
        <p:nvPicPr>
          <p:cNvPr id="52" name="Picture 51">
            <a:extLst>
              <a:ext uri="{FF2B5EF4-FFF2-40B4-BE49-F238E27FC236}">
                <a16:creationId xmlns:a16="http://schemas.microsoft.com/office/drawing/2014/main" id="{F62B45C0-1ACE-5ADA-5072-D507DDC1C436}"/>
              </a:ext>
            </a:extLst>
          </p:cNvPr>
          <p:cNvPicPr>
            <a:picLocks/>
          </p:cNvPicPr>
          <p:nvPr/>
        </p:nvPicPr>
        <p:blipFill>
          <a:blip r:embed="rId43"/>
          <a:stretch>
            <a:fillRect/>
          </a:stretch>
        </p:blipFill>
        <p:spPr>
          <a:xfrm>
            <a:off x="4171392" y="2862682"/>
            <a:ext cx="499841" cy="333227"/>
          </a:xfrm>
          <a:prstGeom prst="rect">
            <a:avLst/>
          </a:prstGeom>
          <a:ln w="6350">
            <a:solidFill>
              <a:srgbClr val="CCCCCC"/>
            </a:solidFill>
          </a:ln>
        </p:spPr>
      </p:pic>
      <p:pic>
        <p:nvPicPr>
          <p:cNvPr id="1029" name="Picture 1028">
            <a:extLst>
              <a:ext uri="{FF2B5EF4-FFF2-40B4-BE49-F238E27FC236}">
                <a16:creationId xmlns:a16="http://schemas.microsoft.com/office/drawing/2014/main" id="{EA7593DC-278B-F9C1-3BE9-DC3D1A9A904E}"/>
              </a:ext>
            </a:extLst>
          </p:cNvPr>
          <p:cNvPicPr>
            <a:picLocks/>
          </p:cNvPicPr>
          <p:nvPr/>
        </p:nvPicPr>
        <p:blipFill>
          <a:blip r:embed="rId44"/>
          <a:stretch>
            <a:fillRect/>
          </a:stretch>
        </p:blipFill>
        <p:spPr>
          <a:xfrm>
            <a:off x="4171392" y="4393475"/>
            <a:ext cx="499841" cy="333227"/>
          </a:xfrm>
          <a:prstGeom prst="rect">
            <a:avLst/>
          </a:prstGeom>
          <a:ln w="6350">
            <a:solidFill>
              <a:srgbClr val="CCCCCC"/>
            </a:solidFill>
          </a:ln>
        </p:spPr>
      </p:pic>
      <p:pic>
        <p:nvPicPr>
          <p:cNvPr id="1037" name="Picture 1036">
            <a:extLst>
              <a:ext uri="{FF2B5EF4-FFF2-40B4-BE49-F238E27FC236}">
                <a16:creationId xmlns:a16="http://schemas.microsoft.com/office/drawing/2014/main" id="{FC3861E3-78A6-33B5-791F-8513E4BEDEEA}"/>
              </a:ext>
            </a:extLst>
          </p:cNvPr>
          <p:cNvPicPr>
            <a:picLocks/>
          </p:cNvPicPr>
          <p:nvPr/>
        </p:nvPicPr>
        <p:blipFill>
          <a:blip r:embed="rId45"/>
          <a:stretch>
            <a:fillRect/>
          </a:stretch>
        </p:blipFill>
        <p:spPr>
          <a:xfrm>
            <a:off x="4171392" y="4893218"/>
            <a:ext cx="499841" cy="333227"/>
          </a:xfrm>
          <a:prstGeom prst="rect">
            <a:avLst/>
          </a:prstGeom>
          <a:ln w="6350">
            <a:solidFill>
              <a:srgbClr val="CCCCCC"/>
            </a:solidFill>
          </a:ln>
        </p:spPr>
      </p:pic>
      <p:pic>
        <p:nvPicPr>
          <p:cNvPr id="1039" name="Picture 1038">
            <a:extLst>
              <a:ext uri="{FF2B5EF4-FFF2-40B4-BE49-F238E27FC236}">
                <a16:creationId xmlns:a16="http://schemas.microsoft.com/office/drawing/2014/main" id="{7B253795-8EFB-55B7-0B53-7C8190A1D9A5}"/>
              </a:ext>
            </a:extLst>
          </p:cNvPr>
          <p:cNvPicPr>
            <a:picLocks/>
          </p:cNvPicPr>
          <p:nvPr/>
        </p:nvPicPr>
        <p:blipFill>
          <a:blip r:embed="rId46"/>
          <a:stretch>
            <a:fillRect/>
          </a:stretch>
        </p:blipFill>
        <p:spPr>
          <a:xfrm>
            <a:off x="4171392" y="5892705"/>
            <a:ext cx="499841" cy="333227"/>
          </a:xfrm>
          <a:prstGeom prst="rect">
            <a:avLst/>
          </a:prstGeom>
          <a:ln w="6350">
            <a:solidFill>
              <a:srgbClr val="CCCCCC"/>
            </a:solidFill>
          </a:ln>
        </p:spPr>
      </p:pic>
      <p:pic>
        <p:nvPicPr>
          <p:cNvPr id="1041" name="Picture 1040">
            <a:extLst>
              <a:ext uri="{FF2B5EF4-FFF2-40B4-BE49-F238E27FC236}">
                <a16:creationId xmlns:a16="http://schemas.microsoft.com/office/drawing/2014/main" id="{C7342D2A-45B9-93DC-2865-18A08439996F}"/>
              </a:ext>
            </a:extLst>
          </p:cNvPr>
          <p:cNvPicPr>
            <a:picLocks/>
          </p:cNvPicPr>
          <p:nvPr/>
        </p:nvPicPr>
        <p:blipFill>
          <a:blip r:embed="rId47"/>
          <a:stretch>
            <a:fillRect/>
          </a:stretch>
        </p:blipFill>
        <p:spPr>
          <a:xfrm>
            <a:off x="4171392" y="5392961"/>
            <a:ext cx="499841" cy="333227"/>
          </a:xfrm>
          <a:prstGeom prst="rect">
            <a:avLst/>
          </a:prstGeom>
          <a:ln w="6350">
            <a:solidFill>
              <a:srgbClr val="CCCCCC"/>
            </a:solidFill>
          </a:ln>
        </p:spPr>
      </p:pic>
      <p:pic>
        <p:nvPicPr>
          <p:cNvPr id="57" name="Picture 56">
            <a:extLst>
              <a:ext uri="{FF2B5EF4-FFF2-40B4-BE49-F238E27FC236}">
                <a16:creationId xmlns:a16="http://schemas.microsoft.com/office/drawing/2014/main" id="{BA3E6A06-7CB1-B25E-0DC0-0BEC6F0B2602}"/>
              </a:ext>
            </a:extLst>
          </p:cNvPr>
          <p:cNvPicPr>
            <a:picLocks/>
          </p:cNvPicPr>
          <p:nvPr/>
        </p:nvPicPr>
        <p:blipFill>
          <a:blip r:embed="rId41"/>
          <a:stretch>
            <a:fillRect/>
          </a:stretch>
        </p:blipFill>
        <p:spPr>
          <a:xfrm>
            <a:off x="4171392" y="3893732"/>
            <a:ext cx="499841" cy="333227"/>
          </a:xfrm>
          <a:prstGeom prst="rect">
            <a:avLst/>
          </a:prstGeom>
          <a:ln w="6350">
            <a:solidFill>
              <a:srgbClr val="CCCCCC"/>
            </a:solidFill>
          </a:ln>
        </p:spPr>
      </p:pic>
      <p:pic>
        <p:nvPicPr>
          <p:cNvPr id="53" name="Picture 52">
            <a:extLst>
              <a:ext uri="{FF2B5EF4-FFF2-40B4-BE49-F238E27FC236}">
                <a16:creationId xmlns:a16="http://schemas.microsoft.com/office/drawing/2014/main" id="{24A5416E-B17A-EE1D-2F58-441E8BAA98B0}"/>
              </a:ext>
            </a:extLst>
          </p:cNvPr>
          <p:cNvPicPr>
            <a:picLocks/>
          </p:cNvPicPr>
          <p:nvPr/>
        </p:nvPicPr>
        <p:blipFill>
          <a:blip r:embed="rId48"/>
          <a:stretch>
            <a:fillRect/>
          </a:stretch>
        </p:blipFill>
        <p:spPr>
          <a:xfrm>
            <a:off x="4170390" y="3393989"/>
            <a:ext cx="499841" cy="333227"/>
          </a:xfrm>
          <a:prstGeom prst="rect">
            <a:avLst/>
          </a:prstGeom>
          <a:ln w="6350">
            <a:solidFill>
              <a:srgbClr val="CCCCCC"/>
            </a:solidFill>
          </a:ln>
        </p:spPr>
      </p:pic>
      <p:pic>
        <p:nvPicPr>
          <p:cNvPr id="30" name="Picture 22" descr="http://t0.gstatic.com/images?q=tbn:ANd9GcQ1QfwoJ94ToiLNL0BK83P4t11ZvnTCkCRSe6_c1EIfY-Uw3-9s">
            <a:extLst>
              <a:ext uri="{FF2B5EF4-FFF2-40B4-BE49-F238E27FC236}">
                <a16:creationId xmlns:a16="http://schemas.microsoft.com/office/drawing/2014/main" id="{6EE6BB22-9366-0FD9-B214-5CC7656F368C}"/>
              </a:ext>
            </a:extLst>
          </p:cNvPr>
          <p:cNvPicPr>
            <a:picLocks noChangeAspect="1" noChangeArrowheads="1"/>
          </p:cNvPicPr>
          <p:nvPr>
            <p:custDataLst>
              <p:tags r:id="rId11"/>
            </p:custDataLst>
          </p:nvPr>
        </p:nvPicPr>
        <p:blipFill>
          <a:blip r:embed="rId4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gray">
          <a:xfrm>
            <a:off x="4799121" y="1775719"/>
            <a:ext cx="459192" cy="361183"/>
          </a:xfrm>
          <a:prstGeom prst="rect">
            <a:avLst/>
          </a:prstGeom>
          <a:noFill/>
          <a:extLst>
            <a:ext uri="{909E8E84-426E-40DD-AFC4-6F175D3DCCD1}">
              <a14:hiddenFill xmlns:a14="http://schemas.microsoft.com/office/drawing/2010/main">
                <a:solidFill>
                  <a:srgbClr val="FFFFFF"/>
                </a:solidFill>
              </a14:hiddenFill>
            </a:ext>
          </a:extLst>
        </p:spPr>
      </p:pic>
      <p:sp>
        <p:nvSpPr>
          <p:cNvPr id="1062" name="TextBox 1061">
            <a:extLst>
              <a:ext uri="{FF2B5EF4-FFF2-40B4-BE49-F238E27FC236}">
                <a16:creationId xmlns:a16="http://schemas.microsoft.com/office/drawing/2014/main" id="{3D08EE05-1428-74DE-5E4B-36453F1E2CE7}"/>
              </a:ext>
            </a:extLst>
          </p:cNvPr>
          <p:cNvSpPr txBox="1">
            <a:spLocks/>
          </p:cNvSpPr>
          <p:nvPr/>
        </p:nvSpPr>
        <p:spPr>
          <a:xfrm>
            <a:off x="5502837" y="1845511"/>
            <a:ext cx="1579837" cy="221599"/>
          </a:xfrm>
          <a:prstGeom prst="rect">
            <a:avLst/>
          </a:prstGeom>
        </p:spPr>
        <p:txBody>
          <a:bodyPr vert="horz" wrap="square" lIns="0" tIns="0" rIns="0" bIns="0" rtlCol="0" anchor="t" anchorCtr="0">
            <a:no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s-CO" sz="1600" dirty="0" err="1">
                <a:cs typeface="Arial" panose="020B0604020202020204" pitchFamily="34" charset="0"/>
              </a:rPr>
              <a:t>Quellaveco</a:t>
            </a:r>
            <a:endParaRPr lang="es-CO" sz="1600" dirty="0">
              <a:cs typeface="Arial" panose="020B0604020202020204" pitchFamily="34" charset="0"/>
            </a:endParaRPr>
          </a:p>
        </p:txBody>
      </p:sp>
      <p:pic>
        <p:nvPicPr>
          <p:cNvPr id="31" name="Picture 22" descr="http://t0.gstatic.com/images?q=tbn:ANd9GcQ1QfwoJ94ToiLNL0BK83P4t11ZvnTCkCRSe6_c1EIfY-Uw3-9s">
            <a:extLst>
              <a:ext uri="{FF2B5EF4-FFF2-40B4-BE49-F238E27FC236}">
                <a16:creationId xmlns:a16="http://schemas.microsoft.com/office/drawing/2014/main" id="{CFF91474-1D86-6744-12A6-CBEF156AFC21}"/>
              </a:ext>
            </a:extLst>
          </p:cNvPr>
          <p:cNvPicPr>
            <a:picLocks noChangeAspect="1" noChangeArrowheads="1"/>
          </p:cNvPicPr>
          <p:nvPr>
            <p:custDataLst>
              <p:tags r:id="rId12"/>
            </p:custDataLst>
          </p:nvPr>
        </p:nvPicPr>
        <p:blipFill>
          <a:blip r:embed="rId4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gray">
          <a:xfrm>
            <a:off x="4799121" y="2303418"/>
            <a:ext cx="459192" cy="361183"/>
          </a:xfrm>
          <a:prstGeom prst="rect">
            <a:avLst/>
          </a:prstGeom>
          <a:noFill/>
          <a:extLst>
            <a:ext uri="{909E8E84-426E-40DD-AFC4-6F175D3DCCD1}">
              <a14:hiddenFill xmlns:a14="http://schemas.microsoft.com/office/drawing/2010/main">
                <a:solidFill>
                  <a:srgbClr val="FFFFFF"/>
                </a:solidFill>
              </a14:hiddenFill>
            </a:ext>
          </a:extLst>
        </p:spPr>
      </p:pic>
      <p:sp>
        <p:nvSpPr>
          <p:cNvPr id="1064" name="TextBox 1063">
            <a:extLst>
              <a:ext uri="{FF2B5EF4-FFF2-40B4-BE49-F238E27FC236}">
                <a16:creationId xmlns:a16="http://schemas.microsoft.com/office/drawing/2014/main" id="{4508EC01-1E61-F353-2096-88C7C3A6FBF6}"/>
              </a:ext>
            </a:extLst>
          </p:cNvPr>
          <p:cNvSpPr txBox="1">
            <a:spLocks/>
          </p:cNvSpPr>
          <p:nvPr/>
        </p:nvSpPr>
        <p:spPr>
          <a:xfrm>
            <a:off x="5502837" y="2373210"/>
            <a:ext cx="1579837" cy="221599"/>
          </a:xfrm>
          <a:prstGeom prst="rect">
            <a:avLst/>
          </a:prstGeom>
        </p:spPr>
        <p:txBody>
          <a:bodyPr vert="horz" wrap="square" lIns="0" tIns="0" rIns="0" bIns="0" rtlCol="0" anchor="t" anchorCtr="0">
            <a:no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s-CO" sz="1600" dirty="0">
                <a:cs typeface="Arial" panose="020B0604020202020204" pitchFamily="34" charset="0"/>
              </a:rPr>
              <a:t>Los Bronces </a:t>
            </a:r>
            <a:r>
              <a:rPr lang="es-CO" sz="1600" dirty="0" err="1">
                <a:cs typeface="Arial" panose="020B0604020202020204" pitchFamily="34" charset="0"/>
              </a:rPr>
              <a:t>exp</a:t>
            </a:r>
            <a:r>
              <a:rPr lang="es-CO" sz="1600" dirty="0">
                <a:cs typeface="Arial" panose="020B0604020202020204" pitchFamily="34" charset="0"/>
              </a:rPr>
              <a:t>.</a:t>
            </a:r>
          </a:p>
        </p:txBody>
      </p:sp>
      <p:pic>
        <p:nvPicPr>
          <p:cNvPr id="55" name="Picture 6" descr="40 Shiny Lithium Facts About the Lightest Metal to Exist - Facts.net">
            <a:extLst>
              <a:ext uri="{FF2B5EF4-FFF2-40B4-BE49-F238E27FC236}">
                <a16:creationId xmlns:a16="http://schemas.microsoft.com/office/drawing/2014/main" id="{9ABA8AD2-5CDC-038C-9457-1F6286923B0A}"/>
              </a:ext>
            </a:extLst>
          </p:cNvPr>
          <p:cNvPicPr>
            <a:picLocks noChangeAspect="1" noChangeArrowheads="1"/>
          </p:cNvPicPr>
          <p:nvPr/>
        </p:nvPicPr>
        <p:blipFill>
          <a:blip r:embed="rId50">
            <a:extLst>
              <a:ext uri="{BEBA8EAE-BF5A-486C-A8C5-ECC9F3942E4B}">
                <a14:imgProps xmlns:a14="http://schemas.microsoft.com/office/drawing/2010/main">
                  <a14:imgLayer r:embed="rId5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799121" y="2831117"/>
            <a:ext cx="595616" cy="396356"/>
          </a:xfrm>
          <a:prstGeom prst="rect">
            <a:avLst/>
          </a:prstGeom>
          <a:noFill/>
          <a:extLst>
            <a:ext uri="{909E8E84-426E-40DD-AFC4-6F175D3DCCD1}">
              <a14:hiddenFill xmlns:a14="http://schemas.microsoft.com/office/drawing/2010/main">
                <a:solidFill>
                  <a:srgbClr val="FFFFFF"/>
                </a:solidFill>
              </a14:hiddenFill>
            </a:ext>
          </a:extLst>
        </p:spPr>
      </p:pic>
      <p:sp>
        <p:nvSpPr>
          <p:cNvPr id="1066" name="TextBox 1065">
            <a:extLst>
              <a:ext uri="{FF2B5EF4-FFF2-40B4-BE49-F238E27FC236}">
                <a16:creationId xmlns:a16="http://schemas.microsoft.com/office/drawing/2014/main" id="{D5822865-014D-B208-D35A-E7403516DEEC}"/>
              </a:ext>
            </a:extLst>
          </p:cNvPr>
          <p:cNvSpPr txBox="1">
            <a:spLocks/>
          </p:cNvSpPr>
          <p:nvPr/>
        </p:nvSpPr>
        <p:spPr>
          <a:xfrm>
            <a:off x="5502837" y="2918496"/>
            <a:ext cx="1579837" cy="221599"/>
          </a:xfrm>
          <a:prstGeom prst="rect">
            <a:avLst/>
          </a:prstGeom>
        </p:spPr>
        <p:txBody>
          <a:bodyPr vert="horz" wrap="square" lIns="0" tIns="0" rIns="0" bIns="0" rtlCol="0" anchor="t" anchorCtr="0">
            <a:no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s-CO" sz="1600" dirty="0">
                <a:cs typeface="Arial" panose="020B0604020202020204" pitchFamily="34" charset="0"/>
              </a:rPr>
              <a:t>Salar de Rincón</a:t>
            </a:r>
          </a:p>
        </p:txBody>
      </p:sp>
      <p:pic>
        <p:nvPicPr>
          <p:cNvPr id="1031" name="Picture 16" descr="http://images03.olx.es/ui/3/43/96/f_62033796-34ef3591.jpeg">
            <a:extLst>
              <a:ext uri="{FF2B5EF4-FFF2-40B4-BE49-F238E27FC236}">
                <a16:creationId xmlns:a16="http://schemas.microsoft.com/office/drawing/2014/main" id="{B6324DB6-B257-F76C-6765-7CADED75C226}"/>
              </a:ext>
            </a:extLst>
          </p:cNvPr>
          <p:cNvPicPr>
            <a:picLocks noChangeAspect="1" noChangeArrowheads="1"/>
          </p:cNvPicPr>
          <p:nvPr>
            <p:custDataLst>
              <p:tags r:id="rId13"/>
            </p:custDataLst>
          </p:nvPr>
        </p:nvPicPr>
        <p:blipFill rotWithShape="1">
          <a:blip r:embed="rId52" cstate="print">
            <a:clrChange>
              <a:clrFrom>
                <a:srgbClr val="FFFFFF"/>
              </a:clrFrom>
              <a:clrTo>
                <a:srgbClr val="FFFFFF">
                  <a:alpha val="0"/>
                </a:srgbClr>
              </a:clrTo>
            </a:clrChange>
            <a:extLst>
              <a:ext uri="{28A0092B-C50C-407E-A947-70E740481C1C}">
                <a14:useLocalDpi xmlns:a14="http://schemas.microsoft.com/office/drawing/2010/main" val="0"/>
              </a:ext>
            </a:extLst>
          </a:blip>
          <a:srcRect b="9284"/>
          <a:stretch/>
        </p:blipFill>
        <p:spPr bwMode="gray">
          <a:xfrm>
            <a:off x="4799121" y="4405194"/>
            <a:ext cx="513522" cy="309788"/>
          </a:xfrm>
          <a:prstGeom prst="rect">
            <a:avLst/>
          </a:prstGeom>
          <a:noFill/>
          <a:extLst>
            <a:ext uri="{909E8E84-426E-40DD-AFC4-6F175D3DCCD1}">
              <a14:hiddenFill xmlns:a14="http://schemas.microsoft.com/office/drawing/2010/main">
                <a:solidFill>
                  <a:srgbClr val="FFFFFF"/>
                </a:solidFill>
              </a14:hiddenFill>
            </a:ext>
          </a:extLst>
        </p:spPr>
      </p:pic>
      <p:sp>
        <p:nvSpPr>
          <p:cNvPr id="1072" name="TextBox 1071">
            <a:extLst>
              <a:ext uri="{FF2B5EF4-FFF2-40B4-BE49-F238E27FC236}">
                <a16:creationId xmlns:a16="http://schemas.microsoft.com/office/drawing/2014/main" id="{8F26DCAF-F41C-2470-8459-15FC22B30F5E}"/>
              </a:ext>
            </a:extLst>
          </p:cNvPr>
          <p:cNvSpPr txBox="1">
            <a:spLocks/>
          </p:cNvSpPr>
          <p:nvPr/>
        </p:nvSpPr>
        <p:spPr>
          <a:xfrm>
            <a:off x="5502837" y="4449289"/>
            <a:ext cx="1579837" cy="221599"/>
          </a:xfrm>
          <a:prstGeom prst="rect">
            <a:avLst/>
          </a:prstGeom>
        </p:spPr>
        <p:txBody>
          <a:bodyPr vert="horz" wrap="square" lIns="0" tIns="0" rIns="0" bIns="0" rtlCol="0" anchor="t" anchorCtr="0">
            <a:no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s-CO" sz="1600" dirty="0">
                <a:cs typeface="Arial" panose="020B0604020202020204" pitchFamily="34" charset="0"/>
              </a:rPr>
              <a:t>Fruta del Norte</a:t>
            </a:r>
          </a:p>
        </p:txBody>
      </p:sp>
      <p:pic>
        <p:nvPicPr>
          <p:cNvPr id="1042" name="Picture 16" descr="http://images03.olx.es/ui/3/43/96/f_62033796-34ef3591.jpeg">
            <a:extLst>
              <a:ext uri="{FF2B5EF4-FFF2-40B4-BE49-F238E27FC236}">
                <a16:creationId xmlns:a16="http://schemas.microsoft.com/office/drawing/2014/main" id="{BC1C85B8-BFD3-4753-F3B6-580F5A2CA424}"/>
              </a:ext>
            </a:extLst>
          </p:cNvPr>
          <p:cNvPicPr>
            <a:picLocks noChangeAspect="1" noChangeArrowheads="1"/>
          </p:cNvPicPr>
          <p:nvPr>
            <p:custDataLst>
              <p:tags r:id="rId14"/>
            </p:custDataLst>
          </p:nvPr>
        </p:nvPicPr>
        <p:blipFill rotWithShape="1">
          <a:blip r:embed="rId52" cstate="print">
            <a:clrChange>
              <a:clrFrom>
                <a:srgbClr val="FFFFFF"/>
              </a:clrFrom>
              <a:clrTo>
                <a:srgbClr val="FFFFFF">
                  <a:alpha val="0"/>
                </a:srgbClr>
              </a:clrTo>
            </a:clrChange>
            <a:extLst>
              <a:ext uri="{28A0092B-C50C-407E-A947-70E740481C1C}">
                <a14:useLocalDpi xmlns:a14="http://schemas.microsoft.com/office/drawing/2010/main" val="0"/>
              </a:ext>
            </a:extLst>
          </a:blip>
          <a:srcRect b="9284"/>
          <a:stretch/>
        </p:blipFill>
        <p:spPr bwMode="gray">
          <a:xfrm>
            <a:off x="4799121" y="4904937"/>
            <a:ext cx="513522" cy="309788"/>
          </a:xfrm>
          <a:prstGeom prst="rect">
            <a:avLst/>
          </a:prstGeom>
          <a:noFill/>
          <a:extLst>
            <a:ext uri="{909E8E84-426E-40DD-AFC4-6F175D3DCCD1}">
              <a14:hiddenFill xmlns:a14="http://schemas.microsoft.com/office/drawing/2010/main">
                <a:solidFill>
                  <a:srgbClr val="FFFFFF"/>
                </a:solidFill>
              </a14:hiddenFill>
            </a:ext>
          </a:extLst>
        </p:spPr>
      </p:pic>
      <p:sp>
        <p:nvSpPr>
          <p:cNvPr id="1074" name="TextBox 1073">
            <a:extLst>
              <a:ext uri="{FF2B5EF4-FFF2-40B4-BE49-F238E27FC236}">
                <a16:creationId xmlns:a16="http://schemas.microsoft.com/office/drawing/2014/main" id="{2E913129-4E27-E2C1-A935-72233F4DC7E8}"/>
              </a:ext>
            </a:extLst>
          </p:cNvPr>
          <p:cNvSpPr txBox="1">
            <a:spLocks/>
          </p:cNvSpPr>
          <p:nvPr/>
        </p:nvSpPr>
        <p:spPr>
          <a:xfrm>
            <a:off x="5502837" y="4949032"/>
            <a:ext cx="1579837" cy="221599"/>
          </a:xfrm>
          <a:prstGeom prst="rect">
            <a:avLst/>
          </a:prstGeom>
        </p:spPr>
        <p:txBody>
          <a:bodyPr vert="horz" wrap="square" lIns="0" tIns="0" rIns="0" bIns="0" rtlCol="0" anchor="t" anchorCtr="0">
            <a:no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s-CO" sz="1600" dirty="0">
                <a:cs typeface="Arial" panose="020B0604020202020204" pitchFamily="34" charset="0"/>
              </a:rPr>
              <a:t>Buriticá</a:t>
            </a:r>
          </a:p>
        </p:txBody>
      </p:sp>
      <p:pic>
        <p:nvPicPr>
          <p:cNvPr id="1043" name="Picture 16" descr="http://images03.olx.es/ui/3/43/96/f_62033796-34ef3591.jpeg">
            <a:extLst>
              <a:ext uri="{FF2B5EF4-FFF2-40B4-BE49-F238E27FC236}">
                <a16:creationId xmlns:a16="http://schemas.microsoft.com/office/drawing/2014/main" id="{3A1CDD8A-055F-C3AA-2ABB-4C79AE504127}"/>
              </a:ext>
            </a:extLst>
          </p:cNvPr>
          <p:cNvPicPr>
            <a:picLocks noChangeAspect="1" noChangeArrowheads="1"/>
          </p:cNvPicPr>
          <p:nvPr>
            <p:custDataLst>
              <p:tags r:id="rId15"/>
            </p:custDataLst>
          </p:nvPr>
        </p:nvPicPr>
        <p:blipFill rotWithShape="1">
          <a:blip r:embed="rId52" cstate="print">
            <a:clrChange>
              <a:clrFrom>
                <a:srgbClr val="FFFFFF"/>
              </a:clrFrom>
              <a:clrTo>
                <a:srgbClr val="FFFFFF">
                  <a:alpha val="0"/>
                </a:srgbClr>
              </a:clrTo>
            </a:clrChange>
            <a:extLst>
              <a:ext uri="{28A0092B-C50C-407E-A947-70E740481C1C}">
                <a14:useLocalDpi xmlns:a14="http://schemas.microsoft.com/office/drawing/2010/main" val="0"/>
              </a:ext>
            </a:extLst>
          </a:blip>
          <a:srcRect b="9284"/>
          <a:stretch/>
        </p:blipFill>
        <p:spPr bwMode="gray">
          <a:xfrm>
            <a:off x="4799121" y="5404681"/>
            <a:ext cx="513522" cy="309788"/>
          </a:xfrm>
          <a:prstGeom prst="rect">
            <a:avLst/>
          </a:prstGeom>
          <a:noFill/>
          <a:extLst>
            <a:ext uri="{909E8E84-426E-40DD-AFC4-6F175D3DCCD1}">
              <a14:hiddenFill xmlns:a14="http://schemas.microsoft.com/office/drawing/2010/main">
                <a:solidFill>
                  <a:srgbClr val="FFFFFF"/>
                </a:solidFill>
              </a14:hiddenFill>
            </a:ext>
          </a:extLst>
        </p:spPr>
      </p:pic>
      <p:sp>
        <p:nvSpPr>
          <p:cNvPr id="1076" name="TextBox 1075">
            <a:extLst>
              <a:ext uri="{FF2B5EF4-FFF2-40B4-BE49-F238E27FC236}">
                <a16:creationId xmlns:a16="http://schemas.microsoft.com/office/drawing/2014/main" id="{C2575E2A-5F84-6D3C-E3D0-F49DFFD0561D}"/>
              </a:ext>
            </a:extLst>
          </p:cNvPr>
          <p:cNvSpPr txBox="1">
            <a:spLocks/>
          </p:cNvSpPr>
          <p:nvPr/>
        </p:nvSpPr>
        <p:spPr>
          <a:xfrm>
            <a:off x="5502837" y="5448775"/>
            <a:ext cx="1579837" cy="221599"/>
          </a:xfrm>
          <a:prstGeom prst="rect">
            <a:avLst/>
          </a:prstGeom>
        </p:spPr>
        <p:txBody>
          <a:bodyPr vert="horz" wrap="square" lIns="0" tIns="0" rIns="0" bIns="0" rtlCol="0" anchor="t" anchorCtr="0">
            <a:no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s-CO" sz="1600" dirty="0" err="1">
                <a:cs typeface="Arial" panose="020B0604020202020204" pitchFamily="34" charset="0"/>
              </a:rPr>
              <a:t>Rosebel</a:t>
            </a:r>
            <a:endParaRPr lang="es-CO" sz="1600" dirty="0">
              <a:cs typeface="Arial" panose="020B0604020202020204" pitchFamily="34" charset="0"/>
            </a:endParaRPr>
          </a:p>
        </p:txBody>
      </p:sp>
      <p:pic>
        <p:nvPicPr>
          <p:cNvPr id="1044" name="Picture 16" descr="http://images03.olx.es/ui/3/43/96/f_62033796-34ef3591.jpeg">
            <a:extLst>
              <a:ext uri="{FF2B5EF4-FFF2-40B4-BE49-F238E27FC236}">
                <a16:creationId xmlns:a16="http://schemas.microsoft.com/office/drawing/2014/main" id="{61349C5B-832F-A5A1-9F02-E26D759A4C3B}"/>
              </a:ext>
            </a:extLst>
          </p:cNvPr>
          <p:cNvPicPr>
            <a:picLocks noChangeAspect="1" noChangeArrowheads="1"/>
          </p:cNvPicPr>
          <p:nvPr>
            <p:custDataLst>
              <p:tags r:id="rId16"/>
            </p:custDataLst>
          </p:nvPr>
        </p:nvPicPr>
        <p:blipFill rotWithShape="1">
          <a:blip r:embed="rId52" cstate="print">
            <a:clrChange>
              <a:clrFrom>
                <a:srgbClr val="FFFFFF"/>
              </a:clrFrom>
              <a:clrTo>
                <a:srgbClr val="FFFFFF">
                  <a:alpha val="0"/>
                </a:srgbClr>
              </a:clrTo>
            </a:clrChange>
            <a:extLst>
              <a:ext uri="{28A0092B-C50C-407E-A947-70E740481C1C}">
                <a14:useLocalDpi xmlns:a14="http://schemas.microsoft.com/office/drawing/2010/main" val="0"/>
              </a:ext>
            </a:extLst>
          </a:blip>
          <a:srcRect b="9284"/>
          <a:stretch/>
        </p:blipFill>
        <p:spPr bwMode="gray">
          <a:xfrm>
            <a:off x="4799121" y="5904424"/>
            <a:ext cx="513522" cy="309788"/>
          </a:xfrm>
          <a:prstGeom prst="rect">
            <a:avLst/>
          </a:prstGeom>
          <a:noFill/>
          <a:extLst>
            <a:ext uri="{909E8E84-426E-40DD-AFC4-6F175D3DCCD1}">
              <a14:hiddenFill xmlns:a14="http://schemas.microsoft.com/office/drawing/2010/main">
                <a:solidFill>
                  <a:srgbClr val="FFFFFF"/>
                </a:solidFill>
              </a14:hiddenFill>
            </a:ext>
          </a:extLst>
        </p:spPr>
      </p:pic>
      <p:sp>
        <p:nvSpPr>
          <p:cNvPr id="1078" name="TextBox 1077">
            <a:extLst>
              <a:ext uri="{FF2B5EF4-FFF2-40B4-BE49-F238E27FC236}">
                <a16:creationId xmlns:a16="http://schemas.microsoft.com/office/drawing/2014/main" id="{98DF362E-81CC-6039-5BEE-6D05DC4E8205}"/>
              </a:ext>
            </a:extLst>
          </p:cNvPr>
          <p:cNvSpPr txBox="1">
            <a:spLocks/>
          </p:cNvSpPr>
          <p:nvPr/>
        </p:nvSpPr>
        <p:spPr>
          <a:xfrm>
            <a:off x="5502837" y="5948519"/>
            <a:ext cx="1579837" cy="221599"/>
          </a:xfrm>
          <a:prstGeom prst="rect">
            <a:avLst/>
          </a:prstGeom>
        </p:spPr>
        <p:txBody>
          <a:bodyPr vert="horz" wrap="square" lIns="0" tIns="0" rIns="0" bIns="0" rtlCol="0" anchor="t" anchorCtr="0">
            <a:no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s-CO" sz="1600" dirty="0">
                <a:cs typeface="Arial" panose="020B0604020202020204" pitchFamily="34" charset="0"/>
              </a:rPr>
              <a:t>Aurora</a:t>
            </a:r>
          </a:p>
        </p:txBody>
      </p:sp>
      <p:pic>
        <p:nvPicPr>
          <p:cNvPr id="24" name="Picture 16" descr="http://images03.olx.es/ui/3/43/96/f_62033796-34ef3591.jpeg">
            <a:extLst>
              <a:ext uri="{FF2B5EF4-FFF2-40B4-BE49-F238E27FC236}">
                <a16:creationId xmlns:a16="http://schemas.microsoft.com/office/drawing/2014/main" id="{52418267-6C4C-DC15-253A-EE94075CA133}"/>
              </a:ext>
            </a:extLst>
          </p:cNvPr>
          <p:cNvPicPr>
            <a:picLocks noChangeAspect="1" noChangeArrowheads="1"/>
          </p:cNvPicPr>
          <p:nvPr>
            <p:custDataLst>
              <p:tags r:id="rId17"/>
            </p:custDataLst>
          </p:nvPr>
        </p:nvPicPr>
        <p:blipFill rotWithShape="1">
          <a:blip r:embed="rId52" cstate="print">
            <a:clrChange>
              <a:clrFrom>
                <a:srgbClr val="FFFFFF"/>
              </a:clrFrom>
              <a:clrTo>
                <a:srgbClr val="FFFFFF">
                  <a:alpha val="0"/>
                </a:srgbClr>
              </a:clrTo>
            </a:clrChange>
            <a:extLst>
              <a:ext uri="{28A0092B-C50C-407E-A947-70E740481C1C}">
                <a14:useLocalDpi xmlns:a14="http://schemas.microsoft.com/office/drawing/2010/main" val="0"/>
              </a:ext>
            </a:extLst>
          </a:blip>
          <a:srcRect b="9284"/>
          <a:stretch/>
        </p:blipFill>
        <p:spPr bwMode="gray">
          <a:xfrm>
            <a:off x="4799121" y="3905452"/>
            <a:ext cx="513522" cy="309788"/>
          </a:xfrm>
          <a:prstGeom prst="rect">
            <a:avLst/>
          </a:prstGeom>
          <a:noFill/>
          <a:extLst>
            <a:ext uri="{909E8E84-426E-40DD-AFC4-6F175D3DCCD1}">
              <a14:hiddenFill xmlns:a14="http://schemas.microsoft.com/office/drawing/2010/main">
                <a:solidFill>
                  <a:srgbClr val="FFFFFF"/>
                </a:solidFill>
              </a14:hiddenFill>
            </a:ext>
          </a:extLst>
        </p:spPr>
      </p:pic>
      <p:sp>
        <p:nvSpPr>
          <p:cNvPr id="1070" name="TextBox 1069">
            <a:extLst>
              <a:ext uri="{FF2B5EF4-FFF2-40B4-BE49-F238E27FC236}">
                <a16:creationId xmlns:a16="http://schemas.microsoft.com/office/drawing/2014/main" id="{32D547DC-E426-5FF3-41DD-5B206CE2CAAD}"/>
              </a:ext>
            </a:extLst>
          </p:cNvPr>
          <p:cNvSpPr txBox="1">
            <a:spLocks/>
          </p:cNvSpPr>
          <p:nvPr/>
        </p:nvSpPr>
        <p:spPr>
          <a:xfrm>
            <a:off x="5502837" y="3949546"/>
            <a:ext cx="1579837" cy="221599"/>
          </a:xfrm>
          <a:prstGeom prst="rect">
            <a:avLst/>
          </a:prstGeom>
        </p:spPr>
        <p:txBody>
          <a:bodyPr vert="horz" wrap="square" lIns="0" tIns="0" rIns="0" bIns="0" rtlCol="0" anchor="t" anchorCtr="0">
            <a:no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s-CO" sz="1600" dirty="0">
                <a:cs typeface="Arial" panose="020B0604020202020204" pitchFamily="34" charset="0"/>
              </a:rPr>
              <a:t>Yanacocha </a:t>
            </a:r>
            <a:r>
              <a:rPr lang="es-CO" sz="1600" dirty="0" err="1">
                <a:cs typeface="Arial" panose="020B0604020202020204" pitchFamily="34" charset="0"/>
              </a:rPr>
              <a:t>stake</a:t>
            </a:r>
            <a:endParaRPr lang="es-CO" sz="1600" dirty="0">
              <a:cs typeface="Arial" panose="020B0604020202020204" pitchFamily="34" charset="0"/>
            </a:endParaRPr>
          </a:p>
        </p:txBody>
      </p:sp>
      <p:pic>
        <p:nvPicPr>
          <p:cNvPr id="46" name="Picture 16" descr="http://images03.olx.es/ui/3/43/96/f_62033796-34ef3591.jpeg">
            <a:extLst>
              <a:ext uri="{FF2B5EF4-FFF2-40B4-BE49-F238E27FC236}">
                <a16:creationId xmlns:a16="http://schemas.microsoft.com/office/drawing/2014/main" id="{0C986D68-28B0-1E17-21D3-77968308EC34}"/>
              </a:ext>
            </a:extLst>
          </p:cNvPr>
          <p:cNvPicPr>
            <a:picLocks noChangeAspect="1" noChangeArrowheads="1"/>
          </p:cNvPicPr>
          <p:nvPr>
            <p:custDataLst>
              <p:tags r:id="rId18"/>
            </p:custDataLst>
          </p:nvPr>
        </p:nvPicPr>
        <p:blipFill rotWithShape="1">
          <a:blip r:embed="rId52" cstate="print">
            <a:clrChange>
              <a:clrFrom>
                <a:srgbClr val="FFFFFF"/>
              </a:clrFrom>
              <a:clrTo>
                <a:srgbClr val="FFFFFF">
                  <a:alpha val="0"/>
                </a:srgbClr>
              </a:clrTo>
            </a:clrChange>
            <a:extLst>
              <a:ext uri="{28A0092B-C50C-407E-A947-70E740481C1C}">
                <a14:useLocalDpi xmlns:a14="http://schemas.microsoft.com/office/drawing/2010/main" val="0"/>
              </a:ext>
            </a:extLst>
          </a:blip>
          <a:srcRect b="9284"/>
          <a:stretch/>
        </p:blipFill>
        <p:spPr bwMode="gray">
          <a:xfrm>
            <a:off x="4799121" y="3405709"/>
            <a:ext cx="513522" cy="309788"/>
          </a:xfrm>
          <a:prstGeom prst="rect">
            <a:avLst/>
          </a:prstGeom>
          <a:noFill/>
          <a:extLst>
            <a:ext uri="{909E8E84-426E-40DD-AFC4-6F175D3DCCD1}">
              <a14:hiddenFill xmlns:a14="http://schemas.microsoft.com/office/drawing/2010/main">
                <a:solidFill>
                  <a:srgbClr val="FFFFFF"/>
                </a:solidFill>
              </a14:hiddenFill>
            </a:ext>
          </a:extLst>
        </p:spPr>
      </p:pic>
      <p:sp>
        <p:nvSpPr>
          <p:cNvPr id="1068" name="TextBox 1067">
            <a:extLst>
              <a:ext uri="{FF2B5EF4-FFF2-40B4-BE49-F238E27FC236}">
                <a16:creationId xmlns:a16="http://schemas.microsoft.com/office/drawing/2014/main" id="{F799715F-D8F5-E390-1791-DBDDF895EE24}"/>
              </a:ext>
            </a:extLst>
          </p:cNvPr>
          <p:cNvSpPr txBox="1">
            <a:spLocks/>
          </p:cNvSpPr>
          <p:nvPr/>
        </p:nvSpPr>
        <p:spPr>
          <a:xfrm>
            <a:off x="5502837" y="3449803"/>
            <a:ext cx="1579837" cy="221599"/>
          </a:xfrm>
          <a:prstGeom prst="rect">
            <a:avLst/>
          </a:prstGeom>
        </p:spPr>
        <p:txBody>
          <a:bodyPr vert="horz" wrap="square" lIns="0" tIns="0" rIns="0" bIns="0" rtlCol="0" anchor="t" anchorCtr="0">
            <a:no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s-CO" sz="1600" dirty="0">
                <a:cs typeface="Arial" panose="020B0604020202020204" pitchFamily="34" charset="0"/>
              </a:rPr>
              <a:t>Pueblo Viejo </a:t>
            </a:r>
            <a:r>
              <a:rPr lang="es-CO" sz="1600" dirty="0" err="1">
                <a:cs typeface="Arial" panose="020B0604020202020204" pitchFamily="34" charset="0"/>
              </a:rPr>
              <a:t>exp</a:t>
            </a:r>
            <a:r>
              <a:rPr lang="es-CO" sz="1600" dirty="0">
                <a:cs typeface="Arial" panose="020B0604020202020204" pitchFamily="34" charset="0"/>
              </a:rPr>
              <a:t>.</a:t>
            </a:r>
          </a:p>
        </p:txBody>
      </p:sp>
      <p:sp>
        <p:nvSpPr>
          <p:cNvPr id="1080" name="TextBox 1079">
            <a:extLst>
              <a:ext uri="{FF2B5EF4-FFF2-40B4-BE49-F238E27FC236}">
                <a16:creationId xmlns:a16="http://schemas.microsoft.com/office/drawing/2014/main" id="{BCA7DB13-6EBB-AAD2-8FB1-39A212535BD0}"/>
              </a:ext>
            </a:extLst>
          </p:cNvPr>
          <p:cNvSpPr txBox="1"/>
          <p:nvPr/>
        </p:nvSpPr>
        <p:spPr>
          <a:xfrm>
            <a:off x="7210561" y="1817811"/>
            <a:ext cx="942302" cy="276999"/>
          </a:xfrm>
          <a:prstGeom prst="rect">
            <a:avLst/>
          </a:prstGeom>
        </p:spPr>
        <p:txBody>
          <a:bodyPr vert="horz" wrap="square" lIns="0" tIns="0" rIns="0" bIns="0" rtlCol="0" anchor="ctr"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s-CO" b="1" dirty="0">
                <a:cs typeface="Arial" panose="020B0604020202020204" pitchFamily="34" charset="0"/>
              </a:rPr>
              <a:t>6$bn</a:t>
            </a:r>
          </a:p>
        </p:txBody>
      </p:sp>
      <p:sp>
        <p:nvSpPr>
          <p:cNvPr id="1082" name="TextBox 1081">
            <a:extLst>
              <a:ext uri="{FF2B5EF4-FFF2-40B4-BE49-F238E27FC236}">
                <a16:creationId xmlns:a16="http://schemas.microsoft.com/office/drawing/2014/main" id="{CD83FCA2-55D1-5026-0C07-3DA8C5268165}"/>
              </a:ext>
            </a:extLst>
          </p:cNvPr>
          <p:cNvSpPr txBox="1"/>
          <p:nvPr/>
        </p:nvSpPr>
        <p:spPr>
          <a:xfrm>
            <a:off x="7210561" y="2345510"/>
            <a:ext cx="942302" cy="276999"/>
          </a:xfrm>
          <a:prstGeom prst="rect">
            <a:avLst/>
          </a:prstGeom>
        </p:spPr>
        <p:txBody>
          <a:bodyPr vert="horz" wrap="square" lIns="0" tIns="0" rIns="0" bIns="0" rtlCol="0" anchor="ctr"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s-CO" b="1" dirty="0">
                <a:cs typeface="Arial" panose="020B0604020202020204" pitchFamily="34" charset="0"/>
              </a:rPr>
              <a:t>3.3$bn</a:t>
            </a:r>
          </a:p>
        </p:txBody>
      </p:sp>
      <p:sp>
        <p:nvSpPr>
          <p:cNvPr id="1084" name="TextBox 1083">
            <a:extLst>
              <a:ext uri="{FF2B5EF4-FFF2-40B4-BE49-F238E27FC236}">
                <a16:creationId xmlns:a16="http://schemas.microsoft.com/office/drawing/2014/main" id="{AD4A1ACD-992B-172B-ABA8-99F58C7B4697}"/>
              </a:ext>
            </a:extLst>
          </p:cNvPr>
          <p:cNvSpPr txBox="1"/>
          <p:nvPr/>
        </p:nvSpPr>
        <p:spPr>
          <a:xfrm>
            <a:off x="7210561" y="2890796"/>
            <a:ext cx="942302" cy="276999"/>
          </a:xfrm>
          <a:prstGeom prst="rect">
            <a:avLst/>
          </a:prstGeom>
        </p:spPr>
        <p:txBody>
          <a:bodyPr vert="horz" wrap="square" lIns="0" tIns="0" rIns="0" bIns="0" rtlCol="0" anchor="ctr"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s-CO" b="1" dirty="0">
                <a:cs typeface="Arial" panose="020B0604020202020204" pitchFamily="34" charset="0"/>
              </a:rPr>
              <a:t>1$bn</a:t>
            </a:r>
          </a:p>
        </p:txBody>
      </p:sp>
      <p:sp>
        <p:nvSpPr>
          <p:cNvPr id="1086" name="TextBox 1085">
            <a:extLst>
              <a:ext uri="{FF2B5EF4-FFF2-40B4-BE49-F238E27FC236}">
                <a16:creationId xmlns:a16="http://schemas.microsoft.com/office/drawing/2014/main" id="{5F34ECA9-2CD1-8ED2-E67B-6D31FCD82BDF}"/>
              </a:ext>
            </a:extLst>
          </p:cNvPr>
          <p:cNvSpPr txBox="1"/>
          <p:nvPr/>
        </p:nvSpPr>
        <p:spPr>
          <a:xfrm>
            <a:off x="7210561" y="4421589"/>
            <a:ext cx="942302" cy="276999"/>
          </a:xfrm>
          <a:prstGeom prst="rect">
            <a:avLst/>
          </a:prstGeom>
        </p:spPr>
        <p:txBody>
          <a:bodyPr vert="horz" wrap="square" lIns="0" tIns="0" rIns="0" bIns="0" rtlCol="0" anchor="ctr"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s-CO" b="1" dirty="0">
                <a:cs typeface="Arial" panose="020B0604020202020204" pitchFamily="34" charset="0"/>
              </a:rPr>
              <a:t>1$bn</a:t>
            </a:r>
          </a:p>
        </p:txBody>
      </p:sp>
      <p:sp>
        <p:nvSpPr>
          <p:cNvPr id="2048" name="TextBox 2047">
            <a:extLst>
              <a:ext uri="{FF2B5EF4-FFF2-40B4-BE49-F238E27FC236}">
                <a16:creationId xmlns:a16="http://schemas.microsoft.com/office/drawing/2014/main" id="{39F73C5C-70DA-2F09-C904-EC6DC5923DE8}"/>
              </a:ext>
            </a:extLst>
          </p:cNvPr>
          <p:cNvSpPr txBox="1"/>
          <p:nvPr/>
        </p:nvSpPr>
        <p:spPr>
          <a:xfrm>
            <a:off x="7210561" y="4921332"/>
            <a:ext cx="942302" cy="276999"/>
          </a:xfrm>
          <a:prstGeom prst="rect">
            <a:avLst/>
          </a:prstGeom>
        </p:spPr>
        <p:txBody>
          <a:bodyPr vert="horz" wrap="square" lIns="0" tIns="0" rIns="0" bIns="0" rtlCol="0" anchor="ctr"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s-CO" b="1" dirty="0">
                <a:cs typeface="Arial" panose="020B0604020202020204" pitchFamily="34" charset="0"/>
              </a:rPr>
              <a:t>1$bn</a:t>
            </a:r>
          </a:p>
        </p:txBody>
      </p:sp>
      <p:sp>
        <p:nvSpPr>
          <p:cNvPr id="2050" name="TextBox 2049">
            <a:extLst>
              <a:ext uri="{FF2B5EF4-FFF2-40B4-BE49-F238E27FC236}">
                <a16:creationId xmlns:a16="http://schemas.microsoft.com/office/drawing/2014/main" id="{2AC7ECCA-A4A1-76C6-BDAC-D382BC700E1D}"/>
              </a:ext>
            </a:extLst>
          </p:cNvPr>
          <p:cNvSpPr txBox="1"/>
          <p:nvPr/>
        </p:nvSpPr>
        <p:spPr>
          <a:xfrm>
            <a:off x="7210561" y="5421075"/>
            <a:ext cx="942302" cy="276999"/>
          </a:xfrm>
          <a:prstGeom prst="rect">
            <a:avLst/>
          </a:prstGeom>
        </p:spPr>
        <p:txBody>
          <a:bodyPr vert="horz" wrap="square" lIns="0" tIns="0" rIns="0" bIns="0" rtlCol="0" anchor="ctr"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s-CO" b="1" dirty="0">
                <a:cs typeface="Arial" panose="020B0604020202020204" pitchFamily="34" charset="0"/>
              </a:rPr>
              <a:t>0.4$bn</a:t>
            </a:r>
          </a:p>
        </p:txBody>
      </p:sp>
      <p:sp>
        <p:nvSpPr>
          <p:cNvPr id="2052" name="TextBox 2051">
            <a:extLst>
              <a:ext uri="{FF2B5EF4-FFF2-40B4-BE49-F238E27FC236}">
                <a16:creationId xmlns:a16="http://schemas.microsoft.com/office/drawing/2014/main" id="{5F87CDE1-8900-7809-F273-1F9E9A3BA7C2}"/>
              </a:ext>
            </a:extLst>
          </p:cNvPr>
          <p:cNvSpPr txBox="1"/>
          <p:nvPr/>
        </p:nvSpPr>
        <p:spPr>
          <a:xfrm>
            <a:off x="7210561" y="5920819"/>
            <a:ext cx="942302" cy="276999"/>
          </a:xfrm>
          <a:prstGeom prst="rect">
            <a:avLst/>
          </a:prstGeom>
        </p:spPr>
        <p:txBody>
          <a:bodyPr vert="horz" wrap="square" lIns="0" tIns="0" rIns="0" bIns="0" rtlCol="0" anchor="ctr"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s-CO" b="1" dirty="0">
                <a:cs typeface="Arial" panose="020B0604020202020204" pitchFamily="34" charset="0"/>
              </a:rPr>
              <a:t>0.2$bn</a:t>
            </a:r>
          </a:p>
        </p:txBody>
      </p:sp>
      <p:sp>
        <p:nvSpPr>
          <p:cNvPr id="2054" name="TextBox 2053">
            <a:extLst>
              <a:ext uri="{FF2B5EF4-FFF2-40B4-BE49-F238E27FC236}">
                <a16:creationId xmlns:a16="http://schemas.microsoft.com/office/drawing/2014/main" id="{70C0AE4B-994F-9971-F56D-A2F62384D4AC}"/>
              </a:ext>
            </a:extLst>
          </p:cNvPr>
          <p:cNvSpPr txBox="1"/>
          <p:nvPr/>
        </p:nvSpPr>
        <p:spPr>
          <a:xfrm>
            <a:off x="7210561" y="3921846"/>
            <a:ext cx="942302" cy="276999"/>
          </a:xfrm>
          <a:prstGeom prst="rect">
            <a:avLst/>
          </a:prstGeom>
        </p:spPr>
        <p:txBody>
          <a:bodyPr vert="horz" wrap="square" lIns="0" tIns="0" rIns="0" bIns="0" rtlCol="0" anchor="ctr"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s-CO" b="1" dirty="0">
                <a:cs typeface="Arial" panose="020B0604020202020204" pitchFamily="34" charset="0"/>
              </a:rPr>
              <a:t>0.4$bn</a:t>
            </a:r>
          </a:p>
        </p:txBody>
      </p:sp>
      <p:sp>
        <p:nvSpPr>
          <p:cNvPr id="2056" name="TextBox 2055">
            <a:extLst>
              <a:ext uri="{FF2B5EF4-FFF2-40B4-BE49-F238E27FC236}">
                <a16:creationId xmlns:a16="http://schemas.microsoft.com/office/drawing/2014/main" id="{3BB98B8A-9C5B-BB13-4DDB-0EB4164EA3E2}"/>
              </a:ext>
            </a:extLst>
          </p:cNvPr>
          <p:cNvSpPr txBox="1"/>
          <p:nvPr/>
        </p:nvSpPr>
        <p:spPr>
          <a:xfrm>
            <a:off x="7210561" y="3422103"/>
            <a:ext cx="942302" cy="276999"/>
          </a:xfrm>
          <a:prstGeom prst="rect">
            <a:avLst/>
          </a:prstGeom>
        </p:spPr>
        <p:txBody>
          <a:bodyPr vert="horz" wrap="square" lIns="0" tIns="0" rIns="0" bIns="0" rtlCol="0" anchor="ctr"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s-CO" b="1" dirty="0">
                <a:cs typeface="Arial" panose="020B0604020202020204" pitchFamily="34" charset="0"/>
              </a:rPr>
              <a:t>2$bn</a:t>
            </a:r>
          </a:p>
        </p:txBody>
      </p:sp>
      <p:cxnSp>
        <p:nvCxnSpPr>
          <p:cNvPr id="2082" name="GreyLineContentSeparatorDefault 1024">
            <a:extLst>
              <a:ext uri="{FF2B5EF4-FFF2-40B4-BE49-F238E27FC236}">
                <a16:creationId xmlns:a16="http://schemas.microsoft.com/office/drawing/2014/main" id="{4BA06299-C823-CD25-DEDB-FB4D529716CD}"/>
              </a:ext>
            </a:extLst>
          </p:cNvPr>
          <p:cNvCxnSpPr>
            <a:cxnSpLocks/>
          </p:cNvCxnSpPr>
          <p:nvPr>
            <p:custDataLst>
              <p:tags r:id="rId19"/>
            </p:custDataLst>
          </p:nvPr>
        </p:nvCxnSpPr>
        <p:spPr>
          <a:xfrm>
            <a:off x="4163246" y="2220160"/>
            <a:ext cx="4030344" cy="0"/>
          </a:xfrm>
          <a:prstGeom prst="straightConnector1">
            <a:avLst/>
          </a:prstGeom>
          <a:ln w="6350" cap="flat">
            <a:solidFill>
              <a:srgbClr val="757575"/>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2083" name="GreyLineContentSeparatorDefault 1024">
            <a:extLst>
              <a:ext uri="{FF2B5EF4-FFF2-40B4-BE49-F238E27FC236}">
                <a16:creationId xmlns:a16="http://schemas.microsoft.com/office/drawing/2014/main" id="{9421D64A-0061-D6B3-2BF4-67721FE5D633}"/>
              </a:ext>
            </a:extLst>
          </p:cNvPr>
          <p:cNvCxnSpPr>
            <a:cxnSpLocks/>
          </p:cNvCxnSpPr>
          <p:nvPr>
            <p:custDataLst>
              <p:tags r:id="rId20"/>
            </p:custDataLst>
          </p:nvPr>
        </p:nvCxnSpPr>
        <p:spPr>
          <a:xfrm>
            <a:off x="4163246" y="5309703"/>
            <a:ext cx="4030344" cy="0"/>
          </a:xfrm>
          <a:prstGeom prst="straightConnector1">
            <a:avLst/>
          </a:prstGeom>
          <a:ln w="6350" cap="flat">
            <a:solidFill>
              <a:srgbClr val="757575"/>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2084" name="GreyLineContentSeparatorDefault 1024">
            <a:extLst>
              <a:ext uri="{FF2B5EF4-FFF2-40B4-BE49-F238E27FC236}">
                <a16:creationId xmlns:a16="http://schemas.microsoft.com/office/drawing/2014/main" id="{68F77B5F-21EE-9CF5-3116-D658F1472386}"/>
              </a:ext>
            </a:extLst>
          </p:cNvPr>
          <p:cNvCxnSpPr>
            <a:cxnSpLocks/>
          </p:cNvCxnSpPr>
          <p:nvPr>
            <p:custDataLst>
              <p:tags r:id="rId21"/>
            </p:custDataLst>
          </p:nvPr>
        </p:nvCxnSpPr>
        <p:spPr>
          <a:xfrm>
            <a:off x="4163246" y="5809446"/>
            <a:ext cx="4030344" cy="0"/>
          </a:xfrm>
          <a:prstGeom prst="straightConnector1">
            <a:avLst/>
          </a:prstGeom>
          <a:ln w="6350" cap="flat">
            <a:solidFill>
              <a:srgbClr val="757575"/>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C03C7467-A6E0-86E3-8014-8773DF346B5B}"/>
              </a:ext>
            </a:extLst>
          </p:cNvPr>
          <p:cNvSpPr txBox="1">
            <a:spLocks/>
          </p:cNvSpPr>
          <p:nvPr/>
        </p:nvSpPr>
        <p:spPr>
          <a:xfrm>
            <a:off x="476021" y="2605833"/>
            <a:ext cx="1989445" cy="535531"/>
          </a:xfrm>
          <a:prstGeom prst="rect">
            <a:avLst/>
          </a:prstGeom>
        </p:spPr>
        <p:txBody>
          <a:bodyPr vert="horz" wrap="square" lIns="91440" tIns="45720" rIns="91440" bIns="4572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pt-BR" sz="3200" b="1" dirty="0">
                <a:solidFill>
                  <a:schemeClr val="bg1"/>
                </a:solidFill>
                <a:cs typeface="Arial" panose="020B0604020202020204" pitchFamily="34" charset="0"/>
              </a:rPr>
              <a:t>18%</a:t>
            </a:r>
          </a:p>
        </p:txBody>
      </p:sp>
      <p:sp>
        <p:nvSpPr>
          <p:cNvPr id="8" name="TextBox 7">
            <a:extLst>
              <a:ext uri="{FF2B5EF4-FFF2-40B4-BE49-F238E27FC236}">
                <a16:creationId xmlns:a16="http://schemas.microsoft.com/office/drawing/2014/main" id="{0F6C3585-6D0E-8271-EB33-E424C63AB7EF}"/>
              </a:ext>
            </a:extLst>
          </p:cNvPr>
          <p:cNvSpPr txBox="1">
            <a:spLocks/>
          </p:cNvSpPr>
          <p:nvPr/>
        </p:nvSpPr>
        <p:spPr>
          <a:xfrm>
            <a:off x="476021" y="4430141"/>
            <a:ext cx="1989445" cy="535531"/>
          </a:xfrm>
          <a:prstGeom prst="rect">
            <a:avLst/>
          </a:prstGeom>
        </p:spPr>
        <p:txBody>
          <a:bodyPr vert="horz" wrap="square" lIns="91440" tIns="45720" rIns="91440" bIns="4572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pt-BR" sz="3200" b="1" dirty="0">
                <a:solidFill>
                  <a:schemeClr val="bg1"/>
                </a:solidFill>
                <a:cs typeface="Arial" panose="020B0604020202020204" pitchFamily="34" charset="0"/>
              </a:rPr>
              <a:t>780 </a:t>
            </a:r>
            <a:r>
              <a:rPr lang="pt-BR" sz="1800" b="1" dirty="0">
                <a:solidFill>
                  <a:schemeClr val="bg1"/>
                </a:solidFill>
                <a:cs typeface="Arial" panose="020B0604020202020204" pitchFamily="34" charset="0"/>
              </a:rPr>
              <a:t>USD/oz</a:t>
            </a:r>
          </a:p>
        </p:txBody>
      </p:sp>
      <p:sp>
        <p:nvSpPr>
          <p:cNvPr id="12" name="TextBox 11">
            <a:extLst>
              <a:ext uri="{FF2B5EF4-FFF2-40B4-BE49-F238E27FC236}">
                <a16:creationId xmlns:a16="http://schemas.microsoft.com/office/drawing/2014/main" id="{64B3EE21-D190-FCCD-158C-6E2AEFF317A1}"/>
              </a:ext>
            </a:extLst>
          </p:cNvPr>
          <p:cNvSpPr txBox="1">
            <a:spLocks/>
          </p:cNvSpPr>
          <p:nvPr/>
        </p:nvSpPr>
        <p:spPr>
          <a:xfrm>
            <a:off x="476021" y="3517987"/>
            <a:ext cx="1989445" cy="535531"/>
          </a:xfrm>
          <a:prstGeom prst="rect">
            <a:avLst/>
          </a:prstGeom>
        </p:spPr>
        <p:txBody>
          <a:bodyPr vert="horz" wrap="square" lIns="91440" tIns="45720" rIns="91440" bIns="4572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pt-BR" sz="3200" b="1" dirty="0">
                <a:solidFill>
                  <a:schemeClr val="bg1"/>
                </a:solidFill>
                <a:cs typeface="Arial" panose="020B0604020202020204" pitchFamily="34" charset="0"/>
              </a:rPr>
              <a:t>2.5 </a:t>
            </a:r>
            <a:r>
              <a:rPr lang="pt-BR" sz="1800" b="1" dirty="0">
                <a:solidFill>
                  <a:schemeClr val="bg1"/>
                </a:solidFill>
                <a:cs typeface="Arial" panose="020B0604020202020204" pitchFamily="34" charset="0"/>
              </a:rPr>
              <a:t>g/t</a:t>
            </a:r>
          </a:p>
        </p:txBody>
      </p:sp>
      <p:sp>
        <p:nvSpPr>
          <p:cNvPr id="13" name="TextBox 12">
            <a:extLst>
              <a:ext uri="{FF2B5EF4-FFF2-40B4-BE49-F238E27FC236}">
                <a16:creationId xmlns:a16="http://schemas.microsoft.com/office/drawing/2014/main" id="{DC89CBAE-E546-9015-504E-DC85AEB54FB7}"/>
              </a:ext>
            </a:extLst>
          </p:cNvPr>
          <p:cNvSpPr txBox="1">
            <a:spLocks/>
          </p:cNvSpPr>
          <p:nvPr/>
        </p:nvSpPr>
        <p:spPr>
          <a:xfrm>
            <a:off x="476021" y="5342295"/>
            <a:ext cx="1989445" cy="535531"/>
          </a:xfrm>
          <a:prstGeom prst="rect">
            <a:avLst/>
          </a:prstGeom>
        </p:spPr>
        <p:txBody>
          <a:bodyPr vert="horz" wrap="square" lIns="91440" tIns="45720" rIns="91440" bIns="4572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pt-BR" sz="3200" b="1" dirty="0">
                <a:solidFill>
                  <a:schemeClr val="bg1"/>
                </a:solidFill>
                <a:cs typeface="Arial" panose="020B0604020202020204" pitchFamily="34" charset="0"/>
              </a:rPr>
              <a:t>0.38 </a:t>
            </a:r>
            <a:r>
              <a:rPr lang="pt-BR" sz="1800" b="1" dirty="0">
                <a:solidFill>
                  <a:schemeClr val="bg1"/>
                </a:solidFill>
                <a:cs typeface="Arial" panose="020B0604020202020204" pitchFamily="34" charset="0"/>
              </a:rPr>
              <a:t>t CO2/oz</a:t>
            </a:r>
          </a:p>
        </p:txBody>
      </p:sp>
      <p:cxnSp>
        <p:nvCxnSpPr>
          <p:cNvPr id="3" name="GreyLineContentSeparatorDefault 35">
            <a:extLst>
              <a:ext uri="{FF2B5EF4-FFF2-40B4-BE49-F238E27FC236}">
                <a16:creationId xmlns:a16="http://schemas.microsoft.com/office/drawing/2014/main" id="{35398B8F-E837-4558-B3A7-2009AEB244C1}"/>
              </a:ext>
            </a:extLst>
          </p:cNvPr>
          <p:cNvCxnSpPr>
            <a:cxnSpLocks/>
          </p:cNvCxnSpPr>
          <p:nvPr>
            <p:custDataLst>
              <p:tags r:id="rId22"/>
            </p:custDataLst>
          </p:nvPr>
        </p:nvCxnSpPr>
        <p:spPr>
          <a:xfrm>
            <a:off x="388519" y="1501189"/>
            <a:ext cx="2100345" cy="0"/>
          </a:xfrm>
          <a:prstGeom prst="straightConnector1">
            <a:avLst/>
          </a:prstGeom>
          <a:ln w="1270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591877D9-E347-C88B-AE39-27187269D9CF}"/>
              </a:ext>
            </a:extLst>
          </p:cNvPr>
          <p:cNvSpPr txBox="1"/>
          <p:nvPr/>
        </p:nvSpPr>
        <p:spPr>
          <a:xfrm>
            <a:off x="442521" y="1265167"/>
            <a:ext cx="2022943" cy="221599"/>
          </a:xfrm>
          <a:prstGeom prst="rect">
            <a:avLst/>
          </a:prstGeom>
        </p:spPr>
        <p:txBody>
          <a:bodyPr vert="horz" wrap="square" lIns="0" tIns="0" rIns="0" bIns="0" rtlCol="0" anchor="b"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pt-BR" sz="1600" b="1" dirty="0">
                <a:solidFill>
                  <a:schemeClr val="bg1"/>
                </a:solidFill>
                <a:cs typeface="Arial" panose="020B0604020202020204" pitchFamily="34" charset="0"/>
              </a:rPr>
              <a:t>Latin America presents:</a:t>
            </a:r>
          </a:p>
        </p:txBody>
      </p:sp>
      <p:sp>
        <p:nvSpPr>
          <p:cNvPr id="5" name="TextBox 4">
            <a:extLst>
              <a:ext uri="{FF2B5EF4-FFF2-40B4-BE49-F238E27FC236}">
                <a16:creationId xmlns:a16="http://schemas.microsoft.com/office/drawing/2014/main" id="{83894C4E-96BF-7BE0-C3F7-2A2A2038B77E}"/>
              </a:ext>
            </a:extLst>
          </p:cNvPr>
          <p:cNvSpPr txBox="1">
            <a:spLocks/>
          </p:cNvSpPr>
          <p:nvPr/>
        </p:nvSpPr>
        <p:spPr>
          <a:xfrm>
            <a:off x="442521" y="2114730"/>
            <a:ext cx="2022943" cy="480131"/>
          </a:xfrm>
          <a:prstGeom prst="rect">
            <a:avLst/>
          </a:prstGeom>
        </p:spPr>
        <p:txBody>
          <a:bodyPr vert="horz" wrap="square" lIns="91440" tIns="45720" rIns="91440" bIns="4572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400" dirty="0">
                <a:solidFill>
                  <a:schemeClr val="accent1"/>
                </a:solidFill>
                <a:cs typeface="Arial" panose="020B0604020202020204" pitchFamily="34" charset="0"/>
              </a:rPr>
              <a:t>Of the </a:t>
            </a:r>
            <a:r>
              <a:rPr lang="en-US" sz="1400" b="1" dirty="0">
                <a:solidFill>
                  <a:schemeClr val="accent1"/>
                </a:solidFill>
                <a:cs typeface="Arial" panose="020B0604020202020204" pitchFamily="34" charset="0"/>
              </a:rPr>
              <a:t>global gold reserves</a:t>
            </a:r>
            <a:endParaRPr lang="pt-BR" sz="1400" b="1" dirty="0">
              <a:solidFill>
                <a:schemeClr val="accent1"/>
              </a:solidFill>
              <a:cs typeface="Arial" panose="020B0604020202020204" pitchFamily="34" charset="0"/>
            </a:endParaRPr>
          </a:p>
        </p:txBody>
      </p:sp>
      <p:sp>
        <p:nvSpPr>
          <p:cNvPr id="7" name="TextBox 6">
            <a:extLst>
              <a:ext uri="{FF2B5EF4-FFF2-40B4-BE49-F238E27FC236}">
                <a16:creationId xmlns:a16="http://schemas.microsoft.com/office/drawing/2014/main" id="{D682EC1F-524E-91BA-1732-7BF806ADC366}"/>
              </a:ext>
            </a:extLst>
          </p:cNvPr>
          <p:cNvSpPr txBox="1">
            <a:spLocks/>
          </p:cNvSpPr>
          <p:nvPr/>
        </p:nvSpPr>
        <p:spPr>
          <a:xfrm>
            <a:off x="442521" y="3026884"/>
            <a:ext cx="2022943" cy="480131"/>
          </a:xfrm>
          <a:prstGeom prst="rect">
            <a:avLst/>
          </a:prstGeom>
        </p:spPr>
        <p:txBody>
          <a:bodyPr vert="horz" wrap="square" lIns="91440" tIns="45720" rIns="91440" bIns="4572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400" dirty="0">
                <a:solidFill>
                  <a:schemeClr val="accent1"/>
                </a:solidFill>
                <a:cs typeface="Arial" panose="020B0604020202020204" pitchFamily="34" charset="0"/>
              </a:rPr>
              <a:t>Of the </a:t>
            </a:r>
            <a:r>
              <a:rPr lang="en-US" sz="1400" b="1" dirty="0">
                <a:solidFill>
                  <a:schemeClr val="accent1"/>
                </a:solidFill>
                <a:cs typeface="Arial" panose="020B0604020202020204" pitchFamily="34" charset="0"/>
              </a:rPr>
              <a:t>global gold production</a:t>
            </a:r>
            <a:endParaRPr lang="pt-BR" sz="1400" b="1" dirty="0">
              <a:solidFill>
                <a:schemeClr val="accent1"/>
              </a:solidFill>
              <a:cs typeface="Arial" panose="020B0604020202020204" pitchFamily="34" charset="0"/>
            </a:endParaRPr>
          </a:p>
        </p:txBody>
      </p:sp>
      <p:sp>
        <p:nvSpPr>
          <p:cNvPr id="9" name="TextBox 8">
            <a:extLst>
              <a:ext uri="{FF2B5EF4-FFF2-40B4-BE49-F238E27FC236}">
                <a16:creationId xmlns:a16="http://schemas.microsoft.com/office/drawing/2014/main" id="{AE20DC76-D11C-3C89-CC81-2FCB2B9D8591}"/>
              </a:ext>
            </a:extLst>
          </p:cNvPr>
          <p:cNvSpPr txBox="1">
            <a:spLocks/>
          </p:cNvSpPr>
          <p:nvPr/>
        </p:nvSpPr>
        <p:spPr>
          <a:xfrm>
            <a:off x="442521" y="4851192"/>
            <a:ext cx="2022943" cy="480131"/>
          </a:xfrm>
          <a:prstGeom prst="rect">
            <a:avLst/>
          </a:prstGeom>
        </p:spPr>
        <p:txBody>
          <a:bodyPr vert="horz" wrap="square" lIns="91440" tIns="45720" rIns="91440" bIns="4572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400" dirty="0">
                <a:solidFill>
                  <a:schemeClr val="accent1"/>
                </a:solidFill>
                <a:cs typeface="Arial" panose="020B0604020202020204" pitchFamily="34" charset="0"/>
              </a:rPr>
              <a:t>Average </a:t>
            </a:r>
            <a:r>
              <a:rPr lang="en-US" sz="1400" b="1" dirty="0">
                <a:solidFill>
                  <a:schemeClr val="accent1"/>
                </a:solidFill>
                <a:cs typeface="Arial" panose="020B0604020202020204" pitchFamily="34" charset="0"/>
              </a:rPr>
              <a:t>operational cost, </a:t>
            </a:r>
            <a:r>
              <a:rPr lang="en-US" sz="1400" dirty="0">
                <a:solidFill>
                  <a:schemeClr val="accent1"/>
                </a:solidFill>
                <a:cs typeface="Arial" panose="020B0604020202020204" pitchFamily="34" charset="0"/>
              </a:rPr>
              <a:t>vs 840 globally</a:t>
            </a:r>
            <a:endParaRPr lang="pt-BR" sz="1400" dirty="0">
              <a:solidFill>
                <a:schemeClr val="accent1"/>
              </a:solidFill>
              <a:cs typeface="Arial" panose="020B0604020202020204" pitchFamily="34" charset="0"/>
            </a:endParaRPr>
          </a:p>
        </p:txBody>
      </p:sp>
      <p:sp>
        <p:nvSpPr>
          <p:cNvPr id="11" name="TextBox 10">
            <a:extLst>
              <a:ext uri="{FF2B5EF4-FFF2-40B4-BE49-F238E27FC236}">
                <a16:creationId xmlns:a16="http://schemas.microsoft.com/office/drawing/2014/main" id="{9FE3608B-220D-B0DB-44A8-52D9CEF89C25}"/>
              </a:ext>
            </a:extLst>
          </p:cNvPr>
          <p:cNvSpPr txBox="1">
            <a:spLocks/>
          </p:cNvSpPr>
          <p:nvPr/>
        </p:nvSpPr>
        <p:spPr>
          <a:xfrm>
            <a:off x="442521" y="3939038"/>
            <a:ext cx="2022943" cy="480131"/>
          </a:xfrm>
          <a:prstGeom prst="rect">
            <a:avLst/>
          </a:prstGeom>
        </p:spPr>
        <p:txBody>
          <a:bodyPr vert="horz" wrap="square" lIns="91440" tIns="45720" rIns="91440" bIns="4572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pt-BR" sz="1400" b="1" dirty="0">
                <a:solidFill>
                  <a:schemeClr val="accent1"/>
                </a:solidFill>
                <a:cs typeface="Arial" panose="020B0604020202020204" pitchFamily="34" charset="0"/>
              </a:rPr>
              <a:t>Average gold grade</a:t>
            </a:r>
            <a:r>
              <a:rPr lang="pt-BR" sz="1400" dirty="0">
                <a:solidFill>
                  <a:schemeClr val="accent1"/>
                </a:solidFill>
                <a:cs typeface="Arial" panose="020B0604020202020204" pitchFamily="34" charset="0"/>
              </a:rPr>
              <a:t>, vs 1.5 globally</a:t>
            </a:r>
          </a:p>
        </p:txBody>
      </p:sp>
      <p:sp>
        <p:nvSpPr>
          <p:cNvPr id="14" name="TextBox 13">
            <a:extLst>
              <a:ext uri="{FF2B5EF4-FFF2-40B4-BE49-F238E27FC236}">
                <a16:creationId xmlns:a16="http://schemas.microsoft.com/office/drawing/2014/main" id="{F38C5083-FE00-F19B-1911-B2F0389A4D15}"/>
              </a:ext>
            </a:extLst>
          </p:cNvPr>
          <p:cNvSpPr txBox="1">
            <a:spLocks/>
          </p:cNvSpPr>
          <p:nvPr/>
        </p:nvSpPr>
        <p:spPr>
          <a:xfrm>
            <a:off x="442521" y="5763346"/>
            <a:ext cx="2022943" cy="480131"/>
          </a:xfrm>
          <a:prstGeom prst="rect">
            <a:avLst/>
          </a:prstGeom>
        </p:spPr>
        <p:txBody>
          <a:bodyPr vert="horz" wrap="square" lIns="91440" tIns="45720" rIns="91440" bIns="4572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400" dirty="0">
                <a:solidFill>
                  <a:schemeClr val="accent1"/>
                </a:solidFill>
                <a:cs typeface="Arial" panose="020B0604020202020204" pitchFamily="34" charset="0"/>
              </a:rPr>
              <a:t>Average </a:t>
            </a:r>
            <a:r>
              <a:rPr lang="en-US" sz="1400" b="1" dirty="0">
                <a:solidFill>
                  <a:schemeClr val="accent1"/>
                </a:solidFill>
                <a:cs typeface="Arial" panose="020B0604020202020204" pitchFamily="34" charset="0"/>
              </a:rPr>
              <a:t>carbon footprint</a:t>
            </a:r>
            <a:r>
              <a:rPr lang="en-US" sz="1400" b="1" baseline="30000" dirty="0">
                <a:solidFill>
                  <a:schemeClr val="accent1"/>
                </a:solidFill>
                <a:cs typeface="Arial" panose="020B0604020202020204" pitchFamily="34" charset="0"/>
              </a:rPr>
              <a:t>1</a:t>
            </a:r>
            <a:r>
              <a:rPr lang="en-US" sz="1400" dirty="0">
                <a:solidFill>
                  <a:schemeClr val="accent1"/>
                </a:solidFill>
                <a:cs typeface="Arial" panose="020B0604020202020204" pitchFamily="34" charset="0"/>
              </a:rPr>
              <a:t>, vs 0.7 globally</a:t>
            </a:r>
            <a:endParaRPr lang="pt-BR" sz="1400" dirty="0">
              <a:solidFill>
                <a:schemeClr val="accent1"/>
              </a:solidFill>
              <a:cs typeface="Arial" panose="020B0604020202020204" pitchFamily="34" charset="0"/>
            </a:endParaRPr>
          </a:p>
        </p:txBody>
      </p:sp>
      <p:sp>
        <p:nvSpPr>
          <p:cNvPr id="15" name="TextBox 14">
            <a:extLst>
              <a:ext uri="{FF2B5EF4-FFF2-40B4-BE49-F238E27FC236}">
                <a16:creationId xmlns:a16="http://schemas.microsoft.com/office/drawing/2014/main" id="{E52A0FDC-F1A6-AF4F-8C3B-75D7CBCF7471}"/>
              </a:ext>
            </a:extLst>
          </p:cNvPr>
          <p:cNvSpPr txBox="1">
            <a:spLocks/>
          </p:cNvSpPr>
          <p:nvPr/>
        </p:nvSpPr>
        <p:spPr>
          <a:xfrm>
            <a:off x="476021" y="1693679"/>
            <a:ext cx="1989445" cy="535531"/>
          </a:xfrm>
          <a:prstGeom prst="rect">
            <a:avLst/>
          </a:prstGeom>
        </p:spPr>
        <p:txBody>
          <a:bodyPr vert="horz" wrap="square" lIns="91440" tIns="45720" rIns="91440" bIns="45720" rtlCol="0" anchor="t" anchorCtr="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pt-BR" sz="3200" b="1" dirty="0">
                <a:solidFill>
                  <a:schemeClr val="bg1"/>
                </a:solidFill>
                <a:cs typeface="Arial" panose="020B0604020202020204" pitchFamily="34" charset="0"/>
              </a:rPr>
              <a:t>14%</a:t>
            </a:r>
          </a:p>
        </p:txBody>
      </p:sp>
      <p:sp>
        <p:nvSpPr>
          <p:cNvPr id="62" name="4. Footnote">
            <a:extLst>
              <a:ext uri="{FF2B5EF4-FFF2-40B4-BE49-F238E27FC236}">
                <a16:creationId xmlns:a16="http://schemas.microsoft.com/office/drawing/2014/main" id="{B6F818D6-083C-0F99-BF09-CBCAAC8336B0}"/>
              </a:ext>
            </a:extLst>
          </p:cNvPr>
          <p:cNvSpPr txBox="1"/>
          <p:nvPr>
            <p:custDataLst>
              <p:tags r:id="rId23"/>
            </p:custDataLst>
          </p:nvPr>
        </p:nvSpPr>
        <p:spPr>
          <a:xfrm>
            <a:off x="262527" y="6457500"/>
            <a:ext cx="8921134" cy="123111"/>
          </a:xfrm>
          <a:prstGeom prst="rect">
            <a:avLst/>
          </a:prstGeom>
          <a:noFill/>
        </p:spPr>
        <p:txBody>
          <a:bodyPr vert="horz" wrap="square" lIns="0" tIns="0" rIns="0" bIns="0" rtlCol="0" anchor="b" anchorCtr="0">
            <a:spAutoFit/>
          </a:bodyPr>
          <a:lstStyle/>
          <a:p>
            <a:pPr marL="203200" indent="-212725"/>
            <a:r>
              <a:rPr lang="en-US" sz="800" dirty="0"/>
              <a:t>1.	Excluding Mexico and Dominican Republic, due to special circumstances</a:t>
            </a:r>
            <a:endParaRPr lang="pt-BR" sz="800" dirty="0"/>
          </a:p>
        </p:txBody>
      </p:sp>
    </p:spTree>
    <p:extLst>
      <p:ext uri="{BB962C8B-B14F-4D97-AF65-F5344CB8AC3E}">
        <p14:creationId xmlns:p14="http://schemas.microsoft.com/office/powerpoint/2010/main" val="822637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8092391-F817-4825-975B-A7CE230F0506}"/>
              </a:ext>
            </a:extLst>
          </p:cNvPr>
          <p:cNvGraphicFramePr>
            <a:graphicFrameLocks noChangeAspect="1"/>
          </p:cNvGraphicFramePr>
          <p:nvPr>
            <p:custDataLst>
              <p:tags r:id="rId1"/>
            </p:custDataLst>
            <p:extLst>
              <p:ext uri="{D42A27DB-BD31-4B8C-83A1-F6EECF244321}">
                <p14:modId xmlns:p14="http://schemas.microsoft.com/office/powerpoint/2010/main" val="372202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395" imgH="396" progId="TCLayout.ActiveDocument.1">
                  <p:embed/>
                </p:oleObj>
              </mc:Choice>
              <mc:Fallback>
                <p:oleObj name="think-cell Slide" r:id="rId29" imgW="395" imgH="396" progId="TCLayout.ActiveDocument.1">
                  <p:embed/>
                  <p:pic>
                    <p:nvPicPr>
                      <p:cNvPr id="5" name="Object 4" hidden="1">
                        <a:extLst>
                          <a:ext uri="{FF2B5EF4-FFF2-40B4-BE49-F238E27FC236}">
                            <a16:creationId xmlns:a16="http://schemas.microsoft.com/office/drawing/2014/main" id="{78092391-F817-4825-975B-A7CE230F0506}"/>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Slide Number Placeholder 5">
            <a:extLst>
              <a:ext uri="{FF2B5EF4-FFF2-40B4-BE49-F238E27FC236}">
                <a16:creationId xmlns:a16="http://schemas.microsoft.com/office/drawing/2014/main" id="{167D3468-42B9-45FA-938B-2DE60CA6C7E7}"/>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DB285B-DFCF-F045-9459-27C683DF8B15}" type="slidenum">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4" name="Title 1">
            <a:extLst>
              <a:ext uri="{FF2B5EF4-FFF2-40B4-BE49-F238E27FC236}">
                <a16:creationId xmlns:a16="http://schemas.microsoft.com/office/drawing/2014/main" id="{73A2DBC9-3DFE-4AA1-905C-692C52481BD0}"/>
              </a:ext>
            </a:extLst>
          </p:cNvPr>
          <p:cNvSpPr txBox="1">
            <a:spLocks/>
          </p:cNvSpPr>
          <p:nvPr/>
        </p:nvSpPr>
        <p:spPr>
          <a:xfrm>
            <a:off x="262527" y="175755"/>
            <a:ext cx="8499680" cy="75713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ctr" anchorCtr="0">
            <a:spAutoFit/>
          </a:bodyPr>
          <a:lstStyle>
            <a:lvl1pPr algn="l" defTabSz="914400" rtl="0" eaLnBrk="1" latinLnBrk="0" hangingPunct="1">
              <a:lnSpc>
                <a:spcPct val="90000"/>
              </a:lnSpc>
              <a:spcBef>
                <a:spcPct val="0"/>
              </a:spcBef>
              <a:buNone/>
              <a:defRPr sz="3200" b="1" i="0" kern="1200">
                <a:solidFill>
                  <a:srgbClr val="002060"/>
                </a:solidFill>
                <a:latin typeface="Calibri" panose="020F0502020204030204" pitchFamily="34" charset="0"/>
                <a:ea typeface="+mj-ea"/>
                <a:cs typeface="Calibri" panose="020F050202020403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Calibri" panose="020F0502020204030204" pitchFamily="34" charset="0"/>
                <a:ea typeface="+mj-ea"/>
                <a:cs typeface="Calibri" panose="020F0502020204030204" pitchFamily="34" charset="0"/>
              </a:rPr>
              <a:t>Peru remains an attractive and known hub for mining investment, if communities and regulations are carefully managed</a:t>
            </a:r>
            <a:endParaRPr kumimoji="0" lang="en-CA" sz="2400" b="1" i="0" u="none" strike="noStrike" kern="1200" cap="none" spc="0" normalizeH="0" baseline="0" noProof="0" dirty="0">
              <a:ln>
                <a:noFill/>
              </a:ln>
              <a:solidFill>
                <a:srgbClr val="002060"/>
              </a:solidFill>
              <a:effectLst/>
              <a:uLnTx/>
              <a:uFillTx/>
              <a:latin typeface="Calibri" panose="020F0502020204030204" pitchFamily="34" charset="0"/>
              <a:ea typeface="+mj-ea"/>
              <a:cs typeface="Calibri" panose="020F0502020204030204" pitchFamily="34" charset="0"/>
            </a:endParaRPr>
          </a:p>
        </p:txBody>
      </p:sp>
      <p:sp>
        <p:nvSpPr>
          <p:cNvPr id="7" name="Rectangle: Diagonal Corners Rounded 6">
            <a:extLst>
              <a:ext uri="{FF2B5EF4-FFF2-40B4-BE49-F238E27FC236}">
                <a16:creationId xmlns:a16="http://schemas.microsoft.com/office/drawing/2014/main" id="{D1A5CE68-3036-40BF-A35A-C0C1A8D70A20}"/>
              </a:ext>
            </a:extLst>
          </p:cNvPr>
          <p:cNvSpPr/>
          <p:nvPr/>
        </p:nvSpPr>
        <p:spPr>
          <a:xfrm flipV="1">
            <a:off x="0" y="1094638"/>
            <a:ext cx="3000375" cy="5763362"/>
          </a:xfrm>
          <a:prstGeom prst="round2DiagRect">
            <a:avLst>
              <a:gd name="adj1" fmla="val 5095"/>
              <a:gd name="adj2"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DC1EC433-3EF1-48B7-99B5-529DCED7A6A3}"/>
              </a:ext>
            </a:extLst>
          </p:cNvPr>
          <p:cNvSpPr txBox="1">
            <a:spLocks/>
          </p:cNvSpPr>
          <p:nvPr/>
        </p:nvSpPr>
        <p:spPr>
          <a:xfrm>
            <a:off x="262527" y="1231901"/>
            <a:ext cx="2394947" cy="341313"/>
          </a:xfrm>
          <a:prstGeom prst="rect">
            <a:avLst/>
          </a:prstGeom>
        </p:spPr>
        <p:txBody>
          <a:bodyPr vert="horz" wrap="square" lIns="91440" tIns="45720" rIns="91440" bIns="45720" rtlCol="0">
            <a:no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rPr>
              <a:t>Overview</a:t>
            </a:r>
          </a:p>
        </p:txBody>
      </p:sp>
      <p:sp>
        <p:nvSpPr>
          <p:cNvPr id="10" name="TextBox 9">
            <a:extLst>
              <a:ext uri="{FF2B5EF4-FFF2-40B4-BE49-F238E27FC236}">
                <a16:creationId xmlns:a16="http://schemas.microsoft.com/office/drawing/2014/main" id="{72A71319-D7DF-494C-A3A2-AACCB837E44E}"/>
              </a:ext>
            </a:extLst>
          </p:cNvPr>
          <p:cNvSpPr txBox="1">
            <a:spLocks/>
          </p:cNvSpPr>
          <p:nvPr/>
        </p:nvSpPr>
        <p:spPr>
          <a:xfrm>
            <a:off x="8953499" y="1231901"/>
            <a:ext cx="2870021" cy="341313"/>
          </a:xfrm>
          <a:prstGeom prst="rect">
            <a:avLst/>
          </a:prstGeom>
        </p:spPr>
        <p:txBody>
          <a:bodyPr vert="horz" wrap="square" lIns="91440" tIns="45720" rIns="91440" bIns="45720" rtlCol="0">
            <a:no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Main risks</a:t>
            </a:r>
          </a:p>
        </p:txBody>
      </p:sp>
      <p:sp>
        <p:nvSpPr>
          <p:cNvPr id="144" name="TextBox 143">
            <a:extLst>
              <a:ext uri="{FF2B5EF4-FFF2-40B4-BE49-F238E27FC236}">
                <a16:creationId xmlns:a16="http://schemas.microsoft.com/office/drawing/2014/main" id="{E8106E64-E8A4-4E6C-8094-05F333F3310F}"/>
              </a:ext>
            </a:extLst>
          </p:cNvPr>
          <p:cNvSpPr txBox="1"/>
          <p:nvPr/>
        </p:nvSpPr>
        <p:spPr>
          <a:xfrm>
            <a:off x="8953499" y="1633539"/>
            <a:ext cx="2870021" cy="2914644"/>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Community opposition and conflicts </a:t>
            </a:r>
            <a:r>
              <a:rPr kumimoji="0" lang="en-US" sz="16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in operating mines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Unstable political environment</a:t>
            </a:r>
            <a:r>
              <a:rPr kumimoji="0" lang="en-US" sz="16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 with 6 presidents in the last 5 year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Long permitting times </a:t>
            </a:r>
            <a:r>
              <a:rPr kumimoji="0" lang="en-US" sz="16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and slow approval process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Variable regulation enforcement</a:t>
            </a:r>
            <a:r>
              <a:rPr kumimoji="0" lang="en-US" sz="16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a:t>
            </a:r>
            <a:r>
              <a:rPr kumimoji="0" lang="en-US" sz="1600" b="1"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 </a:t>
            </a:r>
            <a:r>
              <a:rPr kumimoji="0" lang="en-US" sz="16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which can create operational disruptions </a:t>
            </a:r>
          </a:p>
        </p:txBody>
      </p:sp>
      <p:cxnSp>
        <p:nvCxnSpPr>
          <p:cNvPr id="150" name="LineContentSeparatorDefault 150">
            <a:extLst>
              <a:ext uri="{FF2B5EF4-FFF2-40B4-BE49-F238E27FC236}">
                <a16:creationId xmlns:a16="http://schemas.microsoft.com/office/drawing/2014/main" id="{74B6E49E-3407-4E23-92E6-CE2E3937239F}"/>
              </a:ext>
            </a:extLst>
          </p:cNvPr>
          <p:cNvCxnSpPr>
            <a:cxnSpLocks/>
          </p:cNvCxnSpPr>
          <p:nvPr>
            <p:custDataLst>
              <p:tags r:id="rId2"/>
            </p:custDataLst>
          </p:nvPr>
        </p:nvCxnSpPr>
        <p:spPr>
          <a:xfrm>
            <a:off x="262527" y="1566863"/>
            <a:ext cx="2394947" cy="0"/>
          </a:xfrm>
          <a:prstGeom prst="straightConnector1">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4" name="LineContentSeparatorDefault 150">
            <a:extLst>
              <a:ext uri="{FF2B5EF4-FFF2-40B4-BE49-F238E27FC236}">
                <a16:creationId xmlns:a16="http://schemas.microsoft.com/office/drawing/2014/main" id="{5DD69DFA-90AE-4BC4-B32C-7D033758F7AF}"/>
              </a:ext>
            </a:extLst>
          </p:cNvPr>
          <p:cNvCxnSpPr>
            <a:cxnSpLocks/>
          </p:cNvCxnSpPr>
          <p:nvPr>
            <p:custDataLst>
              <p:tags r:id="rId3"/>
            </p:custDataLst>
          </p:nvPr>
        </p:nvCxnSpPr>
        <p:spPr>
          <a:xfrm>
            <a:off x="8953500" y="1566863"/>
            <a:ext cx="2870021" cy="0"/>
          </a:xfrm>
          <a:prstGeom prst="straightConnector1">
            <a:avLst/>
          </a:prstGeom>
          <a:ln w="6350">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nvGrpSpPr>
          <p:cNvPr id="158" name="ChevronWhite 158">
            <a:extLst>
              <a:ext uri="{FF2B5EF4-FFF2-40B4-BE49-F238E27FC236}">
                <a16:creationId xmlns:a16="http://schemas.microsoft.com/office/drawing/2014/main" id="{7A57A53C-82A1-4767-B284-15634A46B7E3}"/>
              </a:ext>
            </a:extLst>
          </p:cNvPr>
          <p:cNvGrpSpPr>
            <a:grpSpLocks noChangeAspect="1"/>
          </p:cNvGrpSpPr>
          <p:nvPr>
            <p:custDataLst>
              <p:tags r:id="rId4"/>
            </p:custDataLst>
          </p:nvPr>
        </p:nvGrpSpPr>
        <p:grpSpPr>
          <a:xfrm>
            <a:off x="2839392" y="1385889"/>
            <a:ext cx="303213" cy="303213"/>
            <a:chOff x="1016000" y="1016000"/>
            <a:chExt cx="396228" cy="396228"/>
          </a:xfrm>
        </p:grpSpPr>
        <p:sp>
          <p:nvSpPr>
            <p:cNvPr id="155" name="Oval 154">
              <a:extLst>
                <a:ext uri="{FF2B5EF4-FFF2-40B4-BE49-F238E27FC236}">
                  <a16:creationId xmlns:a16="http://schemas.microsoft.com/office/drawing/2014/main" id="{AA98363E-41C0-4689-B779-4AC4E4884E0F}"/>
                </a:ext>
              </a:extLst>
            </p:cNvPr>
            <p:cNvSpPr/>
            <p:nvPr/>
          </p:nvSpPr>
          <p:spPr>
            <a:xfrm>
              <a:off x="1016000" y="1016000"/>
              <a:ext cx="396228" cy="396228"/>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57" name="Graphic 156">
              <a:extLst>
                <a:ext uri="{FF2B5EF4-FFF2-40B4-BE49-F238E27FC236}">
                  <a16:creationId xmlns:a16="http://schemas.microsoft.com/office/drawing/2014/main" id="{B037DC85-89A7-424E-9471-A1BFB5820EFB}"/>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1023614" y="1023614"/>
              <a:ext cx="381000" cy="381000"/>
            </a:xfrm>
            <a:prstGeom prst="rect">
              <a:avLst/>
            </a:prstGeom>
          </p:spPr>
        </p:pic>
      </p:grpSp>
      <p:pic>
        <p:nvPicPr>
          <p:cNvPr id="164" name="Picture 163">
            <a:extLst>
              <a:ext uri="{FF2B5EF4-FFF2-40B4-BE49-F238E27FC236}">
                <a16:creationId xmlns:a16="http://schemas.microsoft.com/office/drawing/2014/main" id="{C08644D0-F3E7-4FD7-A025-99B29EDF625E}"/>
              </a:ext>
            </a:extLst>
          </p:cNvPr>
          <p:cNvPicPr>
            <a:picLocks noChangeAspect="1"/>
          </p:cNvPicPr>
          <p:nvPr>
            <p:custDataLst>
              <p:tags r:id="rId5"/>
            </p:custDataLst>
          </p:nvPr>
        </p:nvPicPr>
        <p:blipFill rotWithShape="1">
          <a:blip r:embed="rId33" cstate="print">
            <a:extLst>
              <a:ext uri="{28A0092B-C50C-407E-A947-70E740481C1C}">
                <a14:useLocalDpi xmlns:a14="http://schemas.microsoft.com/office/drawing/2010/main"/>
              </a:ext>
            </a:extLst>
          </a:blip>
          <a:srcRect/>
          <a:stretch/>
        </p:blipFill>
        <p:spPr>
          <a:xfrm flipH="1">
            <a:off x="8589371" y="4692650"/>
            <a:ext cx="3601355" cy="2028825"/>
          </a:xfrm>
          <a:prstGeom prst="rect">
            <a:avLst/>
          </a:prstGeom>
        </p:spPr>
      </p:pic>
      <p:grpSp>
        <p:nvGrpSpPr>
          <p:cNvPr id="92" name="sticker">
            <a:extLst>
              <a:ext uri="{FF2B5EF4-FFF2-40B4-BE49-F238E27FC236}">
                <a16:creationId xmlns:a16="http://schemas.microsoft.com/office/drawing/2014/main" id="{7F35E35C-FB9D-B256-04A3-5DB6F2E78A97}"/>
              </a:ext>
            </a:extLst>
          </p:cNvPr>
          <p:cNvGrpSpPr/>
          <p:nvPr/>
        </p:nvGrpSpPr>
        <p:grpSpPr>
          <a:xfrm>
            <a:off x="11420230" y="254000"/>
            <a:ext cx="517770" cy="148759"/>
            <a:chOff x="11420230" y="254000"/>
            <a:chExt cx="517770" cy="148759"/>
          </a:xfrm>
        </p:grpSpPr>
        <p:sp>
          <p:nvSpPr>
            <p:cNvPr id="87" name="StickerRectangle">
              <a:extLst>
                <a:ext uri="{FF2B5EF4-FFF2-40B4-BE49-F238E27FC236}">
                  <a16:creationId xmlns:a16="http://schemas.microsoft.com/office/drawing/2014/main" id="{386731D2-E8B7-315F-5443-4E4A0D66169F}"/>
                </a:ext>
              </a:extLst>
            </p:cNvPr>
            <p:cNvSpPr/>
            <p:nvPr/>
          </p:nvSpPr>
          <p:spPr>
            <a:xfrm>
              <a:off x="11420230" y="254000"/>
              <a:ext cx="517770" cy="148759"/>
            </a:xfrm>
            <a:prstGeom prst="leftRightArrow">
              <a:avLst>
                <a:gd name="adj1" fmla="val 10000000"/>
                <a:gd name="adj2" fmla="val 0"/>
              </a:avLst>
            </a:prstGeom>
            <a:noFill/>
            <a:ln w="12700" cap="flat" cmpd="sng" algn="ctr">
              <a:noFill/>
              <a:prstDash val="solid"/>
              <a:miter lim="800000"/>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FFFFFF"/>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38100" tIns="0" rIns="0" bIns="2540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B0C34"/>
                  </a:solidFill>
                  <a:effectLst/>
                  <a:uLnTx/>
                  <a:uFillTx/>
                  <a:latin typeface="Calibri" panose="020F0502020204030204"/>
                  <a:ea typeface="+mn-ea"/>
                  <a:cs typeface="+mn-cs"/>
                </a:rPr>
                <a:t>Preliminary</a:t>
              </a:r>
            </a:p>
          </p:txBody>
        </p:sp>
        <p:cxnSp>
          <p:nvCxnSpPr>
            <p:cNvPr id="88" name="Straight Arrow Connector 87">
              <a:extLst>
                <a:ext uri="{FF2B5EF4-FFF2-40B4-BE49-F238E27FC236}">
                  <a16:creationId xmlns:a16="http://schemas.microsoft.com/office/drawing/2014/main" id="{3BCE121B-300B-7A41-3384-21E9F08C8793}"/>
                </a:ext>
              </a:extLst>
            </p:cNvPr>
            <p:cNvCxnSpPr>
              <a:cxnSpLocks/>
              <a:stCxn id="87" idx="6"/>
              <a:endCxn id="87" idx="4"/>
            </p:cNvCxnSpPr>
            <p:nvPr/>
          </p:nvCxnSpPr>
          <p:spPr>
            <a:xfrm flipH="1">
              <a:off x="11420230" y="402759"/>
              <a:ext cx="517770" cy="0"/>
            </a:xfrm>
            <a:prstGeom prst="straightConnector1">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8DC6051A-136A-2B19-21BF-0B35AE364CA5}"/>
                </a:ext>
              </a:extLst>
            </p:cNvPr>
            <p:cNvCxnSpPr>
              <a:cxnSpLocks/>
              <a:stCxn id="87" idx="2"/>
              <a:endCxn id="87" idx="4"/>
            </p:cNvCxnSpPr>
            <p:nvPr/>
          </p:nvCxnSpPr>
          <p:spPr>
            <a:xfrm>
              <a:off x="11420230" y="254000"/>
              <a:ext cx="0" cy="148759"/>
            </a:xfrm>
            <a:prstGeom prst="straightConnector1">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14" name="5. Source">
            <a:extLst>
              <a:ext uri="{FF2B5EF4-FFF2-40B4-BE49-F238E27FC236}">
                <a16:creationId xmlns:a16="http://schemas.microsoft.com/office/drawing/2014/main" id="{56E4C79A-540A-ED9C-D76D-DB48DAD8A3F4}"/>
              </a:ext>
            </a:extLst>
          </p:cNvPr>
          <p:cNvSpPr txBox="1"/>
          <p:nvPr>
            <p:custDataLst>
              <p:tags r:id="rId6"/>
            </p:custDataLst>
          </p:nvPr>
        </p:nvSpPr>
        <p:spPr>
          <a:xfrm>
            <a:off x="262528" y="6533620"/>
            <a:ext cx="2582692" cy="184666"/>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6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Source: S&amp;P Global, IBRAM, Americas Market Intelligence, World Bank WDI, IMF (WEO), </a:t>
            </a:r>
            <a:r>
              <a:rPr kumimoji="0" lang="en-US" sz="600" b="0" i="0" u="none" strike="noStrike" kern="1200" cap="none" spc="0" normalizeH="0" baseline="0" noProof="0" dirty="0" err="1">
                <a:ln>
                  <a:noFill/>
                </a:ln>
                <a:solidFill>
                  <a:srgbClr val="FFFFFF"/>
                </a:solidFill>
                <a:effectLst/>
                <a:uLnTx/>
                <a:uFillTx/>
                <a:latin typeface="Calibri" panose="020F0502020204030204" pitchFamily="34" charset="0"/>
                <a:ea typeface="+mn-ea"/>
                <a:cs typeface="Calibri" panose="020F0502020204030204" pitchFamily="34" charset="0"/>
              </a:rPr>
              <a:t>Dentos</a:t>
            </a:r>
            <a:r>
              <a:rPr kumimoji="0" lang="en-US" sz="6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 Global Mining Guide, </a:t>
            </a:r>
            <a:r>
              <a:rPr kumimoji="0" lang="en-US" sz="600" b="0" i="0" u="none" strike="noStrike" kern="1200" cap="none" spc="0" normalizeH="0" baseline="0" noProof="0" dirty="0" err="1">
                <a:ln>
                  <a:noFill/>
                </a:ln>
                <a:solidFill>
                  <a:srgbClr val="FFFFFF"/>
                </a:solidFill>
                <a:effectLst/>
                <a:uLnTx/>
                <a:uFillTx/>
                <a:latin typeface="Calibri" panose="020F0502020204030204" pitchFamily="34" charset="0"/>
                <a:ea typeface="+mn-ea"/>
                <a:cs typeface="Calibri" panose="020F0502020204030204" pitchFamily="34" charset="0"/>
              </a:rPr>
              <a:t>Lexology</a:t>
            </a:r>
            <a:r>
              <a:rPr kumimoji="0" lang="en-US" sz="6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 press search</a:t>
            </a:r>
          </a:p>
        </p:txBody>
      </p:sp>
      <p:pic>
        <p:nvPicPr>
          <p:cNvPr id="31" name="Picture 30">
            <a:extLst>
              <a:ext uri="{FF2B5EF4-FFF2-40B4-BE49-F238E27FC236}">
                <a16:creationId xmlns:a16="http://schemas.microsoft.com/office/drawing/2014/main" id="{EE3E7259-9FAB-811B-2FEE-79376796BF2F}"/>
              </a:ext>
            </a:extLst>
          </p:cNvPr>
          <p:cNvPicPr>
            <a:picLocks/>
          </p:cNvPicPr>
          <p:nvPr/>
        </p:nvPicPr>
        <p:blipFill rotWithShape="1">
          <a:blip r:embed="rId34" cstate="screen">
            <a:extLst>
              <a:ext uri="{28A0092B-C50C-407E-A947-70E740481C1C}">
                <a14:useLocalDpi xmlns:a14="http://schemas.microsoft.com/office/drawing/2010/main"/>
              </a:ext>
            </a:extLst>
          </a:blip>
          <a:srcRect/>
          <a:stretch/>
        </p:blipFill>
        <p:spPr>
          <a:xfrm>
            <a:off x="8762207" y="358581"/>
            <a:ext cx="604510" cy="604510"/>
          </a:xfrm>
          <a:prstGeom prst="ellipse">
            <a:avLst/>
          </a:prstGeom>
          <a:ln>
            <a:solidFill>
              <a:srgbClr val="CCCCCC"/>
            </a:solidFill>
          </a:ln>
        </p:spPr>
      </p:pic>
      <p:sp>
        <p:nvSpPr>
          <p:cNvPr id="3" name="TextBox 2">
            <a:extLst>
              <a:ext uri="{FF2B5EF4-FFF2-40B4-BE49-F238E27FC236}">
                <a16:creationId xmlns:a16="http://schemas.microsoft.com/office/drawing/2014/main" id="{B8A21F1C-BA80-FFB2-D73D-13FFD764071A}"/>
              </a:ext>
            </a:extLst>
          </p:cNvPr>
          <p:cNvSpPr txBox="1"/>
          <p:nvPr/>
        </p:nvSpPr>
        <p:spPr>
          <a:xfrm>
            <a:off x="262527" y="820969"/>
            <a:ext cx="4064000" cy="286232"/>
          </a:xfrm>
          <a:prstGeom prst="rect">
            <a:avLst/>
          </a:prstGeom>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mn-cs"/>
              </a:rPr>
              <a:t>Peru executive summary</a:t>
            </a:r>
          </a:p>
        </p:txBody>
      </p:sp>
      <p:sp>
        <p:nvSpPr>
          <p:cNvPr id="19" name="TextBox 18">
            <a:extLst>
              <a:ext uri="{FF2B5EF4-FFF2-40B4-BE49-F238E27FC236}">
                <a16:creationId xmlns:a16="http://schemas.microsoft.com/office/drawing/2014/main" id="{4981E9E2-E386-B8F8-5292-FEA5448A4A93}"/>
              </a:ext>
            </a:extLst>
          </p:cNvPr>
          <p:cNvSpPr txBox="1"/>
          <p:nvPr/>
        </p:nvSpPr>
        <p:spPr>
          <a:xfrm>
            <a:off x="3238501" y="1231901"/>
            <a:ext cx="4523785" cy="341313"/>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Mining outlook</a:t>
            </a:r>
          </a:p>
        </p:txBody>
      </p:sp>
      <p:sp>
        <p:nvSpPr>
          <p:cNvPr id="22" name="TextBox 21">
            <a:extLst>
              <a:ext uri="{FF2B5EF4-FFF2-40B4-BE49-F238E27FC236}">
                <a16:creationId xmlns:a16="http://schemas.microsoft.com/office/drawing/2014/main" id="{FC04769A-6EE6-1D09-B4A6-0B5DEE24A7FF}"/>
              </a:ext>
            </a:extLst>
          </p:cNvPr>
          <p:cNvSpPr txBox="1"/>
          <p:nvPr/>
        </p:nvSpPr>
        <p:spPr>
          <a:xfrm>
            <a:off x="3238501" y="1633538"/>
            <a:ext cx="2737848" cy="314325"/>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Importance for the country</a:t>
            </a:r>
          </a:p>
        </p:txBody>
      </p:sp>
      <p:sp>
        <p:nvSpPr>
          <p:cNvPr id="24" name="TextBox 23">
            <a:extLst>
              <a:ext uri="{FF2B5EF4-FFF2-40B4-BE49-F238E27FC236}">
                <a16:creationId xmlns:a16="http://schemas.microsoft.com/office/drawing/2014/main" id="{AEED890C-D13E-861C-B233-7B2808AE7346}"/>
              </a:ext>
            </a:extLst>
          </p:cNvPr>
          <p:cNvSpPr txBox="1"/>
          <p:nvPr/>
        </p:nvSpPr>
        <p:spPr>
          <a:xfrm>
            <a:off x="6214475" y="1633538"/>
            <a:ext cx="2394947" cy="314325"/>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Gold mining in numbers</a:t>
            </a:r>
          </a:p>
        </p:txBody>
      </p:sp>
      <p:grpSp>
        <p:nvGrpSpPr>
          <p:cNvPr id="27" name="Group 26">
            <a:extLst>
              <a:ext uri="{FF2B5EF4-FFF2-40B4-BE49-F238E27FC236}">
                <a16:creationId xmlns:a16="http://schemas.microsoft.com/office/drawing/2014/main" id="{BF5794FA-FCCD-4DE1-5856-26B219B9AF7F}"/>
              </a:ext>
            </a:extLst>
          </p:cNvPr>
          <p:cNvGrpSpPr/>
          <p:nvPr/>
        </p:nvGrpSpPr>
        <p:grpSpPr>
          <a:xfrm>
            <a:off x="3238501" y="3767663"/>
            <a:ext cx="2611609" cy="291655"/>
            <a:chOff x="3238501" y="4749814"/>
            <a:chExt cx="2611609" cy="291290"/>
          </a:xfrm>
        </p:grpSpPr>
        <p:grpSp>
          <p:nvGrpSpPr>
            <p:cNvPr id="28" name="CheckmarkBlue 106">
              <a:extLst>
                <a:ext uri="{FF2B5EF4-FFF2-40B4-BE49-F238E27FC236}">
                  <a16:creationId xmlns:a16="http://schemas.microsoft.com/office/drawing/2014/main" id="{B8FF3A97-16A9-164A-4803-433638A09CDF}"/>
                </a:ext>
              </a:extLst>
            </p:cNvPr>
            <p:cNvGrpSpPr>
              <a:grpSpLocks noChangeAspect="1"/>
            </p:cNvGrpSpPr>
            <p:nvPr>
              <p:custDataLst>
                <p:tags r:id="rId26"/>
              </p:custDataLst>
            </p:nvPr>
          </p:nvGrpSpPr>
          <p:grpSpPr>
            <a:xfrm>
              <a:off x="3238501" y="4772456"/>
              <a:ext cx="268648" cy="268648"/>
              <a:chOff x="1016000" y="1016000"/>
              <a:chExt cx="396228" cy="396228"/>
            </a:xfrm>
          </p:grpSpPr>
          <p:sp>
            <p:nvSpPr>
              <p:cNvPr id="32" name="Oval 31">
                <a:extLst>
                  <a:ext uri="{FF2B5EF4-FFF2-40B4-BE49-F238E27FC236}">
                    <a16:creationId xmlns:a16="http://schemas.microsoft.com/office/drawing/2014/main" id="{007D3EF9-7CBB-4AB2-473A-44BC98424877}"/>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34" name="Graphic 33">
                <a:extLst>
                  <a:ext uri="{FF2B5EF4-FFF2-40B4-BE49-F238E27FC236}">
                    <a16:creationId xmlns:a16="http://schemas.microsoft.com/office/drawing/2014/main" id="{BCB816C5-1E60-08F8-501E-AE628D167C49}"/>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1023614" y="1023614"/>
                <a:ext cx="381000" cy="381000"/>
              </a:xfrm>
              <a:prstGeom prst="rect">
                <a:avLst/>
              </a:prstGeom>
            </p:spPr>
          </p:pic>
        </p:grpSp>
        <p:sp>
          <p:nvSpPr>
            <p:cNvPr id="29" name="TextBox 28">
              <a:extLst>
                <a:ext uri="{FF2B5EF4-FFF2-40B4-BE49-F238E27FC236}">
                  <a16:creationId xmlns:a16="http://schemas.microsoft.com/office/drawing/2014/main" id="{0099EF20-DE94-5137-B8A4-5DD0B3D81CEA}"/>
                </a:ext>
              </a:extLst>
            </p:cNvPr>
            <p:cNvSpPr txBox="1"/>
            <p:nvPr/>
          </p:nvSpPr>
          <p:spPr>
            <a:xfrm>
              <a:off x="3512311" y="4749814"/>
              <a:ext cx="2337799" cy="285874"/>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Traditional Mining house</a:t>
              </a:r>
            </a:p>
          </p:txBody>
        </p:sp>
      </p:grpSp>
      <p:grpSp>
        <p:nvGrpSpPr>
          <p:cNvPr id="36" name="Group 35">
            <a:extLst>
              <a:ext uri="{FF2B5EF4-FFF2-40B4-BE49-F238E27FC236}">
                <a16:creationId xmlns:a16="http://schemas.microsoft.com/office/drawing/2014/main" id="{8EC26D9A-544D-89D3-2946-0A2EE230845F}"/>
              </a:ext>
            </a:extLst>
          </p:cNvPr>
          <p:cNvGrpSpPr/>
          <p:nvPr/>
        </p:nvGrpSpPr>
        <p:grpSpPr>
          <a:xfrm>
            <a:off x="3238501" y="4189872"/>
            <a:ext cx="2611609" cy="480131"/>
            <a:chOff x="3238501" y="5199292"/>
            <a:chExt cx="2611609" cy="479530"/>
          </a:xfrm>
        </p:grpSpPr>
        <p:grpSp>
          <p:nvGrpSpPr>
            <p:cNvPr id="37" name="CheckmarkBlue 106">
              <a:extLst>
                <a:ext uri="{FF2B5EF4-FFF2-40B4-BE49-F238E27FC236}">
                  <a16:creationId xmlns:a16="http://schemas.microsoft.com/office/drawing/2014/main" id="{675C883F-7D34-7123-74C9-AFADE18228C9}"/>
                </a:ext>
              </a:extLst>
            </p:cNvPr>
            <p:cNvGrpSpPr>
              <a:grpSpLocks noChangeAspect="1"/>
            </p:cNvGrpSpPr>
            <p:nvPr>
              <p:custDataLst>
                <p:tags r:id="rId25"/>
              </p:custDataLst>
            </p:nvPr>
          </p:nvGrpSpPr>
          <p:grpSpPr>
            <a:xfrm>
              <a:off x="3238501" y="5221934"/>
              <a:ext cx="268648" cy="268648"/>
              <a:chOff x="1016000" y="1016000"/>
              <a:chExt cx="396228" cy="396228"/>
            </a:xfrm>
          </p:grpSpPr>
          <p:sp>
            <p:nvSpPr>
              <p:cNvPr id="42" name="Oval 41">
                <a:extLst>
                  <a:ext uri="{FF2B5EF4-FFF2-40B4-BE49-F238E27FC236}">
                    <a16:creationId xmlns:a16="http://schemas.microsoft.com/office/drawing/2014/main" id="{384D5673-FE7A-0153-D924-019631968693}"/>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44" name="Graphic 43">
                <a:extLst>
                  <a:ext uri="{FF2B5EF4-FFF2-40B4-BE49-F238E27FC236}">
                    <a16:creationId xmlns:a16="http://schemas.microsoft.com/office/drawing/2014/main" id="{57DBE4E1-E1A8-4903-08E2-41FFBF267781}"/>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1023614" y="1023614"/>
                <a:ext cx="381000" cy="381000"/>
              </a:xfrm>
              <a:prstGeom prst="rect">
                <a:avLst/>
              </a:prstGeom>
            </p:spPr>
          </p:pic>
        </p:grpSp>
        <p:sp>
          <p:nvSpPr>
            <p:cNvPr id="39" name="TextBox 38">
              <a:extLst>
                <a:ext uri="{FF2B5EF4-FFF2-40B4-BE49-F238E27FC236}">
                  <a16:creationId xmlns:a16="http://schemas.microsoft.com/office/drawing/2014/main" id="{353F6748-3A0F-1717-D101-934E7F69ADC4}"/>
                </a:ext>
              </a:extLst>
            </p:cNvPr>
            <p:cNvSpPr txBox="1"/>
            <p:nvPr/>
          </p:nvSpPr>
          <p:spPr>
            <a:xfrm>
              <a:off x="3512311" y="5199292"/>
              <a:ext cx="2337799" cy="479530"/>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Good regulation environment for mining operations</a:t>
              </a:r>
            </a:p>
          </p:txBody>
        </p:sp>
      </p:grpSp>
      <p:grpSp>
        <p:nvGrpSpPr>
          <p:cNvPr id="46" name="Group 45">
            <a:extLst>
              <a:ext uri="{FF2B5EF4-FFF2-40B4-BE49-F238E27FC236}">
                <a16:creationId xmlns:a16="http://schemas.microsoft.com/office/drawing/2014/main" id="{4C2E2C27-DE3C-587E-08AF-5777A7823993}"/>
              </a:ext>
            </a:extLst>
          </p:cNvPr>
          <p:cNvGrpSpPr/>
          <p:nvPr/>
        </p:nvGrpSpPr>
        <p:grpSpPr>
          <a:xfrm>
            <a:off x="3238501" y="4739280"/>
            <a:ext cx="2611609" cy="480131"/>
            <a:chOff x="3238501" y="5648770"/>
            <a:chExt cx="2611609" cy="479530"/>
          </a:xfrm>
        </p:grpSpPr>
        <p:grpSp>
          <p:nvGrpSpPr>
            <p:cNvPr id="47" name="CheckmarkBlue 106">
              <a:extLst>
                <a:ext uri="{FF2B5EF4-FFF2-40B4-BE49-F238E27FC236}">
                  <a16:creationId xmlns:a16="http://schemas.microsoft.com/office/drawing/2014/main" id="{CD0919AB-499D-4819-6C88-AE8CF29DD59A}"/>
                </a:ext>
              </a:extLst>
            </p:cNvPr>
            <p:cNvGrpSpPr>
              <a:grpSpLocks noChangeAspect="1"/>
            </p:cNvGrpSpPr>
            <p:nvPr>
              <p:custDataLst>
                <p:tags r:id="rId24"/>
              </p:custDataLst>
            </p:nvPr>
          </p:nvGrpSpPr>
          <p:grpSpPr>
            <a:xfrm>
              <a:off x="3238501" y="5671412"/>
              <a:ext cx="268648" cy="268648"/>
              <a:chOff x="1016000" y="1016000"/>
              <a:chExt cx="396228" cy="396228"/>
            </a:xfrm>
          </p:grpSpPr>
          <p:sp>
            <p:nvSpPr>
              <p:cNvPr id="49" name="Oval 48">
                <a:extLst>
                  <a:ext uri="{FF2B5EF4-FFF2-40B4-BE49-F238E27FC236}">
                    <a16:creationId xmlns:a16="http://schemas.microsoft.com/office/drawing/2014/main" id="{AD30BBA9-4F2F-56D2-2EEF-46E17B8EAE92}"/>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51" name="Graphic 50">
                <a:extLst>
                  <a:ext uri="{FF2B5EF4-FFF2-40B4-BE49-F238E27FC236}">
                    <a16:creationId xmlns:a16="http://schemas.microsoft.com/office/drawing/2014/main" id="{900FCA77-8760-176B-D3D0-B37D9BF15EBC}"/>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1023614" y="1023614"/>
                <a:ext cx="381000" cy="381000"/>
              </a:xfrm>
              <a:prstGeom prst="rect">
                <a:avLst/>
              </a:prstGeom>
            </p:spPr>
          </p:pic>
        </p:grpSp>
        <p:sp>
          <p:nvSpPr>
            <p:cNvPr id="48" name="TextBox 47">
              <a:extLst>
                <a:ext uri="{FF2B5EF4-FFF2-40B4-BE49-F238E27FC236}">
                  <a16:creationId xmlns:a16="http://schemas.microsoft.com/office/drawing/2014/main" id="{B049DF87-47F6-FF80-2DF3-637EE1835A7A}"/>
                </a:ext>
              </a:extLst>
            </p:cNvPr>
            <p:cNvSpPr txBox="1"/>
            <p:nvPr/>
          </p:nvSpPr>
          <p:spPr>
            <a:xfrm>
              <a:off x="3512311" y="5648770"/>
              <a:ext cx="2337799" cy="479530"/>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2° largest copper producer in the world</a:t>
              </a:r>
            </a:p>
          </p:txBody>
        </p:sp>
      </p:grpSp>
      <p:cxnSp>
        <p:nvCxnSpPr>
          <p:cNvPr id="52" name="LineContentSeparatorDefault 150">
            <a:extLst>
              <a:ext uri="{FF2B5EF4-FFF2-40B4-BE49-F238E27FC236}">
                <a16:creationId xmlns:a16="http://schemas.microsoft.com/office/drawing/2014/main" id="{858FA064-87DD-2C16-E01F-59CAB2A62B58}"/>
              </a:ext>
            </a:extLst>
          </p:cNvPr>
          <p:cNvCxnSpPr>
            <a:cxnSpLocks/>
          </p:cNvCxnSpPr>
          <p:nvPr>
            <p:custDataLst>
              <p:tags r:id="rId7"/>
            </p:custDataLst>
          </p:nvPr>
        </p:nvCxnSpPr>
        <p:spPr>
          <a:xfrm>
            <a:off x="3238501" y="1566863"/>
            <a:ext cx="5495924" cy="0"/>
          </a:xfrm>
          <a:prstGeom prst="straightConnector1">
            <a:avLst/>
          </a:prstGeom>
          <a:ln w="6350">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nvGrpSpPr>
          <p:cNvPr id="53" name="ChevronWhite 158">
            <a:extLst>
              <a:ext uri="{FF2B5EF4-FFF2-40B4-BE49-F238E27FC236}">
                <a16:creationId xmlns:a16="http://schemas.microsoft.com/office/drawing/2014/main" id="{34D492DC-8154-694D-2F6A-879D1D5A3584}"/>
              </a:ext>
            </a:extLst>
          </p:cNvPr>
          <p:cNvGrpSpPr>
            <a:grpSpLocks noChangeAspect="1"/>
          </p:cNvGrpSpPr>
          <p:nvPr>
            <p:custDataLst>
              <p:tags r:id="rId8"/>
            </p:custDataLst>
          </p:nvPr>
        </p:nvGrpSpPr>
        <p:grpSpPr>
          <a:xfrm>
            <a:off x="8669338" y="1385889"/>
            <a:ext cx="303213" cy="303213"/>
            <a:chOff x="1016000" y="1016000"/>
            <a:chExt cx="396228" cy="396228"/>
          </a:xfrm>
          <a:solidFill>
            <a:schemeClr val="accent3"/>
          </a:solidFill>
        </p:grpSpPr>
        <p:sp>
          <p:nvSpPr>
            <p:cNvPr id="54" name="Oval 53">
              <a:extLst>
                <a:ext uri="{FF2B5EF4-FFF2-40B4-BE49-F238E27FC236}">
                  <a16:creationId xmlns:a16="http://schemas.microsoft.com/office/drawing/2014/main" id="{59A573A7-E0DE-9BCD-C651-807CE5751766}"/>
                </a:ext>
              </a:extLst>
            </p:cNvPr>
            <p:cNvSpPr/>
            <p:nvPr/>
          </p:nvSpPr>
          <p:spPr>
            <a:xfrm>
              <a:off x="1016000" y="1016000"/>
              <a:ext cx="396228" cy="396228"/>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55" name="Graphic 54">
              <a:extLst>
                <a:ext uri="{FF2B5EF4-FFF2-40B4-BE49-F238E27FC236}">
                  <a16:creationId xmlns:a16="http://schemas.microsoft.com/office/drawing/2014/main" id="{38368739-5152-35AC-36DA-A2CACDEA2980}"/>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1023614" y="1023614"/>
              <a:ext cx="381000" cy="381000"/>
            </a:xfrm>
            <a:prstGeom prst="rect">
              <a:avLst/>
            </a:prstGeom>
          </p:spPr>
        </p:pic>
      </p:grpSp>
      <p:sp>
        <p:nvSpPr>
          <p:cNvPr id="56" name="TextBox 55">
            <a:extLst>
              <a:ext uri="{FF2B5EF4-FFF2-40B4-BE49-F238E27FC236}">
                <a16:creationId xmlns:a16="http://schemas.microsoft.com/office/drawing/2014/main" id="{22471265-B425-5833-766E-1C86F97814E5}"/>
              </a:ext>
            </a:extLst>
          </p:cNvPr>
          <p:cNvSpPr txBox="1"/>
          <p:nvPr/>
        </p:nvSpPr>
        <p:spPr>
          <a:xfrm>
            <a:off x="6214475" y="1633538"/>
            <a:ext cx="2394947" cy="314325"/>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Gold mining in numbers</a:t>
            </a:r>
          </a:p>
        </p:txBody>
      </p:sp>
      <p:sp>
        <p:nvSpPr>
          <p:cNvPr id="57" name="BigStat 100">
            <a:extLst>
              <a:ext uri="{FF2B5EF4-FFF2-40B4-BE49-F238E27FC236}">
                <a16:creationId xmlns:a16="http://schemas.microsoft.com/office/drawing/2014/main" id="{0A36A4FF-6EA5-2B5C-DB10-CEB83A23054E}"/>
              </a:ext>
            </a:extLst>
          </p:cNvPr>
          <p:cNvSpPr txBox="1"/>
          <p:nvPr>
            <p:custDataLst>
              <p:tags r:id="rId9"/>
            </p:custDataLst>
          </p:nvPr>
        </p:nvSpPr>
        <p:spPr>
          <a:xfrm>
            <a:off x="3238500" y="1965325"/>
            <a:ext cx="2857499" cy="923330"/>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14.3 </a:t>
            </a:r>
            <a:r>
              <a:rPr kumimoji="0" lang="en-US" sz="16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BUSD</a:t>
            </a: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 (6.9%)</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GDP from Mining (% of the country’s total GDP)</a:t>
            </a:r>
          </a:p>
        </p:txBody>
      </p:sp>
      <p:sp>
        <p:nvSpPr>
          <p:cNvPr id="58" name="BigStat 100">
            <a:extLst>
              <a:ext uri="{FF2B5EF4-FFF2-40B4-BE49-F238E27FC236}">
                <a16:creationId xmlns:a16="http://schemas.microsoft.com/office/drawing/2014/main" id="{07CB856B-0049-5BF4-9739-B0683C39C843}"/>
              </a:ext>
            </a:extLst>
          </p:cNvPr>
          <p:cNvSpPr txBox="1"/>
          <p:nvPr>
            <p:custDataLst>
              <p:tags r:id="rId10"/>
            </p:custDataLst>
          </p:nvPr>
        </p:nvSpPr>
        <p:spPr>
          <a:xfrm>
            <a:off x="3238501" y="2949537"/>
            <a:ext cx="2737848" cy="757238"/>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850</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Mining operations &amp; projects</a:t>
            </a:r>
          </a:p>
        </p:txBody>
      </p:sp>
      <p:sp>
        <p:nvSpPr>
          <p:cNvPr id="59" name="BigStat 100">
            <a:extLst>
              <a:ext uri="{FF2B5EF4-FFF2-40B4-BE49-F238E27FC236}">
                <a16:creationId xmlns:a16="http://schemas.microsoft.com/office/drawing/2014/main" id="{8DD73796-5E7A-DE6C-4155-01EB925CD5E5}"/>
              </a:ext>
            </a:extLst>
          </p:cNvPr>
          <p:cNvSpPr txBox="1"/>
          <p:nvPr>
            <p:custDataLst>
              <p:tags r:id="rId11"/>
            </p:custDataLst>
          </p:nvPr>
        </p:nvSpPr>
        <p:spPr>
          <a:xfrm>
            <a:off x="6214475" y="1949450"/>
            <a:ext cx="2737848" cy="923330"/>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18</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Industrial scale gold mines currently operating</a:t>
            </a:r>
          </a:p>
        </p:txBody>
      </p:sp>
      <p:sp>
        <p:nvSpPr>
          <p:cNvPr id="60" name="BigStat 100">
            <a:extLst>
              <a:ext uri="{FF2B5EF4-FFF2-40B4-BE49-F238E27FC236}">
                <a16:creationId xmlns:a16="http://schemas.microsoft.com/office/drawing/2014/main" id="{69157B0B-0631-477C-75D7-5EE62E968CA9}"/>
              </a:ext>
            </a:extLst>
          </p:cNvPr>
          <p:cNvSpPr txBox="1"/>
          <p:nvPr>
            <p:custDataLst>
              <p:tags r:id="rId12"/>
            </p:custDataLst>
          </p:nvPr>
        </p:nvSpPr>
        <p:spPr>
          <a:xfrm>
            <a:off x="6214475" y="2863463"/>
            <a:ext cx="2737848" cy="728663"/>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3.8 </a:t>
            </a:r>
            <a:r>
              <a:rPr kumimoji="0" lang="en-US" sz="3200" b="1" i="0" u="none" strike="noStrike" kern="1200" cap="none" spc="0" normalizeH="0" baseline="0" noProof="0" dirty="0" err="1">
                <a:ln>
                  <a:noFill/>
                </a:ln>
                <a:solidFill>
                  <a:srgbClr val="B39759"/>
                </a:solidFill>
                <a:effectLst/>
                <a:uLnTx/>
                <a:uFillTx/>
                <a:latin typeface="Calibri Light" panose="020F0302020204030204"/>
                <a:ea typeface="+mn-ea"/>
                <a:cs typeface="Calibri" panose="020F0502020204030204" pitchFamily="34" charset="0"/>
              </a:rPr>
              <a:t>Moz</a:t>
            </a: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 (-1%)</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Gold production (growth 21-22)</a:t>
            </a:r>
          </a:p>
        </p:txBody>
      </p:sp>
      <p:sp>
        <p:nvSpPr>
          <p:cNvPr id="61" name="BigStat 100">
            <a:extLst>
              <a:ext uri="{FF2B5EF4-FFF2-40B4-BE49-F238E27FC236}">
                <a16:creationId xmlns:a16="http://schemas.microsoft.com/office/drawing/2014/main" id="{24427034-A6CB-9E3D-D955-D0FBFD1DD58B}"/>
              </a:ext>
            </a:extLst>
          </p:cNvPr>
          <p:cNvSpPr txBox="1"/>
          <p:nvPr>
            <p:custDataLst>
              <p:tags r:id="rId13"/>
            </p:custDataLst>
          </p:nvPr>
        </p:nvSpPr>
        <p:spPr>
          <a:xfrm>
            <a:off x="6214475" y="3582809"/>
            <a:ext cx="2737848" cy="923925"/>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6</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Gold projects </a:t>
            </a: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expected</a:t>
            </a:r>
            <a:r>
              <a:rPr kumimoji="0" lang="en-US" sz="1400" b="0" i="0" u="none" strike="noStrike" kern="1200" cap="none" spc="0" normalizeH="0" baseline="0" noProof="0" dirty="0">
                <a:ln>
                  <a:noFill/>
                </a:ln>
                <a:solidFill>
                  <a:srgbClr val="FF0000"/>
                </a:solidFill>
                <a:effectLst/>
                <a:uLnTx/>
                <a:uFillTx/>
                <a:latin typeface="Calibri" panose="020F0502020204030204"/>
                <a:ea typeface="+mn-ea"/>
                <a:cs typeface="Calibri" panose="020F0502020204030204" pitchFamily="34" charset="0"/>
              </a:rPr>
              <a:t> </a:t>
            </a: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to be launched prior to 2030</a:t>
            </a:r>
          </a:p>
        </p:txBody>
      </p:sp>
      <p:sp>
        <p:nvSpPr>
          <p:cNvPr id="62" name="BigStat 100">
            <a:extLst>
              <a:ext uri="{FF2B5EF4-FFF2-40B4-BE49-F238E27FC236}">
                <a16:creationId xmlns:a16="http://schemas.microsoft.com/office/drawing/2014/main" id="{42F6C000-27BB-D307-875D-27AC25814EF7}"/>
              </a:ext>
            </a:extLst>
          </p:cNvPr>
          <p:cNvSpPr txBox="1"/>
          <p:nvPr>
            <p:custDataLst>
              <p:tags r:id="rId14"/>
            </p:custDataLst>
          </p:nvPr>
        </p:nvSpPr>
        <p:spPr>
          <a:xfrm>
            <a:off x="6214475" y="4497416"/>
            <a:ext cx="2737848" cy="729430"/>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21 / 90 </a:t>
            </a:r>
            <a:r>
              <a:rPr kumimoji="0" lang="en-US" sz="3200" b="1" i="0" u="none" strike="noStrike" kern="1200" cap="none" spc="0" normalizeH="0" baseline="0" noProof="0" dirty="0" err="1">
                <a:ln>
                  <a:noFill/>
                </a:ln>
                <a:solidFill>
                  <a:srgbClr val="B39759"/>
                </a:solidFill>
                <a:effectLst/>
                <a:uLnTx/>
                <a:uFillTx/>
                <a:latin typeface="Calibri Light" panose="020F0302020204030204"/>
                <a:ea typeface="+mn-ea"/>
                <a:cs typeface="Calibri" panose="020F0502020204030204" pitchFamily="34" charset="0"/>
              </a:rPr>
              <a:t>Moz</a:t>
            </a:r>
            <a:endPar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endParaRP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Gold reserves / Gold R&amp;R</a:t>
            </a:r>
          </a:p>
        </p:txBody>
      </p:sp>
      <p:sp>
        <p:nvSpPr>
          <p:cNvPr id="63" name="TextBox 62">
            <a:extLst>
              <a:ext uri="{FF2B5EF4-FFF2-40B4-BE49-F238E27FC236}">
                <a16:creationId xmlns:a16="http://schemas.microsoft.com/office/drawing/2014/main" id="{2445CE9A-BBB4-1CCA-0F82-8AD62B6E2E3B}"/>
              </a:ext>
            </a:extLst>
          </p:cNvPr>
          <p:cNvSpPr txBox="1"/>
          <p:nvPr/>
        </p:nvSpPr>
        <p:spPr>
          <a:xfrm>
            <a:off x="3244970" y="5335690"/>
            <a:ext cx="2737848" cy="258532"/>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Top players in country</a:t>
            </a:r>
          </a:p>
        </p:txBody>
      </p:sp>
      <p:sp>
        <p:nvSpPr>
          <p:cNvPr id="64" name="TextBox 63">
            <a:extLst>
              <a:ext uri="{FF2B5EF4-FFF2-40B4-BE49-F238E27FC236}">
                <a16:creationId xmlns:a16="http://schemas.microsoft.com/office/drawing/2014/main" id="{0BF52E60-64C0-65B5-7F61-A8FA430CD31F}"/>
              </a:ext>
            </a:extLst>
          </p:cNvPr>
          <p:cNvSpPr txBox="1"/>
          <p:nvPr/>
        </p:nvSpPr>
        <p:spPr>
          <a:xfrm>
            <a:off x="6214475" y="5339275"/>
            <a:ext cx="2394947" cy="258532"/>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Top gold miners</a:t>
            </a:r>
          </a:p>
        </p:txBody>
      </p:sp>
      <p:pic>
        <p:nvPicPr>
          <p:cNvPr id="66" name="Picture 2">
            <a:extLst>
              <a:ext uri="{FF2B5EF4-FFF2-40B4-BE49-F238E27FC236}">
                <a16:creationId xmlns:a16="http://schemas.microsoft.com/office/drawing/2014/main" id="{EF182FF5-C00F-3592-1EE9-5DC320C845B9}"/>
              </a:ext>
            </a:extLst>
          </p:cNvPr>
          <p:cNvPicPr>
            <a:picLocks noChangeAspect="1" noChangeArrowheads="1"/>
          </p:cNvPicPr>
          <p:nvPr/>
        </p:nvPicPr>
        <p:blipFill>
          <a:blip r:embed="rId39" cstate="screen">
            <a:extLst>
              <a:ext uri="{28A0092B-C50C-407E-A947-70E740481C1C}">
                <a14:useLocalDpi xmlns:a14="http://schemas.microsoft.com/office/drawing/2010/main"/>
              </a:ext>
            </a:extLst>
          </a:blip>
          <a:srcRect/>
          <a:stretch>
            <a:fillRect/>
          </a:stretch>
        </p:blipFill>
        <p:spPr bwMode="auto">
          <a:xfrm>
            <a:off x="3342472" y="5582896"/>
            <a:ext cx="422894" cy="363479"/>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4">
            <a:extLst>
              <a:ext uri="{FF2B5EF4-FFF2-40B4-BE49-F238E27FC236}">
                <a16:creationId xmlns:a16="http://schemas.microsoft.com/office/drawing/2014/main" id="{D672A2DF-E137-379E-609A-1332679F3B4B}"/>
              </a:ext>
            </a:extLst>
          </p:cNvPr>
          <p:cNvPicPr>
            <a:picLocks noChangeAspect="1" noChangeArrowheads="1"/>
          </p:cNvPicPr>
          <p:nvPr/>
        </p:nvPicPr>
        <p:blipFill>
          <a:blip r:embed="rId40">
            <a:extLst>
              <a:ext uri="{28A0092B-C50C-407E-A947-70E740481C1C}">
                <a14:useLocalDpi xmlns:a14="http://schemas.microsoft.com/office/drawing/2010/main"/>
              </a:ext>
            </a:extLst>
          </a:blip>
          <a:srcRect/>
          <a:stretch>
            <a:fillRect/>
          </a:stretch>
        </p:blipFill>
        <p:spPr bwMode="auto">
          <a:xfrm>
            <a:off x="5066640" y="5574627"/>
            <a:ext cx="706316" cy="264869"/>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6">
            <a:extLst>
              <a:ext uri="{FF2B5EF4-FFF2-40B4-BE49-F238E27FC236}">
                <a16:creationId xmlns:a16="http://schemas.microsoft.com/office/drawing/2014/main" id="{C4C7E765-B80E-4F1A-8D0F-6A5283701A8F}"/>
              </a:ext>
            </a:extLst>
          </p:cNvPr>
          <p:cNvPicPr>
            <a:picLocks noChangeAspect="1" noChangeArrowheads="1"/>
          </p:cNvPicPr>
          <p:nvPr/>
        </p:nvPicPr>
        <p:blipFill rotWithShape="1">
          <a:blip r:embed="rId41" cstate="screen">
            <a:extLst>
              <a:ext uri="{28A0092B-C50C-407E-A947-70E740481C1C}">
                <a14:useLocalDpi xmlns:a14="http://schemas.microsoft.com/office/drawing/2010/main"/>
              </a:ext>
            </a:extLst>
          </a:blip>
          <a:srcRect t="35013" b="42388"/>
          <a:stretch/>
        </p:blipFill>
        <p:spPr bwMode="auto">
          <a:xfrm>
            <a:off x="3885718" y="5582896"/>
            <a:ext cx="978530" cy="221142"/>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8">
            <a:extLst>
              <a:ext uri="{FF2B5EF4-FFF2-40B4-BE49-F238E27FC236}">
                <a16:creationId xmlns:a16="http://schemas.microsoft.com/office/drawing/2014/main" id="{BC92AD2D-4222-2189-98F3-F85AE728D22F}"/>
              </a:ext>
            </a:extLst>
          </p:cNvPr>
          <p:cNvPicPr>
            <a:picLocks noChangeAspect="1" noChangeArrowheads="1"/>
          </p:cNvPicPr>
          <p:nvPr/>
        </p:nvPicPr>
        <p:blipFill>
          <a:blip r:embed="rId42" cstate="screen">
            <a:extLst>
              <a:ext uri="{28A0092B-C50C-407E-A947-70E740481C1C}">
                <a14:useLocalDpi xmlns:a14="http://schemas.microsoft.com/office/drawing/2010/main"/>
              </a:ext>
            </a:extLst>
          </a:blip>
          <a:srcRect/>
          <a:stretch>
            <a:fillRect/>
          </a:stretch>
        </p:blipFill>
        <p:spPr bwMode="auto">
          <a:xfrm>
            <a:off x="3350819" y="6027927"/>
            <a:ext cx="779428" cy="231363"/>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69">
            <a:extLst>
              <a:ext uri="{FF2B5EF4-FFF2-40B4-BE49-F238E27FC236}">
                <a16:creationId xmlns:a16="http://schemas.microsoft.com/office/drawing/2014/main" id="{B73B0628-5ED3-40AE-5EE8-4792AEA4EE9D}"/>
              </a:ext>
            </a:extLst>
          </p:cNvPr>
          <p:cNvPicPr>
            <a:picLocks noChangeAspect="1"/>
          </p:cNvPicPr>
          <p:nvPr/>
        </p:nvPicPr>
        <p:blipFill rotWithShape="1">
          <a:blip r:embed="rId43" cstate="print">
            <a:extLst>
              <a:ext uri="{28A0092B-C50C-407E-A947-70E740481C1C}">
                <a14:useLocalDpi xmlns:a14="http://schemas.microsoft.com/office/drawing/2010/main"/>
              </a:ext>
            </a:extLst>
          </a:blip>
          <a:srcRect/>
          <a:stretch/>
        </p:blipFill>
        <p:spPr>
          <a:xfrm>
            <a:off x="4272329" y="5928933"/>
            <a:ext cx="1417128" cy="359948"/>
          </a:xfrm>
          <a:prstGeom prst="rect">
            <a:avLst/>
          </a:prstGeom>
        </p:spPr>
      </p:pic>
      <p:sp>
        <p:nvSpPr>
          <p:cNvPr id="159" name="TextBox 158">
            <a:extLst>
              <a:ext uri="{FF2B5EF4-FFF2-40B4-BE49-F238E27FC236}">
                <a16:creationId xmlns:a16="http://schemas.microsoft.com/office/drawing/2014/main" id="{9DB63185-4045-9451-0333-8DAE434A9FA0}"/>
              </a:ext>
            </a:extLst>
          </p:cNvPr>
          <p:cNvSpPr txBox="1"/>
          <p:nvPr/>
        </p:nvSpPr>
        <p:spPr>
          <a:xfrm>
            <a:off x="206823" y="1940012"/>
            <a:ext cx="2533202" cy="4081117"/>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144000" marR="0" lvl="0" indent="-1440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Peru has a </a:t>
            </a: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rPr>
              <a:t>large geological endowment</a:t>
            </a: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 and </a:t>
            </a: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rPr>
              <a:t>many years of mining history</a:t>
            </a:r>
          </a:p>
          <a:p>
            <a:pPr marL="144000" marR="0" lvl="0" indent="-1440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Though </a:t>
            </a: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rPr>
              <a:t>favorable mining regulations </a:t>
            </a: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are in place, </a:t>
            </a: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rPr>
              <a:t>their enforcement has been challenging </a:t>
            </a: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due to </a:t>
            </a: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rPr>
              <a:t>political instability and</a:t>
            </a: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 </a:t>
            </a: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rPr>
              <a:t>bureaucracy</a:t>
            </a:r>
          </a:p>
          <a:p>
            <a:pPr marL="144000" marR="0" lvl="0" indent="-1440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Besides these challenges, </a:t>
            </a: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rPr>
              <a:t>community relationship </a:t>
            </a: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is a crucial capability to operate in the country</a:t>
            </a:r>
          </a:p>
        </p:txBody>
      </p:sp>
      <p:pic>
        <p:nvPicPr>
          <p:cNvPr id="166" name="Picture 165">
            <a:extLst>
              <a:ext uri="{FF2B5EF4-FFF2-40B4-BE49-F238E27FC236}">
                <a16:creationId xmlns:a16="http://schemas.microsoft.com/office/drawing/2014/main" id="{B29919ED-3217-53CC-3BF3-321E8BDBE7F9}"/>
              </a:ext>
            </a:extLst>
          </p:cNvPr>
          <p:cNvPicPr>
            <a:picLocks noChangeAspect="1"/>
          </p:cNvPicPr>
          <p:nvPr>
            <p:custDataLst>
              <p:tags r:id="rId15"/>
            </p:custDataLst>
          </p:nvPr>
        </p:nvPicPr>
        <p:blipFill>
          <a:blip r:embed="rId44" cstate="screen">
            <a:extLst>
              <a:ext uri="{28A0092B-C50C-407E-A947-70E740481C1C}">
                <a14:useLocalDpi xmlns:a14="http://schemas.microsoft.com/office/drawing/2010/main"/>
              </a:ext>
            </a:extLst>
          </a:blip>
          <a:stretch>
            <a:fillRect/>
          </a:stretch>
        </p:blipFill>
        <p:spPr>
          <a:xfrm>
            <a:off x="6896837" y="5655363"/>
            <a:ext cx="413068" cy="215167"/>
          </a:xfrm>
          <a:prstGeom prst="rect">
            <a:avLst/>
          </a:prstGeom>
        </p:spPr>
      </p:pic>
      <p:pic>
        <p:nvPicPr>
          <p:cNvPr id="167" name="Picture 166">
            <a:extLst>
              <a:ext uri="{FF2B5EF4-FFF2-40B4-BE49-F238E27FC236}">
                <a16:creationId xmlns:a16="http://schemas.microsoft.com/office/drawing/2014/main" id="{59C5CF17-A305-A967-9844-8E7E52A26706}"/>
              </a:ext>
            </a:extLst>
          </p:cNvPr>
          <p:cNvPicPr>
            <a:picLocks noChangeAspect="1"/>
          </p:cNvPicPr>
          <p:nvPr>
            <p:custDataLst>
              <p:tags r:id="rId16"/>
            </p:custDataLst>
          </p:nvPr>
        </p:nvPicPr>
        <p:blipFill>
          <a:blip r:embed="rId45" cstate="screen">
            <a:extLst>
              <a:ext uri="{28A0092B-C50C-407E-A947-70E740481C1C}">
                <a14:useLocalDpi xmlns:a14="http://schemas.microsoft.com/office/drawing/2010/main"/>
              </a:ext>
            </a:extLst>
          </a:blip>
          <a:stretch>
            <a:fillRect/>
          </a:stretch>
        </p:blipFill>
        <p:spPr>
          <a:xfrm>
            <a:off x="7819342" y="6083486"/>
            <a:ext cx="442741" cy="205395"/>
          </a:xfrm>
          <a:prstGeom prst="rect">
            <a:avLst/>
          </a:prstGeom>
        </p:spPr>
      </p:pic>
      <p:pic>
        <p:nvPicPr>
          <p:cNvPr id="168" name="Picture 167">
            <a:extLst>
              <a:ext uri="{FF2B5EF4-FFF2-40B4-BE49-F238E27FC236}">
                <a16:creationId xmlns:a16="http://schemas.microsoft.com/office/drawing/2014/main" id="{9FCFAA91-AEA6-797F-9F20-978D4B0DE911}"/>
              </a:ext>
            </a:extLst>
          </p:cNvPr>
          <p:cNvPicPr>
            <a:picLocks noChangeAspect="1"/>
          </p:cNvPicPr>
          <p:nvPr>
            <p:custDataLst>
              <p:tags r:id="rId17"/>
            </p:custDataLst>
          </p:nvPr>
        </p:nvPicPr>
        <p:blipFill>
          <a:blip r:embed="rId46" cstate="screen">
            <a:extLst>
              <a:ext uri="{28A0092B-C50C-407E-A947-70E740481C1C}">
                <a14:useLocalDpi xmlns:a14="http://schemas.microsoft.com/office/drawing/2010/main"/>
              </a:ext>
            </a:extLst>
          </a:blip>
          <a:stretch>
            <a:fillRect/>
          </a:stretch>
        </p:blipFill>
        <p:spPr>
          <a:xfrm>
            <a:off x="6380746" y="6370194"/>
            <a:ext cx="739396" cy="149358"/>
          </a:xfrm>
          <a:prstGeom prst="rect">
            <a:avLst/>
          </a:prstGeom>
        </p:spPr>
      </p:pic>
      <p:pic>
        <p:nvPicPr>
          <p:cNvPr id="169" name="Picture 168">
            <a:extLst>
              <a:ext uri="{FF2B5EF4-FFF2-40B4-BE49-F238E27FC236}">
                <a16:creationId xmlns:a16="http://schemas.microsoft.com/office/drawing/2014/main" id="{89010DF5-0CA3-9CF7-DA86-03293F1D272E}"/>
              </a:ext>
            </a:extLst>
          </p:cNvPr>
          <p:cNvPicPr>
            <a:picLocks noChangeAspect="1"/>
          </p:cNvPicPr>
          <p:nvPr>
            <p:custDataLst>
              <p:tags r:id="rId18"/>
            </p:custDataLst>
          </p:nvPr>
        </p:nvPicPr>
        <p:blipFill>
          <a:blip r:embed="rId47" cstate="screen">
            <a:extLst>
              <a:ext uri="{28A0092B-C50C-407E-A947-70E740481C1C}">
                <a14:useLocalDpi xmlns:a14="http://schemas.microsoft.com/office/drawing/2010/main"/>
              </a:ext>
            </a:extLst>
          </a:blip>
          <a:stretch>
            <a:fillRect/>
          </a:stretch>
        </p:blipFill>
        <p:spPr>
          <a:xfrm>
            <a:off x="7894482" y="5690649"/>
            <a:ext cx="600988" cy="309134"/>
          </a:xfrm>
          <a:prstGeom prst="rect">
            <a:avLst/>
          </a:prstGeom>
        </p:spPr>
      </p:pic>
      <p:pic>
        <p:nvPicPr>
          <p:cNvPr id="170" name="Picture 169">
            <a:extLst>
              <a:ext uri="{FF2B5EF4-FFF2-40B4-BE49-F238E27FC236}">
                <a16:creationId xmlns:a16="http://schemas.microsoft.com/office/drawing/2014/main" id="{D4986F16-C5A3-881B-BEE6-F8F86D4001DB}"/>
              </a:ext>
            </a:extLst>
          </p:cNvPr>
          <p:cNvPicPr>
            <a:picLocks noChangeAspect="1"/>
          </p:cNvPicPr>
          <p:nvPr>
            <p:custDataLst>
              <p:tags r:id="rId19"/>
            </p:custDataLst>
          </p:nvPr>
        </p:nvPicPr>
        <p:blipFill rotWithShape="1">
          <a:blip r:embed="rId48" cstate="screen">
            <a:extLst>
              <a:ext uri="{28A0092B-C50C-407E-A947-70E740481C1C}">
                <a14:useLocalDpi xmlns:a14="http://schemas.microsoft.com/office/drawing/2010/main"/>
              </a:ext>
            </a:extLst>
          </a:blip>
          <a:srcRect/>
          <a:stretch/>
        </p:blipFill>
        <p:spPr>
          <a:xfrm>
            <a:off x="7138641" y="6080522"/>
            <a:ext cx="586800" cy="192881"/>
          </a:xfrm>
          <a:prstGeom prst="rect">
            <a:avLst/>
          </a:prstGeom>
        </p:spPr>
      </p:pic>
      <p:pic>
        <p:nvPicPr>
          <p:cNvPr id="172" name="Picture 2">
            <a:extLst>
              <a:ext uri="{FF2B5EF4-FFF2-40B4-BE49-F238E27FC236}">
                <a16:creationId xmlns:a16="http://schemas.microsoft.com/office/drawing/2014/main" id="{91486D28-523C-99D6-C51D-697DBAB555A9}"/>
              </a:ext>
            </a:extLst>
          </p:cNvPr>
          <p:cNvPicPr>
            <a:picLocks noChangeAspect="1" noChangeArrowheads="1"/>
          </p:cNvPicPr>
          <p:nvPr/>
        </p:nvPicPr>
        <p:blipFill rotWithShape="1">
          <a:blip r:embed="rId49" cstate="print">
            <a:extLst>
              <a:ext uri="{28A0092B-C50C-407E-A947-70E740481C1C}">
                <a14:useLocalDpi xmlns:a14="http://schemas.microsoft.com/office/drawing/2010/main"/>
              </a:ext>
            </a:extLst>
          </a:blip>
          <a:srcRect t="31898" r="5186" b="39635"/>
          <a:stretch/>
        </p:blipFill>
        <p:spPr bwMode="auto">
          <a:xfrm>
            <a:off x="6328464" y="6014605"/>
            <a:ext cx="731913" cy="219751"/>
          </a:xfrm>
          <a:prstGeom prst="rect">
            <a:avLst/>
          </a:prstGeom>
          <a:noFill/>
          <a:extLst>
            <a:ext uri="{909E8E84-426E-40DD-AFC4-6F175D3DCCD1}">
              <a14:hiddenFill xmlns:a14="http://schemas.microsoft.com/office/drawing/2010/main">
                <a:solidFill>
                  <a:srgbClr val="FFFFFF"/>
                </a:solidFill>
              </a14:hiddenFill>
            </a:ext>
          </a:extLst>
        </p:spPr>
      </p:pic>
      <p:pic>
        <p:nvPicPr>
          <p:cNvPr id="173" name="Picture 4">
            <a:extLst>
              <a:ext uri="{FF2B5EF4-FFF2-40B4-BE49-F238E27FC236}">
                <a16:creationId xmlns:a16="http://schemas.microsoft.com/office/drawing/2014/main" id="{36D75B99-8E88-8448-EDC5-56373BCF322D}"/>
              </a:ext>
            </a:extLst>
          </p:cNvPr>
          <p:cNvPicPr>
            <a:picLocks noChangeAspect="1" noChangeArrowheads="1"/>
          </p:cNvPicPr>
          <p:nvPr/>
        </p:nvPicPr>
        <p:blipFill>
          <a:blip r:embed="rId50" cstate="screen">
            <a:extLst>
              <a:ext uri="{28A0092B-C50C-407E-A947-70E740481C1C}">
                <a14:useLocalDpi xmlns:a14="http://schemas.microsoft.com/office/drawing/2010/main"/>
              </a:ext>
            </a:extLst>
          </a:blip>
          <a:srcRect/>
          <a:stretch>
            <a:fillRect/>
          </a:stretch>
        </p:blipFill>
        <p:spPr bwMode="auto">
          <a:xfrm>
            <a:off x="7358153" y="5684297"/>
            <a:ext cx="466721" cy="277772"/>
          </a:xfrm>
          <a:prstGeom prst="rect">
            <a:avLst/>
          </a:prstGeom>
          <a:noFill/>
          <a:extLst>
            <a:ext uri="{909E8E84-426E-40DD-AFC4-6F175D3DCCD1}">
              <a14:hiddenFill xmlns:a14="http://schemas.microsoft.com/office/drawing/2010/main">
                <a:solidFill>
                  <a:srgbClr val="FFFFFF"/>
                </a:solidFill>
              </a14:hiddenFill>
            </a:ext>
          </a:extLst>
        </p:spPr>
      </p:pic>
      <p:pic>
        <p:nvPicPr>
          <p:cNvPr id="174" name="Picture 173">
            <a:extLst>
              <a:ext uri="{FF2B5EF4-FFF2-40B4-BE49-F238E27FC236}">
                <a16:creationId xmlns:a16="http://schemas.microsoft.com/office/drawing/2014/main" id="{F75673EC-4645-AD9A-A6B4-B95C8EF00B30}"/>
              </a:ext>
            </a:extLst>
          </p:cNvPr>
          <p:cNvPicPr>
            <a:picLocks noChangeAspect="1"/>
          </p:cNvPicPr>
          <p:nvPr>
            <p:custDataLst>
              <p:tags r:id="rId20"/>
            </p:custDataLst>
          </p:nvPr>
        </p:nvPicPr>
        <p:blipFill>
          <a:blip r:embed="rId51" cstate="screen">
            <a:extLst>
              <a:ext uri="{28A0092B-C50C-407E-A947-70E740481C1C}">
                <a14:useLocalDpi xmlns:a14="http://schemas.microsoft.com/office/drawing/2010/main"/>
              </a:ext>
            </a:extLst>
          </a:blip>
          <a:stretch>
            <a:fillRect/>
          </a:stretch>
        </p:blipFill>
        <p:spPr>
          <a:xfrm>
            <a:off x="6338207" y="5602457"/>
            <a:ext cx="466402" cy="321299"/>
          </a:xfrm>
          <a:prstGeom prst="rect">
            <a:avLst/>
          </a:prstGeom>
        </p:spPr>
      </p:pic>
      <p:pic>
        <p:nvPicPr>
          <p:cNvPr id="175" name="Picture 174">
            <a:extLst>
              <a:ext uri="{FF2B5EF4-FFF2-40B4-BE49-F238E27FC236}">
                <a16:creationId xmlns:a16="http://schemas.microsoft.com/office/drawing/2014/main" id="{D97050A8-F998-A2F8-D1C8-D9D0135CDF08}"/>
              </a:ext>
            </a:extLst>
          </p:cNvPr>
          <p:cNvPicPr>
            <a:picLocks noChangeAspect="1"/>
          </p:cNvPicPr>
          <p:nvPr>
            <p:custDataLst>
              <p:tags r:id="rId21"/>
            </p:custDataLst>
          </p:nvPr>
        </p:nvPicPr>
        <p:blipFill>
          <a:blip r:embed="rId52" cstate="screen">
            <a:extLst>
              <a:ext uri="{28A0092B-C50C-407E-A947-70E740481C1C}">
                <a14:useLocalDpi xmlns:a14="http://schemas.microsoft.com/office/drawing/2010/main"/>
              </a:ext>
            </a:extLst>
          </a:blip>
          <a:stretch>
            <a:fillRect/>
          </a:stretch>
        </p:blipFill>
        <p:spPr>
          <a:xfrm>
            <a:off x="7928309" y="6340449"/>
            <a:ext cx="533334" cy="270900"/>
          </a:xfrm>
          <a:prstGeom prst="rect">
            <a:avLst/>
          </a:prstGeom>
        </p:spPr>
      </p:pic>
      <p:pic>
        <p:nvPicPr>
          <p:cNvPr id="176" name="Picture 175">
            <a:extLst>
              <a:ext uri="{FF2B5EF4-FFF2-40B4-BE49-F238E27FC236}">
                <a16:creationId xmlns:a16="http://schemas.microsoft.com/office/drawing/2014/main" id="{613557BE-03AC-DB75-9ABB-740B906C38A4}"/>
              </a:ext>
            </a:extLst>
          </p:cNvPr>
          <p:cNvPicPr>
            <a:picLocks/>
          </p:cNvPicPr>
          <p:nvPr>
            <p:custDataLst>
              <p:tags r:id="rId22"/>
            </p:custDataLst>
          </p:nvPr>
        </p:nvPicPr>
        <p:blipFill>
          <a:blip r:embed="rId53" cstate="screen">
            <a:extLst>
              <a:ext uri="{28A0092B-C50C-407E-A947-70E740481C1C}">
                <a14:useLocalDpi xmlns:a14="http://schemas.microsoft.com/office/drawing/2010/main"/>
              </a:ext>
            </a:extLst>
          </a:blip>
          <a:stretch>
            <a:fillRect/>
          </a:stretch>
        </p:blipFill>
        <p:spPr>
          <a:xfrm>
            <a:off x="8395143" y="6089362"/>
            <a:ext cx="229996" cy="229996"/>
          </a:xfrm>
          <a:prstGeom prst="rect">
            <a:avLst/>
          </a:prstGeom>
        </p:spPr>
      </p:pic>
      <p:pic>
        <p:nvPicPr>
          <p:cNvPr id="179" name="Picture 10">
            <a:extLst>
              <a:ext uri="{FF2B5EF4-FFF2-40B4-BE49-F238E27FC236}">
                <a16:creationId xmlns:a16="http://schemas.microsoft.com/office/drawing/2014/main" id="{2B6E88A5-DEBD-6EE5-9340-FE1E21AA4712}"/>
              </a:ext>
            </a:extLst>
          </p:cNvPr>
          <p:cNvPicPr>
            <a:picLocks noChangeAspect="1" noChangeArrowheads="1"/>
          </p:cNvPicPr>
          <p:nvPr/>
        </p:nvPicPr>
        <p:blipFill rotWithShape="1">
          <a:blip r:embed="rId54" cstate="screen">
            <a:extLst>
              <a:ext uri="{28A0092B-C50C-407E-A947-70E740481C1C}">
                <a14:useLocalDpi xmlns:a14="http://schemas.microsoft.com/office/drawing/2010/main"/>
              </a:ext>
            </a:extLst>
          </a:blip>
          <a:srcRect l="13223" t="33704" r="11201" b="35957"/>
          <a:stretch/>
        </p:blipFill>
        <p:spPr bwMode="auto">
          <a:xfrm>
            <a:off x="7544625" y="5401409"/>
            <a:ext cx="796688" cy="166593"/>
          </a:xfrm>
          <a:prstGeom prst="rect">
            <a:avLst/>
          </a:prstGeom>
          <a:noFill/>
          <a:extLst>
            <a:ext uri="{909E8E84-426E-40DD-AFC4-6F175D3DCCD1}">
              <a14:hiddenFill xmlns:a14="http://schemas.microsoft.com/office/drawing/2010/main">
                <a:solidFill>
                  <a:srgbClr val="FFFFFF"/>
                </a:solidFill>
              </a14:hiddenFill>
            </a:ext>
          </a:extLst>
        </p:spPr>
      </p:pic>
      <p:pic>
        <p:nvPicPr>
          <p:cNvPr id="180" name="Picture 179">
            <a:extLst>
              <a:ext uri="{FF2B5EF4-FFF2-40B4-BE49-F238E27FC236}">
                <a16:creationId xmlns:a16="http://schemas.microsoft.com/office/drawing/2014/main" id="{80A69793-092B-3EB2-634E-BA5035D8CDD1}"/>
              </a:ext>
            </a:extLst>
          </p:cNvPr>
          <p:cNvPicPr>
            <a:picLocks noChangeAspect="1"/>
          </p:cNvPicPr>
          <p:nvPr>
            <p:custDataLst>
              <p:tags r:id="rId23"/>
            </p:custDataLst>
          </p:nvPr>
        </p:nvPicPr>
        <p:blipFill>
          <a:blip r:embed="rId55" cstate="screen">
            <a:extLst>
              <a:ext uri="{28A0092B-C50C-407E-A947-70E740481C1C}">
                <a14:useLocalDpi xmlns:a14="http://schemas.microsoft.com/office/drawing/2010/main"/>
              </a:ext>
            </a:extLst>
          </a:blip>
          <a:stretch>
            <a:fillRect/>
          </a:stretch>
        </p:blipFill>
        <p:spPr>
          <a:xfrm>
            <a:off x="7244514" y="6359392"/>
            <a:ext cx="588182" cy="149358"/>
          </a:xfrm>
          <a:prstGeom prst="rect">
            <a:avLst/>
          </a:prstGeom>
        </p:spPr>
      </p:pic>
      <p:pic>
        <p:nvPicPr>
          <p:cNvPr id="1026" name="Picture 2">
            <a:extLst>
              <a:ext uri="{FF2B5EF4-FFF2-40B4-BE49-F238E27FC236}">
                <a16:creationId xmlns:a16="http://schemas.microsoft.com/office/drawing/2014/main" id="{370B5C03-A029-9BDB-0B1B-8D9CA7747D00}"/>
              </a:ext>
            </a:extLst>
          </p:cNvPr>
          <p:cNvPicPr>
            <a:picLocks noChangeAspect="1" noChangeArrowheads="1"/>
          </p:cNvPicPr>
          <p:nvPr/>
        </p:nvPicPr>
        <p:blipFill>
          <a:blip r:embed="rId56" cstate="screen">
            <a:extLst>
              <a:ext uri="{28A0092B-C50C-407E-A947-70E740481C1C}">
                <a14:useLocalDpi xmlns:a14="http://schemas.microsoft.com/office/drawing/2010/main"/>
              </a:ext>
            </a:extLst>
          </a:blip>
          <a:srcRect/>
          <a:stretch>
            <a:fillRect/>
          </a:stretch>
        </p:blipFill>
        <p:spPr bwMode="auto">
          <a:xfrm>
            <a:off x="3372825" y="6352257"/>
            <a:ext cx="1173012" cy="26176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F5B8B3C4-2CA9-F706-99AC-0059E734FC6A}"/>
              </a:ext>
            </a:extLst>
          </p:cNvPr>
          <p:cNvPicPr>
            <a:picLocks noChangeAspect="1" noChangeArrowheads="1"/>
          </p:cNvPicPr>
          <p:nvPr/>
        </p:nvPicPr>
        <p:blipFill>
          <a:blip r:embed="rId57" cstate="screen">
            <a:extLst>
              <a:ext uri="{28A0092B-C50C-407E-A947-70E740481C1C}">
                <a14:useLocalDpi xmlns:a14="http://schemas.microsoft.com/office/drawing/2010/main"/>
              </a:ext>
            </a:extLst>
          </a:blip>
          <a:srcRect/>
          <a:stretch>
            <a:fillRect/>
          </a:stretch>
        </p:blipFill>
        <p:spPr bwMode="auto">
          <a:xfrm>
            <a:off x="4732177" y="6359392"/>
            <a:ext cx="1084613" cy="2324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35126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8092391-F817-4825-975B-A7CE230F0506}"/>
              </a:ext>
            </a:extLst>
          </p:cNvPr>
          <p:cNvGraphicFramePr>
            <a:graphicFrameLocks noChangeAspect="1"/>
          </p:cNvGraphicFramePr>
          <p:nvPr>
            <p:custDataLst>
              <p:tags r:id="rId1"/>
            </p:custDataLst>
            <p:extLst>
              <p:ext uri="{D42A27DB-BD31-4B8C-83A1-F6EECF244321}">
                <p14:modId xmlns:p14="http://schemas.microsoft.com/office/powerpoint/2010/main" val="278801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395" imgH="396" progId="TCLayout.ActiveDocument.1">
                  <p:embed/>
                </p:oleObj>
              </mc:Choice>
              <mc:Fallback>
                <p:oleObj name="think-cell Slide" r:id="rId23" imgW="395" imgH="396" progId="TCLayout.ActiveDocument.1">
                  <p:embed/>
                  <p:pic>
                    <p:nvPicPr>
                      <p:cNvPr id="5" name="Object 4" hidden="1">
                        <a:extLst>
                          <a:ext uri="{FF2B5EF4-FFF2-40B4-BE49-F238E27FC236}">
                            <a16:creationId xmlns:a16="http://schemas.microsoft.com/office/drawing/2014/main" id="{78092391-F817-4825-975B-A7CE230F0506}"/>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Slide Number Placeholder 5">
            <a:extLst>
              <a:ext uri="{FF2B5EF4-FFF2-40B4-BE49-F238E27FC236}">
                <a16:creationId xmlns:a16="http://schemas.microsoft.com/office/drawing/2014/main" id="{167D3468-42B9-45FA-938B-2DE60CA6C7E7}"/>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DB285B-DFCF-F045-9459-27C683DF8B15}" type="slidenum">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7" name="Rectangle: Diagonal Corners Rounded 6">
            <a:extLst>
              <a:ext uri="{FF2B5EF4-FFF2-40B4-BE49-F238E27FC236}">
                <a16:creationId xmlns:a16="http://schemas.microsoft.com/office/drawing/2014/main" id="{D1A5CE68-3036-40BF-A35A-C0C1A8D70A20}"/>
              </a:ext>
            </a:extLst>
          </p:cNvPr>
          <p:cNvSpPr/>
          <p:nvPr/>
        </p:nvSpPr>
        <p:spPr>
          <a:xfrm flipV="1">
            <a:off x="0" y="1094638"/>
            <a:ext cx="3000375" cy="5763362"/>
          </a:xfrm>
          <a:prstGeom prst="round2DiagRect">
            <a:avLst>
              <a:gd name="adj1" fmla="val 5095"/>
              <a:gd name="adj2"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DC1EC433-3EF1-48B7-99B5-529DCED7A6A3}"/>
              </a:ext>
            </a:extLst>
          </p:cNvPr>
          <p:cNvSpPr txBox="1">
            <a:spLocks/>
          </p:cNvSpPr>
          <p:nvPr/>
        </p:nvSpPr>
        <p:spPr>
          <a:xfrm>
            <a:off x="262527" y="1231901"/>
            <a:ext cx="2394947" cy="341313"/>
          </a:xfrm>
          <a:prstGeom prst="rect">
            <a:avLst/>
          </a:prstGeom>
        </p:spPr>
        <p:txBody>
          <a:bodyPr vert="horz" wrap="square" lIns="91440" tIns="45720" rIns="91440" bIns="45720" rtlCol="0">
            <a:no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rPr>
              <a:t>Overview</a:t>
            </a:r>
          </a:p>
        </p:txBody>
      </p:sp>
      <p:sp>
        <p:nvSpPr>
          <p:cNvPr id="8" name="TextBox 7">
            <a:extLst>
              <a:ext uri="{FF2B5EF4-FFF2-40B4-BE49-F238E27FC236}">
                <a16:creationId xmlns:a16="http://schemas.microsoft.com/office/drawing/2014/main" id="{1B2AC41C-9751-4BD4-8334-13028029FFBB}"/>
              </a:ext>
            </a:extLst>
          </p:cNvPr>
          <p:cNvSpPr txBox="1"/>
          <p:nvPr/>
        </p:nvSpPr>
        <p:spPr>
          <a:xfrm>
            <a:off x="3238501" y="1231901"/>
            <a:ext cx="4523785" cy="341313"/>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Mining outlook</a:t>
            </a:r>
          </a:p>
        </p:txBody>
      </p:sp>
      <p:sp>
        <p:nvSpPr>
          <p:cNvPr id="10" name="TextBox 9">
            <a:extLst>
              <a:ext uri="{FF2B5EF4-FFF2-40B4-BE49-F238E27FC236}">
                <a16:creationId xmlns:a16="http://schemas.microsoft.com/office/drawing/2014/main" id="{72A71319-D7DF-494C-A3A2-AACCB837E44E}"/>
              </a:ext>
            </a:extLst>
          </p:cNvPr>
          <p:cNvSpPr txBox="1">
            <a:spLocks/>
          </p:cNvSpPr>
          <p:nvPr/>
        </p:nvSpPr>
        <p:spPr>
          <a:xfrm>
            <a:off x="8953499" y="1231901"/>
            <a:ext cx="2870021" cy="341313"/>
          </a:xfrm>
          <a:prstGeom prst="rect">
            <a:avLst/>
          </a:prstGeom>
        </p:spPr>
        <p:txBody>
          <a:bodyPr vert="horz" wrap="square" lIns="91440" tIns="45720" rIns="91440" bIns="45720" rtlCol="0">
            <a:no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Main risks</a:t>
            </a:r>
          </a:p>
        </p:txBody>
      </p:sp>
      <p:sp>
        <p:nvSpPr>
          <p:cNvPr id="11" name="TextBox 10">
            <a:extLst>
              <a:ext uri="{FF2B5EF4-FFF2-40B4-BE49-F238E27FC236}">
                <a16:creationId xmlns:a16="http://schemas.microsoft.com/office/drawing/2014/main" id="{BD857A46-F9EA-4680-A8D4-A1C2E89C4EC3}"/>
              </a:ext>
            </a:extLst>
          </p:cNvPr>
          <p:cNvSpPr txBox="1"/>
          <p:nvPr/>
        </p:nvSpPr>
        <p:spPr>
          <a:xfrm>
            <a:off x="3238501" y="1633538"/>
            <a:ext cx="2737848" cy="314325"/>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Importance for the country</a:t>
            </a:r>
          </a:p>
        </p:txBody>
      </p:sp>
      <p:sp>
        <p:nvSpPr>
          <p:cNvPr id="12" name="TextBox 11">
            <a:extLst>
              <a:ext uri="{FF2B5EF4-FFF2-40B4-BE49-F238E27FC236}">
                <a16:creationId xmlns:a16="http://schemas.microsoft.com/office/drawing/2014/main" id="{26552266-20AA-42F4-9FEB-E5C1FA3551B9}"/>
              </a:ext>
            </a:extLst>
          </p:cNvPr>
          <p:cNvSpPr txBox="1"/>
          <p:nvPr/>
        </p:nvSpPr>
        <p:spPr>
          <a:xfrm>
            <a:off x="6214475" y="1633538"/>
            <a:ext cx="2394947" cy="314325"/>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Gold mining in numbers</a:t>
            </a:r>
          </a:p>
        </p:txBody>
      </p:sp>
      <p:sp>
        <p:nvSpPr>
          <p:cNvPr id="100" name="BigStat 100">
            <a:extLst>
              <a:ext uri="{FF2B5EF4-FFF2-40B4-BE49-F238E27FC236}">
                <a16:creationId xmlns:a16="http://schemas.microsoft.com/office/drawing/2014/main" id="{CD719AC9-6C18-4195-B152-24B07B6A6612}"/>
              </a:ext>
            </a:extLst>
          </p:cNvPr>
          <p:cNvSpPr txBox="1"/>
          <p:nvPr>
            <p:custDataLst>
              <p:tags r:id="rId2"/>
            </p:custDataLst>
          </p:nvPr>
        </p:nvSpPr>
        <p:spPr>
          <a:xfrm>
            <a:off x="3238500" y="1965325"/>
            <a:ext cx="2857499" cy="923330"/>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20.2 </a:t>
            </a:r>
            <a:r>
              <a:rPr kumimoji="0" lang="en-US" sz="16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BUSD</a:t>
            </a: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 (6.8%)</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GDP from Mining (% of the country’s total GDP)</a:t>
            </a:r>
          </a:p>
        </p:txBody>
      </p:sp>
      <p:sp>
        <p:nvSpPr>
          <p:cNvPr id="102" name="BigStat 100">
            <a:extLst>
              <a:ext uri="{FF2B5EF4-FFF2-40B4-BE49-F238E27FC236}">
                <a16:creationId xmlns:a16="http://schemas.microsoft.com/office/drawing/2014/main" id="{88A62140-C494-4952-9956-FA794010565F}"/>
              </a:ext>
            </a:extLst>
          </p:cNvPr>
          <p:cNvSpPr txBox="1"/>
          <p:nvPr>
            <p:custDataLst>
              <p:tags r:id="rId3"/>
            </p:custDataLst>
          </p:nvPr>
        </p:nvSpPr>
        <p:spPr>
          <a:xfrm>
            <a:off x="3238501" y="2949537"/>
            <a:ext cx="2737848" cy="757238"/>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800</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Mining operations &amp; projects</a:t>
            </a:r>
          </a:p>
        </p:txBody>
      </p:sp>
      <p:grpSp>
        <p:nvGrpSpPr>
          <p:cNvPr id="121" name="Group 120">
            <a:extLst>
              <a:ext uri="{FF2B5EF4-FFF2-40B4-BE49-F238E27FC236}">
                <a16:creationId xmlns:a16="http://schemas.microsoft.com/office/drawing/2014/main" id="{DDE23F5E-33B3-41E0-96BD-B12A9EBD2276}"/>
              </a:ext>
            </a:extLst>
          </p:cNvPr>
          <p:cNvGrpSpPr/>
          <p:nvPr/>
        </p:nvGrpSpPr>
        <p:grpSpPr>
          <a:xfrm>
            <a:off x="3238501" y="3767663"/>
            <a:ext cx="2611609" cy="291655"/>
            <a:chOff x="3238501" y="4749814"/>
            <a:chExt cx="2611609" cy="291290"/>
          </a:xfrm>
        </p:grpSpPr>
        <p:grpSp>
          <p:nvGrpSpPr>
            <p:cNvPr id="106" name="CheckmarkBlue 106">
              <a:extLst>
                <a:ext uri="{FF2B5EF4-FFF2-40B4-BE49-F238E27FC236}">
                  <a16:creationId xmlns:a16="http://schemas.microsoft.com/office/drawing/2014/main" id="{9896BB38-D997-4948-8179-E60E9FA09410}"/>
                </a:ext>
              </a:extLst>
            </p:cNvPr>
            <p:cNvGrpSpPr>
              <a:grpSpLocks noChangeAspect="1"/>
            </p:cNvGrpSpPr>
            <p:nvPr>
              <p:custDataLst>
                <p:tags r:id="rId20"/>
              </p:custDataLst>
            </p:nvPr>
          </p:nvGrpSpPr>
          <p:grpSpPr>
            <a:xfrm>
              <a:off x="3238501" y="4772456"/>
              <a:ext cx="268648" cy="268648"/>
              <a:chOff x="1016000" y="1016000"/>
              <a:chExt cx="396228" cy="396228"/>
            </a:xfrm>
          </p:grpSpPr>
          <p:sp>
            <p:nvSpPr>
              <p:cNvPr id="103" name="Oval 102">
                <a:extLst>
                  <a:ext uri="{FF2B5EF4-FFF2-40B4-BE49-F238E27FC236}">
                    <a16:creationId xmlns:a16="http://schemas.microsoft.com/office/drawing/2014/main" id="{4B9934FC-AE8E-4AA8-BAF0-9476EB4E90BC}"/>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05" name="Graphic 104">
                <a:extLst>
                  <a:ext uri="{FF2B5EF4-FFF2-40B4-BE49-F238E27FC236}">
                    <a16:creationId xmlns:a16="http://schemas.microsoft.com/office/drawing/2014/main" id="{FFD06596-95A3-40AD-B50C-9BDFC8F1DF1C}"/>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1023614" y="1023614"/>
                <a:ext cx="381000" cy="381000"/>
              </a:xfrm>
              <a:prstGeom prst="rect">
                <a:avLst/>
              </a:prstGeom>
            </p:spPr>
          </p:pic>
        </p:grpSp>
        <p:sp>
          <p:nvSpPr>
            <p:cNvPr id="108" name="TextBox 107">
              <a:extLst>
                <a:ext uri="{FF2B5EF4-FFF2-40B4-BE49-F238E27FC236}">
                  <a16:creationId xmlns:a16="http://schemas.microsoft.com/office/drawing/2014/main" id="{31962308-D58A-46E0-8CC9-9B2CCF076613}"/>
                </a:ext>
              </a:extLst>
            </p:cNvPr>
            <p:cNvSpPr txBox="1"/>
            <p:nvPr/>
          </p:nvSpPr>
          <p:spPr>
            <a:xfrm>
              <a:off x="3512311" y="4749814"/>
              <a:ext cx="2337799" cy="285874"/>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Traditional Mining house</a:t>
              </a:r>
            </a:p>
          </p:txBody>
        </p:sp>
      </p:grpSp>
      <p:grpSp>
        <p:nvGrpSpPr>
          <p:cNvPr id="122" name="Group 121">
            <a:extLst>
              <a:ext uri="{FF2B5EF4-FFF2-40B4-BE49-F238E27FC236}">
                <a16:creationId xmlns:a16="http://schemas.microsoft.com/office/drawing/2014/main" id="{A7CCE14C-E775-478A-9111-39D92FBBC064}"/>
              </a:ext>
            </a:extLst>
          </p:cNvPr>
          <p:cNvGrpSpPr/>
          <p:nvPr/>
        </p:nvGrpSpPr>
        <p:grpSpPr>
          <a:xfrm>
            <a:off x="3238501" y="4189872"/>
            <a:ext cx="2611609" cy="480131"/>
            <a:chOff x="3238501" y="5199292"/>
            <a:chExt cx="2611609" cy="479530"/>
          </a:xfrm>
        </p:grpSpPr>
        <p:grpSp>
          <p:nvGrpSpPr>
            <p:cNvPr id="109" name="CheckmarkBlue 106">
              <a:extLst>
                <a:ext uri="{FF2B5EF4-FFF2-40B4-BE49-F238E27FC236}">
                  <a16:creationId xmlns:a16="http://schemas.microsoft.com/office/drawing/2014/main" id="{C8F22BB2-471A-4965-AFFF-6FDBF5695F90}"/>
                </a:ext>
              </a:extLst>
            </p:cNvPr>
            <p:cNvGrpSpPr>
              <a:grpSpLocks noChangeAspect="1"/>
            </p:cNvGrpSpPr>
            <p:nvPr>
              <p:custDataLst>
                <p:tags r:id="rId19"/>
              </p:custDataLst>
            </p:nvPr>
          </p:nvGrpSpPr>
          <p:grpSpPr>
            <a:xfrm>
              <a:off x="3238501" y="5221934"/>
              <a:ext cx="268648" cy="268648"/>
              <a:chOff x="1016000" y="1016000"/>
              <a:chExt cx="396228" cy="396228"/>
            </a:xfrm>
          </p:grpSpPr>
          <p:sp>
            <p:nvSpPr>
              <p:cNvPr id="110" name="Oval 109">
                <a:extLst>
                  <a:ext uri="{FF2B5EF4-FFF2-40B4-BE49-F238E27FC236}">
                    <a16:creationId xmlns:a16="http://schemas.microsoft.com/office/drawing/2014/main" id="{97B13D1E-9109-40C7-8602-79671060235E}"/>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11" name="Graphic 110">
                <a:extLst>
                  <a:ext uri="{FF2B5EF4-FFF2-40B4-BE49-F238E27FC236}">
                    <a16:creationId xmlns:a16="http://schemas.microsoft.com/office/drawing/2014/main" id="{9713C298-EC59-4122-A98B-6E84FF62918C}"/>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1023614" y="1023614"/>
                <a:ext cx="381000" cy="381000"/>
              </a:xfrm>
              <a:prstGeom prst="rect">
                <a:avLst/>
              </a:prstGeom>
            </p:spPr>
          </p:pic>
        </p:grpSp>
        <p:sp>
          <p:nvSpPr>
            <p:cNvPr id="112" name="TextBox 111">
              <a:extLst>
                <a:ext uri="{FF2B5EF4-FFF2-40B4-BE49-F238E27FC236}">
                  <a16:creationId xmlns:a16="http://schemas.microsoft.com/office/drawing/2014/main" id="{AD1406F8-4661-4248-8773-B660B7776C2B}"/>
                </a:ext>
              </a:extLst>
            </p:cNvPr>
            <p:cNvSpPr txBox="1"/>
            <p:nvPr/>
          </p:nvSpPr>
          <p:spPr>
            <a:xfrm>
              <a:off x="3512311" y="5199292"/>
              <a:ext cx="2337799" cy="479530"/>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Built wealth by granting private concessions</a:t>
              </a:r>
            </a:p>
          </p:txBody>
        </p:sp>
      </p:grpSp>
      <p:grpSp>
        <p:nvGrpSpPr>
          <p:cNvPr id="123" name="Group 122">
            <a:extLst>
              <a:ext uri="{FF2B5EF4-FFF2-40B4-BE49-F238E27FC236}">
                <a16:creationId xmlns:a16="http://schemas.microsoft.com/office/drawing/2014/main" id="{0194005B-D523-446D-85CA-40EF4BFBEB28}"/>
              </a:ext>
            </a:extLst>
          </p:cNvPr>
          <p:cNvGrpSpPr/>
          <p:nvPr/>
        </p:nvGrpSpPr>
        <p:grpSpPr>
          <a:xfrm>
            <a:off x="3238501" y="4739280"/>
            <a:ext cx="2611609" cy="480131"/>
            <a:chOff x="3238501" y="5648770"/>
            <a:chExt cx="2611609" cy="479530"/>
          </a:xfrm>
        </p:grpSpPr>
        <p:grpSp>
          <p:nvGrpSpPr>
            <p:cNvPr id="113" name="CheckmarkBlue 106">
              <a:extLst>
                <a:ext uri="{FF2B5EF4-FFF2-40B4-BE49-F238E27FC236}">
                  <a16:creationId xmlns:a16="http://schemas.microsoft.com/office/drawing/2014/main" id="{CDFB78B2-7660-415B-9B20-58F68D55B4FA}"/>
                </a:ext>
              </a:extLst>
            </p:cNvPr>
            <p:cNvGrpSpPr>
              <a:grpSpLocks noChangeAspect="1"/>
            </p:cNvGrpSpPr>
            <p:nvPr>
              <p:custDataLst>
                <p:tags r:id="rId18"/>
              </p:custDataLst>
            </p:nvPr>
          </p:nvGrpSpPr>
          <p:grpSpPr>
            <a:xfrm>
              <a:off x="3238501" y="5671412"/>
              <a:ext cx="268648" cy="268648"/>
              <a:chOff x="1016000" y="1016000"/>
              <a:chExt cx="396228" cy="396228"/>
            </a:xfrm>
          </p:grpSpPr>
          <p:sp>
            <p:nvSpPr>
              <p:cNvPr id="114" name="Oval 113">
                <a:extLst>
                  <a:ext uri="{FF2B5EF4-FFF2-40B4-BE49-F238E27FC236}">
                    <a16:creationId xmlns:a16="http://schemas.microsoft.com/office/drawing/2014/main" id="{DF70ECE0-CF28-481E-ADB9-F052536C5007}"/>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15" name="Graphic 114">
                <a:extLst>
                  <a:ext uri="{FF2B5EF4-FFF2-40B4-BE49-F238E27FC236}">
                    <a16:creationId xmlns:a16="http://schemas.microsoft.com/office/drawing/2014/main" id="{4D3FC6F2-DC01-4825-BBF4-B78E01224B91}"/>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1023614" y="1023614"/>
                <a:ext cx="381000" cy="381000"/>
              </a:xfrm>
              <a:prstGeom prst="rect">
                <a:avLst/>
              </a:prstGeom>
            </p:spPr>
          </p:pic>
        </p:grpSp>
        <p:sp>
          <p:nvSpPr>
            <p:cNvPr id="116" name="TextBox 115">
              <a:extLst>
                <a:ext uri="{FF2B5EF4-FFF2-40B4-BE49-F238E27FC236}">
                  <a16:creationId xmlns:a16="http://schemas.microsoft.com/office/drawing/2014/main" id="{54D0E05A-5009-4FFC-8D48-D6EC5891D736}"/>
                </a:ext>
              </a:extLst>
            </p:cNvPr>
            <p:cNvSpPr txBox="1"/>
            <p:nvPr/>
          </p:nvSpPr>
          <p:spPr>
            <a:xfrm>
              <a:off x="3512311" y="5648770"/>
              <a:ext cx="2337799" cy="479530"/>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Trending towards mega-projects, focus on lithium</a:t>
              </a:r>
            </a:p>
          </p:txBody>
        </p:sp>
      </p:grpSp>
      <p:sp>
        <p:nvSpPr>
          <p:cNvPr id="125" name="BigStat 100">
            <a:extLst>
              <a:ext uri="{FF2B5EF4-FFF2-40B4-BE49-F238E27FC236}">
                <a16:creationId xmlns:a16="http://schemas.microsoft.com/office/drawing/2014/main" id="{736CED63-F3F0-44DC-B584-A0313FAB62CE}"/>
              </a:ext>
            </a:extLst>
          </p:cNvPr>
          <p:cNvSpPr txBox="1"/>
          <p:nvPr>
            <p:custDataLst>
              <p:tags r:id="rId4"/>
            </p:custDataLst>
          </p:nvPr>
        </p:nvSpPr>
        <p:spPr>
          <a:xfrm>
            <a:off x="6214475" y="1949450"/>
            <a:ext cx="2737848" cy="923330"/>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10</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Industrial scale gold mines currently operating</a:t>
            </a:r>
          </a:p>
        </p:txBody>
      </p:sp>
      <p:sp>
        <p:nvSpPr>
          <p:cNvPr id="126" name="BigStat 100">
            <a:extLst>
              <a:ext uri="{FF2B5EF4-FFF2-40B4-BE49-F238E27FC236}">
                <a16:creationId xmlns:a16="http://schemas.microsoft.com/office/drawing/2014/main" id="{66EC6B8E-22E3-4645-B336-AEDE2ADDC866}"/>
              </a:ext>
            </a:extLst>
          </p:cNvPr>
          <p:cNvSpPr txBox="1"/>
          <p:nvPr>
            <p:custDataLst>
              <p:tags r:id="rId5"/>
            </p:custDataLst>
          </p:nvPr>
        </p:nvSpPr>
        <p:spPr>
          <a:xfrm>
            <a:off x="6214475" y="2863463"/>
            <a:ext cx="2737848" cy="728663"/>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1.1 </a:t>
            </a:r>
            <a:r>
              <a:rPr kumimoji="0" lang="en-US" sz="3200" b="1" i="0" u="none" strike="noStrike" kern="1200" cap="none" spc="0" normalizeH="0" baseline="0" noProof="0" dirty="0" err="1">
                <a:ln>
                  <a:noFill/>
                </a:ln>
                <a:solidFill>
                  <a:srgbClr val="B39759"/>
                </a:solidFill>
                <a:effectLst/>
                <a:uLnTx/>
                <a:uFillTx/>
                <a:latin typeface="Calibri Light" panose="020F0302020204030204"/>
                <a:ea typeface="+mn-ea"/>
                <a:cs typeface="Calibri" panose="020F0502020204030204" pitchFamily="34" charset="0"/>
              </a:rPr>
              <a:t>Moz</a:t>
            </a: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 (-1%)</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Gold production (growth 21-22)</a:t>
            </a:r>
          </a:p>
        </p:txBody>
      </p:sp>
      <p:sp>
        <p:nvSpPr>
          <p:cNvPr id="144" name="TextBox 143">
            <a:extLst>
              <a:ext uri="{FF2B5EF4-FFF2-40B4-BE49-F238E27FC236}">
                <a16:creationId xmlns:a16="http://schemas.microsoft.com/office/drawing/2014/main" id="{E8106E64-E8A4-4E6C-8094-05F333F3310F}"/>
              </a:ext>
            </a:extLst>
          </p:cNvPr>
          <p:cNvSpPr txBox="1"/>
          <p:nvPr/>
        </p:nvSpPr>
        <p:spPr>
          <a:xfrm>
            <a:off x="8953499" y="1633539"/>
            <a:ext cx="2870021" cy="3203954"/>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28600" marR="0" lvl="0" indent="-2286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Regulatory uncertainty - </a:t>
            </a:r>
            <a:r>
              <a:rPr kumimoji="0" lang="en-US" sz="16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especially</a:t>
            </a:r>
            <a:r>
              <a:rPr kumimoji="0" lang="en-US" sz="1600" b="1"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 </a:t>
            </a:r>
            <a:r>
              <a:rPr kumimoji="0" lang="en-US" sz="16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regarding the environment, communities, and taxes</a:t>
            </a:r>
          </a:p>
          <a:p>
            <a:pPr marL="228600" marR="0" lvl="0" indent="-2286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Unstable political environment, </a:t>
            </a:r>
            <a:r>
              <a:rPr kumimoji="0" lang="en-US" sz="16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with a polarized panorama and a new constitution on the way</a:t>
            </a:r>
          </a:p>
          <a:p>
            <a:pPr marL="228600" marR="0" lvl="0" indent="-2286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Potential for </a:t>
            </a:r>
            <a:r>
              <a:rPr kumimoji="0" lang="en-US" sz="1600" b="1"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growing community opposition</a:t>
            </a:r>
            <a:endParaRPr kumimoji="0" lang="en-US" sz="16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a:p>
            <a:pPr marL="228600" marR="0" lvl="0" indent="-2286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Potential water scarcity</a:t>
            </a:r>
            <a:r>
              <a:rPr kumimoji="0" lang="en-US" sz="16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 implying the need for desalination plants</a:t>
            </a:r>
            <a:endParaRPr kumimoji="0" lang="en-US" sz="1600" b="1"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p:txBody>
      </p:sp>
      <p:cxnSp>
        <p:nvCxnSpPr>
          <p:cNvPr id="150" name="LineContentSeparatorDefault 150">
            <a:extLst>
              <a:ext uri="{FF2B5EF4-FFF2-40B4-BE49-F238E27FC236}">
                <a16:creationId xmlns:a16="http://schemas.microsoft.com/office/drawing/2014/main" id="{74B6E49E-3407-4E23-92E6-CE2E3937239F}"/>
              </a:ext>
            </a:extLst>
          </p:cNvPr>
          <p:cNvCxnSpPr>
            <a:cxnSpLocks/>
          </p:cNvCxnSpPr>
          <p:nvPr>
            <p:custDataLst>
              <p:tags r:id="rId6"/>
            </p:custDataLst>
          </p:nvPr>
        </p:nvCxnSpPr>
        <p:spPr>
          <a:xfrm>
            <a:off x="262527" y="1566863"/>
            <a:ext cx="2394947" cy="0"/>
          </a:xfrm>
          <a:prstGeom prst="straightConnector1">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2" name="LineContentSeparatorDefault 150">
            <a:extLst>
              <a:ext uri="{FF2B5EF4-FFF2-40B4-BE49-F238E27FC236}">
                <a16:creationId xmlns:a16="http://schemas.microsoft.com/office/drawing/2014/main" id="{10A2A179-A986-464E-992D-7F7C71DADDAE}"/>
              </a:ext>
            </a:extLst>
          </p:cNvPr>
          <p:cNvCxnSpPr>
            <a:cxnSpLocks/>
          </p:cNvCxnSpPr>
          <p:nvPr>
            <p:custDataLst>
              <p:tags r:id="rId7"/>
            </p:custDataLst>
          </p:nvPr>
        </p:nvCxnSpPr>
        <p:spPr>
          <a:xfrm>
            <a:off x="3238501" y="1566863"/>
            <a:ext cx="5495924" cy="0"/>
          </a:xfrm>
          <a:prstGeom prst="straightConnector1">
            <a:avLst/>
          </a:prstGeom>
          <a:ln w="6350">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154" name="LineContentSeparatorDefault 150">
            <a:extLst>
              <a:ext uri="{FF2B5EF4-FFF2-40B4-BE49-F238E27FC236}">
                <a16:creationId xmlns:a16="http://schemas.microsoft.com/office/drawing/2014/main" id="{5DD69DFA-90AE-4BC4-B32C-7D033758F7AF}"/>
              </a:ext>
            </a:extLst>
          </p:cNvPr>
          <p:cNvCxnSpPr>
            <a:cxnSpLocks/>
          </p:cNvCxnSpPr>
          <p:nvPr>
            <p:custDataLst>
              <p:tags r:id="rId8"/>
            </p:custDataLst>
          </p:nvPr>
        </p:nvCxnSpPr>
        <p:spPr>
          <a:xfrm>
            <a:off x="8953500" y="1566863"/>
            <a:ext cx="2870021" cy="0"/>
          </a:xfrm>
          <a:prstGeom prst="straightConnector1">
            <a:avLst/>
          </a:prstGeom>
          <a:ln w="6350">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nvGrpSpPr>
          <p:cNvPr id="158" name="ChevronWhite 158">
            <a:extLst>
              <a:ext uri="{FF2B5EF4-FFF2-40B4-BE49-F238E27FC236}">
                <a16:creationId xmlns:a16="http://schemas.microsoft.com/office/drawing/2014/main" id="{7A57A53C-82A1-4767-B284-15634A46B7E3}"/>
              </a:ext>
            </a:extLst>
          </p:cNvPr>
          <p:cNvGrpSpPr>
            <a:grpSpLocks noChangeAspect="1"/>
          </p:cNvGrpSpPr>
          <p:nvPr>
            <p:custDataLst>
              <p:tags r:id="rId9"/>
            </p:custDataLst>
          </p:nvPr>
        </p:nvGrpSpPr>
        <p:grpSpPr>
          <a:xfrm>
            <a:off x="2839392" y="1385889"/>
            <a:ext cx="303213" cy="303213"/>
            <a:chOff x="1016000" y="1016000"/>
            <a:chExt cx="396228" cy="396228"/>
          </a:xfrm>
        </p:grpSpPr>
        <p:sp>
          <p:nvSpPr>
            <p:cNvPr id="155" name="Oval 154">
              <a:extLst>
                <a:ext uri="{FF2B5EF4-FFF2-40B4-BE49-F238E27FC236}">
                  <a16:creationId xmlns:a16="http://schemas.microsoft.com/office/drawing/2014/main" id="{AA98363E-41C0-4689-B779-4AC4E4884E0F}"/>
                </a:ext>
              </a:extLst>
            </p:cNvPr>
            <p:cNvSpPr/>
            <p:nvPr/>
          </p:nvSpPr>
          <p:spPr>
            <a:xfrm>
              <a:off x="1016000" y="1016000"/>
              <a:ext cx="396228" cy="396228"/>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57" name="Graphic 156">
              <a:extLst>
                <a:ext uri="{FF2B5EF4-FFF2-40B4-BE49-F238E27FC236}">
                  <a16:creationId xmlns:a16="http://schemas.microsoft.com/office/drawing/2014/main" id="{B037DC85-89A7-424E-9471-A1BFB5820EFB}"/>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1023614" y="1023614"/>
              <a:ext cx="381000" cy="381000"/>
            </a:xfrm>
            <a:prstGeom prst="rect">
              <a:avLst/>
            </a:prstGeom>
          </p:spPr>
        </p:pic>
      </p:grpSp>
      <p:grpSp>
        <p:nvGrpSpPr>
          <p:cNvPr id="160" name="ChevronWhite 158">
            <a:extLst>
              <a:ext uri="{FF2B5EF4-FFF2-40B4-BE49-F238E27FC236}">
                <a16:creationId xmlns:a16="http://schemas.microsoft.com/office/drawing/2014/main" id="{68E623C4-99D7-446A-843A-91B9BDFEA093}"/>
              </a:ext>
            </a:extLst>
          </p:cNvPr>
          <p:cNvGrpSpPr>
            <a:grpSpLocks noChangeAspect="1"/>
          </p:cNvGrpSpPr>
          <p:nvPr>
            <p:custDataLst>
              <p:tags r:id="rId10"/>
            </p:custDataLst>
          </p:nvPr>
        </p:nvGrpSpPr>
        <p:grpSpPr>
          <a:xfrm>
            <a:off x="8669338" y="1385889"/>
            <a:ext cx="303213" cy="303213"/>
            <a:chOff x="1016000" y="1016000"/>
            <a:chExt cx="396228" cy="396228"/>
          </a:xfrm>
          <a:solidFill>
            <a:schemeClr val="accent3"/>
          </a:solidFill>
        </p:grpSpPr>
        <p:sp>
          <p:nvSpPr>
            <p:cNvPr id="161" name="Oval 160">
              <a:extLst>
                <a:ext uri="{FF2B5EF4-FFF2-40B4-BE49-F238E27FC236}">
                  <a16:creationId xmlns:a16="http://schemas.microsoft.com/office/drawing/2014/main" id="{44825ED7-26B2-411C-A881-AAFCC0FD9CB9}"/>
                </a:ext>
              </a:extLst>
            </p:cNvPr>
            <p:cNvSpPr/>
            <p:nvPr/>
          </p:nvSpPr>
          <p:spPr>
            <a:xfrm>
              <a:off x="1016000" y="1016000"/>
              <a:ext cx="396228" cy="396228"/>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62" name="Graphic 161">
              <a:extLst>
                <a:ext uri="{FF2B5EF4-FFF2-40B4-BE49-F238E27FC236}">
                  <a16:creationId xmlns:a16="http://schemas.microsoft.com/office/drawing/2014/main" id="{9795E4CD-0104-494F-8ED1-D0068D57A764}"/>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1023614" y="1023614"/>
              <a:ext cx="381000" cy="381000"/>
            </a:xfrm>
            <a:prstGeom prst="rect">
              <a:avLst/>
            </a:prstGeom>
          </p:spPr>
        </p:pic>
      </p:grpSp>
      <p:pic>
        <p:nvPicPr>
          <p:cNvPr id="164" name="Picture 163">
            <a:extLst>
              <a:ext uri="{FF2B5EF4-FFF2-40B4-BE49-F238E27FC236}">
                <a16:creationId xmlns:a16="http://schemas.microsoft.com/office/drawing/2014/main" id="{C08644D0-F3E7-4FD7-A025-99B29EDF625E}"/>
              </a:ext>
            </a:extLst>
          </p:cNvPr>
          <p:cNvPicPr>
            <a:picLocks noChangeAspect="1"/>
          </p:cNvPicPr>
          <p:nvPr>
            <p:custDataLst>
              <p:tags r:id="rId11"/>
            </p:custDataLst>
          </p:nvPr>
        </p:nvPicPr>
        <p:blipFill rotWithShape="1">
          <a:blip r:embed="rId31" cstate="print">
            <a:extLst>
              <a:ext uri="{28A0092B-C50C-407E-A947-70E740481C1C}">
                <a14:useLocalDpi xmlns:a14="http://schemas.microsoft.com/office/drawing/2010/main"/>
              </a:ext>
            </a:extLst>
          </a:blip>
          <a:srcRect/>
          <a:stretch/>
        </p:blipFill>
        <p:spPr>
          <a:xfrm flipH="1">
            <a:off x="8589371" y="4692650"/>
            <a:ext cx="3601355" cy="2028825"/>
          </a:xfrm>
          <a:prstGeom prst="rect">
            <a:avLst/>
          </a:prstGeom>
        </p:spPr>
      </p:pic>
      <p:sp>
        <p:nvSpPr>
          <p:cNvPr id="184" name="BigStat 100">
            <a:extLst>
              <a:ext uri="{FF2B5EF4-FFF2-40B4-BE49-F238E27FC236}">
                <a16:creationId xmlns:a16="http://schemas.microsoft.com/office/drawing/2014/main" id="{41138818-1B86-4B56-90FC-10CF426CCC63}"/>
              </a:ext>
            </a:extLst>
          </p:cNvPr>
          <p:cNvSpPr txBox="1"/>
          <p:nvPr>
            <p:custDataLst>
              <p:tags r:id="rId12"/>
            </p:custDataLst>
          </p:nvPr>
        </p:nvSpPr>
        <p:spPr>
          <a:xfrm>
            <a:off x="6214475" y="3582809"/>
            <a:ext cx="2737848" cy="923925"/>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3</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Gold projects </a:t>
            </a: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expected</a:t>
            </a:r>
            <a:r>
              <a:rPr kumimoji="0" lang="en-US" sz="1400" b="0" i="0" u="none" strike="noStrike" kern="1200" cap="none" spc="0" normalizeH="0" baseline="0" noProof="0" dirty="0">
                <a:ln>
                  <a:noFill/>
                </a:ln>
                <a:solidFill>
                  <a:srgbClr val="FF0000"/>
                </a:solidFill>
                <a:effectLst/>
                <a:uLnTx/>
                <a:uFillTx/>
                <a:latin typeface="Calibri" panose="020F0502020204030204"/>
                <a:ea typeface="+mn-ea"/>
                <a:cs typeface="Calibri" panose="020F0502020204030204" pitchFamily="34" charset="0"/>
              </a:rPr>
              <a:t> </a:t>
            </a: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to be launched prior to 2030</a:t>
            </a:r>
          </a:p>
        </p:txBody>
      </p:sp>
      <p:sp>
        <p:nvSpPr>
          <p:cNvPr id="204" name="BigStat 100">
            <a:extLst>
              <a:ext uri="{FF2B5EF4-FFF2-40B4-BE49-F238E27FC236}">
                <a16:creationId xmlns:a16="http://schemas.microsoft.com/office/drawing/2014/main" id="{954B7A5F-DAEB-4A83-84A4-D077F6763C99}"/>
              </a:ext>
            </a:extLst>
          </p:cNvPr>
          <p:cNvSpPr txBox="1"/>
          <p:nvPr>
            <p:custDataLst>
              <p:tags r:id="rId13"/>
            </p:custDataLst>
          </p:nvPr>
        </p:nvSpPr>
        <p:spPr>
          <a:xfrm>
            <a:off x="6214475" y="4497416"/>
            <a:ext cx="2737848" cy="729430"/>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41 / 121 </a:t>
            </a:r>
            <a:r>
              <a:rPr kumimoji="0" lang="en-US" sz="3200" b="1" i="0" u="none" strike="noStrike" kern="1200" cap="none" spc="0" normalizeH="0" baseline="0" noProof="0" dirty="0" err="1">
                <a:ln>
                  <a:noFill/>
                </a:ln>
                <a:solidFill>
                  <a:srgbClr val="B39759"/>
                </a:solidFill>
                <a:effectLst/>
                <a:uLnTx/>
                <a:uFillTx/>
                <a:latin typeface="Calibri Light" panose="020F0302020204030204"/>
                <a:ea typeface="+mn-ea"/>
                <a:cs typeface="Calibri" panose="020F0502020204030204" pitchFamily="34" charset="0"/>
              </a:rPr>
              <a:t>Moz</a:t>
            </a:r>
            <a:endPar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endParaRP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Gold reserves / Gold R&amp;R</a:t>
            </a:r>
          </a:p>
        </p:txBody>
      </p:sp>
      <p:sp>
        <p:nvSpPr>
          <p:cNvPr id="85" name="TextBox 84">
            <a:extLst>
              <a:ext uri="{FF2B5EF4-FFF2-40B4-BE49-F238E27FC236}">
                <a16:creationId xmlns:a16="http://schemas.microsoft.com/office/drawing/2014/main" id="{BB0E91B3-A14B-F0BD-B384-A818AE4E4601}"/>
              </a:ext>
            </a:extLst>
          </p:cNvPr>
          <p:cNvSpPr txBox="1"/>
          <p:nvPr/>
        </p:nvSpPr>
        <p:spPr>
          <a:xfrm>
            <a:off x="3244970" y="5335690"/>
            <a:ext cx="2737848" cy="258532"/>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Top players in country</a:t>
            </a:r>
          </a:p>
        </p:txBody>
      </p:sp>
      <p:sp>
        <p:nvSpPr>
          <p:cNvPr id="86" name="TextBox 85">
            <a:extLst>
              <a:ext uri="{FF2B5EF4-FFF2-40B4-BE49-F238E27FC236}">
                <a16:creationId xmlns:a16="http://schemas.microsoft.com/office/drawing/2014/main" id="{B334C6C0-AD72-72F7-FE3F-DCA439A113C3}"/>
              </a:ext>
            </a:extLst>
          </p:cNvPr>
          <p:cNvSpPr txBox="1"/>
          <p:nvPr/>
        </p:nvSpPr>
        <p:spPr>
          <a:xfrm>
            <a:off x="6214475" y="5339275"/>
            <a:ext cx="2394947" cy="258532"/>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Top gold miners</a:t>
            </a:r>
          </a:p>
        </p:txBody>
      </p:sp>
      <p:pic>
        <p:nvPicPr>
          <p:cNvPr id="2052" name="Picture 4">
            <a:extLst>
              <a:ext uri="{FF2B5EF4-FFF2-40B4-BE49-F238E27FC236}">
                <a16:creationId xmlns:a16="http://schemas.microsoft.com/office/drawing/2014/main" id="{F4C2D790-241C-91D2-B7F8-305378FF1FB7}"/>
              </a:ext>
            </a:extLst>
          </p:cNvPr>
          <p:cNvPicPr>
            <a:picLocks noChangeAspect="1" noChangeArrowheads="1"/>
          </p:cNvPicPr>
          <p:nvPr/>
        </p:nvPicPr>
        <p:blipFill>
          <a:blip r:embed="rId32" cstate="screen">
            <a:extLst>
              <a:ext uri="{28A0092B-C50C-407E-A947-70E740481C1C}">
                <a14:useLocalDpi xmlns:a14="http://schemas.microsoft.com/office/drawing/2010/main"/>
              </a:ext>
            </a:extLst>
          </a:blip>
          <a:srcRect/>
          <a:stretch>
            <a:fillRect/>
          </a:stretch>
        </p:blipFill>
        <p:spPr bwMode="auto">
          <a:xfrm>
            <a:off x="3340607" y="6048376"/>
            <a:ext cx="1165903" cy="260180"/>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43">
            <a:extLst>
              <a:ext uri="{FF2B5EF4-FFF2-40B4-BE49-F238E27FC236}">
                <a16:creationId xmlns:a16="http://schemas.microsoft.com/office/drawing/2014/main" id="{5E637B8D-067E-6873-4124-95744A5826E5}"/>
              </a:ext>
            </a:extLst>
          </p:cNvPr>
          <p:cNvPicPr>
            <a:picLocks/>
          </p:cNvPicPr>
          <p:nvPr/>
        </p:nvPicPr>
        <p:blipFill rotWithShape="1">
          <a:blip r:embed="rId33" cstate="screen">
            <a:extLst>
              <a:ext uri="{28A0092B-C50C-407E-A947-70E740481C1C}">
                <a14:useLocalDpi xmlns:a14="http://schemas.microsoft.com/office/drawing/2010/main"/>
              </a:ext>
            </a:extLst>
          </a:blip>
          <a:srcRect/>
          <a:stretch/>
        </p:blipFill>
        <p:spPr>
          <a:xfrm>
            <a:off x="8762207" y="358581"/>
            <a:ext cx="604510" cy="604510"/>
          </a:xfrm>
          <a:prstGeom prst="ellipse">
            <a:avLst/>
          </a:prstGeom>
          <a:ln>
            <a:solidFill>
              <a:srgbClr val="CCCCCC"/>
            </a:solidFill>
          </a:ln>
        </p:spPr>
      </p:pic>
      <p:sp>
        <p:nvSpPr>
          <p:cNvPr id="3" name="Title 1">
            <a:extLst>
              <a:ext uri="{FF2B5EF4-FFF2-40B4-BE49-F238E27FC236}">
                <a16:creationId xmlns:a16="http://schemas.microsoft.com/office/drawing/2014/main" id="{EAA3CC10-B79B-22F5-449F-EB386E4E4B2F}"/>
              </a:ext>
            </a:extLst>
          </p:cNvPr>
          <p:cNvSpPr txBox="1">
            <a:spLocks/>
          </p:cNvSpPr>
          <p:nvPr/>
        </p:nvSpPr>
        <p:spPr>
          <a:xfrm>
            <a:off x="262527" y="157910"/>
            <a:ext cx="8499680" cy="75713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ctr" anchorCtr="0">
            <a:spAutoFit/>
          </a:bodyPr>
          <a:lstStyle>
            <a:lvl1pPr algn="l" defTabSz="914400" rtl="0" eaLnBrk="1" latinLnBrk="0" hangingPunct="1">
              <a:lnSpc>
                <a:spcPct val="90000"/>
              </a:lnSpc>
              <a:spcBef>
                <a:spcPct val="0"/>
              </a:spcBef>
              <a:buNone/>
              <a:defRPr sz="3200" b="1" i="0" kern="1200">
                <a:solidFill>
                  <a:srgbClr val="002060"/>
                </a:solidFill>
                <a:latin typeface="Calibri" panose="020F0502020204030204" pitchFamily="34" charset="0"/>
                <a:ea typeface="+mj-ea"/>
                <a:cs typeface="Calibri" panose="020F050202020403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Calibri" panose="020F0502020204030204" pitchFamily="34" charset="0"/>
                <a:ea typeface="+mj-ea"/>
                <a:cs typeface="Calibri" panose="020F0502020204030204" pitchFamily="34" charset="0"/>
              </a:rPr>
              <a:t>Chile presents a prominent and accessible geological endowment for gold that may justify its more expensive cost structure</a:t>
            </a:r>
            <a:endParaRPr kumimoji="0" lang="en-CA" sz="2400" b="1" i="0" u="none" strike="noStrike" kern="1200" cap="none" spc="0" normalizeH="0" baseline="0" noProof="0" dirty="0">
              <a:ln>
                <a:noFill/>
              </a:ln>
              <a:solidFill>
                <a:srgbClr val="002060"/>
              </a:solidFill>
              <a:effectLst/>
              <a:uLnTx/>
              <a:uFillTx/>
              <a:latin typeface="Calibri" panose="020F0502020204030204" pitchFamily="34" charset="0"/>
              <a:ea typeface="+mj-ea"/>
              <a:cs typeface="Calibri" panose="020F0502020204030204" pitchFamily="34" charset="0"/>
            </a:endParaRPr>
          </a:p>
        </p:txBody>
      </p:sp>
      <p:sp>
        <p:nvSpPr>
          <p:cNvPr id="19" name="TextBox 18">
            <a:extLst>
              <a:ext uri="{FF2B5EF4-FFF2-40B4-BE49-F238E27FC236}">
                <a16:creationId xmlns:a16="http://schemas.microsoft.com/office/drawing/2014/main" id="{C2A26BB1-AA2D-07B4-87E6-5E1E5B9B40DC}"/>
              </a:ext>
            </a:extLst>
          </p:cNvPr>
          <p:cNvSpPr txBox="1"/>
          <p:nvPr/>
        </p:nvSpPr>
        <p:spPr>
          <a:xfrm>
            <a:off x="262527" y="820969"/>
            <a:ext cx="4064000" cy="286232"/>
          </a:xfrm>
          <a:prstGeom prst="rect">
            <a:avLst/>
          </a:prstGeom>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mn-cs"/>
              </a:rPr>
              <a:t>Chile executive summary</a:t>
            </a:r>
          </a:p>
        </p:txBody>
      </p:sp>
      <p:sp>
        <p:nvSpPr>
          <p:cNvPr id="59" name="5. Source">
            <a:extLst>
              <a:ext uri="{FF2B5EF4-FFF2-40B4-BE49-F238E27FC236}">
                <a16:creationId xmlns:a16="http://schemas.microsoft.com/office/drawing/2014/main" id="{77B6BE18-E266-27CA-C8A3-1A6070BCDA36}"/>
              </a:ext>
            </a:extLst>
          </p:cNvPr>
          <p:cNvSpPr txBox="1"/>
          <p:nvPr>
            <p:custDataLst>
              <p:tags r:id="rId14"/>
            </p:custDataLst>
          </p:nvPr>
        </p:nvSpPr>
        <p:spPr>
          <a:xfrm>
            <a:off x="262528" y="6533620"/>
            <a:ext cx="2582692" cy="184666"/>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6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Source: S&amp;P Global, IBRAM, Americas Market Intelligence, World Bank WDI, IMF (WEO), </a:t>
            </a:r>
            <a:r>
              <a:rPr kumimoji="0" lang="en-US" sz="600" b="0" i="0" u="none" strike="noStrike" kern="1200" cap="none" spc="0" normalizeH="0" baseline="0" noProof="0" dirty="0" err="1">
                <a:ln>
                  <a:noFill/>
                </a:ln>
                <a:solidFill>
                  <a:srgbClr val="FFFFFF"/>
                </a:solidFill>
                <a:effectLst/>
                <a:uLnTx/>
                <a:uFillTx/>
                <a:latin typeface="Calibri" panose="020F0502020204030204" pitchFamily="34" charset="0"/>
                <a:ea typeface="+mn-ea"/>
                <a:cs typeface="Calibri" panose="020F0502020204030204" pitchFamily="34" charset="0"/>
              </a:rPr>
              <a:t>Dentos</a:t>
            </a:r>
            <a:r>
              <a:rPr kumimoji="0" lang="en-US" sz="6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 Global Mining Guide, </a:t>
            </a:r>
            <a:r>
              <a:rPr kumimoji="0" lang="en-US" sz="600" b="0" i="0" u="none" strike="noStrike" kern="1200" cap="none" spc="0" normalizeH="0" baseline="0" noProof="0" dirty="0" err="1">
                <a:ln>
                  <a:noFill/>
                </a:ln>
                <a:solidFill>
                  <a:srgbClr val="FFFFFF"/>
                </a:solidFill>
                <a:effectLst/>
                <a:uLnTx/>
                <a:uFillTx/>
                <a:latin typeface="Calibri" panose="020F0502020204030204" pitchFamily="34" charset="0"/>
                <a:ea typeface="+mn-ea"/>
                <a:cs typeface="Calibri" panose="020F0502020204030204" pitchFamily="34" charset="0"/>
              </a:rPr>
              <a:t>Lexology</a:t>
            </a:r>
            <a:r>
              <a:rPr kumimoji="0" lang="en-US" sz="6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 press search</a:t>
            </a:r>
          </a:p>
        </p:txBody>
      </p:sp>
      <p:sp>
        <p:nvSpPr>
          <p:cNvPr id="61" name="TextBox 60">
            <a:extLst>
              <a:ext uri="{FF2B5EF4-FFF2-40B4-BE49-F238E27FC236}">
                <a16:creationId xmlns:a16="http://schemas.microsoft.com/office/drawing/2014/main" id="{3A77FB25-10CD-9A51-959A-37ADBB6269CF}"/>
              </a:ext>
            </a:extLst>
          </p:cNvPr>
          <p:cNvSpPr txBox="1"/>
          <p:nvPr/>
        </p:nvSpPr>
        <p:spPr>
          <a:xfrm>
            <a:off x="206822" y="1940012"/>
            <a:ext cx="2632567" cy="4081117"/>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144000" marR="0" lvl="0" indent="-1440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Chile’s gold resources and reserves are the </a:t>
            </a: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rPr>
              <a:t>2nd largest in LatAm after Mexico</a:t>
            </a:r>
          </a:p>
          <a:p>
            <a:pPr marL="144000" marR="0" lvl="0" indent="-1440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Chile traditionally has had a </a:t>
            </a: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rPr>
              <a:t>clear and stable regulatory framework</a:t>
            </a: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 but </a:t>
            </a: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rPr>
              <a:t>regulations are getting stricter, generating uncertainty </a:t>
            </a:r>
          </a:p>
          <a:p>
            <a:pPr marL="144000" marR="0" lvl="0" indent="-1440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rPr>
              <a:t>Expensive labor, power, and water infrastructure </a:t>
            </a: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make Chile less cost-competitive versus other LatAm countries</a:t>
            </a:r>
          </a:p>
        </p:txBody>
      </p:sp>
      <p:pic>
        <p:nvPicPr>
          <p:cNvPr id="76" name="Picture 75">
            <a:extLst>
              <a:ext uri="{FF2B5EF4-FFF2-40B4-BE49-F238E27FC236}">
                <a16:creationId xmlns:a16="http://schemas.microsoft.com/office/drawing/2014/main" id="{EC5373FB-FD21-E441-1BD7-A33A915F2713}"/>
              </a:ext>
            </a:extLst>
          </p:cNvPr>
          <p:cNvPicPr>
            <a:picLocks noChangeAspect="1"/>
          </p:cNvPicPr>
          <p:nvPr>
            <p:custDataLst>
              <p:tags r:id="rId15"/>
            </p:custDataLst>
          </p:nvPr>
        </p:nvPicPr>
        <p:blipFill>
          <a:blip r:embed="rId34" cstate="screen">
            <a:extLst>
              <a:ext uri="{28A0092B-C50C-407E-A947-70E740481C1C}">
                <a14:useLocalDpi xmlns:a14="http://schemas.microsoft.com/office/drawing/2010/main"/>
              </a:ext>
            </a:extLst>
          </a:blip>
          <a:stretch>
            <a:fillRect/>
          </a:stretch>
        </p:blipFill>
        <p:spPr>
          <a:xfrm>
            <a:off x="6417712" y="6320426"/>
            <a:ext cx="790467" cy="159674"/>
          </a:xfrm>
          <a:prstGeom prst="rect">
            <a:avLst/>
          </a:prstGeom>
        </p:spPr>
      </p:pic>
      <p:pic>
        <p:nvPicPr>
          <p:cNvPr id="77" name="Picture 76">
            <a:extLst>
              <a:ext uri="{FF2B5EF4-FFF2-40B4-BE49-F238E27FC236}">
                <a16:creationId xmlns:a16="http://schemas.microsoft.com/office/drawing/2014/main" id="{CEC478C7-91A0-5945-8201-6757CDE9C27A}"/>
              </a:ext>
            </a:extLst>
          </p:cNvPr>
          <p:cNvPicPr>
            <a:picLocks noChangeAspect="1"/>
          </p:cNvPicPr>
          <p:nvPr>
            <p:custDataLst>
              <p:tags r:id="rId16"/>
            </p:custDataLst>
          </p:nvPr>
        </p:nvPicPr>
        <p:blipFill>
          <a:blip r:embed="rId35" cstate="screen">
            <a:extLst>
              <a:ext uri="{28A0092B-C50C-407E-A947-70E740481C1C}">
                <a14:useLocalDpi xmlns:a14="http://schemas.microsoft.com/office/drawing/2010/main"/>
              </a:ext>
            </a:extLst>
          </a:blip>
          <a:stretch>
            <a:fillRect/>
          </a:stretch>
        </p:blipFill>
        <p:spPr>
          <a:xfrm>
            <a:off x="6361276" y="5626098"/>
            <a:ext cx="903341" cy="622301"/>
          </a:xfrm>
          <a:prstGeom prst="rect">
            <a:avLst/>
          </a:prstGeom>
        </p:spPr>
      </p:pic>
      <p:pic>
        <p:nvPicPr>
          <p:cNvPr id="78" name="Picture 77">
            <a:extLst>
              <a:ext uri="{FF2B5EF4-FFF2-40B4-BE49-F238E27FC236}">
                <a16:creationId xmlns:a16="http://schemas.microsoft.com/office/drawing/2014/main" id="{FE1FBD08-490C-4808-0DE1-47ED268986DE}"/>
              </a:ext>
            </a:extLst>
          </p:cNvPr>
          <p:cNvPicPr>
            <a:picLocks noChangeAspect="1"/>
          </p:cNvPicPr>
          <p:nvPr>
            <p:custDataLst>
              <p:tags r:id="rId17"/>
            </p:custDataLst>
          </p:nvPr>
        </p:nvPicPr>
        <p:blipFill rotWithShape="1">
          <a:blip r:embed="rId36" cstate="screen">
            <a:extLst>
              <a:ext uri="{28A0092B-C50C-407E-A947-70E740481C1C}">
                <a14:useLocalDpi xmlns:a14="http://schemas.microsoft.com/office/drawing/2010/main"/>
              </a:ext>
            </a:extLst>
          </a:blip>
          <a:srcRect/>
          <a:stretch/>
        </p:blipFill>
        <p:spPr>
          <a:xfrm>
            <a:off x="7407475" y="6133746"/>
            <a:ext cx="790467" cy="316497"/>
          </a:xfrm>
          <a:prstGeom prst="rect">
            <a:avLst/>
          </a:prstGeom>
        </p:spPr>
      </p:pic>
      <p:pic>
        <p:nvPicPr>
          <p:cNvPr id="79" name="Picture 2">
            <a:extLst>
              <a:ext uri="{FF2B5EF4-FFF2-40B4-BE49-F238E27FC236}">
                <a16:creationId xmlns:a16="http://schemas.microsoft.com/office/drawing/2014/main" id="{4979A12E-8101-19D5-AB09-E53435537CB9}"/>
              </a:ext>
            </a:extLst>
          </p:cNvPr>
          <p:cNvPicPr>
            <a:picLocks noChangeAspect="1" noChangeArrowheads="1"/>
          </p:cNvPicPr>
          <p:nvPr/>
        </p:nvPicPr>
        <p:blipFill>
          <a:blip r:embed="rId37">
            <a:extLst>
              <a:ext uri="{28A0092B-C50C-407E-A947-70E740481C1C}">
                <a14:useLocalDpi xmlns:a14="http://schemas.microsoft.com/office/drawing/2010/main"/>
              </a:ext>
            </a:extLst>
          </a:blip>
          <a:srcRect/>
          <a:stretch>
            <a:fillRect/>
          </a:stretch>
        </p:blipFill>
        <p:spPr bwMode="auto">
          <a:xfrm>
            <a:off x="7311364" y="5724067"/>
            <a:ext cx="739915" cy="22384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12C7E2FB-A3C6-C739-9532-C4E92CEE6187}"/>
              </a:ext>
            </a:extLst>
          </p:cNvPr>
          <p:cNvPicPr>
            <a:picLocks noChangeAspect="1" noChangeArrowheads="1"/>
          </p:cNvPicPr>
          <p:nvPr/>
        </p:nvPicPr>
        <p:blipFill>
          <a:blip r:embed="rId38" cstate="screen">
            <a:extLst>
              <a:ext uri="{28A0092B-C50C-407E-A947-70E740481C1C}">
                <a14:useLocalDpi xmlns:a14="http://schemas.microsoft.com/office/drawing/2010/main"/>
              </a:ext>
            </a:extLst>
          </a:blip>
          <a:srcRect/>
          <a:stretch>
            <a:fillRect/>
          </a:stretch>
        </p:blipFill>
        <p:spPr bwMode="auto">
          <a:xfrm>
            <a:off x="3320976" y="5622987"/>
            <a:ext cx="566737" cy="33813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71B6F099-E521-C748-ABEB-F0B318DA9749}"/>
              </a:ext>
            </a:extLst>
          </p:cNvPr>
          <p:cNvPicPr>
            <a:picLocks noChangeAspect="1" noChangeArrowheads="1"/>
          </p:cNvPicPr>
          <p:nvPr/>
        </p:nvPicPr>
        <p:blipFill rotWithShape="1">
          <a:blip r:embed="rId39" cstate="screen">
            <a:extLst>
              <a:ext uri="{28A0092B-C50C-407E-A947-70E740481C1C}">
                <a14:useLocalDpi xmlns:a14="http://schemas.microsoft.com/office/drawing/2010/main"/>
              </a:ext>
            </a:extLst>
          </a:blip>
          <a:srcRect/>
          <a:stretch/>
        </p:blipFill>
        <p:spPr bwMode="auto">
          <a:xfrm>
            <a:off x="4983335" y="5569393"/>
            <a:ext cx="866775" cy="50136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5934BA4A-D50B-E932-1645-612BC5F36292}"/>
              </a:ext>
            </a:extLst>
          </p:cNvPr>
          <p:cNvPicPr>
            <a:picLocks noChangeAspect="1" noChangeArrowheads="1"/>
          </p:cNvPicPr>
          <p:nvPr/>
        </p:nvPicPr>
        <p:blipFill>
          <a:blip r:embed="rId40" cstate="screen">
            <a:extLst>
              <a:ext uri="{28A0092B-C50C-407E-A947-70E740481C1C}">
                <a14:useLocalDpi xmlns:a14="http://schemas.microsoft.com/office/drawing/2010/main"/>
              </a:ext>
            </a:extLst>
          </a:blip>
          <a:srcRect/>
          <a:stretch>
            <a:fillRect/>
          </a:stretch>
        </p:blipFill>
        <p:spPr bwMode="auto">
          <a:xfrm>
            <a:off x="4040815" y="5632603"/>
            <a:ext cx="882302" cy="33306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7AFCC62F-9805-D63D-83CE-17A8FC7FB525}"/>
              </a:ext>
            </a:extLst>
          </p:cNvPr>
          <p:cNvPicPr>
            <a:picLocks noChangeAspect="1" noChangeArrowheads="1"/>
          </p:cNvPicPr>
          <p:nvPr/>
        </p:nvPicPr>
        <p:blipFill>
          <a:blip r:embed="rId41" cstate="screen">
            <a:extLst>
              <a:ext uri="{28A0092B-C50C-407E-A947-70E740481C1C}">
                <a14:useLocalDpi xmlns:a14="http://schemas.microsoft.com/office/drawing/2010/main"/>
              </a:ext>
            </a:extLst>
          </a:blip>
          <a:srcRect/>
          <a:stretch>
            <a:fillRect/>
          </a:stretch>
        </p:blipFill>
        <p:spPr bwMode="auto">
          <a:xfrm>
            <a:off x="4739512" y="6109142"/>
            <a:ext cx="655820" cy="266700"/>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C3FD12F9-83F6-0E8F-3BAE-8A258B8D55D1}"/>
              </a:ext>
            </a:extLst>
          </p:cNvPr>
          <p:cNvPicPr>
            <a:picLocks noChangeAspect="1" noChangeArrowheads="1"/>
          </p:cNvPicPr>
          <p:nvPr/>
        </p:nvPicPr>
        <p:blipFill>
          <a:blip r:embed="rId42" cstate="screen">
            <a:extLst>
              <a:ext uri="{28A0092B-C50C-407E-A947-70E740481C1C}">
                <a14:useLocalDpi xmlns:a14="http://schemas.microsoft.com/office/drawing/2010/main"/>
              </a:ext>
            </a:extLst>
          </a:blip>
          <a:srcRect/>
          <a:stretch>
            <a:fillRect/>
          </a:stretch>
        </p:blipFill>
        <p:spPr bwMode="auto">
          <a:xfrm>
            <a:off x="3677930" y="6375842"/>
            <a:ext cx="953579" cy="1732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07624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8092391-F817-4825-975B-A7CE230F0506}"/>
              </a:ext>
            </a:extLst>
          </p:cNvPr>
          <p:cNvGraphicFramePr>
            <a:graphicFrameLocks noChangeAspect="1"/>
          </p:cNvGraphicFramePr>
          <p:nvPr>
            <p:custDataLst>
              <p:tags r:id="rId1"/>
            </p:custDataLst>
            <p:extLst>
              <p:ext uri="{D42A27DB-BD31-4B8C-83A1-F6EECF244321}">
                <p14:modId xmlns:p14="http://schemas.microsoft.com/office/powerpoint/2010/main" val="1355004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395" imgH="396" progId="TCLayout.ActiveDocument.1">
                  <p:embed/>
                </p:oleObj>
              </mc:Choice>
              <mc:Fallback>
                <p:oleObj name="think-cell Slide" r:id="rId27" imgW="395" imgH="396" progId="TCLayout.ActiveDocument.1">
                  <p:embed/>
                  <p:pic>
                    <p:nvPicPr>
                      <p:cNvPr id="5" name="Object 4" hidden="1">
                        <a:extLst>
                          <a:ext uri="{FF2B5EF4-FFF2-40B4-BE49-F238E27FC236}">
                            <a16:creationId xmlns:a16="http://schemas.microsoft.com/office/drawing/2014/main" id="{78092391-F817-4825-975B-A7CE230F0506}"/>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Slide Number Placeholder 5">
            <a:extLst>
              <a:ext uri="{FF2B5EF4-FFF2-40B4-BE49-F238E27FC236}">
                <a16:creationId xmlns:a16="http://schemas.microsoft.com/office/drawing/2014/main" id="{167D3468-42B9-45FA-938B-2DE60CA6C7E7}"/>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DB285B-DFCF-F045-9459-27C683DF8B15}" type="slidenum">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7" name="Rectangle: Diagonal Corners Rounded 6">
            <a:extLst>
              <a:ext uri="{FF2B5EF4-FFF2-40B4-BE49-F238E27FC236}">
                <a16:creationId xmlns:a16="http://schemas.microsoft.com/office/drawing/2014/main" id="{D1A5CE68-3036-40BF-A35A-C0C1A8D70A20}"/>
              </a:ext>
            </a:extLst>
          </p:cNvPr>
          <p:cNvSpPr/>
          <p:nvPr/>
        </p:nvSpPr>
        <p:spPr>
          <a:xfrm flipV="1">
            <a:off x="0" y="1094638"/>
            <a:ext cx="3000375" cy="5763362"/>
          </a:xfrm>
          <a:prstGeom prst="round2DiagRect">
            <a:avLst>
              <a:gd name="adj1" fmla="val 5095"/>
              <a:gd name="adj2"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DC1EC433-3EF1-48B7-99B5-529DCED7A6A3}"/>
              </a:ext>
            </a:extLst>
          </p:cNvPr>
          <p:cNvSpPr txBox="1">
            <a:spLocks/>
          </p:cNvSpPr>
          <p:nvPr/>
        </p:nvSpPr>
        <p:spPr>
          <a:xfrm>
            <a:off x="262527" y="1231901"/>
            <a:ext cx="2394947" cy="341313"/>
          </a:xfrm>
          <a:prstGeom prst="rect">
            <a:avLst/>
          </a:prstGeom>
        </p:spPr>
        <p:txBody>
          <a:bodyPr vert="horz" wrap="square" lIns="91440" tIns="45720" rIns="91440" bIns="45720" rtlCol="0">
            <a:no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Calibri" panose="020F0502020204030204" pitchFamily="34" charset="0"/>
              </a:rPr>
              <a:t>Overview</a:t>
            </a:r>
          </a:p>
        </p:txBody>
      </p:sp>
      <p:sp>
        <p:nvSpPr>
          <p:cNvPr id="8" name="TextBox 7">
            <a:extLst>
              <a:ext uri="{FF2B5EF4-FFF2-40B4-BE49-F238E27FC236}">
                <a16:creationId xmlns:a16="http://schemas.microsoft.com/office/drawing/2014/main" id="{1B2AC41C-9751-4BD4-8334-13028029FFBB}"/>
              </a:ext>
            </a:extLst>
          </p:cNvPr>
          <p:cNvSpPr txBox="1"/>
          <p:nvPr/>
        </p:nvSpPr>
        <p:spPr>
          <a:xfrm>
            <a:off x="3238501" y="1231901"/>
            <a:ext cx="4523785" cy="341313"/>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Mining outlook</a:t>
            </a:r>
          </a:p>
        </p:txBody>
      </p:sp>
      <p:sp>
        <p:nvSpPr>
          <p:cNvPr id="10" name="TextBox 9">
            <a:extLst>
              <a:ext uri="{FF2B5EF4-FFF2-40B4-BE49-F238E27FC236}">
                <a16:creationId xmlns:a16="http://schemas.microsoft.com/office/drawing/2014/main" id="{72A71319-D7DF-494C-A3A2-AACCB837E44E}"/>
              </a:ext>
            </a:extLst>
          </p:cNvPr>
          <p:cNvSpPr txBox="1">
            <a:spLocks/>
          </p:cNvSpPr>
          <p:nvPr/>
        </p:nvSpPr>
        <p:spPr>
          <a:xfrm>
            <a:off x="8953499" y="1231901"/>
            <a:ext cx="2870021" cy="341313"/>
          </a:xfrm>
          <a:prstGeom prst="rect">
            <a:avLst/>
          </a:prstGeom>
        </p:spPr>
        <p:txBody>
          <a:bodyPr vert="horz" wrap="square" lIns="91440" tIns="45720" rIns="91440" bIns="45720" rtlCol="0">
            <a:no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Main risks</a:t>
            </a:r>
          </a:p>
        </p:txBody>
      </p:sp>
      <p:sp>
        <p:nvSpPr>
          <p:cNvPr id="11" name="TextBox 10">
            <a:extLst>
              <a:ext uri="{FF2B5EF4-FFF2-40B4-BE49-F238E27FC236}">
                <a16:creationId xmlns:a16="http://schemas.microsoft.com/office/drawing/2014/main" id="{BD857A46-F9EA-4680-A8D4-A1C2E89C4EC3}"/>
              </a:ext>
            </a:extLst>
          </p:cNvPr>
          <p:cNvSpPr txBox="1"/>
          <p:nvPr/>
        </p:nvSpPr>
        <p:spPr>
          <a:xfrm>
            <a:off x="3238501" y="1633538"/>
            <a:ext cx="2737848" cy="314325"/>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Importance for the country</a:t>
            </a:r>
          </a:p>
        </p:txBody>
      </p:sp>
      <p:sp>
        <p:nvSpPr>
          <p:cNvPr id="12" name="TextBox 11">
            <a:extLst>
              <a:ext uri="{FF2B5EF4-FFF2-40B4-BE49-F238E27FC236}">
                <a16:creationId xmlns:a16="http://schemas.microsoft.com/office/drawing/2014/main" id="{26552266-20AA-42F4-9FEB-E5C1FA3551B9}"/>
              </a:ext>
            </a:extLst>
          </p:cNvPr>
          <p:cNvSpPr txBox="1"/>
          <p:nvPr/>
        </p:nvSpPr>
        <p:spPr>
          <a:xfrm>
            <a:off x="6214475" y="1633538"/>
            <a:ext cx="2394947" cy="314325"/>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Gold mining in numbers</a:t>
            </a:r>
          </a:p>
        </p:txBody>
      </p:sp>
      <p:sp>
        <p:nvSpPr>
          <p:cNvPr id="100" name="BigStat 100">
            <a:extLst>
              <a:ext uri="{FF2B5EF4-FFF2-40B4-BE49-F238E27FC236}">
                <a16:creationId xmlns:a16="http://schemas.microsoft.com/office/drawing/2014/main" id="{CD719AC9-6C18-4195-B152-24B07B6A6612}"/>
              </a:ext>
            </a:extLst>
          </p:cNvPr>
          <p:cNvSpPr txBox="1"/>
          <p:nvPr>
            <p:custDataLst>
              <p:tags r:id="rId2"/>
            </p:custDataLst>
          </p:nvPr>
        </p:nvSpPr>
        <p:spPr>
          <a:xfrm>
            <a:off x="3238500" y="1965325"/>
            <a:ext cx="2857499" cy="923330"/>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12.8 </a:t>
            </a:r>
            <a:r>
              <a:rPr kumimoji="0" lang="en-US" sz="16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BUSD</a:t>
            </a: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 (0.8%)</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GDP from Mining (% of the country’s total GDP)</a:t>
            </a:r>
          </a:p>
        </p:txBody>
      </p:sp>
      <p:sp>
        <p:nvSpPr>
          <p:cNvPr id="102" name="BigStat 100">
            <a:extLst>
              <a:ext uri="{FF2B5EF4-FFF2-40B4-BE49-F238E27FC236}">
                <a16:creationId xmlns:a16="http://schemas.microsoft.com/office/drawing/2014/main" id="{88A62140-C494-4952-9956-FA794010565F}"/>
              </a:ext>
            </a:extLst>
          </p:cNvPr>
          <p:cNvSpPr txBox="1"/>
          <p:nvPr>
            <p:custDataLst>
              <p:tags r:id="rId3"/>
            </p:custDataLst>
          </p:nvPr>
        </p:nvSpPr>
        <p:spPr>
          <a:xfrm>
            <a:off x="3238501" y="2949537"/>
            <a:ext cx="2737848" cy="757238"/>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880</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Mining operations &amp; projects</a:t>
            </a:r>
          </a:p>
        </p:txBody>
      </p:sp>
      <p:grpSp>
        <p:nvGrpSpPr>
          <p:cNvPr id="121" name="Group 120">
            <a:extLst>
              <a:ext uri="{FF2B5EF4-FFF2-40B4-BE49-F238E27FC236}">
                <a16:creationId xmlns:a16="http://schemas.microsoft.com/office/drawing/2014/main" id="{DDE23F5E-33B3-41E0-96BD-B12A9EBD2276}"/>
              </a:ext>
            </a:extLst>
          </p:cNvPr>
          <p:cNvGrpSpPr/>
          <p:nvPr/>
        </p:nvGrpSpPr>
        <p:grpSpPr>
          <a:xfrm>
            <a:off x="3238501" y="3767663"/>
            <a:ext cx="2611609" cy="291655"/>
            <a:chOff x="3238501" y="4749814"/>
            <a:chExt cx="2611609" cy="291290"/>
          </a:xfrm>
        </p:grpSpPr>
        <p:grpSp>
          <p:nvGrpSpPr>
            <p:cNvPr id="106" name="CheckmarkBlue 106">
              <a:extLst>
                <a:ext uri="{FF2B5EF4-FFF2-40B4-BE49-F238E27FC236}">
                  <a16:creationId xmlns:a16="http://schemas.microsoft.com/office/drawing/2014/main" id="{9896BB38-D997-4948-8179-E60E9FA09410}"/>
                </a:ext>
              </a:extLst>
            </p:cNvPr>
            <p:cNvGrpSpPr>
              <a:grpSpLocks noChangeAspect="1"/>
            </p:cNvGrpSpPr>
            <p:nvPr>
              <p:custDataLst>
                <p:tags r:id="rId24"/>
              </p:custDataLst>
            </p:nvPr>
          </p:nvGrpSpPr>
          <p:grpSpPr>
            <a:xfrm>
              <a:off x="3238501" y="4772456"/>
              <a:ext cx="268648" cy="268648"/>
              <a:chOff x="1016000" y="1016000"/>
              <a:chExt cx="396228" cy="396228"/>
            </a:xfrm>
          </p:grpSpPr>
          <p:sp>
            <p:nvSpPr>
              <p:cNvPr id="103" name="Oval 102">
                <a:extLst>
                  <a:ext uri="{FF2B5EF4-FFF2-40B4-BE49-F238E27FC236}">
                    <a16:creationId xmlns:a16="http://schemas.microsoft.com/office/drawing/2014/main" id="{4B9934FC-AE8E-4AA8-BAF0-9476EB4E90BC}"/>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05" name="Graphic 104">
                <a:extLst>
                  <a:ext uri="{FF2B5EF4-FFF2-40B4-BE49-F238E27FC236}">
                    <a16:creationId xmlns:a16="http://schemas.microsoft.com/office/drawing/2014/main" id="{FFD06596-95A3-40AD-B50C-9BDFC8F1DF1C}"/>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1023614" y="1023614"/>
                <a:ext cx="381000" cy="381000"/>
              </a:xfrm>
              <a:prstGeom prst="rect">
                <a:avLst/>
              </a:prstGeom>
            </p:spPr>
          </p:pic>
        </p:grpSp>
        <p:sp>
          <p:nvSpPr>
            <p:cNvPr id="108" name="TextBox 107">
              <a:extLst>
                <a:ext uri="{FF2B5EF4-FFF2-40B4-BE49-F238E27FC236}">
                  <a16:creationId xmlns:a16="http://schemas.microsoft.com/office/drawing/2014/main" id="{31962308-D58A-46E0-8CC9-9B2CCF076613}"/>
                </a:ext>
              </a:extLst>
            </p:cNvPr>
            <p:cNvSpPr txBox="1"/>
            <p:nvPr/>
          </p:nvSpPr>
          <p:spPr>
            <a:xfrm>
              <a:off x="3512311" y="4749814"/>
              <a:ext cx="2337799" cy="285874"/>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Traditional Mining house</a:t>
              </a:r>
            </a:p>
          </p:txBody>
        </p:sp>
      </p:grpSp>
      <p:grpSp>
        <p:nvGrpSpPr>
          <p:cNvPr id="122" name="Group 121">
            <a:extLst>
              <a:ext uri="{FF2B5EF4-FFF2-40B4-BE49-F238E27FC236}">
                <a16:creationId xmlns:a16="http://schemas.microsoft.com/office/drawing/2014/main" id="{A7CCE14C-E775-478A-9111-39D92FBBC064}"/>
              </a:ext>
            </a:extLst>
          </p:cNvPr>
          <p:cNvGrpSpPr/>
          <p:nvPr/>
        </p:nvGrpSpPr>
        <p:grpSpPr>
          <a:xfrm>
            <a:off x="3238501" y="4189872"/>
            <a:ext cx="2611609" cy="480131"/>
            <a:chOff x="3238501" y="5199292"/>
            <a:chExt cx="2611609" cy="479530"/>
          </a:xfrm>
        </p:grpSpPr>
        <p:grpSp>
          <p:nvGrpSpPr>
            <p:cNvPr id="109" name="CheckmarkBlue 106">
              <a:extLst>
                <a:ext uri="{FF2B5EF4-FFF2-40B4-BE49-F238E27FC236}">
                  <a16:creationId xmlns:a16="http://schemas.microsoft.com/office/drawing/2014/main" id="{C8F22BB2-471A-4965-AFFF-6FDBF5695F90}"/>
                </a:ext>
              </a:extLst>
            </p:cNvPr>
            <p:cNvGrpSpPr>
              <a:grpSpLocks noChangeAspect="1"/>
            </p:cNvGrpSpPr>
            <p:nvPr>
              <p:custDataLst>
                <p:tags r:id="rId23"/>
              </p:custDataLst>
            </p:nvPr>
          </p:nvGrpSpPr>
          <p:grpSpPr>
            <a:xfrm>
              <a:off x="3238501" y="5221934"/>
              <a:ext cx="268648" cy="268648"/>
              <a:chOff x="1016000" y="1016000"/>
              <a:chExt cx="396228" cy="396228"/>
            </a:xfrm>
          </p:grpSpPr>
          <p:sp>
            <p:nvSpPr>
              <p:cNvPr id="110" name="Oval 109">
                <a:extLst>
                  <a:ext uri="{FF2B5EF4-FFF2-40B4-BE49-F238E27FC236}">
                    <a16:creationId xmlns:a16="http://schemas.microsoft.com/office/drawing/2014/main" id="{97B13D1E-9109-40C7-8602-79671060235E}"/>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11" name="Graphic 110">
                <a:extLst>
                  <a:ext uri="{FF2B5EF4-FFF2-40B4-BE49-F238E27FC236}">
                    <a16:creationId xmlns:a16="http://schemas.microsoft.com/office/drawing/2014/main" id="{9713C298-EC59-4122-A98B-6E84FF62918C}"/>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1023614" y="1023614"/>
                <a:ext cx="381000" cy="381000"/>
              </a:xfrm>
              <a:prstGeom prst="rect">
                <a:avLst/>
              </a:prstGeom>
            </p:spPr>
          </p:pic>
        </p:grpSp>
        <p:sp>
          <p:nvSpPr>
            <p:cNvPr id="112" name="TextBox 111">
              <a:extLst>
                <a:ext uri="{FF2B5EF4-FFF2-40B4-BE49-F238E27FC236}">
                  <a16:creationId xmlns:a16="http://schemas.microsoft.com/office/drawing/2014/main" id="{AD1406F8-4661-4248-8773-B660B7776C2B}"/>
                </a:ext>
              </a:extLst>
            </p:cNvPr>
            <p:cNvSpPr txBox="1"/>
            <p:nvPr/>
          </p:nvSpPr>
          <p:spPr>
            <a:xfrm>
              <a:off x="3512311" y="5199292"/>
              <a:ext cx="2337799" cy="479530"/>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Relatively stable regulation environment</a:t>
              </a:r>
            </a:p>
          </p:txBody>
        </p:sp>
      </p:grpSp>
      <p:grpSp>
        <p:nvGrpSpPr>
          <p:cNvPr id="123" name="Group 122">
            <a:extLst>
              <a:ext uri="{FF2B5EF4-FFF2-40B4-BE49-F238E27FC236}">
                <a16:creationId xmlns:a16="http://schemas.microsoft.com/office/drawing/2014/main" id="{0194005B-D523-446D-85CA-40EF4BFBEB28}"/>
              </a:ext>
            </a:extLst>
          </p:cNvPr>
          <p:cNvGrpSpPr/>
          <p:nvPr/>
        </p:nvGrpSpPr>
        <p:grpSpPr>
          <a:xfrm>
            <a:off x="3238501" y="4739279"/>
            <a:ext cx="2611609" cy="291655"/>
            <a:chOff x="3238501" y="5648770"/>
            <a:chExt cx="2611609" cy="291290"/>
          </a:xfrm>
        </p:grpSpPr>
        <p:grpSp>
          <p:nvGrpSpPr>
            <p:cNvPr id="113" name="CheckmarkBlue 106">
              <a:extLst>
                <a:ext uri="{FF2B5EF4-FFF2-40B4-BE49-F238E27FC236}">
                  <a16:creationId xmlns:a16="http://schemas.microsoft.com/office/drawing/2014/main" id="{CDFB78B2-7660-415B-9B20-58F68D55B4FA}"/>
                </a:ext>
              </a:extLst>
            </p:cNvPr>
            <p:cNvGrpSpPr>
              <a:grpSpLocks noChangeAspect="1"/>
            </p:cNvGrpSpPr>
            <p:nvPr>
              <p:custDataLst>
                <p:tags r:id="rId22"/>
              </p:custDataLst>
            </p:nvPr>
          </p:nvGrpSpPr>
          <p:grpSpPr>
            <a:xfrm>
              <a:off x="3238501" y="5671412"/>
              <a:ext cx="268648" cy="268648"/>
              <a:chOff x="1016000" y="1016000"/>
              <a:chExt cx="396228" cy="396228"/>
            </a:xfrm>
          </p:grpSpPr>
          <p:sp>
            <p:nvSpPr>
              <p:cNvPr id="114" name="Oval 113">
                <a:extLst>
                  <a:ext uri="{FF2B5EF4-FFF2-40B4-BE49-F238E27FC236}">
                    <a16:creationId xmlns:a16="http://schemas.microsoft.com/office/drawing/2014/main" id="{DF70ECE0-CF28-481E-ADB9-F052536C5007}"/>
                  </a:ext>
                </a:extLst>
              </p:cNvPr>
              <p:cNvSpPr/>
              <p:nvPr/>
            </p:nvSpPr>
            <p:spPr>
              <a:xfrm>
                <a:off x="1016000" y="1016000"/>
                <a:ext cx="396228" cy="396228"/>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15" name="Graphic 114">
                <a:extLst>
                  <a:ext uri="{FF2B5EF4-FFF2-40B4-BE49-F238E27FC236}">
                    <a16:creationId xmlns:a16="http://schemas.microsoft.com/office/drawing/2014/main" id="{4D3FC6F2-DC01-4825-BBF4-B78E01224B91}"/>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1023614" y="1023614"/>
                <a:ext cx="381000" cy="381000"/>
              </a:xfrm>
              <a:prstGeom prst="rect">
                <a:avLst/>
              </a:prstGeom>
            </p:spPr>
          </p:pic>
        </p:grpSp>
        <p:sp>
          <p:nvSpPr>
            <p:cNvPr id="116" name="TextBox 115">
              <a:extLst>
                <a:ext uri="{FF2B5EF4-FFF2-40B4-BE49-F238E27FC236}">
                  <a16:creationId xmlns:a16="http://schemas.microsoft.com/office/drawing/2014/main" id="{54D0E05A-5009-4FFC-8D48-D6EC5891D736}"/>
                </a:ext>
              </a:extLst>
            </p:cNvPr>
            <p:cNvSpPr txBox="1"/>
            <p:nvPr/>
          </p:nvSpPr>
          <p:spPr>
            <a:xfrm>
              <a:off x="3512311" y="5648770"/>
              <a:ext cx="2337799" cy="285874"/>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Decentralized political system</a:t>
              </a:r>
            </a:p>
          </p:txBody>
        </p:sp>
      </p:grpSp>
      <p:sp>
        <p:nvSpPr>
          <p:cNvPr id="125" name="BigStat 100">
            <a:extLst>
              <a:ext uri="{FF2B5EF4-FFF2-40B4-BE49-F238E27FC236}">
                <a16:creationId xmlns:a16="http://schemas.microsoft.com/office/drawing/2014/main" id="{736CED63-F3F0-44DC-B584-A0313FAB62CE}"/>
              </a:ext>
            </a:extLst>
          </p:cNvPr>
          <p:cNvSpPr txBox="1"/>
          <p:nvPr>
            <p:custDataLst>
              <p:tags r:id="rId4"/>
            </p:custDataLst>
          </p:nvPr>
        </p:nvSpPr>
        <p:spPr>
          <a:xfrm>
            <a:off x="6214475" y="1949450"/>
            <a:ext cx="2737848" cy="923330"/>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17</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Industrial scale gold mines currently operating</a:t>
            </a:r>
          </a:p>
        </p:txBody>
      </p:sp>
      <p:sp>
        <p:nvSpPr>
          <p:cNvPr id="126" name="BigStat 100">
            <a:extLst>
              <a:ext uri="{FF2B5EF4-FFF2-40B4-BE49-F238E27FC236}">
                <a16:creationId xmlns:a16="http://schemas.microsoft.com/office/drawing/2014/main" id="{66EC6B8E-22E3-4645-B336-AEDE2ADDC866}"/>
              </a:ext>
            </a:extLst>
          </p:cNvPr>
          <p:cNvSpPr txBox="1"/>
          <p:nvPr>
            <p:custDataLst>
              <p:tags r:id="rId5"/>
            </p:custDataLst>
          </p:nvPr>
        </p:nvSpPr>
        <p:spPr>
          <a:xfrm>
            <a:off x="6214475" y="2863463"/>
            <a:ext cx="2737848" cy="728663"/>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2.9 </a:t>
            </a:r>
            <a:r>
              <a:rPr kumimoji="0" lang="en-US" sz="3200" b="1" i="0" u="none" strike="noStrike" kern="1200" cap="none" spc="0" normalizeH="0" baseline="0" noProof="0" dirty="0" err="1">
                <a:ln>
                  <a:noFill/>
                </a:ln>
                <a:solidFill>
                  <a:srgbClr val="B39759"/>
                </a:solidFill>
                <a:effectLst/>
                <a:uLnTx/>
                <a:uFillTx/>
                <a:latin typeface="Calibri Light" panose="020F0302020204030204"/>
                <a:ea typeface="+mn-ea"/>
                <a:cs typeface="Calibri" panose="020F0502020204030204" pitchFamily="34" charset="0"/>
              </a:rPr>
              <a:t>Moz</a:t>
            </a: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 (-7%)</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Gold production (growth 21-22)</a:t>
            </a:r>
          </a:p>
        </p:txBody>
      </p:sp>
      <p:sp>
        <p:nvSpPr>
          <p:cNvPr id="144" name="TextBox 143">
            <a:extLst>
              <a:ext uri="{FF2B5EF4-FFF2-40B4-BE49-F238E27FC236}">
                <a16:creationId xmlns:a16="http://schemas.microsoft.com/office/drawing/2014/main" id="{E8106E64-E8A4-4E6C-8094-05F333F3310F}"/>
              </a:ext>
            </a:extLst>
          </p:cNvPr>
          <p:cNvSpPr txBox="1"/>
          <p:nvPr/>
        </p:nvSpPr>
        <p:spPr>
          <a:xfrm>
            <a:off x="8953499" y="1633539"/>
            <a:ext cx="2870022" cy="3357842"/>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Tightening environmental regulations </a:t>
            </a:r>
            <a:r>
              <a:rPr kumimoji="0" lang="en-US" sz="16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following the tailing dam debac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Challenging business environment </a:t>
            </a:r>
            <a:r>
              <a:rPr kumimoji="0" lang="en-US" sz="16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with bureaucracy and a complex taxation system</a:t>
            </a:r>
            <a:endParaRPr kumimoji="0" lang="en-US" sz="1600" b="1"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Volatile economic scenario</a:t>
            </a:r>
            <a:r>
              <a:rPr kumimoji="0" lang="en-US" sz="16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 with recurring currency and inflation issu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High reputational risks for operating in the Amazon region</a:t>
            </a:r>
          </a:p>
        </p:txBody>
      </p:sp>
      <p:cxnSp>
        <p:nvCxnSpPr>
          <p:cNvPr id="150" name="LineContentSeparatorDefault 150">
            <a:extLst>
              <a:ext uri="{FF2B5EF4-FFF2-40B4-BE49-F238E27FC236}">
                <a16:creationId xmlns:a16="http://schemas.microsoft.com/office/drawing/2014/main" id="{74B6E49E-3407-4E23-92E6-CE2E3937239F}"/>
              </a:ext>
            </a:extLst>
          </p:cNvPr>
          <p:cNvCxnSpPr>
            <a:cxnSpLocks/>
          </p:cNvCxnSpPr>
          <p:nvPr>
            <p:custDataLst>
              <p:tags r:id="rId6"/>
            </p:custDataLst>
          </p:nvPr>
        </p:nvCxnSpPr>
        <p:spPr>
          <a:xfrm>
            <a:off x="262527" y="1566863"/>
            <a:ext cx="2394947" cy="0"/>
          </a:xfrm>
          <a:prstGeom prst="straightConnector1">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2" name="LineContentSeparatorDefault 150">
            <a:extLst>
              <a:ext uri="{FF2B5EF4-FFF2-40B4-BE49-F238E27FC236}">
                <a16:creationId xmlns:a16="http://schemas.microsoft.com/office/drawing/2014/main" id="{10A2A179-A986-464E-992D-7F7C71DADDAE}"/>
              </a:ext>
            </a:extLst>
          </p:cNvPr>
          <p:cNvCxnSpPr>
            <a:cxnSpLocks/>
          </p:cNvCxnSpPr>
          <p:nvPr>
            <p:custDataLst>
              <p:tags r:id="rId7"/>
            </p:custDataLst>
          </p:nvPr>
        </p:nvCxnSpPr>
        <p:spPr>
          <a:xfrm>
            <a:off x="3238501" y="1566863"/>
            <a:ext cx="5495924" cy="0"/>
          </a:xfrm>
          <a:prstGeom prst="straightConnector1">
            <a:avLst/>
          </a:prstGeom>
          <a:ln w="6350">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154" name="LineContentSeparatorDefault 150">
            <a:extLst>
              <a:ext uri="{FF2B5EF4-FFF2-40B4-BE49-F238E27FC236}">
                <a16:creationId xmlns:a16="http://schemas.microsoft.com/office/drawing/2014/main" id="{5DD69DFA-90AE-4BC4-B32C-7D033758F7AF}"/>
              </a:ext>
            </a:extLst>
          </p:cNvPr>
          <p:cNvCxnSpPr>
            <a:cxnSpLocks/>
          </p:cNvCxnSpPr>
          <p:nvPr>
            <p:custDataLst>
              <p:tags r:id="rId8"/>
            </p:custDataLst>
          </p:nvPr>
        </p:nvCxnSpPr>
        <p:spPr>
          <a:xfrm>
            <a:off x="8953500" y="1566863"/>
            <a:ext cx="2870021" cy="0"/>
          </a:xfrm>
          <a:prstGeom prst="straightConnector1">
            <a:avLst/>
          </a:prstGeom>
          <a:ln w="6350">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nvGrpSpPr>
          <p:cNvPr id="158" name="ChevronWhite 158">
            <a:extLst>
              <a:ext uri="{FF2B5EF4-FFF2-40B4-BE49-F238E27FC236}">
                <a16:creationId xmlns:a16="http://schemas.microsoft.com/office/drawing/2014/main" id="{7A57A53C-82A1-4767-B284-15634A46B7E3}"/>
              </a:ext>
            </a:extLst>
          </p:cNvPr>
          <p:cNvGrpSpPr>
            <a:grpSpLocks noChangeAspect="1"/>
          </p:cNvGrpSpPr>
          <p:nvPr>
            <p:custDataLst>
              <p:tags r:id="rId9"/>
            </p:custDataLst>
          </p:nvPr>
        </p:nvGrpSpPr>
        <p:grpSpPr>
          <a:xfrm>
            <a:off x="2839392" y="1385889"/>
            <a:ext cx="303213" cy="303213"/>
            <a:chOff x="1016000" y="1016000"/>
            <a:chExt cx="396228" cy="396228"/>
          </a:xfrm>
        </p:grpSpPr>
        <p:sp>
          <p:nvSpPr>
            <p:cNvPr id="155" name="Oval 154">
              <a:extLst>
                <a:ext uri="{FF2B5EF4-FFF2-40B4-BE49-F238E27FC236}">
                  <a16:creationId xmlns:a16="http://schemas.microsoft.com/office/drawing/2014/main" id="{AA98363E-41C0-4689-B779-4AC4E4884E0F}"/>
                </a:ext>
              </a:extLst>
            </p:cNvPr>
            <p:cNvSpPr/>
            <p:nvPr/>
          </p:nvSpPr>
          <p:spPr>
            <a:xfrm>
              <a:off x="1016000" y="1016000"/>
              <a:ext cx="396228" cy="396228"/>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57" name="Graphic 156">
              <a:extLst>
                <a:ext uri="{FF2B5EF4-FFF2-40B4-BE49-F238E27FC236}">
                  <a16:creationId xmlns:a16="http://schemas.microsoft.com/office/drawing/2014/main" id="{B037DC85-89A7-424E-9471-A1BFB5820EFB}"/>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1023614" y="1023614"/>
              <a:ext cx="381000" cy="381000"/>
            </a:xfrm>
            <a:prstGeom prst="rect">
              <a:avLst/>
            </a:prstGeom>
          </p:spPr>
        </p:pic>
      </p:grpSp>
      <p:grpSp>
        <p:nvGrpSpPr>
          <p:cNvPr id="160" name="ChevronWhite 158">
            <a:extLst>
              <a:ext uri="{FF2B5EF4-FFF2-40B4-BE49-F238E27FC236}">
                <a16:creationId xmlns:a16="http://schemas.microsoft.com/office/drawing/2014/main" id="{68E623C4-99D7-446A-843A-91B9BDFEA093}"/>
              </a:ext>
            </a:extLst>
          </p:cNvPr>
          <p:cNvGrpSpPr>
            <a:grpSpLocks noChangeAspect="1"/>
          </p:cNvGrpSpPr>
          <p:nvPr>
            <p:custDataLst>
              <p:tags r:id="rId10"/>
            </p:custDataLst>
          </p:nvPr>
        </p:nvGrpSpPr>
        <p:grpSpPr>
          <a:xfrm>
            <a:off x="8669338" y="1385889"/>
            <a:ext cx="303213" cy="303213"/>
            <a:chOff x="1016000" y="1016000"/>
            <a:chExt cx="396228" cy="396228"/>
          </a:xfrm>
          <a:solidFill>
            <a:schemeClr val="accent3"/>
          </a:solidFill>
        </p:grpSpPr>
        <p:sp>
          <p:nvSpPr>
            <p:cNvPr id="161" name="Oval 160">
              <a:extLst>
                <a:ext uri="{FF2B5EF4-FFF2-40B4-BE49-F238E27FC236}">
                  <a16:creationId xmlns:a16="http://schemas.microsoft.com/office/drawing/2014/main" id="{44825ED7-26B2-411C-A881-AAFCC0FD9CB9}"/>
                </a:ext>
              </a:extLst>
            </p:cNvPr>
            <p:cNvSpPr/>
            <p:nvPr/>
          </p:nvSpPr>
          <p:spPr>
            <a:xfrm>
              <a:off x="1016000" y="1016000"/>
              <a:ext cx="396228" cy="396228"/>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62" name="Graphic 161">
              <a:extLst>
                <a:ext uri="{FF2B5EF4-FFF2-40B4-BE49-F238E27FC236}">
                  <a16:creationId xmlns:a16="http://schemas.microsoft.com/office/drawing/2014/main" id="{9795E4CD-0104-494F-8ED1-D0068D57A764}"/>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1023614" y="1023614"/>
              <a:ext cx="381000" cy="381000"/>
            </a:xfrm>
            <a:prstGeom prst="rect">
              <a:avLst/>
            </a:prstGeom>
          </p:spPr>
        </p:pic>
      </p:grpSp>
      <p:pic>
        <p:nvPicPr>
          <p:cNvPr id="164" name="Picture 163">
            <a:extLst>
              <a:ext uri="{FF2B5EF4-FFF2-40B4-BE49-F238E27FC236}">
                <a16:creationId xmlns:a16="http://schemas.microsoft.com/office/drawing/2014/main" id="{C08644D0-F3E7-4FD7-A025-99B29EDF625E}"/>
              </a:ext>
            </a:extLst>
          </p:cNvPr>
          <p:cNvPicPr>
            <a:picLocks noChangeAspect="1"/>
          </p:cNvPicPr>
          <p:nvPr>
            <p:custDataLst>
              <p:tags r:id="rId11"/>
            </p:custDataLst>
          </p:nvPr>
        </p:nvPicPr>
        <p:blipFill rotWithShape="1">
          <a:blip r:embed="rId35" cstate="print">
            <a:extLst>
              <a:ext uri="{28A0092B-C50C-407E-A947-70E740481C1C}">
                <a14:useLocalDpi xmlns:a14="http://schemas.microsoft.com/office/drawing/2010/main"/>
              </a:ext>
            </a:extLst>
          </a:blip>
          <a:srcRect/>
          <a:stretch/>
        </p:blipFill>
        <p:spPr>
          <a:xfrm flipH="1">
            <a:off x="8589371" y="4692650"/>
            <a:ext cx="3601355" cy="2028825"/>
          </a:xfrm>
          <a:prstGeom prst="rect">
            <a:avLst/>
          </a:prstGeom>
        </p:spPr>
      </p:pic>
      <p:sp>
        <p:nvSpPr>
          <p:cNvPr id="184" name="BigStat 100">
            <a:extLst>
              <a:ext uri="{FF2B5EF4-FFF2-40B4-BE49-F238E27FC236}">
                <a16:creationId xmlns:a16="http://schemas.microsoft.com/office/drawing/2014/main" id="{41138818-1B86-4B56-90FC-10CF426CCC63}"/>
              </a:ext>
            </a:extLst>
          </p:cNvPr>
          <p:cNvSpPr txBox="1"/>
          <p:nvPr>
            <p:custDataLst>
              <p:tags r:id="rId12"/>
            </p:custDataLst>
          </p:nvPr>
        </p:nvSpPr>
        <p:spPr>
          <a:xfrm>
            <a:off x="6214475" y="3582809"/>
            <a:ext cx="2737848" cy="923925"/>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9</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Gold projects </a:t>
            </a: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expected</a:t>
            </a:r>
            <a:r>
              <a:rPr kumimoji="0" lang="en-US" sz="1400" b="0" i="0" u="none" strike="noStrike" kern="1200" cap="none" spc="0" normalizeH="0" baseline="0" noProof="0" dirty="0">
                <a:ln>
                  <a:noFill/>
                </a:ln>
                <a:solidFill>
                  <a:srgbClr val="FF0000"/>
                </a:solidFill>
                <a:effectLst/>
                <a:uLnTx/>
                <a:uFillTx/>
                <a:latin typeface="Calibri" panose="020F0502020204030204"/>
                <a:ea typeface="+mn-ea"/>
                <a:cs typeface="Calibri" panose="020F0502020204030204" pitchFamily="34" charset="0"/>
              </a:rPr>
              <a:t> </a:t>
            </a: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to be launched prior to 2030</a:t>
            </a:r>
          </a:p>
        </p:txBody>
      </p:sp>
      <p:sp>
        <p:nvSpPr>
          <p:cNvPr id="204" name="BigStat 100">
            <a:extLst>
              <a:ext uri="{FF2B5EF4-FFF2-40B4-BE49-F238E27FC236}">
                <a16:creationId xmlns:a16="http://schemas.microsoft.com/office/drawing/2014/main" id="{954B7A5F-DAEB-4A83-84A4-D077F6763C99}"/>
              </a:ext>
            </a:extLst>
          </p:cNvPr>
          <p:cNvSpPr txBox="1"/>
          <p:nvPr>
            <p:custDataLst>
              <p:tags r:id="rId13"/>
            </p:custDataLst>
          </p:nvPr>
        </p:nvSpPr>
        <p:spPr>
          <a:xfrm>
            <a:off x="6214475" y="4497416"/>
            <a:ext cx="2737848" cy="729430"/>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rPr>
              <a:t>28 / 88 </a:t>
            </a:r>
            <a:r>
              <a:rPr kumimoji="0" lang="en-US" sz="3200" b="1" i="0" u="none" strike="noStrike" kern="1200" cap="none" spc="0" normalizeH="0" baseline="0" noProof="0" dirty="0" err="1">
                <a:ln>
                  <a:noFill/>
                </a:ln>
                <a:solidFill>
                  <a:srgbClr val="B39759"/>
                </a:solidFill>
                <a:effectLst/>
                <a:uLnTx/>
                <a:uFillTx/>
                <a:latin typeface="Calibri Light" panose="020F0302020204030204"/>
                <a:ea typeface="+mn-ea"/>
                <a:cs typeface="Calibri" panose="020F0502020204030204" pitchFamily="34" charset="0"/>
              </a:rPr>
              <a:t>Moz</a:t>
            </a:r>
            <a:endParaRPr kumimoji="0" lang="en-US" sz="3200" b="1" i="0" u="none" strike="noStrike" kern="1200" cap="none" spc="0" normalizeH="0" baseline="0" noProof="0" dirty="0">
              <a:ln>
                <a:noFill/>
              </a:ln>
              <a:solidFill>
                <a:srgbClr val="B39759"/>
              </a:solidFill>
              <a:effectLst/>
              <a:uLnTx/>
              <a:uFillTx/>
              <a:latin typeface="Calibri Light" panose="020F0302020204030204"/>
              <a:ea typeface="+mn-ea"/>
              <a:cs typeface="Calibri" panose="020F0502020204030204" pitchFamily="34" charset="0"/>
            </a:endParaRP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Calibri" panose="020F0502020204030204" pitchFamily="34" charset="0"/>
              </a:rPr>
              <a:t>Gold reserves / Gold R&amp;R</a:t>
            </a:r>
          </a:p>
        </p:txBody>
      </p:sp>
      <p:sp>
        <p:nvSpPr>
          <p:cNvPr id="85" name="TextBox 84">
            <a:extLst>
              <a:ext uri="{FF2B5EF4-FFF2-40B4-BE49-F238E27FC236}">
                <a16:creationId xmlns:a16="http://schemas.microsoft.com/office/drawing/2014/main" id="{BB0E91B3-A14B-F0BD-B384-A818AE4E4601}"/>
              </a:ext>
            </a:extLst>
          </p:cNvPr>
          <p:cNvSpPr txBox="1"/>
          <p:nvPr/>
        </p:nvSpPr>
        <p:spPr>
          <a:xfrm>
            <a:off x="3244970" y="5335690"/>
            <a:ext cx="2737848" cy="258532"/>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Top players in country</a:t>
            </a:r>
          </a:p>
        </p:txBody>
      </p:sp>
      <p:sp>
        <p:nvSpPr>
          <p:cNvPr id="86" name="TextBox 85">
            <a:extLst>
              <a:ext uri="{FF2B5EF4-FFF2-40B4-BE49-F238E27FC236}">
                <a16:creationId xmlns:a16="http://schemas.microsoft.com/office/drawing/2014/main" id="{B334C6C0-AD72-72F7-FE3F-DCA439A113C3}"/>
              </a:ext>
            </a:extLst>
          </p:cNvPr>
          <p:cNvSpPr txBox="1"/>
          <p:nvPr/>
        </p:nvSpPr>
        <p:spPr>
          <a:xfrm>
            <a:off x="6214475" y="5339275"/>
            <a:ext cx="2394947" cy="258532"/>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cs typeface="Calibri" panose="020F0502020204030204" pitchFamily="34" charset="0"/>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cs typeface="Calibri" panose="020F0502020204030204" pitchFamily="34" charset="0"/>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cs typeface="Calibri" panose="020F0502020204030204" pitchFamily="34" charset="0"/>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cs typeface="Calibri" panose="020F0502020204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rPr>
              <a:t>Top gold miners</a:t>
            </a:r>
          </a:p>
        </p:txBody>
      </p:sp>
      <p:pic>
        <p:nvPicPr>
          <p:cNvPr id="3" name="Picture 2">
            <a:extLst>
              <a:ext uri="{FF2B5EF4-FFF2-40B4-BE49-F238E27FC236}">
                <a16:creationId xmlns:a16="http://schemas.microsoft.com/office/drawing/2014/main" id="{BAA0CD33-39C6-DADD-8DFB-DF4295C25415}"/>
              </a:ext>
            </a:extLst>
          </p:cNvPr>
          <p:cNvPicPr>
            <a:picLocks/>
          </p:cNvPicPr>
          <p:nvPr/>
        </p:nvPicPr>
        <p:blipFill rotWithShape="1">
          <a:blip r:embed="rId36" cstate="screen">
            <a:extLst>
              <a:ext uri="{28A0092B-C50C-407E-A947-70E740481C1C}">
                <a14:useLocalDpi xmlns:a14="http://schemas.microsoft.com/office/drawing/2010/main"/>
              </a:ext>
            </a:extLst>
          </a:blip>
          <a:srcRect/>
          <a:stretch/>
        </p:blipFill>
        <p:spPr>
          <a:xfrm>
            <a:off x="8762207" y="358581"/>
            <a:ext cx="604510" cy="604510"/>
          </a:xfrm>
          <a:prstGeom prst="ellipse">
            <a:avLst/>
          </a:prstGeom>
          <a:ln>
            <a:solidFill>
              <a:srgbClr val="CCCCCC"/>
            </a:solidFill>
          </a:ln>
        </p:spPr>
      </p:pic>
      <p:pic>
        <p:nvPicPr>
          <p:cNvPr id="2050" name="Picture 2">
            <a:extLst>
              <a:ext uri="{FF2B5EF4-FFF2-40B4-BE49-F238E27FC236}">
                <a16:creationId xmlns:a16="http://schemas.microsoft.com/office/drawing/2014/main" id="{359C51CF-B56E-204F-4A34-C18CBF9FE0DA}"/>
              </a:ext>
            </a:extLst>
          </p:cNvPr>
          <p:cNvPicPr>
            <a:picLocks noChangeAspect="1" noChangeArrowheads="1"/>
          </p:cNvPicPr>
          <p:nvPr/>
        </p:nvPicPr>
        <p:blipFill>
          <a:blip r:embed="rId37" cstate="screen">
            <a:extLst>
              <a:ext uri="{28A0092B-C50C-407E-A947-70E740481C1C}">
                <a14:useLocalDpi xmlns:a14="http://schemas.microsoft.com/office/drawing/2010/main"/>
              </a:ext>
            </a:extLst>
          </a:blip>
          <a:srcRect/>
          <a:stretch>
            <a:fillRect/>
          </a:stretch>
        </p:blipFill>
        <p:spPr bwMode="auto">
          <a:xfrm>
            <a:off x="3372824" y="5705729"/>
            <a:ext cx="787399" cy="301221"/>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a:extLst>
              <a:ext uri="{FF2B5EF4-FFF2-40B4-BE49-F238E27FC236}">
                <a16:creationId xmlns:a16="http://schemas.microsoft.com/office/drawing/2014/main" id="{F4C2D790-241C-91D2-B7F8-305378FF1FB7}"/>
              </a:ext>
            </a:extLst>
          </p:cNvPr>
          <p:cNvPicPr>
            <a:picLocks noChangeAspect="1" noChangeArrowheads="1"/>
          </p:cNvPicPr>
          <p:nvPr/>
        </p:nvPicPr>
        <p:blipFill>
          <a:blip r:embed="rId38" cstate="screen">
            <a:extLst>
              <a:ext uri="{28A0092B-C50C-407E-A947-70E740481C1C}">
                <a14:useLocalDpi xmlns:a14="http://schemas.microsoft.com/office/drawing/2010/main"/>
              </a:ext>
            </a:extLst>
          </a:blip>
          <a:srcRect/>
          <a:stretch>
            <a:fillRect/>
          </a:stretch>
        </p:blipFill>
        <p:spPr bwMode="auto">
          <a:xfrm>
            <a:off x="3359938" y="6118457"/>
            <a:ext cx="1262810" cy="281806"/>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3EE4CD5F-B842-E9F3-DDD2-70B4913B9535}"/>
              </a:ext>
            </a:extLst>
          </p:cNvPr>
          <p:cNvPicPr>
            <a:picLocks noChangeAspect="1" noChangeArrowheads="1"/>
          </p:cNvPicPr>
          <p:nvPr/>
        </p:nvPicPr>
        <p:blipFill>
          <a:blip r:embed="rId39" cstate="screen">
            <a:extLst>
              <a:ext uri="{28A0092B-C50C-407E-A947-70E740481C1C}">
                <a14:useLocalDpi xmlns:a14="http://schemas.microsoft.com/office/drawing/2010/main"/>
              </a:ext>
            </a:extLst>
          </a:blip>
          <a:srcRect/>
          <a:stretch>
            <a:fillRect/>
          </a:stretch>
        </p:blipFill>
        <p:spPr bwMode="auto">
          <a:xfrm>
            <a:off x="4474126" y="5743551"/>
            <a:ext cx="773048" cy="235035"/>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a:extLst>
              <a:ext uri="{FF2B5EF4-FFF2-40B4-BE49-F238E27FC236}">
                <a16:creationId xmlns:a16="http://schemas.microsoft.com/office/drawing/2014/main" id="{DFF0826C-6781-88B2-1834-2281FD92FC18}"/>
              </a:ext>
            </a:extLst>
          </p:cNvPr>
          <p:cNvPicPr>
            <a:picLocks noChangeAspect="1" noChangeArrowheads="1"/>
          </p:cNvPicPr>
          <p:nvPr/>
        </p:nvPicPr>
        <p:blipFill>
          <a:blip r:embed="rId40" cstate="screen">
            <a:extLst>
              <a:ext uri="{28A0092B-C50C-407E-A947-70E740481C1C}">
                <a14:useLocalDpi xmlns:a14="http://schemas.microsoft.com/office/drawing/2010/main"/>
              </a:ext>
            </a:extLst>
          </a:blip>
          <a:srcRect/>
          <a:stretch>
            <a:fillRect/>
          </a:stretch>
        </p:blipFill>
        <p:spPr bwMode="auto">
          <a:xfrm>
            <a:off x="4913928" y="6175979"/>
            <a:ext cx="825708" cy="205029"/>
          </a:xfrm>
          <a:prstGeom prst="rect">
            <a:avLst/>
          </a:prstGeom>
          <a:noFill/>
          <a:extLst>
            <a:ext uri="{909E8E84-426E-40DD-AFC4-6F175D3DCCD1}">
              <a14:hiddenFill xmlns:a14="http://schemas.microsoft.com/office/drawing/2010/main">
                <a:solidFill>
                  <a:srgbClr val="FFFFFF"/>
                </a:solidFill>
              </a14:hiddenFill>
            </a:ext>
          </a:extLst>
        </p:spPr>
      </p:pic>
      <p:sp>
        <p:nvSpPr>
          <p:cNvPr id="15" name="Title 1">
            <a:extLst>
              <a:ext uri="{FF2B5EF4-FFF2-40B4-BE49-F238E27FC236}">
                <a16:creationId xmlns:a16="http://schemas.microsoft.com/office/drawing/2014/main" id="{4FB5F760-2001-AE02-5945-2177CA873F6B}"/>
              </a:ext>
            </a:extLst>
          </p:cNvPr>
          <p:cNvSpPr txBox="1">
            <a:spLocks/>
          </p:cNvSpPr>
          <p:nvPr/>
        </p:nvSpPr>
        <p:spPr>
          <a:xfrm>
            <a:off x="262527" y="175755"/>
            <a:ext cx="8477208" cy="75713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ctr" anchorCtr="0">
            <a:spAutoFit/>
          </a:bodyPr>
          <a:lstStyle>
            <a:lvl1pPr algn="l" defTabSz="914400" rtl="0" eaLnBrk="1" latinLnBrk="0" hangingPunct="1">
              <a:lnSpc>
                <a:spcPct val="90000"/>
              </a:lnSpc>
              <a:spcBef>
                <a:spcPct val="0"/>
              </a:spcBef>
              <a:buNone/>
              <a:defRPr sz="3200" b="1" i="0" kern="1200">
                <a:solidFill>
                  <a:srgbClr val="002060"/>
                </a:solidFill>
                <a:latin typeface="Calibri" panose="020F0502020204030204" pitchFamily="34" charset="0"/>
                <a:ea typeface="+mj-ea"/>
                <a:cs typeface="Calibri" panose="020F050202020403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Calibri" panose="020F0502020204030204" pitchFamily="34" charset="0"/>
                <a:ea typeface="+mj-ea"/>
                <a:cs typeface="Calibri" panose="020F0502020204030204" pitchFamily="34" charset="0"/>
              </a:rPr>
              <a:t>Brazil emerges as an attractive jurisdiction to invest in, given its relatively stable context and large geological endowment</a:t>
            </a:r>
            <a:endParaRPr kumimoji="0" lang="en-CA" sz="2400" b="1" i="0" u="none" strike="noStrike" kern="1200" cap="none" spc="0" normalizeH="0" baseline="0" noProof="0" dirty="0">
              <a:ln>
                <a:noFill/>
              </a:ln>
              <a:solidFill>
                <a:srgbClr val="002060"/>
              </a:solidFill>
              <a:effectLst/>
              <a:uLnTx/>
              <a:uFillTx/>
              <a:latin typeface="Calibri" panose="020F0502020204030204" pitchFamily="34" charset="0"/>
              <a:ea typeface="+mj-ea"/>
              <a:cs typeface="Calibri" panose="020F0502020204030204" pitchFamily="34" charset="0"/>
            </a:endParaRPr>
          </a:p>
        </p:txBody>
      </p:sp>
      <p:sp>
        <p:nvSpPr>
          <p:cNvPr id="22" name="TextBox 21">
            <a:extLst>
              <a:ext uri="{FF2B5EF4-FFF2-40B4-BE49-F238E27FC236}">
                <a16:creationId xmlns:a16="http://schemas.microsoft.com/office/drawing/2014/main" id="{D8D42A31-ECC9-22C0-7373-BCF33321099A}"/>
              </a:ext>
            </a:extLst>
          </p:cNvPr>
          <p:cNvSpPr txBox="1"/>
          <p:nvPr/>
        </p:nvSpPr>
        <p:spPr>
          <a:xfrm>
            <a:off x="262527" y="820969"/>
            <a:ext cx="4064000" cy="286232"/>
          </a:xfrm>
          <a:prstGeom prst="rect">
            <a:avLst/>
          </a:prstGeom>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mn-cs"/>
              </a:rPr>
              <a:t>Brazil executive summary</a:t>
            </a:r>
          </a:p>
        </p:txBody>
      </p:sp>
      <p:sp>
        <p:nvSpPr>
          <p:cNvPr id="56" name="5. Source">
            <a:extLst>
              <a:ext uri="{FF2B5EF4-FFF2-40B4-BE49-F238E27FC236}">
                <a16:creationId xmlns:a16="http://schemas.microsoft.com/office/drawing/2014/main" id="{931ACFDE-8ECF-A66D-D178-5E27CAE542A4}"/>
              </a:ext>
            </a:extLst>
          </p:cNvPr>
          <p:cNvSpPr txBox="1"/>
          <p:nvPr>
            <p:custDataLst>
              <p:tags r:id="rId14"/>
            </p:custDataLst>
          </p:nvPr>
        </p:nvSpPr>
        <p:spPr>
          <a:xfrm>
            <a:off x="262528" y="6533620"/>
            <a:ext cx="2582692" cy="184666"/>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6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Source: S&amp;P Global, IBRAM, Americas Market Intelligence, World Bank WDI, IMF (WEO), </a:t>
            </a:r>
            <a:r>
              <a:rPr kumimoji="0" lang="en-US" sz="600" b="0" i="0" u="none" strike="noStrike" kern="1200" cap="none" spc="0" normalizeH="0" baseline="0" noProof="0" dirty="0" err="1">
                <a:ln>
                  <a:noFill/>
                </a:ln>
                <a:solidFill>
                  <a:srgbClr val="FFFFFF"/>
                </a:solidFill>
                <a:effectLst/>
                <a:uLnTx/>
                <a:uFillTx/>
                <a:latin typeface="Calibri" panose="020F0502020204030204" pitchFamily="34" charset="0"/>
                <a:ea typeface="+mn-ea"/>
                <a:cs typeface="Calibri" panose="020F0502020204030204" pitchFamily="34" charset="0"/>
              </a:rPr>
              <a:t>Dentos</a:t>
            </a:r>
            <a:r>
              <a:rPr kumimoji="0" lang="en-US" sz="6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 Global Mining Guide, </a:t>
            </a:r>
            <a:r>
              <a:rPr kumimoji="0" lang="en-US" sz="600" b="0" i="0" u="none" strike="noStrike" kern="1200" cap="none" spc="0" normalizeH="0" baseline="0" noProof="0" dirty="0" err="1">
                <a:ln>
                  <a:noFill/>
                </a:ln>
                <a:solidFill>
                  <a:srgbClr val="FFFFFF"/>
                </a:solidFill>
                <a:effectLst/>
                <a:uLnTx/>
                <a:uFillTx/>
                <a:latin typeface="Calibri" panose="020F0502020204030204" pitchFamily="34" charset="0"/>
                <a:ea typeface="+mn-ea"/>
                <a:cs typeface="Calibri" panose="020F0502020204030204" pitchFamily="34" charset="0"/>
              </a:rPr>
              <a:t>Lexology</a:t>
            </a:r>
            <a:r>
              <a:rPr kumimoji="0" lang="en-US" sz="6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 press search</a:t>
            </a:r>
          </a:p>
        </p:txBody>
      </p:sp>
      <p:sp>
        <p:nvSpPr>
          <p:cNvPr id="58" name="TextBox 57">
            <a:extLst>
              <a:ext uri="{FF2B5EF4-FFF2-40B4-BE49-F238E27FC236}">
                <a16:creationId xmlns:a16="http://schemas.microsoft.com/office/drawing/2014/main" id="{C3835A08-0248-912E-B690-919821705EF7}"/>
              </a:ext>
            </a:extLst>
          </p:cNvPr>
          <p:cNvSpPr txBox="1"/>
          <p:nvPr/>
        </p:nvSpPr>
        <p:spPr>
          <a:xfrm>
            <a:off x="206822" y="1940012"/>
            <a:ext cx="2632563" cy="4579715"/>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000">
                <a:solidFill>
                  <a:schemeClr val="tx1">
                    <a:lumMod val="85000"/>
                    <a:lumOff val="15000"/>
                  </a:schemeClr>
                </a:solidFill>
              </a:defRPr>
            </a:lvl1pPr>
            <a:lvl2pPr marL="685800" lvl="1" indent="-228600">
              <a:lnSpc>
                <a:spcPct val="90000"/>
              </a:lnSpc>
              <a:spcBef>
                <a:spcPts val="500"/>
              </a:spcBef>
              <a:buFont typeface="Arial" panose="020B0604020202020204" pitchFamily="34" charset="0"/>
              <a:buChar char="•"/>
              <a:defRPr>
                <a:solidFill>
                  <a:schemeClr val="tx1">
                    <a:lumMod val="85000"/>
                    <a:lumOff val="15000"/>
                  </a:schemeClr>
                </a:solidFill>
              </a:defRPr>
            </a:lvl2pPr>
            <a:lvl3pPr marL="1143000" lvl="2" indent="-228600">
              <a:lnSpc>
                <a:spcPct val="90000"/>
              </a:lnSpc>
              <a:spcBef>
                <a:spcPts val="500"/>
              </a:spcBef>
              <a:buFont typeface="Arial" panose="020B0604020202020204" pitchFamily="34" charset="0"/>
              <a:buChar char="•"/>
              <a:defRPr sz="1600">
                <a:solidFill>
                  <a:schemeClr val="tx1">
                    <a:lumMod val="85000"/>
                    <a:lumOff val="15000"/>
                  </a:schemeClr>
                </a:solidFill>
              </a:defRPr>
            </a:lvl3pPr>
            <a:lvl4pPr marL="1600200" lvl="3" indent="-228600">
              <a:lnSpc>
                <a:spcPct val="90000"/>
              </a:lnSpc>
              <a:spcBef>
                <a:spcPts val="500"/>
              </a:spcBef>
              <a:buFont typeface="Arial" panose="020B0604020202020204" pitchFamily="34" charset="0"/>
              <a:buChar char="•"/>
              <a:defRPr sz="1400">
                <a:solidFill>
                  <a:schemeClr val="tx1">
                    <a:lumMod val="85000"/>
                    <a:lumOff val="15000"/>
                  </a:schemeClr>
                </a:solidFill>
              </a:defRPr>
            </a:lvl4pPr>
            <a:lvl5pPr marL="2057400" lvl="4" indent="-228600">
              <a:lnSpc>
                <a:spcPct val="90000"/>
              </a:lnSpc>
              <a:spcBef>
                <a:spcPts val="500"/>
              </a:spcBef>
              <a:buFont typeface="Arial" panose="020B0604020202020204" pitchFamily="34" charset="0"/>
              <a:buChar char="•"/>
              <a:defRPr sz="1200">
                <a:solidFill>
                  <a:schemeClr val="tx1">
                    <a:lumMod val="85000"/>
                    <a:lumOff val="1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144000" marR="0" lvl="0" indent="-1440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rPr>
              <a:t>Large gold operations </a:t>
            </a: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present in traditional mining regions (Minas Gerais, Bahia, </a:t>
            </a:r>
            <a:r>
              <a:rPr kumimoji="0" lang="en-US" sz="1800" b="0" i="0" u="none" strike="noStrike" kern="1200" cap="none" spc="0" normalizeH="0" baseline="0" noProof="0" dirty="0" err="1">
                <a:ln>
                  <a:noFill/>
                </a:ln>
                <a:solidFill>
                  <a:srgbClr val="FFFFFF"/>
                </a:solidFill>
                <a:effectLst/>
                <a:uLnTx/>
                <a:uFillTx/>
                <a:latin typeface="Calibri" panose="020F0502020204030204"/>
                <a:ea typeface="+mn-ea"/>
                <a:cs typeface="+mn-cs"/>
              </a:rPr>
              <a:t>Goiás</a:t>
            </a: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a:t>
            </a:r>
            <a:endPar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144000" marR="0" lvl="0" indent="-1440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Although </a:t>
            </a: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rPr>
              <a:t>highly ranked in the institutional and social </a:t>
            </a: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frames, </a:t>
            </a: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rPr>
              <a:t>environmental regulations are likely to get more restrictive</a:t>
            </a: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144000" marR="0" lvl="0" indent="-1440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rPr>
              <a:t>The country’s leading gold frontier – the Amazon region – has a complex context</a:t>
            </a: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 with protected areas, indigenous communities, and illegal mining</a:t>
            </a:r>
            <a:endPar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76" name="Picture 75">
            <a:extLst>
              <a:ext uri="{FF2B5EF4-FFF2-40B4-BE49-F238E27FC236}">
                <a16:creationId xmlns:a16="http://schemas.microsoft.com/office/drawing/2014/main" id="{876A99CE-EF59-458B-3488-50B1F5DD561F}"/>
              </a:ext>
            </a:extLst>
          </p:cNvPr>
          <p:cNvPicPr>
            <a:picLocks noChangeAspect="1" noChangeArrowheads="1"/>
          </p:cNvPicPr>
          <p:nvPr/>
        </p:nvPicPr>
        <p:blipFill>
          <a:blip r:embed="rId41" cstate="screen">
            <a:extLst>
              <a:ext uri="{28A0092B-C50C-407E-A947-70E740481C1C}">
                <a14:useLocalDpi xmlns:a14="http://schemas.microsoft.com/office/drawing/2010/main"/>
              </a:ext>
            </a:extLst>
          </a:blip>
          <a:srcRect/>
          <a:stretch>
            <a:fillRect/>
          </a:stretch>
        </p:blipFill>
        <p:spPr bwMode="auto">
          <a:xfrm>
            <a:off x="6350037" y="5708232"/>
            <a:ext cx="600989" cy="181812"/>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76">
            <a:extLst>
              <a:ext uri="{FF2B5EF4-FFF2-40B4-BE49-F238E27FC236}">
                <a16:creationId xmlns:a16="http://schemas.microsoft.com/office/drawing/2014/main" id="{38ABC03D-3B5B-21DE-29A9-9A4B5954614F}"/>
              </a:ext>
            </a:extLst>
          </p:cNvPr>
          <p:cNvPicPr>
            <a:picLocks noChangeAspect="1"/>
          </p:cNvPicPr>
          <p:nvPr>
            <p:custDataLst>
              <p:tags r:id="rId15"/>
            </p:custDataLst>
          </p:nvPr>
        </p:nvPicPr>
        <p:blipFill>
          <a:blip r:embed="rId42" cstate="screen">
            <a:extLst>
              <a:ext uri="{28A0092B-C50C-407E-A947-70E740481C1C}">
                <a14:useLocalDpi xmlns:a14="http://schemas.microsoft.com/office/drawing/2010/main"/>
              </a:ext>
            </a:extLst>
          </a:blip>
          <a:stretch>
            <a:fillRect/>
          </a:stretch>
        </p:blipFill>
        <p:spPr>
          <a:xfrm>
            <a:off x="7952643" y="6259302"/>
            <a:ext cx="787092" cy="158992"/>
          </a:xfrm>
          <a:prstGeom prst="rect">
            <a:avLst/>
          </a:prstGeom>
        </p:spPr>
      </p:pic>
      <p:pic>
        <p:nvPicPr>
          <p:cNvPr id="78" name="Picture 77">
            <a:extLst>
              <a:ext uri="{FF2B5EF4-FFF2-40B4-BE49-F238E27FC236}">
                <a16:creationId xmlns:a16="http://schemas.microsoft.com/office/drawing/2014/main" id="{116D0029-B421-FA37-671D-2995162B8373}"/>
              </a:ext>
            </a:extLst>
          </p:cNvPr>
          <p:cNvPicPr>
            <a:picLocks noChangeAspect="1" noChangeArrowheads="1"/>
          </p:cNvPicPr>
          <p:nvPr/>
        </p:nvPicPr>
        <p:blipFill>
          <a:blip r:embed="rId43" cstate="screen">
            <a:extLst>
              <a:ext uri="{28A0092B-C50C-407E-A947-70E740481C1C}">
                <a14:useLocalDpi xmlns:a14="http://schemas.microsoft.com/office/drawing/2010/main"/>
              </a:ext>
            </a:extLst>
          </a:blip>
          <a:srcRect/>
          <a:stretch>
            <a:fillRect/>
          </a:stretch>
        </p:blipFill>
        <p:spPr bwMode="auto">
          <a:xfrm>
            <a:off x="7110288" y="6200665"/>
            <a:ext cx="724390" cy="217848"/>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78">
            <a:extLst>
              <a:ext uri="{FF2B5EF4-FFF2-40B4-BE49-F238E27FC236}">
                <a16:creationId xmlns:a16="http://schemas.microsoft.com/office/drawing/2014/main" id="{292F2544-925E-72E6-E3DE-5E64DDFFB96D}"/>
              </a:ext>
            </a:extLst>
          </p:cNvPr>
          <p:cNvPicPr>
            <a:picLocks noChangeAspect="1"/>
          </p:cNvPicPr>
          <p:nvPr>
            <p:custDataLst>
              <p:tags r:id="rId16"/>
            </p:custDataLst>
          </p:nvPr>
        </p:nvPicPr>
        <p:blipFill>
          <a:blip r:embed="rId44" cstate="screen">
            <a:extLst>
              <a:ext uri="{28A0092B-C50C-407E-A947-70E740481C1C}">
                <a14:useLocalDpi xmlns:a14="http://schemas.microsoft.com/office/drawing/2010/main"/>
              </a:ext>
            </a:extLst>
          </a:blip>
          <a:stretch>
            <a:fillRect/>
          </a:stretch>
        </p:blipFill>
        <p:spPr>
          <a:xfrm>
            <a:off x="6381856" y="6254538"/>
            <a:ext cx="548087" cy="165232"/>
          </a:xfrm>
          <a:prstGeom prst="rect">
            <a:avLst/>
          </a:prstGeom>
        </p:spPr>
      </p:pic>
      <p:pic>
        <p:nvPicPr>
          <p:cNvPr id="80" name="Picture 79">
            <a:extLst>
              <a:ext uri="{FF2B5EF4-FFF2-40B4-BE49-F238E27FC236}">
                <a16:creationId xmlns:a16="http://schemas.microsoft.com/office/drawing/2014/main" id="{C52A50E3-2E4B-9F4B-F0E2-121488FD2D18}"/>
              </a:ext>
            </a:extLst>
          </p:cNvPr>
          <p:cNvPicPr>
            <a:picLocks noChangeAspect="1"/>
          </p:cNvPicPr>
          <p:nvPr>
            <p:custDataLst>
              <p:tags r:id="rId17"/>
            </p:custDataLst>
          </p:nvPr>
        </p:nvPicPr>
        <p:blipFill>
          <a:blip r:embed="rId45" cstate="screen">
            <a:extLst>
              <a:ext uri="{28A0092B-C50C-407E-A947-70E740481C1C}">
                <a14:useLocalDpi xmlns:a14="http://schemas.microsoft.com/office/drawing/2010/main"/>
              </a:ext>
            </a:extLst>
          </a:blip>
          <a:stretch>
            <a:fillRect/>
          </a:stretch>
        </p:blipFill>
        <p:spPr>
          <a:xfrm>
            <a:off x="7434656" y="6003269"/>
            <a:ext cx="426043" cy="114077"/>
          </a:xfrm>
          <a:prstGeom prst="rect">
            <a:avLst/>
          </a:prstGeom>
        </p:spPr>
      </p:pic>
      <p:pic>
        <p:nvPicPr>
          <p:cNvPr id="81" name="Picture 80">
            <a:extLst>
              <a:ext uri="{FF2B5EF4-FFF2-40B4-BE49-F238E27FC236}">
                <a16:creationId xmlns:a16="http://schemas.microsoft.com/office/drawing/2014/main" id="{0A660DE3-6103-3043-EEE0-485C5E1DC6FD}"/>
              </a:ext>
            </a:extLst>
          </p:cNvPr>
          <p:cNvPicPr>
            <a:picLocks noChangeAspect="1"/>
          </p:cNvPicPr>
          <p:nvPr>
            <p:custDataLst>
              <p:tags r:id="rId18"/>
            </p:custDataLst>
          </p:nvPr>
        </p:nvPicPr>
        <p:blipFill>
          <a:blip r:embed="rId46" cstate="screen">
            <a:extLst>
              <a:ext uri="{28A0092B-C50C-407E-A947-70E740481C1C}">
                <a14:useLocalDpi xmlns:a14="http://schemas.microsoft.com/office/drawing/2010/main"/>
              </a:ext>
            </a:extLst>
          </a:blip>
          <a:stretch>
            <a:fillRect/>
          </a:stretch>
        </p:blipFill>
        <p:spPr>
          <a:xfrm>
            <a:off x="8101582" y="5944467"/>
            <a:ext cx="428498" cy="195302"/>
          </a:xfrm>
          <a:prstGeom prst="rect">
            <a:avLst/>
          </a:prstGeom>
        </p:spPr>
      </p:pic>
      <p:pic>
        <p:nvPicPr>
          <p:cNvPr id="82" name="Picture 81">
            <a:extLst>
              <a:ext uri="{FF2B5EF4-FFF2-40B4-BE49-F238E27FC236}">
                <a16:creationId xmlns:a16="http://schemas.microsoft.com/office/drawing/2014/main" id="{505FFB4A-453B-ED0A-90C9-636D6B10D448}"/>
              </a:ext>
            </a:extLst>
          </p:cNvPr>
          <p:cNvPicPr>
            <a:picLocks noChangeAspect="1"/>
          </p:cNvPicPr>
          <p:nvPr>
            <p:custDataLst>
              <p:tags r:id="rId19"/>
            </p:custDataLst>
          </p:nvPr>
        </p:nvPicPr>
        <p:blipFill rotWithShape="1">
          <a:blip r:embed="rId47" cstate="screen">
            <a:extLst>
              <a:ext uri="{28A0092B-C50C-407E-A947-70E740481C1C}">
                <a14:useLocalDpi xmlns:a14="http://schemas.microsoft.com/office/drawing/2010/main"/>
              </a:ext>
            </a:extLst>
          </a:blip>
          <a:srcRect t="31591" b="32698"/>
          <a:stretch/>
        </p:blipFill>
        <p:spPr>
          <a:xfrm>
            <a:off x="6381640" y="6009926"/>
            <a:ext cx="838857" cy="157512"/>
          </a:xfrm>
          <a:prstGeom prst="rect">
            <a:avLst/>
          </a:prstGeom>
        </p:spPr>
      </p:pic>
      <p:pic>
        <p:nvPicPr>
          <p:cNvPr id="83" name="Picture 82">
            <a:extLst>
              <a:ext uri="{FF2B5EF4-FFF2-40B4-BE49-F238E27FC236}">
                <a16:creationId xmlns:a16="http://schemas.microsoft.com/office/drawing/2014/main" id="{DBE82E78-D2A5-621F-3CCC-3C1064DA55E3}"/>
              </a:ext>
            </a:extLst>
          </p:cNvPr>
          <p:cNvPicPr>
            <a:picLocks noChangeAspect="1"/>
          </p:cNvPicPr>
          <p:nvPr>
            <p:custDataLst>
              <p:tags r:id="rId20"/>
            </p:custDataLst>
          </p:nvPr>
        </p:nvPicPr>
        <p:blipFill>
          <a:blip r:embed="rId48" cstate="screen">
            <a:extLst>
              <a:ext uri="{28A0092B-C50C-407E-A947-70E740481C1C}">
                <a14:useLocalDpi xmlns:a14="http://schemas.microsoft.com/office/drawing/2010/main"/>
              </a:ext>
            </a:extLst>
          </a:blip>
          <a:stretch>
            <a:fillRect/>
          </a:stretch>
        </p:blipFill>
        <p:spPr>
          <a:xfrm>
            <a:off x="7969301" y="5595867"/>
            <a:ext cx="396457" cy="234887"/>
          </a:xfrm>
          <a:prstGeom prst="rect">
            <a:avLst/>
          </a:prstGeom>
        </p:spPr>
      </p:pic>
      <p:pic>
        <p:nvPicPr>
          <p:cNvPr id="84" name="Picture 83">
            <a:extLst>
              <a:ext uri="{FF2B5EF4-FFF2-40B4-BE49-F238E27FC236}">
                <a16:creationId xmlns:a16="http://schemas.microsoft.com/office/drawing/2014/main" id="{5779DE91-014D-BD01-5DD8-D1D8B3D26794}"/>
              </a:ext>
            </a:extLst>
          </p:cNvPr>
          <p:cNvPicPr>
            <a:picLocks noChangeAspect="1"/>
          </p:cNvPicPr>
          <p:nvPr>
            <p:custDataLst>
              <p:tags r:id="rId21"/>
            </p:custDataLst>
          </p:nvPr>
        </p:nvPicPr>
        <p:blipFill rotWithShape="1">
          <a:blip r:embed="rId49" cstate="screen">
            <a:extLst>
              <a:ext uri="{28A0092B-C50C-407E-A947-70E740481C1C}">
                <a14:useLocalDpi xmlns:a14="http://schemas.microsoft.com/office/drawing/2010/main"/>
              </a:ext>
            </a:extLst>
          </a:blip>
          <a:srcRect l="6216" t="20393" r="8078" b="17113"/>
          <a:stretch/>
        </p:blipFill>
        <p:spPr>
          <a:xfrm>
            <a:off x="7224821" y="5628638"/>
            <a:ext cx="561714" cy="245750"/>
          </a:xfrm>
          <a:prstGeom prst="rect">
            <a:avLst/>
          </a:prstGeom>
        </p:spPr>
      </p:pic>
    </p:spTree>
    <p:extLst>
      <p:ext uri="{BB962C8B-B14F-4D97-AF65-F5344CB8AC3E}">
        <p14:creationId xmlns:p14="http://schemas.microsoft.com/office/powerpoint/2010/main" val="6561021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CTFIXED" val="Yes"/>
  <p:tag name="TSCLIENT" val="True"/>
  <p:tag name="TCCONTRASTACCENTS" val="4|5|6|7|8|9"/>
  <p:tag name="TCLIGHTACCENTS" val="4|5|6|7|8|9"/>
  <p:tag name="TEMPLATELASTEDITED" val="2024-02-29 01:14 PM"/>
  <p:tag name="ICONLINEFILL" val="Color [A=255, R=0, G=38, B=89]"/>
  <p:tag name="ICONLINEFILLTHEME" val="Accent 1"/>
  <p:tag name="ICONFILLBACKGROUND" val="Color [A=255, R=255, G=255, B=255]"/>
  <p:tag name="ICONFILLBACKGROUNDTHEME" val="Background 1"/>
  <p:tag name="ICONENCLOSURE" val="True"/>
  <p:tag name="THINKCELLPRESENTATIONDONOTDELETE" val="&lt;?xml version=&quot;1.0&quot; encoding=&quot;UTF-16&quot; standalone=&quot;yes&quot;?&gt;&lt;root reqver=&quot;28224&quot;&gt;&lt;version val=&quot;3530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89999999999999991118E+00&quot;&gt;&lt;m_msothmcolidx val=&quot;0&quot;/&gt;&lt;m_rgb r=&quot;34&quot; g=&quot;A7&quot; b=&quot;56&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00.xml><?xml version="1.0" encoding="utf-8"?>
<p:tagLst xmlns:a="http://schemas.openxmlformats.org/drawingml/2006/main" xmlns:r="http://schemas.openxmlformats.org/officeDocument/2006/relationships" xmlns:p="http://schemas.openxmlformats.org/presentationml/2006/main">
  <p:tag name="SHAPENAME" val="5. Source"/>
</p:tagLst>
</file>

<file path=ppt/tags/tag1001.xml><?xml version="1.0" encoding="utf-8"?>
<p:tagLst xmlns:a="http://schemas.openxmlformats.org/drawingml/2006/main" xmlns:r="http://schemas.openxmlformats.org/officeDocument/2006/relationships" xmlns:p="http://schemas.openxmlformats.org/presentationml/2006/main">
  <p:tag name="MTTABLE" val="HDiv"/>
  <p:tag name="MTNUMBER" val="0.539745759004609"/>
</p:tagLst>
</file>

<file path=ppt/tags/tag1002.xml><?xml version="1.0" encoding="utf-8"?>
<p:tagLst xmlns:a="http://schemas.openxmlformats.org/drawingml/2006/main" xmlns:r="http://schemas.openxmlformats.org/officeDocument/2006/relationships" xmlns:p="http://schemas.openxmlformats.org/presentationml/2006/main">
  <p:tag name="MTTABLE" val="HDiv"/>
  <p:tag name="MTNUMBER" val="0.539745759004609"/>
</p:tagLst>
</file>

<file path=ppt/tags/tag1003.xml><?xml version="1.0" encoding="utf-8"?>
<p:tagLst xmlns:a="http://schemas.openxmlformats.org/drawingml/2006/main" xmlns:r="http://schemas.openxmlformats.org/officeDocument/2006/relationships" xmlns:p="http://schemas.openxmlformats.org/presentationml/2006/main">
  <p:tag name="MTTABLE" val="HDiv"/>
  <p:tag name="MTNUMBER" val="0.539745759004609"/>
</p:tagLst>
</file>

<file path=ppt/tags/tag1004.xml><?xml version="1.0" encoding="utf-8"?>
<p:tagLst xmlns:a="http://schemas.openxmlformats.org/drawingml/2006/main" xmlns:r="http://schemas.openxmlformats.org/officeDocument/2006/relationships" xmlns:p="http://schemas.openxmlformats.org/presentationml/2006/main">
  <p:tag name="MTTABLE" val="HDiv"/>
  <p:tag name="MTNUMBER" val="0.539745759004609"/>
</p:tagLst>
</file>

<file path=ppt/tags/tag1005.xml><?xml version="1.0" encoding="utf-8"?>
<p:tagLst xmlns:a="http://schemas.openxmlformats.org/drawingml/2006/main" xmlns:r="http://schemas.openxmlformats.org/officeDocument/2006/relationships" xmlns:p="http://schemas.openxmlformats.org/presentationml/2006/main">
  <p:tag name="NAME" val="Rectangle"/>
</p:tagLst>
</file>

<file path=ppt/tags/tag1006.xml><?xml version="1.0" encoding="utf-8"?>
<p:tagLst xmlns:a="http://schemas.openxmlformats.org/drawingml/2006/main" xmlns:r="http://schemas.openxmlformats.org/officeDocument/2006/relationships" xmlns:p="http://schemas.openxmlformats.org/presentationml/2006/main">
  <p:tag name="NAME" val="Rectangle"/>
</p:tagLst>
</file>

<file path=ppt/tags/tag1007.xml><?xml version="1.0" encoding="utf-8"?>
<p:tagLst xmlns:a="http://schemas.openxmlformats.org/drawingml/2006/main" xmlns:r="http://schemas.openxmlformats.org/officeDocument/2006/relationships" xmlns:p="http://schemas.openxmlformats.org/presentationml/2006/main">
  <p:tag name="MTTABLE" val="HTitleDiv"/>
  <p:tag name="MTNUMBER" val="0.154885287934395"/>
</p:tagLst>
</file>

<file path=ppt/tags/tag1008.xml><?xml version="1.0" encoding="utf-8"?>
<p:tagLst xmlns:a="http://schemas.openxmlformats.org/drawingml/2006/main" xmlns:r="http://schemas.openxmlformats.org/officeDocument/2006/relationships" xmlns:p="http://schemas.openxmlformats.org/presentationml/2006/main">
  <p:tag name="MTTABLE" val="HTitleDiv"/>
  <p:tag name="MTNUMBER" val="0.154885287934395"/>
</p:tagLst>
</file>

<file path=ppt/tags/tag1009.xml><?xml version="1.0" encoding="utf-8"?>
<p:tagLst xmlns:a="http://schemas.openxmlformats.org/drawingml/2006/main" xmlns:r="http://schemas.openxmlformats.org/officeDocument/2006/relationships" xmlns:p="http://schemas.openxmlformats.org/presentationml/2006/main">
  <p:tag name="MTTABLE" val="HTitleDiv"/>
  <p:tag name="MTNUMBER" val="0.154885287934395"/>
</p:tagLst>
</file>

<file path=ppt/tags/tag1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10.xml><?xml version="1.0" encoding="utf-8"?>
<p:tagLst xmlns:a="http://schemas.openxmlformats.org/drawingml/2006/main" xmlns:r="http://schemas.openxmlformats.org/officeDocument/2006/relationships" xmlns:p="http://schemas.openxmlformats.org/presentationml/2006/main">
  <p:tag name="MTTABLE" val="HTitleDiv"/>
  <p:tag name="MTNUMBER" val="0.154885287934395"/>
</p:tagLst>
</file>

<file path=ppt/tags/tag1011.xml><?xml version="1.0" encoding="utf-8"?>
<p:tagLst xmlns:a="http://schemas.openxmlformats.org/drawingml/2006/main" xmlns:r="http://schemas.openxmlformats.org/officeDocument/2006/relationships" xmlns:p="http://schemas.openxmlformats.org/presentationml/2006/main">
  <p:tag name="NAME" val="Rectangle"/>
</p:tagLst>
</file>

<file path=ppt/tags/tag1012.xml><?xml version="1.0" encoding="utf-8"?>
<p:tagLst xmlns:a="http://schemas.openxmlformats.org/drawingml/2006/main" xmlns:r="http://schemas.openxmlformats.org/officeDocument/2006/relationships" xmlns:p="http://schemas.openxmlformats.org/presentationml/2006/main">
  <p:tag name="NAME" val="Rectangle"/>
</p:tagLst>
</file>

<file path=ppt/tags/tag1013.xml><?xml version="1.0" encoding="utf-8"?>
<p:tagLst xmlns:a="http://schemas.openxmlformats.org/drawingml/2006/main" xmlns:r="http://schemas.openxmlformats.org/officeDocument/2006/relationships" xmlns:p="http://schemas.openxmlformats.org/presentationml/2006/main">
  <p:tag name="NAME" val="Rectangle"/>
</p:tagLst>
</file>

<file path=ppt/tags/tag1014.xml><?xml version="1.0" encoding="utf-8"?>
<p:tagLst xmlns:a="http://schemas.openxmlformats.org/drawingml/2006/main" xmlns:r="http://schemas.openxmlformats.org/officeDocument/2006/relationships" xmlns:p="http://schemas.openxmlformats.org/presentationml/2006/main">
  <p:tag name="NAME" val="Rectangle"/>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gNSMh2g7KBvs2NAL_9Wadw"/>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sqe28MP5cmu6k9882cVsEg"/>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t4kW5pY1gsqaZNJDHOx18Q"/>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xSH0peoTolMKUlU42WEVDg"/>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_qGtLpjoFyB5A73BJ9ooeQ"/>
</p:tagLst>
</file>

<file path=ppt/tags/tag1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S9uluyCuc7ew6bn3lflmLw"/>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b2hRUuFPuVcgbgzcbjKJ6A"/>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pYKd1Vq.Fc3frs7PnqG8rg"/>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1FlADcWH86ILHI_Rh3CY9g"/>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3q7no..3pbmccYoonjHyrA"/>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YGyeqOIyBTQZPo68axmENw"/>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wUA8O4yS5sdSaFT0VIpztQ"/>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27IoEUqKLI2EbweGCjjRMA"/>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p17FyxQdxz_b_yApkdhKHA"/>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6jS8IV_CuRleBR6J6plX7g"/>
</p:tagLst>
</file>

<file path=ppt/tags/tag1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HrVh4X7wZf8Hp7vHO.YHdA"/>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TbFrtV1HSz9AlfDjkwGhRA"/>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fClvnmH22jUatEGZ7Lwlmg"/>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JkvfNV2tuSYa_wQDX5EMJQ"/>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RM7qziOxXMG.8IhbNrJ.7g"/>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Z4lxcIU3A3cGNzEYUQXKMQ"/>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U6VJOD_K4.lYomjPsYrTng"/>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fs_kR6EUjHlXQWcx8mwsSg"/>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IecJBWZcYCVtG9tFUCkizg"/>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8bOVsvKEHTx7BPyzYVxWJA"/>
</p:tagLst>
</file>

<file path=ppt/tags/tag104.xml><?xml version="1.0" encoding="utf-8"?>
<p:tagLst xmlns:a="http://schemas.openxmlformats.org/drawingml/2006/main" xmlns:r="http://schemas.openxmlformats.org/officeDocument/2006/relationships" xmlns:p="http://schemas.openxmlformats.org/presentationml/2006/main">
  <p:tag name="SHAPENAME" val="5. Source"/>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x7WxyQ1cRpo04rdv9ZoNfA"/>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XD1QHMt.0NitES2QsAlmCg"/>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Aka6z2Gh.K6HhA1xZMNbDQ"/>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PFqZYa.HbCadLBRFNY_ICQ"/>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ryCA3xW4DlQ58ksmMHJ7RQ"/>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LrneGdslnMPkgxdGpKuQVQ"/>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9ciyQ4Ef5MZq_Z.Vu.0VJw"/>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nPM2bg_Ccdxh51EiEZNKhw"/>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8vkyoYk_PMJ5dDhRJ9Dc3A"/>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TzXzr.4qcxyrBoddhGvD9A"/>
</p:tagLst>
</file>

<file path=ppt/tags/tag1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AvaXnoGF8nRqzVcE_oWoSg"/>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9ZMKnxYQPrVRz23FbrmVRQ"/>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MDJVxLZuW7RX6KSVAhr8vg"/>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sjjs4Jc2Ju4Zy91LMhZOHQ"/>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s8IMaHdAPCMpLvJgWkLCXQ"/>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xxze_.hsn8lYY6iJa_6rXw"/>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C8bqgHaF6sYidlimgz7Mxw"/>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K5aV08gZuE6v02CBCmOpxg"/>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qKybNGNIQ_mFVoceM38Z7w"/>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5_FxS6CbLnPag40pTgkWk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B_QWAKGqChfGa7qXwfvk7g"/>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diu34HyYSz1t098CJgIQg"/>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aq8TlD0xjxi8X4a.iWZyqw"/>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KQ_V09y2cUHoc3zah916bg"/>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GFZGekeWrSPCKpxc2_XGKw"/>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eRIfafh8jNJ0DzROta_x7g"/>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ljdc2xZIPhy9Azt4Rk1PVw"/>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DhGF_8xPtBJaPUZ1zikaGA"/>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aqe6qMc7SuyBjU4kRoosxQ"/>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I4f_DnGecM6TEUVtjpROj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SSqp.SdHHCK8bQNwpZ8Kg"/>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SOVjceP2S1wnNeGDq47nrA"/>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mkRkb0_KA3qUqTqKhYaE1g"/>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9XdUb2PIVuAXPj6JWHUf8g"/>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2tHwUkuKI5KHtHFSUePVw"/>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9tBTRZD7mB.Qsmm3wDh4Ow"/>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ocxV3cYAvAIhkxmaVSRlFw"/>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urFbSfH009.Ib36Dr74mxw"/>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U_iRHaE5mjh5tXoob0e2gA"/>
</p:tagLst>
</file>

<file path=ppt/tags/tag1079.xml><?xml version="1.0" encoding="utf-8"?>
<p:tagLst xmlns:a="http://schemas.openxmlformats.org/drawingml/2006/main" xmlns:r="http://schemas.openxmlformats.org/officeDocument/2006/relationships" xmlns:p="http://schemas.openxmlformats.org/presentationml/2006/main">
  <p:tag name="NAME" val="Rectangle"/>
</p:tagLst>
</file>

<file path=ppt/tags/tag1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0.xml><?xml version="1.0" encoding="utf-8"?>
<p:tagLst xmlns:a="http://schemas.openxmlformats.org/drawingml/2006/main" xmlns:r="http://schemas.openxmlformats.org/officeDocument/2006/relationships" xmlns:p="http://schemas.openxmlformats.org/presentationml/2006/main">
  <p:tag name="NAME" val="Rectangle"/>
</p:tagLst>
</file>

<file path=ppt/tags/tag1081.xml><?xml version="1.0" encoding="utf-8"?>
<p:tagLst xmlns:a="http://schemas.openxmlformats.org/drawingml/2006/main" xmlns:r="http://schemas.openxmlformats.org/officeDocument/2006/relationships" xmlns:p="http://schemas.openxmlformats.org/presentationml/2006/main">
  <p:tag name="NAME" val="Rectangle"/>
</p:tagLst>
</file>

<file path=ppt/tags/tag1082.xml><?xml version="1.0" encoding="utf-8"?>
<p:tagLst xmlns:a="http://schemas.openxmlformats.org/drawingml/2006/main" xmlns:r="http://schemas.openxmlformats.org/officeDocument/2006/relationships" xmlns:p="http://schemas.openxmlformats.org/presentationml/2006/main">
  <p:tag name="NAME" val="Rectangle"/>
</p:tagLst>
</file>

<file path=ppt/tags/tag1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5. Source"/>
</p:tagLst>
</file>

<file path=ppt/tags/tag1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SHAPENAME" val="5. Sourc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1.xml><?xml version="1.0" encoding="utf-8"?>
<p:tagLst xmlns:a="http://schemas.openxmlformats.org/drawingml/2006/main" xmlns:r="http://schemas.openxmlformats.org/officeDocument/2006/relationships" xmlns:p="http://schemas.openxmlformats.org/presentationml/2006/main">
  <p:tag name="SHAPENAME" val="4. Footnote"/>
</p:tagLst>
</file>

<file path=ppt/tags/tag122.xml><?xml version="1.0" encoding="utf-8"?>
<p:tagLst xmlns:a="http://schemas.openxmlformats.org/drawingml/2006/main" xmlns:r="http://schemas.openxmlformats.org/officeDocument/2006/relationships" xmlns:p="http://schemas.openxmlformats.org/presentationml/2006/main">
  <p:tag name="NAME" val="ACET"/>
</p:tagLst>
</file>

<file path=ppt/tags/tag123.xml><?xml version="1.0" encoding="utf-8"?>
<p:tagLst xmlns:a="http://schemas.openxmlformats.org/drawingml/2006/main" xmlns:r="http://schemas.openxmlformats.org/officeDocument/2006/relationships" xmlns:p="http://schemas.openxmlformats.org/presentationml/2006/main">
  <p:tag name="NAME" val="Moon"/>
</p:tagLst>
</file>

<file path=ppt/tags/tag124.xml><?xml version="1.0" encoding="utf-8"?>
<p:tagLst xmlns:a="http://schemas.openxmlformats.org/drawingml/2006/main" xmlns:r="http://schemas.openxmlformats.org/officeDocument/2006/relationships" xmlns:p="http://schemas.openxmlformats.org/presentationml/2006/main">
  <p:tag name="NAME" val="Moon"/>
</p:tagLst>
</file>

<file path=ppt/tags/tag125.xml><?xml version="1.0" encoding="utf-8"?>
<p:tagLst xmlns:a="http://schemas.openxmlformats.org/drawingml/2006/main" xmlns:r="http://schemas.openxmlformats.org/officeDocument/2006/relationships" xmlns:p="http://schemas.openxmlformats.org/presentationml/2006/main">
  <p:tag name="NAME" val="Moon"/>
</p:tagLst>
</file>

<file path=ppt/tags/tag126.xml><?xml version="1.0" encoding="utf-8"?>
<p:tagLst xmlns:a="http://schemas.openxmlformats.org/drawingml/2006/main" xmlns:r="http://schemas.openxmlformats.org/officeDocument/2006/relationships" xmlns:p="http://schemas.openxmlformats.org/presentationml/2006/main">
  <p:tag name="NAME" val="Moon"/>
</p:tagLst>
</file>

<file path=ppt/tags/tag127.xml><?xml version="1.0" encoding="utf-8"?>
<p:tagLst xmlns:a="http://schemas.openxmlformats.org/drawingml/2006/main" xmlns:r="http://schemas.openxmlformats.org/officeDocument/2006/relationships" xmlns:p="http://schemas.openxmlformats.org/presentationml/2006/main">
  <p:tag name="NAME" val="Moon"/>
</p:tagLst>
</file>

<file path=ppt/tags/tag128.xml><?xml version="1.0" encoding="utf-8"?>
<p:tagLst xmlns:a="http://schemas.openxmlformats.org/drawingml/2006/main" xmlns:r="http://schemas.openxmlformats.org/officeDocument/2006/relationships" xmlns:p="http://schemas.openxmlformats.org/presentationml/2006/main">
  <p:tag name="ANGLE" val="5"/>
</p:tagLst>
</file>

<file path=ppt/tags/tag129.xml><?xml version="1.0" encoding="utf-8"?>
<p:tagLst xmlns:a="http://schemas.openxmlformats.org/drawingml/2006/main" xmlns:r="http://schemas.openxmlformats.org/officeDocument/2006/relationships" xmlns:p="http://schemas.openxmlformats.org/presentationml/2006/main">
  <p:tag name="ANGLE" val="5"/>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ANGLE" val="4"/>
</p:tagLst>
</file>

<file path=ppt/tags/tag131.xml><?xml version="1.0" encoding="utf-8"?>
<p:tagLst xmlns:a="http://schemas.openxmlformats.org/drawingml/2006/main" xmlns:r="http://schemas.openxmlformats.org/officeDocument/2006/relationships" xmlns:p="http://schemas.openxmlformats.org/presentationml/2006/main">
  <p:tag name="ANGLE" val="4"/>
</p:tagLst>
</file>

<file path=ppt/tags/tag132.xml><?xml version="1.0" encoding="utf-8"?>
<p:tagLst xmlns:a="http://schemas.openxmlformats.org/drawingml/2006/main" xmlns:r="http://schemas.openxmlformats.org/officeDocument/2006/relationships" xmlns:p="http://schemas.openxmlformats.org/presentationml/2006/main">
  <p:tag name="ANGLE" val="3"/>
</p:tagLst>
</file>

<file path=ppt/tags/tag133.xml><?xml version="1.0" encoding="utf-8"?>
<p:tagLst xmlns:a="http://schemas.openxmlformats.org/drawingml/2006/main" xmlns:r="http://schemas.openxmlformats.org/officeDocument/2006/relationships" xmlns:p="http://schemas.openxmlformats.org/presentationml/2006/main">
  <p:tag name="ANGLE" val="3"/>
</p:tagLst>
</file>

<file path=ppt/tags/tag134.xml><?xml version="1.0" encoding="utf-8"?>
<p:tagLst xmlns:a="http://schemas.openxmlformats.org/drawingml/2006/main" xmlns:r="http://schemas.openxmlformats.org/officeDocument/2006/relationships" xmlns:p="http://schemas.openxmlformats.org/presentationml/2006/main">
  <p:tag name="ANGLE" val="2"/>
</p:tagLst>
</file>

<file path=ppt/tags/tag135.xml><?xml version="1.0" encoding="utf-8"?>
<p:tagLst xmlns:a="http://schemas.openxmlformats.org/drawingml/2006/main" xmlns:r="http://schemas.openxmlformats.org/officeDocument/2006/relationships" xmlns:p="http://schemas.openxmlformats.org/presentationml/2006/main">
  <p:tag name="ANGLE" val="2"/>
</p:tagLst>
</file>

<file path=ppt/tags/tag136.xml><?xml version="1.0" encoding="utf-8"?>
<p:tagLst xmlns:a="http://schemas.openxmlformats.org/drawingml/2006/main" xmlns:r="http://schemas.openxmlformats.org/officeDocument/2006/relationships" xmlns:p="http://schemas.openxmlformats.org/presentationml/2006/main">
  <p:tag name="ANGLE" val="1"/>
</p:tagLst>
</file>

<file path=ppt/tags/tag137.xml><?xml version="1.0" encoding="utf-8"?>
<p:tagLst xmlns:a="http://schemas.openxmlformats.org/drawingml/2006/main" xmlns:r="http://schemas.openxmlformats.org/officeDocument/2006/relationships" xmlns:p="http://schemas.openxmlformats.org/presentationml/2006/main">
  <p:tag name="ANGLE" val="1"/>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4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1.xml><?xml version="1.0" encoding="utf-8"?>
<p:tagLst xmlns:a="http://schemas.openxmlformats.org/drawingml/2006/main" xmlns:r="http://schemas.openxmlformats.org/officeDocument/2006/relationships" xmlns:p="http://schemas.openxmlformats.org/presentationml/2006/main">
  <p:tag name="SHAPENAME" val="Subtitle"/>
</p:tagLst>
</file>

<file path=ppt/tags/tag142.xml><?xml version="1.0" encoding="utf-8"?>
<p:tagLst xmlns:a="http://schemas.openxmlformats.org/drawingml/2006/main" xmlns:r="http://schemas.openxmlformats.org/officeDocument/2006/relationships" xmlns:p="http://schemas.openxmlformats.org/presentationml/2006/main">
  <p:tag name="SHAPENAME" val="Titl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8.xml><?xml version="1.0" encoding="utf-8"?>
<p:tagLst xmlns:a="http://schemas.openxmlformats.org/drawingml/2006/main" xmlns:r="http://schemas.openxmlformats.org/officeDocument/2006/relationships" xmlns:p="http://schemas.openxmlformats.org/presentationml/2006/main">
  <p:tag name="SHAPENAME" val="5. Source"/>
</p:tagLst>
</file>

<file path=ppt/tags/tag1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5.xml><?xml version="1.0" encoding="utf-8"?>
<p:tagLst xmlns:a="http://schemas.openxmlformats.org/drawingml/2006/main" xmlns:r="http://schemas.openxmlformats.org/officeDocument/2006/relationships" xmlns:p="http://schemas.openxmlformats.org/presentationml/2006/main">
  <p:tag name="SHAPENAME" val="5. Source"/>
</p:tagLst>
</file>

<file path=ppt/tags/tag1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1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1.xml><?xml version="1.0" encoding="utf-8"?>
<p:tagLst xmlns:a="http://schemas.openxmlformats.org/drawingml/2006/main" xmlns:r="http://schemas.openxmlformats.org/officeDocument/2006/relationships" xmlns:p="http://schemas.openxmlformats.org/presentationml/2006/main">
  <p:tag name="SHAPENAME" val="5. Source"/>
</p:tagLst>
</file>

<file path=ppt/tags/tag1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1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7.xml><?xml version="1.0" encoding="utf-8"?>
<p:tagLst xmlns:a="http://schemas.openxmlformats.org/drawingml/2006/main" xmlns:r="http://schemas.openxmlformats.org/officeDocument/2006/relationships" xmlns:p="http://schemas.openxmlformats.org/presentationml/2006/main">
  <p:tag name="SHAPENAME" val="5. Source"/>
</p:tagLst>
</file>

<file path=ppt/tags/tag1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1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3.xml><?xml version="1.0" encoding="utf-8"?>
<p:tagLst xmlns:a="http://schemas.openxmlformats.org/drawingml/2006/main" xmlns:r="http://schemas.openxmlformats.org/officeDocument/2006/relationships" xmlns:p="http://schemas.openxmlformats.org/presentationml/2006/main">
  <p:tag name="SHAPENAME" val="5. Source"/>
</p:tagLst>
</file>

<file path=ppt/tags/tag1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1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80.xml><?xml version="1.0" encoding="utf-8"?>
<p:tagLst xmlns:a="http://schemas.openxmlformats.org/drawingml/2006/main" xmlns:r="http://schemas.openxmlformats.org/officeDocument/2006/relationships" xmlns:p="http://schemas.openxmlformats.org/presentationml/2006/main">
  <p:tag name="SHAPENAME" val="5. Source"/>
</p:tagLst>
</file>

<file path=ppt/tags/tag1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18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8.xml><?xml version="1.0" encoding="utf-8"?>
<p:tagLst xmlns:a="http://schemas.openxmlformats.org/drawingml/2006/main" xmlns:r="http://schemas.openxmlformats.org/officeDocument/2006/relationships" xmlns:p="http://schemas.openxmlformats.org/presentationml/2006/main">
  <p:tag name="SHAPENAME" val="5. Source"/>
</p:tagLst>
</file>

<file path=ppt/tags/tag1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19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6.xml><?xml version="1.0" encoding="utf-8"?>
<p:tagLst xmlns:a="http://schemas.openxmlformats.org/drawingml/2006/main" xmlns:r="http://schemas.openxmlformats.org/officeDocument/2006/relationships" xmlns:p="http://schemas.openxmlformats.org/presentationml/2006/main">
  <p:tag name="SHAPENAME" val="5. Source"/>
</p:tagLst>
</file>

<file path=ppt/tags/tag1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0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4.xml><?xml version="1.0" encoding="utf-8"?>
<p:tagLst xmlns:a="http://schemas.openxmlformats.org/drawingml/2006/main" xmlns:r="http://schemas.openxmlformats.org/officeDocument/2006/relationships" xmlns:p="http://schemas.openxmlformats.org/presentationml/2006/main">
  <p:tag name="SHAPENAME" val="5. Source"/>
</p:tagLst>
</file>

<file path=ppt/tags/tag2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2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2.xml><?xml version="1.0" encoding="utf-8"?>
<p:tagLst xmlns:a="http://schemas.openxmlformats.org/drawingml/2006/main" xmlns:r="http://schemas.openxmlformats.org/officeDocument/2006/relationships" xmlns:p="http://schemas.openxmlformats.org/presentationml/2006/main">
  <p:tag name="SHAPENAME" val="5. Source"/>
</p:tagLst>
</file>

<file path=ppt/tags/tag2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21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SHAPENAME" val="5. Source"/>
</p:tagLst>
</file>

<file path=ppt/tags/tag2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22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8.xml><?xml version="1.0" encoding="utf-8"?>
<p:tagLst xmlns:a="http://schemas.openxmlformats.org/drawingml/2006/main" xmlns:r="http://schemas.openxmlformats.org/officeDocument/2006/relationships" xmlns:p="http://schemas.openxmlformats.org/presentationml/2006/main">
  <p:tag name="SHAPENAME" val="5. Source"/>
</p:tagLst>
</file>

<file path=ppt/tags/tag2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23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4.xml><?xml version="1.0" encoding="utf-8"?>
<p:tagLst xmlns:a="http://schemas.openxmlformats.org/drawingml/2006/main" xmlns:r="http://schemas.openxmlformats.org/officeDocument/2006/relationships" xmlns:p="http://schemas.openxmlformats.org/presentationml/2006/main">
  <p:tag name="SHAPENAME" val="5. Source"/>
</p:tagLst>
</file>

<file path=ppt/tags/tag2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2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4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2.xml><?xml version="1.0" encoding="utf-8"?>
<p:tagLst xmlns:a="http://schemas.openxmlformats.org/drawingml/2006/main" xmlns:r="http://schemas.openxmlformats.org/officeDocument/2006/relationships" xmlns:p="http://schemas.openxmlformats.org/presentationml/2006/main">
  <p:tag name="SHAPENAME" val="5. Source"/>
</p:tagLst>
</file>

<file path=ppt/tags/tag2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2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xml><?xml version="1.0" encoding="utf-8"?>
<p:tagLst xmlns:a="http://schemas.openxmlformats.org/drawingml/2006/main" xmlns:r="http://schemas.openxmlformats.org/officeDocument/2006/relationships" xmlns:p="http://schemas.openxmlformats.org/presentationml/2006/main">
  <p:tag name="SHAPENAME" val="Subtitle"/>
</p:tagLst>
</file>

<file path=ppt/tags/tag250.xml><?xml version="1.0" encoding="utf-8"?>
<p:tagLst xmlns:a="http://schemas.openxmlformats.org/drawingml/2006/main" xmlns:r="http://schemas.openxmlformats.org/officeDocument/2006/relationships" xmlns:p="http://schemas.openxmlformats.org/presentationml/2006/main">
  <p:tag name="SHAPENAME" val="5. Source"/>
</p:tagLst>
</file>

<file path=ppt/tags/tag2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4.xml><?xml version="1.0" encoding="utf-8"?>
<p:tagLst xmlns:a="http://schemas.openxmlformats.org/drawingml/2006/main" xmlns:r="http://schemas.openxmlformats.org/officeDocument/2006/relationships" xmlns:p="http://schemas.openxmlformats.org/presentationml/2006/main">
  <p:tag name="SHAPENAME" val="5. Source"/>
</p:tagLst>
</file>

<file path=ppt/tags/tag2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SHAPENAME" val="5. Source"/>
</p:tagLst>
</file>

<file path=ppt/tags/tag258.xml><?xml version="1.0" encoding="utf-8"?>
<p:tagLst xmlns:a="http://schemas.openxmlformats.org/drawingml/2006/main" xmlns:r="http://schemas.openxmlformats.org/officeDocument/2006/relationships" xmlns:p="http://schemas.openxmlformats.org/presentationml/2006/main">
  <p:tag name="SLIDETYPE" val="TitleWhi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SHAPENAME" val="Titl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aXr8WAgv0cG5g7IkN2Kntg"/>
</p:tagLst>
</file>

<file path=ppt/tags/tag26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62.xml><?xml version="1.0" encoding="utf-8"?>
<p:tagLst xmlns:a="http://schemas.openxmlformats.org/drawingml/2006/main" xmlns:r="http://schemas.openxmlformats.org/officeDocument/2006/relationships" xmlns:p="http://schemas.openxmlformats.org/presentationml/2006/main">
  <p:tag name="SHAPENAME" val="Titl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iIwTF52Slk2EgA.x.bEETA"/>
  <p:tag name="SHAPENAME" val="2. Slide Title"/>
</p:tagLst>
</file>

<file path=ppt/tags/tag265.xml><?xml version="1.0" encoding="utf-8"?>
<p:tagLst xmlns:a="http://schemas.openxmlformats.org/drawingml/2006/main" xmlns:r="http://schemas.openxmlformats.org/officeDocument/2006/relationships" xmlns:p="http://schemas.openxmlformats.org/presentationml/2006/main">
  <p:tag name="NAME" val="CustomIcon"/>
</p:tagLst>
</file>

<file path=ppt/tags/tag266.xml><?xml version="1.0" encoding="utf-8"?>
<p:tagLst xmlns:a="http://schemas.openxmlformats.org/drawingml/2006/main" xmlns:r="http://schemas.openxmlformats.org/officeDocument/2006/relationships" xmlns:p="http://schemas.openxmlformats.org/presentationml/2006/main">
  <p:tag name="NAME" val="CustomIcon"/>
</p:tagLst>
</file>

<file path=ppt/tags/tag267.xml><?xml version="1.0" encoding="utf-8"?>
<p:tagLst xmlns:a="http://schemas.openxmlformats.org/drawingml/2006/main" xmlns:r="http://schemas.openxmlformats.org/officeDocument/2006/relationships" xmlns:p="http://schemas.openxmlformats.org/presentationml/2006/main">
  <p:tag name="ORIGLEFT" val="-7.874016E-05"/>
  <p:tag name="ORIGTOP" val="176"/>
  <p:tag name="ORIGHEIGHT" val="364"/>
  <p:tag name="ORIGWIDTH" val="259.5601"/>
</p:tagLst>
</file>

<file path=ppt/tags/tag268.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269.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SYMBOLNAME" val="Chevron"/>
  <p:tag name="NAME" val="Chevron"/>
</p:tagLst>
</file>

<file path=ppt/tags/tag271.xml><?xml version="1.0" encoding="utf-8"?>
<p:tagLst xmlns:a="http://schemas.openxmlformats.org/drawingml/2006/main" xmlns:r="http://schemas.openxmlformats.org/officeDocument/2006/relationships" xmlns:p="http://schemas.openxmlformats.org/presentationml/2006/main">
  <p:tag name="SYMBOLNAME" val="PlusSign"/>
  <p:tag name="CIRCLESTATUS" val="Blue"/>
  <p:tag name="NAME" val="PlusSignBlue"/>
</p:tagLst>
</file>

<file path=ppt/tags/tag272.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273.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274.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275.xml><?xml version="1.0" encoding="utf-8"?>
<p:tagLst xmlns:a="http://schemas.openxmlformats.org/drawingml/2006/main" xmlns:r="http://schemas.openxmlformats.org/officeDocument/2006/relationships" xmlns:p="http://schemas.openxmlformats.org/presentationml/2006/main">
  <p:tag name="NAME" val="CustomIcon"/>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278.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279.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80.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281.xml><?xml version="1.0" encoding="utf-8"?>
<p:tagLst xmlns:a="http://schemas.openxmlformats.org/drawingml/2006/main" xmlns:r="http://schemas.openxmlformats.org/officeDocument/2006/relationships" xmlns:p="http://schemas.openxmlformats.org/presentationml/2006/main">
  <p:tag name="SHAPENAME" val="5. Sourc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iIwTF52Slk2EgA.x.bEETA"/>
  <p:tag name="SHAPENAME" val="2. Slide Titl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h9_lzKAZk0qpd9Wm5GSUoA"/>
</p:tagLst>
</file>

<file path=ppt/tags/tag284.xml><?xml version="1.0" encoding="utf-8"?>
<p:tagLst xmlns:a="http://schemas.openxmlformats.org/drawingml/2006/main" xmlns:r="http://schemas.openxmlformats.org/officeDocument/2006/relationships" xmlns:p="http://schemas.openxmlformats.org/presentationml/2006/main">
  <p:tag name="NAME" val="TrackerNumWhite"/>
</p:tagLst>
</file>

<file path=ppt/tags/tag285.xml><?xml version="1.0" encoding="utf-8"?>
<p:tagLst xmlns:a="http://schemas.openxmlformats.org/drawingml/2006/main" xmlns:r="http://schemas.openxmlformats.org/officeDocument/2006/relationships" xmlns:p="http://schemas.openxmlformats.org/presentationml/2006/main">
  <p:tag name="NAME" val="TrackerNumWhite"/>
</p:tagLst>
</file>

<file path=ppt/tags/tag286.xml><?xml version="1.0" encoding="utf-8"?>
<p:tagLst xmlns:a="http://schemas.openxmlformats.org/drawingml/2006/main" xmlns:r="http://schemas.openxmlformats.org/officeDocument/2006/relationships" xmlns:p="http://schemas.openxmlformats.org/presentationml/2006/main">
  <p:tag name="NAME" val="TrackerNumWhi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TxfGMmxnlEecEZU9Iqv18A"/>
</p:tagLst>
</file>

<file path=ppt/tags/tag288.xml><?xml version="1.0" encoding="utf-8"?>
<p:tagLst xmlns:a="http://schemas.openxmlformats.org/drawingml/2006/main" xmlns:r="http://schemas.openxmlformats.org/officeDocument/2006/relationships" xmlns:p="http://schemas.openxmlformats.org/presentationml/2006/main">
  <p:tag name="NAME" val="TrackerNumWhite"/>
</p:tagLst>
</file>

<file path=ppt/tags/tag289.xml><?xml version="1.0" encoding="utf-8"?>
<p:tagLst xmlns:a="http://schemas.openxmlformats.org/drawingml/2006/main" xmlns:r="http://schemas.openxmlformats.org/officeDocument/2006/relationships" xmlns:p="http://schemas.openxmlformats.org/presentationml/2006/main">
  <p:tag name="NAME" val="TrackerNumWhite"/>
</p:tagLst>
</file>

<file path=ppt/tags/tag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e26WHUuYf0OsBuMTFpEPTQ"/>
</p:tagLst>
</file>

<file path=ppt/tags/tag291.xml><?xml version="1.0" encoding="utf-8"?>
<p:tagLst xmlns:a="http://schemas.openxmlformats.org/drawingml/2006/main" xmlns:r="http://schemas.openxmlformats.org/officeDocument/2006/relationships" xmlns:p="http://schemas.openxmlformats.org/presentationml/2006/main">
  <p:tag name="NAME" val="TrackerNumWhite"/>
</p:tagLst>
</file>

<file path=ppt/tags/tag292.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293.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294.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295.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296.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297.xml><?xml version="1.0" encoding="utf-8"?>
<p:tagLst xmlns:a="http://schemas.openxmlformats.org/drawingml/2006/main" xmlns:r="http://schemas.openxmlformats.org/officeDocument/2006/relationships" xmlns:p="http://schemas.openxmlformats.org/presentationml/2006/main">
  <p:tag name="NAME" val="GreyLineSeparatorStrong"/>
</p:tagLst>
</file>

<file path=ppt/tags/tag298.xml><?xml version="1.0" encoding="utf-8"?>
<p:tagLst xmlns:a="http://schemas.openxmlformats.org/drawingml/2006/main" xmlns:r="http://schemas.openxmlformats.org/officeDocument/2006/relationships" xmlns:p="http://schemas.openxmlformats.org/presentationml/2006/main">
  <p:tag name="ORIGLEFT" val="-55.08598"/>
  <p:tag name="ORIGTOP" val="310.6981"/>
  <p:tag name="ORIGHEIGHT" val="259.7539"/>
  <p:tag name="ORIGWIDTH" val="550.8361"/>
</p:tagLst>
</file>

<file path=ppt/tags/tag299.xml><?xml version="1.0" encoding="utf-8"?>
<p:tagLst xmlns:a="http://schemas.openxmlformats.org/drawingml/2006/main" xmlns:r="http://schemas.openxmlformats.org/officeDocument/2006/relationships" xmlns:p="http://schemas.openxmlformats.org/presentationml/2006/main">
  <p:tag name="NAME" val="CustomIcon"/>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0.xml><?xml version="1.0" encoding="utf-8"?>
<p:tagLst xmlns:a="http://schemas.openxmlformats.org/drawingml/2006/main" xmlns:r="http://schemas.openxmlformats.org/officeDocument/2006/relationships" xmlns:p="http://schemas.openxmlformats.org/presentationml/2006/main">
  <p:tag name="NAME" val="CustomIcon"/>
</p:tagLst>
</file>

<file path=ppt/tags/tag301.xml><?xml version="1.0" encoding="utf-8"?>
<p:tagLst xmlns:a="http://schemas.openxmlformats.org/drawingml/2006/main" xmlns:r="http://schemas.openxmlformats.org/officeDocument/2006/relationships" xmlns:p="http://schemas.openxmlformats.org/presentationml/2006/main">
  <p:tag name="NAME" val="CustomIcon"/>
</p:tagLst>
</file>

<file path=ppt/tags/tag302.xml><?xml version="1.0" encoding="utf-8"?>
<p:tagLst xmlns:a="http://schemas.openxmlformats.org/drawingml/2006/main" xmlns:r="http://schemas.openxmlformats.org/officeDocument/2006/relationships" xmlns:p="http://schemas.openxmlformats.org/presentationml/2006/main">
  <p:tag name="NAME" val="CustomIcon"/>
</p:tagLst>
</file>

<file path=ppt/tags/tag303.xml><?xml version="1.0" encoding="utf-8"?>
<p:tagLst xmlns:a="http://schemas.openxmlformats.org/drawingml/2006/main" xmlns:r="http://schemas.openxmlformats.org/officeDocument/2006/relationships" xmlns:p="http://schemas.openxmlformats.org/presentationml/2006/main">
  <p:tag name="NAME" val="CustomIcon"/>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SOYoMHbVo0qlJHHMg9qTE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wgOS_AZPpUm.F59PR5Pto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Qbi6VPiWwkidzfWEvHL3Q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309.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31.xml><?xml version="1.0" encoding="utf-8"?>
<p:tagLst xmlns:a="http://schemas.openxmlformats.org/drawingml/2006/main" xmlns:r="http://schemas.openxmlformats.org/officeDocument/2006/relationships" xmlns:p="http://schemas.openxmlformats.org/presentationml/2006/main">
  <p:tag name="SHAPENAME" val="5. Source"/>
</p:tagLst>
</file>

<file path=ppt/tags/tag310.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311.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312.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313.xml><?xml version="1.0" encoding="utf-8"?>
<p:tagLst xmlns:a="http://schemas.openxmlformats.org/drawingml/2006/main" xmlns:r="http://schemas.openxmlformats.org/officeDocument/2006/relationships" xmlns:p="http://schemas.openxmlformats.org/presentationml/2006/main">
  <p:tag name="NAME" val="4. Footnote"/>
</p:tagLst>
</file>

<file path=ppt/tags/tag314.xml><?xml version="1.0" encoding="utf-8"?>
<p:tagLst xmlns:a="http://schemas.openxmlformats.org/drawingml/2006/main" xmlns:r="http://schemas.openxmlformats.org/officeDocument/2006/relationships" xmlns:p="http://schemas.openxmlformats.org/presentationml/2006/main">
  <p:tag name="SHAPENAME" val="5. Sourc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iIwTF52Slk2EgA.x.bEETA"/>
  <p:tag name="SHAPENAME" val="2. Slide Title"/>
</p:tagLst>
</file>

<file path=ppt/tags/tag316.xml><?xml version="1.0" encoding="utf-8"?>
<p:tagLst xmlns:a="http://schemas.openxmlformats.org/drawingml/2006/main" xmlns:r="http://schemas.openxmlformats.org/officeDocument/2006/relationships" xmlns:p="http://schemas.openxmlformats.org/presentationml/2006/main">
  <p:tag name="NAME" val="CustomIcon"/>
</p:tagLst>
</file>

<file path=ppt/tags/tag317.xml><?xml version="1.0" encoding="utf-8"?>
<p:tagLst xmlns:a="http://schemas.openxmlformats.org/drawingml/2006/main" xmlns:r="http://schemas.openxmlformats.org/officeDocument/2006/relationships" xmlns:p="http://schemas.openxmlformats.org/presentationml/2006/main">
  <p:tag name="NAME" val="CustomIcon"/>
</p:tagLst>
</file>

<file path=ppt/tags/tag318.xml><?xml version="1.0" encoding="utf-8"?>
<p:tagLst xmlns:a="http://schemas.openxmlformats.org/drawingml/2006/main" xmlns:r="http://schemas.openxmlformats.org/officeDocument/2006/relationships" xmlns:p="http://schemas.openxmlformats.org/presentationml/2006/main">
  <p:tag name="NAME" val="CustomIcon"/>
</p:tagLst>
</file>

<file path=ppt/tags/tag319.xml><?xml version="1.0" encoding="utf-8"?>
<p:tagLst xmlns:a="http://schemas.openxmlformats.org/drawingml/2006/main" xmlns:r="http://schemas.openxmlformats.org/officeDocument/2006/relationships" xmlns:p="http://schemas.openxmlformats.org/presentationml/2006/main">
  <p:tag name="NAME" val="CustomIcon"/>
</p:tagLst>
</file>

<file path=ppt/tags/tag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0.xml><?xml version="1.0" encoding="utf-8"?>
<p:tagLst xmlns:a="http://schemas.openxmlformats.org/drawingml/2006/main" xmlns:r="http://schemas.openxmlformats.org/officeDocument/2006/relationships" xmlns:p="http://schemas.openxmlformats.org/presentationml/2006/main">
  <p:tag name="NAME" val="CustomIcon"/>
</p:tagLst>
</file>

<file path=ppt/tags/tag321.xml><?xml version="1.0" encoding="utf-8"?>
<p:tagLst xmlns:a="http://schemas.openxmlformats.org/drawingml/2006/main" xmlns:r="http://schemas.openxmlformats.org/officeDocument/2006/relationships" xmlns:p="http://schemas.openxmlformats.org/presentationml/2006/main">
  <p:tag name="SYMBOLNAME" val="LineArrow"/>
  <p:tag name="NAME" val="LineArrow"/>
</p:tagLst>
</file>

<file path=ppt/tags/tag322.xml><?xml version="1.0" encoding="utf-8"?>
<p:tagLst xmlns:a="http://schemas.openxmlformats.org/drawingml/2006/main" xmlns:r="http://schemas.openxmlformats.org/officeDocument/2006/relationships" xmlns:p="http://schemas.openxmlformats.org/presentationml/2006/main">
  <p:tag name="SYMBOLNAME" val="LineArrow"/>
  <p:tag name="NAME" val="LineArrow"/>
</p:tagLst>
</file>

<file path=ppt/tags/tag323.xml><?xml version="1.0" encoding="utf-8"?>
<p:tagLst xmlns:a="http://schemas.openxmlformats.org/drawingml/2006/main" xmlns:r="http://schemas.openxmlformats.org/officeDocument/2006/relationships" xmlns:p="http://schemas.openxmlformats.org/presentationml/2006/main">
  <p:tag name="SYMBOLNAME" val="LineArrow"/>
  <p:tag name="NAME" val="LineArrow"/>
</p:tagLst>
</file>

<file path=ppt/tags/tag324.xml><?xml version="1.0" encoding="utf-8"?>
<p:tagLst xmlns:a="http://schemas.openxmlformats.org/drawingml/2006/main" xmlns:r="http://schemas.openxmlformats.org/officeDocument/2006/relationships" xmlns:p="http://schemas.openxmlformats.org/presentationml/2006/main">
  <p:tag name="SYMBOLNAME" val="LineArrow"/>
  <p:tag name="NAME" val="LineArrow"/>
</p:tagLst>
</file>

<file path=ppt/tags/tag325.xml><?xml version="1.0" encoding="utf-8"?>
<p:tagLst xmlns:a="http://schemas.openxmlformats.org/drawingml/2006/main" xmlns:r="http://schemas.openxmlformats.org/officeDocument/2006/relationships" xmlns:p="http://schemas.openxmlformats.org/presentationml/2006/main">
  <p:tag name="SYMBOLNAME" val="LineArrow"/>
  <p:tag name="NAME" val="LineArro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8.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329.xml><?xml version="1.0" encoding="utf-8"?>
<p:tagLst xmlns:a="http://schemas.openxmlformats.org/drawingml/2006/main" xmlns:r="http://schemas.openxmlformats.org/officeDocument/2006/relationships" xmlns:p="http://schemas.openxmlformats.org/presentationml/2006/main">
  <p:tag name="SHAPENAME" val="5. Source"/>
</p:tagLst>
</file>

<file path=ppt/tags/tag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0.xml><?xml version="1.0" encoding="utf-8"?>
<p:tagLst xmlns:a="http://schemas.openxmlformats.org/drawingml/2006/main" xmlns:r="http://schemas.openxmlformats.org/officeDocument/2006/relationships" xmlns:p="http://schemas.openxmlformats.org/presentationml/2006/main">
  <p:tag name="NAME" val="4. Footnote"/>
</p:tagLst>
</file>

<file path=ppt/tags/tag331.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334.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335.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336.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337.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338.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339.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SHAPENAME" val="5. Sourc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iIwTF52Slk2EgA.x.bEETA"/>
  <p:tag name="SHAPENAME" val="2. Slide Titl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e26WHUuYf0OsBuMTFpEPT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e26WHUuYf0OsBuMTFpEPT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TxfGMmxnlEecEZU9Iqv18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TxfGMmxnlEecEZU9Iqv18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TxfGMmxnlEecEZU9Iqv18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TxfGMmxnlEecEZU9Iqv18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TxfGMmxnlEecEZU9Iqv18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TxfGMmxnlEecEZU9Iqv18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50.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351.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352.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353.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354.xml><?xml version="1.0" encoding="utf-8"?>
<p:tagLst xmlns:a="http://schemas.openxmlformats.org/drawingml/2006/main" xmlns:r="http://schemas.openxmlformats.org/officeDocument/2006/relationships" xmlns:p="http://schemas.openxmlformats.org/presentationml/2006/main">
  <p:tag name="NAME" val="4. Footnote"/>
</p:tagLst>
</file>

<file path=ppt/tags/tag355.xml><?xml version="1.0" encoding="utf-8"?>
<p:tagLst xmlns:a="http://schemas.openxmlformats.org/drawingml/2006/main" xmlns:r="http://schemas.openxmlformats.org/officeDocument/2006/relationships" xmlns:p="http://schemas.openxmlformats.org/presentationml/2006/main">
  <p:tag name="SYMBOLNAME" val="QuotationMarks"/>
  <p:tag name="CIRCLESTATUS" val="Blue"/>
  <p:tag name="NAME" val="QuotationMarksBlue"/>
</p:tagLst>
</file>

<file path=ppt/tags/tag356.xml><?xml version="1.0" encoding="utf-8"?>
<p:tagLst xmlns:a="http://schemas.openxmlformats.org/drawingml/2006/main" xmlns:r="http://schemas.openxmlformats.org/officeDocument/2006/relationships" xmlns:p="http://schemas.openxmlformats.org/presentationml/2006/main">
  <p:tag name="SYMBOLNAME" val="QuotationMarks"/>
  <p:tag name="CIRCLESTATUS" val="Blue"/>
  <p:tag name="NAME" val="QuotationMarksBlue"/>
</p:tagLst>
</file>

<file path=ppt/tags/tag357.xml><?xml version="1.0" encoding="utf-8"?>
<p:tagLst xmlns:a="http://schemas.openxmlformats.org/drawingml/2006/main" xmlns:r="http://schemas.openxmlformats.org/officeDocument/2006/relationships" xmlns:p="http://schemas.openxmlformats.org/presentationml/2006/main">
  <p:tag name="SYMBOLNAME" val="QuotationMarks"/>
  <p:tag name="CIRCLESTATUS" val="Blue"/>
  <p:tag name="NAME" val="QuotationMarksBlu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60.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361.xml><?xml version="1.0" encoding="utf-8"?>
<p:tagLst xmlns:a="http://schemas.openxmlformats.org/drawingml/2006/main" xmlns:r="http://schemas.openxmlformats.org/officeDocument/2006/relationships" xmlns:p="http://schemas.openxmlformats.org/presentationml/2006/main">
  <p:tag name="SYMBOLNAME" val="Chevron"/>
  <p:tag name="CIRCLESTATUS" val="White"/>
  <p:tag name="NAME" val="ChevronWhite"/>
</p:tagLst>
</file>

<file path=ppt/tags/tag362.xml><?xml version="1.0" encoding="utf-8"?>
<p:tagLst xmlns:a="http://schemas.openxmlformats.org/drawingml/2006/main" xmlns:r="http://schemas.openxmlformats.org/officeDocument/2006/relationships" xmlns:p="http://schemas.openxmlformats.org/presentationml/2006/main">
  <p:tag name="ORIGLEFT" val="284.6889"/>
  <p:tag name="ORIGTOP" val="368.0505"/>
  <p:tag name="ORIGHEIGHT" val="158.7613"/>
  <p:tag name="ORIGWIDTH" val="383.9127"/>
</p:tagLst>
</file>

<file path=ppt/tags/tag363.xml><?xml version="1.0" encoding="utf-8"?>
<p:tagLst xmlns:a="http://schemas.openxmlformats.org/drawingml/2006/main" xmlns:r="http://schemas.openxmlformats.org/officeDocument/2006/relationships" xmlns:p="http://schemas.openxmlformats.org/presentationml/2006/main">
  <p:tag name="SHAPENAME" val="5. Source"/>
</p:tagLst>
</file>

<file path=ppt/tags/tag364.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365.xml><?xml version="1.0" encoding="utf-8"?>
<p:tagLst xmlns:a="http://schemas.openxmlformats.org/drawingml/2006/main" xmlns:r="http://schemas.openxmlformats.org/officeDocument/2006/relationships" xmlns:p="http://schemas.openxmlformats.org/presentationml/2006/main">
  <p:tag name="SYMBOLNAME" val="Chevron"/>
  <p:tag name="CIRCLESTATUS" val="White"/>
  <p:tag name="NAME" val="ChevronWhite"/>
</p:tagLst>
</file>

<file path=ppt/tags/tag366.xml><?xml version="1.0" encoding="utf-8"?>
<p:tagLst xmlns:a="http://schemas.openxmlformats.org/drawingml/2006/main" xmlns:r="http://schemas.openxmlformats.org/officeDocument/2006/relationships" xmlns:p="http://schemas.openxmlformats.org/presentationml/2006/main">
  <p:tag name="NAME" val="BigStat"/>
</p:tagLst>
</file>

<file path=ppt/tags/tag367.xml><?xml version="1.0" encoding="utf-8"?>
<p:tagLst xmlns:a="http://schemas.openxmlformats.org/drawingml/2006/main" xmlns:r="http://schemas.openxmlformats.org/officeDocument/2006/relationships" xmlns:p="http://schemas.openxmlformats.org/presentationml/2006/main">
  <p:tag name="NAME" val="BigStat"/>
</p:tagLst>
</file>

<file path=ppt/tags/tag368.xml><?xml version="1.0" encoding="utf-8"?>
<p:tagLst xmlns:a="http://schemas.openxmlformats.org/drawingml/2006/main" xmlns:r="http://schemas.openxmlformats.org/officeDocument/2006/relationships" xmlns:p="http://schemas.openxmlformats.org/presentationml/2006/main">
  <p:tag name="NAME" val="BigStat"/>
</p:tagLst>
</file>

<file path=ppt/tags/tag369.xml><?xml version="1.0" encoding="utf-8"?>
<p:tagLst xmlns:a="http://schemas.openxmlformats.org/drawingml/2006/main" xmlns:r="http://schemas.openxmlformats.org/officeDocument/2006/relationships" xmlns:p="http://schemas.openxmlformats.org/presentationml/2006/main">
  <p:tag name="NAME" val="BigStat"/>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0.xml><?xml version="1.0" encoding="utf-8"?>
<p:tagLst xmlns:a="http://schemas.openxmlformats.org/drawingml/2006/main" xmlns:r="http://schemas.openxmlformats.org/officeDocument/2006/relationships" xmlns:p="http://schemas.openxmlformats.org/presentationml/2006/main">
  <p:tag name="NAME" val="BigStat"/>
</p:tagLst>
</file>

<file path=ppt/tags/tag371.xml><?xml version="1.0" encoding="utf-8"?>
<p:tagLst xmlns:a="http://schemas.openxmlformats.org/drawingml/2006/main" xmlns:r="http://schemas.openxmlformats.org/officeDocument/2006/relationships" xmlns:p="http://schemas.openxmlformats.org/presentationml/2006/main">
  <p:tag name="NAME" val="BigStat"/>
</p:tagLst>
</file>

<file path=ppt/tags/tag372.xml><?xml version="1.0" encoding="utf-8"?>
<p:tagLst xmlns:a="http://schemas.openxmlformats.org/drawingml/2006/main" xmlns:r="http://schemas.openxmlformats.org/officeDocument/2006/relationships" xmlns:p="http://schemas.openxmlformats.org/presentationml/2006/main">
  <p:tag name="LOGOFINDERIMAGE" val="1"/>
</p:tagLst>
</file>

<file path=ppt/tags/tag373.xml><?xml version="1.0" encoding="utf-8"?>
<p:tagLst xmlns:a="http://schemas.openxmlformats.org/drawingml/2006/main" xmlns:r="http://schemas.openxmlformats.org/officeDocument/2006/relationships" xmlns:p="http://schemas.openxmlformats.org/presentationml/2006/main">
  <p:tag name="LOGOFINDERIMAGE" val="1"/>
</p:tagLst>
</file>

<file path=ppt/tags/tag374.xml><?xml version="1.0" encoding="utf-8"?>
<p:tagLst xmlns:a="http://schemas.openxmlformats.org/drawingml/2006/main" xmlns:r="http://schemas.openxmlformats.org/officeDocument/2006/relationships" xmlns:p="http://schemas.openxmlformats.org/presentationml/2006/main">
  <p:tag name="LOGOFINDERIMAGE" val="1"/>
</p:tagLst>
</file>

<file path=ppt/tags/tag375.xml><?xml version="1.0" encoding="utf-8"?>
<p:tagLst xmlns:a="http://schemas.openxmlformats.org/drawingml/2006/main" xmlns:r="http://schemas.openxmlformats.org/officeDocument/2006/relationships" xmlns:p="http://schemas.openxmlformats.org/presentationml/2006/main">
  <p:tag name="LOGOFINDERIMAGE" val="1"/>
</p:tagLst>
</file>

<file path=ppt/tags/tag376.xml><?xml version="1.0" encoding="utf-8"?>
<p:tagLst xmlns:a="http://schemas.openxmlformats.org/drawingml/2006/main" xmlns:r="http://schemas.openxmlformats.org/officeDocument/2006/relationships" xmlns:p="http://schemas.openxmlformats.org/presentationml/2006/main">
  <p:tag name="LOGOFINDERIMAGE" val="1"/>
</p:tagLst>
</file>

<file path=ppt/tags/tag377.xml><?xml version="1.0" encoding="utf-8"?>
<p:tagLst xmlns:a="http://schemas.openxmlformats.org/drawingml/2006/main" xmlns:r="http://schemas.openxmlformats.org/officeDocument/2006/relationships" xmlns:p="http://schemas.openxmlformats.org/presentationml/2006/main">
  <p:tag name="LOGOFINDERIMAGE" val="1"/>
</p:tagLst>
</file>

<file path=ppt/tags/tag378.xml><?xml version="1.0" encoding="utf-8"?>
<p:tagLst xmlns:a="http://schemas.openxmlformats.org/drawingml/2006/main" xmlns:r="http://schemas.openxmlformats.org/officeDocument/2006/relationships" xmlns:p="http://schemas.openxmlformats.org/presentationml/2006/main">
  <p:tag name="LOGOFINDERIMAGE" val="1"/>
</p:tagLst>
</file>

<file path=ppt/tags/tag379.xml><?xml version="1.0" encoding="utf-8"?>
<p:tagLst xmlns:a="http://schemas.openxmlformats.org/drawingml/2006/main" xmlns:r="http://schemas.openxmlformats.org/officeDocument/2006/relationships" xmlns:p="http://schemas.openxmlformats.org/presentationml/2006/main">
  <p:tag name="LOGOFINDERIMAGE" val="1"/>
</p:tagLst>
</file>

<file path=ppt/tags/tag38.xml><?xml version="1.0" encoding="utf-8"?>
<p:tagLst xmlns:a="http://schemas.openxmlformats.org/drawingml/2006/main" xmlns:r="http://schemas.openxmlformats.org/officeDocument/2006/relationships" xmlns:p="http://schemas.openxmlformats.org/presentationml/2006/main">
  <p:tag name="SHAPENAME" val="5. Source"/>
</p:tagLst>
</file>

<file path=ppt/tags/tag380.xml><?xml version="1.0" encoding="utf-8"?>
<p:tagLst xmlns:a="http://schemas.openxmlformats.org/drawingml/2006/main" xmlns:r="http://schemas.openxmlformats.org/officeDocument/2006/relationships" xmlns:p="http://schemas.openxmlformats.org/presentationml/2006/main">
  <p:tag name="LOGOFINDERIMAGE" val="1"/>
</p:tagLst>
</file>

<file path=ppt/tags/tag381.xml><?xml version="1.0" encoding="utf-8"?>
<p:tagLst xmlns:a="http://schemas.openxmlformats.org/drawingml/2006/main" xmlns:r="http://schemas.openxmlformats.org/officeDocument/2006/relationships" xmlns:p="http://schemas.openxmlformats.org/presentationml/2006/main">
  <p:tag name="SYMBOLNAME" val="Checkmark"/>
  <p:tag name="CIRCLESTATUS" val="Blue"/>
  <p:tag name="NAME" val="CheckmarkBlue"/>
</p:tagLst>
</file>

<file path=ppt/tags/tag382.xml><?xml version="1.0" encoding="utf-8"?>
<p:tagLst xmlns:a="http://schemas.openxmlformats.org/drawingml/2006/main" xmlns:r="http://schemas.openxmlformats.org/officeDocument/2006/relationships" xmlns:p="http://schemas.openxmlformats.org/presentationml/2006/main">
  <p:tag name="SYMBOLNAME" val="Checkmark"/>
  <p:tag name="CIRCLESTATUS" val="Blue"/>
  <p:tag name="NAME" val="CheckmarkBlue"/>
</p:tagLst>
</file>

<file path=ppt/tags/tag383.xml><?xml version="1.0" encoding="utf-8"?>
<p:tagLst xmlns:a="http://schemas.openxmlformats.org/drawingml/2006/main" xmlns:r="http://schemas.openxmlformats.org/officeDocument/2006/relationships" xmlns:p="http://schemas.openxmlformats.org/presentationml/2006/main">
  <p:tag name="SYMBOLNAME" val="Checkmark"/>
  <p:tag name="CIRCLESTATUS" val="Blue"/>
  <p:tag name="NAME" val="CheckmarkBlu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NAME" val="BigStat"/>
</p:tagLst>
</file>

<file path=ppt/tags/tag386.xml><?xml version="1.0" encoding="utf-8"?>
<p:tagLst xmlns:a="http://schemas.openxmlformats.org/drawingml/2006/main" xmlns:r="http://schemas.openxmlformats.org/officeDocument/2006/relationships" xmlns:p="http://schemas.openxmlformats.org/presentationml/2006/main">
  <p:tag name="NAME" val="BigStat"/>
</p:tagLst>
</file>

<file path=ppt/tags/tag387.xml><?xml version="1.0" encoding="utf-8"?>
<p:tagLst xmlns:a="http://schemas.openxmlformats.org/drawingml/2006/main" xmlns:r="http://schemas.openxmlformats.org/officeDocument/2006/relationships" xmlns:p="http://schemas.openxmlformats.org/presentationml/2006/main">
  <p:tag name="NAME" val="BigStat"/>
</p:tagLst>
</file>

<file path=ppt/tags/tag388.xml><?xml version="1.0" encoding="utf-8"?>
<p:tagLst xmlns:a="http://schemas.openxmlformats.org/drawingml/2006/main" xmlns:r="http://schemas.openxmlformats.org/officeDocument/2006/relationships" xmlns:p="http://schemas.openxmlformats.org/presentationml/2006/main">
  <p:tag name="NAME" val="BigStat"/>
</p:tagLst>
</file>

<file path=ppt/tags/tag389.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0.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391.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392.xml><?xml version="1.0" encoding="utf-8"?>
<p:tagLst xmlns:a="http://schemas.openxmlformats.org/drawingml/2006/main" xmlns:r="http://schemas.openxmlformats.org/officeDocument/2006/relationships" xmlns:p="http://schemas.openxmlformats.org/presentationml/2006/main">
  <p:tag name="SYMBOLNAME" val="Chevron"/>
  <p:tag name="CIRCLESTATUS" val="White"/>
  <p:tag name="NAME" val="ChevronWhite"/>
</p:tagLst>
</file>

<file path=ppt/tags/tag393.xml><?xml version="1.0" encoding="utf-8"?>
<p:tagLst xmlns:a="http://schemas.openxmlformats.org/drawingml/2006/main" xmlns:r="http://schemas.openxmlformats.org/officeDocument/2006/relationships" xmlns:p="http://schemas.openxmlformats.org/presentationml/2006/main">
  <p:tag name="SYMBOLNAME" val="Chevron"/>
  <p:tag name="CIRCLESTATUS" val="White"/>
  <p:tag name="NAME" val="ChevronWhite"/>
</p:tagLst>
</file>

<file path=ppt/tags/tag394.xml><?xml version="1.0" encoding="utf-8"?>
<p:tagLst xmlns:a="http://schemas.openxmlformats.org/drawingml/2006/main" xmlns:r="http://schemas.openxmlformats.org/officeDocument/2006/relationships" xmlns:p="http://schemas.openxmlformats.org/presentationml/2006/main">
  <p:tag name="ORIGLEFT" val="284.6889"/>
  <p:tag name="ORIGTOP" val="368.0505"/>
  <p:tag name="ORIGHEIGHT" val="158.7613"/>
  <p:tag name="ORIGWIDTH" val="383.9127"/>
</p:tagLst>
</file>

<file path=ppt/tags/tag395.xml><?xml version="1.0" encoding="utf-8"?>
<p:tagLst xmlns:a="http://schemas.openxmlformats.org/drawingml/2006/main" xmlns:r="http://schemas.openxmlformats.org/officeDocument/2006/relationships" xmlns:p="http://schemas.openxmlformats.org/presentationml/2006/main">
  <p:tag name="NAME" val="BigStat"/>
</p:tagLst>
</file>

<file path=ppt/tags/tag396.xml><?xml version="1.0" encoding="utf-8"?>
<p:tagLst xmlns:a="http://schemas.openxmlformats.org/drawingml/2006/main" xmlns:r="http://schemas.openxmlformats.org/officeDocument/2006/relationships" xmlns:p="http://schemas.openxmlformats.org/presentationml/2006/main">
  <p:tag name="NAME" val="BigStat"/>
</p:tagLst>
</file>

<file path=ppt/tags/tag397.xml><?xml version="1.0" encoding="utf-8"?>
<p:tagLst xmlns:a="http://schemas.openxmlformats.org/drawingml/2006/main" xmlns:r="http://schemas.openxmlformats.org/officeDocument/2006/relationships" xmlns:p="http://schemas.openxmlformats.org/presentationml/2006/main">
  <p:tag name="SHAPENAME" val="5. Source"/>
</p:tagLst>
</file>

<file path=ppt/tags/tag398.xml><?xml version="1.0" encoding="utf-8"?>
<p:tagLst xmlns:a="http://schemas.openxmlformats.org/drawingml/2006/main" xmlns:r="http://schemas.openxmlformats.org/officeDocument/2006/relationships" xmlns:p="http://schemas.openxmlformats.org/presentationml/2006/main">
  <p:tag name="LOGOFINDERIMAGE" val="1"/>
</p:tagLst>
</file>

<file path=ppt/tags/tag399.xml><?xml version="1.0" encoding="utf-8"?>
<p:tagLst xmlns:a="http://schemas.openxmlformats.org/drawingml/2006/main" xmlns:r="http://schemas.openxmlformats.org/officeDocument/2006/relationships" xmlns:p="http://schemas.openxmlformats.org/presentationml/2006/main">
  <p:tag name="LOGOFINDERIMAGE" val="1"/>
</p:tagLst>
</file>

<file path=ppt/tags/tag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0.xml><?xml version="1.0" encoding="utf-8"?>
<p:tagLst xmlns:a="http://schemas.openxmlformats.org/drawingml/2006/main" xmlns:r="http://schemas.openxmlformats.org/officeDocument/2006/relationships" xmlns:p="http://schemas.openxmlformats.org/presentationml/2006/main">
  <p:tag name="LOGOFINDERIMAGE" val="1"/>
</p:tagLst>
</file>

<file path=ppt/tags/tag401.xml><?xml version="1.0" encoding="utf-8"?>
<p:tagLst xmlns:a="http://schemas.openxmlformats.org/drawingml/2006/main" xmlns:r="http://schemas.openxmlformats.org/officeDocument/2006/relationships" xmlns:p="http://schemas.openxmlformats.org/presentationml/2006/main">
  <p:tag name="SYMBOLNAME" val="Checkmark"/>
  <p:tag name="CIRCLESTATUS" val="Blue"/>
  <p:tag name="NAME" val="CheckmarkBlue"/>
</p:tagLst>
</file>

<file path=ppt/tags/tag402.xml><?xml version="1.0" encoding="utf-8"?>
<p:tagLst xmlns:a="http://schemas.openxmlformats.org/drawingml/2006/main" xmlns:r="http://schemas.openxmlformats.org/officeDocument/2006/relationships" xmlns:p="http://schemas.openxmlformats.org/presentationml/2006/main">
  <p:tag name="SYMBOLNAME" val="Checkmark"/>
  <p:tag name="CIRCLESTATUS" val="Blue"/>
  <p:tag name="NAME" val="CheckmarkBlue"/>
</p:tagLst>
</file>

<file path=ppt/tags/tag403.xml><?xml version="1.0" encoding="utf-8"?>
<p:tagLst xmlns:a="http://schemas.openxmlformats.org/drawingml/2006/main" xmlns:r="http://schemas.openxmlformats.org/officeDocument/2006/relationships" xmlns:p="http://schemas.openxmlformats.org/presentationml/2006/main">
  <p:tag name="SYMBOLNAME" val="Checkmark"/>
  <p:tag name="CIRCLESTATUS" val="Blue"/>
  <p:tag name="NAME" val="CheckmarkBlu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NAME" val="BigStat"/>
</p:tagLst>
</file>

<file path=ppt/tags/tag406.xml><?xml version="1.0" encoding="utf-8"?>
<p:tagLst xmlns:a="http://schemas.openxmlformats.org/drawingml/2006/main" xmlns:r="http://schemas.openxmlformats.org/officeDocument/2006/relationships" xmlns:p="http://schemas.openxmlformats.org/presentationml/2006/main">
  <p:tag name="NAME" val="BigStat"/>
</p:tagLst>
</file>

<file path=ppt/tags/tag407.xml><?xml version="1.0" encoding="utf-8"?>
<p:tagLst xmlns:a="http://schemas.openxmlformats.org/drawingml/2006/main" xmlns:r="http://schemas.openxmlformats.org/officeDocument/2006/relationships" xmlns:p="http://schemas.openxmlformats.org/presentationml/2006/main">
  <p:tag name="NAME" val="BigStat"/>
</p:tagLst>
</file>

<file path=ppt/tags/tag408.xml><?xml version="1.0" encoding="utf-8"?>
<p:tagLst xmlns:a="http://schemas.openxmlformats.org/drawingml/2006/main" xmlns:r="http://schemas.openxmlformats.org/officeDocument/2006/relationships" xmlns:p="http://schemas.openxmlformats.org/presentationml/2006/main">
  <p:tag name="NAME" val="BigStat"/>
</p:tagLst>
</file>

<file path=ppt/tags/tag409.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11.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12.xml><?xml version="1.0" encoding="utf-8"?>
<p:tagLst xmlns:a="http://schemas.openxmlformats.org/drawingml/2006/main" xmlns:r="http://schemas.openxmlformats.org/officeDocument/2006/relationships" xmlns:p="http://schemas.openxmlformats.org/presentationml/2006/main">
  <p:tag name="SYMBOLNAME" val="Chevron"/>
  <p:tag name="CIRCLESTATUS" val="White"/>
  <p:tag name="NAME" val="ChevronWhite"/>
</p:tagLst>
</file>

<file path=ppt/tags/tag413.xml><?xml version="1.0" encoding="utf-8"?>
<p:tagLst xmlns:a="http://schemas.openxmlformats.org/drawingml/2006/main" xmlns:r="http://schemas.openxmlformats.org/officeDocument/2006/relationships" xmlns:p="http://schemas.openxmlformats.org/presentationml/2006/main">
  <p:tag name="SYMBOLNAME" val="Chevron"/>
  <p:tag name="CIRCLESTATUS" val="White"/>
  <p:tag name="NAME" val="ChevronWhite"/>
</p:tagLst>
</file>

<file path=ppt/tags/tag414.xml><?xml version="1.0" encoding="utf-8"?>
<p:tagLst xmlns:a="http://schemas.openxmlformats.org/drawingml/2006/main" xmlns:r="http://schemas.openxmlformats.org/officeDocument/2006/relationships" xmlns:p="http://schemas.openxmlformats.org/presentationml/2006/main">
  <p:tag name="ORIGLEFT" val="284.6889"/>
  <p:tag name="ORIGTOP" val="368.0505"/>
  <p:tag name="ORIGHEIGHT" val="158.7613"/>
  <p:tag name="ORIGWIDTH" val="383.9127"/>
</p:tagLst>
</file>

<file path=ppt/tags/tag415.xml><?xml version="1.0" encoding="utf-8"?>
<p:tagLst xmlns:a="http://schemas.openxmlformats.org/drawingml/2006/main" xmlns:r="http://schemas.openxmlformats.org/officeDocument/2006/relationships" xmlns:p="http://schemas.openxmlformats.org/presentationml/2006/main">
  <p:tag name="NAME" val="BigStat"/>
</p:tagLst>
</file>

<file path=ppt/tags/tag416.xml><?xml version="1.0" encoding="utf-8"?>
<p:tagLst xmlns:a="http://schemas.openxmlformats.org/drawingml/2006/main" xmlns:r="http://schemas.openxmlformats.org/officeDocument/2006/relationships" xmlns:p="http://schemas.openxmlformats.org/presentationml/2006/main">
  <p:tag name="NAME" val="BigStat"/>
</p:tagLst>
</file>

<file path=ppt/tags/tag417.xml><?xml version="1.0" encoding="utf-8"?>
<p:tagLst xmlns:a="http://schemas.openxmlformats.org/drawingml/2006/main" xmlns:r="http://schemas.openxmlformats.org/officeDocument/2006/relationships" xmlns:p="http://schemas.openxmlformats.org/presentationml/2006/main">
  <p:tag name="SHAPENAME" val="5. Source"/>
</p:tagLst>
</file>

<file path=ppt/tags/tag418.xml><?xml version="1.0" encoding="utf-8"?>
<p:tagLst xmlns:a="http://schemas.openxmlformats.org/drawingml/2006/main" xmlns:r="http://schemas.openxmlformats.org/officeDocument/2006/relationships" xmlns:p="http://schemas.openxmlformats.org/presentationml/2006/main">
  <p:tag name="LOGOFINDERIMAGE" val="1"/>
</p:tagLst>
</file>

<file path=ppt/tags/tag419.xml><?xml version="1.0" encoding="utf-8"?>
<p:tagLst xmlns:a="http://schemas.openxmlformats.org/drawingml/2006/main" xmlns:r="http://schemas.openxmlformats.org/officeDocument/2006/relationships" xmlns:p="http://schemas.openxmlformats.org/presentationml/2006/main">
  <p:tag name="LOGOFINDERIMAGE" val="1"/>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420.xml><?xml version="1.0" encoding="utf-8"?>
<p:tagLst xmlns:a="http://schemas.openxmlformats.org/drawingml/2006/main" xmlns:r="http://schemas.openxmlformats.org/officeDocument/2006/relationships" xmlns:p="http://schemas.openxmlformats.org/presentationml/2006/main">
  <p:tag name="LOGOFINDERIMAGE" val="1"/>
</p:tagLst>
</file>

<file path=ppt/tags/tag421.xml><?xml version="1.0" encoding="utf-8"?>
<p:tagLst xmlns:a="http://schemas.openxmlformats.org/drawingml/2006/main" xmlns:r="http://schemas.openxmlformats.org/officeDocument/2006/relationships" xmlns:p="http://schemas.openxmlformats.org/presentationml/2006/main">
  <p:tag name="LOGOFINDERIMAGE" val="1"/>
</p:tagLst>
</file>

<file path=ppt/tags/tag422.xml><?xml version="1.0" encoding="utf-8"?>
<p:tagLst xmlns:a="http://schemas.openxmlformats.org/drawingml/2006/main" xmlns:r="http://schemas.openxmlformats.org/officeDocument/2006/relationships" xmlns:p="http://schemas.openxmlformats.org/presentationml/2006/main">
  <p:tag name="LOGOFINDERIMAGE" val="1"/>
</p:tagLst>
</file>

<file path=ppt/tags/tag423.xml><?xml version="1.0" encoding="utf-8"?>
<p:tagLst xmlns:a="http://schemas.openxmlformats.org/drawingml/2006/main" xmlns:r="http://schemas.openxmlformats.org/officeDocument/2006/relationships" xmlns:p="http://schemas.openxmlformats.org/presentationml/2006/main">
  <p:tag name="LOGOFINDERIMAGE" val="1"/>
</p:tagLst>
</file>

<file path=ppt/tags/tag424.xml><?xml version="1.0" encoding="utf-8"?>
<p:tagLst xmlns:a="http://schemas.openxmlformats.org/drawingml/2006/main" xmlns:r="http://schemas.openxmlformats.org/officeDocument/2006/relationships" xmlns:p="http://schemas.openxmlformats.org/presentationml/2006/main">
  <p:tag name="LOGOFINDERIMAGE" val="1"/>
</p:tagLst>
</file>

<file path=ppt/tags/tag425.xml><?xml version="1.0" encoding="utf-8"?>
<p:tagLst xmlns:a="http://schemas.openxmlformats.org/drawingml/2006/main" xmlns:r="http://schemas.openxmlformats.org/officeDocument/2006/relationships" xmlns:p="http://schemas.openxmlformats.org/presentationml/2006/main">
  <p:tag name="SYMBOLNAME" val="Checkmark"/>
  <p:tag name="CIRCLESTATUS" val="Blue"/>
  <p:tag name="NAME" val="CheckmarkBlue"/>
</p:tagLst>
</file>

<file path=ppt/tags/tag426.xml><?xml version="1.0" encoding="utf-8"?>
<p:tagLst xmlns:a="http://schemas.openxmlformats.org/drawingml/2006/main" xmlns:r="http://schemas.openxmlformats.org/officeDocument/2006/relationships" xmlns:p="http://schemas.openxmlformats.org/presentationml/2006/main">
  <p:tag name="SYMBOLNAME" val="Checkmark"/>
  <p:tag name="CIRCLESTATUS" val="Blue"/>
  <p:tag name="NAME" val="CheckmarkBlue"/>
</p:tagLst>
</file>

<file path=ppt/tags/tag427.xml><?xml version="1.0" encoding="utf-8"?>
<p:tagLst xmlns:a="http://schemas.openxmlformats.org/drawingml/2006/main" xmlns:r="http://schemas.openxmlformats.org/officeDocument/2006/relationships" xmlns:p="http://schemas.openxmlformats.org/presentationml/2006/main">
  <p:tag name="SYMBOLNAME" val="Checkmark"/>
  <p:tag name="CIRCLESTATUS" val="Blue"/>
  <p:tag name="NAME" val="CheckmarkBlu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9.xml><?xml version="1.0" encoding="utf-8"?>
<p:tagLst xmlns:a="http://schemas.openxmlformats.org/drawingml/2006/main" xmlns:r="http://schemas.openxmlformats.org/officeDocument/2006/relationships" xmlns:p="http://schemas.openxmlformats.org/presentationml/2006/main">
  <p:tag name="NAME" val="BigStat"/>
</p:tagLst>
</file>

<file path=ppt/tags/tag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0.xml><?xml version="1.0" encoding="utf-8"?>
<p:tagLst xmlns:a="http://schemas.openxmlformats.org/drawingml/2006/main" xmlns:r="http://schemas.openxmlformats.org/officeDocument/2006/relationships" xmlns:p="http://schemas.openxmlformats.org/presentationml/2006/main">
  <p:tag name="NAME" val="BigStat"/>
</p:tagLst>
</file>

<file path=ppt/tags/tag431.xml><?xml version="1.0" encoding="utf-8"?>
<p:tagLst xmlns:a="http://schemas.openxmlformats.org/drawingml/2006/main" xmlns:r="http://schemas.openxmlformats.org/officeDocument/2006/relationships" xmlns:p="http://schemas.openxmlformats.org/presentationml/2006/main">
  <p:tag name="NAME" val="BigStat"/>
</p:tagLst>
</file>

<file path=ppt/tags/tag432.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33.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34.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35.xml><?xml version="1.0" encoding="utf-8"?>
<p:tagLst xmlns:a="http://schemas.openxmlformats.org/drawingml/2006/main" xmlns:r="http://schemas.openxmlformats.org/officeDocument/2006/relationships" xmlns:p="http://schemas.openxmlformats.org/presentationml/2006/main">
  <p:tag name="SYMBOLNAME" val="Chevron"/>
  <p:tag name="CIRCLESTATUS" val="White"/>
  <p:tag name="NAME" val="ChevronWhite"/>
</p:tagLst>
</file>

<file path=ppt/tags/tag436.xml><?xml version="1.0" encoding="utf-8"?>
<p:tagLst xmlns:a="http://schemas.openxmlformats.org/drawingml/2006/main" xmlns:r="http://schemas.openxmlformats.org/officeDocument/2006/relationships" xmlns:p="http://schemas.openxmlformats.org/presentationml/2006/main">
  <p:tag name="SYMBOLNAME" val="Chevron"/>
  <p:tag name="CIRCLESTATUS" val="White"/>
  <p:tag name="NAME" val="ChevronWhite"/>
</p:tagLst>
</file>

<file path=ppt/tags/tag437.xml><?xml version="1.0" encoding="utf-8"?>
<p:tagLst xmlns:a="http://schemas.openxmlformats.org/drawingml/2006/main" xmlns:r="http://schemas.openxmlformats.org/officeDocument/2006/relationships" xmlns:p="http://schemas.openxmlformats.org/presentationml/2006/main">
  <p:tag name="ORIGLEFT" val="284.6889"/>
  <p:tag name="ORIGTOP" val="368.0505"/>
  <p:tag name="ORIGHEIGHT" val="158.7613"/>
  <p:tag name="ORIGWIDTH" val="383.9127"/>
</p:tagLst>
</file>

<file path=ppt/tags/tag438.xml><?xml version="1.0" encoding="utf-8"?>
<p:tagLst xmlns:a="http://schemas.openxmlformats.org/drawingml/2006/main" xmlns:r="http://schemas.openxmlformats.org/officeDocument/2006/relationships" xmlns:p="http://schemas.openxmlformats.org/presentationml/2006/main">
  <p:tag name="NAME" val="BigStat"/>
</p:tagLst>
</file>

<file path=ppt/tags/tag439.xml><?xml version="1.0" encoding="utf-8"?>
<p:tagLst xmlns:a="http://schemas.openxmlformats.org/drawingml/2006/main" xmlns:r="http://schemas.openxmlformats.org/officeDocument/2006/relationships" xmlns:p="http://schemas.openxmlformats.org/presentationml/2006/main">
  <p:tag name="NAME" val="BigStat"/>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0.xml><?xml version="1.0" encoding="utf-8"?>
<p:tagLst xmlns:a="http://schemas.openxmlformats.org/drawingml/2006/main" xmlns:r="http://schemas.openxmlformats.org/officeDocument/2006/relationships" xmlns:p="http://schemas.openxmlformats.org/presentationml/2006/main">
  <p:tag name="NAME" val="BigStat"/>
</p:tagLst>
</file>

<file path=ppt/tags/tag441.xml><?xml version="1.0" encoding="utf-8"?>
<p:tagLst xmlns:a="http://schemas.openxmlformats.org/drawingml/2006/main" xmlns:r="http://schemas.openxmlformats.org/officeDocument/2006/relationships" xmlns:p="http://schemas.openxmlformats.org/presentationml/2006/main">
  <p:tag name="SHAPENAME" val="5. Source"/>
</p:tagLst>
</file>

<file path=ppt/tags/tag442.xml><?xml version="1.0" encoding="utf-8"?>
<p:tagLst xmlns:a="http://schemas.openxmlformats.org/drawingml/2006/main" xmlns:r="http://schemas.openxmlformats.org/officeDocument/2006/relationships" xmlns:p="http://schemas.openxmlformats.org/presentationml/2006/main">
  <p:tag name="SYMBOLNAME" val="Checkmark"/>
  <p:tag name="CIRCLESTATUS" val="Blue"/>
  <p:tag name="NAME" val="CheckmarkBlue"/>
</p:tagLst>
</file>

<file path=ppt/tags/tag443.xml><?xml version="1.0" encoding="utf-8"?>
<p:tagLst xmlns:a="http://schemas.openxmlformats.org/drawingml/2006/main" xmlns:r="http://schemas.openxmlformats.org/officeDocument/2006/relationships" xmlns:p="http://schemas.openxmlformats.org/presentationml/2006/main">
  <p:tag name="SYMBOLNAME" val="Checkmark"/>
  <p:tag name="CIRCLESTATUS" val="Blue"/>
  <p:tag name="NAME" val="CheckmarkBlue"/>
</p:tagLst>
</file>

<file path=ppt/tags/tag444.xml><?xml version="1.0" encoding="utf-8"?>
<p:tagLst xmlns:a="http://schemas.openxmlformats.org/drawingml/2006/main" xmlns:r="http://schemas.openxmlformats.org/officeDocument/2006/relationships" xmlns:p="http://schemas.openxmlformats.org/presentationml/2006/main">
  <p:tag name="SYMBOLNAME" val="Checkmark"/>
  <p:tag name="CIRCLESTATUS" val="Blue"/>
  <p:tag name="NAME" val="CheckmarkBlu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NAME" val="BigStat"/>
</p:tagLst>
</file>

<file path=ppt/tags/tag447.xml><?xml version="1.0" encoding="utf-8"?>
<p:tagLst xmlns:a="http://schemas.openxmlformats.org/drawingml/2006/main" xmlns:r="http://schemas.openxmlformats.org/officeDocument/2006/relationships" xmlns:p="http://schemas.openxmlformats.org/presentationml/2006/main">
  <p:tag name="NAME" val="BigStat"/>
</p:tagLst>
</file>

<file path=ppt/tags/tag448.xml><?xml version="1.0" encoding="utf-8"?>
<p:tagLst xmlns:a="http://schemas.openxmlformats.org/drawingml/2006/main" xmlns:r="http://schemas.openxmlformats.org/officeDocument/2006/relationships" xmlns:p="http://schemas.openxmlformats.org/presentationml/2006/main">
  <p:tag name="NAME" val="BigStat"/>
</p:tagLst>
</file>

<file path=ppt/tags/tag449.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5.xml><?xml version="1.0" encoding="utf-8"?>
<p:tagLst xmlns:a="http://schemas.openxmlformats.org/drawingml/2006/main" xmlns:r="http://schemas.openxmlformats.org/officeDocument/2006/relationships" xmlns:p="http://schemas.openxmlformats.org/presentationml/2006/main">
  <p:tag name="SHAPENAME" val="5. Source"/>
</p:tagLst>
</file>

<file path=ppt/tags/tag450.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51.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52.xml><?xml version="1.0" encoding="utf-8"?>
<p:tagLst xmlns:a="http://schemas.openxmlformats.org/drawingml/2006/main" xmlns:r="http://schemas.openxmlformats.org/officeDocument/2006/relationships" xmlns:p="http://schemas.openxmlformats.org/presentationml/2006/main">
  <p:tag name="SYMBOLNAME" val="Chevron"/>
  <p:tag name="CIRCLESTATUS" val="White"/>
  <p:tag name="NAME" val="ChevronWhite"/>
</p:tagLst>
</file>

<file path=ppt/tags/tag453.xml><?xml version="1.0" encoding="utf-8"?>
<p:tagLst xmlns:a="http://schemas.openxmlformats.org/drawingml/2006/main" xmlns:r="http://schemas.openxmlformats.org/officeDocument/2006/relationships" xmlns:p="http://schemas.openxmlformats.org/presentationml/2006/main">
  <p:tag name="SYMBOLNAME" val="Chevron"/>
  <p:tag name="CIRCLESTATUS" val="White"/>
  <p:tag name="NAME" val="ChevronWhite"/>
</p:tagLst>
</file>

<file path=ppt/tags/tag454.xml><?xml version="1.0" encoding="utf-8"?>
<p:tagLst xmlns:a="http://schemas.openxmlformats.org/drawingml/2006/main" xmlns:r="http://schemas.openxmlformats.org/officeDocument/2006/relationships" xmlns:p="http://schemas.openxmlformats.org/presentationml/2006/main">
  <p:tag name="ORIGLEFT" val="284.6889"/>
  <p:tag name="ORIGTOP" val="368.0505"/>
  <p:tag name="ORIGHEIGHT" val="158.7613"/>
  <p:tag name="ORIGWIDTH" val="383.9127"/>
</p:tagLst>
</file>

<file path=ppt/tags/tag455.xml><?xml version="1.0" encoding="utf-8"?>
<p:tagLst xmlns:a="http://schemas.openxmlformats.org/drawingml/2006/main" xmlns:r="http://schemas.openxmlformats.org/officeDocument/2006/relationships" xmlns:p="http://schemas.openxmlformats.org/presentationml/2006/main">
  <p:tag name="NAME" val="BigStat"/>
</p:tagLst>
</file>

<file path=ppt/tags/tag456.xml><?xml version="1.0" encoding="utf-8"?>
<p:tagLst xmlns:a="http://schemas.openxmlformats.org/drawingml/2006/main" xmlns:r="http://schemas.openxmlformats.org/officeDocument/2006/relationships" xmlns:p="http://schemas.openxmlformats.org/presentationml/2006/main">
  <p:tag name="NAME" val="BigStat"/>
</p:tagLst>
</file>

<file path=ppt/tags/tag457.xml><?xml version="1.0" encoding="utf-8"?>
<p:tagLst xmlns:a="http://schemas.openxmlformats.org/drawingml/2006/main" xmlns:r="http://schemas.openxmlformats.org/officeDocument/2006/relationships" xmlns:p="http://schemas.openxmlformats.org/presentationml/2006/main">
  <p:tag name="NAME" val="BigStat"/>
</p:tagLst>
</file>

<file path=ppt/tags/tag458.xml><?xml version="1.0" encoding="utf-8"?>
<p:tagLst xmlns:a="http://schemas.openxmlformats.org/drawingml/2006/main" xmlns:r="http://schemas.openxmlformats.org/officeDocument/2006/relationships" xmlns:p="http://schemas.openxmlformats.org/presentationml/2006/main">
  <p:tag name="SHAPENAME" val="5. Source"/>
</p:tagLst>
</file>

<file path=ppt/tags/tag459.xml><?xml version="1.0" encoding="utf-8"?>
<p:tagLst xmlns:a="http://schemas.openxmlformats.org/drawingml/2006/main" xmlns:r="http://schemas.openxmlformats.org/officeDocument/2006/relationships" xmlns:p="http://schemas.openxmlformats.org/presentationml/2006/main">
  <p:tag name="SYMBOLNAME" val="Checkmark"/>
  <p:tag name="CIRCLESTATUS" val="Blue"/>
  <p:tag name="NAME" val="CheckmarkBlue"/>
</p:tagLst>
</file>

<file path=ppt/tags/tag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0.xml><?xml version="1.0" encoding="utf-8"?>
<p:tagLst xmlns:a="http://schemas.openxmlformats.org/drawingml/2006/main" xmlns:r="http://schemas.openxmlformats.org/officeDocument/2006/relationships" xmlns:p="http://schemas.openxmlformats.org/presentationml/2006/main">
  <p:tag name="SYMBOLNAME" val="Checkmark"/>
  <p:tag name="CIRCLESTATUS" val="Blue"/>
  <p:tag name="NAME" val="CheckmarkBlue"/>
</p:tagLst>
</file>

<file path=ppt/tags/tag461.xml><?xml version="1.0" encoding="utf-8"?>
<p:tagLst xmlns:a="http://schemas.openxmlformats.org/drawingml/2006/main" xmlns:r="http://schemas.openxmlformats.org/officeDocument/2006/relationships" xmlns:p="http://schemas.openxmlformats.org/presentationml/2006/main">
  <p:tag name="SYMBOLNAME" val="Checkmark"/>
  <p:tag name="CIRCLESTATUS" val="Blue"/>
  <p:tag name="NAME" val="CheckmarkBlu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NAME" val="BigStat"/>
</p:tagLst>
</file>

<file path=ppt/tags/tag464.xml><?xml version="1.0" encoding="utf-8"?>
<p:tagLst xmlns:a="http://schemas.openxmlformats.org/drawingml/2006/main" xmlns:r="http://schemas.openxmlformats.org/officeDocument/2006/relationships" xmlns:p="http://schemas.openxmlformats.org/presentationml/2006/main">
  <p:tag name="NAME" val="BigStat"/>
</p:tagLst>
</file>

<file path=ppt/tags/tag465.xml><?xml version="1.0" encoding="utf-8"?>
<p:tagLst xmlns:a="http://schemas.openxmlformats.org/drawingml/2006/main" xmlns:r="http://schemas.openxmlformats.org/officeDocument/2006/relationships" xmlns:p="http://schemas.openxmlformats.org/presentationml/2006/main">
  <p:tag name="NAME" val="BigStat"/>
</p:tagLst>
</file>

<file path=ppt/tags/tag466.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67.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68.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69.xml><?xml version="1.0" encoding="utf-8"?>
<p:tagLst xmlns:a="http://schemas.openxmlformats.org/drawingml/2006/main" xmlns:r="http://schemas.openxmlformats.org/officeDocument/2006/relationships" xmlns:p="http://schemas.openxmlformats.org/presentationml/2006/main">
  <p:tag name="SYMBOLNAME" val="Chevron"/>
  <p:tag name="CIRCLESTATUS" val="White"/>
  <p:tag name="NAME" val="ChevronWhi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SYMBOLNAME" val="Chevron"/>
  <p:tag name="CIRCLESTATUS" val="White"/>
  <p:tag name="NAME" val="ChevronWhite"/>
</p:tagLst>
</file>

<file path=ppt/tags/tag471.xml><?xml version="1.0" encoding="utf-8"?>
<p:tagLst xmlns:a="http://schemas.openxmlformats.org/drawingml/2006/main" xmlns:r="http://schemas.openxmlformats.org/officeDocument/2006/relationships" xmlns:p="http://schemas.openxmlformats.org/presentationml/2006/main">
  <p:tag name="ORIGLEFT" val="284.6889"/>
  <p:tag name="ORIGTOP" val="368.0505"/>
  <p:tag name="ORIGHEIGHT" val="158.7613"/>
  <p:tag name="ORIGWIDTH" val="383.9127"/>
</p:tagLst>
</file>

<file path=ppt/tags/tag472.xml><?xml version="1.0" encoding="utf-8"?>
<p:tagLst xmlns:a="http://schemas.openxmlformats.org/drawingml/2006/main" xmlns:r="http://schemas.openxmlformats.org/officeDocument/2006/relationships" xmlns:p="http://schemas.openxmlformats.org/presentationml/2006/main">
  <p:tag name="NAME" val="BigStat"/>
</p:tagLst>
</file>

<file path=ppt/tags/tag473.xml><?xml version="1.0" encoding="utf-8"?>
<p:tagLst xmlns:a="http://schemas.openxmlformats.org/drawingml/2006/main" xmlns:r="http://schemas.openxmlformats.org/officeDocument/2006/relationships" xmlns:p="http://schemas.openxmlformats.org/presentationml/2006/main">
  <p:tag name="NAME" val="BigStat"/>
</p:tagLst>
</file>

<file path=ppt/tags/tag474.xml><?xml version="1.0" encoding="utf-8"?>
<p:tagLst xmlns:a="http://schemas.openxmlformats.org/drawingml/2006/main" xmlns:r="http://schemas.openxmlformats.org/officeDocument/2006/relationships" xmlns:p="http://schemas.openxmlformats.org/presentationml/2006/main">
  <p:tag name="NAME" val="BigStat"/>
</p:tagLst>
</file>

<file path=ppt/tags/tag475.xml><?xml version="1.0" encoding="utf-8"?>
<p:tagLst xmlns:a="http://schemas.openxmlformats.org/drawingml/2006/main" xmlns:r="http://schemas.openxmlformats.org/officeDocument/2006/relationships" xmlns:p="http://schemas.openxmlformats.org/presentationml/2006/main">
  <p:tag name="SHAPENAME" val="5. Source"/>
</p:tagLst>
</file>

<file path=ppt/tags/tag476.xml><?xml version="1.0" encoding="utf-8"?>
<p:tagLst xmlns:a="http://schemas.openxmlformats.org/drawingml/2006/main" xmlns:r="http://schemas.openxmlformats.org/officeDocument/2006/relationships" xmlns:p="http://schemas.openxmlformats.org/presentationml/2006/main">
  <p:tag name="SYMBOLNAME" val="Checkmark"/>
  <p:tag name="CIRCLESTATUS" val="Blue"/>
  <p:tag name="NAME" val="CheckmarkBlue"/>
</p:tagLst>
</file>

<file path=ppt/tags/tag477.xml><?xml version="1.0" encoding="utf-8"?>
<p:tagLst xmlns:a="http://schemas.openxmlformats.org/drawingml/2006/main" xmlns:r="http://schemas.openxmlformats.org/officeDocument/2006/relationships" xmlns:p="http://schemas.openxmlformats.org/presentationml/2006/main">
  <p:tag name="SYMBOLNAME" val="Checkmark"/>
  <p:tag name="CIRCLESTATUS" val="Blue"/>
  <p:tag name="NAME" val="CheckmarkBlue"/>
</p:tagLst>
</file>

<file path=ppt/tags/tag478.xml><?xml version="1.0" encoding="utf-8"?>
<p:tagLst xmlns:a="http://schemas.openxmlformats.org/drawingml/2006/main" xmlns:r="http://schemas.openxmlformats.org/officeDocument/2006/relationships" xmlns:p="http://schemas.openxmlformats.org/presentationml/2006/main">
  <p:tag name="SYMBOLNAME" val="Checkmark"/>
  <p:tag name="CIRCLESTATUS" val="Blue"/>
  <p:tag name="NAME" val="CheckmarkBlue"/>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80.xml><?xml version="1.0" encoding="utf-8"?>
<p:tagLst xmlns:a="http://schemas.openxmlformats.org/drawingml/2006/main" xmlns:r="http://schemas.openxmlformats.org/officeDocument/2006/relationships" xmlns:p="http://schemas.openxmlformats.org/presentationml/2006/main">
  <p:tag name="NAME" val="BigStat"/>
</p:tagLst>
</file>

<file path=ppt/tags/tag481.xml><?xml version="1.0" encoding="utf-8"?>
<p:tagLst xmlns:a="http://schemas.openxmlformats.org/drawingml/2006/main" xmlns:r="http://schemas.openxmlformats.org/officeDocument/2006/relationships" xmlns:p="http://schemas.openxmlformats.org/presentationml/2006/main">
  <p:tag name="NAME" val="BigStat"/>
</p:tagLst>
</file>

<file path=ppt/tags/tag482.xml><?xml version="1.0" encoding="utf-8"?>
<p:tagLst xmlns:a="http://schemas.openxmlformats.org/drawingml/2006/main" xmlns:r="http://schemas.openxmlformats.org/officeDocument/2006/relationships" xmlns:p="http://schemas.openxmlformats.org/presentationml/2006/main">
  <p:tag name="NAME" val="BigStat"/>
</p:tagLst>
</file>

<file path=ppt/tags/tag483.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84.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85.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86.xml><?xml version="1.0" encoding="utf-8"?>
<p:tagLst xmlns:a="http://schemas.openxmlformats.org/drawingml/2006/main" xmlns:r="http://schemas.openxmlformats.org/officeDocument/2006/relationships" xmlns:p="http://schemas.openxmlformats.org/presentationml/2006/main">
  <p:tag name="SYMBOLNAME" val="Chevron"/>
  <p:tag name="CIRCLESTATUS" val="White"/>
  <p:tag name="NAME" val="ChevronWhite"/>
</p:tagLst>
</file>

<file path=ppt/tags/tag487.xml><?xml version="1.0" encoding="utf-8"?>
<p:tagLst xmlns:a="http://schemas.openxmlformats.org/drawingml/2006/main" xmlns:r="http://schemas.openxmlformats.org/officeDocument/2006/relationships" xmlns:p="http://schemas.openxmlformats.org/presentationml/2006/main">
  <p:tag name="SYMBOLNAME" val="Chevron"/>
  <p:tag name="CIRCLESTATUS" val="White"/>
  <p:tag name="NAME" val="ChevronWhite"/>
</p:tagLst>
</file>

<file path=ppt/tags/tag488.xml><?xml version="1.0" encoding="utf-8"?>
<p:tagLst xmlns:a="http://schemas.openxmlformats.org/drawingml/2006/main" xmlns:r="http://schemas.openxmlformats.org/officeDocument/2006/relationships" xmlns:p="http://schemas.openxmlformats.org/presentationml/2006/main">
  <p:tag name="ORIGLEFT" val="284.6889"/>
  <p:tag name="ORIGTOP" val="368.0505"/>
  <p:tag name="ORIGHEIGHT" val="158.7613"/>
  <p:tag name="ORIGWIDTH" val="383.9127"/>
</p:tagLst>
</file>

<file path=ppt/tags/tag489.xml><?xml version="1.0" encoding="utf-8"?>
<p:tagLst xmlns:a="http://schemas.openxmlformats.org/drawingml/2006/main" xmlns:r="http://schemas.openxmlformats.org/officeDocument/2006/relationships" xmlns:p="http://schemas.openxmlformats.org/presentationml/2006/main">
  <p:tag name="NAME" val="BigStat"/>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0.xml><?xml version="1.0" encoding="utf-8"?>
<p:tagLst xmlns:a="http://schemas.openxmlformats.org/drawingml/2006/main" xmlns:r="http://schemas.openxmlformats.org/officeDocument/2006/relationships" xmlns:p="http://schemas.openxmlformats.org/presentationml/2006/main">
  <p:tag name="NAME" val="BigStat"/>
</p:tagLst>
</file>

<file path=ppt/tags/tag491.xml><?xml version="1.0" encoding="utf-8"?>
<p:tagLst xmlns:a="http://schemas.openxmlformats.org/drawingml/2006/main" xmlns:r="http://schemas.openxmlformats.org/officeDocument/2006/relationships" xmlns:p="http://schemas.openxmlformats.org/presentationml/2006/main">
  <p:tag name="NAME" val="BigStat"/>
</p:tagLst>
</file>

<file path=ppt/tags/tag492.xml><?xml version="1.0" encoding="utf-8"?>
<p:tagLst xmlns:a="http://schemas.openxmlformats.org/drawingml/2006/main" xmlns:r="http://schemas.openxmlformats.org/officeDocument/2006/relationships" xmlns:p="http://schemas.openxmlformats.org/presentationml/2006/main">
  <p:tag name="SHAPENAME" val="5. Source"/>
</p:tagLst>
</file>

<file path=ppt/tags/tag493.xml><?xml version="1.0" encoding="utf-8"?>
<p:tagLst xmlns:a="http://schemas.openxmlformats.org/drawingml/2006/main" xmlns:r="http://schemas.openxmlformats.org/officeDocument/2006/relationships" xmlns:p="http://schemas.openxmlformats.org/presentationml/2006/main">
  <p:tag name="LOGOFINDERIMAGE" val="1"/>
</p:tagLst>
</file>

<file path=ppt/tags/tag494.xml><?xml version="1.0" encoding="utf-8"?>
<p:tagLst xmlns:a="http://schemas.openxmlformats.org/drawingml/2006/main" xmlns:r="http://schemas.openxmlformats.org/officeDocument/2006/relationships" xmlns:p="http://schemas.openxmlformats.org/presentationml/2006/main">
  <p:tag name="LOGOFINDERIMAGE" val="1"/>
</p:tagLst>
</file>

<file path=ppt/tags/tag495.xml><?xml version="1.0" encoding="utf-8"?>
<p:tagLst xmlns:a="http://schemas.openxmlformats.org/drawingml/2006/main" xmlns:r="http://schemas.openxmlformats.org/officeDocument/2006/relationships" xmlns:p="http://schemas.openxmlformats.org/presentationml/2006/main">
  <p:tag name="LOGOFINDERIMAGE" val="1"/>
</p:tagLst>
</file>

<file path=ppt/tags/tag496.xml><?xml version="1.0" encoding="utf-8"?>
<p:tagLst xmlns:a="http://schemas.openxmlformats.org/drawingml/2006/main" xmlns:r="http://schemas.openxmlformats.org/officeDocument/2006/relationships" xmlns:p="http://schemas.openxmlformats.org/presentationml/2006/main">
  <p:tag name="LOGOFINDERIMAGE" val="1"/>
</p:tagLst>
</file>

<file path=ppt/tags/tag497.xml><?xml version="1.0" encoding="utf-8"?>
<p:tagLst xmlns:a="http://schemas.openxmlformats.org/drawingml/2006/main" xmlns:r="http://schemas.openxmlformats.org/officeDocument/2006/relationships" xmlns:p="http://schemas.openxmlformats.org/presentationml/2006/main">
  <p:tag name="LOGOFINDERIMAGE" val="1"/>
</p:tagLst>
</file>

<file path=ppt/tags/tag498.xml><?xml version="1.0" encoding="utf-8"?>
<p:tagLst xmlns:a="http://schemas.openxmlformats.org/drawingml/2006/main" xmlns:r="http://schemas.openxmlformats.org/officeDocument/2006/relationships" xmlns:p="http://schemas.openxmlformats.org/presentationml/2006/main">
  <p:tag name="SYMBOLNAME" val="Checkmark"/>
  <p:tag name="CIRCLESTATUS" val="Blue"/>
  <p:tag name="NAME" val="CheckmarkBlue"/>
</p:tagLst>
</file>

<file path=ppt/tags/tag499.xml><?xml version="1.0" encoding="utf-8"?>
<p:tagLst xmlns:a="http://schemas.openxmlformats.org/drawingml/2006/main" xmlns:r="http://schemas.openxmlformats.org/officeDocument/2006/relationships" xmlns:p="http://schemas.openxmlformats.org/presentationml/2006/main">
  <p:tag name="SYMBOLNAME" val="Checkmark"/>
  <p:tag name="CIRCLESTATUS" val="Blue"/>
  <p:tag name="NAME" val="CheckmarkBlue"/>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0.xml><?xml version="1.0" encoding="utf-8"?>
<p:tagLst xmlns:a="http://schemas.openxmlformats.org/drawingml/2006/main" xmlns:r="http://schemas.openxmlformats.org/officeDocument/2006/relationships" xmlns:p="http://schemas.openxmlformats.org/presentationml/2006/main">
  <p:tag name="SYMBOLNAME" val="Checkmark"/>
  <p:tag name="CIRCLESTATUS" val="Blue"/>
  <p:tag name="NAME" val="CheckmarkBlue"/>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2.xml><?xml version="1.0" encoding="utf-8"?>
<p:tagLst xmlns:a="http://schemas.openxmlformats.org/drawingml/2006/main" xmlns:r="http://schemas.openxmlformats.org/officeDocument/2006/relationships" xmlns:p="http://schemas.openxmlformats.org/presentationml/2006/main">
  <p:tag name="NAME" val="BigStat"/>
</p:tagLst>
</file>

<file path=ppt/tags/tag503.xml><?xml version="1.0" encoding="utf-8"?>
<p:tagLst xmlns:a="http://schemas.openxmlformats.org/drawingml/2006/main" xmlns:r="http://schemas.openxmlformats.org/officeDocument/2006/relationships" xmlns:p="http://schemas.openxmlformats.org/presentationml/2006/main">
  <p:tag name="NAME" val="BigStat"/>
</p:tagLst>
</file>

<file path=ppt/tags/tag504.xml><?xml version="1.0" encoding="utf-8"?>
<p:tagLst xmlns:a="http://schemas.openxmlformats.org/drawingml/2006/main" xmlns:r="http://schemas.openxmlformats.org/officeDocument/2006/relationships" xmlns:p="http://schemas.openxmlformats.org/presentationml/2006/main">
  <p:tag name="NAME" val="BigStat"/>
</p:tagLst>
</file>

<file path=ppt/tags/tag505.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506.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507.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508.xml><?xml version="1.0" encoding="utf-8"?>
<p:tagLst xmlns:a="http://schemas.openxmlformats.org/drawingml/2006/main" xmlns:r="http://schemas.openxmlformats.org/officeDocument/2006/relationships" xmlns:p="http://schemas.openxmlformats.org/presentationml/2006/main">
  <p:tag name="SYMBOLNAME" val="Chevron"/>
  <p:tag name="CIRCLESTATUS" val="White"/>
  <p:tag name="NAME" val="ChevronWhite"/>
</p:tagLst>
</file>

<file path=ppt/tags/tag509.xml><?xml version="1.0" encoding="utf-8"?>
<p:tagLst xmlns:a="http://schemas.openxmlformats.org/drawingml/2006/main" xmlns:r="http://schemas.openxmlformats.org/officeDocument/2006/relationships" xmlns:p="http://schemas.openxmlformats.org/presentationml/2006/main">
  <p:tag name="SYMBOLNAME" val="Chevron"/>
  <p:tag name="CIRCLESTATUS" val="White"/>
  <p:tag name="NAME" val="ChevronWhite"/>
</p:tagLst>
</file>

<file path=ppt/tags/tag51.xml><?xml version="1.0" encoding="utf-8"?>
<p:tagLst xmlns:a="http://schemas.openxmlformats.org/drawingml/2006/main" xmlns:r="http://schemas.openxmlformats.org/officeDocument/2006/relationships" xmlns:p="http://schemas.openxmlformats.org/presentationml/2006/main">
  <p:tag name="SHAPENAME" val="5. Source"/>
</p:tagLst>
</file>

<file path=ppt/tags/tag510.xml><?xml version="1.0" encoding="utf-8"?>
<p:tagLst xmlns:a="http://schemas.openxmlformats.org/drawingml/2006/main" xmlns:r="http://schemas.openxmlformats.org/officeDocument/2006/relationships" xmlns:p="http://schemas.openxmlformats.org/presentationml/2006/main">
  <p:tag name="ORIGLEFT" val="284.6889"/>
  <p:tag name="ORIGTOP" val="368.0505"/>
  <p:tag name="ORIGHEIGHT" val="158.7613"/>
  <p:tag name="ORIGWIDTH" val="383.9127"/>
</p:tagLst>
</file>

<file path=ppt/tags/tag511.xml><?xml version="1.0" encoding="utf-8"?>
<p:tagLst xmlns:a="http://schemas.openxmlformats.org/drawingml/2006/main" xmlns:r="http://schemas.openxmlformats.org/officeDocument/2006/relationships" xmlns:p="http://schemas.openxmlformats.org/presentationml/2006/main">
  <p:tag name="NAME" val="BigStat"/>
</p:tagLst>
</file>

<file path=ppt/tags/tag512.xml><?xml version="1.0" encoding="utf-8"?>
<p:tagLst xmlns:a="http://schemas.openxmlformats.org/drawingml/2006/main" xmlns:r="http://schemas.openxmlformats.org/officeDocument/2006/relationships" xmlns:p="http://schemas.openxmlformats.org/presentationml/2006/main">
  <p:tag name="NAME" val="BigStat"/>
</p:tagLst>
</file>

<file path=ppt/tags/tag513.xml><?xml version="1.0" encoding="utf-8"?>
<p:tagLst xmlns:a="http://schemas.openxmlformats.org/drawingml/2006/main" xmlns:r="http://schemas.openxmlformats.org/officeDocument/2006/relationships" xmlns:p="http://schemas.openxmlformats.org/presentationml/2006/main">
  <p:tag name="NAME" val="BigStat"/>
</p:tagLst>
</file>

<file path=ppt/tags/tag514.xml><?xml version="1.0" encoding="utf-8"?>
<p:tagLst xmlns:a="http://schemas.openxmlformats.org/drawingml/2006/main" xmlns:r="http://schemas.openxmlformats.org/officeDocument/2006/relationships" xmlns:p="http://schemas.openxmlformats.org/presentationml/2006/main">
  <p:tag name="LOGOFINDERIMAGE" val="1"/>
</p:tagLst>
</file>

<file path=ppt/tags/tag515.xml><?xml version="1.0" encoding="utf-8"?>
<p:tagLst xmlns:a="http://schemas.openxmlformats.org/drawingml/2006/main" xmlns:r="http://schemas.openxmlformats.org/officeDocument/2006/relationships" xmlns:p="http://schemas.openxmlformats.org/presentationml/2006/main">
  <p:tag name="SHAPENAME" val="5. Source"/>
</p:tagLst>
</file>

<file path=ppt/tags/tag516.xml><?xml version="1.0" encoding="utf-8"?>
<p:tagLst xmlns:a="http://schemas.openxmlformats.org/drawingml/2006/main" xmlns:r="http://schemas.openxmlformats.org/officeDocument/2006/relationships" xmlns:p="http://schemas.openxmlformats.org/presentationml/2006/main">
  <p:tag name="SYMBOLNAME" val="Checkmark"/>
  <p:tag name="CIRCLESTATUS" val="Blue"/>
  <p:tag name="NAME" val="CheckmarkBlue"/>
</p:tagLst>
</file>

<file path=ppt/tags/tag517.xml><?xml version="1.0" encoding="utf-8"?>
<p:tagLst xmlns:a="http://schemas.openxmlformats.org/drawingml/2006/main" xmlns:r="http://schemas.openxmlformats.org/officeDocument/2006/relationships" xmlns:p="http://schemas.openxmlformats.org/presentationml/2006/main">
  <p:tag name="SYMBOLNAME" val="Checkmark"/>
  <p:tag name="CIRCLESTATUS" val="Blue"/>
  <p:tag name="NAME" val="CheckmarkBlue"/>
</p:tagLst>
</file>

<file path=ppt/tags/tag518.xml><?xml version="1.0" encoding="utf-8"?>
<p:tagLst xmlns:a="http://schemas.openxmlformats.org/drawingml/2006/main" xmlns:r="http://schemas.openxmlformats.org/officeDocument/2006/relationships" xmlns:p="http://schemas.openxmlformats.org/presentationml/2006/main">
  <p:tag name="SYMBOLNAME" val="Checkmark"/>
  <p:tag name="CIRCLESTATUS" val="Blue"/>
  <p:tag name="NAME" val="CheckmarkBlue"/>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3.xml><?xml version="1.0" encoding="utf-8"?>
<p:tagLst xmlns:a="http://schemas.openxmlformats.org/drawingml/2006/main" xmlns:r="http://schemas.openxmlformats.org/officeDocument/2006/relationships" xmlns:p="http://schemas.openxmlformats.org/presentationml/2006/main">
  <p:tag name="SHAPENAME" val="5. Source"/>
</p:tagLst>
</file>

<file path=ppt/tags/tag524.xml><?xml version="1.0" encoding="utf-8"?>
<p:tagLst xmlns:a="http://schemas.openxmlformats.org/drawingml/2006/main" xmlns:r="http://schemas.openxmlformats.org/officeDocument/2006/relationships" xmlns:p="http://schemas.openxmlformats.org/presentationml/2006/main">
  <p:tag name="MTTABLE" val="HDiv"/>
  <p:tag name="MTNUMBER" val="0.539745759004609"/>
</p:tagLst>
</file>

<file path=ppt/tags/tag525.xml><?xml version="1.0" encoding="utf-8"?>
<p:tagLst xmlns:a="http://schemas.openxmlformats.org/drawingml/2006/main" xmlns:r="http://schemas.openxmlformats.org/officeDocument/2006/relationships" xmlns:p="http://schemas.openxmlformats.org/presentationml/2006/main">
  <p:tag name="MTTABLE" val="HDiv"/>
  <p:tag name="MTNUMBER" val="0.539745759004609"/>
</p:tagLst>
</file>

<file path=ppt/tags/tag526.xml><?xml version="1.0" encoding="utf-8"?>
<p:tagLst xmlns:a="http://schemas.openxmlformats.org/drawingml/2006/main" xmlns:r="http://schemas.openxmlformats.org/officeDocument/2006/relationships" xmlns:p="http://schemas.openxmlformats.org/presentationml/2006/main">
  <p:tag name="MTTABLE" val="HDiv"/>
  <p:tag name="MTNUMBER" val="0.539745759004609"/>
</p:tagLst>
</file>

<file path=ppt/tags/tag527.xml><?xml version="1.0" encoding="utf-8"?>
<p:tagLst xmlns:a="http://schemas.openxmlformats.org/drawingml/2006/main" xmlns:r="http://schemas.openxmlformats.org/officeDocument/2006/relationships" xmlns:p="http://schemas.openxmlformats.org/presentationml/2006/main">
  <p:tag name="MTTABLE" val="HDiv"/>
  <p:tag name="MTNUMBER" val="0.539745759004609"/>
</p:tagLst>
</file>

<file path=ppt/tags/tag528.xml><?xml version="1.0" encoding="utf-8"?>
<p:tagLst xmlns:a="http://schemas.openxmlformats.org/drawingml/2006/main" xmlns:r="http://schemas.openxmlformats.org/officeDocument/2006/relationships" xmlns:p="http://schemas.openxmlformats.org/presentationml/2006/main">
  <p:tag name="NAME" val="Rectangle"/>
</p:tagLst>
</file>

<file path=ppt/tags/tag529.xml><?xml version="1.0" encoding="utf-8"?>
<p:tagLst xmlns:a="http://schemas.openxmlformats.org/drawingml/2006/main" xmlns:r="http://schemas.openxmlformats.org/officeDocument/2006/relationships" xmlns:p="http://schemas.openxmlformats.org/presentationml/2006/main">
  <p:tag name="NAME" val="Rectangl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NAME" val="Rectangle"/>
</p:tagLst>
</file>

<file path=ppt/tags/tag531.xml><?xml version="1.0" encoding="utf-8"?>
<p:tagLst xmlns:a="http://schemas.openxmlformats.org/drawingml/2006/main" xmlns:r="http://schemas.openxmlformats.org/officeDocument/2006/relationships" xmlns:p="http://schemas.openxmlformats.org/presentationml/2006/main">
  <p:tag name="NAME" val="Rectangle"/>
</p:tagLst>
</file>

<file path=ppt/tags/tag532.xml><?xml version="1.0" encoding="utf-8"?>
<p:tagLst xmlns:a="http://schemas.openxmlformats.org/drawingml/2006/main" xmlns:r="http://schemas.openxmlformats.org/officeDocument/2006/relationships" xmlns:p="http://schemas.openxmlformats.org/presentationml/2006/main">
  <p:tag name="NAME" val="Rectangle"/>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v3YqlHk0rfl9muz0J8lmp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PnIpctB2v5S.x_9RTzfLVg"/>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v3T9uD_a7e0cifL1PQdTw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odzaOa79j.pIU19qR46qV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l075cqCwF09SjYCwNB34ag"/>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6OrbM08w9Zg702yBgwx_jA"/>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FONannn5sZvDNPshFbqJU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6BnRmVOio1YVpftfqVERYg"/>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Vk.slld6sluCb7eFrp3MLg"/>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YtJUlU1HRTFf_yxJRY5.Rw"/>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EE1sJDHrFgE9X48Lintfgw"/>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Iq0Dy3kGdrLY_8G2k7OcX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WplUIglHXuHmN1IHSo2Eaw"/>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x3aGvQjof4Jc.X2RI.Krx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EzbOUDnClRFBRwH6Vv1pow"/>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QwE93pdJKl83UrCHywa6u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5kpgpXZq5oqb06Esk_IT.Q"/>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1nrW06hip3ATzS86vRjyRw"/>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WZU7PFSQ35u1GG4W2p3Tp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6oDIK.a2AhXQTs.pFvDxjg"/>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Mr.vFP4v.xrN17sYffG9gg"/>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H8i60AnJFfWmi1OT9S2bHg"/>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oGO6h_e2b_RcSEL69Ortzg"/>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ah0qp00pHBzMnx16Rl.oS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iiVjo3yW.29TPL0k61aYkQ"/>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n9QKsQG3xuw9xo3ljLpzYw"/>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YrBSkSt69ClfthRCE4LGSQ"/>
</p:tagLst>
</file>

<file path=ppt/tags/tag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lq1R8pgIrrjkGsWFkwCjEg"/>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3kzTA4LymwDOnWsJ9cF6vg"/>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uFX3fvb2EyzPOjkms7T.k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9sLNs5D3jwjgfaXxonkt6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AYvoDH5Vr8KAxLtJ4EB82Q"/>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vM3sw1Ib8tEmSCGht3OYhA"/>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f2_a3x6b3wal14JG88i_kg"/>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Gkr.f23YGC5zvSTGDxjM4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F5CzKhTRo6pr0vftTP8ww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Iw4RosDqZDGtyFGH7Z7IjQ"/>
</p:tagLst>
</file>

<file path=ppt/tags/tag57.xml><?xml version="1.0" encoding="utf-8"?>
<p:tagLst xmlns:a="http://schemas.openxmlformats.org/drawingml/2006/main" xmlns:r="http://schemas.openxmlformats.org/officeDocument/2006/relationships" xmlns:p="http://schemas.openxmlformats.org/presentationml/2006/main">
  <p:tag name="SHAPENAME" val="5. Source"/>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8zPBVPOe1MOgTcA7S5G9Gg"/>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WhldWTZ3qIU8Jvl16iYMa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95i5H_xuu05MPUKELCd7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lqpYGfJjL7Cv7E66WU_1R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MPTUC.VwLJzMepP5hogM1Q"/>
</p:tagLst>
</file>

<file path=ppt/tags/tag575.xml><?xml version="1.0" encoding="utf-8"?>
<p:tagLst xmlns:a="http://schemas.openxmlformats.org/drawingml/2006/main" xmlns:r="http://schemas.openxmlformats.org/officeDocument/2006/relationships" xmlns:p="http://schemas.openxmlformats.org/presentationml/2006/main">
  <p:tag name="NAME" val="Rectangle"/>
</p:tagLst>
</file>

<file path=ppt/tags/tag576.xml><?xml version="1.0" encoding="utf-8"?>
<p:tagLst xmlns:a="http://schemas.openxmlformats.org/drawingml/2006/main" xmlns:r="http://schemas.openxmlformats.org/officeDocument/2006/relationships" xmlns:p="http://schemas.openxmlformats.org/presentationml/2006/main">
  <p:tag name="MTTABLE" val="HTitleDiv"/>
  <p:tag name="MTNUMBER" val="0.154885287934395"/>
</p:tagLst>
</file>

<file path=ppt/tags/tag577.xml><?xml version="1.0" encoding="utf-8"?>
<p:tagLst xmlns:a="http://schemas.openxmlformats.org/drawingml/2006/main" xmlns:r="http://schemas.openxmlformats.org/officeDocument/2006/relationships" xmlns:p="http://schemas.openxmlformats.org/presentationml/2006/main">
  <p:tag name="MTTABLE" val="HTitleDiv"/>
  <p:tag name="MTNUMBER" val="0.154885287934395"/>
</p:tagLst>
</file>

<file path=ppt/tags/tag578.xml><?xml version="1.0" encoding="utf-8"?>
<p:tagLst xmlns:a="http://schemas.openxmlformats.org/drawingml/2006/main" xmlns:r="http://schemas.openxmlformats.org/officeDocument/2006/relationships" xmlns:p="http://schemas.openxmlformats.org/presentationml/2006/main">
  <p:tag name="MTTABLE" val="HTitleDiv"/>
  <p:tag name="MTNUMBER" val="0.154885287934395"/>
</p:tagLst>
</file>

<file path=ppt/tags/tag579.xml><?xml version="1.0" encoding="utf-8"?>
<p:tagLst xmlns:a="http://schemas.openxmlformats.org/drawingml/2006/main" xmlns:r="http://schemas.openxmlformats.org/officeDocument/2006/relationships" xmlns:p="http://schemas.openxmlformats.org/presentationml/2006/main">
  <p:tag name="MTTABLE" val="HDiv"/>
  <p:tag name="MTNUMBER" val="0.154885287934395"/>
</p:tagLst>
</file>

<file path=ppt/tags/tag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0.xml><?xml version="1.0" encoding="utf-8"?>
<p:tagLst xmlns:a="http://schemas.openxmlformats.org/drawingml/2006/main" xmlns:r="http://schemas.openxmlformats.org/officeDocument/2006/relationships" xmlns:p="http://schemas.openxmlformats.org/presentationml/2006/main">
  <p:tag name="MTTABLE" val="HTitleDiv"/>
  <p:tag name="MTNUMBER" val="0.154885287934395"/>
</p:tagLst>
</file>

<file path=ppt/tags/tag581.xml><?xml version="1.0" encoding="utf-8"?>
<p:tagLst xmlns:a="http://schemas.openxmlformats.org/drawingml/2006/main" xmlns:r="http://schemas.openxmlformats.org/officeDocument/2006/relationships" xmlns:p="http://schemas.openxmlformats.org/presentationml/2006/main">
  <p:tag name="MTTABLE" val="HDiv"/>
  <p:tag name="MTNUMBER" val="0.154885287934395"/>
</p:tagLst>
</file>

<file path=ppt/tags/tag582.xml><?xml version="1.0" encoding="utf-8"?>
<p:tagLst xmlns:a="http://schemas.openxmlformats.org/drawingml/2006/main" xmlns:r="http://schemas.openxmlformats.org/officeDocument/2006/relationships" xmlns:p="http://schemas.openxmlformats.org/presentationml/2006/main">
  <p:tag name="LOGOFINDERIMAGE" val="1"/>
</p:tagLst>
</file>

<file path=ppt/tags/tag583.xml><?xml version="1.0" encoding="utf-8"?>
<p:tagLst xmlns:a="http://schemas.openxmlformats.org/drawingml/2006/main" xmlns:r="http://schemas.openxmlformats.org/officeDocument/2006/relationships" xmlns:p="http://schemas.openxmlformats.org/presentationml/2006/main">
  <p:tag name="LOGOFINDERIMAGE" val="1"/>
</p:tagLst>
</file>

<file path=ppt/tags/tag584.xml><?xml version="1.0" encoding="utf-8"?>
<p:tagLst xmlns:a="http://schemas.openxmlformats.org/drawingml/2006/main" xmlns:r="http://schemas.openxmlformats.org/officeDocument/2006/relationships" xmlns:p="http://schemas.openxmlformats.org/presentationml/2006/main">
  <p:tag name="NAME" val="Rectangle"/>
</p:tagLst>
</file>

<file path=ppt/tags/tag585.xml><?xml version="1.0" encoding="utf-8"?>
<p:tagLst xmlns:a="http://schemas.openxmlformats.org/drawingml/2006/main" xmlns:r="http://schemas.openxmlformats.org/officeDocument/2006/relationships" xmlns:p="http://schemas.openxmlformats.org/presentationml/2006/main">
  <p:tag name="NAME" val="Rectangle"/>
</p:tagLst>
</file>

<file path=ppt/tags/tag586.xml><?xml version="1.0" encoding="utf-8"?>
<p:tagLst xmlns:a="http://schemas.openxmlformats.org/drawingml/2006/main" xmlns:r="http://schemas.openxmlformats.org/officeDocument/2006/relationships" xmlns:p="http://schemas.openxmlformats.org/presentationml/2006/main">
  <p:tag name="NAME" val="Rectangle"/>
</p:tagLst>
</file>

<file path=ppt/tags/tag587.xml><?xml version="1.0" encoding="utf-8"?>
<p:tagLst xmlns:a="http://schemas.openxmlformats.org/drawingml/2006/main" xmlns:r="http://schemas.openxmlformats.org/officeDocument/2006/relationships" xmlns:p="http://schemas.openxmlformats.org/presentationml/2006/main">
  <p:tag name="NAME" val="Rectangle"/>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9.xml><?xml version="1.0" encoding="utf-8"?>
<p:tagLst xmlns:a="http://schemas.openxmlformats.org/drawingml/2006/main" xmlns:r="http://schemas.openxmlformats.org/officeDocument/2006/relationships" xmlns:p="http://schemas.openxmlformats.org/presentationml/2006/main">
  <p:tag name="SHAPENAME" val="5. Sourc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0.xml><?xml version="1.0" encoding="utf-8"?>
<p:tagLst xmlns:a="http://schemas.openxmlformats.org/drawingml/2006/main" xmlns:r="http://schemas.openxmlformats.org/officeDocument/2006/relationships" xmlns:p="http://schemas.openxmlformats.org/presentationml/2006/main">
  <p:tag name="MTTABLE" val="HDiv"/>
  <p:tag name="MTNUMBER" val="0.539745759004609"/>
</p:tagLst>
</file>

<file path=ppt/tags/tag591.xml><?xml version="1.0" encoding="utf-8"?>
<p:tagLst xmlns:a="http://schemas.openxmlformats.org/drawingml/2006/main" xmlns:r="http://schemas.openxmlformats.org/officeDocument/2006/relationships" xmlns:p="http://schemas.openxmlformats.org/presentationml/2006/main">
  <p:tag name="MTTABLE" val="HDiv"/>
  <p:tag name="MTNUMBER" val="0.539745759004609"/>
</p:tagLst>
</file>

<file path=ppt/tags/tag592.xml><?xml version="1.0" encoding="utf-8"?>
<p:tagLst xmlns:a="http://schemas.openxmlformats.org/drawingml/2006/main" xmlns:r="http://schemas.openxmlformats.org/officeDocument/2006/relationships" xmlns:p="http://schemas.openxmlformats.org/presentationml/2006/main">
  <p:tag name="MTTABLE" val="HDiv"/>
  <p:tag name="MTNUMBER" val="0.539745759004609"/>
</p:tagLst>
</file>

<file path=ppt/tags/tag593.xml><?xml version="1.0" encoding="utf-8"?>
<p:tagLst xmlns:a="http://schemas.openxmlformats.org/drawingml/2006/main" xmlns:r="http://schemas.openxmlformats.org/officeDocument/2006/relationships" xmlns:p="http://schemas.openxmlformats.org/presentationml/2006/main">
  <p:tag name="MTTABLE" val="HDiv"/>
  <p:tag name="MTNUMBER" val="0.539745759004609"/>
</p:tagLst>
</file>

<file path=ppt/tags/tag594.xml><?xml version="1.0" encoding="utf-8"?>
<p:tagLst xmlns:a="http://schemas.openxmlformats.org/drawingml/2006/main" xmlns:r="http://schemas.openxmlformats.org/officeDocument/2006/relationships" xmlns:p="http://schemas.openxmlformats.org/presentationml/2006/main">
  <p:tag name="NAME" val="Rectangle"/>
</p:tagLst>
</file>

<file path=ppt/tags/tag595.xml><?xml version="1.0" encoding="utf-8"?>
<p:tagLst xmlns:a="http://schemas.openxmlformats.org/drawingml/2006/main" xmlns:r="http://schemas.openxmlformats.org/officeDocument/2006/relationships" xmlns:p="http://schemas.openxmlformats.org/presentationml/2006/main">
  <p:tag name="NAME" val="Rectangle"/>
</p:tagLst>
</file>

<file path=ppt/tags/tag596.xml><?xml version="1.0" encoding="utf-8"?>
<p:tagLst xmlns:a="http://schemas.openxmlformats.org/drawingml/2006/main" xmlns:r="http://schemas.openxmlformats.org/officeDocument/2006/relationships" xmlns:p="http://schemas.openxmlformats.org/presentationml/2006/main">
  <p:tag name="NAME" val="Rectangle"/>
</p:tagLst>
</file>

<file path=ppt/tags/tag597.xml><?xml version="1.0" encoding="utf-8"?>
<p:tagLst xmlns:a="http://schemas.openxmlformats.org/drawingml/2006/main" xmlns:r="http://schemas.openxmlformats.org/officeDocument/2006/relationships" xmlns:p="http://schemas.openxmlformats.org/presentationml/2006/main">
  <p:tag name="NAME" val="Rectangle"/>
</p:tagLst>
</file>

<file path=ppt/tags/tag598.xml><?xml version="1.0" encoding="utf-8"?>
<p:tagLst xmlns:a="http://schemas.openxmlformats.org/drawingml/2006/main" xmlns:r="http://schemas.openxmlformats.org/officeDocument/2006/relationships" xmlns:p="http://schemas.openxmlformats.org/presentationml/2006/main">
  <p:tag name="NAME" val="Rectangle"/>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v3YqlHk0rfl9muz0J8lmpA"/>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PnIpctB2v5S.x_9RTzfLVg"/>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v3T9uD_a7e0cifL1PQdTw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odzaOa79j.pIU19qR46qV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l075cqCwF09SjYCwNB34ag"/>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6OrbM08w9Zg702yBgwx_jA"/>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FONannn5sZvDNPshFbqJU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6BnRmVOio1YVpftfqVERY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Vk.slld6sluCb7eFrp3MLg"/>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YtJUlU1HRTFf_yxJRY5.R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EE1sJDHrFgE9X48Lintfgw"/>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Iq0Dy3kGdrLY_8G2k7OcXg"/>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WplUIglHXuHmN1IHSo2Eaw"/>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x3aGvQjof4Jc.X2RI.Krx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EzbOUDnClRFBRwH6Vv1pow"/>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QwE93pdJKl83UrCHywa6u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5kpgpXZq5oqb06Esk_IT.Q"/>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1nrW06hip3ATzS86vRjyR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WZU7PFSQ35u1GG4W2p3TpQ"/>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6oDIK.a2AhXQTs.pFvDxjg"/>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Mr.vFP4v.xrN17sYffG9gg"/>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H8i60AnJFfWmi1OT9S2bHg"/>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oGO6h_e2b_RcSEL69Ortzg"/>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ah0qp00pHBzMnx16Rl.oSw"/>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iiVjo3yW.29TPL0k61aYk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n9QKsQG3xuw9xo3ljLpzY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YrBSkSt69ClfthRCE4LGS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lq1R8pgIrrjkGsWFkwCjEg"/>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3kzTA4LymwDOnWsJ9cF6v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uFX3fvb2EyzPOjkms7T.kQ"/>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9sLNs5D3jwjgfaXxonkt6w"/>
</p:tagLst>
</file>

<file path=ppt/tags/tag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AYvoDH5Vr8KAxLtJ4EB82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vM3sw1Ib8tEmSCGht3OYh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f2_a3x6b3wal14JG88i_kg"/>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Gkr.f23YGC5zvSTGDxjM4w"/>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F5CzKhTRo6pr0vftTP8ww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Iw4RosDqZDGtyFGH7Z7IjQ"/>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8zPBVPOe1MOgTcA7S5G9Gg"/>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WhldWTZ3qIU8Jvl16iYMa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MPTUC.VwLJzMepP5hogM1Q"/>
</p:tagLst>
</file>

<file path=ppt/tags/tag639.xml><?xml version="1.0" encoding="utf-8"?>
<p:tagLst xmlns:a="http://schemas.openxmlformats.org/drawingml/2006/main" xmlns:r="http://schemas.openxmlformats.org/officeDocument/2006/relationships" xmlns:p="http://schemas.openxmlformats.org/presentationml/2006/main">
  <p:tag name="NAME" val="Rectangle"/>
</p:tagLst>
</file>

<file path=ppt/tags/tag64.xml><?xml version="1.0" encoding="utf-8"?>
<p:tagLst xmlns:a="http://schemas.openxmlformats.org/drawingml/2006/main" xmlns:r="http://schemas.openxmlformats.org/officeDocument/2006/relationships" xmlns:p="http://schemas.openxmlformats.org/presentationml/2006/main">
  <p:tag name="SHAPENAME" val="5. Source"/>
</p:tagLst>
</file>

<file path=ppt/tags/tag640.xml><?xml version="1.0" encoding="utf-8"?>
<p:tagLst xmlns:a="http://schemas.openxmlformats.org/drawingml/2006/main" xmlns:r="http://schemas.openxmlformats.org/officeDocument/2006/relationships" xmlns:p="http://schemas.openxmlformats.org/presentationml/2006/main">
  <p:tag name="MTTABLE" val="HTitleDiv"/>
  <p:tag name="MTNUMBER" val="0.154885287934395"/>
</p:tagLst>
</file>

<file path=ppt/tags/tag641.xml><?xml version="1.0" encoding="utf-8"?>
<p:tagLst xmlns:a="http://schemas.openxmlformats.org/drawingml/2006/main" xmlns:r="http://schemas.openxmlformats.org/officeDocument/2006/relationships" xmlns:p="http://schemas.openxmlformats.org/presentationml/2006/main">
  <p:tag name="MTTABLE" val="HTitleDiv"/>
  <p:tag name="MTNUMBER" val="0.154885287934395"/>
</p:tagLst>
</file>

<file path=ppt/tags/tag642.xml><?xml version="1.0" encoding="utf-8"?>
<p:tagLst xmlns:a="http://schemas.openxmlformats.org/drawingml/2006/main" xmlns:r="http://schemas.openxmlformats.org/officeDocument/2006/relationships" xmlns:p="http://schemas.openxmlformats.org/presentationml/2006/main">
  <p:tag name="MTTABLE" val="HTitleDiv"/>
  <p:tag name="MTNUMBER" val="0.154885287934395"/>
</p:tagLst>
</file>

<file path=ppt/tags/tag643.xml><?xml version="1.0" encoding="utf-8"?>
<p:tagLst xmlns:a="http://schemas.openxmlformats.org/drawingml/2006/main" xmlns:r="http://schemas.openxmlformats.org/officeDocument/2006/relationships" xmlns:p="http://schemas.openxmlformats.org/presentationml/2006/main">
  <p:tag name="MTTABLE" val="HDiv"/>
  <p:tag name="MTNUMBER" val="0.154885287934395"/>
</p:tagLst>
</file>

<file path=ppt/tags/tag644.xml><?xml version="1.0" encoding="utf-8"?>
<p:tagLst xmlns:a="http://schemas.openxmlformats.org/drawingml/2006/main" xmlns:r="http://schemas.openxmlformats.org/officeDocument/2006/relationships" xmlns:p="http://schemas.openxmlformats.org/presentationml/2006/main">
  <p:tag name="MTTABLE" val="HTitleDiv"/>
  <p:tag name="MTNUMBER" val="0.154885287934395"/>
</p:tagLst>
</file>

<file path=ppt/tags/tag645.xml><?xml version="1.0" encoding="utf-8"?>
<p:tagLst xmlns:a="http://schemas.openxmlformats.org/drawingml/2006/main" xmlns:r="http://schemas.openxmlformats.org/officeDocument/2006/relationships" xmlns:p="http://schemas.openxmlformats.org/presentationml/2006/main">
  <p:tag name="MTTABLE" val="HDiv"/>
  <p:tag name="MTNUMBER" val="0.154885287934395"/>
</p:tagLst>
</file>

<file path=ppt/tags/tag646.xml><?xml version="1.0" encoding="utf-8"?>
<p:tagLst xmlns:a="http://schemas.openxmlformats.org/drawingml/2006/main" xmlns:r="http://schemas.openxmlformats.org/officeDocument/2006/relationships" xmlns:p="http://schemas.openxmlformats.org/presentationml/2006/main">
  <p:tag name="LOGOFINDERIMAGE" val="1"/>
</p:tagLst>
</file>

<file path=ppt/tags/tag647.xml><?xml version="1.0" encoding="utf-8"?>
<p:tagLst xmlns:a="http://schemas.openxmlformats.org/drawingml/2006/main" xmlns:r="http://schemas.openxmlformats.org/officeDocument/2006/relationships" xmlns:p="http://schemas.openxmlformats.org/presentationml/2006/main">
  <p:tag name="NAME" val="Rectangle"/>
</p:tagLst>
</file>

<file path=ppt/tags/tag648.xml><?xml version="1.0" encoding="utf-8"?>
<p:tagLst xmlns:a="http://schemas.openxmlformats.org/drawingml/2006/main" xmlns:r="http://schemas.openxmlformats.org/officeDocument/2006/relationships" xmlns:p="http://schemas.openxmlformats.org/presentationml/2006/main">
  <p:tag name="NAME" val="Rectangle"/>
</p:tagLst>
</file>

<file path=ppt/tags/tag649.xml><?xml version="1.0" encoding="utf-8"?>
<p:tagLst xmlns:a="http://schemas.openxmlformats.org/drawingml/2006/main" xmlns:r="http://schemas.openxmlformats.org/officeDocument/2006/relationships" xmlns:p="http://schemas.openxmlformats.org/presentationml/2006/main">
  <p:tag name="NAME" val="Rectangle"/>
</p:tagLst>
</file>

<file path=ppt/tags/tag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0.xml><?xml version="1.0" encoding="utf-8"?>
<p:tagLst xmlns:a="http://schemas.openxmlformats.org/drawingml/2006/main" xmlns:r="http://schemas.openxmlformats.org/officeDocument/2006/relationships" xmlns:p="http://schemas.openxmlformats.org/presentationml/2006/main">
  <p:tag name="NAME" val="Rectangle"/>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2.xml><?xml version="1.0" encoding="utf-8"?>
<p:tagLst xmlns:a="http://schemas.openxmlformats.org/drawingml/2006/main" xmlns:r="http://schemas.openxmlformats.org/officeDocument/2006/relationships" xmlns:p="http://schemas.openxmlformats.org/presentationml/2006/main">
  <p:tag name="SHAPENAME" val="5. Source"/>
</p:tagLst>
</file>

<file path=ppt/tags/tag653.xml><?xml version="1.0" encoding="utf-8"?>
<p:tagLst xmlns:a="http://schemas.openxmlformats.org/drawingml/2006/main" xmlns:r="http://schemas.openxmlformats.org/officeDocument/2006/relationships" xmlns:p="http://schemas.openxmlformats.org/presentationml/2006/main">
  <p:tag name="MTTABLE" val="HDiv"/>
  <p:tag name="MTNUMBER" val="0.539745759004609"/>
</p:tagLst>
</file>

<file path=ppt/tags/tag654.xml><?xml version="1.0" encoding="utf-8"?>
<p:tagLst xmlns:a="http://schemas.openxmlformats.org/drawingml/2006/main" xmlns:r="http://schemas.openxmlformats.org/officeDocument/2006/relationships" xmlns:p="http://schemas.openxmlformats.org/presentationml/2006/main">
  <p:tag name="MTTABLE" val="HDiv"/>
  <p:tag name="MTNUMBER" val="0.539745759004609"/>
</p:tagLst>
</file>

<file path=ppt/tags/tag655.xml><?xml version="1.0" encoding="utf-8"?>
<p:tagLst xmlns:a="http://schemas.openxmlformats.org/drawingml/2006/main" xmlns:r="http://schemas.openxmlformats.org/officeDocument/2006/relationships" xmlns:p="http://schemas.openxmlformats.org/presentationml/2006/main">
  <p:tag name="MTTABLE" val="HDiv"/>
  <p:tag name="MTNUMBER" val="0.539745759004609"/>
</p:tagLst>
</file>

<file path=ppt/tags/tag656.xml><?xml version="1.0" encoding="utf-8"?>
<p:tagLst xmlns:a="http://schemas.openxmlformats.org/drawingml/2006/main" xmlns:r="http://schemas.openxmlformats.org/officeDocument/2006/relationships" xmlns:p="http://schemas.openxmlformats.org/presentationml/2006/main">
  <p:tag name="MTTABLE" val="HDiv"/>
  <p:tag name="MTNUMBER" val="0.539745759004609"/>
</p:tagLst>
</file>

<file path=ppt/tags/tag657.xml><?xml version="1.0" encoding="utf-8"?>
<p:tagLst xmlns:a="http://schemas.openxmlformats.org/drawingml/2006/main" xmlns:r="http://schemas.openxmlformats.org/officeDocument/2006/relationships" xmlns:p="http://schemas.openxmlformats.org/presentationml/2006/main">
  <p:tag name="NAME" val="Rectangle"/>
</p:tagLst>
</file>

<file path=ppt/tags/tag658.xml><?xml version="1.0" encoding="utf-8"?>
<p:tagLst xmlns:a="http://schemas.openxmlformats.org/drawingml/2006/main" xmlns:r="http://schemas.openxmlformats.org/officeDocument/2006/relationships" xmlns:p="http://schemas.openxmlformats.org/presentationml/2006/main">
  <p:tag name="NAME" val="Rectangle"/>
</p:tagLst>
</file>

<file path=ppt/tags/tag659.xml><?xml version="1.0" encoding="utf-8"?>
<p:tagLst xmlns:a="http://schemas.openxmlformats.org/drawingml/2006/main" xmlns:r="http://schemas.openxmlformats.org/officeDocument/2006/relationships" xmlns:p="http://schemas.openxmlformats.org/presentationml/2006/main">
  <p:tag name="NAME" val="Rectangl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0.xml><?xml version="1.0" encoding="utf-8"?>
<p:tagLst xmlns:a="http://schemas.openxmlformats.org/drawingml/2006/main" xmlns:r="http://schemas.openxmlformats.org/officeDocument/2006/relationships" xmlns:p="http://schemas.openxmlformats.org/presentationml/2006/main">
  <p:tag name="NAME" val="Rectangle"/>
</p:tagLst>
</file>

<file path=ppt/tags/tag661.xml><?xml version="1.0" encoding="utf-8"?>
<p:tagLst xmlns:a="http://schemas.openxmlformats.org/drawingml/2006/main" xmlns:r="http://schemas.openxmlformats.org/officeDocument/2006/relationships" xmlns:p="http://schemas.openxmlformats.org/presentationml/2006/main">
  <p:tag name="NAME" val="Rectangle"/>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v3YqlHk0rfl9muz0J8lmp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PnIpctB2v5S.x_9RTzfLVg"/>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v3T9uD_a7e0cifL1PQdTww"/>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odzaOa79j.pIU19qR46qV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l075cqCwF09SjYCwNB34ag"/>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6OrbM08w9Zg702yBgwx_jA"/>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FONannn5sZvDNPshFbqJUQ"/>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6BnRmVOio1YVpftfqVERY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Vk.slld6sluCb7eFrp3MLg"/>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YtJUlU1HRTFf_yxJRY5.Rw"/>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EE1sJDHrFgE9X48Lintfg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Iq0Dy3kGdrLY_8G2k7OcXg"/>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WplUIglHXuHmN1IHSo2Eaw"/>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x3aGvQjof4Jc.X2RI.Krx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EzbOUDnClRFBRwH6Vv1po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QwE93pdJKl83UrCHywa6uQ"/>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5kpgpXZq5oqb06Esk_IT.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1nrW06hip3ATzS86vRjyRw"/>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WZU7PFSQ35u1GG4W2p3TpQ"/>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6oDIK.a2AhXQTs.pFvDxjg"/>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Mr.vFP4v.xrN17sYffG9gg"/>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H8i60AnJFfWmi1OT9S2bHg"/>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oGO6h_e2b_RcSEL69Ortzg"/>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ah0qp00pHBzMnx16Rl.oSw"/>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iiVjo3yW.29TPL0k61aYkQ"/>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n9QKsQG3xuw9xo3ljLpzYw"/>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YrBSkSt69ClfthRCE4LGSQ"/>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lq1R8pgIrrjkGsWFkwCjEg"/>
</p:tagLst>
</file>

<file path=ppt/tags/tag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3kzTA4LymwDOnWsJ9cF6vg"/>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uFX3fvb2EyzPOjkms7T.k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9sLNs5D3jwjgfaXxonkt6w"/>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AYvoDH5Vr8KAxLtJ4EB82Q"/>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lqpYGfJjL7Cv7E66WU_1R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vM3sw1Ib8tEmSCGht3OYhA"/>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T7VCQgBpRcM5fYAc3QdJf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f2_a3x6b3wal14JG88i_kg"/>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Gkr.f23YGC5zvSTGDxjM4w"/>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F5CzKhTRo6pr0vftTP8www"/>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8zPBVPOe1MOgTcA7S5G9Gg"/>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WhldWTZ3qIU8Jvl16iYMaw"/>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95i5H_xuu05MPUKELCd7A"/>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MPTUC.VwLJzMepP5hogM1Q"/>
</p:tagLst>
</file>

<file path=ppt/tags/tag704.xml><?xml version="1.0" encoding="utf-8"?>
<p:tagLst xmlns:a="http://schemas.openxmlformats.org/drawingml/2006/main" xmlns:r="http://schemas.openxmlformats.org/officeDocument/2006/relationships" xmlns:p="http://schemas.openxmlformats.org/presentationml/2006/main">
  <p:tag name="NAME" val="Rectangle"/>
</p:tagLst>
</file>

<file path=ppt/tags/tag705.xml><?xml version="1.0" encoding="utf-8"?>
<p:tagLst xmlns:a="http://schemas.openxmlformats.org/drawingml/2006/main" xmlns:r="http://schemas.openxmlformats.org/officeDocument/2006/relationships" xmlns:p="http://schemas.openxmlformats.org/presentationml/2006/main">
  <p:tag name="MTTABLE" val="HTitleDiv"/>
  <p:tag name="MTNUMBER" val="0.154885287934395"/>
</p:tagLst>
</file>

<file path=ppt/tags/tag706.xml><?xml version="1.0" encoding="utf-8"?>
<p:tagLst xmlns:a="http://schemas.openxmlformats.org/drawingml/2006/main" xmlns:r="http://schemas.openxmlformats.org/officeDocument/2006/relationships" xmlns:p="http://schemas.openxmlformats.org/presentationml/2006/main">
  <p:tag name="MTTABLE" val="HTitleDiv"/>
  <p:tag name="MTNUMBER" val="0.154885287934395"/>
</p:tagLst>
</file>

<file path=ppt/tags/tag707.xml><?xml version="1.0" encoding="utf-8"?>
<p:tagLst xmlns:a="http://schemas.openxmlformats.org/drawingml/2006/main" xmlns:r="http://schemas.openxmlformats.org/officeDocument/2006/relationships" xmlns:p="http://schemas.openxmlformats.org/presentationml/2006/main">
  <p:tag name="MTTABLE" val="HTitleDiv"/>
  <p:tag name="MTNUMBER" val="0.154885287934395"/>
</p:tagLst>
</file>

<file path=ppt/tags/tag708.xml><?xml version="1.0" encoding="utf-8"?>
<p:tagLst xmlns:a="http://schemas.openxmlformats.org/drawingml/2006/main" xmlns:r="http://schemas.openxmlformats.org/officeDocument/2006/relationships" xmlns:p="http://schemas.openxmlformats.org/presentationml/2006/main">
  <p:tag name="MTTABLE" val="HDiv"/>
  <p:tag name="MTNUMBER" val="0.154885287934395"/>
</p:tagLst>
</file>

<file path=ppt/tags/tag709.xml><?xml version="1.0" encoding="utf-8"?>
<p:tagLst xmlns:a="http://schemas.openxmlformats.org/drawingml/2006/main" xmlns:r="http://schemas.openxmlformats.org/officeDocument/2006/relationships" xmlns:p="http://schemas.openxmlformats.org/presentationml/2006/main">
  <p:tag name="MTTABLE" val="HTitleDiv"/>
  <p:tag name="MTNUMBER" val="0.154885287934395"/>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10.xml><?xml version="1.0" encoding="utf-8"?>
<p:tagLst xmlns:a="http://schemas.openxmlformats.org/drawingml/2006/main" xmlns:r="http://schemas.openxmlformats.org/officeDocument/2006/relationships" xmlns:p="http://schemas.openxmlformats.org/presentationml/2006/main">
  <p:tag name="MTTABLE" val="HDiv"/>
  <p:tag name="MTNUMBER" val="0.154885287934395"/>
</p:tagLst>
</file>

<file path=ppt/tags/tag711.xml><?xml version="1.0" encoding="utf-8"?>
<p:tagLst xmlns:a="http://schemas.openxmlformats.org/drawingml/2006/main" xmlns:r="http://schemas.openxmlformats.org/officeDocument/2006/relationships" xmlns:p="http://schemas.openxmlformats.org/presentationml/2006/main">
  <p:tag name="NAME" val="Rectangle"/>
</p:tagLst>
</file>

<file path=ppt/tags/tag712.xml><?xml version="1.0" encoding="utf-8"?>
<p:tagLst xmlns:a="http://schemas.openxmlformats.org/drawingml/2006/main" xmlns:r="http://schemas.openxmlformats.org/officeDocument/2006/relationships" xmlns:p="http://schemas.openxmlformats.org/presentationml/2006/main">
  <p:tag name="NAME" val="Rectangle"/>
</p:tagLst>
</file>

<file path=ppt/tags/tag713.xml><?xml version="1.0" encoding="utf-8"?>
<p:tagLst xmlns:a="http://schemas.openxmlformats.org/drawingml/2006/main" xmlns:r="http://schemas.openxmlformats.org/officeDocument/2006/relationships" xmlns:p="http://schemas.openxmlformats.org/presentationml/2006/main">
  <p:tag name="NAME" val="Rectangle"/>
</p:tagLst>
</file>

<file path=ppt/tags/tag714.xml><?xml version="1.0" encoding="utf-8"?>
<p:tagLst xmlns:a="http://schemas.openxmlformats.org/drawingml/2006/main" xmlns:r="http://schemas.openxmlformats.org/officeDocument/2006/relationships" xmlns:p="http://schemas.openxmlformats.org/presentationml/2006/main">
  <p:tag name="NAME" val="Rectangle"/>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6.xml><?xml version="1.0" encoding="utf-8"?>
<p:tagLst xmlns:a="http://schemas.openxmlformats.org/drawingml/2006/main" xmlns:r="http://schemas.openxmlformats.org/officeDocument/2006/relationships" xmlns:p="http://schemas.openxmlformats.org/presentationml/2006/main">
  <p:tag name="NAME" val="Rectangle"/>
</p:tagLst>
</file>

<file path=ppt/tags/tag717.xml><?xml version="1.0" encoding="utf-8"?>
<p:tagLst xmlns:a="http://schemas.openxmlformats.org/drawingml/2006/main" xmlns:r="http://schemas.openxmlformats.org/officeDocument/2006/relationships" xmlns:p="http://schemas.openxmlformats.org/presentationml/2006/main">
  <p:tag name="SHAPENAME" val="5. Source"/>
</p:tagLst>
</file>

<file path=ppt/tags/tag718.xml><?xml version="1.0" encoding="utf-8"?>
<p:tagLst xmlns:a="http://schemas.openxmlformats.org/drawingml/2006/main" xmlns:r="http://schemas.openxmlformats.org/officeDocument/2006/relationships" xmlns:p="http://schemas.openxmlformats.org/presentationml/2006/main">
  <p:tag name="NAME" val="Rectangle"/>
</p:tagLst>
</file>

<file path=ppt/tags/tag719.xml><?xml version="1.0" encoding="utf-8"?>
<p:tagLst xmlns:a="http://schemas.openxmlformats.org/drawingml/2006/main" xmlns:r="http://schemas.openxmlformats.org/officeDocument/2006/relationships" xmlns:p="http://schemas.openxmlformats.org/presentationml/2006/main">
  <p:tag name="NAME" val="Rectangl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0.xml><?xml version="1.0" encoding="utf-8"?>
<p:tagLst xmlns:a="http://schemas.openxmlformats.org/drawingml/2006/main" xmlns:r="http://schemas.openxmlformats.org/officeDocument/2006/relationships" xmlns:p="http://schemas.openxmlformats.org/presentationml/2006/main">
  <p:tag name="NAME" val="Rectangle"/>
</p:tagLst>
</file>

<file path=ppt/tags/tag721.xml><?xml version="1.0" encoding="utf-8"?>
<p:tagLst xmlns:a="http://schemas.openxmlformats.org/drawingml/2006/main" xmlns:r="http://schemas.openxmlformats.org/officeDocument/2006/relationships" xmlns:p="http://schemas.openxmlformats.org/presentationml/2006/main">
  <p:tag name="MTTABLE" val="HDiv"/>
  <p:tag name="MTNUMBER" val="0.539745759004609"/>
</p:tagLst>
</file>

<file path=ppt/tags/tag722.xml><?xml version="1.0" encoding="utf-8"?>
<p:tagLst xmlns:a="http://schemas.openxmlformats.org/drawingml/2006/main" xmlns:r="http://schemas.openxmlformats.org/officeDocument/2006/relationships" xmlns:p="http://schemas.openxmlformats.org/presentationml/2006/main">
  <p:tag name="MTTABLE" val="HDiv"/>
  <p:tag name="MTNUMBER" val="0.539745759004609"/>
</p:tagLst>
</file>

<file path=ppt/tags/tag723.xml><?xml version="1.0" encoding="utf-8"?>
<p:tagLst xmlns:a="http://schemas.openxmlformats.org/drawingml/2006/main" xmlns:r="http://schemas.openxmlformats.org/officeDocument/2006/relationships" xmlns:p="http://schemas.openxmlformats.org/presentationml/2006/main">
  <p:tag name="MTTABLE" val="HDiv"/>
  <p:tag name="MTNUMBER" val="0.539745759004609"/>
</p:tagLst>
</file>

<file path=ppt/tags/tag724.xml><?xml version="1.0" encoding="utf-8"?>
<p:tagLst xmlns:a="http://schemas.openxmlformats.org/drawingml/2006/main" xmlns:r="http://schemas.openxmlformats.org/officeDocument/2006/relationships" xmlns:p="http://schemas.openxmlformats.org/presentationml/2006/main">
  <p:tag name="MTTABLE" val="HDiv"/>
  <p:tag name="MTNUMBER" val="0.539745759004609"/>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9VrXynLPi_riqlr2hC_Giw"/>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Bp6zjahlqObxVHyrD1YYnw"/>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h3c_VhKnKICgQdHodNYbHw"/>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I21yPkWgaFgT51r6ZIrbuA"/>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YMhrXmnOvvjbx85kI1A7yw"/>
</p:tagLst>
</file>

<file path=ppt/tags/tag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zRBFB9shaiM0a1Qkpr0c.A"/>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HJjuxXdpXjjeuk_aWoUon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olvj6ogLDq4UDYv9luKSr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rwuKFeHF0oidUy72Vtcuxw"/>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7IwI_x_1Z_n.62AERu3HN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cqWOm_dXuTT4iiml5IN.Sw"/>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j66SDQXoq3tyRv3jk5LK.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gIgWZOgELXwO4ztRtBXNqg"/>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ZuUd8A4OXY0bhi2DRC_uZw"/>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yl_pDtJPTIa_mE7YKAqlp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gY13qZBb7_5y.WAiay6BdQ"/>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xoShqf0h5nhfmx7aM5yLqA"/>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lVZjEiPS6bqNo4CWZ7akxA"/>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oUEalGP2POdOwmg1dDueDg"/>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Mo.iPnZIxtezxmrgW_uaqQ"/>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ssdjsPNNnnKpBfFJpXXCpA"/>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Yl5HLwn27eqElo0a89u3qA"/>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mlVL.7GGI8FeBePAZPZE2Q"/>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s0IFMniVMy0nSLkdPCh0pQ"/>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ZyRXtLjBznL0xx.nTaCFC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MSmPk6DkpvUPROq.9mZIpg"/>
</p:tagLst>
</file>

<file path=ppt/tags/tag751.xml><?xml version="1.0" encoding="utf-8"?>
<p:tagLst xmlns:a="http://schemas.openxmlformats.org/drawingml/2006/main" xmlns:r="http://schemas.openxmlformats.org/officeDocument/2006/relationships" xmlns:p="http://schemas.openxmlformats.org/presentationml/2006/main">
  <p:tag name="NAME" val="Rectangle"/>
</p:tagLst>
</file>

<file path=ppt/tags/tag752.xml><?xml version="1.0" encoding="utf-8"?>
<p:tagLst xmlns:a="http://schemas.openxmlformats.org/drawingml/2006/main" xmlns:r="http://schemas.openxmlformats.org/officeDocument/2006/relationships" xmlns:p="http://schemas.openxmlformats.org/presentationml/2006/main">
  <p:tag name="NAME" val="Rectangle"/>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kEaISR6Dfy0RDxsFmIQ9JQ"/>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a9PstOiRgp9yKaZCKdibYw"/>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XpLnEs0eGmNPCSqCMzvan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37pJNwJof19pD7YUOfWLIw"/>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j8RsUaicsVQ.sNlz9syflg"/>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rB8APSLkmu4hnQJiUu8mTg"/>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WuhZ.MarxShRRQfn.j6vYg"/>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QSKDNX6wqrRpg1Cuqdm_vA"/>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ApcgvxbvCPPqrqXwewdbR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IZ3CeE3mbfsZTboPDwAyog"/>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a7QCeTJ5VTpUL6t5W4LZwQ"/>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IhRRfuXgAfcuB6eTzm5UMg"/>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4sFtm21X3etgX.JTNZvFfA"/>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U_qdPcwNnmUU_JO.bLrGIQ"/>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lVN9rEH9uOS7GFQ_ZxZ5Tg"/>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KbULLlYPsexo7XPPWettAw"/>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dy8RySRPv5g7pk4SoIuh6A"/>
</p:tagLst>
</file>

<file path=ppt/tags/tag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QX2tOWnagQb7B1M1qM6lag"/>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Ub52GNMSJCxjTi7yWt1LLg"/>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1yJsQbcjinhmCww_.VdzSQ"/>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4eAsacYKkg7bJj9HHj_xxQ"/>
</p:tagLst>
</file>

<file path=ppt/tags/tag774.xml><?xml version="1.0" encoding="utf-8"?>
<p:tagLst xmlns:a="http://schemas.openxmlformats.org/drawingml/2006/main" xmlns:r="http://schemas.openxmlformats.org/officeDocument/2006/relationships" xmlns:p="http://schemas.openxmlformats.org/presentationml/2006/main">
  <p:tag name="NAME" val="Rectangle"/>
</p:tagLst>
</file>

<file path=ppt/tags/tag775.xml><?xml version="1.0" encoding="utf-8"?>
<p:tagLst xmlns:a="http://schemas.openxmlformats.org/drawingml/2006/main" xmlns:r="http://schemas.openxmlformats.org/officeDocument/2006/relationships" xmlns:p="http://schemas.openxmlformats.org/presentationml/2006/main">
  <p:tag name="NAME" val="Rectangle"/>
</p:tagLst>
</file>

<file path=ppt/tags/tag776.xml><?xml version="1.0" encoding="utf-8"?>
<p:tagLst xmlns:a="http://schemas.openxmlformats.org/drawingml/2006/main" xmlns:r="http://schemas.openxmlformats.org/officeDocument/2006/relationships" xmlns:p="http://schemas.openxmlformats.org/presentationml/2006/main">
  <p:tag name="MTTABLE" val="HTitleDiv"/>
  <p:tag name="MTNUMBER" val="0.154885287934395"/>
</p:tagLst>
</file>

<file path=ppt/tags/tag777.xml><?xml version="1.0" encoding="utf-8"?>
<p:tagLst xmlns:a="http://schemas.openxmlformats.org/drawingml/2006/main" xmlns:r="http://schemas.openxmlformats.org/officeDocument/2006/relationships" xmlns:p="http://schemas.openxmlformats.org/presentationml/2006/main">
  <p:tag name="MTTABLE" val="HTitleDiv"/>
  <p:tag name="MTNUMBER" val="0.154885287934395"/>
</p:tagLst>
</file>

<file path=ppt/tags/tag778.xml><?xml version="1.0" encoding="utf-8"?>
<p:tagLst xmlns:a="http://schemas.openxmlformats.org/drawingml/2006/main" xmlns:r="http://schemas.openxmlformats.org/officeDocument/2006/relationships" xmlns:p="http://schemas.openxmlformats.org/presentationml/2006/main">
  <p:tag name="MTTABLE" val="HTitleDiv"/>
  <p:tag name="MTNUMBER" val="0.154885287934395"/>
</p:tagLst>
</file>

<file path=ppt/tags/tag779.xml><?xml version="1.0" encoding="utf-8"?>
<p:tagLst xmlns:a="http://schemas.openxmlformats.org/drawingml/2006/main" xmlns:r="http://schemas.openxmlformats.org/officeDocument/2006/relationships" xmlns:p="http://schemas.openxmlformats.org/presentationml/2006/main">
  <p:tag name="MTTABLE" val="HDiv"/>
  <p:tag name="MTNUMBER" val="0.154885287934395"/>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0.xml><?xml version="1.0" encoding="utf-8"?>
<p:tagLst xmlns:a="http://schemas.openxmlformats.org/drawingml/2006/main" xmlns:r="http://schemas.openxmlformats.org/officeDocument/2006/relationships" xmlns:p="http://schemas.openxmlformats.org/presentationml/2006/main">
  <p:tag name="MTTABLE" val="HTitleDiv"/>
  <p:tag name="MTNUMBER" val="0.154885287934395"/>
</p:tagLst>
</file>

<file path=ppt/tags/tag781.xml><?xml version="1.0" encoding="utf-8"?>
<p:tagLst xmlns:a="http://schemas.openxmlformats.org/drawingml/2006/main" xmlns:r="http://schemas.openxmlformats.org/officeDocument/2006/relationships" xmlns:p="http://schemas.openxmlformats.org/presentationml/2006/main">
  <p:tag name="NAME" val="Rectangle"/>
</p:tagLst>
</file>

<file path=ppt/tags/tag782.xml><?xml version="1.0" encoding="utf-8"?>
<p:tagLst xmlns:a="http://schemas.openxmlformats.org/drawingml/2006/main" xmlns:r="http://schemas.openxmlformats.org/officeDocument/2006/relationships" xmlns:p="http://schemas.openxmlformats.org/presentationml/2006/main">
  <p:tag name="NAME" val="Rectangle"/>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4.xml><?xml version="1.0" encoding="utf-8"?>
<p:tagLst xmlns:a="http://schemas.openxmlformats.org/drawingml/2006/main" xmlns:r="http://schemas.openxmlformats.org/officeDocument/2006/relationships" xmlns:p="http://schemas.openxmlformats.org/presentationml/2006/main">
  <p:tag name="SHAPENAME" val="5. Source"/>
</p:tagLst>
</file>

<file path=ppt/tags/tag785.xml><?xml version="1.0" encoding="utf-8"?>
<p:tagLst xmlns:a="http://schemas.openxmlformats.org/drawingml/2006/main" xmlns:r="http://schemas.openxmlformats.org/officeDocument/2006/relationships" xmlns:p="http://schemas.openxmlformats.org/presentationml/2006/main">
  <p:tag name="MTTABLE" val="HDiv"/>
  <p:tag name="MTNUMBER" val="0.539745759004609"/>
</p:tagLst>
</file>

<file path=ppt/tags/tag786.xml><?xml version="1.0" encoding="utf-8"?>
<p:tagLst xmlns:a="http://schemas.openxmlformats.org/drawingml/2006/main" xmlns:r="http://schemas.openxmlformats.org/officeDocument/2006/relationships" xmlns:p="http://schemas.openxmlformats.org/presentationml/2006/main">
  <p:tag name="MTTABLE" val="HDiv"/>
  <p:tag name="MTNUMBER" val="0.539745759004609"/>
</p:tagLst>
</file>

<file path=ppt/tags/tag787.xml><?xml version="1.0" encoding="utf-8"?>
<p:tagLst xmlns:a="http://schemas.openxmlformats.org/drawingml/2006/main" xmlns:r="http://schemas.openxmlformats.org/officeDocument/2006/relationships" xmlns:p="http://schemas.openxmlformats.org/presentationml/2006/main">
  <p:tag name="MTTABLE" val="HDiv"/>
  <p:tag name="MTNUMBER" val="0.539745759004609"/>
</p:tagLst>
</file>

<file path=ppt/tags/tag788.xml><?xml version="1.0" encoding="utf-8"?>
<p:tagLst xmlns:a="http://schemas.openxmlformats.org/drawingml/2006/main" xmlns:r="http://schemas.openxmlformats.org/officeDocument/2006/relationships" xmlns:p="http://schemas.openxmlformats.org/presentationml/2006/main">
  <p:tag name="MTTABLE" val="HDiv"/>
  <p:tag name="MTNUMBER" val="0.539745759004609"/>
</p:tagLst>
</file>

<file path=ppt/tags/tag789.xml><?xml version="1.0" encoding="utf-8"?>
<p:tagLst xmlns:a="http://schemas.openxmlformats.org/drawingml/2006/main" xmlns:r="http://schemas.openxmlformats.org/officeDocument/2006/relationships" xmlns:p="http://schemas.openxmlformats.org/presentationml/2006/main">
  <p:tag name="NAME" val="Rectangle"/>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790.xml><?xml version="1.0" encoding="utf-8"?>
<p:tagLst xmlns:a="http://schemas.openxmlformats.org/drawingml/2006/main" xmlns:r="http://schemas.openxmlformats.org/officeDocument/2006/relationships" xmlns:p="http://schemas.openxmlformats.org/presentationml/2006/main">
  <p:tag name="NAME" val="Rectangle"/>
</p:tagLst>
</file>

<file path=ppt/tags/tag791.xml><?xml version="1.0" encoding="utf-8"?>
<p:tagLst xmlns:a="http://schemas.openxmlformats.org/drawingml/2006/main" xmlns:r="http://schemas.openxmlformats.org/officeDocument/2006/relationships" xmlns:p="http://schemas.openxmlformats.org/presentationml/2006/main">
  <p:tag name="NAME" val="Rectangle"/>
</p:tagLst>
</file>

<file path=ppt/tags/tag792.xml><?xml version="1.0" encoding="utf-8"?>
<p:tagLst xmlns:a="http://schemas.openxmlformats.org/drawingml/2006/main" xmlns:r="http://schemas.openxmlformats.org/officeDocument/2006/relationships" xmlns:p="http://schemas.openxmlformats.org/presentationml/2006/main">
  <p:tag name="NAME" val="Rectangle"/>
</p:tagLst>
</file>

<file path=ppt/tags/tag793.xml><?xml version="1.0" encoding="utf-8"?>
<p:tagLst xmlns:a="http://schemas.openxmlformats.org/drawingml/2006/main" xmlns:r="http://schemas.openxmlformats.org/officeDocument/2006/relationships" xmlns:p="http://schemas.openxmlformats.org/presentationml/2006/main">
  <p:tag name="NAME" val="Rectangle"/>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v3YqlHk0rfl9muz0J8lmpA"/>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PnIpctB2v5S.x_9RTzfLVg"/>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v3T9uD_a7e0cifL1PQdTw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odzaOa79j.pIU19qR46qVQ"/>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l075cqCwF09SjYCwNB34ag"/>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6OrbM08w9Zg702yBgwx_jA"/>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FONannn5sZvDNPshFbqJUQ"/>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Vk.slld6sluCb7eFrp3MLg"/>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EE1sJDHrFgE9X48Lintfgw"/>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Iq0Dy3kGdrLY_8G2k7OcXg"/>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WplUIglHXuHmN1IHSo2Eaw"/>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x3aGvQjof4Jc.X2RI.KrxQ"/>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EzbOUDnClRFBRwH6Vv1pow"/>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QwE93pdJKl83UrCHywa6uQ"/>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5kpgpXZq5oqb06Esk_IT.Q"/>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1nrW06hip3ATzS86vRjyRw"/>
</p:tagLst>
</file>

<file path=ppt/tags/tag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WZU7PFSQ35u1GG4W2p3TpQ"/>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6oDIK.a2AhXQTs.pFvDxjg"/>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Mr.vFP4v.xrN17sYffG9gg"/>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6BnRmVOio1YVpftfqVERYg"/>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H8i60AnJFfWmi1OT9S2bHg"/>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YtJUlU1HRTFf_yxJRY5.Rw"/>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oGO6h_e2b_RcSEL69Ortzg"/>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ah0qp00pHBzMnx16Rl.oSw"/>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iiVjo3yW.29TPL0k61aYkQ"/>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n9QKsQG3xuw9xo3ljLpzY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YrBSkSt69ClfthRCE4LGSQ"/>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lq1R8pgIrrjkGsWFkwCjEg"/>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9sLNs5D3jwjgfaXxonkt6w"/>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AYvoDH5Vr8KAxLtJ4EB82Q"/>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vM3sw1Ib8tEmSCGht3OYhA"/>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T7VCQgBpRcM5fYAc3QdJfA"/>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f2_a3x6b3wal14JG88i_kg"/>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F5CzKhTRo6pr0vftTP8www"/>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gGVFEtpo_CSqz2j1KBiB3g"/>
</p:tagLst>
</file>

<file path=ppt/tags/tag829.xml><?xml version="1.0" encoding="utf-8"?>
<p:tagLst xmlns:a="http://schemas.openxmlformats.org/drawingml/2006/main" xmlns:r="http://schemas.openxmlformats.org/officeDocument/2006/relationships" xmlns:p="http://schemas.openxmlformats.org/presentationml/2006/main">
  <p:tag name="NAME" val="Rectangl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830.xml><?xml version="1.0" encoding="utf-8"?>
<p:tagLst xmlns:a="http://schemas.openxmlformats.org/drawingml/2006/main" xmlns:r="http://schemas.openxmlformats.org/officeDocument/2006/relationships" xmlns:p="http://schemas.openxmlformats.org/presentationml/2006/main">
  <p:tag name="MTTABLE" val="HTitleDiv"/>
  <p:tag name="MTNUMBER" val="0.154885287934395"/>
</p:tagLst>
</file>

<file path=ppt/tags/tag831.xml><?xml version="1.0" encoding="utf-8"?>
<p:tagLst xmlns:a="http://schemas.openxmlformats.org/drawingml/2006/main" xmlns:r="http://schemas.openxmlformats.org/officeDocument/2006/relationships" xmlns:p="http://schemas.openxmlformats.org/presentationml/2006/main">
  <p:tag name="MTTABLE" val="HTitleDiv"/>
  <p:tag name="MTNUMBER" val="0.154885287934395"/>
</p:tagLst>
</file>

<file path=ppt/tags/tag832.xml><?xml version="1.0" encoding="utf-8"?>
<p:tagLst xmlns:a="http://schemas.openxmlformats.org/drawingml/2006/main" xmlns:r="http://schemas.openxmlformats.org/officeDocument/2006/relationships" xmlns:p="http://schemas.openxmlformats.org/presentationml/2006/main">
  <p:tag name="MTTABLE" val="HTitleDiv"/>
  <p:tag name="MTNUMBER" val="0.154885287934395"/>
</p:tagLst>
</file>

<file path=ppt/tags/tag833.xml><?xml version="1.0" encoding="utf-8"?>
<p:tagLst xmlns:a="http://schemas.openxmlformats.org/drawingml/2006/main" xmlns:r="http://schemas.openxmlformats.org/officeDocument/2006/relationships" xmlns:p="http://schemas.openxmlformats.org/presentationml/2006/main">
  <p:tag name="MTTABLE" val="HDiv"/>
  <p:tag name="MTNUMBER" val="0.154885287934395"/>
</p:tagLst>
</file>

<file path=ppt/tags/tag834.xml><?xml version="1.0" encoding="utf-8"?>
<p:tagLst xmlns:a="http://schemas.openxmlformats.org/drawingml/2006/main" xmlns:r="http://schemas.openxmlformats.org/officeDocument/2006/relationships" xmlns:p="http://schemas.openxmlformats.org/presentationml/2006/main">
  <p:tag name="MTTABLE" val="HTitleDiv"/>
  <p:tag name="MTNUMBER" val="0.154885287934395"/>
</p:tagLst>
</file>

<file path=ppt/tags/tag835.xml><?xml version="1.0" encoding="utf-8"?>
<p:tagLst xmlns:a="http://schemas.openxmlformats.org/drawingml/2006/main" xmlns:r="http://schemas.openxmlformats.org/officeDocument/2006/relationships" xmlns:p="http://schemas.openxmlformats.org/presentationml/2006/main">
  <p:tag name="MTTABLE" val="HDiv"/>
  <p:tag name="MTNUMBER" val="0.154885287934395"/>
</p:tagLst>
</file>

<file path=ppt/tags/tag836.xml><?xml version="1.0" encoding="utf-8"?>
<p:tagLst xmlns:a="http://schemas.openxmlformats.org/drawingml/2006/main" xmlns:r="http://schemas.openxmlformats.org/officeDocument/2006/relationships" xmlns:p="http://schemas.openxmlformats.org/presentationml/2006/main">
  <p:tag name="NAME" val="Rectangle"/>
</p:tagLst>
</file>

<file path=ppt/tags/tag837.xml><?xml version="1.0" encoding="utf-8"?>
<p:tagLst xmlns:a="http://schemas.openxmlformats.org/drawingml/2006/main" xmlns:r="http://schemas.openxmlformats.org/officeDocument/2006/relationships" xmlns:p="http://schemas.openxmlformats.org/presentationml/2006/main">
  <p:tag name="NAME" val="Rectangle"/>
</p:tagLst>
</file>

<file path=ppt/tags/tag838.xml><?xml version="1.0" encoding="utf-8"?>
<p:tagLst xmlns:a="http://schemas.openxmlformats.org/drawingml/2006/main" xmlns:r="http://schemas.openxmlformats.org/officeDocument/2006/relationships" xmlns:p="http://schemas.openxmlformats.org/presentationml/2006/main">
  <p:tag name="NAME" val="Rectangle"/>
</p:tagLst>
</file>

<file path=ppt/tags/tag839.xml><?xml version="1.0" encoding="utf-8"?>
<p:tagLst xmlns:a="http://schemas.openxmlformats.org/drawingml/2006/main" xmlns:r="http://schemas.openxmlformats.org/officeDocument/2006/relationships" xmlns:p="http://schemas.openxmlformats.org/presentationml/2006/main">
  <p:tag name="NAME" val="Rectangle"/>
</p:tagLst>
</file>

<file path=ppt/tags/tag8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1.xml><?xml version="1.0" encoding="utf-8"?>
<p:tagLst xmlns:a="http://schemas.openxmlformats.org/drawingml/2006/main" xmlns:r="http://schemas.openxmlformats.org/officeDocument/2006/relationships" xmlns:p="http://schemas.openxmlformats.org/presentationml/2006/main">
  <p:tag name="SHAPENAME" val="5. Source"/>
</p:tagLst>
</file>

<file path=ppt/tags/tag842.xml><?xml version="1.0" encoding="utf-8"?>
<p:tagLst xmlns:a="http://schemas.openxmlformats.org/drawingml/2006/main" xmlns:r="http://schemas.openxmlformats.org/officeDocument/2006/relationships" xmlns:p="http://schemas.openxmlformats.org/presentationml/2006/main">
  <p:tag name="MTTABLE" val="HDiv"/>
  <p:tag name="MTNUMBER" val="0.539745759004609"/>
</p:tagLst>
</file>

<file path=ppt/tags/tag843.xml><?xml version="1.0" encoding="utf-8"?>
<p:tagLst xmlns:a="http://schemas.openxmlformats.org/drawingml/2006/main" xmlns:r="http://schemas.openxmlformats.org/officeDocument/2006/relationships" xmlns:p="http://schemas.openxmlformats.org/presentationml/2006/main">
  <p:tag name="MTTABLE" val="HDiv"/>
  <p:tag name="MTNUMBER" val="0.539745759004609"/>
</p:tagLst>
</file>

<file path=ppt/tags/tag844.xml><?xml version="1.0" encoding="utf-8"?>
<p:tagLst xmlns:a="http://schemas.openxmlformats.org/drawingml/2006/main" xmlns:r="http://schemas.openxmlformats.org/officeDocument/2006/relationships" xmlns:p="http://schemas.openxmlformats.org/presentationml/2006/main">
  <p:tag name="MTTABLE" val="HDiv"/>
  <p:tag name="MTNUMBER" val="0.539745759004609"/>
</p:tagLst>
</file>

<file path=ppt/tags/tag845.xml><?xml version="1.0" encoding="utf-8"?>
<p:tagLst xmlns:a="http://schemas.openxmlformats.org/drawingml/2006/main" xmlns:r="http://schemas.openxmlformats.org/officeDocument/2006/relationships" xmlns:p="http://schemas.openxmlformats.org/presentationml/2006/main">
  <p:tag name="NAME" val="Rectangle"/>
</p:tagLst>
</file>

<file path=ppt/tags/tag846.xml><?xml version="1.0" encoding="utf-8"?>
<p:tagLst xmlns:a="http://schemas.openxmlformats.org/drawingml/2006/main" xmlns:r="http://schemas.openxmlformats.org/officeDocument/2006/relationships" xmlns:p="http://schemas.openxmlformats.org/presentationml/2006/main">
  <p:tag name="MTTABLE" val="HDiv"/>
  <p:tag name="MTNUMBER" val="0.539745759004609"/>
</p:tagLst>
</file>

<file path=ppt/tags/tag847.xml><?xml version="1.0" encoding="utf-8"?>
<p:tagLst xmlns:a="http://schemas.openxmlformats.org/drawingml/2006/main" xmlns:r="http://schemas.openxmlformats.org/officeDocument/2006/relationships" xmlns:p="http://schemas.openxmlformats.org/presentationml/2006/main">
  <p:tag name="NAME" val="Rectangle"/>
</p:tagLst>
</file>

<file path=ppt/tags/tag848.xml><?xml version="1.0" encoding="utf-8"?>
<p:tagLst xmlns:a="http://schemas.openxmlformats.org/drawingml/2006/main" xmlns:r="http://schemas.openxmlformats.org/officeDocument/2006/relationships" xmlns:p="http://schemas.openxmlformats.org/presentationml/2006/main">
  <p:tag name="NAME" val="Rectangle"/>
</p:tagLst>
</file>

<file path=ppt/tags/tag849.xml><?xml version="1.0" encoding="utf-8"?>
<p:tagLst xmlns:a="http://schemas.openxmlformats.org/drawingml/2006/main" xmlns:r="http://schemas.openxmlformats.org/officeDocument/2006/relationships" xmlns:p="http://schemas.openxmlformats.org/presentationml/2006/main">
  <p:tag name="NAME" val="Rectangle"/>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50.xml><?xml version="1.0" encoding="utf-8"?>
<p:tagLst xmlns:a="http://schemas.openxmlformats.org/drawingml/2006/main" xmlns:r="http://schemas.openxmlformats.org/officeDocument/2006/relationships" xmlns:p="http://schemas.openxmlformats.org/presentationml/2006/main">
  <p:tag name="NAME" val="Rectangle"/>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60JDSB0b44La4Qw3DxQ..Q"/>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nwW2egNCf50Vd5yPJt6Yyg"/>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PEQdQPxjza91rixEjE16uw"/>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jHhJh8ZhANCK4.y2vitS7A"/>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0k0qtkH_HMEknKWckb_StQ"/>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1D3rqkm2NpRrTgfbDeM1.A"/>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MIq6GMMKIUryd31E_K6MiQ"/>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B.0dcXsGVp5NlxpCnFjz7Q"/>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JMCURhmdCHLaiFSi8sJirA"/>
</p:tagLst>
</file>

<file path=ppt/tags/tag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XfFzjeJCtPmxQfrQRP.vaw"/>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GirR_vKajyv_ezKk4h_2hQ"/>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uDBmQ3DYLbdcdN2peXnaWA"/>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JNYtByBnER6qm_f.O0KK9Q"/>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w_pCX4F_6keP_NuDC8y4ww"/>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n1kR8TQRdU3u1.JR0kxXUg"/>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yo6MAhEo3472dAaa77t3gw"/>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Uf8cmrzqwFJggdrfJUFU0A"/>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Hd5YcGyA6LUTbW7VFnKjLg"/>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5KOfw29qzPg7T8lgnQuATw"/>
</p:tagLst>
</file>

<file path=ppt/tags/tag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BId5HrDngJYs8X3ltl22Mw"/>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AcCHO.n09l8q_s3nk2_bvg"/>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w1UwoUmFxIqcmsA5Wn_S9w"/>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mYPHbY9p1XVikWzowD53ug"/>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4Ajr8J5mEr_rAVrEufJrNw"/>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w1Wo9wvfow.y7MHAVXAt0A"/>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tPnPA.0soWOMnrFoJk9aBw"/>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JNWomfcFOhfx.j7B_1RDyg"/>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Gv2N4SguuFRvMhHM8W.v4w"/>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fbn9KnxB0s.S1AKH6ouEhQ"/>
</p:tagLst>
</file>

<file path=ppt/tags/tag88.xml><?xml version="1.0" encoding="utf-8"?>
<p:tagLst xmlns:a="http://schemas.openxmlformats.org/drawingml/2006/main" xmlns:r="http://schemas.openxmlformats.org/officeDocument/2006/relationships" xmlns:p="http://schemas.openxmlformats.org/presentationml/2006/main">
  <p:tag name="SHAPENAME" val="5. Source"/>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8LFUTxbm4iMJ4Kd4sWeLLg"/>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PyyP5xaK1x7jsbRvTl7bWg"/>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nHyQSJfYwxSFK34rnM3wYQ"/>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Oh5xZUSd6e6NL_veg4pYHw"/>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AC4R86ukxavi03Zvey1w_g"/>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GMC_1BROfRqNcHH9o6n8Ag"/>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LQ.gLqcP8UVtej86QLEPdQ"/>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MSQeNi1nuHvsb7sT2rFj7w"/>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kcUjWgvNsk8bj4Vv7A_oEQ"/>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nnyMAWVoQlVz8fYFfrSLEg"/>
</p:tagLst>
</file>

<file path=ppt/tags/tag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e4gMo7vPBvAo8qROsYn1Uw"/>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NiXz8DGZY4RXPqfy_Mwt2Q"/>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ywqsjamo8osGgEYQQbxwNA"/>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aT4L3q4jnYwLdQy4g6l4Og"/>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kXeyEc.9wNXSa_BQCZkn2Q"/>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RDPGkXvuvofhF9W2DjyiwA"/>
</p:tagLst>
</file>

<file path=ppt/tags/tag896.xml><?xml version="1.0" encoding="utf-8"?>
<p:tagLst xmlns:a="http://schemas.openxmlformats.org/drawingml/2006/main" xmlns:r="http://schemas.openxmlformats.org/officeDocument/2006/relationships" xmlns:p="http://schemas.openxmlformats.org/presentationml/2006/main">
  <p:tag name="NAME" val="Rectangle"/>
</p:tagLst>
</file>

<file path=ppt/tags/tag897.xml><?xml version="1.0" encoding="utf-8"?>
<p:tagLst xmlns:a="http://schemas.openxmlformats.org/drawingml/2006/main" xmlns:r="http://schemas.openxmlformats.org/officeDocument/2006/relationships" xmlns:p="http://schemas.openxmlformats.org/presentationml/2006/main">
  <p:tag name="MTTABLE" val="HTitleDiv"/>
  <p:tag name="MTNUMBER" val="0.154885287934395"/>
</p:tagLst>
</file>

<file path=ppt/tags/tag898.xml><?xml version="1.0" encoding="utf-8"?>
<p:tagLst xmlns:a="http://schemas.openxmlformats.org/drawingml/2006/main" xmlns:r="http://schemas.openxmlformats.org/officeDocument/2006/relationships" xmlns:p="http://schemas.openxmlformats.org/presentationml/2006/main">
  <p:tag name="MTTABLE" val="HTitleDiv"/>
  <p:tag name="MTNUMBER" val="0.154885287934395"/>
</p:tagLst>
</file>

<file path=ppt/tags/tag899.xml><?xml version="1.0" encoding="utf-8"?>
<p:tagLst xmlns:a="http://schemas.openxmlformats.org/drawingml/2006/main" xmlns:r="http://schemas.openxmlformats.org/officeDocument/2006/relationships" xmlns:p="http://schemas.openxmlformats.org/presentationml/2006/main">
  <p:tag name="MTTABLE" val="HTitleDiv"/>
  <p:tag name="MTNUMBER" val="0.154885287934395"/>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0.xml><?xml version="1.0" encoding="utf-8"?>
<p:tagLst xmlns:a="http://schemas.openxmlformats.org/drawingml/2006/main" xmlns:r="http://schemas.openxmlformats.org/officeDocument/2006/relationships" xmlns:p="http://schemas.openxmlformats.org/presentationml/2006/main">
  <p:tag name="MTTABLE" val="HDiv"/>
  <p:tag name="MTNUMBER" val="0.154885287934395"/>
</p:tagLst>
</file>

<file path=ppt/tags/tag901.xml><?xml version="1.0" encoding="utf-8"?>
<p:tagLst xmlns:a="http://schemas.openxmlformats.org/drawingml/2006/main" xmlns:r="http://schemas.openxmlformats.org/officeDocument/2006/relationships" xmlns:p="http://schemas.openxmlformats.org/presentationml/2006/main">
  <p:tag name="MTTABLE" val="HTitleDiv"/>
  <p:tag name="MTNUMBER" val="0.154885287934395"/>
</p:tagLst>
</file>

<file path=ppt/tags/tag902.xml><?xml version="1.0" encoding="utf-8"?>
<p:tagLst xmlns:a="http://schemas.openxmlformats.org/drawingml/2006/main" xmlns:r="http://schemas.openxmlformats.org/officeDocument/2006/relationships" xmlns:p="http://schemas.openxmlformats.org/presentationml/2006/main">
  <p:tag name="MTTABLE" val="HDiv"/>
  <p:tag name="MTNUMBER" val="0.154885287934395"/>
</p:tagLst>
</file>

<file path=ppt/tags/tag903.xml><?xml version="1.0" encoding="utf-8"?>
<p:tagLst xmlns:a="http://schemas.openxmlformats.org/drawingml/2006/main" xmlns:r="http://schemas.openxmlformats.org/officeDocument/2006/relationships" xmlns:p="http://schemas.openxmlformats.org/presentationml/2006/main">
  <p:tag name="NAME" val="Rectangle"/>
</p:tagLst>
</file>

<file path=ppt/tags/tag904.xml><?xml version="1.0" encoding="utf-8"?>
<p:tagLst xmlns:a="http://schemas.openxmlformats.org/drawingml/2006/main" xmlns:r="http://schemas.openxmlformats.org/officeDocument/2006/relationships" xmlns:p="http://schemas.openxmlformats.org/presentationml/2006/main">
  <p:tag name="NAME" val="Rectangle"/>
</p:tagLst>
</file>

<file path=ppt/tags/tag905.xml><?xml version="1.0" encoding="utf-8"?>
<p:tagLst xmlns:a="http://schemas.openxmlformats.org/drawingml/2006/main" xmlns:r="http://schemas.openxmlformats.org/officeDocument/2006/relationships" xmlns:p="http://schemas.openxmlformats.org/presentationml/2006/main">
  <p:tag name="NAME" val="Rectangle"/>
</p:tagLst>
</file>

<file path=ppt/tags/tag906.xml><?xml version="1.0" encoding="utf-8"?>
<p:tagLst xmlns:a="http://schemas.openxmlformats.org/drawingml/2006/main" xmlns:r="http://schemas.openxmlformats.org/officeDocument/2006/relationships" xmlns:p="http://schemas.openxmlformats.org/presentationml/2006/main">
  <p:tag name="NAME" val="Rectangle"/>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8.xml><?xml version="1.0" encoding="utf-8"?>
<p:tagLst xmlns:a="http://schemas.openxmlformats.org/drawingml/2006/main" xmlns:r="http://schemas.openxmlformats.org/officeDocument/2006/relationships" xmlns:p="http://schemas.openxmlformats.org/presentationml/2006/main">
  <p:tag name="SHAPENAME" val="5. Source"/>
</p:tagLst>
</file>

<file path=ppt/tags/tag909.xml><?xml version="1.0" encoding="utf-8"?>
<p:tagLst xmlns:a="http://schemas.openxmlformats.org/drawingml/2006/main" xmlns:r="http://schemas.openxmlformats.org/officeDocument/2006/relationships" xmlns:p="http://schemas.openxmlformats.org/presentationml/2006/main">
  <p:tag name="MTTABLE" val="HDiv"/>
  <p:tag name="MTNUMBER" val="0.539745759004609"/>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910.xml><?xml version="1.0" encoding="utf-8"?>
<p:tagLst xmlns:a="http://schemas.openxmlformats.org/drawingml/2006/main" xmlns:r="http://schemas.openxmlformats.org/officeDocument/2006/relationships" xmlns:p="http://schemas.openxmlformats.org/presentationml/2006/main">
  <p:tag name="MTTABLE" val="HDiv"/>
  <p:tag name="MTNUMBER" val="0.539745759004609"/>
</p:tagLst>
</file>

<file path=ppt/tags/tag911.xml><?xml version="1.0" encoding="utf-8"?>
<p:tagLst xmlns:a="http://schemas.openxmlformats.org/drawingml/2006/main" xmlns:r="http://schemas.openxmlformats.org/officeDocument/2006/relationships" xmlns:p="http://schemas.openxmlformats.org/presentationml/2006/main">
  <p:tag name="MTTABLE" val="HDiv"/>
  <p:tag name="MTNUMBER" val="0.539745759004609"/>
</p:tagLst>
</file>

<file path=ppt/tags/tag912.xml><?xml version="1.0" encoding="utf-8"?>
<p:tagLst xmlns:a="http://schemas.openxmlformats.org/drawingml/2006/main" xmlns:r="http://schemas.openxmlformats.org/officeDocument/2006/relationships" xmlns:p="http://schemas.openxmlformats.org/presentationml/2006/main">
  <p:tag name="MTTABLE" val="HDiv"/>
  <p:tag name="MTNUMBER" val="0.539745759004609"/>
</p:tagLst>
</file>

<file path=ppt/tags/tag913.xml><?xml version="1.0" encoding="utf-8"?>
<p:tagLst xmlns:a="http://schemas.openxmlformats.org/drawingml/2006/main" xmlns:r="http://schemas.openxmlformats.org/officeDocument/2006/relationships" xmlns:p="http://schemas.openxmlformats.org/presentationml/2006/main">
  <p:tag name="NAME" val="Rectangle"/>
</p:tagLst>
</file>

<file path=ppt/tags/tag914.xml><?xml version="1.0" encoding="utf-8"?>
<p:tagLst xmlns:a="http://schemas.openxmlformats.org/drawingml/2006/main" xmlns:r="http://schemas.openxmlformats.org/officeDocument/2006/relationships" xmlns:p="http://schemas.openxmlformats.org/presentationml/2006/main">
  <p:tag name="NAME" val="Rectangle"/>
</p:tagLst>
</file>

<file path=ppt/tags/tag915.xml><?xml version="1.0" encoding="utf-8"?>
<p:tagLst xmlns:a="http://schemas.openxmlformats.org/drawingml/2006/main" xmlns:r="http://schemas.openxmlformats.org/officeDocument/2006/relationships" xmlns:p="http://schemas.openxmlformats.org/presentationml/2006/main">
  <p:tag name="NAME" val="Rectangle"/>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v3YqlHk0rfl9muz0J8lmpA"/>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PnIpctB2v5S.x_9RTzfLVg"/>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v3T9uD_a7e0cifL1PQdTww"/>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odzaOa79j.pIU19qR46qVQ"/>
</p:tagLst>
</file>

<file path=ppt/tags/tag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l075cqCwF09SjYCwNB34ag"/>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cBW1cKUzTZbeOaAENpKgzg"/>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cJZ5DOAGRCjaMcPcuTCZ2w"/>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Mr.vFP4v.xrN17sYffG9gg"/>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FONannn5sZvDNPshFbqJUQ"/>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H8i60AnJFfWmi1OT9S2bHg"/>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Vk.slld6sluCb7eFrp3MLg"/>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oGO6h_e2b_RcSEL69Ortzg"/>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EE1sJDHrFgE9X48Lintfgw"/>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ah0qp00pHBzMnx16Rl.oSw"/>
</p:tagLst>
</file>

<file path=ppt/tags/tag9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WplUIglHXuHmN1IHSo2Eaw"/>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iiVjo3yW.29TPL0k61aYkQ"/>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EzbOUDnClRFBRwH6Vv1pow"/>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QwE93pdJKl83UrCHywa6uQ"/>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5kpgpXZq5oqb06Esk_IT.Q"/>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1nrW06hip3ATzS86vRjyRw"/>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WZU7PFSQ35u1GG4W2p3TpQ"/>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6oDIK.a2AhXQTs.pFvDxjg"/>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6OrbM08w9Zg702yBgwx_jA"/>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6BnRmVOio1YVpftfqVERYg"/>
</p:tagLst>
</file>

<file path=ppt/tags/tag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YtJUlU1HRTFf_yxJRY5.Rw"/>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Iq0Dy3kGdrLY_8G2k7OcXg"/>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x3aGvQjof4Jc.X2RI.KrxQ"/>
</p:tagLst>
</file>

<file path=ppt/tags/tag943.xml><?xml version="1.0" encoding="utf-8"?>
<p:tagLst xmlns:a="http://schemas.openxmlformats.org/drawingml/2006/main" xmlns:r="http://schemas.openxmlformats.org/officeDocument/2006/relationships" xmlns:p="http://schemas.openxmlformats.org/presentationml/2006/main">
  <p:tag name="NAME" val="Rectangle"/>
</p:tagLst>
</file>

<file path=ppt/tags/tag944.xml><?xml version="1.0" encoding="utf-8"?>
<p:tagLst xmlns:a="http://schemas.openxmlformats.org/drawingml/2006/main" xmlns:r="http://schemas.openxmlformats.org/officeDocument/2006/relationships" xmlns:p="http://schemas.openxmlformats.org/presentationml/2006/main">
  <p:tag name="MTTABLE" val="HTitleDiv"/>
  <p:tag name="MTNUMBER" val="0.154885287934395"/>
</p:tagLst>
</file>

<file path=ppt/tags/tag945.xml><?xml version="1.0" encoding="utf-8"?>
<p:tagLst xmlns:a="http://schemas.openxmlformats.org/drawingml/2006/main" xmlns:r="http://schemas.openxmlformats.org/officeDocument/2006/relationships" xmlns:p="http://schemas.openxmlformats.org/presentationml/2006/main">
  <p:tag name="MTTABLE" val="HTitleDiv"/>
  <p:tag name="MTNUMBER" val="0.154885287934395"/>
</p:tagLst>
</file>

<file path=ppt/tags/tag946.xml><?xml version="1.0" encoding="utf-8"?>
<p:tagLst xmlns:a="http://schemas.openxmlformats.org/drawingml/2006/main" xmlns:r="http://schemas.openxmlformats.org/officeDocument/2006/relationships" xmlns:p="http://schemas.openxmlformats.org/presentationml/2006/main">
  <p:tag name="MTTABLE" val="HTitleDiv"/>
  <p:tag name="MTNUMBER" val="0.154885287934395"/>
</p:tagLst>
</file>

<file path=ppt/tags/tag947.xml><?xml version="1.0" encoding="utf-8"?>
<p:tagLst xmlns:a="http://schemas.openxmlformats.org/drawingml/2006/main" xmlns:r="http://schemas.openxmlformats.org/officeDocument/2006/relationships" xmlns:p="http://schemas.openxmlformats.org/presentationml/2006/main">
  <p:tag name="MTTABLE" val="HDiv"/>
  <p:tag name="MTNUMBER" val="0.154885287934395"/>
</p:tagLst>
</file>

<file path=ppt/tags/tag948.xml><?xml version="1.0" encoding="utf-8"?>
<p:tagLst xmlns:a="http://schemas.openxmlformats.org/drawingml/2006/main" xmlns:r="http://schemas.openxmlformats.org/officeDocument/2006/relationships" xmlns:p="http://schemas.openxmlformats.org/presentationml/2006/main">
  <p:tag name="MTTABLE" val="HTitleDiv"/>
  <p:tag name="MTNUMBER" val="0.154885287934395"/>
</p:tagLst>
</file>

<file path=ppt/tags/tag949.xml><?xml version="1.0" encoding="utf-8"?>
<p:tagLst xmlns:a="http://schemas.openxmlformats.org/drawingml/2006/main" xmlns:r="http://schemas.openxmlformats.org/officeDocument/2006/relationships" xmlns:p="http://schemas.openxmlformats.org/presentationml/2006/main">
  <p:tag name="MTTABLE" val="HDiv"/>
  <p:tag name="MTNUMBER" val="0.154885287934395"/>
</p:tagLst>
</file>

<file path=ppt/tags/tag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0.xml><?xml version="1.0" encoding="utf-8"?>
<p:tagLst xmlns:a="http://schemas.openxmlformats.org/drawingml/2006/main" xmlns:r="http://schemas.openxmlformats.org/officeDocument/2006/relationships" xmlns:p="http://schemas.openxmlformats.org/presentationml/2006/main">
  <p:tag name="NAME" val="4. Footnote"/>
</p:tagLst>
</file>

<file path=ppt/tags/tag951.xml><?xml version="1.0" encoding="utf-8"?>
<p:tagLst xmlns:a="http://schemas.openxmlformats.org/drawingml/2006/main" xmlns:r="http://schemas.openxmlformats.org/officeDocument/2006/relationships" xmlns:p="http://schemas.openxmlformats.org/presentationml/2006/main">
  <p:tag name="LOGOFINDERIMAGE" val="1"/>
</p:tagLst>
</file>

<file path=ppt/tags/tag952.xml><?xml version="1.0" encoding="utf-8"?>
<p:tagLst xmlns:a="http://schemas.openxmlformats.org/drawingml/2006/main" xmlns:r="http://schemas.openxmlformats.org/officeDocument/2006/relationships" xmlns:p="http://schemas.openxmlformats.org/presentationml/2006/main">
  <p:tag name="NAME" val="Rectangle"/>
</p:tagLst>
</file>

<file path=ppt/tags/tag953.xml><?xml version="1.0" encoding="utf-8"?>
<p:tagLst xmlns:a="http://schemas.openxmlformats.org/drawingml/2006/main" xmlns:r="http://schemas.openxmlformats.org/officeDocument/2006/relationships" xmlns:p="http://schemas.openxmlformats.org/presentationml/2006/main">
  <p:tag name="NAME" val="Rectangle"/>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e0HFtWJ15ZRa3ZIv0184zA"/>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RPvCCmp_KsbnXQnOsNG6vw"/>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bKIO1ue8_MNSfFGsJx3xiw"/>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oaJi4p6pueW38ge_ZS4Taw"/>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QNF9ZKIokSeO1q42vfnzOw"/>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v2oDStJIH.bz5uYskLQEkg"/>
</p:tagLst>
</file>

<file path=ppt/tags/tag96.xml><?xml version="1.0" encoding="utf-8"?>
<p:tagLst xmlns:a="http://schemas.openxmlformats.org/drawingml/2006/main" xmlns:r="http://schemas.openxmlformats.org/officeDocument/2006/relationships" xmlns:p="http://schemas.openxmlformats.org/presentationml/2006/main">
  <p:tag name="SHAPENAME" val="5. Source"/>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KlsnVeNkFsSGgPQuR1RlRA"/>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p9cmotn7oCbS1Sx6wUlgEw"/>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7xDg6bQkLCzRCJ0eGvNRJw"/>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1ay_DNaw7hDy1ZmlMmIwWQ"/>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jfb8n3O4HTInm_T5WN0ANg"/>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NxzHpoqBlJqnAN1m4A8kig"/>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JtQEtLDLKXI1OfbwxkOWAg"/>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J7ZmWw3zgnuP25_uU1tSPg"/>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HKTod4sAhH9DrPt7dn5JDQ"/>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YTccWHTdoZJ3MbDwsMk7ng"/>
</p:tagLst>
</file>

<file path=ppt/tags/tag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HkwWtxchnwCwCiWNTIFNDQ"/>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iyQyqq08eckby3fbRF31CA"/>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hSPpY6H7poBPGrkoaBiWtw"/>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6DDsmHSjV7Lx8p48kRovFQ"/>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el7xTIBUUV0Z8LWMFhMJ5w"/>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tBzA2J61BtfxK1VBzhJJHQ"/>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TbdrqRC1DJxoDAPXjoaXgg"/>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BRY8AQY0q73EBtWVN2kNKQ"/>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FkzWwMgDSbSjSesi.6W7ew"/>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ot4Ec3uWP85ccb8NBiD.e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hhe8obsogd5f1._DAI4Kbw"/>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rgJB2mJ6omxZ4Nlofz.pwA"/>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nv6p7KG1mmTXp0M6.vBoeQ"/>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dlC5IngIIMMVLTXWKFVLrw"/>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A6SbDGUGoE6J5Z_32xctbQ"/>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fgM4HTTWQVyLfrxp7j.etQ"/>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o07FbtcvjYUvcb4tVZX4fw"/>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9LQsXuReN4oquNY.7ODHrA"/>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imd6SrHIuofH277Sb86WSg"/>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KAhmkvJuj0K4uf5IX5xqX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uKSB..YLiQolNQUd8zxiNA"/>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vE14QVzonZEfAoxLRX6taA"/>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KuBqOf.uXHnYuTYevvQlgw"/>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8MGPp2ScCqMC0gGQ7qZk6Q"/>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04Zq7LF.0uRhc8HG8XfbIw"/>
</p:tagLst>
</file>

<file path=ppt/tags/tag995.xml><?xml version="1.0" encoding="utf-8"?>
<p:tagLst xmlns:a="http://schemas.openxmlformats.org/drawingml/2006/main" xmlns:r="http://schemas.openxmlformats.org/officeDocument/2006/relationships" xmlns:p="http://schemas.openxmlformats.org/presentationml/2006/main">
  <p:tag name="NAME" val="Rectangle"/>
</p:tagLst>
</file>

<file path=ppt/tags/tag996.xml><?xml version="1.0" encoding="utf-8"?>
<p:tagLst xmlns:a="http://schemas.openxmlformats.org/drawingml/2006/main" xmlns:r="http://schemas.openxmlformats.org/officeDocument/2006/relationships" xmlns:p="http://schemas.openxmlformats.org/presentationml/2006/main">
  <p:tag name="NAME" val="Rectangle"/>
</p:tagLst>
</file>

<file path=ppt/tags/tag997.xml><?xml version="1.0" encoding="utf-8"?>
<p:tagLst xmlns:a="http://schemas.openxmlformats.org/drawingml/2006/main" xmlns:r="http://schemas.openxmlformats.org/officeDocument/2006/relationships" xmlns:p="http://schemas.openxmlformats.org/presentationml/2006/main">
  <p:tag name="NAME" val="Rectangle"/>
</p:tagLst>
</file>

<file path=ppt/tags/tag998.xml><?xml version="1.0" encoding="utf-8"?>
<p:tagLst xmlns:a="http://schemas.openxmlformats.org/drawingml/2006/main" xmlns:r="http://schemas.openxmlformats.org/officeDocument/2006/relationships" xmlns:p="http://schemas.openxmlformats.org/presentationml/2006/main">
  <p:tag name="NAME" val="Rectangle"/>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a:themeElements>
    <a:clrScheme name="Scheme1">
      <a:dk1>
        <a:srgbClr val="000000"/>
      </a:dk1>
      <a:lt1>
        <a:srgbClr val="FFFFFF"/>
      </a:lt1>
      <a:dk2>
        <a:srgbClr val="FFFFFF"/>
      </a:dk2>
      <a:lt2>
        <a:srgbClr val="FFFFFF"/>
      </a:lt2>
      <a:accent1>
        <a:srgbClr val="002659"/>
      </a:accent1>
      <a:accent2>
        <a:srgbClr val="B39759"/>
      </a:accent2>
      <a:accent3>
        <a:srgbClr val="00A191"/>
      </a:accent3>
      <a:accent4>
        <a:srgbClr val="FAB700"/>
      </a:accent4>
      <a:accent5>
        <a:srgbClr val="9B0C34"/>
      </a:accent5>
      <a:accent6>
        <a:srgbClr val="69B650"/>
      </a:accent6>
      <a:hlink>
        <a:srgbClr val="0000FF"/>
      </a:hlink>
      <a:folHlink>
        <a:srgbClr val="800080"/>
      </a:folHlink>
    </a:clrScheme>
    <a:fontScheme name="Custom">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2659"/>
        </a:accent1>
        <a:accent2>
          <a:srgbClr val="B39759"/>
        </a:accent2>
        <a:accent3>
          <a:srgbClr val="00A191"/>
        </a:accent3>
        <a:accent4>
          <a:srgbClr val="FAB700"/>
        </a:accent4>
        <a:accent5>
          <a:srgbClr val="9B0C34"/>
        </a:accent5>
        <a:accent6>
          <a:srgbClr val="69B65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44546A"/>
    </a:custClr>
  </a:custClrLst>
  <a:extLst>
    <a:ext uri="{05A4C25C-085E-4340-85A3-A5531E510DB2}">
      <thm15:themeFamily xmlns:thm15="http://schemas.microsoft.com/office/thememl/2012/main" name="EN_BASEFORM_16x9_OF_TITLETOP(15)" id="{4C6DACD1-FC43-44DE-833A-F23767AA64CD}" vid="{30548917-3DAA-4B66-A3A9-35179CD12DB4}"/>
    </a:ext>
  </a:extLst>
</a:theme>
</file>

<file path=ppt/theme/theme2.xml><?xml version="1.0" encoding="utf-8"?>
<a:theme xmlns:a="http://schemas.openxmlformats.org/drawingml/2006/main" name="Contrast">
  <a:themeElements>
    <a:clrScheme name="Scheme2">
      <a:dk1>
        <a:srgbClr val="FFFFFF"/>
      </a:dk1>
      <a:lt1>
        <a:srgbClr val="002659"/>
      </a:lt1>
      <a:dk2>
        <a:srgbClr val="000000"/>
      </a:dk2>
      <a:lt2>
        <a:srgbClr val="000000"/>
      </a:lt2>
      <a:accent1>
        <a:srgbClr val="FFFFFF"/>
      </a:accent1>
      <a:accent2>
        <a:srgbClr val="B39759"/>
      </a:accent2>
      <a:accent3>
        <a:srgbClr val="00A191"/>
      </a:accent3>
      <a:accent4>
        <a:srgbClr val="FAB700"/>
      </a:accent4>
      <a:accent5>
        <a:srgbClr val="9B0C34"/>
      </a:accent5>
      <a:accent6>
        <a:srgbClr val="69B650"/>
      </a:accent6>
      <a:hlink>
        <a:srgbClr val="0000FF"/>
      </a:hlink>
      <a:folHlink>
        <a:srgbClr val="800080"/>
      </a:folHlink>
    </a:clrScheme>
    <a:fontScheme name="Custom">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002659"/>
        </a:lt1>
        <a:dk2>
          <a:srgbClr val="000000"/>
        </a:dk2>
        <a:lt2>
          <a:srgbClr val="000000"/>
        </a:lt2>
        <a:accent1>
          <a:srgbClr val="FFFFFF"/>
        </a:accent1>
        <a:accent2>
          <a:srgbClr val="B39759"/>
        </a:accent2>
        <a:accent3>
          <a:srgbClr val="00A191"/>
        </a:accent3>
        <a:accent4>
          <a:srgbClr val="FAB700"/>
        </a:accent4>
        <a:accent5>
          <a:srgbClr val="9B0C34"/>
        </a:accent5>
        <a:accent6>
          <a:srgbClr val="69B65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44546A"/>
    </a:custClr>
  </a:custClrLst>
  <a:extLst>
    <a:ext uri="{05A4C25C-085E-4340-85A3-A5531E510DB2}">
      <thm15:themeFamily xmlns:thm15="http://schemas.microsoft.com/office/thememl/2012/main" name="EN_BASEFORM_16x9_OF_TITLETOP(15)" id="{4C6DACD1-FC43-44DE-833A-F23767AA64CD}" vid="{9FE8AA9E-CA00-47F3-AA55-C7D6ADD0723A}"/>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05FB6B8016B1D48A8FDEBDA4BF019DB" ma:contentTypeVersion="0" ma:contentTypeDescription="Create a new document." ma:contentTypeScope="" ma:versionID="fea198a65c89440d6cf8712dbfbf444b">
  <xsd:schema xmlns:xsd="http://www.w3.org/2001/XMLSchema" xmlns:xs="http://www.w3.org/2001/XMLSchema" xmlns:p="http://schemas.microsoft.com/office/2006/metadata/properties" targetNamespace="http://schemas.microsoft.com/office/2006/metadata/properties" ma:root="true" ma:fieldsID="0967b7be50301903c78f9c39c6fd9af8">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3669F3F-4DFA-48FD-80E9-67B945082F8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4C3BDD5B-8D08-4F85-A0AE-FAA105D1B4E7}">
  <ds:schemaRefs>
    <ds:schemaRef ds:uri="http://schemas.microsoft.com/sharepoint/v3/contenttype/forms"/>
  </ds:schemaRefs>
</ds:datastoreItem>
</file>

<file path=customXml/itemProps3.xml><?xml version="1.0" encoding="utf-8"?>
<ds:datastoreItem xmlns:ds="http://schemas.openxmlformats.org/officeDocument/2006/customXml" ds:itemID="{F1AE8117-67ED-4B4E-B31E-080853EFE73D}">
  <ds:schemaRefs>
    <ds:schemaRef ds:uri="http://purl.org/dc/terms/"/>
    <ds:schemaRef ds:uri="http://schemas.microsoft.com/office/2006/documentManagement/types"/>
    <ds:schemaRef ds:uri="http://purl.org/dc/dcmitype/"/>
    <ds:schemaRef ds:uri="http://www.w3.org/XML/1998/namespace"/>
    <ds:schemaRef ds:uri="http://schemas.microsoft.com/office/infopath/2007/PartnerControls"/>
    <ds:schemaRef ds:uri="http://schemas.openxmlformats.org/package/2006/metadata/core-properties"/>
    <ds:schemaRef ds:uri="http://schemas.microsoft.com/office/2006/metadata/properties"/>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8762YF01_CF_16x9_ENG_V1</Template>
  <TotalTime>17494</TotalTime>
  <Words>7769</Words>
  <Application>Microsoft Office PowerPoint</Application>
  <PresentationFormat>Widescreen</PresentationFormat>
  <Paragraphs>1265</Paragraphs>
  <Slides>24</Slides>
  <Notes>2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4</vt:i4>
      </vt:variant>
    </vt:vector>
  </HeadingPairs>
  <TitlesOfParts>
    <vt:vector size="32" baseType="lpstr">
      <vt:lpstr>Arial</vt:lpstr>
      <vt:lpstr>Segoe UI</vt:lpstr>
      <vt:lpstr>Calibri</vt:lpstr>
      <vt:lpstr>Wingdings</vt:lpstr>
      <vt:lpstr>Calibri Light</vt:lpstr>
      <vt:lpstr>White</vt:lpstr>
      <vt:lpstr>Contrast</vt:lpstr>
      <vt:lpstr>think-cell Slide</vt:lpstr>
      <vt:lpstr>Detailing a growth strategy for Latin America</vt:lpstr>
      <vt:lpstr>PowerPoint Presentation</vt:lpstr>
      <vt:lpstr>PowerPoint Presentation</vt:lpstr>
      <vt:lpstr>PowerPoint Presentation</vt:lpstr>
      <vt:lpstr>Latin America is an attractive region that hosts multiple gold mineralized zones with high-quality, low-cost producing asset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ackup</vt:lpstr>
      <vt:lpstr>Peru is a top-10 global gold producer, with a mature mining industry facing depletion of large gold mines</vt:lpstr>
      <vt:lpstr>Gold is much smaller than copper in Chile, but the country has sizeable undeveloped gold deposits and growth potential</vt:lpstr>
      <vt:lpstr>Brazil is a traditional mining house with established gold operations but with a challenging gold mining frontier in Amazon region</vt:lpstr>
      <vt:lpstr>Ecuador is an emerging market for mining developers willing to take the risk to build a large-scale mine in an unknown environment</vt:lpstr>
      <vt:lpstr>Argentina hosts large gold mines from top gold producers concentrated in key mining hubs – Santa Cruz, San Juan and Salta</vt:lpstr>
      <vt:lpstr>Mexico is a top 10 gold mining producer, with presence of large global and local mining companies</vt:lpstr>
      <vt:lpstr>Colombia has been struggling to move from artisan/illegal to industrial gold production, despite its large undeveloped resources</vt:lpstr>
      <vt:lpstr>Gold production in Guyana is driven by artisan operations and Zijin’s Aurora mine</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subject/>
  <dc:creator>Andres Richter</dc:creator>
  <cp:keywords/>
  <dc:description/>
  <cp:lastModifiedBy>Diego Zuniga</cp:lastModifiedBy>
  <cp:revision>85</cp:revision>
  <dcterms:created xsi:type="dcterms:W3CDTF">2024-03-05T15:02:54Z</dcterms:created>
  <dcterms:modified xsi:type="dcterms:W3CDTF">2024-08-30T02:59:37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LastEdited">
    <vt:lpwstr>2024-02-29 01:14 PM</vt:lpwstr>
  </property>
  <property fmtid="{D5CDD505-2E9C-101B-9397-08002B2CF9AE}" pid="3" name="ContentTypeId">
    <vt:lpwstr>0x010100605FB6B8016B1D48A8FDEBDA4BF019DB</vt:lpwstr>
  </property>
</Properties>
</file>